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1"/>
  </p:sldMasterIdLst>
  <p:notesMasterIdLst>
    <p:notesMasterId r:id="rId42"/>
  </p:notesMasterIdLst>
  <p:sldIdLst>
    <p:sldId id="257" r:id="rId2"/>
    <p:sldId id="267" r:id="rId3"/>
    <p:sldId id="268" r:id="rId4"/>
    <p:sldId id="266" r:id="rId5"/>
    <p:sldId id="307" r:id="rId6"/>
    <p:sldId id="258" r:id="rId7"/>
    <p:sldId id="308" r:id="rId8"/>
    <p:sldId id="309" r:id="rId9"/>
    <p:sldId id="310" r:id="rId10"/>
    <p:sldId id="311" r:id="rId11"/>
    <p:sldId id="296" r:id="rId12"/>
    <p:sldId id="301" r:id="rId13"/>
    <p:sldId id="302" r:id="rId14"/>
    <p:sldId id="304" r:id="rId15"/>
    <p:sldId id="303" r:id="rId16"/>
    <p:sldId id="312" r:id="rId17"/>
    <p:sldId id="305" r:id="rId18"/>
    <p:sldId id="306" r:id="rId19"/>
    <p:sldId id="298" r:id="rId20"/>
    <p:sldId id="313" r:id="rId21"/>
    <p:sldId id="300" r:id="rId22"/>
    <p:sldId id="297" r:id="rId23"/>
    <p:sldId id="289" r:id="rId24"/>
    <p:sldId id="290" r:id="rId25"/>
    <p:sldId id="292" r:id="rId26"/>
    <p:sldId id="295" r:id="rId27"/>
    <p:sldId id="314" r:id="rId28"/>
    <p:sldId id="287" r:id="rId29"/>
    <p:sldId id="288" r:id="rId30"/>
    <p:sldId id="293" r:id="rId31"/>
    <p:sldId id="294" r:id="rId32"/>
    <p:sldId id="286" r:id="rId33"/>
    <p:sldId id="269" r:id="rId34"/>
    <p:sldId id="270" r:id="rId35"/>
    <p:sldId id="271" r:id="rId36"/>
    <p:sldId id="273" r:id="rId37"/>
    <p:sldId id="315" r:id="rId38"/>
    <p:sldId id="316" r:id="rId39"/>
    <p:sldId id="317" r:id="rId40"/>
    <p:sldId id="318" r:id="rId41"/>
  </p:sldIdLst>
  <p:sldSz cx="9906000" cy="6858000" type="A4"/>
  <p:notesSz cx="6858000" cy="9144000"/>
  <p:custDataLst>
    <p:tags r:id="rId4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783F"/>
    <a:srgbClr val="8CB90F"/>
    <a:srgbClr val="169199"/>
    <a:srgbClr val="00988C"/>
    <a:srgbClr val="1AB8C4"/>
    <a:srgbClr val="09AEB2"/>
    <a:srgbClr val="00FFFF"/>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4DDACE-D92C-4FF6-856A-36162DD9FE49}" v="7711" dt="2018-05-04T16:38:55.670"/>
  </p1510:revLst>
</p1510:revInfo>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65" autoAdjust="0"/>
    <p:restoredTop sz="96220" autoAdjust="0"/>
  </p:normalViewPr>
  <p:slideViewPr>
    <p:cSldViewPr showGuides="1">
      <p:cViewPr varScale="1">
        <p:scale>
          <a:sx n="107" d="100"/>
          <a:sy n="107" d="100"/>
        </p:scale>
        <p:origin x="1242" y="102"/>
      </p:cViewPr>
      <p:guideLst/>
    </p:cSldViewPr>
  </p:slideViewPr>
  <p:outlineViewPr>
    <p:cViewPr>
      <p:scale>
        <a:sx n="33" d="100"/>
        <a:sy n="33" d="100"/>
      </p:scale>
      <p:origin x="0" y="-3216"/>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solidFill>
                  <a:schemeClr val="tx1"/>
                </a:solidFill>
              </a:rPr>
              <a:t>Gruppierte Säule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7.8908225588358347E-2"/>
          <c:y val="0.12156495142603335"/>
          <c:w val="0.86703932225255442"/>
          <c:h val="0.72603742231697288"/>
        </c:manualLayout>
      </c:layout>
      <c:barChart>
        <c:barDir val="col"/>
        <c:grouping val="clustered"/>
        <c:varyColors val="0"/>
        <c:ser>
          <c:idx val="0"/>
          <c:order val="0"/>
          <c:tx>
            <c:strRef>
              <c:f>Tabelle1!$B$1</c:f>
              <c:strCache>
                <c:ptCount val="1"/>
                <c:pt idx="0">
                  <c:v>Datenreihe 1</c:v>
                </c:pt>
              </c:strCache>
            </c:strRef>
          </c:tx>
          <c:spPr>
            <a:solidFill>
              <a:schemeClr val="tx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FCB-40AB-A996-C7E75AA3893B}"/>
            </c:ext>
          </c:extLst>
        </c:ser>
        <c:ser>
          <c:idx val="1"/>
          <c:order val="1"/>
          <c:tx>
            <c:strRef>
              <c:f>Tabelle1!$C$1</c:f>
              <c:strCache>
                <c:ptCount val="1"/>
                <c:pt idx="0">
                  <c:v>Datenreihe 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FCB-40AB-A996-C7E75AA3893B}"/>
            </c:ext>
          </c:extLst>
        </c:ser>
        <c:ser>
          <c:idx val="2"/>
          <c:order val="2"/>
          <c:tx>
            <c:strRef>
              <c:f>Tabelle1!$D$1</c:f>
              <c:strCache>
                <c:ptCount val="1"/>
                <c:pt idx="0">
                  <c:v>Datenreihe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9FCB-40AB-A996-C7E75AA3893B}"/>
            </c:ext>
          </c:extLst>
        </c:ser>
        <c:dLbls>
          <c:showLegendKey val="0"/>
          <c:showVal val="0"/>
          <c:showCatName val="0"/>
          <c:showSerName val="0"/>
          <c:showPercent val="0"/>
          <c:showBubbleSize val="0"/>
        </c:dLbls>
        <c:gapWidth val="219"/>
        <c:overlap val="-27"/>
        <c:axId val="1133316008"/>
        <c:axId val="1133314832"/>
      </c:barChart>
      <c:catAx>
        <c:axId val="1133316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crossAx val="1133314832"/>
        <c:crosses val="autoZero"/>
        <c:auto val="1"/>
        <c:lblAlgn val="ctr"/>
        <c:lblOffset val="100"/>
        <c:noMultiLvlLbl val="0"/>
      </c:catAx>
      <c:valAx>
        <c:axId val="1133314832"/>
        <c:scaling>
          <c:orientation val="minMax"/>
        </c:scaling>
        <c:delete val="0"/>
        <c:axPos val="l"/>
        <c:numFmt formatCode="General" sourceLinked="1"/>
        <c:majorTickMark val="none"/>
        <c:minorTickMark val="none"/>
        <c:tickLblPos val="nextTo"/>
        <c:spPr>
          <a:noFill/>
          <a:ln>
            <a:solidFill>
              <a:schemeClr val="accent6"/>
            </a:solidFill>
          </a:ln>
          <a:effectLst/>
        </c:spPr>
        <c:txPr>
          <a:bodyPr rot="-6000000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crossAx val="1133316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dirty="0">
                <a:solidFill>
                  <a:schemeClr val="tx1"/>
                </a:solidFill>
              </a:rPr>
              <a:t>Gruppierte Säule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7.8908225588358347E-2"/>
          <c:y val="0.12156495142603335"/>
          <c:w val="0.86703932225255442"/>
          <c:h val="0.72603742231697288"/>
        </c:manualLayout>
      </c:layout>
      <c:barChart>
        <c:barDir val="col"/>
        <c:grouping val="clustered"/>
        <c:varyColors val="0"/>
        <c:ser>
          <c:idx val="0"/>
          <c:order val="0"/>
          <c:tx>
            <c:strRef>
              <c:f>Tabelle1!$B$1</c:f>
              <c:strCache>
                <c:ptCount val="1"/>
                <c:pt idx="0">
                  <c:v>Datenreihe 1</c:v>
                </c:pt>
              </c:strCache>
            </c:strRef>
          </c:tx>
          <c:spPr>
            <a:solidFill>
              <a:schemeClr val="tx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FCB-40AB-A996-C7E75AA3893B}"/>
            </c:ext>
          </c:extLst>
        </c:ser>
        <c:ser>
          <c:idx val="1"/>
          <c:order val="1"/>
          <c:tx>
            <c:strRef>
              <c:f>Tabelle1!$C$1</c:f>
              <c:strCache>
                <c:ptCount val="1"/>
                <c:pt idx="0">
                  <c:v>Datenreihe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FCB-40AB-A996-C7E75AA3893B}"/>
            </c:ext>
          </c:extLst>
        </c:ser>
        <c:ser>
          <c:idx val="2"/>
          <c:order val="2"/>
          <c:tx>
            <c:strRef>
              <c:f>Tabelle1!$D$1</c:f>
              <c:strCache>
                <c:ptCount val="1"/>
                <c:pt idx="0">
                  <c:v>Datenreihe 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9FCB-40AB-A996-C7E75AA3893B}"/>
            </c:ext>
          </c:extLst>
        </c:ser>
        <c:dLbls>
          <c:showLegendKey val="0"/>
          <c:showVal val="0"/>
          <c:showCatName val="0"/>
          <c:showSerName val="0"/>
          <c:showPercent val="0"/>
          <c:showBubbleSize val="0"/>
        </c:dLbls>
        <c:gapWidth val="219"/>
        <c:overlap val="-27"/>
        <c:axId val="1133311696"/>
        <c:axId val="1133317576"/>
      </c:barChart>
      <c:catAx>
        <c:axId val="113331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crossAx val="1133317576"/>
        <c:crosses val="autoZero"/>
        <c:auto val="1"/>
        <c:lblAlgn val="ctr"/>
        <c:lblOffset val="100"/>
        <c:noMultiLvlLbl val="0"/>
      </c:catAx>
      <c:valAx>
        <c:axId val="1133317576"/>
        <c:scaling>
          <c:orientation val="minMax"/>
        </c:scaling>
        <c:delete val="0"/>
        <c:axPos val="l"/>
        <c:numFmt formatCode="General" sourceLinked="1"/>
        <c:majorTickMark val="none"/>
        <c:minorTickMark val="none"/>
        <c:tickLblPos val="nextTo"/>
        <c:spPr>
          <a:noFill/>
          <a:ln>
            <a:solidFill>
              <a:schemeClr val="accent6"/>
            </a:solidFill>
          </a:ln>
          <a:effectLst/>
        </c:spPr>
        <c:txPr>
          <a:bodyPr rot="-6000000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crossAx val="1133311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9791A8-04FD-403E-9856-CD6E8558CED8}" type="datetimeFigureOut">
              <a:rPr lang="de-DE" smtClean="0"/>
              <a:t>04.05.2020</a:t>
            </a:fld>
            <a:endParaRPr lang="de-DE"/>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813ECD-FF2B-40B0-9159-4D0D91AB85CD}" type="slidenum">
              <a:rPr lang="de-DE" smtClean="0"/>
              <a:t>‹Nr.›</a:t>
            </a:fld>
            <a:endParaRPr lang="de-DE"/>
          </a:p>
        </p:txBody>
      </p:sp>
    </p:spTree>
    <p:extLst>
      <p:ext uri="{BB962C8B-B14F-4D97-AF65-F5344CB8AC3E}">
        <p14:creationId xmlns:p14="http://schemas.microsoft.com/office/powerpoint/2010/main" val="3631588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C813ECD-FF2B-40B0-9159-4D0D91AB85CD}" type="slidenum">
              <a:rPr lang="de-DE" smtClean="0"/>
              <a:t>12</a:t>
            </a:fld>
            <a:endParaRPr lang="de-DE"/>
          </a:p>
        </p:txBody>
      </p:sp>
    </p:spTree>
    <p:extLst>
      <p:ext uri="{BB962C8B-B14F-4D97-AF65-F5344CB8AC3E}">
        <p14:creationId xmlns:p14="http://schemas.microsoft.com/office/powerpoint/2010/main" val="767291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C813ECD-FF2B-40B0-9159-4D0D91AB85CD}" type="slidenum">
              <a:rPr lang="de-DE" smtClean="0"/>
              <a:t>16</a:t>
            </a:fld>
            <a:endParaRPr lang="de-DE"/>
          </a:p>
        </p:txBody>
      </p:sp>
    </p:spTree>
    <p:extLst>
      <p:ext uri="{BB962C8B-B14F-4D97-AF65-F5344CB8AC3E}">
        <p14:creationId xmlns:p14="http://schemas.microsoft.com/office/powerpoint/2010/main" val="500236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C813ECD-FF2B-40B0-9159-4D0D91AB85CD}" type="slidenum">
              <a:rPr lang="de-DE" smtClean="0"/>
              <a:t>18</a:t>
            </a:fld>
            <a:endParaRPr lang="de-DE"/>
          </a:p>
        </p:txBody>
      </p:sp>
    </p:spTree>
    <p:extLst>
      <p:ext uri="{BB962C8B-B14F-4D97-AF65-F5344CB8AC3E}">
        <p14:creationId xmlns:p14="http://schemas.microsoft.com/office/powerpoint/2010/main" val="2795825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C813ECD-FF2B-40B0-9159-4D0D91AB85CD}" type="slidenum">
              <a:rPr lang="de-DE" smtClean="0"/>
              <a:t>19</a:t>
            </a:fld>
            <a:endParaRPr lang="de-DE"/>
          </a:p>
        </p:txBody>
      </p:sp>
    </p:spTree>
    <p:extLst>
      <p:ext uri="{BB962C8B-B14F-4D97-AF65-F5344CB8AC3E}">
        <p14:creationId xmlns:p14="http://schemas.microsoft.com/office/powerpoint/2010/main" val="23153337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5.xml"/><Relationship Id="rId7"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elccon 2018_Titelfoli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341879C-2C2D-43C4-BAC2-6BF3D81AE105}"/>
              </a:ext>
            </a:extLst>
          </p:cNvPr>
          <p:cNvGraphicFramePr>
            <a:graphicFrameLocks noChangeAspect="1"/>
          </p:cNvGraphicFramePr>
          <p:nvPr userDrawn="1">
            <p:custDataLst>
              <p:tags r:id="rId2"/>
            </p:custDataLst>
            <p:extLst>
              <p:ext uri="{D42A27DB-BD31-4B8C-83A1-F6EECF244321}">
                <p14:modId xmlns:p14="http://schemas.microsoft.com/office/powerpoint/2010/main" val="402866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Folie" r:id="rId5" imgW="425" imgH="426" progId="TCLayout.ActiveDocument.1">
                  <p:embed/>
                </p:oleObj>
              </mc:Choice>
              <mc:Fallback>
                <p:oleObj name="think-cell Folie" r:id="rId5" imgW="425" imgH="426" progId="TCLayout.ActiveDocument.1">
                  <p:embed/>
                  <p:pic>
                    <p:nvPicPr>
                      <p:cNvPr id="12" name="Objekt 11" hidden="1">
                        <a:extLst>
                          <a:ext uri="{FF2B5EF4-FFF2-40B4-BE49-F238E27FC236}">
                            <a16:creationId xmlns:a16="http://schemas.microsoft.com/office/drawing/2014/main" id="{E341879C-2C2D-43C4-BAC2-6BF3D81AE1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B20CB436-7232-4095-BE09-031A7CAFA83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0" i="0" baseline="0" dirty="0">
              <a:latin typeface="Arial" panose="020B0604020202020204" pitchFamily="34" charset="0"/>
              <a:ea typeface="+mj-ea"/>
              <a:cs typeface="+mj-cs"/>
              <a:sym typeface="Arial" panose="020B0604020202020204" pitchFamily="34" charset="0"/>
            </a:endParaRPr>
          </a:p>
        </p:txBody>
      </p:sp>
      <p:pic>
        <p:nvPicPr>
          <p:cNvPr id="10" name="Grafik 9">
            <a:extLst>
              <a:ext uri="{FF2B5EF4-FFF2-40B4-BE49-F238E27FC236}">
                <a16:creationId xmlns:a16="http://schemas.microsoft.com/office/drawing/2014/main" id="{19D259D0-7329-4CDE-AB51-077A772C7C8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51950"/>
            <a:ext cx="9906000" cy="5685338"/>
          </a:xfrm>
          <a:prstGeom prst="rect">
            <a:avLst/>
          </a:prstGeom>
        </p:spPr>
      </p:pic>
      <p:sp>
        <p:nvSpPr>
          <p:cNvPr id="2" name="Title 1"/>
          <p:cNvSpPr>
            <a:spLocks noGrp="1"/>
          </p:cNvSpPr>
          <p:nvPr>
            <p:ph type="ctrTitle"/>
          </p:nvPr>
        </p:nvSpPr>
        <p:spPr>
          <a:xfrm>
            <a:off x="4800639" y="1726608"/>
            <a:ext cx="4828361" cy="1656672"/>
          </a:xfrm>
        </p:spPr>
        <p:txBody>
          <a:bodyPr vert="horz" lIns="0" tIns="0" rIns="0" bIns="0" rtlCol="0" anchor="b" anchorCtr="0">
            <a:noAutofit/>
          </a:bodyPr>
          <a:lstStyle>
            <a:lvl1pPr>
              <a:defRPr lang="en-US" sz="2400" dirty="0">
                <a:solidFill>
                  <a:schemeClr val="bg2"/>
                </a:solidFill>
              </a:defRPr>
            </a:lvl1pPr>
          </a:lstStyle>
          <a:p>
            <a:pPr lvl="0"/>
            <a:r>
              <a:rPr lang="de-DE" dirty="0"/>
              <a:t>Mastertitelformat bearbeiten</a:t>
            </a:r>
            <a:endParaRPr lang="en-US" dirty="0"/>
          </a:p>
        </p:txBody>
      </p:sp>
      <p:sp>
        <p:nvSpPr>
          <p:cNvPr id="3" name="Subtitle 2"/>
          <p:cNvSpPr>
            <a:spLocks noGrp="1"/>
          </p:cNvSpPr>
          <p:nvPr>
            <p:ph type="subTitle" idx="1"/>
          </p:nvPr>
        </p:nvSpPr>
        <p:spPr>
          <a:xfrm>
            <a:off x="4800639" y="3560806"/>
            <a:ext cx="4828361" cy="1223962"/>
          </a:xfrm>
        </p:spPr>
        <p:txBody>
          <a:bodyPr vert="horz" lIns="0" tIns="0" rIns="0" bIns="0" rtlCol="0" anchor="t" anchorCtr="0">
            <a:noAutofit/>
          </a:bodyPr>
          <a:lstStyle>
            <a:lvl1pPr>
              <a:defRPr lang="en-US" sz="1600" dirty="0">
                <a:solidFill>
                  <a:schemeClr val="tx1"/>
                </a:solidFill>
              </a:defRPr>
            </a:lvl1pPr>
          </a:lstStyle>
          <a:p>
            <a:pPr lvl="0"/>
            <a:r>
              <a:rPr lang="de-DE" dirty="0"/>
              <a:t>Master-Untertitelformat bearbeiten</a:t>
            </a:r>
            <a:endParaRPr lang="en-US" dirty="0"/>
          </a:p>
        </p:txBody>
      </p:sp>
      <p:sp>
        <p:nvSpPr>
          <p:cNvPr id="13" name="Rechteck 10">
            <a:extLst>
              <a:ext uri="{FF2B5EF4-FFF2-40B4-BE49-F238E27FC236}">
                <a16:creationId xmlns:a16="http://schemas.microsoft.com/office/drawing/2014/main" id="{C480F24B-3533-4A40-BCE1-2BC00B84D041}"/>
              </a:ext>
            </a:extLst>
          </p:cNvPr>
          <p:cNvSpPr/>
          <p:nvPr userDrawn="1"/>
        </p:nvSpPr>
        <p:spPr>
          <a:xfrm flipH="1">
            <a:off x="4563835" y="1580707"/>
            <a:ext cx="5342165" cy="3353138"/>
          </a:xfrm>
          <a:custGeom>
            <a:avLst/>
            <a:gdLst>
              <a:gd name="connsiteX0" fmla="*/ 0 w 6676571"/>
              <a:gd name="connsiteY0" fmla="*/ 0 h 2801256"/>
              <a:gd name="connsiteX1" fmla="*/ 6676571 w 6676571"/>
              <a:gd name="connsiteY1" fmla="*/ 0 h 2801256"/>
              <a:gd name="connsiteX2" fmla="*/ 6676571 w 6676571"/>
              <a:gd name="connsiteY2" fmla="*/ 2801256 h 2801256"/>
              <a:gd name="connsiteX3" fmla="*/ 0 w 6676571"/>
              <a:gd name="connsiteY3" fmla="*/ 2801256 h 2801256"/>
              <a:gd name="connsiteX4" fmla="*/ 0 w 6676571"/>
              <a:gd name="connsiteY4" fmla="*/ 0 h 2801256"/>
              <a:gd name="connsiteX0" fmla="*/ 0 w 6676571"/>
              <a:gd name="connsiteY0" fmla="*/ 0 h 2801256"/>
              <a:gd name="connsiteX1" fmla="*/ 6676571 w 6676571"/>
              <a:gd name="connsiteY1" fmla="*/ 0 h 2801256"/>
              <a:gd name="connsiteX2" fmla="*/ 6676571 w 6676571"/>
              <a:gd name="connsiteY2" fmla="*/ 2801256 h 2801256"/>
              <a:gd name="connsiteX3" fmla="*/ 0 w 6676571"/>
              <a:gd name="connsiteY3" fmla="*/ 2801256 h 2801256"/>
              <a:gd name="connsiteX4" fmla="*/ 91440 w 6676571"/>
              <a:gd name="connsiteY4" fmla="*/ 91440 h 2801256"/>
              <a:gd name="connsiteX0" fmla="*/ 0 w 6676571"/>
              <a:gd name="connsiteY0" fmla="*/ 0 h 2801256"/>
              <a:gd name="connsiteX1" fmla="*/ 6676571 w 6676571"/>
              <a:gd name="connsiteY1" fmla="*/ 0 h 2801256"/>
              <a:gd name="connsiteX2" fmla="*/ 6676571 w 6676571"/>
              <a:gd name="connsiteY2" fmla="*/ 2801256 h 2801256"/>
              <a:gd name="connsiteX3" fmla="*/ 0 w 6676571"/>
              <a:gd name="connsiteY3" fmla="*/ 2801256 h 2801256"/>
            </a:gdLst>
            <a:ahLst/>
            <a:cxnLst>
              <a:cxn ang="0">
                <a:pos x="connsiteX0" y="connsiteY0"/>
              </a:cxn>
              <a:cxn ang="0">
                <a:pos x="connsiteX1" y="connsiteY1"/>
              </a:cxn>
              <a:cxn ang="0">
                <a:pos x="connsiteX2" y="connsiteY2"/>
              </a:cxn>
              <a:cxn ang="0">
                <a:pos x="connsiteX3" y="connsiteY3"/>
              </a:cxn>
            </a:cxnLst>
            <a:rect l="l" t="t" r="r" b="b"/>
            <a:pathLst>
              <a:path w="6676571" h="2801256">
                <a:moveTo>
                  <a:pt x="0" y="0"/>
                </a:moveTo>
                <a:lnTo>
                  <a:pt x="6676571" y="0"/>
                </a:lnTo>
                <a:lnTo>
                  <a:pt x="6676571" y="2801256"/>
                </a:lnTo>
                <a:lnTo>
                  <a:pt x="0" y="2801256"/>
                </a:lnTo>
              </a:path>
            </a:pathLst>
          </a:custGeom>
          <a:noFill/>
          <a:ln w="28575" cap="flat" cmpd="sng" algn="ctr">
            <a:solidFill>
              <a:schemeClr val="bg2"/>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pic>
        <p:nvPicPr>
          <p:cNvPr id="14" name="Grafik 13">
            <a:extLst>
              <a:ext uri="{FF2B5EF4-FFF2-40B4-BE49-F238E27FC236}">
                <a16:creationId xmlns:a16="http://schemas.microsoft.com/office/drawing/2014/main" id="{52361F95-01F3-4EC4-98BB-F8900FA809F8}"/>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l="19795" t="35517" r="17505" b="31722"/>
          <a:stretch/>
        </p:blipFill>
        <p:spPr>
          <a:xfrm>
            <a:off x="7583401" y="137555"/>
            <a:ext cx="2081112" cy="656829"/>
          </a:xfrm>
          <a:prstGeom prst="rect">
            <a:avLst/>
          </a:prstGeom>
        </p:spPr>
      </p:pic>
    </p:spTree>
    <p:extLst>
      <p:ext uri="{BB962C8B-B14F-4D97-AF65-F5344CB8AC3E}">
        <p14:creationId xmlns:p14="http://schemas.microsoft.com/office/powerpoint/2010/main" val="180552808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elccon 2018_Abschnittsfolie orang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50639A6-6671-47BD-80BF-75C59212B7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51950"/>
            <a:ext cx="9906000" cy="5685338"/>
          </a:xfrm>
          <a:prstGeom prst="rect">
            <a:avLst/>
          </a:prstGeom>
        </p:spPr>
      </p:pic>
      <p:sp>
        <p:nvSpPr>
          <p:cNvPr id="2" name="Title 1"/>
          <p:cNvSpPr>
            <a:spLocks noGrp="1"/>
          </p:cNvSpPr>
          <p:nvPr>
            <p:ph type="title" hasCustomPrompt="1"/>
          </p:nvPr>
        </p:nvSpPr>
        <p:spPr>
          <a:xfrm>
            <a:off x="0" y="3414941"/>
            <a:ext cx="9906000" cy="826905"/>
          </a:xfrm>
          <a:solidFill>
            <a:schemeClr val="bg2">
              <a:alpha val="80000"/>
            </a:schemeClr>
          </a:solidFill>
        </p:spPr>
        <p:txBody>
          <a:bodyPr vert="horz" lIns="270000" tIns="108000" rIns="270000" bIns="0" rtlCol="0" anchor="t" anchorCtr="0">
            <a:noAutofit/>
          </a:bodyPr>
          <a:lstStyle>
            <a:lvl1pPr>
              <a:defRPr lang="en-US" dirty="0">
                <a:solidFill>
                  <a:schemeClr val="bg1"/>
                </a:solidFill>
                <a:latin typeface="+mj-lt"/>
              </a:defRPr>
            </a:lvl1pPr>
          </a:lstStyle>
          <a:p>
            <a:pPr lvl="0"/>
            <a:r>
              <a:rPr lang="de-DE" dirty="0"/>
              <a:t>Kapitel</a:t>
            </a:r>
            <a:endParaRPr lang="en-US" dirty="0"/>
          </a:p>
        </p:txBody>
      </p:sp>
      <p:pic>
        <p:nvPicPr>
          <p:cNvPr id="6" name="Grafik 5">
            <a:extLst>
              <a:ext uri="{FF2B5EF4-FFF2-40B4-BE49-F238E27FC236}">
                <a16:creationId xmlns:a16="http://schemas.microsoft.com/office/drawing/2014/main" id="{00B8A69A-9AB2-4693-9B9E-56122A7B6E8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9795" t="35517" r="17505" b="31722"/>
          <a:stretch/>
        </p:blipFill>
        <p:spPr>
          <a:xfrm>
            <a:off x="7583401" y="137555"/>
            <a:ext cx="2081112" cy="656829"/>
          </a:xfrm>
          <a:prstGeom prst="rect">
            <a:avLst/>
          </a:prstGeom>
        </p:spPr>
      </p:pic>
    </p:spTree>
    <p:extLst>
      <p:ext uri="{BB962C8B-B14F-4D97-AF65-F5344CB8AC3E}">
        <p14:creationId xmlns:p14="http://schemas.microsoft.com/office/powerpoint/2010/main" val="27440124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lccon 2018_Abschnittsfolie türkis">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50639A6-6671-47BD-80BF-75C59212B7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51950"/>
            <a:ext cx="9906000" cy="5685338"/>
          </a:xfrm>
          <a:prstGeom prst="rect">
            <a:avLst/>
          </a:prstGeom>
        </p:spPr>
      </p:pic>
      <p:sp>
        <p:nvSpPr>
          <p:cNvPr id="2" name="Title 1"/>
          <p:cNvSpPr>
            <a:spLocks noGrp="1"/>
          </p:cNvSpPr>
          <p:nvPr>
            <p:ph type="title" hasCustomPrompt="1"/>
          </p:nvPr>
        </p:nvSpPr>
        <p:spPr>
          <a:xfrm>
            <a:off x="0" y="3414941"/>
            <a:ext cx="9906000" cy="826905"/>
          </a:xfrm>
          <a:solidFill>
            <a:schemeClr val="accent3">
              <a:alpha val="80000"/>
            </a:schemeClr>
          </a:solidFill>
        </p:spPr>
        <p:txBody>
          <a:bodyPr vert="horz" lIns="270000" tIns="108000" rIns="270000" bIns="0" rtlCol="0" anchor="t" anchorCtr="0">
            <a:noAutofit/>
          </a:bodyPr>
          <a:lstStyle>
            <a:lvl1pPr>
              <a:defRPr lang="en-US" dirty="0">
                <a:solidFill>
                  <a:schemeClr val="bg1"/>
                </a:solidFill>
                <a:latin typeface="+mj-lt"/>
              </a:defRPr>
            </a:lvl1pPr>
          </a:lstStyle>
          <a:p>
            <a:pPr lvl="0"/>
            <a:r>
              <a:rPr lang="de-DE" dirty="0"/>
              <a:t>Kapitel</a:t>
            </a:r>
            <a:endParaRPr lang="en-US" dirty="0"/>
          </a:p>
        </p:txBody>
      </p:sp>
      <p:pic>
        <p:nvPicPr>
          <p:cNvPr id="5" name="Grafik 4">
            <a:extLst>
              <a:ext uri="{FF2B5EF4-FFF2-40B4-BE49-F238E27FC236}">
                <a16:creationId xmlns:a16="http://schemas.microsoft.com/office/drawing/2014/main" id="{180A82C8-7A4F-434A-BEC3-2DAAF038BF1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9795" t="35517" r="17505" b="31722"/>
          <a:stretch/>
        </p:blipFill>
        <p:spPr>
          <a:xfrm>
            <a:off x="7583401" y="137555"/>
            <a:ext cx="2081112" cy="656829"/>
          </a:xfrm>
          <a:prstGeom prst="rect">
            <a:avLst/>
          </a:prstGeom>
        </p:spPr>
      </p:pic>
    </p:spTree>
    <p:extLst>
      <p:ext uri="{BB962C8B-B14F-4D97-AF65-F5344CB8AC3E}">
        <p14:creationId xmlns:p14="http://schemas.microsoft.com/office/powerpoint/2010/main" val="762998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C5393247-BEC2-4132-819E-25C4067DC6DB}" type="slidenum">
              <a:rPr lang="en-US" noProof="0" smtClean="0"/>
              <a:t>‹Nr.›</a:t>
            </a:fld>
            <a:endParaRPr lang="en-US" noProof="0"/>
          </a:p>
        </p:txBody>
      </p:sp>
      <p:sp>
        <p:nvSpPr>
          <p:cNvPr id="8" name="Textplatzhalter 7"/>
          <p:cNvSpPr>
            <a:spLocks noGrp="1"/>
          </p:cNvSpPr>
          <p:nvPr>
            <p:ph type="body" sz="quarter" idx="13" hasCustomPrompt="1"/>
          </p:nvPr>
        </p:nvSpPr>
        <p:spPr>
          <a:xfrm>
            <a:off x="3871898" y="1566952"/>
            <a:ext cx="4056989" cy="2951162"/>
          </a:xfrm>
        </p:spPr>
        <p:txBody>
          <a:bodyPr>
            <a:normAutofit/>
          </a:bodyPr>
          <a:lstStyle>
            <a:lvl1pPr marL="271463" indent="-271463">
              <a:lnSpc>
                <a:spcPct val="100000"/>
              </a:lnSpc>
              <a:spcBef>
                <a:spcPts val="2200"/>
              </a:spcBef>
              <a:buFont typeface="+mj-lt"/>
              <a:buAutoNum type="arabicPeriod"/>
              <a:defRPr sz="1800" baseline="0">
                <a:latin typeface="+mn-lt"/>
              </a:defRPr>
            </a:lvl1pPr>
            <a:lvl2pPr marL="342900" indent="-342900">
              <a:lnSpc>
                <a:spcPct val="200000"/>
              </a:lnSpc>
              <a:buFont typeface="+mj-lt"/>
              <a:buAutoNum type="arabicPeriod"/>
              <a:defRPr/>
            </a:lvl2pPr>
            <a:lvl3pPr marL="517525" indent="-342900">
              <a:lnSpc>
                <a:spcPct val="200000"/>
              </a:lnSpc>
              <a:buFont typeface="+mj-lt"/>
              <a:buAutoNum type="arabicPeriod"/>
              <a:defRPr/>
            </a:lvl3pPr>
            <a:lvl4pPr marL="701675" indent="-342900">
              <a:lnSpc>
                <a:spcPct val="200000"/>
              </a:lnSpc>
              <a:buFont typeface="+mj-lt"/>
              <a:buAutoNum type="arabicPeriod"/>
              <a:defRPr/>
            </a:lvl4pPr>
            <a:lvl5pPr marL="876300" indent="-342900">
              <a:lnSpc>
                <a:spcPct val="200000"/>
              </a:lnSpc>
              <a:buFont typeface="+mj-lt"/>
              <a:buAutoNum type="arabicPeriod"/>
              <a:defRPr/>
            </a:lvl5pPr>
          </a:lstStyle>
          <a:p>
            <a:r>
              <a:rPr lang="de-DE" noProof="0" dirty="0"/>
              <a:t>Kapitel 1</a:t>
            </a:r>
          </a:p>
          <a:p>
            <a:r>
              <a:rPr lang="de-DE" noProof="0" dirty="0"/>
              <a:t>Kapitel 2</a:t>
            </a:r>
          </a:p>
          <a:p>
            <a:r>
              <a:rPr lang="de-DE" noProof="0" dirty="0"/>
              <a:t>Kapitel 3</a:t>
            </a:r>
          </a:p>
          <a:p>
            <a:r>
              <a:rPr lang="de-DE" noProof="0" dirty="0"/>
              <a:t>Kapitel 4</a:t>
            </a:r>
          </a:p>
        </p:txBody>
      </p:sp>
      <p:sp>
        <p:nvSpPr>
          <p:cNvPr id="5"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762AB7E0-5B14-4E8C-BE30-714C26ACF8CC}" type="datetime1">
              <a:rPr lang="de-DE" smtClean="0"/>
              <a:t>04.05.2020</a:t>
            </a:fld>
            <a:endParaRPr lang="de-DE" dirty="0"/>
          </a:p>
        </p:txBody>
      </p:sp>
      <p:sp>
        <p:nvSpPr>
          <p:cNvPr id="9" name="Inhaltsplatzhalter 8"/>
          <p:cNvSpPr>
            <a:spLocks noGrp="1"/>
          </p:cNvSpPr>
          <p:nvPr>
            <p:ph sz="quarter" idx="14" hasCustomPrompt="1"/>
          </p:nvPr>
        </p:nvSpPr>
        <p:spPr>
          <a:xfrm>
            <a:off x="1639888" y="1505793"/>
            <a:ext cx="2016968" cy="576263"/>
          </a:xfrm>
        </p:spPr>
        <p:txBody>
          <a:bodyPr/>
          <a:lstStyle>
            <a:lvl1pPr>
              <a:defRPr sz="3600"/>
            </a:lvl1pPr>
          </a:lstStyle>
          <a:p>
            <a:pPr lvl="0"/>
            <a:r>
              <a:rPr lang="de-DE" dirty="0"/>
              <a:t>Inhalt</a:t>
            </a:r>
          </a:p>
        </p:txBody>
      </p:sp>
      <p:sp>
        <p:nvSpPr>
          <p:cNvPr id="7" name="Textplatzhalter 11">
            <a:extLst>
              <a:ext uri="{FF2B5EF4-FFF2-40B4-BE49-F238E27FC236}">
                <a16:creationId xmlns:a16="http://schemas.microsoft.com/office/drawing/2014/main" id="{F0DCE937-B0A9-4DF4-8A8C-F4CDB3EEFD04}"/>
              </a:ext>
            </a:extLst>
          </p:cNvPr>
          <p:cNvSpPr>
            <a:spLocks noGrp="1"/>
          </p:cNvSpPr>
          <p:nvPr>
            <p:ph type="body" sz="quarter" idx="15" hasCustomPrompt="1"/>
          </p:nvPr>
        </p:nvSpPr>
        <p:spPr>
          <a:xfrm>
            <a:off x="280800" y="6237288"/>
            <a:ext cx="9363600" cy="288147"/>
          </a:xfrm>
        </p:spPr>
        <p:txBody>
          <a:bodyPr vert="horz" lIns="0" tIns="72000" rIns="0" bIns="0" rtlCol="0" anchor="t" anchorCtr="0">
            <a:noAutofit/>
          </a:bodyPr>
          <a:lstStyle>
            <a:lvl1pPr>
              <a:defRPr lang="de-DE" sz="700" dirty="0">
                <a:solidFill>
                  <a:schemeClr val="accent6">
                    <a:lumMod val="75000"/>
                  </a:schemeClr>
                </a:solidFill>
              </a:defRPr>
            </a:lvl1pPr>
          </a:lstStyle>
          <a:p>
            <a:pPr lvl="0">
              <a:spcAft>
                <a:spcPts val="0"/>
              </a:spcAft>
            </a:pPr>
            <a:r>
              <a:rPr lang="de-DE" dirty="0"/>
              <a:t>Fußzeile</a:t>
            </a:r>
          </a:p>
          <a:p>
            <a:pPr lvl="0">
              <a:spcAft>
                <a:spcPts val="0"/>
              </a:spcAft>
            </a:pPr>
            <a:endParaRPr lang="de-DE" dirty="0"/>
          </a:p>
          <a:p>
            <a:pPr lvl="0">
              <a:spcAft>
                <a:spcPts val="0"/>
              </a:spcAft>
            </a:pPr>
            <a:endParaRPr lang="de-DE" dirty="0"/>
          </a:p>
        </p:txBody>
      </p:sp>
    </p:spTree>
    <p:extLst>
      <p:ext uri="{BB962C8B-B14F-4D97-AF65-F5344CB8AC3E}">
        <p14:creationId xmlns:p14="http://schemas.microsoft.com/office/powerpoint/2010/main" val="1682941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lccon 2018_Titel und 1 Inhalt_ohne Bi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194969-7EAB-4692-9044-3B4837B1E96A}"/>
              </a:ext>
            </a:extLst>
          </p:cNvPr>
          <p:cNvGraphicFramePr>
            <a:graphicFrameLocks noChangeAspect="1"/>
          </p:cNvGraphicFramePr>
          <p:nvPr userDrawn="1">
            <p:custDataLst>
              <p:tags r:id="rId2"/>
            </p:custDataLst>
            <p:extLst>
              <p:ext uri="{D42A27DB-BD31-4B8C-83A1-F6EECF244321}">
                <p14:modId xmlns:p14="http://schemas.microsoft.com/office/powerpoint/2010/main" val="1821363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C7194969-7EAB-4692-9044-3B4837B1E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BEA9B4B-F86B-41AA-8DB8-2CDE425148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284400" y="475200"/>
            <a:ext cx="9363600" cy="666000"/>
          </a:xfrm>
        </p:spPr>
        <p:txBody>
          <a:bodyPr bIns="108000">
            <a:noAutofit/>
          </a:bodyPr>
          <a:lstStyle>
            <a:lvl1pPr>
              <a:defRPr/>
            </a:lvl1pPr>
          </a:lstStyle>
          <a:p>
            <a:r>
              <a:rPr lang="de-DE" dirty="0"/>
              <a:t>Titel</a:t>
            </a:r>
            <a:endParaRPr lang="en-US" dirty="0"/>
          </a:p>
        </p:txBody>
      </p:sp>
      <p:sp>
        <p:nvSpPr>
          <p:cNvPr id="3" name="Content Placeholder 2"/>
          <p:cNvSpPr>
            <a:spLocks noGrp="1"/>
          </p:cNvSpPr>
          <p:nvPr>
            <p:ph idx="1" hasCustomPrompt="1"/>
          </p:nvPr>
        </p:nvSpPr>
        <p:spPr>
          <a:xfrm>
            <a:off x="284400" y="1627200"/>
            <a:ext cx="9360000" cy="4608000"/>
          </a:xfrm>
        </p:spPr>
        <p:txBody>
          <a:bodyPr lIns="0" tIns="0" rIns="0" bIns="0"/>
          <a:lstStyle/>
          <a:p>
            <a:pPr lvl="0"/>
            <a:r>
              <a:rPr lang="de-DE" dirty="0"/>
              <a:t>Mastertextformat bearbeiten</a:t>
            </a:r>
          </a:p>
          <a:p>
            <a:pPr lvl="2"/>
            <a:r>
              <a:rPr lang="de-DE" dirty="0"/>
              <a:t>Zweite Ebene</a:t>
            </a:r>
          </a:p>
          <a:p>
            <a:pPr lvl="3"/>
            <a:r>
              <a:rPr lang="de-DE" dirty="0"/>
              <a:t>Dritte Ebene</a:t>
            </a:r>
          </a:p>
        </p:txBody>
      </p:sp>
      <p:sp>
        <p:nvSpPr>
          <p:cNvPr id="10" name="Textplatzhalter 9">
            <a:extLst>
              <a:ext uri="{FF2B5EF4-FFF2-40B4-BE49-F238E27FC236}">
                <a16:creationId xmlns:a16="http://schemas.microsoft.com/office/drawing/2014/main" id="{5A69F35B-D411-4BA5-B23B-4FFF95A54E8B}"/>
              </a:ext>
            </a:extLst>
          </p:cNvPr>
          <p:cNvSpPr>
            <a:spLocks noGrp="1"/>
          </p:cNvSpPr>
          <p:nvPr>
            <p:ph type="body" sz="quarter" idx="13" hasCustomPrompt="1"/>
          </p:nvPr>
        </p:nvSpPr>
        <p:spPr>
          <a:xfrm>
            <a:off x="284400" y="1152072"/>
            <a:ext cx="9360000" cy="332712"/>
          </a:xfrm>
        </p:spPr>
        <p:txBody>
          <a:bodyPr lIns="0" rIns="108000">
            <a:noAutofit/>
          </a:bodyPr>
          <a:lstStyle>
            <a:lvl1pPr>
              <a:defRPr/>
            </a:lvl1pPr>
          </a:lstStyle>
          <a:p>
            <a:pPr lvl="0"/>
            <a:r>
              <a:rPr lang="de-DE" dirty="0"/>
              <a:t>Untertitel</a:t>
            </a:r>
          </a:p>
        </p:txBody>
      </p:sp>
      <p:sp>
        <p:nvSpPr>
          <p:cNvPr id="12" name="Textplatzhalter 11">
            <a:extLst>
              <a:ext uri="{FF2B5EF4-FFF2-40B4-BE49-F238E27FC236}">
                <a16:creationId xmlns:a16="http://schemas.microsoft.com/office/drawing/2014/main" id="{FA8B02F8-AC6B-4A07-B7FD-5CE59E0B0ACB}"/>
              </a:ext>
            </a:extLst>
          </p:cNvPr>
          <p:cNvSpPr>
            <a:spLocks noGrp="1"/>
          </p:cNvSpPr>
          <p:nvPr>
            <p:ph type="body" sz="quarter" idx="14" hasCustomPrompt="1"/>
          </p:nvPr>
        </p:nvSpPr>
        <p:spPr>
          <a:xfrm>
            <a:off x="280800" y="6237288"/>
            <a:ext cx="9363600" cy="288147"/>
          </a:xfrm>
        </p:spPr>
        <p:txBody>
          <a:bodyPr vert="horz" lIns="0" tIns="72000" rIns="0" bIns="0" rtlCol="0" anchor="t" anchorCtr="0">
            <a:noAutofit/>
          </a:bodyPr>
          <a:lstStyle>
            <a:lvl1pPr>
              <a:defRPr lang="de-DE" sz="700" dirty="0">
                <a:solidFill>
                  <a:schemeClr val="accent6">
                    <a:lumMod val="75000"/>
                  </a:schemeClr>
                </a:solidFill>
              </a:defRPr>
            </a:lvl1pPr>
          </a:lstStyle>
          <a:p>
            <a:pPr lvl="0">
              <a:spcAft>
                <a:spcPts val="0"/>
              </a:spcAft>
            </a:pPr>
            <a:r>
              <a:rPr lang="de-DE" dirty="0"/>
              <a:t>Fußzeile</a:t>
            </a:r>
          </a:p>
          <a:p>
            <a:pPr lvl="0">
              <a:spcAft>
                <a:spcPts val="0"/>
              </a:spcAft>
            </a:pPr>
            <a:endParaRPr lang="de-DE" dirty="0"/>
          </a:p>
        </p:txBody>
      </p:sp>
      <p:sp>
        <p:nvSpPr>
          <p:cNvPr id="15"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2C66B051-0BCC-4DD5-992E-7137324EA2B2}" type="datetime1">
              <a:rPr lang="de-DE" smtClean="0"/>
              <a:t>04.05.2020</a:t>
            </a:fld>
            <a:endParaRPr lang="de-DE" dirty="0"/>
          </a:p>
        </p:txBody>
      </p:sp>
      <p:sp>
        <p:nvSpPr>
          <p:cNvPr id="16" name="Slide Number Placeholder 5"/>
          <p:cNvSpPr>
            <a:spLocks noGrp="1"/>
          </p:cNvSpPr>
          <p:nvPr>
            <p:ph type="sldNum" sz="quarter" idx="4"/>
          </p:nvPr>
        </p:nvSpPr>
        <p:spPr>
          <a:xfrm>
            <a:off x="928939" y="6621990"/>
            <a:ext cx="209993" cy="153888"/>
          </a:xfrm>
          <a:prstGeom prst="rect">
            <a:avLst/>
          </a:prstGeom>
        </p:spPr>
        <p:txBody>
          <a:bodyPr vert="horz" wrap="none" lIns="0" tIns="0" rIns="0" bIns="0" rtlCol="0" anchor="ctr">
            <a:spAutoFit/>
          </a:bodyPr>
          <a:lstStyle>
            <a:lvl1pPr algn="r">
              <a:defRPr sz="1000">
                <a:solidFill>
                  <a:schemeClr val="accent6">
                    <a:lumMod val="75000"/>
                  </a:schemeClr>
                </a:solidFill>
              </a:defRPr>
            </a:lvl1pPr>
          </a:lstStyle>
          <a:p>
            <a:fld id="{60F8E2DC-8382-49B6-A2A6-01CCC12CBD17}" type="slidenum">
              <a:rPr lang="de-DE" smtClean="0"/>
              <a:pPr/>
              <a:t>‹Nr.›</a:t>
            </a:fld>
            <a:endParaRPr lang="de-DE" dirty="0"/>
          </a:p>
        </p:txBody>
      </p:sp>
      <p:cxnSp>
        <p:nvCxnSpPr>
          <p:cNvPr id="17" name="Gerader Verbinder 16"/>
          <p:cNvCxnSpPr/>
          <p:nvPr userDrawn="1"/>
        </p:nvCxnSpPr>
        <p:spPr>
          <a:xfrm>
            <a:off x="866200" y="6621990"/>
            <a:ext cx="0" cy="153888"/>
          </a:xfrm>
          <a:prstGeom prst="line">
            <a:avLst/>
          </a:prstGeom>
          <a:noFill/>
          <a:ln w="25400" cap="rnd" cmpd="sng" algn="ctr">
            <a:solidFill>
              <a:schemeClr val="accent6"/>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420678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lccon 2018_blank_ohne Bi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194969-7EAB-4692-9044-3B4837B1E96A}"/>
              </a:ext>
            </a:extLst>
          </p:cNvPr>
          <p:cNvGraphicFramePr>
            <a:graphicFrameLocks noChangeAspect="1"/>
          </p:cNvGraphicFramePr>
          <p:nvPr userDrawn="1">
            <p:custDataLst>
              <p:tags r:id="rId2"/>
            </p:custDataLst>
            <p:extLst>
              <p:ext uri="{D42A27DB-BD31-4B8C-83A1-F6EECF244321}">
                <p14:modId xmlns:p14="http://schemas.microsoft.com/office/powerpoint/2010/main" val="1515479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C7194969-7EAB-4692-9044-3B4837B1E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BEA9B4B-F86B-41AA-8DB8-2CDE425148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284400" y="475200"/>
            <a:ext cx="9360000" cy="666000"/>
          </a:xfrm>
        </p:spPr>
        <p:txBody>
          <a:bodyPr bIns="108000">
            <a:noAutofit/>
          </a:bodyPr>
          <a:lstStyle>
            <a:lvl1pPr>
              <a:defRPr/>
            </a:lvl1pPr>
          </a:lstStyle>
          <a:p>
            <a:r>
              <a:rPr lang="de-DE" dirty="0"/>
              <a:t>Titel</a:t>
            </a:r>
            <a:endParaRPr lang="en-US" dirty="0"/>
          </a:p>
        </p:txBody>
      </p:sp>
      <p:sp>
        <p:nvSpPr>
          <p:cNvPr id="10" name="Textplatzhalter 9">
            <a:extLst>
              <a:ext uri="{FF2B5EF4-FFF2-40B4-BE49-F238E27FC236}">
                <a16:creationId xmlns:a16="http://schemas.microsoft.com/office/drawing/2014/main" id="{5A69F35B-D411-4BA5-B23B-4FFF95A54E8B}"/>
              </a:ext>
            </a:extLst>
          </p:cNvPr>
          <p:cNvSpPr>
            <a:spLocks noGrp="1"/>
          </p:cNvSpPr>
          <p:nvPr>
            <p:ph type="body" sz="quarter" idx="13" hasCustomPrompt="1"/>
          </p:nvPr>
        </p:nvSpPr>
        <p:spPr>
          <a:xfrm>
            <a:off x="284400" y="1152000"/>
            <a:ext cx="9360000" cy="332712"/>
          </a:xfrm>
        </p:spPr>
        <p:txBody>
          <a:bodyPr lIns="0" rIns="108000">
            <a:noAutofit/>
          </a:bodyPr>
          <a:lstStyle>
            <a:lvl1pPr>
              <a:defRPr/>
            </a:lvl1pPr>
          </a:lstStyle>
          <a:p>
            <a:pPr lvl="0"/>
            <a:r>
              <a:rPr lang="de-DE" dirty="0"/>
              <a:t>Untertitel</a:t>
            </a:r>
          </a:p>
        </p:txBody>
      </p:sp>
      <p:sp>
        <p:nvSpPr>
          <p:cNvPr id="12" name="Textplatzhalter 11">
            <a:extLst>
              <a:ext uri="{FF2B5EF4-FFF2-40B4-BE49-F238E27FC236}">
                <a16:creationId xmlns:a16="http://schemas.microsoft.com/office/drawing/2014/main" id="{FA8B02F8-AC6B-4A07-B7FD-5CE59E0B0ACB}"/>
              </a:ext>
            </a:extLst>
          </p:cNvPr>
          <p:cNvSpPr>
            <a:spLocks noGrp="1"/>
          </p:cNvSpPr>
          <p:nvPr>
            <p:ph type="body" sz="quarter" idx="14" hasCustomPrompt="1"/>
          </p:nvPr>
        </p:nvSpPr>
        <p:spPr>
          <a:xfrm>
            <a:off x="280800" y="6237288"/>
            <a:ext cx="9363600" cy="288147"/>
          </a:xfrm>
        </p:spPr>
        <p:txBody>
          <a:bodyPr vert="horz" lIns="0" tIns="72000" rIns="0" bIns="0" rtlCol="0" anchor="t" anchorCtr="0">
            <a:noAutofit/>
          </a:bodyPr>
          <a:lstStyle>
            <a:lvl1pPr>
              <a:defRPr lang="de-DE" sz="700" dirty="0">
                <a:solidFill>
                  <a:schemeClr val="accent6">
                    <a:lumMod val="75000"/>
                  </a:schemeClr>
                </a:solidFill>
              </a:defRPr>
            </a:lvl1pPr>
          </a:lstStyle>
          <a:p>
            <a:pPr lvl="0">
              <a:spcAft>
                <a:spcPts val="0"/>
              </a:spcAft>
            </a:pPr>
            <a:r>
              <a:rPr lang="de-DE" dirty="0"/>
              <a:t>Fußzeile</a:t>
            </a:r>
          </a:p>
          <a:p>
            <a:pPr lvl="0">
              <a:spcAft>
                <a:spcPts val="0"/>
              </a:spcAft>
            </a:pPr>
            <a:endParaRPr lang="de-DE" dirty="0"/>
          </a:p>
        </p:txBody>
      </p:sp>
      <p:sp>
        <p:nvSpPr>
          <p:cNvPr id="15"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10FB1CFC-D61F-4E4B-BC48-3EC096E5C0F0}" type="datetime1">
              <a:rPr lang="de-DE" smtClean="0"/>
              <a:t>04.05.2020</a:t>
            </a:fld>
            <a:endParaRPr lang="de-DE" dirty="0"/>
          </a:p>
        </p:txBody>
      </p:sp>
      <p:sp>
        <p:nvSpPr>
          <p:cNvPr id="16" name="Slide Number Placeholder 5"/>
          <p:cNvSpPr>
            <a:spLocks noGrp="1"/>
          </p:cNvSpPr>
          <p:nvPr>
            <p:ph type="sldNum" sz="quarter" idx="4"/>
          </p:nvPr>
        </p:nvSpPr>
        <p:spPr>
          <a:xfrm>
            <a:off x="928939" y="6621990"/>
            <a:ext cx="209993" cy="153888"/>
          </a:xfrm>
          <a:prstGeom prst="rect">
            <a:avLst/>
          </a:prstGeom>
        </p:spPr>
        <p:txBody>
          <a:bodyPr vert="horz" wrap="none" lIns="0" tIns="0" rIns="0" bIns="0" rtlCol="0" anchor="ctr">
            <a:spAutoFit/>
          </a:bodyPr>
          <a:lstStyle>
            <a:lvl1pPr algn="r">
              <a:defRPr sz="1000">
                <a:solidFill>
                  <a:schemeClr val="accent6">
                    <a:lumMod val="75000"/>
                  </a:schemeClr>
                </a:solidFill>
              </a:defRPr>
            </a:lvl1pPr>
          </a:lstStyle>
          <a:p>
            <a:fld id="{60F8E2DC-8382-49B6-A2A6-01CCC12CBD17}" type="slidenum">
              <a:rPr lang="de-DE" smtClean="0"/>
              <a:pPr/>
              <a:t>‹Nr.›</a:t>
            </a:fld>
            <a:endParaRPr lang="de-DE" dirty="0"/>
          </a:p>
        </p:txBody>
      </p:sp>
      <p:cxnSp>
        <p:nvCxnSpPr>
          <p:cNvPr id="18" name="Gerader Verbinder 17"/>
          <p:cNvCxnSpPr/>
          <p:nvPr userDrawn="1"/>
        </p:nvCxnSpPr>
        <p:spPr>
          <a:xfrm>
            <a:off x="866200" y="6621990"/>
            <a:ext cx="0" cy="153888"/>
          </a:xfrm>
          <a:prstGeom prst="line">
            <a:avLst/>
          </a:prstGeom>
          <a:noFill/>
          <a:ln w="25400" cap="rnd" cmpd="sng" algn="ctr">
            <a:solidFill>
              <a:schemeClr val="accent6"/>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044155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lccon 2018_Titel und 1 Inhal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4400" y="1627200"/>
            <a:ext cx="9360000" cy="4608000"/>
          </a:xfrm>
        </p:spPr>
        <p:txBody>
          <a:bodyPr lIns="0" rIns="0" bIns="0"/>
          <a:lstStyle/>
          <a:p>
            <a:pPr lvl="0"/>
            <a:r>
              <a:rPr lang="de-DE" dirty="0"/>
              <a:t>Mastertextformat bearbeiten</a:t>
            </a:r>
          </a:p>
          <a:p>
            <a:pPr lvl="2"/>
            <a:r>
              <a:rPr lang="de-DE" dirty="0"/>
              <a:t>Zweite Ebene</a:t>
            </a:r>
          </a:p>
          <a:p>
            <a:pPr lvl="3"/>
            <a:r>
              <a:rPr lang="de-DE" dirty="0"/>
              <a:t>Dritte Ebene</a:t>
            </a:r>
          </a:p>
        </p:txBody>
      </p:sp>
      <p:graphicFrame>
        <p:nvGraphicFramePr>
          <p:cNvPr id="8" name="Objekt 7" hidden="1">
            <a:extLst>
              <a:ext uri="{FF2B5EF4-FFF2-40B4-BE49-F238E27FC236}">
                <a16:creationId xmlns:a16="http://schemas.microsoft.com/office/drawing/2014/main" id="{C7194969-7EAB-4692-9044-3B4837B1E96A}"/>
              </a:ext>
            </a:extLst>
          </p:cNvPr>
          <p:cNvGraphicFramePr>
            <a:graphicFrameLocks noChangeAspect="1"/>
          </p:cNvGraphicFramePr>
          <p:nvPr userDrawn="1">
            <p:custDataLst>
              <p:tags r:id="rId2"/>
            </p:custDataLst>
            <p:extLst>
              <p:ext uri="{D42A27DB-BD31-4B8C-83A1-F6EECF244321}">
                <p14:modId xmlns:p14="http://schemas.microsoft.com/office/powerpoint/2010/main" val="165761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C7194969-7EAB-4692-9044-3B4837B1E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BEA9B4B-F86B-41AA-8DB8-2CDE425148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284400" y="475200"/>
            <a:ext cx="9360000" cy="666000"/>
          </a:xfrm>
        </p:spPr>
        <p:txBody>
          <a:bodyPr bIns="108000">
            <a:noAutofit/>
          </a:bodyPr>
          <a:lstStyle>
            <a:lvl1pPr>
              <a:defRPr/>
            </a:lvl1pPr>
          </a:lstStyle>
          <a:p>
            <a:r>
              <a:rPr lang="de-DE" dirty="0"/>
              <a:t>Titel</a:t>
            </a:r>
            <a:endParaRPr lang="en-US" dirty="0"/>
          </a:p>
        </p:txBody>
      </p:sp>
      <p:sp>
        <p:nvSpPr>
          <p:cNvPr id="10" name="Textplatzhalter 9">
            <a:extLst>
              <a:ext uri="{FF2B5EF4-FFF2-40B4-BE49-F238E27FC236}">
                <a16:creationId xmlns:a16="http://schemas.microsoft.com/office/drawing/2014/main" id="{5A69F35B-D411-4BA5-B23B-4FFF95A54E8B}"/>
              </a:ext>
            </a:extLst>
          </p:cNvPr>
          <p:cNvSpPr>
            <a:spLocks noGrp="1"/>
          </p:cNvSpPr>
          <p:nvPr>
            <p:ph type="body" sz="quarter" idx="13" hasCustomPrompt="1"/>
          </p:nvPr>
        </p:nvSpPr>
        <p:spPr>
          <a:xfrm>
            <a:off x="284400" y="1152000"/>
            <a:ext cx="9360000" cy="332712"/>
          </a:xfrm>
        </p:spPr>
        <p:txBody>
          <a:bodyPr lIns="0" rIns="108000">
            <a:noAutofit/>
          </a:bodyPr>
          <a:lstStyle>
            <a:lvl1pPr>
              <a:defRPr/>
            </a:lvl1pPr>
          </a:lstStyle>
          <a:p>
            <a:pPr lvl="0"/>
            <a:r>
              <a:rPr lang="de-DE" dirty="0"/>
              <a:t>Untertitel</a:t>
            </a:r>
          </a:p>
        </p:txBody>
      </p:sp>
      <p:sp>
        <p:nvSpPr>
          <p:cNvPr id="12" name="Textplatzhalter 11">
            <a:extLst>
              <a:ext uri="{FF2B5EF4-FFF2-40B4-BE49-F238E27FC236}">
                <a16:creationId xmlns:a16="http://schemas.microsoft.com/office/drawing/2014/main" id="{FA8B02F8-AC6B-4A07-B7FD-5CE59E0B0ACB}"/>
              </a:ext>
            </a:extLst>
          </p:cNvPr>
          <p:cNvSpPr>
            <a:spLocks noGrp="1"/>
          </p:cNvSpPr>
          <p:nvPr>
            <p:ph type="body" sz="quarter" idx="14" hasCustomPrompt="1"/>
          </p:nvPr>
        </p:nvSpPr>
        <p:spPr>
          <a:xfrm>
            <a:off x="280800" y="6237288"/>
            <a:ext cx="9363600" cy="288147"/>
          </a:xfrm>
        </p:spPr>
        <p:txBody>
          <a:bodyPr vert="horz" lIns="0" tIns="72000" rIns="0" bIns="0" rtlCol="0" anchor="t" anchorCtr="0">
            <a:noAutofit/>
          </a:bodyPr>
          <a:lstStyle>
            <a:lvl1pPr>
              <a:defRPr lang="de-DE" sz="700" dirty="0">
                <a:solidFill>
                  <a:schemeClr val="accent6">
                    <a:lumMod val="75000"/>
                  </a:schemeClr>
                </a:solidFill>
              </a:defRPr>
            </a:lvl1pPr>
          </a:lstStyle>
          <a:p>
            <a:pPr lvl="0">
              <a:spcAft>
                <a:spcPts val="0"/>
              </a:spcAft>
            </a:pPr>
            <a:r>
              <a:rPr lang="de-DE" dirty="0"/>
              <a:t>Fußzeile</a:t>
            </a:r>
          </a:p>
          <a:p>
            <a:pPr lvl="0">
              <a:spcAft>
                <a:spcPts val="0"/>
              </a:spcAft>
            </a:pPr>
            <a:endParaRPr lang="de-DE" dirty="0"/>
          </a:p>
        </p:txBody>
      </p:sp>
      <p:pic>
        <p:nvPicPr>
          <p:cNvPr id="11" name="Grafik 10">
            <a:extLst>
              <a:ext uri="{FF2B5EF4-FFF2-40B4-BE49-F238E27FC236}">
                <a16:creationId xmlns:a16="http://schemas.microsoft.com/office/drawing/2014/main" id="{0F98F74B-657C-47E1-AB88-2A9B138EF8F9}"/>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310" t="-469" r="53103" b="61442"/>
          <a:stretch/>
        </p:blipFill>
        <p:spPr>
          <a:xfrm flipH="1">
            <a:off x="6995601" y="4187714"/>
            <a:ext cx="2910399" cy="2063750"/>
          </a:xfrm>
          <a:prstGeom prst="rect">
            <a:avLst/>
          </a:prstGeom>
        </p:spPr>
      </p:pic>
      <p:sp>
        <p:nvSpPr>
          <p:cNvPr id="16"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CCB7B9EF-25E5-474C-91FF-AF1A4986122F}" type="datetime1">
              <a:rPr lang="de-DE" smtClean="0"/>
              <a:t>04.05.2020</a:t>
            </a:fld>
            <a:endParaRPr lang="de-DE" dirty="0"/>
          </a:p>
        </p:txBody>
      </p:sp>
      <p:sp>
        <p:nvSpPr>
          <p:cNvPr id="17" name="Slide Number Placeholder 5"/>
          <p:cNvSpPr>
            <a:spLocks noGrp="1"/>
          </p:cNvSpPr>
          <p:nvPr>
            <p:ph type="sldNum" sz="quarter" idx="4"/>
          </p:nvPr>
        </p:nvSpPr>
        <p:spPr>
          <a:xfrm>
            <a:off x="928939" y="6621990"/>
            <a:ext cx="209993" cy="153888"/>
          </a:xfrm>
          <a:prstGeom prst="rect">
            <a:avLst/>
          </a:prstGeom>
        </p:spPr>
        <p:txBody>
          <a:bodyPr vert="horz" wrap="none" lIns="0" tIns="0" rIns="0" bIns="0" rtlCol="0" anchor="ctr">
            <a:spAutoFit/>
          </a:bodyPr>
          <a:lstStyle>
            <a:lvl1pPr algn="r">
              <a:defRPr sz="1000">
                <a:solidFill>
                  <a:schemeClr val="accent6">
                    <a:lumMod val="75000"/>
                  </a:schemeClr>
                </a:solidFill>
              </a:defRPr>
            </a:lvl1pPr>
          </a:lstStyle>
          <a:p>
            <a:fld id="{60F8E2DC-8382-49B6-A2A6-01CCC12CBD17}" type="slidenum">
              <a:rPr lang="de-DE" smtClean="0"/>
              <a:pPr/>
              <a:t>‹Nr.›</a:t>
            </a:fld>
            <a:endParaRPr lang="de-DE" dirty="0"/>
          </a:p>
        </p:txBody>
      </p:sp>
    </p:spTree>
    <p:extLst>
      <p:ext uri="{BB962C8B-B14F-4D97-AF65-F5344CB8AC3E}">
        <p14:creationId xmlns:p14="http://schemas.microsoft.com/office/powerpoint/2010/main" val="535435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lccon 2018_blank">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194969-7EAB-4692-9044-3B4837B1E96A}"/>
              </a:ext>
            </a:extLst>
          </p:cNvPr>
          <p:cNvGraphicFramePr>
            <a:graphicFrameLocks noChangeAspect="1"/>
          </p:cNvGraphicFramePr>
          <p:nvPr userDrawn="1">
            <p:custDataLst>
              <p:tags r:id="rId2"/>
            </p:custDataLst>
            <p:extLst>
              <p:ext uri="{D42A27DB-BD31-4B8C-83A1-F6EECF244321}">
                <p14:modId xmlns:p14="http://schemas.microsoft.com/office/powerpoint/2010/main" val="2608751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C7194969-7EAB-4692-9044-3B4837B1E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BEA9B4B-F86B-41AA-8DB8-2CDE425148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284400" y="475200"/>
            <a:ext cx="9360000" cy="666000"/>
          </a:xfrm>
        </p:spPr>
        <p:txBody>
          <a:bodyPr bIns="108000">
            <a:noAutofit/>
          </a:bodyPr>
          <a:lstStyle>
            <a:lvl1pPr>
              <a:defRPr/>
            </a:lvl1pPr>
          </a:lstStyle>
          <a:p>
            <a:r>
              <a:rPr lang="de-DE" dirty="0"/>
              <a:t>Titel</a:t>
            </a:r>
            <a:endParaRPr lang="en-US" dirty="0"/>
          </a:p>
        </p:txBody>
      </p:sp>
      <p:sp>
        <p:nvSpPr>
          <p:cNvPr id="10" name="Textplatzhalter 9">
            <a:extLst>
              <a:ext uri="{FF2B5EF4-FFF2-40B4-BE49-F238E27FC236}">
                <a16:creationId xmlns:a16="http://schemas.microsoft.com/office/drawing/2014/main" id="{5A69F35B-D411-4BA5-B23B-4FFF95A54E8B}"/>
              </a:ext>
            </a:extLst>
          </p:cNvPr>
          <p:cNvSpPr>
            <a:spLocks noGrp="1"/>
          </p:cNvSpPr>
          <p:nvPr>
            <p:ph type="body" sz="quarter" idx="13" hasCustomPrompt="1"/>
          </p:nvPr>
        </p:nvSpPr>
        <p:spPr>
          <a:xfrm>
            <a:off x="284400" y="1152000"/>
            <a:ext cx="9360000" cy="332712"/>
          </a:xfrm>
        </p:spPr>
        <p:txBody>
          <a:bodyPr lIns="0" rIns="108000">
            <a:noAutofit/>
          </a:bodyPr>
          <a:lstStyle>
            <a:lvl1pPr>
              <a:defRPr/>
            </a:lvl1pPr>
          </a:lstStyle>
          <a:p>
            <a:pPr lvl="0"/>
            <a:r>
              <a:rPr lang="de-DE" dirty="0"/>
              <a:t>Untertitel</a:t>
            </a:r>
          </a:p>
        </p:txBody>
      </p:sp>
      <p:sp>
        <p:nvSpPr>
          <p:cNvPr id="12" name="Textplatzhalter 11">
            <a:extLst>
              <a:ext uri="{FF2B5EF4-FFF2-40B4-BE49-F238E27FC236}">
                <a16:creationId xmlns:a16="http://schemas.microsoft.com/office/drawing/2014/main" id="{FA8B02F8-AC6B-4A07-B7FD-5CE59E0B0ACB}"/>
              </a:ext>
            </a:extLst>
          </p:cNvPr>
          <p:cNvSpPr>
            <a:spLocks noGrp="1"/>
          </p:cNvSpPr>
          <p:nvPr>
            <p:ph type="body" sz="quarter" idx="14" hasCustomPrompt="1"/>
          </p:nvPr>
        </p:nvSpPr>
        <p:spPr>
          <a:xfrm>
            <a:off x="280800" y="6237288"/>
            <a:ext cx="9363600" cy="288147"/>
          </a:xfrm>
        </p:spPr>
        <p:txBody>
          <a:bodyPr vert="horz" lIns="0" tIns="72000" rIns="0" bIns="0" rtlCol="0" anchor="t" anchorCtr="0">
            <a:noAutofit/>
          </a:bodyPr>
          <a:lstStyle>
            <a:lvl1pPr>
              <a:defRPr lang="de-DE" sz="700" dirty="0">
                <a:solidFill>
                  <a:schemeClr val="accent6">
                    <a:lumMod val="75000"/>
                  </a:schemeClr>
                </a:solidFill>
              </a:defRPr>
            </a:lvl1pPr>
          </a:lstStyle>
          <a:p>
            <a:pPr lvl="0">
              <a:spcAft>
                <a:spcPts val="0"/>
              </a:spcAft>
            </a:pPr>
            <a:r>
              <a:rPr lang="de-DE" dirty="0"/>
              <a:t>Fußzeile</a:t>
            </a:r>
          </a:p>
          <a:p>
            <a:pPr lvl="0">
              <a:spcAft>
                <a:spcPts val="0"/>
              </a:spcAft>
            </a:pPr>
            <a:endParaRPr lang="de-DE" dirty="0"/>
          </a:p>
        </p:txBody>
      </p:sp>
      <p:pic>
        <p:nvPicPr>
          <p:cNvPr id="11" name="Grafik 10">
            <a:extLst>
              <a:ext uri="{FF2B5EF4-FFF2-40B4-BE49-F238E27FC236}">
                <a16:creationId xmlns:a16="http://schemas.microsoft.com/office/drawing/2014/main" id="{0A82C157-5514-4FC7-9B0B-326D664E8BB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310" t="-469" r="53103" b="61442"/>
          <a:stretch/>
        </p:blipFill>
        <p:spPr>
          <a:xfrm flipH="1">
            <a:off x="6995601" y="4187714"/>
            <a:ext cx="2910399" cy="2063750"/>
          </a:xfrm>
          <a:prstGeom prst="rect">
            <a:avLst/>
          </a:prstGeom>
        </p:spPr>
      </p:pic>
      <p:sp>
        <p:nvSpPr>
          <p:cNvPr id="13"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23E5689C-A50D-404A-9C5D-D10BFEBE96CB}" type="datetime1">
              <a:rPr lang="de-DE" smtClean="0"/>
              <a:t>04.05.2020</a:t>
            </a:fld>
            <a:endParaRPr lang="de-DE" dirty="0"/>
          </a:p>
        </p:txBody>
      </p:sp>
      <p:sp>
        <p:nvSpPr>
          <p:cNvPr id="14" name="Slide Number Placeholder 5"/>
          <p:cNvSpPr>
            <a:spLocks noGrp="1"/>
          </p:cNvSpPr>
          <p:nvPr>
            <p:ph type="sldNum" sz="quarter" idx="4"/>
          </p:nvPr>
        </p:nvSpPr>
        <p:spPr>
          <a:xfrm>
            <a:off x="928939" y="6621990"/>
            <a:ext cx="209993" cy="153888"/>
          </a:xfrm>
          <a:prstGeom prst="rect">
            <a:avLst/>
          </a:prstGeom>
        </p:spPr>
        <p:txBody>
          <a:bodyPr vert="horz" wrap="none" lIns="0" tIns="0" rIns="0" bIns="0" rtlCol="0" anchor="ctr">
            <a:spAutoFit/>
          </a:bodyPr>
          <a:lstStyle>
            <a:lvl1pPr algn="r">
              <a:defRPr sz="1000">
                <a:solidFill>
                  <a:schemeClr val="accent6">
                    <a:lumMod val="75000"/>
                  </a:schemeClr>
                </a:solidFill>
              </a:defRPr>
            </a:lvl1pPr>
          </a:lstStyle>
          <a:p>
            <a:fld id="{60F8E2DC-8382-49B6-A2A6-01CCC12CBD17}" type="slidenum">
              <a:rPr lang="de-DE" smtClean="0"/>
              <a:pPr/>
              <a:t>‹Nr.›</a:t>
            </a:fld>
            <a:endParaRPr lang="de-DE" dirty="0"/>
          </a:p>
        </p:txBody>
      </p:sp>
      <p:cxnSp>
        <p:nvCxnSpPr>
          <p:cNvPr id="16" name="Gerader Verbinder 15"/>
          <p:cNvCxnSpPr/>
          <p:nvPr userDrawn="1"/>
        </p:nvCxnSpPr>
        <p:spPr>
          <a:xfrm>
            <a:off x="866200" y="6621990"/>
            <a:ext cx="0" cy="153888"/>
          </a:xfrm>
          <a:prstGeom prst="line">
            <a:avLst/>
          </a:prstGeom>
          <a:noFill/>
          <a:ln w="25400" cap="rnd" cmpd="sng" algn="ctr">
            <a:solidFill>
              <a:schemeClr val="accent6"/>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230349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lccon 2018_Abschlussseit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194969-7EAB-4692-9044-3B4837B1E96A}"/>
              </a:ext>
            </a:extLst>
          </p:cNvPr>
          <p:cNvGraphicFramePr>
            <a:graphicFrameLocks noChangeAspect="1"/>
          </p:cNvGraphicFramePr>
          <p:nvPr userDrawn="1">
            <p:custDataLst>
              <p:tags r:id="rId2"/>
            </p:custDataLst>
            <p:extLst>
              <p:ext uri="{D42A27DB-BD31-4B8C-83A1-F6EECF244321}">
                <p14:modId xmlns:p14="http://schemas.microsoft.com/office/powerpoint/2010/main" val="349856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C7194969-7EAB-4692-9044-3B4837B1E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BEA9B4B-F86B-41AA-8DB8-2CDE425148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800" b="0" i="0" baseline="0" dirty="0">
              <a:latin typeface="Arial" panose="020B0604020202020204" pitchFamily="34" charset="0"/>
              <a:ea typeface="+mj-ea"/>
              <a:cs typeface="+mj-cs"/>
              <a:sym typeface="Arial" panose="020B0604020202020204" pitchFamily="34" charset="0"/>
            </a:endParaRPr>
          </a:p>
        </p:txBody>
      </p:sp>
      <p:pic>
        <p:nvPicPr>
          <p:cNvPr id="17" name="Bild 6" descr="vorlage_elccon_Master4.jpg">
            <a:extLst>
              <a:ext uri="{FF2B5EF4-FFF2-40B4-BE49-F238E27FC236}">
                <a16:creationId xmlns:a16="http://schemas.microsoft.com/office/drawing/2014/main" id="{0B02C761-FF25-4A7B-8899-CE1245994CB0}"/>
              </a:ext>
            </a:extLst>
          </p:cNvPr>
          <p:cNvPicPr>
            <a:picLocks noChangeAspect="1"/>
          </p:cNvPicPr>
          <p:nvPr userDrawn="1"/>
        </p:nvPicPr>
        <p:blipFill>
          <a:blip r:embed="rId7" cstate="print">
            <a:clrChange>
              <a:clrFrom>
                <a:srgbClr val="E6E6E6"/>
              </a:clrFrom>
              <a:clrTo>
                <a:srgbClr val="E6E6E6">
                  <a:alpha val="0"/>
                </a:srgbClr>
              </a:clrTo>
            </a:clrChange>
            <a:extLst>
              <a:ext uri="{28A0092B-C50C-407E-A947-70E740481C1C}">
                <a14:useLocalDpi xmlns:a14="http://schemas.microsoft.com/office/drawing/2010/main" val="0"/>
              </a:ext>
            </a:extLst>
          </a:blip>
          <a:srcRect l="77130" t="85652" r="5440" b="4234"/>
          <a:stretch>
            <a:fillRect/>
          </a:stretch>
        </p:blipFill>
        <p:spPr bwMode="auto">
          <a:xfrm>
            <a:off x="8810627" y="6426456"/>
            <a:ext cx="896890" cy="391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a:extLst>
              <a:ext uri="{FF2B5EF4-FFF2-40B4-BE49-F238E27FC236}">
                <a16:creationId xmlns:a16="http://schemas.microsoft.com/office/drawing/2014/main" id="{19D259D0-7329-4CDE-AB51-077A772C7C85}"/>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r="9702"/>
          <a:stretch/>
        </p:blipFill>
        <p:spPr>
          <a:xfrm>
            <a:off x="0" y="551950"/>
            <a:ext cx="9921552" cy="6306050"/>
          </a:xfrm>
          <a:prstGeom prst="rect">
            <a:avLst/>
          </a:prstGeom>
        </p:spPr>
      </p:pic>
      <p:sp>
        <p:nvSpPr>
          <p:cNvPr id="4" name="Inhaltsplatzhalter 3"/>
          <p:cNvSpPr>
            <a:spLocks noGrp="1"/>
          </p:cNvSpPr>
          <p:nvPr>
            <p:ph sz="quarter" idx="10" hasCustomPrompt="1"/>
          </p:nvPr>
        </p:nvSpPr>
        <p:spPr>
          <a:xfrm>
            <a:off x="5241032" y="2348880"/>
            <a:ext cx="3430335" cy="940051"/>
          </a:xfrm>
        </p:spPr>
        <p:txBody>
          <a:bodyPr wrap="none">
            <a:spAutoFit/>
          </a:bodyPr>
          <a:lstStyle>
            <a:lvl1pPr>
              <a:defRPr sz="5400"/>
            </a:lvl1pPr>
          </a:lstStyle>
          <a:p>
            <a:pPr lvl="0"/>
            <a:r>
              <a:rPr lang="de-DE" dirty="0"/>
              <a:t>Vielen Dank!</a:t>
            </a:r>
          </a:p>
        </p:txBody>
      </p:sp>
      <p:pic>
        <p:nvPicPr>
          <p:cNvPr id="9" name="Grafik 8">
            <a:extLst>
              <a:ext uri="{FF2B5EF4-FFF2-40B4-BE49-F238E27FC236}">
                <a16:creationId xmlns:a16="http://schemas.microsoft.com/office/drawing/2014/main" id="{4378C559-EEE1-4429-9378-FFCA0240E16A}"/>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19795" t="35517" r="17505" b="31722"/>
          <a:stretch/>
        </p:blipFill>
        <p:spPr>
          <a:xfrm>
            <a:off x="6294078" y="3509441"/>
            <a:ext cx="1239069" cy="391068"/>
          </a:xfrm>
          <a:prstGeom prst="rect">
            <a:avLst/>
          </a:prstGeom>
        </p:spPr>
      </p:pic>
    </p:spTree>
    <p:extLst>
      <p:ext uri="{BB962C8B-B14F-4D97-AF65-F5344CB8AC3E}">
        <p14:creationId xmlns:p14="http://schemas.microsoft.com/office/powerpoint/2010/main" val="319350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2957" y="1628773"/>
            <a:ext cx="9360000" cy="4608000"/>
          </a:xfrm>
          <a:prstGeom prst="rect">
            <a:avLst/>
          </a:prstGeom>
        </p:spPr>
        <p:txBody>
          <a:bodyPr vert="horz" lIns="0" tIns="0" rIns="0" bIns="0" rtlCol="0" anchor="t" anchorCtr="0">
            <a:noAutofit/>
          </a:bodyPr>
          <a:lstStyle/>
          <a:p>
            <a:pPr lvl="0"/>
            <a:r>
              <a:rPr lang="de-DE" dirty="0"/>
              <a:t>Mastertextformat bearbeiten</a:t>
            </a:r>
          </a:p>
          <a:p>
            <a:pPr lvl="2"/>
            <a:r>
              <a:rPr lang="de-DE" dirty="0"/>
              <a:t>Zweite Ebene</a:t>
            </a:r>
          </a:p>
          <a:p>
            <a:pPr lvl="3"/>
            <a:r>
              <a:rPr lang="de-DE" dirty="0"/>
              <a:t>Dritte Ebene</a:t>
            </a:r>
          </a:p>
        </p:txBody>
      </p:sp>
      <p:graphicFrame>
        <p:nvGraphicFramePr>
          <p:cNvPr id="8" name="Objekt 7" hidden="1">
            <a:extLst>
              <a:ext uri="{FF2B5EF4-FFF2-40B4-BE49-F238E27FC236}">
                <a16:creationId xmlns:a16="http://schemas.microsoft.com/office/drawing/2014/main" id="{2010BB37-ADF3-4EA9-BE5E-21171F9A7D86}"/>
              </a:ext>
            </a:extLst>
          </p:cNvPr>
          <p:cNvGraphicFramePr>
            <a:graphicFrameLocks noChangeAspect="1"/>
          </p:cNvGraphicFramePr>
          <p:nvPr userDrawn="1">
            <p:custDataLst>
              <p:tags r:id="rId12"/>
            </p:custDataLst>
            <p:extLst>
              <p:ext uri="{D42A27DB-BD31-4B8C-83A1-F6EECF244321}">
                <p14:modId xmlns:p14="http://schemas.microsoft.com/office/powerpoint/2010/main" val="3387660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Folie" r:id="rId14" imgW="425" imgH="426" progId="TCLayout.ActiveDocument.1">
                  <p:embed/>
                </p:oleObj>
              </mc:Choice>
              <mc:Fallback>
                <p:oleObj name="think-cell Folie" r:id="rId14" imgW="425" imgH="426" progId="TCLayout.ActiveDocument.1">
                  <p:embed/>
                  <p:pic>
                    <p:nvPicPr>
                      <p:cNvPr id="8" name="Objekt 7" hidden="1">
                        <a:extLst>
                          <a:ext uri="{FF2B5EF4-FFF2-40B4-BE49-F238E27FC236}">
                            <a16:creationId xmlns:a16="http://schemas.microsoft.com/office/drawing/2014/main" id="{2010BB37-ADF3-4EA9-BE5E-21171F9A7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FACB70A-C929-4ACC-BB08-024455E17072}"/>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282957" y="476672"/>
            <a:ext cx="9360000" cy="664797"/>
          </a:xfrm>
          <a:prstGeom prst="rect">
            <a:avLst/>
          </a:prstGeom>
        </p:spPr>
        <p:txBody>
          <a:bodyPr vert="horz" lIns="0" tIns="0" rIns="0" bIns="0" rtlCol="0" anchor="t" anchorCtr="0">
            <a:noAutofit/>
          </a:bodyPr>
          <a:lstStyle/>
          <a:p>
            <a:r>
              <a:rPr lang="de-DE" dirty="0"/>
              <a:t>Titel</a:t>
            </a:r>
            <a:br>
              <a:rPr lang="de-DE" dirty="0"/>
            </a:br>
            <a:endParaRPr lang="en-US" dirty="0"/>
          </a:p>
        </p:txBody>
      </p:sp>
      <p:sp>
        <p:nvSpPr>
          <p:cNvPr id="4" name="Date Placeholder 3"/>
          <p:cNvSpPr>
            <a:spLocks noGrp="1"/>
          </p:cNvSpPr>
          <p:nvPr>
            <p:ph type="dt" sz="half" idx="2"/>
          </p:nvPr>
        </p:nvSpPr>
        <p:spPr>
          <a:xfrm>
            <a:off x="284089" y="6621990"/>
            <a:ext cx="519373" cy="153888"/>
          </a:xfrm>
          <a:prstGeom prst="rect">
            <a:avLst/>
          </a:prstGeom>
        </p:spPr>
        <p:txBody>
          <a:bodyPr vert="horz" wrap="none" lIns="0" tIns="0" rIns="0" bIns="0" rtlCol="0" anchor="ctr">
            <a:spAutoFit/>
          </a:bodyPr>
          <a:lstStyle>
            <a:lvl1pPr algn="l">
              <a:defRPr sz="1000">
                <a:solidFill>
                  <a:schemeClr val="accent6">
                    <a:lumMod val="75000"/>
                  </a:schemeClr>
                </a:solidFill>
              </a:defRPr>
            </a:lvl1pPr>
          </a:lstStyle>
          <a:p>
            <a:fld id="{740EE563-92EF-4426-82A0-BF7B2A3ADEC1}" type="datetime1">
              <a:rPr lang="de-DE" smtClean="0"/>
              <a:t>04.05.2020</a:t>
            </a:fld>
            <a:endParaRPr lang="de-DE" dirty="0"/>
          </a:p>
        </p:txBody>
      </p:sp>
      <p:sp>
        <p:nvSpPr>
          <p:cNvPr id="6" name="Slide Number Placeholder 5"/>
          <p:cNvSpPr>
            <a:spLocks noGrp="1"/>
          </p:cNvSpPr>
          <p:nvPr>
            <p:ph type="sldNum" sz="quarter" idx="4"/>
          </p:nvPr>
        </p:nvSpPr>
        <p:spPr>
          <a:xfrm>
            <a:off x="928939" y="6621990"/>
            <a:ext cx="209993" cy="153888"/>
          </a:xfrm>
          <a:prstGeom prst="rect">
            <a:avLst/>
          </a:prstGeom>
        </p:spPr>
        <p:txBody>
          <a:bodyPr vert="horz" wrap="none" lIns="0" tIns="0" rIns="0" bIns="0" rtlCol="0" anchor="ctr">
            <a:spAutoFit/>
          </a:bodyPr>
          <a:lstStyle>
            <a:lvl1pPr algn="r">
              <a:defRPr sz="1000">
                <a:solidFill>
                  <a:schemeClr val="accent6">
                    <a:lumMod val="75000"/>
                  </a:schemeClr>
                </a:solidFill>
              </a:defRPr>
            </a:lvl1pPr>
          </a:lstStyle>
          <a:p>
            <a:fld id="{60F8E2DC-8382-49B6-A2A6-01CCC12CBD17}" type="slidenum">
              <a:rPr lang="de-DE" smtClean="0"/>
              <a:pPr/>
              <a:t>‹Nr.›</a:t>
            </a:fld>
            <a:endParaRPr lang="de-DE" dirty="0"/>
          </a:p>
        </p:txBody>
      </p:sp>
      <p:cxnSp>
        <p:nvCxnSpPr>
          <p:cNvPr id="10" name="Gerader Verbinder 9"/>
          <p:cNvCxnSpPr/>
          <p:nvPr userDrawn="1"/>
        </p:nvCxnSpPr>
        <p:spPr>
          <a:xfrm>
            <a:off x="866200" y="6621990"/>
            <a:ext cx="0" cy="153888"/>
          </a:xfrm>
          <a:prstGeom prst="line">
            <a:avLst/>
          </a:prstGeom>
          <a:noFill/>
          <a:ln w="25400" cap="rnd" cmpd="sng" algn="ctr">
            <a:solidFill>
              <a:schemeClr val="accent6"/>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cxnSp>
      <p:pic>
        <p:nvPicPr>
          <p:cNvPr id="12" name="Grafik 11">
            <a:extLst>
              <a:ext uri="{FF2B5EF4-FFF2-40B4-BE49-F238E27FC236}">
                <a16:creationId xmlns:a16="http://schemas.microsoft.com/office/drawing/2014/main" id="{2E5154FF-A3FC-4CC7-BC9D-BCF1BD923302}"/>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19795" t="35517" r="17505" b="31722"/>
          <a:stretch/>
        </p:blipFill>
        <p:spPr>
          <a:xfrm>
            <a:off x="8640747" y="6501212"/>
            <a:ext cx="1002210" cy="316312"/>
          </a:xfrm>
          <a:prstGeom prst="rect">
            <a:avLst/>
          </a:prstGeom>
        </p:spPr>
      </p:pic>
    </p:spTree>
    <p:extLst>
      <p:ext uri="{BB962C8B-B14F-4D97-AF65-F5344CB8AC3E}">
        <p14:creationId xmlns:p14="http://schemas.microsoft.com/office/powerpoint/2010/main" val="228604600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63" r:id="rId3"/>
    <p:sldLayoutId id="2147483671" r:id="rId4"/>
    <p:sldLayoutId id="2147483668" r:id="rId5"/>
    <p:sldLayoutId id="2147483669" r:id="rId6"/>
    <p:sldLayoutId id="2147483662" r:id="rId7"/>
    <p:sldLayoutId id="2147483667" r:id="rId8"/>
    <p:sldLayoutId id="2147483672" r:id="rId9"/>
  </p:sldLayoutIdLst>
  <p:hf hdr="0"/>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2563" indent="-1825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58775" indent="-1778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175" userDrawn="1">
          <p15:clr>
            <a:srgbClr val="F26B43"/>
          </p15:clr>
        </p15:guide>
        <p15:guide id="3" pos="6078" userDrawn="1">
          <p15:clr>
            <a:srgbClr val="F26B43"/>
          </p15:clr>
        </p15:guide>
        <p15:guide id="4" orient="horz" pos="720" userDrawn="1">
          <p15:clr>
            <a:srgbClr val="F26B43"/>
          </p15:clr>
        </p15:guide>
        <p15:guide id="5" orient="horz" pos="1022" userDrawn="1">
          <p15:clr>
            <a:srgbClr val="F26B43"/>
          </p15:clr>
        </p15:guide>
        <p15:guide id="6"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3" Type="http://schemas.openxmlformats.org/officeDocument/2006/relationships/tags" Target="../tags/tag53.xml"/><Relationship Id="rId21" Type="http://schemas.openxmlformats.org/officeDocument/2006/relationships/tags" Target="../tags/tag71.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 Type="http://schemas.openxmlformats.org/officeDocument/2006/relationships/tags" Target="../tags/tag52.xml"/><Relationship Id="rId16" Type="http://schemas.openxmlformats.org/officeDocument/2006/relationships/tags" Target="../tags/tag66.xml"/><Relationship Id="rId20" Type="http://schemas.openxmlformats.org/officeDocument/2006/relationships/tags" Target="../tags/tag70.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slide" Target="slide4.xml"/><Relationship Id="rId5" Type="http://schemas.openxmlformats.org/officeDocument/2006/relationships/tags" Target="../tags/tag55.xml"/><Relationship Id="rId15" Type="http://schemas.openxmlformats.org/officeDocument/2006/relationships/tags" Target="../tags/tag65.xml"/><Relationship Id="rId23" Type="http://schemas.openxmlformats.org/officeDocument/2006/relationships/slideLayout" Target="../slideLayouts/slideLayout6.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s>
</file>

<file path=ppt/slides/_rels/slide13.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slide" Target="slide4.xml"/><Relationship Id="rId5" Type="http://schemas.openxmlformats.org/officeDocument/2006/relationships/tags" Target="../tags/tag77.xml"/><Relationship Id="rId10" Type="http://schemas.openxmlformats.org/officeDocument/2006/relationships/notesSlide" Target="../notesSlides/notesSlide1.xml"/><Relationship Id="rId4" Type="http://schemas.openxmlformats.org/officeDocument/2006/relationships/tags" Target="../tags/tag76.xml"/><Relationship Id="rId9"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1.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4.jpeg"/><Relationship Id="rId2" Type="http://schemas.openxmlformats.org/officeDocument/2006/relationships/tags" Target="../tags/tag8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4.jpeg"/><Relationship Id="rId2" Type="http://schemas.openxmlformats.org/officeDocument/2006/relationships/tags" Target="../tags/tag8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slideLayout" Target="../slideLayouts/slideLayout6.xml"/><Relationship Id="rId4" Type="http://schemas.openxmlformats.org/officeDocument/2006/relationships/tags" Target="../tags/tag91.xml"/></Relationships>
</file>

<file path=ppt/slides/_rels/slide28.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tags" Target="../tags/tag117.xml"/><Relationship Id="rId39" Type="http://schemas.openxmlformats.org/officeDocument/2006/relationships/tags" Target="../tags/tag130.xml"/><Relationship Id="rId21" Type="http://schemas.openxmlformats.org/officeDocument/2006/relationships/tags" Target="../tags/tag112.xml"/><Relationship Id="rId34" Type="http://schemas.openxmlformats.org/officeDocument/2006/relationships/tags" Target="../tags/tag125.xml"/><Relationship Id="rId42" Type="http://schemas.openxmlformats.org/officeDocument/2006/relationships/tags" Target="../tags/tag133.xml"/><Relationship Id="rId47" Type="http://schemas.openxmlformats.org/officeDocument/2006/relationships/tags" Target="../tags/tag138.xml"/><Relationship Id="rId50" Type="http://schemas.openxmlformats.org/officeDocument/2006/relationships/tags" Target="../tags/tag141.xml"/><Relationship Id="rId55" Type="http://schemas.openxmlformats.org/officeDocument/2006/relationships/slideLayout" Target="../slideLayouts/slideLayout6.xml"/><Relationship Id="rId7" Type="http://schemas.openxmlformats.org/officeDocument/2006/relationships/tags" Target="../tags/tag98.xml"/><Relationship Id="rId2" Type="http://schemas.openxmlformats.org/officeDocument/2006/relationships/tags" Target="../tags/tag93.xml"/><Relationship Id="rId16" Type="http://schemas.openxmlformats.org/officeDocument/2006/relationships/tags" Target="../tags/tag107.xml"/><Relationship Id="rId29" Type="http://schemas.openxmlformats.org/officeDocument/2006/relationships/tags" Target="../tags/tag120.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tags" Target="../tags/tag123.xml"/><Relationship Id="rId37" Type="http://schemas.openxmlformats.org/officeDocument/2006/relationships/tags" Target="../tags/tag128.xml"/><Relationship Id="rId40" Type="http://schemas.openxmlformats.org/officeDocument/2006/relationships/tags" Target="../tags/tag131.xml"/><Relationship Id="rId45" Type="http://schemas.openxmlformats.org/officeDocument/2006/relationships/tags" Target="../tags/tag136.xml"/><Relationship Id="rId53" Type="http://schemas.openxmlformats.org/officeDocument/2006/relationships/tags" Target="../tags/tag144.xml"/><Relationship Id="rId5" Type="http://schemas.openxmlformats.org/officeDocument/2006/relationships/tags" Target="../tags/tag96.xml"/><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8" Type="http://schemas.openxmlformats.org/officeDocument/2006/relationships/tags" Target="../tags/tag99.xml"/><Relationship Id="rId51" Type="http://schemas.openxmlformats.org/officeDocument/2006/relationships/tags" Target="../tags/tag142.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s>
</file>

<file path=ppt/slides/_rels/slide29.xml.rels><?xml version="1.0" encoding="UTF-8" standalone="yes"?>
<Relationships xmlns="http://schemas.openxmlformats.org/package/2006/relationships"><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image" Target="../media/image14.png"/><Relationship Id="rId3" Type="http://schemas.openxmlformats.org/officeDocument/2006/relationships/tags" Target="../tags/tag147.xml"/><Relationship Id="rId21" Type="http://schemas.openxmlformats.org/officeDocument/2006/relationships/tags" Target="../tags/tag165.xml"/><Relationship Id="rId34" Type="http://schemas.openxmlformats.org/officeDocument/2006/relationships/image" Target="../media/image22.png"/><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image" Target="../media/image1.emf"/><Relationship Id="rId33" Type="http://schemas.openxmlformats.org/officeDocument/2006/relationships/image" Target="../media/image21.gif"/><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tags" Target="../tags/tag164.xml"/><Relationship Id="rId29" Type="http://schemas.openxmlformats.org/officeDocument/2006/relationships/image" Target="../media/image17.png"/><Relationship Id="rId1" Type="http://schemas.openxmlformats.org/officeDocument/2006/relationships/vmlDrawing" Target="../drawings/vmlDrawing16.v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oleObject" Target="../embeddings/oleObject16.bin"/><Relationship Id="rId32" Type="http://schemas.openxmlformats.org/officeDocument/2006/relationships/image" Target="../media/image20.png"/><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slideLayout" Target="../slideLayouts/slideLayout6.xml"/><Relationship Id="rId28" Type="http://schemas.openxmlformats.org/officeDocument/2006/relationships/image" Target="../media/image16.png"/><Relationship Id="rId10" Type="http://schemas.openxmlformats.org/officeDocument/2006/relationships/tags" Target="../tags/tag154.xml"/><Relationship Id="rId19" Type="http://schemas.openxmlformats.org/officeDocument/2006/relationships/tags" Target="../tags/tag163.xml"/><Relationship Id="rId31" Type="http://schemas.openxmlformats.org/officeDocument/2006/relationships/image" Target="../media/image19.gif"/><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image" Target="../media/image15.png"/><Relationship Id="rId30" Type="http://schemas.openxmlformats.org/officeDocument/2006/relationships/image" Target="../media/image18.png"/><Relationship Id="rId35" Type="http://schemas.openxmlformats.org/officeDocument/2006/relationships/image" Target="../media/image23.png"/><Relationship Id="rId8" Type="http://schemas.openxmlformats.org/officeDocument/2006/relationships/tags" Target="../tags/tag1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174.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slideLayout" Target="../slideLayouts/slideLayout6.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3.xml"/><Relationship Id="rId1" Type="http://schemas.openxmlformats.org/officeDocument/2006/relationships/tags" Target="../tags/tag182.xml"/></Relationships>
</file>

<file path=ppt/slides/_rels/slide37.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89.xml"/><Relationship Id="rId7" Type="http://schemas.openxmlformats.org/officeDocument/2006/relationships/slideLayout" Target="../slideLayouts/slideLayout6.xml"/><Relationship Id="rId2" Type="http://schemas.openxmlformats.org/officeDocument/2006/relationships/tags" Target="../tags/tag188.xml"/><Relationship Id="rId1" Type="http://schemas.openxmlformats.org/officeDocument/2006/relationships/vmlDrawing" Target="../drawings/vmlDrawing20.vml"/><Relationship Id="rId6" Type="http://schemas.openxmlformats.org/officeDocument/2006/relationships/tags" Target="../tags/tag192.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oleObject" Target="../embeddings/oleObject21.bin"/><Relationship Id="rId2" Type="http://schemas.openxmlformats.org/officeDocument/2006/relationships/tags" Target="../tags/tag193.xml"/><Relationship Id="rId1" Type="http://schemas.openxmlformats.org/officeDocument/2006/relationships/vmlDrawing" Target="../drawings/vmlDrawing21.vml"/><Relationship Id="rId6" Type="http://schemas.openxmlformats.org/officeDocument/2006/relationships/slideLayout" Target="../slideLayouts/slideLayout6.xml"/><Relationship Id="rId5" Type="http://schemas.openxmlformats.org/officeDocument/2006/relationships/tags" Target="../tags/tag196.xml"/><Relationship Id="rId4" Type="http://schemas.openxmlformats.org/officeDocument/2006/relationships/tags" Target="../tags/tag19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image" Target="../media/image6.png"/><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slideLayout" Target="../slideLayouts/slideLayout6.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5CD8B0-96D1-401E-803C-7DC424DAC5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Folie" r:id="rId4" imgW="425" imgH="426" progId="TCLayout.ActiveDocument.1">
                  <p:embed/>
                </p:oleObj>
              </mc:Choice>
              <mc:Fallback>
                <p:oleObj name="think-cell Folie" r:id="rId4" imgW="425" imgH="426" progId="TCLayout.ActiveDocument.1">
                  <p:embed/>
                  <p:pic>
                    <p:nvPicPr>
                      <p:cNvPr id="4" name="Objekt 3" hidden="1">
                        <a:extLst>
                          <a:ext uri="{FF2B5EF4-FFF2-40B4-BE49-F238E27FC236}">
                            <a16:creationId xmlns:a16="http://schemas.microsoft.com/office/drawing/2014/main" id="{575CD8B0-96D1-401E-803C-7DC424DAC5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E73A845-E8BC-4BE0-9553-4AFFF4A463CD}"/>
              </a:ext>
            </a:extLst>
          </p:cNvPr>
          <p:cNvSpPr>
            <a:spLocks noGrp="1"/>
          </p:cNvSpPr>
          <p:nvPr>
            <p:ph type="ctrTitle"/>
          </p:nvPr>
        </p:nvSpPr>
        <p:spPr/>
        <p:txBody>
          <a:bodyPr/>
          <a:lstStyle/>
          <a:p>
            <a:r>
              <a:rPr lang="de-DE" dirty="0"/>
              <a:t>Master 2018</a:t>
            </a:r>
          </a:p>
        </p:txBody>
      </p:sp>
      <p:sp>
        <p:nvSpPr>
          <p:cNvPr id="3" name="Untertitel 2">
            <a:extLst>
              <a:ext uri="{FF2B5EF4-FFF2-40B4-BE49-F238E27FC236}">
                <a16:creationId xmlns:a16="http://schemas.microsoft.com/office/drawing/2014/main" id="{953FB92D-C387-45E7-BCF5-A754D214C106}"/>
              </a:ext>
            </a:extLst>
          </p:cNvPr>
          <p:cNvSpPr>
            <a:spLocks noGrp="1"/>
          </p:cNvSpPr>
          <p:nvPr>
            <p:ph type="subTitle" idx="1"/>
          </p:nvPr>
        </p:nvSpPr>
        <p:spPr/>
        <p:txBody>
          <a:bodyPr/>
          <a:lstStyle/>
          <a:p>
            <a:r>
              <a:rPr lang="de-DE" dirty="0"/>
              <a:t>Version 01</a:t>
            </a:r>
          </a:p>
        </p:txBody>
      </p:sp>
    </p:spTree>
    <p:extLst>
      <p:ext uri="{BB962C8B-B14F-4D97-AF65-F5344CB8AC3E}">
        <p14:creationId xmlns:p14="http://schemas.microsoft.com/office/powerpoint/2010/main" val="1694454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Übersicht und Anwendung der Layouts</a:t>
            </a:r>
          </a:p>
        </p:txBody>
      </p:sp>
      <p:sp>
        <p:nvSpPr>
          <p:cNvPr id="3" name="Inhaltsplatzhalter 2">
            <a:extLst>
              <a:ext uri="{FF2B5EF4-FFF2-40B4-BE49-F238E27FC236}">
                <a16:creationId xmlns:a16="http://schemas.microsoft.com/office/drawing/2014/main" id="{79BDA49F-B13E-4FEE-BADF-F45C4F680B2E}"/>
              </a:ext>
            </a:extLst>
          </p:cNvPr>
          <p:cNvSpPr>
            <a:spLocks noGrp="1"/>
          </p:cNvSpPr>
          <p:nvPr>
            <p:ph idx="1"/>
          </p:nvPr>
        </p:nvSpPr>
        <p:spPr>
          <a:xfrm>
            <a:off x="284400" y="1627200"/>
            <a:ext cx="5748720" cy="815608"/>
          </a:xfrm>
        </p:spPr>
        <p:txBody>
          <a:bodyPr wrap="square">
            <a:spAutoFit/>
          </a:bodyPr>
          <a:lstStyle/>
          <a:p>
            <a:r>
              <a:rPr lang="de-DE" sz="1200" dirty="0"/>
              <a:t>Auf der Folienvorlage (Master) werden elccon-spezifische Eigenschaften wie Schriftgrößen, Platzhalter (Elemente rechts mit den gestrichelten Linien) und Farben gespeichert</a:t>
            </a:r>
          </a:p>
          <a:p>
            <a:r>
              <a:rPr lang="de-DE" sz="1200" dirty="0"/>
              <a:t>Platzhalter definieren Schriftarten, Positionen und alle Arten von Inhalten, die auf der Folie angezeigt werden</a:t>
            </a:r>
          </a:p>
        </p:txBody>
      </p:sp>
      <p:sp>
        <p:nvSpPr>
          <p:cNvPr id="4" name="Textplatzhalter 3">
            <a:extLst>
              <a:ext uri="{FF2B5EF4-FFF2-40B4-BE49-F238E27FC236}">
                <a16:creationId xmlns:a16="http://schemas.microsoft.com/office/drawing/2014/main" id="{5FBA2AA7-02AD-480F-9A21-C7F0D92BFD0C}"/>
              </a:ext>
            </a:extLst>
          </p:cNvPr>
          <p:cNvSpPr>
            <a:spLocks noGrp="1"/>
          </p:cNvSpPr>
          <p:nvPr>
            <p:ph type="body" sz="quarter" idx="13"/>
          </p:nvPr>
        </p:nvSpPr>
        <p:spPr/>
        <p:txBody>
          <a:bodyPr/>
          <a:lstStyle/>
          <a:p>
            <a:endParaRPr lang="de-DE"/>
          </a:p>
        </p:txBody>
      </p:sp>
      <p:sp>
        <p:nvSpPr>
          <p:cNvPr id="7" name="Textplatzhalter 6">
            <a:extLst>
              <a:ext uri="{FF2B5EF4-FFF2-40B4-BE49-F238E27FC236}">
                <a16:creationId xmlns:a16="http://schemas.microsoft.com/office/drawing/2014/main" id="{43F0354B-9119-4887-95E1-00C65F6B265C}"/>
              </a:ext>
            </a:extLst>
          </p:cNvPr>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AD319F75-A956-4414-9C30-BC72C4ECAC23}"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9</a:t>
            </a:fld>
            <a:endParaRPr lang="de-DE" dirty="0"/>
          </a:p>
        </p:txBody>
      </p:sp>
      <p:grpSp>
        <p:nvGrpSpPr>
          <p:cNvPr id="8" name="Gruppieren 7">
            <a:extLst>
              <a:ext uri="{FF2B5EF4-FFF2-40B4-BE49-F238E27FC236}">
                <a16:creationId xmlns:a16="http://schemas.microsoft.com/office/drawing/2014/main" id="{D678DDDF-F638-4BF7-A829-B6A33C45DDCC}"/>
              </a:ext>
            </a:extLst>
          </p:cNvPr>
          <p:cNvGrpSpPr/>
          <p:nvPr/>
        </p:nvGrpSpPr>
        <p:grpSpPr>
          <a:xfrm>
            <a:off x="6500876" y="1622867"/>
            <a:ext cx="3161630" cy="3348781"/>
            <a:chOff x="6465168" y="1592387"/>
            <a:chExt cx="3161630" cy="3348781"/>
          </a:xfrm>
        </p:grpSpPr>
        <p:pic>
          <p:nvPicPr>
            <p:cNvPr id="16" name="Snagit_PPT88E5"/>
            <p:cNvPicPr>
              <a:picLocks noChangeAspect="1"/>
            </p:cNvPicPr>
            <p:nvPr/>
          </p:nvPicPr>
          <p:blipFill rotWithShape="1">
            <a:blip r:embed="rId2">
              <a:extLst>
                <a:ext uri="{28A0092B-C50C-407E-A947-70E740481C1C}">
                  <a14:useLocalDpi xmlns:a14="http://schemas.microsoft.com/office/drawing/2010/main" val="0"/>
                </a:ext>
              </a:extLst>
            </a:blip>
            <a:srcRect b="17265"/>
            <a:stretch/>
          </p:blipFill>
          <p:spPr>
            <a:xfrm>
              <a:off x="6502989" y="1592387"/>
              <a:ext cx="3123809" cy="3348781"/>
            </a:xfrm>
            <a:prstGeom prst="rect">
              <a:avLst/>
            </a:prstGeom>
          </p:spPr>
        </p:pic>
        <p:sp>
          <p:nvSpPr>
            <p:cNvPr id="17" name="Ellipse 16"/>
            <p:cNvSpPr/>
            <p:nvPr/>
          </p:nvSpPr>
          <p:spPr>
            <a:xfrm>
              <a:off x="6465168" y="172750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1</a:t>
              </a:r>
            </a:p>
          </p:txBody>
        </p:sp>
        <p:sp>
          <p:nvSpPr>
            <p:cNvPr id="18" name="Ellipse 17"/>
            <p:cNvSpPr/>
            <p:nvPr/>
          </p:nvSpPr>
          <p:spPr>
            <a:xfrm>
              <a:off x="7545288" y="172750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2</a:t>
              </a:r>
            </a:p>
          </p:txBody>
        </p:sp>
        <p:sp>
          <p:nvSpPr>
            <p:cNvPr id="19" name="Ellipse 18"/>
            <p:cNvSpPr/>
            <p:nvPr/>
          </p:nvSpPr>
          <p:spPr>
            <a:xfrm>
              <a:off x="8572291" y="172750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3</a:t>
              </a:r>
            </a:p>
          </p:txBody>
        </p:sp>
        <p:sp>
          <p:nvSpPr>
            <p:cNvPr id="20" name="Ellipse 19"/>
            <p:cNvSpPr/>
            <p:nvPr/>
          </p:nvSpPr>
          <p:spPr>
            <a:xfrm>
              <a:off x="6465168" y="279754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4</a:t>
              </a:r>
            </a:p>
          </p:txBody>
        </p:sp>
        <p:sp>
          <p:nvSpPr>
            <p:cNvPr id="21" name="Ellipse 20"/>
            <p:cNvSpPr/>
            <p:nvPr/>
          </p:nvSpPr>
          <p:spPr>
            <a:xfrm>
              <a:off x="7545288" y="279754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5</a:t>
              </a:r>
            </a:p>
          </p:txBody>
        </p:sp>
        <p:sp>
          <p:nvSpPr>
            <p:cNvPr id="22" name="Ellipse 21"/>
            <p:cNvSpPr/>
            <p:nvPr/>
          </p:nvSpPr>
          <p:spPr>
            <a:xfrm>
              <a:off x="8572291" y="2797546"/>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6</a:t>
              </a:r>
            </a:p>
          </p:txBody>
        </p:sp>
        <p:sp>
          <p:nvSpPr>
            <p:cNvPr id="23" name="Ellipse 22"/>
            <p:cNvSpPr/>
            <p:nvPr/>
          </p:nvSpPr>
          <p:spPr>
            <a:xfrm>
              <a:off x="6465168" y="3802377"/>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7</a:t>
              </a:r>
            </a:p>
          </p:txBody>
        </p:sp>
        <p:sp>
          <p:nvSpPr>
            <p:cNvPr id="24" name="Ellipse 23"/>
            <p:cNvSpPr/>
            <p:nvPr/>
          </p:nvSpPr>
          <p:spPr>
            <a:xfrm>
              <a:off x="7545288" y="3802377"/>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8</a:t>
              </a:r>
            </a:p>
          </p:txBody>
        </p:sp>
        <p:sp>
          <p:nvSpPr>
            <p:cNvPr id="25" name="Ellipse 24"/>
            <p:cNvSpPr/>
            <p:nvPr/>
          </p:nvSpPr>
          <p:spPr>
            <a:xfrm>
              <a:off x="8572291" y="3802377"/>
              <a:ext cx="216000" cy="21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t>9</a:t>
              </a:r>
            </a:p>
          </p:txBody>
        </p:sp>
      </p:grpSp>
      <p:graphicFrame>
        <p:nvGraphicFramePr>
          <p:cNvPr id="28" name="Tabelle 27"/>
          <p:cNvGraphicFramePr>
            <a:graphicFrameLocks noGrp="1"/>
          </p:cNvGraphicFramePr>
          <p:nvPr/>
        </p:nvGraphicFramePr>
        <p:xfrm>
          <a:off x="284399" y="2784106"/>
          <a:ext cx="5748720" cy="3463200"/>
        </p:xfrm>
        <a:graphic>
          <a:graphicData uri="http://schemas.openxmlformats.org/drawingml/2006/table">
            <a:tbl>
              <a:tblPr firstRow="1" bandRow="1">
                <a:tableStyleId>{2D5ABB26-0587-4C30-8999-92F81FD0307C}</a:tableStyleId>
              </a:tblPr>
              <a:tblGrid>
                <a:gridCol w="2166791">
                  <a:extLst>
                    <a:ext uri="{9D8B030D-6E8A-4147-A177-3AD203B41FA5}">
                      <a16:colId xmlns:a16="http://schemas.microsoft.com/office/drawing/2014/main" val="20000"/>
                    </a:ext>
                  </a:extLst>
                </a:gridCol>
                <a:gridCol w="3581929">
                  <a:extLst>
                    <a:ext uri="{9D8B030D-6E8A-4147-A177-3AD203B41FA5}">
                      <a16:colId xmlns:a16="http://schemas.microsoft.com/office/drawing/2014/main" val="20001"/>
                    </a:ext>
                  </a:extLst>
                </a:gridCol>
              </a:tblGrid>
              <a:tr h="0">
                <a:tc>
                  <a:txBody>
                    <a:bodyPr/>
                    <a:lstStyle/>
                    <a:p>
                      <a:r>
                        <a:rPr lang="de-DE" sz="1200" dirty="0">
                          <a:solidFill>
                            <a:schemeClr val="bg2"/>
                          </a:solidFill>
                        </a:rPr>
                        <a:t>Layout</a:t>
                      </a:r>
                    </a:p>
                  </a:txBody>
                  <a:tcPr marL="36000" marR="36000" marT="36000" marB="36000"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200" dirty="0">
                          <a:solidFill>
                            <a:schemeClr val="bg2"/>
                          </a:solidFill>
                        </a:rPr>
                        <a:t>Verwendungszweck</a:t>
                      </a:r>
                    </a:p>
                  </a:txBody>
                  <a:tcPr marL="36000" marR="36000" marT="36000" marB="36000"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marL="0" indent="0">
                        <a:buFont typeface="+mj-lt"/>
                        <a:buNone/>
                      </a:pPr>
                      <a:r>
                        <a:rPr lang="de-DE" sz="1200" dirty="0"/>
                        <a:t>1. Deckblatt</a:t>
                      </a:r>
                    </a:p>
                  </a:txBody>
                  <a:tcPr marL="36000" marR="36000" marT="36000" marB="36000">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200" dirty="0"/>
                    </a:p>
                  </a:txBody>
                  <a:tcPr marL="36000" marR="36000" marT="36000" marB="36000">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indent="0">
                        <a:buFont typeface="+mj-lt"/>
                        <a:buNone/>
                      </a:pPr>
                      <a:r>
                        <a:rPr lang="de-DE" sz="1200" dirty="0"/>
                        <a:t>2. Kapiteltrennblatt orange </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ym typeface="Wingdings" panose="05000000000000000000" pitchFamily="2" charset="2"/>
                        </a:rPr>
                        <a:t>Es kann sowohl orange als auch türkis benutzt werden, sollte aber im Dokument dann einheitlich sein</a:t>
                      </a:r>
                      <a:br>
                        <a:rPr lang="de-DE" sz="1200" dirty="0">
                          <a:sym typeface="Wingdings" panose="05000000000000000000" pitchFamily="2" charset="2"/>
                        </a:rPr>
                      </a:br>
                      <a:r>
                        <a:rPr lang="de-DE" sz="1200" dirty="0">
                          <a:sym typeface="Wingdings" panose="05000000000000000000" pitchFamily="2" charset="2"/>
                        </a:rPr>
                        <a:t>(entweder orange oder türkis)</a:t>
                      </a:r>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L="0" indent="0">
                        <a:buFont typeface="+mj-lt"/>
                        <a:buNone/>
                      </a:pPr>
                      <a:r>
                        <a:rPr lang="de-DE" sz="1200" dirty="0"/>
                        <a:t>3. Kapiteltrennblatt türkis </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de-DE" sz="1200" dirty="0"/>
                        <a:t>siehe 2. </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4. Inhaltsübersicht/Inhaltsverzeichnis</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5. Titel und Inhalt (ohne Bild)</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ym typeface="Wingdings" panose="05000000000000000000" pitchFamily="2" charset="2"/>
                        </a:rPr>
                        <a:t>Für umfangreiche Gestaltungen, bei denen ein Schmuck-Bild eher störend wirken würde  </a:t>
                      </a:r>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6. Blank (ohne Bild)</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de-DE" sz="1200" dirty="0"/>
                        <a:t>siehe 5. (Blank bedeutet, dass kein</a:t>
                      </a:r>
                      <a:r>
                        <a:rPr lang="de-DE" sz="1200" baseline="0" dirty="0"/>
                        <a:t> Inhaltsplatzhalter im Layout vorhanden ist </a:t>
                      </a:r>
                      <a:r>
                        <a:rPr lang="de-DE" sz="1200" baseline="0" dirty="0">
                          <a:sym typeface="Wingdings 3" panose="05040102010807070707" pitchFamily="18" charset="2"/>
                        </a:rPr>
                        <a:t></a:t>
                      </a:r>
                      <a:r>
                        <a:rPr lang="de-DE" sz="1200" baseline="0" dirty="0">
                          <a:sym typeface="Wingdings" panose="05000000000000000000" pitchFamily="2" charset="2"/>
                        </a:rPr>
                        <a:t> siehe 5.</a:t>
                      </a:r>
                      <a:r>
                        <a:rPr lang="de-DE" sz="1200" baseline="0" dirty="0"/>
                        <a:t>)</a:t>
                      </a:r>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6"/>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7. Titel und Inhalt (mit Bild)</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ym typeface="Wingdings" panose="05000000000000000000" pitchFamily="2" charset="2"/>
                        </a:rPr>
                        <a:t>Für Seiten mit „nur“ Text oder auch wenig Text oder Elemente – hier kann das Bild-Element auflockernd wirken</a:t>
                      </a:r>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7"/>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8. Blank (mit Bild)</a:t>
                      </a:r>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de-DE" sz="1200" dirty="0">
                          <a:sym typeface="Wingdings" panose="05000000000000000000" pitchFamily="2" charset="2"/>
                        </a:rPr>
                        <a:t>Verwendung siehe 7.</a:t>
                      </a:r>
                      <a:endParaRPr lang="de-DE" sz="1200" dirty="0"/>
                    </a:p>
                  </a:txBody>
                  <a:tcPr marL="36000" marR="36000" marT="36000" marB="3600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8"/>
                  </a:ext>
                </a:extLst>
              </a:tr>
              <a:tr h="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de-DE" sz="1200" dirty="0"/>
                        <a:t>9. Abschlussseite (Vielen Dank)</a:t>
                      </a:r>
                    </a:p>
                  </a:txBody>
                  <a:tcPr marL="36000" marR="36000" marT="36000" marB="36000">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r>
                        <a:rPr lang="de-DE" sz="1200" dirty="0"/>
                        <a:t>Optional einsetzbar am Ende</a:t>
                      </a:r>
                      <a:r>
                        <a:rPr lang="de-DE" sz="1200" baseline="0" dirty="0"/>
                        <a:t> der Präsentation</a:t>
                      </a:r>
                      <a:endParaRPr lang="de-DE" sz="1200" dirty="0"/>
                    </a:p>
                  </a:txBody>
                  <a:tcPr marL="36000" marR="36000" marT="36000" marB="36000">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986168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072CE66-AE98-49BF-9241-745B4AE9E3C6}"/>
              </a:ext>
            </a:extLst>
          </p:cNvPr>
          <p:cNvGraphicFramePr>
            <a:graphicFrameLocks noChangeAspect="1"/>
          </p:cNvGraphicFramePr>
          <p:nvPr>
            <p:custDataLst>
              <p:tags r:id="rId2"/>
            </p:custDataLst>
            <p:extLst>
              <p:ext uri="{D42A27DB-BD31-4B8C-83A1-F6EECF244321}">
                <p14:modId xmlns:p14="http://schemas.microsoft.com/office/powerpoint/2010/main" val="3807139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Folie" r:id="rId5" imgW="425" imgH="426" progId="TCLayout.ActiveDocument.1">
                  <p:embed/>
                </p:oleObj>
              </mc:Choice>
              <mc:Fallback>
                <p:oleObj name="think-cell Folie" r:id="rId5" imgW="425" imgH="426" progId="TCLayout.ActiveDocument.1">
                  <p:embed/>
                  <p:pic>
                    <p:nvPicPr>
                      <p:cNvPr id="3" name="Objekt 2" hidden="1">
                        <a:extLst>
                          <a:ext uri="{FF2B5EF4-FFF2-40B4-BE49-F238E27FC236}">
                            <a16:creationId xmlns:a16="http://schemas.microsoft.com/office/drawing/2014/main" id="{B072CE66-AE98-49BF-9241-745B4AE9E3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4582E0D-FF45-42E8-BAF6-9B4C58260FD6}"/>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2" name="Titel 1">
            <a:extLst>
              <a:ext uri="{FF2B5EF4-FFF2-40B4-BE49-F238E27FC236}">
                <a16:creationId xmlns:a16="http://schemas.microsoft.com/office/drawing/2014/main" id="{0F8DA09B-7561-4156-BCBE-0551F196423F}"/>
              </a:ext>
            </a:extLst>
          </p:cNvPr>
          <p:cNvSpPr>
            <a:spLocks noGrp="1"/>
          </p:cNvSpPr>
          <p:nvPr>
            <p:ph type="title"/>
          </p:nvPr>
        </p:nvSpPr>
        <p:spPr/>
        <p:txBody>
          <a:bodyPr/>
          <a:lstStyle/>
          <a:p>
            <a:r>
              <a:rPr lang="de-DE" dirty="0"/>
              <a:t>Standard- und Musterfolien</a:t>
            </a:r>
          </a:p>
        </p:txBody>
      </p:sp>
    </p:spTree>
    <p:extLst>
      <p:ext uri="{BB962C8B-B14F-4D97-AF65-F5344CB8AC3E}">
        <p14:creationId xmlns:p14="http://schemas.microsoft.com/office/powerpoint/2010/main" val="13099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haltsverzeichnis – Variante 2</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dirty="0"/>
          </a:p>
        </p:txBody>
      </p:sp>
      <p:sp>
        <p:nvSpPr>
          <p:cNvPr id="5" name="Datumsplatzhalter 4"/>
          <p:cNvSpPr>
            <a:spLocks noGrp="1"/>
          </p:cNvSpPr>
          <p:nvPr>
            <p:ph type="dt" sz="half" idx="2"/>
          </p:nvPr>
        </p:nvSpPr>
        <p:spPr/>
        <p:txBody>
          <a:bodyPr/>
          <a:lstStyle/>
          <a:p>
            <a:fld id="{20504FA9-A81A-4B47-82CA-B0A39D237DB0}"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11</a:t>
            </a:fld>
            <a:endParaRPr lang="de-DE" dirty="0"/>
          </a:p>
        </p:txBody>
      </p:sp>
      <p:sp>
        <p:nvSpPr>
          <p:cNvPr id="7" name="Rechteck 6">
            <a:hlinkClick r:id="rId24" action="ppaction://hlinksldjump"/>
            <a:extLst>
              <a:ext uri="{FF2B5EF4-FFF2-40B4-BE49-F238E27FC236}">
                <a16:creationId xmlns:a16="http://schemas.microsoft.com/office/drawing/2014/main" id="{584C8D94-4819-4D8C-B52E-D0CC6AEF0E1C}"/>
              </a:ext>
            </a:extLst>
          </p:cNvPr>
          <p:cNvSpPr/>
          <p:nvPr>
            <p:custDataLst>
              <p:tags r:id="rId1"/>
            </p:custDataLst>
          </p:nvPr>
        </p:nvSpPr>
        <p:spPr>
          <a:xfrm>
            <a:off x="9262886" y="1636240"/>
            <a:ext cx="381515" cy="24622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Bef>
                <a:spcPct val="0"/>
              </a:spcBef>
              <a:spcAft>
                <a:spcPct val="0"/>
              </a:spcAft>
            </a:pPr>
            <a:r>
              <a:rPr lang="de-DE" sz="1600" dirty="0">
                <a:solidFill>
                  <a:schemeClr val="tx1"/>
                </a:solidFill>
              </a:rPr>
              <a:t>Seite</a:t>
            </a:r>
          </a:p>
        </p:txBody>
      </p:sp>
      <p:cxnSp>
        <p:nvCxnSpPr>
          <p:cNvPr id="8" name="Gerader Verbinder 261">
            <a:extLst>
              <a:ext uri="{FF2B5EF4-FFF2-40B4-BE49-F238E27FC236}">
                <a16:creationId xmlns:a16="http://schemas.microsoft.com/office/drawing/2014/main" id="{B67E85E4-BBDC-4CE4-9CB4-FEF491F5AC86}"/>
              </a:ext>
            </a:extLst>
          </p:cNvPr>
          <p:cNvCxnSpPr>
            <a:cxnSpLocks/>
          </p:cNvCxnSpPr>
          <p:nvPr/>
        </p:nvCxnSpPr>
        <p:spPr>
          <a:xfrm>
            <a:off x="284400" y="1941964"/>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263">
            <a:extLst>
              <a:ext uri="{FF2B5EF4-FFF2-40B4-BE49-F238E27FC236}">
                <a16:creationId xmlns:a16="http://schemas.microsoft.com/office/drawing/2014/main" id="{A340DB92-FD11-489C-BC04-BA7EBBB93436}"/>
              </a:ext>
            </a:extLst>
          </p:cNvPr>
          <p:cNvCxnSpPr>
            <a:cxnSpLocks/>
          </p:cNvCxnSpPr>
          <p:nvPr/>
        </p:nvCxnSpPr>
        <p:spPr>
          <a:xfrm>
            <a:off x="284400" y="2555583"/>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264">
            <a:extLst>
              <a:ext uri="{FF2B5EF4-FFF2-40B4-BE49-F238E27FC236}">
                <a16:creationId xmlns:a16="http://schemas.microsoft.com/office/drawing/2014/main" id="{5BDBDB9D-32A2-487B-97AB-4EC161A8AC59}"/>
              </a:ext>
            </a:extLst>
          </p:cNvPr>
          <p:cNvCxnSpPr>
            <a:cxnSpLocks/>
          </p:cNvCxnSpPr>
          <p:nvPr/>
        </p:nvCxnSpPr>
        <p:spPr>
          <a:xfrm>
            <a:off x="284400" y="3169201"/>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r Verbinder 265">
            <a:extLst>
              <a:ext uri="{FF2B5EF4-FFF2-40B4-BE49-F238E27FC236}">
                <a16:creationId xmlns:a16="http://schemas.microsoft.com/office/drawing/2014/main" id="{131993CC-0C81-4A4E-A7F6-163CCB13FDDD}"/>
              </a:ext>
            </a:extLst>
          </p:cNvPr>
          <p:cNvCxnSpPr>
            <a:cxnSpLocks/>
          </p:cNvCxnSpPr>
          <p:nvPr/>
        </p:nvCxnSpPr>
        <p:spPr>
          <a:xfrm>
            <a:off x="284400" y="3782820"/>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266">
            <a:extLst>
              <a:ext uri="{FF2B5EF4-FFF2-40B4-BE49-F238E27FC236}">
                <a16:creationId xmlns:a16="http://schemas.microsoft.com/office/drawing/2014/main" id="{43004411-0229-4AF3-9D59-A9B270D1A628}"/>
              </a:ext>
            </a:extLst>
          </p:cNvPr>
          <p:cNvCxnSpPr>
            <a:cxnSpLocks/>
          </p:cNvCxnSpPr>
          <p:nvPr/>
        </p:nvCxnSpPr>
        <p:spPr>
          <a:xfrm>
            <a:off x="284400" y="4396438"/>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268">
            <a:extLst>
              <a:ext uri="{FF2B5EF4-FFF2-40B4-BE49-F238E27FC236}">
                <a16:creationId xmlns:a16="http://schemas.microsoft.com/office/drawing/2014/main" id="{3171F686-64F9-4E66-A269-1D17A8CF5B04}"/>
              </a:ext>
            </a:extLst>
          </p:cNvPr>
          <p:cNvCxnSpPr>
            <a:cxnSpLocks/>
          </p:cNvCxnSpPr>
          <p:nvPr/>
        </p:nvCxnSpPr>
        <p:spPr>
          <a:xfrm>
            <a:off x="284400" y="5010056"/>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270">
            <a:extLst>
              <a:ext uri="{FF2B5EF4-FFF2-40B4-BE49-F238E27FC236}">
                <a16:creationId xmlns:a16="http://schemas.microsoft.com/office/drawing/2014/main" id="{A0311B19-AD93-4BEE-BDF3-6A1C032C2BFA}"/>
              </a:ext>
            </a:extLst>
          </p:cNvPr>
          <p:cNvCxnSpPr>
            <a:cxnSpLocks/>
          </p:cNvCxnSpPr>
          <p:nvPr/>
        </p:nvCxnSpPr>
        <p:spPr>
          <a:xfrm>
            <a:off x="284400" y="5623675"/>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271">
            <a:extLst>
              <a:ext uri="{FF2B5EF4-FFF2-40B4-BE49-F238E27FC236}">
                <a16:creationId xmlns:a16="http://schemas.microsoft.com/office/drawing/2014/main" id="{1DC0AED7-D45C-46AB-9B83-9221DC31AF58}"/>
              </a:ext>
            </a:extLst>
          </p:cNvPr>
          <p:cNvCxnSpPr>
            <a:cxnSpLocks/>
          </p:cNvCxnSpPr>
          <p:nvPr/>
        </p:nvCxnSpPr>
        <p:spPr>
          <a:xfrm>
            <a:off x="284400" y="6237288"/>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hteck 15">
            <a:hlinkClick r:id="" action="ppaction://noaction"/>
            <a:extLst>
              <a:ext uri="{FF2B5EF4-FFF2-40B4-BE49-F238E27FC236}">
                <a16:creationId xmlns:a16="http://schemas.microsoft.com/office/drawing/2014/main" id="{5EB69F3C-789E-4AF2-8FF6-8BAF25AD7F02}"/>
              </a:ext>
            </a:extLst>
          </p:cNvPr>
          <p:cNvSpPr/>
          <p:nvPr>
            <p:custDataLst>
              <p:tags r:id="rId2"/>
            </p:custDataLst>
          </p:nvPr>
        </p:nvSpPr>
        <p:spPr>
          <a:xfrm>
            <a:off x="727840" y="5761063"/>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17" name="Rechteck 16">
            <a:hlinkClick r:id="" action="ppaction://noaction"/>
            <a:extLst>
              <a:ext uri="{FF2B5EF4-FFF2-40B4-BE49-F238E27FC236}">
                <a16:creationId xmlns:a16="http://schemas.microsoft.com/office/drawing/2014/main" id="{7041854B-1A12-44C3-881E-A9584642DD36}"/>
              </a:ext>
            </a:extLst>
          </p:cNvPr>
          <p:cNvSpPr/>
          <p:nvPr>
            <p:custDataLst>
              <p:tags r:id="rId3"/>
            </p:custDataLst>
          </p:nvPr>
        </p:nvSpPr>
        <p:spPr>
          <a:xfrm>
            <a:off x="284400" y="5761063"/>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G</a:t>
            </a:r>
          </a:p>
        </p:txBody>
      </p:sp>
      <p:sp>
        <p:nvSpPr>
          <p:cNvPr id="18" name="Rechteck 17">
            <a:hlinkClick r:id="" action="ppaction://noaction"/>
            <a:extLst>
              <a:ext uri="{FF2B5EF4-FFF2-40B4-BE49-F238E27FC236}">
                <a16:creationId xmlns:a16="http://schemas.microsoft.com/office/drawing/2014/main" id="{4BF775F0-FEAA-4A1C-AD1D-8EC2D6353DA3}"/>
              </a:ext>
            </a:extLst>
          </p:cNvPr>
          <p:cNvSpPr/>
          <p:nvPr>
            <p:custDataLst>
              <p:tags r:id="rId4"/>
            </p:custDataLst>
          </p:nvPr>
        </p:nvSpPr>
        <p:spPr>
          <a:xfrm>
            <a:off x="8909849" y="5761063"/>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19" name="Rechteck 18">
            <a:hlinkClick r:id="" action="ppaction://noaction"/>
            <a:extLst>
              <a:ext uri="{FF2B5EF4-FFF2-40B4-BE49-F238E27FC236}">
                <a16:creationId xmlns:a16="http://schemas.microsoft.com/office/drawing/2014/main" id="{F4B02CD7-B9AB-4BFC-8F67-BB961A77ECA3}"/>
              </a:ext>
            </a:extLst>
          </p:cNvPr>
          <p:cNvSpPr/>
          <p:nvPr>
            <p:custDataLst>
              <p:tags r:id="rId5"/>
            </p:custDataLst>
          </p:nvPr>
        </p:nvSpPr>
        <p:spPr>
          <a:xfrm>
            <a:off x="727840" y="5147445"/>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20" name="Rechteck 19">
            <a:hlinkClick r:id="" action="ppaction://noaction"/>
            <a:extLst>
              <a:ext uri="{FF2B5EF4-FFF2-40B4-BE49-F238E27FC236}">
                <a16:creationId xmlns:a16="http://schemas.microsoft.com/office/drawing/2014/main" id="{6A24C16E-97AB-4605-930D-68C8DAAE4681}"/>
              </a:ext>
            </a:extLst>
          </p:cNvPr>
          <p:cNvSpPr/>
          <p:nvPr>
            <p:custDataLst>
              <p:tags r:id="rId6"/>
            </p:custDataLst>
          </p:nvPr>
        </p:nvSpPr>
        <p:spPr>
          <a:xfrm>
            <a:off x="284400" y="5147445"/>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F</a:t>
            </a:r>
          </a:p>
        </p:txBody>
      </p:sp>
      <p:sp>
        <p:nvSpPr>
          <p:cNvPr id="21" name="Rechteck 20">
            <a:hlinkClick r:id="" action="ppaction://noaction"/>
            <a:extLst>
              <a:ext uri="{FF2B5EF4-FFF2-40B4-BE49-F238E27FC236}">
                <a16:creationId xmlns:a16="http://schemas.microsoft.com/office/drawing/2014/main" id="{AB8ECFFE-1AF7-45F5-A40F-42E2D767102E}"/>
              </a:ext>
            </a:extLst>
          </p:cNvPr>
          <p:cNvSpPr/>
          <p:nvPr>
            <p:custDataLst>
              <p:tags r:id="rId7"/>
            </p:custDataLst>
          </p:nvPr>
        </p:nvSpPr>
        <p:spPr>
          <a:xfrm>
            <a:off x="8909849" y="5147445"/>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22" name="Rechteck 21">
            <a:hlinkClick r:id="" action="ppaction://noaction"/>
            <a:extLst>
              <a:ext uri="{FF2B5EF4-FFF2-40B4-BE49-F238E27FC236}">
                <a16:creationId xmlns:a16="http://schemas.microsoft.com/office/drawing/2014/main" id="{292A4B5E-D82D-4E46-B8F9-740D9B7E534B}"/>
              </a:ext>
            </a:extLst>
          </p:cNvPr>
          <p:cNvSpPr/>
          <p:nvPr>
            <p:custDataLst>
              <p:tags r:id="rId8"/>
            </p:custDataLst>
          </p:nvPr>
        </p:nvSpPr>
        <p:spPr>
          <a:xfrm>
            <a:off x="727840" y="4533826"/>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23" name="Rechteck 22">
            <a:hlinkClick r:id="" action="ppaction://noaction"/>
            <a:extLst>
              <a:ext uri="{FF2B5EF4-FFF2-40B4-BE49-F238E27FC236}">
                <a16:creationId xmlns:a16="http://schemas.microsoft.com/office/drawing/2014/main" id="{02E8E34E-D23B-4903-A723-542C656A6179}"/>
              </a:ext>
            </a:extLst>
          </p:cNvPr>
          <p:cNvSpPr/>
          <p:nvPr>
            <p:custDataLst>
              <p:tags r:id="rId9"/>
            </p:custDataLst>
          </p:nvPr>
        </p:nvSpPr>
        <p:spPr>
          <a:xfrm>
            <a:off x="284400" y="4533826"/>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E</a:t>
            </a:r>
          </a:p>
        </p:txBody>
      </p:sp>
      <p:sp>
        <p:nvSpPr>
          <p:cNvPr id="24" name="Rechteck 23">
            <a:hlinkClick r:id="" action="ppaction://noaction"/>
            <a:extLst>
              <a:ext uri="{FF2B5EF4-FFF2-40B4-BE49-F238E27FC236}">
                <a16:creationId xmlns:a16="http://schemas.microsoft.com/office/drawing/2014/main" id="{0CF106DA-F028-47ED-93BB-E2531C4E70DF}"/>
              </a:ext>
            </a:extLst>
          </p:cNvPr>
          <p:cNvSpPr/>
          <p:nvPr>
            <p:custDataLst>
              <p:tags r:id="rId10"/>
            </p:custDataLst>
          </p:nvPr>
        </p:nvSpPr>
        <p:spPr>
          <a:xfrm>
            <a:off x="8909849" y="4533826"/>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25" name="Rechteck 24">
            <a:hlinkClick r:id="" action="ppaction://noaction"/>
            <a:extLst>
              <a:ext uri="{FF2B5EF4-FFF2-40B4-BE49-F238E27FC236}">
                <a16:creationId xmlns:a16="http://schemas.microsoft.com/office/drawing/2014/main" id="{49EE1304-BED5-4248-94DC-C72D52995820}"/>
              </a:ext>
            </a:extLst>
          </p:cNvPr>
          <p:cNvSpPr/>
          <p:nvPr>
            <p:custDataLst>
              <p:tags r:id="rId11"/>
            </p:custDataLst>
          </p:nvPr>
        </p:nvSpPr>
        <p:spPr>
          <a:xfrm>
            <a:off x="727840" y="3920208"/>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26" name="Rechteck 25">
            <a:hlinkClick r:id="" action="ppaction://noaction"/>
            <a:extLst>
              <a:ext uri="{FF2B5EF4-FFF2-40B4-BE49-F238E27FC236}">
                <a16:creationId xmlns:a16="http://schemas.microsoft.com/office/drawing/2014/main" id="{1AF30F6D-3D82-45FB-B7F1-0DE19218711C}"/>
              </a:ext>
            </a:extLst>
          </p:cNvPr>
          <p:cNvSpPr/>
          <p:nvPr>
            <p:custDataLst>
              <p:tags r:id="rId12"/>
            </p:custDataLst>
          </p:nvPr>
        </p:nvSpPr>
        <p:spPr>
          <a:xfrm>
            <a:off x="284400" y="3920208"/>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D</a:t>
            </a:r>
          </a:p>
        </p:txBody>
      </p:sp>
      <p:sp>
        <p:nvSpPr>
          <p:cNvPr id="27" name="Rechteck 26">
            <a:hlinkClick r:id="" action="ppaction://noaction"/>
            <a:extLst>
              <a:ext uri="{FF2B5EF4-FFF2-40B4-BE49-F238E27FC236}">
                <a16:creationId xmlns:a16="http://schemas.microsoft.com/office/drawing/2014/main" id="{FF968CBF-C93F-4433-A7EA-B27F0E73B94D}"/>
              </a:ext>
            </a:extLst>
          </p:cNvPr>
          <p:cNvSpPr/>
          <p:nvPr>
            <p:custDataLst>
              <p:tags r:id="rId13"/>
            </p:custDataLst>
          </p:nvPr>
        </p:nvSpPr>
        <p:spPr>
          <a:xfrm>
            <a:off x="8909849" y="3920208"/>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28" name="Rechteck 27">
            <a:hlinkClick r:id="" action="ppaction://noaction"/>
            <a:extLst>
              <a:ext uri="{FF2B5EF4-FFF2-40B4-BE49-F238E27FC236}">
                <a16:creationId xmlns:a16="http://schemas.microsoft.com/office/drawing/2014/main" id="{53D0083E-BAD1-4C96-BC5A-FCA3C7C750D6}"/>
              </a:ext>
            </a:extLst>
          </p:cNvPr>
          <p:cNvSpPr/>
          <p:nvPr>
            <p:custDataLst>
              <p:tags r:id="rId14"/>
            </p:custDataLst>
          </p:nvPr>
        </p:nvSpPr>
        <p:spPr>
          <a:xfrm>
            <a:off x="727840" y="3306589"/>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29" name="Rechteck 28">
            <a:hlinkClick r:id="" action="ppaction://noaction"/>
            <a:extLst>
              <a:ext uri="{FF2B5EF4-FFF2-40B4-BE49-F238E27FC236}">
                <a16:creationId xmlns:a16="http://schemas.microsoft.com/office/drawing/2014/main" id="{EBCEA6FC-AC91-4F3E-9D35-E556C61E92AF}"/>
              </a:ext>
            </a:extLst>
          </p:cNvPr>
          <p:cNvSpPr/>
          <p:nvPr>
            <p:custDataLst>
              <p:tags r:id="rId15"/>
            </p:custDataLst>
          </p:nvPr>
        </p:nvSpPr>
        <p:spPr>
          <a:xfrm>
            <a:off x="284400" y="3306589"/>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C</a:t>
            </a:r>
          </a:p>
        </p:txBody>
      </p:sp>
      <p:sp>
        <p:nvSpPr>
          <p:cNvPr id="30" name="Rechteck 29">
            <a:hlinkClick r:id="" action="ppaction://noaction"/>
            <a:extLst>
              <a:ext uri="{FF2B5EF4-FFF2-40B4-BE49-F238E27FC236}">
                <a16:creationId xmlns:a16="http://schemas.microsoft.com/office/drawing/2014/main" id="{2A2E23EF-3451-48CD-8E35-12F9A71CAAD5}"/>
              </a:ext>
            </a:extLst>
          </p:cNvPr>
          <p:cNvSpPr/>
          <p:nvPr>
            <p:custDataLst>
              <p:tags r:id="rId16"/>
            </p:custDataLst>
          </p:nvPr>
        </p:nvSpPr>
        <p:spPr>
          <a:xfrm>
            <a:off x="8909849" y="3306589"/>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31" name="Rechteck 30">
            <a:hlinkClick r:id="" action="ppaction://noaction"/>
            <a:extLst>
              <a:ext uri="{FF2B5EF4-FFF2-40B4-BE49-F238E27FC236}">
                <a16:creationId xmlns:a16="http://schemas.microsoft.com/office/drawing/2014/main" id="{1FBD91AB-1F8F-4613-9D77-2A3FA8166043}"/>
              </a:ext>
            </a:extLst>
          </p:cNvPr>
          <p:cNvSpPr/>
          <p:nvPr>
            <p:custDataLst>
              <p:tags r:id="rId17"/>
            </p:custDataLst>
          </p:nvPr>
        </p:nvSpPr>
        <p:spPr>
          <a:xfrm>
            <a:off x="727840" y="2692971"/>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dirty="0">
                <a:solidFill>
                  <a:schemeClr val="tx1"/>
                </a:solidFill>
              </a:rPr>
              <a:t>Inhaltsverzeichnis</a:t>
            </a:r>
          </a:p>
        </p:txBody>
      </p:sp>
      <p:sp>
        <p:nvSpPr>
          <p:cNvPr id="32" name="Rechteck 31">
            <a:hlinkClick r:id="" action="ppaction://noaction"/>
            <a:extLst>
              <a:ext uri="{FF2B5EF4-FFF2-40B4-BE49-F238E27FC236}">
                <a16:creationId xmlns:a16="http://schemas.microsoft.com/office/drawing/2014/main" id="{7CED4C07-1B79-4D95-9743-33D9115680A6}"/>
              </a:ext>
            </a:extLst>
          </p:cNvPr>
          <p:cNvSpPr/>
          <p:nvPr>
            <p:custDataLst>
              <p:tags r:id="rId18"/>
            </p:custDataLst>
          </p:nvPr>
        </p:nvSpPr>
        <p:spPr>
          <a:xfrm>
            <a:off x="284400" y="2692971"/>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B</a:t>
            </a:r>
          </a:p>
        </p:txBody>
      </p:sp>
      <p:sp>
        <p:nvSpPr>
          <p:cNvPr id="33" name="Rechteck 32">
            <a:hlinkClick r:id="" action="ppaction://noaction"/>
            <a:extLst>
              <a:ext uri="{FF2B5EF4-FFF2-40B4-BE49-F238E27FC236}">
                <a16:creationId xmlns:a16="http://schemas.microsoft.com/office/drawing/2014/main" id="{6A398C6E-DBD8-42A6-B5D8-1E2D3B9B1BD9}"/>
              </a:ext>
            </a:extLst>
          </p:cNvPr>
          <p:cNvSpPr/>
          <p:nvPr>
            <p:custDataLst>
              <p:tags r:id="rId19"/>
            </p:custDataLst>
          </p:nvPr>
        </p:nvSpPr>
        <p:spPr>
          <a:xfrm>
            <a:off x="8909849" y="2692971"/>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34" name="Rechteck 33">
            <a:hlinkClick r:id="" action="ppaction://noaction"/>
            <a:extLst>
              <a:ext uri="{FF2B5EF4-FFF2-40B4-BE49-F238E27FC236}">
                <a16:creationId xmlns:a16="http://schemas.microsoft.com/office/drawing/2014/main" id="{1991A3BC-D7F3-4A0F-824A-2DCFC6D8BF87}"/>
              </a:ext>
            </a:extLst>
          </p:cNvPr>
          <p:cNvSpPr/>
          <p:nvPr>
            <p:custDataLst>
              <p:tags r:id="rId20"/>
            </p:custDataLst>
          </p:nvPr>
        </p:nvSpPr>
        <p:spPr>
          <a:xfrm>
            <a:off x="727840" y="2079352"/>
            <a:ext cx="505619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spcBef>
                <a:spcPct val="0"/>
              </a:spcBef>
              <a:spcAft>
                <a:spcPct val="0"/>
              </a:spcAft>
            </a:pPr>
            <a:r>
              <a:rPr lang="de-DE" sz="1800" b="1" dirty="0">
                <a:solidFill>
                  <a:schemeClr val="bg2"/>
                </a:solidFill>
              </a:rPr>
              <a:t>Inhaltsverzeichnis</a:t>
            </a:r>
          </a:p>
        </p:txBody>
      </p:sp>
      <p:sp>
        <p:nvSpPr>
          <p:cNvPr id="35" name="Rechteck 34">
            <a:hlinkClick r:id="" action="ppaction://noaction"/>
            <a:extLst>
              <a:ext uri="{FF2B5EF4-FFF2-40B4-BE49-F238E27FC236}">
                <a16:creationId xmlns:a16="http://schemas.microsoft.com/office/drawing/2014/main" id="{6611D33E-75B7-4D3D-9D7E-525BBAF36BC3}"/>
              </a:ext>
            </a:extLst>
          </p:cNvPr>
          <p:cNvSpPr/>
          <p:nvPr>
            <p:custDataLst>
              <p:tags r:id="rId21"/>
            </p:custDataLst>
          </p:nvPr>
        </p:nvSpPr>
        <p:spPr>
          <a:xfrm>
            <a:off x="284400" y="2079352"/>
            <a:ext cx="290578"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6675"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b="1" dirty="0">
                <a:solidFill>
                  <a:schemeClr val="bg2"/>
                </a:solidFill>
              </a:rPr>
              <a:t>A</a:t>
            </a:r>
          </a:p>
        </p:txBody>
      </p:sp>
      <p:sp>
        <p:nvSpPr>
          <p:cNvPr id="36" name="Rechteck 35">
            <a:hlinkClick r:id="" action="ppaction://noaction"/>
            <a:extLst>
              <a:ext uri="{FF2B5EF4-FFF2-40B4-BE49-F238E27FC236}">
                <a16:creationId xmlns:a16="http://schemas.microsoft.com/office/drawing/2014/main" id="{DD7FBAE0-CCA7-4307-A428-14D36B88756B}"/>
              </a:ext>
            </a:extLst>
          </p:cNvPr>
          <p:cNvSpPr/>
          <p:nvPr>
            <p:custDataLst>
              <p:tags r:id="rId22"/>
            </p:custDataLst>
          </p:nvPr>
        </p:nvSpPr>
        <p:spPr>
          <a:xfrm>
            <a:off x="8909849" y="2079352"/>
            <a:ext cx="734551" cy="3388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b="1" dirty="0">
                <a:solidFill>
                  <a:schemeClr val="bg2"/>
                </a:solidFill>
              </a:rPr>
              <a:t>x</a:t>
            </a:r>
          </a:p>
        </p:txBody>
      </p:sp>
    </p:spTree>
    <p:extLst>
      <p:ext uri="{BB962C8B-B14F-4D97-AF65-F5344CB8AC3E}">
        <p14:creationId xmlns:p14="http://schemas.microsoft.com/office/powerpoint/2010/main" val="2008491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haltsverzeichnis – Variante 3</a:t>
            </a:r>
          </a:p>
        </p:txBody>
      </p:sp>
      <p:sp>
        <p:nvSpPr>
          <p:cNvPr id="45" name="Textplatzhalter 44"/>
          <p:cNvSpPr>
            <a:spLocks noGrp="1"/>
          </p:cNvSpPr>
          <p:nvPr>
            <p:ph type="body" sz="quarter" idx="13"/>
          </p:nvPr>
        </p:nvSpPr>
        <p:spPr/>
        <p:txBody>
          <a:bodyPr/>
          <a:lstStyle/>
          <a:p>
            <a:endParaRPr lang="de-DE"/>
          </a:p>
        </p:txBody>
      </p:sp>
      <p:sp>
        <p:nvSpPr>
          <p:cNvPr id="46" name="Textplatzhalter 45"/>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7BE0D77C-48CA-4A1D-9AB4-0789970D9584}"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12</a:t>
            </a:fld>
            <a:endParaRPr lang="de-DE" dirty="0"/>
          </a:p>
        </p:txBody>
      </p:sp>
      <p:sp>
        <p:nvSpPr>
          <p:cNvPr id="7" name="Oval 118">
            <a:extLst>
              <a:ext uri="{FF2B5EF4-FFF2-40B4-BE49-F238E27FC236}">
                <a16:creationId xmlns:a16="http://schemas.microsoft.com/office/drawing/2014/main" id="{CE789B87-5D56-4566-B2A6-40EBA33EC77E}"/>
              </a:ext>
            </a:extLst>
          </p:cNvPr>
          <p:cNvSpPr>
            <a:spLocks noChangeArrowheads="1"/>
          </p:cNvSpPr>
          <p:nvPr/>
        </p:nvSpPr>
        <p:spPr bwMode="auto">
          <a:xfrm>
            <a:off x="284400" y="3807674"/>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4</a:t>
            </a:r>
          </a:p>
        </p:txBody>
      </p:sp>
      <p:sp>
        <p:nvSpPr>
          <p:cNvPr id="8" name="Rectangle 24">
            <a:extLst>
              <a:ext uri="{FF2B5EF4-FFF2-40B4-BE49-F238E27FC236}">
                <a16:creationId xmlns:a16="http://schemas.microsoft.com/office/drawing/2014/main" id="{57848935-1E14-495B-880D-D006D53AABB2}"/>
              </a:ext>
            </a:extLst>
          </p:cNvPr>
          <p:cNvSpPr>
            <a:spLocks noChangeArrowheads="1"/>
          </p:cNvSpPr>
          <p:nvPr/>
        </p:nvSpPr>
        <p:spPr bwMode="gray">
          <a:xfrm>
            <a:off x="686090" y="3807674"/>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9" name="Gerade Verbindung 43">
            <a:extLst>
              <a:ext uri="{FF2B5EF4-FFF2-40B4-BE49-F238E27FC236}">
                <a16:creationId xmlns:a16="http://schemas.microsoft.com/office/drawing/2014/main" id="{97C00BA6-6007-442F-AD51-EAF903E67B31}"/>
              </a:ext>
            </a:extLst>
          </p:cNvPr>
          <p:cNvCxnSpPr/>
          <p:nvPr/>
        </p:nvCxnSpPr>
        <p:spPr>
          <a:xfrm>
            <a:off x="686090" y="3807674"/>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hteck 9">
            <a:hlinkClick r:id="" action="ppaction://noaction"/>
            <a:extLst>
              <a:ext uri="{FF2B5EF4-FFF2-40B4-BE49-F238E27FC236}">
                <a16:creationId xmlns:a16="http://schemas.microsoft.com/office/drawing/2014/main" id="{54B46845-0E95-4F7D-BA69-776FAC53BB6C}"/>
              </a:ext>
            </a:extLst>
          </p:cNvPr>
          <p:cNvSpPr/>
          <p:nvPr>
            <p:custDataLst>
              <p:tags r:id="rId1"/>
            </p:custDataLst>
          </p:nvPr>
        </p:nvSpPr>
        <p:spPr>
          <a:xfrm>
            <a:off x="8910408" y="3807674"/>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12" name="Oval 118">
            <a:extLst>
              <a:ext uri="{FF2B5EF4-FFF2-40B4-BE49-F238E27FC236}">
                <a16:creationId xmlns:a16="http://schemas.microsoft.com/office/drawing/2014/main" id="{4955F5A5-1435-4970-AFCC-6DD8C8457580}"/>
              </a:ext>
            </a:extLst>
          </p:cNvPr>
          <p:cNvSpPr>
            <a:spLocks noChangeArrowheads="1"/>
          </p:cNvSpPr>
          <p:nvPr/>
        </p:nvSpPr>
        <p:spPr bwMode="auto">
          <a:xfrm>
            <a:off x="284400" y="4421292"/>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5</a:t>
            </a:r>
          </a:p>
        </p:txBody>
      </p:sp>
      <p:sp>
        <p:nvSpPr>
          <p:cNvPr id="13" name="Rectangle 24">
            <a:extLst>
              <a:ext uri="{FF2B5EF4-FFF2-40B4-BE49-F238E27FC236}">
                <a16:creationId xmlns:a16="http://schemas.microsoft.com/office/drawing/2014/main" id="{ABF96A1E-028D-4A12-B480-060B53CD97F1}"/>
              </a:ext>
            </a:extLst>
          </p:cNvPr>
          <p:cNvSpPr>
            <a:spLocks noChangeArrowheads="1"/>
          </p:cNvSpPr>
          <p:nvPr/>
        </p:nvSpPr>
        <p:spPr bwMode="gray">
          <a:xfrm>
            <a:off x="686090" y="4421292"/>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14" name="Gerade Verbindung 44">
            <a:extLst>
              <a:ext uri="{FF2B5EF4-FFF2-40B4-BE49-F238E27FC236}">
                <a16:creationId xmlns:a16="http://schemas.microsoft.com/office/drawing/2014/main" id="{C836578A-988C-4278-9D21-61B271463183}"/>
              </a:ext>
            </a:extLst>
          </p:cNvPr>
          <p:cNvCxnSpPr/>
          <p:nvPr/>
        </p:nvCxnSpPr>
        <p:spPr>
          <a:xfrm>
            <a:off x="686090" y="4421292"/>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hteck 14">
            <a:hlinkClick r:id="" action="ppaction://noaction"/>
            <a:extLst>
              <a:ext uri="{FF2B5EF4-FFF2-40B4-BE49-F238E27FC236}">
                <a16:creationId xmlns:a16="http://schemas.microsoft.com/office/drawing/2014/main" id="{AD588B5B-8860-4D86-B601-1D3394DC706F}"/>
              </a:ext>
            </a:extLst>
          </p:cNvPr>
          <p:cNvSpPr/>
          <p:nvPr>
            <p:custDataLst>
              <p:tags r:id="rId2"/>
            </p:custDataLst>
          </p:nvPr>
        </p:nvSpPr>
        <p:spPr>
          <a:xfrm>
            <a:off x="8910408" y="4421292"/>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16" name="Oval 118">
            <a:extLst>
              <a:ext uri="{FF2B5EF4-FFF2-40B4-BE49-F238E27FC236}">
                <a16:creationId xmlns:a16="http://schemas.microsoft.com/office/drawing/2014/main" id="{EC04045D-A647-45F6-B681-CA0882C05612}"/>
              </a:ext>
            </a:extLst>
          </p:cNvPr>
          <p:cNvSpPr>
            <a:spLocks noChangeArrowheads="1"/>
          </p:cNvSpPr>
          <p:nvPr/>
        </p:nvSpPr>
        <p:spPr bwMode="auto">
          <a:xfrm>
            <a:off x="284400" y="3194057"/>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3</a:t>
            </a:r>
          </a:p>
        </p:txBody>
      </p:sp>
      <p:sp>
        <p:nvSpPr>
          <p:cNvPr id="17" name="Rectangle 24">
            <a:extLst>
              <a:ext uri="{FF2B5EF4-FFF2-40B4-BE49-F238E27FC236}">
                <a16:creationId xmlns:a16="http://schemas.microsoft.com/office/drawing/2014/main" id="{EB96BB90-2E1B-42F8-B146-DDEF37673382}"/>
              </a:ext>
            </a:extLst>
          </p:cNvPr>
          <p:cNvSpPr>
            <a:spLocks noChangeArrowheads="1"/>
          </p:cNvSpPr>
          <p:nvPr/>
        </p:nvSpPr>
        <p:spPr bwMode="gray">
          <a:xfrm>
            <a:off x="686090" y="3194057"/>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18" name="Gerade Verbindung 42">
            <a:extLst>
              <a:ext uri="{FF2B5EF4-FFF2-40B4-BE49-F238E27FC236}">
                <a16:creationId xmlns:a16="http://schemas.microsoft.com/office/drawing/2014/main" id="{EEC047FB-7418-4FBF-8A2A-F2B4B2CAECB0}"/>
              </a:ext>
            </a:extLst>
          </p:cNvPr>
          <p:cNvCxnSpPr/>
          <p:nvPr/>
        </p:nvCxnSpPr>
        <p:spPr>
          <a:xfrm>
            <a:off x="686090" y="3194057"/>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hteck 18">
            <a:hlinkClick r:id="" action="ppaction://noaction"/>
            <a:extLst>
              <a:ext uri="{FF2B5EF4-FFF2-40B4-BE49-F238E27FC236}">
                <a16:creationId xmlns:a16="http://schemas.microsoft.com/office/drawing/2014/main" id="{1FB749D3-FBBF-4862-83D7-DCFACC4EEB8A}"/>
              </a:ext>
            </a:extLst>
          </p:cNvPr>
          <p:cNvSpPr/>
          <p:nvPr>
            <p:custDataLst>
              <p:tags r:id="rId3"/>
            </p:custDataLst>
          </p:nvPr>
        </p:nvSpPr>
        <p:spPr>
          <a:xfrm>
            <a:off x="8910408" y="3194057"/>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20" name="Oval 118">
            <a:extLst>
              <a:ext uri="{FF2B5EF4-FFF2-40B4-BE49-F238E27FC236}">
                <a16:creationId xmlns:a16="http://schemas.microsoft.com/office/drawing/2014/main" id="{3D5158D0-380E-4E39-A485-130ACEA3172F}"/>
              </a:ext>
            </a:extLst>
          </p:cNvPr>
          <p:cNvSpPr>
            <a:spLocks noChangeArrowheads="1"/>
          </p:cNvSpPr>
          <p:nvPr/>
        </p:nvSpPr>
        <p:spPr bwMode="auto">
          <a:xfrm>
            <a:off x="284400" y="2580439"/>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2</a:t>
            </a:r>
          </a:p>
        </p:txBody>
      </p:sp>
      <p:sp>
        <p:nvSpPr>
          <p:cNvPr id="21" name="Rectangle 24">
            <a:extLst>
              <a:ext uri="{FF2B5EF4-FFF2-40B4-BE49-F238E27FC236}">
                <a16:creationId xmlns:a16="http://schemas.microsoft.com/office/drawing/2014/main" id="{2A36DBC7-E54D-4A95-83CC-A25B535B1D9F}"/>
              </a:ext>
            </a:extLst>
          </p:cNvPr>
          <p:cNvSpPr>
            <a:spLocks noChangeArrowheads="1"/>
          </p:cNvSpPr>
          <p:nvPr/>
        </p:nvSpPr>
        <p:spPr bwMode="gray">
          <a:xfrm>
            <a:off x="686090" y="2580439"/>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22" name="Gerade Verbindung 41">
            <a:extLst>
              <a:ext uri="{FF2B5EF4-FFF2-40B4-BE49-F238E27FC236}">
                <a16:creationId xmlns:a16="http://schemas.microsoft.com/office/drawing/2014/main" id="{1195F4C7-6C29-4A93-A693-02C3783FF89D}"/>
              </a:ext>
            </a:extLst>
          </p:cNvPr>
          <p:cNvCxnSpPr/>
          <p:nvPr/>
        </p:nvCxnSpPr>
        <p:spPr>
          <a:xfrm>
            <a:off x="686090" y="2580439"/>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Rechteck 22">
            <a:hlinkClick r:id="" action="ppaction://noaction"/>
            <a:extLst>
              <a:ext uri="{FF2B5EF4-FFF2-40B4-BE49-F238E27FC236}">
                <a16:creationId xmlns:a16="http://schemas.microsoft.com/office/drawing/2014/main" id="{28F20A3E-0BF7-4C06-B53D-4541C049EE8F}"/>
              </a:ext>
            </a:extLst>
          </p:cNvPr>
          <p:cNvSpPr/>
          <p:nvPr>
            <p:custDataLst>
              <p:tags r:id="rId4"/>
            </p:custDataLst>
          </p:nvPr>
        </p:nvSpPr>
        <p:spPr>
          <a:xfrm>
            <a:off x="8910408" y="2580439"/>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24" name="Rectangle 24">
            <a:extLst>
              <a:ext uri="{FF2B5EF4-FFF2-40B4-BE49-F238E27FC236}">
                <a16:creationId xmlns:a16="http://schemas.microsoft.com/office/drawing/2014/main" id="{F7A09F17-49B1-4844-82D9-277462956369}"/>
              </a:ext>
            </a:extLst>
          </p:cNvPr>
          <p:cNvSpPr>
            <a:spLocks noChangeArrowheads="1"/>
          </p:cNvSpPr>
          <p:nvPr/>
        </p:nvSpPr>
        <p:spPr bwMode="gray">
          <a:xfrm>
            <a:off x="686090" y="1966822"/>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b="1" dirty="0">
                <a:solidFill>
                  <a:schemeClr val="bg2"/>
                </a:solidFill>
              </a:rPr>
              <a:t>Inhaltsverzeichnis</a:t>
            </a:r>
          </a:p>
        </p:txBody>
      </p:sp>
      <p:sp>
        <p:nvSpPr>
          <p:cNvPr id="25" name="Oval 118">
            <a:extLst>
              <a:ext uri="{FF2B5EF4-FFF2-40B4-BE49-F238E27FC236}">
                <a16:creationId xmlns:a16="http://schemas.microsoft.com/office/drawing/2014/main" id="{1918FB1D-5A06-4C3D-A0FA-BDB8AE6EA47C}"/>
              </a:ext>
            </a:extLst>
          </p:cNvPr>
          <p:cNvSpPr>
            <a:spLocks noChangeArrowheads="1"/>
          </p:cNvSpPr>
          <p:nvPr/>
        </p:nvSpPr>
        <p:spPr bwMode="auto">
          <a:xfrm>
            <a:off x="284400" y="1966822"/>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bg2"/>
                </a:solidFill>
                <a:cs typeface="Arial" pitchFamily="34" charset="0"/>
              </a:rPr>
              <a:t>1</a:t>
            </a:r>
          </a:p>
        </p:txBody>
      </p:sp>
      <p:cxnSp>
        <p:nvCxnSpPr>
          <p:cNvPr id="26" name="Gerade Verbindung 39">
            <a:extLst>
              <a:ext uri="{FF2B5EF4-FFF2-40B4-BE49-F238E27FC236}">
                <a16:creationId xmlns:a16="http://schemas.microsoft.com/office/drawing/2014/main" id="{87B1557F-4A08-4662-8C8D-B3D356343243}"/>
              </a:ext>
            </a:extLst>
          </p:cNvPr>
          <p:cNvCxnSpPr/>
          <p:nvPr/>
        </p:nvCxnSpPr>
        <p:spPr>
          <a:xfrm>
            <a:off x="686090" y="1966822"/>
            <a:ext cx="0" cy="563902"/>
          </a:xfrm>
          <a:prstGeom prst="line">
            <a:avLst/>
          </a:prstGeom>
          <a:ln w="19050" cap="flat" cmpd="sng" algn="ctr">
            <a:solidFill>
              <a:schemeClr val="bg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hteck 26">
            <a:hlinkClick r:id="" action="ppaction://noaction"/>
            <a:extLst>
              <a:ext uri="{FF2B5EF4-FFF2-40B4-BE49-F238E27FC236}">
                <a16:creationId xmlns:a16="http://schemas.microsoft.com/office/drawing/2014/main" id="{7BE9F190-EE30-49C4-8705-4F3F1795F561}"/>
              </a:ext>
            </a:extLst>
          </p:cNvPr>
          <p:cNvSpPr/>
          <p:nvPr>
            <p:custDataLst>
              <p:tags r:id="rId5"/>
            </p:custDataLst>
          </p:nvPr>
        </p:nvSpPr>
        <p:spPr>
          <a:xfrm>
            <a:off x="8910408" y="1966822"/>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b="1" dirty="0">
                <a:solidFill>
                  <a:schemeClr val="bg2"/>
                </a:solidFill>
              </a:rPr>
              <a:t>x</a:t>
            </a:r>
          </a:p>
        </p:txBody>
      </p:sp>
      <p:sp>
        <p:nvSpPr>
          <p:cNvPr id="28" name="Oval 118">
            <a:extLst>
              <a:ext uri="{FF2B5EF4-FFF2-40B4-BE49-F238E27FC236}">
                <a16:creationId xmlns:a16="http://schemas.microsoft.com/office/drawing/2014/main" id="{1C38B149-1998-465B-9739-0F9DA5B2B725}"/>
              </a:ext>
            </a:extLst>
          </p:cNvPr>
          <p:cNvSpPr>
            <a:spLocks noChangeArrowheads="1"/>
          </p:cNvSpPr>
          <p:nvPr/>
        </p:nvSpPr>
        <p:spPr bwMode="auto">
          <a:xfrm>
            <a:off x="284400" y="5034909"/>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6</a:t>
            </a:r>
          </a:p>
        </p:txBody>
      </p:sp>
      <p:sp>
        <p:nvSpPr>
          <p:cNvPr id="29" name="Rectangle 24">
            <a:extLst>
              <a:ext uri="{FF2B5EF4-FFF2-40B4-BE49-F238E27FC236}">
                <a16:creationId xmlns:a16="http://schemas.microsoft.com/office/drawing/2014/main" id="{347CC041-F846-43DC-9F67-2838CBAC7F5B}"/>
              </a:ext>
            </a:extLst>
          </p:cNvPr>
          <p:cNvSpPr>
            <a:spLocks noChangeArrowheads="1"/>
          </p:cNvSpPr>
          <p:nvPr/>
        </p:nvSpPr>
        <p:spPr bwMode="gray">
          <a:xfrm>
            <a:off x="686090" y="5034909"/>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30" name="Gerade Verbindung 44">
            <a:extLst>
              <a:ext uri="{FF2B5EF4-FFF2-40B4-BE49-F238E27FC236}">
                <a16:creationId xmlns:a16="http://schemas.microsoft.com/office/drawing/2014/main" id="{6F59B851-B355-43FA-8120-AF0EDF5E1EA4}"/>
              </a:ext>
            </a:extLst>
          </p:cNvPr>
          <p:cNvCxnSpPr/>
          <p:nvPr/>
        </p:nvCxnSpPr>
        <p:spPr>
          <a:xfrm>
            <a:off x="686090" y="5034909"/>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hteck 30">
            <a:hlinkClick r:id="" action="ppaction://noaction"/>
            <a:extLst>
              <a:ext uri="{FF2B5EF4-FFF2-40B4-BE49-F238E27FC236}">
                <a16:creationId xmlns:a16="http://schemas.microsoft.com/office/drawing/2014/main" id="{22053A18-B862-4C29-AA10-52303D10195F}"/>
              </a:ext>
            </a:extLst>
          </p:cNvPr>
          <p:cNvSpPr/>
          <p:nvPr>
            <p:custDataLst>
              <p:tags r:id="rId6"/>
            </p:custDataLst>
          </p:nvPr>
        </p:nvSpPr>
        <p:spPr>
          <a:xfrm>
            <a:off x="8910408" y="5034909"/>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sp>
        <p:nvSpPr>
          <p:cNvPr id="32" name="Oval 118">
            <a:extLst>
              <a:ext uri="{FF2B5EF4-FFF2-40B4-BE49-F238E27FC236}">
                <a16:creationId xmlns:a16="http://schemas.microsoft.com/office/drawing/2014/main" id="{B84F39A3-40CC-4E59-8DF4-2CC6CD33E7B2}"/>
              </a:ext>
            </a:extLst>
          </p:cNvPr>
          <p:cNvSpPr>
            <a:spLocks noChangeArrowheads="1"/>
          </p:cNvSpPr>
          <p:nvPr/>
        </p:nvSpPr>
        <p:spPr bwMode="auto">
          <a:xfrm>
            <a:off x="284400" y="5648526"/>
            <a:ext cx="376255" cy="5639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fontAlgn="base">
              <a:spcBef>
                <a:spcPct val="0"/>
              </a:spcBef>
              <a:spcAft>
                <a:spcPct val="0"/>
              </a:spcAft>
            </a:pPr>
            <a:r>
              <a:rPr lang="en-US" sz="2800" dirty="0">
                <a:solidFill>
                  <a:schemeClr val="tx1"/>
                </a:solidFill>
                <a:cs typeface="Arial" pitchFamily="34" charset="0"/>
              </a:rPr>
              <a:t>7</a:t>
            </a:r>
          </a:p>
        </p:txBody>
      </p:sp>
      <p:sp>
        <p:nvSpPr>
          <p:cNvPr id="33" name="Rectangle 24">
            <a:extLst>
              <a:ext uri="{FF2B5EF4-FFF2-40B4-BE49-F238E27FC236}">
                <a16:creationId xmlns:a16="http://schemas.microsoft.com/office/drawing/2014/main" id="{B2797DE4-02CF-496E-B6E1-8D6239540567}"/>
              </a:ext>
            </a:extLst>
          </p:cNvPr>
          <p:cNvSpPr>
            <a:spLocks noChangeArrowheads="1"/>
          </p:cNvSpPr>
          <p:nvPr/>
        </p:nvSpPr>
        <p:spPr bwMode="gray">
          <a:xfrm>
            <a:off x="686090" y="5648526"/>
            <a:ext cx="8193024" cy="563902"/>
          </a:xfrm>
          <a:prstGeom prst="rect">
            <a:avLst/>
          </a:prstGeom>
          <a:noFill/>
          <a:ln w="9525" algn="ctr">
            <a:noFill/>
            <a:prstDash val="solid"/>
            <a:miter lim="800000"/>
            <a:headEnd type="none" w="lg" len="lg"/>
            <a:tailEnd type="none" w="lg" len="lg"/>
          </a:ln>
          <a:effectLst/>
        </p:spPr>
        <p:txBody>
          <a:bodyPr lIns="91439" tIns="89999" rIns="91439" bIns="89999" anchor="ctr" anchorCtr="0"/>
          <a:lstStyle/>
          <a:p>
            <a:pPr>
              <a:spcBef>
                <a:spcPct val="0"/>
              </a:spcBef>
              <a:spcAft>
                <a:spcPct val="0"/>
              </a:spcAft>
            </a:pPr>
            <a:r>
              <a:rPr lang="de-DE" sz="1800" dirty="0"/>
              <a:t>Inhaltsverzeichnis</a:t>
            </a:r>
          </a:p>
        </p:txBody>
      </p:sp>
      <p:cxnSp>
        <p:nvCxnSpPr>
          <p:cNvPr id="34" name="Gerade Verbindung 44">
            <a:extLst>
              <a:ext uri="{FF2B5EF4-FFF2-40B4-BE49-F238E27FC236}">
                <a16:creationId xmlns:a16="http://schemas.microsoft.com/office/drawing/2014/main" id="{99669DA7-7912-4642-AC1E-428F9F164D3A}"/>
              </a:ext>
            </a:extLst>
          </p:cNvPr>
          <p:cNvCxnSpPr/>
          <p:nvPr/>
        </p:nvCxnSpPr>
        <p:spPr>
          <a:xfrm>
            <a:off x="686090" y="5648526"/>
            <a:ext cx="0" cy="563902"/>
          </a:xfrm>
          <a:prstGeom prst="line">
            <a:avLst/>
          </a:prstGeom>
          <a:ln w="190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hteck 34">
            <a:hlinkClick r:id="" action="ppaction://noaction"/>
            <a:extLst>
              <a:ext uri="{FF2B5EF4-FFF2-40B4-BE49-F238E27FC236}">
                <a16:creationId xmlns:a16="http://schemas.microsoft.com/office/drawing/2014/main" id="{1CA2F988-32F9-435C-915D-E35E0D2D697F}"/>
              </a:ext>
            </a:extLst>
          </p:cNvPr>
          <p:cNvSpPr/>
          <p:nvPr>
            <p:custDataLst>
              <p:tags r:id="rId7"/>
            </p:custDataLst>
          </p:nvPr>
        </p:nvSpPr>
        <p:spPr>
          <a:xfrm>
            <a:off x="8910408" y="5648526"/>
            <a:ext cx="733992" cy="56390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6675" rIns="0" bIns="66675" numCol="1" spcCol="0" rtlCol="0" fromWordArt="0" anchor="ctr" anchorCtr="0" forceAA="0" compatLnSpc="1">
            <a:prstTxWarp prst="textNoShape">
              <a:avLst/>
            </a:prstTxWarp>
            <a:noAutofit/>
          </a:bodyPr>
          <a:lstStyle/>
          <a:p>
            <a:pPr algn="r">
              <a:spcBef>
                <a:spcPct val="0"/>
              </a:spcBef>
              <a:spcAft>
                <a:spcPct val="0"/>
              </a:spcAft>
            </a:pPr>
            <a:r>
              <a:rPr lang="de-DE" sz="1800" dirty="0">
                <a:solidFill>
                  <a:schemeClr val="tx1"/>
                </a:solidFill>
              </a:rPr>
              <a:t>x</a:t>
            </a:r>
          </a:p>
        </p:txBody>
      </p:sp>
      <p:cxnSp>
        <p:nvCxnSpPr>
          <p:cNvPr id="37" name="Straight Connector 84">
            <a:extLst>
              <a:ext uri="{FF2B5EF4-FFF2-40B4-BE49-F238E27FC236}">
                <a16:creationId xmlns:a16="http://schemas.microsoft.com/office/drawing/2014/main" id="{1444A793-41FD-4045-9677-09355365471C}"/>
              </a:ext>
            </a:extLst>
          </p:cNvPr>
          <p:cNvCxnSpPr/>
          <p:nvPr/>
        </p:nvCxnSpPr>
        <p:spPr>
          <a:xfrm>
            <a:off x="284400" y="2555581"/>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85">
            <a:extLst>
              <a:ext uri="{FF2B5EF4-FFF2-40B4-BE49-F238E27FC236}">
                <a16:creationId xmlns:a16="http://schemas.microsoft.com/office/drawing/2014/main" id="{B01498DA-52D8-4A99-AE4C-47BD289EB9EF}"/>
              </a:ext>
            </a:extLst>
          </p:cNvPr>
          <p:cNvCxnSpPr/>
          <p:nvPr/>
        </p:nvCxnSpPr>
        <p:spPr>
          <a:xfrm>
            <a:off x="284400" y="3782816"/>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86">
            <a:extLst>
              <a:ext uri="{FF2B5EF4-FFF2-40B4-BE49-F238E27FC236}">
                <a16:creationId xmlns:a16="http://schemas.microsoft.com/office/drawing/2014/main" id="{269B44C6-6D61-4105-933D-2BEC93B2398D}"/>
              </a:ext>
            </a:extLst>
          </p:cNvPr>
          <p:cNvCxnSpPr/>
          <p:nvPr/>
        </p:nvCxnSpPr>
        <p:spPr>
          <a:xfrm>
            <a:off x="284400" y="4396434"/>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87">
            <a:extLst>
              <a:ext uri="{FF2B5EF4-FFF2-40B4-BE49-F238E27FC236}">
                <a16:creationId xmlns:a16="http://schemas.microsoft.com/office/drawing/2014/main" id="{EA2E9CD0-7667-4DD9-8620-334B6441DCEB}"/>
              </a:ext>
            </a:extLst>
          </p:cNvPr>
          <p:cNvCxnSpPr/>
          <p:nvPr/>
        </p:nvCxnSpPr>
        <p:spPr>
          <a:xfrm>
            <a:off x="284400" y="5623668"/>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 name="Gerader Verbinder 261">
            <a:extLst>
              <a:ext uri="{FF2B5EF4-FFF2-40B4-BE49-F238E27FC236}">
                <a16:creationId xmlns:a16="http://schemas.microsoft.com/office/drawing/2014/main" id="{BC4535A8-34F0-454F-827B-F9B442E55B94}"/>
              </a:ext>
            </a:extLst>
          </p:cNvPr>
          <p:cNvCxnSpPr>
            <a:cxnSpLocks/>
          </p:cNvCxnSpPr>
          <p:nvPr/>
        </p:nvCxnSpPr>
        <p:spPr>
          <a:xfrm>
            <a:off x="284400" y="1941964"/>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271">
            <a:extLst>
              <a:ext uri="{FF2B5EF4-FFF2-40B4-BE49-F238E27FC236}">
                <a16:creationId xmlns:a16="http://schemas.microsoft.com/office/drawing/2014/main" id="{EE5508D6-CEC9-42EC-9F4D-6819C0985EF9}"/>
              </a:ext>
            </a:extLst>
          </p:cNvPr>
          <p:cNvCxnSpPr>
            <a:cxnSpLocks/>
          </p:cNvCxnSpPr>
          <p:nvPr/>
        </p:nvCxnSpPr>
        <p:spPr>
          <a:xfrm>
            <a:off x="284400" y="6237288"/>
            <a:ext cx="9360000" cy="0"/>
          </a:xfrm>
          <a:prstGeom prst="line">
            <a:avLst/>
          </a:prstGeom>
          <a:ln w="6350"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84">
            <a:extLst>
              <a:ext uri="{FF2B5EF4-FFF2-40B4-BE49-F238E27FC236}">
                <a16:creationId xmlns:a16="http://schemas.microsoft.com/office/drawing/2014/main" id="{255A0338-52C6-460A-9CD3-D61273FA43F7}"/>
              </a:ext>
            </a:extLst>
          </p:cNvPr>
          <p:cNvCxnSpPr/>
          <p:nvPr/>
        </p:nvCxnSpPr>
        <p:spPr>
          <a:xfrm>
            <a:off x="284400" y="3169199"/>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 name="Straight Connector 86">
            <a:extLst>
              <a:ext uri="{FF2B5EF4-FFF2-40B4-BE49-F238E27FC236}">
                <a16:creationId xmlns:a16="http://schemas.microsoft.com/office/drawing/2014/main" id="{D6D49AE3-6037-40EF-AE97-704F67AD25A2}"/>
              </a:ext>
            </a:extLst>
          </p:cNvPr>
          <p:cNvCxnSpPr/>
          <p:nvPr/>
        </p:nvCxnSpPr>
        <p:spPr>
          <a:xfrm>
            <a:off x="284400" y="5010051"/>
            <a:ext cx="936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7" name="Rechteck 46">
            <a:hlinkClick r:id="rId11" action="ppaction://hlinksldjump"/>
            <a:extLst>
              <a:ext uri="{FF2B5EF4-FFF2-40B4-BE49-F238E27FC236}">
                <a16:creationId xmlns:a16="http://schemas.microsoft.com/office/drawing/2014/main" id="{3D78BA81-3EC5-4B45-9CF4-8273AAFEDDFA}"/>
              </a:ext>
            </a:extLst>
          </p:cNvPr>
          <p:cNvSpPr/>
          <p:nvPr>
            <p:custDataLst>
              <p:tags r:id="rId8"/>
            </p:custDataLst>
          </p:nvPr>
        </p:nvSpPr>
        <p:spPr>
          <a:xfrm>
            <a:off x="9262886" y="1636240"/>
            <a:ext cx="381515" cy="24622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Bef>
                <a:spcPct val="0"/>
              </a:spcBef>
              <a:spcAft>
                <a:spcPct val="0"/>
              </a:spcAft>
            </a:pPr>
            <a:r>
              <a:rPr lang="de-DE" sz="1600" dirty="0">
                <a:solidFill>
                  <a:schemeClr val="tx1"/>
                </a:solidFill>
              </a:rPr>
              <a:t>Seite</a:t>
            </a:r>
          </a:p>
        </p:txBody>
      </p:sp>
    </p:spTree>
    <p:extLst>
      <p:ext uri="{BB962C8B-B14F-4D97-AF65-F5344CB8AC3E}">
        <p14:creationId xmlns:p14="http://schemas.microsoft.com/office/powerpoint/2010/main" val="1307617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F597B3A-A91A-458F-B644-A173B9EAE09E}"/>
              </a:ext>
            </a:extLst>
          </p:cNvPr>
          <p:cNvSpPr>
            <a:spLocks noGrp="1"/>
          </p:cNvSpPr>
          <p:nvPr>
            <p:ph type="title"/>
          </p:nvPr>
        </p:nvSpPr>
        <p:spPr/>
        <p:txBody>
          <a:bodyPr/>
          <a:lstStyle/>
          <a:p>
            <a:r>
              <a:rPr lang="de-DE" dirty="0"/>
              <a:t>Diagramm – orange</a:t>
            </a:r>
          </a:p>
        </p:txBody>
      </p:sp>
      <p:sp>
        <p:nvSpPr>
          <p:cNvPr id="11" name="Textplatzhalter 10">
            <a:extLst>
              <a:ext uri="{FF2B5EF4-FFF2-40B4-BE49-F238E27FC236}">
                <a16:creationId xmlns:a16="http://schemas.microsoft.com/office/drawing/2014/main" id="{DBBC042B-39EF-46E0-ABED-D91F97537901}"/>
              </a:ext>
            </a:extLst>
          </p:cNvPr>
          <p:cNvSpPr>
            <a:spLocks noGrp="1"/>
          </p:cNvSpPr>
          <p:nvPr>
            <p:ph type="body" sz="quarter" idx="13"/>
          </p:nvPr>
        </p:nvSpPr>
        <p:spPr/>
        <p:txBody>
          <a:bodyPr/>
          <a:lstStyle/>
          <a:p>
            <a:r>
              <a:rPr lang="de-DE" dirty="0"/>
              <a:t>Platzhalter für Unterüberschrift</a:t>
            </a:r>
          </a:p>
        </p:txBody>
      </p:sp>
      <p:sp>
        <p:nvSpPr>
          <p:cNvPr id="3" name="Textplatzhalter 2"/>
          <p:cNvSpPr>
            <a:spLocks noGrp="1"/>
          </p:cNvSpPr>
          <p:nvPr>
            <p:ph type="body" sz="quarter" idx="14"/>
          </p:nvPr>
        </p:nvSpPr>
        <p:spPr/>
        <p:txBody>
          <a:bodyPr/>
          <a:lstStyle/>
          <a:p>
            <a:pPr>
              <a:spcAft>
                <a:spcPts val="0"/>
              </a:spcAft>
            </a:pPr>
            <a:endParaRPr lang="de-DE" dirty="0"/>
          </a:p>
        </p:txBody>
      </p:sp>
      <p:sp>
        <p:nvSpPr>
          <p:cNvPr id="5" name="Datumsplatzhalter 4">
            <a:extLst>
              <a:ext uri="{FF2B5EF4-FFF2-40B4-BE49-F238E27FC236}">
                <a16:creationId xmlns:a16="http://schemas.microsoft.com/office/drawing/2014/main" id="{60527985-7FCC-4C83-8525-1827CD52F5CB}"/>
              </a:ext>
            </a:extLst>
          </p:cNvPr>
          <p:cNvSpPr>
            <a:spLocks noGrp="1"/>
          </p:cNvSpPr>
          <p:nvPr>
            <p:ph type="dt" sz="half" idx="2"/>
          </p:nvPr>
        </p:nvSpPr>
        <p:spPr/>
        <p:txBody>
          <a:bodyPr/>
          <a:lstStyle/>
          <a:p>
            <a:fld id="{E4F732A7-91FA-4538-8ECD-A4E8BFB98BA0}" type="datetime1">
              <a:rPr lang="de-DE" smtClean="0"/>
              <a:t>04.05.2020</a:t>
            </a:fld>
            <a:endParaRPr lang="de-DE"/>
          </a:p>
        </p:txBody>
      </p:sp>
      <p:sp>
        <p:nvSpPr>
          <p:cNvPr id="7" name="Foliennummernplatzhalter 6">
            <a:extLst>
              <a:ext uri="{FF2B5EF4-FFF2-40B4-BE49-F238E27FC236}">
                <a16:creationId xmlns:a16="http://schemas.microsoft.com/office/drawing/2014/main" id="{FBEA1B38-1224-4D93-8101-E9C9FEC6D923}"/>
              </a:ext>
            </a:extLst>
          </p:cNvPr>
          <p:cNvSpPr>
            <a:spLocks noGrp="1"/>
          </p:cNvSpPr>
          <p:nvPr>
            <p:ph type="sldNum" sz="quarter" idx="4"/>
          </p:nvPr>
        </p:nvSpPr>
        <p:spPr/>
        <p:txBody>
          <a:bodyPr/>
          <a:lstStyle/>
          <a:p>
            <a:fld id="{60F8E2DC-8382-49B6-A2A6-01CCC12CBD17}" type="slidenum">
              <a:rPr lang="de-DE" smtClean="0"/>
              <a:t>13</a:t>
            </a:fld>
            <a:endParaRPr lang="de-DE"/>
          </a:p>
        </p:txBody>
      </p:sp>
      <p:graphicFrame>
        <p:nvGraphicFramePr>
          <p:cNvPr id="15" name="Diagramm 14">
            <a:extLst>
              <a:ext uri="{FF2B5EF4-FFF2-40B4-BE49-F238E27FC236}">
                <a16:creationId xmlns:a16="http://schemas.microsoft.com/office/drawing/2014/main" id="{5C3CD4E6-DBB4-4388-8BA4-9AA5D0E8038C}"/>
              </a:ext>
            </a:extLst>
          </p:cNvPr>
          <p:cNvGraphicFramePr/>
          <p:nvPr/>
        </p:nvGraphicFramePr>
        <p:xfrm>
          <a:off x="288000" y="1590675"/>
          <a:ext cx="9356400" cy="46466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54165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F597B3A-A91A-458F-B644-A173B9EAE09E}"/>
              </a:ext>
            </a:extLst>
          </p:cNvPr>
          <p:cNvSpPr>
            <a:spLocks noGrp="1"/>
          </p:cNvSpPr>
          <p:nvPr>
            <p:ph type="title"/>
          </p:nvPr>
        </p:nvSpPr>
        <p:spPr/>
        <p:txBody>
          <a:bodyPr/>
          <a:lstStyle/>
          <a:p>
            <a:r>
              <a:rPr lang="de-DE" dirty="0"/>
              <a:t>Diagramm – türkis </a:t>
            </a:r>
          </a:p>
        </p:txBody>
      </p:sp>
      <p:sp>
        <p:nvSpPr>
          <p:cNvPr id="11" name="Textplatzhalter 10">
            <a:extLst>
              <a:ext uri="{FF2B5EF4-FFF2-40B4-BE49-F238E27FC236}">
                <a16:creationId xmlns:a16="http://schemas.microsoft.com/office/drawing/2014/main" id="{DBBC042B-39EF-46E0-ABED-D91F97537901}"/>
              </a:ext>
            </a:extLst>
          </p:cNvPr>
          <p:cNvSpPr>
            <a:spLocks noGrp="1"/>
          </p:cNvSpPr>
          <p:nvPr>
            <p:ph type="body" sz="quarter" idx="13"/>
          </p:nvPr>
        </p:nvSpPr>
        <p:spPr/>
        <p:txBody>
          <a:bodyPr/>
          <a:lstStyle/>
          <a:p>
            <a:r>
              <a:rPr lang="de-DE" dirty="0"/>
              <a:t>Platzhalter für Unterüberschrift</a:t>
            </a:r>
          </a:p>
        </p:txBody>
      </p:sp>
      <p:sp>
        <p:nvSpPr>
          <p:cNvPr id="2" name="Textplatzhalter 1"/>
          <p:cNvSpPr>
            <a:spLocks noGrp="1"/>
          </p:cNvSpPr>
          <p:nvPr>
            <p:ph type="body" sz="quarter" idx="14"/>
          </p:nvPr>
        </p:nvSpPr>
        <p:spPr/>
        <p:txBody>
          <a:bodyPr/>
          <a:lstStyle/>
          <a:p>
            <a:pPr>
              <a:spcAft>
                <a:spcPts val="0"/>
              </a:spcAft>
            </a:pPr>
            <a:endParaRPr lang="de-DE"/>
          </a:p>
        </p:txBody>
      </p:sp>
      <p:sp>
        <p:nvSpPr>
          <p:cNvPr id="5" name="Datumsplatzhalter 4">
            <a:extLst>
              <a:ext uri="{FF2B5EF4-FFF2-40B4-BE49-F238E27FC236}">
                <a16:creationId xmlns:a16="http://schemas.microsoft.com/office/drawing/2014/main" id="{60527985-7FCC-4C83-8525-1827CD52F5CB}"/>
              </a:ext>
            </a:extLst>
          </p:cNvPr>
          <p:cNvSpPr>
            <a:spLocks noGrp="1"/>
          </p:cNvSpPr>
          <p:nvPr>
            <p:ph type="dt" sz="half" idx="2"/>
          </p:nvPr>
        </p:nvSpPr>
        <p:spPr/>
        <p:txBody>
          <a:bodyPr/>
          <a:lstStyle/>
          <a:p>
            <a:fld id="{3D1217AA-1A5D-4548-9713-338FC9A2F366}" type="datetime1">
              <a:rPr lang="de-DE" smtClean="0"/>
              <a:t>04.05.2020</a:t>
            </a:fld>
            <a:endParaRPr lang="de-DE"/>
          </a:p>
        </p:txBody>
      </p:sp>
      <p:sp>
        <p:nvSpPr>
          <p:cNvPr id="7" name="Foliennummernplatzhalter 6">
            <a:extLst>
              <a:ext uri="{FF2B5EF4-FFF2-40B4-BE49-F238E27FC236}">
                <a16:creationId xmlns:a16="http://schemas.microsoft.com/office/drawing/2014/main" id="{FBEA1B38-1224-4D93-8101-E9C9FEC6D923}"/>
              </a:ext>
            </a:extLst>
          </p:cNvPr>
          <p:cNvSpPr>
            <a:spLocks noGrp="1"/>
          </p:cNvSpPr>
          <p:nvPr>
            <p:ph type="sldNum" sz="quarter" idx="4"/>
          </p:nvPr>
        </p:nvSpPr>
        <p:spPr/>
        <p:txBody>
          <a:bodyPr/>
          <a:lstStyle/>
          <a:p>
            <a:fld id="{60F8E2DC-8382-49B6-A2A6-01CCC12CBD17}" type="slidenum">
              <a:rPr lang="de-DE" smtClean="0"/>
              <a:t>14</a:t>
            </a:fld>
            <a:endParaRPr lang="de-DE"/>
          </a:p>
        </p:txBody>
      </p:sp>
      <p:graphicFrame>
        <p:nvGraphicFramePr>
          <p:cNvPr id="15" name="Diagramm 14">
            <a:extLst>
              <a:ext uri="{FF2B5EF4-FFF2-40B4-BE49-F238E27FC236}">
                <a16:creationId xmlns:a16="http://schemas.microsoft.com/office/drawing/2014/main" id="{5C3CD4E6-DBB4-4388-8BA4-9AA5D0E8038C}"/>
              </a:ext>
            </a:extLst>
          </p:cNvPr>
          <p:cNvGraphicFramePr/>
          <p:nvPr/>
        </p:nvGraphicFramePr>
        <p:xfrm>
          <a:off x="288000" y="1590675"/>
          <a:ext cx="9356400" cy="46466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03027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abelle</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6E634CEF-ED8F-43DA-B0F5-422038DCAA01}"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15</a:t>
            </a:fld>
            <a:endParaRPr lang="de-DE" dirty="0"/>
          </a:p>
        </p:txBody>
      </p:sp>
      <p:graphicFrame>
        <p:nvGraphicFramePr>
          <p:cNvPr id="7" name="Tabelle 6"/>
          <p:cNvGraphicFramePr>
            <a:graphicFrameLocks noGrp="1"/>
          </p:cNvGraphicFramePr>
          <p:nvPr/>
        </p:nvGraphicFramePr>
        <p:xfrm>
          <a:off x="284400" y="1627200"/>
          <a:ext cx="9360000" cy="2225040"/>
        </p:xfrm>
        <a:graphic>
          <a:graphicData uri="http://schemas.openxmlformats.org/drawingml/2006/table">
            <a:tbl>
              <a:tblPr firstRow="1" bandRow="1">
                <a:tableStyleId>{2D5ABB26-0587-4C30-8999-92F81FD0307C}</a:tableStyleId>
              </a:tblPr>
              <a:tblGrid>
                <a:gridCol w="1872000">
                  <a:extLst>
                    <a:ext uri="{9D8B030D-6E8A-4147-A177-3AD203B41FA5}">
                      <a16:colId xmlns:a16="http://schemas.microsoft.com/office/drawing/2014/main" val="20000"/>
                    </a:ext>
                  </a:extLst>
                </a:gridCol>
                <a:gridCol w="1872000">
                  <a:extLst>
                    <a:ext uri="{9D8B030D-6E8A-4147-A177-3AD203B41FA5}">
                      <a16:colId xmlns:a16="http://schemas.microsoft.com/office/drawing/2014/main" val="20001"/>
                    </a:ext>
                  </a:extLst>
                </a:gridCol>
                <a:gridCol w="1872000">
                  <a:extLst>
                    <a:ext uri="{9D8B030D-6E8A-4147-A177-3AD203B41FA5}">
                      <a16:colId xmlns:a16="http://schemas.microsoft.com/office/drawing/2014/main" val="20002"/>
                    </a:ext>
                  </a:extLst>
                </a:gridCol>
                <a:gridCol w="1872000">
                  <a:extLst>
                    <a:ext uri="{9D8B030D-6E8A-4147-A177-3AD203B41FA5}">
                      <a16:colId xmlns:a16="http://schemas.microsoft.com/office/drawing/2014/main" val="20003"/>
                    </a:ext>
                  </a:extLst>
                </a:gridCol>
                <a:gridCol w="1872000">
                  <a:extLst>
                    <a:ext uri="{9D8B030D-6E8A-4147-A177-3AD203B41FA5}">
                      <a16:colId xmlns:a16="http://schemas.microsoft.com/office/drawing/2014/main" val="20004"/>
                    </a:ext>
                  </a:extLst>
                </a:gridCol>
              </a:tblGrid>
              <a:tr h="370840">
                <a:tc>
                  <a:txBody>
                    <a:bodyPr/>
                    <a:lstStyle/>
                    <a:p>
                      <a:r>
                        <a:rPr lang="de-DE" sz="1400" dirty="0">
                          <a:solidFill>
                            <a:schemeClr val="bg2"/>
                          </a:solidFill>
                        </a:rPr>
                        <a:t>Überschrift 1</a:t>
                      </a: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a:solidFill>
                            <a:schemeClr val="bg2"/>
                          </a:solidFill>
                        </a:rPr>
                        <a:t>Überschrift 2</a:t>
                      </a: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a:solidFill>
                            <a:schemeClr val="bg2"/>
                          </a:solidFill>
                        </a:rPr>
                        <a:t>Überschrift </a:t>
                      </a:r>
                      <a:r>
                        <a:rPr lang="de-DE" sz="1400" baseline="0" dirty="0">
                          <a:solidFill>
                            <a:schemeClr val="bg2"/>
                          </a:solidFill>
                        </a:rPr>
                        <a:t>3</a:t>
                      </a:r>
                      <a:endParaRPr lang="de-DE" sz="1400" dirty="0">
                        <a:solidFill>
                          <a:schemeClr val="bg2"/>
                        </a:solidFill>
                      </a:endParaRP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a:solidFill>
                            <a:schemeClr val="bg2"/>
                          </a:solidFill>
                        </a:rPr>
                        <a:t>Überschrift 4</a:t>
                      </a: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400" dirty="0">
                          <a:solidFill>
                            <a:schemeClr val="bg2"/>
                          </a:solidFill>
                        </a:rPr>
                        <a:t>Überschrift 5</a:t>
                      </a:r>
                    </a:p>
                  </a:txBody>
                  <a:tcPr anchor="ctr">
                    <a:lnL>
                      <a:noFill/>
                    </a:lnL>
                    <a:lnR>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0840">
                <a:tc>
                  <a:txBody>
                    <a:bodyPr/>
                    <a:lstStyle/>
                    <a:p>
                      <a:r>
                        <a:rPr lang="de-DE" sz="1400" dirty="0"/>
                        <a:t>Text</a:t>
                      </a:r>
                    </a:p>
                  </a:txBody>
                  <a:tcPr>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de-DE" sz="1400" dirty="0"/>
                        <a:t>Text</a:t>
                      </a:r>
                    </a:p>
                  </a:txBody>
                  <a:tcPr>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de-DE" sz="1400" dirty="0"/>
                        <a:t>Text</a:t>
                      </a:r>
                    </a:p>
                  </a:txBody>
                  <a:tcPr>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400" dirty="0"/>
                        <a:t>Text mit Bullet</a:t>
                      </a:r>
                    </a:p>
                  </a:txBody>
                  <a:tcPr>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a:p>
                  </a:txBody>
                  <a:tcPr>
                    <a:lnT w="19050" cap="flat" cmpd="sng" algn="ctr">
                      <a:solidFill>
                        <a:schemeClr val="bg2"/>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400" dirty="0"/>
                        <a:t>Text mit Bullet</a:t>
                      </a:r>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endParaRPr lang="de-DE" sz="1400" dirty="0"/>
                    </a:p>
                  </a:txBody>
                  <a:tcP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tc>
                  <a:txBody>
                    <a:bodyPr/>
                    <a:lstStyle/>
                    <a:p>
                      <a:endParaRPr lang="de-DE" sz="1400" dirty="0"/>
                    </a:p>
                  </a:txBody>
                  <a:tcP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320418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F597B3A-A91A-458F-B644-A173B9EAE09E}"/>
              </a:ext>
            </a:extLst>
          </p:cNvPr>
          <p:cNvSpPr>
            <a:spLocks noGrp="1"/>
          </p:cNvSpPr>
          <p:nvPr>
            <p:ph type="title"/>
          </p:nvPr>
        </p:nvSpPr>
        <p:spPr/>
        <p:txBody>
          <a:bodyPr/>
          <a:lstStyle/>
          <a:p>
            <a:r>
              <a:rPr lang="de-DE" dirty="0"/>
              <a:t>Gestaltungsvariante mit Icons – türkis</a:t>
            </a:r>
          </a:p>
        </p:txBody>
      </p:sp>
      <p:sp>
        <p:nvSpPr>
          <p:cNvPr id="11" name="Textplatzhalter 10">
            <a:extLst>
              <a:ext uri="{FF2B5EF4-FFF2-40B4-BE49-F238E27FC236}">
                <a16:creationId xmlns:a16="http://schemas.microsoft.com/office/drawing/2014/main" id="{DBBC042B-39EF-46E0-ABED-D91F97537901}"/>
              </a:ext>
            </a:extLst>
          </p:cNvPr>
          <p:cNvSpPr>
            <a:spLocks noGrp="1"/>
          </p:cNvSpPr>
          <p:nvPr>
            <p:ph type="body" sz="quarter" idx="13"/>
          </p:nvPr>
        </p:nvSpPr>
        <p:spPr/>
        <p:txBody>
          <a:bodyPr/>
          <a:lstStyle/>
          <a:p>
            <a:r>
              <a:rPr lang="de-DE" dirty="0"/>
              <a:t>Platzhalter für Unterüberschrift</a:t>
            </a:r>
          </a:p>
        </p:txBody>
      </p:sp>
      <p:sp>
        <p:nvSpPr>
          <p:cNvPr id="3" name="Textplatzhalter 2"/>
          <p:cNvSpPr>
            <a:spLocks noGrp="1"/>
          </p:cNvSpPr>
          <p:nvPr>
            <p:ph type="body" sz="quarter" idx="14"/>
          </p:nvPr>
        </p:nvSpPr>
        <p:spPr/>
        <p:txBody>
          <a:bodyPr/>
          <a:lstStyle/>
          <a:p>
            <a:pPr>
              <a:spcAft>
                <a:spcPts val="0"/>
              </a:spcAft>
            </a:pPr>
            <a:endParaRPr lang="de-DE" dirty="0"/>
          </a:p>
        </p:txBody>
      </p:sp>
      <p:sp>
        <p:nvSpPr>
          <p:cNvPr id="5" name="Datumsplatzhalter 4">
            <a:extLst>
              <a:ext uri="{FF2B5EF4-FFF2-40B4-BE49-F238E27FC236}">
                <a16:creationId xmlns:a16="http://schemas.microsoft.com/office/drawing/2014/main" id="{60527985-7FCC-4C83-8525-1827CD52F5CB}"/>
              </a:ext>
            </a:extLst>
          </p:cNvPr>
          <p:cNvSpPr>
            <a:spLocks noGrp="1"/>
          </p:cNvSpPr>
          <p:nvPr>
            <p:ph type="dt" sz="half" idx="2"/>
          </p:nvPr>
        </p:nvSpPr>
        <p:spPr/>
        <p:txBody>
          <a:bodyPr/>
          <a:lstStyle/>
          <a:p>
            <a:fld id="{DD3737E0-01A6-4F62-A034-E7FAF7C7FA21}" type="datetime1">
              <a:rPr lang="de-DE" smtClean="0"/>
              <a:t>04.05.2020</a:t>
            </a:fld>
            <a:endParaRPr lang="de-DE"/>
          </a:p>
        </p:txBody>
      </p:sp>
      <p:sp>
        <p:nvSpPr>
          <p:cNvPr id="7" name="Foliennummernplatzhalter 6">
            <a:extLst>
              <a:ext uri="{FF2B5EF4-FFF2-40B4-BE49-F238E27FC236}">
                <a16:creationId xmlns:a16="http://schemas.microsoft.com/office/drawing/2014/main" id="{FBEA1B38-1224-4D93-8101-E9C9FEC6D923}"/>
              </a:ext>
            </a:extLst>
          </p:cNvPr>
          <p:cNvSpPr>
            <a:spLocks noGrp="1"/>
          </p:cNvSpPr>
          <p:nvPr>
            <p:ph type="sldNum" sz="quarter" idx="4"/>
          </p:nvPr>
        </p:nvSpPr>
        <p:spPr/>
        <p:txBody>
          <a:bodyPr/>
          <a:lstStyle/>
          <a:p>
            <a:fld id="{60F8E2DC-8382-49B6-A2A6-01CCC12CBD17}" type="slidenum">
              <a:rPr lang="de-DE" smtClean="0"/>
              <a:t>16</a:t>
            </a:fld>
            <a:endParaRPr lang="de-DE"/>
          </a:p>
        </p:txBody>
      </p:sp>
      <p:grpSp>
        <p:nvGrpSpPr>
          <p:cNvPr id="4" name="Gruppieren 3">
            <a:extLst>
              <a:ext uri="{FF2B5EF4-FFF2-40B4-BE49-F238E27FC236}">
                <a16:creationId xmlns:a16="http://schemas.microsoft.com/office/drawing/2014/main" id="{7918C3CC-78BA-4FBE-9FF9-BB1996447A9E}"/>
              </a:ext>
            </a:extLst>
          </p:cNvPr>
          <p:cNvGrpSpPr/>
          <p:nvPr/>
        </p:nvGrpSpPr>
        <p:grpSpPr>
          <a:xfrm>
            <a:off x="780831" y="1627200"/>
            <a:ext cx="1080000" cy="1080000"/>
            <a:chOff x="1016482" y="1275080"/>
            <a:chExt cx="1080000" cy="1080000"/>
          </a:xfrm>
        </p:grpSpPr>
        <p:sp>
          <p:nvSpPr>
            <p:cNvPr id="2" name="Sechseck 1">
              <a:extLst>
                <a:ext uri="{FF2B5EF4-FFF2-40B4-BE49-F238E27FC236}">
                  <a16:creationId xmlns:a16="http://schemas.microsoft.com/office/drawing/2014/main" id="{DA943F83-975C-4E62-9933-7057583B1A8A}"/>
                </a:ext>
              </a:extLst>
            </p:cNvPr>
            <p:cNvSpPr/>
            <p:nvPr/>
          </p:nvSpPr>
          <p:spPr>
            <a:xfrm>
              <a:off x="1016482"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17" name="Group 17">
              <a:extLst>
                <a:ext uri="{FF2B5EF4-FFF2-40B4-BE49-F238E27FC236}">
                  <a16:creationId xmlns:a16="http://schemas.microsoft.com/office/drawing/2014/main" id="{1213BF3B-75EA-4C7C-9A85-9A1D2A071B0C}"/>
                </a:ext>
              </a:extLst>
            </p:cNvPr>
            <p:cNvGrpSpPr>
              <a:grpSpLocks noChangeAspect="1"/>
            </p:cNvGrpSpPr>
            <p:nvPr/>
          </p:nvGrpSpPr>
          <p:grpSpPr>
            <a:xfrm>
              <a:off x="1277739" y="1545327"/>
              <a:ext cx="557486" cy="539506"/>
              <a:chOff x="338138" y="4464051"/>
              <a:chExt cx="295275" cy="285750"/>
            </a:xfrm>
            <a:solidFill>
              <a:schemeClr val="accent3"/>
            </a:solidFill>
            <a:effectLst/>
          </p:grpSpPr>
          <p:sp>
            <p:nvSpPr>
              <p:cNvPr id="18" name="Freeform 117">
                <a:extLst>
                  <a:ext uri="{FF2B5EF4-FFF2-40B4-BE49-F238E27FC236}">
                    <a16:creationId xmlns:a16="http://schemas.microsoft.com/office/drawing/2014/main" id="{1B69E0A8-FF63-49E5-9016-4F1E9249F975}"/>
                  </a:ext>
                </a:extLst>
              </p:cNvPr>
              <p:cNvSpPr>
                <a:spLocks noEditPoints="1"/>
              </p:cNvSpPr>
              <p:nvPr/>
            </p:nvSpPr>
            <p:spPr bwMode="auto">
              <a:xfrm>
                <a:off x="355601" y="4497388"/>
                <a:ext cx="252413" cy="252413"/>
              </a:xfrm>
              <a:custGeom>
                <a:avLst/>
                <a:gdLst>
                  <a:gd name="T0" fmla="*/ 260 w 636"/>
                  <a:gd name="T1" fmla="*/ 606 h 637"/>
                  <a:gd name="T2" fmla="*/ 191 w 636"/>
                  <a:gd name="T3" fmla="*/ 583 h 637"/>
                  <a:gd name="T4" fmla="*/ 132 w 636"/>
                  <a:gd name="T5" fmla="*/ 544 h 637"/>
                  <a:gd name="T6" fmla="*/ 84 w 636"/>
                  <a:gd name="T7" fmla="*/ 494 h 637"/>
                  <a:gd name="T8" fmla="*/ 48 w 636"/>
                  <a:gd name="T9" fmla="*/ 433 h 637"/>
                  <a:gd name="T10" fmla="*/ 29 w 636"/>
                  <a:gd name="T11" fmla="*/ 363 h 637"/>
                  <a:gd name="T12" fmla="*/ 27 w 636"/>
                  <a:gd name="T13" fmla="*/ 289 h 637"/>
                  <a:gd name="T14" fmla="*/ 43 w 636"/>
                  <a:gd name="T15" fmla="*/ 219 h 637"/>
                  <a:gd name="T16" fmla="*/ 75 w 636"/>
                  <a:gd name="T17" fmla="*/ 156 h 637"/>
                  <a:gd name="T18" fmla="*/ 121 w 636"/>
                  <a:gd name="T19" fmla="*/ 102 h 637"/>
                  <a:gd name="T20" fmla="*/ 179 w 636"/>
                  <a:gd name="T21" fmla="*/ 61 h 637"/>
                  <a:gd name="T22" fmla="*/ 245 w 636"/>
                  <a:gd name="T23" fmla="*/ 35 h 637"/>
                  <a:gd name="T24" fmla="*/ 318 w 636"/>
                  <a:gd name="T25" fmla="*/ 26 h 637"/>
                  <a:gd name="T26" fmla="*/ 392 w 636"/>
                  <a:gd name="T27" fmla="*/ 35 h 637"/>
                  <a:gd name="T28" fmla="*/ 457 w 636"/>
                  <a:gd name="T29" fmla="*/ 61 h 637"/>
                  <a:gd name="T30" fmla="*/ 515 w 636"/>
                  <a:gd name="T31" fmla="*/ 102 h 637"/>
                  <a:gd name="T32" fmla="*/ 561 w 636"/>
                  <a:gd name="T33" fmla="*/ 156 h 637"/>
                  <a:gd name="T34" fmla="*/ 593 w 636"/>
                  <a:gd name="T35" fmla="*/ 219 h 637"/>
                  <a:gd name="T36" fmla="*/ 610 w 636"/>
                  <a:gd name="T37" fmla="*/ 289 h 637"/>
                  <a:gd name="T38" fmla="*/ 607 w 636"/>
                  <a:gd name="T39" fmla="*/ 363 h 637"/>
                  <a:gd name="T40" fmla="*/ 588 w 636"/>
                  <a:gd name="T41" fmla="*/ 433 h 637"/>
                  <a:gd name="T42" fmla="*/ 553 w 636"/>
                  <a:gd name="T43" fmla="*/ 494 h 637"/>
                  <a:gd name="T44" fmla="*/ 504 w 636"/>
                  <a:gd name="T45" fmla="*/ 544 h 637"/>
                  <a:gd name="T46" fmla="*/ 445 w 636"/>
                  <a:gd name="T47" fmla="*/ 583 h 637"/>
                  <a:gd name="T48" fmla="*/ 377 w 636"/>
                  <a:gd name="T49" fmla="*/ 606 h 637"/>
                  <a:gd name="T50" fmla="*/ 636 w 636"/>
                  <a:gd name="T51" fmla="*/ 319 h 637"/>
                  <a:gd name="T52" fmla="*/ 627 w 636"/>
                  <a:gd name="T53" fmla="*/ 240 h 637"/>
                  <a:gd name="T54" fmla="*/ 598 w 636"/>
                  <a:gd name="T55" fmla="*/ 168 h 637"/>
                  <a:gd name="T56" fmla="*/ 554 w 636"/>
                  <a:gd name="T57" fmla="*/ 105 h 637"/>
                  <a:gd name="T58" fmla="*/ 496 w 636"/>
                  <a:gd name="T59" fmla="*/ 55 h 637"/>
                  <a:gd name="T60" fmla="*/ 427 w 636"/>
                  <a:gd name="T61" fmla="*/ 20 h 637"/>
                  <a:gd name="T62" fmla="*/ 351 w 636"/>
                  <a:gd name="T63" fmla="*/ 2 h 637"/>
                  <a:gd name="T64" fmla="*/ 269 w 636"/>
                  <a:gd name="T65" fmla="*/ 4 h 637"/>
                  <a:gd name="T66" fmla="*/ 194 w 636"/>
                  <a:gd name="T67" fmla="*/ 26 h 637"/>
                  <a:gd name="T68" fmla="*/ 128 w 636"/>
                  <a:gd name="T69" fmla="*/ 64 h 637"/>
                  <a:gd name="T70" fmla="*/ 73 w 636"/>
                  <a:gd name="T71" fmla="*/ 117 h 637"/>
                  <a:gd name="T72" fmla="*/ 31 w 636"/>
                  <a:gd name="T73" fmla="*/ 182 h 637"/>
                  <a:gd name="T74" fmla="*/ 6 w 636"/>
                  <a:gd name="T75" fmla="*/ 255 h 637"/>
                  <a:gd name="T76" fmla="*/ 1 w 636"/>
                  <a:gd name="T77" fmla="*/ 338 h 637"/>
                  <a:gd name="T78" fmla="*/ 20 w 636"/>
                  <a:gd name="T79" fmla="*/ 433 h 637"/>
                  <a:gd name="T80" fmla="*/ 66 w 636"/>
                  <a:gd name="T81" fmla="*/ 513 h 637"/>
                  <a:gd name="T82" fmla="*/ 132 w 636"/>
                  <a:gd name="T83" fmla="*/ 578 h 637"/>
                  <a:gd name="T84" fmla="*/ 95 w 636"/>
                  <a:gd name="T85" fmla="*/ 634 h 637"/>
                  <a:gd name="T86" fmla="*/ 153 w 636"/>
                  <a:gd name="T87" fmla="*/ 592 h 637"/>
                  <a:gd name="T88" fmla="*/ 252 w 636"/>
                  <a:gd name="T89" fmla="*/ 630 h 637"/>
                  <a:gd name="T90" fmla="*/ 366 w 636"/>
                  <a:gd name="T91" fmla="*/ 634 h 637"/>
                  <a:gd name="T92" fmla="*/ 475 w 636"/>
                  <a:gd name="T93" fmla="*/ 596 h 637"/>
                  <a:gd name="T94" fmla="*/ 558 w 636"/>
                  <a:gd name="T95" fmla="*/ 636 h 637"/>
                  <a:gd name="T96" fmla="*/ 562 w 636"/>
                  <a:gd name="T97" fmla="*/ 614 h 637"/>
                  <a:gd name="T98" fmla="*/ 566 w 636"/>
                  <a:gd name="T99" fmla="*/ 519 h 637"/>
                  <a:gd name="T100" fmla="*/ 611 w 636"/>
                  <a:gd name="T101" fmla="*/ 444 h 637"/>
                  <a:gd name="T102" fmla="*/ 634 w 636"/>
                  <a:gd name="T103" fmla="*/ 355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6" h="637">
                    <a:moveTo>
                      <a:pt x="318" y="612"/>
                    </a:moveTo>
                    <a:lnTo>
                      <a:pt x="303" y="611"/>
                    </a:lnTo>
                    <a:lnTo>
                      <a:pt x="289" y="610"/>
                    </a:lnTo>
                    <a:lnTo>
                      <a:pt x="274" y="608"/>
                    </a:lnTo>
                    <a:lnTo>
                      <a:pt x="260" y="606"/>
                    </a:lnTo>
                    <a:lnTo>
                      <a:pt x="245" y="602"/>
                    </a:lnTo>
                    <a:lnTo>
                      <a:pt x="231" y="598"/>
                    </a:lnTo>
                    <a:lnTo>
                      <a:pt x="218" y="594"/>
                    </a:lnTo>
                    <a:lnTo>
                      <a:pt x="204" y="588"/>
                    </a:lnTo>
                    <a:lnTo>
                      <a:pt x="191" y="583"/>
                    </a:lnTo>
                    <a:lnTo>
                      <a:pt x="179" y="577"/>
                    </a:lnTo>
                    <a:lnTo>
                      <a:pt x="166" y="569"/>
                    </a:lnTo>
                    <a:lnTo>
                      <a:pt x="154" y="562"/>
                    </a:lnTo>
                    <a:lnTo>
                      <a:pt x="143" y="553"/>
                    </a:lnTo>
                    <a:lnTo>
                      <a:pt x="132" y="544"/>
                    </a:lnTo>
                    <a:lnTo>
                      <a:pt x="121" y="536"/>
                    </a:lnTo>
                    <a:lnTo>
                      <a:pt x="111" y="526"/>
                    </a:lnTo>
                    <a:lnTo>
                      <a:pt x="102" y="515"/>
                    </a:lnTo>
                    <a:lnTo>
                      <a:pt x="92" y="505"/>
                    </a:lnTo>
                    <a:lnTo>
                      <a:pt x="84" y="494"/>
                    </a:lnTo>
                    <a:lnTo>
                      <a:pt x="75" y="482"/>
                    </a:lnTo>
                    <a:lnTo>
                      <a:pt x="67" y="470"/>
                    </a:lnTo>
                    <a:lnTo>
                      <a:pt x="61" y="459"/>
                    </a:lnTo>
                    <a:lnTo>
                      <a:pt x="55" y="446"/>
                    </a:lnTo>
                    <a:lnTo>
                      <a:pt x="48" y="433"/>
                    </a:lnTo>
                    <a:lnTo>
                      <a:pt x="43" y="420"/>
                    </a:lnTo>
                    <a:lnTo>
                      <a:pt x="38" y="406"/>
                    </a:lnTo>
                    <a:lnTo>
                      <a:pt x="34" y="392"/>
                    </a:lnTo>
                    <a:lnTo>
                      <a:pt x="31" y="378"/>
                    </a:lnTo>
                    <a:lnTo>
                      <a:pt x="29" y="363"/>
                    </a:lnTo>
                    <a:lnTo>
                      <a:pt x="27" y="349"/>
                    </a:lnTo>
                    <a:lnTo>
                      <a:pt x="26" y="334"/>
                    </a:lnTo>
                    <a:lnTo>
                      <a:pt x="26" y="319"/>
                    </a:lnTo>
                    <a:lnTo>
                      <a:pt x="26" y="304"/>
                    </a:lnTo>
                    <a:lnTo>
                      <a:pt x="27" y="289"/>
                    </a:lnTo>
                    <a:lnTo>
                      <a:pt x="29" y="275"/>
                    </a:lnTo>
                    <a:lnTo>
                      <a:pt x="31" y="260"/>
                    </a:lnTo>
                    <a:lnTo>
                      <a:pt x="34" y="246"/>
                    </a:lnTo>
                    <a:lnTo>
                      <a:pt x="38" y="232"/>
                    </a:lnTo>
                    <a:lnTo>
                      <a:pt x="43" y="219"/>
                    </a:lnTo>
                    <a:lnTo>
                      <a:pt x="48" y="205"/>
                    </a:lnTo>
                    <a:lnTo>
                      <a:pt x="55" y="192"/>
                    </a:lnTo>
                    <a:lnTo>
                      <a:pt x="61" y="179"/>
                    </a:lnTo>
                    <a:lnTo>
                      <a:pt x="67" y="168"/>
                    </a:lnTo>
                    <a:lnTo>
                      <a:pt x="75" y="156"/>
                    </a:lnTo>
                    <a:lnTo>
                      <a:pt x="84" y="144"/>
                    </a:lnTo>
                    <a:lnTo>
                      <a:pt x="92" y="133"/>
                    </a:lnTo>
                    <a:lnTo>
                      <a:pt x="102" y="122"/>
                    </a:lnTo>
                    <a:lnTo>
                      <a:pt x="111" y="112"/>
                    </a:lnTo>
                    <a:lnTo>
                      <a:pt x="121" y="102"/>
                    </a:lnTo>
                    <a:lnTo>
                      <a:pt x="132" y="93"/>
                    </a:lnTo>
                    <a:lnTo>
                      <a:pt x="143" y="85"/>
                    </a:lnTo>
                    <a:lnTo>
                      <a:pt x="154" y="76"/>
                    </a:lnTo>
                    <a:lnTo>
                      <a:pt x="166" y="69"/>
                    </a:lnTo>
                    <a:lnTo>
                      <a:pt x="179" y="61"/>
                    </a:lnTo>
                    <a:lnTo>
                      <a:pt x="191" y="55"/>
                    </a:lnTo>
                    <a:lnTo>
                      <a:pt x="204" y="49"/>
                    </a:lnTo>
                    <a:lnTo>
                      <a:pt x="218" y="44"/>
                    </a:lnTo>
                    <a:lnTo>
                      <a:pt x="231" y="39"/>
                    </a:lnTo>
                    <a:lnTo>
                      <a:pt x="245" y="35"/>
                    </a:lnTo>
                    <a:lnTo>
                      <a:pt x="260" y="32"/>
                    </a:lnTo>
                    <a:lnTo>
                      <a:pt x="274" y="29"/>
                    </a:lnTo>
                    <a:lnTo>
                      <a:pt x="289" y="28"/>
                    </a:lnTo>
                    <a:lnTo>
                      <a:pt x="303" y="26"/>
                    </a:lnTo>
                    <a:lnTo>
                      <a:pt x="318" y="26"/>
                    </a:lnTo>
                    <a:lnTo>
                      <a:pt x="333" y="26"/>
                    </a:lnTo>
                    <a:lnTo>
                      <a:pt x="348" y="28"/>
                    </a:lnTo>
                    <a:lnTo>
                      <a:pt x="363" y="29"/>
                    </a:lnTo>
                    <a:lnTo>
                      <a:pt x="377" y="32"/>
                    </a:lnTo>
                    <a:lnTo>
                      <a:pt x="392" y="35"/>
                    </a:lnTo>
                    <a:lnTo>
                      <a:pt x="405" y="39"/>
                    </a:lnTo>
                    <a:lnTo>
                      <a:pt x="418" y="44"/>
                    </a:lnTo>
                    <a:lnTo>
                      <a:pt x="431" y="49"/>
                    </a:lnTo>
                    <a:lnTo>
                      <a:pt x="445" y="55"/>
                    </a:lnTo>
                    <a:lnTo>
                      <a:pt x="457" y="61"/>
                    </a:lnTo>
                    <a:lnTo>
                      <a:pt x="470" y="69"/>
                    </a:lnTo>
                    <a:lnTo>
                      <a:pt x="482" y="76"/>
                    </a:lnTo>
                    <a:lnTo>
                      <a:pt x="494" y="85"/>
                    </a:lnTo>
                    <a:lnTo>
                      <a:pt x="504" y="93"/>
                    </a:lnTo>
                    <a:lnTo>
                      <a:pt x="515" y="102"/>
                    </a:lnTo>
                    <a:lnTo>
                      <a:pt x="525" y="112"/>
                    </a:lnTo>
                    <a:lnTo>
                      <a:pt x="534" y="122"/>
                    </a:lnTo>
                    <a:lnTo>
                      <a:pt x="544" y="133"/>
                    </a:lnTo>
                    <a:lnTo>
                      <a:pt x="553" y="144"/>
                    </a:lnTo>
                    <a:lnTo>
                      <a:pt x="561" y="156"/>
                    </a:lnTo>
                    <a:lnTo>
                      <a:pt x="569" y="168"/>
                    </a:lnTo>
                    <a:lnTo>
                      <a:pt x="575" y="179"/>
                    </a:lnTo>
                    <a:lnTo>
                      <a:pt x="582" y="192"/>
                    </a:lnTo>
                    <a:lnTo>
                      <a:pt x="588" y="205"/>
                    </a:lnTo>
                    <a:lnTo>
                      <a:pt x="593" y="219"/>
                    </a:lnTo>
                    <a:lnTo>
                      <a:pt x="598" y="232"/>
                    </a:lnTo>
                    <a:lnTo>
                      <a:pt x="602" y="246"/>
                    </a:lnTo>
                    <a:lnTo>
                      <a:pt x="605" y="260"/>
                    </a:lnTo>
                    <a:lnTo>
                      <a:pt x="607" y="275"/>
                    </a:lnTo>
                    <a:lnTo>
                      <a:pt x="610" y="289"/>
                    </a:lnTo>
                    <a:lnTo>
                      <a:pt x="611" y="304"/>
                    </a:lnTo>
                    <a:lnTo>
                      <a:pt x="611" y="319"/>
                    </a:lnTo>
                    <a:lnTo>
                      <a:pt x="611" y="334"/>
                    </a:lnTo>
                    <a:lnTo>
                      <a:pt x="610" y="349"/>
                    </a:lnTo>
                    <a:lnTo>
                      <a:pt x="607" y="363"/>
                    </a:lnTo>
                    <a:lnTo>
                      <a:pt x="605" y="378"/>
                    </a:lnTo>
                    <a:lnTo>
                      <a:pt x="602" y="392"/>
                    </a:lnTo>
                    <a:lnTo>
                      <a:pt x="598" y="406"/>
                    </a:lnTo>
                    <a:lnTo>
                      <a:pt x="593" y="420"/>
                    </a:lnTo>
                    <a:lnTo>
                      <a:pt x="588" y="433"/>
                    </a:lnTo>
                    <a:lnTo>
                      <a:pt x="582" y="446"/>
                    </a:lnTo>
                    <a:lnTo>
                      <a:pt x="575" y="459"/>
                    </a:lnTo>
                    <a:lnTo>
                      <a:pt x="569" y="470"/>
                    </a:lnTo>
                    <a:lnTo>
                      <a:pt x="561" y="482"/>
                    </a:lnTo>
                    <a:lnTo>
                      <a:pt x="553" y="494"/>
                    </a:lnTo>
                    <a:lnTo>
                      <a:pt x="544" y="505"/>
                    </a:lnTo>
                    <a:lnTo>
                      <a:pt x="534" y="515"/>
                    </a:lnTo>
                    <a:lnTo>
                      <a:pt x="525" y="526"/>
                    </a:lnTo>
                    <a:lnTo>
                      <a:pt x="515" y="536"/>
                    </a:lnTo>
                    <a:lnTo>
                      <a:pt x="504" y="544"/>
                    </a:lnTo>
                    <a:lnTo>
                      <a:pt x="494" y="553"/>
                    </a:lnTo>
                    <a:lnTo>
                      <a:pt x="482" y="562"/>
                    </a:lnTo>
                    <a:lnTo>
                      <a:pt x="470" y="569"/>
                    </a:lnTo>
                    <a:lnTo>
                      <a:pt x="457" y="577"/>
                    </a:lnTo>
                    <a:lnTo>
                      <a:pt x="445" y="583"/>
                    </a:lnTo>
                    <a:lnTo>
                      <a:pt x="431" y="588"/>
                    </a:lnTo>
                    <a:lnTo>
                      <a:pt x="418" y="594"/>
                    </a:lnTo>
                    <a:lnTo>
                      <a:pt x="405" y="598"/>
                    </a:lnTo>
                    <a:lnTo>
                      <a:pt x="392" y="602"/>
                    </a:lnTo>
                    <a:lnTo>
                      <a:pt x="377" y="606"/>
                    </a:lnTo>
                    <a:lnTo>
                      <a:pt x="363" y="608"/>
                    </a:lnTo>
                    <a:lnTo>
                      <a:pt x="348" y="610"/>
                    </a:lnTo>
                    <a:lnTo>
                      <a:pt x="333" y="611"/>
                    </a:lnTo>
                    <a:lnTo>
                      <a:pt x="318" y="612"/>
                    </a:lnTo>
                    <a:close/>
                    <a:moveTo>
                      <a:pt x="636" y="319"/>
                    </a:moveTo>
                    <a:lnTo>
                      <a:pt x="636" y="303"/>
                    </a:lnTo>
                    <a:lnTo>
                      <a:pt x="634" y="287"/>
                    </a:lnTo>
                    <a:lnTo>
                      <a:pt x="632" y="271"/>
                    </a:lnTo>
                    <a:lnTo>
                      <a:pt x="630" y="255"/>
                    </a:lnTo>
                    <a:lnTo>
                      <a:pt x="627" y="240"/>
                    </a:lnTo>
                    <a:lnTo>
                      <a:pt x="622" y="224"/>
                    </a:lnTo>
                    <a:lnTo>
                      <a:pt x="617" y="209"/>
                    </a:lnTo>
                    <a:lnTo>
                      <a:pt x="612" y="195"/>
                    </a:lnTo>
                    <a:lnTo>
                      <a:pt x="605" y="182"/>
                    </a:lnTo>
                    <a:lnTo>
                      <a:pt x="598" y="168"/>
                    </a:lnTo>
                    <a:lnTo>
                      <a:pt x="590" y="155"/>
                    </a:lnTo>
                    <a:lnTo>
                      <a:pt x="582" y="142"/>
                    </a:lnTo>
                    <a:lnTo>
                      <a:pt x="573" y="129"/>
                    </a:lnTo>
                    <a:lnTo>
                      <a:pt x="563" y="117"/>
                    </a:lnTo>
                    <a:lnTo>
                      <a:pt x="554" y="105"/>
                    </a:lnTo>
                    <a:lnTo>
                      <a:pt x="543" y="95"/>
                    </a:lnTo>
                    <a:lnTo>
                      <a:pt x="532" y="84"/>
                    </a:lnTo>
                    <a:lnTo>
                      <a:pt x="520" y="73"/>
                    </a:lnTo>
                    <a:lnTo>
                      <a:pt x="509" y="64"/>
                    </a:lnTo>
                    <a:lnTo>
                      <a:pt x="496" y="55"/>
                    </a:lnTo>
                    <a:lnTo>
                      <a:pt x="483" y="47"/>
                    </a:lnTo>
                    <a:lnTo>
                      <a:pt x="470" y="39"/>
                    </a:lnTo>
                    <a:lnTo>
                      <a:pt x="456" y="32"/>
                    </a:lnTo>
                    <a:lnTo>
                      <a:pt x="442" y="26"/>
                    </a:lnTo>
                    <a:lnTo>
                      <a:pt x="427" y="20"/>
                    </a:lnTo>
                    <a:lnTo>
                      <a:pt x="412" y="15"/>
                    </a:lnTo>
                    <a:lnTo>
                      <a:pt x="397" y="11"/>
                    </a:lnTo>
                    <a:lnTo>
                      <a:pt x="382" y="7"/>
                    </a:lnTo>
                    <a:lnTo>
                      <a:pt x="367" y="4"/>
                    </a:lnTo>
                    <a:lnTo>
                      <a:pt x="351" y="2"/>
                    </a:lnTo>
                    <a:lnTo>
                      <a:pt x="335" y="1"/>
                    </a:lnTo>
                    <a:lnTo>
                      <a:pt x="318" y="0"/>
                    </a:lnTo>
                    <a:lnTo>
                      <a:pt x="301" y="1"/>
                    </a:lnTo>
                    <a:lnTo>
                      <a:pt x="285" y="2"/>
                    </a:lnTo>
                    <a:lnTo>
                      <a:pt x="269" y="4"/>
                    </a:lnTo>
                    <a:lnTo>
                      <a:pt x="254" y="7"/>
                    </a:lnTo>
                    <a:lnTo>
                      <a:pt x="238" y="11"/>
                    </a:lnTo>
                    <a:lnTo>
                      <a:pt x="223" y="15"/>
                    </a:lnTo>
                    <a:lnTo>
                      <a:pt x="209" y="20"/>
                    </a:lnTo>
                    <a:lnTo>
                      <a:pt x="194" y="26"/>
                    </a:lnTo>
                    <a:lnTo>
                      <a:pt x="180" y="32"/>
                    </a:lnTo>
                    <a:lnTo>
                      <a:pt x="166" y="39"/>
                    </a:lnTo>
                    <a:lnTo>
                      <a:pt x="153" y="47"/>
                    </a:lnTo>
                    <a:lnTo>
                      <a:pt x="140" y="55"/>
                    </a:lnTo>
                    <a:lnTo>
                      <a:pt x="128" y="64"/>
                    </a:lnTo>
                    <a:lnTo>
                      <a:pt x="116" y="73"/>
                    </a:lnTo>
                    <a:lnTo>
                      <a:pt x="104" y="84"/>
                    </a:lnTo>
                    <a:lnTo>
                      <a:pt x="93" y="95"/>
                    </a:lnTo>
                    <a:lnTo>
                      <a:pt x="82" y="105"/>
                    </a:lnTo>
                    <a:lnTo>
                      <a:pt x="73" y="117"/>
                    </a:lnTo>
                    <a:lnTo>
                      <a:pt x="63" y="129"/>
                    </a:lnTo>
                    <a:lnTo>
                      <a:pt x="55" y="142"/>
                    </a:lnTo>
                    <a:lnTo>
                      <a:pt x="46" y="155"/>
                    </a:lnTo>
                    <a:lnTo>
                      <a:pt x="38" y="168"/>
                    </a:lnTo>
                    <a:lnTo>
                      <a:pt x="31" y="182"/>
                    </a:lnTo>
                    <a:lnTo>
                      <a:pt x="24" y="195"/>
                    </a:lnTo>
                    <a:lnTo>
                      <a:pt x="19" y="209"/>
                    </a:lnTo>
                    <a:lnTo>
                      <a:pt x="14" y="224"/>
                    </a:lnTo>
                    <a:lnTo>
                      <a:pt x="9" y="240"/>
                    </a:lnTo>
                    <a:lnTo>
                      <a:pt x="6" y="255"/>
                    </a:lnTo>
                    <a:lnTo>
                      <a:pt x="3" y="271"/>
                    </a:lnTo>
                    <a:lnTo>
                      <a:pt x="1" y="287"/>
                    </a:lnTo>
                    <a:lnTo>
                      <a:pt x="0" y="303"/>
                    </a:lnTo>
                    <a:lnTo>
                      <a:pt x="0" y="319"/>
                    </a:lnTo>
                    <a:lnTo>
                      <a:pt x="1" y="338"/>
                    </a:lnTo>
                    <a:lnTo>
                      <a:pt x="2" y="359"/>
                    </a:lnTo>
                    <a:lnTo>
                      <a:pt x="5" y="377"/>
                    </a:lnTo>
                    <a:lnTo>
                      <a:pt x="9" y="396"/>
                    </a:lnTo>
                    <a:lnTo>
                      <a:pt x="15" y="415"/>
                    </a:lnTo>
                    <a:lnTo>
                      <a:pt x="20" y="433"/>
                    </a:lnTo>
                    <a:lnTo>
                      <a:pt x="28" y="450"/>
                    </a:lnTo>
                    <a:lnTo>
                      <a:pt x="36" y="467"/>
                    </a:lnTo>
                    <a:lnTo>
                      <a:pt x="45" y="483"/>
                    </a:lnTo>
                    <a:lnTo>
                      <a:pt x="55" y="498"/>
                    </a:lnTo>
                    <a:lnTo>
                      <a:pt x="66" y="513"/>
                    </a:lnTo>
                    <a:lnTo>
                      <a:pt x="78" y="527"/>
                    </a:lnTo>
                    <a:lnTo>
                      <a:pt x="90" y="541"/>
                    </a:lnTo>
                    <a:lnTo>
                      <a:pt x="104" y="554"/>
                    </a:lnTo>
                    <a:lnTo>
                      <a:pt x="118" y="566"/>
                    </a:lnTo>
                    <a:lnTo>
                      <a:pt x="132" y="578"/>
                    </a:lnTo>
                    <a:lnTo>
                      <a:pt x="95" y="614"/>
                    </a:lnTo>
                    <a:lnTo>
                      <a:pt x="92" y="619"/>
                    </a:lnTo>
                    <a:lnTo>
                      <a:pt x="91" y="624"/>
                    </a:lnTo>
                    <a:lnTo>
                      <a:pt x="92" y="629"/>
                    </a:lnTo>
                    <a:lnTo>
                      <a:pt x="95" y="634"/>
                    </a:lnTo>
                    <a:lnTo>
                      <a:pt x="99" y="636"/>
                    </a:lnTo>
                    <a:lnTo>
                      <a:pt x="104" y="637"/>
                    </a:lnTo>
                    <a:lnTo>
                      <a:pt x="108" y="636"/>
                    </a:lnTo>
                    <a:lnTo>
                      <a:pt x="112" y="634"/>
                    </a:lnTo>
                    <a:lnTo>
                      <a:pt x="153" y="592"/>
                    </a:lnTo>
                    <a:lnTo>
                      <a:pt x="173" y="601"/>
                    </a:lnTo>
                    <a:lnTo>
                      <a:pt x="191" y="611"/>
                    </a:lnTo>
                    <a:lnTo>
                      <a:pt x="211" y="619"/>
                    </a:lnTo>
                    <a:lnTo>
                      <a:pt x="232" y="625"/>
                    </a:lnTo>
                    <a:lnTo>
                      <a:pt x="252" y="630"/>
                    </a:lnTo>
                    <a:lnTo>
                      <a:pt x="274" y="634"/>
                    </a:lnTo>
                    <a:lnTo>
                      <a:pt x="296" y="637"/>
                    </a:lnTo>
                    <a:lnTo>
                      <a:pt x="318" y="637"/>
                    </a:lnTo>
                    <a:lnTo>
                      <a:pt x="342" y="636"/>
                    </a:lnTo>
                    <a:lnTo>
                      <a:pt x="366" y="634"/>
                    </a:lnTo>
                    <a:lnTo>
                      <a:pt x="390" y="629"/>
                    </a:lnTo>
                    <a:lnTo>
                      <a:pt x="412" y="623"/>
                    </a:lnTo>
                    <a:lnTo>
                      <a:pt x="435" y="615"/>
                    </a:lnTo>
                    <a:lnTo>
                      <a:pt x="455" y="607"/>
                    </a:lnTo>
                    <a:lnTo>
                      <a:pt x="475" y="596"/>
                    </a:lnTo>
                    <a:lnTo>
                      <a:pt x="496" y="584"/>
                    </a:lnTo>
                    <a:lnTo>
                      <a:pt x="544" y="634"/>
                    </a:lnTo>
                    <a:lnTo>
                      <a:pt x="548" y="636"/>
                    </a:lnTo>
                    <a:lnTo>
                      <a:pt x="554" y="637"/>
                    </a:lnTo>
                    <a:lnTo>
                      <a:pt x="558" y="636"/>
                    </a:lnTo>
                    <a:lnTo>
                      <a:pt x="562" y="634"/>
                    </a:lnTo>
                    <a:lnTo>
                      <a:pt x="566" y="629"/>
                    </a:lnTo>
                    <a:lnTo>
                      <a:pt x="566" y="624"/>
                    </a:lnTo>
                    <a:lnTo>
                      <a:pt x="566" y="619"/>
                    </a:lnTo>
                    <a:lnTo>
                      <a:pt x="562" y="614"/>
                    </a:lnTo>
                    <a:lnTo>
                      <a:pt x="516" y="568"/>
                    </a:lnTo>
                    <a:lnTo>
                      <a:pt x="529" y="557"/>
                    </a:lnTo>
                    <a:lnTo>
                      <a:pt x="542" y="544"/>
                    </a:lnTo>
                    <a:lnTo>
                      <a:pt x="554" y="533"/>
                    </a:lnTo>
                    <a:lnTo>
                      <a:pt x="566" y="519"/>
                    </a:lnTo>
                    <a:lnTo>
                      <a:pt x="576" y="505"/>
                    </a:lnTo>
                    <a:lnTo>
                      <a:pt x="586" y="490"/>
                    </a:lnTo>
                    <a:lnTo>
                      <a:pt x="596" y="475"/>
                    </a:lnTo>
                    <a:lnTo>
                      <a:pt x="603" y="460"/>
                    </a:lnTo>
                    <a:lnTo>
                      <a:pt x="611" y="444"/>
                    </a:lnTo>
                    <a:lnTo>
                      <a:pt x="617" y="426"/>
                    </a:lnTo>
                    <a:lnTo>
                      <a:pt x="624" y="409"/>
                    </a:lnTo>
                    <a:lnTo>
                      <a:pt x="628" y="392"/>
                    </a:lnTo>
                    <a:lnTo>
                      <a:pt x="631" y="374"/>
                    </a:lnTo>
                    <a:lnTo>
                      <a:pt x="634" y="355"/>
                    </a:lnTo>
                    <a:lnTo>
                      <a:pt x="635" y="337"/>
                    </a:lnTo>
                    <a:lnTo>
                      <a:pt x="636"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9" name="Freeform 118">
                <a:extLst>
                  <a:ext uri="{FF2B5EF4-FFF2-40B4-BE49-F238E27FC236}">
                    <a16:creationId xmlns:a16="http://schemas.microsoft.com/office/drawing/2014/main" id="{B0A88742-5F85-4DDF-AF10-0C29E26598A3}"/>
                  </a:ext>
                </a:extLst>
              </p:cNvPr>
              <p:cNvSpPr>
                <a:spLocks/>
              </p:cNvSpPr>
              <p:nvPr/>
            </p:nvSpPr>
            <p:spPr bwMode="auto">
              <a:xfrm>
                <a:off x="436563" y="4548188"/>
                <a:ext cx="60325" cy="85725"/>
              </a:xfrm>
              <a:custGeom>
                <a:avLst/>
                <a:gdLst>
                  <a:gd name="T0" fmla="*/ 140 w 153"/>
                  <a:gd name="T1" fmla="*/ 0 h 216"/>
                  <a:gd name="T2" fmla="*/ 136 w 153"/>
                  <a:gd name="T3" fmla="*/ 1 h 216"/>
                  <a:gd name="T4" fmla="*/ 132 w 153"/>
                  <a:gd name="T5" fmla="*/ 4 h 216"/>
                  <a:gd name="T6" fmla="*/ 129 w 153"/>
                  <a:gd name="T7" fmla="*/ 9 h 216"/>
                  <a:gd name="T8" fmla="*/ 128 w 153"/>
                  <a:gd name="T9" fmla="*/ 13 h 216"/>
                  <a:gd name="T10" fmla="*/ 128 w 153"/>
                  <a:gd name="T11" fmla="*/ 190 h 216"/>
                  <a:gd name="T12" fmla="*/ 13 w 153"/>
                  <a:gd name="T13" fmla="*/ 190 h 216"/>
                  <a:gd name="T14" fmla="*/ 7 w 153"/>
                  <a:gd name="T15" fmla="*/ 191 h 216"/>
                  <a:gd name="T16" fmla="*/ 3 w 153"/>
                  <a:gd name="T17" fmla="*/ 194 h 216"/>
                  <a:gd name="T18" fmla="*/ 1 w 153"/>
                  <a:gd name="T19" fmla="*/ 197 h 216"/>
                  <a:gd name="T20" fmla="*/ 0 w 153"/>
                  <a:gd name="T21" fmla="*/ 203 h 216"/>
                  <a:gd name="T22" fmla="*/ 1 w 153"/>
                  <a:gd name="T23" fmla="*/ 208 h 216"/>
                  <a:gd name="T24" fmla="*/ 3 w 153"/>
                  <a:gd name="T25" fmla="*/ 211 h 216"/>
                  <a:gd name="T26" fmla="*/ 7 w 153"/>
                  <a:gd name="T27" fmla="*/ 215 h 216"/>
                  <a:gd name="T28" fmla="*/ 13 w 153"/>
                  <a:gd name="T29" fmla="*/ 216 h 216"/>
                  <a:gd name="T30" fmla="*/ 140 w 153"/>
                  <a:gd name="T31" fmla="*/ 216 h 216"/>
                  <a:gd name="T32" fmla="*/ 146 w 153"/>
                  <a:gd name="T33" fmla="*/ 215 h 216"/>
                  <a:gd name="T34" fmla="*/ 150 w 153"/>
                  <a:gd name="T35" fmla="*/ 211 h 216"/>
                  <a:gd name="T36" fmla="*/ 152 w 153"/>
                  <a:gd name="T37" fmla="*/ 208 h 216"/>
                  <a:gd name="T38" fmla="*/ 153 w 153"/>
                  <a:gd name="T39" fmla="*/ 203 h 216"/>
                  <a:gd name="T40" fmla="*/ 153 w 153"/>
                  <a:gd name="T41" fmla="*/ 13 h 216"/>
                  <a:gd name="T42" fmla="*/ 152 w 153"/>
                  <a:gd name="T43" fmla="*/ 9 h 216"/>
                  <a:gd name="T44" fmla="*/ 150 w 153"/>
                  <a:gd name="T45" fmla="*/ 4 h 216"/>
                  <a:gd name="T46" fmla="*/ 146 w 153"/>
                  <a:gd name="T47" fmla="*/ 1 h 216"/>
                  <a:gd name="T48" fmla="*/ 140 w 153"/>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16">
                    <a:moveTo>
                      <a:pt x="140" y="0"/>
                    </a:moveTo>
                    <a:lnTo>
                      <a:pt x="136" y="1"/>
                    </a:lnTo>
                    <a:lnTo>
                      <a:pt x="132" y="4"/>
                    </a:lnTo>
                    <a:lnTo>
                      <a:pt x="129" y="9"/>
                    </a:lnTo>
                    <a:lnTo>
                      <a:pt x="128" y="13"/>
                    </a:lnTo>
                    <a:lnTo>
                      <a:pt x="128" y="190"/>
                    </a:lnTo>
                    <a:lnTo>
                      <a:pt x="13" y="190"/>
                    </a:lnTo>
                    <a:lnTo>
                      <a:pt x="7" y="191"/>
                    </a:lnTo>
                    <a:lnTo>
                      <a:pt x="3" y="194"/>
                    </a:lnTo>
                    <a:lnTo>
                      <a:pt x="1" y="197"/>
                    </a:lnTo>
                    <a:lnTo>
                      <a:pt x="0" y="203"/>
                    </a:lnTo>
                    <a:lnTo>
                      <a:pt x="1" y="208"/>
                    </a:lnTo>
                    <a:lnTo>
                      <a:pt x="3" y="211"/>
                    </a:lnTo>
                    <a:lnTo>
                      <a:pt x="7" y="215"/>
                    </a:lnTo>
                    <a:lnTo>
                      <a:pt x="13" y="216"/>
                    </a:lnTo>
                    <a:lnTo>
                      <a:pt x="140" y="216"/>
                    </a:lnTo>
                    <a:lnTo>
                      <a:pt x="146" y="215"/>
                    </a:lnTo>
                    <a:lnTo>
                      <a:pt x="150" y="211"/>
                    </a:lnTo>
                    <a:lnTo>
                      <a:pt x="152" y="208"/>
                    </a:lnTo>
                    <a:lnTo>
                      <a:pt x="153" y="203"/>
                    </a:lnTo>
                    <a:lnTo>
                      <a:pt x="153" y="13"/>
                    </a:lnTo>
                    <a:lnTo>
                      <a:pt x="152" y="9"/>
                    </a:lnTo>
                    <a:lnTo>
                      <a:pt x="150" y="4"/>
                    </a:lnTo>
                    <a:lnTo>
                      <a:pt x="146" y="1"/>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0" name="Freeform 119">
                <a:extLst>
                  <a:ext uri="{FF2B5EF4-FFF2-40B4-BE49-F238E27FC236}">
                    <a16:creationId xmlns:a16="http://schemas.microsoft.com/office/drawing/2014/main" id="{03C94F32-C5DB-4D8D-85B0-B136FF56125D}"/>
                  </a:ext>
                </a:extLst>
              </p:cNvPr>
              <p:cNvSpPr>
                <a:spLocks/>
              </p:cNvSpPr>
              <p:nvPr/>
            </p:nvSpPr>
            <p:spPr bwMode="auto">
              <a:xfrm>
                <a:off x="338138" y="4464051"/>
                <a:ext cx="95250" cy="95250"/>
              </a:xfrm>
              <a:custGeom>
                <a:avLst/>
                <a:gdLst>
                  <a:gd name="T0" fmla="*/ 62 w 240"/>
                  <a:gd name="T1" fmla="*/ 231 h 240"/>
                  <a:gd name="T2" fmla="*/ 62 w 240"/>
                  <a:gd name="T3" fmla="*/ 223 h 240"/>
                  <a:gd name="T4" fmla="*/ 51 w 240"/>
                  <a:gd name="T5" fmla="*/ 210 h 240"/>
                  <a:gd name="T6" fmla="*/ 38 w 240"/>
                  <a:gd name="T7" fmla="*/ 190 h 240"/>
                  <a:gd name="T8" fmla="*/ 30 w 240"/>
                  <a:gd name="T9" fmla="*/ 171 h 240"/>
                  <a:gd name="T10" fmla="*/ 27 w 240"/>
                  <a:gd name="T11" fmla="*/ 149 h 240"/>
                  <a:gd name="T12" fmla="*/ 27 w 240"/>
                  <a:gd name="T13" fmla="*/ 128 h 240"/>
                  <a:gd name="T14" fmla="*/ 30 w 240"/>
                  <a:gd name="T15" fmla="*/ 108 h 240"/>
                  <a:gd name="T16" fmla="*/ 38 w 240"/>
                  <a:gd name="T17" fmla="*/ 87 h 240"/>
                  <a:gd name="T18" fmla="*/ 51 w 240"/>
                  <a:gd name="T19" fmla="*/ 69 h 240"/>
                  <a:gd name="T20" fmla="*/ 67 w 240"/>
                  <a:gd name="T21" fmla="*/ 52 h 240"/>
                  <a:gd name="T22" fmla="*/ 87 w 240"/>
                  <a:gd name="T23" fmla="*/ 39 h 240"/>
                  <a:gd name="T24" fmla="*/ 106 w 240"/>
                  <a:gd name="T25" fmla="*/ 30 h 240"/>
                  <a:gd name="T26" fmla="*/ 128 w 240"/>
                  <a:gd name="T27" fmla="*/ 26 h 240"/>
                  <a:gd name="T28" fmla="*/ 150 w 240"/>
                  <a:gd name="T29" fmla="*/ 26 h 240"/>
                  <a:gd name="T30" fmla="*/ 171 w 240"/>
                  <a:gd name="T31" fmla="*/ 30 h 240"/>
                  <a:gd name="T32" fmla="*/ 191 w 240"/>
                  <a:gd name="T33" fmla="*/ 39 h 240"/>
                  <a:gd name="T34" fmla="*/ 209 w 240"/>
                  <a:gd name="T35" fmla="*/ 52 h 240"/>
                  <a:gd name="T36" fmla="*/ 222 w 240"/>
                  <a:gd name="T37" fmla="*/ 63 h 240"/>
                  <a:gd name="T38" fmla="*/ 232 w 240"/>
                  <a:gd name="T39" fmla="*/ 63 h 240"/>
                  <a:gd name="T40" fmla="*/ 239 w 240"/>
                  <a:gd name="T41" fmla="*/ 56 h 240"/>
                  <a:gd name="T42" fmla="*/ 239 w 240"/>
                  <a:gd name="T43" fmla="*/ 45 h 240"/>
                  <a:gd name="T44" fmla="*/ 225 w 240"/>
                  <a:gd name="T45" fmla="*/ 31 h 240"/>
                  <a:gd name="T46" fmla="*/ 203 w 240"/>
                  <a:gd name="T47" fmla="*/ 16 h 240"/>
                  <a:gd name="T48" fmla="*/ 178 w 240"/>
                  <a:gd name="T49" fmla="*/ 7 h 240"/>
                  <a:gd name="T50" fmla="*/ 152 w 240"/>
                  <a:gd name="T51" fmla="*/ 1 h 240"/>
                  <a:gd name="T52" fmla="*/ 125 w 240"/>
                  <a:gd name="T53" fmla="*/ 1 h 240"/>
                  <a:gd name="T54" fmla="*/ 100 w 240"/>
                  <a:gd name="T55" fmla="*/ 7 h 240"/>
                  <a:gd name="T56" fmla="*/ 75 w 240"/>
                  <a:gd name="T57" fmla="*/ 16 h 240"/>
                  <a:gd name="T58" fmla="*/ 51 w 240"/>
                  <a:gd name="T59" fmla="*/ 31 h 240"/>
                  <a:gd name="T60" fmla="*/ 32 w 240"/>
                  <a:gd name="T61" fmla="*/ 52 h 240"/>
                  <a:gd name="T62" fmla="*/ 16 w 240"/>
                  <a:gd name="T63" fmla="*/ 75 h 240"/>
                  <a:gd name="T64" fmla="*/ 6 w 240"/>
                  <a:gd name="T65" fmla="*/ 100 h 240"/>
                  <a:gd name="T66" fmla="*/ 1 w 240"/>
                  <a:gd name="T67" fmla="*/ 126 h 240"/>
                  <a:gd name="T68" fmla="*/ 1 w 240"/>
                  <a:gd name="T69" fmla="*/ 152 h 240"/>
                  <a:gd name="T70" fmla="*/ 6 w 240"/>
                  <a:gd name="T71" fmla="*/ 177 h 240"/>
                  <a:gd name="T72" fmla="*/ 16 w 240"/>
                  <a:gd name="T73" fmla="*/ 202 h 240"/>
                  <a:gd name="T74" fmla="*/ 32 w 240"/>
                  <a:gd name="T75" fmla="*/ 225 h 240"/>
                  <a:gd name="T76" fmla="*/ 46 w 240"/>
                  <a:gd name="T77" fmla="*/ 239 h 240"/>
                  <a:gd name="T78" fmla="*/ 56 w 240"/>
                  <a:gd name="T79"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60" y="235"/>
                    </a:moveTo>
                    <a:lnTo>
                      <a:pt x="62" y="231"/>
                    </a:lnTo>
                    <a:lnTo>
                      <a:pt x="63" y="227"/>
                    </a:lnTo>
                    <a:lnTo>
                      <a:pt x="62" y="223"/>
                    </a:lnTo>
                    <a:lnTo>
                      <a:pt x="60" y="218"/>
                    </a:lnTo>
                    <a:lnTo>
                      <a:pt x="51" y="210"/>
                    </a:lnTo>
                    <a:lnTo>
                      <a:pt x="45" y="200"/>
                    </a:lnTo>
                    <a:lnTo>
                      <a:pt x="38" y="190"/>
                    </a:lnTo>
                    <a:lnTo>
                      <a:pt x="34" y="181"/>
                    </a:lnTo>
                    <a:lnTo>
                      <a:pt x="30" y="171"/>
                    </a:lnTo>
                    <a:lnTo>
                      <a:pt x="28" y="160"/>
                    </a:lnTo>
                    <a:lnTo>
                      <a:pt x="27" y="149"/>
                    </a:lnTo>
                    <a:lnTo>
                      <a:pt x="26" y="139"/>
                    </a:lnTo>
                    <a:lnTo>
                      <a:pt x="27" y="128"/>
                    </a:lnTo>
                    <a:lnTo>
                      <a:pt x="28" y="117"/>
                    </a:lnTo>
                    <a:lnTo>
                      <a:pt x="30" y="108"/>
                    </a:lnTo>
                    <a:lnTo>
                      <a:pt x="34" y="97"/>
                    </a:lnTo>
                    <a:lnTo>
                      <a:pt x="38" y="87"/>
                    </a:lnTo>
                    <a:lnTo>
                      <a:pt x="45" y="78"/>
                    </a:lnTo>
                    <a:lnTo>
                      <a:pt x="51" y="69"/>
                    </a:lnTo>
                    <a:lnTo>
                      <a:pt x="60" y="60"/>
                    </a:lnTo>
                    <a:lnTo>
                      <a:pt x="67" y="52"/>
                    </a:lnTo>
                    <a:lnTo>
                      <a:pt x="77" y="45"/>
                    </a:lnTo>
                    <a:lnTo>
                      <a:pt x="87" y="39"/>
                    </a:lnTo>
                    <a:lnTo>
                      <a:pt x="96" y="35"/>
                    </a:lnTo>
                    <a:lnTo>
                      <a:pt x="106" y="30"/>
                    </a:lnTo>
                    <a:lnTo>
                      <a:pt x="117" y="28"/>
                    </a:lnTo>
                    <a:lnTo>
                      <a:pt x="128" y="26"/>
                    </a:lnTo>
                    <a:lnTo>
                      <a:pt x="138" y="26"/>
                    </a:lnTo>
                    <a:lnTo>
                      <a:pt x="150" y="26"/>
                    </a:lnTo>
                    <a:lnTo>
                      <a:pt x="161" y="28"/>
                    </a:lnTo>
                    <a:lnTo>
                      <a:pt x="171" y="30"/>
                    </a:lnTo>
                    <a:lnTo>
                      <a:pt x="181" y="35"/>
                    </a:lnTo>
                    <a:lnTo>
                      <a:pt x="191" y="39"/>
                    </a:lnTo>
                    <a:lnTo>
                      <a:pt x="201" y="45"/>
                    </a:lnTo>
                    <a:lnTo>
                      <a:pt x="209" y="52"/>
                    </a:lnTo>
                    <a:lnTo>
                      <a:pt x="218" y="60"/>
                    </a:lnTo>
                    <a:lnTo>
                      <a:pt x="222" y="63"/>
                    </a:lnTo>
                    <a:lnTo>
                      <a:pt x="227" y="64"/>
                    </a:lnTo>
                    <a:lnTo>
                      <a:pt x="232" y="63"/>
                    </a:lnTo>
                    <a:lnTo>
                      <a:pt x="236" y="60"/>
                    </a:lnTo>
                    <a:lnTo>
                      <a:pt x="239" y="56"/>
                    </a:lnTo>
                    <a:lnTo>
                      <a:pt x="240" y="51"/>
                    </a:lnTo>
                    <a:lnTo>
                      <a:pt x="239" y="45"/>
                    </a:lnTo>
                    <a:lnTo>
                      <a:pt x="236" y="41"/>
                    </a:lnTo>
                    <a:lnTo>
                      <a:pt x="225" y="31"/>
                    </a:lnTo>
                    <a:lnTo>
                      <a:pt x="215" y="24"/>
                    </a:lnTo>
                    <a:lnTo>
                      <a:pt x="203" y="16"/>
                    </a:lnTo>
                    <a:lnTo>
                      <a:pt x="191" y="11"/>
                    </a:lnTo>
                    <a:lnTo>
                      <a:pt x="178" y="7"/>
                    </a:lnTo>
                    <a:lnTo>
                      <a:pt x="165" y="3"/>
                    </a:lnTo>
                    <a:lnTo>
                      <a:pt x="152" y="1"/>
                    </a:lnTo>
                    <a:lnTo>
                      <a:pt x="138" y="0"/>
                    </a:lnTo>
                    <a:lnTo>
                      <a:pt x="125" y="1"/>
                    </a:lnTo>
                    <a:lnTo>
                      <a:pt x="113" y="3"/>
                    </a:lnTo>
                    <a:lnTo>
                      <a:pt x="100" y="7"/>
                    </a:lnTo>
                    <a:lnTo>
                      <a:pt x="87" y="11"/>
                    </a:lnTo>
                    <a:lnTo>
                      <a:pt x="75" y="16"/>
                    </a:lnTo>
                    <a:lnTo>
                      <a:pt x="63" y="24"/>
                    </a:lnTo>
                    <a:lnTo>
                      <a:pt x="51" y="31"/>
                    </a:lnTo>
                    <a:lnTo>
                      <a:pt x="42" y="41"/>
                    </a:lnTo>
                    <a:lnTo>
                      <a:pt x="32" y="52"/>
                    </a:lnTo>
                    <a:lnTo>
                      <a:pt x="23" y="64"/>
                    </a:lnTo>
                    <a:lnTo>
                      <a:pt x="16" y="75"/>
                    </a:lnTo>
                    <a:lnTo>
                      <a:pt x="11" y="87"/>
                    </a:lnTo>
                    <a:lnTo>
                      <a:pt x="6" y="100"/>
                    </a:lnTo>
                    <a:lnTo>
                      <a:pt x="2" y="113"/>
                    </a:lnTo>
                    <a:lnTo>
                      <a:pt x="1" y="126"/>
                    </a:lnTo>
                    <a:lnTo>
                      <a:pt x="0" y="139"/>
                    </a:lnTo>
                    <a:lnTo>
                      <a:pt x="1" y="152"/>
                    </a:lnTo>
                    <a:lnTo>
                      <a:pt x="2" y="165"/>
                    </a:lnTo>
                    <a:lnTo>
                      <a:pt x="6" y="177"/>
                    </a:lnTo>
                    <a:lnTo>
                      <a:pt x="11" y="190"/>
                    </a:lnTo>
                    <a:lnTo>
                      <a:pt x="16" y="202"/>
                    </a:lnTo>
                    <a:lnTo>
                      <a:pt x="23" y="214"/>
                    </a:lnTo>
                    <a:lnTo>
                      <a:pt x="32" y="225"/>
                    </a:lnTo>
                    <a:lnTo>
                      <a:pt x="42" y="235"/>
                    </a:lnTo>
                    <a:lnTo>
                      <a:pt x="46" y="239"/>
                    </a:lnTo>
                    <a:lnTo>
                      <a:pt x="50" y="240"/>
                    </a:lnTo>
                    <a:lnTo>
                      <a:pt x="56" y="239"/>
                    </a:lnTo>
                    <a:lnTo>
                      <a:pt x="60"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1" name="Freeform 120">
                <a:extLst>
                  <a:ext uri="{FF2B5EF4-FFF2-40B4-BE49-F238E27FC236}">
                    <a16:creationId xmlns:a16="http://schemas.microsoft.com/office/drawing/2014/main" id="{1BE394D3-9E1A-45BF-AF26-3C0F8EDA2373}"/>
                  </a:ext>
                </a:extLst>
              </p:cNvPr>
              <p:cNvSpPr>
                <a:spLocks/>
              </p:cNvSpPr>
              <p:nvPr/>
            </p:nvSpPr>
            <p:spPr bwMode="auto">
              <a:xfrm>
                <a:off x="538163" y="4464051"/>
                <a:ext cx="95250" cy="95250"/>
              </a:xfrm>
              <a:custGeom>
                <a:avLst/>
                <a:gdLst>
                  <a:gd name="T0" fmla="*/ 188 w 240"/>
                  <a:gd name="T1" fmla="*/ 31 h 240"/>
                  <a:gd name="T2" fmla="*/ 166 w 240"/>
                  <a:gd name="T3" fmla="*/ 16 h 240"/>
                  <a:gd name="T4" fmla="*/ 141 w 240"/>
                  <a:gd name="T5" fmla="*/ 7 h 240"/>
                  <a:gd name="T6" fmla="*/ 115 w 240"/>
                  <a:gd name="T7" fmla="*/ 1 h 240"/>
                  <a:gd name="T8" fmla="*/ 88 w 240"/>
                  <a:gd name="T9" fmla="*/ 1 h 240"/>
                  <a:gd name="T10" fmla="*/ 62 w 240"/>
                  <a:gd name="T11" fmla="*/ 7 h 240"/>
                  <a:gd name="T12" fmla="*/ 37 w 240"/>
                  <a:gd name="T13" fmla="*/ 16 h 240"/>
                  <a:gd name="T14" fmla="*/ 14 w 240"/>
                  <a:gd name="T15" fmla="*/ 31 h 240"/>
                  <a:gd name="T16" fmla="*/ 1 w 240"/>
                  <a:gd name="T17" fmla="*/ 45 h 240"/>
                  <a:gd name="T18" fmla="*/ 1 w 240"/>
                  <a:gd name="T19" fmla="*/ 56 h 240"/>
                  <a:gd name="T20" fmla="*/ 8 w 240"/>
                  <a:gd name="T21" fmla="*/ 63 h 240"/>
                  <a:gd name="T22" fmla="*/ 18 w 240"/>
                  <a:gd name="T23" fmla="*/ 63 h 240"/>
                  <a:gd name="T24" fmla="*/ 30 w 240"/>
                  <a:gd name="T25" fmla="*/ 52 h 240"/>
                  <a:gd name="T26" fmla="*/ 49 w 240"/>
                  <a:gd name="T27" fmla="*/ 39 h 240"/>
                  <a:gd name="T28" fmla="*/ 69 w 240"/>
                  <a:gd name="T29" fmla="*/ 30 h 240"/>
                  <a:gd name="T30" fmla="*/ 91 w 240"/>
                  <a:gd name="T31" fmla="*/ 26 h 240"/>
                  <a:gd name="T32" fmla="*/ 112 w 240"/>
                  <a:gd name="T33" fmla="*/ 26 h 240"/>
                  <a:gd name="T34" fmla="*/ 133 w 240"/>
                  <a:gd name="T35" fmla="*/ 30 h 240"/>
                  <a:gd name="T36" fmla="*/ 154 w 240"/>
                  <a:gd name="T37" fmla="*/ 39 h 240"/>
                  <a:gd name="T38" fmla="*/ 172 w 240"/>
                  <a:gd name="T39" fmla="*/ 52 h 240"/>
                  <a:gd name="T40" fmla="*/ 188 w 240"/>
                  <a:gd name="T41" fmla="*/ 69 h 240"/>
                  <a:gd name="T42" fmla="*/ 201 w 240"/>
                  <a:gd name="T43" fmla="*/ 87 h 240"/>
                  <a:gd name="T44" fmla="*/ 210 w 240"/>
                  <a:gd name="T45" fmla="*/ 108 h 240"/>
                  <a:gd name="T46" fmla="*/ 214 w 240"/>
                  <a:gd name="T47" fmla="*/ 128 h 240"/>
                  <a:gd name="T48" fmla="*/ 214 w 240"/>
                  <a:gd name="T49" fmla="*/ 149 h 240"/>
                  <a:gd name="T50" fmla="*/ 210 w 240"/>
                  <a:gd name="T51" fmla="*/ 171 h 240"/>
                  <a:gd name="T52" fmla="*/ 201 w 240"/>
                  <a:gd name="T53" fmla="*/ 190 h 240"/>
                  <a:gd name="T54" fmla="*/ 188 w 240"/>
                  <a:gd name="T55" fmla="*/ 210 h 240"/>
                  <a:gd name="T56" fmla="*/ 178 w 240"/>
                  <a:gd name="T57" fmla="*/ 223 h 240"/>
                  <a:gd name="T58" fmla="*/ 178 w 240"/>
                  <a:gd name="T59" fmla="*/ 231 h 240"/>
                  <a:gd name="T60" fmla="*/ 185 w 240"/>
                  <a:gd name="T61" fmla="*/ 239 h 240"/>
                  <a:gd name="T62" fmla="*/ 195 w 240"/>
                  <a:gd name="T63" fmla="*/ 239 h 240"/>
                  <a:gd name="T64" fmla="*/ 209 w 240"/>
                  <a:gd name="T65" fmla="*/ 225 h 240"/>
                  <a:gd name="T66" fmla="*/ 224 w 240"/>
                  <a:gd name="T67" fmla="*/ 202 h 240"/>
                  <a:gd name="T68" fmla="*/ 234 w 240"/>
                  <a:gd name="T69" fmla="*/ 177 h 240"/>
                  <a:gd name="T70" fmla="*/ 240 w 240"/>
                  <a:gd name="T71" fmla="*/ 152 h 240"/>
                  <a:gd name="T72" fmla="*/ 240 w 240"/>
                  <a:gd name="T73" fmla="*/ 126 h 240"/>
                  <a:gd name="T74" fmla="*/ 234 w 240"/>
                  <a:gd name="T75" fmla="*/ 100 h 240"/>
                  <a:gd name="T76" fmla="*/ 224 w 240"/>
                  <a:gd name="T77" fmla="*/ 75 h 240"/>
                  <a:gd name="T78" fmla="*/ 209 w 240"/>
                  <a:gd name="T79" fmla="*/ 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199" y="41"/>
                    </a:moveTo>
                    <a:lnTo>
                      <a:pt x="188" y="31"/>
                    </a:lnTo>
                    <a:lnTo>
                      <a:pt x="178" y="24"/>
                    </a:lnTo>
                    <a:lnTo>
                      <a:pt x="166" y="16"/>
                    </a:lnTo>
                    <a:lnTo>
                      <a:pt x="154" y="11"/>
                    </a:lnTo>
                    <a:lnTo>
                      <a:pt x="141" y="7"/>
                    </a:lnTo>
                    <a:lnTo>
                      <a:pt x="128" y="3"/>
                    </a:lnTo>
                    <a:lnTo>
                      <a:pt x="115" y="1"/>
                    </a:lnTo>
                    <a:lnTo>
                      <a:pt x="101" y="0"/>
                    </a:lnTo>
                    <a:lnTo>
                      <a:pt x="88" y="1"/>
                    </a:lnTo>
                    <a:lnTo>
                      <a:pt x="74" y="3"/>
                    </a:lnTo>
                    <a:lnTo>
                      <a:pt x="62" y="7"/>
                    </a:lnTo>
                    <a:lnTo>
                      <a:pt x="49" y="11"/>
                    </a:lnTo>
                    <a:lnTo>
                      <a:pt x="37" y="16"/>
                    </a:lnTo>
                    <a:lnTo>
                      <a:pt x="25" y="24"/>
                    </a:lnTo>
                    <a:lnTo>
                      <a:pt x="14" y="31"/>
                    </a:lnTo>
                    <a:lnTo>
                      <a:pt x="4" y="41"/>
                    </a:lnTo>
                    <a:lnTo>
                      <a:pt x="1" y="45"/>
                    </a:lnTo>
                    <a:lnTo>
                      <a:pt x="0" y="51"/>
                    </a:lnTo>
                    <a:lnTo>
                      <a:pt x="1" y="56"/>
                    </a:lnTo>
                    <a:lnTo>
                      <a:pt x="4" y="60"/>
                    </a:lnTo>
                    <a:lnTo>
                      <a:pt x="8" y="63"/>
                    </a:lnTo>
                    <a:lnTo>
                      <a:pt x="13" y="64"/>
                    </a:lnTo>
                    <a:lnTo>
                      <a:pt x="18" y="63"/>
                    </a:lnTo>
                    <a:lnTo>
                      <a:pt x="22" y="60"/>
                    </a:lnTo>
                    <a:lnTo>
                      <a:pt x="30" y="52"/>
                    </a:lnTo>
                    <a:lnTo>
                      <a:pt x="40" y="45"/>
                    </a:lnTo>
                    <a:lnTo>
                      <a:pt x="49" y="39"/>
                    </a:lnTo>
                    <a:lnTo>
                      <a:pt x="59" y="35"/>
                    </a:lnTo>
                    <a:lnTo>
                      <a:pt x="69" y="30"/>
                    </a:lnTo>
                    <a:lnTo>
                      <a:pt x="80" y="28"/>
                    </a:lnTo>
                    <a:lnTo>
                      <a:pt x="91" y="26"/>
                    </a:lnTo>
                    <a:lnTo>
                      <a:pt x="101" y="26"/>
                    </a:lnTo>
                    <a:lnTo>
                      <a:pt x="112" y="26"/>
                    </a:lnTo>
                    <a:lnTo>
                      <a:pt x="123" y="28"/>
                    </a:lnTo>
                    <a:lnTo>
                      <a:pt x="133" y="30"/>
                    </a:lnTo>
                    <a:lnTo>
                      <a:pt x="144" y="35"/>
                    </a:lnTo>
                    <a:lnTo>
                      <a:pt x="154" y="39"/>
                    </a:lnTo>
                    <a:lnTo>
                      <a:pt x="164" y="45"/>
                    </a:lnTo>
                    <a:lnTo>
                      <a:pt x="172" y="52"/>
                    </a:lnTo>
                    <a:lnTo>
                      <a:pt x="181" y="60"/>
                    </a:lnTo>
                    <a:lnTo>
                      <a:pt x="188" y="69"/>
                    </a:lnTo>
                    <a:lnTo>
                      <a:pt x="196" y="78"/>
                    </a:lnTo>
                    <a:lnTo>
                      <a:pt x="201" y="87"/>
                    </a:lnTo>
                    <a:lnTo>
                      <a:pt x="207" y="97"/>
                    </a:lnTo>
                    <a:lnTo>
                      <a:pt x="210" y="108"/>
                    </a:lnTo>
                    <a:lnTo>
                      <a:pt x="213" y="117"/>
                    </a:lnTo>
                    <a:lnTo>
                      <a:pt x="214" y="128"/>
                    </a:lnTo>
                    <a:lnTo>
                      <a:pt x="214" y="139"/>
                    </a:lnTo>
                    <a:lnTo>
                      <a:pt x="214" y="149"/>
                    </a:lnTo>
                    <a:lnTo>
                      <a:pt x="213" y="160"/>
                    </a:lnTo>
                    <a:lnTo>
                      <a:pt x="210" y="171"/>
                    </a:lnTo>
                    <a:lnTo>
                      <a:pt x="207" y="181"/>
                    </a:lnTo>
                    <a:lnTo>
                      <a:pt x="201" y="190"/>
                    </a:lnTo>
                    <a:lnTo>
                      <a:pt x="196" y="200"/>
                    </a:lnTo>
                    <a:lnTo>
                      <a:pt x="188" y="210"/>
                    </a:lnTo>
                    <a:lnTo>
                      <a:pt x="181" y="218"/>
                    </a:lnTo>
                    <a:lnTo>
                      <a:pt x="178" y="223"/>
                    </a:lnTo>
                    <a:lnTo>
                      <a:pt x="176" y="227"/>
                    </a:lnTo>
                    <a:lnTo>
                      <a:pt x="178" y="231"/>
                    </a:lnTo>
                    <a:lnTo>
                      <a:pt x="181" y="235"/>
                    </a:lnTo>
                    <a:lnTo>
                      <a:pt x="185" y="239"/>
                    </a:lnTo>
                    <a:lnTo>
                      <a:pt x="189" y="240"/>
                    </a:lnTo>
                    <a:lnTo>
                      <a:pt x="195" y="239"/>
                    </a:lnTo>
                    <a:lnTo>
                      <a:pt x="199" y="235"/>
                    </a:lnTo>
                    <a:lnTo>
                      <a:pt x="209" y="225"/>
                    </a:lnTo>
                    <a:lnTo>
                      <a:pt x="217" y="214"/>
                    </a:lnTo>
                    <a:lnTo>
                      <a:pt x="224" y="202"/>
                    </a:lnTo>
                    <a:lnTo>
                      <a:pt x="230" y="190"/>
                    </a:lnTo>
                    <a:lnTo>
                      <a:pt x="234" y="177"/>
                    </a:lnTo>
                    <a:lnTo>
                      <a:pt x="238" y="165"/>
                    </a:lnTo>
                    <a:lnTo>
                      <a:pt x="240" y="152"/>
                    </a:lnTo>
                    <a:lnTo>
                      <a:pt x="240" y="139"/>
                    </a:lnTo>
                    <a:lnTo>
                      <a:pt x="240" y="126"/>
                    </a:lnTo>
                    <a:lnTo>
                      <a:pt x="238" y="113"/>
                    </a:lnTo>
                    <a:lnTo>
                      <a:pt x="234" y="100"/>
                    </a:lnTo>
                    <a:lnTo>
                      <a:pt x="230" y="87"/>
                    </a:lnTo>
                    <a:lnTo>
                      <a:pt x="224" y="75"/>
                    </a:lnTo>
                    <a:lnTo>
                      <a:pt x="217" y="64"/>
                    </a:lnTo>
                    <a:lnTo>
                      <a:pt x="209" y="52"/>
                    </a:lnTo>
                    <a:lnTo>
                      <a:pt x="19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grpSp>
        <p:nvGrpSpPr>
          <p:cNvPr id="15" name="Gruppieren 14">
            <a:extLst>
              <a:ext uri="{FF2B5EF4-FFF2-40B4-BE49-F238E27FC236}">
                <a16:creationId xmlns:a16="http://schemas.microsoft.com/office/drawing/2014/main" id="{B3E8D7EA-6584-4921-8C86-CF97C40C9694}"/>
              </a:ext>
            </a:extLst>
          </p:cNvPr>
          <p:cNvGrpSpPr/>
          <p:nvPr/>
        </p:nvGrpSpPr>
        <p:grpSpPr>
          <a:xfrm>
            <a:off x="8064370" y="1627200"/>
            <a:ext cx="1080000" cy="1080000"/>
            <a:chOff x="5771759" y="1275080"/>
            <a:chExt cx="1080000" cy="1080000"/>
          </a:xfrm>
        </p:grpSpPr>
        <p:sp>
          <p:nvSpPr>
            <p:cNvPr id="16" name="Sechseck 1">
              <a:extLst>
                <a:ext uri="{FF2B5EF4-FFF2-40B4-BE49-F238E27FC236}">
                  <a16:creationId xmlns:a16="http://schemas.microsoft.com/office/drawing/2014/main" id="{53CA953F-11F2-4447-A964-7F345DE7C811}"/>
                </a:ext>
              </a:extLst>
            </p:cNvPr>
            <p:cNvSpPr/>
            <p:nvPr/>
          </p:nvSpPr>
          <p:spPr>
            <a:xfrm>
              <a:off x="5771759"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22" name="Group 5126">
              <a:extLst>
                <a:ext uri="{FF2B5EF4-FFF2-40B4-BE49-F238E27FC236}">
                  <a16:creationId xmlns:a16="http://schemas.microsoft.com/office/drawing/2014/main" id="{90F63ABB-D15D-4E41-82E5-7AEE52022563}"/>
                </a:ext>
              </a:extLst>
            </p:cNvPr>
            <p:cNvGrpSpPr>
              <a:grpSpLocks noChangeAspect="1"/>
            </p:cNvGrpSpPr>
            <p:nvPr/>
          </p:nvGrpSpPr>
          <p:grpSpPr>
            <a:xfrm>
              <a:off x="6040542" y="1543864"/>
              <a:ext cx="542432" cy="542432"/>
              <a:chOff x="-384175" y="5110163"/>
              <a:chExt cx="371475" cy="371475"/>
            </a:xfrm>
            <a:solidFill>
              <a:schemeClr val="accent3"/>
            </a:solidFill>
          </p:grpSpPr>
          <p:sp>
            <p:nvSpPr>
              <p:cNvPr id="23" name="Freeform 36">
                <a:extLst>
                  <a:ext uri="{FF2B5EF4-FFF2-40B4-BE49-F238E27FC236}">
                    <a16:creationId xmlns:a16="http://schemas.microsoft.com/office/drawing/2014/main" id="{F223781A-677F-41E9-B7A7-6923CE1D9F84}"/>
                  </a:ext>
                </a:extLst>
              </p:cNvPr>
              <p:cNvSpPr>
                <a:spLocks noEditPoints="1"/>
              </p:cNvSpPr>
              <p:nvPr/>
            </p:nvSpPr>
            <p:spPr bwMode="auto">
              <a:xfrm>
                <a:off x="-384175" y="5357813"/>
                <a:ext cx="77788" cy="123825"/>
              </a:xfrm>
              <a:custGeom>
                <a:avLst/>
                <a:gdLst>
                  <a:gd name="T0" fmla="*/ 18 w 20"/>
                  <a:gd name="T1" fmla="*/ 32 h 32"/>
                  <a:gd name="T2" fmla="*/ 2 w 20"/>
                  <a:gd name="T3" fmla="*/ 32 h 32"/>
                  <a:gd name="T4" fmla="*/ 0 w 20"/>
                  <a:gd name="T5" fmla="*/ 30 h 32"/>
                  <a:gd name="T6" fmla="*/ 0 w 20"/>
                  <a:gd name="T7" fmla="*/ 2 h 32"/>
                  <a:gd name="T8" fmla="*/ 2 w 20"/>
                  <a:gd name="T9" fmla="*/ 0 h 32"/>
                  <a:gd name="T10" fmla="*/ 18 w 20"/>
                  <a:gd name="T11" fmla="*/ 0 h 32"/>
                  <a:gd name="T12" fmla="*/ 20 w 20"/>
                  <a:gd name="T13" fmla="*/ 2 h 32"/>
                  <a:gd name="T14" fmla="*/ 20 w 20"/>
                  <a:gd name="T15" fmla="*/ 30 h 32"/>
                  <a:gd name="T16" fmla="*/ 18 w 20"/>
                  <a:gd name="T17" fmla="*/ 32 h 32"/>
                  <a:gd name="T18" fmla="*/ 4 w 20"/>
                  <a:gd name="T19" fmla="*/ 28 h 32"/>
                  <a:gd name="T20" fmla="*/ 16 w 20"/>
                  <a:gd name="T21" fmla="*/ 28 h 32"/>
                  <a:gd name="T22" fmla="*/ 16 w 20"/>
                  <a:gd name="T23" fmla="*/ 4 h 32"/>
                  <a:gd name="T24" fmla="*/ 4 w 20"/>
                  <a:gd name="T25" fmla="*/ 4 h 32"/>
                  <a:gd name="T26" fmla="*/ 4 w 20"/>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8" y="32"/>
                    </a:moveTo>
                    <a:cubicBezTo>
                      <a:pt x="2" y="32"/>
                      <a:pt x="2" y="32"/>
                      <a:pt x="2" y="32"/>
                    </a:cubicBezTo>
                    <a:cubicBezTo>
                      <a:pt x="1" y="32"/>
                      <a:pt x="0" y="31"/>
                      <a:pt x="0" y="30"/>
                    </a:cubicBezTo>
                    <a:cubicBezTo>
                      <a:pt x="0" y="2"/>
                      <a:pt x="0" y="2"/>
                      <a:pt x="0" y="2"/>
                    </a:cubicBezTo>
                    <a:cubicBezTo>
                      <a:pt x="0" y="1"/>
                      <a:pt x="1" y="0"/>
                      <a:pt x="2" y="0"/>
                    </a:cubicBezTo>
                    <a:cubicBezTo>
                      <a:pt x="18" y="0"/>
                      <a:pt x="18" y="0"/>
                      <a:pt x="18" y="0"/>
                    </a:cubicBezTo>
                    <a:cubicBezTo>
                      <a:pt x="19" y="0"/>
                      <a:pt x="20" y="1"/>
                      <a:pt x="20" y="2"/>
                    </a:cubicBezTo>
                    <a:cubicBezTo>
                      <a:pt x="20" y="30"/>
                      <a:pt x="20" y="30"/>
                      <a:pt x="20" y="30"/>
                    </a:cubicBezTo>
                    <a:cubicBezTo>
                      <a:pt x="20" y="31"/>
                      <a:pt x="19" y="32"/>
                      <a:pt x="18" y="32"/>
                    </a:cubicBezTo>
                    <a:close/>
                    <a:moveTo>
                      <a:pt x="4" y="28"/>
                    </a:moveTo>
                    <a:cubicBezTo>
                      <a:pt x="16" y="28"/>
                      <a:pt x="16" y="28"/>
                      <a:pt x="16" y="28"/>
                    </a:cubicBezTo>
                    <a:cubicBezTo>
                      <a:pt x="16" y="4"/>
                      <a:pt x="16" y="4"/>
                      <a:pt x="16"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37">
                <a:extLst>
                  <a:ext uri="{FF2B5EF4-FFF2-40B4-BE49-F238E27FC236}">
                    <a16:creationId xmlns:a16="http://schemas.microsoft.com/office/drawing/2014/main" id="{41B0E146-4DE7-40C3-856F-1E8C893AB25C}"/>
                  </a:ext>
                </a:extLst>
              </p:cNvPr>
              <p:cNvSpPr>
                <a:spLocks/>
              </p:cNvSpPr>
              <p:nvPr/>
            </p:nvSpPr>
            <p:spPr bwMode="auto">
              <a:xfrm>
                <a:off x="-322263" y="5403851"/>
                <a:ext cx="279400" cy="61913"/>
              </a:xfrm>
              <a:custGeom>
                <a:avLst/>
                <a:gdLst>
                  <a:gd name="T0" fmla="*/ 70 w 72"/>
                  <a:gd name="T1" fmla="*/ 16 h 16"/>
                  <a:gd name="T2" fmla="*/ 2 w 72"/>
                  <a:gd name="T3" fmla="*/ 16 h 16"/>
                  <a:gd name="T4" fmla="*/ 0 w 72"/>
                  <a:gd name="T5" fmla="*/ 14 h 16"/>
                  <a:gd name="T6" fmla="*/ 2 w 72"/>
                  <a:gd name="T7" fmla="*/ 12 h 16"/>
                  <a:gd name="T8" fmla="*/ 67 w 72"/>
                  <a:gd name="T9" fmla="*/ 12 h 16"/>
                  <a:gd name="T10" fmla="*/ 40 w 72"/>
                  <a:gd name="T11" fmla="*/ 4 h 16"/>
                  <a:gd name="T12" fmla="*/ 12 w 72"/>
                  <a:gd name="T13" fmla="*/ 4 h 16"/>
                  <a:gd name="T14" fmla="*/ 10 w 72"/>
                  <a:gd name="T15" fmla="*/ 2 h 16"/>
                  <a:gd name="T16" fmla="*/ 12 w 72"/>
                  <a:gd name="T17" fmla="*/ 0 h 16"/>
                  <a:gd name="T18" fmla="*/ 40 w 72"/>
                  <a:gd name="T19" fmla="*/ 0 h 16"/>
                  <a:gd name="T20" fmla="*/ 72 w 72"/>
                  <a:gd name="T21" fmla="*/ 14 h 16"/>
                  <a:gd name="T22" fmla="*/ 70 w 72"/>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6">
                    <a:moveTo>
                      <a:pt x="70" y="16"/>
                    </a:moveTo>
                    <a:cubicBezTo>
                      <a:pt x="2" y="16"/>
                      <a:pt x="2" y="16"/>
                      <a:pt x="2" y="16"/>
                    </a:cubicBezTo>
                    <a:cubicBezTo>
                      <a:pt x="1" y="16"/>
                      <a:pt x="0" y="15"/>
                      <a:pt x="0" y="14"/>
                    </a:cubicBezTo>
                    <a:cubicBezTo>
                      <a:pt x="0" y="13"/>
                      <a:pt x="1" y="12"/>
                      <a:pt x="2" y="12"/>
                    </a:cubicBezTo>
                    <a:cubicBezTo>
                      <a:pt x="67" y="12"/>
                      <a:pt x="67" y="12"/>
                      <a:pt x="67" y="12"/>
                    </a:cubicBezTo>
                    <a:cubicBezTo>
                      <a:pt x="64" y="8"/>
                      <a:pt x="53" y="4"/>
                      <a:pt x="40" y="4"/>
                    </a:cubicBezTo>
                    <a:cubicBezTo>
                      <a:pt x="12" y="4"/>
                      <a:pt x="12" y="4"/>
                      <a:pt x="12" y="4"/>
                    </a:cubicBezTo>
                    <a:cubicBezTo>
                      <a:pt x="11" y="4"/>
                      <a:pt x="10" y="3"/>
                      <a:pt x="10" y="2"/>
                    </a:cubicBezTo>
                    <a:cubicBezTo>
                      <a:pt x="10" y="1"/>
                      <a:pt x="11" y="0"/>
                      <a:pt x="12" y="0"/>
                    </a:cubicBezTo>
                    <a:cubicBezTo>
                      <a:pt x="40" y="0"/>
                      <a:pt x="40" y="0"/>
                      <a:pt x="40" y="0"/>
                    </a:cubicBezTo>
                    <a:cubicBezTo>
                      <a:pt x="55" y="0"/>
                      <a:pt x="72" y="6"/>
                      <a:pt x="72" y="14"/>
                    </a:cubicBezTo>
                    <a:cubicBezTo>
                      <a:pt x="72" y="15"/>
                      <a:pt x="71" y="16"/>
                      <a:pt x="7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38">
                <a:extLst>
                  <a:ext uri="{FF2B5EF4-FFF2-40B4-BE49-F238E27FC236}">
                    <a16:creationId xmlns:a16="http://schemas.microsoft.com/office/drawing/2014/main" id="{AD5E592C-321E-4C58-98E2-429AD9223D0C}"/>
                  </a:ext>
                </a:extLst>
              </p:cNvPr>
              <p:cNvSpPr>
                <a:spLocks/>
              </p:cNvSpPr>
              <p:nvPr/>
            </p:nvSpPr>
            <p:spPr bwMode="auto">
              <a:xfrm>
                <a:off x="-314325" y="5373688"/>
                <a:ext cx="119063" cy="42863"/>
              </a:xfrm>
              <a:custGeom>
                <a:avLst/>
                <a:gdLst>
                  <a:gd name="T0" fmla="*/ 29 w 31"/>
                  <a:gd name="T1" fmla="*/ 11 h 11"/>
                  <a:gd name="T2" fmla="*/ 28 w 31"/>
                  <a:gd name="T3" fmla="*/ 11 h 11"/>
                  <a:gd name="T4" fmla="*/ 14 w 31"/>
                  <a:gd name="T5" fmla="*/ 4 h 11"/>
                  <a:gd name="T6" fmla="*/ 0 w 31"/>
                  <a:gd name="T7" fmla="*/ 4 h 11"/>
                  <a:gd name="T8" fmla="*/ 0 w 31"/>
                  <a:gd name="T9" fmla="*/ 0 h 11"/>
                  <a:gd name="T10" fmla="*/ 14 w 31"/>
                  <a:gd name="T11" fmla="*/ 0 h 11"/>
                  <a:gd name="T12" fmla="*/ 31 w 31"/>
                  <a:gd name="T13" fmla="*/ 8 h 11"/>
                  <a:gd name="T14" fmla="*/ 31 w 31"/>
                  <a:gd name="T15" fmla="*/ 9 h 11"/>
                  <a:gd name="T16" fmla="*/ 29 w 3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
                    <a:moveTo>
                      <a:pt x="29" y="11"/>
                    </a:moveTo>
                    <a:cubicBezTo>
                      <a:pt x="28" y="11"/>
                      <a:pt x="28" y="11"/>
                      <a:pt x="28" y="11"/>
                    </a:cubicBezTo>
                    <a:cubicBezTo>
                      <a:pt x="26" y="8"/>
                      <a:pt x="22" y="4"/>
                      <a:pt x="14" y="4"/>
                    </a:cubicBezTo>
                    <a:cubicBezTo>
                      <a:pt x="0" y="4"/>
                      <a:pt x="0" y="4"/>
                      <a:pt x="0" y="4"/>
                    </a:cubicBezTo>
                    <a:cubicBezTo>
                      <a:pt x="0" y="0"/>
                      <a:pt x="0" y="0"/>
                      <a:pt x="0" y="0"/>
                    </a:cubicBezTo>
                    <a:cubicBezTo>
                      <a:pt x="14" y="0"/>
                      <a:pt x="14" y="0"/>
                      <a:pt x="14" y="0"/>
                    </a:cubicBezTo>
                    <a:cubicBezTo>
                      <a:pt x="23" y="0"/>
                      <a:pt x="28" y="5"/>
                      <a:pt x="31" y="8"/>
                    </a:cubicBezTo>
                    <a:cubicBezTo>
                      <a:pt x="31" y="9"/>
                      <a:pt x="31" y="9"/>
                      <a:pt x="31" y="9"/>
                    </a:cubicBezTo>
                    <a:lnTo>
                      <a:pt x="2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39">
                <a:extLst>
                  <a:ext uri="{FF2B5EF4-FFF2-40B4-BE49-F238E27FC236}">
                    <a16:creationId xmlns:a16="http://schemas.microsoft.com/office/drawing/2014/main" id="{7580FC05-A5BA-4982-AC59-6CE08CCD6407}"/>
                  </a:ext>
                </a:extLst>
              </p:cNvPr>
              <p:cNvSpPr>
                <a:spLocks noEditPoints="1"/>
              </p:cNvSpPr>
              <p:nvPr/>
            </p:nvSpPr>
            <p:spPr bwMode="auto">
              <a:xfrm>
                <a:off x="-244475" y="5110163"/>
                <a:ext cx="231775" cy="231775"/>
              </a:xfrm>
              <a:custGeom>
                <a:avLst/>
                <a:gdLst>
                  <a:gd name="T0" fmla="*/ 48 w 60"/>
                  <a:gd name="T1" fmla="*/ 60 h 60"/>
                  <a:gd name="T2" fmla="*/ 47 w 60"/>
                  <a:gd name="T3" fmla="*/ 60 h 60"/>
                  <a:gd name="T4" fmla="*/ 30 w 60"/>
                  <a:gd name="T5" fmla="*/ 47 h 60"/>
                  <a:gd name="T6" fmla="*/ 13 w 60"/>
                  <a:gd name="T7" fmla="*/ 60 h 60"/>
                  <a:gd name="T8" fmla="*/ 11 w 60"/>
                  <a:gd name="T9" fmla="*/ 60 h 60"/>
                  <a:gd name="T10" fmla="*/ 10 w 60"/>
                  <a:gd name="T11" fmla="*/ 57 h 60"/>
                  <a:gd name="T12" fmla="*/ 16 w 60"/>
                  <a:gd name="T13" fmla="*/ 37 h 60"/>
                  <a:gd name="T14" fmla="*/ 1 w 60"/>
                  <a:gd name="T15" fmla="*/ 24 h 60"/>
                  <a:gd name="T16" fmla="*/ 0 w 60"/>
                  <a:gd name="T17" fmla="*/ 21 h 60"/>
                  <a:gd name="T18" fmla="*/ 2 w 60"/>
                  <a:gd name="T19" fmla="*/ 20 h 60"/>
                  <a:gd name="T20" fmla="*/ 21 w 60"/>
                  <a:gd name="T21" fmla="*/ 20 h 60"/>
                  <a:gd name="T22" fmla="*/ 28 w 60"/>
                  <a:gd name="T23" fmla="*/ 1 h 60"/>
                  <a:gd name="T24" fmla="*/ 32 w 60"/>
                  <a:gd name="T25" fmla="*/ 1 h 60"/>
                  <a:gd name="T26" fmla="*/ 39 w 60"/>
                  <a:gd name="T27" fmla="*/ 20 h 60"/>
                  <a:gd name="T28" fmla="*/ 58 w 60"/>
                  <a:gd name="T29" fmla="*/ 20 h 60"/>
                  <a:gd name="T30" fmla="*/ 60 w 60"/>
                  <a:gd name="T31" fmla="*/ 21 h 60"/>
                  <a:gd name="T32" fmla="*/ 59 w 60"/>
                  <a:gd name="T33" fmla="*/ 24 h 60"/>
                  <a:gd name="T34" fmla="*/ 44 w 60"/>
                  <a:gd name="T35" fmla="*/ 37 h 60"/>
                  <a:gd name="T36" fmla="*/ 50 w 60"/>
                  <a:gd name="T37" fmla="*/ 57 h 60"/>
                  <a:gd name="T38" fmla="*/ 49 w 60"/>
                  <a:gd name="T39" fmla="*/ 60 h 60"/>
                  <a:gd name="T40" fmla="*/ 48 w 60"/>
                  <a:gd name="T41" fmla="*/ 60 h 60"/>
                  <a:gd name="T42" fmla="*/ 30 w 60"/>
                  <a:gd name="T43" fmla="*/ 42 h 60"/>
                  <a:gd name="T44" fmla="*/ 31 w 60"/>
                  <a:gd name="T45" fmla="*/ 42 h 60"/>
                  <a:gd name="T46" fmla="*/ 44 w 60"/>
                  <a:gd name="T47" fmla="*/ 53 h 60"/>
                  <a:gd name="T48" fmla="*/ 40 w 60"/>
                  <a:gd name="T49" fmla="*/ 37 h 60"/>
                  <a:gd name="T50" fmla="*/ 41 w 60"/>
                  <a:gd name="T51" fmla="*/ 34 h 60"/>
                  <a:gd name="T52" fmla="*/ 53 w 60"/>
                  <a:gd name="T53" fmla="*/ 24 h 60"/>
                  <a:gd name="T54" fmla="*/ 38 w 60"/>
                  <a:gd name="T55" fmla="*/ 24 h 60"/>
                  <a:gd name="T56" fmla="*/ 36 w 60"/>
                  <a:gd name="T57" fmla="*/ 23 h 60"/>
                  <a:gd name="T58" fmla="*/ 30 w 60"/>
                  <a:gd name="T59" fmla="*/ 7 h 60"/>
                  <a:gd name="T60" fmla="*/ 24 w 60"/>
                  <a:gd name="T61" fmla="*/ 23 h 60"/>
                  <a:gd name="T62" fmla="*/ 22 w 60"/>
                  <a:gd name="T63" fmla="*/ 24 h 60"/>
                  <a:gd name="T64" fmla="*/ 7 w 60"/>
                  <a:gd name="T65" fmla="*/ 24 h 60"/>
                  <a:gd name="T66" fmla="*/ 19 w 60"/>
                  <a:gd name="T67" fmla="*/ 34 h 60"/>
                  <a:gd name="T68" fmla="*/ 20 w 60"/>
                  <a:gd name="T69" fmla="*/ 37 h 60"/>
                  <a:gd name="T70" fmla="*/ 16 w 60"/>
                  <a:gd name="T71" fmla="*/ 53 h 60"/>
                  <a:gd name="T72" fmla="*/ 29 w 60"/>
                  <a:gd name="T73" fmla="*/ 42 h 60"/>
                  <a:gd name="T74" fmla="*/ 30 w 60"/>
                  <a:gd name="T7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48" y="60"/>
                    </a:moveTo>
                    <a:cubicBezTo>
                      <a:pt x="48" y="60"/>
                      <a:pt x="47" y="60"/>
                      <a:pt x="47" y="60"/>
                    </a:cubicBezTo>
                    <a:cubicBezTo>
                      <a:pt x="30" y="47"/>
                      <a:pt x="30" y="47"/>
                      <a:pt x="30" y="47"/>
                    </a:cubicBezTo>
                    <a:cubicBezTo>
                      <a:pt x="13" y="60"/>
                      <a:pt x="13" y="60"/>
                      <a:pt x="13" y="60"/>
                    </a:cubicBezTo>
                    <a:cubicBezTo>
                      <a:pt x="13" y="60"/>
                      <a:pt x="12" y="60"/>
                      <a:pt x="11" y="60"/>
                    </a:cubicBezTo>
                    <a:cubicBezTo>
                      <a:pt x="10" y="59"/>
                      <a:pt x="10" y="58"/>
                      <a:pt x="10" y="57"/>
                    </a:cubicBezTo>
                    <a:cubicBezTo>
                      <a:pt x="16" y="37"/>
                      <a:pt x="16" y="37"/>
                      <a:pt x="16" y="37"/>
                    </a:cubicBezTo>
                    <a:cubicBezTo>
                      <a:pt x="1" y="24"/>
                      <a:pt x="1" y="24"/>
                      <a:pt x="1" y="24"/>
                    </a:cubicBezTo>
                    <a:cubicBezTo>
                      <a:pt x="0" y="23"/>
                      <a:pt x="0" y="22"/>
                      <a:pt x="0" y="21"/>
                    </a:cubicBezTo>
                    <a:cubicBezTo>
                      <a:pt x="0" y="21"/>
                      <a:pt x="1" y="20"/>
                      <a:pt x="2" y="20"/>
                    </a:cubicBezTo>
                    <a:cubicBezTo>
                      <a:pt x="21" y="20"/>
                      <a:pt x="21" y="20"/>
                      <a:pt x="21" y="20"/>
                    </a:cubicBezTo>
                    <a:cubicBezTo>
                      <a:pt x="28" y="1"/>
                      <a:pt x="28" y="1"/>
                      <a:pt x="28" y="1"/>
                    </a:cubicBezTo>
                    <a:cubicBezTo>
                      <a:pt x="29" y="0"/>
                      <a:pt x="31" y="0"/>
                      <a:pt x="32" y="1"/>
                    </a:cubicBezTo>
                    <a:cubicBezTo>
                      <a:pt x="39" y="20"/>
                      <a:pt x="39" y="20"/>
                      <a:pt x="39" y="20"/>
                    </a:cubicBezTo>
                    <a:cubicBezTo>
                      <a:pt x="58" y="20"/>
                      <a:pt x="58" y="20"/>
                      <a:pt x="58" y="20"/>
                    </a:cubicBezTo>
                    <a:cubicBezTo>
                      <a:pt x="59" y="20"/>
                      <a:pt x="60" y="21"/>
                      <a:pt x="60" y="21"/>
                    </a:cubicBezTo>
                    <a:cubicBezTo>
                      <a:pt x="60" y="22"/>
                      <a:pt x="60" y="23"/>
                      <a:pt x="59" y="24"/>
                    </a:cubicBezTo>
                    <a:cubicBezTo>
                      <a:pt x="44" y="37"/>
                      <a:pt x="44" y="37"/>
                      <a:pt x="44" y="37"/>
                    </a:cubicBezTo>
                    <a:cubicBezTo>
                      <a:pt x="50" y="57"/>
                      <a:pt x="50" y="57"/>
                      <a:pt x="50" y="57"/>
                    </a:cubicBezTo>
                    <a:cubicBezTo>
                      <a:pt x="50" y="58"/>
                      <a:pt x="50" y="59"/>
                      <a:pt x="49" y="60"/>
                    </a:cubicBezTo>
                    <a:cubicBezTo>
                      <a:pt x="49" y="60"/>
                      <a:pt x="48" y="60"/>
                      <a:pt x="48" y="60"/>
                    </a:cubicBezTo>
                    <a:close/>
                    <a:moveTo>
                      <a:pt x="30" y="42"/>
                    </a:moveTo>
                    <a:cubicBezTo>
                      <a:pt x="30" y="42"/>
                      <a:pt x="31" y="42"/>
                      <a:pt x="31" y="42"/>
                    </a:cubicBezTo>
                    <a:cubicBezTo>
                      <a:pt x="44" y="53"/>
                      <a:pt x="44" y="53"/>
                      <a:pt x="44" y="53"/>
                    </a:cubicBezTo>
                    <a:cubicBezTo>
                      <a:pt x="40" y="37"/>
                      <a:pt x="40" y="37"/>
                      <a:pt x="40" y="37"/>
                    </a:cubicBezTo>
                    <a:cubicBezTo>
                      <a:pt x="40" y="36"/>
                      <a:pt x="40" y="35"/>
                      <a:pt x="41" y="34"/>
                    </a:cubicBezTo>
                    <a:cubicBezTo>
                      <a:pt x="53" y="24"/>
                      <a:pt x="53" y="24"/>
                      <a:pt x="53" y="24"/>
                    </a:cubicBezTo>
                    <a:cubicBezTo>
                      <a:pt x="38" y="24"/>
                      <a:pt x="38" y="24"/>
                      <a:pt x="38" y="24"/>
                    </a:cubicBezTo>
                    <a:cubicBezTo>
                      <a:pt x="37" y="24"/>
                      <a:pt x="36" y="24"/>
                      <a:pt x="36" y="23"/>
                    </a:cubicBezTo>
                    <a:cubicBezTo>
                      <a:pt x="30" y="7"/>
                      <a:pt x="30" y="7"/>
                      <a:pt x="30" y="7"/>
                    </a:cubicBezTo>
                    <a:cubicBezTo>
                      <a:pt x="24" y="23"/>
                      <a:pt x="24" y="23"/>
                      <a:pt x="24" y="23"/>
                    </a:cubicBezTo>
                    <a:cubicBezTo>
                      <a:pt x="24" y="24"/>
                      <a:pt x="23" y="24"/>
                      <a:pt x="22" y="24"/>
                    </a:cubicBezTo>
                    <a:cubicBezTo>
                      <a:pt x="7" y="24"/>
                      <a:pt x="7" y="24"/>
                      <a:pt x="7" y="24"/>
                    </a:cubicBezTo>
                    <a:cubicBezTo>
                      <a:pt x="19" y="34"/>
                      <a:pt x="19" y="34"/>
                      <a:pt x="19" y="34"/>
                    </a:cubicBezTo>
                    <a:cubicBezTo>
                      <a:pt x="20" y="35"/>
                      <a:pt x="20" y="36"/>
                      <a:pt x="20" y="37"/>
                    </a:cubicBezTo>
                    <a:cubicBezTo>
                      <a:pt x="16" y="53"/>
                      <a:pt x="16" y="53"/>
                      <a:pt x="16" y="53"/>
                    </a:cubicBezTo>
                    <a:cubicBezTo>
                      <a:pt x="29" y="42"/>
                      <a:pt x="29" y="42"/>
                      <a:pt x="29" y="42"/>
                    </a:cubicBezTo>
                    <a:cubicBezTo>
                      <a:pt x="29" y="42"/>
                      <a:pt x="30" y="42"/>
                      <a:pt x="3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9" name="Gruppieren 8">
            <a:extLst>
              <a:ext uri="{FF2B5EF4-FFF2-40B4-BE49-F238E27FC236}">
                <a16:creationId xmlns:a16="http://schemas.microsoft.com/office/drawing/2014/main" id="{5D24D4D6-F335-454B-A045-F90FE2972DAA}"/>
              </a:ext>
            </a:extLst>
          </p:cNvPr>
          <p:cNvGrpSpPr/>
          <p:nvPr/>
        </p:nvGrpSpPr>
        <p:grpSpPr>
          <a:xfrm>
            <a:off x="5636523" y="1627200"/>
            <a:ext cx="1080000" cy="1080000"/>
            <a:chOff x="4186666" y="1275080"/>
            <a:chExt cx="1080000" cy="1080000"/>
          </a:xfrm>
        </p:grpSpPr>
        <p:sp>
          <p:nvSpPr>
            <p:cNvPr id="14" name="Sechseck 1">
              <a:extLst>
                <a:ext uri="{FF2B5EF4-FFF2-40B4-BE49-F238E27FC236}">
                  <a16:creationId xmlns:a16="http://schemas.microsoft.com/office/drawing/2014/main" id="{EA72B762-63F9-4F63-A9F1-14F39584A5D8}"/>
                </a:ext>
              </a:extLst>
            </p:cNvPr>
            <p:cNvSpPr/>
            <p:nvPr/>
          </p:nvSpPr>
          <p:spPr>
            <a:xfrm>
              <a:off x="4186666"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27" name="Group 128">
              <a:extLst>
                <a:ext uri="{FF2B5EF4-FFF2-40B4-BE49-F238E27FC236}">
                  <a16:creationId xmlns:a16="http://schemas.microsoft.com/office/drawing/2014/main" id="{EAB0E8C5-3015-4F59-BF96-986CEC7AF0DD}"/>
                </a:ext>
              </a:extLst>
            </p:cNvPr>
            <p:cNvGrpSpPr>
              <a:grpSpLocks noChangeAspect="1"/>
            </p:cNvGrpSpPr>
            <p:nvPr/>
          </p:nvGrpSpPr>
          <p:grpSpPr>
            <a:xfrm>
              <a:off x="4398945" y="1543864"/>
              <a:ext cx="655442" cy="542432"/>
              <a:chOff x="1468438" y="1965325"/>
              <a:chExt cx="276225" cy="228600"/>
            </a:xfrm>
            <a:solidFill>
              <a:schemeClr val="accent3"/>
            </a:solidFill>
            <a:effectLst/>
          </p:grpSpPr>
          <p:sp>
            <p:nvSpPr>
              <p:cNvPr id="28" name="Freeform 111">
                <a:extLst>
                  <a:ext uri="{FF2B5EF4-FFF2-40B4-BE49-F238E27FC236}">
                    <a16:creationId xmlns:a16="http://schemas.microsoft.com/office/drawing/2014/main" id="{44658D28-8606-4791-8DEC-A67D39363536}"/>
                  </a:ext>
                </a:extLst>
              </p:cNvPr>
              <p:cNvSpPr>
                <a:spLocks noEditPoints="1"/>
              </p:cNvSpPr>
              <p:nvPr/>
            </p:nvSpPr>
            <p:spPr bwMode="auto">
              <a:xfrm>
                <a:off x="1468438" y="2117725"/>
                <a:ext cx="49213" cy="76200"/>
              </a:xfrm>
              <a:custGeom>
                <a:avLst/>
                <a:gdLst>
                  <a:gd name="T0" fmla="*/ 121 w 151"/>
                  <a:gd name="T1" fmla="*/ 211 h 241"/>
                  <a:gd name="T2" fmla="*/ 30 w 151"/>
                  <a:gd name="T3" fmla="*/ 211 h 241"/>
                  <a:gd name="T4" fmla="*/ 30 w 151"/>
                  <a:gd name="T5" fmla="*/ 30 h 241"/>
                  <a:gd name="T6" fmla="*/ 121 w 151"/>
                  <a:gd name="T7" fmla="*/ 30 h 241"/>
                  <a:gd name="T8" fmla="*/ 121 w 151"/>
                  <a:gd name="T9" fmla="*/ 211 h 241"/>
                  <a:gd name="T10" fmla="*/ 136 w 151"/>
                  <a:gd name="T11" fmla="*/ 0 h 241"/>
                  <a:gd name="T12" fmla="*/ 15 w 151"/>
                  <a:gd name="T13" fmla="*/ 0 h 241"/>
                  <a:gd name="T14" fmla="*/ 13 w 151"/>
                  <a:gd name="T15" fmla="*/ 1 h 241"/>
                  <a:gd name="T16" fmla="*/ 10 w 151"/>
                  <a:gd name="T17" fmla="*/ 2 h 241"/>
                  <a:gd name="T18" fmla="*/ 8 w 151"/>
                  <a:gd name="T19" fmla="*/ 3 h 241"/>
                  <a:gd name="T20" fmla="*/ 6 w 151"/>
                  <a:gd name="T21" fmla="*/ 6 h 241"/>
                  <a:gd name="T22" fmla="*/ 4 w 151"/>
                  <a:gd name="T23" fmla="*/ 8 h 241"/>
                  <a:gd name="T24" fmla="*/ 2 w 151"/>
                  <a:gd name="T25" fmla="*/ 10 h 241"/>
                  <a:gd name="T26" fmla="*/ 1 w 151"/>
                  <a:gd name="T27" fmla="*/ 13 h 241"/>
                  <a:gd name="T28" fmla="*/ 0 w 151"/>
                  <a:gd name="T29" fmla="*/ 15 h 241"/>
                  <a:gd name="T30" fmla="*/ 0 w 151"/>
                  <a:gd name="T31" fmla="*/ 226 h 241"/>
                  <a:gd name="T32" fmla="*/ 1 w 151"/>
                  <a:gd name="T33" fmla="*/ 228 h 241"/>
                  <a:gd name="T34" fmla="*/ 2 w 151"/>
                  <a:gd name="T35" fmla="*/ 231 h 241"/>
                  <a:gd name="T36" fmla="*/ 4 w 151"/>
                  <a:gd name="T37" fmla="*/ 233 h 241"/>
                  <a:gd name="T38" fmla="*/ 6 w 151"/>
                  <a:gd name="T39" fmla="*/ 236 h 241"/>
                  <a:gd name="T40" fmla="*/ 8 w 151"/>
                  <a:gd name="T41" fmla="*/ 238 h 241"/>
                  <a:gd name="T42" fmla="*/ 10 w 151"/>
                  <a:gd name="T43" fmla="*/ 240 h 241"/>
                  <a:gd name="T44" fmla="*/ 13 w 151"/>
                  <a:gd name="T45" fmla="*/ 240 h 241"/>
                  <a:gd name="T46" fmla="*/ 15 w 151"/>
                  <a:gd name="T47" fmla="*/ 241 h 241"/>
                  <a:gd name="T48" fmla="*/ 136 w 151"/>
                  <a:gd name="T49" fmla="*/ 241 h 241"/>
                  <a:gd name="T50" fmla="*/ 138 w 151"/>
                  <a:gd name="T51" fmla="*/ 240 h 241"/>
                  <a:gd name="T52" fmla="*/ 142 w 151"/>
                  <a:gd name="T53" fmla="*/ 239 h 241"/>
                  <a:gd name="T54" fmla="*/ 144 w 151"/>
                  <a:gd name="T55" fmla="*/ 238 h 241"/>
                  <a:gd name="T56" fmla="*/ 146 w 151"/>
                  <a:gd name="T57" fmla="*/ 236 h 241"/>
                  <a:gd name="T58" fmla="*/ 148 w 151"/>
                  <a:gd name="T59" fmla="*/ 233 h 241"/>
                  <a:gd name="T60" fmla="*/ 149 w 151"/>
                  <a:gd name="T61" fmla="*/ 231 h 241"/>
                  <a:gd name="T62" fmla="*/ 150 w 151"/>
                  <a:gd name="T63" fmla="*/ 228 h 241"/>
                  <a:gd name="T64" fmla="*/ 151 w 151"/>
                  <a:gd name="T65" fmla="*/ 226 h 241"/>
                  <a:gd name="T66" fmla="*/ 151 w 151"/>
                  <a:gd name="T67" fmla="*/ 15 h 241"/>
                  <a:gd name="T68" fmla="*/ 150 w 151"/>
                  <a:gd name="T69" fmla="*/ 13 h 241"/>
                  <a:gd name="T70" fmla="*/ 149 w 151"/>
                  <a:gd name="T71" fmla="*/ 10 h 241"/>
                  <a:gd name="T72" fmla="*/ 148 w 151"/>
                  <a:gd name="T73" fmla="*/ 8 h 241"/>
                  <a:gd name="T74" fmla="*/ 146 w 151"/>
                  <a:gd name="T75" fmla="*/ 6 h 241"/>
                  <a:gd name="T76" fmla="*/ 144 w 151"/>
                  <a:gd name="T77" fmla="*/ 3 h 241"/>
                  <a:gd name="T78" fmla="*/ 142 w 151"/>
                  <a:gd name="T79" fmla="*/ 2 h 241"/>
                  <a:gd name="T80" fmla="*/ 138 w 151"/>
                  <a:gd name="T81" fmla="*/ 1 h 241"/>
                  <a:gd name="T82" fmla="*/ 136 w 151"/>
                  <a:gd name="T83" fmla="*/ 0 h 241"/>
                  <a:gd name="T84" fmla="*/ 136 w 15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1" h="241">
                    <a:moveTo>
                      <a:pt x="121" y="211"/>
                    </a:moveTo>
                    <a:lnTo>
                      <a:pt x="30" y="211"/>
                    </a:lnTo>
                    <a:lnTo>
                      <a:pt x="30" y="30"/>
                    </a:lnTo>
                    <a:lnTo>
                      <a:pt x="121" y="30"/>
                    </a:lnTo>
                    <a:lnTo>
                      <a:pt x="121" y="211"/>
                    </a:lnTo>
                    <a:close/>
                    <a:moveTo>
                      <a:pt x="136" y="0"/>
                    </a:moveTo>
                    <a:lnTo>
                      <a:pt x="15" y="0"/>
                    </a:lnTo>
                    <a:lnTo>
                      <a:pt x="13" y="1"/>
                    </a:lnTo>
                    <a:lnTo>
                      <a:pt x="10" y="2"/>
                    </a:lnTo>
                    <a:lnTo>
                      <a:pt x="8" y="3"/>
                    </a:lnTo>
                    <a:lnTo>
                      <a:pt x="6" y="6"/>
                    </a:lnTo>
                    <a:lnTo>
                      <a:pt x="4" y="8"/>
                    </a:lnTo>
                    <a:lnTo>
                      <a:pt x="2" y="10"/>
                    </a:lnTo>
                    <a:lnTo>
                      <a:pt x="1" y="13"/>
                    </a:lnTo>
                    <a:lnTo>
                      <a:pt x="0" y="15"/>
                    </a:lnTo>
                    <a:lnTo>
                      <a:pt x="0" y="226"/>
                    </a:lnTo>
                    <a:lnTo>
                      <a:pt x="1" y="228"/>
                    </a:lnTo>
                    <a:lnTo>
                      <a:pt x="2" y="231"/>
                    </a:lnTo>
                    <a:lnTo>
                      <a:pt x="4" y="233"/>
                    </a:lnTo>
                    <a:lnTo>
                      <a:pt x="6" y="236"/>
                    </a:lnTo>
                    <a:lnTo>
                      <a:pt x="8" y="238"/>
                    </a:lnTo>
                    <a:lnTo>
                      <a:pt x="10" y="240"/>
                    </a:lnTo>
                    <a:lnTo>
                      <a:pt x="13" y="240"/>
                    </a:lnTo>
                    <a:lnTo>
                      <a:pt x="15" y="241"/>
                    </a:lnTo>
                    <a:lnTo>
                      <a:pt x="136" y="241"/>
                    </a:lnTo>
                    <a:lnTo>
                      <a:pt x="138" y="240"/>
                    </a:lnTo>
                    <a:lnTo>
                      <a:pt x="142" y="239"/>
                    </a:lnTo>
                    <a:lnTo>
                      <a:pt x="144" y="238"/>
                    </a:lnTo>
                    <a:lnTo>
                      <a:pt x="146" y="236"/>
                    </a:lnTo>
                    <a:lnTo>
                      <a:pt x="148" y="233"/>
                    </a:lnTo>
                    <a:lnTo>
                      <a:pt x="149" y="231"/>
                    </a:lnTo>
                    <a:lnTo>
                      <a:pt x="150" y="228"/>
                    </a:lnTo>
                    <a:lnTo>
                      <a:pt x="151" y="226"/>
                    </a:lnTo>
                    <a:lnTo>
                      <a:pt x="151" y="15"/>
                    </a:lnTo>
                    <a:lnTo>
                      <a:pt x="150" y="13"/>
                    </a:lnTo>
                    <a:lnTo>
                      <a:pt x="149" y="10"/>
                    </a:lnTo>
                    <a:lnTo>
                      <a:pt x="148" y="8"/>
                    </a:lnTo>
                    <a:lnTo>
                      <a:pt x="146" y="6"/>
                    </a:lnTo>
                    <a:lnTo>
                      <a:pt x="144" y="3"/>
                    </a:lnTo>
                    <a:lnTo>
                      <a:pt x="142" y="2"/>
                    </a:lnTo>
                    <a:lnTo>
                      <a:pt x="138" y="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2">
                <a:extLst>
                  <a:ext uri="{FF2B5EF4-FFF2-40B4-BE49-F238E27FC236}">
                    <a16:creationId xmlns:a16="http://schemas.microsoft.com/office/drawing/2014/main" id="{0C97CF06-7A88-483C-9A11-EA8A216F2219}"/>
                  </a:ext>
                </a:extLst>
              </p:cNvPr>
              <p:cNvSpPr>
                <a:spLocks noEditPoints="1"/>
              </p:cNvSpPr>
              <p:nvPr/>
            </p:nvSpPr>
            <p:spPr bwMode="auto">
              <a:xfrm>
                <a:off x="1527175" y="2079625"/>
                <a:ext cx="47625" cy="114300"/>
              </a:xfrm>
              <a:custGeom>
                <a:avLst/>
                <a:gdLst>
                  <a:gd name="T0" fmla="*/ 120 w 150"/>
                  <a:gd name="T1" fmla="*/ 331 h 361"/>
                  <a:gd name="T2" fmla="*/ 30 w 150"/>
                  <a:gd name="T3" fmla="*/ 331 h 361"/>
                  <a:gd name="T4" fmla="*/ 30 w 150"/>
                  <a:gd name="T5" fmla="*/ 30 h 361"/>
                  <a:gd name="T6" fmla="*/ 120 w 150"/>
                  <a:gd name="T7" fmla="*/ 30 h 361"/>
                  <a:gd name="T8" fmla="*/ 120 w 150"/>
                  <a:gd name="T9" fmla="*/ 331 h 361"/>
                  <a:gd name="T10" fmla="*/ 135 w 150"/>
                  <a:gd name="T11" fmla="*/ 0 h 361"/>
                  <a:gd name="T12" fmla="*/ 15 w 150"/>
                  <a:gd name="T13" fmla="*/ 0 h 361"/>
                  <a:gd name="T14" fmla="*/ 12 w 150"/>
                  <a:gd name="T15" fmla="*/ 2 h 361"/>
                  <a:gd name="T16" fmla="*/ 9 w 150"/>
                  <a:gd name="T17" fmla="*/ 2 h 361"/>
                  <a:gd name="T18" fmla="*/ 7 w 150"/>
                  <a:gd name="T19" fmla="*/ 4 h 361"/>
                  <a:gd name="T20" fmla="*/ 4 w 150"/>
                  <a:gd name="T21" fmla="*/ 5 h 361"/>
                  <a:gd name="T22" fmla="*/ 2 w 150"/>
                  <a:gd name="T23" fmla="*/ 8 h 361"/>
                  <a:gd name="T24" fmla="*/ 1 w 150"/>
                  <a:gd name="T25" fmla="*/ 10 h 361"/>
                  <a:gd name="T26" fmla="*/ 0 w 150"/>
                  <a:gd name="T27" fmla="*/ 13 h 361"/>
                  <a:gd name="T28" fmla="*/ 0 w 150"/>
                  <a:gd name="T29" fmla="*/ 15 h 361"/>
                  <a:gd name="T30" fmla="*/ 0 w 150"/>
                  <a:gd name="T31" fmla="*/ 346 h 361"/>
                  <a:gd name="T32" fmla="*/ 0 w 150"/>
                  <a:gd name="T33" fmla="*/ 348 h 361"/>
                  <a:gd name="T34" fmla="*/ 1 w 150"/>
                  <a:gd name="T35" fmla="*/ 351 h 361"/>
                  <a:gd name="T36" fmla="*/ 2 w 150"/>
                  <a:gd name="T37" fmla="*/ 353 h 361"/>
                  <a:gd name="T38" fmla="*/ 4 w 150"/>
                  <a:gd name="T39" fmla="*/ 356 h 361"/>
                  <a:gd name="T40" fmla="*/ 7 w 150"/>
                  <a:gd name="T41" fmla="*/ 358 h 361"/>
                  <a:gd name="T42" fmla="*/ 9 w 150"/>
                  <a:gd name="T43" fmla="*/ 360 h 361"/>
                  <a:gd name="T44" fmla="*/ 12 w 150"/>
                  <a:gd name="T45" fmla="*/ 360 h 361"/>
                  <a:gd name="T46" fmla="*/ 15 w 150"/>
                  <a:gd name="T47" fmla="*/ 361 h 361"/>
                  <a:gd name="T48" fmla="*/ 135 w 150"/>
                  <a:gd name="T49" fmla="*/ 361 h 361"/>
                  <a:gd name="T50" fmla="*/ 137 w 150"/>
                  <a:gd name="T51" fmla="*/ 360 h 361"/>
                  <a:gd name="T52" fmla="*/ 140 w 150"/>
                  <a:gd name="T53" fmla="*/ 359 h 361"/>
                  <a:gd name="T54" fmla="*/ 143 w 150"/>
                  <a:gd name="T55" fmla="*/ 358 h 361"/>
                  <a:gd name="T56" fmla="*/ 146 w 150"/>
                  <a:gd name="T57" fmla="*/ 356 h 361"/>
                  <a:gd name="T58" fmla="*/ 147 w 150"/>
                  <a:gd name="T59" fmla="*/ 353 h 361"/>
                  <a:gd name="T60" fmla="*/ 149 w 150"/>
                  <a:gd name="T61" fmla="*/ 351 h 361"/>
                  <a:gd name="T62" fmla="*/ 149 w 150"/>
                  <a:gd name="T63" fmla="*/ 348 h 361"/>
                  <a:gd name="T64" fmla="*/ 150 w 150"/>
                  <a:gd name="T65" fmla="*/ 346 h 361"/>
                  <a:gd name="T66" fmla="*/ 150 w 150"/>
                  <a:gd name="T67" fmla="*/ 15 h 361"/>
                  <a:gd name="T68" fmla="*/ 149 w 150"/>
                  <a:gd name="T69" fmla="*/ 13 h 361"/>
                  <a:gd name="T70" fmla="*/ 149 w 150"/>
                  <a:gd name="T71" fmla="*/ 10 h 361"/>
                  <a:gd name="T72" fmla="*/ 147 w 150"/>
                  <a:gd name="T73" fmla="*/ 8 h 361"/>
                  <a:gd name="T74" fmla="*/ 146 w 150"/>
                  <a:gd name="T75" fmla="*/ 5 h 361"/>
                  <a:gd name="T76" fmla="*/ 143 w 150"/>
                  <a:gd name="T77" fmla="*/ 4 h 361"/>
                  <a:gd name="T78" fmla="*/ 140 w 150"/>
                  <a:gd name="T79" fmla="*/ 2 h 361"/>
                  <a:gd name="T80" fmla="*/ 137 w 150"/>
                  <a:gd name="T81" fmla="*/ 2 h 361"/>
                  <a:gd name="T82" fmla="*/ 135 w 150"/>
                  <a:gd name="T83" fmla="*/ 0 h 361"/>
                  <a:gd name="T84" fmla="*/ 135 w 150"/>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61">
                    <a:moveTo>
                      <a:pt x="120" y="331"/>
                    </a:moveTo>
                    <a:lnTo>
                      <a:pt x="30" y="331"/>
                    </a:lnTo>
                    <a:lnTo>
                      <a:pt x="30" y="30"/>
                    </a:lnTo>
                    <a:lnTo>
                      <a:pt x="120" y="30"/>
                    </a:lnTo>
                    <a:lnTo>
                      <a:pt x="120" y="331"/>
                    </a:lnTo>
                    <a:close/>
                    <a:moveTo>
                      <a:pt x="135" y="0"/>
                    </a:moveTo>
                    <a:lnTo>
                      <a:pt x="15" y="0"/>
                    </a:lnTo>
                    <a:lnTo>
                      <a:pt x="12" y="2"/>
                    </a:lnTo>
                    <a:lnTo>
                      <a:pt x="9" y="2"/>
                    </a:lnTo>
                    <a:lnTo>
                      <a:pt x="7" y="4"/>
                    </a:lnTo>
                    <a:lnTo>
                      <a:pt x="4" y="5"/>
                    </a:lnTo>
                    <a:lnTo>
                      <a:pt x="2" y="8"/>
                    </a:lnTo>
                    <a:lnTo>
                      <a:pt x="1" y="10"/>
                    </a:lnTo>
                    <a:lnTo>
                      <a:pt x="0" y="13"/>
                    </a:lnTo>
                    <a:lnTo>
                      <a:pt x="0" y="15"/>
                    </a:lnTo>
                    <a:lnTo>
                      <a:pt x="0" y="346"/>
                    </a:lnTo>
                    <a:lnTo>
                      <a:pt x="0" y="348"/>
                    </a:lnTo>
                    <a:lnTo>
                      <a:pt x="1" y="351"/>
                    </a:lnTo>
                    <a:lnTo>
                      <a:pt x="2" y="353"/>
                    </a:lnTo>
                    <a:lnTo>
                      <a:pt x="4" y="356"/>
                    </a:lnTo>
                    <a:lnTo>
                      <a:pt x="7" y="358"/>
                    </a:lnTo>
                    <a:lnTo>
                      <a:pt x="9" y="360"/>
                    </a:lnTo>
                    <a:lnTo>
                      <a:pt x="12" y="360"/>
                    </a:lnTo>
                    <a:lnTo>
                      <a:pt x="15" y="361"/>
                    </a:lnTo>
                    <a:lnTo>
                      <a:pt x="135" y="361"/>
                    </a:lnTo>
                    <a:lnTo>
                      <a:pt x="137" y="360"/>
                    </a:lnTo>
                    <a:lnTo>
                      <a:pt x="140" y="359"/>
                    </a:lnTo>
                    <a:lnTo>
                      <a:pt x="143" y="358"/>
                    </a:lnTo>
                    <a:lnTo>
                      <a:pt x="146" y="356"/>
                    </a:lnTo>
                    <a:lnTo>
                      <a:pt x="147" y="353"/>
                    </a:lnTo>
                    <a:lnTo>
                      <a:pt x="149" y="351"/>
                    </a:lnTo>
                    <a:lnTo>
                      <a:pt x="149" y="348"/>
                    </a:lnTo>
                    <a:lnTo>
                      <a:pt x="150" y="346"/>
                    </a:lnTo>
                    <a:lnTo>
                      <a:pt x="150" y="15"/>
                    </a:lnTo>
                    <a:lnTo>
                      <a:pt x="149" y="13"/>
                    </a:lnTo>
                    <a:lnTo>
                      <a:pt x="149" y="10"/>
                    </a:lnTo>
                    <a:lnTo>
                      <a:pt x="147" y="8"/>
                    </a:lnTo>
                    <a:lnTo>
                      <a:pt x="146" y="5"/>
                    </a:lnTo>
                    <a:lnTo>
                      <a:pt x="143" y="4"/>
                    </a:lnTo>
                    <a:lnTo>
                      <a:pt x="140" y="2"/>
                    </a:lnTo>
                    <a:lnTo>
                      <a:pt x="137" y="2"/>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3">
                <a:extLst>
                  <a:ext uri="{FF2B5EF4-FFF2-40B4-BE49-F238E27FC236}">
                    <a16:creationId xmlns:a16="http://schemas.microsoft.com/office/drawing/2014/main" id="{B5272B93-03EE-490C-BE8C-9D2E110F9925}"/>
                  </a:ext>
                </a:extLst>
              </p:cNvPr>
              <p:cNvSpPr>
                <a:spLocks noEditPoints="1"/>
              </p:cNvSpPr>
              <p:nvPr/>
            </p:nvSpPr>
            <p:spPr bwMode="auto">
              <a:xfrm>
                <a:off x="1584325" y="2041525"/>
                <a:ext cx="47625" cy="152400"/>
              </a:xfrm>
              <a:custGeom>
                <a:avLst/>
                <a:gdLst>
                  <a:gd name="T0" fmla="*/ 120 w 150"/>
                  <a:gd name="T1" fmla="*/ 450 h 480"/>
                  <a:gd name="T2" fmla="*/ 30 w 150"/>
                  <a:gd name="T3" fmla="*/ 450 h 480"/>
                  <a:gd name="T4" fmla="*/ 30 w 150"/>
                  <a:gd name="T5" fmla="*/ 30 h 480"/>
                  <a:gd name="T6" fmla="*/ 120 w 150"/>
                  <a:gd name="T7" fmla="*/ 30 h 480"/>
                  <a:gd name="T8" fmla="*/ 120 w 150"/>
                  <a:gd name="T9" fmla="*/ 450 h 480"/>
                  <a:gd name="T10" fmla="*/ 135 w 150"/>
                  <a:gd name="T11" fmla="*/ 0 h 480"/>
                  <a:gd name="T12" fmla="*/ 15 w 150"/>
                  <a:gd name="T13" fmla="*/ 0 h 480"/>
                  <a:gd name="T14" fmla="*/ 12 w 150"/>
                  <a:gd name="T15" fmla="*/ 1 h 480"/>
                  <a:gd name="T16" fmla="*/ 8 w 150"/>
                  <a:gd name="T17" fmla="*/ 1 h 480"/>
                  <a:gd name="T18" fmla="*/ 6 w 150"/>
                  <a:gd name="T19" fmla="*/ 3 h 480"/>
                  <a:gd name="T20" fmla="*/ 4 w 150"/>
                  <a:gd name="T21" fmla="*/ 4 h 480"/>
                  <a:gd name="T22" fmla="*/ 2 w 150"/>
                  <a:gd name="T23" fmla="*/ 6 h 480"/>
                  <a:gd name="T24" fmla="*/ 1 w 150"/>
                  <a:gd name="T25" fmla="*/ 9 h 480"/>
                  <a:gd name="T26" fmla="*/ 0 w 150"/>
                  <a:gd name="T27" fmla="*/ 12 h 480"/>
                  <a:gd name="T28" fmla="*/ 0 w 150"/>
                  <a:gd name="T29" fmla="*/ 15 h 480"/>
                  <a:gd name="T30" fmla="*/ 0 w 150"/>
                  <a:gd name="T31" fmla="*/ 465 h 480"/>
                  <a:gd name="T32" fmla="*/ 0 w 150"/>
                  <a:gd name="T33" fmla="*/ 467 h 480"/>
                  <a:gd name="T34" fmla="*/ 1 w 150"/>
                  <a:gd name="T35" fmla="*/ 470 h 480"/>
                  <a:gd name="T36" fmla="*/ 2 w 150"/>
                  <a:gd name="T37" fmla="*/ 472 h 480"/>
                  <a:gd name="T38" fmla="*/ 4 w 150"/>
                  <a:gd name="T39" fmla="*/ 475 h 480"/>
                  <a:gd name="T40" fmla="*/ 6 w 150"/>
                  <a:gd name="T41" fmla="*/ 477 h 480"/>
                  <a:gd name="T42" fmla="*/ 8 w 150"/>
                  <a:gd name="T43" fmla="*/ 479 h 480"/>
                  <a:gd name="T44" fmla="*/ 12 w 150"/>
                  <a:gd name="T45" fmla="*/ 479 h 480"/>
                  <a:gd name="T46" fmla="*/ 15 w 150"/>
                  <a:gd name="T47" fmla="*/ 480 h 480"/>
                  <a:gd name="T48" fmla="*/ 135 w 150"/>
                  <a:gd name="T49" fmla="*/ 480 h 480"/>
                  <a:gd name="T50" fmla="*/ 138 w 150"/>
                  <a:gd name="T51" fmla="*/ 479 h 480"/>
                  <a:gd name="T52" fmla="*/ 140 w 150"/>
                  <a:gd name="T53" fmla="*/ 478 h 480"/>
                  <a:gd name="T54" fmla="*/ 143 w 150"/>
                  <a:gd name="T55" fmla="*/ 477 h 480"/>
                  <a:gd name="T56" fmla="*/ 145 w 150"/>
                  <a:gd name="T57" fmla="*/ 475 h 480"/>
                  <a:gd name="T58" fmla="*/ 146 w 150"/>
                  <a:gd name="T59" fmla="*/ 472 h 480"/>
                  <a:gd name="T60" fmla="*/ 148 w 150"/>
                  <a:gd name="T61" fmla="*/ 470 h 480"/>
                  <a:gd name="T62" fmla="*/ 148 w 150"/>
                  <a:gd name="T63" fmla="*/ 467 h 480"/>
                  <a:gd name="T64" fmla="*/ 150 w 150"/>
                  <a:gd name="T65" fmla="*/ 465 h 480"/>
                  <a:gd name="T66" fmla="*/ 150 w 150"/>
                  <a:gd name="T67" fmla="*/ 15 h 480"/>
                  <a:gd name="T68" fmla="*/ 148 w 150"/>
                  <a:gd name="T69" fmla="*/ 11 h 480"/>
                  <a:gd name="T70" fmla="*/ 148 w 150"/>
                  <a:gd name="T71" fmla="*/ 9 h 480"/>
                  <a:gd name="T72" fmla="*/ 146 w 150"/>
                  <a:gd name="T73" fmla="*/ 6 h 480"/>
                  <a:gd name="T74" fmla="*/ 145 w 150"/>
                  <a:gd name="T75" fmla="*/ 4 h 480"/>
                  <a:gd name="T76" fmla="*/ 143 w 150"/>
                  <a:gd name="T77" fmla="*/ 3 h 480"/>
                  <a:gd name="T78" fmla="*/ 140 w 150"/>
                  <a:gd name="T79" fmla="*/ 1 h 480"/>
                  <a:gd name="T80" fmla="*/ 138 w 150"/>
                  <a:gd name="T81" fmla="*/ 1 h 480"/>
                  <a:gd name="T82" fmla="*/ 135 w 150"/>
                  <a:gd name="T83" fmla="*/ 0 h 480"/>
                  <a:gd name="T84" fmla="*/ 135 w 150"/>
                  <a:gd name="T85"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480">
                    <a:moveTo>
                      <a:pt x="120" y="450"/>
                    </a:moveTo>
                    <a:lnTo>
                      <a:pt x="30" y="450"/>
                    </a:lnTo>
                    <a:lnTo>
                      <a:pt x="30" y="30"/>
                    </a:lnTo>
                    <a:lnTo>
                      <a:pt x="120" y="30"/>
                    </a:lnTo>
                    <a:lnTo>
                      <a:pt x="120" y="450"/>
                    </a:lnTo>
                    <a:close/>
                    <a:moveTo>
                      <a:pt x="135" y="0"/>
                    </a:moveTo>
                    <a:lnTo>
                      <a:pt x="15" y="0"/>
                    </a:lnTo>
                    <a:lnTo>
                      <a:pt x="12" y="1"/>
                    </a:lnTo>
                    <a:lnTo>
                      <a:pt x="8" y="1"/>
                    </a:lnTo>
                    <a:lnTo>
                      <a:pt x="6" y="3"/>
                    </a:lnTo>
                    <a:lnTo>
                      <a:pt x="4" y="4"/>
                    </a:lnTo>
                    <a:lnTo>
                      <a:pt x="2" y="6"/>
                    </a:lnTo>
                    <a:lnTo>
                      <a:pt x="1" y="9"/>
                    </a:lnTo>
                    <a:lnTo>
                      <a:pt x="0" y="12"/>
                    </a:lnTo>
                    <a:lnTo>
                      <a:pt x="0" y="15"/>
                    </a:lnTo>
                    <a:lnTo>
                      <a:pt x="0" y="465"/>
                    </a:lnTo>
                    <a:lnTo>
                      <a:pt x="0" y="467"/>
                    </a:lnTo>
                    <a:lnTo>
                      <a:pt x="1" y="470"/>
                    </a:lnTo>
                    <a:lnTo>
                      <a:pt x="2" y="472"/>
                    </a:lnTo>
                    <a:lnTo>
                      <a:pt x="4" y="475"/>
                    </a:lnTo>
                    <a:lnTo>
                      <a:pt x="6" y="477"/>
                    </a:lnTo>
                    <a:lnTo>
                      <a:pt x="8" y="479"/>
                    </a:lnTo>
                    <a:lnTo>
                      <a:pt x="12" y="479"/>
                    </a:lnTo>
                    <a:lnTo>
                      <a:pt x="15" y="480"/>
                    </a:lnTo>
                    <a:lnTo>
                      <a:pt x="135" y="480"/>
                    </a:lnTo>
                    <a:lnTo>
                      <a:pt x="138" y="479"/>
                    </a:lnTo>
                    <a:lnTo>
                      <a:pt x="140" y="478"/>
                    </a:lnTo>
                    <a:lnTo>
                      <a:pt x="143" y="477"/>
                    </a:lnTo>
                    <a:lnTo>
                      <a:pt x="145" y="475"/>
                    </a:lnTo>
                    <a:lnTo>
                      <a:pt x="146" y="472"/>
                    </a:lnTo>
                    <a:lnTo>
                      <a:pt x="148" y="470"/>
                    </a:lnTo>
                    <a:lnTo>
                      <a:pt x="148" y="467"/>
                    </a:lnTo>
                    <a:lnTo>
                      <a:pt x="150" y="465"/>
                    </a:lnTo>
                    <a:lnTo>
                      <a:pt x="150" y="15"/>
                    </a:lnTo>
                    <a:lnTo>
                      <a:pt x="148" y="11"/>
                    </a:lnTo>
                    <a:lnTo>
                      <a:pt x="148" y="9"/>
                    </a:lnTo>
                    <a:lnTo>
                      <a:pt x="146" y="6"/>
                    </a:lnTo>
                    <a:lnTo>
                      <a:pt x="145" y="4"/>
                    </a:lnTo>
                    <a:lnTo>
                      <a:pt x="143" y="3"/>
                    </a:lnTo>
                    <a:lnTo>
                      <a:pt x="140" y="1"/>
                    </a:lnTo>
                    <a:lnTo>
                      <a:pt x="138" y="1"/>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4">
                <a:extLst>
                  <a:ext uri="{FF2B5EF4-FFF2-40B4-BE49-F238E27FC236}">
                    <a16:creationId xmlns:a16="http://schemas.microsoft.com/office/drawing/2014/main" id="{BE0CBA89-E698-446F-B39B-D7C50F8A001F}"/>
                  </a:ext>
                </a:extLst>
              </p:cNvPr>
              <p:cNvSpPr>
                <a:spLocks noEditPoints="1"/>
              </p:cNvSpPr>
              <p:nvPr/>
            </p:nvSpPr>
            <p:spPr bwMode="auto">
              <a:xfrm>
                <a:off x="1641475" y="2003425"/>
                <a:ext cx="46038" cy="190500"/>
              </a:xfrm>
              <a:custGeom>
                <a:avLst/>
                <a:gdLst>
                  <a:gd name="T0" fmla="*/ 119 w 149"/>
                  <a:gd name="T1" fmla="*/ 570 h 600"/>
                  <a:gd name="T2" fmla="*/ 29 w 149"/>
                  <a:gd name="T3" fmla="*/ 570 h 600"/>
                  <a:gd name="T4" fmla="*/ 29 w 149"/>
                  <a:gd name="T5" fmla="*/ 30 h 600"/>
                  <a:gd name="T6" fmla="*/ 119 w 149"/>
                  <a:gd name="T7" fmla="*/ 30 h 600"/>
                  <a:gd name="T8" fmla="*/ 119 w 149"/>
                  <a:gd name="T9" fmla="*/ 570 h 600"/>
                  <a:gd name="T10" fmla="*/ 134 w 149"/>
                  <a:gd name="T11" fmla="*/ 0 h 600"/>
                  <a:gd name="T12" fmla="*/ 14 w 149"/>
                  <a:gd name="T13" fmla="*/ 0 h 600"/>
                  <a:gd name="T14" fmla="*/ 11 w 149"/>
                  <a:gd name="T15" fmla="*/ 0 h 600"/>
                  <a:gd name="T16" fmla="*/ 8 w 149"/>
                  <a:gd name="T17" fmla="*/ 1 h 600"/>
                  <a:gd name="T18" fmla="*/ 6 w 149"/>
                  <a:gd name="T19" fmla="*/ 3 h 600"/>
                  <a:gd name="T20" fmla="*/ 4 w 149"/>
                  <a:gd name="T21" fmla="*/ 4 h 600"/>
                  <a:gd name="T22" fmla="*/ 2 w 149"/>
                  <a:gd name="T23" fmla="*/ 6 h 600"/>
                  <a:gd name="T24" fmla="*/ 1 w 149"/>
                  <a:gd name="T25" fmla="*/ 9 h 600"/>
                  <a:gd name="T26" fmla="*/ 0 w 149"/>
                  <a:gd name="T27" fmla="*/ 12 h 600"/>
                  <a:gd name="T28" fmla="*/ 0 w 149"/>
                  <a:gd name="T29" fmla="*/ 15 h 600"/>
                  <a:gd name="T30" fmla="*/ 0 w 149"/>
                  <a:gd name="T31" fmla="*/ 585 h 600"/>
                  <a:gd name="T32" fmla="*/ 0 w 149"/>
                  <a:gd name="T33" fmla="*/ 587 h 600"/>
                  <a:gd name="T34" fmla="*/ 1 w 149"/>
                  <a:gd name="T35" fmla="*/ 590 h 600"/>
                  <a:gd name="T36" fmla="*/ 2 w 149"/>
                  <a:gd name="T37" fmla="*/ 592 h 600"/>
                  <a:gd name="T38" fmla="*/ 4 w 149"/>
                  <a:gd name="T39" fmla="*/ 595 h 600"/>
                  <a:gd name="T40" fmla="*/ 6 w 149"/>
                  <a:gd name="T41" fmla="*/ 597 h 600"/>
                  <a:gd name="T42" fmla="*/ 8 w 149"/>
                  <a:gd name="T43" fmla="*/ 599 h 600"/>
                  <a:gd name="T44" fmla="*/ 11 w 149"/>
                  <a:gd name="T45" fmla="*/ 599 h 600"/>
                  <a:gd name="T46" fmla="*/ 14 w 149"/>
                  <a:gd name="T47" fmla="*/ 600 h 600"/>
                  <a:gd name="T48" fmla="*/ 134 w 149"/>
                  <a:gd name="T49" fmla="*/ 600 h 600"/>
                  <a:gd name="T50" fmla="*/ 137 w 149"/>
                  <a:gd name="T51" fmla="*/ 599 h 600"/>
                  <a:gd name="T52" fmla="*/ 140 w 149"/>
                  <a:gd name="T53" fmla="*/ 598 h 600"/>
                  <a:gd name="T54" fmla="*/ 143 w 149"/>
                  <a:gd name="T55" fmla="*/ 597 h 600"/>
                  <a:gd name="T56" fmla="*/ 145 w 149"/>
                  <a:gd name="T57" fmla="*/ 595 h 600"/>
                  <a:gd name="T58" fmla="*/ 147 w 149"/>
                  <a:gd name="T59" fmla="*/ 592 h 600"/>
                  <a:gd name="T60" fmla="*/ 148 w 149"/>
                  <a:gd name="T61" fmla="*/ 590 h 600"/>
                  <a:gd name="T62" fmla="*/ 149 w 149"/>
                  <a:gd name="T63" fmla="*/ 587 h 600"/>
                  <a:gd name="T64" fmla="*/ 149 w 149"/>
                  <a:gd name="T65" fmla="*/ 585 h 600"/>
                  <a:gd name="T66" fmla="*/ 149 w 149"/>
                  <a:gd name="T67" fmla="*/ 15 h 600"/>
                  <a:gd name="T68" fmla="*/ 149 w 149"/>
                  <a:gd name="T69" fmla="*/ 12 h 600"/>
                  <a:gd name="T70" fmla="*/ 148 w 149"/>
                  <a:gd name="T71" fmla="*/ 9 h 600"/>
                  <a:gd name="T72" fmla="*/ 147 w 149"/>
                  <a:gd name="T73" fmla="*/ 6 h 600"/>
                  <a:gd name="T74" fmla="*/ 145 w 149"/>
                  <a:gd name="T75" fmla="*/ 4 h 600"/>
                  <a:gd name="T76" fmla="*/ 143 w 149"/>
                  <a:gd name="T77" fmla="*/ 3 h 600"/>
                  <a:gd name="T78" fmla="*/ 140 w 149"/>
                  <a:gd name="T79" fmla="*/ 1 h 600"/>
                  <a:gd name="T80" fmla="*/ 137 w 149"/>
                  <a:gd name="T81" fmla="*/ 1 h 600"/>
                  <a:gd name="T82" fmla="*/ 134 w 149"/>
                  <a:gd name="T83" fmla="*/ 0 h 600"/>
                  <a:gd name="T84" fmla="*/ 134 w 149"/>
                  <a:gd name="T8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00">
                    <a:moveTo>
                      <a:pt x="119" y="570"/>
                    </a:moveTo>
                    <a:lnTo>
                      <a:pt x="29" y="570"/>
                    </a:lnTo>
                    <a:lnTo>
                      <a:pt x="29" y="30"/>
                    </a:lnTo>
                    <a:lnTo>
                      <a:pt x="119" y="30"/>
                    </a:lnTo>
                    <a:lnTo>
                      <a:pt x="119" y="570"/>
                    </a:lnTo>
                    <a:close/>
                    <a:moveTo>
                      <a:pt x="134" y="0"/>
                    </a:moveTo>
                    <a:lnTo>
                      <a:pt x="14" y="0"/>
                    </a:lnTo>
                    <a:lnTo>
                      <a:pt x="11" y="0"/>
                    </a:lnTo>
                    <a:lnTo>
                      <a:pt x="8" y="1"/>
                    </a:lnTo>
                    <a:lnTo>
                      <a:pt x="6" y="3"/>
                    </a:lnTo>
                    <a:lnTo>
                      <a:pt x="4" y="4"/>
                    </a:lnTo>
                    <a:lnTo>
                      <a:pt x="2" y="6"/>
                    </a:lnTo>
                    <a:lnTo>
                      <a:pt x="1" y="9"/>
                    </a:lnTo>
                    <a:lnTo>
                      <a:pt x="0" y="12"/>
                    </a:lnTo>
                    <a:lnTo>
                      <a:pt x="0" y="15"/>
                    </a:lnTo>
                    <a:lnTo>
                      <a:pt x="0" y="585"/>
                    </a:lnTo>
                    <a:lnTo>
                      <a:pt x="0" y="587"/>
                    </a:lnTo>
                    <a:lnTo>
                      <a:pt x="1" y="590"/>
                    </a:lnTo>
                    <a:lnTo>
                      <a:pt x="2" y="592"/>
                    </a:lnTo>
                    <a:lnTo>
                      <a:pt x="4" y="595"/>
                    </a:lnTo>
                    <a:lnTo>
                      <a:pt x="6" y="597"/>
                    </a:lnTo>
                    <a:lnTo>
                      <a:pt x="8" y="599"/>
                    </a:lnTo>
                    <a:lnTo>
                      <a:pt x="11" y="599"/>
                    </a:lnTo>
                    <a:lnTo>
                      <a:pt x="14" y="600"/>
                    </a:lnTo>
                    <a:lnTo>
                      <a:pt x="134" y="600"/>
                    </a:lnTo>
                    <a:lnTo>
                      <a:pt x="137" y="599"/>
                    </a:lnTo>
                    <a:lnTo>
                      <a:pt x="140" y="598"/>
                    </a:lnTo>
                    <a:lnTo>
                      <a:pt x="143" y="597"/>
                    </a:lnTo>
                    <a:lnTo>
                      <a:pt x="145" y="595"/>
                    </a:lnTo>
                    <a:lnTo>
                      <a:pt x="147" y="592"/>
                    </a:lnTo>
                    <a:lnTo>
                      <a:pt x="148" y="590"/>
                    </a:lnTo>
                    <a:lnTo>
                      <a:pt x="149" y="587"/>
                    </a:lnTo>
                    <a:lnTo>
                      <a:pt x="149" y="585"/>
                    </a:lnTo>
                    <a:lnTo>
                      <a:pt x="149" y="15"/>
                    </a:lnTo>
                    <a:lnTo>
                      <a:pt x="149" y="12"/>
                    </a:lnTo>
                    <a:lnTo>
                      <a:pt x="148" y="9"/>
                    </a:lnTo>
                    <a:lnTo>
                      <a:pt x="147" y="6"/>
                    </a:lnTo>
                    <a:lnTo>
                      <a:pt x="145" y="4"/>
                    </a:lnTo>
                    <a:lnTo>
                      <a:pt x="143" y="3"/>
                    </a:lnTo>
                    <a:lnTo>
                      <a:pt x="140" y="1"/>
                    </a:lnTo>
                    <a:lnTo>
                      <a:pt x="137"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5">
                <a:extLst>
                  <a:ext uri="{FF2B5EF4-FFF2-40B4-BE49-F238E27FC236}">
                    <a16:creationId xmlns:a16="http://schemas.microsoft.com/office/drawing/2014/main" id="{D8055737-9358-4AAB-BFF7-99266FF13CD2}"/>
                  </a:ext>
                </a:extLst>
              </p:cNvPr>
              <p:cNvSpPr>
                <a:spLocks noEditPoints="1"/>
              </p:cNvSpPr>
              <p:nvPr/>
            </p:nvSpPr>
            <p:spPr bwMode="auto">
              <a:xfrm>
                <a:off x="1697038" y="1965325"/>
                <a:ext cx="47625" cy="228600"/>
              </a:xfrm>
              <a:custGeom>
                <a:avLst/>
                <a:gdLst>
                  <a:gd name="T0" fmla="*/ 120 w 150"/>
                  <a:gd name="T1" fmla="*/ 690 h 720"/>
                  <a:gd name="T2" fmla="*/ 30 w 150"/>
                  <a:gd name="T3" fmla="*/ 690 h 720"/>
                  <a:gd name="T4" fmla="*/ 30 w 150"/>
                  <a:gd name="T5" fmla="*/ 30 h 720"/>
                  <a:gd name="T6" fmla="*/ 120 w 150"/>
                  <a:gd name="T7" fmla="*/ 30 h 720"/>
                  <a:gd name="T8" fmla="*/ 120 w 150"/>
                  <a:gd name="T9" fmla="*/ 690 h 720"/>
                  <a:gd name="T10" fmla="*/ 135 w 150"/>
                  <a:gd name="T11" fmla="*/ 0 h 720"/>
                  <a:gd name="T12" fmla="*/ 15 w 150"/>
                  <a:gd name="T13" fmla="*/ 0 h 720"/>
                  <a:gd name="T14" fmla="*/ 12 w 150"/>
                  <a:gd name="T15" fmla="*/ 0 h 720"/>
                  <a:gd name="T16" fmla="*/ 9 w 150"/>
                  <a:gd name="T17" fmla="*/ 1 h 720"/>
                  <a:gd name="T18" fmla="*/ 7 w 150"/>
                  <a:gd name="T19" fmla="*/ 3 h 720"/>
                  <a:gd name="T20" fmla="*/ 4 w 150"/>
                  <a:gd name="T21" fmla="*/ 4 h 720"/>
                  <a:gd name="T22" fmla="*/ 2 w 150"/>
                  <a:gd name="T23" fmla="*/ 6 h 720"/>
                  <a:gd name="T24" fmla="*/ 1 w 150"/>
                  <a:gd name="T25" fmla="*/ 10 h 720"/>
                  <a:gd name="T26" fmla="*/ 0 w 150"/>
                  <a:gd name="T27" fmla="*/ 12 h 720"/>
                  <a:gd name="T28" fmla="*/ 0 w 150"/>
                  <a:gd name="T29" fmla="*/ 15 h 720"/>
                  <a:gd name="T30" fmla="*/ 0 w 150"/>
                  <a:gd name="T31" fmla="*/ 705 h 720"/>
                  <a:gd name="T32" fmla="*/ 0 w 150"/>
                  <a:gd name="T33" fmla="*/ 707 h 720"/>
                  <a:gd name="T34" fmla="*/ 1 w 150"/>
                  <a:gd name="T35" fmla="*/ 710 h 720"/>
                  <a:gd name="T36" fmla="*/ 2 w 150"/>
                  <a:gd name="T37" fmla="*/ 712 h 720"/>
                  <a:gd name="T38" fmla="*/ 4 w 150"/>
                  <a:gd name="T39" fmla="*/ 715 h 720"/>
                  <a:gd name="T40" fmla="*/ 7 w 150"/>
                  <a:gd name="T41" fmla="*/ 717 h 720"/>
                  <a:gd name="T42" fmla="*/ 9 w 150"/>
                  <a:gd name="T43" fmla="*/ 719 h 720"/>
                  <a:gd name="T44" fmla="*/ 12 w 150"/>
                  <a:gd name="T45" fmla="*/ 719 h 720"/>
                  <a:gd name="T46" fmla="*/ 15 w 150"/>
                  <a:gd name="T47" fmla="*/ 720 h 720"/>
                  <a:gd name="T48" fmla="*/ 135 w 150"/>
                  <a:gd name="T49" fmla="*/ 720 h 720"/>
                  <a:gd name="T50" fmla="*/ 138 w 150"/>
                  <a:gd name="T51" fmla="*/ 719 h 720"/>
                  <a:gd name="T52" fmla="*/ 140 w 150"/>
                  <a:gd name="T53" fmla="*/ 718 h 720"/>
                  <a:gd name="T54" fmla="*/ 144 w 150"/>
                  <a:gd name="T55" fmla="*/ 717 h 720"/>
                  <a:gd name="T56" fmla="*/ 146 w 150"/>
                  <a:gd name="T57" fmla="*/ 715 h 720"/>
                  <a:gd name="T58" fmla="*/ 148 w 150"/>
                  <a:gd name="T59" fmla="*/ 712 h 720"/>
                  <a:gd name="T60" fmla="*/ 149 w 150"/>
                  <a:gd name="T61" fmla="*/ 710 h 720"/>
                  <a:gd name="T62" fmla="*/ 150 w 150"/>
                  <a:gd name="T63" fmla="*/ 707 h 720"/>
                  <a:gd name="T64" fmla="*/ 150 w 150"/>
                  <a:gd name="T65" fmla="*/ 705 h 720"/>
                  <a:gd name="T66" fmla="*/ 150 w 150"/>
                  <a:gd name="T67" fmla="*/ 15 h 720"/>
                  <a:gd name="T68" fmla="*/ 150 w 150"/>
                  <a:gd name="T69" fmla="*/ 12 h 720"/>
                  <a:gd name="T70" fmla="*/ 149 w 150"/>
                  <a:gd name="T71" fmla="*/ 10 h 720"/>
                  <a:gd name="T72" fmla="*/ 148 w 150"/>
                  <a:gd name="T73" fmla="*/ 6 h 720"/>
                  <a:gd name="T74" fmla="*/ 146 w 150"/>
                  <a:gd name="T75" fmla="*/ 4 h 720"/>
                  <a:gd name="T76" fmla="*/ 144 w 150"/>
                  <a:gd name="T77" fmla="*/ 3 h 720"/>
                  <a:gd name="T78" fmla="*/ 140 w 150"/>
                  <a:gd name="T79" fmla="*/ 1 h 720"/>
                  <a:gd name="T80" fmla="*/ 138 w 150"/>
                  <a:gd name="T81" fmla="*/ 0 h 720"/>
                  <a:gd name="T82" fmla="*/ 135 w 150"/>
                  <a:gd name="T83" fmla="*/ 0 h 720"/>
                  <a:gd name="T84" fmla="*/ 135 w 150"/>
                  <a:gd name="T8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20">
                    <a:moveTo>
                      <a:pt x="120" y="690"/>
                    </a:moveTo>
                    <a:lnTo>
                      <a:pt x="30" y="690"/>
                    </a:lnTo>
                    <a:lnTo>
                      <a:pt x="30" y="30"/>
                    </a:lnTo>
                    <a:lnTo>
                      <a:pt x="120" y="30"/>
                    </a:lnTo>
                    <a:lnTo>
                      <a:pt x="120" y="690"/>
                    </a:lnTo>
                    <a:close/>
                    <a:moveTo>
                      <a:pt x="135" y="0"/>
                    </a:moveTo>
                    <a:lnTo>
                      <a:pt x="15" y="0"/>
                    </a:lnTo>
                    <a:lnTo>
                      <a:pt x="12" y="0"/>
                    </a:lnTo>
                    <a:lnTo>
                      <a:pt x="9" y="1"/>
                    </a:lnTo>
                    <a:lnTo>
                      <a:pt x="7" y="3"/>
                    </a:lnTo>
                    <a:lnTo>
                      <a:pt x="4" y="4"/>
                    </a:lnTo>
                    <a:lnTo>
                      <a:pt x="2" y="6"/>
                    </a:lnTo>
                    <a:lnTo>
                      <a:pt x="1" y="10"/>
                    </a:lnTo>
                    <a:lnTo>
                      <a:pt x="0" y="12"/>
                    </a:lnTo>
                    <a:lnTo>
                      <a:pt x="0" y="15"/>
                    </a:lnTo>
                    <a:lnTo>
                      <a:pt x="0" y="705"/>
                    </a:lnTo>
                    <a:lnTo>
                      <a:pt x="0" y="707"/>
                    </a:lnTo>
                    <a:lnTo>
                      <a:pt x="1" y="710"/>
                    </a:lnTo>
                    <a:lnTo>
                      <a:pt x="2" y="712"/>
                    </a:lnTo>
                    <a:lnTo>
                      <a:pt x="4" y="715"/>
                    </a:lnTo>
                    <a:lnTo>
                      <a:pt x="7" y="717"/>
                    </a:lnTo>
                    <a:lnTo>
                      <a:pt x="9" y="719"/>
                    </a:lnTo>
                    <a:lnTo>
                      <a:pt x="12" y="719"/>
                    </a:lnTo>
                    <a:lnTo>
                      <a:pt x="15" y="720"/>
                    </a:lnTo>
                    <a:lnTo>
                      <a:pt x="135" y="720"/>
                    </a:lnTo>
                    <a:lnTo>
                      <a:pt x="138" y="719"/>
                    </a:lnTo>
                    <a:lnTo>
                      <a:pt x="140" y="718"/>
                    </a:lnTo>
                    <a:lnTo>
                      <a:pt x="144" y="717"/>
                    </a:lnTo>
                    <a:lnTo>
                      <a:pt x="146" y="715"/>
                    </a:lnTo>
                    <a:lnTo>
                      <a:pt x="148" y="712"/>
                    </a:lnTo>
                    <a:lnTo>
                      <a:pt x="149" y="710"/>
                    </a:lnTo>
                    <a:lnTo>
                      <a:pt x="150" y="707"/>
                    </a:lnTo>
                    <a:lnTo>
                      <a:pt x="150" y="705"/>
                    </a:lnTo>
                    <a:lnTo>
                      <a:pt x="150" y="15"/>
                    </a:lnTo>
                    <a:lnTo>
                      <a:pt x="150" y="12"/>
                    </a:lnTo>
                    <a:lnTo>
                      <a:pt x="149" y="10"/>
                    </a:lnTo>
                    <a:lnTo>
                      <a:pt x="148" y="6"/>
                    </a:lnTo>
                    <a:lnTo>
                      <a:pt x="146" y="4"/>
                    </a:lnTo>
                    <a:lnTo>
                      <a:pt x="144" y="3"/>
                    </a:lnTo>
                    <a:lnTo>
                      <a:pt x="140" y="1"/>
                    </a:lnTo>
                    <a:lnTo>
                      <a:pt x="138"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uppieren 7">
            <a:extLst>
              <a:ext uri="{FF2B5EF4-FFF2-40B4-BE49-F238E27FC236}">
                <a16:creationId xmlns:a16="http://schemas.microsoft.com/office/drawing/2014/main" id="{402CCA84-0BF4-4D6D-88A0-CD1D81154413}"/>
              </a:ext>
            </a:extLst>
          </p:cNvPr>
          <p:cNvGrpSpPr/>
          <p:nvPr/>
        </p:nvGrpSpPr>
        <p:grpSpPr>
          <a:xfrm>
            <a:off x="3208677" y="1627200"/>
            <a:ext cx="1080000" cy="1080000"/>
            <a:chOff x="2601574" y="1275080"/>
            <a:chExt cx="1080000" cy="1080000"/>
          </a:xfrm>
        </p:grpSpPr>
        <p:sp>
          <p:nvSpPr>
            <p:cNvPr id="13" name="Sechseck 1">
              <a:extLst>
                <a:ext uri="{FF2B5EF4-FFF2-40B4-BE49-F238E27FC236}">
                  <a16:creationId xmlns:a16="http://schemas.microsoft.com/office/drawing/2014/main" id="{0946BAA3-376B-4CCD-9E52-9E57ECD16A63}"/>
                </a:ext>
              </a:extLst>
            </p:cNvPr>
            <p:cNvSpPr/>
            <p:nvPr/>
          </p:nvSpPr>
          <p:spPr>
            <a:xfrm>
              <a:off x="2601574"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33" name="Group 69">
              <a:extLst>
                <a:ext uri="{FF2B5EF4-FFF2-40B4-BE49-F238E27FC236}">
                  <a16:creationId xmlns:a16="http://schemas.microsoft.com/office/drawing/2014/main" id="{10E9A6E2-C86B-4474-9C40-E9BB77C4A674}"/>
                </a:ext>
              </a:extLst>
            </p:cNvPr>
            <p:cNvGrpSpPr>
              <a:grpSpLocks noChangeAspect="1"/>
            </p:cNvGrpSpPr>
            <p:nvPr/>
          </p:nvGrpSpPr>
          <p:grpSpPr>
            <a:xfrm>
              <a:off x="2870358" y="1543864"/>
              <a:ext cx="542432" cy="542432"/>
              <a:chOff x="8094663" y="4038600"/>
              <a:chExt cx="1136650" cy="1136650"/>
            </a:xfrm>
            <a:solidFill>
              <a:schemeClr val="accent3"/>
            </a:solidFill>
            <a:effectLst/>
          </p:grpSpPr>
          <p:sp>
            <p:nvSpPr>
              <p:cNvPr id="34" name="Freeform 39">
                <a:extLst>
                  <a:ext uri="{FF2B5EF4-FFF2-40B4-BE49-F238E27FC236}">
                    <a16:creationId xmlns:a16="http://schemas.microsoft.com/office/drawing/2014/main" id="{176D0415-BF16-4FCD-8D69-D08590E9449A}"/>
                  </a:ext>
                </a:extLst>
              </p:cNvPr>
              <p:cNvSpPr>
                <a:spLocks/>
              </p:cNvSpPr>
              <p:nvPr/>
            </p:nvSpPr>
            <p:spPr bwMode="auto">
              <a:xfrm>
                <a:off x="8499475" y="4845050"/>
                <a:ext cx="214313" cy="330200"/>
              </a:xfrm>
              <a:custGeom>
                <a:avLst/>
                <a:gdLst>
                  <a:gd name="T0" fmla="*/ 39 w 405"/>
                  <a:gd name="T1" fmla="*/ 624 h 624"/>
                  <a:gd name="T2" fmla="*/ 32 w 405"/>
                  <a:gd name="T3" fmla="*/ 623 h 624"/>
                  <a:gd name="T4" fmla="*/ 25 w 405"/>
                  <a:gd name="T5" fmla="*/ 621 h 624"/>
                  <a:gd name="T6" fmla="*/ 19 w 405"/>
                  <a:gd name="T7" fmla="*/ 619 h 624"/>
                  <a:gd name="T8" fmla="*/ 14 w 405"/>
                  <a:gd name="T9" fmla="*/ 615 h 624"/>
                  <a:gd name="T10" fmla="*/ 11 w 405"/>
                  <a:gd name="T11" fmla="*/ 611 h 624"/>
                  <a:gd name="T12" fmla="*/ 7 w 405"/>
                  <a:gd name="T13" fmla="*/ 607 h 624"/>
                  <a:gd name="T14" fmla="*/ 4 w 405"/>
                  <a:gd name="T15" fmla="*/ 602 h 624"/>
                  <a:gd name="T16" fmla="*/ 2 w 405"/>
                  <a:gd name="T17" fmla="*/ 596 h 624"/>
                  <a:gd name="T18" fmla="*/ 1 w 405"/>
                  <a:gd name="T19" fmla="*/ 591 h 624"/>
                  <a:gd name="T20" fmla="*/ 0 w 405"/>
                  <a:gd name="T21" fmla="*/ 586 h 624"/>
                  <a:gd name="T22" fmla="*/ 0 w 405"/>
                  <a:gd name="T23" fmla="*/ 227 h 624"/>
                  <a:gd name="T24" fmla="*/ 1 w 405"/>
                  <a:gd name="T25" fmla="*/ 219 h 624"/>
                  <a:gd name="T26" fmla="*/ 3 w 405"/>
                  <a:gd name="T27" fmla="*/ 212 h 624"/>
                  <a:gd name="T28" fmla="*/ 7 w 405"/>
                  <a:gd name="T29" fmla="*/ 205 h 624"/>
                  <a:gd name="T30" fmla="*/ 12 w 405"/>
                  <a:gd name="T31" fmla="*/ 199 h 624"/>
                  <a:gd name="T32" fmla="*/ 17 w 405"/>
                  <a:gd name="T33" fmla="*/ 195 h 624"/>
                  <a:gd name="T34" fmla="*/ 24 w 405"/>
                  <a:gd name="T35" fmla="*/ 191 h 624"/>
                  <a:gd name="T36" fmla="*/ 31 w 405"/>
                  <a:gd name="T37" fmla="*/ 188 h 624"/>
                  <a:gd name="T38" fmla="*/ 39 w 405"/>
                  <a:gd name="T39" fmla="*/ 188 h 624"/>
                  <a:gd name="T40" fmla="*/ 47 w 405"/>
                  <a:gd name="T41" fmla="*/ 188 h 624"/>
                  <a:gd name="T42" fmla="*/ 54 w 405"/>
                  <a:gd name="T43" fmla="*/ 191 h 624"/>
                  <a:gd name="T44" fmla="*/ 61 w 405"/>
                  <a:gd name="T45" fmla="*/ 195 h 624"/>
                  <a:gd name="T46" fmla="*/ 66 w 405"/>
                  <a:gd name="T47" fmla="*/ 199 h 624"/>
                  <a:gd name="T48" fmla="*/ 71 w 405"/>
                  <a:gd name="T49" fmla="*/ 205 h 624"/>
                  <a:gd name="T50" fmla="*/ 75 w 405"/>
                  <a:gd name="T51" fmla="*/ 212 h 624"/>
                  <a:gd name="T52" fmla="*/ 77 w 405"/>
                  <a:gd name="T53" fmla="*/ 219 h 624"/>
                  <a:gd name="T54" fmla="*/ 78 w 405"/>
                  <a:gd name="T55" fmla="*/ 227 h 624"/>
                  <a:gd name="T56" fmla="*/ 78 w 405"/>
                  <a:gd name="T57" fmla="*/ 492 h 624"/>
                  <a:gd name="T58" fmla="*/ 303 w 405"/>
                  <a:gd name="T59" fmla="*/ 267 h 624"/>
                  <a:gd name="T60" fmla="*/ 329 w 405"/>
                  <a:gd name="T61" fmla="*/ 34 h 624"/>
                  <a:gd name="T62" fmla="*/ 331 w 405"/>
                  <a:gd name="T63" fmla="*/ 27 h 624"/>
                  <a:gd name="T64" fmla="*/ 333 w 405"/>
                  <a:gd name="T65" fmla="*/ 20 h 624"/>
                  <a:gd name="T66" fmla="*/ 338 w 405"/>
                  <a:gd name="T67" fmla="*/ 14 h 624"/>
                  <a:gd name="T68" fmla="*/ 343 w 405"/>
                  <a:gd name="T69" fmla="*/ 9 h 624"/>
                  <a:gd name="T70" fmla="*/ 349 w 405"/>
                  <a:gd name="T71" fmla="*/ 4 h 624"/>
                  <a:gd name="T72" fmla="*/ 356 w 405"/>
                  <a:gd name="T73" fmla="*/ 2 h 624"/>
                  <a:gd name="T74" fmla="*/ 364 w 405"/>
                  <a:gd name="T75" fmla="*/ 0 h 624"/>
                  <a:gd name="T76" fmla="*/ 371 w 405"/>
                  <a:gd name="T77" fmla="*/ 0 h 624"/>
                  <a:gd name="T78" fmla="*/ 378 w 405"/>
                  <a:gd name="T79" fmla="*/ 2 h 624"/>
                  <a:gd name="T80" fmla="*/ 386 w 405"/>
                  <a:gd name="T81" fmla="*/ 5 h 624"/>
                  <a:gd name="T82" fmla="*/ 392 w 405"/>
                  <a:gd name="T83" fmla="*/ 10 h 624"/>
                  <a:gd name="T84" fmla="*/ 398 w 405"/>
                  <a:gd name="T85" fmla="*/ 15 h 624"/>
                  <a:gd name="T86" fmla="*/ 401 w 405"/>
                  <a:gd name="T87" fmla="*/ 21 h 624"/>
                  <a:gd name="T88" fmla="*/ 404 w 405"/>
                  <a:gd name="T89" fmla="*/ 28 h 624"/>
                  <a:gd name="T90" fmla="*/ 405 w 405"/>
                  <a:gd name="T91" fmla="*/ 35 h 624"/>
                  <a:gd name="T92" fmla="*/ 405 w 405"/>
                  <a:gd name="T93" fmla="*/ 43 h 624"/>
                  <a:gd name="T94" fmla="*/ 378 w 405"/>
                  <a:gd name="T95" fmla="*/ 289 h 624"/>
                  <a:gd name="T96" fmla="*/ 376 w 405"/>
                  <a:gd name="T97" fmla="*/ 296 h 624"/>
                  <a:gd name="T98" fmla="*/ 374 w 405"/>
                  <a:gd name="T99" fmla="*/ 302 h 624"/>
                  <a:gd name="T100" fmla="*/ 371 w 405"/>
                  <a:gd name="T101" fmla="*/ 307 h 624"/>
                  <a:gd name="T102" fmla="*/ 367 w 405"/>
                  <a:gd name="T103" fmla="*/ 313 h 624"/>
                  <a:gd name="T104" fmla="*/ 66 w 405"/>
                  <a:gd name="T105" fmla="*/ 612 h 624"/>
                  <a:gd name="T106" fmla="*/ 61 w 405"/>
                  <a:gd name="T107" fmla="*/ 618 h 624"/>
                  <a:gd name="T108" fmla="*/ 53 w 405"/>
                  <a:gd name="T109" fmla="*/ 621 h 624"/>
                  <a:gd name="T110" fmla="*/ 47 w 405"/>
                  <a:gd name="T111" fmla="*/ 623 h 624"/>
                  <a:gd name="T112" fmla="*/ 39 w 405"/>
                  <a:gd name="T113"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624">
                    <a:moveTo>
                      <a:pt x="39" y="624"/>
                    </a:moveTo>
                    <a:lnTo>
                      <a:pt x="32" y="623"/>
                    </a:lnTo>
                    <a:lnTo>
                      <a:pt x="25" y="621"/>
                    </a:lnTo>
                    <a:lnTo>
                      <a:pt x="19" y="619"/>
                    </a:lnTo>
                    <a:lnTo>
                      <a:pt x="14" y="615"/>
                    </a:lnTo>
                    <a:lnTo>
                      <a:pt x="11" y="611"/>
                    </a:lnTo>
                    <a:lnTo>
                      <a:pt x="7" y="607"/>
                    </a:lnTo>
                    <a:lnTo>
                      <a:pt x="4" y="602"/>
                    </a:lnTo>
                    <a:lnTo>
                      <a:pt x="2" y="596"/>
                    </a:lnTo>
                    <a:lnTo>
                      <a:pt x="1" y="591"/>
                    </a:lnTo>
                    <a:lnTo>
                      <a:pt x="0" y="586"/>
                    </a:lnTo>
                    <a:lnTo>
                      <a:pt x="0" y="227"/>
                    </a:lnTo>
                    <a:lnTo>
                      <a:pt x="1" y="219"/>
                    </a:lnTo>
                    <a:lnTo>
                      <a:pt x="3" y="212"/>
                    </a:lnTo>
                    <a:lnTo>
                      <a:pt x="7" y="205"/>
                    </a:lnTo>
                    <a:lnTo>
                      <a:pt x="12" y="199"/>
                    </a:lnTo>
                    <a:lnTo>
                      <a:pt x="17" y="195"/>
                    </a:lnTo>
                    <a:lnTo>
                      <a:pt x="24" y="191"/>
                    </a:lnTo>
                    <a:lnTo>
                      <a:pt x="31" y="188"/>
                    </a:lnTo>
                    <a:lnTo>
                      <a:pt x="39" y="188"/>
                    </a:lnTo>
                    <a:lnTo>
                      <a:pt x="47" y="188"/>
                    </a:lnTo>
                    <a:lnTo>
                      <a:pt x="54" y="191"/>
                    </a:lnTo>
                    <a:lnTo>
                      <a:pt x="61" y="195"/>
                    </a:lnTo>
                    <a:lnTo>
                      <a:pt x="66" y="199"/>
                    </a:lnTo>
                    <a:lnTo>
                      <a:pt x="71" y="205"/>
                    </a:lnTo>
                    <a:lnTo>
                      <a:pt x="75" y="212"/>
                    </a:lnTo>
                    <a:lnTo>
                      <a:pt x="77" y="219"/>
                    </a:lnTo>
                    <a:lnTo>
                      <a:pt x="78" y="227"/>
                    </a:lnTo>
                    <a:lnTo>
                      <a:pt x="78" y="492"/>
                    </a:lnTo>
                    <a:lnTo>
                      <a:pt x="303" y="267"/>
                    </a:lnTo>
                    <a:lnTo>
                      <a:pt x="329" y="34"/>
                    </a:lnTo>
                    <a:lnTo>
                      <a:pt x="331" y="27"/>
                    </a:lnTo>
                    <a:lnTo>
                      <a:pt x="333" y="20"/>
                    </a:lnTo>
                    <a:lnTo>
                      <a:pt x="338" y="14"/>
                    </a:lnTo>
                    <a:lnTo>
                      <a:pt x="343" y="9"/>
                    </a:lnTo>
                    <a:lnTo>
                      <a:pt x="349" y="4"/>
                    </a:lnTo>
                    <a:lnTo>
                      <a:pt x="356" y="2"/>
                    </a:lnTo>
                    <a:lnTo>
                      <a:pt x="364" y="0"/>
                    </a:lnTo>
                    <a:lnTo>
                      <a:pt x="371" y="0"/>
                    </a:lnTo>
                    <a:lnTo>
                      <a:pt x="378" y="2"/>
                    </a:lnTo>
                    <a:lnTo>
                      <a:pt x="386" y="5"/>
                    </a:lnTo>
                    <a:lnTo>
                      <a:pt x="392" y="10"/>
                    </a:lnTo>
                    <a:lnTo>
                      <a:pt x="398" y="15"/>
                    </a:lnTo>
                    <a:lnTo>
                      <a:pt x="401" y="21"/>
                    </a:lnTo>
                    <a:lnTo>
                      <a:pt x="404" y="28"/>
                    </a:lnTo>
                    <a:lnTo>
                      <a:pt x="405" y="35"/>
                    </a:lnTo>
                    <a:lnTo>
                      <a:pt x="405" y="43"/>
                    </a:lnTo>
                    <a:lnTo>
                      <a:pt x="378" y="289"/>
                    </a:lnTo>
                    <a:lnTo>
                      <a:pt x="376" y="296"/>
                    </a:lnTo>
                    <a:lnTo>
                      <a:pt x="374" y="302"/>
                    </a:lnTo>
                    <a:lnTo>
                      <a:pt x="371" y="307"/>
                    </a:lnTo>
                    <a:lnTo>
                      <a:pt x="367" y="313"/>
                    </a:lnTo>
                    <a:lnTo>
                      <a:pt x="66" y="612"/>
                    </a:lnTo>
                    <a:lnTo>
                      <a:pt x="61" y="618"/>
                    </a:lnTo>
                    <a:lnTo>
                      <a:pt x="53" y="621"/>
                    </a:lnTo>
                    <a:lnTo>
                      <a:pt x="47" y="623"/>
                    </a:lnTo>
                    <a:lnTo>
                      <a:pt x="39" y="6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0">
                <a:extLst>
                  <a:ext uri="{FF2B5EF4-FFF2-40B4-BE49-F238E27FC236}">
                    <a16:creationId xmlns:a16="http://schemas.microsoft.com/office/drawing/2014/main" id="{8CCE5F60-B066-4405-8959-415A3D0273FE}"/>
                  </a:ext>
                </a:extLst>
              </p:cNvPr>
              <p:cNvSpPr>
                <a:spLocks/>
              </p:cNvSpPr>
              <p:nvPr/>
            </p:nvSpPr>
            <p:spPr bwMode="auto">
              <a:xfrm>
                <a:off x="8094663" y="4556125"/>
                <a:ext cx="330200" cy="214313"/>
              </a:xfrm>
              <a:custGeom>
                <a:avLst/>
                <a:gdLst>
                  <a:gd name="T0" fmla="*/ 406 w 624"/>
                  <a:gd name="T1" fmla="*/ 405 h 405"/>
                  <a:gd name="T2" fmla="*/ 39 w 624"/>
                  <a:gd name="T3" fmla="*/ 405 h 405"/>
                  <a:gd name="T4" fmla="*/ 33 w 624"/>
                  <a:gd name="T5" fmla="*/ 405 h 405"/>
                  <a:gd name="T6" fmla="*/ 28 w 624"/>
                  <a:gd name="T7" fmla="*/ 403 h 405"/>
                  <a:gd name="T8" fmla="*/ 22 w 624"/>
                  <a:gd name="T9" fmla="*/ 402 h 405"/>
                  <a:gd name="T10" fmla="*/ 17 w 624"/>
                  <a:gd name="T11" fmla="*/ 398 h 405"/>
                  <a:gd name="T12" fmla="*/ 13 w 624"/>
                  <a:gd name="T13" fmla="*/ 395 h 405"/>
                  <a:gd name="T14" fmla="*/ 10 w 624"/>
                  <a:gd name="T15" fmla="*/ 391 h 405"/>
                  <a:gd name="T16" fmla="*/ 6 w 624"/>
                  <a:gd name="T17" fmla="*/ 386 h 405"/>
                  <a:gd name="T18" fmla="*/ 3 w 624"/>
                  <a:gd name="T19" fmla="*/ 381 h 405"/>
                  <a:gd name="T20" fmla="*/ 1 w 624"/>
                  <a:gd name="T21" fmla="*/ 375 h 405"/>
                  <a:gd name="T22" fmla="*/ 0 w 624"/>
                  <a:gd name="T23" fmla="*/ 370 h 405"/>
                  <a:gd name="T24" fmla="*/ 0 w 624"/>
                  <a:gd name="T25" fmla="*/ 364 h 405"/>
                  <a:gd name="T26" fmla="*/ 1 w 624"/>
                  <a:gd name="T27" fmla="*/ 359 h 405"/>
                  <a:gd name="T28" fmla="*/ 2 w 624"/>
                  <a:gd name="T29" fmla="*/ 354 h 405"/>
                  <a:gd name="T30" fmla="*/ 5 w 624"/>
                  <a:gd name="T31" fmla="*/ 348 h 405"/>
                  <a:gd name="T32" fmla="*/ 7 w 624"/>
                  <a:gd name="T33" fmla="*/ 343 h 405"/>
                  <a:gd name="T34" fmla="*/ 12 w 624"/>
                  <a:gd name="T35" fmla="*/ 339 h 405"/>
                  <a:gd name="T36" fmla="*/ 312 w 624"/>
                  <a:gd name="T37" fmla="*/ 38 h 405"/>
                  <a:gd name="T38" fmla="*/ 317 w 624"/>
                  <a:gd name="T39" fmla="*/ 34 h 405"/>
                  <a:gd name="T40" fmla="*/ 323 w 624"/>
                  <a:gd name="T41" fmla="*/ 31 h 405"/>
                  <a:gd name="T42" fmla="*/ 328 w 624"/>
                  <a:gd name="T43" fmla="*/ 29 h 405"/>
                  <a:gd name="T44" fmla="*/ 336 w 624"/>
                  <a:gd name="T45" fmla="*/ 27 h 405"/>
                  <a:gd name="T46" fmla="*/ 581 w 624"/>
                  <a:gd name="T47" fmla="*/ 0 h 405"/>
                  <a:gd name="T48" fmla="*/ 589 w 624"/>
                  <a:gd name="T49" fmla="*/ 0 h 405"/>
                  <a:gd name="T50" fmla="*/ 596 w 624"/>
                  <a:gd name="T51" fmla="*/ 1 h 405"/>
                  <a:gd name="T52" fmla="*/ 604 w 624"/>
                  <a:gd name="T53" fmla="*/ 4 h 405"/>
                  <a:gd name="T54" fmla="*/ 610 w 624"/>
                  <a:gd name="T55" fmla="*/ 8 h 405"/>
                  <a:gd name="T56" fmla="*/ 615 w 624"/>
                  <a:gd name="T57" fmla="*/ 14 h 405"/>
                  <a:gd name="T58" fmla="*/ 620 w 624"/>
                  <a:gd name="T59" fmla="*/ 19 h 405"/>
                  <a:gd name="T60" fmla="*/ 623 w 624"/>
                  <a:gd name="T61" fmla="*/ 26 h 405"/>
                  <a:gd name="T62" fmla="*/ 624 w 624"/>
                  <a:gd name="T63" fmla="*/ 34 h 405"/>
                  <a:gd name="T64" fmla="*/ 624 w 624"/>
                  <a:gd name="T65" fmla="*/ 41 h 405"/>
                  <a:gd name="T66" fmla="*/ 623 w 624"/>
                  <a:gd name="T67" fmla="*/ 50 h 405"/>
                  <a:gd name="T68" fmla="*/ 620 w 624"/>
                  <a:gd name="T69" fmla="*/ 56 h 405"/>
                  <a:gd name="T70" fmla="*/ 615 w 624"/>
                  <a:gd name="T71" fmla="*/ 63 h 405"/>
                  <a:gd name="T72" fmla="*/ 610 w 624"/>
                  <a:gd name="T73" fmla="*/ 68 h 405"/>
                  <a:gd name="T74" fmla="*/ 605 w 624"/>
                  <a:gd name="T75" fmla="*/ 72 h 405"/>
                  <a:gd name="T76" fmla="*/ 597 w 624"/>
                  <a:gd name="T77" fmla="*/ 75 h 405"/>
                  <a:gd name="T78" fmla="*/ 590 w 624"/>
                  <a:gd name="T79" fmla="*/ 76 h 405"/>
                  <a:gd name="T80" fmla="*/ 357 w 624"/>
                  <a:gd name="T81" fmla="*/ 103 h 405"/>
                  <a:gd name="T82" fmla="*/ 132 w 624"/>
                  <a:gd name="T83" fmla="*/ 327 h 405"/>
                  <a:gd name="T84" fmla="*/ 406 w 624"/>
                  <a:gd name="T85" fmla="*/ 327 h 405"/>
                  <a:gd name="T86" fmla="*/ 413 w 624"/>
                  <a:gd name="T87" fmla="*/ 328 h 405"/>
                  <a:gd name="T88" fmla="*/ 421 w 624"/>
                  <a:gd name="T89" fmla="*/ 330 h 405"/>
                  <a:gd name="T90" fmla="*/ 427 w 624"/>
                  <a:gd name="T91" fmla="*/ 335 h 405"/>
                  <a:gd name="T92" fmla="*/ 432 w 624"/>
                  <a:gd name="T93" fmla="*/ 339 h 405"/>
                  <a:gd name="T94" fmla="*/ 438 w 624"/>
                  <a:gd name="T95" fmla="*/ 344 h 405"/>
                  <a:gd name="T96" fmla="*/ 441 w 624"/>
                  <a:gd name="T97" fmla="*/ 352 h 405"/>
                  <a:gd name="T98" fmla="*/ 443 w 624"/>
                  <a:gd name="T99" fmla="*/ 358 h 405"/>
                  <a:gd name="T100" fmla="*/ 444 w 624"/>
                  <a:gd name="T101" fmla="*/ 367 h 405"/>
                  <a:gd name="T102" fmla="*/ 443 w 624"/>
                  <a:gd name="T103" fmla="*/ 374 h 405"/>
                  <a:gd name="T104" fmla="*/ 441 w 624"/>
                  <a:gd name="T105" fmla="*/ 381 h 405"/>
                  <a:gd name="T106" fmla="*/ 438 w 624"/>
                  <a:gd name="T107" fmla="*/ 388 h 405"/>
                  <a:gd name="T108" fmla="*/ 432 w 624"/>
                  <a:gd name="T109" fmla="*/ 393 h 405"/>
                  <a:gd name="T110" fmla="*/ 427 w 624"/>
                  <a:gd name="T111" fmla="*/ 398 h 405"/>
                  <a:gd name="T112" fmla="*/ 421 w 624"/>
                  <a:gd name="T113" fmla="*/ 402 h 405"/>
                  <a:gd name="T114" fmla="*/ 413 w 624"/>
                  <a:gd name="T115" fmla="*/ 404 h 405"/>
                  <a:gd name="T116" fmla="*/ 406 w 624"/>
                  <a:gd name="T117"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4" h="405">
                    <a:moveTo>
                      <a:pt x="406" y="405"/>
                    </a:moveTo>
                    <a:lnTo>
                      <a:pt x="39" y="405"/>
                    </a:lnTo>
                    <a:lnTo>
                      <a:pt x="33" y="405"/>
                    </a:lnTo>
                    <a:lnTo>
                      <a:pt x="28" y="403"/>
                    </a:lnTo>
                    <a:lnTo>
                      <a:pt x="22" y="402"/>
                    </a:lnTo>
                    <a:lnTo>
                      <a:pt x="17" y="398"/>
                    </a:lnTo>
                    <a:lnTo>
                      <a:pt x="13" y="395"/>
                    </a:lnTo>
                    <a:lnTo>
                      <a:pt x="10" y="391"/>
                    </a:lnTo>
                    <a:lnTo>
                      <a:pt x="6" y="386"/>
                    </a:lnTo>
                    <a:lnTo>
                      <a:pt x="3" y="381"/>
                    </a:lnTo>
                    <a:lnTo>
                      <a:pt x="1" y="375"/>
                    </a:lnTo>
                    <a:lnTo>
                      <a:pt x="0" y="370"/>
                    </a:lnTo>
                    <a:lnTo>
                      <a:pt x="0" y="364"/>
                    </a:lnTo>
                    <a:lnTo>
                      <a:pt x="1" y="359"/>
                    </a:lnTo>
                    <a:lnTo>
                      <a:pt x="2" y="354"/>
                    </a:lnTo>
                    <a:lnTo>
                      <a:pt x="5" y="348"/>
                    </a:lnTo>
                    <a:lnTo>
                      <a:pt x="7" y="343"/>
                    </a:lnTo>
                    <a:lnTo>
                      <a:pt x="12" y="339"/>
                    </a:lnTo>
                    <a:lnTo>
                      <a:pt x="312" y="38"/>
                    </a:lnTo>
                    <a:lnTo>
                      <a:pt x="317" y="34"/>
                    </a:lnTo>
                    <a:lnTo>
                      <a:pt x="323" y="31"/>
                    </a:lnTo>
                    <a:lnTo>
                      <a:pt x="328" y="29"/>
                    </a:lnTo>
                    <a:lnTo>
                      <a:pt x="336" y="27"/>
                    </a:lnTo>
                    <a:lnTo>
                      <a:pt x="581" y="0"/>
                    </a:lnTo>
                    <a:lnTo>
                      <a:pt x="589" y="0"/>
                    </a:lnTo>
                    <a:lnTo>
                      <a:pt x="596" y="1"/>
                    </a:lnTo>
                    <a:lnTo>
                      <a:pt x="604" y="4"/>
                    </a:lnTo>
                    <a:lnTo>
                      <a:pt x="610" y="8"/>
                    </a:lnTo>
                    <a:lnTo>
                      <a:pt x="615" y="14"/>
                    </a:lnTo>
                    <a:lnTo>
                      <a:pt x="620" y="19"/>
                    </a:lnTo>
                    <a:lnTo>
                      <a:pt x="623" y="26"/>
                    </a:lnTo>
                    <a:lnTo>
                      <a:pt x="624" y="34"/>
                    </a:lnTo>
                    <a:lnTo>
                      <a:pt x="624" y="41"/>
                    </a:lnTo>
                    <a:lnTo>
                      <a:pt x="623" y="50"/>
                    </a:lnTo>
                    <a:lnTo>
                      <a:pt x="620" y="56"/>
                    </a:lnTo>
                    <a:lnTo>
                      <a:pt x="615" y="63"/>
                    </a:lnTo>
                    <a:lnTo>
                      <a:pt x="610" y="68"/>
                    </a:lnTo>
                    <a:lnTo>
                      <a:pt x="605" y="72"/>
                    </a:lnTo>
                    <a:lnTo>
                      <a:pt x="597" y="75"/>
                    </a:lnTo>
                    <a:lnTo>
                      <a:pt x="590" y="76"/>
                    </a:lnTo>
                    <a:lnTo>
                      <a:pt x="357" y="103"/>
                    </a:lnTo>
                    <a:lnTo>
                      <a:pt x="132" y="327"/>
                    </a:lnTo>
                    <a:lnTo>
                      <a:pt x="406" y="327"/>
                    </a:lnTo>
                    <a:lnTo>
                      <a:pt x="413" y="328"/>
                    </a:lnTo>
                    <a:lnTo>
                      <a:pt x="421" y="330"/>
                    </a:lnTo>
                    <a:lnTo>
                      <a:pt x="427" y="335"/>
                    </a:lnTo>
                    <a:lnTo>
                      <a:pt x="432" y="339"/>
                    </a:lnTo>
                    <a:lnTo>
                      <a:pt x="438" y="344"/>
                    </a:lnTo>
                    <a:lnTo>
                      <a:pt x="441" y="352"/>
                    </a:lnTo>
                    <a:lnTo>
                      <a:pt x="443" y="358"/>
                    </a:lnTo>
                    <a:lnTo>
                      <a:pt x="444" y="367"/>
                    </a:lnTo>
                    <a:lnTo>
                      <a:pt x="443" y="374"/>
                    </a:lnTo>
                    <a:lnTo>
                      <a:pt x="441" y="381"/>
                    </a:lnTo>
                    <a:lnTo>
                      <a:pt x="438" y="388"/>
                    </a:lnTo>
                    <a:lnTo>
                      <a:pt x="432" y="393"/>
                    </a:lnTo>
                    <a:lnTo>
                      <a:pt x="427" y="398"/>
                    </a:lnTo>
                    <a:lnTo>
                      <a:pt x="421" y="402"/>
                    </a:lnTo>
                    <a:lnTo>
                      <a:pt x="413" y="404"/>
                    </a:lnTo>
                    <a:lnTo>
                      <a:pt x="406"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1">
                <a:extLst>
                  <a:ext uri="{FF2B5EF4-FFF2-40B4-BE49-F238E27FC236}">
                    <a16:creationId xmlns:a16="http://schemas.microsoft.com/office/drawing/2014/main" id="{08474994-E4D6-44BA-BC2C-62A9FAF3B757}"/>
                  </a:ext>
                </a:extLst>
              </p:cNvPr>
              <p:cNvSpPr>
                <a:spLocks/>
              </p:cNvSpPr>
              <p:nvPr/>
            </p:nvSpPr>
            <p:spPr bwMode="auto">
              <a:xfrm>
                <a:off x="8216900" y="4729163"/>
                <a:ext cx="323850" cy="323850"/>
              </a:xfrm>
              <a:custGeom>
                <a:avLst/>
                <a:gdLst>
                  <a:gd name="T0" fmla="*/ 39 w 612"/>
                  <a:gd name="T1" fmla="*/ 612 h 612"/>
                  <a:gd name="T2" fmla="*/ 31 w 612"/>
                  <a:gd name="T3" fmla="*/ 611 h 612"/>
                  <a:gd name="T4" fmla="*/ 24 w 612"/>
                  <a:gd name="T5" fmla="*/ 609 h 612"/>
                  <a:gd name="T6" fmla="*/ 18 w 612"/>
                  <a:gd name="T7" fmla="*/ 606 h 612"/>
                  <a:gd name="T8" fmla="*/ 11 w 612"/>
                  <a:gd name="T9" fmla="*/ 601 h 612"/>
                  <a:gd name="T10" fmla="*/ 6 w 612"/>
                  <a:gd name="T11" fmla="*/ 595 h 612"/>
                  <a:gd name="T12" fmla="*/ 3 w 612"/>
                  <a:gd name="T13" fmla="*/ 588 h 612"/>
                  <a:gd name="T14" fmla="*/ 1 w 612"/>
                  <a:gd name="T15" fmla="*/ 580 h 612"/>
                  <a:gd name="T16" fmla="*/ 0 w 612"/>
                  <a:gd name="T17" fmla="*/ 573 h 612"/>
                  <a:gd name="T18" fmla="*/ 1 w 612"/>
                  <a:gd name="T19" fmla="*/ 567 h 612"/>
                  <a:gd name="T20" fmla="*/ 3 w 612"/>
                  <a:gd name="T21" fmla="*/ 559 h 612"/>
                  <a:gd name="T22" fmla="*/ 6 w 612"/>
                  <a:gd name="T23" fmla="*/ 552 h 612"/>
                  <a:gd name="T24" fmla="*/ 11 w 612"/>
                  <a:gd name="T25" fmla="*/ 546 h 612"/>
                  <a:gd name="T26" fmla="*/ 546 w 612"/>
                  <a:gd name="T27" fmla="*/ 12 h 612"/>
                  <a:gd name="T28" fmla="*/ 552 w 612"/>
                  <a:gd name="T29" fmla="*/ 7 h 612"/>
                  <a:gd name="T30" fmla="*/ 559 w 612"/>
                  <a:gd name="T31" fmla="*/ 3 h 612"/>
                  <a:gd name="T32" fmla="*/ 566 w 612"/>
                  <a:gd name="T33" fmla="*/ 1 h 612"/>
                  <a:gd name="T34" fmla="*/ 573 w 612"/>
                  <a:gd name="T35" fmla="*/ 0 h 612"/>
                  <a:gd name="T36" fmla="*/ 581 w 612"/>
                  <a:gd name="T37" fmla="*/ 1 h 612"/>
                  <a:gd name="T38" fmla="*/ 587 w 612"/>
                  <a:gd name="T39" fmla="*/ 3 h 612"/>
                  <a:gd name="T40" fmla="*/ 595 w 612"/>
                  <a:gd name="T41" fmla="*/ 7 h 612"/>
                  <a:gd name="T42" fmla="*/ 600 w 612"/>
                  <a:gd name="T43" fmla="*/ 12 h 612"/>
                  <a:gd name="T44" fmla="*/ 605 w 612"/>
                  <a:gd name="T45" fmla="*/ 18 h 612"/>
                  <a:gd name="T46" fmla="*/ 609 w 612"/>
                  <a:gd name="T47" fmla="*/ 25 h 612"/>
                  <a:gd name="T48" fmla="*/ 611 w 612"/>
                  <a:gd name="T49" fmla="*/ 32 h 612"/>
                  <a:gd name="T50" fmla="*/ 612 w 612"/>
                  <a:gd name="T51" fmla="*/ 40 h 612"/>
                  <a:gd name="T52" fmla="*/ 611 w 612"/>
                  <a:gd name="T53" fmla="*/ 47 h 612"/>
                  <a:gd name="T54" fmla="*/ 609 w 612"/>
                  <a:gd name="T55" fmla="*/ 53 h 612"/>
                  <a:gd name="T56" fmla="*/ 605 w 612"/>
                  <a:gd name="T57" fmla="*/ 61 h 612"/>
                  <a:gd name="T58" fmla="*/ 600 w 612"/>
                  <a:gd name="T59" fmla="*/ 66 h 612"/>
                  <a:gd name="T60" fmla="*/ 67 w 612"/>
                  <a:gd name="T61" fmla="*/ 601 h 612"/>
                  <a:gd name="T62" fmla="*/ 60 w 612"/>
                  <a:gd name="T63" fmla="*/ 606 h 612"/>
                  <a:gd name="T64" fmla="*/ 53 w 612"/>
                  <a:gd name="T65" fmla="*/ 609 h 612"/>
                  <a:gd name="T66" fmla="*/ 46 w 612"/>
                  <a:gd name="T67" fmla="*/ 611 h 612"/>
                  <a:gd name="T68" fmla="*/ 39 w 612"/>
                  <a:gd name="T69"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2" h="612">
                    <a:moveTo>
                      <a:pt x="39" y="612"/>
                    </a:moveTo>
                    <a:lnTo>
                      <a:pt x="31" y="611"/>
                    </a:lnTo>
                    <a:lnTo>
                      <a:pt x="24" y="609"/>
                    </a:lnTo>
                    <a:lnTo>
                      <a:pt x="18" y="606"/>
                    </a:lnTo>
                    <a:lnTo>
                      <a:pt x="11" y="601"/>
                    </a:lnTo>
                    <a:lnTo>
                      <a:pt x="6" y="595"/>
                    </a:lnTo>
                    <a:lnTo>
                      <a:pt x="3" y="588"/>
                    </a:lnTo>
                    <a:lnTo>
                      <a:pt x="1" y="580"/>
                    </a:lnTo>
                    <a:lnTo>
                      <a:pt x="0" y="573"/>
                    </a:lnTo>
                    <a:lnTo>
                      <a:pt x="1" y="567"/>
                    </a:lnTo>
                    <a:lnTo>
                      <a:pt x="3" y="559"/>
                    </a:lnTo>
                    <a:lnTo>
                      <a:pt x="6" y="552"/>
                    </a:lnTo>
                    <a:lnTo>
                      <a:pt x="11" y="546"/>
                    </a:lnTo>
                    <a:lnTo>
                      <a:pt x="546" y="12"/>
                    </a:lnTo>
                    <a:lnTo>
                      <a:pt x="552" y="7"/>
                    </a:lnTo>
                    <a:lnTo>
                      <a:pt x="559" y="3"/>
                    </a:lnTo>
                    <a:lnTo>
                      <a:pt x="566" y="1"/>
                    </a:lnTo>
                    <a:lnTo>
                      <a:pt x="573" y="0"/>
                    </a:lnTo>
                    <a:lnTo>
                      <a:pt x="581" y="1"/>
                    </a:lnTo>
                    <a:lnTo>
                      <a:pt x="587" y="3"/>
                    </a:lnTo>
                    <a:lnTo>
                      <a:pt x="595" y="7"/>
                    </a:lnTo>
                    <a:lnTo>
                      <a:pt x="600" y="12"/>
                    </a:lnTo>
                    <a:lnTo>
                      <a:pt x="605" y="18"/>
                    </a:lnTo>
                    <a:lnTo>
                      <a:pt x="609" y="25"/>
                    </a:lnTo>
                    <a:lnTo>
                      <a:pt x="611" y="32"/>
                    </a:lnTo>
                    <a:lnTo>
                      <a:pt x="612" y="40"/>
                    </a:lnTo>
                    <a:lnTo>
                      <a:pt x="611" y="47"/>
                    </a:lnTo>
                    <a:lnTo>
                      <a:pt x="609" y="53"/>
                    </a:lnTo>
                    <a:lnTo>
                      <a:pt x="605" y="61"/>
                    </a:lnTo>
                    <a:lnTo>
                      <a:pt x="600" y="66"/>
                    </a:lnTo>
                    <a:lnTo>
                      <a:pt x="67" y="601"/>
                    </a:lnTo>
                    <a:lnTo>
                      <a:pt x="60" y="606"/>
                    </a:lnTo>
                    <a:lnTo>
                      <a:pt x="53" y="609"/>
                    </a:lnTo>
                    <a:lnTo>
                      <a:pt x="46" y="611"/>
                    </a:lnTo>
                    <a:lnTo>
                      <a:pt x="39"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2">
                <a:extLst>
                  <a:ext uri="{FF2B5EF4-FFF2-40B4-BE49-F238E27FC236}">
                    <a16:creationId xmlns:a16="http://schemas.microsoft.com/office/drawing/2014/main" id="{B6F2A156-745A-4FF7-8AA1-C039EF388791}"/>
                  </a:ext>
                </a:extLst>
              </p:cNvPr>
              <p:cNvSpPr>
                <a:spLocks/>
              </p:cNvSpPr>
              <p:nvPr/>
            </p:nvSpPr>
            <p:spPr bwMode="auto">
              <a:xfrm>
                <a:off x="9077325" y="4038600"/>
                <a:ext cx="153988" cy="153988"/>
              </a:xfrm>
              <a:custGeom>
                <a:avLst/>
                <a:gdLst>
                  <a:gd name="T0" fmla="*/ 38 w 291"/>
                  <a:gd name="T1" fmla="*/ 291 h 291"/>
                  <a:gd name="T2" fmla="*/ 31 w 291"/>
                  <a:gd name="T3" fmla="*/ 290 h 291"/>
                  <a:gd name="T4" fmla="*/ 24 w 291"/>
                  <a:gd name="T5" fmla="*/ 288 h 291"/>
                  <a:gd name="T6" fmla="*/ 17 w 291"/>
                  <a:gd name="T7" fmla="*/ 285 h 291"/>
                  <a:gd name="T8" fmla="*/ 11 w 291"/>
                  <a:gd name="T9" fmla="*/ 280 h 291"/>
                  <a:gd name="T10" fmla="*/ 6 w 291"/>
                  <a:gd name="T11" fmla="*/ 273 h 291"/>
                  <a:gd name="T12" fmla="*/ 3 w 291"/>
                  <a:gd name="T13" fmla="*/ 267 h 291"/>
                  <a:gd name="T14" fmla="*/ 1 w 291"/>
                  <a:gd name="T15" fmla="*/ 259 h 291"/>
                  <a:gd name="T16" fmla="*/ 0 w 291"/>
                  <a:gd name="T17" fmla="*/ 252 h 291"/>
                  <a:gd name="T18" fmla="*/ 1 w 291"/>
                  <a:gd name="T19" fmla="*/ 244 h 291"/>
                  <a:gd name="T20" fmla="*/ 3 w 291"/>
                  <a:gd name="T21" fmla="*/ 238 h 291"/>
                  <a:gd name="T22" fmla="*/ 6 w 291"/>
                  <a:gd name="T23" fmla="*/ 231 h 291"/>
                  <a:gd name="T24" fmla="*/ 11 w 291"/>
                  <a:gd name="T25" fmla="*/ 225 h 291"/>
                  <a:gd name="T26" fmla="*/ 224 w 291"/>
                  <a:gd name="T27" fmla="*/ 12 h 291"/>
                  <a:gd name="T28" fmla="*/ 230 w 291"/>
                  <a:gd name="T29" fmla="*/ 6 h 291"/>
                  <a:gd name="T30" fmla="*/ 237 w 291"/>
                  <a:gd name="T31" fmla="*/ 3 h 291"/>
                  <a:gd name="T32" fmla="*/ 244 w 291"/>
                  <a:gd name="T33" fmla="*/ 1 h 291"/>
                  <a:gd name="T34" fmla="*/ 252 w 291"/>
                  <a:gd name="T35" fmla="*/ 0 h 291"/>
                  <a:gd name="T36" fmla="*/ 259 w 291"/>
                  <a:gd name="T37" fmla="*/ 1 h 291"/>
                  <a:gd name="T38" fmla="*/ 266 w 291"/>
                  <a:gd name="T39" fmla="*/ 3 h 291"/>
                  <a:gd name="T40" fmla="*/ 273 w 291"/>
                  <a:gd name="T41" fmla="*/ 6 h 291"/>
                  <a:gd name="T42" fmla="*/ 279 w 291"/>
                  <a:gd name="T43" fmla="*/ 12 h 291"/>
                  <a:gd name="T44" fmla="*/ 285 w 291"/>
                  <a:gd name="T45" fmla="*/ 18 h 291"/>
                  <a:gd name="T46" fmla="*/ 288 w 291"/>
                  <a:gd name="T47" fmla="*/ 24 h 291"/>
                  <a:gd name="T48" fmla="*/ 290 w 291"/>
                  <a:gd name="T49" fmla="*/ 32 h 291"/>
                  <a:gd name="T50" fmla="*/ 291 w 291"/>
                  <a:gd name="T51" fmla="*/ 39 h 291"/>
                  <a:gd name="T52" fmla="*/ 290 w 291"/>
                  <a:gd name="T53" fmla="*/ 47 h 291"/>
                  <a:gd name="T54" fmla="*/ 288 w 291"/>
                  <a:gd name="T55" fmla="*/ 53 h 291"/>
                  <a:gd name="T56" fmla="*/ 285 w 291"/>
                  <a:gd name="T57" fmla="*/ 61 h 291"/>
                  <a:gd name="T58" fmla="*/ 279 w 291"/>
                  <a:gd name="T59" fmla="*/ 66 h 291"/>
                  <a:gd name="T60" fmla="*/ 66 w 291"/>
                  <a:gd name="T61" fmla="*/ 280 h 291"/>
                  <a:gd name="T62" fmla="*/ 59 w 291"/>
                  <a:gd name="T63" fmla="*/ 285 h 291"/>
                  <a:gd name="T64" fmla="*/ 53 w 291"/>
                  <a:gd name="T65" fmla="*/ 288 h 291"/>
                  <a:gd name="T66" fmla="*/ 45 w 291"/>
                  <a:gd name="T67" fmla="*/ 290 h 291"/>
                  <a:gd name="T68" fmla="*/ 38 w 291"/>
                  <a:gd name="T6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1" h="291">
                    <a:moveTo>
                      <a:pt x="38" y="291"/>
                    </a:moveTo>
                    <a:lnTo>
                      <a:pt x="31" y="290"/>
                    </a:lnTo>
                    <a:lnTo>
                      <a:pt x="24" y="288"/>
                    </a:lnTo>
                    <a:lnTo>
                      <a:pt x="17" y="285"/>
                    </a:lnTo>
                    <a:lnTo>
                      <a:pt x="11" y="280"/>
                    </a:lnTo>
                    <a:lnTo>
                      <a:pt x="6" y="273"/>
                    </a:lnTo>
                    <a:lnTo>
                      <a:pt x="3" y="267"/>
                    </a:lnTo>
                    <a:lnTo>
                      <a:pt x="1" y="259"/>
                    </a:lnTo>
                    <a:lnTo>
                      <a:pt x="0" y="252"/>
                    </a:lnTo>
                    <a:lnTo>
                      <a:pt x="1" y="244"/>
                    </a:lnTo>
                    <a:lnTo>
                      <a:pt x="3" y="238"/>
                    </a:lnTo>
                    <a:lnTo>
                      <a:pt x="6" y="231"/>
                    </a:lnTo>
                    <a:lnTo>
                      <a:pt x="11" y="225"/>
                    </a:lnTo>
                    <a:lnTo>
                      <a:pt x="224" y="12"/>
                    </a:lnTo>
                    <a:lnTo>
                      <a:pt x="230" y="6"/>
                    </a:lnTo>
                    <a:lnTo>
                      <a:pt x="237" y="3"/>
                    </a:lnTo>
                    <a:lnTo>
                      <a:pt x="244" y="1"/>
                    </a:lnTo>
                    <a:lnTo>
                      <a:pt x="252" y="0"/>
                    </a:lnTo>
                    <a:lnTo>
                      <a:pt x="259" y="1"/>
                    </a:lnTo>
                    <a:lnTo>
                      <a:pt x="266" y="3"/>
                    </a:lnTo>
                    <a:lnTo>
                      <a:pt x="273" y="6"/>
                    </a:lnTo>
                    <a:lnTo>
                      <a:pt x="279" y="12"/>
                    </a:lnTo>
                    <a:lnTo>
                      <a:pt x="285" y="18"/>
                    </a:lnTo>
                    <a:lnTo>
                      <a:pt x="288" y="24"/>
                    </a:lnTo>
                    <a:lnTo>
                      <a:pt x="290" y="32"/>
                    </a:lnTo>
                    <a:lnTo>
                      <a:pt x="291" y="39"/>
                    </a:lnTo>
                    <a:lnTo>
                      <a:pt x="290" y="47"/>
                    </a:lnTo>
                    <a:lnTo>
                      <a:pt x="288" y="53"/>
                    </a:lnTo>
                    <a:lnTo>
                      <a:pt x="285" y="61"/>
                    </a:lnTo>
                    <a:lnTo>
                      <a:pt x="279" y="66"/>
                    </a:lnTo>
                    <a:lnTo>
                      <a:pt x="66" y="280"/>
                    </a:lnTo>
                    <a:lnTo>
                      <a:pt x="59" y="285"/>
                    </a:lnTo>
                    <a:lnTo>
                      <a:pt x="53" y="288"/>
                    </a:lnTo>
                    <a:lnTo>
                      <a:pt x="45" y="290"/>
                    </a:lnTo>
                    <a:lnTo>
                      <a:pt x="38"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3">
                <a:extLst>
                  <a:ext uri="{FF2B5EF4-FFF2-40B4-BE49-F238E27FC236}">
                    <a16:creationId xmlns:a16="http://schemas.microsoft.com/office/drawing/2014/main" id="{074DC5AC-380F-43EF-AF44-5C9BEB5512BE}"/>
                  </a:ext>
                </a:extLst>
              </p:cNvPr>
              <p:cNvSpPr>
                <a:spLocks noEditPoints="1"/>
              </p:cNvSpPr>
              <p:nvPr/>
            </p:nvSpPr>
            <p:spPr bwMode="auto">
              <a:xfrm>
                <a:off x="8713788" y="4351338"/>
                <a:ext cx="204788" cy="204788"/>
              </a:xfrm>
              <a:custGeom>
                <a:avLst/>
                <a:gdLst>
                  <a:gd name="T0" fmla="*/ 169 w 386"/>
                  <a:gd name="T1" fmla="*/ 80 h 387"/>
                  <a:gd name="T2" fmla="*/ 137 w 386"/>
                  <a:gd name="T3" fmla="*/ 91 h 387"/>
                  <a:gd name="T4" fmla="*/ 111 w 386"/>
                  <a:gd name="T5" fmla="*/ 112 h 387"/>
                  <a:gd name="T6" fmla="*/ 90 w 386"/>
                  <a:gd name="T7" fmla="*/ 138 h 387"/>
                  <a:gd name="T8" fmla="*/ 79 w 386"/>
                  <a:gd name="T9" fmla="*/ 170 h 387"/>
                  <a:gd name="T10" fmla="*/ 78 w 386"/>
                  <a:gd name="T11" fmla="*/ 205 h 387"/>
                  <a:gd name="T12" fmla="*/ 86 w 386"/>
                  <a:gd name="T13" fmla="*/ 238 h 387"/>
                  <a:gd name="T14" fmla="*/ 103 w 386"/>
                  <a:gd name="T15" fmla="*/ 267 h 387"/>
                  <a:gd name="T16" fmla="*/ 128 w 386"/>
                  <a:gd name="T17" fmla="*/ 289 h 387"/>
                  <a:gd name="T18" fmla="*/ 158 w 386"/>
                  <a:gd name="T19" fmla="*/ 304 h 387"/>
                  <a:gd name="T20" fmla="*/ 192 w 386"/>
                  <a:gd name="T21" fmla="*/ 309 h 387"/>
                  <a:gd name="T22" fmla="*/ 228 w 386"/>
                  <a:gd name="T23" fmla="*/ 304 h 387"/>
                  <a:gd name="T24" fmla="*/ 257 w 386"/>
                  <a:gd name="T25" fmla="*/ 289 h 387"/>
                  <a:gd name="T26" fmla="*/ 283 w 386"/>
                  <a:gd name="T27" fmla="*/ 267 h 387"/>
                  <a:gd name="T28" fmla="*/ 300 w 386"/>
                  <a:gd name="T29" fmla="*/ 238 h 387"/>
                  <a:gd name="T30" fmla="*/ 308 w 386"/>
                  <a:gd name="T31" fmla="*/ 205 h 387"/>
                  <a:gd name="T32" fmla="*/ 306 w 386"/>
                  <a:gd name="T33" fmla="*/ 170 h 387"/>
                  <a:gd name="T34" fmla="*/ 294 w 386"/>
                  <a:gd name="T35" fmla="*/ 138 h 387"/>
                  <a:gd name="T36" fmla="*/ 274 w 386"/>
                  <a:gd name="T37" fmla="*/ 112 h 387"/>
                  <a:gd name="T38" fmla="*/ 248 w 386"/>
                  <a:gd name="T39" fmla="*/ 91 h 387"/>
                  <a:gd name="T40" fmla="*/ 216 w 386"/>
                  <a:gd name="T41" fmla="*/ 80 h 387"/>
                  <a:gd name="T42" fmla="*/ 192 w 386"/>
                  <a:gd name="T43" fmla="*/ 387 h 387"/>
                  <a:gd name="T44" fmla="*/ 135 w 386"/>
                  <a:gd name="T45" fmla="*/ 378 h 387"/>
                  <a:gd name="T46" fmla="*/ 85 w 386"/>
                  <a:gd name="T47" fmla="*/ 354 h 387"/>
                  <a:gd name="T48" fmla="*/ 44 w 386"/>
                  <a:gd name="T49" fmla="*/ 317 h 387"/>
                  <a:gd name="T50" fmla="*/ 15 w 386"/>
                  <a:gd name="T51" fmla="*/ 269 h 387"/>
                  <a:gd name="T52" fmla="*/ 0 w 386"/>
                  <a:gd name="T53" fmla="*/ 214 h 387"/>
                  <a:gd name="T54" fmla="*/ 3 w 386"/>
                  <a:gd name="T55" fmla="*/ 154 h 387"/>
                  <a:gd name="T56" fmla="*/ 23 w 386"/>
                  <a:gd name="T57" fmla="*/ 101 h 387"/>
                  <a:gd name="T58" fmla="*/ 56 w 386"/>
                  <a:gd name="T59" fmla="*/ 56 h 387"/>
                  <a:gd name="T60" fmla="*/ 101 w 386"/>
                  <a:gd name="T61" fmla="*/ 23 h 387"/>
                  <a:gd name="T62" fmla="*/ 154 w 386"/>
                  <a:gd name="T63" fmla="*/ 4 h 387"/>
                  <a:gd name="T64" fmla="*/ 213 w 386"/>
                  <a:gd name="T65" fmla="*/ 1 h 387"/>
                  <a:gd name="T66" fmla="*/ 268 w 386"/>
                  <a:gd name="T67" fmla="*/ 15 h 387"/>
                  <a:gd name="T68" fmla="*/ 316 w 386"/>
                  <a:gd name="T69" fmla="*/ 45 h 387"/>
                  <a:gd name="T70" fmla="*/ 353 w 386"/>
                  <a:gd name="T71" fmla="*/ 85 h 387"/>
                  <a:gd name="T72" fmla="*/ 377 w 386"/>
                  <a:gd name="T73" fmla="*/ 136 h 387"/>
                  <a:gd name="T74" fmla="*/ 386 w 386"/>
                  <a:gd name="T75" fmla="*/ 193 h 387"/>
                  <a:gd name="T76" fmla="*/ 377 w 386"/>
                  <a:gd name="T77" fmla="*/ 251 h 387"/>
                  <a:gd name="T78" fmla="*/ 353 w 386"/>
                  <a:gd name="T79" fmla="*/ 302 h 387"/>
                  <a:gd name="T80" fmla="*/ 316 w 386"/>
                  <a:gd name="T81" fmla="*/ 342 h 387"/>
                  <a:gd name="T82" fmla="*/ 268 w 386"/>
                  <a:gd name="T83" fmla="*/ 371 h 387"/>
                  <a:gd name="T84" fmla="*/ 213 w 386"/>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87">
                    <a:moveTo>
                      <a:pt x="192" y="78"/>
                    </a:moveTo>
                    <a:lnTo>
                      <a:pt x="181" y="78"/>
                    </a:lnTo>
                    <a:lnTo>
                      <a:pt x="169" y="80"/>
                    </a:lnTo>
                    <a:lnTo>
                      <a:pt x="158" y="83"/>
                    </a:lnTo>
                    <a:lnTo>
                      <a:pt x="148" y="86"/>
                    </a:lnTo>
                    <a:lnTo>
                      <a:pt x="137" y="91"/>
                    </a:lnTo>
                    <a:lnTo>
                      <a:pt x="128" y="98"/>
                    </a:lnTo>
                    <a:lnTo>
                      <a:pt x="119" y="104"/>
                    </a:lnTo>
                    <a:lnTo>
                      <a:pt x="111" y="112"/>
                    </a:lnTo>
                    <a:lnTo>
                      <a:pt x="103" y="120"/>
                    </a:lnTo>
                    <a:lnTo>
                      <a:pt x="97" y="129"/>
                    </a:lnTo>
                    <a:lnTo>
                      <a:pt x="90" y="138"/>
                    </a:lnTo>
                    <a:lnTo>
                      <a:pt x="86" y="149"/>
                    </a:lnTo>
                    <a:lnTo>
                      <a:pt x="82" y="159"/>
                    </a:lnTo>
                    <a:lnTo>
                      <a:pt x="79" y="170"/>
                    </a:lnTo>
                    <a:lnTo>
                      <a:pt x="78" y="182"/>
                    </a:lnTo>
                    <a:lnTo>
                      <a:pt x="77" y="193"/>
                    </a:lnTo>
                    <a:lnTo>
                      <a:pt x="78" y="205"/>
                    </a:lnTo>
                    <a:lnTo>
                      <a:pt x="79" y="217"/>
                    </a:lnTo>
                    <a:lnTo>
                      <a:pt x="82" y="227"/>
                    </a:lnTo>
                    <a:lnTo>
                      <a:pt x="86" y="238"/>
                    </a:lnTo>
                    <a:lnTo>
                      <a:pt x="90" y="249"/>
                    </a:lnTo>
                    <a:lnTo>
                      <a:pt x="97" y="258"/>
                    </a:lnTo>
                    <a:lnTo>
                      <a:pt x="103" y="267"/>
                    </a:lnTo>
                    <a:lnTo>
                      <a:pt x="111" y="275"/>
                    </a:lnTo>
                    <a:lnTo>
                      <a:pt x="119" y="283"/>
                    </a:lnTo>
                    <a:lnTo>
                      <a:pt x="128" y="289"/>
                    </a:lnTo>
                    <a:lnTo>
                      <a:pt x="137" y="295"/>
                    </a:lnTo>
                    <a:lnTo>
                      <a:pt x="148" y="300"/>
                    </a:lnTo>
                    <a:lnTo>
                      <a:pt x="158" y="304"/>
                    </a:lnTo>
                    <a:lnTo>
                      <a:pt x="169" y="307"/>
                    </a:lnTo>
                    <a:lnTo>
                      <a:pt x="181" y="308"/>
                    </a:lnTo>
                    <a:lnTo>
                      <a:pt x="192" y="309"/>
                    </a:lnTo>
                    <a:lnTo>
                      <a:pt x="204" y="308"/>
                    </a:lnTo>
                    <a:lnTo>
                      <a:pt x="216" y="307"/>
                    </a:lnTo>
                    <a:lnTo>
                      <a:pt x="228" y="304"/>
                    </a:lnTo>
                    <a:lnTo>
                      <a:pt x="238" y="300"/>
                    </a:lnTo>
                    <a:lnTo>
                      <a:pt x="248" y="295"/>
                    </a:lnTo>
                    <a:lnTo>
                      <a:pt x="257" y="289"/>
                    </a:lnTo>
                    <a:lnTo>
                      <a:pt x="267" y="283"/>
                    </a:lnTo>
                    <a:lnTo>
                      <a:pt x="274" y="275"/>
                    </a:lnTo>
                    <a:lnTo>
                      <a:pt x="283" y="267"/>
                    </a:lnTo>
                    <a:lnTo>
                      <a:pt x="289" y="258"/>
                    </a:lnTo>
                    <a:lnTo>
                      <a:pt x="294" y="249"/>
                    </a:lnTo>
                    <a:lnTo>
                      <a:pt x="300" y="238"/>
                    </a:lnTo>
                    <a:lnTo>
                      <a:pt x="304" y="227"/>
                    </a:lnTo>
                    <a:lnTo>
                      <a:pt x="306" y="217"/>
                    </a:lnTo>
                    <a:lnTo>
                      <a:pt x="308" y="205"/>
                    </a:lnTo>
                    <a:lnTo>
                      <a:pt x="308" y="193"/>
                    </a:lnTo>
                    <a:lnTo>
                      <a:pt x="308" y="182"/>
                    </a:lnTo>
                    <a:lnTo>
                      <a:pt x="306" y="170"/>
                    </a:lnTo>
                    <a:lnTo>
                      <a:pt x="304" y="159"/>
                    </a:lnTo>
                    <a:lnTo>
                      <a:pt x="300" y="149"/>
                    </a:lnTo>
                    <a:lnTo>
                      <a:pt x="294" y="138"/>
                    </a:lnTo>
                    <a:lnTo>
                      <a:pt x="289" y="129"/>
                    </a:lnTo>
                    <a:lnTo>
                      <a:pt x="283" y="120"/>
                    </a:lnTo>
                    <a:lnTo>
                      <a:pt x="274" y="112"/>
                    </a:lnTo>
                    <a:lnTo>
                      <a:pt x="267" y="104"/>
                    </a:lnTo>
                    <a:lnTo>
                      <a:pt x="257" y="98"/>
                    </a:lnTo>
                    <a:lnTo>
                      <a:pt x="248" y="91"/>
                    </a:lnTo>
                    <a:lnTo>
                      <a:pt x="238" y="86"/>
                    </a:lnTo>
                    <a:lnTo>
                      <a:pt x="228" y="83"/>
                    </a:lnTo>
                    <a:lnTo>
                      <a:pt x="216" y="80"/>
                    </a:lnTo>
                    <a:lnTo>
                      <a:pt x="204" y="78"/>
                    </a:lnTo>
                    <a:lnTo>
                      <a:pt x="192" y="78"/>
                    </a:lnTo>
                    <a:close/>
                    <a:moveTo>
                      <a:pt x="192" y="387"/>
                    </a:moveTo>
                    <a:lnTo>
                      <a:pt x="173" y="386"/>
                    </a:lnTo>
                    <a:lnTo>
                      <a:pt x="154" y="383"/>
                    </a:lnTo>
                    <a:lnTo>
                      <a:pt x="135" y="378"/>
                    </a:lnTo>
                    <a:lnTo>
                      <a:pt x="118" y="371"/>
                    </a:lnTo>
                    <a:lnTo>
                      <a:pt x="101" y="363"/>
                    </a:lnTo>
                    <a:lnTo>
                      <a:pt x="85" y="354"/>
                    </a:lnTo>
                    <a:lnTo>
                      <a:pt x="70" y="342"/>
                    </a:lnTo>
                    <a:lnTo>
                      <a:pt x="56" y="329"/>
                    </a:lnTo>
                    <a:lnTo>
                      <a:pt x="44" y="317"/>
                    </a:lnTo>
                    <a:lnTo>
                      <a:pt x="33" y="302"/>
                    </a:lnTo>
                    <a:lnTo>
                      <a:pt x="23" y="286"/>
                    </a:lnTo>
                    <a:lnTo>
                      <a:pt x="15" y="269"/>
                    </a:lnTo>
                    <a:lnTo>
                      <a:pt x="9" y="251"/>
                    </a:lnTo>
                    <a:lnTo>
                      <a:pt x="3" y="233"/>
                    </a:lnTo>
                    <a:lnTo>
                      <a:pt x="0" y="214"/>
                    </a:lnTo>
                    <a:lnTo>
                      <a:pt x="0" y="193"/>
                    </a:lnTo>
                    <a:lnTo>
                      <a:pt x="0" y="173"/>
                    </a:lnTo>
                    <a:lnTo>
                      <a:pt x="3" y="154"/>
                    </a:lnTo>
                    <a:lnTo>
                      <a:pt x="9" y="136"/>
                    </a:lnTo>
                    <a:lnTo>
                      <a:pt x="15" y="118"/>
                    </a:lnTo>
                    <a:lnTo>
                      <a:pt x="23" y="101"/>
                    </a:lnTo>
                    <a:lnTo>
                      <a:pt x="33" y="85"/>
                    </a:lnTo>
                    <a:lnTo>
                      <a:pt x="44" y="70"/>
                    </a:lnTo>
                    <a:lnTo>
                      <a:pt x="56" y="56"/>
                    </a:lnTo>
                    <a:lnTo>
                      <a:pt x="70" y="45"/>
                    </a:lnTo>
                    <a:lnTo>
                      <a:pt x="85" y="33"/>
                    </a:lnTo>
                    <a:lnTo>
                      <a:pt x="101" y="23"/>
                    </a:lnTo>
                    <a:lnTo>
                      <a:pt x="118" y="15"/>
                    </a:lnTo>
                    <a:lnTo>
                      <a:pt x="135" y="8"/>
                    </a:lnTo>
                    <a:lnTo>
                      <a:pt x="154" y="4"/>
                    </a:lnTo>
                    <a:lnTo>
                      <a:pt x="173" y="1"/>
                    </a:lnTo>
                    <a:lnTo>
                      <a:pt x="192" y="0"/>
                    </a:lnTo>
                    <a:lnTo>
                      <a:pt x="213" y="1"/>
                    </a:lnTo>
                    <a:lnTo>
                      <a:pt x="232" y="4"/>
                    </a:lnTo>
                    <a:lnTo>
                      <a:pt x="250" y="8"/>
                    </a:lnTo>
                    <a:lnTo>
                      <a:pt x="268" y="15"/>
                    </a:lnTo>
                    <a:lnTo>
                      <a:pt x="285" y="23"/>
                    </a:lnTo>
                    <a:lnTo>
                      <a:pt x="301" y="33"/>
                    </a:lnTo>
                    <a:lnTo>
                      <a:pt x="316" y="45"/>
                    </a:lnTo>
                    <a:lnTo>
                      <a:pt x="330" y="56"/>
                    </a:lnTo>
                    <a:lnTo>
                      <a:pt x="342" y="70"/>
                    </a:lnTo>
                    <a:lnTo>
                      <a:pt x="353" y="85"/>
                    </a:lnTo>
                    <a:lnTo>
                      <a:pt x="362" y="101"/>
                    </a:lnTo>
                    <a:lnTo>
                      <a:pt x="371" y="118"/>
                    </a:lnTo>
                    <a:lnTo>
                      <a:pt x="377" y="136"/>
                    </a:lnTo>
                    <a:lnTo>
                      <a:pt x="382" y="154"/>
                    </a:lnTo>
                    <a:lnTo>
                      <a:pt x="385" y="173"/>
                    </a:lnTo>
                    <a:lnTo>
                      <a:pt x="386" y="193"/>
                    </a:lnTo>
                    <a:lnTo>
                      <a:pt x="385" y="214"/>
                    </a:lnTo>
                    <a:lnTo>
                      <a:pt x="382" y="233"/>
                    </a:lnTo>
                    <a:lnTo>
                      <a:pt x="377" y="251"/>
                    </a:lnTo>
                    <a:lnTo>
                      <a:pt x="371" y="269"/>
                    </a:lnTo>
                    <a:lnTo>
                      <a:pt x="362" y="286"/>
                    </a:lnTo>
                    <a:lnTo>
                      <a:pt x="353" y="302"/>
                    </a:lnTo>
                    <a:lnTo>
                      <a:pt x="342" y="317"/>
                    </a:lnTo>
                    <a:lnTo>
                      <a:pt x="330" y="329"/>
                    </a:lnTo>
                    <a:lnTo>
                      <a:pt x="316" y="342"/>
                    </a:lnTo>
                    <a:lnTo>
                      <a:pt x="301" y="354"/>
                    </a:lnTo>
                    <a:lnTo>
                      <a:pt x="285" y="363"/>
                    </a:lnTo>
                    <a:lnTo>
                      <a:pt x="268" y="371"/>
                    </a:lnTo>
                    <a:lnTo>
                      <a:pt x="250" y="378"/>
                    </a:lnTo>
                    <a:lnTo>
                      <a:pt x="232" y="383"/>
                    </a:lnTo>
                    <a:lnTo>
                      <a:pt x="213" y="386"/>
                    </a:lnTo>
                    <a:lnTo>
                      <a:pt x="1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5">
                <a:extLst>
                  <a:ext uri="{FF2B5EF4-FFF2-40B4-BE49-F238E27FC236}">
                    <a16:creationId xmlns:a16="http://schemas.microsoft.com/office/drawing/2014/main" id="{38C686D7-F6F5-4D2E-AFE6-284AF5644311}"/>
                  </a:ext>
                </a:extLst>
              </p:cNvPr>
              <p:cNvSpPr>
                <a:spLocks noEditPoints="1"/>
              </p:cNvSpPr>
              <p:nvPr/>
            </p:nvSpPr>
            <p:spPr bwMode="auto">
              <a:xfrm>
                <a:off x="8278813" y="4140200"/>
                <a:ext cx="849313" cy="849313"/>
              </a:xfrm>
              <a:custGeom>
                <a:avLst/>
                <a:gdLst>
                  <a:gd name="T0" fmla="*/ 1393 w 1605"/>
                  <a:gd name="T1" fmla="*/ 92 h 1606"/>
                  <a:gd name="T2" fmla="*/ 1244 w 1605"/>
                  <a:gd name="T3" fmla="*/ 145 h 1606"/>
                  <a:gd name="T4" fmla="*/ 1067 w 1605"/>
                  <a:gd name="T5" fmla="*/ 231 h 1606"/>
                  <a:gd name="T6" fmla="*/ 874 w 1605"/>
                  <a:gd name="T7" fmla="*/ 344 h 1606"/>
                  <a:gd name="T8" fmla="*/ 680 w 1605"/>
                  <a:gd name="T9" fmla="*/ 477 h 1606"/>
                  <a:gd name="T10" fmla="*/ 497 w 1605"/>
                  <a:gd name="T11" fmla="*/ 623 h 1606"/>
                  <a:gd name="T12" fmla="*/ 338 w 1605"/>
                  <a:gd name="T13" fmla="*/ 778 h 1606"/>
                  <a:gd name="T14" fmla="*/ 212 w 1605"/>
                  <a:gd name="T15" fmla="*/ 931 h 1606"/>
                  <a:gd name="T16" fmla="*/ 127 w 1605"/>
                  <a:gd name="T17" fmla="*/ 1073 h 1606"/>
                  <a:gd name="T18" fmla="*/ 84 w 1605"/>
                  <a:gd name="T19" fmla="*/ 1199 h 1606"/>
                  <a:gd name="T20" fmla="*/ 78 w 1605"/>
                  <a:gd name="T21" fmla="*/ 1295 h 1606"/>
                  <a:gd name="T22" fmla="*/ 102 w 1605"/>
                  <a:gd name="T23" fmla="*/ 1380 h 1606"/>
                  <a:gd name="T24" fmla="*/ 154 w 1605"/>
                  <a:gd name="T25" fmla="*/ 1453 h 1606"/>
                  <a:gd name="T26" fmla="*/ 234 w 1605"/>
                  <a:gd name="T27" fmla="*/ 1509 h 1606"/>
                  <a:gd name="T28" fmla="*/ 331 w 1605"/>
                  <a:gd name="T29" fmla="*/ 1528 h 1606"/>
                  <a:gd name="T30" fmla="*/ 441 w 1605"/>
                  <a:gd name="T31" fmla="*/ 1513 h 1606"/>
                  <a:gd name="T32" fmla="*/ 562 w 1605"/>
                  <a:gd name="T33" fmla="*/ 1463 h 1606"/>
                  <a:gd name="T34" fmla="*/ 694 w 1605"/>
                  <a:gd name="T35" fmla="*/ 1380 h 1606"/>
                  <a:gd name="T36" fmla="*/ 833 w 1605"/>
                  <a:gd name="T37" fmla="*/ 1263 h 1606"/>
                  <a:gd name="T38" fmla="*/ 989 w 1605"/>
                  <a:gd name="T39" fmla="*/ 1102 h 1606"/>
                  <a:gd name="T40" fmla="*/ 1151 w 1605"/>
                  <a:gd name="T41" fmla="*/ 897 h 1606"/>
                  <a:gd name="T42" fmla="*/ 1301 w 1605"/>
                  <a:gd name="T43" fmla="*/ 669 h 1606"/>
                  <a:gd name="T44" fmla="*/ 1430 w 1605"/>
                  <a:gd name="T45" fmla="*/ 431 h 1606"/>
                  <a:gd name="T46" fmla="*/ 1507 w 1605"/>
                  <a:gd name="T47" fmla="*/ 242 h 1606"/>
                  <a:gd name="T48" fmla="*/ 1529 w 1605"/>
                  <a:gd name="T49" fmla="*/ 127 h 1606"/>
                  <a:gd name="T50" fmla="*/ 1521 w 1605"/>
                  <a:gd name="T51" fmla="*/ 89 h 1606"/>
                  <a:gd name="T52" fmla="*/ 1482 w 1605"/>
                  <a:gd name="T53" fmla="*/ 78 h 1606"/>
                  <a:gd name="T54" fmla="*/ 272 w 1605"/>
                  <a:gd name="T55" fmla="*/ 1601 h 1606"/>
                  <a:gd name="T56" fmla="*/ 194 w 1605"/>
                  <a:gd name="T57" fmla="*/ 1576 h 1606"/>
                  <a:gd name="T58" fmla="*/ 124 w 1605"/>
                  <a:gd name="T59" fmla="*/ 1531 h 1606"/>
                  <a:gd name="T60" fmla="*/ 55 w 1605"/>
                  <a:gd name="T61" fmla="*/ 1453 h 1606"/>
                  <a:gd name="T62" fmla="*/ 9 w 1605"/>
                  <a:gd name="T63" fmla="*/ 1351 h 1606"/>
                  <a:gd name="T64" fmla="*/ 1 w 1605"/>
                  <a:gd name="T65" fmla="*/ 1234 h 1606"/>
                  <a:gd name="T66" fmla="*/ 31 w 1605"/>
                  <a:gd name="T67" fmla="*/ 1103 h 1606"/>
                  <a:gd name="T68" fmla="*/ 105 w 1605"/>
                  <a:gd name="T69" fmla="*/ 954 h 1606"/>
                  <a:gd name="T70" fmla="*/ 222 w 1605"/>
                  <a:gd name="T71" fmla="*/ 794 h 1606"/>
                  <a:gd name="T72" fmla="*/ 376 w 1605"/>
                  <a:gd name="T73" fmla="*/ 631 h 1606"/>
                  <a:gd name="T74" fmla="*/ 549 w 1605"/>
                  <a:gd name="T75" fmla="*/ 481 h 1606"/>
                  <a:gd name="T76" fmla="*/ 744 w 1605"/>
                  <a:gd name="T77" fmla="*/ 337 h 1606"/>
                  <a:gd name="T78" fmla="*/ 947 w 1605"/>
                  <a:gd name="T79" fmla="*/ 210 h 1606"/>
                  <a:gd name="T80" fmla="*/ 1142 w 1605"/>
                  <a:gd name="T81" fmla="*/ 107 h 1606"/>
                  <a:gd name="T82" fmla="*/ 1318 w 1605"/>
                  <a:gd name="T83" fmla="*/ 34 h 1606"/>
                  <a:gd name="T84" fmla="*/ 1459 w 1605"/>
                  <a:gd name="T85" fmla="*/ 2 h 1606"/>
                  <a:gd name="T86" fmla="*/ 1535 w 1605"/>
                  <a:gd name="T87" fmla="*/ 8 h 1606"/>
                  <a:gd name="T88" fmla="*/ 1582 w 1605"/>
                  <a:gd name="T89" fmla="*/ 40 h 1606"/>
                  <a:gd name="T90" fmla="*/ 1603 w 1605"/>
                  <a:gd name="T91" fmla="*/ 96 h 1606"/>
                  <a:gd name="T92" fmla="*/ 1602 w 1605"/>
                  <a:gd name="T93" fmla="*/ 169 h 1606"/>
                  <a:gd name="T94" fmla="*/ 1558 w 1605"/>
                  <a:gd name="T95" fmla="*/ 332 h 1606"/>
                  <a:gd name="T96" fmla="*/ 1469 w 1605"/>
                  <a:gd name="T97" fmla="*/ 527 h 1606"/>
                  <a:gd name="T98" fmla="*/ 1338 w 1605"/>
                  <a:gd name="T99" fmla="*/ 757 h 1606"/>
                  <a:gd name="T100" fmla="*/ 1180 w 1605"/>
                  <a:gd name="T101" fmla="*/ 988 h 1606"/>
                  <a:gd name="T102" fmla="*/ 1013 w 1605"/>
                  <a:gd name="T103" fmla="*/ 1191 h 1606"/>
                  <a:gd name="T104" fmla="*/ 820 w 1605"/>
                  <a:gd name="T105" fmla="*/ 1379 h 1606"/>
                  <a:gd name="T106" fmla="*/ 621 w 1605"/>
                  <a:gd name="T107" fmla="*/ 1520 h 1606"/>
                  <a:gd name="T108" fmla="*/ 493 w 1605"/>
                  <a:gd name="T109" fmla="*/ 1580 h 1606"/>
                  <a:gd name="T110" fmla="*/ 406 w 1605"/>
                  <a:gd name="T111" fmla="*/ 1601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5" h="1606">
                    <a:moveTo>
                      <a:pt x="1482" y="78"/>
                    </a:moveTo>
                    <a:lnTo>
                      <a:pt x="1462" y="79"/>
                    </a:lnTo>
                    <a:lnTo>
                      <a:pt x="1441" y="81"/>
                    </a:lnTo>
                    <a:lnTo>
                      <a:pt x="1417" y="85"/>
                    </a:lnTo>
                    <a:lnTo>
                      <a:pt x="1393" y="92"/>
                    </a:lnTo>
                    <a:lnTo>
                      <a:pt x="1366" y="99"/>
                    </a:lnTo>
                    <a:lnTo>
                      <a:pt x="1338" y="109"/>
                    </a:lnTo>
                    <a:lnTo>
                      <a:pt x="1308" y="119"/>
                    </a:lnTo>
                    <a:lnTo>
                      <a:pt x="1277" y="131"/>
                    </a:lnTo>
                    <a:lnTo>
                      <a:pt x="1244" y="145"/>
                    </a:lnTo>
                    <a:lnTo>
                      <a:pt x="1210" y="160"/>
                    </a:lnTo>
                    <a:lnTo>
                      <a:pt x="1176" y="176"/>
                    </a:lnTo>
                    <a:lnTo>
                      <a:pt x="1140" y="193"/>
                    </a:lnTo>
                    <a:lnTo>
                      <a:pt x="1104" y="212"/>
                    </a:lnTo>
                    <a:lnTo>
                      <a:pt x="1067" y="231"/>
                    </a:lnTo>
                    <a:lnTo>
                      <a:pt x="1029" y="251"/>
                    </a:lnTo>
                    <a:lnTo>
                      <a:pt x="991" y="274"/>
                    </a:lnTo>
                    <a:lnTo>
                      <a:pt x="952" y="296"/>
                    </a:lnTo>
                    <a:lnTo>
                      <a:pt x="914" y="319"/>
                    </a:lnTo>
                    <a:lnTo>
                      <a:pt x="874" y="344"/>
                    </a:lnTo>
                    <a:lnTo>
                      <a:pt x="835" y="369"/>
                    </a:lnTo>
                    <a:lnTo>
                      <a:pt x="796" y="395"/>
                    </a:lnTo>
                    <a:lnTo>
                      <a:pt x="756" y="421"/>
                    </a:lnTo>
                    <a:lnTo>
                      <a:pt x="718" y="449"/>
                    </a:lnTo>
                    <a:lnTo>
                      <a:pt x="680" y="477"/>
                    </a:lnTo>
                    <a:lnTo>
                      <a:pt x="641" y="505"/>
                    </a:lnTo>
                    <a:lnTo>
                      <a:pt x="604" y="534"/>
                    </a:lnTo>
                    <a:lnTo>
                      <a:pt x="568" y="564"/>
                    </a:lnTo>
                    <a:lnTo>
                      <a:pt x="532" y="593"/>
                    </a:lnTo>
                    <a:lnTo>
                      <a:pt x="497" y="623"/>
                    </a:lnTo>
                    <a:lnTo>
                      <a:pt x="464" y="654"/>
                    </a:lnTo>
                    <a:lnTo>
                      <a:pt x="431" y="684"/>
                    </a:lnTo>
                    <a:lnTo>
                      <a:pt x="399" y="715"/>
                    </a:lnTo>
                    <a:lnTo>
                      <a:pt x="368" y="748"/>
                    </a:lnTo>
                    <a:lnTo>
                      <a:pt x="338" y="778"/>
                    </a:lnTo>
                    <a:lnTo>
                      <a:pt x="310" y="810"/>
                    </a:lnTo>
                    <a:lnTo>
                      <a:pt x="283" y="841"/>
                    </a:lnTo>
                    <a:lnTo>
                      <a:pt x="258" y="872"/>
                    </a:lnTo>
                    <a:lnTo>
                      <a:pt x="234" y="902"/>
                    </a:lnTo>
                    <a:lnTo>
                      <a:pt x="212" y="931"/>
                    </a:lnTo>
                    <a:lnTo>
                      <a:pt x="192" y="960"/>
                    </a:lnTo>
                    <a:lnTo>
                      <a:pt x="174" y="990"/>
                    </a:lnTo>
                    <a:lnTo>
                      <a:pt x="156" y="1018"/>
                    </a:lnTo>
                    <a:lnTo>
                      <a:pt x="141" y="1045"/>
                    </a:lnTo>
                    <a:lnTo>
                      <a:pt x="127" y="1073"/>
                    </a:lnTo>
                    <a:lnTo>
                      <a:pt x="115" y="1100"/>
                    </a:lnTo>
                    <a:lnTo>
                      <a:pt x="105" y="1127"/>
                    </a:lnTo>
                    <a:lnTo>
                      <a:pt x="95" y="1153"/>
                    </a:lnTo>
                    <a:lnTo>
                      <a:pt x="89" y="1178"/>
                    </a:lnTo>
                    <a:lnTo>
                      <a:pt x="84" y="1199"/>
                    </a:lnTo>
                    <a:lnTo>
                      <a:pt x="80" y="1219"/>
                    </a:lnTo>
                    <a:lnTo>
                      <a:pt x="78" y="1239"/>
                    </a:lnTo>
                    <a:lnTo>
                      <a:pt x="77" y="1258"/>
                    </a:lnTo>
                    <a:lnTo>
                      <a:pt x="77" y="1277"/>
                    </a:lnTo>
                    <a:lnTo>
                      <a:pt x="78" y="1295"/>
                    </a:lnTo>
                    <a:lnTo>
                      <a:pt x="80" y="1313"/>
                    </a:lnTo>
                    <a:lnTo>
                      <a:pt x="84" y="1331"/>
                    </a:lnTo>
                    <a:lnTo>
                      <a:pt x="89" y="1347"/>
                    </a:lnTo>
                    <a:lnTo>
                      <a:pt x="94" y="1364"/>
                    </a:lnTo>
                    <a:lnTo>
                      <a:pt x="102" y="1380"/>
                    </a:lnTo>
                    <a:lnTo>
                      <a:pt x="109" y="1396"/>
                    </a:lnTo>
                    <a:lnTo>
                      <a:pt x="119" y="1411"/>
                    </a:lnTo>
                    <a:lnTo>
                      <a:pt x="129" y="1426"/>
                    </a:lnTo>
                    <a:lnTo>
                      <a:pt x="141" y="1439"/>
                    </a:lnTo>
                    <a:lnTo>
                      <a:pt x="154" y="1453"/>
                    </a:lnTo>
                    <a:lnTo>
                      <a:pt x="169" y="1467"/>
                    </a:lnTo>
                    <a:lnTo>
                      <a:pt x="185" y="1479"/>
                    </a:lnTo>
                    <a:lnTo>
                      <a:pt x="200" y="1490"/>
                    </a:lnTo>
                    <a:lnTo>
                      <a:pt x="217" y="1500"/>
                    </a:lnTo>
                    <a:lnTo>
                      <a:pt x="234" y="1509"/>
                    </a:lnTo>
                    <a:lnTo>
                      <a:pt x="253" y="1515"/>
                    </a:lnTo>
                    <a:lnTo>
                      <a:pt x="272" y="1520"/>
                    </a:lnTo>
                    <a:lnTo>
                      <a:pt x="291" y="1525"/>
                    </a:lnTo>
                    <a:lnTo>
                      <a:pt x="311" y="1527"/>
                    </a:lnTo>
                    <a:lnTo>
                      <a:pt x="331" y="1528"/>
                    </a:lnTo>
                    <a:lnTo>
                      <a:pt x="352" y="1528"/>
                    </a:lnTo>
                    <a:lnTo>
                      <a:pt x="374" y="1527"/>
                    </a:lnTo>
                    <a:lnTo>
                      <a:pt x="395" y="1523"/>
                    </a:lnTo>
                    <a:lnTo>
                      <a:pt x="418" y="1519"/>
                    </a:lnTo>
                    <a:lnTo>
                      <a:pt x="441" y="1513"/>
                    </a:lnTo>
                    <a:lnTo>
                      <a:pt x="464" y="1505"/>
                    </a:lnTo>
                    <a:lnTo>
                      <a:pt x="487" y="1497"/>
                    </a:lnTo>
                    <a:lnTo>
                      <a:pt x="512" y="1487"/>
                    </a:lnTo>
                    <a:lnTo>
                      <a:pt x="536" y="1476"/>
                    </a:lnTo>
                    <a:lnTo>
                      <a:pt x="562" y="1463"/>
                    </a:lnTo>
                    <a:lnTo>
                      <a:pt x="587" y="1449"/>
                    </a:lnTo>
                    <a:lnTo>
                      <a:pt x="613" y="1434"/>
                    </a:lnTo>
                    <a:lnTo>
                      <a:pt x="639" y="1417"/>
                    </a:lnTo>
                    <a:lnTo>
                      <a:pt x="666" y="1399"/>
                    </a:lnTo>
                    <a:lnTo>
                      <a:pt x="694" y="1380"/>
                    </a:lnTo>
                    <a:lnTo>
                      <a:pt x="720" y="1359"/>
                    </a:lnTo>
                    <a:lnTo>
                      <a:pt x="748" y="1337"/>
                    </a:lnTo>
                    <a:lnTo>
                      <a:pt x="776" y="1314"/>
                    </a:lnTo>
                    <a:lnTo>
                      <a:pt x="804" y="1289"/>
                    </a:lnTo>
                    <a:lnTo>
                      <a:pt x="833" y="1263"/>
                    </a:lnTo>
                    <a:lnTo>
                      <a:pt x="863" y="1235"/>
                    </a:lnTo>
                    <a:lnTo>
                      <a:pt x="891" y="1207"/>
                    </a:lnTo>
                    <a:lnTo>
                      <a:pt x="924" y="1174"/>
                    </a:lnTo>
                    <a:lnTo>
                      <a:pt x="956" y="1139"/>
                    </a:lnTo>
                    <a:lnTo>
                      <a:pt x="989" y="1102"/>
                    </a:lnTo>
                    <a:lnTo>
                      <a:pt x="1022" y="1063"/>
                    </a:lnTo>
                    <a:lnTo>
                      <a:pt x="1055" y="1024"/>
                    </a:lnTo>
                    <a:lnTo>
                      <a:pt x="1087" y="982"/>
                    </a:lnTo>
                    <a:lnTo>
                      <a:pt x="1119" y="940"/>
                    </a:lnTo>
                    <a:lnTo>
                      <a:pt x="1151" y="897"/>
                    </a:lnTo>
                    <a:lnTo>
                      <a:pt x="1182" y="853"/>
                    </a:lnTo>
                    <a:lnTo>
                      <a:pt x="1213" y="808"/>
                    </a:lnTo>
                    <a:lnTo>
                      <a:pt x="1243" y="762"/>
                    </a:lnTo>
                    <a:lnTo>
                      <a:pt x="1273" y="716"/>
                    </a:lnTo>
                    <a:lnTo>
                      <a:pt x="1301" y="669"/>
                    </a:lnTo>
                    <a:lnTo>
                      <a:pt x="1329" y="622"/>
                    </a:lnTo>
                    <a:lnTo>
                      <a:pt x="1356" y="575"/>
                    </a:lnTo>
                    <a:lnTo>
                      <a:pt x="1381" y="528"/>
                    </a:lnTo>
                    <a:lnTo>
                      <a:pt x="1407" y="478"/>
                    </a:lnTo>
                    <a:lnTo>
                      <a:pt x="1430" y="431"/>
                    </a:lnTo>
                    <a:lnTo>
                      <a:pt x="1450" y="387"/>
                    </a:lnTo>
                    <a:lnTo>
                      <a:pt x="1468" y="346"/>
                    </a:lnTo>
                    <a:lnTo>
                      <a:pt x="1483" y="308"/>
                    </a:lnTo>
                    <a:lnTo>
                      <a:pt x="1496" y="274"/>
                    </a:lnTo>
                    <a:lnTo>
                      <a:pt x="1507" y="242"/>
                    </a:lnTo>
                    <a:lnTo>
                      <a:pt x="1514" y="213"/>
                    </a:lnTo>
                    <a:lnTo>
                      <a:pt x="1520" y="186"/>
                    </a:lnTo>
                    <a:lnTo>
                      <a:pt x="1526" y="164"/>
                    </a:lnTo>
                    <a:lnTo>
                      <a:pt x="1528" y="144"/>
                    </a:lnTo>
                    <a:lnTo>
                      <a:pt x="1529" y="127"/>
                    </a:lnTo>
                    <a:lnTo>
                      <a:pt x="1529" y="112"/>
                    </a:lnTo>
                    <a:lnTo>
                      <a:pt x="1527" y="101"/>
                    </a:lnTo>
                    <a:lnTo>
                      <a:pt x="1526" y="96"/>
                    </a:lnTo>
                    <a:lnTo>
                      <a:pt x="1524" y="92"/>
                    </a:lnTo>
                    <a:lnTo>
                      <a:pt x="1521" y="89"/>
                    </a:lnTo>
                    <a:lnTo>
                      <a:pt x="1519" y="87"/>
                    </a:lnTo>
                    <a:lnTo>
                      <a:pt x="1517" y="84"/>
                    </a:lnTo>
                    <a:lnTo>
                      <a:pt x="1510" y="81"/>
                    </a:lnTo>
                    <a:lnTo>
                      <a:pt x="1499" y="79"/>
                    </a:lnTo>
                    <a:lnTo>
                      <a:pt x="1482" y="78"/>
                    </a:lnTo>
                    <a:close/>
                    <a:moveTo>
                      <a:pt x="339" y="1606"/>
                    </a:moveTo>
                    <a:lnTo>
                      <a:pt x="322" y="1606"/>
                    </a:lnTo>
                    <a:lnTo>
                      <a:pt x="305" y="1605"/>
                    </a:lnTo>
                    <a:lnTo>
                      <a:pt x="288" y="1603"/>
                    </a:lnTo>
                    <a:lnTo>
                      <a:pt x="272" y="1601"/>
                    </a:lnTo>
                    <a:lnTo>
                      <a:pt x="255" y="1597"/>
                    </a:lnTo>
                    <a:lnTo>
                      <a:pt x="240" y="1593"/>
                    </a:lnTo>
                    <a:lnTo>
                      <a:pt x="224" y="1587"/>
                    </a:lnTo>
                    <a:lnTo>
                      <a:pt x="209" y="1582"/>
                    </a:lnTo>
                    <a:lnTo>
                      <a:pt x="194" y="1576"/>
                    </a:lnTo>
                    <a:lnTo>
                      <a:pt x="179" y="1568"/>
                    </a:lnTo>
                    <a:lnTo>
                      <a:pt x="165" y="1560"/>
                    </a:lnTo>
                    <a:lnTo>
                      <a:pt x="151" y="1551"/>
                    </a:lnTo>
                    <a:lnTo>
                      <a:pt x="138" y="1542"/>
                    </a:lnTo>
                    <a:lnTo>
                      <a:pt x="124" y="1531"/>
                    </a:lnTo>
                    <a:lnTo>
                      <a:pt x="111" y="1519"/>
                    </a:lnTo>
                    <a:lnTo>
                      <a:pt x="98" y="1507"/>
                    </a:lnTo>
                    <a:lnTo>
                      <a:pt x="82" y="1490"/>
                    </a:lnTo>
                    <a:lnTo>
                      <a:pt x="68" y="1472"/>
                    </a:lnTo>
                    <a:lnTo>
                      <a:pt x="55" y="1453"/>
                    </a:lnTo>
                    <a:lnTo>
                      <a:pt x="42" y="1434"/>
                    </a:lnTo>
                    <a:lnTo>
                      <a:pt x="33" y="1414"/>
                    </a:lnTo>
                    <a:lnTo>
                      <a:pt x="23" y="1394"/>
                    </a:lnTo>
                    <a:lnTo>
                      <a:pt x="16" y="1373"/>
                    </a:lnTo>
                    <a:lnTo>
                      <a:pt x="9" y="1351"/>
                    </a:lnTo>
                    <a:lnTo>
                      <a:pt x="5" y="1329"/>
                    </a:lnTo>
                    <a:lnTo>
                      <a:pt x="2" y="1306"/>
                    </a:lnTo>
                    <a:lnTo>
                      <a:pt x="0" y="1283"/>
                    </a:lnTo>
                    <a:lnTo>
                      <a:pt x="0" y="1259"/>
                    </a:lnTo>
                    <a:lnTo>
                      <a:pt x="1" y="1234"/>
                    </a:lnTo>
                    <a:lnTo>
                      <a:pt x="4" y="1210"/>
                    </a:lnTo>
                    <a:lnTo>
                      <a:pt x="8" y="1184"/>
                    </a:lnTo>
                    <a:lnTo>
                      <a:pt x="13" y="1159"/>
                    </a:lnTo>
                    <a:lnTo>
                      <a:pt x="22" y="1131"/>
                    </a:lnTo>
                    <a:lnTo>
                      <a:pt x="31" y="1103"/>
                    </a:lnTo>
                    <a:lnTo>
                      <a:pt x="42" y="1074"/>
                    </a:lnTo>
                    <a:lnTo>
                      <a:pt x="56" y="1044"/>
                    </a:lnTo>
                    <a:lnTo>
                      <a:pt x="70" y="1014"/>
                    </a:lnTo>
                    <a:lnTo>
                      <a:pt x="87" y="985"/>
                    </a:lnTo>
                    <a:lnTo>
                      <a:pt x="105" y="954"/>
                    </a:lnTo>
                    <a:lnTo>
                      <a:pt x="125" y="923"/>
                    </a:lnTo>
                    <a:lnTo>
                      <a:pt x="146" y="891"/>
                    </a:lnTo>
                    <a:lnTo>
                      <a:pt x="170" y="859"/>
                    </a:lnTo>
                    <a:lnTo>
                      <a:pt x="195" y="827"/>
                    </a:lnTo>
                    <a:lnTo>
                      <a:pt x="222" y="794"/>
                    </a:lnTo>
                    <a:lnTo>
                      <a:pt x="249" y="761"/>
                    </a:lnTo>
                    <a:lnTo>
                      <a:pt x="280" y="728"/>
                    </a:lnTo>
                    <a:lnTo>
                      <a:pt x="311" y="694"/>
                    </a:lnTo>
                    <a:lnTo>
                      <a:pt x="345" y="660"/>
                    </a:lnTo>
                    <a:lnTo>
                      <a:pt x="376" y="631"/>
                    </a:lnTo>
                    <a:lnTo>
                      <a:pt x="408" y="600"/>
                    </a:lnTo>
                    <a:lnTo>
                      <a:pt x="442" y="570"/>
                    </a:lnTo>
                    <a:lnTo>
                      <a:pt x="476" y="540"/>
                    </a:lnTo>
                    <a:lnTo>
                      <a:pt x="512" y="510"/>
                    </a:lnTo>
                    <a:lnTo>
                      <a:pt x="549" y="481"/>
                    </a:lnTo>
                    <a:lnTo>
                      <a:pt x="586" y="451"/>
                    </a:lnTo>
                    <a:lnTo>
                      <a:pt x="624" y="422"/>
                    </a:lnTo>
                    <a:lnTo>
                      <a:pt x="664" y="394"/>
                    </a:lnTo>
                    <a:lnTo>
                      <a:pt x="704" y="365"/>
                    </a:lnTo>
                    <a:lnTo>
                      <a:pt x="744" y="337"/>
                    </a:lnTo>
                    <a:lnTo>
                      <a:pt x="784" y="311"/>
                    </a:lnTo>
                    <a:lnTo>
                      <a:pt x="824" y="284"/>
                    </a:lnTo>
                    <a:lnTo>
                      <a:pt x="866" y="259"/>
                    </a:lnTo>
                    <a:lnTo>
                      <a:pt x="906" y="234"/>
                    </a:lnTo>
                    <a:lnTo>
                      <a:pt x="947" y="210"/>
                    </a:lnTo>
                    <a:lnTo>
                      <a:pt x="987" y="187"/>
                    </a:lnTo>
                    <a:lnTo>
                      <a:pt x="1026" y="165"/>
                    </a:lnTo>
                    <a:lnTo>
                      <a:pt x="1066" y="145"/>
                    </a:lnTo>
                    <a:lnTo>
                      <a:pt x="1105" y="125"/>
                    </a:lnTo>
                    <a:lnTo>
                      <a:pt x="1142" y="107"/>
                    </a:lnTo>
                    <a:lnTo>
                      <a:pt x="1179" y="89"/>
                    </a:lnTo>
                    <a:lnTo>
                      <a:pt x="1216" y="73"/>
                    </a:lnTo>
                    <a:lnTo>
                      <a:pt x="1252" y="59"/>
                    </a:lnTo>
                    <a:lnTo>
                      <a:pt x="1286" y="45"/>
                    </a:lnTo>
                    <a:lnTo>
                      <a:pt x="1318" y="34"/>
                    </a:lnTo>
                    <a:lnTo>
                      <a:pt x="1349" y="24"/>
                    </a:lnTo>
                    <a:lnTo>
                      <a:pt x="1379" y="15"/>
                    </a:lnTo>
                    <a:lnTo>
                      <a:pt x="1408" y="9"/>
                    </a:lnTo>
                    <a:lnTo>
                      <a:pt x="1434" y="5"/>
                    </a:lnTo>
                    <a:lnTo>
                      <a:pt x="1459" y="2"/>
                    </a:lnTo>
                    <a:lnTo>
                      <a:pt x="1482" y="0"/>
                    </a:lnTo>
                    <a:lnTo>
                      <a:pt x="1497" y="2"/>
                    </a:lnTo>
                    <a:lnTo>
                      <a:pt x="1511" y="3"/>
                    </a:lnTo>
                    <a:lnTo>
                      <a:pt x="1524" y="5"/>
                    </a:lnTo>
                    <a:lnTo>
                      <a:pt x="1535" y="8"/>
                    </a:lnTo>
                    <a:lnTo>
                      <a:pt x="1547" y="13"/>
                    </a:lnTo>
                    <a:lnTo>
                      <a:pt x="1557" y="19"/>
                    </a:lnTo>
                    <a:lnTo>
                      <a:pt x="1566" y="25"/>
                    </a:lnTo>
                    <a:lnTo>
                      <a:pt x="1575" y="31"/>
                    </a:lnTo>
                    <a:lnTo>
                      <a:pt x="1582" y="40"/>
                    </a:lnTo>
                    <a:lnTo>
                      <a:pt x="1588" y="49"/>
                    </a:lnTo>
                    <a:lnTo>
                      <a:pt x="1594" y="60"/>
                    </a:lnTo>
                    <a:lnTo>
                      <a:pt x="1598" y="71"/>
                    </a:lnTo>
                    <a:lnTo>
                      <a:pt x="1601" y="83"/>
                    </a:lnTo>
                    <a:lnTo>
                      <a:pt x="1603" y="96"/>
                    </a:lnTo>
                    <a:lnTo>
                      <a:pt x="1604" y="109"/>
                    </a:lnTo>
                    <a:lnTo>
                      <a:pt x="1605" y="124"/>
                    </a:lnTo>
                    <a:lnTo>
                      <a:pt x="1605" y="139"/>
                    </a:lnTo>
                    <a:lnTo>
                      <a:pt x="1604" y="153"/>
                    </a:lnTo>
                    <a:lnTo>
                      <a:pt x="1602" y="169"/>
                    </a:lnTo>
                    <a:lnTo>
                      <a:pt x="1600" y="186"/>
                    </a:lnTo>
                    <a:lnTo>
                      <a:pt x="1593" y="220"/>
                    </a:lnTo>
                    <a:lnTo>
                      <a:pt x="1583" y="257"/>
                    </a:lnTo>
                    <a:lnTo>
                      <a:pt x="1571" y="294"/>
                    </a:lnTo>
                    <a:lnTo>
                      <a:pt x="1558" y="332"/>
                    </a:lnTo>
                    <a:lnTo>
                      <a:pt x="1542" y="371"/>
                    </a:lnTo>
                    <a:lnTo>
                      <a:pt x="1525" y="411"/>
                    </a:lnTo>
                    <a:lnTo>
                      <a:pt x="1507" y="450"/>
                    </a:lnTo>
                    <a:lnTo>
                      <a:pt x="1489" y="488"/>
                    </a:lnTo>
                    <a:lnTo>
                      <a:pt x="1469" y="527"/>
                    </a:lnTo>
                    <a:lnTo>
                      <a:pt x="1449" y="564"/>
                    </a:lnTo>
                    <a:lnTo>
                      <a:pt x="1424" y="613"/>
                    </a:lnTo>
                    <a:lnTo>
                      <a:pt x="1396" y="662"/>
                    </a:lnTo>
                    <a:lnTo>
                      <a:pt x="1367" y="709"/>
                    </a:lnTo>
                    <a:lnTo>
                      <a:pt x="1338" y="757"/>
                    </a:lnTo>
                    <a:lnTo>
                      <a:pt x="1308" y="805"/>
                    </a:lnTo>
                    <a:lnTo>
                      <a:pt x="1277" y="852"/>
                    </a:lnTo>
                    <a:lnTo>
                      <a:pt x="1245" y="897"/>
                    </a:lnTo>
                    <a:lnTo>
                      <a:pt x="1213" y="943"/>
                    </a:lnTo>
                    <a:lnTo>
                      <a:pt x="1180" y="988"/>
                    </a:lnTo>
                    <a:lnTo>
                      <a:pt x="1147" y="1030"/>
                    </a:lnTo>
                    <a:lnTo>
                      <a:pt x="1114" y="1073"/>
                    </a:lnTo>
                    <a:lnTo>
                      <a:pt x="1080" y="1114"/>
                    </a:lnTo>
                    <a:lnTo>
                      <a:pt x="1046" y="1154"/>
                    </a:lnTo>
                    <a:lnTo>
                      <a:pt x="1013" y="1191"/>
                    </a:lnTo>
                    <a:lnTo>
                      <a:pt x="979" y="1227"/>
                    </a:lnTo>
                    <a:lnTo>
                      <a:pt x="945" y="1262"/>
                    </a:lnTo>
                    <a:lnTo>
                      <a:pt x="903" y="1303"/>
                    </a:lnTo>
                    <a:lnTo>
                      <a:pt x="861" y="1342"/>
                    </a:lnTo>
                    <a:lnTo>
                      <a:pt x="820" y="1379"/>
                    </a:lnTo>
                    <a:lnTo>
                      <a:pt x="779" y="1412"/>
                    </a:lnTo>
                    <a:lnTo>
                      <a:pt x="738" y="1443"/>
                    </a:lnTo>
                    <a:lnTo>
                      <a:pt x="699" y="1471"/>
                    </a:lnTo>
                    <a:lnTo>
                      <a:pt x="660" y="1497"/>
                    </a:lnTo>
                    <a:lnTo>
                      <a:pt x="621" y="1520"/>
                    </a:lnTo>
                    <a:lnTo>
                      <a:pt x="584" y="1540"/>
                    </a:lnTo>
                    <a:lnTo>
                      <a:pt x="547" y="1557"/>
                    </a:lnTo>
                    <a:lnTo>
                      <a:pt x="529" y="1566"/>
                    </a:lnTo>
                    <a:lnTo>
                      <a:pt x="511" y="1572"/>
                    </a:lnTo>
                    <a:lnTo>
                      <a:pt x="493" y="1580"/>
                    </a:lnTo>
                    <a:lnTo>
                      <a:pt x="475" y="1585"/>
                    </a:lnTo>
                    <a:lnTo>
                      <a:pt x="458" y="1590"/>
                    </a:lnTo>
                    <a:lnTo>
                      <a:pt x="440" y="1595"/>
                    </a:lnTo>
                    <a:lnTo>
                      <a:pt x="423" y="1598"/>
                    </a:lnTo>
                    <a:lnTo>
                      <a:pt x="406" y="1601"/>
                    </a:lnTo>
                    <a:lnTo>
                      <a:pt x="389" y="1604"/>
                    </a:lnTo>
                    <a:lnTo>
                      <a:pt x="372" y="1605"/>
                    </a:lnTo>
                    <a:lnTo>
                      <a:pt x="356" y="1606"/>
                    </a:lnTo>
                    <a:lnTo>
                      <a:pt x="339" y="16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0" name="Inhaltsplatzhalter 9">
            <a:extLst>
              <a:ext uri="{FF2B5EF4-FFF2-40B4-BE49-F238E27FC236}">
                <a16:creationId xmlns:a16="http://schemas.microsoft.com/office/drawing/2014/main" id="{E4E08844-AC0C-4688-A46C-29675D2732FB}"/>
              </a:ext>
            </a:extLst>
          </p:cNvPr>
          <p:cNvSpPr txBox="1">
            <a:spLocks/>
          </p:cNvSpPr>
          <p:nvPr/>
        </p:nvSpPr>
        <p:spPr>
          <a:xfrm>
            <a:off x="280800"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
        <p:nvSpPr>
          <p:cNvPr id="41" name="Inhaltsplatzhalter 9">
            <a:extLst>
              <a:ext uri="{FF2B5EF4-FFF2-40B4-BE49-F238E27FC236}">
                <a16:creationId xmlns:a16="http://schemas.microsoft.com/office/drawing/2014/main" id="{1410BE95-7A1C-4FA3-AE25-425CB766CB9B}"/>
              </a:ext>
            </a:extLst>
          </p:cNvPr>
          <p:cNvSpPr txBox="1">
            <a:spLocks/>
          </p:cNvSpPr>
          <p:nvPr/>
        </p:nvSpPr>
        <p:spPr>
          <a:xfrm>
            <a:off x="2708646"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
        <p:nvSpPr>
          <p:cNvPr id="42" name="Inhaltsplatzhalter 9">
            <a:extLst>
              <a:ext uri="{FF2B5EF4-FFF2-40B4-BE49-F238E27FC236}">
                <a16:creationId xmlns:a16="http://schemas.microsoft.com/office/drawing/2014/main" id="{7D631E62-77F5-415A-AE5A-5522F92D983A}"/>
              </a:ext>
            </a:extLst>
          </p:cNvPr>
          <p:cNvSpPr txBox="1">
            <a:spLocks/>
          </p:cNvSpPr>
          <p:nvPr/>
        </p:nvSpPr>
        <p:spPr>
          <a:xfrm>
            <a:off x="5136492"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
        <p:nvSpPr>
          <p:cNvPr id="43" name="Inhaltsplatzhalter 9">
            <a:extLst>
              <a:ext uri="{FF2B5EF4-FFF2-40B4-BE49-F238E27FC236}">
                <a16:creationId xmlns:a16="http://schemas.microsoft.com/office/drawing/2014/main" id="{E956BAF9-0621-4482-A03E-EBF25E05C46E}"/>
              </a:ext>
            </a:extLst>
          </p:cNvPr>
          <p:cNvSpPr txBox="1">
            <a:spLocks/>
          </p:cNvSpPr>
          <p:nvPr/>
        </p:nvSpPr>
        <p:spPr>
          <a:xfrm>
            <a:off x="7564338"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Tree>
    <p:extLst>
      <p:ext uri="{BB962C8B-B14F-4D97-AF65-F5344CB8AC3E}">
        <p14:creationId xmlns:p14="http://schemas.microsoft.com/office/powerpoint/2010/main" val="15427348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F597B3A-A91A-458F-B644-A173B9EAE09E}"/>
              </a:ext>
            </a:extLst>
          </p:cNvPr>
          <p:cNvSpPr>
            <a:spLocks noGrp="1"/>
          </p:cNvSpPr>
          <p:nvPr>
            <p:ph type="title"/>
          </p:nvPr>
        </p:nvSpPr>
        <p:spPr/>
        <p:txBody>
          <a:bodyPr/>
          <a:lstStyle/>
          <a:p>
            <a:r>
              <a:rPr lang="de-DE" dirty="0"/>
              <a:t>Gestaltungsvariante mit Icons – orange – mit Bildelement</a:t>
            </a:r>
          </a:p>
        </p:txBody>
      </p:sp>
      <p:sp>
        <p:nvSpPr>
          <p:cNvPr id="11" name="Textplatzhalter 10">
            <a:extLst>
              <a:ext uri="{FF2B5EF4-FFF2-40B4-BE49-F238E27FC236}">
                <a16:creationId xmlns:a16="http://schemas.microsoft.com/office/drawing/2014/main" id="{DBBC042B-39EF-46E0-ABED-D91F97537901}"/>
              </a:ext>
            </a:extLst>
          </p:cNvPr>
          <p:cNvSpPr>
            <a:spLocks noGrp="1"/>
          </p:cNvSpPr>
          <p:nvPr>
            <p:ph type="body" sz="quarter" idx="13"/>
          </p:nvPr>
        </p:nvSpPr>
        <p:spPr/>
        <p:txBody>
          <a:bodyPr/>
          <a:lstStyle/>
          <a:p>
            <a:r>
              <a:rPr lang="de-DE" dirty="0"/>
              <a:t>Platzhalter für Unterüberschrift</a:t>
            </a:r>
          </a:p>
        </p:txBody>
      </p:sp>
      <p:sp>
        <p:nvSpPr>
          <p:cNvPr id="3" name="Textplatzhalter 2"/>
          <p:cNvSpPr>
            <a:spLocks noGrp="1"/>
          </p:cNvSpPr>
          <p:nvPr>
            <p:ph type="body" sz="quarter" idx="14"/>
          </p:nvPr>
        </p:nvSpPr>
        <p:spPr/>
        <p:txBody>
          <a:bodyPr/>
          <a:lstStyle/>
          <a:p>
            <a:pPr>
              <a:spcAft>
                <a:spcPts val="0"/>
              </a:spcAft>
            </a:pPr>
            <a:endParaRPr lang="de-DE"/>
          </a:p>
        </p:txBody>
      </p:sp>
      <p:sp>
        <p:nvSpPr>
          <p:cNvPr id="5" name="Datumsplatzhalter 4">
            <a:extLst>
              <a:ext uri="{FF2B5EF4-FFF2-40B4-BE49-F238E27FC236}">
                <a16:creationId xmlns:a16="http://schemas.microsoft.com/office/drawing/2014/main" id="{60527985-7FCC-4C83-8525-1827CD52F5CB}"/>
              </a:ext>
            </a:extLst>
          </p:cNvPr>
          <p:cNvSpPr>
            <a:spLocks noGrp="1"/>
          </p:cNvSpPr>
          <p:nvPr>
            <p:ph type="dt" sz="half" idx="2"/>
          </p:nvPr>
        </p:nvSpPr>
        <p:spPr/>
        <p:txBody>
          <a:bodyPr/>
          <a:lstStyle/>
          <a:p>
            <a:fld id="{0F0DA7FB-4B2A-4738-B365-63A76BAE005D}" type="datetime1">
              <a:rPr lang="de-DE" smtClean="0"/>
              <a:t>04.05.2020</a:t>
            </a:fld>
            <a:endParaRPr lang="de-DE"/>
          </a:p>
        </p:txBody>
      </p:sp>
      <p:sp>
        <p:nvSpPr>
          <p:cNvPr id="7" name="Foliennummernplatzhalter 6">
            <a:extLst>
              <a:ext uri="{FF2B5EF4-FFF2-40B4-BE49-F238E27FC236}">
                <a16:creationId xmlns:a16="http://schemas.microsoft.com/office/drawing/2014/main" id="{FBEA1B38-1224-4D93-8101-E9C9FEC6D923}"/>
              </a:ext>
            </a:extLst>
          </p:cNvPr>
          <p:cNvSpPr>
            <a:spLocks noGrp="1"/>
          </p:cNvSpPr>
          <p:nvPr>
            <p:ph type="sldNum" sz="quarter" idx="4"/>
          </p:nvPr>
        </p:nvSpPr>
        <p:spPr/>
        <p:txBody>
          <a:bodyPr/>
          <a:lstStyle/>
          <a:p>
            <a:fld id="{60F8E2DC-8382-49B6-A2A6-01CCC12CBD17}" type="slidenum">
              <a:rPr lang="de-DE" smtClean="0"/>
              <a:pPr/>
              <a:t>17</a:t>
            </a:fld>
            <a:endParaRPr lang="de-DE"/>
          </a:p>
        </p:txBody>
      </p:sp>
      <p:grpSp>
        <p:nvGrpSpPr>
          <p:cNvPr id="51" name="Gruppieren 50">
            <a:extLst>
              <a:ext uri="{FF2B5EF4-FFF2-40B4-BE49-F238E27FC236}">
                <a16:creationId xmlns:a16="http://schemas.microsoft.com/office/drawing/2014/main" id="{6D6D01A3-2AC4-4D4C-9E64-A0018964AA17}"/>
              </a:ext>
            </a:extLst>
          </p:cNvPr>
          <p:cNvGrpSpPr/>
          <p:nvPr/>
        </p:nvGrpSpPr>
        <p:grpSpPr>
          <a:xfrm>
            <a:off x="780831" y="1627200"/>
            <a:ext cx="1080000" cy="1080000"/>
            <a:chOff x="780831" y="1275080"/>
            <a:chExt cx="1080000" cy="1080000"/>
          </a:xfrm>
        </p:grpSpPr>
        <p:sp>
          <p:nvSpPr>
            <p:cNvPr id="2" name="Sechseck 1">
              <a:extLst>
                <a:ext uri="{FF2B5EF4-FFF2-40B4-BE49-F238E27FC236}">
                  <a16:creationId xmlns:a16="http://schemas.microsoft.com/office/drawing/2014/main" id="{DA943F83-975C-4E62-9933-7057583B1A8A}"/>
                </a:ext>
              </a:extLst>
            </p:cNvPr>
            <p:cNvSpPr/>
            <p:nvPr/>
          </p:nvSpPr>
          <p:spPr>
            <a:xfrm>
              <a:off x="780831"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17" name="Group 17">
              <a:extLst>
                <a:ext uri="{FF2B5EF4-FFF2-40B4-BE49-F238E27FC236}">
                  <a16:creationId xmlns:a16="http://schemas.microsoft.com/office/drawing/2014/main" id="{1213BF3B-75EA-4C7C-9A85-9A1D2A071B0C}"/>
                </a:ext>
              </a:extLst>
            </p:cNvPr>
            <p:cNvGrpSpPr>
              <a:grpSpLocks noChangeAspect="1"/>
            </p:cNvGrpSpPr>
            <p:nvPr/>
          </p:nvGrpSpPr>
          <p:grpSpPr>
            <a:xfrm>
              <a:off x="1042088" y="1545327"/>
              <a:ext cx="557486" cy="539506"/>
              <a:chOff x="338138" y="4464051"/>
              <a:chExt cx="295275" cy="285750"/>
            </a:xfrm>
            <a:solidFill>
              <a:schemeClr val="bg2"/>
            </a:solidFill>
            <a:effectLst/>
          </p:grpSpPr>
          <p:sp>
            <p:nvSpPr>
              <p:cNvPr id="18" name="Freeform 117">
                <a:extLst>
                  <a:ext uri="{FF2B5EF4-FFF2-40B4-BE49-F238E27FC236}">
                    <a16:creationId xmlns:a16="http://schemas.microsoft.com/office/drawing/2014/main" id="{1B69E0A8-FF63-49E5-9016-4F1E9249F975}"/>
                  </a:ext>
                </a:extLst>
              </p:cNvPr>
              <p:cNvSpPr>
                <a:spLocks noEditPoints="1"/>
              </p:cNvSpPr>
              <p:nvPr/>
            </p:nvSpPr>
            <p:spPr bwMode="auto">
              <a:xfrm>
                <a:off x="355601" y="4497388"/>
                <a:ext cx="252413" cy="252413"/>
              </a:xfrm>
              <a:custGeom>
                <a:avLst/>
                <a:gdLst>
                  <a:gd name="T0" fmla="*/ 260 w 636"/>
                  <a:gd name="T1" fmla="*/ 606 h 637"/>
                  <a:gd name="T2" fmla="*/ 191 w 636"/>
                  <a:gd name="T3" fmla="*/ 583 h 637"/>
                  <a:gd name="T4" fmla="*/ 132 w 636"/>
                  <a:gd name="T5" fmla="*/ 544 h 637"/>
                  <a:gd name="T6" fmla="*/ 84 w 636"/>
                  <a:gd name="T7" fmla="*/ 494 h 637"/>
                  <a:gd name="T8" fmla="*/ 48 w 636"/>
                  <a:gd name="T9" fmla="*/ 433 h 637"/>
                  <a:gd name="T10" fmla="*/ 29 w 636"/>
                  <a:gd name="T11" fmla="*/ 363 h 637"/>
                  <a:gd name="T12" fmla="*/ 27 w 636"/>
                  <a:gd name="T13" fmla="*/ 289 h 637"/>
                  <a:gd name="T14" fmla="*/ 43 w 636"/>
                  <a:gd name="T15" fmla="*/ 219 h 637"/>
                  <a:gd name="T16" fmla="*/ 75 w 636"/>
                  <a:gd name="T17" fmla="*/ 156 h 637"/>
                  <a:gd name="T18" fmla="*/ 121 w 636"/>
                  <a:gd name="T19" fmla="*/ 102 h 637"/>
                  <a:gd name="T20" fmla="*/ 179 w 636"/>
                  <a:gd name="T21" fmla="*/ 61 h 637"/>
                  <a:gd name="T22" fmla="*/ 245 w 636"/>
                  <a:gd name="T23" fmla="*/ 35 h 637"/>
                  <a:gd name="T24" fmla="*/ 318 w 636"/>
                  <a:gd name="T25" fmla="*/ 26 h 637"/>
                  <a:gd name="T26" fmla="*/ 392 w 636"/>
                  <a:gd name="T27" fmla="*/ 35 h 637"/>
                  <a:gd name="T28" fmla="*/ 457 w 636"/>
                  <a:gd name="T29" fmla="*/ 61 h 637"/>
                  <a:gd name="T30" fmla="*/ 515 w 636"/>
                  <a:gd name="T31" fmla="*/ 102 h 637"/>
                  <a:gd name="T32" fmla="*/ 561 w 636"/>
                  <a:gd name="T33" fmla="*/ 156 h 637"/>
                  <a:gd name="T34" fmla="*/ 593 w 636"/>
                  <a:gd name="T35" fmla="*/ 219 h 637"/>
                  <a:gd name="T36" fmla="*/ 610 w 636"/>
                  <a:gd name="T37" fmla="*/ 289 h 637"/>
                  <a:gd name="T38" fmla="*/ 607 w 636"/>
                  <a:gd name="T39" fmla="*/ 363 h 637"/>
                  <a:gd name="T40" fmla="*/ 588 w 636"/>
                  <a:gd name="T41" fmla="*/ 433 h 637"/>
                  <a:gd name="T42" fmla="*/ 553 w 636"/>
                  <a:gd name="T43" fmla="*/ 494 h 637"/>
                  <a:gd name="T44" fmla="*/ 504 w 636"/>
                  <a:gd name="T45" fmla="*/ 544 h 637"/>
                  <a:gd name="T46" fmla="*/ 445 w 636"/>
                  <a:gd name="T47" fmla="*/ 583 h 637"/>
                  <a:gd name="T48" fmla="*/ 377 w 636"/>
                  <a:gd name="T49" fmla="*/ 606 h 637"/>
                  <a:gd name="T50" fmla="*/ 636 w 636"/>
                  <a:gd name="T51" fmla="*/ 319 h 637"/>
                  <a:gd name="T52" fmla="*/ 627 w 636"/>
                  <a:gd name="T53" fmla="*/ 240 h 637"/>
                  <a:gd name="T54" fmla="*/ 598 w 636"/>
                  <a:gd name="T55" fmla="*/ 168 h 637"/>
                  <a:gd name="T56" fmla="*/ 554 w 636"/>
                  <a:gd name="T57" fmla="*/ 105 h 637"/>
                  <a:gd name="T58" fmla="*/ 496 w 636"/>
                  <a:gd name="T59" fmla="*/ 55 h 637"/>
                  <a:gd name="T60" fmla="*/ 427 w 636"/>
                  <a:gd name="T61" fmla="*/ 20 h 637"/>
                  <a:gd name="T62" fmla="*/ 351 w 636"/>
                  <a:gd name="T63" fmla="*/ 2 h 637"/>
                  <a:gd name="T64" fmla="*/ 269 w 636"/>
                  <a:gd name="T65" fmla="*/ 4 h 637"/>
                  <a:gd name="T66" fmla="*/ 194 w 636"/>
                  <a:gd name="T67" fmla="*/ 26 h 637"/>
                  <a:gd name="T68" fmla="*/ 128 w 636"/>
                  <a:gd name="T69" fmla="*/ 64 h 637"/>
                  <a:gd name="T70" fmla="*/ 73 w 636"/>
                  <a:gd name="T71" fmla="*/ 117 h 637"/>
                  <a:gd name="T72" fmla="*/ 31 w 636"/>
                  <a:gd name="T73" fmla="*/ 182 h 637"/>
                  <a:gd name="T74" fmla="*/ 6 w 636"/>
                  <a:gd name="T75" fmla="*/ 255 h 637"/>
                  <a:gd name="T76" fmla="*/ 1 w 636"/>
                  <a:gd name="T77" fmla="*/ 338 h 637"/>
                  <a:gd name="T78" fmla="*/ 20 w 636"/>
                  <a:gd name="T79" fmla="*/ 433 h 637"/>
                  <a:gd name="T80" fmla="*/ 66 w 636"/>
                  <a:gd name="T81" fmla="*/ 513 h 637"/>
                  <a:gd name="T82" fmla="*/ 132 w 636"/>
                  <a:gd name="T83" fmla="*/ 578 h 637"/>
                  <a:gd name="T84" fmla="*/ 95 w 636"/>
                  <a:gd name="T85" fmla="*/ 634 h 637"/>
                  <a:gd name="T86" fmla="*/ 153 w 636"/>
                  <a:gd name="T87" fmla="*/ 592 h 637"/>
                  <a:gd name="T88" fmla="*/ 252 w 636"/>
                  <a:gd name="T89" fmla="*/ 630 h 637"/>
                  <a:gd name="T90" fmla="*/ 366 w 636"/>
                  <a:gd name="T91" fmla="*/ 634 h 637"/>
                  <a:gd name="T92" fmla="*/ 475 w 636"/>
                  <a:gd name="T93" fmla="*/ 596 h 637"/>
                  <a:gd name="T94" fmla="*/ 558 w 636"/>
                  <a:gd name="T95" fmla="*/ 636 h 637"/>
                  <a:gd name="T96" fmla="*/ 562 w 636"/>
                  <a:gd name="T97" fmla="*/ 614 h 637"/>
                  <a:gd name="T98" fmla="*/ 566 w 636"/>
                  <a:gd name="T99" fmla="*/ 519 h 637"/>
                  <a:gd name="T100" fmla="*/ 611 w 636"/>
                  <a:gd name="T101" fmla="*/ 444 h 637"/>
                  <a:gd name="T102" fmla="*/ 634 w 636"/>
                  <a:gd name="T103" fmla="*/ 355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6" h="637">
                    <a:moveTo>
                      <a:pt x="318" y="612"/>
                    </a:moveTo>
                    <a:lnTo>
                      <a:pt x="303" y="611"/>
                    </a:lnTo>
                    <a:lnTo>
                      <a:pt x="289" y="610"/>
                    </a:lnTo>
                    <a:lnTo>
                      <a:pt x="274" y="608"/>
                    </a:lnTo>
                    <a:lnTo>
                      <a:pt x="260" y="606"/>
                    </a:lnTo>
                    <a:lnTo>
                      <a:pt x="245" y="602"/>
                    </a:lnTo>
                    <a:lnTo>
                      <a:pt x="231" y="598"/>
                    </a:lnTo>
                    <a:lnTo>
                      <a:pt x="218" y="594"/>
                    </a:lnTo>
                    <a:lnTo>
                      <a:pt x="204" y="588"/>
                    </a:lnTo>
                    <a:lnTo>
                      <a:pt x="191" y="583"/>
                    </a:lnTo>
                    <a:lnTo>
                      <a:pt x="179" y="577"/>
                    </a:lnTo>
                    <a:lnTo>
                      <a:pt x="166" y="569"/>
                    </a:lnTo>
                    <a:lnTo>
                      <a:pt x="154" y="562"/>
                    </a:lnTo>
                    <a:lnTo>
                      <a:pt x="143" y="553"/>
                    </a:lnTo>
                    <a:lnTo>
                      <a:pt x="132" y="544"/>
                    </a:lnTo>
                    <a:lnTo>
                      <a:pt x="121" y="536"/>
                    </a:lnTo>
                    <a:lnTo>
                      <a:pt x="111" y="526"/>
                    </a:lnTo>
                    <a:lnTo>
                      <a:pt x="102" y="515"/>
                    </a:lnTo>
                    <a:lnTo>
                      <a:pt x="92" y="505"/>
                    </a:lnTo>
                    <a:lnTo>
                      <a:pt x="84" y="494"/>
                    </a:lnTo>
                    <a:lnTo>
                      <a:pt x="75" y="482"/>
                    </a:lnTo>
                    <a:lnTo>
                      <a:pt x="67" y="470"/>
                    </a:lnTo>
                    <a:lnTo>
                      <a:pt x="61" y="459"/>
                    </a:lnTo>
                    <a:lnTo>
                      <a:pt x="55" y="446"/>
                    </a:lnTo>
                    <a:lnTo>
                      <a:pt x="48" y="433"/>
                    </a:lnTo>
                    <a:lnTo>
                      <a:pt x="43" y="420"/>
                    </a:lnTo>
                    <a:lnTo>
                      <a:pt x="38" y="406"/>
                    </a:lnTo>
                    <a:lnTo>
                      <a:pt x="34" y="392"/>
                    </a:lnTo>
                    <a:lnTo>
                      <a:pt x="31" y="378"/>
                    </a:lnTo>
                    <a:lnTo>
                      <a:pt x="29" y="363"/>
                    </a:lnTo>
                    <a:lnTo>
                      <a:pt x="27" y="349"/>
                    </a:lnTo>
                    <a:lnTo>
                      <a:pt x="26" y="334"/>
                    </a:lnTo>
                    <a:lnTo>
                      <a:pt x="26" y="319"/>
                    </a:lnTo>
                    <a:lnTo>
                      <a:pt x="26" y="304"/>
                    </a:lnTo>
                    <a:lnTo>
                      <a:pt x="27" y="289"/>
                    </a:lnTo>
                    <a:lnTo>
                      <a:pt x="29" y="275"/>
                    </a:lnTo>
                    <a:lnTo>
                      <a:pt x="31" y="260"/>
                    </a:lnTo>
                    <a:lnTo>
                      <a:pt x="34" y="246"/>
                    </a:lnTo>
                    <a:lnTo>
                      <a:pt x="38" y="232"/>
                    </a:lnTo>
                    <a:lnTo>
                      <a:pt x="43" y="219"/>
                    </a:lnTo>
                    <a:lnTo>
                      <a:pt x="48" y="205"/>
                    </a:lnTo>
                    <a:lnTo>
                      <a:pt x="55" y="192"/>
                    </a:lnTo>
                    <a:lnTo>
                      <a:pt x="61" y="179"/>
                    </a:lnTo>
                    <a:lnTo>
                      <a:pt x="67" y="168"/>
                    </a:lnTo>
                    <a:lnTo>
                      <a:pt x="75" y="156"/>
                    </a:lnTo>
                    <a:lnTo>
                      <a:pt x="84" y="144"/>
                    </a:lnTo>
                    <a:lnTo>
                      <a:pt x="92" y="133"/>
                    </a:lnTo>
                    <a:lnTo>
                      <a:pt x="102" y="122"/>
                    </a:lnTo>
                    <a:lnTo>
                      <a:pt x="111" y="112"/>
                    </a:lnTo>
                    <a:lnTo>
                      <a:pt x="121" y="102"/>
                    </a:lnTo>
                    <a:lnTo>
                      <a:pt x="132" y="93"/>
                    </a:lnTo>
                    <a:lnTo>
                      <a:pt x="143" y="85"/>
                    </a:lnTo>
                    <a:lnTo>
                      <a:pt x="154" y="76"/>
                    </a:lnTo>
                    <a:lnTo>
                      <a:pt x="166" y="69"/>
                    </a:lnTo>
                    <a:lnTo>
                      <a:pt x="179" y="61"/>
                    </a:lnTo>
                    <a:lnTo>
                      <a:pt x="191" y="55"/>
                    </a:lnTo>
                    <a:lnTo>
                      <a:pt x="204" y="49"/>
                    </a:lnTo>
                    <a:lnTo>
                      <a:pt x="218" y="44"/>
                    </a:lnTo>
                    <a:lnTo>
                      <a:pt x="231" y="39"/>
                    </a:lnTo>
                    <a:lnTo>
                      <a:pt x="245" y="35"/>
                    </a:lnTo>
                    <a:lnTo>
                      <a:pt x="260" y="32"/>
                    </a:lnTo>
                    <a:lnTo>
                      <a:pt x="274" y="29"/>
                    </a:lnTo>
                    <a:lnTo>
                      <a:pt x="289" y="28"/>
                    </a:lnTo>
                    <a:lnTo>
                      <a:pt x="303" y="26"/>
                    </a:lnTo>
                    <a:lnTo>
                      <a:pt x="318" y="26"/>
                    </a:lnTo>
                    <a:lnTo>
                      <a:pt x="333" y="26"/>
                    </a:lnTo>
                    <a:lnTo>
                      <a:pt x="348" y="28"/>
                    </a:lnTo>
                    <a:lnTo>
                      <a:pt x="363" y="29"/>
                    </a:lnTo>
                    <a:lnTo>
                      <a:pt x="377" y="32"/>
                    </a:lnTo>
                    <a:lnTo>
                      <a:pt x="392" y="35"/>
                    </a:lnTo>
                    <a:lnTo>
                      <a:pt x="405" y="39"/>
                    </a:lnTo>
                    <a:lnTo>
                      <a:pt x="418" y="44"/>
                    </a:lnTo>
                    <a:lnTo>
                      <a:pt x="431" y="49"/>
                    </a:lnTo>
                    <a:lnTo>
                      <a:pt x="445" y="55"/>
                    </a:lnTo>
                    <a:lnTo>
                      <a:pt x="457" y="61"/>
                    </a:lnTo>
                    <a:lnTo>
                      <a:pt x="470" y="69"/>
                    </a:lnTo>
                    <a:lnTo>
                      <a:pt x="482" y="76"/>
                    </a:lnTo>
                    <a:lnTo>
                      <a:pt x="494" y="85"/>
                    </a:lnTo>
                    <a:lnTo>
                      <a:pt x="504" y="93"/>
                    </a:lnTo>
                    <a:lnTo>
                      <a:pt x="515" y="102"/>
                    </a:lnTo>
                    <a:lnTo>
                      <a:pt x="525" y="112"/>
                    </a:lnTo>
                    <a:lnTo>
                      <a:pt x="534" y="122"/>
                    </a:lnTo>
                    <a:lnTo>
                      <a:pt x="544" y="133"/>
                    </a:lnTo>
                    <a:lnTo>
                      <a:pt x="553" y="144"/>
                    </a:lnTo>
                    <a:lnTo>
                      <a:pt x="561" y="156"/>
                    </a:lnTo>
                    <a:lnTo>
                      <a:pt x="569" y="168"/>
                    </a:lnTo>
                    <a:lnTo>
                      <a:pt x="575" y="179"/>
                    </a:lnTo>
                    <a:lnTo>
                      <a:pt x="582" y="192"/>
                    </a:lnTo>
                    <a:lnTo>
                      <a:pt x="588" y="205"/>
                    </a:lnTo>
                    <a:lnTo>
                      <a:pt x="593" y="219"/>
                    </a:lnTo>
                    <a:lnTo>
                      <a:pt x="598" y="232"/>
                    </a:lnTo>
                    <a:lnTo>
                      <a:pt x="602" y="246"/>
                    </a:lnTo>
                    <a:lnTo>
                      <a:pt x="605" y="260"/>
                    </a:lnTo>
                    <a:lnTo>
                      <a:pt x="607" y="275"/>
                    </a:lnTo>
                    <a:lnTo>
                      <a:pt x="610" y="289"/>
                    </a:lnTo>
                    <a:lnTo>
                      <a:pt x="611" y="304"/>
                    </a:lnTo>
                    <a:lnTo>
                      <a:pt x="611" y="319"/>
                    </a:lnTo>
                    <a:lnTo>
                      <a:pt x="611" y="334"/>
                    </a:lnTo>
                    <a:lnTo>
                      <a:pt x="610" y="349"/>
                    </a:lnTo>
                    <a:lnTo>
                      <a:pt x="607" y="363"/>
                    </a:lnTo>
                    <a:lnTo>
                      <a:pt x="605" y="378"/>
                    </a:lnTo>
                    <a:lnTo>
                      <a:pt x="602" y="392"/>
                    </a:lnTo>
                    <a:lnTo>
                      <a:pt x="598" y="406"/>
                    </a:lnTo>
                    <a:lnTo>
                      <a:pt x="593" y="420"/>
                    </a:lnTo>
                    <a:lnTo>
                      <a:pt x="588" y="433"/>
                    </a:lnTo>
                    <a:lnTo>
                      <a:pt x="582" y="446"/>
                    </a:lnTo>
                    <a:lnTo>
                      <a:pt x="575" y="459"/>
                    </a:lnTo>
                    <a:lnTo>
                      <a:pt x="569" y="470"/>
                    </a:lnTo>
                    <a:lnTo>
                      <a:pt x="561" y="482"/>
                    </a:lnTo>
                    <a:lnTo>
                      <a:pt x="553" y="494"/>
                    </a:lnTo>
                    <a:lnTo>
                      <a:pt x="544" y="505"/>
                    </a:lnTo>
                    <a:lnTo>
                      <a:pt x="534" y="515"/>
                    </a:lnTo>
                    <a:lnTo>
                      <a:pt x="525" y="526"/>
                    </a:lnTo>
                    <a:lnTo>
                      <a:pt x="515" y="536"/>
                    </a:lnTo>
                    <a:lnTo>
                      <a:pt x="504" y="544"/>
                    </a:lnTo>
                    <a:lnTo>
                      <a:pt x="494" y="553"/>
                    </a:lnTo>
                    <a:lnTo>
                      <a:pt x="482" y="562"/>
                    </a:lnTo>
                    <a:lnTo>
                      <a:pt x="470" y="569"/>
                    </a:lnTo>
                    <a:lnTo>
                      <a:pt x="457" y="577"/>
                    </a:lnTo>
                    <a:lnTo>
                      <a:pt x="445" y="583"/>
                    </a:lnTo>
                    <a:lnTo>
                      <a:pt x="431" y="588"/>
                    </a:lnTo>
                    <a:lnTo>
                      <a:pt x="418" y="594"/>
                    </a:lnTo>
                    <a:lnTo>
                      <a:pt x="405" y="598"/>
                    </a:lnTo>
                    <a:lnTo>
                      <a:pt x="392" y="602"/>
                    </a:lnTo>
                    <a:lnTo>
                      <a:pt x="377" y="606"/>
                    </a:lnTo>
                    <a:lnTo>
                      <a:pt x="363" y="608"/>
                    </a:lnTo>
                    <a:lnTo>
                      <a:pt x="348" y="610"/>
                    </a:lnTo>
                    <a:lnTo>
                      <a:pt x="333" y="611"/>
                    </a:lnTo>
                    <a:lnTo>
                      <a:pt x="318" y="612"/>
                    </a:lnTo>
                    <a:close/>
                    <a:moveTo>
                      <a:pt x="636" y="319"/>
                    </a:moveTo>
                    <a:lnTo>
                      <a:pt x="636" y="303"/>
                    </a:lnTo>
                    <a:lnTo>
                      <a:pt x="634" y="287"/>
                    </a:lnTo>
                    <a:lnTo>
                      <a:pt x="632" y="271"/>
                    </a:lnTo>
                    <a:lnTo>
                      <a:pt x="630" y="255"/>
                    </a:lnTo>
                    <a:lnTo>
                      <a:pt x="627" y="240"/>
                    </a:lnTo>
                    <a:lnTo>
                      <a:pt x="622" y="224"/>
                    </a:lnTo>
                    <a:lnTo>
                      <a:pt x="617" y="209"/>
                    </a:lnTo>
                    <a:lnTo>
                      <a:pt x="612" y="195"/>
                    </a:lnTo>
                    <a:lnTo>
                      <a:pt x="605" y="182"/>
                    </a:lnTo>
                    <a:lnTo>
                      <a:pt x="598" y="168"/>
                    </a:lnTo>
                    <a:lnTo>
                      <a:pt x="590" y="155"/>
                    </a:lnTo>
                    <a:lnTo>
                      <a:pt x="582" y="142"/>
                    </a:lnTo>
                    <a:lnTo>
                      <a:pt x="573" y="129"/>
                    </a:lnTo>
                    <a:lnTo>
                      <a:pt x="563" y="117"/>
                    </a:lnTo>
                    <a:lnTo>
                      <a:pt x="554" y="105"/>
                    </a:lnTo>
                    <a:lnTo>
                      <a:pt x="543" y="95"/>
                    </a:lnTo>
                    <a:lnTo>
                      <a:pt x="532" y="84"/>
                    </a:lnTo>
                    <a:lnTo>
                      <a:pt x="520" y="73"/>
                    </a:lnTo>
                    <a:lnTo>
                      <a:pt x="509" y="64"/>
                    </a:lnTo>
                    <a:lnTo>
                      <a:pt x="496" y="55"/>
                    </a:lnTo>
                    <a:lnTo>
                      <a:pt x="483" y="47"/>
                    </a:lnTo>
                    <a:lnTo>
                      <a:pt x="470" y="39"/>
                    </a:lnTo>
                    <a:lnTo>
                      <a:pt x="456" y="32"/>
                    </a:lnTo>
                    <a:lnTo>
                      <a:pt x="442" y="26"/>
                    </a:lnTo>
                    <a:lnTo>
                      <a:pt x="427" y="20"/>
                    </a:lnTo>
                    <a:lnTo>
                      <a:pt x="412" y="15"/>
                    </a:lnTo>
                    <a:lnTo>
                      <a:pt x="397" y="11"/>
                    </a:lnTo>
                    <a:lnTo>
                      <a:pt x="382" y="7"/>
                    </a:lnTo>
                    <a:lnTo>
                      <a:pt x="367" y="4"/>
                    </a:lnTo>
                    <a:lnTo>
                      <a:pt x="351" y="2"/>
                    </a:lnTo>
                    <a:lnTo>
                      <a:pt x="335" y="1"/>
                    </a:lnTo>
                    <a:lnTo>
                      <a:pt x="318" y="0"/>
                    </a:lnTo>
                    <a:lnTo>
                      <a:pt x="301" y="1"/>
                    </a:lnTo>
                    <a:lnTo>
                      <a:pt x="285" y="2"/>
                    </a:lnTo>
                    <a:lnTo>
                      <a:pt x="269" y="4"/>
                    </a:lnTo>
                    <a:lnTo>
                      <a:pt x="254" y="7"/>
                    </a:lnTo>
                    <a:lnTo>
                      <a:pt x="238" y="11"/>
                    </a:lnTo>
                    <a:lnTo>
                      <a:pt x="223" y="15"/>
                    </a:lnTo>
                    <a:lnTo>
                      <a:pt x="209" y="20"/>
                    </a:lnTo>
                    <a:lnTo>
                      <a:pt x="194" y="26"/>
                    </a:lnTo>
                    <a:lnTo>
                      <a:pt x="180" y="32"/>
                    </a:lnTo>
                    <a:lnTo>
                      <a:pt x="166" y="39"/>
                    </a:lnTo>
                    <a:lnTo>
                      <a:pt x="153" y="47"/>
                    </a:lnTo>
                    <a:lnTo>
                      <a:pt x="140" y="55"/>
                    </a:lnTo>
                    <a:lnTo>
                      <a:pt x="128" y="64"/>
                    </a:lnTo>
                    <a:lnTo>
                      <a:pt x="116" y="73"/>
                    </a:lnTo>
                    <a:lnTo>
                      <a:pt x="104" y="84"/>
                    </a:lnTo>
                    <a:lnTo>
                      <a:pt x="93" y="95"/>
                    </a:lnTo>
                    <a:lnTo>
                      <a:pt x="82" y="105"/>
                    </a:lnTo>
                    <a:lnTo>
                      <a:pt x="73" y="117"/>
                    </a:lnTo>
                    <a:lnTo>
                      <a:pt x="63" y="129"/>
                    </a:lnTo>
                    <a:lnTo>
                      <a:pt x="55" y="142"/>
                    </a:lnTo>
                    <a:lnTo>
                      <a:pt x="46" y="155"/>
                    </a:lnTo>
                    <a:lnTo>
                      <a:pt x="38" y="168"/>
                    </a:lnTo>
                    <a:lnTo>
                      <a:pt x="31" y="182"/>
                    </a:lnTo>
                    <a:lnTo>
                      <a:pt x="24" y="195"/>
                    </a:lnTo>
                    <a:lnTo>
                      <a:pt x="19" y="209"/>
                    </a:lnTo>
                    <a:lnTo>
                      <a:pt x="14" y="224"/>
                    </a:lnTo>
                    <a:lnTo>
                      <a:pt x="9" y="240"/>
                    </a:lnTo>
                    <a:lnTo>
                      <a:pt x="6" y="255"/>
                    </a:lnTo>
                    <a:lnTo>
                      <a:pt x="3" y="271"/>
                    </a:lnTo>
                    <a:lnTo>
                      <a:pt x="1" y="287"/>
                    </a:lnTo>
                    <a:lnTo>
                      <a:pt x="0" y="303"/>
                    </a:lnTo>
                    <a:lnTo>
                      <a:pt x="0" y="319"/>
                    </a:lnTo>
                    <a:lnTo>
                      <a:pt x="1" y="338"/>
                    </a:lnTo>
                    <a:lnTo>
                      <a:pt x="2" y="359"/>
                    </a:lnTo>
                    <a:lnTo>
                      <a:pt x="5" y="377"/>
                    </a:lnTo>
                    <a:lnTo>
                      <a:pt x="9" y="396"/>
                    </a:lnTo>
                    <a:lnTo>
                      <a:pt x="15" y="415"/>
                    </a:lnTo>
                    <a:lnTo>
                      <a:pt x="20" y="433"/>
                    </a:lnTo>
                    <a:lnTo>
                      <a:pt x="28" y="450"/>
                    </a:lnTo>
                    <a:lnTo>
                      <a:pt x="36" y="467"/>
                    </a:lnTo>
                    <a:lnTo>
                      <a:pt x="45" y="483"/>
                    </a:lnTo>
                    <a:lnTo>
                      <a:pt x="55" y="498"/>
                    </a:lnTo>
                    <a:lnTo>
                      <a:pt x="66" y="513"/>
                    </a:lnTo>
                    <a:lnTo>
                      <a:pt x="78" y="527"/>
                    </a:lnTo>
                    <a:lnTo>
                      <a:pt x="90" y="541"/>
                    </a:lnTo>
                    <a:lnTo>
                      <a:pt x="104" y="554"/>
                    </a:lnTo>
                    <a:lnTo>
                      <a:pt x="118" y="566"/>
                    </a:lnTo>
                    <a:lnTo>
                      <a:pt x="132" y="578"/>
                    </a:lnTo>
                    <a:lnTo>
                      <a:pt x="95" y="614"/>
                    </a:lnTo>
                    <a:lnTo>
                      <a:pt x="92" y="619"/>
                    </a:lnTo>
                    <a:lnTo>
                      <a:pt x="91" y="624"/>
                    </a:lnTo>
                    <a:lnTo>
                      <a:pt x="92" y="629"/>
                    </a:lnTo>
                    <a:lnTo>
                      <a:pt x="95" y="634"/>
                    </a:lnTo>
                    <a:lnTo>
                      <a:pt x="99" y="636"/>
                    </a:lnTo>
                    <a:lnTo>
                      <a:pt x="104" y="637"/>
                    </a:lnTo>
                    <a:lnTo>
                      <a:pt x="108" y="636"/>
                    </a:lnTo>
                    <a:lnTo>
                      <a:pt x="112" y="634"/>
                    </a:lnTo>
                    <a:lnTo>
                      <a:pt x="153" y="592"/>
                    </a:lnTo>
                    <a:lnTo>
                      <a:pt x="173" y="601"/>
                    </a:lnTo>
                    <a:lnTo>
                      <a:pt x="191" y="611"/>
                    </a:lnTo>
                    <a:lnTo>
                      <a:pt x="211" y="619"/>
                    </a:lnTo>
                    <a:lnTo>
                      <a:pt x="232" y="625"/>
                    </a:lnTo>
                    <a:lnTo>
                      <a:pt x="252" y="630"/>
                    </a:lnTo>
                    <a:lnTo>
                      <a:pt x="274" y="634"/>
                    </a:lnTo>
                    <a:lnTo>
                      <a:pt x="296" y="637"/>
                    </a:lnTo>
                    <a:lnTo>
                      <a:pt x="318" y="637"/>
                    </a:lnTo>
                    <a:lnTo>
                      <a:pt x="342" y="636"/>
                    </a:lnTo>
                    <a:lnTo>
                      <a:pt x="366" y="634"/>
                    </a:lnTo>
                    <a:lnTo>
                      <a:pt x="390" y="629"/>
                    </a:lnTo>
                    <a:lnTo>
                      <a:pt x="412" y="623"/>
                    </a:lnTo>
                    <a:lnTo>
                      <a:pt x="435" y="615"/>
                    </a:lnTo>
                    <a:lnTo>
                      <a:pt x="455" y="607"/>
                    </a:lnTo>
                    <a:lnTo>
                      <a:pt x="475" y="596"/>
                    </a:lnTo>
                    <a:lnTo>
                      <a:pt x="496" y="584"/>
                    </a:lnTo>
                    <a:lnTo>
                      <a:pt x="544" y="634"/>
                    </a:lnTo>
                    <a:lnTo>
                      <a:pt x="548" y="636"/>
                    </a:lnTo>
                    <a:lnTo>
                      <a:pt x="554" y="637"/>
                    </a:lnTo>
                    <a:lnTo>
                      <a:pt x="558" y="636"/>
                    </a:lnTo>
                    <a:lnTo>
                      <a:pt x="562" y="634"/>
                    </a:lnTo>
                    <a:lnTo>
                      <a:pt x="566" y="629"/>
                    </a:lnTo>
                    <a:lnTo>
                      <a:pt x="566" y="624"/>
                    </a:lnTo>
                    <a:lnTo>
                      <a:pt x="566" y="619"/>
                    </a:lnTo>
                    <a:lnTo>
                      <a:pt x="562" y="614"/>
                    </a:lnTo>
                    <a:lnTo>
                      <a:pt x="516" y="568"/>
                    </a:lnTo>
                    <a:lnTo>
                      <a:pt x="529" y="557"/>
                    </a:lnTo>
                    <a:lnTo>
                      <a:pt x="542" y="544"/>
                    </a:lnTo>
                    <a:lnTo>
                      <a:pt x="554" y="533"/>
                    </a:lnTo>
                    <a:lnTo>
                      <a:pt x="566" y="519"/>
                    </a:lnTo>
                    <a:lnTo>
                      <a:pt x="576" y="505"/>
                    </a:lnTo>
                    <a:lnTo>
                      <a:pt x="586" y="490"/>
                    </a:lnTo>
                    <a:lnTo>
                      <a:pt x="596" y="475"/>
                    </a:lnTo>
                    <a:lnTo>
                      <a:pt x="603" y="460"/>
                    </a:lnTo>
                    <a:lnTo>
                      <a:pt x="611" y="444"/>
                    </a:lnTo>
                    <a:lnTo>
                      <a:pt x="617" y="426"/>
                    </a:lnTo>
                    <a:lnTo>
                      <a:pt x="624" y="409"/>
                    </a:lnTo>
                    <a:lnTo>
                      <a:pt x="628" y="392"/>
                    </a:lnTo>
                    <a:lnTo>
                      <a:pt x="631" y="374"/>
                    </a:lnTo>
                    <a:lnTo>
                      <a:pt x="634" y="355"/>
                    </a:lnTo>
                    <a:lnTo>
                      <a:pt x="635" y="337"/>
                    </a:lnTo>
                    <a:lnTo>
                      <a:pt x="636"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9" name="Freeform 118">
                <a:extLst>
                  <a:ext uri="{FF2B5EF4-FFF2-40B4-BE49-F238E27FC236}">
                    <a16:creationId xmlns:a16="http://schemas.microsoft.com/office/drawing/2014/main" id="{B0A88742-5F85-4DDF-AF10-0C29E26598A3}"/>
                  </a:ext>
                </a:extLst>
              </p:cNvPr>
              <p:cNvSpPr>
                <a:spLocks/>
              </p:cNvSpPr>
              <p:nvPr/>
            </p:nvSpPr>
            <p:spPr bwMode="auto">
              <a:xfrm>
                <a:off x="436563" y="4548188"/>
                <a:ext cx="60325" cy="85725"/>
              </a:xfrm>
              <a:custGeom>
                <a:avLst/>
                <a:gdLst>
                  <a:gd name="T0" fmla="*/ 140 w 153"/>
                  <a:gd name="T1" fmla="*/ 0 h 216"/>
                  <a:gd name="T2" fmla="*/ 136 w 153"/>
                  <a:gd name="T3" fmla="*/ 1 h 216"/>
                  <a:gd name="T4" fmla="*/ 132 w 153"/>
                  <a:gd name="T5" fmla="*/ 4 h 216"/>
                  <a:gd name="T6" fmla="*/ 129 w 153"/>
                  <a:gd name="T7" fmla="*/ 9 h 216"/>
                  <a:gd name="T8" fmla="*/ 128 w 153"/>
                  <a:gd name="T9" fmla="*/ 13 h 216"/>
                  <a:gd name="T10" fmla="*/ 128 w 153"/>
                  <a:gd name="T11" fmla="*/ 190 h 216"/>
                  <a:gd name="T12" fmla="*/ 13 w 153"/>
                  <a:gd name="T13" fmla="*/ 190 h 216"/>
                  <a:gd name="T14" fmla="*/ 7 w 153"/>
                  <a:gd name="T15" fmla="*/ 191 h 216"/>
                  <a:gd name="T16" fmla="*/ 3 w 153"/>
                  <a:gd name="T17" fmla="*/ 194 h 216"/>
                  <a:gd name="T18" fmla="*/ 1 w 153"/>
                  <a:gd name="T19" fmla="*/ 197 h 216"/>
                  <a:gd name="T20" fmla="*/ 0 w 153"/>
                  <a:gd name="T21" fmla="*/ 203 h 216"/>
                  <a:gd name="T22" fmla="*/ 1 w 153"/>
                  <a:gd name="T23" fmla="*/ 208 h 216"/>
                  <a:gd name="T24" fmla="*/ 3 w 153"/>
                  <a:gd name="T25" fmla="*/ 211 h 216"/>
                  <a:gd name="T26" fmla="*/ 7 w 153"/>
                  <a:gd name="T27" fmla="*/ 215 h 216"/>
                  <a:gd name="T28" fmla="*/ 13 w 153"/>
                  <a:gd name="T29" fmla="*/ 216 h 216"/>
                  <a:gd name="T30" fmla="*/ 140 w 153"/>
                  <a:gd name="T31" fmla="*/ 216 h 216"/>
                  <a:gd name="T32" fmla="*/ 146 w 153"/>
                  <a:gd name="T33" fmla="*/ 215 h 216"/>
                  <a:gd name="T34" fmla="*/ 150 w 153"/>
                  <a:gd name="T35" fmla="*/ 211 h 216"/>
                  <a:gd name="T36" fmla="*/ 152 w 153"/>
                  <a:gd name="T37" fmla="*/ 208 h 216"/>
                  <a:gd name="T38" fmla="*/ 153 w 153"/>
                  <a:gd name="T39" fmla="*/ 203 h 216"/>
                  <a:gd name="T40" fmla="*/ 153 w 153"/>
                  <a:gd name="T41" fmla="*/ 13 h 216"/>
                  <a:gd name="T42" fmla="*/ 152 w 153"/>
                  <a:gd name="T43" fmla="*/ 9 h 216"/>
                  <a:gd name="T44" fmla="*/ 150 w 153"/>
                  <a:gd name="T45" fmla="*/ 4 h 216"/>
                  <a:gd name="T46" fmla="*/ 146 w 153"/>
                  <a:gd name="T47" fmla="*/ 1 h 216"/>
                  <a:gd name="T48" fmla="*/ 140 w 153"/>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16">
                    <a:moveTo>
                      <a:pt x="140" y="0"/>
                    </a:moveTo>
                    <a:lnTo>
                      <a:pt x="136" y="1"/>
                    </a:lnTo>
                    <a:lnTo>
                      <a:pt x="132" y="4"/>
                    </a:lnTo>
                    <a:lnTo>
                      <a:pt x="129" y="9"/>
                    </a:lnTo>
                    <a:lnTo>
                      <a:pt x="128" y="13"/>
                    </a:lnTo>
                    <a:lnTo>
                      <a:pt x="128" y="190"/>
                    </a:lnTo>
                    <a:lnTo>
                      <a:pt x="13" y="190"/>
                    </a:lnTo>
                    <a:lnTo>
                      <a:pt x="7" y="191"/>
                    </a:lnTo>
                    <a:lnTo>
                      <a:pt x="3" y="194"/>
                    </a:lnTo>
                    <a:lnTo>
                      <a:pt x="1" y="197"/>
                    </a:lnTo>
                    <a:lnTo>
                      <a:pt x="0" y="203"/>
                    </a:lnTo>
                    <a:lnTo>
                      <a:pt x="1" y="208"/>
                    </a:lnTo>
                    <a:lnTo>
                      <a:pt x="3" y="211"/>
                    </a:lnTo>
                    <a:lnTo>
                      <a:pt x="7" y="215"/>
                    </a:lnTo>
                    <a:lnTo>
                      <a:pt x="13" y="216"/>
                    </a:lnTo>
                    <a:lnTo>
                      <a:pt x="140" y="216"/>
                    </a:lnTo>
                    <a:lnTo>
                      <a:pt x="146" y="215"/>
                    </a:lnTo>
                    <a:lnTo>
                      <a:pt x="150" y="211"/>
                    </a:lnTo>
                    <a:lnTo>
                      <a:pt x="152" y="208"/>
                    </a:lnTo>
                    <a:lnTo>
                      <a:pt x="153" y="203"/>
                    </a:lnTo>
                    <a:lnTo>
                      <a:pt x="153" y="13"/>
                    </a:lnTo>
                    <a:lnTo>
                      <a:pt x="152" y="9"/>
                    </a:lnTo>
                    <a:lnTo>
                      <a:pt x="150" y="4"/>
                    </a:lnTo>
                    <a:lnTo>
                      <a:pt x="146" y="1"/>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0" name="Freeform 119">
                <a:extLst>
                  <a:ext uri="{FF2B5EF4-FFF2-40B4-BE49-F238E27FC236}">
                    <a16:creationId xmlns:a16="http://schemas.microsoft.com/office/drawing/2014/main" id="{03C94F32-C5DB-4D8D-85B0-B136FF56125D}"/>
                  </a:ext>
                </a:extLst>
              </p:cNvPr>
              <p:cNvSpPr>
                <a:spLocks/>
              </p:cNvSpPr>
              <p:nvPr/>
            </p:nvSpPr>
            <p:spPr bwMode="auto">
              <a:xfrm>
                <a:off x="338138" y="4464051"/>
                <a:ext cx="95250" cy="95250"/>
              </a:xfrm>
              <a:custGeom>
                <a:avLst/>
                <a:gdLst>
                  <a:gd name="T0" fmla="*/ 62 w 240"/>
                  <a:gd name="T1" fmla="*/ 231 h 240"/>
                  <a:gd name="T2" fmla="*/ 62 w 240"/>
                  <a:gd name="T3" fmla="*/ 223 h 240"/>
                  <a:gd name="T4" fmla="*/ 51 w 240"/>
                  <a:gd name="T5" fmla="*/ 210 h 240"/>
                  <a:gd name="T6" fmla="*/ 38 w 240"/>
                  <a:gd name="T7" fmla="*/ 190 h 240"/>
                  <a:gd name="T8" fmla="*/ 30 w 240"/>
                  <a:gd name="T9" fmla="*/ 171 h 240"/>
                  <a:gd name="T10" fmla="*/ 27 w 240"/>
                  <a:gd name="T11" fmla="*/ 149 h 240"/>
                  <a:gd name="T12" fmla="*/ 27 w 240"/>
                  <a:gd name="T13" fmla="*/ 128 h 240"/>
                  <a:gd name="T14" fmla="*/ 30 w 240"/>
                  <a:gd name="T15" fmla="*/ 108 h 240"/>
                  <a:gd name="T16" fmla="*/ 38 w 240"/>
                  <a:gd name="T17" fmla="*/ 87 h 240"/>
                  <a:gd name="T18" fmla="*/ 51 w 240"/>
                  <a:gd name="T19" fmla="*/ 69 h 240"/>
                  <a:gd name="T20" fmla="*/ 67 w 240"/>
                  <a:gd name="T21" fmla="*/ 52 h 240"/>
                  <a:gd name="T22" fmla="*/ 87 w 240"/>
                  <a:gd name="T23" fmla="*/ 39 h 240"/>
                  <a:gd name="T24" fmla="*/ 106 w 240"/>
                  <a:gd name="T25" fmla="*/ 30 h 240"/>
                  <a:gd name="T26" fmla="*/ 128 w 240"/>
                  <a:gd name="T27" fmla="*/ 26 h 240"/>
                  <a:gd name="T28" fmla="*/ 150 w 240"/>
                  <a:gd name="T29" fmla="*/ 26 h 240"/>
                  <a:gd name="T30" fmla="*/ 171 w 240"/>
                  <a:gd name="T31" fmla="*/ 30 h 240"/>
                  <a:gd name="T32" fmla="*/ 191 w 240"/>
                  <a:gd name="T33" fmla="*/ 39 h 240"/>
                  <a:gd name="T34" fmla="*/ 209 w 240"/>
                  <a:gd name="T35" fmla="*/ 52 h 240"/>
                  <a:gd name="T36" fmla="*/ 222 w 240"/>
                  <a:gd name="T37" fmla="*/ 63 h 240"/>
                  <a:gd name="T38" fmla="*/ 232 w 240"/>
                  <a:gd name="T39" fmla="*/ 63 h 240"/>
                  <a:gd name="T40" fmla="*/ 239 w 240"/>
                  <a:gd name="T41" fmla="*/ 56 h 240"/>
                  <a:gd name="T42" fmla="*/ 239 w 240"/>
                  <a:gd name="T43" fmla="*/ 45 h 240"/>
                  <a:gd name="T44" fmla="*/ 225 w 240"/>
                  <a:gd name="T45" fmla="*/ 31 h 240"/>
                  <a:gd name="T46" fmla="*/ 203 w 240"/>
                  <a:gd name="T47" fmla="*/ 16 h 240"/>
                  <a:gd name="T48" fmla="*/ 178 w 240"/>
                  <a:gd name="T49" fmla="*/ 7 h 240"/>
                  <a:gd name="T50" fmla="*/ 152 w 240"/>
                  <a:gd name="T51" fmla="*/ 1 h 240"/>
                  <a:gd name="T52" fmla="*/ 125 w 240"/>
                  <a:gd name="T53" fmla="*/ 1 h 240"/>
                  <a:gd name="T54" fmla="*/ 100 w 240"/>
                  <a:gd name="T55" fmla="*/ 7 h 240"/>
                  <a:gd name="T56" fmla="*/ 75 w 240"/>
                  <a:gd name="T57" fmla="*/ 16 h 240"/>
                  <a:gd name="T58" fmla="*/ 51 w 240"/>
                  <a:gd name="T59" fmla="*/ 31 h 240"/>
                  <a:gd name="T60" fmla="*/ 32 w 240"/>
                  <a:gd name="T61" fmla="*/ 52 h 240"/>
                  <a:gd name="T62" fmla="*/ 16 w 240"/>
                  <a:gd name="T63" fmla="*/ 75 h 240"/>
                  <a:gd name="T64" fmla="*/ 6 w 240"/>
                  <a:gd name="T65" fmla="*/ 100 h 240"/>
                  <a:gd name="T66" fmla="*/ 1 w 240"/>
                  <a:gd name="T67" fmla="*/ 126 h 240"/>
                  <a:gd name="T68" fmla="*/ 1 w 240"/>
                  <a:gd name="T69" fmla="*/ 152 h 240"/>
                  <a:gd name="T70" fmla="*/ 6 w 240"/>
                  <a:gd name="T71" fmla="*/ 177 h 240"/>
                  <a:gd name="T72" fmla="*/ 16 w 240"/>
                  <a:gd name="T73" fmla="*/ 202 h 240"/>
                  <a:gd name="T74" fmla="*/ 32 w 240"/>
                  <a:gd name="T75" fmla="*/ 225 h 240"/>
                  <a:gd name="T76" fmla="*/ 46 w 240"/>
                  <a:gd name="T77" fmla="*/ 239 h 240"/>
                  <a:gd name="T78" fmla="*/ 56 w 240"/>
                  <a:gd name="T79"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60" y="235"/>
                    </a:moveTo>
                    <a:lnTo>
                      <a:pt x="62" y="231"/>
                    </a:lnTo>
                    <a:lnTo>
                      <a:pt x="63" y="227"/>
                    </a:lnTo>
                    <a:lnTo>
                      <a:pt x="62" y="223"/>
                    </a:lnTo>
                    <a:lnTo>
                      <a:pt x="60" y="218"/>
                    </a:lnTo>
                    <a:lnTo>
                      <a:pt x="51" y="210"/>
                    </a:lnTo>
                    <a:lnTo>
                      <a:pt x="45" y="200"/>
                    </a:lnTo>
                    <a:lnTo>
                      <a:pt x="38" y="190"/>
                    </a:lnTo>
                    <a:lnTo>
                      <a:pt x="34" y="181"/>
                    </a:lnTo>
                    <a:lnTo>
                      <a:pt x="30" y="171"/>
                    </a:lnTo>
                    <a:lnTo>
                      <a:pt x="28" y="160"/>
                    </a:lnTo>
                    <a:lnTo>
                      <a:pt x="27" y="149"/>
                    </a:lnTo>
                    <a:lnTo>
                      <a:pt x="26" y="139"/>
                    </a:lnTo>
                    <a:lnTo>
                      <a:pt x="27" y="128"/>
                    </a:lnTo>
                    <a:lnTo>
                      <a:pt x="28" y="117"/>
                    </a:lnTo>
                    <a:lnTo>
                      <a:pt x="30" y="108"/>
                    </a:lnTo>
                    <a:lnTo>
                      <a:pt x="34" y="97"/>
                    </a:lnTo>
                    <a:lnTo>
                      <a:pt x="38" y="87"/>
                    </a:lnTo>
                    <a:lnTo>
                      <a:pt x="45" y="78"/>
                    </a:lnTo>
                    <a:lnTo>
                      <a:pt x="51" y="69"/>
                    </a:lnTo>
                    <a:lnTo>
                      <a:pt x="60" y="60"/>
                    </a:lnTo>
                    <a:lnTo>
                      <a:pt x="67" y="52"/>
                    </a:lnTo>
                    <a:lnTo>
                      <a:pt x="77" y="45"/>
                    </a:lnTo>
                    <a:lnTo>
                      <a:pt x="87" y="39"/>
                    </a:lnTo>
                    <a:lnTo>
                      <a:pt x="96" y="35"/>
                    </a:lnTo>
                    <a:lnTo>
                      <a:pt x="106" y="30"/>
                    </a:lnTo>
                    <a:lnTo>
                      <a:pt x="117" y="28"/>
                    </a:lnTo>
                    <a:lnTo>
                      <a:pt x="128" y="26"/>
                    </a:lnTo>
                    <a:lnTo>
                      <a:pt x="138" y="26"/>
                    </a:lnTo>
                    <a:lnTo>
                      <a:pt x="150" y="26"/>
                    </a:lnTo>
                    <a:lnTo>
                      <a:pt x="161" y="28"/>
                    </a:lnTo>
                    <a:lnTo>
                      <a:pt x="171" y="30"/>
                    </a:lnTo>
                    <a:lnTo>
                      <a:pt x="181" y="35"/>
                    </a:lnTo>
                    <a:lnTo>
                      <a:pt x="191" y="39"/>
                    </a:lnTo>
                    <a:lnTo>
                      <a:pt x="201" y="45"/>
                    </a:lnTo>
                    <a:lnTo>
                      <a:pt x="209" y="52"/>
                    </a:lnTo>
                    <a:lnTo>
                      <a:pt x="218" y="60"/>
                    </a:lnTo>
                    <a:lnTo>
                      <a:pt x="222" y="63"/>
                    </a:lnTo>
                    <a:lnTo>
                      <a:pt x="227" y="64"/>
                    </a:lnTo>
                    <a:lnTo>
                      <a:pt x="232" y="63"/>
                    </a:lnTo>
                    <a:lnTo>
                      <a:pt x="236" y="60"/>
                    </a:lnTo>
                    <a:lnTo>
                      <a:pt x="239" y="56"/>
                    </a:lnTo>
                    <a:lnTo>
                      <a:pt x="240" y="51"/>
                    </a:lnTo>
                    <a:lnTo>
                      <a:pt x="239" y="45"/>
                    </a:lnTo>
                    <a:lnTo>
                      <a:pt x="236" y="41"/>
                    </a:lnTo>
                    <a:lnTo>
                      <a:pt x="225" y="31"/>
                    </a:lnTo>
                    <a:lnTo>
                      <a:pt x="215" y="24"/>
                    </a:lnTo>
                    <a:lnTo>
                      <a:pt x="203" y="16"/>
                    </a:lnTo>
                    <a:lnTo>
                      <a:pt x="191" y="11"/>
                    </a:lnTo>
                    <a:lnTo>
                      <a:pt x="178" y="7"/>
                    </a:lnTo>
                    <a:lnTo>
                      <a:pt x="165" y="3"/>
                    </a:lnTo>
                    <a:lnTo>
                      <a:pt x="152" y="1"/>
                    </a:lnTo>
                    <a:lnTo>
                      <a:pt x="138" y="0"/>
                    </a:lnTo>
                    <a:lnTo>
                      <a:pt x="125" y="1"/>
                    </a:lnTo>
                    <a:lnTo>
                      <a:pt x="113" y="3"/>
                    </a:lnTo>
                    <a:lnTo>
                      <a:pt x="100" y="7"/>
                    </a:lnTo>
                    <a:lnTo>
                      <a:pt x="87" y="11"/>
                    </a:lnTo>
                    <a:lnTo>
                      <a:pt x="75" y="16"/>
                    </a:lnTo>
                    <a:lnTo>
                      <a:pt x="63" y="24"/>
                    </a:lnTo>
                    <a:lnTo>
                      <a:pt x="51" y="31"/>
                    </a:lnTo>
                    <a:lnTo>
                      <a:pt x="42" y="41"/>
                    </a:lnTo>
                    <a:lnTo>
                      <a:pt x="32" y="52"/>
                    </a:lnTo>
                    <a:lnTo>
                      <a:pt x="23" y="64"/>
                    </a:lnTo>
                    <a:lnTo>
                      <a:pt x="16" y="75"/>
                    </a:lnTo>
                    <a:lnTo>
                      <a:pt x="11" y="87"/>
                    </a:lnTo>
                    <a:lnTo>
                      <a:pt x="6" y="100"/>
                    </a:lnTo>
                    <a:lnTo>
                      <a:pt x="2" y="113"/>
                    </a:lnTo>
                    <a:lnTo>
                      <a:pt x="1" y="126"/>
                    </a:lnTo>
                    <a:lnTo>
                      <a:pt x="0" y="139"/>
                    </a:lnTo>
                    <a:lnTo>
                      <a:pt x="1" y="152"/>
                    </a:lnTo>
                    <a:lnTo>
                      <a:pt x="2" y="165"/>
                    </a:lnTo>
                    <a:lnTo>
                      <a:pt x="6" y="177"/>
                    </a:lnTo>
                    <a:lnTo>
                      <a:pt x="11" y="190"/>
                    </a:lnTo>
                    <a:lnTo>
                      <a:pt x="16" y="202"/>
                    </a:lnTo>
                    <a:lnTo>
                      <a:pt x="23" y="214"/>
                    </a:lnTo>
                    <a:lnTo>
                      <a:pt x="32" y="225"/>
                    </a:lnTo>
                    <a:lnTo>
                      <a:pt x="42" y="235"/>
                    </a:lnTo>
                    <a:lnTo>
                      <a:pt x="46" y="239"/>
                    </a:lnTo>
                    <a:lnTo>
                      <a:pt x="50" y="240"/>
                    </a:lnTo>
                    <a:lnTo>
                      <a:pt x="56" y="239"/>
                    </a:lnTo>
                    <a:lnTo>
                      <a:pt x="60"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1" name="Freeform 120">
                <a:extLst>
                  <a:ext uri="{FF2B5EF4-FFF2-40B4-BE49-F238E27FC236}">
                    <a16:creationId xmlns:a16="http://schemas.microsoft.com/office/drawing/2014/main" id="{1BE394D3-9E1A-45BF-AF26-3C0F8EDA2373}"/>
                  </a:ext>
                </a:extLst>
              </p:cNvPr>
              <p:cNvSpPr>
                <a:spLocks/>
              </p:cNvSpPr>
              <p:nvPr/>
            </p:nvSpPr>
            <p:spPr bwMode="auto">
              <a:xfrm>
                <a:off x="538163" y="4464051"/>
                <a:ext cx="95250" cy="95250"/>
              </a:xfrm>
              <a:custGeom>
                <a:avLst/>
                <a:gdLst>
                  <a:gd name="T0" fmla="*/ 188 w 240"/>
                  <a:gd name="T1" fmla="*/ 31 h 240"/>
                  <a:gd name="T2" fmla="*/ 166 w 240"/>
                  <a:gd name="T3" fmla="*/ 16 h 240"/>
                  <a:gd name="T4" fmla="*/ 141 w 240"/>
                  <a:gd name="T5" fmla="*/ 7 h 240"/>
                  <a:gd name="T6" fmla="*/ 115 w 240"/>
                  <a:gd name="T7" fmla="*/ 1 h 240"/>
                  <a:gd name="T8" fmla="*/ 88 w 240"/>
                  <a:gd name="T9" fmla="*/ 1 h 240"/>
                  <a:gd name="T10" fmla="*/ 62 w 240"/>
                  <a:gd name="T11" fmla="*/ 7 h 240"/>
                  <a:gd name="T12" fmla="*/ 37 w 240"/>
                  <a:gd name="T13" fmla="*/ 16 h 240"/>
                  <a:gd name="T14" fmla="*/ 14 w 240"/>
                  <a:gd name="T15" fmla="*/ 31 h 240"/>
                  <a:gd name="T16" fmla="*/ 1 w 240"/>
                  <a:gd name="T17" fmla="*/ 45 h 240"/>
                  <a:gd name="T18" fmla="*/ 1 w 240"/>
                  <a:gd name="T19" fmla="*/ 56 h 240"/>
                  <a:gd name="T20" fmla="*/ 8 w 240"/>
                  <a:gd name="T21" fmla="*/ 63 h 240"/>
                  <a:gd name="T22" fmla="*/ 18 w 240"/>
                  <a:gd name="T23" fmla="*/ 63 h 240"/>
                  <a:gd name="T24" fmla="*/ 30 w 240"/>
                  <a:gd name="T25" fmla="*/ 52 h 240"/>
                  <a:gd name="T26" fmla="*/ 49 w 240"/>
                  <a:gd name="T27" fmla="*/ 39 h 240"/>
                  <a:gd name="T28" fmla="*/ 69 w 240"/>
                  <a:gd name="T29" fmla="*/ 30 h 240"/>
                  <a:gd name="T30" fmla="*/ 91 w 240"/>
                  <a:gd name="T31" fmla="*/ 26 h 240"/>
                  <a:gd name="T32" fmla="*/ 112 w 240"/>
                  <a:gd name="T33" fmla="*/ 26 h 240"/>
                  <a:gd name="T34" fmla="*/ 133 w 240"/>
                  <a:gd name="T35" fmla="*/ 30 h 240"/>
                  <a:gd name="T36" fmla="*/ 154 w 240"/>
                  <a:gd name="T37" fmla="*/ 39 h 240"/>
                  <a:gd name="T38" fmla="*/ 172 w 240"/>
                  <a:gd name="T39" fmla="*/ 52 h 240"/>
                  <a:gd name="T40" fmla="*/ 188 w 240"/>
                  <a:gd name="T41" fmla="*/ 69 h 240"/>
                  <a:gd name="T42" fmla="*/ 201 w 240"/>
                  <a:gd name="T43" fmla="*/ 87 h 240"/>
                  <a:gd name="T44" fmla="*/ 210 w 240"/>
                  <a:gd name="T45" fmla="*/ 108 h 240"/>
                  <a:gd name="T46" fmla="*/ 214 w 240"/>
                  <a:gd name="T47" fmla="*/ 128 h 240"/>
                  <a:gd name="T48" fmla="*/ 214 w 240"/>
                  <a:gd name="T49" fmla="*/ 149 h 240"/>
                  <a:gd name="T50" fmla="*/ 210 w 240"/>
                  <a:gd name="T51" fmla="*/ 171 h 240"/>
                  <a:gd name="T52" fmla="*/ 201 w 240"/>
                  <a:gd name="T53" fmla="*/ 190 h 240"/>
                  <a:gd name="T54" fmla="*/ 188 w 240"/>
                  <a:gd name="T55" fmla="*/ 210 h 240"/>
                  <a:gd name="T56" fmla="*/ 178 w 240"/>
                  <a:gd name="T57" fmla="*/ 223 h 240"/>
                  <a:gd name="T58" fmla="*/ 178 w 240"/>
                  <a:gd name="T59" fmla="*/ 231 h 240"/>
                  <a:gd name="T60" fmla="*/ 185 w 240"/>
                  <a:gd name="T61" fmla="*/ 239 h 240"/>
                  <a:gd name="T62" fmla="*/ 195 w 240"/>
                  <a:gd name="T63" fmla="*/ 239 h 240"/>
                  <a:gd name="T64" fmla="*/ 209 w 240"/>
                  <a:gd name="T65" fmla="*/ 225 h 240"/>
                  <a:gd name="T66" fmla="*/ 224 w 240"/>
                  <a:gd name="T67" fmla="*/ 202 h 240"/>
                  <a:gd name="T68" fmla="*/ 234 w 240"/>
                  <a:gd name="T69" fmla="*/ 177 h 240"/>
                  <a:gd name="T70" fmla="*/ 240 w 240"/>
                  <a:gd name="T71" fmla="*/ 152 h 240"/>
                  <a:gd name="T72" fmla="*/ 240 w 240"/>
                  <a:gd name="T73" fmla="*/ 126 h 240"/>
                  <a:gd name="T74" fmla="*/ 234 w 240"/>
                  <a:gd name="T75" fmla="*/ 100 h 240"/>
                  <a:gd name="T76" fmla="*/ 224 w 240"/>
                  <a:gd name="T77" fmla="*/ 75 h 240"/>
                  <a:gd name="T78" fmla="*/ 209 w 240"/>
                  <a:gd name="T79" fmla="*/ 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199" y="41"/>
                    </a:moveTo>
                    <a:lnTo>
                      <a:pt x="188" y="31"/>
                    </a:lnTo>
                    <a:lnTo>
                      <a:pt x="178" y="24"/>
                    </a:lnTo>
                    <a:lnTo>
                      <a:pt x="166" y="16"/>
                    </a:lnTo>
                    <a:lnTo>
                      <a:pt x="154" y="11"/>
                    </a:lnTo>
                    <a:lnTo>
                      <a:pt x="141" y="7"/>
                    </a:lnTo>
                    <a:lnTo>
                      <a:pt x="128" y="3"/>
                    </a:lnTo>
                    <a:lnTo>
                      <a:pt x="115" y="1"/>
                    </a:lnTo>
                    <a:lnTo>
                      <a:pt x="101" y="0"/>
                    </a:lnTo>
                    <a:lnTo>
                      <a:pt x="88" y="1"/>
                    </a:lnTo>
                    <a:lnTo>
                      <a:pt x="74" y="3"/>
                    </a:lnTo>
                    <a:lnTo>
                      <a:pt x="62" y="7"/>
                    </a:lnTo>
                    <a:lnTo>
                      <a:pt x="49" y="11"/>
                    </a:lnTo>
                    <a:lnTo>
                      <a:pt x="37" y="16"/>
                    </a:lnTo>
                    <a:lnTo>
                      <a:pt x="25" y="24"/>
                    </a:lnTo>
                    <a:lnTo>
                      <a:pt x="14" y="31"/>
                    </a:lnTo>
                    <a:lnTo>
                      <a:pt x="4" y="41"/>
                    </a:lnTo>
                    <a:lnTo>
                      <a:pt x="1" y="45"/>
                    </a:lnTo>
                    <a:lnTo>
                      <a:pt x="0" y="51"/>
                    </a:lnTo>
                    <a:lnTo>
                      <a:pt x="1" y="56"/>
                    </a:lnTo>
                    <a:lnTo>
                      <a:pt x="4" y="60"/>
                    </a:lnTo>
                    <a:lnTo>
                      <a:pt x="8" y="63"/>
                    </a:lnTo>
                    <a:lnTo>
                      <a:pt x="13" y="64"/>
                    </a:lnTo>
                    <a:lnTo>
                      <a:pt x="18" y="63"/>
                    </a:lnTo>
                    <a:lnTo>
                      <a:pt x="22" y="60"/>
                    </a:lnTo>
                    <a:lnTo>
                      <a:pt x="30" y="52"/>
                    </a:lnTo>
                    <a:lnTo>
                      <a:pt x="40" y="45"/>
                    </a:lnTo>
                    <a:lnTo>
                      <a:pt x="49" y="39"/>
                    </a:lnTo>
                    <a:lnTo>
                      <a:pt x="59" y="35"/>
                    </a:lnTo>
                    <a:lnTo>
                      <a:pt x="69" y="30"/>
                    </a:lnTo>
                    <a:lnTo>
                      <a:pt x="80" y="28"/>
                    </a:lnTo>
                    <a:lnTo>
                      <a:pt x="91" y="26"/>
                    </a:lnTo>
                    <a:lnTo>
                      <a:pt x="101" y="26"/>
                    </a:lnTo>
                    <a:lnTo>
                      <a:pt x="112" y="26"/>
                    </a:lnTo>
                    <a:lnTo>
                      <a:pt x="123" y="28"/>
                    </a:lnTo>
                    <a:lnTo>
                      <a:pt x="133" y="30"/>
                    </a:lnTo>
                    <a:lnTo>
                      <a:pt x="144" y="35"/>
                    </a:lnTo>
                    <a:lnTo>
                      <a:pt x="154" y="39"/>
                    </a:lnTo>
                    <a:lnTo>
                      <a:pt x="164" y="45"/>
                    </a:lnTo>
                    <a:lnTo>
                      <a:pt x="172" y="52"/>
                    </a:lnTo>
                    <a:lnTo>
                      <a:pt x="181" y="60"/>
                    </a:lnTo>
                    <a:lnTo>
                      <a:pt x="188" y="69"/>
                    </a:lnTo>
                    <a:lnTo>
                      <a:pt x="196" y="78"/>
                    </a:lnTo>
                    <a:lnTo>
                      <a:pt x="201" y="87"/>
                    </a:lnTo>
                    <a:lnTo>
                      <a:pt x="207" y="97"/>
                    </a:lnTo>
                    <a:lnTo>
                      <a:pt x="210" y="108"/>
                    </a:lnTo>
                    <a:lnTo>
                      <a:pt x="213" y="117"/>
                    </a:lnTo>
                    <a:lnTo>
                      <a:pt x="214" y="128"/>
                    </a:lnTo>
                    <a:lnTo>
                      <a:pt x="214" y="139"/>
                    </a:lnTo>
                    <a:lnTo>
                      <a:pt x="214" y="149"/>
                    </a:lnTo>
                    <a:lnTo>
                      <a:pt x="213" y="160"/>
                    </a:lnTo>
                    <a:lnTo>
                      <a:pt x="210" y="171"/>
                    </a:lnTo>
                    <a:lnTo>
                      <a:pt x="207" y="181"/>
                    </a:lnTo>
                    <a:lnTo>
                      <a:pt x="201" y="190"/>
                    </a:lnTo>
                    <a:lnTo>
                      <a:pt x="196" y="200"/>
                    </a:lnTo>
                    <a:lnTo>
                      <a:pt x="188" y="210"/>
                    </a:lnTo>
                    <a:lnTo>
                      <a:pt x="181" y="218"/>
                    </a:lnTo>
                    <a:lnTo>
                      <a:pt x="178" y="223"/>
                    </a:lnTo>
                    <a:lnTo>
                      <a:pt x="176" y="227"/>
                    </a:lnTo>
                    <a:lnTo>
                      <a:pt x="178" y="231"/>
                    </a:lnTo>
                    <a:lnTo>
                      <a:pt x="181" y="235"/>
                    </a:lnTo>
                    <a:lnTo>
                      <a:pt x="185" y="239"/>
                    </a:lnTo>
                    <a:lnTo>
                      <a:pt x="189" y="240"/>
                    </a:lnTo>
                    <a:lnTo>
                      <a:pt x="195" y="239"/>
                    </a:lnTo>
                    <a:lnTo>
                      <a:pt x="199" y="235"/>
                    </a:lnTo>
                    <a:lnTo>
                      <a:pt x="209" y="225"/>
                    </a:lnTo>
                    <a:lnTo>
                      <a:pt x="217" y="214"/>
                    </a:lnTo>
                    <a:lnTo>
                      <a:pt x="224" y="202"/>
                    </a:lnTo>
                    <a:lnTo>
                      <a:pt x="230" y="190"/>
                    </a:lnTo>
                    <a:lnTo>
                      <a:pt x="234" y="177"/>
                    </a:lnTo>
                    <a:lnTo>
                      <a:pt x="238" y="165"/>
                    </a:lnTo>
                    <a:lnTo>
                      <a:pt x="240" y="152"/>
                    </a:lnTo>
                    <a:lnTo>
                      <a:pt x="240" y="139"/>
                    </a:lnTo>
                    <a:lnTo>
                      <a:pt x="240" y="126"/>
                    </a:lnTo>
                    <a:lnTo>
                      <a:pt x="238" y="113"/>
                    </a:lnTo>
                    <a:lnTo>
                      <a:pt x="234" y="100"/>
                    </a:lnTo>
                    <a:lnTo>
                      <a:pt x="230" y="87"/>
                    </a:lnTo>
                    <a:lnTo>
                      <a:pt x="224" y="75"/>
                    </a:lnTo>
                    <a:lnTo>
                      <a:pt x="217" y="64"/>
                    </a:lnTo>
                    <a:lnTo>
                      <a:pt x="209" y="52"/>
                    </a:lnTo>
                    <a:lnTo>
                      <a:pt x="19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grpSp>
        <p:nvGrpSpPr>
          <p:cNvPr id="49" name="Gruppieren 48">
            <a:extLst>
              <a:ext uri="{FF2B5EF4-FFF2-40B4-BE49-F238E27FC236}">
                <a16:creationId xmlns:a16="http://schemas.microsoft.com/office/drawing/2014/main" id="{4993CF17-4FAC-4AF5-8CDB-26B896167AFA}"/>
              </a:ext>
            </a:extLst>
          </p:cNvPr>
          <p:cNvGrpSpPr/>
          <p:nvPr/>
        </p:nvGrpSpPr>
        <p:grpSpPr>
          <a:xfrm>
            <a:off x="5636523" y="1627200"/>
            <a:ext cx="1080000" cy="1080000"/>
            <a:chOff x="5636523" y="1275080"/>
            <a:chExt cx="1080000" cy="1080000"/>
          </a:xfrm>
        </p:grpSpPr>
        <p:sp>
          <p:nvSpPr>
            <p:cNvPr id="14" name="Sechseck 1">
              <a:extLst>
                <a:ext uri="{FF2B5EF4-FFF2-40B4-BE49-F238E27FC236}">
                  <a16:creationId xmlns:a16="http://schemas.microsoft.com/office/drawing/2014/main" id="{EA72B762-63F9-4F63-A9F1-14F39584A5D8}"/>
                </a:ext>
              </a:extLst>
            </p:cNvPr>
            <p:cNvSpPr/>
            <p:nvPr/>
          </p:nvSpPr>
          <p:spPr>
            <a:xfrm>
              <a:off x="5636523"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27" name="Group 128">
              <a:extLst>
                <a:ext uri="{FF2B5EF4-FFF2-40B4-BE49-F238E27FC236}">
                  <a16:creationId xmlns:a16="http://schemas.microsoft.com/office/drawing/2014/main" id="{EAB0E8C5-3015-4F59-BF96-986CEC7AF0DD}"/>
                </a:ext>
              </a:extLst>
            </p:cNvPr>
            <p:cNvGrpSpPr>
              <a:grpSpLocks noChangeAspect="1"/>
            </p:cNvGrpSpPr>
            <p:nvPr/>
          </p:nvGrpSpPr>
          <p:grpSpPr>
            <a:xfrm>
              <a:off x="5848802" y="1543864"/>
              <a:ext cx="655442" cy="542432"/>
              <a:chOff x="1468438" y="1965325"/>
              <a:chExt cx="276225" cy="228600"/>
            </a:xfrm>
            <a:solidFill>
              <a:schemeClr val="bg2"/>
            </a:solidFill>
            <a:effectLst/>
          </p:grpSpPr>
          <p:sp>
            <p:nvSpPr>
              <p:cNvPr id="28" name="Freeform 111">
                <a:extLst>
                  <a:ext uri="{FF2B5EF4-FFF2-40B4-BE49-F238E27FC236}">
                    <a16:creationId xmlns:a16="http://schemas.microsoft.com/office/drawing/2014/main" id="{44658D28-8606-4791-8DEC-A67D39363536}"/>
                  </a:ext>
                </a:extLst>
              </p:cNvPr>
              <p:cNvSpPr>
                <a:spLocks noEditPoints="1"/>
              </p:cNvSpPr>
              <p:nvPr/>
            </p:nvSpPr>
            <p:spPr bwMode="auto">
              <a:xfrm>
                <a:off x="1468438" y="2117725"/>
                <a:ext cx="49213" cy="76200"/>
              </a:xfrm>
              <a:custGeom>
                <a:avLst/>
                <a:gdLst>
                  <a:gd name="T0" fmla="*/ 121 w 151"/>
                  <a:gd name="T1" fmla="*/ 211 h 241"/>
                  <a:gd name="T2" fmla="*/ 30 w 151"/>
                  <a:gd name="T3" fmla="*/ 211 h 241"/>
                  <a:gd name="T4" fmla="*/ 30 w 151"/>
                  <a:gd name="T5" fmla="*/ 30 h 241"/>
                  <a:gd name="T6" fmla="*/ 121 w 151"/>
                  <a:gd name="T7" fmla="*/ 30 h 241"/>
                  <a:gd name="T8" fmla="*/ 121 w 151"/>
                  <a:gd name="T9" fmla="*/ 211 h 241"/>
                  <a:gd name="T10" fmla="*/ 136 w 151"/>
                  <a:gd name="T11" fmla="*/ 0 h 241"/>
                  <a:gd name="T12" fmla="*/ 15 w 151"/>
                  <a:gd name="T13" fmla="*/ 0 h 241"/>
                  <a:gd name="T14" fmla="*/ 13 w 151"/>
                  <a:gd name="T15" fmla="*/ 1 h 241"/>
                  <a:gd name="T16" fmla="*/ 10 w 151"/>
                  <a:gd name="T17" fmla="*/ 2 h 241"/>
                  <a:gd name="T18" fmla="*/ 8 w 151"/>
                  <a:gd name="T19" fmla="*/ 3 h 241"/>
                  <a:gd name="T20" fmla="*/ 6 w 151"/>
                  <a:gd name="T21" fmla="*/ 6 h 241"/>
                  <a:gd name="T22" fmla="*/ 4 w 151"/>
                  <a:gd name="T23" fmla="*/ 8 h 241"/>
                  <a:gd name="T24" fmla="*/ 2 w 151"/>
                  <a:gd name="T25" fmla="*/ 10 h 241"/>
                  <a:gd name="T26" fmla="*/ 1 w 151"/>
                  <a:gd name="T27" fmla="*/ 13 h 241"/>
                  <a:gd name="T28" fmla="*/ 0 w 151"/>
                  <a:gd name="T29" fmla="*/ 15 h 241"/>
                  <a:gd name="T30" fmla="*/ 0 w 151"/>
                  <a:gd name="T31" fmla="*/ 226 h 241"/>
                  <a:gd name="T32" fmla="*/ 1 w 151"/>
                  <a:gd name="T33" fmla="*/ 228 h 241"/>
                  <a:gd name="T34" fmla="*/ 2 w 151"/>
                  <a:gd name="T35" fmla="*/ 231 h 241"/>
                  <a:gd name="T36" fmla="*/ 4 w 151"/>
                  <a:gd name="T37" fmla="*/ 233 h 241"/>
                  <a:gd name="T38" fmla="*/ 6 w 151"/>
                  <a:gd name="T39" fmla="*/ 236 h 241"/>
                  <a:gd name="T40" fmla="*/ 8 w 151"/>
                  <a:gd name="T41" fmla="*/ 238 h 241"/>
                  <a:gd name="T42" fmla="*/ 10 w 151"/>
                  <a:gd name="T43" fmla="*/ 240 h 241"/>
                  <a:gd name="T44" fmla="*/ 13 w 151"/>
                  <a:gd name="T45" fmla="*/ 240 h 241"/>
                  <a:gd name="T46" fmla="*/ 15 w 151"/>
                  <a:gd name="T47" fmla="*/ 241 h 241"/>
                  <a:gd name="T48" fmla="*/ 136 w 151"/>
                  <a:gd name="T49" fmla="*/ 241 h 241"/>
                  <a:gd name="T50" fmla="*/ 138 w 151"/>
                  <a:gd name="T51" fmla="*/ 240 h 241"/>
                  <a:gd name="T52" fmla="*/ 142 w 151"/>
                  <a:gd name="T53" fmla="*/ 239 h 241"/>
                  <a:gd name="T54" fmla="*/ 144 w 151"/>
                  <a:gd name="T55" fmla="*/ 238 h 241"/>
                  <a:gd name="T56" fmla="*/ 146 w 151"/>
                  <a:gd name="T57" fmla="*/ 236 h 241"/>
                  <a:gd name="T58" fmla="*/ 148 w 151"/>
                  <a:gd name="T59" fmla="*/ 233 h 241"/>
                  <a:gd name="T60" fmla="*/ 149 w 151"/>
                  <a:gd name="T61" fmla="*/ 231 h 241"/>
                  <a:gd name="T62" fmla="*/ 150 w 151"/>
                  <a:gd name="T63" fmla="*/ 228 h 241"/>
                  <a:gd name="T64" fmla="*/ 151 w 151"/>
                  <a:gd name="T65" fmla="*/ 226 h 241"/>
                  <a:gd name="T66" fmla="*/ 151 w 151"/>
                  <a:gd name="T67" fmla="*/ 15 h 241"/>
                  <a:gd name="T68" fmla="*/ 150 w 151"/>
                  <a:gd name="T69" fmla="*/ 13 h 241"/>
                  <a:gd name="T70" fmla="*/ 149 w 151"/>
                  <a:gd name="T71" fmla="*/ 10 h 241"/>
                  <a:gd name="T72" fmla="*/ 148 w 151"/>
                  <a:gd name="T73" fmla="*/ 8 h 241"/>
                  <a:gd name="T74" fmla="*/ 146 w 151"/>
                  <a:gd name="T75" fmla="*/ 6 h 241"/>
                  <a:gd name="T76" fmla="*/ 144 w 151"/>
                  <a:gd name="T77" fmla="*/ 3 h 241"/>
                  <a:gd name="T78" fmla="*/ 142 w 151"/>
                  <a:gd name="T79" fmla="*/ 2 h 241"/>
                  <a:gd name="T80" fmla="*/ 138 w 151"/>
                  <a:gd name="T81" fmla="*/ 1 h 241"/>
                  <a:gd name="T82" fmla="*/ 136 w 151"/>
                  <a:gd name="T83" fmla="*/ 0 h 241"/>
                  <a:gd name="T84" fmla="*/ 136 w 15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1" h="241">
                    <a:moveTo>
                      <a:pt x="121" y="211"/>
                    </a:moveTo>
                    <a:lnTo>
                      <a:pt x="30" y="211"/>
                    </a:lnTo>
                    <a:lnTo>
                      <a:pt x="30" y="30"/>
                    </a:lnTo>
                    <a:lnTo>
                      <a:pt x="121" y="30"/>
                    </a:lnTo>
                    <a:lnTo>
                      <a:pt x="121" y="211"/>
                    </a:lnTo>
                    <a:close/>
                    <a:moveTo>
                      <a:pt x="136" y="0"/>
                    </a:moveTo>
                    <a:lnTo>
                      <a:pt x="15" y="0"/>
                    </a:lnTo>
                    <a:lnTo>
                      <a:pt x="13" y="1"/>
                    </a:lnTo>
                    <a:lnTo>
                      <a:pt x="10" y="2"/>
                    </a:lnTo>
                    <a:lnTo>
                      <a:pt x="8" y="3"/>
                    </a:lnTo>
                    <a:lnTo>
                      <a:pt x="6" y="6"/>
                    </a:lnTo>
                    <a:lnTo>
                      <a:pt x="4" y="8"/>
                    </a:lnTo>
                    <a:lnTo>
                      <a:pt x="2" y="10"/>
                    </a:lnTo>
                    <a:lnTo>
                      <a:pt x="1" y="13"/>
                    </a:lnTo>
                    <a:lnTo>
                      <a:pt x="0" y="15"/>
                    </a:lnTo>
                    <a:lnTo>
                      <a:pt x="0" y="226"/>
                    </a:lnTo>
                    <a:lnTo>
                      <a:pt x="1" y="228"/>
                    </a:lnTo>
                    <a:lnTo>
                      <a:pt x="2" y="231"/>
                    </a:lnTo>
                    <a:lnTo>
                      <a:pt x="4" y="233"/>
                    </a:lnTo>
                    <a:lnTo>
                      <a:pt x="6" y="236"/>
                    </a:lnTo>
                    <a:lnTo>
                      <a:pt x="8" y="238"/>
                    </a:lnTo>
                    <a:lnTo>
                      <a:pt x="10" y="240"/>
                    </a:lnTo>
                    <a:lnTo>
                      <a:pt x="13" y="240"/>
                    </a:lnTo>
                    <a:lnTo>
                      <a:pt x="15" y="241"/>
                    </a:lnTo>
                    <a:lnTo>
                      <a:pt x="136" y="241"/>
                    </a:lnTo>
                    <a:lnTo>
                      <a:pt x="138" y="240"/>
                    </a:lnTo>
                    <a:lnTo>
                      <a:pt x="142" y="239"/>
                    </a:lnTo>
                    <a:lnTo>
                      <a:pt x="144" y="238"/>
                    </a:lnTo>
                    <a:lnTo>
                      <a:pt x="146" y="236"/>
                    </a:lnTo>
                    <a:lnTo>
                      <a:pt x="148" y="233"/>
                    </a:lnTo>
                    <a:lnTo>
                      <a:pt x="149" y="231"/>
                    </a:lnTo>
                    <a:lnTo>
                      <a:pt x="150" y="228"/>
                    </a:lnTo>
                    <a:lnTo>
                      <a:pt x="151" y="226"/>
                    </a:lnTo>
                    <a:lnTo>
                      <a:pt x="151" y="15"/>
                    </a:lnTo>
                    <a:lnTo>
                      <a:pt x="150" y="13"/>
                    </a:lnTo>
                    <a:lnTo>
                      <a:pt x="149" y="10"/>
                    </a:lnTo>
                    <a:lnTo>
                      <a:pt x="148" y="8"/>
                    </a:lnTo>
                    <a:lnTo>
                      <a:pt x="146" y="6"/>
                    </a:lnTo>
                    <a:lnTo>
                      <a:pt x="144" y="3"/>
                    </a:lnTo>
                    <a:lnTo>
                      <a:pt x="142" y="2"/>
                    </a:lnTo>
                    <a:lnTo>
                      <a:pt x="138" y="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2">
                <a:extLst>
                  <a:ext uri="{FF2B5EF4-FFF2-40B4-BE49-F238E27FC236}">
                    <a16:creationId xmlns:a16="http://schemas.microsoft.com/office/drawing/2014/main" id="{0C97CF06-7A88-483C-9A11-EA8A216F2219}"/>
                  </a:ext>
                </a:extLst>
              </p:cNvPr>
              <p:cNvSpPr>
                <a:spLocks noEditPoints="1"/>
              </p:cNvSpPr>
              <p:nvPr/>
            </p:nvSpPr>
            <p:spPr bwMode="auto">
              <a:xfrm>
                <a:off x="1527175" y="2079625"/>
                <a:ext cx="47625" cy="114300"/>
              </a:xfrm>
              <a:custGeom>
                <a:avLst/>
                <a:gdLst>
                  <a:gd name="T0" fmla="*/ 120 w 150"/>
                  <a:gd name="T1" fmla="*/ 331 h 361"/>
                  <a:gd name="T2" fmla="*/ 30 w 150"/>
                  <a:gd name="T3" fmla="*/ 331 h 361"/>
                  <a:gd name="T4" fmla="*/ 30 w 150"/>
                  <a:gd name="T5" fmla="*/ 30 h 361"/>
                  <a:gd name="T6" fmla="*/ 120 w 150"/>
                  <a:gd name="T7" fmla="*/ 30 h 361"/>
                  <a:gd name="T8" fmla="*/ 120 w 150"/>
                  <a:gd name="T9" fmla="*/ 331 h 361"/>
                  <a:gd name="T10" fmla="*/ 135 w 150"/>
                  <a:gd name="T11" fmla="*/ 0 h 361"/>
                  <a:gd name="T12" fmla="*/ 15 w 150"/>
                  <a:gd name="T13" fmla="*/ 0 h 361"/>
                  <a:gd name="T14" fmla="*/ 12 w 150"/>
                  <a:gd name="T15" fmla="*/ 2 h 361"/>
                  <a:gd name="T16" fmla="*/ 9 w 150"/>
                  <a:gd name="T17" fmla="*/ 2 h 361"/>
                  <a:gd name="T18" fmla="*/ 7 w 150"/>
                  <a:gd name="T19" fmla="*/ 4 h 361"/>
                  <a:gd name="T20" fmla="*/ 4 w 150"/>
                  <a:gd name="T21" fmla="*/ 5 h 361"/>
                  <a:gd name="T22" fmla="*/ 2 w 150"/>
                  <a:gd name="T23" fmla="*/ 8 h 361"/>
                  <a:gd name="T24" fmla="*/ 1 w 150"/>
                  <a:gd name="T25" fmla="*/ 10 h 361"/>
                  <a:gd name="T26" fmla="*/ 0 w 150"/>
                  <a:gd name="T27" fmla="*/ 13 h 361"/>
                  <a:gd name="T28" fmla="*/ 0 w 150"/>
                  <a:gd name="T29" fmla="*/ 15 h 361"/>
                  <a:gd name="T30" fmla="*/ 0 w 150"/>
                  <a:gd name="T31" fmla="*/ 346 h 361"/>
                  <a:gd name="T32" fmla="*/ 0 w 150"/>
                  <a:gd name="T33" fmla="*/ 348 h 361"/>
                  <a:gd name="T34" fmla="*/ 1 w 150"/>
                  <a:gd name="T35" fmla="*/ 351 h 361"/>
                  <a:gd name="T36" fmla="*/ 2 w 150"/>
                  <a:gd name="T37" fmla="*/ 353 h 361"/>
                  <a:gd name="T38" fmla="*/ 4 w 150"/>
                  <a:gd name="T39" fmla="*/ 356 h 361"/>
                  <a:gd name="T40" fmla="*/ 7 w 150"/>
                  <a:gd name="T41" fmla="*/ 358 h 361"/>
                  <a:gd name="T42" fmla="*/ 9 w 150"/>
                  <a:gd name="T43" fmla="*/ 360 h 361"/>
                  <a:gd name="T44" fmla="*/ 12 w 150"/>
                  <a:gd name="T45" fmla="*/ 360 h 361"/>
                  <a:gd name="T46" fmla="*/ 15 w 150"/>
                  <a:gd name="T47" fmla="*/ 361 h 361"/>
                  <a:gd name="T48" fmla="*/ 135 w 150"/>
                  <a:gd name="T49" fmla="*/ 361 h 361"/>
                  <a:gd name="T50" fmla="*/ 137 w 150"/>
                  <a:gd name="T51" fmla="*/ 360 h 361"/>
                  <a:gd name="T52" fmla="*/ 140 w 150"/>
                  <a:gd name="T53" fmla="*/ 359 h 361"/>
                  <a:gd name="T54" fmla="*/ 143 w 150"/>
                  <a:gd name="T55" fmla="*/ 358 h 361"/>
                  <a:gd name="T56" fmla="*/ 146 w 150"/>
                  <a:gd name="T57" fmla="*/ 356 h 361"/>
                  <a:gd name="T58" fmla="*/ 147 w 150"/>
                  <a:gd name="T59" fmla="*/ 353 h 361"/>
                  <a:gd name="T60" fmla="*/ 149 w 150"/>
                  <a:gd name="T61" fmla="*/ 351 h 361"/>
                  <a:gd name="T62" fmla="*/ 149 w 150"/>
                  <a:gd name="T63" fmla="*/ 348 h 361"/>
                  <a:gd name="T64" fmla="*/ 150 w 150"/>
                  <a:gd name="T65" fmla="*/ 346 h 361"/>
                  <a:gd name="T66" fmla="*/ 150 w 150"/>
                  <a:gd name="T67" fmla="*/ 15 h 361"/>
                  <a:gd name="T68" fmla="*/ 149 w 150"/>
                  <a:gd name="T69" fmla="*/ 13 h 361"/>
                  <a:gd name="T70" fmla="*/ 149 w 150"/>
                  <a:gd name="T71" fmla="*/ 10 h 361"/>
                  <a:gd name="T72" fmla="*/ 147 w 150"/>
                  <a:gd name="T73" fmla="*/ 8 h 361"/>
                  <a:gd name="T74" fmla="*/ 146 w 150"/>
                  <a:gd name="T75" fmla="*/ 5 h 361"/>
                  <a:gd name="T76" fmla="*/ 143 w 150"/>
                  <a:gd name="T77" fmla="*/ 4 h 361"/>
                  <a:gd name="T78" fmla="*/ 140 w 150"/>
                  <a:gd name="T79" fmla="*/ 2 h 361"/>
                  <a:gd name="T80" fmla="*/ 137 w 150"/>
                  <a:gd name="T81" fmla="*/ 2 h 361"/>
                  <a:gd name="T82" fmla="*/ 135 w 150"/>
                  <a:gd name="T83" fmla="*/ 0 h 361"/>
                  <a:gd name="T84" fmla="*/ 135 w 150"/>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61">
                    <a:moveTo>
                      <a:pt x="120" y="331"/>
                    </a:moveTo>
                    <a:lnTo>
                      <a:pt x="30" y="331"/>
                    </a:lnTo>
                    <a:lnTo>
                      <a:pt x="30" y="30"/>
                    </a:lnTo>
                    <a:lnTo>
                      <a:pt x="120" y="30"/>
                    </a:lnTo>
                    <a:lnTo>
                      <a:pt x="120" y="331"/>
                    </a:lnTo>
                    <a:close/>
                    <a:moveTo>
                      <a:pt x="135" y="0"/>
                    </a:moveTo>
                    <a:lnTo>
                      <a:pt x="15" y="0"/>
                    </a:lnTo>
                    <a:lnTo>
                      <a:pt x="12" y="2"/>
                    </a:lnTo>
                    <a:lnTo>
                      <a:pt x="9" y="2"/>
                    </a:lnTo>
                    <a:lnTo>
                      <a:pt x="7" y="4"/>
                    </a:lnTo>
                    <a:lnTo>
                      <a:pt x="4" y="5"/>
                    </a:lnTo>
                    <a:lnTo>
                      <a:pt x="2" y="8"/>
                    </a:lnTo>
                    <a:lnTo>
                      <a:pt x="1" y="10"/>
                    </a:lnTo>
                    <a:lnTo>
                      <a:pt x="0" y="13"/>
                    </a:lnTo>
                    <a:lnTo>
                      <a:pt x="0" y="15"/>
                    </a:lnTo>
                    <a:lnTo>
                      <a:pt x="0" y="346"/>
                    </a:lnTo>
                    <a:lnTo>
                      <a:pt x="0" y="348"/>
                    </a:lnTo>
                    <a:lnTo>
                      <a:pt x="1" y="351"/>
                    </a:lnTo>
                    <a:lnTo>
                      <a:pt x="2" y="353"/>
                    </a:lnTo>
                    <a:lnTo>
                      <a:pt x="4" y="356"/>
                    </a:lnTo>
                    <a:lnTo>
                      <a:pt x="7" y="358"/>
                    </a:lnTo>
                    <a:lnTo>
                      <a:pt x="9" y="360"/>
                    </a:lnTo>
                    <a:lnTo>
                      <a:pt x="12" y="360"/>
                    </a:lnTo>
                    <a:lnTo>
                      <a:pt x="15" y="361"/>
                    </a:lnTo>
                    <a:lnTo>
                      <a:pt x="135" y="361"/>
                    </a:lnTo>
                    <a:lnTo>
                      <a:pt x="137" y="360"/>
                    </a:lnTo>
                    <a:lnTo>
                      <a:pt x="140" y="359"/>
                    </a:lnTo>
                    <a:lnTo>
                      <a:pt x="143" y="358"/>
                    </a:lnTo>
                    <a:lnTo>
                      <a:pt x="146" y="356"/>
                    </a:lnTo>
                    <a:lnTo>
                      <a:pt x="147" y="353"/>
                    </a:lnTo>
                    <a:lnTo>
                      <a:pt x="149" y="351"/>
                    </a:lnTo>
                    <a:lnTo>
                      <a:pt x="149" y="348"/>
                    </a:lnTo>
                    <a:lnTo>
                      <a:pt x="150" y="346"/>
                    </a:lnTo>
                    <a:lnTo>
                      <a:pt x="150" y="15"/>
                    </a:lnTo>
                    <a:lnTo>
                      <a:pt x="149" y="13"/>
                    </a:lnTo>
                    <a:lnTo>
                      <a:pt x="149" y="10"/>
                    </a:lnTo>
                    <a:lnTo>
                      <a:pt x="147" y="8"/>
                    </a:lnTo>
                    <a:lnTo>
                      <a:pt x="146" y="5"/>
                    </a:lnTo>
                    <a:lnTo>
                      <a:pt x="143" y="4"/>
                    </a:lnTo>
                    <a:lnTo>
                      <a:pt x="140" y="2"/>
                    </a:lnTo>
                    <a:lnTo>
                      <a:pt x="137" y="2"/>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13">
                <a:extLst>
                  <a:ext uri="{FF2B5EF4-FFF2-40B4-BE49-F238E27FC236}">
                    <a16:creationId xmlns:a16="http://schemas.microsoft.com/office/drawing/2014/main" id="{B5272B93-03EE-490C-BE8C-9D2E110F9925}"/>
                  </a:ext>
                </a:extLst>
              </p:cNvPr>
              <p:cNvSpPr>
                <a:spLocks noEditPoints="1"/>
              </p:cNvSpPr>
              <p:nvPr/>
            </p:nvSpPr>
            <p:spPr bwMode="auto">
              <a:xfrm>
                <a:off x="1584325" y="2041525"/>
                <a:ext cx="47625" cy="152400"/>
              </a:xfrm>
              <a:custGeom>
                <a:avLst/>
                <a:gdLst>
                  <a:gd name="T0" fmla="*/ 120 w 150"/>
                  <a:gd name="T1" fmla="*/ 450 h 480"/>
                  <a:gd name="T2" fmla="*/ 30 w 150"/>
                  <a:gd name="T3" fmla="*/ 450 h 480"/>
                  <a:gd name="T4" fmla="*/ 30 w 150"/>
                  <a:gd name="T5" fmla="*/ 30 h 480"/>
                  <a:gd name="T6" fmla="*/ 120 w 150"/>
                  <a:gd name="T7" fmla="*/ 30 h 480"/>
                  <a:gd name="T8" fmla="*/ 120 w 150"/>
                  <a:gd name="T9" fmla="*/ 450 h 480"/>
                  <a:gd name="T10" fmla="*/ 135 w 150"/>
                  <a:gd name="T11" fmla="*/ 0 h 480"/>
                  <a:gd name="T12" fmla="*/ 15 w 150"/>
                  <a:gd name="T13" fmla="*/ 0 h 480"/>
                  <a:gd name="T14" fmla="*/ 12 w 150"/>
                  <a:gd name="T15" fmla="*/ 1 h 480"/>
                  <a:gd name="T16" fmla="*/ 8 w 150"/>
                  <a:gd name="T17" fmla="*/ 1 h 480"/>
                  <a:gd name="T18" fmla="*/ 6 w 150"/>
                  <a:gd name="T19" fmla="*/ 3 h 480"/>
                  <a:gd name="T20" fmla="*/ 4 w 150"/>
                  <a:gd name="T21" fmla="*/ 4 h 480"/>
                  <a:gd name="T22" fmla="*/ 2 w 150"/>
                  <a:gd name="T23" fmla="*/ 6 h 480"/>
                  <a:gd name="T24" fmla="*/ 1 w 150"/>
                  <a:gd name="T25" fmla="*/ 9 h 480"/>
                  <a:gd name="T26" fmla="*/ 0 w 150"/>
                  <a:gd name="T27" fmla="*/ 12 h 480"/>
                  <a:gd name="T28" fmla="*/ 0 w 150"/>
                  <a:gd name="T29" fmla="*/ 15 h 480"/>
                  <a:gd name="T30" fmla="*/ 0 w 150"/>
                  <a:gd name="T31" fmla="*/ 465 h 480"/>
                  <a:gd name="T32" fmla="*/ 0 w 150"/>
                  <a:gd name="T33" fmla="*/ 467 h 480"/>
                  <a:gd name="T34" fmla="*/ 1 w 150"/>
                  <a:gd name="T35" fmla="*/ 470 h 480"/>
                  <a:gd name="T36" fmla="*/ 2 w 150"/>
                  <a:gd name="T37" fmla="*/ 472 h 480"/>
                  <a:gd name="T38" fmla="*/ 4 w 150"/>
                  <a:gd name="T39" fmla="*/ 475 h 480"/>
                  <a:gd name="T40" fmla="*/ 6 w 150"/>
                  <a:gd name="T41" fmla="*/ 477 h 480"/>
                  <a:gd name="T42" fmla="*/ 8 w 150"/>
                  <a:gd name="T43" fmla="*/ 479 h 480"/>
                  <a:gd name="T44" fmla="*/ 12 w 150"/>
                  <a:gd name="T45" fmla="*/ 479 h 480"/>
                  <a:gd name="T46" fmla="*/ 15 w 150"/>
                  <a:gd name="T47" fmla="*/ 480 h 480"/>
                  <a:gd name="T48" fmla="*/ 135 w 150"/>
                  <a:gd name="T49" fmla="*/ 480 h 480"/>
                  <a:gd name="T50" fmla="*/ 138 w 150"/>
                  <a:gd name="T51" fmla="*/ 479 h 480"/>
                  <a:gd name="T52" fmla="*/ 140 w 150"/>
                  <a:gd name="T53" fmla="*/ 478 h 480"/>
                  <a:gd name="T54" fmla="*/ 143 w 150"/>
                  <a:gd name="T55" fmla="*/ 477 h 480"/>
                  <a:gd name="T56" fmla="*/ 145 w 150"/>
                  <a:gd name="T57" fmla="*/ 475 h 480"/>
                  <a:gd name="T58" fmla="*/ 146 w 150"/>
                  <a:gd name="T59" fmla="*/ 472 h 480"/>
                  <a:gd name="T60" fmla="*/ 148 w 150"/>
                  <a:gd name="T61" fmla="*/ 470 h 480"/>
                  <a:gd name="T62" fmla="*/ 148 w 150"/>
                  <a:gd name="T63" fmla="*/ 467 h 480"/>
                  <a:gd name="T64" fmla="*/ 150 w 150"/>
                  <a:gd name="T65" fmla="*/ 465 h 480"/>
                  <a:gd name="T66" fmla="*/ 150 w 150"/>
                  <a:gd name="T67" fmla="*/ 15 h 480"/>
                  <a:gd name="T68" fmla="*/ 148 w 150"/>
                  <a:gd name="T69" fmla="*/ 11 h 480"/>
                  <a:gd name="T70" fmla="*/ 148 w 150"/>
                  <a:gd name="T71" fmla="*/ 9 h 480"/>
                  <a:gd name="T72" fmla="*/ 146 w 150"/>
                  <a:gd name="T73" fmla="*/ 6 h 480"/>
                  <a:gd name="T74" fmla="*/ 145 w 150"/>
                  <a:gd name="T75" fmla="*/ 4 h 480"/>
                  <a:gd name="T76" fmla="*/ 143 w 150"/>
                  <a:gd name="T77" fmla="*/ 3 h 480"/>
                  <a:gd name="T78" fmla="*/ 140 w 150"/>
                  <a:gd name="T79" fmla="*/ 1 h 480"/>
                  <a:gd name="T80" fmla="*/ 138 w 150"/>
                  <a:gd name="T81" fmla="*/ 1 h 480"/>
                  <a:gd name="T82" fmla="*/ 135 w 150"/>
                  <a:gd name="T83" fmla="*/ 0 h 480"/>
                  <a:gd name="T84" fmla="*/ 135 w 150"/>
                  <a:gd name="T85"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480">
                    <a:moveTo>
                      <a:pt x="120" y="450"/>
                    </a:moveTo>
                    <a:lnTo>
                      <a:pt x="30" y="450"/>
                    </a:lnTo>
                    <a:lnTo>
                      <a:pt x="30" y="30"/>
                    </a:lnTo>
                    <a:lnTo>
                      <a:pt x="120" y="30"/>
                    </a:lnTo>
                    <a:lnTo>
                      <a:pt x="120" y="450"/>
                    </a:lnTo>
                    <a:close/>
                    <a:moveTo>
                      <a:pt x="135" y="0"/>
                    </a:moveTo>
                    <a:lnTo>
                      <a:pt x="15" y="0"/>
                    </a:lnTo>
                    <a:lnTo>
                      <a:pt x="12" y="1"/>
                    </a:lnTo>
                    <a:lnTo>
                      <a:pt x="8" y="1"/>
                    </a:lnTo>
                    <a:lnTo>
                      <a:pt x="6" y="3"/>
                    </a:lnTo>
                    <a:lnTo>
                      <a:pt x="4" y="4"/>
                    </a:lnTo>
                    <a:lnTo>
                      <a:pt x="2" y="6"/>
                    </a:lnTo>
                    <a:lnTo>
                      <a:pt x="1" y="9"/>
                    </a:lnTo>
                    <a:lnTo>
                      <a:pt x="0" y="12"/>
                    </a:lnTo>
                    <a:lnTo>
                      <a:pt x="0" y="15"/>
                    </a:lnTo>
                    <a:lnTo>
                      <a:pt x="0" y="465"/>
                    </a:lnTo>
                    <a:lnTo>
                      <a:pt x="0" y="467"/>
                    </a:lnTo>
                    <a:lnTo>
                      <a:pt x="1" y="470"/>
                    </a:lnTo>
                    <a:lnTo>
                      <a:pt x="2" y="472"/>
                    </a:lnTo>
                    <a:lnTo>
                      <a:pt x="4" y="475"/>
                    </a:lnTo>
                    <a:lnTo>
                      <a:pt x="6" y="477"/>
                    </a:lnTo>
                    <a:lnTo>
                      <a:pt x="8" y="479"/>
                    </a:lnTo>
                    <a:lnTo>
                      <a:pt x="12" y="479"/>
                    </a:lnTo>
                    <a:lnTo>
                      <a:pt x="15" y="480"/>
                    </a:lnTo>
                    <a:lnTo>
                      <a:pt x="135" y="480"/>
                    </a:lnTo>
                    <a:lnTo>
                      <a:pt x="138" y="479"/>
                    </a:lnTo>
                    <a:lnTo>
                      <a:pt x="140" y="478"/>
                    </a:lnTo>
                    <a:lnTo>
                      <a:pt x="143" y="477"/>
                    </a:lnTo>
                    <a:lnTo>
                      <a:pt x="145" y="475"/>
                    </a:lnTo>
                    <a:lnTo>
                      <a:pt x="146" y="472"/>
                    </a:lnTo>
                    <a:lnTo>
                      <a:pt x="148" y="470"/>
                    </a:lnTo>
                    <a:lnTo>
                      <a:pt x="148" y="467"/>
                    </a:lnTo>
                    <a:lnTo>
                      <a:pt x="150" y="465"/>
                    </a:lnTo>
                    <a:lnTo>
                      <a:pt x="150" y="15"/>
                    </a:lnTo>
                    <a:lnTo>
                      <a:pt x="148" y="11"/>
                    </a:lnTo>
                    <a:lnTo>
                      <a:pt x="148" y="9"/>
                    </a:lnTo>
                    <a:lnTo>
                      <a:pt x="146" y="6"/>
                    </a:lnTo>
                    <a:lnTo>
                      <a:pt x="145" y="4"/>
                    </a:lnTo>
                    <a:lnTo>
                      <a:pt x="143" y="3"/>
                    </a:lnTo>
                    <a:lnTo>
                      <a:pt x="140" y="1"/>
                    </a:lnTo>
                    <a:lnTo>
                      <a:pt x="138" y="1"/>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4">
                <a:extLst>
                  <a:ext uri="{FF2B5EF4-FFF2-40B4-BE49-F238E27FC236}">
                    <a16:creationId xmlns:a16="http://schemas.microsoft.com/office/drawing/2014/main" id="{BE0CBA89-E698-446F-B39B-D7C50F8A001F}"/>
                  </a:ext>
                </a:extLst>
              </p:cNvPr>
              <p:cNvSpPr>
                <a:spLocks noEditPoints="1"/>
              </p:cNvSpPr>
              <p:nvPr/>
            </p:nvSpPr>
            <p:spPr bwMode="auto">
              <a:xfrm>
                <a:off x="1641475" y="2003425"/>
                <a:ext cx="46038" cy="190500"/>
              </a:xfrm>
              <a:custGeom>
                <a:avLst/>
                <a:gdLst>
                  <a:gd name="T0" fmla="*/ 119 w 149"/>
                  <a:gd name="T1" fmla="*/ 570 h 600"/>
                  <a:gd name="T2" fmla="*/ 29 w 149"/>
                  <a:gd name="T3" fmla="*/ 570 h 600"/>
                  <a:gd name="T4" fmla="*/ 29 w 149"/>
                  <a:gd name="T5" fmla="*/ 30 h 600"/>
                  <a:gd name="T6" fmla="*/ 119 w 149"/>
                  <a:gd name="T7" fmla="*/ 30 h 600"/>
                  <a:gd name="T8" fmla="*/ 119 w 149"/>
                  <a:gd name="T9" fmla="*/ 570 h 600"/>
                  <a:gd name="T10" fmla="*/ 134 w 149"/>
                  <a:gd name="T11" fmla="*/ 0 h 600"/>
                  <a:gd name="T12" fmla="*/ 14 w 149"/>
                  <a:gd name="T13" fmla="*/ 0 h 600"/>
                  <a:gd name="T14" fmla="*/ 11 w 149"/>
                  <a:gd name="T15" fmla="*/ 0 h 600"/>
                  <a:gd name="T16" fmla="*/ 8 w 149"/>
                  <a:gd name="T17" fmla="*/ 1 h 600"/>
                  <a:gd name="T18" fmla="*/ 6 w 149"/>
                  <a:gd name="T19" fmla="*/ 3 h 600"/>
                  <a:gd name="T20" fmla="*/ 4 w 149"/>
                  <a:gd name="T21" fmla="*/ 4 h 600"/>
                  <a:gd name="T22" fmla="*/ 2 w 149"/>
                  <a:gd name="T23" fmla="*/ 6 h 600"/>
                  <a:gd name="T24" fmla="*/ 1 w 149"/>
                  <a:gd name="T25" fmla="*/ 9 h 600"/>
                  <a:gd name="T26" fmla="*/ 0 w 149"/>
                  <a:gd name="T27" fmla="*/ 12 h 600"/>
                  <a:gd name="T28" fmla="*/ 0 w 149"/>
                  <a:gd name="T29" fmla="*/ 15 h 600"/>
                  <a:gd name="T30" fmla="*/ 0 w 149"/>
                  <a:gd name="T31" fmla="*/ 585 h 600"/>
                  <a:gd name="T32" fmla="*/ 0 w 149"/>
                  <a:gd name="T33" fmla="*/ 587 h 600"/>
                  <a:gd name="T34" fmla="*/ 1 w 149"/>
                  <a:gd name="T35" fmla="*/ 590 h 600"/>
                  <a:gd name="T36" fmla="*/ 2 w 149"/>
                  <a:gd name="T37" fmla="*/ 592 h 600"/>
                  <a:gd name="T38" fmla="*/ 4 w 149"/>
                  <a:gd name="T39" fmla="*/ 595 h 600"/>
                  <a:gd name="T40" fmla="*/ 6 w 149"/>
                  <a:gd name="T41" fmla="*/ 597 h 600"/>
                  <a:gd name="T42" fmla="*/ 8 w 149"/>
                  <a:gd name="T43" fmla="*/ 599 h 600"/>
                  <a:gd name="T44" fmla="*/ 11 w 149"/>
                  <a:gd name="T45" fmla="*/ 599 h 600"/>
                  <a:gd name="T46" fmla="*/ 14 w 149"/>
                  <a:gd name="T47" fmla="*/ 600 h 600"/>
                  <a:gd name="T48" fmla="*/ 134 w 149"/>
                  <a:gd name="T49" fmla="*/ 600 h 600"/>
                  <a:gd name="T50" fmla="*/ 137 w 149"/>
                  <a:gd name="T51" fmla="*/ 599 h 600"/>
                  <a:gd name="T52" fmla="*/ 140 w 149"/>
                  <a:gd name="T53" fmla="*/ 598 h 600"/>
                  <a:gd name="T54" fmla="*/ 143 w 149"/>
                  <a:gd name="T55" fmla="*/ 597 h 600"/>
                  <a:gd name="T56" fmla="*/ 145 w 149"/>
                  <a:gd name="T57" fmla="*/ 595 h 600"/>
                  <a:gd name="T58" fmla="*/ 147 w 149"/>
                  <a:gd name="T59" fmla="*/ 592 h 600"/>
                  <a:gd name="T60" fmla="*/ 148 w 149"/>
                  <a:gd name="T61" fmla="*/ 590 h 600"/>
                  <a:gd name="T62" fmla="*/ 149 w 149"/>
                  <a:gd name="T63" fmla="*/ 587 h 600"/>
                  <a:gd name="T64" fmla="*/ 149 w 149"/>
                  <a:gd name="T65" fmla="*/ 585 h 600"/>
                  <a:gd name="T66" fmla="*/ 149 w 149"/>
                  <a:gd name="T67" fmla="*/ 15 h 600"/>
                  <a:gd name="T68" fmla="*/ 149 w 149"/>
                  <a:gd name="T69" fmla="*/ 12 h 600"/>
                  <a:gd name="T70" fmla="*/ 148 w 149"/>
                  <a:gd name="T71" fmla="*/ 9 h 600"/>
                  <a:gd name="T72" fmla="*/ 147 w 149"/>
                  <a:gd name="T73" fmla="*/ 6 h 600"/>
                  <a:gd name="T74" fmla="*/ 145 w 149"/>
                  <a:gd name="T75" fmla="*/ 4 h 600"/>
                  <a:gd name="T76" fmla="*/ 143 w 149"/>
                  <a:gd name="T77" fmla="*/ 3 h 600"/>
                  <a:gd name="T78" fmla="*/ 140 w 149"/>
                  <a:gd name="T79" fmla="*/ 1 h 600"/>
                  <a:gd name="T80" fmla="*/ 137 w 149"/>
                  <a:gd name="T81" fmla="*/ 1 h 600"/>
                  <a:gd name="T82" fmla="*/ 134 w 149"/>
                  <a:gd name="T83" fmla="*/ 0 h 600"/>
                  <a:gd name="T84" fmla="*/ 134 w 149"/>
                  <a:gd name="T8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00">
                    <a:moveTo>
                      <a:pt x="119" y="570"/>
                    </a:moveTo>
                    <a:lnTo>
                      <a:pt x="29" y="570"/>
                    </a:lnTo>
                    <a:lnTo>
                      <a:pt x="29" y="30"/>
                    </a:lnTo>
                    <a:lnTo>
                      <a:pt x="119" y="30"/>
                    </a:lnTo>
                    <a:lnTo>
                      <a:pt x="119" y="570"/>
                    </a:lnTo>
                    <a:close/>
                    <a:moveTo>
                      <a:pt x="134" y="0"/>
                    </a:moveTo>
                    <a:lnTo>
                      <a:pt x="14" y="0"/>
                    </a:lnTo>
                    <a:lnTo>
                      <a:pt x="11" y="0"/>
                    </a:lnTo>
                    <a:lnTo>
                      <a:pt x="8" y="1"/>
                    </a:lnTo>
                    <a:lnTo>
                      <a:pt x="6" y="3"/>
                    </a:lnTo>
                    <a:lnTo>
                      <a:pt x="4" y="4"/>
                    </a:lnTo>
                    <a:lnTo>
                      <a:pt x="2" y="6"/>
                    </a:lnTo>
                    <a:lnTo>
                      <a:pt x="1" y="9"/>
                    </a:lnTo>
                    <a:lnTo>
                      <a:pt x="0" y="12"/>
                    </a:lnTo>
                    <a:lnTo>
                      <a:pt x="0" y="15"/>
                    </a:lnTo>
                    <a:lnTo>
                      <a:pt x="0" y="585"/>
                    </a:lnTo>
                    <a:lnTo>
                      <a:pt x="0" y="587"/>
                    </a:lnTo>
                    <a:lnTo>
                      <a:pt x="1" y="590"/>
                    </a:lnTo>
                    <a:lnTo>
                      <a:pt x="2" y="592"/>
                    </a:lnTo>
                    <a:lnTo>
                      <a:pt x="4" y="595"/>
                    </a:lnTo>
                    <a:lnTo>
                      <a:pt x="6" y="597"/>
                    </a:lnTo>
                    <a:lnTo>
                      <a:pt x="8" y="599"/>
                    </a:lnTo>
                    <a:lnTo>
                      <a:pt x="11" y="599"/>
                    </a:lnTo>
                    <a:lnTo>
                      <a:pt x="14" y="600"/>
                    </a:lnTo>
                    <a:lnTo>
                      <a:pt x="134" y="600"/>
                    </a:lnTo>
                    <a:lnTo>
                      <a:pt x="137" y="599"/>
                    </a:lnTo>
                    <a:lnTo>
                      <a:pt x="140" y="598"/>
                    </a:lnTo>
                    <a:lnTo>
                      <a:pt x="143" y="597"/>
                    </a:lnTo>
                    <a:lnTo>
                      <a:pt x="145" y="595"/>
                    </a:lnTo>
                    <a:lnTo>
                      <a:pt x="147" y="592"/>
                    </a:lnTo>
                    <a:lnTo>
                      <a:pt x="148" y="590"/>
                    </a:lnTo>
                    <a:lnTo>
                      <a:pt x="149" y="587"/>
                    </a:lnTo>
                    <a:lnTo>
                      <a:pt x="149" y="585"/>
                    </a:lnTo>
                    <a:lnTo>
                      <a:pt x="149" y="15"/>
                    </a:lnTo>
                    <a:lnTo>
                      <a:pt x="149" y="12"/>
                    </a:lnTo>
                    <a:lnTo>
                      <a:pt x="148" y="9"/>
                    </a:lnTo>
                    <a:lnTo>
                      <a:pt x="147" y="6"/>
                    </a:lnTo>
                    <a:lnTo>
                      <a:pt x="145" y="4"/>
                    </a:lnTo>
                    <a:lnTo>
                      <a:pt x="143" y="3"/>
                    </a:lnTo>
                    <a:lnTo>
                      <a:pt x="140" y="1"/>
                    </a:lnTo>
                    <a:lnTo>
                      <a:pt x="137"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5">
                <a:extLst>
                  <a:ext uri="{FF2B5EF4-FFF2-40B4-BE49-F238E27FC236}">
                    <a16:creationId xmlns:a16="http://schemas.microsoft.com/office/drawing/2014/main" id="{D8055737-9358-4AAB-BFF7-99266FF13CD2}"/>
                  </a:ext>
                </a:extLst>
              </p:cNvPr>
              <p:cNvSpPr>
                <a:spLocks noEditPoints="1"/>
              </p:cNvSpPr>
              <p:nvPr/>
            </p:nvSpPr>
            <p:spPr bwMode="auto">
              <a:xfrm>
                <a:off x="1697038" y="1965325"/>
                <a:ext cx="47625" cy="228600"/>
              </a:xfrm>
              <a:custGeom>
                <a:avLst/>
                <a:gdLst>
                  <a:gd name="T0" fmla="*/ 120 w 150"/>
                  <a:gd name="T1" fmla="*/ 690 h 720"/>
                  <a:gd name="T2" fmla="*/ 30 w 150"/>
                  <a:gd name="T3" fmla="*/ 690 h 720"/>
                  <a:gd name="T4" fmla="*/ 30 w 150"/>
                  <a:gd name="T5" fmla="*/ 30 h 720"/>
                  <a:gd name="T6" fmla="*/ 120 w 150"/>
                  <a:gd name="T7" fmla="*/ 30 h 720"/>
                  <a:gd name="T8" fmla="*/ 120 w 150"/>
                  <a:gd name="T9" fmla="*/ 690 h 720"/>
                  <a:gd name="T10" fmla="*/ 135 w 150"/>
                  <a:gd name="T11" fmla="*/ 0 h 720"/>
                  <a:gd name="T12" fmla="*/ 15 w 150"/>
                  <a:gd name="T13" fmla="*/ 0 h 720"/>
                  <a:gd name="T14" fmla="*/ 12 w 150"/>
                  <a:gd name="T15" fmla="*/ 0 h 720"/>
                  <a:gd name="T16" fmla="*/ 9 w 150"/>
                  <a:gd name="T17" fmla="*/ 1 h 720"/>
                  <a:gd name="T18" fmla="*/ 7 w 150"/>
                  <a:gd name="T19" fmla="*/ 3 h 720"/>
                  <a:gd name="T20" fmla="*/ 4 w 150"/>
                  <a:gd name="T21" fmla="*/ 4 h 720"/>
                  <a:gd name="T22" fmla="*/ 2 w 150"/>
                  <a:gd name="T23" fmla="*/ 6 h 720"/>
                  <a:gd name="T24" fmla="*/ 1 w 150"/>
                  <a:gd name="T25" fmla="*/ 10 h 720"/>
                  <a:gd name="T26" fmla="*/ 0 w 150"/>
                  <a:gd name="T27" fmla="*/ 12 h 720"/>
                  <a:gd name="T28" fmla="*/ 0 w 150"/>
                  <a:gd name="T29" fmla="*/ 15 h 720"/>
                  <a:gd name="T30" fmla="*/ 0 w 150"/>
                  <a:gd name="T31" fmla="*/ 705 h 720"/>
                  <a:gd name="T32" fmla="*/ 0 w 150"/>
                  <a:gd name="T33" fmla="*/ 707 h 720"/>
                  <a:gd name="T34" fmla="*/ 1 w 150"/>
                  <a:gd name="T35" fmla="*/ 710 h 720"/>
                  <a:gd name="T36" fmla="*/ 2 w 150"/>
                  <a:gd name="T37" fmla="*/ 712 h 720"/>
                  <a:gd name="T38" fmla="*/ 4 w 150"/>
                  <a:gd name="T39" fmla="*/ 715 h 720"/>
                  <a:gd name="T40" fmla="*/ 7 w 150"/>
                  <a:gd name="T41" fmla="*/ 717 h 720"/>
                  <a:gd name="T42" fmla="*/ 9 w 150"/>
                  <a:gd name="T43" fmla="*/ 719 h 720"/>
                  <a:gd name="T44" fmla="*/ 12 w 150"/>
                  <a:gd name="T45" fmla="*/ 719 h 720"/>
                  <a:gd name="T46" fmla="*/ 15 w 150"/>
                  <a:gd name="T47" fmla="*/ 720 h 720"/>
                  <a:gd name="T48" fmla="*/ 135 w 150"/>
                  <a:gd name="T49" fmla="*/ 720 h 720"/>
                  <a:gd name="T50" fmla="*/ 138 w 150"/>
                  <a:gd name="T51" fmla="*/ 719 h 720"/>
                  <a:gd name="T52" fmla="*/ 140 w 150"/>
                  <a:gd name="T53" fmla="*/ 718 h 720"/>
                  <a:gd name="T54" fmla="*/ 144 w 150"/>
                  <a:gd name="T55" fmla="*/ 717 h 720"/>
                  <a:gd name="T56" fmla="*/ 146 w 150"/>
                  <a:gd name="T57" fmla="*/ 715 h 720"/>
                  <a:gd name="T58" fmla="*/ 148 w 150"/>
                  <a:gd name="T59" fmla="*/ 712 h 720"/>
                  <a:gd name="T60" fmla="*/ 149 w 150"/>
                  <a:gd name="T61" fmla="*/ 710 h 720"/>
                  <a:gd name="T62" fmla="*/ 150 w 150"/>
                  <a:gd name="T63" fmla="*/ 707 h 720"/>
                  <a:gd name="T64" fmla="*/ 150 w 150"/>
                  <a:gd name="T65" fmla="*/ 705 h 720"/>
                  <a:gd name="T66" fmla="*/ 150 w 150"/>
                  <a:gd name="T67" fmla="*/ 15 h 720"/>
                  <a:gd name="T68" fmla="*/ 150 w 150"/>
                  <a:gd name="T69" fmla="*/ 12 h 720"/>
                  <a:gd name="T70" fmla="*/ 149 w 150"/>
                  <a:gd name="T71" fmla="*/ 10 h 720"/>
                  <a:gd name="T72" fmla="*/ 148 w 150"/>
                  <a:gd name="T73" fmla="*/ 6 h 720"/>
                  <a:gd name="T74" fmla="*/ 146 w 150"/>
                  <a:gd name="T75" fmla="*/ 4 h 720"/>
                  <a:gd name="T76" fmla="*/ 144 w 150"/>
                  <a:gd name="T77" fmla="*/ 3 h 720"/>
                  <a:gd name="T78" fmla="*/ 140 w 150"/>
                  <a:gd name="T79" fmla="*/ 1 h 720"/>
                  <a:gd name="T80" fmla="*/ 138 w 150"/>
                  <a:gd name="T81" fmla="*/ 0 h 720"/>
                  <a:gd name="T82" fmla="*/ 135 w 150"/>
                  <a:gd name="T83" fmla="*/ 0 h 720"/>
                  <a:gd name="T84" fmla="*/ 135 w 150"/>
                  <a:gd name="T8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20">
                    <a:moveTo>
                      <a:pt x="120" y="690"/>
                    </a:moveTo>
                    <a:lnTo>
                      <a:pt x="30" y="690"/>
                    </a:lnTo>
                    <a:lnTo>
                      <a:pt x="30" y="30"/>
                    </a:lnTo>
                    <a:lnTo>
                      <a:pt x="120" y="30"/>
                    </a:lnTo>
                    <a:lnTo>
                      <a:pt x="120" y="690"/>
                    </a:lnTo>
                    <a:close/>
                    <a:moveTo>
                      <a:pt x="135" y="0"/>
                    </a:moveTo>
                    <a:lnTo>
                      <a:pt x="15" y="0"/>
                    </a:lnTo>
                    <a:lnTo>
                      <a:pt x="12" y="0"/>
                    </a:lnTo>
                    <a:lnTo>
                      <a:pt x="9" y="1"/>
                    </a:lnTo>
                    <a:lnTo>
                      <a:pt x="7" y="3"/>
                    </a:lnTo>
                    <a:lnTo>
                      <a:pt x="4" y="4"/>
                    </a:lnTo>
                    <a:lnTo>
                      <a:pt x="2" y="6"/>
                    </a:lnTo>
                    <a:lnTo>
                      <a:pt x="1" y="10"/>
                    </a:lnTo>
                    <a:lnTo>
                      <a:pt x="0" y="12"/>
                    </a:lnTo>
                    <a:lnTo>
                      <a:pt x="0" y="15"/>
                    </a:lnTo>
                    <a:lnTo>
                      <a:pt x="0" y="705"/>
                    </a:lnTo>
                    <a:lnTo>
                      <a:pt x="0" y="707"/>
                    </a:lnTo>
                    <a:lnTo>
                      <a:pt x="1" y="710"/>
                    </a:lnTo>
                    <a:lnTo>
                      <a:pt x="2" y="712"/>
                    </a:lnTo>
                    <a:lnTo>
                      <a:pt x="4" y="715"/>
                    </a:lnTo>
                    <a:lnTo>
                      <a:pt x="7" y="717"/>
                    </a:lnTo>
                    <a:lnTo>
                      <a:pt x="9" y="719"/>
                    </a:lnTo>
                    <a:lnTo>
                      <a:pt x="12" y="719"/>
                    </a:lnTo>
                    <a:lnTo>
                      <a:pt x="15" y="720"/>
                    </a:lnTo>
                    <a:lnTo>
                      <a:pt x="135" y="720"/>
                    </a:lnTo>
                    <a:lnTo>
                      <a:pt x="138" y="719"/>
                    </a:lnTo>
                    <a:lnTo>
                      <a:pt x="140" y="718"/>
                    </a:lnTo>
                    <a:lnTo>
                      <a:pt x="144" y="717"/>
                    </a:lnTo>
                    <a:lnTo>
                      <a:pt x="146" y="715"/>
                    </a:lnTo>
                    <a:lnTo>
                      <a:pt x="148" y="712"/>
                    </a:lnTo>
                    <a:lnTo>
                      <a:pt x="149" y="710"/>
                    </a:lnTo>
                    <a:lnTo>
                      <a:pt x="150" y="707"/>
                    </a:lnTo>
                    <a:lnTo>
                      <a:pt x="150" y="705"/>
                    </a:lnTo>
                    <a:lnTo>
                      <a:pt x="150" y="15"/>
                    </a:lnTo>
                    <a:lnTo>
                      <a:pt x="150" y="12"/>
                    </a:lnTo>
                    <a:lnTo>
                      <a:pt x="149" y="10"/>
                    </a:lnTo>
                    <a:lnTo>
                      <a:pt x="148" y="6"/>
                    </a:lnTo>
                    <a:lnTo>
                      <a:pt x="146" y="4"/>
                    </a:lnTo>
                    <a:lnTo>
                      <a:pt x="144" y="3"/>
                    </a:lnTo>
                    <a:lnTo>
                      <a:pt x="140" y="1"/>
                    </a:lnTo>
                    <a:lnTo>
                      <a:pt x="138"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0" name="Gruppieren 49">
            <a:extLst>
              <a:ext uri="{FF2B5EF4-FFF2-40B4-BE49-F238E27FC236}">
                <a16:creationId xmlns:a16="http://schemas.microsoft.com/office/drawing/2014/main" id="{009130C7-D5F3-4ECB-A65B-E8ACD522CDFE}"/>
              </a:ext>
            </a:extLst>
          </p:cNvPr>
          <p:cNvGrpSpPr/>
          <p:nvPr/>
        </p:nvGrpSpPr>
        <p:grpSpPr>
          <a:xfrm>
            <a:off x="3208677" y="1627200"/>
            <a:ext cx="1080000" cy="1080000"/>
            <a:chOff x="3208677" y="1275080"/>
            <a:chExt cx="1080000" cy="1080000"/>
          </a:xfrm>
        </p:grpSpPr>
        <p:sp>
          <p:nvSpPr>
            <p:cNvPr id="13" name="Sechseck 1">
              <a:extLst>
                <a:ext uri="{FF2B5EF4-FFF2-40B4-BE49-F238E27FC236}">
                  <a16:creationId xmlns:a16="http://schemas.microsoft.com/office/drawing/2014/main" id="{0946BAA3-376B-4CCD-9E52-9E57ECD16A63}"/>
                </a:ext>
              </a:extLst>
            </p:cNvPr>
            <p:cNvSpPr/>
            <p:nvPr/>
          </p:nvSpPr>
          <p:spPr>
            <a:xfrm>
              <a:off x="3208677" y="1275080"/>
              <a:ext cx="1080000" cy="1080000"/>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a:p>
          </p:txBody>
        </p:sp>
        <p:grpSp>
          <p:nvGrpSpPr>
            <p:cNvPr id="33" name="Group 69">
              <a:extLst>
                <a:ext uri="{FF2B5EF4-FFF2-40B4-BE49-F238E27FC236}">
                  <a16:creationId xmlns:a16="http://schemas.microsoft.com/office/drawing/2014/main" id="{10E9A6E2-C86B-4474-9C40-E9BB77C4A674}"/>
                </a:ext>
              </a:extLst>
            </p:cNvPr>
            <p:cNvGrpSpPr>
              <a:grpSpLocks noChangeAspect="1"/>
            </p:cNvGrpSpPr>
            <p:nvPr/>
          </p:nvGrpSpPr>
          <p:grpSpPr>
            <a:xfrm>
              <a:off x="3477461" y="1543864"/>
              <a:ext cx="542432" cy="542432"/>
              <a:chOff x="8094663" y="4038600"/>
              <a:chExt cx="1136650" cy="1136650"/>
            </a:xfrm>
            <a:solidFill>
              <a:schemeClr val="bg2"/>
            </a:solidFill>
            <a:effectLst/>
          </p:grpSpPr>
          <p:sp>
            <p:nvSpPr>
              <p:cNvPr id="34" name="Freeform 39">
                <a:extLst>
                  <a:ext uri="{FF2B5EF4-FFF2-40B4-BE49-F238E27FC236}">
                    <a16:creationId xmlns:a16="http://schemas.microsoft.com/office/drawing/2014/main" id="{176D0415-BF16-4FCD-8D69-D08590E9449A}"/>
                  </a:ext>
                </a:extLst>
              </p:cNvPr>
              <p:cNvSpPr>
                <a:spLocks/>
              </p:cNvSpPr>
              <p:nvPr/>
            </p:nvSpPr>
            <p:spPr bwMode="auto">
              <a:xfrm>
                <a:off x="8499475" y="4845050"/>
                <a:ext cx="214313" cy="330200"/>
              </a:xfrm>
              <a:custGeom>
                <a:avLst/>
                <a:gdLst>
                  <a:gd name="T0" fmla="*/ 39 w 405"/>
                  <a:gd name="T1" fmla="*/ 624 h 624"/>
                  <a:gd name="T2" fmla="*/ 32 w 405"/>
                  <a:gd name="T3" fmla="*/ 623 h 624"/>
                  <a:gd name="T4" fmla="*/ 25 w 405"/>
                  <a:gd name="T5" fmla="*/ 621 h 624"/>
                  <a:gd name="T6" fmla="*/ 19 w 405"/>
                  <a:gd name="T7" fmla="*/ 619 h 624"/>
                  <a:gd name="T8" fmla="*/ 14 w 405"/>
                  <a:gd name="T9" fmla="*/ 615 h 624"/>
                  <a:gd name="T10" fmla="*/ 11 w 405"/>
                  <a:gd name="T11" fmla="*/ 611 h 624"/>
                  <a:gd name="T12" fmla="*/ 7 w 405"/>
                  <a:gd name="T13" fmla="*/ 607 h 624"/>
                  <a:gd name="T14" fmla="*/ 4 w 405"/>
                  <a:gd name="T15" fmla="*/ 602 h 624"/>
                  <a:gd name="T16" fmla="*/ 2 w 405"/>
                  <a:gd name="T17" fmla="*/ 596 h 624"/>
                  <a:gd name="T18" fmla="*/ 1 w 405"/>
                  <a:gd name="T19" fmla="*/ 591 h 624"/>
                  <a:gd name="T20" fmla="*/ 0 w 405"/>
                  <a:gd name="T21" fmla="*/ 586 h 624"/>
                  <a:gd name="T22" fmla="*/ 0 w 405"/>
                  <a:gd name="T23" fmla="*/ 227 h 624"/>
                  <a:gd name="T24" fmla="*/ 1 w 405"/>
                  <a:gd name="T25" fmla="*/ 219 h 624"/>
                  <a:gd name="T26" fmla="*/ 3 w 405"/>
                  <a:gd name="T27" fmla="*/ 212 h 624"/>
                  <a:gd name="T28" fmla="*/ 7 w 405"/>
                  <a:gd name="T29" fmla="*/ 205 h 624"/>
                  <a:gd name="T30" fmla="*/ 12 w 405"/>
                  <a:gd name="T31" fmla="*/ 199 h 624"/>
                  <a:gd name="T32" fmla="*/ 17 w 405"/>
                  <a:gd name="T33" fmla="*/ 195 h 624"/>
                  <a:gd name="T34" fmla="*/ 24 w 405"/>
                  <a:gd name="T35" fmla="*/ 191 h 624"/>
                  <a:gd name="T36" fmla="*/ 31 w 405"/>
                  <a:gd name="T37" fmla="*/ 188 h 624"/>
                  <a:gd name="T38" fmla="*/ 39 w 405"/>
                  <a:gd name="T39" fmla="*/ 188 h 624"/>
                  <a:gd name="T40" fmla="*/ 47 w 405"/>
                  <a:gd name="T41" fmla="*/ 188 h 624"/>
                  <a:gd name="T42" fmla="*/ 54 w 405"/>
                  <a:gd name="T43" fmla="*/ 191 h 624"/>
                  <a:gd name="T44" fmla="*/ 61 w 405"/>
                  <a:gd name="T45" fmla="*/ 195 h 624"/>
                  <a:gd name="T46" fmla="*/ 66 w 405"/>
                  <a:gd name="T47" fmla="*/ 199 h 624"/>
                  <a:gd name="T48" fmla="*/ 71 w 405"/>
                  <a:gd name="T49" fmla="*/ 205 h 624"/>
                  <a:gd name="T50" fmla="*/ 75 w 405"/>
                  <a:gd name="T51" fmla="*/ 212 h 624"/>
                  <a:gd name="T52" fmla="*/ 77 w 405"/>
                  <a:gd name="T53" fmla="*/ 219 h 624"/>
                  <a:gd name="T54" fmla="*/ 78 w 405"/>
                  <a:gd name="T55" fmla="*/ 227 h 624"/>
                  <a:gd name="T56" fmla="*/ 78 w 405"/>
                  <a:gd name="T57" fmla="*/ 492 h 624"/>
                  <a:gd name="T58" fmla="*/ 303 w 405"/>
                  <a:gd name="T59" fmla="*/ 267 h 624"/>
                  <a:gd name="T60" fmla="*/ 329 w 405"/>
                  <a:gd name="T61" fmla="*/ 34 h 624"/>
                  <a:gd name="T62" fmla="*/ 331 w 405"/>
                  <a:gd name="T63" fmla="*/ 27 h 624"/>
                  <a:gd name="T64" fmla="*/ 333 w 405"/>
                  <a:gd name="T65" fmla="*/ 20 h 624"/>
                  <a:gd name="T66" fmla="*/ 338 w 405"/>
                  <a:gd name="T67" fmla="*/ 14 h 624"/>
                  <a:gd name="T68" fmla="*/ 343 w 405"/>
                  <a:gd name="T69" fmla="*/ 9 h 624"/>
                  <a:gd name="T70" fmla="*/ 349 w 405"/>
                  <a:gd name="T71" fmla="*/ 4 h 624"/>
                  <a:gd name="T72" fmla="*/ 356 w 405"/>
                  <a:gd name="T73" fmla="*/ 2 h 624"/>
                  <a:gd name="T74" fmla="*/ 364 w 405"/>
                  <a:gd name="T75" fmla="*/ 0 h 624"/>
                  <a:gd name="T76" fmla="*/ 371 w 405"/>
                  <a:gd name="T77" fmla="*/ 0 h 624"/>
                  <a:gd name="T78" fmla="*/ 378 w 405"/>
                  <a:gd name="T79" fmla="*/ 2 h 624"/>
                  <a:gd name="T80" fmla="*/ 386 w 405"/>
                  <a:gd name="T81" fmla="*/ 5 h 624"/>
                  <a:gd name="T82" fmla="*/ 392 w 405"/>
                  <a:gd name="T83" fmla="*/ 10 h 624"/>
                  <a:gd name="T84" fmla="*/ 398 w 405"/>
                  <a:gd name="T85" fmla="*/ 15 h 624"/>
                  <a:gd name="T86" fmla="*/ 401 w 405"/>
                  <a:gd name="T87" fmla="*/ 21 h 624"/>
                  <a:gd name="T88" fmla="*/ 404 w 405"/>
                  <a:gd name="T89" fmla="*/ 28 h 624"/>
                  <a:gd name="T90" fmla="*/ 405 w 405"/>
                  <a:gd name="T91" fmla="*/ 35 h 624"/>
                  <a:gd name="T92" fmla="*/ 405 w 405"/>
                  <a:gd name="T93" fmla="*/ 43 h 624"/>
                  <a:gd name="T94" fmla="*/ 378 w 405"/>
                  <a:gd name="T95" fmla="*/ 289 h 624"/>
                  <a:gd name="T96" fmla="*/ 376 w 405"/>
                  <a:gd name="T97" fmla="*/ 296 h 624"/>
                  <a:gd name="T98" fmla="*/ 374 w 405"/>
                  <a:gd name="T99" fmla="*/ 302 h 624"/>
                  <a:gd name="T100" fmla="*/ 371 w 405"/>
                  <a:gd name="T101" fmla="*/ 307 h 624"/>
                  <a:gd name="T102" fmla="*/ 367 w 405"/>
                  <a:gd name="T103" fmla="*/ 313 h 624"/>
                  <a:gd name="T104" fmla="*/ 66 w 405"/>
                  <a:gd name="T105" fmla="*/ 612 h 624"/>
                  <a:gd name="T106" fmla="*/ 61 w 405"/>
                  <a:gd name="T107" fmla="*/ 618 h 624"/>
                  <a:gd name="T108" fmla="*/ 53 w 405"/>
                  <a:gd name="T109" fmla="*/ 621 h 624"/>
                  <a:gd name="T110" fmla="*/ 47 w 405"/>
                  <a:gd name="T111" fmla="*/ 623 h 624"/>
                  <a:gd name="T112" fmla="*/ 39 w 405"/>
                  <a:gd name="T113"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624">
                    <a:moveTo>
                      <a:pt x="39" y="624"/>
                    </a:moveTo>
                    <a:lnTo>
                      <a:pt x="32" y="623"/>
                    </a:lnTo>
                    <a:lnTo>
                      <a:pt x="25" y="621"/>
                    </a:lnTo>
                    <a:lnTo>
                      <a:pt x="19" y="619"/>
                    </a:lnTo>
                    <a:lnTo>
                      <a:pt x="14" y="615"/>
                    </a:lnTo>
                    <a:lnTo>
                      <a:pt x="11" y="611"/>
                    </a:lnTo>
                    <a:lnTo>
                      <a:pt x="7" y="607"/>
                    </a:lnTo>
                    <a:lnTo>
                      <a:pt x="4" y="602"/>
                    </a:lnTo>
                    <a:lnTo>
                      <a:pt x="2" y="596"/>
                    </a:lnTo>
                    <a:lnTo>
                      <a:pt x="1" y="591"/>
                    </a:lnTo>
                    <a:lnTo>
                      <a:pt x="0" y="586"/>
                    </a:lnTo>
                    <a:lnTo>
                      <a:pt x="0" y="227"/>
                    </a:lnTo>
                    <a:lnTo>
                      <a:pt x="1" y="219"/>
                    </a:lnTo>
                    <a:lnTo>
                      <a:pt x="3" y="212"/>
                    </a:lnTo>
                    <a:lnTo>
                      <a:pt x="7" y="205"/>
                    </a:lnTo>
                    <a:lnTo>
                      <a:pt x="12" y="199"/>
                    </a:lnTo>
                    <a:lnTo>
                      <a:pt x="17" y="195"/>
                    </a:lnTo>
                    <a:lnTo>
                      <a:pt x="24" y="191"/>
                    </a:lnTo>
                    <a:lnTo>
                      <a:pt x="31" y="188"/>
                    </a:lnTo>
                    <a:lnTo>
                      <a:pt x="39" y="188"/>
                    </a:lnTo>
                    <a:lnTo>
                      <a:pt x="47" y="188"/>
                    </a:lnTo>
                    <a:lnTo>
                      <a:pt x="54" y="191"/>
                    </a:lnTo>
                    <a:lnTo>
                      <a:pt x="61" y="195"/>
                    </a:lnTo>
                    <a:lnTo>
                      <a:pt x="66" y="199"/>
                    </a:lnTo>
                    <a:lnTo>
                      <a:pt x="71" y="205"/>
                    </a:lnTo>
                    <a:lnTo>
                      <a:pt x="75" y="212"/>
                    </a:lnTo>
                    <a:lnTo>
                      <a:pt x="77" y="219"/>
                    </a:lnTo>
                    <a:lnTo>
                      <a:pt x="78" y="227"/>
                    </a:lnTo>
                    <a:lnTo>
                      <a:pt x="78" y="492"/>
                    </a:lnTo>
                    <a:lnTo>
                      <a:pt x="303" y="267"/>
                    </a:lnTo>
                    <a:lnTo>
                      <a:pt x="329" y="34"/>
                    </a:lnTo>
                    <a:lnTo>
                      <a:pt x="331" y="27"/>
                    </a:lnTo>
                    <a:lnTo>
                      <a:pt x="333" y="20"/>
                    </a:lnTo>
                    <a:lnTo>
                      <a:pt x="338" y="14"/>
                    </a:lnTo>
                    <a:lnTo>
                      <a:pt x="343" y="9"/>
                    </a:lnTo>
                    <a:lnTo>
                      <a:pt x="349" y="4"/>
                    </a:lnTo>
                    <a:lnTo>
                      <a:pt x="356" y="2"/>
                    </a:lnTo>
                    <a:lnTo>
                      <a:pt x="364" y="0"/>
                    </a:lnTo>
                    <a:lnTo>
                      <a:pt x="371" y="0"/>
                    </a:lnTo>
                    <a:lnTo>
                      <a:pt x="378" y="2"/>
                    </a:lnTo>
                    <a:lnTo>
                      <a:pt x="386" y="5"/>
                    </a:lnTo>
                    <a:lnTo>
                      <a:pt x="392" y="10"/>
                    </a:lnTo>
                    <a:lnTo>
                      <a:pt x="398" y="15"/>
                    </a:lnTo>
                    <a:lnTo>
                      <a:pt x="401" y="21"/>
                    </a:lnTo>
                    <a:lnTo>
                      <a:pt x="404" y="28"/>
                    </a:lnTo>
                    <a:lnTo>
                      <a:pt x="405" y="35"/>
                    </a:lnTo>
                    <a:lnTo>
                      <a:pt x="405" y="43"/>
                    </a:lnTo>
                    <a:lnTo>
                      <a:pt x="378" y="289"/>
                    </a:lnTo>
                    <a:lnTo>
                      <a:pt x="376" y="296"/>
                    </a:lnTo>
                    <a:lnTo>
                      <a:pt x="374" y="302"/>
                    </a:lnTo>
                    <a:lnTo>
                      <a:pt x="371" y="307"/>
                    </a:lnTo>
                    <a:lnTo>
                      <a:pt x="367" y="313"/>
                    </a:lnTo>
                    <a:lnTo>
                      <a:pt x="66" y="612"/>
                    </a:lnTo>
                    <a:lnTo>
                      <a:pt x="61" y="618"/>
                    </a:lnTo>
                    <a:lnTo>
                      <a:pt x="53" y="621"/>
                    </a:lnTo>
                    <a:lnTo>
                      <a:pt x="47" y="623"/>
                    </a:lnTo>
                    <a:lnTo>
                      <a:pt x="39" y="6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0">
                <a:extLst>
                  <a:ext uri="{FF2B5EF4-FFF2-40B4-BE49-F238E27FC236}">
                    <a16:creationId xmlns:a16="http://schemas.microsoft.com/office/drawing/2014/main" id="{8CCE5F60-B066-4405-8959-415A3D0273FE}"/>
                  </a:ext>
                </a:extLst>
              </p:cNvPr>
              <p:cNvSpPr>
                <a:spLocks/>
              </p:cNvSpPr>
              <p:nvPr/>
            </p:nvSpPr>
            <p:spPr bwMode="auto">
              <a:xfrm>
                <a:off x="8094663" y="4556125"/>
                <a:ext cx="330200" cy="214313"/>
              </a:xfrm>
              <a:custGeom>
                <a:avLst/>
                <a:gdLst>
                  <a:gd name="T0" fmla="*/ 406 w 624"/>
                  <a:gd name="T1" fmla="*/ 405 h 405"/>
                  <a:gd name="T2" fmla="*/ 39 w 624"/>
                  <a:gd name="T3" fmla="*/ 405 h 405"/>
                  <a:gd name="T4" fmla="*/ 33 w 624"/>
                  <a:gd name="T5" fmla="*/ 405 h 405"/>
                  <a:gd name="T6" fmla="*/ 28 w 624"/>
                  <a:gd name="T7" fmla="*/ 403 h 405"/>
                  <a:gd name="T8" fmla="*/ 22 w 624"/>
                  <a:gd name="T9" fmla="*/ 402 h 405"/>
                  <a:gd name="T10" fmla="*/ 17 w 624"/>
                  <a:gd name="T11" fmla="*/ 398 h 405"/>
                  <a:gd name="T12" fmla="*/ 13 w 624"/>
                  <a:gd name="T13" fmla="*/ 395 h 405"/>
                  <a:gd name="T14" fmla="*/ 10 w 624"/>
                  <a:gd name="T15" fmla="*/ 391 h 405"/>
                  <a:gd name="T16" fmla="*/ 6 w 624"/>
                  <a:gd name="T17" fmla="*/ 386 h 405"/>
                  <a:gd name="T18" fmla="*/ 3 w 624"/>
                  <a:gd name="T19" fmla="*/ 381 h 405"/>
                  <a:gd name="T20" fmla="*/ 1 w 624"/>
                  <a:gd name="T21" fmla="*/ 375 h 405"/>
                  <a:gd name="T22" fmla="*/ 0 w 624"/>
                  <a:gd name="T23" fmla="*/ 370 h 405"/>
                  <a:gd name="T24" fmla="*/ 0 w 624"/>
                  <a:gd name="T25" fmla="*/ 364 h 405"/>
                  <a:gd name="T26" fmla="*/ 1 w 624"/>
                  <a:gd name="T27" fmla="*/ 359 h 405"/>
                  <a:gd name="T28" fmla="*/ 2 w 624"/>
                  <a:gd name="T29" fmla="*/ 354 h 405"/>
                  <a:gd name="T30" fmla="*/ 5 w 624"/>
                  <a:gd name="T31" fmla="*/ 348 h 405"/>
                  <a:gd name="T32" fmla="*/ 7 w 624"/>
                  <a:gd name="T33" fmla="*/ 343 h 405"/>
                  <a:gd name="T34" fmla="*/ 12 w 624"/>
                  <a:gd name="T35" fmla="*/ 339 h 405"/>
                  <a:gd name="T36" fmla="*/ 312 w 624"/>
                  <a:gd name="T37" fmla="*/ 38 h 405"/>
                  <a:gd name="T38" fmla="*/ 317 w 624"/>
                  <a:gd name="T39" fmla="*/ 34 h 405"/>
                  <a:gd name="T40" fmla="*/ 323 w 624"/>
                  <a:gd name="T41" fmla="*/ 31 h 405"/>
                  <a:gd name="T42" fmla="*/ 328 w 624"/>
                  <a:gd name="T43" fmla="*/ 29 h 405"/>
                  <a:gd name="T44" fmla="*/ 336 w 624"/>
                  <a:gd name="T45" fmla="*/ 27 h 405"/>
                  <a:gd name="T46" fmla="*/ 581 w 624"/>
                  <a:gd name="T47" fmla="*/ 0 h 405"/>
                  <a:gd name="T48" fmla="*/ 589 w 624"/>
                  <a:gd name="T49" fmla="*/ 0 h 405"/>
                  <a:gd name="T50" fmla="*/ 596 w 624"/>
                  <a:gd name="T51" fmla="*/ 1 h 405"/>
                  <a:gd name="T52" fmla="*/ 604 w 624"/>
                  <a:gd name="T53" fmla="*/ 4 h 405"/>
                  <a:gd name="T54" fmla="*/ 610 w 624"/>
                  <a:gd name="T55" fmla="*/ 8 h 405"/>
                  <a:gd name="T56" fmla="*/ 615 w 624"/>
                  <a:gd name="T57" fmla="*/ 14 h 405"/>
                  <a:gd name="T58" fmla="*/ 620 w 624"/>
                  <a:gd name="T59" fmla="*/ 19 h 405"/>
                  <a:gd name="T60" fmla="*/ 623 w 624"/>
                  <a:gd name="T61" fmla="*/ 26 h 405"/>
                  <a:gd name="T62" fmla="*/ 624 w 624"/>
                  <a:gd name="T63" fmla="*/ 34 h 405"/>
                  <a:gd name="T64" fmla="*/ 624 w 624"/>
                  <a:gd name="T65" fmla="*/ 41 h 405"/>
                  <a:gd name="T66" fmla="*/ 623 w 624"/>
                  <a:gd name="T67" fmla="*/ 50 h 405"/>
                  <a:gd name="T68" fmla="*/ 620 w 624"/>
                  <a:gd name="T69" fmla="*/ 56 h 405"/>
                  <a:gd name="T70" fmla="*/ 615 w 624"/>
                  <a:gd name="T71" fmla="*/ 63 h 405"/>
                  <a:gd name="T72" fmla="*/ 610 w 624"/>
                  <a:gd name="T73" fmla="*/ 68 h 405"/>
                  <a:gd name="T74" fmla="*/ 605 w 624"/>
                  <a:gd name="T75" fmla="*/ 72 h 405"/>
                  <a:gd name="T76" fmla="*/ 597 w 624"/>
                  <a:gd name="T77" fmla="*/ 75 h 405"/>
                  <a:gd name="T78" fmla="*/ 590 w 624"/>
                  <a:gd name="T79" fmla="*/ 76 h 405"/>
                  <a:gd name="T80" fmla="*/ 357 w 624"/>
                  <a:gd name="T81" fmla="*/ 103 h 405"/>
                  <a:gd name="T82" fmla="*/ 132 w 624"/>
                  <a:gd name="T83" fmla="*/ 327 h 405"/>
                  <a:gd name="T84" fmla="*/ 406 w 624"/>
                  <a:gd name="T85" fmla="*/ 327 h 405"/>
                  <a:gd name="T86" fmla="*/ 413 w 624"/>
                  <a:gd name="T87" fmla="*/ 328 h 405"/>
                  <a:gd name="T88" fmla="*/ 421 w 624"/>
                  <a:gd name="T89" fmla="*/ 330 h 405"/>
                  <a:gd name="T90" fmla="*/ 427 w 624"/>
                  <a:gd name="T91" fmla="*/ 335 h 405"/>
                  <a:gd name="T92" fmla="*/ 432 w 624"/>
                  <a:gd name="T93" fmla="*/ 339 h 405"/>
                  <a:gd name="T94" fmla="*/ 438 w 624"/>
                  <a:gd name="T95" fmla="*/ 344 h 405"/>
                  <a:gd name="T96" fmla="*/ 441 w 624"/>
                  <a:gd name="T97" fmla="*/ 352 h 405"/>
                  <a:gd name="T98" fmla="*/ 443 w 624"/>
                  <a:gd name="T99" fmla="*/ 358 h 405"/>
                  <a:gd name="T100" fmla="*/ 444 w 624"/>
                  <a:gd name="T101" fmla="*/ 367 h 405"/>
                  <a:gd name="T102" fmla="*/ 443 w 624"/>
                  <a:gd name="T103" fmla="*/ 374 h 405"/>
                  <a:gd name="T104" fmla="*/ 441 w 624"/>
                  <a:gd name="T105" fmla="*/ 381 h 405"/>
                  <a:gd name="T106" fmla="*/ 438 w 624"/>
                  <a:gd name="T107" fmla="*/ 388 h 405"/>
                  <a:gd name="T108" fmla="*/ 432 w 624"/>
                  <a:gd name="T109" fmla="*/ 393 h 405"/>
                  <a:gd name="T110" fmla="*/ 427 w 624"/>
                  <a:gd name="T111" fmla="*/ 398 h 405"/>
                  <a:gd name="T112" fmla="*/ 421 w 624"/>
                  <a:gd name="T113" fmla="*/ 402 h 405"/>
                  <a:gd name="T114" fmla="*/ 413 w 624"/>
                  <a:gd name="T115" fmla="*/ 404 h 405"/>
                  <a:gd name="T116" fmla="*/ 406 w 624"/>
                  <a:gd name="T117"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4" h="405">
                    <a:moveTo>
                      <a:pt x="406" y="405"/>
                    </a:moveTo>
                    <a:lnTo>
                      <a:pt x="39" y="405"/>
                    </a:lnTo>
                    <a:lnTo>
                      <a:pt x="33" y="405"/>
                    </a:lnTo>
                    <a:lnTo>
                      <a:pt x="28" y="403"/>
                    </a:lnTo>
                    <a:lnTo>
                      <a:pt x="22" y="402"/>
                    </a:lnTo>
                    <a:lnTo>
                      <a:pt x="17" y="398"/>
                    </a:lnTo>
                    <a:lnTo>
                      <a:pt x="13" y="395"/>
                    </a:lnTo>
                    <a:lnTo>
                      <a:pt x="10" y="391"/>
                    </a:lnTo>
                    <a:lnTo>
                      <a:pt x="6" y="386"/>
                    </a:lnTo>
                    <a:lnTo>
                      <a:pt x="3" y="381"/>
                    </a:lnTo>
                    <a:lnTo>
                      <a:pt x="1" y="375"/>
                    </a:lnTo>
                    <a:lnTo>
                      <a:pt x="0" y="370"/>
                    </a:lnTo>
                    <a:lnTo>
                      <a:pt x="0" y="364"/>
                    </a:lnTo>
                    <a:lnTo>
                      <a:pt x="1" y="359"/>
                    </a:lnTo>
                    <a:lnTo>
                      <a:pt x="2" y="354"/>
                    </a:lnTo>
                    <a:lnTo>
                      <a:pt x="5" y="348"/>
                    </a:lnTo>
                    <a:lnTo>
                      <a:pt x="7" y="343"/>
                    </a:lnTo>
                    <a:lnTo>
                      <a:pt x="12" y="339"/>
                    </a:lnTo>
                    <a:lnTo>
                      <a:pt x="312" y="38"/>
                    </a:lnTo>
                    <a:lnTo>
                      <a:pt x="317" y="34"/>
                    </a:lnTo>
                    <a:lnTo>
                      <a:pt x="323" y="31"/>
                    </a:lnTo>
                    <a:lnTo>
                      <a:pt x="328" y="29"/>
                    </a:lnTo>
                    <a:lnTo>
                      <a:pt x="336" y="27"/>
                    </a:lnTo>
                    <a:lnTo>
                      <a:pt x="581" y="0"/>
                    </a:lnTo>
                    <a:lnTo>
                      <a:pt x="589" y="0"/>
                    </a:lnTo>
                    <a:lnTo>
                      <a:pt x="596" y="1"/>
                    </a:lnTo>
                    <a:lnTo>
                      <a:pt x="604" y="4"/>
                    </a:lnTo>
                    <a:lnTo>
                      <a:pt x="610" y="8"/>
                    </a:lnTo>
                    <a:lnTo>
                      <a:pt x="615" y="14"/>
                    </a:lnTo>
                    <a:lnTo>
                      <a:pt x="620" y="19"/>
                    </a:lnTo>
                    <a:lnTo>
                      <a:pt x="623" y="26"/>
                    </a:lnTo>
                    <a:lnTo>
                      <a:pt x="624" y="34"/>
                    </a:lnTo>
                    <a:lnTo>
                      <a:pt x="624" y="41"/>
                    </a:lnTo>
                    <a:lnTo>
                      <a:pt x="623" y="50"/>
                    </a:lnTo>
                    <a:lnTo>
                      <a:pt x="620" y="56"/>
                    </a:lnTo>
                    <a:lnTo>
                      <a:pt x="615" y="63"/>
                    </a:lnTo>
                    <a:lnTo>
                      <a:pt x="610" y="68"/>
                    </a:lnTo>
                    <a:lnTo>
                      <a:pt x="605" y="72"/>
                    </a:lnTo>
                    <a:lnTo>
                      <a:pt x="597" y="75"/>
                    </a:lnTo>
                    <a:lnTo>
                      <a:pt x="590" y="76"/>
                    </a:lnTo>
                    <a:lnTo>
                      <a:pt x="357" y="103"/>
                    </a:lnTo>
                    <a:lnTo>
                      <a:pt x="132" y="327"/>
                    </a:lnTo>
                    <a:lnTo>
                      <a:pt x="406" y="327"/>
                    </a:lnTo>
                    <a:lnTo>
                      <a:pt x="413" y="328"/>
                    </a:lnTo>
                    <a:lnTo>
                      <a:pt x="421" y="330"/>
                    </a:lnTo>
                    <a:lnTo>
                      <a:pt x="427" y="335"/>
                    </a:lnTo>
                    <a:lnTo>
                      <a:pt x="432" y="339"/>
                    </a:lnTo>
                    <a:lnTo>
                      <a:pt x="438" y="344"/>
                    </a:lnTo>
                    <a:lnTo>
                      <a:pt x="441" y="352"/>
                    </a:lnTo>
                    <a:lnTo>
                      <a:pt x="443" y="358"/>
                    </a:lnTo>
                    <a:lnTo>
                      <a:pt x="444" y="367"/>
                    </a:lnTo>
                    <a:lnTo>
                      <a:pt x="443" y="374"/>
                    </a:lnTo>
                    <a:lnTo>
                      <a:pt x="441" y="381"/>
                    </a:lnTo>
                    <a:lnTo>
                      <a:pt x="438" y="388"/>
                    </a:lnTo>
                    <a:lnTo>
                      <a:pt x="432" y="393"/>
                    </a:lnTo>
                    <a:lnTo>
                      <a:pt x="427" y="398"/>
                    </a:lnTo>
                    <a:lnTo>
                      <a:pt x="421" y="402"/>
                    </a:lnTo>
                    <a:lnTo>
                      <a:pt x="413" y="404"/>
                    </a:lnTo>
                    <a:lnTo>
                      <a:pt x="406"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1">
                <a:extLst>
                  <a:ext uri="{FF2B5EF4-FFF2-40B4-BE49-F238E27FC236}">
                    <a16:creationId xmlns:a16="http://schemas.microsoft.com/office/drawing/2014/main" id="{08474994-E4D6-44BA-BC2C-62A9FAF3B757}"/>
                  </a:ext>
                </a:extLst>
              </p:cNvPr>
              <p:cNvSpPr>
                <a:spLocks/>
              </p:cNvSpPr>
              <p:nvPr/>
            </p:nvSpPr>
            <p:spPr bwMode="auto">
              <a:xfrm>
                <a:off x="8216900" y="4729163"/>
                <a:ext cx="323850" cy="323850"/>
              </a:xfrm>
              <a:custGeom>
                <a:avLst/>
                <a:gdLst>
                  <a:gd name="T0" fmla="*/ 39 w 612"/>
                  <a:gd name="T1" fmla="*/ 612 h 612"/>
                  <a:gd name="T2" fmla="*/ 31 w 612"/>
                  <a:gd name="T3" fmla="*/ 611 h 612"/>
                  <a:gd name="T4" fmla="*/ 24 w 612"/>
                  <a:gd name="T5" fmla="*/ 609 h 612"/>
                  <a:gd name="T6" fmla="*/ 18 w 612"/>
                  <a:gd name="T7" fmla="*/ 606 h 612"/>
                  <a:gd name="T8" fmla="*/ 11 w 612"/>
                  <a:gd name="T9" fmla="*/ 601 h 612"/>
                  <a:gd name="T10" fmla="*/ 6 w 612"/>
                  <a:gd name="T11" fmla="*/ 595 h 612"/>
                  <a:gd name="T12" fmla="*/ 3 w 612"/>
                  <a:gd name="T13" fmla="*/ 588 h 612"/>
                  <a:gd name="T14" fmla="*/ 1 w 612"/>
                  <a:gd name="T15" fmla="*/ 580 h 612"/>
                  <a:gd name="T16" fmla="*/ 0 w 612"/>
                  <a:gd name="T17" fmla="*/ 573 h 612"/>
                  <a:gd name="T18" fmla="*/ 1 w 612"/>
                  <a:gd name="T19" fmla="*/ 567 h 612"/>
                  <a:gd name="T20" fmla="*/ 3 w 612"/>
                  <a:gd name="T21" fmla="*/ 559 h 612"/>
                  <a:gd name="T22" fmla="*/ 6 w 612"/>
                  <a:gd name="T23" fmla="*/ 552 h 612"/>
                  <a:gd name="T24" fmla="*/ 11 w 612"/>
                  <a:gd name="T25" fmla="*/ 546 h 612"/>
                  <a:gd name="T26" fmla="*/ 546 w 612"/>
                  <a:gd name="T27" fmla="*/ 12 h 612"/>
                  <a:gd name="T28" fmla="*/ 552 w 612"/>
                  <a:gd name="T29" fmla="*/ 7 h 612"/>
                  <a:gd name="T30" fmla="*/ 559 w 612"/>
                  <a:gd name="T31" fmla="*/ 3 h 612"/>
                  <a:gd name="T32" fmla="*/ 566 w 612"/>
                  <a:gd name="T33" fmla="*/ 1 h 612"/>
                  <a:gd name="T34" fmla="*/ 573 w 612"/>
                  <a:gd name="T35" fmla="*/ 0 h 612"/>
                  <a:gd name="T36" fmla="*/ 581 w 612"/>
                  <a:gd name="T37" fmla="*/ 1 h 612"/>
                  <a:gd name="T38" fmla="*/ 587 w 612"/>
                  <a:gd name="T39" fmla="*/ 3 h 612"/>
                  <a:gd name="T40" fmla="*/ 595 w 612"/>
                  <a:gd name="T41" fmla="*/ 7 h 612"/>
                  <a:gd name="T42" fmla="*/ 600 w 612"/>
                  <a:gd name="T43" fmla="*/ 12 h 612"/>
                  <a:gd name="T44" fmla="*/ 605 w 612"/>
                  <a:gd name="T45" fmla="*/ 18 h 612"/>
                  <a:gd name="T46" fmla="*/ 609 w 612"/>
                  <a:gd name="T47" fmla="*/ 25 h 612"/>
                  <a:gd name="T48" fmla="*/ 611 w 612"/>
                  <a:gd name="T49" fmla="*/ 32 h 612"/>
                  <a:gd name="T50" fmla="*/ 612 w 612"/>
                  <a:gd name="T51" fmla="*/ 40 h 612"/>
                  <a:gd name="T52" fmla="*/ 611 w 612"/>
                  <a:gd name="T53" fmla="*/ 47 h 612"/>
                  <a:gd name="T54" fmla="*/ 609 w 612"/>
                  <a:gd name="T55" fmla="*/ 53 h 612"/>
                  <a:gd name="T56" fmla="*/ 605 w 612"/>
                  <a:gd name="T57" fmla="*/ 61 h 612"/>
                  <a:gd name="T58" fmla="*/ 600 w 612"/>
                  <a:gd name="T59" fmla="*/ 66 h 612"/>
                  <a:gd name="T60" fmla="*/ 67 w 612"/>
                  <a:gd name="T61" fmla="*/ 601 h 612"/>
                  <a:gd name="T62" fmla="*/ 60 w 612"/>
                  <a:gd name="T63" fmla="*/ 606 h 612"/>
                  <a:gd name="T64" fmla="*/ 53 w 612"/>
                  <a:gd name="T65" fmla="*/ 609 h 612"/>
                  <a:gd name="T66" fmla="*/ 46 w 612"/>
                  <a:gd name="T67" fmla="*/ 611 h 612"/>
                  <a:gd name="T68" fmla="*/ 39 w 612"/>
                  <a:gd name="T69"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2" h="612">
                    <a:moveTo>
                      <a:pt x="39" y="612"/>
                    </a:moveTo>
                    <a:lnTo>
                      <a:pt x="31" y="611"/>
                    </a:lnTo>
                    <a:lnTo>
                      <a:pt x="24" y="609"/>
                    </a:lnTo>
                    <a:lnTo>
                      <a:pt x="18" y="606"/>
                    </a:lnTo>
                    <a:lnTo>
                      <a:pt x="11" y="601"/>
                    </a:lnTo>
                    <a:lnTo>
                      <a:pt x="6" y="595"/>
                    </a:lnTo>
                    <a:lnTo>
                      <a:pt x="3" y="588"/>
                    </a:lnTo>
                    <a:lnTo>
                      <a:pt x="1" y="580"/>
                    </a:lnTo>
                    <a:lnTo>
                      <a:pt x="0" y="573"/>
                    </a:lnTo>
                    <a:lnTo>
                      <a:pt x="1" y="567"/>
                    </a:lnTo>
                    <a:lnTo>
                      <a:pt x="3" y="559"/>
                    </a:lnTo>
                    <a:lnTo>
                      <a:pt x="6" y="552"/>
                    </a:lnTo>
                    <a:lnTo>
                      <a:pt x="11" y="546"/>
                    </a:lnTo>
                    <a:lnTo>
                      <a:pt x="546" y="12"/>
                    </a:lnTo>
                    <a:lnTo>
                      <a:pt x="552" y="7"/>
                    </a:lnTo>
                    <a:lnTo>
                      <a:pt x="559" y="3"/>
                    </a:lnTo>
                    <a:lnTo>
                      <a:pt x="566" y="1"/>
                    </a:lnTo>
                    <a:lnTo>
                      <a:pt x="573" y="0"/>
                    </a:lnTo>
                    <a:lnTo>
                      <a:pt x="581" y="1"/>
                    </a:lnTo>
                    <a:lnTo>
                      <a:pt x="587" y="3"/>
                    </a:lnTo>
                    <a:lnTo>
                      <a:pt x="595" y="7"/>
                    </a:lnTo>
                    <a:lnTo>
                      <a:pt x="600" y="12"/>
                    </a:lnTo>
                    <a:lnTo>
                      <a:pt x="605" y="18"/>
                    </a:lnTo>
                    <a:lnTo>
                      <a:pt x="609" y="25"/>
                    </a:lnTo>
                    <a:lnTo>
                      <a:pt x="611" y="32"/>
                    </a:lnTo>
                    <a:lnTo>
                      <a:pt x="612" y="40"/>
                    </a:lnTo>
                    <a:lnTo>
                      <a:pt x="611" y="47"/>
                    </a:lnTo>
                    <a:lnTo>
                      <a:pt x="609" y="53"/>
                    </a:lnTo>
                    <a:lnTo>
                      <a:pt x="605" y="61"/>
                    </a:lnTo>
                    <a:lnTo>
                      <a:pt x="600" y="66"/>
                    </a:lnTo>
                    <a:lnTo>
                      <a:pt x="67" y="601"/>
                    </a:lnTo>
                    <a:lnTo>
                      <a:pt x="60" y="606"/>
                    </a:lnTo>
                    <a:lnTo>
                      <a:pt x="53" y="609"/>
                    </a:lnTo>
                    <a:lnTo>
                      <a:pt x="46" y="611"/>
                    </a:lnTo>
                    <a:lnTo>
                      <a:pt x="39"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2">
                <a:extLst>
                  <a:ext uri="{FF2B5EF4-FFF2-40B4-BE49-F238E27FC236}">
                    <a16:creationId xmlns:a16="http://schemas.microsoft.com/office/drawing/2014/main" id="{B6F2A156-745A-4FF7-8AA1-C039EF388791}"/>
                  </a:ext>
                </a:extLst>
              </p:cNvPr>
              <p:cNvSpPr>
                <a:spLocks/>
              </p:cNvSpPr>
              <p:nvPr/>
            </p:nvSpPr>
            <p:spPr bwMode="auto">
              <a:xfrm>
                <a:off x="9077325" y="4038600"/>
                <a:ext cx="153988" cy="153988"/>
              </a:xfrm>
              <a:custGeom>
                <a:avLst/>
                <a:gdLst>
                  <a:gd name="T0" fmla="*/ 38 w 291"/>
                  <a:gd name="T1" fmla="*/ 291 h 291"/>
                  <a:gd name="T2" fmla="*/ 31 w 291"/>
                  <a:gd name="T3" fmla="*/ 290 h 291"/>
                  <a:gd name="T4" fmla="*/ 24 w 291"/>
                  <a:gd name="T5" fmla="*/ 288 h 291"/>
                  <a:gd name="T6" fmla="*/ 17 w 291"/>
                  <a:gd name="T7" fmla="*/ 285 h 291"/>
                  <a:gd name="T8" fmla="*/ 11 w 291"/>
                  <a:gd name="T9" fmla="*/ 280 h 291"/>
                  <a:gd name="T10" fmla="*/ 6 w 291"/>
                  <a:gd name="T11" fmla="*/ 273 h 291"/>
                  <a:gd name="T12" fmla="*/ 3 w 291"/>
                  <a:gd name="T13" fmla="*/ 267 h 291"/>
                  <a:gd name="T14" fmla="*/ 1 w 291"/>
                  <a:gd name="T15" fmla="*/ 259 h 291"/>
                  <a:gd name="T16" fmla="*/ 0 w 291"/>
                  <a:gd name="T17" fmla="*/ 252 h 291"/>
                  <a:gd name="T18" fmla="*/ 1 w 291"/>
                  <a:gd name="T19" fmla="*/ 244 h 291"/>
                  <a:gd name="T20" fmla="*/ 3 w 291"/>
                  <a:gd name="T21" fmla="*/ 238 h 291"/>
                  <a:gd name="T22" fmla="*/ 6 w 291"/>
                  <a:gd name="T23" fmla="*/ 231 h 291"/>
                  <a:gd name="T24" fmla="*/ 11 w 291"/>
                  <a:gd name="T25" fmla="*/ 225 h 291"/>
                  <a:gd name="T26" fmla="*/ 224 w 291"/>
                  <a:gd name="T27" fmla="*/ 12 h 291"/>
                  <a:gd name="T28" fmla="*/ 230 w 291"/>
                  <a:gd name="T29" fmla="*/ 6 h 291"/>
                  <a:gd name="T30" fmla="*/ 237 w 291"/>
                  <a:gd name="T31" fmla="*/ 3 h 291"/>
                  <a:gd name="T32" fmla="*/ 244 w 291"/>
                  <a:gd name="T33" fmla="*/ 1 h 291"/>
                  <a:gd name="T34" fmla="*/ 252 w 291"/>
                  <a:gd name="T35" fmla="*/ 0 h 291"/>
                  <a:gd name="T36" fmla="*/ 259 w 291"/>
                  <a:gd name="T37" fmla="*/ 1 h 291"/>
                  <a:gd name="T38" fmla="*/ 266 w 291"/>
                  <a:gd name="T39" fmla="*/ 3 h 291"/>
                  <a:gd name="T40" fmla="*/ 273 w 291"/>
                  <a:gd name="T41" fmla="*/ 6 h 291"/>
                  <a:gd name="T42" fmla="*/ 279 w 291"/>
                  <a:gd name="T43" fmla="*/ 12 h 291"/>
                  <a:gd name="T44" fmla="*/ 285 w 291"/>
                  <a:gd name="T45" fmla="*/ 18 h 291"/>
                  <a:gd name="T46" fmla="*/ 288 w 291"/>
                  <a:gd name="T47" fmla="*/ 24 h 291"/>
                  <a:gd name="T48" fmla="*/ 290 w 291"/>
                  <a:gd name="T49" fmla="*/ 32 h 291"/>
                  <a:gd name="T50" fmla="*/ 291 w 291"/>
                  <a:gd name="T51" fmla="*/ 39 h 291"/>
                  <a:gd name="T52" fmla="*/ 290 w 291"/>
                  <a:gd name="T53" fmla="*/ 47 h 291"/>
                  <a:gd name="T54" fmla="*/ 288 w 291"/>
                  <a:gd name="T55" fmla="*/ 53 h 291"/>
                  <a:gd name="T56" fmla="*/ 285 w 291"/>
                  <a:gd name="T57" fmla="*/ 61 h 291"/>
                  <a:gd name="T58" fmla="*/ 279 w 291"/>
                  <a:gd name="T59" fmla="*/ 66 h 291"/>
                  <a:gd name="T60" fmla="*/ 66 w 291"/>
                  <a:gd name="T61" fmla="*/ 280 h 291"/>
                  <a:gd name="T62" fmla="*/ 59 w 291"/>
                  <a:gd name="T63" fmla="*/ 285 h 291"/>
                  <a:gd name="T64" fmla="*/ 53 w 291"/>
                  <a:gd name="T65" fmla="*/ 288 h 291"/>
                  <a:gd name="T66" fmla="*/ 45 w 291"/>
                  <a:gd name="T67" fmla="*/ 290 h 291"/>
                  <a:gd name="T68" fmla="*/ 38 w 291"/>
                  <a:gd name="T6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1" h="291">
                    <a:moveTo>
                      <a:pt x="38" y="291"/>
                    </a:moveTo>
                    <a:lnTo>
                      <a:pt x="31" y="290"/>
                    </a:lnTo>
                    <a:lnTo>
                      <a:pt x="24" y="288"/>
                    </a:lnTo>
                    <a:lnTo>
                      <a:pt x="17" y="285"/>
                    </a:lnTo>
                    <a:lnTo>
                      <a:pt x="11" y="280"/>
                    </a:lnTo>
                    <a:lnTo>
                      <a:pt x="6" y="273"/>
                    </a:lnTo>
                    <a:lnTo>
                      <a:pt x="3" y="267"/>
                    </a:lnTo>
                    <a:lnTo>
                      <a:pt x="1" y="259"/>
                    </a:lnTo>
                    <a:lnTo>
                      <a:pt x="0" y="252"/>
                    </a:lnTo>
                    <a:lnTo>
                      <a:pt x="1" y="244"/>
                    </a:lnTo>
                    <a:lnTo>
                      <a:pt x="3" y="238"/>
                    </a:lnTo>
                    <a:lnTo>
                      <a:pt x="6" y="231"/>
                    </a:lnTo>
                    <a:lnTo>
                      <a:pt x="11" y="225"/>
                    </a:lnTo>
                    <a:lnTo>
                      <a:pt x="224" y="12"/>
                    </a:lnTo>
                    <a:lnTo>
                      <a:pt x="230" y="6"/>
                    </a:lnTo>
                    <a:lnTo>
                      <a:pt x="237" y="3"/>
                    </a:lnTo>
                    <a:lnTo>
                      <a:pt x="244" y="1"/>
                    </a:lnTo>
                    <a:lnTo>
                      <a:pt x="252" y="0"/>
                    </a:lnTo>
                    <a:lnTo>
                      <a:pt x="259" y="1"/>
                    </a:lnTo>
                    <a:lnTo>
                      <a:pt x="266" y="3"/>
                    </a:lnTo>
                    <a:lnTo>
                      <a:pt x="273" y="6"/>
                    </a:lnTo>
                    <a:lnTo>
                      <a:pt x="279" y="12"/>
                    </a:lnTo>
                    <a:lnTo>
                      <a:pt x="285" y="18"/>
                    </a:lnTo>
                    <a:lnTo>
                      <a:pt x="288" y="24"/>
                    </a:lnTo>
                    <a:lnTo>
                      <a:pt x="290" y="32"/>
                    </a:lnTo>
                    <a:lnTo>
                      <a:pt x="291" y="39"/>
                    </a:lnTo>
                    <a:lnTo>
                      <a:pt x="290" y="47"/>
                    </a:lnTo>
                    <a:lnTo>
                      <a:pt x="288" y="53"/>
                    </a:lnTo>
                    <a:lnTo>
                      <a:pt x="285" y="61"/>
                    </a:lnTo>
                    <a:lnTo>
                      <a:pt x="279" y="66"/>
                    </a:lnTo>
                    <a:lnTo>
                      <a:pt x="66" y="280"/>
                    </a:lnTo>
                    <a:lnTo>
                      <a:pt x="59" y="285"/>
                    </a:lnTo>
                    <a:lnTo>
                      <a:pt x="53" y="288"/>
                    </a:lnTo>
                    <a:lnTo>
                      <a:pt x="45" y="290"/>
                    </a:lnTo>
                    <a:lnTo>
                      <a:pt x="38"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3">
                <a:extLst>
                  <a:ext uri="{FF2B5EF4-FFF2-40B4-BE49-F238E27FC236}">
                    <a16:creationId xmlns:a16="http://schemas.microsoft.com/office/drawing/2014/main" id="{074DC5AC-380F-43EF-AF44-5C9BEB5512BE}"/>
                  </a:ext>
                </a:extLst>
              </p:cNvPr>
              <p:cNvSpPr>
                <a:spLocks noEditPoints="1"/>
              </p:cNvSpPr>
              <p:nvPr/>
            </p:nvSpPr>
            <p:spPr bwMode="auto">
              <a:xfrm>
                <a:off x="8713788" y="4351338"/>
                <a:ext cx="204788" cy="204788"/>
              </a:xfrm>
              <a:custGeom>
                <a:avLst/>
                <a:gdLst>
                  <a:gd name="T0" fmla="*/ 169 w 386"/>
                  <a:gd name="T1" fmla="*/ 80 h 387"/>
                  <a:gd name="T2" fmla="*/ 137 w 386"/>
                  <a:gd name="T3" fmla="*/ 91 h 387"/>
                  <a:gd name="T4" fmla="*/ 111 w 386"/>
                  <a:gd name="T5" fmla="*/ 112 h 387"/>
                  <a:gd name="T6" fmla="*/ 90 w 386"/>
                  <a:gd name="T7" fmla="*/ 138 h 387"/>
                  <a:gd name="T8" fmla="*/ 79 w 386"/>
                  <a:gd name="T9" fmla="*/ 170 h 387"/>
                  <a:gd name="T10" fmla="*/ 78 w 386"/>
                  <a:gd name="T11" fmla="*/ 205 h 387"/>
                  <a:gd name="T12" fmla="*/ 86 w 386"/>
                  <a:gd name="T13" fmla="*/ 238 h 387"/>
                  <a:gd name="T14" fmla="*/ 103 w 386"/>
                  <a:gd name="T15" fmla="*/ 267 h 387"/>
                  <a:gd name="T16" fmla="*/ 128 w 386"/>
                  <a:gd name="T17" fmla="*/ 289 h 387"/>
                  <a:gd name="T18" fmla="*/ 158 w 386"/>
                  <a:gd name="T19" fmla="*/ 304 h 387"/>
                  <a:gd name="T20" fmla="*/ 192 w 386"/>
                  <a:gd name="T21" fmla="*/ 309 h 387"/>
                  <a:gd name="T22" fmla="*/ 228 w 386"/>
                  <a:gd name="T23" fmla="*/ 304 h 387"/>
                  <a:gd name="T24" fmla="*/ 257 w 386"/>
                  <a:gd name="T25" fmla="*/ 289 h 387"/>
                  <a:gd name="T26" fmla="*/ 283 w 386"/>
                  <a:gd name="T27" fmla="*/ 267 h 387"/>
                  <a:gd name="T28" fmla="*/ 300 w 386"/>
                  <a:gd name="T29" fmla="*/ 238 h 387"/>
                  <a:gd name="T30" fmla="*/ 308 w 386"/>
                  <a:gd name="T31" fmla="*/ 205 h 387"/>
                  <a:gd name="T32" fmla="*/ 306 w 386"/>
                  <a:gd name="T33" fmla="*/ 170 h 387"/>
                  <a:gd name="T34" fmla="*/ 294 w 386"/>
                  <a:gd name="T35" fmla="*/ 138 h 387"/>
                  <a:gd name="T36" fmla="*/ 274 w 386"/>
                  <a:gd name="T37" fmla="*/ 112 h 387"/>
                  <a:gd name="T38" fmla="*/ 248 w 386"/>
                  <a:gd name="T39" fmla="*/ 91 h 387"/>
                  <a:gd name="T40" fmla="*/ 216 w 386"/>
                  <a:gd name="T41" fmla="*/ 80 h 387"/>
                  <a:gd name="T42" fmla="*/ 192 w 386"/>
                  <a:gd name="T43" fmla="*/ 387 h 387"/>
                  <a:gd name="T44" fmla="*/ 135 w 386"/>
                  <a:gd name="T45" fmla="*/ 378 h 387"/>
                  <a:gd name="T46" fmla="*/ 85 w 386"/>
                  <a:gd name="T47" fmla="*/ 354 h 387"/>
                  <a:gd name="T48" fmla="*/ 44 w 386"/>
                  <a:gd name="T49" fmla="*/ 317 h 387"/>
                  <a:gd name="T50" fmla="*/ 15 w 386"/>
                  <a:gd name="T51" fmla="*/ 269 h 387"/>
                  <a:gd name="T52" fmla="*/ 0 w 386"/>
                  <a:gd name="T53" fmla="*/ 214 h 387"/>
                  <a:gd name="T54" fmla="*/ 3 w 386"/>
                  <a:gd name="T55" fmla="*/ 154 h 387"/>
                  <a:gd name="T56" fmla="*/ 23 w 386"/>
                  <a:gd name="T57" fmla="*/ 101 h 387"/>
                  <a:gd name="T58" fmla="*/ 56 w 386"/>
                  <a:gd name="T59" fmla="*/ 56 h 387"/>
                  <a:gd name="T60" fmla="*/ 101 w 386"/>
                  <a:gd name="T61" fmla="*/ 23 h 387"/>
                  <a:gd name="T62" fmla="*/ 154 w 386"/>
                  <a:gd name="T63" fmla="*/ 4 h 387"/>
                  <a:gd name="T64" fmla="*/ 213 w 386"/>
                  <a:gd name="T65" fmla="*/ 1 h 387"/>
                  <a:gd name="T66" fmla="*/ 268 w 386"/>
                  <a:gd name="T67" fmla="*/ 15 h 387"/>
                  <a:gd name="T68" fmla="*/ 316 w 386"/>
                  <a:gd name="T69" fmla="*/ 45 h 387"/>
                  <a:gd name="T70" fmla="*/ 353 w 386"/>
                  <a:gd name="T71" fmla="*/ 85 h 387"/>
                  <a:gd name="T72" fmla="*/ 377 w 386"/>
                  <a:gd name="T73" fmla="*/ 136 h 387"/>
                  <a:gd name="T74" fmla="*/ 386 w 386"/>
                  <a:gd name="T75" fmla="*/ 193 h 387"/>
                  <a:gd name="T76" fmla="*/ 377 w 386"/>
                  <a:gd name="T77" fmla="*/ 251 h 387"/>
                  <a:gd name="T78" fmla="*/ 353 w 386"/>
                  <a:gd name="T79" fmla="*/ 302 h 387"/>
                  <a:gd name="T80" fmla="*/ 316 w 386"/>
                  <a:gd name="T81" fmla="*/ 342 h 387"/>
                  <a:gd name="T82" fmla="*/ 268 w 386"/>
                  <a:gd name="T83" fmla="*/ 371 h 387"/>
                  <a:gd name="T84" fmla="*/ 213 w 386"/>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87">
                    <a:moveTo>
                      <a:pt x="192" y="78"/>
                    </a:moveTo>
                    <a:lnTo>
                      <a:pt x="181" y="78"/>
                    </a:lnTo>
                    <a:lnTo>
                      <a:pt x="169" y="80"/>
                    </a:lnTo>
                    <a:lnTo>
                      <a:pt x="158" y="83"/>
                    </a:lnTo>
                    <a:lnTo>
                      <a:pt x="148" y="86"/>
                    </a:lnTo>
                    <a:lnTo>
                      <a:pt x="137" y="91"/>
                    </a:lnTo>
                    <a:lnTo>
                      <a:pt x="128" y="98"/>
                    </a:lnTo>
                    <a:lnTo>
                      <a:pt x="119" y="104"/>
                    </a:lnTo>
                    <a:lnTo>
                      <a:pt x="111" y="112"/>
                    </a:lnTo>
                    <a:lnTo>
                      <a:pt x="103" y="120"/>
                    </a:lnTo>
                    <a:lnTo>
                      <a:pt x="97" y="129"/>
                    </a:lnTo>
                    <a:lnTo>
                      <a:pt x="90" y="138"/>
                    </a:lnTo>
                    <a:lnTo>
                      <a:pt x="86" y="149"/>
                    </a:lnTo>
                    <a:lnTo>
                      <a:pt x="82" y="159"/>
                    </a:lnTo>
                    <a:lnTo>
                      <a:pt x="79" y="170"/>
                    </a:lnTo>
                    <a:lnTo>
                      <a:pt x="78" y="182"/>
                    </a:lnTo>
                    <a:lnTo>
                      <a:pt x="77" y="193"/>
                    </a:lnTo>
                    <a:lnTo>
                      <a:pt x="78" y="205"/>
                    </a:lnTo>
                    <a:lnTo>
                      <a:pt x="79" y="217"/>
                    </a:lnTo>
                    <a:lnTo>
                      <a:pt x="82" y="227"/>
                    </a:lnTo>
                    <a:lnTo>
                      <a:pt x="86" y="238"/>
                    </a:lnTo>
                    <a:lnTo>
                      <a:pt x="90" y="249"/>
                    </a:lnTo>
                    <a:lnTo>
                      <a:pt x="97" y="258"/>
                    </a:lnTo>
                    <a:lnTo>
                      <a:pt x="103" y="267"/>
                    </a:lnTo>
                    <a:lnTo>
                      <a:pt x="111" y="275"/>
                    </a:lnTo>
                    <a:lnTo>
                      <a:pt x="119" y="283"/>
                    </a:lnTo>
                    <a:lnTo>
                      <a:pt x="128" y="289"/>
                    </a:lnTo>
                    <a:lnTo>
                      <a:pt x="137" y="295"/>
                    </a:lnTo>
                    <a:lnTo>
                      <a:pt x="148" y="300"/>
                    </a:lnTo>
                    <a:lnTo>
                      <a:pt x="158" y="304"/>
                    </a:lnTo>
                    <a:lnTo>
                      <a:pt x="169" y="307"/>
                    </a:lnTo>
                    <a:lnTo>
                      <a:pt x="181" y="308"/>
                    </a:lnTo>
                    <a:lnTo>
                      <a:pt x="192" y="309"/>
                    </a:lnTo>
                    <a:lnTo>
                      <a:pt x="204" y="308"/>
                    </a:lnTo>
                    <a:lnTo>
                      <a:pt x="216" y="307"/>
                    </a:lnTo>
                    <a:lnTo>
                      <a:pt x="228" y="304"/>
                    </a:lnTo>
                    <a:lnTo>
                      <a:pt x="238" y="300"/>
                    </a:lnTo>
                    <a:lnTo>
                      <a:pt x="248" y="295"/>
                    </a:lnTo>
                    <a:lnTo>
                      <a:pt x="257" y="289"/>
                    </a:lnTo>
                    <a:lnTo>
                      <a:pt x="267" y="283"/>
                    </a:lnTo>
                    <a:lnTo>
                      <a:pt x="274" y="275"/>
                    </a:lnTo>
                    <a:lnTo>
                      <a:pt x="283" y="267"/>
                    </a:lnTo>
                    <a:lnTo>
                      <a:pt x="289" y="258"/>
                    </a:lnTo>
                    <a:lnTo>
                      <a:pt x="294" y="249"/>
                    </a:lnTo>
                    <a:lnTo>
                      <a:pt x="300" y="238"/>
                    </a:lnTo>
                    <a:lnTo>
                      <a:pt x="304" y="227"/>
                    </a:lnTo>
                    <a:lnTo>
                      <a:pt x="306" y="217"/>
                    </a:lnTo>
                    <a:lnTo>
                      <a:pt x="308" y="205"/>
                    </a:lnTo>
                    <a:lnTo>
                      <a:pt x="308" y="193"/>
                    </a:lnTo>
                    <a:lnTo>
                      <a:pt x="308" y="182"/>
                    </a:lnTo>
                    <a:lnTo>
                      <a:pt x="306" y="170"/>
                    </a:lnTo>
                    <a:lnTo>
                      <a:pt x="304" y="159"/>
                    </a:lnTo>
                    <a:lnTo>
                      <a:pt x="300" y="149"/>
                    </a:lnTo>
                    <a:lnTo>
                      <a:pt x="294" y="138"/>
                    </a:lnTo>
                    <a:lnTo>
                      <a:pt x="289" y="129"/>
                    </a:lnTo>
                    <a:lnTo>
                      <a:pt x="283" y="120"/>
                    </a:lnTo>
                    <a:lnTo>
                      <a:pt x="274" y="112"/>
                    </a:lnTo>
                    <a:lnTo>
                      <a:pt x="267" y="104"/>
                    </a:lnTo>
                    <a:lnTo>
                      <a:pt x="257" y="98"/>
                    </a:lnTo>
                    <a:lnTo>
                      <a:pt x="248" y="91"/>
                    </a:lnTo>
                    <a:lnTo>
                      <a:pt x="238" y="86"/>
                    </a:lnTo>
                    <a:lnTo>
                      <a:pt x="228" y="83"/>
                    </a:lnTo>
                    <a:lnTo>
                      <a:pt x="216" y="80"/>
                    </a:lnTo>
                    <a:lnTo>
                      <a:pt x="204" y="78"/>
                    </a:lnTo>
                    <a:lnTo>
                      <a:pt x="192" y="78"/>
                    </a:lnTo>
                    <a:close/>
                    <a:moveTo>
                      <a:pt x="192" y="387"/>
                    </a:moveTo>
                    <a:lnTo>
                      <a:pt x="173" y="386"/>
                    </a:lnTo>
                    <a:lnTo>
                      <a:pt x="154" y="383"/>
                    </a:lnTo>
                    <a:lnTo>
                      <a:pt x="135" y="378"/>
                    </a:lnTo>
                    <a:lnTo>
                      <a:pt x="118" y="371"/>
                    </a:lnTo>
                    <a:lnTo>
                      <a:pt x="101" y="363"/>
                    </a:lnTo>
                    <a:lnTo>
                      <a:pt x="85" y="354"/>
                    </a:lnTo>
                    <a:lnTo>
                      <a:pt x="70" y="342"/>
                    </a:lnTo>
                    <a:lnTo>
                      <a:pt x="56" y="329"/>
                    </a:lnTo>
                    <a:lnTo>
                      <a:pt x="44" y="317"/>
                    </a:lnTo>
                    <a:lnTo>
                      <a:pt x="33" y="302"/>
                    </a:lnTo>
                    <a:lnTo>
                      <a:pt x="23" y="286"/>
                    </a:lnTo>
                    <a:lnTo>
                      <a:pt x="15" y="269"/>
                    </a:lnTo>
                    <a:lnTo>
                      <a:pt x="9" y="251"/>
                    </a:lnTo>
                    <a:lnTo>
                      <a:pt x="3" y="233"/>
                    </a:lnTo>
                    <a:lnTo>
                      <a:pt x="0" y="214"/>
                    </a:lnTo>
                    <a:lnTo>
                      <a:pt x="0" y="193"/>
                    </a:lnTo>
                    <a:lnTo>
                      <a:pt x="0" y="173"/>
                    </a:lnTo>
                    <a:lnTo>
                      <a:pt x="3" y="154"/>
                    </a:lnTo>
                    <a:lnTo>
                      <a:pt x="9" y="136"/>
                    </a:lnTo>
                    <a:lnTo>
                      <a:pt x="15" y="118"/>
                    </a:lnTo>
                    <a:lnTo>
                      <a:pt x="23" y="101"/>
                    </a:lnTo>
                    <a:lnTo>
                      <a:pt x="33" y="85"/>
                    </a:lnTo>
                    <a:lnTo>
                      <a:pt x="44" y="70"/>
                    </a:lnTo>
                    <a:lnTo>
                      <a:pt x="56" y="56"/>
                    </a:lnTo>
                    <a:lnTo>
                      <a:pt x="70" y="45"/>
                    </a:lnTo>
                    <a:lnTo>
                      <a:pt x="85" y="33"/>
                    </a:lnTo>
                    <a:lnTo>
                      <a:pt x="101" y="23"/>
                    </a:lnTo>
                    <a:lnTo>
                      <a:pt x="118" y="15"/>
                    </a:lnTo>
                    <a:lnTo>
                      <a:pt x="135" y="8"/>
                    </a:lnTo>
                    <a:lnTo>
                      <a:pt x="154" y="4"/>
                    </a:lnTo>
                    <a:lnTo>
                      <a:pt x="173" y="1"/>
                    </a:lnTo>
                    <a:lnTo>
                      <a:pt x="192" y="0"/>
                    </a:lnTo>
                    <a:lnTo>
                      <a:pt x="213" y="1"/>
                    </a:lnTo>
                    <a:lnTo>
                      <a:pt x="232" y="4"/>
                    </a:lnTo>
                    <a:lnTo>
                      <a:pt x="250" y="8"/>
                    </a:lnTo>
                    <a:lnTo>
                      <a:pt x="268" y="15"/>
                    </a:lnTo>
                    <a:lnTo>
                      <a:pt x="285" y="23"/>
                    </a:lnTo>
                    <a:lnTo>
                      <a:pt x="301" y="33"/>
                    </a:lnTo>
                    <a:lnTo>
                      <a:pt x="316" y="45"/>
                    </a:lnTo>
                    <a:lnTo>
                      <a:pt x="330" y="56"/>
                    </a:lnTo>
                    <a:lnTo>
                      <a:pt x="342" y="70"/>
                    </a:lnTo>
                    <a:lnTo>
                      <a:pt x="353" y="85"/>
                    </a:lnTo>
                    <a:lnTo>
                      <a:pt x="362" y="101"/>
                    </a:lnTo>
                    <a:lnTo>
                      <a:pt x="371" y="118"/>
                    </a:lnTo>
                    <a:lnTo>
                      <a:pt x="377" y="136"/>
                    </a:lnTo>
                    <a:lnTo>
                      <a:pt x="382" y="154"/>
                    </a:lnTo>
                    <a:lnTo>
                      <a:pt x="385" y="173"/>
                    </a:lnTo>
                    <a:lnTo>
                      <a:pt x="386" y="193"/>
                    </a:lnTo>
                    <a:lnTo>
                      <a:pt x="385" y="214"/>
                    </a:lnTo>
                    <a:lnTo>
                      <a:pt x="382" y="233"/>
                    </a:lnTo>
                    <a:lnTo>
                      <a:pt x="377" y="251"/>
                    </a:lnTo>
                    <a:lnTo>
                      <a:pt x="371" y="269"/>
                    </a:lnTo>
                    <a:lnTo>
                      <a:pt x="362" y="286"/>
                    </a:lnTo>
                    <a:lnTo>
                      <a:pt x="353" y="302"/>
                    </a:lnTo>
                    <a:lnTo>
                      <a:pt x="342" y="317"/>
                    </a:lnTo>
                    <a:lnTo>
                      <a:pt x="330" y="329"/>
                    </a:lnTo>
                    <a:lnTo>
                      <a:pt x="316" y="342"/>
                    </a:lnTo>
                    <a:lnTo>
                      <a:pt x="301" y="354"/>
                    </a:lnTo>
                    <a:lnTo>
                      <a:pt x="285" y="363"/>
                    </a:lnTo>
                    <a:lnTo>
                      <a:pt x="268" y="371"/>
                    </a:lnTo>
                    <a:lnTo>
                      <a:pt x="250" y="378"/>
                    </a:lnTo>
                    <a:lnTo>
                      <a:pt x="232" y="383"/>
                    </a:lnTo>
                    <a:lnTo>
                      <a:pt x="213" y="386"/>
                    </a:lnTo>
                    <a:lnTo>
                      <a:pt x="1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5">
                <a:extLst>
                  <a:ext uri="{FF2B5EF4-FFF2-40B4-BE49-F238E27FC236}">
                    <a16:creationId xmlns:a16="http://schemas.microsoft.com/office/drawing/2014/main" id="{38C686D7-F6F5-4D2E-AFE6-284AF5644311}"/>
                  </a:ext>
                </a:extLst>
              </p:cNvPr>
              <p:cNvSpPr>
                <a:spLocks noEditPoints="1"/>
              </p:cNvSpPr>
              <p:nvPr/>
            </p:nvSpPr>
            <p:spPr bwMode="auto">
              <a:xfrm>
                <a:off x="8278813" y="4140200"/>
                <a:ext cx="849313" cy="849313"/>
              </a:xfrm>
              <a:custGeom>
                <a:avLst/>
                <a:gdLst>
                  <a:gd name="T0" fmla="*/ 1393 w 1605"/>
                  <a:gd name="T1" fmla="*/ 92 h 1606"/>
                  <a:gd name="T2" fmla="*/ 1244 w 1605"/>
                  <a:gd name="T3" fmla="*/ 145 h 1606"/>
                  <a:gd name="T4" fmla="*/ 1067 w 1605"/>
                  <a:gd name="T5" fmla="*/ 231 h 1606"/>
                  <a:gd name="T6" fmla="*/ 874 w 1605"/>
                  <a:gd name="T7" fmla="*/ 344 h 1606"/>
                  <a:gd name="T8" fmla="*/ 680 w 1605"/>
                  <a:gd name="T9" fmla="*/ 477 h 1606"/>
                  <a:gd name="T10" fmla="*/ 497 w 1605"/>
                  <a:gd name="T11" fmla="*/ 623 h 1606"/>
                  <a:gd name="T12" fmla="*/ 338 w 1605"/>
                  <a:gd name="T13" fmla="*/ 778 h 1606"/>
                  <a:gd name="T14" fmla="*/ 212 w 1605"/>
                  <a:gd name="T15" fmla="*/ 931 h 1606"/>
                  <a:gd name="T16" fmla="*/ 127 w 1605"/>
                  <a:gd name="T17" fmla="*/ 1073 h 1606"/>
                  <a:gd name="T18" fmla="*/ 84 w 1605"/>
                  <a:gd name="T19" fmla="*/ 1199 h 1606"/>
                  <a:gd name="T20" fmla="*/ 78 w 1605"/>
                  <a:gd name="T21" fmla="*/ 1295 h 1606"/>
                  <a:gd name="T22" fmla="*/ 102 w 1605"/>
                  <a:gd name="T23" fmla="*/ 1380 h 1606"/>
                  <a:gd name="T24" fmla="*/ 154 w 1605"/>
                  <a:gd name="T25" fmla="*/ 1453 h 1606"/>
                  <a:gd name="T26" fmla="*/ 234 w 1605"/>
                  <a:gd name="T27" fmla="*/ 1509 h 1606"/>
                  <a:gd name="T28" fmla="*/ 331 w 1605"/>
                  <a:gd name="T29" fmla="*/ 1528 h 1606"/>
                  <a:gd name="T30" fmla="*/ 441 w 1605"/>
                  <a:gd name="T31" fmla="*/ 1513 h 1606"/>
                  <a:gd name="T32" fmla="*/ 562 w 1605"/>
                  <a:gd name="T33" fmla="*/ 1463 h 1606"/>
                  <a:gd name="T34" fmla="*/ 694 w 1605"/>
                  <a:gd name="T35" fmla="*/ 1380 h 1606"/>
                  <a:gd name="T36" fmla="*/ 833 w 1605"/>
                  <a:gd name="T37" fmla="*/ 1263 h 1606"/>
                  <a:gd name="T38" fmla="*/ 989 w 1605"/>
                  <a:gd name="T39" fmla="*/ 1102 h 1606"/>
                  <a:gd name="T40" fmla="*/ 1151 w 1605"/>
                  <a:gd name="T41" fmla="*/ 897 h 1606"/>
                  <a:gd name="T42" fmla="*/ 1301 w 1605"/>
                  <a:gd name="T43" fmla="*/ 669 h 1606"/>
                  <a:gd name="T44" fmla="*/ 1430 w 1605"/>
                  <a:gd name="T45" fmla="*/ 431 h 1606"/>
                  <a:gd name="T46" fmla="*/ 1507 w 1605"/>
                  <a:gd name="T47" fmla="*/ 242 h 1606"/>
                  <a:gd name="T48" fmla="*/ 1529 w 1605"/>
                  <a:gd name="T49" fmla="*/ 127 h 1606"/>
                  <a:gd name="T50" fmla="*/ 1521 w 1605"/>
                  <a:gd name="T51" fmla="*/ 89 h 1606"/>
                  <a:gd name="T52" fmla="*/ 1482 w 1605"/>
                  <a:gd name="T53" fmla="*/ 78 h 1606"/>
                  <a:gd name="T54" fmla="*/ 272 w 1605"/>
                  <a:gd name="T55" fmla="*/ 1601 h 1606"/>
                  <a:gd name="T56" fmla="*/ 194 w 1605"/>
                  <a:gd name="T57" fmla="*/ 1576 h 1606"/>
                  <a:gd name="T58" fmla="*/ 124 w 1605"/>
                  <a:gd name="T59" fmla="*/ 1531 h 1606"/>
                  <a:gd name="T60" fmla="*/ 55 w 1605"/>
                  <a:gd name="T61" fmla="*/ 1453 h 1606"/>
                  <a:gd name="T62" fmla="*/ 9 w 1605"/>
                  <a:gd name="T63" fmla="*/ 1351 h 1606"/>
                  <a:gd name="T64" fmla="*/ 1 w 1605"/>
                  <a:gd name="T65" fmla="*/ 1234 h 1606"/>
                  <a:gd name="T66" fmla="*/ 31 w 1605"/>
                  <a:gd name="T67" fmla="*/ 1103 h 1606"/>
                  <a:gd name="T68" fmla="*/ 105 w 1605"/>
                  <a:gd name="T69" fmla="*/ 954 h 1606"/>
                  <a:gd name="T70" fmla="*/ 222 w 1605"/>
                  <a:gd name="T71" fmla="*/ 794 h 1606"/>
                  <a:gd name="T72" fmla="*/ 376 w 1605"/>
                  <a:gd name="T73" fmla="*/ 631 h 1606"/>
                  <a:gd name="T74" fmla="*/ 549 w 1605"/>
                  <a:gd name="T75" fmla="*/ 481 h 1606"/>
                  <a:gd name="T76" fmla="*/ 744 w 1605"/>
                  <a:gd name="T77" fmla="*/ 337 h 1606"/>
                  <a:gd name="T78" fmla="*/ 947 w 1605"/>
                  <a:gd name="T79" fmla="*/ 210 h 1606"/>
                  <a:gd name="T80" fmla="*/ 1142 w 1605"/>
                  <a:gd name="T81" fmla="*/ 107 h 1606"/>
                  <a:gd name="T82" fmla="*/ 1318 w 1605"/>
                  <a:gd name="T83" fmla="*/ 34 h 1606"/>
                  <a:gd name="T84" fmla="*/ 1459 w 1605"/>
                  <a:gd name="T85" fmla="*/ 2 h 1606"/>
                  <a:gd name="T86" fmla="*/ 1535 w 1605"/>
                  <a:gd name="T87" fmla="*/ 8 h 1606"/>
                  <a:gd name="T88" fmla="*/ 1582 w 1605"/>
                  <a:gd name="T89" fmla="*/ 40 h 1606"/>
                  <a:gd name="T90" fmla="*/ 1603 w 1605"/>
                  <a:gd name="T91" fmla="*/ 96 h 1606"/>
                  <a:gd name="T92" fmla="*/ 1602 w 1605"/>
                  <a:gd name="T93" fmla="*/ 169 h 1606"/>
                  <a:gd name="T94" fmla="*/ 1558 w 1605"/>
                  <a:gd name="T95" fmla="*/ 332 h 1606"/>
                  <a:gd name="T96" fmla="*/ 1469 w 1605"/>
                  <a:gd name="T97" fmla="*/ 527 h 1606"/>
                  <a:gd name="T98" fmla="*/ 1338 w 1605"/>
                  <a:gd name="T99" fmla="*/ 757 h 1606"/>
                  <a:gd name="T100" fmla="*/ 1180 w 1605"/>
                  <a:gd name="T101" fmla="*/ 988 h 1606"/>
                  <a:gd name="T102" fmla="*/ 1013 w 1605"/>
                  <a:gd name="T103" fmla="*/ 1191 h 1606"/>
                  <a:gd name="T104" fmla="*/ 820 w 1605"/>
                  <a:gd name="T105" fmla="*/ 1379 h 1606"/>
                  <a:gd name="T106" fmla="*/ 621 w 1605"/>
                  <a:gd name="T107" fmla="*/ 1520 h 1606"/>
                  <a:gd name="T108" fmla="*/ 493 w 1605"/>
                  <a:gd name="T109" fmla="*/ 1580 h 1606"/>
                  <a:gd name="T110" fmla="*/ 406 w 1605"/>
                  <a:gd name="T111" fmla="*/ 1601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5" h="1606">
                    <a:moveTo>
                      <a:pt x="1482" y="78"/>
                    </a:moveTo>
                    <a:lnTo>
                      <a:pt x="1462" y="79"/>
                    </a:lnTo>
                    <a:lnTo>
                      <a:pt x="1441" y="81"/>
                    </a:lnTo>
                    <a:lnTo>
                      <a:pt x="1417" y="85"/>
                    </a:lnTo>
                    <a:lnTo>
                      <a:pt x="1393" y="92"/>
                    </a:lnTo>
                    <a:lnTo>
                      <a:pt x="1366" y="99"/>
                    </a:lnTo>
                    <a:lnTo>
                      <a:pt x="1338" y="109"/>
                    </a:lnTo>
                    <a:lnTo>
                      <a:pt x="1308" y="119"/>
                    </a:lnTo>
                    <a:lnTo>
                      <a:pt x="1277" y="131"/>
                    </a:lnTo>
                    <a:lnTo>
                      <a:pt x="1244" y="145"/>
                    </a:lnTo>
                    <a:lnTo>
                      <a:pt x="1210" y="160"/>
                    </a:lnTo>
                    <a:lnTo>
                      <a:pt x="1176" y="176"/>
                    </a:lnTo>
                    <a:lnTo>
                      <a:pt x="1140" y="193"/>
                    </a:lnTo>
                    <a:lnTo>
                      <a:pt x="1104" y="212"/>
                    </a:lnTo>
                    <a:lnTo>
                      <a:pt x="1067" y="231"/>
                    </a:lnTo>
                    <a:lnTo>
                      <a:pt x="1029" y="251"/>
                    </a:lnTo>
                    <a:lnTo>
                      <a:pt x="991" y="274"/>
                    </a:lnTo>
                    <a:lnTo>
                      <a:pt x="952" y="296"/>
                    </a:lnTo>
                    <a:lnTo>
                      <a:pt x="914" y="319"/>
                    </a:lnTo>
                    <a:lnTo>
                      <a:pt x="874" y="344"/>
                    </a:lnTo>
                    <a:lnTo>
                      <a:pt x="835" y="369"/>
                    </a:lnTo>
                    <a:lnTo>
                      <a:pt x="796" y="395"/>
                    </a:lnTo>
                    <a:lnTo>
                      <a:pt x="756" y="421"/>
                    </a:lnTo>
                    <a:lnTo>
                      <a:pt x="718" y="449"/>
                    </a:lnTo>
                    <a:lnTo>
                      <a:pt x="680" y="477"/>
                    </a:lnTo>
                    <a:lnTo>
                      <a:pt x="641" y="505"/>
                    </a:lnTo>
                    <a:lnTo>
                      <a:pt x="604" y="534"/>
                    </a:lnTo>
                    <a:lnTo>
                      <a:pt x="568" y="564"/>
                    </a:lnTo>
                    <a:lnTo>
                      <a:pt x="532" y="593"/>
                    </a:lnTo>
                    <a:lnTo>
                      <a:pt x="497" y="623"/>
                    </a:lnTo>
                    <a:lnTo>
                      <a:pt x="464" y="654"/>
                    </a:lnTo>
                    <a:lnTo>
                      <a:pt x="431" y="684"/>
                    </a:lnTo>
                    <a:lnTo>
                      <a:pt x="399" y="715"/>
                    </a:lnTo>
                    <a:lnTo>
                      <a:pt x="368" y="748"/>
                    </a:lnTo>
                    <a:lnTo>
                      <a:pt x="338" y="778"/>
                    </a:lnTo>
                    <a:lnTo>
                      <a:pt x="310" y="810"/>
                    </a:lnTo>
                    <a:lnTo>
                      <a:pt x="283" y="841"/>
                    </a:lnTo>
                    <a:lnTo>
                      <a:pt x="258" y="872"/>
                    </a:lnTo>
                    <a:lnTo>
                      <a:pt x="234" y="902"/>
                    </a:lnTo>
                    <a:lnTo>
                      <a:pt x="212" y="931"/>
                    </a:lnTo>
                    <a:lnTo>
                      <a:pt x="192" y="960"/>
                    </a:lnTo>
                    <a:lnTo>
                      <a:pt x="174" y="990"/>
                    </a:lnTo>
                    <a:lnTo>
                      <a:pt x="156" y="1018"/>
                    </a:lnTo>
                    <a:lnTo>
                      <a:pt x="141" y="1045"/>
                    </a:lnTo>
                    <a:lnTo>
                      <a:pt x="127" y="1073"/>
                    </a:lnTo>
                    <a:lnTo>
                      <a:pt x="115" y="1100"/>
                    </a:lnTo>
                    <a:lnTo>
                      <a:pt x="105" y="1127"/>
                    </a:lnTo>
                    <a:lnTo>
                      <a:pt x="95" y="1153"/>
                    </a:lnTo>
                    <a:lnTo>
                      <a:pt x="89" y="1178"/>
                    </a:lnTo>
                    <a:lnTo>
                      <a:pt x="84" y="1199"/>
                    </a:lnTo>
                    <a:lnTo>
                      <a:pt x="80" y="1219"/>
                    </a:lnTo>
                    <a:lnTo>
                      <a:pt x="78" y="1239"/>
                    </a:lnTo>
                    <a:lnTo>
                      <a:pt x="77" y="1258"/>
                    </a:lnTo>
                    <a:lnTo>
                      <a:pt x="77" y="1277"/>
                    </a:lnTo>
                    <a:lnTo>
                      <a:pt x="78" y="1295"/>
                    </a:lnTo>
                    <a:lnTo>
                      <a:pt x="80" y="1313"/>
                    </a:lnTo>
                    <a:lnTo>
                      <a:pt x="84" y="1331"/>
                    </a:lnTo>
                    <a:lnTo>
                      <a:pt x="89" y="1347"/>
                    </a:lnTo>
                    <a:lnTo>
                      <a:pt x="94" y="1364"/>
                    </a:lnTo>
                    <a:lnTo>
                      <a:pt x="102" y="1380"/>
                    </a:lnTo>
                    <a:lnTo>
                      <a:pt x="109" y="1396"/>
                    </a:lnTo>
                    <a:lnTo>
                      <a:pt x="119" y="1411"/>
                    </a:lnTo>
                    <a:lnTo>
                      <a:pt x="129" y="1426"/>
                    </a:lnTo>
                    <a:lnTo>
                      <a:pt x="141" y="1439"/>
                    </a:lnTo>
                    <a:lnTo>
                      <a:pt x="154" y="1453"/>
                    </a:lnTo>
                    <a:lnTo>
                      <a:pt x="169" y="1467"/>
                    </a:lnTo>
                    <a:lnTo>
                      <a:pt x="185" y="1479"/>
                    </a:lnTo>
                    <a:lnTo>
                      <a:pt x="200" y="1490"/>
                    </a:lnTo>
                    <a:lnTo>
                      <a:pt x="217" y="1500"/>
                    </a:lnTo>
                    <a:lnTo>
                      <a:pt x="234" y="1509"/>
                    </a:lnTo>
                    <a:lnTo>
                      <a:pt x="253" y="1515"/>
                    </a:lnTo>
                    <a:lnTo>
                      <a:pt x="272" y="1520"/>
                    </a:lnTo>
                    <a:lnTo>
                      <a:pt x="291" y="1525"/>
                    </a:lnTo>
                    <a:lnTo>
                      <a:pt x="311" y="1527"/>
                    </a:lnTo>
                    <a:lnTo>
                      <a:pt x="331" y="1528"/>
                    </a:lnTo>
                    <a:lnTo>
                      <a:pt x="352" y="1528"/>
                    </a:lnTo>
                    <a:lnTo>
                      <a:pt x="374" y="1527"/>
                    </a:lnTo>
                    <a:lnTo>
                      <a:pt x="395" y="1523"/>
                    </a:lnTo>
                    <a:lnTo>
                      <a:pt x="418" y="1519"/>
                    </a:lnTo>
                    <a:lnTo>
                      <a:pt x="441" y="1513"/>
                    </a:lnTo>
                    <a:lnTo>
                      <a:pt x="464" y="1505"/>
                    </a:lnTo>
                    <a:lnTo>
                      <a:pt x="487" y="1497"/>
                    </a:lnTo>
                    <a:lnTo>
                      <a:pt x="512" y="1487"/>
                    </a:lnTo>
                    <a:lnTo>
                      <a:pt x="536" y="1476"/>
                    </a:lnTo>
                    <a:lnTo>
                      <a:pt x="562" y="1463"/>
                    </a:lnTo>
                    <a:lnTo>
                      <a:pt x="587" y="1449"/>
                    </a:lnTo>
                    <a:lnTo>
                      <a:pt x="613" y="1434"/>
                    </a:lnTo>
                    <a:lnTo>
                      <a:pt x="639" y="1417"/>
                    </a:lnTo>
                    <a:lnTo>
                      <a:pt x="666" y="1399"/>
                    </a:lnTo>
                    <a:lnTo>
                      <a:pt x="694" y="1380"/>
                    </a:lnTo>
                    <a:lnTo>
                      <a:pt x="720" y="1359"/>
                    </a:lnTo>
                    <a:lnTo>
                      <a:pt x="748" y="1337"/>
                    </a:lnTo>
                    <a:lnTo>
                      <a:pt x="776" y="1314"/>
                    </a:lnTo>
                    <a:lnTo>
                      <a:pt x="804" y="1289"/>
                    </a:lnTo>
                    <a:lnTo>
                      <a:pt x="833" y="1263"/>
                    </a:lnTo>
                    <a:lnTo>
                      <a:pt x="863" y="1235"/>
                    </a:lnTo>
                    <a:lnTo>
                      <a:pt x="891" y="1207"/>
                    </a:lnTo>
                    <a:lnTo>
                      <a:pt x="924" y="1174"/>
                    </a:lnTo>
                    <a:lnTo>
                      <a:pt x="956" y="1139"/>
                    </a:lnTo>
                    <a:lnTo>
                      <a:pt x="989" y="1102"/>
                    </a:lnTo>
                    <a:lnTo>
                      <a:pt x="1022" y="1063"/>
                    </a:lnTo>
                    <a:lnTo>
                      <a:pt x="1055" y="1024"/>
                    </a:lnTo>
                    <a:lnTo>
                      <a:pt x="1087" y="982"/>
                    </a:lnTo>
                    <a:lnTo>
                      <a:pt x="1119" y="940"/>
                    </a:lnTo>
                    <a:lnTo>
                      <a:pt x="1151" y="897"/>
                    </a:lnTo>
                    <a:lnTo>
                      <a:pt x="1182" y="853"/>
                    </a:lnTo>
                    <a:lnTo>
                      <a:pt x="1213" y="808"/>
                    </a:lnTo>
                    <a:lnTo>
                      <a:pt x="1243" y="762"/>
                    </a:lnTo>
                    <a:lnTo>
                      <a:pt x="1273" y="716"/>
                    </a:lnTo>
                    <a:lnTo>
                      <a:pt x="1301" y="669"/>
                    </a:lnTo>
                    <a:lnTo>
                      <a:pt x="1329" y="622"/>
                    </a:lnTo>
                    <a:lnTo>
                      <a:pt x="1356" y="575"/>
                    </a:lnTo>
                    <a:lnTo>
                      <a:pt x="1381" y="528"/>
                    </a:lnTo>
                    <a:lnTo>
                      <a:pt x="1407" y="478"/>
                    </a:lnTo>
                    <a:lnTo>
                      <a:pt x="1430" y="431"/>
                    </a:lnTo>
                    <a:lnTo>
                      <a:pt x="1450" y="387"/>
                    </a:lnTo>
                    <a:lnTo>
                      <a:pt x="1468" y="346"/>
                    </a:lnTo>
                    <a:lnTo>
                      <a:pt x="1483" y="308"/>
                    </a:lnTo>
                    <a:lnTo>
                      <a:pt x="1496" y="274"/>
                    </a:lnTo>
                    <a:lnTo>
                      <a:pt x="1507" y="242"/>
                    </a:lnTo>
                    <a:lnTo>
                      <a:pt x="1514" y="213"/>
                    </a:lnTo>
                    <a:lnTo>
                      <a:pt x="1520" y="186"/>
                    </a:lnTo>
                    <a:lnTo>
                      <a:pt x="1526" y="164"/>
                    </a:lnTo>
                    <a:lnTo>
                      <a:pt x="1528" y="144"/>
                    </a:lnTo>
                    <a:lnTo>
                      <a:pt x="1529" y="127"/>
                    </a:lnTo>
                    <a:lnTo>
                      <a:pt x="1529" y="112"/>
                    </a:lnTo>
                    <a:lnTo>
                      <a:pt x="1527" y="101"/>
                    </a:lnTo>
                    <a:lnTo>
                      <a:pt x="1526" y="96"/>
                    </a:lnTo>
                    <a:lnTo>
                      <a:pt x="1524" y="92"/>
                    </a:lnTo>
                    <a:lnTo>
                      <a:pt x="1521" y="89"/>
                    </a:lnTo>
                    <a:lnTo>
                      <a:pt x="1519" y="87"/>
                    </a:lnTo>
                    <a:lnTo>
                      <a:pt x="1517" y="84"/>
                    </a:lnTo>
                    <a:lnTo>
                      <a:pt x="1510" y="81"/>
                    </a:lnTo>
                    <a:lnTo>
                      <a:pt x="1499" y="79"/>
                    </a:lnTo>
                    <a:lnTo>
                      <a:pt x="1482" y="78"/>
                    </a:lnTo>
                    <a:close/>
                    <a:moveTo>
                      <a:pt x="339" y="1606"/>
                    </a:moveTo>
                    <a:lnTo>
                      <a:pt x="322" y="1606"/>
                    </a:lnTo>
                    <a:lnTo>
                      <a:pt x="305" y="1605"/>
                    </a:lnTo>
                    <a:lnTo>
                      <a:pt x="288" y="1603"/>
                    </a:lnTo>
                    <a:lnTo>
                      <a:pt x="272" y="1601"/>
                    </a:lnTo>
                    <a:lnTo>
                      <a:pt x="255" y="1597"/>
                    </a:lnTo>
                    <a:lnTo>
                      <a:pt x="240" y="1593"/>
                    </a:lnTo>
                    <a:lnTo>
                      <a:pt x="224" y="1587"/>
                    </a:lnTo>
                    <a:lnTo>
                      <a:pt x="209" y="1582"/>
                    </a:lnTo>
                    <a:lnTo>
                      <a:pt x="194" y="1576"/>
                    </a:lnTo>
                    <a:lnTo>
                      <a:pt x="179" y="1568"/>
                    </a:lnTo>
                    <a:lnTo>
                      <a:pt x="165" y="1560"/>
                    </a:lnTo>
                    <a:lnTo>
                      <a:pt x="151" y="1551"/>
                    </a:lnTo>
                    <a:lnTo>
                      <a:pt x="138" y="1542"/>
                    </a:lnTo>
                    <a:lnTo>
                      <a:pt x="124" y="1531"/>
                    </a:lnTo>
                    <a:lnTo>
                      <a:pt x="111" y="1519"/>
                    </a:lnTo>
                    <a:lnTo>
                      <a:pt x="98" y="1507"/>
                    </a:lnTo>
                    <a:lnTo>
                      <a:pt x="82" y="1490"/>
                    </a:lnTo>
                    <a:lnTo>
                      <a:pt x="68" y="1472"/>
                    </a:lnTo>
                    <a:lnTo>
                      <a:pt x="55" y="1453"/>
                    </a:lnTo>
                    <a:lnTo>
                      <a:pt x="42" y="1434"/>
                    </a:lnTo>
                    <a:lnTo>
                      <a:pt x="33" y="1414"/>
                    </a:lnTo>
                    <a:lnTo>
                      <a:pt x="23" y="1394"/>
                    </a:lnTo>
                    <a:lnTo>
                      <a:pt x="16" y="1373"/>
                    </a:lnTo>
                    <a:lnTo>
                      <a:pt x="9" y="1351"/>
                    </a:lnTo>
                    <a:lnTo>
                      <a:pt x="5" y="1329"/>
                    </a:lnTo>
                    <a:lnTo>
                      <a:pt x="2" y="1306"/>
                    </a:lnTo>
                    <a:lnTo>
                      <a:pt x="0" y="1283"/>
                    </a:lnTo>
                    <a:lnTo>
                      <a:pt x="0" y="1259"/>
                    </a:lnTo>
                    <a:lnTo>
                      <a:pt x="1" y="1234"/>
                    </a:lnTo>
                    <a:lnTo>
                      <a:pt x="4" y="1210"/>
                    </a:lnTo>
                    <a:lnTo>
                      <a:pt x="8" y="1184"/>
                    </a:lnTo>
                    <a:lnTo>
                      <a:pt x="13" y="1159"/>
                    </a:lnTo>
                    <a:lnTo>
                      <a:pt x="22" y="1131"/>
                    </a:lnTo>
                    <a:lnTo>
                      <a:pt x="31" y="1103"/>
                    </a:lnTo>
                    <a:lnTo>
                      <a:pt x="42" y="1074"/>
                    </a:lnTo>
                    <a:lnTo>
                      <a:pt x="56" y="1044"/>
                    </a:lnTo>
                    <a:lnTo>
                      <a:pt x="70" y="1014"/>
                    </a:lnTo>
                    <a:lnTo>
                      <a:pt x="87" y="985"/>
                    </a:lnTo>
                    <a:lnTo>
                      <a:pt x="105" y="954"/>
                    </a:lnTo>
                    <a:lnTo>
                      <a:pt x="125" y="923"/>
                    </a:lnTo>
                    <a:lnTo>
                      <a:pt x="146" y="891"/>
                    </a:lnTo>
                    <a:lnTo>
                      <a:pt x="170" y="859"/>
                    </a:lnTo>
                    <a:lnTo>
                      <a:pt x="195" y="827"/>
                    </a:lnTo>
                    <a:lnTo>
                      <a:pt x="222" y="794"/>
                    </a:lnTo>
                    <a:lnTo>
                      <a:pt x="249" y="761"/>
                    </a:lnTo>
                    <a:lnTo>
                      <a:pt x="280" y="728"/>
                    </a:lnTo>
                    <a:lnTo>
                      <a:pt x="311" y="694"/>
                    </a:lnTo>
                    <a:lnTo>
                      <a:pt x="345" y="660"/>
                    </a:lnTo>
                    <a:lnTo>
                      <a:pt x="376" y="631"/>
                    </a:lnTo>
                    <a:lnTo>
                      <a:pt x="408" y="600"/>
                    </a:lnTo>
                    <a:lnTo>
                      <a:pt x="442" y="570"/>
                    </a:lnTo>
                    <a:lnTo>
                      <a:pt x="476" y="540"/>
                    </a:lnTo>
                    <a:lnTo>
                      <a:pt x="512" y="510"/>
                    </a:lnTo>
                    <a:lnTo>
                      <a:pt x="549" y="481"/>
                    </a:lnTo>
                    <a:lnTo>
                      <a:pt x="586" y="451"/>
                    </a:lnTo>
                    <a:lnTo>
                      <a:pt x="624" y="422"/>
                    </a:lnTo>
                    <a:lnTo>
                      <a:pt x="664" y="394"/>
                    </a:lnTo>
                    <a:lnTo>
                      <a:pt x="704" y="365"/>
                    </a:lnTo>
                    <a:lnTo>
                      <a:pt x="744" y="337"/>
                    </a:lnTo>
                    <a:lnTo>
                      <a:pt x="784" y="311"/>
                    </a:lnTo>
                    <a:lnTo>
                      <a:pt x="824" y="284"/>
                    </a:lnTo>
                    <a:lnTo>
                      <a:pt x="866" y="259"/>
                    </a:lnTo>
                    <a:lnTo>
                      <a:pt x="906" y="234"/>
                    </a:lnTo>
                    <a:lnTo>
                      <a:pt x="947" y="210"/>
                    </a:lnTo>
                    <a:lnTo>
                      <a:pt x="987" y="187"/>
                    </a:lnTo>
                    <a:lnTo>
                      <a:pt x="1026" y="165"/>
                    </a:lnTo>
                    <a:lnTo>
                      <a:pt x="1066" y="145"/>
                    </a:lnTo>
                    <a:lnTo>
                      <a:pt x="1105" y="125"/>
                    </a:lnTo>
                    <a:lnTo>
                      <a:pt x="1142" y="107"/>
                    </a:lnTo>
                    <a:lnTo>
                      <a:pt x="1179" y="89"/>
                    </a:lnTo>
                    <a:lnTo>
                      <a:pt x="1216" y="73"/>
                    </a:lnTo>
                    <a:lnTo>
                      <a:pt x="1252" y="59"/>
                    </a:lnTo>
                    <a:lnTo>
                      <a:pt x="1286" y="45"/>
                    </a:lnTo>
                    <a:lnTo>
                      <a:pt x="1318" y="34"/>
                    </a:lnTo>
                    <a:lnTo>
                      <a:pt x="1349" y="24"/>
                    </a:lnTo>
                    <a:lnTo>
                      <a:pt x="1379" y="15"/>
                    </a:lnTo>
                    <a:lnTo>
                      <a:pt x="1408" y="9"/>
                    </a:lnTo>
                    <a:lnTo>
                      <a:pt x="1434" y="5"/>
                    </a:lnTo>
                    <a:lnTo>
                      <a:pt x="1459" y="2"/>
                    </a:lnTo>
                    <a:lnTo>
                      <a:pt x="1482" y="0"/>
                    </a:lnTo>
                    <a:lnTo>
                      <a:pt x="1497" y="2"/>
                    </a:lnTo>
                    <a:lnTo>
                      <a:pt x="1511" y="3"/>
                    </a:lnTo>
                    <a:lnTo>
                      <a:pt x="1524" y="5"/>
                    </a:lnTo>
                    <a:lnTo>
                      <a:pt x="1535" y="8"/>
                    </a:lnTo>
                    <a:lnTo>
                      <a:pt x="1547" y="13"/>
                    </a:lnTo>
                    <a:lnTo>
                      <a:pt x="1557" y="19"/>
                    </a:lnTo>
                    <a:lnTo>
                      <a:pt x="1566" y="25"/>
                    </a:lnTo>
                    <a:lnTo>
                      <a:pt x="1575" y="31"/>
                    </a:lnTo>
                    <a:lnTo>
                      <a:pt x="1582" y="40"/>
                    </a:lnTo>
                    <a:lnTo>
                      <a:pt x="1588" y="49"/>
                    </a:lnTo>
                    <a:lnTo>
                      <a:pt x="1594" y="60"/>
                    </a:lnTo>
                    <a:lnTo>
                      <a:pt x="1598" y="71"/>
                    </a:lnTo>
                    <a:lnTo>
                      <a:pt x="1601" y="83"/>
                    </a:lnTo>
                    <a:lnTo>
                      <a:pt x="1603" y="96"/>
                    </a:lnTo>
                    <a:lnTo>
                      <a:pt x="1604" y="109"/>
                    </a:lnTo>
                    <a:lnTo>
                      <a:pt x="1605" y="124"/>
                    </a:lnTo>
                    <a:lnTo>
                      <a:pt x="1605" y="139"/>
                    </a:lnTo>
                    <a:lnTo>
                      <a:pt x="1604" y="153"/>
                    </a:lnTo>
                    <a:lnTo>
                      <a:pt x="1602" y="169"/>
                    </a:lnTo>
                    <a:lnTo>
                      <a:pt x="1600" y="186"/>
                    </a:lnTo>
                    <a:lnTo>
                      <a:pt x="1593" y="220"/>
                    </a:lnTo>
                    <a:lnTo>
                      <a:pt x="1583" y="257"/>
                    </a:lnTo>
                    <a:lnTo>
                      <a:pt x="1571" y="294"/>
                    </a:lnTo>
                    <a:lnTo>
                      <a:pt x="1558" y="332"/>
                    </a:lnTo>
                    <a:lnTo>
                      <a:pt x="1542" y="371"/>
                    </a:lnTo>
                    <a:lnTo>
                      <a:pt x="1525" y="411"/>
                    </a:lnTo>
                    <a:lnTo>
                      <a:pt x="1507" y="450"/>
                    </a:lnTo>
                    <a:lnTo>
                      <a:pt x="1489" y="488"/>
                    </a:lnTo>
                    <a:lnTo>
                      <a:pt x="1469" y="527"/>
                    </a:lnTo>
                    <a:lnTo>
                      <a:pt x="1449" y="564"/>
                    </a:lnTo>
                    <a:lnTo>
                      <a:pt x="1424" y="613"/>
                    </a:lnTo>
                    <a:lnTo>
                      <a:pt x="1396" y="662"/>
                    </a:lnTo>
                    <a:lnTo>
                      <a:pt x="1367" y="709"/>
                    </a:lnTo>
                    <a:lnTo>
                      <a:pt x="1338" y="757"/>
                    </a:lnTo>
                    <a:lnTo>
                      <a:pt x="1308" y="805"/>
                    </a:lnTo>
                    <a:lnTo>
                      <a:pt x="1277" y="852"/>
                    </a:lnTo>
                    <a:lnTo>
                      <a:pt x="1245" y="897"/>
                    </a:lnTo>
                    <a:lnTo>
                      <a:pt x="1213" y="943"/>
                    </a:lnTo>
                    <a:lnTo>
                      <a:pt x="1180" y="988"/>
                    </a:lnTo>
                    <a:lnTo>
                      <a:pt x="1147" y="1030"/>
                    </a:lnTo>
                    <a:lnTo>
                      <a:pt x="1114" y="1073"/>
                    </a:lnTo>
                    <a:lnTo>
                      <a:pt x="1080" y="1114"/>
                    </a:lnTo>
                    <a:lnTo>
                      <a:pt x="1046" y="1154"/>
                    </a:lnTo>
                    <a:lnTo>
                      <a:pt x="1013" y="1191"/>
                    </a:lnTo>
                    <a:lnTo>
                      <a:pt x="979" y="1227"/>
                    </a:lnTo>
                    <a:lnTo>
                      <a:pt x="945" y="1262"/>
                    </a:lnTo>
                    <a:lnTo>
                      <a:pt x="903" y="1303"/>
                    </a:lnTo>
                    <a:lnTo>
                      <a:pt x="861" y="1342"/>
                    </a:lnTo>
                    <a:lnTo>
                      <a:pt x="820" y="1379"/>
                    </a:lnTo>
                    <a:lnTo>
                      <a:pt x="779" y="1412"/>
                    </a:lnTo>
                    <a:lnTo>
                      <a:pt x="738" y="1443"/>
                    </a:lnTo>
                    <a:lnTo>
                      <a:pt x="699" y="1471"/>
                    </a:lnTo>
                    <a:lnTo>
                      <a:pt x="660" y="1497"/>
                    </a:lnTo>
                    <a:lnTo>
                      <a:pt x="621" y="1520"/>
                    </a:lnTo>
                    <a:lnTo>
                      <a:pt x="584" y="1540"/>
                    </a:lnTo>
                    <a:lnTo>
                      <a:pt x="547" y="1557"/>
                    </a:lnTo>
                    <a:lnTo>
                      <a:pt x="529" y="1566"/>
                    </a:lnTo>
                    <a:lnTo>
                      <a:pt x="511" y="1572"/>
                    </a:lnTo>
                    <a:lnTo>
                      <a:pt x="493" y="1580"/>
                    </a:lnTo>
                    <a:lnTo>
                      <a:pt x="475" y="1585"/>
                    </a:lnTo>
                    <a:lnTo>
                      <a:pt x="458" y="1590"/>
                    </a:lnTo>
                    <a:lnTo>
                      <a:pt x="440" y="1595"/>
                    </a:lnTo>
                    <a:lnTo>
                      <a:pt x="423" y="1598"/>
                    </a:lnTo>
                    <a:lnTo>
                      <a:pt x="406" y="1601"/>
                    </a:lnTo>
                    <a:lnTo>
                      <a:pt x="389" y="1604"/>
                    </a:lnTo>
                    <a:lnTo>
                      <a:pt x="372" y="1605"/>
                    </a:lnTo>
                    <a:lnTo>
                      <a:pt x="356" y="1606"/>
                    </a:lnTo>
                    <a:lnTo>
                      <a:pt x="339" y="16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0" name="Inhaltsplatzhalter 9">
            <a:extLst>
              <a:ext uri="{FF2B5EF4-FFF2-40B4-BE49-F238E27FC236}">
                <a16:creationId xmlns:a16="http://schemas.microsoft.com/office/drawing/2014/main" id="{E4E08844-AC0C-4688-A46C-29675D2732FB}"/>
              </a:ext>
            </a:extLst>
          </p:cNvPr>
          <p:cNvSpPr txBox="1">
            <a:spLocks/>
          </p:cNvSpPr>
          <p:nvPr/>
        </p:nvSpPr>
        <p:spPr>
          <a:xfrm>
            <a:off x="280800"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
        <p:nvSpPr>
          <p:cNvPr id="41" name="Inhaltsplatzhalter 9">
            <a:extLst>
              <a:ext uri="{FF2B5EF4-FFF2-40B4-BE49-F238E27FC236}">
                <a16:creationId xmlns:a16="http://schemas.microsoft.com/office/drawing/2014/main" id="{1410BE95-7A1C-4FA3-AE25-425CB766CB9B}"/>
              </a:ext>
            </a:extLst>
          </p:cNvPr>
          <p:cNvSpPr txBox="1">
            <a:spLocks/>
          </p:cNvSpPr>
          <p:nvPr/>
        </p:nvSpPr>
        <p:spPr>
          <a:xfrm>
            <a:off x="2708646"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
        <p:nvSpPr>
          <p:cNvPr id="42" name="Inhaltsplatzhalter 9">
            <a:extLst>
              <a:ext uri="{FF2B5EF4-FFF2-40B4-BE49-F238E27FC236}">
                <a16:creationId xmlns:a16="http://schemas.microsoft.com/office/drawing/2014/main" id="{7D631E62-77F5-415A-AE5A-5522F92D983A}"/>
              </a:ext>
            </a:extLst>
          </p:cNvPr>
          <p:cNvSpPr txBox="1">
            <a:spLocks/>
          </p:cNvSpPr>
          <p:nvPr/>
        </p:nvSpPr>
        <p:spPr>
          <a:xfrm>
            <a:off x="5136492" y="2870837"/>
            <a:ext cx="2080062" cy="3366450"/>
          </a:xfrm>
          <a:prstGeom prst="rect">
            <a:avLst/>
          </a:prstGeom>
        </p:spPr>
        <p:txBody>
          <a:bodyPr lIns="72000" tIns="72000" rIns="72000" bIns="72000"/>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1200"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a:t>
            </a:r>
            <a:br>
              <a:rPr lang="de-DE" sz="1200" dirty="0"/>
            </a:br>
            <a:r>
              <a:rPr lang="de-DE" sz="1200" dirty="0"/>
              <a:t>Es ist ein paradiesmatisches Land, in dem einem gebratene Satzteile in den Mund fliegen. Nicht einmal von der allmächtigen Interpunktion werden die Blindtexte beherrscht – ein geradezu unorthographisches Leben.</a:t>
            </a:r>
          </a:p>
        </p:txBody>
      </p:sp>
    </p:spTree>
    <p:extLst>
      <p:ext uri="{BB962C8B-B14F-4D97-AF65-F5344CB8AC3E}">
        <p14:creationId xmlns:p14="http://schemas.microsoft.com/office/powerpoint/2010/main" val="2684251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rid </a:t>
            </a:r>
            <a:r>
              <a:rPr lang="de-DE" dirty="0" err="1"/>
              <a:t>El-Nomany</a:t>
            </a:r>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pPr>
              <a:spcAft>
                <a:spcPts val="0"/>
              </a:spcAft>
            </a:pPr>
            <a:endParaRPr lang="de-DE" dirty="0"/>
          </a:p>
        </p:txBody>
      </p:sp>
      <p:sp>
        <p:nvSpPr>
          <p:cNvPr id="5" name="Datumsplatzhalter 4"/>
          <p:cNvSpPr>
            <a:spLocks noGrp="1"/>
          </p:cNvSpPr>
          <p:nvPr>
            <p:ph type="dt" sz="half" idx="2"/>
          </p:nvPr>
        </p:nvSpPr>
        <p:spPr/>
        <p:txBody>
          <a:bodyPr/>
          <a:lstStyle/>
          <a:p>
            <a:fld id="{1071FDA4-8192-42C0-A360-99E46F68E857}" type="datetime1">
              <a:rPr lang="de-DE" smtClean="0"/>
              <a:t>04.05.2020</a:t>
            </a:fld>
            <a:endParaRPr lang="de-DE" dirty="0"/>
          </a:p>
        </p:txBody>
      </p:sp>
      <p:sp>
        <p:nvSpPr>
          <p:cNvPr id="6" name="Foliennummernplatzhalter 5"/>
          <p:cNvSpPr>
            <a:spLocks noGrp="1"/>
          </p:cNvSpPr>
          <p:nvPr>
            <p:ph type="sldNum" sz="quarter" idx="4"/>
          </p:nvPr>
        </p:nvSpPr>
        <p:spPr>
          <a:xfrm>
            <a:off x="1023516" y="6621990"/>
            <a:ext cx="115416" cy="153888"/>
          </a:xfrm>
        </p:spPr>
        <p:txBody>
          <a:bodyPr/>
          <a:lstStyle/>
          <a:p>
            <a:fld id="{60F8E2DC-8382-49B6-A2A6-01CCC12CBD17}" type="slidenum">
              <a:rPr lang="de-DE" smtClean="0"/>
              <a:pPr/>
              <a:t>18</a:t>
            </a:fld>
            <a:endParaRPr lang="de-DE" dirty="0"/>
          </a:p>
        </p:txBody>
      </p:sp>
      <p:sp>
        <p:nvSpPr>
          <p:cNvPr id="102" name="Ellipse 101">
            <a:extLst>
              <a:ext uri="{FF2B5EF4-FFF2-40B4-BE49-F238E27FC236}">
                <a16:creationId xmlns:a16="http://schemas.microsoft.com/office/drawing/2014/main" id="{2DBD9009-4E81-4764-A392-F42F21FC9536}"/>
              </a:ext>
            </a:extLst>
          </p:cNvPr>
          <p:cNvSpPr/>
          <p:nvPr/>
        </p:nvSpPr>
        <p:spPr>
          <a:xfrm>
            <a:off x="453136" y="1628915"/>
            <a:ext cx="2400345" cy="240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Calibri" panose="020F0502020204030204" pitchFamily="34" charset="0"/>
              <a:cs typeface="Calibri" panose="020F0502020204030204" pitchFamily="34" charset="0"/>
              <a:sym typeface="Calibri" panose="020F0502020204030204" pitchFamily="34" charset="0"/>
            </a:endParaRPr>
          </a:p>
        </p:txBody>
      </p:sp>
      <p:sp>
        <p:nvSpPr>
          <p:cNvPr id="103" name="Rechteck 102">
            <a:extLst>
              <a:ext uri="{FF2B5EF4-FFF2-40B4-BE49-F238E27FC236}">
                <a16:creationId xmlns:a16="http://schemas.microsoft.com/office/drawing/2014/main" id="{19EDF4AF-5103-49F2-8C9A-7539FB0107F8}"/>
              </a:ext>
            </a:extLst>
          </p:cNvPr>
          <p:cNvSpPr/>
          <p:nvPr/>
        </p:nvSpPr>
        <p:spPr>
          <a:xfrm>
            <a:off x="9653122" y="4149080"/>
            <a:ext cx="226902" cy="1975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cxnSp>
        <p:nvCxnSpPr>
          <p:cNvPr id="104" name="Verbinder: gewinkelt 75">
            <a:extLst>
              <a:ext uri="{FF2B5EF4-FFF2-40B4-BE49-F238E27FC236}">
                <a16:creationId xmlns:a16="http://schemas.microsoft.com/office/drawing/2014/main" id="{84EF3312-E097-48ED-8CCF-9DCC1EC075FE}"/>
              </a:ext>
            </a:extLst>
          </p:cNvPr>
          <p:cNvCxnSpPr>
            <a:cxnSpLocks/>
            <a:stCxn id="103" idx="1"/>
            <a:endCxn id="102" idx="4"/>
          </p:cNvCxnSpPr>
          <p:nvPr/>
        </p:nvCxnSpPr>
        <p:spPr>
          <a:xfrm rot="10800000">
            <a:off x="1653310" y="4030940"/>
            <a:ext cx="7999813" cy="216931"/>
          </a:xfrm>
          <a:prstGeom prst="bentConnector2">
            <a:avLst/>
          </a:prstGeom>
          <a:solidFill>
            <a:schemeClr val="accent1"/>
          </a:solidFill>
          <a:ln w="19050" cap="flat" cmpd="sng" algn="ctr">
            <a:solidFill>
              <a:schemeClr val="accent6"/>
            </a:solidFill>
            <a:prstDash val="solid"/>
            <a:round/>
            <a:headEnd type="none" w="med" len="med"/>
            <a:tailEnd type="oval" w="lg" len="lg"/>
          </a:ln>
          <a:effectLst/>
        </p:spPr>
      </p:cxnSp>
      <p:sp>
        <p:nvSpPr>
          <p:cNvPr id="105" name="Content Placeholder 2">
            <a:extLst>
              <a:ext uri="{FF2B5EF4-FFF2-40B4-BE49-F238E27FC236}">
                <a16:creationId xmlns:a16="http://schemas.microsoft.com/office/drawing/2014/main" id="{F66644B4-FFA5-4EFC-AF58-C95BA14187DA}"/>
              </a:ext>
            </a:extLst>
          </p:cNvPr>
          <p:cNvSpPr txBox="1">
            <a:spLocks/>
          </p:cNvSpPr>
          <p:nvPr/>
        </p:nvSpPr>
        <p:spPr>
          <a:xfrm>
            <a:off x="7166998" y="1628916"/>
            <a:ext cx="2315427" cy="2262158"/>
          </a:xfrm>
          <a:prstGeom prst="rect">
            <a:avLst/>
          </a:prstGeom>
        </p:spPr>
        <p:txBody>
          <a:bodyPr wrap="square"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Qualifizierung</a:t>
            </a:r>
          </a:p>
          <a:p>
            <a:pPr marL="1587" lvl="1" indent="0">
              <a:spcAft>
                <a:spcPts val="600"/>
              </a:spcAft>
              <a:buNone/>
            </a:pPr>
            <a:r>
              <a:rPr lang="de-DE" sz="1000" dirty="0"/>
              <a:t>Change Management Heidger Consulting</a:t>
            </a:r>
          </a:p>
          <a:p>
            <a:pPr marL="1587" lvl="1" indent="0">
              <a:spcAft>
                <a:spcPts val="600"/>
              </a:spcAft>
              <a:buNone/>
            </a:pPr>
            <a:r>
              <a:rPr lang="de-DE" sz="1000" dirty="0"/>
              <a:t>Ausbildung Social Corporate Responsibility (Prädikatsabschluss)</a:t>
            </a:r>
          </a:p>
          <a:p>
            <a:pPr marL="1587" lvl="1" indent="0">
              <a:spcAft>
                <a:spcPts val="600"/>
              </a:spcAft>
              <a:buNone/>
            </a:pPr>
            <a:r>
              <a:rPr lang="de-DE" sz="1000" dirty="0"/>
              <a:t>Zertifizierung im psychometrischen Testverfahren INSIGHTS, Scheelen Institut</a:t>
            </a:r>
          </a:p>
          <a:p>
            <a:pPr marL="1587" lvl="1" indent="0">
              <a:spcAft>
                <a:spcPts val="600"/>
              </a:spcAft>
              <a:buNone/>
            </a:pPr>
            <a:r>
              <a:rPr lang="de-DE" sz="1000" dirty="0"/>
              <a:t>NLP-Master bei Thies Stahl</a:t>
            </a:r>
          </a:p>
          <a:p>
            <a:pPr marL="1587" lvl="1" indent="0">
              <a:spcAft>
                <a:spcPts val="600"/>
              </a:spcAft>
              <a:buNone/>
            </a:pPr>
            <a:r>
              <a:rPr lang="de-DE" sz="1000" dirty="0"/>
              <a:t>Moderations- und Rhetorik-ausbildung bei Rolf Mohr</a:t>
            </a:r>
          </a:p>
          <a:p>
            <a:pPr marL="1587" lvl="1" indent="0">
              <a:spcAft>
                <a:spcPts val="600"/>
              </a:spcAft>
              <a:buNone/>
            </a:pPr>
            <a:r>
              <a:rPr lang="de-DE" sz="1000" dirty="0"/>
              <a:t>Magister in Germanistik und Politik</a:t>
            </a:r>
          </a:p>
          <a:p>
            <a:pPr marL="1587" lvl="1" indent="0">
              <a:spcAft>
                <a:spcPts val="600"/>
              </a:spcAft>
              <a:buNone/>
            </a:pPr>
            <a:endParaRPr lang="de-DE" sz="1000" dirty="0"/>
          </a:p>
        </p:txBody>
      </p:sp>
      <p:sp>
        <p:nvSpPr>
          <p:cNvPr id="106" name="Content Placeholder 2">
            <a:extLst>
              <a:ext uri="{FF2B5EF4-FFF2-40B4-BE49-F238E27FC236}">
                <a16:creationId xmlns:a16="http://schemas.microsoft.com/office/drawing/2014/main" id="{7F145DC7-F2D1-435D-B4AE-902826B44673}"/>
              </a:ext>
            </a:extLst>
          </p:cNvPr>
          <p:cNvSpPr txBox="1">
            <a:spLocks/>
          </p:cNvSpPr>
          <p:nvPr/>
        </p:nvSpPr>
        <p:spPr>
          <a:xfrm>
            <a:off x="5094363" y="1628915"/>
            <a:ext cx="1904626" cy="2492990"/>
          </a:xfrm>
          <a:prstGeom prst="rect">
            <a:avLst/>
          </a:prstGeom>
        </p:spPr>
        <p:txBody>
          <a:bodyPr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Berufserfahrung</a:t>
            </a:r>
          </a:p>
          <a:p>
            <a:pPr marL="1587" lvl="1" indent="0">
              <a:spcAft>
                <a:spcPts val="600"/>
              </a:spcAft>
              <a:buNone/>
            </a:pPr>
            <a:r>
              <a:rPr lang="de-DE" sz="1000" dirty="0"/>
              <a:t>Seit 2012 Mandate als Aufsichtsrat (aktuell Datron AG)</a:t>
            </a:r>
          </a:p>
          <a:p>
            <a:pPr marL="1587" lvl="1" indent="0">
              <a:spcAft>
                <a:spcPts val="600"/>
              </a:spcAft>
              <a:buNone/>
            </a:pPr>
            <a:r>
              <a:rPr lang="de-DE" sz="1000" dirty="0"/>
              <a:t>Seit 2011 Prüfer Corporate Social Responsibility </a:t>
            </a:r>
          </a:p>
          <a:p>
            <a:pPr marL="1587" lvl="1" indent="0">
              <a:spcAft>
                <a:spcPts val="600"/>
              </a:spcAft>
              <a:buNone/>
            </a:pPr>
            <a:r>
              <a:rPr lang="de-DE" sz="1000" dirty="0"/>
              <a:t>Seit 2007 Referent &amp; Speaker für Change Management </a:t>
            </a:r>
          </a:p>
          <a:p>
            <a:pPr marL="1587" lvl="1" indent="0">
              <a:spcAft>
                <a:spcPts val="600"/>
              </a:spcAft>
              <a:buNone/>
            </a:pPr>
            <a:r>
              <a:rPr lang="de-DE" sz="1000" dirty="0"/>
              <a:t>Seit 2002 selbständiger Change Management Berater</a:t>
            </a:r>
          </a:p>
          <a:p>
            <a:pPr marL="1587" lvl="1" indent="0">
              <a:spcAft>
                <a:spcPts val="600"/>
              </a:spcAft>
              <a:buNone/>
            </a:pPr>
            <a:r>
              <a:rPr lang="de-DE" sz="1000" dirty="0"/>
              <a:t>2 Jahre Consultant in internationaler Unternehmensberatung</a:t>
            </a:r>
          </a:p>
          <a:p>
            <a:pPr marL="1587" lvl="1" indent="0">
              <a:spcAft>
                <a:spcPts val="600"/>
              </a:spcAft>
              <a:buNone/>
            </a:pPr>
            <a:r>
              <a:rPr lang="de-DE" sz="1000" dirty="0"/>
              <a:t>4 Jahre Banking/Investmentberatung - internationale Einsätze</a:t>
            </a:r>
          </a:p>
        </p:txBody>
      </p:sp>
      <p:sp>
        <p:nvSpPr>
          <p:cNvPr id="107" name="Content Placeholder 2">
            <a:extLst>
              <a:ext uri="{FF2B5EF4-FFF2-40B4-BE49-F238E27FC236}">
                <a16:creationId xmlns:a16="http://schemas.microsoft.com/office/drawing/2014/main" id="{E3EF6BFE-4487-40B8-9DC4-47D415F2EC03}"/>
              </a:ext>
            </a:extLst>
          </p:cNvPr>
          <p:cNvSpPr txBox="1">
            <a:spLocks/>
          </p:cNvSpPr>
          <p:nvPr/>
        </p:nvSpPr>
        <p:spPr>
          <a:xfrm>
            <a:off x="3021490" y="1628916"/>
            <a:ext cx="1904865" cy="1646605"/>
          </a:xfrm>
          <a:prstGeom prst="rect">
            <a:avLst/>
          </a:prstGeom>
        </p:spPr>
        <p:txBody>
          <a:bodyPr wrap="square"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Kernkompetenzen</a:t>
            </a:r>
          </a:p>
          <a:p>
            <a:pPr marL="1587" lvl="1" indent="0">
              <a:spcAft>
                <a:spcPts val="600"/>
              </a:spcAft>
              <a:buNone/>
            </a:pPr>
            <a:r>
              <a:rPr lang="de-DE" sz="1000" dirty="0"/>
              <a:t>Change Management und Strategie Beratung</a:t>
            </a:r>
          </a:p>
          <a:p>
            <a:pPr marL="1587" lvl="1" indent="0">
              <a:spcAft>
                <a:spcPts val="600"/>
              </a:spcAft>
              <a:buNone/>
            </a:pPr>
            <a:r>
              <a:rPr lang="de-DE" sz="1000" dirty="0"/>
              <a:t>Projektleitung komplexer Change Projekte</a:t>
            </a:r>
          </a:p>
          <a:p>
            <a:pPr marL="1587" lvl="1" indent="0">
              <a:spcAft>
                <a:spcPts val="600"/>
              </a:spcAft>
              <a:buNone/>
            </a:pPr>
            <a:r>
              <a:rPr lang="de-DE" sz="1000" dirty="0"/>
              <a:t>Sparringspartner für Top-Management</a:t>
            </a:r>
          </a:p>
          <a:p>
            <a:pPr marL="1587" lvl="1" indent="0">
              <a:spcAft>
                <a:spcPts val="600"/>
              </a:spcAft>
              <a:buNone/>
            </a:pPr>
            <a:r>
              <a:rPr lang="de-DE" sz="1000" dirty="0"/>
              <a:t>Mittelstandsberatung</a:t>
            </a:r>
          </a:p>
          <a:p>
            <a:pPr marL="1587" lvl="1" indent="0">
              <a:spcAft>
                <a:spcPts val="600"/>
              </a:spcAft>
              <a:buNone/>
            </a:pPr>
            <a:r>
              <a:rPr lang="de-DE" sz="1000" dirty="0"/>
              <a:t>Internationale Moderation</a:t>
            </a:r>
          </a:p>
        </p:txBody>
      </p:sp>
      <p:sp>
        <p:nvSpPr>
          <p:cNvPr id="109" name="Rechteck 108">
            <a:extLst>
              <a:ext uri="{FF2B5EF4-FFF2-40B4-BE49-F238E27FC236}">
                <a16:creationId xmlns:a16="http://schemas.microsoft.com/office/drawing/2014/main" id="{4C1B3B3B-13D4-4EEF-A420-7D1AEA017407}"/>
              </a:ext>
            </a:extLst>
          </p:cNvPr>
          <p:cNvSpPr/>
          <p:nvPr/>
        </p:nvSpPr>
        <p:spPr>
          <a:xfrm>
            <a:off x="272480" y="5774784"/>
            <a:ext cx="2945085" cy="307777"/>
          </a:xfrm>
          <a:prstGeom prst="rect">
            <a:avLst/>
          </a:prstGeom>
        </p:spPr>
        <p:txBody>
          <a:bodyPr wrap="square" lIns="0" tIns="0" rIns="0" bIns="0" anchor="t" anchorCtr="0">
            <a:spAutoFit/>
          </a:bodyPr>
          <a:lstStyle/>
          <a:p>
            <a:pPr marL="1587" lvl="1" defTabSz="952524" eaLnBrk="0" fontAlgn="base" hangingPunct="0">
              <a:buClr>
                <a:srgbClr val="F36634"/>
              </a:buClr>
            </a:pPr>
            <a:r>
              <a:rPr lang="de-DE" sz="1000" dirty="0">
                <a:ea typeface="ＭＳ Ｐゴシック" pitchFamily="-110" charset="-128"/>
              </a:rPr>
              <a:t>„Farid El-Nomany ist ein klarer, humorvoller und stets lösungsorientierter Sparrings-Partner auf Augenhöhe.“</a:t>
            </a:r>
          </a:p>
        </p:txBody>
      </p:sp>
      <p:sp>
        <p:nvSpPr>
          <p:cNvPr id="111" name="Rechteck 110">
            <a:extLst>
              <a:ext uri="{FF2B5EF4-FFF2-40B4-BE49-F238E27FC236}">
                <a16:creationId xmlns:a16="http://schemas.microsoft.com/office/drawing/2014/main" id="{FF5DB852-B83C-40A5-BE52-BEE362F31E0B}"/>
              </a:ext>
            </a:extLst>
          </p:cNvPr>
          <p:cNvSpPr/>
          <p:nvPr/>
        </p:nvSpPr>
        <p:spPr bwMode="gray">
          <a:xfrm>
            <a:off x="5653216" y="5020888"/>
            <a:ext cx="1892072"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Leidenschaft</a:t>
            </a:r>
          </a:p>
        </p:txBody>
      </p:sp>
      <p:sp>
        <p:nvSpPr>
          <p:cNvPr id="112" name="Rechteck 111">
            <a:extLst>
              <a:ext uri="{FF2B5EF4-FFF2-40B4-BE49-F238E27FC236}">
                <a16:creationId xmlns:a16="http://schemas.microsoft.com/office/drawing/2014/main" id="{B79C33FF-6F01-4B56-855F-E731047A6981}"/>
              </a:ext>
            </a:extLst>
          </p:cNvPr>
          <p:cNvSpPr/>
          <p:nvPr/>
        </p:nvSpPr>
        <p:spPr bwMode="gray">
          <a:xfrm>
            <a:off x="3584848" y="5297888"/>
            <a:ext cx="1944216" cy="728849"/>
          </a:xfrm>
          <a:prstGeom prst="rect">
            <a:avLst/>
          </a:prstGeom>
          <a:noFill/>
          <a:ln w="25400" cap="flat" cmpd="sng" algn="ctr">
            <a:noFill/>
            <a:prstDash val="solid"/>
          </a:ln>
          <a:effectLst/>
        </p:spPr>
        <p:txBody>
          <a:bodyPr wrap="square" lIns="0" tIns="36000" rIns="0" bIns="0" rtlCol="0" anchor="t" anchorCtr="0">
            <a:spAutoFit/>
          </a:bodyPr>
          <a:lstStyle/>
          <a:p>
            <a:pPr marL="0" lvl="1" indent="1588">
              <a:spcAft>
                <a:spcPts val="300"/>
              </a:spcAft>
            </a:pPr>
            <a:r>
              <a:rPr lang="de-DE" sz="1000" dirty="0"/>
              <a:t>Gründer und Geschäftsführer Carina und Farid El-Nomany GbR</a:t>
            </a:r>
          </a:p>
          <a:p>
            <a:pPr marL="0" lvl="1" indent="1588">
              <a:spcAft>
                <a:spcPts val="300"/>
              </a:spcAft>
            </a:pPr>
            <a:r>
              <a:rPr lang="de-DE" sz="1000" dirty="0"/>
              <a:t>Aufsichtsrat der GO-Mainz (2012 – 2014)</a:t>
            </a:r>
          </a:p>
          <a:p>
            <a:pPr marL="0" lvl="1" indent="1588">
              <a:spcAft>
                <a:spcPts val="300"/>
              </a:spcAft>
            </a:pPr>
            <a:r>
              <a:rPr lang="de-DE" sz="1000" dirty="0"/>
              <a:t>Aufsichtsrat der Datron AG (seit 2015)</a:t>
            </a:r>
          </a:p>
        </p:txBody>
      </p:sp>
      <p:sp>
        <p:nvSpPr>
          <p:cNvPr id="113" name="Rechteck 112">
            <a:extLst>
              <a:ext uri="{FF2B5EF4-FFF2-40B4-BE49-F238E27FC236}">
                <a16:creationId xmlns:a16="http://schemas.microsoft.com/office/drawing/2014/main" id="{83873EA3-1926-40D8-A6E0-CF890BBA9E14}"/>
              </a:ext>
            </a:extLst>
          </p:cNvPr>
          <p:cNvSpPr/>
          <p:nvPr/>
        </p:nvSpPr>
        <p:spPr bwMode="gray">
          <a:xfrm>
            <a:off x="5653216" y="5297888"/>
            <a:ext cx="1892072" cy="805793"/>
          </a:xfrm>
          <a:prstGeom prst="rect">
            <a:avLst/>
          </a:prstGeom>
          <a:noFill/>
          <a:ln w="25400" cap="flat" cmpd="sng" algn="ctr">
            <a:noFill/>
            <a:prstDash val="solid"/>
          </a:ln>
          <a:effectLst/>
        </p:spPr>
        <p:txBody>
          <a:bodyPr wrap="square" lIns="0" tIns="36000" rIns="0" bIns="0" rtlCol="0" anchor="t" anchorCtr="0">
            <a:spAutoFit/>
          </a:bodyPr>
          <a:lstStyle/>
          <a:p>
            <a:pPr marL="1588" lvl="1" defTabSz="952524" eaLnBrk="0" hangingPunct="0">
              <a:buClr>
                <a:srgbClr val="F36634"/>
              </a:buClr>
              <a:defRPr/>
            </a:pPr>
            <a:r>
              <a:rPr lang="de-DE" sz="1000" dirty="0"/>
              <a:t>„Meinen Beitrag dazu in bewusster Verantwortung zu leisten, die Welt ein Stück besser zu machen: „Den </a:t>
            </a:r>
            <a:r>
              <a:rPr lang="de-DE" sz="1000" spc="-20" dirty="0"/>
              <a:t>Gebrauch der Kräfte, die man hat, ist man denen schuldig</a:t>
            </a:r>
            <a:r>
              <a:rPr lang="de-DE" sz="1000" dirty="0"/>
              <a:t>, die sie nicht haben.“</a:t>
            </a:r>
          </a:p>
        </p:txBody>
      </p:sp>
      <p:sp>
        <p:nvSpPr>
          <p:cNvPr id="114" name="Rechteck 113">
            <a:extLst>
              <a:ext uri="{FF2B5EF4-FFF2-40B4-BE49-F238E27FC236}">
                <a16:creationId xmlns:a16="http://schemas.microsoft.com/office/drawing/2014/main" id="{ABF536E6-A72C-4CD4-AC80-3EFA31D02D23}"/>
              </a:ext>
            </a:extLst>
          </p:cNvPr>
          <p:cNvSpPr/>
          <p:nvPr/>
        </p:nvSpPr>
        <p:spPr bwMode="gray">
          <a:xfrm>
            <a:off x="272481" y="5020888"/>
            <a:ext cx="662457" cy="276999"/>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Jahrgang</a:t>
            </a:r>
          </a:p>
        </p:txBody>
      </p:sp>
      <p:sp>
        <p:nvSpPr>
          <p:cNvPr id="115" name="Rechteck 114">
            <a:extLst>
              <a:ext uri="{FF2B5EF4-FFF2-40B4-BE49-F238E27FC236}">
                <a16:creationId xmlns:a16="http://schemas.microsoft.com/office/drawing/2014/main" id="{D118A5F8-A495-401C-B97B-35BDEB2F7906}"/>
              </a:ext>
            </a:extLst>
          </p:cNvPr>
          <p:cNvSpPr/>
          <p:nvPr/>
        </p:nvSpPr>
        <p:spPr bwMode="gray">
          <a:xfrm>
            <a:off x="1794235" y="4836223"/>
            <a:ext cx="662457" cy="461665"/>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Berufs-jahre</a:t>
            </a:r>
          </a:p>
        </p:txBody>
      </p:sp>
      <p:sp>
        <p:nvSpPr>
          <p:cNvPr id="116" name="Rechteck 115">
            <a:extLst>
              <a:ext uri="{FF2B5EF4-FFF2-40B4-BE49-F238E27FC236}">
                <a16:creationId xmlns:a16="http://schemas.microsoft.com/office/drawing/2014/main" id="{9687551F-5E17-4C23-B86B-87C4EAC3336D}"/>
              </a:ext>
            </a:extLst>
          </p:cNvPr>
          <p:cNvSpPr/>
          <p:nvPr/>
        </p:nvSpPr>
        <p:spPr bwMode="gray">
          <a:xfrm>
            <a:off x="2555114" y="5020888"/>
            <a:ext cx="662457"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Interessen</a:t>
            </a:r>
          </a:p>
        </p:txBody>
      </p:sp>
      <p:sp>
        <p:nvSpPr>
          <p:cNvPr id="117" name="Rechteck 116">
            <a:extLst>
              <a:ext uri="{FF2B5EF4-FFF2-40B4-BE49-F238E27FC236}">
                <a16:creationId xmlns:a16="http://schemas.microsoft.com/office/drawing/2014/main" id="{85E5E730-69E2-4A0D-A9D3-21610DE57DFF}"/>
              </a:ext>
            </a:extLst>
          </p:cNvPr>
          <p:cNvSpPr/>
          <p:nvPr/>
        </p:nvSpPr>
        <p:spPr bwMode="gray">
          <a:xfrm>
            <a:off x="1033358" y="4836223"/>
            <a:ext cx="662457" cy="461665"/>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Privat-leben</a:t>
            </a:r>
          </a:p>
        </p:txBody>
      </p:sp>
      <p:sp>
        <p:nvSpPr>
          <p:cNvPr id="118" name="Rechteck 117">
            <a:extLst>
              <a:ext uri="{FF2B5EF4-FFF2-40B4-BE49-F238E27FC236}">
                <a16:creationId xmlns:a16="http://schemas.microsoft.com/office/drawing/2014/main" id="{C4696CB3-BB31-4F8A-A976-FDD6FCFF96C6}"/>
              </a:ext>
            </a:extLst>
          </p:cNvPr>
          <p:cNvSpPr/>
          <p:nvPr/>
        </p:nvSpPr>
        <p:spPr bwMode="gray">
          <a:xfrm>
            <a:off x="1827809" y="5297887"/>
            <a:ext cx="595309" cy="190240"/>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21</a:t>
            </a:r>
          </a:p>
        </p:txBody>
      </p:sp>
      <p:sp>
        <p:nvSpPr>
          <p:cNvPr id="119" name="Rechteck 118">
            <a:extLst>
              <a:ext uri="{FF2B5EF4-FFF2-40B4-BE49-F238E27FC236}">
                <a16:creationId xmlns:a16="http://schemas.microsoft.com/office/drawing/2014/main" id="{CD0E8784-89D1-42F9-87D0-62BC1F6F95A2}"/>
              </a:ext>
            </a:extLst>
          </p:cNvPr>
          <p:cNvSpPr/>
          <p:nvPr/>
        </p:nvSpPr>
        <p:spPr bwMode="gray">
          <a:xfrm>
            <a:off x="2546390" y="5297888"/>
            <a:ext cx="894442" cy="344128"/>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Joggen, Angeln, Vereinte Nationen</a:t>
            </a:r>
          </a:p>
        </p:txBody>
      </p:sp>
      <p:sp>
        <p:nvSpPr>
          <p:cNvPr id="120" name="Rechteck 119">
            <a:extLst>
              <a:ext uri="{FF2B5EF4-FFF2-40B4-BE49-F238E27FC236}">
                <a16:creationId xmlns:a16="http://schemas.microsoft.com/office/drawing/2014/main" id="{F27CD4F4-F4E9-483B-BE02-40644E28156A}"/>
              </a:ext>
            </a:extLst>
          </p:cNvPr>
          <p:cNvSpPr/>
          <p:nvPr/>
        </p:nvSpPr>
        <p:spPr bwMode="gray">
          <a:xfrm>
            <a:off x="1078585" y="5297887"/>
            <a:ext cx="572003" cy="344128"/>
          </a:xfrm>
          <a:prstGeom prst="rect">
            <a:avLst/>
          </a:prstGeom>
        </p:spPr>
        <p:txBody>
          <a:bodyPr wrap="square" lIns="0" tIns="36000" rIns="0" bIns="0">
            <a:spAutoFit/>
          </a:bodyPr>
          <a:lstStyle/>
          <a:p>
            <a:pPr marL="1587" lvl="1" algn="ctr" defTabSz="952524" eaLnBrk="0" fontAlgn="base" hangingPunct="0">
              <a:buClr>
                <a:srgbClr val="F36634"/>
              </a:buClr>
              <a:defRPr/>
            </a:pPr>
            <a:r>
              <a:rPr lang="de-DE" sz="1000" dirty="0">
                <a:ea typeface="ＭＳ Ｐゴシック" pitchFamily="-110" charset="-128"/>
              </a:rPr>
              <a:t>Verheiratet, </a:t>
            </a:r>
            <a:br>
              <a:rPr lang="de-DE" sz="1000" dirty="0">
                <a:ea typeface="ＭＳ Ｐゴシック" pitchFamily="-110" charset="-128"/>
              </a:rPr>
            </a:br>
            <a:r>
              <a:rPr lang="de-DE" sz="1000" dirty="0">
                <a:ea typeface="ＭＳ Ｐゴシック" pitchFamily="-110" charset="-128"/>
              </a:rPr>
              <a:t>3 Kinder</a:t>
            </a:r>
          </a:p>
        </p:txBody>
      </p:sp>
      <p:sp>
        <p:nvSpPr>
          <p:cNvPr id="121" name="Rechteck 120">
            <a:extLst>
              <a:ext uri="{FF2B5EF4-FFF2-40B4-BE49-F238E27FC236}">
                <a16:creationId xmlns:a16="http://schemas.microsoft.com/office/drawing/2014/main" id="{A2BF74DF-E5E0-419E-8CFD-DDBAE161A7D3}"/>
              </a:ext>
            </a:extLst>
          </p:cNvPr>
          <p:cNvSpPr/>
          <p:nvPr/>
        </p:nvSpPr>
        <p:spPr bwMode="gray">
          <a:xfrm>
            <a:off x="387686" y="5297887"/>
            <a:ext cx="432048" cy="190240"/>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1967</a:t>
            </a:r>
          </a:p>
        </p:txBody>
      </p:sp>
      <p:grpSp>
        <p:nvGrpSpPr>
          <p:cNvPr id="122" name="Gruppieren 121">
            <a:extLst>
              <a:ext uri="{FF2B5EF4-FFF2-40B4-BE49-F238E27FC236}">
                <a16:creationId xmlns:a16="http://schemas.microsoft.com/office/drawing/2014/main" id="{29BF4DCC-0C00-44C7-B49E-2AA154A458A8}"/>
              </a:ext>
            </a:extLst>
          </p:cNvPr>
          <p:cNvGrpSpPr>
            <a:grpSpLocks noChangeAspect="1"/>
          </p:cNvGrpSpPr>
          <p:nvPr/>
        </p:nvGrpSpPr>
        <p:grpSpPr>
          <a:xfrm>
            <a:off x="460239" y="4437112"/>
            <a:ext cx="286943" cy="399112"/>
            <a:chOff x="449263" y="4216400"/>
            <a:chExt cx="349250" cy="485776"/>
          </a:xfrm>
          <a:solidFill>
            <a:schemeClr val="accent3"/>
          </a:solidFill>
        </p:grpSpPr>
        <p:sp>
          <p:nvSpPr>
            <p:cNvPr id="123" name="Freeform 18">
              <a:extLst>
                <a:ext uri="{FF2B5EF4-FFF2-40B4-BE49-F238E27FC236}">
                  <a16:creationId xmlns:a16="http://schemas.microsoft.com/office/drawing/2014/main" id="{1768073F-4340-4ABB-A6D2-651EC292A0DA}"/>
                </a:ext>
              </a:extLst>
            </p:cNvPr>
            <p:cNvSpPr>
              <a:spLocks noEditPoints="1"/>
            </p:cNvSpPr>
            <p:nvPr/>
          </p:nvSpPr>
          <p:spPr bwMode="auto">
            <a:xfrm>
              <a:off x="449263" y="4303713"/>
              <a:ext cx="349250" cy="398463"/>
            </a:xfrm>
            <a:custGeom>
              <a:avLst/>
              <a:gdLst>
                <a:gd name="T0" fmla="*/ 1194 w 1350"/>
                <a:gd name="T1" fmla="*/ 739 h 1545"/>
                <a:gd name="T2" fmla="*/ 1004 w 1350"/>
                <a:gd name="T3" fmla="*/ 463 h 1545"/>
                <a:gd name="T4" fmla="*/ 785 w 1350"/>
                <a:gd name="T5" fmla="*/ 190 h 1545"/>
                <a:gd name="T6" fmla="*/ 705 w 1350"/>
                <a:gd name="T7" fmla="*/ 120 h 1545"/>
                <a:gd name="T8" fmla="*/ 675 w 1350"/>
                <a:gd name="T9" fmla="*/ 0 h 1545"/>
                <a:gd name="T10" fmla="*/ 645 w 1350"/>
                <a:gd name="T11" fmla="*/ 120 h 1545"/>
                <a:gd name="T12" fmla="*/ 565 w 1350"/>
                <a:gd name="T13" fmla="*/ 190 h 1545"/>
                <a:gd name="T14" fmla="*/ 346 w 1350"/>
                <a:gd name="T15" fmla="*/ 463 h 1545"/>
                <a:gd name="T16" fmla="*/ 156 w 1350"/>
                <a:gd name="T17" fmla="*/ 739 h 1545"/>
                <a:gd name="T18" fmla="*/ 97 w 1350"/>
                <a:gd name="T19" fmla="*/ 1055 h 1545"/>
                <a:gd name="T20" fmla="*/ 241 w 1350"/>
                <a:gd name="T21" fmla="*/ 1545 h 1545"/>
                <a:gd name="T22" fmla="*/ 1138 w 1350"/>
                <a:gd name="T23" fmla="*/ 1522 h 1545"/>
                <a:gd name="T24" fmla="*/ 1350 w 1350"/>
                <a:gd name="T25" fmla="*/ 936 h 1545"/>
                <a:gd name="T26" fmla="*/ 635 w 1350"/>
                <a:gd name="T27" fmla="*/ 180 h 1545"/>
                <a:gd name="T28" fmla="*/ 725 w 1350"/>
                <a:gd name="T29" fmla="*/ 190 h 1545"/>
                <a:gd name="T30" fmla="*/ 625 w 1350"/>
                <a:gd name="T31" fmla="*/ 463 h 1545"/>
                <a:gd name="T32" fmla="*/ 1085 w 1350"/>
                <a:gd name="T33" fmla="*/ 1485 h 1545"/>
                <a:gd name="T34" fmla="*/ 160 w 1350"/>
                <a:gd name="T35" fmla="*/ 1058 h 1545"/>
                <a:gd name="T36" fmla="*/ 367 w 1350"/>
                <a:gd name="T37" fmla="*/ 1399 h 1545"/>
                <a:gd name="T38" fmla="*/ 401 w 1350"/>
                <a:gd name="T39" fmla="*/ 1425 h 1545"/>
                <a:gd name="T40" fmla="*/ 378 w 1350"/>
                <a:gd name="T41" fmla="*/ 1058 h 1545"/>
                <a:gd name="T42" fmla="*/ 552 w 1350"/>
                <a:gd name="T43" fmla="*/ 1396 h 1545"/>
                <a:gd name="T44" fmla="*/ 584 w 1350"/>
                <a:gd name="T45" fmla="*/ 1425 h 1545"/>
                <a:gd name="T46" fmla="*/ 596 w 1350"/>
                <a:gd name="T47" fmla="*/ 1058 h 1545"/>
                <a:gd name="T48" fmla="*/ 738 w 1350"/>
                <a:gd name="T49" fmla="*/ 1394 h 1545"/>
                <a:gd name="T50" fmla="*/ 768 w 1350"/>
                <a:gd name="T51" fmla="*/ 1425 h 1545"/>
                <a:gd name="T52" fmla="*/ 814 w 1350"/>
                <a:gd name="T53" fmla="*/ 1058 h 1545"/>
                <a:gd name="T54" fmla="*/ 923 w 1350"/>
                <a:gd name="T55" fmla="*/ 1391 h 1545"/>
                <a:gd name="T56" fmla="*/ 953 w 1350"/>
                <a:gd name="T57" fmla="*/ 1425 h 1545"/>
                <a:gd name="T58" fmla="*/ 1033 w 1350"/>
                <a:gd name="T59" fmla="*/ 1058 h 1545"/>
                <a:gd name="T60" fmla="*/ 1085 w 1350"/>
                <a:gd name="T61" fmla="*/ 1485 h 1545"/>
                <a:gd name="T62" fmla="*/ 121 w 1350"/>
                <a:gd name="T63" fmla="*/ 998 h 1545"/>
                <a:gd name="T64" fmla="*/ 203 w 1350"/>
                <a:gd name="T65" fmla="*/ 793 h 1545"/>
                <a:gd name="T66" fmla="*/ 228 w 1350"/>
                <a:gd name="T67" fmla="*/ 746 h 1545"/>
                <a:gd name="T68" fmla="*/ 346 w 1350"/>
                <a:gd name="T69" fmla="*/ 523 h 1545"/>
                <a:gd name="T70" fmla="*/ 1147 w 1350"/>
                <a:gd name="T71" fmla="*/ 666 h 1545"/>
                <a:gd name="T72" fmla="*/ 323 w 1350"/>
                <a:gd name="T73" fmla="*/ 733 h 1545"/>
                <a:gd name="T74" fmla="*/ 323 w 1350"/>
                <a:gd name="T75" fmla="*/ 793 h 1545"/>
                <a:gd name="T76" fmla="*/ 1290 w 1350"/>
                <a:gd name="T77" fmla="*/ 936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0" h="1545">
                  <a:moveTo>
                    <a:pt x="1350" y="936"/>
                  </a:moveTo>
                  <a:cubicBezTo>
                    <a:pt x="1350" y="840"/>
                    <a:pt x="1283" y="760"/>
                    <a:pt x="1194" y="739"/>
                  </a:cubicBezTo>
                  <a:cubicBezTo>
                    <a:pt x="1203" y="716"/>
                    <a:pt x="1207" y="691"/>
                    <a:pt x="1207" y="666"/>
                  </a:cubicBezTo>
                  <a:cubicBezTo>
                    <a:pt x="1207" y="554"/>
                    <a:pt x="1116" y="463"/>
                    <a:pt x="1004" y="463"/>
                  </a:cubicBezTo>
                  <a:cubicBezTo>
                    <a:pt x="785" y="463"/>
                    <a:pt x="785" y="463"/>
                    <a:pt x="785" y="463"/>
                  </a:cubicBezTo>
                  <a:cubicBezTo>
                    <a:pt x="785" y="190"/>
                    <a:pt x="785" y="190"/>
                    <a:pt x="785" y="190"/>
                  </a:cubicBezTo>
                  <a:cubicBezTo>
                    <a:pt x="785" y="152"/>
                    <a:pt x="754" y="120"/>
                    <a:pt x="715" y="120"/>
                  </a:cubicBezTo>
                  <a:cubicBezTo>
                    <a:pt x="705" y="120"/>
                    <a:pt x="705" y="120"/>
                    <a:pt x="705" y="120"/>
                  </a:cubicBezTo>
                  <a:cubicBezTo>
                    <a:pt x="705" y="30"/>
                    <a:pt x="705" y="30"/>
                    <a:pt x="705" y="30"/>
                  </a:cubicBezTo>
                  <a:cubicBezTo>
                    <a:pt x="705" y="14"/>
                    <a:pt x="692" y="0"/>
                    <a:pt x="675" y="0"/>
                  </a:cubicBezTo>
                  <a:cubicBezTo>
                    <a:pt x="658" y="0"/>
                    <a:pt x="645" y="14"/>
                    <a:pt x="645" y="30"/>
                  </a:cubicBezTo>
                  <a:cubicBezTo>
                    <a:pt x="645" y="120"/>
                    <a:pt x="645" y="120"/>
                    <a:pt x="645" y="120"/>
                  </a:cubicBezTo>
                  <a:cubicBezTo>
                    <a:pt x="635" y="120"/>
                    <a:pt x="635" y="120"/>
                    <a:pt x="635" y="120"/>
                  </a:cubicBezTo>
                  <a:cubicBezTo>
                    <a:pt x="596" y="120"/>
                    <a:pt x="565" y="152"/>
                    <a:pt x="565" y="190"/>
                  </a:cubicBezTo>
                  <a:cubicBezTo>
                    <a:pt x="565" y="463"/>
                    <a:pt x="565" y="463"/>
                    <a:pt x="565" y="463"/>
                  </a:cubicBezTo>
                  <a:cubicBezTo>
                    <a:pt x="346" y="463"/>
                    <a:pt x="346" y="463"/>
                    <a:pt x="346" y="463"/>
                  </a:cubicBezTo>
                  <a:cubicBezTo>
                    <a:pt x="234" y="463"/>
                    <a:pt x="143" y="554"/>
                    <a:pt x="143" y="666"/>
                  </a:cubicBezTo>
                  <a:cubicBezTo>
                    <a:pt x="143" y="691"/>
                    <a:pt x="148" y="716"/>
                    <a:pt x="156" y="739"/>
                  </a:cubicBezTo>
                  <a:cubicBezTo>
                    <a:pt x="67" y="760"/>
                    <a:pt x="0" y="840"/>
                    <a:pt x="0" y="936"/>
                  </a:cubicBezTo>
                  <a:cubicBezTo>
                    <a:pt x="0" y="995"/>
                    <a:pt x="42" y="1044"/>
                    <a:pt x="97" y="1055"/>
                  </a:cubicBezTo>
                  <a:cubicBezTo>
                    <a:pt x="212" y="1522"/>
                    <a:pt x="212" y="1522"/>
                    <a:pt x="212" y="1522"/>
                  </a:cubicBezTo>
                  <a:cubicBezTo>
                    <a:pt x="216" y="1536"/>
                    <a:pt x="228" y="1545"/>
                    <a:pt x="241" y="1545"/>
                  </a:cubicBezTo>
                  <a:cubicBezTo>
                    <a:pt x="1109" y="1545"/>
                    <a:pt x="1109" y="1545"/>
                    <a:pt x="1109" y="1545"/>
                  </a:cubicBezTo>
                  <a:cubicBezTo>
                    <a:pt x="1122" y="1545"/>
                    <a:pt x="1135" y="1536"/>
                    <a:pt x="1138" y="1522"/>
                  </a:cubicBezTo>
                  <a:cubicBezTo>
                    <a:pt x="1253" y="1055"/>
                    <a:pt x="1253" y="1055"/>
                    <a:pt x="1253" y="1055"/>
                  </a:cubicBezTo>
                  <a:cubicBezTo>
                    <a:pt x="1308" y="1044"/>
                    <a:pt x="1350" y="995"/>
                    <a:pt x="1350" y="936"/>
                  </a:cubicBezTo>
                  <a:close/>
                  <a:moveTo>
                    <a:pt x="625" y="190"/>
                  </a:moveTo>
                  <a:cubicBezTo>
                    <a:pt x="625" y="185"/>
                    <a:pt x="630" y="180"/>
                    <a:pt x="635" y="180"/>
                  </a:cubicBezTo>
                  <a:cubicBezTo>
                    <a:pt x="715" y="180"/>
                    <a:pt x="715" y="180"/>
                    <a:pt x="715" y="180"/>
                  </a:cubicBezTo>
                  <a:cubicBezTo>
                    <a:pt x="720" y="180"/>
                    <a:pt x="725" y="185"/>
                    <a:pt x="725" y="190"/>
                  </a:cubicBezTo>
                  <a:cubicBezTo>
                    <a:pt x="725" y="463"/>
                    <a:pt x="725" y="463"/>
                    <a:pt x="725" y="463"/>
                  </a:cubicBezTo>
                  <a:cubicBezTo>
                    <a:pt x="625" y="463"/>
                    <a:pt x="625" y="463"/>
                    <a:pt x="625" y="463"/>
                  </a:cubicBezTo>
                  <a:lnTo>
                    <a:pt x="625" y="190"/>
                  </a:lnTo>
                  <a:close/>
                  <a:moveTo>
                    <a:pt x="1085" y="1485"/>
                  </a:moveTo>
                  <a:cubicBezTo>
                    <a:pt x="265" y="1485"/>
                    <a:pt x="265" y="1485"/>
                    <a:pt x="265" y="1485"/>
                  </a:cubicBezTo>
                  <a:cubicBezTo>
                    <a:pt x="160" y="1058"/>
                    <a:pt x="160" y="1058"/>
                    <a:pt x="160" y="1058"/>
                  </a:cubicBezTo>
                  <a:cubicBezTo>
                    <a:pt x="317" y="1058"/>
                    <a:pt x="317" y="1058"/>
                    <a:pt x="317" y="1058"/>
                  </a:cubicBezTo>
                  <a:cubicBezTo>
                    <a:pt x="367" y="1399"/>
                    <a:pt x="367" y="1399"/>
                    <a:pt x="367" y="1399"/>
                  </a:cubicBezTo>
                  <a:cubicBezTo>
                    <a:pt x="370" y="1414"/>
                    <a:pt x="382" y="1425"/>
                    <a:pt x="397" y="1425"/>
                  </a:cubicBezTo>
                  <a:cubicBezTo>
                    <a:pt x="398" y="1425"/>
                    <a:pt x="400" y="1425"/>
                    <a:pt x="401" y="1425"/>
                  </a:cubicBezTo>
                  <a:cubicBezTo>
                    <a:pt x="418" y="1422"/>
                    <a:pt x="429" y="1407"/>
                    <a:pt x="427" y="1391"/>
                  </a:cubicBezTo>
                  <a:cubicBezTo>
                    <a:pt x="378" y="1058"/>
                    <a:pt x="378" y="1058"/>
                    <a:pt x="378" y="1058"/>
                  </a:cubicBezTo>
                  <a:cubicBezTo>
                    <a:pt x="536" y="1058"/>
                    <a:pt x="536" y="1058"/>
                    <a:pt x="536" y="1058"/>
                  </a:cubicBezTo>
                  <a:cubicBezTo>
                    <a:pt x="552" y="1396"/>
                    <a:pt x="552" y="1396"/>
                    <a:pt x="552" y="1396"/>
                  </a:cubicBezTo>
                  <a:cubicBezTo>
                    <a:pt x="553" y="1413"/>
                    <a:pt x="566" y="1425"/>
                    <a:pt x="582" y="1425"/>
                  </a:cubicBezTo>
                  <a:cubicBezTo>
                    <a:pt x="583" y="1425"/>
                    <a:pt x="583" y="1425"/>
                    <a:pt x="584" y="1425"/>
                  </a:cubicBezTo>
                  <a:cubicBezTo>
                    <a:pt x="600" y="1424"/>
                    <a:pt x="613" y="1410"/>
                    <a:pt x="612" y="1394"/>
                  </a:cubicBezTo>
                  <a:cubicBezTo>
                    <a:pt x="596" y="1058"/>
                    <a:pt x="596" y="1058"/>
                    <a:pt x="596" y="1058"/>
                  </a:cubicBezTo>
                  <a:cubicBezTo>
                    <a:pt x="754" y="1058"/>
                    <a:pt x="754" y="1058"/>
                    <a:pt x="754" y="1058"/>
                  </a:cubicBezTo>
                  <a:cubicBezTo>
                    <a:pt x="738" y="1394"/>
                    <a:pt x="738" y="1394"/>
                    <a:pt x="738" y="1394"/>
                  </a:cubicBezTo>
                  <a:cubicBezTo>
                    <a:pt x="737" y="1410"/>
                    <a:pt x="750" y="1424"/>
                    <a:pt x="766" y="1425"/>
                  </a:cubicBezTo>
                  <a:cubicBezTo>
                    <a:pt x="767" y="1425"/>
                    <a:pt x="767" y="1425"/>
                    <a:pt x="768" y="1425"/>
                  </a:cubicBezTo>
                  <a:cubicBezTo>
                    <a:pt x="784" y="1425"/>
                    <a:pt x="797" y="1413"/>
                    <a:pt x="798" y="1396"/>
                  </a:cubicBezTo>
                  <a:cubicBezTo>
                    <a:pt x="814" y="1058"/>
                    <a:pt x="814" y="1058"/>
                    <a:pt x="814" y="1058"/>
                  </a:cubicBezTo>
                  <a:cubicBezTo>
                    <a:pt x="972" y="1058"/>
                    <a:pt x="972" y="1058"/>
                    <a:pt x="972" y="1058"/>
                  </a:cubicBezTo>
                  <a:cubicBezTo>
                    <a:pt x="923" y="1391"/>
                    <a:pt x="923" y="1391"/>
                    <a:pt x="923" y="1391"/>
                  </a:cubicBezTo>
                  <a:cubicBezTo>
                    <a:pt x="921" y="1407"/>
                    <a:pt x="932" y="1422"/>
                    <a:pt x="949" y="1425"/>
                  </a:cubicBezTo>
                  <a:cubicBezTo>
                    <a:pt x="950" y="1425"/>
                    <a:pt x="952" y="1425"/>
                    <a:pt x="953" y="1425"/>
                  </a:cubicBezTo>
                  <a:cubicBezTo>
                    <a:pt x="968" y="1425"/>
                    <a:pt x="980" y="1414"/>
                    <a:pt x="983" y="1399"/>
                  </a:cubicBezTo>
                  <a:cubicBezTo>
                    <a:pt x="1033" y="1058"/>
                    <a:pt x="1033" y="1058"/>
                    <a:pt x="1033" y="1058"/>
                  </a:cubicBezTo>
                  <a:cubicBezTo>
                    <a:pt x="1190" y="1058"/>
                    <a:pt x="1190" y="1058"/>
                    <a:pt x="1190" y="1058"/>
                  </a:cubicBezTo>
                  <a:cubicBezTo>
                    <a:pt x="1085" y="1485"/>
                    <a:pt x="1085" y="1485"/>
                    <a:pt x="1085" y="1485"/>
                  </a:cubicBezTo>
                  <a:close/>
                  <a:moveTo>
                    <a:pt x="1229" y="998"/>
                  </a:moveTo>
                  <a:cubicBezTo>
                    <a:pt x="121" y="998"/>
                    <a:pt x="121" y="998"/>
                    <a:pt x="121" y="998"/>
                  </a:cubicBezTo>
                  <a:cubicBezTo>
                    <a:pt x="87" y="998"/>
                    <a:pt x="60" y="970"/>
                    <a:pt x="60" y="936"/>
                  </a:cubicBezTo>
                  <a:cubicBezTo>
                    <a:pt x="60" y="857"/>
                    <a:pt x="124" y="793"/>
                    <a:pt x="203" y="793"/>
                  </a:cubicBezTo>
                  <a:cubicBezTo>
                    <a:pt x="214" y="793"/>
                    <a:pt x="224" y="787"/>
                    <a:pt x="229" y="777"/>
                  </a:cubicBezTo>
                  <a:cubicBezTo>
                    <a:pt x="235" y="767"/>
                    <a:pt x="234" y="756"/>
                    <a:pt x="228" y="746"/>
                  </a:cubicBezTo>
                  <a:cubicBezTo>
                    <a:pt x="212" y="723"/>
                    <a:pt x="203" y="695"/>
                    <a:pt x="203" y="666"/>
                  </a:cubicBezTo>
                  <a:cubicBezTo>
                    <a:pt x="203" y="587"/>
                    <a:pt x="267" y="523"/>
                    <a:pt x="346" y="523"/>
                  </a:cubicBezTo>
                  <a:cubicBezTo>
                    <a:pt x="1004" y="523"/>
                    <a:pt x="1004" y="523"/>
                    <a:pt x="1004" y="523"/>
                  </a:cubicBezTo>
                  <a:cubicBezTo>
                    <a:pt x="1083" y="523"/>
                    <a:pt x="1147" y="587"/>
                    <a:pt x="1147" y="666"/>
                  </a:cubicBezTo>
                  <a:cubicBezTo>
                    <a:pt x="1147" y="690"/>
                    <a:pt x="1141" y="713"/>
                    <a:pt x="1130" y="733"/>
                  </a:cubicBezTo>
                  <a:cubicBezTo>
                    <a:pt x="323" y="733"/>
                    <a:pt x="323" y="733"/>
                    <a:pt x="323" y="733"/>
                  </a:cubicBezTo>
                  <a:cubicBezTo>
                    <a:pt x="306" y="733"/>
                    <a:pt x="293" y="747"/>
                    <a:pt x="293" y="763"/>
                  </a:cubicBezTo>
                  <a:cubicBezTo>
                    <a:pt x="293" y="780"/>
                    <a:pt x="306" y="793"/>
                    <a:pt x="323" y="793"/>
                  </a:cubicBezTo>
                  <a:cubicBezTo>
                    <a:pt x="1147" y="793"/>
                    <a:pt x="1147" y="793"/>
                    <a:pt x="1147" y="793"/>
                  </a:cubicBezTo>
                  <a:cubicBezTo>
                    <a:pt x="1226" y="793"/>
                    <a:pt x="1290" y="857"/>
                    <a:pt x="1290" y="936"/>
                  </a:cubicBezTo>
                  <a:cubicBezTo>
                    <a:pt x="1290" y="970"/>
                    <a:pt x="1263" y="998"/>
                    <a:pt x="1229" y="9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4" name="Freeform 19">
              <a:extLst>
                <a:ext uri="{FF2B5EF4-FFF2-40B4-BE49-F238E27FC236}">
                  <a16:creationId xmlns:a16="http://schemas.microsoft.com/office/drawing/2014/main" id="{D8E40EC9-946F-4515-837B-BC5A21A90A1E}"/>
                </a:ext>
              </a:extLst>
            </p:cNvPr>
            <p:cNvSpPr>
              <a:spLocks/>
            </p:cNvSpPr>
            <p:nvPr/>
          </p:nvSpPr>
          <p:spPr bwMode="auto">
            <a:xfrm>
              <a:off x="574676" y="4216400"/>
              <a:ext cx="98425" cy="100013"/>
            </a:xfrm>
            <a:custGeom>
              <a:avLst/>
              <a:gdLst>
                <a:gd name="T0" fmla="*/ 71 w 382"/>
                <a:gd name="T1" fmla="*/ 383 h 387"/>
                <a:gd name="T2" fmla="*/ 91 w 382"/>
                <a:gd name="T3" fmla="*/ 376 h 387"/>
                <a:gd name="T4" fmla="*/ 93 w 382"/>
                <a:gd name="T5" fmla="*/ 333 h 387"/>
                <a:gd name="T6" fmla="*/ 60 w 382"/>
                <a:gd name="T7" fmla="*/ 246 h 387"/>
                <a:gd name="T8" fmla="*/ 191 w 382"/>
                <a:gd name="T9" fmla="*/ 64 h 387"/>
                <a:gd name="T10" fmla="*/ 322 w 382"/>
                <a:gd name="T11" fmla="*/ 246 h 387"/>
                <a:gd name="T12" fmla="*/ 289 w 382"/>
                <a:gd name="T13" fmla="*/ 333 h 387"/>
                <a:gd name="T14" fmla="*/ 291 w 382"/>
                <a:gd name="T15" fmla="*/ 376 h 387"/>
                <a:gd name="T16" fmla="*/ 333 w 382"/>
                <a:gd name="T17" fmla="*/ 373 h 387"/>
                <a:gd name="T18" fmla="*/ 382 w 382"/>
                <a:gd name="T19" fmla="*/ 246 h 387"/>
                <a:gd name="T20" fmla="*/ 203 w 382"/>
                <a:gd name="T21" fmla="*/ 4 h 387"/>
                <a:gd name="T22" fmla="*/ 179 w 382"/>
                <a:gd name="T23" fmla="*/ 4 h 387"/>
                <a:gd name="T24" fmla="*/ 0 w 382"/>
                <a:gd name="T25" fmla="*/ 246 h 387"/>
                <a:gd name="T26" fmla="*/ 49 w 382"/>
                <a:gd name="T27" fmla="*/ 373 h 387"/>
                <a:gd name="T28" fmla="*/ 71 w 382"/>
                <a:gd name="T29" fmla="*/ 38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2" h="387">
                  <a:moveTo>
                    <a:pt x="71" y="383"/>
                  </a:moveTo>
                  <a:cubicBezTo>
                    <a:pt x="78" y="383"/>
                    <a:pt x="85" y="381"/>
                    <a:pt x="91" y="376"/>
                  </a:cubicBezTo>
                  <a:cubicBezTo>
                    <a:pt x="103" y="365"/>
                    <a:pt x="104" y="346"/>
                    <a:pt x="93" y="333"/>
                  </a:cubicBezTo>
                  <a:cubicBezTo>
                    <a:pt x="72" y="309"/>
                    <a:pt x="60" y="278"/>
                    <a:pt x="60" y="246"/>
                  </a:cubicBezTo>
                  <a:cubicBezTo>
                    <a:pt x="60" y="176"/>
                    <a:pt x="113" y="103"/>
                    <a:pt x="191" y="64"/>
                  </a:cubicBezTo>
                  <a:cubicBezTo>
                    <a:pt x="269" y="103"/>
                    <a:pt x="322" y="176"/>
                    <a:pt x="322" y="246"/>
                  </a:cubicBezTo>
                  <a:cubicBezTo>
                    <a:pt x="322" y="278"/>
                    <a:pt x="310" y="309"/>
                    <a:pt x="289" y="333"/>
                  </a:cubicBezTo>
                  <a:cubicBezTo>
                    <a:pt x="278" y="346"/>
                    <a:pt x="279" y="365"/>
                    <a:pt x="291" y="376"/>
                  </a:cubicBezTo>
                  <a:cubicBezTo>
                    <a:pt x="303" y="387"/>
                    <a:pt x="322" y="386"/>
                    <a:pt x="333" y="373"/>
                  </a:cubicBezTo>
                  <a:cubicBezTo>
                    <a:pt x="365" y="338"/>
                    <a:pt x="382" y="293"/>
                    <a:pt x="382" y="246"/>
                  </a:cubicBezTo>
                  <a:cubicBezTo>
                    <a:pt x="382" y="149"/>
                    <a:pt x="308" y="50"/>
                    <a:pt x="203" y="4"/>
                  </a:cubicBezTo>
                  <a:cubicBezTo>
                    <a:pt x="195" y="0"/>
                    <a:pt x="187" y="0"/>
                    <a:pt x="179" y="4"/>
                  </a:cubicBezTo>
                  <a:cubicBezTo>
                    <a:pt x="74" y="50"/>
                    <a:pt x="0" y="149"/>
                    <a:pt x="0" y="246"/>
                  </a:cubicBezTo>
                  <a:cubicBezTo>
                    <a:pt x="0" y="293"/>
                    <a:pt x="17" y="338"/>
                    <a:pt x="49" y="373"/>
                  </a:cubicBezTo>
                  <a:cubicBezTo>
                    <a:pt x="55" y="380"/>
                    <a:pt x="63" y="383"/>
                    <a:pt x="71" y="3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25" name="Freeform 23">
            <a:extLst>
              <a:ext uri="{FF2B5EF4-FFF2-40B4-BE49-F238E27FC236}">
                <a16:creationId xmlns:a16="http://schemas.microsoft.com/office/drawing/2014/main" id="{0B3CA2CF-85B0-45B3-97C4-3618F5E1B457}"/>
              </a:ext>
            </a:extLst>
          </p:cNvPr>
          <p:cNvSpPr>
            <a:spLocks noChangeAspect="1" noEditPoints="1"/>
          </p:cNvSpPr>
          <p:nvPr/>
        </p:nvSpPr>
        <p:spPr bwMode="auto">
          <a:xfrm>
            <a:off x="1186696" y="4497520"/>
            <a:ext cx="355781" cy="338703"/>
          </a:xfrm>
          <a:custGeom>
            <a:avLst/>
            <a:gdLst>
              <a:gd name="T0" fmla="*/ 1846 w 2165"/>
              <a:gd name="T1" fmla="*/ 2071 h 2071"/>
              <a:gd name="T2" fmla="*/ 1307 w 2165"/>
              <a:gd name="T3" fmla="*/ 2071 h 2071"/>
              <a:gd name="T4" fmla="*/ 1262 w 2165"/>
              <a:gd name="T5" fmla="*/ 2026 h 2071"/>
              <a:gd name="T6" fmla="*/ 1262 w 2165"/>
              <a:gd name="T7" fmla="*/ 1442 h 2071"/>
              <a:gd name="T8" fmla="*/ 902 w 2165"/>
              <a:gd name="T9" fmla="*/ 1442 h 2071"/>
              <a:gd name="T10" fmla="*/ 902 w 2165"/>
              <a:gd name="T11" fmla="*/ 2026 h 2071"/>
              <a:gd name="T12" fmla="*/ 858 w 2165"/>
              <a:gd name="T13" fmla="*/ 2071 h 2071"/>
              <a:gd name="T14" fmla="*/ 318 w 2165"/>
              <a:gd name="T15" fmla="*/ 2071 h 2071"/>
              <a:gd name="T16" fmla="*/ 274 w 2165"/>
              <a:gd name="T17" fmla="*/ 2026 h 2071"/>
              <a:gd name="T18" fmla="*/ 274 w 2165"/>
              <a:gd name="T19" fmla="*/ 1128 h 2071"/>
              <a:gd name="T20" fmla="*/ 318 w 2165"/>
              <a:gd name="T21" fmla="*/ 1083 h 2071"/>
              <a:gd name="T22" fmla="*/ 363 w 2165"/>
              <a:gd name="T23" fmla="*/ 1128 h 2071"/>
              <a:gd name="T24" fmla="*/ 363 w 2165"/>
              <a:gd name="T25" fmla="*/ 1981 h 2071"/>
              <a:gd name="T26" fmla="*/ 813 w 2165"/>
              <a:gd name="T27" fmla="*/ 1981 h 2071"/>
              <a:gd name="T28" fmla="*/ 813 w 2165"/>
              <a:gd name="T29" fmla="*/ 1397 h 2071"/>
              <a:gd name="T30" fmla="*/ 858 w 2165"/>
              <a:gd name="T31" fmla="*/ 1352 h 2071"/>
              <a:gd name="T32" fmla="*/ 1307 w 2165"/>
              <a:gd name="T33" fmla="*/ 1352 h 2071"/>
              <a:gd name="T34" fmla="*/ 1352 w 2165"/>
              <a:gd name="T35" fmla="*/ 1397 h 2071"/>
              <a:gd name="T36" fmla="*/ 1352 w 2165"/>
              <a:gd name="T37" fmla="*/ 1981 h 2071"/>
              <a:gd name="T38" fmla="*/ 1801 w 2165"/>
              <a:gd name="T39" fmla="*/ 1981 h 2071"/>
              <a:gd name="T40" fmla="*/ 1801 w 2165"/>
              <a:gd name="T41" fmla="*/ 1173 h 2071"/>
              <a:gd name="T42" fmla="*/ 1846 w 2165"/>
              <a:gd name="T43" fmla="*/ 1128 h 2071"/>
              <a:gd name="T44" fmla="*/ 1891 w 2165"/>
              <a:gd name="T45" fmla="*/ 1173 h 2071"/>
              <a:gd name="T46" fmla="*/ 1891 w 2165"/>
              <a:gd name="T47" fmla="*/ 2026 h 2071"/>
              <a:gd name="T48" fmla="*/ 1846 w 2165"/>
              <a:gd name="T49" fmla="*/ 2071 h 2071"/>
              <a:gd name="T50" fmla="*/ 2115 w 2165"/>
              <a:gd name="T51" fmla="*/ 1128 h 2071"/>
              <a:gd name="T52" fmla="*/ 2084 w 2165"/>
              <a:gd name="T53" fmla="*/ 1115 h 2071"/>
              <a:gd name="T54" fmla="*/ 1082 w 2165"/>
              <a:gd name="T55" fmla="*/ 113 h 2071"/>
              <a:gd name="T56" fmla="*/ 81 w 2165"/>
              <a:gd name="T57" fmla="*/ 1115 h 2071"/>
              <a:gd name="T58" fmla="*/ 17 w 2165"/>
              <a:gd name="T59" fmla="*/ 1115 h 2071"/>
              <a:gd name="T60" fmla="*/ 17 w 2165"/>
              <a:gd name="T61" fmla="*/ 1051 h 2071"/>
              <a:gd name="T62" fmla="*/ 1050 w 2165"/>
              <a:gd name="T63" fmla="*/ 18 h 2071"/>
              <a:gd name="T64" fmla="*/ 1114 w 2165"/>
              <a:gd name="T65" fmla="*/ 18 h 2071"/>
              <a:gd name="T66" fmla="*/ 2147 w 2165"/>
              <a:gd name="T67" fmla="*/ 1051 h 2071"/>
              <a:gd name="T68" fmla="*/ 2147 w 2165"/>
              <a:gd name="T69" fmla="*/ 1115 h 2071"/>
              <a:gd name="T70" fmla="*/ 2115 w 2165"/>
              <a:gd name="T71" fmla="*/ 1128 h 2071"/>
              <a:gd name="T72" fmla="*/ 1756 w 2165"/>
              <a:gd name="T73" fmla="*/ 499 h 2071"/>
              <a:gd name="T74" fmla="*/ 1711 w 2165"/>
              <a:gd name="T75" fmla="*/ 454 h 2071"/>
              <a:gd name="T76" fmla="*/ 1711 w 2165"/>
              <a:gd name="T77" fmla="*/ 184 h 2071"/>
              <a:gd name="T78" fmla="*/ 1442 w 2165"/>
              <a:gd name="T79" fmla="*/ 184 h 2071"/>
              <a:gd name="T80" fmla="*/ 1397 w 2165"/>
              <a:gd name="T81" fmla="*/ 139 h 2071"/>
              <a:gd name="T82" fmla="*/ 1442 w 2165"/>
              <a:gd name="T83" fmla="*/ 94 h 2071"/>
              <a:gd name="T84" fmla="*/ 1756 w 2165"/>
              <a:gd name="T85" fmla="*/ 94 h 2071"/>
              <a:gd name="T86" fmla="*/ 1801 w 2165"/>
              <a:gd name="T87" fmla="*/ 139 h 2071"/>
              <a:gd name="T88" fmla="*/ 1801 w 2165"/>
              <a:gd name="T89" fmla="*/ 454 h 2071"/>
              <a:gd name="T90" fmla="*/ 1756 w 2165"/>
              <a:gd name="T91" fmla="*/ 499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5" h="2071">
                <a:moveTo>
                  <a:pt x="1846" y="2071"/>
                </a:moveTo>
                <a:cubicBezTo>
                  <a:pt x="1307" y="2071"/>
                  <a:pt x="1307" y="2071"/>
                  <a:pt x="1307" y="2071"/>
                </a:cubicBezTo>
                <a:cubicBezTo>
                  <a:pt x="1282" y="2071"/>
                  <a:pt x="1262" y="2051"/>
                  <a:pt x="1262" y="2026"/>
                </a:cubicBezTo>
                <a:cubicBezTo>
                  <a:pt x="1262" y="1442"/>
                  <a:pt x="1262" y="1442"/>
                  <a:pt x="1262" y="1442"/>
                </a:cubicBezTo>
                <a:cubicBezTo>
                  <a:pt x="902" y="1442"/>
                  <a:pt x="902" y="1442"/>
                  <a:pt x="902" y="1442"/>
                </a:cubicBezTo>
                <a:cubicBezTo>
                  <a:pt x="902" y="2026"/>
                  <a:pt x="902" y="2026"/>
                  <a:pt x="902" y="2026"/>
                </a:cubicBezTo>
                <a:cubicBezTo>
                  <a:pt x="902" y="2051"/>
                  <a:pt x="882" y="2071"/>
                  <a:pt x="858" y="2071"/>
                </a:cubicBezTo>
                <a:cubicBezTo>
                  <a:pt x="318" y="2071"/>
                  <a:pt x="318" y="2071"/>
                  <a:pt x="318" y="2071"/>
                </a:cubicBezTo>
                <a:cubicBezTo>
                  <a:pt x="294" y="2071"/>
                  <a:pt x="274" y="2051"/>
                  <a:pt x="274" y="2026"/>
                </a:cubicBezTo>
                <a:cubicBezTo>
                  <a:pt x="274" y="1128"/>
                  <a:pt x="274" y="1128"/>
                  <a:pt x="274" y="1128"/>
                </a:cubicBezTo>
                <a:cubicBezTo>
                  <a:pt x="274" y="1103"/>
                  <a:pt x="294" y="1083"/>
                  <a:pt x="318" y="1083"/>
                </a:cubicBezTo>
                <a:cubicBezTo>
                  <a:pt x="343" y="1083"/>
                  <a:pt x="363" y="1103"/>
                  <a:pt x="363" y="1128"/>
                </a:cubicBezTo>
                <a:cubicBezTo>
                  <a:pt x="363" y="1981"/>
                  <a:pt x="363" y="1981"/>
                  <a:pt x="363" y="1981"/>
                </a:cubicBezTo>
                <a:cubicBezTo>
                  <a:pt x="813" y="1981"/>
                  <a:pt x="813" y="1981"/>
                  <a:pt x="813" y="1981"/>
                </a:cubicBezTo>
                <a:cubicBezTo>
                  <a:pt x="813" y="1397"/>
                  <a:pt x="813" y="1397"/>
                  <a:pt x="813" y="1397"/>
                </a:cubicBezTo>
                <a:cubicBezTo>
                  <a:pt x="813" y="1372"/>
                  <a:pt x="833" y="1352"/>
                  <a:pt x="858" y="1352"/>
                </a:cubicBezTo>
                <a:cubicBezTo>
                  <a:pt x="1307" y="1352"/>
                  <a:pt x="1307" y="1352"/>
                  <a:pt x="1307" y="1352"/>
                </a:cubicBezTo>
                <a:cubicBezTo>
                  <a:pt x="1332" y="1352"/>
                  <a:pt x="1352" y="1372"/>
                  <a:pt x="1352" y="1397"/>
                </a:cubicBezTo>
                <a:cubicBezTo>
                  <a:pt x="1352" y="1981"/>
                  <a:pt x="1352" y="1981"/>
                  <a:pt x="1352" y="1981"/>
                </a:cubicBezTo>
                <a:cubicBezTo>
                  <a:pt x="1801" y="1981"/>
                  <a:pt x="1801" y="1981"/>
                  <a:pt x="1801" y="1981"/>
                </a:cubicBezTo>
                <a:cubicBezTo>
                  <a:pt x="1801" y="1173"/>
                  <a:pt x="1801" y="1173"/>
                  <a:pt x="1801" y="1173"/>
                </a:cubicBezTo>
                <a:cubicBezTo>
                  <a:pt x="1801" y="1148"/>
                  <a:pt x="1821" y="1128"/>
                  <a:pt x="1846" y="1128"/>
                </a:cubicBezTo>
                <a:cubicBezTo>
                  <a:pt x="1871" y="1128"/>
                  <a:pt x="1891" y="1148"/>
                  <a:pt x="1891" y="1173"/>
                </a:cubicBezTo>
                <a:cubicBezTo>
                  <a:pt x="1891" y="2026"/>
                  <a:pt x="1891" y="2026"/>
                  <a:pt x="1891" y="2026"/>
                </a:cubicBezTo>
                <a:cubicBezTo>
                  <a:pt x="1891" y="2051"/>
                  <a:pt x="1871" y="2071"/>
                  <a:pt x="1846" y="2071"/>
                </a:cubicBezTo>
                <a:close/>
                <a:moveTo>
                  <a:pt x="2115" y="1128"/>
                </a:moveTo>
                <a:cubicBezTo>
                  <a:pt x="2104" y="1128"/>
                  <a:pt x="2092" y="1123"/>
                  <a:pt x="2084" y="1115"/>
                </a:cubicBezTo>
                <a:cubicBezTo>
                  <a:pt x="1082" y="113"/>
                  <a:pt x="1082" y="113"/>
                  <a:pt x="1082" y="113"/>
                </a:cubicBezTo>
                <a:cubicBezTo>
                  <a:pt x="81" y="1115"/>
                  <a:pt x="81" y="1115"/>
                  <a:pt x="81" y="1115"/>
                </a:cubicBezTo>
                <a:cubicBezTo>
                  <a:pt x="63" y="1132"/>
                  <a:pt x="35" y="1132"/>
                  <a:pt x="17" y="1115"/>
                </a:cubicBezTo>
                <a:cubicBezTo>
                  <a:pt x="0" y="1097"/>
                  <a:pt x="0" y="1069"/>
                  <a:pt x="17" y="1051"/>
                </a:cubicBezTo>
                <a:cubicBezTo>
                  <a:pt x="1050" y="18"/>
                  <a:pt x="1050" y="18"/>
                  <a:pt x="1050" y="18"/>
                </a:cubicBezTo>
                <a:cubicBezTo>
                  <a:pt x="1068" y="0"/>
                  <a:pt x="1096" y="0"/>
                  <a:pt x="1114" y="18"/>
                </a:cubicBezTo>
                <a:cubicBezTo>
                  <a:pt x="2147" y="1051"/>
                  <a:pt x="2147" y="1051"/>
                  <a:pt x="2147" y="1051"/>
                </a:cubicBezTo>
                <a:cubicBezTo>
                  <a:pt x="2165" y="1069"/>
                  <a:pt x="2165" y="1097"/>
                  <a:pt x="2147" y="1115"/>
                </a:cubicBezTo>
                <a:cubicBezTo>
                  <a:pt x="2138" y="1123"/>
                  <a:pt x="2127" y="1128"/>
                  <a:pt x="2115" y="1128"/>
                </a:cubicBezTo>
                <a:close/>
                <a:moveTo>
                  <a:pt x="1756" y="499"/>
                </a:moveTo>
                <a:cubicBezTo>
                  <a:pt x="1731" y="499"/>
                  <a:pt x="1711" y="479"/>
                  <a:pt x="1711" y="454"/>
                </a:cubicBezTo>
                <a:cubicBezTo>
                  <a:pt x="1711" y="184"/>
                  <a:pt x="1711" y="184"/>
                  <a:pt x="1711" y="184"/>
                </a:cubicBezTo>
                <a:cubicBezTo>
                  <a:pt x="1442" y="184"/>
                  <a:pt x="1442" y="184"/>
                  <a:pt x="1442" y="184"/>
                </a:cubicBezTo>
                <a:cubicBezTo>
                  <a:pt x="1417" y="184"/>
                  <a:pt x="1397" y="164"/>
                  <a:pt x="1397" y="139"/>
                </a:cubicBezTo>
                <a:cubicBezTo>
                  <a:pt x="1397" y="115"/>
                  <a:pt x="1417" y="94"/>
                  <a:pt x="1442" y="94"/>
                </a:cubicBezTo>
                <a:cubicBezTo>
                  <a:pt x="1756" y="94"/>
                  <a:pt x="1756" y="94"/>
                  <a:pt x="1756" y="94"/>
                </a:cubicBezTo>
                <a:cubicBezTo>
                  <a:pt x="1781" y="94"/>
                  <a:pt x="1801" y="115"/>
                  <a:pt x="1801" y="139"/>
                </a:cubicBezTo>
                <a:cubicBezTo>
                  <a:pt x="1801" y="454"/>
                  <a:pt x="1801" y="454"/>
                  <a:pt x="1801" y="454"/>
                </a:cubicBezTo>
                <a:cubicBezTo>
                  <a:pt x="1801" y="479"/>
                  <a:pt x="1781" y="499"/>
                  <a:pt x="1756" y="4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26" name="Freeform 27">
            <a:extLst>
              <a:ext uri="{FF2B5EF4-FFF2-40B4-BE49-F238E27FC236}">
                <a16:creationId xmlns:a16="http://schemas.microsoft.com/office/drawing/2014/main" id="{983AAFD2-223D-4BF7-8530-62F339ED08AE}"/>
              </a:ext>
            </a:extLst>
          </p:cNvPr>
          <p:cNvSpPr>
            <a:spLocks noChangeAspect="1" noEditPoints="1"/>
          </p:cNvSpPr>
          <p:nvPr/>
        </p:nvSpPr>
        <p:spPr bwMode="auto">
          <a:xfrm>
            <a:off x="1921722" y="4497520"/>
            <a:ext cx="407482" cy="338703"/>
          </a:xfrm>
          <a:custGeom>
            <a:avLst/>
            <a:gdLst>
              <a:gd name="T0" fmla="*/ 1877 w 2048"/>
              <a:gd name="T1" fmla="*/ 256 h 1706"/>
              <a:gd name="T2" fmla="*/ 1451 w 2048"/>
              <a:gd name="T3" fmla="*/ 256 h 1706"/>
              <a:gd name="T4" fmla="*/ 1451 w 2048"/>
              <a:gd name="T5" fmla="*/ 170 h 1706"/>
              <a:gd name="T6" fmla="*/ 1280 w 2048"/>
              <a:gd name="T7" fmla="*/ 0 h 1706"/>
              <a:gd name="T8" fmla="*/ 768 w 2048"/>
              <a:gd name="T9" fmla="*/ 0 h 1706"/>
              <a:gd name="T10" fmla="*/ 597 w 2048"/>
              <a:gd name="T11" fmla="*/ 170 h 1706"/>
              <a:gd name="T12" fmla="*/ 597 w 2048"/>
              <a:gd name="T13" fmla="*/ 256 h 1706"/>
              <a:gd name="T14" fmla="*/ 171 w 2048"/>
              <a:gd name="T15" fmla="*/ 256 h 1706"/>
              <a:gd name="T16" fmla="*/ 0 w 2048"/>
              <a:gd name="T17" fmla="*/ 426 h 1706"/>
              <a:gd name="T18" fmla="*/ 0 w 2048"/>
              <a:gd name="T19" fmla="*/ 1536 h 1706"/>
              <a:gd name="T20" fmla="*/ 171 w 2048"/>
              <a:gd name="T21" fmla="*/ 1706 h 1706"/>
              <a:gd name="T22" fmla="*/ 1877 w 2048"/>
              <a:gd name="T23" fmla="*/ 1706 h 1706"/>
              <a:gd name="T24" fmla="*/ 2048 w 2048"/>
              <a:gd name="T25" fmla="*/ 1536 h 1706"/>
              <a:gd name="T26" fmla="*/ 2048 w 2048"/>
              <a:gd name="T27" fmla="*/ 426 h 1706"/>
              <a:gd name="T28" fmla="*/ 1877 w 2048"/>
              <a:gd name="T29" fmla="*/ 256 h 1706"/>
              <a:gd name="T30" fmla="*/ 683 w 2048"/>
              <a:gd name="T31" fmla="*/ 170 h 1706"/>
              <a:gd name="T32" fmla="*/ 768 w 2048"/>
              <a:gd name="T33" fmla="*/ 85 h 1706"/>
              <a:gd name="T34" fmla="*/ 1280 w 2048"/>
              <a:gd name="T35" fmla="*/ 85 h 1706"/>
              <a:gd name="T36" fmla="*/ 1365 w 2048"/>
              <a:gd name="T37" fmla="*/ 170 h 1706"/>
              <a:gd name="T38" fmla="*/ 1365 w 2048"/>
              <a:gd name="T39" fmla="*/ 256 h 1706"/>
              <a:gd name="T40" fmla="*/ 683 w 2048"/>
              <a:gd name="T41" fmla="*/ 256 h 1706"/>
              <a:gd name="T42" fmla="*/ 683 w 2048"/>
              <a:gd name="T43" fmla="*/ 170 h 1706"/>
              <a:gd name="T44" fmla="*/ 1963 w 2048"/>
              <a:gd name="T45" fmla="*/ 1536 h 1706"/>
              <a:gd name="T46" fmla="*/ 1877 w 2048"/>
              <a:gd name="T47" fmla="*/ 1621 h 1706"/>
              <a:gd name="T48" fmla="*/ 171 w 2048"/>
              <a:gd name="T49" fmla="*/ 1621 h 1706"/>
              <a:gd name="T50" fmla="*/ 85 w 2048"/>
              <a:gd name="T51" fmla="*/ 1536 h 1706"/>
              <a:gd name="T52" fmla="*/ 85 w 2048"/>
              <a:gd name="T53" fmla="*/ 915 h 1706"/>
              <a:gd name="T54" fmla="*/ 171 w 2048"/>
              <a:gd name="T55" fmla="*/ 938 h 1706"/>
              <a:gd name="T56" fmla="*/ 853 w 2048"/>
              <a:gd name="T57" fmla="*/ 938 h 1706"/>
              <a:gd name="T58" fmla="*/ 853 w 2048"/>
              <a:gd name="T59" fmla="*/ 1066 h 1706"/>
              <a:gd name="T60" fmla="*/ 896 w 2048"/>
              <a:gd name="T61" fmla="*/ 1109 h 1706"/>
              <a:gd name="T62" fmla="*/ 1152 w 2048"/>
              <a:gd name="T63" fmla="*/ 1109 h 1706"/>
              <a:gd name="T64" fmla="*/ 1195 w 2048"/>
              <a:gd name="T65" fmla="*/ 1066 h 1706"/>
              <a:gd name="T66" fmla="*/ 1195 w 2048"/>
              <a:gd name="T67" fmla="*/ 938 h 1706"/>
              <a:gd name="T68" fmla="*/ 1877 w 2048"/>
              <a:gd name="T69" fmla="*/ 938 h 1706"/>
              <a:gd name="T70" fmla="*/ 1963 w 2048"/>
              <a:gd name="T71" fmla="*/ 915 h 1706"/>
              <a:gd name="T72" fmla="*/ 1963 w 2048"/>
              <a:gd name="T73" fmla="*/ 1536 h 1706"/>
              <a:gd name="T74" fmla="*/ 939 w 2048"/>
              <a:gd name="T75" fmla="*/ 1024 h 1706"/>
              <a:gd name="T76" fmla="*/ 939 w 2048"/>
              <a:gd name="T77" fmla="*/ 853 h 1706"/>
              <a:gd name="T78" fmla="*/ 1109 w 2048"/>
              <a:gd name="T79" fmla="*/ 853 h 1706"/>
              <a:gd name="T80" fmla="*/ 1109 w 2048"/>
              <a:gd name="T81" fmla="*/ 1024 h 1706"/>
              <a:gd name="T82" fmla="*/ 939 w 2048"/>
              <a:gd name="T83" fmla="*/ 1024 h 1706"/>
              <a:gd name="T84" fmla="*/ 1963 w 2048"/>
              <a:gd name="T85" fmla="*/ 768 h 1706"/>
              <a:gd name="T86" fmla="*/ 1877 w 2048"/>
              <a:gd name="T87" fmla="*/ 853 h 1706"/>
              <a:gd name="T88" fmla="*/ 1195 w 2048"/>
              <a:gd name="T89" fmla="*/ 853 h 1706"/>
              <a:gd name="T90" fmla="*/ 1195 w 2048"/>
              <a:gd name="T91" fmla="*/ 810 h 1706"/>
              <a:gd name="T92" fmla="*/ 1152 w 2048"/>
              <a:gd name="T93" fmla="*/ 768 h 1706"/>
              <a:gd name="T94" fmla="*/ 896 w 2048"/>
              <a:gd name="T95" fmla="*/ 768 h 1706"/>
              <a:gd name="T96" fmla="*/ 853 w 2048"/>
              <a:gd name="T97" fmla="*/ 810 h 1706"/>
              <a:gd name="T98" fmla="*/ 853 w 2048"/>
              <a:gd name="T99" fmla="*/ 853 h 1706"/>
              <a:gd name="T100" fmla="*/ 171 w 2048"/>
              <a:gd name="T101" fmla="*/ 853 h 1706"/>
              <a:gd name="T102" fmla="*/ 85 w 2048"/>
              <a:gd name="T103" fmla="*/ 768 h 1706"/>
              <a:gd name="T104" fmla="*/ 85 w 2048"/>
              <a:gd name="T105" fmla="*/ 426 h 1706"/>
              <a:gd name="T106" fmla="*/ 171 w 2048"/>
              <a:gd name="T107" fmla="*/ 341 h 1706"/>
              <a:gd name="T108" fmla="*/ 1877 w 2048"/>
              <a:gd name="T109" fmla="*/ 341 h 1706"/>
              <a:gd name="T110" fmla="*/ 1963 w 2048"/>
              <a:gd name="T111" fmla="*/ 426 h 1706"/>
              <a:gd name="T112" fmla="*/ 1963 w 2048"/>
              <a:gd name="T113" fmla="*/ 768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8" h="1706">
                <a:moveTo>
                  <a:pt x="1877" y="256"/>
                </a:moveTo>
                <a:cubicBezTo>
                  <a:pt x="1451" y="256"/>
                  <a:pt x="1451" y="256"/>
                  <a:pt x="1451" y="256"/>
                </a:cubicBezTo>
                <a:cubicBezTo>
                  <a:pt x="1451" y="170"/>
                  <a:pt x="1451" y="170"/>
                  <a:pt x="1451" y="170"/>
                </a:cubicBezTo>
                <a:cubicBezTo>
                  <a:pt x="1451" y="76"/>
                  <a:pt x="1374" y="0"/>
                  <a:pt x="1280" y="0"/>
                </a:cubicBezTo>
                <a:cubicBezTo>
                  <a:pt x="768" y="0"/>
                  <a:pt x="768" y="0"/>
                  <a:pt x="768" y="0"/>
                </a:cubicBezTo>
                <a:cubicBezTo>
                  <a:pt x="674" y="0"/>
                  <a:pt x="597" y="76"/>
                  <a:pt x="597" y="170"/>
                </a:cubicBezTo>
                <a:cubicBezTo>
                  <a:pt x="597" y="256"/>
                  <a:pt x="597" y="256"/>
                  <a:pt x="597" y="256"/>
                </a:cubicBezTo>
                <a:cubicBezTo>
                  <a:pt x="171" y="256"/>
                  <a:pt x="171" y="256"/>
                  <a:pt x="171" y="256"/>
                </a:cubicBezTo>
                <a:cubicBezTo>
                  <a:pt x="77" y="256"/>
                  <a:pt x="0" y="332"/>
                  <a:pt x="0" y="426"/>
                </a:cubicBezTo>
                <a:cubicBezTo>
                  <a:pt x="0" y="1536"/>
                  <a:pt x="0" y="1536"/>
                  <a:pt x="0" y="1536"/>
                </a:cubicBezTo>
                <a:cubicBezTo>
                  <a:pt x="0" y="1630"/>
                  <a:pt x="77" y="1706"/>
                  <a:pt x="171" y="1706"/>
                </a:cubicBezTo>
                <a:cubicBezTo>
                  <a:pt x="1877" y="1706"/>
                  <a:pt x="1877" y="1706"/>
                  <a:pt x="1877" y="1706"/>
                </a:cubicBezTo>
                <a:cubicBezTo>
                  <a:pt x="1971" y="1706"/>
                  <a:pt x="2048" y="1630"/>
                  <a:pt x="2048" y="1536"/>
                </a:cubicBezTo>
                <a:cubicBezTo>
                  <a:pt x="2048" y="426"/>
                  <a:pt x="2048" y="426"/>
                  <a:pt x="2048" y="426"/>
                </a:cubicBezTo>
                <a:cubicBezTo>
                  <a:pt x="2048" y="332"/>
                  <a:pt x="1971" y="256"/>
                  <a:pt x="1877" y="256"/>
                </a:cubicBezTo>
                <a:close/>
                <a:moveTo>
                  <a:pt x="683" y="170"/>
                </a:moveTo>
                <a:cubicBezTo>
                  <a:pt x="683" y="123"/>
                  <a:pt x="721" y="85"/>
                  <a:pt x="768" y="85"/>
                </a:cubicBezTo>
                <a:cubicBezTo>
                  <a:pt x="1280" y="85"/>
                  <a:pt x="1280" y="85"/>
                  <a:pt x="1280" y="85"/>
                </a:cubicBezTo>
                <a:cubicBezTo>
                  <a:pt x="1327" y="85"/>
                  <a:pt x="1365" y="123"/>
                  <a:pt x="1365" y="170"/>
                </a:cubicBezTo>
                <a:cubicBezTo>
                  <a:pt x="1365" y="256"/>
                  <a:pt x="1365" y="256"/>
                  <a:pt x="1365" y="256"/>
                </a:cubicBezTo>
                <a:cubicBezTo>
                  <a:pt x="683" y="256"/>
                  <a:pt x="683" y="256"/>
                  <a:pt x="683" y="256"/>
                </a:cubicBezTo>
                <a:lnTo>
                  <a:pt x="683" y="170"/>
                </a:lnTo>
                <a:close/>
                <a:moveTo>
                  <a:pt x="1963" y="1536"/>
                </a:moveTo>
                <a:cubicBezTo>
                  <a:pt x="1963" y="1583"/>
                  <a:pt x="1924" y="1621"/>
                  <a:pt x="1877" y="1621"/>
                </a:cubicBezTo>
                <a:cubicBezTo>
                  <a:pt x="171" y="1621"/>
                  <a:pt x="171" y="1621"/>
                  <a:pt x="171" y="1621"/>
                </a:cubicBezTo>
                <a:cubicBezTo>
                  <a:pt x="124" y="1621"/>
                  <a:pt x="85" y="1583"/>
                  <a:pt x="85" y="1536"/>
                </a:cubicBezTo>
                <a:cubicBezTo>
                  <a:pt x="85" y="915"/>
                  <a:pt x="85" y="915"/>
                  <a:pt x="85" y="915"/>
                </a:cubicBezTo>
                <a:cubicBezTo>
                  <a:pt x="111" y="929"/>
                  <a:pt x="139" y="938"/>
                  <a:pt x="171" y="938"/>
                </a:cubicBezTo>
                <a:cubicBezTo>
                  <a:pt x="853" y="938"/>
                  <a:pt x="853" y="938"/>
                  <a:pt x="853" y="938"/>
                </a:cubicBezTo>
                <a:cubicBezTo>
                  <a:pt x="853" y="1066"/>
                  <a:pt x="853" y="1066"/>
                  <a:pt x="853" y="1066"/>
                </a:cubicBezTo>
                <a:cubicBezTo>
                  <a:pt x="853" y="1090"/>
                  <a:pt x="872" y="1109"/>
                  <a:pt x="896" y="1109"/>
                </a:cubicBezTo>
                <a:cubicBezTo>
                  <a:pt x="1152" y="1109"/>
                  <a:pt x="1152" y="1109"/>
                  <a:pt x="1152" y="1109"/>
                </a:cubicBezTo>
                <a:cubicBezTo>
                  <a:pt x="1176" y="1109"/>
                  <a:pt x="1195" y="1090"/>
                  <a:pt x="1195" y="1066"/>
                </a:cubicBezTo>
                <a:cubicBezTo>
                  <a:pt x="1195" y="938"/>
                  <a:pt x="1195" y="938"/>
                  <a:pt x="1195" y="938"/>
                </a:cubicBezTo>
                <a:cubicBezTo>
                  <a:pt x="1877" y="938"/>
                  <a:pt x="1877" y="938"/>
                  <a:pt x="1877" y="938"/>
                </a:cubicBezTo>
                <a:cubicBezTo>
                  <a:pt x="1909" y="938"/>
                  <a:pt x="1937" y="929"/>
                  <a:pt x="1963" y="915"/>
                </a:cubicBezTo>
                <a:cubicBezTo>
                  <a:pt x="1963" y="1536"/>
                  <a:pt x="1963" y="1536"/>
                  <a:pt x="1963" y="1536"/>
                </a:cubicBezTo>
                <a:close/>
                <a:moveTo>
                  <a:pt x="939" y="1024"/>
                </a:moveTo>
                <a:cubicBezTo>
                  <a:pt x="939" y="853"/>
                  <a:pt x="939" y="853"/>
                  <a:pt x="939" y="853"/>
                </a:cubicBezTo>
                <a:cubicBezTo>
                  <a:pt x="1109" y="853"/>
                  <a:pt x="1109" y="853"/>
                  <a:pt x="1109" y="853"/>
                </a:cubicBezTo>
                <a:cubicBezTo>
                  <a:pt x="1109" y="1024"/>
                  <a:pt x="1109" y="1024"/>
                  <a:pt x="1109" y="1024"/>
                </a:cubicBezTo>
                <a:lnTo>
                  <a:pt x="939" y="1024"/>
                </a:lnTo>
                <a:close/>
                <a:moveTo>
                  <a:pt x="1963" y="768"/>
                </a:moveTo>
                <a:cubicBezTo>
                  <a:pt x="1963" y="815"/>
                  <a:pt x="1924" y="853"/>
                  <a:pt x="1877" y="853"/>
                </a:cubicBezTo>
                <a:cubicBezTo>
                  <a:pt x="1195" y="853"/>
                  <a:pt x="1195" y="853"/>
                  <a:pt x="1195" y="853"/>
                </a:cubicBezTo>
                <a:cubicBezTo>
                  <a:pt x="1195" y="810"/>
                  <a:pt x="1195" y="810"/>
                  <a:pt x="1195" y="810"/>
                </a:cubicBezTo>
                <a:cubicBezTo>
                  <a:pt x="1195" y="787"/>
                  <a:pt x="1176" y="768"/>
                  <a:pt x="1152" y="768"/>
                </a:cubicBezTo>
                <a:cubicBezTo>
                  <a:pt x="896" y="768"/>
                  <a:pt x="896" y="768"/>
                  <a:pt x="896" y="768"/>
                </a:cubicBezTo>
                <a:cubicBezTo>
                  <a:pt x="872" y="768"/>
                  <a:pt x="853" y="787"/>
                  <a:pt x="853" y="810"/>
                </a:cubicBezTo>
                <a:cubicBezTo>
                  <a:pt x="853" y="853"/>
                  <a:pt x="853" y="853"/>
                  <a:pt x="853" y="853"/>
                </a:cubicBezTo>
                <a:cubicBezTo>
                  <a:pt x="171" y="853"/>
                  <a:pt x="171" y="853"/>
                  <a:pt x="171" y="853"/>
                </a:cubicBezTo>
                <a:cubicBezTo>
                  <a:pt x="124" y="853"/>
                  <a:pt x="85" y="815"/>
                  <a:pt x="85" y="768"/>
                </a:cubicBezTo>
                <a:cubicBezTo>
                  <a:pt x="85" y="426"/>
                  <a:pt x="85" y="426"/>
                  <a:pt x="85" y="426"/>
                </a:cubicBezTo>
                <a:cubicBezTo>
                  <a:pt x="85" y="379"/>
                  <a:pt x="124" y="341"/>
                  <a:pt x="171" y="341"/>
                </a:cubicBezTo>
                <a:cubicBezTo>
                  <a:pt x="1877" y="341"/>
                  <a:pt x="1877" y="341"/>
                  <a:pt x="1877" y="341"/>
                </a:cubicBezTo>
                <a:cubicBezTo>
                  <a:pt x="1924" y="341"/>
                  <a:pt x="1963" y="379"/>
                  <a:pt x="1963" y="426"/>
                </a:cubicBezTo>
                <a:lnTo>
                  <a:pt x="1963" y="76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27" name="Group 143">
            <a:extLst>
              <a:ext uri="{FF2B5EF4-FFF2-40B4-BE49-F238E27FC236}">
                <a16:creationId xmlns:a16="http://schemas.microsoft.com/office/drawing/2014/main" id="{4E2FA6F6-D223-4370-874C-06F18AB6C68A}"/>
              </a:ext>
            </a:extLst>
          </p:cNvPr>
          <p:cNvGrpSpPr>
            <a:grpSpLocks noChangeAspect="1"/>
          </p:cNvGrpSpPr>
          <p:nvPr/>
        </p:nvGrpSpPr>
        <p:grpSpPr>
          <a:xfrm>
            <a:off x="2682600" y="4474272"/>
            <a:ext cx="407482" cy="361950"/>
            <a:chOff x="7615238" y="793750"/>
            <a:chExt cx="284163" cy="252412"/>
          </a:xfrm>
          <a:solidFill>
            <a:schemeClr val="accent3"/>
          </a:solidFill>
          <a:effectLst/>
        </p:grpSpPr>
        <p:sp>
          <p:nvSpPr>
            <p:cNvPr id="128" name="Freeform 299">
              <a:extLst>
                <a:ext uri="{FF2B5EF4-FFF2-40B4-BE49-F238E27FC236}">
                  <a16:creationId xmlns:a16="http://schemas.microsoft.com/office/drawing/2014/main" id="{4143D985-289B-4826-B58B-B9B34D5056C9}"/>
                </a:ext>
              </a:extLst>
            </p:cNvPr>
            <p:cNvSpPr>
              <a:spLocks noEditPoints="1"/>
            </p:cNvSpPr>
            <p:nvPr/>
          </p:nvSpPr>
          <p:spPr bwMode="auto">
            <a:xfrm>
              <a:off x="7615238" y="793750"/>
              <a:ext cx="284163" cy="252412"/>
            </a:xfrm>
            <a:custGeom>
              <a:avLst/>
              <a:gdLst>
                <a:gd name="T0" fmla="*/ 763 w 896"/>
                <a:gd name="T1" fmla="*/ 426 h 793"/>
                <a:gd name="T2" fmla="*/ 765 w 896"/>
                <a:gd name="T3" fmla="*/ 445 h 793"/>
                <a:gd name="T4" fmla="*/ 809 w 896"/>
                <a:gd name="T5" fmla="*/ 457 h 793"/>
                <a:gd name="T6" fmla="*/ 836 w 896"/>
                <a:gd name="T7" fmla="*/ 494 h 793"/>
                <a:gd name="T8" fmla="*/ 801 w 896"/>
                <a:gd name="T9" fmla="*/ 538 h 793"/>
                <a:gd name="T10" fmla="*/ 735 w 896"/>
                <a:gd name="T11" fmla="*/ 546 h 793"/>
                <a:gd name="T12" fmla="*/ 737 w 896"/>
                <a:gd name="T13" fmla="*/ 564 h 793"/>
                <a:gd name="T14" fmla="*/ 768 w 896"/>
                <a:gd name="T15" fmla="*/ 571 h 793"/>
                <a:gd name="T16" fmla="*/ 791 w 896"/>
                <a:gd name="T17" fmla="*/ 602 h 793"/>
                <a:gd name="T18" fmla="*/ 781 w 896"/>
                <a:gd name="T19" fmla="*/ 636 h 793"/>
                <a:gd name="T20" fmla="*/ 699 w 896"/>
                <a:gd name="T21" fmla="*/ 644 h 793"/>
                <a:gd name="T22" fmla="*/ 688 w 896"/>
                <a:gd name="T23" fmla="*/ 658 h 793"/>
                <a:gd name="T24" fmla="*/ 699 w 896"/>
                <a:gd name="T25" fmla="*/ 673 h 793"/>
                <a:gd name="T26" fmla="*/ 741 w 896"/>
                <a:gd name="T27" fmla="*/ 687 h 793"/>
                <a:gd name="T28" fmla="*/ 743 w 896"/>
                <a:gd name="T29" fmla="*/ 723 h 793"/>
                <a:gd name="T30" fmla="*/ 442 w 896"/>
                <a:gd name="T31" fmla="*/ 733 h 793"/>
                <a:gd name="T32" fmla="*/ 273 w 896"/>
                <a:gd name="T33" fmla="*/ 702 h 793"/>
                <a:gd name="T34" fmla="*/ 246 w 896"/>
                <a:gd name="T35" fmla="*/ 392 h 793"/>
                <a:gd name="T36" fmla="*/ 348 w 896"/>
                <a:gd name="T37" fmla="*/ 316 h 793"/>
                <a:gd name="T38" fmla="*/ 425 w 896"/>
                <a:gd name="T39" fmla="*/ 208 h 793"/>
                <a:gd name="T40" fmla="*/ 460 w 896"/>
                <a:gd name="T41" fmla="*/ 107 h 793"/>
                <a:gd name="T42" fmla="*/ 472 w 896"/>
                <a:gd name="T43" fmla="*/ 40 h 793"/>
                <a:gd name="T44" fmla="*/ 513 w 896"/>
                <a:gd name="T45" fmla="*/ 39 h 793"/>
                <a:gd name="T46" fmla="*/ 550 w 896"/>
                <a:gd name="T47" fmla="*/ 118 h 793"/>
                <a:gd name="T48" fmla="*/ 516 w 896"/>
                <a:gd name="T49" fmla="*/ 276 h 793"/>
                <a:gd name="T50" fmla="*/ 516 w 896"/>
                <a:gd name="T51" fmla="*/ 313 h 793"/>
                <a:gd name="T52" fmla="*/ 853 w 896"/>
                <a:gd name="T53" fmla="*/ 329 h 793"/>
                <a:gd name="T54" fmla="*/ 861 w 896"/>
                <a:gd name="T55" fmla="*/ 389 h 793"/>
                <a:gd name="T56" fmla="*/ 833 w 896"/>
                <a:gd name="T57" fmla="*/ 417 h 793"/>
                <a:gd name="T58" fmla="*/ 179 w 896"/>
                <a:gd name="T59" fmla="*/ 345 h 793"/>
                <a:gd name="T60" fmla="*/ 893 w 896"/>
                <a:gd name="T61" fmla="*/ 337 h 793"/>
                <a:gd name="T62" fmla="*/ 863 w 896"/>
                <a:gd name="T63" fmla="*/ 298 h 793"/>
                <a:gd name="T64" fmla="*/ 544 w 896"/>
                <a:gd name="T65" fmla="*/ 285 h 793"/>
                <a:gd name="T66" fmla="*/ 580 w 896"/>
                <a:gd name="T67" fmla="*/ 123 h 793"/>
                <a:gd name="T68" fmla="*/ 555 w 896"/>
                <a:gd name="T69" fmla="*/ 40 h 793"/>
                <a:gd name="T70" fmla="*/ 513 w 896"/>
                <a:gd name="T71" fmla="*/ 5 h 793"/>
                <a:gd name="T72" fmla="*/ 470 w 896"/>
                <a:gd name="T73" fmla="*/ 6 h 793"/>
                <a:gd name="T74" fmla="*/ 441 w 896"/>
                <a:gd name="T75" fmla="*/ 35 h 793"/>
                <a:gd name="T76" fmla="*/ 432 w 896"/>
                <a:gd name="T77" fmla="*/ 91 h 793"/>
                <a:gd name="T78" fmla="*/ 398 w 896"/>
                <a:gd name="T79" fmla="*/ 194 h 793"/>
                <a:gd name="T80" fmla="*/ 280 w 896"/>
                <a:gd name="T81" fmla="*/ 337 h 793"/>
                <a:gd name="T82" fmla="*/ 209 w 896"/>
                <a:gd name="T83" fmla="*/ 330 h 793"/>
                <a:gd name="T84" fmla="*/ 197 w 896"/>
                <a:gd name="T85" fmla="*/ 315 h 793"/>
                <a:gd name="T86" fmla="*/ 2 w 896"/>
                <a:gd name="T87" fmla="*/ 321 h 793"/>
                <a:gd name="T88" fmla="*/ 2 w 896"/>
                <a:gd name="T89" fmla="*/ 786 h 793"/>
                <a:gd name="T90" fmla="*/ 197 w 896"/>
                <a:gd name="T91" fmla="*/ 793 h 793"/>
                <a:gd name="T92" fmla="*/ 209 w 896"/>
                <a:gd name="T93" fmla="*/ 778 h 793"/>
                <a:gd name="T94" fmla="*/ 383 w 896"/>
                <a:gd name="T95" fmla="*/ 758 h 793"/>
                <a:gd name="T96" fmla="*/ 743 w 896"/>
                <a:gd name="T97" fmla="*/ 760 h 793"/>
                <a:gd name="T98" fmla="*/ 771 w 896"/>
                <a:gd name="T99" fmla="*/ 735 h 793"/>
                <a:gd name="T100" fmla="*/ 768 w 896"/>
                <a:gd name="T101" fmla="*/ 672 h 793"/>
                <a:gd name="T102" fmla="*/ 821 w 896"/>
                <a:gd name="T103" fmla="*/ 625 h 793"/>
                <a:gd name="T104" fmla="*/ 831 w 896"/>
                <a:gd name="T105" fmla="*/ 556 h 793"/>
                <a:gd name="T106" fmla="*/ 866 w 896"/>
                <a:gd name="T107" fmla="*/ 501 h 793"/>
                <a:gd name="T108" fmla="*/ 853 w 896"/>
                <a:gd name="T109" fmla="*/ 456 h 793"/>
                <a:gd name="T110" fmla="*/ 872 w 896"/>
                <a:gd name="T111" fmla="*/ 427 h 793"/>
                <a:gd name="T112" fmla="*/ 896 w 896"/>
                <a:gd name="T113" fmla="*/ 36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6" h="793">
                  <a:moveTo>
                    <a:pt x="821" y="420"/>
                  </a:moveTo>
                  <a:lnTo>
                    <a:pt x="774" y="420"/>
                  </a:lnTo>
                  <a:lnTo>
                    <a:pt x="772" y="420"/>
                  </a:lnTo>
                  <a:lnTo>
                    <a:pt x="769" y="421"/>
                  </a:lnTo>
                  <a:lnTo>
                    <a:pt x="767" y="422"/>
                  </a:lnTo>
                  <a:lnTo>
                    <a:pt x="765" y="424"/>
                  </a:lnTo>
                  <a:lnTo>
                    <a:pt x="763" y="426"/>
                  </a:lnTo>
                  <a:lnTo>
                    <a:pt x="762" y="428"/>
                  </a:lnTo>
                  <a:lnTo>
                    <a:pt x="760" y="431"/>
                  </a:lnTo>
                  <a:lnTo>
                    <a:pt x="760" y="435"/>
                  </a:lnTo>
                  <a:lnTo>
                    <a:pt x="760" y="437"/>
                  </a:lnTo>
                  <a:lnTo>
                    <a:pt x="762" y="440"/>
                  </a:lnTo>
                  <a:lnTo>
                    <a:pt x="763" y="442"/>
                  </a:lnTo>
                  <a:lnTo>
                    <a:pt x="765" y="445"/>
                  </a:lnTo>
                  <a:lnTo>
                    <a:pt x="767" y="446"/>
                  </a:lnTo>
                  <a:lnTo>
                    <a:pt x="769" y="448"/>
                  </a:lnTo>
                  <a:lnTo>
                    <a:pt x="772" y="448"/>
                  </a:lnTo>
                  <a:lnTo>
                    <a:pt x="774" y="450"/>
                  </a:lnTo>
                  <a:lnTo>
                    <a:pt x="787" y="451"/>
                  </a:lnTo>
                  <a:lnTo>
                    <a:pt x="798" y="453"/>
                  </a:lnTo>
                  <a:lnTo>
                    <a:pt x="809" y="457"/>
                  </a:lnTo>
                  <a:lnTo>
                    <a:pt x="818" y="463"/>
                  </a:lnTo>
                  <a:lnTo>
                    <a:pt x="826" y="470"/>
                  </a:lnTo>
                  <a:lnTo>
                    <a:pt x="832" y="477"/>
                  </a:lnTo>
                  <a:lnTo>
                    <a:pt x="834" y="482"/>
                  </a:lnTo>
                  <a:lnTo>
                    <a:pt x="835" y="486"/>
                  </a:lnTo>
                  <a:lnTo>
                    <a:pt x="836" y="490"/>
                  </a:lnTo>
                  <a:lnTo>
                    <a:pt x="836" y="494"/>
                  </a:lnTo>
                  <a:lnTo>
                    <a:pt x="836" y="503"/>
                  </a:lnTo>
                  <a:lnTo>
                    <a:pt x="833" y="510"/>
                  </a:lnTo>
                  <a:lnTo>
                    <a:pt x="829" y="518"/>
                  </a:lnTo>
                  <a:lnTo>
                    <a:pt x="824" y="525"/>
                  </a:lnTo>
                  <a:lnTo>
                    <a:pt x="816" y="531"/>
                  </a:lnTo>
                  <a:lnTo>
                    <a:pt x="809" y="535"/>
                  </a:lnTo>
                  <a:lnTo>
                    <a:pt x="801" y="538"/>
                  </a:lnTo>
                  <a:lnTo>
                    <a:pt x="793" y="539"/>
                  </a:lnTo>
                  <a:lnTo>
                    <a:pt x="748" y="539"/>
                  </a:lnTo>
                  <a:lnTo>
                    <a:pt x="744" y="539"/>
                  </a:lnTo>
                  <a:lnTo>
                    <a:pt x="741" y="540"/>
                  </a:lnTo>
                  <a:lnTo>
                    <a:pt x="739" y="542"/>
                  </a:lnTo>
                  <a:lnTo>
                    <a:pt x="737" y="544"/>
                  </a:lnTo>
                  <a:lnTo>
                    <a:pt x="735" y="546"/>
                  </a:lnTo>
                  <a:lnTo>
                    <a:pt x="734" y="548"/>
                  </a:lnTo>
                  <a:lnTo>
                    <a:pt x="733" y="551"/>
                  </a:lnTo>
                  <a:lnTo>
                    <a:pt x="733" y="554"/>
                  </a:lnTo>
                  <a:lnTo>
                    <a:pt x="733" y="556"/>
                  </a:lnTo>
                  <a:lnTo>
                    <a:pt x="734" y="560"/>
                  </a:lnTo>
                  <a:lnTo>
                    <a:pt x="735" y="562"/>
                  </a:lnTo>
                  <a:lnTo>
                    <a:pt x="737" y="564"/>
                  </a:lnTo>
                  <a:lnTo>
                    <a:pt x="739" y="566"/>
                  </a:lnTo>
                  <a:lnTo>
                    <a:pt x="741" y="567"/>
                  </a:lnTo>
                  <a:lnTo>
                    <a:pt x="744" y="568"/>
                  </a:lnTo>
                  <a:lnTo>
                    <a:pt x="748" y="569"/>
                  </a:lnTo>
                  <a:lnTo>
                    <a:pt x="755" y="569"/>
                  </a:lnTo>
                  <a:lnTo>
                    <a:pt x="762" y="570"/>
                  </a:lnTo>
                  <a:lnTo>
                    <a:pt x="768" y="571"/>
                  </a:lnTo>
                  <a:lnTo>
                    <a:pt x="773" y="575"/>
                  </a:lnTo>
                  <a:lnTo>
                    <a:pt x="778" y="577"/>
                  </a:lnTo>
                  <a:lnTo>
                    <a:pt x="781" y="580"/>
                  </a:lnTo>
                  <a:lnTo>
                    <a:pt x="784" y="583"/>
                  </a:lnTo>
                  <a:lnTo>
                    <a:pt x="786" y="587"/>
                  </a:lnTo>
                  <a:lnTo>
                    <a:pt x="789" y="595"/>
                  </a:lnTo>
                  <a:lnTo>
                    <a:pt x="791" y="602"/>
                  </a:lnTo>
                  <a:lnTo>
                    <a:pt x="791" y="609"/>
                  </a:lnTo>
                  <a:lnTo>
                    <a:pt x="793" y="613"/>
                  </a:lnTo>
                  <a:lnTo>
                    <a:pt x="791" y="619"/>
                  </a:lnTo>
                  <a:lnTo>
                    <a:pt x="790" y="623"/>
                  </a:lnTo>
                  <a:lnTo>
                    <a:pt x="789" y="627"/>
                  </a:lnTo>
                  <a:lnTo>
                    <a:pt x="786" y="630"/>
                  </a:lnTo>
                  <a:lnTo>
                    <a:pt x="781" y="636"/>
                  </a:lnTo>
                  <a:lnTo>
                    <a:pt x="773" y="639"/>
                  </a:lnTo>
                  <a:lnTo>
                    <a:pt x="766" y="641"/>
                  </a:lnTo>
                  <a:lnTo>
                    <a:pt x="758" y="643"/>
                  </a:lnTo>
                  <a:lnTo>
                    <a:pt x="752" y="643"/>
                  </a:lnTo>
                  <a:lnTo>
                    <a:pt x="748" y="643"/>
                  </a:lnTo>
                  <a:lnTo>
                    <a:pt x="703" y="643"/>
                  </a:lnTo>
                  <a:lnTo>
                    <a:pt x="699" y="644"/>
                  </a:lnTo>
                  <a:lnTo>
                    <a:pt x="696" y="645"/>
                  </a:lnTo>
                  <a:lnTo>
                    <a:pt x="694" y="646"/>
                  </a:lnTo>
                  <a:lnTo>
                    <a:pt x="692" y="648"/>
                  </a:lnTo>
                  <a:lnTo>
                    <a:pt x="690" y="651"/>
                  </a:lnTo>
                  <a:lnTo>
                    <a:pt x="689" y="653"/>
                  </a:lnTo>
                  <a:lnTo>
                    <a:pt x="688" y="656"/>
                  </a:lnTo>
                  <a:lnTo>
                    <a:pt x="688" y="658"/>
                  </a:lnTo>
                  <a:lnTo>
                    <a:pt x="688" y="661"/>
                  </a:lnTo>
                  <a:lnTo>
                    <a:pt x="689" y="664"/>
                  </a:lnTo>
                  <a:lnTo>
                    <a:pt x="690" y="667"/>
                  </a:lnTo>
                  <a:lnTo>
                    <a:pt x="692" y="669"/>
                  </a:lnTo>
                  <a:lnTo>
                    <a:pt x="694" y="671"/>
                  </a:lnTo>
                  <a:lnTo>
                    <a:pt x="696" y="672"/>
                  </a:lnTo>
                  <a:lnTo>
                    <a:pt x="699" y="673"/>
                  </a:lnTo>
                  <a:lnTo>
                    <a:pt x="703" y="673"/>
                  </a:lnTo>
                  <a:lnTo>
                    <a:pt x="707" y="674"/>
                  </a:lnTo>
                  <a:lnTo>
                    <a:pt x="713" y="674"/>
                  </a:lnTo>
                  <a:lnTo>
                    <a:pt x="721" y="675"/>
                  </a:lnTo>
                  <a:lnTo>
                    <a:pt x="728" y="678"/>
                  </a:lnTo>
                  <a:lnTo>
                    <a:pt x="736" y="682"/>
                  </a:lnTo>
                  <a:lnTo>
                    <a:pt x="741" y="687"/>
                  </a:lnTo>
                  <a:lnTo>
                    <a:pt x="744" y="690"/>
                  </a:lnTo>
                  <a:lnTo>
                    <a:pt x="745" y="694"/>
                  </a:lnTo>
                  <a:lnTo>
                    <a:pt x="747" y="699"/>
                  </a:lnTo>
                  <a:lnTo>
                    <a:pt x="748" y="703"/>
                  </a:lnTo>
                  <a:lnTo>
                    <a:pt x="747" y="712"/>
                  </a:lnTo>
                  <a:lnTo>
                    <a:pt x="745" y="718"/>
                  </a:lnTo>
                  <a:lnTo>
                    <a:pt x="743" y="723"/>
                  </a:lnTo>
                  <a:lnTo>
                    <a:pt x="741" y="727"/>
                  </a:lnTo>
                  <a:lnTo>
                    <a:pt x="737" y="730"/>
                  </a:lnTo>
                  <a:lnTo>
                    <a:pt x="732" y="732"/>
                  </a:lnTo>
                  <a:lnTo>
                    <a:pt x="725" y="733"/>
                  </a:lnTo>
                  <a:lnTo>
                    <a:pt x="718" y="733"/>
                  </a:lnTo>
                  <a:lnTo>
                    <a:pt x="463" y="733"/>
                  </a:lnTo>
                  <a:lnTo>
                    <a:pt x="442" y="733"/>
                  </a:lnTo>
                  <a:lnTo>
                    <a:pt x="421" y="732"/>
                  </a:lnTo>
                  <a:lnTo>
                    <a:pt x="403" y="730"/>
                  </a:lnTo>
                  <a:lnTo>
                    <a:pt x="386" y="728"/>
                  </a:lnTo>
                  <a:lnTo>
                    <a:pt x="354" y="721"/>
                  </a:lnTo>
                  <a:lnTo>
                    <a:pt x="322" y="714"/>
                  </a:lnTo>
                  <a:lnTo>
                    <a:pt x="298" y="708"/>
                  </a:lnTo>
                  <a:lnTo>
                    <a:pt x="273" y="702"/>
                  </a:lnTo>
                  <a:lnTo>
                    <a:pt x="243" y="697"/>
                  </a:lnTo>
                  <a:lnTo>
                    <a:pt x="209" y="690"/>
                  </a:lnTo>
                  <a:lnTo>
                    <a:pt x="209" y="404"/>
                  </a:lnTo>
                  <a:lnTo>
                    <a:pt x="218" y="401"/>
                  </a:lnTo>
                  <a:lnTo>
                    <a:pt x="227" y="399"/>
                  </a:lnTo>
                  <a:lnTo>
                    <a:pt x="236" y="396"/>
                  </a:lnTo>
                  <a:lnTo>
                    <a:pt x="246" y="392"/>
                  </a:lnTo>
                  <a:lnTo>
                    <a:pt x="257" y="386"/>
                  </a:lnTo>
                  <a:lnTo>
                    <a:pt x="266" y="381"/>
                  </a:lnTo>
                  <a:lnTo>
                    <a:pt x="276" y="376"/>
                  </a:lnTo>
                  <a:lnTo>
                    <a:pt x="287" y="368"/>
                  </a:lnTo>
                  <a:lnTo>
                    <a:pt x="307" y="353"/>
                  </a:lnTo>
                  <a:lnTo>
                    <a:pt x="327" y="335"/>
                  </a:lnTo>
                  <a:lnTo>
                    <a:pt x="348" y="316"/>
                  </a:lnTo>
                  <a:lnTo>
                    <a:pt x="367" y="293"/>
                  </a:lnTo>
                  <a:lnTo>
                    <a:pt x="379" y="279"/>
                  </a:lnTo>
                  <a:lnTo>
                    <a:pt x="389" y="266"/>
                  </a:lnTo>
                  <a:lnTo>
                    <a:pt x="399" y="252"/>
                  </a:lnTo>
                  <a:lnTo>
                    <a:pt x="408" y="237"/>
                  </a:lnTo>
                  <a:lnTo>
                    <a:pt x="416" y="223"/>
                  </a:lnTo>
                  <a:lnTo>
                    <a:pt x="425" y="208"/>
                  </a:lnTo>
                  <a:lnTo>
                    <a:pt x="431" y="194"/>
                  </a:lnTo>
                  <a:lnTo>
                    <a:pt x="439" y="179"/>
                  </a:lnTo>
                  <a:lnTo>
                    <a:pt x="444" y="164"/>
                  </a:lnTo>
                  <a:lnTo>
                    <a:pt x="449" y="150"/>
                  </a:lnTo>
                  <a:lnTo>
                    <a:pt x="454" y="135"/>
                  </a:lnTo>
                  <a:lnTo>
                    <a:pt x="457" y="121"/>
                  </a:lnTo>
                  <a:lnTo>
                    <a:pt x="460" y="107"/>
                  </a:lnTo>
                  <a:lnTo>
                    <a:pt x="461" y="92"/>
                  </a:lnTo>
                  <a:lnTo>
                    <a:pt x="463" y="78"/>
                  </a:lnTo>
                  <a:lnTo>
                    <a:pt x="463" y="66"/>
                  </a:lnTo>
                  <a:lnTo>
                    <a:pt x="464" y="58"/>
                  </a:lnTo>
                  <a:lnTo>
                    <a:pt x="465" y="52"/>
                  </a:lnTo>
                  <a:lnTo>
                    <a:pt x="467" y="45"/>
                  </a:lnTo>
                  <a:lnTo>
                    <a:pt x="472" y="40"/>
                  </a:lnTo>
                  <a:lnTo>
                    <a:pt x="476" y="37"/>
                  </a:lnTo>
                  <a:lnTo>
                    <a:pt x="480" y="34"/>
                  </a:lnTo>
                  <a:lnTo>
                    <a:pt x="487" y="31"/>
                  </a:lnTo>
                  <a:lnTo>
                    <a:pt x="492" y="30"/>
                  </a:lnTo>
                  <a:lnTo>
                    <a:pt x="500" y="31"/>
                  </a:lnTo>
                  <a:lnTo>
                    <a:pt x="506" y="34"/>
                  </a:lnTo>
                  <a:lnTo>
                    <a:pt x="513" y="39"/>
                  </a:lnTo>
                  <a:lnTo>
                    <a:pt x="521" y="45"/>
                  </a:lnTo>
                  <a:lnTo>
                    <a:pt x="528" y="54"/>
                  </a:lnTo>
                  <a:lnTo>
                    <a:pt x="535" y="66"/>
                  </a:lnTo>
                  <a:lnTo>
                    <a:pt x="541" y="79"/>
                  </a:lnTo>
                  <a:lnTo>
                    <a:pt x="547" y="97"/>
                  </a:lnTo>
                  <a:lnTo>
                    <a:pt x="549" y="106"/>
                  </a:lnTo>
                  <a:lnTo>
                    <a:pt x="550" y="118"/>
                  </a:lnTo>
                  <a:lnTo>
                    <a:pt x="550" y="130"/>
                  </a:lnTo>
                  <a:lnTo>
                    <a:pt x="549" y="144"/>
                  </a:lnTo>
                  <a:lnTo>
                    <a:pt x="546" y="171"/>
                  </a:lnTo>
                  <a:lnTo>
                    <a:pt x="539" y="200"/>
                  </a:lnTo>
                  <a:lnTo>
                    <a:pt x="532" y="228"/>
                  </a:lnTo>
                  <a:lnTo>
                    <a:pt x="523" y="255"/>
                  </a:lnTo>
                  <a:lnTo>
                    <a:pt x="516" y="276"/>
                  </a:lnTo>
                  <a:lnTo>
                    <a:pt x="509" y="294"/>
                  </a:lnTo>
                  <a:lnTo>
                    <a:pt x="508" y="298"/>
                  </a:lnTo>
                  <a:lnTo>
                    <a:pt x="508" y="301"/>
                  </a:lnTo>
                  <a:lnTo>
                    <a:pt x="509" y="305"/>
                  </a:lnTo>
                  <a:lnTo>
                    <a:pt x="510" y="308"/>
                  </a:lnTo>
                  <a:lnTo>
                    <a:pt x="513" y="310"/>
                  </a:lnTo>
                  <a:lnTo>
                    <a:pt x="516" y="313"/>
                  </a:lnTo>
                  <a:lnTo>
                    <a:pt x="519" y="314"/>
                  </a:lnTo>
                  <a:lnTo>
                    <a:pt x="523" y="315"/>
                  </a:lnTo>
                  <a:lnTo>
                    <a:pt x="821" y="315"/>
                  </a:lnTo>
                  <a:lnTo>
                    <a:pt x="830" y="316"/>
                  </a:lnTo>
                  <a:lnTo>
                    <a:pt x="839" y="318"/>
                  </a:lnTo>
                  <a:lnTo>
                    <a:pt x="846" y="322"/>
                  </a:lnTo>
                  <a:lnTo>
                    <a:pt x="853" y="329"/>
                  </a:lnTo>
                  <a:lnTo>
                    <a:pt x="859" y="335"/>
                  </a:lnTo>
                  <a:lnTo>
                    <a:pt x="863" y="343"/>
                  </a:lnTo>
                  <a:lnTo>
                    <a:pt x="866" y="351"/>
                  </a:lnTo>
                  <a:lnTo>
                    <a:pt x="866" y="360"/>
                  </a:lnTo>
                  <a:lnTo>
                    <a:pt x="866" y="369"/>
                  </a:lnTo>
                  <a:lnTo>
                    <a:pt x="864" y="379"/>
                  </a:lnTo>
                  <a:lnTo>
                    <a:pt x="861" y="389"/>
                  </a:lnTo>
                  <a:lnTo>
                    <a:pt x="856" y="398"/>
                  </a:lnTo>
                  <a:lnTo>
                    <a:pt x="852" y="402"/>
                  </a:lnTo>
                  <a:lnTo>
                    <a:pt x="849" y="407"/>
                  </a:lnTo>
                  <a:lnTo>
                    <a:pt x="846" y="410"/>
                  </a:lnTo>
                  <a:lnTo>
                    <a:pt x="842" y="413"/>
                  </a:lnTo>
                  <a:lnTo>
                    <a:pt x="837" y="415"/>
                  </a:lnTo>
                  <a:lnTo>
                    <a:pt x="833" y="417"/>
                  </a:lnTo>
                  <a:lnTo>
                    <a:pt x="828" y="419"/>
                  </a:lnTo>
                  <a:lnTo>
                    <a:pt x="821" y="420"/>
                  </a:lnTo>
                  <a:lnTo>
                    <a:pt x="821" y="420"/>
                  </a:lnTo>
                  <a:close/>
                  <a:moveTo>
                    <a:pt x="179" y="763"/>
                  </a:moveTo>
                  <a:lnTo>
                    <a:pt x="30" y="763"/>
                  </a:lnTo>
                  <a:lnTo>
                    <a:pt x="30" y="344"/>
                  </a:lnTo>
                  <a:lnTo>
                    <a:pt x="179" y="345"/>
                  </a:lnTo>
                  <a:lnTo>
                    <a:pt x="179" y="390"/>
                  </a:lnTo>
                  <a:lnTo>
                    <a:pt x="179" y="703"/>
                  </a:lnTo>
                  <a:lnTo>
                    <a:pt x="179" y="763"/>
                  </a:lnTo>
                  <a:close/>
                  <a:moveTo>
                    <a:pt x="896" y="360"/>
                  </a:moveTo>
                  <a:lnTo>
                    <a:pt x="896" y="352"/>
                  </a:lnTo>
                  <a:lnTo>
                    <a:pt x="895" y="345"/>
                  </a:lnTo>
                  <a:lnTo>
                    <a:pt x="893" y="337"/>
                  </a:lnTo>
                  <a:lnTo>
                    <a:pt x="891" y="331"/>
                  </a:lnTo>
                  <a:lnTo>
                    <a:pt x="888" y="324"/>
                  </a:lnTo>
                  <a:lnTo>
                    <a:pt x="883" y="318"/>
                  </a:lnTo>
                  <a:lnTo>
                    <a:pt x="879" y="313"/>
                  </a:lnTo>
                  <a:lnTo>
                    <a:pt x="874" y="307"/>
                  </a:lnTo>
                  <a:lnTo>
                    <a:pt x="868" y="302"/>
                  </a:lnTo>
                  <a:lnTo>
                    <a:pt x="863" y="298"/>
                  </a:lnTo>
                  <a:lnTo>
                    <a:pt x="857" y="294"/>
                  </a:lnTo>
                  <a:lnTo>
                    <a:pt x="850" y="291"/>
                  </a:lnTo>
                  <a:lnTo>
                    <a:pt x="844" y="288"/>
                  </a:lnTo>
                  <a:lnTo>
                    <a:pt x="836" y="286"/>
                  </a:lnTo>
                  <a:lnTo>
                    <a:pt x="829" y="285"/>
                  </a:lnTo>
                  <a:lnTo>
                    <a:pt x="821" y="285"/>
                  </a:lnTo>
                  <a:lnTo>
                    <a:pt x="544" y="285"/>
                  </a:lnTo>
                  <a:lnTo>
                    <a:pt x="551" y="267"/>
                  </a:lnTo>
                  <a:lnTo>
                    <a:pt x="558" y="244"/>
                  </a:lnTo>
                  <a:lnTo>
                    <a:pt x="566" y="219"/>
                  </a:lnTo>
                  <a:lnTo>
                    <a:pt x="572" y="192"/>
                  </a:lnTo>
                  <a:lnTo>
                    <a:pt x="577" y="164"/>
                  </a:lnTo>
                  <a:lnTo>
                    <a:pt x="580" y="136"/>
                  </a:lnTo>
                  <a:lnTo>
                    <a:pt x="580" y="123"/>
                  </a:lnTo>
                  <a:lnTo>
                    <a:pt x="580" y="111"/>
                  </a:lnTo>
                  <a:lnTo>
                    <a:pt x="578" y="99"/>
                  </a:lnTo>
                  <a:lnTo>
                    <a:pt x="575" y="88"/>
                  </a:lnTo>
                  <a:lnTo>
                    <a:pt x="571" y="74"/>
                  </a:lnTo>
                  <a:lnTo>
                    <a:pt x="566" y="61"/>
                  </a:lnTo>
                  <a:lnTo>
                    <a:pt x="560" y="50"/>
                  </a:lnTo>
                  <a:lnTo>
                    <a:pt x="555" y="40"/>
                  </a:lnTo>
                  <a:lnTo>
                    <a:pt x="549" y="31"/>
                  </a:lnTo>
                  <a:lnTo>
                    <a:pt x="543" y="25"/>
                  </a:lnTo>
                  <a:lnTo>
                    <a:pt x="537" y="19"/>
                  </a:lnTo>
                  <a:lnTo>
                    <a:pt x="531" y="14"/>
                  </a:lnTo>
                  <a:lnTo>
                    <a:pt x="524" y="10"/>
                  </a:lnTo>
                  <a:lnTo>
                    <a:pt x="519" y="7"/>
                  </a:lnTo>
                  <a:lnTo>
                    <a:pt x="513" y="5"/>
                  </a:lnTo>
                  <a:lnTo>
                    <a:pt x="508" y="2"/>
                  </a:lnTo>
                  <a:lnTo>
                    <a:pt x="498" y="1"/>
                  </a:lnTo>
                  <a:lnTo>
                    <a:pt x="492" y="0"/>
                  </a:lnTo>
                  <a:lnTo>
                    <a:pt x="486" y="1"/>
                  </a:lnTo>
                  <a:lnTo>
                    <a:pt x="480" y="1"/>
                  </a:lnTo>
                  <a:lnTo>
                    <a:pt x="475" y="4"/>
                  </a:lnTo>
                  <a:lnTo>
                    <a:pt x="470" y="6"/>
                  </a:lnTo>
                  <a:lnTo>
                    <a:pt x="464" y="8"/>
                  </a:lnTo>
                  <a:lnTo>
                    <a:pt x="459" y="11"/>
                  </a:lnTo>
                  <a:lnTo>
                    <a:pt x="455" y="15"/>
                  </a:lnTo>
                  <a:lnTo>
                    <a:pt x="450" y="20"/>
                  </a:lnTo>
                  <a:lnTo>
                    <a:pt x="446" y="24"/>
                  </a:lnTo>
                  <a:lnTo>
                    <a:pt x="443" y="29"/>
                  </a:lnTo>
                  <a:lnTo>
                    <a:pt x="441" y="35"/>
                  </a:lnTo>
                  <a:lnTo>
                    <a:pt x="437" y="40"/>
                  </a:lnTo>
                  <a:lnTo>
                    <a:pt x="435" y="46"/>
                  </a:lnTo>
                  <a:lnTo>
                    <a:pt x="434" y="52"/>
                  </a:lnTo>
                  <a:lnTo>
                    <a:pt x="433" y="58"/>
                  </a:lnTo>
                  <a:lnTo>
                    <a:pt x="433" y="66"/>
                  </a:lnTo>
                  <a:lnTo>
                    <a:pt x="433" y="78"/>
                  </a:lnTo>
                  <a:lnTo>
                    <a:pt x="432" y="91"/>
                  </a:lnTo>
                  <a:lnTo>
                    <a:pt x="430" y="104"/>
                  </a:lnTo>
                  <a:lnTo>
                    <a:pt x="427" y="117"/>
                  </a:lnTo>
                  <a:lnTo>
                    <a:pt x="424" y="130"/>
                  </a:lnTo>
                  <a:lnTo>
                    <a:pt x="420" y="143"/>
                  </a:lnTo>
                  <a:lnTo>
                    <a:pt x="415" y="155"/>
                  </a:lnTo>
                  <a:lnTo>
                    <a:pt x="410" y="168"/>
                  </a:lnTo>
                  <a:lnTo>
                    <a:pt x="398" y="194"/>
                  </a:lnTo>
                  <a:lnTo>
                    <a:pt x="385" y="219"/>
                  </a:lnTo>
                  <a:lnTo>
                    <a:pt x="370" y="242"/>
                  </a:lnTo>
                  <a:lnTo>
                    <a:pt x="353" y="265"/>
                  </a:lnTo>
                  <a:lnTo>
                    <a:pt x="336" y="285"/>
                  </a:lnTo>
                  <a:lnTo>
                    <a:pt x="318" y="304"/>
                  </a:lnTo>
                  <a:lnTo>
                    <a:pt x="298" y="321"/>
                  </a:lnTo>
                  <a:lnTo>
                    <a:pt x="280" y="337"/>
                  </a:lnTo>
                  <a:lnTo>
                    <a:pt x="261" y="350"/>
                  </a:lnTo>
                  <a:lnTo>
                    <a:pt x="243" y="361"/>
                  </a:lnTo>
                  <a:lnTo>
                    <a:pt x="234" y="365"/>
                  </a:lnTo>
                  <a:lnTo>
                    <a:pt x="226" y="368"/>
                  </a:lnTo>
                  <a:lnTo>
                    <a:pt x="217" y="370"/>
                  </a:lnTo>
                  <a:lnTo>
                    <a:pt x="209" y="373"/>
                  </a:lnTo>
                  <a:lnTo>
                    <a:pt x="209" y="330"/>
                  </a:lnTo>
                  <a:lnTo>
                    <a:pt x="209" y="327"/>
                  </a:lnTo>
                  <a:lnTo>
                    <a:pt x="208" y="323"/>
                  </a:lnTo>
                  <a:lnTo>
                    <a:pt x="207" y="321"/>
                  </a:lnTo>
                  <a:lnTo>
                    <a:pt x="204" y="319"/>
                  </a:lnTo>
                  <a:lnTo>
                    <a:pt x="202" y="317"/>
                  </a:lnTo>
                  <a:lnTo>
                    <a:pt x="200" y="316"/>
                  </a:lnTo>
                  <a:lnTo>
                    <a:pt x="197" y="315"/>
                  </a:lnTo>
                  <a:lnTo>
                    <a:pt x="194" y="315"/>
                  </a:lnTo>
                  <a:lnTo>
                    <a:pt x="15" y="314"/>
                  </a:lnTo>
                  <a:lnTo>
                    <a:pt x="12" y="315"/>
                  </a:lnTo>
                  <a:lnTo>
                    <a:pt x="9" y="315"/>
                  </a:lnTo>
                  <a:lnTo>
                    <a:pt x="7" y="317"/>
                  </a:lnTo>
                  <a:lnTo>
                    <a:pt x="4" y="319"/>
                  </a:lnTo>
                  <a:lnTo>
                    <a:pt x="2" y="321"/>
                  </a:lnTo>
                  <a:lnTo>
                    <a:pt x="1" y="323"/>
                  </a:lnTo>
                  <a:lnTo>
                    <a:pt x="0" y="327"/>
                  </a:lnTo>
                  <a:lnTo>
                    <a:pt x="0" y="329"/>
                  </a:lnTo>
                  <a:lnTo>
                    <a:pt x="0" y="778"/>
                  </a:lnTo>
                  <a:lnTo>
                    <a:pt x="0" y="781"/>
                  </a:lnTo>
                  <a:lnTo>
                    <a:pt x="1" y="784"/>
                  </a:lnTo>
                  <a:lnTo>
                    <a:pt x="2" y="786"/>
                  </a:lnTo>
                  <a:lnTo>
                    <a:pt x="4" y="789"/>
                  </a:lnTo>
                  <a:lnTo>
                    <a:pt x="7" y="791"/>
                  </a:lnTo>
                  <a:lnTo>
                    <a:pt x="9" y="792"/>
                  </a:lnTo>
                  <a:lnTo>
                    <a:pt x="12" y="793"/>
                  </a:lnTo>
                  <a:lnTo>
                    <a:pt x="15" y="793"/>
                  </a:lnTo>
                  <a:lnTo>
                    <a:pt x="194" y="793"/>
                  </a:lnTo>
                  <a:lnTo>
                    <a:pt x="197" y="793"/>
                  </a:lnTo>
                  <a:lnTo>
                    <a:pt x="200" y="792"/>
                  </a:lnTo>
                  <a:lnTo>
                    <a:pt x="202" y="791"/>
                  </a:lnTo>
                  <a:lnTo>
                    <a:pt x="204" y="789"/>
                  </a:lnTo>
                  <a:lnTo>
                    <a:pt x="207" y="786"/>
                  </a:lnTo>
                  <a:lnTo>
                    <a:pt x="208" y="784"/>
                  </a:lnTo>
                  <a:lnTo>
                    <a:pt x="209" y="781"/>
                  </a:lnTo>
                  <a:lnTo>
                    <a:pt x="209" y="778"/>
                  </a:lnTo>
                  <a:lnTo>
                    <a:pt x="209" y="721"/>
                  </a:lnTo>
                  <a:lnTo>
                    <a:pt x="241" y="727"/>
                  </a:lnTo>
                  <a:lnTo>
                    <a:pt x="269" y="732"/>
                  </a:lnTo>
                  <a:lnTo>
                    <a:pt x="293" y="737"/>
                  </a:lnTo>
                  <a:lnTo>
                    <a:pt x="316" y="743"/>
                  </a:lnTo>
                  <a:lnTo>
                    <a:pt x="349" y="751"/>
                  </a:lnTo>
                  <a:lnTo>
                    <a:pt x="383" y="758"/>
                  </a:lnTo>
                  <a:lnTo>
                    <a:pt x="400" y="760"/>
                  </a:lnTo>
                  <a:lnTo>
                    <a:pt x="419" y="762"/>
                  </a:lnTo>
                  <a:lnTo>
                    <a:pt x="441" y="763"/>
                  </a:lnTo>
                  <a:lnTo>
                    <a:pt x="463" y="763"/>
                  </a:lnTo>
                  <a:lnTo>
                    <a:pt x="718" y="763"/>
                  </a:lnTo>
                  <a:lnTo>
                    <a:pt x="732" y="762"/>
                  </a:lnTo>
                  <a:lnTo>
                    <a:pt x="743" y="760"/>
                  </a:lnTo>
                  <a:lnTo>
                    <a:pt x="749" y="758"/>
                  </a:lnTo>
                  <a:lnTo>
                    <a:pt x="754" y="754"/>
                  </a:lnTo>
                  <a:lnTo>
                    <a:pt x="758" y="752"/>
                  </a:lnTo>
                  <a:lnTo>
                    <a:pt x="763" y="748"/>
                  </a:lnTo>
                  <a:lnTo>
                    <a:pt x="766" y="745"/>
                  </a:lnTo>
                  <a:lnTo>
                    <a:pt x="769" y="739"/>
                  </a:lnTo>
                  <a:lnTo>
                    <a:pt x="771" y="735"/>
                  </a:lnTo>
                  <a:lnTo>
                    <a:pt x="773" y="730"/>
                  </a:lnTo>
                  <a:lnTo>
                    <a:pt x="776" y="717"/>
                  </a:lnTo>
                  <a:lnTo>
                    <a:pt x="778" y="703"/>
                  </a:lnTo>
                  <a:lnTo>
                    <a:pt x="776" y="694"/>
                  </a:lnTo>
                  <a:lnTo>
                    <a:pt x="774" y="686"/>
                  </a:lnTo>
                  <a:lnTo>
                    <a:pt x="771" y="678"/>
                  </a:lnTo>
                  <a:lnTo>
                    <a:pt x="768" y="672"/>
                  </a:lnTo>
                  <a:lnTo>
                    <a:pt x="780" y="669"/>
                  </a:lnTo>
                  <a:lnTo>
                    <a:pt x="790" y="664"/>
                  </a:lnTo>
                  <a:lnTo>
                    <a:pt x="799" y="658"/>
                  </a:lnTo>
                  <a:lnTo>
                    <a:pt x="808" y="652"/>
                  </a:lnTo>
                  <a:lnTo>
                    <a:pt x="814" y="643"/>
                  </a:lnTo>
                  <a:lnTo>
                    <a:pt x="818" y="635"/>
                  </a:lnTo>
                  <a:lnTo>
                    <a:pt x="821" y="625"/>
                  </a:lnTo>
                  <a:lnTo>
                    <a:pt x="821" y="613"/>
                  </a:lnTo>
                  <a:lnTo>
                    <a:pt x="821" y="600"/>
                  </a:lnTo>
                  <a:lnTo>
                    <a:pt x="818" y="587"/>
                  </a:lnTo>
                  <a:lnTo>
                    <a:pt x="815" y="577"/>
                  </a:lnTo>
                  <a:lnTo>
                    <a:pt x="809" y="567"/>
                  </a:lnTo>
                  <a:lnTo>
                    <a:pt x="820" y="563"/>
                  </a:lnTo>
                  <a:lnTo>
                    <a:pt x="831" y="556"/>
                  </a:lnTo>
                  <a:lnTo>
                    <a:pt x="842" y="549"/>
                  </a:lnTo>
                  <a:lnTo>
                    <a:pt x="850" y="540"/>
                  </a:lnTo>
                  <a:lnTo>
                    <a:pt x="857" y="530"/>
                  </a:lnTo>
                  <a:lnTo>
                    <a:pt x="862" y="519"/>
                  </a:lnTo>
                  <a:lnTo>
                    <a:pt x="864" y="513"/>
                  </a:lnTo>
                  <a:lnTo>
                    <a:pt x="865" y="506"/>
                  </a:lnTo>
                  <a:lnTo>
                    <a:pt x="866" y="501"/>
                  </a:lnTo>
                  <a:lnTo>
                    <a:pt x="866" y="494"/>
                  </a:lnTo>
                  <a:lnTo>
                    <a:pt x="866" y="487"/>
                  </a:lnTo>
                  <a:lnTo>
                    <a:pt x="865" y="481"/>
                  </a:lnTo>
                  <a:lnTo>
                    <a:pt x="863" y="474"/>
                  </a:lnTo>
                  <a:lnTo>
                    <a:pt x="861" y="468"/>
                  </a:lnTo>
                  <a:lnTo>
                    <a:pt x="858" y="462"/>
                  </a:lnTo>
                  <a:lnTo>
                    <a:pt x="853" y="456"/>
                  </a:lnTo>
                  <a:lnTo>
                    <a:pt x="849" y="451"/>
                  </a:lnTo>
                  <a:lnTo>
                    <a:pt x="844" y="445"/>
                  </a:lnTo>
                  <a:lnTo>
                    <a:pt x="850" y="443"/>
                  </a:lnTo>
                  <a:lnTo>
                    <a:pt x="857" y="440"/>
                  </a:lnTo>
                  <a:lnTo>
                    <a:pt x="862" y="436"/>
                  </a:lnTo>
                  <a:lnTo>
                    <a:pt x="867" y="431"/>
                  </a:lnTo>
                  <a:lnTo>
                    <a:pt x="872" y="427"/>
                  </a:lnTo>
                  <a:lnTo>
                    <a:pt x="876" y="422"/>
                  </a:lnTo>
                  <a:lnTo>
                    <a:pt x="880" y="415"/>
                  </a:lnTo>
                  <a:lnTo>
                    <a:pt x="883" y="410"/>
                  </a:lnTo>
                  <a:lnTo>
                    <a:pt x="890" y="397"/>
                  </a:lnTo>
                  <a:lnTo>
                    <a:pt x="893" y="384"/>
                  </a:lnTo>
                  <a:lnTo>
                    <a:pt x="896" y="371"/>
                  </a:lnTo>
                  <a:lnTo>
                    <a:pt x="896"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9" name="Freeform 300">
              <a:extLst>
                <a:ext uri="{FF2B5EF4-FFF2-40B4-BE49-F238E27FC236}">
                  <a16:creationId xmlns:a16="http://schemas.microsoft.com/office/drawing/2014/main" id="{0D0EC8DE-B686-463A-B99F-072FF906B6AA}"/>
                </a:ext>
              </a:extLst>
            </p:cNvPr>
            <p:cNvSpPr>
              <a:spLocks/>
            </p:cNvSpPr>
            <p:nvPr/>
          </p:nvSpPr>
          <p:spPr bwMode="auto">
            <a:xfrm>
              <a:off x="7650163" y="1011238"/>
              <a:ext cx="11113" cy="12700"/>
            </a:xfrm>
            <a:custGeom>
              <a:avLst/>
              <a:gdLst>
                <a:gd name="T0" fmla="*/ 18 w 38"/>
                <a:gd name="T1" fmla="*/ 0 h 38"/>
                <a:gd name="T2" fmla="*/ 15 w 38"/>
                <a:gd name="T3" fmla="*/ 1 h 38"/>
                <a:gd name="T4" fmla="*/ 11 w 38"/>
                <a:gd name="T5" fmla="*/ 2 h 38"/>
                <a:gd name="T6" fmla="*/ 8 w 38"/>
                <a:gd name="T7" fmla="*/ 3 h 38"/>
                <a:gd name="T8" fmla="*/ 6 w 38"/>
                <a:gd name="T9" fmla="*/ 6 h 38"/>
                <a:gd name="T10" fmla="*/ 3 w 38"/>
                <a:gd name="T11" fmla="*/ 9 h 38"/>
                <a:gd name="T12" fmla="*/ 1 w 38"/>
                <a:gd name="T13" fmla="*/ 12 h 38"/>
                <a:gd name="T14" fmla="*/ 0 w 38"/>
                <a:gd name="T15" fmla="*/ 15 h 38"/>
                <a:gd name="T16" fmla="*/ 0 w 38"/>
                <a:gd name="T17" fmla="*/ 19 h 38"/>
                <a:gd name="T18" fmla="*/ 0 w 38"/>
                <a:gd name="T19" fmla="*/ 23 h 38"/>
                <a:gd name="T20" fmla="*/ 1 w 38"/>
                <a:gd name="T21" fmla="*/ 27 h 38"/>
                <a:gd name="T22" fmla="*/ 3 w 38"/>
                <a:gd name="T23" fmla="*/ 30 h 38"/>
                <a:gd name="T24" fmla="*/ 6 w 38"/>
                <a:gd name="T25" fmla="*/ 32 h 38"/>
                <a:gd name="T26" fmla="*/ 8 w 38"/>
                <a:gd name="T27" fmla="*/ 35 h 38"/>
                <a:gd name="T28" fmla="*/ 11 w 38"/>
                <a:gd name="T29" fmla="*/ 36 h 38"/>
                <a:gd name="T30" fmla="*/ 15 w 38"/>
                <a:gd name="T31" fmla="*/ 37 h 38"/>
                <a:gd name="T32" fmla="*/ 18 w 38"/>
                <a:gd name="T33" fmla="*/ 38 h 38"/>
                <a:gd name="T34" fmla="*/ 23 w 38"/>
                <a:gd name="T35" fmla="*/ 37 h 38"/>
                <a:gd name="T36" fmla="*/ 26 w 38"/>
                <a:gd name="T37" fmla="*/ 36 h 38"/>
                <a:gd name="T38" fmla="*/ 29 w 38"/>
                <a:gd name="T39" fmla="*/ 35 h 38"/>
                <a:gd name="T40" fmla="*/ 32 w 38"/>
                <a:gd name="T41" fmla="*/ 32 h 38"/>
                <a:gd name="T42" fmla="*/ 34 w 38"/>
                <a:gd name="T43" fmla="*/ 30 h 38"/>
                <a:gd name="T44" fmla="*/ 37 w 38"/>
                <a:gd name="T45" fmla="*/ 27 h 38"/>
                <a:gd name="T46" fmla="*/ 38 w 38"/>
                <a:gd name="T47" fmla="*/ 23 h 38"/>
                <a:gd name="T48" fmla="*/ 38 w 38"/>
                <a:gd name="T49" fmla="*/ 19 h 38"/>
                <a:gd name="T50" fmla="*/ 38 w 38"/>
                <a:gd name="T51" fmla="*/ 15 h 38"/>
                <a:gd name="T52" fmla="*/ 37 w 38"/>
                <a:gd name="T53" fmla="*/ 12 h 38"/>
                <a:gd name="T54" fmla="*/ 34 w 38"/>
                <a:gd name="T55" fmla="*/ 9 h 38"/>
                <a:gd name="T56" fmla="*/ 32 w 38"/>
                <a:gd name="T57" fmla="*/ 6 h 38"/>
                <a:gd name="T58" fmla="*/ 29 w 38"/>
                <a:gd name="T59" fmla="*/ 3 h 38"/>
                <a:gd name="T60" fmla="*/ 26 w 38"/>
                <a:gd name="T61" fmla="*/ 2 h 38"/>
                <a:gd name="T62" fmla="*/ 23 w 38"/>
                <a:gd name="T63" fmla="*/ 1 h 38"/>
                <a:gd name="T64" fmla="*/ 18 w 38"/>
                <a:gd name="T65" fmla="*/ 0 h 38"/>
                <a:gd name="T66" fmla="*/ 18 w 38"/>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8">
                  <a:moveTo>
                    <a:pt x="18" y="0"/>
                  </a:moveTo>
                  <a:lnTo>
                    <a:pt x="15" y="1"/>
                  </a:lnTo>
                  <a:lnTo>
                    <a:pt x="11" y="2"/>
                  </a:lnTo>
                  <a:lnTo>
                    <a:pt x="8" y="3"/>
                  </a:lnTo>
                  <a:lnTo>
                    <a:pt x="6" y="6"/>
                  </a:lnTo>
                  <a:lnTo>
                    <a:pt x="3" y="9"/>
                  </a:lnTo>
                  <a:lnTo>
                    <a:pt x="1" y="12"/>
                  </a:lnTo>
                  <a:lnTo>
                    <a:pt x="0" y="15"/>
                  </a:lnTo>
                  <a:lnTo>
                    <a:pt x="0" y="19"/>
                  </a:lnTo>
                  <a:lnTo>
                    <a:pt x="0" y="23"/>
                  </a:lnTo>
                  <a:lnTo>
                    <a:pt x="1" y="27"/>
                  </a:lnTo>
                  <a:lnTo>
                    <a:pt x="3" y="30"/>
                  </a:lnTo>
                  <a:lnTo>
                    <a:pt x="6" y="32"/>
                  </a:lnTo>
                  <a:lnTo>
                    <a:pt x="8" y="35"/>
                  </a:lnTo>
                  <a:lnTo>
                    <a:pt x="11" y="36"/>
                  </a:lnTo>
                  <a:lnTo>
                    <a:pt x="15" y="37"/>
                  </a:lnTo>
                  <a:lnTo>
                    <a:pt x="18" y="38"/>
                  </a:lnTo>
                  <a:lnTo>
                    <a:pt x="23" y="37"/>
                  </a:lnTo>
                  <a:lnTo>
                    <a:pt x="26" y="36"/>
                  </a:lnTo>
                  <a:lnTo>
                    <a:pt x="29" y="35"/>
                  </a:lnTo>
                  <a:lnTo>
                    <a:pt x="32" y="32"/>
                  </a:lnTo>
                  <a:lnTo>
                    <a:pt x="34" y="30"/>
                  </a:lnTo>
                  <a:lnTo>
                    <a:pt x="37" y="27"/>
                  </a:lnTo>
                  <a:lnTo>
                    <a:pt x="38" y="23"/>
                  </a:lnTo>
                  <a:lnTo>
                    <a:pt x="38" y="19"/>
                  </a:lnTo>
                  <a:lnTo>
                    <a:pt x="38" y="15"/>
                  </a:lnTo>
                  <a:lnTo>
                    <a:pt x="37" y="12"/>
                  </a:lnTo>
                  <a:lnTo>
                    <a:pt x="34" y="9"/>
                  </a:lnTo>
                  <a:lnTo>
                    <a:pt x="32" y="6"/>
                  </a:lnTo>
                  <a:lnTo>
                    <a:pt x="29" y="3"/>
                  </a:lnTo>
                  <a:lnTo>
                    <a:pt x="26" y="2"/>
                  </a:lnTo>
                  <a:lnTo>
                    <a:pt x="23"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3" name="Gruppieren 12"/>
          <p:cNvGrpSpPr/>
          <p:nvPr/>
        </p:nvGrpSpPr>
        <p:grpSpPr>
          <a:xfrm>
            <a:off x="4225728" y="4474273"/>
            <a:ext cx="662457" cy="805148"/>
            <a:chOff x="3987237" y="4547136"/>
            <a:chExt cx="662457" cy="805148"/>
          </a:xfrm>
        </p:grpSpPr>
        <p:sp>
          <p:nvSpPr>
            <p:cNvPr id="110" name="Rechteck 109">
              <a:extLst>
                <a:ext uri="{FF2B5EF4-FFF2-40B4-BE49-F238E27FC236}">
                  <a16:creationId xmlns:a16="http://schemas.microsoft.com/office/drawing/2014/main" id="{F0738A28-5FB6-49D9-AA87-4D5FCD10ADD7}"/>
                </a:ext>
              </a:extLst>
            </p:cNvPr>
            <p:cNvSpPr/>
            <p:nvPr/>
          </p:nvSpPr>
          <p:spPr bwMode="gray">
            <a:xfrm>
              <a:off x="3987237" y="5093752"/>
              <a:ext cx="662457" cy="258532"/>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Positionen</a:t>
              </a:r>
            </a:p>
          </p:txBody>
        </p:sp>
        <p:sp>
          <p:nvSpPr>
            <p:cNvPr id="130" name="Sechseck 1">
              <a:extLst>
                <a:ext uri="{FF2B5EF4-FFF2-40B4-BE49-F238E27FC236}">
                  <a16:creationId xmlns:a16="http://schemas.microsoft.com/office/drawing/2014/main" id="{97E1981E-8E96-487A-B90A-BA1618DA6436}"/>
                </a:ext>
              </a:extLst>
            </p:cNvPr>
            <p:cNvSpPr>
              <a:spLocks noChangeAspect="1"/>
            </p:cNvSpPr>
            <p:nvPr/>
          </p:nvSpPr>
          <p:spPr>
            <a:xfrm>
              <a:off x="4070674" y="4547136"/>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131" name="Gruppieren 130">
              <a:extLst>
                <a:ext uri="{FF2B5EF4-FFF2-40B4-BE49-F238E27FC236}">
                  <a16:creationId xmlns:a16="http://schemas.microsoft.com/office/drawing/2014/main" id="{9CC63096-C5E8-4C2F-B139-F473169D5954}"/>
                </a:ext>
              </a:extLst>
            </p:cNvPr>
            <p:cNvGrpSpPr>
              <a:grpSpLocks noChangeAspect="1"/>
            </p:cNvGrpSpPr>
            <p:nvPr/>
          </p:nvGrpSpPr>
          <p:grpSpPr>
            <a:xfrm>
              <a:off x="4167456" y="4664097"/>
              <a:ext cx="302016" cy="261660"/>
              <a:chOff x="4635500" y="4222750"/>
              <a:chExt cx="368300" cy="319088"/>
            </a:xfrm>
            <a:solidFill>
              <a:schemeClr val="bg2"/>
            </a:solidFill>
          </p:grpSpPr>
          <p:sp>
            <p:nvSpPr>
              <p:cNvPr id="132" name="Freeform 37">
                <a:extLst>
                  <a:ext uri="{FF2B5EF4-FFF2-40B4-BE49-F238E27FC236}">
                    <a16:creationId xmlns:a16="http://schemas.microsoft.com/office/drawing/2014/main" id="{E91AB4F5-E6BC-40B5-BD85-C0B5EB8F5F76}"/>
                  </a:ext>
                </a:extLst>
              </p:cNvPr>
              <p:cNvSpPr>
                <a:spLocks/>
              </p:cNvSpPr>
              <p:nvPr/>
            </p:nvSpPr>
            <p:spPr bwMode="auto">
              <a:xfrm>
                <a:off x="4879975" y="4291013"/>
                <a:ext cx="123825" cy="123825"/>
              </a:xfrm>
              <a:custGeom>
                <a:avLst/>
                <a:gdLst>
                  <a:gd name="T0" fmla="*/ 600 w 639"/>
                  <a:gd name="T1" fmla="*/ 280 h 639"/>
                  <a:gd name="T2" fmla="*/ 359 w 639"/>
                  <a:gd name="T3" fmla="*/ 280 h 639"/>
                  <a:gd name="T4" fmla="*/ 359 w 639"/>
                  <a:gd name="T5" fmla="*/ 39 h 639"/>
                  <a:gd name="T6" fmla="*/ 320 w 639"/>
                  <a:gd name="T7" fmla="*/ 0 h 639"/>
                  <a:gd name="T8" fmla="*/ 281 w 639"/>
                  <a:gd name="T9" fmla="*/ 39 h 639"/>
                  <a:gd name="T10" fmla="*/ 281 w 639"/>
                  <a:gd name="T11" fmla="*/ 280 h 639"/>
                  <a:gd name="T12" fmla="*/ 40 w 639"/>
                  <a:gd name="T13" fmla="*/ 280 h 639"/>
                  <a:gd name="T14" fmla="*/ 0 w 639"/>
                  <a:gd name="T15" fmla="*/ 320 h 639"/>
                  <a:gd name="T16" fmla="*/ 40 w 639"/>
                  <a:gd name="T17" fmla="*/ 359 h 639"/>
                  <a:gd name="T18" fmla="*/ 281 w 639"/>
                  <a:gd name="T19" fmla="*/ 359 h 639"/>
                  <a:gd name="T20" fmla="*/ 281 w 639"/>
                  <a:gd name="T21" fmla="*/ 600 h 639"/>
                  <a:gd name="T22" fmla="*/ 320 w 639"/>
                  <a:gd name="T23" fmla="*/ 639 h 639"/>
                  <a:gd name="T24" fmla="*/ 359 w 639"/>
                  <a:gd name="T25" fmla="*/ 600 h 639"/>
                  <a:gd name="T26" fmla="*/ 359 w 639"/>
                  <a:gd name="T27" fmla="*/ 359 h 639"/>
                  <a:gd name="T28" fmla="*/ 600 w 639"/>
                  <a:gd name="T29" fmla="*/ 359 h 639"/>
                  <a:gd name="T30" fmla="*/ 639 w 639"/>
                  <a:gd name="T31" fmla="*/ 320 h 639"/>
                  <a:gd name="T32" fmla="*/ 600 w 639"/>
                  <a:gd name="T33" fmla="*/ 28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9" h="639">
                    <a:moveTo>
                      <a:pt x="600" y="280"/>
                    </a:moveTo>
                    <a:cubicBezTo>
                      <a:pt x="359" y="280"/>
                      <a:pt x="359" y="280"/>
                      <a:pt x="359" y="280"/>
                    </a:cubicBezTo>
                    <a:cubicBezTo>
                      <a:pt x="359" y="39"/>
                      <a:pt x="359" y="39"/>
                      <a:pt x="359" y="39"/>
                    </a:cubicBezTo>
                    <a:cubicBezTo>
                      <a:pt x="359" y="18"/>
                      <a:pt x="342" y="0"/>
                      <a:pt x="320" y="0"/>
                    </a:cubicBezTo>
                    <a:cubicBezTo>
                      <a:pt x="298" y="0"/>
                      <a:pt x="281" y="18"/>
                      <a:pt x="281" y="39"/>
                    </a:cubicBezTo>
                    <a:cubicBezTo>
                      <a:pt x="281" y="280"/>
                      <a:pt x="281" y="280"/>
                      <a:pt x="281" y="280"/>
                    </a:cubicBezTo>
                    <a:cubicBezTo>
                      <a:pt x="40" y="280"/>
                      <a:pt x="40" y="280"/>
                      <a:pt x="40" y="280"/>
                    </a:cubicBezTo>
                    <a:cubicBezTo>
                      <a:pt x="18" y="280"/>
                      <a:pt x="0" y="298"/>
                      <a:pt x="0" y="320"/>
                    </a:cubicBezTo>
                    <a:cubicBezTo>
                      <a:pt x="0" y="341"/>
                      <a:pt x="18" y="359"/>
                      <a:pt x="40" y="359"/>
                    </a:cubicBezTo>
                    <a:cubicBezTo>
                      <a:pt x="281" y="359"/>
                      <a:pt x="281" y="359"/>
                      <a:pt x="281" y="359"/>
                    </a:cubicBezTo>
                    <a:cubicBezTo>
                      <a:pt x="281" y="600"/>
                      <a:pt x="281" y="600"/>
                      <a:pt x="281" y="600"/>
                    </a:cubicBezTo>
                    <a:cubicBezTo>
                      <a:pt x="281" y="622"/>
                      <a:pt x="298" y="639"/>
                      <a:pt x="320" y="639"/>
                    </a:cubicBezTo>
                    <a:cubicBezTo>
                      <a:pt x="342" y="639"/>
                      <a:pt x="359" y="622"/>
                      <a:pt x="359" y="600"/>
                    </a:cubicBezTo>
                    <a:cubicBezTo>
                      <a:pt x="359" y="359"/>
                      <a:pt x="359" y="359"/>
                      <a:pt x="359" y="359"/>
                    </a:cubicBezTo>
                    <a:cubicBezTo>
                      <a:pt x="600" y="359"/>
                      <a:pt x="600" y="359"/>
                      <a:pt x="600" y="359"/>
                    </a:cubicBezTo>
                    <a:cubicBezTo>
                      <a:pt x="622" y="359"/>
                      <a:pt x="639" y="341"/>
                      <a:pt x="639" y="320"/>
                    </a:cubicBezTo>
                    <a:cubicBezTo>
                      <a:pt x="639" y="298"/>
                      <a:pt x="622" y="280"/>
                      <a:pt x="600"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3" name="Freeform 38">
                <a:extLst>
                  <a:ext uri="{FF2B5EF4-FFF2-40B4-BE49-F238E27FC236}">
                    <a16:creationId xmlns:a16="http://schemas.microsoft.com/office/drawing/2014/main" id="{DB5A4B76-5F6B-4F36-AF9C-8D611541990E}"/>
                  </a:ext>
                </a:extLst>
              </p:cNvPr>
              <p:cNvSpPr>
                <a:spLocks noEditPoints="1"/>
              </p:cNvSpPr>
              <p:nvPr/>
            </p:nvSpPr>
            <p:spPr bwMode="auto">
              <a:xfrm>
                <a:off x="4691063" y="4222750"/>
                <a:ext cx="153988" cy="152400"/>
              </a:xfrm>
              <a:custGeom>
                <a:avLst/>
                <a:gdLst>
                  <a:gd name="T0" fmla="*/ 395 w 789"/>
                  <a:gd name="T1" fmla="*/ 0 h 789"/>
                  <a:gd name="T2" fmla="*/ 0 w 789"/>
                  <a:gd name="T3" fmla="*/ 394 h 789"/>
                  <a:gd name="T4" fmla="*/ 395 w 789"/>
                  <a:gd name="T5" fmla="*/ 789 h 789"/>
                  <a:gd name="T6" fmla="*/ 789 w 789"/>
                  <a:gd name="T7" fmla="*/ 394 h 789"/>
                  <a:gd name="T8" fmla="*/ 395 w 789"/>
                  <a:gd name="T9" fmla="*/ 0 h 789"/>
                  <a:gd name="T10" fmla="*/ 395 w 789"/>
                  <a:gd name="T11" fmla="*/ 710 h 789"/>
                  <a:gd name="T12" fmla="*/ 79 w 789"/>
                  <a:gd name="T13" fmla="*/ 394 h 789"/>
                  <a:gd name="T14" fmla="*/ 395 w 789"/>
                  <a:gd name="T15" fmla="*/ 79 h 789"/>
                  <a:gd name="T16" fmla="*/ 710 w 789"/>
                  <a:gd name="T17" fmla="*/ 394 h 789"/>
                  <a:gd name="T18" fmla="*/ 395 w 789"/>
                  <a:gd name="T19" fmla="*/ 71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9" h="789">
                    <a:moveTo>
                      <a:pt x="395" y="0"/>
                    </a:moveTo>
                    <a:cubicBezTo>
                      <a:pt x="177" y="0"/>
                      <a:pt x="0" y="177"/>
                      <a:pt x="0" y="394"/>
                    </a:cubicBezTo>
                    <a:cubicBezTo>
                      <a:pt x="0" y="612"/>
                      <a:pt x="177" y="789"/>
                      <a:pt x="395" y="789"/>
                    </a:cubicBezTo>
                    <a:cubicBezTo>
                      <a:pt x="612" y="789"/>
                      <a:pt x="789" y="612"/>
                      <a:pt x="789" y="394"/>
                    </a:cubicBezTo>
                    <a:cubicBezTo>
                      <a:pt x="789" y="177"/>
                      <a:pt x="612" y="0"/>
                      <a:pt x="395" y="0"/>
                    </a:cubicBezTo>
                    <a:close/>
                    <a:moveTo>
                      <a:pt x="395" y="710"/>
                    </a:moveTo>
                    <a:cubicBezTo>
                      <a:pt x="221" y="710"/>
                      <a:pt x="79" y="568"/>
                      <a:pt x="79" y="394"/>
                    </a:cubicBezTo>
                    <a:cubicBezTo>
                      <a:pt x="79" y="220"/>
                      <a:pt x="221" y="79"/>
                      <a:pt x="395" y="79"/>
                    </a:cubicBezTo>
                    <a:cubicBezTo>
                      <a:pt x="569" y="79"/>
                      <a:pt x="710" y="220"/>
                      <a:pt x="710" y="394"/>
                    </a:cubicBezTo>
                    <a:cubicBezTo>
                      <a:pt x="710" y="568"/>
                      <a:pt x="569" y="710"/>
                      <a:pt x="395" y="7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4" name="Freeform 39">
                <a:extLst>
                  <a:ext uri="{FF2B5EF4-FFF2-40B4-BE49-F238E27FC236}">
                    <a16:creationId xmlns:a16="http://schemas.microsoft.com/office/drawing/2014/main" id="{3DF800C2-82AD-4AF6-B6C9-BE89F9A823C7}"/>
                  </a:ext>
                </a:extLst>
              </p:cNvPr>
              <p:cNvSpPr>
                <a:spLocks noEditPoints="1"/>
              </p:cNvSpPr>
              <p:nvPr/>
            </p:nvSpPr>
            <p:spPr bwMode="auto">
              <a:xfrm>
                <a:off x="4635500" y="4402138"/>
                <a:ext cx="265113" cy="139700"/>
              </a:xfrm>
              <a:custGeom>
                <a:avLst/>
                <a:gdLst>
                  <a:gd name="T0" fmla="*/ 682 w 1363"/>
                  <a:gd name="T1" fmla="*/ 0 h 721"/>
                  <a:gd name="T2" fmla="*/ 0 w 1363"/>
                  <a:gd name="T3" fmla="*/ 681 h 721"/>
                  <a:gd name="T4" fmla="*/ 39 w 1363"/>
                  <a:gd name="T5" fmla="*/ 721 h 721"/>
                  <a:gd name="T6" fmla="*/ 1324 w 1363"/>
                  <a:gd name="T7" fmla="*/ 721 h 721"/>
                  <a:gd name="T8" fmla="*/ 1363 w 1363"/>
                  <a:gd name="T9" fmla="*/ 681 h 721"/>
                  <a:gd name="T10" fmla="*/ 682 w 1363"/>
                  <a:gd name="T11" fmla="*/ 0 h 721"/>
                  <a:gd name="T12" fmla="*/ 80 w 1363"/>
                  <a:gd name="T13" fmla="*/ 642 h 721"/>
                  <a:gd name="T14" fmla="*/ 682 w 1363"/>
                  <a:gd name="T15" fmla="*/ 78 h 721"/>
                  <a:gd name="T16" fmla="*/ 1283 w 1363"/>
                  <a:gd name="T17" fmla="*/ 642 h 721"/>
                  <a:gd name="T18" fmla="*/ 80 w 1363"/>
                  <a:gd name="T19" fmla="*/ 64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3" h="721">
                    <a:moveTo>
                      <a:pt x="682" y="0"/>
                    </a:moveTo>
                    <a:cubicBezTo>
                      <a:pt x="306" y="0"/>
                      <a:pt x="0" y="305"/>
                      <a:pt x="0" y="681"/>
                    </a:cubicBezTo>
                    <a:cubicBezTo>
                      <a:pt x="0" y="703"/>
                      <a:pt x="18" y="721"/>
                      <a:pt x="39" y="721"/>
                    </a:cubicBezTo>
                    <a:cubicBezTo>
                      <a:pt x="1324" y="721"/>
                      <a:pt x="1324" y="721"/>
                      <a:pt x="1324" y="721"/>
                    </a:cubicBezTo>
                    <a:cubicBezTo>
                      <a:pt x="1346" y="721"/>
                      <a:pt x="1363" y="703"/>
                      <a:pt x="1363" y="681"/>
                    </a:cubicBezTo>
                    <a:cubicBezTo>
                      <a:pt x="1363" y="305"/>
                      <a:pt x="1057" y="0"/>
                      <a:pt x="682" y="0"/>
                    </a:cubicBezTo>
                    <a:close/>
                    <a:moveTo>
                      <a:pt x="80" y="642"/>
                    </a:moveTo>
                    <a:cubicBezTo>
                      <a:pt x="100" y="328"/>
                      <a:pt x="362" y="78"/>
                      <a:pt x="682" y="78"/>
                    </a:cubicBezTo>
                    <a:cubicBezTo>
                      <a:pt x="1001" y="78"/>
                      <a:pt x="1263" y="328"/>
                      <a:pt x="1283" y="642"/>
                    </a:cubicBezTo>
                    <a:lnTo>
                      <a:pt x="80" y="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14" name="Gruppieren 13"/>
          <p:cNvGrpSpPr/>
          <p:nvPr/>
        </p:nvGrpSpPr>
        <p:grpSpPr>
          <a:xfrm>
            <a:off x="6359735" y="4474273"/>
            <a:ext cx="495582" cy="495582"/>
            <a:chOff x="5362013" y="4547136"/>
            <a:chExt cx="495582" cy="495582"/>
          </a:xfrm>
        </p:grpSpPr>
        <p:sp>
          <p:nvSpPr>
            <p:cNvPr id="135" name="Sechseck 1">
              <a:extLst>
                <a:ext uri="{FF2B5EF4-FFF2-40B4-BE49-F238E27FC236}">
                  <a16:creationId xmlns:a16="http://schemas.microsoft.com/office/drawing/2014/main" id="{20C94262-4E91-40C7-959A-A170403C44B5}"/>
                </a:ext>
              </a:extLst>
            </p:cNvPr>
            <p:cNvSpPr>
              <a:spLocks noChangeAspect="1"/>
            </p:cNvSpPr>
            <p:nvPr/>
          </p:nvSpPr>
          <p:spPr>
            <a:xfrm>
              <a:off x="5362013" y="4547136"/>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136" name="Group 93">
              <a:extLst>
                <a:ext uri="{FF2B5EF4-FFF2-40B4-BE49-F238E27FC236}">
                  <a16:creationId xmlns:a16="http://schemas.microsoft.com/office/drawing/2014/main" id="{C7393FEB-1DB4-4A37-8F77-E7512E42FE4E}"/>
                </a:ext>
              </a:extLst>
            </p:cNvPr>
            <p:cNvGrpSpPr>
              <a:grpSpLocks noChangeAspect="1"/>
            </p:cNvGrpSpPr>
            <p:nvPr/>
          </p:nvGrpSpPr>
          <p:grpSpPr>
            <a:xfrm>
              <a:off x="5470407" y="4664097"/>
              <a:ext cx="278796" cy="261660"/>
              <a:chOff x="7615238" y="1366838"/>
              <a:chExt cx="284163" cy="266699"/>
            </a:xfrm>
            <a:solidFill>
              <a:schemeClr val="bg2"/>
            </a:solidFill>
            <a:effectLst/>
          </p:grpSpPr>
          <p:sp>
            <p:nvSpPr>
              <p:cNvPr id="137" name="Freeform 319">
                <a:extLst>
                  <a:ext uri="{FF2B5EF4-FFF2-40B4-BE49-F238E27FC236}">
                    <a16:creationId xmlns:a16="http://schemas.microsoft.com/office/drawing/2014/main" id="{25E60F63-54F6-4C5B-9AED-9ADAEED42E21}"/>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8" name="Freeform 320">
                <a:extLst>
                  <a:ext uri="{FF2B5EF4-FFF2-40B4-BE49-F238E27FC236}">
                    <a16:creationId xmlns:a16="http://schemas.microsoft.com/office/drawing/2014/main" id="{DB65EFBE-36D4-4661-8639-0B72E0EEDFCE}"/>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9" name="Freeform 321">
                <a:extLst>
                  <a:ext uri="{FF2B5EF4-FFF2-40B4-BE49-F238E27FC236}">
                    <a16:creationId xmlns:a16="http://schemas.microsoft.com/office/drawing/2014/main" id="{B9EC210F-A826-4AE6-A3DA-F00E5F3DB34D}"/>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pic>
        <p:nvPicPr>
          <p:cNvPr id="143" name="Grafik 142" descr="far.jpg">
            <a:extLst>
              <a:ext uri="{FF2B5EF4-FFF2-40B4-BE49-F238E27FC236}">
                <a16:creationId xmlns:a16="http://schemas.microsoft.com/office/drawing/2014/main" id="{0A8B6F64-8F1B-4EFE-B26C-4356DA5B816B}"/>
              </a:ext>
            </a:extLst>
          </p:cNvPr>
          <p:cNvPicPr>
            <a:picLocks noChangeAspect="1"/>
          </p:cNvPicPr>
          <p:nvPr/>
        </p:nvPicPr>
        <p:blipFill rotWithShape="1">
          <a:blip r:embed="rId3" cstate="print"/>
          <a:srcRect l="13003" t="5487" r="28089" b="55488"/>
          <a:stretch/>
        </p:blipFill>
        <p:spPr>
          <a:xfrm>
            <a:off x="606375" y="1932217"/>
            <a:ext cx="1796507" cy="1795420"/>
          </a:xfrm>
          <a:prstGeom prst="ellipse">
            <a:avLst/>
          </a:prstGeom>
        </p:spPr>
      </p:pic>
      <p:cxnSp>
        <p:nvCxnSpPr>
          <p:cNvPr id="144" name="Gerader Verbinder 128">
            <a:extLst>
              <a:ext uri="{FF2B5EF4-FFF2-40B4-BE49-F238E27FC236}">
                <a16:creationId xmlns:a16="http://schemas.microsoft.com/office/drawing/2014/main" id="{BAF31517-7E22-4F5F-8625-B2E210CF6541}"/>
              </a:ext>
            </a:extLst>
          </p:cNvPr>
          <p:cNvCxnSpPr/>
          <p:nvPr/>
        </p:nvCxnSpPr>
        <p:spPr>
          <a:xfrm>
            <a:off x="9652000"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grpSp>
        <p:nvGrpSpPr>
          <p:cNvPr id="15" name="Gruppieren 14"/>
          <p:cNvGrpSpPr/>
          <p:nvPr/>
        </p:nvGrpSpPr>
        <p:grpSpPr>
          <a:xfrm>
            <a:off x="3536862" y="4581711"/>
            <a:ext cx="4076758" cy="1655577"/>
            <a:chOff x="3536862" y="4581711"/>
            <a:chExt cx="4076758" cy="1727609"/>
          </a:xfrm>
        </p:grpSpPr>
        <p:cxnSp>
          <p:nvCxnSpPr>
            <p:cNvPr id="140" name="Gerader Verbinder 127">
              <a:extLst>
                <a:ext uri="{FF2B5EF4-FFF2-40B4-BE49-F238E27FC236}">
                  <a16:creationId xmlns:a16="http://schemas.microsoft.com/office/drawing/2014/main" id="{B7AA22C4-1E09-4F34-AD28-251439641088}"/>
                </a:ext>
              </a:extLst>
            </p:cNvPr>
            <p:cNvCxnSpPr/>
            <p:nvPr/>
          </p:nvCxnSpPr>
          <p:spPr>
            <a:xfrm>
              <a:off x="3536862"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cxnSp>
          <p:nvCxnSpPr>
            <p:cNvPr id="141" name="Gerader Verbinder 128">
              <a:extLst>
                <a:ext uri="{FF2B5EF4-FFF2-40B4-BE49-F238E27FC236}">
                  <a16:creationId xmlns:a16="http://schemas.microsoft.com/office/drawing/2014/main" id="{BAF31517-7E22-4F5F-8625-B2E210CF6541}"/>
                </a:ext>
              </a:extLst>
            </p:cNvPr>
            <p:cNvCxnSpPr/>
            <p:nvPr/>
          </p:nvCxnSpPr>
          <p:spPr>
            <a:xfrm>
              <a:off x="5575241"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cxnSp>
          <p:nvCxnSpPr>
            <p:cNvPr id="145" name="Gerader Verbinder 128">
              <a:extLst>
                <a:ext uri="{FF2B5EF4-FFF2-40B4-BE49-F238E27FC236}">
                  <a16:creationId xmlns:a16="http://schemas.microsoft.com/office/drawing/2014/main" id="{BAF31517-7E22-4F5F-8625-B2E210CF6541}"/>
                </a:ext>
              </a:extLst>
            </p:cNvPr>
            <p:cNvCxnSpPr/>
            <p:nvPr/>
          </p:nvCxnSpPr>
          <p:spPr>
            <a:xfrm>
              <a:off x="7613620"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grpSp>
      <p:sp>
        <p:nvSpPr>
          <p:cNvPr id="148" name="Rechteck 147">
            <a:extLst>
              <a:ext uri="{FF2B5EF4-FFF2-40B4-BE49-F238E27FC236}">
                <a16:creationId xmlns:a16="http://schemas.microsoft.com/office/drawing/2014/main" id="{FF5DB852-B83C-40A5-BE52-BEE362F31E0B}"/>
              </a:ext>
            </a:extLst>
          </p:cNvPr>
          <p:cNvSpPr/>
          <p:nvPr/>
        </p:nvSpPr>
        <p:spPr bwMode="gray">
          <a:xfrm>
            <a:off x="7689304" y="5020888"/>
            <a:ext cx="1892072"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Investition</a:t>
            </a:r>
          </a:p>
        </p:txBody>
      </p:sp>
      <p:sp>
        <p:nvSpPr>
          <p:cNvPr id="149" name="Rechteck 148">
            <a:extLst>
              <a:ext uri="{FF2B5EF4-FFF2-40B4-BE49-F238E27FC236}">
                <a16:creationId xmlns:a16="http://schemas.microsoft.com/office/drawing/2014/main" id="{83873EA3-1926-40D8-A6E0-CF890BBA9E14}"/>
              </a:ext>
            </a:extLst>
          </p:cNvPr>
          <p:cNvSpPr/>
          <p:nvPr/>
        </p:nvSpPr>
        <p:spPr bwMode="gray">
          <a:xfrm>
            <a:off x="7689304" y="5297888"/>
            <a:ext cx="1892072" cy="344128"/>
          </a:xfrm>
          <a:prstGeom prst="rect">
            <a:avLst/>
          </a:prstGeom>
          <a:noFill/>
          <a:ln w="25400" cap="flat" cmpd="sng" algn="ctr">
            <a:noFill/>
            <a:prstDash val="solid"/>
          </a:ln>
          <a:effectLst/>
        </p:spPr>
        <p:txBody>
          <a:bodyPr wrap="square" lIns="0" tIns="36000" rIns="0" bIns="0" rtlCol="0" anchor="t" anchorCtr="0">
            <a:spAutoFit/>
          </a:bodyPr>
          <a:lstStyle/>
          <a:p>
            <a:pPr marL="1588" lvl="1" defTabSz="952524" eaLnBrk="0" hangingPunct="0">
              <a:buClr>
                <a:srgbClr val="F36634"/>
              </a:buClr>
              <a:defRPr/>
            </a:pPr>
            <a:r>
              <a:rPr lang="de-DE" sz="1000" dirty="0"/>
              <a:t>Investment pro Tag: </a:t>
            </a:r>
            <a:br>
              <a:rPr lang="de-DE" sz="1000" dirty="0"/>
            </a:br>
            <a:r>
              <a:rPr lang="de-DE" sz="1000" dirty="0"/>
              <a:t>2.400 Euro zzgl. MwSt.</a:t>
            </a:r>
          </a:p>
        </p:txBody>
      </p:sp>
      <p:grpSp>
        <p:nvGrpSpPr>
          <p:cNvPr id="3" name="Gruppieren 2"/>
          <p:cNvGrpSpPr/>
          <p:nvPr/>
        </p:nvGrpSpPr>
        <p:grpSpPr>
          <a:xfrm>
            <a:off x="8395823" y="4474273"/>
            <a:ext cx="495582" cy="495582"/>
            <a:chOff x="8395823" y="4474273"/>
            <a:chExt cx="495582" cy="495582"/>
          </a:xfrm>
        </p:grpSpPr>
        <p:sp>
          <p:nvSpPr>
            <p:cNvPr id="151" name="Sechseck 1">
              <a:extLst>
                <a:ext uri="{FF2B5EF4-FFF2-40B4-BE49-F238E27FC236}">
                  <a16:creationId xmlns:a16="http://schemas.microsoft.com/office/drawing/2014/main" id="{20C94262-4E91-40C7-959A-A170403C44B5}"/>
                </a:ext>
              </a:extLst>
            </p:cNvPr>
            <p:cNvSpPr>
              <a:spLocks noChangeAspect="1"/>
            </p:cNvSpPr>
            <p:nvPr/>
          </p:nvSpPr>
          <p:spPr>
            <a:xfrm>
              <a:off x="8395823" y="4474273"/>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60" name="Group 55">
              <a:extLst>
                <a:ext uri="{FF2B5EF4-FFF2-40B4-BE49-F238E27FC236}">
                  <a16:creationId xmlns:a16="http://schemas.microsoft.com/office/drawing/2014/main" id="{786EA3C8-9DA3-4C7E-90F7-C9F379F9A18D}"/>
                </a:ext>
              </a:extLst>
            </p:cNvPr>
            <p:cNvGrpSpPr>
              <a:grpSpLocks noChangeAspect="1"/>
            </p:cNvGrpSpPr>
            <p:nvPr/>
          </p:nvGrpSpPr>
          <p:grpSpPr>
            <a:xfrm>
              <a:off x="8495699" y="4581544"/>
              <a:ext cx="295831" cy="281040"/>
              <a:chOff x="11601450" y="1368425"/>
              <a:chExt cx="285750" cy="271463"/>
            </a:xfrm>
            <a:solidFill>
              <a:schemeClr val="bg2"/>
            </a:solidFill>
            <a:effectLst/>
          </p:grpSpPr>
          <p:sp>
            <p:nvSpPr>
              <p:cNvPr id="61" name="Freeform 175">
                <a:extLst>
                  <a:ext uri="{FF2B5EF4-FFF2-40B4-BE49-F238E27FC236}">
                    <a16:creationId xmlns:a16="http://schemas.microsoft.com/office/drawing/2014/main" id="{8702B887-7EDD-464A-8236-74792A2CD40F}"/>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2" name="Freeform 176">
                <a:extLst>
                  <a:ext uri="{FF2B5EF4-FFF2-40B4-BE49-F238E27FC236}">
                    <a16:creationId xmlns:a16="http://schemas.microsoft.com/office/drawing/2014/main" id="{96781675-5EF4-4C9C-B904-328C98C72402}"/>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3" name="Freeform 177">
                <a:extLst>
                  <a:ext uri="{FF2B5EF4-FFF2-40B4-BE49-F238E27FC236}">
                    <a16:creationId xmlns:a16="http://schemas.microsoft.com/office/drawing/2014/main" id="{9EFCC5A8-2A01-4CBB-914B-26C5E853A7AF}"/>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4" name="Freeform 178">
                <a:extLst>
                  <a:ext uri="{FF2B5EF4-FFF2-40B4-BE49-F238E27FC236}">
                    <a16:creationId xmlns:a16="http://schemas.microsoft.com/office/drawing/2014/main" id="{DDBFCE7E-079B-4CBA-BA42-1368A7874850}"/>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5" name="Freeform 179">
                <a:extLst>
                  <a:ext uri="{FF2B5EF4-FFF2-40B4-BE49-F238E27FC236}">
                    <a16:creationId xmlns:a16="http://schemas.microsoft.com/office/drawing/2014/main" id="{B688770E-1186-470A-932E-E3441C84D85E}"/>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spTree>
    <p:extLst>
      <p:ext uri="{BB962C8B-B14F-4D97-AF65-F5344CB8AC3E}">
        <p14:creationId xmlns:p14="http://schemas.microsoft.com/office/powerpoint/2010/main" val="455117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C5393247-BEC2-4132-819E-25C4067DC6DB}" type="slidenum">
              <a:rPr lang="en-US" noProof="0" smtClean="0"/>
              <a:pPr/>
              <a:t>1</a:t>
            </a:fld>
            <a:endParaRPr lang="en-US" noProof="0"/>
          </a:p>
        </p:txBody>
      </p:sp>
      <p:sp>
        <p:nvSpPr>
          <p:cNvPr id="4" name="Textplatzhalter 3"/>
          <p:cNvSpPr>
            <a:spLocks noGrp="1"/>
          </p:cNvSpPr>
          <p:nvPr>
            <p:ph type="body" sz="quarter" idx="13"/>
          </p:nvPr>
        </p:nvSpPr>
        <p:spPr/>
        <p:txBody>
          <a:bodyPr/>
          <a:lstStyle/>
          <a:p>
            <a:r>
              <a:rPr lang="de-DE"/>
              <a:t>Kapitel 1</a:t>
            </a:r>
          </a:p>
          <a:p>
            <a:r>
              <a:rPr lang="de-DE"/>
              <a:t>Kapitel 2</a:t>
            </a:r>
          </a:p>
          <a:p>
            <a:r>
              <a:rPr lang="de-DE"/>
              <a:t>Kapitel 3</a:t>
            </a:r>
            <a:endParaRPr lang="de-DE" dirty="0"/>
          </a:p>
        </p:txBody>
      </p:sp>
      <p:sp>
        <p:nvSpPr>
          <p:cNvPr id="5" name="Datumsplatzhalter 4"/>
          <p:cNvSpPr>
            <a:spLocks noGrp="1"/>
          </p:cNvSpPr>
          <p:nvPr>
            <p:ph type="dt" sz="half" idx="2"/>
          </p:nvPr>
        </p:nvSpPr>
        <p:spPr/>
        <p:txBody>
          <a:bodyPr/>
          <a:lstStyle/>
          <a:p>
            <a:fld id="{59000A9B-EE28-43B3-86E0-9315649389CA}" type="datetime1">
              <a:rPr lang="de-DE" smtClean="0"/>
              <a:t>04.05.2020</a:t>
            </a:fld>
            <a:endParaRPr lang="de-DE" dirty="0"/>
          </a:p>
        </p:txBody>
      </p:sp>
      <p:sp>
        <p:nvSpPr>
          <p:cNvPr id="9" name="Inhaltsplatzhalter 8"/>
          <p:cNvSpPr>
            <a:spLocks noGrp="1"/>
          </p:cNvSpPr>
          <p:nvPr>
            <p:ph sz="quarter" idx="14"/>
          </p:nvPr>
        </p:nvSpPr>
        <p:spPr/>
        <p:txBody>
          <a:bodyPr/>
          <a:lstStyle/>
          <a:p>
            <a:r>
              <a:rPr lang="de-DE"/>
              <a:t>Inhalt</a:t>
            </a:r>
            <a:endParaRPr lang="de-DE" dirty="0"/>
          </a:p>
        </p:txBody>
      </p:sp>
      <p:sp>
        <p:nvSpPr>
          <p:cNvPr id="14" name="Textplatzhalter 13">
            <a:extLst>
              <a:ext uri="{FF2B5EF4-FFF2-40B4-BE49-F238E27FC236}">
                <a16:creationId xmlns:a16="http://schemas.microsoft.com/office/drawing/2014/main" id="{B7EC9D38-06BE-4A4E-AA07-B25C6B1A6290}"/>
              </a:ext>
            </a:extLst>
          </p:cNvPr>
          <p:cNvSpPr>
            <a:spLocks noGrp="1"/>
          </p:cNvSpPr>
          <p:nvPr>
            <p:ph type="body" sz="quarter" idx="15"/>
          </p:nvPr>
        </p:nvSpPr>
        <p:spPr/>
        <p:txBody>
          <a:bodyPr/>
          <a:lstStyle/>
          <a:p>
            <a:pPr>
              <a:spcAft>
                <a:spcPts val="0"/>
              </a:spcAft>
            </a:pPr>
            <a:endParaRPr lang="de-DE"/>
          </a:p>
        </p:txBody>
      </p:sp>
    </p:spTree>
    <p:extLst>
      <p:ext uri="{BB962C8B-B14F-4D97-AF65-F5344CB8AC3E}">
        <p14:creationId xmlns:p14="http://schemas.microsoft.com/office/powerpoint/2010/main" val="4234367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arina </a:t>
            </a:r>
            <a:r>
              <a:rPr lang="de-DE" dirty="0" err="1"/>
              <a:t>El-Nomany</a:t>
            </a:r>
            <a:endParaRPr lang="de-DE" dirty="0"/>
          </a:p>
        </p:txBody>
      </p:sp>
      <p:sp>
        <p:nvSpPr>
          <p:cNvPr id="11" name="Textplatzhalter 10"/>
          <p:cNvSpPr>
            <a:spLocks noGrp="1"/>
          </p:cNvSpPr>
          <p:nvPr>
            <p:ph type="body" sz="quarter" idx="13"/>
          </p:nvPr>
        </p:nvSpPr>
        <p:spPr/>
        <p:txBody>
          <a:bodyPr/>
          <a:lstStyle/>
          <a:p>
            <a:endParaRPr lang="de-DE" dirty="0"/>
          </a:p>
        </p:txBody>
      </p:sp>
      <p:sp>
        <p:nvSpPr>
          <p:cNvPr id="12" name="Textplatzhalter 11"/>
          <p:cNvSpPr>
            <a:spLocks noGrp="1"/>
          </p:cNvSpPr>
          <p:nvPr>
            <p:ph type="body" sz="quarter" idx="14"/>
          </p:nvPr>
        </p:nvSpPr>
        <p:spPr/>
        <p:txBody>
          <a:bodyPr/>
          <a:lstStyle/>
          <a:p>
            <a:pPr>
              <a:spcAft>
                <a:spcPts val="0"/>
              </a:spcAft>
            </a:pPr>
            <a:endParaRPr lang="de-DE" dirty="0"/>
          </a:p>
        </p:txBody>
      </p:sp>
      <p:sp>
        <p:nvSpPr>
          <p:cNvPr id="5" name="Datumsplatzhalter 4"/>
          <p:cNvSpPr>
            <a:spLocks noGrp="1"/>
          </p:cNvSpPr>
          <p:nvPr>
            <p:ph type="dt" sz="half" idx="2"/>
          </p:nvPr>
        </p:nvSpPr>
        <p:spPr/>
        <p:txBody>
          <a:bodyPr/>
          <a:lstStyle/>
          <a:p>
            <a:fld id="{3FE59869-1B04-43A3-BC2E-3299DEFE29E0}" type="datetime1">
              <a:rPr lang="de-DE" smtClean="0"/>
              <a:t>04.05.2020</a:t>
            </a:fld>
            <a:endParaRPr lang="de-DE" dirty="0"/>
          </a:p>
        </p:txBody>
      </p:sp>
      <p:sp>
        <p:nvSpPr>
          <p:cNvPr id="6" name="Foliennummernplatzhalter 5"/>
          <p:cNvSpPr>
            <a:spLocks noGrp="1"/>
          </p:cNvSpPr>
          <p:nvPr>
            <p:ph type="sldNum" sz="quarter" idx="4"/>
          </p:nvPr>
        </p:nvSpPr>
        <p:spPr>
          <a:xfrm>
            <a:off x="1023516" y="6621990"/>
            <a:ext cx="115416" cy="153888"/>
          </a:xfrm>
        </p:spPr>
        <p:txBody>
          <a:bodyPr/>
          <a:lstStyle/>
          <a:p>
            <a:fld id="{60F8E2DC-8382-49B6-A2A6-01CCC12CBD17}" type="slidenum">
              <a:rPr lang="de-DE" smtClean="0"/>
              <a:pPr/>
              <a:t>19</a:t>
            </a:fld>
            <a:endParaRPr lang="de-DE" dirty="0"/>
          </a:p>
        </p:txBody>
      </p:sp>
      <p:sp>
        <p:nvSpPr>
          <p:cNvPr id="102" name="Ellipse 101">
            <a:extLst>
              <a:ext uri="{FF2B5EF4-FFF2-40B4-BE49-F238E27FC236}">
                <a16:creationId xmlns:a16="http://schemas.microsoft.com/office/drawing/2014/main" id="{2DBD9009-4E81-4764-A392-F42F21FC9536}"/>
              </a:ext>
            </a:extLst>
          </p:cNvPr>
          <p:cNvSpPr/>
          <p:nvPr/>
        </p:nvSpPr>
        <p:spPr>
          <a:xfrm>
            <a:off x="453136" y="1628915"/>
            <a:ext cx="2400345" cy="24020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Calibri" panose="020F0502020204030204" pitchFamily="34" charset="0"/>
              <a:cs typeface="Calibri" panose="020F0502020204030204" pitchFamily="34" charset="0"/>
              <a:sym typeface="Calibri" panose="020F0502020204030204" pitchFamily="34" charset="0"/>
            </a:endParaRPr>
          </a:p>
        </p:txBody>
      </p:sp>
      <p:sp>
        <p:nvSpPr>
          <p:cNvPr id="103" name="Rechteck 102">
            <a:extLst>
              <a:ext uri="{FF2B5EF4-FFF2-40B4-BE49-F238E27FC236}">
                <a16:creationId xmlns:a16="http://schemas.microsoft.com/office/drawing/2014/main" id="{19EDF4AF-5103-49F2-8C9A-7539FB0107F8}"/>
              </a:ext>
            </a:extLst>
          </p:cNvPr>
          <p:cNvSpPr/>
          <p:nvPr/>
        </p:nvSpPr>
        <p:spPr>
          <a:xfrm>
            <a:off x="9653122" y="4149080"/>
            <a:ext cx="226902" cy="1975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cxnSp>
        <p:nvCxnSpPr>
          <p:cNvPr id="104" name="Verbinder: gewinkelt 75">
            <a:extLst>
              <a:ext uri="{FF2B5EF4-FFF2-40B4-BE49-F238E27FC236}">
                <a16:creationId xmlns:a16="http://schemas.microsoft.com/office/drawing/2014/main" id="{84EF3312-E097-48ED-8CCF-9DCC1EC075FE}"/>
              </a:ext>
            </a:extLst>
          </p:cNvPr>
          <p:cNvCxnSpPr>
            <a:cxnSpLocks/>
            <a:stCxn id="103" idx="1"/>
            <a:endCxn id="102" idx="4"/>
          </p:cNvCxnSpPr>
          <p:nvPr/>
        </p:nvCxnSpPr>
        <p:spPr>
          <a:xfrm rot="10800000">
            <a:off x="1653310" y="4030940"/>
            <a:ext cx="7999813" cy="216931"/>
          </a:xfrm>
          <a:prstGeom prst="bentConnector2">
            <a:avLst/>
          </a:prstGeom>
          <a:solidFill>
            <a:schemeClr val="accent1"/>
          </a:solidFill>
          <a:ln w="19050" cap="flat" cmpd="sng" algn="ctr">
            <a:solidFill>
              <a:schemeClr val="accent6"/>
            </a:solidFill>
            <a:prstDash val="solid"/>
            <a:round/>
            <a:headEnd type="none" w="med" len="med"/>
            <a:tailEnd type="oval" w="lg" len="lg"/>
          </a:ln>
          <a:effectLst/>
        </p:spPr>
      </p:cxnSp>
      <p:sp>
        <p:nvSpPr>
          <p:cNvPr id="109" name="Rechteck 108">
            <a:extLst>
              <a:ext uri="{FF2B5EF4-FFF2-40B4-BE49-F238E27FC236}">
                <a16:creationId xmlns:a16="http://schemas.microsoft.com/office/drawing/2014/main" id="{4C1B3B3B-13D4-4EEF-A420-7D1AEA017407}"/>
              </a:ext>
            </a:extLst>
          </p:cNvPr>
          <p:cNvSpPr/>
          <p:nvPr/>
        </p:nvSpPr>
        <p:spPr>
          <a:xfrm>
            <a:off x="272480" y="5774784"/>
            <a:ext cx="2945085" cy="461665"/>
          </a:xfrm>
          <a:prstGeom prst="rect">
            <a:avLst/>
          </a:prstGeom>
        </p:spPr>
        <p:txBody>
          <a:bodyPr wrap="square" lIns="0" tIns="0" rIns="0" bIns="0" anchor="t" anchorCtr="0">
            <a:spAutoFit/>
          </a:bodyPr>
          <a:lstStyle/>
          <a:p>
            <a:pPr marL="1587" lvl="1" defTabSz="952524" eaLnBrk="0" fontAlgn="base" hangingPunct="0">
              <a:buClr>
                <a:srgbClr val="F36634"/>
              </a:buClr>
            </a:pPr>
            <a:r>
              <a:rPr lang="de-DE" sz="1000" dirty="0">
                <a:ea typeface="ＭＳ Ｐゴシック" pitchFamily="-110" charset="-128"/>
              </a:rPr>
              <a:t>„Carina El-Nomany versteht es, mit ihrem scharfsinnigem Feedback zum Nachdenken anzuregen und neue Perspektiven einzunehmen.“</a:t>
            </a:r>
          </a:p>
        </p:txBody>
      </p:sp>
      <p:sp>
        <p:nvSpPr>
          <p:cNvPr id="111" name="Rechteck 110">
            <a:extLst>
              <a:ext uri="{FF2B5EF4-FFF2-40B4-BE49-F238E27FC236}">
                <a16:creationId xmlns:a16="http://schemas.microsoft.com/office/drawing/2014/main" id="{FF5DB852-B83C-40A5-BE52-BEE362F31E0B}"/>
              </a:ext>
            </a:extLst>
          </p:cNvPr>
          <p:cNvSpPr/>
          <p:nvPr/>
        </p:nvSpPr>
        <p:spPr bwMode="gray">
          <a:xfrm>
            <a:off x="5653216" y="5020888"/>
            <a:ext cx="1892072"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Leidenschaft</a:t>
            </a:r>
          </a:p>
        </p:txBody>
      </p:sp>
      <p:sp>
        <p:nvSpPr>
          <p:cNvPr id="112" name="Rechteck 111">
            <a:extLst>
              <a:ext uri="{FF2B5EF4-FFF2-40B4-BE49-F238E27FC236}">
                <a16:creationId xmlns:a16="http://schemas.microsoft.com/office/drawing/2014/main" id="{B79C33FF-6F01-4B56-855F-E731047A6981}"/>
              </a:ext>
            </a:extLst>
          </p:cNvPr>
          <p:cNvSpPr/>
          <p:nvPr/>
        </p:nvSpPr>
        <p:spPr bwMode="gray">
          <a:xfrm>
            <a:off x="3584848" y="5297888"/>
            <a:ext cx="1944216" cy="536488"/>
          </a:xfrm>
          <a:prstGeom prst="rect">
            <a:avLst/>
          </a:prstGeom>
          <a:noFill/>
          <a:ln w="25400" cap="flat" cmpd="sng" algn="ctr">
            <a:noFill/>
            <a:prstDash val="solid"/>
          </a:ln>
          <a:effectLst/>
        </p:spPr>
        <p:txBody>
          <a:bodyPr wrap="square" lIns="0" tIns="36000" rIns="0" bIns="0" rtlCol="0" anchor="t" anchorCtr="0">
            <a:spAutoFit/>
          </a:bodyPr>
          <a:lstStyle/>
          <a:p>
            <a:pPr marL="0" lvl="1" indent="1588">
              <a:spcAft>
                <a:spcPts val="300"/>
              </a:spcAft>
            </a:pPr>
            <a:r>
              <a:rPr lang="de-DE" sz="1000" dirty="0"/>
              <a:t>Geschäftsführerin Training und Coaching in der Carina und Farid El-Nomany GbR</a:t>
            </a:r>
          </a:p>
          <a:p>
            <a:pPr marL="0" lvl="1" indent="1588">
              <a:spcAft>
                <a:spcPts val="300"/>
              </a:spcAft>
            </a:pPr>
            <a:r>
              <a:rPr lang="de-DE" sz="1000" dirty="0"/>
              <a:t>Vorsitzende Mutatio e.V.</a:t>
            </a:r>
          </a:p>
        </p:txBody>
      </p:sp>
      <p:sp>
        <p:nvSpPr>
          <p:cNvPr id="113" name="Rechteck 112">
            <a:extLst>
              <a:ext uri="{FF2B5EF4-FFF2-40B4-BE49-F238E27FC236}">
                <a16:creationId xmlns:a16="http://schemas.microsoft.com/office/drawing/2014/main" id="{83873EA3-1926-40D8-A6E0-CF890BBA9E14}"/>
              </a:ext>
            </a:extLst>
          </p:cNvPr>
          <p:cNvSpPr/>
          <p:nvPr/>
        </p:nvSpPr>
        <p:spPr bwMode="gray">
          <a:xfrm>
            <a:off x="5653216" y="5297888"/>
            <a:ext cx="1960404" cy="959681"/>
          </a:xfrm>
          <a:prstGeom prst="rect">
            <a:avLst/>
          </a:prstGeom>
          <a:noFill/>
          <a:ln w="25400" cap="flat" cmpd="sng" algn="ctr">
            <a:noFill/>
            <a:prstDash val="solid"/>
          </a:ln>
          <a:effectLst/>
        </p:spPr>
        <p:txBody>
          <a:bodyPr wrap="square" lIns="0" tIns="36000" rIns="0" bIns="0" rtlCol="0" anchor="t" anchorCtr="0">
            <a:spAutoFit/>
          </a:bodyPr>
          <a:lstStyle/>
          <a:p>
            <a:pPr marL="1588" lvl="1" defTabSz="952524" eaLnBrk="0" hangingPunct="0">
              <a:buClr>
                <a:srgbClr val="F36634"/>
              </a:buClr>
              <a:defRPr/>
            </a:pPr>
            <a:r>
              <a:rPr lang="de-DE" sz="1000" spc="-10" dirty="0"/>
              <a:t>„Das Leben ist eine Heldenreise, die es zu meistern gilt, um zu lernen und zu </a:t>
            </a:r>
            <a:r>
              <a:rPr lang="de-DE" sz="1000" spc="-20" dirty="0"/>
              <a:t>wachsen</a:t>
            </a:r>
            <a:r>
              <a:rPr lang="de-DE" sz="1000" spc="-10" dirty="0"/>
              <a:t>! Ich stehe zwischen Feder und Flipchart genau am richtigen Platz um Menschen u. Organisationen, dabei zu unterstützen. </a:t>
            </a:r>
            <a:br>
              <a:rPr lang="de-DE" sz="1000" spc="-10" dirty="0"/>
            </a:br>
            <a:r>
              <a:rPr lang="de-DE" sz="1000" spc="-10" dirty="0"/>
              <a:t>Das ist Teil meiner Heldenreise!"</a:t>
            </a:r>
          </a:p>
        </p:txBody>
      </p:sp>
      <p:sp>
        <p:nvSpPr>
          <p:cNvPr id="114" name="Rechteck 113">
            <a:extLst>
              <a:ext uri="{FF2B5EF4-FFF2-40B4-BE49-F238E27FC236}">
                <a16:creationId xmlns:a16="http://schemas.microsoft.com/office/drawing/2014/main" id="{ABF536E6-A72C-4CD4-AC80-3EFA31D02D23}"/>
              </a:ext>
            </a:extLst>
          </p:cNvPr>
          <p:cNvSpPr/>
          <p:nvPr/>
        </p:nvSpPr>
        <p:spPr bwMode="gray">
          <a:xfrm>
            <a:off x="272481" y="5020888"/>
            <a:ext cx="662457" cy="276999"/>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Jahrgang</a:t>
            </a:r>
          </a:p>
        </p:txBody>
      </p:sp>
      <p:sp>
        <p:nvSpPr>
          <p:cNvPr id="115" name="Rechteck 114">
            <a:extLst>
              <a:ext uri="{FF2B5EF4-FFF2-40B4-BE49-F238E27FC236}">
                <a16:creationId xmlns:a16="http://schemas.microsoft.com/office/drawing/2014/main" id="{D118A5F8-A495-401C-B97B-35BDEB2F7906}"/>
              </a:ext>
            </a:extLst>
          </p:cNvPr>
          <p:cNvSpPr/>
          <p:nvPr/>
        </p:nvSpPr>
        <p:spPr bwMode="gray">
          <a:xfrm>
            <a:off x="1794235" y="4836223"/>
            <a:ext cx="662457" cy="461665"/>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Berufs-jahre</a:t>
            </a:r>
          </a:p>
        </p:txBody>
      </p:sp>
      <p:sp>
        <p:nvSpPr>
          <p:cNvPr id="116" name="Rechteck 115">
            <a:extLst>
              <a:ext uri="{FF2B5EF4-FFF2-40B4-BE49-F238E27FC236}">
                <a16:creationId xmlns:a16="http://schemas.microsoft.com/office/drawing/2014/main" id="{9687551F-5E17-4C23-B86B-87C4EAC3336D}"/>
              </a:ext>
            </a:extLst>
          </p:cNvPr>
          <p:cNvSpPr/>
          <p:nvPr/>
        </p:nvSpPr>
        <p:spPr bwMode="gray">
          <a:xfrm>
            <a:off x="2555114" y="5020888"/>
            <a:ext cx="662457"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Interessen</a:t>
            </a:r>
          </a:p>
        </p:txBody>
      </p:sp>
      <p:sp>
        <p:nvSpPr>
          <p:cNvPr id="117" name="Rechteck 116">
            <a:extLst>
              <a:ext uri="{FF2B5EF4-FFF2-40B4-BE49-F238E27FC236}">
                <a16:creationId xmlns:a16="http://schemas.microsoft.com/office/drawing/2014/main" id="{85E5E730-69E2-4A0D-A9D3-21610DE57DFF}"/>
              </a:ext>
            </a:extLst>
          </p:cNvPr>
          <p:cNvSpPr/>
          <p:nvPr/>
        </p:nvSpPr>
        <p:spPr bwMode="gray">
          <a:xfrm>
            <a:off x="1033358" y="4836223"/>
            <a:ext cx="662457" cy="461665"/>
          </a:xfrm>
          <a:prstGeom prst="rect">
            <a:avLst/>
          </a:prstGeom>
        </p:spPr>
        <p:txBody>
          <a:bodyPr wrap="square" lIns="0" tIns="72000" rIns="0" bIns="36000" anchor="b" anchorCtr="0">
            <a:noAutofit/>
          </a:bodyPr>
          <a:lstStyle/>
          <a:p>
            <a:pPr algn="ctr" defTabSz="914332">
              <a:defRPr/>
            </a:pPr>
            <a:r>
              <a:rPr lang="de-DE" sz="1200" b="1" dirty="0">
                <a:solidFill>
                  <a:schemeClr val="bg2"/>
                </a:solidFill>
                <a:ea typeface="ＭＳ Ｐゴシック" pitchFamily="-110" charset="-128"/>
              </a:rPr>
              <a:t>Privat-leben</a:t>
            </a:r>
          </a:p>
        </p:txBody>
      </p:sp>
      <p:sp>
        <p:nvSpPr>
          <p:cNvPr id="118" name="Rechteck 117">
            <a:extLst>
              <a:ext uri="{FF2B5EF4-FFF2-40B4-BE49-F238E27FC236}">
                <a16:creationId xmlns:a16="http://schemas.microsoft.com/office/drawing/2014/main" id="{C4696CB3-BB31-4F8A-A976-FDD6FCFF96C6}"/>
              </a:ext>
            </a:extLst>
          </p:cNvPr>
          <p:cNvSpPr/>
          <p:nvPr/>
        </p:nvSpPr>
        <p:spPr bwMode="gray">
          <a:xfrm>
            <a:off x="1827809" y="5297887"/>
            <a:ext cx="595309" cy="190240"/>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30</a:t>
            </a:r>
          </a:p>
        </p:txBody>
      </p:sp>
      <p:sp>
        <p:nvSpPr>
          <p:cNvPr id="119" name="Rechteck 118">
            <a:extLst>
              <a:ext uri="{FF2B5EF4-FFF2-40B4-BE49-F238E27FC236}">
                <a16:creationId xmlns:a16="http://schemas.microsoft.com/office/drawing/2014/main" id="{CD0E8784-89D1-42F9-87D0-62BC1F6F95A2}"/>
              </a:ext>
            </a:extLst>
          </p:cNvPr>
          <p:cNvSpPr/>
          <p:nvPr/>
        </p:nvSpPr>
        <p:spPr bwMode="gray">
          <a:xfrm>
            <a:off x="2546390" y="5297888"/>
            <a:ext cx="894442" cy="344128"/>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Joggen, Yoga, Indigene Kulturen</a:t>
            </a:r>
          </a:p>
        </p:txBody>
      </p:sp>
      <p:sp>
        <p:nvSpPr>
          <p:cNvPr id="120" name="Rechteck 119">
            <a:extLst>
              <a:ext uri="{FF2B5EF4-FFF2-40B4-BE49-F238E27FC236}">
                <a16:creationId xmlns:a16="http://schemas.microsoft.com/office/drawing/2014/main" id="{F27CD4F4-F4E9-483B-BE02-40644E28156A}"/>
              </a:ext>
            </a:extLst>
          </p:cNvPr>
          <p:cNvSpPr/>
          <p:nvPr/>
        </p:nvSpPr>
        <p:spPr bwMode="gray">
          <a:xfrm>
            <a:off x="1078585" y="5297887"/>
            <a:ext cx="572003" cy="344128"/>
          </a:xfrm>
          <a:prstGeom prst="rect">
            <a:avLst/>
          </a:prstGeom>
        </p:spPr>
        <p:txBody>
          <a:bodyPr wrap="square" lIns="0" tIns="36000" rIns="0" bIns="0">
            <a:spAutoFit/>
          </a:bodyPr>
          <a:lstStyle/>
          <a:p>
            <a:pPr marL="1587" lvl="1" algn="ctr" defTabSz="952524" eaLnBrk="0" fontAlgn="base" hangingPunct="0">
              <a:buClr>
                <a:srgbClr val="F36634"/>
              </a:buClr>
              <a:defRPr/>
            </a:pPr>
            <a:r>
              <a:rPr lang="de-DE" sz="1000" dirty="0">
                <a:ea typeface="ＭＳ Ｐゴシック" pitchFamily="-110" charset="-128"/>
              </a:rPr>
              <a:t>Verheiratet, </a:t>
            </a:r>
            <a:br>
              <a:rPr lang="de-DE" sz="1000" dirty="0">
                <a:ea typeface="ＭＳ Ｐゴシック" pitchFamily="-110" charset="-128"/>
              </a:rPr>
            </a:br>
            <a:r>
              <a:rPr lang="de-DE" sz="1000" dirty="0">
                <a:ea typeface="ＭＳ Ｐゴシック" pitchFamily="-110" charset="-128"/>
              </a:rPr>
              <a:t>3 Kinder</a:t>
            </a:r>
          </a:p>
        </p:txBody>
      </p:sp>
      <p:sp>
        <p:nvSpPr>
          <p:cNvPr id="121" name="Rechteck 120">
            <a:extLst>
              <a:ext uri="{FF2B5EF4-FFF2-40B4-BE49-F238E27FC236}">
                <a16:creationId xmlns:a16="http://schemas.microsoft.com/office/drawing/2014/main" id="{A2BF74DF-E5E0-419E-8CFD-DDBAE161A7D3}"/>
              </a:ext>
            </a:extLst>
          </p:cNvPr>
          <p:cNvSpPr/>
          <p:nvPr/>
        </p:nvSpPr>
        <p:spPr bwMode="gray">
          <a:xfrm>
            <a:off x="387686" y="5297887"/>
            <a:ext cx="432048" cy="190240"/>
          </a:xfrm>
          <a:prstGeom prst="rect">
            <a:avLst/>
          </a:prstGeom>
        </p:spPr>
        <p:txBody>
          <a:bodyPr wrap="square" lIns="0" tIns="36000" rIns="0" bIns="0">
            <a:spAutoFit/>
          </a:bodyPr>
          <a:lstStyle/>
          <a:p>
            <a:pPr marL="1587" lvl="1" algn="ctr" defTabSz="952524" eaLnBrk="0" fontAlgn="base" hangingPunct="0">
              <a:buClr>
                <a:srgbClr val="F36634"/>
              </a:buClr>
            </a:pPr>
            <a:r>
              <a:rPr lang="de-DE" sz="1000" dirty="0">
                <a:ea typeface="ＭＳ Ｐゴシック" pitchFamily="-110" charset="-128"/>
              </a:rPr>
              <a:t>1966</a:t>
            </a:r>
          </a:p>
        </p:txBody>
      </p:sp>
      <p:grpSp>
        <p:nvGrpSpPr>
          <p:cNvPr id="122" name="Gruppieren 121">
            <a:extLst>
              <a:ext uri="{FF2B5EF4-FFF2-40B4-BE49-F238E27FC236}">
                <a16:creationId xmlns:a16="http://schemas.microsoft.com/office/drawing/2014/main" id="{29BF4DCC-0C00-44C7-B49E-2AA154A458A8}"/>
              </a:ext>
            </a:extLst>
          </p:cNvPr>
          <p:cNvGrpSpPr>
            <a:grpSpLocks noChangeAspect="1"/>
          </p:cNvGrpSpPr>
          <p:nvPr/>
        </p:nvGrpSpPr>
        <p:grpSpPr>
          <a:xfrm>
            <a:off x="460239" y="4437112"/>
            <a:ext cx="286943" cy="399112"/>
            <a:chOff x="449263" y="4216400"/>
            <a:chExt cx="349250" cy="485776"/>
          </a:xfrm>
          <a:solidFill>
            <a:schemeClr val="accent3"/>
          </a:solidFill>
        </p:grpSpPr>
        <p:sp>
          <p:nvSpPr>
            <p:cNvPr id="123" name="Freeform 18">
              <a:extLst>
                <a:ext uri="{FF2B5EF4-FFF2-40B4-BE49-F238E27FC236}">
                  <a16:creationId xmlns:a16="http://schemas.microsoft.com/office/drawing/2014/main" id="{1768073F-4340-4ABB-A6D2-651EC292A0DA}"/>
                </a:ext>
              </a:extLst>
            </p:cNvPr>
            <p:cNvSpPr>
              <a:spLocks noEditPoints="1"/>
            </p:cNvSpPr>
            <p:nvPr/>
          </p:nvSpPr>
          <p:spPr bwMode="auto">
            <a:xfrm>
              <a:off x="449263" y="4303713"/>
              <a:ext cx="349250" cy="398463"/>
            </a:xfrm>
            <a:custGeom>
              <a:avLst/>
              <a:gdLst>
                <a:gd name="T0" fmla="*/ 1194 w 1350"/>
                <a:gd name="T1" fmla="*/ 739 h 1545"/>
                <a:gd name="T2" fmla="*/ 1004 w 1350"/>
                <a:gd name="T3" fmla="*/ 463 h 1545"/>
                <a:gd name="T4" fmla="*/ 785 w 1350"/>
                <a:gd name="T5" fmla="*/ 190 h 1545"/>
                <a:gd name="T6" fmla="*/ 705 w 1350"/>
                <a:gd name="T7" fmla="*/ 120 h 1545"/>
                <a:gd name="T8" fmla="*/ 675 w 1350"/>
                <a:gd name="T9" fmla="*/ 0 h 1545"/>
                <a:gd name="T10" fmla="*/ 645 w 1350"/>
                <a:gd name="T11" fmla="*/ 120 h 1545"/>
                <a:gd name="T12" fmla="*/ 565 w 1350"/>
                <a:gd name="T13" fmla="*/ 190 h 1545"/>
                <a:gd name="T14" fmla="*/ 346 w 1350"/>
                <a:gd name="T15" fmla="*/ 463 h 1545"/>
                <a:gd name="T16" fmla="*/ 156 w 1350"/>
                <a:gd name="T17" fmla="*/ 739 h 1545"/>
                <a:gd name="T18" fmla="*/ 97 w 1350"/>
                <a:gd name="T19" fmla="*/ 1055 h 1545"/>
                <a:gd name="T20" fmla="*/ 241 w 1350"/>
                <a:gd name="T21" fmla="*/ 1545 h 1545"/>
                <a:gd name="T22" fmla="*/ 1138 w 1350"/>
                <a:gd name="T23" fmla="*/ 1522 h 1545"/>
                <a:gd name="T24" fmla="*/ 1350 w 1350"/>
                <a:gd name="T25" fmla="*/ 936 h 1545"/>
                <a:gd name="T26" fmla="*/ 635 w 1350"/>
                <a:gd name="T27" fmla="*/ 180 h 1545"/>
                <a:gd name="T28" fmla="*/ 725 w 1350"/>
                <a:gd name="T29" fmla="*/ 190 h 1545"/>
                <a:gd name="T30" fmla="*/ 625 w 1350"/>
                <a:gd name="T31" fmla="*/ 463 h 1545"/>
                <a:gd name="T32" fmla="*/ 1085 w 1350"/>
                <a:gd name="T33" fmla="*/ 1485 h 1545"/>
                <a:gd name="T34" fmla="*/ 160 w 1350"/>
                <a:gd name="T35" fmla="*/ 1058 h 1545"/>
                <a:gd name="T36" fmla="*/ 367 w 1350"/>
                <a:gd name="T37" fmla="*/ 1399 h 1545"/>
                <a:gd name="T38" fmla="*/ 401 w 1350"/>
                <a:gd name="T39" fmla="*/ 1425 h 1545"/>
                <a:gd name="T40" fmla="*/ 378 w 1350"/>
                <a:gd name="T41" fmla="*/ 1058 h 1545"/>
                <a:gd name="T42" fmla="*/ 552 w 1350"/>
                <a:gd name="T43" fmla="*/ 1396 h 1545"/>
                <a:gd name="T44" fmla="*/ 584 w 1350"/>
                <a:gd name="T45" fmla="*/ 1425 h 1545"/>
                <a:gd name="T46" fmla="*/ 596 w 1350"/>
                <a:gd name="T47" fmla="*/ 1058 h 1545"/>
                <a:gd name="T48" fmla="*/ 738 w 1350"/>
                <a:gd name="T49" fmla="*/ 1394 h 1545"/>
                <a:gd name="T50" fmla="*/ 768 w 1350"/>
                <a:gd name="T51" fmla="*/ 1425 h 1545"/>
                <a:gd name="T52" fmla="*/ 814 w 1350"/>
                <a:gd name="T53" fmla="*/ 1058 h 1545"/>
                <a:gd name="T54" fmla="*/ 923 w 1350"/>
                <a:gd name="T55" fmla="*/ 1391 h 1545"/>
                <a:gd name="T56" fmla="*/ 953 w 1350"/>
                <a:gd name="T57" fmla="*/ 1425 h 1545"/>
                <a:gd name="T58" fmla="*/ 1033 w 1350"/>
                <a:gd name="T59" fmla="*/ 1058 h 1545"/>
                <a:gd name="T60" fmla="*/ 1085 w 1350"/>
                <a:gd name="T61" fmla="*/ 1485 h 1545"/>
                <a:gd name="T62" fmla="*/ 121 w 1350"/>
                <a:gd name="T63" fmla="*/ 998 h 1545"/>
                <a:gd name="T64" fmla="*/ 203 w 1350"/>
                <a:gd name="T65" fmla="*/ 793 h 1545"/>
                <a:gd name="T66" fmla="*/ 228 w 1350"/>
                <a:gd name="T67" fmla="*/ 746 h 1545"/>
                <a:gd name="T68" fmla="*/ 346 w 1350"/>
                <a:gd name="T69" fmla="*/ 523 h 1545"/>
                <a:gd name="T70" fmla="*/ 1147 w 1350"/>
                <a:gd name="T71" fmla="*/ 666 h 1545"/>
                <a:gd name="T72" fmla="*/ 323 w 1350"/>
                <a:gd name="T73" fmla="*/ 733 h 1545"/>
                <a:gd name="T74" fmla="*/ 323 w 1350"/>
                <a:gd name="T75" fmla="*/ 793 h 1545"/>
                <a:gd name="T76" fmla="*/ 1290 w 1350"/>
                <a:gd name="T77" fmla="*/ 936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0" h="1545">
                  <a:moveTo>
                    <a:pt x="1350" y="936"/>
                  </a:moveTo>
                  <a:cubicBezTo>
                    <a:pt x="1350" y="840"/>
                    <a:pt x="1283" y="760"/>
                    <a:pt x="1194" y="739"/>
                  </a:cubicBezTo>
                  <a:cubicBezTo>
                    <a:pt x="1203" y="716"/>
                    <a:pt x="1207" y="691"/>
                    <a:pt x="1207" y="666"/>
                  </a:cubicBezTo>
                  <a:cubicBezTo>
                    <a:pt x="1207" y="554"/>
                    <a:pt x="1116" y="463"/>
                    <a:pt x="1004" y="463"/>
                  </a:cubicBezTo>
                  <a:cubicBezTo>
                    <a:pt x="785" y="463"/>
                    <a:pt x="785" y="463"/>
                    <a:pt x="785" y="463"/>
                  </a:cubicBezTo>
                  <a:cubicBezTo>
                    <a:pt x="785" y="190"/>
                    <a:pt x="785" y="190"/>
                    <a:pt x="785" y="190"/>
                  </a:cubicBezTo>
                  <a:cubicBezTo>
                    <a:pt x="785" y="152"/>
                    <a:pt x="754" y="120"/>
                    <a:pt x="715" y="120"/>
                  </a:cubicBezTo>
                  <a:cubicBezTo>
                    <a:pt x="705" y="120"/>
                    <a:pt x="705" y="120"/>
                    <a:pt x="705" y="120"/>
                  </a:cubicBezTo>
                  <a:cubicBezTo>
                    <a:pt x="705" y="30"/>
                    <a:pt x="705" y="30"/>
                    <a:pt x="705" y="30"/>
                  </a:cubicBezTo>
                  <a:cubicBezTo>
                    <a:pt x="705" y="14"/>
                    <a:pt x="692" y="0"/>
                    <a:pt x="675" y="0"/>
                  </a:cubicBezTo>
                  <a:cubicBezTo>
                    <a:pt x="658" y="0"/>
                    <a:pt x="645" y="14"/>
                    <a:pt x="645" y="30"/>
                  </a:cubicBezTo>
                  <a:cubicBezTo>
                    <a:pt x="645" y="120"/>
                    <a:pt x="645" y="120"/>
                    <a:pt x="645" y="120"/>
                  </a:cubicBezTo>
                  <a:cubicBezTo>
                    <a:pt x="635" y="120"/>
                    <a:pt x="635" y="120"/>
                    <a:pt x="635" y="120"/>
                  </a:cubicBezTo>
                  <a:cubicBezTo>
                    <a:pt x="596" y="120"/>
                    <a:pt x="565" y="152"/>
                    <a:pt x="565" y="190"/>
                  </a:cubicBezTo>
                  <a:cubicBezTo>
                    <a:pt x="565" y="463"/>
                    <a:pt x="565" y="463"/>
                    <a:pt x="565" y="463"/>
                  </a:cubicBezTo>
                  <a:cubicBezTo>
                    <a:pt x="346" y="463"/>
                    <a:pt x="346" y="463"/>
                    <a:pt x="346" y="463"/>
                  </a:cubicBezTo>
                  <a:cubicBezTo>
                    <a:pt x="234" y="463"/>
                    <a:pt x="143" y="554"/>
                    <a:pt x="143" y="666"/>
                  </a:cubicBezTo>
                  <a:cubicBezTo>
                    <a:pt x="143" y="691"/>
                    <a:pt x="148" y="716"/>
                    <a:pt x="156" y="739"/>
                  </a:cubicBezTo>
                  <a:cubicBezTo>
                    <a:pt x="67" y="760"/>
                    <a:pt x="0" y="840"/>
                    <a:pt x="0" y="936"/>
                  </a:cubicBezTo>
                  <a:cubicBezTo>
                    <a:pt x="0" y="995"/>
                    <a:pt x="42" y="1044"/>
                    <a:pt x="97" y="1055"/>
                  </a:cubicBezTo>
                  <a:cubicBezTo>
                    <a:pt x="212" y="1522"/>
                    <a:pt x="212" y="1522"/>
                    <a:pt x="212" y="1522"/>
                  </a:cubicBezTo>
                  <a:cubicBezTo>
                    <a:pt x="216" y="1536"/>
                    <a:pt x="228" y="1545"/>
                    <a:pt x="241" y="1545"/>
                  </a:cubicBezTo>
                  <a:cubicBezTo>
                    <a:pt x="1109" y="1545"/>
                    <a:pt x="1109" y="1545"/>
                    <a:pt x="1109" y="1545"/>
                  </a:cubicBezTo>
                  <a:cubicBezTo>
                    <a:pt x="1122" y="1545"/>
                    <a:pt x="1135" y="1536"/>
                    <a:pt x="1138" y="1522"/>
                  </a:cubicBezTo>
                  <a:cubicBezTo>
                    <a:pt x="1253" y="1055"/>
                    <a:pt x="1253" y="1055"/>
                    <a:pt x="1253" y="1055"/>
                  </a:cubicBezTo>
                  <a:cubicBezTo>
                    <a:pt x="1308" y="1044"/>
                    <a:pt x="1350" y="995"/>
                    <a:pt x="1350" y="936"/>
                  </a:cubicBezTo>
                  <a:close/>
                  <a:moveTo>
                    <a:pt x="625" y="190"/>
                  </a:moveTo>
                  <a:cubicBezTo>
                    <a:pt x="625" y="185"/>
                    <a:pt x="630" y="180"/>
                    <a:pt x="635" y="180"/>
                  </a:cubicBezTo>
                  <a:cubicBezTo>
                    <a:pt x="715" y="180"/>
                    <a:pt x="715" y="180"/>
                    <a:pt x="715" y="180"/>
                  </a:cubicBezTo>
                  <a:cubicBezTo>
                    <a:pt x="720" y="180"/>
                    <a:pt x="725" y="185"/>
                    <a:pt x="725" y="190"/>
                  </a:cubicBezTo>
                  <a:cubicBezTo>
                    <a:pt x="725" y="463"/>
                    <a:pt x="725" y="463"/>
                    <a:pt x="725" y="463"/>
                  </a:cubicBezTo>
                  <a:cubicBezTo>
                    <a:pt x="625" y="463"/>
                    <a:pt x="625" y="463"/>
                    <a:pt x="625" y="463"/>
                  </a:cubicBezTo>
                  <a:lnTo>
                    <a:pt x="625" y="190"/>
                  </a:lnTo>
                  <a:close/>
                  <a:moveTo>
                    <a:pt x="1085" y="1485"/>
                  </a:moveTo>
                  <a:cubicBezTo>
                    <a:pt x="265" y="1485"/>
                    <a:pt x="265" y="1485"/>
                    <a:pt x="265" y="1485"/>
                  </a:cubicBezTo>
                  <a:cubicBezTo>
                    <a:pt x="160" y="1058"/>
                    <a:pt x="160" y="1058"/>
                    <a:pt x="160" y="1058"/>
                  </a:cubicBezTo>
                  <a:cubicBezTo>
                    <a:pt x="317" y="1058"/>
                    <a:pt x="317" y="1058"/>
                    <a:pt x="317" y="1058"/>
                  </a:cubicBezTo>
                  <a:cubicBezTo>
                    <a:pt x="367" y="1399"/>
                    <a:pt x="367" y="1399"/>
                    <a:pt x="367" y="1399"/>
                  </a:cubicBezTo>
                  <a:cubicBezTo>
                    <a:pt x="370" y="1414"/>
                    <a:pt x="382" y="1425"/>
                    <a:pt x="397" y="1425"/>
                  </a:cubicBezTo>
                  <a:cubicBezTo>
                    <a:pt x="398" y="1425"/>
                    <a:pt x="400" y="1425"/>
                    <a:pt x="401" y="1425"/>
                  </a:cubicBezTo>
                  <a:cubicBezTo>
                    <a:pt x="418" y="1422"/>
                    <a:pt x="429" y="1407"/>
                    <a:pt x="427" y="1391"/>
                  </a:cubicBezTo>
                  <a:cubicBezTo>
                    <a:pt x="378" y="1058"/>
                    <a:pt x="378" y="1058"/>
                    <a:pt x="378" y="1058"/>
                  </a:cubicBezTo>
                  <a:cubicBezTo>
                    <a:pt x="536" y="1058"/>
                    <a:pt x="536" y="1058"/>
                    <a:pt x="536" y="1058"/>
                  </a:cubicBezTo>
                  <a:cubicBezTo>
                    <a:pt x="552" y="1396"/>
                    <a:pt x="552" y="1396"/>
                    <a:pt x="552" y="1396"/>
                  </a:cubicBezTo>
                  <a:cubicBezTo>
                    <a:pt x="553" y="1413"/>
                    <a:pt x="566" y="1425"/>
                    <a:pt x="582" y="1425"/>
                  </a:cubicBezTo>
                  <a:cubicBezTo>
                    <a:pt x="583" y="1425"/>
                    <a:pt x="583" y="1425"/>
                    <a:pt x="584" y="1425"/>
                  </a:cubicBezTo>
                  <a:cubicBezTo>
                    <a:pt x="600" y="1424"/>
                    <a:pt x="613" y="1410"/>
                    <a:pt x="612" y="1394"/>
                  </a:cubicBezTo>
                  <a:cubicBezTo>
                    <a:pt x="596" y="1058"/>
                    <a:pt x="596" y="1058"/>
                    <a:pt x="596" y="1058"/>
                  </a:cubicBezTo>
                  <a:cubicBezTo>
                    <a:pt x="754" y="1058"/>
                    <a:pt x="754" y="1058"/>
                    <a:pt x="754" y="1058"/>
                  </a:cubicBezTo>
                  <a:cubicBezTo>
                    <a:pt x="738" y="1394"/>
                    <a:pt x="738" y="1394"/>
                    <a:pt x="738" y="1394"/>
                  </a:cubicBezTo>
                  <a:cubicBezTo>
                    <a:pt x="737" y="1410"/>
                    <a:pt x="750" y="1424"/>
                    <a:pt x="766" y="1425"/>
                  </a:cubicBezTo>
                  <a:cubicBezTo>
                    <a:pt x="767" y="1425"/>
                    <a:pt x="767" y="1425"/>
                    <a:pt x="768" y="1425"/>
                  </a:cubicBezTo>
                  <a:cubicBezTo>
                    <a:pt x="784" y="1425"/>
                    <a:pt x="797" y="1413"/>
                    <a:pt x="798" y="1396"/>
                  </a:cubicBezTo>
                  <a:cubicBezTo>
                    <a:pt x="814" y="1058"/>
                    <a:pt x="814" y="1058"/>
                    <a:pt x="814" y="1058"/>
                  </a:cubicBezTo>
                  <a:cubicBezTo>
                    <a:pt x="972" y="1058"/>
                    <a:pt x="972" y="1058"/>
                    <a:pt x="972" y="1058"/>
                  </a:cubicBezTo>
                  <a:cubicBezTo>
                    <a:pt x="923" y="1391"/>
                    <a:pt x="923" y="1391"/>
                    <a:pt x="923" y="1391"/>
                  </a:cubicBezTo>
                  <a:cubicBezTo>
                    <a:pt x="921" y="1407"/>
                    <a:pt x="932" y="1422"/>
                    <a:pt x="949" y="1425"/>
                  </a:cubicBezTo>
                  <a:cubicBezTo>
                    <a:pt x="950" y="1425"/>
                    <a:pt x="952" y="1425"/>
                    <a:pt x="953" y="1425"/>
                  </a:cubicBezTo>
                  <a:cubicBezTo>
                    <a:pt x="968" y="1425"/>
                    <a:pt x="980" y="1414"/>
                    <a:pt x="983" y="1399"/>
                  </a:cubicBezTo>
                  <a:cubicBezTo>
                    <a:pt x="1033" y="1058"/>
                    <a:pt x="1033" y="1058"/>
                    <a:pt x="1033" y="1058"/>
                  </a:cubicBezTo>
                  <a:cubicBezTo>
                    <a:pt x="1190" y="1058"/>
                    <a:pt x="1190" y="1058"/>
                    <a:pt x="1190" y="1058"/>
                  </a:cubicBezTo>
                  <a:cubicBezTo>
                    <a:pt x="1085" y="1485"/>
                    <a:pt x="1085" y="1485"/>
                    <a:pt x="1085" y="1485"/>
                  </a:cubicBezTo>
                  <a:close/>
                  <a:moveTo>
                    <a:pt x="1229" y="998"/>
                  </a:moveTo>
                  <a:cubicBezTo>
                    <a:pt x="121" y="998"/>
                    <a:pt x="121" y="998"/>
                    <a:pt x="121" y="998"/>
                  </a:cubicBezTo>
                  <a:cubicBezTo>
                    <a:pt x="87" y="998"/>
                    <a:pt x="60" y="970"/>
                    <a:pt x="60" y="936"/>
                  </a:cubicBezTo>
                  <a:cubicBezTo>
                    <a:pt x="60" y="857"/>
                    <a:pt x="124" y="793"/>
                    <a:pt x="203" y="793"/>
                  </a:cubicBezTo>
                  <a:cubicBezTo>
                    <a:pt x="214" y="793"/>
                    <a:pt x="224" y="787"/>
                    <a:pt x="229" y="777"/>
                  </a:cubicBezTo>
                  <a:cubicBezTo>
                    <a:pt x="235" y="767"/>
                    <a:pt x="234" y="756"/>
                    <a:pt x="228" y="746"/>
                  </a:cubicBezTo>
                  <a:cubicBezTo>
                    <a:pt x="212" y="723"/>
                    <a:pt x="203" y="695"/>
                    <a:pt x="203" y="666"/>
                  </a:cubicBezTo>
                  <a:cubicBezTo>
                    <a:pt x="203" y="587"/>
                    <a:pt x="267" y="523"/>
                    <a:pt x="346" y="523"/>
                  </a:cubicBezTo>
                  <a:cubicBezTo>
                    <a:pt x="1004" y="523"/>
                    <a:pt x="1004" y="523"/>
                    <a:pt x="1004" y="523"/>
                  </a:cubicBezTo>
                  <a:cubicBezTo>
                    <a:pt x="1083" y="523"/>
                    <a:pt x="1147" y="587"/>
                    <a:pt x="1147" y="666"/>
                  </a:cubicBezTo>
                  <a:cubicBezTo>
                    <a:pt x="1147" y="690"/>
                    <a:pt x="1141" y="713"/>
                    <a:pt x="1130" y="733"/>
                  </a:cubicBezTo>
                  <a:cubicBezTo>
                    <a:pt x="323" y="733"/>
                    <a:pt x="323" y="733"/>
                    <a:pt x="323" y="733"/>
                  </a:cubicBezTo>
                  <a:cubicBezTo>
                    <a:pt x="306" y="733"/>
                    <a:pt x="293" y="747"/>
                    <a:pt x="293" y="763"/>
                  </a:cubicBezTo>
                  <a:cubicBezTo>
                    <a:pt x="293" y="780"/>
                    <a:pt x="306" y="793"/>
                    <a:pt x="323" y="793"/>
                  </a:cubicBezTo>
                  <a:cubicBezTo>
                    <a:pt x="1147" y="793"/>
                    <a:pt x="1147" y="793"/>
                    <a:pt x="1147" y="793"/>
                  </a:cubicBezTo>
                  <a:cubicBezTo>
                    <a:pt x="1226" y="793"/>
                    <a:pt x="1290" y="857"/>
                    <a:pt x="1290" y="936"/>
                  </a:cubicBezTo>
                  <a:cubicBezTo>
                    <a:pt x="1290" y="970"/>
                    <a:pt x="1263" y="998"/>
                    <a:pt x="1229" y="9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4" name="Freeform 19">
              <a:extLst>
                <a:ext uri="{FF2B5EF4-FFF2-40B4-BE49-F238E27FC236}">
                  <a16:creationId xmlns:a16="http://schemas.microsoft.com/office/drawing/2014/main" id="{D8E40EC9-946F-4515-837B-BC5A21A90A1E}"/>
                </a:ext>
              </a:extLst>
            </p:cNvPr>
            <p:cNvSpPr>
              <a:spLocks/>
            </p:cNvSpPr>
            <p:nvPr/>
          </p:nvSpPr>
          <p:spPr bwMode="auto">
            <a:xfrm>
              <a:off x="574676" y="4216400"/>
              <a:ext cx="98425" cy="100013"/>
            </a:xfrm>
            <a:custGeom>
              <a:avLst/>
              <a:gdLst>
                <a:gd name="T0" fmla="*/ 71 w 382"/>
                <a:gd name="T1" fmla="*/ 383 h 387"/>
                <a:gd name="T2" fmla="*/ 91 w 382"/>
                <a:gd name="T3" fmla="*/ 376 h 387"/>
                <a:gd name="T4" fmla="*/ 93 w 382"/>
                <a:gd name="T5" fmla="*/ 333 h 387"/>
                <a:gd name="T6" fmla="*/ 60 w 382"/>
                <a:gd name="T7" fmla="*/ 246 h 387"/>
                <a:gd name="T8" fmla="*/ 191 w 382"/>
                <a:gd name="T9" fmla="*/ 64 h 387"/>
                <a:gd name="T10" fmla="*/ 322 w 382"/>
                <a:gd name="T11" fmla="*/ 246 h 387"/>
                <a:gd name="T12" fmla="*/ 289 w 382"/>
                <a:gd name="T13" fmla="*/ 333 h 387"/>
                <a:gd name="T14" fmla="*/ 291 w 382"/>
                <a:gd name="T15" fmla="*/ 376 h 387"/>
                <a:gd name="T16" fmla="*/ 333 w 382"/>
                <a:gd name="T17" fmla="*/ 373 h 387"/>
                <a:gd name="T18" fmla="*/ 382 w 382"/>
                <a:gd name="T19" fmla="*/ 246 h 387"/>
                <a:gd name="T20" fmla="*/ 203 w 382"/>
                <a:gd name="T21" fmla="*/ 4 h 387"/>
                <a:gd name="T22" fmla="*/ 179 w 382"/>
                <a:gd name="T23" fmla="*/ 4 h 387"/>
                <a:gd name="T24" fmla="*/ 0 w 382"/>
                <a:gd name="T25" fmla="*/ 246 h 387"/>
                <a:gd name="T26" fmla="*/ 49 w 382"/>
                <a:gd name="T27" fmla="*/ 373 h 387"/>
                <a:gd name="T28" fmla="*/ 71 w 382"/>
                <a:gd name="T29" fmla="*/ 38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2" h="387">
                  <a:moveTo>
                    <a:pt x="71" y="383"/>
                  </a:moveTo>
                  <a:cubicBezTo>
                    <a:pt x="78" y="383"/>
                    <a:pt x="85" y="381"/>
                    <a:pt x="91" y="376"/>
                  </a:cubicBezTo>
                  <a:cubicBezTo>
                    <a:pt x="103" y="365"/>
                    <a:pt x="104" y="346"/>
                    <a:pt x="93" y="333"/>
                  </a:cubicBezTo>
                  <a:cubicBezTo>
                    <a:pt x="72" y="309"/>
                    <a:pt x="60" y="278"/>
                    <a:pt x="60" y="246"/>
                  </a:cubicBezTo>
                  <a:cubicBezTo>
                    <a:pt x="60" y="176"/>
                    <a:pt x="113" y="103"/>
                    <a:pt x="191" y="64"/>
                  </a:cubicBezTo>
                  <a:cubicBezTo>
                    <a:pt x="269" y="103"/>
                    <a:pt x="322" y="176"/>
                    <a:pt x="322" y="246"/>
                  </a:cubicBezTo>
                  <a:cubicBezTo>
                    <a:pt x="322" y="278"/>
                    <a:pt x="310" y="309"/>
                    <a:pt x="289" y="333"/>
                  </a:cubicBezTo>
                  <a:cubicBezTo>
                    <a:pt x="278" y="346"/>
                    <a:pt x="279" y="365"/>
                    <a:pt x="291" y="376"/>
                  </a:cubicBezTo>
                  <a:cubicBezTo>
                    <a:pt x="303" y="387"/>
                    <a:pt x="322" y="386"/>
                    <a:pt x="333" y="373"/>
                  </a:cubicBezTo>
                  <a:cubicBezTo>
                    <a:pt x="365" y="338"/>
                    <a:pt x="382" y="293"/>
                    <a:pt x="382" y="246"/>
                  </a:cubicBezTo>
                  <a:cubicBezTo>
                    <a:pt x="382" y="149"/>
                    <a:pt x="308" y="50"/>
                    <a:pt x="203" y="4"/>
                  </a:cubicBezTo>
                  <a:cubicBezTo>
                    <a:pt x="195" y="0"/>
                    <a:pt x="187" y="0"/>
                    <a:pt x="179" y="4"/>
                  </a:cubicBezTo>
                  <a:cubicBezTo>
                    <a:pt x="74" y="50"/>
                    <a:pt x="0" y="149"/>
                    <a:pt x="0" y="246"/>
                  </a:cubicBezTo>
                  <a:cubicBezTo>
                    <a:pt x="0" y="293"/>
                    <a:pt x="17" y="338"/>
                    <a:pt x="49" y="373"/>
                  </a:cubicBezTo>
                  <a:cubicBezTo>
                    <a:pt x="55" y="380"/>
                    <a:pt x="63" y="383"/>
                    <a:pt x="71" y="3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25" name="Freeform 23">
            <a:extLst>
              <a:ext uri="{FF2B5EF4-FFF2-40B4-BE49-F238E27FC236}">
                <a16:creationId xmlns:a16="http://schemas.microsoft.com/office/drawing/2014/main" id="{0B3CA2CF-85B0-45B3-97C4-3618F5E1B457}"/>
              </a:ext>
            </a:extLst>
          </p:cNvPr>
          <p:cNvSpPr>
            <a:spLocks noChangeAspect="1" noEditPoints="1"/>
          </p:cNvSpPr>
          <p:nvPr/>
        </p:nvSpPr>
        <p:spPr bwMode="auto">
          <a:xfrm>
            <a:off x="1186696" y="4497520"/>
            <a:ext cx="355781" cy="338703"/>
          </a:xfrm>
          <a:custGeom>
            <a:avLst/>
            <a:gdLst>
              <a:gd name="T0" fmla="*/ 1846 w 2165"/>
              <a:gd name="T1" fmla="*/ 2071 h 2071"/>
              <a:gd name="T2" fmla="*/ 1307 w 2165"/>
              <a:gd name="T3" fmla="*/ 2071 h 2071"/>
              <a:gd name="T4" fmla="*/ 1262 w 2165"/>
              <a:gd name="T5" fmla="*/ 2026 h 2071"/>
              <a:gd name="T6" fmla="*/ 1262 w 2165"/>
              <a:gd name="T7" fmla="*/ 1442 h 2071"/>
              <a:gd name="T8" fmla="*/ 902 w 2165"/>
              <a:gd name="T9" fmla="*/ 1442 h 2071"/>
              <a:gd name="T10" fmla="*/ 902 w 2165"/>
              <a:gd name="T11" fmla="*/ 2026 h 2071"/>
              <a:gd name="T12" fmla="*/ 858 w 2165"/>
              <a:gd name="T13" fmla="*/ 2071 h 2071"/>
              <a:gd name="T14" fmla="*/ 318 w 2165"/>
              <a:gd name="T15" fmla="*/ 2071 h 2071"/>
              <a:gd name="T16" fmla="*/ 274 w 2165"/>
              <a:gd name="T17" fmla="*/ 2026 h 2071"/>
              <a:gd name="T18" fmla="*/ 274 w 2165"/>
              <a:gd name="T19" fmla="*/ 1128 h 2071"/>
              <a:gd name="T20" fmla="*/ 318 w 2165"/>
              <a:gd name="T21" fmla="*/ 1083 h 2071"/>
              <a:gd name="T22" fmla="*/ 363 w 2165"/>
              <a:gd name="T23" fmla="*/ 1128 h 2071"/>
              <a:gd name="T24" fmla="*/ 363 w 2165"/>
              <a:gd name="T25" fmla="*/ 1981 h 2071"/>
              <a:gd name="T26" fmla="*/ 813 w 2165"/>
              <a:gd name="T27" fmla="*/ 1981 h 2071"/>
              <a:gd name="T28" fmla="*/ 813 w 2165"/>
              <a:gd name="T29" fmla="*/ 1397 h 2071"/>
              <a:gd name="T30" fmla="*/ 858 w 2165"/>
              <a:gd name="T31" fmla="*/ 1352 h 2071"/>
              <a:gd name="T32" fmla="*/ 1307 w 2165"/>
              <a:gd name="T33" fmla="*/ 1352 h 2071"/>
              <a:gd name="T34" fmla="*/ 1352 w 2165"/>
              <a:gd name="T35" fmla="*/ 1397 h 2071"/>
              <a:gd name="T36" fmla="*/ 1352 w 2165"/>
              <a:gd name="T37" fmla="*/ 1981 h 2071"/>
              <a:gd name="T38" fmla="*/ 1801 w 2165"/>
              <a:gd name="T39" fmla="*/ 1981 h 2071"/>
              <a:gd name="T40" fmla="*/ 1801 w 2165"/>
              <a:gd name="T41" fmla="*/ 1173 h 2071"/>
              <a:gd name="T42" fmla="*/ 1846 w 2165"/>
              <a:gd name="T43" fmla="*/ 1128 h 2071"/>
              <a:gd name="T44" fmla="*/ 1891 w 2165"/>
              <a:gd name="T45" fmla="*/ 1173 h 2071"/>
              <a:gd name="T46" fmla="*/ 1891 w 2165"/>
              <a:gd name="T47" fmla="*/ 2026 h 2071"/>
              <a:gd name="T48" fmla="*/ 1846 w 2165"/>
              <a:gd name="T49" fmla="*/ 2071 h 2071"/>
              <a:gd name="T50" fmla="*/ 2115 w 2165"/>
              <a:gd name="T51" fmla="*/ 1128 h 2071"/>
              <a:gd name="T52" fmla="*/ 2084 w 2165"/>
              <a:gd name="T53" fmla="*/ 1115 h 2071"/>
              <a:gd name="T54" fmla="*/ 1082 w 2165"/>
              <a:gd name="T55" fmla="*/ 113 h 2071"/>
              <a:gd name="T56" fmla="*/ 81 w 2165"/>
              <a:gd name="T57" fmla="*/ 1115 h 2071"/>
              <a:gd name="T58" fmla="*/ 17 w 2165"/>
              <a:gd name="T59" fmla="*/ 1115 h 2071"/>
              <a:gd name="T60" fmla="*/ 17 w 2165"/>
              <a:gd name="T61" fmla="*/ 1051 h 2071"/>
              <a:gd name="T62" fmla="*/ 1050 w 2165"/>
              <a:gd name="T63" fmla="*/ 18 h 2071"/>
              <a:gd name="T64" fmla="*/ 1114 w 2165"/>
              <a:gd name="T65" fmla="*/ 18 h 2071"/>
              <a:gd name="T66" fmla="*/ 2147 w 2165"/>
              <a:gd name="T67" fmla="*/ 1051 h 2071"/>
              <a:gd name="T68" fmla="*/ 2147 w 2165"/>
              <a:gd name="T69" fmla="*/ 1115 h 2071"/>
              <a:gd name="T70" fmla="*/ 2115 w 2165"/>
              <a:gd name="T71" fmla="*/ 1128 h 2071"/>
              <a:gd name="T72" fmla="*/ 1756 w 2165"/>
              <a:gd name="T73" fmla="*/ 499 h 2071"/>
              <a:gd name="T74" fmla="*/ 1711 w 2165"/>
              <a:gd name="T75" fmla="*/ 454 h 2071"/>
              <a:gd name="T76" fmla="*/ 1711 w 2165"/>
              <a:gd name="T77" fmla="*/ 184 h 2071"/>
              <a:gd name="T78" fmla="*/ 1442 w 2165"/>
              <a:gd name="T79" fmla="*/ 184 h 2071"/>
              <a:gd name="T80" fmla="*/ 1397 w 2165"/>
              <a:gd name="T81" fmla="*/ 139 h 2071"/>
              <a:gd name="T82" fmla="*/ 1442 w 2165"/>
              <a:gd name="T83" fmla="*/ 94 h 2071"/>
              <a:gd name="T84" fmla="*/ 1756 w 2165"/>
              <a:gd name="T85" fmla="*/ 94 h 2071"/>
              <a:gd name="T86" fmla="*/ 1801 w 2165"/>
              <a:gd name="T87" fmla="*/ 139 h 2071"/>
              <a:gd name="T88" fmla="*/ 1801 w 2165"/>
              <a:gd name="T89" fmla="*/ 454 h 2071"/>
              <a:gd name="T90" fmla="*/ 1756 w 2165"/>
              <a:gd name="T91" fmla="*/ 499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5" h="2071">
                <a:moveTo>
                  <a:pt x="1846" y="2071"/>
                </a:moveTo>
                <a:cubicBezTo>
                  <a:pt x="1307" y="2071"/>
                  <a:pt x="1307" y="2071"/>
                  <a:pt x="1307" y="2071"/>
                </a:cubicBezTo>
                <a:cubicBezTo>
                  <a:pt x="1282" y="2071"/>
                  <a:pt x="1262" y="2051"/>
                  <a:pt x="1262" y="2026"/>
                </a:cubicBezTo>
                <a:cubicBezTo>
                  <a:pt x="1262" y="1442"/>
                  <a:pt x="1262" y="1442"/>
                  <a:pt x="1262" y="1442"/>
                </a:cubicBezTo>
                <a:cubicBezTo>
                  <a:pt x="902" y="1442"/>
                  <a:pt x="902" y="1442"/>
                  <a:pt x="902" y="1442"/>
                </a:cubicBezTo>
                <a:cubicBezTo>
                  <a:pt x="902" y="2026"/>
                  <a:pt x="902" y="2026"/>
                  <a:pt x="902" y="2026"/>
                </a:cubicBezTo>
                <a:cubicBezTo>
                  <a:pt x="902" y="2051"/>
                  <a:pt x="882" y="2071"/>
                  <a:pt x="858" y="2071"/>
                </a:cubicBezTo>
                <a:cubicBezTo>
                  <a:pt x="318" y="2071"/>
                  <a:pt x="318" y="2071"/>
                  <a:pt x="318" y="2071"/>
                </a:cubicBezTo>
                <a:cubicBezTo>
                  <a:pt x="294" y="2071"/>
                  <a:pt x="274" y="2051"/>
                  <a:pt x="274" y="2026"/>
                </a:cubicBezTo>
                <a:cubicBezTo>
                  <a:pt x="274" y="1128"/>
                  <a:pt x="274" y="1128"/>
                  <a:pt x="274" y="1128"/>
                </a:cubicBezTo>
                <a:cubicBezTo>
                  <a:pt x="274" y="1103"/>
                  <a:pt x="294" y="1083"/>
                  <a:pt x="318" y="1083"/>
                </a:cubicBezTo>
                <a:cubicBezTo>
                  <a:pt x="343" y="1083"/>
                  <a:pt x="363" y="1103"/>
                  <a:pt x="363" y="1128"/>
                </a:cubicBezTo>
                <a:cubicBezTo>
                  <a:pt x="363" y="1981"/>
                  <a:pt x="363" y="1981"/>
                  <a:pt x="363" y="1981"/>
                </a:cubicBezTo>
                <a:cubicBezTo>
                  <a:pt x="813" y="1981"/>
                  <a:pt x="813" y="1981"/>
                  <a:pt x="813" y="1981"/>
                </a:cubicBezTo>
                <a:cubicBezTo>
                  <a:pt x="813" y="1397"/>
                  <a:pt x="813" y="1397"/>
                  <a:pt x="813" y="1397"/>
                </a:cubicBezTo>
                <a:cubicBezTo>
                  <a:pt x="813" y="1372"/>
                  <a:pt x="833" y="1352"/>
                  <a:pt x="858" y="1352"/>
                </a:cubicBezTo>
                <a:cubicBezTo>
                  <a:pt x="1307" y="1352"/>
                  <a:pt x="1307" y="1352"/>
                  <a:pt x="1307" y="1352"/>
                </a:cubicBezTo>
                <a:cubicBezTo>
                  <a:pt x="1332" y="1352"/>
                  <a:pt x="1352" y="1372"/>
                  <a:pt x="1352" y="1397"/>
                </a:cubicBezTo>
                <a:cubicBezTo>
                  <a:pt x="1352" y="1981"/>
                  <a:pt x="1352" y="1981"/>
                  <a:pt x="1352" y="1981"/>
                </a:cubicBezTo>
                <a:cubicBezTo>
                  <a:pt x="1801" y="1981"/>
                  <a:pt x="1801" y="1981"/>
                  <a:pt x="1801" y="1981"/>
                </a:cubicBezTo>
                <a:cubicBezTo>
                  <a:pt x="1801" y="1173"/>
                  <a:pt x="1801" y="1173"/>
                  <a:pt x="1801" y="1173"/>
                </a:cubicBezTo>
                <a:cubicBezTo>
                  <a:pt x="1801" y="1148"/>
                  <a:pt x="1821" y="1128"/>
                  <a:pt x="1846" y="1128"/>
                </a:cubicBezTo>
                <a:cubicBezTo>
                  <a:pt x="1871" y="1128"/>
                  <a:pt x="1891" y="1148"/>
                  <a:pt x="1891" y="1173"/>
                </a:cubicBezTo>
                <a:cubicBezTo>
                  <a:pt x="1891" y="2026"/>
                  <a:pt x="1891" y="2026"/>
                  <a:pt x="1891" y="2026"/>
                </a:cubicBezTo>
                <a:cubicBezTo>
                  <a:pt x="1891" y="2051"/>
                  <a:pt x="1871" y="2071"/>
                  <a:pt x="1846" y="2071"/>
                </a:cubicBezTo>
                <a:close/>
                <a:moveTo>
                  <a:pt x="2115" y="1128"/>
                </a:moveTo>
                <a:cubicBezTo>
                  <a:pt x="2104" y="1128"/>
                  <a:pt x="2092" y="1123"/>
                  <a:pt x="2084" y="1115"/>
                </a:cubicBezTo>
                <a:cubicBezTo>
                  <a:pt x="1082" y="113"/>
                  <a:pt x="1082" y="113"/>
                  <a:pt x="1082" y="113"/>
                </a:cubicBezTo>
                <a:cubicBezTo>
                  <a:pt x="81" y="1115"/>
                  <a:pt x="81" y="1115"/>
                  <a:pt x="81" y="1115"/>
                </a:cubicBezTo>
                <a:cubicBezTo>
                  <a:pt x="63" y="1132"/>
                  <a:pt x="35" y="1132"/>
                  <a:pt x="17" y="1115"/>
                </a:cubicBezTo>
                <a:cubicBezTo>
                  <a:pt x="0" y="1097"/>
                  <a:pt x="0" y="1069"/>
                  <a:pt x="17" y="1051"/>
                </a:cubicBezTo>
                <a:cubicBezTo>
                  <a:pt x="1050" y="18"/>
                  <a:pt x="1050" y="18"/>
                  <a:pt x="1050" y="18"/>
                </a:cubicBezTo>
                <a:cubicBezTo>
                  <a:pt x="1068" y="0"/>
                  <a:pt x="1096" y="0"/>
                  <a:pt x="1114" y="18"/>
                </a:cubicBezTo>
                <a:cubicBezTo>
                  <a:pt x="2147" y="1051"/>
                  <a:pt x="2147" y="1051"/>
                  <a:pt x="2147" y="1051"/>
                </a:cubicBezTo>
                <a:cubicBezTo>
                  <a:pt x="2165" y="1069"/>
                  <a:pt x="2165" y="1097"/>
                  <a:pt x="2147" y="1115"/>
                </a:cubicBezTo>
                <a:cubicBezTo>
                  <a:pt x="2138" y="1123"/>
                  <a:pt x="2127" y="1128"/>
                  <a:pt x="2115" y="1128"/>
                </a:cubicBezTo>
                <a:close/>
                <a:moveTo>
                  <a:pt x="1756" y="499"/>
                </a:moveTo>
                <a:cubicBezTo>
                  <a:pt x="1731" y="499"/>
                  <a:pt x="1711" y="479"/>
                  <a:pt x="1711" y="454"/>
                </a:cubicBezTo>
                <a:cubicBezTo>
                  <a:pt x="1711" y="184"/>
                  <a:pt x="1711" y="184"/>
                  <a:pt x="1711" y="184"/>
                </a:cubicBezTo>
                <a:cubicBezTo>
                  <a:pt x="1442" y="184"/>
                  <a:pt x="1442" y="184"/>
                  <a:pt x="1442" y="184"/>
                </a:cubicBezTo>
                <a:cubicBezTo>
                  <a:pt x="1417" y="184"/>
                  <a:pt x="1397" y="164"/>
                  <a:pt x="1397" y="139"/>
                </a:cubicBezTo>
                <a:cubicBezTo>
                  <a:pt x="1397" y="115"/>
                  <a:pt x="1417" y="94"/>
                  <a:pt x="1442" y="94"/>
                </a:cubicBezTo>
                <a:cubicBezTo>
                  <a:pt x="1756" y="94"/>
                  <a:pt x="1756" y="94"/>
                  <a:pt x="1756" y="94"/>
                </a:cubicBezTo>
                <a:cubicBezTo>
                  <a:pt x="1781" y="94"/>
                  <a:pt x="1801" y="115"/>
                  <a:pt x="1801" y="139"/>
                </a:cubicBezTo>
                <a:cubicBezTo>
                  <a:pt x="1801" y="454"/>
                  <a:pt x="1801" y="454"/>
                  <a:pt x="1801" y="454"/>
                </a:cubicBezTo>
                <a:cubicBezTo>
                  <a:pt x="1801" y="479"/>
                  <a:pt x="1781" y="499"/>
                  <a:pt x="1756" y="4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26" name="Freeform 27">
            <a:extLst>
              <a:ext uri="{FF2B5EF4-FFF2-40B4-BE49-F238E27FC236}">
                <a16:creationId xmlns:a16="http://schemas.microsoft.com/office/drawing/2014/main" id="{983AAFD2-223D-4BF7-8530-62F339ED08AE}"/>
              </a:ext>
            </a:extLst>
          </p:cNvPr>
          <p:cNvSpPr>
            <a:spLocks noChangeAspect="1" noEditPoints="1"/>
          </p:cNvSpPr>
          <p:nvPr/>
        </p:nvSpPr>
        <p:spPr bwMode="auto">
          <a:xfrm>
            <a:off x="1921722" y="4497520"/>
            <a:ext cx="407482" cy="338703"/>
          </a:xfrm>
          <a:custGeom>
            <a:avLst/>
            <a:gdLst>
              <a:gd name="T0" fmla="*/ 1877 w 2048"/>
              <a:gd name="T1" fmla="*/ 256 h 1706"/>
              <a:gd name="T2" fmla="*/ 1451 w 2048"/>
              <a:gd name="T3" fmla="*/ 256 h 1706"/>
              <a:gd name="T4" fmla="*/ 1451 w 2048"/>
              <a:gd name="T5" fmla="*/ 170 h 1706"/>
              <a:gd name="T6" fmla="*/ 1280 w 2048"/>
              <a:gd name="T7" fmla="*/ 0 h 1706"/>
              <a:gd name="T8" fmla="*/ 768 w 2048"/>
              <a:gd name="T9" fmla="*/ 0 h 1706"/>
              <a:gd name="T10" fmla="*/ 597 w 2048"/>
              <a:gd name="T11" fmla="*/ 170 h 1706"/>
              <a:gd name="T12" fmla="*/ 597 w 2048"/>
              <a:gd name="T13" fmla="*/ 256 h 1706"/>
              <a:gd name="T14" fmla="*/ 171 w 2048"/>
              <a:gd name="T15" fmla="*/ 256 h 1706"/>
              <a:gd name="T16" fmla="*/ 0 w 2048"/>
              <a:gd name="T17" fmla="*/ 426 h 1706"/>
              <a:gd name="T18" fmla="*/ 0 w 2048"/>
              <a:gd name="T19" fmla="*/ 1536 h 1706"/>
              <a:gd name="T20" fmla="*/ 171 w 2048"/>
              <a:gd name="T21" fmla="*/ 1706 h 1706"/>
              <a:gd name="T22" fmla="*/ 1877 w 2048"/>
              <a:gd name="T23" fmla="*/ 1706 h 1706"/>
              <a:gd name="T24" fmla="*/ 2048 w 2048"/>
              <a:gd name="T25" fmla="*/ 1536 h 1706"/>
              <a:gd name="T26" fmla="*/ 2048 w 2048"/>
              <a:gd name="T27" fmla="*/ 426 h 1706"/>
              <a:gd name="T28" fmla="*/ 1877 w 2048"/>
              <a:gd name="T29" fmla="*/ 256 h 1706"/>
              <a:gd name="T30" fmla="*/ 683 w 2048"/>
              <a:gd name="T31" fmla="*/ 170 h 1706"/>
              <a:gd name="T32" fmla="*/ 768 w 2048"/>
              <a:gd name="T33" fmla="*/ 85 h 1706"/>
              <a:gd name="T34" fmla="*/ 1280 w 2048"/>
              <a:gd name="T35" fmla="*/ 85 h 1706"/>
              <a:gd name="T36" fmla="*/ 1365 w 2048"/>
              <a:gd name="T37" fmla="*/ 170 h 1706"/>
              <a:gd name="T38" fmla="*/ 1365 w 2048"/>
              <a:gd name="T39" fmla="*/ 256 h 1706"/>
              <a:gd name="T40" fmla="*/ 683 w 2048"/>
              <a:gd name="T41" fmla="*/ 256 h 1706"/>
              <a:gd name="T42" fmla="*/ 683 w 2048"/>
              <a:gd name="T43" fmla="*/ 170 h 1706"/>
              <a:gd name="T44" fmla="*/ 1963 w 2048"/>
              <a:gd name="T45" fmla="*/ 1536 h 1706"/>
              <a:gd name="T46" fmla="*/ 1877 w 2048"/>
              <a:gd name="T47" fmla="*/ 1621 h 1706"/>
              <a:gd name="T48" fmla="*/ 171 w 2048"/>
              <a:gd name="T49" fmla="*/ 1621 h 1706"/>
              <a:gd name="T50" fmla="*/ 85 w 2048"/>
              <a:gd name="T51" fmla="*/ 1536 h 1706"/>
              <a:gd name="T52" fmla="*/ 85 w 2048"/>
              <a:gd name="T53" fmla="*/ 915 h 1706"/>
              <a:gd name="T54" fmla="*/ 171 w 2048"/>
              <a:gd name="T55" fmla="*/ 938 h 1706"/>
              <a:gd name="T56" fmla="*/ 853 w 2048"/>
              <a:gd name="T57" fmla="*/ 938 h 1706"/>
              <a:gd name="T58" fmla="*/ 853 w 2048"/>
              <a:gd name="T59" fmla="*/ 1066 h 1706"/>
              <a:gd name="T60" fmla="*/ 896 w 2048"/>
              <a:gd name="T61" fmla="*/ 1109 h 1706"/>
              <a:gd name="T62" fmla="*/ 1152 w 2048"/>
              <a:gd name="T63" fmla="*/ 1109 h 1706"/>
              <a:gd name="T64" fmla="*/ 1195 w 2048"/>
              <a:gd name="T65" fmla="*/ 1066 h 1706"/>
              <a:gd name="T66" fmla="*/ 1195 w 2048"/>
              <a:gd name="T67" fmla="*/ 938 h 1706"/>
              <a:gd name="T68" fmla="*/ 1877 w 2048"/>
              <a:gd name="T69" fmla="*/ 938 h 1706"/>
              <a:gd name="T70" fmla="*/ 1963 w 2048"/>
              <a:gd name="T71" fmla="*/ 915 h 1706"/>
              <a:gd name="T72" fmla="*/ 1963 w 2048"/>
              <a:gd name="T73" fmla="*/ 1536 h 1706"/>
              <a:gd name="T74" fmla="*/ 939 w 2048"/>
              <a:gd name="T75" fmla="*/ 1024 h 1706"/>
              <a:gd name="T76" fmla="*/ 939 w 2048"/>
              <a:gd name="T77" fmla="*/ 853 h 1706"/>
              <a:gd name="T78" fmla="*/ 1109 w 2048"/>
              <a:gd name="T79" fmla="*/ 853 h 1706"/>
              <a:gd name="T80" fmla="*/ 1109 w 2048"/>
              <a:gd name="T81" fmla="*/ 1024 h 1706"/>
              <a:gd name="T82" fmla="*/ 939 w 2048"/>
              <a:gd name="T83" fmla="*/ 1024 h 1706"/>
              <a:gd name="T84" fmla="*/ 1963 w 2048"/>
              <a:gd name="T85" fmla="*/ 768 h 1706"/>
              <a:gd name="T86" fmla="*/ 1877 w 2048"/>
              <a:gd name="T87" fmla="*/ 853 h 1706"/>
              <a:gd name="T88" fmla="*/ 1195 w 2048"/>
              <a:gd name="T89" fmla="*/ 853 h 1706"/>
              <a:gd name="T90" fmla="*/ 1195 w 2048"/>
              <a:gd name="T91" fmla="*/ 810 h 1706"/>
              <a:gd name="T92" fmla="*/ 1152 w 2048"/>
              <a:gd name="T93" fmla="*/ 768 h 1706"/>
              <a:gd name="T94" fmla="*/ 896 w 2048"/>
              <a:gd name="T95" fmla="*/ 768 h 1706"/>
              <a:gd name="T96" fmla="*/ 853 w 2048"/>
              <a:gd name="T97" fmla="*/ 810 h 1706"/>
              <a:gd name="T98" fmla="*/ 853 w 2048"/>
              <a:gd name="T99" fmla="*/ 853 h 1706"/>
              <a:gd name="T100" fmla="*/ 171 w 2048"/>
              <a:gd name="T101" fmla="*/ 853 h 1706"/>
              <a:gd name="T102" fmla="*/ 85 w 2048"/>
              <a:gd name="T103" fmla="*/ 768 h 1706"/>
              <a:gd name="T104" fmla="*/ 85 w 2048"/>
              <a:gd name="T105" fmla="*/ 426 h 1706"/>
              <a:gd name="T106" fmla="*/ 171 w 2048"/>
              <a:gd name="T107" fmla="*/ 341 h 1706"/>
              <a:gd name="T108" fmla="*/ 1877 w 2048"/>
              <a:gd name="T109" fmla="*/ 341 h 1706"/>
              <a:gd name="T110" fmla="*/ 1963 w 2048"/>
              <a:gd name="T111" fmla="*/ 426 h 1706"/>
              <a:gd name="T112" fmla="*/ 1963 w 2048"/>
              <a:gd name="T113" fmla="*/ 768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8" h="1706">
                <a:moveTo>
                  <a:pt x="1877" y="256"/>
                </a:moveTo>
                <a:cubicBezTo>
                  <a:pt x="1451" y="256"/>
                  <a:pt x="1451" y="256"/>
                  <a:pt x="1451" y="256"/>
                </a:cubicBezTo>
                <a:cubicBezTo>
                  <a:pt x="1451" y="170"/>
                  <a:pt x="1451" y="170"/>
                  <a:pt x="1451" y="170"/>
                </a:cubicBezTo>
                <a:cubicBezTo>
                  <a:pt x="1451" y="76"/>
                  <a:pt x="1374" y="0"/>
                  <a:pt x="1280" y="0"/>
                </a:cubicBezTo>
                <a:cubicBezTo>
                  <a:pt x="768" y="0"/>
                  <a:pt x="768" y="0"/>
                  <a:pt x="768" y="0"/>
                </a:cubicBezTo>
                <a:cubicBezTo>
                  <a:pt x="674" y="0"/>
                  <a:pt x="597" y="76"/>
                  <a:pt x="597" y="170"/>
                </a:cubicBezTo>
                <a:cubicBezTo>
                  <a:pt x="597" y="256"/>
                  <a:pt x="597" y="256"/>
                  <a:pt x="597" y="256"/>
                </a:cubicBezTo>
                <a:cubicBezTo>
                  <a:pt x="171" y="256"/>
                  <a:pt x="171" y="256"/>
                  <a:pt x="171" y="256"/>
                </a:cubicBezTo>
                <a:cubicBezTo>
                  <a:pt x="77" y="256"/>
                  <a:pt x="0" y="332"/>
                  <a:pt x="0" y="426"/>
                </a:cubicBezTo>
                <a:cubicBezTo>
                  <a:pt x="0" y="1536"/>
                  <a:pt x="0" y="1536"/>
                  <a:pt x="0" y="1536"/>
                </a:cubicBezTo>
                <a:cubicBezTo>
                  <a:pt x="0" y="1630"/>
                  <a:pt x="77" y="1706"/>
                  <a:pt x="171" y="1706"/>
                </a:cubicBezTo>
                <a:cubicBezTo>
                  <a:pt x="1877" y="1706"/>
                  <a:pt x="1877" y="1706"/>
                  <a:pt x="1877" y="1706"/>
                </a:cubicBezTo>
                <a:cubicBezTo>
                  <a:pt x="1971" y="1706"/>
                  <a:pt x="2048" y="1630"/>
                  <a:pt x="2048" y="1536"/>
                </a:cubicBezTo>
                <a:cubicBezTo>
                  <a:pt x="2048" y="426"/>
                  <a:pt x="2048" y="426"/>
                  <a:pt x="2048" y="426"/>
                </a:cubicBezTo>
                <a:cubicBezTo>
                  <a:pt x="2048" y="332"/>
                  <a:pt x="1971" y="256"/>
                  <a:pt x="1877" y="256"/>
                </a:cubicBezTo>
                <a:close/>
                <a:moveTo>
                  <a:pt x="683" y="170"/>
                </a:moveTo>
                <a:cubicBezTo>
                  <a:pt x="683" y="123"/>
                  <a:pt x="721" y="85"/>
                  <a:pt x="768" y="85"/>
                </a:cubicBezTo>
                <a:cubicBezTo>
                  <a:pt x="1280" y="85"/>
                  <a:pt x="1280" y="85"/>
                  <a:pt x="1280" y="85"/>
                </a:cubicBezTo>
                <a:cubicBezTo>
                  <a:pt x="1327" y="85"/>
                  <a:pt x="1365" y="123"/>
                  <a:pt x="1365" y="170"/>
                </a:cubicBezTo>
                <a:cubicBezTo>
                  <a:pt x="1365" y="256"/>
                  <a:pt x="1365" y="256"/>
                  <a:pt x="1365" y="256"/>
                </a:cubicBezTo>
                <a:cubicBezTo>
                  <a:pt x="683" y="256"/>
                  <a:pt x="683" y="256"/>
                  <a:pt x="683" y="256"/>
                </a:cubicBezTo>
                <a:lnTo>
                  <a:pt x="683" y="170"/>
                </a:lnTo>
                <a:close/>
                <a:moveTo>
                  <a:pt x="1963" y="1536"/>
                </a:moveTo>
                <a:cubicBezTo>
                  <a:pt x="1963" y="1583"/>
                  <a:pt x="1924" y="1621"/>
                  <a:pt x="1877" y="1621"/>
                </a:cubicBezTo>
                <a:cubicBezTo>
                  <a:pt x="171" y="1621"/>
                  <a:pt x="171" y="1621"/>
                  <a:pt x="171" y="1621"/>
                </a:cubicBezTo>
                <a:cubicBezTo>
                  <a:pt x="124" y="1621"/>
                  <a:pt x="85" y="1583"/>
                  <a:pt x="85" y="1536"/>
                </a:cubicBezTo>
                <a:cubicBezTo>
                  <a:pt x="85" y="915"/>
                  <a:pt x="85" y="915"/>
                  <a:pt x="85" y="915"/>
                </a:cubicBezTo>
                <a:cubicBezTo>
                  <a:pt x="111" y="929"/>
                  <a:pt x="139" y="938"/>
                  <a:pt x="171" y="938"/>
                </a:cubicBezTo>
                <a:cubicBezTo>
                  <a:pt x="853" y="938"/>
                  <a:pt x="853" y="938"/>
                  <a:pt x="853" y="938"/>
                </a:cubicBezTo>
                <a:cubicBezTo>
                  <a:pt x="853" y="1066"/>
                  <a:pt x="853" y="1066"/>
                  <a:pt x="853" y="1066"/>
                </a:cubicBezTo>
                <a:cubicBezTo>
                  <a:pt x="853" y="1090"/>
                  <a:pt x="872" y="1109"/>
                  <a:pt x="896" y="1109"/>
                </a:cubicBezTo>
                <a:cubicBezTo>
                  <a:pt x="1152" y="1109"/>
                  <a:pt x="1152" y="1109"/>
                  <a:pt x="1152" y="1109"/>
                </a:cubicBezTo>
                <a:cubicBezTo>
                  <a:pt x="1176" y="1109"/>
                  <a:pt x="1195" y="1090"/>
                  <a:pt x="1195" y="1066"/>
                </a:cubicBezTo>
                <a:cubicBezTo>
                  <a:pt x="1195" y="938"/>
                  <a:pt x="1195" y="938"/>
                  <a:pt x="1195" y="938"/>
                </a:cubicBezTo>
                <a:cubicBezTo>
                  <a:pt x="1877" y="938"/>
                  <a:pt x="1877" y="938"/>
                  <a:pt x="1877" y="938"/>
                </a:cubicBezTo>
                <a:cubicBezTo>
                  <a:pt x="1909" y="938"/>
                  <a:pt x="1937" y="929"/>
                  <a:pt x="1963" y="915"/>
                </a:cubicBezTo>
                <a:cubicBezTo>
                  <a:pt x="1963" y="1536"/>
                  <a:pt x="1963" y="1536"/>
                  <a:pt x="1963" y="1536"/>
                </a:cubicBezTo>
                <a:close/>
                <a:moveTo>
                  <a:pt x="939" y="1024"/>
                </a:moveTo>
                <a:cubicBezTo>
                  <a:pt x="939" y="853"/>
                  <a:pt x="939" y="853"/>
                  <a:pt x="939" y="853"/>
                </a:cubicBezTo>
                <a:cubicBezTo>
                  <a:pt x="1109" y="853"/>
                  <a:pt x="1109" y="853"/>
                  <a:pt x="1109" y="853"/>
                </a:cubicBezTo>
                <a:cubicBezTo>
                  <a:pt x="1109" y="1024"/>
                  <a:pt x="1109" y="1024"/>
                  <a:pt x="1109" y="1024"/>
                </a:cubicBezTo>
                <a:lnTo>
                  <a:pt x="939" y="1024"/>
                </a:lnTo>
                <a:close/>
                <a:moveTo>
                  <a:pt x="1963" y="768"/>
                </a:moveTo>
                <a:cubicBezTo>
                  <a:pt x="1963" y="815"/>
                  <a:pt x="1924" y="853"/>
                  <a:pt x="1877" y="853"/>
                </a:cubicBezTo>
                <a:cubicBezTo>
                  <a:pt x="1195" y="853"/>
                  <a:pt x="1195" y="853"/>
                  <a:pt x="1195" y="853"/>
                </a:cubicBezTo>
                <a:cubicBezTo>
                  <a:pt x="1195" y="810"/>
                  <a:pt x="1195" y="810"/>
                  <a:pt x="1195" y="810"/>
                </a:cubicBezTo>
                <a:cubicBezTo>
                  <a:pt x="1195" y="787"/>
                  <a:pt x="1176" y="768"/>
                  <a:pt x="1152" y="768"/>
                </a:cubicBezTo>
                <a:cubicBezTo>
                  <a:pt x="896" y="768"/>
                  <a:pt x="896" y="768"/>
                  <a:pt x="896" y="768"/>
                </a:cubicBezTo>
                <a:cubicBezTo>
                  <a:pt x="872" y="768"/>
                  <a:pt x="853" y="787"/>
                  <a:pt x="853" y="810"/>
                </a:cubicBezTo>
                <a:cubicBezTo>
                  <a:pt x="853" y="853"/>
                  <a:pt x="853" y="853"/>
                  <a:pt x="853" y="853"/>
                </a:cubicBezTo>
                <a:cubicBezTo>
                  <a:pt x="171" y="853"/>
                  <a:pt x="171" y="853"/>
                  <a:pt x="171" y="853"/>
                </a:cubicBezTo>
                <a:cubicBezTo>
                  <a:pt x="124" y="853"/>
                  <a:pt x="85" y="815"/>
                  <a:pt x="85" y="768"/>
                </a:cubicBezTo>
                <a:cubicBezTo>
                  <a:pt x="85" y="426"/>
                  <a:pt x="85" y="426"/>
                  <a:pt x="85" y="426"/>
                </a:cubicBezTo>
                <a:cubicBezTo>
                  <a:pt x="85" y="379"/>
                  <a:pt x="124" y="341"/>
                  <a:pt x="171" y="341"/>
                </a:cubicBezTo>
                <a:cubicBezTo>
                  <a:pt x="1877" y="341"/>
                  <a:pt x="1877" y="341"/>
                  <a:pt x="1877" y="341"/>
                </a:cubicBezTo>
                <a:cubicBezTo>
                  <a:pt x="1924" y="341"/>
                  <a:pt x="1963" y="379"/>
                  <a:pt x="1963" y="426"/>
                </a:cubicBezTo>
                <a:lnTo>
                  <a:pt x="1963" y="76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27" name="Group 143">
            <a:extLst>
              <a:ext uri="{FF2B5EF4-FFF2-40B4-BE49-F238E27FC236}">
                <a16:creationId xmlns:a16="http://schemas.microsoft.com/office/drawing/2014/main" id="{4E2FA6F6-D223-4370-874C-06F18AB6C68A}"/>
              </a:ext>
            </a:extLst>
          </p:cNvPr>
          <p:cNvGrpSpPr>
            <a:grpSpLocks noChangeAspect="1"/>
          </p:cNvGrpSpPr>
          <p:nvPr/>
        </p:nvGrpSpPr>
        <p:grpSpPr>
          <a:xfrm>
            <a:off x="2682600" y="4474272"/>
            <a:ext cx="407482" cy="361950"/>
            <a:chOff x="7615238" y="793750"/>
            <a:chExt cx="284163" cy="252412"/>
          </a:xfrm>
          <a:solidFill>
            <a:schemeClr val="accent3"/>
          </a:solidFill>
          <a:effectLst/>
        </p:grpSpPr>
        <p:sp>
          <p:nvSpPr>
            <p:cNvPr id="128" name="Freeform 299">
              <a:extLst>
                <a:ext uri="{FF2B5EF4-FFF2-40B4-BE49-F238E27FC236}">
                  <a16:creationId xmlns:a16="http://schemas.microsoft.com/office/drawing/2014/main" id="{4143D985-289B-4826-B58B-B9B34D5056C9}"/>
                </a:ext>
              </a:extLst>
            </p:cNvPr>
            <p:cNvSpPr>
              <a:spLocks noEditPoints="1"/>
            </p:cNvSpPr>
            <p:nvPr/>
          </p:nvSpPr>
          <p:spPr bwMode="auto">
            <a:xfrm>
              <a:off x="7615238" y="793750"/>
              <a:ext cx="284163" cy="252412"/>
            </a:xfrm>
            <a:custGeom>
              <a:avLst/>
              <a:gdLst>
                <a:gd name="T0" fmla="*/ 763 w 896"/>
                <a:gd name="T1" fmla="*/ 426 h 793"/>
                <a:gd name="T2" fmla="*/ 765 w 896"/>
                <a:gd name="T3" fmla="*/ 445 h 793"/>
                <a:gd name="T4" fmla="*/ 809 w 896"/>
                <a:gd name="T5" fmla="*/ 457 h 793"/>
                <a:gd name="T6" fmla="*/ 836 w 896"/>
                <a:gd name="T7" fmla="*/ 494 h 793"/>
                <a:gd name="T8" fmla="*/ 801 w 896"/>
                <a:gd name="T9" fmla="*/ 538 h 793"/>
                <a:gd name="T10" fmla="*/ 735 w 896"/>
                <a:gd name="T11" fmla="*/ 546 h 793"/>
                <a:gd name="T12" fmla="*/ 737 w 896"/>
                <a:gd name="T13" fmla="*/ 564 h 793"/>
                <a:gd name="T14" fmla="*/ 768 w 896"/>
                <a:gd name="T15" fmla="*/ 571 h 793"/>
                <a:gd name="T16" fmla="*/ 791 w 896"/>
                <a:gd name="T17" fmla="*/ 602 h 793"/>
                <a:gd name="T18" fmla="*/ 781 w 896"/>
                <a:gd name="T19" fmla="*/ 636 h 793"/>
                <a:gd name="T20" fmla="*/ 699 w 896"/>
                <a:gd name="T21" fmla="*/ 644 h 793"/>
                <a:gd name="T22" fmla="*/ 688 w 896"/>
                <a:gd name="T23" fmla="*/ 658 h 793"/>
                <a:gd name="T24" fmla="*/ 699 w 896"/>
                <a:gd name="T25" fmla="*/ 673 h 793"/>
                <a:gd name="T26" fmla="*/ 741 w 896"/>
                <a:gd name="T27" fmla="*/ 687 h 793"/>
                <a:gd name="T28" fmla="*/ 743 w 896"/>
                <a:gd name="T29" fmla="*/ 723 h 793"/>
                <a:gd name="T30" fmla="*/ 442 w 896"/>
                <a:gd name="T31" fmla="*/ 733 h 793"/>
                <a:gd name="T32" fmla="*/ 273 w 896"/>
                <a:gd name="T33" fmla="*/ 702 h 793"/>
                <a:gd name="T34" fmla="*/ 246 w 896"/>
                <a:gd name="T35" fmla="*/ 392 h 793"/>
                <a:gd name="T36" fmla="*/ 348 w 896"/>
                <a:gd name="T37" fmla="*/ 316 h 793"/>
                <a:gd name="T38" fmla="*/ 425 w 896"/>
                <a:gd name="T39" fmla="*/ 208 h 793"/>
                <a:gd name="T40" fmla="*/ 460 w 896"/>
                <a:gd name="T41" fmla="*/ 107 h 793"/>
                <a:gd name="T42" fmla="*/ 472 w 896"/>
                <a:gd name="T43" fmla="*/ 40 h 793"/>
                <a:gd name="T44" fmla="*/ 513 w 896"/>
                <a:gd name="T45" fmla="*/ 39 h 793"/>
                <a:gd name="T46" fmla="*/ 550 w 896"/>
                <a:gd name="T47" fmla="*/ 118 h 793"/>
                <a:gd name="T48" fmla="*/ 516 w 896"/>
                <a:gd name="T49" fmla="*/ 276 h 793"/>
                <a:gd name="T50" fmla="*/ 516 w 896"/>
                <a:gd name="T51" fmla="*/ 313 h 793"/>
                <a:gd name="T52" fmla="*/ 853 w 896"/>
                <a:gd name="T53" fmla="*/ 329 h 793"/>
                <a:gd name="T54" fmla="*/ 861 w 896"/>
                <a:gd name="T55" fmla="*/ 389 h 793"/>
                <a:gd name="T56" fmla="*/ 833 w 896"/>
                <a:gd name="T57" fmla="*/ 417 h 793"/>
                <a:gd name="T58" fmla="*/ 179 w 896"/>
                <a:gd name="T59" fmla="*/ 345 h 793"/>
                <a:gd name="T60" fmla="*/ 893 w 896"/>
                <a:gd name="T61" fmla="*/ 337 h 793"/>
                <a:gd name="T62" fmla="*/ 863 w 896"/>
                <a:gd name="T63" fmla="*/ 298 h 793"/>
                <a:gd name="T64" fmla="*/ 544 w 896"/>
                <a:gd name="T65" fmla="*/ 285 h 793"/>
                <a:gd name="T66" fmla="*/ 580 w 896"/>
                <a:gd name="T67" fmla="*/ 123 h 793"/>
                <a:gd name="T68" fmla="*/ 555 w 896"/>
                <a:gd name="T69" fmla="*/ 40 h 793"/>
                <a:gd name="T70" fmla="*/ 513 w 896"/>
                <a:gd name="T71" fmla="*/ 5 h 793"/>
                <a:gd name="T72" fmla="*/ 470 w 896"/>
                <a:gd name="T73" fmla="*/ 6 h 793"/>
                <a:gd name="T74" fmla="*/ 441 w 896"/>
                <a:gd name="T75" fmla="*/ 35 h 793"/>
                <a:gd name="T76" fmla="*/ 432 w 896"/>
                <a:gd name="T77" fmla="*/ 91 h 793"/>
                <a:gd name="T78" fmla="*/ 398 w 896"/>
                <a:gd name="T79" fmla="*/ 194 h 793"/>
                <a:gd name="T80" fmla="*/ 280 w 896"/>
                <a:gd name="T81" fmla="*/ 337 h 793"/>
                <a:gd name="T82" fmla="*/ 209 w 896"/>
                <a:gd name="T83" fmla="*/ 330 h 793"/>
                <a:gd name="T84" fmla="*/ 197 w 896"/>
                <a:gd name="T85" fmla="*/ 315 h 793"/>
                <a:gd name="T86" fmla="*/ 2 w 896"/>
                <a:gd name="T87" fmla="*/ 321 h 793"/>
                <a:gd name="T88" fmla="*/ 2 w 896"/>
                <a:gd name="T89" fmla="*/ 786 h 793"/>
                <a:gd name="T90" fmla="*/ 197 w 896"/>
                <a:gd name="T91" fmla="*/ 793 h 793"/>
                <a:gd name="T92" fmla="*/ 209 w 896"/>
                <a:gd name="T93" fmla="*/ 778 h 793"/>
                <a:gd name="T94" fmla="*/ 383 w 896"/>
                <a:gd name="T95" fmla="*/ 758 h 793"/>
                <a:gd name="T96" fmla="*/ 743 w 896"/>
                <a:gd name="T97" fmla="*/ 760 h 793"/>
                <a:gd name="T98" fmla="*/ 771 w 896"/>
                <a:gd name="T99" fmla="*/ 735 h 793"/>
                <a:gd name="T100" fmla="*/ 768 w 896"/>
                <a:gd name="T101" fmla="*/ 672 h 793"/>
                <a:gd name="T102" fmla="*/ 821 w 896"/>
                <a:gd name="T103" fmla="*/ 625 h 793"/>
                <a:gd name="T104" fmla="*/ 831 w 896"/>
                <a:gd name="T105" fmla="*/ 556 h 793"/>
                <a:gd name="T106" fmla="*/ 866 w 896"/>
                <a:gd name="T107" fmla="*/ 501 h 793"/>
                <a:gd name="T108" fmla="*/ 853 w 896"/>
                <a:gd name="T109" fmla="*/ 456 h 793"/>
                <a:gd name="T110" fmla="*/ 872 w 896"/>
                <a:gd name="T111" fmla="*/ 427 h 793"/>
                <a:gd name="T112" fmla="*/ 896 w 896"/>
                <a:gd name="T113" fmla="*/ 36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6" h="793">
                  <a:moveTo>
                    <a:pt x="821" y="420"/>
                  </a:moveTo>
                  <a:lnTo>
                    <a:pt x="774" y="420"/>
                  </a:lnTo>
                  <a:lnTo>
                    <a:pt x="772" y="420"/>
                  </a:lnTo>
                  <a:lnTo>
                    <a:pt x="769" y="421"/>
                  </a:lnTo>
                  <a:lnTo>
                    <a:pt x="767" y="422"/>
                  </a:lnTo>
                  <a:lnTo>
                    <a:pt x="765" y="424"/>
                  </a:lnTo>
                  <a:lnTo>
                    <a:pt x="763" y="426"/>
                  </a:lnTo>
                  <a:lnTo>
                    <a:pt x="762" y="428"/>
                  </a:lnTo>
                  <a:lnTo>
                    <a:pt x="760" y="431"/>
                  </a:lnTo>
                  <a:lnTo>
                    <a:pt x="760" y="435"/>
                  </a:lnTo>
                  <a:lnTo>
                    <a:pt x="760" y="437"/>
                  </a:lnTo>
                  <a:lnTo>
                    <a:pt x="762" y="440"/>
                  </a:lnTo>
                  <a:lnTo>
                    <a:pt x="763" y="442"/>
                  </a:lnTo>
                  <a:lnTo>
                    <a:pt x="765" y="445"/>
                  </a:lnTo>
                  <a:lnTo>
                    <a:pt x="767" y="446"/>
                  </a:lnTo>
                  <a:lnTo>
                    <a:pt x="769" y="448"/>
                  </a:lnTo>
                  <a:lnTo>
                    <a:pt x="772" y="448"/>
                  </a:lnTo>
                  <a:lnTo>
                    <a:pt x="774" y="450"/>
                  </a:lnTo>
                  <a:lnTo>
                    <a:pt x="787" y="451"/>
                  </a:lnTo>
                  <a:lnTo>
                    <a:pt x="798" y="453"/>
                  </a:lnTo>
                  <a:lnTo>
                    <a:pt x="809" y="457"/>
                  </a:lnTo>
                  <a:lnTo>
                    <a:pt x="818" y="463"/>
                  </a:lnTo>
                  <a:lnTo>
                    <a:pt x="826" y="470"/>
                  </a:lnTo>
                  <a:lnTo>
                    <a:pt x="832" y="477"/>
                  </a:lnTo>
                  <a:lnTo>
                    <a:pt x="834" y="482"/>
                  </a:lnTo>
                  <a:lnTo>
                    <a:pt x="835" y="486"/>
                  </a:lnTo>
                  <a:lnTo>
                    <a:pt x="836" y="490"/>
                  </a:lnTo>
                  <a:lnTo>
                    <a:pt x="836" y="494"/>
                  </a:lnTo>
                  <a:lnTo>
                    <a:pt x="836" y="503"/>
                  </a:lnTo>
                  <a:lnTo>
                    <a:pt x="833" y="510"/>
                  </a:lnTo>
                  <a:lnTo>
                    <a:pt x="829" y="518"/>
                  </a:lnTo>
                  <a:lnTo>
                    <a:pt x="824" y="525"/>
                  </a:lnTo>
                  <a:lnTo>
                    <a:pt x="816" y="531"/>
                  </a:lnTo>
                  <a:lnTo>
                    <a:pt x="809" y="535"/>
                  </a:lnTo>
                  <a:lnTo>
                    <a:pt x="801" y="538"/>
                  </a:lnTo>
                  <a:lnTo>
                    <a:pt x="793" y="539"/>
                  </a:lnTo>
                  <a:lnTo>
                    <a:pt x="748" y="539"/>
                  </a:lnTo>
                  <a:lnTo>
                    <a:pt x="744" y="539"/>
                  </a:lnTo>
                  <a:lnTo>
                    <a:pt x="741" y="540"/>
                  </a:lnTo>
                  <a:lnTo>
                    <a:pt x="739" y="542"/>
                  </a:lnTo>
                  <a:lnTo>
                    <a:pt x="737" y="544"/>
                  </a:lnTo>
                  <a:lnTo>
                    <a:pt x="735" y="546"/>
                  </a:lnTo>
                  <a:lnTo>
                    <a:pt x="734" y="548"/>
                  </a:lnTo>
                  <a:lnTo>
                    <a:pt x="733" y="551"/>
                  </a:lnTo>
                  <a:lnTo>
                    <a:pt x="733" y="554"/>
                  </a:lnTo>
                  <a:lnTo>
                    <a:pt x="733" y="556"/>
                  </a:lnTo>
                  <a:lnTo>
                    <a:pt x="734" y="560"/>
                  </a:lnTo>
                  <a:lnTo>
                    <a:pt x="735" y="562"/>
                  </a:lnTo>
                  <a:lnTo>
                    <a:pt x="737" y="564"/>
                  </a:lnTo>
                  <a:lnTo>
                    <a:pt x="739" y="566"/>
                  </a:lnTo>
                  <a:lnTo>
                    <a:pt x="741" y="567"/>
                  </a:lnTo>
                  <a:lnTo>
                    <a:pt x="744" y="568"/>
                  </a:lnTo>
                  <a:lnTo>
                    <a:pt x="748" y="569"/>
                  </a:lnTo>
                  <a:lnTo>
                    <a:pt x="755" y="569"/>
                  </a:lnTo>
                  <a:lnTo>
                    <a:pt x="762" y="570"/>
                  </a:lnTo>
                  <a:lnTo>
                    <a:pt x="768" y="571"/>
                  </a:lnTo>
                  <a:lnTo>
                    <a:pt x="773" y="575"/>
                  </a:lnTo>
                  <a:lnTo>
                    <a:pt x="778" y="577"/>
                  </a:lnTo>
                  <a:lnTo>
                    <a:pt x="781" y="580"/>
                  </a:lnTo>
                  <a:lnTo>
                    <a:pt x="784" y="583"/>
                  </a:lnTo>
                  <a:lnTo>
                    <a:pt x="786" y="587"/>
                  </a:lnTo>
                  <a:lnTo>
                    <a:pt x="789" y="595"/>
                  </a:lnTo>
                  <a:lnTo>
                    <a:pt x="791" y="602"/>
                  </a:lnTo>
                  <a:lnTo>
                    <a:pt x="791" y="609"/>
                  </a:lnTo>
                  <a:lnTo>
                    <a:pt x="793" y="613"/>
                  </a:lnTo>
                  <a:lnTo>
                    <a:pt x="791" y="619"/>
                  </a:lnTo>
                  <a:lnTo>
                    <a:pt x="790" y="623"/>
                  </a:lnTo>
                  <a:lnTo>
                    <a:pt x="789" y="627"/>
                  </a:lnTo>
                  <a:lnTo>
                    <a:pt x="786" y="630"/>
                  </a:lnTo>
                  <a:lnTo>
                    <a:pt x="781" y="636"/>
                  </a:lnTo>
                  <a:lnTo>
                    <a:pt x="773" y="639"/>
                  </a:lnTo>
                  <a:lnTo>
                    <a:pt x="766" y="641"/>
                  </a:lnTo>
                  <a:lnTo>
                    <a:pt x="758" y="643"/>
                  </a:lnTo>
                  <a:lnTo>
                    <a:pt x="752" y="643"/>
                  </a:lnTo>
                  <a:lnTo>
                    <a:pt x="748" y="643"/>
                  </a:lnTo>
                  <a:lnTo>
                    <a:pt x="703" y="643"/>
                  </a:lnTo>
                  <a:lnTo>
                    <a:pt x="699" y="644"/>
                  </a:lnTo>
                  <a:lnTo>
                    <a:pt x="696" y="645"/>
                  </a:lnTo>
                  <a:lnTo>
                    <a:pt x="694" y="646"/>
                  </a:lnTo>
                  <a:lnTo>
                    <a:pt x="692" y="648"/>
                  </a:lnTo>
                  <a:lnTo>
                    <a:pt x="690" y="651"/>
                  </a:lnTo>
                  <a:lnTo>
                    <a:pt x="689" y="653"/>
                  </a:lnTo>
                  <a:lnTo>
                    <a:pt x="688" y="656"/>
                  </a:lnTo>
                  <a:lnTo>
                    <a:pt x="688" y="658"/>
                  </a:lnTo>
                  <a:lnTo>
                    <a:pt x="688" y="661"/>
                  </a:lnTo>
                  <a:lnTo>
                    <a:pt x="689" y="664"/>
                  </a:lnTo>
                  <a:lnTo>
                    <a:pt x="690" y="667"/>
                  </a:lnTo>
                  <a:lnTo>
                    <a:pt x="692" y="669"/>
                  </a:lnTo>
                  <a:lnTo>
                    <a:pt x="694" y="671"/>
                  </a:lnTo>
                  <a:lnTo>
                    <a:pt x="696" y="672"/>
                  </a:lnTo>
                  <a:lnTo>
                    <a:pt x="699" y="673"/>
                  </a:lnTo>
                  <a:lnTo>
                    <a:pt x="703" y="673"/>
                  </a:lnTo>
                  <a:lnTo>
                    <a:pt x="707" y="674"/>
                  </a:lnTo>
                  <a:lnTo>
                    <a:pt x="713" y="674"/>
                  </a:lnTo>
                  <a:lnTo>
                    <a:pt x="721" y="675"/>
                  </a:lnTo>
                  <a:lnTo>
                    <a:pt x="728" y="678"/>
                  </a:lnTo>
                  <a:lnTo>
                    <a:pt x="736" y="682"/>
                  </a:lnTo>
                  <a:lnTo>
                    <a:pt x="741" y="687"/>
                  </a:lnTo>
                  <a:lnTo>
                    <a:pt x="744" y="690"/>
                  </a:lnTo>
                  <a:lnTo>
                    <a:pt x="745" y="694"/>
                  </a:lnTo>
                  <a:lnTo>
                    <a:pt x="747" y="699"/>
                  </a:lnTo>
                  <a:lnTo>
                    <a:pt x="748" y="703"/>
                  </a:lnTo>
                  <a:lnTo>
                    <a:pt x="747" y="712"/>
                  </a:lnTo>
                  <a:lnTo>
                    <a:pt x="745" y="718"/>
                  </a:lnTo>
                  <a:lnTo>
                    <a:pt x="743" y="723"/>
                  </a:lnTo>
                  <a:lnTo>
                    <a:pt x="741" y="727"/>
                  </a:lnTo>
                  <a:lnTo>
                    <a:pt x="737" y="730"/>
                  </a:lnTo>
                  <a:lnTo>
                    <a:pt x="732" y="732"/>
                  </a:lnTo>
                  <a:lnTo>
                    <a:pt x="725" y="733"/>
                  </a:lnTo>
                  <a:lnTo>
                    <a:pt x="718" y="733"/>
                  </a:lnTo>
                  <a:lnTo>
                    <a:pt x="463" y="733"/>
                  </a:lnTo>
                  <a:lnTo>
                    <a:pt x="442" y="733"/>
                  </a:lnTo>
                  <a:lnTo>
                    <a:pt x="421" y="732"/>
                  </a:lnTo>
                  <a:lnTo>
                    <a:pt x="403" y="730"/>
                  </a:lnTo>
                  <a:lnTo>
                    <a:pt x="386" y="728"/>
                  </a:lnTo>
                  <a:lnTo>
                    <a:pt x="354" y="721"/>
                  </a:lnTo>
                  <a:lnTo>
                    <a:pt x="322" y="714"/>
                  </a:lnTo>
                  <a:lnTo>
                    <a:pt x="298" y="708"/>
                  </a:lnTo>
                  <a:lnTo>
                    <a:pt x="273" y="702"/>
                  </a:lnTo>
                  <a:lnTo>
                    <a:pt x="243" y="697"/>
                  </a:lnTo>
                  <a:lnTo>
                    <a:pt x="209" y="690"/>
                  </a:lnTo>
                  <a:lnTo>
                    <a:pt x="209" y="404"/>
                  </a:lnTo>
                  <a:lnTo>
                    <a:pt x="218" y="401"/>
                  </a:lnTo>
                  <a:lnTo>
                    <a:pt x="227" y="399"/>
                  </a:lnTo>
                  <a:lnTo>
                    <a:pt x="236" y="396"/>
                  </a:lnTo>
                  <a:lnTo>
                    <a:pt x="246" y="392"/>
                  </a:lnTo>
                  <a:lnTo>
                    <a:pt x="257" y="386"/>
                  </a:lnTo>
                  <a:lnTo>
                    <a:pt x="266" y="381"/>
                  </a:lnTo>
                  <a:lnTo>
                    <a:pt x="276" y="376"/>
                  </a:lnTo>
                  <a:lnTo>
                    <a:pt x="287" y="368"/>
                  </a:lnTo>
                  <a:lnTo>
                    <a:pt x="307" y="353"/>
                  </a:lnTo>
                  <a:lnTo>
                    <a:pt x="327" y="335"/>
                  </a:lnTo>
                  <a:lnTo>
                    <a:pt x="348" y="316"/>
                  </a:lnTo>
                  <a:lnTo>
                    <a:pt x="367" y="293"/>
                  </a:lnTo>
                  <a:lnTo>
                    <a:pt x="379" y="279"/>
                  </a:lnTo>
                  <a:lnTo>
                    <a:pt x="389" y="266"/>
                  </a:lnTo>
                  <a:lnTo>
                    <a:pt x="399" y="252"/>
                  </a:lnTo>
                  <a:lnTo>
                    <a:pt x="408" y="237"/>
                  </a:lnTo>
                  <a:lnTo>
                    <a:pt x="416" y="223"/>
                  </a:lnTo>
                  <a:lnTo>
                    <a:pt x="425" y="208"/>
                  </a:lnTo>
                  <a:lnTo>
                    <a:pt x="431" y="194"/>
                  </a:lnTo>
                  <a:lnTo>
                    <a:pt x="439" y="179"/>
                  </a:lnTo>
                  <a:lnTo>
                    <a:pt x="444" y="164"/>
                  </a:lnTo>
                  <a:lnTo>
                    <a:pt x="449" y="150"/>
                  </a:lnTo>
                  <a:lnTo>
                    <a:pt x="454" y="135"/>
                  </a:lnTo>
                  <a:lnTo>
                    <a:pt x="457" y="121"/>
                  </a:lnTo>
                  <a:lnTo>
                    <a:pt x="460" y="107"/>
                  </a:lnTo>
                  <a:lnTo>
                    <a:pt x="461" y="92"/>
                  </a:lnTo>
                  <a:lnTo>
                    <a:pt x="463" y="78"/>
                  </a:lnTo>
                  <a:lnTo>
                    <a:pt x="463" y="66"/>
                  </a:lnTo>
                  <a:lnTo>
                    <a:pt x="464" y="58"/>
                  </a:lnTo>
                  <a:lnTo>
                    <a:pt x="465" y="52"/>
                  </a:lnTo>
                  <a:lnTo>
                    <a:pt x="467" y="45"/>
                  </a:lnTo>
                  <a:lnTo>
                    <a:pt x="472" y="40"/>
                  </a:lnTo>
                  <a:lnTo>
                    <a:pt x="476" y="37"/>
                  </a:lnTo>
                  <a:lnTo>
                    <a:pt x="480" y="34"/>
                  </a:lnTo>
                  <a:lnTo>
                    <a:pt x="487" y="31"/>
                  </a:lnTo>
                  <a:lnTo>
                    <a:pt x="492" y="30"/>
                  </a:lnTo>
                  <a:lnTo>
                    <a:pt x="500" y="31"/>
                  </a:lnTo>
                  <a:lnTo>
                    <a:pt x="506" y="34"/>
                  </a:lnTo>
                  <a:lnTo>
                    <a:pt x="513" y="39"/>
                  </a:lnTo>
                  <a:lnTo>
                    <a:pt x="521" y="45"/>
                  </a:lnTo>
                  <a:lnTo>
                    <a:pt x="528" y="54"/>
                  </a:lnTo>
                  <a:lnTo>
                    <a:pt x="535" y="66"/>
                  </a:lnTo>
                  <a:lnTo>
                    <a:pt x="541" y="79"/>
                  </a:lnTo>
                  <a:lnTo>
                    <a:pt x="547" y="97"/>
                  </a:lnTo>
                  <a:lnTo>
                    <a:pt x="549" y="106"/>
                  </a:lnTo>
                  <a:lnTo>
                    <a:pt x="550" y="118"/>
                  </a:lnTo>
                  <a:lnTo>
                    <a:pt x="550" y="130"/>
                  </a:lnTo>
                  <a:lnTo>
                    <a:pt x="549" y="144"/>
                  </a:lnTo>
                  <a:lnTo>
                    <a:pt x="546" y="171"/>
                  </a:lnTo>
                  <a:lnTo>
                    <a:pt x="539" y="200"/>
                  </a:lnTo>
                  <a:lnTo>
                    <a:pt x="532" y="228"/>
                  </a:lnTo>
                  <a:lnTo>
                    <a:pt x="523" y="255"/>
                  </a:lnTo>
                  <a:lnTo>
                    <a:pt x="516" y="276"/>
                  </a:lnTo>
                  <a:lnTo>
                    <a:pt x="509" y="294"/>
                  </a:lnTo>
                  <a:lnTo>
                    <a:pt x="508" y="298"/>
                  </a:lnTo>
                  <a:lnTo>
                    <a:pt x="508" y="301"/>
                  </a:lnTo>
                  <a:lnTo>
                    <a:pt x="509" y="305"/>
                  </a:lnTo>
                  <a:lnTo>
                    <a:pt x="510" y="308"/>
                  </a:lnTo>
                  <a:lnTo>
                    <a:pt x="513" y="310"/>
                  </a:lnTo>
                  <a:lnTo>
                    <a:pt x="516" y="313"/>
                  </a:lnTo>
                  <a:lnTo>
                    <a:pt x="519" y="314"/>
                  </a:lnTo>
                  <a:lnTo>
                    <a:pt x="523" y="315"/>
                  </a:lnTo>
                  <a:lnTo>
                    <a:pt x="821" y="315"/>
                  </a:lnTo>
                  <a:lnTo>
                    <a:pt x="830" y="316"/>
                  </a:lnTo>
                  <a:lnTo>
                    <a:pt x="839" y="318"/>
                  </a:lnTo>
                  <a:lnTo>
                    <a:pt x="846" y="322"/>
                  </a:lnTo>
                  <a:lnTo>
                    <a:pt x="853" y="329"/>
                  </a:lnTo>
                  <a:lnTo>
                    <a:pt x="859" y="335"/>
                  </a:lnTo>
                  <a:lnTo>
                    <a:pt x="863" y="343"/>
                  </a:lnTo>
                  <a:lnTo>
                    <a:pt x="866" y="351"/>
                  </a:lnTo>
                  <a:lnTo>
                    <a:pt x="866" y="360"/>
                  </a:lnTo>
                  <a:lnTo>
                    <a:pt x="866" y="369"/>
                  </a:lnTo>
                  <a:lnTo>
                    <a:pt x="864" y="379"/>
                  </a:lnTo>
                  <a:lnTo>
                    <a:pt x="861" y="389"/>
                  </a:lnTo>
                  <a:lnTo>
                    <a:pt x="856" y="398"/>
                  </a:lnTo>
                  <a:lnTo>
                    <a:pt x="852" y="402"/>
                  </a:lnTo>
                  <a:lnTo>
                    <a:pt x="849" y="407"/>
                  </a:lnTo>
                  <a:lnTo>
                    <a:pt x="846" y="410"/>
                  </a:lnTo>
                  <a:lnTo>
                    <a:pt x="842" y="413"/>
                  </a:lnTo>
                  <a:lnTo>
                    <a:pt x="837" y="415"/>
                  </a:lnTo>
                  <a:lnTo>
                    <a:pt x="833" y="417"/>
                  </a:lnTo>
                  <a:lnTo>
                    <a:pt x="828" y="419"/>
                  </a:lnTo>
                  <a:lnTo>
                    <a:pt x="821" y="420"/>
                  </a:lnTo>
                  <a:lnTo>
                    <a:pt x="821" y="420"/>
                  </a:lnTo>
                  <a:close/>
                  <a:moveTo>
                    <a:pt x="179" y="763"/>
                  </a:moveTo>
                  <a:lnTo>
                    <a:pt x="30" y="763"/>
                  </a:lnTo>
                  <a:lnTo>
                    <a:pt x="30" y="344"/>
                  </a:lnTo>
                  <a:lnTo>
                    <a:pt x="179" y="345"/>
                  </a:lnTo>
                  <a:lnTo>
                    <a:pt x="179" y="390"/>
                  </a:lnTo>
                  <a:lnTo>
                    <a:pt x="179" y="703"/>
                  </a:lnTo>
                  <a:lnTo>
                    <a:pt x="179" y="763"/>
                  </a:lnTo>
                  <a:close/>
                  <a:moveTo>
                    <a:pt x="896" y="360"/>
                  </a:moveTo>
                  <a:lnTo>
                    <a:pt x="896" y="352"/>
                  </a:lnTo>
                  <a:lnTo>
                    <a:pt x="895" y="345"/>
                  </a:lnTo>
                  <a:lnTo>
                    <a:pt x="893" y="337"/>
                  </a:lnTo>
                  <a:lnTo>
                    <a:pt x="891" y="331"/>
                  </a:lnTo>
                  <a:lnTo>
                    <a:pt x="888" y="324"/>
                  </a:lnTo>
                  <a:lnTo>
                    <a:pt x="883" y="318"/>
                  </a:lnTo>
                  <a:lnTo>
                    <a:pt x="879" y="313"/>
                  </a:lnTo>
                  <a:lnTo>
                    <a:pt x="874" y="307"/>
                  </a:lnTo>
                  <a:lnTo>
                    <a:pt x="868" y="302"/>
                  </a:lnTo>
                  <a:lnTo>
                    <a:pt x="863" y="298"/>
                  </a:lnTo>
                  <a:lnTo>
                    <a:pt x="857" y="294"/>
                  </a:lnTo>
                  <a:lnTo>
                    <a:pt x="850" y="291"/>
                  </a:lnTo>
                  <a:lnTo>
                    <a:pt x="844" y="288"/>
                  </a:lnTo>
                  <a:lnTo>
                    <a:pt x="836" y="286"/>
                  </a:lnTo>
                  <a:lnTo>
                    <a:pt x="829" y="285"/>
                  </a:lnTo>
                  <a:lnTo>
                    <a:pt x="821" y="285"/>
                  </a:lnTo>
                  <a:lnTo>
                    <a:pt x="544" y="285"/>
                  </a:lnTo>
                  <a:lnTo>
                    <a:pt x="551" y="267"/>
                  </a:lnTo>
                  <a:lnTo>
                    <a:pt x="558" y="244"/>
                  </a:lnTo>
                  <a:lnTo>
                    <a:pt x="566" y="219"/>
                  </a:lnTo>
                  <a:lnTo>
                    <a:pt x="572" y="192"/>
                  </a:lnTo>
                  <a:lnTo>
                    <a:pt x="577" y="164"/>
                  </a:lnTo>
                  <a:lnTo>
                    <a:pt x="580" y="136"/>
                  </a:lnTo>
                  <a:lnTo>
                    <a:pt x="580" y="123"/>
                  </a:lnTo>
                  <a:lnTo>
                    <a:pt x="580" y="111"/>
                  </a:lnTo>
                  <a:lnTo>
                    <a:pt x="578" y="99"/>
                  </a:lnTo>
                  <a:lnTo>
                    <a:pt x="575" y="88"/>
                  </a:lnTo>
                  <a:lnTo>
                    <a:pt x="571" y="74"/>
                  </a:lnTo>
                  <a:lnTo>
                    <a:pt x="566" y="61"/>
                  </a:lnTo>
                  <a:lnTo>
                    <a:pt x="560" y="50"/>
                  </a:lnTo>
                  <a:lnTo>
                    <a:pt x="555" y="40"/>
                  </a:lnTo>
                  <a:lnTo>
                    <a:pt x="549" y="31"/>
                  </a:lnTo>
                  <a:lnTo>
                    <a:pt x="543" y="25"/>
                  </a:lnTo>
                  <a:lnTo>
                    <a:pt x="537" y="19"/>
                  </a:lnTo>
                  <a:lnTo>
                    <a:pt x="531" y="14"/>
                  </a:lnTo>
                  <a:lnTo>
                    <a:pt x="524" y="10"/>
                  </a:lnTo>
                  <a:lnTo>
                    <a:pt x="519" y="7"/>
                  </a:lnTo>
                  <a:lnTo>
                    <a:pt x="513" y="5"/>
                  </a:lnTo>
                  <a:lnTo>
                    <a:pt x="508" y="2"/>
                  </a:lnTo>
                  <a:lnTo>
                    <a:pt x="498" y="1"/>
                  </a:lnTo>
                  <a:lnTo>
                    <a:pt x="492" y="0"/>
                  </a:lnTo>
                  <a:lnTo>
                    <a:pt x="486" y="1"/>
                  </a:lnTo>
                  <a:lnTo>
                    <a:pt x="480" y="1"/>
                  </a:lnTo>
                  <a:lnTo>
                    <a:pt x="475" y="4"/>
                  </a:lnTo>
                  <a:lnTo>
                    <a:pt x="470" y="6"/>
                  </a:lnTo>
                  <a:lnTo>
                    <a:pt x="464" y="8"/>
                  </a:lnTo>
                  <a:lnTo>
                    <a:pt x="459" y="11"/>
                  </a:lnTo>
                  <a:lnTo>
                    <a:pt x="455" y="15"/>
                  </a:lnTo>
                  <a:lnTo>
                    <a:pt x="450" y="20"/>
                  </a:lnTo>
                  <a:lnTo>
                    <a:pt x="446" y="24"/>
                  </a:lnTo>
                  <a:lnTo>
                    <a:pt x="443" y="29"/>
                  </a:lnTo>
                  <a:lnTo>
                    <a:pt x="441" y="35"/>
                  </a:lnTo>
                  <a:lnTo>
                    <a:pt x="437" y="40"/>
                  </a:lnTo>
                  <a:lnTo>
                    <a:pt x="435" y="46"/>
                  </a:lnTo>
                  <a:lnTo>
                    <a:pt x="434" y="52"/>
                  </a:lnTo>
                  <a:lnTo>
                    <a:pt x="433" y="58"/>
                  </a:lnTo>
                  <a:lnTo>
                    <a:pt x="433" y="66"/>
                  </a:lnTo>
                  <a:lnTo>
                    <a:pt x="433" y="78"/>
                  </a:lnTo>
                  <a:lnTo>
                    <a:pt x="432" y="91"/>
                  </a:lnTo>
                  <a:lnTo>
                    <a:pt x="430" y="104"/>
                  </a:lnTo>
                  <a:lnTo>
                    <a:pt x="427" y="117"/>
                  </a:lnTo>
                  <a:lnTo>
                    <a:pt x="424" y="130"/>
                  </a:lnTo>
                  <a:lnTo>
                    <a:pt x="420" y="143"/>
                  </a:lnTo>
                  <a:lnTo>
                    <a:pt x="415" y="155"/>
                  </a:lnTo>
                  <a:lnTo>
                    <a:pt x="410" y="168"/>
                  </a:lnTo>
                  <a:lnTo>
                    <a:pt x="398" y="194"/>
                  </a:lnTo>
                  <a:lnTo>
                    <a:pt x="385" y="219"/>
                  </a:lnTo>
                  <a:lnTo>
                    <a:pt x="370" y="242"/>
                  </a:lnTo>
                  <a:lnTo>
                    <a:pt x="353" y="265"/>
                  </a:lnTo>
                  <a:lnTo>
                    <a:pt x="336" y="285"/>
                  </a:lnTo>
                  <a:lnTo>
                    <a:pt x="318" y="304"/>
                  </a:lnTo>
                  <a:lnTo>
                    <a:pt x="298" y="321"/>
                  </a:lnTo>
                  <a:lnTo>
                    <a:pt x="280" y="337"/>
                  </a:lnTo>
                  <a:lnTo>
                    <a:pt x="261" y="350"/>
                  </a:lnTo>
                  <a:lnTo>
                    <a:pt x="243" y="361"/>
                  </a:lnTo>
                  <a:lnTo>
                    <a:pt x="234" y="365"/>
                  </a:lnTo>
                  <a:lnTo>
                    <a:pt x="226" y="368"/>
                  </a:lnTo>
                  <a:lnTo>
                    <a:pt x="217" y="370"/>
                  </a:lnTo>
                  <a:lnTo>
                    <a:pt x="209" y="373"/>
                  </a:lnTo>
                  <a:lnTo>
                    <a:pt x="209" y="330"/>
                  </a:lnTo>
                  <a:lnTo>
                    <a:pt x="209" y="327"/>
                  </a:lnTo>
                  <a:lnTo>
                    <a:pt x="208" y="323"/>
                  </a:lnTo>
                  <a:lnTo>
                    <a:pt x="207" y="321"/>
                  </a:lnTo>
                  <a:lnTo>
                    <a:pt x="204" y="319"/>
                  </a:lnTo>
                  <a:lnTo>
                    <a:pt x="202" y="317"/>
                  </a:lnTo>
                  <a:lnTo>
                    <a:pt x="200" y="316"/>
                  </a:lnTo>
                  <a:lnTo>
                    <a:pt x="197" y="315"/>
                  </a:lnTo>
                  <a:lnTo>
                    <a:pt x="194" y="315"/>
                  </a:lnTo>
                  <a:lnTo>
                    <a:pt x="15" y="314"/>
                  </a:lnTo>
                  <a:lnTo>
                    <a:pt x="12" y="315"/>
                  </a:lnTo>
                  <a:lnTo>
                    <a:pt x="9" y="315"/>
                  </a:lnTo>
                  <a:lnTo>
                    <a:pt x="7" y="317"/>
                  </a:lnTo>
                  <a:lnTo>
                    <a:pt x="4" y="319"/>
                  </a:lnTo>
                  <a:lnTo>
                    <a:pt x="2" y="321"/>
                  </a:lnTo>
                  <a:lnTo>
                    <a:pt x="1" y="323"/>
                  </a:lnTo>
                  <a:lnTo>
                    <a:pt x="0" y="327"/>
                  </a:lnTo>
                  <a:lnTo>
                    <a:pt x="0" y="329"/>
                  </a:lnTo>
                  <a:lnTo>
                    <a:pt x="0" y="778"/>
                  </a:lnTo>
                  <a:lnTo>
                    <a:pt x="0" y="781"/>
                  </a:lnTo>
                  <a:lnTo>
                    <a:pt x="1" y="784"/>
                  </a:lnTo>
                  <a:lnTo>
                    <a:pt x="2" y="786"/>
                  </a:lnTo>
                  <a:lnTo>
                    <a:pt x="4" y="789"/>
                  </a:lnTo>
                  <a:lnTo>
                    <a:pt x="7" y="791"/>
                  </a:lnTo>
                  <a:lnTo>
                    <a:pt x="9" y="792"/>
                  </a:lnTo>
                  <a:lnTo>
                    <a:pt x="12" y="793"/>
                  </a:lnTo>
                  <a:lnTo>
                    <a:pt x="15" y="793"/>
                  </a:lnTo>
                  <a:lnTo>
                    <a:pt x="194" y="793"/>
                  </a:lnTo>
                  <a:lnTo>
                    <a:pt x="197" y="793"/>
                  </a:lnTo>
                  <a:lnTo>
                    <a:pt x="200" y="792"/>
                  </a:lnTo>
                  <a:lnTo>
                    <a:pt x="202" y="791"/>
                  </a:lnTo>
                  <a:lnTo>
                    <a:pt x="204" y="789"/>
                  </a:lnTo>
                  <a:lnTo>
                    <a:pt x="207" y="786"/>
                  </a:lnTo>
                  <a:lnTo>
                    <a:pt x="208" y="784"/>
                  </a:lnTo>
                  <a:lnTo>
                    <a:pt x="209" y="781"/>
                  </a:lnTo>
                  <a:lnTo>
                    <a:pt x="209" y="778"/>
                  </a:lnTo>
                  <a:lnTo>
                    <a:pt x="209" y="721"/>
                  </a:lnTo>
                  <a:lnTo>
                    <a:pt x="241" y="727"/>
                  </a:lnTo>
                  <a:lnTo>
                    <a:pt x="269" y="732"/>
                  </a:lnTo>
                  <a:lnTo>
                    <a:pt x="293" y="737"/>
                  </a:lnTo>
                  <a:lnTo>
                    <a:pt x="316" y="743"/>
                  </a:lnTo>
                  <a:lnTo>
                    <a:pt x="349" y="751"/>
                  </a:lnTo>
                  <a:lnTo>
                    <a:pt x="383" y="758"/>
                  </a:lnTo>
                  <a:lnTo>
                    <a:pt x="400" y="760"/>
                  </a:lnTo>
                  <a:lnTo>
                    <a:pt x="419" y="762"/>
                  </a:lnTo>
                  <a:lnTo>
                    <a:pt x="441" y="763"/>
                  </a:lnTo>
                  <a:lnTo>
                    <a:pt x="463" y="763"/>
                  </a:lnTo>
                  <a:lnTo>
                    <a:pt x="718" y="763"/>
                  </a:lnTo>
                  <a:lnTo>
                    <a:pt x="732" y="762"/>
                  </a:lnTo>
                  <a:lnTo>
                    <a:pt x="743" y="760"/>
                  </a:lnTo>
                  <a:lnTo>
                    <a:pt x="749" y="758"/>
                  </a:lnTo>
                  <a:lnTo>
                    <a:pt x="754" y="754"/>
                  </a:lnTo>
                  <a:lnTo>
                    <a:pt x="758" y="752"/>
                  </a:lnTo>
                  <a:lnTo>
                    <a:pt x="763" y="748"/>
                  </a:lnTo>
                  <a:lnTo>
                    <a:pt x="766" y="745"/>
                  </a:lnTo>
                  <a:lnTo>
                    <a:pt x="769" y="739"/>
                  </a:lnTo>
                  <a:lnTo>
                    <a:pt x="771" y="735"/>
                  </a:lnTo>
                  <a:lnTo>
                    <a:pt x="773" y="730"/>
                  </a:lnTo>
                  <a:lnTo>
                    <a:pt x="776" y="717"/>
                  </a:lnTo>
                  <a:lnTo>
                    <a:pt x="778" y="703"/>
                  </a:lnTo>
                  <a:lnTo>
                    <a:pt x="776" y="694"/>
                  </a:lnTo>
                  <a:lnTo>
                    <a:pt x="774" y="686"/>
                  </a:lnTo>
                  <a:lnTo>
                    <a:pt x="771" y="678"/>
                  </a:lnTo>
                  <a:lnTo>
                    <a:pt x="768" y="672"/>
                  </a:lnTo>
                  <a:lnTo>
                    <a:pt x="780" y="669"/>
                  </a:lnTo>
                  <a:lnTo>
                    <a:pt x="790" y="664"/>
                  </a:lnTo>
                  <a:lnTo>
                    <a:pt x="799" y="658"/>
                  </a:lnTo>
                  <a:lnTo>
                    <a:pt x="808" y="652"/>
                  </a:lnTo>
                  <a:lnTo>
                    <a:pt x="814" y="643"/>
                  </a:lnTo>
                  <a:lnTo>
                    <a:pt x="818" y="635"/>
                  </a:lnTo>
                  <a:lnTo>
                    <a:pt x="821" y="625"/>
                  </a:lnTo>
                  <a:lnTo>
                    <a:pt x="821" y="613"/>
                  </a:lnTo>
                  <a:lnTo>
                    <a:pt x="821" y="600"/>
                  </a:lnTo>
                  <a:lnTo>
                    <a:pt x="818" y="587"/>
                  </a:lnTo>
                  <a:lnTo>
                    <a:pt x="815" y="577"/>
                  </a:lnTo>
                  <a:lnTo>
                    <a:pt x="809" y="567"/>
                  </a:lnTo>
                  <a:lnTo>
                    <a:pt x="820" y="563"/>
                  </a:lnTo>
                  <a:lnTo>
                    <a:pt x="831" y="556"/>
                  </a:lnTo>
                  <a:lnTo>
                    <a:pt x="842" y="549"/>
                  </a:lnTo>
                  <a:lnTo>
                    <a:pt x="850" y="540"/>
                  </a:lnTo>
                  <a:lnTo>
                    <a:pt x="857" y="530"/>
                  </a:lnTo>
                  <a:lnTo>
                    <a:pt x="862" y="519"/>
                  </a:lnTo>
                  <a:lnTo>
                    <a:pt x="864" y="513"/>
                  </a:lnTo>
                  <a:lnTo>
                    <a:pt x="865" y="506"/>
                  </a:lnTo>
                  <a:lnTo>
                    <a:pt x="866" y="501"/>
                  </a:lnTo>
                  <a:lnTo>
                    <a:pt x="866" y="494"/>
                  </a:lnTo>
                  <a:lnTo>
                    <a:pt x="866" y="487"/>
                  </a:lnTo>
                  <a:lnTo>
                    <a:pt x="865" y="481"/>
                  </a:lnTo>
                  <a:lnTo>
                    <a:pt x="863" y="474"/>
                  </a:lnTo>
                  <a:lnTo>
                    <a:pt x="861" y="468"/>
                  </a:lnTo>
                  <a:lnTo>
                    <a:pt x="858" y="462"/>
                  </a:lnTo>
                  <a:lnTo>
                    <a:pt x="853" y="456"/>
                  </a:lnTo>
                  <a:lnTo>
                    <a:pt x="849" y="451"/>
                  </a:lnTo>
                  <a:lnTo>
                    <a:pt x="844" y="445"/>
                  </a:lnTo>
                  <a:lnTo>
                    <a:pt x="850" y="443"/>
                  </a:lnTo>
                  <a:lnTo>
                    <a:pt x="857" y="440"/>
                  </a:lnTo>
                  <a:lnTo>
                    <a:pt x="862" y="436"/>
                  </a:lnTo>
                  <a:lnTo>
                    <a:pt x="867" y="431"/>
                  </a:lnTo>
                  <a:lnTo>
                    <a:pt x="872" y="427"/>
                  </a:lnTo>
                  <a:lnTo>
                    <a:pt x="876" y="422"/>
                  </a:lnTo>
                  <a:lnTo>
                    <a:pt x="880" y="415"/>
                  </a:lnTo>
                  <a:lnTo>
                    <a:pt x="883" y="410"/>
                  </a:lnTo>
                  <a:lnTo>
                    <a:pt x="890" y="397"/>
                  </a:lnTo>
                  <a:lnTo>
                    <a:pt x="893" y="384"/>
                  </a:lnTo>
                  <a:lnTo>
                    <a:pt x="896" y="371"/>
                  </a:lnTo>
                  <a:lnTo>
                    <a:pt x="896"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9" name="Freeform 300">
              <a:extLst>
                <a:ext uri="{FF2B5EF4-FFF2-40B4-BE49-F238E27FC236}">
                  <a16:creationId xmlns:a16="http://schemas.microsoft.com/office/drawing/2014/main" id="{0D0EC8DE-B686-463A-B99F-072FF906B6AA}"/>
                </a:ext>
              </a:extLst>
            </p:cNvPr>
            <p:cNvSpPr>
              <a:spLocks/>
            </p:cNvSpPr>
            <p:nvPr/>
          </p:nvSpPr>
          <p:spPr bwMode="auto">
            <a:xfrm>
              <a:off x="7650163" y="1011238"/>
              <a:ext cx="11113" cy="12700"/>
            </a:xfrm>
            <a:custGeom>
              <a:avLst/>
              <a:gdLst>
                <a:gd name="T0" fmla="*/ 18 w 38"/>
                <a:gd name="T1" fmla="*/ 0 h 38"/>
                <a:gd name="T2" fmla="*/ 15 w 38"/>
                <a:gd name="T3" fmla="*/ 1 h 38"/>
                <a:gd name="T4" fmla="*/ 11 w 38"/>
                <a:gd name="T5" fmla="*/ 2 h 38"/>
                <a:gd name="T6" fmla="*/ 8 w 38"/>
                <a:gd name="T7" fmla="*/ 3 h 38"/>
                <a:gd name="T8" fmla="*/ 6 w 38"/>
                <a:gd name="T9" fmla="*/ 6 h 38"/>
                <a:gd name="T10" fmla="*/ 3 w 38"/>
                <a:gd name="T11" fmla="*/ 9 h 38"/>
                <a:gd name="T12" fmla="*/ 1 w 38"/>
                <a:gd name="T13" fmla="*/ 12 h 38"/>
                <a:gd name="T14" fmla="*/ 0 w 38"/>
                <a:gd name="T15" fmla="*/ 15 h 38"/>
                <a:gd name="T16" fmla="*/ 0 w 38"/>
                <a:gd name="T17" fmla="*/ 19 h 38"/>
                <a:gd name="T18" fmla="*/ 0 w 38"/>
                <a:gd name="T19" fmla="*/ 23 h 38"/>
                <a:gd name="T20" fmla="*/ 1 w 38"/>
                <a:gd name="T21" fmla="*/ 27 h 38"/>
                <a:gd name="T22" fmla="*/ 3 w 38"/>
                <a:gd name="T23" fmla="*/ 30 h 38"/>
                <a:gd name="T24" fmla="*/ 6 w 38"/>
                <a:gd name="T25" fmla="*/ 32 h 38"/>
                <a:gd name="T26" fmla="*/ 8 w 38"/>
                <a:gd name="T27" fmla="*/ 35 h 38"/>
                <a:gd name="T28" fmla="*/ 11 w 38"/>
                <a:gd name="T29" fmla="*/ 36 h 38"/>
                <a:gd name="T30" fmla="*/ 15 w 38"/>
                <a:gd name="T31" fmla="*/ 37 h 38"/>
                <a:gd name="T32" fmla="*/ 18 w 38"/>
                <a:gd name="T33" fmla="*/ 38 h 38"/>
                <a:gd name="T34" fmla="*/ 23 w 38"/>
                <a:gd name="T35" fmla="*/ 37 h 38"/>
                <a:gd name="T36" fmla="*/ 26 w 38"/>
                <a:gd name="T37" fmla="*/ 36 h 38"/>
                <a:gd name="T38" fmla="*/ 29 w 38"/>
                <a:gd name="T39" fmla="*/ 35 h 38"/>
                <a:gd name="T40" fmla="*/ 32 w 38"/>
                <a:gd name="T41" fmla="*/ 32 h 38"/>
                <a:gd name="T42" fmla="*/ 34 w 38"/>
                <a:gd name="T43" fmla="*/ 30 h 38"/>
                <a:gd name="T44" fmla="*/ 37 w 38"/>
                <a:gd name="T45" fmla="*/ 27 h 38"/>
                <a:gd name="T46" fmla="*/ 38 w 38"/>
                <a:gd name="T47" fmla="*/ 23 h 38"/>
                <a:gd name="T48" fmla="*/ 38 w 38"/>
                <a:gd name="T49" fmla="*/ 19 h 38"/>
                <a:gd name="T50" fmla="*/ 38 w 38"/>
                <a:gd name="T51" fmla="*/ 15 h 38"/>
                <a:gd name="T52" fmla="*/ 37 w 38"/>
                <a:gd name="T53" fmla="*/ 12 h 38"/>
                <a:gd name="T54" fmla="*/ 34 w 38"/>
                <a:gd name="T55" fmla="*/ 9 h 38"/>
                <a:gd name="T56" fmla="*/ 32 w 38"/>
                <a:gd name="T57" fmla="*/ 6 h 38"/>
                <a:gd name="T58" fmla="*/ 29 w 38"/>
                <a:gd name="T59" fmla="*/ 3 h 38"/>
                <a:gd name="T60" fmla="*/ 26 w 38"/>
                <a:gd name="T61" fmla="*/ 2 h 38"/>
                <a:gd name="T62" fmla="*/ 23 w 38"/>
                <a:gd name="T63" fmla="*/ 1 h 38"/>
                <a:gd name="T64" fmla="*/ 18 w 38"/>
                <a:gd name="T65" fmla="*/ 0 h 38"/>
                <a:gd name="T66" fmla="*/ 18 w 38"/>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8">
                  <a:moveTo>
                    <a:pt x="18" y="0"/>
                  </a:moveTo>
                  <a:lnTo>
                    <a:pt x="15" y="1"/>
                  </a:lnTo>
                  <a:lnTo>
                    <a:pt x="11" y="2"/>
                  </a:lnTo>
                  <a:lnTo>
                    <a:pt x="8" y="3"/>
                  </a:lnTo>
                  <a:lnTo>
                    <a:pt x="6" y="6"/>
                  </a:lnTo>
                  <a:lnTo>
                    <a:pt x="3" y="9"/>
                  </a:lnTo>
                  <a:lnTo>
                    <a:pt x="1" y="12"/>
                  </a:lnTo>
                  <a:lnTo>
                    <a:pt x="0" y="15"/>
                  </a:lnTo>
                  <a:lnTo>
                    <a:pt x="0" y="19"/>
                  </a:lnTo>
                  <a:lnTo>
                    <a:pt x="0" y="23"/>
                  </a:lnTo>
                  <a:lnTo>
                    <a:pt x="1" y="27"/>
                  </a:lnTo>
                  <a:lnTo>
                    <a:pt x="3" y="30"/>
                  </a:lnTo>
                  <a:lnTo>
                    <a:pt x="6" y="32"/>
                  </a:lnTo>
                  <a:lnTo>
                    <a:pt x="8" y="35"/>
                  </a:lnTo>
                  <a:lnTo>
                    <a:pt x="11" y="36"/>
                  </a:lnTo>
                  <a:lnTo>
                    <a:pt x="15" y="37"/>
                  </a:lnTo>
                  <a:lnTo>
                    <a:pt x="18" y="38"/>
                  </a:lnTo>
                  <a:lnTo>
                    <a:pt x="23" y="37"/>
                  </a:lnTo>
                  <a:lnTo>
                    <a:pt x="26" y="36"/>
                  </a:lnTo>
                  <a:lnTo>
                    <a:pt x="29" y="35"/>
                  </a:lnTo>
                  <a:lnTo>
                    <a:pt x="32" y="32"/>
                  </a:lnTo>
                  <a:lnTo>
                    <a:pt x="34" y="30"/>
                  </a:lnTo>
                  <a:lnTo>
                    <a:pt x="37" y="27"/>
                  </a:lnTo>
                  <a:lnTo>
                    <a:pt x="38" y="23"/>
                  </a:lnTo>
                  <a:lnTo>
                    <a:pt x="38" y="19"/>
                  </a:lnTo>
                  <a:lnTo>
                    <a:pt x="38" y="15"/>
                  </a:lnTo>
                  <a:lnTo>
                    <a:pt x="37" y="12"/>
                  </a:lnTo>
                  <a:lnTo>
                    <a:pt x="34" y="9"/>
                  </a:lnTo>
                  <a:lnTo>
                    <a:pt x="32" y="6"/>
                  </a:lnTo>
                  <a:lnTo>
                    <a:pt x="29" y="3"/>
                  </a:lnTo>
                  <a:lnTo>
                    <a:pt x="26" y="2"/>
                  </a:lnTo>
                  <a:lnTo>
                    <a:pt x="23"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3" name="Gruppieren 12"/>
          <p:cNvGrpSpPr/>
          <p:nvPr/>
        </p:nvGrpSpPr>
        <p:grpSpPr>
          <a:xfrm>
            <a:off x="4225728" y="4474273"/>
            <a:ext cx="662457" cy="805148"/>
            <a:chOff x="3987237" y="4547136"/>
            <a:chExt cx="662457" cy="805148"/>
          </a:xfrm>
        </p:grpSpPr>
        <p:sp>
          <p:nvSpPr>
            <p:cNvPr id="110" name="Rechteck 109">
              <a:extLst>
                <a:ext uri="{FF2B5EF4-FFF2-40B4-BE49-F238E27FC236}">
                  <a16:creationId xmlns:a16="http://schemas.microsoft.com/office/drawing/2014/main" id="{F0738A28-5FB6-49D9-AA87-4D5FCD10ADD7}"/>
                </a:ext>
              </a:extLst>
            </p:cNvPr>
            <p:cNvSpPr/>
            <p:nvPr/>
          </p:nvSpPr>
          <p:spPr bwMode="gray">
            <a:xfrm>
              <a:off x="3987237" y="5093752"/>
              <a:ext cx="662457" cy="258532"/>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Positionen</a:t>
              </a:r>
            </a:p>
          </p:txBody>
        </p:sp>
        <p:sp>
          <p:nvSpPr>
            <p:cNvPr id="130" name="Sechseck 1">
              <a:extLst>
                <a:ext uri="{FF2B5EF4-FFF2-40B4-BE49-F238E27FC236}">
                  <a16:creationId xmlns:a16="http://schemas.microsoft.com/office/drawing/2014/main" id="{97E1981E-8E96-487A-B90A-BA1618DA6436}"/>
                </a:ext>
              </a:extLst>
            </p:cNvPr>
            <p:cNvSpPr>
              <a:spLocks noChangeAspect="1"/>
            </p:cNvSpPr>
            <p:nvPr/>
          </p:nvSpPr>
          <p:spPr>
            <a:xfrm>
              <a:off x="4070674" y="4547136"/>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131" name="Gruppieren 130">
              <a:extLst>
                <a:ext uri="{FF2B5EF4-FFF2-40B4-BE49-F238E27FC236}">
                  <a16:creationId xmlns:a16="http://schemas.microsoft.com/office/drawing/2014/main" id="{9CC63096-C5E8-4C2F-B139-F473169D5954}"/>
                </a:ext>
              </a:extLst>
            </p:cNvPr>
            <p:cNvGrpSpPr>
              <a:grpSpLocks noChangeAspect="1"/>
            </p:cNvGrpSpPr>
            <p:nvPr/>
          </p:nvGrpSpPr>
          <p:grpSpPr>
            <a:xfrm>
              <a:off x="4167456" y="4664097"/>
              <a:ext cx="302016" cy="261660"/>
              <a:chOff x="4635500" y="4222750"/>
              <a:chExt cx="368300" cy="319088"/>
            </a:xfrm>
            <a:solidFill>
              <a:schemeClr val="bg2"/>
            </a:solidFill>
          </p:grpSpPr>
          <p:sp>
            <p:nvSpPr>
              <p:cNvPr id="132" name="Freeform 37">
                <a:extLst>
                  <a:ext uri="{FF2B5EF4-FFF2-40B4-BE49-F238E27FC236}">
                    <a16:creationId xmlns:a16="http://schemas.microsoft.com/office/drawing/2014/main" id="{E91AB4F5-E6BC-40B5-BD85-C0B5EB8F5F76}"/>
                  </a:ext>
                </a:extLst>
              </p:cNvPr>
              <p:cNvSpPr>
                <a:spLocks/>
              </p:cNvSpPr>
              <p:nvPr/>
            </p:nvSpPr>
            <p:spPr bwMode="auto">
              <a:xfrm>
                <a:off x="4879975" y="4291013"/>
                <a:ext cx="123825" cy="123825"/>
              </a:xfrm>
              <a:custGeom>
                <a:avLst/>
                <a:gdLst>
                  <a:gd name="T0" fmla="*/ 600 w 639"/>
                  <a:gd name="T1" fmla="*/ 280 h 639"/>
                  <a:gd name="T2" fmla="*/ 359 w 639"/>
                  <a:gd name="T3" fmla="*/ 280 h 639"/>
                  <a:gd name="T4" fmla="*/ 359 w 639"/>
                  <a:gd name="T5" fmla="*/ 39 h 639"/>
                  <a:gd name="T6" fmla="*/ 320 w 639"/>
                  <a:gd name="T7" fmla="*/ 0 h 639"/>
                  <a:gd name="T8" fmla="*/ 281 w 639"/>
                  <a:gd name="T9" fmla="*/ 39 h 639"/>
                  <a:gd name="T10" fmla="*/ 281 w 639"/>
                  <a:gd name="T11" fmla="*/ 280 h 639"/>
                  <a:gd name="T12" fmla="*/ 40 w 639"/>
                  <a:gd name="T13" fmla="*/ 280 h 639"/>
                  <a:gd name="T14" fmla="*/ 0 w 639"/>
                  <a:gd name="T15" fmla="*/ 320 h 639"/>
                  <a:gd name="T16" fmla="*/ 40 w 639"/>
                  <a:gd name="T17" fmla="*/ 359 h 639"/>
                  <a:gd name="T18" fmla="*/ 281 w 639"/>
                  <a:gd name="T19" fmla="*/ 359 h 639"/>
                  <a:gd name="T20" fmla="*/ 281 w 639"/>
                  <a:gd name="T21" fmla="*/ 600 h 639"/>
                  <a:gd name="T22" fmla="*/ 320 w 639"/>
                  <a:gd name="T23" fmla="*/ 639 h 639"/>
                  <a:gd name="T24" fmla="*/ 359 w 639"/>
                  <a:gd name="T25" fmla="*/ 600 h 639"/>
                  <a:gd name="T26" fmla="*/ 359 w 639"/>
                  <a:gd name="T27" fmla="*/ 359 h 639"/>
                  <a:gd name="T28" fmla="*/ 600 w 639"/>
                  <a:gd name="T29" fmla="*/ 359 h 639"/>
                  <a:gd name="T30" fmla="*/ 639 w 639"/>
                  <a:gd name="T31" fmla="*/ 320 h 639"/>
                  <a:gd name="T32" fmla="*/ 600 w 639"/>
                  <a:gd name="T33" fmla="*/ 28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9" h="639">
                    <a:moveTo>
                      <a:pt x="600" y="280"/>
                    </a:moveTo>
                    <a:cubicBezTo>
                      <a:pt x="359" y="280"/>
                      <a:pt x="359" y="280"/>
                      <a:pt x="359" y="280"/>
                    </a:cubicBezTo>
                    <a:cubicBezTo>
                      <a:pt x="359" y="39"/>
                      <a:pt x="359" y="39"/>
                      <a:pt x="359" y="39"/>
                    </a:cubicBezTo>
                    <a:cubicBezTo>
                      <a:pt x="359" y="18"/>
                      <a:pt x="342" y="0"/>
                      <a:pt x="320" y="0"/>
                    </a:cubicBezTo>
                    <a:cubicBezTo>
                      <a:pt x="298" y="0"/>
                      <a:pt x="281" y="18"/>
                      <a:pt x="281" y="39"/>
                    </a:cubicBezTo>
                    <a:cubicBezTo>
                      <a:pt x="281" y="280"/>
                      <a:pt x="281" y="280"/>
                      <a:pt x="281" y="280"/>
                    </a:cubicBezTo>
                    <a:cubicBezTo>
                      <a:pt x="40" y="280"/>
                      <a:pt x="40" y="280"/>
                      <a:pt x="40" y="280"/>
                    </a:cubicBezTo>
                    <a:cubicBezTo>
                      <a:pt x="18" y="280"/>
                      <a:pt x="0" y="298"/>
                      <a:pt x="0" y="320"/>
                    </a:cubicBezTo>
                    <a:cubicBezTo>
                      <a:pt x="0" y="341"/>
                      <a:pt x="18" y="359"/>
                      <a:pt x="40" y="359"/>
                    </a:cubicBezTo>
                    <a:cubicBezTo>
                      <a:pt x="281" y="359"/>
                      <a:pt x="281" y="359"/>
                      <a:pt x="281" y="359"/>
                    </a:cubicBezTo>
                    <a:cubicBezTo>
                      <a:pt x="281" y="600"/>
                      <a:pt x="281" y="600"/>
                      <a:pt x="281" y="600"/>
                    </a:cubicBezTo>
                    <a:cubicBezTo>
                      <a:pt x="281" y="622"/>
                      <a:pt x="298" y="639"/>
                      <a:pt x="320" y="639"/>
                    </a:cubicBezTo>
                    <a:cubicBezTo>
                      <a:pt x="342" y="639"/>
                      <a:pt x="359" y="622"/>
                      <a:pt x="359" y="600"/>
                    </a:cubicBezTo>
                    <a:cubicBezTo>
                      <a:pt x="359" y="359"/>
                      <a:pt x="359" y="359"/>
                      <a:pt x="359" y="359"/>
                    </a:cubicBezTo>
                    <a:cubicBezTo>
                      <a:pt x="600" y="359"/>
                      <a:pt x="600" y="359"/>
                      <a:pt x="600" y="359"/>
                    </a:cubicBezTo>
                    <a:cubicBezTo>
                      <a:pt x="622" y="359"/>
                      <a:pt x="639" y="341"/>
                      <a:pt x="639" y="320"/>
                    </a:cubicBezTo>
                    <a:cubicBezTo>
                      <a:pt x="639" y="298"/>
                      <a:pt x="622" y="280"/>
                      <a:pt x="600"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3" name="Freeform 38">
                <a:extLst>
                  <a:ext uri="{FF2B5EF4-FFF2-40B4-BE49-F238E27FC236}">
                    <a16:creationId xmlns:a16="http://schemas.microsoft.com/office/drawing/2014/main" id="{DB5A4B76-5F6B-4F36-AF9C-8D611541990E}"/>
                  </a:ext>
                </a:extLst>
              </p:cNvPr>
              <p:cNvSpPr>
                <a:spLocks noEditPoints="1"/>
              </p:cNvSpPr>
              <p:nvPr/>
            </p:nvSpPr>
            <p:spPr bwMode="auto">
              <a:xfrm>
                <a:off x="4691063" y="4222750"/>
                <a:ext cx="153988" cy="152400"/>
              </a:xfrm>
              <a:custGeom>
                <a:avLst/>
                <a:gdLst>
                  <a:gd name="T0" fmla="*/ 395 w 789"/>
                  <a:gd name="T1" fmla="*/ 0 h 789"/>
                  <a:gd name="T2" fmla="*/ 0 w 789"/>
                  <a:gd name="T3" fmla="*/ 394 h 789"/>
                  <a:gd name="T4" fmla="*/ 395 w 789"/>
                  <a:gd name="T5" fmla="*/ 789 h 789"/>
                  <a:gd name="T6" fmla="*/ 789 w 789"/>
                  <a:gd name="T7" fmla="*/ 394 h 789"/>
                  <a:gd name="T8" fmla="*/ 395 w 789"/>
                  <a:gd name="T9" fmla="*/ 0 h 789"/>
                  <a:gd name="T10" fmla="*/ 395 w 789"/>
                  <a:gd name="T11" fmla="*/ 710 h 789"/>
                  <a:gd name="T12" fmla="*/ 79 w 789"/>
                  <a:gd name="T13" fmla="*/ 394 h 789"/>
                  <a:gd name="T14" fmla="*/ 395 w 789"/>
                  <a:gd name="T15" fmla="*/ 79 h 789"/>
                  <a:gd name="T16" fmla="*/ 710 w 789"/>
                  <a:gd name="T17" fmla="*/ 394 h 789"/>
                  <a:gd name="T18" fmla="*/ 395 w 789"/>
                  <a:gd name="T19" fmla="*/ 71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9" h="789">
                    <a:moveTo>
                      <a:pt x="395" y="0"/>
                    </a:moveTo>
                    <a:cubicBezTo>
                      <a:pt x="177" y="0"/>
                      <a:pt x="0" y="177"/>
                      <a:pt x="0" y="394"/>
                    </a:cubicBezTo>
                    <a:cubicBezTo>
                      <a:pt x="0" y="612"/>
                      <a:pt x="177" y="789"/>
                      <a:pt x="395" y="789"/>
                    </a:cubicBezTo>
                    <a:cubicBezTo>
                      <a:pt x="612" y="789"/>
                      <a:pt x="789" y="612"/>
                      <a:pt x="789" y="394"/>
                    </a:cubicBezTo>
                    <a:cubicBezTo>
                      <a:pt x="789" y="177"/>
                      <a:pt x="612" y="0"/>
                      <a:pt x="395" y="0"/>
                    </a:cubicBezTo>
                    <a:close/>
                    <a:moveTo>
                      <a:pt x="395" y="710"/>
                    </a:moveTo>
                    <a:cubicBezTo>
                      <a:pt x="221" y="710"/>
                      <a:pt x="79" y="568"/>
                      <a:pt x="79" y="394"/>
                    </a:cubicBezTo>
                    <a:cubicBezTo>
                      <a:pt x="79" y="220"/>
                      <a:pt x="221" y="79"/>
                      <a:pt x="395" y="79"/>
                    </a:cubicBezTo>
                    <a:cubicBezTo>
                      <a:pt x="569" y="79"/>
                      <a:pt x="710" y="220"/>
                      <a:pt x="710" y="394"/>
                    </a:cubicBezTo>
                    <a:cubicBezTo>
                      <a:pt x="710" y="568"/>
                      <a:pt x="569" y="710"/>
                      <a:pt x="395" y="7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4" name="Freeform 39">
                <a:extLst>
                  <a:ext uri="{FF2B5EF4-FFF2-40B4-BE49-F238E27FC236}">
                    <a16:creationId xmlns:a16="http://schemas.microsoft.com/office/drawing/2014/main" id="{3DF800C2-82AD-4AF6-B6C9-BE89F9A823C7}"/>
                  </a:ext>
                </a:extLst>
              </p:cNvPr>
              <p:cNvSpPr>
                <a:spLocks noEditPoints="1"/>
              </p:cNvSpPr>
              <p:nvPr/>
            </p:nvSpPr>
            <p:spPr bwMode="auto">
              <a:xfrm>
                <a:off x="4635500" y="4402138"/>
                <a:ext cx="265113" cy="139700"/>
              </a:xfrm>
              <a:custGeom>
                <a:avLst/>
                <a:gdLst>
                  <a:gd name="T0" fmla="*/ 682 w 1363"/>
                  <a:gd name="T1" fmla="*/ 0 h 721"/>
                  <a:gd name="T2" fmla="*/ 0 w 1363"/>
                  <a:gd name="T3" fmla="*/ 681 h 721"/>
                  <a:gd name="T4" fmla="*/ 39 w 1363"/>
                  <a:gd name="T5" fmla="*/ 721 h 721"/>
                  <a:gd name="T6" fmla="*/ 1324 w 1363"/>
                  <a:gd name="T7" fmla="*/ 721 h 721"/>
                  <a:gd name="T8" fmla="*/ 1363 w 1363"/>
                  <a:gd name="T9" fmla="*/ 681 h 721"/>
                  <a:gd name="T10" fmla="*/ 682 w 1363"/>
                  <a:gd name="T11" fmla="*/ 0 h 721"/>
                  <a:gd name="T12" fmla="*/ 80 w 1363"/>
                  <a:gd name="T13" fmla="*/ 642 h 721"/>
                  <a:gd name="T14" fmla="*/ 682 w 1363"/>
                  <a:gd name="T15" fmla="*/ 78 h 721"/>
                  <a:gd name="T16" fmla="*/ 1283 w 1363"/>
                  <a:gd name="T17" fmla="*/ 642 h 721"/>
                  <a:gd name="T18" fmla="*/ 80 w 1363"/>
                  <a:gd name="T19" fmla="*/ 64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3" h="721">
                    <a:moveTo>
                      <a:pt x="682" y="0"/>
                    </a:moveTo>
                    <a:cubicBezTo>
                      <a:pt x="306" y="0"/>
                      <a:pt x="0" y="305"/>
                      <a:pt x="0" y="681"/>
                    </a:cubicBezTo>
                    <a:cubicBezTo>
                      <a:pt x="0" y="703"/>
                      <a:pt x="18" y="721"/>
                      <a:pt x="39" y="721"/>
                    </a:cubicBezTo>
                    <a:cubicBezTo>
                      <a:pt x="1324" y="721"/>
                      <a:pt x="1324" y="721"/>
                      <a:pt x="1324" y="721"/>
                    </a:cubicBezTo>
                    <a:cubicBezTo>
                      <a:pt x="1346" y="721"/>
                      <a:pt x="1363" y="703"/>
                      <a:pt x="1363" y="681"/>
                    </a:cubicBezTo>
                    <a:cubicBezTo>
                      <a:pt x="1363" y="305"/>
                      <a:pt x="1057" y="0"/>
                      <a:pt x="682" y="0"/>
                    </a:cubicBezTo>
                    <a:close/>
                    <a:moveTo>
                      <a:pt x="80" y="642"/>
                    </a:moveTo>
                    <a:cubicBezTo>
                      <a:pt x="100" y="328"/>
                      <a:pt x="362" y="78"/>
                      <a:pt x="682" y="78"/>
                    </a:cubicBezTo>
                    <a:cubicBezTo>
                      <a:pt x="1001" y="78"/>
                      <a:pt x="1263" y="328"/>
                      <a:pt x="1283" y="642"/>
                    </a:cubicBezTo>
                    <a:lnTo>
                      <a:pt x="80" y="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14" name="Gruppieren 13"/>
          <p:cNvGrpSpPr/>
          <p:nvPr/>
        </p:nvGrpSpPr>
        <p:grpSpPr>
          <a:xfrm>
            <a:off x="6359735" y="4474273"/>
            <a:ext cx="495582" cy="495582"/>
            <a:chOff x="5362013" y="4547136"/>
            <a:chExt cx="495582" cy="495582"/>
          </a:xfrm>
        </p:grpSpPr>
        <p:sp>
          <p:nvSpPr>
            <p:cNvPr id="135" name="Sechseck 1">
              <a:extLst>
                <a:ext uri="{FF2B5EF4-FFF2-40B4-BE49-F238E27FC236}">
                  <a16:creationId xmlns:a16="http://schemas.microsoft.com/office/drawing/2014/main" id="{20C94262-4E91-40C7-959A-A170403C44B5}"/>
                </a:ext>
              </a:extLst>
            </p:cNvPr>
            <p:cNvSpPr>
              <a:spLocks noChangeAspect="1"/>
            </p:cNvSpPr>
            <p:nvPr/>
          </p:nvSpPr>
          <p:spPr>
            <a:xfrm>
              <a:off x="5362013" y="4547136"/>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136" name="Group 93">
              <a:extLst>
                <a:ext uri="{FF2B5EF4-FFF2-40B4-BE49-F238E27FC236}">
                  <a16:creationId xmlns:a16="http://schemas.microsoft.com/office/drawing/2014/main" id="{C7393FEB-1DB4-4A37-8F77-E7512E42FE4E}"/>
                </a:ext>
              </a:extLst>
            </p:cNvPr>
            <p:cNvGrpSpPr>
              <a:grpSpLocks noChangeAspect="1"/>
            </p:cNvGrpSpPr>
            <p:nvPr/>
          </p:nvGrpSpPr>
          <p:grpSpPr>
            <a:xfrm>
              <a:off x="5470407" y="4664097"/>
              <a:ext cx="278796" cy="261660"/>
              <a:chOff x="7615238" y="1366838"/>
              <a:chExt cx="284163" cy="266699"/>
            </a:xfrm>
            <a:solidFill>
              <a:schemeClr val="bg2"/>
            </a:solidFill>
            <a:effectLst/>
          </p:grpSpPr>
          <p:sp>
            <p:nvSpPr>
              <p:cNvPr id="137" name="Freeform 319">
                <a:extLst>
                  <a:ext uri="{FF2B5EF4-FFF2-40B4-BE49-F238E27FC236}">
                    <a16:creationId xmlns:a16="http://schemas.microsoft.com/office/drawing/2014/main" id="{25E60F63-54F6-4C5B-9AED-9ADAEED42E21}"/>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8" name="Freeform 320">
                <a:extLst>
                  <a:ext uri="{FF2B5EF4-FFF2-40B4-BE49-F238E27FC236}">
                    <a16:creationId xmlns:a16="http://schemas.microsoft.com/office/drawing/2014/main" id="{DB65EFBE-36D4-4661-8639-0B72E0EEDFCE}"/>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9" name="Freeform 321">
                <a:extLst>
                  <a:ext uri="{FF2B5EF4-FFF2-40B4-BE49-F238E27FC236}">
                    <a16:creationId xmlns:a16="http://schemas.microsoft.com/office/drawing/2014/main" id="{B9EC210F-A826-4AE6-A3DA-F00E5F3DB34D}"/>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cxnSp>
        <p:nvCxnSpPr>
          <p:cNvPr id="144" name="Gerader Verbinder 128">
            <a:extLst>
              <a:ext uri="{FF2B5EF4-FFF2-40B4-BE49-F238E27FC236}">
                <a16:creationId xmlns:a16="http://schemas.microsoft.com/office/drawing/2014/main" id="{BAF31517-7E22-4F5F-8625-B2E210CF6541}"/>
              </a:ext>
            </a:extLst>
          </p:cNvPr>
          <p:cNvCxnSpPr/>
          <p:nvPr/>
        </p:nvCxnSpPr>
        <p:spPr>
          <a:xfrm>
            <a:off x="9652000"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grpSp>
        <p:nvGrpSpPr>
          <p:cNvPr id="15" name="Gruppieren 14"/>
          <p:cNvGrpSpPr/>
          <p:nvPr/>
        </p:nvGrpSpPr>
        <p:grpSpPr>
          <a:xfrm>
            <a:off x="3536862" y="4581711"/>
            <a:ext cx="4076758" cy="1655577"/>
            <a:chOff x="3536862" y="4581711"/>
            <a:chExt cx="4076758" cy="1727609"/>
          </a:xfrm>
        </p:grpSpPr>
        <p:cxnSp>
          <p:nvCxnSpPr>
            <p:cNvPr id="140" name="Gerader Verbinder 127">
              <a:extLst>
                <a:ext uri="{FF2B5EF4-FFF2-40B4-BE49-F238E27FC236}">
                  <a16:creationId xmlns:a16="http://schemas.microsoft.com/office/drawing/2014/main" id="{B7AA22C4-1E09-4F34-AD28-251439641088}"/>
                </a:ext>
              </a:extLst>
            </p:cNvPr>
            <p:cNvCxnSpPr/>
            <p:nvPr/>
          </p:nvCxnSpPr>
          <p:spPr>
            <a:xfrm>
              <a:off x="3536862"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cxnSp>
          <p:nvCxnSpPr>
            <p:cNvPr id="141" name="Gerader Verbinder 128">
              <a:extLst>
                <a:ext uri="{FF2B5EF4-FFF2-40B4-BE49-F238E27FC236}">
                  <a16:creationId xmlns:a16="http://schemas.microsoft.com/office/drawing/2014/main" id="{BAF31517-7E22-4F5F-8625-B2E210CF6541}"/>
                </a:ext>
              </a:extLst>
            </p:cNvPr>
            <p:cNvCxnSpPr/>
            <p:nvPr/>
          </p:nvCxnSpPr>
          <p:spPr>
            <a:xfrm>
              <a:off x="5575241"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cxnSp>
          <p:nvCxnSpPr>
            <p:cNvPr id="145" name="Gerader Verbinder 128">
              <a:extLst>
                <a:ext uri="{FF2B5EF4-FFF2-40B4-BE49-F238E27FC236}">
                  <a16:creationId xmlns:a16="http://schemas.microsoft.com/office/drawing/2014/main" id="{BAF31517-7E22-4F5F-8625-B2E210CF6541}"/>
                </a:ext>
              </a:extLst>
            </p:cNvPr>
            <p:cNvCxnSpPr/>
            <p:nvPr/>
          </p:nvCxnSpPr>
          <p:spPr>
            <a:xfrm>
              <a:off x="7613620" y="4581711"/>
              <a:ext cx="0" cy="1727609"/>
            </a:xfrm>
            <a:prstGeom prst="line">
              <a:avLst/>
            </a:prstGeom>
            <a:solidFill>
              <a:schemeClr val="accent1"/>
            </a:solidFill>
            <a:ln w="19050" cap="flat" cmpd="sng" algn="ctr">
              <a:solidFill>
                <a:schemeClr val="accent6"/>
              </a:solidFill>
              <a:prstDash val="solid"/>
              <a:round/>
              <a:headEnd type="none" w="med" len="med"/>
              <a:tailEnd type="none" w="lg" len="lg"/>
            </a:ln>
            <a:effectLst/>
          </p:spPr>
        </p:cxnSp>
      </p:grpSp>
      <p:sp>
        <p:nvSpPr>
          <p:cNvPr id="148" name="Rechteck 147">
            <a:extLst>
              <a:ext uri="{FF2B5EF4-FFF2-40B4-BE49-F238E27FC236}">
                <a16:creationId xmlns:a16="http://schemas.microsoft.com/office/drawing/2014/main" id="{FF5DB852-B83C-40A5-BE52-BEE362F31E0B}"/>
              </a:ext>
            </a:extLst>
          </p:cNvPr>
          <p:cNvSpPr/>
          <p:nvPr/>
        </p:nvSpPr>
        <p:spPr bwMode="gray">
          <a:xfrm>
            <a:off x="7689304" y="5020888"/>
            <a:ext cx="1892072" cy="276999"/>
          </a:xfrm>
          <a:prstGeom prst="rect">
            <a:avLst/>
          </a:prstGeom>
        </p:spPr>
        <p:txBody>
          <a:bodyPr wrap="square" lIns="0" tIns="72000" rIns="0" bIns="36000" anchor="b" anchorCtr="0">
            <a:noAutofit/>
          </a:bodyPr>
          <a:lstStyle/>
          <a:p>
            <a:pPr algn="ctr" defTabSz="914332"/>
            <a:r>
              <a:rPr lang="de-DE" sz="1200" b="1" dirty="0">
                <a:solidFill>
                  <a:schemeClr val="bg2"/>
                </a:solidFill>
                <a:ea typeface="ＭＳ Ｐゴシック" pitchFamily="-110" charset="-128"/>
              </a:rPr>
              <a:t>Investition</a:t>
            </a:r>
          </a:p>
        </p:txBody>
      </p:sp>
      <p:sp>
        <p:nvSpPr>
          <p:cNvPr id="149" name="Rechteck 148">
            <a:extLst>
              <a:ext uri="{FF2B5EF4-FFF2-40B4-BE49-F238E27FC236}">
                <a16:creationId xmlns:a16="http://schemas.microsoft.com/office/drawing/2014/main" id="{83873EA3-1926-40D8-A6E0-CF890BBA9E14}"/>
              </a:ext>
            </a:extLst>
          </p:cNvPr>
          <p:cNvSpPr/>
          <p:nvPr/>
        </p:nvSpPr>
        <p:spPr bwMode="gray">
          <a:xfrm>
            <a:off x="7689304" y="5297888"/>
            <a:ext cx="1892072" cy="344128"/>
          </a:xfrm>
          <a:prstGeom prst="rect">
            <a:avLst/>
          </a:prstGeom>
          <a:noFill/>
          <a:ln w="25400" cap="flat" cmpd="sng" algn="ctr">
            <a:noFill/>
            <a:prstDash val="solid"/>
          </a:ln>
          <a:effectLst/>
        </p:spPr>
        <p:txBody>
          <a:bodyPr wrap="square" lIns="0" tIns="36000" rIns="0" bIns="0" rtlCol="0" anchor="t" anchorCtr="0">
            <a:spAutoFit/>
          </a:bodyPr>
          <a:lstStyle/>
          <a:p>
            <a:pPr marL="1588" lvl="1" defTabSz="952524" eaLnBrk="0" hangingPunct="0">
              <a:buClr>
                <a:srgbClr val="F36634"/>
              </a:buClr>
              <a:defRPr/>
            </a:pPr>
            <a:r>
              <a:rPr lang="de-DE" sz="1000" dirty="0"/>
              <a:t>Investment pro Tag: </a:t>
            </a:r>
            <a:br>
              <a:rPr lang="de-DE" sz="1000" dirty="0"/>
            </a:br>
            <a:r>
              <a:rPr lang="de-DE" sz="1000" dirty="0"/>
              <a:t>2.200 Euro zzgl. MwSt.</a:t>
            </a:r>
          </a:p>
        </p:txBody>
      </p:sp>
      <p:pic>
        <p:nvPicPr>
          <p:cNvPr id="61" name="Picture 2" descr="F:\01_Clients\0001_elccon\Auftrag\Kurzdarstellung Elccon mit Zitaten\Carina 2 - Kopie.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471" t="9050" r="19675" b="46424"/>
          <a:stretch/>
        </p:blipFill>
        <p:spPr bwMode="auto">
          <a:xfrm>
            <a:off x="606375" y="1932217"/>
            <a:ext cx="1816743" cy="1795419"/>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62" name="Content Placeholder 2">
            <a:extLst>
              <a:ext uri="{FF2B5EF4-FFF2-40B4-BE49-F238E27FC236}">
                <a16:creationId xmlns:a16="http://schemas.microsoft.com/office/drawing/2014/main" id="{F66644B4-FFA5-4EFC-AF58-C95BA14187DA}"/>
              </a:ext>
            </a:extLst>
          </p:cNvPr>
          <p:cNvSpPr txBox="1">
            <a:spLocks/>
          </p:cNvSpPr>
          <p:nvPr/>
        </p:nvSpPr>
        <p:spPr>
          <a:xfrm>
            <a:off x="7166998" y="1628916"/>
            <a:ext cx="2315427" cy="2403222"/>
          </a:xfrm>
          <a:prstGeom prst="rect">
            <a:avLst/>
          </a:prstGeom>
        </p:spPr>
        <p:txBody>
          <a:bodyPr wrap="square"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Qualifizierung</a:t>
            </a:r>
          </a:p>
          <a:p>
            <a:pPr marL="1587" lvl="1" indent="0">
              <a:spcAft>
                <a:spcPts val="500"/>
              </a:spcAft>
              <a:buNone/>
            </a:pPr>
            <a:r>
              <a:rPr lang="de-DE" sz="1000" dirty="0"/>
              <a:t>Ausbildung zur Schamanin, The </a:t>
            </a:r>
            <a:r>
              <a:rPr lang="de-DE" sz="1000" dirty="0" err="1"/>
              <a:t>Four</a:t>
            </a:r>
            <a:r>
              <a:rPr lang="de-DE" sz="1000" dirty="0"/>
              <a:t> Winds Society, USA/D</a:t>
            </a:r>
          </a:p>
          <a:p>
            <a:pPr marL="1587" lvl="1" indent="0">
              <a:spcAft>
                <a:spcPts val="500"/>
              </a:spcAft>
              <a:buNone/>
            </a:pPr>
            <a:r>
              <a:rPr lang="de-DE" sz="1000" dirty="0"/>
              <a:t>Fortbildung Systemische Beratung, </a:t>
            </a:r>
            <a:r>
              <a:rPr lang="de-DE" sz="1000" dirty="0" err="1"/>
              <a:t>Barthelmess</a:t>
            </a:r>
            <a:r>
              <a:rPr lang="de-DE" sz="1000" dirty="0"/>
              <a:t>, Bamberg</a:t>
            </a:r>
          </a:p>
          <a:p>
            <a:pPr marL="1587" lvl="1" indent="0">
              <a:spcAft>
                <a:spcPts val="500"/>
              </a:spcAft>
              <a:buNone/>
            </a:pPr>
            <a:r>
              <a:rPr lang="de-DE" sz="1000" dirty="0"/>
              <a:t>NLP </a:t>
            </a:r>
            <a:r>
              <a:rPr lang="de-DE" sz="1000" dirty="0" err="1"/>
              <a:t>Practitioner</a:t>
            </a:r>
            <a:r>
              <a:rPr lang="de-DE" sz="1000" dirty="0"/>
              <a:t> und Master</a:t>
            </a:r>
          </a:p>
          <a:p>
            <a:pPr marL="1587" lvl="1" indent="0">
              <a:spcAft>
                <a:spcPts val="500"/>
              </a:spcAft>
              <a:buNone/>
            </a:pPr>
            <a:r>
              <a:rPr lang="de-DE" sz="1000" dirty="0"/>
              <a:t>Zertifiziert f. INSIGHTS</a:t>
            </a:r>
          </a:p>
          <a:p>
            <a:pPr marL="1587" lvl="1" indent="0">
              <a:spcAft>
                <a:spcPts val="500"/>
              </a:spcAft>
              <a:buNone/>
            </a:pPr>
            <a:r>
              <a:rPr lang="de-DE" sz="1000" dirty="0" err="1"/>
              <a:t>Fifth</a:t>
            </a:r>
            <a:r>
              <a:rPr lang="de-DE" sz="1000" dirty="0"/>
              <a:t> </a:t>
            </a:r>
            <a:r>
              <a:rPr lang="de-DE" sz="1000" dirty="0" err="1"/>
              <a:t>Discipline</a:t>
            </a:r>
            <a:r>
              <a:rPr lang="de-DE" sz="1000" dirty="0"/>
              <a:t>, Peter Senge, Kanada, Toronto</a:t>
            </a:r>
          </a:p>
          <a:p>
            <a:pPr marL="1587" lvl="1" indent="0">
              <a:spcAft>
                <a:spcPts val="500"/>
              </a:spcAft>
              <a:buNone/>
            </a:pPr>
            <a:r>
              <a:rPr lang="de-DE" sz="1000" dirty="0"/>
              <a:t>Internationale Berater Ausbildung, Arthur D. Little</a:t>
            </a:r>
          </a:p>
          <a:p>
            <a:pPr marL="1587" lvl="1" indent="0">
              <a:spcAft>
                <a:spcPts val="500"/>
              </a:spcAft>
              <a:buNone/>
            </a:pPr>
            <a:r>
              <a:rPr lang="de-DE" sz="1000" dirty="0"/>
              <a:t>Moderation und Rhetorik</a:t>
            </a:r>
          </a:p>
          <a:p>
            <a:pPr marL="1587" lvl="1" indent="0">
              <a:spcAft>
                <a:spcPts val="500"/>
              </a:spcAft>
              <a:buNone/>
            </a:pPr>
            <a:r>
              <a:rPr lang="de-DE" sz="1000" dirty="0"/>
              <a:t>Dipl. Volkswirtin u. Dipl. Sozialökonomin, Hamburg</a:t>
            </a:r>
          </a:p>
        </p:txBody>
      </p:sp>
      <p:sp>
        <p:nvSpPr>
          <p:cNvPr id="63" name="Content Placeholder 2">
            <a:extLst>
              <a:ext uri="{FF2B5EF4-FFF2-40B4-BE49-F238E27FC236}">
                <a16:creationId xmlns:a16="http://schemas.microsoft.com/office/drawing/2014/main" id="{7F145DC7-F2D1-435D-B4AE-902826B44673}"/>
              </a:ext>
            </a:extLst>
          </p:cNvPr>
          <p:cNvSpPr txBox="1">
            <a:spLocks/>
          </p:cNvSpPr>
          <p:nvPr/>
        </p:nvSpPr>
        <p:spPr>
          <a:xfrm>
            <a:off x="5094363" y="1628915"/>
            <a:ext cx="1904626" cy="1774845"/>
          </a:xfrm>
          <a:prstGeom prst="rect">
            <a:avLst/>
          </a:prstGeom>
        </p:spPr>
        <p:txBody>
          <a:bodyPr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Berufserfahrung</a:t>
            </a:r>
          </a:p>
          <a:p>
            <a:pPr marL="1587" lvl="1" indent="0">
              <a:spcAft>
                <a:spcPts val="500"/>
              </a:spcAft>
              <a:buNone/>
            </a:pPr>
            <a:r>
              <a:rPr lang="de-DE" sz="1000" dirty="0"/>
              <a:t>Seit 2002 selbständige Beraterin, Trainerin u. Coach</a:t>
            </a:r>
          </a:p>
          <a:p>
            <a:pPr marL="1587" lvl="1" indent="0">
              <a:spcAft>
                <a:spcPts val="500"/>
              </a:spcAft>
              <a:buNone/>
            </a:pPr>
            <a:r>
              <a:rPr lang="de-DE" sz="1000" dirty="0"/>
              <a:t>2 Jahre Managerin Growth Development (Leitung Personal). Auf- und Abbau eines Start-Ups in fünf Ländern</a:t>
            </a:r>
          </a:p>
          <a:p>
            <a:pPr marL="1587" lvl="1" indent="0">
              <a:spcAft>
                <a:spcPts val="500"/>
              </a:spcAft>
              <a:buNone/>
            </a:pPr>
            <a:r>
              <a:rPr lang="de-DE" sz="1000" dirty="0"/>
              <a:t>6 Jahre Beraterin (Strategie-beratung, Organisationsentwicklung, Change Management, Personalentwicklung), Arthur D. Little, Wiesbaden u. A.</a:t>
            </a:r>
          </a:p>
        </p:txBody>
      </p:sp>
      <p:sp>
        <p:nvSpPr>
          <p:cNvPr id="64" name="Content Placeholder 2">
            <a:extLst>
              <a:ext uri="{FF2B5EF4-FFF2-40B4-BE49-F238E27FC236}">
                <a16:creationId xmlns:a16="http://schemas.microsoft.com/office/drawing/2014/main" id="{E3EF6BFE-4487-40B8-9DC4-47D415F2EC03}"/>
              </a:ext>
            </a:extLst>
          </p:cNvPr>
          <p:cNvSpPr txBox="1">
            <a:spLocks/>
          </p:cNvSpPr>
          <p:nvPr/>
        </p:nvSpPr>
        <p:spPr>
          <a:xfrm>
            <a:off x="3021490" y="1628916"/>
            <a:ext cx="1904865" cy="2621230"/>
          </a:xfrm>
          <a:prstGeom prst="rect">
            <a:avLst/>
          </a:prstGeom>
        </p:spPr>
        <p:txBody>
          <a:bodyPr wrap="square" lIns="0" tIns="0" rIns="0" bIns="0">
            <a:spAutoFit/>
          </a:bodyPr>
          <a:lstStyle>
            <a:lvl1pPr marL="342900" indent="-342900" algn="l" defTabSz="952500" rtl="0" eaLnBrk="0" fontAlgn="base" hangingPunct="0">
              <a:spcBef>
                <a:spcPct val="0"/>
              </a:spcBef>
              <a:spcAft>
                <a:spcPct val="0"/>
              </a:spcAft>
              <a:defRPr sz="1800" b="1">
                <a:solidFill>
                  <a:schemeClr val="tx1"/>
                </a:solidFill>
                <a:latin typeface="+mn-lt"/>
                <a:ea typeface="ＭＳ Ｐゴシック" pitchFamily="-110" charset="-128"/>
                <a:cs typeface="ＭＳ Ｐゴシック" pitchFamily="-110" charset="-128"/>
              </a:defRPr>
            </a:lvl1pPr>
            <a:lvl2pPr marL="293688" indent="-292100"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2pPr>
            <a:lvl3pPr marL="577850" indent="-282575"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3pPr>
            <a:lvl4pPr marL="871538" indent="-284163" algn="l" defTabSz="952500" rtl="0" eaLnBrk="0" fontAlgn="base" hangingPunct="0">
              <a:spcBef>
                <a:spcPct val="0"/>
              </a:spcBef>
              <a:spcAft>
                <a:spcPct val="0"/>
              </a:spcAft>
              <a:buClr>
                <a:srgbClr val="F36634"/>
              </a:buClr>
              <a:buChar char="-"/>
              <a:defRPr sz="1800">
                <a:solidFill>
                  <a:schemeClr val="tx1"/>
                </a:solidFill>
                <a:latin typeface="+mn-lt"/>
                <a:ea typeface="ＭＳ Ｐゴシック" pitchFamily="-110" charset="-128"/>
              </a:defRPr>
            </a:lvl4pPr>
            <a:lvl5pPr marL="2057400" indent="-228600" algn="l" defTabSz="952500" rtl="0" eaLnBrk="0" fontAlgn="base" hangingPunct="0">
              <a:spcBef>
                <a:spcPct val="20000"/>
              </a:spcBef>
              <a:spcAft>
                <a:spcPct val="0"/>
              </a:spcAft>
              <a:buChar char="»"/>
              <a:defRPr sz="1800">
                <a:solidFill>
                  <a:schemeClr val="tx1"/>
                </a:solidFill>
                <a:latin typeface="+mn-lt"/>
                <a:ea typeface="ＭＳ Ｐゴシック" pitchFamily="-110" charset="-128"/>
              </a:defRPr>
            </a:lvl5pPr>
            <a:lvl6pPr marL="2514600" indent="-228600" algn="l" defTabSz="952500" rtl="0" eaLnBrk="1" fontAlgn="base" hangingPunct="1">
              <a:spcBef>
                <a:spcPct val="20000"/>
              </a:spcBef>
              <a:spcAft>
                <a:spcPct val="0"/>
              </a:spcAft>
              <a:buChar char="»"/>
              <a:defRPr sz="1700">
                <a:solidFill>
                  <a:schemeClr val="tx1"/>
                </a:solidFill>
                <a:latin typeface="+mn-lt"/>
              </a:defRPr>
            </a:lvl6pPr>
            <a:lvl7pPr marL="2971800" indent="-228600" algn="l" defTabSz="952500" rtl="0" eaLnBrk="1" fontAlgn="base" hangingPunct="1">
              <a:spcBef>
                <a:spcPct val="20000"/>
              </a:spcBef>
              <a:spcAft>
                <a:spcPct val="0"/>
              </a:spcAft>
              <a:buChar char="»"/>
              <a:defRPr sz="1700">
                <a:solidFill>
                  <a:schemeClr val="tx1"/>
                </a:solidFill>
                <a:latin typeface="+mn-lt"/>
              </a:defRPr>
            </a:lvl7pPr>
            <a:lvl8pPr marL="3429000" indent="-228600" algn="l" defTabSz="952500" rtl="0" eaLnBrk="1" fontAlgn="base" hangingPunct="1">
              <a:spcBef>
                <a:spcPct val="20000"/>
              </a:spcBef>
              <a:spcAft>
                <a:spcPct val="0"/>
              </a:spcAft>
              <a:buChar char="»"/>
              <a:defRPr sz="1700">
                <a:solidFill>
                  <a:schemeClr val="tx1"/>
                </a:solidFill>
                <a:latin typeface="+mn-lt"/>
              </a:defRPr>
            </a:lvl8pPr>
            <a:lvl9pPr marL="3886200" indent="-228600" algn="l" defTabSz="952500" rtl="0" eaLnBrk="1" fontAlgn="base" hangingPunct="1">
              <a:spcBef>
                <a:spcPct val="20000"/>
              </a:spcBef>
              <a:spcAft>
                <a:spcPct val="0"/>
              </a:spcAft>
              <a:buChar char="»"/>
              <a:defRPr sz="1700">
                <a:solidFill>
                  <a:schemeClr val="tx1"/>
                </a:solidFill>
                <a:latin typeface="+mn-lt"/>
              </a:defRPr>
            </a:lvl9pPr>
          </a:lstStyle>
          <a:p>
            <a:pPr marL="0" indent="0">
              <a:spcAft>
                <a:spcPts val="600"/>
              </a:spcAft>
            </a:pPr>
            <a:r>
              <a:rPr lang="de-DE" sz="1200" dirty="0">
                <a:solidFill>
                  <a:schemeClr val="bg2"/>
                </a:solidFill>
              </a:rPr>
              <a:t>Kernkompetenzen</a:t>
            </a:r>
          </a:p>
          <a:p>
            <a:pPr marL="1587" lvl="1" indent="0">
              <a:spcAft>
                <a:spcPts val="500"/>
              </a:spcAft>
              <a:buNone/>
            </a:pPr>
            <a:r>
              <a:rPr lang="de-DE" sz="1000" dirty="0"/>
              <a:t>Senior-Managementtrainings und Coaching</a:t>
            </a:r>
          </a:p>
          <a:p>
            <a:pPr marL="1587" lvl="1" indent="0">
              <a:spcAft>
                <a:spcPts val="500"/>
              </a:spcAft>
              <a:buNone/>
            </a:pPr>
            <a:r>
              <a:rPr lang="de-DE" sz="1000" dirty="0"/>
              <a:t>Personal </a:t>
            </a:r>
            <a:r>
              <a:rPr lang="de-DE" sz="1000" dirty="0" err="1"/>
              <a:t>Mastery</a:t>
            </a:r>
            <a:endParaRPr lang="de-DE" sz="1000" dirty="0"/>
          </a:p>
          <a:p>
            <a:pPr marL="1587" lvl="1" indent="0">
              <a:spcAft>
                <a:spcPts val="500"/>
              </a:spcAft>
              <a:buNone/>
            </a:pPr>
            <a:r>
              <a:rPr lang="de-DE" sz="1000" dirty="0"/>
              <a:t>Moderation u. Teamentwicklung</a:t>
            </a:r>
          </a:p>
          <a:p>
            <a:pPr marL="1587" lvl="1" indent="0">
              <a:spcAft>
                <a:spcPts val="500"/>
              </a:spcAft>
              <a:buNone/>
            </a:pPr>
            <a:r>
              <a:rPr lang="de-DE" sz="1000" dirty="0"/>
              <a:t>Ritual- u. Energiearbeit; auch in Organisationen</a:t>
            </a:r>
          </a:p>
          <a:p>
            <a:pPr marL="1587" lvl="1" indent="0">
              <a:spcAft>
                <a:spcPts val="500"/>
              </a:spcAft>
              <a:buNone/>
            </a:pPr>
            <a:r>
              <a:rPr lang="de-DE" sz="1000" dirty="0"/>
              <a:t>Ansatz der Heldenreise </a:t>
            </a:r>
          </a:p>
          <a:p>
            <a:pPr marL="1587" lvl="1" indent="0">
              <a:spcAft>
                <a:spcPts val="500"/>
              </a:spcAft>
              <a:buNone/>
            </a:pPr>
            <a:r>
              <a:rPr lang="de-DE" sz="1000" dirty="0" err="1"/>
              <a:t>Visioning</a:t>
            </a:r>
            <a:endParaRPr lang="de-DE" sz="1000" dirty="0"/>
          </a:p>
          <a:p>
            <a:pPr marL="1587" lvl="1" indent="0">
              <a:spcAft>
                <a:spcPts val="500"/>
              </a:spcAft>
              <a:buNone/>
            </a:pPr>
            <a:r>
              <a:rPr lang="de-DE" sz="1000" dirty="0"/>
              <a:t>Rhetorik/Power </a:t>
            </a:r>
            <a:r>
              <a:rPr lang="de-DE" sz="1000" dirty="0" err="1"/>
              <a:t>Talking</a:t>
            </a:r>
            <a:r>
              <a:rPr lang="de-DE" sz="1000" dirty="0"/>
              <a:t> u. Gesprächstechniken</a:t>
            </a:r>
          </a:p>
          <a:p>
            <a:pPr marL="1587" lvl="1" indent="0">
              <a:spcAft>
                <a:spcPts val="500"/>
              </a:spcAft>
              <a:buNone/>
            </a:pPr>
            <a:r>
              <a:rPr lang="de-DE" sz="1000" dirty="0"/>
              <a:t>Change- und Konflikt-Management </a:t>
            </a:r>
          </a:p>
          <a:p>
            <a:pPr marL="1587" lvl="1" indent="0">
              <a:spcAft>
                <a:spcPts val="500"/>
              </a:spcAft>
              <a:buNone/>
            </a:pPr>
            <a:r>
              <a:rPr lang="de-DE" sz="1000" dirty="0"/>
              <a:t>Beraterausbildung</a:t>
            </a:r>
          </a:p>
        </p:txBody>
      </p:sp>
      <p:grpSp>
        <p:nvGrpSpPr>
          <p:cNvPr id="60" name="Gruppieren 59"/>
          <p:cNvGrpSpPr/>
          <p:nvPr/>
        </p:nvGrpSpPr>
        <p:grpSpPr>
          <a:xfrm>
            <a:off x="8395823" y="4474273"/>
            <a:ext cx="495582" cy="495582"/>
            <a:chOff x="8395823" y="4474273"/>
            <a:chExt cx="495582" cy="495582"/>
          </a:xfrm>
        </p:grpSpPr>
        <p:sp>
          <p:nvSpPr>
            <p:cNvPr id="65" name="Sechseck 1">
              <a:extLst>
                <a:ext uri="{FF2B5EF4-FFF2-40B4-BE49-F238E27FC236}">
                  <a16:creationId xmlns:a16="http://schemas.microsoft.com/office/drawing/2014/main" id="{20C94262-4E91-40C7-959A-A170403C44B5}"/>
                </a:ext>
              </a:extLst>
            </p:cNvPr>
            <p:cNvSpPr>
              <a:spLocks noChangeAspect="1"/>
            </p:cNvSpPr>
            <p:nvPr/>
          </p:nvSpPr>
          <p:spPr>
            <a:xfrm>
              <a:off x="8395823" y="4474273"/>
              <a:ext cx="495582" cy="495582"/>
            </a:xfrm>
            <a:prstGeom prst="ellipse">
              <a:avLst/>
            </a:prstGeom>
            <a:solidFill>
              <a:schemeClr val="bg1"/>
            </a:solidFill>
            <a:ln w="25400" cap="rnd"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63" dirty="0"/>
            </a:p>
          </p:txBody>
        </p:sp>
        <p:grpSp>
          <p:nvGrpSpPr>
            <p:cNvPr id="66" name="Group 55">
              <a:extLst>
                <a:ext uri="{FF2B5EF4-FFF2-40B4-BE49-F238E27FC236}">
                  <a16:creationId xmlns:a16="http://schemas.microsoft.com/office/drawing/2014/main" id="{786EA3C8-9DA3-4C7E-90F7-C9F379F9A18D}"/>
                </a:ext>
              </a:extLst>
            </p:cNvPr>
            <p:cNvGrpSpPr>
              <a:grpSpLocks noChangeAspect="1"/>
            </p:cNvGrpSpPr>
            <p:nvPr/>
          </p:nvGrpSpPr>
          <p:grpSpPr>
            <a:xfrm>
              <a:off x="8495699" y="4581544"/>
              <a:ext cx="295831" cy="281040"/>
              <a:chOff x="11601450" y="1368425"/>
              <a:chExt cx="285750" cy="271463"/>
            </a:xfrm>
            <a:solidFill>
              <a:schemeClr val="bg2"/>
            </a:solidFill>
            <a:effectLst/>
          </p:grpSpPr>
          <p:sp>
            <p:nvSpPr>
              <p:cNvPr id="67" name="Freeform 175">
                <a:extLst>
                  <a:ext uri="{FF2B5EF4-FFF2-40B4-BE49-F238E27FC236}">
                    <a16:creationId xmlns:a16="http://schemas.microsoft.com/office/drawing/2014/main" id="{8702B887-7EDD-464A-8236-74792A2CD40F}"/>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8" name="Freeform 176">
                <a:extLst>
                  <a:ext uri="{FF2B5EF4-FFF2-40B4-BE49-F238E27FC236}">
                    <a16:creationId xmlns:a16="http://schemas.microsoft.com/office/drawing/2014/main" id="{96781675-5EF4-4C9C-B904-328C98C72402}"/>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69" name="Freeform 177">
                <a:extLst>
                  <a:ext uri="{FF2B5EF4-FFF2-40B4-BE49-F238E27FC236}">
                    <a16:creationId xmlns:a16="http://schemas.microsoft.com/office/drawing/2014/main" id="{9EFCC5A8-2A01-4CBB-914B-26C5E853A7AF}"/>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70" name="Freeform 178">
                <a:extLst>
                  <a:ext uri="{FF2B5EF4-FFF2-40B4-BE49-F238E27FC236}">
                    <a16:creationId xmlns:a16="http://schemas.microsoft.com/office/drawing/2014/main" id="{DDBFCE7E-079B-4CBA-BA42-1368A7874850}"/>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71" name="Freeform 179">
                <a:extLst>
                  <a:ext uri="{FF2B5EF4-FFF2-40B4-BE49-F238E27FC236}">
                    <a16:creationId xmlns:a16="http://schemas.microsoft.com/office/drawing/2014/main" id="{B688770E-1186-470A-932E-E3441C84D85E}"/>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spTree>
    <p:extLst>
      <p:ext uri="{BB962C8B-B14F-4D97-AF65-F5344CB8AC3E}">
        <p14:creationId xmlns:p14="http://schemas.microsoft.com/office/powerpoint/2010/main" val="16892401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Inhaltsplatzhalter 7"/>
          <p:cNvSpPr>
            <a:spLocks noGrp="1"/>
          </p:cNvSpPr>
          <p:nvPr>
            <p:ph sz="quarter" idx="10"/>
          </p:nvPr>
        </p:nvSpPr>
        <p:spPr>
          <a:xfrm>
            <a:off x="5241032" y="2348880"/>
            <a:ext cx="3430335" cy="940051"/>
          </a:xfrm>
        </p:spPr>
        <p:txBody>
          <a:bodyPr/>
          <a:lstStyle/>
          <a:p>
            <a:r>
              <a:rPr lang="de-DE" dirty="0"/>
              <a:t>Vielen Dank!</a:t>
            </a:r>
          </a:p>
        </p:txBody>
      </p:sp>
    </p:spTree>
    <p:extLst>
      <p:ext uri="{BB962C8B-B14F-4D97-AF65-F5344CB8AC3E}">
        <p14:creationId xmlns:p14="http://schemas.microsoft.com/office/powerpoint/2010/main" val="5954547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4F9329D-9A4E-4A93-8F3E-105DCB9B679B}"/>
              </a:ext>
            </a:extLst>
          </p:cNvPr>
          <p:cNvGraphicFramePr>
            <a:graphicFrameLocks noChangeAspect="1"/>
          </p:cNvGraphicFramePr>
          <p:nvPr>
            <p:custDataLst>
              <p:tags r:id="rId2"/>
            </p:custDataLst>
            <p:extLst>
              <p:ext uri="{D42A27DB-BD31-4B8C-83A1-F6EECF244321}">
                <p14:modId xmlns:p14="http://schemas.microsoft.com/office/powerpoint/2010/main" val="160667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Folie" r:id="rId4" imgW="425" imgH="426" progId="TCLayout.ActiveDocument.1">
                  <p:embed/>
                </p:oleObj>
              </mc:Choice>
              <mc:Fallback>
                <p:oleObj name="think-cell Folie" r:id="rId4" imgW="425" imgH="426" progId="TCLayout.ActiveDocument.1">
                  <p:embed/>
                  <p:pic>
                    <p:nvPicPr>
                      <p:cNvPr id="3" name="Objekt 2" hidden="1">
                        <a:extLst>
                          <a:ext uri="{FF2B5EF4-FFF2-40B4-BE49-F238E27FC236}">
                            <a16:creationId xmlns:a16="http://schemas.microsoft.com/office/drawing/2014/main" id="{14F9329D-9A4E-4A93-8F3E-105DCB9B67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5835765-DEE2-4CB4-9CB5-83A90A476887}"/>
              </a:ext>
            </a:extLst>
          </p:cNvPr>
          <p:cNvSpPr>
            <a:spLocks noGrp="1"/>
          </p:cNvSpPr>
          <p:nvPr>
            <p:ph type="title"/>
          </p:nvPr>
        </p:nvSpPr>
        <p:spPr/>
        <p:txBody>
          <a:bodyPr/>
          <a:lstStyle/>
          <a:p>
            <a:r>
              <a:rPr lang="de-DE" dirty="0"/>
              <a:t>Zitate</a:t>
            </a:r>
          </a:p>
        </p:txBody>
      </p:sp>
    </p:spTree>
    <p:extLst>
      <p:ext uri="{BB962C8B-B14F-4D97-AF65-F5344CB8AC3E}">
        <p14:creationId xmlns:p14="http://schemas.microsoft.com/office/powerpoint/2010/main" val="3163449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E8490D66-20EF-48DA-A456-49A5B2DBBCD8}"/>
              </a:ext>
            </a:extLst>
          </p:cNvPr>
          <p:cNvGraphicFramePr>
            <a:graphicFrameLocks noChangeAspect="1"/>
          </p:cNvGraphicFramePr>
          <p:nvPr>
            <p:custDataLst>
              <p:tags r:id="rId2"/>
            </p:custDataLst>
            <p:extLst>
              <p:ext uri="{D42A27DB-BD31-4B8C-83A1-F6EECF244321}">
                <p14:modId xmlns:p14="http://schemas.microsoft.com/office/powerpoint/2010/main" val="303993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Folie" r:id="rId5" imgW="425" imgH="426" progId="TCLayout.ActiveDocument.1">
                  <p:embed/>
                </p:oleObj>
              </mc:Choice>
              <mc:Fallback>
                <p:oleObj name="think-cell Folie" r:id="rId5" imgW="425" imgH="426" progId="TCLayout.ActiveDocument.1">
                  <p:embed/>
                  <p:pic>
                    <p:nvPicPr>
                      <p:cNvPr id="20" name="Objekt 19" hidden="1">
                        <a:extLst>
                          <a:ext uri="{FF2B5EF4-FFF2-40B4-BE49-F238E27FC236}">
                            <a16:creationId xmlns:a16="http://schemas.microsoft.com/office/drawing/2014/main" id="{E8490D66-20EF-48DA-A456-49A5B2DBBC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hteck 18" hidden="1">
            <a:extLst>
              <a:ext uri="{FF2B5EF4-FFF2-40B4-BE49-F238E27FC236}">
                <a16:creationId xmlns:a16="http://schemas.microsoft.com/office/drawing/2014/main" id="{F6C8BAE2-C3BB-45DB-BEE8-CA8C667C1B13}"/>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pic>
        <p:nvPicPr>
          <p:cNvPr id="17" name="Grafik 16">
            <a:extLst>
              <a:ext uri="{FF2B5EF4-FFF2-40B4-BE49-F238E27FC236}">
                <a16:creationId xmlns:a16="http://schemas.microsoft.com/office/drawing/2014/main" id="{CC82CF55-2C11-4F3D-A18A-803D59B76ED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5310" t="-469" r="53103" b="61442"/>
          <a:stretch/>
        </p:blipFill>
        <p:spPr>
          <a:xfrm>
            <a:off x="0" y="2293619"/>
            <a:ext cx="5335350" cy="3783271"/>
          </a:xfrm>
          <a:prstGeom prst="rect">
            <a:avLst/>
          </a:prstGeom>
        </p:spPr>
      </p:pic>
      <p:sp>
        <p:nvSpPr>
          <p:cNvPr id="2" name="Titel 1"/>
          <p:cNvSpPr>
            <a:spLocks noGrp="1"/>
          </p:cNvSpPr>
          <p:nvPr>
            <p:ph type="title"/>
          </p:nvPr>
        </p:nvSpPr>
        <p:spPr/>
        <p:txBody>
          <a:bodyPr/>
          <a:lstStyle/>
          <a:p>
            <a:r>
              <a:rPr lang="de-DE" dirty="0"/>
              <a:t>Zitat – Variante 1</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961EEF5B-C750-42FA-96DF-1E309901E02A}"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2</a:t>
            </a:fld>
            <a:endParaRPr lang="de-DE" dirty="0"/>
          </a:p>
        </p:txBody>
      </p:sp>
      <p:sp>
        <p:nvSpPr>
          <p:cNvPr id="8" name="TextBox 3">
            <a:extLst>
              <a:ext uri="{FF2B5EF4-FFF2-40B4-BE49-F238E27FC236}">
                <a16:creationId xmlns:a16="http://schemas.microsoft.com/office/drawing/2014/main" id="{5BD6D2E0-5054-4620-A84C-57738513C982}"/>
              </a:ext>
            </a:extLst>
          </p:cNvPr>
          <p:cNvSpPr txBox="1"/>
          <p:nvPr/>
        </p:nvSpPr>
        <p:spPr>
          <a:xfrm>
            <a:off x="5073352" y="2661761"/>
            <a:ext cx="4571048" cy="3046988"/>
          </a:xfrm>
          <a:prstGeom prst="rect">
            <a:avLst/>
          </a:prstGeom>
          <a:noFill/>
        </p:spPr>
        <p:txBody>
          <a:bodyPr wrap="square" rtlCol="0" anchor="ctr" anchorCtr="0">
            <a:spAutoFit/>
          </a:bodyPr>
          <a:lstStyle/>
          <a:p>
            <a:pPr algn="ctr"/>
            <a:r>
              <a:rPr lang="en-US" sz="3200" b="0" dirty="0">
                <a:latin typeface="Arial" pitchFamily="34" charset="0"/>
                <a:cs typeface="Arial" pitchFamily="34" charset="0"/>
              </a:rPr>
              <a:t>Every time you meet someone you have the opportunity to practice your skill of recognizing and adapting to their colour energies.</a:t>
            </a:r>
          </a:p>
        </p:txBody>
      </p:sp>
      <p:grpSp>
        <p:nvGrpSpPr>
          <p:cNvPr id="18" name="Gruppieren 17">
            <a:extLst>
              <a:ext uri="{FF2B5EF4-FFF2-40B4-BE49-F238E27FC236}">
                <a16:creationId xmlns:a16="http://schemas.microsoft.com/office/drawing/2014/main" id="{DA6F8CDA-4AAB-4BD4-BB0A-37D5D300D664}"/>
              </a:ext>
            </a:extLst>
          </p:cNvPr>
          <p:cNvGrpSpPr/>
          <p:nvPr/>
        </p:nvGrpSpPr>
        <p:grpSpPr>
          <a:xfrm>
            <a:off x="5073352" y="2293619"/>
            <a:ext cx="4571048" cy="3783271"/>
            <a:chOff x="5073352" y="2293619"/>
            <a:chExt cx="4571048" cy="3783271"/>
          </a:xfrm>
        </p:grpSpPr>
        <p:cxnSp>
          <p:nvCxnSpPr>
            <p:cNvPr id="10" name="Gerader Verbinder 9">
              <a:extLst>
                <a:ext uri="{FF2B5EF4-FFF2-40B4-BE49-F238E27FC236}">
                  <a16:creationId xmlns:a16="http://schemas.microsoft.com/office/drawing/2014/main" id="{DE36A21C-4541-4911-866C-9CBEF7898641}"/>
                </a:ext>
              </a:extLst>
            </p:cNvPr>
            <p:cNvCxnSpPr/>
            <p:nvPr/>
          </p:nvCxnSpPr>
          <p:spPr bwMode="auto">
            <a:xfrm>
              <a:off x="5073352" y="2293619"/>
              <a:ext cx="4571048" cy="0"/>
            </a:xfrm>
            <a:prstGeom prst="line">
              <a:avLst/>
            </a:prstGeom>
            <a:solidFill>
              <a:schemeClr val="accent1"/>
            </a:solidFill>
            <a:ln w="28575" cap="rnd" cmpd="sng" algn="ctr">
              <a:solidFill>
                <a:schemeClr val="accent3"/>
              </a:solidFill>
              <a:prstDash val="solid"/>
              <a:round/>
              <a:headEnd type="none" w="med" len="med"/>
              <a:tailEnd type="none" w="med" len="med"/>
            </a:ln>
            <a:effectLst/>
          </p:spPr>
        </p:cxnSp>
        <p:cxnSp>
          <p:nvCxnSpPr>
            <p:cNvPr id="11" name="Gerader Verbinder 10">
              <a:extLst>
                <a:ext uri="{FF2B5EF4-FFF2-40B4-BE49-F238E27FC236}">
                  <a16:creationId xmlns:a16="http://schemas.microsoft.com/office/drawing/2014/main" id="{B14A837C-D54B-4FE4-B448-32AF2FCB25D0}"/>
                </a:ext>
              </a:extLst>
            </p:cNvPr>
            <p:cNvCxnSpPr/>
            <p:nvPr/>
          </p:nvCxnSpPr>
          <p:spPr bwMode="auto">
            <a:xfrm>
              <a:off x="5073352" y="6076890"/>
              <a:ext cx="4571048" cy="0"/>
            </a:xfrm>
            <a:prstGeom prst="line">
              <a:avLst/>
            </a:prstGeom>
            <a:solidFill>
              <a:schemeClr val="accent1"/>
            </a:solidFill>
            <a:ln w="28575" cap="rnd" cmpd="sng" algn="ctr">
              <a:solidFill>
                <a:schemeClr val="accent3"/>
              </a:solidFill>
              <a:prstDash val="solid"/>
              <a:round/>
              <a:headEnd type="none" w="med" len="med"/>
              <a:tailEnd type="none" w="med" len="med"/>
            </a:ln>
            <a:effectLst/>
          </p:spPr>
        </p:cxnSp>
      </p:grpSp>
      <p:sp>
        <p:nvSpPr>
          <p:cNvPr id="15" name="Freeform 6">
            <a:extLst>
              <a:ext uri="{FF2B5EF4-FFF2-40B4-BE49-F238E27FC236}">
                <a16:creationId xmlns:a16="http://schemas.microsoft.com/office/drawing/2014/main" id="{1FCA8CED-ADEA-423E-B491-731603BD7333}"/>
              </a:ext>
            </a:extLst>
          </p:cNvPr>
          <p:cNvSpPr>
            <a:spLocks noEditPoints="1"/>
          </p:cNvSpPr>
          <p:nvPr/>
        </p:nvSpPr>
        <p:spPr bwMode="gray">
          <a:xfrm>
            <a:off x="4248151" y="1808114"/>
            <a:ext cx="685799" cy="485505"/>
          </a:xfrm>
          <a:custGeom>
            <a:avLst/>
            <a:gdLst/>
            <a:ahLst/>
            <a:cxnLst>
              <a:cxn ang="0">
                <a:pos x="210" y="222"/>
              </a:cxn>
              <a:cxn ang="0">
                <a:pos x="184" y="289"/>
              </a:cxn>
              <a:cxn ang="0">
                <a:pos x="116" y="317"/>
              </a:cxn>
              <a:cxn ang="0">
                <a:pos x="33" y="278"/>
              </a:cxn>
              <a:cxn ang="0">
                <a:pos x="0" y="187"/>
              </a:cxn>
              <a:cxn ang="0">
                <a:pos x="57" y="55"/>
              </a:cxn>
              <a:cxn ang="0">
                <a:pos x="196" y="0"/>
              </a:cxn>
              <a:cxn ang="0">
                <a:pos x="198" y="15"/>
              </a:cxn>
              <a:cxn ang="0">
                <a:pos x="106" y="51"/>
              </a:cxn>
              <a:cxn ang="0">
                <a:pos x="64" y="131"/>
              </a:cxn>
              <a:cxn ang="0">
                <a:pos x="67" y="147"/>
              </a:cxn>
              <a:cxn ang="0">
                <a:pos x="75" y="152"/>
              </a:cxn>
              <a:cxn ang="0">
                <a:pos x="97" y="145"/>
              </a:cxn>
              <a:cxn ang="0">
                <a:pos x="123" y="138"/>
              </a:cxn>
              <a:cxn ang="0">
                <a:pos x="184" y="162"/>
              </a:cxn>
              <a:cxn ang="0">
                <a:pos x="210" y="222"/>
              </a:cxn>
              <a:cxn ang="0">
                <a:pos x="448" y="222"/>
              </a:cxn>
              <a:cxn ang="0">
                <a:pos x="422" y="289"/>
              </a:cxn>
              <a:cxn ang="0">
                <a:pos x="354" y="317"/>
              </a:cxn>
              <a:cxn ang="0">
                <a:pos x="270" y="278"/>
              </a:cxn>
              <a:cxn ang="0">
                <a:pos x="237" y="187"/>
              </a:cxn>
              <a:cxn ang="0">
                <a:pos x="295" y="55"/>
              </a:cxn>
              <a:cxn ang="0">
                <a:pos x="433" y="0"/>
              </a:cxn>
              <a:cxn ang="0">
                <a:pos x="435" y="15"/>
              </a:cxn>
              <a:cxn ang="0">
                <a:pos x="343" y="51"/>
              </a:cxn>
              <a:cxn ang="0">
                <a:pos x="302" y="131"/>
              </a:cxn>
              <a:cxn ang="0">
                <a:pos x="304" y="147"/>
              </a:cxn>
              <a:cxn ang="0">
                <a:pos x="312" y="152"/>
              </a:cxn>
              <a:cxn ang="0">
                <a:pos x="335" y="145"/>
              </a:cxn>
              <a:cxn ang="0">
                <a:pos x="360" y="138"/>
              </a:cxn>
              <a:cxn ang="0">
                <a:pos x="421" y="162"/>
              </a:cxn>
              <a:cxn ang="0">
                <a:pos x="448" y="222"/>
              </a:cxn>
            </a:cxnLst>
            <a:rect l="0" t="0" r="r" b="b"/>
            <a:pathLst>
              <a:path w="448" h="317">
                <a:moveTo>
                  <a:pt x="210" y="222"/>
                </a:moveTo>
                <a:cubicBezTo>
                  <a:pt x="210" y="249"/>
                  <a:pt x="201" y="271"/>
                  <a:pt x="184" y="289"/>
                </a:cubicBezTo>
                <a:cubicBezTo>
                  <a:pt x="167" y="307"/>
                  <a:pt x="144" y="317"/>
                  <a:pt x="116" y="317"/>
                </a:cubicBezTo>
                <a:cubicBezTo>
                  <a:pt x="82" y="317"/>
                  <a:pt x="54" y="304"/>
                  <a:pt x="33" y="278"/>
                </a:cubicBezTo>
                <a:cubicBezTo>
                  <a:pt x="11" y="253"/>
                  <a:pt x="0" y="223"/>
                  <a:pt x="0" y="187"/>
                </a:cubicBezTo>
                <a:cubicBezTo>
                  <a:pt x="0" y="136"/>
                  <a:pt x="19" y="92"/>
                  <a:pt x="57" y="55"/>
                </a:cubicBezTo>
                <a:cubicBezTo>
                  <a:pt x="95" y="18"/>
                  <a:pt x="141" y="0"/>
                  <a:pt x="196" y="0"/>
                </a:cubicBezTo>
                <a:cubicBezTo>
                  <a:pt x="198" y="15"/>
                  <a:pt x="198" y="15"/>
                  <a:pt x="198" y="15"/>
                </a:cubicBezTo>
                <a:cubicBezTo>
                  <a:pt x="164" y="15"/>
                  <a:pt x="134" y="27"/>
                  <a:pt x="106" y="51"/>
                </a:cubicBezTo>
                <a:cubicBezTo>
                  <a:pt x="78" y="74"/>
                  <a:pt x="64" y="101"/>
                  <a:pt x="64" y="131"/>
                </a:cubicBezTo>
                <a:cubicBezTo>
                  <a:pt x="64" y="138"/>
                  <a:pt x="65" y="143"/>
                  <a:pt x="67" y="147"/>
                </a:cubicBezTo>
                <a:cubicBezTo>
                  <a:pt x="69" y="150"/>
                  <a:pt x="71" y="152"/>
                  <a:pt x="75" y="152"/>
                </a:cubicBezTo>
                <a:cubicBezTo>
                  <a:pt x="80" y="152"/>
                  <a:pt x="87" y="150"/>
                  <a:pt x="97" y="145"/>
                </a:cubicBezTo>
                <a:cubicBezTo>
                  <a:pt x="107" y="141"/>
                  <a:pt x="116" y="138"/>
                  <a:pt x="123" y="138"/>
                </a:cubicBezTo>
                <a:cubicBezTo>
                  <a:pt x="146" y="138"/>
                  <a:pt x="166" y="146"/>
                  <a:pt x="184" y="162"/>
                </a:cubicBezTo>
                <a:cubicBezTo>
                  <a:pt x="201" y="177"/>
                  <a:pt x="210" y="197"/>
                  <a:pt x="210" y="222"/>
                </a:cubicBezTo>
                <a:close/>
                <a:moveTo>
                  <a:pt x="448" y="222"/>
                </a:moveTo>
                <a:cubicBezTo>
                  <a:pt x="448" y="249"/>
                  <a:pt x="439" y="271"/>
                  <a:pt x="422" y="289"/>
                </a:cubicBezTo>
                <a:cubicBezTo>
                  <a:pt x="404" y="307"/>
                  <a:pt x="382" y="317"/>
                  <a:pt x="354" y="317"/>
                </a:cubicBezTo>
                <a:cubicBezTo>
                  <a:pt x="320" y="317"/>
                  <a:pt x="292" y="304"/>
                  <a:pt x="270" y="278"/>
                </a:cubicBezTo>
                <a:cubicBezTo>
                  <a:pt x="248" y="253"/>
                  <a:pt x="237" y="223"/>
                  <a:pt x="237" y="187"/>
                </a:cubicBezTo>
                <a:cubicBezTo>
                  <a:pt x="237" y="136"/>
                  <a:pt x="256" y="92"/>
                  <a:pt x="295" y="55"/>
                </a:cubicBezTo>
                <a:cubicBezTo>
                  <a:pt x="333" y="18"/>
                  <a:pt x="379" y="0"/>
                  <a:pt x="433" y="0"/>
                </a:cubicBezTo>
                <a:cubicBezTo>
                  <a:pt x="435" y="15"/>
                  <a:pt x="435" y="15"/>
                  <a:pt x="435" y="15"/>
                </a:cubicBezTo>
                <a:cubicBezTo>
                  <a:pt x="402" y="15"/>
                  <a:pt x="371" y="27"/>
                  <a:pt x="343" y="51"/>
                </a:cubicBezTo>
                <a:cubicBezTo>
                  <a:pt x="316" y="74"/>
                  <a:pt x="302" y="101"/>
                  <a:pt x="302" y="131"/>
                </a:cubicBezTo>
                <a:cubicBezTo>
                  <a:pt x="302" y="138"/>
                  <a:pt x="303" y="143"/>
                  <a:pt x="304" y="147"/>
                </a:cubicBezTo>
                <a:cubicBezTo>
                  <a:pt x="306" y="150"/>
                  <a:pt x="309" y="152"/>
                  <a:pt x="312" y="152"/>
                </a:cubicBezTo>
                <a:cubicBezTo>
                  <a:pt x="317" y="152"/>
                  <a:pt x="325" y="150"/>
                  <a:pt x="335" y="145"/>
                </a:cubicBezTo>
                <a:cubicBezTo>
                  <a:pt x="345" y="141"/>
                  <a:pt x="353" y="138"/>
                  <a:pt x="360" y="138"/>
                </a:cubicBezTo>
                <a:cubicBezTo>
                  <a:pt x="383" y="138"/>
                  <a:pt x="403" y="146"/>
                  <a:pt x="421" y="162"/>
                </a:cubicBezTo>
                <a:cubicBezTo>
                  <a:pt x="439" y="177"/>
                  <a:pt x="448" y="197"/>
                  <a:pt x="448" y="22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de-DE" noProof="1"/>
          </a:p>
        </p:txBody>
      </p:sp>
    </p:spTree>
    <p:extLst>
      <p:ext uri="{BB962C8B-B14F-4D97-AF65-F5344CB8AC3E}">
        <p14:creationId xmlns:p14="http://schemas.microsoft.com/office/powerpoint/2010/main" val="4040059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632F19E-ACED-4BF9-A3DE-7F2AA04287A4}"/>
              </a:ext>
            </a:extLst>
          </p:cNvPr>
          <p:cNvGraphicFramePr>
            <a:graphicFrameLocks noChangeAspect="1"/>
          </p:cNvGraphicFramePr>
          <p:nvPr>
            <p:custDataLst>
              <p:tags r:id="rId2"/>
            </p:custDataLst>
            <p:extLst>
              <p:ext uri="{D42A27DB-BD31-4B8C-83A1-F6EECF244321}">
                <p14:modId xmlns:p14="http://schemas.microsoft.com/office/powerpoint/2010/main" val="199757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Folie" r:id="rId5" imgW="425" imgH="426" progId="TCLayout.ActiveDocument.1">
                  <p:embed/>
                </p:oleObj>
              </mc:Choice>
              <mc:Fallback>
                <p:oleObj name="think-cell Folie" r:id="rId5" imgW="425" imgH="426" progId="TCLayout.ActiveDocument.1">
                  <p:embed/>
                  <p:pic>
                    <p:nvPicPr>
                      <p:cNvPr id="8" name="Objekt 7" hidden="1">
                        <a:extLst>
                          <a:ext uri="{FF2B5EF4-FFF2-40B4-BE49-F238E27FC236}">
                            <a16:creationId xmlns:a16="http://schemas.microsoft.com/office/drawing/2014/main" id="{B632F19E-ACED-4BF9-A3DE-7F2AA04287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99F0A84-FF36-4030-ADB4-3C838448CF76}"/>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pic>
        <p:nvPicPr>
          <p:cNvPr id="23" name="Grafik 22">
            <a:extLst>
              <a:ext uri="{FF2B5EF4-FFF2-40B4-BE49-F238E27FC236}">
                <a16:creationId xmlns:a16="http://schemas.microsoft.com/office/drawing/2014/main" id="{94F4F88D-791B-4370-B220-AED39D578D1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5310" t="-469" r="53103" b="61442"/>
          <a:stretch/>
        </p:blipFill>
        <p:spPr>
          <a:xfrm>
            <a:off x="0" y="2293619"/>
            <a:ext cx="5335350" cy="3783271"/>
          </a:xfrm>
          <a:prstGeom prst="rect">
            <a:avLst/>
          </a:prstGeom>
        </p:spPr>
      </p:pic>
      <p:sp>
        <p:nvSpPr>
          <p:cNvPr id="2" name="Titel 1"/>
          <p:cNvSpPr>
            <a:spLocks noGrp="1"/>
          </p:cNvSpPr>
          <p:nvPr>
            <p:ph type="title"/>
          </p:nvPr>
        </p:nvSpPr>
        <p:spPr/>
        <p:txBody>
          <a:bodyPr/>
          <a:lstStyle/>
          <a:p>
            <a:r>
              <a:rPr lang="de-DE" dirty="0"/>
              <a:t>Zitat – Variante 2</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6B716C60-92E6-4091-906F-6471E75E1A45}"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3</a:t>
            </a:fld>
            <a:endParaRPr lang="de-DE" dirty="0"/>
          </a:p>
        </p:txBody>
      </p:sp>
      <p:sp>
        <p:nvSpPr>
          <p:cNvPr id="24" name="TextBox 3">
            <a:extLst>
              <a:ext uri="{FF2B5EF4-FFF2-40B4-BE49-F238E27FC236}">
                <a16:creationId xmlns:a16="http://schemas.microsoft.com/office/drawing/2014/main" id="{BC26BC9B-3FD8-4229-9C84-2E1FB21B8870}"/>
              </a:ext>
            </a:extLst>
          </p:cNvPr>
          <p:cNvSpPr txBox="1"/>
          <p:nvPr/>
        </p:nvSpPr>
        <p:spPr>
          <a:xfrm>
            <a:off x="5073352" y="2538650"/>
            <a:ext cx="4571048" cy="3293209"/>
          </a:xfrm>
          <a:prstGeom prst="rect">
            <a:avLst/>
          </a:prstGeom>
          <a:noFill/>
        </p:spPr>
        <p:txBody>
          <a:bodyPr wrap="square" rtlCol="0" anchor="ctr" anchorCtr="0">
            <a:spAutoFit/>
          </a:bodyPr>
          <a:lstStyle/>
          <a:p>
            <a:pPr algn="ctr"/>
            <a:r>
              <a:rPr lang="en-US" sz="3200" dirty="0">
                <a:latin typeface="Arial" pitchFamily="34" charset="0"/>
                <a:cs typeface="Arial" pitchFamily="34" charset="0"/>
              </a:rPr>
              <a:t>Every advance, every conceptual achievement of mankind has been connected with an advance in self awareness.</a:t>
            </a:r>
            <a:br>
              <a:rPr lang="en-US" sz="3200" dirty="0">
                <a:latin typeface="Arial" pitchFamily="34" charset="0"/>
                <a:cs typeface="Arial" pitchFamily="34" charset="0"/>
              </a:rPr>
            </a:br>
            <a:r>
              <a:rPr lang="en-US" sz="1600" dirty="0">
                <a:latin typeface="Arial" pitchFamily="34" charset="0"/>
                <a:cs typeface="Arial" pitchFamily="34" charset="0"/>
              </a:rPr>
              <a:t>Dr. Carl G. Jung</a:t>
            </a:r>
          </a:p>
        </p:txBody>
      </p:sp>
      <p:grpSp>
        <p:nvGrpSpPr>
          <p:cNvPr id="25" name="Gruppieren 24">
            <a:extLst>
              <a:ext uri="{FF2B5EF4-FFF2-40B4-BE49-F238E27FC236}">
                <a16:creationId xmlns:a16="http://schemas.microsoft.com/office/drawing/2014/main" id="{E4856FC2-C89F-4D8F-8AFE-79C20FB4B6C0}"/>
              </a:ext>
            </a:extLst>
          </p:cNvPr>
          <p:cNvGrpSpPr/>
          <p:nvPr/>
        </p:nvGrpSpPr>
        <p:grpSpPr>
          <a:xfrm>
            <a:off x="5073352" y="2293619"/>
            <a:ext cx="4571048" cy="3783271"/>
            <a:chOff x="5073352" y="2293619"/>
            <a:chExt cx="4571048" cy="3783271"/>
          </a:xfrm>
        </p:grpSpPr>
        <p:cxnSp>
          <p:nvCxnSpPr>
            <p:cNvPr id="26" name="Gerader Verbinder 25">
              <a:extLst>
                <a:ext uri="{FF2B5EF4-FFF2-40B4-BE49-F238E27FC236}">
                  <a16:creationId xmlns:a16="http://schemas.microsoft.com/office/drawing/2014/main" id="{0EA2D09E-6BA5-41F7-A445-74702ED9C65B}"/>
                </a:ext>
              </a:extLst>
            </p:cNvPr>
            <p:cNvCxnSpPr/>
            <p:nvPr/>
          </p:nvCxnSpPr>
          <p:spPr bwMode="auto">
            <a:xfrm>
              <a:off x="5073352" y="2293619"/>
              <a:ext cx="4571048" cy="0"/>
            </a:xfrm>
            <a:prstGeom prst="line">
              <a:avLst/>
            </a:prstGeom>
            <a:solidFill>
              <a:schemeClr val="accent1"/>
            </a:solidFill>
            <a:ln w="28575" cap="rnd" cmpd="sng" algn="ctr">
              <a:solidFill>
                <a:schemeClr val="bg2"/>
              </a:solidFill>
              <a:prstDash val="solid"/>
              <a:round/>
              <a:headEnd type="none" w="med" len="med"/>
              <a:tailEnd type="none" w="med" len="med"/>
            </a:ln>
            <a:effectLst/>
          </p:spPr>
        </p:cxnSp>
        <p:cxnSp>
          <p:nvCxnSpPr>
            <p:cNvPr id="27" name="Gerader Verbinder 26">
              <a:extLst>
                <a:ext uri="{FF2B5EF4-FFF2-40B4-BE49-F238E27FC236}">
                  <a16:creationId xmlns:a16="http://schemas.microsoft.com/office/drawing/2014/main" id="{173DE008-2FE1-44AB-969D-F3526F8FE744}"/>
                </a:ext>
              </a:extLst>
            </p:cNvPr>
            <p:cNvCxnSpPr/>
            <p:nvPr/>
          </p:nvCxnSpPr>
          <p:spPr bwMode="auto">
            <a:xfrm>
              <a:off x="5073352" y="6076890"/>
              <a:ext cx="4571048" cy="0"/>
            </a:xfrm>
            <a:prstGeom prst="line">
              <a:avLst/>
            </a:prstGeom>
            <a:solidFill>
              <a:schemeClr val="accent1"/>
            </a:solidFill>
            <a:ln w="28575" cap="rnd" cmpd="sng" algn="ctr">
              <a:solidFill>
                <a:schemeClr val="bg2"/>
              </a:solidFill>
              <a:prstDash val="solid"/>
              <a:round/>
              <a:headEnd type="none" w="med" len="med"/>
              <a:tailEnd type="none" w="med" len="med"/>
            </a:ln>
            <a:effectLst/>
          </p:spPr>
        </p:cxnSp>
      </p:grpSp>
      <p:sp>
        <p:nvSpPr>
          <p:cNvPr id="28" name="Freeform 6">
            <a:extLst>
              <a:ext uri="{FF2B5EF4-FFF2-40B4-BE49-F238E27FC236}">
                <a16:creationId xmlns:a16="http://schemas.microsoft.com/office/drawing/2014/main" id="{692B0868-957F-4595-A315-63ABD7D6D783}"/>
              </a:ext>
            </a:extLst>
          </p:cNvPr>
          <p:cNvSpPr>
            <a:spLocks noEditPoints="1"/>
          </p:cNvSpPr>
          <p:nvPr/>
        </p:nvSpPr>
        <p:spPr bwMode="gray">
          <a:xfrm>
            <a:off x="4248151" y="1808114"/>
            <a:ext cx="685799" cy="485505"/>
          </a:xfrm>
          <a:custGeom>
            <a:avLst/>
            <a:gdLst/>
            <a:ahLst/>
            <a:cxnLst>
              <a:cxn ang="0">
                <a:pos x="210" y="222"/>
              </a:cxn>
              <a:cxn ang="0">
                <a:pos x="184" y="289"/>
              </a:cxn>
              <a:cxn ang="0">
                <a:pos x="116" y="317"/>
              </a:cxn>
              <a:cxn ang="0">
                <a:pos x="33" y="278"/>
              </a:cxn>
              <a:cxn ang="0">
                <a:pos x="0" y="187"/>
              </a:cxn>
              <a:cxn ang="0">
                <a:pos x="57" y="55"/>
              </a:cxn>
              <a:cxn ang="0">
                <a:pos x="196" y="0"/>
              </a:cxn>
              <a:cxn ang="0">
                <a:pos x="198" y="15"/>
              </a:cxn>
              <a:cxn ang="0">
                <a:pos x="106" y="51"/>
              </a:cxn>
              <a:cxn ang="0">
                <a:pos x="64" y="131"/>
              </a:cxn>
              <a:cxn ang="0">
                <a:pos x="67" y="147"/>
              </a:cxn>
              <a:cxn ang="0">
                <a:pos x="75" y="152"/>
              </a:cxn>
              <a:cxn ang="0">
                <a:pos x="97" y="145"/>
              </a:cxn>
              <a:cxn ang="0">
                <a:pos x="123" y="138"/>
              </a:cxn>
              <a:cxn ang="0">
                <a:pos x="184" y="162"/>
              </a:cxn>
              <a:cxn ang="0">
                <a:pos x="210" y="222"/>
              </a:cxn>
              <a:cxn ang="0">
                <a:pos x="448" y="222"/>
              </a:cxn>
              <a:cxn ang="0">
                <a:pos x="422" y="289"/>
              </a:cxn>
              <a:cxn ang="0">
                <a:pos x="354" y="317"/>
              </a:cxn>
              <a:cxn ang="0">
                <a:pos x="270" y="278"/>
              </a:cxn>
              <a:cxn ang="0">
                <a:pos x="237" y="187"/>
              </a:cxn>
              <a:cxn ang="0">
                <a:pos x="295" y="55"/>
              </a:cxn>
              <a:cxn ang="0">
                <a:pos x="433" y="0"/>
              </a:cxn>
              <a:cxn ang="0">
                <a:pos x="435" y="15"/>
              </a:cxn>
              <a:cxn ang="0">
                <a:pos x="343" y="51"/>
              </a:cxn>
              <a:cxn ang="0">
                <a:pos x="302" y="131"/>
              </a:cxn>
              <a:cxn ang="0">
                <a:pos x="304" y="147"/>
              </a:cxn>
              <a:cxn ang="0">
                <a:pos x="312" y="152"/>
              </a:cxn>
              <a:cxn ang="0">
                <a:pos x="335" y="145"/>
              </a:cxn>
              <a:cxn ang="0">
                <a:pos x="360" y="138"/>
              </a:cxn>
              <a:cxn ang="0">
                <a:pos x="421" y="162"/>
              </a:cxn>
              <a:cxn ang="0">
                <a:pos x="448" y="222"/>
              </a:cxn>
            </a:cxnLst>
            <a:rect l="0" t="0" r="r" b="b"/>
            <a:pathLst>
              <a:path w="448" h="317">
                <a:moveTo>
                  <a:pt x="210" y="222"/>
                </a:moveTo>
                <a:cubicBezTo>
                  <a:pt x="210" y="249"/>
                  <a:pt x="201" y="271"/>
                  <a:pt x="184" y="289"/>
                </a:cubicBezTo>
                <a:cubicBezTo>
                  <a:pt x="167" y="307"/>
                  <a:pt x="144" y="317"/>
                  <a:pt x="116" y="317"/>
                </a:cubicBezTo>
                <a:cubicBezTo>
                  <a:pt x="82" y="317"/>
                  <a:pt x="54" y="304"/>
                  <a:pt x="33" y="278"/>
                </a:cubicBezTo>
                <a:cubicBezTo>
                  <a:pt x="11" y="253"/>
                  <a:pt x="0" y="223"/>
                  <a:pt x="0" y="187"/>
                </a:cubicBezTo>
                <a:cubicBezTo>
                  <a:pt x="0" y="136"/>
                  <a:pt x="19" y="92"/>
                  <a:pt x="57" y="55"/>
                </a:cubicBezTo>
                <a:cubicBezTo>
                  <a:pt x="95" y="18"/>
                  <a:pt x="141" y="0"/>
                  <a:pt x="196" y="0"/>
                </a:cubicBezTo>
                <a:cubicBezTo>
                  <a:pt x="198" y="15"/>
                  <a:pt x="198" y="15"/>
                  <a:pt x="198" y="15"/>
                </a:cubicBezTo>
                <a:cubicBezTo>
                  <a:pt x="164" y="15"/>
                  <a:pt x="134" y="27"/>
                  <a:pt x="106" y="51"/>
                </a:cubicBezTo>
                <a:cubicBezTo>
                  <a:pt x="78" y="74"/>
                  <a:pt x="64" y="101"/>
                  <a:pt x="64" y="131"/>
                </a:cubicBezTo>
                <a:cubicBezTo>
                  <a:pt x="64" y="138"/>
                  <a:pt x="65" y="143"/>
                  <a:pt x="67" y="147"/>
                </a:cubicBezTo>
                <a:cubicBezTo>
                  <a:pt x="69" y="150"/>
                  <a:pt x="71" y="152"/>
                  <a:pt x="75" y="152"/>
                </a:cubicBezTo>
                <a:cubicBezTo>
                  <a:pt x="80" y="152"/>
                  <a:pt x="87" y="150"/>
                  <a:pt x="97" y="145"/>
                </a:cubicBezTo>
                <a:cubicBezTo>
                  <a:pt x="107" y="141"/>
                  <a:pt x="116" y="138"/>
                  <a:pt x="123" y="138"/>
                </a:cubicBezTo>
                <a:cubicBezTo>
                  <a:pt x="146" y="138"/>
                  <a:pt x="166" y="146"/>
                  <a:pt x="184" y="162"/>
                </a:cubicBezTo>
                <a:cubicBezTo>
                  <a:pt x="201" y="177"/>
                  <a:pt x="210" y="197"/>
                  <a:pt x="210" y="222"/>
                </a:cubicBezTo>
                <a:close/>
                <a:moveTo>
                  <a:pt x="448" y="222"/>
                </a:moveTo>
                <a:cubicBezTo>
                  <a:pt x="448" y="249"/>
                  <a:pt x="439" y="271"/>
                  <a:pt x="422" y="289"/>
                </a:cubicBezTo>
                <a:cubicBezTo>
                  <a:pt x="404" y="307"/>
                  <a:pt x="382" y="317"/>
                  <a:pt x="354" y="317"/>
                </a:cubicBezTo>
                <a:cubicBezTo>
                  <a:pt x="320" y="317"/>
                  <a:pt x="292" y="304"/>
                  <a:pt x="270" y="278"/>
                </a:cubicBezTo>
                <a:cubicBezTo>
                  <a:pt x="248" y="253"/>
                  <a:pt x="237" y="223"/>
                  <a:pt x="237" y="187"/>
                </a:cubicBezTo>
                <a:cubicBezTo>
                  <a:pt x="237" y="136"/>
                  <a:pt x="256" y="92"/>
                  <a:pt x="295" y="55"/>
                </a:cubicBezTo>
                <a:cubicBezTo>
                  <a:pt x="333" y="18"/>
                  <a:pt x="379" y="0"/>
                  <a:pt x="433" y="0"/>
                </a:cubicBezTo>
                <a:cubicBezTo>
                  <a:pt x="435" y="15"/>
                  <a:pt x="435" y="15"/>
                  <a:pt x="435" y="15"/>
                </a:cubicBezTo>
                <a:cubicBezTo>
                  <a:pt x="402" y="15"/>
                  <a:pt x="371" y="27"/>
                  <a:pt x="343" y="51"/>
                </a:cubicBezTo>
                <a:cubicBezTo>
                  <a:pt x="316" y="74"/>
                  <a:pt x="302" y="101"/>
                  <a:pt x="302" y="131"/>
                </a:cubicBezTo>
                <a:cubicBezTo>
                  <a:pt x="302" y="138"/>
                  <a:pt x="303" y="143"/>
                  <a:pt x="304" y="147"/>
                </a:cubicBezTo>
                <a:cubicBezTo>
                  <a:pt x="306" y="150"/>
                  <a:pt x="309" y="152"/>
                  <a:pt x="312" y="152"/>
                </a:cubicBezTo>
                <a:cubicBezTo>
                  <a:pt x="317" y="152"/>
                  <a:pt x="325" y="150"/>
                  <a:pt x="335" y="145"/>
                </a:cubicBezTo>
                <a:cubicBezTo>
                  <a:pt x="345" y="141"/>
                  <a:pt x="353" y="138"/>
                  <a:pt x="360" y="138"/>
                </a:cubicBezTo>
                <a:cubicBezTo>
                  <a:pt x="383" y="138"/>
                  <a:pt x="403" y="146"/>
                  <a:pt x="421" y="162"/>
                </a:cubicBezTo>
                <a:cubicBezTo>
                  <a:pt x="439" y="177"/>
                  <a:pt x="448" y="197"/>
                  <a:pt x="448" y="222"/>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de-DE" noProof="1"/>
          </a:p>
        </p:txBody>
      </p:sp>
    </p:spTree>
    <p:extLst>
      <p:ext uri="{BB962C8B-B14F-4D97-AF65-F5344CB8AC3E}">
        <p14:creationId xmlns:p14="http://schemas.microsoft.com/office/powerpoint/2010/main" val="3259295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endParaRPr lang="de-DE"/>
          </a:p>
        </p:txBody>
      </p:sp>
      <p:sp>
        <p:nvSpPr>
          <p:cNvPr id="5" name="Datumsplatzhalter 4"/>
          <p:cNvSpPr>
            <a:spLocks noGrp="1"/>
          </p:cNvSpPr>
          <p:nvPr>
            <p:ph type="dt" sz="half" idx="2"/>
          </p:nvPr>
        </p:nvSpPr>
        <p:spPr/>
        <p:txBody>
          <a:bodyPr/>
          <a:lstStyle/>
          <a:p>
            <a:fld id="{4494387E-5CC7-4DB5-82B0-6843BFF1CBBF}"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4</a:t>
            </a:fld>
            <a:endParaRPr lang="de-DE" dirty="0"/>
          </a:p>
        </p:txBody>
      </p:sp>
      <p:sp>
        <p:nvSpPr>
          <p:cNvPr id="7" name="Rechteck 6"/>
          <p:cNvSpPr/>
          <p:nvPr/>
        </p:nvSpPr>
        <p:spPr bwMode="gray">
          <a:xfrm>
            <a:off x="0" y="-1"/>
            <a:ext cx="9906000" cy="6858001"/>
          </a:xfrm>
          <a:prstGeom prst="rect">
            <a:avLst/>
          </a:prstGeom>
          <a:gradFill flip="none" rotWithShape="1">
            <a:gsLst>
              <a:gs pos="100000">
                <a:srgbClr val="BFBFBF"/>
              </a:gs>
              <a:gs pos="0">
                <a:srgbClr val="FFFFFF"/>
              </a:gs>
            </a:gsLst>
            <a:path path="circle">
              <a:fillToRect l="50000" t="50000" r="50000" b="50000"/>
            </a:path>
            <a:tileRect/>
          </a:gradFill>
          <a:ln w="12700">
            <a:noFill/>
            <a:round/>
            <a:headEnd/>
            <a:tailEnd/>
          </a:ln>
        </p:spPr>
        <p:txBody>
          <a:bodyPr rtlCol="0" anchor="ctr"/>
          <a:lstStyle/>
          <a:p>
            <a:pPr algn="ctr"/>
            <a:endParaRPr lang="de-DE" noProof="1"/>
          </a:p>
        </p:txBody>
      </p:sp>
      <p:sp>
        <p:nvSpPr>
          <p:cNvPr id="9" name="Textfeld 8"/>
          <p:cNvSpPr txBox="1"/>
          <p:nvPr/>
        </p:nvSpPr>
        <p:spPr bwMode="gray">
          <a:xfrm>
            <a:off x="1208584" y="2650778"/>
            <a:ext cx="7488832" cy="1569660"/>
          </a:xfrm>
          <a:prstGeom prst="rect">
            <a:avLst/>
          </a:prstGeom>
          <a:noFill/>
        </p:spPr>
        <p:txBody>
          <a:bodyPr wrap="square" rtlCol="0">
            <a:spAutoFit/>
          </a:bodyPr>
          <a:lstStyle/>
          <a:p>
            <a:pPr algn="ctr"/>
            <a:r>
              <a:rPr lang="de-DE" sz="3200" noProof="1">
                <a:solidFill>
                  <a:srgbClr val="404040"/>
                </a:solidFill>
                <a:latin typeface="Century Gothic" pitchFamily="34" charset="0"/>
              </a:rPr>
              <a:t>Es zählt der kleinste Schritt.</a:t>
            </a:r>
          </a:p>
          <a:p>
            <a:pPr algn="ctr"/>
            <a:r>
              <a:rPr lang="de-DE" sz="3200" noProof="1">
                <a:solidFill>
                  <a:srgbClr val="404040"/>
                </a:solidFill>
                <a:latin typeface="Century Gothic" pitchFamily="34" charset="0"/>
              </a:rPr>
              <a:t> Der kleinste Schritt ist zu würdigen.</a:t>
            </a:r>
          </a:p>
          <a:p>
            <a:pPr algn="ctr"/>
            <a:r>
              <a:rPr lang="de-DE" sz="3200" noProof="1">
                <a:solidFill>
                  <a:srgbClr val="404040"/>
                </a:solidFill>
                <a:latin typeface="Century Gothic" pitchFamily="34" charset="0"/>
              </a:rPr>
              <a:t>Die Richtung muss stimmen.</a:t>
            </a:r>
          </a:p>
        </p:txBody>
      </p:sp>
      <p:sp>
        <p:nvSpPr>
          <p:cNvPr id="11" name="Freeform 6"/>
          <p:cNvSpPr>
            <a:spLocks noEditPoints="1"/>
          </p:cNvSpPr>
          <p:nvPr/>
        </p:nvSpPr>
        <p:spPr bwMode="gray">
          <a:xfrm>
            <a:off x="4610101" y="1978664"/>
            <a:ext cx="685799" cy="485505"/>
          </a:xfrm>
          <a:custGeom>
            <a:avLst/>
            <a:gdLst/>
            <a:ahLst/>
            <a:cxnLst>
              <a:cxn ang="0">
                <a:pos x="210" y="222"/>
              </a:cxn>
              <a:cxn ang="0">
                <a:pos x="184" y="289"/>
              </a:cxn>
              <a:cxn ang="0">
                <a:pos x="116" y="317"/>
              </a:cxn>
              <a:cxn ang="0">
                <a:pos x="33" y="278"/>
              </a:cxn>
              <a:cxn ang="0">
                <a:pos x="0" y="187"/>
              </a:cxn>
              <a:cxn ang="0">
                <a:pos x="57" y="55"/>
              </a:cxn>
              <a:cxn ang="0">
                <a:pos x="196" y="0"/>
              </a:cxn>
              <a:cxn ang="0">
                <a:pos x="198" y="15"/>
              </a:cxn>
              <a:cxn ang="0">
                <a:pos x="106" y="51"/>
              </a:cxn>
              <a:cxn ang="0">
                <a:pos x="64" y="131"/>
              </a:cxn>
              <a:cxn ang="0">
                <a:pos x="67" y="147"/>
              </a:cxn>
              <a:cxn ang="0">
                <a:pos x="75" y="152"/>
              </a:cxn>
              <a:cxn ang="0">
                <a:pos x="97" y="145"/>
              </a:cxn>
              <a:cxn ang="0">
                <a:pos x="123" y="138"/>
              </a:cxn>
              <a:cxn ang="0">
                <a:pos x="184" y="162"/>
              </a:cxn>
              <a:cxn ang="0">
                <a:pos x="210" y="222"/>
              </a:cxn>
              <a:cxn ang="0">
                <a:pos x="448" y="222"/>
              </a:cxn>
              <a:cxn ang="0">
                <a:pos x="422" y="289"/>
              </a:cxn>
              <a:cxn ang="0">
                <a:pos x="354" y="317"/>
              </a:cxn>
              <a:cxn ang="0">
                <a:pos x="270" y="278"/>
              </a:cxn>
              <a:cxn ang="0">
                <a:pos x="237" y="187"/>
              </a:cxn>
              <a:cxn ang="0">
                <a:pos x="295" y="55"/>
              </a:cxn>
              <a:cxn ang="0">
                <a:pos x="433" y="0"/>
              </a:cxn>
              <a:cxn ang="0">
                <a:pos x="435" y="15"/>
              </a:cxn>
              <a:cxn ang="0">
                <a:pos x="343" y="51"/>
              </a:cxn>
              <a:cxn ang="0">
                <a:pos x="302" y="131"/>
              </a:cxn>
              <a:cxn ang="0">
                <a:pos x="304" y="147"/>
              </a:cxn>
              <a:cxn ang="0">
                <a:pos x="312" y="152"/>
              </a:cxn>
              <a:cxn ang="0">
                <a:pos x="335" y="145"/>
              </a:cxn>
              <a:cxn ang="0">
                <a:pos x="360" y="138"/>
              </a:cxn>
              <a:cxn ang="0">
                <a:pos x="421" y="162"/>
              </a:cxn>
              <a:cxn ang="0">
                <a:pos x="448" y="222"/>
              </a:cxn>
            </a:cxnLst>
            <a:rect l="0" t="0" r="r" b="b"/>
            <a:pathLst>
              <a:path w="448" h="317">
                <a:moveTo>
                  <a:pt x="210" y="222"/>
                </a:moveTo>
                <a:cubicBezTo>
                  <a:pt x="210" y="249"/>
                  <a:pt x="201" y="271"/>
                  <a:pt x="184" y="289"/>
                </a:cubicBezTo>
                <a:cubicBezTo>
                  <a:pt x="167" y="307"/>
                  <a:pt x="144" y="317"/>
                  <a:pt x="116" y="317"/>
                </a:cubicBezTo>
                <a:cubicBezTo>
                  <a:pt x="82" y="317"/>
                  <a:pt x="54" y="304"/>
                  <a:pt x="33" y="278"/>
                </a:cubicBezTo>
                <a:cubicBezTo>
                  <a:pt x="11" y="253"/>
                  <a:pt x="0" y="223"/>
                  <a:pt x="0" y="187"/>
                </a:cubicBezTo>
                <a:cubicBezTo>
                  <a:pt x="0" y="136"/>
                  <a:pt x="19" y="92"/>
                  <a:pt x="57" y="55"/>
                </a:cubicBezTo>
                <a:cubicBezTo>
                  <a:pt x="95" y="18"/>
                  <a:pt x="141" y="0"/>
                  <a:pt x="196" y="0"/>
                </a:cubicBezTo>
                <a:cubicBezTo>
                  <a:pt x="198" y="15"/>
                  <a:pt x="198" y="15"/>
                  <a:pt x="198" y="15"/>
                </a:cubicBezTo>
                <a:cubicBezTo>
                  <a:pt x="164" y="15"/>
                  <a:pt x="134" y="27"/>
                  <a:pt x="106" y="51"/>
                </a:cubicBezTo>
                <a:cubicBezTo>
                  <a:pt x="78" y="74"/>
                  <a:pt x="64" y="101"/>
                  <a:pt x="64" y="131"/>
                </a:cubicBezTo>
                <a:cubicBezTo>
                  <a:pt x="64" y="138"/>
                  <a:pt x="65" y="143"/>
                  <a:pt x="67" y="147"/>
                </a:cubicBezTo>
                <a:cubicBezTo>
                  <a:pt x="69" y="150"/>
                  <a:pt x="71" y="152"/>
                  <a:pt x="75" y="152"/>
                </a:cubicBezTo>
                <a:cubicBezTo>
                  <a:pt x="80" y="152"/>
                  <a:pt x="87" y="150"/>
                  <a:pt x="97" y="145"/>
                </a:cubicBezTo>
                <a:cubicBezTo>
                  <a:pt x="107" y="141"/>
                  <a:pt x="116" y="138"/>
                  <a:pt x="123" y="138"/>
                </a:cubicBezTo>
                <a:cubicBezTo>
                  <a:pt x="146" y="138"/>
                  <a:pt x="166" y="146"/>
                  <a:pt x="184" y="162"/>
                </a:cubicBezTo>
                <a:cubicBezTo>
                  <a:pt x="201" y="177"/>
                  <a:pt x="210" y="197"/>
                  <a:pt x="210" y="222"/>
                </a:cubicBezTo>
                <a:close/>
                <a:moveTo>
                  <a:pt x="448" y="222"/>
                </a:moveTo>
                <a:cubicBezTo>
                  <a:pt x="448" y="249"/>
                  <a:pt x="439" y="271"/>
                  <a:pt x="422" y="289"/>
                </a:cubicBezTo>
                <a:cubicBezTo>
                  <a:pt x="404" y="307"/>
                  <a:pt x="382" y="317"/>
                  <a:pt x="354" y="317"/>
                </a:cubicBezTo>
                <a:cubicBezTo>
                  <a:pt x="320" y="317"/>
                  <a:pt x="292" y="304"/>
                  <a:pt x="270" y="278"/>
                </a:cubicBezTo>
                <a:cubicBezTo>
                  <a:pt x="248" y="253"/>
                  <a:pt x="237" y="223"/>
                  <a:pt x="237" y="187"/>
                </a:cubicBezTo>
                <a:cubicBezTo>
                  <a:pt x="237" y="136"/>
                  <a:pt x="256" y="92"/>
                  <a:pt x="295" y="55"/>
                </a:cubicBezTo>
                <a:cubicBezTo>
                  <a:pt x="333" y="18"/>
                  <a:pt x="379" y="0"/>
                  <a:pt x="433" y="0"/>
                </a:cubicBezTo>
                <a:cubicBezTo>
                  <a:pt x="435" y="15"/>
                  <a:pt x="435" y="15"/>
                  <a:pt x="435" y="15"/>
                </a:cubicBezTo>
                <a:cubicBezTo>
                  <a:pt x="402" y="15"/>
                  <a:pt x="371" y="27"/>
                  <a:pt x="343" y="51"/>
                </a:cubicBezTo>
                <a:cubicBezTo>
                  <a:pt x="316" y="74"/>
                  <a:pt x="302" y="101"/>
                  <a:pt x="302" y="131"/>
                </a:cubicBezTo>
                <a:cubicBezTo>
                  <a:pt x="302" y="138"/>
                  <a:pt x="303" y="143"/>
                  <a:pt x="304" y="147"/>
                </a:cubicBezTo>
                <a:cubicBezTo>
                  <a:pt x="306" y="150"/>
                  <a:pt x="309" y="152"/>
                  <a:pt x="312" y="152"/>
                </a:cubicBezTo>
                <a:cubicBezTo>
                  <a:pt x="317" y="152"/>
                  <a:pt x="325" y="150"/>
                  <a:pt x="335" y="145"/>
                </a:cubicBezTo>
                <a:cubicBezTo>
                  <a:pt x="345" y="141"/>
                  <a:pt x="353" y="138"/>
                  <a:pt x="360" y="138"/>
                </a:cubicBezTo>
                <a:cubicBezTo>
                  <a:pt x="383" y="138"/>
                  <a:pt x="403" y="146"/>
                  <a:pt x="421" y="162"/>
                </a:cubicBezTo>
                <a:cubicBezTo>
                  <a:pt x="439" y="177"/>
                  <a:pt x="448" y="197"/>
                  <a:pt x="448" y="22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de-DE" noProof="1"/>
          </a:p>
        </p:txBody>
      </p:sp>
      <p:sp>
        <p:nvSpPr>
          <p:cNvPr id="12" name="Freeform 6"/>
          <p:cNvSpPr>
            <a:spLocks noEditPoints="1"/>
          </p:cNvSpPr>
          <p:nvPr/>
        </p:nvSpPr>
        <p:spPr bwMode="gray">
          <a:xfrm rot="10800000">
            <a:off x="4610101" y="4393832"/>
            <a:ext cx="685799" cy="485505"/>
          </a:xfrm>
          <a:custGeom>
            <a:avLst/>
            <a:gdLst/>
            <a:ahLst/>
            <a:cxnLst>
              <a:cxn ang="0">
                <a:pos x="210" y="222"/>
              </a:cxn>
              <a:cxn ang="0">
                <a:pos x="184" y="289"/>
              </a:cxn>
              <a:cxn ang="0">
                <a:pos x="116" y="317"/>
              </a:cxn>
              <a:cxn ang="0">
                <a:pos x="33" y="278"/>
              </a:cxn>
              <a:cxn ang="0">
                <a:pos x="0" y="187"/>
              </a:cxn>
              <a:cxn ang="0">
                <a:pos x="57" y="55"/>
              </a:cxn>
              <a:cxn ang="0">
                <a:pos x="196" y="0"/>
              </a:cxn>
              <a:cxn ang="0">
                <a:pos x="198" y="15"/>
              </a:cxn>
              <a:cxn ang="0">
                <a:pos x="106" y="51"/>
              </a:cxn>
              <a:cxn ang="0">
                <a:pos x="64" y="131"/>
              </a:cxn>
              <a:cxn ang="0">
                <a:pos x="67" y="147"/>
              </a:cxn>
              <a:cxn ang="0">
                <a:pos x="75" y="152"/>
              </a:cxn>
              <a:cxn ang="0">
                <a:pos x="97" y="145"/>
              </a:cxn>
              <a:cxn ang="0">
                <a:pos x="123" y="138"/>
              </a:cxn>
              <a:cxn ang="0">
                <a:pos x="184" y="162"/>
              </a:cxn>
              <a:cxn ang="0">
                <a:pos x="210" y="222"/>
              </a:cxn>
              <a:cxn ang="0">
                <a:pos x="448" y="222"/>
              </a:cxn>
              <a:cxn ang="0">
                <a:pos x="422" y="289"/>
              </a:cxn>
              <a:cxn ang="0">
                <a:pos x="354" y="317"/>
              </a:cxn>
              <a:cxn ang="0">
                <a:pos x="270" y="278"/>
              </a:cxn>
              <a:cxn ang="0">
                <a:pos x="237" y="187"/>
              </a:cxn>
              <a:cxn ang="0">
                <a:pos x="295" y="55"/>
              </a:cxn>
              <a:cxn ang="0">
                <a:pos x="433" y="0"/>
              </a:cxn>
              <a:cxn ang="0">
                <a:pos x="435" y="15"/>
              </a:cxn>
              <a:cxn ang="0">
                <a:pos x="343" y="51"/>
              </a:cxn>
              <a:cxn ang="0">
                <a:pos x="302" y="131"/>
              </a:cxn>
              <a:cxn ang="0">
                <a:pos x="304" y="147"/>
              </a:cxn>
              <a:cxn ang="0">
                <a:pos x="312" y="152"/>
              </a:cxn>
              <a:cxn ang="0">
                <a:pos x="335" y="145"/>
              </a:cxn>
              <a:cxn ang="0">
                <a:pos x="360" y="138"/>
              </a:cxn>
              <a:cxn ang="0">
                <a:pos x="421" y="162"/>
              </a:cxn>
              <a:cxn ang="0">
                <a:pos x="448" y="222"/>
              </a:cxn>
            </a:cxnLst>
            <a:rect l="0" t="0" r="r" b="b"/>
            <a:pathLst>
              <a:path w="448" h="317">
                <a:moveTo>
                  <a:pt x="210" y="222"/>
                </a:moveTo>
                <a:cubicBezTo>
                  <a:pt x="210" y="249"/>
                  <a:pt x="201" y="271"/>
                  <a:pt x="184" y="289"/>
                </a:cubicBezTo>
                <a:cubicBezTo>
                  <a:pt x="167" y="307"/>
                  <a:pt x="144" y="317"/>
                  <a:pt x="116" y="317"/>
                </a:cubicBezTo>
                <a:cubicBezTo>
                  <a:pt x="82" y="317"/>
                  <a:pt x="54" y="304"/>
                  <a:pt x="33" y="278"/>
                </a:cubicBezTo>
                <a:cubicBezTo>
                  <a:pt x="11" y="253"/>
                  <a:pt x="0" y="223"/>
                  <a:pt x="0" y="187"/>
                </a:cubicBezTo>
                <a:cubicBezTo>
                  <a:pt x="0" y="136"/>
                  <a:pt x="19" y="92"/>
                  <a:pt x="57" y="55"/>
                </a:cubicBezTo>
                <a:cubicBezTo>
                  <a:pt x="95" y="18"/>
                  <a:pt x="141" y="0"/>
                  <a:pt x="196" y="0"/>
                </a:cubicBezTo>
                <a:cubicBezTo>
                  <a:pt x="198" y="15"/>
                  <a:pt x="198" y="15"/>
                  <a:pt x="198" y="15"/>
                </a:cubicBezTo>
                <a:cubicBezTo>
                  <a:pt x="164" y="15"/>
                  <a:pt x="134" y="27"/>
                  <a:pt x="106" y="51"/>
                </a:cubicBezTo>
                <a:cubicBezTo>
                  <a:pt x="78" y="74"/>
                  <a:pt x="64" y="101"/>
                  <a:pt x="64" y="131"/>
                </a:cubicBezTo>
                <a:cubicBezTo>
                  <a:pt x="64" y="138"/>
                  <a:pt x="65" y="143"/>
                  <a:pt x="67" y="147"/>
                </a:cubicBezTo>
                <a:cubicBezTo>
                  <a:pt x="69" y="150"/>
                  <a:pt x="71" y="152"/>
                  <a:pt x="75" y="152"/>
                </a:cubicBezTo>
                <a:cubicBezTo>
                  <a:pt x="80" y="152"/>
                  <a:pt x="87" y="150"/>
                  <a:pt x="97" y="145"/>
                </a:cubicBezTo>
                <a:cubicBezTo>
                  <a:pt x="107" y="141"/>
                  <a:pt x="116" y="138"/>
                  <a:pt x="123" y="138"/>
                </a:cubicBezTo>
                <a:cubicBezTo>
                  <a:pt x="146" y="138"/>
                  <a:pt x="166" y="146"/>
                  <a:pt x="184" y="162"/>
                </a:cubicBezTo>
                <a:cubicBezTo>
                  <a:pt x="201" y="177"/>
                  <a:pt x="210" y="197"/>
                  <a:pt x="210" y="222"/>
                </a:cubicBezTo>
                <a:close/>
                <a:moveTo>
                  <a:pt x="448" y="222"/>
                </a:moveTo>
                <a:cubicBezTo>
                  <a:pt x="448" y="249"/>
                  <a:pt x="439" y="271"/>
                  <a:pt x="422" y="289"/>
                </a:cubicBezTo>
                <a:cubicBezTo>
                  <a:pt x="404" y="307"/>
                  <a:pt x="382" y="317"/>
                  <a:pt x="354" y="317"/>
                </a:cubicBezTo>
                <a:cubicBezTo>
                  <a:pt x="320" y="317"/>
                  <a:pt x="292" y="304"/>
                  <a:pt x="270" y="278"/>
                </a:cubicBezTo>
                <a:cubicBezTo>
                  <a:pt x="248" y="253"/>
                  <a:pt x="237" y="223"/>
                  <a:pt x="237" y="187"/>
                </a:cubicBezTo>
                <a:cubicBezTo>
                  <a:pt x="237" y="136"/>
                  <a:pt x="256" y="92"/>
                  <a:pt x="295" y="55"/>
                </a:cubicBezTo>
                <a:cubicBezTo>
                  <a:pt x="333" y="18"/>
                  <a:pt x="379" y="0"/>
                  <a:pt x="433" y="0"/>
                </a:cubicBezTo>
                <a:cubicBezTo>
                  <a:pt x="435" y="15"/>
                  <a:pt x="435" y="15"/>
                  <a:pt x="435" y="15"/>
                </a:cubicBezTo>
                <a:cubicBezTo>
                  <a:pt x="402" y="15"/>
                  <a:pt x="371" y="27"/>
                  <a:pt x="343" y="51"/>
                </a:cubicBezTo>
                <a:cubicBezTo>
                  <a:pt x="316" y="74"/>
                  <a:pt x="302" y="101"/>
                  <a:pt x="302" y="131"/>
                </a:cubicBezTo>
                <a:cubicBezTo>
                  <a:pt x="302" y="138"/>
                  <a:pt x="303" y="143"/>
                  <a:pt x="304" y="147"/>
                </a:cubicBezTo>
                <a:cubicBezTo>
                  <a:pt x="306" y="150"/>
                  <a:pt x="309" y="152"/>
                  <a:pt x="312" y="152"/>
                </a:cubicBezTo>
                <a:cubicBezTo>
                  <a:pt x="317" y="152"/>
                  <a:pt x="325" y="150"/>
                  <a:pt x="335" y="145"/>
                </a:cubicBezTo>
                <a:cubicBezTo>
                  <a:pt x="345" y="141"/>
                  <a:pt x="353" y="138"/>
                  <a:pt x="360" y="138"/>
                </a:cubicBezTo>
                <a:cubicBezTo>
                  <a:pt x="383" y="138"/>
                  <a:pt x="403" y="146"/>
                  <a:pt x="421" y="162"/>
                </a:cubicBezTo>
                <a:cubicBezTo>
                  <a:pt x="439" y="177"/>
                  <a:pt x="448" y="197"/>
                  <a:pt x="448" y="22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de-DE" noProof="1"/>
          </a:p>
        </p:txBody>
      </p:sp>
    </p:spTree>
    <p:extLst>
      <p:ext uri="{BB962C8B-B14F-4D97-AF65-F5344CB8AC3E}">
        <p14:creationId xmlns:p14="http://schemas.microsoft.com/office/powerpoint/2010/main" val="13433727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117585E-685E-47C1-9E44-FFB217E65C8E}"/>
              </a:ext>
            </a:extLst>
          </p:cNvPr>
          <p:cNvGraphicFramePr>
            <a:graphicFrameLocks noChangeAspect="1"/>
          </p:cNvGraphicFramePr>
          <p:nvPr>
            <p:custDataLst>
              <p:tags r:id="rId2"/>
            </p:custDataLst>
            <p:extLst>
              <p:ext uri="{D42A27DB-BD31-4B8C-83A1-F6EECF244321}">
                <p14:modId xmlns:p14="http://schemas.microsoft.com/office/powerpoint/2010/main" val="3660814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Folie" r:id="rId4" imgW="425" imgH="426" progId="TCLayout.ActiveDocument.1">
                  <p:embed/>
                </p:oleObj>
              </mc:Choice>
              <mc:Fallback>
                <p:oleObj name="think-cell Folie" r:id="rId4" imgW="425" imgH="426" progId="TCLayout.ActiveDocument.1">
                  <p:embed/>
                  <p:pic>
                    <p:nvPicPr>
                      <p:cNvPr id="3" name="Objekt 2" hidden="1">
                        <a:extLst>
                          <a:ext uri="{FF2B5EF4-FFF2-40B4-BE49-F238E27FC236}">
                            <a16:creationId xmlns:a16="http://schemas.microsoft.com/office/drawing/2014/main" id="{0117585E-685E-47C1-9E44-FFB217E65C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1193C0B-71C1-4670-862D-D5F6FDC93AAE}"/>
              </a:ext>
            </a:extLst>
          </p:cNvPr>
          <p:cNvSpPr>
            <a:spLocks noGrp="1"/>
          </p:cNvSpPr>
          <p:nvPr>
            <p:ph type="title"/>
          </p:nvPr>
        </p:nvSpPr>
        <p:spPr/>
        <p:txBody>
          <a:bodyPr/>
          <a:lstStyle/>
          <a:p>
            <a:r>
              <a:rPr lang="de-DE" dirty="0"/>
              <a:t>Elemente</a:t>
            </a:r>
          </a:p>
        </p:txBody>
      </p:sp>
    </p:spTree>
    <p:extLst>
      <p:ext uri="{BB962C8B-B14F-4D97-AF65-F5344CB8AC3E}">
        <p14:creationId xmlns:p14="http://schemas.microsoft.com/office/powerpoint/2010/main" val="3631056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orlage: Textplatzhalter mit </a:t>
            </a:r>
            <a:r>
              <a:rPr lang="de-DE" dirty="0" err="1"/>
              <a:t>Bullets</a:t>
            </a:r>
            <a:endParaRPr lang="de-DE" dirty="0"/>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dirty="0"/>
          </a:p>
        </p:txBody>
      </p:sp>
      <p:sp>
        <p:nvSpPr>
          <p:cNvPr id="5" name="Datumsplatzhalter 4"/>
          <p:cNvSpPr>
            <a:spLocks noGrp="1"/>
          </p:cNvSpPr>
          <p:nvPr>
            <p:ph type="dt" sz="half" idx="2"/>
          </p:nvPr>
        </p:nvSpPr>
        <p:spPr/>
        <p:txBody>
          <a:bodyPr/>
          <a:lstStyle/>
          <a:p>
            <a:fld id="{776F5112-3A7A-4644-88B9-249CB6D9E29C}"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6</a:t>
            </a:fld>
            <a:endParaRPr lang="de-DE" dirty="0"/>
          </a:p>
        </p:txBody>
      </p:sp>
      <p:sp>
        <p:nvSpPr>
          <p:cNvPr id="8" name="Text Placeholder 2"/>
          <p:cNvSpPr txBox="1">
            <a:spLocks/>
          </p:cNvSpPr>
          <p:nvPr/>
        </p:nvSpPr>
        <p:spPr>
          <a:xfrm>
            <a:off x="867868" y="2840404"/>
            <a:ext cx="2840169" cy="147413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2pPr>
            <a:lvl3pPr marL="182563" indent="-182563"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58775" indent="-1778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Tx/>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Mastertextformat bearbeiten</a:t>
            </a:r>
          </a:p>
          <a:p>
            <a:pPr lvl="2"/>
            <a:r>
              <a:rPr lang="de-DE" dirty="0"/>
              <a:t>Zweite Ebene</a:t>
            </a:r>
          </a:p>
          <a:p>
            <a:pPr lvl="3"/>
            <a:r>
              <a:rPr lang="de-DE" dirty="0"/>
              <a:t>Dritte Ebene</a:t>
            </a:r>
          </a:p>
        </p:txBody>
      </p:sp>
      <p:sp>
        <p:nvSpPr>
          <p:cNvPr id="9" name="Rechteck 8"/>
          <p:cNvSpPr/>
          <p:nvPr/>
        </p:nvSpPr>
        <p:spPr>
          <a:xfrm>
            <a:off x="4520952" y="1633597"/>
            <a:ext cx="5123448" cy="4603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r>
              <a:rPr lang="de-DE" dirty="0">
                <a:solidFill>
                  <a:schemeClr val="bg2"/>
                </a:solidFill>
              </a:rPr>
              <a:t>Für Texte mit </a:t>
            </a:r>
            <a:r>
              <a:rPr lang="de-DE" dirty="0" err="1">
                <a:solidFill>
                  <a:schemeClr val="bg2"/>
                </a:solidFill>
              </a:rPr>
              <a:t>Bulletaufzählung</a:t>
            </a:r>
            <a:r>
              <a:rPr lang="de-DE" dirty="0">
                <a:solidFill>
                  <a:schemeClr val="bg2"/>
                </a:solidFill>
              </a:rPr>
              <a:t> diesen Textkasten links als Baustein nutzen. Hier passen sich die </a:t>
            </a:r>
            <a:r>
              <a:rPr lang="de-DE" dirty="0" err="1">
                <a:solidFill>
                  <a:schemeClr val="bg2"/>
                </a:solidFill>
              </a:rPr>
              <a:t>Bullets</a:t>
            </a:r>
            <a:r>
              <a:rPr lang="de-DE" dirty="0">
                <a:solidFill>
                  <a:schemeClr val="bg2"/>
                </a:solidFill>
              </a:rPr>
              <a:t> je nach Einzug automatisch an und müssen nicht per Hand eingefügt oder verschoben werden:</a:t>
            </a:r>
          </a:p>
          <a:p>
            <a:endParaRPr lang="de-DE" dirty="0">
              <a:solidFill>
                <a:schemeClr val="bg2"/>
              </a:solidFill>
            </a:endParaRPr>
          </a:p>
          <a:p>
            <a:r>
              <a:rPr lang="de-DE" dirty="0">
                <a:solidFill>
                  <a:schemeClr val="bg2"/>
                </a:solidFill>
              </a:rPr>
              <a:t>Listenebene verringern: </a:t>
            </a:r>
          </a:p>
          <a:p>
            <a:pPr>
              <a:spcBef>
                <a:spcPts val="300"/>
              </a:spcBef>
            </a:pPr>
            <a:r>
              <a:rPr lang="de-DE" dirty="0">
                <a:solidFill>
                  <a:schemeClr val="bg2"/>
                </a:solidFill>
              </a:rPr>
              <a:t>Listenebene erhöhen:</a:t>
            </a:r>
          </a:p>
          <a:p>
            <a:endParaRPr lang="de-DE" dirty="0">
              <a:solidFill>
                <a:schemeClr val="bg2"/>
              </a:solidFill>
            </a:endParaRPr>
          </a:p>
          <a:p>
            <a:endParaRPr lang="de-DE" dirty="0">
              <a:solidFill>
                <a:schemeClr val="bg2"/>
              </a:solidFill>
            </a:endParaRPr>
          </a:p>
        </p:txBody>
      </p:sp>
      <p:pic>
        <p:nvPicPr>
          <p:cNvPr id="10" name="Picture 3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7113240" y="3110170"/>
            <a:ext cx="2231170" cy="995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hteck 15"/>
          <p:cNvSpPr/>
          <p:nvPr>
            <p:custDataLst>
              <p:tags r:id="rId1"/>
            </p:custDataLst>
          </p:nvPr>
        </p:nvSpPr>
        <p:spPr bwMode="gray">
          <a:xfrm>
            <a:off x="7999065" y="3200287"/>
            <a:ext cx="288032" cy="280458"/>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winkelte Verbindung 21"/>
          <p:cNvCxnSpPr/>
          <p:nvPr>
            <p:custDataLst>
              <p:tags r:id="rId2"/>
            </p:custDataLst>
          </p:nvPr>
        </p:nvCxnSpPr>
        <p:spPr bwMode="gray">
          <a:xfrm flipV="1">
            <a:off x="6753200" y="3340516"/>
            <a:ext cx="1260000" cy="2115"/>
          </a:xfrm>
          <a:prstGeom prst="bentConnector3">
            <a:avLst>
              <a:gd name="adj1" fmla="val 50000"/>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Rechteck 19"/>
          <p:cNvSpPr/>
          <p:nvPr>
            <p:custDataLst>
              <p:tags r:id="rId3"/>
            </p:custDataLst>
          </p:nvPr>
        </p:nvSpPr>
        <p:spPr bwMode="gray">
          <a:xfrm>
            <a:off x="8283441" y="3200287"/>
            <a:ext cx="269691" cy="280458"/>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 name="Gewinkelte Verbindung 21"/>
          <p:cNvCxnSpPr>
            <a:endCxn id="13" idx="2"/>
          </p:cNvCxnSpPr>
          <p:nvPr>
            <p:custDataLst>
              <p:tags r:id="rId4"/>
            </p:custDataLst>
          </p:nvPr>
        </p:nvCxnSpPr>
        <p:spPr bwMode="gray">
          <a:xfrm flipV="1">
            <a:off x="6544798" y="3480745"/>
            <a:ext cx="1873489" cy="193454"/>
          </a:xfrm>
          <a:prstGeom prst="bentConnector2">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273050" y="1633597"/>
            <a:ext cx="3947912" cy="460369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r>
              <a:rPr lang="de-DE" dirty="0">
                <a:solidFill>
                  <a:schemeClr val="bg2"/>
                </a:solidFill>
              </a:rPr>
              <a:t>Textkasten mit </a:t>
            </a:r>
            <a:r>
              <a:rPr lang="de-DE" dirty="0" err="1">
                <a:solidFill>
                  <a:schemeClr val="bg2"/>
                </a:solidFill>
              </a:rPr>
              <a:t>Bullets</a:t>
            </a:r>
            <a:r>
              <a:rPr lang="de-DE" dirty="0">
                <a:solidFill>
                  <a:schemeClr val="bg2"/>
                </a:solidFill>
              </a:rPr>
              <a:t>:</a:t>
            </a:r>
          </a:p>
        </p:txBody>
      </p:sp>
    </p:spTree>
    <p:extLst>
      <p:ext uri="{BB962C8B-B14F-4D97-AF65-F5344CB8AC3E}">
        <p14:creationId xmlns:p14="http://schemas.microsoft.com/office/powerpoint/2010/main" val="3425906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lemente (1/2)</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E2777B88-B287-468F-A090-D62495AA53B4}"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7</a:t>
            </a:fld>
            <a:endParaRPr lang="de-DE" dirty="0"/>
          </a:p>
        </p:txBody>
      </p:sp>
      <p:sp>
        <p:nvSpPr>
          <p:cNvPr id="7" name="ElementNumbers1"/>
          <p:cNvSpPr/>
          <p:nvPr>
            <p:custDataLst>
              <p:tags r:id="rId1"/>
            </p:custDataLst>
          </p:nvPr>
        </p:nvSpPr>
        <p:spPr bwMode="gray">
          <a:xfrm>
            <a:off x="284400" y="1657113"/>
            <a:ext cx="354417" cy="354417"/>
          </a:xfrm>
          <a:prstGeom prst="ellipse">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1</a:t>
            </a:r>
          </a:p>
        </p:txBody>
      </p:sp>
      <p:sp>
        <p:nvSpPr>
          <p:cNvPr id="8" name="ElementNumbers1"/>
          <p:cNvSpPr/>
          <p:nvPr>
            <p:custDataLst>
              <p:tags r:id="rId2"/>
            </p:custDataLst>
          </p:nvPr>
        </p:nvSpPr>
        <p:spPr bwMode="gray">
          <a:xfrm>
            <a:off x="718443" y="1657113"/>
            <a:ext cx="354417" cy="354417"/>
          </a:xfrm>
          <a:prstGeom prst="ellipse">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2</a:t>
            </a:r>
          </a:p>
        </p:txBody>
      </p:sp>
      <p:sp>
        <p:nvSpPr>
          <p:cNvPr id="9" name="ElementNumbers1"/>
          <p:cNvSpPr/>
          <p:nvPr>
            <p:custDataLst>
              <p:tags r:id="rId3"/>
            </p:custDataLst>
          </p:nvPr>
        </p:nvSpPr>
        <p:spPr bwMode="gray">
          <a:xfrm>
            <a:off x="1143744" y="1657113"/>
            <a:ext cx="354417" cy="354417"/>
          </a:xfrm>
          <a:prstGeom prst="ellipse">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3</a:t>
            </a:r>
          </a:p>
        </p:txBody>
      </p:sp>
      <p:sp>
        <p:nvSpPr>
          <p:cNvPr id="10" name="ElementNumbers1"/>
          <p:cNvSpPr/>
          <p:nvPr>
            <p:custDataLst>
              <p:tags r:id="rId4"/>
            </p:custDataLst>
          </p:nvPr>
        </p:nvSpPr>
        <p:spPr bwMode="gray">
          <a:xfrm>
            <a:off x="1569045" y="1657113"/>
            <a:ext cx="354417" cy="354417"/>
          </a:xfrm>
          <a:prstGeom prst="ellipse">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4</a:t>
            </a:r>
          </a:p>
        </p:txBody>
      </p:sp>
      <p:sp>
        <p:nvSpPr>
          <p:cNvPr id="11" name="ElementNumbers1"/>
          <p:cNvSpPr/>
          <p:nvPr>
            <p:custDataLst>
              <p:tags r:id="rId5"/>
            </p:custDataLst>
          </p:nvPr>
        </p:nvSpPr>
        <p:spPr bwMode="gray">
          <a:xfrm>
            <a:off x="284400" y="2153352"/>
            <a:ext cx="354417" cy="354417"/>
          </a:xfrm>
          <a:prstGeom prst="rect">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1</a:t>
            </a:r>
          </a:p>
        </p:txBody>
      </p:sp>
      <p:sp>
        <p:nvSpPr>
          <p:cNvPr id="12" name="ElementNumbers1"/>
          <p:cNvSpPr/>
          <p:nvPr>
            <p:custDataLst>
              <p:tags r:id="rId6"/>
            </p:custDataLst>
          </p:nvPr>
        </p:nvSpPr>
        <p:spPr bwMode="gray">
          <a:xfrm>
            <a:off x="718443" y="2153352"/>
            <a:ext cx="354417" cy="354417"/>
          </a:xfrm>
          <a:prstGeom prst="rect">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2</a:t>
            </a:r>
          </a:p>
        </p:txBody>
      </p:sp>
      <p:sp>
        <p:nvSpPr>
          <p:cNvPr id="13" name="ElementNumbers1"/>
          <p:cNvSpPr/>
          <p:nvPr>
            <p:custDataLst>
              <p:tags r:id="rId7"/>
            </p:custDataLst>
          </p:nvPr>
        </p:nvSpPr>
        <p:spPr bwMode="gray">
          <a:xfrm>
            <a:off x="1143744" y="2153352"/>
            <a:ext cx="354417" cy="354417"/>
          </a:xfrm>
          <a:prstGeom prst="rect">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3</a:t>
            </a:r>
          </a:p>
        </p:txBody>
      </p:sp>
      <p:sp>
        <p:nvSpPr>
          <p:cNvPr id="14" name="ElementNumbers1"/>
          <p:cNvSpPr/>
          <p:nvPr>
            <p:custDataLst>
              <p:tags r:id="rId8"/>
            </p:custDataLst>
          </p:nvPr>
        </p:nvSpPr>
        <p:spPr bwMode="gray">
          <a:xfrm>
            <a:off x="1569045" y="2153352"/>
            <a:ext cx="354417" cy="354417"/>
          </a:xfrm>
          <a:prstGeom prst="rect">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2"/>
                </a:solidFill>
                <a:cs typeface="Arial" pitchFamily="34" charset="0"/>
              </a:rPr>
              <a:t>4</a:t>
            </a:r>
          </a:p>
        </p:txBody>
      </p:sp>
      <p:sp>
        <p:nvSpPr>
          <p:cNvPr id="16" name="ElementNumbers1"/>
          <p:cNvSpPr/>
          <p:nvPr>
            <p:custDataLst>
              <p:tags r:id="rId9"/>
            </p:custDataLst>
          </p:nvPr>
        </p:nvSpPr>
        <p:spPr bwMode="gray">
          <a:xfrm>
            <a:off x="2295085" y="1647258"/>
            <a:ext cx="354417" cy="354417"/>
          </a:xfrm>
          <a:prstGeom prst="ellipse">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1</a:t>
            </a:r>
          </a:p>
        </p:txBody>
      </p:sp>
      <p:sp>
        <p:nvSpPr>
          <p:cNvPr id="17" name="ElementNumbers1"/>
          <p:cNvSpPr/>
          <p:nvPr>
            <p:custDataLst>
              <p:tags r:id="rId10"/>
            </p:custDataLst>
          </p:nvPr>
        </p:nvSpPr>
        <p:spPr bwMode="gray">
          <a:xfrm>
            <a:off x="2720386" y="1647258"/>
            <a:ext cx="354417" cy="354417"/>
          </a:xfrm>
          <a:prstGeom prst="ellipse">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2</a:t>
            </a:r>
          </a:p>
        </p:txBody>
      </p:sp>
      <p:sp>
        <p:nvSpPr>
          <p:cNvPr id="18" name="ElementNumbers1"/>
          <p:cNvSpPr/>
          <p:nvPr>
            <p:custDataLst>
              <p:tags r:id="rId11"/>
            </p:custDataLst>
          </p:nvPr>
        </p:nvSpPr>
        <p:spPr bwMode="gray">
          <a:xfrm>
            <a:off x="3145686" y="1647258"/>
            <a:ext cx="354417" cy="354417"/>
          </a:xfrm>
          <a:prstGeom prst="ellipse">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3</a:t>
            </a:r>
          </a:p>
        </p:txBody>
      </p:sp>
      <p:sp>
        <p:nvSpPr>
          <p:cNvPr id="19" name="ElementNumbers1"/>
          <p:cNvSpPr/>
          <p:nvPr>
            <p:custDataLst>
              <p:tags r:id="rId12"/>
            </p:custDataLst>
          </p:nvPr>
        </p:nvSpPr>
        <p:spPr bwMode="gray">
          <a:xfrm>
            <a:off x="3570987" y="1647258"/>
            <a:ext cx="354417" cy="354417"/>
          </a:xfrm>
          <a:prstGeom prst="ellipse">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4</a:t>
            </a:r>
          </a:p>
        </p:txBody>
      </p:sp>
      <p:sp>
        <p:nvSpPr>
          <p:cNvPr id="20" name="ElementNumbers1"/>
          <p:cNvSpPr/>
          <p:nvPr>
            <p:custDataLst>
              <p:tags r:id="rId13"/>
            </p:custDataLst>
          </p:nvPr>
        </p:nvSpPr>
        <p:spPr bwMode="gray">
          <a:xfrm>
            <a:off x="2295085" y="2143497"/>
            <a:ext cx="354417" cy="354417"/>
          </a:xfrm>
          <a:prstGeom prst="rect">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1</a:t>
            </a:r>
          </a:p>
        </p:txBody>
      </p:sp>
      <p:sp>
        <p:nvSpPr>
          <p:cNvPr id="21" name="ElementNumbers1"/>
          <p:cNvSpPr/>
          <p:nvPr>
            <p:custDataLst>
              <p:tags r:id="rId14"/>
            </p:custDataLst>
          </p:nvPr>
        </p:nvSpPr>
        <p:spPr bwMode="gray">
          <a:xfrm>
            <a:off x="2720386" y="2143497"/>
            <a:ext cx="354417" cy="354417"/>
          </a:xfrm>
          <a:prstGeom prst="rect">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2</a:t>
            </a:r>
          </a:p>
        </p:txBody>
      </p:sp>
      <p:sp>
        <p:nvSpPr>
          <p:cNvPr id="22" name="ElementNumbers1"/>
          <p:cNvSpPr/>
          <p:nvPr>
            <p:custDataLst>
              <p:tags r:id="rId15"/>
            </p:custDataLst>
          </p:nvPr>
        </p:nvSpPr>
        <p:spPr bwMode="gray">
          <a:xfrm>
            <a:off x="3145686" y="2143497"/>
            <a:ext cx="354417" cy="354417"/>
          </a:xfrm>
          <a:prstGeom prst="rect">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3</a:t>
            </a:r>
          </a:p>
        </p:txBody>
      </p:sp>
      <p:sp>
        <p:nvSpPr>
          <p:cNvPr id="23" name="ElementNumbers1"/>
          <p:cNvSpPr/>
          <p:nvPr>
            <p:custDataLst>
              <p:tags r:id="rId16"/>
            </p:custDataLst>
          </p:nvPr>
        </p:nvSpPr>
        <p:spPr bwMode="gray">
          <a:xfrm>
            <a:off x="3570987" y="2143497"/>
            <a:ext cx="354417" cy="354417"/>
          </a:xfrm>
          <a:prstGeom prst="rect">
            <a:avLst/>
          </a:prstGeom>
          <a:solidFill>
            <a:schemeClr val="accent3"/>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4</a:t>
            </a:r>
          </a:p>
        </p:txBody>
      </p:sp>
      <p:sp>
        <p:nvSpPr>
          <p:cNvPr id="31" name="ElementNumbers1"/>
          <p:cNvSpPr/>
          <p:nvPr>
            <p:custDataLst>
              <p:tags r:id="rId17"/>
            </p:custDataLst>
          </p:nvPr>
        </p:nvSpPr>
        <p:spPr bwMode="gray">
          <a:xfrm>
            <a:off x="4247008" y="1629941"/>
            <a:ext cx="354417" cy="354417"/>
          </a:xfrm>
          <a:prstGeom prst="ellipse">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1</a:t>
            </a:r>
          </a:p>
        </p:txBody>
      </p:sp>
      <p:sp>
        <p:nvSpPr>
          <p:cNvPr id="32" name="ElementNumbers1"/>
          <p:cNvSpPr/>
          <p:nvPr>
            <p:custDataLst>
              <p:tags r:id="rId18"/>
            </p:custDataLst>
          </p:nvPr>
        </p:nvSpPr>
        <p:spPr bwMode="gray">
          <a:xfrm>
            <a:off x="4672308" y="1629941"/>
            <a:ext cx="354417" cy="354417"/>
          </a:xfrm>
          <a:prstGeom prst="ellipse">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2</a:t>
            </a:r>
          </a:p>
        </p:txBody>
      </p:sp>
      <p:sp>
        <p:nvSpPr>
          <p:cNvPr id="33" name="ElementNumbers1"/>
          <p:cNvSpPr/>
          <p:nvPr>
            <p:custDataLst>
              <p:tags r:id="rId19"/>
            </p:custDataLst>
          </p:nvPr>
        </p:nvSpPr>
        <p:spPr bwMode="gray">
          <a:xfrm>
            <a:off x="5097609" y="1629941"/>
            <a:ext cx="354417" cy="354417"/>
          </a:xfrm>
          <a:prstGeom prst="ellipse">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3</a:t>
            </a:r>
          </a:p>
        </p:txBody>
      </p:sp>
      <p:sp>
        <p:nvSpPr>
          <p:cNvPr id="34" name="ElementNumbers1"/>
          <p:cNvSpPr/>
          <p:nvPr>
            <p:custDataLst>
              <p:tags r:id="rId20"/>
            </p:custDataLst>
          </p:nvPr>
        </p:nvSpPr>
        <p:spPr bwMode="gray">
          <a:xfrm>
            <a:off x="5522910" y="1629941"/>
            <a:ext cx="354417" cy="354417"/>
          </a:xfrm>
          <a:prstGeom prst="ellipse">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4</a:t>
            </a:r>
          </a:p>
        </p:txBody>
      </p:sp>
      <p:sp>
        <p:nvSpPr>
          <p:cNvPr id="35" name="ElementNumbers1"/>
          <p:cNvSpPr/>
          <p:nvPr>
            <p:custDataLst>
              <p:tags r:id="rId21"/>
            </p:custDataLst>
          </p:nvPr>
        </p:nvSpPr>
        <p:spPr bwMode="gray">
          <a:xfrm>
            <a:off x="4247008" y="2126180"/>
            <a:ext cx="354417" cy="354417"/>
          </a:xfrm>
          <a:prstGeom prst="rect">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1</a:t>
            </a:r>
          </a:p>
        </p:txBody>
      </p:sp>
      <p:sp>
        <p:nvSpPr>
          <p:cNvPr id="36" name="ElementNumbers1"/>
          <p:cNvSpPr/>
          <p:nvPr>
            <p:custDataLst>
              <p:tags r:id="rId22"/>
            </p:custDataLst>
          </p:nvPr>
        </p:nvSpPr>
        <p:spPr bwMode="gray">
          <a:xfrm>
            <a:off x="4672308" y="2126180"/>
            <a:ext cx="354417" cy="354417"/>
          </a:xfrm>
          <a:prstGeom prst="rect">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2</a:t>
            </a:r>
          </a:p>
        </p:txBody>
      </p:sp>
      <p:sp>
        <p:nvSpPr>
          <p:cNvPr id="37" name="ElementNumbers1"/>
          <p:cNvSpPr/>
          <p:nvPr>
            <p:custDataLst>
              <p:tags r:id="rId23"/>
            </p:custDataLst>
          </p:nvPr>
        </p:nvSpPr>
        <p:spPr bwMode="gray">
          <a:xfrm>
            <a:off x="5097609" y="2126180"/>
            <a:ext cx="354417" cy="354417"/>
          </a:xfrm>
          <a:prstGeom prst="rect">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3</a:t>
            </a:r>
          </a:p>
        </p:txBody>
      </p:sp>
      <p:sp>
        <p:nvSpPr>
          <p:cNvPr id="38" name="ElementNumbers1"/>
          <p:cNvSpPr/>
          <p:nvPr>
            <p:custDataLst>
              <p:tags r:id="rId24"/>
            </p:custDataLst>
          </p:nvPr>
        </p:nvSpPr>
        <p:spPr bwMode="gray">
          <a:xfrm>
            <a:off x="5522910" y="2126180"/>
            <a:ext cx="354417" cy="354417"/>
          </a:xfrm>
          <a:prstGeom prst="rect">
            <a:avLst/>
          </a:prstGeom>
          <a:solidFill>
            <a:schemeClr val="tx1"/>
          </a:solidFill>
          <a:ln w="127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rgbClr val="FFFFFF"/>
                </a:solidFill>
                <a:cs typeface="Arial" pitchFamily="34" charset="0"/>
              </a:rPr>
              <a:t>4</a:t>
            </a:r>
          </a:p>
        </p:txBody>
      </p:sp>
      <p:sp>
        <p:nvSpPr>
          <p:cNvPr id="55" name="Freeform 63"/>
          <p:cNvSpPr>
            <a:spLocks noChangeAspect="1" noEditPoints="1"/>
          </p:cNvSpPr>
          <p:nvPr/>
        </p:nvSpPr>
        <p:spPr bwMode="auto">
          <a:xfrm>
            <a:off x="6930200" y="5806446"/>
            <a:ext cx="285619" cy="285619"/>
          </a:xfrm>
          <a:custGeom>
            <a:avLst/>
            <a:gdLst>
              <a:gd name="T0" fmla="*/ 2659 w 3490"/>
              <a:gd name="T1" fmla="*/ 2398 h 3490"/>
              <a:gd name="T2" fmla="*/ 2671 w 3490"/>
              <a:gd name="T3" fmla="*/ 2487 h 3490"/>
              <a:gd name="T4" fmla="*/ 883 w 3490"/>
              <a:gd name="T5" fmla="*/ 2524 h 3490"/>
              <a:gd name="T6" fmla="*/ 813 w 3490"/>
              <a:gd name="T7" fmla="*/ 2469 h 3490"/>
              <a:gd name="T8" fmla="*/ 846 w 3490"/>
              <a:gd name="T9" fmla="*/ 2386 h 3490"/>
              <a:gd name="T10" fmla="*/ 2626 w 3490"/>
              <a:gd name="T11" fmla="*/ 1813 h 3490"/>
              <a:gd name="T12" fmla="*/ 2681 w 3490"/>
              <a:gd name="T13" fmla="*/ 1884 h 3490"/>
              <a:gd name="T14" fmla="*/ 2626 w 3490"/>
              <a:gd name="T15" fmla="*/ 1955 h 3490"/>
              <a:gd name="T16" fmla="*/ 831 w 3490"/>
              <a:gd name="T17" fmla="*/ 1936 h 3490"/>
              <a:gd name="T18" fmla="*/ 819 w 3490"/>
              <a:gd name="T19" fmla="*/ 1847 h 3490"/>
              <a:gd name="T20" fmla="*/ 1745 w 3490"/>
              <a:gd name="T21" fmla="*/ 633 h 3490"/>
              <a:gd name="T22" fmla="*/ 2668 w 3490"/>
              <a:gd name="T23" fmla="*/ 1391 h 3490"/>
              <a:gd name="T24" fmla="*/ 2663 w 3490"/>
              <a:gd name="T25" fmla="*/ 1479 h 3490"/>
              <a:gd name="T26" fmla="*/ 2590 w 3490"/>
              <a:gd name="T27" fmla="*/ 1504 h 3490"/>
              <a:gd name="T28" fmla="*/ 914 w 3490"/>
              <a:gd name="T29" fmla="*/ 1499 h 3490"/>
              <a:gd name="T30" fmla="*/ 827 w 3490"/>
              <a:gd name="T31" fmla="*/ 1479 h 3490"/>
              <a:gd name="T32" fmla="*/ 822 w 3490"/>
              <a:gd name="T33" fmla="*/ 1391 h 3490"/>
              <a:gd name="T34" fmla="*/ 1745 w 3490"/>
              <a:gd name="T35" fmla="*/ 633 h 3490"/>
              <a:gd name="T36" fmla="*/ 1338 w 3490"/>
              <a:gd name="T37" fmla="*/ 199 h 3490"/>
              <a:gd name="T38" fmla="*/ 883 w 3490"/>
              <a:gd name="T39" fmla="*/ 400 h 3490"/>
              <a:gd name="T40" fmla="*/ 516 w 3490"/>
              <a:gd name="T41" fmla="*/ 724 h 3490"/>
              <a:gd name="T42" fmla="*/ 263 w 3490"/>
              <a:gd name="T43" fmla="*/ 1147 h 3490"/>
              <a:gd name="T44" fmla="*/ 150 w 3490"/>
              <a:gd name="T45" fmla="*/ 1640 h 3490"/>
              <a:gd name="T46" fmla="*/ 199 w 3490"/>
              <a:gd name="T47" fmla="*/ 2152 h 3490"/>
              <a:gd name="T48" fmla="*/ 400 w 3490"/>
              <a:gd name="T49" fmla="*/ 2607 h 3490"/>
              <a:gd name="T50" fmla="*/ 724 w 3490"/>
              <a:gd name="T51" fmla="*/ 2974 h 3490"/>
              <a:gd name="T52" fmla="*/ 1147 w 3490"/>
              <a:gd name="T53" fmla="*/ 3227 h 3490"/>
              <a:gd name="T54" fmla="*/ 1641 w 3490"/>
              <a:gd name="T55" fmla="*/ 3340 h 3490"/>
              <a:gd name="T56" fmla="*/ 2154 w 3490"/>
              <a:gd name="T57" fmla="*/ 3291 h 3490"/>
              <a:gd name="T58" fmla="*/ 2607 w 3490"/>
              <a:gd name="T59" fmla="*/ 3090 h 3490"/>
              <a:gd name="T60" fmla="*/ 2974 w 3490"/>
              <a:gd name="T61" fmla="*/ 2766 h 3490"/>
              <a:gd name="T62" fmla="*/ 3227 w 3490"/>
              <a:gd name="T63" fmla="*/ 2343 h 3490"/>
              <a:gd name="T64" fmla="*/ 3340 w 3490"/>
              <a:gd name="T65" fmla="*/ 1849 h 3490"/>
              <a:gd name="T66" fmla="*/ 3291 w 3490"/>
              <a:gd name="T67" fmla="*/ 1336 h 3490"/>
              <a:gd name="T68" fmla="*/ 3090 w 3490"/>
              <a:gd name="T69" fmla="*/ 883 h 3490"/>
              <a:gd name="T70" fmla="*/ 2766 w 3490"/>
              <a:gd name="T71" fmla="*/ 516 h 3490"/>
              <a:gd name="T72" fmla="*/ 2343 w 3490"/>
              <a:gd name="T73" fmla="*/ 263 h 3490"/>
              <a:gd name="T74" fmla="*/ 1850 w 3490"/>
              <a:gd name="T75" fmla="*/ 150 h 3490"/>
              <a:gd name="T76" fmla="*/ 2059 w 3490"/>
              <a:gd name="T77" fmla="*/ 28 h 3490"/>
              <a:gd name="T78" fmla="*/ 2538 w 3490"/>
              <a:gd name="T79" fmla="*/ 190 h 3490"/>
              <a:gd name="T80" fmla="*/ 2943 w 3490"/>
              <a:gd name="T81" fmla="*/ 477 h 3490"/>
              <a:gd name="T82" fmla="*/ 3251 w 3490"/>
              <a:gd name="T83" fmla="*/ 865 h 3490"/>
              <a:gd name="T84" fmla="*/ 3441 w 3490"/>
              <a:gd name="T85" fmla="*/ 1331 h 3490"/>
              <a:gd name="T86" fmla="*/ 3487 w 3490"/>
              <a:gd name="T87" fmla="*/ 1851 h 3490"/>
              <a:gd name="T88" fmla="*/ 3381 w 3490"/>
              <a:gd name="T89" fmla="*/ 2353 h 3490"/>
              <a:gd name="T90" fmla="*/ 3141 w 3490"/>
              <a:gd name="T91" fmla="*/ 2791 h 3490"/>
              <a:gd name="T92" fmla="*/ 2791 w 3490"/>
              <a:gd name="T93" fmla="*/ 3141 h 3490"/>
              <a:gd name="T94" fmla="*/ 2353 w 3490"/>
              <a:gd name="T95" fmla="*/ 3380 h 3490"/>
              <a:gd name="T96" fmla="*/ 1852 w 3490"/>
              <a:gd name="T97" fmla="*/ 3487 h 3490"/>
              <a:gd name="T98" fmla="*/ 1431 w 3490"/>
              <a:gd name="T99" fmla="*/ 3462 h 3490"/>
              <a:gd name="T100" fmla="*/ 953 w 3490"/>
              <a:gd name="T101" fmla="*/ 3299 h 3490"/>
              <a:gd name="T102" fmla="*/ 547 w 3490"/>
              <a:gd name="T103" fmla="*/ 3013 h 3490"/>
              <a:gd name="T104" fmla="*/ 239 w 3490"/>
              <a:gd name="T105" fmla="*/ 2625 h 3490"/>
              <a:gd name="T106" fmla="*/ 49 w 3490"/>
              <a:gd name="T107" fmla="*/ 2159 h 3490"/>
              <a:gd name="T108" fmla="*/ 3 w 3490"/>
              <a:gd name="T109" fmla="*/ 1638 h 3490"/>
              <a:gd name="T110" fmla="*/ 110 w 3490"/>
              <a:gd name="T111" fmla="*/ 1137 h 3490"/>
              <a:gd name="T112" fmla="*/ 349 w 3490"/>
              <a:gd name="T113" fmla="*/ 699 h 3490"/>
              <a:gd name="T114" fmla="*/ 699 w 3490"/>
              <a:gd name="T115" fmla="*/ 349 h 3490"/>
              <a:gd name="T116" fmla="*/ 1137 w 3490"/>
              <a:gd name="T117" fmla="*/ 109 h 3490"/>
              <a:gd name="T118" fmla="*/ 1639 w 3490"/>
              <a:gd name="T119" fmla="*/ 3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90" h="3490">
                <a:moveTo>
                  <a:pt x="883" y="2376"/>
                </a:moveTo>
                <a:lnTo>
                  <a:pt x="2607" y="2376"/>
                </a:lnTo>
                <a:lnTo>
                  <a:pt x="2626" y="2379"/>
                </a:lnTo>
                <a:lnTo>
                  <a:pt x="2644" y="2386"/>
                </a:lnTo>
                <a:lnTo>
                  <a:pt x="2659" y="2398"/>
                </a:lnTo>
                <a:lnTo>
                  <a:pt x="2671" y="2413"/>
                </a:lnTo>
                <a:lnTo>
                  <a:pt x="2678" y="2430"/>
                </a:lnTo>
                <a:lnTo>
                  <a:pt x="2681" y="2450"/>
                </a:lnTo>
                <a:lnTo>
                  <a:pt x="2678" y="2469"/>
                </a:lnTo>
                <a:lnTo>
                  <a:pt x="2671" y="2487"/>
                </a:lnTo>
                <a:lnTo>
                  <a:pt x="2659" y="2501"/>
                </a:lnTo>
                <a:lnTo>
                  <a:pt x="2644" y="2513"/>
                </a:lnTo>
                <a:lnTo>
                  <a:pt x="2626" y="2520"/>
                </a:lnTo>
                <a:lnTo>
                  <a:pt x="2607" y="2524"/>
                </a:lnTo>
                <a:lnTo>
                  <a:pt x="883" y="2524"/>
                </a:lnTo>
                <a:lnTo>
                  <a:pt x="864" y="2520"/>
                </a:lnTo>
                <a:lnTo>
                  <a:pt x="846" y="2513"/>
                </a:lnTo>
                <a:lnTo>
                  <a:pt x="831" y="2501"/>
                </a:lnTo>
                <a:lnTo>
                  <a:pt x="819" y="2487"/>
                </a:lnTo>
                <a:lnTo>
                  <a:pt x="813" y="2469"/>
                </a:lnTo>
                <a:lnTo>
                  <a:pt x="810" y="2450"/>
                </a:lnTo>
                <a:lnTo>
                  <a:pt x="813" y="2430"/>
                </a:lnTo>
                <a:lnTo>
                  <a:pt x="819" y="2413"/>
                </a:lnTo>
                <a:lnTo>
                  <a:pt x="831" y="2398"/>
                </a:lnTo>
                <a:lnTo>
                  <a:pt x="846" y="2386"/>
                </a:lnTo>
                <a:lnTo>
                  <a:pt x="864" y="2379"/>
                </a:lnTo>
                <a:lnTo>
                  <a:pt x="883" y="2376"/>
                </a:lnTo>
                <a:close/>
                <a:moveTo>
                  <a:pt x="883" y="1810"/>
                </a:moveTo>
                <a:lnTo>
                  <a:pt x="2607" y="1810"/>
                </a:lnTo>
                <a:lnTo>
                  <a:pt x="2626" y="1813"/>
                </a:lnTo>
                <a:lnTo>
                  <a:pt x="2644" y="1821"/>
                </a:lnTo>
                <a:lnTo>
                  <a:pt x="2659" y="1832"/>
                </a:lnTo>
                <a:lnTo>
                  <a:pt x="2671" y="1847"/>
                </a:lnTo>
                <a:lnTo>
                  <a:pt x="2678" y="1864"/>
                </a:lnTo>
                <a:lnTo>
                  <a:pt x="2681" y="1884"/>
                </a:lnTo>
                <a:lnTo>
                  <a:pt x="2678" y="1904"/>
                </a:lnTo>
                <a:lnTo>
                  <a:pt x="2671" y="1921"/>
                </a:lnTo>
                <a:lnTo>
                  <a:pt x="2659" y="1936"/>
                </a:lnTo>
                <a:lnTo>
                  <a:pt x="2644" y="1948"/>
                </a:lnTo>
                <a:lnTo>
                  <a:pt x="2626" y="1955"/>
                </a:lnTo>
                <a:lnTo>
                  <a:pt x="2607" y="1957"/>
                </a:lnTo>
                <a:lnTo>
                  <a:pt x="883" y="1957"/>
                </a:lnTo>
                <a:lnTo>
                  <a:pt x="864" y="1955"/>
                </a:lnTo>
                <a:lnTo>
                  <a:pt x="846" y="1948"/>
                </a:lnTo>
                <a:lnTo>
                  <a:pt x="831" y="1936"/>
                </a:lnTo>
                <a:lnTo>
                  <a:pt x="819" y="1921"/>
                </a:lnTo>
                <a:lnTo>
                  <a:pt x="813" y="1904"/>
                </a:lnTo>
                <a:lnTo>
                  <a:pt x="810" y="1884"/>
                </a:lnTo>
                <a:lnTo>
                  <a:pt x="813" y="1864"/>
                </a:lnTo>
                <a:lnTo>
                  <a:pt x="819" y="1847"/>
                </a:lnTo>
                <a:lnTo>
                  <a:pt x="831" y="1832"/>
                </a:lnTo>
                <a:lnTo>
                  <a:pt x="846" y="1821"/>
                </a:lnTo>
                <a:lnTo>
                  <a:pt x="864" y="1813"/>
                </a:lnTo>
                <a:lnTo>
                  <a:pt x="883" y="1810"/>
                </a:lnTo>
                <a:close/>
                <a:moveTo>
                  <a:pt x="1745" y="633"/>
                </a:moveTo>
                <a:lnTo>
                  <a:pt x="1762" y="635"/>
                </a:lnTo>
                <a:lnTo>
                  <a:pt x="1778" y="641"/>
                </a:lnTo>
                <a:lnTo>
                  <a:pt x="1792" y="651"/>
                </a:lnTo>
                <a:lnTo>
                  <a:pt x="2654" y="1376"/>
                </a:lnTo>
                <a:lnTo>
                  <a:pt x="2668" y="1391"/>
                </a:lnTo>
                <a:lnTo>
                  <a:pt x="2676" y="1408"/>
                </a:lnTo>
                <a:lnTo>
                  <a:pt x="2681" y="1426"/>
                </a:lnTo>
                <a:lnTo>
                  <a:pt x="2679" y="1445"/>
                </a:lnTo>
                <a:lnTo>
                  <a:pt x="2674" y="1463"/>
                </a:lnTo>
                <a:lnTo>
                  <a:pt x="2663" y="1479"/>
                </a:lnTo>
                <a:lnTo>
                  <a:pt x="2652" y="1491"/>
                </a:lnTo>
                <a:lnTo>
                  <a:pt x="2638" y="1500"/>
                </a:lnTo>
                <a:lnTo>
                  <a:pt x="2623" y="1504"/>
                </a:lnTo>
                <a:lnTo>
                  <a:pt x="2607" y="1506"/>
                </a:lnTo>
                <a:lnTo>
                  <a:pt x="2590" y="1504"/>
                </a:lnTo>
                <a:lnTo>
                  <a:pt x="2574" y="1499"/>
                </a:lnTo>
                <a:lnTo>
                  <a:pt x="2560" y="1489"/>
                </a:lnTo>
                <a:lnTo>
                  <a:pt x="1745" y="803"/>
                </a:lnTo>
                <a:lnTo>
                  <a:pt x="930" y="1489"/>
                </a:lnTo>
                <a:lnTo>
                  <a:pt x="914" y="1499"/>
                </a:lnTo>
                <a:lnTo>
                  <a:pt x="896" y="1505"/>
                </a:lnTo>
                <a:lnTo>
                  <a:pt x="877" y="1506"/>
                </a:lnTo>
                <a:lnTo>
                  <a:pt x="859" y="1502"/>
                </a:lnTo>
                <a:lnTo>
                  <a:pt x="842" y="1493"/>
                </a:lnTo>
                <a:lnTo>
                  <a:pt x="827" y="1479"/>
                </a:lnTo>
                <a:lnTo>
                  <a:pt x="816" y="1463"/>
                </a:lnTo>
                <a:lnTo>
                  <a:pt x="811" y="1445"/>
                </a:lnTo>
                <a:lnTo>
                  <a:pt x="810" y="1426"/>
                </a:lnTo>
                <a:lnTo>
                  <a:pt x="814" y="1408"/>
                </a:lnTo>
                <a:lnTo>
                  <a:pt x="822" y="1391"/>
                </a:lnTo>
                <a:lnTo>
                  <a:pt x="836" y="1376"/>
                </a:lnTo>
                <a:lnTo>
                  <a:pt x="1698" y="651"/>
                </a:lnTo>
                <a:lnTo>
                  <a:pt x="1712" y="641"/>
                </a:lnTo>
                <a:lnTo>
                  <a:pt x="1728" y="635"/>
                </a:lnTo>
                <a:lnTo>
                  <a:pt x="1745" y="633"/>
                </a:lnTo>
                <a:close/>
                <a:moveTo>
                  <a:pt x="1745" y="147"/>
                </a:moveTo>
                <a:lnTo>
                  <a:pt x="1641" y="150"/>
                </a:lnTo>
                <a:lnTo>
                  <a:pt x="1537" y="161"/>
                </a:lnTo>
                <a:lnTo>
                  <a:pt x="1436" y="177"/>
                </a:lnTo>
                <a:lnTo>
                  <a:pt x="1338" y="199"/>
                </a:lnTo>
                <a:lnTo>
                  <a:pt x="1241" y="228"/>
                </a:lnTo>
                <a:lnTo>
                  <a:pt x="1147" y="263"/>
                </a:lnTo>
                <a:lnTo>
                  <a:pt x="1056" y="304"/>
                </a:lnTo>
                <a:lnTo>
                  <a:pt x="967" y="349"/>
                </a:lnTo>
                <a:lnTo>
                  <a:pt x="883" y="400"/>
                </a:lnTo>
                <a:lnTo>
                  <a:pt x="802" y="455"/>
                </a:lnTo>
                <a:lnTo>
                  <a:pt x="724" y="516"/>
                </a:lnTo>
                <a:lnTo>
                  <a:pt x="651" y="581"/>
                </a:lnTo>
                <a:lnTo>
                  <a:pt x="581" y="651"/>
                </a:lnTo>
                <a:lnTo>
                  <a:pt x="516" y="724"/>
                </a:lnTo>
                <a:lnTo>
                  <a:pt x="455" y="802"/>
                </a:lnTo>
                <a:lnTo>
                  <a:pt x="400" y="883"/>
                </a:lnTo>
                <a:lnTo>
                  <a:pt x="349" y="967"/>
                </a:lnTo>
                <a:lnTo>
                  <a:pt x="304" y="1056"/>
                </a:lnTo>
                <a:lnTo>
                  <a:pt x="263" y="1147"/>
                </a:lnTo>
                <a:lnTo>
                  <a:pt x="228" y="1240"/>
                </a:lnTo>
                <a:lnTo>
                  <a:pt x="199" y="1336"/>
                </a:lnTo>
                <a:lnTo>
                  <a:pt x="177" y="1436"/>
                </a:lnTo>
                <a:lnTo>
                  <a:pt x="161" y="1537"/>
                </a:lnTo>
                <a:lnTo>
                  <a:pt x="150" y="1640"/>
                </a:lnTo>
                <a:lnTo>
                  <a:pt x="147" y="1745"/>
                </a:lnTo>
                <a:lnTo>
                  <a:pt x="150" y="1849"/>
                </a:lnTo>
                <a:lnTo>
                  <a:pt x="161" y="1953"/>
                </a:lnTo>
                <a:lnTo>
                  <a:pt x="177" y="2054"/>
                </a:lnTo>
                <a:lnTo>
                  <a:pt x="199" y="2152"/>
                </a:lnTo>
                <a:lnTo>
                  <a:pt x="228" y="2249"/>
                </a:lnTo>
                <a:lnTo>
                  <a:pt x="263" y="2343"/>
                </a:lnTo>
                <a:lnTo>
                  <a:pt x="304" y="2434"/>
                </a:lnTo>
                <a:lnTo>
                  <a:pt x="349" y="2523"/>
                </a:lnTo>
                <a:lnTo>
                  <a:pt x="400" y="2607"/>
                </a:lnTo>
                <a:lnTo>
                  <a:pt x="455" y="2688"/>
                </a:lnTo>
                <a:lnTo>
                  <a:pt x="516" y="2766"/>
                </a:lnTo>
                <a:lnTo>
                  <a:pt x="581" y="2839"/>
                </a:lnTo>
                <a:lnTo>
                  <a:pt x="651" y="2909"/>
                </a:lnTo>
                <a:lnTo>
                  <a:pt x="724" y="2974"/>
                </a:lnTo>
                <a:lnTo>
                  <a:pt x="802" y="3035"/>
                </a:lnTo>
                <a:lnTo>
                  <a:pt x="883" y="3090"/>
                </a:lnTo>
                <a:lnTo>
                  <a:pt x="967" y="3141"/>
                </a:lnTo>
                <a:lnTo>
                  <a:pt x="1056" y="3186"/>
                </a:lnTo>
                <a:lnTo>
                  <a:pt x="1147" y="3227"/>
                </a:lnTo>
                <a:lnTo>
                  <a:pt x="1241" y="3262"/>
                </a:lnTo>
                <a:lnTo>
                  <a:pt x="1338" y="3291"/>
                </a:lnTo>
                <a:lnTo>
                  <a:pt x="1436" y="3313"/>
                </a:lnTo>
                <a:lnTo>
                  <a:pt x="1537" y="3329"/>
                </a:lnTo>
                <a:lnTo>
                  <a:pt x="1641" y="3340"/>
                </a:lnTo>
                <a:lnTo>
                  <a:pt x="1745" y="3343"/>
                </a:lnTo>
                <a:lnTo>
                  <a:pt x="1850" y="3340"/>
                </a:lnTo>
                <a:lnTo>
                  <a:pt x="1953" y="3329"/>
                </a:lnTo>
                <a:lnTo>
                  <a:pt x="2054" y="3313"/>
                </a:lnTo>
                <a:lnTo>
                  <a:pt x="2154" y="3291"/>
                </a:lnTo>
                <a:lnTo>
                  <a:pt x="2250" y="3262"/>
                </a:lnTo>
                <a:lnTo>
                  <a:pt x="2343" y="3227"/>
                </a:lnTo>
                <a:lnTo>
                  <a:pt x="2434" y="3186"/>
                </a:lnTo>
                <a:lnTo>
                  <a:pt x="2523" y="3141"/>
                </a:lnTo>
                <a:lnTo>
                  <a:pt x="2607" y="3090"/>
                </a:lnTo>
                <a:lnTo>
                  <a:pt x="2688" y="3035"/>
                </a:lnTo>
                <a:lnTo>
                  <a:pt x="2766" y="2974"/>
                </a:lnTo>
                <a:lnTo>
                  <a:pt x="2839" y="2909"/>
                </a:lnTo>
                <a:lnTo>
                  <a:pt x="2909" y="2839"/>
                </a:lnTo>
                <a:lnTo>
                  <a:pt x="2974" y="2766"/>
                </a:lnTo>
                <a:lnTo>
                  <a:pt x="3035" y="2688"/>
                </a:lnTo>
                <a:lnTo>
                  <a:pt x="3090" y="2607"/>
                </a:lnTo>
                <a:lnTo>
                  <a:pt x="3141" y="2523"/>
                </a:lnTo>
                <a:lnTo>
                  <a:pt x="3186" y="2434"/>
                </a:lnTo>
                <a:lnTo>
                  <a:pt x="3227" y="2343"/>
                </a:lnTo>
                <a:lnTo>
                  <a:pt x="3262" y="2249"/>
                </a:lnTo>
                <a:lnTo>
                  <a:pt x="3291" y="2152"/>
                </a:lnTo>
                <a:lnTo>
                  <a:pt x="3313" y="2054"/>
                </a:lnTo>
                <a:lnTo>
                  <a:pt x="3329" y="1953"/>
                </a:lnTo>
                <a:lnTo>
                  <a:pt x="3340" y="1849"/>
                </a:lnTo>
                <a:lnTo>
                  <a:pt x="3343" y="1745"/>
                </a:lnTo>
                <a:lnTo>
                  <a:pt x="3340" y="1640"/>
                </a:lnTo>
                <a:lnTo>
                  <a:pt x="3329" y="1537"/>
                </a:lnTo>
                <a:lnTo>
                  <a:pt x="3313" y="1436"/>
                </a:lnTo>
                <a:lnTo>
                  <a:pt x="3291" y="1336"/>
                </a:lnTo>
                <a:lnTo>
                  <a:pt x="3262" y="1240"/>
                </a:lnTo>
                <a:lnTo>
                  <a:pt x="3227" y="1147"/>
                </a:lnTo>
                <a:lnTo>
                  <a:pt x="3186" y="1056"/>
                </a:lnTo>
                <a:lnTo>
                  <a:pt x="3141" y="967"/>
                </a:lnTo>
                <a:lnTo>
                  <a:pt x="3090" y="883"/>
                </a:lnTo>
                <a:lnTo>
                  <a:pt x="3035" y="802"/>
                </a:lnTo>
                <a:lnTo>
                  <a:pt x="2974" y="724"/>
                </a:lnTo>
                <a:lnTo>
                  <a:pt x="2909" y="651"/>
                </a:lnTo>
                <a:lnTo>
                  <a:pt x="2839" y="581"/>
                </a:lnTo>
                <a:lnTo>
                  <a:pt x="2766" y="516"/>
                </a:lnTo>
                <a:lnTo>
                  <a:pt x="2688" y="455"/>
                </a:lnTo>
                <a:lnTo>
                  <a:pt x="2607" y="400"/>
                </a:lnTo>
                <a:lnTo>
                  <a:pt x="2523" y="349"/>
                </a:lnTo>
                <a:lnTo>
                  <a:pt x="2434" y="304"/>
                </a:lnTo>
                <a:lnTo>
                  <a:pt x="2343" y="263"/>
                </a:lnTo>
                <a:lnTo>
                  <a:pt x="2250" y="228"/>
                </a:lnTo>
                <a:lnTo>
                  <a:pt x="2154" y="199"/>
                </a:lnTo>
                <a:lnTo>
                  <a:pt x="2054" y="177"/>
                </a:lnTo>
                <a:lnTo>
                  <a:pt x="1953" y="161"/>
                </a:lnTo>
                <a:lnTo>
                  <a:pt x="1850" y="150"/>
                </a:lnTo>
                <a:lnTo>
                  <a:pt x="1745" y="147"/>
                </a:lnTo>
                <a:close/>
                <a:moveTo>
                  <a:pt x="1745" y="0"/>
                </a:moveTo>
                <a:lnTo>
                  <a:pt x="1852" y="3"/>
                </a:lnTo>
                <a:lnTo>
                  <a:pt x="1956" y="13"/>
                </a:lnTo>
                <a:lnTo>
                  <a:pt x="2059" y="28"/>
                </a:lnTo>
                <a:lnTo>
                  <a:pt x="2159" y="49"/>
                </a:lnTo>
                <a:lnTo>
                  <a:pt x="2257" y="77"/>
                </a:lnTo>
                <a:lnTo>
                  <a:pt x="2353" y="109"/>
                </a:lnTo>
                <a:lnTo>
                  <a:pt x="2447" y="147"/>
                </a:lnTo>
                <a:lnTo>
                  <a:pt x="2538" y="190"/>
                </a:lnTo>
                <a:lnTo>
                  <a:pt x="2625" y="239"/>
                </a:lnTo>
                <a:lnTo>
                  <a:pt x="2709" y="291"/>
                </a:lnTo>
                <a:lnTo>
                  <a:pt x="2791" y="349"/>
                </a:lnTo>
                <a:lnTo>
                  <a:pt x="2869" y="411"/>
                </a:lnTo>
                <a:lnTo>
                  <a:pt x="2943" y="477"/>
                </a:lnTo>
                <a:lnTo>
                  <a:pt x="3013" y="547"/>
                </a:lnTo>
                <a:lnTo>
                  <a:pt x="3079" y="621"/>
                </a:lnTo>
                <a:lnTo>
                  <a:pt x="3141" y="699"/>
                </a:lnTo>
                <a:lnTo>
                  <a:pt x="3199" y="781"/>
                </a:lnTo>
                <a:lnTo>
                  <a:pt x="3251" y="865"/>
                </a:lnTo>
                <a:lnTo>
                  <a:pt x="3300" y="952"/>
                </a:lnTo>
                <a:lnTo>
                  <a:pt x="3343" y="1043"/>
                </a:lnTo>
                <a:lnTo>
                  <a:pt x="3381" y="1137"/>
                </a:lnTo>
                <a:lnTo>
                  <a:pt x="3413" y="1233"/>
                </a:lnTo>
                <a:lnTo>
                  <a:pt x="3441" y="1331"/>
                </a:lnTo>
                <a:lnTo>
                  <a:pt x="3462" y="1431"/>
                </a:lnTo>
                <a:lnTo>
                  <a:pt x="3477" y="1534"/>
                </a:lnTo>
                <a:lnTo>
                  <a:pt x="3487" y="1638"/>
                </a:lnTo>
                <a:lnTo>
                  <a:pt x="3490" y="1745"/>
                </a:lnTo>
                <a:lnTo>
                  <a:pt x="3487" y="1851"/>
                </a:lnTo>
                <a:lnTo>
                  <a:pt x="3477" y="1955"/>
                </a:lnTo>
                <a:lnTo>
                  <a:pt x="3462" y="2059"/>
                </a:lnTo>
                <a:lnTo>
                  <a:pt x="3441" y="2159"/>
                </a:lnTo>
                <a:lnTo>
                  <a:pt x="3413" y="2257"/>
                </a:lnTo>
                <a:lnTo>
                  <a:pt x="3381" y="2353"/>
                </a:lnTo>
                <a:lnTo>
                  <a:pt x="3343" y="2447"/>
                </a:lnTo>
                <a:lnTo>
                  <a:pt x="3300" y="2537"/>
                </a:lnTo>
                <a:lnTo>
                  <a:pt x="3251" y="2625"/>
                </a:lnTo>
                <a:lnTo>
                  <a:pt x="3199" y="2709"/>
                </a:lnTo>
                <a:lnTo>
                  <a:pt x="3141" y="2791"/>
                </a:lnTo>
                <a:lnTo>
                  <a:pt x="3079" y="2868"/>
                </a:lnTo>
                <a:lnTo>
                  <a:pt x="3013" y="2943"/>
                </a:lnTo>
                <a:lnTo>
                  <a:pt x="2943" y="3013"/>
                </a:lnTo>
                <a:lnTo>
                  <a:pt x="2869" y="3079"/>
                </a:lnTo>
                <a:lnTo>
                  <a:pt x="2791" y="3141"/>
                </a:lnTo>
                <a:lnTo>
                  <a:pt x="2709" y="3199"/>
                </a:lnTo>
                <a:lnTo>
                  <a:pt x="2625" y="3251"/>
                </a:lnTo>
                <a:lnTo>
                  <a:pt x="2538" y="3299"/>
                </a:lnTo>
                <a:lnTo>
                  <a:pt x="2447" y="3343"/>
                </a:lnTo>
                <a:lnTo>
                  <a:pt x="2353" y="3380"/>
                </a:lnTo>
                <a:lnTo>
                  <a:pt x="2257" y="3413"/>
                </a:lnTo>
                <a:lnTo>
                  <a:pt x="2159" y="3441"/>
                </a:lnTo>
                <a:lnTo>
                  <a:pt x="2059" y="3462"/>
                </a:lnTo>
                <a:lnTo>
                  <a:pt x="1956" y="3477"/>
                </a:lnTo>
                <a:lnTo>
                  <a:pt x="1852" y="3487"/>
                </a:lnTo>
                <a:lnTo>
                  <a:pt x="1745" y="3490"/>
                </a:lnTo>
                <a:lnTo>
                  <a:pt x="1745" y="3490"/>
                </a:lnTo>
                <a:lnTo>
                  <a:pt x="1639" y="3487"/>
                </a:lnTo>
                <a:lnTo>
                  <a:pt x="1535" y="3477"/>
                </a:lnTo>
                <a:lnTo>
                  <a:pt x="1431" y="3462"/>
                </a:lnTo>
                <a:lnTo>
                  <a:pt x="1331" y="3441"/>
                </a:lnTo>
                <a:lnTo>
                  <a:pt x="1233" y="3413"/>
                </a:lnTo>
                <a:lnTo>
                  <a:pt x="1137" y="3380"/>
                </a:lnTo>
                <a:lnTo>
                  <a:pt x="1043" y="3343"/>
                </a:lnTo>
                <a:lnTo>
                  <a:pt x="953" y="3299"/>
                </a:lnTo>
                <a:lnTo>
                  <a:pt x="865" y="3251"/>
                </a:lnTo>
                <a:lnTo>
                  <a:pt x="781" y="3199"/>
                </a:lnTo>
                <a:lnTo>
                  <a:pt x="699" y="3141"/>
                </a:lnTo>
                <a:lnTo>
                  <a:pt x="622" y="3079"/>
                </a:lnTo>
                <a:lnTo>
                  <a:pt x="547" y="3013"/>
                </a:lnTo>
                <a:lnTo>
                  <a:pt x="477" y="2943"/>
                </a:lnTo>
                <a:lnTo>
                  <a:pt x="411" y="2868"/>
                </a:lnTo>
                <a:lnTo>
                  <a:pt x="349" y="2791"/>
                </a:lnTo>
                <a:lnTo>
                  <a:pt x="291" y="2709"/>
                </a:lnTo>
                <a:lnTo>
                  <a:pt x="239" y="2625"/>
                </a:lnTo>
                <a:lnTo>
                  <a:pt x="191" y="2537"/>
                </a:lnTo>
                <a:lnTo>
                  <a:pt x="147" y="2447"/>
                </a:lnTo>
                <a:lnTo>
                  <a:pt x="110" y="2353"/>
                </a:lnTo>
                <a:lnTo>
                  <a:pt x="77" y="2257"/>
                </a:lnTo>
                <a:lnTo>
                  <a:pt x="49" y="2159"/>
                </a:lnTo>
                <a:lnTo>
                  <a:pt x="28" y="2059"/>
                </a:lnTo>
                <a:lnTo>
                  <a:pt x="13" y="1955"/>
                </a:lnTo>
                <a:lnTo>
                  <a:pt x="3" y="1851"/>
                </a:lnTo>
                <a:lnTo>
                  <a:pt x="0" y="1745"/>
                </a:lnTo>
                <a:lnTo>
                  <a:pt x="3" y="1638"/>
                </a:lnTo>
                <a:lnTo>
                  <a:pt x="13" y="1534"/>
                </a:lnTo>
                <a:lnTo>
                  <a:pt x="28" y="1431"/>
                </a:lnTo>
                <a:lnTo>
                  <a:pt x="49" y="1331"/>
                </a:lnTo>
                <a:lnTo>
                  <a:pt x="77" y="1233"/>
                </a:lnTo>
                <a:lnTo>
                  <a:pt x="110" y="1137"/>
                </a:lnTo>
                <a:lnTo>
                  <a:pt x="147" y="1043"/>
                </a:lnTo>
                <a:lnTo>
                  <a:pt x="191" y="952"/>
                </a:lnTo>
                <a:lnTo>
                  <a:pt x="239" y="865"/>
                </a:lnTo>
                <a:lnTo>
                  <a:pt x="291" y="781"/>
                </a:lnTo>
                <a:lnTo>
                  <a:pt x="349" y="699"/>
                </a:lnTo>
                <a:lnTo>
                  <a:pt x="411" y="621"/>
                </a:lnTo>
                <a:lnTo>
                  <a:pt x="477" y="547"/>
                </a:lnTo>
                <a:lnTo>
                  <a:pt x="547" y="477"/>
                </a:lnTo>
                <a:lnTo>
                  <a:pt x="622" y="411"/>
                </a:lnTo>
                <a:lnTo>
                  <a:pt x="699" y="349"/>
                </a:lnTo>
                <a:lnTo>
                  <a:pt x="781" y="291"/>
                </a:lnTo>
                <a:lnTo>
                  <a:pt x="865" y="239"/>
                </a:lnTo>
                <a:lnTo>
                  <a:pt x="953" y="190"/>
                </a:lnTo>
                <a:lnTo>
                  <a:pt x="1043" y="147"/>
                </a:lnTo>
                <a:lnTo>
                  <a:pt x="1137" y="109"/>
                </a:lnTo>
                <a:lnTo>
                  <a:pt x="1233" y="77"/>
                </a:lnTo>
                <a:lnTo>
                  <a:pt x="1331" y="49"/>
                </a:lnTo>
                <a:lnTo>
                  <a:pt x="1431" y="28"/>
                </a:lnTo>
                <a:lnTo>
                  <a:pt x="1535" y="13"/>
                </a:lnTo>
                <a:lnTo>
                  <a:pt x="1639" y="3"/>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6" name="Freeform 68"/>
          <p:cNvSpPr>
            <a:spLocks noChangeAspect="1" noEditPoints="1"/>
          </p:cNvSpPr>
          <p:nvPr/>
        </p:nvSpPr>
        <p:spPr bwMode="auto">
          <a:xfrm>
            <a:off x="6274514" y="5806446"/>
            <a:ext cx="285619" cy="285619"/>
          </a:xfrm>
          <a:custGeom>
            <a:avLst/>
            <a:gdLst>
              <a:gd name="T0" fmla="*/ 2659 w 3490"/>
              <a:gd name="T1" fmla="*/ 2156 h 3501"/>
              <a:gd name="T2" fmla="*/ 2671 w 3490"/>
              <a:gd name="T3" fmla="*/ 2245 h 3501"/>
              <a:gd name="T4" fmla="*/ 883 w 3490"/>
              <a:gd name="T5" fmla="*/ 2281 h 3501"/>
              <a:gd name="T6" fmla="*/ 813 w 3490"/>
              <a:gd name="T7" fmla="*/ 2228 h 3501"/>
              <a:gd name="T8" fmla="*/ 846 w 3490"/>
              <a:gd name="T9" fmla="*/ 2144 h 3501"/>
              <a:gd name="T10" fmla="*/ 2626 w 3490"/>
              <a:gd name="T11" fmla="*/ 1222 h 3501"/>
              <a:gd name="T12" fmla="*/ 2681 w 3490"/>
              <a:gd name="T13" fmla="*/ 1294 h 3501"/>
              <a:gd name="T14" fmla="*/ 2626 w 3490"/>
              <a:gd name="T15" fmla="*/ 1364 h 3501"/>
              <a:gd name="T16" fmla="*/ 831 w 3490"/>
              <a:gd name="T17" fmla="*/ 1345 h 3501"/>
              <a:gd name="T18" fmla="*/ 819 w 3490"/>
              <a:gd name="T19" fmla="*/ 1256 h 3501"/>
              <a:gd name="T20" fmla="*/ 1745 w 3490"/>
              <a:gd name="T21" fmla="*/ 148 h 3501"/>
              <a:gd name="T22" fmla="*/ 1241 w 3490"/>
              <a:gd name="T23" fmla="*/ 229 h 3501"/>
              <a:gd name="T24" fmla="*/ 802 w 3490"/>
              <a:gd name="T25" fmla="*/ 457 h 3501"/>
              <a:gd name="T26" fmla="*/ 455 w 3490"/>
              <a:gd name="T27" fmla="*/ 805 h 3501"/>
              <a:gd name="T28" fmla="*/ 228 w 3490"/>
              <a:gd name="T29" fmla="*/ 1244 h 3501"/>
              <a:gd name="T30" fmla="*/ 147 w 3490"/>
              <a:gd name="T31" fmla="*/ 1750 h 3501"/>
              <a:gd name="T32" fmla="*/ 228 w 3490"/>
              <a:gd name="T33" fmla="*/ 2257 h 3501"/>
              <a:gd name="T34" fmla="*/ 455 w 3490"/>
              <a:gd name="T35" fmla="*/ 2696 h 3501"/>
              <a:gd name="T36" fmla="*/ 802 w 3490"/>
              <a:gd name="T37" fmla="*/ 3044 h 3501"/>
              <a:gd name="T38" fmla="*/ 1241 w 3490"/>
              <a:gd name="T39" fmla="*/ 3272 h 3501"/>
              <a:gd name="T40" fmla="*/ 1745 w 3490"/>
              <a:gd name="T41" fmla="*/ 3353 h 3501"/>
              <a:gd name="T42" fmla="*/ 2250 w 3490"/>
              <a:gd name="T43" fmla="*/ 3272 h 3501"/>
              <a:gd name="T44" fmla="*/ 2688 w 3490"/>
              <a:gd name="T45" fmla="*/ 3044 h 3501"/>
              <a:gd name="T46" fmla="*/ 3035 w 3490"/>
              <a:gd name="T47" fmla="*/ 2696 h 3501"/>
              <a:gd name="T48" fmla="*/ 3262 w 3490"/>
              <a:gd name="T49" fmla="*/ 2257 h 3501"/>
              <a:gd name="T50" fmla="*/ 3343 w 3490"/>
              <a:gd name="T51" fmla="*/ 1750 h 3501"/>
              <a:gd name="T52" fmla="*/ 3262 w 3490"/>
              <a:gd name="T53" fmla="*/ 1244 h 3501"/>
              <a:gd name="T54" fmla="*/ 3035 w 3490"/>
              <a:gd name="T55" fmla="*/ 805 h 3501"/>
              <a:gd name="T56" fmla="*/ 2688 w 3490"/>
              <a:gd name="T57" fmla="*/ 457 h 3501"/>
              <a:gd name="T58" fmla="*/ 2250 w 3490"/>
              <a:gd name="T59" fmla="*/ 229 h 3501"/>
              <a:gd name="T60" fmla="*/ 1745 w 3490"/>
              <a:gd name="T61" fmla="*/ 148 h 3501"/>
              <a:gd name="T62" fmla="*/ 2159 w 3490"/>
              <a:gd name="T63" fmla="*/ 49 h 3501"/>
              <a:gd name="T64" fmla="*/ 2625 w 3490"/>
              <a:gd name="T65" fmla="*/ 240 h 3501"/>
              <a:gd name="T66" fmla="*/ 3013 w 3490"/>
              <a:gd name="T67" fmla="*/ 549 h 3501"/>
              <a:gd name="T68" fmla="*/ 3300 w 3490"/>
              <a:gd name="T69" fmla="*/ 955 h 3501"/>
              <a:gd name="T70" fmla="*/ 3462 w 3490"/>
              <a:gd name="T71" fmla="*/ 1436 h 3501"/>
              <a:gd name="T72" fmla="*/ 3477 w 3490"/>
              <a:gd name="T73" fmla="*/ 1961 h 3501"/>
              <a:gd name="T74" fmla="*/ 3343 w 3490"/>
              <a:gd name="T75" fmla="*/ 2455 h 3501"/>
              <a:gd name="T76" fmla="*/ 3079 w 3490"/>
              <a:gd name="T77" fmla="*/ 2877 h 3501"/>
              <a:gd name="T78" fmla="*/ 2709 w 3490"/>
              <a:gd name="T79" fmla="*/ 3209 h 3501"/>
              <a:gd name="T80" fmla="*/ 2257 w 3490"/>
              <a:gd name="T81" fmla="*/ 3424 h 3501"/>
              <a:gd name="T82" fmla="*/ 1745 w 3490"/>
              <a:gd name="T83" fmla="*/ 3501 h 3501"/>
              <a:gd name="T84" fmla="*/ 1331 w 3490"/>
              <a:gd name="T85" fmla="*/ 3452 h 3501"/>
              <a:gd name="T86" fmla="*/ 865 w 3490"/>
              <a:gd name="T87" fmla="*/ 3261 h 3501"/>
              <a:gd name="T88" fmla="*/ 477 w 3490"/>
              <a:gd name="T89" fmla="*/ 2952 h 3501"/>
              <a:gd name="T90" fmla="*/ 191 w 3490"/>
              <a:gd name="T91" fmla="*/ 2545 h 3501"/>
              <a:gd name="T92" fmla="*/ 28 w 3490"/>
              <a:gd name="T93" fmla="*/ 2065 h 3501"/>
              <a:gd name="T94" fmla="*/ 13 w 3490"/>
              <a:gd name="T95" fmla="*/ 1539 h 3501"/>
              <a:gd name="T96" fmla="*/ 147 w 3490"/>
              <a:gd name="T97" fmla="*/ 1046 h 3501"/>
              <a:gd name="T98" fmla="*/ 411 w 3490"/>
              <a:gd name="T99" fmla="*/ 623 h 3501"/>
              <a:gd name="T100" fmla="*/ 781 w 3490"/>
              <a:gd name="T101" fmla="*/ 292 h 3501"/>
              <a:gd name="T102" fmla="*/ 1233 w 3490"/>
              <a:gd name="T103" fmla="*/ 77 h 3501"/>
              <a:gd name="T104" fmla="*/ 1745 w 3490"/>
              <a:gd name="T105" fmla="*/ 0 h 3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0" h="3501">
                <a:moveTo>
                  <a:pt x="883" y="2134"/>
                </a:moveTo>
                <a:lnTo>
                  <a:pt x="2607" y="2134"/>
                </a:lnTo>
                <a:lnTo>
                  <a:pt x="2626" y="2137"/>
                </a:lnTo>
                <a:lnTo>
                  <a:pt x="2644" y="2144"/>
                </a:lnTo>
                <a:lnTo>
                  <a:pt x="2659" y="2156"/>
                </a:lnTo>
                <a:lnTo>
                  <a:pt x="2671" y="2171"/>
                </a:lnTo>
                <a:lnTo>
                  <a:pt x="2678" y="2188"/>
                </a:lnTo>
                <a:lnTo>
                  <a:pt x="2681" y="2207"/>
                </a:lnTo>
                <a:lnTo>
                  <a:pt x="2678" y="2228"/>
                </a:lnTo>
                <a:lnTo>
                  <a:pt x="2671" y="2245"/>
                </a:lnTo>
                <a:lnTo>
                  <a:pt x="2659" y="2260"/>
                </a:lnTo>
                <a:lnTo>
                  <a:pt x="2644" y="2272"/>
                </a:lnTo>
                <a:lnTo>
                  <a:pt x="2626" y="2279"/>
                </a:lnTo>
                <a:lnTo>
                  <a:pt x="2607" y="2281"/>
                </a:lnTo>
                <a:lnTo>
                  <a:pt x="883" y="2281"/>
                </a:lnTo>
                <a:lnTo>
                  <a:pt x="864" y="2279"/>
                </a:lnTo>
                <a:lnTo>
                  <a:pt x="846" y="2272"/>
                </a:lnTo>
                <a:lnTo>
                  <a:pt x="831" y="2260"/>
                </a:lnTo>
                <a:lnTo>
                  <a:pt x="819" y="2245"/>
                </a:lnTo>
                <a:lnTo>
                  <a:pt x="813" y="2228"/>
                </a:lnTo>
                <a:lnTo>
                  <a:pt x="810" y="2207"/>
                </a:lnTo>
                <a:lnTo>
                  <a:pt x="813" y="2188"/>
                </a:lnTo>
                <a:lnTo>
                  <a:pt x="819" y="2171"/>
                </a:lnTo>
                <a:lnTo>
                  <a:pt x="831" y="2156"/>
                </a:lnTo>
                <a:lnTo>
                  <a:pt x="846" y="2144"/>
                </a:lnTo>
                <a:lnTo>
                  <a:pt x="864" y="2137"/>
                </a:lnTo>
                <a:lnTo>
                  <a:pt x="883" y="2134"/>
                </a:lnTo>
                <a:close/>
                <a:moveTo>
                  <a:pt x="883" y="1220"/>
                </a:moveTo>
                <a:lnTo>
                  <a:pt x="2607" y="1220"/>
                </a:lnTo>
                <a:lnTo>
                  <a:pt x="2626" y="1222"/>
                </a:lnTo>
                <a:lnTo>
                  <a:pt x="2644" y="1229"/>
                </a:lnTo>
                <a:lnTo>
                  <a:pt x="2659" y="1241"/>
                </a:lnTo>
                <a:lnTo>
                  <a:pt x="2671" y="1256"/>
                </a:lnTo>
                <a:lnTo>
                  <a:pt x="2678" y="1273"/>
                </a:lnTo>
                <a:lnTo>
                  <a:pt x="2681" y="1294"/>
                </a:lnTo>
                <a:lnTo>
                  <a:pt x="2678" y="1313"/>
                </a:lnTo>
                <a:lnTo>
                  <a:pt x="2671" y="1330"/>
                </a:lnTo>
                <a:lnTo>
                  <a:pt x="2659" y="1345"/>
                </a:lnTo>
                <a:lnTo>
                  <a:pt x="2644" y="1357"/>
                </a:lnTo>
                <a:lnTo>
                  <a:pt x="2626" y="1364"/>
                </a:lnTo>
                <a:lnTo>
                  <a:pt x="2607" y="1367"/>
                </a:lnTo>
                <a:lnTo>
                  <a:pt x="883" y="1367"/>
                </a:lnTo>
                <a:lnTo>
                  <a:pt x="864" y="1364"/>
                </a:lnTo>
                <a:lnTo>
                  <a:pt x="846" y="1357"/>
                </a:lnTo>
                <a:lnTo>
                  <a:pt x="831" y="1345"/>
                </a:lnTo>
                <a:lnTo>
                  <a:pt x="819" y="1330"/>
                </a:lnTo>
                <a:lnTo>
                  <a:pt x="813" y="1313"/>
                </a:lnTo>
                <a:lnTo>
                  <a:pt x="810" y="1294"/>
                </a:lnTo>
                <a:lnTo>
                  <a:pt x="813" y="1273"/>
                </a:lnTo>
                <a:lnTo>
                  <a:pt x="819" y="1256"/>
                </a:lnTo>
                <a:lnTo>
                  <a:pt x="831" y="1241"/>
                </a:lnTo>
                <a:lnTo>
                  <a:pt x="846" y="1229"/>
                </a:lnTo>
                <a:lnTo>
                  <a:pt x="864" y="1222"/>
                </a:lnTo>
                <a:lnTo>
                  <a:pt x="883" y="1220"/>
                </a:lnTo>
                <a:close/>
                <a:moveTo>
                  <a:pt x="1745" y="148"/>
                </a:moveTo>
                <a:lnTo>
                  <a:pt x="1641" y="151"/>
                </a:lnTo>
                <a:lnTo>
                  <a:pt x="1537" y="162"/>
                </a:lnTo>
                <a:lnTo>
                  <a:pt x="1436" y="178"/>
                </a:lnTo>
                <a:lnTo>
                  <a:pt x="1338" y="200"/>
                </a:lnTo>
                <a:lnTo>
                  <a:pt x="1241" y="229"/>
                </a:lnTo>
                <a:lnTo>
                  <a:pt x="1147" y="264"/>
                </a:lnTo>
                <a:lnTo>
                  <a:pt x="1056" y="305"/>
                </a:lnTo>
                <a:lnTo>
                  <a:pt x="967" y="350"/>
                </a:lnTo>
                <a:lnTo>
                  <a:pt x="883" y="401"/>
                </a:lnTo>
                <a:lnTo>
                  <a:pt x="802" y="457"/>
                </a:lnTo>
                <a:lnTo>
                  <a:pt x="724" y="518"/>
                </a:lnTo>
                <a:lnTo>
                  <a:pt x="651" y="583"/>
                </a:lnTo>
                <a:lnTo>
                  <a:pt x="581" y="653"/>
                </a:lnTo>
                <a:lnTo>
                  <a:pt x="516" y="726"/>
                </a:lnTo>
                <a:lnTo>
                  <a:pt x="455" y="805"/>
                </a:lnTo>
                <a:lnTo>
                  <a:pt x="400" y="886"/>
                </a:lnTo>
                <a:lnTo>
                  <a:pt x="349" y="970"/>
                </a:lnTo>
                <a:lnTo>
                  <a:pt x="304" y="1059"/>
                </a:lnTo>
                <a:lnTo>
                  <a:pt x="263" y="1150"/>
                </a:lnTo>
                <a:lnTo>
                  <a:pt x="228" y="1244"/>
                </a:lnTo>
                <a:lnTo>
                  <a:pt x="199" y="1341"/>
                </a:lnTo>
                <a:lnTo>
                  <a:pt x="177" y="1440"/>
                </a:lnTo>
                <a:lnTo>
                  <a:pt x="161" y="1542"/>
                </a:lnTo>
                <a:lnTo>
                  <a:pt x="150" y="1646"/>
                </a:lnTo>
                <a:lnTo>
                  <a:pt x="147" y="1750"/>
                </a:lnTo>
                <a:lnTo>
                  <a:pt x="150" y="1855"/>
                </a:lnTo>
                <a:lnTo>
                  <a:pt x="161" y="1959"/>
                </a:lnTo>
                <a:lnTo>
                  <a:pt x="177" y="2061"/>
                </a:lnTo>
                <a:lnTo>
                  <a:pt x="199" y="2159"/>
                </a:lnTo>
                <a:lnTo>
                  <a:pt x="228" y="2257"/>
                </a:lnTo>
                <a:lnTo>
                  <a:pt x="263" y="2351"/>
                </a:lnTo>
                <a:lnTo>
                  <a:pt x="304" y="2442"/>
                </a:lnTo>
                <a:lnTo>
                  <a:pt x="349" y="2531"/>
                </a:lnTo>
                <a:lnTo>
                  <a:pt x="400" y="2615"/>
                </a:lnTo>
                <a:lnTo>
                  <a:pt x="455" y="2696"/>
                </a:lnTo>
                <a:lnTo>
                  <a:pt x="516" y="2774"/>
                </a:lnTo>
                <a:lnTo>
                  <a:pt x="581" y="2848"/>
                </a:lnTo>
                <a:lnTo>
                  <a:pt x="651" y="2918"/>
                </a:lnTo>
                <a:lnTo>
                  <a:pt x="724" y="2983"/>
                </a:lnTo>
                <a:lnTo>
                  <a:pt x="802" y="3044"/>
                </a:lnTo>
                <a:lnTo>
                  <a:pt x="883" y="3100"/>
                </a:lnTo>
                <a:lnTo>
                  <a:pt x="967" y="3151"/>
                </a:lnTo>
                <a:lnTo>
                  <a:pt x="1056" y="3196"/>
                </a:lnTo>
                <a:lnTo>
                  <a:pt x="1147" y="3237"/>
                </a:lnTo>
                <a:lnTo>
                  <a:pt x="1241" y="3272"/>
                </a:lnTo>
                <a:lnTo>
                  <a:pt x="1338" y="3301"/>
                </a:lnTo>
                <a:lnTo>
                  <a:pt x="1436" y="3323"/>
                </a:lnTo>
                <a:lnTo>
                  <a:pt x="1537" y="3339"/>
                </a:lnTo>
                <a:lnTo>
                  <a:pt x="1641" y="3350"/>
                </a:lnTo>
                <a:lnTo>
                  <a:pt x="1745" y="3353"/>
                </a:lnTo>
                <a:lnTo>
                  <a:pt x="1850" y="3350"/>
                </a:lnTo>
                <a:lnTo>
                  <a:pt x="1953" y="3339"/>
                </a:lnTo>
                <a:lnTo>
                  <a:pt x="2054" y="3323"/>
                </a:lnTo>
                <a:lnTo>
                  <a:pt x="2154" y="3301"/>
                </a:lnTo>
                <a:lnTo>
                  <a:pt x="2250" y="3272"/>
                </a:lnTo>
                <a:lnTo>
                  <a:pt x="2343" y="3237"/>
                </a:lnTo>
                <a:lnTo>
                  <a:pt x="2434" y="3196"/>
                </a:lnTo>
                <a:lnTo>
                  <a:pt x="2523" y="3151"/>
                </a:lnTo>
                <a:lnTo>
                  <a:pt x="2607" y="3100"/>
                </a:lnTo>
                <a:lnTo>
                  <a:pt x="2688" y="3044"/>
                </a:lnTo>
                <a:lnTo>
                  <a:pt x="2766" y="2983"/>
                </a:lnTo>
                <a:lnTo>
                  <a:pt x="2839" y="2918"/>
                </a:lnTo>
                <a:lnTo>
                  <a:pt x="2909" y="2848"/>
                </a:lnTo>
                <a:lnTo>
                  <a:pt x="2974" y="2774"/>
                </a:lnTo>
                <a:lnTo>
                  <a:pt x="3035" y="2696"/>
                </a:lnTo>
                <a:lnTo>
                  <a:pt x="3090" y="2615"/>
                </a:lnTo>
                <a:lnTo>
                  <a:pt x="3141" y="2531"/>
                </a:lnTo>
                <a:lnTo>
                  <a:pt x="3186" y="2442"/>
                </a:lnTo>
                <a:lnTo>
                  <a:pt x="3227" y="2351"/>
                </a:lnTo>
                <a:lnTo>
                  <a:pt x="3262" y="2257"/>
                </a:lnTo>
                <a:lnTo>
                  <a:pt x="3291" y="2159"/>
                </a:lnTo>
                <a:lnTo>
                  <a:pt x="3313" y="2061"/>
                </a:lnTo>
                <a:lnTo>
                  <a:pt x="3329" y="1959"/>
                </a:lnTo>
                <a:lnTo>
                  <a:pt x="3340" y="1855"/>
                </a:lnTo>
                <a:lnTo>
                  <a:pt x="3343" y="1750"/>
                </a:lnTo>
                <a:lnTo>
                  <a:pt x="3340" y="1646"/>
                </a:lnTo>
                <a:lnTo>
                  <a:pt x="3329" y="1542"/>
                </a:lnTo>
                <a:lnTo>
                  <a:pt x="3313" y="1440"/>
                </a:lnTo>
                <a:lnTo>
                  <a:pt x="3291" y="1341"/>
                </a:lnTo>
                <a:lnTo>
                  <a:pt x="3262" y="1244"/>
                </a:lnTo>
                <a:lnTo>
                  <a:pt x="3227" y="1150"/>
                </a:lnTo>
                <a:lnTo>
                  <a:pt x="3186" y="1059"/>
                </a:lnTo>
                <a:lnTo>
                  <a:pt x="3141" y="970"/>
                </a:lnTo>
                <a:lnTo>
                  <a:pt x="3090" y="886"/>
                </a:lnTo>
                <a:lnTo>
                  <a:pt x="3035" y="805"/>
                </a:lnTo>
                <a:lnTo>
                  <a:pt x="2974" y="726"/>
                </a:lnTo>
                <a:lnTo>
                  <a:pt x="2909" y="653"/>
                </a:lnTo>
                <a:lnTo>
                  <a:pt x="2839" y="583"/>
                </a:lnTo>
                <a:lnTo>
                  <a:pt x="2766" y="518"/>
                </a:lnTo>
                <a:lnTo>
                  <a:pt x="2688" y="457"/>
                </a:lnTo>
                <a:lnTo>
                  <a:pt x="2607" y="401"/>
                </a:lnTo>
                <a:lnTo>
                  <a:pt x="2523" y="350"/>
                </a:lnTo>
                <a:lnTo>
                  <a:pt x="2434" y="305"/>
                </a:lnTo>
                <a:lnTo>
                  <a:pt x="2343" y="264"/>
                </a:lnTo>
                <a:lnTo>
                  <a:pt x="2250" y="229"/>
                </a:lnTo>
                <a:lnTo>
                  <a:pt x="2154" y="200"/>
                </a:lnTo>
                <a:lnTo>
                  <a:pt x="2054" y="178"/>
                </a:lnTo>
                <a:lnTo>
                  <a:pt x="1953" y="162"/>
                </a:lnTo>
                <a:lnTo>
                  <a:pt x="1850" y="151"/>
                </a:lnTo>
                <a:lnTo>
                  <a:pt x="1745" y="148"/>
                </a:lnTo>
                <a:close/>
                <a:moveTo>
                  <a:pt x="1745" y="0"/>
                </a:moveTo>
                <a:lnTo>
                  <a:pt x="1852" y="3"/>
                </a:lnTo>
                <a:lnTo>
                  <a:pt x="1956" y="13"/>
                </a:lnTo>
                <a:lnTo>
                  <a:pt x="2059" y="28"/>
                </a:lnTo>
                <a:lnTo>
                  <a:pt x="2159" y="49"/>
                </a:lnTo>
                <a:lnTo>
                  <a:pt x="2257" y="77"/>
                </a:lnTo>
                <a:lnTo>
                  <a:pt x="2353" y="109"/>
                </a:lnTo>
                <a:lnTo>
                  <a:pt x="2447" y="148"/>
                </a:lnTo>
                <a:lnTo>
                  <a:pt x="2538" y="190"/>
                </a:lnTo>
                <a:lnTo>
                  <a:pt x="2625" y="240"/>
                </a:lnTo>
                <a:lnTo>
                  <a:pt x="2709" y="292"/>
                </a:lnTo>
                <a:lnTo>
                  <a:pt x="2791" y="350"/>
                </a:lnTo>
                <a:lnTo>
                  <a:pt x="2869" y="412"/>
                </a:lnTo>
                <a:lnTo>
                  <a:pt x="2943" y="478"/>
                </a:lnTo>
                <a:lnTo>
                  <a:pt x="3013" y="549"/>
                </a:lnTo>
                <a:lnTo>
                  <a:pt x="3079" y="623"/>
                </a:lnTo>
                <a:lnTo>
                  <a:pt x="3141" y="701"/>
                </a:lnTo>
                <a:lnTo>
                  <a:pt x="3199" y="783"/>
                </a:lnTo>
                <a:lnTo>
                  <a:pt x="3251" y="868"/>
                </a:lnTo>
                <a:lnTo>
                  <a:pt x="3300" y="955"/>
                </a:lnTo>
                <a:lnTo>
                  <a:pt x="3343" y="1046"/>
                </a:lnTo>
                <a:lnTo>
                  <a:pt x="3381" y="1141"/>
                </a:lnTo>
                <a:lnTo>
                  <a:pt x="3413" y="1237"/>
                </a:lnTo>
                <a:lnTo>
                  <a:pt x="3441" y="1335"/>
                </a:lnTo>
                <a:lnTo>
                  <a:pt x="3462" y="1436"/>
                </a:lnTo>
                <a:lnTo>
                  <a:pt x="3477" y="1539"/>
                </a:lnTo>
                <a:lnTo>
                  <a:pt x="3487" y="1643"/>
                </a:lnTo>
                <a:lnTo>
                  <a:pt x="3490" y="1750"/>
                </a:lnTo>
                <a:lnTo>
                  <a:pt x="3487" y="1856"/>
                </a:lnTo>
                <a:lnTo>
                  <a:pt x="3477" y="1961"/>
                </a:lnTo>
                <a:lnTo>
                  <a:pt x="3462" y="2065"/>
                </a:lnTo>
                <a:lnTo>
                  <a:pt x="3441" y="2166"/>
                </a:lnTo>
                <a:lnTo>
                  <a:pt x="3413" y="2264"/>
                </a:lnTo>
                <a:lnTo>
                  <a:pt x="3381" y="2360"/>
                </a:lnTo>
                <a:lnTo>
                  <a:pt x="3343" y="2455"/>
                </a:lnTo>
                <a:lnTo>
                  <a:pt x="3300" y="2545"/>
                </a:lnTo>
                <a:lnTo>
                  <a:pt x="3251" y="2633"/>
                </a:lnTo>
                <a:lnTo>
                  <a:pt x="3199" y="2718"/>
                </a:lnTo>
                <a:lnTo>
                  <a:pt x="3141" y="2800"/>
                </a:lnTo>
                <a:lnTo>
                  <a:pt x="3079" y="2877"/>
                </a:lnTo>
                <a:lnTo>
                  <a:pt x="3013" y="2952"/>
                </a:lnTo>
                <a:lnTo>
                  <a:pt x="2943" y="3023"/>
                </a:lnTo>
                <a:lnTo>
                  <a:pt x="2869" y="3089"/>
                </a:lnTo>
                <a:lnTo>
                  <a:pt x="2791" y="3151"/>
                </a:lnTo>
                <a:lnTo>
                  <a:pt x="2709" y="3209"/>
                </a:lnTo>
                <a:lnTo>
                  <a:pt x="2625" y="3261"/>
                </a:lnTo>
                <a:lnTo>
                  <a:pt x="2538" y="3309"/>
                </a:lnTo>
                <a:lnTo>
                  <a:pt x="2447" y="3353"/>
                </a:lnTo>
                <a:lnTo>
                  <a:pt x="2353" y="3391"/>
                </a:lnTo>
                <a:lnTo>
                  <a:pt x="2257" y="3424"/>
                </a:lnTo>
                <a:lnTo>
                  <a:pt x="2159" y="3452"/>
                </a:lnTo>
                <a:lnTo>
                  <a:pt x="2059" y="3473"/>
                </a:lnTo>
                <a:lnTo>
                  <a:pt x="1956" y="3488"/>
                </a:lnTo>
                <a:lnTo>
                  <a:pt x="1852" y="3498"/>
                </a:lnTo>
                <a:lnTo>
                  <a:pt x="1745" y="3501"/>
                </a:lnTo>
                <a:lnTo>
                  <a:pt x="1745" y="3501"/>
                </a:lnTo>
                <a:lnTo>
                  <a:pt x="1639" y="3498"/>
                </a:lnTo>
                <a:lnTo>
                  <a:pt x="1535" y="3488"/>
                </a:lnTo>
                <a:lnTo>
                  <a:pt x="1431" y="3473"/>
                </a:lnTo>
                <a:lnTo>
                  <a:pt x="1331" y="3452"/>
                </a:lnTo>
                <a:lnTo>
                  <a:pt x="1233" y="3424"/>
                </a:lnTo>
                <a:lnTo>
                  <a:pt x="1137" y="3391"/>
                </a:lnTo>
                <a:lnTo>
                  <a:pt x="1043" y="3353"/>
                </a:lnTo>
                <a:lnTo>
                  <a:pt x="953" y="3309"/>
                </a:lnTo>
                <a:lnTo>
                  <a:pt x="865" y="3261"/>
                </a:lnTo>
                <a:lnTo>
                  <a:pt x="781" y="3209"/>
                </a:lnTo>
                <a:lnTo>
                  <a:pt x="699" y="3151"/>
                </a:lnTo>
                <a:lnTo>
                  <a:pt x="622" y="3089"/>
                </a:lnTo>
                <a:lnTo>
                  <a:pt x="547" y="3023"/>
                </a:lnTo>
                <a:lnTo>
                  <a:pt x="477" y="2952"/>
                </a:lnTo>
                <a:lnTo>
                  <a:pt x="411" y="2877"/>
                </a:lnTo>
                <a:lnTo>
                  <a:pt x="349" y="2800"/>
                </a:lnTo>
                <a:lnTo>
                  <a:pt x="291" y="2718"/>
                </a:lnTo>
                <a:lnTo>
                  <a:pt x="239" y="2633"/>
                </a:lnTo>
                <a:lnTo>
                  <a:pt x="191" y="2545"/>
                </a:lnTo>
                <a:lnTo>
                  <a:pt x="147" y="2455"/>
                </a:lnTo>
                <a:lnTo>
                  <a:pt x="110" y="2360"/>
                </a:lnTo>
                <a:lnTo>
                  <a:pt x="77" y="2264"/>
                </a:lnTo>
                <a:lnTo>
                  <a:pt x="49" y="2166"/>
                </a:lnTo>
                <a:lnTo>
                  <a:pt x="28" y="2065"/>
                </a:lnTo>
                <a:lnTo>
                  <a:pt x="13" y="1961"/>
                </a:lnTo>
                <a:lnTo>
                  <a:pt x="3" y="1856"/>
                </a:lnTo>
                <a:lnTo>
                  <a:pt x="0" y="1750"/>
                </a:lnTo>
                <a:lnTo>
                  <a:pt x="3" y="1643"/>
                </a:lnTo>
                <a:lnTo>
                  <a:pt x="13" y="1539"/>
                </a:lnTo>
                <a:lnTo>
                  <a:pt x="28" y="1436"/>
                </a:lnTo>
                <a:lnTo>
                  <a:pt x="49" y="1335"/>
                </a:lnTo>
                <a:lnTo>
                  <a:pt x="77" y="1237"/>
                </a:lnTo>
                <a:lnTo>
                  <a:pt x="110" y="1141"/>
                </a:lnTo>
                <a:lnTo>
                  <a:pt x="147" y="1046"/>
                </a:lnTo>
                <a:lnTo>
                  <a:pt x="191" y="955"/>
                </a:lnTo>
                <a:lnTo>
                  <a:pt x="239" y="868"/>
                </a:lnTo>
                <a:lnTo>
                  <a:pt x="291" y="783"/>
                </a:lnTo>
                <a:lnTo>
                  <a:pt x="349" y="701"/>
                </a:lnTo>
                <a:lnTo>
                  <a:pt x="411" y="623"/>
                </a:lnTo>
                <a:lnTo>
                  <a:pt x="477" y="549"/>
                </a:lnTo>
                <a:lnTo>
                  <a:pt x="547" y="478"/>
                </a:lnTo>
                <a:lnTo>
                  <a:pt x="622" y="412"/>
                </a:lnTo>
                <a:lnTo>
                  <a:pt x="699" y="350"/>
                </a:lnTo>
                <a:lnTo>
                  <a:pt x="781" y="292"/>
                </a:lnTo>
                <a:lnTo>
                  <a:pt x="865" y="240"/>
                </a:lnTo>
                <a:lnTo>
                  <a:pt x="953" y="190"/>
                </a:lnTo>
                <a:lnTo>
                  <a:pt x="1043" y="148"/>
                </a:lnTo>
                <a:lnTo>
                  <a:pt x="1137" y="109"/>
                </a:lnTo>
                <a:lnTo>
                  <a:pt x="1233" y="77"/>
                </a:lnTo>
                <a:lnTo>
                  <a:pt x="1331" y="49"/>
                </a:lnTo>
                <a:lnTo>
                  <a:pt x="1431" y="28"/>
                </a:lnTo>
                <a:lnTo>
                  <a:pt x="1535" y="13"/>
                </a:lnTo>
                <a:lnTo>
                  <a:pt x="1639" y="3"/>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7" name="Freeform 73"/>
          <p:cNvSpPr>
            <a:spLocks noChangeAspect="1" noEditPoints="1"/>
          </p:cNvSpPr>
          <p:nvPr/>
        </p:nvSpPr>
        <p:spPr bwMode="auto">
          <a:xfrm>
            <a:off x="5618828" y="5806446"/>
            <a:ext cx="285619" cy="285619"/>
          </a:xfrm>
          <a:custGeom>
            <a:avLst/>
            <a:gdLst>
              <a:gd name="T0" fmla="*/ 1607 w 3490"/>
              <a:gd name="T1" fmla="*/ 2354 h 3490"/>
              <a:gd name="T2" fmla="*/ 1662 w 3490"/>
              <a:gd name="T3" fmla="*/ 2536 h 3490"/>
              <a:gd name="T4" fmla="*/ 1851 w 3490"/>
              <a:gd name="T5" fmla="*/ 2518 h 3490"/>
              <a:gd name="T6" fmla="*/ 1869 w 3490"/>
              <a:gd name="T7" fmla="*/ 2328 h 3490"/>
              <a:gd name="T8" fmla="*/ 1789 w 3490"/>
              <a:gd name="T9" fmla="*/ 2118 h 3490"/>
              <a:gd name="T10" fmla="*/ 2015 w 3490"/>
              <a:gd name="T11" fmla="*/ 2288 h 3490"/>
              <a:gd name="T12" fmla="*/ 1995 w 3490"/>
              <a:gd name="T13" fmla="*/ 2574 h 3490"/>
              <a:gd name="T14" fmla="*/ 1745 w 3490"/>
              <a:gd name="T15" fmla="*/ 2709 h 3490"/>
              <a:gd name="T16" fmla="*/ 1497 w 3490"/>
              <a:gd name="T17" fmla="*/ 2574 h 3490"/>
              <a:gd name="T18" fmla="*/ 1476 w 3490"/>
              <a:gd name="T19" fmla="*/ 2288 h 3490"/>
              <a:gd name="T20" fmla="*/ 1701 w 3490"/>
              <a:gd name="T21" fmla="*/ 2118 h 3490"/>
              <a:gd name="T22" fmla="*/ 2924 w 3490"/>
              <a:gd name="T23" fmla="*/ 1708 h 3490"/>
              <a:gd name="T24" fmla="*/ 2880 w 3490"/>
              <a:gd name="T25" fmla="*/ 1815 h 3490"/>
              <a:gd name="T26" fmla="*/ 559 w 3490"/>
              <a:gd name="T27" fmla="*/ 1764 h 3490"/>
              <a:gd name="T28" fmla="*/ 630 w 3490"/>
              <a:gd name="T29" fmla="*/ 1671 h 3490"/>
              <a:gd name="T30" fmla="*/ 1607 w 3490"/>
              <a:gd name="T31" fmla="*/ 1020 h 3490"/>
              <a:gd name="T32" fmla="*/ 1662 w 3490"/>
              <a:gd name="T33" fmla="*/ 1202 h 3490"/>
              <a:gd name="T34" fmla="*/ 1851 w 3490"/>
              <a:gd name="T35" fmla="*/ 1183 h 3490"/>
              <a:gd name="T36" fmla="*/ 1869 w 3490"/>
              <a:gd name="T37" fmla="*/ 994 h 3490"/>
              <a:gd name="T38" fmla="*/ 1789 w 3490"/>
              <a:gd name="T39" fmla="*/ 784 h 3490"/>
              <a:gd name="T40" fmla="*/ 2015 w 3490"/>
              <a:gd name="T41" fmla="*/ 952 h 3490"/>
              <a:gd name="T42" fmla="*/ 1995 w 3490"/>
              <a:gd name="T43" fmla="*/ 1239 h 3490"/>
              <a:gd name="T44" fmla="*/ 1745 w 3490"/>
              <a:gd name="T45" fmla="*/ 1374 h 3490"/>
              <a:gd name="T46" fmla="*/ 1497 w 3490"/>
              <a:gd name="T47" fmla="*/ 1239 h 3490"/>
              <a:gd name="T48" fmla="*/ 1476 w 3490"/>
              <a:gd name="T49" fmla="*/ 952 h 3490"/>
              <a:gd name="T50" fmla="*/ 1701 w 3490"/>
              <a:gd name="T51" fmla="*/ 784 h 3490"/>
              <a:gd name="T52" fmla="*/ 1241 w 3490"/>
              <a:gd name="T53" fmla="*/ 228 h 3490"/>
              <a:gd name="T54" fmla="*/ 651 w 3490"/>
              <a:gd name="T55" fmla="*/ 581 h 3490"/>
              <a:gd name="T56" fmla="*/ 263 w 3490"/>
              <a:gd name="T57" fmla="*/ 1147 h 3490"/>
              <a:gd name="T58" fmla="*/ 150 w 3490"/>
              <a:gd name="T59" fmla="*/ 1849 h 3490"/>
              <a:gd name="T60" fmla="*/ 349 w 3490"/>
              <a:gd name="T61" fmla="*/ 2523 h 3490"/>
              <a:gd name="T62" fmla="*/ 802 w 3490"/>
              <a:gd name="T63" fmla="*/ 3035 h 3490"/>
              <a:gd name="T64" fmla="*/ 1436 w 3490"/>
              <a:gd name="T65" fmla="*/ 3313 h 3490"/>
              <a:gd name="T66" fmla="*/ 2154 w 3490"/>
              <a:gd name="T67" fmla="*/ 3291 h 3490"/>
              <a:gd name="T68" fmla="*/ 2766 w 3490"/>
              <a:gd name="T69" fmla="*/ 2974 h 3490"/>
              <a:gd name="T70" fmla="*/ 3186 w 3490"/>
              <a:gd name="T71" fmla="*/ 2434 h 3490"/>
              <a:gd name="T72" fmla="*/ 3343 w 3490"/>
              <a:gd name="T73" fmla="*/ 1745 h 3490"/>
              <a:gd name="T74" fmla="*/ 3186 w 3490"/>
              <a:gd name="T75" fmla="*/ 1056 h 3490"/>
              <a:gd name="T76" fmla="*/ 2766 w 3490"/>
              <a:gd name="T77" fmla="*/ 516 h 3490"/>
              <a:gd name="T78" fmla="*/ 2154 w 3490"/>
              <a:gd name="T79" fmla="*/ 199 h 3490"/>
              <a:gd name="T80" fmla="*/ 1956 w 3490"/>
              <a:gd name="T81" fmla="*/ 13 h 3490"/>
              <a:gd name="T82" fmla="*/ 2625 w 3490"/>
              <a:gd name="T83" fmla="*/ 239 h 3490"/>
              <a:gd name="T84" fmla="*/ 3141 w 3490"/>
              <a:gd name="T85" fmla="*/ 699 h 3490"/>
              <a:gd name="T86" fmla="*/ 3441 w 3490"/>
              <a:gd name="T87" fmla="*/ 1331 h 3490"/>
              <a:gd name="T88" fmla="*/ 3462 w 3490"/>
              <a:gd name="T89" fmla="*/ 2059 h 3490"/>
              <a:gd name="T90" fmla="*/ 3199 w 3490"/>
              <a:gd name="T91" fmla="*/ 2709 h 3490"/>
              <a:gd name="T92" fmla="*/ 2709 w 3490"/>
              <a:gd name="T93" fmla="*/ 3199 h 3490"/>
              <a:gd name="T94" fmla="*/ 2059 w 3490"/>
              <a:gd name="T95" fmla="*/ 3462 h 3490"/>
              <a:gd name="T96" fmla="*/ 1431 w 3490"/>
              <a:gd name="T97" fmla="*/ 3462 h 3490"/>
              <a:gd name="T98" fmla="*/ 781 w 3490"/>
              <a:gd name="T99" fmla="*/ 3199 h 3490"/>
              <a:gd name="T100" fmla="*/ 291 w 3490"/>
              <a:gd name="T101" fmla="*/ 2709 h 3490"/>
              <a:gd name="T102" fmla="*/ 28 w 3490"/>
              <a:gd name="T103" fmla="*/ 2059 h 3490"/>
              <a:gd name="T104" fmla="*/ 49 w 3490"/>
              <a:gd name="T105" fmla="*/ 1331 h 3490"/>
              <a:gd name="T106" fmla="*/ 349 w 3490"/>
              <a:gd name="T107" fmla="*/ 699 h 3490"/>
              <a:gd name="T108" fmla="*/ 865 w 3490"/>
              <a:gd name="T109" fmla="*/ 239 h 3490"/>
              <a:gd name="T110" fmla="*/ 1535 w 3490"/>
              <a:gd name="T111" fmla="*/ 13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0" h="3490">
                <a:moveTo>
                  <a:pt x="1745" y="2262"/>
                </a:moveTo>
                <a:lnTo>
                  <a:pt x="1715" y="2265"/>
                </a:lnTo>
                <a:lnTo>
                  <a:pt x="1686" y="2274"/>
                </a:lnTo>
                <a:lnTo>
                  <a:pt x="1662" y="2288"/>
                </a:lnTo>
                <a:lnTo>
                  <a:pt x="1639" y="2307"/>
                </a:lnTo>
                <a:lnTo>
                  <a:pt x="1621" y="2328"/>
                </a:lnTo>
                <a:lnTo>
                  <a:pt x="1607" y="2354"/>
                </a:lnTo>
                <a:lnTo>
                  <a:pt x="1599" y="2383"/>
                </a:lnTo>
                <a:lnTo>
                  <a:pt x="1596" y="2413"/>
                </a:lnTo>
                <a:lnTo>
                  <a:pt x="1599" y="2443"/>
                </a:lnTo>
                <a:lnTo>
                  <a:pt x="1607" y="2470"/>
                </a:lnTo>
                <a:lnTo>
                  <a:pt x="1621" y="2496"/>
                </a:lnTo>
                <a:lnTo>
                  <a:pt x="1639" y="2518"/>
                </a:lnTo>
                <a:lnTo>
                  <a:pt x="1662" y="2536"/>
                </a:lnTo>
                <a:lnTo>
                  <a:pt x="1686" y="2550"/>
                </a:lnTo>
                <a:lnTo>
                  <a:pt x="1715" y="2559"/>
                </a:lnTo>
                <a:lnTo>
                  <a:pt x="1745" y="2562"/>
                </a:lnTo>
                <a:lnTo>
                  <a:pt x="1775" y="2559"/>
                </a:lnTo>
                <a:lnTo>
                  <a:pt x="1804" y="2550"/>
                </a:lnTo>
                <a:lnTo>
                  <a:pt x="1828" y="2536"/>
                </a:lnTo>
                <a:lnTo>
                  <a:pt x="1851" y="2518"/>
                </a:lnTo>
                <a:lnTo>
                  <a:pt x="1869" y="2496"/>
                </a:lnTo>
                <a:lnTo>
                  <a:pt x="1883" y="2470"/>
                </a:lnTo>
                <a:lnTo>
                  <a:pt x="1892" y="2443"/>
                </a:lnTo>
                <a:lnTo>
                  <a:pt x="1894" y="2413"/>
                </a:lnTo>
                <a:lnTo>
                  <a:pt x="1892" y="2383"/>
                </a:lnTo>
                <a:lnTo>
                  <a:pt x="1883" y="2354"/>
                </a:lnTo>
                <a:lnTo>
                  <a:pt x="1869" y="2328"/>
                </a:lnTo>
                <a:lnTo>
                  <a:pt x="1851" y="2307"/>
                </a:lnTo>
                <a:lnTo>
                  <a:pt x="1828" y="2288"/>
                </a:lnTo>
                <a:lnTo>
                  <a:pt x="1804" y="2274"/>
                </a:lnTo>
                <a:lnTo>
                  <a:pt x="1775" y="2265"/>
                </a:lnTo>
                <a:lnTo>
                  <a:pt x="1745" y="2262"/>
                </a:lnTo>
                <a:close/>
                <a:moveTo>
                  <a:pt x="1745" y="2115"/>
                </a:moveTo>
                <a:lnTo>
                  <a:pt x="1789" y="2118"/>
                </a:lnTo>
                <a:lnTo>
                  <a:pt x="1830" y="2128"/>
                </a:lnTo>
                <a:lnTo>
                  <a:pt x="1870" y="2143"/>
                </a:lnTo>
                <a:lnTo>
                  <a:pt x="1907" y="2163"/>
                </a:lnTo>
                <a:lnTo>
                  <a:pt x="1940" y="2189"/>
                </a:lnTo>
                <a:lnTo>
                  <a:pt x="1969" y="2217"/>
                </a:lnTo>
                <a:lnTo>
                  <a:pt x="1995" y="2251"/>
                </a:lnTo>
                <a:lnTo>
                  <a:pt x="2015" y="2288"/>
                </a:lnTo>
                <a:lnTo>
                  <a:pt x="2030" y="2326"/>
                </a:lnTo>
                <a:lnTo>
                  <a:pt x="2038" y="2369"/>
                </a:lnTo>
                <a:lnTo>
                  <a:pt x="2042" y="2413"/>
                </a:lnTo>
                <a:lnTo>
                  <a:pt x="2038" y="2456"/>
                </a:lnTo>
                <a:lnTo>
                  <a:pt x="2030" y="2498"/>
                </a:lnTo>
                <a:lnTo>
                  <a:pt x="2015" y="2537"/>
                </a:lnTo>
                <a:lnTo>
                  <a:pt x="1995" y="2574"/>
                </a:lnTo>
                <a:lnTo>
                  <a:pt x="1969" y="2607"/>
                </a:lnTo>
                <a:lnTo>
                  <a:pt x="1940" y="2637"/>
                </a:lnTo>
                <a:lnTo>
                  <a:pt x="1907" y="2661"/>
                </a:lnTo>
                <a:lnTo>
                  <a:pt x="1870" y="2681"/>
                </a:lnTo>
                <a:lnTo>
                  <a:pt x="1830" y="2696"/>
                </a:lnTo>
                <a:lnTo>
                  <a:pt x="1789" y="2706"/>
                </a:lnTo>
                <a:lnTo>
                  <a:pt x="1745" y="2709"/>
                </a:lnTo>
                <a:lnTo>
                  <a:pt x="1701" y="2706"/>
                </a:lnTo>
                <a:lnTo>
                  <a:pt x="1660" y="2696"/>
                </a:lnTo>
                <a:lnTo>
                  <a:pt x="1620" y="2681"/>
                </a:lnTo>
                <a:lnTo>
                  <a:pt x="1584" y="2661"/>
                </a:lnTo>
                <a:lnTo>
                  <a:pt x="1551" y="2637"/>
                </a:lnTo>
                <a:lnTo>
                  <a:pt x="1521" y="2607"/>
                </a:lnTo>
                <a:lnTo>
                  <a:pt x="1497" y="2574"/>
                </a:lnTo>
                <a:lnTo>
                  <a:pt x="1476" y="2537"/>
                </a:lnTo>
                <a:lnTo>
                  <a:pt x="1461" y="2498"/>
                </a:lnTo>
                <a:lnTo>
                  <a:pt x="1452" y="2456"/>
                </a:lnTo>
                <a:lnTo>
                  <a:pt x="1449" y="2413"/>
                </a:lnTo>
                <a:lnTo>
                  <a:pt x="1452" y="2369"/>
                </a:lnTo>
                <a:lnTo>
                  <a:pt x="1461" y="2326"/>
                </a:lnTo>
                <a:lnTo>
                  <a:pt x="1476" y="2288"/>
                </a:lnTo>
                <a:lnTo>
                  <a:pt x="1497" y="2251"/>
                </a:lnTo>
                <a:lnTo>
                  <a:pt x="1521" y="2217"/>
                </a:lnTo>
                <a:lnTo>
                  <a:pt x="1551" y="2189"/>
                </a:lnTo>
                <a:lnTo>
                  <a:pt x="1584" y="2163"/>
                </a:lnTo>
                <a:lnTo>
                  <a:pt x="1620" y="2143"/>
                </a:lnTo>
                <a:lnTo>
                  <a:pt x="1660" y="2128"/>
                </a:lnTo>
                <a:lnTo>
                  <a:pt x="1701" y="2118"/>
                </a:lnTo>
                <a:lnTo>
                  <a:pt x="1745" y="2115"/>
                </a:lnTo>
                <a:close/>
                <a:moveTo>
                  <a:pt x="630" y="1671"/>
                </a:moveTo>
                <a:lnTo>
                  <a:pt x="2860" y="1671"/>
                </a:lnTo>
                <a:lnTo>
                  <a:pt x="2880" y="1673"/>
                </a:lnTo>
                <a:lnTo>
                  <a:pt x="2897" y="1681"/>
                </a:lnTo>
                <a:lnTo>
                  <a:pt x="2912" y="1693"/>
                </a:lnTo>
                <a:lnTo>
                  <a:pt x="2924" y="1708"/>
                </a:lnTo>
                <a:lnTo>
                  <a:pt x="2931" y="1726"/>
                </a:lnTo>
                <a:lnTo>
                  <a:pt x="2933" y="1745"/>
                </a:lnTo>
                <a:lnTo>
                  <a:pt x="2931" y="1764"/>
                </a:lnTo>
                <a:lnTo>
                  <a:pt x="2924" y="1782"/>
                </a:lnTo>
                <a:lnTo>
                  <a:pt x="2912" y="1797"/>
                </a:lnTo>
                <a:lnTo>
                  <a:pt x="2897" y="1809"/>
                </a:lnTo>
                <a:lnTo>
                  <a:pt x="2880" y="1815"/>
                </a:lnTo>
                <a:lnTo>
                  <a:pt x="2860" y="1819"/>
                </a:lnTo>
                <a:lnTo>
                  <a:pt x="630" y="1819"/>
                </a:lnTo>
                <a:lnTo>
                  <a:pt x="610" y="1815"/>
                </a:lnTo>
                <a:lnTo>
                  <a:pt x="593" y="1809"/>
                </a:lnTo>
                <a:lnTo>
                  <a:pt x="578" y="1797"/>
                </a:lnTo>
                <a:lnTo>
                  <a:pt x="566" y="1782"/>
                </a:lnTo>
                <a:lnTo>
                  <a:pt x="559" y="1764"/>
                </a:lnTo>
                <a:lnTo>
                  <a:pt x="557" y="1745"/>
                </a:lnTo>
                <a:lnTo>
                  <a:pt x="559" y="1726"/>
                </a:lnTo>
                <a:lnTo>
                  <a:pt x="566" y="1708"/>
                </a:lnTo>
                <a:lnTo>
                  <a:pt x="578" y="1693"/>
                </a:lnTo>
                <a:lnTo>
                  <a:pt x="593" y="1681"/>
                </a:lnTo>
                <a:lnTo>
                  <a:pt x="610" y="1673"/>
                </a:lnTo>
                <a:lnTo>
                  <a:pt x="630" y="1671"/>
                </a:lnTo>
                <a:close/>
                <a:moveTo>
                  <a:pt x="1745" y="928"/>
                </a:moveTo>
                <a:lnTo>
                  <a:pt x="1715" y="931"/>
                </a:lnTo>
                <a:lnTo>
                  <a:pt x="1686" y="940"/>
                </a:lnTo>
                <a:lnTo>
                  <a:pt x="1662" y="953"/>
                </a:lnTo>
                <a:lnTo>
                  <a:pt x="1639" y="972"/>
                </a:lnTo>
                <a:lnTo>
                  <a:pt x="1621" y="994"/>
                </a:lnTo>
                <a:lnTo>
                  <a:pt x="1607" y="1020"/>
                </a:lnTo>
                <a:lnTo>
                  <a:pt x="1599" y="1047"/>
                </a:lnTo>
                <a:lnTo>
                  <a:pt x="1596" y="1077"/>
                </a:lnTo>
                <a:lnTo>
                  <a:pt x="1599" y="1107"/>
                </a:lnTo>
                <a:lnTo>
                  <a:pt x="1607" y="1136"/>
                </a:lnTo>
                <a:lnTo>
                  <a:pt x="1621" y="1161"/>
                </a:lnTo>
                <a:lnTo>
                  <a:pt x="1639" y="1183"/>
                </a:lnTo>
                <a:lnTo>
                  <a:pt x="1662" y="1202"/>
                </a:lnTo>
                <a:lnTo>
                  <a:pt x="1686" y="1215"/>
                </a:lnTo>
                <a:lnTo>
                  <a:pt x="1715" y="1224"/>
                </a:lnTo>
                <a:lnTo>
                  <a:pt x="1745" y="1228"/>
                </a:lnTo>
                <a:lnTo>
                  <a:pt x="1775" y="1224"/>
                </a:lnTo>
                <a:lnTo>
                  <a:pt x="1804" y="1215"/>
                </a:lnTo>
                <a:lnTo>
                  <a:pt x="1828" y="1202"/>
                </a:lnTo>
                <a:lnTo>
                  <a:pt x="1851" y="1183"/>
                </a:lnTo>
                <a:lnTo>
                  <a:pt x="1869" y="1161"/>
                </a:lnTo>
                <a:lnTo>
                  <a:pt x="1883" y="1136"/>
                </a:lnTo>
                <a:lnTo>
                  <a:pt x="1892" y="1107"/>
                </a:lnTo>
                <a:lnTo>
                  <a:pt x="1894" y="1077"/>
                </a:lnTo>
                <a:lnTo>
                  <a:pt x="1892" y="1047"/>
                </a:lnTo>
                <a:lnTo>
                  <a:pt x="1883" y="1020"/>
                </a:lnTo>
                <a:lnTo>
                  <a:pt x="1869" y="994"/>
                </a:lnTo>
                <a:lnTo>
                  <a:pt x="1851" y="972"/>
                </a:lnTo>
                <a:lnTo>
                  <a:pt x="1828" y="953"/>
                </a:lnTo>
                <a:lnTo>
                  <a:pt x="1804" y="940"/>
                </a:lnTo>
                <a:lnTo>
                  <a:pt x="1775" y="931"/>
                </a:lnTo>
                <a:lnTo>
                  <a:pt x="1745" y="928"/>
                </a:lnTo>
                <a:close/>
                <a:moveTo>
                  <a:pt x="1745" y="781"/>
                </a:moveTo>
                <a:lnTo>
                  <a:pt x="1789" y="784"/>
                </a:lnTo>
                <a:lnTo>
                  <a:pt x="1830" y="793"/>
                </a:lnTo>
                <a:lnTo>
                  <a:pt x="1870" y="808"/>
                </a:lnTo>
                <a:lnTo>
                  <a:pt x="1907" y="829"/>
                </a:lnTo>
                <a:lnTo>
                  <a:pt x="1940" y="853"/>
                </a:lnTo>
                <a:lnTo>
                  <a:pt x="1969" y="883"/>
                </a:lnTo>
                <a:lnTo>
                  <a:pt x="1995" y="916"/>
                </a:lnTo>
                <a:lnTo>
                  <a:pt x="2015" y="952"/>
                </a:lnTo>
                <a:lnTo>
                  <a:pt x="2030" y="992"/>
                </a:lnTo>
                <a:lnTo>
                  <a:pt x="2038" y="1033"/>
                </a:lnTo>
                <a:lnTo>
                  <a:pt x="2042" y="1077"/>
                </a:lnTo>
                <a:lnTo>
                  <a:pt x="2038" y="1121"/>
                </a:lnTo>
                <a:lnTo>
                  <a:pt x="2030" y="1163"/>
                </a:lnTo>
                <a:lnTo>
                  <a:pt x="2015" y="1202"/>
                </a:lnTo>
                <a:lnTo>
                  <a:pt x="1995" y="1239"/>
                </a:lnTo>
                <a:lnTo>
                  <a:pt x="1969" y="1272"/>
                </a:lnTo>
                <a:lnTo>
                  <a:pt x="1940" y="1301"/>
                </a:lnTo>
                <a:lnTo>
                  <a:pt x="1907" y="1327"/>
                </a:lnTo>
                <a:lnTo>
                  <a:pt x="1870" y="1347"/>
                </a:lnTo>
                <a:lnTo>
                  <a:pt x="1830" y="1362"/>
                </a:lnTo>
                <a:lnTo>
                  <a:pt x="1789" y="1371"/>
                </a:lnTo>
                <a:lnTo>
                  <a:pt x="1745" y="1374"/>
                </a:lnTo>
                <a:lnTo>
                  <a:pt x="1701" y="1371"/>
                </a:lnTo>
                <a:lnTo>
                  <a:pt x="1660" y="1362"/>
                </a:lnTo>
                <a:lnTo>
                  <a:pt x="1620" y="1347"/>
                </a:lnTo>
                <a:lnTo>
                  <a:pt x="1584" y="1327"/>
                </a:lnTo>
                <a:lnTo>
                  <a:pt x="1551" y="1301"/>
                </a:lnTo>
                <a:lnTo>
                  <a:pt x="1521" y="1272"/>
                </a:lnTo>
                <a:lnTo>
                  <a:pt x="1497" y="1239"/>
                </a:lnTo>
                <a:lnTo>
                  <a:pt x="1476" y="1202"/>
                </a:lnTo>
                <a:lnTo>
                  <a:pt x="1461" y="1163"/>
                </a:lnTo>
                <a:lnTo>
                  <a:pt x="1452" y="1121"/>
                </a:lnTo>
                <a:lnTo>
                  <a:pt x="1449" y="1077"/>
                </a:lnTo>
                <a:lnTo>
                  <a:pt x="1452" y="1033"/>
                </a:lnTo>
                <a:lnTo>
                  <a:pt x="1461" y="992"/>
                </a:lnTo>
                <a:lnTo>
                  <a:pt x="1476" y="952"/>
                </a:lnTo>
                <a:lnTo>
                  <a:pt x="1497" y="916"/>
                </a:lnTo>
                <a:lnTo>
                  <a:pt x="1521" y="883"/>
                </a:lnTo>
                <a:lnTo>
                  <a:pt x="1551" y="853"/>
                </a:lnTo>
                <a:lnTo>
                  <a:pt x="1584" y="829"/>
                </a:lnTo>
                <a:lnTo>
                  <a:pt x="1620" y="808"/>
                </a:lnTo>
                <a:lnTo>
                  <a:pt x="1660" y="793"/>
                </a:lnTo>
                <a:lnTo>
                  <a:pt x="1701" y="784"/>
                </a:lnTo>
                <a:lnTo>
                  <a:pt x="1745" y="781"/>
                </a:lnTo>
                <a:close/>
                <a:moveTo>
                  <a:pt x="1745" y="147"/>
                </a:moveTo>
                <a:lnTo>
                  <a:pt x="1641" y="150"/>
                </a:lnTo>
                <a:lnTo>
                  <a:pt x="1537" y="161"/>
                </a:lnTo>
                <a:lnTo>
                  <a:pt x="1436" y="177"/>
                </a:lnTo>
                <a:lnTo>
                  <a:pt x="1338" y="199"/>
                </a:lnTo>
                <a:lnTo>
                  <a:pt x="1241" y="228"/>
                </a:lnTo>
                <a:lnTo>
                  <a:pt x="1147" y="263"/>
                </a:lnTo>
                <a:lnTo>
                  <a:pt x="1056" y="304"/>
                </a:lnTo>
                <a:lnTo>
                  <a:pt x="967" y="349"/>
                </a:lnTo>
                <a:lnTo>
                  <a:pt x="883" y="400"/>
                </a:lnTo>
                <a:lnTo>
                  <a:pt x="802" y="455"/>
                </a:lnTo>
                <a:lnTo>
                  <a:pt x="724" y="516"/>
                </a:lnTo>
                <a:lnTo>
                  <a:pt x="651" y="581"/>
                </a:lnTo>
                <a:lnTo>
                  <a:pt x="581" y="651"/>
                </a:lnTo>
                <a:lnTo>
                  <a:pt x="516" y="724"/>
                </a:lnTo>
                <a:lnTo>
                  <a:pt x="455" y="802"/>
                </a:lnTo>
                <a:lnTo>
                  <a:pt x="400" y="883"/>
                </a:lnTo>
                <a:lnTo>
                  <a:pt x="349" y="967"/>
                </a:lnTo>
                <a:lnTo>
                  <a:pt x="304" y="1056"/>
                </a:lnTo>
                <a:lnTo>
                  <a:pt x="263" y="1147"/>
                </a:lnTo>
                <a:lnTo>
                  <a:pt x="228" y="1240"/>
                </a:lnTo>
                <a:lnTo>
                  <a:pt x="199" y="1336"/>
                </a:lnTo>
                <a:lnTo>
                  <a:pt x="177" y="1436"/>
                </a:lnTo>
                <a:lnTo>
                  <a:pt x="161" y="1537"/>
                </a:lnTo>
                <a:lnTo>
                  <a:pt x="150" y="1640"/>
                </a:lnTo>
                <a:lnTo>
                  <a:pt x="147" y="1745"/>
                </a:lnTo>
                <a:lnTo>
                  <a:pt x="150" y="1849"/>
                </a:lnTo>
                <a:lnTo>
                  <a:pt x="161" y="1953"/>
                </a:lnTo>
                <a:lnTo>
                  <a:pt x="177" y="2054"/>
                </a:lnTo>
                <a:lnTo>
                  <a:pt x="199" y="2152"/>
                </a:lnTo>
                <a:lnTo>
                  <a:pt x="228" y="2249"/>
                </a:lnTo>
                <a:lnTo>
                  <a:pt x="263" y="2343"/>
                </a:lnTo>
                <a:lnTo>
                  <a:pt x="304" y="2434"/>
                </a:lnTo>
                <a:lnTo>
                  <a:pt x="349" y="2523"/>
                </a:lnTo>
                <a:lnTo>
                  <a:pt x="400" y="2607"/>
                </a:lnTo>
                <a:lnTo>
                  <a:pt x="455" y="2688"/>
                </a:lnTo>
                <a:lnTo>
                  <a:pt x="516" y="2766"/>
                </a:lnTo>
                <a:lnTo>
                  <a:pt x="581" y="2839"/>
                </a:lnTo>
                <a:lnTo>
                  <a:pt x="651" y="2909"/>
                </a:lnTo>
                <a:lnTo>
                  <a:pt x="724" y="2974"/>
                </a:lnTo>
                <a:lnTo>
                  <a:pt x="802" y="3035"/>
                </a:lnTo>
                <a:lnTo>
                  <a:pt x="883" y="3090"/>
                </a:lnTo>
                <a:lnTo>
                  <a:pt x="967" y="3141"/>
                </a:lnTo>
                <a:lnTo>
                  <a:pt x="1056" y="3186"/>
                </a:lnTo>
                <a:lnTo>
                  <a:pt x="1147" y="3227"/>
                </a:lnTo>
                <a:lnTo>
                  <a:pt x="1241" y="3262"/>
                </a:lnTo>
                <a:lnTo>
                  <a:pt x="1338" y="3291"/>
                </a:lnTo>
                <a:lnTo>
                  <a:pt x="1436" y="3313"/>
                </a:lnTo>
                <a:lnTo>
                  <a:pt x="1537" y="3329"/>
                </a:lnTo>
                <a:lnTo>
                  <a:pt x="1641" y="3340"/>
                </a:lnTo>
                <a:lnTo>
                  <a:pt x="1745" y="3343"/>
                </a:lnTo>
                <a:lnTo>
                  <a:pt x="1850" y="3340"/>
                </a:lnTo>
                <a:lnTo>
                  <a:pt x="1953" y="3329"/>
                </a:lnTo>
                <a:lnTo>
                  <a:pt x="2054" y="3313"/>
                </a:lnTo>
                <a:lnTo>
                  <a:pt x="2154" y="3291"/>
                </a:lnTo>
                <a:lnTo>
                  <a:pt x="2250" y="3262"/>
                </a:lnTo>
                <a:lnTo>
                  <a:pt x="2343" y="3227"/>
                </a:lnTo>
                <a:lnTo>
                  <a:pt x="2434" y="3186"/>
                </a:lnTo>
                <a:lnTo>
                  <a:pt x="2523" y="3141"/>
                </a:lnTo>
                <a:lnTo>
                  <a:pt x="2607" y="3090"/>
                </a:lnTo>
                <a:lnTo>
                  <a:pt x="2688" y="3035"/>
                </a:lnTo>
                <a:lnTo>
                  <a:pt x="2766" y="2974"/>
                </a:lnTo>
                <a:lnTo>
                  <a:pt x="2839" y="2909"/>
                </a:lnTo>
                <a:lnTo>
                  <a:pt x="2909" y="2839"/>
                </a:lnTo>
                <a:lnTo>
                  <a:pt x="2974" y="2766"/>
                </a:lnTo>
                <a:lnTo>
                  <a:pt x="3035" y="2688"/>
                </a:lnTo>
                <a:lnTo>
                  <a:pt x="3090" y="2607"/>
                </a:lnTo>
                <a:lnTo>
                  <a:pt x="3141" y="2523"/>
                </a:lnTo>
                <a:lnTo>
                  <a:pt x="3186" y="2434"/>
                </a:lnTo>
                <a:lnTo>
                  <a:pt x="3227" y="2343"/>
                </a:lnTo>
                <a:lnTo>
                  <a:pt x="3262" y="2249"/>
                </a:lnTo>
                <a:lnTo>
                  <a:pt x="3291" y="2152"/>
                </a:lnTo>
                <a:lnTo>
                  <a:pt x="3313" y="2054"/>
                </a:lnTo>
                <a:lnTo>
                  <a:pt x="3330" y="1953"/>
                </a:lnTo>
                <a:lnTo>
                  <a:pt x="3340" y="1849"/>
                </a:lnTo>
                <a:lnTo>
                  <a:pt x="3343" y="1745"/>
                </a:lnTo>
                <a:lnTo>
                  <a:pt x="3340" y="1640"/>
                </a:lnTo>
                <a:lnTo>
                  <a:pt x="3330" y="1537"/>
                </a:lnTo>
                <a:lnTo>
                  <a:pt x="3313" y="1436"/>
                </a:lnTo>
                <a:lnTo>
                  <a:pt x="3291" y="1336"/>
                </a:lnTo>
                <a:lnTo>
                  <a:pt x="3262" y="1240"/>
                </a:lnTo>
                <a:lnTo>
                  <a:pt x="3227" y="1147"/>
                </a:lnTo>
                <a:lnTo>
                  <a:pt x="3186" y="1056"/>
                </a:lnTo>
                <a:lnTo>
                  <a:pt x="3141" y="967"/>
                </a:lnTo>
                <a:lnTo>
                  <a:pt x="3090" y="883"/>
                </a:lnTo>
                <a:lnTo>
                  <a:pt x="3035" y="802"/>
                </a:lnTo>
                <a:lnTo>
                  <a:pt x="2974" y="724"/>
                </a:lnTo>
                <a:lnTo>
                  <a:pt x="2909" y="651"/>
                </a:lnTo>
                <a:lnTo>
                  <a:pt x="2839" y="581"/>
                </a:lnTo>
                <a:lnTo>
                  <a:pt x="2766" y="516"/>
                </a:lnTo>
                <a:lnTo>
                  <a:pt x="2688" y="455"/>
                </a:lnTo>
                <a:lnTo>
                  <a:pt x="2607" y="400"/>
                </a:lnTo>
                <a:lnTo>
                  <a:pt x="2523" y="349"/>
                </a:lnTo>
                <a:lnTo>
                  <a:pt x="2434" y="304"/>
                </a:lnTo>
                <a:lnTo>
                  <a:pt x="2343" y="263"/>
                </a:lnTo>
                <a:lnTo>
                  <a:pt x="2250" y="228"/>
                </a:lnTo>
                <a:lnTo>
                  <a:pt x="2154" y="199"/>
                </a:lnTo>
                <a:lnTo>
                  <a:pt x="2054" y="177"/>
                </a:lnTo>
                <a:lnTo>
                  <a:pt x="1953" y="161"/>
                </a:lnTo>
                <a:lnTo>
                  <a:pt x="1850" y="150"/>
                </a:lnTo>
                <a:lnTo>
                  <a:pt x="1745" y="147"/>
                </a:lnTo>
                <a:close/>
                <a:moveTo>
                  <a:pt x="1745" y="0"/>
                </a:moveTo>
                <a:lnTo>
                  <a:pt x="1852" y="3"/>
                </a:lnTo>
                <a:lnTo>
                  <a:pt x="1956" y="13"/>
                </a:lnTo>
                <a:lnTo>
                  <a:pt x="2059" y="28"/>
                </a:lnTo>
                <a:lnTo>
                  <a:pt x="2159" y="49"/>
                </a:lnTo>
                <a:lnTo>
                  <a:pt x="2257" y="77"/>
                </a:lnTo>
                <a:lnTo>
                  <a:pt x="2353" y="109"/>
                </a:lnTo>
                <a:lnTo>
                  <a:pt x="2447" y="147"/>
                </a:lnTo>
                <a:lnTo>
                  <a:pt x="2538" y="190"/>
                </a:lnTo>
                <a:lnTo>
                  <a:pt x="2625" y="239"/>
                </a:lnTo>
                <a:lnTo>
                  <a:pt x="2709" y="291"/>
                </a:lnTo>
                <a:lnTo>
                  <a:pt x="2791" y="349"/>
                </a:lnTo>
                <a:lnTo>
                  <a:pt x="2869" y="411"/>
                </a:lnTo>
                <a:lnTo>
                  <a:pt x="2943" y="477"/>
                </a:lnTo>
                <a:lnTo>
                  <a:pt x="3013" y="547"/>
                </a:lnTo>
                <a:lnTo>
                  <a:pt x="3079" y="621"/>
                </a:lnTo>
                <a:lnTo>
                  <a:pt x="3141" y="699"/>
                </a:lnTo>
                <a:lnTo>
                  <a:pt x="3199" y="781"/>
                </a:lnTo>
                <a:lnTo>
                  <a:pt x="3251" y="865"/>
                </a:lnTo>
                <a:lnTo>
                  <a:pt x="3300" y="952"/>
                </a:lnTo>
                <a:lnTo>
                  <a:pt x="3343" y="1043"/>
                </a:lnTo>
                <a:lnTo>
                  <a:pt x="3381" y="1137"/>
                </a:lnTo>
                <a:lnTo>
                  <a:pt x="3413" y="1233"/>
                </a:lnTo>
                <a:lnTo>
                  <a:pt x="3441" y="1331"/>
                </a:lnTo>
                <a:lnTo>
                  <a:pt x="3462" y="1431"/>
                </a:lnTo>
                <a:lnTo>
                  <a:pt x="3477" y="1534"/>
                </a:lnTo>
                <a:lnTo>
                  <a:pt x="3487" y="1638"/>
                </a:lnTo>
                <a:lnTo>
                  <a:pt x="3490" y="1745"/>
                </a:lnTo>
                <a:lnTo>
                  <a:pt x="3487" y="1851"/>
                </a:lnTo>
                <a:lnTo>
                  <a:pt x="3477" y="1955"/>
                </a:lnTo>
                <a:lnTo>
                  <a:pt x="3462" y="2059"/>
                </a:lnTo>
                <a:lnTo>
                  <a:pt x="3441" y="2159"/>
                </a:lnTo>
                <a:lnTo>
                  <a:pt x="3413" y="2257"/>
                </a:lnTo>
                <a:lnTo>
                  <a:pt x="3381" y="2353"/>
                </a:lnTo>
                <a:lnTo>
                  <a:pt x="3343" y="2447"/>
                </a:lnTo>
                <a:lnTo>
                  <a:pt x="3300" y="2537"/>
                </a:lnTo>
                <a:lnTo>
                  <a:pt x="3251" y="2625"/>
                </a:lnTo>
                <a:lnTo>
                  <a:pt x="3199" y="2709"/>
                </a:lnTo>
                <a:lnTo>
                  <a:pt x="3141" y="2791"/>
                </a:lnTo>
                <a:lnTo>
                  <a:pt x="3079" y="2868"/>
                </a:lnTo>
                <a:lnTo>
                  <a:pt x="3013" y="2943"/>
                </a:lnTo>
                <a:lnTo>
                  <a:pt x="2943" y="3013"/>
                </a:lnTo>
                <a:lnTo>
                  <a:pt x="2869" y="3079"/>
                </a:lnTo>
                <a:lnTo>
                  <a:pt x="2791" y="3141"/>
                </a:lnTo>
                <a:lnTo>
                  <a:pt x="2709" y="3199"/>
                </a:lnTo>
                <a:lnTo>
                  <a:pt x="2625" y="3251"/>
                </a:lnTo>
                <a:lnTo>
                  <a:pt x="2538" y="3299"/>
                </a:lnTo>
                <a:lnTo>
                  <a:pt x="2447" y="3343"/>
                </a:lnTo>
                <a:lnTo>
                  <a:pt x="2353" y="3380"/>
                </a:lnTo>
                <a:lnTo>
                  <a:pt x="2257" y="3413"/>
                </a:lnTo>
                <a:lnTo>
                  <a:pt x="2159" y="3441"/>
                </a:lnTo>
                <a:lnTo>
                  <a:pt x="2059" y="3462"/>
                </a:lnTo>
                <a:lnTo>
                  <a:pt x="1956" y="3477"/>
                </a:lnTo>
                <a:lnTo>
                  <a:pt x="1852" y="3487"/>
                </a:lnTo>
                <a:lnTo>
                  <a:pt x="1745" y="3490"/>
                </a:lnTo>
                <a:lnTo>
                  <a:pt x="1745" y="3490"/>
                </a:lnTo>
                <a:lnTo>
                  <a:pt x="1639" y="3487"/>
                </a:lnTo>
                <a:lnTo>
                  <a:pt x="1535" y="3477"/>
                </a:lnTo>
                <a:lnTo>
                  <a:pt x="1431" y="3462"/>
                </a:lnTo>
                <a:lnTo>
                  <a:pt x="1331" y="3441"/>
                </a:lnTo>
                <a:lnTo>
                  <a:pt x="1233" y="3413"/>
                </a:lnTo>
                <a:lnTo>
                  <a:pt x="1137" y="3380"/>
                </a:lnTo>
                <a:lnTo>
                  <a:pt x="1043" y="3343"/>
                </a:lnTo>
                <a:lnTo>
                  <a:pt x="953" y="3299"/>
                </a:lnTo>
                <a:lnTo>
                  <a:pt x="865" y="3251"/>
                </a:lnTo>
                <a:lnTo>
                  <a:pt x="781" y="3199"/>
                </a:lnTo>
                <a:lnTo>
                  <a:pt x="699" y="3141"/>
                </a:lnTo>
                <a:lnTo>
                  <a:pt x="622" y="3079"/>
                </a:lnTo>
                <a:lnTo>
                  <a:pt x="547" y="3013"/>
                </a:lnTo>
                <a:lnTo>
                  <a:pt x="477" y="2943"/>
                </a:lnTo>
                <a:lnTo>
                  <a:pt x="411" y="2868"/>
                </a:lnTo>
                <a:lnTo>
                  <a:pt x="349" y="2791"/>
                </a:lnTo>
                <a:lnTo>
                  <a:pt x="291" y="2709"/>
                </a:lnTo>
                <a:lnTo>
                  <a:pt x="239" y="2625"/>
                </a:lnTo>
                <a:lnTo>
                  <a:pt x="191" y="2537"/>
                </a:lnTo>
                <a:lnTo>
                  <a:pt x="147" y="2447"/>
                </a:lnTo>
                <a:lnTo>
                  <a:pt x="110" y="2353"/>
                </a:lnTo>
                <a:lnTo>
                  <a:pt x="77" y="2257"/>
                </a:lnTo>
                <a:lnTo>
                  <a:pt x="49" y="2159"/>
                </a:lnTo>
                <a:lnTo>
                  <a:pt x="28" y="2059"/>
                </a:lnTo>
                <a:lnTo>
                  <a:pt x="13" y="1955"/>
                </a:lnTo>
                <a:lnTo>
                  <a:pt x="3" y="1851"/>
                </a:lnTo>
                <a:lnTo>
                  <a:pt x="0" y="1745"/>
                </a:lnTo>
                <a:lnTo>
                  <a:pt x="3" y="1638"/>
                </a:lnTo>
                <a:lnTo>
                  <a:pt x="13" y="1534"/>
                </a:lnTo>
                <a:lnTo>
                  <a:pt x="28" y="1431"/>
                </a:lnTo>
                <a:lnTo>
                  <a:pt x="49" y="1331"/>
                </a:lnTo>
                <a:lnTo>
                  <a:pt x="77" y="1233"/>
                </a:lnTo>
                <a:lnTo>
                  <a:pt x="110" y="1137"/>
                </a:lnTo>
                <a:lnTo>
                  <a:pt x="147" y="1043"/>
                </a:lnTo>
                <a:lnTo>
                  <a:pt x="191" y="952"/>
                </a:lnTo>
                <a:lnTo>
                  <a:pt x="239" y="865"/>
                </a:lnTo>
                <a:lnTo>
                  <a:pt x="291" y="781"/>
                </a:lnTo>
                <a:lnTo>
                  <a:pt x="349" y="699"/>
                </a:lnTo>
                <a:lnTo>
                  <a:pt x="411" y="621"/>
                </a:lnTo>
                <a:lnTo>
                  <a:pt x="477" y="547"/>
                </a:lnTo>
                <a:lnTo>
                  <a:pt x="547" y="477"/>
                </a:lnTo>
                <a:lnTo>
                  <a:pt x="622" y="411"/>
                </a:lnTo>
                <a:lnTo>
                  <a:pt x="699" y="349"/>
                </a:lnTo>
                <a:lnTo>
                  <a:pt x="781" y="291"/>
                </a:lnTo>
                <a:lnTo>
                  <a:pt x="865" y="239"/>
                </a:lnTo>
                <a:lnTo>
                  <a:pt x="953" y="190"/>
                </a:lnTo>
                <a:lnTo>
                  <a:pt x="1043" y="147"/>
                </a:lnTo>
                <a:lnTo>
                  <a:pt x="1137" y="109"/>
                </a:lnTo>
                <a:lnTo>
                  <a:pt x="1233" y="77"/>
                </a:lnTo>
                <a:lnTo>
                  <a:pt x="1331" y="49"/>
                </a:lnTo>
                <a:lnTo>
                  <a:pt x="1431" y="28"/>
                </a:lnTo>
                <a:lnTo>
                  <a:pt x="1535" y="13"/>
                </a:lnTo>
                <a:lnTo>
                  <a:pt x="1639" y="3"/>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8" name="Freeform 78"/>
          <p:cNvSpPr>
            <a:spLocks noChangeAspect="1" noEditPoints="1"/>
          </p:cNvSpPr>
          <p:nvPr/>
        </p:nvSpPr>
        <p:spPr bwMode="auto">
          <a:xfrm>
            <a:off x="4963142" y="5806446"/>
            <a:ext cx="285619" cy="285619"/>
          </a:xfrm>
          <a:custGeom>
            <a:avLst/>
            <a:gdLst>
              <a:gd name="T0" fmla="*/ 1192 w 3501"/>
              <a:gd name="T1" fmla="*/ 758 h 3490"/>
              <a:gd name="T2" fmla="*/ 2356 w 3501"/>
              <a:gd name="T3" fmla="*/ 726 h 3490"/>
              <a:gd name="T4" fmla="*/ 2437 w 3501"/>
              <a:gd name="T5" fmla="*/ 766 h 3490"/>
              <a:gd name="T6" fmla="*/ 1839 w 3501"/>
              <a:gd name="T7" fmla="*/ 1745 h 3490"/>
              <a:gd name="T8" fmla="*/ 2437 w 3501"/>
              <a:gd name="T9" fmla="*/ 2724 h 3490"/>
              <a:gd name="T10" fmla="*/ 2371 w 3501"/>
              <a:gd name="T11" fmla="*/ 2765 h 3490"/>
              <a:gd name="T12" fmla="*/ 1751 w 3501"/>
              <a:gd name="T13" fmla="*/ 1879 h 3490"/>
              <a:gd name="T14" fmla="*/ 1130 w 3501"/>
              <a:gd name="T15" fmla="*/ 2765 h 3490"/>
              <a:gd name="T16" fmla="*/ 1064 w 3501"/>
              <a:gd name="T17" fmla="*/ 2724 h 3490"/>
              <a:gd name="T18" fmla="*/ 1663 w 3501"/>
              <a:gd name="T19" fmla="*/ 1745 h 3490"/>
              <a:gd name="T20" fmla="*/ 1064 w 3501"/>
              <a:gd name="T21" fmla="*/ 766 h 3490"/>
              <a:gd name="T22" fmla="*/ 1751 w 3501"/>
              <a:gd name="T23" fmla="*/ 147 h 3490"/>
              <a:gd name="T24" fmla="*/ 1244 w 3501"/>
              <a:gd name="T25" fmla="*/ 228 h 3490"/>
              <a:gd name="T26" fmla="*/ 805 w 3501"/>
              <a:gd name="T27" fmla="*/ 455 h 3490"/>
              <a:gd name="T28" fmla="*/ 457 w 3501"/>
              <a:gd name="T29" fmla="*/ 802 h 3490"/>
              <a:gd name="T30" fmla="*/ 229 w 3501"/>
              <a:gd name="T31" fmla="*/ 1240 h 3490"/>
              <a:gd name="T32" fmla="*/ 148 w 3501"/>
              <a:gd name="T33" fmla="*/ 1745 h 3490"/>
              <a:gd name="T34" fmla="*/ 229 w 3501"/>
              <a:gd name="T35" fmla="*/ 2249 h 3490"/>
              <a:gd name="T36" fmla="*/ 457 w 3501"/>
              <a:gd name="T37" fmla="*/ 2688 h 3490"/>
              <a:gd name="T38" fmla="*/ 805 w 3501"/>
              <a:gd name="T39" fmla="*/ 3035 h 3490"/>
              <a:gd name="T40" fmla="*/ 1244 w 3501"/>
              <a:gd name="T41" fmla="*/ 3262 h 3490"/>
              <a:gd name="T42" fmla="*/ 1751 w 3501"/>
              <a:gd name="T43" fmla="*/ 3343 h 3490"/>
              <a:gd name="T44" fmla="*/ 2257 w 3501"/>
              <a:gd name="T45" fmla="*/ 3262 h 3490"/>
              <a:gd name="T46" fmla="*/ 2696 w 3501"/>
              <a:gd name="T47" fmla="*/ 3035 h 3490"/>
              <a:gd name="T48" fmla="*/ 3044 w 3501"/>
              <a:gd name="T49" fmla="*/ 2688 h 3490"/>
              <a:gd name="T50" fmla="*/ 3272 w 3501"/>
              <a:gd name="T51" fmla="*/ 2249 h 3490"/>
              <a:gd name="T52" fmla="*/ 3353 w 3501"/>
              <a:gd name="T53" fmla="*/ 1745 h 3490"/>
              <a:gd name="T54" fmla="*/ 3272 w 3501"/>
              <a:gd name="T55" fmla="*/ 1240 h 3490"/>
              <a:gd name="T56" fmla="*/ 3044 w 3501"/>
              <a:gd name="T57" fmla="*/ 802 h 3490"/>
              <a:gd name="T58" fmla="*/ 2696 w 3501"/>
              <a:gd name="T59" fmla="*/ 455 h 3490"/>
              <a:gd name="T60" fmla="*/ 2257 w 3501"/>
              <a:gd name="T61" fmla="*/ 228 h 3490"/>
              <a:gd name="T62" fmla="*/ 1751 w 3501"/>
              <a:gd name="T63" fmla="*/ 147 h 3490"/>
              <a:gd name="T64" fmla="*/ 2166 w 3501"/>
              <a:gd name="T65" fmla="*/ 49 h 3490"/>
              <a:gd name="T66" fmla="*/ 2633 w 3501"/>
              <a:gd name="T67" fmla="*/ 239 h 3490"/>
              <a:gd name="T68" fmla="*/ 3023 w 3501"/>
              <a:gd name="T69" fmla="*/ 547 h 3490"/>
              <a:gd name="T70" fmla="*/ 3311 w 3501"/>
              <a:gd name="T71" fmla="*/ 952 h 3490"/>
              <a:gd name="T72" fmla="*/ 3473 w 3501"/>
              <a:gd name="T73" fmla="*/ 1431 h 3490"/>
              <a:gd name="T74" fmla="*/ 3488 w 3501"/>
              <a:gd name="T75" fmla="*/ 1955 h 3490"/>
              <a:gd name="T76" fmla="*/ 3353 w 3501"/>
              <a:gd name="T77" fmla="*/ 2447 h 3490"/>
              <a:gd name="T78" fmla="*/ 3089 w 3501"/>
              <a:gd name="T79" fmla="*/ 2868 h 3490"/>
              <a:gd name="T80" fmla="*/ 2718 w 3501"/>
              <a:gd name="T81" fmla="*/ 3199 h 3490"/>
              <a:gd name="T82" fmla="*/ 2264 w 3501"/>
              <a:gd name="T83" fmla="*/ 3413 h 3490"/>
              <a:gd name="T84" fmla="*/ 1751 w 3501"/>
              <a:gd name="T85" fmla="*/ 3490 h 3490"/>
              <a:gd name="T86" fmla="*/ 1335 w 3501"/>
              <a:gd name="T87" fmla="*/ 3441 h 3490"/>
              <a:gd name="T88" fmla="*/ 868 w 3501"/>
              <a:gd name="T89" fmla="*/ 3251 h 3490"/>
              <a:gd name="T90" fmla="*/ 478 w 3501"/>
              <a:gd name="T91" fmla="*/ 2943 h 3490"/>
              <a:gd name="T92" fmla="*/ 192 w 3501"/>
              <a:gd name="T93" fmla="*/ 2537 h 3490"/>
              <a:gd name="T94" fmla="*/ 28 w 3501"/>
              <a:gd name="T95" fmla="*/ 2059 h 3490"/>
              <a:gd name="T96" fmla="*/ 13 w 3501"/>
              <a:gd name="T97" fmla="*/ 1534 h 3490"/>
              <a:gd name="T98" fmla="*/ 148 w 3501"/>
              <a:gd name="T99" fmla="*/ 1043 h 3490"/>
              <a:gd name="T100" fmla="*/ 412 w 3501"/>
              <a:gd name="T101" fmla="*/ 621 h 3490"/>
              <a:gd name="T102" fmla="*/ 783 w 3501"/>
              <a:gd name="T103" fmla="*/ 291 h 3490"/>
              <a:gd name="T104" fmla="*/ 1237 w 3501"/>
              <a:gd name="T105" fmla="*/ 77 h 3490"/>
              <a:gd name="T106" fmla="*/ 1751 w 3501"/>
              <a:gd name="T107" fmla="*/ 0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01" h="3490">
                <a:moveTo>
                  <a:pt x="1126" y="725"/>
                </a:moveTo>
                <a:lnTo>
                  <a:pt x="1145" y="726"/>
                </a:lnTo>
                <a:lnTo>
                  <a:pt x="1163" y="733"/>
                </a:lnTo>
                <a:lnTo>
                  <a:pt x="1179" y="743"/>
                </a:lnTo>
                <a:lnTo>
                  <a:pt x="1192" y="758"/>
                </a:lnTo>
                <a:lnTo>
                  <a:pt x="1751" y="1611"/>
                </a:lnTo>
                <a:lnTo>
                  <a:pt x="2309" y="758"/>
                </a:lnTo>
                <a:lnTo>
                  <a:pt x="2323" y="743"/>
                </a:lnTo>
                <a:lnTo>
                  <a:pt x="2338" y="733"/>
                </a:lnTo>
                <a:lnTo>
                  <a:pt x="2356" y="726"/>
                </a:lnTo>
                <a:lnTo>
                  <a:pt x="2375" y="725"/>
                </a:lnTo>
                <a:lnTo>
                  <a:pt x="2394" y="728"/>
                </a:lnTo>
                <a:lnTo>
                  <a:pt x="2412" y="737"/>
                </a:lnTo>
                <a:lnTo>
                  <a:pt x="2427" y="750"/>
                </a:lnTo>
                <a:lnTo>
                  <a:pt x="2437" y="766"/>
                </a:lnTo>
                <a:lnTo>
                  <a:pt x="2444" y="784"/>
                </a:lnTo>
                <a:lnTo>
                  <a:pt x="2445" y="802"/>
                </a:lnTo>
                <a:lnTo>
                  <a:pt x="2442" y="821"/>
                </a:lnTo>
                <a:lnTo>
                  <a:pt x="2433" y="839"/>
                </a:lnTo>
                <a:lnTo>
                  <a:pt x="1839" y="1745"/>
                </a:lnTo>
                <a:lnTo>
                  <a:pt x="2433" y="2651"/>
                </a:lnTo>
                <a:lnTo>
                  <a:pt x="2442" y="2669"/>
                </a:lnTo>
                <a:lnTo>
                  <a:pt x="2445" y="2688"/>
                </a:lnTo>
                <a:lnTo>
                  <a:pt x="2444" y="2706"/>
                </a:lnTo>
                <a:lnTo>
                  <a:pt x="2437" y="2724"/>
                </a:lnTo>
                <a:lnTo>
                  <a:pt x="2427" y="2740"/>
                </a:lnTo>
                <a:lnTo>
                  <a:pt x="2412" y="2753"/>
                </a:lnTo>
                <a:lnTo>
                  <a:pt x="2399" y="2759"/>
                </a:lnTo>
                <a:lnTo>
                  <a:pt x="2385" y="2764"/>
                </a:lnTo>
                <a:lnTo>
                  <a:pt x="2371" y="2765"/>
                </a:lnTo>
                <a:lnTo>
                  <a:pt x="2354" y="2763"/>
                </a:lnTo>
                <a:lnTo>
                  <a:pt x="2337" y="2756"/>
                </a:lnTo>
                <a:lnTo>
                  <a:pt x="2322" y="2745"/>
                </a:lnTo>
                <a:lnTo>
                  <a:pt x="2309" y="2732"/>
                </a:lnTo>
                <a:lnTo>
                  <a:pt x="1751" y="1879"/>
                </a:lnTo>
                <a:lnTo>
                  <a:pt x="1192" y="2732"/>
                </a:lnTo>
                <a:lnTo>
                  <a:pt x="1179" y="2745"/>
                </a:lnTo>
                <a:lnTo>
                  <a:pt x="1164" y="2756"/>
                </a:lnTo>
                <a:lnTo>
                  <a:pt x="1148" y="2763"/>
                </a:lnTo>
                <a:lnTo>
                  <a:pt x="1130" y="2765"/>
                </a:lnTo>
                <a:lnTo>
                  <a:pt x="1116" y="2764"/>
                </a:lnTo>
                <a:lnTo>
                  <a:pt x="1102" y="2759"/>
                </a:lnTo>
                <a:lnTo>
                  <a:pt x="1089" y="2753"/>
                </a:lnTo>
                <a:lnTo>
                  <a:pt x="1074" y="2740"/>
                </a:lnTo>
                <a:lnTo>
                  <a:pt x="1064" y="2724"/>
                </a:lnTo>
                <a:lnTo>
                  <a:pt x="1057" y="2706"/>
                </a:lnTo>
                <a:lnTo>
                  <a:pt x="1056" y="2688"/>
                </a:lnTo>
                <a:lnTo>
                  <a:pt x="1059" y="2669"/>
                </a:lnTo>
                <a:lnTo>
                  <a:pt x="1068" y="2651"/>
                </a:lnTo>
                <a:lnTo>
                  <a:pt x="1663" y="1745"/>
                </a:lnTo>
                <a:lnTo>
                  <a:pt x="1068" y="839"/>
                </a:lnTo>
                <a:lnTo>
                  <a:pt x="1059" y="821"/>
                </a:lnTo>
                <a:lnTo>
                  <a:pt x="1056" y="802"/>
                </a:lnTo>
                <a:lnTo>
                  <a:pt x="1057" y="784"/>
                </a:lnTo>
                <a:lnTo>
                  <a:pt x="1064" y="766"/>
                </a:lnTo>
                <a:lnTo>
                  <a:pt x="1074" y="750"/>
                </a:lnTo>
                <a:lnTo>
                  <a:pt x="1089" y="737"/>
                </a:lnTo>
                <a:lnTo>
                  <a:pt x="1107" y="728"/>
                </a:lnTo>
                <a:lnTo>
                  <a:pt x="1126" y="725"/>
                </a:lnTo>
                <a:close/>
                <a:moveTo>
                  <a:pt x="1751" y="147"/>
                </a:moveTo>
                <a:lnTo>
                  <a:pt x="1646" y="150"/>
                </a:lnTo>
                <a:lnTo>
                  <a:pt x="1542" y="161"/>
                </a:lnTo>
                <a:lnTo>
                  <a:pt x="1440" y="177"/>
                </a:lnTo>
                <a:lnTo>
                  <a:pt x="1342" y="199"/>
                </a:lnTo>
                <a:lnTo>
                  <a:pt x="1244" y="228"/>
                </a:lnTo>
                <a:lnTo>
                  <a:pt x="1150" y="263"/>
                </a:lnTo>
                <a:lnTo>
                  <a:pt x="1059" y="304"/>
                </a:lnTo>
                <a:lnTo>
                  <a:pt x="970" y="349"/>
                </a:lnTo>
                <a:lnTo>
                  <a:pt x="886" y="400"/>
                </a:lnTo>
                <a:lnTo>
                  <a:pt x="805" y="455"/>
                </a:lnTo>
                <a:lnTo>
                  <a:pt x="727" y="516"/>
                </a:lnTo>
                <a:lnTo>
                  <a:pt x="653" y="581"/>
                </a:lnTo>
                <a:lnTo>
                  <a:pt x="583" y="651"/>
                </a:lnTo>
                <a:lnTo>
                  <a:pt x="518" y="724"/>
                </a:lnTo>
                <a:lnTo>
                  <a:pt x="457" y="802"/>
                </a:lnTo>
                <a:lnTo>
                  <a:pt x="401" y="883"/>
                </a:lnTo>
                <a:lnTo>
                  <a:pt x="350" y="967"/>
                </a:lnTo>
                <a:lnTo>
                  <a:pt x="305" y="1056"/>
                </a:lnTo>
                <a:lnTo>
                  <a:pt x="264" y="1147"/>
                </a:lnTo>
                <a:lnTo>
                  <a:pt x="229" y="1240"/>
                </a:lnTo>
                <a:lnTo>
                  <a:pt x="200" y="1336"/>
                </a:lnTo>
                <a:lnTo>
                  <a:pt x="178" y="1436"/>
                </a:lnTo>
                <a:lnTo>
                  <a:pt x="162" y="1537"/>
                </a:lnTo>
                <a:lnTo>
                  <a:pt x="151" y="1640"/>
                </a:lnTo>
                <a:lnTo>
                  <a:pt x="148" y="1745"/>
                </a:lnTo>
                <a:lnTo>
                  <a:pt x="151" y="1849"/>
                </a:lnTo>
                <a:lnTo>
                  <a:pt x="162" y="1953"/>
                </a:lnTo>
                <a:lnTo>
                  <a:pt x="178" y="2054"/>
                </a:lnTo>
                <a:lnTo>
                  <a:pt x="200" y="2152"/>
                </a:lnTo>
                <a:lnTo>
                  <a:pt x="229" y="2249"/>
                </a:lnTo>
                <a:lnTo>
                  <a:pt x="264" y="2343"/>
                </a:lnTo>
                <a:lnTo>
                  <a:pt x="305" y="2434"/>
                </a:lnTo>
                <a:lnTo>
                  <a:pt x="350" y="2523"/>
                </a:lnTo>
                <a:lnTo>
                  <a:pt x="401" y="2607"/>
                </a:lnTo>
                <a:lnTo>
                  <a:pt x="457" y="2688"/>
                </a:lnTo>
                <a:lnTo>
                  <a:pt x="518" y="2766"/>
                </a:lnTo>
                <a:lnTo>
                  <a:pt x="583" y="2839"/>
                </a:lnTo>
                <a:lnTo>
                  <a:pt x="653" y="2909"/>
                </a:lnTo>
                <a:lnTo>
                  <a:pt x="727" y="2974"/>
                </a:lnTo>
                <a:lnTo>
                  <a:pt x="805" y="3035"/>
                </a:lnTo>
                <a:lnTo>
                  <a:pt x="886" y="3090"/>
                </a:lnTo>
                <a:lnTo>
                  <a:pt x="970" y="3141"/>
                </a:lnTo>
                <a:lnTo>
                  <a:pt x="1059" y="3186"/>
                </a:lnTo>
                <a:lnTo>
                  <a:pt x="1150" y="3227"/>
                </a:lnTo>
                <a:lnTo>
                  <a:pt x="1244" y="3262"/>
                </a:lnTo>
                <a:lnTo>
                  <a:pt x="1342" y="3291"/>
                </a:lnTo>
                <a:lnTo>
                  <a:pt x="1440" y="3313"/>
                </a:lnTo>
                <a:lnTo>
                  <a:pt x="1542" y="3329"/>
                </a:lnTo>
                <a:lnTo>
                  <a:pt x="1646" y="3340"/>
                </a:lnTo>
                <a:lnTo>
                  <a:pt x="1751" y="3343"/>
                </a:lnTo>
                <a:lnTo>
                  <a:pt x="1855" y="3340"/>
                </a:lnTo>
                <a:lnTo>
                  <a:pt x="1959" y="3329"/>
                </a:lnTo>
                <a:lnTo>
                  <a:pt x="2061" y="3313"/>
                </a:lnTo>
                <a:lnTo>
                  <a:pt x="2160" y="3291"/>
                </a:lnTo>
                <a:lnTo>
                  <a:pt x="2257" y="3262"/>
                </a:lnTo>
                <a:lnTo>
                  <a:pt x="2351" y="3227"/>
                </a:lnTo>
                <a:lnTo>
                  <a:pt x="2442" y="3186"/>
                </a:lnTo>
                <a:lnTo>
                  <a:pt x="2531" y="3141"/>
                </a:lnTo>
                <a:lnTo>
                  <a:pt x="2615" y="3090"/>
                </a:lnTo>
                <a:lnTo>
                  <a:pt x="2696" y="3035"/>
                </a:lnTo>
                <a:lnTo>
                  <a:pt x="2775" y="2974"/>
                </a:lnTo>
                <a:lnTo>
                  <a:pt x="2848" y="2909"/>
                </a:lnTo>
                <a:lnTo>
                  <a:pt x="2918" y="2839"/>
                </a:lnTo>
                <a:lnTo>
                  <a:pt x="2983" y="2766"/>
                </a:lnTo>
                <a:lnTo>
                  <a:pt x="3044" y="2688"/>
                </a:lnTo>
                <a:lnTo>
                  <a:pt x="3100" y="2607"/>
                </a:lnTo>
                <a:lnTo>
                  <a:pt x="3151" y="2523"/>
                </a:lnTo>
                <a:lnTo>
                  <a:pt x="3196" y="2434"/>
                </a:lnTo>
                <a:lnTo>
                  <a:pt x="3237" y="2343"/>
                </a:lnTo>
                <a:lnTo>
                  <a:pt x="3272" y="2249"/>
                </a:lnTo>
                <a:lnTo>
                  <a:pt x="3301" y="2152"/>
                </a:lnTo>
                <a:lnTo>
                  <a:pt x="3323" y="2054"/>
                </a:lnTo>
                <a:lnTo>
                  <a:pt x="3341" y="1953"/>
                </a:lnTo>
                <a:lnTo>
                  <a:pt x="3350" y="1849"/>
                </a:lnTo>
                <a:lnTo>
                  <a:pt x="3353" y="1745"/>
                </a:lnTo>
                <a:lnTo>
                  <a:pt x="3350" y="1640"/>
                </a:lnTo>
                <a:lnTo>
                  <a:pt x="3341" y="1537"/>
                </a:lnTo>
                <a:lnTo>
                  <a:pt x="3323" y="1436"/>
                </a:lnTo>
                <a:lnTo>
                  <a:pt x="3301" y="1336"/>
                </a:lnTo>
                <a:lnTo>
                  <a:pt x="3272" y="1240"/>
                </a:lnTo>
                <a:lnTo>
                  <a:pt x="3237" y="1147"/>
                </a:lnTo>
                <a:lnTo>
                  <a:pt x="3196" y="1056"/>
                </a:lnTo>
                <a:lnTo>
                  <a:pt x="3151" y="967"/>
                </a:lnTo>
                <a:lnTo>
                  <a:pt x="3100" y="883"/>
                </a:lnTo>
                <a:lnTo>
                  <a:pt x="3044" y="802"/>
                </a:lnTo>
                <a:lnTo>
                  <a:pt x="2983" y="724"/>
                </a:lnTo>
                <a:lnTo>
                  <a:pt x="2918" y="651"/>
                </a:lnTo>
                <a:lnTo>
                  <a:pt x="2848" y="581"/>
                </a:lnTo>
                <a:lnTo>
                  <a:pt x="2775" y="516"/>
                </a:lnTo>
                <a:lnTo>
                  <a:pt x="2696" y="455"/>
                </a:lnTo>
                <a:lnTo>
                  <a:pt x="2615" y="400"/>
                </a:lnTo>
                <a:lnTo>
                  <a:pt x="2531" y="349"/>
                </a:lnTo>
                <a:lnTo>
                  <a:pt x="2442" y="304"/>
                </a:lnTo>
                <a:lnTo>
                  <a:pt x="2351" y="263"/>
                </a:lnTo>
                <a:lnTo>
                  <a:pt x="2257" y="228"/>
                </a:lnTo>
                <a:lnTo>
                  <a:pt x="2160" y="199"/>
                </a:lnTo>
                <a:lnTo>
                  <a:pt x="2061" y="177"/>
                </a:lnTo>
                <a:lnTo>
                  <a:pt x="1959" y="161"/>
                </a:lnTo>
                <a:lnTo>
                  <a:pt x="1855" y="150"/>
                </a:lnTo>
                <a:lnTo>
                  <a:pt x="1751" y="147"/>
                </a:lnTo>
                <a:close/>
                <a:moveTo>
                  <a:pt x="1751" y="0"/>
                </a:moveTo>
                <a:lnTo>
                  <a:pt x="1858" y="3"/>
                </a:lnTo>
                <a:lnTo>
                  <a:pt x="1962" y="13"/>
                </a:lnTo>
                <a:lnTo>
                  <a:pt x="2065" y="28"/>
                </a:lnTo>
                <a:lnTo>
                  <a:pt x="2166" y="49"/>
                </a:lnTo>
                <a:lnTo>
                  <a:pt x="2264" y="77"/>
                </a:lnTo>
                <a:lnTo>
                  <a:pt x="2360" y="109"/>
                </a:lnTo>
                <a:lnTo>
                  <a:pt x="2455" y="147"/>
                </a:lnTo>
                <a:lnTo>
                  <a:pt x="2546" y="190"/>
                </a:lnTo>
                <a:lnTo>
                  <a:pt x="2633" y="239"/>
                </a:lnTo>
                <a:lnTo>
                  <a:pt x="2718" y="291"/>
                </a:lnTo>
                <a:lnTo>
                  <a:pt x="2800" y="349"/>
                </a:lnTo>
                <a:lnTo>
                  <a:pt x="2878" y="411"/>
                </a:lnTo>
                <a:lnTo>
                  <a:pt x="2952" y="477"/>
                </a:lnTo>
                <a:lnTo>
                  <a:pt x="3023" y="547"/>
                </a:lnTo>
                <a:lnTo>
                  <a:pt x="3089" y="621"/>
                </a:lnTo>
                <a:lnTo>
                  <a:pt x="3151" y="699"/>
                </a:lnTo>
                <a:lnTo>
                  <a:pt x="3209" y="781"/>
                </a:lnTo>
                <a:lnTo>
                  <a:pt x="3261" y="865"/>
                </a:lnTo>
                <a:lnTo>
                  <a:pt x="3311" y="952"/>
                </a:lnTo>
                <a:lnTo>
                  <a:pt x="3353" y="1043"/>
                </a:lnTo>
                <a:lnTo>
                  <a:pt x="3392" y="1137"/>
                </a:lnTo>
                <a:lnTo>
                  <a:pt x="3424" y="1233"/>
                </a:lnTo>
                <a:lnTo>
                  <a:pt x="3452" y="1331"/>
                </a:lnTo>
                <a:lnTo>
                  <a:pt x="3473" y="1431"/>
                </a:lnTo>
                <a:lnTo>
                  <a:pt x="3488" y="1534"/>
                </a:lnTo>
                <a:lnTo>
                  <a:pt x="3498" y="1638"/>
                </a:lnTo>
                <a:lnTo>
                  <a:pt x="3501" y="1745"/>
                </a:lnTo>
                <a:lnTo>
                  <a:pt x="3498" y="1851"/>
                </a:lnTo>
                <a:lnTo>
                  <a:pt x="3488" y="1955"/>
                </a:lnTo>
                <a:lnTo>
                  <a:pt x="3473" y="2059"/>
                </a:lnTo>
                <a:lnTo>
                  <a:pt x="3452" y="2159"/>
                </a:lnTo>
                <a:lnTo>
                  <a:pt x="3424" y="2257"/>
                </a:lnTo>
                <a:lnTo>
                  <a:pt x="3392" y="2353"/>
                </a:lnTo>
                <a:lnTo>
                  <a:pt x="3353" y="2447"/>
                </a:lnTo>
                <a:lnTo>
                  <a:pt x="3311" y="2537"/>
                </a:lnTo>
                <a:lnTo>
                  <a:pt x="3261" y="2625"/>
                </a:lnTo>
                <a:lnTo>
                  <a:pt x="3209" y="2709"/>
                </a:lnTo>
                <a:lnTo>
                  <a:pt x="3151" y="2791"/>
                </a:lnTo>
                <a:lnTo>
                  <a:pt x="3089" y="2868"/>
                </a:lnTo>
                <a:lnTo>
                  <a:pt x="3023" y="2943"/>
                </a:lnTo>
                <a:lnTo>
                  <a:pt x="2952" y="3013"/>
                </a:lnTo>
                <a:lnTo>
                  <a:pt x="2878" y="3079"/>
                </a:lnTo>
                <a:lnTo>
                  <a:pt x="2800" y="3141"/>
                </a:lnTo>
                <a:lnTo>
                  <a:pt x="2718" y="3199"/>
                </a:lnTo>
                <a:lnTo>
                  <a:pt x="2633" y="3251"/>
                </a:lnTo>
                <a:lnTo>
                  <a:pt x="2546" y="3299"/>
                </a:lnTo>
                <a:lnTo>
                  <a:pt x="2455" y="3343"/>
                </a:lnTo>
                <a:lnTo>
                  <a:pt x="2360" y="3380"/>
                </a:lnTo>
                <a:lnTo>
                  <a:pt x="2264" y="3413"/>
                </a:lnTo>
                <a:lnTo>
                  <a:pt x="2166" y="3441"/>
                </a:lnTo>
                <a:lnTo>
                  <a:pt x="2065" y="3462"/>
                </a:lnTo>
                <a:lnTo>
                  <a:pt x="1962" y="3477"/>
                </a:lnTo>
                <a:lnTo>
                  <a:pt x="1858" y="3487"/>
                </a:lnTo>
                <a:lnTo>
                  <a:pt x="1751" y="3490"/>
                </a:lnTo>
                <a:lnTo>
                  <a:pt x="1751" y="3490"/>
                </a:lnTo>
                <a:lnTo>
                  <a:pt x="1645" y="3487"/>
                </a:lnTo>
                <a:lnTo>
                  <a:pt x="1540" y="3477"/>
                </a:lnTo>
                <a:lnTo>
                  <a:pt x="1436" y="3462"/>
                </a:lnTo>
                <a:lnTo>
                  <a:pt x="1335" y="3441"/>
                </a:lnTo>
                <a:lnTo>
                  <a:pt x="1237" y="3413"/>
                </a:lnTo>
                <a:lnTo>
                  <a:pt x="1141" y="3380"/>
                </a:lnTo>
                <a:lnTo>
                  <a:pt x="1046" y="3343"/>
                </a:lnTo>
                <a:lnTo>
                  <a:pt x="956" y="3299"/>
                </a:lnTo>
                <a:lnTo>
                  <a:pt x="868" y="3251"/>
                </a:lnTo>
                <a:lnTo>
                  <a:pt x="783" y="3199"/>
                </a:lnTo>
                <a:lnTo>
                  <a:pt x="701" y="3141"/>
                </a:lnTo>
                <a:lnTo>
                  <a:pt x="624" y="3079"/>
                </a:lnTo>
                <a:lnTo>
                  <a:pt x="549" y="3013"/>
                </a:lnTo>
                <a:lnTo>
                  <a:pt x="478" y="2943"/>
                </a:lnTo>
                <a:lnTo>
                  <a:pt x="412" y="2868"/>
                </a:lnTo>
                <a:lnTo>
                  <a:pt x="350" y="2791"/>
                </a:lnTo>
                <a:lnTo>
                  <a:pt x="292" y="2709"/>
                </a:lnTo>
                <a:lnTo>
                  <a:pt x="240" y="2625"/>
                </a:lnTo>
                <a:lnTo>
                  <a:pt x="192" y="2537"/>
                </a:lnTo>
                <a:lnTo>
                  <a:pt x="148" y="2447"/>
                </a:lnTo>
                <a:lnTo>
                  <a:pt x="110" y="2353"/>
                </a:lnTo>
                <a:lnTo>
                  <a:pt x="77" y="2257"/>
                </a:lnTo>
                <a:lnTo>
                  <a:pt x="49" y="2159"/>
                </a:lnTo>
                <a:lnTo>
                  <a:pt x="28" y="2059"/>
                </a:lnTo>
                <a:lnTo>
                  <a:pt x="13" y="1955"/>
                </a:lnTo>
                <a:lnTo>
                  <a:pt x="3" y="1851"/>
                </a:lnTo>
                <a:lnTo>
                  <a:pt x="0" y="1745"/>
                </a:lnTo>
                <a:lnTo>
                  <a:pt x="3" y="1638"/>
                </a:lnTo>
                <a:lnTo>
                  <a:pt x="13" y="1534"/>
                </a:lnTo>
                <a:lnTo>
                  <a:pt x="28" y="1431"/>
                </a:lnTo>
                <a:lnTo>
                  <a:pt x="49" y="1331"/>
                </a:lnTo>
                <a:lnTo>
                  <a:pt x="77" y="1233"/>
                </a:lnTo>
                <a:lnTo>
                  <a:pt x="110" y="1137"/>
                </a:lnTo>
                <a:lnTo>
                  <a:pt x="148" y="1043"/>
                </a:lnTo>
                <a:lnTo>
                  <a:pt x="192" y="952"/>
                </a:lnTo>
                <a:lnTo>
                  <a:pt x="240" y="865"/>
                </a:lnTo>
                <a:lnTo>
                  <a:pt x="292" y="781"/>
                </a:lnTo>
                <a:lnTo>
                  <a:pt x="350" y="699"/>
                </a:lnTo>
                <a:lnTo>
                  <a:pt x="412" y="621"/>
                </a:lnTo>
                <a:lnTo>
                  <a:pt x="478" y="547"/>
                </a:lnTo>
                <a:lnTo>
                  <a:pt x="549" y="477"/>
                </a:lnTo>
                <a:lnTo>
                  <a:pt x="624" y="411"/>
                </a:lnTo>
                <a:lnTo>
                  <a:pt x="701" y="349"/>
                </a:lnTo>
                <a:lnTo>
                  <a:pt x="783" y="291"/>
                </a:lnTo>
                <a:lnTo>
                  <a:pt x="868" y="239"/>
                </a:lnTo>
                <a:lnTo>
                  <a:pt x="956" y="190"/>
                </a:lnTo>
                <a:lnTo>
                  <a:pt x="1046" y="147"/>
                </a:lnTo>
                <a:lnTo>
                  <a:pt x="1141" y="109"/>
                </a:lnTo>
                <a:lnTo>
                  <a:pt x="1237" y="77"/>
                </a:lnTo>
                <a:lnTo>
                  <a:pt x="1335" y="49"/>
                </a:lnTo>
                <a:lnTo>
                  <a:pt x="1436" y="28"/>
                </a:lnTo>
                <a:lnTo>
                  <a:pt x="1540" y="13"/>
                </a:lnTo>
                <a:lnTo>
                  <a:pt x="1645" y="3"/>
                </a:lnTo>
                <a:lnTo>
                  <a:pt x="17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59" name="Freeform 83"/>
          <p:cNvSpPr>
            <a:spLocks noChangeAspect="1" noEditPoints="1"/>
          </p:cNvSpPr>
          <p:nvPr/>
        </p:nvSpPr>
        <p:spPr bwMode="auto">
          <a:xfrm>
            <a:off x="4307456" y="5806446"/>
            <a:ext cx="285619" cy="285619"/>
          </a:xfrm>
          <a:custGeom>
            <a:avLst/>
            <a:gdLst>
              <a:gd name="T0" fmla="*/ 2897 w 3490"/>
              <a:gd name="T1" fmla="*/ 1681 h 3490"/>
              <a:gd name="T2" fmla="*/ 2933 w 3490"/>
              <a:gd name="T3" fmla="*/ 1745 h 3490"/>
              <a:gd name="T4" fmla="*/ 2897 w 3490"/>
              <a:gd name="T5" fmla="*/ 1809 h 3490"/>
              <a:gd name="T6" fmla="*/ 610 w 3490"/>
              <a:gd name="T7" fmla="*/ 1815 h 3490"/>
              <a:gd name="T8" fmla="*/ 559 w 3490"/>
              <a:gd name="T9" fmla="*/ 1764 h 3490"/>
              <a:gd name="T10" fmla="*/ 578 w 3490"/>
              <a:gd name="T11" fmla="*/ 1693 h 3490"/>
              <a:gd name="T12" fmla="*/ 1745 w 3490"/>
              <a:gd name="T13" fmla="*/ 147 h 3490"/>
              <a:gd name="T14" fmla="*/ 1338 w 3490"/>
              <a:gd name="T15" fmla="*/ 199 h 3490"/>
              <a:gd name="T16" fmla="*/ 967 w 3490"/>
              <a:gd name="T17" fmla="*/ 349 h 3490"/>
              <a:gd name="T18" fmla="*/ 651 w 3490"/>
              <a:gd name="T19" fmla="*/ 581 h 3490"/>
              <a:gd name="T20" fmla="*/ 400 w 3490"/>
              <a:gd name="T21" fmla="*/ 883 h 3490"/>
              <a:gd name="T22" fmla="*/ 228 w 3490"/>
              <a:gd name="T23" fmla="*/ 1240 h 3490"/>
              <a:gd name="T24" fmla="*/ 150 w 3490"/>
              <a:gd name="T25" fmla="*/ 1640 h 3490"/>
              <a:gd name="T26" fmla="*/ 177 w 3490"/>
              <a:gd name="T27" fmla="*/ 2054 h 3490"/>
              <a:gd name="T28" fmla="*/ 304 w 3490"/>
              <a:gd name="T29" fmla="*/ 2434 h 3490"/>
              <a:gd name="T30" fmla="*/ 516 w 3490"/>
              <a:gd name="T31" fmla="*/ 2766 h 3490"/>
              <a:gd name="T32" fmla="*/ 802 w 3490"/>
              <a:gd name="T33" fmla="*/ 3035 h 3490"/>
              <a:gd name="T34" fmla="*/ 1147 w 3490"/>
              <a:gd name="T35" fmla="*/ 3227 h 3490"/>
              <a:gd name="T36" fmla="*/ 1537 w 3490"/>
              <a:gd name="T37" fmla="*/ 3329 h 3490"/>
              <a:gd name="T38" fmla="*/ 1953 w 3490"/>
              <a:gd name="T39" fmla="*/ 3329 h 3490"/>
              <a:gd name="T40" fmla="*/ 2343 w 3490"/>
              <a:gd name="T41" fmla="*/ 3227 h 3490"/>
              <a:gd name="T42" fmla="*/ 2688 w 3490"/>
              <a:gd name="T43" fmla="*/ 3035 h 3490"/>
              <a:gd name="T44" fmla="*/ 2974 w 3490"/>
              <a:gd name="T45" fmla="*/ 2766 h 3490"/>
              <a:gd name="T46" fmla="*/ 3186 w 3490"/>
              <a:gd name="T47" fmla="*/ 2434 h 3490"/>
              <a:gd name="T48" fmla="*/ 3313 w 3490"/>
              <a:gd name="T49" fmla="*/ 2054 h 3490"/>
              <a:gd name="T50" fmla="*/ 3340 w 3490"/>
              <a:gd name="T51" fmla="*/ 1640 h 3490"/>
              <a:gd name="T52" fmla="*/ 3262 w 3490"/>
              <a:gd name="T53" fmla="*/ 1240 h 3490"/>
              <a:gd name="T54" fmla="*/ 3090 w 3490"/>
              <a:gd name="T55" fmla="*/ 883 h 3490"/>
              <a:gd name="T56" fmla="*/ 2839 w 3490"/>
              <a:gd name="T57" fmla="*/ 581 h 3490"/>
              <a:gd name="T58" fmla="*/ 2523 w 3490"/>
              <a:gd name="T59" fmla="*/ 349 h 3490"/>
              <a:gd name="T60" fmla="*/ 2154 w 3490"/>
              <a:gd name="T61" fmla="*/ 199 h 3490"/>
              <a:gd name="T62" fmla="*/ 1745 w 3490"/>
              <a:gd name="T63" fmla="*/ 147 h 3490"/>
              <a:gd name="T64" fmla="*/ 2059 w 3490"/>
              <a:gd name="T65" fmla="*/ 28 h 3490"/>
              <a:gd name="T66" fmla="*/ 2447 w 3490"/>
              <a:gd name="T67" fmla="*/ 147 h 3490"/>
              <a:gd name="T68" fmla="*/ 2791 w 3490"/>
              <a:gd name="T69" fmla="*/ 349 h 3490"/>
              <a:gd name="T70" fmla="*/ 3079 w 3490"/>
              <a:gd name="T71" fmla="*/ 621 h 3490"/>
              <a:gd name="T72" fmla="*/ 3300 w 3490"/>
              <a:gd name="T73" fmla="*/ 952 h 3490"/>
              <a:gd name="T74" fmla="*/ 3441 w 3490"/>
              <a:gd name="T75" fmla="*/ 1331 h 3490"/>
              <a:gd name="T76" fmla="*/ 3490 w 3490"/>
              <a:gd name="T77" fmla="*/ 1745 h 3490"/>
              <a:gd name="T78" fmla="*/ 3441 w 3490"/>
              <a:gd name="T79" fmla="*/ 2159 h 3490"/>
              <a:gd name="T80" fmla="*/ 3300 w 3490"/>
              <a:gd name="T81" fmla="*/ 2537 h 3490"/>
              <a:gd name="T82" fmla="*/ 3079 w 3490"/>
              <a:gd name="T83" fmla="*/ 2868 h 3490"/>
              <a:gd name="T84" fmla="*/ 2791 w 3490"/>
              <a:gd name="T85" fmla="*/ 3141 h 3490"/>
              <a:gd name="T86" fmla="*/ 2447 w 3490"/>
              <a:gd name="T87" fmla="*/ 3343 h 3490"/>
              <a:gd name="T88" fmla="*/ 2059 w 3490"/>
              <a:gd name="T89" fmla="*/ 3462 h 3490"/>
              <a:gd name="T90" fmla="*/ 1745 w 3490"/>
              <a:gd name="T91" fmla="*/ 3490 h 3490"/>
              <a:gd name="T92" fmla="*/ 1331 w 3490"/>
              <a:gd name="T93" fmla="*/ 3441 h 3490"/>
              <a:gd name="T94" fmla="*/ 953 w 3490"/>
              <a:gd name="T95" fmla="*/ 3299 h 3490"/>
              <a:gd name="T96" fmla="*/ 622 w 3490"/>
              <a:gd name="T97" fmla="*/ 3079 h 3490"/>
              <a:gd name="T98" fmla="*/ 349 w 3490"/>
              <a:gd name="T99" fmla="*/ 2791 h 3490"/>
              <a:gd name="T100" fmla="*/ 147 w 3490"/>
              <a:gd name="T101" fmla="*/ 2447 h 3490"/>
              <a:gd name="T102" fmla="*/ 28 w 3490"/>
              <a:gd name="T103" fmla="*/ 2059 h 3490"/>
              <a:gd name="T104" fmla="*/ 0 w 3490"/>
              <a:gd name="T105" fmla="*/ 1745 h 3490"/>
              <a:gd name="T106" fmla="*/ 49 w 3490"/>
              <a:gd name="T107" fmla="*/ 1331 h 3490"/>
              <a:gd name="T108" fmla="*/ 191 w 3490"/>
              <a:gd name="T109" fmla="*/ 952 h 3490"/>
              <a:gd name="T110" fmla="*/ 411 w 3490"/>
              <a:gd name="T111" fmla="*/ 621 h 3490"/>
              <a:gd name="T112" fmla="*/ 699 w 3490"/>
              <a:gd name="T113" fmla="*/ 349 h 3490"/>
              <a:gd name="T114" fmla="*/ 1043 w 3490"/>
              <a:gd name="T115" fmla="*/ 147 h 3490"/>
              <a:gd name="T116" fmla="*/ 1431 w 3490"/>
              <a:gd name="T117" fmla="*/ 28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90" h="3490">
                <a:moveTo>
                  <a:pt x="630" y="1671"/>
                </a:moveTo>
                <a:lnTo>
                  <a:pt x="2860" y="1671"/>
                </a:lnTo>
                <a:lnTo>
                  <a:pt x="2880" y="1673"/>
                </a:lnTo>
                <a:lnTo>
                  <a:pt x="2897" y="1681"/>
                </a:lnTo>
                <a:lnTo>
                  <a:pt x="2912" y="1693"/>
                </a:lnTo>
                <a:lnTo>
                  <a:pt x="2924" y="1708"/>
                </a:lnTo>
                <a:lnTo>
                  <a:pt x="2931" y="1726"/>
                </a:lnTo>
                <a:lnTo>
                  <a:pt x="2933" y="1745"/>
                </a:lnTo>
                <a:lnTo>
                  <a:pt x="2931" y="1764"/>
                </a:lnTo>
                <a:lnTo>
                  <a:pt x="2924" y="1782"/>
                </a:lnTo>
                <a:lnTo>
                  <a:pt x="2912" y="1797"/>
                </a:lnTo>
                <a:lnTo>
                  <a:pt x="2897" y="1809"/>
                </a:lnTo>
                <a:lnTo>
                  <a:pt x="2880" y="1815"/>
                </a:lnTo>
                <a:lnTo>
                  <a:pt x="2860" y="1819"/>
                </a:lnTo>
                <a:lnTo>
                  <a:pt x="630" y="1819"/>
                </a:lnTo>
                <a:lnTo>
                  <a:pt x="610" y="1815"/>
                </a:lnTo>
                <a:lnTo>
                  <a:pt x="593" y="1809"/>
                </a:lnTo>
                <a:lnTo>
                  <a:pt x="578" y="1797"/>
                </a:lnTo>
                <a:lnTo>
                  <a:pt x="566" y="1782"/>
                </a:lnTo>
                <a:lnTo>
                  <a:pt x="559" y="1764"/>
                </a:lnTo>
                <a:lnTo>
                  <a:pt x="557" y="1745"/>
                </a:lnTo>
                <a:lnTo>
                  <a:pt x="559" y="1726"/>
                </a:lnTo>
                <a:lnTo>
                  <a:pt x="566" y="1708"/>
                </a:lnTo>
                <a:lnTo>
                  <a:pt x="578" y="1693"/>
                </a:lnTo>
                <a:lnTo>
                  <a:pt x="593" y="1681"/>
                </a:lnTo>
                <a:lnTo>
                  <a:pt x="610" y="1673"/>
                </a:lnTo>
                <a:lnTo>
                  <a:pt x="630" y="1671"/>
                </a:lnTo>
                <a:close/>
                <a:moveTo>
                  <a:pt x="1745" y="147"/>
                </a:moveTo>
                <a:lnTo>
                  <a:pt x="1641" y="150"/>
                </a:lnTo>
                <a:lnTo>
                  <a:pt x="1537" y="161"/>
                </a:lnTo>
                <a:lnTo>
                  <a:pt x="1436" y="177"/>
                </a:lnTo>
                <a:lnTo>
                  <a:pt x="1338" y="199"/>
                </a:lnTo>
                <a:lnTo>
                  <a:pt x="1241" y="228"/>
                </a:lnTo>
                <a:lnTo>
                  <a:pt x="1147" y="263"/>
                </a:lnTo>
                <a:lnTo>
                  <a:pt x="1056" y="304"/>
                </a:lnTo>
                <a:lnTo>
                  <a:pt x="967" y="349"/>
                </a:lnTo>
                <a:lnTo>
                  <a:pt x="883" y="400"/>
                </a:lnTo>
                <a:lnTo>
                  <a:pt x="802" y="455"/>
                </a:lnTo>
                <a:lnTo>
                  <a:pt x="724" y="516"/>
                </a:lnTo>
                <a:lnTo>
                  <a:pt x="651" y="581"/>
                </a:lnTo>
                <a:lnTo>
                  <a:pt x="581" y="651"/>
                </a:lnTo>
                <a:lnTo>
                  <a:pt x="516" y="724"/>
                </a:lnTo>
                <a:lnTo>
                  <a:pt x="455" y="802"/>
                </a:lnTo>
                <a:lnTo>
                  <a:pt x="400" y="883"/>
                </a:lnTo>
                <a:lnTo>
                  <a:pt x="349" y="967"/>
                </a:lnTo>
                <a:lnTo>
                  <a:pt x="304" y="1056"/>
                </a:lnTo>
                <a:lnTo>
                  <a:pt x="263" y="1147"/>
                </a:lnTo>
                <a:lnTo>
                  <a:pt x="228" y="1240"/>
                </a:lnTo>
                <a:lnTo>
                  <a:pt x="199" y="1336"/>
                </a:lnTo>
                <a:lnTo>
                  <a:pt x="177" y="1436"/>
                </a:lnTo>
                <a:lnTo>
                  <a:pt x="161" y="1537"/>
                </a:lnTo>
                <a:lnTo>
                  <a:pt x="150" y="1640"/>
                </a:lnTo>
                <a:lnTo>
                  <a:pt x="147" y="1745"/>
                </a:lnTo>
                <a:lnTo>
                  <a:pt x="150" y="1849"/>
                </a:lnTo>
                <a:lnTo>
                  <a:pt x="161" y="1953"/>
                </a:lnTo>
                <a:lnTo>
                  <a:pt x="177" y="2054"/>
                </a:lnTo>
                <a:lnTo>
                  <a:pt x="199" y="2152"/>
                </a:lnTo>
                <a:lnTo>
                  <a:pt x="228" y="2249"/>
                </a:lnTo>
                <a:lnTo>
                  <a:pt x="263" y="2343"/>
                </a:lnTo>
                <a:lnTo>
                  <a:pt x="304" y="2434"/>
                </a:lnTo>
                <a:lnTo>
                  <a:pt x="349" y="2523"/>
                </a:lnTo>
                <a:lnTo>
                  <a:pt x="400" y="2607"/>
                </a:lnTo>
                <a:lnTo>
                  <a:pt x="455" y="2688"/>
                </a:lnTo>
                <a:lnTo>
                  <a:pt x="516" y="2766"/>
                </a:lnTo>
                <a:lnTo>
                  <a:pt x="581" y="2839"/>
                </a:lnTo>
                <a:lnTo>
                  <a:pt x="651" y="2909"/>
                </a:lnTo>
                <a:lnTo>
                  <a:pt x="724" y="2974"/>
                </a:lnTo>
                <a:lnTo>
                  <a:pt x="802" y="3035"/>
                </a:lnTo>
                <a:lnTo>
                  <a:pt x="883" y="3090"/>
                </a:lnTo>
                <a:lnTo>
                  <a:pt x="967" y="3141"/>
                </a:lnTo>
                <a:lnTo>
                  <a:pt x="1056" y="3186"/>
                </a:lnTo>
                <a:lnTo>
                  <a:pt x="1147" y="3227"/>
                </a:lnTo>
                <a:lnTo>
                  <a:pt x="1241" y="3262"/>
                </a:lnTo>
                <a:lnTo>
                  <a:pt x="1338" y="3291"/>
                </a:lnTo>
                <a:lnTo>
                  <a:pt x="1436" y="3313"/>
                </a:lnTo>
                <a:lnTo>
                  <a:pt x="1537" y="3329"/>
                </a:lnTo>
                <a:lnTo>
                  <a:pt x="1641" y="3340"/>
                </a:lnTo>
                <a:lnTo>
                  <a:pt x="1745" y="3343"/>
                </a:lnTo>
                <a:lnTo>
                  <a:pt x="1850" y="3340"/>
                </a:lnTo>
                <a:lnTo>
                  <a:pt x="1953" y="3329"/>
                </a:lnTo>
                <a:lnTo>
                  <a:pt x="2054" y="3313"/>
                </a:lnTo>
                <a:lnTo>
                  <a:pt x="2154" y="3291"/>
                </a:lnTo>
                <a:lnTo>
                  <a:pt x="2250" y="3262"/>
                </a:lnTo>
                <a:lnTo>
                  <a:pt x="2343" y="3227"/>
                </a:lnTo>
                <a:lnTo>
                  <a:pt x="2434" y="3186"/>
                </a:lnTo>
                <a:lnTo>
                  <a:pt x="2523" y="3141"/>
                </a:lnTo>
                <a:lnTo>
                  <a:pt x="2607" y="3090"/>
                </a:lnTo>
                <a:lnTo>
                  <a:pt x="2688" y="3035"/>
                </a:lnTo>
                <a:lnTo>
                  <a:pt x="2766" y="2974"/>
                </a:lnTo>
                <a:lnTo>
                  <a:pt x="2839" y="2909"/>
                </a:lnTo>
                <a:lnTo>
                  <a:pt x="2909" y="2839"/>
                </a:lnTo>
                <a:lnTo>
                  <a:pt x="2974" y="2766"/>
                </a:lnTo>
                <a:lnTo>
                  <a:pt x="3035" y="2688"/>
                </a:lnTo>
                <a:lnTo>
                  <a:pt x="3090" y="2607"/>
                </a:lnTo>
                <a:lnTo>
                  <a:pt x="3141" y="2523"/>
                </a:lnTo>
                <a:lnTo>
                  <a:pt x="3186" y="2434"/>
                </a:lnTo>
                <a:lnTo>
                  <a:pt x="3227" y="2343"/>
                </a:lnTo>
                <a:lnTo>
                  <a:pt x="3262" y="2249"/>
                </a:lnTo>
                <a:lnTo>
                  <a:pt x="3291" y="2152"/>
                </a:lnTo>
                <a:lnTo>
                  <a:pt x="3313" y="2054"/>
                </a:lnTo>
                <a:lnTo>
                  <a:pt x="3330" y="1953"/>
                </a:lnTo>
                <a:lnTo>
                  <a:pt x="3340" y="1849"/>
                </a:lnTo>
                <a:lnTo>
                  <a:pt x="3343" y="1745"/>
                </a:lnTo>
                <a:lnTo>
                  <a:pt x="3340" y="1640"/>
                </a:lnTo>
                <a:lnTo>
                  <a:pt x="3330" y="1537"/>
                </a:lnTo>
                <a:lnTo>
                  <a:pt x="3313" y="1436"/>
                </a:lnTo>
                <a:lnTo>
                  <a:pt x="3291" y="1336"/>
                </a:lnTo>
                <a:lnTo>
                  <a:pt x="3262" y="1240"/>
                </a:lnTo>
                <a:lnTo>
                  <a:pt x="3227" y="1147"/>
                </a:lnTo>
                <a:lnTo>
                  <a:pt x="3186" y="1056"/>
                </a:lnTo>
                <a:lnTo>
                  <a:pt x="3141" y="967"/>
                </a:lnTo>
                <a:lnTo>
                  <a:pt x="3090" y="883"/>
                </a:lnTo>
                <a:lnTo>
                  <a:pt x="3035" y="802"/>
                </a:lnTo>
                <a:lnTo>
                  <a:pt x="2974" y="724"/>
                </a:lnTo>
                <a:lnTo>
                  <a:pt x="2909" y="651"/>
                </a:lnTo>
                <a:lnTo>
                  <a:pt x="2839" y="581"/>
                </a:lnTo>
                <a:lnTo>
                  <a:pt x="2766" y="516"/>
                </a:lnTo>
                <a:lnTo>
                  <a:pt x="2688" y="455"/>
                </a:lnTo>
                <a:lnTo>
                  <a:pt x="2607" y="400"/>
                </a:lnTo>
                <a:lnTo>
                  <a:pt x="2523" y="349"/>
                </a:lnTo>
                <a:lnTo>
                  <a:pt x="2434" y="304"/>
                </a:lnTo>
                <a:lnTo>
                  <a:pt x="2343" y="263"/>
                </a:lnTo>
                <a:lnTo>
                  <a:pt x="2250" y="228"/>
                </a:lnTo>
                <a:lnTo>
                  <a:pt x="2154" y="199"/>
                </a:lnTo>
                <a:lnTo>
                  <a:pt x="2054" y="177"/>
                </a:lnTo>
                <a:lnTo>
                  <a:pt x="1953" y="161"/>
                </a:lnTo>
                <a:lnTo>
                  <a:pt x="1850" y="150"/>
                </a:lnTo>
                <a:lnTo>
                  <a:pt x="1745" y="147"/>
                </a:lnTo>
                <a:close/>
                <a:moveTo>
                  <a:pt x="1745" y="0"/>
                </a:moveTo>
                <a:lnTo>
                  <a:pt x="1852" y="3"/>
                </a:lnTo>
                <a:lnTo>
                  <a:pt x="1956" y="13"/>
                </a:lnTo>
                <a:lnTo>
                  <a:pt x="2059" y="28"/>
                </a:lnTo>
                <a:lnTo>
                  <a:pt x="2159" y="49"/>
                </a:lnTo>
                <a:lnTo>
                  <a:pt x="2257" y="77"/>
                </a:lnTo>
                <a:lnTo>
                  <a:pt x="2353" y="109"/>
                </a:lnTo>
                <a:lnTo>
                  <a:pt x="2447" y="147"/>
                </a:lnTo>
                <a:lnTo>
                  <a:pt x="2538" y="190"/>
                </a:lnTo>
                <a:lnTo>
                  <a:pt x="2625" y="239"/>
                </a:lnTo>
                <a:lnTo>
                  <a:pt x="2709" y="291"/>
                </a:lnTo>
                <a:lnTo>
                  <a:pt x="2791" y="349"/>
                </a:lnTo>
                <a:lnTo>
                  <a:pt x="2869" y="411"/>
                </a:lnTo>
                <a:lnTo>
                  <a:pt x="2943" y="477"/>
                </a:lnTo>
                <a:lnTo>
                  <a:pt x="3013" y="547"/>
                </a:lnTo>
                <a:lnTo>
                  <a:pt x="3079" y="621"/>
                </a:lnTo>
                <a:lnTo>
                  <a:pt x="3141" y="699"/>
                </a:lnTo>
                <a:lnTo>
                  <a:pt x="3199" y="781"/>
                </a:lnTo>
                <a:lnTo>
                  <a:pt x="3251" y="865"/>
                </a:lnTo>
                <a:lnTo>
                  <a:pt x="3300" y="952"/>
                </a:lnTo>
                <a:lnTo>
                  <a:pt x="3343" y="1043"/>
                </a:lnTo>
                <a:lnTo>
                  <a:pt x="3381" y="1137"/>
                </a:lnTo>
                <a:lnTo>
                  <a:pt x="3413" y="1233"/>
                </a:lnTo>
                <a:lnTo>
                  <a:pt x="3441" y="1331"/>
                </a:lnTo>
                <a:lnTo>
                  <a:pt x="3462" y="1431"/>
                </a:lnTo>
                <a:lnTo>
                  <a:pt x="3477" y="1534"/>
                </a:lnTo>
                <a:lnTo>
                  <a:pt x="3487" y="1638"/>
                </a:lnTo>
                <a:lnTo>
                  <a:pt x="3490" y="1745"/>
                </a:lnTo>
                <a:lnTo>
                  <a:pt x="3487" y="1851"/>
                </a:lnTo>
                <a:lnTo>
                  <a:pt x="3477" y="1955"/>
                </a:lnTo>
                <a:lnTo>
                  <a:pt x="3462" y="2059"/>
                </a:lnTo>
                <a:lnTo>
                  <a:pt x="3441" y="2159"/>
                </a:lnTo>
                <a:lnTo>
                  <a:pt x="3413" y="2257"/>
                </a:lnTo>
                <a:lnTo>
                  <a:pt x="3381" y="2353"/>
                </a:lnTo>
                <a:lnTo>
                  <a:pt x="3343" y="2447"/>
                </a:lnTo>
                <a:lnTo>
                  <a:pt x="3300" y="2537"/>
                </a:lnTo>
                <a:lnTo>
                  <a:pt x="3251" y="2625"/>
                </a:lnTo>
                <a:lnTo>
                  <a:pt x="3199" y="2709"/>
                </a:lnTo>
                <a:lnTo>
                  <a:pt x="3141" y="2791"/>
                </a:lnTo>
                <a:lnTo>
                  <a:pt x="3079" y="2868"/>
                </a:lnTo>
                <a:lnTo>
                  <a:pt x="3013" y="2943"/>
                </a:lnTo>
                <a:lnTo>
                  <a:pt x="2943" y="3013"/>
                </a:lnTo>
                <a:lnTo>
                  <a:pt x="2869" y="3079"/>
                </a:lnTo>
                <a:lnTo>
                  <a:pt x="2791" y="3141"/>
                </a:lnTo>
                <a:lnTo>
                  <a:pt x="2709" y="3199"/>
                </a:lnTo>
                <a:lnTo>
                  <a:pt x="2625" y="3251"/>
                </a:lnTo>
                <a:lnTo>
                  <a:pt x="2538" y="3299"/>
                </a:lnTo>
                <a:lnTo>
                  <a:pt x="2447" y="3343"/>
                </a:lnTo>
                <a:lnTo>
                  <a:pt x="2353" y="3380"/>
                </a:lnTo>
                <a:lnTo>
                  <a:pt x="2257" y="3413"/>
                </a:lnTo>
                <a:lnTo>
                  <a:pt x="2159" y="3441"/>
                </a:lnTo>
                <a:lnTo>
                  <a:pt x="2059" y="3462"/>
                </a:lnTo>
                <a:lnTo>
                  <a:pt x="1956" y="3477"/>
                </a:lnTo>
                <a:lnTo>
                  <a:pt x="1852" y="3487"/>
                </a:lnTo>
                <a:lnTo>
                  <a:pt x="1745" y="3490"/>
                </a:lnTo>
                <a:lnTo>
                  <a:pt x="1745" y="3490"/>
                </a:lnTo>
                <a:lnTo>
                  <a:pt x="1639" y="3487"/>
                </a:lnTo>
                <a:lnTo>
                  <a:pt x="1535" y="3477"/>
                </a:lnTo>
                <a:lnTo>
                  <a:pt x="1431" y="3462"/>
                </a:lnTo>
                <a:lnTo>
                  <a:pt x="1331" y="3441"/>
                </a:lnTo>
                <a:lnTo>
                  <a:pt x="1233" y="3413"/>
                </a:lnTo>
                <a:lnTo>
                  <a:pt x="1137" y="3380"/>
                </a:lnTo>
                <a:lnTo>
                  <a:pt x="1043" y="3343"/>
                </a:lnTo>
                <a:lnTo>
                  <a:pt x="953" y="3299"/>
                </a:lnTo>
                <a:lnTo>
                  <a:pt x="865" y="3251"/>
                </a:lnTo>
                <a:lnTo>
                  <a:pt x="781" y="3199"/>
                </a:lnTo>
                <a:lnTo>
                  <a:pt x="699" y="3141"/>
                </a:lnTo>
                <a:lnTo>
                  <a:pt x="622" y="3079"/>
                </a:lnTo>
                <a:lnTo>
                  <a:pt x="547" y="3013"/>
                </a:lnTo>
                <a:lnTo>
                  <a:pt x="477" y="2943"/>
                </a:lnTo>
                <a:lnTo>
                  <a:pt x="411" y="2868"/>
                </a:lnTo>
                <a:lnTo>
                  <a:pt x="349" y="2791"/>
                </a:lnTo>
                <a:lnTo>
                  <a:pt x="291" y="2709"/>
                </a:lnTo>
                <a:lnTo>
                  <a:pt x="239" y="2625"/>
                </a:lnTo>
                <a:lnTo>
                  <a:pt x="191" y="2537"/>
                </a:lnTo>
                <a:lnTo>
                  <a:pt x="147" y="2447"/>
                </a:lnTo>
                <a:lnTo>
                  <a:pt x="110" y="2353"/>
                </a:lnTo>
                <a:lnTo>
                  <a:pt x="77" y="2257"/>
                </a:lnTo>
                <a:lnTo>
                  <a:pt x="49" y="2159"/>
                </a:lnTo>
                <a:lnTo>
                  <a:pt x="28" y="2059"/>
                </a:lnTo>
                <a:lnTo>
                  <a:pt x="13" y="1955"/>
                </a:lnTo>
                <a:lnTo>
                  <a:pt x="3" y="1851"/>
                </a:lnTo>
                <a:lnTo>
                  <a:pt x="0" y="1745"/>
                </a:lnTo>
                <a:lnTo>
                  <a:pt x="0" y="1745"/>
                </a:lnTo>
                <a:lnTo>
                  <a:pt x="3" y="1638"/>
                </a:lnTo>
                <a:lnTo>
                  <a:pt x="13" y="1534"/>
                </a:lnTo>
                <a:lnTo>
                  <a:pt x="28" y="1431"/>
                </a:lnTo>
                <a:lnTo>
                  <a:pt x="49" y="1331"/>
                </a:lnTo>
                <a:lnTo>
                  <a:pt x="77" y="1233"/>
                </a:lnTo>
                <a:lnTo>
                  <a:pt x="110" y="1137"/>
                </a:lnTo>
                <a:lnTo>
                  <a:pt x="147" y="1043"/>
                </a:lnTo>
                <a:lnTo>
                  <a:pt x="191" y="952"/>
                </a:lnTo>
                <a:lnTo>
                  <a:pt x="239" y="865"/>
                </a:lnTo>
                <a:lnTo>
                  <a:pt x="291" y="781"/>
                </a:lnTo>
                <a:lnTo>
                  <a:pt x="349" y="699"/>
                </a:lnTo>
                <a:lnTo>
                  <a:pt x="411" y="621"/>
                </a:lnTo>
                <a:lnTo>
                  <a:pt x="477" y="547"/>
                </a:lnTo>
                <a:lnTo>
                  <a:pt x="547" y="477"/>
                </a:lnTo>
                <a:lnTo>
                  <a:pt x="622" y="411"/>
                </a:lnTo>
                <a:lnTo>
                  <a:pt x="699" y="349"/>
                </a:lnTo>
                <a:lnTo>
                  <a:pt x="781" y="291"/>
                </a:lnTo>
                <a:lnTo>
                  <a:pt x="865" y="239"/>
                </a:lnTo>
                <a:lnTo>
                  <a:pt x="953" y="190"/>
                </a:lnTo>
                <a:lnTo>
                  <a:pt x="1043" y="147"/>
                </a:lnTo>
                <a:lnTo>
                  <a:pt x="1137" y="109"/>
                </a:lnTo>
                <a:lnTo>
                  <a:pt x="1233" y="77"/>
                </a:lnTo>
                <a:lnTo>
                  <a:pt x="1331" y="49"/>
                </a:lnTo>
                <a:lnTo>
                  <a:pt x="1431" y="28"/>
                </a:lnTo>
                <a:lnTo>
                  <a:pt x="1535" y="13"/>
                </a:lnTo>
                <a:lnTo>
                  <a:pt x="1639" y="3"/>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0" name="Freeform 88"/>
          <p:cNvSpPr>
            <a:spLocks noChangeAspect="1" noEditPoints="1"/>
          </p:cNvSpPr>
          <p:nvPr/>
        </p:nvSpPr>
        <p:spPr bwMode="auto">
          <a:xfrm>
            <a:off x="3651770" y="5806446"/>
            <a:ext cx="285619" cy="285619"/>
          </a:xfrm>
          <a:custGeom>
            <a:avLst/>
            <a:gdLst>
              <a:gd name="T0" fmla="*/ 1809 w 3490"/>
              <a:gd name="T1" fmla="*/ 593 h 3490"/>
              <a:gd name="T2" fmla="*/ 2880 w 3490"/>
              <a:gd name="T3" fmla="*/ 1673 h 3490"/>
              <a:gd name="T4" fmla="*/ 2933 w 3490"/>
              <a:gd name="T5" fmla="*/ 1745 h 3490"/>
              <a:gd name="T6" fmla="*/ 2880 w 3490"/>
              <a:gd name="T7" fmla="*/ 1815 h 3490"/>
              <a:gd name="T8" fmla="*/ 1809 w 3490"/>
              <a:gd name="T9" fmla="*/ 2897 h 3490"/>
              <a:gd name="T10" fmla="*/ 1726 w 3490"/>
              <a:gd name="T11" fmla="*/ 2931 h 3490"/>
              <a:gd name="T12" fmla="*/ 1671 w 3490"/>
              <a:gd name="T13" fmla="*/ 2860 h 3490"/>
              <a:gd name="T14" fmla="*/ 578 w 3490"/>
              <a:gd name="T15" fmla="*/ 1797 h 3490"/>
              <a:gd name="T16" fmla="*/ 566 w 3490"/>
              <a:gd name="T17" fmla="*/ 1708 h 3490"/>
              <a:gd name="T18" fmla="*/ 1671 w 3490"/>
              <a:gd name="T19" fmla="*/ 1671 h 3490"/>
              <a:gd name="T20" fmla="*/ 1708 w 3490"/>
              <a:gd name="T21" fmla="*/ 566 h 3490"/>
              <a:gd name="T22" fmla="*/ 1537 w 3490"/>
              <a:gd name="T23" fmla="*/ 161 h 3490"/>
              <a:gd name="T24" fmla="*/ 1056 w 3490"/>
              <a:gd name="T25" fmla="*/ 304 h 3490"/>
              <a:gd name="T26" fmla="*/ 651 w 3490"/>
              <a:gd name="T27" fmla="*/ 581 h 3490"/>
              <a:gd name="T28" fmla="*/ 349 w 3490"/>
              <a:gd name="T29" fmla="*/ 967 h 3490"/>
              <a:gd name="T30" fmla="*/ 177 w 3490"/>
              <a:gd name="T31" fmla="*/ 1436 h 3490"/>
              <a:gd name="T32" fmla="*/ 161 w 3490"/>
              <a:gd name="T33" fmla="*/ 1953 h 3490"/>
              <a:gd name="T34" fmla="*/ 304 w 3490"/>
              <a:gd name="T35" fmla="*/ 2434 h 3490"/>
              <a:gd name="T36" fmla="*/ 581 w 3490"/>
              <a:gd name="T37" fmla="*/ 2839 h 3490"/>
              <a:gd name="T38" fmla="*/ 967 w 3490"/>
              <a:gd name="T39" fmla="*/ 3141 h 3490"/>
              <a:gd name="T40" fmla="*/ 1436 w 3490"/>
              <a:gd name="T41" fmla="*/ 3313 h 3490"/>
              <a:gd name="T42" fmla="*/ 1953 w 3490"/>
              <a:gd name="T43" fmla="*/ 3329 h 3490"/>
              <a:gd name="T44" fmla="*/ 2434 w 3490"/>
              <a:gd name="T45" fmla="*/ 3186 h 3490"/>
              <a:gd name="T46" fmla="*/ 2839 w 3490"/>
              <a:gd name="T47" fmla="*/ 2909 h 3490"/>
              <a:gd name="T48" fmla="*/ 3141 w 3490"/>
              <a:gd name="T49" fmla="*/ 2523 h 3490"/>
              <a:gd name="T50" fmla="*/ 3313 w 3490"/>
              <a:gd name="T51" fmla="*/ 2054 h 3490"/>
              <a:gd name="T52" fmla="*/ 3329 w 3490"/>
              <a:gd name="T53" fmla="*/ 1537 h 3490"/>
              <a:gd name="T54" fmla="*/ 3186 w 3490"/>
              <a:gd name="T55" fmla="*/ 1056 h 3490"/>
              <a:gd name="T56" fmla="*/ 2909 w 3490"/>
              <a:gd name="T57" fmla="*/ 651 h 3490"/>
              <a:gd name="T58" fmla="*/ 2523 w 3490"/>
              <a:gd name="T59" fmla="*/ 349 h 3490"/>
              <a:gd name="T60" fmla="*/ 2054 w 3490"/>
              <a:gd name="T61" fmla="*/ 177 h 3490"/>
              <a:gd name="T62" fmla="*/ 1852 w 3490"/>
              <a:gd name="T63" fmla="*/ 3 h 3490"/>
              <a:gd name="T64" fmla="*/ 2353 w 3490"/>
              <a:gd name="T65" fmla="*/ 109 h 3490"/>
              <a:gd name="T66" fmla="*/ 2791 w 3490"/>
              <a:gd name="T67" fmla="*/ 349 h 3490"/>
              <a:gd name="T68" fmla="*/ 3141 w 3490"/>
              <a:gd name="T69" fmla="*/ 699 h 3490"/>
              <a:gd name="T70" fmla="*/ 3381 w 3490"/>
              <a:gd name="T71" fmla="*/ 1137 h 3490"/>
              <a:gd name="T72" fmla="*/ 3487 w 3490"/>
              <a:gd name="T73" fmla="*/ 1638 h 3490"/>
              <a:gd name="T74" fmla="*/ 3441 w 3490"/>
              <a:gd name="T75" fmla="*/ 2159 h 3490"/>
              <a:gd name="T76" fmla="*/ 3251 w 3490"/>
              <a:gd name="T77" fmla="*/ 2625 h 3490"/>
              <a:gd name="T78" fmla="*/ 2943 w 3490"/>
              <a:gd name="T79" fmla="*/ 3013 h 3490"/>
              <a:gd name="T80" fmla="*/ 2538 w 3490"/>
              <a:gd name="T81" fmla="*/ 3299 h 3490"/>
              <a:gd name="T82" fmla="*/ 2059 w 3490"/>
              <a:gd name="T83" fmla="*/ 3462 h 3490"/>
              <a:gd name="T84" fmla="*/ 1639 w 3490"/>
              <a:gd name="T85" fmla="*/ 3487 h 3490"/>
              <a:gd name="T86" fmla="*/ 1137 w 3490"/>
              <a:gd name="T87" fmla="*/ 3380 h 3490"/>
              <a:gd name="T88" fmla="*/ 699 w 3490"/>
              <a:gd name="T89" fmla="*/ 3141 h 3490"/>
              <a:gd name="T90" fmla="*/ 349 w 3490"/>
              <a:gd name="T91" fmla="*/ 2791 h 3490"/>
              <a:gd name="T92" fmla="*/ 110 w 3490"/>
              <a:gd name="T93" fmla="*/ 2353 h 3490"/>
              <a:gd name="T94" fmla="*/ 3 w 3490"/>
              <a:gd name="T95" fmla="*/ 1851 h 3490"/>
              <a:gd name="T96" fmla="*/ 28 w 3490"/>
              <a:gd name="T97" fmla="*/ 1431 h 3490"/>
              <a:gd name="T98" fmla="*/ 191 w 3490"/>
              <a:gd name="T99" fmla="*/ 952 h 3490"/>
              <a:gd name="T100" fmla="*/ 477 w 3490"/>
              <a:gd name="T101" fmla="*/ 547 h 3490"/>
              <a:gd name="T102" fmla="*/ 865 w 3490"/>
              <a:gd name="T103" fmla="*/ 239 h 3490"/>
              <a:gd name="T104" fmla="*/ 1331 w 3490"/>
              <a:gd name="T105" fmla="*/ 49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90" h="3490">
                <a:moveTo>
                  <a:pt x="1745" y="557"/>
                </a:moveTo>
                <a:lnTo>
                  <a:pt x="1764" y="559"/>
                </a:lnTo>
                <a:lnTo>
                  <a:pt x="1782" y="566"/>
                </a:lnTo>
                <a:lnTo>
                  <a:pt x="1797" y="578"/>
                </a:lnTo>
                <a:lnTo>
                  <a:pt x="1809" y="593"/>
                </a:lnTo>
                <a:lnTo>
                  <a:pt x="1817" y="610"/>
                </a:lnTo>
                <a:lnTo>
                  <a:pt x="1819" y="630"/>
                </a:lnTo>
                <a:lnTo>
                  <a:pt x="1819" y="1671"/>
                </a:lnTo>
                <a:lnTo>
                  <a:pt x="2860" y="1671"/>
                </a:lnTo>
                <a:lnTo>
                  <a:pt x="2880" y="1673"/>
                </a:lnTo>
                <a:lnTo>
                  <a:pt x="2897" y="1681"/>
                </a:lnTo>
                <a:lnTo>
                  <a:pt x="2912" y="1693"/>
                </a:lnTo>
                <a:lnTo>
                  <a:pt x="2924" y="1708"/>
                </a:lnTo>
                <a:lnTo>
                  <a:pt x="2931" y="1726"/>
                </a:lnTo>
                <a:lnTo>
                  <a:pt x="2933" y="1745"/>
                </a:lnTo>
                <a:lnTo>
                  <a:pt x="2931" y="1764"/>
                </a:lnTo>
                <a:lnTo>
                  <a:pt x="2924" y="1782"/>
                </a:lnTo>
                <a:lnTo>
                  <a:pt x="2912" y="1797"/>
                </a:lnTo>
                <a:lnTo>
                  <a:pt x="2897" y="1809"/>
                </a:lnTo>
                <a:lnTo>
                  <a:pt x="2880" y="1815"/>
                </a:lnTo>
                <a:lnTo>
                  <a:pt x="2860" y="1819"/>
                </a:lnTo>
                <a:lnTo>
                  <a:pt x="1819" y="1819"/>
                </a:lnTo>
                <a:lnTo>
                  <a:pt x="1819" y="2860"/>
                </a:lnTo>
                <a:lnTo>
                  <a:pt x="1817" y="2880"/>
                </a:lnTo>
                <a:lnTo>
                  <a:pt x="1809" y="2897"/>
                </a:lnTo>
                <a:lnTo>
                  <a:pt x="1797" y="2912"/>
                </a:lnTo>
                <a:lnTo>
                  <a:pt x="1782" y="2924"/>
                </a:lnTo>
                <a:lnTo>
                  <a:pt x="1764" y="2931"/>
                </a:lnTo>
                <a:lnTo>
                  <a:pt x="1745" y="2933"/>
                </a:lnTo>
                <a:lnTo>
                  <a:pt x="1726" y="2931"/>
                </a:lnTo>
                <a:lnTo>
                  <a:pt x="1708" y="2924"/>
                </a:lnTo>
                <a:lnTo>
                  <a:pt x="1693" y="2912"/>
                </a:lnTo>
                <a:lnTo>
                  <a:pt x="1681" y="2897"/>
                </a:lnTo>
                <a:lnTo>
                  <a:pt x="1675" y="2880"/>
                </a:lnTo>
                <a:lnTo>
                  <a:pt x="1671" y="2860"/>
                </a:lnTo>
                <a:lnTo>
                  <a:pt x="1671" y="1819"/>
                </a:lnTo>
                <a:lnTo>
                  <a:pt x="630" y="1819"/>
                </a:lnTo>
                <a:lnTo>
                  <a:pt x="610" y="1815"/>
                </a:lnTo>
                <a:lnTo>
                  <a:pt x="593" y="1809"/>
                </a:lnTo>
                <a:lnTo>
                  <a:pt x="578" y="1797"/>
                </a:lnTo>
                <a:lnTo>
                  <a:pt x="566" y="1782"/>
                </a:lnTo>
                <a:lnTo>
                  <a:pt x="559" y="1764"/>
                </a:lnTo>
                <a:lnTo>
                  <a:pt x="557" y="1745"/>
                </a:lnTo>
                <a:lnTo>
                  <a:pt x="559" y="1726"/>
                </a:lnTo>
                <a:lnTo>
                  <a:pt x="566" y="1708"/>
                </a:lnTo>
                <a:lnTo>
                  <a:pt x="578" y="1693"/>
                </a:lnTo>
                <a:lnTo>
                  <a:pt x="593" y="1681"/>
                </a:lnTo>
                <a:lnTo>
                  <a:pt x="610" y="1673"/>
                </a:lnTo>
                <a:lnTo>
                  <a:pt x="630" y="1671"/>
                </a:lnTo>
                <a:lnTo>
                  <a:pt x="1671" y="1671"/>
                </a:lnTo>
                <a:lnTo>
                  <a:pt x="1671" y="630"/>
                </a:lnTo>
                <a:lnTo>
                  <a:pt x="1675" y="610"/>
                </a:lnTo>
                <a:lnTo>
                  <a:pt x="1681" y="593"/>
                </a:lnTo>
                <a:lnTo>
                  <a:pt x="1693" y="578"/>
                </a:lnTo>
                <a:lnTo>
                  <a:pt x="1708" y="566"/>
                </a:lnTo>
                <a:lnTo>
                  <a:pt x="1726" y="559"/>
                </a:lnTo>
                <a:lnTo>
                  <a:pt x="1745" y="557"/>
                </a:lnTo>
                <a:close/>
                <a:moveTo>
                  <a:pt x="1745" y="147"/>
                </a:moveTo>
                <a:lnTo>
                  <a:pt x="1641" y="150"/>
                </a:lnTo>
                <a:lnTo>
                  <a:pt x="1537" y="161"/>
                </a:lnTo>
                <a:lnTo>
                  <a:pt x="1436" y="177"/>
                </a:lnTo>
                <a:lnTo>
                  <a:pt x="1338" y="199"/>
                </a:lnTo>
                <a:lnTo>
                  <a:pt x="1241" y="228"/>
                </a:lnTo>
                <a:lnTo>
                  <a:pt x="1147" y="263"/>
                </a:lnTo>
                <a:lnTo>
                  <a:pt x="1056" y="304"/>
                </a:lnTo>
                <a:lnTo>
                  <a:pt x="967" y="349"/>
                </a:lnTo>
                <a:lnTo>
                  <a:pt x="883" y="400"/>
                </a:lnTo>
                <a:lnTo>
                  <a:pt x="802" y="455"/>
                </a:lnTo>
                <a:lnTo>
                  <a:pt x="724" y="516"/>
                </a:lnTo>
                <a:lnTo>
                  <a:pt x="651" y="581"/>
                </a:lnTo>
                <a:lnTo>
                  <a:pt x="581" y="651"/>
                </a:lnTo>
                <a:lnTo>
                  <a:pt x="516" y="724"/>
                </a:lnTo>
                <a:lnTo>
                  <a:pt x="455" y="802"/>
                </a:lnTo>
                <a:lnTo>
                  <a:pt x="400" y="883"/>
                </a:lnTo>
                <a:lnTo>
                  <a:pt x="349" y="967"/>
                </a:lnTo>
                <a:lnTo>
                  <a:pt x="304" y="1056"/>
                </a:lnTo>
                <a:lnTo>
                  <a:pt x="263" y="1147"/>
                </a:lnTo>
                <a:lnTo>
                  <a:pt x="228" y="1240"/>
                </a:lnTo>
                <a:lnTo>
                  <a:pt x="199" y="1336"/>
                </a:lnTo>
                <a:lnTo>
                  <a:pt x="177" y="1436"/>
                </a:lnTo>
                <a:lnTo>
                  <a:pt x="161" y="1537"/>
                </a:lnTo>
                <a:lnTo>
                  <a:pt x="150" y="1640"/>
                </a:lnTo>
                <a:lnTo>
                  <a:pt x="147" y="1745"/>
                </a:lnTo>
                <a:lnTo>
                  <a:pt x="150" y="1849"/>
                </a:lnTo>
                <a:lnTo>
                  <a:pt x="161" y="1953"/>
                </a:lnTo>
                <a:lnTo>
                  <a:pt x="177" y="2054"/>
                </a:lnTo>
                <a:lnTo>
                  <a:pt x="199" y="2152"/>
                </a:lnTo>
                <a:lnTo>
                  <a:pt x="228" y="2249"/>
                </a:lnTo>
                <a:lnTo>
                  <a:pt x="263" y="2343"/>
                </a:lnTo>
                <a:lnTo>
                  <a:pt x="304" y="2434"/>
                </a:lnTo>
                <a:lnTo>
                  <a:pt x="349" y="2523"/>
                </a:lnTo>
                <a:lnTo>
                  <a:pt x="400" y="2607"/>
                </a:lnTo>
                <a:lnTo>
                  <a:pt x="455" y="2688"/>
                </a:lnTo>
                <a:lnTo>
                  <a:pt x="516" y="2766"/>
                </a:lnTo>
                <a:lnTo>
                  <a:pt x="581" y="2839"/>
                </a:lnTo>
                <a:lnTo>
                  <a:pt x="651" y="2909"/>
                </a:lnTo>
                <a:lnTo>
                  <a:pt x="724" y="2974"/>
                </a:lnTo>
                <a:lnTo>
                  <a:pt x="802" y="3035"/>
                </a:lnTo>
                <a:lnTo>
                  <a:pt x="883" y="3090"/>
                </a:lnTo>
                <a:lnTo>
                  <a:pt x="967" y="3141"/>
                </a:lnTo>
                <a:lnTo>
                  <a:pt x="1056" y="3186"/>
                </a:lnTo>
                <a:lnTo>
                  <a:pt x="1147" y="3227"/>
                </a:lnTo>
                <a:lnTo>
                  <a:pt x="1241" y="3262"/>
                </a:lnTo>
                <a:lnTo>
                  <a:pt x="1338" y="3291"/>
                </a:lnTo>
                <a:lnTo>
                  <a:pt x="1436" y="3313"/>
                </a:lnTo>
                <a:lnTo>
                  <a:pt x="1537" y="3329"/>
                </a:lnTo>
                <a:lnTo>
                  <a:pt x="1641" y="3340"/>
                </a:lnTo>
                <a:lnTo>
                  <a:pt x="1745" y="3343"/>
                </a:lnTo>
                <a:lnTo>
                  <a:pt x="1850" y="3340"/>
                </a:lnTo>
                <a:lnTo>
                  <a:pt x="1953" y="3329"/>
                </a:lnTo>
                <a:lnTo>
                  <a:pt x="2054" y="3313"/>
                </a:lnTo>
                <a:lnTo>
                  <a:pt x="2154" y="3291"/>
                </a:lnTo>
                <a:lnTo>
                  <a:pt x="2250" y="3262"/>
                </a:lnTo>
                <a:lnTo>
                  <a:pt x="2343" y="3227"/>
                </a:lnTo>
                <a:lnTo>
                  <a:pt x="2434" y="3186"/>
                </a:lnTo>
                <a:lnTo>
                  <a:pt x="2523" y="3141"/>
                </a:lnTo>
                <a:lnTo>
                  <a:pt x="2607" y="3090"/>
                </a:lnTo>
                <a:lnTo>
                  <a:pt x="2688" y="3035"/>
                </a:lnTo>
                <a:lnTo>
                  <a:pt x="2766" y="2974"/>
                </a:lnTo>
                <a:lnTo>
                  <a:pt x="2839" y="2909"/>
                </a:lnTo>
                <a:lnTo>
                  <a:pt x="2909" y="2839"/>
                </a:lnTo>
                <a:lnTo>
                  <a:pt x="2974" y="2766"/>
                </a:lnTo>
                <a:lnTo>
                  <a:pt x="3035" y="2688"/>
                </a:lnTo>
                <a:lnTo>
                  <a:pt x="3090" y="2607"/>
                </a:lnTo>
                <a:lnTo>
                  <a:pt x="3141" y="2523"/>
                </a:lnTo>
                <a:lnTo>
                  <a:pt x="3186" y="2434"/>
                </a:lnTo>
                <a:lnTo>
                  <a:pt x="3227" y="2343"/>
                </a:lnTo>
                <a:lnTo>
                  <a:pt x="3262" y="2249"/>
                </a:lnTo>
                <a:lnTo>
                  <a:pt x="3291" y="2152"/>
                </a:lnTo>
                <a:lnTo>
                  <a:pt x="3313" y="2054"/>
                </a:lnTo>
                <a:lnTo>
                  <a:pt x="3329" y="1953"/>
                </a:lnTo>
                <a:lnTo>
                  <a:pt x="3340" y="1849"/>
                </a:lnTo>
                <a:lnTo>
                  <a:pt x="3343" y="1745"/>
                </a:lnTo>
                <a:lnTo>
                  <a:pt x="3340" y="1640"/>
                </a:lnTo>
                <a:lnTo>
                  <a:pt x="3329" y="1537"/>
                </a:lnTo>
                <a:lnTo>
                  <a:pt x="3313" y="1436"/>
                </a:lnTo>
                <a:lnTo>
                  <a:pt x="3291" y="1336"/>
                </a:lnTo>
                <a:lnTo>
                  <a:pt x="3262" y="1240"/>
                </a:lnTo>
                <a:lnTo>
                  <a:pt x="3227" y="1147"/>
                </a:lnTo>
                <a:lnTo>
                  <a:pt x="3186" y="1056"/>
                </a:lnTo>
                <a:lnTo>
                  <a:pt x="3141" y="967"/>
                </a:lnTo>
                <a:lnTo>
                  <a:pt x="3090" y="883"/>
                </a:lnTo>
                <a:lnTo>
                  <a:pt x="3035" y="802"/>
                </a:lnTo>
                <a:lnTo>
                  <a:pt x="2974" y="724"/>
                </a:lnTo>
                <a:lnTo>
                  <a:pt x="2909" y="651"/>
                </a:lnTo>
                <a:lnTo>
                  <a:pt x="2839" y="581"/>
                </a:lnTo>
                <a:lnTo>
                  <a:pt x="2766" y="516"/>
                </a:lnTo>
                <a:lnTo>
                  <a:pt x="2688" y="455"/>
                </a:lnTo>
                <a:lnTo>
                  <a:pt x="2607" y="400"/>
                </a:lnTo>
                <a:lnTo>
                  <a:pt x="2523" y="349"/>
                </a:lnTo>
                <a:lnTo>
                  <a:pt x="2434" y="304"/>
                </a:lnTo>
                <a:lnTo>
                  <a:pt x="2343" y="263"/>
                </a:lnTo>
                <a:lnTo>
                  <a:pt x="2250" y="228"/>
                </a:lnTo>
                <a:lnTo>
                  <a:pt x="2154" y="199"/>
                </a:lnTo>
                <a:lnTo>
                  <a:pt x="2054" y="177"/>
                </a:lnTo>
                <a:lnTo>
                  <a:pt x="1953" y="161"/>
                </a:lnTo>
                <a:lnTo>
                  <a:pt x="1850" y="150"/>
                </a:lnTo>
                <a:lnTo>
                  <a:pt x="1745" y="147"/>
                </a:lnTo>
                <a:close/>
                <a:moveTo>
                  <a:pt x="1745" y="0"/>
                </a:moveTo>
                <a:lnTo>
                  <a:pt x="1852" y="3"/>
                </a:lnTo>
                <a:lnTo>
                  <a:pt x="1956" y="13"/>
                </a:lnTo>
                <a:lnTo>
                  <a:pt x="2059" y="28"/>
                </a:lnTo>
                <a:lnTo>
                  <a:pt x="2159" y="49"/>
                </a:lnTo>
                <a:lnTo>
                  <a:pt x="2257" y="77"/>
                </a:lnTo>
                <a:lnTo>
                  <a:pt x="2353" y="109"/>
                </a:lnTo>
                <a:lnTo>
                  <a:pt x="2447" y="147"/>
                </a:lnTo>
                <a:lnTo>
                  <a:pt x="2538" y="190"/>
                </a:lnTo>
                <a:lnTo>
                  <a:pt x="2625" y="239"/>
                </a:lnTo>
                <a:lnTo>
                  <a:pt x="2709" y="291"/>
                </a:lnTo>
                <a:lnTo>
                  <a:pt x="2791" y="349"/>
                </a:lnTo>
                <a:lnTo>
                  <a:pt x="2869" y="411"/>
                </a:lnTo>
                <a:lnTo>
                  <a:pt x="2943" y="477"/>
                </a:lnTo>
                <a:lnTo>
                  <a:pt x="3013" y="547"/>
                </a:lnTo>
                <a:lnTo>
                  <a:pt x="3079" y="621"/>
                </a:lnTo>
                <a:lnTo>
                  <a:pt x="3141" y="699"/>
                </a:lnTo>
                <a:lnTo>
                  <a:pt x="3199" y="781"/>
                </a:lnTo>
                <a:lnTo>
                  <a:pt x="3251" y="865"/>
                </a:lnTo>
                <a:lnTo>
                  <a:pt x="3300" y="952"/>
                </a:lnTo>
                <a:lnTo>
                  <a:pt x="3343" y="1043"/>
                </a:lnTo>
                <a:lnTo>
                  <a:pt x="3381" y="1137"/>
                </a:lnTo>
                <a:lnTo>
                  <a:pt x="3413" y="1233"/>
                </a:lnTo>
                <a:lnTo>
                  <a:pt x="3441" y="1331"/>
                </a:lnTo>
                <a:lnTo>
                  <a:pt x="3462" y="1431"/>
                </a:lnTo>
                <a:lnTo>
                  <a:pt x="3477" y="1534"/>
                </a:lnTo>
                <a:lnTo>
                  <a:pt x="3487" y="1638"/>
                </a:lnTo>
                <a:lnTo>
                  <a:pt x="3490" y="1745"/>
                </a:lnTo>
                <a:lnTo>
                  <a:pt x="3487" y="1851"/>
                </a:lnTo>
                <a:lnTo>
                  <a:pt x="3477" y="1955"/>
                </a:lnTo>
                <a:lnTo>
                  <a:pt x="3462" y="2059"/>
                </a:lnTo>
                <a:lnTo>
                  <a:pt x="3441" y="2159"/>
                </a:lnTo>
                <a:lnTo>
                  <a:pt x="3413" y="2257"/>
                </a:lnTo>
                <a:lnTo>
                  <a:pt x="3381" y="2353"/>
                </a:lnTo>
                <a:lnTo>
                  <a:pt x="3343" y="2447"/>
                </a:lnTo>
                <a:lnTo>
                  <a:pt x="3300" y="2537"/>
                </a:lnTo>
                <a:lnTo>
                  <a:pt x="3251" y="2625"/>
                </a:lnTo>
                <a:lnTo>
                  <a:pt x="3199" y="2709"/>
                </a:lnTo>
                <a:lnTo>
                  <a:pt x="3141" y="2791"/>
                </a:lnTo>
                <a:lnTo>
                  <a:pt x="3079" y="2868"/>
                </a:lnTo>
                <a:lnTo>
                  <a:pt x="3013" y="2943"/>
                </a:lnTo>
                <a:lnTo>
                  <a:pt x="2943" y="3013"/>
                </a:lnTo>
                <a:lnTo>
                  <a:pt x="2869" y="3079"/>
                </a:lnTo>
                <a:lnTo>
                  <a:pt x="2791" y="3141"/>
                </a:lnTo>
                <a:lnTo>
                  <a:pt x="2709" y="3199"/>
                </a:lnTo>
                <a:lnTo>
                  <a:pt x="2625" y="3251"/>
                </a:lnTo>
                <a:lnTo>
                  <a:pt x="2538" y="3299"/>
                </a:lnTo>
                <a:lnTo>
                  <a:pt x="2447" y="3343"/>
                </a:lnTo>
                <a:lnTo>
                  <a:pt x="2353" y="3380"/>
                </a:lnTo>
                <a:lnTo>
                  <a:pt x="2257" y="3413"/>
                </a:lnTo>
                <a:lnTo>
                  <a:pt x="2159" y="3441"/>
                </a:lnTo>
                <a:lnTo>
                  <a:pt x="2059" y="3462"/>
                </a:lnTo>
                <a:lnTo>
                  <a:pt x="1956" y="3477"/>
                </a:lnTo>
                <a:lnTo>
                  <a:pt x="1852" y="3487"/>
                </a:lnTo>
                <a:lnTo>
                  <a:pt x="1745" y="3490"/>
                </a:lnTo>
                <a:lnTo>
                  <a:pt x="1745" y="3490"/>
                </a:lnTo>
                <a:lnTo>
                  <a:pt x="1639" y="3487"/>
                </a:lnTo>
                <a:lnTo>
                  <a:pt x="1535" y="3477"/>
                </a:lnTo>
                <a:lnTo>
                  <a:pt x="1431" y="3462"/>
                </a:lnTo>
                <a:lnTo>
                  <a:pt x="1331" y="3441"/>
                </a:lnTo>
                <a:lnTo>
                  <a:pt x="1233" y="3413"/>
                </a:lnTo>
                <a:lnTo>
                  <a:pt x="1137" y="3380"/>
                </a:lnTo>
                <a:lnTo>
                  <a:pt x="1043" y="3343"/>
                </a:lnTo>
                <a:lnTo>
                  <a:pt x="953" y="3299"/>
                </a:lnTo>
                <a:lnTo>
                  <a:pt x="865" y="3251"/>
                </a:lnTo>
                <a:lnTo>
                  <a:pt x="781" y="3199"/>
                </a:lnTo>
                <a:lnTo>
                  <a:pt x="699" y="3141"/>
                </a:lnTo>
                <a:lnTo>
                  <a:pt x="622" y="3079"/>
                </a:lnTo>
                <a:lnTo>
                  <a:pt x="547" y="3013"/>
                </a:lnTo>
                <a:lnTo>
                  <a:pt x="477" y="2943"/>
                </a:lnTo>
                <a:lnTo>
                  <a:pt x="411" y="2868"/>
                </a:lnTo>
                <a:lnTo>
                  <a:pt x="349" y="2791"/>
                </a:lnTo>
                <a:lnTo>
                  <a:pt x="291" y="2709"/>
                </a:lnTo>
                <a:lnTo>
                  <a:pt x="239" y="2625"/>
                </a:lnTo>
                <a:lnTo>
                  <a:pt x="191" y="2537"/>
                </a:lnTo>
                <a:lnTo>
                  <a:pt x="147" y="2447"/>
                </a:lnTo>
                <a:lnTo>
                  <a:pt x="110" y="2353"/>
                </a:lnTo>
                <a:lnTo>
                  <a:pt x="77" y="2257"/>
                </a:lnTo>
                <a:lnTo>
                  <a:pt x="49" y="2159"/>
                </a:lnTo>
                <a:lnTo>
                  <a:pt x="28" y="2059"/>
                </a:lnTo>
                <a:lnTo>
                  <a:pt x="13" y="1955"/>
                </a:lnTo>
                <a:lnTo>
                  <a:pt x="3" y="1851"/>
                </a:lnTo>
                <a:lnTo>
                  <a:pt x="0" y="1745"/>
                </a:lnTo>
                <a:lnTo>
                  <a:pt x="0" y="1745"/>
                </a:lnTo>
                <a:lnTo>
                  <a:pt x="3" y="1638"/>
                </a:lnTo>
                <a:lnTo>
                  <a:pt x="13" y="1534"/>
                </a:lnTo>
                <a:lnTo>
                  <a:pt x="28" y="1431"/>
                </a:lnTo>
                <a:lnTo>
                  <a:pt x="49" y="1331"/>
                </a:lnTo>
                <a:lnTo>
                  <a:pt x="77" y="1233"/>
                </a:lnTo>
                <a:lnTo>
                  <a:pt x="110" y="1137"/>
                </a:lnTo>
                <a:lnTo>
                  <a:pt x="147" y="1043"/>
                </a:lnTo>
                <a:lnTo>
                  <a:pt x="191" y="952"/>
                </a:lnTo>
                <a:lnTo>
                  <a:pt x="239" y="865"/>
                </a:lnTo>
                <a:lnTo>
                  <a:pt x="291" y="781"/>
                </a:lnTo>
                <a:lnTo>
                  <a:pt x="349" y="699"/>
                </a:lnTo>
                <a:lnTo>
                  <a:pt x="411" y="621"/>
                </a:lnTo>
                <a:lnTo>
                  <a:pt x="477" y="547"/>
                </a:lnTo>
                <a:lnTo>
                  <a:pt x="547" y="477"/>
                </a:lnTo>
                <a:lnTo>
                  <a:pt x="622" y="411"/>
                </a:lnTo>
                <a:lnTo>
                  <a:pt x="699" y="349"/>
                </a:lnTo>
                <a:lnTo>
                  <a:pt x="781" y="291"/>
                </a:lnTo>
                <a:lnTo>
                  <a:pt x="865" y="239"/>
                </a:lnTo>
                <a:lnTo>
                  <a:pt x="953" y="190"/>
                </a:lnTo>
                <a:lnTo>
                  <a:pt x="1043" y="147"/>
                </a:lnTo>
                <a:lnTo>
                  <a:pt x="1137" y="109"/>
                </a:lnTo>
                <a:lnTo>
                  <a:pt x="1233" y="77"/>
                </a:lnTo>
                <a:lnTo>
                  <a:pt x="1331" y="49"/>
                </a:lnTo>
                <a:lnTo>
                  <a:pt x="1431" y="28"/>
                </a:lnTo>
                <a:lnTo>
                  <a:pt x="1535" y="13"/>
                </a:lnTo>
                <a:lnTo>
                  <a:pt x="1639" y="3"/>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1" name="Freeform 93"/>
          <p:cNvSpPr>
            <a:spLocks noChangeAspect="1" noEditPoints="1"/>
          </p:cNvSpPr>
          <p:nvPr/>
        </p:nvSpPr>
        <p:spPr bwMode="auto">
          <a:xfrm>
            <a:off x="2996084" y="5806446"/>
            <a:ext cx="285619" cy="285619"/>
          </a:xfrm>
          <a:custGeom>
            <a:avLst/>
            <a:gdLst>
              <a:gd name="T0" fmla="*/ 1387 w 3501"/>
              <a:gd name="T1" fmla="*/ 189 h 3490"/>
              <a:gd name="T2" fmla="*/ 966 w 3501"/>
              <a:gd name="T3" fmla="*/ 351 h 3490"/>
              <a:gd name="T4" fmla="*/ 2414 w 3501"/>
              <a:gd name="T5" fmla="*/ 2302 h 3490"/>
              <a:gd name="T6" fmla="*/ 2450 w 3501"/>
              <a:gd name="T7" fmla="*/ 1081 h 3490"/>
              <a:gd name="T8" fmla="*/ 2540 w 3501"/>
              <a:gd name="T9" fmla="*/ 1093 h 3490"/>
              <a:gd name="T10" fmla="*/ 2559 w 3501"/>
              <a:gd name="T11" fmla="*/ 2499 h 3490"/>
              <a:gd name="T12" fmla="*/ 2488 w 3501"/>
              <a:gd name="T13" fmla="*/ 2553 h 3490"/>
              <a:gd name="T14" fmla="*/ 1085 w 3501"/>
              <a:gd name="T15" fmla="*/ 2517 h 3490"/>
              <a:gd name="T16" fmla="*/ 1097 w 3501"/>
              <a:gd name="T17" fmla="*/ 2428 h 3490"/>
              <a:gd name="T18" fmla="*/ 566 w 3501"/>
              <a:gd name="T19" fmla="*/ 669 h 3490"/>
              <a:gd name="T20" fmla="*/ 310 w 3501"/>
              <a:gd name="T21" fmla="*/ 1043 h 3490"/>
              <a:gd name="T22" fmla="*/ 171 w 3501"/>
              <a:gd name="T23" fmla="*/ 1471 h 3490"/>
              <a:gd name="T24" fmla="*/ 159 w 3501"/>
              <a:gd name="T25" fmla="*/ 1940 h 3490"/>
              <a:gd name="T26" fmla="*/ 288 w 3501"/>
              <a:gd name="T27" fmla="*/ 2401 h 3490"/>
              <a:gd name="T28" fmla="*/ 550 w 3501"/>
              <a:gd name="T29" fmla="*/ 2803 h 3490"/>
              <a:gd name="T30" fmla="*/ 922 w 3501"/>
              <a:gd name="T31" fmla="*/ 3113 h 3490"/>
              <a:gd name="T32" fmla="*/ 1365 w 3501"/>
              <a:gd name="T33" fmla="*/ 3297 h 3490"/>
              <a:gd name="T34" fmla="*/ 1849 w 3501"/>
              <a:gd name="T35" fmla="*/ 3340 h 3490"/>
              <a:gd name="T36" fmla="*/ 2320 w 3501"/>
              <a:gd name="T37" fmla="*/ 3239 h 3490"/>
              <a:gd name="T38" fmla="*/ 2737 w 3501"/>
              <a:gd name="T39" fmla="*/ 3005 h 3490"/>
              <a:gd name="T40" fmla="*/ 3072 w 3501"/>
              <a:gd name="T41" fmla="*/ 2651 h 3490"/>
              <a:gd name="T42" fmla="*/ 3282 w 3501"/>
              <a:gd name="T43" fmla="*/ 2222 h 3490"/>
              <a:gd name="T44" fmla="*/ 3353 w 3501"/>
              <a:gd name="T45" fmla="*/ 1745 h 3490"/>
              <a:gd name="T46" fmla="*/ 3282 w 3501"/>
              <a:gd name="T47" fmla="*/ 1268 h 3490"/>
              <a:gd name="T48" fmla="*/ 3072 w 3501"/>
              <a:gd name="T49" fmla="*/ 839 h 3490"/>
              <a:gd name="T50" fmla="*/ 2737 w 3501"/>
              <a:gd name="T51" fmla="*/ 485 h 3490"/>
              <a:gd name="T52" fmla="*/ 2320 w 3501"/>
              <a:gd name="T53" fmla="*/ 251 h 3490"/>
              <a:gd name="T54" fmla="*/ 1849 w 3501"/>
              <a:gd name="T55" fmla="*/ 150 h 3490"/>
              <a:gd name="T56" fmla="*/ 2047 w 3501"/>
              <a:gd name="T57" fmla="*/ 24 h 3490"/>
              <a:gd name="T58" fmla="*/ 2509 w 3501"/>
              <a:gd name="T59" fmla="*/ 172 h 3490"/>
              <a:gd name="T60" fmla="*/ 2916 w 3501"/>
              <a:gd name="T61" fmla="*/ 443 h 3490"/>
              <a:gd name="T62" fmla="*/ 3235 w 3501"/>
              <a:gd name="T63" fmla="*/ 818 h 3490"/>
              <a:gd name="T64" fmla="*/ 3433 w 3501"/>
              <a:gd name="T65" fmla="*/ 1260 h 3490"/>
              <a:gd name="T66" fmla="*/ 3501 w 3501"/>
              <a:gd name="T67" fmla="*/ 1745 h 3490"/>
              <a:gd name="T68" fmla="*/ 3433 w 3501"/>
              <a:gd name="T69" fmla="*/ 2230 h 3490"/>
              <a:gd name="T70" fmla="*/ 3235 w 3501"/>
              <a:gd name="T71" fmla="*/ 2672 h 3490"/>
              <a:gd name="T72" fmla="*/ 2916 w 3501"/>
              <a:gd name="T73" fmla="*/ 3047 h 3490"/>
              <a:gd name="T74" fmla="*/ 2509 w 3501"/>
              <a:gd name="T75" fmla="*/ 3318 h 3490"/>
              <a:gd name="T76" fmla="*/ 2047 w 3501"/>
              <a:gd name="T77" fmla="*/ 3465 h 3490"/>
              <a:gd name="T78" fmla="*/ 1651 w 3501"/>
              <a:gd name="T79" fmla="*/ 3487 h 3490"/>
              <a:gd name="T80" fmla="*/ 1172 w 3501"/>
              <a:gd name="T81" fmla="*/ 3393 h 3490"/>
              <a:gd name="T82" fmla="*/ 739 w 3501"/>
              <a:gd name="T83" fmla="*/ 3170 h 3490"/>
              <a:gd name="T84" fmla="*/ 380 w 3501"/>
              <a:gd name="T85" fmla="*/ 2831 h 3490"/>
              <a:gd name="T86" fmla="*/ 133 w 3501"/>
              <a:gd name="T87" fmla="*/ 2413 h 3490"/>
              <a:gd name="T88" fmla="*/ 11 w 3501"/>
              <a:gd name="T89" fmla="*/ 1942 h 3490"/>
              <a:gd name="T90" fmla="*/ 11 w 3501"/>
              <a:gd name="T91" fmla="*/ 1547 h 3490"/>
              <a:gd name="T92" fmla="*/ 133 w 3501"/>
              <a:gd name="T93" fmla="*/ 1077 h 3490"/>
              <a:gd name="T94" fmla="*/ 380 w 3501"/>
              <a:gd name="T95" fmla="*/ 659 h 3490"/>
              <a:gd name="T96" fmla="*/ 739 w 3501"/>
              <a:gd name="T97" fmla="*/ 320 h 3490"/>
              <a:gd name="T98" fmla="*/ 1172 w 3501"/>
              <a:gd name="T99" fmla="*/ 97 h 3490"/>
              <a:gd name="T100" fmla="*/ 1651 w 3501"/>
              <a:gd name="T101" fmla="*/ 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01" h="3490">
                <a:moveTo>
                  <a:pt x="1751" y="147"/>
                </a:moveTo>
                <a:lnTo>
                  <a:pt x="1657" y="149"/>
                </a:lnTo>
                <a:lnTo>
                  <a:pt x="1566" y="158"/>
                </a:lnTo>
                <a:lnTo>
                  <a:pt x="1476" y="171"/>
                </a:lnTo>
                <a:lnTo>
                  <a:pt x="1387" y="189"/>
                </a:lnTo>
                <a:lnTo>
                  <a:pt x="1299" y="211"/>
                </a:lnTo>
                <a:lnTo>
                  <a:pt x="1212" y="239"/>
                </a:lnTo>
                <a:lnTo>
                  <a:pt x="1129" y="272"/>
                </a:lnTo>
                <a:lnTo>
                  <a:pt x="1046" y="309"/>
                </a:lnTo>
                <a:lnTo>
                  <a:pt x="966" y="351"/>
                </a:lnTo>
                <a:lnTo>
                  <a:pt x="888" y="398"/>
                </a:lnTo>
                <a:lnTo>
                  <a:pt x="813" y="449"/>
                </a:lnTo>
                <a:lnTo>
                  <a:pt x="740" y="504"/>
                </a:lnTo>
                <a:lnTo>
                  <a:pt x="671" y="564"/>
                </a:lnTo>
                <a:lnTo>
                  <a:pt x="2414" y="2302"/>
                </a:lnTo>
                <a:lnTo>
                  <a:pt x="2414" y="1145"/>
                </a:lnTo>
                <a:lnTo>
                  <a:pt x="2417" y="1126"/>
                </a:lnTo>
                <a:lnTo>
                  <a:pt x="2425" y="1108"/>
                </a:lnTo>
                <a:lnTo>
                  <a:pt x="2435" y="1093"/>
                </a:lnTo>
                <a:lnTo>
                  <a:pt x="2450" y="1081"/>
                </a:lnTo>
                <a:lnTo>
                  <a:pt x="2468" y="1074"/>
                </a:lnTo>
                <a:lnTo>
                  <a:pt x="2488" y="1072"/>
                </a:lnTo>
                <a:lnTo>
                  <a:pt x="2508" y="1074"/>
                </a:lnTo>
                <a:lnTo>
                  <a:pt x="2525" y="1081"/>
                </a:lnTo>
                <a:lnTo>
                  <a:pt x="2540" y="1093"/>
                </a:lnTo>
                <a:lnTo>
                  <a:pt x="2552" y="1108"/>
                </a:lnTo>
                <a:lnTo>
                  <a:pt x="2559" y="1126"/>
                </a:lnTo>
                <a:lnTo>
                  <a:pt x="2562" y="1145"/>
                </a:lnTo>
                <a:lnTo>
                  <a:pt x="2562" y="2480"/>
                </a:lnTo>
                <a:lnTo>
                  <a:pt x="2559" y="2499"/>
                </a:lnTo>
                <a:lnTo>
                  <a:pt x="2552" y="2517"/>
                </a:lnTo>
                <a:lnTo>
                  <a:pt x="2540" y="2532"/>
                </a:lnTo>
                <a:lnTo>
                  <a:pt x="2525" y="2544"/>
                </a:lnTo>
                <a:lnTo>
                  <a:pt x="2508" y="2551"/>
                </a:lnTo>
                <a:lnTo>
                  <a:pt x="2488" y="2553"/>
                </a:lnTo>
                <a:lnTo>
                  <a:pt x="1149" y="2553"/>
                </a:lnTo>
                <a:lnTo>
                  <a:pt x="1130" y="2551"/>
                </a:lnTo>
                <a:lnTo>
                  <a:pt x="1112" y="2544"/>
                </a:lnTo>
                <a:lnTo>
                  <a:pt x="1097" y="2532"/>
                </a:lnTo>
                <a:lnTo>
                  <a:pt x="1085" y="2517"/>
                </a:lnTo>
                <a:lnTo>
                  <a:pt x="1079" y="2499"/>
                </a:lnTo>
                <a:lnTo>
                  <a:pt x="1075" y="2480"/>
                </a:lnTo>
                <a:lnTo>
                  <a:pt x="1079" y="2461"/>
                </a:lnTo>
                <a:lnTo>
                  <a:pt x="1085" y="2443"/>
                </a:lnTo>
                <a:lnTo>
                  <a:pt x="1097" y="2428"/>
                </a:lnTo>
                <a:lnTo>
                  <a:pt x="1112" y="2416"/>
                </a:lnTo>
                <a:lnTo>
                  <a:pt x="1130" y="2409"/>
                </a:lnTo>
                <a:lnTo>
                  <a:pt x="1149" y="2406"/>
                </a:lnTo>
                <a:lnTo>
                  <a:pt x="2310" y="2406"/>
                </a:lnTo>
                <a:lnTo>
                  <a:pt x="566" y="669"/>
                </a:lnTo>
                <a:lnTo>
                  <a:pt x="506" y="738"/>
                </a:lnTo>
                <a:lnTo>
                  <a:pt x="450" y="811"/>
                </a:lnTo>
                <a:lnTo>
                  <a:pt x="399" y="885"/>
                </a:lnTo>
                <a:lnTo>
                  <a:pt x="352" y="963"/>
                </a:lnTo>
                <a:lnTo>
                  <a:pt x="310" y="1043"/>
                </a:lnTo>
                <a:lnTo>
                  <a:pt x="273" y="1124"/>
                </a:lnTo>
                <a:lnTo>
                  <a:pt x="240" y="1208"/>
                </a:lnTo>
                <a:lnTo>
                  <a:pt x="212" y="1295"/>
                </a:lnTo>
                <a:lnTo>
                  <a:pt x="189" y="1382"/>
                </a:lnTo>
                <a:lnTo>
                  <a:pt x="171" y="1471"/>
                </a:lnTo>
                <a:lnTo>
                  <a:pt x="158" y="1561"/>
                </a:lnTo>
                <a:lnTo>
                  <a:pt x="150" y="1652"/>
                </a:lnTo>
                <a:lnTo>
                  <a:pt x="148" y="1745"/>
                </a:lnTo>
                <a:lnTo>
                  <a:pt x="151" y="1843"/>
                </a:lnTo>
                <a:lnTo>
                  <a:pt x="159" y="1940"/>
                </a:lnTo>
                <a:lnTo>
                  <a:pt x="174" y="2035"/>
                </a:lnTo>
                <a:lnTo>
                  <a:pt x="194" y="2130"/>
                </a:lnTo>
                <a:lnTo>
                  <a:pt x="220" y="2222"/>
                </a:lnTo>
                <a:lnTo>
                  <a:pt x="251" y="2312"/>
                </a:lnTo>
                <a:lnTo>
                  <a:pt x="288" y="2401"/>
                </a:lnTo>
                <a:lnTo>
                  <a:pt x="330" y="2486"/>
                </a:lnTo>
                <a:lnTo>
                  <a:pt x="378" y="2571"/>
                </a:lnTo>
                <a:lnTo>
                  <a:pt x="430" y="2651"/>
                </a:lnTo>
                <a:lnTo>
                  <a:pt x="487" y="2728"/>
                </a:lnTo>
                <a:lnTo>
                  <a:pt x="550" y="2803"/>
                </a:lnTo>
                <a:lnTo>
                  <a:pt x="617" y="2875"/>
                </a:lnTo>
                <a:lnTo>
                  <a:pt x="689" y="2942"/>
                </a:lnTo>
                <a:lnTo>
                  <a:pt x="764" y="3005"/>
                </a:lnTo>
                <a:lnTo>
                  <a:pt x="842" y="3061"/>
                </a:lnTo>
                <a:lnTo>
                  <a:pt x="922" y="3113"/>
                </a:lnTo>
                <a:lnTo>
                  <a:pt x="1007" y="3161"/>
                </a:lnTo>
                <a:lnTo>
                  <a:pt x="1092" y="3203"/>
                </a:lnTo>
                <a:lnTo>
                  <a:pt x="1181" y="3239"/>
                </a:lnTo>
                <a:lnTo>
                  <a:pt x="1272" y="3270"/>
                </a:lnTo>
                <a:lnTo>
                  <a:pt x="1365" y="3297"/>
                </a:lnTo>
                <a:lnTo>
                  <a:pt x="1459" y="3316"/>
                </a:lnTo>
                <a:lnTo>
                  <a:pt x="1555" y="3331"/>
                </a:lnTo>
                <a:lnTo>
                  <a:pt x="1652" y="3340"/>
                </a:lnTo>
                <a:lnTo>
                  <a:pt x="1751" y="3343"/>
                </a:lnTo>
                <a:lnTo>
                  <a:pt x="1849" y="3340"/>
                </a:lnTo>
                <a:lnTo>
                  <a:pt x="1946" y="3331"/>
                </a:lnTo>
                <a:lnTo>
                  <a:pt x="2042" y="3316"/>
                </a:lnTo>
                <a:lnTo>
                  <a:pt x="2137" y="3297"/>
                </a:lnTo>
                <a:lnTo>
                  <a:pt x="2229" y="3270"/>
                </a:lnTo>
                <a:lnTo>
                  <a:pt x="2320" y="3239"/>
                </a:lnTo>
                <a:lnTo>
                  <a:pt x="2409" y="3203"/>
                </a:lnTo>
                <a:lnTo>
                  <a:pt x="2494" y="3161"/>
                </a:lnTo>
                <a:lnTo>
                  <a:pt x="2579" y="3113"/>
                </a:lnTo>
                <a:lnTo>
                  <a:pt x="2659" y="3061"/>
                </a:lnTo>
                <a:lnTo>
                  <a:pt x="2737" y="3005"/>
                </a:lnTo>
                <a:lnTo>
                  <a:pt x="2812" y="2942"/>
                </a:lnTo>
                <a:lnTo>
                  <a:pt x="2884" y="2875"/>
                </a:lnTo>
                <a:lnTo>
                  <a:pt x="2951" y="2803"/>
                </a:lnTo>
                <a:lnTo>
                  <a:pt x="3014" y="2728"/>
                </a:lnTo>
                <a:lnTo>
                  <a:pt x="3072" y="2651"/>
                </a:lnTo>
                <a:lnTo>
                  <a:pt x="3124" y="2571"/>
                </a:lnTo>
                <a:lnTo>
                  <a:pt x="3171" y="2486"/>
                </a:lnTo>
                <a:lnTo>
                  <a:pt x="3213" y="2401"/>
                </a:lnTo>
                <a:lnTo>
                  <a:pt x="3250" y="2312"/>
                </a:lnTo>
                <a:lnTo>
                  <a:pt x="3282" y="2222"/>
                </a:lnTo>
                <a:lnTo>
                  <a:pt x="3307" y="2130"/>
                </a:lnTo>
                <a:lnTo>
                  <a:pt x="3328" y="2035"/>
                </a:lnTo>
                <a:lnTo>
                  <a:pt x="3342" y="1940"/>
                </a:lnTo>
                <a:lnTo>
                  <a:pt x="3350" y="1843"/>
                </a:lnTo>
                <a:lnTo>
                  <a:pt x="3353" y="1745"/>
                </a:lnTo>
                <a:lnTo>
                  <a:pt x="3350" y="1647"/>
                </a:lnTo>
                <a:lnTo>
                  <a:pt x="3342" y="1550"/>
                </a:lnTo>
                <a:lnTo>
                  <a:pt x="3328" y="1455"/>
                </a:lnTo>
                <a:lnTo>
                  <a:pt x="3307" y="1360"/>
                </a:lnTo>
                <a:lnTo>
                  <a:pt x="3282" y="1268"/>
                </a:lnTo>
                <a:lnTo>
                  <a:pt x="3250" y="1177"/>
                </a:lnTo>
                <a:lnTo>
                  <a:pt x="3213" y="1089"/>
                </a:lnTo>
                <a:lnTo>
                  <a:pt x="3171" y="1004"/>
                </a:lnTo>
                <a:lnTo>
                  <a:pt x="3124" y="919"/>
                </a:lnTo>
                <a:lnTo>
                  <a:pt x="3072" y="839"/>
                </a:lnTo>
                <a:lnTo>
                  <a:pt x="3014" y="761"/>
                </a:lnTo>
                <a:lnTo>
                  <a:pt x="2951" y="687"/>
                </a:lnTo>
                <a:lnTo>
                  <a:pt x="2884" y="615"/>
                </a:lnTo>
                <a:lnTo>
                  <a:pt x="2812" y="548"/>
                </a:lnTo>
                <a:lnTo>
                  <a:pt x="2737" y="485"/>
                </a:lnTo>
                <a:lnTo>
                  <a:pt x="2659" y="428"/>
                </a:lnTo>
                <a:lnTo>
                  <a:pt x="2579" y="375"/>
                </a:lnTo>
                <a:lnTo>
                  <a:pt x="2494" y="328"/>
                </a:lnTo>
                <a:lnTo>
                  <a:pt x="2409" y="287"/>
                </a:lnTo>
                <a:lnTo>
                  <a:pt x="2320" y="251"/>
                </a:lnTo>
                <a:lnTo>
                  <a:pt x="2229" y="219"/>
                </a:lnTo>
                <a:lnTo>
                  <a:pt x="2137" y="193"/>
                </a:lnTo>
                <a:lnTo>
                  <a:pt x="2042" y="173"/>
                </a:lnTo>
                <a:lnTo>
                  <a:pt x="1946" y="159"/>
                </a:lnTo>
                <a:lnTo>
                  <a:pt x="1849" y="150"/>
                </a:lnTo>
                <a:lnTo>
                  <a:pt x="1751" y="147"/>
                </a:lnTo>
                <a:close/>
                <a:moveTo>
                  <a:pt x="1751" y="0"/>
                </a:moveTo>
                <a:lnTo>
                  <a:pt x="1850" y="2"/>
                </a:lnTo>
                <a:lnTo>
                  <a:pt x="1950" y="11"/>
                </a:lnTo>
                <a:lnTo>
                  <a:pt x="2047" y="24"/>
                </a:lnTo>
                <a:lnTo>
                  <a:pt x="2142" y="44"/>
                </a:lnTo>
                <a:lnTo>
                  <a:pt x="2237" y="68"/>
                </a:lnTo>
                <a:lnTo>
                  <a:pt x="2330" y="97"/>
                </a:lnTo>
                <a:lnTo>
                  <a:pt x="2420" y="132"/>
                </a:lnTo>
                <a:lnTo>
                  <a:pt x="2509" y="172"/>
                </a:lnTo>
                <a:lnTo>
                  <a:pt x="2596" y="216"/>
                </a:lnTo>
                <a:lnTo>
                  <a:pt x="2680" y="265"/>
                </a:lnTo>
                <a:lnTo>
                  <a:pt x="2762" y="320"/>
                </a:lnTo>
                <a:lnTo>
                  <a:pt x="2840" y="379"/>
                </a:lnTo>
                <a:lnTo>
                  <a:pt x="2916" y="443"/>
                </a:lnTo>
                <a:lnTo>
                  <a:pt x="2989" y="511"/>
                </a:lnTo>
                <a:lnTo>
                  <a:pt x="3057" y="583"/>
                </a:lnTo>
                <a:lnTo>
                  <a:pt x="3121" y="659"/>
                </a:lnTo>
                <a:lnTo>
                  <a:pt x="3180" y="737"/>
                </a:lnTo>
                <a:lnTo>
                  <a:pt x="3235" y="818"/>
                </a:lnTo>
                <a:lnTo>
                  <a:pt x="3284" y="902"/>
                </a:lnTo>
                <a:lnTo>
                  <a:pt x="3329" y="989"/>
                </a:lnTo>
                <a:lnTo>
                  <a:pt x="3368" y="1077"/>
                </a:lnTo>
                <a:lnTo>
                  <a:pt x="3404" y="1167"/>
                </a:lnTo>
                <a:lnTo>
                  <a:pt x="3433" y="1260"/>
                </a:lnTo>
                <a:lnTo>
                  <a:pt x="3457" y="1355"/>
                </a:lnTo>
                <a:lnTo>
                  <a:pt x="3476" y="1449"/>
                </a:lnTo>
                <a:lnTo>
                  <a:pt x="3490" y="1547"/>
                </a:lnTo>
                <a:lnTo>
                  <a:pt x="3499" y="1646"/>
                </a:lnTo>
                <a:lnTo>
                  <a:pt x="3501" y="1745"/>
                </a:lnTo>
                <a:lnTo>
                  <a:pt x="3499" y="1844"/>
                </a:lnTo>
                <a:lnTo>
                  <a:pt x="3490" y="1942"/>
                </a:lnTo>
                <a:lnTo>
                  <a:pt x="3476" y="2040"/>
                </a:lnTo>
                <a:lnTo>
                  <a:pt x="3457" y="2135"/>
                </a:lnTo>
                <a:lnTo>
                  <a:pt x="3433" y="2230"/>
                </a:lnTo>
                <a:lnTo>
                  <a:pt x="3404" y="2322"/>
                </a:lnTo>
                <a:lnTo>
                  <a:pt x="3368" y="2413"/>
                </a:lnTo>
                <a:lnTo>
                  <a:pt x="3329" y="2501"/>
                </a:lnTo>
                <a:lnTo>
                  <a:pt x="3284" y="2588"/>
                </a:lnTo>
                <a:lnTo>
                  <a:pt x="3235" y="2672"/>
                </a:lnTo>
                <a:lnTo>
                  <a:pt x="3180" y="2753"/>
                </a:lnTo>
                <a:lnTo>
                  <a:pt x="3121" y="2831"/>
                </a:lnTo>
                <a:lnTo>
                  <a:pt x="3057" y="2907"/>
                </a:lnTo>
                <a:lnTo>
                  <a:pt x="2989" y="2979"/>
                </a:lnTo>
                <a:lnTo>
                  <a:pt x="2916" y="3047"/>
                </a:lnTo>
                <a:lnTo>
                  <a:pt x="2840" y="3111"/>
                </a:lnTo>
                <a:lnTo>
                  <a:pt x="2762" y="3170"/>
                </a:lnTo>
                <a:lnTo>
                  <a:pt x="2680" y="3224"/>
                </a:lnTo>
                <a:lnTo>
                  <a:pt x="2596" y="3273"/>
                </a:lnTo>
                <a:lnTo>
                  <a:pt x="2509" y="3318"/>
                </a:lnTo>
                <a:lnTo>
                  <a:pt x="2420" y="3358"/>
                </a:lnTo>
                <a:lnTo>
                  <a:pt x="2330" y="3393"/>
                </a:lnTo>
                <a:lnTo>
                  <a:pt x="2237" y="3422"/>
                </a:lnTo>
                <a:lnTo>
                  <a:pt x="2142" y="3446"/>
                </a:lnTo>
                <a:lnTo>
                  <a:pt x="2047" y="3465"/>
                </a:lnTo>
                <a:lnTo>
                  <a:pt x="1950" y="3479"/>
                </a:lnTo>
                <a:lnTo>
                  <a:pt x="1850" y="3487"/>
                </a:lnTo>
                <a:lnTo>
                  <a:pt x="1751" y="3490"/>
                </a:lnTo>
                <a:lnTo>
                  <a:pt x="1751" y="3490"/>
                </a:lnTo>
                <a:lnTo>
                  <a:pt x="1651" y="3487"/>
                </a:lnTo>
                <a:lnTo>
                  <a:pt x="1553" y="3479"/>
                </a:lnTo>
                <a:lnTo>
                  <a:pt x="1454" y="3465"/>
                </a:lnTo>
                <a:lnTo>
                  <a:pt x="1359" y="3446"/>
                </a:lnTo>
                <a:lnTo>
                  <a:pt x="1264" y="3422"/>
                </a:lnTo>
                <a:lnTo>
                  <a:pt x="1172" y="3393"/>
                </a:lnTo>
                <a:lnTo>
                  <a:pt x="1081" y="3358"/>
                </a:lnTo>
                <a:lnTo>
                  <a:pt x="992" y="3318"/>
                </a:lnTo>
                <a:lnTo>
                  <a:pt x="905" y="3273"/>
                </a:lnTo>
                <a:lnTo>
                  <a:pt x="821" y="3224"/>
                </a:lnTo>
                <a:lnTo>
                  <a:pt x="739" y="3170"/>
                </a:lnTo>
                <a:lnTo>
                  <a:pt x="661" y="3111"/>
                </a:lnTo>
                <a:lnTo>
                  <a:pt x="585" y="3047"/>
                </a:lnTo>
                <a:lnTo>
                  <a:pt x="513" y="2979"/>
                </a:lnTo>
                <a:lnTo>
                  <a:pt x="444" y="2907"/>
                </a:lnTo>
                <a:lnTo>
                  <a:pt x="380" y="2831"/>
                </a:lnTo>
                <a:lnTo>
                  <a:pt x="321" y="2753"/>
                </a:lnTo>
                <a:lnTo>
                  <a:pt x="266" y="2672"/>
                </a:lnTo>
                <a:lnTo>
                  <a:pt x="217" y="2588"/>
                </a:lnTo>
                <a:lnTo>
                  <a:pt x="172" y="2501"/>
                </a:lnTo>
                <a:lnTo>
                  <a:pt x="133" y="2413"/>
                </a:lnTo>
                <a:lnTo>
                  <a:pt x="97" y="2322"/>
                </a:lnTo>
                <a:lnTo>
                  <a:pt x="68" y="2230"/>
                </a:lnTo>
                <a:lnTo>
                  <a:pt x="44" y="2135"/>
                </a:lnTo>
                <a:lnTo>
                  <a:pt x="25" y="2040"/>
                </a:lnTo>
                <a:lnTo>
                  <a:pt x="11" y="1942"/>
                </a:lnTo>
                <a:lnTo>
                  <a:pt x="3" y="1844"/>
                </a:lnTo>
                <a:lnTo>
                  <a:pt x="0" y="1745"/>
                </a:lnTo>
                <a:lnTo>
                  <a:pt x="0" y="1745"/>
                </a:lnTo>
                <a:lnTo>
                  <a:pt x="3" y="1646"/>
                </a:lnTo>
                <a:lnTo>
                  <a:pt x="11" y="1547"/>
                </a:lnTo>
                <a:lnTo>
                  <a:pt x="25" y="1449"/>
                </a:lnTo>
                <a:lnTo>
                  <a:pt x="44" y="1355"/>
                </a:lnTo>
                <a:lnTo>
                  <a:pt x="68" y="1260"/>
                </a:lnTo>
                <a:lnTo>
                  <a:pt x="97" y="1167"/>
                </a:lnTo>
                <a:lnTo>
                  <a:pt x="133" y="1077"/>
                </a:lnTo>
                <a:lnTo>
                  <a:pt x="172" y="989"/>
                </a:lnTo>
                <a:lnTo>
                  <a:pt x="217" y="902"/>
                </a:lnTo>
                <a:lnTo>
                  <a:pt x="266" y="818"/>
                </a:lnTo>
                <a:lnTo>
                  <a:pt x="321" y="737"/>
                </a:lnTo>
                <a:lnTo>
                  <a:pt x="380" y="659"/>
                </a:lnTo>
                <a:lnTo>
                  <a:pt x="444" y="583"/>
                </a:lnTo>
                <a:lnTo>
                  <a:pt x="513" y="511"/>
                </a:lnTo>
                <a:lnTo>
                  <a:pt x="585" y="443"/>
                </a:lnTo>
                <a:lnTo>
                  <a:pt x="661" y="379"/>
                </a:lnTo>
                <a:lnTo>
                  <a:pt x="739" y="320"/>
                </a:lnTo>
                <a:lnTo>
                  <a:pt x="821" y="265"/>
                </a:lnTo>
                <a:lnTo>
                  <a:pt x="905" y="216"/>
                </a:lnTo>
                <a:lnTo>
                  <a:pt x="992" y="172"/>
                </a:lnTo>
                <a:lnTo>
                  <a:pt x="1081" y="132"/>
                </a:lnTo>
                <a:lnTo>
                  <a:pt x="1172" y="97"/>
                </a:lnTo>
                <a:lnTo>
                  <a:pt x="1264" y="68"/>
                </a:lnTo>
                <a:lnTo>
                  <a:pt x="1359" y="44"/>
                </a:lnTo>
                <a:lnTo>
                  <a:pt x="1454" y="24"/>
                </a:lnTo>
                <a:lnTo>
                  <a:pt x="1553" y="11"/>
                </a:lnTo>
                <a:lnTo>
                  <a:pt x="1651" y="2"/>
                </a:lnTo>
                <a:lnTo>
                  <a:pt x="17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2" name="Freeform 98"/>
          <p:cNvSpPr>
            <a:spLocks noChangeAspect="1" noEditPoints="1"/>
          </p:cNvSpPr>
          <p:nvPr/>
        </p:nvSpPr>
        <p:spPr bwMode="auto">
          <a:xfrm>
            <a:off x="2340398" y="5806446"/>
            <a:ext cx="285619" cy="285619"/>
          </a:xfrm>
          <a:custGeom>
            <a:avLst/>
            <a:gdLst>
              <a:gd name="T0" fmla="*/ 1455 w 3490"/>
              <a:gd name="T1" fmla="*/ 173 h 3490"/>
              <a:gd name="T2" fmla="*/ 1089 w 3490"/>
              <a:gd name="T3" fmla="*/ 287 h 3490"/>
              <a:gd name="T4" fmla="*/ 762 w 3490"/>
              <a:gd name="T5" fmla="*/ 485 h 3490"/>
              <a:gd name="T6" fmla="*/ 485 w 3490"/>
              <a:gd name="T7" fmla="*/ 761 h 3490"/>
              <a:gd name="T8" fmla="*/ 287 w 3490"/>
              <a:gd name="T9" fmla="*/ 1089 h 3490"/>
              <a:gd name="T10" fmla="*/ 174 w 3490"/>
              <a:gd name="T11" fmla="*/ 1455 h 3490"/>
              <a:gd name="T12" fmla="*/ 149 w 3490"/>
              <a:gd name="T13" fmla="*/ 1838 h 3490"/>
              <a:gd name="T14" fmla="*/ 211 w 3490"/>
              <a:gd name="T15" fmla="*/ 2195 h 3490"/>
              <a:gd name="T16" fmla="*/ 351 w 3490"/>
              <a:gd name="T17" fmla="*/ 2527 h 3490"/>
              <a:gd name="T18" fmla="*/ 564 w 3490"/>
              <a:gd name="T19" fmla="*/ 2821 h 3490"/>
              <a:gd name="T20" fmla="*/ 1108 w 3490"/>
              <a:gd name="T21" fmla="*/ 1073 h 3490"/>
              <a:gd name="T22" fmla="*/ 1072 w 3490"/>
              <a:gd name="T23" fmla="*/ 1010 h 3490"/>
              <a:gd name="T24" fmla="*/ 1108 w 3490"/>
              <a:gd name="T25" fmla="*/ 946 h 3490"/>
              <a:gd name="T26" fmla="*/ 2500 w 3490"/>
              <a:gd name="T27" fmla="*/ 939 h 3490"/>
              <a:gd name="T28" fmla="*/ 2551 w 3490"/>
              <a:gd name="T29" fmla="*/ 990 h 3490"/>
              <a:gd name="T30" fmla="*/ 2544 w 3490"/>
              <a:gd name="T31" fmla="*/ 2382 h 3490"/>
              <a:gd name="T32" fmla="*/ 2480 w 3490"/>
              <a:gd name="T33" fmla="*/ 2418 h 3490"/>
              <a:gd name="T34" fmla="*/ 2417 w 3490"/>
              <a:gd name="T35" fmla="*/ 2382 h 3490"/>
              <a:gd name="T36" fmla="*/ 669 w 3490"/>
              <a:gd name="T37" fmla="*/ 2926 h 3490"/>
              <a:gd name="T38" fmla="*/ 963 w 3490"/>
              <a:gd name="T39" fmla="*/ 3139 h 3490"/>
              <a:gd name="T40" fmla="*/ 1295 w 3490"/>
              <a:gd name="T41" fmla="*/ 3279 h 3490"/>
              <a:gd name="T42" fmla="*/ 1652 w 3490"/>
              <a:gd name="T43" fmla="*/ 3341 h 3490"/>
              <a:gd name="T44" fmla="*/ 2035 w 3490"/>
              <a:gd name="T45" fmla="*/ 3316 h 3490"/>
              <a:gd name="T46" fmla="*/ 2401 w 3490"/>
              <a:gd name="T47" fmla="*/ 3203 h 3490"/>
              <a:gd name="T48" fmla="*/ 2729 w 3490"/>
              <a:gd name="T49" fmla="*/ 3005 h 3490"/>
              <a:gd name="T50" fmla="*/ 3005 w 3490"/>
              <a:gd name="T51" fmla="*/ 2728 h 3490"/>
              <a:gd name="T52" fmla="*/ 3203 w 3490"/>
              <a:gd name="T53" fmla="*/ 2401 h 3490"/>
              <a:gd name="T54" fmla="*/ 3317 w 3490"/>
              <a:gd name="T55" fmla="*/ 2035 h 3490"/>
              <a:gd name="T56" fmla="*/ 3340 w 3490"/>
              <a:gd name="T57" fmla="*/ 1647 h 3490"/>
              <a:gd name="T58" fmla="*/ 3271 w 3490"/>
              <a:gd name="T59" fmla="*/ 1268 h 3490"/>
              <a:gd name="T60" fmla="*/ 3115 w 3490"/>
              <a:gd name="T61" fmla="*/ 919 h 3490"/>
              <a:gd name="T62" fmla="*/ 2875 w 3490"/>
              <a:gd name="T63" fmla="*/ 615 h 3490"/>
              <a:gd name="T64" fmla="*/ 2571 w 3490"/>
              <a:gd name="T65" fmla="*/ 375 h 3490"/>
              <a:gd name="T66" fmla="*/ 2222 w 3490"/>
              <a:gd name="T67" fmla="*/ 219 h 3490"/>
              <a:gd name="T68" fmla="*/ 1843 w 3490"/>
              <a:gd name="T69" fmla="*/ 150 h 3490"/>
              <a:gd name="T70" fmla="*/ 1943 w 3490"/>
              <a:gd name="T71" fmla="*/ 11 h 3490"/>
              <a:gd name="T72" fmla="*/ 2323 w 3490"/>
              <a:gd name="T73" fmla="*/ 97 h 3490"/>
              <a:gd name="T74" fmla="*/ 2672 w 3490"/>
              <a:gd name="T75" fmla="*/ 265 h 3490"/>
              <a:gd name="T76" fmla="*/ 2979 w 3490"/>
              <a:gd name="T77" fmla="*/ 511 h 3490"/>
              <a:gd name="T78" fmla="*/ 3225 w 3490"/>
              <a:gd name="T79" fmla="*/ 818 h 3490"/>
              <a:gd name="T80" fmla="*/ 3393 w 3490"/>
              <a:gd name="T81" fmla="*/ 1167 h 3490"/>
              <a:gd name="T82" fmla="*/ 3479 w 3490"/>
              <a:gd name="T83" fmla="*/ 1547 h 3490"/>
              <a:gd name="T84" fmla="*/ 3479 w 3490"/>
              <a:gd name="T85" fmla="*/ 1942 h 3490"/>
              <a:gd name="T86" fmla="*/ 3393 w 3490"/>
              <a:gd name="T87" fmla="*/ 2322 h 3490"/>
              <a:gd name="T88" fmla="*/ 3225 w 3490"/>
              <a:gd name="T89" fmla="*/ 2672 h 3490"/>
              <a:gd name="T90" fmla="*/ 2979 w 3490"/>
              <a:gd name="T91" fmla="*/ 2979 h 3490"/>
              <a:gd name="T92" fmla="*/ 2672 w 3490"/>
              <a:gd name="T93" fmla="*/ 3224 h 3490"/>
              <a:gd name="T94" fmla="*/ 2323 w 3490"/>
              <a:gd name="T95" fmla="*/ 3393 h 3490"/>
              <a:gd name="T96" fmla="*/ 1943 w 3490"/>
              <a:gd name="T97" fmla="*/ 3479 h 3490"/>
              <a:gd name="T98" fmla="*/ 1646 w 3490"/>
              <a:gd name="T99" fmla="*/ 3487 h 3490"/>
              <a:gd name="T100" fmla="*/ 1260 w 3490"/>
              <a:gd name="T101" fmla="*/ 3422 h 3490"/>
              <a:gd name="T102" fmla="*/ 902 w 3490"/>
              <a:gd name="T103" fmla="*/ 3273 h 3490"/>
              <a:gd name="T104" fmla="*/ 583 w 3490"/>
              <a:gd name="T105" fmla="*/ 3047 h 3490"/>
              <a:gd name="T106" fmla="*/ 320 w 3490"/>
              <a:gd name="T107" fmla="*/ 2753 h 3490"/>
              <a:gd name="T108" fmla="*/ 132 w 3490"/>
              <a:gd name="T109" fmla="*/ 2413 h 3490"/>
              <a:gd name="T110" fmla="*/ 25 w 3490"/>
              <a:gd name="T111" fmla="*/ 2040 h 3490"/>
              <a:gd name="T112" fmla="*/ 3 w 3490"/>
              <a:gd name="T113" fmla="*/ 1646 h 3490"/>
              <a:gd name="T114" fmla="*/ 68 w 3490"/>
              <a:gd name="T115" fmla="*/ 1260 h 3490"/>
              <a:gd name="T116" fmla="*/ 217 w 3490"/>
              <a:gd name="T117" fmla="*/ 902 h 3490"/>
              <a:gd name="T118" fmla="*/ 443 w 3490"/>
              <a:gd name="T119" fmla="*/ 583 h 3490"/>
              <a:gd name="T120" fmla="*/ 737 w 3490"/>
              <a:gd name="T121" fmla="*/ 320 h 3490"/>
              <a:gd name="T122" fmla="*/ 1077 w 3490"/>
              <a:gd name="T123" fmla="*/ 132 h 3490"/>
              <a:gd name="T124" fmla="*/ 1450 w 3490"/>
              <a:gd name="T125" fmla="*/ 24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0" h="3490">
                <a:moveTo>
                  <a:pt x="1745" y="147"/>
                </a:moveTo>
                <a:lnTo>
                  <a:pt x="1647" y="150"/>
                </a:lnTo>
                <a:lnTo>
                  <a:pt x="1550" y="159"/>
                </a:lnTo>
                <a:lnTo>
                  <a:pt x="1455" y="173"/>
                </a:lnTo>
                <a:lnTo>
                  <a:pt x="1361" y="193"/>
                </a:lnTo>
                <a:lnTo>
                  <a:pt x="1268" y="219"/>
                </a:lnTo>
                <a:lnTo>
                  <a:pt x="1178" y="251"/>
                </a:lnTo>
                <a:lnTo>
                  <a:pt x="1089" y="287"/>
                </a:lnTo>
                <a:lnTo>
                  <a:pt x="1004" y="328"/>
                </a:lnTo>
                <a:lnTo>
                  <a:pt x="919" y="375"/>
                </a:lnTo>
                <a:lnTo>
                  <a:pt x="839" y="428"/>
                </a:lnTo>
                <a:lnTo>
                  <a:pt x="762" y="485"/>
                </a:lnTo>
                <a:lnTo>
                  <a:pt x="687" y="548"/>
                </a:lnTo>
                <a:lnTo>
                  <a:pt x="615" y="615"/>
                </a:lnTo>
                <a:lnTo>
                  <a:pt x="548" y="687"/>
                </a:lnTo>
                <a:lnTo>
                  <a:pt x="485" y="761"/>
                </a:lnTo>
                <a:lnTo>
                  <a:pt x="429" y="839"/>
                </a:lnTo>
                <a:lnTo>
                  <a:pt x="377" y="919"/>
                </a:lnTo>
                <a:lnTo>
                  <a:pt x="329" y="1004"/>
                </a:lnTo>
                <a:lnTo>
                  <a:pt x="287" y="1089"/>
                </a:lnTo>
                <a:lnTo>
                  <a:pt x="251" y="1177"/>
                </a:lnTo>
                <a:lnTo>
                  <a:pt x="220" y="1268"/>
                </a:lnTo>
                <a:lnTo>
                  <a:pt x="193" y="1360"/>
                </a:lnTo>
                <a:lnTo>
                  <a:pt x="174" y="1455"/>
                </a:lnTo>
                <a:lnTo>
                  <a:pt x="159" y="1550"/>
                </a:lnTo>
                <a:lnTo>
                  <a:pt x="150" y="1647"/>
                </a:lnTo>
                <a:lnTo>
                  <a:pt x="147" y="1745"/>
                </a:lnTo>
                <a:lnTo>
                  <a:pt x="149" y="1838"/>
                </a:lnTo>
                <a:lnTo>
                  <a:pt x="158" y="1928"/>
                </a:lnTo>
                <a:lnTo>
                  <a:pt x="171" y="2019"/>
                </a:lnTo>
                <a:lnTo>
                  <a:pt x="189" y="2108"/>
                </a:lnTo>
                <a:lnTo>
                  <a:pt x="211" y="2195"/>
                </a:lnTo>
                <a:lnTo>
                  <a:pt x="239" y="2281"/>
                </a:lnTo>
                <a:lnTo>
                  <a:pt x="272" y="2365"/>
                </a:lnTo>
                <a:lnTo>
                  <a:pt x="309" y="2447"/>
                </a:lnTo>
                <a:lnTo>
                  <a:pt x="351" y="2527"/>
                </a:lnTo>
                <a:lnTo>
                  <a:pt x="398" y="2605"/>
                </a:lnTo>
                <a:lnTo>
                  <a:pt x="449" y="2679"/>
                </a:lnTo>
                <a:lnTo>
                  <a:pt x="505" y="2752"/>
                </a:lnTo>
                <a:lnTo>
                  <a:pt x="564" y="2821"/>
                </a:lnTo>
                <a:lnTo>
                  <a:pt x="2303" y="1084"/>
                </a:lnTo>
                <a:lnTo>
                  <a:pt x="1146" y="1084"/>
                </a:lnTo>
                <a:lnTo>
                  <a:pt x="1126" y="1080"/>
                </a:lnTo>
                <a:lnTo>
                  <a:pt x="1108" y="1073"/>
                </a:lnTo>
                <a:lnTo>
                  <a:pt x="1093" y="1062"/>
                </a:lnTo>
                <a:lnTo>
                  <a:pt x="1082" y="1047"/>
                </a:lnTo>
                <a:lnTo>
                  <a:pt x="1075" y="1029"/>
                </a:lnTo>
                <a:lnTo>
                  <a:pt x="1072" y="1010"/>
                </a:lnTo>
                <a:lnTo>
                  <a:pt x="1075" y="990"/>
                </a:lnTo>
                <a:lnTo>
                  <a:pt x="1082" y="973"/>
                </a:lnTo>
                <a:lnTo>
                  <a:pt x="1093" y="958"/>
                </a:lnTo>
                <a:lnTo>
                  <a:pt x="1108" y="946"/>
                </a:lnTo>
                <a:lnTo>
                  <a:pt x="1126" y="939"/>
                </a:lnTo>
                <a:lnTo>
                  <a:pt x="1146" y="936"/>
                </a:lnTo>
                <a:lnTo>
                  <a:pt x="2480" y="936"/>
                </a:lnTo>
                <a:lnTo>
                  <a:pt x="2500" y="939"/>
                </a:lnTo>
                <a:lnTo>
                  <a:pt x="2517" y="946"/>
                </a:lnTo>
                <a:lnTo>
                  <a:pt x="2532" y="958"/>
                </a:lnTo>
                <a:lnTo>
                  <a:pt x="2544" y="973"/>
                </a:lnTo>
                <a:lnTo>
                  <a:pt x="2551" y="990"/>
                </a:lnTo>
                <a:lnTo>
                  <a:pt x="2554" y="1010"/>
                </a:lnTo>
                <a:lnTo>
                  <a:pt x="2554" y="2344"/>
                </a:lnTo>
                <a:lnTo>
                  <a:pt x="2551" y="2364"/>
                </a:lnTo>
                <a:lnTo>
                  <a:pt x="2544" y="2382"/>
                </a:lnTo>
                <a:lnTo>
                  <a:pt x="2532" y="2397"/>
                </a:lnTo>
                <a:lnTo>
                  <a:pt x="2517" y="2408"/>
                </a:lnTo>
                <a:lnTo>
                  <a:pt x="2500" y="2415"/>
                </a:lnTo>
                <a:lnTo>
                  <a:pt x="2480" y="2418"/>
                </a:lnTo>
                <a:lnTo>
                  <a:pt x="2461" y="2415"/>
                </a:lnTo>
                <a:lnTo>
                  <a:pt x="2443" y="2408"/>
                </a:lnTo>
                <a:lnTo>
                  <a:pt x="2428" y="2397"/>
                </a:lnTo>
                <a:lnTo>
                  <a:pt x="2417" y="2382"/>
                </a:lnTo>
                <a:lnTo>
                  <a:pt x="2410" y="2364"/>
                </a:lnTo>
                <a:lnTo>
                  <a:pt x="2406" y="2344"/>
                </a:lnTo>
                <a:lnTo>
                  <a:pt x="2406" y="1187"/>
                </a:lnTo>
                <a:lnTo>
                  <a:pt x="669" y="2926"/>
                </a:lnTo>
                <a:lnTo>
                  <a:pt x="738" y="2985"/>
                </a:lnTo>
                <a:lnTo>
                  <a:pt x="811" y="3041"/>
                </a:lnTo>
                <a:lnTo>
                  <a:pt x="885" y="3092"/>
                </a:lnTo>
                <a:lnTo>
                  <a:pt x="963" y="3139"/>
                </a:lnTo>
                <a:lnTo>
                  <a:pt x="1043" y="3181"/>
                </a:lnTo>
                <a:lnTo>
                  <a:pt x="1125" y="3218"/>
                </a:lnTo>
                <a:lnTo>
                  <a:pt x="1209" y="3251"/>
                </a:lnTo>
                <a:lnTo>
                  <a:pt x="1295" y="3279"/>
                </a:lnTo>
                <a:lnTo>
                  <a:pt x="1382" y="3301"/>
                </a:lnTo>
                <a:lnTo>
                  <a:pt x="1471" y="3319"/>
                </a:lnTo>
                <a:lnTo>
                  <a:pt x="1562" y="3332"/>
                </a:lnTo>
                <a:lnTo>
                  <a:pt x="1652" y="3341"/>
                </a:lnTo>
                <a:lnTo>
                  <a:pt x="1745" y="3343"/>
                </a:lnTo>
                <a:lnTo>
                  <a:pt x="1843" y="3340"/>
                </a:lnTo>
                <a:lnTo>
                  <a:pt x="1940" y="3331"/>
                </a:lnTo>
                <a:lnTo>
                  <a:pt x="2035" y="3316"/>
                </a:lnTo>
                <a:lnTo>
                  <a:pt x="2130" y="3297"/>
                </a:lnTo>
                <a:lnTo>
                  <a:pt x="2222" y="3270"/>
                </a:lnTo>
                <a:lnTo>
                  <a:pt x="2313" y="3239"/>
                </a:lnTo>
                <a:lnTo>
                  <a:pt x="2401" y="3203"/>
                </a:lnTo>
                <a:lnTo>
                  <a:pt x="2486" y="3161"/>
                </a:lnTo>
                <a:lnTo>
                  <a:pt x="2571" y="3113"/>
                </a:lnTo>
                <a:lnTo>
                  <a:pt x="2651" y="3061"/>
                </a:lnTo>
                <a:lnTo>
                  <a:pt x="2729" y="3005"/>
                </a:lnTo>
                <a:lnTo>
                  <a:pt x="2803" y="2942"/>
                </a:lnTo>
                <a:lnTo>
                  <a:pt x="2875" y="2875"/>
                </a:lnTo>
                <a:lnTo>
                  <a:pt x="2942" y="2803"/>
                </a:lnTo>
                <a:lnTo>
                  <a:pt x="3005" y="2728"/>
                </a:lnTo>
                <a:lnTo>
                  <a:pt x="3062" y="2651"/>
                </a:lnTo>
                <a:lnTo>
                  <a:pt x="3115" y="2571"/>
                </a:lnTo>
                <a:lnTo>
                  <a:pt x="3162" y="2486"/>
                </a:lnTo>
                <a:lnTo>
                  <a:pt x="3203" y="2401"/>
                </a:lnTo>
                <a:lnTo>
                  <a:pt x="3239" y="2312"/>
                </a:lnTo>
                <a:lnTo>
                  <a:pt x="3271" y="2222"/>
                </a:lnTo>
                <a:lnTo>
                  <a:pt x="3297" y="2129"/>
                </a:lnTo>
                <a:lnTo>
                  <a:pt x="3317" y="2035"/>
                </a:lnTo>
                <a:lnTo>
                  <a:pt x="3331" y="1940"/>
                </a:lnTo>
                <a:lnTo>
                  <a:pt x="3340" y="1843"/>
                </a:lnTo>
                <a:lnTo>
                  <a:pt x="3343" y="1745"/>
                </a:lnTo>
                <a:lnTo>
                  <a:pt x="3340" y="1647"/>
                </a:lnTo>
                <a:lnTo>
                  <a:pt x="3331" y="1550"/>
                </a:lnTo>
                <a:lnTo>
                  <a:pt x="3317" y="1455"/>
                </a:lnTo>
                <a:lnTo>
                  <a:pt x="3297" y="1360"/>
                </a:lnTo>
                <a:lnTo>
                  <a:pt x="3271" y="1268"/>
                </a:lnTo>
                <a:lnTo>
                  <a:pt x="3239" y="1177"/>
                </a:lnTo>
                <a:lnTo>
                  <a:pt x="3203" y="1089"/>
                </a:lnTo>
                <a:lnTo>
                  <a:pt x="3162" y="1004"/>
                </a:lnTo>
                <a:lnTo>
                  <a:pt x="3115" y="919"/>
                </a:lnTo>
                <a:lnTo>
                  <a:pt x="3062" y="839"/>
                </a:lnTo>
                <a:lnTo>
                  <a:pt x="3005" y="761"/>
                </a:lnTo>
                <a:lnTo>
                  <a:pt x="2942" y="687"/>
                </a:lnTo>
                <a:lnTo>
                  <a:pt x="2875" y="615"/>
                </a:lnTo>
                <a:lnTo>
                  <a:pt x="2803" y="548"/>
                </a:lnTo>
                <a:lnTo>
                  <a:pt x="2729" y="485"/>
                </a:lnTo>
                <a:lnTo>
                  <a:pt x="2651" y="428"/>
                </a:lnTo>
                <a:lnTo>
                  <a:pt x="2571" y="375"/>
                </a:lnTo>
                <a:lnTo>
                  <a:pt x="2486" y="328"/>
                </a:lnTo>
                <a:lnTo>
                  <a:pt x="2401" y="287"/>
                </a:lnTo>
                <a:lnTo>
                  <a:pt x="2313" y="251"/>
                </a:lnTo>
                <a:lnTo>
                  <a:pt x="2222" y="219"/>
                </a:lnTo>
                <a:lnTo>
                  <a:pt x="2130" y="193"/>
                </a:lnTo>
                <a:lnTo>
                  <a:pt x="2035" y="173"/>
                </a:lnTo>
                <a:lnTo>
                  <a:pt x="1940" y="159"/>
                </a:lnTo>
                <a:lnTo>
                  <a:pt x="1843" y="150"/>
                </a:lnTo>
                <a:lnTo>
                  <a:pt x="1745" y="147"/>
                </a:lnTo>
                <a:close/>
                <a:moveTo>
                  <a:pt x="1745" y="0"/>
                </a:moveTo>
                <a:lnTo>
                  <a:pt x="1844" y="2"/>
                </a:lnTo>
                <a:lnTo>
                  <a:pt x="1943" y="11"/>
                </a:lnTo>
                <a:lnTo>
                  <a:pt x="2041" y="24"/>
                </a:lnTo>
                <a:lnTo>
                  <a:pt x="2135" y="44"/>
                </a:lnTo>
                <a:lnTo>
                  <a:pt x="2230" y="68"/>
                </a:lnTo>
                <a:lnTo>
                  <a:pt x="2323" y="97"/>
                </a:lnTo>
                <a:lnTo>
                  <a:pt x="2414" y="132"/>
                </a:lnTo>
                <a:lnTo>
                  <a:pt x="2501" y="172"/>
                </a:lnTo>
                <a:lnTo>
                  <a:pt x="2588" y="216"/>
                </a:lnTo>
                <a:lnTo>
                  <a:pt x="2672" y="265"/>
                </a:lnTo>
                <a:lnTo>
                  <a:pt x="2753" y="320"/>
                </a:lnTo>
                <a:lnTo>
                  <a:pt x="2832" y="379"/>
                </a:lnTo>
                <a:lnTo>
                  <a:pt x="2907" y="443"/>
                </a:lnTo>
                <a:lnTo>
                  <a:pt x="2979" y="511"/>
                </a:lnTo>
                <a:lnTo>
                  <a:pt x="3047" y="583"/>
                </a:lnTo>
                <a:lnTo>
                  <a:pt x="3111" y="659"/>
                </a:lnTo>
                <a:lnTo>
                  <a:pt x="3170" y="737"/>
                </a:lnTo>
                <a:lnTo>
                  <a:pt x="3225" y="818"/>
                </a:lnTo>
                <a:lnTo>
                  <a:pt x="3274" y="902"/>
                </a:lnTo>
                <a:lnTo>
                  <a:pt x="3318" y="989"/>
                </a:lnTo>
                <a:lnTo>
                  <a:pt x="3358" y="1077"/>
                </a:lnTo>
                <a:lnTo>
                  <a:pt x="3393" y="1167"/>
                </a:lnTo>
                <a:lnTo>
                  <a:pt x="3422" y="1260"/>
                </a:lnTo>
                <a:lnTo>
                  <a:pt x="3446" y="1355"/>
                </a:lnTo>
                <a:lnTo>
                  <a:pt x="3466" y="1449"/>
                </a:lnTo>
                <a:lnTo>
                  <a:pt x="3479" y="1547"/>
                </a:lnTo>
                <a:lnTo>
                  <a:pt x="3488" y="1646"/>
                </a:lnTo>
                <a:lnTo>
                  <a:pt x="3490" y="1745"/>
                </a:lnTo>
                <a:lnTo>
                  <a:pt x="3488" y="1844"/>
                </a:lnTo>
                <a:lnTo>
                  <a:pt x="3479" y="1942"/>
                </a:lnTo>
                <a:lnTo>
                  <a:pt x="3466" y="2040"/>
                </a:lnTo>
                <a:lnTo>
                  <a:pt x="3446" y="2135"/>
                </a:lnTo>
                <a:lnTo>
                  <a:pt x="3422" y="2230"/>
                </a:lnTo>
                <a:lnTo>
                  <a:pt x="3393" y="2322"/>
                </a:lnTo>
                <a:lnTo>
                  <a:pt x="3358" y="2413"/>
                </a:lnTo>
                <a:lnTo>
                  <a:pt x="3318" y="2501"/>
                </a:lnTo>
                <a:lnTo>
                  <a:pt x="3274" y="2588"/>
                </a:lnTo>
                <a:lnTo>
                  <a:pt x="3225" y="2672"/>
                </a:lnTo>
                <a:lnTo>
                  <a:pt x="3170" y="2753"/>
                </a:lnTo>
                <a:lnTo>
                  <a:pt x="3111" y="2831"/>
                </a:lnTo>
                <a:lnTo>
                  <a:pt x="3047" y="2907"/>
                </a:lnTo>
                <a:lnTo>
                  <a:pt x="2979" y="2979"/>
                </a:lnTo>
                <a:lnTo>
                  <a:pt x="2907" y="3047"/>
                </a:lnTo>
                <a:lnTo>
                  <a:pt x="2832" y="3111"/>
                </a:lnTo>
                <a:lnTo>
                  <a:pt x="2753" y="3170"/>
                </a:lnTo>
                <a:lnTo>
                  <a:pt x="2672" y="3224"/>
                </a:lnTo>
                <a:lnTo>
                  <a:pt x="2588" y="3273"/>
                </a:lnTo>
                <a:lnTo>
                  <a:pt x="2501" y="3318"/>
                </a:lnTo>
                <a:lnTo>
                  <a:pt x="2414" y="3358"/>
                </a:lnTo>
                <a:lnTo>
                  <a:pt x="2323" y="3393"/>
                </a:lnTo>
                <a:lnTo>
                  <a:pt x="2230" y="3422"/>
                </a:lnTo>
                <a:lnTo>
                  <a:pt x="2135" y="3446"/>
                </a:lnTo>
                <a:lnTo>
                  <a:pt x="2041" y="3465"/>
                </a:lnTo>
                <a:lnTo>
                  <a:pt x="1943" y="3479"/>
                </a:lnTo>
                <a:lnTo>
                  <a:pt x="1844" y="3487"/>
                </a:lnTo>
                <a:lnTo>
                  <a:pt x="1745" y="3490"/>
                </a:lnTo>
                <a:lnTo>
                  <a:pt x="1745" y="3490"/>
                </a:lnTo>
                <a:lnTo>
                  <a:pt x="1646" y="3487"/>
                </a:lnTo>
                <a:lnTo>
                  <a:pt x="1548" y="3479"/>
                </a:lnTo>
                <a:lnTo>
                  <a:pt x="1450" y="3465"/>
                </a:lnTo>
                <a:lnTo>
                  <a:pt x="1355" y="3446"/>
                </a:lnTo>
                <a:lnTo>
                  <a:pt x="1260" y="3422"/>
                </a:lnTo>
                <a:lnTo>
                  <a:pt x="1168" y="3393"/>
                </a:lnTo>
                <a:lnTo>
                  <a:pt x="1077" y="3358"/>
                </a:lnTo>
                <a:lnTo>
                  <a:pt x="989" y="3318"/>
                </a:lnTo>
                <a:lnTo>
                  <a:pt x="902" y="3273"/>
                </a:lnTo>
                <a:lnTo>
                  <a:pt x="818" y="3224"/>
                </a:lnTo>
                <a:lnTo>
                  <a:pt x="737" y="3170"/>
                </a:lnTo>
                <a:lnTo>
                  <a:pt x="659" y="3111"/>
                </a:lnTo>
                <a:lnTo>
                  <a:pt x="583" y="3047"/>
                </a:lnTo>
                <a:lnTo>
                  <a:pt x="511" y="2979"/>
                </a:lnTo>
                <a:lnTo>
                  <a:pt x="443" y="2907"/>
                </a:lnTo>
                <a:lnTo>
                  <a:pt x="379" y="2831"/>
                </a:lnTo>
                <a:lnTo>
                  <a:pt x="320" y="2753"/>
                </a:lnTo>
                <a:lnTo>
                  <a:pt x="266" y="2672"/>
                </a:lnTo>
                <a:lnTo>
                  <a:pt x="217" y="2588"/>
                </a:lnTo>
                <a:lnTo>
                  <a:pt x="172" y="2501"/>
                </a:lnTo>
                <a:lnTo>
                  <a:pt x="132" y="2413"/>
                </a:lnTo>
                <a:lnTo>
                  <a:pt x="97" y="2322"/>
                </a:lnTo>
                <a:lnTo>
                  <a:pt x="68" y="2230"/>
                </a:lnTo>
                <a:lnTo>
                  <a:pt x="44" y="2135"/>
                </a:lnTo>
                <a:lnTo>
                  <a:pt x="25" y="2040"/>
                </a:lnTo>
                <a:lnTo>
                  <a:pt x="11" y="1942"/>
                </a:lnTo>
                <a:lnTo>
                  <a:pt x="3" y="1844"/>
                </a:lnTo>
                <a:lnTo>
                  <a:pt x="0" y="1745"/>
                </a:lnTo>
                <a:lnTo>
                  <a:pt x="3" y="1646"/>
                </a:lnTo>
                <a:lnTo>
                  <a:pt x="11" y="1547"/>
                </a:lnTo>
                <a:lnTo>
                  <a:pt x="25" y="1449"/>
                </a:lnTo>
                <a:lnTo>
                  <a:pt x="44" y="1355"/>
                </a:lnTo>
                <a:lnTo>
                  <a:pt x="68" y="1260"/>
                </a:lnTo>
                <a:lnTo>
                  <a:pt x="97" y="1167"/>
                </a:lnTo>
                <a:lnTo>
                  <a:pt x="132" y="1077"/>
                </a:lnTo>
                <a:lnTo>
                  <a:pt x="172" y="989"/>
                </a:lnTo>
                <a:lnTo>
                  <a:pt x="217" y="902"/>
                </a:lnTo>
                <a:lnTo>
                  <a:pt x="266" y="818"/>
                </a:lnTo>
                <a:lnTo>
                  <a:pt x="320" y="737"/>
                </a:lnTo>
                <a:lnTo>
                  <a:pt x="379" y="659"/>
                </a:lnTo>
                <a:lnTo>
                  <a:pt x="443" y="583"/>
                </a:lnTo>
                <a:lnTo>
                  <a:pt x="511" y="511"/>
                </a:lnTo>
                <a:lnTo>
                  <a:pt x="583" y="443"/>
                </a:lnTo>
                <a:lnTo>
                  <a:pt x="659" y="379"/>
                </a:lnTo>
                <a:lnTo>
                  <a:pt x="737" y="320"/>
                </a:lnTo>
                <a:lnTo>
                  <a:pt x="818" y="265"/>
                </a:lnTo>
                <a:lnTo>
                  <a:pt x="902" y="216"/>
                </a:lnTo>
                <a:lnTo>
                  <a:pt x="989" y="172"/>
                </a:lnTo>
                <a:lnTo>
                  <a:pt x="1077" y="132"/>
                </a:lnTo>
                <a:lnTo>
                  <a:pt x="1168" y="97"/>
                </a:lnTo>
                <a:lnTo>
                  <a:pt x="1260" y="68"/>
                </a:lnTo>
                <a:lnTo>
                  <a:pt x="1355" y="44"/>
                </a:lnTo>
                <a:lnTo>
                  <a:pt x="1450" y="24"/>
                </a:lnTo>
                <a:lnTo>
                  <a:pt x="1548" y="11"/>
                </a:lnTo>
                <a:lnTo>
                  <a:pt x="1646" y="2"/>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3" name="Freeform 103"/>
          <p:cNvSpPr>
            <a:spLocks noChangeAspect="1" noEditPoints="1"/>
          </p:cNvSpPr>
          <p:nvPr/>
        </p:nvSpPr>
        <p:spPr bwMode="auto">
          <a:xfrm>
            <a:off x="1684712" y="5806446"/>
            <a:ext cx="285619" cy="285619"/>
          </a:xfrm>
          <a:custGeom>
            <a:avLst/>
            <a:gdLst>
              <a:gd name="T0" fmla="*/ 1312 w 3490"/>
              <a:gd name="T1" fmla="*/ 206 h 3490"/>
              <a:gd name="T2" fmla="*/ 901 w 3490"/>
              <a:gd name="T3" fmla="*/ 387 h 3490"/>
              <a:gd name="T4" fmla="*/ 548 w 3490"/>
              <a:gd name="T5" fmla="*/ 687 h 3490"/>
              <a:gd name="T6" fmla="*/ 287 w 3490"/>
              <a:gd name="T7" fmla="*/ 1089 h 3490"/>
              <a:gd name="T8" fmla="*/ 159 w 3490"/>
              <a:gd name="T9" fmla="*/ 1550 h 3490"/>
              <a:gd name="T10" fmla="*/ 174 w 3490"/>
              <a:gd name="T11" fmla="*/ 2035 h 3490"/>
              <a:gd name="T12" fmla="*/ 329 w 3490"/>
              <a:gd name="T13" fmla="*/ 2486 h 3490"/>
              <a:gd name="T14" fmla="*/ 615 w 3490"/>
              <a:gd name="T15" fmla="*/ 2875 h 3490"/>
              <a:gd name="T16" fmla="*/ 1004 w 3490"/>
              <a:gd name="T17" fmla="*/ 3161 h 3490"/>
              <a:gd name="T18" fmla="*/ 1455 w 3490"/>
              <a:gd name="T19" fmla="*/ 3316 h 3490"/>
              <a:gd name="T20" fmla="*/ 1940 w 3490"/>
              <a:gd name="T21" fmla="*/ 3331 h 3490"/>
              <a:gd name="T22" fmla="*/ 2401 w 3490"/>
              <a:gd name="T23" fmla="*/ 3203 h 3490"/>
              <a:gd name="T24" fmla="*/ 2803 w 3490"/>
              <a:gd name="T25" fmla="*/ 2942 h 3490"/>
              <a:gd name="T26" fmla="*/ 3115 w 3490"/>
              <a:gd name="T27" fmla="*/ 2571 h 3490"/>
              <a:gd name="T28" fmla="*/ 3297 w 3490"/>
              <a:gd name="T29" fmla="*/ 2129 h 3490"/>
              <a:gd name="T30" fmla="*/ 3340 w 3490"/>
              <a:gd name="T31" fmla="*/ 1647 h 3490"/>
              <a:gd name="T32" fmla="*/ 3239 w 3490"/>
              <a:gd name="T33" fmla="*/ 1177 h 3490"/>
              <a:gd name="T34" fmla="*/ 3005 w 3490"/>
              <a:gd name="T35" fmla="*/ 761 h 3490"/>
              <a:gd name="T36" fmla="*/ 2665 w 3490"/>
              <a:gd name="T37" fmla="*/ 437 h 3490"/>
              <a:gd name="T38" fmla="*/ 2265 w 3490"/>
              <a:gd name="T39" fmla="*/ 232 h 3490"/>
              <a:gd name="T40" fmla="*/ 1819 w 3490"/>
              <a:gd name="T41" fmla="*/ 149 h 3490"/>
              <a:gd name="T42" fmla="*/ 2689 w 3490"/>
              <a:gd name="T43" fmla="*/ 1767 h 3490"/>
              <a:gd name="T44" fmla="*/ 2759 w 3490"/>
              <a:gd name="T45" fmla="*/ 1822 h 3490"/>
              <a:gd name="T46" fmla="*/ 1797 w 3490"/>
              <a:gd name="T47" fmla="*/ 2836 h 3490"/>
              <a:gd name="T48" fmla="*/ 1709 w 3490"/>
              <a:gd name="T49" fmla="*/ 2849 h 3490"/>
              <a:gd name="T50" fmla="*/ 727 w 3490"/>
              <a:gd name="T51" fmla="*/ 1841 h 3490"/>
              <a:gd name="T52" fmla="*/ 783 w 3490"/>
              <a:gd name="T53" fmla="*/ 1769 h 3490"/>
              <a:gd name="T54" fmla="*/ 1671 w 3490"/>
              <a:gd name="T55" fmla="*/ 2607 h 3490"/>
              <a:gd name="T56" fmla="*/ 2041 w 3490"/>
              <a:gd name="T57" fmla="*/ 24 h 3490"/>
              <a:gd name="T58" fmla="*/ 2501 w 3490"/>
              <a:gd name="T59" fmla="*/ 172 h 3490"/>
              <a:gd name="T60" fmla="*/ 2907 w 3490"/>
              <a:gd name="T61" fmla="*/ 443 h 3490"/>
              <a:gd name="T62" fmla="*/ 3225 w 3490"/>
              <a:gd name="T63" fmla="*/ 818 h 3490"/>
              <a:gd name="T64" fmla="*/ 3422 w 3490"/>
              <a:gd name="T65" fmla="*/ 1260 h 3490"/>
              <a:gd name="T66" fmla="*/ 3490 w 3490"/>
              <a:gd name="T67" fmla="*/ 1745 h 3490"/>
              <a:gd name="T68" fmla="*/ 3422 w 3490"/>
              <a:gd name="T69" fmla="*/ 2230 h 3490"/>
              <a:gd name="T70" fmla="*/ 3225 w 3490"/>
              <a:gd name="T71" fmla="*/ 2672 h 3490"/>
              <a:gd name="T72" fmla="*/ 2907 w 3490"/>
              <a:gd name="T73" fmla="*/ 3047 h 3490"/>
              <a:gd name="T74" fmla="*/ 2501 w 3490"/>
              <a:gd name="T75" fmla="*/ 3318 h 3490"/>
              <a:gd name="T76" fmla="*/ 2041 w 3490"/>
              <a:gd name="T77" fmla="*/ 3465 h 3490"/>
              <a:gd name="T78" fmla="*/ 1646 w 3490"/>
              <a:gd name="T79" fmla="*/ 3487 h 3490"/>
              <a:gd name="T80" fmla="*/ 1168 w 3490"/>
              <a:gd name="T81" fmla="*/ 3393 h 3490"/>
              <a:gd name="T82" fmla="*/ 737 w 3490"/>
              <a:gd name="T83" fmla="*/ 3170 h 3490"/>
              <a:gd name="T84" fmla="*/ 379 w 3490"/>
              <a:gd name="T85" fmla="*/ 2831 h 3490"/>
              <a:gd name="T86" fmla="*/ 132 w 3490"/>
              <a:gd name="T87" fmla="*/ 2413 h 3490"/>
              <a:gd name="T88" fmla="*/ 11 w 3490"/>
              <a:gd name="T89" fmla="*/ 1942 h 3490"/>
              <a:gd name="T90" fmla="*/ 11 w 3490"/>
              <a:gd name="T91" fmla="*/ 1547 h 3490"/>
              <a:gd name="T92" fmla="*/ 132 w 3490"/>
              <a:gd name="T93" fmla="*/ 1077 h 3490"/>
              <a:gd name="T94" fmla="*/ 379 w 3490"/>
              <a:gd name="T95" fmla="*/ 659 h 3490"/>
              <a:gd name="T96" fmla="*/ 737 w 3490"/>
              <a:gd name="T97" fmla="*/ 320 h 3490"/>
              <a:gd name="T98" fmla="*/ 1168 w 3490"/>
              <a:gd name="T99" fmla="*/ 97 h 3490"/>
              <a:gd name="T100" fmla="*/ 1646 w 3490"/>
              <a:gd name="T101" fmla="*/ 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90" h="3490">
                <a:moveTo>
                  <a:pt x="1671" y="149"/>
                </a:moveTo>
                <a:lnTo>
                  <a:pt x="1580" y="156"/>
                </a:lnTo>
                <a:lnTo>
                  <a:pt x="1489" y="167"/>
                </a:lnTo>
                <a:lnTo>
                  <a:pt x="1401" y="184"/>
                </a:lnTo>
                <a:lnTo>
                  <a:pt x="1312" y="206"/>
                </a:lnTo>
                <a:lnTo>
                  <a:pt x="1227" y="232"/>
                </a:lnTo>
                <a:lnTo>
                  <a:pt x="1141" y="264"/>
                </a:lnTo>
                <a:lnTo>
                  <a:pt x="1059" y="301"/>
                </a:lnTo>
                <a:lnTo>
                  <a:pt x="979" y="342"/>
                </a:lnTo>
                <a:lnTo>
                  <a:pt x="901" y="387"/>
                </a:lnTo>
                <a:lnTo>
                  <a:pt x="826" y="437"/>
                </a:lnTo>
                <a:lnTo>
                  <a:pt x="752" y="493"/>
                </a:lnTo>
                <a:lnTo>
                  <a:pt x="683" y="551"/>
                </a:lnTo>
                <a:lnTo>
                  <a:pt x="615" y="615"/>
                </a:lnTo>
                <a:lnTo>
                  <a:pt x="548" y="687"/>
                </a:lnTo>
                <a:lnTo>
                  <a:pt x="485" y="761"/>
                </a:lnTo>
                <a:lnTo>
                  <a:pt x="429" y="839"/>
                </a:lnTo>
                <a:lnTo>
                  <a:pt x="377" y="919"/>
                </a:lnTo>
                <a:lnTo>
                  <a:pt x="329" y="1004"/>
                </a:lnTo>
                <a:lnTo>
                  <a:pt x="287" y="1089"/>
                </a:lnTo>
                <a:lnTo>
                  <a:pt x="251" y="1177"/>
                </a:lnTo>
                <a:lnTo>
                  <a:pt x="220" y="1268"/>
                </a:lnTo>
                <a:lnTo>
                  <a:pt x="193" y="1360"/>
                </a:lnTo>
                <a:lnTo>
                  <a:pt x="174" y="1455"/>
                </a:lnTo>
                <a:lnTo>
                  <a:pt x="159" y="1550"/>
                </a:lnTo>
                <a:lnTo>
                  <a:pt x="150" y="1647"/>
                </a:lnTo>
                <a:lnTo>
                  <a:pt x="147" y="1745"/>
                </a:lnTo>
                <a:lnTo>
                  <a:pt x="150" y="1843"/>
                </a:lnTo>
                <a:lnTo>
                  <a:pt x="159" y="1940"/>
                </a:lnTo>
                <a:lnTo>
                  <a:pt x="174" y="2035"/>
                </a:lnTo>
                <a:lnTo>
                  <a:pt x="193" y="2130"/>
                </a:lnTo>
                <a:lnTo>
                  <a:pt x="220" y="2222"/>
                </a:lnTo>
                <a:lnTo>
                  <a:pt x="251" y="2312"/>
                </a:lnTo>
                <a:lnTo>
                  <a:pt x="287" y="2401"/>
                </a:lnTo>
                <a:lnTo>
                  <a:pt x="329" y="2486"/>
                </a:lnTo>
                <a:lnTo>
                  <a:pt x="377" y="2571"/>
                </a:lnTo>
                <a:lnTo>
                  <a:pt x="429" y="2651"/>
                </a:lnTo>
                <a:lnTo>
                  <a:pt x="485" y="2728"/>
                </a:lnTo>
                <a:lnTo>
                  <a:pt x="548" y="2803"/>
                </a:lnTo>
                <a:lnTo>
                  <a:pt x="615" y="2875"/>
                </a:lnTo>
                <a:lnTo>
                  <a:pt x="687" y="2942"/>
                </a:lnTo>
                <a:lnTo>
                  <a:pt x="762" y="3005"/>
                </a:lnTo>
                <a:lnTo>
                  <a:pt x="839" y="3061"/>
                </a:lnTo>
                <a:lnTo>
                  <a:pt x="919" y="3113"/>
                </a:lnTo>
                <a:lnTo>
                  <a:pt x="1004" y="3161"/>
                </a:lnTo>
                <a:lnTo>
                  <a:pt x="1089" y="3203"/>
                </a:lnTo>
                <a:lnTo>
                  <a:pt x="1178" y="3239"/>
                </a:lnTo>
                <a:lnTo>
                  <a:pt x="1268" y="3270"/>
                </a:lnTo>
                <a:lnTo>
                  <a:pt x="1361" y="3297"/>
                </a:lnTo>
                <a:lnTo>
                  <a:pt x="1455" y="3316"/>
                </a:lnTo>
                <a:lnTo>
                  <a:pt x="1550" y="3331"/>
                </a:lnTo>
                <a:lnTo>
                  <a:pt x="1647" y="3340"/>
                </a:lnTo>
                <a:lnTo>
                  <a:pt x="1745" y="3343"/>
                </a:lnTo>
                <a:lnTo>
                  <a:pt x="1843" y="3340"/>
                </a:lnTo>
                <a:lnTo>
                  <a:pt x="1940" y="3331"/>
                </a:lnTo>
                <a:lnTo>
                  <a:pt x="2035" y="3316"/>
                </a:lnTo>
                <a:lnTo>
                  <a:pt x="2130" y="3297"/>
                </a:lnTo>
                <a:lnTo>
                  <a:pt x="2222" y="3270"/>
                </a:lnTo>
                <a:lnTo>
                  <a:pt x="2313" y="3239"/>
                </a:lnTo>
                <a:lnTo>
                  <a:pt x="2401" y="3203"/>
                </a:lnTo>
                <a:lnTo>
                  <a:pt x="2486" y="3161"/>
                </a:lnTo>
                <a:lnTo>
                  <a:pt x="2571" y="3113"/>
                </a:lnTo>
                <a:lnTo>
                  <a:pt x="2651" y="3061"/>
                </a:lnTo>
                <a:lnTo>
                  <a:pt x="2729" y="3005"/>
                </a:lnTo>
                <a:lnTo>
                  <a:pt x="2803" y="2942"/>
                </a:lnTo>
                <a:lnTo>
                  <a:pt x="2875" y="2875"/>
                </a:lnTo>
                <a:lnTo>
                  <a:pt x="2942" y="2803"/>
                </a:lnTo>
                <a:lnTo>
                  <a:pt x="3005" y="2728"/>
                </a:lnTo>
                <a:lnTo>
                  <a:pt x="3062" y="2651"/>
                </a:lnTo>
                <a:lnTo>
                  <a:pt x="3115" y="2571"/>
                </a:lnTo>
                <a:lnTo>
                  <a:pt x="3162" y="2486"/>
                </a:lnTo>
                <a:lnTo>
                  <a:pt x="3203" y="2401"/>
                </a:lnTo>
                <a:lnTo>
                  <a:pt x="3239" y="2312"/>
                </a:lnTo>
                <a:lnTo>
                  <a:pt x="3271" y="2222"/>
                </a:lnTo>
                <a:lnTo>
                  <a:pt x="3297" y="2129"/>
                </a:lnTo>
                <a:lnTo>
                  <a:pt x="3317" y="2035"/>
                </a:lnTo>
                <a:lnTo>
                  <a:pt x="3331" y="1940"/>
                </a:lnTo>
                <a:lnTo>
                  <a:pt x="3340" y="1843"/>
                </a:lnTo>
                <a:lnTo>
                  <a:pt x="3343" y="1745"/>
                </a:lnTo>
                <a:lnTo>
                  <a:pt x="3340" y="1647"/>
                </a:lnTo>
                <a:lnTo>
                  <a:pt x="3331" y="1550"/>
                </a:lnTo>
                <a:lnTo>
                  <a:pt x="3317" y="1455"/>
                </a:lnTo>
                <a:lnTo>
                  <a:pt x="3297" y="1360"/>
                </a:lnTo>
                <a:lnTo>
                  <a:pt x="3271" y="1268"/>
                </a:lnTo>
                <a:lnTo>
                  <a:pt x="3239" y="1177"/>
                </a:lnTo>
                <a:lnTo>
                  <a:pt x="3203" y="1089"/>
                </a:lnTo>
                <a:lnTo>
                  <a:pt x="3162" y="1004"/>
                </a:lnTo>
                <a:lnTo>
                  <a:pt x="3115" y="919"/>
                </a:lnTo>
                <a:lnTo>
                  <a:pt x="3062" y="839"/>
                </a:lnTo>
                <a:lnTo>
                  <a:pt x="3005" y="761"/>
                </a:lnTo>
                <a:lnTo>
                  <a:pt x="2942" y="687"/>
                </a:lnTo>
                <a:lnTo>
                  <a:pt x="2875" y="615"/>
                </a:lnTo>
                <a:lnTo>
                  <a:pt x="2807" y="551"/>
                </a:lnTo>
                <a:lnTo>
                  <a:pt x="2738" y="493"/>
                </a:lnTo>
                <a:lnTo>
                  <a:pt x="2665" y="437"/>
                </a:lnTo>
                <a:lnTo>
                  <a:pt x="2589" y="387"/>
                </a:lnTo>
                <a:lnTo>
                  <a:pt x="2511" y="342"/>
                </a:lnTo>
                <a:lnTo>
                  <a:pt x="2431" y="301"/>
                </a:lnTo>
                <a:lnTo>
                  <a:pt x="2349" y="264"/>
                </a:lnTo>
                <a:lnTo>
                  <a:pt x="2265" y="232"/>
                </a:lnTo>
                <a:lnTo>
                  <a:pt x="2178" y="206"/>
                </a:lnTo>
                <a:lnTo>
                  <a:pt x="2090" y="184"/>
                </a:lnTo>
                <a:lnTo>
                  <a:pt x="2001" y="167"/>
                </a:lnTo>
                <a:lnTo>
                  <a:pt x="1910" y="156"/>
                </a:lnTo>
                <a:lnTo>
                  <a:pt x="1819" y="149"/>
                </a:lnTo>
                <a:lnTo>
                  <a:pt x="1819" y="2607"/>
                </a:lnTo>
                <a:lnTo>
                  <a:pt x="2637" y="1789"/>
                </a:lnTo>
                <a:lnTo>
                  <a:pt x="2653" y="1777"/>
                </a:lnTo>
                <a:lnTo>
                  <a:pt x="2670" y="1769"/>
                </a:lnTo>
                <a:lnTo>
                  <a:pt x="2689" y="1767"/>
                </a:lnTo>
                <a:lnTo>
                  <a:pt x="2707" y="1769"/>
                </a:lnTo>
                <a:lnTo>
                  <a:pt x="2725" y="1777"/>
                </a:lnTo>
                <a:lnTo>
                  <a:pt x="2741" y="1789"/>
                </a:lnTo>
                <a:lnTo>
                  <a:pt x="2753" y="1805"/>
                </a:lnTo>
                <a:lnTo>
                  <a:pt x="2759" y="1822"/>
                </a:lnTo>
                <a:lnTo>
                  <a:pt x="2763" y="1841"/>
                </a:lnTo>
                <a:lnTo>
                  <a:pt x="2759" y="1859"/>
                </a:lnTo>
                <a:lnTo>
                  <a:pt x="2753" y="1877"/>
                </a:lnTo>
                <a:lnTo>
                  <a:pt x="2741" y="1893"/>
                </a:lnTo>
                <a:lnTo>
                  <a:pt x="1797" y="2836"/>
                </a:lnTo>
                <a:lnTo>
                  <a:pt x="1781" y="2849"/>
                </a:lnTo>
                <a:lnTo>
                  <a:pt x="1764" y="2855"/>
                </a:lnTo>
                <a:lnTo>
                  <a:pt x="1745" y="2859"/>
                </a:lnTo>
                <a:lnTo>
                  <a:pt x="1727" y="2855"/>
                </a:lnTo>
                <a:lnTo>
                  <a:pt x="1709" y="2849"/>
                </a:lnTo>
                <a:lnTo>
                  <a:pt x="1693" y="2836"/>
                </a:lnTo>
                <a:lnTo>
                  <a:pt x="750" y="1893"/>
                </a:lnTo>
                <a:lnTo>
                  <a:pt x="737" y="1877"/>
                </a:lnTo>
                <a:lnTo>
                  <a:pt x="731" y="1859"/>
                </a:lnTo>
                <a:lnTo>
                  <a:pt x="727" y="1841"/>
                </a:lnTo>
                <a:lnTo>
                  <a:pt x="731" y="1822"/>
                </a:lnTo>
                <a:lnTo>
                  <a:pt x="737" y="1805"/>
                </a:lnTo>
                <a:lnTo>
                  <a:pt x="750" y="1789"/>
                </a:lnTo>
                <a:lnTo>
                  <a:pt x="765" y="1777"/>
                </a:lnTo>
                <a:lnTo>
                  <a:pt x="783" y="1769"/>
                </a:lnTo>
                <a:lnTo>
                  <a:pt x="801" y="1767"/>
                </a:lnTo>
                <a:lnTo>
                  <a:pt x="820" y="1769"/>
                </a:lnTo>
                <a:lnTo>
                  <a:pt x="837" y="1777"/>
                </a:lnTo>
                <a:lnTo>
                  <a:pt x="853" y="1789"/>
                </a:lnTo>
                <a:lnTo>
                  <a:pt x="1671" y="2607"/>
                </a:lnTo>
                <a:lnTo>
                  <a:pt x="1671" y="149"/>
                </a:lnTo>
                <a:close/>
                <a:moveTo>
                  <a:pt x="1745" y="0"/>
                </a:moveTo>
                <a:lnTo>
                  <a:pt x="1844" y="2"/>
                </a:lnTo>
                <a:lnTo>
                  <a:pt x="1943" y="11"/>
                </a:lnTo>
                <a:lnTo>
                  <a:pt x="2041" y="24"/>
                </a:lnTo>
                <a:lnTo>
                  <a:pt x="2135" y="44"/>
                </a:lnTo>
                <a:lnTo>
                  <a:pt x="2230" y="68"/>
                </a:lnTo>
                <a:lnTo>
                  <a:pt x="2323" y="97"/>
                </a:lnTo>
                <a:lnTo>
                  <a:pt x="2413" y="132"/>
                </a:lnTo>
                <a:lnTo>
                  <a:pt x="2501" y="172"/>
                </a:lnTo>
                <a:lnTo>
                  <a:pt x="2588" y="216"/>
                </a:lnTo>
                <a:lnTo>
                  <a:pt x="2672" y="265"/>
                </a:lnTo>
                <a:lnTo>
                  <a:pt x="2753" y="320"/>
                </a:lnTo>
                <a:lnTo>
                  <a:pt x="2831" y="379"/>
                </a:lnTo>
                <a:lnTo>
                  <a:pt x="2907" y="443"/>
                </a:lnTo>
                <a:lnTo>
                  <a:pt x="2979" y="511"/>
                </a:lnTo>
                <a:lnTo>
                  <a:pt x="3047" y="583"/>
                </a:lnTo>
                <a:lnTo>
                  <a:pt x="3111" y="659"/>
                </a:lnTo>
                <a:lnTo>
                  <a:pt x="3170" y="737"/>
                </a:lnTo>
                <a:lnTo>
                  <a:pt x="3225" y="818"/>
                </a:lnTo>
                <a:lnTo>
                  <a:pt x="3274" y="902"/>
                </a:lnTo>
                <a:lnTo>
                  <a:pt x="3318" y="989"/>
                </a:lnTo>
                <a:lnTo>
                  <a:pt x="3358" y="1077"/>
                </a:lnTo>
                <a:lnTo>
                  <a:pt x="3393" y="1167"/>
                </a:lnTo>
                <a:lnTo>
                  <a:pt x="3422" y="1260"/>
                </a:lnTo>
                <a:lnTo>
                  <a:pt x="3446" y="1355"/>
                </a:lnTo>
                <a:lnTo>
                  <a:pt x="3466" y="1449"/>
                </a:lnTo>
                <a:lnTo>
                  <a:pt x="3479" y="1547"/>
                </a:lnTo>
                <a:lnTo>
                  <a:pt x="3488" y="1646"/>
                </a:lnTo>
                <a:lnTo>
                  <a:pt x="3490" y="1745"/>
                </a:lnTo>
                <a:lnTo>
                  <a:pt x="3488" y="1844"/>
                </a:lnTo>
                <a:lnTo>
                  <a:pt x="3479" y="1942"/>
                </a:lnTo>
                <a:lnTo>
                  <a:pt x="3466" y="2040"/>
                </a:lnTo>
                <a:lnTo>
                  <a:pt x="3446" y="2135"/>
                </a:lnTo>
                <a:lnTo>
                  <a:pt x="3422" y="2230"/>
                </a:lnTo>
                <a:lnTo>
                  <a:pt x="3393" y="2322"/>
                </a:lnTo>
                <a:lnTo>
                  <a:pt x="3358" y="2413"/>
                </a:lnTo>
                <a:lnTo>
                  <a:pt x="3318" y="2501"/>
                </a:lnTo>
                <a:lnTo>
                  <a:pt x="3274" y="2588"/>
                </a:lnTo>
                <a:lnTo>
                  <a:pt x="3225" y="2672"/>
                </a:lnTo>
                <a:lnTo>
                  <a:pt x="3170" y="2753"/>
                </a:lnTo>
                <a:lnTo>
                  <a:pt x="3111" y="2831"/>
                </a:lnTo>
                <a:lnTo>
                  <a:pt x="3047" y="2907"/>
                </a:lnTo>
                <a:lnTo>
                  <a:pt x="2979" y="2979"/>
                </a:lnTo>
                <a:lnTo>
                  <a:pt x="2907" y="3047"/>
                </a:lnTo>
                <a:lnTo>
                  <a:pt x="2831" y="3111"/>
                </a:lnTo>
                <a:lnTo>
                  <a:pt x="2753" y="3170"/>
                </a:lnTo>
                <a:lnTo>
                  <a:pt x="2672" y="3224"/>
                </a:lnTo>
                <a:lnTo>
                  <a:pt x="2588" y="3273"/>
                </a:lnTo>
                <a:lnTo>
                  <a:pt x="2501" y="3318"/>
                </a:lnTo>
                <a:lnTo>
                  <a:pt x="2413" y="3358"/>
                </a:lnTo>
                <a:lnTo>
                  <a:pt x="2323" y="3393"/>
                </a:lnTo>
                <a:lnTo>
                  <a:pt x="2230" y="3422"/>
                </a:lnTo>
                <a:lnTo>
                  <a:pt x="2135" y="3446"/>
                </a:lnTo>
                <a:lnTo>
                  <a:pt x="2041" y="3465"/>
                </a:lnTo>
                <a:lnTo>
                  <a:pt x="1943" y="3479"/>
                </a:lnTo>
                <a:lnTo>
                  <a:pt x="1844" y="3487"/>
                </a:lnTo>
                <a:lnTo>
                  <a:pt x="1745" y="3490"/>
                </a:lnTo>
                <a:lnTo>
                  <a:pt x="1745" y="3490"/>
                </a:lnTo>
                <a:lnTo>
                  <a:pt x="1646" y="3487"/>
                </a:lnTo>
                <a:lnTo>
                  <a:pt x="1548" y="3479"/>
                </a:lnTo>
                <a:lnTo>
                  <a:pt x="1450" y="3465"/>
                </a:lnTo>
                <a:lnTo>
                  <a:pt x="1355" y="3446"/>
                </a:lnTo>
                <a:lnTo>
                  <a:pt x="1260" y="3422"/>
                </a:lnTo>
                <a:lnTo>
                  <a:pt x="1168" y="3393"/>
                </a:lnTo>
                <a:lnTo>
                  <a:pt x="1077" y="3358"/>
                </a:lnTo>
                <a:lnTo>
                  <a:pt x="989" y="3318"/>
                </a:lnTo>
                <a:lnTo>
                  <a:pt x="902" y="3273"/>
                </a:lnTo>
                <a:lnTo>
                  <a:pt x="818" y="3224"/>
                </a:lnTo>
                <a:lnTo>
                  <a:pt x="737" y="3170"/>
                </a:lnTo>
                <a:lnTo>
                  <a:pt x="659" y="3111"/>
                </a:lnTo>
                <a:lnTo>
                  <a:pt x="583" y="3047"/>
                </a:lnTo>
                <a:lnTo>
                  <a:pt x="511" y="2979"/>
                </a:lnTo>
                <a:lnTo>
                  <a:pt x="443" y="2907"/>
                </a:lnTo>
                <a:lnTo>
                  <a:pt x="379" y="2831"/>
                </a:lnTo>
                <a:lnTo>
                  <a:pt x="320" y="2753"/>
                </a:lnTo>
                <a:lnTo>
                  <a:pt x="266" y="2672"/>
                </a:lnTo>
                <a:lnTo>
                  <a:pt x="217" y="2588"/>
                </a:lnTo>
                <a:lnTo>
                  <a:pt x="172" y="2501"/>
                </a:lnTo>
                <a:lnTo>
                  <a:pt x="132" y="2413"/>
                </a:lnTo>
                <a:lnTo>
                  <a:pt x="97" y="2322"/>
                </a:lnTo>
                <a:lnTo>
                  <a:pt x="68" y="2230"/>
                </a:lnTo>
                <a:lnTo>
                  <a:pt x="44" y="2135"/>
                </a:lnTo>
                <a:lnTo>
                  <a:pt x="25" y="2040"/>
                </a:lnTo>
                <a:lnTo>
                  <a:pt x="11" y="1942"/>
                </a:lnTo>
                <a:lnTo>
                  <a:pt x="3" y="1844"/>
                </a:lnTo>
                <a:lnTo>
                  <a:pt x="0" y="1745"/>
                </a:lnTo>
                <a:lnTo>
                  <a:pt x="0" y="1745"/>
                </a:lnTo>
                <a:lnTo>
                  <a:pt x="3" y="1646"/>
                </a:lnTo>
                <a:lnTo>
                  <a:pt x="11" y="1547"/>
                </a:lnTo>
                <a:lnTo>
                  <a:pt x="25" y="1449"/>
                </a:lnTo>
                <a:lnTo>
                  <a:pt x="44" y="1355"/>
                </a:lnTo>
                <a:lnTo>
                  <a:pt x="68" y="1260"/>
                </a:lnTo>
                <a:lnTo>
                  <a:pt x="97" y="1167"/>
                </a:lnTo>
                <a:lnTo>
                  <a:pt x="132" y="1077"/>
                </a:lnTo>
                <a:lnTo>
                  <a:pt x="172" y="989"/>
                </a:lnTo>
                <a:lnTo>
                  <a:pt x="217" y="902"/>
                </a:lnTo>
                <a:lnTo>
                  <a:pt x="266" y="818"/>
                </a:lnTo>
                <a:lnTo>
                  <a:pt x="320" y="737"/>
                </a:lnTo>
                <a:lnTo>
                  <a:pt x="379" y="659"/>
                </a:lnTo>
                <a:lnTo>
                  <a:pt x="443" y="583"/>
                </a:lnTo>
                <a:lnTo>
                  <a:pt x="511" y="511"/>
                </a:lnTo>
                <a:lnTo>
                  <a:pt x="583" y="443"/>
                </a:lnTo>
                <a:lnTo>
                  <a:pt x="659" y="379"/>
                </a:lnTo>
                <a:lnTo>
                  <a:pt x="737" y="320"/>
                </a:lnTo>
                <a:lnTo>
                  <a:pt x="818" y="265"/>
                </a:lnTo>
                <a:lnTo>
                  <a:pt x="902" y="216"/>
                </a:lnTo>
                <a:lnTo>
                  <a:pt x="989" y="172"/>
                </a:lnTo>
                <a:lnTo>
                  <a:pt x="1077" y="132"/>
                </a:lnTo>
                <a:lnTo>
                  <a:pt x="1168" y="97"/>
                </a:lnTo>
                <a:lnTo>
                  <a:pt x="1260" y="68"/>
                </a:lnTo>
                <a:lnTo>
                  <a:pt x="1355" y="44"/>
                </a:lnTo>
                <a:lnTo>
                  <a:pt x="1450" y="24"/>
                </a:lnTo>
                <a:lnTo>
                  <a:pt x="1548" y="11"/>
                </a:lnTo>
                <a:lnTo>
                  <a:pt x="1646" y="2"/>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4" name="Freeform 108"/>
          <p:cNvSpPr>
            <a:spLocks noChangeAspect="1" noEditPoints="1"/>
          </p:cNvSpPr>
          <p:nvPr/>
        </p:nvSpPr>
        <p:spPr bwMode="auto">
          <a:xfrm>
            <a:off x="1029026" y="5806446"/>
            <a:ext cx="285619" cy="285619"/>
          </a:xfrm>
          <a:custGeom>
            <a:avLst/>
            <a:gdLst>
              <a:gd name="T0" fmla="*/ 1459 w 3501"/>
              <a:gd name="T1" fmla="*/ 173 h 3490"/>
              <a:gd name="T2" fmla="*/ 1092 w 3501"/>
              <a:gd name="T3" fmla="*/ 287 h 3490"/>
              <a:gd name="T4" fmla="*/ 764 w 3501"/>
              <a:gd name="T5" fmla="*/ 485 h 3490"/>
              <a:gd name="T6" fmla="*/ 494 w 3501"/>
              <a:gd name="T7" fmla="*/ 752 h 3490"/>
              <a:gd name="T8" fmla="*/ 302 w 3501"/>
              <a:gd name="T9" fmla="*/ 1059 h 3490"/>
              <a:gd name="T10" fmla="*/ 185 w 3501"/>
              <a:gd name="T11" fmla="*/ 1400 h 3490"/>
              <a:gd name="T12" fmla="*/ 2615 w 3501"/>
              <a:gd name="T13" fmla="*/ 1671 h 3490"/>
              <a:gd name="T14" fmla="*/ 1773 w 3501"/>
              <a:gd name="T15" fmla="*/ 801 h 3490"/>
              <a:gd name="T16" fmla="*/ 1810 w 3501"/>
              <a:gd name="T17" fmla="*/ 737 h 3490"/>
              <a:gd name="T18" fmla="*/ 1883 w 3501"/>
              <a:gd name="T19" fmla="*/ 737 h 3490"/>
              <a:gd name="T20" fmla="*/ 2864 w 3501"/>
              <a:gd name="T21" fmla="*/ 1726 h 3490"/>
              <a:gd name="T22" fmla="*/ 2845 w 3501"/>
              <a:gd name="T23" fmla="*/ 1797 h 3490"/>
              <a:gd name="T24" fmla="*/ 1847 w 3501"/>
              <a:gd name="T25" fmla="*/ 2763 h 3490"/>
              <a:gd name="T26" fmla="*/ 1783 w 3501"/>
              <a:gd name="T27" fmla="*/ 2725 h 3490"/>
              <a:gd name="T28" fmla="*/ 1783 w 3501"/>
              <a:gd name="T29" fmla="*/ 2653 h 3490"/>
              <a:gd name="T30" fmla="*/ 156 w 3501"/>
              <a:gd name="T31" fmla="*/ 1910 h 3490"/>
              <a:gd name="T32" fmla="*/ 233 w 3501"/>
              <a:gd name="T33" fmla="*/ 2263 h 3490"/>
              <a:gd name="T34" fmla="*/ 388 w 3501"/>
              <a:gd name="T35" fmla="*/ 2589 h 3490"/>
              <a:gd name="T36" fmla="*/ 617 w 3501"/>
              <a:gd name="T37" fmla="*/ 2875 h 3490"/>
              <a:gd name="T38" fmla="*/ 922 w 3501"/>
              <a:gd name="T39" fmla="*/ 3113 h 3490"/>
              <a:gd name="T40" fmla="*/ 1272 w 3501"/>
              <a:gd name="T41" fmla="*/ 3270 h 3490"/>
              <a:gd name="T42" fmla="*/ 1652 w 3501"/>
              <a:gd name="T43" fmla="*/ 3340 h 3490"/>
              <a:gd name="T44" fmla="*/ 2042 w 3501"/>
              <a:gd name="T45" fmla="*/ 3316 h 3490"/>
              <a:gd name="T46" fmla="*/ 2409 w 3501"/>
              <a:gd name="T47" fmla="*/ 3203 h 3490"/>
              <a:gd name="T48" fmla="*/ 2737 w 3501"/>
              <a:gd name="T49" fmla="*/ 3005 h 3490"/>
              <a:gd name="T50" fmla="*/ 3014 w 3501"/>
              <a:gd name="T51" fmla="*/ 2728 h 3490"/>
              <a:gd name="T52" fmla="*/ 3213 w 3501"/>
              <a:gd name="T53" fmla="*/ 2401 h 3490"/>
              <a:gd name="T54" fmla="*/ 3328 w 3501"/>
              <a:gd name="T55" fmla="*/ 2035 h 3490"/>
              <a:gd name="T56" fmla="*/ 3350 w 3501"/>
              <a:gd name="T57" fmla="*/ 1647 h 3490"/>
              <a:gd name="T58" fmla="*/ 3282 w 3501"/>
              <a:gd name="T59" fmla="*/ 1268 h 3490"/>
              <a:gd name="T60" fmla="*/ 3124 w 3501"/>
              <a:gd name="T61" fmla="*/ 919 h 3490"/>
              <a:gd name="T62" fmla="*/ 2884 w 3501"/>
              <a:gd name="T63" fmla="*/ 615 h 3490"/>
              <a:gd name="T64" fmla="*/ 2579 w 3501"/>
              <a:gd name="T65" fmla="*/ 375 h 3490"/>
              <a:gd name="T66" fmla="*/ 2229 w 3501"/>
              <a:gd name="T67" fmla="*/ 219 h 3490"/>
              <a:gd name="T68" fmla="*/ 1849 w 3501"/>
              <a:gd name="T69" fmla="*/ 150 h 3490"/>
              <a:gd name="T70" fmla="*/ 1950 w 3501"/>
              <a:gd name="T71" fmla="*/ 11 h 3490"/>
              <a:gd name="T72" fmla="*/ 2330 w 3501"/>
              <a:gd name="T73" fmla="*/ 97 h 3490"/>
              <a:gd name="T74" fmla="*/ 2680 w 3501"/>
              <a:gd name="T75" fmla="*/ 265 h 3490"/>
              <a:gd name="T76" fmla="*/ 2989 w 3501"/>
              <a:gd name="T77" fmla="*/ 511 h 3490"/>
              <a:gd name="T78" fmla="*/ 3235 w 3501"/>
              <a:gd name="T79" fmla="*/ 818 h 3490"/>
              <a:gd name="T80" fmla="*/ 3404 w 3501"/>
              <a:gd name="T81" fmla="*/ 1167 h 3490"/>
              <a:gd name="T82" fmla="*/ 3490 w 3501"/>
              <a:gd name="T83" fmla="*/ 1547 h 3490"/>
              <a:gd name="T84" fmla="*/ 3490 w 3501"/>
              <a:gd name="T85" fmla="*/ 1942 h 3490"/>
              <a:gd name="T86" fmla="*/ 3404 w 3501"/>
              <a:gd name="T87" fmla="*/ 2322 h 3490"/>
              <a:gd name="T88" fmla="*/ 3235 w 3501"/>
              <a:gd name="T89" fmla="*/ 2672 h 3490"/>
              <a:gd name="T90" fmla="*/ 2989 w 3501"/>
              <a:gd name="T91" fmla="*/ 2979 h 3490"/>
              <a:gd name="T92" fmla="*/ 2680 w 3501"/>
              <a:gd name="T93" fmla="*/ 3224 h 3490"/>
              <a:gd name="T94" fmla="*/ 2330 w 3501"/>
              <a:gd name="T95" fmla="*/ 3393 h 3490"/>
              <a:gd name="T96" fmla="*/ 1950 w 3501"/>
              <a:gd name="T97" fmla="*/ 3479 h 3490"/>
              <a:gd name="T98" fmla="*/ 1651 w 3501"/>
              <a:gd name="T99" fmla="*/ 3487 h 3490"/>
              <a:gd name="T100" fmla="*/ 1264 w 3501"/>
              <a:gd name="T101" fmla="*/ 3422 h 3490"/>
              <a:gd name="T102" fmla="*/ 905 w 3501"/>
              <a:gd name="T103" fmla="*/ 3273 h 3490"/>
              <a:gd name="T104" fmla="*/ 585 w 3501"/>
              <a:gd name="T105" fmla="*/ 3047 h 3490"/>
              <a:gd name="T106" fmla="*/ 321 w 3501"/>
              <a:gd name="T107" fmla="*/ 2753 h 3490"/>
              <a:gd name="T108" fmla="*/ 133 w 3501"/>
              <a:gd name="T109" fmla="*/ 2413 h 3490"/>
              <a:gd name="T110" fmla="*/ 25 w 3501"/>
              <a:gd name="T111" fmla="*/ 2040 h 3490"/>
              <a:gd name="T112" fmla="*/ 3 w 3501"/>
              <a:gd name="T113" fmla="*/ 1646 h 3490"/>
              <a:gd name="T114" fmla="*/ 68 w 3501"/>
              <a:gd name="T115" fmla="*/ 1260 h 3490"/>
              <a:gd name="T116" fmla="*/ 217 w 3501"/>
              <a:gd name="T117" fmla="*/ 902 h 3490"/>
              <a:gd name="T118" fmla="*/ 444 w 3501"/>
              <a:gd name="T119" fmla="*/ 583 h 3490"/>
              <a:gd name="T120" fmla="*/ 739 w 3501"/>
              <a:gd name="T121" fmla="*/ 320 h 3490"/>
              <a:gd name="T122" fmla="*/ 1081 w 3501"/>
              <a:gd name="T123" fmla="*/ 132 h 3490"/>
              <a:gd name="T124" fmla="*/ 1454 w 3501"/>
              <a:gd name="T125" fmla="*/ 24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01" h="3490">
                <a:moveTo>
                  <a:pt x="1751" y="147"/>
                </a:moveTo>
                <a:lnTo>
                  <a:pt x="1652" y="150"/>
                </a:lnTo>
                <a:lnTo>
                  <a:pt x="1555" y="159"/>
                </a:lnTo>
                <a:lnTo>
                  <a:pt x="1459" y="173"/>
                </a:lnTo>
                <a:lnTo>
                  <a:pt x="1365" y="193"/>
                </a:lnTo>
                <a:lnTo>
                  <a:pt x="1272" y="219"/>
                </a:lnTo>
                <a:lnTo>
                  <a:pt x="1181" y="251"/>
                </a:lnTo>
                <a:lnTo>
                  <a:pt x="1092" y="287"/>
                </a:lnTo>
                <a:lnTo>
                  <a:pt x="1007" y="328"/>
                </a:lnTo>
                <a:lnTo>
                  <a:pt x="922" y="375"/>
                </a:lnTo>
                <a:lnTo>
                  <a:pt x="842" y="428"/>
                </a:lnTo>
                <a:lnTo>
                  <a:pt x="764" y="485"/>
                </a:lnTo>
                <a:lnTo>
                  <a:pt x="689" y="548"/>
                </a:lnTo>
                <a:lnTo>
                  <a:pt x="617" y="615"/>
                </a:lnTo>
                <a:lnTo>
                  <a:pt x="553" y="683"/>
                </a:lnTo>
                <a:lnTo>
                  <a:pt x="494" y="752"/>
                </a:lnTo>
                <a:lnTo>
                  <a:pt x="440" y="825"/>
                </a:lnTo>
                <a:lnTo>
                  <a:pt x="388" y="901"/>
                </a:lnTo>
                <a:lnTo>
                  <a:pt x="343" y="979"/>
                </a:lnTo>
                <a:lnTo>
                  <a:pt x="302" y="1059"/>
                </a:lnTo>
                <a:lnTo>
                  <a:pt x="265" y="1141"/>
                </a:lnTo>
                <a:lnTo>
                  <a:pt x="233" y="1225"/>
                </a:lnTo>
                <a:lnTo>
                  <a:pt x="207" y="1312"/>
                </a:lnTo>
                <a:lnTo>
                  <a:pt x="185" y="1400"/>
                </a:lnTo>
                <a:lnTo>
                  <a:pt x="168" y="1489"/>
                </a:lnTo>
                <a:lnTo>
                  <a:pt x="156" y="1580"/>
                </a:lnTo>
                <a:lnTo>
                  <a:pt x="150" y="1671"/>
                </a:lnTo>
                <a:lnTo>
                  <a:pt x="2615" y="1671"/>
                </a:lnTo>
                <a:lnTo>
                  <a:pt x="1794" y="853"/>
                </a:lnTo>
                <a:lnTo>
                  <a:pt x="1783" y="837"/>
                </a:lnTo>
                <a:lnTo>
                  <a:pt x="1775" y="820"/>
                </a:lnTo>
                <a:lnTo>
                  <a:pt x="1773" y="801"/>
                </a:lnTo>
                <a:lnTo>
                  <a:pt x="1775" y="783"/>
                </a:lnTo>
                <a:lnTo>
                  <a:pt x="1783" y="765"/>
                </a:lnTo>
                <a:lnTo>
                  <a:pt x="1794" y="749"/>
                </a:lnTo>
                <a:lnTo>
                  <a:pt x="1810" y="737"/>
                </a:lnTo>
                <a:lnTo>
                  <a:pt x="1828" y="731"/>
                </a:lnTo>
                <a:lnTo>
                  <a:pt x="1847" y="727"/>
                </a:lnTo>
                <a:lnTo>
                  <a:pt x="1865" y="729"/>
                </a:lnTo>
                <a:lnTo>
                  <a:pt x="1883" y="737"/>
                </a:lnTo>
                <a:lnTo>
                  <a:pt x="1899" y="749"/>
                </a:lnTo>
                <a:lnTo>
                  <a:pt x="2845" y="1693"/>
                </a:lnTo>
                <a:lnTo>
                  <a:pt x="2858" y="1709"/>
                </a:lnTo>
                <a:lnTo>
                  <a:pt x="2864" y="1726"/>
                </a:lnTo>
                <a:lnTo>
                  <a:pt x="2868" y="1745"/>
                </a:lnTo>
                <a:lnTo>
                  <a:pt x="2864" y="1763"/>
                </a:lnTo>
                <a:lnTo>
                  <a:pt x="2858" y="1781"/>
                </a:lnTo>
                <a:lnTo>
                  <a:pt x="2845" y="1797"/>
                </a:lnTo>
                <a:lnTo>
                  <a:pt x="1899" y="2740"/>
                </a:lnTo>
                <a:lnTo>
                  <a:pt x="1883" y="2753"/>
                </a:lnTo>
                <a:lnTo>
                  <a:pt x="1865" y="2759"/>
                </a:lnTo>
                <a:lnTo>
                  <a:pt x="1847" y="2763"/>
                </a:lnTo>
                <a:lnTo>
                  <a:pt x="1828" y="2759"/>
                </a:lnTo>
                <a:lnTo>
                  <a:pt x="1810" y="2753"/>
                </a:lnTo>
                <a:lnTo>
                  <a:pt x="1794" y="2740"/>
                </a:lnTo>
                <a:lnTo>
                  <a:pt x="1783" y="2725"/>
                </a:lnTo>
                <a:lnTo>
                  <a:pt x="1775" y="2707"/>
                </a:lnTo>
                <a:lnTo>
                  <a:pt x="1773" y="2689"/>
                </a:lnTo>
                <a:lnTo>
                  <a:pt x="1775" y="2670"/>
                </a:lnTo>
                <a:lnTo>
                  <a:pt x="1783" y="2653"/>
                </a:lnTo>
                <a:lnTo>
                  <a:pt x="1794" y="2637"/>
                </a:lnTo>
                <a:lnTo>
                  <a:pt x="2615" y="1819"/>
                </a:lnTo>
                <a:lnTo>
                  <a:pt x="150" y="1819"/>
                </a:lnTo>
                <a:lnTo>
                  <a:pt x="156" y="1910"/>
                </a:lnTo>
                <a:lnTo>
                  <a:pt x="168" y="2001"/>
                </a:lnTo>
                <a:lnTo>
                  <a:pt x="185" y="2089"/>
                </a:lnTo>
                <a:lnTo>
                  <a:pt x="207" y="2178"/>
                </a:lnTo>
                <a:lnTo>
                  <a:pt x="233" y="2263"/>
                </a:lnTo>
                <a:lnTo>
                  <a:pt x="265" y="2349"/>
                </a:lnTo>
                <a:lnTo>
                  <a:pt x="302" y="2431"/>
                </a:lnTo>
                <a:lnTo>
                  <a:pt x="343" y="2511"/>
                </a:lnTo>
                <a:lnTo>
                  <a:pt x="388" y="2589"/>
                </a:lnTo>
                <a:lnTo>
                  <a:pt x="440" y="2664"/>
                </a:lnTo>
                <a:lnTo>
                  <a:pt x="494" y="2738"/>
                </a:lnTo>
                <a:lnTo>
                  <a:pt x="553" y="2807"/>
                </a:lnTo>
                <a:lnTo>
                  <a:pt x="617" y="2875"/>
                </a:lnTo>
                <a:lnTo>
                  <a:pt x="689" y="2942"/>
                </a:lnTo>
                <a:lnTo>
                  <a:pt x="764" y="3005"/>
                </a:lnTo>
                <a:lnTo>
                  <a:pt x="842" y="3061"/>
                </a:lnTo>
                <a:lnTo>
                  <a:pt x="922" y="3113"/>
                </a:lnTo>
                <a:lnTo>
                  <a:pt x="1007" y="3161"/>
                </a:lnTo>
                <a:lnTo>
                  <a:pt x="1092" y="3203"/>
                </a:lnTo>
                <a:lnTo>
                  <a:pt x="1181" y="3239"/>
                </a:lnTo>
                <a:lnTo>
                  <a:pt x="1272" y="3270"/>
                </a:lnTo>
                <a:lnTo>
                  <a:pt x="1365" y="3297"/>
                </a:lnTo>
                <a:lnTo>
                  <a:pt x="1459" y="3316"/>
                </a:lnTo>
                <a:lnTo>
                  <a:pt x="1555" y="3331"/>
                </a:lnTo>
                <a:lnTo>
                  <a:pt x="1652" y="3340"/>
                </a:lnTo>
                <a:lnTo>
                  <a:pt x="1751" y="3343"/>
                </a:lnTo>
                <a:lnTo>
                  <a:pt x="1849" y="3340"/>
                </a:lnTo>
                <a:lnTo>
                  <a:pt x="1946" y="3331"/>
                </a:lnTo>
                <a:lnTo>
                  <a:pt x="2042" y="3316"/>
                </a:lnTo>
                <a:lnTo>
                  <a:pt x="2137" y="3297"/>
                </a:lnTo>
                <a:lnTo>
                  <a:pt x="2229" y="3270"/>
                </a:lnTo>
                <a:lnTo>
                  <a:pt x="2320" y="3239"/>
                </a:lnTo>
                <a:lnTo>
                  <a:pt x="2409" y="3203"/>
                </a:lnTo>
                <a:lnTo>
                  <a:pt x="2494" y="3161"/>
                </a:lnTo>
                <a:lnTo>
                  <a:pt x="2579" y="3113"/>
                </a:lnTo>
                <a:lnTo>
                  <a:pt x="2659" y="3061"/>
                </a:lnTo>
                <a:lnTo>
                  <a:pt x="2737" y="3005"/>
                </a:lnTo>
                <a:lnTo>
                  <a:pt x="2812" y="2942"/>
                </a:lnTo>
                <a:lnTo>
                  <a:pt x="2884" y="2875"/>
                </a:lnTo>
                <a:lnTo>
                  <a:pt x="2951" y="2803"/>
                </a:lnTo>
                <a:lnTo>
                  <a:pt x="3014" y="2728"/>
                </a:lnTo>
                <a:lnTo>
                  <a:pt x="3072" y="2651"/>
                </a:lnTo>
                <a:lnTo>
                  <a:pt x="3124" y="2571"/>
                </a:lnTo>
                <a:lnTo>
                  <a:pt x="3171" y="2486"/>
                </a:lnTo>
                <a:lnTo>
                  <a:pt x="3213" y="2401"/>
                </a:lnTo>
                <a:lnTo>
                  <a:pt x="3250" y="2312"/>
                </a:lnTo>
                <a:lnTo>
                  <a:pt x="3282" y="2222"/>
                </a:lnTo>
                <a:lnTo>
                  <a:pt x="3307" y="2130"/>
                </a:lnTo>
                <a:lnTo>
                  <a:pt x="3328" y="2035"/>
                </a:lnTo>
                <a:lnTo>
                  <a:pt x="3342" y="1940"/>
                </a:lnTo>
                <a:lnTo>
                  <a:pt x="3350" y="1843"/>
                </a:lnTo>
                <a:lnTo>
                  <a:pt x="3353" y="1745"/>
                </a:lnTo>
                <a:lnTo>
                  <a:pt x="3350" y="1647"/>
                </a:lnTo>
                <a:lnTo>
                  <a:pt x="3342" y="1550"/>
                </a:lnTo>
                <a:lnTo>
                  <a:pt x="3328" y="1455"/>
                </a:lnTo>
                <a:lnTo>
                  <a:pt x="3307" y="1360"/>
                </a:lnTo>
                <a:lnTo>
                  <a:pt x="3282" y="1268"/>
                </a:lnTo>
                <a:lnTo>
                  <a:pt x="3250" y="1177"/>
                </a:lnTo>
                <a:lnTo>
                  <a:pt x="3213" y="1089"/>
                </a:lnTo>
                <a:lnTo>
                  <a:pt x="3171" y="1004"/>
                </a:lnTo>
                <a:lnTo>
                  <a:pt x="3124" y="919"/>
                </a:lnTo>
                <a:lnTo>
                  <a:pt x="3072" y="839"/>
                </a:lnTo>
                <a:lnTo>
                  <a:pt x="3014" y="761"/>
                </a:lnTo>
                <a:lnTo>
                  <a:pt x="2951" y="687"/>
                </a:lnTo>
                <a:lnTo>
                  <a:pt x="2884" y="615"/>
                </a:lnTo>
                <a:lnTo>
                  <a:pt x="2812" y="548"/>
                </a:lnTo>
                <a:lnTo>
                  <a:pt x="2737" y="485"/>
                </a:lnTo>
                <a:lnTo>
                  <a:pt x="2659" y="428"/>
                </a:lnTo>
                <a:lnTo>
                  <a:pt x="2579" y="375"/>
                </a:lnTo>
                <a:lnTo>
                  <a:pt x="2494" y="328"/>
                </a:lnTo>
                <a:lnTo>
                  <a:pt x="2409" y="287"/>
                </a:lnTo>
                <a:lnTo>
                  <a:pt x="2320" y="251"/>
                </a:lnTo>
                <a:lnTo>
                  <a:pt x="2229" y="219"/>
                </a:lnTo>
                <a:lnTo>
                  <a:pt x="2137" y="193"/>
                </a:lnTo>
                <a:lnTo>
                  <a:pt x="2042" y="173"/>
                </a:lnTo>
                <a:lnTo>
                  <a:pt x="1946" y="159"/>
                </a:lnTo>
                <a:lnTo>
                  <a:pt x="1849" y="150"/>
                </a:lnTo>
                <a:lnTo>
                  <a:pt x="1751" y="147"/>
                </a:lnTo>
                <a:close/>
                <a:moveTo>
                  <a:pt x="1751" y="0"/>
                </a:moveTo>
                <a:lnTo>
                  <a:pt x="1850" y="2"/>
                </a:lnTo>
                <a:lnTo>
                  <a:pt x="1950" y="11"/>
                </a:lnTo>
                <a:lnTo>
                  <a:pt x="2047" y="24"/>
                </a:lnTo>
                <a:lnTo>
                  <a:pt x="2142" y="44"/>
                </a:lnTo>
                <a:lnTo>
                  <a:pt x="2237" y="68"/>
                </a:lnTo>
                <a:lnTo>
                  <a:pt x="2330" y="97"/>
                </a:lnTo>
                <a:lnTo>
                  <a:pt x="2420" y="132"/>
                </a:lnTo>
                <a:lnTo>
                  <a:pt x="2509" y="172"/>
                </a:lnTo>
                <a:lnTo>
                  <a:pt x="2596" y="216"/>
                </a:lnTo>
                <a:lnTo>
                  <a:pt x="2680" y="265"/>
                </a:lnTo>
                <a:lnTo>
                  <a:pt x="2762" y="320"/>
                </a:lnTo>
                <a:lnTo>
                  <a:pt x="2840" y="379"/>
                </a:lnTo>
                <a:lnTo>
                  <a:pt x="2916" y="443"/>
                </a:lnTo>
                <a:lnTo>
                  <a:pt x="2989" y="511"/>
                </a:lnTo>
                <a:lnTo>
                  <a:pt x="3057" y="583"/>
                </a:lnTo>
                <a:lnTo>
                  <a:pt x="3121" y="659"/>
                </a:lnTo>
                <a:lnTo>
                  <a:pt x="3180" y="737"/>
                </a:lnTo>
                <a:lnTo>
                  <a:pt x="3235" y="818"/>
                </a:lnTo>
                <a:lnTo>
                  <a:pt x="3284" y="902"/>
                </a:lnTo>
                <a:lnTo>
                  <a:pt x="3329" y="989"/>
                </a:lnTo>
                <a:lnTo>
                  <a:pt x="3368" y="1077"/>
                </a:lnTo>
                <a:lnTo>
                  <a:pt x="3404" y="1167"/>
                </a:lnTo>
                <a:lnTo>
                  <a:pt x="3433" y="1260"/>
                </a:lnTo>
                <a:lnTo>
                  <a:pt x="3457" y="1355"/>
                </a:lnTo>
                <a:lnTo>
                  <a:pt x="3476" y="1449"/>
                </a:lnTo>
                <a:lnTo>
                  <a:pt x="3490" y="1547"/>
                </a:lnTo>
                <a:lnTo>
                  <a:pt x="3499" y="1646"/>
                </a:lnTo>
                <a:lnTo>
                  <a:pt x="3501" y="1745"/>
                </a:lnTo>
                <a:lnTo>
                  <a:pt x="3499" y="1844"/>
                </a:lnTo>
                <a:lnTo>
                  <a:pt x="3490" y="1942"/>
                </a:lnTo>
                <a:lnTo>
                  <a:pt x="3476" y="2040"/>
                </a:lnTo>
                <a:lnTo>
                  <a:pt x="3457" y="2135"/>
                </a:lnTo>
                <a:lnTo>
                  <a:pt x="3433" y="2230"/>
                </a:lnTo>
                <a:lnTo>
                  <a:pt x="3404" y="2322"/>
                </a:lnTo>
                <a:lnTo>
                  <a:pt x="3368" y="2413"/>
                </a:lnTo>
                <a:lnTo>
                  <a:pt x="3329" y="2501"/>
                </a:lnTo>
                <a:lnTo>
                  <a:pt x="3284" y="2588"/>
                </a:lnTo>
                <a:lnTo>
                  <a:pt x="3235" y="2672"/>
                </a:lnTo>
                <a:lnTo>
                  <a:pt x="3180" y="2753"/>
                </a:lnTo>
                <a:lnTo>
                  <a:pt x="3121" y="2831"/>
                </a:lnTo>
                <a:lnTo>
                  <a:pt x="3057" y="2907"/>
                </a:lnTo>
                <a:lnTo>
                  <a:pt x="2989" y="2979"/>
                </a:lnTo>
                <a:lnTo>
                  <a:pt x="2916" y="3047"/>
                </a:lnTo>
                <a:lnTo>
                  <a:pt x="2840" y="3111"/>
                </a:lnTo>
                <a:lnTo>
                  <a:pt x="2762" y="3170"/>
                </a:lnTo>
                <a:lnTo>
                  <a:pt x="2680" y="3224"/>
                </a:lnTo>
                <a:lnTo>
                  <a:pt x="2596" y="3273"/>
                </a:lnTo>
                <a:lnTo>
                  <a:pt x="2509" y="3318"/>
                </a:lnTo>
                <a:lnTo>
                  <a:pt x="2420" y="3358"/>
                </a:lnTo>
                <a:lnTo>
                  <a:pt x="2330" y="3393"/>
                </a:lnTo>
                <a:lnTo>
                  <a:pt x="2237" y="3422"/>
                </a:lnTo>
                <a:lnTo>
                  <a:pt x="2142" y="3446"/>
                </a:lnTo>
                <a:lnTo>
                  <a:pt x="2047" y="3465"/>
                </a:lnTo>
                <a:lnTo>
                  <a:pt x="1950" y="3479"/>
                </a:lnTo>
                <a:lnTo>
                  <a:pt x="1850" y="3487"/>
                </a:lnTo>
                <a:lnTo>
                  <a:pt x="1751" y="3490"/>
                </a:lnTo>
                <a:lnTo>
                  <a:pt x="1751" y="3490"/>
                </a:lnTo>
                <a:lnTo>
                  <a:pt x="1651" y="3487"/>
                </a:lnTo>
                <a:lnTo>
                  <a:pt x="1553" y="3479"/>
                </a:lnTo>
                <a:lnTo>
                  <a:pt x="1454" y="3465"/>
                </a:lnTo>
                <a:lnTo>
                  <a:pt x="1359" y="3446"/>
                </a:lnTo>
                <a:lnTo>
                  <a:pt x="1264" y="3422"/>
                </a:lnTo>
                <a:lnTo>
                  <a:pt x="1172" y="3393"/>
                </a:lnTo>
                <a:lnTo>
                  <a:pt x="1081" y="3358"/>
                </a:lnTo>
                <a:lnTo>
                  <a:pt x="992" y="3318"/>
                </a:lnTo>
                <a:lnTo>
                  <a:pt x="905" y="3273"/>
                </a:lnTo>
                <a:lnTo>
                  <a:pt x="821" y="3224"/>
                </a:lnTo>
                <a:lnTo>
                  <a:pt x="739" y="3170"/>
                </a:lnTo>
                <a:lnTo>
                  <a:pt x="661" y="3111"/>
                </a:lnTo>
                <a:lnTo>
                  <a:pt x="585" y="3047"/>
                </a:lnTo>
                <a:lnTo>
                  <a:pt x="513" y="2979"/>
                </a:lnTo>
                <a:lnTo>
                  <a:pt x="444" y="2907"/>
                </a:lnTo>
                <a:lnTo>
                  <a:pt x="380" y="2831"/>
                </a:lnTo>
                <a:lnTo>
                  <a:pt x="321" y="2753"/>
                </a:lnTo>
                <a:lnTo>
                  <a:pt x="266" y="2672"/>
                </a:lnTo>
                <a:lnTo>
                  <a:pt x="217" y="2588"/>
                </a:lnTo>
                <a:lnTo>
                  <a:pt x="172" y="2501"/>
                </a:lnTo>
                <a:lnTo>
                  <a:pt x="133" y="2413"/>
                </a:lnTo>
                <a:lnTo>
                  <a:pt x="97" y="2322"/>
                </a:lnTo>
                <a:lnTo>
                  <a:pt x="68" y="2230"/>
                </a:lnTo>
                <a:lnTo>
                  <a:pt x="44" y="2135"/>
                </a:lnTo>
                <a:lnTo>
                  <a:pt x="25" y="2040"/>
                </a:lnTo>
                <a:lnTo>
                  <a:pt x="11" y="1942"/>
                </a:lnTo>
                <a:lnTo>
                  <a:pt x="3" y="1844"/>
                </a:lnTo>
                <a:lnTo>
                  <a:pt x="0" y="1745"/>
                </a:lnTo>
                <a:lnTo>
                  <a:pt x="3" y="1646"/>
                </a:lnTo>
                <a:lnTo>
                  <a:pt x="11" y="1547"/>
                </a:lnTo>
                <a:lnTo>
                  <a:pt x="25" y="1449"/>
                </a:lnTo>
                <a:lnTo>
                  <a:pt x="44" y="1355"/>
                </a:lnTo>
                <a:lnTo>
                  <a:pt x="68" y="1260"/>
                </a:lnTo>
                <a:lnTo>
                  <a:pt x="97" y="1167"/>
                </a:lnTo>
                <a:lnTo>
                  <a:pt x="133" y="1077"/>
                </a:lnTo>
                <a:lnTo>
                  <a:pt x="172" y="989"/>
                </a:lnTo>
                <a:lnTo>
                  <a:pt x="217" y="902"/>
                </a:lnTo>
                <a:lnTo>
                  <a:pt x="266" y="818"/>
                </a:lnTo>
                <a:lnTo>
                  <a:pt x="321" y="737"/>
                </a:lnTo>
                <a:lnTo>
                  <a:pt x="380" y="659"/>
                </a:lnTo>
                <a:lnTo>
                  <a:pt x="444" y="583"/>
                </a:lnTo>
                <a:lnTo>
                  <a:pt x="513" y="511"/>
                </a:lnTo>
                <a:lnTo>
                  <a:pt x="585" y="443"/>
                </a:lnTo>
                <a:lnTo>
                  <a:pt x="661" y="379"/>
                </a:lnTo>
                <a:lnTo>
                  <a:pt x="739" y="320"/>
                </a:lnTo>
                <a:lnTo>
                  <a:pt x="821" y="265"/>
                </a:lnTo>
                <a:lnTo>
                  <a:pt x="905" y="216"/>
                </a:lnTo>
                <a:lnTo>
                  <a:pt x="992" y="172"/>
                </a:lnTo>
                <a:lnTo>
                  <a:pt x="1081" y="132"/>
                </a:lnTo>
                <a:lnTo>
                  <a:pt x="1172" y="97"/>
                </a:lnTo>
                <a:lnTo>
                  <a:pt x="1264" y="68"/>
                </a:lnTo>
                <a:lnTo>
                  <a:pt x="1359" y="44"/>
                </a:lnTo>
                <a:lnTo>
                  <a:pt x="1454" y="24"/>
                </a:lnTo>
                <a:lnTo>
                  <a:pt x="1553" y="11"/>
                </a:lnTo>
                <a:lnTo>
                  <a:pt x="1651" y="2"/>
                </a:lnTo>
                <a:lnTo>
                  <a:pt x="17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65" name="Freeform 113"/>
          <p:cNvSpPr>
            <a:spLocks noChangeAspect="1" noEditPoints="1"/>
          </p:cNvSpPr>
          <p:nvPr/>
        </p:nvSpPr>
        <p:spPr bwMode="auto">
          <a:xfrm>
            <a:off x="373340" y="5806446"/>
            <a:ext cx="285619" cy="285619"/>
          </a:xfrm>
          <a:custGeom>
            <a:avLst/>
            <a:gdLst>
              <a:gd name="T0" fmla="*/ 1455 w 3490"/>
              <a:gd name="T1" fmla="*/ 173 h 3490"/>
              <a:gd name="T2" fmla="*/ 1089 w 3490"/>
              <a:gd name="T3" fmla="*/ 287 h 3490"/>
              <a:gd name="T4" fmla="*/ 762 w 3490"/>
              <a:gd name="T5" fmla="*/ 485 h 3490"/>
              <a:gd name="T6" fmla="*/ 485 w 3490"/>
              <a:gd name="T7" fmla="*/ 761 h 3490"/>
              <a:gd name="T8" fmla="*/ 287 w 3490"/>
              <a:gd name="T9" fmla="*/ 1089 h 3490"/>
              <a:gd name="T10" fmla="*/ 174 w 3490"/>
              <a:gd name="T11" fmla="*/ 1455 h 3490"/>
              <a:gd name="T12" fmla="*/ 150 w 3490"/>
              <a:gd name="T13" fmla="*/ 1843 h 3490"/>
              <a:gd name="T14" fmla="*/ 220 w 3490"/>
              <a:gd name="T15" fmla="*/ 2222 h 3490"/>
              <a:gd name="T16" fmla="*/ 377 w 3490"/>
              <a:gd name="T17" fmla="*/ 2571 h 3490"/>
              <a:gd name="T18" fmla="*/ 615 w 3490"/>
              <a:gd name="T19" fmla="*/ 2875 h 3490"/>
              <a:gd name="T20" fmla="*/ 901 w 3490"/>
              <a:gd name="T21" fmla="*/ 3103 h 3490"/>
              <a:gd name="T22" fmla="*/ 1227 w 3490"/>
              <a:gd name="T23" fmla="*/ 3257 h 3490"/>
              <a:gd name="T24" fmla="*/ 1580 w 3490"/>
              <a:gd name="T25" fmla="*/ 3334 h 3490"/>
              <a:gd name="T26" fmla="*/ 837 w 3490"/>
              <a:gd name="T27" fmla="*/ 1713 h 3490"/>
              <a:gd name="T28" fmla="*/ 765 w 3490"/>
              <a:gd name="T29" fmla="*/ 1713 h 3490"/>
              <a:gd name="T30" fmla="*/ 727 w 3490"/>
              <a:gd name="T31" fmla="*/ 1649 h 3490"/>
              <a:gd name="T32" fmla="*/ 1693 w 3490"/>
              <a:gd name="T33" fmla="*/ 654 h 3490"/>
              <a:gd name="T34" fmla="*/ 1764 w 3490"/>
              <a:gd name="T35" fmla="*/ 635 h 3490"/>
              <a:gd name="T36" fmla="*/ 2753 w 3490"/>
              <a:gd name="T37" fmla="*/ 1613 h 3490"/>
              <a:gd name="T38" fmla="*/ 2753 w 3490"/>
              <a:gd name="T39" fmla="*/ 1685 h 3490"/>
              <a:gd name="T40" fmla="*/ 2689 w 3490"/>
              <a:gd name="T41" fmla="*/ 1723 h 3490"/>
              <a:gd name="T42" fmla="*/ 1819 w 3490"/>
              <a:gd name="T43" fmla="*/ 883 h 3490"/>
              <a:gd name="T44" fmla="*/ 2090 w 3490"/>
              <a:gd name="T45" fmla="*/ 3305 h 3490"/>
              <a:gd name="T46" fmla="*/ 2431 w 3490"/>
              <a:gd name="T47" fmla="*/ 3189 h 3490"/>
              <a:gd name="T48" fmla="*/ 2738 w 3490"/>
              <a:gd name="T49" fmla="*/ 2997 h 3490"/>
              <a:gd name="T50" fmla="*/ 3005 w 3490"/>
              <a:gd name="T51" fmla="*/ 2728 h 3490"/>
              <a:gd name="T52" fmla="*/ 3203 w 3490"/>
              <a:gd name="T53" fmla="*/ 2401 h 3490"/>
              <a:gd name="T54" fmla="*/ 3317 w 3490"/>
              <a:gd name="T55" fmla="*/ 2035 h 3490"/>
              <a:gd name="T56" fmla="*/ 3340 w 3490"/>
              <a:gd name="T57" fmla="*/ 1647 h 3490"/>
              <a:gd name="T58" fmla="*/ 3271 w 3490"/>
              <a:gd name="T59" fmla="*/ 1268 h 3490"/>
              <a:gd name="T60" fmla="*/ 3115 w 3490"/>
              <a:gd name="T61" fmla="*/ 919 h 3490"/>
              <a:gd name="T62" fmla="*/ 2875 w 3490"/>
              <a:gd name="T63" fmla="*/ 615 h 3490"/>
              <a:gd name="T64" fmla="*/ 2571 w 3490"/>
              <a:gd name="T65" fmla="*/ 375 h 3490"/>
              <a:gd name="T66" fmla="*/ 2222 w 3490"/>
              <a:gd name="T67" fmla="*/ 219 h 3490"/>
              <a:gd name="T68" fmla="*/ 1843 w 3490"/>
              <a:gd name="T69" fmla="*/ 150 h 3490"/>
              <a:gd name="T70" fmla="*/ 1943 w 3490"/>
              <a:gd name="T71" fmla="*/ 11 h 3490"/>
              <a:gd name="T72" fmla="*/ 2323 w 3490"/>
              <a:gd name="T73" fmla="*/ 97 h 3490"/>
              <a:gd name="T74" fmla="*/ 2672 w 3490"/>
              <a:gd name="T75" fmla="*/ 265 h 3490"/>
              <a:gd name="T76" fmla="*/ 2979 w 3490"/>
              <a:gd name="T77" fmla="*/ 511 h 3490"/>
              <a:gd name="T78" fmla="*/ 3225 w 3490"/>
              <a:gd name="T79" fmla="*/ 818 h 3490"/>
              <a:gd name="T80" fmla="*/ 3393 w 3490"/>
              <a:gd name="T81" fmla="*/ 1167 h 3490"/>
              <a:gd name="T82" fmla="*/ 3479 w 3490"/>
              <a:gd name="T83" fmla="*/ 1547 h 3490"/>
              <a:gd name="T84" fmla="*/ 3479 w 3490"/>
              <a:gd name="T85" fmla="*/ 1942 h 3490"/>
              <a:gd name="T86" fmla="*/ 3393 w 3490"/>
              <a:gd name="T87" fmla="*/ 2322 h 3490"/>
              <a:gd name="T88" fmla="*/ 3225 w 3490"/>
              <a:gd name="T89" fmla="*/ 2672 h 3490"/>
              <a:gd name="T90" fmla="*/ 2979 w 3490"/>
              <a:gd name="T91" fmla="*/ 2979 h 3490"/>
              <a:gd name="T92" fmla="*/ 2672 w 3490"/>
              <a:gd name="T93" fmla="*/ 3224 h 3490"/>
              <a:gd name="T94" fmla="*/ 2323 w 3490"/>
              <a:gd name="T95" fmla="*/ 3393 h 3490"/>
              <a:gd name="T96" fmla="*/ 1943 w 3490"/>
              <a:gd name="T97" fmla="*/ 3479 h 3490"/>
              <a:gd name="T98" fmla="*/ 1646 w 3490"/>
              <a:gd name="T99" fmla="*/ 3487 h 3490"/>
              <a:gd name="T100" fmla="*/ 1260 w 3490"/>
              <a:gd name="T101" fmla="*/ 3422 h 3490"/>
              <a:gd name="T102" fmla="*/ 902 w 3490"/>
              <a:gd name="T103" fmla="*/ 3273 h 3490"/>
              <a:gd name="T104" fmla="*/ 583 w 3490"/>
              <a:gd name="T105" fmla="*/ 3047 h 3490"/>
              <a:gd name="T106" fmla="*/ 320 w 3490"/>
              <a:gd name="T107" fmla="*/ 2753 h 3490"/>
              <a:gd name="T108" fmla="*/ 132 w 3490"/>
              <a:gd name="T109" fmla="*/ 2413 h 3490"/>
              <a:gd name="T110" fmla="*/ 25 w 3490"/>
              <a:gd name="T111" fmla="*/ 2040 h 3490"/>
              <a:gd name="T112" fmla="*/ 3 w 3490"/>
              <a:gd name="T113" fmla="*/ 1646 h 3490"/>
              <a:gd name="T114" fmla="*/ 68 w 3490"/>
              <a:gd name="T115" fmla="*/ 1260 h 3490"/>
              <a:gd name="T116" fmla="*/ 217 w 3490"/>
              <a:gd name="T117" fmla="*/ 902 h 3490"/>
              <a:gd name="T118" fmla="*/ 443 w 3490"/>
              <a:gd name="T119" fmla="*/ 583 h 3490"/>
              <a:gd name="T120" fmla="*/ 737 w 3490"/>
              <a:gd name="T121" fmla="*/ 320 h 3490"/>
              <a:gd name="T122" fmla="*/ 1077 w 3490"/>
              <a:gd name="T123" fmla="*/ 132 h 3490"/>
              <a:gd name="T124" fmla="*/ 1450 w 3490"/>
              <a:gd name="T125" fmla="*/ 24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0" h="3490">
                <a:moveTo>
                  <a:pt x="1745" y="147"/>
                </a:moveTo>
                <a:lnTo>
                  <a:pt x="1647" y="150"/>
                </a:lnTo>
                <a:lnTo>
                  <a:pt x="1550" y="159"/>
                </a:lnTo>
                <a:lnTo>
                  <a:pt x="1455" y="173"/>
                </a:lnTo>
                <a:lnTo>
                  <a:pt x="1361" y="193"/>
                </a:lnTo>
                <a:lnTo>
                  <a:pt x="1268" y="219"/>
                </a:lnTo>
                <a:lnTo>
                  <a:pt x="1178" y="251"/>
                </a:lnTo>
                <a:lnTo>
                  <a:pt x="1089" y="287"/>
                </a:lnTo>
                <a:lnTo>
                  <a:pt x="1004" y="328"/>
                </a:lnTo>
                <a:lnTo>
                  <a:pt x="919" y="375"/>
                </a:lnTo>
                <a:lnTo>
                  <a:pt x="839" y="428"/>
                </a:lnTo>
                <a:lnTo>
                  <a:pt x="762" y="485"/>
                </a:lnTo>
                <a:lnTo>
                  <a:pt x="687" y="548"/>
                </a:lnTo>
                <a:lnTo>
                  <a:pt x="615" y="615"/>
                </a:lnTo>
                <a:lnTo>
                  <a:pt x="548" y="687"/>
                </a:lnTo>
                <a:lnTo>
                  <a:pt x="485" y="761"/>
                </a:lnTo>
                <a:lnTo>
                  <a:pt x="429" y="839"/>
                </a:lnTo>
                <a:lnTo>
                  <a:pt x="377" y="919"/>
                </a:lnTo>
                <a:lnTo>
                  <a:pt x="329" y="1004"/>
                </a:lnTo>
                <a:lnTo>
                  <a:pt x="287" y="1089"/>
                </a:lnTo>
                <a:lnTo>
                  <a:pt x="251" y="1177"/>
                </a:lnTo>
                <a:lnTo>
                  <a:pt x="220" y="1268"/>
                </a:lnTo>
                <a:lnTo>
                  <a:pt x="193" y="1360"/>
                </a:lnTo>
                <a:lnTo>
                  <a:pt x="174" y="1455"/>
                </a:lnTo>
                <a:lnTo>
                  <a:pt x="159" y="1550"/>
                </a:lnTo>
                <a:lnTo>
                  <a:pt x="150" y="1647"/>
                </a:lnTo>
                <a:lnTo>
                  <a:pt x="147" y="1745"/>
                </a:lnTo>
                <a:lnTo>
                  <a:pt x="150" y="1843"/>
                </a:lnTo>
                <a:lnTo>
                  <a:pt x="159" y="1940"/>
                </a:lnTo>
                <a:lnTo>
                  <a:pt x="174" y="2035"/>
                </a:lnTo>
                <a:lnTo>
                  <a:pt x="193" y="2130"/>
                </a:lnTo>
                <a:lnTo>
                  <a:pt x="220" y="2222"/>
                </a:lnTo>
                <a:lnTo>
                  <a:pt x="251" y="2312"/>
                </a:lnTo>
                <a:lnTo>
                  <a:pt x="287" y="2401"/>
                </a:lnTo>
                <a:lnTo>
                  <a:pt x="329" y="2486"/>
                </a:lnTo>
                <a:lnTo>
                  <a:pt x="377" y="2571"/>
                </a:lnTo>
                <a:lnTo>
                  <a:pt x="429" y="2651"/>
                </a:lnTo>
                <a:lnTo>
                  <a:pt x="485" y="2728"/>
                </a:lnTo>
                <a:lnTo>
                  <a:pt x="548" y="2803"/>
                </a:lnTo>
                <a:lnTo>
                  <a:pt x="615" y="2875"/>
                </a:lnTo>
                <a:lnTo>
                  <a:pt x="683" y="2939"/>
                </a:lnTo>
                <a:lnTo>
                  <a:pt x="752" y="2997"/>
                </a:lnTo>
                <a:lnTo>
                  <a:pt x="826" y="3052"/>
                </a:lnTo>
                <a:lnTo>
                  <a:pt x="901" y="3103"/>
                </a:lnTo>
                <a:lnTo>
                  <a:pt x="979" y="3148"/>
                </a:lnTo>
                <a:lnTo>
                  <a:pt x="1059" y="3189"/>
                </a:lnTo>
                <a:lnTo>
                  <a:pt x="1141" y="3225"/>
                </a:lnTo>
                <a:lnTo>
                  <a:pt x="1227" y="3257"/>
                </a:lnTo>
                <a:lnTo>
                  <a:pt x="1312" y="3284"/>
                </a:lnTo>
                <a:lnTo>
                  <a:pt x="1401" y="3305"/>
                </a:lnTo>
                <a:lnTo>
                  <a:pt x="1489" y="3323"/>
                </a:lnTo>
                <a:lnTo>
                  <a:pt x="1580" y="3334"/>
                </a:lnTo>
                <a:lnTo>
                  <a:pt x="1671" y="3341"/>
                </a:lnTo>
                <a:lnTo>
                  <a:pt x="1671" y="883"/>
                </a:lnTo>
                <a:lnTo>
                  <a:pt x="853" y="1701"/>
                </a:lnTo>
                <a:lnTo>
                  <a:pt x="837" y="1713"/>
                </a:lnTo>
                <a:lnTo>
                  <a:pt x="820" y="1720"/>
                </a:lnTo>
                <a:lnTo>
                  <a:pt x="801" y="1723"/>
                </a:lnTo>
                <a:lnTo>
                  <a:pt x="783" y="1720"/>
                </a:lnTo>
                <a:lnTo>
                  <a:pt x="765" y="1713"/>
                </a:lnTo>
                <a:lnTo>
                  <a:pt x="750" y="1701"/>
                </a:lnTo>
                <a:lnTo>
                  <a:pt x="737" y="1685"/>
                </a:lnTo>
                <a:lnTo>
                  <a:pt x="731" y="1668"/>
                </a:lnTo>
                <a:lnTo>
                  <a:pt x="727" y="1649"/>
                </a:lnTo>
                <a:lnTo>
                  <a:pt x="731" y="1631"/>
                </a:lnTo>
                <a:lnTo>
                  <a:pt x="737" y="1613"/>
                </a:lnTo>
                <a:lnTo>
                  <a:pt x="750" y="1597"/>
                </a:lnTo>
                <a:lnTo>
                  <a:pt x="1693" y="654"/>
                </a:lnTo>
                <a:lnTo>
                  <a:pt x="1709" y="641"/>
                </a:lnTo>
                <a:lnTo>
                  <a:pt x="1727" y="635"/>
                </a:lnTo>
                <a:lnTo>
                  <a:pt x="1745" y="631"/>
                </a:lnTo>
                <a:lnTo>
                  <a:pt x="1764" y="635"/>
                </a:lnTo>
                <a:lnTo>
                  <a:pt x="1781" y="641"/>
                </a:lnTo>
                <a:lnTo>
                  <a:pt x="1797" y="654"/>
                </a:lnTo>
                <a:lnTo>
                  <a:pt x="2741" y="1597"/>
                </a:lnTo>
                <a:lnTo>
                  <a:pt x="2753" y="1613"/>
                </a:lnTo>
                <a:lnTo>
                  <a:pt x="2759" y="1631"/>
                </a:lnTo>
                <a:lnTo>
                  <a:pt x="2763" y="1649"/>
                </a:lnTo>
                <a:lnTo>
                  <a:pt x="2759" y="1668"/>
                </a:lnTo>
                <a:lnTo>
                  <a:pt x="2753" y="1685"/>
                </a:lnTo>
                <a:lnTo>
                  <a:pt x="2741" y="1701"/>
                </a:lnTo>
                <a:lnTo>
                  <a:pt x="2725" y="1713"/>
                </a:lnTo>
                <a:lnTo>
                  <a:pt x="2707" y="1720"/>
                </a:lnTo>
                <a:lnTo>
                  <a:pt x="2689" y="1723"/>
                </a:lnTo>
                <a:lnTo>
                  <a:pt x="2670" y="1720"/>
                </a:lnTo>
                <a:lnTo>
                  <a:pt x="2653" y="1713"/>
                </a:lnTo>
                <a:lnTo>
                  <a:pt x="2637" y="1701"/>
                </a:lnTo>
                <a:lnTo>
                  <a:pt x="1819" y="883"/>
                </a:lnTo>
                <a:lnTo>
                  <a:pt x="1819" y="3341"/>
                </a:lnTo>
                <a:lnTo>
                  <a:pt x="1910" y="3334"/>
                </a:lnTo>
                <a:lnTo>
                  <a:pt x="2001" y="3323"/>
                </a:lnTo>
                <a:lnTo>
                  <a:pt x="2090" y="3305"/>
                </a:lnTo>
                <a:lnTo>
                  <a:pt x="2178" y="3284"/>
                </a:lnTo>
                <a:lnTo>
                  <a:pt x="2265" y="3257"/>
                </a:lnTo>
                <a:lnTo>
                  <a:pt x="2349" y="3225"/>
                </a:lnTo>
                <a:lnTo>
                  <a:pt x="2431" y="3189"/>
                </a:lnTo>
                <a:lnTo>
                  <a:pt x="2511" y="3148"/>
                </a:lnTo>
                <a:lnTo>
                  <a:pt x="2589" y="3103"/>
                </a:lnTo>
                <a:lnTo>
                  <a:pt x="2665" y="3052"/>
                </a:lnTo>
                <a:lnTo>
                  <a:pt x="2738" y="2997"/>
                </a:lnTo>
                <a:lnTo>
                  <a:pt x="2807" y="2939"/>
                </a:lnTo>
                <a:lnTo>
                  <a:pt x="2875" y="2875"/>
                </a:lnTo>
                <a:lnTo>
                  <a:pt x="2942" y="2803"/>
                </a:lnTo>
                <a:lnTo>
                  <a:pt x="3005" y="2728"/>
                </a:lnTo>
                <a:lnTo>
                  <a:pt x="3062" y="2651"/>
                </a:lnTo>
                <a:lnTo>
                  <a:pt x="3115" y="2571"/>
                </a:lnTo>
                <a:lnTo>
                  <a:pt x="3162" y="2486"/>
                </a:lnTo>
                <a:lnTo>
                  <a:pt x="3203" y="2401"/>
                </a:lnTo>
                <a:lnTo>
                  <a:pt x="3239" y="2312"/>
                </a:lnTo>
                <a:lnTo>
                  <a:pt x="3271" y="2222"/>
                </a:lnTo>
                <a:lnTo>
                  <a:pt x="3297" y="2129"/>
                </a:lnTo>
                <a:lnTo>
                  <a:pt x="3317" y="2035"/>
                </a:lnTo>
                <a:lnTo>
                  <a:pt x="3331" y="1940"/>
                </a:lnTo>
                <a:lnTo>
                  <a:pt x="3340" y="1843"/>
                </a:lnTo>
                <a:lnTo>
                  <a:pt x="3343" y="1745"/>
                </a:lnTo>
                <a:lnTo>
                  <a:pt x="3340" y="1647"/>
                </a:lnTo>
                <a:lnTo>
                  <a:pt x="3331" y="1550"/>
                </a:lnTo>
                <a:lnTo>
                  <a:pt x="3317" y="1455"/>
                </a:lnTo>
                <a:lnTo>
                  <a:pt x="3297" y="1360"/>
                </a:lnTo>
                <a:lnTo>
                  <a:pt x="3271" y="1268"/>
                </a:lnTo>
                <a:lnTo>
                  <a:pt x="3239" y="1177"/>
                </a:lnTo>
                <a:lnTo>
                  <a:pt x="3203" y="1089"/>
                </a:lnTo>
                <a:lnTo>
                  <a:pt x="3162" y="1004"/>
                </a:lnTo>
                <a:lnTo>
                  <a:pt x="3115" y="919"/>
                </a:lnTo>
                <a:lnTo>
                  <a:pt x="3062" y="839"/>
                </a:lnTo>
                <a:lnTo>
                  <a:pt x="3005" y="761"/>
                </a:lnTo>
                <a:lnTo>
                  <a:pt x="2942" y="687"/>
                </a:lnTo>
                <a:lnTo>
                  <a:pt x="2875" y="615"/>
                </a:lnTo>
                <a:lnTo>
                  <a:pt x="2803" y="548"/>
                </a:lnTo>
                <a:lnTo>
                  <a:pt x="2729" y="485"/>
                </a:lnTo>
                <a:lnTo>
                  <a:pt x="2651" y="428"/>
                </a:lnTo>
                <a:lnTo>
                  <a:pt x="2571" y="375"/>
                </a:lnTo>
                <a:lnTo>
                  <a:pt x="2486" y="328"/>
                </a:lnTo>
                <a:lnTo>
                  <a:pt x="2401" y="287"/>
                </a:lnTo>
                <a:lnTo>
                  <a:pt x="2313" y="251"/>
                </a:lnTo>
                <a:lnTo>
                  <a:pt x="2222" y="219"/>
                </a:lnTo>
                <a:lnTo>
                  <a:pt x="2130" y="193"/>
                </a:lnTo>
                <a:lnTo>
                  <a:pt x="2035" y="173"/>
                </a:lnTo>
                <a:lnTo>
                  <a:pt x="1940" y="159"/>
                </a:lnTo>
                <a:lnTo>
                  <a:pt x="1843" y="150"/>
                </a:lnTo>
                <a:lnTo>
                  <a:pt x="1745" y="147"/>
                </a:lnTo>
                <a:close/>
                <a:moveTo>
                  <a:pt x="1745" y="0"/>
                </a:moveTo>
                <a:lnTo>
                  <a:pt x="1844" y="2"/>
                </a:lnTo>
                <a:lnTo>
                  <a:pt x="1943" y="11"/>
                </a:lnTo>
                <a:lnTo>
                  <a:pt x="2041" y="24"/>
                </a:lnTo>
                <a:lnTo>
                  <a:pt x="2135" y="44"/>
                </a:lnTo>
                <a:lnTo>
                  <a:pt x="2230" y="68"/>
                </a:lnTo>
                <a:lnTo>
                  <a:pt x="2323" y="97"/>
                </a:lnTo>
                <a:lnTo>
                  <a:pt x="2413" y="132"/>
                </a:lnTo>
                <a:lnTo>
                  <a:pt x="2501" y="172"/>
                </a:lnTo>
                <a:lnTo>
                  <a:pt x="2588" y="216"/>
                </a:lnTo>
                <a:lnTo>
                  <a:pt x="2672" y="265"/>
                </a:lnTo>
                <a:lnTo>
                  <a:pt x="2753" y="320"/>
                </a:lnTo>
                <a:lnTo>
                  <a:pt x="2831" y="379"/>
                </a:lnTo>
                <a:lnTo>
                  <a:pt x="2907" y="443"/>
                </a:lnTo>
                <a:lnTo>
                  <a:pt x="2979" y="511"/>
                </a:lnTo>
                <a:lnTo>
                  <a:pt x="3047" y="583"/>
                </a:lnTo>
                <a:lnTo>
                  <a:pt x="3111" y="659"/>
                </a:lnTo>
                <a:lnTo>
                  <a:pt x="3170" y="737"/>
                </a:lnTo>
                <a:lnTo>
                  <a:pt x="3225" y="818"/>
                </a:lnTo>
                <a:lnTo>
                  <a:pt x="3274" y="902"/>
                </a:lnTo>
                <a:lnTo>
                  <a:pt x="3318" y="989"/>
                </a:lnTo>
                <a:lnTo>
                  <a:pt x="3358" y="1077"/>
                </a:lnTo>
                <a:lnTo>
                  <a:pt x="3393" y="1167"/>
                </a:lnTo>
                <a:lnTo>
                  <a:pt x="3422" y="1260"/>
                </a:lnTo>
                <a:lnTo>
                  <a:pt x="3446" y="1355"/>
                </a:lnTo>
                <a:lnTo>
                  <a:pt x="3466" y="1449"/>
                </a:lnTo>
                <a:lnTo>
                  <a:pt x="3479" y="1547"/>
                </a:lnTo>
                <a:lnTo>
                  <a:pt x="3488" y="1646"/>
                </a:lnTo>
                <a:lnTo>
                  <a:pt x="3490" y="1745"/>
                </a:lnTo>
                <a:lnTo>
                  <a:pt x="3488" y="1844"/>
                </a:lnTo>
                <a:lnTo>
                  <a:pt x="3479" y="1942"/>
                </a:lnTo>
                <a:lnTo>
                  <a:pt x="3466" y="2040"/>
                </a:lnTo>
                <a:lnTo>
                  <a:pt x="3446" y="2135"/>
                </a:lnTo>
                <a:lnTo>
                  <a:pt x="3422" y="2230"/>
                </a:lnTo>
                <a:lnTo>
                  <a:pt x="3393" y="2322"/>
                </a:lnTo>
                <a:lnTo>
                  <a:pt x="3358" y="2413"/>
                </a:lnTo>
                <a:lnTo>
                  <a:pt x="3318" y="2501"/>
                </a:lnTo>
                <a:lnTo>
                  <a:pt x="3274" y="2588"/>
                </a:lnTo>
                <a:lnTo>
                  <a:pt x="3225" y="2672"/>
                </a:lnTo>
                <a:lnTo>
                  <a:pt x="3170" y="2753"/>
                </a:lnTo>
                <a:lnTo>
                  <a:pt x="3111" y="2831"/>
                </a:lnTo>
                <a:lnTo>
                  <a:pt x="3047" y="2907"/>
                </a:lnTo>
                <a:lnTo>
                  <a:pt x="2979" y="2979"/>
                </a:lnTo>
                <a:lnTo>
                  <a:pt x="2907" y="3047"/>
                </a:lnTo>
                <a:lnTo>
                  <a:pt x="2831" y="3111"/>
                </a:lnTo>
                <a:lnTo>
                  <a:pt x="2753" y="3170"/>
                </a:lnTo>
                <a:lnTo>
                  <a:pt x="2672" y="3224"/>
                </a:lnTo>
                <a:lnTo>
                  <a:pt x="2588" y="3273"/>
                </a:lnTo>
                <a:lnTo>
                  <a:pt x="2501" y="3318"/>
                </a:lnTo>
                <a:lnTo>
                  <a:pt x="2413" y="3358"/>
                </a:lnTo>
                <a:lnTo>
                  <a:pt x="2323" y="3393"/>
                </a:lnTo>
                <a:lnTo>
                  <a:pt x="2230" y="3422"/>
                </a:lnTo>
                <a:lnTo>
                  <a:pt x="2135" y="3446"/>
                </a:lnTo>
                <a:lnTo>
                  <a:pt x="2041" y="3465"/>
                </a:lnTo>
                <a:lnTo>
                  <a:pt x="1943" y="3479"/>
                </a:lnTo>
                <a:lnTo>
                  <a:pt x="1844" y="3487"/>
                </a:lnTo>
                <a:lnTo>
                  <a:pt x="1745" y="3490"/>
                </a:lnTo>
                <a:lnTo>
                  <a:pt x="1745" y="3490"/>
                </a:lnTo>
                <a:lnTo>
                  <a:pt x="1646" y="3487"/>
                </a:lnTo>
                <a:lnTo>
                  <a:pt x="1548" y="3479"/>
                </a:lnTo>
                <a:lnTo>
                  <a:pt x="1450" y="3465"/>
                </a:lnTo>
                <a:lnTo>
                  <a:pt x="1355" y="3446"/>
                </a:lnTo>
                <a:lnTo>
                  <a:pt x="1260" y="3422"/>
                </a:lnTo>
                <a:lnTo>
                  <a:pt x="1168" y="3393"/>
                </a:lnTo>
                <a:lnTo>
                  <a:pt x="1077" y="3358"/>
                </a:lnTo>
                <a:lnTo>
                  <a:pt x="989" y="3318"/>
                </a:lnTo>
                <a:lnTo>
                  <a:pt x="902" y="3273"/>
                </a:lnTo>
                <a:lnTo>
                  <a:pt x="818" y="3224"/>
                </a:lnTo>
                <a:lnTo>
                  <a:pt x="737" y="3170"/>
                </a:lnTo>
                <a:lnTo>
                  <a:pt x="659" y="3111"/>
                </a:lnTo>
                <a:lnTo>
                  <a:pt x="583" y="3047"/>
                </a:lnTo>
                <a:lnTo>
                  <a:pt x="511" y="2979"/>
                </a:lnTo>
                <a:lnTo>
                  <a:pt x="443" y="2907"/>
                </a:lnTo>
                <a:lnTo>
                  <a:pt x="379" y="2831"/>
                </a:lnTo>
                <a:lnTo>
                  <a:pt x="320" y="2753"/>
                </a:lnTo>
                <a:lnTo>
                  <a:pt x="266" y="2672"/>
                </a:lnTo>
                <a:lnTo>
                  <a:pt x="217" y="2588"/>
                </a:lnTo>
                <a:lnTo>
                  <a:pt x="172" y="2501"/>
                </a:lnTo>
                <a:lnTo>
                  <a:pt x="132" y="2413"/>
                </a:lnTo>
                <a:lnTo>
                  <a:pt x="97" y="2322"/>
                </a:lnTo>
                <a:lnTo>
                  <a:pt x="68" y="2230"/>
                </a:lnTo>
                <a:lnTo>
                  <a:pt x="44" y="2135"/>
                </a:lnTo>
                <a:lnTo>
                  <a:pt x="25" y="2040"/>
                </a:lnTo>
                <a:lnTo>
                  <a:pt x="11" y="1942"/>
                </a:lnTo>
                <a:lnTo>
                  <a:pt x="3" y="1844"/>
                </a:lnTo>
                <a:lnTo>
                  <a:pt x="0" y="1745"/>
                </a:lnTo>
                <a:lnTo>
                  <a:pt x="3" y="1646"/>
                </a:lnTo>
                <a:lnTo>
                  <a:pt x="11" y="1547"/>
                </a:lnTo>
                <a:lnTo>
                  <a:pt x="25" y="1449"/>
                </a:lnTo>
                <a:lnTo>
                  <a:pt x="44" y="1355"/>
                </a:lnTo>
                <a:lnTo>
                  <a:pt x="68" y="1260"/>
                </a:lnTo>
                <a:lnTo>
                  <a:pt x="97" y="1167"/>
                </a:lnTo>
                <a:lnTo>
                  <a:pt x="132" y="1077"/>
                </a:lnTo>
                <a:lnTo>
                  <a:pt x="172" y="989"/>
                </a:lnTo>
                <a:lnTo>
                  <a:pt x="217" y="902"/>
                </a:lnTo>
                <a:lnTo>
                  <a:pt x="266" y="818"/>
                </a:lnTo>
                <a:lnTo>
                  <a:pt x="320" y="737"/>
                </a:lnTo>
                <a:lnTo>
                  <a:pt x="379" y="659"/>
                </a:lnTo>
                <a:lnTo>
                  <a:pt x="443" y="583"/>
                </a:lnTo>
                <a:lnTo>
                  <a:pt x="511" y="511"/>
                </a:lnTo>
                <a:lnTo>
                  <a:pt x="583" y="443"/>
                </a:lnTo>
                <a:lnTo>
                  <a:pt x="659" y="379"/>
                </a:lnTo>
                <a:lnTo>
                  <a:pt x="737" y="320"/>
                </a:lnTo>
                <a:lnTo>
                  <a:pt x="818" y="265"/>
                </a:lnTo>
                <a:lnTo>
                  <a:pt x="902" y="216"/>
                </a:lnTo>
                <a:lnTo>
                  <a:pt x="989" y="172"/>
                </a:lnTo>
                <a:lnTo>
                  <a:pt x="1077" y="132"/>
                </a:lnTo>
                <a:lnTo>
                  <a:pt x="1168" y="97"/>
                </a:lnTo>
                <a:lnTo>
                  <a:pt x="1260" y="68"/>
                </a:lnTo>
                <a:lnTo>
                  <a:pt x="1355" y="44"/>
                </a:lnTo>
                <a:lnTo>
                  <a:pt x="1450" y="24"/>
                </a:lnTo>
                <a:lnTo>
                  <a:pt x="1548" y="11"/>
                </a:lnTo>
                <a:lnTo>
                  <a:pt x="1646" y="2"/>
                </a:lnTo>
                <a:lnTo>
                  <a:pt x="174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nvGrpSpPr>
          <p:cNvPr id="75" name="Gruppieren 172"/>
          <p:cNvGrpSpPr/>
          <p:nvPr>
            <p:custDataLst>
              <p:tags r:id="rId25"/>
            </p:custDataLst>
          </p:nvPr>
        </p:nvGrpSpPr>
        <p:grpSpPr>
          <a:xfrm>
            <a:off x="9282561" y="3288707"/>
            <a:ext cx="361839" cy="1052507"/>
            <a:chOff x="1388343" y="1322203"/>
            <a:chExt cx="396044" cy="1152000"/>
          </a:xfrm>
          <a:effectLst/>
        </p:grpSpPr>
        <p:sp>
          <p:nvSpPr>
            <p:cNvPr id="76" name="Abgerundetes Rechteck 173"/>
            <p:cNvSpPr/>
            <p:nvPr>
              <p:custDataLst>
                <p:tags r:id="rId52"/>
              </p:custDataLst>
            </p:nvPr>
          </p:nvSpPr>
          <p:spPr>
            <a:xfrm>
              <a:off x="1388343" y="1322203"/>
              <a:ext cx="396044" cy="1152000"/>
            </a:xfrm>
            <a:prstGeom prst="roundRect">
              <a:avLst/>
            </a:prstGeom>
            <a:solidFill>
              <a:schemeClr val="accent6"/>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defRPr/>
              </a:pPr>
              <a:endParaRPr lang="de-DE" sz="1600" kern="0" dirty="0">
                <a:solidFill>
                  <a:srgbClr val="000000"/>
                </a:solidFill>
              </a:endParaRPr>
            </a:p>
          </p:txBody>
        </p:sp>
        <p:grpSp>
          <p:nvGrpSpPr>
            <p:cNvPr id="77" name="Gruppieren 174"/>
            <p:cNvGrpSpPr/>
            <p:nvPr/>
          </p:nvGrpSpPr>
          <p:grpSpPr>
            <a:xfrm>
              <a:off x="1442365" y="1418394"/>
              <a:ext cx="288000" cy="959619"/>
              <a:chOff x="1442365" y="1435705"/>
              <a:chExt cx="288000" cy="959619"/>
            </a:xfrm>
          </p:grpSpPr>
          <p:sp>
            <p:nvSpPr>
              <p:cNvPr id="78" name="Oval 39"/>
              <p:cNvSpPr/>
              <p:nvPr/>
            </p:nvSpPr>
            <p:spPr bwMode="auto">
              <a:xfrm>
                <a:off x="1442365" y="1435705"/>
                <a:ext cx="288000" cy="288000"/>
              </a:xfrm>
              <a:prstGeom prst="ellipse">
                <a:avLst/>
              </a:prstGeom>
              <a:solidFill>
                <a:srgbClr val="FF0000"/>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sp>
            <p:nvSpPr>
              <p:cNvPr id="79" name="Oval 40"/>
              <p:cNvSpPr/>
              <p:nvPr>
                <p:custDataLst>
                  <p:tags r:id="rId53"/>
                </p:custDataLst>
              </p:nvPr>
            </p:nvSpPr>
            <p:spPr bwMode="auto">
              <a:xfrm>
                <a:off x="1442365" y="1771514"/>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buFont typeface="Wingdings" pitchFamily="2" charset="2"/>
                  <a:buNone/>
                  <a:defRPr/>
                </a:pPr>
                <a:endParaRPr lang="de-DE" altLang="ko-KR" sz="2200" dirty="0">
                  <a:solidFill>
                    <a:srgbClr val="FFFFFF"/>
                  </a:solidFill>
                </a:endParaRPr>
              </a:p>
            </p:txBody>
          </p:sp>
          <p:sp>
            <p:nvSpPr>
              <p:cNvPr id="80" name="Oval 41"/>
              <p:cNvSpPr/>
              <p:nvPr>
                <p:custDataLst>
                  <p:tags r:id="rId54"/>
                </p:custDataLst>
              </p:nvPr>
            </p:nvSpPr>
            <p:spPr bwMode="auto">
              <a:xfrm>
                <a:off x="1442365" y="2107324"/>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grpSp>
      </p:grpSp>
      <p:grpSp>
        <p:nvGrpSpPr>
          <p:cNvPr id="81" name="Gruppieren 178"/>
          <p:cNvGrpSpPr/>
          <p:nvPr>
            <p:custDataLst>
              <p:tags r:id="rId26"/>
            </p:custDataLst>
          </p:nvPr>
        </p:nvGrpSpPr>
        <p:grpSpPr>
          <a:xfrm>
            <a:off x="8744970" y="3288707"/>
            <a:ext cx="361839" cy="1052507"/>
            <a:chOff x="850180" y="1322203"/>
            <a:chExt cx="396044" cy="1152000"/>
          </a:xfrm>
          <a:effectLst/>
        </p:grpSpPr>
        <p:sp>
          <p:nvSpPr>
            <p:cNvPr id="82" name="Abgerundetes Rechteck 179"/>
            <p:cNvSpPr/>
            <p:nvPr>
              <p:custDataLst>
                <p:tags r:id="rId48"/>
              </p:custDataLst>
            </p:nvPr>
          </p:nvSpPr>
          <p:spPr>
            <a:xfrm>
              <a:off x="850180" y="1322203"/>
              <a:ext cx="396044" cy="1152000"/>
            </a:xfrm>
            <a:prstGeom prst="roundRect">
              <a:avLst/>
            </a:prstGeom>
            <a:solidFill>
              <a:schemeClr val="accent6"/>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defRPr/>
              </a:pPr>
              <a:endParaRPr lang="de-DE" sz="1600" kern="0" dirty="0">
                <a:solidFill>
                  <a:srgbClr val="000000"/>
                </a:solidFill>
              </a:endParaRPr>
            </a:p>
          </p:txBody>
        </p:sp>
        <p:grpSp>
          <p:nvGrpSpPr>
            <p:cNvPr id="83" name="Gruppieren 180"/>
            <p:cNvGrpSpPr/>
            <p:nvPr/>
          </p:nvGrpSpPr>
          <p:grpSpPr>
            <a:xfrm>
              <a:off x="904202" y="1417930"/>
              <a:ext cx="288000" cy="960546"/>
              <a:chOff x="904202" y="1437438"/>
              <a:chExt cx="288000" cy="960546"/>
            </a:xfrm>
          </p:grpSpPr>
          <p:sp>
            <p:nvSpPr>
              <p:cNvPr id="84" name="Oval 21"/>
              <p:cNvSpPr/>
              <p:nvPr>
                <p:custDataLst>
                  <p:tags r:id="rId49"/>
                </p:custDataLst>
              </p:nvPr>
            </p:nvSpPr>
            <p:spPr bwMode="auto">
              <a:xfrm>
                <a:off x="904202" y="1437438"/>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buFont typeface="Wingdings" pitchFamily="2" charset="2"/>
                  <a:buNone/>
                  <a:defRPr/>
                </a:pPr>
                <a:endParaRPr lang="de-DE" altLang="ko-KR" sz="2200" dirty="0">
                  <a:solidFill>
                    <a:srgbClr val="FFFFFF"/>
                  </a:solidFill>
                </a:endParaRPr>
              </a:p>
            </p:txBody>
          </p:sp>
          <p:sp>
            <p:nvSpPr>
              <p:cNvPr id="85" name="Oval 22"/>
              <p:cNvSpPr/>
              <p:nvPr>
                <p:custDataLst>
                  <p:tags r:id="rId50"/>
                </p:custDataLst>
              </p:nvPr>
            </p:nvSpPr>
            <p:spPr bwMode="auto">
              <a:xfrm>
                <a:off x="904202" y="1773711"/>
                <a:ext cx="288000" cy="288000"/>
              </a:xfrm>
              <a:prstGeom prst="ellipse">
                <a:avLst/>
              </a:prstGeom>
              <a:solidFill>
                <a:srgbClr val="FFAF00"/>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sp>
            <p:nvSpPr>
              <p:cNvPr id="86" name="Oval 23"/>
              <p:cNvSpPr/>
              <p:nvPr>
                <p:custDataLst>
                  <p:tags r:id="rId51"/>
                </p:custDataLst>
              </p:nvPr>
            </p:nvSpPr>
            <p:spPr bwMode="auto">
              <a:xfrm>
                <a:off x="904202" y="2109984"/>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grpSp>
      </p:grpSp>
      <p:grpSp>
        <p:nvGrpSpPr>
          <p:cNvPr id="87" name="Gruppieren 184"/>
          <p:cNvGrpSpPr/>
          <p:nvPr>
            <p:custDataLst>
              <p:tags r:id="rId27"/>
            </p:custDataLst>
          </p:nvPr>
        </p:nvGrpSpPr>
        <p:grpSpPr>
          <a:xfrm>
            <a:off x="8207379" y="3288707"/>
            <a:ext cx="361839" cy="1052507"/>
            <a:chOff x="299317" y="1322203"/>
            <a:chExt cx="396044" cy="1152000"/>
          </a:xfrm>
          <a:effectLst/>
        </p:grpSpPr>
        <p:sp>
          <p:nvSpPr>
            <p:cNvPr id="88" name="Abgerundetes Rechteck 185"/>
            <p:cNvSpPr/>
            <p:nvPr>
              <p:custDataLst>
                <p:tags r:id="rId45"/>
              </p:custDataLst>
            </p:nvPr>
          </p:nvSpPr>
          <p:spPr>
            <a:xfrm>
              <a:off x="299317" y="1322203"/>
              <a:ext cx="396044" cy="1152000"/>
            </a:xfrm>
            <a:prstGeom prst="roundRect">
              <a:avLst/>
            </a:prstGeom>
            <a:solidFill>
              <a:schemeClr val="accent6"/>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defRPr/>
              </a:pPr>
              <a:endParaRPr lang="de-DE" sz="1600" kern="0" dirty="0">
                <a:solidFill>
                  <a:srgbClr val="000000"/>
                </a:solidFill>
              </a:endParaRPr>
            </a:p>
          </p:txBody>
        </p:sp>
        <p:grpSp>
          <p:nvGrpSpPr>
            <p:cNvPr id="89" name="Gruppieren 186"/>
            <p:cNvGrpSpPr/>
            <p:nvPr/>
          </p:nvGrpSpPr>
          <p:grpSpPr>
            <a:xfrm>
              <a:off x="353339" y="1417931"/>
              <a:ext cx="288000" cy="960545"/>
              <a:chOff x="353339" y="1437439"/>
              <a:chExt cx="288000" cy="960545"/>
            </a:xfrm>
          </p:grpSpPr>
          <p:sp>
            <p:nvSpPr>
              <p:cNvPr id="90" name="Oval 43"/>
              <p:cNvSpPr/>
              <p:nvPr>
                <p:custDataLst>
                  <p:tags r:id="rId46"/>
                </p:custDataLst>
              </p:nvPr>
            </p:nvSpPr>
            <p:spPr bwMode="auto">
              <a:xfrm>
                <a:off x="353339" y="1437439"/>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sp>
            <p:nvSpPr>
              <p:cNvPr id="91" name="Oval 44"/>
              <p:cNvSpPr/>
              <p:nvPr>
                <p:custDataLst>
                  <p:tags r:id="rId47"/>
                </p:custDataLst>
              </p:nvPr>
            </p:nvSpPr>
            <p:spPr bwMode="auto">
              <a:xfrm>
                <a:off x="353339" y="1773712"/>
                <a:ext cx="288000" cy="288000"/>
              </a:xfrm>
              <a:prstGeom prst="ellipse">
                <a:avLst/>
              </a:prstGeom>
              <a:solidFill>
                <a:schemeClr val="bg1"/>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buFont typeface="Wingdings" pitchFamily="2" charset="2"/>
                  <a:buNone/>
                  <a:defRPr/>
                </a:pPr>
                <a:endParaRPr lang="de-DE" altLang="ko-KR" sz="2200" dirty="0">
                  <a:solidFill>
                    <a:srgbClr val="FFFFFF"/>
                  </a:solidFill>
                </a:endParaRPr>
              </a:p>
            </p:txBody>
          </p:sp>
          <p:sp>
            <p:nvSpPr>
              <p:cNvPr id="92" name="Oval 45"/>
              <p:cNvSpPr/>
              <p:nvPr/>
            </p:nvSpPr>
            <p:spPr bwMode="auto">
              <a:xfrm>
                <a:off x="353339" y="2109984"/>
                <a:ext cx="288000" cy="288000"/>
              </a:xfrm>
              <a:prstGeom prst="ellipse">
                <a:avLst/>
              </a:prstGeom>
              <a:solidFill>
                <a:srgbClr val="8CB90F"/>
              </a:solidFill>
              <a:ln w="6350" cap="flat" cmpd="sng" algn="ctr">
                <a:noFill/>
                <a:prstDash val="solid"/>
                <a:headEnd type="none" w="med" len="med"/>
                <a:tailEnd type="none" w="med" len="med"/>
              </a:ln>
              <a:effectLst/>
              <a:scene3d>
                <a:camera prst="orthographicFront"/>
                <a:lightRig rig="threePt" dir="t"/>
              </a:scene3d>
              <a:sp3d prstMaterial="matte">
                <a:bevelB w="0" h="0"/>
              </a:sp3d>
            </p:spPr>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50000"/>
                  </a:spcBef>
                  <a:buClr>
                    <a:srgbClr val="006EAB"/>
                  </a:buClr>
                  <a:defRPr/>
                </a:pPr>
                <a:endParaRPr lang="de-DE" altLang="ko-KR" sz="2200" dirty="0">
                  <a:solidFill>
                    <a:srgbClr val="FFFFFF"/>
                  </a:solidFill>
                </a:endParaRPr>
              </a:p>
            </p:txBody>
          </p:sp>
        </p:grpSp>
      </p:grpSp>
      <p:grpSp>
        <p:nvGrpSpPr>
          <p:cNvPr id="146" name="Group 1029">
            <a:extLst>
              <a:ext uri="{FF2B5EF4-FFF2-40B4-BE49-F238E27FC236}">
                <a16:creationId xmlns:a16="http://schemas.microsoft.com/office/drawing/2014/main" id="{6630D0C8-BA6E-47E0-A8F2-C27E06A514A5}"/>
              </a:ext>
            </a:extLst>
          </p:cNvPr>
          <p:cNvGrpSpPr>
            <a:grpSpLocks noChangeAspect="1"/>
          </p:cNvGrpSpPr>
          <p:nvPr/>
        </p:nvGrpSpPr>
        <p:grpSpPr>
          <a:xfrm>
            <a:off x="7585884" y="5806446"/>
            <a:ext cx="286898" cy="285619"/>
            <a:chOff x="2532063" y="1825626"/>
            <a:chExt cx="355600" cy="354013"/>
          </a:xfrm>
          <a:solidFill>
            <a:schemeClr val="bg2"/>
          </a:solidFill>
          <a:effectLst/>
        </p:grpSpPr>
        <p:sp>
          <p:nvSpPr>
            <p:cNvPr id="147" name="Freeform 14">
              <a:extLst>
                <a:ext uri="{FF2B5EF4-FFF2-40B4-BE49-F238E27FC236}">
                  <a16:creationId xmlns:a16="http://schemas.microsoft.com/office/drawing/2014/main" id="{D96137C9-5AA8-4FDF-A3B2-C0F45AC21999}"/>
                </a:ext>
              </a:extLst>
            </p:cNvPr>
            <p:cNvSpPr>
              <a:spLocks noEditPoints="1"/>
            </p:cNvSpPr>
            <p:nvPr/>
          </p:nvSpPr>
          <p:spPr bwMode="auto">
            <a:xfrm>
              <a:off x="2532063" y="1825626"/>
              <a:ext cx="355600" cy="354013"/>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48" name="Freeform 15">
              <a:extLst>
                <a:ext uri="{FF2B5EF4-FFF2-40B4-BE49-F238E27FC236}">
                  <a16:creationId xmlns:a16="http://schemas.microsoft.com/office/drawing/2014/main" id="{727D163F-295E-47DA-9A33-D7C17DC7C20F}"/>
                </a:ext>
              </a:extLst>
            </p:cNvPr>
            <p:cNvSpPr>
              <a:spLocks/>
            </p:cNvSpPr>
            <p:nvPr/>
          </p:nvSpPr>
          <p:spPr bwMode="auto">
            <a:xfrm>
              <a:off x="2655888" y="1909763"/>
              <a:ext cx="107950" cy="153988"/>
            </a:xfrm>
            <a:custGeom>
              <a:avLst/>
              <a:gdLst>
                <a:gd name="T0" fmla="*/ 14 w 28"/>
                <a:gd name="T1" fmla="*/ 40 h 40"/>
                <a:gd name="T2" fmla="*/ 12 w 28"/>
                <a:gd name="T3" fmla="*/ 38 h 40"/>
                <a:gd name="T4" fmla="*/ 12 w 28"/>
                <a:gd name="T5" fmla="*/ 26 h 40"/>
                <a:gd name="T6" fmla="*/ 14 w 28"/>
                <a:gd name="T7" fmla="*/ 24 h 40"/>
                <a:gd name="T8" fmla="*/ 24 w 28"/>
                <a:gd name="T9" fmla="*/ 14 h 40"/>
                <a:gd name="T10" fmla="*/ 14 w 28"/>
                <a:gd name="T11" fmla="*/ 4 h 40"/>
                <a:gd name="T12" fmla="*/ 4 w 28"/>
                <a:gd name="T13" fmla="*/ 14 h 40"/>
                <a:gd name="T14" fmla="*/ 2 w 28"/>
                <a:gd name="T15" fmla="*/ 16 h 40"/>
                <a:gd name="T16" fmla="*/ 0 w 28"/>
                <a:gd name="T17" fmla="*/ 14 h 40"/>
                <a:gd name="T18" fmla="*/ 14 w 28"/>
                <a:gd name="T19" fmla="*/ 0 h 40"/>
                <a:gd name="T20" fmla="*/ 28 w 28"/>
                <a:gd name="T21" fmla="*/ 14 h 40"/>
                <a:gd name="T22" fmla="*/ 16 w 28"/>
                <a:gd name="T23" fmla="*/ 28 h 40"/>
                <a:gd name="T24" fmla="*/ 16 w 28"/>
                <a:gd name="T25" fmla="*/ 38 h 40"/>
                <a:gd name="T26" fmla="*/ 14 w 28"/>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0">
                  <a:moveTo>
                    <a:pt x="14" y="40"/>
                  </a:moveTo>
                  <a:cubicBezTo>
                    <a:pt x="13" y="40"/>
                    <a:pt x="12" y="39"/>
                    <a:pt x="12" y="38"/>
                  </a:cubicBezTo>
                  <a:cubicBezTo>
                    <a:pt x="12" y="26"/>
                    <a:pt x="12" y="26"/>
                    <a:pt x="12" y="26"/>
                  </a:cubicBezTo>
                  <a:cubicBezTo>
                    <a:pt x="12" y="25"/>
                    <a:pt x="13" y="24"/>
                    <a:pt x="14" y="24"/>
                  </a:cubicBezTo>
                  <a:cubicBezTo>
                    <a:pt x="20" y="24"/>
                    <a:pt x="24" y="20"/>
                    <a:pt x="24" y="14"/>
                  </a:cubicBezTo>
                  <a:cubicBezTo>
                    <a:pt x="24" y="8"/>
                    <a:pt x="20" y="4"/>
                    <a:pt x="14" y="4"/>
                  </a:cubicBezTo>
                  <a:cubicBezTo>
                    <a:pt x="8" y="4"/>
                    <a:pt x="4" y="8"/>
                    <a:pt x="4" y="14"/>
                  </a:cubicBezTo>
                  <a:cubicBezTo>
                    <a:pt x="4" y="15"/>
                    <a:pt x="3" y="16"/>
                    <a:pt x="2" y="16"/>
                  </a:cubicBezTo>
                  <a:cubicBezTo>
                    <a:pt x="1" y="16"/>
                    <a:pt x="0" y="15"/>
                    <a:pt x="0" y="14"/>
                  </a:cubicBezTo>
                  <a:cubicBezTo>
                    <a:pt x="0" y="6"/>
                    <a:pt x="6" y="0"/>
                    <a:pt x="14" y="0"/>
                  </a:cubicBezTo>
                  <a:cubicBezTo>
                    <a:pt x="22" y="0"/>
                    <a:pt x="28" y="6"/>
                    <a:pt x="28" y="14"/>
                  </a:cubicBezTo>
                  <a:cubicBezTo>
                    <a:pt x="28" y="21"/>
                    <a:pt x="23" y="27"/>
                    <a:pt x="16" y="28"/>
                  </a:cubicBezTo>
                  <a:cubicBezTo>
                    <a:pt x="16" y="38"/>
                    <a:pt x="16" y="38"/>
                    <a:pt x="16" y="38"/>
                  </a:cubicBezTo>
                  <a:cubicBezTo>
                    <a:pt x="16" y="39"/>
                    <a:pt x="15" y="40"/>
                    <a:pt x="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49" name="Oval 16">
              <a:extLst>
                <a:ext uri="{FF2B5EF4-FFF2-40B4-BE49-F238E27FC236}">
                  <a16:creationId xmlns:a16="http://schemas.microsoft.com/office/drawing/2014/main" id="{675F86F0-7616-4515-BD41-EE9CA00C390C}"/>
                </a:ext>
              </a:extLst>
            </p:cNvPr>
            <p:cNvSpPr>
              <a:spLocks noChangeArrowheads="1"/>
            </p:cNvSpPr>
            <p:nvPr/>
          </p:nvSpPr>
          <p:spPr bwMode="auto">
            <a:xfrm>
              <a:off x="2693988" y="2079626"/>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150" name="Group 184">
            <a:extLst>
              <a:ext uri="{FF2B5EF4-FFF2-40B4-BE49-F238E27FC236}">
                <a16:creationId xmlns:a16="http://schemas.microsoft.com/office/drawing/2014/main" id="{3761F297-254E-40EC-BEF8-C37774A8EF7B}"/>
              </a:ext>
            </a:extLst>
          </p:cNvPr>
          <p:cNvGrpSpPr>
            <a:grpSpLocks noChangeAspect="1"/>
          </p:cNvGrpSpPr>
          <p:nvPr/>
        </p:nvGrpSpPr>
        <p:grpSpPr>
          <a:xfrm>
            <a:off x="8242847" y="5806446"/>
            <a:ext cx="285619" cy="285619"/>
            <a:chOff x="9840913" y="3627438"/>
            <a:chExt cx="355600" cy="355600"/>
          </a:xfrm>
          <a:solidFill>
            <a:schemeClr val="bg2"/>
          </a:solidFill>
        </p:grpSpPr>
        <p:sp>
          <p:nvSpPr>
            <p:cNvPr id="151" name="Freeform 26">
              <a:extLst>
                <a:ext uri="{FF2B5EF4-FFF2-40B4-BE49-F238E27FC236}">
                  <a16:creationId xmlns:a16="http://schemas.microsoft.com/office/drawing/2014/main" id="{711EC215-CC6F-4700-A0F6-EF746E6F78CF}"/>
                </a:ext>
              </a:extLst>
            </p:cNvPr>
            <p:cNvSpPr>
              <a:spLocks noEditPoints="1"/>
            </p:cNvSpPr>
            <p:nvPr/>
          </p:nvSpPr>
          <p:spPr bwMode="auto">
            <a:xfrm>
              <a:off x="9840913" y="3627438"/>
              <a:ext cx="355600" cy="355600"/>
            </a:xfrm>
            <a:custGeom>
              <a:avLst/>
              <a:gdLst>
                <a:gd name="T0" fmla="*/ 45 w 92"/>
                <a:gd name="T1" fmla="*/ 92 h 92"/>
                <a:gd name="T2" fmla="*/ 0 w 92"/>
                <a:gd name="T3" fmla="*/ 47 h 92"/>
                <a:gd name="T4" fmla="*/ 13 w 92"/>
                <a:gd name="T5" fmla="*/ 14 h 92"/>
                <a:gd name="T6" fmla="*/ 46 w 92"/>
                <a:gd name="T7" fmla="*/ 0 h 92"/>
                <a:gd name="T8" fmla="*/ 47 w 92"/>
                <a:gd name="T9" fmla="*/ 0 h 92"/>
                <a:gd name="T10" fmla="*/ 92 w 92"/>
                <a:gd name="T11" fmla="*/ 45 h 92"/>
                <a:gd name="T12" fmla="*/ 46 w 92"/>
                <a:gd name="T13" fmla="*/ 92 h 92"/>
                <a:gd name="T14" fmla="*/ 45 w 92"/>
                <a:gd name="T15" fmla="*/ 92 h 92"/>
                <a:gd name="T16" fmla="*/ 47 w 92"/>
                <a:gd name="T17" fmla="*/ 4 h 92"/>
                <a:gd name="T18" fmla="*/ 46 w 92"/>
                <a:gd name="T19" fmla="*/ 4 h 92"/>
                <a:gd name="T20" fmla="*/ 16 w 92"/>
                <a:gd name="T21" fmla="*/ 17 h 92"/>
                <a:gd name="T22" fmla="*/ 4 w 92"/>
                <a:gd name="T23" fmla="*/ 47 h 92"/>
                <a:gd name="T24" fmla="*/ 45 w 92"/>
                <a:gd name="T25" fmla="*/ 88 h 92"/>
                <a:gd name="T26" fmla="*/ 46 w 92"/>
                <a:gd name="T27" fmla="*/ 88 h 92"/>
                <a:gd name="T28" fmla="*/ 88 w 92"/>
                <a:gd name="T29" fmla="*/ 45 h 92"/>
                <a:gd name="T30" fmla="*/ 47 w 92"/>
                <a:gd name="T31"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2">
                  <a:moveTo>
                    <a:pt x="45" y="92"/>
                  </a:moveTo>
                  <a:cubicBezTo>
                    <a:pt x="20" y="92"/>
                    <a:pt x="0" y="72"/>
                    <a:pt x="0" y="47"/>
                  </a:cubicBezTo>
                  <a:cubicBezTo>
                    <a:pt x="0" y="35"/>
                    <a:pt x="5" y="23"/>
                    <a:pt x="13" y="14"/>
                  </a:cubicBezTo>
                  <a:cubicBezTo>
                    <a:pt x="22" y="5"/>
                    <a:pt x="34" y="0"/>
                    <a:pt x="46" y="0"/>
                  </a:cubicBezTo>
                  <a:cubicBezTo>
                    <a:pt x="47" y="0"/>
                    <a:pt x="47" y="0"/>
                    <a:pt x="47" y="0"/>
                  </a:cubicBezTo>
                  <a:cubicBezTo>
                    <a:pt x="72" y="0"/>
                    <a:pt x="92" y="20"/>
                    <a:pt x="92" y="45"/>
                  </a:cubicBezTo>
                  <a:cubicBezTo>
                    <a:pt x="92" y="71"/>
                    <a:pt x="72" y="92"/>
                    <a:pt x="46" y="92"/>
                  </a:cubicBezTo>
                  <a:lnTo>
                    <a:pt x="45" y="92"/>
                  </a:lnTo>
                  <a:close/>
                  <a:moveTo>
                    <a:pt x="47" y="4"/>
                  </a:moveTo>
                  <a:cubicBezTo>
                    <a:pt x="46" y="4"/>
                    <a:pt x="46" y="4"/>
                    <a:pt x="46" y="4"/>
                  </a:cubicBezTo>
                  <a:cubicBezTo>
                    <a:pt x="35" y="4"/>
                    <a:pt x="24" y="9"/>
                    <a:pt x="16" y="17"/>
                  </a:cubicBezTo>
                  <a:cubicBezTo>
                    <a:pt x="8" y="25"/>
                    <a:pt x="4" y="36"/>
                    <a:pt x="4" y="47"/>
                  </a:cubicBezTo>
                  <a:cubicBezTo>
                    <a:pt x="4" y="70"/>
                    <a:pt x="23" y="88"/>
                    <a:pt x="45" y="88"/>
                  </a:cubicBezTo>
                  <a:cubicBezTo>
                    <a:pt x="46" y="88"/>
                    <a:pt x="46" y="88"/>
                    <a:pt x="46" y="88"/>
                  </a:cubicBezTo>
                  <a:cubicBezTo>
                    <a:pt x="70" y="88"/>
                    <a:pt x="88" y="68"/>
                    <a:pt x="88" y="45"/>
                  </a:cubicBezTo>
                  <a:cubicBezTo>
                    <a:pt x="88" y="22"/>
                    <a:pt x="69" y="4"/>
                    <a:pt x="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2" name="Freeform 27">
              <a:extLst>
                <a:ext uri="{FF2B5EF4-FFF2-40B4-BE49-F238E27FC236}">
                  <a16:creationId xmlns:a16="http://schemas.microsoft.com/office/drawing/2014/main" id="{ADC8B7B5-9DFB-45B9-83D2-0166B1518CAF}"/>
                </a:ext>
              </a:extLst>
            </p:cNvPr>
            <p:cNvSpPr>
              <a:spLocks/>
            </p:cNvSpPr>
            <p:nvPr/>
          </p:nvSpPr>
          <p:spPr bwMode="auto">
            <a:xfrm>
              <a:off x="10010776" y="3711575"/>
              <a:ext cx="15875" cy="123825"/>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3" name="Oval 28">
              <a:extLst>
                <a:ext uri="{FF2B5EF4-FFF2-40B4-BE49-F238E27FC236}">
                  <a16:creationId xmlns:a16="http://schemas.microsoft.com/office/drawing/2014/main" id="{8AA16DBF-252E-4C44-B3E5-C765F4C46E70}"/>
                </a:ext>
              </a:extLst>
            </p:cNvPr>
            <p:cNvSpPr>
              <a:spLocks noChangeArrowheads="1"/>
            </p:cNvSpPr>
            <p:nvPr/>
          </p:nvSpPr>
          <p:spPr bwMode="auto">
            <a:xfrm>
              <a:off x="10002838" y="3867150"/>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1" name="Ellipse 40"/>
          <p:cNvSpPr/>
          <p:nvPr>
            <p:custDataLst>
              <p:tags r:id="rId28"/>
            </p:custDataLst>
          </p:nvPr>
        </p:nvSpPr>
        <p:spPr bwMode="auto">
          <a:xfrm>
            <a:off x="940145"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62" name="Freeform 34">
            <a:extLst>
              <a:ext uri="{FF2B5EF4-FFF2-40B4-BE49-F238E27FC236}">
                <a16:creationId xmlns:a16="http://schemas.microsoft.com/office/drawing/2014/main" id="{F6F7D975-5AD3-4D41-BFCF-EB535952C307}"/>
              </a:ext>
            </a:extLst>
          </p:cNvPr>
          <p:cNvSpPr>
            <a:spLocks/>
          </p:cNvSpPr>
          <p:nvPr>
            <p:custDataLst>
              <p:tags r:id="rId29"/>
            </p:custDataLst>
          </p:nvPr>
        </p:nvSpPr>
        <p:spPr bwMode="auto">
          <a:xfrm>
            <a:off x="949964" y="3245980"/>
            <a:ext cx="443858" cy="443858"/>
          </a:xfrm>
          <a:custGeom>
            <a:avLst/>
            <a:gdLst>
              <a:gd name="T0" fmla="*/ 1709 w 1710"/>
              <a:gd name="T1" fmla="*/ 899 h 1710"/>
              <a:gd name="T2" fmla="*/ 1692 w 1710"/>
              <a:gd name="T3" fmla="*/ 1027 h 1710"/>
              <a:gd name="T4" fmla="*/ 1657 w 1710"/>
              <a:gd name="T5" fmla="*/ 1149 h 1710"/>
              <a:gd name="T6" fmla="*/ 1606 w 1710"/>
              <a:gd name="T7" fmla="*/ 1263 h 1710"/>
              <a:gd name="T8" fmla="*/ 1539 w 1710"/>
              <a:gd name="T9" fmla="*/ 1366 h 1710"/>
              <a:gd name="T10" fmla="*/ 1459 w 1710"/>
              <a:gd name="T11" fmla="*/ 1459 h 1710"/>
              <a:gd name="T12" fmla="*/ 1366 w 1710"/>
              <a:gd name="T13" fmla="*/ 1539 h 1710"/>
              <a:gd name="T14" fmla="*/ 1263 w 1710"/>
              <a:gd name="T15" fmla="*/ 1606 h 1710"/>
              <a:gd name="T16" fmla="*/ 1149 w 1710"/>
              <a:gd name="T17" fmla="*/ 1657 h 1710"/>
              <a:gd name="T18" fmla="*/ 1027 w 1710"/>
              <a:gd name="T19" fmla="*/ 1692 h 1710"/>
              <a:gd name="T20" fmla="*/ 899 w 1710"/>
              <a:gd name="T21" fmla="*/ 1709 h 1710"/>
              <a:gd name="T22" fmla="*/ 811 w 1710"/>
              <a:gd name="T23" fmla="*/ 1709 h 1710"/>
              <a:gd name="T24" fmla="*/ 683 w 1710"/>
              <a:gd name="T25" fmla="*/ 1692 h 1710"/>
              <a:gd name="T26" fmla="*/ 561 w 1710"/>
              <a:gd name="T27" fmla="*/ 1657 h 1710"/>
              <a:gd name="T28" fmla="*/ 447 w 1710"/>
              <a:gd name="T29" fmla="*/ 1606 h 1710"/>
              <a:gd name="T30" fmla="*/ 344 w 1710"/>
              <a:gd name="T31" fmla="*/ 1539 h 1710"/>
              <a:gd name="T32" fmla="*/ 251 w 1710"/>
              <a:gd name="T33" fmla="*/ 1459 h 1710"/>
              <a:gd name="T34" fmla="*/ 171 w 1710"/>
              <a:gd name="T35" fmla="*/ 1366 h 1710"/>
              <a:gd name="T36" fmla="*/ 104 w 1710"/>
              <a:gd name="T37" fmla="*/ 1263 h 1710"/>
              <a:gd name="T38" fmla="*/ 53 w 1710"/>
              <a:gd name="T39" fmla="*/ 1149 h 1710"/>
              <a:gd name="T40" fmla="*/ 18 w 1710"/>
              <a:gd name="T41" fmla="*/ 1027 h 1710"/>
              <a:gd name="T42" fmla="*/ 1 w 1710"/>
              <a:gd name="T43" fmla="*/ 899 h 1710"/>
              <a:gd name="T44" fmla="*/ 1 w 1710"/>
              <a:gd name="T45" fmla="*/ 811 h 1710"/>
              <a:gd name="T46" fmla="*/ 18 w 1710"/>
              <a:gd name="T47" fmla="*/ 683 h 1710"/>
              <a:gd name="T48" fmla="*/ 53 w 1710"/>
              <a:gd name="T49" fmla="*/ 561 h 1710"/>
              <a:gd name="T50" fmla="*/ 104 w 1710"/>
              <a:gd name="T51" fmla="*/ 447 h 1710"/>
              <a:gd name="T52" fmla="*/ 171 w 1710"/>
              <a:gd name="T53" fmla="*/ 344 h 1710"/>
              <a:gd name="T54" fmla="*/ 251 w 1710"/>
              <a:gd name="T55" fmla="*/ 251 h 1710"/>
              <a:gd name="T56" fmla="*/ 344 w 1710"/>
              <a:gd name="T57" fmla="*/ 171 h 1710"/>
              <a:gd name="T58" fmla="*/ 447 w 1710"/>
              <a:gd name="T59" fmla="*/ 104 h 1710"/>
              <a:gd name="T60" fmla="*/ 561 w 1710"/>
              <a:gd name="T61" fmla="*/ 53 h 1710"/>
              <a:gd name="T62" fmla="*/ 683 w 1710"/>
              <a:gd name="T63" fmla="*/ 18 h 1710"/>
              <a:gd name="T64" fmla="*/ 811 w 1710"/>
              <a:gd name="T65" fmla="*/ 1 h 1710"/>
              <a:gd name="T66" fmla="*/ 899 w 1710"/>
              <a:gd name="T67" fmla="*/ 1 h 1710"/>
              <a:gd name="T68" fmla="*/ 1027 w 1710"/>
              <a:gd name="T69" fmla="*/ 18 h 1710"/>
              <a:gd name="T70" fmla="*/ 1149 w 1710"/>
              <a:gd name="T71" fmla="*/ 53 h 1710"/>
              <a:gd name="T72" fmla="*/ 1263 w 1710"/>
              <a:gd name="T73" fmla="*/ 104 h 1710"/>
              <a:gd name="T74" fmla="*/ 1366 w 1710"/>
              <a:gd name="T75" fmla="*/ 171 h 1710"/>
              <a:gd name="T76" fmla="*/ 1459 w 1710"/>
              <a:gd name="T77" fmla="*/ 251 h 1710"/>
              <a:gd name="T78" fmla="*/ 1539 w 1710"/>
              <a:gd name="T79" fmla="*/ 344 h 1710"/>
              <a:gd name="T80" fmla="*/ 1606 w 1710"/>
              <a:gd name="T81" fmla="*/ 447 h 1710"/>
              <a:gd name="T82" fmla="*/ 1657 w 1710"/>
              <a:gd name="T83" fmla="*/ 561 h 1710"/>
              <a:gd name="T84" fmla="*/ 1692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899"/>
                </a:lnTo>
                <a:lnTo>
                  <a:pt x="1705" y="942"/>
                </a:lnTo>
                <a:lnTo>
                  <a:pt x="1700" y="986"/>
                </a:lnTo>
                <a:lnTo>
                  <a:pt x="1692" y="1027"/>
                </a:lnTo>
                <a:lnTo>
                  <a:pt x="1683" y="1069"/>
                </a:lnTo>
                <a:lnTo>
                  <a:pt x="1671" y="1109"/>
                </a:lnTo>
                <a:lnTo>
                  <a:pt x="1657" y="1149"/>
                </a:lnTo>
                <a:lnTo>
                  <a:pt x="1643" y="1188"/>
                </a:lnTo>
                <a:lnTo>
                  <a:pt x="1625" y="1226"/>
                </a:lnTo>
                <a:lnTo>
                  <a:pt x="1606" y="1263"/>
                </a:lnTo>
                <a:lnTo>
                  <a:pt x="1586" y="1298"/>
                </a:lnTo>
                <a:lnTo>
                  <a:pt x="1564" y="1333"/>
                </a:lnTo>
                <a:lnTo>
                  <a:pt x="1539" y="1366"/>
                </a:lnTo>
                <a:lnTo>
                  <a:pt x="1514" y="1398"/>
                </a:lnTo>
                <a:lnTo>
                  <a:pt x="1487" y="1429"/>
                </a:lnTo>
                <a:lnTo>
                  <a:pt x="1459" y="1459"/>
                </a:lnTo>
                <a:lnTo>
                  <a:pt x="1429" y="1487"/>
                </a:lnTo>
                <a:lnTo>
                  <a:pt x="1398" y="1515"/>
                </a:lnTo>
                <a:lnTo>
                  <a:pt x="1366" y="1539"/>
                </a:lnTo>
                <a:lnTo>
                  <a:pt x="1333" y="1564"/>
                </a:lnTo>
                <a:lnTo>
                  <a:pt x="1298" y="1586"/>
                </a:lnTo>
                <a:lnTo>
                  <a:pt x="1263" y="1606"/>
                </a:lnTo>
                <a:lnTo>
                  <a:pt x="1226" y="1625"/>
                </a:lnTo>
                <a:lnTo>
                  <a:pt x="1188" y="1643"/>
                </a:lnTo>
                <a:lnTo>
                  <a:pt x="1149" y="1657"/>
                </a:lnTo>
                <a:lnTo>
                  <a:pt x="1109" y="1671"/>
                </a:lnTo>
                <a:lnTo>
                  <a:pt x="1069" y="1683"/>
                </a:lnTo>
                <a:lnTo>
                  <a:pt x="1027" y="1692"/>
                </a:lnTo>
                <a:lnTo>
                  <a:pt x="985" y="1700"/>
                </a:lnTo>
                <a:lnTo>
                  <a:pt x="942" y="1705"/>
                </a:lnTo>
                <a:lnTo>
                  <a:pt x="899" y="1709"/>
                </a:lnTo>
                <a:lnTo>
                  <a:pt x="854" y="1710"/>
                </a:lnTo>
                <a:lnTo>
                  <a:pt x="854" y="1710"/>
                </a:lnTo>
                <a:lnTo>
                  <a:pt x="811" y="1709"/>
                </a:lnTo>
                <a:lnTo>
                  <a:pt x="768" y="1705"/>
                </a:lnTo>
                <a:lnTo>
                  <a:pt x="724" y="1700"/>
                </a:lnTo>
                <a:lnTo>
                  <a:pt x="683" y="1692"/>
                </a:lnTo>
                <a:lnTo>
                  <a:pt x="641" y="1683"/>
                </a:lnTo>
                <a:lnTo>
                  <a:pt x="601" y="1671"/>
                </a:lnTo>
                <a:lnTo>
                  <a:pt x="561" y="1657"/>
                </a:lnTo>
                <a:lnTo>
                  <a:pt x="522" y="1643"/>
                </a:lnTo>
                <a:lnTo>
                  <a:pt x="484" y="1625"/>
                </a:lnTo>
                <a:lnTo>
                  <a:pt x="447" y="1606"/>
                </a:lnTo>
                <a:lnTo>
                  <a:pt x="412" y="1586"/>
                </a:lnTo>
                <a:lnTo>
                  <a:pt x="377" y="1564"/>
                </a:lnTo>
                <a:lnTo>
                  <a:pt x="344" y="1539"/>
                </a:lnTo>
                <a:lnTo>
                  <a:pt x="312" y="1515"/>
                </a:lnTo>
                <a:lnTo>
                  <a:pt x="281" y="1487"/>
                </a:lnTo>
                <a:lnTo>
                  <a:pt x="251" y="1459"/>
                </a:lnTo>
                <a:lnTo>
                  <a:pt x="223" y="1429"/>
                </a:lnTo>
                <a:lnTo>
                  <a:pt x="195" y="1398"/>
                </a:lnTo>
                <a:lnTo>
                  <a:pt x="171" y="1366"/>
                </a:lnTo>
                <a:lnTo>
                  <a:pt x="146" y="1333"/>
                </a:lnTo>
                <a:lnTo>
                  <a:pt x="124" y="1298"/>
                </a:lnTo>
                <a:lnTo>
                  <a:pt x="104" y="1263"/>
                </a:lnTo>
                <a:lnTo>
                  <a:pt x="85" y="1226"/>
                </a:lnTo>
                <a:lnTo>
                  <a:pt x="67" y="1188"/>
                </a:lnTo>
                <a:lnTo>
                  <a:pt x="53" y="1149"/>
                </a:lnTo>
                <a:lnTo>
                  <a:pt x="38" y="1109"/>
                </a:lnTo>
                <a:lnTo>
                  <a:pt x="27" y="1069"/>
                </a:lnTo>
                <a:lnTo>
                  <a:pt x="18" y="1027"/>
                </a:lnTo>
                <a:lnTo>
                  <a:pt x="10" y="986"/>
                </a:lnTo>
                <a:lnTo>
                  <a:pt x="5" y="942"/>
                </a:lnTo>
                <a:lnTo>
                  <a:pt x="1" y="899"/>
                </a:lnTo>
                <a:lnTo>
                  <a:pt x="0" y="856"/>
                </a:lnTo>
                <a:lnTo>
                  <a:pt x="0" y="856"/>
                </a:lnTo>
                <a:lnTo>
                  <a:pt x="1" y="811"/>
                </a:lnTo>
                <a:lnTo>
                  <a:pt x="5" y="768"/>
                </a:lnTo>
                <a:lnTo>
                  <a:pt x="10" y="724"/>
                </a:lnTo>
                <a:lnTo>
                  <a:pt x="18" y="683"/>
                </a:lnTo>
                <a:lnTo>
                  <a:pt x="27" y="641"/>
                </a:lnTo>
                <a:lnTo>
                  <a:pt x="38" y="601"/>
                </a:lnTo>
                <a:lnTo>
                  <a:pt x="53" y="561"/>
                </a:lnTo>
                <a:lnTo>
                  <a:pt x="67" y="522"/>
                </a:lnTo>
                <a:lnTo>
                  <a:pt x="85" y="484"/>
                </a:lnTo>
                <a:lnTo>
                  <a:pt x="104" y="447"/>
                </a:lnTo>
                <a:lnTo>
                  <a:pt x="124" y="412"/>
                </a:lnTo>
                <a:lnTo>
                  <a:pt x="146" y="377"/>
                </a:lnTo>
                <a:lnTo>
                  <a:pt x="171" y="344"/>
                </a:lnTo>
                <a:lnTo>
                  <a:pt x="195" y="312"/>
                </a:lnTo>
                <a:lnTo>
                  <a:pt x="223" y="281"/>
                </a:lnTo>
                <a:lnTo>
                  <a:pt x="251" y="251"/>
                </a:lnTo>
                <a:lnTo>
                  <a:pt x="281" y="223"/>
                </a:lnTo>
                <a:lnTo>
                  <a:pt x="312" y="195"/>
                </a:lnTo>
                <a:lnTo>
                  <a:pt x="344" y="171"/>
                </a:lnTo>
                <a:lnTo>
                  <a:pt x="377" y="146"/>
                </a:lnTo>
                <a:lnTo>
                  <a:pt x="412" y="124"/>
                </a:lnTo>
                <a:lnTo>
                  <a:pt x="447" y="104"/>
                </a:lnTo>
                <a:lnTo>
                  <a:pt x="484" y="85"/>
                </a:lnTo>
                <a:lnTo>
                  <a:pt x="522" y="67"/>
                </a:lnTo>
                <a:lnTo>
                  <a:pt x="561" y="53"/>
                </a:lnTo>
                <a:lnTo>
                  <a:pt x="601" y="39"/>
                </a:lnTo>
                <a:lnTo>
                  <a:pt x="641" y="27"/>
                </a:lnTo>
                <a:lnTo>
                  <a:pt x="683" y="18"/>
                </a:lnTo>
                <a:lnTo>
                  <a:pt x="724" y="10"/>
                </a:lnTo>
                <a:lnTo>
                  <a:pt x="768" y="5"/>
                </a:lnTo>
                <a:lnTo>
                  <a:pt x="811" y="1"/>
                </a:lnTo>
                <a:lnTo>
                  <a:pt x="854" y="0"/>
                </a:lnTo>
                <a:lnTo>
                  <a:pt x="854" y="0"/>
                </a:lnTo>
                <a:lnTo>
                  <a:pt x="899" y="1"/>
                </a:lnTo>
                <a:lnTo>
                  <a:pt x="942" y="5"/>
                </a:lnTo>
                <a:lnTo>
                  <a:pt x="985" y="10"/>
                </a:lnTo>
                <a:lnTo>
                  <a:pt x="1027" y="18"/>
                </a:lnTo>
                <a:lnTo>
                  <a:pt x="1069" y="27"/>
                </a:lnTo>
                <a:lnTo>
                  <a:pt x="1109" y="39"/>
                </a:lnTo>
                <a:lnTo>
                  <a:pt x="1149" y="53"/>
                </a:lnTo>
                <a:lnTo>
                  <a:pt x="1188" y="67"/>
                </a:lnTo>
                <a:lnTo>
                  <a:pt x="1226" y="85"/>
                </a:lnTo>
                <a:lnTo>
                  <a:pt x="1263" y="104"/>
                </a:lnTo>
                <a:lnTo>
                  <a:pt x="1298" y="124"/>
                </a:lnTo>
                <a:lnTo>
                  <a:pt x="1333" y="146"/>
                </a:lnTo>
                <a:lnTo>
                  <a:pt x="1366" y="171"/>
                </a:lnTo>
                <a:lnTo>
                  <a:pt x="1398" y="195"/>
                </a:lnTo>
                <a:lnTo>
                  <a:pt x="1429" y="223"/>
                </a:lnTo>
                <a:lnTo>
                  <a:pt x="1459" y="251"/>
                </a:lnTo>
                <a:lnTo>
                  <a:pt x="1487" y="281"/>
                </a:lnTo>
                <a:lnTo>
                  <a:pt x="1514" y="312"/>
                </a:lnTo>
                <a:lnTo>
                  <a:pt x="1539" y="344"/>
                </a:lnTo>
                <a:lnTo>
                  <a:pt x="1564" y="377"/>
                </a:lnTo>
                <a:lnTo>
                  <a:pt x="1586" y="412"/>
                </a:lnTo>
                <a:lnTo>
                  <a:pt x="1606" y="447"/>
                </a:lnTo>
                <a:lnTo>
                  <a:pt x="1625" y="484"/>
                </a:lnTo>
                <a:lnTo>
                  <a:pt x="1643" y="522"/>
                </a:lnTo>
                <a:lnTo>
                  <a:pt x="1657" y="561"/>
                </a:lnTo>
                <a:lnTo>
                  <a:pt x="1671" y="601"/>
                </a:lnTo>
                <a:lnTo>
                  <a:pt x="1683" y="641"/>
                </a:lnTo>
                <a:lnTo>
                  <a:pt x="1692" y="683"/>
                </a:lnTo>
                <a:lnTo>
                  <a:pt x="1700" y="724"/>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3" name="Freeform 37">
            <a:extLst>
              <a:ext uri="{FF2B5EF4-FFF2-40B4-BE49-F238E27FC236}">
                <a16:creationId xmlns:a16="http://schemas.microsoft.com/office/drawing/2014/main" id="{6E8039FA-3335-4E6E-A301-05D07678B8E0}"/>
              </a:ext>
            </a:extLst>
          </p:cNvPr>
          <p:cNvSpPr>
            <a:spLocks/>
          </p:cNvSpPr>
          <p:nvPr>
            <p:custDataLst>
              <p:tags r:id="rId30"/>
            </p:custDataLst>
          </p:nvPr>
        </p:nvSpPr>
        <p:spPr bwMode="auto">
          <a:xfrm>
            <a:off x="1032797" y="3350693"/>
            <a:ext cx="278193" cy="234432"/>
          </a:xfrm>
          <a:custGeom>
            <a:avLst/>
            <a:gdLst>
              <a:gd name="T0" fmla="*/ 1028 w 1070"/>
              <a:gd name="T1" fmla="*/ 549 h 902"/>
              <a:gd name="T2" fmla="*/ 1038 w 1070"/>
              <a:gd name="T3" fmla="*/ 539 h 902"/>
              <a:gd name="T4" fmla="*/ 1054 w 1070"/>
              <a:gd name="T5" fmla="*/ 516 h 902"/>
              <a:gd name="T6" fmla="*/ 1064 w 1070"/>
              <a:gd name="T7" fmla="*/ 492 h 902"/>
              <a:gd name="T8" fmla="*/ 1069 w 1070"/>
              <a:gd name="T9" fmla="*/ 465 h 902"/>
              <a:gd name="T10" fmla="*/ 1069 w 1070"/>
              <a:gd name="T11" fmla="*/ 437 h 902"/>
              <a:gd name="T12" fmla="*/ 1064 w 1070"/>
              <a:gd name="T13" fmla="*/ 410 h 902"/>
              <a:gd name="T14" fmla="*/ 1054 w 1070"/>
              <a:gd name="T15" fmla="*/ 386 h 902"/>
              <a:gd name="T16" fmla="*/ 1038 w 1070"/>
              <a:gd name="T17" fmla="*/ 363 h 902"/>
              <a:gd name="T18" fmla="*/ 683 w 1070"/>
              <a:gd name="T19" fmla="*/ 35 h 902"/>
              <a:gd name="T20" fmla="*/ 672 w 1070"/>
              <a:gd name="T21" fmla="*/ 26 h 902"/>
              <a:gd name="T22" fmla="*/ 650 w 1070"/>
              <a:gd name="T23" fmla="*/ 12 h 902"/>
              <a:gd name="T24" fmla="*/ 626 w 1070"/>
              <a:gd name="T25" fmla="*/ 4 h 902"/>
              <a:gd name="T26" fmla="*/ 600 w 1070"/>
              <a:gd name="T27" fmla="*/ 0 h 902"/>
              <a:gd name="T28" fmla="*/ 573 w 1070"/>
              <a:gd name="T29" fmla="*/ 1 h 902"/>
              <a:gd name="T30" fmla="*/ 549 w 1070"/>
              <a:gd name="T31" fmla="*/ 7 h 902"/>
              <a:gd name="T32" fmla="*/ 524 w 1070"/>
              <a:gd name="T33" fmla="*/ 18 h 902"/>
              <a:gd name="T34" fmla="*/ 503 w 1070"/>
              <a:gd name="T35" fmla="*/ 33 h 902"/>
              <a:gd name="T36" fmla="*/ 493 w 1070"/>
              <a:gd name="T37" fmla="*/ 42 h 902"/>
              <a:gd name="T38" fmla="*/ 478 w 1070"/>
              <a:gd name="T39" fmla="*/ 65 h 902"/>
              <a:gd name="T40" fmla="*/ 467 w 1070"/>
              <a:gd name="T41" fmla="*/ 88 h 902"/>
              <a:gd name="T42" fmla="*/ 460 w 1070"/>
              <a:gd name="T43" fmla="*/ 113 h 902"/>
              <a:gd name="T44" fmla="*/ 459 w 1070"/>
              <a:gd name="T45" fmla="*/ 139 h 902"/>
              <a:gd name="T46" fmla="*/ 462 w 1070"/>
              <a:gd name="T47" fmla="*/ 165 h 902"/>
              <a:gd name="T48" fmla="*/ 471 w 1070"/>
              <a:gd name="T49" fmla="*/ 189 h 902"/>
              <a:gd name="T50" fmla="*/ 483 w 1070"/>
              <a:gd name="T51" fmla="*/ 211 h 902"/>
              <a:gd name="T52" fmla="*/ 501 w 1070"/>
              <a:gd name="T53" fmla="*/ 232 h 902"/>
              <a:gd name="T54" fmla="*/ 133 w 1070"/>
              <a:gd name="T55" fmla="*/ 317 h 902"/>
              <a:gd name="T56" fmla="*/ 120 w 1070"/>
              <a:gd name="T57" fmla="*/ 318 h 902"/>
              <a:gd name="T58" fmla="*/ 94 w 1070"/>
              <a:gd name="T59" fmla="*/ 324 h 902"/>
              <a:gd name="T60" fmla="*/ 70 w 1070"/>
              <a:gd name="T61" fmla="*/ 334 h 902"/>
              <a:gd name="T62" fmla="*/ 48 w 1070"/>
              <a:gd name="T63" fmla="*/ 348 h 902"/>
              <a:gd name="T64" fmla="*/ 31 w 1070"/>
              <a:gd name="T65" fmla="*/ 366 h 902"/>
              <a:gd name="T66" fmla="*/ 16 w 1070"/>
              <a:gd name="T67" fmla="*/ 387 h 902"/>
              <a:gd name="T68" fmla="*/ 6 w 1070"/>
              <a:gd name="T69" fmla="*/ 412 h 902"/>
              <a:gd name="T70" fmla="*/ 1 w 1070"/>
              <a:gd name="T71" fmla="*/ 437 h 902"/>
              <a:gd name="T72" fmla="*/ 0 w 1070"/>
              <a:gd name="T73" fmla="*/ 450 h 902"/>
              <a:gd name="T74" fmla="*/ 3 w 1070"/>
              <a:gd name="T75" fmla="*/ 478 h 902"/>
              <a:gd name="T76" fmla="*/ 11 w 1070"/>
              <a:gd name="T77" fmla="*/ 503 h 902"/>
              <a:gd name="T78" fmla="*/ 23 w 1070"/>
              <a:gd name="T79" fmla="*/ 525 h 902"/>
              <a:gd name="T80" fmla="*/ 40 w 1070"/>
              <a:gd name="T81" fmla="*/ 545 h 902"/>
              <a:gd name="T82" fmla="*/ 60 w 1070"/>
              <a:gd name="T83" fmla="*/ 562 h 902"/>
              <a:gd name="T84" fmla="*/ 82 w 1070"/>
              <a:gd name="T85" fmla="*/ 574 h 902"/>
              <a:gd name="T86" fmla="*/ 106 w 1070"/>
              <a:gd name="T87" fmla="*/ 582 h 902"/>
              <a:gd name="T88" fmla="*/ 133 w 1070"/>
              <a:gd name="T89" fmla="*/ 585 h 902"/>
              <a:gd name="T90" fmla="*/ 501 w 1070"/>
              <a:gd name="T91" fmla="*/ 670 h 902"/>
              <a:gd name="T92" fmla="*/ 492 w 1070"/>
              <a:gd name="T93" fmla="*/ 680 h 902"/>
              <a:gd name="T94" fmla="*/ 477 w 1070"/>
              <a:gd name="T95" fmla="*/ 702 h 902"/>
              <a:gd name="T96" fmla="*/ 465 w 1070"/>
              <a:gd name="T97" fmla="*/ 725 h 902"/>
              <a:gd name="T98" fmla="*/ 460 w 1070"/>
              <a:gd name="T99" fmla="*/ 751 h 902"/>
              <a:gd name="T100" fmla="*/ 459 w 1070"/>
              <a:gd name="T101" fmla="*/ 776 h 902"/>
              <a:gd name="T102" fmla="*/ 463 w 1070"/>
              <a:gd name="T103" fmla="*/ 802 h 902"/>
              <a:gd name="T104" fmla="*/ 471 w 1070"/>
              <a:gd name="T105" fmla="*/ 826 h 902"/>
              <a:gd name="T106" fmla="*/ 486 w 1070"/>
              <a:gd name="T107" fmla="*/ 849 h 902"/>
              <a:gd name="T108" fmla="*/ 493 w 1070"/>
              <a:gd name="T109" fmla="*/ 860 h 902"/>
              <a:gd name="T110" fmla="*/ 514 w 1070"/>
              <a:gd name="T111" fmla="*/ 877 h 902"/>
              <a:gd name="T112" fmla="*/ 537 w 1070"/>
              <a:gd name="T113" fmla="*/ 890 h 902"/>
              <a:gd name="T114" fmla="*/ 561 w 1070"/>
              <a:gd name="T115" fmla="*/ 899 h 902"/>
              <a:gd name="T116" fmla="*/ 587 w 1070"/>
              <a:gd name="T117" fmla="*/ 902 h 902"/>
              <a:gd name="T118" fmla="*/ 612 w 1070"/>
              <a:gd name="T119" fmla="*/ 901 h 902"/>
              <a:gd name="T120" fmla="*/ 638 w 1070"/>
              <a:gd name="T121" fmla="*/ 894 h 902"/>
              <a:gd name="T122" fmla="*/ 661 w 1070"/>
              <a:gd name="T123" fmla="*/ 883 h 902"/>
              <a:gd name="T124" fmla="*/ 683 w 1070"/>
              <a:gd name="T125" fmla="*/ 86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0" h="902">
                <a:moveTo>
                  <a:pt x="683" y="867"/>
                </a:moveTo>
                <a:lnTo>
                  <a:pt x="1028" y="549"/>
                </a:lnTo>
                <a:lnTo>
                  <a:pt x="1028" y="549"/>
                </a:lnTo>
                <a:lnTo>
                  <a:pt x="1038" y="539"/>
                </a:lnTo>
                <a:lnTo>
                  <a:pt x="1046" y="528"/>
                </a:lnTo>
                <a:lnTo>
                  <a:pt x="1054" y="516"/>
                </a:lnTo>
                <a:lnTo>
                  <a:pt x="1059" y="504"/>
                </a:lnTo>
                <a:lnTo>
                  <a:pt x="1064" y="492"/>
                </a:lnTo>
                <a:lnTo>
                  <a:pt x="1067" y="478"/>
                </a:lnTo>
                <a:lnTo>
                  <a:pt x="1069" y="465"/>
                </a:lnTo>
                <a:lnTo>
                  <a:pt x="1070" y="450"/>
                </a:lnTo>
                <a:lnTo>
                  <a:pt x="1069" y="437"/>
                </a:lnTo>
                <a:lnTo>
                  <a:pt x="1067" y="424"/>
                </a:lnTo>
                <a:lnTo>
                  <a:pt x="1064" y="410"/>
                </a:lnTo>
                <a:lnTo>
                  <a:pt x="1059" y="398"/>
                </a:lnTo>
                <a:lnTo>
                  <a:pt x="1054" y="386"/>
                </a:lnTo>
                <a:lnTo>
                  <a:pt x="1046" y="374"/>
                </a:lnTo>
                <a:lnTo>
                  <a:pt x="1038" y="363"/>
                </a:lnTo>
                <a:lnTo>
                  <a:pt x="1028" y="353"/>
                </a:lnTo>
                <a:lnTo>
                  <a:pt x="683" y="35"/>
                </a:lnTo>
                <a:lnTo>
                  <a:pt x="683" y="35"/>
                </a:lnTo>
                <a:lnTo>
                  <a:pt x="672" y="26"/>
                </a:lnTo>
                <a:lnTo>
                  <a:pt x="661" y="19"/>
                </a:lnTo>
                <a:lnTo>
                  <a:pt x="650" y="12"/>
                </a:lnTo>
                <a:lnTo>
                  <a:pt x="638" y="8"/>
                </a:lnTo>
                <a:lnTo>
                  <a:pt x="626" y="4"/>
                </a:lnTo>
                <a:lnTo>
                  <a:pt x="612" y="1"/>
                </a:lnTo>
                <a:lnTo>
                  <a:pt x="600" y="0"/>
                </a:lnTo>
                <a:lnTo>
                  <a:pt x="587" y="0"/>
                </a:lnTo>
                <a:lnTo>
                  <a:pt x="573" y="1"/>
                </a:lnTo>
                <a:lnTo>
                  <a:pt x="561" y="3"/>
                </a:lnTo>
                <a:lnTo>
                  <a:pt x="549" y="7"/>
                </a:lnTo>
                <a:lnTo>
                  <a:pt x="537" y="12"/>
                </a:lnTo>
                <a:lnTo>
                  <a:pt x="524" y="18"/>
                </a:lnTo>
                <a:lnTo>
                  <a:pt x="514" y="25"/>
                </a:lnTo>
                <a:lnTo>
                  <a:pt x="503" y="33"/>
                </a:lnTo>
                <a:lnTo>
                  <a:pt x="493" y="42"/>
                </a:lnTo>
                <a:lnTo>
                  <a:pt x="493" y="42"/>
                </a:lnTo>
                <a:lnTo>
                  <a:pt x="486" y="53"/>
                </a:lnTo>
                <a:lnTo>
                  <a:pt x="478" y="65"/>
                </a:lnTo>
                <a:lnTo>
                  <a:pt x="471" y="76"/>
                </a:lnTo>
                <a:lnTo>
                  <a:pt x="467" y="88"/>
                </a:lnTo>
                <a:lnTo>
                  <a:pt x="463" y="100"/>
                </a:lnTo>
                <a:lnTo>
                  <a:pt x="460" y="113"/>
                </a:lnTo>
                <a:lnTo>
                  <a:pt x="459" y="126"/>
                </a:lnTo>
                <a:lnTo>
                  <a:pt x="459" y="139"/>
                </a:lnTo>
                <a:lnTo>
                  <a:pt x="460" y="151"/>
                </a:lnTo>
                <a:lnTo>
                  <a:pt x="462" y="165"/>
                </a:lnTo>
                <a:lnTo>
                  <a:pt x="465" y="177"/>
                </a:lnTo>
                <a:lnTo>
                  <a:pt x="471" y="189"/>
                </a:lnTo>
                <a:lnTo>
                  <a:pt x="477" y="201"/>
                </a:lnTo>
                <a:lnTo>
                  <a:pt x="483" y="211"/>
                </a:lnTo>
                <a:lnTo>
                  <a:pt x="492" y="222"/>
                </a:lnTo>
                <a:lnTo>
                  <a:pt x="501" y="232"/>
                </a:lnTo>
                <a:lnTo>
                  <a:pt x="593" y="317"/>
                </a:lnTo>
                <a:lnTo>
                  <a:pt x="133" y="317"/>
                </a:lnTo>
                <a:lnTo>
                  <a:pt x="133" y="317"/>
                </a:lnTo>
                <a:lnTo>
                  <a:pt x="120" y="318"/>
                </a:lnTo>
                <a:lnTo>
                  <a:pt x="106" y="320"/>
                </a:lnTo>
                <a:lnTo>
                  <a:pt x="94" y="324"/>
                </a:lnTo>
                <a:lnTo>
                  <a:pt x="82" y="328"/>
                </a:lnTo>
                <a:lnTo>
                  <a:pt x="70" y="334"/>
                </a:lnTo>
                <a:lnTo>
                  <a:pt x="60" y="340"/>
                </a:lnTo>
                <a:lnTo>
                  <a:pt x="48" y="348"/>
                </a:lnTo>
                <a:lnTo>
                  <a:pt x="40" y="357"/>
                </a:lnTo>
                <a:lnTo>
                  <a:pt x="31" y="366"/>
                </a:lnTo>
                <a:lnTo>
                  <a:pt x="23" y="377"/>
                </a:lnTo>
                <a:lnTo>
                  <a:pt x="16" y="387"/>
                </a:lnTo>
                <a:lnTo>
                  <a:pt x="11" y="399"/>
                </a:lnTo>
                <a:lnTo>
                  <a:pt x="6" y="412"/>
                </a:lnTo>
                <a:lnTo>
                  <a:pt x="3" y="424"/>
                </a:lnTo>
                <a:lnTo>
                  <a:pt x="1" y="437"/>
                </a:lnTo>
                <a:lnTo>
                  <a:pt x="0" y="450"/>
                </a:lnTo>
                <a:lnTo>
                  <a:pt x="0" y="450"/>
                </a:lnTo>
                <a:lnTo>
                  <a:pt x="1" y="465"/>
                </a:lnTo>
                <a:lnTo>
                  <a:pt x="3" y="478"/>
                </a:lnTo>
                <a:lnTo>
                  <a:pt x="6" y="490"/>
                </a:lnTo>
                <a:lnTo>
                  <a:pt x="11" y="503"/>
                </a:lnTo>
                <a:lnTo>
                  <a:pt x="16" y="515"/>
                </a:lnTo>
                <a:lnTo>
                  <a:pt x="23" y="525"/>
                </a:lnTo>
                <a:lnTo>
                  <a:pt x="31" y="536"/>
                </a:lnTo>
                <a:lnTo>
                  <a:pt x="40" y="545"/>
                </a:lnTo>
                <a:lnTo>
                  <a:pt x="48" y="554"/>
                </a:lnTo>
                <a:lnTo>
                  <a:pt x="60" y="562"/>
                </a:lnTo>
                <a:lnTo>
                  <a:pt x="70" y="568"/>
                </a:lnTo>
                <a:lnTo>
                  <a:pt x="82" y="574"/>
                </a:lnTo>
                <a:lnTo>
                  <a:pt x="94" y="578"/>
                </a:lnTo>
                <a:lnTo>
                  <a:pt x="106" y="582"/>
                </a:lnTo>
                <a:lnTo>
                  <a:pt x="120" y="584"/>
                </a:lnTo>
                <a:lnTo>
                  <a:pt x="133" y="585"/>
                </a:lnTo>
                <a:lnTo>
                  <a:pt x="594" y="585"/>
                </a:lnTo>
                <a:lnTo>
                  <a:pt x="501" y="670"/>
                </a:lnTo>
                <a:lnTo>
                  <a:pt x="501" y="670"/>
                </a:lnTo>
                <a:lnTo>
                  <a:pt x="492" y="680"/>
                </a:lnTo>
                <a:lnTo>
                  <a:pt x="483" y="691"/>
                </a:lnTo>
                <a:lnTo>
                  <a:pt x="477" y="702"/>
                </a:lnTo>
                <a:lnTo>
                  <a:pt x="471" y="713"/>
                </a:lnTo>
                <a:lnTo>
                  <a:pt x="465" y="725"/>
                </a:lnTo>
                <a:lnTo>
                  <a:pt x="462" y="737"/>
                </a:lnTo>
                <a:lnTo>
                  <a:pt x="460" y="751"/>
                </a:lnTo>
                <a:lnTo>
                  <a:pt x="459" y="763"/>
                </a:lnTo>
                <a:lnTo>
                  <a:pt x="459" y="776"/>
                </a:lnTo>
                <a:lnTo>
                  <a:pt x="460" y="789"/>
                </a:lnTo>
                <a:lnTo>
                  <a:pt x="463" y="802"/>
                </a:lnTo>
                <a:lnTo>
                  <a:pt x="467" y="814"/>
                </a:lnTo>
                <a:lnTo>
                  <a:pt x="471" y="826"/>
                </a:lnTo>
                <a:lnTo>
                  <a:pt x="478" y="837"/>
                </a:lnTo>
                <a:lnTo>
                  <a:pt x="486" y="849"/>
                </a:lnTo>
                <a:lnTo>
                  <a:pt x="493" y="860"/>
                </a:lnTo>
                <a:lnTo>
                  <a:pt x="493" y="860"/>
                </a:lnTo>
                <a:lnTo>
                  <a:pt x="503" y="869"/>
                </a:lnTo>
                <a:lnTo>
                  <a:pt x="514" y="877"/>
                </a:lnTo>
                <a:lnTo>
                  <a:pt x="524" y="884"/>
                </a:lnTo>
                <a:lnTo>
                  <a:pt x="537" y="890"/>
                </a:lnTo>
                <a:lnTo>
                  <a:pt x="549" y="895"/>
                </a:lnTo>
                <a:lnTo>
                  <a:pt x="561" y="899"/>
                </a:lnTo>
                <a:lnTo>
                  <a:pt x="573" y="901"/>
                </a:lnTo>
                <a:lnTo>
                  <a:pt x="587" y="902"/>
                </a:lnTo>
                <a:lnTo>
                  <a:pt x="600" y="902"/>
                </a:lnTo>
                <a:lnTo>
                  <a:pt x="612" y="901"/>
                </a:lnTo>
                <a:lnTo>
                  <a:pt x="626" y="898"/>
                </a:lnTo>
                <a:lnTo>
                  <a:pt x="638" y="894"/>
                </a:lnTo>
                <a:lnTo>
                  <a:pt x="650" y="890"/>
                </a:lnTo>
                <a:lnTo>
                  <a:pt x="661" y="883"/>
                </a:lnTo>
                <a:lnTo>
                  <a:pt x="672" y="875"/>
                </a:lnTo>
                <a:lnTo>
                  <a:pt x="683" y="867"/>
                </a:lnTo>
                <a:lnTo>
                  <a:pt x="683" y="86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04" name="Freeform 37">
            <a:extLst>
              <a:ext uri="{FF2B5EF4-FFF2-40B4-BE49-F238E27FC236}">
                <a16:creationId xmlns:a16="http://schemas.microsoft.com/office/drawing/2014/main" id="{726F46E1-764C-4E3B-AD56-DC87F5C2E41D}"/>
              </a:ext>
            </a:extLst>
          </p:cNvPr>
          <p:cNvSpPr>
            <a:spLocks/>
          </p:cNvSpPr>
          <p:nvPr>
            <p:custDataLst>
              <p:tags r:id="rId31"/>
            </p:custDataLst>
          </p:nvPr>
        </p:nvSpPr>
        <p:spPr bwMode="auto">
          <a:xfrm>
            <a:off x="1032797" y="2750618"/>
            <a:ext cx="278193" cy="234432"/>
          </a:xfrm>
          <a:custGeom>
            <a:avLst/>
            <a:gdLst>
              <a:gd name="T0" fmla="*/ 1028 w 1070"/>
              <a:gd name="T1" fmla="*/ 549 h 902"/>
              <a:gd name="T2" fmla="*/ 1038 w 1070"/>
              <a:gd name="T3" fmla="*/ 539 h 902"/>
              <a:gd name="T4" fmla="*/ 1054 w 1070"/>
              <a:gd name="T5" fmla="*/ 516 h 902"/>
              <a:gd name="T6" fmla="*/ 1064 w 1070"/>
              <a:gd name="T7" fmla="*/ 492 h 902"/>
              <a:gd name="T8" fmla="*/ 1069 w 1070"/>
              <a:gd name="T9" fmla="*/ 465 h 902"/>
              <a:gd name="T10" fmla="*/ 1069 w 1070"/>
              <a:gd name="T11" fmla="*/ 437 h 902"/>
              <a:gd name="T12" fmla="*/ 1064 w 1070"/>
              <a:gd name="T13" fmla="*/ 410 h 902"/>
              <a:gd name="T14" fmla="*/ 1054 w 1070"/>
              <a:gd name="T15" fmla="*/ 386 h 902"/>
              <a:gd name="T16" fmla="*/ 1038 w 1070"/>
              <a:gd name="T17" fmla="*/ 363 h 902"/>
              <a:gd name="T18" fmla="*/ 683 w 1070"/>
              <a:gd name="T19" fmla="*/ 35 h 902"/>
              <a:gd name="T20" fmla="*/ 672 w 1070"/>
              <a:gd name="T21" fmla="*/ 26 h 902"/>
              <a:gd name="T22" fmla="*/ 650 w 1070"/>
              <a:gd name="T23" fmla="*/ 12 h 902"/>
              <a:gd name="T24" fmla="*/ 626 w 1070"/>
              <a:gd name="T25" fmla="*/ 4 h 902"/>
              <a:gd name="T26" fmla="*/ 600 w 1070"/>
              <a:gd name="T27" fmla="*/ 0 h 902"/>
              <a:gd name="T28" fmla="*/ 573 w 1070"/>
              <a:gd name="T29" fmla="*/ 1 h 902"/>
              <a:gd name="T30" fmla="*/ 549 w 1070"/>
              <a:gd name="T31" fmla="*/ 7 h 902"/>
              <a:gd name="T32" fmla="*/ 524 w 1070"/>
              <a:gd name="T33" fmla="*/ 18 h 902"/>
              <a:gd name="T34" fmla="*/ 503 w 1070"/>
              <a:gd name="T35" fmla="*/ 33 h 902"/>
              <a:gd name="T36" fmla="*/ 493 w 1070"/>
              <a:gd name="T37" fmla="*/ 42 h 902"/>
              <a:gd name="T38" fmla="*/ 478 w 1070"/>
              <a:gd name="T39" fmla="*/ 65 h 902"/>
              <a:gd name="T40" fmla="*/ 467 w 1070"/>
              <a:gd name="T41" fmla="*/ 88 h 902"/>
              <a:gd name="T42" fmla="*/ 460 w 1070"/>
              <a:gd name="T43" fmla="*/ 113 h 902"/>
              <a:gd name="T44" fmla="*/ 459 w 1070"/>
              <a:gd name="T45" fmla="*/ 139 h 902"/>
              <a:gd name="T46" fmla="*/ 462 w 1070"/>
              <a:gd name="T47" fmla="*/ 165 h 902"/>
              <a:gd name="T48" fmla="*/ 471 w 1070"/>
              <a:gd name="T49" fmla="*/ 189 h 902"/>
              <a:gd name="T50" fmla="*/ 483 w 1070"/>
              <a:gd name="T51" fmla="*/ 211 h 902"/>
              <a:gd name="T52" fmla="*/ 501 w 1070"/>
              <a:gd name="T53" fmla="*/ 232 h 902"/>
              <a:gd name="T54" fmla="*/ 133 w 1070"/>
              <a:gd name="T55" fmla="*/ 317 h 902"/>
              <a:gd name="T56" fmla="*/ 120 w 1070"/>
              <a:gd name="T57" fmla="*/ 318 h 902"/>
              <a:gd name="T58" fmla="*/ 94 w 1070"/>
              <a:gd name="T59" fmla="*/ 324 h 902"/>
              <a:gd name="T60" fmla="*/ 70 w 1070"/>
              <a:gd name="T61" fmla="*/ 334 h 902"/>
              <a:gd name="T62" fmla="*/ 48 w 1070"/>
              <a:gd name="T63" fmla="*/ 348 h 902"/>
              <a:gd name="T64" fmla="*/ 31 w 1070"/>
              <a:gd name="T65" fmla="*/ 366 h 902"/>
              <a:gd name="T66" fmla="*/ 16 w 1070"/>
              <a:gd name="T67" fmla="*/ 387 h 902"/>
              <a:gd name="T68" fmla="*/ 6 w 1070"/>
              <a:gd name="T69" fmla="*/ 412 h 902"/>
              <a:gd name="T70" fmla="*/ 1 w 1070"/>
              <a:gd name="T71" fmla="*/ 437 h 902"/>
              <a:gd name="T72" fmla="*/ 0 w 1070"/>
              <a:gd name="T73" fmla="*/ 450 h 902"/>
              <a:gd name="T74" fmla="*/ 3 w 1070"/>
              <a:gd name="T75" fmla="*/ 478 h 902"/>
              <a:gd name="T76" fmla="*/ 11 w 1070"/>
              <a:gd name="T77" fmla="*/ 503 h 902"/>
              <a:gd name="T78" fmla="*/ 23 w 1070"/>
              <a:gd name="T79" fmla="*/ 525 h 902"/>
              <a:gd name="T80" fmla="*/ 40 w 1070"/>
              <a:gd name="T81" fmla="*/ 545 h 902"/>
              <a:gd name="T82" fmla="*/ 60 w 1070"/>
              <a:gd name="T83" fmla="*/ 562 h 902"/>
              <a:gd name="T84" fmla="*/ 82 w 1070"/>
              <a:gd name="T85" fmla="*/ 574 h 902"/>
              <a:gd name="T86" fmla="*/ 106 w 1070"/>
              <a:gd name="T87" fmla="*/ 582 h 902"/>
              <a:gd name="T88" fmla="*/ 133 w 1070"/>
              <a:gd name="T89" fmla="*/ 585 h 902"/>
              <a:gd name="T90" fmla="*/ 501 w 1070"/>
              <a:gd name="T91" fmla="*/ 670 h 902"/>
              <a:gd name="T92" fmla="*/ 492 w 1070"/>
              <a:gd name="T93" fmla="*/ 680 h 902"/>
              <a:gd name="T94" fmla="*/ 477 w 1070"/>
              <a:gd name="T95" fmla="*/ 702 h 902"/>
              <a:gd name="T96" fmla="*/ 465 w 1070"/>
              <a:gd name="T97" fmla="*/ 725 h 902"/>
              <a:gd name="T98" fmla="*/ 460 w 1070"/>
              <a:gd name="T99" fmla="*/ 751 h 902"/>
              <a:gd name="T100" fmla="*/ 459 w 1070"/>
              <a:gd name="T101" fmla="*/ 776 h 902"/>
              <a:gd name="T102" fmla="*/ 463 w 1070"/>
              <a:gd name="T103" fmla="*/ 802 h 902"/>
              <a:gd name="T104" fmla="*/ 471 w 1070"/>
              <a:gd name="T105" fmla="*/ 826 h 902"/>
              <a:gd name="T106" fmla="*/ 486 w 1070"/>
              <a:gd name="T107" fmla="*/ 849 h 902"/>
              <a:gd name="T108" fmla="*/ 493 w 1070"/>
              <a:gd name="T109" fmla="*/ 860 h 902"/>
              <a:gd name="T110" fmla="*/ 514 w 1070"/>
              <a:gd name="T111" fmla="*/ 877 h 902"/>
              <a:gd name="T112" fmla="*/ 537 w 1070"/>
              <a:gd name="T113" fmla="*/ 890 h 902"/>
              <a:gd name="T114" fmla="*/ 561 w 1070"/>
              <a:gd name="T115" fmla="*/ 899 h 902"/>
              <a:gd name="T116" fmla="*/ 587 w 1070"/>
              <a:gd name="T117" fmla="*/ 902 h 902"/>
              <a:gd name="T118" fmla="*/ 612 w 1070"/>
              <a:gd name="T119" fmla="*/ 901 h 902"/>
              <a:gd name="T120" fmla="*/ 638 w 1070"/>
              <a:gd name="T121" fmla="*/ 894 h 902"/>
              <a:gd name="T122" fmla="*/ 661 w 1070"/>
              <a:gd name="T123" fmla="*/ 883 h 902"/>
              <a:gd name="T124" fmla="*/ 683 w 1070"/>
              <a:gd name="T125" fmla="*/ 86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0" h="902">
                <a:moveTo>
                  <a:pt x="683" y="867"/>
                </a:moveTo>
                <a:lnTo>
                  <a:pt x="1028" y="549"/>
                </a:lnTo>
                <a:lnTo>
                  <a:pt x="1028" y="549"/>
                </a:lnTo>
                <a:lnTo>
                  <a:pt x="1038" y="539"/>
                </a:lnTo>
                <a:lnTo>
                  <a:pt x="1046" y="528"/>
                </a:lnTo>
                <a:lnTo>
                  <a:pt x="1054" y="516"/>
                </a:lnTo>
                <a:lnTo>
                  <a:pt x="1059" y="504"/>
                </a:lnTo>
                <a:lnTo>
                  <a:pt x="1064" y="492"/>
                </a:lnTo>
                <a:lnTo>
                  <a:pt x="1067" y="478"/>
                </a:lnTo>
                <a:lnTo>
                  <a:pt x="1069" y="465"/>
                </a:lnTo>
                <a:lnTo>
                  <a:pt x="1070" y="450"/>
                </a:lnTo>
                <a:lnTo>
                  <a:pt x="1069" y="437"/>
                </a:lnTo>
                <a:lnTo>
                  <a:pt x="1067" y="424"/>
                </a:lnTo>
                <a:lnTo>
                  <a:pt x="1064" y="410"/>
                </a:lnTo>
                <a:lnTo>
                  <a:pt x="1059" y="398"/>
                </a:lnTo>
                <a:lnTo>
                  <a:pt x="1054" y="386"/>
                </a:lnTo>
                <a:lnTo>
                  <a:pt x="1046" y="374"/>
                </a:lnTo>
                <a:lnTo>
                  <a:pt x="1038" y="363"/>
                </a:lnTo>
                <a:lnTo>
                  <a:pt x="1028" y="353"/>
                </a:lnTo>
                <a:lnTo>
                  <a:pt x="683" y="35"/>
                </a:lnTo>
                <a:lnTo>
                  <a:pt x="683" y="35"/>
                </a:lnTo>
                <a:lnTo>
                  <a:pt x="672" y="26"/>
                </a:lnTo>
                <a:lnTo>
                  <a:pt x="661" y="19"/>
                </a:lnTo>
                <a:lnTo>
                  <a:pt x="650" y="12"/>
                </a:lnTo>
                <a:lnTo>
                  <a:pt x="638" y="8"/>
                </a:lnTo>
                <a:lnTo>
                  <a:pt x="626" y="4"/>
                </a:lnTo>
                <a:lnTo>
                  <a:pt x="612" y="1"/>
                </a:lnTo>
                <a:lnTo>
                  <a:pt x="600" y="0"/>
                </a:lnTo>
                <a:lnTo>
                  <a:pt x="587" y="0"/>
                </a:lnTo>
                <a:lnTo>
                  <a:pt x="573" y="1"/>
                </a:lnTo>
                <a:lnTo>
                  <a:pt x="561" y="3"/>
                </a:lnTo>
                <a:lnTo>
                  <a:pt x="549" y="7"/>
                </a:lnTo>
                <a:lnTo>
                  <a:pt x="537" y="12"/>
                </a:lnTo>
                <a:lnTo>
                  <a:pt x="524" y="18"/>
                </a:lnTo>
                <a:lnTo>
                  <a:pt x="514" y="25"/>
                </a:lnTo>
                <a:lnTo>
                  <a:pt x="503" y="33"/>
                </a:lnTo>
                <a:lnTo>
                  <a:pt x="493" y="42"/>
                </a:lnTo>
                <a:lnTo>
                  <a:pt x="493" y="42"/>
                </a:lnTo>
                <a:lnTo>
                  <a:pt x="486" y="53"/>
                </a:lnTo>
                <a:lnTo>
                  <a:pt x="478" y="65"/>
                </a:lnTo>
                <a:lnTo>
                  <a:pt x="471" y="76"/>
                </a:lnTo>
                <a:lnTo>
                  <a:pt x="467" y="88"/>
                </a:lnTo>
                <a:lnTo>
                  <a:pt x="463" y="100"/>
                </a:lnTo>
                <a:lnTo>
                  <a:pt x="460" y="113"/>
                </a:lnTo>
                <a:lnTo>
                  <a:pt x="459" y="126"/>
                </a:lnTo>
                <a:lnTo>
                  <a:pt x="459" y="139"/>
                </a:lnTo>
                <a:lnTo>
                  <a:pt x="460" y="151"/>
                </a:lnTo>
                <a:lnTo>
                  <a:pt x="462" y="165"/>
                </a:lnTo>
                <a:lnTo>
                  <a:pt x="465" y="177"/>
                </a:lnTo>
                <a:lnTo>
                  <a:pt x="471" y="189"/>
                </a:lnTo>
                <a:lnTo>
                  <a:pt x="477" y="201"/>
                </a:lnTo>
                <a:lnTo>
                  <a:pt x="483" y="211"/>
                </a:lnTo>
                <a:lnTo>
                  <a:pt x="492" y="222"/>
                </a:lnTo>
                <a:lnTo>
                  <a:pt x="501" y="232"/>
                </a:lnTo>
                <a:lnTo>
                  <a:pt x="593" y="317"/>
                </a:lnTo>
                <a:lnTo>
                  <a:pt x="133" y="317"/>
                </a:lnTo>
                <a:lnTo>
                  <a:pt x="133" y="317"/>
                </a:lnTo>
                <a:lnTo>
                  <a:pt x="120" y="318"/>
                </a:lnTo>
                <a:lnTo>
                  <a:pt x="106" y="320"/>
                </a:lnTo>
                <a:lnTo>
                  <a:pt x="94" y="324"/>
                </a:lnTo>
                <a:lnTo>
                  <a:pt x="82" y="328"/>
                </a:lnTo>
                <a:lnTo>
                  <a:pt x="70" y="334"/>
                </a:lnTo>
                <a:lnTo>
                  <a:pt x="60" y="340"/>
                </a:lnTo>
                <a:lnTo>
                  <a:pt x="48" y="348"/>
                </a:lnTo>
                <a:lnTo>
                  <a:pt x="40" y="357"/>
                </a:lnTo>
                <a:lnTo>
                  <a:pt x="31" y="366"/>
                </a:lnTo>
                <a:lnTo>
                  <a:pt x="23" y="377"/>
                </a:lnTo>
                <a:lnTo>
                  <a:pt x="16" y="387"/>
                </a:lnTo>
                <a:lnTo>
                  <a:pt x="11" y="399"/>
                </a:lnTo>
                <a:lnTo>
                  <a:pt x="6" y="412"/>
                </a:lnTo>
                <a:lnTo>
                  <a:pt x="3" y="424"/>
                </a:lnTo>
                <a:lnTo>
                  <a:pt x="1" y="437"/>
                </a:lnTo>
                <a:lnTo>
                  <a:pt x="0" y="450"/>
                </a:lnTo>
                <a:lnTo>
                  <a:pt x="0" y="450"/>
                </a:lnTo>
                <a:lnTo>
                  <a:pt x="1" y="465"/>
                </a:lnTo>
                <a:lnTo>
                  <a:pt x="3" y="478"/>
                </a:lnTo>
                <a:lnTo>
                  <a:pt x="6" y="490"/>
                </a:lnTo>
                <a:lnTo>
                  <a:pt x="11" y="503"/>
                </a:lnTo>
                <a:lnTo>
                  <a:pt x="16" y="515"/>
                </a:lnTo>
                <a:lnTo>
                  <a:pt x="23" y="525"/>
                </a:lnTo>
                <a:lnTo>
                  <a:pt x="31" y="536"/>
                </a:lnTo>
                <a:lnTo>
                  <a:pt x="40" y="545"/>
                </a:lnTo>
                <a:lnTo>
                  <a:pt x="48" y="554"/>
                </a:lnTo>
                <a:lnTo>
                  <a:pt x="60" y="562"/>
                </a:lnTo>
                <a:lnTo>
                  <a:pt x="70" y="568"/>
                </a:lnTo>
                <a:lnTo>
                  <a:pt x="82" y="574"/>
                </a:lnTo>
                <a:lnTo>
                  <a:pt x="94" y="578"/>
                </a:lnTo>
                <a:lnTo>
                  <a:pt x="106" y="582"/>
                </a:lnTo>
                <a:lnTo>
                  <a:pt x="120" y="584"/>
                </a:lnTo>
                <a:lnTo>
                  <a:pt x="133" y="585"/>
                </a:lnTo>
                <a:lnTo>
                  <a:pt x="594" y="585"/>
                </a:lnTo>
                <a:lnTo>
                  <a:pt x="501" y="670"/>
                </a:lnTo>
                <a:lnTo>
                  <a:pt x="501" y="670"/>
                </a:lnTo>
                <a:lnTo>
                  <a:pt x="492" y="680"/>
                </a:lnTo>
                <a:lnTo>
                  <a:pt x="483" y="691"/>
                </a:lnTo>
                <a:lnTo>
                  <a:pt x="477" y="702"/>
                </a:lnTo>
                <a:lnTo>
                  <a:pt x="471" y="713"/>
                </a:lnTo>
                <a:lnTo>
                  <a:pt x="465" y="725"/>
                </a:lnTo>
                <a:lnTo>
                  <a:pt x="462" y="737"/>
                </a:lnTo>
                <a:lnTo>
                  <a:pt x="460" y="751"/>
                </a:lnTo>
                <a:lnTo>
                  <a:pt x="459" y="763"/>
                </a:lnTo>
                <a:lnTo>
                  <a:pt x="459" y="776"/>
                </a:lnTo>
                <a:lnTo>
                  <a:pt x="460" y="789"/>
                </a:lnTo>
                <a:lnTo>
                  <a:pt x="463" y="802"/>
                </a:lnTo>
                <a:lnTo>
                  <a:pt x="467" y="814"/>
                </a:lnTo>
                <a:lnTo>
                  <a:pt x="471" y="826"/>
                </a:lnTo>
                <a:lnTo>
                  <a:pt x="478" y="837"/>
                </a:lnTo>
                <a:lnTo>
                  <a:pt x="486" y="849"/>
                </a:lnTo>
                <a:lnTo>
                  <a:pt x="493" y="860"/>
                </a:lnTo>
                <a:lnTo>
                  <a:pt x="493" y="860"/>
                </a:lnTo>
                <a:lnTo>
                  <a:pt x="503" y="869"/>
                </a:lnTo>
                <a:lnTo>
                  <a:pt x="514" y="877"/>
                </a:lnTo>
                <a:lnTo>
                  <a:pt x="524" y="884"/>
                </a:lnTo>
                <a:lnTo>
                  <a:pt x="537" y="890"/>
                </a:lnTo>
                <a:lnTo>
                  <a:pt x="549" y="895"/>
                </a:lnTo>
                <a:lnTo>
                  <a:pt x="561" y="899"/>
                </a:lnTo>
                <a:lnTo>
                  <a:pt x="573" y="901"/>
                </a:lnTo>
                <a:lnTo>
                  <a:pt x="587" y="902"/>
                </a:lnTo>
                <a:lnTo>
                  <a:pt x="600" y="902"/>
                </a:lnTo>
                <a:lnTo>
                  <a:pt x="612" y="901"/>
                </a:lnTo>
                <a:lnTo>
                  <a:pt x="626" y="898"/>
                </a:lnTo>
                <a:lnTo>
                  <a:pt x="638" y="894"/>
                </a:lnTo>
                <a:lnTo>
                  <a:pt x="650" y="890"/>
                </a:lnTo>
                <a:lnTo>
                  <a:pt x="661" y="883"/>
                </a:lnTo>
                <a:lnTo>
                  <a:pt x="672" y="875"/>
                </a:lnTo>
                <a:lnTo>
                  <a:pt x="683" y="867"/>
                </a:lnTo>
                <a:lnTo>
                  <a:pt x="683" y="86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04" name="Ellipse 303">
            <a:extLst>
              <a:ext uri="{FF2B5EF4-FFF2-40B4-BE49-F238E27FC236}">
                <a16:creationId xmlns:a16="http://schemas.microsoft.com/office/drawing/2014/main" id="{6D0F095C-AB0B-44AE-9538-EE7AE8222157}"/>
              </a:ext>
            </a:extLst>
          </p:cNvPr>
          <p:cNvSpPr/>
          <p:nvPr>
            <p:custDataLst>
              <p:tags r:id="rId32"/>
            </p:custDataLst>
          </p:nvPr>
        </p:nvSpPr>
        <p:spPr bwMode="auto">
          <a:xfrm>
            <a:off x="940145"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21" name="Freeform 37">
            <a:extLst>
              <a:ext uri="{FF2B5EF4-FFF2-40B4-BE49-F238E27FC236}">
                <a16:creationId xmlns:a16="http://schemas.microsoft.com/office/drawing/2014/main" id="{B02D63BF-4A26-45AC-981C-E2E64CD940B4}"/>
              </a:ext>
            </a:extLst>
          </p:cNvPr>
          <p:cNvSpPr>
            <a:spLocks/>
          </p:cNvSpPr>
          <p:nvPr>
            <p:custDataLst>
              <p:tags r:id="rId33"/>
            </p:custDataLst>
          </p:nvPr>
        </p:nvSpPr>
        <p:spPr bwMode="auto">
          <a:xfrm>
            <a:off x="1032797" y="3996511"/>
            <a:ext cx="278193" cy="234432"/>
          </a:xfrm>
          <a:custGeom>
            <a:avLst/>
            <a:gdLst>
              <a:gd name="T0" fmla="*/ 1028 w 1070"/>
              <a:gd name="T1" fmla="*/ 549 h 902"/>
              <a:gd name="T2" fmla="*/ 1038 w 1070"/>
              <a:gd name="T3" fmla="*/ 539 h 902"/>
              <a:gd name="T4" fmla="*/ 1054 w 1070"/>
              <a:gd name="T5" fmla="*/ 516 h 902"/>
              <a:gd name="T6" fmla="*/ 1064 w 1070"/>
              <a:gd name="T7" fmla="*/ 492 h 902"/>
              <a:gd name="T8" fmla="*/ 1069 w 1070"/>
              <a:gd name="T9" fmla="*/ 465 h 902"/>
              <a:gd name="T10" fmla="*/ 1069 w 1070"/>
              <a:gd name="T11" fmla="*/ 437 h 902"/>
              <a:gd name="T12" fmla="*/ 1064 w 1070"/>
              <a:gd name="T13" fmla="*/ 410 h 902"/>
              <a:gd name="T14" fmla="*/ 1054 w 1070"/>
              <a:gd name="T15" fmla="*/ 386 h 902"/>
              <a:gd name="T16" fmla="*/ 1038 w 1070"/>
              <a:gd name="T17" fmla="*/ 363 h 902"/>
              <a:gd name="T18" fmla="*/ 683 w 1070"/>
              <a:gd name="T19" fmla="*/ 35 h 902"/>
              <a:gd name="T20" fmla="*/ 672 w 1070"/>
              <a:gd name="T21" fmla="*/ 26 h 902"/>
              <a:gd name="T22" fmla="*/ 650 w 1070"/>
              <a:gd name="T23" fmla="*/ 12 h 902"/>
              <a:gd name="T24" fmla="*/ 626 w 1070"/>
              <a:gd name="T25" fmla="*/ 4 h 902"/>
              <a:gd name="T26" fmla="*/ 600 w 1070"/>
              <a:gd name="T27" fmla="*/ 0 h 902"/>
              <a:gd name="T28" fmla="*/ 573 w 1070"/>
              <a:gd name="T29" fmla="*/ 1 h 902"/>
              <a:gd name="T30" fmla="*/ 549 w 1070"/>
              <a:gd name="T31" fmla="*/ 7 h 902"/>
              <a:gd name="T32" fmla="*/ 524 w 1070"/>
              <a:gd name="T33" fmla="*/ 18 h 902"/>
              <a:gd name="T34" fmla="*/ 503 w 1070"/>
              <a:gd name="T35" fmla="*/ 33 h 902"/>
              <a:gd name="T36" fmla="*/ 493 w 1070"/>
              <a:gd name="T37" fmla="*/ 42 h 902"/>
              <a:gd name="T38" fmla="*/ 478 w 1070"/>
              <a:gd name="T39" fmla="*/ 65 h 902"/>
              <a:gd name="T40" fmla="*/ 467 w 1070"/>
              <a:gd name="T41" fmla="*/ 88 h 902"/>
              <a:gd name="T42" fmla="*/ 460 w 1070"/>
              <a:gd name="T43" fmla="*/ 113 h 902"/>
              <a:gd name="T44" fmla="*/ 459 w 1070"/>
              <a:gd name="T45" fmla="*/ 139 h 902"/>
              <a:gd name="T46" fmla="*/ 462 w 1070"/>
              <a:gd name="T47" fmla="*/ 165 h 902"/>
              <a:gd name="T48" fmla="*/ 471 w 1070"/>
              <a:gd name="T49" fmla="*/ 189 h 902"/>
              <a:gd name="T50" fmla="*/ 483 w 1070"/>
              <a:gd name="T51" fmla="*/ 211 h 902"/>
              <a:gd name="T52" fmla="*/ 501 w 1070"/>
              <a:gd name="T53" fmla="*/ 232 h 902"/>
              <a:gd name="T54" fmla="*/ 133 w 1070"/>
              <a:gd name="T55" fmla="*/ 317 h 902"/>
              <a:gd name="T56" fmla="*/ 120 w 1070"/>
              <a:gd name="T57" fmla="*/ 318 h 902"/>
              <a:gd name="T58" fmla="*/ 94 w 1070"/>
              <a:gd name="T59" fmla="*/ 324 h 902"/>
              <a:gd name="T60" fmla="*/ 70 w 1070"/>
              <a:gd name="T61" fmla="*/ 334 h 902"/>
              <a:gd name="T62" fmla="*/ 48 w 1070"/>
              <a:gd name="T63" fmla="*/ 348 h 902"/>
              <a:gd name="T64" fmla="*/ 31 w 1070"/>
              <a:gd name="T65" fmla="*/ 366 h 902"/>
              <a:gd name="T66" fmla="*/ 16 w 1070"/>
              <a:gd name="T67" fmla="*/ 387 h 902"/>
              <a:gd name="T68" fmla="*/ 6 w 1070"/>
              <a:gd name="T69" fmla="*/ 412 h 902"/>
              <a:gd name="T70" fmla="*/ 1 w 1070"/>
              <a:gd name="T71" fmla="*/ 437 h 902"/>
              <a:gd name="T72" fmla="*/ 0 w 1070"/>
              <a:gd name="T73" fmla="*/ 450 h 902"/>
              <a:gd name="T74" fmla="*/ 3 w 1070"/>
              <a:gd name="T75" fmla="*/ 478 h 902"/>
              <a:gd name="T76" fmla="*/ 11 w 1070"/>
              <a:gd name="T77" fmla="*/ 503 h 902"/>
              <a:gd name="T78" fmla="*/ 23 w 1070"/>
              <a:gd name="T79" fmla="*/ 525 h 902"/>
              <a:gd name="T80" fmla="*/ 40 w 1070"/>
              <a:gd name="T81" fmla="*/ 545 h 902"/>
              <a:gd name="T82" fmla="*/ 60 w 1070"/>
              <a:gd name="T83" fmla="*/ 562 h 902"/>
              <a:gd name="T84" fmla="*/ 82 w 1070"/>
              <a:gd name="T85" fmla="*/ 574 h 902"/>
              <a:gd name="T86" fmla="*/ 106 w 1070"/>
              <a:gd name="T87" fmla="*/ 582 h 902"/>
              <a:gd name="T88" fmla="*/ 133 w 1070"/>
              <a:gd name="T89" fmla="*/ 585 h 902"/>
              <a:gd name="T90" fmla="*/ 501 w 1070"/>
              <a:gd name="T91" fmla="*/ 670 h 902"/>
              <a:gd name="T92" fmla="*/ 492 w 1070"/>
              <a:gd name="T93" fmla="*/ 680 h 902"/>
              <a:gd name="T94" fmla="*/ 477 w 1070"/>
              <a:gd name="T95" fmla="*/ 702 h 902"/>
              <a:gd name="T96" fmla="*/ 465 w 1070"/>
              <a:gd name="T97" fmla="*/ 725 h 902"/>
              <a:gd name="T98" fmla="*/ 460 w 1070"/>
              <a:gd name="T99" fmla="*/ 751 h 902"/>
              <a:gd name="T100" fmla="*/ 459 w 1070"/>
              <a:gd name="T101" fmla="*/ 776 h 902"/>
              <a:gd name="T102" fmla="*/ 463 w 1070"/>
              <a:gd name="T103" fmla="*/ 802 h 902"/>
              <a:gd name="T104" fmla="*/ 471 w 1070"/>
              <a:gd name="T105" fmla="*/ 826 h 902"/>
              <a:gd name="T106" fmla="*/ 486 w 1070"/>
              <a:gd name="T107" fmla="*/ 849 h 902"/>
              <a:gd name="T108" fmla="*/ 493 w 1070"/>
              <a:gd name="T109" fmla="*/ 860 h 902"/>
              <a:gd name="T110" fmla="*/ 514 w 1070"/>
              <a:gd name="T111" fmla="*/ 877 h 902"/>
              <a:gd name="T112" fmla="*/ 537 w 1070"/>
              <a:gd name="T113" fmla="*/ 890 h 902"/>
              <a:gd name="T114" fmla="*/ 561 w 1070"/>
              <a:gd name="T115" fmla="*/ 899 h 902"/>
              <a:gd name="T116" fmla="*/ 587 w 1070"/>
              <a:gd name="T117" fmla="*/ 902 h 902"/>
              <a:gd name="T118" fmla="*/ 612 w 1070"/>
              <a:gd name="T119" fmla="*/ 901 h 902"/>
              <a:gd name="T120" fmla="*/ 638 w 1070"/>
              <a:gd name="T121" fmla="*/ 894 h 902"/>
              <a:gd name="T122" fmla="*/ 661 w 1070"/>
              <a:gd name="T123" fmla="*/ 883 h 902"/>
              <a:gd name="T124" fmla="*/ 683 w 1070"/>
              <a:gd name="T125" fmla="*/ 86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0" h="902">
                <a:moveTo>
                  <a:pt x="683" y="867"/>
                </a:moveTo>
                <a:lnTo>
                  <a:pt x="1028" y="549"/>
                </a:lnTo>
                <a:lnTo>
                  <a:pt x="1028" y="549"/>
                </a:lnTo>
                <a:lnTo>
                  <a:pt x="1038" y="539"/>
                </a:lnTo>
                <a:lnTo>
                  <a:pt x="1046" y="528"/>
                </a:lnTo>
                <a:lnTo>
                  <a:pt x="1054" y="516"/>
                </a:lnTo>
                <a:lnTo>
                  <a:pt x="1059" y="504"/>
                </a:lnTo>
                <a:lnTo>
                  <a:pt x="1064" y="492"/>
                </a:lnTo>
                <a:lnTo>
                  <a:pt x="1067" y="478"/>
                </a:lnTo>
                <a:lnTo>
                  <a:pt x="1069" y="465"/>
                </a:lnTo>
                <a:lnTo>
                  <a:pt x="1070" y="450"/>
                </a:lnTo>
                <a:lnTo>
                  <a:pt x="1069" y="437"/>
                </a:lnTo>
                <a:lnTo>
                  <a:pt x="1067" y="424"/>
                </a:lnTo>
                <a:lnTo>
                  <a:pt x="1064" y="410"/>
                </a:lnTo>
                <a:lnTo>
                  <a:pt x="1059" y="398"/>
                </a:lnTo>
                <a:lnTo>
                  <a:pt x="1054" y="386"/>
                </a:lnTo>
                <a:lnTo>
                  <a:pt x="1046" y="374"/>
                </a:lnTo>
                <a:lnTo>
                  <a:pt x="1038" y="363"/>
                </a:lnTo>
                <a:lnTo>
                  <a:pt x="1028" y="353"/>
                </a:lnTo>
                <a:lnTo>
                  <a:pt x="683" y="35"/>
                </a:lnTo>
                <a:lnTo>
                  <a:pt x="683" y="35"/>
                </a:lnTo>
                <a:lnTo>
                  <a:pt x="672" y="26"/>
                </a:lnTo>
                <a:lnTo>
                  <a:pt x="661" y="19"/>
                </a:lnTo>
                <a:lnTo>
                  <a:pt x="650" y="12"/>
                </a:lnTo>
                <a:lnTo>
                  <a:pt x="638" y="8"/>
                </a:lnTo>
                <a:lnTo>
                  <a:pt x="626" y="4"/>
                </a:lnTo>
                <a:lnTo>
                  <a:pt x="612" y="1"/>
                </a:lnTo>
                <a:lnTo>
                  <a:pt x="600" y="0"/>
                </a:lnTo>
                <a:lnTo>
                  <a:pt x="587" y="0"/>
                </a:lnTo>
                <a:lnTo>
                  <a:pt x="573" y="1"/>
                </a:lnTo>
                <a:lnTo>
                  <a:pt x="561" y="3"/>
                </a:lnTo>
                <a:lnTo>
                  <a:pt x="549" y="7"/>
                </a:lnTo>
                <a:lnTo>
                  <a:pt x="537" y="12"/>
                </a:lnTo>
                <a:lnTo>
                  <a:pt x="524" y="18"/>
                </a:lnTo>
                <a:lnTo>
                  <a:pt x="514" y="25"/>
                </a:lnTo>
                <a:lnTo>
                  <a:pt x="503" y="33"/>
                </a:lnTo>
                <a:lnTo>
                  <a:pt x="493" y="42"/>
                </a:lnTo>
                <a:lnTo>
                  <a:pt x="493" y="42"/>
                </a:lnTo>
                <a:lnTo>
                  <a:pt x="486" y="53"/>
                </a:lnTo>
                <a:lnTo>
                  <a:pt x="478" y="65"/>
                </a:lnTo>
                <a:lnTo>
                  <a:pt x="471" y="76"/>
                </a:lnTo>
                <a:lnTo>
                  <a:pt x="467" y="88"/>
                </a:lnTo>
                <a:lnTo>
                  <a:pt x="463" y="100"/>
                </a:lnTo>
                <a:lnTo>
                  <a:pt x="460" y="113"/>
                </a:lnTo>
                <a:lnTo>
                  <a:pt x="459" y="126"/>
                </a:lnTo>
                <a:lnTo>
                  <a:pt x="459" y="139"/>
                </a:lnTo>
                <a:lnTo>
                  <a:pt x="460" y="151"/>
                </a:lnTo>
                <a:lnTo>
                  <a:pt x="462" y="165"/>
                </a:lnTo>
                <a:lnTo>
                  <a:pt x="465" y="177"/>
                </a:lnTo>
                <a:lnTo>
                  <a:pt x="471" y="189"/>
                </a:lnTo>
                <a:lnTo>
                  <a:pt x="477" y="201"/>
                </a:lnTo>
                <a:lnTo>
                  <a:pt x="483" y="211"/>
                </a:lnTo>
                <a:lnTo>
                  <a:pt x="492" y="222"/>
                </a:lnTo>
                <a:lnTo>
                  <a:pt x="501" y="232"/>
                </a:lnTo>
                <a:lnTo>
                  <a:pt x="593" y="317"/>
                </a:lnTo>
                <a:lnTo>
                  <a:pt x="133" y="317"/>
                </a:lnTo>
                <a:lnTo>
                  <a:pt x="133" y="317"/>
                </a:lnTo>
                <a:lnTo>
                  <a:pt x="120" y="318"/>
                </a:lnTo>
                <a:lnTo>
                  <a:pt x="106" y="320"/>
                </a:lnTo>
                <a:lnTo>
                  <a:pt x="94" y="324"/>
                </a:lnTo>
                <a:lnTo>
                  <a:pt x="82" y="328"/>
                </a:lnTo>
                <a:lnTo>
                  <a:pt x="70" y="334"/>
                </a:lnTo>
                <a:lnTo>
                  <a:pt x="60" y="340"/>
                </a:lnTo>
                <a:lnTo>
                  <a:pt x="48" y="348"/>
                </a:lnTo>
                <a:lnTo>
                  <a:pt x="40" y="357"/>
                </a:lnTo>
                <a:lnTo>
                  <a:pt x="31" y="366"/>
                </a:lnTo>
                <a:lnTo>
                  <a:pt x="23" y="377"/>
                </a:lnTo>
                <a:lnTo>
                  <a:pt x="16" y="387"/>
                </a:lnTo>
                <a:lnTo>
                  <a:pt x="11" y="399"/>
                </a:lnTo>
                <a:lnTo>
                  <a:pt x="6" y="412"/>
                </a:lnTo>
                <a:lnTo>
                  <a:pt x="3" y="424"/>
                </a:lnTo>
                <a:lnTo>
                  <a:pt x="1" y="437"/>
                </a:lnTo>
                <a:lnTo>
                  <a:pt x="0" y="450"/>
                </a:lnTo>
                <a:lnTo>
                  <a:pt x="0" y="450"/>
                </a:lnTo>
                <a:lnTo>
                  <a:pt x="1" y="465"/>
                </a:lnTo>
                <a:lnTo>
                  <a:pt x="3" y="478"/>
                </a:lnTo>
                <a:lnTo>
                  <a:pt x="6" y="490"/>
                </a:lnTo>
                <a:lnTo>
                  <a:pt x="11" y="503"/>
                </a:lnTo>
                <a:lnTo>
                  <a:pt x="16" y="515"/>
                </a:lnTo>
                <a:lnTo>
                  <a:pt x="23" y="525"/>
                </a:lnTo>
                <a:lnTo>
                  <a:pt x="31" y="536"/>
                </a:lnTo>
                <a:lnTo>
                  <a:pt x="40" y="545"/>
                </a:lnTo>
                <a:lnTo>
                  <a:pt x="48" y="554"/>
                </a:lnTo>
                <a:lnTo>
                  <a:pt x="60" y="562"/>
                </a:lnTo>
                <a:lnTo>
                  <a:pt x="70" y="568"/>
                </a:lnTo>
                <a:lnTo>
                  <a:pt x="82" y="574"/>
                </a:lnTo>
                <a:lnTo>
                  <a:pt x="94" y="578"/>
                </a:lnTo>
                <a:lnTo>
                  <a:pt x="106" y="582"/>
                </a:lnTo>
                <a:lnTo>
                  <a:pt x="120" y="584"/>
                </a:lnTo>
                <a:lnTo>
                  <a:pt x="133" y="585"/>
                </a:lnTo>
                <a:lnTo>
                  <a:pt x="594" y="585"/>
                </a:lnTo>
                <a:lnTo>
                  <a:pt x="501" y="670"/>
                </a:lnTo>
                <a:lnTo>
                  <a:pt x="501" y="670"/>
                </a:lnTo>
                <a:lnTo>
                  <a:pt x="492" y="680"/>
                </a:lnTo>
                <a:lnTo>
                  <a:pt x="483" y="691"/>
                </a:lnTo>
                <a:lnTo>
                  <a:pt x="477" y="702"/>
                </a:lnTo>
                <a:lnTo>
                  <a:pt x="471" y="713"/>
                </a:lnTo>
                <a:lnTo>
                  <a:pt x="465" y="725"/>
                </a:lnTo>
                <a:lnTo>
                  <a:pt x="462" y="737"/>
                </a:lnTo>
                <a:lnTo>
                  <a:pt x="460" y="751"/>
                </a:lnTo>
                <a:lnTo>
                  <a:pt x="459" y="763"/>
                </a:lnTo>
                <a:lnTo>
                  <a:pt x="459" y="776"/>
                </a:lnTo>
                <a:lnTo>
                  <a:pt x="460" y="789"/>
                </a:lnTo>
                <a:lnTo>
                  <a:pt x="463" y="802"/>
                </a:lnTo>
                <a:lnTo>
                  <a:pt x="467" y="814"/>
                </a:lnTo>
                <a:lnTo>
                  <a:pt x="471" y="826"/>
                </a:lnTo>
                <a:lnTo>
                  <a:pt x="478" y="837"/>
                </a:lnTo>
                <a:lnTo>
                  <a:pt x="486" y="849"/>
                </a:lnTo>
                <a:lnTo>
                  <a:pt x="493" y="860"/>
                </a:lnTo>
                <a:lnTo>
                  <a:pt x="493" y="860"/>
                </a:lnTo>
                <a:lnTo>
                  <a:pt x="503" y="869"/>
                </a:lnTo>
                <a:lnTo>
                  <a:pt x="514" y="877"/>
                </a:lnTo>
                <a:lnTo>
                  <a:pt x="524" y="884"/>
                </a:lnTo>
                <a:lnTo>
                  <a:pt x="537" y="890"/>
                </a:lnTo>
                <a:lnTo>
                  <a:pt x="549" y="895"/>
                </a:lnTo>
                <a:lnTo>
                  <a:pt x="561" y="899"/>
                </a:lnTo>
                <a:lnTo>
                  <a:pt x="573" y="901"/>
                </a:lnTo>
                <a:lnTo>
                  <a:pt x="587" y="902"/>
                </a:lnTo>
                <a:lnTo>
                  <a:pt x="600" y="902"/>
                </a:lnTo>
                <a:lnTo>
                  <a:pt x="612" y="901"/>
                </a:lnTo>
                <a:lnTo>
                  <a:pt x="626" y="898"/>
                </a:lnTo>
                <a:lnTo>
                  <a:pt x="638" y="894"/>
                </a:lnTo>
                <a:lnTo>
                  <a:pt x="650" y="890"/>
                </a:lnTo>
                <a:lnTo>
                  <a:pt x="661" y="883"/>
                </a:lnTo>
                <a:lnTo>
                  <a:pt x="672" y="875"/>
                </a:lnTo>
                <a:lnTo>
                  <a:pt x="683" y="867"/>
                </a:lnTo>
                <a:lnTo>
                  <a:pt x="683" y="8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24" name="Ellipse 23"/>
          <p:cNvSpPr/>
          <p:nvPr>
            <p:custDataLst>
              <p:tags r:id="rId34"/>
            </p:custDataLst>
          </p:nvPr>
        </p:nvSpPr>
        <p:spPr bwMode="auto">
          <a:xfrm>
            <a:off x="284401"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endParaRPr>
          </a:p>
        </p:txBody>
      </p:sp>
      <p:sp>
        <p:nvSpPr>
          <p:cNvPr id="164" name="Freeform 49">
            <a:extLst>
              <a:ext uri="{FF2B5EF4-FFF2-40B4-BE49-F238E27FC236}">
                <a16:creationId xmlns:a16="http://schemas.microsoft.com/office/drawing/2014/main" id="{B35FD20C-AE3A-4346-8332-72BEFC2E9840}"/>
              </a:ext>
            </a:extLst>
          </p:cNvPr>
          <p:cNvSpPr>
            <a:spLocks/>
          </p:cNvSpPr>
          <p:nvPr/>
        </p:nvSpPr>
        <p:spPr bwMode="auto">
          <a:xfrm>
            <a:off x="294220" y="3245980"/>
            <a:ext cx="443858" cy="443858"/>
          </a:xfrm>
          <a:custGeom>
            <a:avLst/>
            <a:gdLst>
              <a:gd name="T0" fmla="*/ 1709 w 1710"/>
              <a:gd name="T1" fmla="*/ 899 h 1710"/>
              <a:gd name="T2" fmla="*/ 1693 w 1710"/>
              <a:gd name="T3" fmla="*/ 1027 h 1710"/>
              <a:gd name="T4" fmla="*/ 1658 w 1710"/>
              <a:gd name="T5" fmla="*/ 1148 h 1710"/>
              <a:gd name="T6" fmla="*/ 1606 w 1710"/>
              <a:gd name="T7" fmla="*/ 1261 h 1710"/>
              <a:gd name="T8" fmla="*/ 1539 w 1710"/>
              <a:gd name="T9" fmla="*/ 1366 h 1710"/>
              <a:gd name="T10" fmla="*/ 1459 w 1710"/>
              <a:gd name="T11" fmla="*/ 1458 h 1710"/>
              <a:gd name="T12" fmla="*/ 1366 w 1710"/>
              <a:gd name="T13" fmla="*/ 1539 h 1710"/>
              <a:gd name="T14" fmla="*/ 1263 w 1710"/>
              <a:gd name="T15" fmla="*/ 1606 h 1710"/>
              <a:gd name="T16" fmla="*/ 1149 w 1710"/>
              <a:gd name="T17" fmla="*/ 1657 h 1710"/>
              <a:gd name="T18" fmla="*/ 1028 w 1710"/>
              <a:gd name="T19" fmla="*/ 1692 h 1710"/>
              <a:gd name="T20" fmla="*/ 899 w 1710"/>
              <a:gd name="T21" fmla="*/ 1709 h 1710"/>
              <a:gd name="T22" fmla="*/ 811 w 1710"/>
              <a:gd name="T23" fmla="*/ 1709 h 1710"/>
              <a:gd name="T24" fmla="*/ 683 w 1710"/>
              <a:gd name="T25" fmla="*/ 1692 h 1710"/>
              <a:gd name="T26" fmla="*/ 561 w 1710"/>
              <a:gd name="T27" fmla="*/ 1657 h 1710"/>
              <a:gd name="T28" fmla="*/ 447 w 1710"/>
              <a:gd name="T29" fmla="*/ 1606 h 1710"/>
              <a:gd name="T30" fmla="*/ 344 w 1710"/>
              <a:gd name="T31" fmla="*/ 1539 h 1710"/>
              <a:gd name="T32" fmla="*/ 251 w 1710"/>
              <a:gd name="T33" fmla="*/ 1458 h 1710"/>
              <a:gd name="T34" fmla="*/ 171 w 1710"/>
              <a:gd name="T35" fmla="*/ 1366 h 1710"/>
              <a:gd name="T36" fmla="*/ 104 w 1710"/>
              <a:gd name="T37" fmla="*/ 1261 h 1710"/>
              <a:gd name="T38" fmla="*/ 53 w 1710"/>
              <a:gd name="T39" fmla="*/ 1148 h 1710"/>
              <a:gd name="T40" fmla="*/ 18 w 1710"/>
              <a:gd name="T41" fmla="*/ 1027 h 1710"/>
              <a:gd name="T42" fmla="*/ 1 w 1710"/>
              <a:gd name="T43" fmla="*/ 899 h 1710"/>
              <a:gd name="T44" fmla="*/ 1 w 1710"/>
              <a:gd name="T45" fmla="*/ 811 h 1710"/>
              <a:gd name="T46" fmla="*/ 18 w 1710"/>
              <a:gd name="T47" fmla="*/ 682 h 1710"/>
              <a:gd name="T48" fmla="*/ 53 w 1710"/>
              <a:gd name="T49" fmla="*/ 561 h 1710"/>
              <a:gd name="T50" fmla="*/ 104 w 1710"/>
              <a:gd name="T51" fmla="*/ 447 h 1710"/>
              <a:gd name="T52" fmla="*/ 171 w 1710"/>
              <a:gd name="T53" fmla="*/ 343 h 1710"/>
              <a:gd name="T54" fmla="*/ 251 w 1710"/>
              <a:gd name="T55" fmla="*/ 251 h 1710"/>
              <a:gd name="T56" fmla="*/ 344 w 1710"/>
              <a:gd name="T57" fmla="*/ 169 h 1710"/>
              <a:gd name="T58" fmla="*/ 447 w 1710"/>
              <a:gd name="T59" fmla="*/ 103 h 1710"/>
              <a:gd name="T60" fmla="*/ 561 w 1710"/>
              <a:gd name="T61" fmla="*/ 52 h 1710"/>
              <a:gd name="T62" fmla="*/ 683 w 1710"/>
              <a:gd name="T63" fmla="*/ 17 h 1710"/>
              <a:gd name="T64" fmla="*/ 811 w 1710"/>
              <a:gd name="T65" fmla="*/ 1 h 1710"/>
              <a:gd name="T66" fmla="*/ 899 w 1710"/>
              <a:gd name="T67" fmla="*/ 1 h 1710"/>
              <a:gd name="T68" fmla="*/ 1028 w 1710"/>
              <a:gd name="T69" fmla="*/ 17 h 1710"/>
              <a:gd name="T70" fmla="*/ 1149 w 1710"/>
              <a:gd name="T71" fmla="*/ 52 h 1710"/>
              <a:gd name="T72" fmla="*/ 1263 w 1710"/>
              <a:gd name="T73" fmla="*/ 103 h 1710"/>
              <a:gd name="T74" fmla="*/ 1366 w 1710"/>
              <a:gd name="T75" fmla="*/ 169 h 1710"/>
              <a:gd name="T76" fmla="*/ 1459 w 1710"/>
              <a:gd name="T77" fmla="*/ 251 h 1710"/>
              <a:gd name="T78" fmla="*/ 1539 w 1710"/>
              <a:gd name="T79" fmla="*/ 343 h 1710"/>
              <a:gd name="T80" fmla="*/ 1606 w 1710"/>
              <a:gd name="T81" fmla="*/ 447 h 1710"/>
              <a:gd name="T82" fmla="*/ 1658 w 1710"/>
              <a:gd name="T83" fmla="*/ 561 h 1710"/>
              <a:gd name="T84" fmla="*/ 1693 w 1710"/>
              <a:gd name="T85" fmla="*/ 682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0" y="985"/>
                </a:lnTo>
                <a:lnTo>
                  <a:pt x="1693" y="1027"/>
                </a:lnTo>
                <a:lnTo>
                  <a:pt x="1683" y="1068"/>
                </a:lnTo>
                <a:lnTo>
                  <a:pt x="1672" y="1109"/>
                </a:lnTo>
                <a:lnTo>
                  <a:pt x="1658" y="1148"/>
                </a:lnTo>
                <a:lnTo>
                  <a:pt x="1643" y="1187"/>
                </a:lnTo>
                <a:lnTo>
                  <a:pt x="1625" y="1225"/>
                </a:lnTo>
                <a:lnTo>
                  <a:pt x="1606" y="1261"/>
                </a:lnTo>
                <a:lnTo>
                  <a:pt x="1586" y="1298"/>
                </a:lnTo>
                <a:lnTo>
                  <a:pt x="1564" y="1333"/>
                </a:lnTo>
                <a:lnTo>
                  <a:pt x="1539" y="1366"/>
                </a:lnTo>
                <a:lnTo>
                  <a:pt x="1515" y="1398"/>
                </a:lnTo>
                <a:lnTo>
                  <a:pt x="1487" y="1429"/>
                </a:lnTo>
                <a:lnTo>
                  <a:pt x="1459" y="1458"/>
                </a:lnTo>
                <a:lnTo>
                  <a:pt x="1429" y="1487"/>
                </a:lnTo>
                <a:lnTo>
                  <a:pt x="1398" y="1514"/>
                </a:lnTo>
                <a:lnTo>
                  <a:pt x="1366" y="1539"/>
                </a:lnTo>
                <a:lnTo>
                  <a:pt x="1333" y="1563"/>
                </a:lnTo>
                <a:lnTo>
                  <a:pt x="1298" y="1585"/>
                </a:lnTo>
                <a:lnTo>
                  <a:pt x="1263" y="1606"/>
                </a:lnTo>
                <a:lnTo>
                  <a:pt x="1226" y="1625"/>
                </a:lnTo>
                <a:lnTo>
                  <a:pt x="1188" y="1642"/>
                </a:lnTo>
                <a:lnTo>
                  <a:pt x="1149" y="1657"/>
                </a:lnTo>
                <a:lnTo>
                  <a:pt x="1109" y="1671"/>
                </a:lnTo>
                <a:lnTo>
                  <a:pt x="1069" y="1682"/>
                </a:lnTo>
                <a:lnTo>
                  <a:pt x="1028" y="1692"/>
                </a:lnTo>
                <a:lnTo>
                  <a:pt x="986" y="1700"/>
                </a:lnTo>
                <a:lnTo>
                  <a:pt x="942" y="1705"/>
                </a:lnTo>
                <a:lnTo>
                  <a:pt x="899" y="1709"/>
                </a:lnTo>
                <a:lnTo>
                  <a:pt x="856" y="1710"/>
                </a:lnTo>
                <a:lnTo>
                  <a:pt x="856" y="1710"/>
                </a:lnTo>
                <a:lnTo>
                  <a:pt x="811" y="1709"/>
                </a:lnTo>
                <a:lnTo>
                  <a:pt x="768" y="1705"/>
                </a:lnTo>
                <a:lnTo>
                  <a:pt x="725" y="1700"/>
                </a:lnTo>
                <a:lnTo>
                  <a:pt x="683" y="1692"/>
                </a:lnTo>
                <a:lnTo>
                  <a:pt x="642" y="1682"/>
                </a:lnTo>
                <a:lnTo>
                  <a:pt x="601" y="1671"/>
                </a:lnTo>
                <a:lnTo>
                  <a:pt x="561" y="1657"/>
                </a:lnTo>
                <a:lnTo>
                  <a:pt x="522" y="1642"/>
                </a:lnTo>
                <a:lnTo>
                  <a:pt x="484" y="1625"/>
                </a:lnTo>
                <a:lnTo>
                  <a:pt x="447" y="1606"/>
                </a:lnTo>
                <a:lnTo>
                  <a:pt x="412" y="1585"/>
                </a:lnTo>
                <a:lnTo>
                  <a:pt x="377" y="1563"/>
                </a:lnTo>
                <a:lnTo>
                  <a:pt x="344" y="1539"/>
                </a:lnTo>
                <a:lnTo>
                  <a:pt x="312" y="1514"/>
                </a:lnTo>
                <a:lnTo>
                  <a:pt x="281" y="1487"/>
                </a:lnTo>
                <a:lnTo>
                  <a:pt x="251" y="1458"/>
                </a:lnTo>
                <a:lnTo>
                  <a:pt x="223" y="1429"/>
                </a:lnTo>
                <a:lnTo>
                  <a:pt x="196" y="1398"/>
                </a:lnTo>
                <a:lnTo>
                  <a:pt x="171" y="1366"/>
                </a:lnTo>
                <a:lnTo>
                  <a:pt x="146" y="1333"/>
                </a:lnTo>
                <a:lnTo>
                  <a:pt x="124" y="1298"/>
                </a:lnTo>
                <a:lnTo>
                  <a:pt x="104" y="1261"/>
                </a:lnTo>
                <a:lnTo>
                  <a:pt x="85" y="1225"/>
                </a:lnTo>
                <a:lnTo>
                  <a:pt x="68" y="1187"/>
                </a:lnTo>
                <a:lnTo>
                  <a:pt x="53" y="1148"/>
                </a:lnTo>
                <a:lnTo>
                  <a:pt x="39" y="1109"/>
                </a:lnTo>
                <a:lnTo>
                  <a:pt x="27" y="1068"/>
                </a:lnTo>
                <a:lnTo>
                  <a:pt x="18" y="1027"/>
                </a:lnTo>
                <a:lnTo>
                  <a:pt x="10" y="985"/>
                </a:lnTo>
                <a:lnTo>
                  <a:pt x="5" y="942"/>
                </a:lnTo>
                <a:lnTo>
                  <a:pt x="1" y="899"/>
                </a:lnTo>
                <a:lnTo>
                  <a:pt x="0" y="854"/>
                </a:lnTo>
                <a:lnTo>
                  <a:pt x="0" y="854"/>
                </a:lnTo>
                <a:lnTo>
                  <a:pt x="1" y="811"/>
                </a:lnTo>
                <a:lnTo>
                  <a:pt x="5" y="767"/>
                </a:lnTo>
                <a:lnTo>
                  <a:pt x="10" y="724"/>
                </a:lnTo>
                <a:lnTo>
                  <a:pt x="18" y="682"/>
                </a:lnTo>
                <a:lnTo>
                  <a:pt x="27" y="641"/>
                </a:lnTo>
                <a:lnTo>
                  <a:pt x="39" y="601"/>
                </a:lnTo>
                <a:lnTo>
                  <a:pt x="53" y="561"/>
                </a:lnTo>
                <a:lnTo>
                  <a:pt x="68" y="522"/>
                </a:lnTo>
                <a:lnTo>
                  <a:pt x="85" y="484"/>
                </a:lnTo>
                <a:lnTo>
                  <a:pt x="104" y="447"/>
                </a:lnTo>
                <a:lnTo>
                  <a:pt x="124" y="412"/>
                </a:lnTo>
                <a:lnTo>
                  <a:pt x="146" y="376"/>
                </a:lnTo>
                <a:lnTo>
                  <a:pt x="171" y="343"/>
                </a:lnTo>
                <a:lnTo>
                  <a:pt x="196" y="311"/>
                </a:lnTo>
                <a:lnTo>
                  <a:pt x="223" y="279"/>
                </a:lnTo>
                <a:lnTo>
                  <a:pt x="251" y="251"/>
                </a:lnTo>
                <a:lnTo>
                  <a:pt x="281" y="222"/>
                </a:lnTo>
                <a:lnTo>
                  <a:pt x="312" y="195"/>
                </a:lnTo>
                <a:lnTo>
                  <a:pt x="344" y="169"/>
                </a:lnTo>
                <a:lnTo>
                  <a:pt x="377" y="146"/>
                </a:lnTo>
                <a:lnTo>
                  <a:pt x="412" y="124"/>
                </a:lnTo>
                <a:lnTo>
                  <a:pt x="447" y="103"/>
                </a:lnTo>
                <a:lnTo>
                  <a:pt x="484" y="84"/>
                </a:lnTo>
                <a:lnTo>
                  <a:pt x="522" y="67"/>
                </a:lnTo>
                <a:lnTo>
                  <a:pt x="561" y="52"/>
                </a:lnTo>
                <a:lnTo>
                  <a:pt x="601" y="38"/>
                </a:lnTo>
                <a:lnTo>
                  <a:pt x="642" y="27"/>
                </a:lnTo>
                <a:lnTo>
                  <a:pt x="683" y="17"/>
                </a:lnTo>
                <a:lnTo>
                  <a:pt x="725" y="9"/>
                </a:lnTo>
                <a:lnTo>
                  <a:pt x="768" y="5"/>
                </a:lnTo>
                <a:lnTo>
                  <a:pt x="811" y="1"/>
                </a:lnTo>
                <a:lnTo>
                  <a:pt x="856" y="0"/>
                </a:lnTo>
                <a:lnTo>
                  <a:pt x="856" y="0"/>
                </a:lnTo>
                <a:lnTo>
                  <a:pt x="899" y="1"/>
                </a:lnTo>
                <a:lnTo>
                  <a:pt x="942" y="5"/>
                </a:lnTo>
                <a:lnTo>
                  <a:pt x="986" y="9"/>
                </a:lnTo>
                <a:lnTo>
                  <a:pt x="1028" y="17"/>
                </a:lnTo>
                <a:lnTo>
                  <a:pt x="1069" y="27"/>
                </a:lnTo>
                <a:lnTo>
                  <a:pt x="1109" y="38"/>
                </a:lnTo>
                <a:lnTo>
                  <a:pt x="1149" y="52"/>
                </a:lnTo>
                <a:lnTo>
                  <a:pt x="1188" y="67"/>
                </a:lnTo>
                <a:lnTo>
                  <a:pt x="1226" y="84"/>
                </a:lnTo>
                <a:lnTo>
                  <a:pt x="1263" y="103"/>
                </a:lnTo>
                <a:lnTo>
                  <a:pt x="1298" y="124"/>
                </a:lnTo>
                <a:lnTo>
                  <a:pt x="1333" y="146"/>
                </a:lnTo>
                <a:lnTo>
                  <a:pt x="1366" y="169"/>
                </a:lnTo>
                <a:lnTo>
                  <a:pt x="1398" y="195"/>
                </a:lnTo>
                <a:lnTo>
                  <a:pt x="1429" y="222"/>
                </a:lnTo>
                <a:lnTo>
                  <a:pt x="1459" y="251"/>
                </a:lnTo>
                <a:lnTo>
                  <a:pt x="1487" y="279"/>
                </a:lnTo>
                <a:lnTo>
                  <a:pt x="1515" y="311"/>
                </a:lnTo>
                <a:lnTo>
                  <a:pt x="1539" y="343"/>
                </a:lnTo>
                <a:lnTo>
                  <a:pt x="1564" y="376"/>
                </a:lnTo>
                <a:lnTo>
                  <a:pt x="1586" y="412"/>
                </a:lnTo>
                <a:lnTo>
                  <a:pt x="1606" y="447"/>
                </a:lnTo>
                <a:lnTo>
                  <a:pt x="1625" y="484"/>
                </a:lnTo>
                <a:lnTo>
                  <a:pt x="1643" y="522"/>
                </a:lnTo>
                <a:lnTo>
                  <a:pt x="1658" y="561"/>
                </a:lnTo>
                <a:lnTo>
                  <a:pt x="1672" y="601"/>
                </a:lnTo>
                <a:lnTo>
                  <a:pt x="1683" y="641"/>
                </a:lnTo>
                <a:lnTo>
                  <a:pt x="1693" y="682"/>
                </a:lnTo>
                <a:lnTo>
                  <a:pt x="1700" y="724"/>
                </a:lnTo>
                <a:lnTo>
                  <a:pt x="1705" y="767"/>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5" name="Freeform 52">
            <a:extLst>
              <a:ext uri="{FF2B5EF4-FFF2-40B4-BE49-F238E27FC236}">
                <a16:creationId xmlns:a16="http://schemas.microsoft.com/office/drawing/2014/main" id="{8D7BB295-53CE-4C85-941D-0D9EC67A0DDE}"/>
              </a:ext>
            </a:extLst>
          </p:cNvPr>
          <p:cNvSpPr>
            <a:spLocks/>
          </p:cNvSpPr>
          <p:nvPr>
            <p:custDataLst>
              <p:tags r:id="rId35"/>
            </p:custDataLst>
          </p:nvPr>
        </p:nvSpPr>
        <p:spPr bwMode="auto">
          <a:xfrm>
            <a:off x="398933" y="3328813"/>
            <a:ext cx="234432" cy="278193"/>
          </a:xfrm>
          <a:custGeom>
            <a:avLst/>
            <a:gdLst>
              <a:gd name="T0" fmla="*/ 549 w 902"/>
              <a:gd name="T1" fmla="*/ 42 h 1069"/>
              <a:gd name="T2" fmla="*/ 539 w 902"/>
              <a:gd name="T3" fmla="*/ 32 h 1069"/>
              <a:gd name="T4" fmla="*/ 517 w 902"/>
              <a:gd name="T5" fmla="*/ 16 h 1069"/>
              <a:gd name="T6" fmla="*/ 492 w 902"/>
              <a:gd name="T7" fmla="*/ 5 h 1069"/>
              <a:gd name="T8" fmla="*/ 465 w 902"/>
              <a:gd name="T9" fmla="*/ 0 h 1069"/>
              <a:gd name="T10" fmla="*/ 437 w 902"/>
              <a:gd name="T11" fmla="*/ 0 h 1069"/>
              <a:gd name="T12" fmla="*/ 410 w 902"/>
              <a:gd name="T13" fmla="*/ 5 h 1069"/>
              <a:gd name="T14" fmla="*/ 386 w 902"/>
              <a:gd name="T15" fmla="*/ 16 h 1069"/>
              <a:gd name="T16" fmla="*/ 363 w 902"/>
              <a:gd name="T17" fmla="*/ 32 h 1069"/>
              <a:gd name="T18" fmla="*/ 35 w 902"/>
              <a:gd name="T19" fmla="*/ 387 h 1069"/>
              <a:gd name="T20" fmla="*/ 27 w 902"/>
              <a:gd name="T21" fmla="*/ 397 h 1069"/>
              <a:gd name="T22" fmla="*/ 12 w 902"/>
              <a:gd name="T23" fmla="*/ 420 h 1069"/>
              <a:gd name="T24" fmla="*/ 4 w 902"/>
              <a:gd name="T25" fmla="*/ 444 h 1069"/>
              <a:gd name="T26" fmla="*/ 0 w 902"/>
              <a:gd name="T27" fmla="*/ 470 h 1069"/>
              <a:gd name="T28" fmla="*/ 1 w 902"/>
              <a:gd name="T29" fmla="*/ 496 h 1069"/>
              <a:gd name="T30" fmla="*/ 8 w 902"/>
              <a:gd name="T31" fmla="*/ 521 h 1069"/>
              <a:gd name="T32" fmla="*/ 18 w 902"/>
              <a:gd name="T33" fmla="*/ 544 h 1069"/>
              <a:gd name="T34" fmla="*/ 33 w 902"/>
              <a:gd name="T35" fmla="*/ 566 h 1069"/>
              <a:gd name="T36" fmla="*/ 42 w 902"/>
              <a:gd name="T37" fmla="*/ 576 h 1069"/>
              <a:gd name="T38" fmla="*/ 65 w 902"/>
              <a:gd name="T39" fmla="*/ 592 h 1069"/>
              <a:gd name="T40" fmla="*/ 88 w 902"/>
              <a:gd name="T41" fmla="*/ 603 h 1069"/>
              <a:gd name="T42" fmla="*/ 113 w 902"/>
              <a:gd name="T43" fmla="*/ 609 h 1069"/>
              <a:gd name="T44" fmla="*/ 139 w 902"/>
              <a:gd name="T45" fmla="*/ 611 h 1069"/>
              <a:gd name="T46" fmla="*/ 165 w 902"/>
              <a:gd name="T47" fmla="*/ 607 h 1069"/>
              <a:gd name="T48" fmla="*/ 189 w 902"/>
              <a:gd name="T49" fmla="*/ 599 h 1069"/>
              <a:gd name="T50" fmla="*/ 212 w 902"/>
              <a:gd name="T51" fmla="*/ 586 h 1069"/>
              <a:gd name="T52" fmla="*/ 232 w 902"/>
              <a:gd name="T53" fmla="*/ 568 h 1069"/>
              <a:gd name="T54" fmla="*/ 317 w 902"/>
              <a:gd name="T55" fmla="*/ 936 h 1069"/>
              <a:gd name="T56" fmla="*/ 318 w 902"/>
              <a:gd name="T57" fmla="*/ 949 h 1069"/>
              <a:gd name="T58" fmla="*/ 324 w 902"/>
              <a:gd name="T59" fmla="*/ 976 h 1069"/>
              <a:gd name="T60" fmla="*/ 334 w 902"/>
              <a:gd name="T61" fmla="*/ 999 h 1069"/>
              <a:gd name="T62" fmla="*/ 348 w 902"/>
              <a:gd name="T63" fmla="*/ 1020 h 1069"/>
              <a:gd name="T64" fmla="*/ 366 w 902"/>
              <a:gd name="T65" fmla="*/ 1039 h 1069"/>
              <a:gd name="T66" fmla="*/ 388 w 902"/>
              <a:gd name="T67" fmla="*/ 1054 h 1069"/>
              <a:gd name="T68" fmla="*/ 412 w 902"/>
              <a:gd name="T69" fmla="*/ 1064 h 1069"/>
              <a:gd name="T70" fmla="*/ 437 w 902"/>
              <a:gd name="T71" fmla="*/ 1069 h 1069"/>
              <a:gd name="T72" fmla="*/ 452 w 902"/>
              <a:gd name="T73" fmla="*/ 1069 h 1069"/>
              <a:gd name="T74" fmla="*/ 478 w 902"/>
              <a:gd name="T75" fmla="*/ 1067 h 1069"/>
              <a:gd name="T76" fmla="*/ 503 w 902"/>
              <a:gd name="T77" fmla="*/ 1059 h 1069"/>
              <a:gd name="T78" fmla="*/ 526 w 902"/>
              <a:gd name="T79" fmla="*/ 1047 h 1069"/>
              <a:gd name="T80" fmla="*/ 546 w 902"/>
              <a:gd name="T81" fmla="*/ 1030 h 1069"/>
              <a:gd name="T82" fmla="*/ 562 w 902"/>
              <a:gd name="T83" fmla="*/ 1010 h 1069"/>
              <a:gd name="T84" fmla="*/ 575 w 902"/>
              <a:gd name="T85" fmla="*/ 988 h 1069"/>
              <a:gd name="T86" fmla="*/ 583 w 902"/>
              <a:gd name="T87" fmla="*/ 963 h 1069"/>
              <a:gd name="T88" fmla="*/ 585 w 902"/>
              <a:gd name="T89" fmla="*/ 936 h 1069"/>
              <a:gd name="T90" fmla="*/ 671 w 902"/>
              <a:gd name="T91" fmla="*/ 568 h 1069"/>
              <a:gd name="T92" fmla="*/ 680 w 902"/>
              <a:gd name="T93" fmla="*/ 578 h 1069"/>
              <a:gd name="T94" fmla="*/ 702 w 902"/>
              <a:gd name="T95" fmla="*/ 593 h 1069"/>
              <a:gd name="T96" fmla="*/ 725 w 902"/>
              <a:gd name="T97" fmla="*/ 603 h 1069"/>
              <a:gd name="T98" fmla="*/ 751 w 902"/>
              <a:gd name="T99" fmla="*/ 609 h 1069"/>
              <a:gd name="T100" fmla="*/ 776 w 902"/>
              <a:gd name="T101" fmla="*/ 610 h 1069"/>
              <a:gd name="T102" fmla="*/ 802 w 902"/>
              <a:gd name="T103" fmla="*/ 607 h 1069"/>
              <a:gd name="T104" fmla="*/ 826 w 902"/>
              <a:gd name="T105" fmla="*/ 598 h 1069"/>
              <a:gd name="T106" fmla="*/ 849 w 902"/>
              <a:gd name="T107" fmla="*/ 584 h 1069"/>
              <a:gd name="T108" fmla="*/ 860 w 902"/>
              <a:gd name="T109" fmla="*/ 576 h 1069"/>
              <a:gd name="T110" fmla="*/ 877 w 902"/>
              <a:gd name="T111" fmla="*/ 556 h 1069"/>
              <a:gd name="T112" fmla="*/ 891 w 902"/>
              <a:gd name="T113" fmla="*/ 533 h 1069"/>
              <a:gd name="T114" fmla="*/ 899 w 902"/>
              <a:gd name="T115" fmla="*/ 509 h 1069"/>
              <a:gd name="T116" fmla="*/ 902 w 902"/>
              <a:gd name="T117" fmla="*/ 483 h 1069"/>
              <a:gd name="T118" fmla="*/ 901 w 902"/>
              <a:gd name="T119" fmla="*/ 457 h 1069"/>
              <a:gd name="T120" fmla="*/ 894 w 902"/>
              <a:gd name="T121" fmla="*/ 432 h 1069"/>
              <a:gd name="T122" fmla="*/ 883 w 902"/>
              <a:gd name="T123" fmla="*/ 408 h 1069"/>
              <a:gd name="T124" fmla="*/ 867 w 902"/>
              <a:gd name="T125" fmla="*/ 387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69">
                <a:moveTo>
                  <a:pt x="867" y="387"/>
                </a:moveTo>
                <a:lnTo>
                  <a:pt x="549" y="42"/>
                </a:lnTo>
                <a:lnTo>
                  <a:pt x="549" y="42"/>
                </a:lnTo>
                <a:lnTo>
                  <a:pt x="539" y="32"/>
                </a:lnTo>
                <a:lnTo>
                  <a:pt x="528" y="23"/>
                </a:lnTo>
                <a:lnTo>
                  <a:pt x="517" y="16"/>
                </a:lnTo>
                <a:lnTo>
                  <a:pt x="504" y="10"/>
                </a:lnTo>
                <a:lnTo>
                  <a:pt x="492" y="5"/>
                </a:lnTo>
                <a:lnTo>
                  <a:pt x="478" y="2"/>
                </a:lnTo>
                <a:lnTo>
                  <a:pt x="465" y="0"/>
                </a:lnTo>
                <a:lnTo>
                  <a:pt x="452" y="0"/>
                </a:lnTo>
                <a:lnTo>
                  <a:pt x="437" y="0"/>
                </a:lnTo>
                <a:lnTo>
                  <a:pt x="424" y="2"/>
                </a:lnTo>
                <a:lnTo>
                  <a:pt x="410" y="5"/>
                </a:lnTo>
                <a:lnTo>
                  <a:pt x="398" y="10"/>
                </a:lnTo>
                <a:lnTo>
                  <a:pt x="386" y="16"/>
                </a:lnTo>
                <a:lnTo>
                  <a:pt x="374" y="23"/>
                </a:lnTo>
                <a:lnTo>
                  <a:pt x="363" y="32"/>
                </a:lnTo>
                <a:lnTo>
                  <a:pt x="353" y="42"/>
                </a:lnTo>
                <a:lnTo>
                  <a:pt x="35" y="387"/>
                </a:lnTo>
                <a:lnTo>
                  <a:pt x="35" y="387"/>
                </a:lnTo>
                <a:lnTo>
                  <a:pt x="27" y="397"/>
                </a:lnTo>
                <a:lnTo>
                  <a:pt x="19" y="408"/>
                </a:lnTo>
                <a:lnTo>
                  <a:pt x="12" y="420"/>
                </a:lnTo>
                <a:lnTo>
                  <a:pt x="8" y="432"/>
                </a:lnTo>
                <a:lnTo>
                  <a:pt x="4" y="444"/>
                </a:lnTo>
                <a:lnTo>
                  <a:pt x="1" y="457"/>
                </a:lnTo>
                <a:lnTo>
                  <a:pt x="0" y="470"/>
                </a:lnTo>
                <a:lnTo>
                  <a:pt x="0" y="482"/>
                </a:lnTo>
                <a:lnTo>
                  <a:pt x="1" y="496"/>
                </a:lnTo>
                <a:lnTo>
                  <a:pt x="3" y="508"/>
                </a:lnTo>
                <a:lnTo>
                  <a:pt x="8" y="521"/>
                </a:lnTo>
                <a:lnTo>
                  <a:pt x="12" y="533"/>
                </a:lnTo>
                <a:lnTo>
                  <a:pt x="18" y="544"/>
                </a:lnTo>
                <a:lnTo>
                  <a:pt x="25" y="556"/>
                </a:lnTo>
                <a:lnTo>
                  <a:pt x="33" y="566"/>
                </a:lnTo>
                <a:lnTo>
                  <a:pt x="42" y="576"/>
                </a:lnTo>
                <a:lnTo>
                  <a:pt x="42" y="576"/>
                </a:lnTo>
                <a:lnTo>
                  <a:pt x="53" y="584"/>
                </a:lnTo>
                <a:lnTo>
                  <a:pt x="65" y="592"/>
                </a:lnTo>
                <a:lnTo>
                  <a:pt x="76" y="598"/>
                </a:lnTo>
                <a:lnTo>
                  <a:pt x="88" y="603"/>
                </a:lnTo>
                <a:lnTo>
                  <a:pt x="100" y="607"/>
                </a:lnTo>
                <a:lnTo>
                  <a:pt x="113" y="609"/>
                </a:lnTo>
                <a:lnTo>
                  <a:pt x="126" y="610"/>
                </a:lnTo>
                <a:lnTo>
                  <a:pt x="139" y="611"/>
                </a:lnTo>
                <a:lnTo>
                  <a:pt x="152" y="609"/>
                </a:lnTo>
                <a:lnTo>
                  <a:pt x="165" y="607"/>
                </a:lnTo>
                <a:lnTo>
                  <a:pt x="177" y="603"/>
                </a:lnTo>
                <a:lnTo>
                  <a:pt x="189" y="599"/>
                </a:lnTo>
                <a:lnTo>
                  <a:pt x="201" y="593"/>
                </a:lnTo>
                <a:lnTo>
                  <a:pt x="212" y="586"/>
                </a:lnTo>
                <a:lnTo>
                  <a:pt x="222" y="578"/>
                </a:lnTo>
                <a:lnTo>
                  <a:pt x="232" y="568"/>
                </a:lnTo>
                <a:lnTo>
                  <a:pt x="317" y="476"/>
                </a:lnTo>
                <a:lnTo>
                  <a:pt x="317" y="936"/>
                </a:lnTo>
                <a:lnTo>
                  <a:pt x="317" y="936"/>
                </a:lnTo>
                <a:lnTo>
                  <a:pt x="318" y="949"/>
                </a:lnTo>
                <a:lnTo>
                  <a:pt x="320" y="963"/>
                </a:lnTo>
                <a:lnTo>
                  <a:pt x="324" y="976"/>
                </a:lnTo>
                <a:lnTo>
                  <a:pt x="328" y="988"/>
                </a:lnTo>
                <a:lnTo>
                  <a:pt x="334" y="999"/>
                </a:lnTo>
                <a:lnTo>
                  <a:pt x="340" y="1010"/>
                </a:lnTo>
                <a:lnTo>
                  <a:pt x="348" y="1020"/>
                </a:lnTo>
                <a:lnTo>
                  <a:pt x="357" y="1030"/>
                </a:lnTo>
                <a:lnTo>
                  <a:pt x="366" y="1039"/>
                </a:lnTo>
                <a:lnTo>
                  <a:pt x="377" y="1047"/>
                </a:lnTo>
                <a:lnTo>
                  <a:pt x="388" y="1054"/>
                </a:lnTo>
                <a:lnTo>
                  <a:pt x="399" y="1059"/>
                </a:lnTo>
                <a:lnTo>
                  <a:pt x="412" y="1064"/>
                </a:lnTo>
                <a:lnTo>
                  <a:pt x="425" y="1067"/>
                </a:lnTo>
                <a:lnTo>
                  <a:pt x="437" y="1069"/>
                </a:lnTo>
                <a:lnTo>
                  <a:pt x="452" y="1069"/>
                </a:lnTo>
                <a:lnTo>
                  <a:pt x="452" y="1069"/>
                </a:lnTo>
                <a:lnTo>
                  <a:pt x="465" y="1069"/>
                </a:lnTo>
                <a:lnTo>
                  <a:pt x="478" y="1067"/>
                </a:lnTo>
                <a:lnTo>
                  <a:pt x="490" y="1064"/>
                </a:lnTo>
                <a:lnTo>
                  <a:pt x="503" y="1059"/>
                </a:lnTo>
                <a:lnTo>
                  <a:pt x="515" y="1054"/>
                </a:lnTo>
                <a:lnTo>
                  <a:pt x="526" y="1047"/>
                </a:lnTo>
                <a:lnTo>
                  <a:pt x="536" y="1039"/>
                </a:lnTo>
                <a:lnTo>
                  <a:pt x="546" y="1030"/>
                </a:lnTo>
                <a:lnTo>
                  <a:pt x="554" y="1020"/>
                </a:lnTo>
                <a:lnTo>
                  <a:pt x="562" y="1010"/>
                </a:lnTo>
                <a:lnTo>
                  <a:pt x="568" y="999"/>
                </a:lnTo>
                <a:lnTo>
                  <a:pt x="575" y="988"/>
                </a:lnTo>
                <a:lnTo>
                  <a:pt x="579" y="976"/>
                </a:lnTo>
                <a:lnTo>
                  <a:pt x="583" y="963"/>
                </a:lnTo>
                <a:lnTo>
                  <a:pt x="584" y="949"/>
                </a:lnTo>
                <a:lnTo>
                  <a:pt x="585" y="936"/>
                </a:lnTo>
                <a:lnTo>
                  <a:pt x="585" y="476"/>
                </a:lnTo>
                <a:lnTo>
                  <a:pt x="671" y="568"/>
                </a:lnTo>
                <a:lnTo>
                  <a:pt x="671" y="568"/>
                </a:lnTo>
                <a:lnTo>
                  <a:pt x="680" y="578"/>
                </a:lnTo>
                <a:lnTo>
                  <a:pt x="691" y="586"/>
                </a:lnTo>
                <a:lnTo>
                  <a:pt x="702" y="593"/>
                </a:lnTo>
                <a:lnTo>
                  <a:pt x="713" y="599"/>
                </a:lnTo>
                <a:lnTo>
                  <a:pt x="725" y="603"/>
                </a:lnTo>
                <a:lnTo>
                  <a:pt x="737" y="607"/>
                </a:lnTo>
                <a:lnTo>
                  <a:pt x="751" y="609"/>
                </a:lnTo>
                <a:lnTo>
                  <a:pt x="763" y="610"/>
                </a:lnTo>
                <a:lnTo>
                  <a:pt x="776" y="610"/>
                </a:lnTo>
                <a:lnTo>
                  <a:pt x="789" y="609"/>
                </a:lnTo>
                <a:lnTo>
                  <a:pt x="802" y="607"/>
                </a:lnTo>
                <a:lnTo>
                  <a:pt x="814" y="603"/>
                </a:lnTo>
                <a:lnTo>
                  <a:pt x="826" y="598"/>
                </a:lnTo>
                <a:lnTo>
                  <a:pt x="837" y="592"/>
                </a:lnTo>
                <a:lnTo>
                  <a:pt x="849" y="584"/>
                </a:lnTo>
                <a:lnTo>
                  <a:pt x="860" y="576"/>
                </a:lnTo>
                <a:lnTo>
                  <a:pt x="860" y="576"/>
                </a:lnTo>
                <a:lnTo>
                  <a:pt x="869" y="566"/>
                </a:lnTo>
                <a:lnTo>
                  <a:pt x="877" y="556"/>
                </a:lnTo>
                <a:lnTo>
                  <a:pt x="884" y="544"/>
                </a:lnTo>
                <a:lnTo>
                  <a:pt x="891" y="533"/>
                </a:lnTo>
                <a:lnTo>
                  <a:pt x="895" y="521"/>
                </a:lnTo>
                <a:lnTo>
                  <a:pt x="899" y="509"/>
                </a:lnTo>
                <a:lnTo>
                  <a:pt x="901" y="496"/>
                </a:lnTo>
                <a:lnTo>
                  <a:pt x="902" y="483"/>
                </a:lnTo>
                <a:lnTo>
                  <a:pt x="902" y="470"/>
                </a:lnTo>
                <a:lnTo>
                  <a:pt x="901" y="457"/>
                </a:lnTo>
                <a:lnTo>
                  <a:pt x="899" y="444"/>
                </a:lnTo>
                <a:lnTo>
                  <a:pt x="894" y="432"/>
                </a:lnTo>
                <a:lnTo>
                  <a:pt x="890" y="420"/>
                </a:lnTo>
                <a:lnTo>
                  <a:pt x="883" y="408"/>
                </a:lnTo>
                <a:lnTo>
                  <a:pt x="876" y="397"/>
                </a:lnTo>
                <a:lnTo>
                  <a:pt x="867" y="387"/>
                </a:lnTo>
                <a:lnTo>
                  <a:pt x="867" y="38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05" name="Freeform 52">
            <a:extLst>
              <a:ext uri="{FF2B5EF4-FFF2-40B4-BE49-F238E27FC236}">
                <a16:creationId xmlns:a16="http://schemas.microsoft.com/office/drawing/2014/main" id="{54D85E64-BC44-4099-85C4-224FDD88C174}"/>
              </a:ext>
            </a:extLst>
          </p:cNvPr>
          <p:cNvSpPr>
            <a:spLocks/>
          </p:cNvSpPr>
          <p:nvPr>
            <p:custDataLst>
              <p:tags r:id="rId36"/>
            </p:custDataLst>
          </p:nvPr>
        </p:nvSpPr>
        <p:spPr bwMode="auto">
          <a:xfrm>
            <a:off x="398933" y="2728738"/>
            <a:ext cx="234432" cy="278193"/>
          </a:xfrm>
          <a:custGeom>
            <a:avLst/>
            <a:gdLst>
              <a:gd name="T0" fmla="*/ 549 w 902"/>
              <a:gd name="T1" fmla="*/ 42 h 1069"/>
              <a:gd name="T2" fmla="*/ 539 w 902"/>
              <a:gd name="T3" fmla="*/ 32 h 1069"/>
              <a:gd name="T4" fmla="*/ 517 w 902"/>
              <a:gd name="T5" fmla="*/ 16 h 1069"/>
              <a:gd name="T6" fmla="*/ 492 w 902"/>
              <a:gd name="T7" fmla="*/ 5 h 1069"/>
              <a:gd name="T8" fmla="*/ 465 w 902"/>
              <a:gd name="T9" fmla="*/ 0 h 1069"/>
              <a:gd name="T10" fmla="*/ 437 w 902"/>
              <a:gd name="T11" fmla="*/ 0 h 1069"/>
              <a:gd name="T12" fmla="*/ 410 w 902"/>
              <a:gd name="T13" fmla="*/ 5 h 1069"/>
              <a:gd name="T14" fmla="*/ 386 w 902"/>
              <a:gd name="T15" fmla="*/ 16 h 1069"/>
              <a:gd name="T16" fmla="*/ 363 w 902"/>
              <a:gd name="T17" fmla="*/ 32 h 1069"/>
              <a:gd name="T18" fmla="*/ 35 w 902"/>
              <a:gd name="T19" fmla="*/ 387 h 1069"/>
              <a:gd name="T20" fmla="*/ 27 w 902"/>
              <a:gd name="T21" fmla="*/ 397 h 1069"/>
              <a:gd name="T22" fmla="*/ 12 w 902"/>
              <a:gd name="T23" fmla="*/ 420 h 1069"/>
              <a:gd name="T24" fmla="*/ 4 w 902"/>
              <a:gd name="T25" fmla="*/ 444 h 1069"/>
              <a:gd name="T26" fmla="*/ 0 w 902"/>
              <a:gd name="T27" fmla="*/ 470 h 1069"/>
              <a:gd name="T28" fmla="*/ 1 w 902"/>
              <a:gd name="T29" fmla="*/ 496 h 1069"/>
              <a:gd name="T30" fmla="*/ 8 w 902"/>
              <a:gd name="T31" fmla="*/ 521 h 1069"/>
              <a:gd name="T32" fmla="*/ 18 w 902"/>
              <a:gd name="T33" fmla="*/ 544 h 1069"/>
              <a:gd name="T34" fmla="*/ 33 w 902"/>
              <a:gd name="T35" fmla="*/ 566 h 1069"/>
              <a:gd name="T36" fmla="*/ 42 w 902"/>
              <a:gd name="T37" fmla="*/ 576 h 1069"/>
              <a:gd name="T38" fmla="*/ 65 w 902"/>
              <a:gd name="T39" fmla="*/ 592 h 1069"/>
              <a:gd name="T40" fmla="*/ 88 w 902"/>
              <a:gd name="T41" fmla="*/ 603 h 1069"/>
              <a:gd name="T42" fmla="*/ 113 w 902"/>
              <a:gd name="T43" fmla="*/ 609 h 1069"/>
              <a:gd name="T44" fmla="*/ 139 w 902"/>
              <a:gd name="T45" fmla="*/ 611 h 1069"/>
              <a:gd name="T46" fmla="*/ 165 w 902"/>
              <a:gd name="T47" fmla="*/ 607 h 1069"/>
              <a:gd name="T48" fmla="*/ 189 w 902"/>
              <a:gd name="T49" fmla="*/ 599 h 1069"/>
              <a:gd name="T50" fmla="*/ 212 w 902"/>
              <a:gd name="T51" fmla="*/ 586 h 1069"/>
              <a:gd name="T52" fmla="*/ 232 w 902"/>
              <a:gd name="T53" fmla="*/ 568 h 1069"/>
              <a:gd name="T54" fmla="*/ 317 w 902"/>
              <a:gd name="T55" fmla="*/ 936 h 1069"/>
              <a:gd name="T56" fmla="*/ 318 w 902"/>
              <a:gd name="T57" fmla="*/ 949 h 1069"/>
              <a:gd name="T58" fmla="*/ 324 w 902"/>
              <a:gd name="T59" fmla="*/ 976 h 1069"/>
              <a:gd name="T60" fmla="*/ 334 w 902"/>
              <a:gd name="T61" fmla="*/ 999 h 1069"/>
              <a:gd name="T62" fmla="*/ 348 w 902"/>
              <a:gd name="T63" fmla="*/ 1020 h 1069"/>
              <a:gd name="T64" fmla="*/ 366 w 902"/>
              <a:gd name="T65" fmla="*/ 1039 h 1069"/>
              <a:gd name="T66" fmla="*/ 388 w 902"/>
              <a:gd name="T67" fmla="*/ 1054 h 1069"/>
              <a:gd name="T68" fmla="*/ 412 w 902"/>
              <a:gd name="T69" fmla="*/ 1064 h 1069"/>
              <a:gd name="T70" fmla="*/ 437 w 902"/>
              <a:gd name="T71" fmla="*/ 1069 h 1069"/>
              <a:gd name="T72" fmla="*/ 452 w 902"/>
              <a:gd name="T73" fmla="*/ 1069 h 1069"/>
              <a:gd name="T74" fmla="*/ 478 w 902"/>
              <a:gd name="T75" fmla="*/ 1067 h 1069"/>
              <a:gd name="T76" fmla="*/ 503 w 902"/>
              <a:gd name="T77" fmla="*/ 1059 h 1069"/>
              <a:gd name="T78" fmla="*/ 526 w 902"/>
              <a:gd name="T79" fmla="*/ 1047 h 1069"/>
              <a:gd name="T80" fmla="*/ 546 w 902"/>
              <a:gd name="T81" fmla="*/ 1030 h 1069"/>
              <a:gd name="T82" fmla="*/ 562 w 902"/>
              <a:gd name="T83" fmla="*/ 1010 h 1069"/>
              <a:gd name="T84" fmla="*/ 575 w 902"/>
              <a:gd name="T85" fmla="*/ 988 h 1069"/>
              <a:gd name="T86" fmla="*/ 583 w 902"/>
              <a:gd name="T87" fmla="*/ 963 h 1069"/>
              <a:gd name="T88" fmla="*/ 585 w 902"/>
              <a:gd name="T89" fmla="*/ 936 h 1069"/>
              <a:gd name="T90" fmla="*/ 671 w 902"/>
              <a:gd name="T91" fmla="*/ 568 h 1069"/>
              <a:gd name="T92" fmla="*/ 680 w 902"/>
              <a:gd name="T93" fmla="*/ 578 h 1069"/>
              <a:gd name="T94" fmla="*/ 702 w 902"/>
              <a:gd name="T95" fmla="*/ 593 h 1069"/>
              <a:gd name="T96" fmla="*/ 725 w 902"/>
              <a:gd name="T97" fmla="*/ 603 h 1069"/>
              <a:gd name="T98" fmla="*/ 751 w 902"/>
              <a:gd name="T99" fmla="*/ 609 h 1069"/>
              <a:gd name="T100" fmla="*/ 776 w 902"/>
              <a:gd name="T101" fmla="*/ 610 h 1069"/>
              <a:gd name="T102" fmla="*/ 802 w 902"/>
              <a:gd name="T103" fmla="*/ 607 h 1069"/>
              <a:gd name="T104" fmla="*/ 826 w 902"/>
              <a:gd name="T105" fmla="*/ 598 h 1069"/>
              <a:gd name="T106" fmla="*/ 849 w 902"/>
              <a:gd name="T107" fmla="*/ 584 h 1069"/>
              <a:gd name="T108" fmla="*/ 860 w 902"/>
              <a:gd name="T109" fmla="*/ 576 h 1069"/>
              <a:gd name="T110" fmla="*/ 877 w 902"/>
              <a:gd name="T111" fmla="*/ 556 h 1069"/>
              <a:gd name="T112" fmla="*/ 891 w 902"/>
              <a:gd name="T113" fmla="*/ 533 h 1069"/>
              <a:gd name="T114" fmla="*/ 899 w 902"/>
              <a:gd name="T115" fmla="*/ 509 h 1069"/>
              <a:gd name="T116" fmla="*/ 902 w 902"/>
              <a:gd name="T117" fmla="*/ 483 h 1069"/>
              <a:gd name="T118" fmla="*/ 901 w 902"/>
              <a:gd name="T119" fmla="*/ 457 h 1069"/>
              <a:gd name="T120" fmla="*/ 894 w 902"/>
              <a:gd name="T121" fmla="*/ 432 h 1069"/>
              <a:gd name="T122" fmla="*/ 883 w 902"/>
              <a:gd name="T123" fmla="*/ 408 h 1069"/>
              <a:gd name="T124" fmla="*/ 867 w 902"/>
              <a:gd name="T125" fmla="*/ 387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69">
                <a:moveTo>
                  <a:pt x="867" y="387"/>
                </a:moveTo>
                <a:lnTo>
                  <a:pt x="549" y="42"/>
                </a:lnTo>
                <a:lnTo>
                  <a:pt x="549" y="42"/>
                </a:lnTo>
                <a:lnTo>
                  <a:pt x="539" y="32"/>
                </a:lnTo>
                <a:lnTo>
                  <a:pt x="528" y="23"/>
                </a:lnTo>
                <a:lnTo>
                  <a:pt x="517" y="16"/>
                </a:lnTo>
                <a:lnTo>
                  <a:pt x="504" y="10"/>
                </a:lnTo>
                <a:lnTo>
                  <a:pt x="492" y="5"/>
                </a:lnTo>
                <a:lnTo>
                  <a:pt x="478" y="2"/>
                </a:lnTo>
                <a:lnTo>
                  <a:pt x="465" y="0"/>
                </a:lnTo>
                <a:lnTo>
                  <a:pt x="452" y="0"/>
                </a:lnTo>
                <a:lnTo>
                  <a:pt x="437" y="0"/>
                </a:lnTo>
                <a:lnTo>
                  <a:pt x="424" y="2"/>
                </a:lnTo>
                <a:lnTo>
                  <a:pt x="410" y="5"/>
                </a:lnTo>
                <a:lnTo>
                  <a:pt x="398" y="10"/>
                </a:lnTo>
                <a:lnTo>
                  <a:pt x="386" y="16"/>
                </a:lnTo>
                <a:lnTo>
                  <a:pt x="374" y="23"/>
                </a:lnTo>
                <a:lnTo>
                  <a:pt x="363" y="32"/>
                </a:lnTo>
                <a:lnTo>
                  <a:pt x="353" y="42"/>
                </a:lnTo>
                <a:lnTo>
                  <a:pt x="35" y="387"/>
                </a:lnTo>
                <a:lnTo>
                  <a:pt x="35" y="387"/>
                </a:lnTo>
                <a:lnTo>
                  <a:pt x="27" y="397"/>
                </a:lnTo>
                <a:lnTo>
                  <a:pt x="19" y="408"/>
                </a:lnTo>
                <a:lnTo>
                  <a:pt x="12" y="420"/>
                </a:lnTo>
                <a:lnTo>
                  <a:pt x="8" y="432"/>
                </a:lnTo>
                <a:lnTo>
                  <a:pt x="4" y="444"/>
                </a:lnTo>
                <a:lnTo>
                  <a:pt x="1" y="457"/>
                </a:lnTo>
                <a:lnTo>
                  <a:pt x="0" y="470"/>
                </a:lnTo>
                <a:lnTo>
                  <a:pt x="0" y="482"/>
                </a:lnTo>
                <a:lnTo>
                  <a:pt x="1" y="496"/>
                </a:lnTo>
                <a:lnTo>
                  <a:pt x="3" y="508"/>
                </a:lnTo>
                <a:lnTo>
                  <a:pt x="8" y="521"/>
                </a:lnTo>
                <a:lnTo>
                  <a:pt x="12" y="533"/>
                </a:lnTo>
                <a:lnTo>
                  <a:pt x="18" y="544"/>
                </a:lnTo>
                <a:lnTo>
                  <a:pt x="25" y="556"/>
                </a:lnTo>
                <a:lnTo>
                  <a:pt x="33" y="566"/>
                </a:lnTo>
                <a:lnTo>
                  <a:pt x="42" y="576"/>
                </a:lnTo>
                <a:lnTo>
                  <a:pt x="42" y="576"/>
                </a:lnTo>
                <a:lnTo>
                  <a:pt x="53" y="584"/>
                </a:lnTo>
                <a:lnTo>
                  <a:pt x="65" y="592"/>
                </a:lnTo>
                <a:lnTo>
                  <a:pt x="76" y="598"/>
                </a:lnTo>
                <a:lnTo>
                  <a:pt x="88" y="603"/>
                </a:lnTo>
                <a:lnTo>
                  <a:pt x="100" y="607"/>
                </a:lnTo>
                <a:lnTo>
                  <a:pt x="113" y="609"/>
                </a:lnTo>
                <a:lnTo>
                  <a:pt x="126" y="610"/>
                </a:lnTo>
                <a:lnTo>
                  <a:pt x="139" y="611"/>
                </a:lnTo>
                <a:lnTo>
                  <a:pt x="152" y="609"/>
                </a:lnTo>
                <a:lnTo>
                  <a:pt x="165" y="607"/>
                </a:lnTo>
                <a:lnTo>
                  <a:pt x="177" y="603"/>
                </a:lnTo>
                <a:lnTo>
                  <a:pt x="189" y="599"/>
                </a:lnTo>
                <a:lnTo>
                  <a:pt x="201" y="593"/>
                </a:lnTo>
                <a:lnTo>
                  <a:pt x="212" y="586"/>
                </a:lnTo>
                <a:lnTo>
                  <a:pt x="222" y="578"/>
                </a:lnTo>
                <a:lnTo>
                  <a:pt x="232" y="568"/>
                </a:lnTo>
                <a:lnTo>
                  <a:pt x="317" y="476"/>
                </a:lnTo>
                <a:lnTo>
                  <a:pt x="317" y="936"/>
                </a:lnTo>
                <a:lnTo>
                  <a:pt x="317" y="936"/>
                </a:lnTo>
                <a:lnTo>
                  <a:pt x="318" y="949"/>
                </a:lnTo>
                <a:lnTo>
                  <a:pt x="320" y="963"/>
                </a:lnTo>
                <a:lnTo>
                  <a:pt x="324" y="976"/>
                </a:lnTo>
                <a:lnTo>
                  <a:pt x="328" y="988"/>
                </a:lnTo>
                <a:lnTo>
                  <a:pt x="334" y="999"/>
                </a:lnTo>
                <a:lnTo>
                  <a:pt x="340" y="1010"/>
                </a:lnTo>
                <a:lnTo>
                  <a:pt x="348" y="1020"/>
                </a:lnTo>
                <a:lnTo>
                  <a:pt x="357" y="1030"/>
                </a:lnTo>
                <a:lnTo>
                  <a:pt x="366" y="1039"/>
                </a:lnTo>
                <a:lnTo>
                  <a:pt x="377" y="1047"/>
                </a:lnTo>
                <a:lnTo>
                  <a:pt x="388" y="1054"/>
                </a:lnTo>
                <a:lnTo>
                  <a:pt x="399" y="1059"/>
                </a:lnTo>
                <a:lnTo>
                  <a:pt x="412" y="1064"/>
                </a:lnTo>
                <a:lnTo>
                  <a:pt x="425" y="1067"/>
                </a:lnTo>
                <a:lnTo>
                  <a:pt x="437" y="1069"/>
                </a:lnTo>
                <a:lnTo>
                  <a:pt x="452" y="1069"/>
                </a:lnTo>
                <a:lnTo>
                  <a:pt x="452" y="1069"/>
                </a:lnTo>
                <a:lnTo>
                  <a:pt x="465" y="1069"/>
                </a:lnTo>
                <a:lnTo>
                  <a:pt x="478" y="1067"/>
                </a:lnTo>
                <a:lnTo>
                  <a:pt x="490" y="1064"/>
                </a:lnTo>
                <a:lnTo>
                  <a:pt x="503" y="1059"/>
                </a:lnTo>
                <a:lnTo>
                  <a:pt x="515" y="1054"/>
                </a:lnTo>
                <a:lnTo>
                  <a:pt x="526" y="1047"/>
                </a:lnTo>
                <a:lnTo>
                  <a:pt x="536" y="1039"/>
                </a:lnTo>
                <a:lnTo>
                  <a:pt x="546" y="1030"/>
                </a:lnTo>
                <a:lnTo>
                  <a:pt x="554" y="1020"/>
                </a:lnTo>
                <a:lnTo>
                  <a:pt x="562" y="1010"/>
                </a:lnTo>
                <a:lnTo>
                  <a:pt x="568" y="999"/>
                </a:lnTo>
                <a:lnTo>
                  <a:pt x="575" y="988"/>
                </a:lnTo>
                <a:lnTo>
                  <a:pt x="579" y="976"/>
                </a:lnTo>
                <a:lnTo>
                  <a:pt x="583" y="963"/>
                </a:lnTo>
                <a:lnTo>
                  <a:pt x="584" y="949"/>
                </a:lnTo>
                <a:lnTo>
                  <a:pt x="585" y="936"/>
                </a:lnTo>
                <a:lnTo>
                  <a:pt x="585" y="476"/>
                </a:lnTo>
                <a:lnTo>
                  <a:pt x="671" y="568"/>
                </a:lnTo>
                <a:lnTo>
                  <a:pt x="671" y="568"/>
                </a:lnTo>
                <a:lnTo>
                  <a:pt x="680" y="578"/>
                </a:lnTo>
                <a:lnTo>
                  <a:pt x="691" y="586"/>
                </a:lnTo>
                <a:lnTo>
                  <a:pt x="702" y="593"/>
                </a:lnTo>
                <a:lnTo>
                  <a:pt x="713" y="599"/>
                </a:lnTo>
                <a:lnTo>
                  <a:pt x="725" y="603"/>
                </a:lnTo>
                <a:lnTo>
                  <a:pt x="737" y="607"/>
                </a:lnTo>
                <a:lnTo>
                  <a:pt x="751" y="609"/>
                </a:lnTo>
                <a:lnTo>
                  <a:pt x="763" y="610"/>
                </a:lnTo>
                <a:lnTo>
                  <a:pt x="776" y="610"/>
                </a:lnTo>
                <a:lnTo>
                  <a:pt x="789" y="609"/>
                </a:lnTo>
                <a:lnTo>
                  <a:pt x="802" y="607"/>
                </a:lnTo>
                <a:lnTo>
                  <a:pt x="814" y="603"/>
                </a:lnTo>
                <a:lnTo>
                  <a:pt x="826" y="598"/>
                </a:lnTo>
                <a:lnTo>
                  <a:pt x="837" y="592"/>
                </a:lnTo>
                <a:lnTo>
                  <a:pt x="849" y="584"/>
                </a:lnTo>
                <a:lnTo>
                  <a:pt x="860" y="576"/>
                </a:lnTo>
                <a:lnTo>
                  <a:pt x="860" y="576"/>
                </a:lnTo>
                <a:lnTo>
                  <a:pt x="869" y="566"/>
                </a:lnTo>
                <a:lnTo>
                  <a:pt x="877" y="556"/>
                </a:lnTo>
                <a:lnTo>
                  <a:pt x="884" y="544"/>
                </a:lnTo>
                <a:lnTo>
                  <a:pt x="891" y="533"/>
                </a:lnTo>
                <a:lnTo>
                  <a:pt x="895" y="521"/>
                </a:lnTo>
                <a:lnTo>
                  <a:pt x="899" y="509"/>
                </a:lnTo>
                <a:lnTo>
                  <a:pt x="901" y="496"/>
                </a:lnTo>
                <a:lnTo>
                  <a:pt x="902" y="483"/>
                </a:lnTo>
                <a:lnTo>
                  <a:pt x="902" y="470"/>
                </a:lnTo>
                <a:lnTo>
                  <a:pt x="901" y="457"/>
                </a:lnTo>
                <a:lnTo>
                  <a:pt x="899" y="444"/>
                </a:lnTo>
                <a:lnTo>
                  <a:pt x="894" y="432"/>
                </a:lnTo>
                <a:lnTo>
                  <a:pt x="890" y="420"/>
                </a:lnTo>
                <a:lnTo>
                  <a:pt x="883" y="408"/>
                </a:lnTo>
                <a:lnTo>
                  <a:pt x="876" y="397"/>
                </a:lnTo>
                <a:lnTo>
                  <a:pt x="867" y="387"/>
                </a:lnTo>
                <a:lnTo>
                  <a:pt x="867" y="38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97" name="Ellipse 296">
            <a:extLst>
              <a:ext uri="{FF2B5EF4-FFF2-40B4-BE49-F238E27FC236}">
                <a16:creationId xmlns:a16="http://schemas.microsoft.com/office/drawing/2014/main" id="{572D05BF-5BE7-4B70-9AEB-7D65515678C0}"/>
              </a:ext>
            </a:extLst>
          </p:cNvPr>
          <p:cNvSpPr/>
          <p:nvPr>
            <p:custDataLst>
              <p:tags r:id="rId37"/>
            </p:custDataLst>
          </p:nvPr>
        </p:nvSpPr>
        <p:spPr bwMode="auto">
          <a:xfrm>
            <a:off x="284401"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endParaRPr>
          </a:p>
        </p:txBody>
      </p:sp>
      <p:sp>
        <p:nvSpPr>
          <p:cNvPr id="322" name="Freeform 52">
            <a:extLst>
              <a:ext uri="{FF2B5EF4-FFF2-40B4-BE49-F238E27FC236}">
                <a16:creationId xmlns:a16="http://schemas.microsoft.com/office/drawing/2014/main" id="{AE4F0730-CF30-4996-94DE-6201E35C8BDB}"/>
              </a:ext>
            </a:extLst>
          </p:cNvPr>
          <p:cNvSpPr>
            <a:spLocks/>
          </p:cNvSpPr>
          <p:nvPr>
            <p:custDataLst>
              <p:tags r:id="rId38"/>
            </p:custDataLst>
          </p:nvPr>
        </p:nvSpPr>
        <p:spPr bwMode="auto">
          <a:xfrm>
            <a:off x="398933" y="3974630"/>
            <a:ext cx="234432" cy="278193"/>
          </a:xfrm>
          <a:custGeom>
            <a:avLst/>
            <a:gdLst>
              <a:gd name="T0" fmla="*/ 549 w 902"/>
              <a:gd name="T1" fmla="*/ 42 h 1069"/>
              <a:gd name="T2" fmla="*/ 539 w 902"/>
              <a:gd name="T3" fmla="*/ 32 h 1069"/>
              <a:gd name="T4" fmla="*/ 517 w 902"/>
              <a:gd name="T5" fmla="*/ 16 h 1069"/>
              <a:gd name="T6" fmla="*/ 492 w 902"/>
              <a:gd name="T7" fmla="*/ 5 h 1069"/>
              <a:gd name="T8" fmla="*/ 465 w 902"/>
              <a:gd name="T9" fmla="*/ 0 h 1069"/>
              <a:gd name="T10" fmla="*/ 437 w 902"/>
              <a:gd name="T11" fmla="*/ 0 h 1069"/>
              <a:gd name="T12" fmla="*/ 410 w 902"/>
              <a:gd name="T13" fmla="*/ 5 h 1069"/>
              <a:gd name="T14" fmla="*/ 386 w 902"/>
              <a:gd name="T15" fmla="*/ 16 h 1069"/>
              <a:gd name="T16" fmla="*/ 363 w 902"/>
              <a:gd name="T17" fmla="*/ 32 h 1069"/>
              <a:gd name="T18" fmla="*/ 35 w 902"/>
              <a:gd name="T19" fmla="*/ 387 h 1069"/>
              <a:gd name="T20" fmla="*/ 27 w 902"/>
              <a:gd name="T21" fmla="*/ 397 h 1069"/>
              <a:gd name="T22" fmla="*/ 12 w 902"/>
              <a:gd name="T23" fmla="*/ 420 h 1069"/>
              <a:gd name="T24" fmla="*/ 4 w 902"/>
              <a:gd name="T25" fmla="*/ 444 h 1069"/>
              <a:gd name="T26" fmla="*/ 0 w 902"/>
              <a:gd name="T27" fmla="*/ 470 h 1069"/>
              <a:gd name="T28" fmla="*/ 1 w 902"/>
              <a:gd name="T29" fmla="*/ 496 h 1069"/>
              <a:gd name="T30" fmla="*/ 8 w 902"/>
              <a:gd name="T31" fmla="*/ 521 h 1069"/>
              <a:gd name="T32" fmla="*/ 18 w 902"/>
              <a:gd name="T33" fmla="*/ 544 h 1069"/>
              <a:gd name="T34" fmla="*/ 33 w 902"/>
              <a:gd name="T35" fmla="*/ 566 h 1069"/>
              <a:gd name="T36" fmla="*/ 42 w 902"/>
              <a:gd name="T37" fmla="*/ 576 h 1069"/>
              <a:gd name="T38" fmla="*/ 65 w 902"/>
              <a:gd name="T39" fmla="*/ 592 h 1069"/>
              <a:gd name="T40" fmla="*/ 88 w 902"/>
              <a:gd name="T41" fmla="*/ 603 h 1069"/>
              <a:gd name="T42" fmla="*/ 113 w 902"/>
              <a:gd name="T43" fmla="*/ 609 h 1069"/>
              <a:gd name="T44" fmla="*/ 139 w 902"/>
              <a:gd name="T45" fmla="*/ 611 h 1069"/>
              <a:gd name="T46" fmla="*/ 165 w 902"/>
              <a:gd name="T47" fmla="*/ 607 h 1069"/>
              <a:gd name="T48" fmla="*/ 189 w 902"/>
              <a:gd name="T49" fmla="*/ 599 h 1069"/>
              <a:gd name="T50" fmla="*/ 212 w 902"/>
              <a:gd name="T51" fmla="*/ 586 h 1069"/>
              <a:gd name="T52" fmla="*/ 232 w 902"/>
              <a:gd name="T53" fmla="*/ 568 h 1069"/>
              <a:gd name="T54" fmla="*/ 317 w 902"/>
              <a:gd name="T55" fmla="*/ 936 h 1069"/>
              <a:gd name="T56" fmla="*/ 318 w 902"/>
              <a:gd name="T57" fmla="*/ 949 h 1069"/>
              <a:gd name="T58" fmla="*/ 324 w 902"/>
              <a:gd name="T59" fmla="*/ 976 h 1069"/>
              <a:gd name="T60" fmla="*/ 334 w 902"/>
              <a:gd name="T61" fmla="*/ 999 h 1069"/>
              <a:gd name="T62" fmla="*/ 348 w 902"/>
              <a:gd name="T63" fmla="*/ 1020 h 1069"/>
              <a:gd name="T64" fmla="*/ 366 w 902"/>
              <a:gd name="T65" fmla="*/ 1039 h 1069"/>
              <a:gd name="T66" fmla="*/ 388 w 902"/>
              <a:gd name="T67" fmla="*/ 1054 h 1069"/>
              <a:gd name="T68" fmla="*/ 412 w 902"/>
              <a:gd name="T69" fmla="*/ 1064 h 1069"/>
              <a:gd name="T70" fmla="*/ 437 w 902"/>
              <a:gd name="T71" fmla="*/ 1069 h 1069"/>
              <a:gd name="T72" fmla="*/ 452 w 902"/>
              <a:gd name="T73" fmla="*/ 1069 h 1069"/>
              <a:gd name="T74" fmla="*/ 478 w 902"/>
              <a:gd name="T75" fmla="*/ 1067 h 1069"/>
              <a:gd name="T76" fmla="*/ 503 w 902"/>
              <a:gd name="T77" fmla="*/ 1059 h 1069"/>
              <a:gd name="T78" fmla="*/ 526 w 902"/>
              <a:gd name="T79" fmla="*/ 1047 h 1069"/>
              <a:gd name="T80" fmla="*/ 546 w 902"/>
              <a:gd name="T81" fmla="*/ 1030 h 1069"/>
              <a:gd name="T82" fmla="*/ 562 w 902"/>
              <a:gd name="T83" fmla="*/ 1010 h 1069"/>
              <a:gd name="T84" fmla="*/ 575 w 902"/>
              <a:gd name="T85" fmla="*/ 988 h 1069"/>
              <a:gd name="T86" fmla="*/ 583 w 902"/>
              <a:gd name="T87" fmla="*/ 963 h 1069"/>
              <a:gd name="T88" fmla="*/ 585 w 902"/>
              <a:gd name="T89" fmla="*/ 936 h 1069"/>
              <a:gd name="T90" fmla="*/ 671 w 902"/>
              <a:gd name="T91" fmla="*/ 568 h 1069"/>
              <a:gd name="T92" fmla="*/ 680 w 902"/>
              <a:gd name="T93" fmla="*/ 578 h 1069"/>
              <a:gd name="T94" fmla="*/ 702 w 902"/>
              <a:gd name="T95" fmla="*/ 593 h 1069"/>
              <a:gd name="T96" fmla="*/ 725 w 902"/>
              <a:gd name="T97" fmla="*/ 603 h 1069"/>
              <a:gd name="T98" fmla="*/ 751 w 902"/>
              <a:gd name="T99" fmla="*/ 609 h 1069"/>
              <a:gd name="T100" fmla="*/ 776 w 902"/>
              <a:gd name="T101" fmla="*/ 610 h 1069"/>
              <a:gd name="T102" fmla="*/ 802 w 902"/>
              <a:gd name="T103" fmla="*/ 607 h 1069"/>
              <a:gd name="T104" fmla="*/ 826 w 902"/>
              <a:gd name="T105" fmla="*/ 598 h 1069"/>
              <a:gd name="T106" fmla="*/ 849 w 902"/>
              <a:gd name="T107" fmla="*/ 584 h 1069"/>
              <a:gd name="T108" fmla="*/ 860 w 902"/>
              <a:gd name="T109" fmla="*/ 576 h 1069"/>
              <a:gd name="T110" fmla="*/ 877 w 902"/>
              <a:gd name="T111" fmla="*/ 556 h 1069"/>
              <a:gd name="T112" fmla="*/ 891 w 902"/>
              <a:gd name="T113" fmla="*/ 533 h 1069"/>
              <a:gd name="T114" fmla="*/ 899 w 902"/>
              <a:gd name="T115" fmla="*/ 509 h 1069"/>
              <a:gd name="T116" fmla="*/ 902 w 902"/>
              <a:gd name="T117" fmla="*/ 483 h 1069"/>
              <a:gd name="T118" fmla="*/ 901 w 902"/>
              <a:gd name="T119" fmla="*/ 457 h 1069"/>
              <a:gd name="T120" fmla="*/ 894 w 902"/>
              <a:gd name="T121" fmla="*/ 432 h 1069"/>
              <a:gd name="T122" fmla="*/ 883 w 902"/>
              <a:gd name="T123" fmla="*/ 408 h 1069"/>
              <a:gd name="T124" fmla="*/ 867 w 902"/>
              <a:gd name="T125" fmla="*/ 387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69">
                <a:moveTo>
                  <a:pt x="867" y="387"/>
                </a:moveTo>
                <a:lnTo>
                  <a:pt x="549" y="42"/>
                </a:lnTo>
                <a:lnTo>
                  <a:pt x="549" y="42"/>
                </a:lnTo>
                <a:lnTo>
                  <a:pt x="539" y="32"/>
                </a:lnTo>
                <a:lnTo>
                  <a:pt x="528" y="23"/>
                </a:lnTo>
                <a:lnTo>
                  <a:pt x="517" y="16"/>
                </a:lnTo>
                <a:lnTo>
                  <a:pt x="504" y="10"/>
                </a:lnTo>
                <a:lnTo>
                  <a:pt x="492" y="5"/>
                </a:lnTo>
                <a:lnTo>
                  <a:pt x="478" y="2"/>
                </a:lnTo>
                <a:lnTo>
                  <a:pt x="465" y="0"/>
                </a:lnTo>
                <a:lnTo>
                  <a:pt x="452" y="0"/>
                </a:lnTo>
                <a:lnTo>
                  <a:pt x="437" y="0"/>
                </a:lnTo>
                <a:lnTo>
                  <a:pt x="424" y="2"/>
                </a:lnTo>
                <a:lnTo>
                  <a:pt x="410" y="5"/>
                </a:lnTo>
                <a:lnTo>
                  <a:pt x="398" y="10"/>
                </a:lnTo>
                <a:lnTo>
                  <a:pt x="386" y="16"/>
                </a:lnTo>
                <a:lnTo>
                  <a:pt x="374" y="23"/>
                </a:lnTo>
                <a:lnTo>
                  <a:pt x="363" y="32"/>
                </a:lnTo>
                <a:lnTo>
                  <a:pt x="353" y="42"/>
                </a:lnTo>
                <a:lnTo>
                  <a:pt x="35" y="387"/>
                </a:lnTo>
                <a:lnTo>
                  <a:pt x="35" y="387"/>
                </a:lnTo>
                <a:lnTo>
                  <a:pt x="27" y="397"/>
                </a:lnTo>
                <a:lnTo>
                  <a:pt x="19" y="408"/>
                </a:lnTo>
                <a:lnTo>
                  <a:pt x="12" y="420"/>
                </a:lnTo>
                <a:lnTo>
                  <a:pt x="8" y="432"/>
                </a:lnTo>
                <a:lnTo>
                  <a:pt x="4" y="444"/>
                </a:lnTo>
                <a:lnTo>
                  <a:pt x="1" y="457"/>
                </a:lnTo>
                <a:lnTo>
                  <a:pt x="0" y="470"/>
                </a:lnTo>
                <a:lnTo>
                  <a:pt x="0" y="482"/>
                </a:lnTo>
                <a:lnTo>
                  <a:pt x="1" y="496"/>
                </a:lnTo>
                <a:lnTo>
                  <a:pt x="3" y="508"/>
                </a:lnTo>
                <a:lnTo>
                  <a:pt x="8" y="521"/>
                </a:lnTo>
                <a:lnTo>
                  <a:pt x="12" y="533"/>
                </a:lnTo>
                <a:lnTo>
                  <a:pt x="18" y="544"/>
                </a:lnTo>
                <a:lnTo>
                  <a:pt x="25" y="556"/>
                </a:lnTo>
                <a:lnTo>
                  <a:pt x="33" y="566"/>
                </a:lnTo>
                <a:lnTo>
                  <a:pt x="42" y="576"/>
                </a:lnTo>
                <a:lnTo>
                  <a:pt x="42" y="576"/>
                </a:lnTo>
                <a:lnTo>
                  <a:pt x="53" y="584"/>
                </a:lnTo>
                <a:lnTo>
                  <a:pt x="65" y="592"/>
                </a:lnTo>
                <a:lnTo>
                  <a:pt x="76" y="598"/>
                </a:lnTo>
                <a:lnTo>
                  <a:pt x="88" y="603"/>
                </a:lnTo>
                <a:lnTo>
                  <a:pt x="100" y="607"/>
                </a:lnTo>
                <a:lnTo>
                  <a:pt x="113" y="609"/>
                </a:lnTo>
                <a:lnTo>
                  <a:pt x="126" y="610"/>
                </a:lnTo>
                <a:lnTo>
                  <a:pt x="139" y="611"/>
                </a:lnTo>
                <a:lnTo>
                  <a:pt x="152" y="609"/>
                </a:lnTo>
                <a:lnTo>
                  <a:pt x="165" y="607"/>
                </a:lnTo>
                <a:lnTo>
                  <a:pt x="177" y="603"/>
                </a:lnTo>
                <a:lnTo>
                  <a:pt x="189" y="599"/>
                </a:lnTo>
                <a:lnTo>
                  <a:pt x="201" y="593"/>
                </a:lnTo>
                <a:lnTo>
                  <a:pt x="212" y="586"/>
                </a:lnTo>
                <a:lnTo>
                  <a:pt x="222" y="578"/>
                </a:lnTo>
                <a:lnTo>
                  <a:pt x="232" y="568"/>
                </a:lnTo>
                <a:lnTo>
                  <a:pt x="317" y="476"/>
                </a:lnTo>
                <a:lnTo>
                  <a:pt x="317" y="936"/>
                </a:lnTo>
                <a:lnTo>
                  <a:pt x="317" y="936"/>
                </a:lnTo>
                <a:lnTo>
                  <a:pt x="318" y="949"/>
                </a:lnTo>
                <a:lnTo>
                  <a:pt x="320" y="963"/>
                </a:lnTo>
                <a:lnTo>
                  <a:pt x="324" y="976"/>
                </a:lnTo>
                <a:lnTo>
                  <a:pt x="328" y="988"/>
                </a:lnTo>
                <a:lnTo>
                  <a:pt x="334" y="999"/>
                </a:lnTo>
                <a:lnTo>
                  <a:pt x="340" y="1010"/>
                </a:lnTo>
                <a:lnTo>
                  <a:pt x="348" y="1020"/>
                </a:lnTo>
                <a:lnTo>
                  <a:pt x="357" y="1030"/>
                </a:lnTo>
                <a:lnTo>
                  <a:pt x="366" y="1039"/>
                </a:lnTo>
                <a:lnTo>
                  <a:pt x="377" y="1047"/>
                </a:lnTo>
                <a:lnTo>
                  <a:pt x="388" y="1054"/>
                </a:lnTo>
                <a:lnTo>
                  <a:pt x="399" y="1059"/>
                </a:lnTo>
                <a:lnTo>
                  <a:pt x="412" y="1064"/>
                </a:lnTo>
                <a:lnTo>
                  <a:pt x="425" y="1067"/>
                </a:lnTo>
                <a:lnTo>
                  <a:pt x="437" y="1069"/>
                </a:lnTo>
                <a:lnTo>
                  <a:pt x="452" y="1069"/>
                </a:lnTo>
                <a:lnTo>
                  <a:pt x="452" y="1069"/>
                </a:lnTo>
                <a:lnTo>
                  <a:pt x="465" y="1069"/>
                </a:lnTo>
                <a:lnTo>
                  <a:pt x="478" y="1067"/>
                </a:lnTo>
                <a:lnTo>
                  <a:pt x="490" y="1064"/>
                </a:lnTo>
                <a:lnTo>
                  <a:pt x="503" y="1059"/>
                </a:lnTo>
                <a:lnTo>
                  <a:pt x="515" y="1054"/>
                </a:lnTo>
                <a:lnTo>
                  <a:pt x="526" y="1047"/>
                </a:lnTo>
                <a:lnTo>
                  <a:pt x="536" y="1039"/>
                </a:lnTo>
                <a:lnTo>
                  <a:pt x="546" y="1030"/>
                </a:lnTo>
                <a:lnTo>
                  <a:pt x="554" y="1020"/>
                </a:lnTo>
                <a:lnTo>
                  <a:pt x="562" y="1010"/>
                </a:lnTo>
                <a:lnTo>
                  <a:pt x="568" y="999"/>
                </a:lnTo>
                <a:lnTo>
                  <a:pt x="575" y="988"/>
                </a:lnTo>
                <a:lnTo>
                  <a:pt x="579" y="976"/>
                </a:lnTo>
                <a:lnTo>
                  <a:pt x="583" y="963"/>
                </a:lnTo>
                <a:lnTo>
                  <a:pt x="584" y="949"/>
                </a:lnTo>
                <a:lnTo>
                  <a:pt x="585" y="936"/>
                </a:lnTo>
                <a:lnTo>
                  <a:pt x="585" y="476"/>
                </a:lnTo>
                <a:lnTo>
                  <a:pt x="671" y="568"/>
                </a:lnTo>
                <a:lnTo>
                  <a:pt x="671" y="568"/>
                </a:lnTo>
                <a:lnTo>
                  <a:pt x="680" y="578"/>
                </a:lnTo>
                <a:lnTo>
                  <a:pt x="691" y="586"/>
                </a:lnTo>
                <a:lnTo>
                  <a:pt x="702" y="593"/>
                </a:lnTo>
                <a:lnTo>
                  <a:pt x="713" y="599"/>
                </a:lnTo>
                <a:lnTo>
                  <a:pt x="725" y="603"/>
                </a:lnTo>
                <a:lnTo>
                  <a:pt x="737" y="607"/>
                </a:lnTo>
                <a:lnTo>
                  <a:pt x="751" y="609"/>
                </a:lnTo>
                <a:lnTo>
                  <a:pt x="763" y="610"/>
                </a:lnTo>
                <a:lnTo>
                  <a:pt x="776" y="610"/>
                </a:lnTo>
                <a:lnTo>
                  <a:pt x="789" y="609"/>
                </a:lnTo>
                <a:lnTo>
                  <a:pt x="802" y="607"/>
                </a:lnTo>
                <a:lnTo>
                  <a:pt x="814" y="603"/>
                </a:lnTo>
                <a:lnTo>
                  <a:pt x="826" y="598"/>
                </a:lnTo>
                <a:lnTo>
                  <a:pt x="837" y="592"/>
                </a:lnTo>
                <a:lnTo>
                  <a:pt x="849" y="584"/>
                </a:lnTo>
                <a:lnTo>
                  <a:pt x="860" y="576"/>
                </a:lnTo>
                <a:lnTo>
                  <a:pt x="860" y="576"/>
                </a:lnTo>
                <a:lnTo>
                  <a:pt x="869" y="566"/>
                </a:lnTo>
                <a:lnTo>
                  <a:pt x="877" y="556"/>
                </a:lnTo>
                <a:lnTo>
                  <a:pt x="884" y="544"/>
                </a:lnTo>
                <a:lnTo>
                  <a:pt x="891" y="533"/>
                </a:lnTo>
                <a:lnTo>
                  <a:pt x="895" y="521"/>
                </a:lnTo>
                <a:lnTo>
                  <a:pt x="899" y="509"/>
                </a:lnTo>
                <a:lnTo>
                  <a:pt x="901" y="496"/>
                </a:lnTo>
                <a:lnTo>
                  <a:pt x="902" y="483"/>
                </a:lnTo>
                <a:lnTo>
                  <a:pt x="902" y="470"/>
                </a:lnTo>
                <a:lnTo>
                  <a:pt x="901" y="457"/>
                </a:lnTo>
                <a:lnTo>
                  <a:pt x="899" y="444"/>
                </a:lnTo>
                <a:lnTo>
                  <a:pt x="894" y="432"/>
                </a:lnTo>
                <a:lnTo>
                  <a:pt x="890" y="420"/>
                </a:lnTo>
                <a:lnTo>
                  <a:pt x="883" y="408"/>
                </a:lnTo>
                <a:lnTo>
                  <a:pt x="876" y="397"/>
                </a:lnTo>
                <a:lnTo>
                  <a:pt x="867" y="387"/>
                </a:lnTo>
                <a:lnTo>
                  <a:pt x="867" y="3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9" name="Ellipse 38"/>
          <p:cNvSpPr/>
          <p:nvPr/>
        </p:nvSpPr>
        <p:spPr bwMode="auto">
          <a:xfrm>
            <a:off x="1595889"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66" name="Freeform 57">
            <a:extLst>
              <a:ext uri="{FF2B5EF4-FFF2-40B4-BE49-F238E27FC236}">
                <a16:creationId xmlns:a16="http://schemas.microsoft.com/office/drawing/2014/main" id="{C6E31827-AC87-43E7-8355-1E2DB1F14839}"/>
              </a:ext>
            </a:extLst>
          </p:cNvPr>
          <p:cNvSpPr>
            <a:spLocks/>
          </p:cNvSpPr>
          <p:nvPr/>
        </p:nvSpPr>
        <p:spPr bwMode="auto">
          <a:xfrm>
            <a:off x="1826856" y="3505419"/>
            <a:ext cx="1563" cy="1563"/>
          </a:xfrm>
          <a:custGeom>
            <a:avLst/>
            <a:gdLst>
              <a:gd name="T0" fmla="*/ 5 w 5"/>
              <a:gd name="T1" fmla="*/ 5 h 5"/>
              <a:gd name="T2" fmla="*/ 5 w 5"/>
              <a:gd name="T3" fmla="*/ 5 h 5"/>
              <a:gd name="T4" fmla="*/ 0 w 5"/>
              <a:gd name="T5" fmla="*/ 0 h 5"/>
              <a:gd name="T6" fmla="*/ 0 w 5"/>
              <a:gd name="T7" fmla="*/ 0 h 5"/>
              <a:gd name="T8" fmla="*/ 5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5"/>
                </a:lnTo>
                <a:lnTo>
                  <a:pt x="0" y="0"/>
                </a:lnTo>
                <a:lnTo>
                  <a:pt x="0" y="0"/>
                </a:lnTo>
                <a:lnTo>
                  <a:pt x="5" y="5"/>
                </a:lnTo>
                <a:lnTo>
                  <a:pt x="5" y="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7" name="Freeform 58">
            <a:extLst>
              <a:ext uri="{FF2B5EF4-FFF2-40B4-BE49-F238E27FC236}">
                <a16:creationId xmlns:a16="http://schemas.microsoft.com/office/drawing/2014/main" id="{F9320472-6783-442E-9D4A-F4D412A2258F}"/>
              </a:ext>
            </a:extLst>
          </p:cNvPr>
          <p:cNvSpPr>
            <a:spLocks/>
          </p:cNvSpPr>
          <p:nvPr/>
        </p:nvSpPr>
        <p:spPr bwMode="auto">
          <a:xfrm>
            <a:off x="1825293" y="3500731"/>
            <a:ext cx="4689" cy="4689"/>
          </a:xfrm>
          <a:custGeom>
            <a:avLst/>
            <a:gdLst>
              <a:gd name="T0" fmla="*/ 15 w 15"/>
              <a:gd name="T1" fmla="*/ 16 h 16"/>
              <a:gd name="T2" fmla="*/ 15 w 15"/>
              <a:gd name="T3" fmla="*/ 16 h 16"/>
              <a:gd name="T4" fmla="*/ 0 w 15"/>
              <a:gd name="T5" fmla="*/ 0 h 16"/>
              <a:gd name="T6" fmla="*/ 0 w 15"/>
              <a:gd name="T7" fmla="*/ 0 h 16"/>
              <a:gd name="T8" fmla="*/ 15 w 15"/>
              <a:gd name="T9" fmla="*/ 16 h 16"/>
              <a:gd name="T10" fmla="*/ 15 w 15"/>
              <a:gd name="T11" fmla="*/ 16 h 16"/>
            </a:gdLst>
            <a:ahLst/>
            <a:cxnLst>
              <a:cxn ang="0">
                <a:pos x="T0" y="T1"/>
              </a:cxn>
              <a:cxn ang="0">
                <a:pos x="T2" y="T3"/>
              </a:cxn>
              <a:cxn ang="0">
                <a:pos x="T4" y="T5"/>
              </a:cxn>
              <a:cxn ang="0">
                <a:pos x="T6" y="T7"/>
              </a:cxn>
              <a:cxn ang="0">
                <a:pos x="T8" y="T9"/>
              </a:cxn>
              <a:cxn ang="0">
                <a:pos x="T10" y="T11"/>
              </a:cxn>
            </a:cxnLst>
            <a:rect l="0" t="0" r="r" b="b"/>
            <a:pathLst>
              <a:path w="15" h="16">
                <a:moveTo>
                  <a:pt x="15" y="16"/>
                </a:moveTo>
                <a:lnTo>
                  <a:pt x="15" y="16"/>
                </a:lnTo>
                <a:lnTo>
                  <a:pt x="0" y="0"/>
                </a:lnTo>
                <a:lnTo>
                  <a:pt x="0" y="0"/>
                </a:lnTo>
                <a:lnTo>
                  <a:pt x="15" y="16"/>
                </a:lnTo>
                <a:lnTo>
                  <a:pt x="15"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9" name="Freeform 56">
            <a:extLst>
              <a:ext uri="{FF2B5EF4-FFF2-40B4-BE49-F238E27FC236}">
                <a16:creationId xmlns:a16="http://schemas.microsoft.com/office/drawing/2014/main" id="{58DEE0F1-85FC-4FE6-AD2E-18DC38CBF172}"/>
              </a:ext>
            </a:extLst>
          </p:cNvPr>
          <p:cNvSpPr>
            <a:spLocks/>
          </p:cNvSpPr>
          <p:nvPr/>
        </p:nvSpPr>
        <p:spPr bwMode="auto">
          <a:xfrm>
            <a:off x="1605709" y="3245980"/>
            <a:ext cx="443858" cy="443858"/>
          </a:xfrm>
          <a:custGeom>
            <a:avLst/>
            <a:gdLst>
              <a:gd name="T0" fmla="*/ 1709 w 1710"/>
              <a:gd name="T1" fmla="*/ 899 h 1710"/>
              <a:gd name="T2" fmla="*/ 1692 w 1710"/>
              <a:gd name="T3" fmla="*/ 1027 h 1710"/>
              <a:gd name="T4" fmla="*/ 1657 w 1710"/>
              <a:gd name="T5" fmla="*/ 1149 h 1710"/>
              <a:gd name="T6" fmla="*/ 1606 w 1710"/>
              <a:gd name="T7" fmla="*/ 1263 h 1710"/>
              <a:gd name="T8" fmla="*/ 1539 w 1710"/>
              <a:gd name="T9" fmla="*/ 1366 h 1710"/>
              <a:gd name="T10" fmla="*/ 1459 w 1710"/>
              <a:gd name="T11" fmla="*/ 1459 h 1710"/>
              <a:gd name="T12" fmla="*/ 1366 w 1710"/>
              <a:gd name="T13" fmla="*/ 1539 h 1710"/>
              <a:gd name="T14" fmla="*/ 1263 w 1710"/>
              <a:gd name="T15" fmla="*/ 1606 h 1710"/>
              <a:gd name="T16" fmla="*/ 1149 w 1710"/>
              <a:gd name="T17" fmla="*/ 1657 h 1710"/>
              <a:gd name="T18" fmla="*/ 1027 w 1710"/>
              <a:gd name="T19" fmla="*/ 1692 h 1710"/>
              <a:gd name="T20" fmla="*/ 899 w 1710"/>
              <a:gd name="T21" fmla="*/ 1709 h 1710"/>
              <a:gd name="T22" fmla="*/ 811 w 1710"/>
              <a:gd name="T23" fmla="*/ 1709 h 1710"/>
              <a:gd name="T24" fmla="*/ 683 w 1710"/>
              <a:gd name="T25" fmla="*/ 1692 h 1710"/>
              <a:gd name="T26" fmla="*/ 561 w 1710"/>
              <a:gd name="T27" fmla="*/ 1657 h 1710"/>
              <a:gd name="T28" fmla="*/ 447 w 1710"/>
              <a:gd name="T29" fmla="*/ 1606 h 1710"/>
              <a:gd name="T30" fmla="*/ 344 w 1710"/>
              <a:gd name="T31" fmla="*/ 1539 h 1710"/>
              <a:gd name="T32" fmla="*/ 251 w 1710"/>
              <a:gd name="T33" fmla="*/ 1459 h 1710"/>
              <a:gd name="T34" fmla="*/ 171 w 1710"/>
              <a:gd name="T35" fmla="*/ 1366 h 1710"/>
              <a:gd name="T36" fmla="*/ 104 w 1710"/>
              <a:gd name="T37" fmla="*/ 1263 h 1710"/>
              <a:gd name="T38" fmla="*/ 53 w 1710"/>
              <a:gd name="T39" fmla="*/ 1149 h 1710"/>
              <a:gd name="T40" fmla="*/ 18 w 1710"/>
              <a:gd name="T41" fmla="*/ 1027 h 1710"/>
              <a:gd name="T42" fmla="*/ 1 w 1710"/>
              <a:gd name="T43" fmla="*/ 899 h 1710"/>
              <a:gd name="T44" fmla="*/ 1 w 1710"/>
              <a:gd name="T45" fmla="*/ 811 h 1710"/>
              <a:gd name="T46" fmla="*/ 18 w 1710"/>
              <a:gd name="T47" fmla="*/ 682 h 1710"/>
              <a:gd name="T48" fmla="*/ 53 w 1710"/>
              <a:gd name="T49" fmla="*/ 561 h 1710"/>
              <a:gd name="T50" fmla="*/ 104 w 1710"/>
              <a:gd name="T51" fmla="*/ 447 h 1710"/>
              <a:gd name="T52" fmla="*/ 171 w 1710"/>
              <a:gd name="T53" fmla="*/ 343 h 1710"/>
              <a:gd name="T54" fmla="*/ 251 w 1710"/>
              <a:gd name="T55" fmla="*/ 251 h 1710"/>
              <a:gd name="T56" fmla="*/ 344 w 1710"/>
              <a:gd name="T57" fmla="*/ 169 h 1710"/>
              <a:gd name="T58" fmla="*/ 447 w 1710"/>
              <a:gd name="T59" fmla="*/ 104 h 1710"/>
              <a:gd name="T60" fmla="*/ 561 w 1710"/>
              <a:gd name="T61" fmla="*/ 52 h 1710"/>
              <a:gd name="T62" fmla="*/ 683 w 1710"/>
              <a:gd name="T63" fmla="*/ 17 h 1710"/>
              <a:gd name="T64" fmla="*/ 811 w 1710"/>
              <a:gd name="T65" fmla="*/ 1 h 1710"/>
              <a:gd name="T66" fmla="*/ 899 w 1710"/>
              <a:gd name="T67" fmla="*/ 1 h 1710"/>
              <a:gd name="T68" fmla="*/ 1027 w 1710"/>
              <a:gd name="T69" fmla="*/ 17 h 1710"/>
              <a:gd name="T70" fmla="*/ 1149 w 1710"/>
              <a:gd name="T71" fmla="*/ 52 h 1710"/>
              <a:gd name="T72" fmla="*/ 1263 w 1710"/>
              <a:gd name="T73" fmla="*/ 104 h 1710"/>
              <a:gd name="T74" fmla="*/ 1366 w 1710"/>
              <a:gd name="T75" fmla="*/ 169 h 1710"/>
              <a:gd name="T76" fmla="*/ 1459 w 1710"/>
              <a:gd name="T77" fmla="*/ 251 h 1710"/>
              <a:gd name="T78" fmla="*/ 1539 w 1710"/>
              <a:gd name="T79" fmla="*/ 343 h 1710"/>
              <a:gd name="T80" fmla="*/ 1606 w 1710"/>
              <a:gd name="T81" fmla="*/ 447 h 1710"/>
              <a:gd name="T82" fmla="*/ 1657 w 1710"/>
              <a:gd name="T83" fmla="*/ 561 h 1710"/>
              <a:gd name="T84" fmla="*/ 1692 w 1710"/>
              <a:gd name="T85" fmla="*/ 682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0" y="985"/>
                </a:lnTo>
                <a:lnTo>
                  <a:pt x="1692" y="1027"/>
                </a:lnTo>
                <a:lnTo>
                  <a:pt x="1683" y="1068"/>
                </a:lnTo>
                <a:lnTo>
                  <a:pt x="1671" y="1109"/>
                </a:lnTo>
                <a:lnTo>
                  <a:pt x="1657" y="1149"/>
                </a:lnTo>
                <a:lnTo>
                  <a:pt x="1643" y="1187"/>
                </a:lnTo>
                <a:lnTo>
                  <a:pt x="1625" y="1225"/>
                </a:lnTo>
                <a:lnTo>
                  <a:pt x="1606" y="1263"/>
                </a:lnTo>
                <a:lnTo>
                  <a:pt x="1586" y="1298"/>
                </a:lnTo>
                <a:lnTo>
                  <a:pt x="1564" y="1333"/>
                </a:lnTo>
                <a:lnTo>
                  <a:pt x="1539" y="1366"/>
                </a:lnTo>
                <a:lnTo>
                  <a:pt x="1515" y="1398"/>
                </a:lnTo>
                <a:lnTo>
                  <a:pt x="1487" y="1429"/>
                </a:lnTo>
                <a:lnTo>
                  <a:pt x="1459" y="1459"/>
                </a:lnTo>
                <a:lnTo>
                  <a:pt x="1429" y="1487"/>
                </a:lnTo>
                <a:lnTo>
                  <a:pt x="1398" y="1514"/>
                </a:lnTo>
                <a:lnTo>
                  <a:pt x="1366" y="1539"/>
                </a:lnTo>
                <a:lnTo>
                  <a:pt x="1333" y="1564"/>
                </a:lnTo>
                <a:lnTo>
                  <a:pt x="1298" y="1586"/>
                </a:lnTo>
                <a:lnTo>
                  <a:pt x="1263" y="1606"/>
                </a:lnTo>
                <a:lnTo>
                  <a:pt x="1226" y="1625"/>
                </a:lnTo>
                <a:lnTo>
                  <a:pt x="1188" y="1642"/>
                </a:lnTo>
                <a:lnTo>
                  <a:pt x="1149" y="1657"/>
                </a:lnTo>
                <a:lnTo>
                  <a:pt x="1109" y="1671"/>
                </a:lnTo>
                <a:lnTo>
                  <a:pt x="1069" y="1683"/>
                </a:lnTo>
                <a:lnTo>
                  <a:pt x="1027" y="1692"/>
                </a:lnTo>
                <a:lnTo>
                  <a:pt x="986" y="1700"/>
                </a:lnTo>
                <a:lnTo>
                  <a:pt x="942" y="1705"/>
                </a:lnTo>
                <a:lnTo>
                  <a:pt x="899" y="1709"/>
                </a:lnTo>
                <a:lnTo>
                  <a:pt x="854" y="1710"/>
                </a:lnTo>
                <a:lnTo>
                  <a:pt x="854" y="1710"/>
                </a:lnTo>
                <a:lnTo>
                  <a:pt x="811" y="1709"/>
                </a:lnTo>
                <a:lnTo>
                  <a:pt x="768" y="1705"/>
                </a:lnTo>
                <a:lnTo>
                  <a:pt x="724" y="1700"/>
                </a:lnTo>
                <a:lnTo>
                  <a:pt x="683" y="1692"/>
                </a:lnTo>
                <a:lnTo>
                  <a:pt x="641" y="1683"/>
                </a:lnTo>
                <a:lnTo>
                  <a:pt x="601" y="1671"/>
                </a:lnTo>
                <a:lnTo>
                  <a:pt x="561" y="1657"/>
                </a:lnTo>
                <a:lnTo>
                  <a:pt x="522" y="1642"/>
                </a:lnTo>
                <a:lnTo>
                  <a:pt x="484" y="1625"/>
                </a:lnTo>
                <a:lnTo>
                  <a:pt x="447" y="1606"/>
                </a:lnTo>
                <a:lnTo>
                  <a:pt x="412" y="1586"/>
                </a:lnTo>
                <a:lnTo>
                  <a:pt x="377" y="1564"/>
                </a:lnTo>
                <a:lnTo>
                  <a:pt x="344" y="1539"/>
                </a:lnTo>
                <a:lnTo>
                  <a:pt x="312" y="1514"/>
                </a:lnTo>
                <a:lnTo>
                  <a:pt x="281" y="1487"/>
                </a:lnTo>
                <a:lnTo>
                  <a:pt x="251" y="1459"/>
                </a:lnTo>
                <a:lnTo>
                  <a:pt x="223" y="1429"/>
                </a:lnTo>
                <a:lnTo>
                  <a:pt x="195" y="1398"/>
                </a:lnTo>
                <a:lnTo>
                  <a:pt x="171" y="1366"/>
                </a:lnTo>
                <a:lnTo>
                  <a:pt x="146" y="1333"/>
                </a:lnTo>
                <a:lnTo>
                  <a:pt x="124" y="1298"/>
                </a:lnTo>
                <a:lnTo>
                  <a:pt x="104" y="1263"/>
                </a:lnTo>
                <a:lnTo>
                  <a:pt x="85" y="1225"/>
                </a:lnTo>
                <a:lnTo>
                  <a:pt x="67" y="1187"/>
                </a:lnTo>
                <a:lnTo>
                  <a:pt x="53" y="1149"/>
                </a:lnTo>
                <a:lnTo>
                  <a:pt x="39" y="1109"/>
                </a:lnTo>
                <a:lnTo>
                  <a:pt x="27" y="1068"/>
                </a:lnTo>
                <a:lnTo>
                  <a:pt x="18" y="1027"/>
                </a:lnTo>
                <a:lnTo>
                  <a:pt x="10" y="985"/>
                </a:lnTo>
                <a:lnTo>
                  <a:pt x="5" y="942"/>
                </a:lnTo>
                <a:lnTo>
                  <a:pt x="1" y="899"/>
                </a:lnTo>
                <a:lnTo>
                  <a:pt x="0" y="854"/>
                </a:lnTo>
                <a:lnTo>
                  <a:pt x="0" y="854"/>
                </a:lnTo>
                <a:lnTo>
                  <a:pt x="1" y="811"/>
                </a:lnTo>
                <a:lnTo>
                  <a:pt x="5" y="768"/>
                </a:lnTo>
                <a:lnTo>
                  <a:pt x="10" y="724"/>
                </a:lnTo>
                <a:lnTo>
                  <a:pt x="18" y="682"/>
                </a:lnTo>
                <a:lnTo>
                  <a:pt x="27" y="641"/>
                </a:lnTo>
                <a:lnTo>
                  <a:pt x="39" y="601"/>
                </a:lnTo>
                <a:lnTo>
                  <a:pt x="53" y="561"/>
                </a:lnTo>
                <a:lnTo>
                  <a:pt x="67" y="522"/>
                </a:lnTo>
                <a:lnTo>
                  <a:pt x="85" y="484"/>
                </a:lnTo>
                <a:lnTo>
                  <a:pt x="104" y="447"/>
                </a:lnTo>
                <a:lnTo>
                  <a:pt x="124" y="412"/>
                </a:lnTo>
                <a:lnTo>
                  <a:pt x="146" y="377"/>
                </a:lnTo>
                <a:lnTo>
                  <a:pt x="171" y="343"/>
                </a:lnTo>
                <a:lnTo>
                  <a:pt x="195" y="311"/>
                </a:lnTo>
                <a:lnTo>
                  <a:pt x="223" y="281"/>
                </a:lnTo>
                <a:lnTo>
                  <a:pt x="251" y="251"/>
                </a:lnTo>
                <a:lnTo>
                  <a:pt x="281" y="222"/>
                </a:lnTo>
                <a:lnTo>
                  <a:pt x="312" y="195"/>
                </a:lnTo>
                <a:lnTo>
                  <a:pt x="344" y="169"/>
                </a:lnTo>
                <a:lnTo>
                  <a:pt x="377" y="146"/>
                </a:lnTo>
                <a:lnTo>
                  <a:pt x="412" y="124"/>
                </a:lnTo>
                <a:lnTo>
                  <a:pt x="447" y="104"/>
                </a:lnTo>
                <a:lnTo>
                  <a:pt x="484" y="85"/>
                </a:lnTo>
                <a:lnTo>
                  <a:pt x="522" y="67"/>
                </a:lnTo>
                <a:lnTo>
                  <a:pt x="561" y="52"/>
                </a:lnTo>
                <a:lnTo>
                  <a:pt x="601" y="38"/>
                </a:lnTo>
                <a:lnTo>
                  <a:pt x="641" y="27"/>
                </a:lnTo>
                <a:lnTo>
                  <a:pt x="683" y="17"/>
                </a:lnTo>
                <a:lnTo>
                  <a:pt x="724" y="10"/>
                </a:lnTo>
                <a:lnTo>
                  <a:pt x="768" y="5"/>
                </a:lnTo>
                <a:lnTo>
                  <a:pt x="811" y="1"/>
                </a:lnTo>
                <a:lnTo>
                  <a:pt x="854" y="0"/>
                </a:lnTo>
                <a:lnTo>
                  <a:pt x="854" y="0"/>
                </a:lnTo>
                <a:lnTo>
                  <a:pt x="899" y="1"/>
                </a:lnTo>
                <a:lnTo>
                  <a:pt x="942" y="5"/>
                </a:lnTo>
                <a:lnTo>
                  <a:pt x="986" y="10"/>
                </a:lnTo>
                <a:lnTo>
                  <a:pt x="1027" y="17"/>
                </a:lnTo>
                <a:lnTo>
                  <a:pt x="1069" y="27"/>
                </a:lnTo>
                <a:lnTo>
                  <a:pt x="1109" y="38"/>
                </a:lnTo>
                <a:lnTo>
                  <a:pt x="1149" y="52"/>
                </a:lnTo>
                <a:lnTo>
                  <a:pt x="1188" y="67"/>
                </a:lnTo>
                <a:lnTo>
                  <a:pt x="1226" y="85"/>
                </a:lnTo>
                <a:lnTo>
                  <a:pt x="1263" y="104"/>
                </a:lnTo>
                <a:lnTo>
                  <a:pt x="1298" y="124"/>
                </a:lnTo>
                <a:lnTo>
                  <a:pt x="1333" y="146"/>
                </a:lnTo>
                <a:lnTo>
                  <a:pt x="1366" y="169"/>
                </a:lnTo>
                <a:lnTo>
                  <a:pt x="1398" y="195"/>
                </a:lnTo>
                <a:lnTo>
                  <a:pt x="1429" y="222"/>
                </a:lnTo>
                <a:lnTo>
                  <a:pt x="1459" y="251"/>
                </a:lnTo>
                <a:lnTo>
                  <a:pt x="1487" y="281"/>
                </a:lnTo>
                <a:lnTo>
                  <a:pt x="1515" y="311"/>
                </a:lnTo>
                <a:lnTo>
                  <a:pt x="1539" y="343"/>
                </a:lnTo>
                <a:lnTo>
                  <a:pt x="1564" y="377"/>
                </a:lnTo>
                <a:lnTo>
                  <a:pt x="1586" y="412"/>
                </a:lnTo>
                <a:lnTo>
                  <a:pt x="1606" y="447"/>
                </a:lnTo>
                <a:lnTo>
                  <a:pt x="1625" y="484"/>
                </a:lnTo>
                <a:lnTo>
                  <a:pt x="1643" y="522"/>
                </a:lnTo>
                <a:lnTo>
                  <a:pt x="1657" y="561"/>
                </a:lnTo>
                <a:lnTo>
                  <a:pt x="1671" y="601"/>
                </a:lnTo>
                <a:lnTo>
                  <a:pt x="1683" y="641"/>
                </a:lnTo>
                <a:lnTo>
                  <a:pt x="1692" y="682"/>
                </a:lnTo>
                <a:lnTo>
                  <a:pt x="1700" y="724"/>
                </a:lnTo>
                <a:lnTo>
                  <a:pt x="1705" y="768"/>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0" name="Freeform 59">
            <a:extLst>
              <a:ext uri="{FF2B5EF4-FFF2-40B4-BE49-F238E27FC236}">
                <a16:creationId xmlns:a16="http://schemas.microsoft.com/office/drawing/2014/main" id="{3C723603-A327-4EDC-A98D-095142BB2007}"/>
              </a:ext>
            </a:extLst>
          </p:cNvPr>
          <p:cNvSpPr>
            <a:spLocks/>
          </p:cNvSpPr>
          <p:nvPr/>
        </p:nvSpPr>
        <p:spPr bwMode="auto">
          <a:xfrm>
            <a:off x="1710422" y="3328813"/>
            <a:ext cx="234432" cy="278193"/>
          </a:xfrm>
          <a:custGeom>
            <a:avLst/>
            <a:gdLst>
              <a:gd name="T0" fmla="*/ 353 w 902"/>
              <a:gd name="T1" fmla="*/ 1027 h 1070"/>
              <a:gd name="T2" fmla="*/ 363 w 902"/>
              <a:gd name="T3" fmla="*/ 1037 h 1070"/>
              <a:gd name="T4" fmla="*/ 386 w 902"/>
              <a:gd name="T5" fmla="*/ 1054 h 1070"/>
              <a:gd name="T6" fmla="*/ 410 w 902"/>
              <a:gd name="T7" fmla="*/ 1064 h 1070"/>
              <a:gd name="T8" fmla="*/ 437 w 902"/>
              <a:gd name="T9" fmla="*/ 1069 h 1070"/>
              <a:gd name="T10" fmla="*/ 465 w 902"/>
              <a:gd name="T11" fmla="*/ 1069 h 1070"/>
              <a:gd name="T12" fmla="*/ 492 w 902"/>
              <a:gd name="T13" fmla="*/ 1064 h 1070"/>
              <a:gd name="T14" fmla="*/ 516 w 902"/>
              <a:gd name="T15" fmla="*/ 1054 h 1070"/>
              <a:gd name="T16" fmla="*/ 539 w 902"/>
              <a:gd name="T17" fmla="*/ 1037 h 1070"/>
              <a:gd name="T18" fmla="*/ 867 w 902"/>
              <a:gd name="T19" fmla="*/ 682 h 1070"/>
              <a:gd name="T20" fmla="*/ 876 w 902"/>
              <a:gd name="T21" fmla="*/ 672 h 1070"/>
              <a:gd name="T22" fmla="*/ 890 w 902"/>
              <a:gd name="T23" fmla="*/ 650 h 1070"/>
              <a:gd name="T24" fmla="*/ 898 w 902"/>
              <a:gd name="T25" fmla="*/ 625 h 1070"/>
              <a:gd name="T26" fmla="*/ 902 w 902"/>
              <a:gd name="T27" fmla="*/ 599 h 1070"/>
              <a:gd name="T28" fmla="*/ 901 w 902"/>
              <a:gd name="T29" fmla="*/ 573 h 1070"/>
              <a:gd name="T30" fmla="*/ 895 w 902"/>
              <a:gd name="T31" fmla="*/ 549 h 1070"/>
              <a:gd name="T32" fmla="*/ 884 w 902"/>
              <a:gd name="T33" fmla="*/ 524 h 1070"/>
              <a:gd name="T34" fmla="*/ 869 w 902"/>
              <a:gd name="T35" fmla="*/ 503 h 1070"/>
              <a:gd name="T36" fmla="*/ 860 w 902"/>
              <a:gd name="T37" fmla="*/ 493 h 1070"/>
              <a:gd name="T38" fmla="*/ 837 w 902"/>
              <a:gd name="T39" fmla="*/ 478 h 1070"/>
              <a:gd name="T40" fmla="*/ 814 w 902"/>
              <a:gd name="T41" fmla="*/ 467 h 1070"/>
              <a:gd name="T42" fmla="*/ 789 w 902"/>
              <a:gd name="T43" fmla="*/ 460 h 1070"/>
              <a:gd name="T44" fmla="*/ 763 w 902"/>
              <a:gd name="T45" fmla="*/ 459 h 1070"/>
              <a:gd name="T46" fmla="*/ 737 w 902"/>
              <a:gd name="T47" fmla="*/ 462 h 1070"/>
              <a:gd name="T48" fmla="*/ 713 w 902"/>
              <a:gd name="T49" fmla="*/ 470 h 1070"/>
              <a:gd name="T50" fmla="*/ 691 w 902"/>
              <a:gd name="T51" fmla="*/ 483 h 1070"/>
              <a:gd name="T52" fmla="*/ 670 w 902"/>
              <a:gd name="T53" fmla="*/ 501 h 1070"/>
              <a:gd name="T54" fmla="*/ 585 w 902"/>
              <a:gd name="T55" fmla="*/ 133 h 1070"/>
              <a:gd name="T56" fmla="*/ 584 w 902"/>
              <a:gd name="T57" fmla="*/ 120 h 1070"/>
              <a:gd name="T58" fmla="*/ 578 w 902"/>
              <a:gd name="T59" fmla="*/ 94 h 1070"/>
              <a:gd name="T60" fmla="*/ 568 w 902"/>
              <a:gd name="T61" fmla="*/ 70 h 1070"/>
              <a:gd name="T62" fmla="*/ 554 w 902"/>
              <a:gd name="T63" fmla="*/ 48 h 1070"/>
              <a:gd name="T64" fmla="*/ 536 w 902"/>
              <a:gd name="T65" fmla="*/ 31 h 1070"/>
              <a:gd name="T66" fmla="*/ 515 w 902"/>
              <a:gd name="T67" fmla="*/ 16 h 1070"/>
              <a:gd name="T68" fmla="*/ 490 w 902"/>
              <a:gd name="T69" fmla="*/ 5 h 1070"/>
              <a:gd name="T70" fmla="*/ 465 w 902"/>
              <a:gd name="T71" fmla="*/ 1 h 1070"/>
              <a:gd name="T72" fmla="*/ 452 w 902"/>
              <a:gd name="T73" fmla="*/ 0 h 1070"/>
              <a:gd name="T74" fmla="*/ 424 w 902"/>
              <a:gd name="T75" fmla="*/ 2 h 1070"/>
              <a:gd name="T76" fmla="*/ 399 w 902"/>
              <a:gd name="T77" fmla="*/ 10 h 1070"/>
              <a:gd name="T78" fmla="*/ 377 w 902"/>
              <a:gd name="T79" fmla="*/ 23 h 1070"/>
              <a:gd name="T80" fmla="*/ 357 w 902"/>
              <a:gd name="T81" fmla="*/ 38 h 1070"/>
              <a:gd name="T82" fmla="*/ 340 w 902"/>
              <a:gd name="T83" fmla="*/ 58 h 1070"/>
              <a:gd name="T84" fmla="*/ 328 w 902"/>
              <a:gd name="T85" fmla="*/ 82 h 1070"/>
              <a:gd name="T86" fmla="*/ 320 w 902"/>
              <a:gd name="T87" fmla="*/ 106 h 1070"/>
              <a:gd name="T88" fmla="*/ 317 w 902"/>
              <a:gd name="T89" fmla="*/ 133 h 1070"/>
              <a:gd name="T90" fmla="*/ 232 w 902"/>
              <a:gd name="T91" fmla="*/ 501 h 1070"/>
              <a:gd name="T92" fmla="*/ 222 w 902"/>
              <a:gd name="T93" fmla="*/ 492 h 1070"/>
              <a:gd name="T94" fmla="*/ 200 w 902"/>
              <a:gd name="T95" fmla="*/ 477 h 1070"/>
              <a:gd name="T96" fmla="*/ 177 w 902"/>
              <a:gd name="T97" fmla="*/ 465 h 1070"/>
              <a:gd name="T98" fmla="*/ 151 w 902"/>
              <a:gd name="T99" fmla="*/ 460 h 1070"/>
              <a:gd name="T100" fmla="*/ 126 w 902"/>
              <a:gd name="T101" fmla="*/ 459 h 1070"/>
              <a:gd name="T102" fmla="*/ 100 w 902"/>
              <a:gd name="T103" fmla="*/ 462 h 1070"/>
              <a:gd name="T104" fmla="*/ 76 w 902"/>
              <a:gd name="T105" fmla="*/ 471 h 1070"/>
              <a:gd name="T106" fmla="*/ 53 w 902"/>
              <a:gd name="T107" fmla="*/ 484 h 1070"/>
              <a:gd name="T108" fmla="*/ 42 w 902"/>
              <a:gd name="T109" fmla="*/ 493 h 1070"/>
              <a:gd name="T110" fmla="*/ 25 w 902"/>
              <a:gd name="T111" fmla="*/ 513 h 1070"/>
              <a:gd name="T112" fmla="*/ 12 w 902"/>
              <a:gd name="T113" fmla="*/ 537 h 1070"/>
              <a:gd name="T114" fmla="*/ 3 w 902"/>
              <a:gd name="T115" fmla="*/ 561 h 1070"/>
              <a:gd name="T116" fmla="*/ 0 w 902"/>
              <a:gd name="T117" fmla="*/ 587 h 1070"/>
              <a:gd name="T118" fmla="*/ 1 w 902"/>
              <a:gd name="T119" fmla="*/ 612 h 1070"/>
              <a:gd name="T120" fmla="*/ 8 w 902"/>
              <a:gd name="T121" fmla="*/ 638 h 1070"/>
              <a:gd name="T122" fmla="*/ 19 w 902"/>
              <a:gd name="T123" fmla="*/ 661 h 1070"/>
              <a:gd name="T124" fmla="*/ 35 w 902"/>
              <a:gd name="T125" fmla="*/ 68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70">
                <a:moveTo>
                  <a:pt x="35" y="682"/>
                </a:moveTo>
                <a:lnTo>
                  <a:pt x="353" y="1027"/>
                </a:lnTo>
                <a:lnTo>
                  <a:pt x="353" y="1027"/>
                </a:lnTo>
                <a:lnTo>
                  <a:pt x="363" y="1037"/>
                </a:lnTo>
                <a:lnTo>
                  <a:pt x="374" y="1046"/>
                </a:lnTo>
                <a:lnTo>
                  <a:pt x="386" y="1054"/>
                </a:lnTo>
                <a:lnTo>
                  <a:pt x="398" y="1059"/>
                </a:lnTo>
                <a:lnTo>
                  <a:pt x="410" y="1064"/>
                </a:lnTo>
                <a:lnTo>
                  <a:pt x="424" y="1067"/>
                </a:lnTo>
                <a:lnTo>
                  <a:pt x="437" y="1069"/>
                </a:lnTo>
                <a:lnTo>
                  <a:pt x="452" y="1070"/>
                </a:lnTo>
                <a:lnTo>
                  <a:pt x="465" y="1069"/>
                </a:lnTo>
                <a:lnTo>
                  <a:pt x="478" y="1067"/>
                </a:lnTo>
                <a:lnTo>
                  <a:pt x="492" y="1064"/>
                </a:lnTo>
                <a:lnTo>
                  <a:pt x="504" y="1059"/>
                </a:lnTo>
                <a:lnTo>
                  <a:pt x="516" y="1054"/>
                </a:lnTo>
                <a:lnTo>
                  <a:pt x="528" y="1046"/>
                </a:lnTo>
                <a:lnTo>
                  <a:pt x="539" y="1037"/>
                </a:lnTo>
                <a:lnTo>
                  <a:pt x="549" y="1027"/>
                </a:lnTo>
                <a:lnTo>
                  <a:pt x="867" y="682"/>
                </a:lnTo>
                <a:lnTo>
                  <a:pt x="867" y="682"/>
                </a:lnTo>
                <a:lnTo>
                  <a:pt x="876" y="672"/>
                </a:lnTo>
                <a:lnTo>
                  <a:pt x="883" y="661"/>
                </a:lnTo>
                <a:lnTo>
                  <a:pt x="890" y="650"/>
                </a:lnTo>
                <a:lnTo>
                  <a:pt x="894" y="638"/>
                </a:lnTo>
                <a:lnTo>
                  <a:pt x="898" y="625"/>
                </a:lnTo>
                <a:lnTo>
                  <a:pt x="901" y="612"/>
                </a:lnTo>
                <a:lnTo>
                  <a:pt x="902" y="599"/>
                </a:lnTo>
                <a:lnTo>
                  <a:pt x="902" y="587"/>
                </a:lnTo>
                <a:lnTo>
                  <a:pt x="901" y="573"/>
                </a:lnTo>
                <a:lnTo>
                  <a:pt x="899" y="561"/>
                </a:lnTo>
                <a:lnTo>
                  <a:pt x="895" y="549"/>
                </a:lnTo>
                <a:lnTo>
                  <a:pt x="890" y="537"/>
                </a:lnTo>
                <a:lnTo>
                  <a:pt x="884" y="524"/>
                </a:lnTo>
                <a:lnTo>
                  <a:pt x="877" y="513"/>
                </a:lnTo>
                <a:lnTo>
                  <a:pt x="869" y="503"/>
                </a:lnTo>
                <a:lnTo>
                  <a:pt x="860" y="493"/>
                </a:lnTo>
                <a:lnTo>
                  <a:pt x="860" y="493"/>
                </a:lnTo>
                <a:lnTo>
                  <a:pt x="849" y="484"/>
                </a:lnTo>
                <a:lnTo>
                  <a:pt x="837" y="478"/>
                </a:lnTo>
                <a:lnTo>
                  <a:pt x="826" y="471"/>
                </a:lnTo>
                <a:lnTo>
                  <a:pt x="814" y="467"/>
                </a:lnTo>
                <a:lnTo>
                  <a:pt x="802" y="462"/>
                </a:lnTo>
                <a:lnTo>
                  <a:pt x="789" y="460"/>
                </a:lnTo>
                <a:lnTo>
                  <a:pt x="776" y="459"/>
                </a:lnTo>
                <a:lnTo>
                  <a:pt x="763" y="459"/>
                </a:lnTo>
                <a:lnTo>
                  <a:pt x="751" y="460"/>
                </a:lnTo>
                <a:lnTo>
                  <a:pt x="737" y="462"/>
                </a:lnTo>
                <a:lnTo>
                  <a:pt x="725" y="465"/>
                </a:lnTo>
                <a:lnTo>
                  <a:pt x="713" y="470"/>
                </a:lnTo>
                <a:lnTo>
                  <a:pt x="701" y="477"/>
                </a:lnTo>
                <a:lnTo>
                  <a:pt x="691" y="483"/>
                </a:lnTo>
                <a:lnTo>
                  <a:pt x="680" y="492"/>
                </a:lnTo>
                <a:lnTo>
                  <a:pt x="670" y="501"/>
                </a:lnTo>
                <a:lnTo>
                  <a:pt x="585" y="593"/>
                </a:lnTo>
                <a:lnTo>
                  <a:pt x="585" y="133"/>
                </a:lnTo>
                <a:lnTo>
                  <a:pt x="585" y="133"/>
                </a:lnTo>
                <a:lnTo>
                  <a:pt x="584" y="120"/>
                </a:lnTo>
                <a:lnTo>
                  <a:pt x="582" y="106"/>
                </a:lnTo>
                <a:lnTo>
                  <a:pt x="578" y="94"/>
                </a:lnTo>
                <a:lnTo>
                  <a:pt x="574" y="82"/>
                </a:lnTo>
                <a:lnTo>
                  <a:pt x="568" y="70"/>
                </a:lnTo>
                <a:lnTo>
                  <a:pt x="562" y="58"/>
                </a:lnTo>
                <a:lnTo>
                  <a:pt x="554" y="48"/>
                </a:lnTo>
                <a:lnTo>
                  <a:pt x="545" y="38"/>
                </a:lnTo>
                <a:lnTo>
                  <a:pt x="536" y="31"/>
                </a:lnTo>
                <a:lnTo>
                  <a:pt x="525" y="23"/>
                </a:lnTo>
                <a:lnTo>
                  <a:pt x="515" y="16"/>
                </a:lnTo>
                <a:lnTo>
                  <a:pt x="503" y="10"/>
                </a:lnTo>
                <a:lnTo>
                  <a:pt x="490" y="5"/>
                </a:lnTo>
                <a:lnTo>
                  <a:pt x="478" y="2"/>
                </a:lnTo>
                <a:lnTo>
                  <a:pt x="465" y="1"/>
                </a:lnTo>
                <a:lnTo>
                  <a:pt x="452" y="0"/>
                </a:lnTo>
                <a:lnTo>
                  <a:pt x="452" y="0"/>
                </a:lnTo>
                <a:lnTo>
                  <a:pt x="437" y="1"/>
                </a:lnTo>
                <a:lnTo>
                  <a:pt x="424" y="2"/>
                </a:lnTo>
                <a:lnTo>
                  <a:pt x="412" y="5"/>
                </a:lnTo>
                <a:lnTo>
                  <a:pt x="399" y="10"/>
                </a:lnTo>
                <a:lnTo>
                  <a:pt x="387" y="16"/>
                </a:lnTo>
                <a:lnTo>
                  <a:pt x="377" y="23"/>
                </a:lnTo>
                <a:lnTo>
                  <a:pt x="366" y="31"/>
                </a:lnTo>
                <a:lnTo>
                  <a:pt x="357" y="38"/>
                </a:lnTo>
                <a:lnTo>
                  <a:pt x="348" y="48"/>
                </a:lnTo>
                <a:lnTo>
                  <a:pt x="340" y="58"/>
                </a:lnTo>
                <a:lnTo>
                  <a:pt x="334" y="70"/>
                </a:lnTo>
                <a:lnTo>
                  <a:pt x="328" y="82"/>
                </a:lnTo>
                <a:lnTo>
                  <a:pt x="324" y="94"/>
                </a:lnTo>
                <a:lnTo>
                  <a:pt x="320" y="106"/>
                </a:lnTo>
                <a:lnTo>
                  <a:pt x="318" y="120"/>
                </a:lnTo>
                <a:lnTo>
                  <a:pt x="317" y="133"/>
                </a:lnTo>
                <a:lnTo>
                  <a:pt x="317" y="593"/>
                </a:lnTo>
                <a:lnTo>
                  <a:pt x="232" y="501"/>
                </a:lnTo>
                <a:lnTo>
                  <a:pt x="232" y="501"/>
                </a:lnTo>
                <a:lnTo>
                  <a:pt x="222" y="492"/>
                </a:lnTo>
                <a:lnTo>
                  <a:pt x="211" y="483"/>
                </a:lnTo>
                <a:lnTo>
                  <a:pt x="200" y="477"/>
                </a:lnTo>
                <a:lnTo>
                  <a:pt x="189" y="470"/>
                </a:lnTo>
                <a:lnTo>
                  <a:pt x="177" y="465"/>
                </a:lnTo>
                <a:lnTo>
                  <a:pt x="165" y="462"/>
                </a:lnTo>
                <a:lnTo>
                  <a:pt x="151" y="460"/>
                </a:lnTo>
                <a:lnTo>
                  <a:pt x="139" y="459"/>
                </a:lnTo>
                <a:lnTo>
                  <a:pt x="126" y="459"/>
                </a:lnTo>
                <a:lnTo>
                  <a:pt x="113" y="460"/>
                </a:lnTo>
                <a:lnTo>
                  <a:pt x="100" y="462"/>
                </a:lnTo>
                <a:lnTo>
                  <a:pt x="88" y="467"/>
                </a:lnTo>
                <a:lnTo>
                  <a:pt x="76" y="471"/>
                </a:lnTo>
                <a:lnTo>
                  <a:pt x="65" y="478"/>
                </a:lnTo>
                <a:lnTo>
                  <a:pt x="53" y="484"/>
                </a:lnTo>
                <a:lnTo>
                  <a:pt x="42" y="493"/>
                </a:lnTo>
                <a:lnTo>
                  <a:pt x="42" y="493"/>
                </a:lnTo>
                <a:lnTo>
                  <a:pt x="33" y="503"/>
                </a:lnTo>
                <a:lnTo>
                  <a:pt x="25" y="513"/>
                </a:lnTo>
                <a:lnTo>
                  <a:pt x="18" y="524"/>
                </a:lnTo>
                <a:lnTo>
                  <a:pt x="12" y="537"/>
                </a:lnTo>
                <a:lnTo>
                  <a:pt x="7" y="549"/>
                </a:lnTo>
                <a:lnTo>
                  <a:pt x="3" y="561"/>
                </a:lnTo>
                <a:lnTo>
                  <a:pt x="1" y="573"/>
                </a:lnTo>
                <a:lnTo>
                  <a:pt x="0" y="587"/>
                </a:lnTo>
                <a:lnTo>
                  <a:pt x="0" y="599"/>
                </a:lnTo>
                <a:lnTo>
                  <a:pt x="1" y="612"/>
                </a:lnTo>
                <a:lnTo>
                  <a:pt x="4" y="625"/>
                </a:lnTo>
                <a:lnTo>
                  <a:pt x="8" y="638"/>
                </a:lnTo>
                <a:lnTo>
                  <a:pt x="12" y="649"/>
                </a:lnTo>
                <a:lnTo>
                  <a:pt x="19" y="661"/>
                </a:lnTo>
                <a:lnTo>
                  <a:pt x="27" y="672"/>
                </a:lnTo>
                <a:lnTo>
                  <a:pt x="35" y="682"/>
                </a:lnTo>
                <a:lnTo>
                  <a:pt x="35" y="68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6" name="Freeform 57">
            <a:extLst>
              <a:ext uri="{FF2B5EF4-FFF2-40B4-BE49-F238E27FC236}">
                <a16:creationId xmlns:a16="http://schemas.microsoft.com/office/drawing/2014/main" id="{9C1D307D-6B76-4549-82EE-D194DFCF4128}"/>
              </a:ext>
            </a:extLst>
          </p:cNvPr>
          <p:cNvSpPr>
            <a:spLocks/>
          </p:cNvSpPr>
          <p:nvPr/>
        </p:nvSpPr>
        <p:spPr bwMode="auto">
          <a:xfrm>
            <a:off x="1826856" y="2905344"/>
            <a:ext cx="1563" cy="1563"/>
          </a:xfrm>
          <a:custGeom>
            <a:avLst/>
            <a:gdLst>
              <a:gd name="T0" fmla="*/ 5 w 5"/>
              <a:gd name="T1" fmla="*/ 5 h 5"/>
              <a:gd name="T2" fmla="*/ 5 w 5"/>
              <a:gd name="T3" fmla="*/ 5 h 5"/>
              <a:gd name="T4" fmla="*/ 0 w 5"/>
              <a:gd name="T5" fmla="*/ 0 h 5"/>
              <a:gd name="T6" fmla="*/ 0 w 5"/>
              <a:gd name="T7" fmla="*/ 0 h 5"/>
              <a:gd name="T8" fmla="*/ 5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5"/>
                </a:lnTo>
                <a:lnTo>
                  <a:pt x="0" y="0"/>
                </a:lnTo>
                <a:lnTo>
                  <a:pt x="0" y="0"/>
                </a:lnTo>
                <a:lnTo>
                  <a:pt x="5" y="5"/>
                </a:lnTo>
                <a:lnTo>
                  <a:pt x="5" y="5"/>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7" name="Freeform 58">
            <a:extLst>
              <a:ext uri="{FF2B5EF4-FFF2-40B4-BE49-F238E27FC236}">
                <a16:creationId xmlns:a16="http://schemas.microsoft.com/office/drawing/2014/main" id="{F9062BA7-2027-4665-BEC3-5543B3B5B26C}"/>
              </a:ext>
            </a:extLst>
          </p:cNvPr>
          <p:cNvSpPr>
            <a:spLocks/>
          </p:cNvSpPr>
          <p:nvPr/>
        </p:nvSpPr>
        <p:spPr bwMode="auto">
          <a:xfrm>
            <a:off x="1825293" y="2900656"/>
            <a:ext cx="4689" cy="4689"/>
          </a:xfrm>
          <a:custGeom>
            <a:avLst/>
            <a:gdLst>
              <a:gd name="T0" fmla="*/ 15 w 15"/>
              <a:gd name="T1" fmla="*/ 16 h 16"/>
              <a:gd name="T2" fmla="*/ 15 w 15"/>
              <a:gd name="T3" fmla="*/ 16 h 16"/>
              <a:gd name="T4" fmla="*/ 0 w 15"/>
              <a:gd name="T5" fmla="*/ 0 h 16"/>
              <a:gd name="T6" fmla="*/ 0 w 15"/>
              <a:gd name="T7" fmla="*/ 0 h 16"/>
              <a:gd name="T8" fmla="*/ 15 w 15"/>
              <a:gd name="T9" fmla="*/ 16 h 16"/>
              <a:gd name="T10" fmla="*/ 15 w 15"/>
              <a:gd name="T11" fmla="*/ 16 h 16"/>
            </a:gdLst>
            <a:ahLst/>
            <a:cxnLst>
              <a:cxn ang="0">
                <a:pos x="T0" y="T1"/>
              </a:cxn>
              <a:cxn ang="0">
                <a:pos x="T2" y="T3"/>
              </a:cxn>
              <a:cxn ang="0">
                <a:pos x="T4" y="T5"/>
              </a:cxn>
              <a:cxn ang="0">
                <a:pos x="T6" y="T7"/>
              </a:cxn>
              <a:cxn ang="0">
                <a:pos x="T8" y="T9"/>
              </a:cxn>
              <a:cxn ang="0">
                <a:pos x="T10" y="T11"/>
              </a:cxn>
            </a:cxnLst>
            <a:rect l="0" t="0" r="r" b="b"/>
            <a:pathLst>
              <a:path w="15" h="16">
                <a:moveTo>
                  <a:pt x="15" y="16"/>
                </a:moveTo>
                <a:lnTo>
                  <a:pt x="15" y="16"/>
                </a:lnTo>
                <a:lnTo>
                  <a:pt x="0" y="0"/>
                </a:lnTo>
                <a:lnTo>
                  <a:pt x="0" y="0"/>
                </a:lnTo>
                <a:lnTo>
                  <a:pt x="15" y="16"/>
                </a:lnTo>
                <a:lnTo>
                  <a:pt x="15"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8" name="Freeform 59">
            <a:extLst>
              <a:ext uri="{FF2B5EF4-FFF2-40B4-BE49-F238E27FC236}">
                <a16:creationId xmlns:a16="http://schemas.microsoft.com/office/drawing/2014/main" id="{FD360F34-8482-45B8-8B4D-F7E5A66193CB}"/>
              </a:ext>
            </a:extLst>
          </p:cNvPr>
          <p:cNvSpPr>
            <a:spLocks/>
          </p:cNvSpPr>
          <p:nvPr/>
        </p:nvSpPr>
        <p:spPr bwMode="auto">
          <a:xfrm>
            <a:off x="1710422" y="2728738"/>
            <a:ext cx="234432" cy="278193"/>
          </a:xfrm>
          <a:custGeom>
            <a:avLst/>
            <a:gdLst>
              <a:gd name="T0" fmla="*/ 353 w 902"/>
              <a:gd name="T1" fmla="*/ 1027 h 1070"/>
              <a:gd name="T2" fmla="*/ 363 w 902"/>
              <a:gd name="T3" fmla="*/ 1037 h 1070"/>
              <a:gd name="T4" fmla="*/ 386 w 902"/>
              <a:gd name="T5" fmla="*/ 1054 h 1070"/>
              <a:gd name="T6" fmla="*/ 410 w 902"/>
              <a:gd name="T7" fmla="*/ 1064 h 1070"/>
              <a:gd name="T8" fmla="*/ 437 w 902"/>
              <a:gd name="T9" fmla="*/ 1069 h 1070"/>
              <a:gd name="T10" fmla="*/ 465 w 902"/>
              <a:gd name="T11" fmla="*/ 1069 h 1070"/>
              <a:gd name="T12" fmla="*/ 492 w 902"/>
              <a:gd name="T13" fmla="*/ 1064 h 1070"/>
              <a:gd name="T14" fmla="*/ 516 w 902"/>
              <a:gd name="T15" fmla="*/ 1054 h 1070"/>
              <a:gd name="T16" fmla="*/ 539 w 902"/>
              <a:gd name="T17" fmla="*/ 1037 h 1070"/>
              <a:gd name="T18" fmla="*/ 867 w 902"/>
              <a:gd name="T19" fmla="*/ 682 h 1070"/>
              <a:gd name="T20" fmla="*/ 876 w 902"/>
              <a:gd name="T21" fmla="*/ 672 h 1070"/>
              <a:gd name="T22" fmla="*/ 890 w 902"/>
              <a:gd name="T23" fmla="*/ 650 h 1070"/>
              <a:gd name="T24" fmla="*/ 898 w 902"/>
              <a:gd name="T25" fmla="*/ 625 h 1070"/>
              <a:gd name="T26" fmla="*/ 902 w 902"/>
              <a:gd name="T27" fmla="*/ 599 h 1070"/>
              <a:gd name="T28" fmla="*/ 901 w 902"/>
              <a:gd name="T29" fmla="*/ 573 h 1070"/>
              <a:gd name="T30" fmla="*/ 895 w 902"/>
              <a:gd name="T31" fmla="*/ 549 h 1070"/>
              <a:gd name="T32" fmla="*/ 884 w 902"/>
              <a:gd name="T33" fmla="*/ 524 h 1070"/>
              <a:gd name="T34" fmla="*/ 869 w 902"/>
              <a:gd name="T35" fmla="*/ 503 h 1070"/>
              <a:gd name="T36" fmla="*/ 860 w 902"/>
              <a:gd name="T37" fmla="*/ 493 h 1070"/>
              <a:gd name="T38" fmla="*/ 837 w 902"/>
              <a:gd name="T39" fmla="*/ 478 h 1070"/>
              <a:gd name="T40" fmla="*/ 814 w 902"/>
              <a:gd name="T41" fmla="*/ 467 h 1070"/>
              <a:gd name="T42" fmla="*/ 789 w 902"/>
              <a:gd name="T43" fmla="*/ 460 h 1070"/>
              <a:gd name="T44" fmla="*/ 763 w 902"/>
              <a:gd name="T45" fmla="*/ 459 h 1070"/>
              <a:gd name="T46" fmla="*/ 737 w 902"/>
              <a:gd name="T47" fmla="*/ 462 h 1070"/>
              <a:gd name="T48" fmla="*/ 713 w 902"/>
              <a:gd name="T49" fmla="*/ 470 h 1070"/>
              <a:gd name="T50" fmla="*/ 691 w 902"/>
              <a:gd name="T51" fmla="*/ 483 h 1070"/>
              <a:gd name="T52" fmla="*/ 670 w 902"/>
              <a:gd name="T53" fmla="*/ 501 h 1070"/>
              <a:gd name="T54" fmla="*/ 585 w 902"/>
              <a:gd name="T55" fmla="*/ 133 h 1070"/>
              <a:gd name="T56" fmla="*/ 584 w 902"/>
              <a:gd name="T57" fmla="*/ 120 h 1070"/>
              <a:gd name="T58" fmla="*/ 578 w 902"/>
              <a:gd name="T59" fmla="*/ 94 h 1070"/>
              <a:gd name="T60" fmla="*/ 568 w 902"/>
              <a:gd name="T61" fmla="*/ 70 h 1070"/>
              <a:gd name="T62" fmla="*/ 554 w 902"/>
              <a:gd name="T63" fmla="*/ 48 h 1070"/>
              <a:gd name="T64" fmla="*/ 536 w 902"/>
              <a:gd name="T65" fmla="*/ 31 h 1070"/>
              <a:gd name="T66" fmla="*/ 515 w 902"/>
              <a:gd name="T67" fmla="*/ 16 h 1070"/>
              <a:gd name="T68" fmla="*/ 490 w 902"/>
              <a:gd name="T69" fmla="*/ 5 h 1070"/>
              <a:gd name="T70" fmla="*/ 465 w 902"/>
              <a:gd name="T71" fmla="*/ 1 h 1070"/>
              <a:gd name="T72" fmla="*/ 452 w 902"/>
              <a:gd name="T73" fmla="*/ 0 h 1070"/>
              <a:gd name="T74" fmla="*/ 424 w 902"/>
              <a:gd name="T75" fmla="*/ 2 h 1070"/>
              <a:gd name="T76" fmla="*/ 399 w 902"/>
              <a:gd name="T77" fmla="*/ 10 h 1070"/>
              <a:gd name="T78" fmla="*/ 377 w 902"/>
              <a:gd name="T79" fmla="*/ 23 h 1070"/>
              <a:gd name="T80" fmla="*/ 357 w 902"/>
              <a:gd name="T81" fmla="*/ 38 h 1070"/>
              <a:gd name="T82" fmla="*/ 340 w 902"/>
              <a:gd name="T83" fmla="*/ 58 h 1070"/>
              <a:gd name="T84" fmla="*/ 328 w 902"/>
              <a:gd name="T85" fmla="*/ 82 h 1070"/>
              <a:gd name="T86" fmla="*/ 320 w 902"/>
              <a:gd name="T87" fmla="*/ 106 h 1070"/>
              <a:gd name="T88" fmla="*/ 317 w 902"/>
              <a:gd name="T89" fmla="*/ 133 h 1070"/>
              <a:gd name="T90" fmla="*/ 232 w 902"/>
              <a:gd name="T91" fmla="*/ 501 h 1070"/>
              <a:gd name="T92" fmla="*/ 222 w 902"/>
              <a:gd name="T93" fmla="*/ 492 h 1070"/>
              <a:gd name="T94" fmla="*/ 200 w 902"/>
              <a:gd name="T95" fmla="*/ 477 h 1070"/>
              <a:gd name="T96" fmla="*/ 177 w 902"/>
              <a:gd name="T97" fmla="*/ 465 h 1070"/>
              <a:gd name="T98" fmla="*/ 151 w 902"/>
              <a:gd name="T99" fmla="*/ 460 h 1070"/>
              <a:gd name="T100" fmla="*/ 126 w 902"/>
              <a:gd name="T101" fmla="*/ 459 h 1070"/>
              <a:gd name="T102" fmla="*/ 100 w 902"/>
              <a:gd name="T103" fmla="*/ 462 h 1070"/>
              <a:gd name="T104" fmla="*/ 76 w 902"/>
              <a:gd name="T105" fmla="*/ 471 h 1070"/>
              <a:gd name="T106" fmla="*/ 53 w 902"/>
              <a:gd name="T107" fmla="*/ 484 h 1070"/>
              <a:gd name="T108" fmla="*/ 42 w 902"/>
              <a:gd name="T109" fmla="*/ 493 h 1070"/>
              <a:gd name="T110" fmla="*/ 25 w 902"/>
              <a:gd name="T111" fmla="*/ 513 h 1070"/>
              <a:gd name="T112" fmla="*/ 12 w 902"/>
              <a:gd name="T113" fmla="*/ 537 h 1070"/>
              <a:gd name="T114" fmla="*/ 3 w 902"/>
              <a:gd name="T115" fmla="*/ 561 h 1070"/>
              <a:gd name="T116" fmla="*/ 0 w 902"/>
              <a:gd name="T117" fmla="*/ 587 h 1070"/>
              <a:gd name="T118" fmla="*/ 1 w 902"/>
              <a:gd name="T119" fmla="*/ 612 h 1070"/>
              <a:gd name="T120" fmla="*/ 8 w 902"/>
              <a:gd name="T121" fmla="*/ 638 h 1070"/>
              <a:gd name="T122" fmla="*/ 19 w 902"/>
              <a:gd name="T123" fmla="*/ 661 h 1070"/>
              <a:gd name="T124" fmla="*/ 35 w 902"/>
              <a:gd name="T125" fmla="*/ 68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70">
                <a:moveTo>
                  <a:pt x="35" y="682"/>
                </a:moveTo>
                <a:lnTo>
                  <a:pt x="353" y="1027"/>
                </a:lnTo>
                <a:lnTo>
                  <a:pt x="353" y="1027"/>
                </a:lnTo>
                <a:lnTo>
                  <a:pt x="363" y="1037"/>
                </a:lnTo>
                <a:lnTo>
                  <a:pt x="374" y="1046"/>
                </a:lnTo>
                <a:lnTo>
                  <a:pt x="386" y="1054"/>
                </a:lnTo>
                <a:lnTo>
                  <a:pt x="398" y="1059"/>
                </a:lnTo>
                <a:lnTo>
                  <a:pt x="410" y="1064"/>
                </a:lnTo>
                <a:lnTo>
                  <a:pt x="424" y="1067"/>
                </a:lnTo>
                <a:lnTo>
                  <a:pt x="437" y="1069"/>
                </a:lnTo>
                <a:lnTo>
                  <a:pt x="452" y="1070"/>
                </a:lnTo>
                <a:lnTo>
                  <a:pt x="465" y="1069"/>
                </a:lnTo>
                <a:lnTo>
                  <a:pt x="478" y="1067"/>
                </a:lnTo>
                <a:lnTo>
                  <a:pt x="492" y="1064"/>
                </a:lnTo>
                <a:lnTo>
                  <a:pt x="504" y="1059"/>
                </a:lnTo>
                <a:lnTo>
                  <a:pt x="516" y="1054"/>
                </a:lnTo>
                <a:lnTo>
                  <a:pt x="528" y="1046"/>
                </a:lnTo>
                <a:lnTo>
                  <a:pt x="539" y="1037"/>
                </a:lnTo>
                <a:lnTo>
                  <a:pt x="549" y="1027"/>
                </a:lnTo>
                <a:lnTo>
                  <a:pt x="867" y="682"/>
                </a:lnTo>
                <a:lnTo>
                  <a:pt x="867" y="682"/>
                </a:lnTo>
                <a:lnTo>
                  <a:pt x="876" y="672"/>
                </a:lnTo>
                <a:lnTo>
                  <a:pt x="883" y="661"/>
                </a:lnTo>
                <a:lnTo>
                  <a:pt x="890" y="650"/>
                </a:lnTo>
                <a:lnTo>
                  <a:pt x="894" y="638"/>
                </a:lnTo>
                <a:lnTo>
                  <a:pt x="898" y="625"/>
                </a:lnTo>
                <a:lnTo>
                  <a:pt x="901" y="612"/>
                </a:lnTo>
                <a:lnTo>
                  <a:pt x="902" y="599"/>
                </a:lnTo>
                <a:lnTo>
                  <a:pt x="902" y="587"/>
                </a:lnTo>
                <a:lnTo>
                  <a:pt x="901" y="573"/>
                </a:lnTo>
                <a:lnTo>
                  <a:pt x="899" y="561"/>
                </a:lnTo>
                <a:lnTo>
                  <a:pt x="895" y="549"/>
                </a:lnTo>
                <a:lnTo>
                  <a:pt x="890" y="537"/>
                </a:lnTo>
                <a:lnTo>
                  <a:pt x="884" y="524"/>
                </a:lnTo>
                <a:lnTo>
                  <a:pt x="877" y="513"/>
                </a:lnTo>
                <a:lnTo>
                  <a:pt x="869" y="503"/>
                </a:lnTo>
                <a:lnTo>
                  <a:pt x="860" y="493"/>
                </a:lnTo>
                <a:lnTo>
                  <a:pt x="860" y="493"/>
                </a:lnTo>
                <a:lnTo>
                  <a:pt x="849" y="484"/>
                </a:lnTo>
                <a:lnTo>
                  <a:pt x="837" y="478"/>
                </a:lnTo>
                <a:lnTo>
                  <a:pt x="826" y="471"/>
                </a:lnTo>
                <a:lnTo>
                  <a:pt x="814" y="467"/>
                </a:lnTo>
                <a:lnTo>
                  <a:pt x="802" y="462"/>
                </a:lnTo>
                <a:lnTo>
                  <a:pt x="789" y="460"/>
                </a:lnTo>
                <a:lnTo>
                  <a:pt x="776" y="459"/>
                </a:lnTo>
                <a:lnTo>
                  <a:pt x="763" y="459"/>
                </a:lnTo>
                <a:lnTo>
                  <a:pt x="751" y="460"/>
                </a:lnTo>
                <a:lnTo>
                  <a:pt x="737" y="462"/>
                </a:lnTo>
                <a:lnTo>
                  <a:pt x="725" y="465"/>
                </a:lnTo>
                <a:lnTo>
                  <a:pt x="713" y="470"/>
                </a:lnTo>
                <a:lnTo>
                  <a:pt x="701" y="477"/>
                </a:lnTo>
                <a:lnTo>
                  <a:pt x="691" y="483"/>
                </a:lnTo>
                <a:lnTo>
                  <a:pt x="680" y="492"/>
                </a:lnTo>
                <a:lnTo>
                  <a:pt x="670" y="501"/>
                </a:lnTo>
                <a:lnTo>
                  <a:pt x="585" y="593"/>
                </a:lnTo>
                <a:lnTo>
                  <a:pt x="585" y="133"/>
                </a:lnTo>
                <a:lnTo>
                  <a:pt x="585" y="133"/>
                </a:lnTo>
                <a:lnTo>
                  <a:pt x="584" y="120"/>
                </a:lnTo>
                <a:lnTo>
                  <a:pt x="582" y="106"/>
                </a:lnTo>
                <a:lnTo>
                  <a:pt x="578" y="94"/>
                </a:lnTo>
                <a:lnTo>
                  <a:pt x="574" y="82"/>
                </a:lnTo>
                <a:lnTo>
                  <a:pt x="568" y="70"/>
                </a:lnTo>
                <a:lnTo>
                  <a:pt x="562" y="58"/>
                </a:lnTo>
                <a:lnTo>
                  <a:pt x="554" y="48"/>
                </a:lnTo>
                <a:lnTo>
                  <a:pt x="545" y="38"/>
                </a:lnTo>
                <a:lnTo>
                  <a:pt x="536" y="31"/>
                </a:lnTo>
                <a:lnTo>
                  <a:pt x="525" y="23"/>
                </a:lnTo>
                <a:lnTo>
                  <a:pt x="515" y="16"/>
                </a:lnTo>
                <a:lnTo>
                  <a:pt x="503" y="10"/>
                </a:lnTo>
                <a:lnTo>
                  <a:pt x="490" y="5"/>
                </a:lnTo>
                <a:lnTo>
                  <a:pt x="478" y="2"/>
                </a:lnTo>
                <a:lnTo>
                  <a:pt x="465" y="1"/>
                </a:lnTo>
                <a:lnTo>
                  <a:pt x="452" y="0"/>
                </a:lnTo>
                <a:lnTo>
                  <a:pt x="452" y="0"/>
                </a:lnTo>
                <a:lnTo>
                  <a:pt x="437" y="1"/>
                </a:lnTo>
                <a:lnTo>
                  <a:pt x="424" y="2"/>
                </a:lnTo>
                <a:lnTo>
                  <a:pt x="412" y="5"/>
                </a:lnTo>
                <a:lnTo>
                  <a:pt x="399" y="10"/>
                </a:lnTo>
                <a:lnTo>
                  <a:pt x="387" y="16"/>
                </a:lnTo>
                <a:lnTo>
                  <a:pt x="377" y="23"/>
                </a:lnTo>
                <a:lnTo>
                  <a:pt x="366" y="31"/>
                </a:lnTo>
                <a:lnTo>
                  <a:pt x="357" y="38"/>
                </a:lnTo>
                <a:lnTo>
                  <a:pt x="348" y="48"/>
                </a:lnTo>
                <a:lnTo>
                  <a:pt x="340" y="58"/>
                </a:lnTo>
                <a:lnTo>
                  <a:pt x="334" y="70"/>
                </a:lnTo>
                <a:lnTo>
                  <a:pt x="328" y="82"/>
                </a:lnTo>
                <a:lnTo>
                  <a:pt x="324" y="94"/>
                </a:lnTo>
                <a:lnTo>
                  <a:pt x="320" y="106"/>
                </a:lnTo>
                <a:lnTo>
                  <a:pt x="318" y="120"/>
                </a:lnTo>
                <a:lnTo>
                  <a:pt x="317" y="133"/>
                </a:lnTo>
                <a:lnTo>
                  <a:pt x="317" y="593"/>
                </a:lnTo>
                <a:lnTo>
                  <a:pt x="232" y="501"/>
                </a:lnTo>
                <a:lnTo>
                  <a:pt x="232" y="501"/>
                </a:lnTo>
                <a:lnTo>
                  <a:pt x="222" y="492"/>
                </a:lnTo>
                <a:lnTo>
                  <a:pt x="211" y="483"/>
                </a:lnTo>
                <a:lnTo>
                  <a:pt x="200" y="477"/>
                </a:lnTo>
                <a:lnTo>
                  <a:pt x="189" y="470"/>
                </a:lnTo>
                <a:lnTo>
                  <a:pt x="177" y="465"/>
                </a:lnTo>
                <a:lnTo>
                  <a:pt x="165" y="462"/>
                </a:lnTo>
                <a:lnTo>
                  <a:pt x="151" y="460"/>
                </a:lnTo>
                <a:lnTo>
                  <a:pt x="139" y="459"/>
                </a:lnTo>
                <a:lnTo>
                  <a:pt x="126" y="459"/>
                </a:lnTo>
                <a:lnTo>
                  <a:pt x="113" y="460"/>
                </a:lnTo>
                <a:lnTo>
                  <a:pt x="100" y="462"/>
                </a:lnTo>
                <a:lnTo>
                  <a:pt x="88" y="467"/>
                </a:lnTo>
                <a:lnTo>
                  <a:pt x="76" y="471"/>
                </a:lnTo>
                <a:lnTo>
                  <a:pt x="65" y="478"/>
                </a:lnTo>
                <a:lnTo>
                  <a:pt x="53" y="484"/>
                </a:lnTo>
                <a:lnTo>
                  <a:pt x="42" y="493"/>
                </a:lnTo>
                <a:lnTo>
                  <a:pt x="42" y="493"/>
                </a:lnTo>
                <a:lnTo>
                  <a:pt x="33" y="503"/>
                </a:lnTo>
                <a:lnTo>
                  <a:pt x="25" y="513"/>
                </a:lnTo>
                <a:lnTo>
                  <a:pt x="18" y="524"/>
                </a:lnTo>
                <a:lnTo>
                  <a:pt x="12" y="537"/>
                </a:lnTo>
                <a:lnTo>
                  <a:pt x="7" y="549"/>
                </a:lnTo>
                <a:lnTo>
                  <a:pt x="3" y="561"/>
                </a:lnTo>
                <a:lnTo>
                  <a:pt x="1" y="573"/>
                </a:lnTo>
                <a:lnTo>
                  <a:pt x="0" y="587"/>
                </a:lnTo>
                <a:lnTo>
                  <a:pt x="0" y="599"/>
                </a:lnTo>
                <a:lnTo>
                  <a:pt x="1" y="612"/>
                </a:lnTo>
                <a:lnTo>
                  <a:pt x="4" y="625"/>
                </a:lnTo>
                <a:lnTo>
                  <a:pt x="8" y="638"/>
                </a:lnTo>
                <a:lnTo>
                  <a:pt x="12" y="649"/>
                </a:lnTo>
                <a:lnTo>
                  <a:pt x="19" y="661"/>
                </a:lnTo>
                <a:lnTo>
                  <a:pt x="27" y="672"/>
                </a:lnTo>
                <a:lnTo>
                  <a:pt x="35" y="682"/>
                </a:lnTo>
                <a:lnTo>
                  <a:pt x="35" y="68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2" name="Ellipse 301">
            <a:extLst>
              <a:ext uri="{FF2B5EF4-FFF2-40B4-BE49-F238E27FC236}">
                <a16:creationId xmlns:a16="http://schemas.microsoft.com/office/drawing/2014/main" id="{7C8BF1D0-9CDC-4C9F-A591-8BA16F1BCB9B}"/>
              </a:ext>
            </a:extLst>
          </p:cNvPr>
          <p:cNvSpPr/>
          <p:nvPr/>
        </p:nvSpPr>
        <p:spPr bwMode="auto">
          <a:xfrm>
            <a:off x="1595889"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23" name="Freeform 57">
            <a:extLst>
              <a:ext uri="{FF2B5EF4-FFF2-40B4-BE49-F238E27FC236}">
                <a16:creationId xmlns:a16="http://schemas.microsoft.com/office/drawing/2014/main" id="{556D65AA-C4D5-4D6D-A083-5CDE0F27D17A}"/>
              </a:ext>
            </a:extLst>
          </p:cNvPr>
          <p:cNvSpPr>
            <a:spLocks/>
          </p:cNvSpPr>
          <p:nvPr/>
        </p:nvSpPr>
        <p:spPr bwMode="auto">
          <a:xfrm>
            <a:off x="1826856" y="4112945"/>
            <a:ext cx="1563" cy="1563"/>
          </a:xfrm>
          <a:custGeom>
            <a:avLst/>
            <a:gdLst>
              <a:gd name="T0" fmla="*/ 5 w 5"/>
              <a:gd name="T1" fmla="*/ 5 h 5"/>
              <a:gd name="T2" fmla="*/ 5 w 5"/>
              <a:gd name="T3" fmla="*/ 5 h 5"/>
              <a:gd name="T4" fmla="*/ 0 w 5"/>
              <a:gd name="T5" fmla="*/ 0 h 5"/>
              <a:gd name="T6" fmla="*/ 0 w 5"/>
              <a:gd name="T7" fmla="*/ 0 h 5"/>
              <a:gd name="T8" fmla="*/ 5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5"/>
                </a:lnTo>
                <a:lnTo>
                  <a:pt x="0" y="0"/>
                </a:lnTo>
                <a:lnTo>
                  <a:pt x="0" y="0"/>
                </a:lnTo>
                <a:lnTo>
                  <a:pt x="5" y="5"/>
                </a:lnTo>
                <a:lnTo>
                  <a:pt x="5" y="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24" name="Freeform 58">
            <a:extLst>
              <a:ext uri="{FF2B5EF4-FFF2-40B4-BE49-F238E27FC236}">
                <a16:creationId xmlns:a16="http://schemas.microsoft.com/office/drawing/2014/main" id="{126D6FE0-4030-430C-A6C4-5AE76E56646B}"/>
              </a:ext>
            </a:extLst>
          </p:cNvPr>
          <p:cNvSpPr>
            <a:spLocks/>
          </p:cNvSpPr>
          <p:nvPr/>
        </p:nvSpPr>
        <p:spPr bwMode="auto">
          <a:xfrm>
            <a:off x="1825293" y="4111382"/>
            <a:ext cx="4689" cy="4689"/>
          </a:xfrm>
          <a:custGeom>
            <a:avLst/>
            <a:gdLst>
              <a:gd name="T0" fmla="*/ 15 w 15"/>
              <a:gd name="T1" fmla="*/ 16 h 16"/>
              <a:gd name="T2" fmla="*/ 15 w 15"/>
              <a:gd name="T3" fmla="*/ 16 h 16"/>
              <a:gd name="T4" fmla="*/ 0 w 15"/>
              <a:gd name="T5" fmla="*/ 0 h 16"/>
              <a:gd name="T6" fmla="*/ 0 w 15"/>
              <a:gd name="T7" fmla="*/ 0 h 16"/>
              <a:gd name="T8" fmla="*/ 15 w 15"/>
              <a:gd name="T9" fmla="*/ 16 h 16"/>
              <a:gd name="T10" fmla="*/ 15 w 15"/>
              <a:gd name="T11" fmla="*/ 16 h 16"/>
            </a:gdLst>
            <a:ahLst/>
            <a:cxnLst>
              <a:cxn ang="0">
                <a:pos x="T0" y="T1"/>
              </a:cxn>
              <a:cxn ang="0">
                <a:pos x="T2" y="T3"/>
              </a:cxn>
              <a:cxn ang="0">
                <a:pos x="T4" y="T5"/>
              </a:cxn>
              <a:cxn ang="0">
                <a:pos x="T6" y="T7"/>
              </a:cxn>
              <a:cxn ang="0">
                <a:pos x="T8" y="T9"/>
              </a:cxn>
              <a:cxn ang="0">
                <a:pos x="T10" y="T11"/>
              </a:cxn>
            </a:cxnLst>
            <a:rect l="0" t="0" r="r" b="b"/>
            <a:pathLst>
              <a:path w="15" h="16">
                <a:moveTo>
                  <a:pt x="15" y="16"/>
                </a:moveTo>
                <a:lnTo>
                  <a:pt x="15" y="16"/>
                </a:lnTo>
                <a:lnTo>
                  <a:pt x="0" y="0"/>
                </a:lnTo>
                <a:lnTo>
                  <a:pt x="0" y="0"/>
                </a:lnTo>
                <a:lnTo>
                  <a:pt x="15" y="16"/>
                </a:lnTo>
                <a:lnTo>
                  <a:pt x="1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25" name="Freeform 59">
            <a:extLst>
              <a:ext uri="{FF2B5EF4-FFF2-40B4-BE49-F238E27FC236}">
                <a16:creationId xmlns:a16="http://schemas.microsoft.com/office/drawing/2014/main" id="{CD9C1083-132A-4408-B36E-A7F37F1F0E67}"/>
              </a:ext>
            </a:extLst>
          </p:cNvPr>
          <p:cNvSpPr>
            <a:spLocks/>
          </p:cNvSpPr>
          <p:nvPr/>
        </p:nvSpPr>
        <p:spPr bwMode="auto">
          <a:xfrm>
            <a:off x="1710422" y="3974630"/>
            <a:ext cx="234432" cy="278193"/>
          </a:xfrm>
          <a:custGeom>
            <a:avLst/>
            <a:gdLst>
              <a:gd name="T0" fmla="*/ 353 w 902"/>
              <a:gd name="T1" fmla="*/ 1027 h 1070"/>
              <a:gd name="T2" fmla="*/ 363 w 902"/>
              <a:gd name="T3" fmla="*/ 1037 h 1070"/>
              <a:gd name="T4" fmla="*/ 386 w 902"/>
              <a:gd name="T5" fmla="*/ 1054 h 1070"/>
              <a:gd name="T6" fmla="*/ 410 w 902"/>
              <a:gd name="T7" fmla="*/ 1064 h 1070"/>
              <a:gd name="T8" fmla="*/ 437 w 902"/>
              <a:gd name="T9" fmla="*/ 1069 h 1070"/>
              <a:gd name="T10" fmla="*/ 465 w 902"/>
              <a:gd name="T11" fmla="*/ 1069 h 1070"/>
              <a:gd name="T12" fmla="*/ 492 w 902"/>
              <a:gd name="T13" fmla="*/ 1064 h 1070"/>
              <a:gd name="T14" fmla="*/ 516 w 902"/>
              <a:gd name="T15" fmla="*/ 1054 h 1070"/>
              <a:gd name="T16" fmla="*/ 539 w 902"/>
              <a:gd name="T17" fmla="*/ 1037 h 1070"/>
              <a:gd name="T18" fmla="*/ 867 w 902"/>
              <a:gd name="T19" fmla="*/ 682 h 1070"/>
              <a:gd name="T20" fmla="*/ 876 w 902"/>
              <a:gd name="T21" fmla="*/ 672 h 1070"/>
              <a:gd name="T22" fmla="*/ 890 w 902"/>
              <a:gd name="T23" fmla="*/ 650 h 1070"/>
              <a:gd name="T24" fmla="*/ 898 w 902"/>
              <a:gd name="T25" fmla="*/ 625 h 1070"/>
              <a:gd name="T26" fmla="*/ 902 w 902"/>
              <a:gd name="T27" fmla="*/ 599 h 1070"/>
              <a:gd name="T28" fmla="*/ 901 w 902"/>
              <a:gd name="T29" fmla="*/ 573 h 1070"/>
              <a:gd name="T30" fmla="*/ 895 w 902"/>
              <a:gd name="T31" fmla="*/ 549 h 1070"/>
              <a:gd name="T32" fmla="*/ 884 w 902"/>
              <a:gd name="T33" fmla="*/ 524 h 1070"/>
              <a:gd name="T34" fmla="*/ 869 w 902"/>
              <a:gd name="T35" fmla="*/ 503 h 1070"/>
              <a:gd name="T36" fmla="*/ 860 w 902"/>
              <a:gd name="T37" fmla="*/ 493 h 1070"/>
              <a:gd name="T38" fmla="*/ 837 w 902"/>
              <a:gd name="T39" fmla="*/ 478 h 1070"/>
              <a:gd name="T40" fmla="*/ 814 w 902"/>
              <a:gd name="T41" fmla="*/ 467 h 1070"/>
              <a:gd name="T42" fmla="*/ 789 w 902"/>
              <a:gd name="T43" fmla="*/ 460 h 1070"/>
              <a:gd name="T44" fmla="*/ 763 w 902"/>
              <a:gd name="T45" fmla="*/ 459 h 1070"/>
              <a:gd name="T46" fmla="*/ 737 w 902"/>
              <a:gd name="T47" fmla="*/ 462 h 1070"/>
              <a:gd name="T48" fmla="*/ 713 w 902"/>
              <a:gd name="T49" fmla="*/ 470 h 1070"/>
              <a:gd name="T50" fmla="*/ 691 w 902"/>
              <a:gd name="T51" fmla="*/ 483 h 1070"/>
              <a:gd name="T52" fmla="*/ 670 w 902"/>
              <a:gd name="T53" fmla="*/ 501 h 1070"/>
              <a:gd name="T54" fmla="*/ 585 w 902"/>
              <a:gd name="T55" fmla="*/ 133 h 1070"/>
              <a:gd name="T56" fmla="*/ 584 w 902"/>
              <a:gd name="T57" fmla="*/ 120 h 1070"/>
              <a:gd name="T58" fmla="*/ 578 w 902"/>
              <a:gd name="T59" fmla="*/ 94 h 1070"/>
              <a:gd name="T60" fmla="*/ 568 w 902"/>
              <a:gd name="T61" fmla="*/ 70 h 1070"/>
              <a:gd name="T62" fmla="*/ 554 w 902"/>
              <a:gd name="T63" fmla="*/ 48 h 1070"/>
              <a:gd name="T64" fmla="*/ 536 w 902"/>
              <a:gd name="T65" fmla="*/ 31 h 1070"/>
              <a:gd name="T66" fmla="*/ 515 w 902"/>
              <a:gd name="T67" fmla="*/ 16 h 1070"/>
              <a:gd name="T68" fmla="*/ 490 w 902"/>
              <a:gd name="T69" fmla="*/ 5 h 1070"/>
              <a:gd name="T70" fmla="*/ 465 w 902"/>
              <a:gd name="T71" fmla="*/ 1 h 1070"/>
              <a:gd name="T72" fmla="*/ 452 w 902"/>
              <a:gd name="T73" fmla="*/ 0 h 1070"/>
              <a:gd name="T74" fmla="*/ 424 w 902"/>
              <a:gd name="T75" fmla="*/ 2 h 1070"/>
              <a:gd name="T76" fmla="*/ 399 w 902"/>
              <a:gd name="T77" fmla="*/ 10 h 1070"/>
              <a:gd name="T78" fmla="*/ 377 w 902"/>
              <a:gd name="T79" fmla="*/ 23 h 1070"/>
              <a:gd name="T80" fmla="*/ 357 w 902"/>
              <a:gd name="T81" fmla="*/ 38 h 1070"/>
              <a:gd name="T82" fmla="*/ 340 w 902"/>
              <a:gd name="T83" fmla="*/ 58 h 1070"/>
              <a:gd name="T84" fmla="*/ 328 w 902"/>
              <a:gd name="T85" fmla="*/ 82 h 1070"/>
              <a:gd name="T86" fmla="*/ 320 w 902"/>
              <a:gd name="T87" fmla="*/ 106 h 1070"/>
              <a:gd name="T88" fmla="*/ 317 w 902"/>
              <a:gd name="T89" fmla="*/ 133 h 1070"/>
              <a:gd name="T90" fmla="*/ 232 w 902"/>
              <a:gd name="T91" fmla="*/ 501 h 1070"/>
              <a:gd name="T92" fmla="*/ 222 w 902"/>
              <a:gd name="T93" fmla="*/ 492 h 1070"/>
              <a:gd name="T94" fmla="*/ 200 w 902"/>
              <a:gd name="T95" fmla="*/ 477 h 1070"/>
              <a:gd name="T96" fmla="*/ 177 w 902"/>
              <a:gd name="T97" fmla="*/ 465 h 1070"/>
              <a:gd name="T98" fmla="*/ 151 w 902"/>
              <a:gd name="T99" fmla="*/ 460 h 1070"/>
              <a:gd name="T100" fmla="*/ 126 w 902"/>
              <a:gd name="T101" fmla="*/ 459 h 1070"/>
              <a:gd name="T102" fmla="*/ 100 w 902"/>
              <a:gd name="T103" fmla="*/ 462 h 1070"/>
              <a:gd name="T104" fmla="*/ 76 w 902"/>
              <a:gd name="T105" fmla="*/ 471 h 1070"/>
              <a:gd name="T106" fmla="*/ 53 w 902"/>
              <a:gd name="T107" fmla="*/ 484 h 1070"/>
              <a:gd name="T108" fmla="*/ 42 w 902"/>
              <a:gd name="T109" fmla="*/ 493 h 1070"/>
              <a:gd name="T110" fmla="*/ 25 w 902"/>
              <a:gd name="T111" fmla="*/ 513 h 1070"/>
              <a:gd name="T112" fmla="*/ 12 w 902"/>
              <a:gd name="T113" fmla="*/ 537 h 1070"/>
              <a:gd name="T114" fmla="*/ 3 w 902"/>
              <a:gd name="T115" fmla="*/ 561 h 1070"/>
              <a:gd name="T116" fmla="*/ 0 w 902"/>
              <a:gd name="T117" fmla="*/ 587 h 1070"/>
              <a:gd name="T118" fmla="*/ 1 w 902"/>
              <a:gd name="T119" fmla="*/ 612 h 1070"/>
              <a:gd name="T120" fmla="*/ 8 w 902"/>
              <a:gd name="T121" fmla="*/ 638 h 1070"/>
              <a:gd name="T122" fmla="*/ 19 w 902"/>
              <a:gd name="T123" fmla="*/ 661 h 1070"/>
              <a:gd name="T124" fmla="*/ 35 w 902"/>
              <a:gd name="T125" fmla="*/ 68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70">
                <a:moveTo>
                  <a:pt x="35" y="682"/>
                </a:moveTo>
                <a:lnTo>
                  <a:pt x="353" y="1027"/>
                </a:lnTo>
                <a:lnTo>
                  <a:pt x="353" y="1027"/>
                </a:lnTo>
                <a:lnTo>
                  <a:pt x="363" y="1037"/>
                </a:lnTo>
                <a:lnTo>
                  <a:pt x="374" y="1046"/>
                </a:lnTo>
                <a:lnTo>
                  <a:pt x="386" y="1054"/>
                </a:lnTo>
                <a:lnTo>
                  <a:pt x="398" y="1059"/>
                </a:lnTo>
                <a:lnTo>
                  <a:pt x="410" y="1064"/>
                </a:lnTo>
                <a:lnTo>
                  <a:pt x="424" y="1067"/>
                </a:lnTo>
                <a:lnTo>
                  <a:pt x="437" y="1069"/>
                </a:lnTo>
                <a:lnTo>
                  <a:pt x="452" y="1070"/>
                </a:lnTo>
                <a:lnTo>
                  <a:pt x="465" y="1069"/>
                </a:lnTo>
                <a:lnTo>
                  <a:pt x="478" y="1067"/>
                </a:lnTo>
                <a:lnTo>
                  <a:pt x="492" y="1064"/>
                </a:lnTo>
                <a:lnTo>
                  <a:pt x="504" y="1059"/>
                </a:lnTo>
                <a:lnTo>
                  <a:pt x="516" y="1054"/>
                </a:lnTo>
                <a:lnTo>
                  <a:pt x="528" y="1046"/>
                </a:lnTo>
                <a:lnTo>
                  <a:pt x="539" y="1037"/>
                </a:lnTo>
                <a:lnTo>
                  <a:pt x="549" y="1027"/>
                </a:lnTo>
                <a:lnTo>
                  <a:pt x="867" y="682"/>
                </a:lnTo>
                <a:lnTo>
                  <a:pt x="867" y="682"/>
                </a:lnTo>
                <a:lnTo>
                  <a:pt x="876" y="672"/>
                </a:lnTo>
                <a:lnTo>
                  <a:pt x="883" y="661"/>
                </a:lnTo>
                <a:lnTo>
                  <a:pt x="890" y="650"/>
                </a:lnTo>
                <a:lnTo>
                  <a:pt x="894" y="638"/>
                </a:lnTo>
                <a:lnTo>
                  <a:pt x="898" y="625"/>
                </a:lnTo>
                <a:lnTo>
                  <a:pt x="901" y="612"/>
                </a:lnTo>
                <a:lnTo>
                  <a:pt x="902" y="599"/>
                </a:lnTo>
                <a:lnTo>
                  <a:pt x="902" y="587"/>
                </a:lnTo>
                <a:lnTo>
                  <a:pt x="901" y="573"/>
                </a:lnTo>
                <a:lnTo>
                  <a:pt x="899" y="561"/>
                </a:lnTo>
                <a:lnTo>
                  <a:pt x="895" y="549"/>
                </a:lnTo>
                <a:lnTo>
                  <a:pt x="890" y="537"/>
                </a:lnTo>
                <a:lnTo>
                  <a:pt x="884" y="524"/>
                </a:lnTo>
                <a:lnTo>
                  <a:pt x="877" y="513"/>
                </a:lnTo>
                <a:lnTo>
                  <a:pt x="869" y="503"/>
                </a:lnTo>
                <a:lnTo>
                  <a:pt x="860" y="493"/>
                </a:lnTo>
                <a:lnTo>
                  <a:pt x="860" y="493"/>
                </a:lnTo>
                <a:lnTo>
                  <a:pt x="849" y="484"/>
                </a:lnTo>
                <a:lnTo>
                  <a:pt x="837" y="478"/>
                </a:lnTo>
                <a:lnTo>
                  <a:pt x="826" y="471"/>
                </a:lnTo>
                <a:lnTo>
                  <a:pt x="814" y="467"/>
                </a:lnTo>
                <a:lnTo>
                  <a:pt x="802" y="462"/>
                </a:lnTo>
                <a:lnTo>
                  <a:pt x="789" y="460"/>
                </a:lnTo>
                <a:lnTo>
                  <a:pt x="776" y="459"/>
                </a:lnTo>
                <a:lnTo>
                  <a:pt x="763" y="459"/>
                </a:lnTo>
                <a:lnTo>
                  <a:pt x="751" y="460"/>
                </a:lnTo>
                <a:lnTo>
                  <a:pt x="737" y="462"/>
                </a:lnTo>
                <a:lnTo>
                  <a:pt x="725" y="465"/>
                </a:lnTo>
                <a:lnTo>
                  <a:pt x="713" y="470"/>
                </a:lnTo>
                <a:lnTo>
                  <a:pt x="701" y="477"/>
                </a:lnTo>
                <a:lnTo>
                  <a:pt x="691" y="483"/>
                </a:lnTo>
                <a:lnTo>
                  <a:pt x="680" y="492"/>
                </a:lnTo>
                <a:lnTo>
                  <a:pt x="670" y="501"/>
                </a:lnTo>
                <a:lnTo>
                  <a:pt x="585" y="593"/>
                </a:lnTo>
                <a:lnTo>
                  <a:pt x="585" y="133"/>
                </a:lnTo>
                <a:lnTo>
                  <a:pt x="585" y="133"/>
                </a:lnTo>
                <a:lnTo>
                  <a:pt x="584" y="120"/>
                </a:lnTo>
                <a:lnTo>
                  <a:pt x="582" y="106"/>
                </a:lnTo>
                <a:lnTo>
                  <a:pt x="578" y="94"/>
                </a:lnTo>
                <a:lnTo>
                  <a:pt x="574" y="82"/>
                </a:lnTo>
                <a:lnTo>
                  <a:pt x="568" y="70"/>
                </a:lnTo>
                <a:lnTo>
                  <a:pt x="562" y="58"/>
                </a:lnTo>
                <a:lnTo>
                  <a:pt x="554" y="48"/>
                </a:lnTo>
                <a:lnTo>
                  <a:pt x="545" y="38"/>
                </a:lnTo>
                <a:lnTo>
                  <a:pt x="536" y="31"/>
                </a:lnTo>
                <a:lnTo>
                  <a:pt x="525" y="23"/>
                </a:lnTo>
                <a:lnTo>
                  <a:pt x="515" y="16"/>
                </a:lnTo>
                <a:lnTo>
                  <a:pt x="503" y="10"/>
                </a:lnTo>
                <a:lnTo>
                  <a:pt x="490" y="5"/>
                </a:lnTo>
                <a:lnTo>
                  <a:pt x="478" y="2"/>
                </a:lnTo>
                <a:lnTo>
                  <a:pt x="465" y="1"/>
                </a:lnTo>
                <a:lnTo>
                  <a:pt x="452" y="0"/>
                </a:lnTo>
                <a:lnTo>
                  <a:pt x="452" y="0"/>
                </a:lnTo>
                <a:lnTo>
                  <a:pt x="437" y="1"/>
                </a:lnTo>
                <a:lnTo>
                  <a:pt x="424" y="2"/>
                </a:lnTo>
                <a:lnTo>
                  <a:pt x="412" y="5"/>
                </a:lnTo>
                <a:lnTo>
                  <a:pt x="399" y="10"/>
                </a:lnTo>
                <a:lnTo>
                  <a:pt x="387" y="16"/>
                </a:lnTo>
                <a:lnTo>
                  <a:pt x="377" y="23"/>
                </a:lnTo>
                <a:lnTo>
                  <a:pt x="366" y="31"/>
                </a:lnTo>
                <a:lnTo>
                  <a:pt x="357" y="38"/>
                </a:lnTo>
                <a:lnTo>
                  <a:pt x="348" y="48"/>
                </a:lnTo>
                <a:lnTo>
                  <a:pt x="340" y="58"/>
                </a:lnTo>
                <a:lnTo>
                  <a:pt x="334" y="70"/>
                </a:lnTo>
                <a:lnTo>
                  <a:pt x="328" y="82"/>
                </a:lnTo>
                <a:lnTo>
                  <a:pt x="324" y="94"/>
                </a:lnTo>
                <a:lnTo>
                  <a:pt x="320" y="106"/>
                </a:lnTo>
                <a:lnTo>
                  <a:pt x="318" y="120"/>
                </a:lnTo>
                <a:lnTo>
                  <a:pt x="317" y="133"/>
                </a:lnTo>
                <a:lnTo>
                  <a:pt x="317" y="593"/>
                </a:lnTo>
                <a:lnTo>
                  <a:pt x="232" y="501"/>
                </a:lnTo>
                <a:lnTo>
                  <a:pt x="232" y="501"/>
                </a:lnTo>
                <a:lnTo>
                  <a:pt x="222" y="492"/>
                </a:lnTo>
                <a:lnTo>
                  <a:pt x="211" y="483"/>
                </a:lnTo>
                <a:lnTo>
                  <a:pt x="200" y="477"/>
                </a:lnTo>
                <a:lnTo>
                  <a:pt x="189" y="470"/>
                </a:lnTo>
                <a:lnTo>
                  <a:pt x="177" y="465"/>
                </a:lnTo>
                <a:lnTo>
                  <a:pt x="165" y="462"/>
                </a:lnTo>
                <a:lnTo>
                  <a:pt x="151" y="460"/>
                </a:lnTo>
                <a:lnTo>
                  <a:pt x="139" y="459"/>
                </a:lnTo>
                <a:lnTo>
                  <a:pt x="126" y="459"/>
                </a:lnTo>
                <a:lnTo>
                  <a:pt x="113" y="460"/>
                </a:lnTo>
                <a:lnTo>
                  <a:pt x="100" y="462"/>
                </a:lnTo>
                <a:lnTo>
                  <a:pt x="88" y="467"/>
                </a:lnTo>
                <a:lnTo>
                  <a:pt x="76" y="471"/>
                </a:lnTo>
                <a:lnTo>
                  <a:pt x="65" y="478"/>
                </a:lnTo>
                <a:lnTo>
                  <a:pt x="53" y="484"/>
                </a:lnTo>
                <a:lnTo>
                  <a:pt x="42" y="493"/>
                </a:lnTo>
                <a:lnTo>
                  <a:pt x="42" y="493"/>
                </a:lnTo>
                <a:lnTo>
                  <a:pt x="33" y="503"/>
                </a:lnTo>
                <a:lnTo>
                  <a:pt x="25" y="513"/>
                </a:lnTo>
                <a:lnTo>
                  <a:pt x="18" y="524"/>
                </a:lnTo>
                <a:lnTo>
                  <a:pt x="12" y="537"/>
                </a:lnTo>
                <a:lnTo>
                  <a:pt x="7" y="549"/>
                </a:lnTo>
                <a:lnTo>
                  <a:pt x="3" y="561"/>
                </a:lnTo>
                <a:lnTo>
                  <a:pt x="1" y="573"/>
                </a:lnTo>
                <a:lnTo>
                  <a:pt x="0" y="587"/>
                </a:lnTo>
                <a:lnTo>
                  <a:pt x="0" y="599"/>
                </a:lnTo>
                <a:lnTo>
                  <a:pt x="1" y="612"/>
                </a:lnTo>
                <a:lnTo>
                  <a:pt x="4" y="625"/>
                </a:lnTo>
                <a:lnTo>
                  <a:pt x="8" y="638"/>
                </a:lnTo>
                <a:lnTo>
                  <a:pt x="12" y="649"/>
                </a:lnTo>
                <a:lnTo>
                  <a:pt x="19" y="661"/>
                </a:lnTo>
                <a:lnTo>
                  <a:pt x="27" y="672"/>
                </a:lnTo>
                <a:lnTo>
                  <a:pt x="35" y="682"/>
                </a:lnTo>
                <a:lnTo>
                  <a:pt x="35" y="6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49" name="Ellipse 48"/>
          <p:cNvSpPr/>
          <p:nvPr/>
        </p:nvSpPr>
        <p:spPr bwMode="auto">
          <a:xfrm>
            <a:off x="2251633"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72" name="Freeform 63">
            <a:extLst>
              <a:ext uri="{FF2B5EF4-FFF2-40B4-BE49-F238E27FC236}">
                <a16:creationId xmlns:a16="http://schemas.microsoft.com/office/drawing/2014/main" id="{C0002754-4A9A-4E7F-8FA0-A6C9CF860546}"/>
              </a:ext>
            </a:extLst>
          </p:cNvPr>
          <p:cNvSpPr>
            <a:spLocks/>
          </p:cNvSpPr>
          <p:nvPr/>
        </p:nvSpPr>
        <p:spPr bwMode="auto">
          <a:xfrm>
            <a:off x="2261452" y="3245980"/>
            <a:ext cx="443858" cy="443858"/>
          </a:xfrm>
          <a:custGeom>
            <a:avLst/>
            <a:gdLst>
              <a:gd name="T0" fmla="*/ 1709 w 1710"/>
              <a:gd name="T1" fmla="*/ 899 h 1710"/>
              <a:gd name="T2" fmla="*/ 1692 w 1710"/>
              <a:gd name="T3" fmla="*/ 1027 h 1710"/>
              <a:gd name="T4" fmla="*/ 1657 w 1710"/>
              <a:gd name="T5" fmla="*/ 1149 h 1710"/>
              <a:gd name="T6" fmla="*/ 1606 w 1710"/>
              <a:gd name="T7" fmla="*/ 1263 h 1710"/>
              <a:gd name="T8" fmla="*/ 1539 w 1710"/>
              <a:gd name="T9" fmla="*/ 1366 h 1710"/>
              <a:gd name="T10" fmla="*/ 1458 w 1710"/>
              <a:gd name="T11" fmla="*/ 1459 h 1710"/>
              <a:gd name="T12" fmla="*/ 1366 w 1710"/>
              <a:gd name="T13" fmla="*/ 1539 h 1710"/>
              <a:gd name="T14" fmla="*/ 1261 w 1710"/>
              <a:gd name="T15" fmla="*/ 1606 h 1710"/>
              <a:gd name="T16" fmla="*/ 1148 w 1710"/>
              <a:gd name="T17" fmla="*/ 1657 h 1710"/>
              <a:gd name="T18" fmla="*/ 1027 w 1710"/>
              <a:gd name="T19" fmla="*/ 1692 h 1710"/>
              <a:gd name="T20" fmla="*/ 899 w 1710"/>
              <a:gd name="T21" fmla="*/ 1709 h 1710"/>
              <a:gd name="T22" fmla="*/ 810 w 1710"/>
              <a:gd name="T23" fmla="*/ 1709 h 1710"/>
              <a:gd name="T24" fmla="*/ 682 w 1710"/>
              <a:gd name="T25" fmla="*/ 1692 h 1710"/>
              <a:gd name="T26" fmla="*/ 561 w 1710"/>
              <a:gd name="T27" fmla="*/ 1657 h 1710"/>
              <a:gd name="T28" fmla="*/ 447 w 1710"/>
              <a:gd name="T29" fmla="*/ 1606 h 1710"/>
              <a:gd name="T30" fmla="*/ 343 w 1710"/>
              <a:gd name="T31" fmla="*/ 1539 h 1710"/>
              <a:gd name="T32" fmla="*/ 251 w 1710"/>
              <a:gd name="T33" fmla="*/ 1459 h 1710"/>
              <a:gd name="T34" fmla="*/ 169 w 1710"/>
              <a:gd name="T35" fmla="*/ 1366 h 1710"/>
              <a:gd name="T36" fmla="*/ 103 w 1710"/>
              <a:gd name="T37" fmla="*/ 1263 h 1710"/>
              <a:gd name="T38" fmla="*/ 52 w 1710"/>
              <a:gd name="T39" fmla="*/ 1149 h 1710"/>
              <a:gd name="T40" fmla="*/ 17 w 1710"/>
              <a:gd name="T41" fmla="*/ 1027 h 1710"/>
              <a:gd name="T42" fmla="*/ 1 w 1710"/>
              <a:gd name="T43" fmla="*/ 899 h 1710"/>
              <a:gd name="T44" fmla="*/ 1 w 1710"/>
              <a:gd name="T45" fmla="*/ 811 h 1710"/>
              <a:gd name="T46" fmla="*/ 17 w 1710"/>
              <a:gd name="T47" fmla="*/ 682 h 1710"/>
              <a:gd name="T48" fmla="*/ 52 w 1710"/>
              <a:gd name="T49" fmla="*/ 561 h 1710"/>
              <a:gd name="T50" fmla="*/ 103 w 1710"/>
              <a:gd name="T51" fmla="*/ 447 h 1710"/>
              <a:gd name="T52" fmla="*/ 169 w 1710"/>
              <a:gd name="T53" fmla="*/ 343 h 1710"/>
              <a:gd name="T54" fmla="*/ 251 w 1710"/>
              <a:gd name="T55" fmla="*/ 251 h 1710"/>
              <a:gd name="T56" fmla="*/ 343 w 1710"/>
              <a:gd name="T57" fmla="*/ 169 h 1710"/>
              <a:gd name="T58" fmla="*/ 447 w 1710"/>
              <a:gd name="T59" fmla="*/ 104 h 1710"/>
              <a:gd name="T60" fmla="*/ 561 w 1710"/>
              <a:gd name="T61" fmla="*/ 52 h 1710"/>
              <a:gd name="T62" fmla="*/ 682 w 1710"/>
              <a:gd name="T63" fmla="*/ 17 h 1710"/>
              <a:gd name="T64" fmla="*/ 810 w 1710"/>
              <a:gd name="T65" fmla="*/ 1 h 1710"/>
              <a:gd name="T66" fmla="*/ 899 w 1710"/>
              <a:gd name="T67" fmla="*/ 1 h 1710"/>
              <a:gd name="T68" fmla="*/ 1027 w 1710"/>
              <a:gd name="T69" fmla="*/ 17 h 1710"/>
              <a:gd name="T70" fmla="*/ 1148 w 1710"/>
              <a:gd name="T71" fmla="*/ 52 h 1710"/>
              <a:gd name="T72" fmla="*/ 1261 w 1710"/>
              <a:gd name="T73" fmla="*/ 104 h 1710"/>
              <a:gd name="T74" fmla="*/ 1366 w 1710"/>
              <a:gd name="T75" fmla="*/ 169 h 1710"/>
              <a:gd name="T76" fmla="*/ 1458 w 1710"/>
              <a:gd name="T77" fmla="*/ 251 h 1710"/>
              <a:gd name="T78" fmla="*/ 1539 w 1710"/>
              <a:gd name="T79" fmla="*/ 343 h 1710"/>
              <a:gd name="T80" fmla="*/ 1606 w 1710"/>
              <a:gd name="T81" fmla="*/ 447 h 1710"/>
              <a:gd name="T82" fmla="*/ 1657 w 1710"/>
              <a:gd name="T83" fmla="*/ 561 h 1710"/>
              <a:gd name="T84" fmla="*/ 1692 w 1710"/>
              <a:gd name="T85" fmla="*/ 682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0" y="985"/>
                </a:lnTo>
                <a:lnTo>
                  <a:pt x="1692" y="1027"/>
                </a:lnTo>
                <a:lnTo>
                  <a:pt x="1682" y="1068"/>
                </a:lnTo>
                <a:lnTo>
                  <a:pt x="1671" y="1109"/>
                </a:lnTo>
                <a:lnTo>
                  <a:pt x="1657" y="1149"/>
                </a:lnTo>
                <a:lnTo>
                  <a:pt x="1642" y="1187"/>
                </a:lnTo>
                <a:lnTo>
                  <a:pt x="1625" y="1225"/>
                </a:lnTo>
                <a:lnTo>
                  <a:pt x="1606" y="1263"/>
                </a:lnTo>
                <a:lnTo>
                  <a:pt x="1585" y="1298"/>
                </a:lnTo>
                <a:lnTo>
                  <a:pt x="1563" y="1333"/>
                </a:lnTo>
                <a:lnTo>
                  <a:pt x="1539" y="1366"/>
                </a:lnTo>
                <a:lnTo>
                  <a:pt x="1514" y="1398"/>
                </a:lnTo>
                <a:lnTo>
                  <a:pt x="1487" y="1429"/>
                </a:lnTo>
                <a:lnTo>
                  <a:pt x="1458" y="1459"/>
                </a:lnTo>
                <a:lnTo>
                  <a:pt x="1429" y="1487"/>
                </a:lnTo>
                <a:lnTo>
                  <a:pt x="1398" y="1514"/>
                </a:lnTo>
                <a:lnTo>
                  <a:pt x="1366" y="1539"/>
                </a:lnTo>
                <a:lnTo>
                  <a:pt x="1333" y="1564"/>
                </a:lnTo>
                <a:lnTo>
                  <a:pt x="1298" y="1586"/>
                </a:lnTo>
                <a:lnTo>
                  <a:pt x="1261" y="1606"/>
                </a:lnTo>
                <a:lnTo>
                  <a:pt x="1225" y="1625"/>
                </a:lnTo>
                <a:lnTo>
                  <a:pt x="1187" y="1642"/>
                </a:lnTo>
                <a:lnTo>
                  <a:pt x="1148" y="1657"/>
                </a:lnTo>
                <a:lnTo>
                  <a:pt x="1109" y="1671"/>
                </a:lnTo>
                <a:lnTo>
                  <a:pt x="1068" y="1683"/>
                </a:lnTo>
                <a:lnTo>
                  <a:pt x="1027" y="1692"/>
                </a:lnTo>
                <a:lnTo>
                  <a:pt x="985" y="1700"/>
                </a:lnTo>
                <a:lnTo>
                  <a:pt x="942" y="1705"/>
                </a:lnTo>
                <a:lnTo>
                  <a:pt x="899" y="1709"/>
                </a:lnTo>
                <a:lnTo>
                  <a:pt x="854" y="1710"/>
                </a:lnTo>
                <a:lnTo>
                  <a:pt x="854" y="1710"/>
                </a:lnTo>
                <a:lnTo>
                  <a:pt x="810" y="1709"/>
                </a:lnTo>
                <a:lnTo>
                  <a:pt x="767" y="1705"/>
                </a:lnTo>
                <a:lnTo>
                  <a:pt x="724" y="1700"/>
                </a:lnTo>
                <a:lnTo>
                  <a:pt x="682" y="1692"/>
                </a:lnTo>
                <a:lnTo>
                  <a:pt x="641" y="1683"/>
                </a:lnTo>
                <a:lnTo>
                  <a:pt x="600" y="1671"/>
                </a:lnTo>
                <a:lnTo>
                  <a:pt x="561" y="1657"/>
                </a:lnTo>
                <a:lnTo>
                  <a:pt x="522" y="1642"/>
                </a:lnTo>
                <a:lnTo>
                  <a:pt x="484" y="1625"/>
                </a:lnTo>
                <a:lnTo>
                  <a:pt x="447" y="1606"/>
                </a:lnTo>
                <a:lnTo>
                  <a:pt x="412" y="1586"/>
                </a:lnTo>
                <a:lnTo>
                  <a:pt x="376" y="1564"/>
                </a:lnTo>
                <a:lnTo>
                  <a:pt x="343" y="1539"/>
                </a:lnTo>
                <a:lnTo>
                  <a:pt x="311" y="1514"/>
                </a:lnTo>
                <a:lnTo>
                  <a:pt x="279" y="1487"/>
                </a:lnTo>
                <a:lnTo>
                  <a:pt x="251" y="1459"/>
                </a:lnTo>
                <a:lnTo>
                  <a:pt x="222" y="1429"/>
                </a:lnTo>
                <a:lnTo>
                  <a:pt x="195" y="1398"/>
                </a:lnTo>
                <a:lnTo>
                  <a:pt x="169" y="1366"/>
                </a:lnTo>
                <a:lnTo>
                  <a:pt x="146" y="1333"/>
                </a:lnTo>
                <a:lnTo>
                  <a:pt x="124" y="1298"/>
                </a:lnTo>
                <a:lnTo>
                  <a:pt x="103" y="1263"/>
                </a:lnTo>
                <a:lnTo>
                  <a:pt x="84" y="1225"/>
                </a:lnTo>
                <a:lnTo>
                  <a:pt x="67" y="1187"/>
                </a:lnTo>
                <a:lnTo>
                  <a:pt x="52" y="1149"/>
                </a:lnTo>
                <a:lnTo>
                  <a:pt x="38" y="1109"/>
                </a:lnTo>
                <a:lnTo>
                  <a:pt x="27" y="1068"/>
                </a:lnTo>
                <a:lnTo>
                  <a:pt x="17" y="1027"/>
                </a:lnTo>
                <a:lnTo>
                  <a:pt x="9" y="985"/>
                </a:lnTo>
                <a:lnTo>
                  <a:pt x="4" y="942"/>
                </a:lnTo>
                <a:lnTo>
                  <a:pt x="1" y="899"/>
                </a:lnTo>
                <a:lnTo>
                  <a:pt x="0" y="854"/>
                </a:lnTo>
                <a:lnTo>
                  <a:pt x="0" y="854"/>
                </a:lnTo>
                <a:lnTo>
                  <a:pt x="1" y="811"/>
                </a:lnTo>
                <a:lnTo>
                  <a:pt x="4" y="768"/>
                </a:lnTo>
                <a:lnTo>
                  <a:pt x="9" y="724"/>
                </a:lnTo>
                <a:lnTo>
                  <a:pt x="17" y="682"/>
                </a:lnTo>
                <a:lnTo>
                  <a:pt x="27" y="641"/>
                </a:lnTo>
                <a:lnTo>
                  <a:pt x="38" y="601"/>
                </a:lnTo>
                <a:lnTo>
                  <a:pt x="52" y="561"/>
                </a:lnTo>
                <a:lnTo>
                  <a:pt x="67" y="522"/>
                </a:lnTo>
                <a:lnTo>
                  <a:pt x="84" y="484"/>
                </a:lnTo>
                <a:lnTo>
                  <a:pt x="103" y="447"/>
                </a:lnTo>
                <a:lnTo>
                  <a:pt x="124" y="412"/>
                </a:lnTo>
                <a:lnTo>
                  <a:pt x="146" y="377"/>
                </a:lnTo>
                <a:lnTo>
                  <a:pt x="169" y="343"/>
                </a:lnTo>
                <a:lnTo>
                  <a:pt x="195" y="311"/>
                </a:lnTo>
                <a:lnTo>
                  <a:pt x="222" y="281"/>
                </a:lnTo>
                <a:lnTo>
                  <a:pt x="251" y="251"/>
                </a:lnTo>
                <a:lnTo>
                  <a:pt x="279" y="222"/>
                </a:lnTo>
                <a:lnTo>
                  <a:pt x="311" y="195"/>
                </a:lnTo>
                <a:lnTo>
                  <a:pt x="343" y="169"/>
                </a:lnTo>
                <a:lnTo>
                  <a:pt x="376" y="146"/>
                </a:lnTo>
                <a:lnTo>
                  <a:pt x="412" y="124"/>
                </a:lnTo>
                <a:lnTo>
                  <a:pt x="447" y="104"/>
                </a:lnTo>
                <a:lnTo>
                  <a:pt x="484" y="85"/>
                </a:lnTo>
                <a:lnTo>
                  <a:pt x="522" y="67"/>
                </a:lnTo>
                <a:lnTo>
                  <a:pt x="561" y="52"/>
                </a:lnTo>
                <a:lnTo>
                  <a:pt x="600" y="38"/>
                </a:lnTo>
                <a:lnTo>
                  <a:pt x="641" y="27"/>
                </a:lnTo>
                <a:lnTo>
                  <a:pt x="682" y="17"/>
                </a:lnTo>
                <a:lnTo>
                  <a:pt x="724" y="10"/>
                </a:lnTo>
                <a:lnTo>
                  <a:pt x="767" y="5"/>
                </a:lnTo>
                <a:lnTo>
                  <a:pt x="810" y="1"/>
                </a:lnTo>
                <a:lnTo>
                  <a:pt x="854" y="0"/>
                </a:lnTo>
                <a:lnTo>
                  <a:pt x="854" y="0"/>
                </a:lnTo>
                <a:lnTo>
                  <a:pt x="899" y="1"/>
                </a:lnTo>
                <a:lnTo>
                  <a:pt x="942" y="5"/>
                </a:lnTo>
                <a:lnTo>
                  <a:pt x="985" y="10"/>
                </a:lnTo>
                <a:lnTo>
                  <a:pt x="1027" y="17"/>
                </a:lnTo>
                <a:lnTo>
                  <a:pt x="1068" y="27"/>
                </a:lnTo>
                <a:lnTo>
                  <a:pt x="1109" y="38"/>
                </a:lnTo>
                <a:lnTo>
                  <a:pt x="1148" y="52"/>
                </a:lnTo>
                <a:lnTo>
                  <a:pt x="1187" y="67"/>
                </a:lnTo>
                <a:lnTo>
                  <a:pt x="1225" y="85"/>
                </a:lnTo>
                <a:lnTo>
                  <a:pt x="1261" y="104"/>
                </a:lnTo>
                <a:lnTo>
                  <a:pt x="1298" y="124"/>
                </a:lnTo>
                <a:lnTo>
                  <a:pt x="1333" y="146"/>
                </a:lnTo>
                <a:lnTo>
                  <a:pt x="1366" y="169"/>
                </a:lnTo>
                <a:lnTo>
                  <a:pt x="1398" y="195"/>
                </a:lnTo>
                <a:lnTo>
                  <a:pt x="1429" y="222"/>
                </a:lnTo>
                <a:lnTo>
                  <a:pt x="1458" y="251"/>
                </a:lnTo>
                <a:lnTo>
                  <a:pt x="1487" y="281"/>
                </a:lnTo>
                <a:lnTo>
                  <a:pt x="1514" y="311"/>
                </a:lnTo>
                <a:lnTo>
                  <a:pt x="1539" y="343"/>
                </a:lnTo>
                <a:lnTo>
                  <a:pt x="1563" y="377"/>
                </a:lnTo>
                <a:lnTo>
                  <a:pt x="1585" y="412"/>
                </a:lnTo>
                <a:lnTo>
                  <a:pt x="1606" y="447"/>
                </a:lnTo>
                <a:lnTo>
                  <a:pt x="1625" y="484"/>
                </a:lnTo>
                <a:lnTo>
                  <a:pt x="1642" y="522"/>
                </a:lnTo>
                <a:lnTo>
                  <a:pt x="1657" y="561"/>
                </a:lnTo>
                <a:lnTo>
                  <a:pt x="1671" y="601"/>
                </a:lnTo>
                <a:lnTo>
                  <a:pt x="1682" y="641"/>
                </a:lnTo>
                <a:lnTo>
                  <a:pt x="1692" y="682"/>
                </a:lnTo>
                <a:lnTo>
                  <a:pt x="1700" y="724"/>
                </a:lnTo>
                <a:lnTo>
                  <a:pt x="1705" y="768"/>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3" name="Freeform 64">
            <a:extLst>
              <a:ext uri="{FF2B5EF4-FFF2-40B4-BE49-F238E27FC236}">
                <a16:creationId xmlns:a16="http://schemas.microsoft.com/office/drawing/2014/main" id="{FE391C8D-DB10-4CC8-8C0F-E20AC6F9EC9B}"/>
              </a:ext>
            </a:extLst>
          </p:cNvPr>
          <p:cNvSpPr>
            <a:spLocks/>
          </p:cNvSpPr>
          <p:nvPr/>
        </p:nvSpPr>
        <p:spPr bwMode="auto">
          <a:xfrm>
            <a:off x="2348973" y="3433526"/>
            <a:ext cx="268816" cy="68767"/>
          </a:xfrm>
          <a:custGeom>
            <a:avLst/>
            <a:gdLst>
              <a:gd name="T0" fmla="*/ 132 w 1032"/>
              <a:gd name="T1" fmla="*/ 264 h 264"/>
              <a:gd name="T2" fmla="*/ 118 w 1032"/>
              <a:gd name="T3" fmla="*/ 263 h 264"/>
              <a:gd name="T4" fmla="*/ 93 w 1032"/>
              <a:gd name="T5" fmla="*/ 258 h 264"/>
              <a:gd name="T6" fmla="*/ 69 w 1032"/>
              <a:gd name="T7" fmla="*/ 248 h 264"/>
              <a:gd name="T8" fmla="*/ 48 w 1032"/>
              <a:gd name="T9" fmla="*/ 234 h 264"/>
              <a:gd name="T10" fmla="*/ 30 w 1032"/>
              <a:gd name="T11" fmla="*/ 216 h 264"/>
              <a:gd name="T12" fmla="*/ 16 w 1032"/>
              <a:gd name="T13" fmla="*/ 195 h 264"/>
              <a:gd name="T14" fmla="*/ 6 w 1032"/>
              <a:gd name="T15" fmla="*/ 171 h 264"/>
              <a:gd name="T16" fmla="*/ 0 w 1032"/>
              <a:gd name="T17" fmla="*/ 145 h 264"/>
              <a:gd name="T18" fmla="*/ 0 w 1032"/>
              <a:gd name="T19" fmla="*/ 131 h 264"/>
              <a:gd name="T20" fmla="*/ 0 w 1032"/>
              <a:gd name="T21" fmla="*/ 118 h 264"/>
              <a:gd name="T22" fmla="*/ 6 w 1032"/>
              <a:gd name="T23" fmla="*/ 93 h 264"/>
              <a:gd name="T24" fmla="*/ 16 w 1032"/>
              <a:gd name="T25" fmla="*/ 69 h 264"/>
              <a:gd name="T26" fmla="*/ 30 w 1032"/>
              <a:gd name="T27" fmla="*/ 48 h 264"/>
              <a:gd name="T28" fmla="*/ 48 w 1032"/>
              <a:gd name="T29" fmla="*/ 30 h 264"/>
              <a:gd name="T30" fmla="*/ 69 w 1032"/>
              <a:gd name="T31" fmla="*/ 16 h 264"/>
              <a:gd name="T32" fmla="*/ 93 w 1032"/>
              <a:gd name="T33" fmla="*/ 6 h 264"/>
              <a:gd name="T34" fmla="*/ 118 w 1032"/>
              <a:gd name="T35" fmla="*/ 0 h 264"/>
              <a:gd name="T36" fmla="*/ 901 w 1032"/>
              <a:gd name="T37" fmla="*/ 0 h 264"/>
              <a:gd name="T38" fmla="*/ 915 w 1032"/>
              <a:gd name="T39" fmla="*/ 0 h 264"/>
              <a:gd name="T40" fmla="*/ 940 w 1032"/>
              <a:gd name="T41" fmla="*/ 6 h 264"/>
              <a:gd name="T42" fmla="*/ 964 w 1032"/>
              <a:gd name="T43" fmla="*/ 16 h 264"/>
              <a:gd name="T44" fmla="*/ 985 w 1032"/>
              <a:gd name="T45" fmla="*/ 30 h 264"/>
              <a:gd name="T46" fmla="*/ 1002 w 1032"/>
              <a:gd name="T47" fmla="*/ 48 h 264"/>
              <a:gd name="T48" fmla="*/ 1017 w 1032"/>
              <a:gd name="T49" fmla="*/ 69 h 264"/>
              <a:gd name="T50" fmla="*/ 1027 w 1032"/>
              <a:gd name="T51" fmla="*/ 93 h 264"/>
              <a:gd name="T52" fmla="*/ 1032 w 1032"/>
              <a:gd name="T53" fmla="*/ 118 h 264"/>
              <a:gd name="T54" fmla="*/ 1032 w 1032"/>
              <a:gd name="T55" fmla="*/ 131 h 264"/>
              <a:gd name="T56" fmla="*/ 1032 w 1032"/>
              <a:gd name="T57" fmla="*/ 145 h 264"/>
              <a:gd name="T58" fmla="*/ 1027 w 1032"/>
              <a:gd name="T59" fmla="*/ 171 h 264"/>
              <a:gd name="T60" fmla="*/ 1017 w 1032"/>
              <a:gd name="T61" fmla="*/ 195 h 264"/>
              <a:gd name="T62" fmla="*/ 1002 w 1032"/>
              <a:gd name="T63" fmla="*/ 216 h 264"/>
              <a:gd name="T64" fmla="*/ 985 w 1032"/>
              <a:gd name="T65" fmla="*/ 234 h 264"/>
              <a:gd name="T66" fmla="*/ 964 w 1032"/>
              <a:gd name="T67" fmla="*/ 248 h 264"/>
              <a:gd name="T68" fmla="*/ 940 w 1032"/>
              <a:gd name="T69" fmla="*/ 258 h 264"/>
              <a:gd name="T70" fmla="*/ 915 w 1032"/>
              <a:gd name="T71" fmla="*/ 263 h 264"/>
              <a:gd name="T72" fmla="*/ 901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1" y="264"/>
                </a:moveTo>
                <a:lnTo>
                  <a:pt x="132" y="264"/>
                </a:lnTo>
                <a:lnTo>
                  <a:pt x="132" y="264"/>
                </a:lnTo>
                <a:lnTo>
                  <a:pt x="118" y="263"/>
                </a:lnTo>
                <a:lnTo>
                  <a:pt x="105" y="262"/>
                </a:lnTo>
                <a:lnTo>
                  <a:pt x="93" y="258"/>
                </a:lnTo>
                <a:lnTo>
                  <a:pt x="81" y="254"/>
                </a:lnTo>
                <a:lnTo>
                  <a:pt x="69" y="248"/>
                </a:lnTo>
                <a:lnTo>
                  <a:pt x="58" y="242"/>
                </a:lnTo>
                <a:lnTo>
                  <a:pt x="48" y="234"/>
                </a:lnTo>
                <a:lnTo>
                  <a:pt x="38" y="225"/>
                </a:lnTo>
                <a:lnTo>
                  <a:pt x="30" y="216"/>
                </a:lnTo>
                <a:lnTo>
                  <a:pt x="23" y="206"/>
                </a:lnTo>
                <a:lnTo>
                  <a:pt x="16" y="195"/>
                </a:lnTo>
                <a:lnTo>
                  <a:pt x="10" y="184"/>
                </a:lnTo>
                <a:lnTo>
                  <a:pt x="6" y="171"/>
                </a:lnTo>
                <a:lnTo>
                  <a:pt x="3" y="158"/>
                </a:lnTo>
                <a:lnTo>
                  <a:pt x="0" y="145"/>
                </a:lnTo>
                <a:lnTo>
                  <a:pt x="0" y="131"/>
                </a:lnTo>
                <a:lnTo>
                  <a:pt x="0" y="131"/>
                </a:lnTo>
                <a:lnTo>
                  <a:pt x="0" y="131"/>
                </a:lnTo>
                <a:lnTo>
                  <a:pt x="0" y="118"/>
                </a:lnTo>
                <a:lnTo>
                  <a:pt x="3" y="105"/>
                </a:lnTo>
                <a:lnTo>
                  <a:pt x="6" y="93"/>
                </a:lnTo>
                <a:lnTo>
                  <a:pt x="10" y="80"/>
                </a:lnTo>
                <a:lnTo>
                  <a:pt x="16" y="69"/>
                </a:lnTo>
                <a:lnTo>
                  <a:pt x="23" y="58"/>
                </a:lnTo>
                <a:lnTo>
                  <a:pt x="30" y="48"/>
                </a:lnTo>
                <a:lnTo>
                  <a:pt x="38" y="38"/>
                </a:lnTo>
                <a:lnTo>
                  <a:pt x="48" y="30"/>
                </a:lnTo>
                <a:lnTo>
                  <a:pt x="58" y="22"/>
                </a:lnTo>
                <a:lnTo>
                  <a:pt x="69" y="16"/>
                </a:lnTo>
                <a:lnTo>
                  <a:pt x="81" y="10"/>
                </a:lnTo>
                <a:lnTo>
                  <a:pt x="93" y="6"/>
                </a:lnTo>
                <a:lnTo>
                  <a:pt x="105" y="2"/>
                </a:lnTo>
                <a:lnTo>
                  <a:pt x="118" y="0"/>
                </a:lnTo>
                <a:lnTo>
                  <a:pt x="132" y="0"/>
                </a:lnTo>
                <a:lnTo>
                  <a:pt x="901" y="0"/>
                </a:lnTo>
                <a:lnTo>
                  <a:pt x="901" y="0"/>
                </a:lnTo>
                <a:lnTo>
                  <a:pt x="915" y="0"/>
                </a:lnTo>
                <a:lnTo>
                  <a:pt x="928" y="2"/>
                </a:lnTo>
                <a:lnTo>
                  <a:pt x="940" y="6"/>
                </a:lnTo>
                <a:lnTo>
                  <a:pt x="952" y="10"/>
                </a:lnTo>
                <a:lnTo>
                  <a:pt x="964" y="16"/>
                </a:lnTo>
                <a:lnTo>
                  <a:pt x="975" y="22"/>
                </a:lnTo>
                <a:lnTo>
                  <a:pt x="985" y="30"/>
                </a:lnTo>
                <a:lnTo>
                  <a:pt x="995" y="38"/>
                </a:lnTo>
                <a:lnTo>
                  <a:pt x="1002" y="48"/>
                </a:lnTo>
                <a:lnTo>
                  <a:pt x="1010" y="58"/>
                </a:lnTo>
                <a:lnTo>
                  <a:pt x="1017" y="69"/>
                </a:lnTo>
                <a:lnTo>
                  <a:pt x="1022" y="80"/>
                </a:lnTo>
                <a:lnTo>
                  <a:pt x="1027" y="93"/>
                </a:lnTo>
                <a:lnTo>
                  <a:pt x="1030" y="105"/>
                </a:lnTo>
                <a:lnTo>
                  <a:pt x="1032" y="118"/>
                </a:lnTo>
                <a:lnTo>
                  <a:pt x="1032" y="131"/>
                </a:lnTo>
                <a:lnTo>
                  <a:pt x="1032" y="131"/>
                </a:lnTo>
                <a:lnTo>
                  <a:pt x="1032" y="131"/>
                </a:lnTo>
                <a:lnTo>
                  <a:pt x="1032" y="145"/>
                </a:lnTo>
                <a:lnTo>
                  <a:pt x="1030" y="158"/>
                </a:lnTo>
                <a:lnTo>
                  <a:pt x="1027" y="171"/>
                </a:lnTo>
                <a:lnTo>
                  <a:pt x="1022" y="184"/>
                </a:lnTo>
                <a:lnTo>
                  <a:pt x="1017" y="195"/>
                </a:lnTo>
                <a:lnTo>
                  <a:pt x="1010" y="206"/>
                </a:lnTo>
                <a:lnTo>
                  <a:pt x="1002" y="216"/>
                </a:lnTo>
                <a:lnTo>
                  <a:pt x="995" y="225"/>
                </a:lnTo>
                <a:lnTo>
                  <a:pt x="985" y="234"/>
                </a:lnTo>
                <a:lnTo>
                  <a:pt x="975" y="242"/>
                </a:lnTo>
                <a:lnTo>
                  <a:pt x="964" y="248"/>
                </a:lnTo>
                <a:lnTo>
                  <a:pt x="952" y="254"/>
                </a:lnTo>
                <a:lnTo>
                  <a:pt x="940" y="258"/>
                </a:lnTo>
                <a:lnTo>
                  <a:pt x="928" y="262"/>
                </a:lnTo>
                <a:lnTo>
                  <a:pt x="915" y="263"/>
                </a:lnTo>
                <a:lnTo>
                  <a:pt x="901" y="264"/>
                </a:lnTo>
                <a:lnTo>
                  <a:pt x="901" y="26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9" name="Freeform 64">
            <a:extLst>
              <a:ext uri="{FF2B5EF4-FFF2-40B4-BE49-F238E27FC236}">
                <a16:creationId xmlns:a16="http://schemas.microsoft.com/office/drawing/2014/main" id="{3B71F8CA-B564-4657-A016-05D4B8AACFD1}"/>
              </a:ext>
            </a:extLst>
          </p:cNvPr>
          <p:cNvSpPr>
            <a:spLocks/>
          </p:cNvSpPr>
          <p:nvPr/>
        </p:nvSpPr>
        <p:spPr bwMode="auto">
          <a:xfrm>
            <a:off x="2348973" y="2833451"/>
            <a:ext cx="268816" cy="68767"/>
          </a:xfrm>
          <a:custGeom>
            <a:avLst/>
            <a:gdLst>
              <a:gd name="T0" fmla="*/ 132 w 1032"/>
              <a:gd name="T1" fmla="*/ 264 h 264"/>
              <a:gd name="T2" fmla="*/ 118 w 1032"/>
              <a:gd name="T3" fmla="*/ 263 h 264"/>
              <a:gd name="T4" fmla="*/ 93 w 1032"/>
              <a:gd name="T5" fmla="*/ 258 h 264"/>
              <a:gd name="T6" fmla="*/ 69 w 1032"/>
              <a:gd name="T7" fmla="*/ 248 h 264"/>
              <a:gd name="T8" fmla="*/ 48 w 1032"/>
              <a:gd name="T9" fmla="*/ 234 h 264"/>
              <a:gd name="T10" fmla="*/ 30 w 1032"/>
              <a:gd name="T11" fmla="*/ 216 h 264"/>
              <a:gd name="T12" fmla="*/ 16 w 1032"/>
              <a:gd name="T13" fmla="*/ 195 h 264"/>
              <a:gd name="T14" fmla="*/ 6 w 1032"/>
              <a:gd name="T15" fmla="*/ 171 h 264"/>
              <a:gd name="T16" fmla="*/ 0 w 1032"/>
              <a:gd name="T17" fmla="*/ 145 h 264"/>
              <a:gd name="T18" fmla="*/ 0 w 1032"/>
              <a:gd name="T19" fmla="*/ 131 h 264"/>
              <a:gd name="T20" fmla="*/ 0 w 1032"/>
              <a:gd name="T21" fmla="*/ 118 h 264"/>
              <a:gd name="T22" fmla="*/ 6 w 1032"/>
              <a:gd name="T23" fmla="*/ 93 h 264"/>
              <a:gd name="T24" fmla="*/ 16 w 1032"/>
              <a:gd name="T25" fmla="*/ 69 h 264"/>
              <a:gd name="T26" fmla="*/ 30 w 1032"/>
              <a:gd name="T27" fmla="*/ 48 h 264"/>
              <a:gd name="T28" fmla="*/ 48 w 1032"/>
              <a:gd name="T29" fmla="*/ 30 h 264"/>
              <a:gd name="T30" fmla="*/ 69 w 1032"/>
              <a:gd name="T31" fmla="*/ 16 h 264"/>
              <a:gd name="T32" fmla="*/ 93 w 1032"/>
              <a:gd name="T33" fmla="*/ 6 h 264"/>
              <a:gd name="T34" fmla="*/ 118 w 1032"/>
              <a:gd name="T35" fmla="*/ 0 h 264"/>
              <a:gd name="T36" fmla="*/ 901 w 1032"/>
              <a:gd name="T37" fmla="*/ 0 h 264"/>
              <a:gd name="T38" fmla="*/ 915 w 1032"/>
              <a:gd name="T39" fmla="*/ 0 h 264"/>
              <a:gd name="T40" fmla="*/ 940 w 1032"/>
              <a:gd name="T41" fmla="*/ 6 h 264"/>
              <a:gd name="T42" fmla="*/ 964 w 1032"/>
              <a:gd name="T43" fmla="*/ 16 h 264"/>
              <a:gd name="T44" fmla="*/ 985 w 1032"/>
              <a:gd name="T45" fmla="*/ 30 h 264"/>
              <a:gd name="T46" fmla="*/ 1002 w 1032"/>
              <a:gd name="T47" fmla="*/ 48 h 264"/>
              <a:gd name="T48" fmla="*/ 1017 w 1032"/>
              <a:gd name="T49" fmla="*/ 69 h 264"/>
              <a:gd name="T50" fmla="*/ 1027 w 1032"/>
              <a:gd name="T51" fmla="*/ 93 h 264"/>
              <a:gd name="T52" fmla="*/ 1032 w 1032"/>
              <a:gd name="T53" fmla="*/ 118 h 264"/>
              <a:gd name="T54" fmla="*/ 1032 w 1032"/>
              <a:gd name="T55" fmla="*/ 131 h 264"/>
              <a:gd name="T56" fmla="*/ 1032 w 1032"/>
              <a:gd name="T57" fmla="*/ 145 h 264"/>
              <a:gd name="T58" fmla="*/ 1027 w 1032"/>
              <a:gd name="T59" fmla="*/ 171 h 264"/>
              <a:gd name="T60" fmla="*/ 1017 w 1032"/>
              <a:gd name="T61" fmla="*/ 195 h 264"/>
              <a:gd name="T62" fmla="*/ 1002 w 1032"/>
              <a:gd name="T63" fmla="*/ 216 h 264"/>
              <a:gd name="T64" fmla="*/ 985 w 1032"/>
              <a:gd name="T65" fmla="*/ 234 h 264"/>
              <a:gd name="T66" fmla="*/ 964 w 1032"/>
              <a:gd name="T67" fmla="*/ 248 h 264"/>
              <a:gd name="T68" fmla="*/ 940 w 1032"/>
              <a:gd name="T69" fmla="*/ 258 h 264"/>
              <a:gd name="T70" fmla="*/ 915 w 1032"/>
              <a:gd name="T71" fmla="*/ 263 h 264"/>
              <a:gd name="T72" fmla="*/ 901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1" y="264"/>
                </a:moveTo>
                <a:lnTo>
                  <a:pt x="132" y="264"/>
                </a:lnTo>
                <a:lnTo>
                  <a:pt x="132" y="264"/>
                </a:lnTo>
                <a:lnTo>
                  <a:pt x="118" y="263"/>
                </a:lnTo>
                <a:lnTo>
                  <a:pt x="105" y="262"/>
                </a:lnTo>
                <a:lnTo>
                  <a:pt x="93" y="258"/>
                </a:lnTo>
                <a:lnTo>
                  <a:pt x="81" y="254"/>
                </a:lnTo>
                <a:lnTo>
                  <a:pt x="69" y="248"/>
                </a:lnTo>
                <a:lnTo>
                  <a:pt x="58" y="242"/>
                </a:lnTo>
                <a:lnTo>
                  <a:pt x="48" y="234"/>
                </a:lnTo>
                <a:lnTo>
                  <a:pt x="38" y="225"/>
                </a:lnTo>
                <a:lnTo>
                  <a:pt x="30" y="216"/>
                </a:lnTo>
                <a:lnTo>
                  <a:pt x="23" y="206"/>
                </a:lnTo>
                <a:lnTo>
                  <a:pt x="16" y="195"/>
                </a:lnTo>
                <a:lnTo>
                  <a:pt x="10" y="184"/>
                </a:lnTo>
                <a:lnTo>
                  <a:pt x="6" y="171"/>
                </a:lnTo>
                <a:lnTo>
                  <a:pt x="3" y="158"/>
                </a:lnTo>
                <a:lnTo>
                  <a:pt x="0" y="145"/>
                </a:lnTo>
                <a:lnTo>
                  <a:pt x="0" y="131"/>
                </a:lnTo>
                <a:lnTo>
                  <a:pt x="0" y="131"/>
                </a:lnTo>
                <a:lnTo>
                  <a:pt x="0" y="131"/>
                </a:lnTo>
                <a:lnTo>
                  <a:pt x="0" y="118"/>
                </a:lnTo>
                <a:lnTo>
                  <a:pt x="3" y="105"/>
                </a:lnTo>
                <a:lnTo>
                  <a:pt x="6" y="93"/>
                </a:lnTo>
                <a:lnTo>
                  <a:pt x="10" y="80"/>
                </a:lnTo>
                <a:lnTo>
                  <a:pt x="16" y="69"/>
                </a:lnTo>
                <a:lnTo>
                  <a:pt x="23" y="58"/>
                </a:lnTo>
                <a:lnTo>
                  <a:pt x="30" y="48"/>
                </a:lnTo>
                <a:lnTo>
                  <a:pt x="38" y="38"/>
                </a:lnTo>
                <a:lnTo>
                  <a:pt x="48" y="30"/>
                </a:lnTo>
                <a:lnTo>
                  <a:pt x="58" y="22"/>
                </a:lnTo>
                <a:lnTo>
                  <a:pt x="69" y="16"/>
                </a:lnTo>
                <a:lnTo>
                  <a:pt x="81" y="10"/>
                </a:lnTo>
                <a:lnTo>
                  <a:pt x="93" y="6"/>
                </a:lnTo>
                <a:lnTo>
                  <a:pt x="105" y="2"/>
                </a:lnTo>
                <a:lnTo>
                  <a:pt x="118" y="0"/>
                </a:lnTo>
                <a:lnTo>
                  <a:pt x="132" y="0"/>
                </a:lnTo>
                <a:lnTo>
                  <a:pt x="901" y="0"/>
                </a:lnTo>
                <a:lnTo>
                  <a:pt x="901" y="0"/>
                </a:lnTo>
                <a:lnTo>
                  <a:pt x="915" y="0"/>
                </a:lnTo>
                <a:lnTo>
                  <a:pt x="928" y="2"/>
                </a:lnTo>
                <a:lnTo>
                  <a:pt x="940" y="6"/>
                </a:lnTo>
                <a:lnTo>
                  <a:pt x="952" y="10"/>
                </a:lnTo>
                <a:lnTo>
                  <a:pt x="964" y="16"/>
                </a:lnTo>
                <a:lnTo>
                  <a:pt x="975" y="22"/>
                </a:lnTo>
                <a:lnTo>
                  <a:pt x="985" y="30"/>
                </a:lnTo>
                <a:lnTo>
                  <a:pt x="995" y="38"/>
                </a:lnTo>
                <a:lnTo>
                  <a:pt x="1002" y="48"/>
                </a:lnTo>
                <a:lnTo>
                  <a:pt x="1010" y="58"/>
                </a:lnTo>
                <a:lnTo>
                  <a:pt x="1017" y="69"/>
                </a:lnTo>
                <a:lnTo>
                  <a:pt x="1022" y="80"/>
                </a:lnTo>
                <a:lnTo>
                  <a:pt x="1027" y="93"/>
                </a:lnTo>
                <a:lnTo>
                  <a:pt x="1030" y="105"/>
                </a:lnTo>
                <a:lnTo>
                  <a:pt x="1032" y="118"/>
                </a:lnTo>
                <a:lnTo>
                  <a:pt x="1032" y="131"/>
                </a:lnTo>
                <a:lnTo>
                  <a:pt x="1032" y="131"/>
                </a:lnTo>
                <a:lnTo>
                  <a:pt x="1032" y="131"/>
                </a:lnTo>
                <a:lnTo>
                  <a:pt x="1032" y="145"/>
                </a:lnTo>
                <a:lnTo>
                  <a:pt x="1030" y="158"/>
                </a:lnTo>
                <a:lnTo>
                  <a:pt x="1027" y="171"/>
                </a:lnTo>
                <a:lnTo>
                  <a:pt x="1022" y="184"/>
                </a:lnTo>
                <a:lnTo>
                  <a:pt x="1017" y="195"/>
                </a:lnTo>
                <a:lnTo>
                  <a:pt x="1010" y="206"/>
                </a:lnTo>
                <a:lnTo>
                  <a:pt x="1002" y="216"/>
                </a:lnTo>
                <a:lnTo>
                  <a:pt x="995" y="225"/>
                </a:lnTo>
                <a:lnTo>
                  <a:pt x="985" y="234"/>
                </a:lnTo>
                <a:lnTo>
                  <a:pt x="975" y="242"/>
                </a:lnTo>
                <a:lnTo>
                  <a:pt x="964" y="248"/>
                </a:lnTo>
                <a:lnTo>
                  <a:pt x="952" y="254"/>
                </a:lnTo>
                <a:lnTo>
                  <a:pt x="940" y="258"/>
                </a:lnTo>
                <a:lnTo>
                  <a:pt x="928" y="262"/>
                </a:lnTo>
                <a:lnTo>
                  <a:pt x="915" y="263"/>
                </a:lnTo>
                <a:lnTo>
                  <a:pt x="901" y="264"/>
                </a:lnTo>
                <a:lnTo>
                  <a:pt x="901" y="264"/>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7" name="Ellipse 306">
            <a:extLst>
              <a:ext uri="{FF2B5EF4-FFF2-40B4-BE49-F238E27FC236}">
                <a16:creationId xmlns:a16="http://schemas.microsoft.com/office/drawing/2014/main" id="{75D741CD-D9A9-4F84-8470-B84FF8C86F5C}"/>
              </a:ext>
            </a:extLst>
          </p:cNvPr>
          <p:cNvSpPr/>
          <p:nvPr/>
        </p:nvSpPr>
        <p:spPr bwMode="auto">
          <a:xfrm>
            <a:off x="2251633"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26" name="Freeform 64">
            <a:extLst>
              <a:ext uri="{FF2B5EF4-FFF2-40B4-BE49-F238E27FC236}">
                <a16:creationId xmlns:a16="http://schemas.microsoft.com/office/drawing/2014/main" id="{E86B854A-C5F4-45E2-AD80-AE440564A2BB}"/>
              </a:ext>
            </a:extLst>
          </p:cNvPr>
          <p:cNvSpPr>
            <a:spLocks/>
          </p:cNvSpPr>
          <p:nvPr/>
        </p:nvSpPr>
        <p:spPr bwMode="auto">
          <a:xfrm>
            <a:off x="2348973" y="4079343"/>
            <a:ext cx="268816" cy="68767"/>
          </a:xfrm>
          <a:custGeom>
            <a:avLst/>
            <a:gdLst>
              <a:gd name="T0" fmla="*/ 132 w 1032"/>
              <a:gd name="T1" fmla="*/ 264 h 264"/>
              <a:gd name="T2" fmla="*/ 118 w 1032"/>
              <a:gd name="T3" fmla="*/ 263 h 264"/>
              <a:gd name="T4" fmla="*/ 93 w 1032"/>
              <a:gd name="T5" fmla="*/ 258 h 264"/>
              <a:gd name="T6" fmla="*/ 69 w 1032"/>
              <a:gd name="T7" fmla="*/ 248 h 264"/>
              <a:gd name="T8" fmla="*/ 48 w 1032"/>
              <a:gd name="T9" fmla="*/ 234 h 264"/>
              <a:gd name="T10" fmla="*/ 30 w 1032"/>
              <a:gd name="T11" fmla="*/ 216 h 264"/>
              <a:gd name="T12" fmla="*/ 16 w 1032"/>
              <a:gd name="T13" fmla="*/ 195 h 264"/>
              <a:gd name="T14" fmla="*/ 6 w 1032"/>
              <a:gd name="T15" fmla="*/ 171 h 264"/>
              <a:gd name="T16" fmla="*/ 0 w 1032"/>
              <a:gd name="T17" fmla="*/ 145 h 264"/>
              <a:gd name="T18" fmla="*/ 0 w 1032"/>
              <a:gd name="T19" fmla="*/ 131 h 264"/>
              <a:gd name="T20" fmla="*/ 0 w 1032"/>
              <a:gd name="T21" fmla="*/ 118 h 264"/>
              <a:gd name="T22" fmla="*/ 6 w 1032"/>
              <a:gd name="T23" fmla="*/ 93 h 264"/>
              <a:gd name="T24" fmla="*/ 16 w 1032"/>
              <a:gd name="T25" fmla="*/ 69 h 264"/>
              <a:gd name="T26" fmla="*/ 30 w 1032"/>
              <a:gd name="T27" fmla="*/ 48 h 264"/>
              <a:gd name="T28" fmla="*/ 48 w 1032"/>
              <a:gd name="T29" fmla="*/ 30 h 264"/>
              <a:gd name="T30" fmla="*/ 69 w 1032"/>
              <a:gd name="T31" fmla="*/ 16 h 264"/>
              <a:gd name="T32" fmla="*/ 93 w 1032"/>
              <a:gd name="T33" fmla="*/ 6 h 264"/>
              <a:gd name="T34" fmla="*/ 118 w 1032"/>
              <a:gd name="T35" fmla="*/ 0 h 264"/>
              <a:gd name="T36" fmla="*/ 901 w 1032"/>
              <a:gd name="T37" fmla="*/ 0 h 264"/>
              <a:gd name="T38" fmla="*/ 915 w 1032"/>
              <a:gd name="T39" fmla="*/ 0 h 264"/>
              <a:gd name="T40" fmla="*/ 940 w 1032"/>
              <a:gd name="T41" fmla="*/ 6 h 264"/>
              <a:gd name="T42" fmla="*/ 964 w 1032"/>
              <a:gd name="T43" fmla="*/ 16 h 264"/>
              <a:gd name="T44" fmla="*/ 985 w 1032"/>
              <a:gd name="T45" fmla="*/ 30 h 264"/>
              <a:gd name="T46" fmla="*/ 1002 w 1032"/>
              <a:gd name="T47" fmla="*/ 48 h 264"/>
              <a:gd name="T48" fmla="*/ 1017 w 1032"/>
              <a:gd name="T49" fmla="*/ 69 h 264"/>
              <a:gd name="T50" fmla="*/ 1027 w 1032"/>
              <a:gd name="T51" fmla="*/ 93 h 264"/>
              <a:gd name="T52" fmla="*/ 1032 w 1032"/>
              <a:gd name="T53" fmla="*/ 118 h 264"/>
              <a:gd name="T54" fmla="*/ 1032 w 1032"/>
              <a:gd name="T55" fmla="*/ 131 h 264"/>
              <a:gd name="T56" fmla="*/ 1032 w 1032"/>
              <a:gd name="T57" fmla="*/ 145 h 264"/>
              <a:gd name="T58" fmla="*/ 1027 w 1032"/>
              <a:gd name="T59" fmla="*/ 171 h 264"/>
              <a:gd name="T60" fmla="*/ 1017 w 1032"/>
              <a:gd name="T61" fmla="*/ 195 h 264"/>
              <a:gd name="T62" fmla="*/ 1002 w 1032"/>
              <a:gd name="T63" fmla="*/ 216 h 264"/>
              <a:gd name="T64" fmla="*/ 985 w 1032"/>
              <a:gd name="T65" fmla="*/ 234 h 264"/>
              <a:gd name="T66" fmla="*/ 964 w 1032"/>
              <a:gd name="T67" fmla="*/ 248 h 264"/>
              <a:gd name="T68" fmla="*/ 940 w 1032"/>
              <a:gd name="T69" fmla="*/ 258 h 264"/>
              <a:gd name="T70" fmla="*/ 915 w 1032"/>
              <a:gd name="T71" fmla="*/ 263 h 264"/>
              <a:gd name="T72" fmla="*/ 901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1" y="264"/>
                </a:moveTo>
                <a:lnTo>
                  <a:pt x="132" y="264"/>
                </a:lnTo>
                <a:lnTo>
                  <a:pt x="132" y="264"/>
                </a:lnTo>
                <a:lnTo>
                  <a:pt x="118" y="263"/>
                </a:lnTo>
                <a:lnTo>
                  <a:pt x="105" y="262"/>
                </a:lnTo>
                <a:lnTo>
                  <a:pt x="93" y="258"/>
                </a:lnTo>
                <a:lnTo>
                  <a:pt x="81" y="254"/>
                </a:lnTo>
                <a:lnTo>
                  <a:pt x="69" y="248"/>
                </a:lnTo>
                <a:lnTo>
                  <a:pt x="58" y="242"/>
                </a:lnTo>
                <a:lnTo>
                  <a:pt x="48" y="234"/>
                </a:lnTo>
                <a:lnTo>
                  <a:pt x="38" y="225"/>
                </a:lnTo>
                <a:lnTo>
                  <a:pt x="30" y="216"/>
                </a:lnTo>
                <a:lnTo>
                  <a:pt x="23" y="206"/>
                </a:lnTo>
                <a:lnTo>
                  <a:pt x="16" y="195"/>
                </a:lnTo>
                <a:lnTo>
                  <a:pt x="10" y="184"/>
                </a:lnTo>
                <a:lnTo>
                  <a:pt x="6" y="171"/>
                </a:lnTo>
                <a:lnTo>
                  <a:pt x="3" y="158"/>
                </a:lnTo>
                <a:lnTo>
                  <a:pt x="0" y="145"/>
                </a:lnTo>
                <a:lnTo>
                  <a:pt x="0" y="131"/>
                </a:lnTo>
                <a:lnTo>
                  <a:pt x="0" y="131"/>
                </a:lnTo>
                <a:lnTo>
                  <a:pt x="0" y="131"/>
                </a:lnTo>
                <a:lnTo>
                  <a:pt x="0" y="118"/>
                </a:lnTo>
                <a:lnTo>
                  <a:pt x="3" y="105"/>
                </a:lnTo>
                <a:lnTo>
                  <a:pt x="6" y="93"/>
                </a:lnTo>
                <a:lnTo>
                  <a:pt x="10" y="80"/>
                </a:lnTo>
                <a:lnTo>
                  <a:pt x="16" y="69"/>
                </a:lnTo>
                <a:lnTo>
                  <a:pt x="23" y="58"/>
                </a:lnTo>
                <a:lnTo>
                  <a:pt x="30" y="48"/>
                </a:lnTo>
                <a:lnTo>
                  <a:pt x="38" y="38"/>
                </a:lnTo>
                <a:lnTo>
                  <a:pt x="48" y="30"/>
                </a:lnTo>
                <a:lnTo>
                  <a:pt x="58" y="22"/>
                </a:lnTo>
                <a:lnTo>
                  <a:pt x="69" y="16"/>
                </a:lnTo>
                <a:lnTo>
                  <a:pt x="81" y="10"/>
                </a:lnTo>
                <a:lnTo>
                  <a:pt x="93" y="6"/>
                </a:lnTo>
                <a:lnTo>
                  <a:pt x="105" y="2"/>
                </a:lnTo>
                <a:lnTo>
                  <a:pt x="118" y="0"/>
                </a:lnTo>
                <a:lnTo>
                  <a:pt x="132" y="0"/>
                </a:lnTo>
                <a:lnTo>
                  <a:pt x="901" y="0"/>
                </a:lnTo>
                <a:lnTo>
                  <a:pt x="901" y="0"/>
                </a:lnTo>
                <a:lnTo>
                  <a:pt x="915" y="0"/>
                </a:lnTo>
                <a:lnTo>
                  <a:pt x="928" y="2"/>
                </a:lnTo>
                <a:lnTo>
                  <a:pt x="940" y="6"/>
                </a:lnTo>
                <a:lnTo>
                  <a:pt x="952" y="10"/>
                </a:lnTo>
                <a:lnTo>
                  <a:pt x="964" y="16"/>
                </a:lnTo>
                <a:lnTo>
                  <a:pt x="975" y="22"/>
                </a:lnTo>
                <a:lnTo>
                  <a:pt x="985" y="30"/>
                </a:lnTo>
                <a:lnTo>
                  <a:pt x="995" y="38"/>
                </a:lnTo>
                <a:lnTo>
                  <a:pt x="1002" y="48"/>
                </a:lnTo>
                <a:lnTo>
                  <a:pt x="1010" y="58"/>
                </a:lnTo>
                <a:lnTo>
                  <a:pt x="1017" y="69"/>
                </a:lnTo>
                <a:lnTo>
                  <a:pt x="1022" y="80"/>
                </a:lnTo>
                <a:lnTo>
                  <a:pt x="1027" y="93"/>
                </a:lnTo>
                <a:lnTo>
                  <a:pt x="1030" y="105"/>
                </a:lnTo>
                <a:lnTo>
                  <a:pt x="1032" y="118"/>
                </a:lnTo>
                <a:lnTo>
                  <a:pt x="1032" y="131"/>
                </a:lnTo>
                <a:lnTo>
                  <a:pt x="1032" y="131"/>
                </a:lnTo>
                <a:lnTo>
                  <a:pt x="1032" y="131"/>
                </a:lnTo>
                <a:lnTo>
                  <a:pt x="1032" y="145"/>
                </a:lnTo>
                <a:lnTo>
                  <a:pt x="1030" y="158"/>
                </a:lnTo>
                <a:lnTo>
                  <a:pt x="1027" y="171"/>
                </a:lnTo>
                <a:lnTo>
                  <a:pt x="1022" y="184"/>
                </a:lnTo>
                <a:lnTo>
                  <a:pt x="1017" y="195"/>
                </a:lnTo>
                <a:lnTo>
                  <a:pt x="1010" y="206"/>
                </a:lnTo>
                <a:lnTo>
                  <a:pt x="1002" y="216"/>
                </a:lnTo>
                <a:lnTo>
                  <a:pt x="995" y="225"/>
                </a:lnTo>
                <a:lnTo>
                  <a:pt x="985" y="234"/>
                </a:lnTo>
                <a:lnTo>
                  <a:pt x="975" y="242"/>
                </a:lnTo>
                <a:lnTo>
                  <a:pt x="964" y="248"/>
                </a:lnTo>
                <a:lnTo>
                  <a:pt x="952" y="254"/>
                </a:lnTo>
                <a:lnTo>
                  <a:pt x="940" y="258"/>
                </a:lnTo>
                <a:lnTo>
                  <a:pt x="928" y="262"/>
                </a:lnTo>
                <a:lnTo>
                  <a:pt x="915" y="263"/>
                </a:lnTo>
                <a:lnTo>
                  <a:pt x="901" y="264"/>
                </a:lnTo>
                <a:lnTo>
                  <a:pt x="901" y="2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51" name="Ellipse 50"/>
          <p:cNvSpPr/>
          <p:nvPr/>
        </p:nvSpPr>
        <p:spPr bwMode="auto">
          <a:xfrm>
            <a:off x="2907377"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75" name="Freeform 68">
            <a:extLst>
              <a:ext uri="{FF2B5EF4-FFF2-40B4-BE49-F238E27FC236}">
                <a16:creationId xmlns:a16="http://schemas.microsoft.com/office/drawing/2014/main" id="{D515A87F-BF00-482C-9A6F-DFD3C3311F2E}"/>
              </a:ext>
            </a:extLst>
          </p:cNvPr>
          <p:cNvSpPr>
            <a:spLocks/>
          </p:cNvSpPr>
          <p:nvPr/>
        </p:nvSpPr>
        <p:spPr bwMode="auto">
          <a:xfrm>
            <a:off x="2917196" y="3245980"/>
            <a:ext cx="443858" cy="443858"/>
          </a:xfrm>
          <a:custGeom>
            <a:avLst/>
            <a:gdLst>
              <a:gd name="T0" fmla="*/ 1709 w 1710"/>
              <a:gd name="T1" fmla="*/ 899 h 1710"/>
              <a:gd name="T2" fmla="*/ 1693 w 1710"/>
              <a:gd name="T3" fmla="*/ 1028 h 1710"/>
              <a:gd name="T4" fmla="*/ 1658 w 1710"/>
              <a:gd name="T5" fmla="*/ 1149 h 1710"/>
              <a:gd name="T6" fmla="*/ 1607 w 1710"/>
              <a:gd name="T7" fmla="*/ 1263 h 1710"/>
              <a:gd name="T8" fmla="*/ 1541 w 1710"/>
              <a:gd name="T9" fmla="*/ 1366 h 1710"/>
              <a:gd name="T10" fmla="*/ 1459 w 1710"/>
              <a:gd name="T11" fmla="*/ 1459 h 1710"/>
              <a:gd name="T12" fmla="*/ 1367 w 1710"/>
              <a:gd name="T13" fmla="*/ 1541 h 1710"/>
              <a:gd name="T14" fmla="*/ 1263 w 1710"/>
              <a:gd name="T15" fmla="*/ 1606 h 1710"/>
              <a:gd name="T16" fmla="*/ 1149 w 1710"/>
              <a:gd name="T17" fmla="*/ 1658 h 1710"/>
              <a:gd name="T18" fmla="*/ 1028 w 1710"/>
              <a:gd name="T19" fmla="*/ 1693 h 1710"/>
              <a:gd name="T20" fmla="*/ 899 w 1710"/>
              <a:gd name="T21" fmla="*/ 1709 h 1710"/>
              <a:gd name="T22" fmla="*/ 811 w 1710"/>
              <a:gd name="T23" fmla="*/ 1709 h 1710"/>
              <a:gd name="T24" fmla="*/ 683 w 1710"/>
              <a:gd name="T25" fmla="*/ 1693 h 1710"/>
              <a:gd name="T26" fmla="*/ 562 w 1710"/>
              <a:gd name="T27" fmla="*/ 1658 h 1710"/>
              <a:gd name="T28" fmla="*/ 449 w 1710"/>
              <a:gd name="T29" fmla="*/ 1606 h 1710"/>
              <a:gd name="T30" fmla="*/ 344 w 1710"/>
              <a:gd name="T31" fmla="*/ 1541 h 1710"/>
              <a:gd name="T32" fmla="*/ 252 w 1710"/>
              <a:gd name="T33" fmla="*/ 1459 h 1710"/>
              <a:gd name="T34" fmla="*/ 171 w 1710"/>
              <a:gd name="T35" fmla="*/ 1366 h 1710"/>
              <a:gd name="T36" fmla="*/ 104 w 1710"/>
              <a:gd name="T37" fmla="*/ 1263 h 1710"/>
              <a:gd name="T38" fmla="*/ 53 w 1710"/>
              <a:gd name="T39" fmla="*/ 1149 h 1710"/>
              <a:gd name="T40" fmla="*/ 18 w 1710"/>
              <a:gd name="T41" fmla="*/ 1028 h 1710"/>
              <a:gd name="T42" fmla="*/ 1 w 1710"/>
              <a:gd name="T43" fmla="*/ 899 h 1710"/>
              <a:gd name="T44" fmla="*/ 1 w 1710"/>
              <a:gd name="T45" fmla="*/ 811 h 1710"/>
              <a:gd name="T46" fmla="*/ 18 w 1710"/>
              <a:gd name="T47" fmla="*/ 683 h 1710"/>
              <a:gd name="T48" fmla="*/ 53 w 1710"/>
              <a:gd name="T49" fmla="*/ 561 h 1710"/>
              <a:gd name="T50" fmla="*/ 104 w 1710"/>
              <a:gd name="T51" fmla="*/ 447 h 1710"/>
              <a:gd name="T52" fmla="*/ 171 w 1710"/>
              <a:gd name="T53" fmla="*/ 344 h 1710"/>
              <a:gd name="T54" fmla="*/ 252 w 1710"/>
              <a:gd name="T55" fmla="*/ 251 h 1710"/>
              <a:gd name="T56" fmla="*/ 344 w 1710"/>
              <a:gd name="T57" fmla="*/ 171 h 1710"/>
              <a:gd name="T58" fmla="*/ 449 w 1710"/>
              <a:gd name="T59" fmla="*/ 104 h 1710"/>
              <a:gd name="T60" fmla="*/ 562 w 1710"/>
              <a:gd name="T61" fmla="*/ 53 h 1710"/>
              <a:gd name="T62" fmla="*/ 683 w 1710"/>
              <a:gd name="T63" fmla="*/ 18 h 1710"/>
              <a:gd name="T64" fmla="*/ 811 w 1710"/>
              <a:gd name="T65" fmla="*/ 1 h 1710"/>
              <a:gd name="T66" fmla="*/ 899 w 1710"/>
              <a:gd name="T67" fmla="*/ 1 h 1710"/>
              <a:gd name="T68" fmla="*/ 1028 w 1710"/>
              <a:gd name="T69" fmla="*/ 18 h 1710"/>
              <a:gd name="T70" fmla="*/ 1149 w 1710"/>
              <a:gd name="T71" fmla="*/ 53 h 1710"/>
              <a:gd name="T72" fmla="*/ 1263 w 1710"/>
              <a:gd name="T73" fmla="*/ 104 h 1710"/>
              <a:gd name="T74" fmla="*/ 1367 w 1710"/>
              <a:gd name="T75" fmla="*/ 171 h 1710"/>
              <a:gd name="T76" fmla="*/ 1459 w 1710"/>
              <a:gd name="T77" fmla="*/ 251 h 1710"/>
              <a:gd name="T78" fmla="*/ 1541 w 1710"/>
              <a:gd name="T79" fmla="*/ 344 h 1710"/>
              <a:gd name="T80" fmla="*/ 1607 w 1710"/>
              <a:gd name="T81" fmla="*/ 447 h 1710"/>
              <a:gd name="T82" fmla="*/ 1658 w 1710"/>
              <a:gd name="T83" fmla="*/ 561 h 1710"/>
              <a:gd name="T84" fmla="*/ 1693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899"/>
                </a:lnTo>
                <a:lnTo>
                  <a:pt x="1705" y="942"/>
                </a:lnTo>
                <a:lnTo>
                  <a:pt x="1701" y="986"/>
                </a:lnTo>
                <a:lnTo>
                  <a:pt x="1693" y="1028"/>
                </a:lnTo>
                <a:lnTo>
                  <a:pt x="1683" y="1069"/>
                </a:lnTo>
                <a:lnTo>
                  <a:pt x="1672" y="1109"/>
                </a:lnTo>
                <a:lnTo>
                  <a:pt x="1658" y="1149"/>
                </a:lnTo>
                <a:lnTo>
                  <a:pt x="1643" y="1188"/>
                </a:lnTo>
                <a:lnTo>
                  <a:pt x="1626" y="1226"/>
                </a:lnTo>
                <a:lnTo>
                  <a:pt x="1607" y="1263"/>
                </a:lnTo>
                <a:lnTo>
                  <a:pt x="1586" y="1298"/>
                </a:lnTo>
                <a:lnTo>
                  <a:pt x="1564" y="1333"/>
                </a:lnTo>
                <a:lnTo>
                  <a:pt x="1541" y="1366"/>
                </a:lnTo>
                <a:lnTo>
                  <a:pt x="1515" y="1399"/>
                </a:lnTo>
                <a:lnTo>
                  <a:pt x="1488" y="1429"/>
                </a:lnTo>
                <a:lnTo>
                  <a:pt x="1459" y="1459"/>
                </a:lnTo>
                <a:lnTo>
                  <a:pt x="1431" y="1488"/>
                </a:lnTo>
                <a:lnTo>
                  <a:pt x="1399" y="1515"/>
                </a:lnTo>
                <a:lnTo>
                  <a:pt x="1367" y="1541"/>
                </a:lnTo>
                <a:lnTo>
                  <a:pt x="1334" y="1564"/>
                </a:lnTo>
                <a:lnTo>
                  <a:pt x="1298" y="1586"/>
                </a:lnTo>
                <a:lnTo>
                  <a:pt x="1263" y="1606"/>
                </a:lnTo>
                <a:lnTo>
                  <a:pt x="1226" y="1625"/>
                </a:lnTo>
                <a:lnTo>
                  <a:pt x="1188" y="1643"/>
                </a:lnTo>
                <a:lnTo>
                  <a:pt x="1149" y="1658"/>
                </a:lnTo>
                <a:lnTo>
                  <a:pt x="1109" y="1672"/>
                </a:lnTo>
                <a:lnTo>
                  <a:pt x="1069" y="1683"/>
                </a:lnTo>
                <a:lnTo>
                  <a:pt x="1028" y="1693"/>
                </a:lnTo>
                <a:lnTo>
                  <a:pt x="986" y="1700"/>
                </a:lnTo>
                <a:lnTo>
                  <a:pt x="942" y="1705"/>
                </a:lnTo>
                <a:lnTo>
                  <a:pt x="899" y="1709"/>
                </a:lnTo>
                <a:lnTo>
                  <a:pt x="856" y="1710"/>
                </a:lnTo>
                <a:lnTo>
                  <a:pt x="856" y="1710"/>
                </a:lnTo>
                <a:lnTo>
                  <a:pt x="811" y="1709"/>
                </a:lnTo>
                <a:lnTo>
                  <a:pt x="768" y="1705"/>
                </a:lnTo>
                <a:lnTo>
                  <a:pt x="725" y="1700"/>
                </a:lnTo>
                <a:lnTo>
                  <a:pt x="683" y="1693"/>
                </a:lnTo>
                <a:lnTo>
                  <a:pt x="642" y="1683"/>
                </a:lnTo>
                <a:lnTo>
                  <a:pt x="601" y="1672"/>
                </a:lnTo>
                <a:lnTo>
                  <a:pt x="562" y="1658"/>
                </a:lnTo>
                <a:lnTo>
                  <a:pt x="523" y="1643"/>
                </a:lnTo>
                <a:lnTo>
                  <a:pt x="485" y="1625"/>
                </a:lnTo>
                <a:lnTo>
                  <a:pt x="449" y="1606"/>
                </a:lnTo>
                <a:lnTo>
                  <a:pt x="412" y="1586"/>
                </a:lnTo>
                <a:lnTo>
                  <a:pt x="377" y="1564"/>
                </a:lnTo>
                <a:lnTo>
                  <a:pt x="344" y="1541"/>
                </a:lnTo>
                <a:lnTo>
                  <a:pt x="312" y="1515"/>
                </a:lnTo>
                <a:lnTo>
                  <a:pt x="281" y="1488"/>
                </a:lnTo>
                <a:lnTo>
                  <a:pt x="252" y="1459"/>
                </a:lnTo>
                <a:lnTo>
                  <a:pt x="223" y="1429"/>
                </a:lnTo>
                <a:lnTo>
                  <a:pt x="196" y="1399"/>
                </a:lnTo>
                <a:lnTo>
                  <a:pt x="171" y="1366"/>
                </a:lnTo>
                <a:lnTo>
                  <a:pt x="147" y="1333"/>
                </a:lnTo>
                <a:lnTo>
                  <a:pt x="125" y="1298"/>
                </a:lnTo>
                <a:lnTo>
                  <a:pt x="104" y="1263"/>
                </a:lnTo>
                <a:lnTo>
                  <a:pt x="85" y="1226"/>
                </a:lnTo>
                <a:lnTo>
                  <a:pt x="68" y="1188"/>
                </a:lnTo>
                <a:lnTo>
                  <a:pt x="53" y="1149"/>
                </a:lnTo>
                <a:lnTo>
                  <a:pt x="39" y="1109"/>
                </a:lnTo>
                <a:lnTo>
                  <a:pt x="28" y="1069"/>
                </a:lnTo>
                <a:lnTo>
                  <a:pt x="18" y="1028"/>
                </a:lnTo>
                <a:lnTo>
                  <a:pt x="10" y="986"/>
                </a:lnTo>
                <a:lnTo>
                  <a:pt x="5" y="942"/>
                </a:lnTo>
                <a:lnTo>
                  <a:pt x="1" y="899"/>
                </a:lnTo>
                <a:lnTo>
                  <a:pt x="0" y="856"/>
                </a:lnTo>
                <a:lnTo>
                  <a:pt x="0" y="856"/>
                </a:lnTo>
                <a:lnTo>
                  <a:pt x="1" y="811"/>
                </a:lnTo>
                <a:lnTo>
                  <a:pt x="5" y="768"/>
                </a:lnTo>
                <a:lnTo>
                  <a:pt x="10" y="725"/>
                </a:lnTo>
                <a:lnTo>
                  <a:pt x="18" y="683"/>
                </a:lnTo>
                <a:lnTo>
                  <a:pt x="28" y="642"/>
                </a:lnTo>
                <a:lnTo>
                  <a:pt x="39" y="601"/>
                </a:lnTo>
                <a:lnTo>
                  <a:pt x="53" y="561"/>
                </a:lnTo>
                <a:lnTo>
                  <a:pt x="68" y="523"/>
                </a:lnTo>
                <a:lnTo>
                  <a:pt x="85" y="485"/>
                </a:lnTo>
                <a:lnTo>
                  <a:pt x="104" y="447"/>
                </a:lnTo>
                <a:lnTo>
                  <a:pt x="125" y="412"/>
                </a:lnTo>
                <a:lnTo>
                  <a:pt x="147" y="377"/>
                </a:lnTo>
                <a:lnTo>
                  <a:pt x="171" y="344"/>
                </a:lnTo>
                <a:lnTo>
                  <a:pt x="196" y="312"/>
                </a:lnTo>
                <a:lnTo>
                  <a:pt x="223" y="281"/>
                </a:lnTo>
                <a:lnTo>
                  <a:pt x="252" y="251"/>
                </a:lnTo>
                <a:lnTo>
                  <a:pt x="281" y="223"/>
                </a:lnTo>
                <a:lnTo>
                  <a:pt x="312" y="196"/>
                </a:lnTo>
                <a:lnTo>
                  <a:pt x="344" y="171"/>
                </a:lnTo>
                <a:lnTo>
                  <a:pt x="377" y="146"/>
                </a:lnTo>
                <a:lnTo>
                  <a:pt x="412" y="124"/>
                </a:lnTo>
                <a:lnTo>
                  <a:pt x="449" y="104"/>
                </a:lnTo>
                <a:lnTo>
                  <a:pt x="485" y="85"/>
                </a:lnTo>
                <a:lnTo>
                  <a:pt x="523" y="68"/>
                </a:lnTo>
                <a:lnTo>
                  <a:pt x="562" y="53"/>
                </a:lnTo>
                <a:lnTo>
                  <a:pt x="601" y="39"/>
                </a:lnTo>
                <a:lnTo>
                  <a:pt x="642" y="27"/>
                </a:lnTo>
                <a:lnTo>
                  <a:pt x="683" y="18"/>
                </a:lnTo>
                <a:lnTo>
                  <a:pt x="725" y="10"/>
                </a:lnTo>
                <a:lnTo>
                  <a:pt x="768" y="5"/>
                </a:lnTo>
                <a:lnTo>
                  <a:pt x="811" y="1"/>
                </a:lnTo>
                <a:lnTo>
                  <a:pt x="856" y="0"/>
                </a:lnTo>
                <a:lnTo>
                  <a:pt x="856" y="0"/>
                </a:lnTo>
                <a:lnTo>
                  <a:pt x="899" y="1"/>
                </a:lnTo>
                <a:lnTo>
                  <a:pt x="942" y="5"/>
                </a:lnTo>
                <a:lnTo>
                  <a:pt x="986" y="10"/>
                </a:lnTo>
                <a:lnTo>
                  <a:pt x="1028" y="18"/>
                </a:lnTo>
                <a:lnTo>
                  <a:pt x="1069" y="27"/>
                </a:lnTo>
                <a:lnTo>
                  <a:pt x="1109" y="39"/>
                </a:lnTo>
                <a:lnTo>
                  <a:pt x="1149" y="53"/>
                </a:lnTo>
                <a:lnTo>
                  <a:pt x="1188" y="68"/>
                </a:lnTo>
                <a:lnTo>
                  <a:pt x="1226" y="85"/>
                </a:lnTo>
                <a:lnTo>
                  <a:pt x="1263" y="104"/>
                </a:lnTo>
                <a:lnTo>
                  <a:pt x="1298" y="124"/>
                </a:lnTo>
                <a:lnTo>
                  <a:pt x="1334" y="146"/>
                </a:lnTo>
                <a:lnTo>
                  <a:pt x="1367" y="171"/>
                </a:lnTo>
                <a:lnTo>
                  <a:pt x="1399" y="196"/>
                </a:lnTo>
                <a:lnTo>
                  <a:pt x="1431" y="223"/>
                </a:lnTo>
                <a:lnTo>
                  <a:pt x="1459" y="251"/>
                </a:lnTo>
                <a:lnTo>
                  <a:pt x="1488" y="281"/>
                </a:lnTo>
                <a:lnTo>
                  <a:pt x="1515" y="312"/>
                </a:lnTo>
                <a:lnTo>
                  <a:pt x="1541" y="344"/>
                </a:lnTo>
                <a:lnTo>
                  <a:pt x="1564" y="377"/>
                </a:lnTo>
                <a:lnTo>
                  <a:pt x="1586" y="412"/>
                </a:lnTo>
                <a:lnTo>
                  <a:pt x="1607" y="447"/>
                </a:lnTo>
                <a:lnTo>
                  <a:pt x="1626" y="485"/>
                </a:lnTo>
                <a:lnTo>
                  <a:pt x="1643" y="523"/>
                </a:lnTo>
                <a:lnTo>
                  <a:pt x="1658" y="561"/>
                </a:lnTo>
                <a:lnTo>
                  <a:pt x="1672" y="601"/>
                </a:lnTo>
                <a:lnTo>
                  <a:pt x="1683" y="642"/>
                </a:lnTo>
                <a:lnTo>
                  <a:pt x="1693" y="683"/>
                </a:lnTo>
                <a:lnTo>
                  <a:pt x="1701" y="725"/>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76" name="Gruppieren 175">
            <a:extLst>
              <a:ext uri="{FF2B5EF4-FFF2-40B4-BE49-F238E27FC236}">
                <a16:creationId xmlns:a16="http://schemas.microsoft.com/office/drawing/2014/main" id="{DA38C5AB-BA1E-4C4A-84AD-5EEFF918515A}"/>
              </a:ext>
            </a:extLst>
          </p:cNvPr>
          <p:cNvGrpSpPr/>
          <p:nvPr/>
        </p:nvGrpSpPr>
        <p:grpSpPr>
          <a:xfrm>
            <a:off x="3004717" y="3333501"/>
            <a:ext cx="268816" cy="268816"/>
            <a:chOff x="3036000" y="3905002"/>
            <a:chExt cx="268816" cy="268816"/>
          </a:xfrm>
        </p:grpSpPr>
        <p:sp>
          <p:nvSpPr>
            <p:cNvPr id="177" name="Freeform 69">
              <a:extLst>
                <a:ext uri="{FF2B5EF4-FFF2-40B4-BE49-F238E27FC236}">
                  <a16:creationId xmlns:a16="http://schemas.microsoft.com/office/drawing/2014/main" id="{1FD2ED40-0567-4D9C-B7CB-D8BC20997022}"/>
                </a:ext>
              </a:extLst>
            </p:cNvPr>
            <p:cNvSpPr>
              <a:spLocks/>
            </p:cNvSpPr>
            <p:nvPr/>
          </p:nvSpPr>
          <p:spPr bwMode="auto">
            <a:xfrm>
              <a:off x="3036000" y="4005026"/>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3 h 264"/>
                <a:gd name="T20" fmla="*/ 0 w 1032"/>
                <a:gd name="T21" fmla="*/ 119 h 264"/>
                <a:gd name="T22" fmla="*/ 5 w 1032"/>
                <a:gd name="T23" fmla="*/ 93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1 h 264"/>
                <a:gd name="T36" fmla="*/ 900 w 1032"/>
                <a:gd name="T37" fmla="*/ 0 h 264"/>
                <a:gd name="T38" fmla="*/ 914 w 1032"/>
                <a:gd name="T39" fmla="*/ 1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3 h 264"/>
                <a:gd name="T52" fmla="*/ 1032 w 1032"/>
                <a:gd name="T53" fmla="*/ 119 h 264"/>
                <a:gd name="T54" fmla="*/ 1032 w 1032"/>
                <a:gd name="T55" fmla="*/ 133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900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0" y="264"/>
                  </a:moveTo>
                  <a:lnTo>
                    <a:pt x="131" y="264"/>
                  </a:lnTo>
                  <a:lnTo>
                    <a:pt x="131" y="264"/>
                  </a:lnTo>
                  <a:lnTo>
                    <a:pt x="117" y="264"/>
                  </a:lnTo>
                  <a:lnTo>
                    <a:pt x="104" y="262"/>
                  </a:lnTo>
                  <a:lnTo>
                    <a:pt x="92" y="258"/>
                  </a:lnTo>
                  <a:lnTo>
                    <a:pt x="80" y="254"/>
                  </a:lnTo>
                  <a:lnTo>
                    <a:pt x="68" y="248"/>
                  </a:lnTo>
                  <a:lnTo>
                    <a:pt x="57" y="242"/>
                  </a:lnTo>
                  <a:lnTo>
                    <a:pt x="47" y="234"/>
                  </a:lnTo>
                  <a:lnTo>
                    <a:pt x="37" y="226"/>
                  </a:lnTo>
                  <a:lnTo>
                    <a:pt x="30" y="216"/>
                  </a:lnTo>
                  <a:lnTo>
                    <a:pt x="22" y="206"/>
                  </a:lnTo>
                  <a:lnTo>
                    <a:pt x="15" y="195"/>
                  </a:lnTo>
                  <a:lnTo>
                    <a:pt x="10" y="184"/>
                  </a:lnTo>
                  <a:lnTo>
                    <a:pt x="5" y="171"/>
                  </a:lnTo>
                  <a:lnTo>
                    <a:pt x="2" y="159"/>
                  </a:lnTo>
                  <a:lnTo>
                    <a:pt x="0" y="146"/>
                  </a:lnTo>
                  <a:lnTo>
                    <a:pt x="0" y="133"/>
                  </a:lnTo>
                  <a:lnTo>
                    <a:pt x="0" y="133"/>
                  </a:lnTo>
                  <a:lnTo>
                    <a:pt x="0" y="133"/>
                  </a:lnTo>
                  <a:lnTo>
                    <a:pt x="0" y="119"/>
                  </a:lnTo>
                  <a:lnTo>
                    <a:pt x="2" y="106"/>
                  </a:lnTo>
                  <a:lnTo>
                    <a:pt x="5" y="93"/>
                  </a:lnTo>
                  <a:lnTo>
                    <a:pt x="10" y="80"/>
                  </a:lnTo>
                  <a:lnTo>
                    <a:pt x="15" y="69"/>
                  </a:lnTo>
                  <a:lnTo>
                    <a:pt x="22" y="58"/>
                  </a:lnTo>
                  <a:lnTo>
                    <a:pt x="30" y="48"/>
                  </a:lnTo>
                  <a:lnTo>
                    <a:pt x="37" y="39"/>
                  </a:lnTo>
                  <a:lnTo>
                    <a:pt x="47" y="30"/>
                  </a:lnTo>
                  <a:lnTo>
                    <a:pt x="57" y="22"/>
                  </a:lnTo>
                  <a:lnTo>
                    <a:pt x="68" y="16"/>
                  </a:lnTo>
                  <a:lnTo>
                    <a:pt x="80" y="10"/>
                  </a:lnTo>
                  <a:lnTo>
                    <a:pt x="92" y="6"/>
                  </a:lnTo>
                  <a:lnTo>
                    <a:pt x="104" y="2"/>
                  </a:lnTo>
                  <a:lnTo>
                    <a:pt x="117" y="1"/>
                  </a:lnTo>
                  <a:lnTo>
                    <a:pt x="131" y="0"/>
                  </a:lnTo>
                  <a:lnTo>
                    <a:pt x="900" y="0"/>
                  </a:lnTo>
                  <a:lnTo>
                    <a:pt x="900" y="0"/>
                  </a:lnTo>
                  <a:lnTo>
                    <a:pt x="914" y="1"/>
                  </a:lnTo>
                  <a:lnTo>
                    <a:pt x="926" y="2"/>
                  </a:lnTo>
                  <a:lnTo>
                    <a:pt x="939" y="6"/>
                  </a:lnTo>
                  <a:lnTo>
                    <a:pt x="951" y="10"/>
                  </a:lnTo>
                  <a:lnTo>
                    <a:pt x="963" y="16"/>
                  </a:lnTo>
                  <a:lnTo>
                    <a:pt x="974" y="22"/>
                  </a:lnTo>
                  <a:lnTo>
                    <a:pt x="984" y="30"/>
                  </a:lnTo>
                  <a:lnTo>
                    <a:pt x="994" y="39"/>
                  </a:lnTo>
                  <a:lnTo>
                    <a:pt x="1002" y="48"/>
                  </a:lnTo>
                  <a:lnTo>
                    <a:pt x="1009" y="58"/>
                  </a:lnTo>
                  <a:lnTo>
                    <a:pt x="1016" y="69"/>
                  </a:lnTo>
                  <a:lnTo>
                    <a:pt x="1022" y="80"/>
                  </a:lnTo>
                  <a:lnTo>
                    <a:pt x="1026" y="93"/>
                  </a:lnTo>
                  <a:lnTo>
                    <a:pt x="1029" y="106"/>
                  </a:lnTo>
                  <a:lnTo>
                    <a:pt x="1032" y="119"/>
                  </a:lnTo>
                  <a:lnTo>
                    <a:pt x="1032" y="133"/>
                  </a:lnTo>
                  <a:lnTo>
                    <a:pt x="1032" y="133"/>
                  </a:lnTo>
                  <a:lnTo>
                    <a:pt x="1032" y="133"/>
                  </a:lnTo>
                  <a:lnTo>
                    <a:pt x="1032" y="146"/>
                  </a:lnTo>
                  <a:lnTo>
                    <a:pt x="1029" y="159"/>
                  </a:lnTo>
                  <a:lnTo>
                    <a:pt x="1026" y="171"/>
                  </a:lnTo>
                  <a:lnTo>
                    <a:pt x="1022" y="184"/>
                  </a:lnTo>
                  <a:lnTo>
                    <a:pt x="1016" y="195"/>
                  </a:lnTo>
                  <a:lnTo>
                    <a:pt x="1009" y="206"/>
                  </a:lnTo>
                  <a:lnTo>
                    <a:pt x="1002" y="216"/>
                  </a:lnTo>
                  <a:lnTo>
                    <a:pt x="994" y="226"/>
                  </a:lnTo>
                  <a:lnTo>
                    <a:pt x="984" y="234"/>
                  </a:lnTo>
                  <a:lnTo>
                    <a:pt x="974" y="242"/>
                  </a:lnTo>
                  <a:lnTo>
                    <a:pt x="963" y="248"/>
                  </a:lnTo>
                  <a:lnTo>
                    <a:pt x="951" y="254"/>
                  </a:lnTo>
                  <a:lnTo>
                    <a:pt x="939" y="258"/>
                  </a:lnTo>
                  <a:lnTo>
                    <a:pt x="926" y="262"/>
                  </a:lnTo>
                  <a:lnTo>
                    <a:pt x="914" y="264"/>
                  </a:lnTo>
                  <a:lnTo>
                    <a:pt x="900" y="264"/>
                  </a:lnTo>
                  <a:lnTo>
                    <a:pt x="900" y="2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178" name="Freeform 70">
              <a:extLst>
                <a:ext uri="{FF2B5EF4-FFF2-40B4-BE49-F238E27FC236}">
                  <a16:creationId xmlns:a16="http://schemas.microsoft.com/office/drawing/2014/main" id="{E59B4826-1FEE-4695-B5A7-8A6C20F84439}"/>
                </a:ext>
              </a:extLst>
            </p:cNvPr>
            <p:cNvSpPr>
              <a:spLocks/>
            </p:cNvSpPr>
            <p:nvPr/>
          </p:nvSpPr>
          <p:spPr bwMode="auto">
            <a:xfrm>
              <a:off x="3136025" y="3905002"/>
              <a:ext cx="68767" cy="268816"/>
            </a:xfrm>
            <a:custGeom>
              <a:avLst/>
              <a:gdLst>
                <a:gd name="T0" fmla="*/ 0 w 265"/>
                <a:gd name="T1" fmla="*/ 133 h 1034"/>
                <a:gd name="T2" fmla="*/ 1 w 265"/>
                <a:gd name="T3" fmla="*/ 119 h 1034"/>
                <a:gd name="T4" fmla="*/ 6 w 265"/>
                <a:gd name="T5" fmla="*/ 94 h 1034"/>
                <a:gd name="T6" fmla="*/ 16 w 265"/>
                <a:gd name="T7" fmla="*/ 69 h 1034"/>
                <a:gd name="T8" fmla="*/ 30 w 265"/>
                <a:gd name="T9" fmla="*/ 49 h 1034"/>
                <a:gd name="T10" fmla="*/ 48 w 265"/>
                <a:gd name="T11" fmla="*/ 30 h 1034"/>
                <a:gd name="T12" fmla="*/ 69 w 265"/>
                <a:gd name="T13" fmla="*/ 17 h 1034"/>
                <a:gd name="T14" fmla="*/ 94 w 265"/>
                <a:gd name="T15" fmla="*/ 7 h 1034"/>
                <a:gd name="T16" fmla="*/ 119 w 265"/>
                <a:gd name="T17" fmla="*/ 2 h 1034"/>
                <a:gd name="T18" fmla="*/ 133 w 265"/>
                <a:gd name="T19" fmla="*/ 0 h 1034"/>
                <a:gd name="T20" fmla="*/ 146 w 265"/>
                <a:gd name="T21" fmla="*/ 2 h 1034"/>
                <a:gd name="T22" fmla="*/ 171 w 265"/>
                <a:gd name="T23" fmla="*/ 7 h 1034"/>
                <a:gd name="T24" fmla="*/ 196 w 265"/>
                <a:gd name="T25" fmla="*/ 17 h 1034"/>
                <a:gd name="T26" fmla="*/ 216 w 265"/>
                <a:gd name="T27" fmla="*/ 30 h 1034"/>
                <a:gd name="T28" fmla="*/ 235 w 265"/>
                <a:gd name="T29" fmla="*/ 49 h 1034"/>
                <a:gd name="T30" fmla="*/ 248 w 265"/>
                <a:gd name="T31" fmla="*/ 69 h 1034"/>
                <a:gd name="T32" fmla="*/ 258 w 265"/>
                <a:gd name="T33" fmla="*/ 94 h 1034"/>
                <a:gd name="T34" fmla="*/ 264 w 265"/>
                <a:gd name="T35" fmla="*/ 119 h 1034"/>
                <a:gd name="T36" fmla="*/ 265 w 265"/>
                <a:gd name="T37" fmla="*/ 901 h 1034"/>
                <a:gd name="T38" fmla="*/ 264 w 265"/>
                <a:gd name="T39" fmla="*/ 915 h 1034"/>
                <a:gd name="T40" fmla="*/ 258 w 265"/>
                <a:gd name="T41" fmla="*/ 941 h 1034"/>
                <a:gd name="T42" fmla="*/ 248 w 265"/>
                <a:gd name="T43" fmla="*/ 965 h 1034"/>
                <a:gd name="T44" fmla="*/ 235 w 265"/>
                <a:gd name="T45" fmla="*/ 986 h 1034"/>
                <a:gd name="T46" fmla="*/ 216 w 265"/>
                <a:gd name="T47" fmla="*/ 1004 h 1034"/>
                <a:gd name="T48" fmla="*/ 196 w 265"/>
                <a:gd name="T49" fmla="*/ 1018 h 1034"/>
                <a:gd name="T50" fmla="*/ 171 w 265"/>
                <a:gd name="T51" fmla="*/ 1028 h 1034"/>
                <a:gd name="T52" fmla="*/ 146 w 265"/>
                <a:gd name="T53" fmla="*/ 1032 h 1034"/>
                <a:gd name="T54" fmla="*/ 133 w 265"/>
                <a:gd name="T55" fmla="*/ 1034 h 1034"/>
                <a:gd name="T56" fmla="*/ 119 w 265"/>
                <a:gd name="T57" fmla="*/ 1032 h 1034"/>
                <a:gd name="T58" fmla="*/ 94 w 265"/>
                <a:gd name="T59" fmla="*/ 1028 h 1034"/>
                <a:gd name="T60" fmla="*/ 69 w 265"/>
                <a:gd name="T61" fmla="*/ 1018 h 1034"/>
                <a:gd name="T62" fmla="*/ 48 w 265"/>
                <a:gd name="T63" fmla="*/ 1004 h 1034"/>
                <a:gd name="T64" fmla="*/ 30 w 265"/>
                <a:gd name="T65" fmla="*/ 986 h 1034"/>
                <a:gd name="T66" fmla="*/ 16 w 265"/>
                <a:gd name="T67" fmla="*/ 965 h 1034"/>
                <a:gd name="T68" fmla="*/ 6 w 265"/>
                <a:gd name="T69" fmla="*/ 941 h 1034"/>
                <a:gd name="T70" fmla="*/ 1 w 265"/>
                <a:gd name="T71" fmla="*/ 915 h 1034"/>
                <a:gd name="T72" fmla="*/ 0 w 265"/>
                <a:gd name="T73" fmla="*/ 90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1034">
                  <a:moveTo>
                    <a:pt x="0" y="901"/>
                  </a:moveTo>
                  <a:lnTo>
                    <a:pt x="0" y="133"/>
                  </a:lnTo>
                  <a:lnTo>
                    <a:pt x="0" y="133"/>
                  </a:lnTo>
                  <a:lnTo>
                    <a:pt x="1" y="119"/>
                  </a:lnTo>
                  <a:lnTo>
                    <a:pt x="4" y="106"/>
                  </a:lnTo>
                  <a:lnTo>
                    <a:pt x="6" y="94"/>
                  </a:lnTo>
                  <a:lnTo>
                    <a:pt x="10" y="82"/>
                  </a:lnTo>
                  <a:lnTo>
                    <a:pt x="16" y="69"/>
                  </a:lnTo>
                  <a:lnTo>
                    <a:pt x="22" y="59"/>
                  </a:lnTo>
                  <a:lnTo>
                    <a:pt x="30" y="49"/>
                  </a:lnTo>
                  <a:lnTo>
                    <a:pt x="39" y="39"/>
                  </a:lnTo>
                  <a:lnTo>
                    <a:pt x="48" y="30"/>
                  </a:lnTo>
                  <a:lnTo>
                    <a:pt x="59" y="24"/>
                  </a:lnTo>
                  <a:lnTo>
                    <a:pt x="69" y="17"/>
                  </a:lnTo>
                  <a:lnTo>
                    <a:pt x="81" y="12"/>
                  </a:lnTo>
                  <a:lnTo>
                    <a:pt x="94" y="7"/>
                  </a:lnTo>
                  <a:lnTo>
                    <a:pt x="106" y="4"/>
                  </a:lnTo>
                  <a:lnTo>
                    <a:pt x="119" y="2"/>
                  </a:lnTo>
                  <a:lnTo>
                    <a:pt x="133" y="0"/>
                  </a:lnTo>
                  <a:lnTo>
                    <a:pt x="133" y="0"/>
                  </a:lnTo>
                  <a:lnTo>
                    <a:pt x="133" y="0"/>
                  </a:lnTo>
                  <a:lnTo>
                    <a:pt x="146" y="2"/>
                  </a:lnTo>
                  <a:lnTo>
                    <a:pt x="159" y="4"/>
                  </a:lnTo>
                  <a:lnTo>
                    <a:pt x="171" y="7"/>
                  </a:lnTo>
                  <a:lnTo>
                    <a:pt x="184" y="12"/>
                  </a:lnTo>
                  <a:lnTo>
                    <a:pt x="196" y="17"/>
                  </a:lnTo>
                  <a:lnTo>
                    <a:pt x="206" y="24"/>
                  </a:lnTo>
                  <a:lnTo>
                    <a:pt x="216" y="30"/>
                  </a:lnTo>
                  <a:lnTo>
                    <a:pt x="226" y="39"/>
                  </a:lnTo>
                  <a:lnTo>
                    <a:pt x="235" y="49"/>
                  </a:lnTo>
                  <a:lnTo>
                    <a:pt x="242" y="59"/>
                  </a:lnTo>
                  <a:lnTo>
                    <a:pt x="248" y="69"/>
                  </a:lnTo>
                  <a:lnTo>
                    <a:pt x="254" y="82"/>
                  </a:lnTo>
                  <a:lnTo>
                    <a:pt x="258" y="94"/>
                  </a:lnTo>
                  <a:lnTo>
                    <a:pt x="262" y="106"/>
                  </a:lnTo>
                  <a:lnTo>
                    <a:pt x="264" y="119"/>
                  </a:lnTo>
                  <a:lnTo>
                    <a:pt x="265" y="133"/>
                  </a:lnTo>
                  <a:lnTo>
                    <a:pt x="265" y="901"/>
                  </a:lnTo>
                  <a:lnTo>
                    <a:pt x="265" y="901"/>
                  </a:lnTo>
                  <a:lnTo>
                    <a:pt x="264" y="915"/>
                  </a:lnTo>
                  <a:lnTo>
                    <a:pt x="262" y="928"/>
                  </a:lnTo>
                  <a:lnTo>
                    <a:pt x="258" y="941"/>
                  </a:lnTo>
                  <a:lnTo>
                    <a:pt x="254" y="953"/>
                  </a:lnTo>
                  <a:lnTo>
                    <a:pt x="248" y="965"/>
                  </a:lnTo>
                  <a:lnTo>
                    <a:pt x="242" y="976"/>
                  </a:lnTo>
                  <a:lnTo>
                    <a:pt x="235" y="986"/>
                  </a:lnTo>
                  <a:lnTo>
                    <a:pt x="226" y="995"/>
                  </a:lnTo>
                  <a:lnTo>
                    <a:pt x="216" y="1004"/>
                  </a:lnTo>
                  <a:lnTo>
                    <a:pt x="206" y="1011"/>
                  </a:lnTo>
                  <a:lnTo>
                    <a:pt x="196" y="1018"/>
                  </a:lnTo>
                  <a:lnTo>
                    <a:pt x="184" y="1024"/>
                  </a:lnTo>
                  <a:lnTo>
                    <a:pt x="171" y="1028"/>
                  </a:lnTo>
                  <a:lnTo>
                    <a:pt x="159" y="1031"/>
                  </a:lnTo>
                  <a:lnTo>
                    <a:pt x="146" y="1032"/>
                  </a:lnTo>
                  <a:lnTo>
                    <a:pt x="133" y="1034"/>
                  </a:lnTo>
                  <a:lnTo>
                    <a:pt x="133" y="1034"/>
                  </a:lnTo>
                  <a:lnTo>
                    <a:pt x="133" y="1034"/>
                  </a:lnTo>
                  <a:lnTo>
                    <a:pt x="119" y="1032"/>
                  </a:lnTo>
                  <a:lnTo>
                    <a:pt x="106" y="1031"/>
                  </a:lnTo>
                  <a:lnTo>
                    <a:pt x="94" y="1028"/>
                  </a:lnTo>
                  <a:lnTo>
                    <a:pt x="81" y="1024"/>
                  </a:lnTo>
                  <a:lnTo>
                    <a:pt x="69" y="1018"/>
                  </a:lnTo>
                  <a:lnTo>
                    <a:pt x="59" y="1011"/>
                  </a:lnTo>
                  <a:lnTo>
                    <a:pt x="48" y="1004"/>
                  </a:lnTo>
                  <a:lnTo>
                    <a:pt x="39" y="995"/>
                  </a:lnTo>
                  <a:lnTo>
                    <a:pt x="30" y="986"/>
                  </a:lnTo>
                  <a:lnTo>
                    <a:pt x="22" y="976"/>
                  </a:lnTo>
                  <a:lnTo>
                    <a:pt x="16" y="965"/>
                  </a:lnTo>
                  <a:lnTo>
                    <a:pt x="10" y="953"/>
                  </a:lnTo>
                  <a:lnTo>
                    <a:pt x="6" y="941"/>
                  </a:lnTo>
                  <a:lnTo>
                    <a:pt x="4" y="928"/>
                  </a:lnTo>
                  <a:lnTo>
                    <a:pt x="1" y="915"/>
                  </a:lnTo>
                  <a:lnTo>
                    <a:pt x="0" y="901"/>
                  </a:lnTo>
                  <a:lnTo>
                    <a:pt x="0" y="90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210" name="Gruppieren 209">
            <a:extLst>
              <a:ext uri="{FF2B5EF4-FFF2-40B4-BE49-F238E27FC236}">
                <a16:creationId xmlns:a16="http://schemas.microsoft.com/office/drawing/2014/main" id="{A78D228E-1B5E-420B-AFA5-2276C3FB0CA1}"/>
              </a:ext>
            </a:extLst>
          </p:cNvPr>
          <p:cNvGrpSpPr/>
          <p:nvPr/>
        </p:nvGrpSpPr>
        <p:grpSpPr>
          <a:xfrm>
            <a:off x="3004717" y="2733426"/>
            <a:ext cx="268816" cy="268816"/>
            <a:chOff x="3036000" y="3905002"/>
            <a:chExt cx="268816" cy="268816"/>
          </a:xfrm>
        </p:grpSpPr>
        <p:sp>
          <p:nvSpPr>
            <p:cNvPr id="211" name="Freeform 69">
              <a:extLst>
                <a:ext uri="{FF2B5EF4-FFF2-40B4-BE49-F238E27FC236}">
                  <a16:creationId xmlns:a16="http://schemas.microsoft.com/office/drawing/2014/main" id="{19882B03-AC9C-435B-81E1-6B5B7FE86F69}"/>
                </a:ext>
              </a:extLst>
            </p:cNvPr>
            <p:cNvSpPr>
              <a:spLocks/>
            </p:cNvSpPr>
            <p:nvPr/>
          </p:nvSpPr>
          <p:spPr bwMode="auto">
            <a:xfrm>
              <a:off x="3036000" y="4005026"/>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3 h 264"/>
                <a:gd name="T20" fmla="*/ 0 w 1032"/>
                <a:gd name="T21" fmla="*/ 119 h 264"/>
                <a:gd name="T22" fmla="*/ 5 w 1032"/>
                <a:gd name="T23" fmla="*/ 93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1 h 264"/>
                <a:gd name="T36" fmla="*/ 900 w 1032"/>
                <a:gd name="T37" fmla="*/ 0 h 264"/>
                <a:gd name="T38" fmla="*/ 914 w 1032"/>
                <a:gd name="T39" fmla="*/ 1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3 h 264"/>
                <a:gd name="T52" fmla="*/ 1032 w 1032"/>
                <a:gd name="T53" fmla="*/ 119 h 264"/>
                <a:gd name="T54" fmla="*/ 1032 w 1032"/>
                <a:gd name="T55" fmla="*/ 133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900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0" y="264"/>
                  </a:moveTo>
                  <a:lnTo>
                    <a:pt x="131" y="264"/>
                  </a:lnTo>
                  <a:lnTo>
                    <a:pt x="131" y="264"/>
                  </a:lnTo>
                  <a:lnTo>
                    <a:pt x="117" y="264"/>
                  </a:lnTo>
                  <a:lnTo>
                    <a:pt x="104" y="262"/>
                  </a:lnTo>
                  <a:lnTo>
                    <a:pt x="92" y="258"/>
                  </a:lnTo>
                  <a:lnTo>
                    <a:pt x="80" y="254"/>
                  </a:lnTo>
                  <a:lnTo>
                    <a:pt x="68" y="248"/>
                  </a:lnTo>
                  <a:lnTo>
                    <a:pt x="57" y="242"/>
                  </a:lnTo>
                  <a:lnTo>
                    <a:pt x="47" y="234"/>
                  </a:lnTo>
                  <a:lnTo>
                    <a:pt x="37" y="226"/>
                  </a:lnTo>
                  <a:lnTo>
                    <a:pt x="30" y="216"/>
                  </a:lnTo>
                  <a:lnTo>
                    <a:pt x="22" y="206"/>
                  </a:lnTo>
                  <a:lnTo>
                    <a:pt x="15" y="195"/>
                  </a:lnTo>
                  <a:lnTo>
                    <a:pt x="10" y="184"/>
                  </a:lnTo>
                  <a:lnTo>
                    <a:pt x="5" y="171"/>
                  </a:lnTo>
                  <a:lnTo>
                    <a:pt x="2" y="159"/>
                  </a:lnTo>
                  <a:lnTo>
                    <a:pt x="0" y="146"/>
                  </a:lnTo>
                  <a:lnTo>
                    <a:pt x="0" y="133"/>
                  </a:lnTo>
                  <a:lnTo>
                    <a:pt x="0" y="133"/>
                  </a:lnTo>
                  <a:lnTo>
                    <a:pt x="0" y="133"/>
                  </a:lnTo>
                  <a:lnTo>
                    <a:pt x="0" y="119"/>
                  </a:lnTo>
                  <a:lnTo>
                    <a:pt x="2" y="106"/>
                  </a:lnTo>
                  <a:lnTo>
                    <a:pt x="5" y="93"/>
                  </a:lnTo>
                  <a:lnTo>
                    <a:pt x="10" y="80"/>
                  </a:lnTo>
                  <a:lnTo>
                    <a:pt x="15" y="69"/>
                  </a:lnTo>
                  <a:lnTo>
                    <a:pt x="22" y="58"/>
                  </a:lnTo>
                  <a:lnTo>
                    <a:pt x="30" y="48"/>
                  </a:lnTo>
                  <a:lnTo>
                    <a:pt x="37" y="39"/>
                  </a:lnTo>
                  <a:lnTo>
                    <a:pt x="47" y="30"/>
                  </a:lnTo>
                  <a:lnTo>
                    <a:pt x="57" y="22"/>
                  </a:lnTo>
                  <a:lnTo>
                    <a:pt x="68" y="16"/>
                  </a:lnTo>
                  <a:lnTo>
                    <a:pt x="80" y="10"/>
                  </a:lnTo>
                  <a:lnTo>
                    <a:pt x="92" y="6"/>
                  </a:lnTo>
                  <a:lnTo>
                    <a:pt x="104" y="2"/>
                  </a:lnTo>
                  <a:lnTo>
                    <a:pt x="117" y="1"/>
                  </a:lnTo>
                  <a:lnTo>
                    <a:pt x="131" y="0"/>
                  </a:lnTo>
                  <a:lnTo>
                    <a:pt x="900" y="0"/>
                  </a:lnTo>
                  <a:lnTo>
                    <a:pt x="900" y="0"/>
                  </a:lnTo>
                  <a:lnTo>
                    <a:pt x="914" y="1"/>
                  </a:lnTo>
                  <a:lnTo>
                    <a:pt x="926" y="2"/>
                  </a:lnTo>
                  <a:lnTo>
                    <a:pt x="939" y="6"/>
                  </a:lnTo>
                  <a:lnTo>
                    <a:pt x="951" y="10"/>
                  </a:lnTo>
                  <a:lnTo>
                    <a:pt x="963" y="16"/>
                  </a:lnTo>
                  <a:lnTo>
                    <a:pt x="974" y="22"/>
                  </a:lnTo>
                  <a:lnTo>
                    <a:pt x="984" y="30"/>
                  </a:lnTo>
                  <a:lnTo>
                    <a:pt x="994" y="39"/>
                  </a:lnTo>
                  <a:lnTo>
                    <a:pt x="1002" y="48"/>
                  </a:lnTo>
                  <a:lnTo>
                    <a:pt x="1009" y="58"/>
                  </a:lnTo>
                  <a:lnTo>
                    <a:pt x="1016" y="69"/>
                  </a:lnTo>
                  <a:lnTo>
                    <a:pt x="1022" y="80"/>
                  </a:lnTo>
                  <a:lnTo>
                    <a:pt x="1026" y="93"/>
                  </a:lnTo>
                  <a:lnTo>
                    <a:pt x="1029" y="106"/>
                  </a:lnTo>
                  <a:lnTo>
                    <a:pt x="1032" y="119"/>
                  </a:lnTo>
                  <a:lnTo>
                    <a:pt x="1032" y="133"/>
                  </a:lnTo>
                  <a:lnTo>
                    <a:pt x="1032" y="133"/>
                  </a:lnTo>
                  <a:lnTo>
                    <a:pt x="1032" y="133"/>
                  </a:lnTo>
                  <a:lnTo>
                    <a:pt x="1032" y="146"/>
                  </a:lnTo>
                  <a:lnTo>
                    <a:pt x="1029" y="159"/>
                  </a:lnTo>
                  <a:lnTo>
                    <a:pt x="1026" y="171"/>
                  </a:lnTo>
                  <a:lnTo>
                    <a:pt x="1022" y="184"/>
                  </a:lnTo>
                  <a:lnTo>
                    <a:pt x="1016" y="195"/>
                  </a:lnTo>
                  <a:lnTo>
                    <a:pt x="1009" y="206"/>
                  </a:lnTo>
                  <a:lnTo>
                    <a:pt x="1002" y="216"/>
                  </a:lnTo>
                  <a:lnTo>
                    <a:pt x="994" y="226"/>
                  </a:lnTo>
                  <a:lnTo>
                    <a:pt x="984" y="234"/>
                  </a:lnTo>
                  <a:lnTo>
                    <a:pt x="974" y="242"/>
                  </a:lnTo>
                  <a:lnTo>
                    <a:pt x="963" y="248"/>
                  </a:lnTo>
                  <a:lnTo>
                    <a:pt x="951" y="254"/>
                  </a:lnTo>
                  <a:lnTo>
                    <a:pt x="939" y="258"/>
                  </a:lnTo>
                  <a:lnTo>
                    <a:pt x="926" y="262"/>
                  </a:lnTo>
                  <a:lnTo>
                    <a:pt x="914" y="264"/>
                  </a:lnTo>
                  <a:lnTo>
                    <a:pt x="900" y="264"/>
                  </a:lnTo>
                  <a:lnTo>
                    <a:pt x="900" y="2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12" name="Freeform 70">
              <a:extLst>
                <a:ext uri="{FF2B5EF4-FFF2-40B4-BE49-F238E27FC236}">
                  <a16:creationId xmlns:a16="http://schemas.microsoft.com/office/drawing/2014/main" id="{0A14CBA3-3D00-4D1A-A882-4D4E7C2B91CD}"/>
                </a:ext>
              </a:extLst>
            </p:cNvPr>
            <p:cNvSpPr>
              <a:spLocks/>
            </p:cNvSpPr>
            <p:nvPr/>
          </p:nvSpPr>
          <p:spPr bwMode="auto">
            <a:xfrm>
              <a:off x="3136025" y="3905002"/>
              <a:ext cx="68767" cy="268816"/>
            </a:xfrm>
            <a:custGeom>
              <a:avLst/>
              <a:gdLst>
                <a:gd name="T0" fmla="*/ 0 w 265"/>
                <a:gd name="T1" fmla="*/ 133 h 1034"/>
                <a:gd name="T2" fmla="*/ 1 w 265"/>
                <a:gd name="T3" fmla="*/ 119 h 1034"/>
                <a:gd name="T4" fmla="*/ 6 w 265"/>
                <a:gd name="T5" fmla="*/ 94 h 1034"/>
                <a:gd name="T6" fmla="*/ 16 w 265"/>
                <a:gd name="T7" fmla="*/ 69 h 1034"/>
                <a:gd name="T8" fmla="*/ 30 w 265"/>
                <a:gd name="T9" fmla="*/ 49 h 1034"/>
                <a:gd name="T10" fmla="*/ 48 w 265"/>
                <a:gd name="T11" fmla="*/ 30 h 1034"/>
                <a:gd name="T12" fmla="*/ 69 w 265"/>
                <a:gd name="T13" fmla="*/ 17 h 1034"/>
                <a:gd name="T14" fmla="*/ 94 w 265"/>
                <a:gd name="T15" fmla="*/ 7 h 1034"/>
                <a:gd name="T16" fmla="*/ 119 w 265"/>
                <a:gd name="T17" fmla="*/ 2 h 1034"/>
                <a:gd name="T18" fmla="*/ 133 w 265"/>
                <a:gd name="T19" fmla="*/ 0 h 1034"/>
                <a:gd name="T20" fmla="*/ 146 w 265"/>
                <a:gd name="T21" fmla="*/ 2 h 1034"/>
                <a:gd name="T22" fmla="*/ 171 w 265"/>
                <a:gd name="T23" fmla="*/ 7 h 1034"/>
                <a:gd name="T24" fmla="*/ 196 w 265"/>
                <a:gd name="T25" fmla="*/ 17 h 1034"/>
                <a:gd name="T26" fmla="*/ 216 w 265"/>
                <a:gd name="T27" fmla="*/ 30 h 1034"/>
                <a:gd name="T28" fmla="*/ 235 w 265"/>
                <a:gd name="T29" fmla="*/ 49 h 1034"/>
                <a:gd name="T30" fmla="*/ 248 w 265"/>
                <a:gd name="T31" fmla="*/ 69 h 1034"/>
                <a:gd name="T32" fmla="*/ 258 w 265"/>
                <a:gd name="T33" fmla="*/ 94 h 1034"/>
                <a:gd name="T34" fmla="*/ 264 w 265"/>
                <a:gd name="T35" fmla="*/ 119 h 1034"/>
                <a:gd name="T36" fmla="*/ 265 w 265"/>
                <a:gd name="T37" fmla="*/ 901 h 1034"/>
                <a:gd name="T38" fmla="*/ 264 w 265"/>
                <a:gd name="T39" fmla="*/ 915 h 1034"/>
                <a:gd name="T40" fmla="*/ 258 w 265"/>
                <a:gd name="T41" fmla="*/ 941 h 1034"/>
                <a:gd name="T42" fmla="*/ 248 w 265"/>
                <a:gd name="T43" fmla="*/ 965 h 1034"/>
                <a:gd name="T44" fmla="*/ 235 w 265"/>
                <a:gd name="T45" fmla="*/ 986 h 1034"/>
                <a:gd name="T46" fmla="*/ 216 w 265"/>
                <a:gd name="T47" fmla="*/ 1004 h 1034"/>
                <a:gd name="T48" fmla="*/ 196 w 265"/>
                <a:gd name="T49" fmla="*/ 1018 h 1034"/>
                <a:gd name="T50" fmla="*/ 171 w 265"/>
                <a:gd name="T51" fmla="*/ 1028 h 1034"/>
                <a:gd name="T52" fmla="*/ 146 w 265"/>
                <a:gd name="T53" fmla="*/ 1032 h 1034"/>
                <a:gd name="T54" fmla="*/ 133 w 265"/>
                <a:gd name="T55" fmla="*/ 1034 h 1034"/>
                <a:gd name="T56" fmla="*/ 119 w 265"/>
                <a:gd name="T57" fmla="*/ 1032 h 1034"/>
                <a:gd name="T58" fmla="*/ 94 w 265"/>
                <a:gd name="T59" fmla="*/ 1028 h 1034"/>
                <a:gd name="T60" fmla="*/ 69 w 265"/>
                <a:gd name="T61" fmla="*/ 1018 h 1034"/>
                <a:gd name="T62" fmla="*/ 48 w 265"/>
                <a:gd name="T63" fmla="*/ 1004 h 1034"/>
                <a:gd name="T64" fmla="*/ 30 w 265"/>
                <a:gd name="T65" fmla="*/ 986 h 1034"/>
                <a:gd name="T66" fmla="*/ 16 w 265"/>
                <a:gd name="T67" fmla="*/ 965 h 1034"/>
                <a:gd name="T68" fmla="*/ 6 w 265"/>
                <a:gd name="T69" fmla="*/ 941 h 1034"/>
                <a:gd name="T70" fmla="*/ 1 w 265"/>
                <a:gd name="T71" fmla="*/ 915 h 1034"/>
                <a:gd name="T72" fmla="*/ 0 w 265"/>
                <a:gd name="T73" fmla="*/ 90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1034">
                  <a:moveTo>
                    <a:pt x="0" y="901"/>
                  </a:moveTo>
                  <a:lnTo>
                    <a:pt x="0" y="133"/>
                  </a:lnTo>
                  <a:lnTo>
                    <a:pt x="0" y="133"/>
                  </a:lnTo>
                  <a:lnTo>
                    <a:pt x="1" y="119"/>
                  </a:lnTo>
                  <a:lnTo>
                    <a:pt x="4" y="106"/>
                  </a:lnTo>
                  <a:lnTo>
                    <a:pt x="6" y="94"/>
                  </a:lnTo>
                  <a:lnTo>
                    <a:pt x="10" y="82"/>
                  </a:lnTo>
                  <a:lnTo>
                    <a:pt x="16" y="69"/>
                  </a:lnTo>
                  <a:lnTo>
                    <a:pt x="22" y="59"/>
                  </a:lnTo>
                  <a:lnTo>
                    <a:pt x="30" y="49"/>
                  </a:lnTo>
                  <a:lnTo>
                    <a:pt x="39" y="39"/>
                  </a:lnTo>
                  <a:lnTo>
                    <a:pt x="48" y="30"/>
                  </a:lnTo>
                  <a:lnTo>
                    <a:pt x="59" y="24"/>
                  </a:lnTo>
                  <a:lnTo>
                    <a:pt x="69" y="17"/>
                  </a:lnTo>
                  <a:lnTo>
                    <a:pt x="81" y="12"/>
                  </a:lnTo>
                  <a:lnTo>
                    <a:pt x="94" y="7"/>
                  </a:lnTo>
                  <a:lnTo>
                    <a:pt x="106" y="4"/>
                  </a:lnTo>
                  <a:lnTo>
                    <a:pt x="119" y="2"/>
                  </a:lnTo>
                  <a:lnTo>
                    <a:pt x="133" y="0"/>
                  </a:lnTo>
                  <a:lnTo>
                    <a:pt x="133" y="0"/>
                  </a:lnTo>
                  <a:lnTo>
                    <a:pt x="133" y="0"/>
                  </a:lnTo>
                  <a:lnTo>
                    <a:pt x="146" y="2"/>
                  </a:lnTo>
                  <a:lnTo>
                    <a:pt x="159" y="4"/>
                  </a:lnTo>
                  <a:lnTo>
                    <a:pt x="171" y="7"/>
                  </a:lnTo>
                  <a:lnTo>
                    <a:pt x="184" y="12"/>
                  </a:lnTo>
                  <a:lnTo>
                    <a:pt x="196" y="17"/>
                  </a:lnTo>
                  <a:lnTo>
                    <a:pt x="206" y="24"/>
                  </a:lnTo>
                  <a:lnTo>
                    <a:pt x="216" y="30"/>
                  </a:lnTo>
                  <a:lnTo>
                    <a:pt x="226" y="39"/>
                  </a:lnTo>
                  <a:lnTo>
                    <a:pt x="235" y="49"/>
                  </a:lnTo>
                  <a:lnTo>
                    <a:pt x="242" y="59"/>
                  </a:lnTo>
                  <a:lnTo>
                    <a:pt x="248" y="69"/>
                  </a:lnTo>
                  <a:lnTo>
                    <a:pt x="254" y="82"/>
                  </a:lnTo>
                  <a:lnTo>
                    <a:pt x="258" y="94"/>
                  </a:lnTo>
                  <a:lnTo>
                    <a:pt x="262" y="106"/>
                  </a:lnTo>
                  <a:lnTo>
                    <a:pt x="264" y="119"/>
                  </a:lnTo>
                  <a:lnTo>
                    <a:pt x="265" y="133"/>
                  </a:lnTo>
                  <a:lnTo>
                    <a:pt x="265" y="901"/>
                  </a:lnTo>
                  <a:lnTo>
                    <a:pt x="265" y="901"/>
                  </a:lnTo>
                  <a:lnTo>
                    <a:pt x="264" y="915"/>
                  </a:lnTo>
                  <a:lnTo>
                    <a:pt x="262" y="928"/>
                  </a:lnTo>
                  <a:lnTo>
                    <a:pt x="258" y="941"/>
                  </a:lnTo>
                  <a:lnTo>
                    <a:pt x="254" y="953"/>
                  </a:lnTo>
                  <a:lnTo>
                    <a:pt x="248" y="965"/>
                  </a:lnTo>
                  <a:lnTo>
                    <a:pt x="242" y="976"/>
                  </a:lnTo>
                  <a:lnTo>
                    <a:pt x="235" y="986"/>
                  </a:lnTo>
                  <a:lnTo>
                    <a:pt x="226" y="995"/>
                  </a:lnTo>
                  <a:lnTo>
                    <a:pt x="216" y="1004"/>
                  </a:lnTo>
                  <a:lnTo>
                    <a:pt x="206" y="1011"/>
                  </a:lnTo>
                  <a:lnTo>
                    <a:pt x="196" y="1018"/>
                  </a:lnTo>
                  <a:lnTo>
                    <a:pt x="184" y="1024"/>
                  </a:lnTo>
                  <a:lnTo>
                    <a:pt x="171" y="1028"/>
                  </a:lnTo>
                  <a:lnTo>
                    <a:pt x="159" y="1031"/>
                  </a:lnTo>
                  <a:lnTo>
                    <a:pt x="146" y="1032"/>
                  </a:lnTo>
                  <a:lnTo>
                    <a:pt x="133" y="1034"/>
                  </a:lnTo>
                  <a:lnTo>
                    <a:pt x="133" y="1034"/>
                  </a:lnTo>
                  <a:lnTo>
                    <a:pt x="133" y="1034"/>
                  </a:lnTo>
                  <a:lnTo>
                    <a:pt x="119" y="1032"/>
                  </a:lnTo>
                  <a:lnTo>
                    <a:pt x="106" y="1031"/>
                  </a:lnTo>
                  <a:lnTo>
                    <a:pt x="94" y="1028"/>
                  </a:lnTo>
                  <a:lnTo>
                    <a:pt x="81" y="1024"/>
                  </a:lnTo>
                  <a:lnTo>
                    <a:pt x="69" y="1018"/>
                  </a:lnTo>
                  <a:lnTo>
                    <a:pt x="59" y="1011"/>
                  </a:lnTo>
                  <a:lnTo>
                    <a:pt x="48" y="1004"/>
                  </a:lnTo>
                  <a:lnTo>
                    <a:pt x="39" y="995"/>
                  </a:lnTo>
                  <a:lnTo>
                    <a:pt x="30" y="986"/>
                  </a:lnTo>
                  <a:lnTo>
                    <a:pt x="22" y="976"/>
                  </a:lnTo>
                  <a:lnTo>
                    <a:pt x="16" y="965"/>
                  </a:lnTo>
                  <a:lnTo>
                    <a:pt x="10" y="953"/>
                  </a:lnTo>
                  <a:lnTo>
                    <a:pt x="6" y="941"/>
                  </a:lnTo>
                  <a:lnTo>
                    <a:pt x="4" y="928"/>
                  </a:lnTo>
                  <a:lnTo>
                    <a:pt x="1" y="915"/>
                  </a:lnTo>
                  <a:lnTo>
                    <a:pt x="0" y="901"/>
                  </a:lnTo>
                  <a:lnTo>
                    <a:pt x="0" y="901"/>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09" name="Ellipse 308">
            <a:extLst>
              <a:ext uri="{FF2B5EF4-FFF2-40B4-BE49-F238E27FC236}">
                <a16:creationId xmlns:a16="http://schemas.microsoft.com/office/drawing/2014/main" id="{2117B99C-D33A-4024-A5B9-E34141E47812}"/>
              </a:ext>
            </a:extLst>
          </p:cNvPr>
          <p:cNvSpPr/>
          <p:nvPr/>
        </p:nvSpPr>
        <p:spPr bwMode="auto">
          <a:xfrm>
            <a:off x="2907377"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grpSp>
        <p:nvGrpSpPr>
          <p:cNvPr id="327" name="Gruppieren 326">
            <a:extLst>
              <a:ext uri="{FF2B5EF4-FFF2-40B4-BE49-F238E27FC236}">
                <a16:creationId xmlns:a16="http://schemas.microsoft.com/office/drawing/2014/main" id="{130026F2-94C8-448F-B86F-BE4F9FA132F2}"/>
              </a:ext>
            </a:extLst>
          </p:cNvPr>
          <p:cNvGrpSpPr/>
          <p:nvPr/>
        </p:nvGrpSpPr>
        <p:grpSpPr>
          <a:xfrm>
            <a:off x="3004717" y="3979319"/>
            <a:ext cx="268816" cy="268816"/>
            <a:chOff x="3036000" y="3905002"/>
            <a:chExt cx="268816" cy="268816"/>
          </a:xfrm>
          <a:solidFill>
            <a:schemeClr val="bg1"/>
          </a:solidFill>
        </p:grpSpPr>
        <p:sp>
          <p:nvSpPr>
            <p:cNvPr id="328" name="Freeform 69">
              <a:extLst>
                <a:ext uri="{FF2B5EF4-FFF2-40B4-BE49-F238E27FC236}">
                  <a16:creationId xmlns:a16="http://schemas.microsoft.com/office/drawing/2014/main" id="{99642265-A2E2-4615-90B5-A565A8DF6138}"/>
                </a:ext>
              </a:extLst>
            </p:cNvPr>
            <p:cNvSpPr>
              <a:spLocks/>
            </p:cNvSpPr>
            <p:nvPr/>
          </p:nvSpPr>
          <p:spPr bwMode="auto">
            <a:xfrm>
              <a:off x="3036000" y="4005026"/>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3 h 264"/>
                <a:gd name="T20" fmla="*/ 0 w 1032"/>
                <a:gd name="T21" fmla="*/ 119 h 264"/>
                <a:gd name="T22" fmla="*/ 5 w 1032"/>
                <a:gd name="T23" fmla="*/ 93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1 h 264"/>
                <a:gd name="T36" fmla="*/ 900 w 1032"/>
                <a:gd name="T37" fmla="*/ 0 h 264"/>
                <a:gd name="T38" fmla="*/ 914 w 1032"/>
                <a:gd name="T39" fmla="*/ 1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3 h 264"/>
                <a:gd name="T52" fmla="*/ 1032 w 1032"/>
                <a:gd name="T53" fmla="*/ 119 h 264"/>
                <a:gd name="T54" fmla="*/ 1032 w 1032"/>
                <a:gd name="T55" fmla="*/ 133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900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0" y="264"/>
                  </a:moveTo>
                  <a:lnTo>
                    <a:pt x="131" y="264"/>
                  </a:lnTo>
                  <a:lnTo>
                    <a:pt x="131" y="264"/>
                  </a:lnTo>
                  <a:lnTo>
                    <a:pt x="117" y="264"/>
                  </a:lnTo>
                  <a:lnTo>
                    <a:pt x="104" y="262"/>
                  </a:lnTo>
                  <a:lnTo>
                    <a:pt x="92" y="258"/>
                  </a:lnTo>
                  <a:lnTo>
                    <a:pt x="80" y="254"/>
                  </a:lnTo>
                  <a:lnTo>
                    <a:pt x="68" y="248"/>
                  </a:lnTo>
                  <a:lnTo>
                    <a:pt x="57" y="242"/>
                  </a:lnTo>
                  <a:lnTo>
                    <a:pt x="47" y="234"/>
                  </a:lnTo>
                  <a:lnTo>
                    <a:pt x="37" y="226"/>
                  </a:lnTo>
                  <a:lnTo>
                    <a:pt x="30" y="216"/>
                  </a:lnTo>
                  <a:lnTo>
                    <a:pt x="22" y="206"/>
                  </a:lnTo>
                  <a:lnTo>
                    <a:pt x="15" y="195"/>
                  </a:lnTo>
                  <a:lnTo>
                    <a:pt x="10" y="184"/>
                  </a:lnTo>
                  <a:lnTo>
                    <a:pt x="5" y="171"/>
                  </a:lnTo>
                  <a:lnTo>
                    <a:pt x="2" y="159"/>
                  </a:lnTo>
                  <a:lnTo>
                    <a:pt x="0" y="146"/>
                  </a:lnTo>
                  <a:lnTo>
                    <a:pt x="0" y="133"/>
                  </a:lnTo>
                  <a:lnTo>
                    <a:pt x="0" y="133"/>
                  </a:lnTo>
                  <a:lnTo>
                    <a:pt x="0" y="133"/>
                  </a:lnTo>
                  <a:lnTo>
                    <a:pt x="0" y="119"/>
                  </a:lnTo>
                  <a:lnTo>
                    <a:pt x="2" y="106"/>
                  </a:lnTo>
                  <a:lnTo>
                    <a:pt x="5" y="93"/>
                  </a:lnTo>
                  <a:lnTo>
                    <a:pt x="10" y="80"/>
                  </a:lnTo>
                  <a:lnTo>
                    <a:pt x="15" y="69"/>
                  </a:lnTo>
                  <a:lnTo>
                    <a:pt x="22" y="58"/>
                  </a:lnTo>
                  <a:lnTo>
                    <a:pt x="30" y="48"/>
                  </a:lnTo>
                  <a:lnTo>
                    <a:pt x="37" y="39"/>
                  </a:lnTo>
                  <a:lnTo>
                    <a:pt x="47" y="30"/>
                  </a:lnTo>
                  <a:lnTo>
                    <a:pt x="57" y="22"/>
                  </a:lnTo>
                  <a:lnTo>
                    <a:pt x="68" y="16"/>
                  </a:lnTo>
                  <a:lnTo>
                    <a:pt x="80" y="10"/>
                  </a:lnTo>
                  <a:lnTo>
                    <a:pt x="92" y="6"/>
                  </a:lnTo>
                  <a:lnTo>
                    <a:pt x="104" y="2"/>
                  </a:lnTo>
                  <a:lnTo>
                    <a:pt x="117" y="1"/>
                  </a:lnTo>
                  <a:lnTo>
                    <a:pt x="131" y="0"/>
                  </a:lnTo>
                  <a:lnTo>
                    <a:pt x="900" y="0"/>
                  </a:lnTo>
                  <a:lnTo>
                    <a:pt x="900" y="0"/>
                  </a:lnTo>
                  <a:lnTo>
                    <a:pt x="914" y="1"/>
                  </a:lnTo>
                  <a:lnTo>
                    <a:pt x="926" y="2"/>
                  </a:lnTo>
                  <a:lnTo>
                    <a:pt x="939" y="6"/>
                  </a:lnTo>
                  <a:lnTo>
                    <a:pt x="951" y="10"/>
                  </a:lnTo>
                  <a:lnTo>
                    <a:pt x="963" y="16"/>
                  </a:lnTo>
                  <a:lnTo>
                    <a:pt x="974" y="22"/>
                  </a:lnTo>
                  <a:lnTo>
                    <a:pt x="984" y="30"/>
                  </a:lnTo>
                  <a:lnTo>
                    <a:pt x="994" y="39"/>
                  </a:lnTo>
                  <a:lnTo>
                    <a:pt x="1002" y="48"/>
                  </a:lnTo>
                  <a:lnTo>
                    <a:pt x="1009" y="58"/>
                  </a:lnTo>
                  <a:lnTo>
                    <a:pt x="1016" y="69"/>
                  </a:lnTo>
                  <a:lnTo>
                    <a:pt x="1022" y="80"/>
                  </a:lnTo>
                  <a:lnTo>
                    <a:pt x="1026" y="93"/>
                  </a:lnTo>
                  <a:lnTo>
                    <a:pt x="1029" y="106"/>
                  </a:lnTo>
                  <a:lnTo>
                    <a:pt x="1032" y="119"/>
                  </a:lnTo>
                  <a:lnTo>
                    <a:pt x="1032" y="133"/>
                  </a:lnTo>
                  <a:lnTo>
                    <a:pt x="1032" y="133"/>
                  </a:lnTo>
                  <a:lnTo>
                    <a:pt x="1032" y="133"/>
                  </a:lnTo>
                  <a:lnTo>
                    <a:pt x="1032" y="146"/>
                  </a:lnTo>
                  <a:lnTo>
                    <a:pt x="1029" y="159"/>
                  </a:lnTo>
                  <a:lnTo>
                    <a:pt x="1026" y="171"/>
                  </a:lnTo>
                  <a:lnTo>
                    <a:pt x="1022" y="184"/>
                  </a:lnTo>
                  <a:lnTo>
                    <a:pt x="1016" y="195"/>
                  </a:lnTo>
                  <a:lnTo>
                    <a:pt x="1009" y="206"/>
                  </a:lnTo>
                  <a:lnTo>
                    <a:pt x="1002" y="216"/>
                  </a:lnTo>
                  <a:lnTo>
                    <a:pt x="994" y="226"/>
                  </a:lnTo>
                  <a:lnTo>
                    <a:pt x="984" y="234"/>
                  </a:lnTo>
                  <a:lnTo>
                    <a:pt x="974" y="242"/>
                  </a:lnTo>
                  <a:lnTo>
                    <a:pt x="963" y="248"/>
                  </a:lnTo>
                  <a:lnTo>
                    <a:pt x="951" y="254"/>
                  </a:lnTo>
                  <a:lnTo>
                    <a:pt x="939" y="258"/>
                  </a:lnTo>
                  <a:lnTo>
                    <a:pt x="926" y="262"/>
                  </a:lnTo>
                  <a:lnTo>
                    <a:pt x="914" y="264"/>
                  </a:lnTo>
                  <a:lnTo>
                    <a:pt x="900" y="264"/>
                  </a:lnTo>
                  <a:lnTo>
                    <a:pt x="900" y="26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329" name="Freeform 70">
              <a:extLst>
                <a:ext uri="{FF2B5EF4-FFF2-40B4-BE49-F238E27FC236}">
                  <a16:creationId xmlns:a16="http://schemas.microsoft.com/office/drawing/2014/main" id="{6CE3DF29-0561-4C13-B8A0-D574F38C4A95}"/>
                </a:ext>
              </a:extLst>
            </p:cNvPr>
            <p:cNvSpPr>
              <a:spLocks/>
            </p:cNvSpPr>
            <p:nvPr/>
          </p:nvSpPr>
          <p:spPr bwMode="auto">
            <a:xfrm>
              <a:off x="3136025" y="3905002"/>
              <a:ext cx="68767" cy="268816"/>
            </a:xfrm>
            <a:custGeom>
              <a:avLst/>
              <a:gdLst>
                <a:gd name="T0" fmla="*/ 0 w 265"/>
                <a:gd name="T1" fmla="*/ 133 h 1034"/>
                <a:gd name="T2" fmla="*/ 1 w 265"/>
                <a:gd name="T3" fmla="*/ 119 h 1034"/>
                <a:gd name="T4" fmla="*/ 6 w 265"/>
                <a:gd name="T5" fmla="*/ 94 h 1034"/>
                <a:gd name="T6" fmla="*/ 16 w 265"/>
                <a:gd name="T7" fmla="*/ 69 h 1034"/>
                <a:gd name="T8" fmla="*/ 30 w 265"/>
                <a:gd name="T9" fmla="*/ 49 h 1034"/>
                <a:gd name="T10" fmla="*/ 48 w 265"/>
                <a:gd name="T11" fmla="*/ 30 h 1034"/>
                <a:gd name="T12" fmla="*/ 69 w 265"/>
                <a:gd name="T13" fmla="*/ 17 h 1034"/>
                <a:gd name="T14" fmla="*/ 94 w 265"/>
                <a:gd name="T15" fmla="*/ 7 h 1034"/>
                <a:gd name="T16" fmla="*/ 119 w 265"/>
                <a:gd name="T17" fmla="*/ 2 h 1034"/>
                <a:gd name="T18" fmla="*/ 133 w 265"/>
                <a:gd name="T19" fmla="*/ 0 h 1034"/>
                <a:gd name="T20" fmla="*/ 146 w 265"/>
                <a:gd name="T21" fmla="*/ 2 h 1034"/>
                <a:gd name="T22" fmla="*/ 171 w 265"/>
                <a:gd name="T23" fmla="*/ 7 h 1034"/>
                <a:gd name="T24" fmla="*/ 196 w 265"/>
                <a:gd name="T25" fmla="*/ 17 h 1034"/>
                <a:gd name="T26" fmla="*/ 216 w 265"/>
                <a:gd name="T27" fmla="*/ 30 h 1034"/>
                <a:gd name="T28" fmla="*/ 235 w 265"/>
                <a:gd name="T29" fmla="*/ 49 h 1034"/>
                <a:gd name="T30" fmla="*/ 248 w 265"/>
                <a:gd name="T31" fmla="*/ 69 h 1034"/>
                <a:gd name="T32" fmla="*/ 258 w 265"/>
                <a:gd name="T33" fmla="*/ 94 h 1034"/>
                <a:gd name="T34" fmla="*/ 264 w 265"/>
                <a:gd name="T35" fmla="*/ 119 h 1034"/>
                <a:gd name="T36" fmla="*/ 265 w 265"/>
                <a:gd name="T37" fmla="*/ 901 h 1034"/>
                <a:gd name="T38" fmla="*/ 264 w 265"/>
                <a:gd name="T39" fmla="*/ 915 h 1034"/>
                <a:gd name="T40" fmla="*/ 258 w 265"/>
                <a:gd name="T41" fmla="*/ 941 h 1034"/>
                <a:gd name="T42" fmla="*/ 248 w 265"/>
                <a:gd name="T43" fmla="*/ 965 h 1034"/>
                <a:gd name="T44" fmla="*/ 235 w 265"/>
                <a:gd name="T45" fmla="*/ 986 h 1034"/>
                <a:gd name="T46" fmla="*/ 216 w 265"/>
                <a:gd name="T47" fmla="*/ 1004 h 1034"/>
                <a:gd name="T48" fmla="*/ 196 w 265"/>
                <a:gd name="T49" fmla="*/ 1018 h 1034"/>
                <a:gd name="T50" fmla="*/ 171 w 265"/>
                <a:gd name="T51" fmla="*/ 1028 h 1034"/>
                <a:gd name="T52" fmla="*/ 146 w 265"/>
                <a:gd name="T53" fmla="*/ 1032 h 1034"/>
                <a:gd name="T54" fmla="*/ 133 w 265"/>
                <a:gd name="T55" fmla="*/ 1034 h 1034"/>
                <a:gd name="T56" fmla="*/ 119 w 265"/>
                <a:gd name="T57" fmla="*/ 1032 h 1034"/>
                <a:gd name="T58" fmla="*/ 94 w 265"/>
                <a:gd name="T59" fmla="*/ 1028 h 1034"/>
                <a:gd name="T60" fmla="*/ 69 w 265"/>
                <a:gd name="T61" fmla="*/ 1018 h 1034"/>
                <a:gd name="T62" fmla="*/ 48 w 265"/>
                <a:gd name="T63" fmla="*/ 1004 h 1034"/>
                <a:gd name="T64" fmla="*/ 30 w 265"/>
                <a:gd name="T65" fmla="*/ 986 h 1034"/>
                <a:gd name="T66" fmla="*/ 16 w 265"/>
                <a:gd name="T67" fmla="*/ 965 h 1034"/>
                <a:gd name="T68" fmla="*/ 6 w 265"/>
                <a:gd name="T69" fmla="*/ 941 h 1034"/>
                <a:gd name="T70" fmla="*/ 1 w 265"/>
                <a:gd name="T71" fmla="*/ 915 h 1034"/>
                <a:gd name="T72" fmla="*/ 0 w 265"/>
                <a:gd name="T73" fmla="*/ 90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1034">
                  <a:moveTo>
                    <a:pt x="0" y="901"/>
                  </a:moveTo>
                  <a:lnTo>
                    <a:pt x="0" y="133"/>
                  </a:lnTo>
                  <a:lnTo>
                    <a:pt x="0" y="133"/>
                  </a:lnTo>
                  <a:lnTo>
                    <a:pt x="1" y="119"/>
                  </a:lnTo>
                  <a:lnTo>
                    <a:pt x="4" y="106"/>
                  </a:lnTo>
                  <a:lnTo>
                    <a:pt x="6" y="94"/>
                  </a:lnTo>
                  <a:lnTo>
                    <a:pt x="10" y="82"/>
                  </a:lnTo>
                  <a:lnTo>
                    <a:pt x="16" y="69"/>
                  </a:lnTo>
                  <a:lnTo>
                    <a:pt x="22" y="59"/>
                  </a:lnTo>
                  <a:lnTo>
                    <a:pt x="30" y="49"/>
                  </a:lnTo>
                  <a:lnTo>
                    <a:pt x="39" y="39"/>
                  </a:lnTo>
                  <a:lnTo>
                    <a:pt x="48" y="30"/>
                  </a:lnTo>
                  <a:lnTo>
                    <a:pt x="59" y="24"/>
                  </a:lnTo>
                  <a:lnTo>
                    <a:pt x="69" y="17"/>
                  </a:lnTo>
                  <a:lnTo>
                    <a:pt x="81" y="12"/>
                  </a:lnTo>
                  <a:lnTo>
                    <a:pt x="94" y="7"/>
                  </a:lnTo>
                  <a:lnTo>
                    <a:pt x="106" y="4"/>
                  </a:lnTo>
                  <a:lnTo>
                    <a:pt x="119" y="2"/>
                  </a:lnTo>
                  <a:lnTo>
                    <a:pt x="133" y="0"/>
                  </a:lnTo>
                  <a:lnTo>
                    <a:pt x="133" y="0"/>
                  </a:lnTo>
                  <a:lnTo>
                    <a:pt x="133" y="0"/>
                  </a:lnTo>
                  <a:lnTo>
                    <a:pt x="146" y="2"/>
                  </a:lnTo>
                  <a:lnTo>
                    <a:pt x="159" y="4"/>
                  </a:lnTo>
                  <a:lnTo>
                    <a:pt x="171" y="7"/>
                  </a:lnTo>
                  <a:lnTo>
                    <a:pt x="184" y="12"/>
                  </a:lnTo>
                  <a:lnTo>
                    <a:pt x="196" y="17"/>
                  </a:lnTo>
                  <a:lnTo>
                    <a:pt x="206" y="24"/>
                  </a:lnTo>
                  <a:lnTo>
                    <a:pt x="216" y="30"/>
                  </a:lnTo>
                  <a:lnTo>
                    <a:pt x="226" y="39"/>
                  </a:lnTo>
                  <a:lnTo>
                    <a:pt x="235" y="49"/>
                  </a:lnTo>
                  <a:lnTo>
                    <a:pt x="242" y="59"/>
                  </a:lnTo>
                  <a:lnTo>
                    <a:pt x="248" y="69"/>
                  </a:lnTo>
                  <a:lnTo>
                    <a:pt x="254" y="82"/>
                  </a:lnTo>
                  <a:lnTo>
                    <a:pt x="258" y="94"/>
                  </a:lnTo>
                  <a:lnTo>
                    <a:pt x="262" y="106"/>
                  </a:lnTo>
                  <a:lnTo>
                    <a:pt x="264" y="119"/>
                  </a:lnTo>
                  <a:lnTo>
                    <a:pt x="265" y="133"/>
                  </a:lnTo>
                  <a:lnTo>
                    <a:pt x="265" y="901"/>
                  </a:lnTo>
                  <a:lnTo>
                    <a:pt x="265" y="901"/>
                  </a:lnTo>
                  <a:lnTo>
                    <a:pt x="264" y="915"/>
                  </a:lnTo>
                  <a:lnTo>
                    <a:pt x="262" y="928"/>
                  </a:lnTo>
                  <a:lnTo>
                    <a:pt x="258" y="941"/>
                  </a:lnTo>
                  <a:lnTo>
                    <a:pt x="254" y="953"/>
                  </a:lnTo>
                  <a:lnTo>
                    <a:pt x="248" y="965"/>
                  </a:lnTo>
                  <a:lnTo>
                    <a:pt x="242" y="976"/>
                  </a:lnTo>
                  <a:lnTo>
                    <a:pt x="235" y="986"/>
                  </a:lnTo>
                  <a:lnTo>
                    <a:pt x="226" y="995"/>
                  </a:lnTo>
                  <a:lnTo>
                    <a:pt x="216" y="1004"/>
                  </a:lnTo>
                  <a:lnTo>
                    <a:pt x="206" y="1011"/>
                  </a:lnTo>
                  <a:lnTo>
                    <a:pt x="196" y="1018"/>
                  </a:lnTo>
                  <a:lnTo>
                    <a:pt x="184" y="1024"/>
                  </a:lnTo>
                  <a:lnTo>
                    <a:pt x="171" y="1028"/>
                  </a:lnTo>
                  <a:lnTo>
                    <a:pt x="159" y="1031"/>
                  </a:lnTo>
                  <a:lnTo>
                    <a:pt x="146" y="1032"/>
                  </a:lnTo>
                  <a:lnTo>
                    <a:pt x="133" y="1034"/>
                  </a:lnTo>
                  <a:lnTo>
                    <a:pt x="133" y="1034"/>
                  </a:lnTo>
                  <a:lnTo>
                    <a:pt x="133" y="1034"/>
                  </a:lnTo>
                  <a:lnTo>
                    <a:pt x="119" y="1032"/>
                  </a:lnTo>
                  <a:lnTo>
                    <a:pt x="106" y="1031"/>
                  </a:lnTo>
                  <a:lnTo>
                    <a:pt x="94" y="1028"/>
                  </a:lnTo>
                  <a:lnTo>
                    <a:pt x="81" y="1024"/>
                  </a:lnTo>
                  <a:lnTo>
                    <a:pt x="69" y="1018"/>
                  </a:lnTo>
                  <a:lnTo>
                    <a:pt x="59" y="1011"/>
                  </a:lnTo>
                  <a:lnTo>
                    <a:pt x="48" y="1004"/>
                  </a:lnTo>
                  <a:lnTo>
                    <a:pt x="39" y="995"/>
                  </a:lnTo>
                  <a:lnTo>
                    <a:pt x="30" y="986"/>
                  </a:lnTo>
                  <a:lnTo>
                    <a:pt x="22" y="976"/>
                  </a:lnTo>
                  <a:lnTo>
                    <a:pt x="16" y="965"/>
                  </a:lnTo>
                  <a:lnTo>
                    <a:pt x="10" y="953"/>
                  </a:lnTo>
                  <a:lnTo>
                    <a:pt x="6" y="941"/>
                  </a:lnTo>
                  <a:lnTo>
                    <a:pt x="4" y="928"/>
                  </a:lnTo>
                  <a:lnTo>
                    <a:pt x="1" y="915"/>
                  </a:lnTo>
                  <a:lnTo>
                    <a:pt x="0" y="901"/>
                  </a:lnTo>
                  <a:lnTo>
                    <a:pt x="0" y="901"/>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sp>
        <p:nvSpPr>
          <p:cNvPr id="53" name="Ellipse 52"/>
          <p:cNvSpPr/>
          <p:nvPr/>
        </p:nvSpPr>
        <p:spPr bwMode="auto">
          <a:xfrm>
            <a:off x="3563121"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80" name="Freeform 74">
            <a:extLst>
              <a:ext uri="{FF2B5EF4-FFF2-40B4-BE49-F238E27FC236}">
                <a16:creationId xmlns:a16="http://schemas.microsoft.com/office/drawing/2014/main" id="{CC23E2C4-FF38-43E7-9B8E-32A202791C54}"/>
              </a:ext>
            </a:extLst>
          </p:cNvPr>
          <p:cNvSpPr>
            <a:spLocks/>
          </p:cNvSpPr>
          <p:nvPr/>
        </p:nvSpPr>
        <p:spPr bwMode="auto">
          <a:xfrm>
            <a:off x="3572941" y="3245980"/>
            <a:ext cx="443858" cy="443858"/>
          </a:xfrm>
          <a:custGeom>
            <a:avLst/>
            <a:gdLst>
              <a:gd name="T0" fmla="*/ 1709 w 1710"/>
              <a:gd name="T1" fmla="*/ 899 h 1710"/>
              <a:gd name="T2" fmla="*/ 1693 w 1710"/>
              <a:gd name="T3" fmla="*/ 1027 h 1710"/>
              <a:gd name="T4" fmla="*/ 1658 w 1710"/>
              <a:gd name="T5" fmla="*/ 1148 h 1710"/>
              <a:gd name="T6" fmla="*/ 1607 w 1710"/>
              <a:gd name="T7" fmla="*/ 1263 h 1710"/>
              <a:gd name="T8" fmla="*/ 1541 w 1710"/>
              <a:gd name="T9" fmla="*/ 1366 h 1710"/>
              <a:gd name="T10" fmla="*/ 1459 w 1710"/>
              <a:gd name="T11" fmla="*/ 1459 h 1710"/>
              <a:gd name="T12" fmla="*/ 1367 w 1710"/>
              <a:gd name="T13" fmla="*/ 1539 h 1710"/>
              <a:gd name="T14" fmla="*/ 1263 w 1710"/>
              <a:gd name="T15" fmla="*/ 1606 h 1710"/>
              <a:gd name="T16" fmla="*/ 1149 w 1710"/>
              <a:gd name="T17" fmla="*/ 1657 h 1710"/>
              <a:gd name="T18" fmla="*/ 1028 w 1710"/>
              <a:gd name="T19" fmla="*/ 1692 h 1710"/>
              <a:gd name="T20" fmla="*/ 899 w 1710"/>
              <a:gd name="T21" fmla="*/ 1709 h 1710"/>
              <a:gd name="T22" fmla="*/ 811 w 1710"/>
              <a:gd name="T23" fmla="*/ 1709 h 1710"/>
              <a:gd name="T24" fmla="*/ 683 w 1710"/>
              <a:gd name="T25" fmla="*/ 1692 h 1710"/>
              <a:gd name="T26" fmla="*/ 562 w 1710"/>
              <a:gd name="T27" fmla="*/ 1657 h 1710"/>
              <a:gd name="T28" fmla="*/ 449 w 1710"/>
              <a:gd name="T29" fmla="*/ 1606 h 1710"/>
              <a:gd name="T30" fmla="*/ 344 w 1710"/>
              <a:gd name="T31" fmla="*/ 1539 h 1710"/>
              <a:gd name="T32" fmla="*/ 251 w 1710"/>
              <a:gd name="T33" fmla="*/ 1459 h 1710"/>
              <a:gd name="T34" fmla="*/ 171 w 1710"/>
              <a:gd name="T35" fmla="*/ 1366 h 1710"/>
              <a:gd name="T36" fmla="*/ 104 w 1710"/>
              <a:gd name="T37" fmla="*/ 1263 h 1710"/>
              <a:gd name="T38" fmla="*/ 53 w 1710"/>
              <a:gd name="T39" fmla="*/ 1148 h 1710"/>
              <a:gd name="T40" fmla="*/ 18 w 1710"/>
              <a:gd name="T41" fmla="*/ 1027 h 1710"/>
              <a:gd name="T42" fmla="*/ 1 w 1710"/>
              <a:gd name="T43" fmla="*/ 899 h 1710"/>
              <a:gd name="T44" fmla="*/ 1 w 1710"/>
              <a:gd name="T45" fmla="*/ 811 h 1710"/>
              <a:gd name="T46" fmla="*/ 18 w 1710"/>
              <a:gd name="T47" fmla="*/ 682 h 1710"/>
              <a:gd name="T48" fmla="*/ 53 w 1710"/>
              <a:gd name="T49" fmla="*/ 561 h 1710"/>
              <a:gd name="T50" fmla="*/ 104 w 1710"/>
              <a:gd name="T51" fmla="*/ 447 h 1710"/>
              <a:gd name="T52" fmla="*/ 171 w 1710"/>
              <a:gd name="T53" fmla="*/ 343 h 1710"/>
              <a:gd name="T54" fmla="*/ 251 w 1710"/>
              <a:gd name="T55" fmla="*/ 251 h 1710"/>
              <a:gd name="T56" fmla="*/ 344 w 1710"/>
              <a:gd name="T57" fmla="*/ 169 h 1710"/>
              <a:gd name="T58" fmla="*/ 449 w 1710"/>
              <a:gd name="T59" fmla="*/ 103 h 1710"/>
              <a:gd name="T60" fmla="*/ 562 w 1710"/>
              <a:gd name="T61" fmla="*/ 52 h 1710"/>
              <a:gd name="T62" fmla="*/ 683 w 1710"/>
              <a:gd name="T63" fmla="*/ 17 h 1710"/>
              <a:gd name="T64" fmla="*/ 811 w 1710"/>
              <a:gd name="T65" fmla="*/ 1 h 1710"/>
              <a:gd name="T66" fmla="*/ 899 w 1710"/>
              <a:gd name="T67" fmla="*/ 1 h 1710"/>
              <a:gd name="T68" fmla="*/ 1028 w 1710"/>
              <a:gd name="T69" fmla="*/ 17 h 1710"/>
              <a:gd name="T70" fmla="*/ 1149 w 1710"/>
              <a:gd name="T71" fmla="*/ 52 h 1710"/>
              <a:gd name="T72" fmla="*/ 1263 w 1710"/>
              <a:gd name="T73" fmla="*/ 103 h 1710"/>
              <a:gd name="T74" fmla="*/ 1367 w 1710"/>
              <a:gd name="T75" fmla="*/ 169 h 1710"/>
              <a:gd name="T76" fmla="*/ 1459 w 1710"/>
              <a:gd name="T77" fmla="*/ 251 h 1710"/>
              <a:gd name="T78" fmla="*/ 1541 w 1710"/>
              <a:gd name="T79" fmla="*/ 343 h 1710"/>
              <a:gd name="T80" fmla="*/ 1607 w 1710"/>
              <a:gd name="T81" fmla="*/ 447 h 1710"/>
              <a:gd name="T82" fmla="*/ 1658 w 1710"/>
              <a:gd name="T83" fmla="*/ 561 h 1710"/>
              <a:gd name="T84" fmla="*/ 1693 w 1710"/>
              <a:gd name="T85" fmla="*/ 682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1" y="985"/>
                </a:lnTo>
                <a:lnTo>
                  <a:pt x="1693" y="1027"/>
                </a:lnTo>
                <a:lnTo>
                  <a:pt x="1683" y="1068"/>
                </a:lnTo>
                <a:lnTo>
                  <a:pt x="1672" y="1109"/>
                </a:lnTo>
                <a:lnTo>
                  <a:pt x="1658" y="1148"/>
                </a:lnTo>
                <a:lnTo>
                  <a:pt x="1643" y="1187"/>
                </a:lnTo>
                <a:lnTo>
                  <a:pt x="1626" y="1225"/>
                </a:lnTo>
                <a:lnTo>
                  <a:pt x="1607" y="1263"/>
                </a:lnTo>
                <a:lnTo>
                  <a:pt x="1586" y="1298"/>
                </a:lnTo>
                <a:lnTo>
                  <a:pt x="1564" y="1333"/>
                </a:lnTo>
                <a:lnTo>
                  <a:pt x="1541" y="1366"/>
                </a:lnTo>
                <a:lnTo>
                  <a:pt x="1515" y="1398"/>
                </a:lnTo>
                <a:lnTo>
                  <a:pt x="1488" y="1429"/>
                </a:lnTo>
                <a:lnTo>
                  <a:pt x="1459" y="1459"/>
                </a:lnTo>
                <a:lnTo>
                  <a:pt x="1431" y="1487"/>
                </a:lnTo>
                <a:lnTo>
                  <a:pt x="1399" y="1514"/>
                </a:lnTo>
                <a:lnTo>
                  <a:pt x="1367" y="1539"/>
                </a:lnTo>
                <a:lnTo>
                  <a:pt x="1334" y="1563"/>
                </a:lnTo>
                <a:lnTo>
                  <a:pt x="1298" y="1585"/>
                </a:lnTo>
                <a:lnTo>
                  <a:pt x="1263" y="1606"/>
                </a:lnTo>
                <a:lnTo>
                  <a:pt x="1226" y="1625"/>
                </a:lnTo>
                <a:lnTo>
                  <a:pt x="1188" y="1642"/>
                </a:lnTo>
                <a:lnTo>
                  <a:pt x="1149" y="1657"/>
                </a:lnTo>
                <a:lnTo>
                  <a:pt x="1109" y="1671"/>
                </a:lnTo>
                <a:lnTo>
                  <a:pt x="1069" y="1682"/>
                </a:lnTo>
                <a:lnTo>
                  <a:pt x="1028" y="1692"/>
                </a:lnTo>
                <a:lnTo>
                  <a:pt x="986" y="1700"/>
                </a:lnTo>
                <a:lnTo>
                  <a:pt x="942" y="1705"/>
                </a:lnTo>
                <a:lnTo>
                  <a:pt x="899" y="1709"/>
                </a:lnTo>
                <a:lnTo>
                  <a:pt x="856" y="1710"/>
                </a:lnTo>
                <a:lnTo>
                  <a:pt x="856" y="1710"/>
                </a:lnTo>
                <a:lnTo>
                  <a:pt x="811" y="1709"/>
                </a:lnTo>
                <a:lnTo>
                  <a:pt x="768" y="1705"/>
                </a:lnTo>
                <a:lnTo>
                  <a:pt x="725" y="1700"/>
                </a:lnTo>
                <a:lnTo>
                  <a:pt x="683" y="1692"/>
                </a:lnTo>
                <a:lnTo>
                  <a:pt x="642" y="1682"/>
                </a:lnTo>
                <a:lnTo>
                  <a:pt x="601" y="1671"/>
                </a:lnTo>
                <a:lnTo>
                  <a:pt x="562" y="1657"/>
                </a:lnTo>
                <a:lnTo>
                  <a:pt x="523" y="1642"/>
                </a:lnTo>
                <a:lnTo>
                  <a:pt x="485" y="1625"/>
                </a:lnTo>
                <a:lnTo>
                  <a:pt x="449" y="1606"/>
                </a:lnTo>
                <a:lnTo>
                  <a:pt x="412" y="1585"/>
                </a:lnTo>
                <a:lnTo>
                  <a:pt x="377" y="1563"/>
                </a:lnTo>
                <a:lnTo>
                  <a:pt x="344" y="1539"/>
                </a:lnTo>
                <a:lnTo>
                  <a:pt x="312" y="1514"/>
                </a:lnTo>
                <a:lnTo>
                  <a:pt x="281" y="1487"/>
                </a:lnTo>
                <a:lnTo>
                  <a:pt x="251" y="1459"/>
                </a:lnTo>
                <a:lnTo>
                  <a:pt x="223" y="1429"/>
                </a:lnTo>
                <a:lnTo>
                  <a:pt x="196" y="1398"/>
                </a:lnTo>
                <a:lnTo>
                  <a:pt x="171" y="1366"/>
                </a:lnTo>
                <a:lnTo>
                  <a:pt x="147" y="1333"/>
                </a:lnTo>
                <a:lnTo>
                  <a:pt x="125" y="1298"/>
                </a:lnTo>
                <a:lnTo>
                  <a:pt x="104" y="1263"/>
                </a:lnTo>
                <a:lnTo>
                  <a:pt x="85" y="1225"/>
                </a:lnTo>
                <a:lnTo>
                  <a:pt x="68" y="1187"/>
                </a:lnTo>
                <a:lnTo>
                  <a:pt x="53" y="1148"/>
                </a:lnTo>
                <a:lnTo>
                  <a:pt x="39" y="1109"/>
                </a:lnTo>
                <a:lnTo>
                  <a:pt x="28" y="1068"/>
                </a:lnTo>
                <a:lnTo>
                  <a:pt x="18" y="1027"/>
                </a:lnTo>
                <a:lnTo>
                  <a:pt x="10" y="985"/>
                </a:lnTo>
                <a:lnTo>
                  <a:pt x="5" y="942"/>
                </a:lnTo>
                <a:lnTo>
                  <a:pt x="1" y="899"/>
                </a:lnTo>
                <a:lnTo>
                  <a:pt x="0" y="854"/>
                </a:lnTo>
                <a:lnTo>
                  <a:pt x="0" y="854"/>
                </a:lnTo>
                <a:lnTo>
                  <a:pt x="1" y="811"/>
                </a:lnTo>
                <a:lnTo>
                  <a:pt x="5" y="768"/>
                </a:lnTo>
                <a:lnTo>
                  <a:pt x="10" y="724"/>
                </a:lnTo>
                <a:lnTo>
                  <a:pt x="18" y="682"/>
                </a:lnTo>
                <a:lnTo>
                  <a:pt x="28" y="641"/>
                </a:lnTo>
                <a:lnTo>
                  <a:pt x="39" y="601"/>
                </a:lnTo>
                <a:lnTo>
                  <a:pt x="53" y="561"/>
                </a:lnTo>
                <a:lnTo>
                  <a:pt x="68" y="522"/>
                </a:lnTo>
                <a:lnTo>
                  <a:pt x="85" y="484"/>
                </a:lnTo>
                <a:lnTo>
                  <a:pt x="104" y="447"/>
                </a:lnTo>
                <a:lnTo>
                  <a:pt x="125" y="412"/>
                </a:lnTo>
                <a:lnTo>
                  <a:pt x="147" y="377"/>
                </a:lnTo>
                <a:lnTo>
                  <a:pt x="171" y="343"/>
                </a:lnTo>
                <a:lnTo>
                  <a:pt x="196" y="311"/>
                </a:lnTo>
                <a:lnTo>
                  <a:pt x="223" y="279"/>
                </a:lnTo>
                <a:lnTo>
                  <a:pt x="251" y="251"/>
                </a:lnTo>
                <a:lnTo>
                  <a:pt x="281" y="222"/>
                </a:lnTo>
                <a:lnTo>
                  <a:pt x="312" y="195"/>
                </a:lnTo>
                <a:lnTo>
                  <a:pt x="344" y="169"/>
                </a:lnTo>
                <a:lnTo>
                  <a:pt x="377" y="146"/>
                </a:lnTo>
                <a:lnTo>
                  <a:pt x="412" y="124"/>
                </a:lnTo>
                <a:lnTo>
                  <a:pt x="449" y="103"/>
                </a:lnTo>
                <a:lnTo>
                  <a:pt x="485" y="84"/>
                </a:lnTo>
                <a:lnTo>
                  <a:pt x="523" y="67"/>
                </a:lnTo>
                <a:lnTo>
                  <a:pt x="562" y="52"/>
                </a:lnTo>
                <a:lnTo>
                  <a:pt x="601" y="38"/>
                </a:lnTo>
                <a:lnTo>
                  <a:pt x="642" y="27"/>
                </a:lnTo>
                <a:lnTo>
                  <a:pt x="683" y="17"/>
                </a:lnTo>
                <a:lnTo>
                  <a:pt x="725" y="10"/>
                </a:lnTo>
                <a:lnTo>
                  <a:pt x="768" y="5"/>
                </a:lnTo>
                <a:lnTo>
                  <a:pt x="811" y="1"/>
                </a:lnTo>
                <a:lnTo>
                  <a:pt x="856" y="0"/>
                </a:lnTo>
                <a:lnTo>
                  <a:pt x="856" y="0"/>
                </a:lnTo>
                <a:lnTo>
                  <a:pt x="899" y="1"/>
                </a:lnTo>
                <a:lnTo>
                  <a:pt x="942" y="5"/>
                </a:lnTo>
                <a:lnTo>
                  <a:pt x="986" y="10"/>
                </a:lnTo>
                <a:lnTo>
                  <a:pt x="1028" y="17"/>
                </a:lnTo>
                <a:lnTo>
                  <a:pt x="1069" y="27"/>
                </a:lnTo>
                <a:lnTo>
                  <a:pt x="1109" y="38"/>
                </a:lnTo>
                <a:lnTo>
                  <a:pt x="1149" y="52"/>
                </a:lnTo>
                <a:lnTo>
                  <a:pt x="1188" y="67"/>
                </a:lnTo>
                <a:lnTo>
                  <a:pt x="1226" y="84"/>
                </a:lnTo>
                <a:lnTo>
                  <a:pt x="1263" y="103"/>
                </a:lnTo>
                <a:lnTo>
                  <a:pt x="1298" y="124"/>
                </a:lnTo>
                <a:lnTo>
                  <a:pt x="1334" y="146"/>
                </a:lnTo>
                <a:lnTo>
                  <a:pt x="1367" y="169"/>
                </a:lnTo>
                <a:lnTo>
                  <a:pt x="1399" y="195"/>
                </a:lnTo>
                <a:lnTo>
                  <a:pt x="1431" y="222"/>
                </a:lnTo>
                <a:lnTo>
                  <a:pt x="1459" y="251"/>
                </a:lnTo>
                <a:lnTo>
                  <a:pt x="1488" y="279"/>
                </a:lnTo>
                <a:lnTo>
                  <a:pt x="1515" y="311"/>
                </a:lnTo>
                <a:lnTo>
                  <a:pt x="1541" y="343"/>
                </a:lnTo>
                <a:lnTo>
                  <a:pt x="1564" y="377"/>
                </a:lnTo>
                <a:lnTo>
                  <a:pt x="1586" y="412"/>
                </a:lnTo>
                <a:lnTo>
                  <a:pt x="1607" y="447"/>
                </a:lnTo>
                <a:lnTo>
                  <a:pt x="1626" y="484"/>
                </a:lnTo>
                <a:lnTo>
                  <a:pt x="1643" y="522"/>
                </a:lnTo>
                <a:lnTo>
                  <a:pt x="1658" y="561"/>
                </a:lnTo>
                <a:lnTo>
                  <a:pt x="1672" y="601"/>
                </a:lnTo>
                <a:lnTo>
                  <a:pt x="1683" y="641"/>
                </a:lnTo>
                <a:lnTo>
                  <a:pt x="1693" y="682"/>
                </a:lnTo>
                <a:lnTo>
                  <a:pt x="1701" y="724"/>
                </a:lnTo>
                <a:lnTo>
                  <a:pt x="1705" y="768"/>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81" name="Gruppieren 180">
            <a:extLst>
              <a:ext uri="{FF2B5EF4-FFF2-40B4-BE49-F238E27FC236}">
                <a16:creationId xmlns:a16="http://schemas.microsoft.com/office/drawing/2014/main" id="{CD033509-F5B0-4CAA-AF9D-154D22145E3D}"/>
              </a:ext>
            </a:extLst>
          </p:cNvPr>
          <p:cNvGrpSpPr/>
          <p:nvPr/>
        </p:nvGrpSpPr>
        <p:grpSpPr>
          <a:xfrm>
            <a:off x="3660462" y="3391328"/>
            <a:ext cx="268816" cy="153162"/>
            <a:chOff x="3681470" y="3962829"/>
            <a:chExt cx="268816" cy="153162"/>
          </a:xfrm>
        </p:grpSpPr>
        <p:sp>
          <p:nvSpPr>
            <p:cNvPr id="182" name="Freeform 75">
              <a:extLst>
                <a:ext uri="{FF2B5EF4-FFF2-40B4-BE49-F238E27FC236}">
                  <a16:creationId xmlns:a16="http://schemas.microsoft.com/office/drawing/2014/main" id="{625A703B-1A3B-46F6-B166-CAB58CE441A7}"/>
                </a:ext>
              </a:extLst>
            </p:cNvPr>
            <p:cNvSpPr>
              <a:spLocks/>
            </p:cNvSpPr>
            <p:nvPr/>
          </p:nvSpPr>
          <p:spPr bwMode="auto">
            <a:xfrm>
              <a:off x="3681470" y="4047224"/>
              <a:ext cx="268816" cy="68767"/>
            </a:xfrm>
            <a:custGeom>
              <a:avLst/>
              <a:gdLst>
                <a:gd name="T0" fmla="*/ 131 w 1032"/>
                <a:gd name="T1" fmla="*/ 265 h 265"/>
                <a:gd name="T2" fmla="*/ 117 w 1032"/>
                <a:gd name="T3" fmla="*/ 264 h 265"/>
                <a:gd name="T4" fmla="*/ 92 w 1032"/>
                <a:gd name="T5" fmla="*/ 258 h 265"/>
                <a:gd name="T6" fmla="*/ 68 w 1032"/>
                <a:gd name="T7" fmla="*/ 248 h 265"/>
                <a:gd name="T8" fmla="*/ 47 w 1032"/>
                <a:gd name="T9" fmla="*/ 235 h 265"/>
                <a:gd name="T10" fmla="*/ 30 w 1032"/>
                <a:gd name="T11" fmla="*/ 217 h 265"/>
                <a:gd name="T12" fmla="*/ 15 w 1032"/>
                <a:gd name="T13" fmla="*/ 196 h 265"/>
                <a:gd name="T14" fmla="*/ 5 w 1032"/>
                <a:gd name="T15" fmla="*/ 172 h 265"/>
                <a:gd name="T16" fmla="*/ 0 w 1032"/>
                <a:gd name="T17" fmla="*/ 146 h 265"/>
                <a:gd name="T18" fmla="*/ 0 w 1032"/>
                <a:gd name="T19" fmla="*/ 133 h 265"/>
                <a:gd name="T20" fmla="*/ 0 w 1032"/>
                <a:gd name="T21" fmla="*/ 119 h 265"/>
                <a:gd name="T22" fmla="*/ 5 w 1032"/>
                <a:gd name="T23" fmla="*/ 94 h 265"/>
                <a:gd name="T24" fmla="*/ 15 w 1032"/>
                <a:gd name="T25" fmla="*/ 69 h 265"/>
                <a:gd name="T26" fmla="*/ 30 w 1032"/>
                <a:gd name="T27" fmla="*/ 48 h 265"/>
                <a:gd name="T28" fmla="*/ 47 w 1032"/>
                <a:gd name="T29" fmla="*/ 30 h 265"/>
                <a:gd name="T30" fmla="*/ 68 w 1032"/>
                <a:gd name="T31" fmla="*/ 17 h 265"/>
                <a:gd name="T32" fmla="*/ 92 w 1032"/>
                <a:gd name="T33" fmla="*/ 7 h 265"/>
                <a:gd name="T34" fmla="*/ 117 w 1032"/>
                <a:gd name="T35" fmla="*/ 1 h 265"/>
                <a:gd name="T36" fmla="*/ 899 w 1032"/>
                <a:gd name="T37" fmla="*/ 0 h 265"/>
                <a:gd name="T38" fmla="*/ 914 w 1032"/>
                <a:gd name="T39" fmla="*/ 1 h 265"/>
                <a:gd name="T40" fmla="*/ 939 w 1032"/>
                <a:gd name="T41" fmla="*/ 7 h 265"/>
                <a:gd name="T42" fmla="*/ 963 w 1032"/>
                <a:gd name="T43" fmla="*/ 17 h 265"/>
                <a:gd name="T44" fmla="*/ 984 w 1032"/>
                <a:gd name="T45" fmla="*/ 30 h 265"/>
                <a:gd name="T46" fmla="*/ 1002 w 1032"/>
                <a:gd name="T47" fmla="*/ 48 h 265"/>
                <a:gd name="T48" fmla="*/ 1016 w 1032"/>
                <a:gd name="T49" fmla="*/ 69 h 265"/>
                <a:gd name="T50" fmla="*/ 1026 w 1032"/>
                <a:gd name="T51" fmla="*/ 94 h 265"/>
                <a:gd name="T52" fmla="*/ 1032 w 1032"/>
                <a:gd name="T53" fmla="*/ 119 h 265"/>
                <a:gd name="T54" fmla="*/ 1032 w 1032"/>
                <a:gd name="T55" fmla="*/ 133 h 265"/>
                <a:gd name="T56" fmla="*/ 1032 w 1032"/>
                <a:gd name="T57" fmla="*/ 146 h 265"/>
                <a:gd name="T58" fmla="*/ 1026 w 1032"/>
                <a:gd name="T59" fmla="*/ 172 h 265"/>
                <a:gd name="T60" fmla="*/ 1016 w 1032"/>
                <a:gd name="T61" fmla="*/ 196 h 265"/>
                <a:gd name="T62" fmla="*/ 1002 w 1032"/>
                <a:gd name="T63" fmla="*/ 217 h 265"/>
                <a:gd name="T64" fmla="*/ 984 w 1032"/>
                <a:gd name="T65" fmla="*/ 235 h 265"/>
                <a:gd name="T66" fmla="*/ 963 w 1032"/>
                <a:gd name="T67" fmla="*/ 248 h 265"/>
                <a:gd name="T68" fmla="*/ 939 w 1032"/>
                <a:gd name="T69" fmla="*/ 258 h 265"/>
                <a:gd name="T70" fmla="*/ 914 w 1032"/>
                <a:gd name="T71" fmla="*/ 264 h 265"/>
                <a:gd name="T72" fmla="*/ 899 w 1032"/>
                <a:gd name="T7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5">
                  <a:moveTo>
                    <a:pt x="899" y="265"/>
                  </a:moveTo>
                  <a:lnTo>
                    <a:pt x="131" y="265"/>
                  </a:lnTo>
                  <a:lnTo>
                    <a:pt x="131" y="265"/>
                  </a:lnTo>
                  <a:lnTo>
                    <a:pt x="117" y="264"/>
                  </a:lnTo>
                  <a:lnTo>
                    <a:pt x="104" y="262"/>
                  </a:lnTo>
                  <a:lnTo>
                    <a:pt x="92" y="258"/>
                  </a:lnTo>
                  <a:lnTo>
                    <a:pt x="80" y="254"/>
                  </a:lnTo>
                  <a:lnTo>
                    <a:pt x="68" y="248"/>
                  </a:lnTo>
                  <a:lnTo>
                    <a:pt x="57" y="243"/>
                  </a:lnTo>
                  <a:lnTo>
                    <a:pt x="47" y="235"/>
                  </a:lnTo>
                  <a:lnTo>
                    <a:pt x="37" y="226"/>
                  </a:lnTo>
                  <a:lnTo>
                    <a:pt x="30" y="217"/>
                  </a:lnTo>
                  <a:lnTo>
                    <a:pt x="22" y="206"/>
                  </a:lnTo>
                  <a:lnTo>
                    <a:pt x="15" y="196"/>
                  </a:lnTo>
                  <a:lnTo>
                    <a:pt x="10" y="184"/>
                  </a:lnTo>
                  <a:lnTo>
                    <a:pt x="5" y="172"/>
                  </a:lnTo>
                  <a:lnTo>
                    <a:pt x="2" y="159"/>
                  </a:lnTo>
                  <a:lnTo>
                    <a:pt x="0" y="146"/>
                  </a:lnTo>
                  <a:lnTo>
                    <a:pt x="0" y="133"/>
                  </a:lnTo>
                  <a:lnTo>
                    <a:pt x="0" y="133"/>
                  </a:lnTo>
                  <a:lnTo>
                    <a:pt x="0" y="133"/>
                  </a:lnTo>
                  <a:lnTo>
                    <a:pt x="0" y="119"/>
                  </a:lnTo>
                  <a:lnTo>
                    <a:pt x="2" y="106"/>
                  </a:lnTo>
                  <a:lnTo>
                    <a:pt x="5" y="94"/>
                  </a:lnTo>
                  <a:lnTo>
                    <a:pt x="10" y="82"/>
                  </a:lnTo>
                  <a:lnTo>
                    <a:pt x="15" y="69"/>
                  </a:lnTo>
                  <a:lnTo>
                    <a:pt x="22" y="59"/>
                  </a:lnTo>
                  <a:lnTo>
                    <a:pt x="30" y="48"/>
                  </a:lnTo>
                  <a:lnTo>
                    <a:pt x="37" y="39"/>
                  </a:lnTo>
                  <a:lnTo>
                    <a:pt x="47" y="30"/>
                  </a:lnTo>
                  <a:lnTo>
                    <a:pt x="57" y="24"/>
                  </a:lnTo>
                  <a:lnTo>
                    <a:pt x="68" y="17"/>
                  </a:lnTo>
                  <a:lnTo>
                    <a:pt x="80" y="11"/>
                  </a:lnTo>
                  <a:lnTo>
                    <a:pt x="92" y="7"/>
                  </a:lnTo>
                  <a:lnTo>
                    <a:pt x="104" y="4"/>
                  </a:lnTo>
                  <a:lnTo>
                    <a:pt x="117" y="1"/>
                  </a:lnTo>
                  <a:lnTo>
                    <a:pt x="131" y="0"/>
                  </a:lnTo>
                  <a:lnTo>
                    <a:pt x="899" y="0"/>
                  </a:lnTo>
                  <a:lnTo>
                    <a:pt x="899" y="0"/>
                  </a:lnTo>
                  <a:lnTo>
                    <a:pt x="914" y="1"/>
                  </a:lnTo>
                  <a:lnTo>
                    <a:pt x="926" y="4"/>
                  </a:lnTo>
                  <a:lnTo>
                    <a:pt x="939" y="7"/>
                  </a:lnTo>
                  <a:lnTo>
                    <a:pt x="951" y="11"/>
                  </a:lnTo>
                  <a:lnTo>
                    <a:pt x="963" y="17"/>
                  </a:lnTo>
                  <a:lnTo>
                    <a:pt x="974" y="24"/>
                  </a:lnTo>
                  <a:lnTo>
                    <a:pt x="984" y="30"/>
                  </a:lnTo>
                  <a:lnTo>
                    <a:pt x="993" y="39"/>
                  </a:lnTo>
                  <a:lnTo>
                    <a:pt x="1002" y="48"/>
                  </a:lnTo>
                  <a:lnTo>
                    <a:pt x="1009" y="59"/>
                  </a:lnTo>
                  <a:lnTo>
                    <a:pt x="1016" y="69"/>
                  </a:lnTo>
                  <a:lnTo>
                    <a:pt x="1022" y="82"/>
                  </a:lnTo>
                  <a:lnTo>
                    <a:pt x="1026" y="94"/>
                  </a:lnTo>
                  <a:lnTo>
                    <a:pt x="1029" y="106"/>
                  </a:lnTo>
                  <a:lnTo>
                    <a:pt x="1032" y="119"/>
                  </a:lnTo>
                  <a:lnTo>
                    <a:pt x="1032" y="133"/>
                  </a:lnTo>
                  <a:lnTo>
                    <a:pt x="1032" y="133"/>
                  </a:lnTo>
                  <a:lnTo>
                    <a:pt x="1032" y="133"/>
                  </a:lnTo>
                  <a:lnTo>
                    <a:pt x="1032" y="146"/>
                  </a:lnTo>
                  <a:lnTo>
                    <a:pt x="1029" y="159"/>
                  </a:lnTo>
                  <a:lnTo>
                    <a:pt x="1026" y="172"/>
                  </a:lnTo>
                  <a:lnTo>
                    <a:pt x="1022" y="184"/>
                  </a:lnTo>
                  <a:lnTo>
                    <a:pt x="1016" y="196"/>
                  </a:lnTo>
                  <a:lnTo>
                    <a:pt x="1009" y="206"/>
                  </a:lnTo>
                  <a:lnTo>
                    <a:pt x="1002" y="217"/>
                  </a:lnTo>
                  <a:lnTo>
                    <a:pt x="993" y="226"/>
                  </a:lnTo>
                  <a:lnTo>
                    <a:pt x="984" y="235"/>
                  </a:lnTo>
                  <a:lnTo>
                    <a:pt x="974" y="243"/>
                  </a:lnTo>
                  <a:lnTo>
                    <a:pt x="963" y="248"/>
                  </a:lnTo>
                  <a:lnTo>
                    <a:pt x="951" y="254"/>
                  </a:lnTo>
                  <a:lnTo>
                    <a:pt x="939" y="258"/>
                  </a:lnTo>
                  <a:lnTo>
                    <a:pt x="926" y="262"/>
                  </a:lnTo>
                  <a:lnTo>
                    <a:pt x="914" y="264"/>
                  </a:lnTo>
                  <a:lnTo>
                    <a:pt x="899" y="265"/>
                  </a:lnTo>
                  <a:lnTo>
                    <a:pt x="899" y="26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183" name="Freeform 76">
              <a:extLst>
                <a:ext uri="{FF2B5EF4-FFF2-40B4-BE49-F238E27FC236}">
                  <a16:creationId xmlns:a16="http://schemas.microsoft.com/office/drawing/2014/main" id="{D6FCF2E6-2150-4615-B6EF-19327D0790A1}"/>
                </a:ext>
              </a:extLst>
            </p:cNvPr>
            <p:cNvSpPr>
              <a:spLocks/>
            </p:cNvSpPr>
            <p:nvPr/>
          </p:nvSpPr>
          <p:spPr bwMode="auto">
            <a:xfrm>
              <a:off x="3681470" y="3962829"/>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1 h 264"/>
                <a:gd name="T20" fmla="*/ 0 w 1032"/>
                <a:gd name="T21" fmla="*/ 118 h 264"/>
                <a:gd name="T22" fmla="*/ 5 w 1032"/>
                <a:gd name="T23" fmla="*/ 92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0 h 264"/>
                <a:gd name="T36" fmla="*/ 899 w 1032"/>
                <a:gd name="T37" fmla="*/ 0 h 264"/>
                <a:gd name="T38" fmla="*/ 914 w 1032"/>
                <a:gd name="T39" fmla="*/ 0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2 h 264"/>
                <a:gd name="T52" fmla="*/ 1032 w 1032"/>
                <a:gd name="T53" fmla="*/ 118 h 264"/>
                <a:gd name="T54" fmla="*/ 1032 w 1032"/>
                <a:gd name="T55" fmla="*/ 131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899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899" y="264"/>
                  </a:moveTo>
                  <a:lnTo>
                    <a:pt x="131" y="264"/>
                  </a:lnTo>
                  <a:lnTo>
                    <a:pt x="131" y="264"/>
                  </a:lnTo>
                  <a:lnTo>
                    <a:pt x="117" y="264"/>
                  </a:lnTo>
                  <a:lnTo>
                    <a:pt x="104" y="261"/>
                  </a:lnTo>
                  <a:lnTo>
                    <a:pt x="92" y="258"/>
                  </a:lnTo>
                  <a:lnTo>
                    <a:pt x="80" y="254"/>
                  </a:lnTo>
                  <a:lnTo>
                    <a:pt x="68" y="248"/>
                  </a:lnTo>
                  <a:lnTo>
                    <a:pt x="57" y="241"/>
                  </a:lnTo>
                  <a:lnTo>
                    <a:pt x="47" y="234"/>
                  </a:lnTo>
                  <a:lnTo>
                    <a:pt x="37" y="225"/>
                  </a:lnTo>
                  <a:lnTo>
                    <a:pt x="30" y="216"/>
                  </a:lnTo>
                  <a:lnTo>
                    <a:pt x="22" y="206"/>
                  </a:lnTo>
                  <a:lnTo>
                    <a:pt x="15" y="195"/>
                  </a:lnTo>
                  <a:lnTo>
                    <a:pt x="10" y="183"/>
                  </a:lnTo>
                  <a:lnTo>
                    <a:pt x="5" y="171"/>
                  </a:lnTo>
                  <a:lnTo>
                    <a:pt x="2" y="158"/>
                  </a:lnTo>
                  <a:lnTo>
                    <a:pt x="0" y="146"/>
                  </a:lnTo>
                  <a:lnTo>
                    <a:pt x="0" y="131"/>
                  </a:lnTo>
                  <a:lnTo>
                    <a:pt x="0" y="131"/>
                  </a:lnTo>
                  <a:lnTo>
                    <a:pt x="0" y="131"/>
                  </a:lnTo>
                  <a:lnTo>
                    <a:pt x="0" y="118"/>
                  </a:lnTo>
                  <a:lnTo>
                    <a:pt x="2" y="105"/>
                  </a:lnTo>
                  <a:lnTo>
                    <a:pt x="5" y="92"/>
                  </a:lnTo>
                  <a:lnTo>
                    <a:pt x="10" y="80"/>
                  </a:lnTo>
                  <a:lnTo>
                    <a:pt x="15" y="69"/>
                  </a:lnTo>
                  <a:lnTo>
                    <a:pt x="22" y="58"/>
                  </a:lnTo>
                  <a:lnTo>
                    <a:pt x="30" y="48"/>
                  </a:lnTo>
                  <a:lnTo>
                    <a:pt x="37" y="38"/>
                  </a:lnTo>
                  <a:lnTo>
                    <a:pt x="47" y="30"/>
                  </a:lnTo>
                  <a:lnTo>
                    <a:pt x="57" y="22"/>
                  </a:lnTo>
                  <a:lnTo>
                    <a:pt x="68" y="16"/>
                  </a:lnTo>
                  <a:lnTo>
                    <a:pt x="80" y="10"/>
                  </a:lnTo>
                  <a:lnTo>
                    <a:pt x="92" y="6"/>
                  </a:lnTo>
                  <a:lnTo>
                    <a:pt x="104" y="2"/>
                  </a:lnTo>
                  <a:lnTo>
                    <a:pt x="117" y="0"/>
                  </a:lnTo>
                  <a:lnTo>
                    <a:pt x="131" y="0"/>
                  </a:lnTo>
                  <a:lnTo>
                    <a:pt x="899" y="0"/>
                  </a:lnTo>
                  <a:lnTo>
                    <a:pt x="899" y="0"/>
                  </a:lnTo>
                  <a:lnTo>
                    <a:pt x="914" y="0"/>
                  </a:lnTo>
                  <a:lnTo>
                    <a:pt x="926" y="2"/>
                  </a:lnTo>
                  <a:lnTo>
                    <a:pt x="939" y="6"/>
                  </a:lnTo>
                  <a:lnTo>
                    <a:pt x="951" y="10"/>
                  </a:lnTo>
                  <a:lnTo>
                    <a:pt x="963" y="16"/>
                  </a:lnTo>
                  <a:lnTo>
                    <a:pt x="974" y="22"/>
                  </a:lnTo>
                  <a:lnTo>
                    <a:pt x="984" y="30"/>
                  </a:lnTo>
                  <a:lnTo>
                    <a:pt x="993" y="38"/>
                  </a:lnTo>
                  <a:lnTo>
                    <a:pt x="1002" y="48"/>
                  </a:lnTo>
                  <a:lnTo>
                    <a:pt x="1009" y="58"/>
                  </a:lnTo>
                  <a:lnTo>
                    <a:pt x="1016" y="69"/>
                  </a:lnTo>
                  <a:lnTo>
                    <a:pt x="1022" y="80"/>
                  </a:lnTo>
                  <a:lnTo>
                    <a:pt x="1026" y="92"/>
                  </a:lnTo>
                  <a:lnTo>
                    <a:pt x="1029" y="105"/>
                  </a:lnTo>
                  <a:lnTo>
                    <a:pt x="1032" y="118"/>
                  </a:lnTo>
                  <a:lnTo>
                    <a:pt x="1032" y="131"/>
                  </a:lnTo>
                  <a:lnTo>
                    <a:pt x="1032" y="131"/>
                  </a:lnTo>
                  <a:lnTo>
                    <a:pt x="1032" y="131"/>
                  </a:lnTo>
                  <a:lnTo>
                    <a:pt x="1032" y="146"/>
                  </a:lnTo>
                  <a:lnTo>
                    <a:pt x="1029" y="158"/>
                  </a:lnTo>
                  <a:lnTo>
                    <a:pt x="1026" y="171"/>
                  </a:lnTo>
                  <a:lnTo>
                    <a:pt x="1022" y="183"/>
                  </a:lnTo>
                  <a:lnTo>
                    <a:pt x="1016" y="195"/>
                  </a:lnTo>
                  <a:lnTo>
                    <a:pt x="1009" y="206"/>
                  </a:lnTo>
                  <a:lnTo>
                    <a:pt x="1002" y="216"/>
                  </a:lnTo>
                  <a:lnTo>
                    <a:pt x="993" y="225"/>
                  </a:lnTo>
                  <a:lnTo>
                    <a:pt x="984" y="234"/>
                  </a:lnTo>
                  <a:lnTo>
                    <a:pt x="974" y="241"/>
                  </a:lnTo>
                  <a:lnTo>
                    <a:pt x="963" y="248"/>
                  </a:lnTo>
                  <a:lnTo>
                    <a:pt x="951" y="254"/>
                  </a:lnTo>
                  <a:lnTo>
                    <a:pt x="939" y="258"/>
                  </a:lnTo>
                  <a:lnTo>
                    <a:pt x="926" y="261"/>
                  </a:lnTo>
                  <a:lnTo>
                    <a:pt x="914" y="264"/>
                  </a:lnTo>
                  <a:lnTo>
                    <a:pt x="899" y="264"/>
                  </a:lnTo>
                  <a:lnTo>
                    <a:pt x="899" y="2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214" name="Gruppieren 213">
            <a:extLst>
              <a:ext uri="{FF2B5EF4-FFF2-40B4-BE49-F238E27FC236}">
                <a16:creationId xmlns:a16="http://schemas.microsoft.com/office/drawing/2014/main" id="{B5F56207-2353-4969-BAA2-0FE192DBCAE1}"/>
              </a:ext>
            </a:extLst>
          </p:cNvPr>
          <p:cNvGrpSpPr/>
          <p:nvPr/>
        </p:nvGrpSpPr>
        <p:grpSpPr>
          <a:xfrm>
            <a:off x="3660462" y="2791253"/>
            <a:ext cx="268816" cy="153162"/>
            <a:chOff x="3681470" y="3962829"/>
            <a:chExt cx="268816" cy="153162"/>
          </a:xfrm>
        </p:grpSpPr>
        <p:sp>
          <p:nvSpPr>
            <p:cNvPr id="215" name="Freeform 75">
              <a:extLst>
                <a:ext uri="{FF2B5EF4-FFF2-40B4-BE49-F238E27FC236}">
                  <a16:creationId xmlns:a16="http://schemas.microsoft.com/office/drawing/2014/main" id="{23F6C3E8-6E51-4362-A41A-C6DF0FB3CA52}"/>
                </a:ext>
              </a:extLst>
            </p:cNvPr>
            <p:cNvSpPr>
              <a:spLocks/>
            </p:cNvSpPr>
            <p:nvPr/>
          </p:nvSpPr>
          <p:spPr bwMode="auto">
            <a:xfrm>
              <a:off x="3681470" y="4047224"/>
              <a:ext cx="268816" cy="68767"/>
            </a:xfrm>
            <a:custGeom>
              <a:avLst/>
              <a:gdLst>
                <a:gd name="T0" fmla="*/ 131 w 1032"/>
                <a:gd name="T1" fmla="*/ 265 h 265"/>
                <a:gd name="T2" fmla="*/ 117 w 1032"/>
                <a:gd name="T3" fmla="*/ 264 h 265"/>
                <a:gd name="T4" fmla="*/ 92 w 1032"/>
                <a:gd name="T5" fmla="*/ 258 h 265"/>
                <a:gd name="T6" fmla="*/ 68 w 1032"/>
                <a:gd name="T7" fmla="*/ 248 h 265"/>
                <a:gd name="T8" fmla="*/ 47 w 1032"/>
                <a:gd name="T9" fmla="*/ 235 h 265"/>
                <a:gd name="T10" fmla="*/ 30 w 1032"/>
                <a:gd name="T11" fmla="*/ 217 h 265"/>
                <a:gd name="T12" fmla="*/ 15 w 1032"/>
                <a:gd name="T13" fmla="*/ 196 h 265"/>
                <a:gd name="T14" fmla="*/ 5 w 1032"/>
                <a:gd name="T15" fmla="*/ 172 h 265"/>
                <a:gd name="T16" fmla="*/ 0 w 1032"/>
                <a:gd name="T17" fmla="*/ 146 h 265"/>
                <a:gd name="T18" fmla="*/ 0 w 1032"/>
                <a:gd name="T19" fmla="*/ 133 h 265"/>
                <a:gd name="T20" fmla="*/ 0 w 1032"/>
                <a:gd name="T21" fmla="*/ 119 h 265"/>
                <a:gd name="T22" fmla="*/ 5 w 1032"/>
                <a:gd name="T23" fmla="*/ 94 h 265"/>
                <a:gd name="T24" fmla="*/ 15 w 1032"/>
                <a:gd name="T25" fmla="*/ 69 h 265"/>
                <a:gd name="T26" fmla="*/ 30 w 1032"/>
                <a:gd name="T27" fmla="*/ 48 h 265"/>
                <a:gd name="T28" fmla="*/ 47 w 1032"/>
                <a:gd name="T29" fmla="*/ 30 h 265"/>
                <a:gd name="T30" fmla="*/ 68 w 1032"/>
                <a:gd name="T31" fmla="*/ 17 h 265"/>
                <a:gd name="T32" fmla="*/ 92 w 1032"/>
                <a:gd name="T33" fmla="*/ 7 h 265"/>
                <a:gd name="T34" fmla="*/ 117 w 1032"/>
                <a:gd name="T35" fmla="*/ 1 h 265"/>
                <a:gd name="T36" fmla="*/ 899 w 1032"/>
                <a:gd name="T37" fmla="*/ 0 h 265"/>
                <a:gd name="T38" fmla="*/ 914 w 1032"/>
                <a:gd name="T39" fmla="*/ 1 h 265"/>
                <a:gd name="T40" fmla="*/ 939 w 1032"/>
                <a:gd name="T41" fmla="*/ 7 h 265"/>
                <a:gd name="T42" fmla="*/ 963 w 1032"/>
                <a:gd name="T43" fmla="*/ 17 h 265"/>
                <a:gd name="T44" fmla="*/ 984 w 1032"/>
                <a:gd name="T45" fmla="*/ 30 h 265"/>
                <a:gd name="T46" fmla="*/ 1002 w 1032"/>
                <a:gd name="T47" fmla="*/ 48 h 265"/>
                <a:gd name="T48" fmla="*/ 1016 w 1032"/>
                <a:gd name="T49" fmla="*/ 69 h 265"/>
                <a:gd name="T50" fmla="*/ 1026 w 1032"/>
                <a:gd name="T51" fmla="*/ 94 h 265"/>
                <a:gd name="T52" fmla="*/ 1032 w 1032"/>
                <a:gd name="T53" fmla="*/ 119 h 265"/>
                <a:gd name="T54" fmla="*/ 1032 w 1032"/>
                <a:gd name="T55" fmla="*/ 133 h 265"/>
                <a:gd name="T56" fmla="*/ 1032 w 1032"/>
                <a:gd name="T57" fmla="*/ 146 h 265"/>
                <a:gd name="T58" fmla="*/ 1026 w 1032"/>
                <a:gd name="T59" fmla="*/ 172 h 265"/>
                <a:gd name="T60" fmla="*/ 1016 w 1032"/>
                <a:gd name="T61" fmla="*/ 196 h 265"/>
                <a:gd name="T62" fmla="*/ 1002 w 1032"/>
                <a:gd name="T63" fmla="*/ 217 h 265"/>
                <a:gd name="T64" fmla="*/ 984 w 1032"/>
                <a:gd name="T65" fmla="*/ 235 h 265"/>
                <a:gd name="T66" fmla="*/ 963 w 1032"/>
                <a:gd name="T67" fmla="*/ 248 h 265"/>
                <a:gd name="T68" fmla="*/ 939 w 1032"/>
                <a:gd name="T69" fmla="*/ 258 h 265"/>
                <a:gd name="T70" fmla="*/ 914 w 1032"/>
                <a:gd name="T71" fmla="*/ 264 h 265"/>
                <a:gd name="T72" fmla="*/ 899 w 1032"/>
                <a:gd name="T7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5">
                  <a:moveTo>
                    <a:pt x="899" y="265"/>
                  </a:moveTo>
                  <a:lnTo>
                    <a:pt x="131" y="265"/>
                  </a:lnTo>
                  <a:lnTo>
                    <a:pt x="131" y="265"/>
                  </a:lnTo>
                  <a:lnTo>
                    <a:pt x="117" y="264"/>
                  </a:lnTo>
                  <a:lnTo>
                    <a:pt x="104" y="262"/>
                  </a:lnTo>
                  <a:lnTo>
                    <a:pt x="92" y="258"/>
                  </a:lnTo>
                  <a:lnTo>
                    <a:pt x="80" y="254"/>
                  </a:lnTo>
                  <a:lnTo>
                    <a:pt x="68" y="248"/>
                  </a:lnTo>
                  <a:lnTo>
                    <a:pt x="57" y="243"/>
                  </a:lnTo>
                  <a:lnTo>
                    <a:pt x="47" y="235"/>
                  </a:lnTo>
                  <a:lnTo>
                    <a:pt x="37" y="226"/>
                  </a:lnTo>
                  <a:lnTo>
                    <a:pt x="30" y="217"/>
                  </a:lnTo>
                  <a:lnTo>
                    <a:pt x="22" y="206"/>
                  </a:lnTo>
                  <a:lnTo>
                    <a:pt x="15" y="196"/>
                  </a:lnTo>
                  <a:lnTo>
                    <a:pt x="10" y="184"/>
                  </a:lnTo>
                  <a:lnTo>
                    <a:pt x="5" y="172"/>
                  </a:lnTo>
                  <a:lnTo>
                    <a:pt x="2" y="159"/>
                  </a:lnTo>
                  <a:lnTo>
                    <a:pt x="0" y="146"/>
                  </a:lnTo>
                  <a:lnTo>
                    <a:pt x="0" y="133"/>
                  </a:lnTo>
                  <a:lnTo>
                    <a:pt x="0" y="133"/>
                  </a:lnTo>
                  <a:lnTo>
                    <a:pt x="0" y="133"/>
                  </a:lnTo>
                  <a:lnTo>
                    <a:pt x="0" y="119"/>
                  </a:lnTo>
                  <a:lnTo>
                    <a:pt x="2" y="106"/>
                  </a:lnTo>
                  <a:lnTo>
                    <a:pt x="5" y="94"/>
                  </a:lnTo>
                  <a:lnTo>
                    <a:pt x="10" y="82"/>
                  </a:lnTo>
                  <a:lnTo>
                    <a:pt x="15" y="69"/>
                  </a:lnTo>
                  <a:lnTo>
                    <a:pt x="22" y="59"/>
                  </a:lnTo>
                  <a:lnTo>
                    <a:pt x="30" y="48"/>
                  </a:lnTo>
                  <a:lnTo>
                    <a:pt x="37" y="39"/>
                  </a:lnTo>
                  <a:lnTo>
                    <a:pt x="47" y="30"/>
                  </a:lnTo>
                  <a:lnTo>
                    <a:pt x="57" y="24"/>
                  </a:lnTo>
                  <a:lnTo>
                    <a:pt x="68" y="17"/>
                  </a:lnTo>
                  <a:lnTo>
                    <a:pt x="80" y="11"/>
                  </a:lnTo>
                  <a:lnTo>
                    <a:pt x="92" y="7"/>
                  </a:lnTo>
                  <a:lnTo>
                    <a:pt x="104" y="4"/>
                  </a:lnTo>
                  <a:lnTo>
                    <a:pt x="117" y="1"/>
                  </a:lnTo>
                  <a:lnTo>
                    <a:pt x="131" y="0"/>
                  </a:lnTo>
                  <a:lnTo>
                    <a:pt x="899" y="0"/>
                  </a:lnTo>
                  <a:lnTo>
                    <a:pt x="899" y="0"/>
                  </a:lnTo>
                  <a:lnTo>
                    <a:pt x="914" y="1"/>
                  </a:lnTo>
                  <a:lnTo>
                    <a:pt x="926" y="4"/>
                  </a:lnTo>
                  <a:lnTo>
                    <a:pt x="939" y="7"/>
                  </a:lnTo>
                  <a:lnTo>
                    <a:pt x="951" y="11"/>
                  </a:lnTo>
                  <a:lnTo>
                    <a:pt x="963" y="17"/>
                  </a:lnTo>
                  <a:lnTo>
                    <a:pt x="974" y="24"/>
                  </a:lnTo>
                  <a:lnTo>
                    <a:pt x="984" y="30"/>
                  </a:lnTo>
                  <a:lnTo>
                    <a:pt x="993" y="39"/>
                  </a:lnTo>
                  <a:lnTo>
                    <a:pt x="1002" y="48"/>
                  </a:lnTo>
                  <a:lnTo>
                    <a:pt x="1009" y="59"/>
                  </a:lnTo>
                  <a:lnTo>
                    <a:pt x="1016" y="69"/>
                  </a:lnTo>
                  <a:lnTo>
                    <a:pt x="1022" y="82"/>
                  </a:lnTo>
                  <a:lnTo>
                    <a:pt x="1026" y="94"/>
                  </a:lnTo>
                  <a:lnTo>
                    <a:pt x="1029" y="106"/>
                  </a:lnTo>
                  <a:lnTo>
                    <a:pt x="1032" y="119"/>
                  </a:lnTo>
                  <a:lnTo>
                    <a:pt x="1032" y="133"/>
                  </a:lnTo>
                  <a:lnTo>
                    <a:pt x="1032" y="133"/>
                  </a:lnTo>
                  <a:lnTo>
                    <a:pt x="1032" y="133"/>
                  </a:lnTo>
                  <a:lnTo>
                    <a:pt x="1032" y="146"/>
                  </a:lnTo>
                  <a:lnTo>
                    <a:pt x="1029" y="159"/>
                  </a:lnTo>
                  <a:lnTo>
                    <a:pt x="1026" y="172"/>
                  </a:lnTo>
                  <a:lnTo>
                    <a:pt x="1022" y="184"/>
                  </a:lnTo>
                  <a:lnTo>
                    <a:pt x="1016" y="196"/>
                  </a:lnTo>
                  <a:lnTo>
                    <a:pt x="1009" y="206"/>
                  </a:lnTo>
                  <a:lnTo>
                    <a:pt x="1002" y="217"/>
                  </a:lnTo>
                  <a:lnTo>
                    <a:pt x="993" y="226"/>
                  </a:lnTo>
                  <a:lnTo>
                    <a:pt x="984" y="235"/>
                  </a:lnTo>
                  <a:lnTo>
                    <a:pt x="974" y="243"/>
                  </a:lnTo>
                  <a:lnTo>
                    <a:pt x="963" y="248"/>
                  </a:lnTo>
                  <a:lnTo>
                    <a:pt x="951" y="254"/>
                  </a:lnTo>
                  <a:lnTo>
                    <a:pt x="939" y="258"/>
                  </a:lnTo>
                  <a:lnTo>
                    <a:pt x="926" y="262"/>
                  </a:lnTo>
                  <a:lnTo>
                    <a:pt x="914" y="264"/>
                  </a:lnTo>
                  <a:lnTo>
                    <a:pt x="899" y="265"/>
                  </a:lnTo>
                  <a:lnTo>
                    <a:pt x="899" y="265"/>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16" name="Freeform 76">
              <a:extLst>
                <a:ext uri="{FF2B5EF4-FFF2-40B4-BE49-F238E27FC236}">
                  <a16:creationId xmlns:a16="http://schemas.microsoft.com/office/drawing/2014/main" id="{8D958362-55FE-4C9B-A0D4-AF805CBFB415}"/>
                </a:ext>
              </a:extLst>
            </p:cNvPr>
            <p:cNvSpPr>
              <a:spLocks/>
            </p:cNvSpPr>
            <p:nvPr/>
          </p:nvSpPr>
          <p:spPr bwMode="auto">
            <a:xfrm>
              <a:off x="3681470" y="3962829"/>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1 h 264"/>
                <a:gd name="T20" fmla="*/ 0 w 1032"/>
                <a:gd name="T21" fmla="*/ 118 h 264"/>
                <a:gd name="T22" fmla="*/ 5 w 1032"/>
                <a:gd name="T23" fmla="*/ 92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0 h 264"/>
                <a:gd name="T36" fmla="*/ 899 w 1032"/>
                <a:gd name="T37" fmla="*/ 0 h 264"/>
                <a:gd name="T38" fmla="*/ 914 w 1032"/>
                <a:gd name="T39" fmla="*/ 0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2 h 264"/>
                <a:gd name="T52" fmla="*/ 1032 w 1032"/>
                <a:gd name="T53" fmla="*/ 118 h 264"/>
                <a:gd name="T54" fmla="*/ 1032 w 1032"/>
                <a:gd name="T55" fmla="*/ 131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899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899" y="264"/>
                  </a:moveTo>
                  <a:lnTo>
                    <a:pt x="131" y="264"/>
                  </a:lnTo>
                  <a:lnTo>
                    <a:pt x="131" y="264"/>
                  </a:lnTo>
                  <a:lnTo>
                    <a:pt x="117" y="264"/>
                  </a:lnTo>
                  <a:lnTo>
                    <a:pt x="104" y="261"/>
                  </a:lnTo>
                  <a:lnTo>
                    <a:pt x="92" y="258"/>
                  </a:lnTo>
                  <a:lnTo>
                    <a:pt x="80" y="254"/>
                  </a:lnTo>
                  <a:lnTo>
                    <a:pt x="68" y="248"/>
                  </a:lnTo>
                  <a:lnTo>
                    <a:pt x="57" y="241"/>
                  </a:lnTo>
                  <a:lnTo>
                    <a:pt x="47" y="234"/>
                  </a:lnTo>
                  <a:lnTo>
                    <a:pt x="37" y="225"/>
                  </a:lnTo>
                  <a:lnTo>
                    <a:pt x="30" y="216"/>
                  </a:lnTo>
                  <a:lnTo>
                    <a:pt x="22" y="206"/>
                  </a:lnTo>
                  <a:lnTo>
                    <a:pt x="15" y="195"/>
                  </a:lnTo>
                  <a:lnTo>
                    <a:pt x="10" y="183"/>
                  </a:lnTo>
                  <a:lnTo>
                    <a:pt x="5" y="171"/>
                  </a:lnTo>
                  <a:lnTo>
                    <a:pt x="2" y="158"/>
                  </a:lnTo>
                  <a:lnTo>
                    <a:pt x="0" y="146"/>
                  </a:lnTo>
                  <a:lnTo>
                    <a:pt x="0" y="131"/>
                  </a:lnTo>
                  <a:lnTo>
                    <a:pt x="0" y="131"/>
                  </a:lnTo>
                  <a:lnTo>
                    <a:pt x="0" y="131"/>
                  </a:lnTo>
                  <a:lnTo>
                    <a:pt x="0" y="118"/>
                  </a:lnTo>
                  <a:lnTo>
                    <a:pt x="2" y="105"/>
                  </a:lnTo>
                  <a:lnTo>
                    <a:pt x="5" y="92"/>
                  </a:lnTo>
                  <a:lnTo>
                    <a:pt x="10" y="80"/>
                  </a:lnTo>
                  <a:lnTo>
                    <a:pt x="15" y="69"/>
                  </a:lnTo>
                  <a:lnTo>
                    <a:pt x="22" y="58"/>
                  </a:lnTo>
                  <a:lnTo>
                    <a:pt x="30" y="48"/>
                  </a:lnTo>
                  <a:lnTo>
                    <a:pt x="37" y="38"/>
                  </a:lnTo>
                  <a:lnTo>
                    <a:pt x="47" y="30"/>
                  </a:lnTo>
                  <a:lnTo>
                    <a:pt x="57" y="22"/>
                  </a:lnTo>
                  <a:lnTo>
                    <a:pt x="68" y="16"/>
                  </a:lnTo>
                  <a:lnTo>
                    <a:pt x="80" y="10"/>
                  </a:lnTo>
                  <a:lnTo>
                    <a:pt x="92" y="6"/>
                  </a:lnTo>
                  <a:lnTo>
                    <a:pt x="104" y="2"/>
                  </a:lnTo>
                  <a:lnTo>
                    <a:pt x="117" y="0"/>
                  </a:lnTo>
                  <a:lnTo>
                    <a:pt x="131" y="0"/>
                  </a:lnTo>
                  <a:lnTo>
                    <a:pt x="899" y="0"/>
                  </a:lnTo>
                  <a:lnTo>
                    <a:pt x="899" y="0"/>
                  </a:lnTo>
                  <a:lnTo>
                    <a:pt x="914" y="0"/>
                  </a:lnTo>
                  <a:lnTo>
                    <a:pt x="926" y="2"/>
                  </a:lnTo>
                  <a:lnTo>
                    <a:pt x="939" y="6"/>
                  </a:lnTo>
                  <a:lnTo>
                    <a:pt x="951" y="10"/>
                  </a:lnTo>
                  <a:lnTo>
                    <a:pt x="963" y="16"/>
                  </a:lnTo>
                  <a:lnTo>
                    <a:pt x="974" y="22"/>
                  </a:lnTo>
                  <a:lnTo>
                    <a:pt x="984" y="30"/>
                  </a:lnTo>
                  <a:lnTo>
                    <a:pt x="993" y="38"/>
                  </a:lnTo>
                  <a:lnTo>
                    <a:pt x="1002" y="48"/>
                  </a:lnTo>
                  <a:lnTo>
                    <a:pt x="1009" y="58"/>
                  </a:lnTo>
                  <a:lnTo>
                    <a:pt x="1016" y="69"/>
                  </a:lnTo>
                  <a:lnTo>
                    <a:pt x="1022" y="80"/>
                  </a:lnTo>
                  <a:lnTo>
                    <a:pt x="1026" y="92"/>
                  </a:lnTo>
                  <a:lnTo>
                    <a:pt x="1029" y="105"/>
                  </a:lnTo>
                  <a:lnTo>
                    <a:pt x="1032" y="118"/>
                  </a:lnTo>
                  <a:lnTo>
                    <a:pt x="1032" y="131"/>
                  </a:lnTo>
                  <a:lnTo>
                    <a:pt x="1032" y="131"/>
                  </a:lnTo>
                  <a:lnTo>
                    <a:pt x="1032" y="131"/>
                  </a:lnTo>
                  <a:lnTo>
                    <a:pt x="1032" y="146"/>
                  </a:lnTo>
                  <a:lnTo>
                    <a:pt x="1029" y="158"/>
                  </a:lnTo>
                  <a:lnTo>
                    <a:pt x="1026" y="171"/>
                  </a:lnTo>
                  <a:lnTo>
                    <a:pt x="1022" y="183"/>
                  </a:lnTo>
                  <a:lnTo>
                    <a:pt x="1016" y="195"/>
                  </a:lnTo>
                  <a:lnTo>
                    <a:pt x="1009" y="206"/>
                  </a:lnTo>
                  <a:lnTo>
                    <a:pt x="1002" y="216"/>
                  </a:lnTo>
                  <a:lnTo>
                    <a:pt x="993" y="225"/>
                  </a:lnTo>
                  <a:lnTo>
                    <a:pt x="984" y="234"/>
                  </a:lnTo>
                  <a:lnTo>
                    <a:pt x="974" y="241"/>
                  </a:lnTo>
                  <a:lnTo>
                    <a:pt x="963" y="248"/>
                  </a:lnTo>
                  <a:lnTo>
                    <a:pt x="951" y="254"/>
                  </a:lnTo>
                  <a:lnTo>
                    <a:pt x="939" y="258"/>
                  </a:lnTo>
                  <a:lnTo>
                    <a:pt x="926" y="261"/>
                  </a:lnTo>
                  <a:lnTo>
                    <a:pt x="914" y="264"/>
                  </a:lnTo>
                  <a:lnTo>
                    <a:pt x="899" y="264"/>
                  </a:lnTo>
                  <a:lnTo>
                    <a:pt x="899" y="264"/>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11" name="Ellipse 310">
            <a:extLst>
              <a:ext uri="{FF2B5EF4-FFF2-40B4-BE49-F238E27FC236}">
                <a16:creationId xmlns:a16="http://schemas.microsoft.com/office/drawing/2014/main" id="{AC9D8FBA-1F1F-4B89-9B99-45D7D36C0B9D}"/>
              </a:ext>
            </a:extLst>
          </p:cNvPr>
          <p:cNvSpPr/>
          <p:nvPr/>
        </p:nvSpPr>
        <p:spPr bwMode="auto">
          <a:xfrm>
            <a:off x="3563121"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grpSp>
        <p:nvGrpSpPr>
          <p:cNvPr id="330" name="Gruppieren 329">
            <a:extLst>
              <a:ext uri="{FF2B5EF4-FFF2-40B4-BE49-F238E27FC236}">
                <a16:creationId xmlns:a16="http://schemas.microsoft.com/office/drawing/2014/main" id="{D8DB4233-52B2-41D0-AD6E-6D8CB388DF55}"/>
              </a:ext>
            </a:extLst>
          </p:cNvPr>
          <p:cNvGrpSpPr/>
          <p:nvPr/>
        </p:nvGrpSpPr>
        <p:grpSpPr>
          <a:xfrm>
            <a:off x="3660462" y="4037146"/>
            <a:ext cx="268816" cy="153162"/>
            <a:chOff x="3681470" y="3962829"/>
            <a:chExt cx="268816" cy="153162"/>
          </a:xfrm>
          <a:solidFill>
            <a:schemeClr val="bg1"/>
          </a:solidFill>
        </p:grpSpPr>
        <p:sp>
          <p:nvSpPr>
            <p:cNvPr id="331" name="Freeform 75">
              <a:extLst>
                <a:ext uri="{FF2B5EF4-FFF2-40B4-BE49-F238E27FC236}">
                  <a16:creationId xmlns:a16="http://schemas.microsoft.com/office/drawing/2014/main" id="{77F34FDE-0A93-4780-ADAA-8320C64DE140}"/>
                </a:ext>
              </a:extLst>
            </p:cNvPr>
            <p:cNvSpPr>
              <a:spLocks/>
            </p:cNvSpPr>
            <p:nvPr/>
          </p:nvSpPr>
          <p:spPr bwMode="auto">
            <a:xfrm>
              <a:off x="3681470" y="4047224"/>
              <a:ext cx="268816" cy="68767"/>
            </a:xfrm>
            <a:custGeom>
              <a:avLst/>
              <a:gdLst>
                <a:gd name="T0" fmla="*/ 131 w 1032"/>
                <a:gd name="T1" fmla="*/ 265 h 265"/>
                <a:gd name="T2" fmla="*/ 117 w 1032"/>
                <a:gd name="T3" fmla="*/ 264 h 265"/>
                <a:gd name="T4" fmla="*/ 92 w 1032"/>
                <a:gd name="T5" fmla="*/ 258 h 265"/>
                <a:gd name="T6" fmla="*/ 68 w 1032"/>
                <a:gd name="T7" fmla="*/ 248 h 265"/>
                <a:gd name="T8" fmla="*/ 47 w 1032"/>
                <a:gd name="T9" fmla="*/ 235 h 265"/>
                <a:gd name="T10" fmla="*/ 30 w 1032"/>
                <a:gd name="T11" fmla="*/ 217 h 265"/>
                <a:gd name="T12" fmla="*/ 15 w 1032"/>
                <a:gd name="T13" fmla="*/ 196 h 265"/>
                <a:gd name="T14" fmla="*/ 5 w 1032"/>
                <a:gd name="T15" fmla="*/ 172 h 265"/>
                <a:gd name="T16" fmla="*/ 0 w 1032"/>
                <a:gd name="T17" fmla="*/ 146 h 265"/>
                <a:gd name="T18" fmla="*/ 0 w 1032"/>
                <a:gd name="T19" fmla="*/ 133 h 265"/>
                <a:gd name="T20" fmla="*/ 0 w 1032"/>
                <a:gd name="T21" fmla="*/ 119 h 265"/>
                <a:gd name="T22" fmla="*/ 5 w 1032"/>
                <a:gd name="T23" fmla="*/ 94 h 265"/>
                <a:gd name="T24" fmla="*/ 15 w 1032"/>
                <a:gd name="T25" fmla="*/ 69 h 265"/>
                <a:gd name="T26" fmla="*/ 30 w 1032"/>
                <a:gd name="T27" fmla="*/ 48 h 265"/>
                <a:gd name="T28" fmla="*/ 47 w 1032"/>
                <a:gd name="T29" fmla="*/ 30 h 265"/>
                <a:gd name="T30" fmla="*/ 68 w 1032"/>
                <a:gd name="T31" fmla="*/ 17 h 265"/>
                <a:gd name="T32" fmla="*/ 92 w 1032"/>
                <a:gd name="T33" fmla="*/ 7 h 265"/>
                <a:gd name="T34" fmla="*/ 117 w 1032"/>
                <a:gd name="T35" fmla="*/ 1 h 265"/>
                <a:gd name="T36" fmla="*/ 899 w 1032"/>
                <a:gd name="T37" fmla="*/ 0 h 265"/>
                <a:gd name="T38" fmla="*/ 914 w 1032"/>
                <a:gd name="T39" fmla="*/ 1 h 265"/>
                <a:gd name="T40" fmla="*/ 939 w 1032"/>
                <a:gd name="T41" fmla="*/ 7 h 265"/>
                <a:gd name="T42" fmla="*/ 963 w 1032"/>
                <a:gd name="T43" fmla="*/ 17 h 265"/>
                <a:gd name="T44" fmla="*/ 984 w 1032"/>
                <a:gd name="T45" fmla="*/ 30 h 265"/>
                <a:gd name="T46" fmla="*/ 1002 w 1032"/>
                <a:gd name="T47" fmla="*/ 48 h 265"/>
                <a:gd name="T48" fmla="*/ 1016 w 1032"/>
                <a:gd name="T49" fmla="*/ 69 h 265"/>
                <a:gd name="T50" fmla="*/ 1026 w 1032"/>
                <a:gd name="T51" fmla="*/ 94 h 265"/>
                <a:gd name="T52" fmla="*/ 1032 w 1032"/>
                <a:gd name="T53" fmla="*/ 119 h 265"/>
                <a:gd name="T54" fmla="*/ 1032 w 1032"/>
                <a:gd name="T55" fmla="*/ 133 h 265"/>
                <a:gd name="T56" fmla="*/ 1032 w 1032"/>
                <a:gd name="T57" fmla="*/ 146 h 265"/>
                <a:gd name="T58" fmla="*/ 1026 w 1032"/>
                <a:gd name="T59" fmla="*/ 172 h 265"/>
                <a:gd name="T60" fmla="*/ 1016 w 1032"/>
                <a:gd name="T61" fmla="*/ 196 h 265"/>
                <a:gd name="T62" fmla="*/ 1002 w 1032"/>
                <a:gd name="T63" fmla="*/ 217 h 265"/>
                <a:gd name="T64" fmla="*/ 984 w 1032"/>
                <a:gd name="T65" fmla="*/ 235 h 265"/>
                <a:gd name="T66" fmla="*/ 963 w 1032"/>
                <a:gd name="T67" fmla="*/ 248 h 265"/>
                <a:gd name="T68" fmla="*/ 939 w 1032"/>
                <a:gd name="T69" fmla="*/ 258 h 265"/>
                <a:gd name="T70" fmla="*/ 914 w 1032"/>
                <a:gd name="T71" fmla="*/ 264 h 265"/>
                <a:gd name="T72" fmla="*/ 899 w 1032"/>
                <a:gd name="T7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5">
                  <a:moveTo>
                    <a:pt x="899" y="265"/>
                  </a:moveTo>
                  <a:lnTo>
                    <a:pt x="131" y="265"/>
                  </a:lnTo>
                  <a:lnTo>
                    <a:pt x="131" y="265"/>
                  </a:lnTo>
                  <a:lnTo>
                    <a:pt x="117" y="264"/>
                  </a:lnTo>
                  <a:lnTo>
                    <a:pt x="104" y="262"/>
                  </a:lnTo>
                  <a:lnTo>
                    <a:pt x="92" y="258"/>
                  </a:lnTo>
                  <a:lnTo>
                    <a:pt x="80" y="254"/>
                  </a:lnTo>
                  <a:lnTo>
                    <a:pt x="68" y="248"/>
                  </a:lnTo>
                  <a:lnTo>
                    <a:pt x="57" y="243"/>
                  </a:lnTo>
                  <a:lnTo>
                    <a:pt x="47" y="235"/>
                  </a:lnTo>
                  <a:lnTo>
                    <a:pt x="37" y="226"/>
                  </a:lnTo>
                  <a:lnTo>
                    <a:pt x="30" y="217"/>
                  </a:lnTo>
                  <a:lnTo>
                    <a:pt x="22" y="206"/>
                  </a:lnTo>
                  <a:lnTo>
                    <a:pt x="15" y="196"/>
                  </a:lnTo>
                  <a:lnTo>
                    <a:pt x="10" y="184"/>
                  </a:lnTo>
                  <a:lnTo>
                    <a:pt x="5" y="172"/>
                  </a:lnTo>
                  <a:lnTo>
                    <a:pt x="2" y="159"/>
                  </a:lnTo>
                  <a:lnTo>
                    <a:pt x="0" y="146"/>
                  </a:lnTo>
                  <a:lnTo>
                    <a:pt x="0" y="133"/>
                  </a:lnTo>
                  <a:lnTo>
                    <a:pt x="0" y="133"/>
                  </a:lnTo>
                  <a:lnTo>
                    <a:pt x="0" y="133"/>
                  </a:lnTo>
                  <a:lnTo>
                    <a:pt x="0" y="119"/>
                  </a:lnTo>
                  <a:lnTo>
                    <a:pt x="2" y="106"/>
                  </a:lnTo>
                  <a:lnTo>
                    <a:pt x="5" y="94"/>
                  </a:lnTo>
                  <a:lnTo>
                    <a:pt x="10" y="82"/>
                  </a:lnTo>
                  <a:lnTo>
                    <a:pt x="15" y="69"/>
                  </a:lnTo>
                  <a:lnTo>
                    <a:pt x="22" y="59"/>
                  </a:lnTo>
                  <a:lnTo>
                    <a:pt x="30" y="48"/>
                  </a:lnTo>
                  <a:lnTo>
                    <a:pt x="37" y="39"/>
                  </a:lnTo>
                  <a:lnTo>
                    <a:pt x="47" y="30"/>
                  </a:lnTo>
                  <a:lnTo>
                    <a:pt x="57" y="24"/>
                  </a:lnTo>
                  <a:lnTo>
                    <a:pt x="68" y="17"/>
                  </a:lnTo>
                  <a:lnTo>
                    <a:pt x="80" y="11"/>
                  </a:lnTo>
                  <a:lnTo>
                    <a:pt x="92" y="7"/>
                  </a:lnTo>
                  <a:lnTo>
                    <a:pt x="104" y="4"/>
                  </a:lnTo>
                  <a:lnTo>
                    <a:pt x="117" y="1"/>
                  </a:lnTo>
                  <a:lnTo>
                    <a:pt x="131" y="0"/>
                  </a:lnTo>
                  <a:lnTo>
                    <a:pt x="899" y="0"/>
                  </a:lnTo>
                  <a:lnTo>
                    <a:pt x="899" y="0"/>
                  </a:lnTo>
                  <a:lnTo>
                    <a:pt x="914" y="1"/>
                  </a:lnTo>
                  <a:lnTo>
                    <a:pt x="926" y="4"/>
                  </a:lnTo>
                  <a:lnTo>
                    <a:pt x="939" y="7"/>
                  </a:lnTo>
                  <a:lnTo>
                    <a:pt x="951" y="11"/>
                  </a:lnTo>
                  <a:lnTo>
                    <a:pt x="963" y="17"/>
                  </a:lnTo>
                  <a:lnTo>
                    <a:pt x="974" y="24"/>
                  </a:lnTo>
                  <a:lnTo>
                    <a:pt x="984" y="30"/>
                  </a:lnTo>
                  <a:lnTo>
                    <a:pt x="993" y="39"/>
                  </a:lnTo>
                  <a:lnTo>
                    <a:pt x="1002" y="48"/>
                  </a:lnTo>
                  <a:lnTo>
                    <a:pt x="1009" y="59"/>
                  </a:lnTo>
                  <a:lnTo>
                    <a:pt x="1016" y="69"/>
                  </a:lnTo>
                  <a:lnTo>
                    <a:pt x="1022" y="82"/>
                  </a:lnTo>
                  <a:lnTo>
                    <a:pt x="1026" y="94"/>
                  </a:lnTo>
                  <a:lnTo>
                    <a:pt x="1029" y="106"/>
                  </a:lnTo>
                  <a:lnTo>
                    <a:pt x="1032" y="119"/>
                  </a:lnTo>
                  <a:lnTo>
                    <a:pt x="1032" y="133"/>
                  </a:lnTo>
                  <a:lnTo>
                    <a:pt x="1032" y="133"/>
                  </a:lnTo>
                  <a:lnTo>
                    <a:pt x="1032" y="133"/>
                  </a:lnTo>
                  <a:lnTo>
                    <a:pt x="1032" y="146"/>
                  </a:lnTo>
                  <a:lnTo>
                    <a:pt x="1029" y="159"/>
                  </a:lnTo>
                  <a:lnTo>
                    <a:pt x="1026" y="172"/>
                  </a:lnTo>
                  <a:lnTo>
                    <a:pt x="1022" y="184"/>
                  </a:lnTo>
                  <a:lnTo>
                    <a:pt x="1016" y="196"/>
                  </a:lnTo>
                  <a:lnTo>
                    <a:pt x="1009" y="206"/>
                  </a:lnTo>
                  <a:lnTo>
                    <a:pt x="1002" y="217"/>
                  </a:lnTo>
                  <a:lnTo>
                    <a:pt x="993" y="226"/>
                  </a:lnTo>
                  <a:lnTo>
                    <a:pt x="984" y="235"/>
                  </a:lnTo>
                  <a:lnTo>
                    <a:pt x="974" y="243"/>
                  </a:lnTo>
                  <a:lnTo>
                    <a:pt x="963" y="248"/>
                  </a:lnTo>
                  <a:lnTo>
                    <a:pt x="951" y="254"/>
                  </a:lnTo>
                  <a:lnTo>
                    <a:pt x="939" y="258"/>
                  </a:lnTo>
                  <a:lnTo>
                    <a:pt x="926" y="262"/>
                  </a:lnTo>
                  <a:lnTo>
                    <a:pt x="914" y="264"/>
                  </a:lnTo>
                  <a:lnTo>
                    <a:pt x="899" y="265"/>
                  </a:lnTo>
                  <a:lnTo>
                    <a:pt x="899" y="265"/>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332" name="Freeform 76">
              <a:extLst>
                <a:ext uri="{FF2B5EF4-FFF2-40B4-BE49-F238E27FC236}">
                  <a16:creationId xmlns:a16="http://schemas.microsoft.com/office/drawing/2014/main" id="{9E8FEB99-4236-474A-A8E6-D2BCD23123CC}"/>
                </a:ext>
              </a:extLst>
            </p:cNvPr>
            <p:cNvSpPr>
              <a:spLocks/>
            </p:cNvSpPr>
            <p:nvPr/>
          </p:nvSpPr>
          <p:spPr bwMode="auto">
            <a:xfrm>
              <a:off x="3681470" y="3962829"/>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1 h 264"/>
                <a:gd name="T20" fmla="*/ 0 w 1032"/>
                <a:gd name="T21" fmla="*/ 118 h 264"/>
                <a:gd name="T22" fmla="*/ 5 w 1032"/>
                <a:gd name="T23" fmla="*/ 92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0 h 264"/>
                <a:gd name="T36" fmla="*/ 899 w 1032"/>
                <a:gd name="T37" fmla="*/ 0 h 264"/>
                <a:gd name="T38" fmla="*/ 914 w 1032"/>
                <a:gd name="T39" fmla="*/ 0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2 h 264"/>
                <a:gd name="T52" fmla="*/ 1032 w 1032"/>
                <a:gd name="T53" fmla="*/ 118 h 264"/>
                <a:gd name="T54" fmla="*/ 1032 w 1032"/>
                <a:gd name="T55" fmla="*/ 131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899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899" y="264"/>
                  </a:moveTo>
                  <a:lnTo>
                    <a:pt x="131" y="264"/>
                  </a:lnTo>
                  <a:lnTo>
                    <a:pt x="131" y="264"/>
                  </a:lnTo>
                  <a:lnTo>
                    <a:pt x="117" y="264"/>
                  </a:lnTo>
                  <a:lnTo>
                    <a:pt x="104" y="261"/>
                  </a:lnTo>
                  <a:lnTo>
                    <a:pt x="92" y="258"/>
                  </a:lnTo>
                  <a:lnTo>
                    <a:pt x="80" y="254"/>
                  </a:lnTo>
                  <a:lnTo>
                    <a:pt x="68" y="248"/>
                  </a:lnTo>
                  <a:lnTo>
                    <a:pt x="57" y="241"/>
                  </a:lnTo>
                  <a:lnTo>
                    <a:pt x="47" y="234"/>
                  </a:lnTo>
                  <a:lnTo>
                    <a:pt x="37" y="225"/>
                  </a:lnTo>
                  <a:lnTo>
                    <a:pt x="30" y="216"/>
                  </a:lnTo>
                  <a:lnTo>
                    <a:pt x="22" y="206"/>
                  </a:lnTo>
                  <a:lnTo>
                    <a:pt x="15" y="195"/>
                  </a:lnTo>
                  <a:lnTo>
                    <a:pt x="10" y="183"/>
                  </a:lnTo>
                  <a:lnTo>
                    <a:pt x="5" y="171"/>
                  </a:lnTo>
                  <a:lnTo>
                    <a:pt x="2" y="158"/>
                  </a:lnTo>
                  <a:lnTo>
                    <a:pt x="0" y="146"/>
                  </a:lnTo>
                  <a:lnTo>
                    <a:pt x="0" y="131"/>
                  </a:lnTo>
                  <a:lnTo>
                    <a:pt x="0" y="131"/>
                  </a:lnTo>
                  <a:lnTo>
                    <a:pt x="0" y="131"/>
                  </a:lnTo>
                  <a:lnTo>
                    <a:pt x="0" y="118"/>
                  </a:lnTo>
                  <a:lnTo>
                    <a:pt x="2" y="105"/>
                  </a:lnTo>
                  <a:lnTo>
                    <a:pt x="5" y="92"/>
                  </a:lnTo>
                  <a:lnTo>
                    <a:pt x="10" y="80"/>
                  </a:lnTo>
                  <a:lnTo>
                    <a:pt x="15" y="69"/>
                  </a:lnTo>
                  <a:lnTo>
                    <a:pt x="22" y="58"/>
                  </a:lnTo>
                  <a:lnTo>
                    <a:pt x="30" y="48"/>
                  </a:lnTo>
                  <a:lnTo>
                    <a:pt x="37" y="38"/>
                  </a:lnTo>
                  <a:lnTo>
                    <a:pt x="47" y="30"/>
                  </a:lnTo>
                  <a:lnTo>
                    <a:pt x="57" y="22"/>
                  </a:lnTo>
                  <a:lnTo>
                    <a:pt x="68" y="16"/>
                  </a:lnTo>
                  <a:lnTo>
                    <a:pt x="80" y="10"/>
                  </a:lnTo>
                  <a:lnTo>
                    <a:pt x="92" y="6"/>
                  </a:lnTo>
                  <a:lnTo>
                    <a:pt x="104" y="2"/>
                  </a:lnTo>
                  <a:lnTo>
                    <a:pt x="117" y="0"/>
                  </a:lnTo>
                  <a:lnTo>
                    <a:pt x="131" y="0"/>
                  </a:lnTo>
                  <a:lnTo>
                    <a:pt x="899" y="0"/>
                  </a:lnTo>
                  <a:lnTo>
                    <a:pt x="899" y="0"/>
                  </a:lnTo>
                  <a:lnTo>
                    <a:pt x="914" y="0"/>
                  </a:lnTo>
                  <a:lnTo>
                    <a:pt x="926" y="2"/>
                  </a:lnTo>
                  <a:lnTo>
                    <a:pt x="939" y="6"/>
                  </a:lnTo>
                  <a:lnTo>
                    <a:pt x="951" y="10"/>
                  </a:lnTo>
                  <a:lnTo>
                    <a:pt x="963" y="16"/>
                  </a:lnTo>
                  <a:lnTo>
                    <a:pt x="974" y="22"/>
                  </a:lnTo>
                  <a:lnTo>
                    <a:pt x="984" y="30"/>
                  </a:lnTo>
                  <a:lnTo>
                    <a:pt x="993" y="38"/>
                  </a:lnTo>
                  <a:lnTo>
                    <a:pt x="1002" y="48"/>
                  </a:lnTo>
                  <a:lnTo>
                    <a:pt x="1009" y="58"/>
                  </a:lnTo>
                  <a:lnTo>
                    <a:pt x="1016" y="69"/>
                  </a:lnTo>
                  <a:lnTo>
                    <a:pt x="1022" y="80"/>
                  </a:lnTo>
                  <a:lnTo>
                    <a:pt x="1026" y="92"/>
                  </a:lnTo>
                  <a:lnTo>
                    <a:pt x="1029" y="105"/>
                  </a:lnTo>
                  <a:lnTo>
                    <a:pt x="1032" y="118"/>
                  </a:lnTo>
                  <a:lnTo>
                    <a:pt x="1032" y="131"/>
                  </a:lnTo>
                  <a:lnTo>
                    <a:pt x="1032" y="131"/>
                  </a:lnTo>
                  <a:lnTo>
                    <a:pt x="1032" y="131"/>
                  </a:lnTo>
                  <a:lnTo>
                    <a:pt x="1032" y="146"/>
                  </a:lnTo>
                  <a:lnTo>
                    <a:pt x="1029" y="158"/>
                  </a:lnTo>
                  <a:lnTo>
                    <a:pt x="1026" y="171"/>
                  </a:lnTo>
                  <a:lnTo>
                    <a:pt x="1022" y="183"/>
                  </a:lnTo>
                  <a:lnTo>
                    <a:pt x="1016" y="195"/>
                  </a:lnTo>
                  <a:lnTo>
                    <a:pt x="1009" y="206"/>
                  </a:lnTo>
                  <a:lnTo>
                    <a:pt x="1002" y="216"/>
                  </a:lnTo>
                  <a:lnTo>
                    <a:pt x="993" y="225"/>
                  </a:lnTo>
                  <a:lnTo>
                    <a:pt x="984" y="234"/>
                  </a:lnTo>
                  <a:lnTo>
                    <a:pt x="974" y="241"/>
                  </a:lnTo>
                  <a:lnTo>
                    <a:pt x="963" y="248"/>
                  </a:lnTo>
                  <a:lnTo>
                    <a:pt x="951" y="254"/>
                  </a:lnTo>
                  <a:lnTo>
                    <a:pt x="939" y="258"/>
                  </a:lnTo>
                  <a:lnTo>
                    <a:pt x="926" y="261"/>
                  </a:lnTo>
                  <a:lnTo>
                    <a:pt x="914" y="264"/>
                  </a:lnTo>
                  <a:lnTo>
                    <a:pt x="899" y="264"/>
                  </a:lnTo>
                  <a:lnTo>
                    <a:pt x="899" y="26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sp>
        <p:nvSpPr>
          <p:cNvPr id="29" name="Ellipse 28"/>
          <p:cNvSpPr/>
          <p:nvPr/>
        </p:nvSpPr>
        <p:spPr bwMode="auto">
          <a:xfrm>
            <a:off x="4218865"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85" name="Freeform 80">
            <a:extLst>
              <a:ext uri="{FF2B5EF4-FFF2-40B4-BE49-F238E27FC236}">
                <a16:creationId xmlns:a16="http://schemas.microsoft.com/office/drawing/2014/main" id="{9E7CC0B0-F8BB-4A86-9E2E-170D3A796DB8}"/>
              </a:ext>
            </a:extLst>
          </p:cNvPr>
          <p:cNvSpPr>
            <a:spLocks/>
          </p:cNvSpPr>
          <p:nvPr/>
        </p:nvSpPr>
        <p:spPr bwMode="auto">
          <a:xfrm>
            <a:off x="4228685" y="3245980"/>
            <a:ext cx="443858" cy="443858"/>
          </a:xfrm>
          <a:custGeom>
            <a:avLst/>
            <a:gdLst>
              <a:gd name="T0" fmla="*/ 1709 w 1710"/>
              <a:gd name="T1" fmla="*/ 899 h 1710"/>
              <a:gd name="T2" fmla="*/ 1692 w 1710"/>
              <a:gd name="T3" fmla="*/ 1028 h 1710"/>
              <a:gd name="T4" fmla="*/ 1657 w 1710"/>
              <a:gd name="T5" fmla="*/ 1149 h 1710"/>
              <a:gd name="T6" fmla="*/ 1606 w 1710"/>
              <a:gd name="T7" fmla="*/ 1263 h 1710"/>
              <a:gd name="T8" fmla="*/ 1539 w 1710"/>
              <a:gd name="T9" fmla="*/ 1367 h 1710"/>
              <a:gd name="T10" fmla="*/ 1459 w 1710"/>
              <a:gd name="T11" fmla="*/ 1459 h 1710"/>
              <a:gd name="T12" fmla="*/ 1366 w 1710"/>
              <a:gd name="T13" fmla="*/ 1541 h 1710"/>
              <a:gd name="T14" fmla="*/ 1263 w 1710"/>
              <a:gd name="T15" fmla="*/ 1607 h 1710"/>
              <a:gd name="T16" fmla="*/ 1149 w 1710"/>
              <a:gd name="T17" fmla="*/ 1658 h 1710"/>
              <a:gd name="T18" fmla="*/ 1027 w 1710"/>
              <a:gd name="T19" fmla="*/ 1693 h 1710"/>
              <a:gd name="T20" fmla="*/ 899 w 1710"/>
              <a:gd name="T21" fmla="*/ 1709 h 1710"/>
              <a:gd name="T22" fmla="*/ 811 w 1710"/>
              <a:gd name="T23" fmla="*/ 1709 h 1710"/>
              <a:gd name="T24" fmla="*/ 683 w 1710"/>
              <a:gd name="T25" fmla="*/ 1693 h 1710"/>
              <a:gd name="T26" fmla="*/ 561 w 1710"/>
              <a:gd name="T27" fmla="*/ 1658 h 1710"/>
              <a:gd name="T28" fmla="*/ 447 w 1710"/>
              <a:gd name="T29" fmla="*/ 1607 h 1710"/>
              <a:gd name="T30" fmla="*/ 344 w 1710"/>
              <a:gd name="T31" fmla="*/ 1541 h 1710"/>
              <a:gd name="T32" fmla="*/ 251 w 1710"/>
              <a:gd name="T33" fmla="*/ 1459 h 1710"/>
              <a:gd name="T34" fmla="*/ 171 w 1710"/>
              <a:gd name="T35" fmla="*/ 1367 h 1710"/>
              <a:gd name="T36" fmla="*/ 104 w 1710"/>
              <a:gd name="T37" fmla="*/ 1263 h 1710"/>
              <a:gd name="T38" fmla="*/ 53 w 1710"/>
              <a:gd name="T39" fmla="*/ 1149 h 1710"/>
              <a:gd name="T40" fmla="*/ 18 w 1710"/>
              <a:gd name="T41" fmla="*/ 1028 h 1710"/>
              <a:gd name="T42" fmla="*/ 1 w 1710"/>
              <a:gd name="T43" fmla="*/ 899 h 1710"/>
              <a:gd name="T44" fmla="*/ 1 w 1710"/>
              <a:gd name="T45" fmla="*/ 811 h 1710"/>
              <a:gd name="T46" fmla="*/ 18 w 1710"/>
              <a:gd name="T47" fmla="*/ 683 h 1710"/>
              <a:gd name="T48" fmla="*/ 53 w 1710"/>
              <a:gd name="T49" fmla="*/ 562 h 1710"/>
              <a:gd name="T50" fmla="*/ 104 w 1710"/>
              <a:gd name="T51" fmla="*/ 447 h 1710"/>
              <a:gd name="T52" fmla="*/ 171 w 1710"/>
              <a:gd name="T53" fmla="*/ 344 h 1710"/>
              <a:gd name="T54" fmla="*/ 251 w 1710"/>
              <a:gd name="T55" fmla="*/ 251 h 1710"/>
              <a:gd name="T56" fmla="*/ 344 w 1710"/>
              <a:gd name="T57" fmla="*/ 171 h 1710"/>
              <a:gd name="T58" fmla="*/ 447 w 1710"/>
              <a:gd name="T59" fmla="*/ 104 h 1710"/>
              <a:gd name="T60" fmla="*/ 561 w 1710"/>
              <a:gd name="T61" fmla="*/ 53 h 1710"/>
              <a:gd name="T62" fmla="*/ 683 w 1710"/>
              <a:gd name="T63" fmla="*/ 18 h 1710"/>
              <a:gd name="T64" fmla="*/ 811 w 1710"/>
              <a:gd name="T65" fmla="*/ 1 h 1710"/>
              <a:gd name="T66" fmla="*/ 899 w 1710"/>
              <a:gd name="T67" fmla="*/ 1 h 1710"/>
              <a:gd name="T68" fmla="*/ 1027 w 1710"/>
              <a:gd name="T69" fmla="*/ 18 h 1710"/>
              <a:gd name="T70" fmla="*/ 1149 w 1710"/>
              <a:gd name="T71" fmla="*/ 53 h 1710"/>
              <a:gd name="T72" fmla="*/ 1263 w 1710"/>
              <a:gd name="T73" fmla="*/ 104 h 1710"/>
              <a:gd name="T74" fmla="*/ 1366 w 1710"/>
              <a:gd name="T75" fmla="*/ 171 h 1710"/>
              <a:gd name="T76" fmla="*/ 1459 w 1710"/>
              <a:gd name="T77" fmla="*/ 251 h 1710"/>
              <a:gd name="T78" fmla="*/ 1539 w 1710"/>
              <a:gd name="T79" fmla="*/ 344 h 1710"/>
              <a:gd name="T80" fmla="*/ 1606 w 1710"/>
              <a:gd name="T81" fmla="*/ 447 h 1710"/>
              <a:gd name="T82" fmla="*/ 1657 w 1710"/>
              <a:gd name="T83" fmla="*/ 562 h 1710"/>
              <a:gd name="T84" fmla="*/ 1692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899"/>
                </a:lnTo>
                <a:lnTo>
                  <a:pt x="1705" y="942"/>
                </a:lnTo>
                <a:lnTo>
                  <a:pt x="1700" y="986"/>
                </a:lnTo>
                <a:lnTo>
                  <a:pt x="1692" y="1028"/>
                </a:lnTo>
                <a:lnTo>
                  <a:pt x="1683" y="1069"/>
                </a:lnTo>
                <a:lnTo>
                  <a:pt x="1672" y="1109"/>
                </a:lnTo>
                <a:lnTo>
                  <a:pt x="1657" y="1149"/>
                </a:lnTo>
                <a:lnTo>
                  <a:pt x="1643" y="1188"/>
                </a:lnTo>
                <a:lnTo>
                  <a:pt x="1625" y="1226"/>
                </a:lnTo>
                <a:lnTo>
                  <a:pt x="1606" y="1263"/>
                </a:lnTo>
                <a:lnTo>
                  <a:pt x="1586" y="1298"/>
                </a:lnTo>
                <a:lnTo>
                  <a:pt x="1564" y="1333"/>
                </a:lnTo>
                <a:lnTo>
                  <a:pt x="1539" y="1367"/>
                </a:lnTo>
                <a:lnTo>
                  <a:pt x="1515" y="1399"/>
                </a:lnTo>
                <a:lnTo>
                  <a:pt x="1487" y="1429"/>
                </a:lnTo>
                <a:lnTo>
                  <a:pt x="1459" y="1459"/>
                </a:lnTo>
                <a:lnTo>
                  <a:pt x="1429" y="1488"/>
                </a:lnTo>
                <a:lnTo>
                  <a:pt x="1398" y="1515"/>
                </a:lnTo>
                <a:lnTo>
                  <a:pt x="1366" y="1541"/>
                </a:lnTo>
                <a:lnTo>
                  <a:pt x="1333" y="1564"/>
                </a:lnTo>
                <a:lnTo>
                  <a:pt x="1298" y="1586"/>
                </a:lnTo>
                <a:lnTo>
                  <a:pt x="1263" y="1607"/>
                </a:lnTo>
                <a:lnTo>
                  <a:pt x="1226" y="1625"/>
                </a:lnTo>
                <a:lnTo>
                  <a:pt x="1188" y="1643"/>
                </a:lnTo>
                <a:lnTo>
                  <a:pt x="1149" y="1658"/>
                </a:lnTo>
                <a:lnTo>
                  <a:pt x="1109" y="1672"/>
                </a:lnTo>
                <a:lnTo>
                  <a:pt x="1069" y="1683"/>
                </a:lnTo>
                <a:lnTo>
                  <a:pt x="1027" y="1693"/>
                </a:lnTo>
                <a:lnTo>
                  <a:pt x="986" y="1700"/>
                </a:lnTo>
                <a:lnTo>
                  <a:pt x="942" y="1705"/>
                </a:lnTo>
                <a:lnTo>
                  <a:pt x="899" y="1709"/>
                </a:lnTo>
                <a:lnTo>
                  <a:pt x="856" y="1710"/>
                </a:lnTo>
                <a:lnTo>
                  <a:pt x="856" y="1710"/>
                </a:lnTo>
                <a:lnTo>
                  <a:pt x="811" y="1709"/>
                </a:lnTo>
                <a:lnTo>
                  <a:pt x="768" y="1705"/>
                </a:lnTo>
                <a:lnTo>
                  <a:pt x="725" y="1700"/>
                </a:lnTo>
                <a:lnTo>
                  <a:pt x="683" y="1693"/>
                </a:lnTo>
                <a:lnTo>
                  <a:pt x="642" y="1683"/>
                </a:lnTo>
                <a:lnTo>
                  <a:pt x="601" y="1672"/>
                </a:lnTo>
                <a:lnTo>
                  <a:pt x="561" y="1658"/>
                </a:lnTo>
                <a:lnTo>
                  <a:pt x="522" y="1643"/>
                </a:lnTo>
                <a:lnTo>
                  <a:pt x="484" y="1625"/>
                </a:lnTo>
                <a:lnTo>
                  <a:pt x="447" y="1607"/>
                </a:lnTo>
                <a:lnTo>
                  <a:pt x="412" y="1586"/>
                </a:lnTo>
                <a:lnTo>
                  <a:pt x="377" y="1564"/>
                </a:lnTo>
                <a:lnTo>
                  <a:pt x="344" y="1541"/>
                </a:lnTo>
                <a:lnTo>
                  <a:pt x="312" y="1515"/>
                </a:lnTo>
                <a:lnTo>
                  <a:pt x="281" y="1488"/>
                </a:lnTo>
                <a:lnTo>
                  <a:pt x="251" y="1459"/>
                </a:lnTo>
                <a:lnTo>
                  <a:pt x="223" y="1429"/>
                </a:lnTo>
                <a:lnTo>
                  <a:pt x="196" y="1399"/>
                </a:lnTo>
                <a:lnTo>
                  <a:pt x="171" y="1367"/>
                </a:lnTo>
                <a:lnTo>
                  <a:pt x="146" y="1333"/>
                </a:lnTo>
                <a:lnTo>
                  <a:pt x="124" y="1298"/>
                </a:lnTo>
                <a:lnTo>
                  <a:pt x="104" y="1263"/>
                </a:lnTo>
                <a:lnTo>
                  <a:pt x="85" y="1226"/>
                </a:lnTo>
                <a:lnTo>
                  <a:pt x="67" y="1188"/>
                </a:lnTo>
                <a:lnTo>
                  <a:pt x="53" y="1149"/>
                </a:lnTo>
                <a:lnTo>
                  <a:pt x="39" y="1109"/>
                </a:lnTo>
                <a:lnTo>
                  <a:pt x="27" y="1069"/>
                </a:lnTo>
                <a:lnTo>
                  <a:pt x="18" y="1028"/>
                </a:lnTo>
                <a:lnTo>
                  <a:pt x="10" y="986"/>
                </a:lnTo>
                <a:lnTo>
                  <a:pt x="5" y="942"/>
                </a:lnTo>
                <a:lnTo>
                  <a:pt x="1" y="899"/>
                </a:lnTo>
                <a:lnTo>
                  <a:pt x="0" y="856"/>
                </a:lnTo>
                <a:lnTo>
                  <a:pt x="0" y="856"/>
                </a:lnTo>
                <a:lnTo>
                  <a:pt x="1" y="811"/>
                </a:lnTo>
                <a:lnTo>
                  <a:pt x="5" y="768"/>
                </a:lnTo>
                <a:lnTo>
                  <a:pt x="10" y="725"/>
                </a:lnTo>
                <a:lnTo>
                  <a:pt x="18" y="683"/>
                </a:lnTo>
                <a:lnTo>
                  <a:pt x="27" y="642"/>
                </a:lnTo>
                <a:lnTo>
                  <a:pt x="39" y="601"/>
                </a:lnTo>
                <a:lnTo>
                  <a:pt x="53" y="562"/>
                </a:lnTo>
                <a:lnTo>
                  <a:pt x="67" y="523"/>
                </a:lnTo>
                <a:lnTo>
                  <a:pt x="85" y="485"/>
                </a:lnTo>
                <a:lnTo>
                  <a:pt x="104" y="447"/>
                </a:lnTo>
                <a:lnTo>
                  <a:pt x="124" y="412"/>
                </a:lnTo>
                <a:lnTo>
                  <a:pt x="146" y="377"/>
                </a:lnTo>
                <a:lnTo>
                  <a:pt x="171" y="344"/>
                </a:lnTo>
                <a:lnTo>
                  <a:pt x="196" y="312"/>
                </a:lnTo>
                <a:lnTo>
                  <a:pt x="223" y="281"/>
                </a:lnTo>
                <a:lnTo>
                  <a:pt x="251" y="251"/>
                </a:lnTo>
                <a:lnTo>
                  <a:pt x="281" y="223"/>
                </a:lnTo>
                <a:lnTo>
                  <a:pt x="312" y="196"/>
                </a:lnTo>
                <a:lnTo>
                  <a:pt x="344" y="171"/>
                </a:lnTo>
                <a:lnTo>
                  <a:pt x="377" y="147"/>
                </a:lnTo>
                <a:lnTo>
                  <a:pt x="412" y="125"/>
                </a:lnTo>
                <a:lnTo>
                  <a:pt x="447" y="104"/>
                </a:lnTo>
                <a:lnTo>
                  <a:pt x="484" y="85"/>
                </a:lnTo>
                <a:lnTo>
                  <a:pt x="522" y="68"/>
                </a:lnTo>
                <a:lnTo>
                  <a:pt x="561" y="53"/>
                </a:lnTo>
                <a:lnTo>
                  <a:pt x="601" y="39"/>
                </a:lnTo>
                <a:lnTo>
                  <a:pt x="642" y="27"/>
                </a:lnTo>
                <a:lnTo>
                  <a:pt x="683" y="18"/>
                </a:lnTo>
                <a:lnTo>
                  <a:pt x="725" y="10"/>
                </a:lnTo>
                <a:lnTo>
                  <a:pt x="768" y="5"/>
                </a:lnTo>
                <a:lnTo>
                  <a:pt x="811" y="1"/>
                </a:lnTo>
                <a:lnTo>
                  <a:pt x="856" y="0"/>
                </a:lnTo>
                <a:lnTo>
                  <a:pt x="856" y="0"/>
                </a:lnTo>
                <a:lnTo>
                  <a:pt x="899" y="1"/>
                </a:lnTo>
                <a:lnTo>
                  <a:pt x="942" y="5"/>
                </a:lnTo>
                <a:lnTo>
                  <a:pt x="986" y="10"/>
                </a:lnTo>
                <a:lnTo>
                  <a:pt x="1027" y="18"/>
                </a:lnTo>
                <a:lnTo>
                  <a:pt x="1069" y="27"/>
                </a:lnTo>
                <a:lnTo>
                  <a:pt x="1109" y="39"/>
                </a:lnTo>
                <a:lnTo>
                  <a:pt x="1149" y="53"/>
                </a:lnTo>
                <a:lnTo>
                  <a:pt x="1188" y="68"/>
                </a:lnTo>
                <a:lnTo>
                  <a:pt x="1226" y="85"/>
                </a:lnTo>
                <a:lnTo>
                  <a:pt x="1263" y="104"/>
                </a:lnTo>
                <a:lnTo>
                  <a:pt x="1298" y="125"/>
                </a:lnTo>
                <a:lnTo>
                  <a:pt x="1333" y="147"/>
                </a:lnTo>
                <a:lnTo>
                  <a:pt x="1366" y="171"/>
                </a:lnTo>
                <a:lnTo>
                  <a:pt x="1398" y="196"/>
                </a:lnTo>
                <a:lnTo>
                  <a:pt x="1429" y="223"/>
                </a:lnTo>
                <a:lnTo>
                  <a:pt x="1459" y="251"/>
                </a:lnTo>
                <a:lnTo>
                  <a:pt x="1487" y="281"/>
                </a:lnTo>
                <a:lnTo>
                  <a:pt x="1515" y="312"/>
                </a:lnTo>
                <a:lnTo>
                  <a:pt x="1539" y="344"/>
                </a:lnTo>
                <a:lnTo>
                  <a:pt x="1564" y="377"/>
                </a:lnTo>
                <a:lnTo>
                  <a:pt x="1586" y="412"/>
                </a:lnTo>
                <a:lnTo>
                  <a:pt x="1606" y="447"/>
                </a:lnTo>
                <a:lnTo>
                  <a:pt x="1625" y="485"/>
                </a:lnTo>
                <a:lnTo>
                  <a:pt x="1643" y="523"/>
                </a:lnTo>
                <a:lnTo>
                  <a:pt x="1657" y="562"/>
                </a:lnTo>
                <a:lnTo>
                  <a:pt x="1672" y="601"/>
                </a:lnTo>
                <a:lnTo>
                  <a:pt x="1683" y="642"/>
                </a:lnTo>
                <a:lnTo>
                  <a:pt x="1692" y="683"/>
                </a:lnTo>
                <a:lnTo>
                  <a:pt x="1700" y="725"/>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6" name="Freeform 81">
            <a:extLst>
              <a:ext uri="{FF2B5EF4-FFF2-40B4-BE49-F238E27FC236}">
                <a16:creationId xmlns:a16="http://schemas.microsoft.com/office/drawing/2014/main" id="{C8CF701C-67C5-47BF-90EC-EDD11FC49884}"/>
              </a:ext>
            </a:extLst>
          </p:cNvPr>
          <p:cNvSpPr>
            <a:spLocks noEditPoints="1"/>
          </p:cNvSpPr>
          <p:nvPr/>
        </p:nvSpPr>
        <p:spPr bwMode="auto">
          <a:xfrm>
            <a:off x="4350589" y="3310058"/>
            <a:ext cx="200049" cy="315702"/>
          </a:xfrm>
          <a:custGeom>
            <a:avLst/>
            <a:gdLst>
              <a:gd name="T0" fmla="*/ 5 w 767"/>
              <a:gd name="T1" fmla="*/ 278 h 1215"/>
              <a:gd name="T2" fmla="*/ 33 w 767"/>
              <a:gd name="T3" fmla="*/ 192 h 1215"/>
              <a:gd name="T4" fmla="*/ 79 w 767"/>
              <a:gd name="T5" fmla="*/ 122 h 1215"/>
              <a:gd name="T6" fmla="*/ 131 w 767"/>
              <a:gd name="T7" fmla="*/ 76 h 1215"/>
              <a:gd name="T8" fmla="*/ 210 w 767"/>
              <a:gd name="T9" fmla="*/ 34 h 1215"/>
              <a:gd name="T10" fmla="*/ 305 w 767"/>
              <a:gd name="T11" fmla="*/ 8 h 1215"/>
              <a:gd name="T12" fmla="*/ 415 w 767"/>
              <a:gd name="T13" fmla="*/ 0 h 1215"/>
              <a:gd name="T14" fmla="*/ 496 w 767"/>
              <a:gd name="T15" fmla="*/ 6 h 1215"/>
              <a:gd name="T16" fmla="*/ 566 w 767"/>
              <a:gd name="T17" fmla="*/ 21 h 1215"/>
              <a:gd name="T18" fmla="*/ 639 w 767"/>
              <a:gd name="T19" fmla="*/ 55 h 1215"/>
              <a:gd name="T20" fmla="*/ 687 w 767"/>
              <a:gd name="T21" fmla="*/ 92 h 1215"/>
              <a:gd name="T22" fmla="*/ 731 w 767"/>
              <a:gd name="T23" fmla="*/ 148 h 1215"/>
              <a:gd name="T24" fmla="*/ 754 w 767"/>
              <a:gd name="T25" fmla="*/ 199 h 1215"/>
              <a:gd name="T26" fmla="*/ 766 w 767"/>
              <a:gd name="T27" fmla="*/ 272 h 1215"/>
              <a:gd name="T28" fmla="*/ 764 w 767"/>
              <a:gd name="T29" fmla="*/ 335 h 1215"/>
              <a:gd name="T30" fmla="*/ 746 w 767"/>
              <a:gd name="T31" fmla="*/ 402 h 1215"/>
              <a:gd name="T32" fmla="*/ 694 w 767"/>
              <a:gd name="T33" fmla="*/ 483 h 1215"/>
              <a:gd name="T34" fmla="*/ 627 w 767"/>
              <a:gd name="T35" fmla="*/ 546 h 1215"/>
              <a:gd name="T36" fmla="*/ 560 w 767"/>
              <a:gd name="T37" fmla="*/ 608 h 1215"/>
              <a:gd name="T38" fmla="*/ 508 w 767"/>
              <a:gd name="T39" fmla="*/ 684 h 1215"/>
              <a:gd name="T40" fmla="*/ 493 w 767"/>
              <a:gd name="T41" fmla="*/ 733 h 1215"/>
              <a:gd name="T42" fmla="*/ 487 w 767"/>
              <a:gd name="T43" fmla="*/ 792 h 1215"/>
              <a:gd name="T44" fmla="*/ 489 w 767"/>
              <a:gd name="T45" fmla="*/ 816 h 1215"/>
              <a:gd name="T46" fmla="*/ 246 w 767"/>
              <a:gd name="T47" fmla="*/ 840 h 1215"/>
              <a:gd name="T48" fmla="*/ 253 w 767"/>
              <a:gd name="T49" fmla="*/ 674 h 1215"/>
              <a:gd name="T50" fmla="*/ 279 w 767"/>
              <a:gd name="T51" fmla="*/ 579 h 1215"/>
              <a:gd name="T52" fmla="*/ 329 w 767"/>
              <a:gd name="T53" fmla="*/ 505 h 1215"/>
              <a:gd name="T54" fmla="*/ 415 w 767"/>
              <a:gd name="T55" fmla="*/ 440 h 1215"/>
              <a:gd name="T56" fmla="*/ 478 w 767"/>
              <a:gd name="T57" fmla="*/ 385 h 1215"/>
              <a:gd name="T58" fmla="*/ 499 w 767"/>
              <a:gd name="T59" fmla="*/ 341 h 1215"/>
              <a:gd name="T60" fmla="*/ 499 w 767"/>
              <a:gd name="T61" fmla="*/ 304 h 1215"/>
              <a:gd name="T62" fmla="*/ 479 w 767"/>
              <a:gd name="T63" fmla="*/ 273 h 1215"/>
              <a:gd name="T64" fmla="*/ 446 w 767"/>
              <a:gd name="T65" fmla="*/ 259 h 1215"/>
              <a:gd name="T66" fmla="*/ 365 w 767"/>
              <a:gd name="T67" fmla="*/ 254 h 1215"/>
              <a:gd name="T68" fmla="*/ 310 w 767"/>
              <a:gd name="T69" fmla="*/ 268 h 1215"/>
              <a:gd name="T70" fmla="*/ 277 w 767"/>
              <a:gd name="T71" fmla="*/ 294 h 1215"/>
              <a:gd name="T72" fmla="*/ 256 w 767"/>
              <a:gd name="T73" fmla="*/ 338 h 1215"/>
              <a:gd name="T74" fmla="*/ 548 w 767"/>
              <a:gd name="T75" fmla="*/ 1081 h 1215"/>
              <a:gd name="T76" fmla="*/ 527 w 767"/>
              <a:gd name="T77" fmla="*/ 1139 h 1215"/>
              <a:gd name="T78" fmla="*/ 484 w 767"/>
              <a:gd name="T79" fmla="*/ 1183 h 1215"/>
              <a:gd name="T80" fmla="*/ 426 w 767"/>
              <a:gd name="T81" fmla="*/ 1208 h 1215"/>
              <a:gd name="T82" fmla="*/ 361 w 767"/>
              <a:gd name="T83" fmla="*/ 1214 h 1215"/>
              <a:gd name="T84" fmla="*/ 301 w 767"/>
              <a:gd name="T85" fmla="*/ 1198 h 1215"/>
              <a:gd name="T86" fmla="*/ 251 w 767"/>
              <a:gd name="T87" fmla="*/ 1162 h 1215"/>
              <a:gd name="T88" fmla="*/ 219 w 767"/>
              <a:gd name="T89" fmla="*/ 1111 h 1215"/>
              <a:gd name="T90" fmla="*/ 212 w 767"/>
              <a:gd name="T91" fmla="*/ 1050 h 1215"/>
              <a:gd name="T92" fmla="*/ 232 w 767"/>
              <a:gd name="T93" fmla="*/ 993 h 1215"/>
              <a:gd name="T94" fmla="*/ 275 w 767"/>
              <a:gd name="T95" fmla="*/ 950 h 1215"/>
              <a:gd name="T96" fmla="*/ 330 w 767"/>
              <a:gd name="T97" fmla="*/ 925 h 1215"/>
              <a:gd name="T98" fmla="*/ 395 w 767"/>
              <a:gd name="T99" fmla="*/ 919 h 1215"/>
              <a:gd name="T100" fmla="*/ 457 w 767"/>
              <a:gd name="T101" fmla="*/ 935 h 1215"/>
              <a:gd name="T102" fmla="*/ 508 w 767"/>
              <a:gd name="T103" fmla="*/ 970 h 1215"/>
              <a:gd name="T104" fmla="*/ 540 w 767"/>
              <a:gd name="T105" fmla="*/ 102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1215">
                <a:moveTo>
                  <a:pt x="0" y="337"/>
                </a:moveTo>
                <a:lnTo>
                  <a:pt x="0" y="337"/>
                </a:lnTo>
                <a:lnTo>
                  <a:pt x="1" y="317"/>
                </a:lnTo>
                <a:lnTo>
                  <a:pt x="3" y="297"/>
                </a:lnTo>
                <a:lnTo>
                  <a:pt x="5" y="278"/>
                </a:lnTo>
                <a:lnTo>
                  <a:pt x="10" y="259"/>
                </a:lnTo>
                <a:lnTo>
                  <a:pt x="14" y="242"/>
                </a:lnTo>
                <a:lnTo>
                  <a:pt x="20" y="225"/>
                </a:lnTo>
                <a:lnTo>
                  <a:pt x="25" y="208"/>
                </a:lnTo>
                <a:lnTo>
                  <a:pt x="33" y="192"/>
                </a:lnTo>
                <a:lnTo>
                  <a:pt x="41" y="177"/>
                </a:lnTo>
                <a:lnTo>
                  <a:pt x="49" y="162"/>
                </a:lnTo>
                <a:lnTo>
                  <a:pt x="59" y="148"/>
                </a:lnTo>
                <a:lnTo>
                  <a:pt x="69" y="134"/>
                </a:lnTo>
                <a:lnTo>
                  <a:pt x="79" y="122"/>
                </a:lnTo>
                <a:lnTo>
                  <a:pt x="91" y="109"/>
                </a:lnTo>
                <a:lnTo>
                  <a:pt x="103" y="97"/>
                </a:lnTo>
                <a:lnTo>
                  <a:pt x="117" y="86"/>
                </a:lnTo>
                <a:lnTo>
                  <a:pt x="117" y="86"/>
                </a:lnTo>
                <a:lnTo>
                  <a:pt x="131" y="76"/>
                </a:lnTo>
                <a:lnTo>
                  <a:pt x="146" y="66"/>
                </a:lnTo>
                <a:lnTo>
                  <a:pt x="160" y="57"/>
                </a:lnTo>
                <a:lnTo>
                  <a:pt x="177" y="48"/>
                </a:lnTo>
                <a:lnTo>
                  <a:pt x="192" y="40"/>
                </a:lnTo>
                <a:lnTo>
                  <a:pt x="210" y="34"/>
                </a:lnTo>
                <a:lnTo>
                  <a:pt x="228" y="27"/>
                </a:lnTo>
                <a:lnTo>
                  <a:pt x="246" y="21"/>
                </a:lnTo>
                <a:lnTo>
                  <a:pt x="265" y="17"/>
                </a:lnTo>
                <a:lnTo>
                  <a:pt x="285" y="13"/>
                </a:lnTo>
                <a:lnTo>
                  <a:pt x="305" y="8"/>
                </a:lnTo>
                <a:lnTo>
                  <a:pt x="326" y="6"/>
                </a:lnTo>
                <a:lnTo>
                  <a:pt x="347" y="4"/>
                </a:lnTo>
                <a:lnTo>
                  <a:pt x="369" y="1"/>
                </a:lnTo>
                <a:lnTo>
                  <a:pt x="391" y="0"/>
                </a:lnTo>
                <a:lnTo>
                  <a:pt x="415" y="0"/>
                </a:lnTo>
                <a:lnTo>
                  <a:pt x="415" y="0"/>
                </a:lnTo>
                <a:lnTo>
                  <a:pt x="436" y="0"/>
                </a:lnTo>
                <a:lnTo>
                  <a:pt x="456" y="1"/>
                </a:lnTo>
                <a:lnTo>
                  <a:pt x="476" y="4"/>
                </a:lnTo>
                <a:lnTo>
                  <a:pt x="496" y="6"/>
                </a:lnTo>
                <a:lnTo>
                  <a:pt x="514" y="8"/>
                </a:lnTo>
                <a:lnTo>
                  <a:pt x="531" y="13"/>
                </a:lnTo>
                <a:lnTo>
                  <a:pt x="549" y="17"/>
                </a:lnTo>
                <a:lnTo>
                  <a:pt x="566" y="21"/>
                </a:lnTo>
                <a:lnTo>
                  <a:pt x="566" y="21"/>
                </a:lnTo>
                <a:lnTo>
                  <a:pt x="582" y="27"/>
                </a:lnTo>
                <a:lnTo>
                  <a:pt x="597" y="34"/>
                </a:lnTo>
                <a:lnTo>
                  <a:pt x="612" y="40"/>
                </a:lnTo>
                <a:lnTo>
                  <a:pt x="626" y="47"/>
                </a:lnTo>
                <a:lnTo>
                  <a:pt x="639" y="55"/>
                </a:lnTo>
                <a:lnTo>
                  <a:pt x="653" y="64"/>
                </a:lnTo>
                <a:lnTo>
                  <a:pt x="665" y="73"/>
                </a:lnTo>
                <a:lnTo>
                  <a:pt x="676" y="83"/>
                </a:lnTo>
                <a:lnTo>
                  <a:pt x="676" y="83"/>
                </a:lnTo>
                <a:lnTo>
                  <a:pt x="687" y="92"/>
                </a:lnTo>
                <a:lnTo>
                  <a:pt x="697" y="103"/>
                </a:lnTo>
                <a:lnTo>
                  <a:pt x="706" y="113"/>
                </a:lnTo>
                <a:lnTo>
                  <a:pt x="715" y="124"/>
                </a:lnTo>
                <a:lnTo>
                  <a:pt x="723" y="136"/>
                </a:lnTo>
                <a:lnTo>
                  <a:pt x="731" y="148"/>
                </a:lnTo>
                <a:lnTo>
                  <a:pt x="737" y="160"/>
                </a:lnTo>
                <a:lnTo>
                  <a:pt x="744" y="173"/>
                </a:lnTo>
                <a:lnTo>
                  <a:pt x="744" y="173"/>
                </a:lnTo>
                <a:lnTo>
                  <a:pt x="749" y="186"/>
                </a:lnTo>
                <a:lnTo>
                  <a:pt x="754" y="199"/>
                </a:lnTo>
                <a:lnTo>
                  <a:pt x="758" y="214"/>
                </a:lnTo>
                <a:lnTo>
                  <a:pt x="761" y="227"/>
                </a:lnTo>
                <a:lnTo>
                  <a:pt x="764" y="242"/>
                </a:lnTo>
                <a:lnTo>
                  <a:pt x="765" y="256"/>
                </a:lnTo>
                <a:lnTo>
                  <a:pt x="766" y="272"/>
                </a:lnTo>
                <a:lnTo>
                  <a:pt x="767" y="286"/>
                </a:lnTo>
                <a:lnTo>
                  <a:pt x="767" y="286"/>
                </a:lnTo>
                <a:lnTo>
                  <a:pt x="766" y="303"/>
                </a:lnTo>
                <a:lnTo>
                  <a:pt x="765" y="320"/>
                </a:lnTo>
                <a:lnTo>
                  <a:pt x="764" y="335"/>
                </a:lnTo>
                <a:lnTo>
                  <a:pt x="762" y="350"/>
                </a:lnTo>
                <a:lnTo>
                  <a:pt x="758" y="364"/>
                </a:lnTo>
                <a:lnTo>
                  <a:pt x="755" y="377"/>
                </a:lnTo>
                <a:lnTo>
                  <a:pt x="751" y="391"/>
                </a:lnTo>
                <a:lnTo>
                  <a:pt x="746" y="402"/>
                </a:lnTo>
                <a:lnTo>
                  <a:pt x="746" y="402"/>
                </a:lnTo>
                <a:lnTo>
                  <a:pt x="735" y="424"/>
                </a:lnTo>
                <a:lnTo>
                  <a:pt x="723" y="445"/>
                </a:lnTo>
                <a:lnTo>
                  <a:pt x="709" y="465"/>
                </a:lnTo>
                <a:lnTo>
                  <a:pt x="694" y="483"/>
                </a:lnTo>
                <a:lnTo>
                  <a:pt x="694" y="483"/>
                </a:lnTo>
                <a:lnTo>
                  <a:pt x="678" y="500"/>
                </a:lnTo>
                <a:lnTo>
                  <a:pt x="662" y="516"/>
                </a:lnTo>
                <a:lnTo>
                  <a:pt x="645" y="532"/>
                </a:lnTo>
                <a:lnTo>
                  <a:pt x="627" y="546"/>
                </a:lnTo>
                <a:lnTo>
                  <a:pt x="627" y="546"/>
                </a:lnTo>
                <a:lnTo>
                  <a:pt x="609" y="561"/>
                </a:lnTo>
                <a:lnTo>
                  <a:pt x="593" y="575"/>
                </a:lnTo>
                <a:lnTo>
                  <a:pt x="576" y="591"/>
                </a:lnTo>
                <a:lnTo>
                  <a:pt x="560" y="608"/>
                </a:lnTo>
                <a:lnTo>
                  <a:pt x="560" y="608"/>
                </a:lnTo>
                <a:lnTo>
                  <a:pt x="545" y="624"/>
                </a:lnTo>
                <a:lnTo>
                  <a:pt x="531" y="643"/>
                </a:lnTo>
                <a:lnTo>
                  <a:pt x="519" y="663"/>
                </a:lnTo>
                <a:lnTo>
                  <a:pt x="508" y="684"/>
                </a:lnTo>
                <a:lnTo>
                  <a:pt x="508" y="684"/>
                </a:lnTo>
                <a:lnTo>
                  <a:pt x="504" y="695"/>
                </a:lnTo>
                <a:lnTo>
                  <a:pt x="499" y="708"/>
                </a:lnTo>
                <a:lnTo>
                  <a:pt x="496" y="720"/>
                </a:lnTo>
                <a:lnTo>
                  <a:pt x="493" y="733"/>
                </a:lnTo>
                <a:lnTo>
                  <a:pt x="490" y="747"/>
                </a:lnTo>
                <a:lnTo>
                  <a:pt x="488" y="762"/>
                </a:lnTo>
                <a:lnTo>
                  <a:pt x="488" y="777"/>
                </a:lnTo>
                <a:lnTo>
                  <a:pt x="487" y="792"/>
                </a:lnTo>
                <a:lnTo>
                  <a:pt x="487" y="792"/>
                </a:lnTo>
                <a:lnTo>
                  <a:pt x="487" y="808"/>
                </a:lnTo>
                <a:lnTo>
                  <a:pt x="487" y="808"/>
                </a:lnTo>
                <a:lnTo>
                  <a:pt x="488" y="812"/>
                </a:lnTo>
                <a:lnTo>
                  <a:pt x="489" y="816"/>
                </a:lnTo>
                <a:lnTo>
                  <a:pt x="489" y="816"/>
                </a:lnTo>
                <a:lnTo>
                  <a:pt x="493" y="824"/>
                </a:lnTo>
                <a:lnTo>
                  <a:pt x="493" y="824"/>
                </a:lnTo>
                <a:lnTo>
                  <a:pt x="497" y="840"/>
                </a:lnTo>
                <a:lnTo>
                  <a:pt x="246" y="840"/>
                </a:lnTo>
                <a:lnTo>
                  <a:pt x="246" y="840"/>
                </a:lnTo>
                <a:lnTo>
                  <a:pt x="247" y="767"/>
                </a:lnTo>
                <a:lnTo>
                  <a:pt x="249" y="733"/>
                </a:lnTo>
                <a:lnTo>
                  <a:pt x="251" y="702"/>
                </a:lnTo>
                <a:lnTo>
                  <a:pt x="251" y="702"/>
                </a:lnTo>
                <a:lnTo>
                  <a:pt x="253" y="674"/>
                </a:lnTo>
                <a:lnTo>
                  <a:pt x="258" y="648"/>
                </a:lnTo>
                <a:lnTo>
                  <a:pt x="263" y="623"/>
                </a:lnTo>
                <a:lnTo>
                  <a:pt x="270" y="600"/>
                </a:lnTo>
                <a:lnTo>
                  <a:pt x="270" y="600"/>
                </a:lnTo>
                <a:lnTo>
                  <a:pt x="279" y="579"/>
                </a:lnTo>
                <a:lnTo>
                  <a:pt x="289" y="559"/>
                </a:lnTo>
                <a:lnTo>
                  <a:pt x="300" y="540"/>
                </a:lnTo>
                <a:lnTo>
                  <a:pt x="313" y="522"/>
                </a:lnTo>
                <a:lnTo>
                  <a:pt x="313" y="522"/>
                </a:lnTo>
                <a:lnTo>
                  <a:pt x="329" y="505"/>
                </a:lnTo>
                <a:lnTo>
                  <a:pt x="347" y="489"/>
                </a:lnTo>
                <a:lnTo>
                  <a:pt x="367" y="473"/>
                </a:lnTo>
                <a:lnTo>
                  <a:pt x="390" y="456"/>
                </a:lnTo>
                <a:lnTo>
                  <a:pt x="390" y="456"/>
                </a:lnTo>
                <a:lnTo>
                  <a:pt x="415" y="440"/>
                </a:lnTo>
                <a:lnTo>
                  <a:pt x="437" y="423"/>
                </a:lnTo>
                <a:lnTo>
                  <a:pt x="456" y="407"/>
                </a:lnTo>
                <a:lnTo>
                  <a:pt x="471" y="392"/>
                </a:lnTo>
                <a:lnTo>
                  <a:pt x="471" y="392"/>
                </a:lnTo>
                <a:lnTo>
                  <a:pt x="478" y="385"/>
                </a:lnTo>
                <a:lnTo>
                  <a:pt x="485" y="376"/>
                </a:lnTo>
                <a:lnTo>
                  <a:pt x="489" y="368"/>
                </a:lnTo>
                <a:lnTo>
                  <a:pt x="494" y="360"/>
                </a:lnTo>
                <a:lnTo>
                  <a:pt x="497" y="351"/>
                </a:lnTo>
                <a:lnTo>
                  <a:pt x="499" y="341"/>
                </a:lnTo>
                <a:lnTo>
                  <a:pt x="500" y="332"/>
                </a:lnTo>
                <a:lnTo>
                  <a:pt x="500" y="321"/>
                </a:lnTo>
                <a:lnTo>
                  <a:pt x="500" y="321"/>
                </a:lnTo>
                <a:lnTo>
                  <a:pt x="500" y="312"/>
                </a:lnTo>
                <a:lnTo>
                  <a:pt x="499" y="304"/>
                </a:lnTo>
                <a:lnTo>
                  <a:pt x="497" y="296"/>
                </a:lnTo>
                <a:lnTo>
                  <a:pt x="494" y="288"/>
                </a:lnTo>
                <a:lnTo>
                  <a:pt x="489" y="283"/>
                </a:lnTo>
                <a:lnTo>
                  <a:pt x="485" y="277"/>
                </a:lnTo>
                <a:lnTo>
                  <a:pt x="479" y="273"/>
                </a:lnTo>
                <a:lnTo>
                  <a:pt x="473" y="268"/>
                </a:lnTo>
                <a:lnTo>
                  <a:pt x="473" y="268"/>
                </a:lnTo>
                <a:lnTo>
                  <a:pt x="465" y="265"/>
                </a:lnTo>
                <a:lnTo>
                  <a:pt x="456" y="262"/>
                </a:lnTo>
                <a:lnTo>
                  <a:pt x="446" y="259"/>
                </a:lnTo>
                <a:lnTo>
                  <a:pt x="435" y="257"/>
                </a:lnTo>
                <a:lnTo>
                  <a:pt x="409" y="254"/>
                </a:lnTo>
                <a:lnTo>
                  <a:pt x="378" y="253"/>
                </a:lnTo>
                <a:lnTo>
                  <a:pt x="378" y="253"/>
                </a:lnTo>
                <a:lnTo>
                  <a:pt x="365" y="254"/>
                </a:lnTo>
                <a:lnTo>
                  <a:pt x="352" y="255"/>
                </a:lnTo>
                <a:lnTo>
                  <a:pt x="341" y="257"/>
                </a:lnTo>
                <a:lnTo>
                  <a:pt x="330" y="259"/>
                </a:lnTo>
                <a:lnTo>
                  <a:pt x="320" y="264"/>
                </a:lnTo>
                <a:lnTo>
                  <a:pt x="310" y="268"/>
                </a:lnTo>
                <a:lnTo>
                  <a:pt x="300" y="274"/>
                </a:lnTo>
                <a:lnTo>
                  <a:pt x="292" y="279"/>
                </a:lnTo>
                <a:lnTo>
                  <a:pt x="292" y="279"/>
                </a:lnTo>
                <a:lnTo>
                  <a:pt x="285" y="286"/>
                </a:lnTo>
                <a:lnTo>
                  <a:pt x="277" y="294"/>
                </a:lnTo>
                <a:lnTo>
                  <a:pt x="271" y="302"/>
                </a:lnTo>
                <a:lnTo>
                  <a:pt x="266" y="311"/>
                </a:lnTo>
                <a:lnTo>
                  <a:pt x="261" y="320"/>
                </a:lnTo>
                <a:lnTo>
                  <a:pt x="258" y="328"/>
                </a:lnTo>
                <a:lnTo>
                  <a:pt x="256" y="338"/>
                </a:lnTo>
                <a:lnTo>
                  <a:pt x="255" y="350"/>
                </a:lnTo>
                <a:lnTo>
                  <a:pt x="0" y="337"/>
                </a:lnTo>
                <a:close/>
                <a:moveTo>
                  <a:pt x="548" y="1066"/>
                </a:moveTo>
                <a:lnTo>
                  <a:pt x="548" y="1066"/>
                </a:lnTo>
                <a:lnTo>
                  <a:pt x="548" y="1081"/>
                </a:lnTo>
                <a:lnTo>
                  <a:pt x="545" y="1097"/>
                </a:lnTo>
                <a:lnTo>
                  <a:pt x="540" y="1111"/>
                </a:lnTo>
                <a:lnTo>
                  <a:pt x="535" y="1126"/>
                </a:lnTo>
                <a:lnTo>
                  <a:pt x="535" y="1126"/>
                </a:lnTo>
                <a:lnTo>
                  <a:pt x="527" y="1139"/>
                </a:lnTo>
                <a:lnTo>
                  <a:pt x="518" y="1151"/>
                </a:lnTo>
                <a:lnTo>
                  <a:pt x="508" y="1162"/>
                </a:lnTo>
                <a:lnTo>
                  <a:pt x="496" y="1172"/>
                </a:lnTo>
                <a:lnTo>
                  <a:pt x="496" y="1172"/>
                </a:lnTo>
                <a:lnTo>
                  <a:pt x="484" y="1183"/>
                </a:lnTo>
                <a:lnTo>
                  <a:pt x="470" y="1190"/>
                </a:lnTo>
                <a:lnTo>
                  <a:pt x="457" y="1198"/>
                </a:lnTo>
                <a:lnTo>
                  <a:pt x="441" y="1204"/>
                </a:lnTo>
                <a:lnTo>
                  <a:pt x="441" y="1204"/>
                </a:lnTo>
                <a:lnTo>
                  <a:pt x="426" y="1208"/>
                </a:lnTo>
                <a:lnTo>
                  <a:pt x="410" y="1211"/>
                </a:lnTo>
                <a:lnTo>
                  <a:pt x="395" y="1214"/>
                </a:lnTo>
                <a:lnTo>
                  <a:pt x="378" y="1215"/>
                </a:lnTo>
                <a:lnTo>
                  <a:pt x="378" y="1215"/>
                </a:lnTo>
                <a:lnTo>
                  <a:pt x="361" y="1214"/>
                </a:lnTo>
                <a:lnTo>
                  <a:pt x="346" y="1211"/>
                </a:lnTo>
                <a:lnTo>
                  <a:pt x="330" y="1208"/>
                </a:lnTo>
                <a:lnTo>
                  <a:pt x="316" y="1204"/>
                </a:lnTo>
                <a:lnTo>
                  <a:pt x="316" y="1204"/>
                </a:lnTo>
                <a:lnTo>
                  <a:pt x="301" y="1198"/>
                </a:lnTo>
                <a:lnTo>
                  <a:pt x="287" y="1190"/>
                </a:lnTo>
                <a:lnTo>
                  <a:pt x="275" y="1183"/>
                </a:lnTo>
                <a:lnTo>
                  <a:pt x="262" y="1172"/>
                </a:lnTo>
                <a:lnTo>
                  <a:pt x="262" y="1172"/>
                </a:lnTo>
                <a:lnTo>
                  <a:pt x="251" y="1162"/>
                </a:lnTo>
                <a:lnTo>
                  <a:pt x="241" y="1151"/>
                </a:lnTo>
                <a:lnTo>
                  <a:pt x="232" y="1139"/>
                </a:lnTo>
                <a:lnTo>
                  <a:pt x="226" y="1126"/>
                </a:lnTo>
                <a:lnTo>
                  <a:pt x="226" y="1126"/>
                </a:lnTo>
                <a:lnTo>
                  <a:pt x="219" y="1111"/>
                </a:lnTo>
                <a:lnTo>
                  <a:pt x="215" y="1097"/>
                </a:lnTo>
                <a:lnTo>
                  <a:pt x="212" y="1081"/>
                </a:lnTo>
                <a:lnTo>
                  <a:pt x="211" y="1066"/>
                </a:lnTo>
                <a:lnTo>
                  <a:pt x="211" y="1066"/>
                </a:lnTo>
                <a:lnTo>
                  <a:pt x="212" y="1050"/>
                </a:lnTo>
                <a:lnTo>
                  <a:pt x="215" y="1035"/>
                </a:lnTo>
                <a:lnTo>
                  <a:pt x="219" y="1020"/>
                </a:lnTo>
                <a:lnTo>
                  <a:pt x="226" y="1007"/>
                </a:lnTo>
                <a:lnTo>
                  <a:pt x="226" y="1007"/>
                </a:lnTo>
                <a:lnTo>
                  <a:pt x="232" y="993"/>
                </a:lnTo>
                <a:lnTo>
                  <a:pt x="241" y="981"/>
                </a:lnTo>
                <a:lnTo>
                  <a:pt x="251" y="970"/>
                </a:lnTo>
                <a:lnTo>
                  <a:pt x="262" y="960"/>
                </a:lnTo>
                <a:lnTo>
                  <a:pt x="262" y="960"/>
                </a:lnTo>
                <a:lnTo>
                  <a:pt x="275" y="950"/>
                </a:lnTo>
                <a:lnTo>
                  <a:pt x="287" y="942"/>
                </a:lnTo>
                <a:lnTo>
                  <a:pt x="301" y="935"/>
                </a:lnTo>
                <a:lnTo>
                  <a:pt x="316" y="929"/>
                </a:lnTo>
                <a:lnTo>
                  <a:pt x="316" y="929"/>
                </a:lnTo>
                <a:lnTo>
                  <a:pt x="330" y="925"/>
                </a:lnTo>
                <a:lnTo>
                  <a:pt x="346" y="921"/>
                </a:lnTo>
                <a:lnTo>
                  <a:pt x="361" y="919"/>
                </a:lnTo>
                <a:lnTo>
                  <a:pt x="378" y="918"/>
                </a:lnTo>
                <a:lnTo>
                  <a:pt x="378" y="918"/>
                </a:lnTo>
                <a:lnTo>
                  <a:pt x="395" y="919"/>
                </a:lnTo>
                <a:lnTo>
                  <a:pt x="410" y="921"/>
                </a:lnTo>
                <a:lnTo>
                  <a:pt x="426" y="925"/>
                </a:lnTo>
                <a:lnTo>
                  <a:pt x="441" y="929"/>
                </a:lnTo>
                <a:lnTo>
                  <a:pt x="441" y="929"/>
                </a:lnTo>
                <a:lnTo>
                  <a:pt x="457" y="935"/>
                </a:lnTo>
                <a:lnTo>
                  <a:pt x="470" y="942"/>
                </a:lnTo>
                <a:lnTo>
                  <a:pt x="484" y="950"/>
                </a:lnTo>
                <a:lnTo>
                  <a:pt x="496" y="960"/>
                </a:lnTo>
                <a:lnTo>
                  <a:pt x="496" y="960"/>
                </a:lnTo>
                <a:lnTo>
                  <a:pt x="508" y="970"/>
                </a:lnTo>
                <a:lnTo>
                  <a:pt x="518" y="981"/>
                </a:lnTo>
                <a:lnTo>
                  <a:pt x="527" y="993"/>
                </a:lnTo>
                <a:lnTo>
                  <a:pt x="535" y="1007"/>
                </a:lnTo>
                <a:lnTo>
                  <a:pt x="535" y="1007"/>
                </a:lnTo>
                <a:lnTo>
                  <a:pt x="540" y="1020"/>
                </a:lnTo>
                <a:lnTo>
                  <a:pt x="545" y="1035"/>
                </a:lnTo>
                <a:lnTo>
                  <a:pt x="548" y="1050"/>
                </a:lnTo>
                <a:lnTo>
                  <a:pt x="548" y="1066"/>
                </a:lnTo>
                <a:lnTo>
                  <a:pt x="548" y="106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7" name="Freeform 81">
            <a:extLst>
              <a:ext uri="{FF2B5EF4-FFF2-40B4-BE49-F238E27FC236}">
                <a16:creationId xmlns:a16="http://schemas.microsoft.com/office/drawing/2014/main" id="{61D9E3EB-86D1-4CE5-9654-7ABAC60CE4FD}"/>
              </a:ext>
            </a:extLst>
          </p:cNvPr>
          <p:cNvSpPr>
            <a:spLocks noEditPoints="1"/>
          </p:cNvSpPr>
          <p:nvPr/>
        </p:nvSpPr>
        <p:spPr bwMode="auto">
          <a:xfrm>
            <a:off x="4350589" y="2709983"/>
            <a:ext cx="200049" cy="315702"/>
          </a:xfrm>
          <a:custGeom>
            <a:avLst/>
            <a:gdLst>
              <a:gd name="T0" fmla="*/ 5 w 767"/>
              <a:gd name="T1" fmla="*/ 278 h 1215"/>
              <a:gd name="T2" fmla="*/ 33 w 767"/>
              <a:gd name="T3" fmla="*/ 192 h 1215"/>
              <a:gd name="T4" fmla="*/ 79 w 767"/>
              <a:gd name="T5" fmla="*/ 122 h 1215"/>
              <a:gd name="T6" fmla="*/ 131 w 767"/>
              <a:gd name="T7" fmla="*/ 76 h 1215"/>
              <a:gd name="T8" fmla="*/ 210 w 767"/>
              <a:gd name="T9" fmla="*/ 34 h 1215"/>
              <a:gd name="T10" fmla="*/ 305 w 767"/>
              <a:gd name="T11" fmla="*/ 8 h 1215"/>
              <a:gd name="T12" fmla="*/ 415 w 767"/>
              <a:gd name="T13" fmla="*/ 0 h 1215"/>
              <a:gd name="T14" fmla="*/ 496 w 767"/>
              <a:gd name="T15" fmla="*/ 6 h 1215"/>
              <a:gd name="T16" fmla="*/ 566 w 767"/>
              <a:gd name="T17" fmla="*/ 21 h 1215"/>
              <a:gd name="T18" fmla="*/ 639 w 767"/>
              <a:gd name="T19" fmla="*/ 55 h 1215"/>
              <a:gd name="T20" fmla="*/ 687 w 767"/>
              <a:gd name="T21" fmla="*/ 92 h 1215"/>
              <a:gd name="T22" fmla="*/ 731 w 767"/>
              <a:gd name="T23" fmla="*/ 148 h 1215"/>
              <a:gd name="T24" fmla="*/ 754 w 767"/>
              <a:gd name="T25" fmla="*/ 199 h 1215"/>
              <a:gd name="T26" fmla="*/ 766 w 767"/>
              <a:gd name="T27" fmla="*/ 272 h 1215"/>
              <a:gd name="T28" fmla="*/ 764 w 767"/>
              <a:gd name="T29" fmla="*/ 335 h 1215"/>
              <a:gd name="T30" fmla="*/ 746 w 767"/>
              <a:gd name="T31" fmla="*/ 402 h 1215"/>
              <a:gd name="T32" fmla="*/ 694 w 767"/>
              <a:gd name="T33" fmla="*/ 483 h 1215"/>
              <a:gd name="T34" fmla="*/ 627 w 767"/>
              <a:gd name="T35" fmla="*/ 546 h 1215"/>
              <a:gd name="T36" fmla="*/ 560 w 767"/>
              <a:gd name="T37" fmla="*/ 608 h 1215"/>
              <a:gd name="T38" fmla="*/ 508 w 767"/>
              <a:gd name="T39" fmla="*/ 684 h 1215"/>
              <a:gd name="T40" fmla="*/ 493 w 767"/>
              <a:gd name="T41" fmla="*/ 733 h 1215"/>
              <a:gd name="T42" fmla="*/ 487 w 767"/>
              <a:gd name="T43" fmla="*/ 792 h 1215"/>
              <a:gd name="T44" fmla="*/ 489 w 767"/>
              <a:gd name="T45" fmla="*/ 816 h 1215"/>
              <a:gd name="T46" fmla="*/ 246 w 767"/>
              <a:gd name="T47" fmla="*/ 840 h 1215"/>
              <a:gd name="T48" fmla="*/ 253 w 767"/>
              <a:gd name="T49" fmla="*/ 674 h 1215"/>
              <a:gd name="T50" fmla="*/ 279 w 767"/>
              <a:gd name="T51" fmla="*/ 579 h 1215"/>
              <a:gd name="T52" fmla="*/ 329 w 767"/>
              <a:gd name="T53" fmla="*/ 505 h 1215"/>
              <a:gd name="T54" fmla="*/ 415 w 767"/>
              <a:gd name="T55" fmla="*/ 440 h 1215"/>
              <a:gd name="T56" fmla="*/ 478 w 767"/>
              <a:gd name="T57" fmla="*/ 385 h 1215"/>
              <a:gd name="T58" fmla="*/ 499 w 767"/>
              <a:gd name="T59" fmla="*/ 341 h 1215"/>
              <a:gd name="T60" fmla="*/ 499 w 767"/>
              <a:gd name="T61" fmla="*/ 304 h 1215"/>
              <a:gd name="T62" fmla="*/ 479 w 767"/>
              <a:gd name="T63" fmla="*/ 273 h 1215"/>
              <a:gd name="T64" fmla="*/ 446 w 767"/>
              <a:gd name="T65" fmla="*/ 259 h 1215"/>
              <a:gd name="T66" fmla="*/ 365 w 767"/>
              <a:gd name="T67" fmla="*/ 254 h 1215"/>
              <a:gd name="T68" fmla="*/ 310 w 767"/>
              <a:gd name="T69" fmla="*/ 268 h 1215"/>
              <a:gd name="T70" fmla="*/ 277 w 767"/>
              <a:gd name="T71" fmla="*/ 294 h 1215"/>
              <a:gd name="T72" fmla="*/ 256 w 767"/>
              <a:gd name="T73" fmla="*/ 338 h 1215"/>
              <a:gd name="T74" fmla="*/ 548 w 767"/>
              <a:gd name="T75" fmla="*/ 1081 h 1215"/>
              <a:gd name="T76" fmla="*/ 527 w 767"/>
              <a:gd name="T77" fmla="*/ 1139 h 1215"/>
              <a:gd name="T78" fmla="*/ 484 w 767"/>
              <a:gd name="T79" fmla="*/ 1183 h 1215"/>
              <a:gd name="T80" fmla="*/ 426 w 767"/>
              <a:gd name="T81" fmla="*/ 1208 h 1215"/>
              <a:gd name="T82" fmla="*/ 361 w 767"/>
              <a:gd name="T83" fmla="*/ 1214 h 1215"/>
              <a:gd name="T84" fmla="*/ 301 w 767"/>
              <a:gd name="T85" fmla="*/ 1198 h 1215"/>
              <a:gd name="T86" fmla="*/ 251 w 767"/>
              <a:gd name="T87" fmla="*/ 1162 h 1215"/>
              <a:gd name="T88" fmla="*/ 219 w 767"/>
              <a:gd name="T89" fmla="*/ 1111 h 1215"/>
              <a:gd name="T90" fmla="*/ 212 w 767"/>
              <a:gd name="T91" fmla="*/ 1050 h 1215"/>
              <a:gd name="T92" fmla="*/ 232 w 767"/>
              <a:gd name="T93" fmla="*/ 993 h 1215"/>
              <a:gd name="T94" fmla="*/ 275 w 767"/>
              <a:gd name="T95" fmla="*/ 950 h 1215"/>
              <a:gd name="T96" fmla="*/ 330 w 767"/>
              <a:gd name="T97" fmla="*/ 925 h 1215"/>
              <a:gd name="T98" fmla="*/ 395 w 767"/>
              <a:gd name="T99" fmla="*/ 919 h 1215"/>
              <a:gd name="T100" fmla="*/ 457 w 767"/>
              <a:gd name="T101" fmla="*/ 935 h 1215"/>
              <a:gd name="T102" fmla="*/ 508 w 767"/>
              <a:gd name="T103" fmla="*/ 970 h 1215"/>
              <a:gd name="T104" fmla="*/ 540 w 767"/>
              <a:gd name="T105" fmla="*/ 102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1215">
                <a:moveTo>
                  <a:pt x="0" y="337"/>
                </a:moveTo>
                <a:lnTo>
                  <a:pt x="0" y="337"/>
                </a:lnTo>
                <a:lnTo>
                  <a:pt x="1" y="317"/>
                </a:lnTo>
                <a:lnTo>
                  <a:pt x="3" y="297"/>
                </a:lnTo>
                <a:lnTo>
                  <a:pt x="5" y="278"/>
                </a:lnTo>
                <a:lnTo>
                  <a:pt x="10" y="259"/>
                </a:lnTo>
                <a:lnTo>
                  <a:pt x="14" y="242"/>
                </a:lnTo>
                <a:lnTo>
                  <a:pt x="20" y="225"/>
                </a:lnTo>
                <a:lnTo>
                  <a:pt x="25" y="208"/>
                </a:lnTo>
                <a:lnTo>
                  <a:pt x="33" y="192"/>
                </a:lnTo>
                <a:lnTo>
                  <a:pt x="41" y="177"/>
                </a:lnTo>
                <a:lnTo>
                  <a:pt x="49" y="162"/>
                </a:lnTo>
                <a:lnTo>
                  <a:pt x="59" y="148"/>
                </a:lnTo>
                <a:lnTo>
                  <a:pt x="69" y="134"/>
                </a:lnTo>
                <a:lnTo>
                  <a:pt x="79" y="122"/>
                </a:lnTo>
                <a:lnTo>
                  <a:pt x="91" y="109"/>
                </a:lnTo>
                <a:lnTo>
                  <a:pt x="103" y="97"/>
                </a:lnTo>
                <a:lnTo>
                  <a:pt x="117" y="86"/>
                </a:lnTo>
                <a:lnTo>
                  <a:pt x="117" y="86"/>
                </a:lnTo>
                <a:lnTo>
                  <a:pt x="131" y="76"/>
                </a:lnTo>
                <a:lnTo>
                  <a:pt x="146" y="66"/>
                </a:lnTo>
                <a:lnTo>
                  <a:pt x="160" y="57"/>
                </a:lnTo>
                <a:lnTo>
                  <a:pt x="177" y="48"/>
                </a:lnTo>
                <a:lnTo>
                  <a:pt x="192" y="40"/>
                </a:lnTo>
                <a:lnTo>
                  <a:pt x="210" y="34"/>
                </a:lnTo>
                <a:lnTo>
                  <a:pt x="228" y="27"/>
                </a:lnTo>
                <a:lnTo>
                  <a:pt x="246" y="21"/>
                </a:lnTo>
                <a:lnTo>
                  <a:pt x="265" y="17"/>
                </a:lnTo>
                <a:lnTo>
                  <a:pt x="285" y="13"/>
                </a:lnTo>
                <a:lnTo>
                  <a:pt x="305" y="8"/>
                </a:lnTo>
                <a:lnTo>
                  <a:pt x="326" y="6"/>
                </a:lnTo>
                <a:lnTo>
                  <a:pt x="347" y="4"/>
                </a:lnTo>
                <a:lnTo>
                  <a:pt x="369" y="1"/>
                </a:lnTo>
                <a:lnTo>
                  <a:pt x="391" y="0"/>
                </a:lnTo>
                <a:lnTo>
                  <a:pt x="415" y="0"/>
                </a:lnTo>
                <a:lnTo>
                  <a:pt x="415" y="0"/>
                </a:lnTo>
                <a:lnTo>
                  <a:pt x="436" y="0"/>
                </a:lnTo>
                <a:lnTo>
                  <a:pt x="456" y="1"/>
                </a:lnTo>
                <a:lnTo>
                  <a:pt x="476" y="4"/>
                </a:lnTo>
                <a:lnTo>
                  <a:pt x="496" y="6"/>
                </a:lnTo>
                <a:lnTo>
                  <a:pt x="514" y="8"/>
                </a:lnTo>
                <a:lnTo>
                  <a:pt x="531" y="13"/>
                </a:lnTo>
                <a:lnTo>
                  <a:pt x="549" y="17"/>
                </a:lnTo>
                <a:lnTo>
                  <a:pt x="566" y="21"/>
                </a:lnTo>
                <a:lnTo>
                  <a:pt x="566" y="21"/>
                </a:lnTo>
                <a:lnTo>
                  <a:pt x="582" y="27"/>
                </a:lnTo>
                <a:lnTo>
                  <a:pt x="597" y="34"/>
                </a:lnTo>
                <a:lnTo>
                  <a:pt x="612" y="40"/>
                </a:lnTo>
                <a:lnTo>
                  <a:pt x="626" y="47"/>
                </a:lnTo>
                <a:lnTo>
                  <a:pt x="639" y="55"/>
                </a:lnTo>
                <a:lnTo>
                  <a:pt x="653" y="64"/>
                </a:lnTo>
                <a:lnTo>
                  <a:pt x="665" y="73"/>
                </a:lnTo>
                <a:lnTo>
                  <a:pt x="676" y="83"/>
                </a:lnTo>
                <a:lnTo>
                  <a:pt x="676" y="83"/>
                </a:lnTo>
                <a:lnTo>
                  <a:pt x="687" y="92"/>
                </a:lnTo>
                <a:lnTo>
                  <a:pt x="697" y="103"/>
                </a:lnTo>
                <a:lnTo>
                  <a:pt x="706" y="113"/>
                </a:lnTo>
                <a:lnTo>
                  <a:pt x="715" y="124"/>
                </a:lnTo>
                <a:lnTo>
                  <a:pt x="723" y="136"/>
                </a:lnTo>
                <a:lnTo>
                  <a:pt x="731" y="148"/>
                </a:lnTo>
                <a:lnTo>
                  <a:pt x="737" y="160"/>
                </a:lnTo>
                <a:lnTo>
                  <a:pt x="744" y="173"/>
                </a:lnTo>
                <a:lnTo>
                  <a:pt x="744" y="173"/>
                </a:lnTo>
                <a:lnTo>
                  <a:pt x="749" y="186"/>
                </a:lnTo>
                <a:lnTo>
                  <a:pt x="754" y="199"/>
                </a:lnTo>
                <a:lnTo>
                  <a:pt x="758" y="214"/>
                </a:lnTo>
                <a:lnTo>
                  <a:pt x="761" y="227"/>
                </a:lnTo>
                <a:lnTo>
                  <a:pt x="764" y="242"/>
                </a:lnTo>
                <a:lnTo>
                  <a:pt x="765" y="256"/>
                </a:lnTo>
                <a:lnTo>
                  <a:pt x="766" y="272"/>
                </a:lnTo>
                <a:lnTo>
                  <a:pt x="767" y="286"/>
                </a:lnTo>
                <a:lnTo>
                  <a:pt x="767" y="286"/>
                </a:lnTo>
                <a:lnTo>
                  <a:pt x="766" y="303"/>
                </a:lnTo>
                <a:lnTo>
                  <a:pt x="765" y="320"/>
                </a:lnTo>
                <a:lnTo>
                  <a:pt x="764" y="335"/>
                </a:lnTo>
                <a:lnTo>
                  <a:pt x="762" y="350"/>
                </a:lnTo>
                <a:lnTo>
                  <a:pt x="758" y="364"/>
                </a:lnTo>
                <a:lnTo>
                  <a:pt x="755" y="377"/>
                </a:lnTo>
                <a:lnTo>
                  <a:pt x="751" y="391"/>
                </a:lnTo>
                <a:lnTo>
                  <a:pt x="746" y="402"/>
                </a:lnTo>
                <a:lnTo>
                  <a:pt x="746" y="402"/>
                </a:lnTo>
                <a:lnTo>
                  <a:pt x="735" y="424"/>
                </a:lnTo>
                <a:lnTo>
                  <a:pt x="723" y="445"/>
                </a:lnTo>
                <a:lnTo>
                  <a:pt x="709" y="465"/>
                </a:lnTo>
                <a:lnTo>
                  <a:pt x="694" y="483"/>
                </a:lnTo>
                <a:lnTo>
                  <a:pt x="694" y="483"/>
                </a:lnTo>
                <a:lnTo>
                  <a:pt x="678" y="500"/>
                </a:lnTo>
                <a:lnTo>
                  <a:pt x="662" y="516"/>
                </a:lnTo>
                <a:lnTo>
                  <a:pt x="645" y="532"/>
                </a:lnTo>
                <a:lnTo>
                  <a:pt x="627" y="546"/>
                </a:lnTo>
                <a:lnTo>
                  <a:pt x="627" y="546"/>
                </a:lnTo>
                <a:lnTo>
                  <a:pt x="609" y="561"/>
                </a:lnTo>
                <a:lnTo>
                  <a:pt x="593" y="575"/>
                </a:lnTo>
                <a:lnTo>
                  <a:pt x="576" y="591"/>
                </a:lnTo>
                <a:lnTo>
                  <a:pt x="560" y="608"/>
                </a:lnTo>
                <a:lnTo>
                  <a:pt x="560" y="608"/>
                </a:lnTo>
                <a:lnTo>
                  <a:pt x="545" y="624"/>
                </a:lnTo>
                <a:lnTo>
                  <a:pt x="531" y="643"/>
                </a:lnTo>
                <a:lnTo>
                  <a:pt x="519" y="663"/>
                </a:lnTo>
                <a:lnTo>
                  <a:pt x="508" y="684"/>
                </a:lnTo>
                <a:lnTo>
                  <a:pt x="508" y="684"/>
                </a:lnTo>
                <a:lnTo>
                  <a:pt x="504" y="695"/>
                </a:lnTo>
                <a:lnTo>
                  <a:pt x="499" y="708"/>
                </a:lnTo>
                <a:lnTo>
                  <a:pt x="496" y="720"/>
                </a:lnTo>
                <a:lnTo>
                  <a:pt x="493" y="733"/>
                </a:lnTo>
                <a:lnTo>
                  <a:pt x="490" y="747"/>
                </a:lnTo>
                <a:lnTo>
                  <a:pt x="488" y="762"/>
                </a:lnTo>
                <a:lnTo>
                  <a:pt x="488" y="777"/>
                </a:lnTo>
                <a:lnTo>
                  <a:pt x="487" y="792"/>
                </a:lnTo>
                <a:lnTo>
                  <a:pt x="487" y="792"/>
                </a:lnTo>
                <a:lnTo>
                  <a:pt x="487" y="808"/>
                </a:lnTo>
                <a:lnTo>
                  <a:pt x="487" y="808"/>
                </a:lnTo>
                <a:lnTo>
                  <a:pt x="488" y="812"/>
                </a:lnTo>
                <a:lnTo>
                  <a:pt x="489" y="816"/>
                </a:lnTo>
                <a:lnTo>
                  <a:pt x="489" y="816"/>
                </a:lnTo>
                <a:lnTo>
                  <a:pt x="493" y="824"/>
                </a:lnTo>
                <a:lnTo>
                  <a:pt x="493" y="824"/>
                </a:lnTo>
                <a:lnTo>
                  <a:pt x="497" y="840"/>
                </a:lnTo>
                <a:lnTo>
                  <a:pt x="246" y="840"/>
                </a:lnTo>
                <a:lnTo>
                  <a:pt x="246" y="840"/>
                </a:lnTo>
                <a:lnTo>
                  <a:pt x="247" y="767"/>
                </a:lnTo>
                <a:lnTo>
                  <a:pt x="249" y="733"/>
                </a:lnTo>
                <a:lnTo>
                  <a:pt x="251" y="702"/>
                </a:lnTo>
                <a:lnTo>
                  <a:pt x="251" y="702"/>
                </a:lnTo>
                <a:lnTo>
                  <a:pt x="253" y="674"/>
                </a:lnTo>
                <a:lnTo>
                  <a:pt x="258" y="648"/>
                </a:lnTo>
                <a:lnTo>
                  <a:pt x="263" y="623"/>
                </a:lnTo>
                <a:lnTo>
                  <a:pt x="270" y="600"/>
                </a:lnTo>
                <a:lnTo>
                  <a:pt x="270" y="600"/>
                </a:lnTo>
                <a:lnTo>
                  <a:pt x="279" y="579"/>
                </a:lnTo>
                <a:lnTo>
                  <a:pt x="289" y="559"/>
                </a:lnTo>
                <a:lnTo>
                  <a:pt x="300" y="540"/>
                </a:lnTo>
                <a:lnTo>
                  <a:pt x="313" y="522"/>
                </a:lnTo>
                <a:lnTo>
                  <a:pt x="313" y="522"/>
                </a:lnTo>
                <a:lnTo>
                  <a:pt x="329" y="505"/>
                </a:lnTo>
                <a:lnTo>
                  <a:pt x="347" y="489"/>
                </a:lnTo>
                <a:lnTo>
                  <a:pt x="367" y="473"/>
                </a:lnTo>
                <a:lnTo>
                  <a:pt x="390" y="456"/>
                </a:lnTo>
                <a:lnTo>
                  <a:pt x="390" y="456"/>
                </a:lnTo>
                <a:lnTo>
                  <a:pt x="415" y="440"/>
                </a:lnTo>
                <a:lnTo>
                  <a:pt x="437" y="423"/>
                </a:lnTo>
                <a:lnTo>
                  <a:pt x="456" y="407"/>
                </a:lnTo>
                <a:lnTo>
                  <a:pt x="471" y="392"/>
                </a:lnTo>
                <a:lnTo>
                  <a:pt x="471" y="392"/>
                </a:lnTo>
                <a:lnTo>
                  <a:pt x="478" y="385"/>
                </a:lnTo>
                <a:lnTo>
                  <a:pt x="485" y="376"/>
                </a:lnTo>
                <a:lnTo>
                  <a:pt x="489" y="368"/>
                </a:lnTo>
                <a:lnTo>
                  <a:pt x="494" y="360"/>
                </a:lnTo>
                <a:lnTo>
                  <a:pt x="497" y="351"/>
                </a:lnTo>
                <a:lnTo>
                  <a:pt x="499" y="341"/>
                </a:lnTo>
                <a:lnTo>
                  <a:pt x="500" y="332"/>
                </a:lnTo>
                <a:lnTo>
                  <a:pt x="500" y="321"/>
                </a:lnTo>
                <a:lnTo>
                  <a:pt x="500" y="321"/>
                </a:lnTo>
                <a:lnTo>
                  <a:pt x="500" y="312"/>
                </a:lnTo>
                <a:lnTo>
                  <a:pt x="499" y="304"/>
                </a:lnTo>
                <a:lnTo>
                  <a:pt x="497" y="296"/>
                </a:lnTo>
                <a:lnTo>
                  <a:pt x="494" y="288"/>
                </a:lnTo>
                <a:lnTo>
                  <a:pt x="489" y="283"/>
                </a:lnTo>
                <a:lnTo>
                  <a:pt x="485" y="277"/>
                </a:lnTo>
                <a:lnTo>
                  <a:pt x="479" y="273"/>
                </a:lnTo>
                <a:lnTo>
                  <a:pt x="473" y="268"/>
                </a:lnTo>
                <a:lnTo>
                  <a:pt x="473" y="268"/>
                </a:lnTo>
                <a:lnTo>
                  <a:pt x="465" y="265"/>
                </a:lnTo>
                <a:lnTo>
                  <a:pt x="456" y="262"/>
                </a:lnTo>
                <a:lnTo>
                  <a:pt x="446" y="259"/>
                </a:lnTo>
                <a:lnTo>
                  <a:pt x="435" y="257"/>
                </a:lnTo>
                <a:lnTo>
                  <a:pt x="409" y="254"/>
                </a:lnTo>
                <a:lnTo>
                  <a:pt x="378" y="253"/>
                </a:lnTo>
                <a:lnTo>
                  <a:pt x="378" y="253"/>
                </a:lnTo>
                <a:lnTo>
                  <a:pt x="365" y="254"/>
                </a:lnTo>
                <a:lnTo>
                  <a:pt x="352" y="255"/>
                </a:lnTo>
                <a:lnTo>
                  <a:pt x="341" y="257"/>
                </a:lnTo>
                <a:lnTo>
                  <a:pt x="330" y="259"/>
                </a:lnTo>
                <a:lnTo>
                  <a:pt x="320" y="264"/>
                </a:lnTo>
                <a:lnTo>
                  <a:pt x="310" y="268"/>
                </a:lnTo>
                <a:lnTo>
                  <a:pt x="300" y="274"/>
                </a:lnTo>
                <a:lnTo>
                  <a:pt x="292" y="279"/>
                </a:lnTo>
                <a:lnTo>
                  <a:pt x="292" y="279"/>
                </a:lnTo>
                <a:lnTo>
                  <a:pt x="285" y="286"/>
                </a:lnTo>
                <a:lnTo>
                  <a:pt x="277" y="294"/>
                </a:lnTo>
                <a:lnTo>
                  <a:pt x="271" y="302"/>
                </a:lnTo>
                <a:lnTo>
                  <a:pt x="266" y="311"/>
                </a:lnTo>
                <a:lnTo>
                  <a:pt x="261" y="320"/>
                </a:lnTo>
                <a:lnTo>
                  <a:pt x="258" y="328"/>
                </a:lnTo>
                <a:lnTo>
                  <a:pt x="256" y="338"/>
                </a:lnTo>
                <a:lnTo>
                  <a:pt x="255" y="350"/>
                </a:lnTo>
                <a:lnTo>
                  <a:pt x="0" y="337"/>
                </a:lnTo>
                <a:close/>
                <a:moveTo>
                  <a:pt x="548" y="1066"/>
                </a:moveTo>
                <a:lnTo>
                  <a:pt x="548" y="1066"/>
                </a:lnTo>
                <a:lnTo>
                  <a:pt x="548" y="1081"/>
                </a:lnTo>
                <a:lnTo>
                  <a:pt x="545" y="1097"/>
                </a:lnTo>
                <a:lnTo>
                  <a:pt x="540" y="1111"/>
                </a:lnTo>
                <a:lnTo>
                  <a:pt x="535" y="1126"/>
                </a:lnTo>
                <a:lnTo>
                  <a:pt x="535" y="1126"/>
                </a:lnTo>
                <a:lnTo>
                  <a:pt x="527" y="1139"/>
                </a:lnTo>
                <a:lnTo>
                  <a:pt x="518" y="1151"/>
                </a:lnTo>
                <a:lnTo>
                  <a:pt x="508" y="1162"/>
                </a:lnTo>
                <a:lnTo>
                  <a:pt x="496" y="1172"/>
                </a:lnTo>
                <a:lnTo>
                  <a:pt x="496" y="1172"/>
                </a:lnTo>
                <a:lnTo>
                  <a:pt x="484" y="1183"/>
                </a:lnTo>
                <a:lnTo>
                  <a:pt x="470" y="1190"/>
                </a:lnTo>
                <a:lnTo>
                  <a:pt x="457" y="1198"/>
                </a:lnTo>
                <a:lnTo>
                  <a:pt x="441" y="1204"/>
                </a:lnTo>
                <a:lnTo>
                  <a:pt x="441" y="1204"/>
                </a:lnTo>
                <a:lnTo>
                  <a:pt x="426" y="1208"/>
                </a:lnTo>
                <a:lnTo>
                  <a:pt x="410" y="1211"/>
                </a:lnTo>
                <a:lnTo>
                  <a:pt x="395" y="1214"/>
                </a:lnTo>
                <a:lnTo>
                  <a:pt x="378" y="1215"/>
                </a:lnTo>
                <a:lnTo>
                  <a:pt x="378" y="1215"/>
                </a:lnTo>
                <a:lnTo>
                  <a:pt x="361" y="1214"/>
                </a:lnTo>
                <a:lnTo>
                  <a:pt x="346" y="1211"/>
                </a:lnTo>
                <a:lnTo>
                  <a:pt x="330" y="1208"/>
                </a:lnTo>
                <a:lnTo>
                  <a:pt x="316" y="1204"/>
                </a:lnTo>
                <a:lnTo>
                  <a:pt x="316" y="1204"/>
                </a:lnTo>
                <a:lnTo>
                  <a:pt x="301" y="1198"/>
                </a:lnTo>
                <a:lnTo>
                  <a:pt x="287" y="1190"/>
                </a:lnTo>
                <a:lnTo>
                  <a:pt x="275" y="1183"/>
                </a:lnTo>
                <a:lnTo>
                  <a:pt x="262" y="1172"/>
                </a:lnTo>
                <a:lnTo>
                  <a:pt x="262" y="1172"/>
                </a:lnTo>
                <a:lnTo>
                  <a:pt x="251" y="1162"/>
                </a:lnTo>
                <a:lnTo>
                  <a:pt x="241" y="1151"/>
                </a:lnTo>
                <a:lnTo>
                  <a:pt x="232" y="1139"/>
                </a:lnTo>
                <a:lnTo>
                  <a:pt x="226" y="1126"/>
                </a:lnTo>
                <a:lnTo>
                  <a:pt x="226" y="1126"/>
                </a:lnTo>
                <a:lnTo>
                  <a:pt x="219" y="1111"/>
                </a:lnTo>
                <a:lnTo>
                  <a:pt x="215" y="1097"/>
                </a:lnTo>
                <a:lnTo>
                  <a:pt x="212" y="1081"/>
                </a:lnTo>
                <a:lnTo>
                  <a:pt x="211" y="1066"/>
                </a:lnTo>
                <a:lnTo>
                  <a:pt x="211" y="1066"/>
                </a:lnTo>
                <a:lnTo>
                  <a:pt x="212" y="1050"/>
                </a:lnTo>
                <a:lnTo>
                  <a:pt x="215" y="1035"/>
                </a:lnTo>
                <a:lnTo>
                  <a:pt x="219" y="1020"/>
                </a:lnTo>
                <a:lnTo>
                  <a:pt x="226" y="1007"/>
                </a:lnTo>
                <a:lnTo>
                  <a:pt x="226" y="1007"/>
                </a:lnTo>
                <a:lnTo>
                  <a:pt x="232" y="993"/>
                </a:lnTo>
                <a:lnTo>
                  <a:pt x="241" y="981"/>
                </a:lnTo>
                <a:lnTo>
                  <a:pt x="251" y="970"/>
                </a:lnTo>
                <a:lnTo>
                  <a:pt x="262" y="960"/>
                </a:lnTo>
                <a:lnTo>
                  <a:pt x="262" y="960"/>
                </a:lnTo>
                <a:lnTo>
                  <a:pt x="275" y="950"/>
                </a:lnTo>
                <a:lnTo>
                  <a:pt x="287" y="942"/>
                </a:lnTo>
                <a:lnTo>
                  <a:pt x="301" y="935"/>
                </a:lnTo>
                <a:lnTo>
                  <a:pt x="316" y="929"/>
                </a:lnTo>
                <a:lnTo>
                  <a:pt x="316" y="929"/>
                </a:lnTo>
                <a:lnTo>
                  <a:pt x="330" y="925"/>
                </a:lnTo>
                <a:lnTo>
                  <a:pt x="346" y="921"/>
                </a:lnTo>
                <a:lnTo>
                  <a:pt x="361" y="919"/>
                </a:lnTo>
                <a:lnTo>
                  <a:pt x="378" y="918"/>
                </a:lnTo>
                <a:lnTo>
                  <a:pt x="378" y="918"/>
                </a:lnTo>
                <a:lnTo>
                  <a:pt x="395" y="919"/>
                </a:lnTo>
                <a:lnTo>
                  <a:pt x="410" y="921"/>
                </a:lnTo>
                <a:lnTo>
                  <a:pt x="426" y="925"/>
                </a:lnTo>
                <a:lnTo>
                  <a:pt x="441" y="929"/>
                </a:lnTo>
                <a:lnTo>
                  <a:pt x="441" y="929"/>
                </a:lnTo>
                <a:lnTo>
                  <a:pt x="457" y="935"/>
                </a:lnTo>
                <a:lnTo>
                  <a:pt x="470" y="942"/>
                </a:lnTo>
                <a:lnTo>
                  <a:pt x="484" y="950"/>
                </a:lnTo>
                <a:lnTo>
                  <a:pt x="496" y="960"/>
                </a:lnTo>
                <a:lnTo>
                  <a:pt x="496" y="960"/>
                </a:lnTo>
                <a:lnTo>
                  <a:pt x="508" y="970"/>
                </a:lnTo>
                <a:lnTo>
                  <a:pt x="518" y="981"/>
                </a:lnTo>
                <a:lnTo>
                  <a:pt x="527" y="993"/>
                </a:lnTo>
                <a:lnTo>
                  <a:pt x="535" y="1007"/>
                </a:lnTo>
                <a:lnTo>
                  <a:pt x="535" y="1007"/>
                </a:lnTo>
                <a:lnTo>
                  <a:pt x="540" y="1020"/>
                </a:lnTo>
                <a:lnTo>
                  <a:pt x="545" y="1035"/>
                </a:lnTo>
                <a:lnTo>
                  <a:pt x="548" y="1050"/>
                </a:lnTo>
                <a:lnTo>
                  <a:pt x="548" y="1066"/>
                </a:lnTo>
                <a:lnTo>
                  <a:pt x="548" y="106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0" name="Ellipse 299">
            <a:extLst>
              <a:ext uri="{FF2B5EF4-FFF2-40B4-BE49-F238E27FC236}">
                <a16:creationId xmlns:a16="http://schemas.microsoft.com/office/drawing/2014/main" id="{AF5C8C38-7AA3-4BAB-ACCE-EF83D2F94BC3}"/>
              </a:ext>
            </a:extLst>
          </p:cNvPr>
          <p:cNvSpPr/>
          <p:nvPr/>
        </p:nvSpPr>
        <p:spPr bwMode="auto">
          <a:xfrm>
            <a:off x="4218865"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33" name="Freeform 81">
            <a:extLst>
              <a:ext uri="{FF2B5EF4-FFF2-40B4-BE49-F238E27FC236}">
                <a16:creationId xmlns:a16="http://schemas.microsoft.com/office/drawing/2014/main" id="{94027FDA-9EB0-41E2-B303-CE1FAEAFC960}"/>
              </a:ext>
            </a:extLst>
          </p:cNvPr>
          <p:cNvSpPr>
            <a:spLocks noEditPoints="1"/>
          </p:cNvSpPr>
          <p:nvPr/>
        </p:nvSpPr>
        <p:spPr bwMode="auto">
          <a:xfrm>
            <a:off x="4350589" y="3955876"/>
            <a:ext cx="200049" cy="315702"/>
          </a:xfrm>
          <a:custGeom>
            <a:avLst/>
            <a:gdLst>
              <a:gd name="T0" fmla="*/ 5 w 767"/>
              <a:gd name="T1" fmla="*/ 278 h 1215"/>
              <a:gd name="T2" fmla="*/ 33 w 767"/>
              <a:gd name="T3" fmla="*/ 192 h 1215"/>
              <a:gd name="T4" fmla="*/ 79 w 767"/>
              <a:gd name="T5" fmla="*/ 122 h 1215"/>
              <a:gd name="T6" fmla="*/ 131 w 767"/>
              <a:gd name="T7" fmla="*/ 76 h 1215"/>
              <a:gd name="T8" fmla="*/ 210 w 767"/>
              <a:gd name="T9" fmla="*/ 34 h 1215"/>
              <a:gd name="T10" fmla="*/ 305 w 767"/>
              <a:gd name="T11" fmla="*/ 8 h 1215"/>
              <a:gd name="T12" fmla="*/ 415 w 767"/>
              <a:gd name="T13" fmla="*/ 0 h 1215"/>
              <a:gd name="T14" fmla="*/ 496 w 767"/>
              <a:gd name="T15" fmla="*/ 6 h 1215"/>
              <a:gd name="T16" fmla="*/ 566 w 767"/>
              <a:gd name="T17" fmla="*/ 21 h 1215"/>
              <a:gd name="T18" fmla="*/ 639 w 767"/>
              <a:gd name="T19" fmla="*/ 55 h 1215"/>
              <a:gd name="T20" fmla="*/ 687 w 767"/>
              <a:gd name="T21" fmla="*/ 92 h 1215"/>
              <a:gd name="T22" fmla="*/ 731 w 767"/>
              <a:gd name="T23" fmla="*/ 148 h 1215"/>
              <a:gd name="T24" fmla="*/ 754 w 767"/>
              <a:gd name="T25" fmla="*/ 199 h 1215"/>
              <a:gd name="T26" fmla="*/ 766 w 767"/>
              <a:gd name="T27" fmla="*/ 272 h 1215"/>
              <a:gd name="T28" fmla="*/ 764 w 767"/>
              <a:gd name="T29" fmla="*/ 335 h 1215"/>
              <a:gd name="T30" fmla="*/ 746 w 767"/>
              <a:gd name="T31" fmla="*/ 402 h 1215"/>
              <a:gd name="T32" fmla="*/ 694 w 767"/>
              <a:gd name="T33" fmla="*/ 483 h 1215"/>
              <a:gd name="T34" fmla="*/ 627 w 767"/>
              <a:gd name="T35" fmla="*/ 546 h 1215"/>
              <a:gd name="T36" fmla="*/ 560 w 767"/>
              <a:gd name="T37" fmla="*/ 608 h 1215"/>
              <a:gd name="T38" fmla="*/ 508 w 767"/>
              <a:gd name="T39" fmla="*/ 684 h 1215"/>
              <a:gd name="T40" fmla="*/ 493 w 767"/>
              <a:gd name="T41" fmla="*/ 733 h 1215"/>
              <a:gd name="T42" fmla="*/ 487 w 767"/>
              <a:gd name="T43" fmla="*/ 792 h 1215"/>
              <a:gd name="T44" fmla="*/ 489 w 767"/>
              <a:gd name="T45" fmla="*/ 816 h 1215"/>
              <a:gd name="T46" fmla="*/ 246 w 767"/>
              <a:gd name="T47" fmla="*/ 840 h 1215"/>
              <a:gd name="T48" fmla="*/ 253 w 767"/>
              <a:gd name="T49" fmla="*/ 674 h 1215"/>
              <a:gd name="T50" fmla="*/ 279 w 767"/>
              <a:gd name="T51" fmla="*/ 579 h 1215"/>
              <a:gd name="T52" fmla="*/ 329 w 767"/>
              <a:gd name="T53" fmla="*/ 505 h 1215"/>
              <a:gd name="T54" fmla="*/ 415 w 767"/>
              <a:gd name="T55" fmla="*/ 440 h 1215"/>
              <a:gd name="T56" fmla="*/ 478 w 767"/>
              <a:gd name="T57" fmla="*/ 385 h 1215"/>
              <a:gd name="T58" fmla="*/ 499 w 767"/>
              <a:gd name="T59" fmla="*/ 341 h 1215"/>
              <a:gd name="T60" fmla="*/ 499 w 767"/>
              <a:gd name="T61" fmla="*/ 304 h 1215"/>
              <a:gd name="T62" fmla="*/ 479 w 767"/>
              <a:gd name="T63" fmla="*/ 273 h 1215"/>
              <a:gd name="T64" fmla="*/ 446 w 767"/>
              <a:gd name="T65" fmla="*/ 259 h 1215"/>
              <a:gd name="T66" fmla="*/ 365 w 767"/>
              <a:gd name="T67" fmla="*/ 254 h 1215"/>
              <a:gd name="T68" fmla="*/ 310 w 767"/>
              <a:gd name="T69" fmla="*/ 268 h 1215"/>
              <a:gd name="T70" fmla="*/ 277 w 767"/>
              <a:gd name="T71" fmla="*/ 294 h 1215"/>
              <a:gd name="T72" fmla="*/ 256 w 767"/>
              <a:gd name="T73" fmla="*/ 338 h 1215"/>
              <a:gd name="T74" fmla="*/ 548 w 767"/>
              <a:gd name="T75" fmla="*/ 1081 h 1215"/>
              <a:gd name="T76" fmla="*/ 527 w 767"/>
              <a:gd name="T77" fmla="*/ 1139 h 1215"/>
              <a:gd name="T78" fmla="*/ 484 w 767"/>
              <a:gd name="T79" fmla="*/ 1183 h 1215"/>
              <a:gd name="T80" fmla="*/ 426 w 767"/>
              <a:gd name="T81" fmla="*/ 1208 h 1215"/>
              <a:gd name="T82" fmla="*/ 361 w 767"/>
              <a:gd name="T83" fmla="*/ 1214 h 1215"/>
              <a:gd name="T84" fmla="*/ 301 w 767"/>
              <a:gd name="T85" fmla="*/ 1198 h 1215"/>
              <a:gd name="T86" fmla="*/ 251 w 767"/>
              <a:gd name="T87" fmla="*/ 1162 h 1215"/>
              <a:gd name="T88" fmla="*/ 219 w 767"/>
              <a:gd name="T89" fmla="*/ 1111 h 1215"/>
              <a:gd name="T90" fmla="*/ 212 w 767"/>
              <a:gd name="T91" fmla="*/ 1050 h 1215"/>
              <a:gd name="T92" fmla="*/ 232 w 767"/>
              <a:gd name="T93" fmla="*/ 993 h 1215"/>
              <a:gd name="T94" fmla="*/ 275 w 767"/>
              <a:gd name="T95" fmla="*/ 950 h 1215"/>
              <a:gd name="T96" fmla="*/ 330 w 767"/>
              <a:gd name="T97" fmla="*/ 925 h 1215"/>
              <a:gd name="T98" fmla="*/ 395 w 767"/>
              <a:gd name="T99" fmla="*/ 919 h 1215"/>
              <a:gd name="T100" fmla="*/ 457 w 767"/>
              <a:gd name="T101" fmla="*/ 935 h 1215"/>
              <a:gd name="T102" fmla="*/ 508 w 767"/>
              <a:gd name="T103" fmla="*/ 970 h 1215"/>
              <a:gd name="T104" fmla="*/ 540 w 767"/>
              <a:gd name="T105" fmla="*/ 102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1215">
                <a:moveTo>
                  <a:pt x="0" y="337"/>
                </a:moveTo>
                <a:lnTo>
                  <a:pt x="0" y="337"/>
                </a:lnTo>
                <a:lnTo>
                  <a:pt x="1" y="317"/>
                </a:lnTo>
                <a:lnTo>
                  <a:pt x="3" y="297"/>
                </a:lnTo>
                <a:lnTo>
                  <a:pt x="5" y="278"/>
                </a:lnTo>
                <a:lnTo>
                  <a:pt x="10" y="259"/>
                </a:lnTo>
                <a:lnTo>
                  <a:pt x="14" y="242"/>
                </a:lnTo>
                <a:lnTo>
                  <a:pt x="20" y="225"/>
                </a:lnTo>
                <a:lnTo>
                  <a:pt x="25" y="208"/>
                </a:lnTo>
                <a:lnTo>
                  <a:pt x="33" y="192"/>
                </a:lnTo>
                <a:lnTo>
                  <a:pt x="41" y="177"/>
                </a:lnTo>
                <a:lnTo>
                  <a:pt x="49" y="162"/>
                </a:lnTo>
                <a:lnTo>
                  <a:pt x="59" y="148"/>
                </a:lnTo>
                <a:lnTo>
                  <a:pt x="69" y="134"/>
                </a:lnTo>
                <a:lnTo>
                  <a:pt x="79" y="122"/>
                </a:lnTo>
                <a:lnTo>
                  <a:pt x="91" y="109"/>
                </a:lnTo>
                <a:lnTo>
                  <a:pt x="103" y="97"/>
                </a:lnTo>
                <a:lnTo>
                  <a:pt x="117" y="86"/>
                </a:lnTo>
                <a:lnTo>
                  <a:pt x="117" y="86"/>
                </a:lnTo>
                <a:lnTo>
                  <a:pt x="131" y="76"/>
                </a:lnTo>
                <a:lnTo>
                  <a:pt x="146" y="66"/>
                </a:lnTo>
                <a:lnTo>
                  <a:pt x="160" y="57"/>
                </a:lnTo>
                <a:lnTo>
                  <a:pt x="177" y="48"/>
                </a:lnTo>
                <a:lnTo>
                  <a:pt x="192" y="40"/>
                </a:lnTo>
                <a:lnTo>
                  <a:pt x="210" y="34"/>
                </a:lnTo>
                <a:lnTo>
                  <a:pt x="228" y="27"/>
                </a:lnTo>
                <a:lnTo>
                  <a:pt x="246" y="21"/>
                </a:lnTo>
                <a:lnTo>
                  <a:pt x="265" y="17"/>
                </a:lnTo>
                <a:lnTo>
                  <a:pt x="285" y="13"/>
                </a:lnTo>
                <a:lnTo>
                  <a:pt x="305" y="8"/>
                </a:lnTo>
                <a:lnTo>
                  <a:pt x="326" y="6"/>
                </a:lnTo>
                <a:lnTo>
                  <a:pt x="347" y="4"/>
                </a:lnTo>
                <a:lnTo>
                  <a:pt x="369" y="1"/>
                </a:lnTo>
                <a:lnTo>
                  <a:pt x="391" y="0"/>
                </a:lnTo>
                <a:lnTo>
                  <a:pt x="415" y="0"/>
                </a:lnTo>
                <a:lnTo>
                  <a:pt x="415" y="0"/>
                </a:lnTo>
                <a:lnTo>
                  <a:pt x="436" y="0"/>
                </a:lnTo>
                <a:lnTo>
                  <a:pt x="456" y="1"/>
                </a:lnTo>
                <a:lnTo>
                  <a:pt x="476" y="4"/>
                </a:lnTo>
                <a:lnTo>
                  <a:pt x="496" y="6"/>
                </a:lnTo>
                <a:lnTo>
                  <a:pt x="514" y="8"/>
                </a:lnTo>
                <a:lnTo>
                  <a:pt x="531" y="13"/>
                </a:lnTo>
                <a:lnTo>
                  <a:pt x="549" y="17"/>
                </a:lnTo>
                <a:lnTo>
                  <a:pt x="566" y="21"/>
                </a:lnTo>
                <a:lnTo>
                  <a:pt x="566" y="21"/>
                </a:lnTo>
                <a:lnTo>
                  <a:pt x="582" y="27"/>
                </a:lnTo>
                <a:lnTo>
                  <a:pt x="597" y="34"/>
                </a:lnTo>
                <a:lnTo>
                  <a:pt x="612" y="40"/>
                </a:lnTo>
                <a:lnTo>
                  <a:pt x="626" y="47"/>
                </a:lnTo>
                <a:lnTo>
                  <a:pt x="639" y="55"/>
                </a:lnTo>
                <a:lnTo>
                  <a:pt x="653" y="64"/>
                </a:lnTo>
                <a:lnTo>
                  <a:pt x="665" y="73"/>
                </a:lnTo>
                <a:lnTo>
                  <a:pt x="676" y="83"/>
                </a:lnTo>
                <a:lnTo>
                  <a:pt x="676" y="83"/>
                </a:lnTo>
                <a:lnTo>
                  <a:pt x="687" y="92"/>
                </a:lnTo>
                <a:lnTo>
                  <a:pt x="697" y="103"/>
                </a:lnTo>
                <a:lnTo>
                  <a:pt x="706" y="113"/>
                </a:lnTo>
                <a:lnTo>
                  <a:pt x="715" y="124"/>
                </a:lnTo>
                <a:lnTo>
                  <a:pt x="723" y="136"/>
                </a:lnTo>
                <a:lnTo>
                  <a:pt x="731" y="148"/>
                </a:lnTo>
                <a:lnTo>
                  <a:pt x="737" y="160"/>
                </a:lnTo>
                <a:lnTo>
                  <a:pt x="744" y="173"/>
                </a:lnTo>
                <a:lnTo>
                  <a:pt x="744" y="173"/>
                </a:lnTo>
                <a:lnTo>
                  <a:pt x="749" y="186"/>
                </a:lnTo>
                <a:lnTo>
                  <a:pt x="754" y="199"/>
                </a:lnTo>
                <a:lnTo>
                  <a:pt x="758" y="214"/>
                </a:lnTo>
                <a:lnTo>
                  <a:pt x="761" y="227"/>
                </a:lnTo>
                <a:lnTo>
                  <a:pt x="764" y="242"/>
                </a:lnTo>
                <a:lnTo>
                  <a:pt x="765" y="256"/>
                </a:lnTo>
                <a:lnTo>
                  <a:pt x="766" y="272"/>
                </a:lnTo>
                <a:lnTo>
                  <a:pt x="767" y="286"/>
                </a:lnTo>
                <a:lnTo>
                  <a:pt x="767" y="286"/>
                </a:lnTo>
                <a:lnTo>
                  <a:pt x="766" y="303"/>
                </a:lnTo>
                <a:lnTo>
                  <a:pt x="765" y="320"/>
                </a:lnTo>
                <a:lnTo>
                  <a:pt x="764" y="335"/>
                </a:lnTo>
                <a:lnTo>
                  <a:pt x="762" y="350"/>
                </a:lnTo>
                <a:lnTo>
                  <a:pt x="758" y="364"/>
                </a:lnTo>
                <a:lnTo>
                  <a:pt x="755" y="377"/>
                </a:lnTo>
                <a:lnTo>
                  <a:pt x="751" y="391"/>
                </a:lnTo>
                <a:lnTo>
                  <a:pt x="746" y="402"/>
                </a:lnTo>
                <a:lnTo>
                  <a:pt x="746" y="402"/>
                </a:lnTo>
                <a:lnTo>
                  <a:pt x="735" y="424"/>
                </a:lnTo>
                <a:lnTo>
                  <a:pt x="723" y="445"/>
                </a:lnTo>
                <a:lnTo>
                  <a:pt x="709" y="465"/>
                </a:lnTo>
                <a:lnTo>
                  <a:pt x="694" y="483"/>
                </a:lnTo>
                <a:lnTo>
                  <a:pt x="694" y="483"/>
                </a:lnTo>
                <a:lnTo>
                  <a:pt x="678" y="500"/>
                </a:lnTo>
                <a:lnTo>
                  <a:pt x="662" y="516"/>
                </a:lnTo>
                <a:lnTo>
                  <a:pt x="645" y="532"/>
                </a:lnTo>
                <a:lnTo>
                  <a:pt x="627" y="546"/>
                </a:lnTo>
                <a:lnTo>
                  <a:pt x="627" y="546"/>
                </a:lnTo>
                <a:lnTo>
                  <a:pt x="609" y="561"/>
                </a:lnTo>
                <a:lnTo>
                  <a:pt x="593" y="575"/>
                </a:lnTo>
                <a:lnTo>
                  <a:pt x="576" y="591"/>
                </a:lnTo>
                <a:lnTo>
                  <a:pt x="560" y="608"/>
                </a:lnTo>
                <a:lnTo>
                  <a:pt x="560" y="608"/>
                </a:lnTo>
                <a:lnTo>
                  <a:pt x="545" y="624"/>
                </a:lnTo>
                <a:lnTo>
                  <a:pt x="531" y="643"/>
                </a:lnTo>
                <a:lnTo>
                  <a:pt x="519" y="663"/>
                </a:lnTo>
                <a:lnTo>
                  <a:pt x="508" y="684"/>
                </a:lnTo>
                <a:lnTo>
                  <a:pt x="508" y="684"/>
                </a:lnTo>
                <a:lnTo>
                  <a:pt x="504" y="695"/>
                </a:lnTo>
                <a:lnTo>
                  <a:pt x="499" y="708"/>
                </a:lnTo>
                <a:lnTo>
                  <a:pt x="496" y="720"/>
                </a:lnTo>
                <a:lnTo>
                  <a:pt x="493" y="733"/>
                </a:lnTo>
                <a:lnTo>
                  <a:pt x="490" y="747"/>
                </a:lnTo>
                <a:lnTo>
                  <a:pt x="488" y="762"/>
                </a:lnTo>
                <a:lnTo>
                  <a:pt x="488" y="777"/>
                </a:lnTo>
                <a:lnTo>
                  <a:pt x="487" y="792"/>
                </a:lnTo>
                <a:lnTo>
                  <a:pt x="487" y="792"/>
                </a:lnTo>
                <a:lnTo>
                  <a:pt x="487" y="808"/>
                </a:lnTo>
                <a:lnTo>
                  <a:pt x="487" y="808"/>
                </a:lnTo>
                <a:lnTo>
                  <a:pt x="488" y="812"/>
                </a:lnTo>
                <a:lnTo>
                  <a:pt x="489" y="816"/>
                </a:lnTo>
                <a:lnTo>
                  <a:pt x="489" y="816"/>
                </a:lnTo>
                <a:lnTo>
                  <a:pt x="493" y="824"/>
                </a:lnTo>
                <a:lnTo>
                  <a:pt x="493" y="824"/>
                </a:lnTo>
                <a:lnTo>
                  <a:pt x="497" y="840"/>
                </a:lnTo>
                <a:lnTo>
                  <a:pt x="246" y="840"/>
                </a:lnTo>
                <a:lnTo>
                  <a:pt x="246" y="840"/>
                </a:lnTo>
                <a:lnTo>
                  <a:pt x="247" y="767"/>
                </a:lnTo>
                <a:lnTo>
                  <a:pt x="249" y="733"/>
                </a:lnTo>
                <a:lnTo>
                  <a:pt x="251" y="702"/>
                </a:lnTo>
                <a:lnTo>
                  <a:pt x="251" y="702"/>
                </a:lnTo>
                <a:lnTo>
                  <a:pt x="253" y="674"/>
                </a:lnTo>
                <a:lnTo>
                  <a:pt x="258" y="648"/>
                </a:lnTo>
                <a:lnTo>
                  <a:pt x="263" y="623"/>
                </a:lnTo>
                <a:lnTo>
                  <a:pt x="270" y="600"/>
                </a:lnTo>
                <a:lnTo>
                  <a:pt x="270" y="600"/>
                </a:lnTo>
                <a:lnTo>
                  <a:pt x="279" y="579"/>
                </a:lnTo>
                <a:lnTo>
                  <a:pt x="289" y="559"/>
                </a:lnTo>
                <a:lnTo>
                  <a:pt x="300" y="540"/>
                </a:lnTo>
                <a:lnTo>
                  <a:pt x="313" y="522"/>
                </a:lnTo>
                <a:lnTo>
                  <a:pt x="313" y="522"/>
                </a:lnTo>
                <a:lnTo>
                  <a:pt x="329" y="505"/>
                </a:lnTo>
                <a:lnTo>
                  <a:pt x="347" y="489"/>
                </a:lnTo>
                <a:lnTo>
                  <a:pt x="367" y="473"/>
                </a:lnTo>
                <a:lnTo>
                  <a:pt x="390" y="456"/>
                </a:lnTo>
                <a:lnTo>
                  <a:pt x="390" y="456"/>
                </a:lnTo>
                <a:lnTo>
                  <a:pt x="415" y="440"/>
                </a:lnTo>
                <a:lnTo>
                  <a:pt x="437" y="423"/>
                </a:lnTo>
                <a:lnTo>
                  <a:pt x="456" y="407"/>
                </a:lnTo>
                <a:lnTo>
                  <a:pt x="471" y="392"/>
                </a:lnTo>
                <a:lnTo>
                  <a:pt x="471" y="392"/>
                </a:lnTo>
                <a:lnTo>
                  <a:pt x="478" y="385"/>
                </a:lnTo>
                <a:lnTo>
                  <a:pt x="485" y="376"/>
                </a:lnTo>
                <a:lnTo>
                  <a:pt x="489" y="368"/>
                </a:lnTo>
                <a:lnTo>
                  <a:pt x="494" y="360"/>
                </a:lnTo>
                <a:lnTo>
                  <a:pt x="497" y="351"/>
                </a:lnTo>
                <a:lnTo>
                  <a:pt x="499" y="341"/>
                </a:lnTo>
                <a:lnTo>
                  <a:pt x="500" y="332"/>
                </a:lnTo>
                <a:lnTo>
                  <a:pt x="500" y="321"/>
                </a:lnTo>
                <a:lnTo>
                  <a:pt x="500" y="321"/>
                </a:lnTo>
                <a:lnTo>
                  <a:pt x="500" y="312"/>
                </a:lnTo>
                <a:lnTo>
                  <a:pt x="499" y="304"/>
                </a:lnTo>
                <a:lnTo>
                  <a:pt x="497" y="296"/>
                </a:lnTo>
                <a:lnTo>
                  <a:pt x="494" y="288"/>
                </a:lnTo>
                <a:lnTo>
                  <a:pt x="489" y="283"/>
                </a:lnTo>
                <a:lnTo>
                  <a:pt x="485" y="277"/>
                </a:lnTo>
                <a:lnTo>
                  <a:pt x="479" y="273"/>
                </a:lnTo>
                <a:lnTo>
                  <a:pt x="473" y="268"/>
                </a:lnTo>
                <a:lnTo>
                  <a:pt x="473" y="268"/>
                </a:lnTo>
                <a:lnTo>
                  <a:pt x="465" y="265"/>
                </a:lnTo>
                <a:lnTo>
                  <a:pt x="456" y="262"/>
                </a:lnTo>
                <a:lnTo>
                  <a:pt x="446" y="259"/>
                </a:lnTo>
                <a:lnTo>
                  <a:pt x="435" y="257"/>
                </a:lnTo>
                <a:lnTo>
                  <a:pt x="409" y="254"/>
                </a:lnTo>
                <a:lnTo>
                  <a:pt x="378" y="253"/>
                </a:lnTo>
                <a:lnTo>
                  <a:pt x="378" y="253"/>
                </a:lnTo>
                <a:lnTo>
                  <a:pt x="365" y="254"/>
                </a:lnTo>
                <a:lnTo>
                  <a:pt x="352" y="255"/>
                </a:lnTo>
                <a:lnTo>
                  <a:pt x="341" y="257"/>
                </a:lnTo>
                <a:lnTo>
                  <a:pt x="330" y="259"/>
                </a:lnTo>
                <a:lnTo>
                  <a:pt x="320" y="264"/>
                </a:lnTo>
                <a:lnTo>
                  <a:pt x="310" y="268"/>
                </a:lnTo>
                <a:lnTo>
                  <a:pt x="300" y="274"/>
                </a:lnTo>
                <a:lnTo>
                  <a:pt x="292" y="279"/>
                </a:lnTo>
                <a:lnTo>
                  <a:pt x="292" y="279"/>
                </a:lnTo>
                <a:lnTo>
                  <a:pt x="285" y="286"/>
                </a:lnTo>
                <a:lnTo>
                  <a:pt x="277" y="294"/>
                </a:lnTo>
                <a:lnTo>
                  <a:pt x="271" y="302"/>
                </a:lnTo>
                <a:lnTo>
                  <a:pt x="266" y="311"/>
                </a:lnTo>
                <a:lnTo>
                  <a:pt x="261" y="320"/>
                </a:lnTo>
                <a:lnTo>
                  <a:pt x="258" y="328"/>
                </a:lnTo>
                <a:lnTo>
                  <a:pt x="256" y="338"/>
                </a:lnTo>
                <a:lnTo>
                  <a:pt x="255" y="350"/>
                </a:lnTo>
                <a:lnTo>
                  <a:pt x="0" y="337"/>
                </a:lnTo>
                <a:close/>
                <a:moveTo>
                  <a:pt x="548" y="1066"/>
                </a:moveTo>
                <a:lnTo>
                  <a:pt x="548" y="1066"/>
                </a:lnTo>
                <a:lnTo>
                  <a:pt x="548" y="1081"/>
                </a:lnTo>
                <a:lnTo>
                  <a:pt x="545" y="1097"/>
                </a:lnTo>
                <a:lnTo>
                  <a:pt x="540" y="1111"/>
                </a:lnTo>
                <a:lnTo>
                  <a:pt x="535" y="1126"/>
                </a:lnTo>
                <a:lnTo>
                  <a:pt x="535" y="1126"/>
                </a:lnTo>
                <a:lnTo>
                  <a:pt x="527" y="1139"/>
                </a:lnTo>
                <a:lnTo>
                  <a:pt x="518" y="1151"/>
                </a:lnTo>
                <a:lnTo>
                  <a:pt x="508" y="1162"/>
                </a:lnTo>
                <a:lnTo>
                  <a:pt x="496" y="1172"/>
                </a:lnTo>
                <a:lnTo>
                  <a:pt x="496" y="1172"/>
                </a:lnTo>
                <a:lnTo>
                  <a:pt x="484" y="1183"/>
                </a:lnTo>
                <a:lnTo>
                  <a:pt x="470" y="1190"/>
                </a:lnTo>
                <a:lnTo>
                  <a:pt x="457" y="1198"/>
                </a:lnTo>
                <a:lnTo>
                  <a:pt x="441" y="1204"/>
                </a:lnTo>
                <a:lnTo>
                  <a:pt x="441" y="1204"/>
                </a:lnTo>
                <a:lnTo>
                  <a:pt x="426" y="1208"/>
                </a:lnTo>
                <a:lnTo>
                  <a:pt x="410" y="1211"/>
                </a:lnTo>
                <a:lnTo>
                  <a:pt x="395" y="1214"/>
                </a:lnTo>
                <a:lnTo>
                  <a:pt x="378" y="1215"/>
                </a:lnTo>
                <a:lnTo>
                  <a:pt x="378" y="1215"/>
                </a:lnTo>
                <a:lnTo>
                  <a:pt x="361" y="1214"/>
                </a:lnTo>
                <a:lnTo>
                  <a:pt x="346" y="1211"/>
                </a:lnTo>
                <a:lnTo>
                  <a:pt x="330" y="1208"/>
                </a:lnTo>
                <a:lnTo>
                  <a:pt x="316" y="1204"/>
                </a:lnTo>
                <a:lnTo>
                  <a:pt x="316" y="1204"/>
                </a:lnTo>
                <a:lnTo>
                  <a:pt x="301" y="1198"/>
                </a:lnTo>
                <a:lnTo>
                  <a:pt x="287" y="1190"/>
                </a:lnTo>
                <a:lnTo>
                  <a:pt x="275" y="1183"/>
                </a:lnTo>
                <a:lnTo>
                  <a:pt x="262" y="1172"/>
                </a:lnTo>
                <a:lnTo>
                  <a:pt x="262" y="1172"/>
                </a:lnTo>
                <a:lnTo>
                  <a:pt x="251" y="1162"/>
                </a:lnTo>
                <a:lnTo>
                  <a:pt x="241" y="1151"/>
                </a:lnTo>
                <a:lnTo>
                  <a:pt x="232" y="1139"/>
                </a:lnTo>
                <a:lnTo>
                  <a:pt x="226" y="1126"/>
                </a:lnTo>
                <a:lnTo>
                  <a:pt x="226" y="1126"/>
                </a:lnTo>
                <a:lnTo>
                  <a:pt x="219" y="1111"/>
                </a:lnTo>
                <a:lnTo>
                  <a:pt x="215" y="1097"/>
                </a:lnTo>
                <a:lnTo>
                  <a:pt x="212" y="1081"/>
                </a:lnTo>
                <a:lnTo>
                  <a:pt x="211" y="1066"/>
                </a:lnTo>
                <a:lnTo>
                  <a:pt x="211" y="1066"/>
                </a:lnTo>
                <a:lnTo>
                  <a:pt x="212" y="1050"/>
                </a:lnTo>
                <a:lnTo>
                  <a:pt x="215" y="1035"/>
                </a:lnTo>
                <a:lnTo>
                  <a:pt x="219" y="1020"/>
                </a:lnTo>
                <a:lnTo>
                  <a:pt x="226" y="1007"/>
                </a:lnTo>
                <a:lnTo>
                  <a:pt x="226" y="1007"/>
                </a:lnTo>
                <a:lnTo>
                  <a:pt x="232" y="993"/>
                </a:lnTo>
                <a:lnTo>
                  <a:pt x="241" y="981"/>
                </a:lnTo>
                <a:lnTo>
                  <a:pt x="251" y="970"/>
                </a:lnTo>
                <a:lnTo>
                  <a:pt x="262" y="960"/>
                </a:lnTo>
                <a:lnTo>
                  <a:pt x="262" y="960"/>
                </a:lnTo>
                <a:lnTo>
                  <a:pt x="275" y="950"/>
                </a:lnTo>
                <a:lnTo>
                  <a:pt x="287" y="942"/>
                </a:lnTo>
                <a:lnTo>
                  <a:pt x="301" y="935"/>
                </a:lnTo>
                <a:lnTo>
                  <a:pt x="316" y="929"/>
                </a:lnTo>
                <a:lnTo>
                  <a:pt x="316" y="929"/>
                </a:lnTo>
                <a:lnTo>
                  <a:pt x="330" y="925"/>
                </a:lnTo>
                <a:lnTo>
                  <a:pt x="346" y="921"/>
                </a:lnTo>
                <a:lnTo>
                  <a:pt x="361" y="919"/>
                </a:lnTo>
                <a:lnTo>
                  <a:pt x="378" y="918"/>
                </a:lnTo>
                <a:lnTo>
                  <a:pt x="378" y="918"/>
                </a:lnTo>
                <a:lnTo>
                  <a:pt x="395" y="919"/>
                </a:lnTo>
                <a:lnTo>
                  <a:pt x="410" y="921"/>
                </a:lnTo>
                <a:lnTo>
                  <a:pt x="426" y="925"/>
                </a:lnTo>
                <a:lnTo>
                  <a:pt x="441" y="929"/>
                </a:lnTo>
                <a:lnTo>
                  <a:pt x="441" y="929"/>
                </a:lnTo>
                <a:lnTo>
                  <a:pt x="457" y="935"/>
                </a:lnTo>
                <a:lnTo>
                  <a:pt x="470" y="942"/>
                </a:lnTo>
                <a:lnTo>
                  <a:pt x="484" y="950"/>
                </a:lnTo>
                <a:lnTo>
                  <a:pt x="496" y="960"/>
                </a:lnTo>
                <a:lnTo>
                  <a:pt x="496" y="960"/>
                </a:lnTo>
                <a:lnTo>
                  <a:pt x="508" y="970"/>
                </a:lnTo>
                <a:lnTo>
                  <a:pt x="518" y="981"/>
                </a:lnTo>
                <a:lnTo>
                  <a:pt x="527" y="993"/>
                </a:lnTo>
                <a:lnTo>
                  <a:pt x="535" y="1007"/>
                </a:lnTo>
                <a:lnTo>
                  <a:pt x="535" y="1007"/>
                </a:lnTo>
                <a:lnTo>
                  <a:pt x="540" y="1020"/>
                </a:lnTo>
                <a:lnTo>
                  <a:pt x="545" y="1035"/>
                </a:lnTo>
                <a:lnTo>
                  <a:pt x="548" y="1050"/>
                </a:lnTo>
                <a:lnTo>
                  <a:pt x="548" y="1066"/>
                </a:lnTo>
                <a:lnTo>
                  <a:pt x="548" y="10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27" name="Ellipse 26"/>
          <p:cNvSpPr/>
          <p:nvPr/>
        </p:nvSpPr>
        <p:spPr bwMode="auto">
          <a:xfrm>
            <a:off x="4874609"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88" name="Freeform 85">
            <a:extLst>
              <a:ext uri="{FF2B5EF4-FFF2-40B4-BE49-F238E27FC236}">
                <a16:creationId xmlns:a16="http://schemas.microsoft.com/office/drawing/2014/main" id="{6C33A751-A7A5-468D-826C-78A733401A69}"/>
              </a:ext>
            </a:extLst>
          </p:cNvPr>
          <p:cNvSpPr>
            <a:spLocks/>
          </p:cNvSpPr>
          <p:nvPr/>
        </p:nvSpPr>
        <p:spPr bwMode="auto">
          <a:xfrm>
            <a:off x="4884429" y="3245980"/>
            <a:ext cx="443858" cy="443858"/>
          </a:xfrm>
          <a:custGeom>
            <a:avLst/>
            <a:gdLst>
              <a:gd name="T0" fmla="*/ 1709 w 1710"/>
              <a:gd name="T1" fmla="*/ 899 h 1710"/>
              <a:gd name="T2" fmla="*/ 1693 w 1710"/>
              <a:gd name="T3" fmla="*/ 1028 h 1710"/>
              <a:gd name="T4" fmla="*/ 1658 w 1710"/>
              <a:gd name="T5" fmla="*/ 1149 h 1710"/>
              <a:gd name="T6" fmla="*/ 1606 w 1710"/>
              <a:gd name="T7" fmla="*/ 1263 h 1710"/>
              <a:gd name="T8" fmla="*/ 1541 w 1710"/>
              <a:gd name="T9" fmla="*/ 1367 h 1710"/>
              <a:gd name="T10" fmla="*/ 1459 w 1710"/>
              <a:gd name="T11" fmla="*/ 1459 h 1710"/>
              <a:gd name="T12" fmla="*/ 1367 w 1710"/>
              <a:gd name="T13" fmla="*/ 1541 h 1710"/>
              <a:gd name="T14" fmla="*/ 1263 w 1710"/>
              <a:gd name="T15" fmla="*/ 1607 h 1710"/>
              <a:gd name="T16" fmla="*/ 1149 w 1710"/>
              <a:gd name="T17" fmla="*/ 1658 h 1710"/>
              <a:gd name="T18" fmla="*/ 1028 w 1710"/>
              <a:gd name="T19" fmla="*/ 1693 h 1710"/>
              <a:gd name="T20" fmla="*/ 899 w 1710"/>
              <a:gd name="T21" fmla="*/ 1709 h 1710"/>
              <a:gd name="T22" fmla="*/ 811 w 1710"/>
              <a:gd name="T23" fmla="*/ 1709 h 1710"/>
              <a:gd name="T24" fmla="*/ 683 w 1710"/>
              <a:gd name="T25" fmla="*/ 1693 h 1710"/>
              <a:gd name="T26" fmla="*/ 561 w 1710"/>
              <a:gd name="T27" fmla="*/ 1658 h 1710"/>
              <a:gd name="T28" fmla="*/ 447 w 1710"/>
              <a:gd name="T29" fmla="*/ 1607 h 1710"/>
              <a:gd name="T30" fmla="*/ 344 w 1710"/>
              <a:gd name="T31" fmla="*/ 1541 h 1710"/>
              <a:gd name="T32" fmla="*/ 251 w 1710"/>
              <a:gd name="T33" fmla="*/ 1459 h 1710"/>
              <a:gd name="T34" fmla="*/ 171 w 1710"/>
              <a:gd name="T35" fmla="*/ 1367 h 1710"/>
              <a:gd name="T36" fmla="*/ 104 w 1710"/>
              <a:gd name="T37" fmla="*/ 1263 h 1710"/>
              <a:gd name="T38" fmla="*/ 53 w 1710"/>
              <a:gd name="T39" fmla="*/ 1149 h 1710"/>
              <a:gd name="T40" fmla="*/ 18 w 1710"/>
              <a:gd name="T41" fmla="*/ 1028 h 1710"/>
              <a:gd name="T42" fmla="*/ 1 w 1710"/>
              <a:gd name="T43" fmla="*/ 899 h 1710"/>
              <a:gd name="T44" fmla="*/ 1 w 1710"/>
              <a:gd name="T45" fmla="*/ 811 h 1710"/>
              <a:gd name="T46" fmla="*/ 18 w 1710"/>
              <a:gd name="T47" fmla="*/ 683 h 1710"/>
              <a:gd name="T48" fmla="*/ 53 w 1710"/>
              <a:gd name="T49" fmla="*/ 562 h 1710"/>
              <a:gd name="T50" fmla="*/ 104 w 1710"/>
              <a:gd name="T51" fmla="*/ 449 h 1710"/>
              <a:gd name="T52" fmla="*/ 171 w 1710"/>
              <a:gd name="T53" fmla="*/ 344 h 1710"/>
              <a:gd name="T54" fmla="*/ 251 w 1710"/>
              <a:gd name="T55" fmla="*/ 251 h 1710"/>
              <a:gd name="T56" fmla="*/ 344 w 1710"/>
              <a:gd name="T57" fmla="*/ 171 h 1710"/>
              <a:gd name="T58" fmla="*/ 447 w 1710"/>
              <a:gd name="T59" fmla="*/ 104 h 1710"/>
              <a:gd name="T60" fmla="*/ 561 w 1710"/>
              <a:gd name="T61" fmla="*/ 53 h 1710"/>
              <a:gd name="T62" fmla="*/ 683 w 1710"/>
              <a:gd name="T63" fmla="*/ 18 h 1710"/>
              <a:gd name="T64" fmla="*/ 811 w 1710"/>
              <a:gd name="T65" fmla="*/ 1 h 1710"/>
              <a:gd name="T66" fmla="*/ 899 w 1710"/>
              <a:gd name="T67" fmla="*/ 1 h 1710"/>
              <a:gd name="T68" fmla="*/ 1028 w 1710"/>
              <a:gd name="T69" fmla="*/ 18 h 1710"/>
              <a:gd name="T70" fmla="*/ 1149 w 1710"/>
              <a:gd name="T71" fmla="*/ 53 h 1710"/>
              <a:gd name="T72" fmla="*/ 1263 w 1710"/>
              <a:gd name="T73" fmla="*/ 104 h 1710"/>
              <a:gd name="T74" fmla="*/ 1367 w 1710"/>
              <a:gd name="T75" fmla="*/ 171 h 1710"/>
              <a:gd name="T76" fmla="*/ 1459 w 1710"/>
              <a:gd name="T77" fmla="*/ 251 h 1710"/>
              <a:gd name="T78" fmla="*/ 1541 w 1710"/>
              <a:gd name="T79" fmla="*/ 344 h 1710"/>
              <a:gd name="T80" fmla="*/ 1606 w 1710"/>
              <a:gd name="T81" fmla="*/ 449 h 1710"/>
              <a:gd name="T82" fmla="*/ 1658 w 1710"/>
              <a:gd name="T83" fmla="*/ 562 h 1710"/>
              <a:gd name="T84" fmla="*/ 1693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899"/>
                </a:lnTo>
                <a:lnTo>
                  <a:pt x="1705" y="942"/>
                </a:lnTo>
                <a:lnTo>
                  <a:pt x="1700" y="986"/>
                </a:lnTo>
                <a:lnTo>
                  <a:pt x="1693" y="1028"/>
                </a:lnTo>
                <a:lnTo>
                  <a:pt x="1683" y="1069"/>
                </a:lnTo>
                <a:lnTo>
                  <a:pt x="1672" y="1109"/>
                </a:lnTo>
                <a:lnTo>
                  <a:pt x="1658" y="1149"/>
                </a:lnTo>
                <a:lnTo>
                  <a:pt x="1643" y="1188"/>
                </a:lnTo>
                <a:lnTo>
                  <a:pt x="1625" y="1226"/>
                </a:lnTo>
                <a:lnTo>
                  <a:pt x="1606" y="1263"/>
                </a:lnTo>
                <a:lnTo>
                  <a:pt x="1586" y="1298"/>
                </a:lnTo>
                <a:lnTo>
                  <a:pt x="1564" y="1334"/>
                </a:lnTo>
                <a:lnTo>
                  <a:pt x="1541" y="1367"/>
                </a:lnTo>
                <a:lnTo>
                  <a:pt x="1515" y="1399"/>
                </a:lnTo>
                <a:lnTo>
                  <a:pt x="1488" y="1431"/>
                </a:lnTo>
                <a:lnTo>
                  <a:pt x="1459" y="1459"/>
                </a:lnTo>
                <a:lnTo>
                  <a:pt x="1429" y="1488"/>
                </a:lnTo>
                <a:lnTo>
                  <a:pt x="1399" y="1515"/>
                </a:lnTo>
                <a:lnTo>
                  <a:pt x="1367" y="1541"/>
                </a:lnTo>
                <a:lnTo>
                  <a:pt x="1333" y="1564"/>
                </a:lnTo>
                <a:lnTo>
                  <a:pt x="1298" y="1586"/>
                </a:lnTo>
                <a:lnTo>
                  <a:pt x="1263" y="1607"/>
                </a:lnTo>
                <a:lnTo>
                  <a:pt x="1226" y="1626"/>
                </a:lnTo>
                <a:lnTo>
                  <a:pt x="1188" y="1643"/>
                </a:lnTo>
                <a:lnTo>
                  <a:pt x="1149" y="1658"/>
                </a:lnTo>
                <a:lnTo>
                  <a:pt x="1109" y="1672"/>
                </a:lnTo>
                <a:lnTo>
                  <a:pt x="1069" y="1683"/>
                </a:lnTo>
                <a:lnTo>
                  <a:pt x="1028" y="1693"/>
                </a:lnTo>
                <a:lnTo>
                  <a:pt x="986" y="1701"/>
                </a:lnTo>
                <a:lnTo>
                  <a:pt x="942" y="1705"/>
                </a:lnTo>
                <a:lnTo>
                  <a:pt x="899" y="1709"/>
                </a:lnTo>
                <a:lnTo>
                  <a:pt x="856" y="1710"/>
                </a:lnTo>
                <a:lnTo>
                  <a:pt x="856" y="1710"/>
                </a:lnTo>
                <a:lnTo>
                  <a:pt x="811" y="1709"/>
                </a:lnTo>
                <a:lnTo>
                  <a:pt x="768" y="1705"/>
                </a:lnTo>
                <a:lnTo>
                  <a:pt x="725" y="1701"/>
                </a:lnTo>
                <a:lnTo>
                  <a:pt x="683" y="1693"/>
                </a:lnTo>
                <a:lnTo>
                  <a:pt x="642" y="1683"/>
                </a:lnTo>
                <a:lnTo>
                  <a:pt x="601" y="1672"/>
                </a:lnTo>
                <a:lnTo>
                  <a:pt x="561" y="1658"/>
                </a:lnTo>
                <a:lnTo>
                  <a:pt x="523" y="1643"/>
                </a:lnTo>
                <a:lnTo>
                  <a:pt x="485" y="1626"/>
                </a:lnTo>
                <a:lnTo>
                  <a:pt x="447" y="1607"/>
                </a:lnTo>
                <a:lnTo>
                  <a:pt x="412" y="1586"/>
                </a:lnTo>
                <a:lnTo>
                  <a:pt x="377" y="1564"/>
                </a:lnTo>
                <a:lnTo>
                  <a:pt x="344" y="1541"/>
                </a:lnTo>
                <a:lnTo>
                  <a:pt x="312" y="1515"/>
                </a:lnTo>
                <a:lnTo>
                  <a:pt x="281" y="1488"/>
                </a:lnTo>
                <a:lnTo>
                  <a:pt x="251" y="1459"/>
                </a:lnTo>
                <a:lnTo>
                  <a:pt x="223" y="1431"/>
                </a:lnTo>
                <a:lnTo>
                  <a:pt x="196" y="1399"/>
                </a:lnTo>
                <a:lnTo>
                  <a:pt x="171" y="1367"/>
                </a:lnTo>
                <a:lnTo>
                  <a:pt x="146" y="1334"/>
                </a:lnTo>
                <a:lnTo>
                  <a:pt x="124" y="1298"/>
                </a:lnTo>
                <a:lnTo>
                  <a:pt x="104" y="1263"/>
                </a:lnTo>
                <a:lnTo>
                  <a:pt x="85" y="1226"/>
                </a:lnTo>
                <a:lnTo>
                  <a:pt x="68" y="1188"/>
                </a:lnTo>
                <a:lnTo>
                  <a:pt x="53" y="1149"/>
                </a:lnTo>
                <a:lnTo>
                  <a:pt x="39" y="1109"/>
                </a:lnTo>
                <a:lnTo>
                  <a:pt x="27" y="1069"/>
                </a:lnTo>
                <a:lnTo>
                  <a:pt x="18" y="1028"/>
                </a:lnTo>
                <a:lnTo>
                  <a:pt x="10" y="986"/>
                </a:lnTo>
                <a:lnTo>
                  <a:pt x="5" y="942"/>
                </a:lnTo>
                <a:lnTo>
                  <a:pt x="1" y="899"/>
                </a:lnTo>
                <a:lnTo>
                  <a:pt x="0" y="856"/>
                </a:lnTo>
                <a:lnTo>
                  <a:pt x="0" y="856"/>
                </a:lnTo>
                <a:lnTo>
                  <a:pt x="1" y="811"/>
                </a:lnTo>
                <a:lnTo>
                  <a:pt x="5" y="768"/>
                </a:lnTo>
                <a:lnTo>
                  <a:pt x="10" y="725"/>
                </a:lnTo>
                <a:lnTo>
                  <a:pt x="18" y="683"/>
                </a:lnTo>
                <a:lnTo>
                  <a:pt x="27" y="642"/>
                </a:lnTo>
                <a:lnTo>
                  <a:pt x="39" y="601"/>
                </a:lnTo>
                <a:lnTo>
                  <a:pt x="53" y="562"/>
                </a:lnTo>
                <a:lnTo>
                  <a:pt x="68" y="523"/>
                </a:lnTo>
                <a:lnTo>
                  <a:pt x="85" y="485"/>
                </a:lnTo>
                <a:lnTo>
                  <a:pt x="104" y="449"/>
                </a:lnTo>
                <a:lnTo>
                  <a:pt x="124" y="412"/>
                </a:lnTo>
                <a:lnTo>
                  <a:pt x="146" y="377"/>
                </a:lnTo>
                <a:lnTo>
                  <a:pt x="171" y="344"/>
                </a:lnTo>
                <a:lnTo>
                  <a:pt x="196" y="312"/>
                </a:lnTo>
                <a:lnTo>
                  <a:pt x="223" y="281"/>
                </a:lnTo>
                <a:lnTo>
                  <a:pt x="251" y="251"/>
                </a:lnTo>
                <a:lnTo>
                  <a:pt x="281" y="223"/>
                </a:lnTo>
                <a:lnTo>
                  <a:pt x="312" y="196"/>
                </a:lnTo>
                <a:lnTo>
                  <a:pt x="344" y="171"/>
                </a:lnTo>
                <a:lnTo>
                  <a:pt x="377" y="147"/>
                </a:lnTo>
                <a:lnTo>
                  <a:pt x="412" y="125"/>
                </a:lnTo>
                <a:lnTo>
                  <a:pt x="447" y="104"/>
                </a:lnTo>
                <a:lnTo>
                  <a:pt x="485" y="85"/>
                </a:lnTo>
                <a:lnTo>
                  <a:pt x="523" y="68"/>
                </a:lnTo>
                <a:lnTo>
                  <a:pt x="561" y="53"/>
                </a:lnTo>
                <a:lnTo>
                  <a:pt x="601" y="39"/>
                </a:lnTo>
                <a:lnTo>
                  <a:pt x="642" y="28"/>
                </a:lnTo>
                <a:lnTo>
                  <a:pt x="683" y="18"/>
                </a:lnTo>
                <a:lnTo>
                  <a:pt x="725" y="10"/>
                </a:lnTo>
                <a:lnTo>
                  <a:pt x="768" y="5"/>
                </a:lnTo>
                <a:lnTo>
                  <a:pt x="811" y="1"/>
                </a:lnTo>
                <a:lnTo>
                  <a:pt x="856" y="0"/>
                </a:lnTo>
                <a:lnTo>
                  <a:pt x="856" y="0"/>
                </a:lnTo>
                <a:lnTo>
                  <a:pt x="899" y="1"/>
                </a:lnTo>
                <a:lnTo>
                  <a:pt x="942" y="5"/>
                </a:lnTo>
                <a:lnTo>
                  <a:pt x="986" y="10"/>
                </a:lnTo>
                <a:lnTo>
                  <a:pt x="1028" y="18"/>
                </a:lnTo>
                <a:lnTo>
                  <a:pt x="1069" y="28"/>
                </a:lnTo>
                <a:lnTo>
                  <a:pt x="1109" y="39"/>
                </a:lnTo>
                <a:lnTo>
                  <a:pt x="1149" y="53"/>
                </a:lnTo>
                <a:lnTo>
                  <a:pt x="1188" y="68"/>
                </a:lnTo>
                <a:lnTo>
                  <a:pt x="1226" y="85"/>
                </a:lnTo>
                <a:lnTo>
                  <a:pt x="1263" y="104"/>
                </a:lnTo>
                <a:lnTo>
                  <a:pt x="1298" y="125"/>
                </a:lnTo>
                <a:lnTo>
                  <a:pt x="1333" y="147"/>
                </a:lnTo>
                <a:lnTo>
                  <a:pt x="1367" y="171"/>
                </a:lnTo>
                <a:lnTo>
                  <a:pt x="1399" y="196"/>
                </a:lnTo>
                <a:lnTo>
                  <a:pt x="1429" y="223"/>
                </a:lnTo>
                <a:lnTo>
                  <a:pt x="1459" y="251"/>
                </a:lnTo>
                <a:lnTo>
                  <a:pt x="1488" y="281"/>
                </a:lnTo>
                <a:lnTo>
                  <a:pt x="1515" y="312"/>
                </a:lnTo>
                <a:lnTo>
                  <a:pt x="1541" y="344"/>
                </a:lnTo>
                <a:lnTo>
                  <a:pt x="1564" y="377"/>
                </a:lnTo>
                <a:lnTo>
                  <a:pt x="1586" y="412"/>
                </a:lnTo>
                <a:lnTo>
                  <a:pt x="1606" y="449"/>
                </a:lnTo>
                <a:lnTo>
                  <a:pt x="1625" y="485"/>
                </a:lnTo>
                <a:lnTo>
                  <a:pt x="1643" y="523"/>
                </a:lnTo>
                <a:lnTo>
                  <a:pt x="1658" y="562"/>
                </a:lnTo>
                <a:lnTo>
                  <a:pt x="1672" y="601"/>
                </a:lnTo>
                <a:lnTo>
                  <a:pt x="1683" y="642"/>
                </a:lnTo>
                <a:lnTo>
                  <a:pt x="1693" y="683"/>
                </a:lnTo>
                <a:lnTo>
                  <a:pt x="1700" y="725"/>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89" name="Gruppieren 188">
            <a:extLst>
              <a:ext uri="{FF2B5EF4-FFF2-40B4-BE49-F238E27FC236}">
                <a16:creationId xmlns:a16="http://schemas.microsoft.com/office/drawing/2014/main" id="{416297FA-4EB5-4D8B-A86B-848624EC168A}"/>
              </a:ext>
            </a:extLst>
          </p:cNvPr>
          <p:cNvGrpSpPr/>
          <p:nvPr/>
        </p:nvGrpSpPr>
        <p:grpSpPr>
          <a:xfrm>
            <a:off x="5064160" y="3321780"/>
            <a:ext cx="84396" cy="292258"/>
            <a:chOff x="5050555" y="3900314"/>
            <a:chExt cx="84396" cy="292258"/>
          </a:xfrm>
        </p:grpSpPr>
        <p:sp>
          <p:nvSpPr>
            <p:cNvPr id="190" name="Freeform 86">
              <a:extLst>
                <a:ext uri="{FF2B5EF4-FFF2-40B4-BE49-F238E27FC236}">
                  <a16:creationId xmlns:a16="http://schemas.microsoft.com/office/drawing/2014/main" id="{27DB46B3-0185-40E5-B39D-A7E0F4E590D7}"/>
                </a:ext>
              </a:extLst>
            </p:cNvPr>
            <p:cNvSpPr>
              <a:spLocks/>
            </p:cNvSpPr>
            <p:nvPr/>
          </p:nvSpPr>
          <p:spPr bwMode="auto">
            <a:xfrm>
              <a:off x="5050555" y="3900314"/>
              <a:ext cx="84396" cy="206300"/>
            </a:xfrm>
            <a:custGeom>
              <a:avLst/>
              <a:gdLst>
                <a:gd name="T0" fmla="*/ 165 w 328"/>
                <a:gd name="T1" fmla="*/ 0 h 789"/>
                <a:gd name="T2" fmla="*/ 131 w 328"/>
                <a:gd name="T3" fmla="*/ 2 h 789"/>
                <a:gd name="T4" fmla="*/ 100 w 328"/>
                <a:gd name="T5" fmla="*/ 10 h 789"/>
                <a:gd name="T6" fmla="*/ 72 w 328"/>
                <a:gd name="T7" fmla="*/ 21 h 789"/>
                <a:gd name="T8" fmla="*/ 48 w 328"/>
                <a:gd name="T9" fmla="*/ 38 h 789"/>
                <a:gd name="T10" fmla="*/ 28 w 328"/>
                <a:gd name="T11" fmla="*/ 59 h 789"/>
                <a:gd name="T12" fmla="*/ 13 w 328"/>
                <a:gd name="T13" fmla="*/ 83 h 789"/>
                <a:gd name="T14" fmla="*/ 3 w 328"/>
                <a:gd name="T15" fmla="*/ 112 h 789"/>
                <a:gd name="T16" fmla="*/ 0 w 328"/>
                <a:gd name="T17" fmla="*/ 145 h 789"/>
                <a:gd name="T18" fmla="*/ 0 w 328"/>
                <a:gd name="T19" fmla="*/ 152 h 789"/>
                <a:gd name="T20" fmla="*/ 80 w 328"/>
                <a:gd name="T21" fmla="*/ 733 h 789"/>
                <a:gd name="T22" fmla="*/ 81 w 328"/>
                <a:gd name="T23" fmla="*/ 738 h 789"/>
                <a:gd name="T24" fmla="*/ 86 w 328"/>
                <a:gd name="T25" fmla="*/ 750 h 789"/>
                <a:gd name="T26" fmla="*/ 97 w 328"/>
                <a:gd name="T27" fmla="*/ 765 h 789"/>
                <a:gd name="T28" fmla="*/ 120 w 328"/>
                <a:gd name="T29" fmla="*/ 780 h 789"/>
                <a:gd name="T30" fmla="*/ 149 w 328"/>
                <a:gd name="T31" fmla="*/ 788 h 789"/>
                <a:gd name="T32" fmla="*/ 165 w 328"/>
                <a:gd name="T33" fmla="*/ 789 h 789"/>
                <a:gd name="T34" fmla="*/ 195 w 328"/>
                <a:gd name="T35" fmla="*/ 786 h 789"/>
                <a:gd name="T36" fmla="*/ 220 w 328"/>
                <a:gd name="T37" fmla="*/ 774 h 789"/>
                <a:gd name="T38" fmla="*/ 238 w 328"/>
                <a:gd name="T39" fmla="*/ 755 h 789"/>
                <a:gd name="T40" fmla="*/ 244 w 328"/>
                <a:gd name="T41" fmla="*/ 744 h 789"/>
                <a:gd name="T42" fmla="*/ 246 w 328"/>
                <a:gd name="T43" fmla="*/ 733 h 789"/>
                <a:gd name="T44" fmla="*/ 328 w 328"/>
                <a:gd name="T45" fmla="*/ 159 h 789"/>
                <a:gd name="T46" fmla="*/ 328 w 328"/>
                <a:gd name="T47" fmla="*/ 145 h 789"/>
                <a:gd name="T48" fmla="*/ 327 w 328"/>
                <a:gd name="T49" fmla="*/ 130 h 789"/>
                <a:gd name="T50" fmla="*/ 320 w 328"/>
                <a:gd name="T51" fmla="*/ 100 h 789"/>
                <a:gd name="T52" fmla="*/ 308 w 328"/>
                <a:gd name="T53" fmla="*/ 73 h 789"/>
                <a:gd name="T54" fmla="*/ 290 w 328"/>
                <a:gd name="T55" fmla="*/ 50 h 789"/>
                <a:gd name="T56" fmla="*/ 269 w 328"/>
                <a:gd name="T57" fmla="*/ 31 h 789"/>
                <a:gd name="T58" fmla="*/ 242 w 328"/>
                <a:gd name="T59" fmla="*/ 15 h 789"/>
                <a:gd name="T60" fmla="*/ 213 w 328"/>
                <a:gd name="T61" fmla="*/ 5 h 789"/>
                <a:gd name="T62" fmla="*/ 181 w 328"/>
                <a:gd name="T63" fmla="*/ 0 h 789"/>
                <a:gd name="T64" fmla="*/ 165 w 328"/>
                <a:gd name="T65"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789">
                  <a:moveTo>
                    <a:pt x="165" y="0"/>
                  </a:moveTo>
                  <a:lnTo>
                    <a:pt x="165" y="0"/>
                  </a:lnTo>
                  <a:lnTo>
                    <a:pt x="148" y="0"/>
                  </a:lnTo>
                  <a:lnTo>
                    <a:pt x="131" y="2"/>
                  </a:lnTo>
                  <a:lnTo>
                    <a:pt x="116" y="5"/>
                  </a:lnTo>
                  <a:lnTo>
                    <a:pt x="100" y="10"/>
                  </a:lnTo>
                  <a:lnTo>
                    <a:pt x="86" y="14"/>
                  </a:lnTo>
                  <a:lnTo>
                    <a:pt x="72" y="21"/>
                  </a:lnTo>
                  <a:lnTo>
                    <a:pt x="60" y="29"/>
                  </a:lnTo>
                  <a:lnTo>
                    <a:pt x="48" y="38"/>
                  </a:lnTo>
                  <a:lnTo>
                    <a:pt x="38" y="48"/>
                  </a:lnTo>
                  <a:lnTo>
                    <a:pt x="28" y="59"/>
                  </a:lnTo>
                  <a:lnTo>
                    <a:pt x="20" y="71"/>
                  </a:lnTo>
                  <a:lnTo>
                    <a:pt x="13" y="83"/>
                  </a:lnTo>
                  <a:lnTo>
                    <a:pt x="8" y="98"/>
                  </a:lnTo>
                  <a:lnTo>
                    <a:pt x="3" y="112"/>
                  </a:lnTo>
                  <a:lnTo>
                    <a:pt x="1" y="129"/>
                  </a:lnTo>
                  <a:lnTo>
                    <a:pt x="0" y="145"/>
                  </a:lnTo>
                  <a:lnTo>
                    <a:pt x="0" y="145"/>
                  </a:lnTo>
                  <a:lnTo>
                    <a:pt x="0" y="152"/>
                  </a:lnTo>
                  <a:lnTo>
                    <a:pt x="0" y="159"/>
                  </a:lnTo>
                  <a:lnTo>
                    <a:pt x="80" y="733"/>
                  </a:lnTo>
                  <a:lnTo>
                    <a:pt x="80" y="733"/>
                  </a:lnTo>
                  <a:lnTo>
                    <a:pt x="81" y="738"/>
                  </a:lnTo>
                  <a:lnTo>
                    <a:pt x="83" y="744"/>
                  </a:lnTo>
                  <a:lnTo>
                    <a:pt x="86" y="750"/>
                  </a:lnTo>
                  <a:lnTo>
                    <a:pt x="89" y="755"/>
                  </a:lnTo>
                  <a:lnTo>
                    <a:pt x="97" y="765"/>
                  </a:lnTo>
                  <a:lnTo>
                    <a:pt x="108" y="774"/>
                  </a:lnTo>
                  <a:lnTo>
                    <a:pt x="120" y="780"/>
                  </a:lnTo>
                  <a:lnTo>
                    <a:pt x="133" y="786"/>
                  </a:lnTo>
                  <a:lnTo>
                    <a:pt x="149" y="788"/>
                  </a:lnTo>
                  <a:lnTo>
                    <a:pt x="165" y="789"/>
                  </a:lnTo>
                  <a:lnTo>
                    <a:pt x="165" y="789"/>
                  </a:lnTo>
                  <a:lnTo>
                    <a:pt x="180" y="788"/>
                  </a:lnTo>
                  <a:lnTo>
                    <a:pt x="195" y="786"/>
                  </a:lnTo>
                  <a:lnTo>
                    <a:pt x="208" y="780"/>
                  </a:lnTo>
                  <a:lnTo>
                    <a:pt x="220" y="774"/>
                  </a:lnTo>
                  <a:lnTo>
                    <a:pt x="230" y="765"/>
                  </a:lnTo>
                  <a:lnTo>
                    <a:pt x="238" y="755"/>
                  </a:lnTo>
                  <a:lnTo>
                    <a:pt x="241" y="750"/>
                  </a:lnTo>
                  <a:lnTo>
                    <a:pt x="244" y="744"/>
                  </a:lnTo>
                  <a:lnTo>
                    <a:pt x="245" y="738"/>
                  </a:lnTo>
                  <a:lnTo>
                    <a:pt x="246" y="733"/>
                  </a:lnTo>
                  <a:lnTo>
                    <a:pt x="328" y="159"/>
                  </a:lnTo>
                  <a:lnTo>
                    <a:pt x="328" y="159"/>
                  </a:lnTo>
                  <a:lnTo>
                    <a:pt x="328" y="152"/>
                  </a:lnTo>
                  <a:lnTo>
                    <a:pt x="328" y="145"/>
                  </a:lnTo>
                  <a:lnTo>
                    <a:pt x="328" y="145"/>
                  </a:lnTo>
                  <a:lnTo>
                    <a:pt x="327" y="130"/>
                  </a:lnTo>
                  <a:lnTo>
                    <a:pt x="325" y="114"/>
                  </a:lnTo>
                  <a:lnTo>
                    <a:pt x="320" y="100"/>
                  </a:lnTo>
                  <a:lnTo>
                    <a:pt x="315" y="85"/>
                  </a:lnTo>
                  <a:lnTo>
                    <a:pt x="308" y="73"/>
                  </a:lnTo>
                  <a:lnTo>
                    <a:pt x="300" y="61"/>
                  </a:lnTo>
                  <a:lnTo>
                    <a:pt x="290" y="50"/>
                  </a:lnTo>
                  <a:lnTo>
                    <a:pt x="280" y="40"/>
                  </a:lnTo>
                  <a:lnTo>
                    <a:pt x="269" y="31"/>
                  </a:lnTo>
                  <a:lnTo>
                    <a:pt x="256" y="23"/>
                  </a:lnTo>
                  <a:lnTo>
                    <a:pt x="242" y="15"/>
                  </a:lnTo>
                  <a:lnTo>
                    <a:pt x="228" y="10"/>
                  </a:lnTo>
                  <a:lnTo>
                    <a:pt x="213" y="5"/>
                  </a:lnTo>
                  <a:lnTo>
                    <a:pt x="198" y="2"/>
                  </a:lnTo>
                  <a:lnTo>
                    <a:pt x="181" y="0"/>
                  </a:lnTo>
                  <a:lnTo>
                    <a:pt x="165" y="0"/>
                  </a:lnTo>
                  <a:lnTo>
                    <a:pt x="165"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91" name="Freeform 87">
              <a:extLst>
                <a:ext uri="{FF2B5EF4-FFF2-40B4-BE49-F238E27FC236}">
                  <a16:creationId xmlns:a16="http://schemas.microsoft.com/office/drawing/2014/main" id="{65D83E04-0F14-411B-9E3D-51DFB95581BE}"/>
                </a:ext>
              </a:extLst>
            </p:cNvPr>
            <p:cNvSpPr>
              <a:spLocks/>
            </p:cNvSpPr>
            <p:nvPr/>
          </p:nvSpPr>
          <p:spPr bwMode="auto">
            <a:xfrm>
              <a:off x="5053681" y="4120679"/>
              <a:ext cx="78144" cy="71893"/>
            </a:xfrm>
            <a:custGeom>
              <a:avLst/>
              <a:gdLst>
                <a:gd name="T0" fmla="*/ 152 w 302"/>
                <a:gd name="T1" fmla="*/ 0 h 275"/>
                <a:gd name="T2" fmla="*/ 120 w 302"/>
                <a:gd name="T3" fmla="*/ 4 h 275"/>
                <a:gd name="T4" fmla="*/ 93 w 302"/>
                <a:gd name="T5" fmla="*/ 11 h 275"/>
                <a:gd name="T6" fmla="*/ 67 w 302"/>
                <a:gd name="T7" fmla="*/ 25 h 275"/>
                <a:gd name="T8" fmla="*/ 45 w 302"/>
                <a:gd name="T9" fmla="*/ 41 h 275"/>
                <a:gd name="T10" fmla="*/ 26 w 302"/>
                <a:gd name="T11" fmla="*/ 62 h 275"/>
                <a:gd name="T12" fmla="*/ 13 w 302"/>
                <a:gd name="T13" fmla="*/ 86 h 275"/>
                <a:gd name="T14" fmla="*/ 4 w 302"/>
                <a:gd name="T15" fmla="*/ 111 h 275"/>
                <a:gd name="T16" fmla="*/ 0 w 302"/>
                <a:gd name="T17" fmla="*/ 140 h 275"/>
                <a:gd name="T18" fmla="*/ 1 w 302"/>
                <a:gd name="T19" fmla="*/ 154 h 275"/>
                <a:gd name="T20" fmla="*/ 7 w 302"/>
                <a:gd name="T21" fmla="*/ 180 h 275"/>
                <a:gd name="T22" fmla="*/ 19 w 302"/>
                <a:gd name="T23" fmla="*/ 205 h 275"/>
                <a:gd name="T24" fmla="*/ 35 w 302"/>
                <a:gd name="T25" fmla="*/ 226 h 275"/>
                <a:gd name="T26" fmla="*/ 55 w 302"/>
                <a:gd name="T27" fmla="*/ 245 h 275"/>
                <a:gd name="T28" fmla="*/ 79 w 302"/>
                <a:gd name="T29" fmla="*/ 259 h 275"/>
                <a:gd name="T30" fmla="*/ 106 w 302"/>
                <a:gd name="T31" fmla="*/ 269 h 275"/>
                <a:gd name="T32" fmla="*/ 136 w 302"/>
                <a:gd name="T33" fmla="*/ 275 h 275"/>
                <a:gd name="T34" fmla="*/ 152 w 302"/>
                <a:gd name="T35" fmla="*/ 275 h 275"/>
                <a:gd name="T36" fmla="*/ 182 w 302"/>
                <a:gd name="T37" fmla="*/ 273 h 275"/>
                <a:gd name="T38" fmla="*/ 209 w 302"/>
                <a:gd name="T39" fmla="*/ 265 h 275"/>
                <a:gd name="T40" fmla="*/ 235 w 302"/>
                <a:gd name="T41" fmla="*/ 253 h 275"/>
                <a:gd name="T42" fmla="*/ 258 w 302"/>
                <a:gd name="T43" fmla="*/ 236 h 275"/>
                <a:gd name="T44" fmla="*/ 276 w 302"/>
                <a:gd name="T45" fmla="*/ 216 h 275"/>
                <a:gd name="T46" fmla="*/ 289 w 302"/>
                <a:gd name="T47" fmla="*/ 194 h 275"/>
                <a:gd name="T48" fmla="*/ 298 w 302"/>
                <a:gd name="T49" fmla="*/ 168 h 275"/>
                <a:gd name="T50" fmla="*/ 302 w 302"/>
                <a:gd name="T51" fmla="*/ 140 h 275"/>
                <a:gd name="T52" fmla="*/ 301 w 302"/>
                <a:gd name="T53" fmla="*/ 126 h 275"/>
                <a:gd name="T54" fmla="*/ 295 w 302"/>
                <a:gd name="T55" fmla="*/ 98 h 275"/>
                <a:gd name="T56" fmla="*/ 284 w 302"/>
                <a:gd name="T57" fmla="*/ 74 h 275"/>
                <a:gd name="T58" fmla="*/ 267 w 302"/>
                <a:gd name="T59" fmla="*/ 51 h 275"/>
                <a:gd name="T60" fmla="*/ 247 w 302"/>
                <a:gd name="T61" fmla="*/ 32 h 275"/>
                <a:gd name="T62" fmla="*/ 223 w 302"/>
                <a:gd name="T63" fmla="*/ 17 h 275"/>
                <a:gd name="T64" fmla="*/ 196 w 302"/>
                <a:gd name="T65" fmla="*/ 7 h 275"/>
                <a:gd name="T66" fmla="*/ 167 w 302"/>
                <a:gd name="T67" fmla="*/ 1 h 275"/>
                <a:gd name="T68" fmla="*/ 152 w 302"/>
                <a:gd name="T6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275">
                  <a:moveTo>
                    <a:pt x="152" y="0"/>
                  </a:moveTo>
                  <a:lnTo>
                    <a:pt x="152" y="0"/>
                  </a:lnTo>
                  <a:lnTo>
                    <a:pt x="136" y="1"/>
                  </a:lnTo>
                  <a:lnTo>
                    <a:pt x="120" y="4"/>
                  </a:lnTo>
                  <a:lnTo>
                    <a:pt x="106" y="7"/>
                  </a:lnTo>
                  <a:lnTo>
                    <a:pt x="93" y="11"/>
                  </a:lnTo>
                  <a:lnTo>
                    <a:pt x="79" y="17"/>
                  </a:lnTo>
                  <a:lnTo>
                    <a:pt x="67" y="25"/>
                  </a:lnTo>
                  <a:lnTo>
                    <a:pt x="55" y="32"/>
                  </a:lnTo>
                  <a:lnTo>
                    <a:pt x="45" y="41"/>
                  </a:lnTo>
                  <a:lnTo>
                    <a:pt x="35" y="51"/>
                  </a:lnTo>
                  <a:lnTo>
                    <a:pt x="26" y="62"/>
                  </a:lnTo>
                  <a:lnTo>
                    <a:pt x="19" y="74"/>
                  </a:lnTo>
                  <a:lnTo>
                    <a:pt x="13" y="86"/>
                  </a:lnTo>
                  <a:lnTo>
                    <a:pt x="7" y="99"/>
                  </a:lnTo>
                  <a:lnTo>
                    <a:pt x="4" y="111"/>
                  </a:lnTo>
                  <a:lnTo>
                    <a:pt x="1" y="126"/>
                  </a:lnTo>
                  <a:lnTo>
                    <a:pt x="0" y="140"/>
                  </a:lnTo>
                  <a:lnTo>
                    <a:pt x="0" y="140"/>
                  </a:lnTo>
                  <a:lnTo>
                    <a:pt x="1" y="154"/>
                  </a:lnTo>
                  <a:lnTo>
                    <a:pt x="4" y="168"/>
                  </a:lnTo>
                  <a:lnTo>
                    <a:pt x="7" y="180"/>
                  </a:lnTo>
                  <a:lnTo>
                    <a:pt x="13" y="194"/>
                  </a:lnTo>
                  <a:lnTo>
                    <a:pt x="19" y="205"/>
                  </a:lnTo>
                  <a:lnTo>
                    <a:pt x="26" y="216"/>
                  </a:lnTo>
                  <a:lnTo>
                    <a:pt x="35" y="226"/>
                  </a:lnTo>
                  <a:lnTo>
                    <a:pt x="45" y="236"/>
                  </a:lnTo>
                  <a:lnTo>
                    <a:pt x="55" y="245"/>
                  </a:lnTo>
                  <a:lnTo>
                    <a:pt x="67" y="253"/>
                  </a:lnTo>
                  <a:lnTo>
                    <a:pt x="79" y="259"/>
                  </a:lnTo>
                  <a:lnTo>
                    <a:pt x="93" y="265"/>
                  </a:lnTo>
                  <a:lnTo>
                    <a:pt x="106" y="269"/>
                  </a:lnTo>
                  <a:lnTo>
                    <a:pt x="120" y="273"/>
                  </a:lnTo>
                  <a:lnTo>
                    <a:pt x="136" y="275"/>
                  </a:lnTo>
                  <a:lnTo>
                    <a:pt x="152" y="275"/>
                  </a:lnTo>
                  <a:lnTo>
                    <a:pt x="152" y="275"/>
                  </a:lnTo>
                  <a:lnTo>
                    <a:pt x="167" y="275"/>
                  </a:lnTo>
                  <a:lnTo>
                    <a:pt x="182" y="273"/>
                  </a:lnTo>
                  <a:lnTo>
                    <a:pt x="196" y="269"/>
                  </a:lnTo>
                  <a:lnTo>
                    <a:pt x="209" y="265"/>
                  </a:lnTo>
                  <a:lnTo>
                    <a:pt x="223" y="259"/>
                  </a:lnTo>
                  <a:lnTo>
                    <a:pt x="235" y="253"/>
                  </a:lnTo>
                  <a:lnTo>
                    <a:pt x="247" y="245"/>
                  </a:lnTo>
                  <a:lnTo>
                    <a:pt x="258" y="236"/>
                  </a:lnTo>
                  <a:lnTo>
                    <a:pt x="267" y="226"/>
                  </a:lnTo>
                  <a:lnTo>
                    <a:pt x="276" y="216"/>
                  </a:lnTo>
                  <a:lnTo>
                    <a:pt x="284" y="205"/>
                  </a:lnTo>
                  <a:lnTo>
                    <a:pt x="289" y="194"/>
                  </a:lnTo>
                  <a:lnTo>
                    <a:pt x="295" y="180"/>
                  </a:lnTo>
                  <a:lnTo>
                    <a:pt x="298" y="168"/>
                  </a:lnTo>
                  <a:lnTo>
                    <a:pt x="301" y="154"/>
                  </a:lnTo>
                  <a:lnTo>
                    <a:pt x="302" y="140"/>
                  </a:lnTo>
                  <a:lnTo>
                    <a:pt x="302" y="140"/>
                  </a:lnTo>
                  <a:lnTo>
                    <a:pt x="301" y="126"/>
                  </a:lnTo>
                  <a:lnTo>
                    <a:pt x="298" y="111"/>
                  </a:lnTo>
                  <a:lnTo>
                    <a:pt x="295" y="98"/>
                  </a:lnTo>
                  <a:lnTo>
                    <a:pt x="289" y="86"/>
                  </a:lnTo>
                  <a:lnTo>
                    <a:pt x="284" y="74"/>
                  </a:lnTo>
                  <a:lnTo>
                    <a:pt x="276" y="62"/>
                  </a:lnTo>
                  <a:lnTo>
                    <a:pt x="267" y="51"/>
                  </a:lnTo>
                  <a:lnTo>
                    <a:pt x="258" y="41"/>
                  </a:lnTo>
                  <a:lnTo>
                    <a:pt x="247" y="32"/>
                  </a:lnTo>
                  <a:lnTo>
                    <a:pt x="235" y="25"/>
                  </a:lnTo>
                  <a:lnTo>
                    <a:pt x="223" y="17"/>
                  </a:lnTo>
                  <a:lnTo>
                    <a:pt x="209" y="11"/>
                  </a:lnTo>
                  <a:lnTo>
                    <a:pt x="196" y="7"/>
                  </a:lnTo>
                  <a:lnTo>
                    <a:pt x="182" y="4"/>
                  </a:lnTo>
                  <a:lnTo>
                    <a:pt x="167" y="1"/>
                  </a:lnTo>
                  <a:lnTo>
                    <a:pt x="152" y="0"/>
                  </a:lnTo>
                  <a:lnTo>
                    <a:pt x="15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18" name="Gruppieren 217">
            <a:extLst>
              <a:ext uri="{FF2B5EF4-FFF2-40B4-BE49-F238E27FC236}">
                <a16:creationId xmlns:a16="http://schemas.microsoft.com/office/drawing/2014/main" id="{CA539630-59E7-4007-ADA3-D11B415ED671}"/>
              </a:ext>
            </a:extLst>
          </p:cNvPr>
          <p:cNvGrpSpPr/>
          <p:nvPr/>
        </p:nvGrpSpPr>
        <p:grpSpPr>
          <a:xfrm>
            <a:off x="5064160" y="2721705"/>
            <a:ext cx="84396" cy="292258"/>
            <a:chOff x="5050555" y="3900314"/>
            <a:chExt cx="84396" cy="292258"/>
          </a:xfrm>
        </p:grpSpPr>
        <p:sp>
          <p:nvSpPr>
            <p:cNvPr id="219" name="Freeform 86">
              <a:extLst>
                <a:ext uri="{FF2B5EF4-FFF2-40B4-BE49-F238E27FC236}">
                  <a16:creationId xmlns:a16="http://schemas.microsoft.com/office/drawing/2014/main" id="{594C3C35-914A-4D0B-9F25-1B12E76323B4}"/>
                </a:ext>
              </a:extLst>
            </p:cNvPr>
            <p:cNvSpPr>
              <a:spLocks/>
            </p:cNvSpPr>
            <p:nvPr/>
          </p:nvSpPr>
          <p:spPr bwMode="auto">
            <a:xfrm>
              <a:off x="5050555" y="3900314"/>
              <a:ext cx="84396" cy="206300"/>
            </a:xfrm>
            <a:custGeom>
              <a:avLst/>
              <a:gdLst>
                <a:gd name="T0" fmla="*/ 165 w 328"/>
                <a:gd name="T1" fmla="*/ 0 h 789"/>
                <a:gd name="T2" fmla="*/ 131 w 328"/>
                <a:gd name="T3" fmla="*/ 2 h 789"/>
                <a:gd name="T4" fmla="*/ 100 w 328"/>
                <a:gd name="T5" fmla="*/ 10 h 789"/>
                <a:gd name="T6" fmla="*/ 72 w 328"/>
                <a:gd name="T7" fmla="*/ 21 h 789"/>
                <a:gd name="T8" fmla="*/ 48 w 328"/>
                <a:gd name="T9" fmla="*/ 38 h 789"/>
                <a:gd name="T10" fmla="*/ 28 w 328"/>
                <a:gd name="T11" fmla="*/ 59 h 789"/>
                <a:gd name="T12" fmla="*/ 13 w 328"/>
                <a:gd name="T13" fmla="*/ 83 h 789"/>
                <a:gd name="T14" fmla="*/ 3 w 328"/>
                <a:gd name="T15" fmla="*/ 112 h 789"/>
                <a:gd name="T16" fmla="*/ 0 w 328"/>
                <a:gd name="T17" fmla="*/ 145 h 789"/>
                <a:gd name="T18" fmla="*/ 0 w 328"/>
                <a:gd name="T19" fmla="*/ 152 h 789"/>
                <a:gd name="T20" fmla="*/ 80 w 328"/>
                <a:gd name="T21" fmla="*/ 733 h 789"/>
                <a:gd name="T22" fmla="*/ 81 w 328"/>
                <a:gd name="T23" fmla="*/ 738 h 789"/>
                <a:gd name="T24" fmla="*/ 86 w 328"/>
                <a:gd name="T25" fmla="*/ 750 h 789"/>
                <a:gd name="T26" fmla="*/ 97 w 328"/>
                <a:gd name="T27" fmla="*/ 765 h 789"/>
                <a:gd name="T28" fmla="*/ 120 w 328"/>
                <a:gd name="T29" fmla="*/ 780 h 789"/>
                <a:gd name="T30" fmla="*/ 149 w 328"/>
                <a:gd name="T31" fmla="*/ 788 h 789"/>
                <a:gd name="T32" fmla="*/ 165 w 328"/>
                <a:gd name="T33" fmla="*/ 789 h 789"/>
                <a:gd name="T34" fmla="*/ 195 w 328"/>
                <a:gd name="T35" fmla="*/ 786 h 789"/>
                <a:gd name="T36" fmla="*/ 220 w 328"/>
                <a:gd name="T37" fmla="*/ 774 h 789"/>
                <a:gd name="T38" fmla="*/ 238 w 328"/>
                <a:gd name="T39" fmla="*/ 755 h 789"/>
                <a:gd name="T40" fmla="*/ 244 w 328"/>
                <a:gd name="T41" fmla="*/ 744 h 789"/>
                <a:gd name="T42" fmla="*/ 246 w 328"/>
                <a:gd name="T43" fmla="*/ 733 h 789"/>
                <a:gd name="T44" fmla="*/ 328 w 328"/>
                <a:gd name="T45" fmla="*/ 159 h 789"/>
                <a:gd name="T46" fmla="*/ 328 w 328"/>
                <a:gd name="T47" fmla="*/ 145 h 789"/>
                <a:gd name="T48" fmla="*/ 327 w 328"/>
                <a:gd name="T49" fmla="*/ 130 h 789"/>
                <a:gd name="T50" fmla="*/ 320 w 328"/>
                <a:gd name="T51" fmla="*/ 100 h 789"/>
                <a:gd name="T52" fmla="*/ 308 w 328"/>
                <a:gd name="T53" fmla="*/ 73 h 789"/>
                <a:gd name="T54" fmla="*/ 290 w 328"/>
                <a:gd name="T55" fmla="*/ 50 h 789"/>
                <a:gd name="T56" fmla="*/ 269 w 328"/>
                <a:gd name="T57" fmla="*/ 31 h 789"/>
                <a:gd name="T58" fmla="*/ 242 w 328"/>
                <a:gd name="T59" fmla="*/ 15 h 789"/>
                <a:gd name="T60" fmla="*/ 213 w 328"/>
                <a:gd name="T61" fmla="*/ 5 h 789"/>
                <a:gd name="T62" fmla="*/ 181 w 328"/>
                <a:gd name="T63" fmla="*/ 0 h 789"/>
                <a:gd name="T64" fmla="*/ 165 w 328"/>
                <a:gd name="T65"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789">
                  <a:moveTo>
                    <a:pt x="165" y="0"/>
                  </a:moveTo>
                  <a:lnTo>
                    <a:pt x="165" y="0"/>
                  </a:lnTo>
                  <a:lnTo>
                    <a:pt x="148" y="0"/>
                  </a:lnTo>
                  <a:lnTo>
                    <a:pt x="131" y="2"/>
                  </a:lnTo>
                  <a:lnTo>
                    <a:pt x="116" y="5"/>
                  </a:lnTo>
                  <a:lnTo>
                    <a:pt x="100" y="10"/>
                  </a:lnTo>
                  <a:lnTo>
                    <a:pt x="86" y="14"/>
                  </a:lnTo>
                  <a:lnTo>
                    <a:pt x="72" y="21"/>
                  </a:lnTo>
                  <a:lnTo>
                    <a:pt x="60" y="29"/>
                  </a:lnTo>
                  <a:lnTo>
                    <a:pt x="48" y="38"/>
                  </a:lnTo>
                  <a:lnTo>
                    <a:pt x="38" y="48"/>
                  </a:lnTo>
                  <a:lnTo>
                    <a:pt x="28" y="59"/>
                  </a:lnTo>
                  <a:lnTo>
                    <a:pt x="20" y="71"/>
                  </a:lnTo>
                  <a:lnTo>
                    <a:pt x="13" y="83"/>
                  </a:lnTo>
                  <a:lnTo>
                    <a:pt x="8" y="98"/>
                  </a:lnTo>
                  <a:lnTo>
                    <a:pt x="3" y="112"/>
                  </a:lnTo>
                  <a:lnTo>
                    <a:pt x="1" y="129"/>
                  </a:lnTo>
                  <a:lnTo>
                    <a:pt x="0" y="145"/>
                  </a:lnTo>
                  <a:lnTo>
                    <a:pt x="0" y="145"/>
                  </a:lnTo>
                  <a:lnTo>
                    <a:pt x="0" y="152"/>
                  </a:lnTo>
                  <a:lnTo>
                    <a:pt x="0" y="159"/>
                  </a:lnTo>
                  <a:lnTo>
                    <a:pt x="80" y="733"/>
                  </a:lnTo>
                  <a:lnTo>
                    <a:pt x="80" y="733"/>
                  </a:lnTo>
                  <a:lnTo>
                    <a:pt x="81" y="738"/>
                  </a:lnTo>
                  <a:lnTo>
                    <a:pt x="83" y="744"/>
                  </a:lnTo>
                  <a:lnTo>
                    <a:pt x="86" y="750"/>
                  </a:lnTo>
                  <a:lnTo>
                    <a:pt x="89" y="755"/>
                  </a:lnTo>
                  <a:lnTo>
                    <a:pt x="97" y="765"/>
                  </a:lnTo>
                  <a:lnTo>
                    <a:pt x="108" y="774"/>
                  </a:lnTo>
                  <a:lnTo>
                    <a:pt x="120" y="780"/>
                  </a:lnTo>
                  <a:lnTo>
                    <a:pt x="133" y="786"/>
                  </a:lnTo>
                  <a:lnTo>
                    <a:pt x="149" y="788"/>
                  </a:lnTo>
                  <a:lnTo>
                    <a:pt x="165" y="789"/>
                  </a:lnTo>
                  <a:lnTo>
                    <a:pt x="165" y="789"/>
                  </a:lnTo>
                  <a:lnTo>
                    <a:pt x="180" y="788"/>
                  </a:lnTo>
                  <a:lnTo>
                    <a:pt x="195" y="786"/>
                  </a:lnTo>
                  <a:lnTo>
                    <a:pt x="208" y="780"/>
                  </a:lnTo>
                  <a:lnTo>
                    <a:pt x="220" y="774"/>
                  </a:lnTo>
                  <a:lnTo>
                    <a:pt x="230" y="765"/>
                  </a:lnTo>
                  <a:lnTo>
                    <a:pt x="238" y="755"/>
                  </a:lnTo>
                  <a:lnTo>
                    <a:pt x="241" y="750"/>
                  </a:lnTo>
                  <a:lnTo>
                    <a:pt x="244" y="744"/>
                  </a:lnTo>
                  <a:lnTo>
                    <a:pt x="245" y="738"/>
                  </a:lnTo>
                  <a:lnTo>
                    <a:pt x="246" y="733"/>
                  </a:lnTo>
                  <a:lnTo>
                    <a:pt x="328" y="159"/>
                  </a:lnTo>
                  <a:lnTo>
                    <a:pt x="328" y="159"/>
                  </a:lnTo>
                  <a:lnTo>
                    <a:pt x="328" y="152"/>
                  </a:lnTo>
                  <a:lnTo>
                    <a:pt x="328" y="145"/>
                  </a:lnTo>
                  <a:lnTo>
                    <a:pt x="328" y="145"/>
                  </a:lnTo>
                  <a:lnTo>
                    <a:pt x="327" y="130"/>
                  </a:lnTo>
                  <a:lnTo>
                    <a:pt x="325" y="114"/>
                  </a:lnTo>
                  <a:lnTo>
                    <a:pt x="320" y="100"/>
                  </a:lnTo>
                  <a:lnTo>
                    <a:pt x="315" y="85"/>
                  </a:lnTo>
                  <a:lnTo>
                    <a:pt x="308" y="73"/>
                  </a:lnTo>
                  <a:lnTo>
                    <a:pt x="300" y="61"/>
                  </a:lnTo>
                  <a:lnTo>
                    <a:pt x="290" y="50"/>
                  </a:lnTo>
                  <a:lnTo>
                    <a:pt x="280" y="40"/>
                  </a:lnTo>
                  <a:lnTo>
                    <a:pt x="269" y="31"/>
                  </a:lnTo>
                  <a:lnTo>
                    <a:pt x="256" y="23"/>
                  </a:lnTo>
                  <a:lnTo>
                    <a:pt x="242" y="15"/>
                  </a:lnTo>
                  <a:lnTo>
                    <a:pt x="228" y="10"/>
                  </a:lnTo>
                  <a:lnTo>
                    <a:pt x="213" y="5"/>
                  </a:lnTo>
                  <a:lnTo>
                    <a:pt x="198" y="2"/>
                  </a:lnTo>
                  <a:lnTo>
                    <a:pt x="181" y="0"/>
                  </a:lnTo>
                  <a:lnTo>
                    <a:pt x="165" y="0"/>
                  </a:lnTo>
                  <a:lnTo>
                    <a:pt x="165"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0" name="Freeform 87">
              <a:extLst>
                <a:ext uri="{FF2B5EF4-FFF2-40B4-BE49-F238E27FC236}">
                  <a16:creationId xmlns:a16="http://schemas.microsoft.com/office/drawing/2014/main" id="{02928ABE-B6A5-4B2D-A0C0-C55A126E40AD}"/>
                </a:ext>
              </a:extLst>
            </p:cNvPr>
            <p:cNvSpPr>
              <a:spLocks/>
            </p:cNvSpPr>
            <p:nvPr/>
          </p:nvSpPr>
          <p:spPr bwMode="auto">
            <a:xfrm>
              <a:off x="5053681" y="4120679"/>
              <a:ext cx="78144" cy="71893"/>
            </a:xfrm>
            <a:custGeom>
              <a:avLst/>
              <a:gdLst>
                <a:gd name="T0" fmla="*/ 152 w 302"/>
                <a:gd name="T1" fmla="*/ 0 h 275"/>
                <a:gd name="T2" fmla="*/ 120 w 302"/>
                <a:gd name="T3" fmla="*/ 4 h 275"/>
                <a:gd name="T4" fmla="*/ 93 w 302"/>
                <a:gd name="T5" fmla="*/ 11 h 275"/>
                <a:gd name="T6" fmla="*/ 67 w 302"/>
                <a:gd name="T7" fmla="*/ 25 h 275"/>
                <a:gd name="T8" fmla="*/ 45 w 302"/>
                <a:gd name="T9" fmla="*/ 41 h 275"/>
                <a:gd name="T10" fmla="*/ 26 w 302"/>
                <a:gd name="T11" fmla="*/ 62 h 275"/>
                <a:gd name="T12" fmla="*/ 13 w 302"/>
                <a:gd name="T13" fmla="*/ 86 h 275"/>
                <a:gd name="T14" fmla="*/ 4 w 302"/>
                <a:gd name="T15" fmla="*/ 111 h 275"/>
                <a:gd name="T16" fmla="*/ 0 w 302"/>
                <a:gd name="T17" fmla="*/ 140 h 275"/>
                <a:gd name="T18" fmla="*/ 1 w 302"/>
                <a:gd name="T19" fmla="*/ 154 h 275"/>
                <a:gd name="T20" fmla="*/ 7 w 302"/>
                <a:gd name="T21" fmla="*/ 180 h 275"/>
                <a:gd name="T22" fmla="*/ 19 w 302"/>
                <a:gd name="T23" fmla="*/ 205 h 275"/>
                <a:gd name="T24" fmla="*/ 35 w 302"/>
                <a:gd name="T25" fmla="*/ 226 h 275"/>
                <a:gd name="T26" fmla="*/ 55 w 302"/>
                <a:gd name="T27" fmla="*/ 245 h 275"/>
                <a:gd name="T28" fmla="*/ 79 w 302"/>
                <a:gd name="T29" fmla="*/ 259 h 275"/>
                <a:gd name="T30" fmla="*/ 106 w 302"/>
                <a:gd name="T31" fmla="*/ 269 h 275"/>
                <a:gd name="T32" fmla="*/ 136 w 302"/>
                <a:gd name="T33" fmla="*/ 275 h 275"/>
                <a:gd name="T34" fmla="*/ 152 w 302"/>
                <a:gd name="T35" fmla="*/ 275 h 275"/>
                <a:gd name="T36" fmla="*/ 182 w 302"/>
                <a:gd name="T37" fmla="*/ 273 h 275"/>
                <a:gd name="T38" fmla="*/ 209 w 302"/>
                <a:gd name="T39" fmla="*/ 265 h 275"/>
                <a:gd name="T40" fmla="*/ 235 w 302"/>
                <a:gd name="T41" fmla="*/ 253 h 275"/>
                <a:gd name="T42" fmla="*/ 258 w 302"/>
                <a:gd name="T43" fmla="*/ 236 h 275"/>
                <a:gd name="T44" fmla="*/ 276 w 302"/>
                <a:gd name="T45" fmla="*/ 216 h 275"/>
                <a:gd name="T46" fmla="*/ 289 w 302"/>
                <a:gd name="T47" fmla="*/ 194 h 275"/>
                <a:gd name="T48" fmla="*/ 298 w 302"/>
                <a:gd name="T49" fmla="*/ 168 h 275"/>
                <a:gd name="T50" fmla="*/ 302 w 302"/>
                <a:gd name="T51" fmla="*/ 140 h 275"/>
                <a:gd name="T52" fmla="*/ 301 w 302"/>
                <a:gd name="T53" fmla="*/ 126 h 275"/>
                <a:gd name="T54" fmla="*/ 295 w 302"/>
                <a:gd name="T55" fmla="*/ 98 h 275"/>
                <a:gd name="T56" fmla="*/ 284 w 302"/>
                <a:gd name="T57" fmla="*/ 74 h 275"/>
                <a:gd name="T58" fmla="*/ 267 w 302"/>
                <a:gd name="T59" fmla="*/ 51 h 275"/>
                <a:gd name="T60" fmla="*/ 247 w 302"/>
                <a:gd name="T61" fmla="*/ 32 h 275"/>
                <a:gd name="T62" fmla="*/ 223 w 302"/>
                <a:gd name="T63" fmla="*/ 17 h 275"/>
                <a:gd name="T64" fmla="*/ 196 w 302"/>
                <a:gd name="T65" fmla="*/ 7 h 275"/>
                <a:gd name="T66" fmla="*/ 167 w 302"/>
                <a:gd name="T67" fmla="*/ 1 h 275"/>
                <a:gd name="T68" fmla="*/ 152 w 302"/>
                <a:gd name="T6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275">
                  <a:moveTo>
                    <a:pt x="152" y="0"/>
                  </a:moveTo>
                  <a:lnTo>
                    <a:pt x="152" y="0"/>
                  </a:lnTo>
                  <a:lnTo>
                    <a:pt x="136" y="1"/>
                  </a:lnTo>
                  <a:lnTo>
                    <a:pt x="120" y="4"/>
                  </a:lnTo>
                  <a:lnTo>
                    <a:pt x="106" y="7"/>
                  </a:lnTo>
                  <a:lnTo>
                    <a:pt x="93" y="11"/>
                  </a:lnTo>
                  <a:lnTo>
                    <a:pt x="79" y="17"/>
                  </a:lnTo>
                  <a:lnTo>
                    <a:pt x="67" y="25"/>
                  </a:lnTo>
                  <a:lnTo>
                    <a:pt x="55" y="32"/>
                  </a:lnTo>
                  <a:lnTo>
                    <a:pt x="45" y="41"/>
                  </a:lnTo>
                  <a:lnTo>
                    <a:pt x="35" y="51"/>
                  </a:lnTo>
                  <a:lnTo>
                    <a:pt x="26" y="62"/>
                  </a:lnTo>
                  <a:lnTo>
                    <a:pt x="19" y="74"/>
                  </a:lnTo>
                  <a:lnTo>
                    <a:pt x="13" y="86"/>
                  </a:lnTo>
                  <a:lnTo>
                    <a:pt x="7" y="99"/>
                  </a:lnTo>
                  <a:lnTo>
                    <a:pt x="4" y="111"/>
                  </a:lnTo>
                  <a:lnTo>
                    <a:pt x="1" y="126"/>
                  </a:lnTo>
                  <a:lnTo>
                    <a:pt x="0" y="140"/>
                  </a:lnTo>
                  <a:lnTo>
                    <a:pt x="0" y="140"/>
                  </a:lnTo>
                  <a:lnTo>
                    <a:pt x="1" y="154"/>
                  </a:lnTo>
                  <a:lnTo>
                    <a:pt x="4" y="168"/>
                  </a:lnTo>
                  <a:lnTo>
                    <a:pt x="7" y="180"/>
                  </a:lnTo>
                  <a:lnTo>
                    <a:pt x="13" y="194"/>
                  </a:lnTo>
                  <a:lnTo>
                    <a:pt x="19" y="205"/>
                  </a:lnTo>
                  <a:lnTo>
                    <a:pt x="26" y="216"/>
                  </a:lnTo>
                  <a:lnTo>
                    <a:pt x="35" y="226"/>
                  </a:lnTo>
                  <a:lnTo>
                    <a:pt x="45" y="236"/>
                  </a:lnTo>
                  <a:lnTo>
                    <a:pt x="55" y="245"/>
                  </a:lnTo>
                  <a:lnTo>
                    <a:pt x="67" y="253"/>
                  </a:lnTo>
                  <a:lnTo>
                    <a:pt x="79" y="259"/>
                  </a:lnTo>
                  <a:lnTo>
                    <a:pt x="93" y="265"/>
                  </a:lnTo>
                  <a:lnTo>
                    <a:pt x="106" y="269"/>
                  </a:lnTo>
                  <a:lnTo>
                    <a:pt x="120" y="273"/>
                  </a:lnTo>
                  <a:lnTo>
                    <a:pt x="136" y="275"/>
                  </a:lnTo>
                  <a:lnTo>
                    <a:pt x="152" y="275"/>
                  </a:lnTo>
                  <a:lnTo>
                    <a:pt x="152" y="275"/>
                  </a:lnTo>
                  <a:lnTo>
                    <a:pt x="167" y="275"/>
                  </a:lnTo>
                  <a:lnTo>
                    <a:pt x="182" y="273"/>
                  </a:lnTo>
                  <a:lnTo>
                    <a:pt x="196" y="269"/>
                  </a:lnTo>
                  <a:lnTo>
                    <a:pt x="209" y="265"/>
                  </a:lnTo>
                  <a:lnTo>
                    <a:pt x="223" y="259"/>
                  </a:lnTo>
                  <a:lnTo>
                    <a:pt x="235" y="253"/>
                  </a:lnTo>
                  <a:lnTo>
                    <a:pt x="247" y="245"/>
                  </a:lnTo>
                  <a:lnTo>
                    <a:pt x="258" y="236"/>
                  </a:lnTo>
                  <a:lnTo>
                    <a:pt x="267" y="226"/>
                  </a:lnTo>
                  <a:lnTo>
                    <a:pt x="276" y="216"/>
                  </a:lnTo>
                  <a:lnTo>
                    <a:pt x="284" y="205"/>
                  </a:lnTo>
                  <a:lnTo>
                    <a:pt x="289" y="194"/>
                  </a:lnTo>
                  <a:lnTo>
                    <a:pt x="295" y="180"/>
                  </a:lnTo>
                  <a:lnTo>
                    <a:pt x="298" y="168"/>
                  </a:lnTo>
                  <a:lnTo>
                    <a:pt x="301" y="154"/>
                  </a:lnTo>
                  <a:lnTo>
                    <a:pt x="302" y="140"/>
                  </a:lnTo>
                  <a:lnTo>
                    <a:pt x="302" y="140"/>
                  </a:lnTo>
                  <a:lnTo>
                    <a:pt x="301" y="126"/>
                  </a:lnTo>
                  <a:lnTo>
                    <a:pt x="298" y="111"/>
                  </a:lnTo>
                  <a:lnTo>
                    <a:pt x="295" y="98"/>
                  </a:lnTo>
                  <a:lnTo>
                    <a:pt x="289" y="86"/>
                  </a:lnTo>
                  <a:lnTo>
                    <a:pt x="284" y="74"/>
                  </a:lnTo>
                  <a:lnTo>
                    <a:pt x="276" y="62"/>
                  </a:lnTo>
                  <a:lnTo>
                    <a:pt x="267" y="51"/>
                  </a:lnTo>
                  <a:lnTo>
                    <a:pt x="258" y="41"/>
                  </a:lnTo>
                  <a:lnTo>
                    <a:pt x="247" y="32"/>
                  </a:lnTo>
                  <a:lnTo>
                    <a:pt x="235" y="25"/>
                  </a:lnTo>
                  <a:lnTo>
                    <a:pt x="223" y="17"/>
                  </a:lnTo>
                  <a:lnTo>
                    <a:pt x="209" y="11"/>
                  </a:lnTo>
                  <a:lnTo>
                    <a:pt x="196" y="7"/>
                  </a:lnTo>
                  <a:lnTo>
                    <a:pt x="182" y="4"/>
                  </a:lnTo>
                  <a:lnTo>
                    <a:pt x="167" y="1"/>
                  </a:lnTo>
                  <a:lnTo>
                    <a:pt x="152" y="0"/>
                  </a:lnTo>
                  <a:lnTo>
                    <a:pt x="152"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98" name="Ellipse 297">
            <a:extLst>
              <a:ext uri="{FF2B5EF4-FFF2-40B4-BE49-F238E27FC236}">
                <a16:creationId xmlns:a16="http://schemas.microsoft.com/office/drawing/2014/main" id="{30E8A53D-61C0-4DF9-8277-1BD776732F22}"/>
              </a:ext>
            </a:extLst>
          </p:cNvPr>
          <p:cNvSpPr/>
          <p:nvPr/>
        </p:nvSpPr>
        <p:spPr bwMode="auto">
          <a:xfrm>
            <a:off x="4874609"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grpSp>
        <p:nvGrpSpPr>
          <p:cNvPr id="334" name="Gruppieren 333">
            <a:extLst>
              <a:ext uri="{FF2B5EF4-FFF2-40B4-BE49-F238E27FC236}">
                <a16:creationId xmlns:a16="http://schemas.microsoft.com/office/drawing/2014/main" id="{878423D0-F099-4F89-A0C9-354E1D781083}"/>
              </a:ext>
            </a:extLst>
          </p:cNvPr>
          <p:cNvGrpSpPr/>
          <p:nvPr/>
        </p:nvGrpSpPr>
        <p:grpSpPr>
          <a:xfrm>
            <a:off x="5064160" y="3967598"/>
            <a:ext cx="84396" cy="292258"/>
            <a:chOff x="5050555" y="3900314"/>
            <a:chExt cx="84396" cy="292258"/>
          </a:xfrm>
          <a:solidFill>
            <a:schemeClr val="bg1"/>
          </a:solidFill>
        </p:grpSpPr>
        <p:sp>
          <p:nvSpPr>
            <p:cNvPr id="335" name="Freeform 86">
              <a:extLst>
                <a:ext uri="{FF2B5EF4-FFF2-40B4-BE49-F238E27FC236}">
                  <a16:creationId xmlns:a16="http://schemas.microsoft.com/office/drawing/2014/main" id="{112B7AEC-26D9-426C-B94C-20C63FB88D6F}"/>
                </a:ext>
              </a:extLst>
            </p:cNvPr>
            <p:cNvSpPr>
              <a:spLocks/>
            </p:cNvSpPr>
            <p:nvPr/>
          </p:nvSpPr>
          <p:spPr bwMode="auto">
            <a:xfrm>
              <a:off x="5050555" y="3900314"/>
              <a:ext cx="84396" cy="206300"/>
            </a:xfrm>
            <a:custGeom>
              <a:avLst/>
              <a:gdLst>
                <a:gd name="T0" fmla="*/ 165 w 328"/>
                <a:gd name="T1" fmla="*/ 0 h 789"/>
                <a:gd name="T2" fmla="*/ 131 w 328"/>
                <a:gd name="T3" fmla="*/ 2 h 789"/>
                <a:gd name="T4" fmla="*/ 100 w 328"/>
                <a:gd name="T5" fmla="*/ 10 h 789"/>
                <a:gd name="T6" fmla="*/ 72 w 328"/>
                <a:gd name="T7" fmla="*/ 21 h 789"/>
                <a:gd name="T8" fmla="*/ 48 w 328"/>
                <a:gd name="T9" fmla="*/ 38 h 789"/>
                <a:gd name="T10" fmla="*/ 28 w 328"/>
                <a:gd name="T11" fmla="*/ 59 h 789"/>
                <a:gd name="T12" fmla="*/ 13 w 328"/>
                <a:gd name="T13" fmla="*/ 83 h 789"/>
                <a:gd name="T14" fmla="*/ 3 w 328"/>
                <a:gd name="T15" fmla="*/ 112 h 789"/>
                <a:gd name="T16" fmla="*/ 0 w 328"/>
                <a:gd name="T17" fmla="*/ 145 h 789"/>
                <a:gd name="T18" fmla="*/ 0 w 328"/>
                <a:gd name="T19" fmla="*/ 152 h 789"/>
                <a:gd name="T20" fmla="*/ 80 w 328"/>
                <a:gd name="T21" fmla="*/ 733 h 789"/>
                <a:gd name="T22" fmla="*/ 81 w 328"/>
                <a:gd name="T23" fmla="*/ 738 h 789"/>
                <a:gd name="T24" fmla="*/ 86 w 328"/>
                <a:gd name="T25" fmla="*/ 750 h 789"/>
                <a:gd name="T26" fmla="*/ 97 w 328"/>
                <a:gd name="T27" fmla="*/ 765 h 789"/>
                <a:gd name="T28" fmla="*/ 120 w 328"/>
                <a:gd name="T29" fmla="*/ 780 h 789"/>
                <a:gd name="T30" fmla="*/ 149 w 328"/>
                <a:gd name="T31" fmla="*/ 788 h 789"/>
                <a:gd name="T32" fmla="*/ 165 w 328"/>
                <a:gd name="T33" fmla="*/ 789 h 789"/>
                <a:gd name="T34" fmla="*/ 195 w 328"/>
                <a:gd name="T35" fmla="*/ 786 h 789"/>
                <a:gd name="T36" fmla="*/ 220 w 328"/>
                <a:gd name="T37" fmla="*/ 774 h 789"/>
                <a:gd name="T38" fmla="*/ 238 w 328"/>
                <a:gd name="T39" fmla="*/ 755 h 789"/>
                <a:gd name="T40" fmla="*/ 244 w 328"/>
                <a:gd name="T41" fmla="*/ 744 h 789"/>
                <a:gd name="T42" fmla="*/ 246 w 328"/>
                <a:gd name="T43" fmla="*/ 733 h 789"/>
                <a:gd name="T44" fmla="*/ 328 w 328"/>
                <a:gd name="T45" fmla="*/ 159 h 789"/>
                <a:gd name="T46" fmla="*/ 328 w 328"/>
                <a:gd name="T47" fmla="*/ 145 h 789"/>
                <a:gd name="T48" fmla="*/ 327 w 328"/>
                <a:gd name="T49" fmla="*/ 130 h 789"/>
                <a:gd name="T50" fmla="*/ 320 w 328"/>
                <a:gd name="T51" fmla="*/ 100 h 789"/>
                <a:gd name="T52" fmla="*/ 308 w 328"/>
                <a:gd name="T53" fmla="*/ 73 h 789"/>
                <a:gd name="T54" fmla="*/ 290 w 328"/>
                <a:gd name="T55" fmla="*/ 50 h 789"/>
                <a:gd name="T56" fmla="*/ 269 w 328"/>
                <a:gd name="T57" fmla="*/ 31 h 789"/>
                <a:gd name="T58" fmla="*/ 242 w 328"/>
                <a:gd name="T59" fmla="*/ 15 h 789"/>
                <a:gd name="T60" fmla="*/ 213 w 328"/>
                <a:gd name="T61" fmla="*/ 5 h 789"/>
                <a:gd name="T62" fmla="*/ 181 w 328"/>
                <a:gd name="T63" fmla="*/ 0 h 789"/>
                <a:gd name="T64" fmla="*/ 165 w 328"/>
                <a:gd name="T65"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789">
                  <a:moveTo>
                    <a:pt x="165" y="0"/>
                  </a:moveTo>
                  <a:lnTo>
                    <a:pt x="165" y="0"/>
                  </a:lnTo>
                  <a:lnTo>
                    <a:pt x="148" y="0"/>
                  </a:lnTo>
                  <a:lnTo>
                    <a:pt x="131" y="2"/>
                  </a:lnTo>
                  <a:lnTo>
                    <a:pt x="116" y="5"/>
                  </a:lnTo>
                  <a:lnTo>
                    <a:pt x="100" y="10"/>
                  </a:lnTo>
                  <a:lnTo>
                    <a:pt x="86" y="14"/>
                  </a:lnTo>
                  <a:lnTo>
                    <a:pt x="72" y="21"/>
                  </a:lnTo>
                  <a:lnTo>
                    <a:pt x="60" y="29"/>
                  </a:lnTo>
                  <a:lnTo>
                    <a:pt x="48" y="38"/>
                  </a:lnTo>
                  <a:lnTo>
                    <a:pt x="38" y="48"/>
                  </a:lnTo>
                  <a:lnTo>
                    <a:pt x="28" y="59"/>
                  </a:lnTo>
                  <a:lnTo>
                    <a:pt x="20" y="71"/>
                  </a:lnTo>
                  <a:lnTo>
                    <a:pt x="13" y="83"/>
                  </a:lnTo>
                  <a:lnTo>
                    <a:pt x="8" y="98"/>
                  </a:lnTo>
                  <a:lnTo>
                    <a:pt x="3" y="112"/>
                  </a:lnTo>
                  <a:lnTo>
                    <a:pt x="1" y="129"/>
                  </a:lnTo>
                  <a:lnTo>
                    <a:pt x="0" y="145"/>
                  </a:lnTo>
                  <a:lnTo>
                    <a:pt x="0" y="145"/>
                  </a:lnTo>
                  <a:lnTo>
                    <a:pt x="0" y="152"/>
                  </a:lnTo>
                  <a:lnTo>
                    <a:pt x="0" y="159"/>
                  </a:lnTo>
                  <a:lnTo>
                    <a:pt x="80" y="733"/>
                  </a:lnTo>
                  <a:lnTo>
                    <a:pt x="80" y="733"/>
                  </a:lnTo>
                  <a:lnTo>
                    <a:pt x="81" y="738"/>
                  </a:lnTo>
                  <a:lnTo>
                    <a:pt x="83" y="744"/>
                  </a:lnTo>
                  <a:lnTo>
                    <a:pt x="86" y="750"/>
                  </a:lnTo>
                  <a:lnTo>
                    <a:pt x="89" y="755"/>
                  </a:lnTo>
                  <a:lnTo>
                    <a:pt x="97" y="765"/>
                  </a:lnTo>
                  <a:lnTo>
                    <a:pt x="108" y="774"/>
                  </a:lnTo>
                  <a:lnTo>
                    <a:pt x="120" y="780"/>
                  </a:lnTo>
                  <a:lnTo>
                    <a:pt x="133" y="786"/>
                  </a:lnTo>
                  <a:lnTo>
                    <a:pt x="149" y="788"/>
                  </a:lnTo>
                  <a:lnTo>
                    <a:pt x="165" y="789"/>
                  </a:lnTo>
                  <a:lnTo>
                    <a:pt x="165" y="789"/>
                  </a:lnTo>
                  <a:lnTo>
                    <a:pt x="180" y="788"/>
                  </a:lnTo>
                  <a:lnTo>
                    <a:pt x="195" y="786"/>
                  </a:lnTo>
                  <a:lnTo>
                    <a:pt x="208" y="780"/>
                  </a:lnTo>
                  <a:lnTo>
                    <a:pt x="220" y="774"/>
                  </a:lnTo>
                  <a:lnTo>
                    <a:pt x="230" y="765"/>
                  </a:lnTo>
                  <a:lnTo>
                    <a:pt x="238" y="755"/>
                  </a:lnTo>
                  <a:lnTo>
                    <a:pt x="241" y="750"/>
                  </a:lnTo>
                  <a:lnTo>
                    <a:pt x="244" y="744"/>
                  </a:lnTo>
                  <a:lnTo>
                    <a:pt x="245" y="738"/>
                  </a:lnTo>
                  <a:lnTo>
                    <a:pt x="246" y="733"/>
                  </a:lnTo>
                  <a:lnTo>
                    <a:pt x="328" y="159"/>
                  </a:lnTo>
                  <a:lnTo>
                    <a:pt x="328" y="159"/>
                  </a:lnTo>
                  <a:lnTo>
                    <a:pt x="328" y="152"/>
                  </a:lnTo>
                  <a:lnTo>
                    <a:pt x="328" y="145"/>
                  </a:lnTo>
                  <a:lnTo>
                    <a:pt x="328" y="145"/>
                  </a:lnTo>
                  <a:lnTo>
                    <a:pt x="327" y="130"/>
                  </a:lnTo>
                  <a:lnTo>
                    <a:pt x="325" y="114"/>
                  </a:lnTo>
                  <a:lnTo>
                    <a:pt x="320" y="100"/>
                  </a:lnTo>
                  <a:lnTo>
                    <a:pt x="315" y="85"/>
                  </a:lnTo>
                  <a:lnTo>
                    <a:pt x="308" y="73"/>
                  </a:lnTo>
                  <a:lnTo>
                    <a:pt x="300" y="61"/>
                  </a:lnTo>
                  <a:lnTo>
                    <a:pt x="290" y="50"/>
                  </a:lnTo>
                  <a:lnTo>
                    <a:pt x="280" y="40"/>
                  </a:lnTo>
                  <a:lnTo>
                    <a:pt x="269" y="31"/>
                  </a:lnTo>
                  <a:lnTo>
                    <a:pt x="256" y="23"/>
                  </a:lnTo>
                  <a:lnTo>
                    <a:pt x="242" y="15"/>
                  </a:lnTo>
                  <a:lnTo>
                    <a:pt x="228" y="10"/>
                  </a:lnTo>
                  <a:lnTo>
                    <a:pt x="213" y="5"/>
                  </a:lnTo>
                  <a:lnTo>
                    <a:pt x="198" y="2"/>
                  </a:lnTo>
                  <a:lnTo>
                    <a:pt x="181"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36" name="Freeform 87">
              <a:extLst>
                <a:ext uri="{FF2B5EF4-FFF2-40B4-BE49-F238E27FC236}">
                  <a16:creationId xmlns:a16="http://schemas.microsoft.com/office/drawing/2014/main" id="{B7F1675D-26B6-47EF-BB88-3A817AD5F7C2}"/>
                </a:ext>
              </a:extLst>
            </p:cNvPr>
            <p:cNvSpPr>
              <a:spLocks/>
            </p:cNvSpPr>
            <p:nvPr/>
          </p:nvSpPr>
          <p:spPr bwMode="auto">
            <a:xfrm>
              <a:off x="5053681" y="4120679"/>
              <a:ext cx="78144" cy="71893"/>
            </a:xfrm>
            <a:custGeom>
              <a:avLst/>
              <a:gdLst>
                <a:gd name="T0" fmla="*/ 152 w 302"/>
                <a:gd name="T1" fmla="*/ 0 h 275"/>
                <a:gd name="T2" fmla="*/ 120 w 302"/>
                <a:gd name="T3" fmla="*/ 4 h 275"/>
                <a:gd name="T4" fmla="*/ 93 w 302"/>
                <a:gd name="T5" fmla="*/ 11 h 275"/>
                <a:gd name="T6" fmla="*/ 67 w 302"/>
                <a:gd name="T7" fmla="*/ 25 h 275"/>
                <a:gd name="T8" fmla="*/ 45 w 302"/>
                <a:gd name="T9" fmla="*/ 41 h 275"/>
                <a:gd name="T10" fmla="*/ 26 w 302"/>
                <a:gd name="T11" fmla="*/ 62 h 275"/>
                <a:gd name="T12" fmla="*/ 13 w 302"/>
                <a:gd name="T13" fmla="*/ 86 h 275"/>
                <a:gd name="T14" fmla="*/ 4 w 302"/>
                <a:gd name="T15" fmla="*/ 111 h 275"/>
                <a:gd name="T16" fmla="*/ 0 w 302"/>
                <a:gd name="T17" fmla="*/ 140 h 275"/>
                <a:gd name="T18" fmla="*/ 1 w 302"/>
                <a:gd name="T19" fmla="*/ 154 h 275"/>
                <a:gd name="T20" fmla="*/ 7 w 302"/>
                <a:gd name="T21" fmla="*/ 180 h 275"/>
                <a:gd name="T22" fmla="*/ 19 w 302"/>
                <a:gd name="T23" fmla="*/ 205 h 275"/>
                <a:gd name="T24" fmla="*/ 35 w 302"/>
                <a:gd name="T25" fmla="*/ 226 h 275"/>
                <a:gd name="T26" fmla="*/ 55 w 302"/>
                <a:gd name="T27" fmla="*/ 245 h 275"/>
                <a:gd name="T28" fmla="*/ 79 w 302"/>
                <a:gd name="T29" fmla="*/ 259 h 275"/>
                <a:gd name="T30" fmla="*/ 106 w 302"/>
                <a:gd name="T31" fmla="*/ 269 h 275"/>
                <a:gd name="T32" fmla="*/ 136 w 302"/>
                <a:gd name="T33" fmla="*/ 275 h 275"/>
                <a:gd name="T34" fmla="*/ 152 w 302"/>
                <a:gd name="T35" fmla="*/ 275 h 275"/>
                <a:gd name="T36" fmla="*/ 182 w 302"/>
                <a:gd name="T37" fmla="*/ 273 h 275"/>
                <a:gd name="T38" fmla="*/ 209 w 302"/>
                <a:gd name="T39" fmla="*/ 265 h 275"/>
                <a:gd name="T40" fmla="*/ 235 w 302"/>
                <a:gd name="T41" fmla="*/ 253 h 275"/>
                <a:gd name="T42" fmla="*/ 258 w 302"/>
                <a:gd name="T43" fmla="*/ 236 h 275"/>
                <a:gd name="T44" fmla="*/ 276 w 302"/>
                <a:gd name="T45" fmla="*/ 216 h 275"/>
                <a:gd name="T46" fmla="*/ 289 w 302"/>
                <a:gd name="T47" fmla="*/ 194 h 275"/>
                <a:gd name="T48" fmla="*/ 298 w 302"/>
                <a:gd name="T49" fmla="*/ 168 h 275"/>
                <a:gd name="T50" fmla="*/ 302 w 302"/>
                <a:gd name="T51" fmla="*/ 140 h 275"/>
                <a:gd name="T52" fmla="*/ 301 w 302"/>
                <a:gd name="T53" fmla="*/ 126 h 275"/>
                <a:gd name="T54" fmla="*/ 295 w 302"/>
                <a:gd name="T55" fmla="*/ 98 h 275"/>
                <a:gd name="T56" fmla="*/ 284 w 302"/>
                <a:gd name="T57" fmla="*/ 74 h 275"/>
                <a:gd name="T58" fmla="*/ 267 w 302"/>
                <a:gd name="T59" fmla="*/ 51 h 275"/>
                <a:gd name="T60" fmla="*/ 247 w 302"/>
                <a:gd name="T61" fmla="*/ 32 h 275"/>
                <a:gd name="T62" fmla="*/ 223 w 302"/>
                <a:gd name="T63" fmla="*/ 17 h 275"/>
                <a:gd name="T64" fmla="*/ 196 w 302"/>
                <a:gd name="T65" fmla="*/ 7 h 275"/>
                <a:gd name="T66" fmla="*/ 167 w 302"/>
                <a:gd name="T67" fmla="*/ 1 h 275"/>
                <a:gd name="T68" fmla="*/ 152 w 302"/>
                <a:gd name="T6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275">
                  <a:moveTo>
                    <a:pt x="152" y="0"/>
                  </a:moveTo>
                  <a:lnTo>
                    <a:pt x="152" y="0"/>
                  </a:lnTo>
                  <a:lnTo>
                    <a:pt x="136" y="1"/>
                  </a:lnTo>
                  <a:lnTo>
                    <a:pt x="120" y="4"/>
                  </a:lnTo>
                  <a:lnTo>
                    <a:pt x="106" y="7"/>
                  </a:lnTo>
                  <a:lnTo>
                    <a:pt x="93" y="11"/>
                  </a:lnTo>
                  <a:lnTo>
                    <a:pt x="79" y="17"/>
                  </a:lnTo>
                  <a:lnTo>
                    <a:pt x="67" y="25"/>
                  </a:lnTo>
                  <a:lnTo>
                    <a:pt x="55" y="32"/>
                  </a:lnTo>
                  <a:lnTo>
                    <a:pt x="45" y="41"/>
                  </a:lnTo>
                  <a:lnTo>
                    <a:pt x="35" y="51"/>
                  </a:lnTo>
                  <a:lnTo>
                    <a:pt x="26" y="62"/>
                  </a:lnTo>
                  <a:lnTo>
                    <a:pt x="19" y="74"/>
                  </a:lnTo>
                  <a:lnTo>
                    <a:pt x="13" y="86"/>
                  </a:lnTo>
                  <a:lnTo>
                    <a:pt x="7" y="99"/>
                  </a:lnTo>
                  <a:lnTo>
                    <a:pt x="4" y="111"/>
                  </a:lnTo>
                  <a:lnTo>
                    <a:pt x="1" y="126"/>
                  </a:lnTo>
                  <a:lnTo>
                    <a:pt x="0" y="140"/>
                  </a:lnTo>
                  <a:lnTo>
                    <a:pt x="0" y="140"/>
                  </a:lnTo>
                  <a:lnTo>
                    <a:pt x="1" y="154"/>
                  </a:lnTo>
                  <a:lnTo>
                    <a:pt x="4" y="168"/>
                  </a:lnTo>
                  <a:lnTo>
                    <a:pt x="7" y="180"/>
                  </a:lnTo>
                  <a:lnTo>
                    <a:pt x="13" y="194"/>
                  </a:lnTo>
                  <a:lnTo>
                    <a:pt x="19" y="205"/>
                  </a:lnTo>
                  <a:lnTo>
                    <a:pt x="26" y="216"/>
                  </a:lnTo>
                  <a:lnTo>
                    <a:pt x="35" y="226"/>
                  </a:lnTo>
                  <a:lnTo>
                    <a:pt x="45" y="236"/>
                  </a:lnTo>
                  <a:lnTo>
                    <a:pt x="55" y="245"/>
                  </a:lnTo>
                  <a:lnTo>
                    <a:pt x="67" y="253"/>
                  </a:lnTo>
                  <a:lnTo>
                    <a:pt x="79" y="259"/>
                  </a:lnTo>
                  <a:lnTo>
                    <a:pt x="93" y="265"/>
                  </a:lnTo>
                  <a:lnTo>
                    <a:pt x="106" y="269"/>
                  </a:lnTo>
                  <a:lnTo>
                    <a:pt x="120" y="273"/>
                  </a:lnTo>
                  <a:lnTo>
                    <a:pt x="136" y="275"/>
                  </a:lnTo>
                  <a:lnTo>
                    <a:pt x="152" y="275"/>
                  </a:lnTo>
                  <a:lnTo>
                    <a:pt x="152" y="275"/>
                  </a:lnTo>
                  <a:lnTo>
                    <a:pt x="167" y="275"/>
                  </a:lnTo>
                  <a:lnTo>
                    <a:pt x="182" y="273"/>
                  </a:lnTo>
                  <a:lnTo>
                    <a:pt x="196" y="269"/>
                  </a:lnTo>
                  <a:lnTo>
                    <a:pt x="209" y="265"/>
                  </a:lnTo>
                  <a:lnTo>
                    <a:pt x="223" y="259"/>
                  </a:lnTo>
                  <a:lnTo>
                    <a:pt x="235" y="253"/>
                  </a:lnTo>
                  <a:lnTo>
                    <a:pt x="247" y="245"/>
                  </a:lnTo>
                  <a:lnTo>
                    <a:pt x="258" y="236"/>
                  </a:lnTo>
                  <a:lnTo>
                    <a:pt x="267" y="226"/>
                  </a:lnTo>
                  <a:lnTo>
                    <a:pt x="276" y="216"/>
                  </a:lnTo>
                  <a:lnTo>
                    <a:pt x="284" y="205"/>
                  </a:lnTo>
                  <a:lnTo>
                    <a:pt x="289" y="194"/>
                  </a:lnTo>
                  <a:lnTo>
                    <a:pt x="295" y="180"/>
                  </a:lnTo>
                  <a:lnTo>
                    <a:pt x="298" y="168"/>
                  </a:lnTo>
                  <a:lnTo>
                    <a:pt x="301" y="154"/>
                  </a:lnTo>
                  <a:lnTo>
                    <a:pt x="302" y="140"/>
                  </a:lnTo>
                  <a:lnTo>
                    <a:pt x="302" y="140"/>
                  </a:lnTo>
                  <a:lnTo>
                    <a:pt x="301" y="126"/>
                  </a:lnTo>
                  <a:lnTo>
                    <a:pt x="298" y="111"/>
                  </a:lnTo>
                  <a:lnTo>
                    <a:pt x="295" y="98"/>
                  </a:lnTo>
                  <a:lnTo>
                    <a:pt x="289" y="86"/>
                  </a:lnTo>
                  <a:lnTo>
                    <a:pt x="284" y="74"/>
                  </a:lnTo>
                  <a:lnTo>
                    <a:pt x="276" y="62"/>
                  </a:lnTo>
                  <a:lnTo>
                    <a:pt x="267" y="51"/>
                  </a:lnTo>
                  <a:lnTo>
                    <a:pt x="258" y="41"/>
                  </a:lnTo>
                  <a:lnTo>
                    <a:pt x="247" y="32"/>
                  </a:lnTo>
                  <a:lnTo>
                    <a:pt x="235" y="25"/>
                  </a:lnTo>
                  <a:lnTo>
                    <a:pt x="223" y="17"/>
                  </a:lnTo>
                  <a:lnTo>
                    <a:pt x="209" y="11"/>
                  </a:lnTo>
                  <a:lnTo>
                    <a:pt x="196" y="7"/>
                  </a:lnTo>
                  <a:lnTo>
                    <a:pt x="182" y="4"/>
                  </a:lnTo>
                  <a:lnTo>
                    <a:pt x="167" y="1"/>
                  </a:lnTo>
                  <a:lnTo>
                    <a:pt x="152" y="0"/>
                  </a:lnTo>
                  <a:lnTo>
                    <a:pt x="1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71" name="Ellipse 70"/>
          <p:cNvSpPr/>
          <p:nvPr/>
        </p:nvSpPr>
        <p:spPr bwMode="auto">
          <a:xfrm>
            <a:off x="5530353"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93" name="Freeform 91">
            <a:extLst>
              <a:ext uri="{FF2B5EF4-FFF2-40B4-BE49-F238E27FC236}">
                <a16:creationId xmlns:a16="http://schemas.microsoft.com/office/drawing/2014/main" id="{48EBCC08-3E6F-4752-ADAA-C7251528AD7A}"/>
              </a:ext>
            </a:extLst>
          </p:cNvPr>
          <p:cNvSpPr>
            <a:spLocks/>
          </p:cNvSpPr>
          <p:nvPr/>
        </p:nvSpPr>
        <p:spPr bwMode="auto">
          <a:xfrm>
            <a:off x="5540172" y="3245980"/>
            <a:ext cx="443858" cy="443858"/>
          </a:xfrm>
          <a:custGeom>
            <a:avLst/>
            <a:gdLst>
              <a:gd name="T0" fmla="*/ 1709 w 1710"/>
              <a:gd name="T1" fmla="*/ 899 h 1710"/>
              <a:gd name="T2" fmla="*/ 1692 w 1710"/>
              <a:gd name="T3" fmla="*/ 1027 h 1710"/>
              <a:gd name="T4" fmla="*/ 1657 w 1710"/>
              <a:gd name="T5" fmla="*/ 1149 h 1710"/>
              <a:gd name="T6" fmla="*/ 1606 w 1710"/>
              <a:gd name="T7" fmla="*/ 1263 h 1710"/>
              <a:gd name="T8" fmla="*/ 1539 w 1710"/>
              <a:gd name="T9" fmla="*/ 1366 h 1710"/>
              <a:gd name="T10" fmla="*/ 1459 w 1710"/>
              <a:gd name="T11" fmla="*/ 1459 h 1710"/>
              <a:gd name="T12" fmla="*/ 1366 w 1710"/>
              <a:gd name="T13" fmla="*/ 1539 h 1710"/>
              <a:gd name="T14" fmla="*/ 1263 w 1710"/>
              <a:gd name="T15" fmla="*/ 1606 h 1710"/>
              <a:gd name="T16" fmla="*/ 1149 w 1710"/>
              <a:gd name="T17" fmla="*/ 1657 h 1710"/>
              <a:gd name="T18" fmla="*/ 1027 w 1710"/>
              <a:gd name="T19" fmla="*/ 1692 h 1710"/>
              <a:gd name="T20" fmla="*/ 899 w 1710"/>
              <a:gd name="T21" fmla="*/ 1709 h 1710"/>
              <a:gd name="T22" fmla="*/ 811 w 1710"/>
              <a:gd name="T23" fmla="*/ 1709 h 1710"/>
              <a:gd name="T24" fmla="*/ 683 w 1710"/>
              <a:gd name="T25" fmla="*/ 1692 h 1710"/>
              <a:gd name="T26" fmla="*/ 561 w 1710"/>
              <a:gd name="T27" fmla="*/ 1657 h 1710"/>
              <a:gd name="T28" fmla="*/ 447 w 1710"/>
              <a:gd name="T29" fmla="*/ 1606 h 1710"/>
              <a:gd name="T30" fmla="*/ 344 w 1710"/>
              <a:gd name="T31" fmla="*/ 1539 h 1710"/>
              <a:gd name="T32" fmla="*/ 251 w 1710"/>
              <a:gd name="T33" fmla="*/ 1459 h 1710"/>
              <a:gd name="T34" fmla="*/ 171 w 1710"/>
              <a:gd name="T35" fmla="*/ 1366 h 1710"/>
              <a:gd name="T36" fmla="*/ 104 w 1710"/>
              <a:gd name="T37" fmla="*/ 1263 h 1710"/>
              <a:gd name="T38" fmla="*/ 53 w 1710"/>
              <a:gd name="T39" fmla="*/ 1149 h 1710"/>
              <a:gd name="T40" fmla="*/ 18 w 1710"/>
              <a:gd name="T41" fmla="*/ 1027 h 1710"/>
              <a:gd name="T42" fmla="*/ 1 w 1710"/>
              <a:gd name="T43" fmla="*/ 899 h 1710"/>
              <a:gd name="T44" fmla="*/ 1 w 1710"/>
              <a:gd name="T45" fmla="*/ 811 h 1710"/>
              <a:gd name="T46" fmla="*/ 18 w 1710"/>
              <a:gd name="T47" fmla="*/ 683 h 1710"/>
              <a:gd name="T48" fmla="*/ 53 w 1710"/>
              <a:gd name="T49" fmla="*/ 561 h 1710"/>
              <a:gd name="T50" fmla="*/ 104 w 1710"/>
              <a:gd name="T51" fmla="*/ 447 h 1710"/>
              <a:gd name="T52" fmla="*/ 171 w 1710"/>
              <a:gd name="T53" fmla="*/ 344 h 1710"/>
              <a:gd name="T54" fmla="*/ 251 w 1710"/>
              <a:gd name="T55" fmla="*/ 251 h 1710"/>
              <a:gd name="T56" fmla="*/ 344 w 1710"/>
              <a:gd name="T57" fmla="*/ 171 h 1710"/>
              <a:gd name="T58" fmla="*/ 447 w 1710"/>
              <a:gd name="T59" fmla="*/ 104 h 1710"/>
              <a:gd name="T60" fmla="*/ 561 w 1710"/>
              <a:gd name="T61" fmla="*/ 53 h 1710"/>
              <a:gd name="T62" fmla="*/ 683 w 1710"/>
              <a:gd name="T63" fmla="*/ 18 h 1710"/>
              <a:gd name="T64" fmla="*/ 811 w 1710"/>
              <a:gd name="T65" fmla="*/ 1 h 1710"/>
              <a:gd name="T66" fmla="*/ 899 w 1710"/>
              <a:gd name="T67" fmla="*/ 1 h 1710"/>
              <a:gd name="T68" fmla="*/ 1027 w 1710"/>
              <a:gd name="T69" fmla="*/ 18 h 1710"/>
              <a:gd name="T70" fmla="*/ 1149 w 1710"/>
              <a:gd name="T71" fmla="*/ 53 h 1710"/>
              <a:gd name="T72" fmla="*/ 1263 w 1710"/>
              <a:gd name="T73" fmla="*/ 104 h 1710"/>
              <a:gd name="T74" fmla="*/ 1366 w 1710"/>
              <a:gd name="T75" fmla="*/ 171 h 1710"/>
              <a:gd name="T76" fmla="*/ 1459 w 1710"/>
              <a:gd name="T77" fmla="*/ 251 h 1710"/>
              <a:gd name="T78" fmla="*/ 1539 w 1710"/>
              <a:gd name="T79" fmla="*/ 344 h 1710"/>
              <a:gd name="T80" fmla="*/ 1606 w 1710"/>
              <a:gd name="T81" fmla="*/ 447 h 1710"/>
              <a:gd name="T82" fmla="*/ 1657 w 1710"/>
              <a:gd name="T83" fmla="*/ 561 h 1710"/>
              <a:gd name="T84" fmla="*/ 1692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0" y="985"/>
                </a:lnTo>
                <a:lnTo>
                  <a:pt x="1692" y="1027"/>
                </a:lnTo>
                <a:lnTo>
                  <a:pt x="1683" y="1068"/>
                </a:lnTo>
                <a:lnTo>
                  <a:pt x="1671" y="1109"/>
                </a:lnTo>
                <a:lnTo>
                  <a:pt x="1657" y="1149"/>
                </a:lnTo>
                <a:lnTo>
                  <a:pt x="1643" y="1188"/>
                </a:lnTo>
                <a:lnTo>
                  <a:pt x="1625" y="1226"/>
                </a:lnTo>
                <a:lnTo>
                  <a:pt x="1606" y="1263"/>
                </a:lnTo>
                <a:lnTo>
                  <a:pt x="1586" y="1298"/>
                </a:lnTo>
                <a:lnTo>
                  <a:pt x="1564" y="1333"/>
                </a:lnTo>
                <a:lnTo>
                  <a:pt x="1539" y="1366"/>
                </a:lnTo>
                <a:lnTo>
                  <a:pt x="1515" y="1398"/>
                </a:lnTo>
                <a:lnTo>
                  <a:pt x="1487" y="1429"/>
                </a:lnTo>
                <a:lnTo>
                  <a:pt x="1459" y="1459"/>
                </a:lnTo>
                <a:lnTo>
                  <a:pt x="1429" y="1487"/>
                </a:lnTo>
                <a:lnTo>
                  <a:pt x="1398" y="1514"/>
                </a:lnTo>
                <a:lnTo>
                  <a:pt x="1366" y="1539"/>
                </a:lnTo>
                <a:lnTo>
                  <a:pt x="1333" y="1564"/>
                </a:lnTo>
                <a:lnTo>
                  <a:pt x="1298" y="1586"/>
                </a:lnTo>
                <a:lnTo>
                  <a:pt x="1263" y="1606"/>
                </a:lnTo>
                <a:lnTo>
                  <a:pt x="1226" y="1625"/>
                </a:lnTo>
                <a:lnTo>
                  <a:pt x="1188" y="1643"/>
                </a:lnTo>
                <a:lnTo>
                  <a:pt x="1149" y="1657"/>
                </a:lnTo>
                <a:lnTo>
                  <a:pt x="1109" y="1671"/>
                </a:lnTo>
                <a:lnTo>
                  <a:pt x="1069" y="1683"/>
                </a:lnTo>
                <a:lnTo>
                  <a:pt x="1027" y="1692"/>
                </a:lnTo>
                <a:lnTo>
                  <a:pt x="986" y="1700"/>
                </a:lnTo>
                <a:lnTo>
                  <a:pt x="942" y="1705"/>
                </a:lnTo>
                <a:lnTo>
                  <a:pt x="899" y="1709"/>
                </a:lnTo>
                <a:lnTo>
                  <a:pt x="856" y="1710"/>
                </a:lnTo>
                <a:lnTo>
                  <a:pt x="856" y="1710"/>
                </a:lnTo>
                <a:lnTo>
                  <a:pt x="811" y="1709"/>
                </a:lnTo>
                <a:lnTo>
                  <a:pt x="768" y="1705"/>
                </a:lnTo>
                <a:lnTo>
                  <a:pt x="725" y="1700"/>
                </a:lnTo>
                <a:lnTo>
                  <a:pt x="683" y="1692"/>
                </a:lnTo>
                <a:lnTo>
                  <a:pt x="641" y="1683"/>
                </a:lnTo>
                <a:lnTo>
                  <a:pt x="601" y="1671"/>
                </a:lnTo>
                <a:lnTo>
                  <a:pt x="561" y="1657"/>
                </a:lnTo>
                <a:lnTo>
                  <a:pt x="522" y="1643"/>
                </a:lnTo>
                <a:lnTo>
                  <a:pt x="484" y="1625"/>
                </a:lnTo>
                <a:lnTo>
                  <a:pt x="447" y="1606"/>
                </a:lnTo>
                <a:lnTo>
                  <a:pt x="412" y="1586"/>
                </a:lnTo>
                <a:lnTo>
                  <a:pt x="377" y="1564"/>
                </a:lnTo>
                <a:lnTo>
                  <a:pt x="344" y="1539"/>
                </a:lnTo>
                <a:lnTo>
                  <a:pt x="312" y="1514"/>
                </a:lnTo>
                <a:lnTo>
                  <a:pt x="281" y="1487"/>
                </a:lnTo>
                <a:lnTo>
                  <a:pt x="251" y="1459"/>
                </a:lnTo>
                <a:lnTo>
                  <a:pt x="223" y="1429"/>
                </a:lnTo>
                <a:lnTo>
                  <a:pt x="196" y="1398"/>
                </a:lnTo>
                <a:lnTo>
                  <a:pt x="171" y="1366"/>
                </a:lnTo>
                <a:lnTo>
                  <a:pt x="146" y="1333"/>
                </a:lnTo>
                <a:lnTo>
                  <a:pt x="124" y="1298"/>
                </a:lnTo>
                <a:lnTo>
                  <a:pt x="104" y="1263"/>
                </a:lnTo>
                <a:lnTo>
                  <a:pt x="85" y="1226"/>
                </a:lnTo>
                <a:lnTo>
                  <a:pt x="67" y="1188"/>
                </a:lnTo>
                <a:lnTo>
                  <a:pt x="53" y="1149"/>
                </a:lnTo>
                <a:lnTo>
                  <a:pt x="39" y="1109"/>
                </a:lnTo>
                <a:lnTo>
                  <a:pt x="27" y="1068"/>
                </a:lnTo>
                <a:lnTo>
                  <a:pt x="18" y="1027"/>
                </a:lnTo>
                <a:lnTo>
                  <a:pt x="10" y="985"/>
                </a:lnTo>
                <a:lnTo>
                  <a:pt x="5" y="942"/>
                </a:lnTo>
                <a:lnTo>
                  <a:pt x="1" y="899"/>
                </a:lnTo>
                <a:lnTo>
                  <a:pt x="0" y="854"/>
                </a:lnTo>
                <a:lnTo>
                  <a:pt x="0" y="854"/>
                </a:lnTo>
                <a:lnTo>
                  <a:pt x="1" y="811"/>
                </a:lnTo>
                <a:lnTo>
                  <a:pt x="5" y="768"/>
                </a:lnTo>
                <a:lnTo>
                  <a:pt x="10" y="724"/>
                </a:lnTo>
                <a:lnTo>
                  <a:pt x="18" y="683"/>
                </a:lnTo>
                <a:lnTo>
                  <a:pt x="27" y="641"/>
                </a:lnTo>
                <a:lnTo>
                  <a:pt x="39" y="601"/>
                </a:lnTo>
                <a:lnTo>
                  <a:pt x="53" y="561"/>
                </a:lnTo>
                <a:lnTo>
                  <a:pt x="67" y="522"/>
                </a:lnTo>
                <a:lnTo>
                  <a:pt x="85" y="484"/>
                </a:lnTo>
                <a:lnTo>
                  <a:pt x="104" y="447"/>
                </a:lnTo>
                <a:lnTo>
                  <a:pt x="124" y="412"/>
                </a:lnTo>
                <a:lnTo>
                  <a:pt x="146" y="377"/>
                </a:lnTo>
                <a:lnTo>
                  <a:pt x="171" y="344"/>
                </a:lnTo>
                <a:lnTo>
                  <a:pt x="196" y="312"/>
                </a:lnTo>
                <a:lnTo>
                  <a:pt x="223" y="281"/>
                </a:lnTo>
                <a:lnTo>
                  <a:pt x="251" y="251"/>
                </a:lnTo>
                <a:lnTo>
                  <a:pt x="281" y="223"/>
                </a:lnTo>
                <a:lnTo>
                  <a:pt x="312" y="195"/>
                </a:lnTo>
                <a:lnTo>
                  <a:pt x="344" y="171"/>
                </a:lnTo>
                <a:lnTo>
                  <a:pt x="377" y="146"/>
                </a:lnTo>
                <a:lnTo>
                  <a:pt x="412" y="124"/>
                </a:lnTo>
                <a:lnTo>
                  <a:pt x="447" y="104"/>
                </a:lnTo>
                <a:lnTo>
                  <a:pt x="484" y="85"/>
                </a:lnTo>
                <a:lnTo>
                  <a:pt x="522" y="67"/>
                </a:lnTo>
                <a:lnTo>
                  <a:pt x="561" y="53"/>
                </a:lnTo>
                <a:lnTo>
                  <a:pt x="601" y="38"/>
                </a:lnTo>
                <a:lnTo>
                  <a:pt x="641" y="27"/>
                </a:lnTo>
                <a:lnTo>
                  <a:pt x="683" y="18"/>
                </a:lnTo>
                <a:lnTo>
                  <a:pt x="725" y="10"/>
                </a:lnTo>
                <a:lnTo>
                  <a:pt x="768" y="5"/>
                </a:lnTo>
                <a:lnTo>
                  <a:pt x="811" y="1"/>
                </a:lnTo>
                <a:lnTo>
                  <a:pt x="856" y="0"/>
                </a:lnTo>
                <a:lnTo>
                  <a:pt x="856" y="0"/>
                </a:lnTo>
                <a:lnTo>
                  <a:pt x="899" y="1"/>
                </a:lnTo>
                <a:lnTo>
                  <a:pt x="942" y="5"/>
                </a:lnTo>
                <a:lnTo>
                  <a:pt x="986" y="10"/>
                </a:lnTo>
                <a:lnTo>
                  <a:pt x="1027" y="18"/>
                </a:lnTo>
                <a:lnTo>
                  <a:pt x="1069" y="27"/>
                </a:lnTo>
                <a:lnTo>
                  <a:pt x="1109" y="38"/>
                </a:lnTo>
                <a:lnTo>
                  <a:pt x="1149" y="53"/>
                </a:lnTo>
                <a:lnTo>
                  <a:pt x="1188" y="67"/>
                </a:lnTo>
                <a:lnTo>
                  <a:pt x="1226" y="85"/>
                </a:lnTo>
                <a:lnTo>
                  <a:pt x="1263" y="104"/>
                </a:lnTo>
                <a:lnTo>
                  <a:pt x="1298" y="124"/>
                </a:lnTo>
                <a:lnTo>
                  <a:pt x="1333" y="146"/>
                </a:lnTo>
                <a:lnTo>
                  <a:pt x="1366" y="171"/>
                </a:lnTo>
                <a:lnTo>
                  <a:pt x="1398" y="195"/>
                </a:lnTo>
                <a:lnTo>
                  <a:pt x="1429" y="223"/>
                </a:lnTo>
                <a:lnTo>
                  <a:pt x="1459" y="251"/>
                </a:lnTo>
                <a:lnTo>
                  <a:pt x="1487" y="281"/>
                </a:lnTo>
                <a:lnTo>
                  <a:pt x="1515" y="312"/>
                </a:lnTo>
                <a:lnTo>
                  <a:pt x="1539" y="344"/>
                </a:lnTo>
                <a:lnTo>
                  <a:pt x="1564" y="377"/>
                </a:lnTo>
                <a:lnTo>
                  <a:pt x="1586" y="412"/>
                </a:lnTo>
                <a:lnTo>
                  <a:pt x="1606" y="447"/>
                </a:lnTo>
                <a:lnTo>
                  <a:pt x="1625" y="484"/>
                </a:lnTo>
                <a:lnTo>
                  <a:pt x="1643" y="522"/>
                </a:lnTo>
                <a:lnTo>
                  <a:pt x="1657" y="561"/>
                </a:lnTo>
                <a:lnTo>
                  <a:pt x="1671" y="601"/>
                </a:lnTo>
                <a:lnTo>
                  <a:pt x="1683" y="641"/>
                </a:lnTo>
                <a:lnTo>
                  <a:pt x="1692" y="683"/>
                </a:lnTo>
                <a:lnTo>
                  <a:pt x="1700" y="724"/>
                </a:lnTo>
                <a:lnTo>
                  <a:pt x="1705" y="768"/>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94" name="Freeform 93">
            <a:extLst>
              <a:ext uri="{FF2B5EF4-FFF2-40B4-BE49-F238E27FC236}">
                <a16:creationId xmlns:a16="http://schemas.microsoft.com/office/drawing/2014/main" id="{0A919402-C9DF-424E-B1C0-1C465F20A9F7}"/>
              </a:ext>
            </a:extLst>
          </p:cNvPr>
          <p:cNvSpPr>
            <a:spLocks/>
          </p:cNvSpPr>
          <p:nvPr/>
        </p:nvSpPr>
        <p:spPr bwMode="auto">
          <a:xfrm>
            <a:off x="5648011" y="3325687"/>
            <a:ext cx="228181" cy="284444"/>
          </a:xfrm>
          <a:custGeom>
            <a:avLst/>
            <a:gdLst>
              <a:gd name="T0" fmla="*/ 7 w 871"/>
              <a:gd name="T1" fmla="*/ 968 h 1088"/>
              <a:gd name="T2" fmla="*/ 66 w 871"/>
              <a:gd name="T3" fmla="*/ 867 h 1088"/>
              <a:gd name="T4" fmla="*/ 132 w 871"/>
              <a:gd name="T5" fmla="*/ 771 h 1088"/>
              <a:gd name="T6" fmla="*/ 220 w 871"/>
              <a:gd name="T7" fmla="*/ 664 h 1088"/>
              <a:gd name="T8" fmla="*/ 329 w 871"/>
              <a:gd name="T9" fmla="*/ 552 h 1088"/>
              <a:gd name="T10" fmla="*/ 293 w 871"/>
              <a:gd name="T11" fmla="*/ 468 h 1088"/>
              <a:gd name="T12" fmla="*/ 253 w 871"/>
              <a:gd name="T13" fmla="*/ 353 h 1088"/>
              <a:gd name="T14" fmla="*/ 229 w 871"/>
              <a:gd name="T15" fmla="*/ 255 h 1088"/>
              <a:gd name="T16" fmla="*/ 216 w 871"/>
              <a:gd name="T17" fmla="*/ 173 h 1088"/>
              <a:gd name="T18" fmla="*/ 211 w 871"/>
              <a:gd name="T19" fmla="*/ 72 h 1088"/>
              <a:gd name="T20" fmla="*/ 214 w 871"/>
              <a:gd name="T21" fmla="*/ 43 h 1088"/>
              <a:gd name="T22" fmla="*/ 231 w 871"/>
              <a:gd name="T23" fmla="*/ 14 h 1088"/>
              <a:gd name="T24" fmla="*/ 257 w 871"/>
              <a:gd name="T25" fmla="*/ 1 h 1088"/>
              <a:gd name="T26" fmla="*/ 285 w 871"/>
              <a:gd name="T27" fmla="*/ 2 h 1088"/>
              <a:gd name="T28" fmla="*/ 315 w 871"/>
              <a:gd name="T29" fmla="*/ 16 h 1088"/>
              <a:gd name="T30" fmla="*/ 332 w 871"/>
              <a:gd name="T31" fmla="*/ 33 h 1088"/>
              <a:gd name="T32" fmla="*/ 362 w 871"/>
              <a:gd name="T33" fmla="*/ 149 h 1088"/>
              <a:gd name="T34" fmla="*/ 402 w 871"/>
              <a:gd name="T35" fmla="*/ 260 h 1088"/>
              <a:gd name="T36" fmla="*/ 444 w 871"/>
              <a:gd name="T37" fmla="*/ 350 h 1088"/>
              <a:gd name="T38" fmla="*/ 499 w 871"/>
              <a:gd name="T39" fmla="*/ 333 h 1088"/>
              <a:gd name="T40" fmla="*/ 598 w 871"/>
              <a:gd name="T41" fmla="*/ 221 h 1088"/>
              <a:gd name="T42" fmla="*/ 676 w 871"/>
              <a:gd name="T43" fmla="*/ 142 h 1088"/>
              <a:gd name="T44" fmla="*/ 757 w 871"/>
              <a:gd name="T45" fmla="*/ 70 h 1088"/>
              <a:gd name="T46" fmla="*/ 778 w 871"/>
              <a:gd name="T47" fmla="*/ 55 h 1088"/>
              <a:gd name="T48" fmla="*/ 817 w 871"/>
              <a:gd name="T49" fmla="*/ 73 h 1088"/>
              <a:gd name="T50" fmla="*/ 844 w 871"/>
              <a:gd name="T51" fmla="*/ 96 h 1088"/>
              <a:gd name="T52" fmla="*/ 864 w 871"/>
              <a:gd name="T53" fmla="*/ 129 h 1088"/>
              <a:gd name="T54" fmla="*/ 871 w 871"/>
              <a:gd name="T55" fmla="*/ 154 h 1088"/>
              <a:gd name="T56" fmla="*/ 853 w 871"/>
              <a:gd name="T57" fmla="*/ 188 h 1088"/>
              <a:gd name="T58" fmla="*/ 791 w 871"/>
              <a:gd name="T59" fmla="*/ 259 h 1088"/>
              <a:gd name="T60" fmla="*/ 708 w 871"/>
              <a:gd name="T61" fmla="*/ 353 h 1088"/>
              <a:gd name="T62" fmla="*/ 637 w 871"/>
              <a:gd name="T63" fmla="*/ 449 h 1088"/>
              <a:gd name="T64" fmla="*/ 563 w 871"/>
              <a:gd name="T65" fmla="*/ 575 h 1088"/>
              <a:gd name="T66" fmla="*/ 560 w 871"/>
              <a:gd name="T67" fmla="*/ 600 h 1088"/>
              <a:gd name="T68" fmla="*/ 565 w 871"/>
              <a:gd name="T69" fmla="*/ 641 h 1088"/>
              <a:gd name="T70" fmla="*/ 585 w 871"/>
              <a:gd name="T71" fmla="*/ 710 h 1088"/>
              <a:gd name="T72" fmla="*/ 626 w 871"/>
              <a:gd name="T73" fmla="*/ 794 h 1088"/>
              <a:gd name="T74" fmla="*/ 696 w 871"/>
              <a:gd name="T75" fmla="*/ 916 h 1088"/>
              <a:gd name="T76" fmla="*/ 716 w 871"/>
              <a:gd name="T77" fmla="*/ 965 h 1088"/>
              <a:gd name="T78" fmla="*/ 699 w 871"/>
              <a:gd name="T79" fmla="*/ 998 h 1088"/>
              <a:gd name="T80" fmla="*/ 680 w 871"/>
              <a:gd name="T81" fmla="*/ 1023 h 1088"/>
              <a:gd name="T82" fmla="*/ 640 w 871"/>
              <a:gd name="T83" fmla="*/ 1049 h 1088"/>
              <a:gd name="T84" fmla="*/ 590 w 871"/>
              <a:gd name="T85" fmla="*/ 998 h 1088"/>
              <a:gd name="T86" fmla="*/ 500 w 871"/>
              <a:gd name="T87" fmla="*/ 893 h 1088"/>
              <a:gd name="T88" fmla="*/ 441 w 871"/>
              <a:gd name="T89" fmla="*/ 810 h 1088"/>
              <a:gd name="T90" fmla="*/ 403 w 871"/>
              <a:gd name="T91" fmla="*/ 750 h 1088"/>
              <a:gd name="T92" fmla="*/ 331 w 871"/>
              <a:gd name="T93" fmla="*/ 819 h 1088"/>
              <a:gd name="T94" fmla="*/ 233 w 871"/>
              <a:gd name="T95" fmla="*/ 929 h 1088"/>
              <a:gd name="T96" fmla="*/ 84 w 871"/>
              <a:gd name="T97" fmla="*/ 1088 h 1088"/>
              <a:gd name="T98" fmla="*/ 69 w 871"/>
              <a:gd name="T99" fmla="*/ 1086 h 1088"/>
              <a:gd name="T100" fmla="*/ 35 w 871"/>
              <a:gd name="T101" fmla="*/ 1073 h 1088"/>
              <a:gd name="T102" fmla="*/ 12 w 871"/>
              <a:gd name="T103" fmla="*/ 1051 h 1088"/>
              <a:gd name="T104" fmla="*/ 0 w 871"/>
              <a:gd name="T105" fmla="*/ 1013 h 1088"/>
              <a:gd name="T106" fmla="*/ 2 w 871"/>
              <a:gd name="T107" fmla="*/ 97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1" h="1088">
                <a:moveTo>
                  <a:pt x="2" y="978"/>
                </a:moveTo>
                <a:lnTo>
                  <a:pt x="2" y="978"/>
                </a:lnTo>
                <a:lnTo>
                  <a:pt x="7" y="968"/>
                </a:lnTo>
                <a:lnTo>
                  <a:pt x="23" y="938"/>
                </a:lnTo>
                <a:lnTo>
                  <a:pt x="49" y="894"/>
                </a:lnTo>
                <a:lnTo>
                  <a:pt x="66" y="867"/>
                </a:lnTo>
                <a:lnTo>
                  <a:pt x="85" y="837"/>
                </a:lnTo>
                <a:lnTo>
                  <a:pt x="107" y="806"/>
                </a:lnTo>
                <a:lnTo>
                  <a:pt x="132" y="771"/>
                </a:lnTo>
                <a:lnTo>
                  <a:pt x="159" y="737"/>
                </a:lnTo>
                <a:lnTo>
                  <a:pt x="188" y="700"/>
                </a:lnTo>
                <a:lnTo>
                  <a:pt x="220" y="664"/>
                </a:lnTo>
                <a:lnTo>
                  <a:pt x="253" y="626"/>
                </a:lnTo>
                <a:lnTo>
                  <a:pt x="290" y="589"/>
                </a:lnTo>
                <a:lnTo>
                  <a:pt x="329" y="552"/>
                </a:lnTo>
                <a:lnTo>
                  <a:pt x="329" y="552"/>
                </a:lnTo>
                <a:lnTo>
                  <a:pt x="310" y="509"/>
                </a:lnTo>
                <a:lnTo>
                  <a:pt x="293" y="468"/>
                </a:lnTo>
                <a:lnTo>
                  <a:pt x="278" y="428"/>
                </a:lnTo>
                <a:lnTo>
                  <a:pt x="264" y="390"/>
                </a:lnTo>
                <a:lnTo>
                  <a:pt x="253" y="353"/>
                </a:lnTo>
                <a:lnTo>
                  <a:pt x="243" y="319"/>
                </a:lnTo>
                <a:lnTo>
                  <a:pt x="235" y="287"/>
                </a:lnTo>
                <a:lnTo>
                  <a:pt x="229" y="255"/>
                </a:lnTo>
                <a:lnTo>
                  <a:pt x="223" y="226"/>
                </a:lnTo>
                <a:lnTo>
                  <a:pt x="220" y="199"/>
                </a:lnTo>
                <a:lnTo>
                  <a:pt x="216" y="173"/>
                </a:lnTo>
                <a:lnTo>
                  <a:pt x="214" y="150"/>
                </a:lnTo>
                <a:lnTo>
                  <a:pt x="212" y="108"/>
                </a:lnTo>
                <a:lnTo>
                  <a:pt x="211" y="72"/>
                </a:lnTo>
                <a:lnTo>
                  <a:pt x="211" y="72"/>
                </a:lnTo>
                <a:lnTo>
                  <a:pt x="212" y="56"/>
                </a:lnTo>
                <a:lnTo>
                  <a:pt x="214" y="43"/>
                </a:lnTo>
                <a:lnTo>
                  <a:pt x="219" y="32"/>
                </a:lnTo>
                <a:lnTo>
                  <a:pt x="224" y="23"/>
                </a:lnTo>
                <a:lnTo>
                  <a:pt x="231" y="14"/>
                </a:lnTo>
                <a:lnTo>
                  <a:pt x="239" y="9"/>
                </a:lnTo>
                <a:lnTo>
                  <a:pt x="247" y="4"/>
                </a:lnTo>
                <a:lnTo>
                  <a:pt x="257" y="1"/>
                </a:lnTo>
                <a:lnTo>
                  <a:pt x="265" y="0"/>
                </a:lnTo>
                <a:lnTo>
                  <a:pt x="275" y="0"/>
                </a:lnTo>
                <a:lnTo>
                  <a:pt x="285" y="2"/>
                </a:lnTo>
                <a:lnTo>
                  <a:pt x="295" y="5"/>
                </a:lnTo>
                <a:lnTo>
                  <a:pt x="305" y="10"/>
                </a:lnTo>
                <a:lnTo>
                  <a:pt x="315" y="16"/>
                </a:lnTo>
                <a:lnTo>
                  <a:pt x="324" y="24"/>
                </a:lnTo>
                <a:lnTo>
                  <a:pt x="332" y="33"/>
                </a:lnTo>
                <a:lnTo>
                  <a:pt x="332" y="33"/>
                </a:lnTo>
                <a:lnTo>
                  <a:pt x="339" y="65"/>
                </a:lnTo>
                <a:lnTo>
                  <a:pt x="349" y="102"/>
                </a:lnTo>
                <a:lnTo>
                  <a:pt x="362" y="149"/>
                </a:lnTo>
                <a:lnTo>
                  <a:pt x="379" y="202"/>
                </a:lnTo>
                <a:lnTo>
                  <a:pt x="390" y="231"/>
                </a:lnTo>
                <a:lnTo>
                  <a:pt x="402" y="260"/>
                </a:lnTo>
                <a:lnTo>
                  <a:pt x="414" y="290"/>
                </a:lnTo>
                <a:lnTo>
                  <a:pt x="429" y="320"/>
                </a:lnTo>
                <a:lnTo>
                  <a:pt x="444" y="350"/>
                </a:lnTo>
                <a:lnTo>
                  <a:pt x="461" y="379"/>
                </a:lnTo>
                <a:lnTo>
                  <a:pt x="461" y="379"/>
                </a:lnTo>
                <a:lnTo>
                  <a:pt x="499" y="333"/>
                </a:lnTo>
                <a:lnTo>
                  <a:pt x="535" y="292"/>
                </a:lnTo>
                <a:lnTo>
                  <a:pt x="567" y="254"/>
                </a:lnTo>
                <a:lnTo>
                  <a:pt x="598" y="221"/>
                </a:lnTo>
                <a:lnTo>
                  <a:pt x="626" y="191"/>
                </a:lnTo>
                <a:lnTo>
                  <a:pt x="652" y="164"/>
                </a:lnTo>
                <a:lnTo>
                  <a:pt x="676" y="142"/>
                </a:lnTo>
                <a:lnTo>
                  <a:pt x="697" y="122"/>
                </a:lnTo>
                <a:lnTo>
                  <a:pt x="731" y="91"/>
                </a:lnTo>
                <a:lnTo>
                  <a:pt x="757" y="70"/>
                </a:lnTo>
                <a:lnTo>
                  <a:pt x="773" y="59"/>
                </a:lnTo>
                <a:lnTo>
                  <a:pt x="778" y="55"/>
                </a:lnTo>
                <a:lnTo>
                  <a:pt x="778" y="55"/>
                </a:lnTo>
                <a:lnTo>
                  <a:pt x="793" y="60"/>
                </a:lnTo>
                <a:lnTo>
                  <a:pt x="805" y="65"/>
                </a:lnTo>
                <a:lnTo>
                  <a:pt x="817" y="73"/>
                </a:lnTo>
                <a:lnTo>
                  <a:pt x="827" y="80"/>
                </a:lnTo>
                <a:lnTo>
                  <a:pt x="836" y="87"/>
                </a:lnTo>
                <a:lnTo>
                  <a:pt x="844" y="96"/>
                </a:lnTo>
                <a:lnTo>
                  <a:pt x="850" y="104"/>
                </a:lnTo>
                <a:lnTo>
                  <a:pt x="855" y="113"/>
                </a:lnTo>
                <a:lnTo>
                  <a:pt x="864" y="129"/>
                </a:lnTo>
                <a:lnTo>
                  <a:pt x="868" y="142"/>
                </a:lnTo>
                <a:lnTo>
                  <a:pt x="870" y="151"/>
                </a:lnTo>
                <a:lnTo>
                  <a:pt x="871" y="154"/>
                </a:lnTo>
                <a:lnTo>
                  <a:pt x="871" y="154"/>
                </a:lnTo>
                <a:lnTo>
                  <a:pt x="863" y="171"/>
                </a:lnTo>
                <a:lnTo>
                  <a:pt x="853" y="188"/>
                </a:lnTo>
                <a:lnTo>
                  <a:pt x="840" y="204"/>
                </a:lnTo>
                <a:lnTo>
                  <a:pt x="826" y="221"/>
                </a:lnTo>
                <a:lnTo>
                  <a:pt x="791" y="259"/>
                </a:lnTo>
                <a:lnTo>
                  <a:pt x="753" y="302"/>
                </a:lnTo>
                <a:lnTo>
                  <a:pt x="730" y="327"/>
                </a:lnTo>
                <a:lnTo>
                  <a:pt x="708" y="353"/>
                </a:lnTo>
                <a:lnTo>
                  <a:pt x="685" y="382"/>
                </a:lnTo>
                <a:lnTo>
                  <a:pt x="660" y="414"/>
                </a:lnTo>
                <a:lnTo>
                  <a:pt x="637" y="449"/>
                </a:lnTo>
                <a:lnTo>
                  <a:pt x="612" y="488"/>
                </a:lnTo>
                <a:lnTo>
                  <a:pt x="588" y="529"/>
                </a:lnTo>
                <a:lnTo>
                  <a:pt x="563" y="575"/>
                </a:lnTo>
                <a:lnTo>
                  <a:pt x="563" y="575"/>
                </a:lnTo>
                <a:lnTo>
                  <a:pt x="561" y="588"/>
                </a:lnTo>
                <a:lnTo>
                  <a:pt x="560" y="600"/>
                </a:lnTo>
                <a:lnTo>
                  <a:pt x="561" y="614"/>
                </a:lnTo>
                <a:lnTo>
                  <a:pt x="562" y="628"/>
                </a:lnTo>
                <a:lnTo>
                  <a:pt x="565" y="641"/>
                </a:lnTo>
                <a:lnTo>
                  <a:pt x="567" y="655"/>
                </a:lnTo>
                <a:lnTo>
                  <a:pt x="575" y="682"/>
                </a:lnTo>
                <a:lnTo>
                  <a:pt x="585" y="710"/>
                </a:lnTo>
                <a:lnTo>
                  <a:pt x="597" y="738"/>
                </a:lnTo>
                <a:lnTo>
                  <a:pt x="611" y="766"/>
                </a:lnTo>
                <a:lnTo>
                  <a:pt x="626" y="794"/>
                </a:lnTo>
                <a:lnTo>
                  <a:pt x="656" y="846"/>
                </a:lnTo>
                <a:lnTo>
                  <a:pt x="684" y="894"/>
                </a:lnTo>
                <a:lnTo>
                  <a:pt x="696" y="916"/>
                </a:lnTo>
                <a:lnTo>
                  <a:pt x="706" y="937"/>
                </a:lnTo>
                <a:lnTo>
                  <a:pt x="712" y="956"/>
                </a:lnTo>
                <a:lnTo>
                  <a:pt x="716" y="965"/>
                </a:lnTo>
                <a:lnTo>
                  <a:pt x="717" y="973"/>
                </a:lnTo>
                <a:lnTo>
                  <a:pt x="717" y="973"/>
                </a:lnTo>
                <a:lnTo>
                  <a:pt x="699" y="998"/>
                </a:lnTo>
                <a:lnTo>
                  <a:pt x="692" y="1008"/>
                </a:lnTo>
                <a:lnTo>
                  <a:pt x="687" y="1015"/>
                </a:lnTo>
                <a:lnTo>
                  <a:pt x="680" y="1023"/>
                </a:lnTo>
                <a:lnTo>
                  <a:pt x="670" y="1029"/>
                </a:lnTo>
                <a:lnTo>
                  <a:pt x="658" y="1038"/>
                </a:lnTo>
                <a:lnTo>
                  <a:pt x="640" y="1049"/>
                </a:lnTo>
                <a:lnTo>
                  <a:pt x="640" y="1049"/>
                </a:lnTo>
                <a:lnTo>
                  <a:pt x="616" y="1026"/>
                </a:lnTo>
                <a:lnTo>
                  <a:pt x="590" y="998"/>
                </a:lnTo>
                <a:lnTo>
                  <a:pt x="557" y="962"/>
                </a:lnTo>
                <a:lnTo>
                  <a:pt x="519" y="917"/>
                </a:lnTo>
                <a:lnTo>
                  <a:pt x="500" y="893"/>
                </a:lnTo>
                <a:lnTo>
                  <a:pt x="480" y="867"/>
                </a:lnTo>
                <a:lnTo>
                  <a:pt x="460" y="839"/>
                </a:lnTo>
                <a:lnTo>
                  <a:pt x="441" y="810"/>
                </a:lnTo>
                <a:lnTo>
                  <a:pt x="421" y="780"/>
                </a:lnTo>
                <a:lnTo>
                  <a:pt x="403" y="750"/>
                </a:lnTo>
                <a:lnTo>
                  <a:pt x="403" y="750"/>
                </a:lnTo>
                <a:lnTo>
                  <a:pt x="383" y="768"/>
                </a:lnTo>
                <a:lnTo>
                  <a:pt x="364" y="785"/>
                </a:lnTo>
                <a:lnTo>
                  <a:pt x="331" y="819"/>
                </a:lnTo>
                <a:lnTo>
                  <a:pt x="300" y="853"/>
                </a:lnTo>
                <a:lnTo>
                  <a:pt x="268" y="889"/>
                </a:lnTo>
                <a:lnTo>
                  <a:pt x="233" y="929"/>
                </a:lnTo>
                <a:lnTo>
                  <a:pt x="193" y="975"/>
                </a:lnTo>
                <a:lnTo>
                  <a:pt x="144" y="1027"/>
                </a:lnTo>
                <a:lnTo>
                  <a:pt x="84" y="1088"/>
                </a:lnTo>
                <a:lnTo>
                  <a:pt x="84" y="1088"/>
                </a:lnTo>
                <a:lnTo>
                  <a:pt x="80" y="1087"/>
                </a:lnTo>
                <a:lnTo>
                  <a:pt x="69" y="1086"/>
                </a:lnTo>
                <a:lnTo>
                  <a:pt x="53" y="1081"/>
                </a:lnTo>
                <a:lnTo>
                  <a:pt x="44" y="1077"/>
                </a:lnTo>
                <a:lnTo>
                  <a:pt x="35" y="1073"/>
                </a:lnTo>
                <a:lnTo>
                  <a:pt x="26" y="1066"/>
                </a:lnTo>
                <a:lnTo>
                  <a:pt x="19" y="1059"/>
                </a:lnTo>
                <a:lnTo>
                  <a:pt x="12" y="1051"/>
                </a:lnTo>
                <a:lnTo>
                  <a:pt x="5" y="1039"/>
                </a:lnTo>
                <a:lnTo>
                  <a:pt x="2" y="1027"/>
                </a:lnTo>
                <a:lnTo>
                  <a:pt x="0" y="1013"/>
                </a:lnTo>
                <a:lnTo>
                  <a:pt x="0" y="997"/>
                </a:lnTo>
                <a:lnTo>
                  <a:pt x="2" y="978"/>
                </a:lnTo>
                <a:lnTo>
                  <a:pt x="2" y="97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21" name="Freeform 93">
            <a:extLst>
              <a:ext uri="{FF2B5EF4-FFF2-40B4-BE49-F238E27FC236}">
                <a16:creationId xmlns:a16="http://schemas.microsoft.com/office/drawing/2014/main" id="{FE5F9BE3-7751-4A95-9058-55CD24C05ADA}"/>
              </a:ext>
            </a:extLst>
          </p:cNvPr>
          <p:cNvSpPr>
            <a:spLocks/>
          </p:cNvSpPr>
          <p:nvPr/>
        </p:nvSpPr>
        <p:spPr bwMode="auto">
          <a:xfrm>
            <a:off x="5648011" y="2725612"/>
            <a:ext cx="228181" cy="284444"/>
          </a:xfrm>
          <a:custGeom>
            <a:avLst/>
            <a:gdLst>
              <a:gd name="T0" fmla="*/ 7 w 871"/>
              <a:gd name="T1" fmla="*/ 968 h 1088"/>
              <a:gd name="T2" fmla="*/ 66 w 871"/>
              <a:gd name="T3" fmla="*/ 867 h 1088"/>
              <a:gd name="T4" fmla="*/ 132 w 871"/>
              <a:gd name="T5" fmla="*/ 771 h 1088"/>
              <a:gd name="T6" fmla="*/ 220 w 871"/>
              <a:gd name="T7" fmla="*/ 664 h 1088"/>
              <a:gd name="T8" fmla="*/ 329 w 871"/>
              <a:gd name="T9" fmla="*/ 552 h 1088"/>
              <a:gd name="T10" fmla="*/ 293 w 871"/>
              <a:gd name="T11" fmla="*/ 468 h 1088"/>
              <a:gd name="T12" fmla="*/ 253 w 871"/>
              <a:gd name="T13" fmla="*/ 353 h 1088"/>
              <a:gd name="T14" fmla="*/ 229 w 871"/>
              <a:gd name="T15" fmla="*/ 255 h 1088"/>
              <a:gd name="T16" fmla="*/ 216 w 871"/>
              <a:gd name="T17" fmla="*/ 173 h 1088"/>
              <a:gd name="T18" fmla="*/ 211 w 871"/>
              <a:gd name="T19" fmla="*/ 72 h 1088"/>
              <a:gd name="T20" fmla="*/ 214 w 871"/>
              <a:gd name="T21" fmla="*/ 43 h 1088"/>
              <a:gd name="T22" fmla="*/ 231 w 871"/>
              <a:gd name="T23" fmla="*/ 14 h 1088"/>
              <a:gd name="T24" fmla="*/ 257 w 871"/>
              <a:gd name="T25" fmla="*/ 1 h 1088"/>
              <a:gd name="T26" fmla="*/ 285 w 871"/>
              <a:gd name="T27" fmla="*/ 2 h 1088"/>
              <a:gd name="T28" fmla="*/ 315 w 871"/>
              <a:gd name="T29" fmla="*/ 16 h 1088"/>
              <a:gd name="T30" fmla="*/ 332 w 871"/>
              <a:gd name="T31" fmla="*/ 33 h 1088"/>
              <a:gd name="T32" fmla="*/ 362 w 871"/>
              <a:gd name="T33" fmla="*/ 149 h 1088"/>
              <a:gd name="T34" fmla="*/ 402 w 871"/>
              <a:gd name="T35" fmla="*/ 260 h 1088"/>
              <a:gd name="T36" fmla="*/ 444 w 871"/>
              <a:gd name="T37" fmla="*/ 350 h 1088"/>
              <a:gd name="T38" fmla="*/ 499 w 871"/>
              <a:gd name="T39" fmla="*/ 333 h 1088"/>
              <a:gd name="T40" fmla="*/ 598 w 871"/>
              <a:gd name="T41" fmla="*/ 221 h 1088"/>
              <a:gd name="T42" fmla="*/ 676 w 871"/>
              <a:gd name="T43" fmla="*/ 142 h 1088"/>
              <a:gd name="T44" fmla="*/ 757 w 871"/>
              <a:gd name="T45" fmla="*/ 70 h 1088"/>
              <a:gd name="T46" fmla="*/ 778 w 871"/>
              <a:gd name="T47" fmla="*/ 55 h 1088"/>
              <a:gd name="T48" fmla="*/ 817 w 871"/>
              <a:gd name="T49" fmla="*/ 73 h 1088"/>
              <a:gd name="T50" fmla="*/ 844 w 871"/>
              <a:gd name="T51" fmla="*/ 96 h 1088"/>
              <a:gd name="T52" fmla="*/ 864 w 871"/>
              <a:gd name="T53" fmla="*/ 129 h 1088"/>
              <a:gd name="T54" fmla="*/ 871 w 871"/>
              <a:gd name="T55" fmla="*/ 154 h 1088"/>
              <a:gd name="T56" fmla="*/ 853 w 871"/>
              <a:gd name="T57" fmla="*/ 188 h 1088"/>
              <a:gd name="T58" fmla="*/ 791 w 871"/>
              <a:gd name="T59" fmla="*/ 259 h 1088"/>
              <a:gd name="T60" fmla="*/ 708 w 871"/>
              <a:gd name="T61" fmla="*/ 353 h 1088"/>
              <a:gd name="T62" fmla="*/ 637 w 871"/>
              <a:gd name="T63" fmla="*/ 449 h 1088"/>
              <a:gd name="T64" fmla="*/ 563 w 871"/>
              <a:gd name="T65" fmla="*/ 575 h 1088"/>
              <a:gd name="T66" fmla="*/ 560 w 871"/>
              <a:gd name="T67" fmla="*/ 600 h 1088"/>
              <a:gd name="T68" fmla="*/ 565 w 871"/>
              <a:gd name="T69" fmla="*/ 641 h 1088"/>
              <a:gd name="T70" fmla="*/ 585 w 871"/>
              <a:gd name="T71" fmla="*/ 710 h 1088"/>
              <a:gd name="T72" fmla="*/ 626 w 871"/>
              <a:gd name="T73" fmla="*/ 794 h 1088"/>
              <a:gd name="T74" fmla="*/ 696 w 871"/>
              <a:gd name="T75" fmla="*/ 916 h 1088"/>
              <a:gd name="T76" fmla="*/ 716 w 871"/>
              <a:gd name="T77" fmla="*/ 965 h 1088"/>
              <a:gd name="T78" fmla="*/ 699 w 871"/>
              <a:gd name="T79" fmla="*/ 998 h 1088"/>
              <a:gd name="T80" fmla="*/ 680 w 871"/>
              <a:gd name="T81" fmla="*/ 1023 h 1088"/>
              <a:gd name="T82" fmla="*/ 640 w 871"/>
              <a:gd name="T83" fmla="*/ 1049 h 1088"/>
              <a:gd name="T84" fmla="*/ 590 w 871"/>
              <a:gd name="T85" fmla="*/ 998 h 1088"/>
              <a:gd name="T86" fmla="*/ 500 w 871"/>
              <a:gd name="T87" fmla="*/ 893 h 1088"/>
              <a:gd name="T88" fmla="*/ 441 w 871"/>
              <a:gd name="T89" fmla="*/ 810 h 1088"/>
              <a:gd name="T90" fmla="*/ 403 w 871"/>
              <a:gd name="T91" fmla="*/ 750 h 1088"/>
              <a:gd name="T92" fmla="*/ 331 w 871"/>
              <a:gd name="T93" fmla="*/ 819 h 1088"/>
              <a:gd name="T94" fmla="*/ 233 w 871"/>
              <a:gd name="T95" fmla="*/ 929 h 1088"/>
              <a:gd name="T96" fmla="*/ 84 w 871"/>
              <a:gd name="T97" fmla="*/ 1088 h 1088"/>
              <a:gd name="T98" fmla="*/ 69 w 871"/>
              <a:gd name="T99" fmla="*/ 1086 h 1088"/>
              <a:gd name="T100" fmla="*/ 35 w 871"/>
              <a:gd name="T101" fmla="*/ 1073 h 1088"/>
              <a:gd name="T102" fmla="*/ 12 w 871"/>
              <a:gd name="T103" fmla="*/ 1051 h 1088"/>
              <a:gd name="T104" fmla="*/ 0 w 871"/>
              <a:gd name="T105" fmla="*/ 1013 h 1088"/>
              <a:gd name="T106" fmla="*/ 2 w 871"/>
              <a:gd name="T107" fmla="*/ 97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1" h="1088">
                <a:moveTo>
                  <a:pt x="2" y="978"/>
                </a:moveTo>
                <a:lnTo>
                  <a:pt x="2" y="978"/>
                </a:lnTo>
                <a:lnTo>
                  <a:pt x="7" y="968"/>
                </a:lnTo>
                <a:lnTo>
                  <a:pt x="23" y="938"/>
                </a:lnTo>
                <a:lnTo>
                  <a:pt x="49" y="894"/>
                </a:lnTo>
                <a:lnTo>
                  <a:pt x="66" y="867"/>
                </a:lnTo>
                <a:lnTo>
                  <a:pt x="85" y="837"/>
                </a:lnTo>
                <a:lnTo>
                  <a:pt x="107" y="806"/>
                </a:lnTo>
                <a:lnTo>
                  <a:pt x="132" y="771"/>
                </a:lnTo>
                <a:lnTo>
                  <a:pt x="159" y="737"/>
                </a:lnTo>
                <a:lnTo>
                  <a:pt x="188" y="700"/>
                </a:lnTo>
                <a:lnTo>
                  <a:pt x="220" y="664"/>
                </a:lnTo>
                <a:lnTo>
                  <a:pt x="253" y="626"/>
                </a:lnTo>
                <a:lnTo>
                  <a:pt x="290" y="589"/>
                </a:lnTo>
                <a:lnTo>
                  <a:pt x="329" y="552"/>
                </a:lnTo>
                <a:lnTo>
                  <a:pt x="329" y="552"/>
                </a:lnTo>
                <a:lnTo>
                  <a:pt x="310" y="509"/>
                </a:lnTo>
                <a:lnTo>
                  <a:pt x="293" y="468"/>
                </a:lnTo>
                <a:lnTo>
                  <a:pt x="278" y="428"/>
                </a:lnTo>
                <a:lnTo>
                  <a:pt x="264" y="390"/>
                </a:lnTo>
                <a:lnTo>
                  <a:pt x="253" y="353"/>
                </a:lnTo>
                <a:lnTo>
                  <a:pt x="243" y="319"/>
                </a:lnTo>
                <a:lnTo>
                  <a:pt x="235" y="287"/>
                </a:lnTo>
                <a:lnTo>
                  <a:pt x="229" y="255"/>
                </a:lnTo>
                <a:lnTo>
                  <a:pt x="223" y="226"/>
                </a:lnTo>
                <a:lnTo>
                  <a:pt x="220" y="199"/>
                </a:lnTo>
                <a:lnTo>
                  <a:pt x="216" y="173"/>
                </a:lnTo>
                <a:lnTo>
                  <a:pt x="214" y="150"/>
                </a:lnTo>
                <a:lnTo>
                  <a:pt x="212" y="108"/>
                </a:lnTo>
                <a:lnTo>
                  <a:pt x="211" y="72"/>
                </a:lnTo>
                <a:lnTo>
                  <a:pt x="211" y="72"/>
                </a:lnTo>
                <a:lnTo>
                  <a:pt x="212" y="56"/>
                </a:lnTo>
                <a:lnTo>
                  <a:pt x="214" y="43"/>
                </a:lnTo>
                <a:lnTo>
                  <a:pt x="219" y="32"/>
                </a:lnTo>
                <a:lnTo>
                  <a:pt x="224" y="23"/>
                </a:lnTo>
                <a:lnTo>
                  <a:pt x="231" y="14"/>
                </a:lnTo>
                <a:lnTo>
                  <a:pt x="239" y="9"/>
                </a:lnTo>
                <a:lnTo>
                  <a:pt x="247" y="4"/>
                </a:lnTo>
                <a:lnTo>
                  <a:pt x="257" y="1"/>
                </a:lnTo>
                <a:lnTo>
                  <a:pt x="265" y="0"/>
                </a:lnTo>
                <a:lnTo>
                  <a:pt x="275" y="0"/>
                </a:lnTo>
                <a:lnTo>
                  <a:pt x="285" y="2"/>
                </a:lnTo>
                <a:lnTo>
                  <a:pt x="295" y="5"/>
                </a:lnTo>
                <a:lnTo>
                  <a:pt x="305" y="10"/>
                </a:lnTo>
                <a:lnTo>
                  <a:pt x="315" y="16"/>
                </a:lnTo>
                <a:lnTo>
                  <a:pt x="324" y="24"/>
                </a:lnTo>
                <a:lnTo>
                  <a:pt x="332" y="33"/>
                </a:lnTo>
                <a:lnTo>
                  <a:pt x="332" y="33"/>
                </a:lnTo>
                <a:lnTo>
                  <a:pt x="339" y="65"/>
                </a:lnTo>
                <a:lnTo>
                  <a:pt x="349" y="102"/>
                </a:lnTo>
                <a:lnTo>
                  <a:pt x="362" y="149"/>
                </a:lnTo>
                <a:lnTo>
                  <a:pt x="379" y="202"/>
                </a:lnTo>
                <a:lnTo>
                  <a:pt x="390" y="231"/>
                </a:lnTo>
                <a:lnTo>
                  <a:pt x="402" y="260"/>
                </a:lnTo>
                <a:lnTo>
                  <a:pt x="414" y="290"/>
                </a:lnTo>
                <a:lnTo>
                  <a:pt x="429" y="320"/>
                </a:lnTo>
                <a:lnTo>
                  <a:pt x="444" y="350"/>
                </a:lnTo>
                <a:lnTo>
                  <a:pt x="461" y="379"/>
                </a:lnTo>
                <a:lnTo>
                  <a:pt x="461" y="379"/>
                </a:lnTo>
                <a:lnTo>
                  <a:pt x="499" y="333"/>
                </a:lnTo>
                <a:lnTo>
                  <a:pt x="535" y="292"/>
                </a:lnTo>
                <a:lnTo>
                  <a:pt x="567" y="254"/>
                </a:lnTo>
                <a:lnTo>
                  <a:pt x="598" y="221"/>
                </a:lnTo>
                <a:lnTo>
                  <a:pt x="626" y="191"/>
                </a:lnTo>
                <a:lnTo>
                  <a:pt x="652" y="164"/>
                </a:lnTo>
                <a:lnTo>
                  <a:pt x="676" y="142"/>
                </a:lnTo>
                <a:lnTo>
                  <a:pt x="697" y="122"/>
                </a:lnTo>
                <a:lnTo>
                  <a:pt x="731" y="91"/>
                </a:lnTo>
                <a:lnTo>
                  <a:pt x="757" y="70"/>
                </a:lnTo>
                <a:lnTo>
                  <a:pt x="773" y="59"/>
                </a:lnTo>
                <a:lnTo>
                  <a:pt x="778" y="55"/>
                </a:lnTo>
                <a:lnTo>
                  <a:pt x="778" y="55"/>
                </a:lnTo>
                <a:lnTo>
                  <a:pt x="793" y="60"/>
                </a:lnTo>
                <a:lnTo>
                  <a:pt x="805" y="65"/>
                </a:lnTo>
                <a:lnTo>
                  <a:pt x="817" y="73"/>
                </a:lnTo>
                <a:lnTo>
                  <a:pt x="827" y="80"/>
                </a:lnTo>
                <a:lnTo>
                  <a:pt x="836" y="87"/>
                </a:lnTo>
                <a:lnTo>
                  <a:pt x="844" y="96"/>
                </a:lnTo>
                <a:lnTo>
                  <a:pt x="850" y="104"/>
                </a:lnTo>
                <a:lnTo>
                  <a:pt x="855" y="113"/>
                </a:lnTo>
                <a:lnTo>
                  <a:pt x="864" y="129"/>
                </a:lnTo>
                <a:lnTo>
                  <a:pt x="868" y="142"/>
                </a:lnTo>
                <a:lnTo>
                  <a:pt x="870" y="151"/>
                </a:lnTo>
                <a:lnTo>
                  <a:pt x="871" y="154"/>
                </a:lnTo>
                <a:lnTo>
                  <a:pt x="871" y="154"/>
                </a:lnTo>
                <a:lnTo>
                  <a:pt x="863" y="171"/>
                </a:lnTo>
                <a:lnTo>
                  <a:pt x="853" y="188"/>
                </a:lnTo>
                <a:lnTo>
                  <a:pt x="840" y="204"/>
                </a:lnTo>
                <a:lnTo>
                  <a:pt x="826" y="221"/>
                </a:lnTo>
                <a:lnTo>
                  <a:pt x="791" y="259"/>
                </a:lnTo>
                <a:lnTo>
                  <a:pt x="753" y="302"/>
                </a:lnTo>
                <a:lnTo>
                  <a:pt x="730" y="327"/>
                </a:lnTo>
                <a:lnTo>
                  <a:pt x="708" y="353"/>
                </a:lnTo>
                <a:lnTo>
                  <a:pt x="685" y="382"/>
                </a:lnTo>
                <a:lnTo>
                  <a:pt x="660" y="414"/>
                </a:lnTo>
                <a:lnTo>
                  <a:pt x="637" y="449"/>
                </a:lnTo>
                <a:lnTo>
                  <a:pt x="612" y="488"/>
                </a:lnTo>
                <a:lnTo>
                  <a:pt x="588" y="529"/>
                </a:lnTo>
                <a:lnTo>
                  <a:pt x="563" y="575"/>
                </a:lnTo>
                <a:lnTo>
                  <a:pt x="563" y="575"/>
                </a:lnTo>
                <a:lnTo>
                  <a:pt x="561" y="588"/>
                </a:lnTo>
                <a:lnTo>
                  <a:pt x="560" y="600"/>
                </a:lnTo>
                <a:lnTo>
                  <a:pt x="561" y="614"/>
                </a:lnTo>
                <a:lnTo>
                  <a:pt x="562" y="628"/>
                </a:lnTo>
                <a:lnTo>
                  <a:pt x="565" y="641"/>
                </a:lnTo>
                <a:lnTo>
                  <a:pt x="567" y="655"/>
                </a:lnTo>
                <a:lnTo>
                  <a:pt x="575" y="682"/>
                </a:lnTo>
                <a:lnTo>
                  <a:pt x="585" y="710"/>
                </a:lnTo>
                <a:lnTo>
                  <a:pt x="597" y="738"/>
                </a:lnTo>
                <a:lnTo>
                  <a:pt x="611" y="766"/>
                </a:lnTo>
                <a:lnTo>
                  <a:pt x="626" y="794"/>
                </a:lnTo>
                <a:lnTo>
                  <a:pt x="656" y="846"/>
                </a:lnTo>
                <a:lnTo>
                  <a:pt x="684" y="894"/>
                </a:lnTo>
                <a:lnTo>
                  <a:pt x="696" y="916"/>
                </a:lnTo>
                <a:lnTo>
                  <a:pt x="706" y="937"/>
                </a:lnTo>
                <a:lnTo>
                  <a:pt x="712" y="956"/>
                </a:lnTo>
                <a:lnTo>
                  <a:pt x="716" y="965"/>
                </a:lnTo>
                <a:lnTo>
                  <a:pt x="717" y="973"/>
                </a:lnTo>
                <a:lnTo>
                  <a:pt x="717" y="973"/>
                </a:lnTo>
                <a:lnTo>
                  <a:pt x="699" y="998"/>
                </a:lnTo>
                <a:lnTo>
                  <a:pt x="692" y="1008"/>
                </a:lnTo>
                <a:lnTo>
                  <a:pt x="687" y="1015"/>
                </a:lnTo>
                <a:lnTo>
                  <a:pt x="680" y="1023"/>
                </a:lnTo>
                <a:lnTo>
                  <a:pt x="670" y="1029"/>
                </a:lnTo>
                <a:lnTo>
                  <a:pt x="658" y="1038"/>
                </a:lnTo>
                <a:lnTo>
                  <a:pt x="640" y="1049"/>
                </a:lnTo>
                <a:lnTo>
                  <a:pt x="640" y="1049"/>
                </a:lnTo>
                <a:lnTo>
                  <a:pt x="616" y="1026"/>
                </a:lnTo>
                <a:lnTo>
                  <a:pt x="590" y="998"/>
                </a:lnTo>
                <a:lnTo>
                  <a:pt x="557" y="962"/>
                </a:lnTo>
                <a:lnTo>
                  <a:pt x="519" y="917"/>
                </a:lnTo>
                <a:lnTo>
                  <a:pt x="500" y="893"/>
                </a:lnTo>
                <a:lnTo>
                  <a:pt x="480" y="867"/>
                </a:lnTo>
                <a:lnTo>
                  <a:pt x="460" y="839"/>
                </a:lnTo>
                <a:lnTo>
                  <a:pt x="441" y="810"/>
                </a:lnTo>
                <a:lnTo>
                  <a:pt x="421" y="780"/>
                </a:lnTo>
                <a:lnTo>
                  <a:pt x="403" y="750"/>
                </a:lnTo>
                <a:lnTo>
                  <a:pt x="403" y="750"/>
                </a:lnTo>
                <a:lnTo>
                  <a:pt x="383" y="768"/>
                </a:lnTo>
                <a:lnTo>
                  <a:pt x="364" y="785"/>
                </a:lnTo>
                <a:lnTo>
                  <a:pt x="331" y="819"/>
                </a:lnTo>
                <a:lnTo>
                  <a:pt x="300" y="853"/>
                </a:lnTo>
                <a:lnTo>
                  <a:pt x="268" y="889"/>
                </a:lnTo>
                <a:lnTo>
                  <a:pt x="233" y="929"/>
                </a:lnTo>
                <a:lnTo>
                  <a:pt x="193" y="975"/>
                </a:lnTo>
                <a:lnTo>
                  <a:pt x="144" y="1027"/>
                </a:lnTo>
                <a:lnTo>
                  <a:pt x="84" y="1088"/>
                </a:lnTo>
                <a:lnTo>
                  <a:pt x="84" y="1088"/>
                </a:lnTo>
                <a:lnTo>
                  <a:pt x="80" y="1087"/>
                </a:lnTo>
                <a:lnTo>
                  <a:pt x="69" y="1086"/>
                </a:lnTo>
                <a:lnTo>
                  <a:pt x="53" y="1081"/>
                </a:lnTo>
                <a:lnTo>
                  <a:pt x="44" y="1077"/>
                </a:lnTo>
                <a:lnTo>
                  <a:pt x="35" y="1073"/>
                </a:lnTo>
                <a:lnTo>
                  <a:pt x="26" y="1066"/>
                </a:lnTo>
                <a:lnTo>
                  <a:pt x="19" y="1059"/>
                </a:lnTo>
                <a:lnTo>
                  <a:pt x="12" y="1051"/>
                </a:lnTo>
                <a:lnTo>
                  <a:pt x="5" y="1039"/>
                </a:lnTo>
                <a:lnTo>
                  <a:pt x="2" y="1027"/>
                </a:lnTo>
                <a:lnTo>
                  <a:pt x="0" y="1013"/>
                </a:lnTo>
                <a:lnTo>
                  <a:pt x="0" y="997"/>
                </a:lnTo>
                <a:lnTo>
                  <a:pt x="2" y="978"/>
                </a:lnTo>
                <a:lnTo>
                  <a:pt x="2" y="97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13" name="Ellipse 312">
            <a:extLst>
              <a:ext uri="{FF2B5EF4-FFF2-40B4-BE49-F238E27FC236}">
                <a16:creationId xmlns:a16="http://schemas.microsoft.com/office/drawing/2014/main" id="{E7802A17-24D9-4FFC-9FCC-2B5FDECA6201}"/>
              </a:ext>
            </a:extLst>
          </p:cNvPr>
          <p:cNvSpPr/>
          <p:nvPr/>
        </p:nvSpPr>
        <p:spPr bwMode="auto">
          <a:xfrm>
            <a:off x="5530353"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37" name="Freeform 93">
            <a:extLst>
              <a:ext uri="{FF2B5EF4-FFF2-40B4-BE49-F238E27FC236}">
                <a16:creationId xmlns:a16="http://schemas.microsoft.com/office/drawing/2014/main" id="{31697655-0A9E-44E6-8AB3-9A82B3F87975}"/>
              </a:ext>
            </a:extLst>
          </p:cNvPr>
          <p:cNvSpPr>
            <a:spLocks/>
          </p:cNvSpPr>
          <p:nvPr/>
        </p:nvSpPr>
        <p:spPr bwMode="auto">
          <a:xfrm>
            <a:off x="5648011" y="3971505"/>
            <a:ext cx="228181" cy="284444"/>
          </a:xfrm>
          <a:custGeom>
            <a:avLst/>
            <a:gdLst>
              <a:gd name="T0" fmla="*/ 7 w 871"/>
              <a:gd name="T1" fmla="*/ 968 h 1088"/>
              <a:gd name="T2" fmla="*/ 66 w 871"/>
              <a:gd name="T3" fmla="*/ 867 h 1088"/>
              <a:gd name="T4" fmla="*/ 132 w 871"/>
              <a:gd name="T5" fmla="*/ 771 h 1088"/>
              <a:gd name="T6" fmla="*/ 220 w 871"/>
              <a:gd name="T7" fmla="*/ 664 h 1088"/>
              <a:gd name="T8" fmla="*/ 329 w 871"/>
              <a:gd name="T9" fmla="*/ 552 h 1088"/>
              <a:gd name="T10" fmla="*/ 293 w 871"/>
              <a:gd name="T11" fmla="*/ 468 h 1088"/>
              <a:gd name="T12" fmla="*/ 253 w 871"/>
              <a:gd name="T13" fmla="*/ 353 h 1088"/>
              <a:gd name="T14" fmla="*/ 229 w 871"/>
              <a:gd name="T15" fmla="*/ 255 h 1088"/>
              <a:gd name="T16" fmla="*/ 216 w 871"/>
              <a:gd name="T17" fmla="*/ 173 h 1088"/>
              <a:gd name="T18" fmla="*/ 211 w 871"/>
              <a:gd name="T19" fmla="*/ 72 h 1088"/>
              <a:gd name="T20" fmla="*/ 214 w 871"/>
              <a:gd name="T21" fmla="*/ 43 h 1088"/>
              <a:gd name="T22" fmla="*/ 231 w 871"/>
              <a:gd name="T23" fmla="*/ 14 h 1088"/>
              <a:gd name="T24" fmla="*/ 257 w 871"/>
              <a:gd name="T25" fmla="*/ 1 h 1088"/>
              <a:gd name="T26" fmla="*/ 285 w 871"/>
              <a:gd name="T27" fmla="*/ 2 h 1088"/>
              <a:gd name="T28" fmla="*/ 315 w 871"/>
              <a:gd name="T29" fmla="*/ 16 h 1088"/>
              <a:gd name="T30" fmla="*/ 332 w 871"/>
              <a:gd name="T31" fmla="*/ 33 h 1088"/>
              <a:gd name="T32" fmla="*/ 362 w 871"/>
              <a:gd name="T33" fmla="*/ 149 h 1088"/>
              <a:gd name="T34" fmla="*/ 402 w 871"/>
              <a:gd name="T35" fmla="*/ 260 h 1088"/>
              <a:gd name="T36" fmla="*/ 444 w 871"/>
              <a:gd name="T37" fmla="*/ 350 h 1088"/>
              <a:gd name="T38" fmla="*/ 499 w 871"/>
              <a:gd name="T39" fmla="*/ 333 h 1088"/>
              <a:gd name="T40" fmla="*/ 598 w 871"/>
              <a:gd name="T41" fmla="*/ 221 h 1088"/>
              <a:gd name="T42" fmla="*/ 676 w 871"/>
              <a:gd name="T43" fmla="*/ 142 h 1088"/>
              <a:gd name="T44" fmla="*/ 757 w 871"/>
              <a:gd name="T45" fmla="*/ 70 h 1088"/>
              <a:gd name="T46" fmla="*/ 778 w 871"/>
              <a:gd name="T47" fmla="*/ 55 h 1088"/>
              <a:gd name="T48" fmla="*/ 817 w 871"/>
              <a:gd name="T49" fmla="*/ 73 h 1088"/>
              <a:gd name="T50" fmla="*/ 844 w 871"/>
              <a:gd name="T51" fmla="*/ 96 h 1088"/>
              <a:gd name="T52" fmla="*/ 864 w 871"/>
              <a:gd name="T53" fmla="*/ 129 h 1088"/>
              <a:gd name="T54" fmla="*/ 871 w 871"/>
              <a:gd name="T55" fmla="*/ 154 h 1088"/>
              <a:gd name="T56" fmla="*/ 853 w 871"/>
              <a:gd name="T57" fmla="*/ 188 h 1088"/>
              <a:gd name="T58" fmla="*/ 791 w 871"/>
              <a:gd name="T59" fmla="*/ 259 h 1088"/>
              <a:gd name="T60" fmla="*/ 708 w 871"/>
              <a:gd name="T61" fmla="*/ 353 h 1088"/>
              <a:gd name="T62" fmla="*/ 637 w 871"/>
              <a:gd name="T63" fmla="*/ 449 h 1088"/>
              <a:gd name="T64" fmla="*/ 563 w 871"/>
              <a:gd name="T65" fmla="*/ 575 h 1088"/>
              <a:gd name="T66" fmla="*/ 560 w 871"/>
              <a:gd name="T67" fmla="*/ 600 h 1088"/>
              <a:gd name="T68" fmla="*/ 565 w 871"/>
              <a:gd name="T69" fmla="*/ 641 h 1088"/>
              <a:gd name="T70" fmla="*/ 585 w 871"/>
              <a:gd name="T71" fmla="*/ 710 h 1088"/>
              <a:gd name="T72" fmla="*/ 626 w 871"/>
              <a:gd name="T73" fmla="*/ 794 h 1088"/>
              <a:gd name="T74" fmla="*/ 696 w 871"/>
              <a:gd name="T75" fmla="*/ 916 h 1088"/>
              <a:gd name="T76" fmla="*/ 716 w 871"/>
              <a:gd name="T77" fmla="*/ 965 h 1088"/>
              <a:gd name="T78" fmla="*/ 699 w 871"/>
              <a:gd name="T79" fmla="*/ 998 h 1088"/>
              <a:gd name="T80" fmla="*/ 680 w 871"/>
              <a:gd name="T81" fmla="*/ 1023 h 1088"/>
              <a:gd name="T82" fmla="*/ 640 w 871"/>
              <a:gd name="T83" fmla="*/ 1049 h 1088"/>
              <a:gd name="T84" fmla="*/ 590 w 871"/>
              <a:gd name="T85" fmla="*/ 998 h 1088"/>
              <a:gd name="T86" fmla="*/ 500 w 871"/>
              <a:gd name="T87" fmla="*/ 893 h 1088"/>
              <a:gd name="T88" fmla="*/ 441 w 871"/>
              <a:gd name="T89" fmla="*/ 810 h 1088"/>
              <a:gd name="T90" fmla="*/ 403 w 871"/>
              <a:gd name="T91" fmla="*/ 750 h 1088"/>
              <a:gd name="T92" fmla="*/ 331 w 871"/>
              <a:gd name="T93" fmla="*/ 819 h 1088"/>
              <a:gd name="T94" fmla="*/ 233 w 871"/>
              <a:gd name="T95" fmla="*/ 929 h 1088"/>
              <a:gd name="T96" fmla="*/ 84 w 871"/>
              <a:gd name="T97" fmla="*/ 1088 h 1088"/>
              <a:gd name="T98" fmla="*/ 69 w 871"/>
              <a:gd name="T99" fmla="*/ 1086 h 1088"/>
              <a:gd name="T100" fmla="*/ 35 w 871"/>
              <a:gd name="T101" fmla="*/ 1073 h 1088"/>
              <a:gd name="T102" fmla="*/ 12 w 871"/>
              <a:gd name="T103" fmla="*/ 1051 h 1088"/>
              <a:gd name="T104" fmla="*/ 0 w 871"/>
              <a:gd name="T105" fmla="*/ 1013 h 1088"/>
              <a:gd name="T106" fmla="*/ 2 w 871"/>
              <a:gd name="T107" fmla="*/ 97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1" h="1088">
                <a:moveTo>
                  <a:pt x="2" y="978"/>
                </a:moveTo>
                <a:lnTo>
                  <a:pt x="2" y="978"/>
                </a:lnTo>
                <a:lnTo>
                  <a:pt x="7" y="968"/>
                </a:lnTo>
                <a:lnTo>
                  <a:pt x="23" y="938"/>
                </a:lnTo>
                <a:lnTo>
                  <a:pt x="49" y="894"/>
                </a:lnTo>
                <a:lnTo>
                  <a:pt x="66" y="867"/>
                </a:lnTo>
                <a:lnTo>
                  <a:pt x="85" y="837"/>
                </a:lnTo>
                <a:lnTo>
                  <a:pt x="107" y="806"/>
                </a:lnTo>
                <a:lnTo>
                  <a:pt x="132" y="771"/>
                </a:lnTo>
                <a:lnTo>
                  <a:pt x="159" y="737"/>
                </a:lnTo>
                <a:lnTo>
                  <a:pt x="188" y="700"/>
                </a:lnTo>
                <a:lnTo>
                  <a:pt x="220" y="664"/>
                </a:lnTo>
                <a:lnTo>
                  <a:pt x="253" y="626"/>
                </a:lnTo>
                <a:lnTo>
                  <a:pt x="290" y="589"/>
                </a:lnTo>
                <a:lnTo>
                  <a:pt x="329" y="552"/>
                </a:lnTo>
                <a:lnTo>
                  <a:pt x="329" y="552"/>
                </a:lnTo>
                <a:lnTo>
                  <a:pt x="310" y="509"/>
                </a:lnTo>
                <a:lnTo>
                  <a:pt x="293" y="468"/>
                </a:lnTo>
                <a:lnTo>
                  <a:pt x="278" y="428"/>
                </a:lnTo>
                <a:lnTo>
                  <a:pt x="264" y="390"/>
                </a:lnTo>
                <a:lnTo>
                  <a:pt x="253" y="353"/>
                </a:lnTo>
                <a:lnTo>
                  <a:pt x="243" y="319"/>
                </a:lnTo>
                <a:lnTo>
                  <a:pt x="235" y="287"/>
                </a:lnTo>
                <a:lnTo>
                  <a:pt x="229" y="255"/>
                </a:lnTo>
                <a:lnTo>
                  <a:pt x="223" y="226"/>
                </a:lnTo>
                <a:lnTo>
                  <a:pt x="220" y="199"/>
                </a:lnTo>
                <a:lnTo>
                  <a:pt x="216" y="173"/>
                </a:lnTo>
                <a:lnTo>
                  <a:pt x="214" y="150"/>
                </a:lnTo>
                <a:lnTo>
                  <a:pt x="212" y="108"/>
                </a:lnTo>
                <a:lnTo>
                  <a:pt x="211" y="72"/>
                </a:lnTo>
                <a:lnTo>
                  <a:pt x="211" y="72"/>
                </a:lnTo>
                <a:lnTo>
                  <a:pt x="212" y="56"/>
                </a:lnTo>
                <a:lnTo>
                  <a:pt x="214" y="43"/>
                </a:lnTo>
                <a:lnTo>
                  <a:pt x="219" y="32"/>
                </a:lnTo>
                <a:lnTo>
                  <a:pt x="224" y="23"/>
                </a:lnTo>
                <a:lnTo>
                  <a:pt x="231" y="14"/>
                </a:lnTo>
                <a:lnTo>
                  <a:pt x="239" y="9"/>
                </a:lnTo>
                <a:lnTo>
                  <a:pt x="247" y="4"/>
                </a:lnTo>
                <a:lnTo>
                  <a:pt x="257" y="1"/>
                </a:lnTo>
                <a:lnTo>
                  <a:pt x="265" y="0"/>
                </a:lnTo>
                <a:lnTo>
                  <a:pt x="275" y="0"/>
                </a:lnTo>
                <a:lnTo>
                  <a:pt x="285" y="2"/>
                </a:lnTo>
                <a:lnTo>
                  <a:pt x="295" y="5"/>
                </a:lnTo>
                <a:lnTo>
                  <a:pt x="305" y="10"/>
                </a:lnTo>
                <a:lnTo>
                  <a:pt x="315" y="16"/>
                </a:lnTo>
                <a:lnTo>
                  <a:pt x="324" y="24"/>
                </a:lnTo>
                <a:lnTo>
                  <a:pt x="332" y="33"/>
                </a:lnTo>
                <a:lnTo>
                  <a:pt x="332" y="33"/>
                </a:lnTo>
                <a:lnTo>
                  <a:pt x="339" y="65"/>
                </a:lnTo>
                <a:lnTo>
                  <a:pt x="349" y="102"/>
                </a:lnTo>
                <a:lnTo>
                  <a:pt x="362" y="149"/>
                </a:lnTo>
                <a:lnTo>
                  <a:pt x="379" y="202"/>
                </a:lnTo>
                <a:lnTo>
                  <a:pt x="390" y="231"/>
                </a:lnTo>
                <a:lnTo>
                  <a:pt x="402" y="260"/>
                </a:lnTo>
                <a:lnTo>
                  <a:pt x="414" y="290"/>
                </a:lnTo>
                <a:lnTo>
                  <a:pt x="429" y="320"/>
                </a:lnTo>
                <a:lnTo>
                  <a:pt x="444" y="350"/>
                </a:lnTo>
                <a:lnTo>
                  <a:pt x="461" y="379"/>
                </a:lnTo>
                <a:lnTo>
                  <a:pt x="461" y="379"/>
                </a:lnTo>
                <a:lnTo>
                  <a:pt x="499" y="333"/>
                </a:lnTo>
                <a:lnTo>
                  <a:pt x="535" y="292"/>
                </a:lnTo>
                <a:lnTo>
                  <a:pt x="567" y="254"/>
                </a:lnTo>
                <a:lnTo>
                  <a:pt x="598" y="221"/>
                </a:lnTo>
                <a:lnTo>
                  <a:pt x="626" y="191"/>
                </a:lnTo>
                <a:lnTo>
                  <a:pt x="652" y="164"/>
                </a:lnTo>
                <a:lnTo>
                  <a:pt x="676" y="142"/>
                </a:lnTo>
                <a:lnTo>
                  <a:pt x="697" y="122"/>
                </a:lnTo>
                <a:lnTo>
                  <a:pt x="731" y="91"/>
                </a:lnTo>
                <a:lnTo>
                  <a:pt x="757" y="70"/>
                </a:lnTo>
                <a:lnTo>
                  <a:pt x="773" y="59"/>
                </a:lnTo>
                <a:lnTo>
                  <a:pt x="778" y="55"/>
                </a:lnTo>
                <a:lnTo>
                  <a:pt x="778" y="55"/>
                </a:lnTo>
                <a:lnTo>
                  <a:pt x="793" y="60"/>
                </a:lnTo>
                <a:lnTo>
                  <a:pt x="805" y="65"/>
                </a:lnTo>
                <a:lnTo>
                  <a:pt x="817" y="73"/>
                </a:lnTo>
                <a:lnTo>
                  <a:pt x="827" y="80"/>
                </a:lnTo>
                <a:lnTo>
                  <a:pt x="836" y="87"/>
                </a:lnTo>
                <a:lnTo>
                  <a:pt x="844" y="96"/>
                </a:lnTo>
                <a:lnTo>
                  <a:pt x="850" y="104"/>
                </a:lnTo>
                <a:lnTo>
                  <a:pt x="855" y="113"/>
                </a:lnTo>
                <a:lnTo>
                  <a:pt x="864" y="129"/>
                </a:lnTo>
                <a:lnTo>
                  <a:pt x="868" y="142"/>
                </a:lnTo>
                <a:lnTo>
                  <a:pt x="870" y="151"/>
                </a:lnTo>
                <a:lnTo>
                  <a:pt x="871" y="154"/>
                </a:lnTo>
                <a:lnTo>
                  <a:pt x="871" y="154"/>
                </a:lnTo>
                <a:lnTo>
                  <a:pt x="863" y="171"/>
                </a:lnTo>
                <a:lnTo>
                  <a:pt x="853" y="188"/>
                </a:lnTo>
                <a:lnTo>
                  <a:pt x="840" y="204"/>
                </a:lnTo>
                <a:lnTo>
                  <a:pt x="826" y="221"/>
                </a:lnTo>
                <a:lnTo>
                  <a:pt x="791" y="259"/>
                </a:lnTo>
                <a:lnTo>
                  <a:pt x="753" y="302"/>
                </a:lnTo>
                <a:lnTo>
                  <a:pt x="730" y="327"/>
                </a:lnTo>
                <a:lnTo>
                  <a:pt x="708" y="353"/>
                </a:lnTo>
                <a:lnTo>
                  <a:pt x="685" y="382"/>
                </a:lnTo>
                <a:lnTo>
                  <a:pt x="660" y="414"/>
                </a:lnTo>
                <a:lnTo>
                  <a:pt x="637" y="449"/>
                </a:lnTo>
                <a:lnTo>
                  <a:pt x="612" y="488"/>
                </a:lnTo>
                <a:lnTo>
                  <a:pt x="588" y="529"/>
                </a:lnTo>
                <a:lnTo>
                  <a:pt x="563" y="575"/>
                </a:lnTo>
                <a:lnTo>
                  <a:pt x="563" y="575"/>
                </a:lnTo>
                <a:lnTo>
                  <a:pt x="561" y="588"/>
                </a:lnTo>
                <a:lnTo>
                  <a:pt x="560" y="600"/>
                </a:lnTo>
                <a:lnTo>
                  <a:pt x="561" y="614"/>
                </a:lnTo>
                <a:lnTo>
                  <a:pt x="562" y="628"/>
                </a:lnTo>
                <a:lnTo>
                  <a:pt x="565" y="641"/>
                </a:lnTo>
                <a:lnTo>
                  <a:pt x="567" y="655"/>
                </a:lnTo>
                <a:lnTo>
                  <a:pt x="575" y="682"/>
                </a:lnTo>
                <a:lnTo>
                  <a:pt x="585" y="710"/>
                </a:lnTo>
                <a:lnTo>
                  <a:pt x="597" y="738"/>
                </a:lnTo>
                <a:lnTo>
                  <a:pt x="611" y="766"/>
                </a:lnTo>
                <a:lnTo>
                  <a:pt x="626" y="794"/>
                </a:lnTo>
                <a:lnTo>
                  <a:pt x="656" y="846"/>
                </a:lnTo>
                <a:lnTo>
                  <a:pt x="684" y="894"/>
                </a:lnTo>
                <a:lnTo>
                  <a:pt x="696" y="916"/>
                </a:lnTo>
                <a:lnTo>
                  <a:pt x="706" y="937"/>
                </a:lnTo>
                <a:lnTo>
                  <a:pt x="712" y="956"/>
                </a:lnTo>
                <a:lnTo>
                  <a:pt x="716" y="965"/>
                </a:lnTo>
                <a:lnTo>
                  <a:pt x="717" y="973"/>
                </a:lnTo>
                <a:lnTo>
                  <a:pt x="717" y="973"/>
                </a:lnTo>
                <a:lnTo>
                  <a:pt x="699" y="998"/>
                </a:lnTo>
                <a:lnTo>
                  <a:pt x="692" y="1008"/>
                </a:lnTo>
                <a:lnTo>
                  <a:pt x="687" y="1015"/>
                </a:lnTo>
                <a:lnTo>
                  <a:pt x="680" y="1023"/>
                </a:lnTo>
                <a:lnTo>
                  <a:pt x="670" y="1029"/>
                </a:lnTo>
                <a:lnTo>
                  <a:pt x="658" y="1038"/>
                </a:lnTo>
                <a:lnTo>
                  <a:pt x="640" y="1049"/>
                </a:lnTo>
                <a:lnTo>
                  <a:pt x="640" y="1049"/>
                </a:lnTo>
                <a:lnTo>
                  <a:pt x="616" y="1026"/>
                </a:lnTo>
                <a:lnTo>
                  <a:pt x="590" y="998"/>
                </a:lnTo>
                <a:lnTo>
                  <a:pt x="557" y="962"/>
                </a:lnTo>
                <a:lnTo>
                  <a:pt x="519" y="917"/>
                </a:lnTo>
                <a:lnTo>
                  <a:pt x="500" y="893"/>
                </a:lnTo>
                <a:lnTo>
                  <a:pt x="480" y="867"/>
                </a:lnTo>
                <a:lnTo>
                  <a:pt x="460" y="839"/>
                </a:lnTo>
                <a:lnTo>
                  <a:pt x="441" y="810"/>
                </a:lnTo>
                <a:lnTo>
                  <a:pt x="421" y="780"/>
                </a:lnTo>
                <a:lnTo>
                  <a:pt x="403" y="750"/>
                </a:lnTo>
                <a:lnTo>
                  <a:pt x="403" y="750"/>
                </a:lnTo>
                <a:lnTo>
                  <a:pt x="383" y="768"/>
                </a:lnTo>
                <a:lnTo>
                  <a:pt x="364" y="785"/>
                </a:lnTo>
                <a:lnTo>
                  <a:pt x="331" y="819"/>
                </a:lnTo>
                <a:lnTo>
                  <a:pt x="300" y="853"/>
                </a:lnTo>
                <a:lnTo>
                  <a:pt x="268" y="889"/>
                </a:lnTo>
                <a:lnTo>
                  <a:pt x="233" y="929"/>
                </a:lnTo>
                <a:lnTo>
                  <a:pt x="193" y="975"/>
                </a:lnTo>
                <a:lnTo>
                  <a:pt x="144" y="1027"/>
                </a:lnTo>
                <a:lnTo>
                  <a:pt x="84" y="1088"/>
                </a:lnTo>
                <a:lnTo>
                  <a:pt x="84" y="1088"/>
                </a:lnTo>
                <a:lnTo>
                  <a:pt x="80" y="1087"/>
                </a:lnTo>
                <a:lnTo>
                  <a:pt x="69" y="1086"/>
                </a:lnTo>
                <a:lnTo>
                  <a:pt x="53" y="1081"/>
                </a:lnTo>
                <a:lnTo>
                  <a:pt x="44" y="1077"/>
                </a:lnTo>
                <a:lnTo>
                  <a:pt x="35" y="1073"/>
                </a:lnTo>
                <a:lnTo>
                  <a:pt x="26" y="1066"/>
                </a:lnTo>
                <a:lnTo>
                  <a:pt x="19" y="1059"/>
                </a:lnTo>
                <a:lnTo>
                  <a:pt x="12" y="1051"/>
                </a:lnTo>
                <a:lnTo>
                  <a:pt x="5" y="1039"/>
                </a:lnTo>
                <a:lnTo>
                  <a:pt x="2" y="1027"/>
                </a:lnTo>
                <a:lnTo>
                  <a:pt x="0" y="1013"/>
                </a:lnTo>
                <a:lnTo>
                  <a:pt x="0" y="997"/>
                </a:lnTo>
                <a:lnTo>
                  <a:pt x="2" y="978"/>
                </a:lnTo>
                <a:lnTo>
                  <a:pt x="2" y="9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73" name="Ellipse 72"/>
          <p:cNvSpPr/>
          <p:nvPr/>
        </p:nvSpPr>
        <p:spPr bwMode="auto">
          <a:xfrm>
            <a:off x="6186097"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96" name="Freeform 97">
            <a:extLst>
              <a:ext uri="{FF2B5EF4-FFF2-40B4-BE49-F238E27FC236}">
                <a16:creationId xmlns:a16="http://schemas.microsoft.com/office/drawing/2014/main" id="{B37A8394-5DF9-4DA4-AD97-1F0C5B86F3FE}"/>
              </a:ext>
            </a:extLst>
          </p:cNvPr>
          <p:cNvSpPr>
            <a:spLocks/>
          </p:cNvSpPr>
          <p:nvPr/>
        </p:nvSpPr>
        <p:spPr bwMode="auto">
          <a:xfrm>
            <a:off x="6195917" y="3245980"/>
            <a:ext cx="443858" cy="443858"/>
          </a:xfrm>
          <a:custGeom>
            <a:avLst/>
            <a:gdLst>
              <a:gd name="T0" fmla="*/ 1709 w 1710"/>
              <a:gd name="T1" fmla="*/ 899 h 1710"/>
              <a:gd name="T2" fmla="*/ 1692 w 1710"/>
              <a:gd name="T3" fmla="*/ 1027 h 1710"/>
              <a:gd name="T4" fmla="*/ 1657 w 1710"/>
              <a:gd name="T5" fmla="*/ 1149 h 1710"/>
              <a:gd name="T6" fmla="*/ 1606 w 1710"/>
              <a:gd name="T7" fmla="*/ 1263 h 1710"/>
              <a:gd name="T8" fmla="*/ 1539 w 1710"/>
              <a:gd name="T9" fmla="*/ 1366 h 1710"/>
              <a:gd name="T10" fmla="*/ 1459 w 1710"/>
              <a:gd name="T11" fmla="*/ 1459 h 1710"/>
              <a:gd name="T12" fmla="*/ 1366 w 1710"/>
              <a:gd name="T13" fmla="*/ 1539 h 1710"/>
              <a:gd name="T14" fmla="*/ 1263 w 1710"/>
              <a:gd name="T15" fmla="*/ 1606 h 1710"/>
              <a:gd name="T16" fmla="*/ 1149 w 1710"/>
              <a:gd name="T17" fmla="*/ 1657 h 1710"/>
              <a:gd name="T18" fmla="*/ 1027 w 1710"/>
              <a:gd name="T19" fmla="*/ 1692 h 1710"/>
              <a:gd name="T20" fmla="*/ 899 w 1710"/>
              <a:gd name="T21" fmla="*/ 1709 h 1710"/>
              <a:gd name="T22" fmla="*/ 811 w 1710"/>
              <a:gd name="T23" fmla="*/ 1709 h 1710"/>
              <a:gd name="T24" fmla="*/ 683 w 1710"/>
              <a:gd name="T25" fmla="*/ 1692 h 1710"/>
              <a:gd name="T26" fmla="*/ 561 w 1710"/>
              <a:gd name="T27" fmla="*/ 1657 h 1710"/>
              <a:gd name="T28" fmla="*/ 447 w 1710"/>
              <a:gd name="T29" fmla="*/ 1606 h 1710"/>
              <a:gd name="T30" fmla="*/ 344 w 1710"/>
              <a:gd name="T31" fmla="*/ 1539 h 1710"/>
              <a:gd name="T32" fmla="*/ 251 w 1710"/>
              <a:gd name="T33" fmla="*/ 1459 h 1710"/>
              <a:gd name="T34" fmla="*/ 171 w 1710"/>
              <a:gd name="T35" fmla="*/ 1366 h 1710"/>
              <a:gd name="T36" fmla="*/ 104 w 1710"/>
              <a:gd name="T37" fmla="*/ 1263 h 1710"/>
              <a:gd name="T38" fmla="*/ 53 w 1710"/>
              <a:gd name="T39" fmla="*/ 1149 h 1710"/>
              <a:gd name="T40" fmla="*/ 18 w 1710"/>
              <a:gd name="T41" fmla="*/ 1027 h 1710"/>
              <a:gd name="T42" fmla="*/ 1 w 1710"/>
              <a:gd name="T43" fmla="*/ 899 h 1710"/>
              <a:gd name="T44" fmla="*/ 1 w 1710"/>
              <a:gd name="T45" fmla="*/ 811 h 1710"/>
              <a:gd name="T46" fmla="*/ 18 w 1710"/>
              <a:gd name="T47" fmla="*/ 683 h 1710"/>
              <a:gd name="T48" fmla="*/ 53 w 1710"/>
              <a:gd name="T49" fmla="*/ 561 h 1710"/>
              <a:gd name="T50" fmla="*/ 104 w 1710"/>
              <a:gd name="T51" fmla="*/ 447 h 1710"/>
              <a:gd name="T52" fmla="*/ 171 w 1710"/>
              <a:gd name="T53" fmla="*/ 344 h 1710"/>
              <a:gd name="T54" fmla="*/ 251 w 1710"/>
              <a:gd name="T55" fmla="*/ 251 h 1710"/>
              <a:gd name="T56" fmla="*/ 344 w 1710"/>
              <a:gd name="T57" fmla="*/ 171 h 1710"/>
              <a:gd name="T58" fmla="*/ 447 w 1710"/>
              <a:gd name="T59" fmla="*/ 104 h 1710"/>
              <a:gd name="T60" fmla="*/ 561 w 1710"/>
              <a:gd name="T61" fmla="*/ 53 h 1710"/>
              <a:gd name="T62" fmla="*/ 683 w 1710"/>
              <a:gd name="T63" fmla="*/ 18 h 1710"/>
              <a:gd name="T64" fmla="*/ 811 w 1710"/>
              <a:gd name="T65" fmla="*/ 1 h 1710"/>
              <a:gd name="T66" fmla="*/ 899 w 1710"/>
              <a:gd name="T67" fmla="*/ 1 h 1710"/>
              <a:gd name="T68" fmla="*/ 1027 w 1710"/>
              <a:gd name="T69" fmla="*/ 18 h 1710"/>
              <a:gd name="T70" fmla="*/ 1149 w 1710"/>
              <a:gd name="T71" fmla="*/ 53 h 1710"/>
              <a:gd name="T72" fmla="*/ 1263 w 1710"/>
              <a:gd name="T73" fmla="*/ 104 h 1710"/>
              <a:gd name="T74" fmla="*/ 1366 w 1710"/>
              <a:gd name="T75" fmla="*/ 171 h 1710"/>
              <a:gd name="T76" fmla="*/ 1459 w 1710"/>
              <a:gd name="T77" fmla="*/ 251 h 1710"/>
              <a:gd name="T78" fmla="*/ 1539 w 1710"/>
              <a:gd name="T79" fmla="*/ 344 h 1710"/>
              <a:gd name="T80" fmla="*/ 1606 w 1710"/>
              <a:gd name="T81" fmla="*/ 447 h 1710"/>
              <a:gd name="T82" fmla="*/ 1657 w 1710"/>
              <a:gd name="T83" fmla="*/ 561 h 1710"/>
              <a:gd name="T84" fmla="*/ 1692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4"/>
                </a:moveTo>
                <a:lnTo>
                  <a:pt x="1710" y="854"/>
                </a:lnTo>
                <a:lnTo>
                  <a:pt x="1709" y="899"/>
                </a:lnTo>
                <a:lnTo>
                  <a:pt x="1705" y="942"/>
                </a:lnTo>
                <a:lnTo>
                  <a:pt x="1700" y="985"/>
                </a:lnTo>
                <a:lnTo>
                  <a:pt x="1692" y="1027"/>
                </a:lnTo>
                <a:lnTo>
                  <a:pt x="1683" y="1068"/>
                </a:lnTo>
                <a:lnTo>
                  <a:pt x="1671" y="1109"/>
                </a:lnTo>
                <a:lnTo>
                  <a:pt x="1657" y="1149"/>
                </a:lnTo>
                <a:lnTo>
                  <a:pt x="1643" y="1188"/>
                </a:lnTo>
                <a:lnTo>
                  <a:pt x="1625" y="1226"/>
                </a:lnTo>
                <a:lnTo>
                  <a:pt x="1606" y="1263"/>
                </a:lnTo>
                <a:lnTo>
                  <a:pt x="1586" y="1298"/>
                </a:lnTo>
                <a:lnTo>
                  <a:pt x="1564" y="1333"/>
                </a:lnTo>
                <a:lnTo>
                  <a:pt x="1539" y="1366"/>
                </a:lnTo>
                <a:lnTo>
                  <a:pt x="1515" y="1398"/>
                </a:lnTo>
                <a:lnTo>
                  <a:pt x="1487" y="1429"/>
                </a:lnTo>
                <a:lnTo>
                  <a:pt x="1459" y="1459"/>
                </a:lnTo>
                <a:lnTo>
                  <a:pt x="1429" y="1487"/>
                </a:lnTo>
                <a:lnTo>
                  <a:pt x="1398" y="1514"/>
                </a:lnTo>
                <a:lnTo>
                  <a:pt x="1366" y="1539"/>
                </a:lnTo>
                <a:lnTo>
                  <a:pt x="1333" y="1564"/>
                </a:lnTo>
                <a:lnTo>
                  <a:pt x="1298" y="1586"/>
                </a:lnTo>
                <a:lnTo>
                  <a:pt x="1263" y="1606"/>
                </a:lnTo>
                <a:lnTo>
                  <a:pt x="1226" y="1625"/>
                </a:lnTo>
                <a:lnTo>
                  <a:pt x="1188" y="1643"/>
                </a:lnTo>
                <a:lnTo>
                  <a:pt x="1149" y="1657"/>
                </a:lnTo>
                <a:lnTo>
                  <a:pt x="1109" y="1671"/>
                </a:lnTo>
                <a:lnTo>
                  <a:pt x="1069" y="1683"/>
                </a:lnTo>
                <a:lnTo>
                  <a:pt x="1027" y="1692"/>
                </a:lnTo>
                <a:lnTo>
                  <a:pt x="986" y="1700"/>
                </a:lnTo>
                <a:lnTo>
                  <a:pt x="942" y="1705"/>
                </a:lnTo>
                <a:lnTo>
                  <a:pt x="899" y="1709"/>
                </a:lnTo>
                <a:lnTo>
                  <a:pt x="856" y="1710"/>
                </a:lnTo>
                <a:lnTo>
                  <a:pt x="856" y="1710"/>
                </a:lnTo>
                <a:lnTo>
                  <a:pt x="811" y="1709"/>
                </a:lnTo>
                <a:lnTo>
                  <a:pt x="768" y="1705"/>
                </a:lnTo>
                <a:lnTo>
                  <a:pt x="725" y="1700"/>
                </a:lnTo>
                <a:lnTo>
                  <a:pt x="683" y="1692"/>
                </a:lnTo>
                <a:lnTo>
                  <a:pt x="641" y="1683"/>
                </a:lnTo>
                <a:lnTo>
                  <a:pt x="601" y="1671"/>
                </a:lnTo>
                <a:lnTo>
                  <a:pt x="561" y="1657"/>
                </a:lnTo>
                <a:lnTo>
                  <a:pt x="522" y="1643"/>
                </a:lnTo>
                <a:lnTo>
                  <a:pt x="484" y="1625"/>
                </a:lnTo>
                <a:lnTo>
                  <a:pt x="447" y="1606"/>
                </a:lnTo>
                <a:lnTo>
                  <a:pt x="412" y="1586"/>
                </a:lnTo>
                <a:lnTo>
                  <a:pt x="377" y="1564"/>
                </a:lnTo>
                <a:lnTo>
                  <a:pt x="344" y="1539"/>
                </a:lnTo>
                <a:lnTo>
                  <a:pt x="312" y="1514"/>
                </a:lnTo>
                <a:lnTo>
                  <a:pt x="281" y="1487"/>
                </a:lnTo>
                <a:lnTo>
                  <a:pt x="251" y="1459"/>
                </a:lnTo>
                <a:lnTo>
                  <a:pt x="223" y="1429"/>
                </a:lnTo>
                <a:lnTo>
                  <a:pt x="196" y="1398"/>
                </a:lnTo>
                <a:lnTo>
                  <a:pt x="171" y="1366"/>
                </a:lnTo>
                <a:lnTo>
                  <a:pt x="146" y="1333"/>
                </a:lnTo>
                <a:lnTo>
                  <a:pt x="124" y="1298"/>
                </a:lnTo>
                <a:lnTo>
                  <a:pt x="104" y="1263"/>
                </a:lnTo>
                <a:lnTo>
                  <a:pt x="85" y="1226"/>
                </a:lnTo>
                <a:lnTo>
                  <a:pt x="67" y="1188"/>
                </a:lnTo>
                <a:lnTo>
                  <a:pt x="53" y="1149"/>
                </a:lnTo>
                <a:lnTo>
                  <a:pt x="39" y="1109"/>
                </a:lnTo>
                <a:lnTo>
                  <a:pt x="27" y="1068"/>
                </a:lnTo>
                <a:lnTo>
                  <a:pt x="18" y="1027"/>
                </a:lnTo>
                <a:lnTo>
                  <a:pt x="10" y="985"/>
                </a:lnTo>
                <a:lnTo>
                  <a:pt x="5" y="942"/>
                </a:lnTo>
                <a:lnTo>
                  <a:pt x="1" y="899"/>
                </a:lnTo>
                <a:lnTo>
                  <a:pt x="0" y="854"/>
                </a:lnTo>
                <a:lnTo>
                  <a:pt x="0" y="854"/>
                </a:lnTo>
                <a:lnTo>
                  <a:pt x="1" y="811"/>
                </a:lnTo>
                <a:lnTo>
                  <a:pt x="5" y="768"/>
                </a:lnTo>
                <a:lnTo>
                  <a:pt x="10" y="724"/>
                </a:lnTo>
                <a:lnTo>
                  <a:pt x="18" y="683"/>
                </a:lnTo>
                <a:lnTo>
                  <a:pt x="27" y="641"/>
                </a:lnTo>
                <a:lnTo>
                  <a:pt x="39" y="601"/>
                </a:lnTo>
                <a:lnTo>
                  <a:pt x="53" y="561"/>
                </a:lnTo>
                <a:lnTo>
                  <a:pt x="67" y="522"/>
                </a:lnTo>
                <a:lnTo>
                  <a:pt x="85" y="484"/>
                </a:lnTo>
                <a:lnTo>
                  <a:pt x="104" y="447"/>
                </a:lnTo>
                <a:lnTo>
                  <a:pt x="124" y="412"/>
                </a:lnTo>
                <a:lnTo>
                  <a:pt x="146" y="377"/>
                </a:lnTo>
                <a:lnTo>
                  <a:pt x="171" y="344"/>
                </a:lnTo>
                <a:lnTo>
                  <a:pt x="196" y="312"/>
                </a:lnTo>
                <a:lnTo>
                  <a:pt x="223" y="281"/>
                </a:lnTo>
                <a:lnTo>
                  <a:pt x="251" y="251"/>
                </a:lnTo>
                <a:lnTo>
                  <a:pt x="281" y="223"/>
                </a:lnTo>
                <a:lnTo>
                  <a:pt x="312" y="195"/>
                </a:lnTo>
                <a:lnTo>
                  <a:pt x="344" y="171"/>
                </a:lnTo>
                <a:lnTo>
                  <a:pt x="377" y="146"/>
                </a:lnTo>
                <a:lnTo>
                  <a:pt x="412" y="124"/>
                </a:lnTo>
                <a:lnTo>
                  <a:pt x="447" y="104"/>
                </a:lnTo>
                <a:lnTo>
                  <a:pt x="484" y="85"/>
                </a:lnTo>
                <a:lnTo>
                  <a:pt x="522" y="67"/>
                </a:lnTo>
                <a:lnTo>
                  <a:pt x="561" y="53"/>
                </a:lnTo>
                <a:lnTo>
                  <a:pt x="601" y="38"/>
                </a:lnTo>
                <a:lnTo>
                  <a:pt x="641" y="27"/>
                </a:lnTo>
                <a:lnTo>
                  <a:pt x="683" y="18"/>
                </a:lnTo>
                <a:lnTo>
                  <a:pt x="725" y="10"/>
                </a:lnTo>
                <a:lnTo>
                  <a:pt x="768" y="5"/>
                </a:lnTo>
                <a:lnTo>
                  <a:pt x="811" y="1"/>
                </a:lnTo>
                <a:lnTo>
                  <a:pt x="856" y="0"/>
                </a:lnTo>
                <a:lnTo>
                  <a:pt x="856" y="0"/>
                </a:lnTo>
                <a:lnTo>
                  <a:pt x="899" y="1"/>
                </a:lnTo>
                <a:lnTo>
                  <a:pt x="942" y="5"/>
                </a:lnTo>
                <a:lnTo>
                  <a:pt x="986" y="10"/>
                </a:lnTo>
                <a:lnTo>
                  <a:pt x="1027" y="18"/>
                </a:lnTo>
                <a:lnTo>
                  <a:pt x="1069" y="27"/>
                </a:lnTo>
                <a:lnTo>
                  <a:pt x="1109" y="38"/>
                </a:lnTo>
                <a:lnTo>
                  <a:pt x="1149" y="53"/>
                </a:lnTo>
                <a:lnTo>
                  <a:pt x="1188" y="67"/>
                </a:lnTo>
                <a:lnTo>
                  <a:pt x="1226" y="85"/>
                </a:lnTo>
                <a:lnTo>
                  <a:pt x="1263" y="104"/>
                </a:lnTo>
                <a:lnTo>
                  <a:pt x="1298" y="124"/>
                </a:lnTo>
                <a:lnTo>
                  <a:pt x="1333" y="146"/>
                </a:lnTo>
                <a:lnTo>
                  <a:pt x="1366" y="171"/>
                </a:lnTo>
                <a:lnTo>
                  <a:pt x="1398" y="195"/>
                </a:lnTo>
                <a:lnTo>
                  <a:pt x="1429" y="223"/>
                </a:lnTo>
                <a:lnTo>
                  <a:pt x="1459" y="251"/>
                </a:lnTo>
                <a:lnTo>
                  <a:pt x="1487" y="281"/>
                </a:lnTo>
                <a:lnTo>
                  <a:pt x="1515" y="312"/>
                </a:lnTo>
                <a:lnTo>
                  <a:pt x="1539" y="344"/>
                </a:lnTo>
                <a:lnTo>
                  <a:pt x="1564" y="377"/>
                </a:lnTo>
                <a:lnTo>
                  <a:pt x="1586" y="412"/>
                </a:lnTo>
                <a:lnTo>
                  <a:pt x="1606" y="447"/>
                </a:lnTo>
                <a:lnTo>
                  <a:pt x="1625" y="484"/>
                </a:lnTo>
                <a:lnTo>
                  <a:pt x="1643" y="522"/>
                </a:lnTo>
                <a:lnTo>
                  <a:pt x="1657" y="561"/>
                </a:lnTo>
                <a:lnTo>
                  <a:pt x="1671" y="601"/>
                </a:lnTo>
                <a:lnTo>
                  <a:pt x="1683" y="641"/>
                </a:lnTo>
                <a:lnTo>
                  <a:pt x="1692" y="683"/>
                </a:lnTo>
                <a:lnTo>
                  <a:pt x="1700" y="724"/>
                </a:lnTo>
                <a:lnTo>
                  <a:pt x="1705" y="768"/>
                </a:lnTo>
                <a:lnTo>
                  <a:pt x="1709" y="811"/>
                </a:lnTo>
                <a:lnTo>
                  <a:pt x="1710" y="854"/>
                </a:lnTo>
                <a:lnTo>
                  <a:pt x="1710" y="854"/>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97" name="Freeform 99">
            <a:extLst>
              <a:ext uri="{FF2B5EF4-FFF2-40B4-BE49-F238E27FC236}">
                <a16:creationId xmlns:a16="http://schemas.microsoft.com/office/drawing/2014/main" id="{F1D990FE-6C4E-4B68-A2F8-52A6941661A5}"/>
              </a:ext>
            </a:extLst>
          </p:cNvPr>
          <p:cNvSpPr>
            <a:spLocks/>
          </p:cNvSpPr>
          <p:nvPr/>
        </p:nvSpPr>
        <p:spPr bwMode="auto">
          <a:xfrm>
            <a:off x="6302974" y="3346786"/>
            <a:ext cx="229744" cy="242247"/>
          </a:xfrm>
          <a:custGeom>
            <a:avLst/>
            <a:gdLst>
              <a:gd name="T0" fmla="*/ 0 w 881"/>
              <a:gd name="T1" fmla="*/ 638 h 930"/>
              <a:gd name="T2" fmla="*/ 36 w 881"/>
              <a:gd name="T3" fmla="*/ 677 h 930"/>
              <a:gd name="T4" fmla="*/ 65 w 881"/>
              <a:gd name="T5" fmla="*/ 719 h 930"/>
              <a:gd name="T6" fmla="*/ 90 w 881"/>
              <a:gd name="T7" fmla="*/ 762 h 930"/>
              <a:gd name="T8" fmla="*/ 134 w 881"/>
              <a:gd name="T9" fmla="*/ 843 h 930"/>
              <a:gd name="T10" fmla="*/ 163 w 881"/>
              <a:gd name="T11" fmla="*/ 893 h 930"/>
              <a:gd name="T12" fmla="*/ 182 w 881"/>
              <a:gd name="T13" fmla="*/ 920 h 930"/>
              <a:gd name="T14" fmla="*/ 192 w 881"/>
              <a:gd name="T15" fmla="*/ 930 h 930"/>
              <a:gd name="T16" fmla="*/ 327 w 881"/>
              <a:gd name="T17" fmla="*/ 924 h 930"/>
              <a:gd name="T18" fmla="*/ 359 w 881"/>
              <a:gd name="T19" fmla="*/ 829 h 930"/>
              <a:gd name="T20" fmla="*/ 393 w 881"/>
              <a:gd name="T21" fmla="*/ 739 h 930"/>
              <a:gd name="T22" fmla="*/ 433 w 881"/>
              <a:gd name="T23" fmla="*/ 653 h 930"/>
              <a:gd name="T24" fmla="*/ 475 w 881"/>
              <a:gd name="T25" fmla="*/ 570 h 930"/>
              <a:gd name="T26" fmla="*/ 521 w 881"/>
              <a:gd name="T27" fmla="*/ 492 h 930"/>
              <a:gd name="T28" fmla="*/ 566 w 881"/>
              <a:gd name="T29" fmla="*/ 419 h 930"/>
              <a:gd name="T30" fmla="*/ 613 w 881"/>
              <a:gd name="T31" fmla="*/ 351 h 930"/>
              <a:gd name="T32" fmla="*/ 703 w 881"/>
              <a:gd name="T33" fmla="*/ 234 h 930"/>
              <a:gd name="T34" fmla="*/ 782 w 881"/>
              <a:gd name="T35" fmla="*/ 142 h 930"/>
              <a:gd name="T36" fmla="*/ 842 w 881"/>
              <a:gd name="T37" fmla="*/ 78 h 930"/>
              <a:gd name="T38" fmla="*/ 881 w 881"/>
              <a:gd name="T39" fmla="*/ 40 h 930"/>
              <a:gd name="T40" fmla="*/ 866 w 881"/>
              <a:gd name="T41" fmla="*/ 29 h 930"/>
              <a:gd name="T42" fmla="*/ 837 w 881"/>
              <a:gd name="T43" fmla="*/ 13 h 930"/>
              <a:gd name="T44" fmla="*/ 811 w 881"/>
              <a:gd name="T45" fmla="*/ 4 h 930"/>
              <a:gd name="T46" fmla="*/ 789 w 881"/>
              <a:gd name="T47" fmla="*/ 0 h 930"/>
              <a:gd name="T48" fmla="*/ 770 w 881"/>
              <a:gd name="T49" fmla="*/ 1 h 930"/>
              <a:gd name="T50" fmla="*/ 750 w 881"/>
              <a:gd name="T51" fmla="*/ 5 h 930"/>
              <a:gd name="T52" fmla="*/ 740 w 881"/>
              <a:gd name="T53" fmla="*/ 10 h 930"/>
              <a:gd name="T54" fmla="*/ 728 w 881"/>
              <a:gd name="T55" fmla="*/ 23 h 930"/>
              <a:gd name="T56" fmla="*/ 670 w 881"/>
              <a:gd name="T57" fmla="*/ 91 h 930"/>
              <a:gd name="T58" fmla="*/ 610 w 881"/>
              <a:gd name="T59" fmla="*/ 164 h 930"/>
              <a:gd name="T60" fmla="*/ 539 w 881"/>
              <a:gd name="T61" fmla="*/ 260 h 930"/>
              <a:gd name="T62" fmla="*/ 459 w 881"/>
              <a:gd name="T63" fmla="*/ 376 h 930"/>
              <a:gd name="T64" fmla="*/ 376 w 881"/>
              <a:gd name="T65" fmla="*/ 509 h 930"/>
              <a:gd name="T66" fmla="*/ 293 w 881"/>
              <a:gd name="T67" fmla="*/ 658 h 930"/>
              <a:gd name="T68" fmla="*/ 252 w 881"/>
              <a:gd name="T69" fmla="*/ 738 h 930"/>
              <a:gd name="T70" fmla="*/ 248 w 881"/>
              <a:gd name="T71" fmla="*/ 728 h 930"/>
              <a:gd name="T72" fmla="*/ 233 w 881"/>
              <a:gd name="T73" fmla="*/ 698 h 930"/>
              <a:gd name="T74" fmla="*/ 206 w 881"/>
              <a:gd name="T75" fmla="*/ 665 h 930"/>
              <a:gd name="T76" fmla="*/ 176 w 881"/>
              <a:gd name="T77" fmla="*/ 638 h 930"/>
              <a:gd name="T78" fmla="*/ 144 w 881"/>
              <a:gd name="T79" fmla="*/ 617 h 930"/>
              <a:gd name="T80" fmla="*/ 114 w 881"/>
              <a:gd name="T81" fmla="*/ 601 h 930"/>
              <a:gd name="T82" fmla="*/ 73 w 881"/>
              <a:gd name="T83" fmla="*/ 585 h 930"/>
              <a:gd name="T84" fmla="*/ 66 w 881"/>
              <a:gd name="T85" fmla="*/ 583 h 930"/>
              <a:gd name="T86" fmla="*/ 44 w 881"/>
              <a:gd name="T87" fmla="*/ 588 h 930"/>
              <a:gd name="T88" fmla="*/ 25 w 881"/>
              <a:gd name="T89" fmla="*/ 597 h 930"/>
              <a:gd name="T90" fmla="*/ 14 w 881"/>
              <a:gd name="T91" fmla="*/ 605 h 930"/>
              <a:gd name="T92" fmla="*/ 5 w 881"/>
              <a:gd name="T93" fmla="*/ 616 h 930"/>
              <a:gd name="T94" fmla="*/ 0 w 881"/>
              <a:gd name="T95" fmla="*/ 629 h 930"/>
              <a:gd name="T96" fmla="*/ 0 w 881"/>
              <a:gd name="T97" fmla="*/ 63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1" h="930">
                <a:moveTo>
                  <a:pt x="0" y="638"/>
                </a:moveTo>
                <a:lnTo>
                  <a:pt x="0" y="638"/>
                </a:lnTo>
                <a:lnTo>
                  <a:pt x="19" y="657"/>
                </a:lnTo>
                <a:lnTo>
                  <a:pt x="36" y="677"/>
                </a:lnTo>
                <a:lnTo>
                  <a:pt x="50" y="698"/>
                </a:lnTo>
                <a:lnTo>
                  <a:pt x="65" y="719"/>
                </a:lnTo>
                <a:lnTo>
                  <a:pt x="78" y="740"/>
                </a:lnTo>
                <a:lnTo>
                  <a:pt x="90" y="762"/>
                </a:lnTo>
                <a:lnTo>
                  <a:pt x="113" y="804"/>
                </a:lnTo>
                <a:lnTo>
                  <a:pt x="134" y="843"/>
                </a:lnTo>
                <a:lnTo>
                  <a:pt x="153" y="878"/>
                </a:lnTo>
                <a:lnTo>
                  <a:pt x="163" y="893"/>
                </a:lnTo>
                <a:lnTo>
                  <a:pt x="172" y="907"/>
                </a:lnTo>
                <a:lnTo>
                  <a:pt x="182" y="920"/>
                </a:lnTo>
                <a:lnTo>
                  <a:pt x="192" y="930"/>
                </a:lnTo>
                <a:lnTo>
                  <a:pt x="192" y="930"/>
                </a:lnTo>
                <a:lnTo>
                  <a:pt x="327" y="924"/>
                </a:lnTo>
                <a:lnTo>
                  <a:pt x="327" y="924"/>
                </a:lnTo>
                <a:lnTo>
                  <a:pt x="342" y="877"/>
                </a:lnTo>
                <a:lnTo>
                  <a:pt x="359" y="829"/>
                </a:lnTo>
                <a:lnTo>
                  <a:pt x="375" y="784"/>
                </a:lnTo>
                <a:lnTo>
                  <a:pt x="393" y="739"/>
                </a:lnTo>
                <a:lnTo>
                  <a:pt x="413" y="695"/>
                </a:lnTo>
                <a:lnTo>
                  <a:pt x="433" y="653"/>
                </a:lnTo>
                <a:lnTo>
                  <a:pt x="454" y="610"/>
                </a:lnTo>
                <a:lnTo>
                  <a:pt x="475" y="570"/>
                </a:lnTo>
                <a:lnTo>
                  <a:pt x="498" y="530"/>
                </a:lnTo>
                <a:lnTo>
                  <a:pt x="521" y="492"/>
                </a:lnTo>
                <a:lnTo>
                  <a:pt x="544" y="455"/>
                </a:lnTo>
                <a:lnTo>
                  <a:pt x="566" y="419"/>
                </a:lnTo>
                <a:lnTo>
                  <a:pt x="590" y="385"/>
                </a:lnTo>
                <a:lnTo>
                  <a:pt x="613" y="351"/>
                </a:lnTo>
                <a:lnTo>
                  <a:pt x="659" y="290"/>
                </a:lnTo>
                <a:lnTo>
                  <a:pt x="703" y="234"/>
                </a:lnTo>
                <a:lnTo>
                  <a:pt x="744" y="184"/>
                </a:lnTo>
                <a:lnTo>
                  <a:pt x="782" y="142"/>
                </a:lnTo>
                <a:lnTo>
                  <a:pt x="816" y="105"/>
                </a:lnTo>
                <a:lnTo>
                  <a:pt x="842" y="78"/>
                </a:lnTo>
                <a:lnTo>
                  <a:pt x="863" y="57"/>
                </a:lnTo>
                <a:lnTo>
                  <a:pt x="881" y="40"/>
                </a:lnTo>
                <a:lnTo>
                  <a:pt x="881" y="40"/>
                </a:lnTo>
                <a:lnTo>
                  <a:pt x="866" y="29"/>
                </a:lnTo>
                <a:lnTo>
                  <a:pt x="851" y="20"/>
                </a:lnTo>
                <a:lnTo>
                  <a:pt x="837" y="13"/>
                </a:lnTo>
                <a:lnTo>
                  <a:pt x="823" y="8"/>
                </a:lnTo>
                <a:lnTo>
                  <a:pt x="811" y="4"/>
                </a:lnTo>
                <a:lnTo>
                  <a:pt x="799" y="2"/>
                </a:lnTo>
                <a:lnTo>
                  <a:pt x="789" y="0"/>
                </a:lnTo>
                <a:lnTo>
                  <a:pt x="779" y="0"/>
                </a:lnTo>
                <a:lnTo>
                  <a:pt x="770" y="1"/>
                </a:lnTo>
                <a:lnTo>
                  <a:pt x="762" y="2"/>
                </a:lnTo>
                <a:lnTo>
                  <a:pt x="750" y="5"/>
                </a:lnTo>
                <a:lnTo>
                  <a:pt x="743" y="9"/>
                </a:lnTo>
                <a:lnTo>
                  <a:pt x="740" y="10"/>
                </a:lnTo>
                <a:lnTo>
                  <a:pt x="740" y="10"/>
                </a:lnTo>
                <a:lnTo>
                  <a:pt x="728" y="23"/>
                </a:lnTo>
                <a:lnTo>
                  <a:pt x="693" y="62"/>
                </a:lnTo>
                <a:lnTo>
                  <a:pt x="670" y="91"/>
                </a:lnTo>
                <a:lnTo>
                  <a:pt x="642" y="124"/>
                </a:lnTo>
                <a:lnTo>
                  <a:pt x="610" y="164"/>
                </a:lnTo>
                <a:lnTo>
                  <a:pt x="575" y="210"/>
                </a:lnTo>
                <a:lnTo>
                  <a:pt x="539" y="260"/>
                </a:lnTo>
                <a:lnTo>
                  <a:pt x="500" y="316"/>
                </a:lnTo>
                <a:lnTo>
                  <a:pt x="459" y="376"/>
                </a:lnTo>
                <a:lnTo>
                  <a:pt x="417" y="440"/>
                </a:lnTo>
                <a:lnTo>
                  <a:pt x="376" y="509"/>
                </a:lnTo>
                <a:lnTo>
                  <a:pt x="334" y="581"/>
                </a:lnTo>
                <a:lnTo>
                  <a:pt x="293" y="658"/>
                </a:lnTo>
                <a:lnTo>
                  <a:pt x="272" y="698"/>
                </a:lnTo>
                <a:lnTo>
                  <a:pt x="252" y="738"/>
                </a:lnTo>
                <a:lnTo>
                  <a:pt x="252" y="738"/>
                </a:lnTo>
                <a:lnTo>
                  <a:pt x="248" y="728"/>
                </a:lnTo>
                <a:lnTo>
                  <a:pt x="244" y="717"/>
                </a:lnTo>
                <a:lnTo>
                  <a:pt x="233" y="698"/>
                </a:lnTo>
                <a:lnTo>
                  <a:pt x="221" y="682"/>
                </a:lnTo>
                <a:lnTo>
                  <a:pt x="206" y="665"/>
                </a:lnTo>
                <a:lnTo>
                  <a:pt x="192" y="651"/>
                </a:lnTo>
                <a:lnTo>
                  <a:pt x="176" y="638"/>
                </a:lnTo>
                <a:lnTo>
                  <a:pt x="159" y="627"/>
                </a:lnTo>
                <a:lnTo>
                  <a:pt x="144" y="617"/>
                </a:lnTo>
                <a:lnTo>
                  <a:pt x="128" y="608"/>
                </a:lnTo>
                <a:lnTo>
                  <a:pt x="114" y="601"/>
                </a:lnTo>
                <a:lnTo>
                  <a:pt x="89" y="590"/>
                </a:lnTo>
                <a:lnTo>
                  <a:pt x="73" y="585"/>
                </a:lnTo>
                <a:lnTo>
                  <a:pt x="66" y="583"/>
                </a:lnTo>
                <a:lnTo>
                  <a:pt x="66" y="583"/>
                </a:lnTo>
                <a:lnTo>
                  <a:pt x="55" y="585"/>
                </a:lnTo>
                <a:lnTo>
                  <a:pt x="44" y="588"/>
                </a:lnTo>
                <a:lnTo>
                  <a:pt x="32" y="594"/>
                </a:lnTo>
                <a:lnTo>
                  <a:pt x="25" y="597"/>
                </a:lnTo>
                <a:lnTo>
                  <a:pt x="19" y="600"/>
                </a:lnTo>
                <a:lnTo>
                  <a:pt x="14" y="605"/>
                </a:lnTo>
                <a:lnTo>
                  <a:pt x="9" y="610"/>
                </a:lnTo>
                <a:lnTo>
                  <a:pt x="5" y="616"/>
                </a:lnTo>
                <a:lnTo>
                  <a:pt x="2" y="623"/>
                </a:lnTo>
                <a:lnTo>
                  <a:pt x="0" y="629"/>
                </a:lnTo>
                <a:lnTo>
                  <a:pt x="0" y="638"/>
                </a:lnTo>
                <a:lnTo>
                  <a:pt x="0" y="6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22" name="Freeform 99">
            <a:extLst>
              <a:ext uri="{FF2B5EF4-FFF2-40B4-BE49-F238E27FC236}">
                <a16:creationId xmlns:a16="http://schemas.microsoft.com/office/drawing/2014/main" id="{E5315D98-0796-42E9-A1FE-6C44840D8A55}"/>
              </a:ext>
            </a:extLst>
          </p:cNvPr>
          <p:cNvSpPr>
            <a:spLocks/>
          </p:cNvSpPr>
          <p:nvPr/>
        </p:nvSpPr>
        <p:spPr bwMode="auto">
          <a:xfrm>
            <a:off x="6302974" y="2746711"/>
            <a:ext cx="229744" cy="242247"/>
          </a:xfrm>
          <a:custGeom>
            <a:avLst/>
            <a:gdLst>
              <a:gd name="T0" fmla="*/ 0 w 881"/>
              <a:gd name="T1" fmla="*/ 638 h 930"/>
              <a:gd name="T2" fmla="*/ 36 w 881"/>
              <a:gd name="T3" fmla="*/ 677 h 930"/>
              <a:gd name="T4" fmla="*/ 65 w 881"/>
              <a:gd name="T5" fmla="*/ 719 h 930"/>
              <a:gd name="T6" fmla="*/ 90 w 881"/>
              <a:gd name="T7" fmla="*/ 762 h 930"/>
              <a:gd name="T8" fmla="*/ 134 w 881"/>
              <a:gd name="T9" fmla="*/ 843 h 930"/>
              <a:gd name="T10" fmla="*/ 163 w 881"/>
              <a:gd name="T11" fmla="*/ 893 h 930"/>
              <a:gd name="T12" fmla="*/ 182 w 881"/>
              <a:gd name="T13" fmla="*/ 920 h 930"/>
              <a:gd name="T14" fmla="*/ 192 w 881"/>
              <a:gd name="T15" fmla="*/ 930 h 930"/>
              <a:gd name="T16" fmla="*/ 327 w 881"/>
              <a:gd name="T17" fmla="*/ 924 h 930"/>
              <a:gd name="T18" fmla="*/ 359 w 881"/>
              <a:gd name="T19" fmla="*/ 829 h 930"/>
              <a:gd name="T20" fmla="*/ 393 w 881"/>
              <a:gd name="T21" fmla="*/ 739 h 930"/>
              <a:gd name="T22" fmla="*/ 433 w 881"/>
              <a:gd name="T23" fmla="*/ 653 h 930"/>
              <a:gd name="T24" fmla="*/ 475 w 881"/>
              <a:gd name="T25" fmla="*/ 570 h 930"/>
              <a:gd name="T26" fmla="*/ 521 w 881"/>
              <a:gd name="T27" fmla="*/ 492 h 930"/>
              <a:gd name="T28" fmla="*/ 566 w 881"/>
              <a:gd name="T29" fmla="*/ 419 h 930"/>
              <a:gd name="T30" fmla="*/ 613 w 881"/>
              <a:gd name="T31" fmla="*/ 351 h 930"/>
              <a:gd name="T32" fmla="*/ 703 w 881"/>
              <a:gd name="T33" fmla="*/ 234 h 930"/>
              <a:gd name="T34" fmla="*/ 782 w 881"/>
              <a:gd name="T35" fmla="*/ 142 h 930"/>
              <a:gd name="T36" fmla="*/ 842 w 881"/>
              <a:gd name="T37" fmla="*/ 78 h 930"/>
              <a:gd name="T38" fmla="*/ 881 w 881"/>
              <a:gd name="T39" fmla="*/ 40 h 930"/>
              <a:gd name="T40" fmla="*/ 866 w 881"/>
              <a:gd name="T41" fmla="*/ 29 h 930"/>
              <a:gd name="T42" fmla="*/ 837 w 881"/>
              <a:gd name="T43" fmla="*/ 13 h 930"/>
              <a:gd name="T44" fmla="*/ 811 w 881"/>
              <a:gd name="T45" fmla="*/ 4 h 930"/>
              <a:gd name="T46" fmla="*/ 789 w 881"/>
              <a:gd name="T47" fmla="*/ 0 h 930"/>
              <a:gd name="T48" fmla="*/ 770 w 881"/>
              <a:gd name="T49" fmla="*/ 1 h 930"/>
              <a:gd name="T50" fmla="*/ 750 w 881"/>
              <a:gd name="T51" fmla="*/ 5 h 930"/>
              <a:gd name="T52" fmla="*/ 740 w 881"/>
              <a:gd name="T53" fmla="*/ 10 h 930"/>
              <a:gd name="T54" fmla="*/ 728 w 881"/>
              <a:gd name="T55" fmla="*/ 23 h 930"/>
              <a:gd name="T56" fmla="*/ 670 w 881"/>
              <a:gd name="T57" fmla="*/ 91 h 930"/>
              <a:gd name="T58" fmla="*/ 610 w 881"/>
              <a:gd name="T59" fmla="*/ 164 h 930"/>
              <a:gd name="T60" fmla="*/ 539 w 881"/>
              <a:gd name="T61" fmla="*/ 260 h 930"/>
              <a:gd name="T62" fmla="*/ 459 w 881"/>
              <a:gd name="T63" fmla="*/ 376 h 930"/>
              <a:gd name="T64" fmla="*/ 376 w 881"/>
              <a:gd name="T65" fmla="*/ 509 h 930"/>
              <a:gd name="T66" fmla="*/ 293 w 881"/>
              <a:gd name="T67" fmla="*/ 658 h 930"/>
              <a:gd name="T68" fmla="*/ 252 w 881"/>
              <a:gd name="T69" fmla="*/ 738 h 930"/>
              <a:gd name="T70" fmla="*/ 248 w 881"/>
              <a:gd name="T71" fmla="*/ 728 h 930"/>
              <a:gd name="T72" fmla="*/ 233 w 881"/>
              <a:gd name="T73" fmla="*/ 698 h 930"/>
              <a:gd name="T74" fmla="*/ 206 w 881"/>
              <a:gd name="T75" fmla="*/ 665 h 930"/>
              <a:gd name="T76" fmla="*/ 176 w 881"/>
              <a:gd name="T77" fmla="*/ 638 h 930"/>
              <a:gd name="T78" fmla="*/ 144 w 881"/>
              <a:gd name="T79" fmla="*/ 617 h 930"/>
              <a:gd name="T80" fmla="*/ 114 w 881"/>
              <a:gd name="T81" fmla="*/ 601 h 930"/>
              <a:gd name="T82" fmla="*/ 73 w 881"/>
              <a:gd name="T83" fmla="*/ 585 h 930"/>
              <a:gd name="T84" fmla="*/ 66 w 881"/>
              <a:gd name="T85" fmla="*/ 583 h 930"/>
              <a:gd name="T86" fmla="*/ 44 w 881"/>
              <a:gd name="T87" fmla="*/ 588 h 930"/>
              <a:gd name="T88" fmla="*/ 25 w 881"/>
              <a:gd name="T89" fmla="*/ 597 h 930"/>
              <a:gd name="T90" fmla="*/ 14 w 881"/>
              <a:gd name="T91" fmla="*/ 605 h 930"/>
              <a:gd name="T92" fmla="*/ 5 w 881"/>
              <a:gd name="T93" fmla="*/ 616 h 930"/>
              <a:gd name="T94" fmla="*/ 0 w 881"/>
              <a:gd name="T95" fmla="*/ 629 h 930"/>
              <a:gd name="T96" fmla="*/ 0 w 881"/>
              <a:gd name="T97" fmla="*/ 63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1" h="930">
                <a:moveTo>
                  <a:pt x="0" y="638"/>
                </a:moveTo>
                <a:lnTo>
                  <a:pt x="0" y="638"/>
                </a:lnTo>
                <a:lnTo>
                  <a:pt x="19" y="657"/>
                </a:lnTo>
                <a:lnTo>
                  <a:pt x="36" y="677"/>
                </a:lnTo>
                <a:lnTo>
                  <a:pt x="50" y="698"/>
                </a:lnTo>
                <a:lnTo>
                  <a:pt x="65" y="719"/>
                </a:lnTo>
                <a:lnTo>
                  <a:pt x="78" y="740"/>
                </a:lnTo>
                <a:lnTo>
                  <a:pt x="90" y="762"/>
                </a:lnTo>
                <a:lnTo>
                  <a:pt x="113" y="804"/>
                </a:lnTo>
                <a:lnTo>
                  <a:pt x="134" y="843"/>
                </a:lnTo>
                <a:lnTo>
                  <a:pt x="153" y="878"/>
                </a:lnTo>
                <a:lnTo>
                  <a:pt x="163" y="893"/>
                </a:lnTo>
                <a:lnTo>
                  <a:pt x="172" y="907"/>
                </a:lnTo>
                <a:lnTo>
                  <a:pt x="182" y="920"/>
                </a:lnTo>
                <a:lnTo>
                  <a:pt x="192" y="930"/>
                </a:lnTo>
                <a:lnTo>
                  <a:pt x="192" y="930"/>
                </a:lnTo>
                <a:lnTo>
                  <a:pt x="327" y="924"/>
                </a:lnTo>
                <a:lnTo>
                  <a:pt x="327" y="924"/>
                </a:lnTo>
                <a:lnTo>
                  <a:pt x="342" y="877"/>
                </a:lnTo>
                <a:lnTo>
                  <a:pt x="359" y="829"/>
                </a:lnTo>
                <a:lnTo>
                  <a:pt x="375" y="784"/>
                </a:lnTo>
                <a:lnTo>
                  <a:pt x="393" y="739"/>
                </a:lnTo>
                <a:lnTo>
                  <a:pt x="413" y="695"/>
                </a:lnTo>
                <a:lnTo>
                  <a:pt x="433" y="653"/>
                </a:lnTo>
                <a:lnTo>
                  <a:pt x="454" y="610"/>
                </a:lnTo>
                <a:lnTo>
                  <a:pt x="475" y="570"/>
                </a:lnTo>
                <a:lnTo>
                  <a:pt x="498" y="530"/>
                </a:lnTo>
                <a:lnTo>
                  <a:pt x="521" y="492"/>
                </a:lnTo>
                <a:lnTo>
                  <a:pt x="544" y="455"/>
                </a:lnTo>
                <a:lnTo>
                  <a:pt x="566" y="419"/>
                </a:lnTo>
                <a:lnTo>
                  <a:pt x="590" y="385"/>
                </a:lnTo>
                <a:lnTo>
                  <a:pt x="613" y="351"/>
                </a:lnTo>
                <a:lnTo>
                  <a:pt x="659" y="290"/>
                </a:lnTo>
                <a:lnTo>
                  <a:pt x="703" y="234"/>
                </a:lnTo>
                <a:lnTo>
                  <a:pt x="744" y="184"/>
                </a:lnTo>
                <a:lnTo>
                  <a:pt x="782" y="142"/>
                </a:lnTo>
                <a:lnTo>
                  <a:pt x="816" y="105"/>
                </a:lnTo>
                <a:lnTo>
                  <a:pt x="842" y="78"/>
                </a:lnTo>
                <a:lnTo>
                  <a:pt x="863" y="57"/>
                </a:lnTo>
                <a:lnTo>
                  <a:pt x="881" y="40"/>
                </a:lnTo>
                <a:lnTo>
                  <a:pt x="881" y="40"/>
                </a:lnTo>
                <a:lnTo>
                  <a:pt x="866" y="29"/>
                </a:lnTo>
                <a:lnTo>
                  <a:pt x="851" y="20"/>
                </a:lnTo>
                <a:lnTo>
                  <a:pt x="837" y="13"/>
                </a:lnTo>
                <a:lnTo>
                  <a:pt x="823" y="8"/>
                </a:lnTo>
                <a:lnTo>
                  <a:pt x="811" y="4"/>
                </a:lnTo>
                <a:lnTo>
                  <a:pt x="799" y="2"/>
                </a:lnTo>
                <a:lnTo>
                  <a:pt x="789" y="0"/>
                </a:lnTo>
                <a:lnTo>
                  <a:pt x="779" y="0"/>
                </a:lnTo>
                <a:lnTo>
                  <a:pt x="770" y="1"/>
                </a:lnTo>
                <a:lnTo>
                  <a:pt x="762" y="2"/>
                </a:lnTo>
                <a:lnTo>
                  <a:pt x="750" y="5"/>
                </a:lnTo>
                <a:lnTo>
                  <a:pt x="743" y="9"/>
                </a:lnTo>
                <a:lnTo>
                  <a:pt x="740" y="10"/>
                </a:lnTo>
                <a:lnTo>
                  <a:pt x="740" y="10"/>
                </a:lnTo>
                <a:lnTo>
                  <a:pt x="728" y="23"/>
                </a:lnTo>
                <a:lnTo>
                  <a:pt x="693" y="62"/>
                </a:lnTo>
                <a:lnTo>
                  <a:pt x="670" y="91"/>
                </a:lnTo>
                <a:lnTo>
                  <a:pt x="642" y="124"/>
                </a:lnTo>
                <a:lnTo>
                  <a:pt x="610" y="164"/>
                </a:lnTo>
                <a:lnTo>
                  <a:pt x="575" y="210"/>
                </a:lnTo>
                <a:lnTo>
                  <a:pt x="539" y="260"/>
                </a:lnTo>
                <a:lnTo>
                  <a:pt x="500" y="316"/>
                </a:lnTo>
                <a:lnTo>
                  <a:pt x="459" y="376"/>
                </a:lnTo>
                <a:lnTo>
                  <a:pt x="417" y="440"/>
                </a:lnTo>
                <a:lnTo>
                  <a:pt x="376" y="509"/>
                </a:lnTo>
                <a:lnTo>
                  <a:pt x="334" y="581"/>
                </a:lnTo>
                <a:lnTo>
                  <a:pt x="293" y="658"/>
                </a:lnTo>
                <a:lnTo>
                  <a:pt x="272" y="698"/>
                </a:lnTo>
                <a:lnTo>
                  <a:pt x="252" y="738"/>
                </a:lnTo>
                <a:lnTo>
                  <a:pt x="252" y="738"/>
                </a:lnTo>
                <a:lnTo>
                  <a:pt x="248" y="728"/>
                </a:lnTo>
                <a:lnTo>
                  <a:pt x="244" y="717"/>
                </a:lnTo>
                <a:lnTo>
                  <a:pt x="233" y="698"/>
                </a:lnTo>
                <a:lnTo>
                  <a:pt x="221" y="682"/>
                </a:lnTo>
                <a:lnTo>
                  <a:pt x="206" y="665"/>
                </a:lnTo>
                <a:lnTo>
                  <a:pt x="192" y="651"/>
                </a:lnTo>
                <a:lnTo>
                  <a:pt x="176" y="638"/>
                </a:lnTo>
                <a:lnTo>
                  <a:pt x="159" y="627"/>
                </a:lnTo>
                <a:lnTo>
                  <a:pt x="144" y="617"/>
                </a:lnTo>
                <a:lnTo>
                  <a:pt x="128" y="608"/>
                </a:lnTo>
                <a:lnTo>
                  <a:pt x="114" y="601"/>
                </a:lnTo>
                <a:lnTo>
                  <a:pt x="89" y="590"/>
                </a:lnTo>
                <a:lnTo>
                  <a:pt x="73" y="585"/>
                </a:lnTo>
                <a:lnTo>
                  <a:pt x="66" y="583"/>
                </a:lnTo>
                <a:lnTo>
                  <a:pt x="66" y="583"/>
                </a:lnTo>
                <a:lnTo>
                  <a:pt x="55" y="585"/>
                </a:lnTo>
                <a:lnTo>
                  <a:pt x="44" y="588"/>
                </a:lnTo>
                <a:lnTo>
                  <a:pt x="32" y="594"/>
                </a:lnTo>
                <a:lnTo>
                  <a:pt x="25" y="597"/>
                </a:lnTo>
                <a:lnTo>
                  <a:pt x="19" y="600"/>
                </a:lnTo>
                <a:lnTo>
                  <a:pt x="14" y="605"/>
                </a:lnTo>
                <a:lnTo>
                  <a:pt x="9" y="610"/>
                </a:lnTo>
                <a:lnTo>
                  <a:pt x="5" y="616"/>
                </a:lnTo>
                <a:lnTo>
                  <a:pt x="2" y="623"/>
                </a:lnTo>
                <a:lnTo>
                  <a:pt x="0" y="629"/>
                </a:lnTo>
                <a:lnTo>
                  <a:pt x="0" y="638"/>
                </a:lnTo>
                <a:lnTo>
                  <a:pt x="0" y="63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315" name="Ellipse 314">
            <a:extLst>
              <a:ext uri="{FF2B5EF4-FFF2-40B4-BE49-F238E27FC236}">
                <a16:creationId xmlns:a16="http://schemas.microsoft.com/office/drawing/2014/main" id="{4C3985A1-A9D4-4BE9-B825-A827274A2D92}"/>
              </a:ext>
            </a:extLst>
          </p:cNvPr>
          <p:cNvSpPr/>
          <p:nvPr/>
        </p:nvSpPr>
        <p:spPr bwMode="auto">
          <a:xfrm>
            <a:off x="6186097"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38" name="Freeform 99">
            <a:extLst>
              <a:ext uri="{FF2B5EF4-FFF2-40B4-BE49-F238E27FC236}">
                <a16:creationId xmlns:a16="http://schemas.microsoft.com/office/drawing/2014/main" id="{8B67DE51-2439-4A2A-B87B-92CE5C82346D}"/>
              </a:ext>
            </a:extLst>
          </p:cNvPr>
          <p:cNvSpPr>
            <a:spLocks/>
          </p:cNvSpPr>
          <p:nvPr/>
        </p:nvSpPr>
        <p:spPr bwMode="auto">
          <a:xfrm>
            <a:off x="6302974" y="3992603"/>
            <a:ext cx="229744" cy="242247"/>
          </a:xfrm>
          <a:custGeom>
            <a:avLst/>
            <a:gdLst>
              <a:gd name="T0" fmla="*/ 0 w 881"/>
              <a:gd name="T1" fmla="*/ 638 h 930"/>
              <a:gd name="T2" fmla="*/ 36 w 881"/>
              <a:gd name="T3" fmla="*/ 677 h 930"/>
              <a:gd name="T4" fmla="*/ 65 w 881"/>
              <a:gd name="T5" fmla="*/ 719 h 930"/>
              <a:gd name="T6" fmla="*/ 90 w 881"/>
              <a:gd name="T7" fmla="*/ 762 h 930"/>
              <a:gd name="T8" fmla="*/ 134 w 881"/>
              <a:gd name="T9" fmla="*/ 843 h 930"/>
              <a:gd name="T10" fmla="*/ 163 w 881"/>
              <a:gd name="T11" fmla="*/ 893 h 930"/>
              <a:gd name="T12" fmla="*/ 182 w 881"/>
              <a:gd name="T13" fmla="*/ 920 h 930"/>
              <a:gd name="T14" fmla="*/ 192 w 881"/>
              <a:gd name="T15" fmla="*/ 930 h 930"/>
              <a:gd name="T16" fmla="*/ 327 w 881"/>
              <a:gd name="T17" fmla="*/ 924 h 930"/>
              <a:gd name="T18" fmla="*/ 359 w 881"/>
              <a:gd name="T19" fmla="*/ 829 h 930"/>
              <a:gd name="T20" fmla="*/ 393 w 881"/>
              <a:gd name="T21" fmla="*/ 739 h 930"/>
              <a:gd name="T22" fmla="*/ 433 w 881"/>
              <a:gd name="T23" fmla="*/ 653 h 930"/>
              <a:gd name="T24" fmla="*/ 475 w 881"/>
              <a:gd name="T25" fmla="*/ 570 h 930"/>
              <a:gd name="T26" fmla="*/ 521 w 881"/>
              <a:gd name="T27" fmla="*/ 492 h 930"/>
              <a:gd name="T28" fmla="*/ 566 w 881"/>
              <a:gd name="T29" fmla="*/ 419 h 930"/>
              <a:gd name="T30" fmla="*/ 613 w 881"/>
              <a:gd name="T31" fmla="*/ 351 h 930"/>
              <a:gd name="T32" fmla="*/ 703 w 881"/>
              <a:gd name="T33" fmla="*/ 234 h 930"/>
              <a:gd name="T34" fmla="*/ 782 w 881"/>
              <a:gd name="T35" fmla="*/ 142 h 930"/>
              <a:gd name="T36" fmla="*/ 842 w 881"/>
              <a:gd name="T37" fmla="*/ 78 h 930"/>
              <a:gd name="T38" fmla="*/ 881 w 881"/>
              <a:gd name="T39" fmla="*/ 40 h 930"/>
              <a:gd name="T40" fmla="*/ 866 w 881"/>
              <a:gd name="T41" fmla="*/ 29 h 930"/>
              <a:gd name="T42" fmla="*/ 837 w 881"/>
              <a:gd name="T43" fmla="*/ 13 h 930"/>
              <a:gd name="T44" fmla="*/ 811 w 881"/>
              <a:gd name="T45" fmla="*/ 4 h 930"/>
              <a:gd name="T46" fmla="*/ 789 w 881"/>
              <a:gd name="T47" fmla="*/ 0 h 930"/>
              <a:gd name="T48" fmla="*/ 770 w 881"/>
              <a:gd name="T49" fmla="*/ 1 h 930"/>
              <a:gd name="T50" fmla="*/ 750 w 881"/>
              <a:gd name="T51" fmla="*/ 5 h 930"/>
              <a:gd name="T52" fmla="*/ 740 w 881"/>
              <a:gd name="T53" fmla="*/ 10 h 930"/>
              <a:gd name="T54" fmla="*/ 728 w 881"/>
              <a:gd name="T55" fmla="*/ 23 h 930"/>
              <a:gd name="T56" fmla="*/ 670 w 881"/>
              <a:gd name="T57" fmla="*/ 91 h 930"/>
              <a:gd name="T58" fmla="*/ 610 w 881"/>
              <a:gd name="T59" fmla="*/ 164 h 930"/>
              <a:gd name="T60" fmla="*/ 539 w 881"/>
              <a:gd name="T61" fmla="*/ 260 h 930"/>
              <a:gd name="T62" fmla="*/ 459 w 881"/>
              <a:gd name="T63" fmla="*/ 376 h 930"/>
              <a:gd name="T64" fmla="*/ 376 w 881"/>
              <a:gd name="T65" fmla="*/ 509 h 930"/>
              <a:gd name="T66" fmla="*/ 293 w 881"/>
              <a:gd name="T67" fmla="*/ 658 h 930"/>
              <a:gd name="T68" fmla="*/ 252 w 881"/>
              <a:gd name="T69" fmla="*/ 738 h 930"/>
              <a:gd name="T70" fmla="*/ 248 w 881"/>
              <a:gd name="T71" fmla="*/ 728 h 930"/>
              <a:gd name="T72" fmla="*/ 233 w 881"/>
              <a:gd name="T73" fmla="*/ 698 h 930"/>
              <a:gd name="T74" fmla="*/ 206 w 881"/>
              <a:gd name="T75" fmla="*/ 665 h 930"/>
              <a:gd name="T76" fmla="*/ 176 w 881"/>
              <a:gd name="T77" fmla="*/ 638 h 930"/>
              <a:gd name="T78" fmla="*/ 144 w 881"/>
              <a:gd name="T79" fmla="*/ 617 h 930"/>
              <a:gd name="T80" fmla="*/ 114 w 881"/>
              <a:gd name="T81" fmla="*/ 601 h 930"/>
              <a:gd name="T82" fmla="*/ 73 w 881"/>
              <a:gd name="T83" fmla="*/ 585 h 930"/>
              <a:gd name="T84" fmla="*/ 66 w 881"/>
              <a:gd name="T85" fmla="*/ 583 h 930"/>
              <a:gd name="T86" fmla="*/ 44 w 881"/>
              <a:gd name="T87" fmla="*/ 588 h 930"/>
              <a:gd name="T88" fmla="*/ 25 w 881"/>
              <a:gd name="T89" fmla="*/ 597 h 930"/>
              <a:gd name="T90" fmla="*/ 14 w 881"/>
              <a:gd name="T91" fmla="*/ 605 h 930"/>
              <a:gd name="T92" fmla="*/ 5 w 881"/>
              <a:gd name="T93" fmla="*/ 616 h 930"/>
              <a:gd name="T94" fmla="*/ 0 w 881"/>
              <a:gd name="T95" fmla="*/ 629 h 930"/>
              <a:gd name="T96" fmla="*/ 0 w 881"/>
              <a:gd name="T97" fmla="*/ 63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1" h="930">
                <a:moveTo>
                  <a:pt x="0" y="638"/>
                </a:moveTo>
                <a:lnTo>
                  <a:pt x="0" y="638"/>
                </a:lnTo>
                <a:lnTo>
                  <a:pt x="19" y="657"/>
                </a:lnTo>
                <a:lnTo>
                  <a:pt x="36" y="677"/>
                </a:lnTo>
                <a:lnTo>
                  <a:pt x="50" y="698"/>
                </a:lnTo>
                <a:lnTo>
                  <a:pt x="65" y="719"/>
                </a:lnTo>
                <a:lnTo>
                  <a:pt x="78" y="740"/>
                </a:lnTo>
                <a:lnTo>
                  <a:pt x="90" y="762"/>
                </a:lnTo>
                <a:lnTo>
                  <a:pt x="113" y="804"/>
                </a:lnTo>
                <a:lnTo>
                  <a:pt x="134" y="843"/>
                </a:lnTo>
                <a:lnTo>
                  <a:pt x="153" y="878"/>
                </a:lnTo>
                <a:lnTo>
                  <a:pt x="163" y="893"/>
                </a:lnTo>
                <a:lnTo>
                  <a:pt x="172" y="907"/>
                </a:lnTo>
                <a:lnTo>
                  <a:pt x="182" y="920"/>
                </a:lnTo>
                <a:lnTo>
                  <a:pt x="192" y="930"/>
                </a:lnTo>
                <a:lnTo>
                  <a:pt x="192" y="930"/>
                </a:lnTo>
                <a:lnTo>
                  <a:pt x="327" y="924"/>
                </a:lnTo>
                <a:lnTo>
                  <a:pt x="327" y="924"/>
                </a:lnTo>
                <a:lnTo>
                  <a:pt x="342" y="877"/>
                </a:lnTo>
                <a:lnTo>
                  <a:pt x="359" y="829"/>
                </a:lnTo>
                <a:lnTo>
                  <a:pt x="375" y="784"/>
                </a:lnTo>
                <a:lnTo>
                  <a:pt x="393" y="739"/>
                </a:lnTo>
                <a:lnTo>
                  <a:pt x="413" y="695"/>
                </a:lnTo>
                <a:lnTo>
                  <a:pt x="433" y="653"/>
                </a:lnTo>
                <a:lnTo>
                  <a:pt x="454" y="610"/>
                </a:lnTo>
                <a:lnTo>
                  <a:pt x="475" y="570"/>
                </a:lnTo>
                <a:lnTo>
                  <a:pt x="498" y="530"/>
                </a:lnTo>
                <a:lnTo>
                  <a:pt x="521" y="492"/>
                </a:lnTo>
                <a:lnTo>
                  <a:pt x="544" y="455"/>
                </a:lnTo>
                <a:lnTo>
                  <a:pt x="566" y="419"/>
                </a:lnTo>
                <a:lnTo>
                  <a:pt x="590" y="385"/>
                </a:lnTo>
                <a:lnTo>
                  <a:pt x="613" y="351"/>
                </a:lnTo>
                <a:lnTo>
                  <a:pt x="659" y="290"/>
                </a:lnTo>
                <a:lnTo>
                  <a:pt x="703" y="234"/>
                </a:lnTo>
                <a:lnTo>
                  <a:pt x="744" y="184"/>
                </a:lnTo>
                <a:lnTo>
                  <a:pt x="782" y="142"/>
                </a:lnTo>
                <a:lnTo>
                  <a:pt x="816" y="105"/>
                </a:lnTo>
                <a:lnTo>
                  <a:pt x="842" y="78"/>
                </a:lnTo>
                <a:lnTo>
                  <a:pt x="863" y="57"/>
                </a:lnTo>
                <a:lnTo>
                  <a:pt x="881" y="40"/>
                </a:lnTo>
                <a:lnTo>
                  <a:pt x="881" y="40"/>
                </a:lnTo>
                <a:lnTo>
                  <a:pt x="866" y="29"/>
                </a:lnTo>
                <a:lnTo>
                  <a:pt x="851" y="20"/>
                </a:lnTo>
                <a:lnTo>
                  <a:pt x="837" y="13"/>
                </a:lnTo>
                <a:lnTo>
                  <a:pt x="823" y="8"/>
                </a:lnTo>
                <a:lnTo>
                  <a:pt x="811" y="4"/>
                </a:lnTo>
                <a:lnTo>
                  <a:pt x="799" y="2"/>
                </a:lnTo>
                <a:lnTo>
                  <a:pt x="789" y="0"/>
                </a:lnTo>
                <a:lnTo>
                  <a:pt x="779" y="0"/>
                </a:lnTo>
                <a:lnTo>
                  <a:pt x="770" y="1"/>
                </a:lnTo>
                <a:lnTo>
                  <a:pt x="762" y="2"/>
                </a:lnTo>
                <a:lnTo>
                  <a:pt x="750" y="5"/>
                </a:lnTo>
                <a:lnTo>
                  <a:pt x="743" y="9"/>
                </a:lnTo>
                <a:lnTo>
                  <a:pt x="740" y="10"/>
                </a:lnTo>
                <a:lnTo>
                  <a:pt x="740" y="10"/>
                </a:lnTo>
                <a:lnTo>
                  <a:pt x="728" y="23"/>
                </a:lnTo>
                <a:lnTo>
                  <a:pt x="693" y="62"/>
                </a:lnTo>
                <a:lnTo>
                  <a:pt x="670" y="91"/>
                </a:lnTo>
                <a:lnTo>
                  <a:pt x="642" y="124"/>
                </a:lnTo>
                <a:lnTo>
                  <a:pt x="610" y="164"/>
                </a:lnTo>
                <a:lnTo>
                  <a:pt x="575" y="210"/>
                </a:lnTo>
                <a:lnTo>
                  <a:pt x="539" y="260"/>
                </a:lnTo>
                <a:lnTo>
                  <a:pt x="500" y="316"/>
                </a:lnTo>
                <a:lnTo>
                  <a:pt x="459" y="376"/>
                </a:lnTo>
                <a:lnTo>
                  <a:pt x="417" y="440"/>
                </a:lnTo>
                <a:lnTo>
                  <a:pt x="376" y="509"/>
                </a:lnTo>
                <a:lnTo>
                  <a:pt x="334" y="581"/>
                </a:lnTo>
                <a:lnTo>
                  <a:pt x="293" y="658"/>
                </a:lnTo>
                <a:lnTo>
                  <a:pt x="272" y="698"/>
                </a:lnTo>
                <a:lnTo>
                  <a:pt x="252" y="738"/>
                </a:lnTo>
                <a:lnTo>
                  <a:pt x="252" y="738"/>
                </a:lnTo>
                <a:lnTo>
                  <a:pt x="248" y="728"/>
                </a:lnTo>
                <a:lnTo>
                  <a:pt x="244" y="717"/>
                </a:lnTo>
                <a:lnTo>
                  <a:pt x="233" y="698"/>
                </a:lnTo>
                <a:lnTo>
                  <a:pt x="221" y="682"/>
                </a:lnTo>
                <a:lnTo>
                  <a:pt x="206" y="665"/>
                </a:lnTo>
                <a:lnTo>
                  <a:pt x="192" y="651"/>
                </a:lnTo>
                <a:lnTo>
                  <a:pt x="176" y="638"/>
                </a:lnTo>
                <a:lnTo>
                  <a:pt x="159" y="627"/>
                </a:lnTo>
                <a:lnTo>
                  <a:pt x="144" y="617"/>
                </a:lnTo>
                <a:lnTo>
                  <a:pt x="128" y="608"/>
                </a:lnTo>
                <a:lnTo>
                  <a:pt x="114" y="601"/>
                </a:lnTo>
                <a:lnTo>
                  <a:pt x="89" y="590"/>
                </a:lnTo>
                <a:lnTo>
                  <a:pt x="73" y="585"/>
                </a:lnTo>
                <a:lnTo>
                  <a:pt x="66" y="583"/>
                </a:lnTo>
                <a:lnTo>
                  <a:pt x="66" y="583"/>
                </a:lnTo>
                <a:lnTo>
                  <a:pt x="55" y="585"/>
                </a:lnTo>
                <a:lnTo>
                  <a:pt x="44" y="588"/>
                </a:lnTo>
                <a:lnTo>
                  <a:pt x="32" y="594"/>
                </a:lnTo>
                <a:lnTo>
                  <a:pt x="25" y="597"/>
                </a:lnTo>
                <a:lnTo>
                  <a:pt x="19" y="600"/>
                </a:lnTo>
                <a:lnTo>
                  <a:pt x="14" y="605"/>
                </a:lnTo>
                <a:lnTo>
                  <a:pt x="9" y="610"/>
                </a:lnTo>
                <a:lnTo>
                  <a:pt x="5" y="616"/>
                </a:lnTo>
                <a:lnTo>
                  <a:pt x="2" y="623"/>
                </a:lnTo>
                <a:lnTo>
                  <a:pt x="0" y="629"/>
                </a:lnTo>
                <a:lnTo>
                  <a:pt x="0" y="638"/>
                </a:lnTo>
                <a:lnTo>
                  <a:pt x="0" y="6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93" name="Ellipse 92"/>
          <p:cNvSpPr/>
          <p:nvPr/>
        </p:nvSpPr>
        <p:spPr bwMode="auto">
          <a:xfrm>
            <a:off x="6841841"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198" name="Freeform 103">
            <a:extLst>
              <a:ext uri="{FF2B5EF4-FFF2-40B4-BE49-F238E27FC236}">
                <a16:creationId xmlns:a16="http://schemas.microsoft.com/office/drawing/2014/main" id="{10B85E1F-3DB9-41AD-830C-B8F9D96A0239}"/>
              </a:ext>
            </a:extLst>
          </p:cNvPr>
          <p:cNvSpPr>
            <a:spLocks/>
          </p:cNvSpPr>
          <p:nvPr/>
        </p:nvSpPr>
        <p:spPr bwMode="auto">
          <a:xfrm>
            <a:off x="6851660" y="3249106"/>
            <a:ext cx="443858" cy="443858"/>
          </a:xfrm>
          <a:custGeom>
            <a:avLst/>
            <a:gdLst>
              <a:gd name="T0" fmla="*/ 1709 w 1710"/>
              <a:gd name="T1" fmla="*/ 900 h 1710"/>
              <a:gd name="T2" fmla="*/ 1693 w 1710"/>
              <a:gd name="T3" fmla="*/ 1028 h 1710"/>
              <a:gd name="T4" fmla="*/ 1658 w 1710"/>
              <a:gd name="T5" fmla="*/ 1149 h 1710"/>
              <a:gd name="T6" fmla="*/ 1607 w 1710"/>
              <a:gd name="T7" fmla="*/ 1263 h 1710"/>
              <a:gd name="T8" fmla="*/ 1541 w 1710"/>
              <a:gd name="T9" fmla="*/ 1367 h 1710"/>
              <a:gd name="T10" fmla="*/ 1459 w 1710"/>
              <a:gd name="T11" fmla="*/ 1459 h 1710"/>
              <a:gd name="T12" fmla="*/ 1367 w 1710"/>
              <a:gd name="T13" fmla="*/ 1541 h 1710"/>
              <a:gd name="T14" fmla="*/ 1263 w 1710"/>
              <a:gd name="T15" fmla="*/ 1607 h 1710"/>
              <a:gd name="T16" fmla="*/ 1149 w 1710"/>
              <a:gd name="T17" fmla="*/ 1658 h 1710"/>
              <a:gd name="T18" fmla="*/ 1028 w 1710"/>
              <a:gd name="T19" fmla="*/ 1693 h 1710"/>
              <a:gd name="T20" fmla="*/ 899 w 1710"/>
              <a:gd name="T21" fmla="*/ 1709 h 1710"/>
              <a:gd name="T22" fmla="*/ 811 w 1710"/>
              <a:gd name="T23" fmla="*/ 1709 h 1710"/>
              <a:gd name="T24" fmla="*/ 683 w 1710"/>
              <a:gd name="T25" fmla="*/ 1693 h 1710"/>
              <a:gd name="T26" fmla="*/ 562 w 1710"/>
              <a:gd name="T27" fmla="*/ 1658 h 1710"/>
              <a:gd name="T28" fmla="*/ 449 w 1710"/>
              <a:gd name="T29" fmla="*/ 1607 h 1710"/>
              <a:gd name="T30" fmla="*/ 344 w 1710"/>
              <a:gd name="T31" fmla="*/ 1541 h 1710"/>
              <a:gd name="T32" fmla="*/ 251 w 1710"/>
              <a:gd name="T33" fmla="*/ 1459 h 1710"/>
              <a:gd name="T34" fmla="*/ 171 w 1710"/>
              <a:gd name="T35" fmla="*/ 1367 h 1710"/>
              <a:gd name="T36" fmla="*/ 104 w 1710"/>
              <a:gd name="T37" fmla="*/ 1263 h 1710"/>
              <a:gd name="T38" fmla="*/ 53 w 1710"/>
              <a:gd name="T39" fmla="*/ 1149 h 1710"/>
              <a:gd name="T40" fmla="*/ 18 w 1710"/>
              <a:gd name="T41" fmla="*/ 1028 h 1710"/>
              <a:gd name="T42" fmla="*/ 1 w 1710"/>
              <a:gd name="T43" fmla="*/ 900 h 1710"/>
              <a:gd name="T44" fmla="*/ 1 w 1710"/>
              <a:gd name="T45" fmla="*/ 811 h 1710"/>
              <a:gd name="T46" fmla="*/ 18 w 1710"/>
              <a:gd name="T47" fmla="*/ 683 h 1710"/>
              <a:gd name="T48" fmla="*/ 53 w 1710"/>
              <a:gd name="T49" fmla="*/ 562 h 1710"/>
              <a:gd name="T50" fmla="*/ 104 w 1710"/>
              <a:gd name="T51" fmla="*/ 449 h 1710"/>
              <a:gd name="T52" fmla="*/ 171 w 1710"/>
              <a:gd name="T53" fmla="*/ 344 h 1710"/>
              <a:gd name="T54" fmla="*/ 251 w 1710"/>
              <a:gd name="T55" fmla="*/ 252 h 1710"/>
              <a:gd name="T56" fmla="*/ 344 w 1710"/>
              <a:gd name="T57" fmla="*/ 171 h 1710"/>
              <a:gd name="T58" fmla="*/ 449 w 1710"/>
              <a:gd name="T59" fmla="*/ 104 h 1710"/>
              <a:gd name="T60" fmla="*/ 562 w 1710"/>
              <a:gd name="T61" fmla="*/ 53 h 1710"/>
              <a:gd name="T62" fmla="*/ 683 w 1710"/>
              <a:gd name="T63" fmla="*/ 18 h 1710"/>
              <a:gd name="T64" fmla="*/ 811 w 1710"/>
              <a:gd name="T65" fmla="*/ 1 h 1710"/>
              <a:gd name="T66" fmla="*/ 899 w 1710"/>
              <a:gd name="T67" fmla="*/ 1 h 1710"/>
              <a:gd name="T68" fmla="*/ 1028 w 1710"/>
              <a:gd name="T69" fmla="*/ 18 h 1710"/>
              <a:gd name="T70" fmla="*/ 1149 w 1710"/>
              <a:gd name="T71" fmla="*/ 53 h 1710"/>
              <a:gd name="T72" fmla="*/ 1263 w 1710"/>
              <a:gd name="T73" fmla="*/ 104 h 1710"/>
              <a:gd name="T74" fmla="*/ 1367 w 1710"/>
              <a:gd name="T75" fmla="*/ 171 h 1710"/>
              <a:gd name="T76" fmla="*/ 1459 w 1710"/>
              <a:gd name="T77" fmla="*/ 252 h 1710"/>
              <a:gd name="T78" fmla="*/ 1541 w 1710"/>
              <a:gd name="T79" fmla="*/ 344 h 1710"/>
              <a:gd name="T80" fmla="*/ 1607 w 1710"/>
              <a:gd name="T81" fmla="*/ 449 h 1710"/>
              <a:gd name="T82" fmla="*/ 1658 w 1710"/>
              <a:gd name="T83" fmla="*/ 562 h 1710"/>
              <a:gd name="T84" fmla="*/ 1693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900"/>
                </a:lnTo>
                <a:lnTo>
                  <a:pt x="1705" y="943"/>
                </a:lnTo>
                <a:lnTo>
                  <a:pt x="1700" y="986"/>
                </a:lnTo>
                <a:lnTo>
                  <a:pt x="1693" y="1028"/>
                </a:lnTo>
                <a:lnTo>
                  <a:pt x="1683" y="1069"/>
                </a:lnTo>
                <a:lnTo>
                  <a:pt x="1672" y="1109"/>
                </a:lnTo>
                <a:lnTo>
                  <a:pt x="1658" y="1149"/>
                </a:lnTo>
                <a:lnTo>
                  <a:pt x="1643" y="1188"/>
                </a:lnTo>
                <a:lnTo>
                  <a:pt x="1626" y="1226"/>
                </a:lnTo>
                <a:lnTo>
                  <a:pt x="1607" y="1263"/>
                </a:lnTo>
                <a:lnTo>
                  <a:pt x="1586" y="1298"/>
                </a:lnTo>
                <a:lnTo>
                  <a:pt x="1564" y="1334"/>
                </a:lnTo>
                <a:lnTo>
                  <a:pt x="1541" y="1367"/>
                </a:lnTo>
                <a:lnTo>
                  <a:pt x="1515" y="1399"/>
                </a:lnTo>
                <a:lnTo>
                  <a:pt x="1488" y="1431"/>
                </a:lnTo>
                <a:lnTo>
                  <a:pt x="1459" y="1459"/>
                </a:lnTo>
                <a:lnTo>
                  <a:pt x="1431" y="1488"/>
                </a:lnTo>
                <a:lnTo>
                  <a:pt x="1399" y="1515"/>
                </a:lnTo>
                <a:lnTo>
                  <a:pt x="1367" y="1541"/>
                </a:lnTo>
                <a:lnTo>
                  <a:pt x="1334" y="1564"/>
                </a:lnTo>
                <a:lnTo>
                  <a:pt x="1298" y="1586"/>
                </a:lnTo>
                <a:lnTo>
                  <a:pt x="1263" y="1607"/>
                </a:lnTo>
                <a:lnTo>
                  <a:pt x="1226" y="1626"/>
                </a:lnTo>
                <a:lnTo>
                  <a:pt x="1188" y="1643"/>
                </a:lnTo>
                <a:lnTo>
                  <a:pt x="1149" y="1658"/>
                </a:lnTo>
                <a:lnTo>
                  <a:pt x="1109" y="1672"/>
                </a:lnTo>
                <a:lnTo>
                  <a:pt x="1069" y="1683"/>
                </a:lnTo>
                <a:lnTo>
                  <a:pt x="1028" y="1693"/>
                </a:lnTo>
                <a:lnTo>
                  <a:pt x="986" y="1701"/>
                </a:lnTo>
                <a:lnTo>
                  <a:pt x="942" y="1705"/>
                </a:lnTo>
                <a:lnTo>
                  <a:pt x="899" y="1709"/>
                </a:lnTo>
                <a:lnTo>
                  <a:pt x="856" y="1710"/>
                </a:lnTo>
                <a:lnTo>
                  <a:pt x="856" y="1710"/>
                </a:lnTo>
                <a:lnTo>
                  <a:pt x="811" y="1709"/>
                </a:lnTo>
                <a:lnTo>
                  <a:pt x="768" y="1705"/>
                </a:lnTo>
                <a:lnTo>
                  <a:pt x="725" y="1701"/>
                </a:lnTo>
                <a:lnTo>
                  <a:pt x="683" y="1693"/>
                </a:lnTo>
                <a:lnTo>
                  <a:pt x="642" y="1683"/>
                </a:lnTo>
                <a:lnTo>
                  <a:pt x="601" y="1672"/>
                </a:lnTo>
                <a:lnTo>
                  <a:pt x="562" y="1658"/>
                </a:lnTo>
                <a:lnTo>
                  <a:pt x="523" y="1643"/>
                </a:lnTo>
                <a:lnTo>
                  <a:pt x="485" y="1626"/>
                </a:lnTo>
                <a:lnTo>
                  <a:pt x="449" y="1607"/>
                </a:lnTo>
                <a:lnTo>
                  <a:pt x="412" y="1586"/>
                </a:lnTo>
                <a:lnTo>
                  <a:pt x="377" y="1564"/>
                </a:lnTo>
                <a:lnTo>
                  <a:pt x="344" y="1541"/>
                </a:lnTo>
                <a:lnTo>
                  <a:pt x="312" y="1515"/>
                </a:lnTo>
                <a:lnTo>
                  <a:pt x="281" y="1488"/>
                </a:lnTo>
                <a:lnTo>
                  <a:pt x="251" y="1459"/>
                </a:lnTo>
                <a:lnTo>
                  <a:pt x="223" y="1431"/>
                </a:lnTo>
                <a:lnTo>
                  <a:pt x="196" y="1399"/>
                </a:lnTo>
                <a:lnTo>
                  <a:pt x="171" y="1367"/>
                </a:lnTo>
                <a:lnTo>
                  <a:pt x="147" y="1334"/>
                </a:lnTo>
                <a:lnTo>
                  <a:pt x="125" y="1298"/>
                </a:lnTo>
                <a:lnTo>
                  <a:pt x="104" y="1263"/>
                </a:lnTo>
                <a:lnTo>
                  <a:pt x="85" y="1226"/>
                </a:lnTo>
                <a:lnTo>
                  <a:pt x="68" y="1188"/>
                </a:lnTo>
                <a:lnTo>
                  <a:pt x="53" y="1149"/>
                </a:lnTo>
                <a:lnTo>
                  <a:pt x="39" y="1109"/>
                </a:lnTo>
                <a:lnTo>
                  <a:pt x="28" y="1069"/>
                </a:lnTo>
                <a:lnTo>
                  <a:pt x="18" y="1028"/>
                </a:lnTo>
                <a:lnTo>
                  <a:pt x="10" y="986"/>
                </a:lnTo>
                <a:lnTo>
                  <a:pt x="5" y="943"/>
                </a:lnTo>
                <a:lnTo>
                  <a:pt x="1" y="900"/>
                </a:lnTo>
                <a:lnTo>
                  <a:pt x="0" y="856"/>
                </a:lnTo>
                <a:lnTo>
                  <a:pt x="0" y="856"/>
                </a:lnTo>
                <a:lnTo>
                  <a:pt x="1" y="811"/>
                </a:lnTo>
                <a:lnTo>
                  <a:pt x="5" y="768"/>
                </a:lnTo>
                <a:lnTo>
                  <a:pt x="10" y="725"/>
                </a:lnTo>
                <a:lnTo>
                  <a:pt x="18" y="683"/>
                </a:lnTo>
                <a:lnTo>
                  <a:pt x="28" y="642"/>
                </a:lnTo>
                <a:lnTo>
                  <a:pt x="39" y="601"/>
                </a:lnTo>
                <a:lnTo>
                  <a:pt x="53" y="562"/>
                </a:lnTo>
                <a:lnTo>
                  <a:pt x="68" y="523"/>
                </a:lnTo>
                <a:lnTo>
                  <a:pt x="85" y="485"/>
                </a:lnTo>
                <a:lnTo>
                  <a:pt x="104" y="449"/>
                </a:lnTo>
                <a:lnTo>
                  <a:pt x="125" y="412"/>
                </a:lnTo>
                <a:lnTo>
                  <a:pt x="147" y="377"/>
                </a:lnTo>
                <a:lnTo>
                  <a:pt x="171" y="344"/>
                </a:lnTo>
                <a:lnTo>
                  <a:pt x="196" y="312"/>
                </a:lnTo>
                <a:lnTo>
                  <a:pt x="223" y="281"/>
                </a:lnTo>
                <a:lnTo>
                  <a:pt x="251" y="252"/>
                </a:lnTo>
                <a:lnTo>
                  <a:pt x="281" y="223"/>
                </a:lnTo>
                <a:lnTo>
                  <a:pt x="312" y="196"/>
                </a:lnTo>
                <a:lnTo>
                  <a:pt x="344" y="171"/>
                </a:lnTo>
                <a:lnTo>
                  <a:pt x="377" y="147"/>
                </a:lnTo>
                <a:lnTo>
                  <a:pt x="412" y="125"/>
                </a:lnTo>
                <a:lnTo>
                  <a:pt x="449" y="104"/>
                </a:lnTo>
                <a:lnTo>
                  <a:pt x="485" y="85"/>
                </a:lnTo>
                <a:lnTo>
                  <a:pt x="523" y="68"/>
                </a:lnTo>
                <a:lnTo>
                  <a:pt x="562" y="53"/>
                </a:lnTo>
                <a:lnTo>
                  <a:pt x="601" y="39"/>
                </a:lnTo>
                <a:lnTo>
                  <a:pt x="642" y="28"/>
                </a:lnTo>
                <a:lnTo>
                  <a:pt x="683" y="18"/>
                </a:lnTo>
                <a:lnTo>
                  <a:pt x="725" y="10"/>
                </a:lnTo>
                <a:lnTo>
                  <a:pt x="768" y="5"/>
                </a:lnTo>
                <a:lnTo>
                  <a:pt x="811" y="1"/>
                </a:lnTo>
                <a:lnTo>
                  <a:pt x="856" y="0"/>
                </a:lnTo>
                <a:lnTo>
                  <a:pt x="856" y="0"/>
                </a:lnTo>
                <a:lnTo>
                  <a:pt x="899" y="1"/>
                </a:lnTo>
                <a:lnTo>
                  <a:pt x="942" y="5"/>
                </a:lnTo>
                <a:lnTo>
                  <a:pt x="986" y="10"/>
                </a:lnTo>
                <a:lnTo>
                  <a:pt x="1028" y="18"/>
                </a:lnTo>
                <a:lnTo>
                  <a:pt x="1069" y="28"/>
                </a:lnTo>
                <a:lnTo>
                  <a:pt x="1109" y="39"/>
                </a:lnTo>
                <a:lnTo>
                  <a:pt x="1149" y="53"/>
                </a:lnTo>
                <a:lnTo>
                  <a:pt x="1188" y="68"/>
                </a:lnTo>
                <a:lnTo>
                  <a:pt x="1226" y="85"/>
                </a:lnTo>
                <a:lnTo>
                  <a:pt x="1263" y="104"/>
                </a:lnTo>
                <a:lnTo>
                  <a:pt x="1298" y="125"/>
                </a:lnTo>
                <a:lnTo>
                  <a:pt x="1334" y="147"/>
                </a:lnTo>
                <a:lnTo>
                  <a:pt x="1367" y="171"/>
                </a:lnTo>
                <a:lnTo>
                  <a:pt x="1399" y="196"/>
                </a:lnTo>
                <a:lnTo>
                  <a:pt x="1431" y="223"/>
                </a:lnTo>
                <a:lnTo>
                  <a:pt x="1459" y="252"/>
                </a:lnTo>
                <a:lnTo>
                  <a:pt x="1488" y="281"/>
                </a:lnTo>
                <a:lnTo>
                  <a:pt x="1515" y="312"/>
                </a:lnTo>
                <a:lnTo>
                  <a:pt x="1541" y="344"/>
                </a:lnTo>
                <a:lnTo>
                  <a:pt x="1564" y="377"/>
                </a:lnTo>
                <a:lnTo>
                  <a:pt x="1586" y="412"/>
                </a:lnTo>
                <a:lnTo>
                  <a:pt x="1607" y="449"/>
                </a:lnTo>
                <a:lnTo>
                  <a:pt x="1626" y="485"/>
                </a:lnTo>
                <a:lnTo>
                  <a:pt x="1643" y="523"/>
                </a:lnTo>
                <a:lnTo>
                  <a:pt x="1658" y="562"/>
                </a:lnTo>
                <a:lnTo>
                  <a:pt x="1672" y="601"/>
                </a:lnTo>
                <a:lnTo>
                  <a:pt x="1683" y="642"/>
                </a:lnTo>
                <a:lnTo>
                  <a:pt x="1693" y="683"/>
                </a:lnTo>
                <a:lnTo>
                  <a:pt x="1700" y="725"/>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99" name="Gruppieren 198">
            <a:extLst>
              <a:ext uri="{FF2B5EF4-FFF2-40B4-BE49-F238E27FC236}">
                <a16:creationId xmlns:a16="http://schemas.microsoft.com/office/drawing/2014/main" id="{B996FA07-30D0-4EF7-BC26-E5278A5AD7FC}"/>
              </a:ext>
            </a:extLst>
          </p:cNvPr>
          <p:cNvGrpSpPr/>
          <p:nvPr/>
        </p:nvGrpSpPr>
        <p:grpSpPr>
          <a:xfrm>
            <a:off x="7021232" y="3321779"/>
            <a:ext cx="104714" cy="298511"/>
            <a:chOff x="7063547" y="3895624"/>
            <a:chExt cx="104714" cy="298511"/>
          </a:xfrm>
        </p:grpSpPr>
        <p:sp>
          <p:nvSpPr>
            <p:cNvPr id="200" name="Freeform 104">
              <a:extLst>
                <a:ext uri="{FF2B5EF4-FFF2-40B4-BE49-F238E27FC236}">
                  <a16:creationId xmlns:a16="http://schemas.microsoft.com/office/drawing/2014/main" id="{C2EAB4FA-12CB-46EC-8A16-014243C700D3}"/>
                </a:ext>
              </a:extLst>
            </p:cNvPr>
            <p:cNvSpPr>
              <a:spLocks/>
            </p:cNvSpPr>
            <p:nvPr/>
          </p:nvSpPr>
          <p:spPr bwMode="auto">
            <a:xfrm>
              <a:off x="7082301" y="3895624"/>
              <a:ext cx="65641" cy="65641"/>
            </a:xfrm>
            <a:custGeom>
              <a:avLst/>
              <a:gdLst>
                <a:gd name="T0" fmla="*/ 126 w 255"/>
                <a:gd name="T1" fmla="*/ 255 h 255"/>
                <a:gd name="T2" fmla="*/ 152 w 255"/>
                <a:gd name="T3" fmla="*/ 253 h 255"/>
                <a:gd name="T4" fmla="*/ 176 w 255"/>
                <a:gd name="T5" fmla="*/ 245 h 255"/>
                <a:gd name="T6" fmla="*/ 198 w 255"/>
                <a:gd name="T7" fmla="*/ 234 h 255"/>
                <a:gd name="T8" fmla="*/ 218 w 255"/>
                <a:gd name="T9" fmla="*/ 217 h 255"/>
                <a:gd name="T10" fmla="*/ 227 w 255"/>
                <a:gd name="T11" fmla="*/ 209 h 255"/>
                <a:gd name="T12" fmla="*/ 241 w 255"/>
                <a:gd name="T13" fmla="*/ 187 h 255"/>
                <a:gd name="T14" fmla="*/ 250 w 255"/>
                <a:gd name="T15" fmla="*/ 165 h 255"/>
                <a:gd name="T16" fmla="*/ 254 w 255"/>
                <a:gd name="T17" fmla="*/ 141 h 255"/>
                <a:gd name="T18" fmla="*/ 255 w 255"/>
                <a:gd name="T19" fmla="*/ 127 h 255"/>
                <a:gd name="T20" fmla="*/ 253 w 255"/>
                <a:gd name="T21" fmla="*/ 102 h 255"/>
                <a:gd name="T22" fmla="*/ 245 w 255"/>
                <a:gd name="T23" fmla="*/ 78 h 255"/>
                <a:gd name="T24" fmla="*/ 234 w 255"/>
                <a:gd name="T25" fmla="*/ 57 h 255"/>
                <a:gd name="T26" fmla="*/ 218 w 255"/>
                <a:gd name="T27" fmla="*/ 37 h 255"/>
                <a:gd name="T28" fmla="*/ 209 w 255"/>
                <a:gd name="T29" fmla="*/ 28 h 255"/>
                <a:gd name="T30" fmla="*/ 188 w 255"/>
                <a:gd name="T31" fmla="*/ 14 h 255"/>
                <a:gd name="T32" fmla="*/ 165 w 255"/>
                <a:gd name="T33" fmla="*/ 5 h 255"/>
                <a:gd name="T34" fmla="*/ 140 w 255"/>
                <a:gd name="T35" fmla="*/ 1 h 255"/>
                <a:gd name="T36" fmla="*/ 126 w 255"/>
                <a:gd name="T37" fmla="*/ 0 h 255"/>
                <a:gd name="T38" fmla="*/ 102 w 255"/>
                <a:gd name="T39" fmla="*/ 2 h 255"/>
                <a:gd name="T40" fmla="*/ 78 w 255"/>
                <a:gd name="T41" fmla="*/ 8 h 255"/>
                <a:gd name="T42" fmla="*/ 56 w 255"/>
                <a:gd name="T43" fmla="*/ 21 h 255"/>
                <a:gd name="T44" fmla="*/ 36 w 255"/>
                <a:gd name="T45" fmla="*/ 37 h 255"/>
                <a:gd name="T46" fmla="*/ 29 w 255"/>
                <a:gd name="T47" fmla="*/ 47 h 255"/>
                <a:gd name="T48" fmla="*/ 14 w 255"/>
                <a:gd name="T49" fmla="*/ 67 h 255"/>
                <a:gd name="T50" fmla="*/ 5 w 255"/>
                <a:gd name="T51" fmla="*/ 91 h 255"/>
                <a:gd name="T52" fmla="*/ 0 w 255"/>
                <a:gd name="T53" fmla="*/ 115 h 255"/>
                <a:gd name="T54" fmla="*/ 0 w 255"/>
                <a:gd name="T55" fmla="*/ 127 h 255"/>
                <a:gd name="T56" fmla="*/ 2 w 255"/>
                <a:gd name="T57" fmla="*/ 153 h 255"/>
                <a:gd name="T58" fmla="*/ 9 w 255"/>
                <a:gd name="T59" fmla="*/ 176 h 255"/>
                <a:gd name="T60" fmla="*/ 21 w 255"/>
                <a:gd name="T61" fmla="*/ 199 h 255"/>
                <a:gd name="T62" fmla="*/ 36 w 255"/>
                <a:gd name="T63" fmla="*/ 217 h 255"/>
                <a:gd name="T64" fmla="*/ 46 w 255"/>
                <a:gd name="T65" fmla="*/ 226 h 255"/>
                <a:gd name="T66" fmla="*/ 66 w 255"/>
                <a:gd name="T67" fmla="*/ 241 h 255"/>
                <a:gd name="T68" fmla="*/ 90 w 255"/>
                <a:gd name="T69" fmla="*/ 250 h 255"/>
                <a:gd name="T70" fmla="*/ 114 w 255"/>
                <a:gd name="T71" fmla="*/ 254 h 255"/>
                <a:gd name="T72" fmla="*/ 126 w 255"/>
                <a:gd name="T7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255">
                  <a:moveTo>
                    <a:pt x="126" y="255"/>
                  </a:moveTo>
                  <a:lnTo>
                    <a:pt x="126" y="255"/>
                  </a:lnTo>
                  <a:lnTo>
                    <a:pt x="140" y="254"/>
                  </a:lnTo>
                  <a:lnTo>
                    <a:pt x="152" y="253"/>
                  </a:lnTo>
                  <a:lnTo>
                    <a:pt x="164" y="250"/>
                  </a:lnTo>
                  <a:lnTo>
                    <a:pt x="176" y="245"/>
                  </a:lnTo>
                  <a:lnTo>
                    <a:pt x="188" y="241"/>
                  </a:lnTo>
                  <a:lnTo>
                    <a:pt x="198" y="234"/>
                  </a:lnTo>
                  <a:lnTo>
                    <a:pt x="208" y="226"/>
                  </a:lnTo>
                  <a:lnTo>
                    <a:pt x="218" y="217"/>
                  </a:lnTo>
                  <a:lnTo>
                    <a:pt x="218" y="217"/>
                  </a:lnTo>
                  <a:lnTo>
                    <a:pt x="227" y="209"/>
                  </a:lnTo>
                  <a:lnTo>
                    <a:pt x="234" y="199"/>
                  </a:lnTo>
                  <a:lnTo>
                    <a:pt x="241" y="187"/>
                  </a:lnTo>
                  <a:lnTo>
                    <a:pt x="245" y="176"/>
                  </a:lnTo>
                  <a:lnTo>
                    <a:pt x="250" y="165"/>
                  </a:lnTo>
                  <a:lnTo>
                    <a:pt x="253" y="153"/>
                  </a:lnTo>
                  <a:lnTo>
                    <a:pt x="254" y="141"/>
                  </a:lnTo>
                  <a:lnTo>
                    <a:pt x="255" y="127"/>
                  </a:lnTo>
                  <a:lnTo>
                    <a:pt x="255" y="127"/>
                  </a:lnTo>
                  <a:lnTo>
                    <a:pt x="254" y="115"/>
                  </a:lnTo>
                  <a:lnTo>
                    <a:pt x="253" y="102"/>
                  </a:lnTo>
                  <a:lnTo>
                    <a:pt x="250" y="91"/>
                  </a:lnTo>
                  <a:lnTo>
                    <a:pt x="245" y="78"/>
                  </a:lnTo>
                  <a:lnTo>
                    <a:pt x="241" y="67"/>
                  </a:lnTo>
                  <a:lnTo>
                    <a:pt x="234" y="57"/>
                  </a:lnTo>
                  <a:lnTo>
                    <a:pt x="227" y="47"/>
                  </a:lnTo>
                  <a:lnTo>
                    <a:pt x="218" y="37"/>
                  </a:lnTo>
                  <a:lnTo>
                    <a:pt x="218" y="37"/>
                  </a:lnTo>
                  <a:lnTo>
                    <a:pt x="209" y="28"/>
                  </a:lnTo>
                  <a:lnTo>
                    <a:pt x="199" y="21"/>
                  </a:lnTo>
                  <a:lnTo>
                    <a:pt x="188" y="14"/>
                  </a:lnTo>
                  <a:lnTo>
                    <a:pt x="176" y="8"/>
                  </a:lnTo>
                  <a:lnTo>
                    <a:pt x="165" y="5"/>
                  </a:lnTo>
                  <a:lnTo>
                    <a:pt x="153" y="2"/>
                  </a:lnTo>
                  <a:lnTo>
                    <a:pt x="140" y="1"/>
                  </a:lnTo>
                  <a:lnTo>
                    <a:pt x="126" y="0"/>
                  </a:lnTo>
                  <a:lnTo>
                    <a:pt x="126" y="0"/>
                  </a:lnTo>
                  <a:lnTo>
                    <a:pt x="114" y="1"/>
                  </a:lnTo>
                  <a:lnTo>
                    <a:pt x="102" y="2"/>
                  </a:lnTo>
                  <a:lnTo>
                    <a:pt x="90" y="5"/>
                  </a:lnTo>
                  <a:lnTo>
                    <a:pt x="78" y="8"/>
                  </a:lnTo>
                  <a:lnTo>
                    <a:pt x="66" y="14"/>
                  </a:lnTo>
                  <a:lnTo>
                    <a:pt x="56" y="21"/>
                  </a:lnTo>
                  <a:lnTo>
                    <a:pt x="46" y="28"/>
                  </a:lnTo>
                  <a:lnTo>
                    <a:pt x="36" y="37"/>
                  </a:lnTo>
                  <a:lnTo>
                    <a:pt x="36" y="37"/>
                  </a:lnTo>
                  <a:lnTo>
                    <a:pt x="29" y="47"/>
                  </a:lnTo>
                  <a:lnTo>
                    <a:pt x="21" y="57"/>
                  </a:lnTo>
                  <a:lnTo>
                    <a:pt x="14" y="67"/>
                  </a:lnTo>
                  <a:lnTo>
                    <a:pt x="9" y="78"/>
                  </a:lnTo>
                  <a:lnTo>
                    <a:pt x="5" y="91"/>
                  </a:lnTo>
                  <a:lnTo>
                    <a:pt x="2" y="102"/>
                  </a:lnTo>
                  <a:lnTo>
                    <a:pt x="0" y="115"/>
                  </a:lnTo>
                  <a:lnTo>
                    <a:pt x="0" y="127"/>
                  </a:lnTo>
                  <a:lnTo>
                    <a:pt x="0" y="127"/>
                  </a:lnTo>
                  <a:lnTo>
                    <a:pt x="0" y="141"/>
                  </a:lnTo>
                  <a:lnTo>
                    <a:pt x="2" y="153"/>
                  </a:lnTo>
                  <a:lnTo>
                    <a:pt x="5" y="165"/>
                  </a:lnTo>
                  <a:lnTo>
                    <a:pt x="9" y="176"/>
                  </a:lnTo>
                  <a:lnTo>
                    <a:pt x="14" y="187"/>
                  </a:lnTo>
                  <a:lnTo>
                    <a:pt x="21" y="199"/>
                  </a:lnTo>
                  <a:lnTo>
                    <a:pt x="29" y="209"/>
                  </a:lnTo>
                  <a:lnTo>
                    <a:pt x="36" y="217"/>
                  </a:lnTo>
                  <a:lnTo>
                    <a:pt x="36" y="217"/>
                  </a:lnTo>
                  <a:lnTo>
                    <a:pt x="46" y="226"/>
                  </a:lnTo>
                  <a:lnTo>
                    <a:pt x="56" y="234"/>
                  </a:lnTo>
                  <a:lnTo>
                    <a:pt x="66" y="241"/>
                  </a:lnTo>
                  <a:lnTo>
                    <a:pt x="78" y="245"/>
                  </a:lnTo>
                  <a:lnTo>
                    <a:pt x="90" y="250"/>
                  </a:lnTo>
                  <a:lnTo>
                    <a:pt x="102" y="253"/>
                  </a:lnTo>
                  <a:lnTo>
                    <a:pt x="114" y="254"/>
                  </a:lnTo>
                  <a:lnTo>
                    <a:pt x="126" y="255"/>
                  </a:lnTo>
                  <a:lnTo>
                    <a:pt x="126" y="25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1" name="Freeform 105">
              <a:extLst>
                <a:ext uri="{FF2B5EF4-FFF2-40B4-BE49-F238E27FC236}">
                  <a16:creationId xmlns:a16="http://schemas.microsoft.com/office/drawing/2014/main" id="{D742CBD5-0BC7-493B-962C-398D451EE012}"/>
                </a:ext>
              </a:extLst>
            </p:cNvPr>
            <p:cNvSpPr>
              <a:spLocks/>
            </p:cNvSpPr>
            <p:nvPr/>
          </p:nvSpPr>
          <p:spPr bwMode="auto">
            <a:xfrm>
              <a:off x="7063547" y="4000338"/>
              <a:ext cx="104714" cy="193797"/>
            </a:xfrm>
            <a:custGeom>
              <a:avLst/>
              <a:gdLst>
                <a:gd name="T0" fmla="*/ 331 w 403"/>
                <a:gd name="T1" fmla="*/ 692 h 745"/>
                <a:gd name="T2" fmla="*/ 331 w 403"/>
                <a:gd name="T3" fmla="*/ 692 h 745"/>
                <a:gd name="T4" fmla="*/ 326 w 403"/>
                <a:gd name="T5" fmla="*/ 685 h 745"/>
                <a:gd name="T6" fmla="*/ 323 w 403"/>
                <a:gd name="T7" fmla="*/ 677 h 745"/>
                <a:gd name="T8" fmla="*/ 319 w 403"/>
                <a:gd name="T9" fmla="*/ 667 h 745"/>
                <a:gd name="T10" fmla="*/ 317 w 403"/>
                <a:gd name="T11" fmla="*/ 655 h 745"/>
                <a:gd name="T12" fmla="*/ 315 w 403"/>
                <a:gd name="T13" fmla="*/ 642 h 745"/>
                <a:gd name="T14" fmla="*/ 314 w 403"/>
                <a:gd name="T15" fmla="*/ 626 h 745"/>
                <a:gd name="T16" fmla="*/ 313 w 403"/>
                <a:gd name="T17" fmla="*/ 591 h 745"/>
                <a:gd name="T18" fmla="*/ 313 w 403"/>
                <a:gd name="T19" fmla="*/ 0 h 745"/>
                <a:gd name="T20" fmla="*/ 0 w 403"/>
                <a:gd name="T21" fmla="*/ 0 h 745"/>
                <a:gd name="T22" fmla="*/ 0 w 403"/>
                <a:gd name="T23" fmla="*/ 29 h 745"/>
                <a:gd name="T24" fmla="*/ 0 w 403"/>
                <a:gd name="T25" fmla="*/ 29 h 745"/>
                <a:gd name="T26" fmla="*/ 13 w 403"/>
                <a:gd name="T27" fmla="*/ 30 h 745"/>
                <a:gd name="T28" fmla="*/ 25 w 403"/>
                <a:gd name="T29" fmla="*/ 32 h 745"/>
                <a:gd name="T30" fmla="*/ 35 w 403"/>
                <a:gd name="T31" fmla="*/ 35 h 745"/>
                <a:gd name="T32" fmla="*/ 44 w 403"/>
                <a:gd name="T33" fmla="*/ 38 h 745"/>
                <a:gd name="T34" fmla="*/ 53 w 403"/>
                <a:gd name="T35" fmla="*/ 41 h 745"/>
                <a:gd name="T36" fmla="*/ 59 w 403"/>
                <a:gd name="T37" fmla="*/ 45 h 745"/>
                <a:gd name="T38" fmla="*/ 66 w 403"/>
                <a:gd name="T39" fmla="*/ 49 h 745"/>
                <a:gd name="T40" fmla="*/ 71 w 403"/>
                <a:gd name="T41" fmla="*/ 55 h 745"/>
                <a:gd name="T42" fmla="*/ 71 w 403"/>
                <a:gd name="T43" fmla="*/ 55 h 745"/>
                <a:gd name="T44" fmla="*/ 75 w 403"/>
                <a:gd name="T45" fmla="*/ 61 h 745"/>
                <a:gd name="T46" fmla="*/ 79 w 403"/>
                <a:gd name="T47" fmla="*/ 69 h 745"/>
                <a:gd name="T48" fmla="*/ 83 w 403"/>
                <a:gd name="T49" fmla="*/ 79 h 745"/>
                <a:gd name="T50" fmla="*/ 85 w 403"/>
                <a:gd name="T51" fmla="*/ 91 h 745"/>
                <a:gd name="T52" fmla="*/ 87 w 403"/>
                <a:gd name="T53" fmla="*/ 105 h 745"/>
                <a:gd name="T54" fmla="*/ 88 w 403"/>
                <a:gd name="T55" fmla="*/ 119 h 745"/>
                <a:gd name="T56" fmla="*/ 89 w 403"/>
                <a:gd name="T57" fmla="*/ 156 h 745"/>
                <a:gd name="T58" fmla="*/ 89 w 403"/>
                <a:gd name="T59" fmla="*/ 591 h 745"/>
                <a:gd name="T60" fmla="*/ 89 w 403"/>
                <a:gd name="T61" fmla="*/ 591 h 745"/>
                <a:gd name="T62" fmla="*/ 88 w 403"/>
                <a:gd name="T63" fmla="*/ 626 h 745"/>
                <a:gd name="T64" fmla="*/ 87 w 403"/>
                <a:gd name="T65" fmla="*/ 642 h 745"/>
                <a:gd name="T66" fmla="*/ 86 w 403"/>
                <a:gd name="T67" fmla="*/ 655 h 745"/>
                <a:gd name="T68" fmla="*/ 84 w 403"/>
                <a:gd name="T69" fmla="*/ 666 h 745"/>
                <a:gd name="T70" fmla="*/ 80 w 403"/>
                <a:gd name="T71" fmla="*/ 675 h 745"/>
                <a:gd name="T72" fmla="*/ 77 w 403"/>
                <a:gd name="T73" fmla="*/ 683 h 745"/>
                <a:gd name="T74" fmla="*/ 74 w 403"/>
                <a:gd name="T75" fmla="*/ 688 h 745"/>
                <a:gd name="T76" fmla="*/ 74 w 403"/>
                <a:gd name="T77" fmla="*/ 688 h 745"/>
                <a:gd name="T78" fmla="*/ 67 w 403"/>
                <a:gd name="T79" fmla="*/ 694 h 745"/>
                <a:gd name="T80" fmla="*/ 60 w 403"/>
                <a:gd name="T81" fmla="*/ 700 h 745"/>
                <a:gd name="T82" fmla="*/ 51 w 403"/>
                <a:gd name="T83" fmla="*/ 705 h 745"/>
                <a:gd name="T84" fmla="*/ 44 w 403"/>
                <a:gd name="T85" fmla="*/ 708 h 745"/>
                <a:gd name="T86" fmla="*/ 34 w 403"/>
                <a:gd name="T87" fmla="*/ 712 h 745"/>
                <a:gd name="T88" fmla="*/ 24 w 403"/>
                <a:gd name="T89" fmla="*/ 714 h 745"/>
                <a:gd name="T90" fmla="*/ 13 w 403"/>
                <a:gd name="T91" fmla="*/ 716 h 745"/>
                <a:gd name="T92" fmla="*/ 0 w 403"/>
                <a:gd name="T93" fmla="*/ 716 h 745"/>
                <a:gd name="T94" fmla="*/ 0 w 403"/>
                <a:gd name="T95" fmla="*/ 745 h 745"/>
                <a:gd name="T96" fmla="*/ 403 w 403"/>
                <a:gd name="T97" fmla="*/ 745 h 745"/>
                <a:gd name="T98" fmla="*/ 403 w 403"/>
                <a:gd name="T99" fmla="*/ 716 h 745"/>
                <a:gd name="T100" fmla="*/ 403 w 403"/>
                <a:gd name="T101" fmla="*/ 716 h 745"/>
                <a:gd name="T102" fmla="*/ 389 w 403"/>
                <a:gd name="T103" fmla="*/ 715 h 745"/>
                <a:gd name="T104" fmla="*/ 378 w 403"/>
                <a:gd name="T105" fmla="*/ 714 h 745"/>
                <a:gd name="T106" fmla="*/ 367 w 403"/>
                <a:gd name="T107" fmla="*/ 712 h 745"/>
                <a:gd name="T108" fmla="*/ 358 w 403"/>
                <a:gd name="T109" fmla="*/ 708 h 745"/>
                <a:gd name="T110" fmla="*/ 349 w 403"/>
                <a:gd name="T111" fmla="*/ 705 h 745"/>
                <a:gd name="T112" fmla="*/ 343 w 403"/>
                <a:gd name="T113" fmla="*/ 702 h 745"/>
                <a:gd name="T114" fmla="*/ 336 w 403"/>
                <a:gd name="T115" fmla="*/ 697 h 745"/>
                <a:gd name="T116" fmla="*/ 331 w 403"/>
                <a:gd name="T117" fmla="*/ 692 h 745"/>
                <a:gd name="T118" fmla="*/ 331 w 403"/>
                <a:gd name="T119" fmla="*/ 69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745">
                  <a:moveTo>
                    <a:pt x="331" y="692"/>
                  </a:moveTo>
                  <a:lnTo>
                    <a:pt x="331" y="692"/>
                  </a:lnTo>
                  <a:lnTo>
                    <a:pt x="326" y="685"/>
                  </a:lnTo>
                  <a:lnTo>
                    <a:pt x="323" y="677"/>
                  </a:lnTo>
                  <a:lnTo>
                    <a:pt x="319" y="667"/>
                  </a:lnTo>
                  <a:lnTo>
                    <a:pt x="317" y="655"/>
                  </a:lnTo>
                  <a:lnTo>
                    <a:pt x="315" y="642"/>
                  </a:lnTo>
                  <a:lnTo>
                    <a:pt x="314" y="626"/>
                  </a:lnTo>
                  <a:lnTo>
                    <a:pt x="313" y="591"/>
                  </a:lnTo>
                  <a:lnTo>
                    <a:pt x="313" y="0"/>
                  </a:lnTo>
                  <a:lnTo>
                    <a:pt x="0" y="0"/>
                  </a:lnTo>
                  <a:lnTo>
                    <a:pt x="0" y="29"/>
                  </a:lnTo>
                  <a:lnTo>
                    <a:pt x="0" y="29"/>
                  </a:lnTo>
                  <a:lnTo>
                    <a:pt x="13" y="30"/>
                  </a:lnTo>
                  <a:lnTo>
                    <a:pt x="25" y="32"/>
                  </a:lnTo>
                  <a:lnTo>
                    <a:pt x="35" y="35"/>
                  </a:lnTo>
                  <a:lnTo>
                    <a:pt x="44" y="38"/>
                  </a:lnTo>
                  <a:lnTo>
                    <a:pt x="53" y="41"/>
                  </a:lnTo>
                  <a:lnTo>
                    <a:pt x="59" y="45"/>
                  </a:lnTo>
                  <a:lnTo>
                    <a:pt x="66" y="49"/>
                  </a:lnTo>
                  <a:lnTo>
                    <a:pt x="71" y="55"/>
                  </a:lnTo>
                  <a:lnTo>
                    <a:pt x="71" y="55"/>
                  </a:lnTo>
                  <a:lnTo>
                    <a:pt x="75" y="61"/>
                  </a:lnTo>
                  <a:lnTo>
                    <a:pt x="79" y="69"/>
                  </a:lnTo>
                  <a:lnTo>
                    <a:pt x="83" y="79"/>
                  </a:lnTo>
                  <a:lnTo>
                    <a:pt x="85" y="91"/>
                  </a:lnTo>
                  <a:lnTo>
                    <a:pt x="87" y="105"/>
                  </a:lnTo>
                  <a:lnTo>
                    <a:pt x="88" y="119"/>
                  </a:lnTo>
                  <a:lnTo>
                    <a:pt x="89" y="156"/>
                  </a:lnTo>
                  <a:lnTo>
                    <a:pt x="89" y="591"/>
                  </a:lnTo>
                  <a:lnTo>
                    <a:pt x="89" y="591"/>
                  </a:lnTo>
                  <a:lnTo>
                    <a:pt x="88" y="626"/>
                  </a:lnTo>
                  <a:lnTo>
                    <a:pt x="87" y="642"/>
                  </a:lnTo>
                  <a:lnTo>
                    <a:pt x="86" y="655"/>
                  </a:lnTo>
                  <a:lnTo>
                    <a:pt x="84" y="666"/>
                  </a:lnTo>
                  <a:lnTo>
                    <a:pt x="80" y="675"/>
                  </a:lnTo>
                  <a:lnTo>
                    <a:pt x="77" y="683"/>
                  </a:lnTo>
                  <a:lnTo>
                    <a:pt x="74" y="688"/>
                  </a:lnTo>
                  <a:lnTo>
                    <a:pt x="74" y="688"/>
                  </a:lnTo>
                  <a:lnTo>
                    <a:pt x="67" y="694"/>
                  </a:lnTo>
                  <a:lnTo>
                    <a:pt x="60" y="700"/>
                  </a:lnTo>
                  <a:lnTo>
                    <a:pt x="51" y="705"/>
                  </a:lnTo>
                  <a:lnTo>
                    <a:pt x="44" y="708"/>
                  </a:lnTo>
                  <a:lnTo>
                    <a:pt x="34" y="712"/>
                  </a:lnTo>
                  <a:lnTo>
                    <a:pt x="24" y="714"/>
                  </a:lnTo>
                  <a:lnTo>
                    <a:pt x="13" y="716"/>
                  </a:lnTo>
                  <a:lnTo>
                    <a:pt x="0" y="716"/>
                  </a:lnTo>
                  <a:lnTo>
                    <a:pt x="0" y="745"/>
                  </a:lnTo>
                  <a:lnTo>
                    <a:pt x="403" y="745"/>
                  </a:lnTo>
                  <a:lnTo>
                    <a:pt x="403" y="716"/>
                  </a:lnTo>
                  <a:lnTo>
                    <a:pt x="403" y="716"/>
                  </a:lnTo>
                  <a:lnTo>
                    <a:pt x="389" y="715"/>
                  </a:lnTo>
                  <a:lnTo>
                    <a:pt x="378" y="714"/>
                  </a:lnTo>
                  <a:lnTo>
                    <a:pt x="367" y="712"/>
                  </a:lnTo>
                  <a:lnTo>
                    <a:pt x="358" y="708"/>
                  </a:lnTo>
                  <a:lnTo>
                    <a:pt x="349" y="705"/>
                  </a:lnTo>
                  <a:lnTo>
                    <a:pt x="343" y="702"/>
                  </a:lnTo>
                  <a:lnTo>
                    <a:pt x="336" y="697"/>
                  </a:lnTo>
                  <a:lnTo>
                    <a:pt x="331" y="692"/>
                  </a:lnTo>
                  <a:lnTo>
                    <a:pt x="331" y="69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23" name="Gruppieren 222">
            <a:extLst>
              <a:ext uri="{FF2B5EF4-FFF2-40B4-BE49-F238E27FC236}">
                <a16:creationId xmlns:a16="http://schemas.microsoft.com/office/drawing/2014/main" id="{5DE28789-8572-4C86-B7A6-F4CB38EF94C9}"/>
              </a:ext>
            </a:extLst>
          </p:cNvPr>
          <p:cNvGrpSpPr/>
          <p:nvPr/>
        </p:nvGrpSpPr>
        <p:grpSpPr>
          <a:xfrm>
            <a:off x="7021232" y="2721704"/>
            <a:ext cx="104714" cy="298511"/>
            <a:chOff x="7063547" y="3895624"/>
            <a:chExt cx="104714" cy="298511"/>
          </a:xfrm>
        </p:grpSpPr>
        <p:sp>
          <p:nvSpPr>
            <p:cNvPr id="224" name="Freeform 104">
              <a:extLst>
                <a:ext uri="{FF2B5EF4-FFF2-40B4-BE49-F238E27FC236}">
                  <a16:creationId xmlns:a16="http://schemas.microsoft.com/office/drawing/2014/main" id="{07DD12CC-3BD6-4007-8832-A312E2608B41}"/>
                </a:ext>
              </a:extLst>
            </p:cNvPr>
            <p:cNvSpPr>
              <a:spLocks/>
            </p:cNvSpPr>
            <p:nvPr/>
          </p:nvSpPr>
          <p:spPr bwMode="auto">
            <a:xfrm>
              <a:off x="7082301" y="3895624"/>
              <a:ext cx="65641" cy="65641"/>
            </a:xfrm>
            <a:custGeom>
              <a:avLst/>
              <a:gdLst>
                <a:gd name="T0" fmla="*/ 126 w 255"/>
                <a:gd name="T1" fmla="*/ 255 h 255"/>
                <a:gd name="T2" fmla="*/ 152 w 255"/>
                <a:gd name="T3" fmla="*/ 253 h 255"/>
                <a:gd name="T4" fmla="*/ 176 w 255"/>
                <a:gd name="T5" fmla="*/ 245 h 255"/>
                <a:gd name="T6" fmla="*/ 198 w 255"/>
                <a:gd name="T7" fmla="*/ 234 h 255"/>
                <a:gd name="T8" fmla="*/ 218 w 255"/>
                <a:gd name="T9" fmla="*/ 217 h 255"/>
                <a:gd name="T10" fmla="*/ 227 w 255"/>
                <a:gd name="T11" fmla="*/ 209 h 255"/>
                <a:gd name="T12" fmla="*/ 241 w 255"/>
                <a:gd name="T13" fmla="*/ 187 h 255"/>
                <a:gd name="T14" fmla="*/ 250 w 255"/>
                <a:gd name="T15" fmla="*/ 165 h 255"/>
                <a:gd name="T16" fmla="*/ 254 w 255"/>
                <a:gd name="T17" fmla="*/ 141 h 255"/>
                <a:gd name="T18" fmla="*/ 255 w 255"/>
                <a:gd name="T19" fmla="*/ 127 h 255"/>
                <a:gd name="T20" fmla="*/ 253 w 255"/>
                <a:gd name="T21" fmla="*/ 102 h 255"/>
                <a:gd name="T22" fmla="*/ 245 w 255"/>
                <a:gd name="T23" fmla="*/ 78 h 255"/>
                <a:gd name="T24" fmla="*/ 234 w 255"/>
                <a:gd name="T25" fmla="*/ 57 h 255"/>
                <a:gd name="T26" fmla="*/ 218 w 255"/>
                <a:gd name="T27" fmla="*/ 37 h 255"/>
                <a:gd name="T28" fmla="*/ 209 w 255"/>
                <a:gd name="T29" fmla="*/ 28 h 255"/>
                <a:gd name="T30" fmla="*/ 188 w 255"/>
                <a:gd name="T31" fmla="*/ 14 h 255"/>
                <a:gd name="T32" fmla="*/ 165 w 255"/>
                <a:gd name="T33" fmla="*/ 5 h 255"/>
                <a:gd name="T34" fmla="*/ 140 w 255"/>
                <a:gd name="T35" fmla="*/ 1 h 255"/>
                <a:gd name="T36" fmla="*/ 126 w 255"/>
                <a:gd name="T37" fmla="*/ 0 h 255"/>
                <a:gd name="T38" fmla="*/ 102 w 255"/>
                <a:gd name="T39" fmla="*/ 2 h 255"/>
                <a:gd name="T40" fmla="*/ 78 w 255"/>
                <a:gd name="T41" fmla="*/ 8 h 255"/>
                <a:gd name="T42" fmla="*/ 56 w 255"/>
                <a:gd name="T43" fmla="*/ 21 h 255"/>
                <a:gd name="T44" fmla="*/ 36 w 255"/>
                <a:gd name="T45" fmla="*/ 37 h 255"/>
                <a:gd name="T46" fmla="*/ 29 w 255"/>
                <a:gd name="T47" fmla="*/ 47 h 255"/>
                <a:gd name="T48" fmla="*/ 14 w 255"/>
                <a:gd name="T49" fmla="*/ 67 h 255"/>
                <a:gd name="T50" fmla="*/ 5 w 255"/>
                <a:gd name="T51" fmla="*/ 91 h 255"/>
                <a:gd name="T52" fmla="*/ 0 w 255"/>
                <a:gd name="T53" fmla="*/ 115 h 255"/>
                <a:gd name="T54" fmla="*/ 0 w 255"/>
                <a:gd name="T55" fmla="*/ 127 h 255"/>
                <a:gd name="T56" fmla="*/ 2 w 255"/>
                <a:gd name="T57" fmla="*/ 153 h 255"/>
                <a:gd name="T58" fmla="*/ 9 w 255"/>
                <a:gd name="T59" fmla="*/ 176 h 255"/>
                <a:gd name="T60" fmla="*/ 21 w 255"/>
                <a:gd name="T61" fmla="*/ 199 h 255"/>
                <a:gd name="T62" fmla="*/ 36 w 255"/>
                <a:gd name="T63" fmla="*/ 217 h 255"/>
                <a:gd name="T64" fmla="*/ 46 w 255"/>
                <a:gd name="T65" fmla="*/ 226 h 255"/>
                <a:gd name="T66" fmla="*/ 66 w 255"/>
                <a:gd name="T67" fmla="*/ 241 h 255"/>
                <a:gd name="T68" fmla="*/ 90 w 255"/>
                <a:gd name="T69" fmla="*/ 250 h 255"/>
                <a:gd name="T70" fmla="*/ 114 w 255"/>
                <a:gd name="T71" fmla="*/ 254 h 255"/>
                <a:gd name="T72" fmla="*/ 126 w 255"/>
                <a:gd name="T7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255">
                  <a:moveTo>
                    <a:pt x="126" y="255"/>
                  </a:moveTo>
                  <a:lnTo>
                    <a:pt x="126" y="255"/>
                  </a:lnTo>
                  <a:lnTo>
                    <a:pt x="140" y="254"/>
                  </a:lnTo>
                  <a:lnTo>
                    <a:pt x="152" y="253"/>
                  </a:lnTo>
                  <a:lnTo>
                    <a:pt x="164" y="250"/>
                  </a:lnTo>
                  <a:lnTo>
                    <a:pt x="176" y="245"/>
                  </a:lnTo>
                  <a:lnTo>
                    <a:pt x="188" y="241"/>
                  </a:lnTo>
                  <a:lnTo>
                    <a:pt x="198" y="234"/>
                  </a:lnTo>
                  <a:lnTo>
                    <a:pt x="208" y="226"/>
                  </a:lnTo>
                  <a:lnTo>
                    <a:pt x="218" y="217"/>
                  </a:lnTo>
                  <a:lnTo>
                    <a:pt x="218" y="217"/>
                  </a:lnTo>
                  <a:lnTo>
                    <a:pt x="227" y="209"/>
                  </a:lnTo>
                  <a:lnTo>
                    <a:pt x="234" y="199"/>
                  </a:lnTo>
                  <a:lnTo>
                    <a:pt x="241" y="187"/>
                  </a:lnTo>
                  <a:lnTo>
                    <a:pt x="245" y="176"/>
                  </a:lnTo>
                  <a:lnTo>
                    <a:pt x="250" y="165"/>
                  </a:lnTo>
                  <a:lnTo>
                    <a:pt x="253" y="153"/>
                  </a:lnTo>
                  <a:lnTo>
                    <a:pt x="254" y="141"/>
                  </a:lnTo>
                  <a:lnTo>
                    <a:pt x="255" y="127"/>
                  </a:lnTo>
                  <a:lnTo>
                    <a:pt x="255" y="127"/>
                  </a:lnTo>
                  <a:lnTo>
                    <a:pt x="254" y="115"/>
                  </a:lnTo>
                  <a:lnTo>
                    <a:pt x="253" y="102"/>
                  </a:lnTo>
                  <a:lnTo>
                    <a:pt x="250" y="91"/>
                  </a:lnTo>
                  <a:lnTo>
                    <a:pt x="245" y="78"/>
                  </a:lnTo>
                  <a:lnTo>
                    <a:pt x="241" y="67"/>
                  </a:lnTo>
                  <a:lnTo>
                    <a:pt x="234" y="57"/>
                  </a:lnTo>
                  <a:lnTo>
                    <a:pt x="227" y="47"/>
                  </a:lnTo>
                  <a:lnTo>
                    <a:pt x="218" y="37"/>
                  </a:lnTo>
                  <a:lnTo>
                    <a:pt x="218" y="37"/>
                  </a:lnTo>
                  <a:lnTo>
                    <a:pt x="209" y="28"/>
                  </a:lnTo>
                  <a:lnTo>
                    <a:pt x="199" y="21"/>
                  </a:lnTo>
                  <a:lnTo>
                    <a:pt x="188" y="14"/>
                  </a:lnTo>
                  <a:lnTo>
                    <a:pt x="176" y="8"/>
                  </a:lnTo>
                  <a:lnTo>
                    <a:pt x="165" y="5"/>
                  </a:lnTo>
                  <a:lnTo>
                    <a:pt x="153" y="2"/>
                  </a:lnTo>
                  <a:lnTo>
                    <a:pt x="140" y="1"/>
                  </a:lnTo>
                  <a:lnTo>
                    <a:pt x="126" y="0"/>
                  </a:lnTo>
                  <a:lnTo>
                    <a:pt x="126" y="0"/>
                  </a:lnTo>
                  <a:lnTo>
                    <a:pt x="114" y="1"/>
                  </a:lnTo>
                  <a:lnTo>
                    <a:pt x="102" y="2"/>
                  </a:lnTo>
                  <a:lnTo>
                    <a:pt x="90" y="5"/>
                  </a:lnTo>
                  <a:lnTo>
                    <a:pt x="78" y="8"/>
                  </a:lnTo>
                  <a:lnTo>
                    <a:pt x="66" y="14"/>
                  </a:lnTo>
                  <a:lnTo>
                    <a:pt x="56" y="21"/>
                  </a:lnTo>
                  <a:lnTo>
                    <a:pt x="46" y="28"/>
                  </a:lnTo>
                  <a:lnTo>
                    <a:pt x="36" y="37"/>
                  </a:lnTo>
                  <a:lnTo>
                    <a:pt x="36" y="37"/>
                  </a:lnTo>
                  <a:lnTo>
                    <a:pt x="29" y="47"/>
                  </a:lnTo>
                  <a:lnTo>
                    <a:pt x="21" y="57"/>
                  </a:lnTo>
                  <a:lnTo>
                    <a:pt x="14" y="67"/>
                  </a:lnTo>
                  <a:lnTo>
                    <a:pt x="9" y="78"/>
                  </a:lnTo>
                  <a:lnTo>
                    <a:pt x="5" y="91"/>
                  </a:lnTo>
                  <a:lnTo>
                    <a:pt x="2" y="102"/>
                  </a:lnTo>
                  <a:lnTo>
                    <a:pt x="0" y="115"/>
                  </a:lnTo>
                  <a:lnTo>
                    <a:pt x="0" y="127"/>
                  </a:lnTo>
                  <a:lnTo>
                    <a:pt x="0" y="127"/>
                  </a:lnTo>
                  <a:lnTo>
                    <a:pt x="0" y="141"/>
                  </a:lnTo>
                  <a:lnTo>
                    <a:pt x="2" y="153"/>
                  </a:lnTo>
                  <a:lnTo>
                    <a:pt x="5" y="165"/>
                  </a:lnTo>
                  <a:lnTo>
                    <a:pt x="9" y="176"/>
                  </a:lnTo>
                  <a:lnTo>
                    <a:pt x="14" y="187"/>
                  </a:lnTo>
                  <a:lnTo>
                    <a:pt x="21" y="199"/>
                  </a:lnTo>
                  <a:lnTo>
                    <a:pt x="29" y="209"/>
                  </a:lnTo>
                  <a:lnTo>
                    <a:pt x="36" y="217"/>
                  </a:lnTo>
                  <a:lnTo>
                    <a:pt x="36" y="217"/>
                  </a:lnTo>
                  <a:lnTo>
                    <a:pt x="46" y="226"/>
                  </a:lnTo>
                  <a:lnTo>
                    <a:pt x="56" y="234"/>
                  </a:lnTo>
                  <a:lnTo>
                    <a:pt x="66" y="241"/>
                  </a:lnTo>
                  <a:lnTo>
                    <a:pt x="78" y="245"/>
                  </a:lnTo>
                  <a:lnTo>
                    <a:pt x="90" y="250"/>
                  </a:lnTo>
                  <a:lnTo>
                    <a:pt x="102" y="253"/>
                  </a:lnTo>
                  <a:lnTo>
                    <a:pt x="114" y="254"/>
                  </a:lnTo>
                  <a:lnTo>
                    <a:pt x="126" y="255"/>
                  </a:lnTo>
                  <a:lnTo>
                    <a:pt x="126" y="25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5" name="Freeform 105">
              <a:extLst>
                <a:ext uri="{FF2B5EF4-FFF2-40B4-BE49-F238E27FC236}">
                  <a16:creationId xmlns:a16="http://schemas.microsoft.com/office/drawing/2014/main" id="{1E7700ED-D992-4731-B1A7-C2755FAA602D}"/>
                </a:ext>
              </a:extLst>
            </p:cNvPr>
            <p:cNvSpPr>
              <a:spLocks/>
            </p:cNvSpPr>
            <p:nvPr/>
          </p:nvSpPr>
          <p:spPr bwMode="auto">
            <a:xfrm>
              <a:off x="7063547" y="4000338"/>
              <a:ext cx="104714" cy="193797"/>
            </a:xfrm>
            <a:custGeom>
              <a:avLst/>
              <a:gdLst>
                <a:gd name="T0" fmla="*/ 331 w 403"/>
                <a:gd name="T1" fmla="*/ 692 h 745"/>
                <a:gd name="T2" fmla="*/ 331 w 403"/>
                <a:gd name="T3" fmla="*/ 692 h 745"/>
                <a:gd name="T4" fmla="*/ 326 w 403"/>
                <a:gd name="T5" fmla="*/ 685 h 745"/>
                <a:gd name="T6" fmla="*/ 323 w 403"/>
                <a:gd name="T7" fmla="*/ 677 h 745"/>
                <a:gd name="T8" fmla="*/ 319 w 403"/>
                <a:gd name="T9" fmla="*/ 667 h 745"/>
                <a:gd name="T10" fmla="*/ 317 w 403"/>
                <a:gd name="T11" fmla="*/ 655 h 745"/>
                <a:gd name="T12" fmla="*/ 315 w 403"/>
                <a:gd name="T13" fmla="*/ 642 h 745"/>
                <a:gd name="T14" fmla="*/ 314 w 403"/>
                <a:gd name="T15" fmla="*/ 626 h 745"/>
                <a:gd name="T16" fmla="*/ 313 w 403"/>
                <a:gd name="T17" fmla="*/ 591 h 745"/>
                <a:gd name="T18" fmla="*/ 313 w 403"/>
                <a:gd name="T19" fmla="*/ 0 h 745"/>
                <a:gd name="T20" fmla="*/ 0 w 403"/>
                <a:gd name="T21" fmla="*/ 0 h 745"/>
                <a:gd name="T22" fmla="*/ 0 w 403"/>
                <a:gd name="T23" fmla="*/ 29 h 745"/>
                <a:gd name="T24" fmla="*/ 0 w 403"/>
                <a:gd name="T25" fmla="*/ 29 h 745"/>
                <a:gd name="T26" fmla="*/ 13 w 403"/>
                <a:gd name="T27" fmla="*/ 30 h 745"/>
                <a:gd name="T28" fmla="*/ 25 w 403"/>
                <a:gd name="T29" fmla="*/ 32 h 745"/>
                <a:gd name="T30" fmla="*/ 35 w 403"/>
                <a:gd name="T31" fmla="*/ 35 h 745"/>
                <a:gd name="T32" fmla="*/ 44 w 403"/>
                <a:gd name="T33" fmla="*/ 38 h 745"/>
                <a:gd name="T34" fmla="*/ 53 w 403"/>
                <a:gd name="T35" fmla="*/ 41 h 745"/>
                <a:gd name="T36" fmla="*/ 59 w 403"/>
                <a:gd name="T37" fmla="*/ 45 h 745"/>
                <a:gd name="T38" fmla="*/ 66 w 403"/>
                <a:gd name="T39" fmla="*/ 49 h 745"/>
                <a:gd name="T40" fmla="*/ 71 w 403"/>
                <a:gd name="T41" fmla="*/ 55 h 745"/>
                <a:gd name="T42" fmla="*/ 71 w 403"/>
                <a:gd name="T43" fmla="*/ 55 h 745"/>
                <a:gd name="T44" fmla="*/ 75 w 403"/>
                <a:gd name="T45" fmla="*/ 61 h 745"/>
                <a:gd name="T46" fmla="*/ 79 w 403"/>
                <a:gd name="T47" fmla="*/ 69 h 745"/>
                <a:gd name="T48" fmla="*/ 83 w 403"/>
                <a:gd name="T49" fmla="*/ 79 h 745"/>
                <a:gd name="T50" fmla="*/ 85 w 403"/>
                <a:gd name="T51" fmla="*/ 91 h 745"/>
                <a:gd name="T52" fmla="*/ 87 w 403"/>
                <a:gd name="T53" fmla="*/ 105 h 745"/>
                <a:gd name="T54" fmla="*/ 88 w 403"/>
                <a:gd name="T55" fmla="*/ 119 h 745"/>
                <a:gd name="T56" fmla="*/ 89 w 403"/>
                <a:gd name="T57" fmla="*/ 156 h 745"/>
                <a:gd name="T58" fmla="*/ 89 w 403"/>
                <a:gd name="T59" fmla="*/ 591 h 745"/>
                <a:gd name="T60" fmla="*/ 89 w 403"/>
                <a:gd name="T61" fmla="*/ 591 h 745"/>
                <a:gd name="T62" fmla="*/ 88 w 403"/>
                <a:gd name="T63" fmla="*/ 626 h 745"/>
                <a:gd name="T64" fmla="*/ 87 w 403"/>
                <a:gd name="T65" fmla="*/ 642 h 745"/>
                <a:gd name="T66" fmla="*/ 86 w 403"/>
                <a:gd name="T67" fmla="*/ 655 h 745"/>
                <a:gd name="T68" fmla="*/ 84 w 403"/>
                <a:gd name="T69" fmla="*/ 666 h 745"/>
                <a:gd name="T70" fmla="*/ 80 w 403"/>
                <a:gd name="T71" fmla="*/ 675 h 745"/>
                <a:gd name="T72" fmla="*/ 77 w 403"/>
                <a:gd name="T73" fmla="*/ 683 h 745"/>
                <a:gd name="T74" fmla="*/ 74 w 403"/>
                <a:gd name="T75" fmla="*/ 688 h 745"/>
                <a:gd name="T76" fmla="*/ 74 w 403"/>
                <a:gd name="T77" fmla="*/ 688 h 745"/>
                <a:gd name="T78" fmla="*/ 67 w 403"/>
                <a:gd name="T79" fmla="*/ 694 h 745"/>
                <a:gd name="T80" fmla="*/ 60 w 403"/>
                <a:gd name="T81" fmla="*/ 700 h 745"/>
                <a:gd name="T82" fmla="*/ 51 w 403"/>
                <a:gd name="T83" fmla="*/ 705 h 745"/>
                <a:gd name="T84" fmla="*/ 44 w 403"/>
                <a:gd name="T85" fmla="*/ 708 h 745"/>
                <a:gd name="T86" fmla="*/ 34 w 403"/>
                <a:gd name="T87" fmla="*/ 712 h 745"/>
                <a:gd name="T88" fmla="*/ 24 w 403"/>
                <a:gd name="T89" fmla="*/ 714 h 745"/>
                <a:gd name="T90" fmla="*/ 13 w 403"/>
                <a:gd name="T91" fmla="*/ 716 h 745"/>
                <a:gd name="T92" fmla="*/ 0 w 403"/>
                <a:gd name="T93" fmla="*/ 716 h 745"/>
                <a:gd name="T94" fmla="*/ 0 w 403"/>
                <a:gd name="T95" fmla="*/ 745 h 745"/>
                <a:gd name="T96" fmla="*/ 403 w 403"/>
                <a:gd name="T97" fmla="*/ 745 h 745"/>
                <a:gd name="T98" fmla="*/ 403 w 403"/>
                <a:gd name="T99" fmla="*/ 716 h 745"/>
                <a:gd name="T100" fmla="*/ 403 w 403"/>
                <a:gd name="T101" fmla="*/ 716 h 745"/>
                <a:gd name="T102" fmla="*/ 389 w 403"/>
                <a:gd name="T103" fmla="*/ 715 h 745"/>
                <a:gd name="T104" fmla="*/ 378 w 403"/>
                <a:gd name="T105" fmla="*/ 714 h 745"/>
                <a:gd name="T106" fmla="*/ 367 w 403"/>
                <a:gd name="T107" fmla="*/ 712 h 745"/>
                <a:gd name="T108" fmla="*/ 358 w 403"/>
                <a:gd name="T109" fmla="*/ 708 h 745"/>
                <a:gd name="T110" fmla="*/ 349 w 403"/>
                <a:gd name="T111" fmla="*/ 705 h 745"/>
                <a:gd name="T112" fmla="*/ 343 w 403"/>
                <a:gd name="T113" fmla="*/ 702 h 745"/>
                <a:gd name="T114" fmla="*/ 336 w 403"/>
                <a:gd name="T115" fmla="*/ 697 h 745"/>
                <a:gd name="T116" fmla="*/ 331 w 403"/>
                <a:gd name="T117" fmla="*/ 692 h 745"/>
                <a:gd name="T118" fmla="*/ 331 w 403"/>
                <a:gd name="T119" fmla="*/ 69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745">
                  <a:moveTo>
                    <a:pt x="331" y="692"/>
                  </a:moveTo>
                  <a:lnTo>
                    <a:pt x="331" y="692"/>
                  </a:lnTo>
                  <a:lnTo>
                    <a:pt x="326" y="685"/>
                  </a:lnTo>
                  <a:lnTo>
                    <a:pt x="323" y="677"/>
                  </a:lnTo>
                  <a:lnTo>
                    <a:pt x="319" y="667"/>
                  </a:lnTo>
                  <a:lnTo>
                    <a:pt x="317" y="655"/>
                  </a:lnTo>
                  <a:lnTo>
                    <a:pt x="315" y="642"/>
                  </a:lnTo>
                  <a:lnTo>
                    <a:pt x="314" y="626"/>
                  </a:lnTo>
                  <a:lnTo>
                    <a:pt x="313" y="591"/>
                  </a:lnTo>
                  <a:lnTo>
                    <a:pt x="313" y="0"/>
                  </a:lnTo>
                  <a:lnTo>
                    <a:pt x="0" y="0"/>
                  </a:lnTo>
                  <a:lnTo>
                    <a:pt x="0" y="29"/>
                  </a:lnTo>
                  <a:lnTo>
                    <a:pt x="0" y="29"/>
                  </a:lnTo>
                  <a:lnTo>
                    <a:pt x="13" y="30"/>
                  </a:lnTo>
                  <a:lnTo>
                    <a:pt x="25" y="32"/>
                  </a:lnTo>
                  <a:lnTo>
                    <a:pt x="35" y="35"/>
                  </a:lnTo>
                  <a:lnTo>
                    <a:pt x="44" y="38"/>
                  </a:lnTo>
                  <a:lnTo>
                    <a:pt x="53" y="41"/>
                  </a:lnTo>
                  <a:lnTo>
                    <a:pt x="59" y="45"/>
                  </a:lnTo>
                  <a:lnTo>
                    <a:pt x="66" y="49"/>
                  </a:lnTo>
                  <a:lnTo>
                    <a:pt x="71" y="55"/>
                  </a:lnTo>
                  <a:lnTo>
                    <a:pt x="71" y="55"/>
                  </a:lnTo>
                  <a:lnTo>
                    <a:pt x="75" y="61"/>
                  </a:lnTo>
                  <a:lnTo>
                    <a:pt x="79" y="69"/>
                  </a:lnTo>
                  <a:lnTo>
                    <a:pt x="83" y="79"/>
                  </a:lnTo>
                  <a:lnTo>
                    <a:pt x="85" y="91"/>
                  </a:lnTo>
                  <a:lnTo>
                    <a:pt x="87" y="105"/>
                  </a:lnTo>
                  <a:lnTo>
                    <a:pt x="88" y="119"/>
                  </a:lnTo>
                  <a:lnTo>
                    <a:pt x="89" y="156"/>
                  </a:lnTo>
                  <a:lnTo>
                    <a:pt x="89" y="591"/>
                  </a:lnTo>
                  <a:lnTo>
                    <a:pt x="89" y="591"/>
                  </a:lnTo>
                  <a:lnTo>
                    <a:pt x="88" y="626"/>
                  </a:lnTo>
                  <a:lnTo>
                    <a:pt x="87" y="642"/>
                  </a:lnTo>
                  <a:lnTo>
                    <a:pt x="86" y="655"/>
                  </a:lnTo>
                  <a:lnTo>
                    <a:pt x="84" y="666"/>
                  </a:lnTo>
                  <a:lnTo>
                    <a:pt x="80" y="675"/>
                  </a:lnTo>
                  <a:lnTo>
                    <a:pt x="77" y="683"/>
                  </a:lnTo>
                  <a:lnTo>
                    <a:pt x="74" y="688"/>
                  </a:lnTo>
                  <a:lnTo>
                    <a:pt x="74" y="688"/>
                  </a:lnTo>
                  <a:lnTo>
                    <a:pt x="67" y="694"/>
                  </a:lnTo>
                  <a:lnTo>
                    <a:pt x="60" y="700"/>
                  </a:lnTo>
                  <a:lnTo>
                    <a:pt x="51" y="705"/>
                  </a:lnTo>
                  <a:lnTo>
                    <a:pt x="44" y="708"/>
                  </a:lnTo>
                  <a:lnTo>
                    <a:pt x="34" y="712"/>
                  </a:lnTo>
                  <a:lnTo>
                    <a:pt x="24" y="714"/>
                  </a:lnTo>
                  <a:lnTo>
                    <a:pt x="13" y="716"/>
                  </a:lnTo>
                  <a:lnTo>
                    <a:pt x="0" y="716"/>
                  </a:lnTo>
                  <a:lnTo>
                    <a:pt x="0" y="745"/>
                  </a:lnTo>
                  <a:lnTo>
                    <a:pt x="403" y="745"/>
                  </a:lnTo>
                  <a:lnTo>
                    <a:pt x="403" y="716"/>
                  </a:lnTo>
                  <a:lnTo>
                    <a:pt x="403" y="716"/>
                  </a:lnTo>
                  <a:lnTo>
                    <a:pt x="389" y="715"/>
                  </a:lnTo>
                  <a:lnTo>
                    <a:pt x="378" y="714"/>
                  </a:lnTo>
                  <a:lnTo>
                    <a:pt x="367" y="712"/>
                  </a:lnTo>
                  <a:lnTo>
                    <a:pt x="358" y="708"/>
                  </a:lnTo>
                  <a:lnTo>
                    <a:pt x="349" y="705"/>
                  </a:lnTo>
                  <a:lnTo>
                    <a:pt x="343" y="702"/>
                  </a:lnTo>
                  <a:lnTo>
                    <a:pt x="336" y="697"/>
                  </a:lnTo>
                  <a:lnTo>
                    <a:pt x="331" y="692"/>
                  </a:lnTo>
                  <a:lnTo>
                    <a:pt x="331" y="69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17" name="Ellipse 316">
            <a:extLst>
              <a:ext uri="{FF2B5EF4-FFF2-40B4-BE49-F238E27FC236}">
                <a16:creationId xmlns:a16="http://schemas.microsoft.com/office/drawing/2014/main" id="{366B1905-557E-40CE-A01F-EB792E0EEC01}"/>
              </a:ext>
            </a:extLst>
          </p:cNvPr>
          <p:cNvSpPr/>
          <p:nvPr/>
        </p:nvSpPr>
        <p:spPr bwMode="auto">
          <a:xfrm>
            <a:off x="6841841"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grpSp>
        <p:nvGrpSpPr>
          <p:cNvPr id="339" name="Gruppieren 338">
            <a:extLst>
              <a:ext uri="{FF2B5EF4-FFF2-40B4-BE49-F238E27FC236}">
                <a16:creationId xmlns:a16="http://schemas.microsoft.com/office/drawing/2014/main" id="{9C175109-CAB3-4481-A9F9-78EBE9892599}"/>
              </a:ext>
            </a:extLst>
          </p:cNvPr>
          <p:cNvGrpSpPr/>
          <p:nvPr/>
        </p:nvGrpSpPr>
        <p:grpSpPr>
          <a:xfrm>
            <a:off x="7021232" y="3964471"/>
            <a:ext cx="104714" cy="298511"/>
            <a:chOff x="7063547" y="3895624"/>
            <a:chExt cx="104714" cy="298511"/>
          </a:xfrm>
          <a:solidFill>
            <a:schemeClr val="bg1"/>
          </a:solidFill>
        </p:grpSpPr>
        <p:sp>
          <p:nvSpPr>
            <p:cNvPr id="340" name="Freeform 104">
              <a:extLst>
                <a:ext uri="{FF2B5EF4-FFF2-40B4-BE49-F238E27FC236}">
                  <a16:creationId xmlns:a16="http://schemas.microsoft.com/office/drawing/2014/main" id="{88BFF003-B6DF-46CE-8896-6129B68A6879}"/>
                </a:ext>
              </a:extLst>
            </p:cNvPr>
            <p:cNvSpPr>
              <a:spLocks/>
            </p:cNvSpPr>
            <p:nvPr/>
          </p:nvSpPr>
          <p:spPr bwMode="auto">
            <a:xfrm>
              <a:off x="7082301" y="3895624"/>
              <a:ext cx="65641" cy="65641"/>
            </a:xfrm>
            <a:custGeom>
              <a:avLst/>
              <a:gdLst>
                <a:gd name="T0" fmla="*/ 126 w 255"/>
                <a:gd name="T1" fmla="*/ 255 h 255"/>
                <a:gd name="T2" fmla="*/ 152 w 255"/>
                <a:gd name="T3" fmla="*/ 253 h 255"/>
                <a:gd name="T4" fmla="*/ 176 w 255"/>
                <a:gd name="T5" fmla="*/ 245 h 255"/>
                <a:gd name="T6" fmla="*/ 198 w 255"/>
                <a:gd name="T7" fmla="*/ 234 h 255"/>
                <a:gd name="T8" fmla="*/ 218 w 255"/>
                <a:gd name="T9" fmla="*/ 217 h 255"/>
                <a:gd name="T10" fmla="*/ 227 w 255"/>
                <a:gd name="T11" fmla="*/ 209 h 255"/>
                <a:gd name="T12" fmla="*/ 241 w 255"/>
                <a:gd name="T13" fmla="*/ 187 h 255"/>
                <a:gd name="T14" fmla="*/ 250 w 255"/>
                <a:gd name="T15" fmla="*/ 165 h 255"/>
                <a:gd name="T16" fmla="*/ 254 w 255"/>
                <a:gd name="T17" fmla="*/ 141 h 255"/>
                <a:gd name="T18" fmla="*/ 255 w 255"/>
                <a:gd name="T19" fmla="*/ 127 h 255"/>
                <a:gd name="T20" fmla="*/ 253 w 255"/>
                <a:gd name="T21" fmla="*/ 102 h 255"/>
                <a:gd name="T22" fmla="*/ 245 w 255"/>
                <a:gd name="T23" fmla="*/ 78 h 255"/>
                <a:gd name="T24" fmla="*/ 234 w 255"/>
                <a:gd name="T25" fmla="*/ 57 h 255"/>
                <a:gd name="T26" fmla="*/ 218 w 255"/>
                <a:gd name="T27" fmla="*/ 37 h 255"/>
                <a:gd name="T28" fmla="*/ 209 w 255"/>
                <a:gd name="T29" fmla="*/ 28 h 255"/>
                <a:gd name="T30" fmla="*/ 188 w 255"/>
                <a:gd name="T31" fmla="*/ 14 h 255"/>
                <a:gd name="T32" fmla="*/ 165 w 255"/>
                <a:gd name="T33" fmla="*/ 5 h 255"/>
                <a:gd name="T34" fmla="*/ 140 w 255"/>
                <a:gd name="T35" fmla="*/ 1 h 255"/>
                <a:gd name="T36" fmla="*/ 126 w 255"/>
                <a:gd name="T37" fmla="*/ 0 h 255"/>
                <a:gd name="T38" fmla="*/ 102 w 255"/>
                <a:gd name="T39" fmla="*/ 2 h 255"/>
                <a:gd name="T40" fmla="*/ 78 w 255"/>
                <a:gd name="T41" fmla="*/ 8 h 255"/>
                <a:gd name="T42" fmla="*/ 56 w 255"/>
                <a:gd name="T43" fmla="*/ 21 h 255"/>
                <a:gd name="T44" fmla="*/ 36 w 255"/>
                <a:gd name="T45" fmla="*/ 37 h 255"/>
                <a:gd name="T46" fmla="*/ 29 w 255"/>
                <a:gd name="T47" fmla="*/ 47 h 255"/>
                <a:gd name="T48" fmla="*/ 14 w 255"/>
                <a:gd name="T49" fmla="*/ 67 h 255"/>
                <a:gd name="T50" fmla="*/ 5 w 255"/>
                <a:gd name="T51" fmla="*/ 91 h 255"/>
                <a:gd name="T52" fmla="*/ 0 w 255"/>
                <a:gd name="T53" fmla="*/ 115 h 255"/>
                <a:gd name="T54" fmla="*/ 0 w 255"/>
                <a:gd name="T55" fmla="*/ 127 h 255"/>
                <a:gd name="T56" fmla="*/ 2 w 255"/>
                <a:gd name="T57" fmla="*/ 153 h 255"/>
                <a:gd name="T58" fmla="*/ 9 w 255"/>
                <a:gd name="T59" fmla="*/ 176 h 255"/>
                <a:gd name="T60" fmla="*/ 21 w 255"/>
                <a:gd name="T61" fmla="*/ 199 h 255"/>
                <a:gd name="T62" fmla="*/ 36 w 255"/>
                <a:gd name="T63" fmla="*/ 217 h 255"/>
                <a:gd name="T64" fmla="*/ 46 w 255"/>
                <a:gd name="T65" fmla="*/ 226 h 255"/>
                <a:gd name="T66" fmla="*/ 66 w 255"/>
                <a:gd name="T67" fmla="*/ 241 h 255"/>
                <a:gd name="T68" fmla="*/ 90 w 255"/>
                <a:gd name="T69" fmla="*/ 250 h 255"/>
                <a:gd name="T70" fmla="*/ 114 w 255"/>
                <a:gd name="T71" fmla="*/ 254 h 255"/>
                <a:gd name="T72" fmla="*/ 126 w 255"/>
                <a:gd name="T7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255">
                  <a:moveTo>
                    <a:pt x="126" y="255"/>
                  </a:moveTo>
                  <a:lnTo>
                    <a:pt x="126" y="255"/>
                  </a:lnTo>
                  <a:lnTo>
                    <a:pt x="140" y="254"/>
                  </a:lnTo>
                  <a:lnTo>
                    <a:pt x="152" y="253"/>
                  </a:lnTo>
                  <a:lnTo>
                    <a:pt x="164" y="250"/>
                  </a:lnTo>
                  <a:lnTo>
                    <a:pt x="176" y="245"/>
                  </a:lnTo>
                  <a:lnTo>
                    <a:pt x="188" y="241"/>
                  </a:lnTo>
                  <a:lnTo>
                    <a:pt x="198" y="234"/>
                  </a:lnTo>
                  <a:lnTo>
                    <a:pt x="208" y="226"/>
                  </a:lnTo>
                  <a:lnTo>
                    <a:pt x="218" y="217"/>
                  </a:lnTo>
                  <a:lnTo>
                    <a:pt x="218" y="217"/>
                  </a:lnTo>
                  <a:lnTo>
                    <a:pt x="227" y="209"/>
                  </a:lnTo>
                  <a:lnTo>
                    <a:pt x="234" y="199"/>
                  </a:lnTo>
                  <a:lnTo>
                    <a:pt x="241" y="187"/>
                  </a:lnTo>
                  <a:lnTo>
                    <a:pt x="245" y="176"/>
                  </a:lnTo>
                  <a:lnTo>
                    <a:pt x="250" y="165"/>
                  </a:lnTo>
                  <a:lnTo>
                    <a:pt x="253" y="153"/>
                  </a:lnTo>
                  <a:lnTo>
                    <a:pt x="254" y="141"/>
                  </a:lnTo>
                  <a:lnTo>
                    <a:pt x="255" y="127"/>
                  </a:lnTo>
                  <a:lnTo>
                    <a:pt x="255" y="127"/>
                  </a:lnTo>
                  <a:lnTo>
                    <a:pt x="254" y="115"/>
                  </a:lnTo>
                  <a:lnTo>
                    <a:pt x="253" y="102"/>
                  </a:lnTo>
                  <a:lnTo>
                    <a:pt x="250" y="91"/>
                  </a:lnTo>
                  <a:lnTo>
                    <a:pt x="245" y="78"/>
                  </a:lnTo>
                  <a:lnTo>
                    <a:pt x="241" y="67"/>
                  </a:lnTo>
                  <a:lnTo>
                    <a:pt x="234" y="57"/>
                  </a:lnTo>
                  <a:lnTo>
                    <a:pt x="227" y="47"/>
                  </a:lnTo>
                  <a:lnTo>
                    <a:pt x="218" y="37"/>
                  </a:lnTo>
                  <a:lnTo>
                    <a:pt x="218" y="37"/>
                  </a:lnTo>
                  <a:lnTo>
                    <a:pt x="209" y="28"/>
                  </a:lnTo>
                  <a:lnTo>
                    <a:pt x="199" y="21"/>
                  </a:lnTo>
                  <a:lnTo>
                    <a:pt x="188" y="14"/>
                  </a:lnTo>
                  <a:lnTo>
                    <a:pt x="176" y="8"/>
                  </a:lnTo>
                  <a:lnTo>
                    <a:pt x="165" y="5"/>
                  </a:lnTo>
                  <a:lnTo>
                    <a:pt x="153" y="2"/>
                  </a:lnTo>
                  <a:lnTo>
                    <a:pt x="140" y="1"/>
                  </a:lnTo>
                  <a:lnTo>
                    <a:pt x="126" y="0"/>
                  </a:lnTo>
                  <a:lnTo>
                    <a:pt x="126" y="0"/>
                  </a:lnTo>
                  <a:lnTo>
                    <a:pt x="114" y="1"/>
                  </a:lnTo>
                  <a:lnTo>
                    <a:pt x="102" y="2"/>
                  </a:lnTo>
                  <a:lnTo>
                    <a:pt x="90" y="5"/>
                  </a:lnTo>
                  <a:lnTo>
                    <a:pt x="78" y="8"/>
                  </a:lnTo>
                  <a:lnTo>
                    <a:pt x="66" y="14"/>
                  </a:lnTo>
                  <a:lnTo>
                    <a:pt x="56" y="21"/>
                  </a:lnTo>
                  <a:lnTo>
                    <a:pt x="46" y="28"/>
                  </a:lnTo>
                  <a:lnTo>
                    <a:pt x="36" y="37"/>
                  </a:lnTo>
                  <a:lnTo>
                    <a:pt x="36" y="37"/>
                  </a:lnTo>
                  <a:lnTo>
                    <a:pt x="29" y="47"/>
                  </a:lnTo>
                  <a:lnTo>
                    <a:pt x="21" y="57"/>
                  </a:lnTo>
                  <a:lnTo>
                    <a:pt x="14" y="67"/>
                  </a:lnTo>
                  <a:lnTo>
                    <a:pt x="9" y="78"/>
                  </a:lnTo>
                  <a:lnTo>
                    <a:pt x="5" y="91"/>
                  </a:lnTo>
                  <a:lnTo>
                    <a:pt x="2" y="102"/>
                  </a:lnTo>
                  <a:lnTo>
                    <a:pt x="0" y="115"/>
                  </a:lnTo>
                  <a:lnTo>
                    <a:pt x="0" y="127"/>
                  </a:lnTo>
                  <a:lnTo>
                    <a:pt x="0" y="127"/>
                  </a:lnTo>
                  <a:lnTo>
                    <a:pt x="0" y="141"/>
                  </a:lnTo>
                  <a:lnTo>
                    <a:pt x="2" y="153"/>
                  </a:lnTo>
                  <a:lnTo>
                    <a:pt x="5" y="165"/>
                  </a:lnTo>
                  <a:lnTo>
                    <a:pt x="9" y="176"/>
                  </a:lnTo>
                  <a:lnTo>
                    <a:pt x="14" y="187"/>
                  </a:lnTo>
                  <a:lnTo>
                    <a:pt x="21" y="199"/>
                  </a:lnTo>
                  <a:lnTo>
                    <a:pt x="29" y="209"/>
                  </a:lnTo>
                  <a:lnTo>
                    <a:pt x="36" y="217"/>
                  </a:lnTo>
                  <a:lnTo>
                    <a:pt x="36" y="217"/>
                  </a:lnTo>
                  <a:lnTo>
                    <a:pt x="46" y="226"/>
                  </a:lnTo>
                  <a:lnTo>
                    <a:pt x="56" y="234"/>
                  </a:lnTo>
                  <a:lnTo>
                    <a:pt x="66" y="241"/>
                  </a:lnTo>
                  <a:lnTo>
                    <a:pt x="78" y="245"/>
                  </a:lnTo>
                  <a:lnTo>
                    <a:pt x="90" y="250"/>
                  </a:lnTo>
                  <a:lnTo>
                    <a:pt x="102" y="253"/>
                  </a:lnTo>
                  <a:lnTo>
                    <a:pt x="114" y="254"/>
                  </a:lnTo>
                  <a:lnTo>
                    <a:pt x="126" y="255"/>
                  </a:lnTo>
                  <a:lnTo>
                    <a:pt x="126"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1" name="Freeform 105">
              <a:extLst>
                <a:ext uri="{FF2B5EF4-FFF2-40B4-BE49-F238E27FC236}">
                  <a16:creationId xmlns:a16="http://schemas.microsoft.com/office/drawing/2014/main" id="{DD7D7D48-E9F2-4693-8850-AC1BCE1E6E67}"/>
                </a:ext>
              </a:extLst>
            </p:cNvPr>
            <p:cNvSpPr>
              <a:spLocks/>
            </p:cNvSpPr>
            <p:nvPr/>
          </p:nvSpPr>
          <p:spPr bwMode="auto">
            <a:xfrm>
              <a:off x="7063547" y="4000338"/>
              <a:ext cx="104714" cy="193797"/>
            </a:xfrm>
            <a:custGeom>
              <a:avLst/>
              <a:gdLst>
                <a:gd name="T0" fmla="*/ 331 w 403"/>
                <a:gd name="T1" fmla="*/ 692 h 745"/>
                <a:gd name="T2" fmla="*/ 331 w 403"/>
                <a:gd name="T3" fmla="*/ 692 h 745"/>
                <a:gd name="T4" fmla="*/ 326 w 403"/>
                <a:gd name="T5" fmla="*/ 685 h 745"/>
                <a:gd name="T6" fmla="*/ 323 w 403"/>
                <a:gd name="T7" fmla="*/ 677 h 745"/>
                <a:gd name="T8" fmla="*/ 319 w 403"/>
                <a:gd name="T9" fmla="*/ 667 h 745"/>
                <a:gd name="T10" fmla="*/ 317 w 403"/>
                <a:gd name="T11" fmla="*/ 655 h 745"/>
                <a:gd name="T12" fmla="*/ 315 w 403"/>
                <a:gd name="T13" fmla="*/ 642 h 745"/>
                <a:gd name="T14" fmla="*/ 314 w 403"/>
                <a:gd name="T15" fmla="*/ 626 h 745"/>
                <a:gd name="T16" fmla="*/ 313 w 403"/>
                <a:gd name="T17" fmla="*/ 591 h 745"/>
                <a:gd name="T18" fmla="*/ 313 w 403"/>
                <a:gd name="T19" fmla="*/ 0 h 745"/>
                <a:gd name="T20" fmla="*/ 0 w 403"/>
                <a:gd name="T21" fmla="*/ 0 h 745"/>
                <a:gd name="T22" fmla="*/ 0 w 403"/>
                <a:gd name="T23" fmla="*/ 29 h 745"/>
                <a:gd name="T24" fmla="*/ 0 w 403"/>
                <a:gd name="T25" fmla="*/ 29 h 745"/>
                <a:gd name="T26" fmla="*/ 13 w 403"/>
                <a:gd name="T27" fmla="*/ 30 h 745"/>
                <a:gd name="T28" fmla="*/ 25 w 403"/>
                <a:gd name="T29" fmla="*/ 32 h 745"/>
                <a:gd name="T30" fmla="*/ 35 w 403"/>
                <a:gd name="T31" fmla="*/ 35 h 745"/>
                <a:gd name="T32" fmla="*/ 44 w 403"/>
                <a:gd name="T33" fmla="*/ 38 h 745"/>
                <a:gd name="T34" fmla="*/ 53 w 403"/>
                <a:gd name="T35" fmla="*/ 41 h 745"/>
                <a:gd name="T36" fmla="*/ 59 w 403"/>
                <a:gd name="T37" fmla="*/ 45 h 745"/>
                <a:gd name="T38" fmla="*/ 66 w 403"/>
                <a:gd name="T39" fmla="*/ 49 h 745"/>
                <a:gd name="T40" fmla="*/ 71 w 403"/>
                <a:gd name="T41" fmla="*/ 55 h 745"/>
                <a:gd name="T42" fmla="*/ 71 w 403"/>
                <a:gd name="T43" fmla="*/ 55 h 745"/>
                <a:gd name="T44" fmla="*/ 75 w 403"/>
                <a:gd name="T45" fmla="*/ 61 h 745"/>
                <a:gd name="T46" fmla="*/ 79 w 403"/>
                <a:gd name="T47" fmla="*/ 69 h 745"/>
                <a:gd name="T48" fmla="*/ 83 w 403"/>
                <a:gd name="T49" fmla="*/ 79 h 745"/>
                <a:gd name="T50" fmla="*/ 85 w 403"/>
                <a:gd name="T51" fmla="*/ 91 h 745"/>
                <a:gd name="T52" fmla="*/ 87 w 403"/>
                <a:gd name="T53" fmla="*/ 105 h 745"/>
                <a:gd name="T54" fmla="*/ 88 w 403"/>
                <a:gd name="T55" fmla="*/ 119 h 745"/>
                <a:gd name="T56" fmla="*/ 89 w 403"/>
                <a:gd name="T57" fmla="*/ 156 h 745"/>
                <a:gd name="T58" fmla="*/ 89 w 403"/>
                <a:gd name="T59" fmla="*/ 591 h 745"/>
                <a:gd name="T60" fmla="*/ 89 w 403"/>
                <a:gd name="T61" fmla="*/ 591 h 745"/>
                <a:gd name="T62" fmla="*/ 88 w 403"/>
                <a:gd name="T63" fmla="*/ 626 h 745"/>
                <a:gd name="T64" fmla="*/ 87 w 403"/>
                <a:gd name="T65" fmla="*/ 642 h 745"/>
                <a:gd name="T66" fmla="*/ 86 w 403"/>
                <a:gd name="T67" fmla="*/ 655 h 745"/>
                <a:gd name="T68" fmla="*/ 84 w 403"/>
                <a:gd name="T69" fmla="*/ 666 h 745"/>
                <a:gd name="T70" fmla="*/ 80 w 403"/>
                <a:gd name="T71" fmla="*/ 675 h 745"/>
                <a:gd name="T72" fmla="*/ 77 w 403"/>
                <a:gd name="T73" fmla="*/ 683 h 745"/>
                <a:gd name="T74" fmla="*/ 74 w 403"/>
                <a:gd name="T75" fmla="*/ 688 h 745"/>
                <a:gd name="T76" fmla="*/ 74 w 403"/>
                <a:gd name="T77" fmla="*/ 688 h 745"/>
                <a:gd name="T78" fmla="*/ 67 w 403"/>
                <a:gd name="T79" fmla="*/ 694 h 745"/>
                <a:gd name="T80" fmla="*/ 60 w 403"/>
                <a:gd name="T81" fmla="*/ 700 h 745"/>
                <a:gd name="T82" fmla="*/ 51 w 403"/>
                <a:gd name="T83" fmla="*/ 705 h 745"/>
                <a:gd name="T84" fmla="*/ 44 w 403"/>
                <a:gd name="T85" fmla="*/ 708 h 745"/>
                <a:gd name="T86" fmla="*/ 34 w 403"/>
                <a:gd name="T87" fmla="*/ 712 h 745"/>
                <a:gd name="T88" fmla="*/ 24 w 403"/>
                <a:gd name="T89" fmla="*/ 714 h 745"/>
                <a:gd name="T90" fmla="*/ 13 w 403"/>
                <a:gd name="T91" fmla="*/ 716 h 745"/>
                <a:gd name="T92" fmla="*/ 0 w 403"/>
                <a:gd name="T93" fmla="*/ 716 h 745"/>
                <a:gd name="T94" fmla="*/ 0 w 403"/>
                <a:gd name="T95" fmla="*/ 745 h 745"/>
                <a:gd name="T96" fmla="*/ 403 w 403"/>
                <a:gd name="T97" fmla="*/ 745 h 745"/>
                <a:gd name="T98" fmla="*/ 403 w 403"/>
                <a:gd name="T99" fmla="*/ 716 h 745"/>
                <a:gd name="T100" fmla="*/ 403 w 403"/>
                <a:gd name="T101" fmla="*/ 716 h 745"/>
                <a:gd name="T102" fmla="*/ 389 w 403"/>
                <a:gd name="T103" fmla="*/ 715 h 745"/>
                <a:gd name="T104" fmla="*/ 378 w 403"/>
                <a:gd name="T105" fmla="*/ 714 h 745"/>
                <a:gd name="T106" fmla="*/ 367 w 403"/>
                <a:gd name="T107" fmla="*/ 712 h 745"/>
                <a:gd name="T108" fmla="*/ 358 w 403"/>
                <a:gd name="T109" fmla="*/ 708 h 745"/>
                <a:gd name="T110" fmla="*/ 349 w 403"/>
                <a:gd name="T111" fmla="*/ 705 h 745"/>
                <a:gd name="T112" fmla="*/ 343 w 403"/>
                <a:gd name="T113" fmla="*/ 702 h 745"/>
                <a:gd name="T114" fmla="*/ 336 w 403"/>
                <a:gd name="T115" fmla="*/ 697 h 745"/>
                <a:gd name="T116" fmla="*/ 331 w 403"/>
                <a:gd name="T117" fmla="*/ 692 h 745"/>
                <a:gd name="T118" fmla="*/ 331 w 403"/>
                <a:gd name="T119" fmla="*/ 69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745">
                  <a:moveTo>
                    <a:pt x="331" y="692"/>
                  </a:moveTo>
                  <a:lnTo>
                    <a:pt x="331" y="692"/>
                  </a:lnTo>
                  <a:lnTo>
                    <a:pt x="326" y="685"/>
                  </a:lnTo>
                  <a:lnTo>
                    <a:pt x="323" y="677"/>
                  </a:lnTo>
                  <a:lnTo>
                    <a:pt x="319" y="667"/>
                  </a:lnTo>
                  <a:lnTo>
                    <a:pt x="317" y="655"/>
                  </a:lnTo>
                  <a:lnTo>
                    <a:pt x="315" y="642"/>
                  </a:lnTo>
                  <a:lnTo>
                    <a:pt x="314" y="626"/>
                  </a:lnTo>
                  <a:lnTo>
                    <a:pt x="313" y="591"/>
                  </a:lnTo>
                  <a:lnTo>
                    <a:pt x="313" y="0"/>
                  </a:lnTo>
                  <a:lnTo>
                    <a:pt x="0" y="0"/>
                  </a:lnTo>
                  <a:lnTo>
                    <a:pt x="0" y="29"/>
                  </a:lnTo>
                  <a:lnTo>
                    <a:pt x="0" y="29"/>
                  </a:lnTo>
                  <a:lnTo>
                    <a:pt x="13" y="30"/>
                  </a:lnTo>
                  <a:lnTo>
                    <a:pt x="25" y="32"/>
                  </a:lnTo>
                  <a:lnTo>
                    <a:pt x="35" y="35"/>
                  </a:lnTo>
                  <a:lnTo>
                    <a:pt x="44" y="38"/>
                  </a:lnTo>
                  <a:lnTo>
                    <a:pt x="53" y="41"/>
                  </a:lnTo>
                  <a:lnTo>
                    <a:pt x="59" y="45"/>
                  </a:lnTo>
                  <a:lnTo>
                    <a:pt x="66" y="49"/>
                  </a:lnTo>
                  <a:lnTo>
                    <a:pt x="71" y="55"/>
                  </a:lnTo>
                  <a:lnTo>
                    <a:pt x="71" y="55"/>
                  </a:lnTo>
                  <a:lnTo>
                    <a:pt x="75" y="61"/>
                  </a:lnTo>
                  <a:lnTo>
                    <a:pt x="79" y="69"/>
                  </a:lnTo>
                  <a:lnTo>
                    <a:pt x="83" y="79"/>
                  </a:lnTo>
                  <a:lnTo>
                    <a:pt x="85" y="91"/>
                  </a:lnTo>
                  <a:lnTo>
                    <a:pt x="87" y="105"/>
                  </a:lnTo>
                  <a:lnTo>
                    <a:pt x="88" y="119"/>
                  </a:lnTo>
                  <a:lnTo>
                    <a:pt x="89" y="156"/>
                  </a:lnTo>
                  <a:lnTo>
                    <a:pt x="89" y="591"/>
                  </a:lnTo>
                  <a:lnTo>
                    <a:pt x="89" y="591"/>
                  </a:lnTo>
                  <a:lnTo>
                    <a:pt x="88" y="626"/>
                  </a:lnTo>
                  <a:lnTo>
                    <a:pt x="87" y="642"/>
                  </a:lnTo>
                  <a:lnTo>
                    <a:pt x="86" y="655"/>
                  </a:lnTo>
                  <a:lnTo>
                    <a:pt x="84" y="666"/>
                  </a:lnTo>
                  <a:lnTo>
                    <a:pt x="80" y="675"/>
                  </a:lnTo>
                  <a:lnTo>
                    <a:pt x="77" y="683"/>
                  </a:lnTo>
                  <a:lnTo>
                    <a:pt x="74" y="688"/>
                  </a:lnTo>
                  <a:lnTo>
                    <a:pt x="74" y="688"/>
                  </a:lnTo>
                  <a:lnTo>
                    <a:pt x="67" y="694"/>
                  </a:lnTo>
                  <a:lnTo>
                    <a:pt x="60" y="700"/>
                  </a:lnTo>
                  <a:lnTo>
                    <a:pt x="51" y="705"/>
                  </a:lnTo>
                  <a:lnTo>
                    <a:pt x="44" y="708"/>
                  </a:lnTo>
                  <a:lnTo>
                    <a:pt x="34" y="712"/>
                  </a:lnTo>
                  <a:lnTo>
                    <a:pt x="24" y="714"/>
                  </a:lnTo>
                  <a:lnTo>
                    <a:pt x="13" y="716"/>
                  </a:lnTo>
                  <a:lnTo>
                    <a:pt x="0" y="716"/>
                  </a:lnTo>
                  <a:lnTo>
                    <a:pt x="0" y="745"/>
                  </a:lnTo>
                  <a:lnTo>
                    <a:pt x="403" y="745"/>
                  </a:lnTo>
                  <a:lnTo>
                    <a:pt x="403" y="716"/>
                  </a:lnTo>
                  <a:lnTo>
                    <a:pt x="403" y="716"/>
                  </a:lnTo>
                  <a:lnTo>
                    <a:pt x="389" y="715"/>
                  </a:lnTo>
                  <a:lnTo>
                    <a:pt x="378" y="714"/>
                  </a:lnTo>
                  <a:lnTo>
                    <a:pt x="367" y="712"/>
                  </a:lnTo>
                  <a:lnTo>
                    <a:pt x="358" y="708"/>
                  </a:lnTo>
                  <a:lnTo>
                    <a:pt x="349" y="705"/>
                  </a:lnTo>
                  <a:lnTo>
                    <a:pt x="343" y="702"/>
                  </a:lnTo>
                  <a:lnTo>
                    <a:pt x="336" y="697"/>
                  </a:lnTo>
                  <a:lnTo>
                    <a:pt x="331" y="692"/>
                  </a:lnTo>
                  <a:lnTo>
                    <a:pt x="331" y="6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6" name="Ellipse 95"/>
          <p:cNvSpPr/>
          <p:nvPr/>
        </p:nvSpPr>
        <p:spPr bwMode="auto">
          <a:xfrm>
            <a:off x="7497585" y="3881978"/>
            <a:ext cx="463497" cy="463497"/>
          </a:xfrm>
          <a:prstGeom prst="ellipse">
            <a:avLst/>
          </a:prstGeom>
          <a:solidFill>
            <a:schemeClr val="bg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202" name="Freeform 109">
            <a:extLst>
              <a:ext uri="{FF2B5EF4-FFF2-40B4-BE49-F238E27FC236}">
                <a16:creationId xmlns:a16="http://schemas.microsoft.com/office/drawing/2014/main" id="{C81321B2-D0FE-47DA-B585-757A861727F3}"/>
              </a:ext>
            </a:extLst>
          </p:cNvPr>
          <p:cNvSpPr>
            <a:spLocks/>
          </p:cNvSpPr>
          <p:nvPr/>
        </p:nvSpPr>
        <p:spPr bwMode="auto">
          <a:xfrm>
            <a:off x="7507405" y="3249106"/>
            <a:ext cx="443858" cy="443858"/>
          </a:xfrm>
          <a:custGeom>
            <a:avLst/>
            <a:gdLst>
              <a:gd name="T0" fmla="*/ 1709 w 1710"/>
              <a:gd name="T1" fmla="*/ 899 h 1710"/>
              <a:gd name="T2" fmla="*/ 1693 w 1710"/>
              <a:gd name="T3" fmla="*/ 1028 h 1710"/>
              <a:gd name="T4" fmla="*/ 1658 w 1710"/>
              <a:gd name="T5" fmla="*/ 1149 h 1710"/>
              <a:gd name="T6" fmla="*/ 1607 w 1710"/>
              <a:gd name="T7" fmla="*/ 1263 h 1710"/>
              <a:gd name="T8" fmla="*/ 1541 w 1710"/>
              <a:gd name="T9" fmla="*/ 1366 h 1710"/>
              <a:gd name="T10" fmla="*/ 1459 w 1710"/>
              <a:gd name="T11" fmla="*/ 1459 h 1710"/>
              <a:gd name="T12" fmla="*/ 1367 w 1710"/>
              <a:gd name="T13" fmla="*/ 1539 h 1710"/>
              <a:gd name="T14" fmla="*/ 1263 w 1710"/>
              <a:gd name="T15" fmla="*/ 1606 h 1710"/>
              <a:gd name="T16" fmla="*/ 1149 w 1710"/>
              <a:gd name="T17" fmla="*/ 1658 h 1710"/>
              <a:gd name="T18" fmla="*/ 1028 w 1710"/>
              <a:gd name="T19" fmla="*/ 1693 h 1710"/>
              <a:gd name="T20" fmla="*/ 899 w 1710"/>
              <a:gd name="T21" fmla="*/ 1709 h 1710"/>
              <a:gd name="T22" fmla="*/ 811 w 1710"/>
              <a:gd name="T23" fmla="*/ 1709 h 1710"/>
              <a:gd name="T24" fmla="*/ 683 w 1710"/>
              <a:gd name="T25" fmla="*/ 1693 h 1710"/>
              <a:gd name="T26" fmla="*/ 562 w 1710"/>
              <a:gd name="T27" fmla="*/ 1658 h 1710"/>
              <a:gd name="T28" fmla="*/ 449 w 1710"/>
              <a:gd name="T29" fmla="*/ 1606 h 1710"/>
              <a:gd name="T30" fmla="*/ 344 w 1710"/>
              <a:gd name="T31" fmla="*/ 1539 h 1710"/>
              <a:gd name="T32" fmla="*/ 252 w 1710"/>
              <a:gd name="T33" fmla="*/ 1459 h 1710"/>
              <a:gd name="T34" fmla="*/ 171 w 1710"/>
              <a:gd name="T35" fmla="*/ 1366 h 1710"/>
              <a:gd name="T36" fmla="*/ 104 w 1710"/>
              <a:gd name="T37" fmla="*/ 1263 h 1710"/>
              <a:gd name="T38" fmla="*/ 53 w 1710"/>
              <a:gd name="T39" fmla="*/ 1149 h 1710"/>
              <a:gd name="T40" fmla="*/ 18 w 1710"/>
              <a:gd name="T41" fmla="*/ 1028 h 1710"/>
              <a:gd name="T42" fmla="*/ 1 w 1710"/>
              <a:gd name="T43" fmla="*/ 899 h 1710"/>
              <a:gd name="T44" fmla="*/ 1 w 1710"/>
              <a:gd name="T45" fmla="*/ 811 h 1710"/>
              <a:gd name="T46" fmla="*/ 18 w 1710"/>
              <a:gd name="T47" fmla="*/ 683 h 1710"/>
              <a:gd name="T48" fmla="*/ 53 w 1710"/>
              <a:gd name="T49" fmla="*/ 561 h 1710"/>
              <a:gd name="T50" fmla="*/ 104 w 1710"/>
              <a:gd name="T51" fmla="*/ 447 h 1710"/>
              <a:gd name="T52" fmla="*/ 171 w 1710"/>
              <a:gd name="T53" fmla="*/ 344 h 1710"/>
              <a:gd name="T54" fmla="*/ 252 w 1710"/>
              <a:gd name="T55" fmla="*/ 251 h 1710"/>
              <a:gd name="T56" fmla="*/ 344 w 1710"/>
              <a:gd name="T57" fmla="*/ 171 h 1710"/>
              <a:gd name="T58" fmla="*/ 449 w 1710"/>
              <a:gd name="T59" fmla="*/ 104 h 1710"/>
              <a:gd name="T60" fmla="*/ 562 w 1710"/>
              <a:gd name="T61" fmla="*/ 53 h 1710"/>
              <a:gd name="T62" fmla="*/ 683 w 1710"/>
              <a:gd name="T63" fmla="*/ 18 h 1710"/>
              <a:gd name="T64" fmla="*/ 811 w 1710"/>
              <a:gd name="T65" fmla="*/ 1 h 1710"/>
              <a:gd name="T66" fmla="*/ 899 w 1710"/>
              <a:gd name="T67" fmla="*/ 1 h 1710"/>
              <a:gd name="T68" fmla="*/ 1028 w 1710"/>
              <a:gd name="T69" fmla="*/ 18 h 1710"/>
              <a:gd name="T70" fmla="*/ 1149 w 1710"/>
              <a:gd name="T71" fmla="*/ 53 h 1710"/>
              <a:gd name="T72" fmla="*/ 1263 w 1710"/>
              <a:gd name="T73" fmla="*/ 104 h 1710"/>
              <a:gd name="T74" fmla="*/ 1367 w 1710"/>
              <a:gd name="T75" fmla="*/ 171 h 1710"/>
              <a:gd name="T76" fmla="*/ 1459 w 1710"/>
              <a:gd name="T77" fmla="*/ 251 h 1710"/>
              <a:gd name="T78" fmla="*/ 1541 w 1710"/>
              <a:gd name="T79" fmla="*/ 344 h 1710"/>
              <a:gd name="T80" fmla="*/ 1607 w 1710"/>
              <a:gd name="T81" fmla="*/ 447 h 1710"/>
              <a:gd name="T82" fmla="*/ 1658 w 1710"/>
              <a:gd name="T83" fmla="*/ 561 h 1710"/>
              <a:gd name="T84" fmla="*/ 1693 w 1710"/>
              <a:gd name="T85" fmla="*/ 683 h 1710"/>
              <a:gd name="T86" fmla="*/ 1709 w 1710"/>
              <a:gd name="T87" fmla="*/ 811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0" h="1710">
                <a:moveTo>
                  <a:pt x="1710" y="856"/>
                </a:moveTo>
                <a:lnTo>
                  <a:pt x="1710" y="856"/>
                </a:lnTo>
                <a:lnTo>
                  <a:pt x="1709" y="899"/>
                </a:lnTo>
                <a:lnTo>
                  <a:pt x="1705" y="942"/>
                </a:lnTo>
                <a:lnTo>
                  <a:pt x="1701" y="986"/>
                </a:lnTo>
                <a:lnTo>
                  <a:pt x="1693" y="1028"/>
                </a:lnTo>
                <a:lnTo>
                  <a:pt x="1683" y="1069"/>
                </a:lnTo>
                <a:lnTo>
                  <a:pt x="1672" y="1109"/>
                </a:lnTo>
                <a:lnTo>
                  <a:pt x="1658" y="1149"/>
                </a:lnTo>
                <a:lnTo>
                  <a:pt x="1643" y="1188"/>
                </a:lnTo>
                <a:lnTo>
                  <a:pt x="1626" y="1226"/>
                </a:lnTo>
                <a:lnTo>
                  <a:pt x="1607" y="1263"/>
                </a:lnTo>
                <a:lnTo>
                  <a:pt x="1586" y="1298"/>
                </a:lnTo>
                <a:lnTo>
                  <a:pt x="1564" y="1333"/>
                </a:lnTo>
                <a:lnTo>
                  <a:pt x="1541" y="1366"/>
                </a:lnTo>
                <a:lnTo>
                  <a:pt x="1515" y="1398"/>
                </a:lnTo>
                <a:lnTo>
                  <a:pt x="1488" y="1429"/>
                </a:lnTo>
                <a:lnTo>
                  <a:pt x="1459" y="1459"/>
                </a:lnTo>
                <a:lnTo>
                  <a:pt x="1431" y="1488"/>
                </a:lnTo>
                <a:lnTo>
                  <a:pt x="1399" y="1515"/>
                </a:lnTo>
                <a:lnTo>
                  <a:pt x="1367" y="1539"/>
                </a:lnTo>
                <a:lnTo>
                  <a:pt x="1334" y="1564"/>
                </a:lnTo>
                <a:lnTo>
                  <a:pt x="1298" y="1586"/>
                </a:lnTo>
                <a:lnTo>
                  <a:pt x="1263" y="1606"/>
                </a:lnTo>
                <a:lnTo>
                  <a:pt x="1226" y="1625"/>
                </a:lnTo>
                <a:lnTo>
                  <a:pt x="1188" y="1643"/>
                </a:lnTo>
                <a:lnTo>
                  <a:pt x="1149" y="1658"/>
                </a:lnTo>
                <a:lnTo>
                  <a:pt x="1109" y="1672"/>
                </a:lnTo>
                <a:lnTo>
                  <a:pt x="1069" y="1683"/>
                </a:lnTo>
                <a:lnTo>
                  <a:pt x="1028" y="1693"/>
                </a:lnTo>
                <a:lnTo>
                  <a:pt x="986" y="1700"/>
                </a:lnTo>
                <a:lnTo>
                  <a:pt x="943" y="1705"/>
                </a:lnTo>
                <a:lnTo>
                  <a:pt x="899" y="1709"/>
                </a:lnTo>
                <a:lnTo>
                  <a:pt x="856" y="1710"/>
                </a:lnTo>
                <a:lnTo>
                  <a:pt x="856" y="1710"/>
                </a:lnTo>
                <a:lnTo>
                  <a:pt x="811" y="1709"/>
                </a:lnTo>
                <a:lnTo>
                  <a:pt x="768" y="1705"/>
                </a:lnTo>
                <a:lnTo>
                  <a:pt x="725" y="1700"/>
                </a:lnTo>
                <a:lnTo>
                  <a:pt x="683" y="1693"/>
                </a:lnTo>
                <a:lnTo>
                  <a:pt x="642" y="1683"/>
                </a:lnTo>
                <a:lnTo>
                  <a:pt x="601" y="1672"/>
                </a:lnTo>
                <a:lnTo>
                  <a:pt x="562" y="1658"/>
                </a:lnTo>
                <a:lnTo>
                  <a:pt x="523" y="1643"/>
                </a:lnTo>
                <a:lnTo>
                  <a:pt x="485" y="1625"/>
                </a:lnTo>
                <a:lnTo>
                  <a:pt x="449" y="1606"/>
                </a:lnTo>
                <a:lnTo>
                  <a:pt x="412" y="1586"/>
                </a:lnTo>
                <a:lnTo>
                  <a:pt x="377" y="1564"/>
                </a:lnTo>
                <a:lnTo>
                  <a:pt x="344" y="1539"/>
                </a:lnTo>
                <a:lnTo>
                  <a:pt x="312" y="1515"/>
                </a:lnTo>
                <a:lnTo>
                  <a:pt x="281" y="1488"/>
                </a:lnTo>
                <a:lnTo>
                  <a:pt x="252" y="1459"/>
                </a:lnTo>
                <a:lnTo>
                  <a:pt x="223" y="1429"/>
                </a:lnTo>
                <a:lnTo>
                  <a:pt x="196" y="1398"/>
                </a:lnTo>
                <a:lnTo>
                  <a:pt x="171" y="1366"/>
                </a:lnTo>
                <a:lnTo>
                  <a:pt x="147" y="1333"/>
                </a:lnTo>
                <a:lnTo>
                  <a:pt x="125" y="1298"/>
                </a:lnTo>
                <a:lnTo>
                  <a:pt x="104" y="1263"/>
                </a:lnTo>
                <a:lnTo>
                  <a:pt x="85" y="1226"/>
                </a:lnTo>
                <a:lnTo>
                  <a:pt x="68" y="1188"/>
                </a:lnTo>
                <a:lnTo>
                  <a:pt x="53" y="1149"/>
                </a:lnTo>
                <a:lnTo>
                  <a:pt x="39" y="1109"/>
                </a:lnTo>
                <a:lnTo>
                  <a:pt x="28" y="1069"/>
                </a:lnTo>
                <a:lnTo>
                  <a:pt x="18" y="1028"/>
                </a:lnTo>
                <a:lnTo>
                  <a:pt x="10" y="986"/>
                </a:lnTo>
                <a:lnTo>
                  <a:pt x="5" y="942"/>
                </a:lnTo>
                <a:lnTo>
                  <a:pt x="1" y="899"/>
                </a:lnTo>
                <a:lnTo>
                  <a:pt x="0" y="856"/>
                </a:lnTo>
                <a:lnTo>
                  <a:pt x="0" y="856"/>
                </a:lnTo>
                <a:lnTo>
                  <a:pt x="1" y="811"/>
                </a:lnTo>
                <a:lnTo>
                  <a:pt x="5" y="768"/>
                </a:lnTo>
                <a:lnTo>
                  <a:pt x="10" y="725"/>
                </a:lnTo>
                <a:lnTo>
                  <a:pt x="18" y="683"/>
                </a:lnTo>
                <a:lnTo>
                  <a:pt x="28" y="642"/>
                </a:lnTo>
                <a:lnTo>
                  <a:pt x="39" y="601"/>
                </a:lnTo>
                <a:lnTo>
                  <a:pt x="53" y="561"/>
                </a:lnTo>
                <a:lnTo>
                  <a:pt x="68" y="523"/>
                </a:lnTo>
                <a:lnTo>
                  <a:pt x="85" y="484"/>
                </a:lnTo>
                <a:lnTo>
                  <a:pt x="104" y="447"/>
                </a:lnTo>
                <a:lnTo>
                  <a:pt x="125" y="412"/>
                </a:lnTo>
                <a:lnTo>
                  <a:pt x="147" y="377"/>
                </a:lnTo>
                <a:lnTo>
                  <a:pt x="171" y="344"/>
                </a:lnTo>
                <a:lnTo>
                  <a:pt x="196" y="312"/>
                </a:lnTo>
                <a:lnTo>
                  <a:pt x="223" y="281"/>
                </a:lnTo>
                <a:lnTo>
                  <a:pt x="252" y="251"/>
                </a:lnTo>
                <a:lnTo>
                  <a:pt x="281" y="223"/>
                </a:lnTo>
                <a:lnTo>
                  <a:pt x="312" y="196"/>
                </a:lnTo>
                <a:lnTo>
                  <a:pt x="344" y="171"/>
                </a:lnTo>
                <a:lnTo>
                  <a:pt x="377" y="146"/>
                </a:lnTo>
                <a:lnTo>
                  <a:pt x="412" y="124"/>
                </a:lnTo>
                <a:lnTo>
                  <a:pt x="449" y="104"/>
                </a:lnTo>
                <a:lnTo>
                  <a:pt x="485" y="85"/>
                </a:lnTo>
                <a:lnTo>
                  <a:pt x="523" y="68"/>
                </a:lnTo>
                <a:lnTo>
                  <a:pt x="562" y="53"/>
                </a:lnTo>
                <a:lnTo>
                  <a:pt x="601" y="39"/>
                </a:lnTo>
                <a:lnTo>
                  <a:pt x="642" y="27"/>
                </a:lnTo>
                <a:lnTo>
                  <a:pt x="683" y="18"/>
                </a:lnTo>
                <a:lnTo>
                  <a:pt x="725" y="10"/>
                </a:lnTo>
                <a:lnTo>
                  <a:pt x="768" y="5"/>
                </a:lnTo>
                <a:lnTo>
                  <a:pt x="811" y="1"/>
                </a:lnTo>
                <a:lnTo>
                  <a:pt x="856" y="0"/>
                </a:lnTo>
                <a:lnTo>
                  <a:pt x="856" y="0"/>
                </a:lnTo>
                <a:lnTo>
                  <a:pt x="899" y="1"/>
                </a:lnTo>
                <a:lnTo>
                  <a:pt x="943" y="5"/>
                </a:lnTo>
                <a:lnTo>
                  <a:pt x="986" y="10"/>
                </a:lnTo>
                <a:lnTo>
                  <a:pt x="1028" y="18"/>
                </a:lnTo>
                <a:lnTo>
                  <a:pt x="1069" y="27"/>
                </a:lnTo>
                <a:lnTo>
                  <a:pt x="1109" y="39"/>
                </a:lnTo>
                <a:lnTo>
                  <a:pt x="1149" y="53"/>
                </a:lnTo>
                <a:lnTo>
                  <a:pt x="1188" y="68"/>
                </a:lnTo>
                <a:lnTo>
                  <a:pt x="1226" y="85"/>
                </a:lnTo>
                <a:lnTo>
                  <a:pt x="1263" y="104"/>
                </a:lnTo>
                <a:lnTo>
                  <a:pt x="1298" y="124"/>
                </a:lnTo>
                <a:lnTo>
                  <a:pt x="1334" y="146"/>
                </a:lnTo>
                <a:lnTo>
                  <a:pt x="1367" y="171"/>
                </a:lnTo>
                <a:lnTo>
                  <a:pt x="1399" y="196"/>
                </a:lnTo>
                <a:lnTo>
                  <a:pt x="1431" y="223"/>
                </a:lnTo>
                <a:lnTo>
                  <a:pt x="1459" y="251"/>
                </a:lnTo>
                <a:lnTo>
                  <a:pt x="1488" y="281"/>
                </a:lnTo>
                <a:lnTo>
                  <a:pt x="1515" y="312"/>
                </a:lnTo>
                <a:lnTo>
                  <a:pt x="1541" y="344"/>
                </a:lnTo>
                <a:lnTo>
                  <a:pt x="1564" y="377"/>
                </a:lnTo>
                <a:lnTo>
                  <a:pt x="1586" y="412"/>
                </a:lnTo>
                <a:lnTo>
                  <a:pt x="1607" y="447"/>
                </a:lnTo>
                <a:lnTo>
                  <a:pt x="1626" y="484"/>
                </a:lnTo>
                <a:lnTo>
                  <a:pt x="1643" y="523"/>
                </a:lnTo>
                <a:lnTo>
                  <a:pt x="1658" y="561"/>
                </a:lnTo>
                <a:lnTo>
                  <a:pt x="1672" y="601"/>
                </a:lnTo>
                <a:lnTo>
                  <a:pt x="1683" y="642"/>
                </a:lnTo>
                <a:lnTo>
                  <a:pt x="1693" y="683"/>
                </a:lnTo>
                <a:lnTo>
                  <a:pt x="1701" y="725"/>
                </a:lnTo>
                <a:lnTo>
                  <a:pt x="1705" y="768"/>
                </a:lnTo>
                <a:lnTo>
                  <a:pt x="1709" y="811"/>
                </a:lnTo>
                <a:lnTo>
                  <a:pt x="1710" y="856"/>
                </a:lnTo>
                <a:lnTo>
                  <a:pt x="1710" y="856"/>
                </a:lnTo>
                <a:close/>
              </a:path>
            </a:pathLst>
          </a:custGeom>
          <a:solidFill>
            <a:srgbClr val="FFFFFF"/>
          </a:solidFill>
          <a:ln w="17463">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03" name="Freeform 110">
            <a:extLst>
              <a:ext uri="{FF2B5EF4-FFF2-40B4-BE49-F238E27FC236}">
                <a16:creationId xmlns:a16="http://schemas.microsoft.com/office/drawing/2014/main" id="{81FB213A-145D-4323-8AEA-FA505B7F2D72}"/>
              </a:ext>
            </a:extLst>
          </p:cNvPr>
          <p:cNvSpPr>
            <a:spLocks/>
          </p:cNvSpPr>
          <p:nvPr/>
        </p:nvSpPr>
        <p:spPr bwMode="auto">
          <a:xfrm>
            <a:off x="7641812" y="3324124"/>
            <a:ext cx="175043" cy="293822"/>
          </a:xfrm>
          <a:custGeom>
            <a:avLst/>
            <a:gdLst>
              <a:gd name="T0" fmla="*/ 408 w 677"/>
              <a:gd name="T1" fmla="*/ 0 h 1127"/>
              <a:gd name="T2" fmla="*/ 600 w 677"/>
              <a:gd name="T3" fmla="*/ 0 h 1127"/>
              <a:gd name="T4" fmla="*/ 345 w 677"/>
              <a:gd name="T5" fmla="*/ 337 h 1127"/>
              <a:gd name="T6" fmla="*/ 484 w 677"/>
              <a:gd name="T7" fmla="*/ 337 h 1127"/>
              <a:gd name="T8" fmla="*/ 553 w 677"/>
              <a:gd name="T9" fmla="*/ 337 h 1127"/>
              <a:gd name="T10" fmla="*/ 677 w 677"/>
              <a:gd name="T11" fmla="*/ 337 h 1127"/>
              <a:gd name="T12" fmla="*/ 357 w 677"/>
              <a:gd name="T13" fmla="*/ 759 h 1127"/>
              <a:gd name="T14" fmla="*/ 563 w 677"/>
              <a:gd name="T15" fmla="*/ 759 h 1127"/>
              <a:gd name="T16" fmla="*/ 282 w 677"/>
              <a:gd name="T17" fmla="*/ 1127 h 1127"/>
              <a:gd name="T18" fmla="*/ 0 w 677"/>
              <a:gd name="T19" fmla="*/ 759 h 1127"/>
              <a:gd name="T20" fmla="*/ 165 w 677"/>
              <a:gd name="T21" fmla="*/ 759 h 1127"/>
              <a:gd name="T22" fmla="*/ 365 w 677"/>
              <a:gd name="T23" fmla="*/ 495 h 1127"/>
              <a:gd name="T24" fmla="*/ 26 w 677"/>
              <a:gd name="T25" fmla="*/ 493 h 1127"/>
              <a:gd name="T26" fmla="*/ 408 w 677"/>
              <a:gd name="T27" fmla="*/ 0 h 1127"/>
              <a:gd name="T28" fmla="*/ 408 w 677"/>
              <a:gd name="T29" fmla="*/ 0 h 1127"/>
              <a:gd name="T30" fmla="*/ 408 w 677"/>
              <a:gd name="T31" fmla="*/ 0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7" h="1127">
                <a:moveTo>
                  <a:pt x="408" y="0"/>
                </a:moveTo>
                <a:lnTo>
                  <a:pt x="600" y="0"/>
                </a:lnTo>
                <a:lnTo>
                  <a:pt x="345" y="337"/>
                </a:lnTo>
                <a:lnTo>
                  <a:pt x="484" y="337"/>
                </a:lnTo>
                <a:lnTo>
                  <a:pt x="553" y="337"/>
                </a:lnTo>
                <a:lnTo>
                  <a:pt x="677" y="337"/>
                </a:lnTo>
                <a:lnTo>
                  <a:pt x="357" y="759"/>
                </a:lnTo>
                <a:lnTo>
                  <a:pt x="563" y="759"/>
                </a:lnTo>
                <a:lnTo>
                  <a:pt x="282" y="1127"/>
                </a:lnTo>
                <a:lnTo>
                  <a:pt x="0" y="759"/>
                </a:lnTo>
                <a:lnTo>
                  <a:pt x="165" y="759"/>
                </a:lnTo>
                <a:lnTo>
                  <a:pt x="365" y="495"/>
                </a:lnTo>
                <a:lnTo>
                  <a:pt x="26" y="493"/>
                </a:lnTo>
                <a:lnTo>
                  <a:pt x="408" y="0"/>
                </a:lnTo>
                <a:lnTo>
                  <a:pt x="408" y="0"/>
                </a:lnTo>
                <a:lnTo>
                  <a:pt x="40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6" name="Freeform 110">
            <a:extLst>
              <a:ext uri="{FF2B5EF4-FFF2-40B4-BE49-F238E27FC236}">
                <a16:creationId xmlns:a16="http://schemas.microsoft.com/office/drawing/2014/main" id="{D4C467C5-E9F3-47A7-B12D-6FB806C86DAB}"/>
              </a:ext>
            </a:extLst>
          </p:cNvPr>
          <p:cNvSpPr>
            <a:spLocks/>
          </p:cNvSpPr>
          <p:nvPr/>
        </p:nvSpPr>
        <p:spPr bwMode="auto">
          <a:xfrm>
            <a:off x="7641812" y="2724049"/>
            <a:ext cx="175043" cy="293822"/>
          </a:xfrm>
          <a:custGeom>
            <a:avLst/>
            <a:gdLst>
              <a:gd name="T0" fmla="*/ 408 w 677"/>
              <a:gd name="T1" fmla="*/ 0 h 1127"/>
              <a:gd name="T2" fmla="*/ 600 w 677"/>
              <a:gd name="T3" fmla="*/ 0 h 1127"/>
              <a:gd name="T4" fmla="*/ 345 w 677"/>
              <a:gd name="T5" fmla="*/ 337 h 1127"/>
              <a:gd name="T6" fmla="*/ 484 w 677"/>
              <a:gd name="T7" fmla="*/ 337 h 1127"/>
              <a:gd name="T8" fmla="*/ 553 w 677"/>
              <a:gd name="T9" fmla="*/ 337 h 1127"/>
              <a:gd name="T10" fmla="*/ 677 w 677"/>
              <a:gd name="T11" fmla="*/ 337 h 1127"/>
              <a:gd name="T12" fmla="*/ 357 w 677"/>
              <a:gd name="T13" fmla="*/ 759 h 1127"/>
              <a:gd name="T14" fmla="*/ 563 w 677"/>
              <a:gd name="T15" fmla="*/ 759 h 1127"/>
              <a:gd name="T16" fmla="*/ 282 w 677"/>
              <a:gd name="T17" fmla="*/ 1127 h 1127"/>
              <a:gd name="T18" fmla="*/ 0 w 677"/>
              <a:gd name="T19" fmla="*/ 759 h 1127"/>
              <a:gd name="T20" fmla="*/ 165 w 677"/>
              <a:gd name="T21" fmla="*/ 759 h 1127"/>
              <a:gd name="T22" fmla="*/ 365 w 677"/>
              <a:gd name="T23" fmla="*/ 495 h 1127"/>
              <a:gd name="T24" fmla="*/ 26 w 677"/>
              <a:gd name="T25" fmla="*/ 493 h 1127"/>
              <a:gd name="T26" fmla="*/ 408 w 677"/>
              <a:gd name="T27" fmla="*/ 0 h 1127"/>
              <a:gd name="T28" fmla="*/ 408 w 677"/>
              <a:gd name="T29" fmla="*/ 0 h 1127"/>
              <a:gd name="T30" fmla="*/ 408 w 677"/>
              <a:gd name="T31" fmla="*/ 0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7" h="1127">
                <a:moveTo>
                  <a:pt x="408" y="0"/>
                </a:moveTo>
                <a:lnTo>
                  <a:pt x="600" y="0"/>
                </a:lnTo>
                <a:lnTo>
                  <a:pt x="345" y="337"/>
                </a:lnTo>
                <a:lnTo>
                  <a:pt x="484" y="337"/>
                </a:lnTo>
                <a:lnTo>
                  <a:pt x="553" y="337"/>
                </a:lnTo>
                <a:lnTo>
                  <a:pt x="677" y="337"/>
                </a:lnTo>
                <a:lnTo>
                  <a:pt x="357" y="759"/>
                </a:lnTo>
                <a:lnTo>
                  <a:pt x="563" y="759"/>
                </a:lnTo>
                <a:lnTo>
                  <a:pt x="282" y="1127"/>
                </a:lnTo>
                <a:lnTo>
                  <a:pt x="0" y="759"/>
                </a:lnTo>
                <a:lnTo>
                  <a:pt x="165" y="759"/>
                </a:lnTo>
                <a:lnTo>
                  <a:pt x="365" y="495"/>
                </a:lnTo>
                <a:lnTo>
                  <a:pt x="26" y="493"/>
                </a:lnTo>
                <a:lnTo>
                  <a:pt x="408" y="0"/>
                </a:lnTo>
                <a:lnTo>
                  <a:pt x="408" y="0"/>
                </a:lnTo>
                <a:lnTo>
                  <a:pt x="40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9" name="Ellipse 318">
            <a:extLst>
              <a:ext uri="{FF2B5EF4-FFF2-40B4-BE49-F238E27FC236}">
                <a16:creationId xmlns:a16="http://schemas.microsoft.com/office/drawing/2014/main" id="{8CD6AC38-793C-40F5-9816-2B28732BCF51}"/>
              </a:ext>
            </a:extLst>
          </p:cNvPr>
          <p:cNvSpPr/>
          <p:nvPr/>
        </p:nvSpPr>
        <p:spPr bwMode="auto">
          <a:xfrm>
            <a:off x="7497585" y="4510628"/>
            <a:ext cx="463497" cy="463497"/>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42" name="Freeform 110">
            <a:extLst>
              <a:ext uri="{FF2B5EF4-FFF2-40B4-BE49-F238E27FC236}">
                <a16:creationId xmlns:a16="http://schemas.microsoft.com/office/drawing/2014/main" id="{F394C07F-3ADB-4717-B954-57461D83AACF}"/>
              </a:ext>
            </a:extLst>
          </p:cNvPr>
          <p:cNvSpPr>
            <a:spLocks/>
          </p:cNvSpPr>
          <p:nvPr/>
        </p:nvSpPr>
        <p:spPr bwMode="auto">
          <a:xfrm>
            <a:off x="7641812" y="3966816"/>
            <a:ext cx="175043" cy="293822"/>
          </a:xfrm>
          <a:custGeom>
            <a:avLst/>
            <a:gdLst>
              <a:gd name="T0" fmla="*/ 408 w 677"/>
              <a:gd name="T1" fmla="*/ 0 h 1127"/>
              <a:gd name="T2" fmla="*/ 600 w 677"/>
              <a:gd name="T3" fmla="*/ 0 h 1127"/>
              <a:gd name="T4" fmla="*/ 345 w 677"/>
              <a:gd name="T5" fmla="*/ 337 h 1127"/>
              <a:gd name="T6" fmla="*/ 484 w 677"/>
              <a:gd name="T7" fmla="*/ 337 h 1127"/>
              <a:gd name="T8" fmla="*/ 553 w 677"/>
              <a:gd name="T9" fmla="*/ 337 h 1127"/>
              <a:gd name="T10" fmla="*/ 677 w 677"/>
              <a:gd name="T11" fmla="*/ 337 h 1127"/>
              <a:gd name="T12" fmla="*/ 357 w 677"/>
              <a:gd name="T13" fmla="*/ 759 h 1127"/>
              <a:gd name="T14" fmla="*/ 563 w 677"/>
              <a:gd name="T15" fmla="*/ 759 h 1127"/>
              <a:gd name="T16" fmla="*/ 282 w 677"/>
              <a:gd name="T17" fmla="*/ 1127 h 1127"/>
              <a:gd name="T18" fmla="*/ 0 w 677"/>
              <a:gd name="T19" fmla="*/ 759 h 1127"/>
              <a:gd name="T20" fmla="*/ 165 w 677"/>
              <a:gd name="T21" fmla="*/ 759 h 1127"/>
              <a:gd name="T22" fmla="*/ 365 w 677"/>
              <a:gd name="T23" fmla="*/ 495 h 1127"/>
              <a:gd name="T24" fmla="*/ 26 w 677"/>
              <a:gd name="T25" fmla="*/ 493 h 1127"/>
              <a:gd name="T26" fmla="*/ 408 w 677"/>
              <a:gd name="T27" fmla="*/ 0 h 1127"/>
              <a:gd name="T28" fmla="*/ 408 w 677"/>
              <a:gd name="T29" fmla="*/ 0 h 1127"/>
              <a:gd name="T30" fmla="*/ 408 w 677"/>
              <a:gd name="T31" fmla="*/ 0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7" h="1127">
                <a:moveTo>
                  <a:pt x="408" y="0"/>
                </a:moveTo>
                <a:lnTo>
                  <a:pt x="600" y="0"/>
                </a:lnTo>
                <a:lnTo>
                  <a:pt x="345" y="337"/>
                </a:lnTo>
                <a:lnTo>
                  <a:pt x="484" y="337"/>
                </a:lnTo>
                <a:lnTo>
                  <a:pt x="553" y="337"/>
                </a:lnTo>
                <a:lnTo>
                  <a:pt x="677" y="337"/>
                </a:lnTo>
                <a:lnTo>
                  <a:pt x="357" y="759"/>
                </a:lnTo>
                <a:lnTo>
                  <a:pt x="563" y="759"/>
                </a:lnTo>
                <a:lnTo>
                  <a:pt x="282" y="1127"/>
                </a:lnTo>
                <a:lnTo>
                  <a:pt x="0" y="759"/>
                </a:lnTo>
                <a:lnTo>
                  <a:pt x="165" y="759"/>
                </a:lnTo>
                <a:lnTo>
                  <a:pt x="365" y="495"/>
                </a:lnTo>
                <a:lnTo>
                  <a:pt x="26" y="493"/>
                </a:lnTo>
                <a:lnTo>
                  <a:pt x="408" y="0"/>
                </a:lnTo>
                <a:lnTo>
                  <a:pt x="408" y="0"/>
                </a:lnTo>
                <a:lnTo>
                  <a:pt x="40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55" name="Freeform 37">
            <a:extLst>
              <a:ext uri="{FF2B5EF4-FFF2-40B4-BE49-F238E27FC236}">
                <a16:creationId xmlns:a16="http://schemas.microsoft.com/office/drawing/2014/main" id="{155606E5-ECC6-4A7B-98F9-5F51440520CC}"/>
              </a:ext>
            </a:extLst>
          </p:cNvPr>
          <p:cNvSpPr>
            <a:spLocks/>
          </p:cNvSpPr>
          <p:nvPr>
            <p:custDataLst>
              <p:tags r:id="rId39"/>
            </p:custDataLst>
          </p:nvPr>
        </p:nvSpPr>
        <p:spPr bwMode="auto">
          <a:xfrm>
            <a:off x="1032797" y="4625161"/>
            <a:ext cx="278193" cy="234432"/>
          </a:xfrm>
          <a:custGeom>
            <a:avLst/>
            <a:gdLst>
              <a:gd name="T0" fmla="*/ 1028 w 1070"/>
              <a:gd name="T1" fmla="*/ 549 h 902"/>
              <a:gd name="T2" fmla="*/ 1038 w 1070"/>
              <a:gd name="T3" fmla="*/ 539 h 902"/>
              <a:gd name="T4" fmla="*/ 1054 w 1070"/>
              <a:gd name="T5" fmla="*/ 516 h 902"/>
              <a:gd name="T6" fmla="*/ 1064 w 1070"/>
              <a:gd name="T7" fmla="*/ 492 h 902"/>
              <a:gd name="T8" fmla="*/ 1069 w 1070"/>
              <a:gd name="T9" fmla="*/ 465 h 902"/>
              <a:gd name="T10" fmla="*/ 1069 w 1070"/>
              <a:gd name="T11" fmla="*/ 437 h 902"/>
              <a:gd name="T12" fmla="*/ 1064 w 1070"/>
              <a:gd name="T13" fmla="*/ 410 h 902"/>
              <a:gd name="T14" fmla="*/ 1054 w 1070"/>
              <a:gd name="T15" fmla="*/ 386 h 902"/>
              <a:gd name="T16" fmla="*/ 1038 w 1070"/>
              <a:gd name="T17" fmla="*/ 363 h 902"/>
              <a:gd name="T18" fmla="*/ 683 w 1070"/>
              <a:gd name="T19" fmla="*/ 35 h 902"/>
              <a:gd name="T20" fmla="*/ 672 w 1070"/>
              <a:gd name="T21" fmla="*/ 26 h 902"/>
              <a:gd name="T22" fmla="*/ 650 w 1070"/>
              <a:gd name="T23" fmla="*/ 12 h 902"/>
              <a:gd name="T24" fmla="*/ 626 w 1070"/>
              <a:gd name="T25" fmla="*/ 4 h 902"/>
              <a:gd name="T26" fmla="*/ 600 w 1070"/>
              <a:gd name="T27" fmla="*/ 0 h 902"/>
              <a:gd name="T28" fmla="*/ 573 w 1070"/>
              <a:gd name="T29" fmla="*/ 1 h 902"/>
              <a:gd name="T30" fmla="*/ 549 w 1070"/>
              <a:gd name="T31" fmla="*/ 7 h 902"/>
              <a:gd name="T32" fmla="*/ 524 w 1070"/>
              <a:gd name="T33" fmla="*/ 18 h 902"/>
              <a:gd name="T34" fmla="*/ 503 w 1070"/>
              <a:gd name="T35" fmla="*/ 33 h 902"/>
              <a:gd name="T36" fmla="*/ 493 w 1070"/>
              <a:gd name="T37" fmla="*/ 42 h 902"/>
              <a:gd name="T38" fmla="*/ 478 w 1070"/>
              <a:gd name="T39" fmla="*/ 65 h 902"/>
              <a:gd name="T40" fmla="*/ 467 w 1070"/>
              <a:gd name="T41" fmla="*/ 88 h 902"/>
              <a:gd name="T42" fmla="*/ 460 w 1070"/>
              <a:gd name="T43" fmla="*/ 113 h 902"/>
              <a:gd name="T44" fmla="*/ 459 w 1070"/>
              <a:gd name="T45" fmla="*/ 139 h 902"/>
              <a:gd name="T46" fmla="*/ 462 w 1070"/>
              <a:gd name="T47" fmla="*/ 165 h 902"/>
              <a:gd name="T48" fmla="*/ 471 w 1070"/>
              <a:gd name="T49" fmla="*/ 189 h 902"/>
              <a:gd name="T50" fmla="*/ 483 w 1070"/>
              <a:gd name="T51" fmla="*/ 211 h 902"/>
              <a:gd name="T52" fmla="*/ 501 w 1070"/>
              <a:gd name="T53" fmla="*/ 232 h 902"/>
              <a:gd name="T54" fmla="*/ 133 w 1070"/>
              <a:gd name="T55" fmla="*/ 317 h 902"/>
              <a:gd name="T56" fmla="*/ 120 w 1070"/>
              <a:gd name="T57" fmla="*/ 318 h 902"/>
              <a:gd name="T58" fmla="*/ 94 w 1070"/>
              <a:gd name="T59" fmla="*/ 324 h 902"/>
              <a:gd name="T60" fmla="*/ 70 w 1070"/>
              <a:gd name="T61" fmla="*/ 334 h 902"/>
              <a:gd name="T62" fmla="*/ 48 w 1070"/>
              <a:gd name="T63" fmla="*/ 348 h 902"/>
              <a:gd name="T64" fmla="*/ 31 w 1070"/>
              <a:gd name="T65" fmla="*/ 366 h 902"/>
              <a:gd name="T66" fmla="*/ 16 w 1070"/>
              <a:gd name="T67" fmla="*/ 387 h 902"/>
              <a:gd name="T68" fmla="*/ 6 w 1070"/>
              <a:gd name="T69" fmla="*/ 412 h 902"/>
              <a:gd name="T70" fmla="*/ 1 w 1070"/>
              <a:gd name="T71" fmla="*/ 437 h 902"/>
              <a:gd name="T72" fmla="*/ 0 w 1070"/>
              <a:gd name="T73" fmla="*/ 450 h 902"/>
              <a:gd name="T74" fmla="*/ 3 w 1070"/>
              <a:gd name="T75" fmla="*/ 478 h 902"/>
              <a:gd name="T76" fmla="*/ 11 w 1070"/>
              <a:gd name="T77" fmla="*/ 503 h 902"/>
              <a:gd name="T78" fmla="*/ 23 w 1070"/>
              <a:gd name="T79" fmla="*/ 525 h 902"/>
              <a:gd name="T80" fmla="*/ 40 w 1070"/>
              <a:gd name="T81" fmla="*/ 545 h 902"/>
              <a:gd name="T82" fmla="*/ 60 w 1070"/>
              <a:gd name="T83" fmla="*/ 562 h 902"/>
              <a:gd name="T84" fmla="*/ 82 w 1070"/>
              <a:gd name="T85" fmla="*/ 574 h 902"/>
              <a:gd name="T86" fmla="*/ 106 w 1070"/>
              <a:gd name="T87" fmla="*/ 582 h 902"/>
              <a:gd name="T88" fmla="*/ 133 w 1070"/>
              <a:gd name="T89" fmla="*/ 585 h 902"/>
              <a:gd name="T90" fmla="*/ 501 w 1070"/>
              <a:gd name="T91" fmla="*/ 670 h 902"/>
              <a:gd name="T92" fmla="*/ 492 w 1070"/>
              <a:gd name="T93" fmla="*/ 680 h 902"/>
              <a:gd name="T94" fmla="*/ 477 w 1070"/>
              <a:gd name="T95" fmla="*/ 702 h 902"/>
              <a:gd name="T96" fmla="*/ 465 w 1070"/>
              <a:gd name="T97" fmla="*/ 725 h 902"/>
              <a:gd name="T98" fmla="*/ 460 w 1070"/>
              <a:gd name="T99" fmla="*/ 751 h 902"/>
              <a:gd name="T100" fmla="*/ 459 w 1070"/>
              <a:gd name="T101" fmla="*/ 776 h 902"/>
              <a:gd name="T102" fmla="*/ 463 w 1070"/>
              <a:gd name="T103" fmla="*/ 802 h 902"/>
              <a:gd name="T104" fmla="*/ 471 w 1070"/>
              <a:gd name="T105" fmla="*/ 826 h 902"/>
              <a:gd name="T106" fmla="*/ 486 w 1070"/>
              <a:gd name="T107" fmla="*/ 849 h 902"/>
              <a:gd name="T108" fmla="*/ 493 w 1070"/>
              <a:gd name="T109" fmla="*/ 860 h 902"/>
              <a:gd name="T110" fmla="*/ 514 w 1070"/>
              <a:gd name="T111" fmla="*/ 877 h 902"/>
              <a:gd name="T112" fmla="*/ 537 w 1070"/>
              <a:gd name="T113" fmla="*/ 890 h 902"/>
              <a:gd name="T114" fmla="*/ 561 w 1070"/>
              <a:gd name="T115" fmla="*/ 899 h 902"/>
              <a:gd name="T116" fmla="*/ 587 w 1070"/>
              <a:gd name="T117" fmla="*/ 902 h 902"/>
              <a:gd name="T118" fmla="*/ 612 w 1070"/>
              <a:gd name="T119" fmla="*/ 901 h 902"/>
              <a:gd name="T120" fmla="*/ 638 w 1070"/>
              <a:gd name="T121" fmla="*/ 894 h 902"/>
              <a:gd name="T122" fmla="*/ 661 w 1070"/>
              <a:gd name="T123" fmla="*/ 883 h 902"/>
              <a:gd name="T124" fmla="*/ 683 w 1070"/>
              <a:gd name="T125" fmla="*/ 86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0" h="902">
                <a:moveTo>
                  <a:pt x="683" y="867"/>
                </a:moveTo>
                <a:lnTo>
                  <a:pt x="1028" y="549"/>
                </a:lnTo>
                <a:lnTo>
                  <a:pt x="1028" y="549"/>
                </a:lnTo>
                <a:lnTo>
                  <a:pt x="1038" y="539"/>
                </a:lnTo>
                <a:lnTo>
                  <a:pt x="1046" y="528"/>
                </a:lnTo>
                <a:lnTo>
                  <a:pt x="1054" y="516"/>
                </a:lnTo>
                <a:lnTo>
                  <a:pt x="1059" y="504"/>
                </a:lnTo>
                <a:lnTo>
                  <a:pt x="1064" y="492"/>
                </a:lnTo>
                <a:lnTo>
                  <a:pt x="1067" y="478"/>
                </a:lnTo>
                <a:lnTo>
                  <a:pt x="1069" y="465"/>
                </a:lnTo>
                <a:lnTo>
                  <a:pt x="1070" y="450"/>
                </a:lnTo>
                <a:lnTo>
                  <a:pt x="1069" y="437"/>
                </a:lnTo>
                <a:lnTo>
                  <a:pt x="1067" y="424"/>
                </a:lnTo>
                <a:lnTo>
                  <a:pt x="1064" y="410"/>
                </a:lnTo>
                <a:lnTo>
                  <a:pt x="1059" y="398"/>
                </a:lnTo>
                <a:lnTo>
                  <a:pt x="1054" y="386"/>
                </a:lnTo>
                <a:lnTo>
                  <a:pt x="1046" y="374"/>
                </a:lnTo>
                <a:lnTo>
                  <a:pt x="1038" y="363"/>
                </a:lnTo>
                <a:lnTo>
                  <a:pt x="1028" y="353"/>
                </a:lnTo>
                <a:lnTo>
                  <a:pt x="683" y="35"/>
                </a:lnTo>
                <a:lnTo>
                  <a:pt x="683" y="35"/>
                </a:lnTo>
                <a:lnTo>
                  <a:pt x="672" y="26"/>
                </a:lnTo>
                <a:lnTo>
                  <a:pt x="661" y="19"/>
                </a:lnTo>
                <a:lnTo>
                  <a:pt x="650" y="12"/>
                </a:lnTo>
                <a:lnTo>
                  <a:pt x="638" y="8"/>
                </a:lnTo>
                <a:lnTo>
                  <a:pt x="626" y="4"/>
                </a:lnTo>
                <a:lnTo>
                  <a:pt x="612" y="1"/>
                </a:lnTo>
                <a:lnTo>
                  <a:pt x="600" y="0"/>
                </a:lnTo>
                <a:lnTo>
                  <a:pt x="587" y="0"/>
                </a:lnTo>
                <a:lnTo>
                  <a:pt x="573" y="1"/>
                </a:lnTo>
                <a:lnTo>
                  <a:pt x="561" y="3"/>
                </a:lnTo>
                <a:lnTo>
                  <a:pt x="549" y="7"/>
                </a:lnTo>
                <a:lnTo>
                  <a:pt x="537" y="12"/>
                </a:lnTo>
                <a:lnTo>
                  <a:pt x="524" y="18"/>
                </a:lnTo>
                <a:lnTo>
                  <a:pt x="514" y="25"/>
                </a:lnTo>
                <a:lnTo>
                  <a:pt x="503" y="33"/>
                </a:lnTo>
                <a:lnTo>
                  <a:pt x="493" y="42"/>
                </a:lnTo>
                <a:lnTo>
                  <a:pt x="493" y="42"/>
                </a:lnTo>
                <a:lnTo>
                  <a:pt x="486" y="53"/>
                </a:lnTo>
                <a:lnTo>
                  <a:pt x="478" y="65"/>
                </a:lnTo>
                <a:lnTo>
                  <a:pt x="471" y="76"/>
                </a:lnTo>
                <a:lnTo>
                  <a:pt x="467" y="88"/>
                </a:lnTo>
                <a:lnTo>
                  <a:pt x="463" y="100"/>
                </a:lnTo>
                <a:lnTo>
                  <a:pt x="460" y="113"/>
                </a:lnTo>
                <a:lnTo>
                  <a:pt x="459" y="126"/>
                </a:lnTo>
                <a:lnTo>
                  <a:pt x="459" y="139"/>
                </a:lnTo>
                <a:lnTo>
                  <a:pt x="460" y="151"/>
                </a:lnTo>
                <a:lnTo>
                  <a:pt x="462" y="165"/>
                </a:lnTo>
                <a:lnTo>
                  <a:pt x="465" y="177"/>
                </a:lnTo>
                <a:lnTo>
                  <a:pt x="471" y="189"/>
                </a:lnTo>
                <a:lnTo>
                  <a:pt x="477" y="201"/>
                </a:lnTo>
                <a:lnTo>
                  <a:pt x="483" y="211"/>
                </a:lnTo>
                <a:lnTo>
                  <a:pt x="492" y="222"/>
                </a:lnTo>
                <a:lnTo>
                  <a:pt x="501" y="232"/>
                </a:lnTo>
                <a:lnTo>
                  <a:pt x="593" y="317"/>
                </a:lnTo>
                <a:lnTo>
                  <a:pt x="133" y="317"/>
                </a:lnTo>
                <a:lnTo>
                  <a:pt x="133" y="317"/>
                </a:lnTo>
                <a:lnTo>
                  <a:pt x="120" y="318"/>
                </a:lnTo>
                <a:lnTo>
                  <a:pt x="106" y="320"/>
                </a:lnTo>
                <a:lnTo>
                  <a:pt x="94" y="324"/>
                </a:lnTo>
                <a:lnTo>
                  <a:pt x="82" y="328"/>
                </a:lnTo>
                <a:lnTo>
                  <a:pt x="70" y="334"/>
                </a:lnTo>
                <a:lnTo>
                  <a:pt x="60" y="340"/>
                </a:lnTo>
                <a:lnTo>
                  <a:pt x="48" y="348"/>
                </a:lnTo>
                <a:lnTo>
                  <a:pt x="40" y="357"/>
                </a:lnTo>
                <a:lnTo>
                  <a:pt x="31" y="366"/>
                </a:lnTo>
                <a:lnTo>
                  <a:pt x="23" y="377"/>
                </a:lnTo>
                <a:lnTo>
                  <a:pt x="16" y="387"/>
                </a:lnTo>
                <a:lnTo>
                  <a:pt x="11" y="399"/>
                </a:lnTo>
                <a:lnTo>
                  <a:pt x="6" y="412"/>
                </a:lnTo>
                <a:lnTo>
                  <a:pt x="3" y="424"/>
                </a:lnTo>
                <a:lnTo>
                  <a:pt x="1" y="437"/>
                </a:lnTo>
                <a:lnTo>
                  <a:pt x="0" y="450"/>
                </a:lnTo>
                <a:lnTo>
                  <a:pt x="0" y="450"/>
                </a:lnTo>
                <a:lnTo>
                  <a:pt x="1" y="465"/>
                </a:lnTo>
                <a:lnTo>
                  <a:pt x="3" y="478"/>
                </a:lnTo>
                <a:lnTo>
                  <a:pt x="6" y="490"/>
                </a:lnTo>
                <a:lnTo>
                  <a:pt x="11" y="503"/>
                </a:lnTo>
                <a:lnTo>
                  <a:pt x="16" y="515"/>
                </a:lnTo>
                <a:lnTo>
                  <a:pt x="23" y="525"/>
                </a:lnTo>
                <a:lnTo>
                  <a:pt x="31" y="536"/>
                </a:lnTo>
                <a:lnTo>
                  <a:pt x="40" y="545"/>
                </a:lnTo>
                <a:lnTo>
                  <a:pt x="48" y="554"/>
                </a:lnTo>
                <a:lnTo>
                  <a:pt x="60" y="562"/>
                </a:lnTo>
                <a:lnTo>
                  <a:pt x="70" y="568"/>
                </a:lnTo>
                <a:lnTo>
                  <a:pt x="82" y="574"/>
                </a:lnTo>
                <a:lnTo>
                  <a:pt x="94" y="578"/>
                </a:lnTo>
                <a:lnTo>
                  <a:pt x="106" y="582"/>
                </a:lnTo>
                <a:lnTo>
                  <a:pt x="120" y="584"/>
                </a:lnTo>
                <a:lnTo>
                  <a:pt x="133" y="585"/>
                </a:lnTo>
                <a:lnTo>
                  <a:pt x="594" y="585"/>
                </a:lnTo>
                <a:lnTo>
                  <a:pt x="501" y="670"/>
                </a:lnTo>
                <a:lnTo>
                  <a:pt x="501" y="670"/>
                </a:lnTo>
                <a:lnTo>
                  <a:pt x="492" y="680"/>
                </a:lnTo>
                <a:lnTo>
                  <a:pt x="483" y="691"/>
                </a:lnTo>
                <a:lnTo>
                  <a:pt x="477" y="702"/>
                </a:lnTo>
                <a:lnTo>
                  <a:pt x="471" y="713"/>
                </a:lnTo>
                <a:lnTo>
                  <a:pt x="465" y="725"/>
                </a:lnTo>
                <a:lnTo>
                  <a:pt x="462" y="737"/>
                </a:lnTo>
                <a:lnTo>
                  <a:pt x="460" y="751"/>
                </a:lnTo>
                <a:lnTo>
                  <a:pt x="459" y="763"/>
                </a:lnTo>
                <a:lnTo>
                  <a:pt x="459" y="776"/>
                </a:lnTo>
                <a:lnTo>
                  <a:pt x="460" y="789"/>
                </a:lnTo>
                <a:lnTo>
                  <a:pt x="463" y="802"/>
                </a:lnTo>
                <a:lnTo>
                  <a:pt x="467" y="814"/>
                </a:lnTo>
                <a:lnTo>
                  <a:pt x="471" y="826"/>
                </a:lnTo>
                <a:lnTo>
                  <a:pt x="478" y="837"/>
                </a:lnTo>
                <a:lnTo>
                  <a:pt x="486" y="849"/>
                </a:lnTo>
                <a:lnTo>
                  <a:pt x="493" y="860"/>
                </a:lnTo>
                <a:lnTo>
                  <a:pt x="493" y="860"/>
                </a:lnTo>
                <a:lnTo>
                  <a:pt x="503" y="869"/>
                </a:lnTo>
                <a:lnTo>
                  <a:pt x="514" y="877"/>
                </a:lnTo>
                <a:lnTo>
                  <a:pt x="524" y="884"/>
                </a:lnTo>
                <a:lnTo>
                  <a:pt x="537" y="890"/>
                </a:lnTo>
                <a:lnTo>
                  <a:pt x="549" y="895"/>
                </a:lnTo>
                <a:lnTo>
                  <a:pt x="561" y="899"/>
                </a:lnTo>
                <a:lnTo>
                  <a:pt x="573" y="901"/>
                </a:lnTo>
                <a:lnTo>
                  <a:pt x="587" y="902"/>
                </a:lnTo>
                <a:lnTo>
                  <a:pt x="600" y="902"/>
                </a:lnTo>
                <a:lnTo>
                  <a:pt x="612" y="901"/>
                </a:lnTo>
                <a:lnTo>
                  <a:pt x="626" y="898"/>
                </a:lnTo>
                <a:lnTo>
                  <a:pt x="638" y="894"/>
                </a:lnTo>
                <a:lnTo>
                  <a:pt x="650" y="890"/>
                </a:lnTo>
                <a:lnTo>
                  <a:pt x="661" y="883"/>
                </a:lnTo>
                <a:lnTo>
                  <a:pt x="672" y="875"/>
                </a:lnTo>
                <a:lnTo>
                  <a:pt x="683" y="867"/>
                </a:lnTo>
                <a:lnTo>
                  <a:pt x="683" y="8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56" name="Freeform 52">
            <a:extLst>
              <a:ext uri="{FF2B5EF4-FFF2-40B4-BE49-F238E27FC236}">
                <a16:creationId xmlns:a16="http://schemas.microsoft.com/office/drawing/2014/main" id="{A4FD3962-58CF-41B3-99D3-3016B2F22F9A}"/>
              </a:ext>
            </a:extLst>
          </p:cNvPr>
          <p:cNvSpPr>
            <a:spLocks/>
          </p:cNvSpPr>
          <p:nvPr>
            <p:custDataLst>
              <p:tags r:id="rId40"/>
            </p:custDataLst>
          </p:nvPr>
        </p:nvSpPr>
        <p:spPr bwMode="auto">
          <a:xfrm>
            <a:off x="398933" y="4603280"/>
            <a:ext cx="234432" cy="278193"/>
          </a:xfrm>
          <a:custGeom>
            <a:avLst/>
            <a:gdLst>
              <a:gd name="T0" fmla="*/ 549 w 902"/>
              <a:gd name="T1" fmla="*/ 42 h 1069"/>
              <a:gd name="T2" fmla="*/ 539 w 902"/>
              <a:gd name="T3" fmla="*/ 32 h 1069"/>
              <a:gd name="T4" fmla="*/ 517 w 902"/>
              <a:gd name="T5" fmla="*/ 16 h 1069"/>
              <a:gd name="T6" fmla="*/ 492 w 902"/>
              <a:gd name="T7" fmla="*/ 5 h 1069"/>
              <a:gd name="T8" fmla="*/ 465 w 902"/>
              <a:gd name="T9" fmla="*/ 0 h 1069"/>
              <a:gd name="T10" fmla="*/ 437 w 902"/>
              <a:gd name="T11" fmla="*/ 0 h 1069"/>
              <a:gd name="T12" fmla="*/ 410 w 902"/>
              <a:gd name="T13" fmla="*/ 5 h 1069"/>
              <a:gd name="T14" fmla="*/ 386 w 902"/>
              <a:gd name="T15" fmla="*/ 16 h 1069"/>
              <a:gd name="T16" fmla="*/ 363 w 902"/>
              <a:gd name="T17" fmla="*/ 32 h 1069"/>
              <a:gd name="T18" fmla="*/ 35 w 902"/>
              <a:gd name="T19" fmla="*/ 387 h 1069"/>
              <a:gd name="T20" fmla="*/ 27 w 902"/>
              <a:gd name="T21" fmla="*/ 397 h 1069"/>
              <a:gd name="T22" fmla="*/ 12 w 902"/>
              <a:gd name="T23" fmla="*/ 420 h 1069"/>
              <a:gd name="T24" fmla="*/ 4 w 902"/>
              <a:gd name="T25" fmla="*/ 444 h 1069"/>
              <a:gd name="T26" fmla="*/ 0 w 902"/>
              <a:gd name="T27" fmla="*/ 470 h 1069"/>
              <a:gd name="T28" fmla="*/ 1 w 902"/>
              <a:gd name="T29" fmla="*/ 496 h 1069"/>
              <a:gd name="T30" fmla="*/ 8 w 902"/>
              <a:gd name="T31" fmla="*/ 521 h 1069"/>
              <a:gd name="T32" fmla="*/ 18 w 902"/>
              <a:gd name="T33" fmla="*/ 544 h 1069"/>
              <a:gd name="T34" fmla="*/ 33 w 902"/>
              <a:gd name="T35" fmla="*/ 566 h 1069"/>
              <a:gd name="T36" fmla="*/ 42 w 902"/>
              <a:gd name="T37" fmla="*/ 576 h 1069"/>
              <a:gd name="T38" fmla="*/ 65 w 902"/>
              <a:gd name="T39" fmla="*/ 592 h 1069"/>
              <a:gd name="T40" fmla="*/ 88 w 902"/>
              <a:gd name="T41" fmla="*/ 603 h 1069"/>
              <a:gd name="T42" fmla="*/ 113 w 902"/>
              <a:gd name="T43" fmla="*/ 609 h 1069"/>
              <a:gd name="T44" fmla="*/ 139 w 902"/>
              <a:gd name="T45" fmla="*/ 611 h 1069"/>
              <a:gd name="T46" fmla="*/ 165 w 902"/>
              <a:gd name="T47" fmla="*/ 607 h 1069"/>
              <a:gd name="T48" fmla="*/ 189 w 902"/>
              <a:gd name="T49" fmla="*/ 599 h 1069"/>
              <a:gd name="T50" fmla="*/ 212 w 902"/>
              <a:gd name="T51" fmla="*/ 586 h 1069"/>
              <a:gd name="T52" fmla="*/ 232 w 902"/>
              <a:gd name="T53" fmla="*/ 568 h 1069"/>
              <a:gd name="T54" fmla="*/ 317 w 902"/>
              <a:gd name="T55" fmla="*/ 936 h 1069"/>
              <a:gd name="T56" fmla="*/ 318 w 902"/>
              <a:gd name="T57" fmla="*/ 949 h 1069"/>
              <a:gd name="T58" fmla="*/ 324 w 902"/>
              <a:gd name="T59" fmla="*/ 976 h 1069"/>
              <a:gd name="T60" fmla="*/ 334 w 902"/>
              <a:gd name="T61" fmla="*/ 999 h 1069"/>
              <a:gd name="T62" fmla="*/ 348 w 902"/>
              <a:gd name="T63" fmla="*/ 1020 h 1069"/>
              <a:gd name="T64" fmla="*/ 366 w 902"/>
              <a:gd name="T65" fmla="*/ 1039 h 1069"/>
              <a:gd name="T66" fmla="*/ 388 w 902"/>
              <a:gd name="T67" fmla="*/ 1054 h 1069"/>
              <a:gd name="T68" fmla="*/ 412 w 902"/>
              <a:gd name="T69" fmla="*/ 1064 h 1069"/>
              <a:gd name="T70" fmla="*/ 437 w 902"/>
              <a:gd name="T71" fmla="*/ 1069 h 1069"/>
              <a:gd name="T72" fmla="*/ 452 w 902"/>
              <a:gd name="T73" fmla="*/ 1069 h 1069"/>
              <a:gd name="T74" fmla="*/ 478 w 902"/>
              <a:gd name="T75" fmla="*/ 1067 h 1069"/>
              <a:gd name="T76" fmla="*/ 503 w 902"/>
              <a:gd name="T77" fmla="*/ 1059 h 1069"/>
              <a:gd name="T78" fmla="*/ 526 w 902"/>
              <a:gd name="T79" fmla="*/ 1047 h 1069"/>
              <a:gd name="T80" fmla="*/ 546 w 902"/>
              <a:gd name="T81" fmla="*/ 1030 h 1069"/>
              <a:gd name="T82" fmla="*/ 562 w 902"/>
              <a:gd name="T83" fmla="*/ 1010 h 1069"/>
              <a:gd name="T84" fmla="*/ 575 w 902"/>
              <a:gd name="T85" fmla="*/ 988 h 1069"/>
              <a:gd name="T86" fmla="*/ 583 w 902"/>
              <a:gd name="T87" fmla="*/ 963 h 1069"/>
              <a:gd name="T88" fmla="*/ 585 w 902"/>
              <a:gd name="T89" fmla="*/ 936 h 1069"/>
              <a:gd name="T90" fmla="*/ 671 w 902"/>
              <a:gd name="T91" fmla="*/ 568 h 1069"/>
              <a:gd name="T92" fmla="*/ 680 w 902"/>
              <a:gd name="T93" fmla="*/ 578 h 1069"/>
              <a:gd name="T94" fmla="*/ 702 w 902"/>
              <a:gd name="T95" fmla="*/ 593 h 1069"/>
              <a:gd name="T96" fmla="*/ 725 w 902"/>
              <a:gd name="T97" fmla="*/ 603 h 1069"/>
              <a:gd name="T98" fmla="*/ 751 w 902"/>
              <a:gd name="T99" fmla="*/ 609 h 1069"/>
              <a:gd name="T100" fmla="*/ 776 w 902"/>
              <a:gd name="T101" fmla="*/ 610 h 1069"/>
              <a:gd name="T102" fmla="*/ 802 w 902"/>
              <a:gd name="T103" fmla="*/ 607 h 1069"/>
              <a:gd name="T104" fmla="*/ 826 w 902"/>
              <a:gd name="T105" fmla="*/ 598 h 1069"/>
              <a:gd name="T106" fmla="*/ 849 w 902"/>
              <a:gd name="T107" fmla="*/ 584 h 1069"/>
              <a:gd name="T108" fmla="*/ 860 w 902"/>
              <a:gd name="T109" fmla="*/ 576 h 1069"/>
              <a:gd name="T110" fmla="*/ 877 w 902"/>
              <a:gd name="T111" fmla="*/ 556 h 1069"/>
              <a:gd name="T112" fmla="*/ 891 w 902"/>
              <a:gd name="T113" fmla="*/ 533 h 1069"/>
              <a:gd name="T114" fmla="*/ 899 w 902"/>
              <a:gd name="T115" fmla="*/ 509 h 1069"/>
              <a:gd name="T116" fmla="*/ 902 w 902"/>
              <a:gd name="T117" fmla="*/ 483 h 1069"/>
              <a:gd name="T118" fmla="*/ 901 w 902"/>
              <a:gd name="T119" fmla="*/ 457 h 1069"/>
              <a:gd name="T120" fmla="*/ 894 w 902"/>
              <a:gd name="T121" fmla="*/ 432 h 1069"/>
              <a:gd name="T122" fmla="*/ 883 w 902"/>
              <a:gd name="T123" fmla="*/ 408 h 1069"/>
              <a:gd name="T124" fmla="*/ 867 w 902"/>
              <a:gd name="T125" fmla="*/ 387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69">
                <a:moveTo>
                  <a:pt x="867" y="387"/>
                </a:moveTo>
                <a:lnTo>
                  <a:pt x="549" y="42"/>
                </a:lnTo>
                <a:lnTo>
                  <a:pt x="549" y="42"/>
                </a:lnTo>
                <a:lnTo>
                  <a:pt x="539" y="32"/>
                </a:lnTo>
                <a:lnTo>
                  <a:pt x="528" y="23"/>
                </a:lnTo>
                <a:lnTo>
                  <a:pt x="517" y="16"/>
                </a:lnTo>
                <a:lnTo>
                  <a:pt x="504" y="10"/>
                </a:lnTo>
                <a:lnTo>
                  <a:pt x="492" y="5"/>
                </a:lnTo>
                <a:lnTo>
                  <a:pt x="478" y="2"/>
                </a:lnTo>
                <a:lnTo>
                  <a:pt x="465" y="0"/>
                </a:lnTo>
                <a:lnTo>
                  <a:pt x="452" y="0"/>
                </a:lnTo>
                <a:lnTo>
                  <a:pt x="437" y="0"/>
                </a:lnTo>
                <a:lnTo>
                  <a:pt x="424" y="2"/>
                </a:lnTo>
                <a:lnTo>
                  <a:pt x="410" y="5"/>
                </a:lnTo>
                <a:lnTo>
                  <a:pt x="398" y="10"/>
                </a:lnTo>
                <a:lnTo>
                  <a:pt x="386" y="16"/>
                </a:lnTo>
                <a:lnTo>
                  <a:pt x="374" y="23"/>
                </a:lnTo>
                <a:lnTo>
                  <a:pt x="363" y="32"/>
                </a:lnTo>
                <a:lnTo>
                  <a:pt x="353" y="42"/>
                </a:lnTo>
                <a:lnTo>
                  <a:pt x="35" y="387"/>
                </a:lnTo>
                <a:lnTo>
                  <a:pt x="35" y="387"/>
                </a:lnTo>
                <a:lnTo>
                  <a:pt x="27" y="397"/>
                </a:lnTo>
                <a:lnTo>
                  <a:pt x="19" y="408"/>
                </a:lnTo>
                <a:lnTo>
                  <a:pt x="12" y="420"/>
                </a:lnTo>
                <a:lnTo>
                  <a:pt x="8" y="432"/>
                </a:lnTo>
                <a:lnTo>
                  <a:pt x="4" y="444"/>
                </a:lnTo>
                <a:lnTo>
                  <a:pt x="1" y="457"/>
                </a:lnTo>
                <a:lnTo>
                  <a:pt x="0" y="470"/>
                </a:lnTo>
                <a:lnTo>
                  <a:pt x="0" y="482"/>
                </a:lnTo>
                <a:lnTo>
                  <a:pt x="1" y="496"/>
                </a:lnTo>
                <a:lnTo>
                  <a:pt x="3" y="508"/>
                </a:lnTo>
                <a:lnTo>
                  <a:pt x="8" y="521"/>
                </a:lnTo>
                <a:lnTo>
                  <a:pt x="12" y="533"/>
                </a:lnTo>
                <a:lnTo>
                  <a:pt x="18" y="544"/>
                </a:lnTo>
                <a:lnTo>
                  <a:pt x="25" y="556"/>
                </a:lnTo>
                <a:lnTo>
                  <a:pt x="33" y="566"/>
                </a:lnTo>
                <a:lnTo>
                  <a:pt x="42" y="576"/>
                </a:lnTo>
                <a:lnTo>
                  <a:pt x="42" y="576"/>
                </a:lnTo>
                <a:lnTo>
                  <a:pt x="53" y="584"/>
                </a:lnTo>
                <a:lnTo>
                  <a:pt x="65" y="592"/>
                </a:lnTo>
                <a:lnTo>
                  <a:pt x="76" y="598"/>
                </a:lnTo>
                <a:lnTo>
                  <a:pt x="88" y="603"/>
                </a:lnTo>
                <a:lnTo>
                  <a:pt x="100" y="607"/>
                </a:lnTo>
                <a:lnTo>
                  <a:pt x="113" y="609"/>
                </a:lnTo>
                <a:lnTo>
                  <a:pt x="126" y="610"/>
                </a:lnTo>
                <a:lnTo>
                  <a:pt x="139" y="611"/>
                </a:lnTo>
                <a:lnTo>
                  <a:pt x="152" y="609"/>
                </a:lnTo>
                <a:lnTo>
                  <a:pt x="165" y="607"/>
                </a:lnTo>
                <a:lnTo>
                  <a:pt x="177" y="603"/>
                </a:lnTo>
                <a:lnTo>
                  <a:pt x="189" y="599"/>
                </a:lnTo>
                <a:lnTo>
                  <a:pt x="201" y="593"/>
                </a:lnTo>
                <a:lnTo>
                  <a:pt x="212" y="586"/>
                </a:lnTo>
                <a:lnTo>
                  <a:pt x="222" y="578"/>
                </a:lnTo>
                <a:lnTo>
                  <a:pt x="232" y="568"/>
                </a:lnTo>
                <a:lnTo>
                  <a:pt x="317" y="476"/>
                </a:lnTo>
                <a:lnTo>
                  <a:pt x="317" y="936"/>
                </a:lnTo>
                <a:lnTo>
                  <a:pt x="317" y="936"/>
                </a:lnTo>
                <a:lnTo>
                  <a:pt x="318" y="949"/>
                </a:lnTo>
                <a:lnTo>
                  <a:pt x="320" y="963"/>
                </a:lnTo>
                <a:lnTo>
                  <a:pt x="324" y="976"/>
                </a:lnTo>
                <a:lnTo>
                  <a:pt x="328" y="988"/>
                </a:lnTo>
                <a:lnTo>
                  <a:pt x="334" y="999"/>
                </a:lnTo>
                <a:lnTo>
                  <a:pt x="340" y="1010"/>
                </a:lnTo>
                <a:lnTo>
                  <a:pt x="348" y="1020"/>
                </a:lnTo>
                <a:lnTo>
                  <a:pt x="357" y="1030"/>
                </a:lnTo>
                <a:lnTo>
                  <a:pt x="366" y="1039"/>
                </a:lnTo>
                <a:lnTo>
                  <a:pt x="377" y="1047"/>
                </a:lnTo>
                <a:lnTo>
                  <a:pt x="388" y="1054"/>
                </a:lnTo>
                <a:lnTo>
                  <a:pt x="399" y="1059"/>
                </a:lnTo>
                <a:lnTo>
                  <a:pt x="412" y="1064"/>
                </a:lnTo>
                <a:lnTo>
                  <a:pt x="425" y="1067"/>
                </a:lnTo>
                <a:lnTo>
                  <a:pt x="437" y="1069"/>
                </a:lnTo>
                <a:lnTo>
                  <a:pt x="452" y="1069"/>
                </a:lnTo>
                <a:lnTo>
                  <a:pt x="452" y="1069"/>
                </a:lnTo>
                <a:lnTo>
                  <a:pt x="465" y="1069"/>
                </a:lnTo>
                <a:lnTo>
                  <a:pt x="478" y="1067"/>
                </a:lnTo>
                <a:lnTo>
                  <a:pt x="490" y="1064"/>
                </a:lnTo>
                <a:lnTo>
                  <a:pt x="503" y="1059"/>
                </a:lnTo>
                <a:lnTo>
                  <a:pt x="515" y="1054"/>
                </a:lnTo>
                <a:lnTo>
                  <a:pt x="526" y="1047"/>
                </a:lnTo>
                <a:lnTo>
                  <a:pt x="536" y="1039"/>
                </a:lnTo>
                <a:lnTo>
                  <a:pt x="546" y="1030"/>
                </a:lnTo>
                <a:lnTo>
                  <a:pt x="554" y="1020"/>
                </a:lnTo>
                <a:lnTo>
                  <a:pt x="562" y="1010"/>
                </a:lnTo>
                <a:lnTo>
                  <a:pt x="568" y="999"/>
                </a:lnTo>
                <a:lnTo>
                  <a:pt x="575" y="988"/>
                </a:lnTo>
                <a:lnTo>
                  <a:pt x="579" y="976"/>
                </a:lnTo>
                <a:lnTo>
                  <a:pt x="583" y="963"/>
                </a:lnTo>
                <a:lnTo>
                  <a:pt x="584" y="949"/>
                </a:lnTo>
                <a:lnTo>
                  <a:pt x="585" y="936"/>
                </a:lnTo>
                <a:lnTo>
                  <a:pt x="585" y="476"/>
                </a:lnTo>
                <a:lnTo>
                  <a:pt x="671" y="568"/>
                </a:lnTo>
                <a:lnTo>
                  <a:pt x="671" y="568"/>
                </a:lnTo>
                <a:lnTo>
                  <a:pt x="680" y="578"/>
                </a:lnTo>
                <a:lnTo>
                  <a:pt x="691" y="586"/>
                </a:lnTo>
                <a:lnTo>
                  <a:pt x="702" y="593"/>
                </a:lnTo>
                <a:lnTo>
                  <a:pt x="713" y="599"/>
                </a:lnTo>
                <a:lnTo>
                  <a:pt x="725" y="603"/>
                </a:lnTo>
                <a:lnTo>
                  <a:pt x="737" y="607"/>
                </a:lnTo>
                <a:lnTo>
                  <a:pt x="751" y="609"/>
                </a:lnTo>
                <a:lnTo>
                  <a:pt x="763" y="610"/>
                </a:lnTo>
                <a:lnTo>
                  <a:pt x="776" y="610"/>
                </a:lnTo>
                <a:lnTo>
                  <a:pt x="789" y="609"/>
                </a:lnTo>
                <a:lnTo>
                  <a:pt x="802" y="607"/>
                </a:lnTo>
                <a:lnTo>
                  <a:pt x="814" y="603"/>
                </a:lnTo>
                <a:lnTo>
                  <a:pt x="826" y="598"/>
                </a:lnTo>
                <a:lnTo>
                  <a:pt x="837" y="592"/>
                </a:lnTo>
                <a:lnTo>
                  <a:pt x="849" y="584"/>
                </a:lnTo>
                <a:lnTo>
                  <a:pt x="860" y="576"/>
                </a:lnTo>
                <a:lnTo>
                  <a:pt x="860" y="576"/>
                </a:lnTo>
                <a:lnTo>
                  <a:pt x="869" y="566"/>
                </a:lnTo>
                <a:lnTo>
                  <a:pt x="877" y="556"/>
                </a:lnTo>
                <a:lnTo>
                  <a:pt x="884" y="544"/>
                </a:lnTo>
                <a:lnTo>
                  <a:pt x="891" y="533"/>
                </a:lnTo>
                <a:lnTo>
                  <a:pt x="895" y="521"/>
                </a:lnTo>
                <a:lnTo>
                  <a:pt x="899" y="509"/>
                </a:lnTo>
                <a:lnTo>
                  <a:pt x="901" y="496"/>
                </a:lnTo>
                <a:lnTo>
                  <a:pt x="902" y="483"/>
                </a:lnTo>
                <a:lnTo>
                  <a:pt x="902" y="470"/>
                </a:lnTo>
                <a:lnTo>
                  <a:pt x="901" y="457"/>
                </a:lnTo>
                <a:lnTo>
                  <a:pt x="899" y="444"/>
                </a:lnTo>
                <a:lnTo>
                  <a:pt x="894" y="432"/>
                </a:lnTo>
                <a:lnTo>
                  <a:pt x="890" y="420"/>
                </a:lnTo>
                <a:lnTo>
                  <a:pt x="883" y="408"/>
                </a:lnTo>
                <a:lnTo>
                  <a:pt x="876" y="397"/>
                </a:lnTo>
                <a:lnTo>
                  <a:pt x="867" y="387"/>
                </a:lnTo>
                <a:lnTo>
                  <a:pt x="867" y="38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57" name="Freeform 57">
            <a:extLst>
              <a:ext uri="{FF2B5EF4-FFF2-40B4-BE49-F238E27FC236}">
                <a16:creationId xmlns:a16="http://schemas.microsoft.com/office/drawing/2014/main" id="{778DA1EF-D5E9-4D9A-83F9-5336DE011E7F}"/>
              </a:ext>
            </a:extLst>
          </p:cNvPr>
          <p:cNvSpPr>
            <a:spLocks/>
          </p:cNvSpPr>
          <p:nvPr/>
        </p:nvSpPr>
        <p:spPr bwMode="auto">
          <a:xfrm>
            <a:off x="1826856" y="4741595"/>
            <a:ext cx="1563" cy="1563"/>
          </a:xfrm>
          <a:custGeom>
            <a:avLst/>
            <a:gdLst>
              <a:gd name="T0" fmla="*/ 5 w 5"/>
              <a:gd name="T1" fmla="*/ 5 h 5"/>
              <a:gd name="T2" fmla="*/ 5 w 5"/>
              <a:gd name="T3" fmla="*/ 5 h 5"/>
              <a:gd name="T4" fmla="*/ 0 w 5"/>
              <a:gd name="T5" fmla="*/ 0 h 5"/>
              <a:gd name="T6" fmla="*/ 0 w 5"/>
              <a:gd name="T7" fmla="*/ 0 h 5"/>
              <a:gd name="T8" fmla="*/ 5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5"/>
                </a:lnTo>
                <a:lnTo>
                  <a:pt x="0" y="0"/>
                </a:lnTo>
                <a:lnTo>
                  <a:pt x="0" y="0"/>
                </a:lnTo>
                <a:lnTo>
                  <a:pt x="5" y="5"/>
                </a:lnTo>
                <a:lnTo>
                  <a:pt x="5" y="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58" name="Freeform 58">
            <a:extLst>
              <a:ext uri="{FF2B5EF4-FFF2-40B4-BE49-F238E27FC236}">
                <a16:creationId xmlns:a16="http://schemas.microsoft.com/office/drawing/2014/main" id="{650D738C-7233-445D-8D28-2944CE8603AE}"/>
              </a:ext>
            </a:extLst>
          </p:cNvPr>
          <p:cNvSpPr>
            <a:spLocks/>
          </p:cNvSpPr>
          <p:nvPr/>
        </p:nvSpPr>
        <p:spPr bwMode="auto">
          <a:xfrm>
            <a:off x="1825293" y="4740032"/>
            <a:ext cx="4689" cy="4689"/>
          </a:xfrm>
          <a:custGeom>
            <a:avLst/>
            <a:gdLst>
              <a:gd name="T0" fmla="*/ 15 w 15"/>
              <a:gd name="T1" fmla="*/ 16 h 16"/>
              <a:gd name="T2" fmla="*/ 15 w 15"/>
              <a:gd name="T3" fmla="*/ 16 h 16"/>
              <a:gd name="T4" fmla="*/ 0 w 15"/>
              <a:gd name="T5" fmla="*/ 0 h 16"/>
              <a:gd name="T6" fmla="*/ 0 w 15"/>
              <a:gd name="T7" fmla="*/ 0 h 16"/>
              <a:gd name="T8" fmla="*/ 15 w 15"/>
              <a:gd name="T9" fmla="*/ 16 h 16"/>
              <a:gd name="T10" fmla="*/ 15 w 15"/>
              <a:gd name="T11" fmla="*/ 16 h 16"/>
            </a:gdLst>
            <a:ahLst/>
            <a:cxnLst>
              <a:cxn ang="0">
                <a:pos x="T0" y="T1"/>
              </a:cxn>
              <a:cxn ang="0">
                <a:pos x="T2" y="T3"/>
              </a:cxn>
              <a:cxn ang="0">
                <a:pos x="T4" y="T5"/>
              </a:cxn>
              <a:cxn ang="0">
                <a:pos x="T6" y="T7"/>
              </a:cxn>
              <a:cxn ang="0">
                <a:pos x="T8" y="T9"/>
              </a:cxn>
              <a:cxn ang="0">
                <a:pos x="T10" y="T11"/>
              </a:cxn>
            </a:cxnLst>
            <a:rect l="0" t="0" r="r" b="b"/>
            <a:pathLst>
              <a:path w="15" h="16">
                <a:moveTo>
                  <a:pt x="15" y="16"/>
                </a:moveTo>
                <a:lnTo>
                  <a:pt x="15" y="16"/>
                </a:lnTo>
                <a:lnTo>
                  <a:pt x="0" y="0"/>
                </a:lnTo>
                <a:lnTo>
                  <a:pt x="0" y="0"/>
                </a:lnTo>
                <a:lnTo>
                  <a:pt x="15" y="16"/>
                </a:lnTo>
                <a:lnTo>
                  <a:pt x="1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59" name="Freeform 59">
            <a:extLst>
              <a:ext uri="{FF2B5EF4-FFF2-40B4-BE49-F238E27FC236}">
                <a16:creationId xmlns:a16="http://schemas.microsoft.com/office/drawing/2014/main" id="{35334C00-BC9B-4EDD-9853-12FE95D835B8}"/>
              </a:ext>
            </a:extLst>
          </p:cNvPr>
          <p:cNvSpPr>
            <a:spLocks/>
          </p:cNvSpPr>
          <p:nvPr/>
        </p:nvSpPr>
        <p:spPr bwMode="auto">
          <a:xfrm>
            <a:off x="1710422" y="4603280"/>
            <a:ext cx="234432" cy="278193"/>
          </a:xfrm>
          <a:custGeom>
            <a:avLst/>
            <a:gdLst>
              <a:gd name="T0" fmla="*/ 353 w 902"/>
              <a:gd name="T1" fmla="*/ 1027 h 1070"/>
              <a:gd name="T2" fmla="*/ 363 w 902"/>
              <a:gd name="T3" fmla="*/ 1037 h 1070"/>
              <a:gd name="T4" fmla="*/ 386 w 902"/>
              <a:gd name="T5" fmla="*/ 1054 h 1070"/>
              <a:gd name="T6" fmla="*/ 410 w 902"/>
              <a:gd name="T7" fmla="*/ 1064 h 1070"/>
              <a:gd name="T8" fmla="*/ 437 w 902"/>
              <a:gd name="T9" fmla="*/ 1069 h 1070"/>
              <a:gd name="T10" fmla="*/ 465 w 902"/>
              <a:gd name="T11" fmla="*/ 1069 h 1070"/>
              <a:gd name="T12" fmla="*/ 492 w 902"/>
              <a:gd name="T13" fmla="*/ 1064 h 1070"/>
              <a:gd name="T14" fmla="*/ 516 w 902"/>
              <a:gd name="T15" fmla="*/ 1054 h 1070"/>
              <a:gd name="T16" fmla="*/ 539 w 902"/>
              <a:gd name="T17" fmla="*/ 1037 h 1070"/>
              <a:gd name="T18" fmla="*/ 867 w 902"/>
              <a:gd name="T19" fmla="*/ 682 h 1070"/>
              <a:gd name="T20" fmla="*/ 876 w 902"/>
              <a:gd name="T21" fmla="*/ 672 h 1070"/>
              <a:gd name="T22" fmla="*/ 890 w 902"/>
              <a:gd name="T23" fmla="*/ 650 h 1070"/>
              <a:gd name="T24" fmla="*/ 898 w 902"/>
              <a:gd name="T25" fmla="*/ 625 h 1070"/>
              <a:gd name="T26" fmla="*/ 902 w 902"/>
              <a:gd name="T27" fmla="*/ 599 h 1070"/>
              <a:gd name="T28" fmla="*/ 901 w 902"/>
              <a:gd name="T29" fmla="*/ 573 h 1070"/>
              <a:gd name="T30" fmla="*/ 895 w 902"/>
              <a:gd name="T31" fmla="*/ 549 h 1070"/>
              <a:gd name="T32" fmla="*/ 884 w 902"/>
              <a:gd name="T33" fmla="*/ 524 h 1070"/>
              <a:gd name="T34" fmla="*/ 869 w 902"/>
              <a:gd name="T35" fmla="*/ 503 h 1070"/>
              <a:gd name="T36" fmla="*/ 860 w 902"/>
              <a:gd name="T37" fmla="*/ 493 h 1070"/>
              <a:gd name="T38" fmla="*/ 837 w 902"/>
              <a:gd name="T39" fmla="*/ 478 h 1070"/>
              <a:gd name="T40" fmla="*/ 814 w 902"/>
              <a:gd name="T41" fmla="*/ 467 h 1070"/>
              <a:gd name="T42" fmla="*/ 789 w 902"/>
              <a:gd name="T43" fmla="*/ 460 h 1070"/>
              <a:gd name="T44" fmla="*/ 763 w 902"/>
              <a:gd name="T45" fmla="*/ 459 h 1070"/>
              <a:gd name="T46" fmla="*/ 737 w 902"/>
              <a:gd name="T47" fmla="*/ 462 h 1070"/>
              <a:gd name="T48" fmla="*/ 713 w 902"/>
              <a:gd name="T49" fmla="*/ 470 h 1070"/>
              <a:gd name="T50" fmla="*/ 691 w 902"/>
              <a:gd name="T51" fmla="*/ 483 h 1070"/>
              <a:gd name="T52" fmla="*/ 670 w 902"/>
              <a:gd name="T53" fmla="*/ 501 h 1070"/>
              <a:gd name="T54" fmla="*/ 585 w 902"/>
              <a:gd name="T55" fmla="*/ 133 h 1070"/>
              <a:gd name="T56" fmla="*/ 584 w 902"/>
              <a:gd name="T57" fmla="*/ 120 h 1070"/>
              <a:gd name="T58" fmla="*/ 578 w 902"/>
              <a:gd name="T59" fmla="*/ 94 h 1070"/>
              <a:gd name="T60" fmla="*/ 568 w 902"/>
              <a:gd name="T61" fmla="*/ 70 h 1070"/>
              <a:gd name="T62" fmla="*/ 554 w 902"/>
              <a:gd name="T63" fmla="*/ 48 h 1070"/>
              <a:gd name="T64" fmla="*/ 536 w 902"/>
              <a:gd name="T65" fmla="*/ 31 h 1070"/>
              <a:gd name="T66" fmla="*/ 515 w 902"/>
              <a:gd name="T67" fmla="*/ 16 h 1070"/>
              <a:gd name="T68" fmla="*/ 490 w 902"/>
              <a:gd name="T69" fmla="*/ 5 h 1070"/>
              <a:gd name="T70" fmla="*/ 465 w 902"/>
              <a:gd name="T71" fmla="*/ 1 h 1070"/>
              <a:gd name="T72" fmla="*/ 452 w 902"/>
              <a:gd name="T73" fmla="*/ 0 h 1070"/>
              <a:gd name="T74" fmla="*/ 424 w 902"/>
              <a:gd name="T75" fmla="*/ 2 h 1070"/>
              <a:gd name="T76" fmla="*/ 399 w 902"/>
              <a:gd name="T77" fmla="*/ 10 h 1070"/>
              <a:gd name="T78" fmla="*/ 377 w 902"/>
              <a:gd name="T79" fmla="*/ 23 h 1070"/>
              <a:gd name="T80" fmla="*/ 357 w 902"/>
              <a:gd name="T81" fmla="*/ 38 h 1070"/>
              <a:gd name="T82" fmla="*/ 340 w 902"/>
              <a:gd name="T83" fmla="*/ 58 h 1070"/>
              <a:gd name="T84" fmla="*/ 328 w 902"/>
              <a:gd name="T85" fmla="*/ 82 h 1070"/>
              <a:gd name="T86" fmla="*/ 320 w 902"/>
              <a:gd name="T87" fmla="*/ 106 h 1070"/>
              <a:gd name="T88" fmla="*/ 317 w 902"/>
              <a:gd name="T89" fmla="*/ 133 h 1070"/>
              <a:gd name="T90" fmla="*/ 232 w 902"/>
              <a:gd name="T91" fmla="*/ 501 h 1070"/>
              <a:gd name="T92" fmla="*/ 222 w 902"/>
              <a:gd name="T93" fmla="*/ 492 h 1070"/>
              <a:gd name="T94" fmla="*/ 200 w 902"/>
              <a:gd name="T95" fmla="*/ 477 h 1070"/>
              <a:gd name="T96" fmla="*/ 177 w 902"/>
              <a:gd name="T97" fmla="*/ 465 h 1070"/>
              <a:gd name="T98" fmla="*/ 151 w 902"/>
              <a:gd name="T99" fmla="*/ 460 h 1070"/>
              <a:gd name="T100" fmla="*/ 126 w 902"/>
              <a:gd name="T101" fmla="*/ 459 h 1070"/>
              <a:gd name="T102" fmla="*/ 100 w 902"/>
              <a:gd name="T103" fmla="*/ 462 h 1070"/>
              <a:gd name="T104" fmla="*/ 76 w 902"/>
              <a:gd name="T105" fmla="*/ 471 h 1070"/>
              <a:gd name="T106" fmla="*/ 53 w 902"/>
              <a:gd name="T107" fmla="*/ 484 h 1070"/>
              <a:gd name="T108" fmla="*/ 42 w 902"/>
              <a:gd name="T109" fmla="*/ 493 h 1070"/>
              <a:gd name="T110" fmla="*/ 25 w 902"/>
              <a:gd name="T111" fmla="*/ 513 h 1070"/>
              <a:gd name="T112" fmla="*/ 12 w 902"/>
              <a:gd name="T113" fmla="*/ 537 h 1070"/>
              <a:gd name="T114" fmla="*/ 3 w 902"/>
              <a:gd name="T115" fmla="*/ 561 h 1070"/>
              <a:gd name="T116" fmla="*/ 0 w 902"/>
              <a:gd name="T117" fmla="*/ 587 h 1070"/>
              <a:gd name="T118" fmla="*/ 1 w 902"/>
              <a:gd name="T119" fmla="*/ 612 h 1070"/>
              <a:gd name="T120" fmla="*/ 8 w 902"/>
              <a:gd name="T121" fmla="*/ 638 h 1070"/>
              <a:gd name="T122" fmla="*/ 19 w 902"/>
              <a:gd name="T123" fmla="*/ 661 h 1070"/>
              <a:gd name="T124" fmla="*/ 35 w 902"/>
              <a:gd name="T125" fmla="*/ 68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70">
                <a:moveTo>
                  <a:pt x="35" y="682"/>
                </a:moveTo>
                <a:lnTo>
                  <a:pt x="353" y="1027"/>
                </a:lnTo>
                <a:lnTo>
                  <a:pt x="353" y="1027"/>
                </a:lnTo>
                <a:lnTo>
                  <a:pt x="363" y="1037"/>
                </a:lnTo>
                <a:lnTo>
                  <a:pt x="374" y="1046"/>
                </a:lnTo>
                <a:lnTo>
                  <a:pt x="386" y="1054"/>
                </a:lnTo>
                <a:lnTo>
                  <a:pt x="398" y="1059"/>
                </a:lnTo>
                <a:lnTo>
                  <a:pt x="410" y="1064"/>
                </a:lnTo>
                <a:lnTo>
                  <a:pt x="424" y="1067"/>
                </a:lnTo>
                <a:lnTo>
                  <a:pt x="437" y="1069"/>
                </a:lnTo>
                <a:lnTo>
                  <a:pt x="452" y="1070"/>
                </a:lnTo>
                <a:lnTo>
                  <a:pt x="465" y="1069"/>
                </a:lnTo>
                <a:lnTo>
                  <a:pt x="478" y="1067"/>
                </a:lnTo>
                <a:lnTo>
                  <a:pt x="492" y="1064"/>
                </a:lnTo>
                <a:lnTo>
                  <a:pt x="504" y="1059"/>
                </a:lnTo>
                <a:lnTo>
                  <a:pt x="516" y="1054"/>
                </a:lnTo>
                <a:lnTo>
                  <a:pt x="528" y="1046"/>
                </a:lnTo>
                <a:lnTo>
                  <a:pt x="539" y="1037"/>
                </a:lnTo>
                <a:lnTo>
                  <a:pt x="549" y="1027"/>
                </a:lnTo>
                <a:lnTo>
                  <a:pt x="867" y="682"/>
                </a:lnTo>
                <a:lnTo>
                  <a:pt x="867" y="682"/>
                </a:lnTo>
                <a:lnTo>
                  <a:pt x="876" y="672"/>
                </a:lnTo>
                <a:lnTo>
                  <a:pt x="883" y="661"/>
                </a:lnTo>
                <a:lnTo>
                  <a:pt x="890" y="650"/>
                </a:lnTo>
                <a:lnTo>
                  <a:pt x="894" y="638"/>
                </a:lnTo>
                <a:lnTo>
                  <a:pt x="898" y="625"/>
                </a:lnTo>
                <a:lnTo>
                  <a:pt x="901" y="612"/>
                </a:lnTo>
                <a:lnTo>
                  <a:pt x="902" y="599"/>
                </a:lnTo>
                <a:lnTo>
                  <a:pt x="902" y="587"/>
                </a:lnTo>
                <a:lnTo>
                  <a:pt x="901" y="573"/>
                </a:lnTo>
                <a:lnTo>
                  <a:pt x="899" y="561"/>
                </a:lnTo>
                <a:lnTo>
                  <a:pt x="895" y="549"/>
                </a:lnTo>
                <a:lnTo>
                  <a:pt x="890" y="537"/>
                </a:lnTo>
                <a:lnTo>
                  <a:pt x="884" y="524"/>
                </a:lnTo>
                <a:lnTo>
                  <a:pt x="877" y="513"/>
                </a:lnTo>
                <a:lnTo>
                  <a:pt x="869" y="503"/>
                </a:lnTo>
                <a:lnTo>
                  <a:pt x="860" y="493"/>
                </a:lnTo>
                <a:lnTo>
                  <a:pt x="860" y="493"/>
                </a:lnTo>
                <a:lnTo>
                  <a:pt x="849" y="484"/>
                </a:lnTo>
                <a:lnTo>
                  <a:pt x="837" y="478"/>
                </a:lnTo>
                <a:lnTo>
                  <a:pt x="826" y="471"/>
                </a:lnTo>
                <a:lnTo>
                  <a:pt x="814" y="467"/>
                </a:lnTo>
                <a:lnTo>
                  <a:pt x="802" y="462"/>
                </a:lnTo>
                <a:lnTo>
                  <a:pt x="789" y="460"/>
                </a:lnTo>
                <a:lnTo>
                  <a:pt x="776" y="459"/>
                </a:lnTo>
                <a:lnTo>
                  <a:pt x="763" y="459"/>
                </a:lnTo>
                <a:lnTo>
                  <a:pt x="751" y="460"/>
                </a:lnTo>
                <a:lnTo>
                  <a:pt x="737" y="462"/>
                </a:lnTo>
                <a:lnTo>
                  <a:pt x="725" y="465"/>
                </a:lnTo>
                <a:lnTo>
                  <a:pt x="713" y="470"/>
                </a:lnTo>
                <a:lnTo>
                  <a:pt x="701" y="477"/>
                </a:lnTo>
                <a:lnTo>
                  <a:pt x="691" y="483"/>
                </a:lnTo>
                <a:lnTo>
                  <a:pt x="680" y="492"/>
                </a:lnTo>
                <a:lnTo>
                  <a:pt x="670" y="501"/>
                </a:lnTo>
                <a:lnTo>
                  <a:pt x="585" y="593"/>
                </a:lnTo>
                <a:lnTo>
                  <a:pt x="585" y="133"/>
                </a:lnTo>
                <a:lnTo>
                  <a:pt x="585" y="133"/>
                </a:lnTo>
                <a:lnTo>
                  <a:pt x="584" y="120"/>
                </a:lnTo>
                <a:lnTo>
                  <a:pt x="582" y="106"/>
                </a:lnTo>
                <a:lnTo>
                  <a:pt x="578" y="94"/>
                </a:lnTo>
                <a:lnTo>
                  <a:pt x="574" y="82"/>
                </a:lnTo>
                <a:lnTo>
                  <a:pt x="568" y="70"/>
                </a:lnTo>
                <a:lnTo>
                  <a:pt x="562" y="58"/>
                </a:lnTo>
                <a:lnTo>
                  <a:pt x="554" y="48"/>
                </a:lnTo>
                <a:lnTo>
                  <a:pt x="545" y="38"/>
                </a:lnTo>
                <a:lnTo>
                  <a:pt x="536" y="31"/>
                </a:lnTo>
                <a:lnTo>
                  <a:pt x="525" y="23"/>
                </a:lnTo>
                <a:lnTo>
                  <a:pt x="515" y="16"/>
                </a:lnTo>
                <a:lnTo>
                  <a:pt x="503" y="10"/>
                </a:lnTo>
                <a:lnTo>
                  <a:pt x="490" y="5"/>
                </a:lnTo>
                <a:lnTo>
                  <a:pt x="478" y="2"/>
                </a:lnTo>
                <a:lnTo>
                  <a:pt x="465" y="1"/>
                </a:lnTo>
                <a:lnTo>
                  <a:pt x="452" y="0"/>
                </a:lnTo>
                <a:lnTo>
                  <a:pt x="452" y="0"/>
                </a:lnTo>
                <a:lnTo>
                  <a:pt x="437" y="1"/>
                </a:lnTo>
                <a:lnTo>
                  <a:pt x="424" y="2"/>
                </a:lnTo>
                <a:lnTo>
                  <a:pt x="412" y="5"/>
                </a:lnTo>
                <a:lnTo>
                  <a:pt x="399" y="10"/>
                </a:lnTo>
                <a:lnTo>
                  <a:pt x="387" y="16"/>
                </a:lnTo>
                <a:lnTo>
                  <a:pt x="377" y="23"/>
                </a:lnTo>
                <a:lnTo>
                  <a:pt x="366" y="31"/>
                </a:lnTo>
                <a:lnTo>
                  <a:pt x="357" y="38"/>
                </a:lnTo>
                <a:lnTo>
                  <a:pt x="348" y="48"/>
                </a:lnTo>
                <a:lnTo>
                  <a:pt x="340" y="58"/>
                </a:lnTo>
                <a:lnTo>
                  <a:pt x="334" y="70"/>
                </a:lnTo>
                <a:lnTo>
                  <a:pt x="328" y="82"/>
                </a:lnTo>
                <a:lnTo>
                  <a:pt x="324" y="94"/>
                </a:lnTo>
                <a:lnTo>
                  <a:pt x="320" y="106"/>
                </a:lnTo>
                <a:lnTo>
                  <a:pt x="318" y="120"/>
                </a:lnTo>
                <a:lnTo>
                  <a:pt x="317" y="133"/>
                </a:lnTo>
                <a:lnTo>
                  <a:pt x="317" y="593"/>
                </a:lnTo>
                <a:lnTo>
                  <a:pt x="232" y="501"/>
                </a:lnTo>
                <a:lnTo>
                  <a:pt x="232" y="501"/>
                </a:lnTo>
                <a:lnTo>
                  <a:pt x="222" y="492"/>
                </a:lnTo>
                <a:lnTo>
                  <a:pt x="211" y="483"/>
                </a:lnTo>
                <a:lnTo>
                  <a:pt x="200" y="477"/>
                </a:lnTo>
                <a:lnTo>
                  <a:pt x="189" y="470"/>
                </a:lnTo>
                <a:lnTo>
                  <a:pt x="177" y="465"/>
                </a:lnTo>
                <a:lnTo>
                  <a:pt x="165" y="462"/>
                </a:lnTo>
                <a:lnTo>
                  <a:pt x="151" y="460"/>
                </a:lnTo>
                <a:lnTo>
                  <a:pt x="139" y="459"/>
                </a:lnTo>
                <a:lnTo>
                  <a:pt x="126" y="459"/>
                </a:lnTo>
                <a:lnTo>
                  <a:pt x="113" y="460"/>
                </a:lnTo>
                <a:lnTo>
                  <a:pt x="100" y="462"/>
                </a:lnTo>
                <a:lnTo>
                  <a:pt x="88" y="467"/>
                </a:lnTo>
                <a:lnTo>
                  <a:pt x="76" y="471"/>
                </a:lnTo>
                <a:lnTo>
                  <a:pt x="65" y="478"/>
                </a:lnTo>
                <a:lnTo>
                  <a:pt x="53" y="484"/>
                </a:lnTo>
                <a:lnTo>
                  <a:pt x="42" y="493"/>
                </a:lnTo>
                <a:lnTo>
                  <a:pt x="42" y="493"/>
                </a:lnTo>
                <a:lnTo>
                  <a:pt x="33" y="503"/>
                </a:lnTo>
                <a:lnTo>
                  <a:pt x="25" y="513"/>
                </a:lnTo>
                <a:lnTo>
                  <a:pt x="18" y="524"/>
                </a:lnTo>
                <a:lnTo>
                  <a:pt x="12" y="537"/>
                </a:lnTo>
                <a:lnTo>
                  <a:pt x="7" y="549"/>
                </a:lnTo>
                <a:lnTo>
                  <a:pt x="3" y="561"/>
                </a:lnTo>
                <a:lnTo>
                  <a:pt x="1" y="573"/>
                </a:lnTo>
                <a:lnTo>
                  <a:pt x="0" y="587"/>
                </a:lnTo>
                <a:lnTo>
                  <a:pt x="0" y="599"/>
                </a:lnTo>
                <a:lnTo>
                  <a:pt x="1" y="612"/>
                </a:lnTo>
                <a:lnTo>
                  <a:pt x="4" y="625"/>
                </a:lnTo>
                <a:lnTo>
                  <a:pt x="8" y="638"/>
                </a:lnTo>
                <a:lnTo>
                  <a:pt x="12" y="649"/>
                </a:lnTo>
                <a:lnTo>
                  <a:pt x="19" y="661"/>
                </a:lnTo>
                <a:lnTo>
                  <a:pt x="27" y="672"/>
                </a:lnTo>
                <a:lnTo>
                  <a:pt x="35" y="682"/>
                </a:lnTo>
                <a:lnTo>
                  <a:pt x="35" y="6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60" name="Freeform 64">
            <a:extLst>
              <a:ext uri="{FF2B5EF4-FFF2-40B4-BE49-F238E27FC236}">
                <a16:creationId xmlns:a16="http://schemas.microsoft.com/office/drawing/2014/main" id="{410F805D-4352-4E44-8D1B-08A6B4AF6738}"/>
              </a:ext>
            </a:extLst>
          </p:cNvPr>
          <p:cNvSpPr>
            <a:spLocks/>
          </p:cNvSpPr>
          <p:nvPr/>
        </p:nvSpPr>
        <p:spPr bwMode="auto">
          <a:xfrm>
            <a:off x="2348973" y="4707993"/>
            <a:ext cx="268816" cy="68767"/>
          </a:xfrm>
          <a:custGeom>
            <a:avLst/>
            <a:gdLst>
              <a:gd name="T0" fmla="*/ 132 w 1032"/>
              <a:gd name="T1" fmla="*/ 264 h 264"/>
              <a:gd name="T2" fmla="*/ 118 w 1032"/>
              <a:gd name="T3" fmla="*/ 263 h 264"/>
              <a:gd name="T4" fmla="*/ 93 w 1032"/>
              <a:gd name="T5" fmla="*/ 258 h 264"/>
              <a:gd name="T6" fmla="*/ 69 w 1032"/>
              <a:gd name="T7" fmla="*/ 248 h 264"/>
              <a:gd name="T8" fmla="*/ 48 w 1032"/>
              <a:gd name="T9" fmla="*/ 234 h 264"/>
              <a:gd name="T10" fmla="*/ 30 w 1032"/>
              <a:gd name="T11" fmla="*/ 216 h 264"/>
              <a:gd name="T12" fmla="*/ 16 w 1032"/>
              <a:gd name="T13" fmla="*/ 195 h 264"/>
              <a:gd name="T14" fmla="*/ 6 w 1032"/>
              <a:gd name="T15" fmla="*/ 171 h 264"/>
              <a:gd name="T16" fmla="*/ 0 w 1032"/>
              <a:gd name="T17" fmla="*/ 145 h 264"/>
              <a:gd name="T18" fmla="*/ 0 w 1032"/>
              <a:gd name="T19" fmla="*/ 131 h 264"/>
              <a:gd name="T20" fmla="*/ 0 w 1032"/>
              <a:gd name="T21" fmla="*/ 118 h 264"/>
              <a:gd name="T22" fmla="*/ 6 w 1032"/>
              <a:gd name="T23" fmla="*/ 93 h 264"/>
              <a:gd name="T24" fmla="*/ 16 w 1032"/>
              <a:gd name="T25" fmla="*/ 69 h 264"/>
              <a:gd name="T26" fmla="*/ 30 w 1032"/>
              <a:gd name="T27" fmla="*/ 48 h 264"/>
              <a:gd name="T28" fmla="*/ 48 w 1032"/>
              <a:gd name="T29" fmla="*/ 30 h 264"/>
              <a:gd name="T30" fmla="*/ 69 w 1032"/>
              <a:gd name="T31" fmla="*/ 16 h 264"/>
              <a:gd name="T32" fmla="*/ 93 w 1032"/>
              <a:gd name="T33" fmla="*/ 6 h 264"/>
              <a:gd name="T34" fmla="*/ 118 w 1032"/>
              <a:gd name="T35" fmla="*/ 0 h 264"/>
              <a:gd name="T36" fmla="*/ 901 w 1032"/>
              <a:gd name="T37" fmla="*/ 0 h 264"/>
              <a:gd name="T38" fmla="*/ 915 w 1032"/>
              <a:gd name="T39" fmla="*/ 0 h 264"/>
              <a:gd name="T40" fmla="*/ 940 w 1032"/>
              <a:gd name="T41" fmla="*/ 6 h 264"/>
              <a:gd name="T42" fmla="*/ 964 w 1032"/>
              <a:gd name="T43" fmla="*/ 16 h 264"/>
              <a:gd name="T44" fmla="*/ 985 w 1032"/>
              <a:gd name="T45" fmla="*/ 30 h 264"/>
              <a:gd name="T46" fmla="*/ 1002 w 1032"/>
              <a:gd name="T47" fmla="*/ 48 h 264"/>
              <a:gd name="T48" fmla="*/ 1017 w 1032"/>
              <a:gd name="T49" fmla="*/ 69 h 264"/>
              <a:gd name="T50" fmla="*/ 1027 w 1032"/>
              <a:gd name="T51" fmla="*/ 93 h 264"/>
              <a:gd name="T52" fmla="*/ 1032 w 1032"/>
              <a:gd name="T53" fmla="*/ 118 h 264"/>
              <a:gd name="T54" fmla="*/ 1032 w 1032"/>
              <a:gd name="T55" fmla="*/ 131 h 264"/>
              <a:gd name="T56" fmla="*/ 1032 w 1032"/>
              <a:gd name="T57" fmla="*/ 145 h 264"/>
              <a:gd name="T58" fmla="*/ 1027 w 1032"/>
              <a:gd name="T59" fmla="*/ 171 h 264"/>
              <a:gd name="T60" fmla="*/ 1017 w 1032"/>
              <a:gd name="T61" fmla="*/ 195 h 264"/>
              <a:gd name="T62" fmla="*/ 1002 w 1032"/>
              <a:gd name="T63" fmla="*/ 216 h 264"/>
              <a:gd name="T64" fmla="*/ 985 w 1032"/>
              <a:gd name="T65" fmla="*/ 234 h 264"/>
              <a:gd name="T66" fmla="*/ 964 w 1032"/>
              <a:gd name="T67" fmla="*/ 248 h 264"/>
              <a:gd name="T68" fmla="*/ 940 w 1032"/>
              <a:gd name="T69" fmla="*/ 258 h 264"/>
              <a:gd name="T70" fmla="*/ 915 w 1032"/>
              <a:gd name="T71" fmla="*/ 263 h 264"/>
              <a:gd name="T72" fmla="*/ 901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1" y="264"/>
                </a:moveTo>
                <a:lnTo>
                  <a:pt x="132" y="264"/>
                </a:lnTo>
                <a:lnTo>
                  <a:pt x="132" y="264"/>
                </a:lnTo>
                <a:lnTo>
                  <a:pt x="118" y="263"/>
                </a:lnTo>
                <a:lnTo>
                  <a:pt x="105" y="262"/>
                </a:lnTo>
                <a:lnTo>
                  <a:pt x="93" y="258"/>
                </a:lnTo>
                <a:lnTo>
                  <a:pt x="81" y="254"/>
                </a:lnTo>
                <a:lnTo>
                  <a:pt x="69" y="248"/>
                </a:lnTo>
                <a:lnTo>
                  <a:pt x="58" y="242"/>
                </a:lnTo>
                <a:lnTo>
                  <a:pt x="48" y="234"/>
                </a:lnTo>
                <a:lnTo>
                  <a:pt x="38" y="225"/>
                </a:lnTo>
                <a:lnTo>
                  <a:pt x="30" y="216"/>
                </a:lnTo>
                <a:lnTo>
                  <a:pt x="23" y="206"/>
                </a:lnTo>
                <a:lnTo>
                  <a:pt x="16" y="195"/>
                </a:lnTo>
                <a:lnTo>
                  <a:pt x="10" y="184"/>
                </a:lnTo>
                <a:lnTo>
                  <a:pt x="6" y="171"/>
                </a:lnTo>
                <a:lnTo>
                  <a:pt x="3" y="158"/>
                </a:lnTo>
                <a:lnTo>
                  <a:pt x="0" y="145"/>
                </a:lnTo>
                <a:lnTo>
                  <a:pt x="0" y="131"/>
                </a:lnTo>
                <a:lnTo>
                  <a:pt x="0" y="131"/>
                </a:lnTo>
                <a:lnTo>
                  <a:pt x="0" y="131"/>
                </a:lnTo>
                <a:lnTo>
                  <a:pt x="0" y="118"/>
                </a:lnTo>
                <a:lnTo>
                  <a:pt x="3" y="105"/>
                </a:lnTo>
                <a:lnTo>
                  <a:pt x="6" y="93"/>
                </a:lnTo>
                <a:lnTo>
                  <a:pt x="10" y="80"/>
                </a:lnTo>
                <a:lnTo>
                  <a:pt x="16" y="69"/>
                </a:lnTo>
                <a:lnTo>
                  <a:pt x="23" y="58"/>
                </a:lnTo>
                <a:lnTo>
                  <a:pt x="30" y="48"/>
                </a:lnTo>
                <a:lnTo>
                  <a:pt x="38" y="38"/>
                </a:lnTo>
                <a:lnTo>
                  <a:pt x="48" y="30"/>
                </a:lnTo>
                <a:lnTo>
                  <a:pt x="58" y="22"/>
                </a:lnTo>
                <a:lnTo>
                  <a:pt x="69" y="16"/>
                </a:lnTo>
                <a:lnTo>
                  <a:pt x="81" y="10"/>
                </a:lnTo>
                <a:lnTo>
                  <a:pt x="93" y="6"/>
                </a:lnTo>
                <a:lnTo>
                  <a:pt x="105" y="2"/>
                </a:lnTo>
                <a:lnTo>
                  <a:pt x="118" y="0"/>
                </a:lnTo>
                <a:lnTo>
                  <a:pt x="132" y="0"/>
                </a:lnTo>
                <a:lnTo>
                  <a:pt x="901" y="0"/>
                </a:lnTo>
                <a:lnTo>
                  <a:pt x="901" y="0"/>
                </a:lnTo>
                <a:lnTo>
                  <a:pt x="915" y="0"/>
                </a:lnTo>
                <a:lnTo>
                  <a:pt x="928" y="2"/>
                </a:lnTo>
                <a:lnTo>
                  <a:pt x="940" y="6"/>
                </a:lnTo>
                <a:lnTo>
                  <a:pt x="952" y="10"/>
                </a:lnTo>
                <a:lnTo>
                  <a:pt x="964" y="16"/>
                </a:lnTo>
                <a:lnTo>
                  <a:pt x="975" y="22"/>
                </a:lnTo>
                <a:lnTo>
                  <a:pt x="985" y="30"/>
                </a:lnTo>
                <a:lnTo>
                  <a:pt x="995" y="38"/>
                </a:lnTo>
                <a:lnTo>
                  <a:pt x="1002" y="48"/>
                </a:lnTo>
                <a:lnTo>
                  <a:pt x="1010" y="58"/>
                </a:lnTo>
                <a:lnTo>
                  <a:pt x="1017" y="69"/>
                </a:lnTo>
                <a:lnTo>
                  <a:pt x="1022" y="80"/>
                </a:lnTo>
                <a:lnTo>
                  <a:pt x="1027" y="93"/>
                </a:lnTo>
                <a:lnTo>
                  <a:pt x="1030" y="105"/>
                </a:lnTo>
                <a:lnTo>
                  <a:pt x="1032" y="118"/>
                </a:lnTo>
                <a:lnTo>
                  <a:pt x="1032" y="131"/>
                </a:lnTo>
                <a:lnTo>
                  <a:pt x="1032" y="131"/>
                </a:lnTo>
                <a:lnTo>
                  <a:pt x="1032" y="131"/>
                </a:lnTo>
                <a:lnTo>
                  <a:pt x="1032" y="145"/>
                </a:lnTo>
                <a:lnTo>
                  <a:pt x="1030" y="158"/>
                </a:lnTo>
                <a:lnTo>
                  <a:pt x="1027" y="171"/>
                </a:lnTo>
                <a:lnTo>
                  <a:pt x="1022" y="184"/>
                </a:lnTo>
                <a:lnTo>
                  <a:pt x="1017" y="195"/>
                </a:lnTo>
                <a:lnTo>
                  <a:pt x="1010" y="206"/>
                </a:lnTo>
                <a:lnTo>
                  <a:pt x="1002" y="216"/>
                </a:lnTo>
                <a:lnTo>
                  <a:pt x="995" y="225"/>
                </a:lnTo>
                <a:lnTo>
                  <a:pt x="985" y="234"/>
                </a:lnTo>
                <a:lnTo>
                  <a:pt x="975" y="242"/>
                </a:lnTo>
                <a:lnTo>
                  <a:pt x="964" y="248"/>
                </a:lnTo>
                <a:lnTo>
                  <a:pt x="952" y="254"/>
                </a:lnTo>
                <a:lnTo>
                  <a:pt x="940" y="258"/>
                </a:lnTo>
                <a:lnTo>
                  <a:pt x="928" y="262"/>
                </a:lnTo>
                <a:lnTo>
                  <a:pt x="915" y="263"/>
                </a:lnTo>
                <a:lnTo>
                  <a:pt x="901" y="264"/>
                </a:lnTo>
                <a:lnTo>
                  <a:pt x="901" y="2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361" name="Gruppieren 360">
            <a:extLst>
              <a:ext uri="{FF2B5EF4-FFF2-40B4-BE49-F238E27FC236}">
                <a16:creationId xmlns:a16="http://schemas.microsoft.com/office/drawing/2014/main" id="{E0301897-4EB8-412C-BF86-DE216649E638}"/>
              </a:ext>
            </a:extLst>
          </p:cNvPr>
          <p:cNvGrpSpPr/>
          <p:nvPr/>
        </p:nvGrpSpPr>
        <p:grpSpPr>
          <a:xfrm>
            <a:off x="3004717" y="4607969"/>
            <a:ext cx="268816" cy="268816"/>
            <a:chOff x="3036000" y="3905002"/>
            <a:chExt cx="268816" cy="268816"/>
          </a:xfrm>
          <a:solidFill>
            <a:schemeClr val="bg1"/>
          </a:solidFill>
        </p:grpSpPr>
        <p:sp>
          <p:nvSpPr>
            <p:cNvPr id="362" name="Freeform 69">
              <a:extLst>
                <a:ext uri="{FF2B5EF4-FFF2-40B4-BE49-F238E27FC236}">
                  <a16:creationId xmlns:a16="http://schemas.microsoft.com/office/drawing/2014/main" id="{9C2F513A-81C8-451C-A377-26680ECEAF6E}"/>
                </a:ext>
              </a:extLst>
            </p:cNvPr>
            <p:cNvSpPr>
              <a:spLocks/>
            </p:cNvSpPr>
            <p:nvPr/>
          </p:nvSpPr>
          <p:spPr bwMode="auto">
            <a:xfrm>
              <a:off x="3036000" y="4005026"/>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3 h 264"/>
                <a:gd name="T20" fmla="*/ 0 w 1032"/>
                <a:gd name="T21" fmla="*/ 119 h 264"/>
                <a:gd name="T22" fmla="*/ 5 w 1032"/>
                <a:gd name="T23" fmla="*/ 93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1 h 264"/>
                <a:gd name="T36" fmla="*/ 900 w 1032"/>
                <a:gd name="T37" fmla="*/ 0 h 264"/>
                <a:gd name="T38" fmla="*/ 914 w 1032"/>
                <a:gd name="T39" fmla="*/ 1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3 h 264"/>
                <a:gd name="T52" fmla="*/ 1032 w 1032"/>
                <a:gd name="T53" fmla="*/ 119 h 264"/>
                <a:gd name="T54" fmla="*/ 1032 w 1032"/>
                <a:gd name="T55" fmla="*/ 133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900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0" y="264"/>
                  </a:moveTo>
                  <a:lnTo>
                    <a:pt x="131" y="264"/>
                  </a:lnTo>
                  <a:lnTo>
                    <a:pt x="131" y="264"/>
                  </a:lnTo>
                  <a:lnTo>
                    <a:pt x="117" y="264"/>
                  </a:lnTo>
                  <a:lnTo>
                    <a:pt x="104" y="262"/>
                  </a:lnTo>
                  <a:lnTo>
                    <a:pt x="92" y="258"/>
                  </a:lnTo>
                  <a:lnTo>
                    <a:pt x="80" y="254"/>
                  </a:lnTo>
                  <a:lnTo>
                    <a:pt x="68" y="248"/>
                  </a:lnTo>
                  <a:lnTo>
                    <a:pt x="57" y="242"/>
                  </a:lnTo>
                  <a:lnTo>
                    <a:pt x="47" y="234"/>
                  </a:lnTo>
                  <a:lnTo>
                    <a:pt x="37" y="226"/>
                  </a:lnTo>
                  <a:lnTo>
                    <a:pt x="30" y="216"/>
                  </a:lnTo>
                  <a:lnTo>
                    <a:pt x="22" y="206"/>
                  </a:lnTo>
                  <a:lnTo>
                    <a:pt x="15" y="195"/>
                  </a:lnTo>
                  <a:lnTo>
                    <a:pt x="10" y="184"/>
                  </a:lnTo>
                  <a:lnTo>
                    <a:pt x="5" y="171"/>
                  </a:lnTo>
                  <a:lnTo>
                    <a:pt x="2" y="159"/>
                  </a:lnTo>
                  <a:lnTo>
                    <a:pt x="0" y="146"/>
                  </a:lnTo>
                  <a:lnTo>
                    <a:pt x="0" y="133"/>
                  </a:lnTo>
                  <a:lnTo>
                    <a:pt x="0" y="133"/>
                  </a:lnTo>
                  <a:lnTo>
                    <a:pt x="0" y="133"/>
                  </a:lnTo>
                  <a:lnTo>
                    <a:pt x="0" y="119"/>
                  </a:lnTo>
                  <a:lnTo>
                    <a:pt x="2" y="106"/>
                  </a:lnTo>
                  <a:lnTo>
                    <a:pt x="5" y="93"/>
                  </a:lnTo>
                  <a:lnTo>
                    <a:pt x="10" y="80"/>
                  </a:lnTo>
                  <a:lnTo>
                    <a:pt x="15" y="69"/>
                  </a:lnTo>
                  <a:lnTo>
                    <a:pt x="22" y="58"/>
                  </a:lnTo>
                  <a:lnTo>
                    <a:pt x="30" y="48"/>
                  </a:lnTo>
                  <a:lnTo>
                    <a:pt x="37" y="39"/>
                  </a:lnTo>
                  <a:lnTo>
                    <a:pt x="47" y="30"/>
                  </a:lnTo>
                  <a:lnTo>
                    <a:pt x="57" y="22"/>
                  </a:lnTo>
                  <a:lnTo>
                    <a:pt x="68" y="16"/>
                  </a:lnTo>
                  <a:lnTo>
                    <a:pt x="80" y="10"/>
                  </a:lnTo>
                  <a:lnTo>
                    <a:pt x="92" y="6"/>
                  </a:lnTo>
                  <a:lnTo>
                    <a:pt x="104" y="2"/>
                  </a:lnTo>
                  <a:lnTo>
                    <a:pt x="117" y="1"/>
                  </a:lnTo>
                  <a:lnTo>
                    <a:pt x="131" y="0"/>
                  </a:lnTo>
                  <a:lnTo>
                    <a:pt x="900" y="0"/>
                  </a:lnTo>
                  <a:lnTo>
                    <a:pt x="900" y="0"/>
                  </a:lnTo>
                  <a:lnTo>
                    <a:pt x="914" y="1"/>
                  </a:lnTo>
                  <a:lnTo>
                    <a:pt x="926" y="2"/>
                  </a:lnTo>
                  <a:lnTo>
                    <a:pt x="939" y="6"/>
                  </a:lnTo>
                  <a:lnTo>
                    <a:pt x="951" y="10"/>
                  </a:lnTo>
                  <a:lnTo>
                    <a:pt x="963" y="16"/>
                  </a:lnTo>
                  <a:lnTo>
                    <a:pt x="974" y="22"/>
                  </a:lnTo>
                  <a:lnTo>
                    <a:pt x="984" y="30"/>
                  </a:lnTo>
                  <a:lnTo>
                    <a:pt x="994" y="39"/>
                  </a:lnTo>
                  <a:lnTo>
                    <a:pt x="1002" y="48"/>
                  </a:lnTo>
                  <a:lnTo>
                    <a:pt x="1009" y="58"/>
                  </a:lnTo>
                  <a:lnTo>
                    <a:pt x="1016" y="69"/>
                  </a:lnTo>
                  <a:lnTo>
                    <a:pt x="1022" y="80"/>
                  </a:lnTo>
                  <a:lnTo>
                    <a:pt x="1026" y="93"/>
                  </a:lnTo>
                  <a:lnTo>
                    <a:pt x="1029" y="106"/>
                  </a:lnTo>
                  <a:lnTo>
                    <a:pt x="1032" y="119"/>
                  </a:lnTo>
                  <a:lnTo>
                    <a:pt x="1032" y="133"/>
                  </a:lnTo>
                  <a:lnTo>
                    <a:pt x="1032" y="133"/>
                  </a:lnTo>
                  <a:lnTo>
                    <a:pt x="1032" y="133"/>
                  </a:lnTo>
                  <a:lnTo>
                    <a:pt x="1032" y="146"/>
                  </a:lnTo>
                  <a:lnTo>
                    <a:pt x="1029" y="159"/>
                  </a:lnTo>
                  <a:lnTo>
                    <a:pt x="1026" y="171"/>
                  </a:lnTo>
                  <a:lnTo>
                    <a:pt x="1022" y="184"/>
                  </a:lnTo>
                  <a:lnTo>
                    <a:pt x="1016" y="195"/>
                  </a:lnTo>
                  <a:lnTo>
                    <a:pt x="1009" y="206"/>
                  </a:lnTo>
                  <a:lnTo>
                    <a:pt x="1002" y="216"/>
                  </a:lnTo>
                  <a:lnTo>
                    <a:pt x="994" y="226"/>
                  </a:lnTo>
                  <a:lnTo>
                    <a:pt x="984" y="234"/>
                  </a:lnTo>
                  <a:lnTo>
                    <a:pt x="974" y="242"/>
                  </a:lnTo>
                  <a:lnTo>
                    <a:pt x="963" y="248"/>
                  </a:lnTo>
                  <a:lnTo>
                    <a:pt x="951" y="254"/>
                  </a:lnTo>
                  <a:lnTo>
                    <a:pt x="939" y="258"/>
                  </a:lnTo>
                  <a:lnTo>
                    <a:pt x="926" y="262"/>
                  </a:lnTo>
                  <a:lnTo>
                    <a:pt x="914" y="264"/>
                  </a:lnTo>
                  <a:lnTo>
                    <a:pt x="900" y="264"/>
                  </a:lnTo>
                  <a:lnTo>
                    <a:pt x="900" y="26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363" name="Freeform 70">
              <a:extLst>
                <a:ext uri="{FF2B5EF4-FFF2-40B4-BE49-F238E27FC236}">
                  <a16:creationId xmlns:a16="http://schemas.microsoft.com/office/drawing/2014/main" id="{13F6C9AF-BEDC-483A-8CC2-A048EE93F166}"/>
                </a:ext>
              </a:extLst>
            </p:cNvPr>
            <p:cNvSpPr>
              <a:spLocks/>
            </p:cNvSpPr>
            <p:nvPr/>
          </p:nvSpPr>
          <p:spPr bwMode="auto">
            <a:xfrm>
              <a:off x="3136025" y="3905002"/>
              <a:ext cx="68767" cy="268816"/>
            </a:xfrm>
            <a:custGeom>
              <a:avLst/>
              <a:gdLst>
                <a:gd name="T0" fmla="*/ 0 w 265"/>
                <a:gd name="T1" fmla="*/ 133 h 1034"/>
                <a:gd name="T2" fmla="*/ 1 w 265"/>
                <a:gd name="T3" fmla="*/ 119 h 1034"/>
                <a:gd name="T4" fmla="*/ 6 w 265"/>
                <a:gd name="T5" fmla="*/ 94 h 1034"/>
                <a:gd name="T6" fmla="*/ 16 w 265"/>
                <a:gd name="T7" fmla="*/ 69 h 1034"/>
                <a:gd name="T8" fmla="*/ 30 w 265"/>
                <a:gd name="T9" fmla="*/ 49 h 1034"/>
                <a:gd name="T10" fmla="*/ 48 w 265"/>
                <a:gd name="T11" fmla="*/ 30 h 1034"/>
                <a:gd name="T12" fmla="*/ 69 w 265"/>
                <a:gd name="T13" fmla="*/ 17 h 1034"/>
                <a:gd name="T14" fmla="*/ 94 w 265"/>
                <a:gd name="T15" fmla="*/ 7 h 1034"/>
                <a:gd name="T16" fmla="*/ 119 w 265"/>
                <a:gd name="T17" fmla="*/ 2 h 1034"/>
                <a:gd name="T18" fmla="*/ 133 w 265"/>
                <a:gd name="T19" fmla="*/ 0 h 1034"/>
                <a:gd name="T20" fmla="*/ 146 w 265"/>
                <a:gd name="T21" fmla="*/ 2 h 1034"/>
                <a:gd name="T22" fmla="*/ 171 w 265"/>
                <a:gd name="T23" fmla="*/ 7 h 1034"/>
                <a:gd name="T24" fmla="*/ 196 w 265"/>
                <a:gd name="T25" fmla="*/ 17 h 1034"/>
                <a:gd name="T26" fmla="*/ 216 w 265"/>
                <a:gd name="T27" fmla="*/ 30 h 1034"/>
                <a:gd name="T28" fmla="*/ 235 w 265"/>
                <a:gd name="T29" fmla="*/ 49 h 1034"/>
                <a:gd name="T30" fmla="*/ 248 w 265"/>
                <a:gd name="T31" fmla="*/ 69 h 1034"/>
                <a:gd name="T32" fmla="*/ 258 w 265"/>
                <a:gd name="T33" fmla="*/ 94 h 1034"/>
                <a:gd name="T34" fmla="*/ 264 w 265"/>
                <a:gd name="T35" fmla="*/ 119 h 1034"/>
                <a:gd name="T36" fmla="*/ 265 w 265"/>
                <a:gd name="T37" fmla="*/ 901 h 1034"/>
                <a:gd name="T38" fmla="*/ 264 w 265"/>
                <a:gd name="T39" fmla="*/ 915 h 1034"/>
                <a:gd name="T40" fmla="*/ 258 w 265"/>
                <a:gd name="T41" fmla="*/ 941 h 1034"/>
                <a:gd name="T42" fmla="*/ 248 w 265"/>
                <a:gd name="T43" fmla="*/ 965 h 1034"/>
                <a:gd name="T44" fmla="*/ 235 w 265"/>
                <a:gd name="T45" fmla="*/ 986 h 1034"/>
                <a:gd name="T46" fmla="*/ 216 w 265"/>
                <a:gd name="T47" fmla="*/ 1004 h 1034"/>
                <a:gd name="T48" fmla="*/ 196 w 265"/>
                <a:gd name="T49" fmla="*/ 1018 h 1034"/>
                <a:gd name="T50" fmla="*/ 171 w 265"/>
                <a:gd name="T51" fmla="*/ 1028 h 1034"/>
                <a:gd name="T52" fmla="*/ 146 w 265"/>
                <a:gd name="T53" fmla="*/ 1032 h 1034"/>
                <a:gd name="T54" fmla="*/ 133 w 265"/>
                <a:gd name="T55" fmla="*/ 1034 h 1034"/>
                <a:gd name="T56" fmla="*/ 119 w 265"/>
                <a:gd name="T57" fmla="*/ 1032 h 1034"/>
                <a:gd name="T58" fmla="*/ 94 w 265"/>
                <a:gd name="T59" fmla="*/ 1028 h 1034"/>
                <a:gd name="T60" fmla="*/ 69 w 265"/>
                <a:gd name="T61" fmla="*/ 1018 h 1034"/>
                <a:gd name="T62" fmla="*/ 48 w 265"/>
                <a:gd name="T63" fmla="*/ 1004 h 1034"/>
                <a:gd name="T64" fmla="*/ 30 w 265"/>
                <a:gd name="T65" fmla="*/ 986 h 1034"/>
                <a:gd name="T66" fmla="*/ 16 w 265"/>
                <a:gd name="T67" fmla="*/ 965 h 1034"/>
                <a:gd name="T68" fmla="*/ 6 w 265"/>
                <a:gd name="T69" fmla="*/ 941 h 1034"/>
                <a:gd name="T70" fmla="*/ 1 w 265"/>
                <a:gd name="T71" fmla="*/ 915 h 1034"/>
                <a:gd name="T72" fmla="*/ 0 w 265"/>
                <a:gd name="T73" fmla="*/ 90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5" h="1034">
                  <a:moveTo>
                    <a:pt x="0" y="901"/>
                  </a:moveTo>
                  <a:lnTo>
                    <a:pt x="0" y="133"/>
                  </a:lnTo>
                  <a:lnTo>
                    <a:pt x="0" y="133"/>
                  </a:lnTo>
                  <a:lnTo>
                    <a:pt x="1" y="119"/>
                  </a:lnTo>
                  <a:lnTo>
                    <a:pt x="4" y="106"/>
                  </a:lnTo>
                  <a:lnTo>
                    <a:pt x="6" y="94"/>
                  </a:lnTo>
                  <a:lnTo>
                    <a:pt x="10" y="82"/>
                  </a:lnTo>
                  <a:lnTo>
                    <a:pt x="16" y="69"/>
                  </a:lnTo>
                  <a:lnTo>
                    <a:pt x="22" y="59"/>
                  </a:lnTo>
                  <a:lnTo>
                    <a:pt x="30" y="49"/>
                  </a:lnTo>
                  <a:lnTo>
                    <a:pt x="39" y="39"/>
                  </a:lnTo>
                  <a:lnTo>
                    <a:pt x="48" y="30"/>
                  </a:lnTo>
                  <a:lnTo>
                    <a:pt x="59" y="24"/>
                  </a:lnTo>
                  <a:lnTo>
                    <a:pt x="69" y="17"/>
                  </a:lnTo>
                  <a:lnTo>
                    <a:pt x="81" y="12"/>
                  </a:lnTo>
                  <a:lnTo>
                    <a:pt x="94" y="7"/>
                  </a:lnTo>
                  <a:lnTo>
                    <a:pt x="106" y="4"/>
                  </a:lnTo>
                  <a:lnTo>
                    <a:pt x="119" y="2"/>
                  </a:lnTo>
                  <a:lnTo>
                    <a:pt x="133" y="0"/>
                  </a:lnTo>
                  <a:lnTo>
                    <a:pt x="133" y="0"/>
                  </a:lnTo>
                  <a:lnTo>
                    <a:pt x="133" y="0"/>
                  </a:lnTo>
                  <a:lnTo>
                    <a:pt x="146" y="2"/>
                  </a:lnTo>
                  <a:lnTo>
                    <a:pt x="159" y="4"/>
                  </a:lnTo>
                  <a:lnTo>
                    <a:pt x="171" y="7"/>
                  </a:lnTo>
                  <a:lnTo>
                    <a:pt x="184" y="12"/>
                  </a:lnTo>
                  <a:lnTo>
                    <a:pt x="196" y="17"/>
                  </a:lnTo>
                  <a:lnTo>
                    <a:pt x="206" y="24"/>
                  </a:lnTo>
                  <a:lnTo>
                    <a:pt x="216" y="30"/>
                  </a:lnTo>
                  <a:lnTo>
                    <a:pt x="226" y="39"/>
                  </a:lnTo>
                  <a:lnTo>
                    <a:pt x="235" y="49"/>
                  </a:lnTo>
                  <a:lnTo>
                    <a:pt x="242" y="59"/>
                  </a:lnTo>
                  <a:lnTo>
                    <a:pt x="248" y="69"/>
                  </a:lnTo>
                  <a:lnTo>
                    <a:pt x="254" y="82"/>
                  </a:lnTo>
                  <a:lnTo>
                    <a:pt x="258" y="94"/>
                  </a:lnTo>
                  <a:lnTo>
                    <a:pt x="262" y="106"/>
                  </a:lnTo>
                  <a:lnTo>
                    <a:pt x="264" y="119"/>
                  </a:lnTo>
                  <a:lnTo>
                    <a:pt x="265" y="133"/>
                  </a:lnTo>
                  <a:lnTo>
                    <a:pt x="265" y="901"/>
                  </a:lnTo>
                  <a:lnTo>
                    <a:pt x="265" y="901"/>
                  </a:lnTo>
                  <a:lnTo>
                    <a:pt x="264" y="915"/>
                  </a:lnTo>
                  <a:lnTo>
                    <a:pt x="262" y="928"/>
                  </a:lnTo>
                  <a:lnTo>
                    <a:pt x="258" y="941"/>
                  </a:lnTo>
                  <a:lnTo>
                    <a:pt x="254" y="953"/>
                  </a:lnTo>
                  <a:lnTo>
                    <a:pt x="248" y="965"/>
                  </a:lnTo>
                  <a:lnTo>
                    <a:pt x="242" y="976"/>
                  </a:lnTo>
                  <a:lnTo>
                    <a:pt x="235" y="986"/>
                  </a:lnTo>
                  <a:lnTo>
                    <a:pt x="226" y="995"/>
                  </a:lnTo>
                  <a:lnTo>
                    <a:pt x="216" y="1004"/>
                  </a:lnTo>
                  <a:lnTo>
                    <a:pt x="206" y="1011"/>
                  </a:lnTo>
                  <a:lnTo>
                    <a:pt x="196" y="1018"/>
                  </a:lnTo>
                  <a:lnTo>
                    <a:pt x="184" y="1024"/>
                  </a:lnTo>
                  <a:lnTo>
                    <a:pt x="171" y="1028"/>
                  </a:lnTo>
                  <a:lnTo>
                    <a:pt x="159" y="1031"/>
                  </a:lnTo>
                  <a:lnTo>
                    <a:pt x="146" y="1032"/>
                  </a:lnTo>
                  <a:lnTo>
                    <a:pt x="133" y="1034"/>
                  </a:lnTo>
                  <a:lnTo>
                    <a:pt x="133" y="1034"/>
                  </a:lnTo>
                  <a:lnTo>
                    <a:pt x="133" y="1034"/>
                  </a:lnTo>
                  <a:lnTo>
                    <a:pt x="119" y="1032"/>
                  </a:lnTo>
                  <a:lnTo>
                    <a:pt x="106" y="1031"/>
                  </a:lnTo>
                  <a:lnTo>
                    <a:pt x="94" y="1028"/>
                  </a:lnTo>
                  <a:lnTo>
                    <a:pt x="81" y="1024"/>
                  </a:lnTo>
                  <a:lnTo>
                    <a:pt x="69" y="1018"/>
                  </a:lnTo>
                  <a:lnTo>
                    <a:pt x="59" y="1011"/>
                  </a:lnTo>
                  <a:lnTo>
                    <a:pt x="48" y="1004"/>
                  </a:lnTo>
                  <a:lnTo>
                    <a:pt x="39" y="995"/>
                  </a:lnTo>
                  <a:lnTo>
                    <a:pt x="30" y="986"/>
                  </a:lnTo>
                  <a:lnTo>
                    <a:pt x="22" y="976"/>
                  </a:lnTo>
                  <a:lnTo>
                    <a:pt x="16" y="965"/>
                  </a:lnTo>
                  <a:lnTo>
                    <a:pt x="10" y="953"/>
                  </a:lnTo>
                  <a:lnTo>
                    <a:pt x="6" y="941"/>
                  </a:lnTo>
                  <a:lnTo>
                    <a:pt x="4" y="928"/>
                  </a:lnTo>
                  <a:lnTo>
                    <a:pt x="1" y="915"/>
                  </a:lnTo>
                  <a:lnTo>
                    <a:pt x="0" y="901"/>
                  </a:lnTo>
                  <a:lnTo>
                    <a:pt x="0" y="901"/>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64" name="Gruppieren 363">
            <a:extLst>
              <a:ext uri="{FF2B5EF4-FFF2-40B4-BE49-F238E27FC236}">
                <a16:creationId xmlns:a16="http://schemas.microsoft.com/office/drawing/2014/main" id="{72E54DFD-763E-4BD9-82FB-2EA203EF1DDB}"/>
              </a:ext>
            </a:extLst>
          </p:cNvPr>
          <p:cNvGrpSpPr/>
          <p:nvPr/>
        </p:nvGrpSpPr>
        <p:grpSpPr>
          <a:xfrm>
            <a:off x="3660462" y="4665796"/>
            <a:ext cx="268816" cy="153162"/>
            <a:chOff x="3681470" y="3962829"/>
            <a:chExt cx="268816" cy="153162"/>
          </a:xfrm>
          <a:solidFill>
            <a:schemeClr val="bg1"/>
          </a:solidFill>
        </p:grpSpPr>
        <p:sp>
          <p:nvSpPr>
            <p:cNvPr id="365" name="Freeform 75">
              <a:extLst>
                <a:ext uri="{FF2B5EF4-FFF2-40B4-BE49-F238E27FC236}">
                  <a16:creationId xmlns:a16="http://schemas.microsoft.com/office/drawing/2014/main" id="{7D353F78-C377-40B4-8006-42F202A99BBE}"/>
                </a:ext>
              </a:extLst>
            </p:cNvPr>
            <p:cNvSpPr>
              <a:spLocks/>
            </p:cNvSpPr>
            <p:nvPr/>
          </p:nvSpPr>
          <p:spPr bwMode="auto">
            <a:xfrm>
              <a:off x="3681470" y="4047224"/>
              <a:ext cx="268816" cy="68767"/>
            </a:xfrm>
            <a:custGeom>
              <a:avLst/>
              <a:gdLst>
                <a:gd name="T0" fmla="*/ 131 w 1032"/>
                <a:gd name="T1" fmla="*/ 265 h 265"/>
                <a:gd name="T2" fmla="*/ 117 w 1032"/>
                <a:gd name="T3" fmla="*/ 264 h 265"/>
                <a:gd name="T4" fmla="*/ 92 w 1032"/>
                <a:gd name="T5" fmla="*/ 258 h 265"/>
                <a:gd name="T6" fmla="*/ 68 w 1032"/>
                <a:gd name="T7" fmla="*/ 248 h 265"/>
                <a:gd name="T8" fmla="*/ 47 w 1032"/>
                <a:gd name="T9" fmla="*/ 235 h 265"/>
                <a:gd name="T10" fmla="*/ 30 w 1032"/>
                <a:gd name="T11" fmla="*/ 217 h 265"/>
                <a:gd name="T12" fmla="*/ 15 w 1032"/>
                <a:gd name="T13" fmla="*/ 196 h 265"/>
                <a:gd name="T14" fmla="*/ 5 w 1032"/>
                <a:gd name="T15" fmla="*/ 172 h 265"/>
                <a:gd name="T16" fmla="*/ 0 w 1032"/>
                <a:gd name="T17" fmla="*/ 146 h 265"/>
                <a:gd name="T18" fmla="*/ 0 w 1032"/>
                <a:gd name="T19" fmla="*/ 133 h 265"/>
                <a:gd name="T20" fmla="*/ 0 w 1032"/>
                <a:gd name="T21" fmla="*/ 119 h 265"/>
                <a:gd name="T22" fmla="*/ 5 w 1032"/>
                <a:gd name="T23" fmla="*/ 94 h 265"/>
                <a:gd name="T24" fmla="*/ 15 w 1032"/>
                <a:gd name="T25" fmla="*/ 69 h 265"/>
                <a:gd name="T26" fmla="*/ 30 w 1032"/>
                <a:gd name="T27" fmla="*/ 48 h 265"/>
                <a:gd name="T28" fmla="*/ 47 w 1032"/>
                <a:gd name="T29" fmla="*/ 30 h 265"/>
                <a:gd name="T30" fmla="*/ 68 w 1032"/>
                <a:gd name="T31" fmla="*/ 17 h 265"/>
                <a:gd name="T32" fmla="*/ 92 w 1032"/>
                <a:gd name="T33" fmla="*/ 7 h 265"/>
                <a:gd name="T34" fmla="*/ 117 w 1032"/>
                <a:gd name="T35" fmla="*/ 1 h 265"/>
                <a:gd name="T36" fmla="*/ 899 w 1032"/>
                <a:gd name="T37" fmla="*/ 0 h 265"/>
                <a:gd name="T38" fmla="*/ 914 w 1032"/>
                <a:gd name="T39" fmla="*/ 1 h 265"/>
                <a:gd name="T40" fmla="*/ 939 w 1032"/>
                <a:gd name="T41" fmla="*/ 7 h 265"/>
                <a:gd name="T42" fmla="*/ 963 w 1032"/>
                <a:gd name="T43" fmla="*/ 17 h 265"/>
                <a:gd name="T44" fmla="*/ 984 w 1032"/>
                <a:gd name="T45" fmla="*/ 30 h 265"/>
                <a:gd name="T46" fmla="*/ 1002 w 1032"/>
                <a:gd name="T47" fmla="*/ 48 h 265"/>
                <a:gd name="T48" fmla="*/ 1016 w 1032"/>
                <a:gd name="T49" fmla="*/ 69 h 265"/>
                <a:gd name="T50" fmla="*/ 1026 w 1032"/>
                <a:gd name="T51" fmla="*/ 94 h 265"/>
                <a:gd name="T52" fmla="*/ 1032 w 1032"/>
                <a:gd name="T53" fmla="*/ 119 h 265"/>
                <a:gd name="T54" fmla="*/ 1032 w 1032"/>
                <a:gd name="T55" fmla="*/ 133 h 265"/>
                <a:gd name="T56" fmla="*/ 1032 w 1032"/>
                <a:gd name="T57" fmla="*/ 146 h 265"/>
                <a:gd name="T58" fmla="*/ 1026 w 1032"/>
                <a:gd name="T59" fmla="*/ 172 h 265"/>
                <a:gd name="T60" fmla="*/ 1016 w 1032"/>
                <a:gd name="T61" fmla="*/ 196 h 265"/>
                <a:gd name="T62" fmla="*/ 1002 w 1032"/>
                <a:gd name="T63" fmla="*/ 217 h 265"/>
                <a:gd name="T64" fmla="*/ 984 w 1032"/>
                <a:gd name="T65" fmla="*/ 235 h 265"/>
                <a:gd name="T66" fmla="*/ 963 w 1032"/>
                <a:gd name="T67" fmla="*/ 248 h 265"/>
                <a:gd name="T68" fmla="*/ 939 w 1032"/>
                <a:gd name="T69" fmla="*/ 258 h 265"/>
                <a:gd name="T70" fmla="*/ 914 w 1032"/>
                <a:gd name="T71" fmla="*/ 264 h 265"/>
                <a:gd name="T72" fmla="*/ 899 w 1032"/>
                <a:gd name="T7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5">
                  <a:moveTo>
                    <a:pt x="899" y="265"/>
                  </a:moveTo>
                  <a:lnTo>
                    <a:pt x="131" y="265"/>
                  </a:lnTo>
                  <a:lnTo>
                    <a:pt x="131" y="265"/>
                  </a:lnTo>
                  <a:lnTo>
                    <a:pt x="117" y="264"/>
                  </a:lnTo>
                  <a:lnTo>
                    <a:pt x="104" y="262"/>
                  </a:lnTo>
                  <a:lnTo>
                    <a:pt x="92" y="258"/>
                  </a:lnTo>
                  <a:lnTo>
                    <a:pt x="80" y="254"/>
                  </a:lnTo>
                  <a:lnTo>
                    <a:pt x="68" y="248"/>
                  </a:lnTo>
                  <a:lnTo>
                    <a:pt x="57" y="243"/>
                  </a:lnTo>
                  <a:lnTo>
                    <a:pt x="47" y="235"/>
                  </a:lnTo>
                  <a:lnTo>
                    <a:pt x="37" y="226"/>
                  </a:lnTo>
                  <a:lnTo>
                    <a:pt x="30" y="217"/>
                  </a:lnTo>
                  <a:lnTo>
                    <a:pt x="22" y="206"/>
                  </a:lnTo>
                  <a:lnTo>
                    <a:pt x="15" y="196"/>
                  </a:lnTo>
                  <a:lnTo>
                    <a:pt x="10" y="184"/>
                  </a:lnTo>
                  <a:lnTo>
                    <a:pt x="5" y="172"/>
                  </a:lnTo>
                  <a:lnTo>
                    <a:pt x="2" y="159"/>
                  </a:lnTo>
                  <a:lnTo>
                    <a:pt x="0" y="146"/>
                  </a:lnTo>
                  <a:lnTo>
                    <a:pt x="0" y="133"/>
                  </a:lnTo>
                  <a:lnTo>
                    <a:pt x="0" y="133"/>
                  </a:lnTo>
                  <a:lnTo>
                    <a:pt x="0" y="133"/>
                  </a:lnTo>
                  <a:lnTo>
                    <a:pt x="0" y="119"/>
                  </a:lnTo>
                  <a:lnTo>
                    <a:pt x="2" y="106"/>
                  </a:lnTo>
                  <a:lnTo>
                    <a:pt x="5" y="94"/>
                  </a:lnTo>
                  <a:lnTo>
                    <a:pt x="10" y="82"/>
                  </a:lnTo>
                  <a:lnTo>
                    <a:pt x="15" y="69"/>
                  </a:lnTo>
                  <a:lnTo>
                    <a:pt x="22" y="59"/>
                  </a:lnTo>
                  <a:lnTo>
                    <a:pt x="30" y="48"/>
                  </a:lnTo>
                  <a:lnTo>
                    <a:pt x="37" y="39"/>
                  </a:lnTo>
                  <a:lnTo>
                    <a:pt x="47" y="30"/>
                  </a:lnTo>
                  <a:lnTo>
                    <a:pt x="57" y="24"/>
                  </a:lnTo>
                  <a:lnTo>
                    <a:pt x="68" y="17"/>
                  </a:lnTo>
                  <a:lnTo>
                    <a:pt x="80" y="11"/>
                  </a:lnTo>
                  <a:lnTo>
                    <a:pt x="92" y="7"/>
                  </a:lnTo>
                  <a:lnTo>
                    <a:pt x="104" y="4"/>
                  </a:lnTo>
                  <a:lnTo>
                    <a:pt x="117" y="1"/>
                  </a:lnTo>
                  <a:lnTo>
                    <a:pt x="131" y="0"/>
                  </a:lnTo>
                  <a:lnTo>
                    <a:pt x="899" y="0"/>
                  </a:lnTo>
                  <a:lnTo>
                    <a:pt x="899" y="0"/>
                  </a:lnTo>
                  <a:lnTo>
                    <a:pt x="914" y="1"/>
                  </a:lnTo>
                  <a:lnTo>
                    <a:pt x="926" y="4"/>
                  </a:lnTo>
                  <a:lnTo>
                    <a:pt x="939" y="7"/>
                  </a:lnTo>
                  <a:lnTo>
                    <a:pt x="951" y="11"/>
                  </a:lnTo>
                  <a:lnTo>
                    <a:pt x="963" y="17"/>
                  </a:lnTo>
                  <a:lnTo>
                    <a:pt x="974" y="24"/>
                  </a:lnTo>
                  <a:lnTo>
                    <a:pt x="984" y="30"/>
                  </a:lnTo>
                  <a:lnTo>
                    <a:pt x="993" y="39"/>
                  </a:lnTo>
                  <a:lnTo>
                    <a:pt x="1002" y="48"/>
                  </a:lnTo>
                  <a:lnTo>
                    <a:pt x="1009" y="59"/>
                  </a:lnTo>
                  <a:lnTo>
                    <a:pt x="1016" y="69"/>
                  </a:lnTo>
                  <a:lnTo>
                    <a:pt x="1022" y="82"/>
                  </a:lnTo>
                  <a:lnTo>
                    <a:pt x="1026" y="94"/>
                  </a:lnTo>
                  <a:lnTo>
                    <a:pt x="1029" y="106"/>
                  </a:lnTo>
                  <a:lnTo>
                    <a:pt x="1032" y="119"/>
                  </a:lnTo>
                  <a:lnTo>
                    <a:pt x="1032" y="133"/>
                  </a:lnTo>
                  <a:lnTo>
                    <a:pt x="1032" y="133"/>
                  </a:lnTo>
                  <a:lnTo>
                    <a:pt x="1032" y="133"/>
                  </a:lnTo>
                  <a:lnTo>
                    <a:pt x="1032" y="146"/>
                  </a:lnTo>
                  <a:lnTo>
                    <a:pt x="1029" y="159"/>
                  </a:lnTo>
                  <a:lnTo>
                    <a:pt x="1026" y="172"/>
                  </a:lnTo>
                  <a:lnTo>
                    <a:pt x="1022" y="184"/>
                  </a:lnTo>
                  <a:lnTo>
                    <a:pt x="1016" y="196"/>
                  </a:lnTo>
                  <a:lnTo>
                    <a:pt x="1009" y="206"/>
                  </a:lnTo>
                  <a:lnTo>
                    <a:pt x="1002" y="217"/>
                  </a:lnTo>
                  <a:lnTo>
                    <a:pt x="993" y="226"/>
                  </a:lnTo>
                  <a:lnTo>
                    <a:pt x="984" y="235"/>
                  </a:lnTo>
                  <a:lnTo>
                    <a:pt x="974" y="243"/>
                  </a:lnTo>
                  <a:lnTo>
                    <a:pt x="963" y="248"/>
                  </a:lnTo>
                  <a:lnTo>
                    <a:pt x="951" y="254"/>
                  </a:lnTo>
                  <a:lnTo>
                    <a:pt x="939" y="258"/>
                  </a:lnTo>
                  <a:lnTo>
                    <a:pt x="926" y="262"/>
                  </a:lnTo>
                  <a:lnTo>
                    <a:pt x="914" y="264"/>
                  </a:lnTo>
                  <a:lnTo>
                    <a:pt x="899" y="265"/>
                  </a:lnTo>
                  <a:lnTo>
                    <a:pt x="899" y="265"/>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366" name="Freeform 76">
              <a:extLst>
                <a:ext uri="{FF2B5EF4-FFF2-40B4-BE49-F238E27FC236}">
                  <a16:creationId xmlns:a16="http://schemas.microsoft.com/office/drawing/2014/main" id="{53FAA95F-1DDD-4AE4-A332-4F27AC1D27F7}"/>
                </a:ext>
              </a:extLst>
            </p:cNvPr>
            <p:cNvSpPr>
              <a:spLocks/>
            </p:cNvSpPr>
            <p:nvPr/>
          </p:nvSpPr>
          <p:spPr bwMode="auto">
            <a:xfrm>
              <a:off x="3681470" y="3962829"/>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1 h 264"/>
                <a:gd name="T20" fmla="*/ 0 w 1032"/>
                <a:gd name="T21" fmla="*/ 118 h 264"/>
                <a:gd name="T22" fmla="*/ 5 w 1032"/>
                <a:gd name="T23" fmla="*/ 92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0 h 264"/>
                <a:gd name="T36" fmla="*/ 899 w 1032"/>
                <a:gd name="T37" fmla="*/ 0 h 264"/>
                <a:gd name="T38" fmla="*/ 914 w 1032"/>
                <a:gd name="T39" fmla="*/ 0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2 h 264"/>
                <a:gd name="T52" fmla="*/ 1032 w 1032"/>
                <a:gd name="T53" fmla="*/ 118 h 264"/>
                <a:gd name="T54" fmla="*/ 1032 w 1032"/>
                <a:gd name="T55" fmla="*/ 131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899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899" y="264"/>
                  </a:moveTo>
                  <a:lnTo>
                    <a:pt x="131" y="264"/>
                  </a:lnTo>
                  <a:lnTo>
                    <a:pt x="131" y="264"/>
                  </a:lnTo>
                  <a:lnTo>
                    <a:pt x="117" y="264"/>
                  </a:lnTo>
                  <a:lnTo>
                    <a:pt x="104" y="261"/>
                  </a:lnTo>
                  <a:lnTo>
                    <a:pt x="92" y="258"/>
                  </a:lnTo>
                  <a:lnTo>
                    <a:pt x="80" y="254"/>
                  </a:lnTo>
                  <a:lnTo>
                    <a:pt x="68" y="248"/>
                  </a:lnTo>
                  <a:lnTo>
                    <a:pt x="57" y="241"/>
                  </a:lnTo>
                  <a:lnTo>
                    <a:pt x="47" y="234"/>
                  </a:lnTo>
                  <a:lnTo>
                    <a:pt x="37" y="225"/>
                  </a:lnTo>
                  <a:lnTo>
                    <a:pt x="30" y="216"/>
                  </a:lnTo>
                  <a:lnTo>
                    <a:pt x="22" y="206"/>
                  </a:lnTo>
                  <a:lnTo>
                    <a:pt x="15" y="195"/>
                  </a:lnTo>
                  <a:lnTo>
                    <a:pt x="10" y="183"/>
                  </a:lnTo>
                  <a:lnTo>
                    <a:pt x="5" y="171"/>
                  </a:lnTo>
                  <a:lnTo>
                    <a:pt x="2" y="158"/>
                  </a:lnTo>
                  <a:lnTo>
                    <a:pt x="0" y="146"/>
                  </a:lnTo>
                  <a:lnTo>
                    <a:pt x="0" y="131"/>
                  </a:lnTo>
                  <a:lnTo>
                    <a:pt x="0" y="131"/>
                  </a:lnTo>
                  <a:lnTo>
                    <a:pt x="0" y="131"/>
                  </a:lnTo>
                  <a:lnTo>
                    <a:pt x="0" y="118"/>
                  </a:lnTo>
                  <a:lnTo>
                    <a:pt x="2" y="105"/>
                  </a:lnTo>
                  <a:lnTo>
                    <a:pt x="5" y="92"/>
                  </a:lnTo>
                  <a:lnTo>
                    <a:pt x="10" y="80"/>
                  </a:lnTo>
                  <a:lnTo>
                    <a:pt x="15" y="69"/>
                  </a:lnTo>
                  <a:lnTo>
                    <a:pt x="22" y="58"/>
                  </a:lnTo>
                  <a:lnTo>
                    <a:pt x="30" y="48"/>
                  </a:lnTo>
                  <a:lnTo>
                    <a:pt x="37" y="38"/>
                  </a:lnTo>
                  <a:lnTo>
                    <a:pt x="47" y="30"/>
                  </a:lnTo>
                  <a:lnTo>
                    <a:pt x="57" y="22"/>
                  </a:lnTo>
                  <a:lnTo>
                    <a:pt x="68" y="16"/>
                  </a:lnTo>
                  <a:lnTo>
                    <a:pt x="80" y="10"/>
                  </a:lnTo>
                  <a:lnTo>
                    <a:pt x="92" y="6"/>
                  </a:lnTo>
                  <a:lnTo>
                    <a:pt x="104" y="2"/>
                  </a:lnTo>
                  <a:lnTo>
                    <a:pt x="117" y="0"/>
                  </a:lnTo>
                  <a:lnTo>
                    <a:pt x="131" y="0"/>
                  </a:lnTo>
                  <a:lnTo>
                    <a:pt x="899" y="0"/>
                  </a:lnTo>
                  <a:lnTo>
                    <a:pt x="899" y="0"/>
                  </a:lnTo>
                  <a:lnTo>
                    <a:pt x="914" y="0"/>
                  </a:lnTo>
                  <a:lnTo>
                    <a:pt x="926" y="2"/>
                  </a:lnTo>
                  <a:lnTo>
                    <a:pt x="939" y="6"/>
                  </a:lnTo>
                  <a:lnTo>
                    <a:pt x="951" y="10"/>
                  </a:lnTo>
                  <a:lnTo>
                    <a:pt x="963" y="16"/>
                  </a:lnTo>
                  <a:lnTo>
                    <a:pt x="974" y="22"/>
                  </a:lnTo>
                  <a:lnTo>
                    <a:pt x="984" y="30"/>
                  </a:lnTo>
                  <a:lnTo>
                    <a:pt x="993" y="38"/>
                  </a:lnTo>
                  <a:lnTo>
                    <a:pt x="1002" y="48"/>
                  </a:lnTo>
                  <a:lnTo>
                    <a:pt x="1009" y="58"/>
                  </a:lnTo>
                  <a:lnTo>
                    <a:pt x="1016" y="69"/>
                  </a:lnTo>
                  <a:lnTo>
                    <a:pt x="1022" y="80"/>
                  </a:lnTo>
                  <a:lnTo>
                    <a:pt x="1026" y="92"/>
                  </a:lnTo>
                  <a:lnTo>
                    <a:pt x="1029" y="105"/>
                  </a:lnTo>
                  <a:lnTo>
                    <a:pt x="1032" y="118"/>
                  </a:lnTo>
                  <a:lnTo>
                    <a:pt x="1032" y="131"/>
                  </a:lnTo>
                  <a:lnTo>
                    <a:pt x="1032" y="131"/>
                  </a:lnTo>
                  <a:lnTo>
                    <a:pt x="1032" y="131"/>
                  </a:lnTo>
                  <a:lnTo>
                    <a:pt x="1032" y="146"/>
                  </a:lnTo>
                  <a:lnTo>
                    <a:pt x="1029" y="158"/>
                  </a:lnTo>
                  <a:lnTo>
                    <a:pt x="1026" y="171"/>
                  </a:lnTo>
                  <a:lnTo>
                    <a:pt x="1022" y="183"/>
                  </a:lnTo>
                  <a:lnTo>
                    <a:pt x="1016" y="195"/>
                  </a:lnTo>
                  <a:lnTo>
                    <a:pt x="1009" y="206"/>
                  </a:lnTo>
                  <a:lnTo>
                    <a:pt x="1002" y="216"/>
                  </a:lnTo>
                  <a:lnTo>
                    <a:pt x="993" y="225"/>
                  </a:lnTo>
                  <a:lnTo>
                    <a:pt x="984" y="234"/>
                  </a:lnTo>
                  <a:lnTo>
                    <a:pt x="974" y="241"/>
                  </a:lnTo>
                  <a:lnTo>
                    <a:pt x="963" y="248"/>
                  </a:lnTo>
                  <a:lnTo>
                    <a:pt x="951" y="254"/>
                  </a:lnTo>
                  <a:lnTo>
                    <a:pt x="939" y="258"/>
                  </a:lnTo>
                  <a:lnTo>
                    <a:pt x="926" y="261"/>
                  </a:lnTo>
                  <a:lnTo>
                    <a:pt x="914" y="264"/>
                  </a:lnTo>
                  <a:lnTo>
                    <a:pt x="899" y="264"/>
                  </a:lnTo>
                  <a:lnTo>
                    <a:pt x="899" y="26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sp>
        <p:nvSpPr>
          <p:cNvPr id="367" name="Freeform 81">
            <a:extLst>
              <a:ext uri="{FF2B5EF4-FFF2-40B4-BE49-F238E27FC236}">
                <a16:creationId xmlns:a16="http://schemas.microsoft.com/office/drawing/2014/main" id="{CA43B38D-AFC4-435C-867E-59E7BCC4D5DD}"/>
              </a:ext>
            </a:extLst>
          </p:cNvPr>
          <p:cNvSpPr>
            <a:spLocks noEditPoints="1"/>
          </p:cNvSpPr>
          <p:nvPr/>
        </p:nvSpPr>
        <p:spPr bwMode="auto">
          <a:xfrm>
            <a:off x="4350589" y="4584526"/>
            <a:ext cx="200049" cy="315702"/>
          </a:xfrm>
          <a:custGeom>
            <a:avLst/>
            <a:gdLst>
              <a:gd name="T0" fmla="*/ 5 w 767"/>
              <a:gd name="T1" fmla="*/ 278 h 1215"/>
              <a:gd name="T2" fmla="*/ 33 w 767"/>
              <a:gd name="T3" fmla="*/ 192 h 1215"/>
              <a:gd name="T4" fmla="*/ 79 w 767"/>
              <a:gd name="T5" fmla="*/ 122 h 1215"/>
              <a:gd name="T6" fmla="*/ 131 w 767"/>
              <a:gd name="T7" fmla="*/ 76 h 1215"/>
              <a:gd name="T8" fmla="*/ 210 w 767"/>
              <a:gd name="T9" fmla="*/ 34 h 1215"/>
              <a:gd name="T10" fmla="*/ 305 w 767"/>
              <a:gd name="T11" fmla="*/ 8 h 1215"/>
              <a:gd name="T12" fmla="*/ 415 w 767"/>
              <a:gd name="T13" fmla="*/ 0 h 1215"/>
              <a:gd name="T14" fmla="*/ 496 w 767"/>
              <a:gd name="T15" fmla="*/ 6 h 1215"/>
              <a:gd name="T16" fmla="*/ 566 w 767"/>
              <a:gd name="T17" fmla="*/ 21 h 1215"/>
              <a:gd name="T18" fmla="*/ 639 w 767"/>
              <a:gd name="T19" fmla="*/ 55 h 1215"/>
              <a:gd name="T20" fmla="*/ 687 w 767"/>
              <a:gd name="T21" fmla="*/ 92 h 1215"/>
              <a:gd name="T22" fmla="*/ 731 w 767"/>
              <a:gd name="T23" fmla="*/ 148 h 1215"/>
              <a:gd name="T24" fmla="*/ 754 w 767"/>
              <a:gd name="T25" fmla="*/ 199 h 1215"/>
              <a:gd name="T26" fmla="*/ 766 w 767"/>
              <a:gd name="T27" fmla="*/ 272 h 1215"/>
              <a:gd name="T28" fmla="*/ 764 w 767"/>
              <a:gd name="T29" fmla="*/ 335 h 1215"/>
              <a:gd name="T30" fmla="*/ 746 w 767"/>
              <a:gd name="T31" fmla="*/ 402 h 1215"/>
              <a:gd name="T32" fmla="*/ 694 w 767"/>
              <a:gd name="T33" fmla="*/ 483 h 1215"/>
              <a:gd name="T34" fmla="*/ 627 w 767"/>
              <a:gd name="T35" fmla="*/ 546 h 1215"/>
              <a:gd name="T36" fmla="*/ 560 w 767"/>
              <a:gd name="T37" fmla="*/ 608 h 1215"/>
              <a:gd name="T38" fmla="*/ 508 w 767"/>
              <a:gd name="T39" fmla="*/ 684 h 1215"/>
              <a:gd name="T40" fmla="*/ 493 w 767"/>
              <a:gd name="T41" fmla="*/ 733 h 1215"/>
              <a:gd name="T42" fmla="*/ 487 w 767"/>
              <a:gd name="T43" fmla="*/ 792 h 1215"/>
              <a:gd name="T44" fmla="*/ 489 w 767"/>
              <a:gd name="T45" fmla="*/ 816 h 1215"/>
              <a:gd name="T46" fmla="*/ 246 w 767"/>
              <a:gd name="T47" fmla="*/ 840 h 1215"/>
              <a:gd name="T48" fmla="*/ 253 w 767"/>
              <a:gd name="T49" fmla="*/ 674 h 1215"/>
              <a:gd name="T50" fmla="*/ 279 w 767"/>
              <a:gd name="T51" fmla="*/ 579 h 1215"/>
              <a:gd name="T52" fmla="*/ 329 w 767"/>
              <a:gd name="T53" fmla="*/ 505 h 1215"/>
              <a:gd name="T54" fmla="*/ 415 w 767"/>
              <a:gd name="T55" fmla="*/ 440 h 1215"/>
              <a:gd name="T56" fmla="*/ 478 w 767"/>
              <a:gd name="T57" fmla="*/ 385 h 1215"/>
              <a:gd name="T58" fmla="*/ 499 w 767"/>
              <a:gd name="T59" fmla="*/ 341 h 1215"/>
              <a:gd name="T60" fmla="*/ 499 w 767"/>
              <a:gd name="T61" fmla="*/ 304 h 1215"/>
              <a:gd name="T62" fmla="*/ 479 w 767"/>
              <a:gd name="T63" fmla="*/ 273 h 1215"/>
              <a:gd name="T64" fmla="*/ 446 w 767"/>
              <a:gd name="T65" fmla="*/ 259 h 1215"/>
              <a:gd name="T66" fmla="*/ 365 w 767"/>
              <a:gd name="T67" fmla="*/ 254 h 1215"/>
              <a:gd name="T68" fmla="*/ 310 w 767"/>
              <a:gd name="T69" fmla="*/ 268 h 1215"/>
              <a:gd name="T70" fmla="*/ 277 w 767"/>
              <a:gd name="T71" fmla="*/ 294 h 1215"/>
              <a:gd name="T72" fmla="*/ 256 w 767"/>
              <a:gd name="T73" fmla="*/ 338 h 1215"/>
              <a:gd name="T74" fmla="*/ 548 w 767"/>
              <a:gd name="T75" fmla="*/ 1081 h 1215"/>
              <a:gd name="T76" fmla="*/ 527 w 767"/>
              <a:gd name="T77" fmla="*/ 1139 h 1215"/>
              <a:gd name="T78" fmla="*/ 484 w 767"/>
              <a:gd name="T79" fmla="*/ 1183 h 1215"/>
              <a:gd name="T80" fmla="*/ 426 w 767"/>
              <a:gd name="T81" fmla="*/ 1208 h 1215"/>
              <a:gd name="T82" fmla="*/ 361 w 767"/>
              <a:gd name="T83" fmla="*/ 1214 h 1215"/>
              <a:gd name="T84" fmla="*/ 301 w 767"/>
              <a:gd name="T85" fmla="*/ 1198 h 1215"/>
              <a:gd name="T86" fmla="*/ 251 w 767"/>
              <a:gd name="T87" fmla="*/ 1162 h 1215"/>
              <a:gd name="T88" fmla="*/ 219 w 767"/>
              <a:gd name="T89" fmla="*/ 1111 h 1215"/>
              <a:gd name="T90" fmla="*/ 212 w 767"/>
              <a:gd name="T91" fmla="*/ 1050 h 1215"/>
              <a:gd name="T92" fmla="*/ 232 w 767"/>
              <a:gd name="T93" fmla="*/ 993 h 1215"/>
              <a:gd name="T94" fmla="*/ 275 w 767"/>
              <a:gd name="T95" fmla="*/ 950 h 1215"/>
              <a:gd name="T96" fmla="*/ 330 w 767"/>
              <a:gd name="T97" fmla="*/ 925 h 1215"/>
              <a:gd name="T98" fmla="*/ 395 w 767"/>
              <a:gd name="T99" fmla="*/ 919 h 1215"/>
              <a:gd name="T100" fmla="*/ 457 w 767"/>
              <a:gd name="T101" fmla="*/ 935 h 1215"/>
              <a:gd name="T102" fmla="*/ 508 w 767"/>
              <a:gd name="T103" fmla="*/ 970 h 1215"/>
              <a:gd name="T104" fmla="*/ 540 w 767"/>
              <a:gd name="T105" fmla="*/ 102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1215">
                <a:moveTo>
                  <a:pt x="0" y="337"/>
                </a:moveTo>
                <a:lnTo>
                  <a:pt x="0" y="337"/>
                </a:lnTo>
                <a:lnTo>
                  <a:pt x="1" y="317"/>
                </a:lnTo>
                <a:lnTo>
                  <a:pt x="3" y="297"/>
                </a:lnTo>
                <a:lnTo>
                  <a:pt x="5" y="278"/>
                </a:lnTo>
                <a:lnTo>
                  <a:pt x="10" y="259"/>
                </a:lnTo>
                <a:lnTo>
                  <a:pt x="14" y="242"/>
                </a:lnTo>
                <a:lnTo>
                  <a:pt x="20" y="225"/>
                </a:lnTo>
                <a:lnTo>
                  <a:pt x="25" y="208"/>
                </a:lnTo>
                <a:lnTo>
                  <a:pt x="33" y="192"/>
                </a:lnTo>
                <a:lnTo>
                  <a:pt x="41" y="177"/>
                </a:lnTo>
                <a:lnTo>
                  <a:pt x="49" y="162"/>
                </a:lnTo>
                <a:lnTo>
                  <a:pt x="59" y="148"/>
                </a:lnTo>
                <a:lnTo>
                  <a:pt x="69" y="134"/>
                </a:lnTo>
                <a:lnTo>
                  <a:pt x="79" y="122"/>
                </a:lnTo>
                <a:lnTo>
                  <a:pt x="91" y="109"/>
                </a:lnTo>
                <a:lnTo>
                  <a:pt x="103" y="97"/>
                </a:lnTo>
                <a:lnTo>
                  <a:pt x="117" y="86"/>
                </a:lnTo>
                <a:lnTo>
                  <a:pt x="117" y="86"/>
                </a:lnTo>
                <a:lnTo>
                  <a:pt x="131" y="76"/>
                </a:lnTo>
                <a:lnTo>
                  <a:pt x="146" y="66"/>
                </a:lnTo>
                <a:lnTo>
                  <a:pt x="160" y="57"/>
                </a:lnTo>
                <a:lnTo>
                  <a:pt x="177" y="48"/>
                </a:lnTo>
                <a:lnTo>
                  <a:pt x="192" y="40"/>
                </a:lnTo>
                <a:lnTo>
                  <a:pt x="210" y="34"/>
                </a:lnTo>
                <a:lnTo>
                  <a:pt x="228" y="27"/>
                </a:lnTo>
                <a:lnTo>
                  <a:pt x="246" y="21"/>
                </a:lnTo>
                <a:lnTo>
                  <a:pt x="265" y="17"/>
                </a:lnTo>
                <a:lnTo>
                  <a:pt x="285" y="13"/>
                </a:lnTo>
                <a:lnTo>
                  <a:pt x="305" y="8"/>
                </a:lnTo>
                <a:lnTo>
                  <a:pt x="326" y="6"/>
                </a:lnTo>
                <a:lnTo>
                  <a:pt x="347" y="4"/>
                </a:lnTo>
                <a:lnTo>
                  <a:pt x="369" y="1"/>
                </a:lnTo>
                <a:lnTo>
                  <a:pt x="391" y="0"/>
                </a:lnTo>
                <a:lnTo>
                  <a:pt x="415" y="0"/>
                </a:lnTo>
                <a:lnTo>
                  <a:pt x="415" y="0"/>
                </a:lnTo>
                <a:lnTo>
                  <a:pt x="436" y="0"/>
                </a:lnTo>
                <a:lnTo>
                  <a:pt x="456" y="1"/>
                </a:lnTo>
                <a:lnTo>
                  <a:pt x="476" y="4"/>
                </a:lnTo>
                <a:lnTo>
                  <a:pt x="496" y="6"/>
                </a:lnTo>
                <a:lnTo>
                  <a:pt x="514" y="8"/>
                </a:lnTo>
                <a:lnTo>
                  <a:pt x="531" y="13"/>
                </a:lnTo>
                <a:lnTo>
                  <a:pt x="549" y="17"/>
                </a:lnTo>
                <a:lnTo>
                  <a:pt x="566" y="21"/>
                </a:lnTo>
                <a:lnTo>
                  <a:pt x="566" y="21"/>
                </a:lnTo>
                <a:lnTo>
                  <a:pt x="582" y="27"/>
                </a:lnTo>
                <a:lnTo>
                  <a:pt x="597" y="34"/>
                </a:lnTo>
                <a:lnTo>
                  <a:pt x="612" y="40"/>
                </a:lnTo>
                <a:lnTo>
                  <a:pt x="626" y="47"/>
                </a:lnTo>
                <a:lnTo>
                  <a:pt x="639" y="55"/>
                </a:lnTo>
                <a:lnTo>
                  <a:pt x="653" y="64"/>
                </a:lnTo>
                <a:lnTo>
                  <a:pt x="665" y="73"/>
                </a:lnTo>
                <a:lnTo>
                  <a:pt x="676" y="83"/>
                </a:lnTo>
                <a:lnTo>
                  <a:pt x="676" y="83"/>
                </a:lnTo>
                <a:lnTo>
                  <a:pt x="687" y="92"/>
                </a:lnTo>
                <a:lnTo>
                  <a:pt x="697" y="103"/>
                </a:lnTo>
                <a:lnTo>
                  <a:pt x="706" y="113"/>
                </a:lnTo>
                <a:lnTo>
                  <a:pt x="715" y="124"/>
                </a:lnTo>
                <a:lnTo>
                  <a:pt x="723" y="136"/>
                </a:lnTo>
                <a:lnTo>
                  <a:pt x="731" y="148"/>
                </a:lnTo>
                <a:lnTo>
                  <a:pt x="737" y="160"/>
                </a:lnTo>
                <a:lnTo>
                  <a:pt x="744" y="173"/>
                </a:lnTo>
                <a:lnTo>
                  <a:pt x="744" y="173"/>
                </a:lnTo>
                <a:lnTo>
                  <a:pt x="749" y="186"/>
                </a:lnTo>
                <a:lnTo>
                  <a:pt x="754" y="199"/>
                </a:lnTo>
                <a:lnTo>
                  <a:pt x="758" y="214"/>
                </a:lnTo>
                <a:lnTo>
                  <a:pt x="761" y="227"/>
                </a:lnTo>
                <a:lnTo>
                  <a:pt x="764" y="242"/>
                </a:lnTo>
                <a:lnTo>
                  <a:pt x="765" y="256"/>
                </a:lnTo>
                <a:lnTo>
                  <a:pt x="766" y="272"/>
                </a:lnTo>
                <a:lnTo>
                  <a:pt x="767" y="286"/>
                </a:lnTo>
                <a:lnTo>
                  <a:pt x="767" y="286"/>
                </a:lnTo>
                <a:lnTo>
                  <a:pt x="766" y="303"/>
                </a:lnTo>
                <a:lnTo>
                  <a:pt x="765" y="320"/>
                </a:lnTo>
                <a:lnTo>
                  <a:pt x="764" y="335"/>
                </a:lnTo>
                <a:lnTo>
                  <a:pt x="762" y="350"/>
                </a:lnTo>
                <a:lnTo>
                  <a:pt x="758" y="364"/>
                </a:lnTo>
                <a:lnTo>
                  <a:pt x="755" y="377"/>
                </a:lnTo>
                <a:lnTo>
                  <a:pt x="751" y="391"/>
                </a:lnTo>
                <a:lnTo>
                  <a:pt x="746" y="402"/>
                </a:lnTo>
                <a:lnTo>
                  <a:pt x="746" y="402"/>
                </a:lnTo>
                <a:lnTo>
                  <a:pt x="735" y="424"/>
                </a:lnTo>
                <a:lnTo>
                  <a:pt x="723" y="445"/>
                </a:lnTo>
                <a:lnTo>
                  <a:pt x="709" y="465"/>
                </a:lnTo>
                <a:lnTo>
                  <a:pt x="694" y="483"/>
                </a:lnTo>
                <a:lnTo>
                  <a:pt x="694" y="483"/>
                </a:lnTo>
                <a:lnTo>
                  <a:pt x="678" y="500"/>
                </a:lnTo>
                <a:lnTo>
                  <a:pt x="662" y="516"/>
                </a:lnTo>
                <a:lnTo>
                  <a:pt x="645" y="532"/>
                </a:lnTo>
                <a:lnTo>
                  <a:pt x="627" y="546"/>
                </a:lnTo>
                <a:lnTo>
                  <a:pt x="627" y="546"/>
                </a:lnTo>
                <a:lnTo>
                  <a:pt x="609" y="561"/>
                </a:lnTo>
                <a:lnTo>
                  <a:pt x="593" y="575"/>
                </a:lnTo>
                <a:lnTo>
                  <a:pt x="576" y="591"/>
                </a:lnTo>
                <a:lnTo>
                  <a:pt x="560" y="608"/>
                </a:lnTo>
                <a:lnTo>
                  <a:pt x="560" y="608"/>
                </a:lnTo>
                <a:lnTo>
                  <a:pt x="545" y="624"/>
                </a:lnTo>
                <a:lnTo>
                  <a:pt x="531" y="643"/>
                </a:lnTo>
                <a:lnTo>
                  <a:pt x="519" y="663"/>
                </a:lnTo>
                <a:lnTo>
                  <a:pt x="508" y="684"/>
                </a:lnTo>
                <a:lnTo>
                  <a:pt x="508" y="684"/>
                </a:lnTo>
                <a:lnTo>
                  <a:pt x="504" y="695"/>
                </a:lnTo>
                <a:lnTo>
                  <a:pt x="499" y="708"/>
                </a:lnTo>
                <a:lnTo>
                  <a:pt x="496" y="720"/>
                </a:lnTo>
                <a:lnTo>
                  <a:pt x="493" y="733"/>
                </a:lnTo>
                <a:lnTo>
                  <a:pt x="490" y="747"/>
                </a:lnTo>
                <a:lnTo>
                  <a:pt x="488" y="762"/>
                </a:lnTo>
                <a:lnTo>
                  <a:pt x="488" y="777"/>
                </a:lnTo>
                <a:lnTo>
                  <a:pt x="487" y="792"/>
                </a:lnTo>
                <a:lnTo>
                  <a:pt x="487" y="792"/>
                </a:lnTo>
                <a:lnTo>
                  <a:pt x="487" y="808"/>
                </a:lnTo>
                <a:lnTo>
                  <a:pt x="487" y="808"/>
                </a:lnTo>
                <a:lnTo>
                  <a:pt x="488" y="812"/>
                </a:lnTo>
                <a:lnTo>
                  <a:pt x="489" y="816"/>
                </a:lnTo>
                <a:lnTo>
                  <a:pt x="489" y="816"/>
                </a:lnTo>
                <a:lnTo>
                  <a:pt x="493" y="824"/>
                </a:lnTo>
                <a:lnTo>
                  <a:pt x="493" y="824"/>
                </a:lnTo>
                <a:lnTo>
                  <a:pt x="497" y="840"/>
                </a:lnTo>
                <a:lnTo>
                  <a:pt x="246" y="840"/>
                </a:lnTo>
                <a:lnTo>
                  <a:pt x="246" y="840"/>
                </a:lnTo>
                <a:lnTo>
                  <a:pt x="247" y="767"/>
                </a:lnTo>
                <a:lnTo>
                  <a:pt x="249" y="733"/>
                </a:lnTo>
                <a:lnTo>
                  <a:pt x="251" y="702"/>
                </a:lnTo>
                <a:lnTo>
                  <a:pt x="251" y="702"/>
                </a:lnTo>
                <a:lnTo>
                  <a:pt x="253" y="674"/>
                </a:lnTo>
                <a:lnTo>
                  <a:pt x="258" y="648"/>
                </a:lnTo>
                <a:lnTo>
                  <a:pt x="263" y="623"/>
                </a:lnTo>
                <a:lnTo>
                  <a:pt x="270" y="600"/>
                </a:lnTo>
                <a:lnTo>
                  <a:pt x="270" y="600"/>
                </a:lnTo>
                <a:lnTo>
                  <a:pt x="279" y="579"/>
                </a:lnTo>
                <a:lnTo>
                  <a:pt x="289" y="559"/>
                </a:lnTo>
                <a:lnTo>
                  <a:pt x="300" y="540"/>
                </a:lnTo>
                <a:lnTo>
                  <a:pt x="313" y="522"/>
                </a:lnTo>
                <a:lnTo>
                  <a:pt x="313" y="522"/>
                </a:lnTo>
                <a:lnTo>
                  <a:pt x="329" y="505"/>
                </a:lnTo>
                <a:lnTo>
                  <a:pt x="347" y="489"/>
                </a:lnTo>
                <a:lnTo>
                  <a:pt x="367" y="473"/>
                </a:lnTo>
                <a:lnTo>
                  <a:pt x="390" y="456"/>
                </a:lnTo>
                <a:lnTo>
                  <a:pt x="390" y="456"/>
                </a:lnTo>
                <a:lnTo>
                  <a:pt x="415" y="440"/>
                </a:lnTo>
                <a:lnTo>
                  <a:pt x="437" y="423"/>
                </a:lnTo>
                <a:lnTo>
                  <a:pt x="456" y="407"/>
                </a:lnTo>
                <a:lnTo>
                  <a:pt x="471" y="392"/>
                </a:lnTo>
                <a:lnTo>
                  <a:pt x="471" y="392"/>
                </a:lnTo>
                <a:lnTo>
                  <a:pt x="478" y="385"/>
                </a:lnTo>
                <a:lnTo>
                  <a:pt x="485" y="376"/>
                </a:lnTo>
                <a:lnTo>
                  <a:pt x="489" y="368"/>
                </a:lnTo>
                <a:lnTo>
                  <a:pt x="494" y="360"/>
                </a:lnTo>
                <a:lnTo>
                  <a:pt x="497" y="351"/>
                </a:lnTo>
                <a:lnTo>
                  <a:pt x="499" y="341"/>
                </a:lnTo>
                <a:lnTo>
                  <a:pt x="500" y="332"/>
                </a:lnTo>
                <a:lnTo>
                  <a:pt x="500" y="321"/>
                </a:lnTo>
                <a:lnTo>
                  <a:pt x="500" y="321"/>
                </a:lnTo>
                <a:lnTo>
                  <a:pt x="500" y="312"/>
                </a:lnTo>
                <a:lnTo>
                  <a:pt x="499" y="304"/>
                </a:lnTo>
                <a:lnTo>
                  <a:pt x="497" y="296"/>
                </a:lnTo>
                <a:lnTo>
                  <a:pt x="494" y="288"/>
                </a:lnTo>
                <a:lnTo>
                  <a:pt x="489" y="283"/>
                </a:lnTo>
                <a:lnTo>
                  <a:pt x="485" y="277"/>
                </a:lnTo>
                <a:lnTo>
                  <a:pt x="479" y="273"/>
                </a:lnTo>
                <a:lnTo>
                  <a:pt x="473" y="268"/>
                </a:lnTo>
                <a:lnTo>
                  <a:pt x="473" y="268"/>
                </a:lnTo>
                <a:lnTo>
                  <a:pt x="465" y="265"/>
                </a:lnTo>
                <a:lnTo>
                  <a:pt x="456" y="262"/>
                </a:lnTo>
                <a:lnTo>
                  <a:pt x="446" y="259"/>
                </a:lnTo>
                <a:lnTo>
                  <a:pt x="435" y="257"/>
                </a:lnTo>
                <a:lnTo>
                  <a:pt x="409" y="254"/>
                </a:lnTo>
                <a:lnTo>
                  <a:pt x="378" y="253"/>
                </a:lnTo>
                <a:lnTo>
                  <a:pt x="378" y="253"/>
                </a:lnTo>
                <a:lnTo>
                  <a:pt x="365" y="254"/>
                </a:lnTo>
                <a:lnTo>
                  <a:pt x="352" y="255"/>
                </a:lnTo>
                <a:lnTo>
                  <a:pt x="341" y="257"/>
                </a:lnTo>
                <a:lnTo>
                  <a:pt x="330" y="259"/>
                </a:lnTo>
                <a:lnTo>
                  <a:pt x="320" y="264"/>
                </a:lnTo>
                <a:lnTo>
                  <a:pt x="310" y="268"/>
                </a:lnTo>
                <a:lnTo>
                  <a:pt x="300" y="274"/>
                </a:lnTo>
                <a:lnTo>
                  <a:pt x="292" y="279"/>
                </a:lnTo>
                <a:lnTo>
                  <a:pt x="292" y="279"/>
                </a:lnTo>
                <a:lnTo>
                  <a:pt x="285" y="286"/>
                </a:lnTo>
                <a:lnTo>
                  <a:pt x="277" y="294"/>
                </a:lnTo>
                <a:lnTo>
                  <a:pt x="271" y="302"/>
                </a:lnTo>
                <a:lnTo>
                  <a:pt x="266" y="311"/>
                </a:lnTo>
                <a:lnTo>
                  <a:pt x="261" y="320"/>
                </a:lnTo>
                <a:lnTo>
                  <a:pt x="258" y="328"/>
                </a:lnTo>
                <a:lnTo>
                  <a:pt x="256" y="338"/>
                </a:lnTo>
                <a:lnTo>
                  <a:pt x="255" y="350"/>
                </a:lnTo>
                <a:lnTo>
                  <a:pt x="0" y="337"/>
                </a:lnTo>
                <a:close/>
                <a:moveTo>
                  <a:pt x="548" y="1066"/>
                </a:moveTo>
                <a:lnTo>
                  <a:pt x="548" y="1066"/>
                </a:lnTo>
                <a:lnTo>
                  <a:pt x="548" y="1081"/>
                </a:lnTo>
                <a:lnTo>
                  <a:pt x="545" y="1097"/>
                </a:lnTo>
                <a:lnTo>
                  <a:pt x="540" y="1111"/>
                </a:lnTo>
                <a:lnTo>
                  <a:pt x="535" y="1126"/>
                </a:lnTo>
                <a:lnTo>
                  <a:pt x="535" y="1126"/>
                </a:lnTo>
                <a:lnTo>
                  <a:pt x="527" y="1139"/>
                </a:lnTo>
                <a:lnTo>
                  <a:pt x="518" y="1151"/>
                </a:lnTo>
                <a:lnTo>
                  <a:pt x="508" y="1162"/>
                </a:lnTo>
                <a:lnTo>
                  <a:pt x="496" y="1172"/>
                </a:lnTo>
                <a:lnTo>
                  <a:pt x="496" y="1172"/>
                </a:lnTo>
                <a:lnTo>
                  <a:pt x="484" y="1183"/>
                </a:lnTo>
                <a:lnTo>
                  <a:pt x="470" y="1190"/>
                </a:lnTo>
                <a:lnTo>
                  <a:pt x="457" y="1198"/>
                </a:lnTo>
                <a:lnTo>
                  <a:pt x="441" y="1204"/>
                </a:lnTo>
                <a:lnTo>
                  <a:pt x="441" y="1204"/>
                </a:lnTo>
                <a:lnTo>
                  <a:pt x="426" y="1208"/>
                </a:lnTo>
                <a:lnTo>
                  <a:pt x="410" y="1211"/>
                </a:lnTo>
                <a:lnTo>
                  <a:pt x="395" y="1214"/>
                </a:lnTo>
                <a:lnTo>
                  <a:pt x="378" y="1215"/>
                </a:lnTo>
                <a:lnTo>
                  <a:pt x="378" y="1215"/>
                </a:lnTo>
                <a:lnTo>
                  <a:pt x="361" y="1214"/>
                </a:lnTo>
                <a:lnTo>
                  <a:pt x="346" y="1211"/>
                </a:lnTo>
                <a:lnTo>
                  <a:pt x="330" y="1208"/>
                </a:lnTo>
                <a:lnTo>
                  <a:pt x="316" y="1204"/>
                </a:lnTo>
                <a:lnTo>
                  <a:pt x="316" y="1204"/>
                </a:lnTo>
                <a:lnTo>
                  <a:pt x="301" y="1198"/>
                </a:lnTo>
                <a:lnTo>
                  <a:pt x="287" y="1190"/>
                </a:lnTo>
                <a:lnTo>
                  <a:pt x="275" y="1183"/>
                </a:lnTo>
                <a:lnTo>
                  <a:pt x="262" y="1172"/>
                </a:lnTo>
                <a:lnTo>
                  <a:pt x="262" y="1172"/>
                </a:lnTo>
                <a:lnTo>
                  <a:pt x="251" y="1162"/>
                </a:lnTo>
                <a:lnTo>
                  <a:pt x="241" y="1151"/>
                </a:lnTo>
                <a:lnTo>
                  <a:pt x="232" y="1139"/>
                </a:lnTo>
                <a:lnTo>
                  <a:pt x="226" y="1126"/>
                </a:lnTo>
                <a:lnTo>
                  <a:pt x="226" y="1126"/>
                </a:lnTo>
                <a:lnTo>
                  <a:pt x="219" y="1111"/>
                </a:lnTo>
                <a:lnTo>
                  <a:pt x="215" y="1097"/>
                </a:lnTo>
                <a:lnTo>
                  <a:pt x="212" y="1081"/>
                </a:lnTo>
                <a:lnTo>
                  <a:pt x="211" y="1066"/>
                </a:lnTo>
                <a:lnTo>
                  <a:pt x="211" y="1066"/>
                </a:lnTo>
                <a:lnTo>
                  <a:pt x="212" y="1050"/>
                </a:lnTo>
                <a:lnTo>
                  <a:pt x="215" y="1035"/>
                </a:lnTo>
                <a:lnTo>
                  <a:pt x="219" y="1020"/>
                </a:lnTo>
                <a:lnTo>
                  <a:pt x="226" y="1007"/>
                </a:lnTo>
                <a:lnTo>
                  <a:pt x="226" y="1007"/>
                </a:lnTo>
                <a:lnTo>
                  <a:pt x="232" y="993"/>
                </a:lnTo>
                <a:lnTo>
                  <a:pt x="241" y="981"/>
                </a:lnTo>
                <a:lnTo>
                  <a:pt x="251" y="970"/>
                </a:lnTo>
                <a:lnTo>
                  <a:pt x="262" y="960"/>
                </a:lnTo>
                <a:lnTo>
                  <a:pt x="262" y="960"/>
                </a:lnTo>
                <a:lnTo>
                  <a:pt x="275" y="950"/>
                </a:lnTo>
                <a:lnTo>
                  <a:pt x="287" y="942"/>
                </a:lnTo>
                <a:lnTo>
                  <a:pt x="301" y="935"/>
                </a:lnTo>
                <a:lnTo>
                  <a:pt x="316" y="929"/>
                </a:lnTo>
                <a:lnTo>
                  <a:pt x="316" y="929"/>
                </a:lnTo>
                <a:lnTo>
                  <a:pt x="330" y="925"/>
                </a:lnTo>
                <a:lnTo>
                  <a:pt x="346" y="921"/>
                </a:lnTo>
                <a:lnTo>
                  <a:pt x="361" y="919"/>
                </a:lnTo>
                <a:lnTo>
                  <a:pt x="378" y="918"/>
                </a:lnTo>
                <a:lnTo>
                  <a:pt x="378" y="918"/>
                </a:lnTo>
                <a:lnTo>
                  <a:pt x="395" y="919"/>
                </a:lnTo>
                <a:lnTo>
                  <a:pt x="410" y="921"/>
                </a:lnTo>
                <a:lnTo>
                  <a:pt x="426" y="925"/>
                </a:lnTo>
                <a:lnTo>
                  <a:pt x="441" y="929"/>
                </a:lnTo>
                <a:lnTo>
                  <a:pt x="441" y="929"/>
                </a:lnTo>
                <a:lnTo>
                  <a:pt x="457" y="935"/>
                </a:lnTo>
                <a:lnTo>
                  <a:pt x="470" y="942"/>
                </a:lnTo>
                <a:lnTo>
                  <a:pt x="484" y="950"/>
                </a:lnTo>
                <a:lnTo>
                  <a:pt x="496" y="960"/>
                </a:lnTo>
                <a:lnTo>
                  <a:pt x="496" y="960"/>
                </a:lnTo>
                <a:lnTo>
                  <a:pt x="508" y="970"/>
                </a:lnTo>
                <a:lnTo>
                  <a:pt x="518" y="981"/>
                </a:lnTo>
                <a:lnTo>
                  <a:pt x="527" y="993"/>
                </a:lnTo>
                <a:lnTo>
                  <a:pt x="535" y="1007"/>
                </a:lnTo>
                <a:lnTo>
                  <a:pt x="535" y="1007"/>
                </a:lnTo>
                <a:lnTo>
                  <a:pt x="540" y="1020"/>
                </a:lnTo>
                <a:lnTo>
                  <a:pt x="545" y="1035"/>
                </a:lnTo>
                <a:lnTo>
                  <a:pt x="548" y="1050"/>
                </a:lnTo>
                <a:lnTo>
                  <a:pt x="548" y="1066"/>
                </a:lnTo>
                <a:lnTo>
                  <a:pt x="548" y="10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368" name="Gruppieren 367">
            <a:extLst>
              <a:ext uri="{FF2B5EF4-FFF2-40B4-BE49-F238E27FC236}">
                <a16:creationId xmlns:a16="http://schemas.microsoft.com/office/drawing/2014/main" id="{DBE0E55F-F260-4F64-81A1-D2B492CDCEB6}"/>
              </a:ext>
            </a:extLst>
          </p:cNvPr>
          <p:cNvGrpSpPr/>
          <p:nvPr/>
        </p:nvGrpSpPr>
        <p:grpSpPr>
          <a:xfrm>
            <a:off x="5064160" y="4596248"/>
            <a:ext cx="84396" cy="292258"/>
            <a:chOff x="5050555" y="3900314"/>
            <a:chExt cx="84396" cy="292258"/>
          </a:xfrm>
          <a:solidFill>
            <a:schemeClr val="bg1"/>
          </a:solidFill>
        </p:grpSpPr>
        <p:sp>
          <p:nvSpPr>
            <p:cNvPr id="369" name="Freeform 86">
              <a:extLst>
                <a:ext uri="{FF2B5EF4-FFF2-40B4-BE49-F238E27FC236}">
                  <a16:creationId xmlns:a16="http://schemas.microsoft.com/office/drawing/2014/main" id="{B196991E-43CC-4968-82D4-9F629E453D15}"/>
                </a:ext>
              </a:extLst>
            </p:cNvPr>
            <p:cNvSpPr>
              <a:spLocks/>
            </p:cNvSpPr>
            <p:nvPr/>
          </p:nvSpPr>
          <p:spPr bwMode="auto">
            <a:xfrm>
              <a:off x="5050555" y="3900314"/>
              <a:ext cx="84396" cy="206300"/>
            </a:xfrm>
            <a:custGeom>
              <a:avLst/>
              <a:gdLst>
                <a:gd name="T0" fmla="*/ 165 w 328"/>
                <a:gd name="T1" fmla="*/ 0 h 789"/>
                <a:gd name="T2" fmla="*/ 131 w 328"/>
                <a:gd name="T3" fmla="*/ 2 h 789"/>
                <a:gd name="T4" fmla="*/ 100 w 328"/>
                <a:gd name="T5" fmla="*/ 10 h 789"/>
                <a:gd name="T6" fmla="*/ 72 w 328"/>
                <a:gd name="T7" fmla="*/ 21 h 789"/>
                <a:gd name="T8" fmla="*/ 48 w 328"/>
                <a:gd name="T9" fmla="*/ 38 h 789"/>
                <a:gd name="T10" fmla="*/ 28 w 328"/>
                <a:gd name="T11" fmla="*/ 59 h 789"/>
                <a:gd name="T12" fmla="*/ 13 w 328"/>
                <a:gd name="T13" fmla="*/ 83 h 789"/>
                <a:gd name="T14" fmla="*/ 3 w 328"/>
                <a:gd name="T15" fmla="*/ 112 h 789"/>
                <a:gd name="T16" fmla="*/ 0 w 328"/>
                <a:gd name="T17" fmla="*/ 145 h 789"/>
                <a:gd name="T18" fmla="*/ 0 w 328"/>
                <a:gd name="T19" fmla="*/ 152 h 789"/>
                <a:gd name="T20" fmla="*/ 80 w 328"/>
                <a:gd name="T21" fmla="*/ 733 h 789"/>
                <a:gd name="T22" fmla="*/ 81 w 328"/>
                <a:gd name="T23" fmla="*/ 738 h 789"/>
                <a:gd name="T24" fmla="*/ 86 w 328"/>
                <a:gd name="T25" fmla="*/ 750 h 789"/>
                <a:gd name="T26" fmla="*/ 97 w 328"/>
                <a:gd name="T27" fmla="*/ 765 h 789"/>
                <a:gd name="T28" fmla="*/ 120 w 328"/>
                <a:gd name="T29" fmla="*/ 780 h 789"/>
                <a:gd name="T30" fmla="*/ 149 w 328"/>
                <a:gd name="T31" fmla="*/ 788 h 789"/>
                <a:gd name="T32" fmla="*/ 165 w 328"/>
                <a:gd name="T33" fmla="*/ 789 h 789"/>
                <a:gd name="T34" fmla="*/ 195 w 328"/>
                <a:gd name="T35" fmla="*/ 786 h 789"/>
                <a:gd name="T36" fmla="*/ 220 w 328"/>
                <a:gd name="T37" fmla="*/ 774 h 789"/>
                <a:gd name="T38" fmla="*/ 238 w 328"/>
                <a:gd name="T39" fmla="*/ 755 h 789"/>
                <a:gd name="T40" fmla="*/ 244 w 328"/>
                <a:gd name="T41" fmla="*/ 744 h 789"/>
                <a:gd name="T42" fmla="*/ 246 w 328"/>
                <a:gd name="T43" fmla="*/ 733 h 789"/>
                <a:gd name="T44" fmla="*/ 328 w 328"/>
                <a:gd name="T45" fmla="*/ 159 h 789"/>
                <a:gd name="T46" fmla="*/ 328 w 328"/>
                <a:gd name="T47" fmla="*/ 145 h 789"/>
                <a:gd name="T48" fmla="*/ 327 w 328"/>
                <a:gd name="T49" fmla="*/ 130 h 789"/>
                <a:gd name="T50" fmla="*/ 320 w 328"/>
                <a:gd name="T51" fmla="*/ 100 h 789"/>
                <a:gd name="T52" fmla="*/ 308 w 328"/>
                <a:gd name="T53" fmla="*/ 73 h 789"/>
                <a:gd name="T54" fmla="*/ 290 w 328"/>
                <a:gd name="T55" fmla="*/ 50 h 789"/>
                <a:gd name="T56" fmla="*/ 269 w 328"/>
                <a:gd name="T57" fmla="*/ 31 h 789"/>
                <a:gd name="T58" fmla="*/ 242 w 328"/>
                <a:gd name="T59" fmla="*/ 15 h 789"/>
                <a:gd name="T60" fmla="*/ 213 w 328"/>
                <a:gd name="T61" fmla="*/ 5 h 789"/>
                <a:gd name="T62" fmla="*/ 181 w 328"/>
                <a:gd name="T63" fmla="*/ 0 h 789"/>
                <a:gd name="T64" fmla="*/ 165 w 328"/>
                <a:gd name="T65"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789">
                  <a:moveTo>
                    <a:pt x="165" y="0"/>
                  </a:moveTo>
                  <a:lnTo>
                    <a:pt x="165" y="0"/>
                  </a:lnTo>
                  <a:lnTo>
                    <a:pt x="148" y="0"/>
                  </a:lnTo>
                  <a:lnTo>
                    <a:pt x="131" y="2"/>
                  </a:lnTo>
                  <a:lnTo>
                    <a:pt x="116" y="5"/>
                  </a:lnTo>
                  <a:lnTo>
                    <a:pt x="100" y="10"/>
                  </a:lnTo>
                  <a:lnTo>
                    <a:pt x="86" y="14"/>
                  </a:lnTo>
                  <a:lnTo>
                    <a:pt x="72" y="21"/>
                  </a:lnTo>
                  <a:lnTo>
                    <a:pt x="60" y="29"/>
                  </a:lnTo>
                  <a:lnTo>
                    <a:pt x="48" y="38"/>
                  </a:lnTo>
                  <a:lnTo>
                    <a:pt x="38" y="48"/>
                  </a:lnTo>
                  <a:lnTo>
                    <a:pt x="28" y="59"/>
                  </a:lnTo>
                  <a:lnTo>
                    <a:pt x="20" y="71"/>
                  </a:lnTo>
                  <a:lnTo>
                    <a:pt x="13" y="83"/>
                  </a:lnTo>
                  <a:lnTo>
                    <a:pt x="8" y="98"/>
                  </a:lnTo>
                  <a:lnTo>
                    <a:pt x="3" y="112"/>
                  </a:lnTo>
                  <a:lnTo>
                    <a:pt x="1" y="129"/>
                  </a:lnTo>
                  <a:lnTo>
                    <a:pt x="0" y="145"/>
                  </a:lnTo>
                  <a:lnTo>
                    <a:pt x="0" y="145"/>
                  </a:lnTo>
                  <a:lnTo>
                    <a:pt x="0" y="152"/>
                  </a:lnTo>
                  <a:lnTo>
                    <a:pt x="0" y="159"/>
                  </a:lnTo>
                  <a:lnTo>
                    <a:pt x="80" y="733"/>
                  </a:lnTo>
                  <a:lnTo>
                    <a:pt x="80" y="733"/>
                  </a:lnTo>
                  <a:lnTo>
                    <a:pt x="81" y="738"/>
                  </a:lnTo>
                  <a:lnTo>
                    <a:pt x="83" y="744"/>
                  </a:lnTo>
                  <a:lnTo>
                    <a:pt x="86" y="750"/>
                  </a:lnTo>
                  <a:lnTo>
                    <a:pt x="89" y="755"/>
                  </a:lnTo>
                  <a:lnTo>
                    <a:pt x="97" y="765"/>
                  </a:lnTo>
                  <a:lnTo>
                    <a:pt x="108" y="774"/>
                  </a:lnTo>
                  <a:lnTo>
                    <a:pt x="120" y="780"/>
                  </a:lnTo>
                  <a:lnTo>
                    <a:pt x="133" y="786"/>
                  </a:lnTo>
                  <a:lnTo>
                    <a:pt x="149" y="788"/>
                  </a:lnTo>
                  <a:lnTo>
                    <a:pt x="165" y="789"/>
                  </a:lnTo>
                  <a:lnTo>
                    <a:pt x="165" y="789"/>
                  </a:lnTo>
                  <a:lnTo>
                    <a:pt x="180" y="788"/>
                  </a:lnTo>
                  <a:lnTo>
                    <a:pt x="195" y="786"/>
                  </a:lnTo>
                  <a:lnTo>
                    <a:pt x="208" y="780"/>
                  </a:lnTo>
                  <a:lnTo>
                    <a:pt x="220" y="774"/>
                  </a:lnTo>
                  <a:lnTo>
                    <a:pt x="230" y="765"/>
                  </a:lnTo>
                  <a:lnTo>
                    <a:pt x="238" y="755"/>
                  </a:lnTo>
                  <a:lnTo>
                    <a:pt x="241" y="750"/>
                  </a:lnTo>
                  <a:lnTo>
                    <a:pt x="244" y="744"/>
                  </a:lnTo>
                  <a:lnTo>
                    <a:pt x="245" y="738"/>
                  </a:lnTo>
                  <a:lnTo>
                    <a:pt x="246" y="733"/>
                  </a:lnTo>
                  <a:lnTo>
                    <a:pt x="328" y="159"/>
                  </a:lnTo>
                  <a:lnTo>
                    <a:pt x="328" y="159"/>
                  </a:lnTo>
                  <a:lnTo>
                    <a:pt x="328" y="152"/>
                  </a:lnTo>
                  <a:lnTo>
                    <a:pt x="328" y="145"/>
                  </a:lnTo>
                  <a:lnTo>
                    <a:pt x="328" y="145"/>
                  </a:lnTo>
                  <a:lnTo>
                    <a:pt x="327" y="130"/>
                  </a:lnTo>
                  <a:lnTo>
                    <a:pt x="325" y="114"/>
                  </a:lnTo>
                  <a:lnTo>
                    <a:pt x="320" y="100"/>
                  </a:lnTo>
                  <a:lnTo>
                    <a:pt x="315" y="85"/>
                  </a:lnTo>
                  <a:lnTo>
                    <a:pt x="308" y="73"/>
                  </a:lnTo>
                  <a:lnTo>
                    <a:pt x="300" y="61"/>
                  </a:lnTo>
                  <a:lnTo>
                    <a:pt x="290" y="50"/>
                  </a:lnTo>
                  <a:lnTo>
                    <a:pt x="280" y="40"/>
                  </a:lnTo>
                  <a:lnTo>
                    <a:pt x="269" y="31"/>
                  </a:lnTo>
                  <a:lnTo>
                    <a:pt x="256" y="23"/>
                  </a:lnTo>
                  <a:lnTo>
                    <a:pt x="242" y="15"/>
                  </a:lnTo>
                  <a:lnTo>
                    <a:pt x="228" y="10"/>
                  </a:lnTo>
                  <a:lnTo>
                    <a:pt x="213" y="5"/>
                  </a:lnTo>
                  <a:lnTo>
                    <a:pt x="198" y="2"/>
                  </a:lnTo>
                  <a:lnTo>
                    <a:pt x="181"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70" name="Freeform 87">
              <a:extLst>
                <a:ext uri="{FF2B5EF4-FFF2-40B4-BE49-F238E27FC236}">
                  <a16:creationId xmlns:a16="http://schemas.microsoft.com/office/drawing/2014/main" id="{69D30515-DD22-4523-9786-8186A44A0BE2}"/>
                </a:ext>
              </a:extLst>
            </p:cNvPr>
            <p:cNvSpPr>
              <a:spLocks/>
            </p:cNvSpPr>
            <p:nvPr/>
          </p:nvSpPr>
          <p:spPr bwMode="auto">
            <a:xfrm>
              <a:off x="5053681" y="4120679"/>
              <a:ext cx="78144" cy="71893"/>
            </a:xfrm>
            <a:custGeom>
              <a:avLst/>
              <a:gdLst>
                <a:gd name="T0" fmla="*/ 152 w 302"/>
                <a:gd name="T1" fmla="*/ 0 h 275"/>
                <a:gd name="T2" fmla="*/ 120 w 302"/>
                <a:gd name="T3" fmla="*/ 4 h 275"/>
                <a:gd name="T4" fmla="*/ 93 w 302"/>
                <a:gd name="T5" fmla="*/ 11 h 275"/>
                <a:gd name="T6" fmla="*/ 67 w 302"/>
                <a:gd name="T7" fmla="*/ 25 h 275"/>
                <a:gd name="T8" fmla="*/ 45 w 302"/>
                <a:gd name="T9" fmla="*/ 41 h 275"/>
                <a:gd name="T10" fmla="*/ 26 w 302"/>
                <a:gd name="T11" fmla="*/ 62 h 275"/>
                <a:gd name="T12" fmla="*/ 13 w 302"/>
                <a:gd name="T13" fmla="*/ 86 h 275"/>
                <a:gd name="T14" fmla="*/ 4 w 302"/>
                <a:gd name="T15" fmla="*/ 111 h 275"/>
                <a:gd name="T16" fmla="*/ 0 w 302"/>
                <a:gd name="T17" fmla="*/ 140 h 275"/>
                <a:gd name="T18" fmla="*/ 1 w 302"/>
                <a:gd name="T19" fmla="*/ 154 h 275"/>
                <a:gd name="T20" fmla="*/ 7 w 302"/>
                <a:gd name="T21" fmla="*/ 180 h 275"/>
                <a:gd name="T22" fmla="*/ 19 w 302"/>
                <a:gd name="T23" fmla="*/ 205 h 275"/>
                <a:gd name="T24" fmla="*/ 35 w 302"/>
                <a:gd name="T25" fmla="*/ 226 h 275"/>
                <a:gd name="T26" fmla="*/ 55 w 302"/>
                <a:gd name="T27" fmla="*/ 245 h 275"/>
                <a:gd name="T28" fmla="*/ 79 w 302"/>
                <a:gd name="T29" fmla="*/ 259 h 275"/>
                <a:gd name="T30" fmla="*/ 106 w 302"/>
                <a:gd name="T31" fmla="*/ 269 h 275"/>
                <a:gd name="T32" fmla="*/ 136 w 302"/>
                <a:gd name="T33" fmla="*/ 275 h 275"/>
                <a:gd name="T34" fmla="*/ 152 w 302"/>
                <a:gd name="T35" fmla="*/ 275 h 275"/>
                <a:gd name="T36" fmla="*/ 182 w 302"/>
                <a:gd name="T37" fmla="*/ 273 h 275"/>
                <a:gd name="T38" fmla="*/ 209 w 302"/>
                <a:gd name="T39" fmla="*/ 265 h 275"/>
                <a:gd name="T40" fmla="*/ 235 w 302"/>
                <a:gd name="T41" fmla="*/ 253 h 275"/>
                <a:gd name="T42" fmla="*/ 258 w 302"/>
                <a:gd name="T43" fmla="*/ 236 h 275"/>
                <a:gd name="T44" fmla="*/ 276 w 302"/>
                <a:gd name="T45" fmla="*/ 216 h 275"/>
                <a:gd name="T46" fmla="*/ 289 w 302"/>
                <a:gd name="T47" fmla="*/ 194 h 275"/>
                <a:gd name="T48" fmla="*/ 298 w 302"/>
                <a:gd name="T49" fmla="*/ 168 h 275"/>
                <a:gd name="T50" fmla="*/ 302 w 302"/>
                <a:gd name="T51" fmla="*/ 140 h 275"/>
                <a:gd name="T52" fmla="*/ 301 w 302"/>
                <a:gd name="T53" fmla="*/ 126 h 275"/>
                <a:gd name="T54" fmla="*/ 295 w 302"/>
                <a:gd name="T55" fmla="*/ 98 h 275"/>
                <a:gd name="T56" fmla="*/ 284 w 302"/>
                <a:gd name="T57" fmla="*/ 74 h 275"/>
                <a:gd name="T58" fmla="*/ 267 w 302"/>
                <a:gd name="T59" fmla="*/ 51 h 275"/>
                <a:gd name="T60" fmla="*/ 247 w 302"/>
                <a:gd name="T61" fmla="*/ 32 h 275"/>
                <a:gd name="T62" fmla="*/ 223 w 302"/>
                <a:gd name="T63" fmla="*/ 17 h 275"/>
                <a:gd name="T64" fmla="*/ 196 w 302"/>
                <a:gd name="T65" fmla="*/ 7 h 275"/>
                <a:gd name="T66" fmla="*/ 167 w 302"/>
                <a:gd name="T67" fmla="*/ 1 h 275"/>
                <a:gd name="T68" fmla="*/ 152 w 302"/>
                <a:gd name="T6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275">
                  <a:moveTo>
                    <a:pt x="152" y="0"/>
                  </a:moveTo>
                  <a:lnTo>
                    <a:pt x="152" y="0"/>
                  </a:lnTo>
                  <a:lnTo>
                    <a:pt x="136" y="1"/>
                  </a:lnTo>
                  <a:lnTo>
                    <a:pt x="120" y="4"/>
                  </a:lnTo>
                  <a:lnTo>
                    <a:pt x="106" y="7"/>
                  </a:lnTo>
                  <a:lnTo>
                    <a:pt x="93" y="11"/>
                  </a:lnTo>
                  <a:lnTo>
                    <a:pt x="79" y="17"/>
                  </a:lnTo>
                  <a:lnTo>
                    <a:pt x="67" y="25"/>
                  </a:lnTo>
                  <a:lnTo>
                    <a:pt x="55" y="32"/>
                  </a:lnTo>
                  <a:lnTo>
                    <a:pt x="45" y="41"/>
                  </a:lnTo>
                  <a:lnTo>
                    <a:pt x="35" y="51"/>
                  </a:lnTo>
                  <a:lnTo>
                    <a:pt x="26" y="62"/>
                  </a:lnTo>
                  <a:lnTo>
                    <a:pt x="19" y="74"/>
                  </a:lnTo>
                  <a:lnTo>
                    <a:pt x="13" y="86"/>
                  </a:lnTo>
                  <a:lnTo>
                    <a:pt x="7" y="99"/>
                  </a:lnTo>
                  <a:lnTo>
                    <a:pt x="4" y="111"/>
                  </a:lnTo>
                  <a:lnTo>
                    <a:pt x="1" y="126"/>
                  </a:lnTo>
                  <a:lnTo>
                    <a:pt x="0" y="140"/>
                  </a:lnTo>
                  <a:lnTo>
                    <a:pt x="0" y="140"/>
                  </a:lnTo>
                  <a:lnTo>
                    <a:pt x="1" y="154"/>
                  </a:lnTo>
                  <a:lnTo>
                    <a:pt x="4" y="168"/>
                  </a:lnTo>
                  <a:lnTo>
                    <a:pt x="7" y="180"/>
                  </a:lnTo>
                  <a:lnTo>
                    <a:pt x="13" y="194"/>
                  </a:lnTo>
                  <a:lnTo>
                    <a:pt x="19" y="205"/>
                  </a:lnTo>
                  <a:lnTo>
                    <a:pt x="26" y="216"/>
                  </a:lnTo>
                  <a:lnTo>
                    <a:pt x="35" y="226"/>
                  </a:lnTo>
                  <a:lnTo>
                    <a:pt x="45" y="236"/>
                  </a:lnTo>
                  <a:lnTo>
                    <a:pt x="55" y="245"/>
                  </a:lnTo>
                  <a:lnTo>
                    <a:pt x="67" y="253"/>
                  </a:lnTo>
                  <a:lnTo>
                    <a:pt x="79" y="259"/>
                  </a:lnTo>
                  <a:lnTo>
                    <a:pt x="93" y="265"/>
                  </a:lnTo>
                  <a:lnTo>
                    <a:pt x="106" y="269"/>
                  </a:lnTo>
                  <a:lnTo>
                    <a:pt x="120" y="273"/>
                  </a:lnTo>
                  <a:lnTo>
                    <a:pt x="136" y="275"/>
                  </a:lnTo>
                  <a:lnTo>
                    <a:pt x="152" y="275"/>
                  </a:lnTo>
                  <a:lnTo>
                    <a:pt x="152" y="275"/>
                  </a:lnTo>
                  <a:lnTo>
                    <a:pt x="167" y="275"/>
                  </a:lnTo>
                  <a:lnTo>
                    <a:pt x="182" y="273"/>
                  </a:lnTo>
                  <a:lnTo>
                    <a:pt x="196" y="269"/>
                  </a:lnTo>
                  <a:lnTo>
                    <a:pt x="209" y="265"/>
                  </a:lnTo>
                  <a:lnTo>
                    <a:pt x="223" y="259"/>
                  </a:lnTo>
                  <a:lnTo>
                    <a:pt x="235" y="253"/>
                  </a:lnTo>
                  <a:lnTo>
                    <a:pt x="247" y="245"/>
                  </a:lnTo>
                  <a:lnTo>
                    <a:pt x="258" y="236"/>
                  </a:lnTo>
                  <a:lnTo>
                    <a:pt x="267" y="226"/>
                  </a:lnTo>
                  <a:lnTo>
                    <a:pt x="276" y="216"/>
                  </a:lnTo>
                  <a:lnTo>
                    <a:pt x="284" y="205"/>
                  </a:lnTo>
                  <a:lnTo>
                    <a:pt x="289" y="194"/>
                  </a:lnTo>
                  <a:lnTo>
                    <a:pt x="295" y="180"/>
                  </a:lnTo>
                  <a:lnTo>
                    <a:pt x="298" y="168"/>
                  </a:lnTo>
                  <a:lnTo>
                    <a:pt x="301" y="154"/>
                  </a:lnTo>
                  <a:lnTo>
                    <a:pt x="302" y="140"/>
                  </a:lnTo>
                  <a:lnTo>
                    <a:pt x="302" y="140"/>
                  </a:lnTo>
                  <a:lnTo>
                    <a:pt x="301" y="126"/>
                  </a:lnTo>
                  <a:lnTo>
                    <a:pt x="298" y="111"/>
                  </a:lnTo>
                  <a:lnTo>
                    <a:pt x="295" y="98"/>
                  </a:lnTo>
                  <a:lnTo>
                    <a:pt x="289" y="86"/>
                  </a:lnTo>
                  <a:lnTo>
                    <a:pt x="284" y="74"/>
                  </a:lnTo>
                  <a:lnTo>
                    <a:pt x="276" y="62"/>
                  </a:lnTo>
                  <a:lnTo>
                    <a:pt x="267" y="51"/>
                  </a:lnTo>
                  <a:lnTo>
                    <a:pt x="258" y="41"/>
                  </a:lnTo>
                  <a:lnTo>
                    <a:pt x="247" y="32"/>
                  </a:lnTo>
                  <a:lnTo>
                    <a:pt x="235" y="25"/>
                  </a:lnTo>
                  <a:lnTo>
                    <a:pt x="223" y="17"/>
                  </a:lnTo>
                  <a:lnTo>
                    <a:pt x="209" y="11"/>
                  </a:lnTo>
                  <a:lnTo>
                    <a:pt x="196" y="7"/>
                  </a:lnTo>
                  <a:lnTo>
                    <a:pt x="182" y="4"/>
                  </a:lnTo>
                  <a:lnTo>
                    <a:pt x="167" y="1"/>
                  </a:lnTo>
                  <a:lnTo>
                    <a:pt x="152" y="0"/>
                  </a:lnTo>
                  <a:lnTo>
                    <a:pt x="1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71" name="Freeform 93">
            <a:extLst>
              <a:ext uri="{FF2B5EF4-FFF2-40B4-BE49-F238E27FC236}">
                <a16:creationId xmlns:a16="http://schemas.microsoft.com/office/drawing/2014/main" id="{4A6047F8-8F98-4E02-9161-8BA69A1C8624}"/>
              </a:ext>
            </a:extLst>
          </p:cNvPr>
          <p:cNvSpPr>
            <a:spLocks/>
          </p:cNvSpPr>
          <p:nvPr/>
        </p:nvSpPr>
        <p:spPr bwMode="auto">
          <a:xfrm>
            <a:off x="5648011" y="4600155"/>
            <a:ext cx="228181" cy="284444"/>
          </a:xfrm>
          <a:custGeom>
            <a:avLst/>
            <a:gdLst>
              <a:gd name="T0" fmla="*/ 7 w 871"/>
              <a:gd name="T1" fmla="*/ 968 h 1088"/>
              <a:gd name="T2" fmla="*/ 66 w 871"/>
              <a:gd name="T3" fmla="*/ 867 h 1088"/>
              <a:gd name="T4" fmla="*/ 132 w 871"/>
              <a:gd name="T5" fmla="*/ 771 h 1088"/>
              <a:gd name="T6" fmla="*/ 220 w 871"/>
              <a:gd name="T7" fmla="*/ 664 h 1088"/>
              <a:gd name="T8" fmla="*/ 329 w 871"/>
              <a:gd name="T9" fmla="*/ 552 h 1088"/>
              <a:gd name="T10" fmla="*/ 293 w 871"/>
              <a:gd name="T11" fmla="*/ 468 h 1088"/>
              <a:gd name="T12" fmla="*/ 253 w 871"/>
              <a:gd name="T13" fmla="*/ 353 h 1088"/>
              <a:gd name="T14" fmla="*/ 229 w 871"/>
              <a:gd name="T15" fmla="*/ 255 h 1088"/>
              <a:gd name="T16" fmla="*/ 216 w 871"/>
              <a:gd name="T17" fmla="*/ 173 h 1088"/>
              <a:gd name="T18" fmla="*/ 211 w 871"/>
              <a:gd name="T19" fmla="*/ 72 h 1088"/>
              <a:gd name="T20" fmla="*/ 214 w 871"/>
              <a:gd name="T21" fmla="*/ 43 h 1088"/>
              <a:gd name="T22" fmla="*/ 231 w 871"/>
              <a:gd name="T23" fmla="*/ 14 h 1088"/>
              <a:gd name="T24" fmla="*/ 257 w 871"/>
              <a:gd name="T25" fmla="*/ 1 h 1088"/>
              <a:gd name="T26" fmla="*/ 285 w 871"/>
              <a:gd name="T27" fmla="*/ 2 h 1088"/>
              <a:gd name="T28" fmla="*/ 315 w 871"/>
              <a:gd name="T29" fmla="*/ 16 h 1088"/>
              <a:gd name="T30" fmla="*/ 332 w 871"/>
              <a:gd name="T31" fmla="*/ 33 h 1088"/>
              <a:gd name="T32" fmla="*/ 362 w 871"/>
              <a:gd name="T33" fmla="*/ 149 h 1088"/>
              <a:gd name="T34" fmla="*/ 402 w 871"/>
              <a:gd name="T35" fmla="*/ 260 h 1088"/>
              <a:gd name="T36" fmla="*/ 444 w 871"/>
              <a:gd name="T37" fmla="*/ 350 h 1088"/>
              <a:gd name="T38" fmla="*/ 499 w 871"/>
              <a:gd name="T39" fmla="*/ 333 h 1088"/>
              <a:gd name="T40" fmla="*/ 598 w 871"/>
              <a:gd name="T41" fmla="*/ 221 h 1088"/>
              <a:gd name="T42" fmla="*/ 676 w 871"/>
              <a:gd name="T43" fmla="*/ 142 h 1088"/>
              <a:gd name="T44" fmla="*/ 757 w 871"/>
              <a:gd name="T45" fmla="*/ 70 h 1088"/>
              <a:gd name="T46" fmla="*/ 778 w 871"/>
              <a:gd name="T47" fmla="*/ 55 h 1088"/>
              <a:gd name="T48" fmla="*/ 817 w 871"/>
              <a:gd name="T49" fmla="*/ 73 h 1088"/>
              <a:gd name="T50" fmla="*/ 844 w 871"/>
              <a:gd name="T51" fmla="*/ 96 h 1088"/>
              <a:gd name="T52" fmla="*/ 864 w 871"/>
              <a:gd name="T53" fmla="*/ 129 h 1088"/>
              <a:gd name="T54" fmla="*/ 871 w 871"/>
              <a:gd name="T55" fmla="*/ 154 h 1088"/>
              <a:gd name="T56" fmla="*/ 853 w 871"/>
              <a:gd name="T57" fmla="*/ 188 h 1088"/>
              <a:gd name="T58" fmla="*/ 791 w 871"/>
              <a:gd name="T59" fmla="*/ 259 h 1088"/>
              <a:gd name="T60" fmla="*/ 708 w 871"/>
              <a:gd name="T61" fmla="*/ 353 h 1088"/>
              <a:gd name="T62" fmla="*/ 637 w 871"/>
              <a:gd name="T63" fmla="*/ 449 h 1088"/>
              <a:gd name="T64" fmla="*/ 563 w 871"/>
              <a:gd name="T65" fmla="*/ 575 h 1088"/>
              <a:gd name="T66" fmla="*/ 560 w 871"/>
              <a:gd name="T67" fmla="*/ 600 h 1088"/>
              <a:gd name="T68" fmla="*/ 565 w 871"/>
              <a:gd name="T69" fmla="*/ 641 h 1088"/>
              <a:gd name="T70" fmla="*/ 585 w 871"/>
              <a:gd name="T71" fmla="*/ 710 h 1088"/>
              <a:gd name="T72" fmla="*/ 626 w 871"/>
              <a:gd name="T73" fmla="*/ 794 h 1088"/>
              <a:gd name="T74" fmla="*/ 696 w 871"/>
              <a:gd name="T75" fmla="*/ 916 h 1088"/>
              <a:gd name="T76" fmla="*/ 716 w 871"/>
              <a:gd name="T77" fmla="*/ 965 h 1088"/>
              <a:gd name="T78" fmla="*/ 699 w 871"/>
              <a:gd name="T79" fmla="*/ 998 h 1088"/>
              <a:gd name="T80" fmla="*/ 680 w 871"/>
              <a:gd name="T81" fmla="*/ 1023 h 1088"/>
              <a:gd name="T82" fmla="*/ 640 w 871"/>
              <a:gd name="T83" fmla="*/ 1049 h 1088"/>
              <a:gd name="T84" fmla="*/ 590 w 871"/>
              <a:gd name="T85" fmla="*/ 998 h 1088"/>
              <a:gd name="T86" fmla="*/ 500 w 871"/>
              <a:gd name="T87" fmla="*/ 893 h 1088"/>
              <a:gd name="T88" fmla="*/ 441 w 871"/>
              <a:gd name="T89" fmla="*/ 810 h 1088"/>
              <a:gd name="T90" fmla="*/ 403 w 871"/>
              <a:gd name="T91" fmla="*/ 750 h 1088"/>
              <a:gd name="T92" fmla="*/ 331 w 871"/>
              <a:gd name="T93" fmla="*/ 819 h 1088"/>
              <a:gd name="T94" fmla="*/ 233 w 871"/>
              <a:gd name="T95" fmla="*/ 929 h 1088"/>
              <a:gd name="T96" fmla="*/ 84 w 871"/>
              <a:gd name="T97" fmla="*/ 1088 h 1088"/>
              <a:gd name="T98" fmla="*/ 69 w 871"/>
              <a:gd name="T99" fmla="*/ 1086 h 1088"/>
              <a:gd name="T100" fmla="*/ 35 w 871"/>
              <a:gd name="T101" fmla="*/ 1073 h 1088"/>
              <a:gd name="T102" fmla="*/ 12 w 871"/>
              <a:gd name="T103" fmla="*/ 1051 h 1088"/>
              <a:gd name="T104" fmla="*/ 0 w 871"/>
              <a:gd name="T105" fmla="*/ 1013 h 1088"/>
              <a:gd name="T106" fmla="*/ 2 w 871"/>
              <a:gd name="T107" fmla="*/ 97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1" h="1088">
                <a:moveTo>
                  <a:pt x="2" y="978"/>
                </a:moveTo>
                <a:lnTo>
                  <a:pt x="2" y="978"/>
                </a:lnTo>
                <a:lnTo>
                  <a:pt x="7" y="968"/>
                </a:lnTo>
                <a:lnTo>
                  <a:pt x="23" y="938"/>
                </a:lnTo>
                <a:lnTo>
                  <a:pt x="49" y="894"/>
                </a:lnTo>
                <a:lnTo>
                  <a:pt x="66" y="867"/>
                </a:lnTo>
                <a:lnTo>
                  <a:pt x="85" y="837"/>
                </a:lnTo>
                <a:lnTo>
                  <a:pt x="107" y="806"/>
                </a:lnTo>
                <a:lnTo>
                  <a:pt x="132" y="771"/>
                </a:lnTo>
                <a:lnTo>
                  <a:pt x="159" y="737"/>
                </a:lnTo>
                <a:lnTo>
                  <a:pt x="188" y="700"/>
                </a:lnTo>
                <a:lnTo>
                  <a:pt x="220" y="664"/>
                </a:lnTo>
                <a:lnTo>
                  <a:pt x="253" y="626"/>
                </a:lnTo>
                <a:lnTo>
                  <a:pt x="290" y="589"/>
                </a:lnTo>
                <a:lnTo>
                  <a:pt x="329" y="552"/>
                </a:lnTo>
                <a:lnTo>
                  <a:pt x="329" y="552"/>
                </a:lnTo>
                <a:lnTo>
                  <a:pt x="310" y="509"/>
                </a:lnTo>
                <a:lnTo>
                  <a:pt x="293" y="468"/>
                </a:lnTo>
                <a:lnTo>
                  <a:pt x="278" y="428"/>
                </a:lnTo>
                <a:lnTo>
                  <a:pt x="264" y="390"/>
                </a:lnTo>
                <a:lnTo>
                  <a:pt x="253" y="353"/>
                </a:lnTo>
                <a:lnTo>
                  <a:pt x="243" y="319"/>
                </a:lnTo>
                <a:lnTo>
                  <a:pt x="235" y="287"/>
                </a:lnTo>
                <a:lnTo>
                  <a:pt x="229" y="255"/>
                </a:lnTo>
                <a:lnTo>
                  <a:pt x="223" y="226"/>
                </a:lnTo>
                <a:lnTo>
                  <a:pt x="220" y="199"/>
                </a:lnTo>
                <a:lnTo>
                  <a:pt x="216" y="173"/>
                </a:lnTo>
                <a:lnTo>
                  <a:pt x="214" y="150"/>
                </a:lnTo>
                <a:lnTo>
                  <a:pt x="212" y="108"/>
                </a:lnTo>
                <a:lnTo>
                  <a:pt x="211" y="72"/>
                </a:lnTo>
                <a:lnTo>
                  <a:pt x="211" y="72"/>
                </a:lnTo>
                <a:lnTo>
                  <a:pt x="212" y="56"/>
                </a:lnTo>
                <a:lnTo>
                  <a:pt x="214" y="43"/>
                </a:lnTo>
                <a:lnTo>
                  <a:pt x="219" y="32"/>
                </a:lnTo>
                <a:lnTo>
                  <a:pt x="224" y="23"/>
                </a:lnTo>
                <a:lnTo>
                  <a:pt x="231" y="14"/>
                </a:lnTo>
                <a:lnTo>
                  <a:pt x="239" y="9"/>
                </a:lnTo>
                <a:lnTo>
                  <a:pt x="247" y="4"/>
                </a:lnTo>
                <a:lnTo>
                  <a:pt x="257" y="1"/>
                </a:lnTo>
                <a:lnTo>
                  <a:pt x="265" y="0"/>
                </a:lnTo>
                <a:lnTo>
                  <a:pt x="275" y="0"/>
                </a:lnTo>
                <a:lnTo>
                  <a:pt x="285" y="2"/>
                </a:lnTo>
                <a:lnTo>
                  <a:pt x="295" y="5"/>
                </a:lnTo>
                <a:lnTo>
                  <a:pt x="305" y="10"/>
                </a:lnTo>
                <a:lnTo>
                  <a:pt x="315" y="16"/>
                </a:lnTo>
                <a:lnTo>
                  <a:pt x="324" y="24"/>
                </a:lnTo>
                <a:lnTo>
                  <a:pt x="332" y="33"/>
                </a:lnTo>
                <a:lnTo>
                  <a:pt x="332" y="33"/>
                </a:lnTo>
                <a:lnTo>
                  <a:pt x="339" y="65"/>
                </a:lnTo>
                <a:lnTo>
                  <a:pt x="349" y="102"/>
                </a:lnTo>
                <a:lnTo>
                  <a:pt x="362" y="149"/>
                </a:lnTo>
                <a:lnTo>
                  <a:pt x="379" y="202"/>
                </a:lnTo>
                <a:lnTo>
                  <a:pt x="390" y="231"/>
                </a:lnTo>
                <a:lnTo>
                  <a:pt x="402" y="260"/>
                </a:lnTo>
                <a:lnTo>
                  <a:pt x="414" y="290"/>
                </a:lnTo>
                <a:lnTo>
                  <a:pt x="429" y="320"/>
                </a:lnTo>
                <a:lnTo>
                  <a:pt x="444" y="350"/>
                </a:lnTo>
                <a:lnTo>
                  <a:pt x="461" y="379"/>
                </a:lnTo>
                <a:lnTo>
                  <a:pt x="461" y="379"/>
                </a:lnTo>
                <a:lnTo>
                  <a:pt x="499" y="333"/>
                </a:lnTo>
                <a:lnTo>
                  <a:pt x="535" y="292"/>
                </a:lnTo>
                <a:lnTo>
                  <a:pt x="567" y="254"/>
                </a:lnTo>
                <a:lnTo>
                  <a:pt x="598" y="221"/>
                </a:lnTo>
                <a:lnTo>
                  <a:pt x="626" y="191"/>
                </a:lnTo>
                <a:lnTo>
                  <a:pt x="652" y="164"/>
                </a:lnTo>
                <a:lnTo>
                  <a:pt x="676" y="142"/>
                </a:lnTo>
                <a:lnTo>
                  <a:pt x="697" y="122"/>
                </a:lnTo>
                <a:lnTo>
                  <a:pt x="731" y="91"/>
                </a:lnTo>
                <a:lnTo>
                  <a:pt x="757" y="70"/>
                </a:lnTo>
                <a:lnTo>
                  <a:pt x="773" y="59"/>
                </a:lnTo>
                <a:lnTo>
                  <a:pt x="778" y="55"/>
                </a:lnTo>
                <a:lnTo>
                  <a:pt x="778" y="55"/>
                </a:lnTo>
                <a:lnTo>
                  <a:pt x="793" y="60"/>
                </a:lnTo>
                <a:lnTo>
                  <a:pt x="805" y="65"/>
                </a:lnTo>
                <a:lnTo>
                  <a:pt x="817" y="73"/>
                </a:lnTo>
                <a:lnTo>
                  <a:pt x="827" y="80"/>
                </a:lnTo>
                <a:lnTo>
                  <a:pt x="836" y="87"/>
                </a:lnTo>
                <a:lnTo>
                  <a:pt x="844" y="96"/>
                </a:lnTo>
                <a:lnTo>
                  <a:pt x="850" y="104"/>
                </a:lnTo>
                <a:lnTo>
                  <a:pt x="855" y="113"/>
                </a:lnTo>
                <a:lnTo>
                  <a:pt x="864" y="129"/>
                </a:lnTo>
                <a:lnTo>
                  <a:pt x="868" y="142"/>
                </a:lnTo>
                <a:lnTo>
                  <a:pt x="870" y="151"/>
                </a:lnTo>
                <a:lnTo>
                  <a:pt x="871" y="154"/>
                </a:lnTo>
                <a:lnTo>
                  <a:pt x="871" y="154"/>
                </a:lnTo>
                <a:lnTo>
                  <a:pt x="863" y="171"/>
                </a:lnTo>
                <a:lnTo>
                  <a:pt x="853" y="188"/>
                </a:lnTo>
                <a:lnTo>
                  <a:pt x="840" y="204"/>
                </a:lnTo>
                <a:lnTo>
                  <a:pt x="826" y="221"/>
                </a:lnTo>
                <a:lnTo>
                  <a:pt x="791" y="259"/>
                </a:lnTo>
                <a:lnTo>
                  <a:pt x="753" y="302"/>
                </a:lnTo>
                <a:lnTo>
                  <a:pt x="730" y="327"/>
                </a:lnTo>
                <a:lnTo>
                  <a:pt x="708" y="353"/>
                </a:lnTo>
                <a:lnTo>
                  <a:pt x="685" y="382"/>
                </a:lnTo>
                <a:lnTo>
                  <a:pt x="660" y="414"/>
                </a:lnTo>
                <a:lnTo>
                  <a:pt x="637" y="449"/>
                </a:lnTo>
                <a:lnTo>
                  <a:pt x="612" y="488"/>
                </a:lnTo>
                <a:lnTo>
                  <a:pt x="588" y="529"/>
                </a:lnTo>
                <a:lnTo>
                  <a:pt x="563" y="575"/>
                </a:lnTo>
                <a:lnTo>
                  <a:pt x="563" y="575"/>
                </a:lnTo>
                <a:lnTo>
                  <a:pt x="561" y="588"/>
                </a:lnTo>
                <a:lnTo>
                  <a:pt x="560" y="600"/>
                </a:lnTo>
                <a:lnTo>
                  <a:pt x="561" y="614"/>
                </a:lnTo>
                <a:lnTo>
                  <a:pt x="562" y="628"/>
                </a:lnTo>
                <a:lnTo>
                  <a:pt x="565" y="641"/>
                </a:lnTo>
                <a:lnTo>
                  <a:pt x="567" y="655"/>
                </a:lnTo>
                <a:lnTo>
                  <a:pt x="575" y="682"/>
                </a:lnTo>
                <a:lnTo>
                  <a:pt x="585" y="710"/>
                </a:lnTo>
                <a:lnTo>
                  <a:pt x="597" y="738"/>
                </a:lnTo>
                <a:lnTo>
                  <a:pt x="611" y="766"/>
                </a:lnTo>
                <a:lnTo>
                  <a:pt x="626" y="794"/>
                </a:lnTo>
                <a:lnTo>
                  <a:pt x="656" y="846"/>
                </a:lnTo>
                <a:lnTo>
                  <a:pt x="684" y="894"/>
                </a:lnTo>
                <a:lnTo>
                  <a:pt x="696" y="916"/>
                </a:lnTo>
                <a:lnTo>
                  <a:pt x="706" y="937"/>
                </a:lnTo>
                <a:lnTo>
                  <a:pt x="712" y="956"/>
                </a:lnTo>
                <a:lnTo>
                  <a:pt x="716" y="965"/>
                </a:lnTo>
                <a:lnTo>
                  <a:pt x="717" y="973"/>
                </a:lnTo>
                <a:lnTo>
                  <a:pt x="717" y="973"/>
                </a:lnTo>
                <a:lnTo>
                  <a:pt x="699" y="998"/>
                </a:lnTo>
                <a:lnTo>
                  <a:pt x="692" y="1008"/>
                </a:lnTo>
                <a:lnTo>
                  <a:pt x="687" y="1015"/>
                </a:lnTo>
                <a:lnTo>
                  <a:pt x="680" y="1023"/>
                </a:lnTo>
                <a:lnTo>
                  <a:pt x="670" y="1029"/>
                </a:lnTo>
                <a:lnTo>
                  <a:pt x="658" y="1038"/>
                </a:lnTo>
                <a:lnTo>
                  <a:pt x="640" y="1049"/>
                </a:lnTo>
                <a:lnTo>
                  <a:pt x="640" y="1049"/>
                </a:lnTo>
                <a:lnTo>
                  <a:pt x="616" y="1026"/>
                </a:lnTo>
                <a:lnTo>
                  <a:pt x="590" y="998"/>
                </a:lnTo>
                <a:lnTo>
                  <a:pt x="557" y="962"/>
                </a:lnTo>
                <a:lnTo>
                  <a:pt x="519" y="917"/>
                </a:lnTo>
                <a:lnTo>
                  <a:pt x="500" y="893"/>
                </a:lnTo>
                <a:lnTo>
                  <a:pt x="480" y="867"/>
                </a:lnTo>
                <a:lnTo>
                  <a:pt x="460" y="839"/>
                </a:lnTo>
                <a:lnTo>
                  <a:pt x="441" y="810"/>
                </a:lnTo>
                <a:lnTo>
                  <a:pt x="421" y="780"/>
                </a:lnTo>
                <a:lnTo>
                  <a:pt x="403" y="750"/>
                </a:lnTo>
                <a:lnTo>
                  <a:pt x="403" y="750"/>
                </a:lnTo>
                <a:lnTo>
                  <a:pt x="383" y="768"/>
                </a:lnTo>
                <a:lnTo>
                  <a:pt x="364" y="785"/>
                </a:lnTo>
                <a:lnTo>
                  <a:pt x="331" y="819"/>
                </a:lnTo>
                <a:lnTo>
                  <a:pt x="300" y="853"/>
                </a:lnTo>
                <a:lnTo>
                  <a:pt x="268" y="889"/>
                </a:lnTo>
                <a:lnTo>
                  <a:pt x="233" y="929"/>
                </a:lnTo>
                <a:lnTo>
                  <a:pt x="193" y="975"/>
                </a:lnTo>
                <a:lnTo>
                  <a:pt x="144" y="1027"/>
                </a:lnTo>
                <a:lnTo>
                  <a:pt x="84" y="1088"/>
                </a:lnTo>
                <a:lnTo>
                  <a:pt x="84" y="1088"/>
                </a:lnTo>
                <a:lnTo>
                  <a:pt x="80" y="1087"/>
                </a:lnTo>
                <a:lnTo>
                  <a:pt x="69" y="1086"/>
                </a:lnTo>
                <a:lnTo>
                  <a:pt x="53" y="1081"/>
                </a:lnTo>
                <a:lnTo>
                  <a:pt x="44" y="1077"/>
                </a:lnTo>
                <a:lnTo>
                  <a:pt x="35" y="1073"/>
                </a:lnTo>
                <a:lnTo>
                  <a:pt x="26" y="1066"/>
                </a:lnTo>
                <a:lnTo>
                  <a:pt x="19" y="1059"/>
                </a:lnTo>
                <a:lnTo>
                  <a:pt x="12" y="1051"/>
                </a:lnTo>
                <a:lnTo>
                  <a:pt x="5" y="1039"/>
                </a:lnTo>
                <a:lnTo>
                  <a:pt x="2" y="1027"/>
                </a:lnTo>
                <a:lnTo>
                  <a:pt x="0" y="1013"/>
                </a:lnTo>
                <a:lnTo>
                  <a:pt x="0" y="997"/>
                </a:lnTo>
                <a:lnTo>
                  <a:pt x="2" y="978"/>
                </a:lnTo>
                <a:lnTo>
                  <a:pt x="2" y="9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72" name="Freeform 99">
            <a:extLst>
              <a:ext uri="{FF2B5EF4-FFF2-40B4-BE49-F238E27FC236}">
                <a16:creationId xmlns:a16="http://schemas.microsoft.com/office/drawing/2014/main" id="{D454C066-849D-4A36-937A-549727ED9965}"/>
              </a:ext>
            </a:extLst>
          </p:cNvPr>
          <p:cNvSpPr>
            <a:spLocks/>
          </p:cNvSpPr>
          <p:nvPr/>
        </p:nvSpPr>
        <p:spPr bwMode="auto">
          <a:xfrm>
            <a:off x="6302974" y="4621253"/>
            <a:ext cx="229744" cy="242247"/>
          </a:xfrm>
          <a:custGeom>
            <a:avLst/>
            <a:gdLst>
              <a:gd name="T0" fmla="*/ 0 w 881"/>
              <a:gd name="T1" fmla="*/ 638 h 930"/>
              <a:gd name="T2" fmla="*/ 36 w 881"/>
              <a:gd name="T3" fmla="*/ 677 h 930"/>
              <a:gd name="T4" fmla="*/ 65 w 881"/>
              <a:gd name="T5" fmla="*/ 719 h 930"/>
              <a:gd name="T6" fmla="*/ 90 w 881"/>
              <a:gd name="T7" fmla="*/ 762 h 930"/>
              <a:gd name="T8" fmla="*/ 134 w 881"/>
              <a:gd name="T9" fmla="*/ 843 h 930"/>
              <a:gd name="T10" fmla="*/ 163 w 881"/>
              <a:gd name="T11" fmla="*/ 893 h 930"/>
              <a:gd name="T12" fmla="*/ 182 w 881"/>
              <a:gd name="T13" fmla="*/ 920 h 930"/>
              <a:gd name="T14" fmla="*/ 192 w 881"/>
              <a:gd name="T15" fmla="*/ 930 h 930"/>
              <a:gd name="T16" fmla="*/ 327 w 881"/>
              <a:gd name="T17" fmla="*/ 924 h 930"/>
              <a:gd name="T18" fmla="*/ 359 w 881"/>
              <a:gd name="T19" fmla="*/ 829 h 930"/>
              <a:gd name="T20" fmla="*/ 393 w 881"/>
              <a:gd name="T21" fmla="*/ 739 h 930"/>
              <a:gd name="T22" fmla="*/ 433 w 881"/>
              <a:gd name="T23" fmla="*/ 653 h 930"/>
              <a:gd name="T24" fmla="*/ 475 w 881"/>
              <a:gd name="T25" fmla="*/ 570 h 930"/>
              <a:gd name="T26" fmla="*/ 521 w 881"/>
              <a:gd name="T27" fmla="*/ 492 h 930"/>
              <a:gd name="T28" fmla="*/ 566 w 881"/>
              <a:gd name="T29" fmla="*/ 419 h 930"/>
              <a:gd name="T30" fmla="*/ 613 w 881"/>
              <a:gd name="T31" fmla="*/ 351 h 930"/>
              <a:gd name="T32" fmla="*/ 703 w 881"/>
              <a:gd name="T33" fmla="*/ 234 h 930"/>
              <a:gd name="T34" fmla="*/ 782 w 881"/>
              <a:gd name="T35" fmla="*/ 142 h 930"/>
              <a:gd name="T36" fmla="*/ 842 w 881"/>
              <a:gd name="T37" fmla="*/ 78 h 930"/>
              <a:gd name="T38" fmla="*/ 881 w 881"/>
              <a:gd name="T39" fmla="*/ 40 h 930"/>
              <a:gd name="T40" fmla="*/ 866 w 881"/>
              <a:gd name="T41" fmla="*/ 29 h 930"/>
              <a:gd name="T42" fmla="*/ 837 w 881"/>
              <a:gd name="T43" fmla="*/ 13 h 930"/>
              <a:gd name="T44" fmla="*/ 811 w 881"/>
              <a:gd name="T45" fmla="*/ 4 h 930"/>
              <a:gd name="T46" fmla="*/ 789 w 881"/>
              <a:gd name="T47" fmla="*/ 0 h 930"/>
              <a:gd name="T48" fmla="*/ 770 w 881"/>
              <a:gd name="T49" fmla="*/ 1 h 930"/>
              <a:gd name="T50" fmla="*/ 750 w 881"/>
              <a:gd name="T51" fmla="*/ 5 h 930"/>
              <a:gd name="T52" fmla="*/ 740 w 881"/>
              <a:gd name="T53" fmla="*/ 10 h 930"/>
              <a:gd name="T54" fmla="*/ 728 w 881"/>
              <a:gd name="T55" fmla="*/ 23 h 930"/>
              <a:gd name="T56" fmla="*/ 670 w 881"/>
              <a:gd name="T57" fmla="*/ 91 h 930"/>
              <a:gd name="T58" fmla="*/ 610 w 881"/>
              <a:gd name="T59" fmla="*/ 164 h 930"/>
              <a:gd name="T60" fmla="*/ 539 w 881"/>
              <a:gd name="T61" fmla="*/ 260 h 930"/>
              <a:gd name="T62" fmla="*/ 459 w 881"/>
              <a:gd name="T63" fmla="*/ 376 h 930"/>
              <a:gd name="T64" fmla="*/ 376 w 881"/>
              <a:gd name="T65" fmla="*/ 509 h 930"/>
              <a:gd name="T66" fmla="*/ 293 w 881"/>
              <a:gd name="T67" fmla="*/ 658 h 930"/>
              <a:gd name="T68" fmla="*/ 252 w 881"/>
              <a:gd name="T69" fmla="*/ 738 h 930"/>
              <a:gd name="T70" fmla="*/ 248 w 881"/>
              <a:gd name="T71" fmla="*/ 728 h 930"/>
              <a:gd name="T72" fmla="*/ 233 w 881"/>
              <a:gd name="T73" fmla="*/ 698 h 930"/>
              <a:gd name="T74" fmla="*/ 206 w 881"/>
              <a:gd name="T75" fmla="*/ 665 h 930"/>
              <a:gd name="T76" fmla="*/ 176 w 881"/>
              <a:gd name="T77" fmla="*/ 638 h 930"/>
              <a:gd name="T78" fmla="*/ 144 w 881"/>
              <a:gd name="T79" fmla="*/ 617 h 930"/>
              <a:gd name="T80" fmla="*/ 114 w 881"/>
              <a:gd name="T81" fmla="*/ 601 h 930"/>
              <a:gd name="T82" fmla="*/ 73 w 881"/>
              <a:gd name="T83" fmla="*/ 585 h 930"/>
              <a:gd name="T84" fmla="*/ 66 w 881"/>
              <a:gd name="T85" fmla="*/ 583 h 930"/>
              <a:gd name="T86" fmla="*/ 44 w 881"/>
              <a:gd name="T87" fmla="*/ 588 h 930"/>
              <a:gd name="T88" fmla="*/ 25 w 881"/>
              <a:gd name="T89" fmla="*/ 597 h 930"/>
              <a:gd name="T90" fmla="*/ 14 w 881"/>
              <a:gd name="T91" fmla="*/ 605 h 930"/>
              <a:gd name="T92" fmla="*/ 5 w 881"/>
              <a:gd name="T93" fmla="*/ 616 h 930"/>
              <a:gd name="T94" fmla="*/ 0 w 881"/>
              <a:gd name="T95" fmla="*/ 629 h 930"/>
              <a:gd name="T96" fmla="*/ 0 w 881"/>
              <a:gd name="T97" fmla="*/ 63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1" h="930">
                <a:moveTo>
                  <a:pt x="0" y="638"/>
                </a:moveTo>
                <a:lnTo>
                  <a:pt x="0" y="638"/>
                </a:lnTo>
                <a:lnTo>
                  <a:pt x="19" y="657"/>
                </a:lnTo>
                <a:lnTo>
                  <a:pt x="36" y="677"/>
                </a:lnTo>
                <a:lnTo>
                  <a:pt x="50" y="698"/>
                </a:lnTo>
                <a:lnTo>
                  <a:pt x="65" y="719"/>
                </a:lnTo>
                <a:lnTo>
                  <a:pt x="78" y="740"/>
                </a:lnTo>
                <a:lnTo>
                  <a:pt x="90" y="762"/>
                </a:lnTo>
                <a:lnTo>
                  <a:pt x="113" y="804"/>
                </a:lnTo>
                <a:lnTo>
                  <a:pt x="134" y="843"/>
                </a:lnTo>
                <a:lnTo>
                  <a:pt x="153" y="878"/>
                </a:lnTo>
                <a:lnTo>
                  <a:pt x="163" y="893"/>
                </a:lnTo>
                <a:lnTo>
                  <a:pt x="172" y="907"/>
                </a:lnTo>
                <a:lnTo>
                  <a:pt x="182" y="920"/>
                </a:lnTo>
                <a:lnTo>
                  <a:pt x="192" y="930"/>
                </a:lnTo>
                <a:lnTo>
                  <a:pt x="192" y="930"/>
                </a:lnTo>
                <a:lnTo>
                  <a:pt x="327" y="924"/>
                </a:lnTo>
                <a:lnTo>
                  <a:pt x="327" y="924"/>
                </a:lnTo>
                <a:lnTo>
                  <a:pt x="342" y="877"/>
                </a:lnTo>
                <a:lnTo>
                  <a:pt x="359" y="829"/>
                </a:lnTo>
                <a:lnTo>
                  <a:pt x="375" y="784"/>
                </a:lnTo>
                <a:lnTo>
                  <a:pt x="393" y="739"/>
                </a:lnTo>
                <a:lnTo>
                  <a:pt x="413" y="695"/>
                </a:lnTo>
                <a:lnTo>
                  <a:pt x="433" y="653"/>
                </a:lnTo>
                <a:lnTo>
                  <a:pt x="454" y="610"/>
                </a:lnTo>
                <a:lnTo>
                  <a:pt x="475" y="570"/>
                </a:lnTo>
                <a:lnTo>
                  <a:pt x="498" y="530"/>
                </a:lnTo>
                <a:lnTo>
                  <a:pt x="521" y="492"/>
                </a:lnTo>
                <a:lnTo>
                  <a:pt x="544" y="455"/>
                </a:lnTo>
                <a:lnTo>
                  <a:pt x="566" y="419"/>
                </a:lnTo>
                <a:lnTo>
                  <a:pt x="590" y="385"/>
                </a:lnTo>
                <a:lnTo>
                  <a:pt x="613" y="351"/>
                </a:lnTo>
                <a:lnTo>
                  <a:pt x="659" y="290"/>
                </a:lnTo>
                <a:lnTo>
                  <a:pt x="703" y="234"/>
                </a:lnTo>
                <a:lnTo>
                  <a:pt x="744" y="184"/>
                </a:lnTo>
                <a:lnTo>
                  <a:pt x="782" y="142"/>
                </a:lnTo>
                <a:lnTo>
                  <a:pt x="816" y="105"/>
                </a:lnTo>
                <a:lnTo>
                  <a:pt x="842" y="78"/>
                </a:lnTo>
                <a:lnTo>
                  <a:pt x="863" y="57"/>
                </a:lnTo>
                <a:lnTo>
                  <a:pt x="881" y="40"/>
                </a:lnTo>
                <a:lnTo>
                  <a:pt x="881" y="40"/>
                </a:lnTo>
                <a:lnTo>
                  <a:pt x="866" y="29"/>
                </a:lnTo>
                <a:lnTo>
                  <a:pt x="851" y="20"/>
                </a:lnTo>
                <a:lnTo>
                  <a:pt x="837" y="13"/>
                </a:lnTo>
                <a:lnTo>
                  <a:pt x="823" y="8"/>
                </a:lnTo>
                <a:lnTo>
                  <a:pt x="811" y="4"/>
                </a:lnTo>
                <a:lnTo>
                  <a:pt x="799" y="2"/>
                </a:lnTo>
                <a:lnTo>
                  <a:pt x="789" y="0"/>
                </a:lnTo>
                <a:lnTo>
                  <a:pt x="779" y="0"/>
                </a:lnTo>
                <a:lnTo>
                  <a:pt x="770" y="1"/>
                </a:lnTo>
                <a:lnTo>
                  <a:pt x="762" y="2"/>
                </a:lnTo>
                <a:lnTo>
                  <a:pt x="750" y="5"/>
                </a:lnTo>
                <a:lnTo>
                  <a:pt x="743" y="9"/>
                </a:lnTo>
                <a:lnTo>
                  <a:pt x="740" y="10"/>
                </a:lnTo>
                <a:lnTo>
                  <a:pt x="740" y="10"/>
                </a:lnTo>
                <a:lnTo>
                  <a:pt x="728" y="23"/>
                </a:lnTo>
                <a:lnTo>
                  <a:pt x="693" y="62"/>
                </a:lnTo>
                <a:lnTo>
                  <a:pt x="670" y="91"/>
                </a:lnTo>
                <a:lnTo>
                  <a:pt x="642" y="124"/>
                </a:lnTo>
                <a:lnTo>
                  <a:pt x="610" y="164"/>
                </a:lnTo>
                <a:lnTo>
                  <a:pt x="575" y="210"/>
                </a:lnTo>
                <a:lnTo>
                  <a:pt x="539" y="260"/>
                </a:lnTo>
                <a:lnTo>
                  <a:pt x="500" y="316"/>
                </a:lnTo>
                <a:lnTo>
                  <a:pt x="459" y="376"/>
                </a:lnTo>
                <a:lnTo>
                  <a:pt x="417" y="440"/>
                </a:lnTo>
                <a:lnTo>
                  <a:pt x="376" y="509"/>
                </a:lnTo>
                <a:lnTo>
                  <a:pt x="334" y="581"/>
                </a:lnTo>
                <a:lnTo>
                  <a:pt x="293" y="658"/>
                </a:lnTo>
                <a:lnTo>
                  <a:pt x="272" y="698"/>
                </a:lnTo>
                <a:lnTo>
                  <a:pt x="252" y="738"/>
                </a:lnTo>
                <a:lnTo>
                  <a:pt x="252" y="738"/>
                </a:lnTo>
                <a:lnTo>
                  <a:pt x="248" y="728"/>
                </a:lnTo>
                <a:lnTo>
                  <a:pt x="244" y="717"/>
                </a:lnTo>
                <a:lnTo>
                  <a:pt x="233" y="698"/>
                </a:lnTo>
                <a:lnTo>
                  <a:pt x="221" y="682"/>
                </a:lnTo>
                <a:lnTo>
                  <a:pt x="206" y="665"/>
                </a:lnTo>
                <a:lnTo>
                  <a:pt x="192" y="651"/>
                </a:lnTo>
                <a:lnTo>
                  <a:pt x="176" y="638"/>
                </a:lnTo>
                <a:lnTo>
                  <a:pt x="159" y="627"/>
                </a:lnTo>
                <a:lnTo>
                  <a:pt x="144" y="617"/>
                </a:lnTo>
                <a:lnTo>
                  <a:pt x="128" y="608"/>
                </a:lnTo>
                <a:lnTo>
                  <a:pt x="114" y="601"/>
                </a:lnTo>
                <a:lnTo>
                  <a:pt x="89" y="590"/>
                </a:lnTo>
                <a:lnTo>
                  <a:pt x="73" y="585"/>
                </a:lnTo>
                <a:lnTo>
                  <a:pt x="66" y="583"/>
                </a:lnTo>
                <a:lnTo>
                  <a:pt x="66" y="583"/>
                </a:lnTo>
                <a:lnTo>
                  <a:pt x="55" y="585"/>
                </a:lnTo>
                <a:lnTo>
                  <a:pt x="44" y="588"/>
                </a:lnTo>
                <a:lnTo>
                  <a:pt x="32" y="594"/>
                </a:lnTo>
                <a:lnTo>
                  <a:pt x="25" y="597"/>
                </a:lnTo>
                <a:lnTo>
                  <a:pt x="19" y="600"/>
                </a:lnTo>
                <a:lnTo>
                  <a:pt x="14" y="605"/>
                </a:lnTo>
                <a:lnTo>
                  <a:pt x="9" y="610"/>
                </a:lnTo>
                <a:lnTo>
                  <a:pt x="5" y="616"/>
                </a:lnTo>
                <a:lnTo>
                  <a:pt x="2" y="623"/>
                </a:lnTo>
                <a:lnTo>
                  <a:pt x="0" y="629"/>
                </a:lnTo>
                <a:lnTo>
                  <a:pt x="0" y="638"/>
                </a:lnTo>
                <a:lnTo>
                  <a:pt x="0" y="6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373" name="Gruppieren 372">
            <a:extLst>
              <a:ext uri="{FF2B5EF4-FFF2-40B4-BE49-F238E27FC236}">
                <a16:creationId xmlns:a16="http://schemas.microsoft.com/office/drawing/2014/main" id="{62D955D4-BDA8-4DBB-BB17-385BC54ED580}"/>
              </a:ext>
            </a:extLst>
          </p:cNvPr>
          <p:cNvGrpSpPr/>
          <p:nvPr/>
        </p:nvGrpSpPr>
        <p:grpSpPr>
          <a:xfrm>
            <a:off x="7021232" y="4593121"/>
            <a:ext cx="104714" cy="298511"/>
            <a:chOff x="7063547" y="3895624"/>
            <a:chExt cx="104714" cy="298511"/>
          </a:xfrm>
          <a:solidFill>
            <a:schemeClr val="bg1"/>
          </a:solidFill>
        </p:grpSpPr>
        <p:sp>
          <p:nvSpPr>
            <p:cNvPr id="374" name="Freeform 104">
              <a:extLst>
                <a:ext uri="{FF2B5EF4-FFF2-40B4-BE49-F238E27FC236}">
                  <a16:creationId xmlns:a16="http://schemas.microsoft.com/office/drawing/2014/main" id="{7538A9C4-ED66-4E47-95C6-7C7FA8AADACA}"/>
                </a:ext>
              </a:extLst>
            </p:cNvPr>
            <p:cNvSpPr>
              <a:spLocks/>
            </p:cNvSpPr>
            <p:nvPr/>
          </p:nvSpPr>
          <p:spPr bwMode="auto">
            <a:xfrm>
              <a:off x="7082301" y="3895624"/>
              <a:ext cx="65641" cy="65641"/>
            </a:xfrm>
            <a:custGeom>
              <a:avLst/>
              <a:gdLst>
                <a:gd name="T0" fmla="*/ 126 w 255"/>
                <a:gd name="T1" fmla="*/ 255 h 255"/>
                <a:gd name="T2" fmla="*/ 152 w 255"/>
                <a:gd name="T3" fmla="*/ 253 h 255"/>
                <a:gd name="T4" fmla="*/ 176 w 255"/>
                <a:gd name="T5" fmla="*/ 245 h 255"/>
                <a:gd name="T6" fmla="*/ 198 w 255"/>
                <a:gd name="T7" fmla="*/ 234 h 255"/>
                <a:gd name="T8" fmla="*/ 218 w 255"/>
                <a:gd name="T9" fmla="*/ 217 h 255"/>
                <a:gd name="T10" fmla="*/ 227 w 255"/>
                <a:gd name="T11" fmla="*/ 209 h 255"/>
                <a:gd name="T12" fmla="*/ 241 w 255"/>
                <a:gd name="T13" fmla="*/ 187 h 255"/>
                <a:gd name="T14" fmla="*/ 250 w 255"/>
                <a:gd name="T15" fmla="*/ 165 h 255"/>
                <a:gd name="T16" fmla="*/ 254 w 255"/>
                <a:gd name="T17" fmla="*/ 141 h 255"/>
                <a:gd name="T18" fmla="*/ 255 w 255"/>
                <a:gd name="T19" fmla="*/ 127 h 255"/>
                <a:gd name="T20" fmla="*/ 253 w 255"/>
                <a:gd name="T21" fmla="*/ 102 h 255"/>
                <a:gd name="T22" fmla="*/ 245 w 255"/>
                <a:gd name="T23" fmla="*/ 78 h 255"/>
                <a:gd name="T24" fmla="*/ 234 w 255"/>
                <a:gd name="T25" fmla="*/ 57 h 255"/>
                <a:gd name="T26" fmla="*/ 218 w 255"/>
                <a:gd name="T27" fmla="*/ 37 h 255"/>
                <a:gd name="T28" fmla="*/ 209 w 255"/>
                <a:gd name="T29" fmla="*/ 28 h 255"/>
                <a:gd name="T30" fmla="*/ 188 w 255"/>
                <a:gd name="T31" fmla="*/ 14 h 255"/>
                <a:gd name="T32" fmla="*/ 165 w 255"/>
                <a:gd name="T33" fmla="*/ 5 h 255"/>
                <a:gd name="T34" fmla="*/ 140 w 255"/>
                <a:gd name="T35" fmla="*/ 1 h 255"/>
                <a:gd name="T36" fmla="*/ 126 w 255"/>
                <a:gd name="T37" fmla="*/ 0 h 255"/>
                <a:gd name="T38" fmla="*/ 102 w 255"/>
                <a:gd name="T39" fmla="*/ 2 h 255"/>
                <a:gd name="T40" fmla="*/ 78 w 255"/>
                <a:gd name="T41" fmla="*/ 8 h 255"/>
                <a:gd name="T42" fmla="*/ 56 w 255"/>
                <a:gd name="T43" fmla="*/ 21 h 255"/>
                <a:gd name="T44" fmla="*/ 36 w 255"/>
                <a:gd name="T45" fmla="*/ 37 h 255"/>
                <a:gd name="T46" fmla="*/ 29 w 255"/>
                <a:gd name="T47" fmla="*/ 47 h 255"/>
                <a:gd name="T48" fmla="*/ 14 w 255"/>
                <a:gd name="T49" fmla="*/ 67 h 255"/>
                <a:gd name="T50" fmla="*/ 5 w 255"/>
                <a:gd name="T51" fmla="*/ 91 h 255"/>
                <a:gd name="T52" fmla="*/ 0 w 255"/>
                <a:gd name="T53" fmla="*/ 115 h 255"/>
                <a:gd name="T54" fmla="*/ 0 w 255"/>
                <a:gd name="T55" fmla="*/ 127 h 255"/>
                <a:gd name="T56" fmla="*/ 2 w 255"/>
                <a:gd name="T57" fmla="*/ 153 h 255"/>
                <a:gd name="T58" fmla="*/ 9 w 255"/>
                <a:gd name="T59" fmla="*/ 176 h 255"/>
                <a:gd name="T60" fmla="*/ 21 w 255"/>
                <a:gd name="T61" fmla="*/ 199 h 255"/>
                <a:gd name="T62" fmla="*/ 36 w 255"/>
                <a:gd name="T63" fmla="*/ 217 h 255"/>
                <a:gd name="T64" fmla="*/ 46 w 255"/>
                <a:gd name="T65" fmla="*/ 226 h 255"/>
                <a:gd name="T66" fmla="*/ 66 w 255"/>
                <a:gd name="T67" fmla="*/ 241 h 255"/>
                <a:gd name="T68" fmla="*/ 90 w 255"/>
                <a:gd name="T69" fmla="*/ 250 h 255"/>
                <a:gd name="T70" fmla="*/ 114 w 255"/>
                <a:gd name="T71" fmla="*/ 254 h 255"/>
                <a:gd name="T72" fmla="*/ 126 w 255"/>
                <a:gd name="T7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255">
                  <a:moveTo>
                    <a:pt x="126" y="255"/>
                  </a:moveTo>
                  <a:lnTo>
                    <a:pt x="126" y="255"/>
                  </a:lnTo>
                  <a:lnTo>
                    <a:pt x="140" y="254"/>
                  </a:lnTo>
                  <a:lnTo>
                    <a:pt x="152" y="253"/>
                  </a:lnTo>
                  <a:lnTo>
                    <a:pt x="164" y="250"/>
                  </a:lnTo>
                  <a:lnTo>
                    <a:pt x="176" y="245"/>
                  </a:lnTo>
                  <a:lnTo>
                    <a:pt x="188" y="241"/>
                  </a:lnTo>
                  <a:lnTo>
                    <a:pt x="198" y="234"/>
                  </a:lnTo>
                  <a:lnTo>
                    <a:pt x="208" y="226"/>
                  </a:lnTo>
                  <a:lnTo>
                    <a:pt x="218" y="217"/>
                  </a:lnTo>
                  <a:lnTo>
                    <a:pt x="218" y="217"/>
                  </a:lnTo>
                  <a:lnTo>
                    <a:pt x="227" y="209"/>
                  </a:lnTo>
                  <a:lnTo>
                    <a:pt x="234" y="199"/>
                  </a:lnTo>
                  <a:lnTo>
                    <a:pt x="241" y="187"/>
                  </a:lnTo>
                  <a:lnTo>
                    <a:pt x="245" y="176"/>
                  </a:lnTo>
                  <a:lnTo>
                    <a:pt x="250" y="165"/>
                  </a:lnTo>
                  <a:lnTo>
                    <a:pt x="253" y="153"/>
                  </a:lnTo>
                  <a:lnTo>
                    <a:pt x="254" y="141"/>
                  </a:lnTo>
                  <a:lnTo>
                    <a:pt x="255" y="127"/>
                  </a:lnTo>
                  <a:lnTo>
                    <a:pt x="255" y="127"/>
                  </a:lnTo>
                  <a:lnTo>
                    <a:pt x="254" y="115"/>
                  </a:lnTo>
                  <a:lnTo>
                    <a:pt x="253" y="102"/>
                  </a:lnTo>
                  <a:lnTo>
                    <a:pt x="250" y="91"/>
                  </a:lnTo>
                  <a:lnTo>
                    <a:pt x="245" y="78"/>
                  </a:lnTo>
                  <a:lnTo>
                    <a:pt x="241" y="67"/>
                  </a:lnTo>
                  <a:lnTo>
                    <a:pt x="234" y="57"/>
                  </a:lnTo>
                  <a:lnTo>
                    <a:pt x="227" y="47"/>
                  </a:lnTo>
                  <a:lnTo>
                    <a:pt x="218" y="37"/>
                  </a:lnTo>
                  <a:lnTo>
                    <a:pt x="218" y="37"/>
                  </a:lnTo>
                  <a:lnTo>
                    <a:pt x="209" y="28"/>
                  </a:lnTo>
                  <a:lnTo>
                    <a:pt x="199" y="21"/>
                  </a:lnTo>
                  <a:lnTo>
                    <a:pt x="188" y="14"/>
                  </a:lnTo>
                  <a:lnTo>
                    <a:pt x="176" y="8"/>
                  </a:lnTo>
                  <a:lnTo>
                    <a:pt x="165" y="5"/>
                  </a:lnTo>
                  <a:lnTo>
                    <a:pt x="153" y="2"/>
                  </a:lnTo>
                  <a:lnTo>
                    <a:pt x="140" y="1"/>
                  </a:lnTo>
                  <a:lnTo>
                    <a:pt x="126" y="0"/>
                  </a:lnTo>
                  <a:lnTo>
                    <a:pt x="126" y="0"/>
                  </a:lnTo>
                  <a:lnTo>
                    <a:pt x="114" y="1"/>
                  </a:lnTo>
                  <a:lnTo>
                    <a:pt x="102" y="2"/>
                  </a:lnTo>
                  <a:lnTo>
                    <a:pt x="90" y="5"/>
                  </a:lnTo>
                  <a:lnTo>
                    <a:pt x="78" y="8"/>
                  </a:lnTo>
                  <a:lnTo>
                    <a:pt x="66" y="14"/>
                  </a:lnTo>
                  <a:lnTo>
                    <a:pt x="56" y="21"/>
                  </a:lnTo>
                  <a:lnTo>
                    <a:pt x="46" y="28"/>
                  </a:lnTo>
                  <a:lnTo>
                    <a:pt x="36" y="37"/>
                  </a:lnTo>
                  <a:lnTo>
                    <a:pt x="36" y="37"/>
                  </a:lnTo>
                  <a:lnTo>
                    <a:pt x="29" y="47"/>
                  </a:lnTo>
                  <a:lnTo>
                    <a:pt x="21" y="57"/>
                  </a:lnTo>
                  <a:lnTo>
                    <a:pt x="14" y="67"/>
                  </a:lnTo>
                  <a:lnTo>
                    <a:pt x="9" y="78"/>
                  </a:lnTo>
                  <a:lnTo>
                    <a:pt x="5" y="91"/>
                  </a:lnTo>
                  <a:lnTo>
                    <a:pt x="2" y="102"/>
                  </a:lnTo>
                  <a:lnTo>
                    <a:pt x="0" y="115"/>
                  </a:lnTo>
                  <a:lnTo>
                    <a:pt x="0" y="127"/>
                  </a:lnTo>
                  <a:lnTo>
                    <a:pt x="0" y="127"/>
                  </a:lnTo>
                  <a:lnTo>
                    <a:pt x="0" y="141"/>
                  </a:lnTo>
                  <a:lnTo>
                    <a:pt x="2" y="153"/>
                  </a:lnTo>
                  <a:lnTo>
                    <a:pt x="5" y="165"/>
                  </a:lnTo>
                  <a:lnTo>
                    <a:pt x="9" y="176"/>
                  </a:lnTo>
                  <a:lnTo>
                    <a:pt x="14" y="187"/>
                  </a:lnTo>
                  <a:lnTo>
                    <a:pt x="21" y="199"/>
                  </a:lnTo>
                  <a:lnTo>
                    <a:pt x="29" y="209"/>
                  </a:lnTo>
                  <a:lnTo>
                    <a:pt x="36" y="217"/>
                  </a:lnTo>
                  <a:lnTo>
                    <a:pt x="36" y="217"/>
                  </a:lnTo>
                  <a:lnTo>
                    <a:pt x="46" y="226"/>
                  </a:lnTo>
                  <a:lnTo>
                    <a:pt x="56" y="234"/>
                  </a:lnTo>
                  <a:lnTo>
                    <a:pt x="66" y="241"/>
                  </a:lnTo>
                  <a:lnTo>
                    <a:pt x="78" y="245"/>
                  </a:lnTo>
                  <a:lnTo>
                    <a:pt x="90" y="250"/>
                  </a:lnTo>
                  <a:lnTo>
                    <a:pt x="102" y="253"/>
                  </a:lnTo>
                  <a:lnTo>
                    <a:pt x="114" y="254"/>
                  </a:lnTo>
                  <a:lnTo>
                    <a:pt x="126" y="255"/>
                  </a:lnTo>
                  <a:lnTo>
                    <a:pt x="126"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5" name="Freeform 105">
              <a:extLst>
                <a:ext uri="{FF2B5EF4-FFF2-40B4-BE49-F238E27FC236}">
                  <a16:creationId xmlns:a16="http://schemas.microsoft.com/office/drawing/2014/main" id="{5D655723-BE27-4572-A3E9-21AF40080AC3}"/>
                </a:ext>
              </a:extLst>
            </p:cNvPr>
            <p:cNvSpPr>
              <a:spLocks/>
            </p:cNvSpPr>
            <p:nvPr/>
          </p:nvSpPr>
          <p:spPr bwMode="auto">
            <a:xfrm>
              <a:off x="7063547" y="4000338"/>
              <a:ext cx="104714" cy="193797"/>
            </a:xfrm>
            <a:custGeom>
              <a:avLst/>
              <a:gdLst>
                <a:gd name="T0" fmla="*/ 331 w 403"/>
                <a:gd name="T1" fmla="*/ 692 h 745"/>
                <a:gd name="T2" fmla="*/ 331 w 403"/>
                <a:gd name="T3" fmla="*/ 692 h 745"/>
                <a:gd name="T4" fmla="*/ 326 w 403"/>
                <a:gd name="T5" fmla="*/ 685 h 745"/>
                <a:gd name="T6" fmla="*/ 323 w 403"/>
                <a:gd name="T7" fmla="*/ 677 h 745"/>
                <a:gd name="T8" fmla="*/ 319 w 403"/>
                <a:gd name="T9" fmla="*/ 667 h 745"/>
                <a:gd name="T10" fmla="*/ 317 w 403"/>
                <a:gd name="T11" fmla="*/ 655 h 745"/>
                <a:gd name="T12" fmla="*/ 315 w 403"/>
                <a:gd name="T13" fmla="*/ 642 h 745"/>
                <a:gd name="T14" fmla="*/ 314 w 403"/>
                <a:gd name="T15" fmla="*/ 626 h 745"/>
                <a:gd name="T16" fmla="*/ 313 w 403"/>
                <a:gd name="T17" fmla="*/ 591 h 745"/>
                <a:gd name="T18" fmla="*/ 313 w 403"/>
                <a:gd name="T19" fmla="*/ 0 h 745"/>
                <a:gd name="T20" fmla="*/ 0 w 403"/>
                <a:gd name="T21" fmla="*/ 0 h 745"/>
                <a:gd name="T22" fmla="*/ 0 w 403"/>
                <a:gd name="T23" fmla="*/ 29 h 745"/>
                <a:gd name="T24" fmla="*/ 0 w 403"/>
                <a:gd name="T25" fmla="*/ 29 h 745"/>
                <a:gd name="T26" fmla="*/ 13 w 403"/>
                <a:gd name="T27" fmla="*/ 30 h 745"/>
                <a:gd name="T28" fmla="*/ 25 w 403"/>
                <a:gd name="T29" fmla="*/ 32 h 745"/>
                <a:gd name="T30" fmla="*/ 35 w 403"/>
                <a:gd name="T31" fmla="*/ 35 h 745"/>
                <a:gd name="T32" fmla="*/ 44 w 403"/>
                <a:gd name="T33" fmla="*/ 38 h 745"/>
                <a:gd name="T34" fmla="*/ 53 w 403"/>
                <a:gd name="T35" fmla="*/ 41 h 745"/>
                <a:gd name="T36" fmla="*/ 59 w 403"/>
                <a:gd name="T37" fmla="*/ 45 h 745"/>
                <a:gd name="T38" fmla="*/ 66 w 403"/>
                <a:gd name="T39" fmla="*/ 49 h 745"/>
                <a:gd name="T40" fmla="*/ 71 w 403"/>
                <a:gd name="T41" fmla="*/ 55 h 745"/>
                <a:gd name="T42" fmla="*/ 71 w 403"/>
                <a:gd name="T43" fmla="*/ 55 h 745"/>
                <a:gd name="T44" fmla="*/ 75 w 403"/>
                <a:gd name="T45" fmla="*/ 61 h 745"/>
                <a:gd name="T46" fmla="*/ 79 w 403"/>
                <a:gd name="T47" fmla="*/ 69 h 745"/>
                <a:gd name="T48" fmla="*/ 83 w 403"/>
                <a:gd name="T49" fmla="*/ 79 h 745"/>
                <a:gd name="T50" fmla="*/ 85 w 403"/>
                <a:gd name="T51" fmla="*/ 91 h 745"/>
                <a:gd name="T52" fmla="*/ 87 w 403"/>
                <a:gd name="T53" fmla="*/ 105 h 745"/>
                <a:gd name="T54" fmla="*/ 88 w 403"/>
                <a:gd name="T55" fmla="*/ 119 h 745"/>
                <a:gd name="T56" fmla="*/ 89 w 403"/>
                <a:gd name="T57" fmla="*/ 156 h 745"/>
                <a:gd name="T58" fmla="*/ 89 w 403"/>
                <a:gd name="T59" fmla="*/ 591 h 745"/>
                <a:gd name="T60" fmla="*/ 89 w 403"/>
                <a:gd name="T61" fmla="*/ 591 h 745"/>
                <a:gd name="T62" fmla="*/ 88 w 403"/>
                <a:gd name="T63" fmla="*/ 626 h 745"/>
                <a:gd name="T64" fmla="*/ 87 w 403"/>
                <a:gd name="T65" fmla="*/ 642 h 745"/>
                <a:gd name="T66" fmla="*/ 86 w 403"/>
                <a:gd name="T67" fmla="*/ 655 h 745"/>
                <a:gd name="T68" fmla="*/ 84 w 403"/>
                <a:gd name="T69" fmla="*/ 666 h 745"/>
                <a:gd name="T70" fmla="*/ 80 w 403"/>
                <a:gd name="T71" fmla="*/ 675 h 745"/>
                <a:gd name="T72" fmla="*/ 77 w 403"/>
                <a:gd name="T73" fmla="*/ 683 h 745"/>
                <a:gd name="T74" fmla="*/ 74 w 403"/>
                <a:gd name="T75" fmla="*/ 688 h 745"/>
                <a:gd name="T76" fmla="*/ 74 w 403"/>
                <a:gd name="T77" fmla="*/ 688 h 745"/>
                <a:gd name="T78" fmla="*/ 67 w 403"/>
                <a:gd name="T79" fmla="*/ 694 h 745"/>
                <a:gd name="T80" fmla="*/ 60 w 403"/>
                <a:gd name="T81" fmla="*/ 700 h 745"/>
                <a:gd name="T82" fmla="*/ 51 w 403"/>
                <a:gd name="T83" fmla="*/ 705 h 745"/>
                <a:gd name="T84" fmla="*/ 44 w 403"/>
                <a:gd name="T85" fmla="*/ 708 h 745"/>
                <a:gd name="T86" fmla="*/ 34 w 403"/>
                <a:gd name="T87" fmla="*/ 712 h 745"/>
                <a:gd name="T88" fmla="*/ 24 w 403"/>
                <a:gd name="T89" fmla="*/ 714 h 745"/>
                <a:gd name="T90" fmla="*/ 13 w 403"/>
                <a:gd name="T91" fmla="*/ 716 h 745"/>
                <a:gd name="T92" fmla="*/ 0 w 403"/>
                <a:gd name="T93" fmla="*/ 716 h 745"/>
                <a:gd name="T94" fmla="*/ 0 w 403"/>
                <a:gd name="T95" fmla="*/ 745 h 745"/>
                <a:gd name="T96" fmla="*/ 403 w 403"/>
                <a:gd name="T97" fmla="*/ 745 h 745"/>
                <a:gd name="T98" fmla="*/ 403 w 403"/>
                <a:gd name="T99" fmla="*/ 716 h 745"/>
                <a:gd name="T100" fmla="*/ 403 w 403"/>
                <a:gd name="T101" fmla="*/ 716 h 745"/>
                <a:gd name="T102" fmla="*/ 389 w 403"/>
                <a:gd name="T103" fmla="*/ 715 h 745"/>
                <a:gd name="T104" fmla="*/ 378 w 403"/>
                <a:gd name="T105" fmla="*/ 714 h 745"/>
                <a:gd name="T106" fmla="*/ 367 w 403"/>
                <a:gd name="T107" fmla="*/ 712 h 745"/>
                <a:gd name="T108" fmla="*/ 358 w 403"/>
                <a:gd name="T109" fmla="*/ 708 h 745"/>
                <a:gd name="T110" fmla="*/ 349 w 403"/>
                <a:gd name="T111" fmla="*/ 705 h 745"/>
                <a:gd name="T112" fmla="*/ 343 w 403"/>
                <a:gd name="T113" fmla="*/ 702 h 745"/>
                <a:gd name="T114" fmla="*/ 336 w 403"/>
                <a:gd name="T115" fmla="*/ 697 h 745"/>
                <a:gd name="T116" fmla="*/ 331 w 403"/>
                <a:gd name="T117" fmla="*/ 692 h 745"/>
                <a:gd name="T118" fmla="*/ 331 w 403"/>
                <a:gd name="T119" fmla="*/ 69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745">
                  <a:moveTo>
                    <a:pt x="331" y="692"/>
                  </a:moveTo>
                  <a:lnTo>
                    <a:pt x="331" y="692"/>
                  </a:lnTo>
                  <a:lnTo>
                    <a:pt x="326" y="685"/>
                  </a:lnTo>
                  <a:lnTo>
                    <a:pt x="323" y="677"/>
                  </a:lnTo>
                  <a:lnTo>
                    <a:pt x="319" y="667"/>
                  </a:lnTo>
                  <a:lnTo>
                    <a:pt x="317" y="655"/>
                  </a:lnTo>
                  <a:lnTo>
                    <a:pt x="315" y="642"/>
                  </a:lnTo>
                  <a:lnTo>
                    <a:pt x="314" y="626"/>
                  </a:lnTo>
                  <a:lnTo>
                    <a:pt x="313" y="591"/>
                  </a:lnTo>
                  <a:lnTo>
                    <a:pt x="313" y="0"/>
                  </a:lnTo>
                  <a:lnTo>
                    <a:pt x="0" y="0"/>
                  </a:lnTo>
                  <a:lnTo>
                    <a:pt x="0" y="29"/>
                  </a:lnTo>
                  <a:lnTo>
                    <a:pt x="0" y="29"/>
                  </a:lnTo>
                  <a:lnTo>
                    <a:pt x="13" y="30"/>
                  </a:lnTo>
                  <a:lnTo>
                    <a:pt x="25" y="32"/>
                  </a:lnTo>
                  <a:lnTo>
                    <a:pt x="35" y="35"/>
                  </a:lnTo>
                  <a:lnTo>
                    <a:pt x="44" y="38"/>
                  </a:lnTo>
                  <a:lnTo>
                    <a:pt x="53" y="41"/>
                  </a:lnTo>
                  <a:lnTo>
                    <a:pt x="59" y="45"/>
                  </a:lnTo>
                  <a:lnTo>
                    <a:pt x="66" y="49"/>
                  </a:lnTo>
                  <a:lnTo>
                    <a:pt x="71" y="55"/>
                  </a:lnTo>
                  <a:lnTo>
                    <a:pt x="71" y="55"/>
                  </a:lnTo>
                  <a:lnTo>
                    <a:pt x="75" y="61"/>
                  </a:lnTo>
                  <a:lnTo>
                    <a:pt x="79" y="69"/>
                  </a:lnTo>
                  <a:lnTo>
                    <a:pt x="83" y="79"/>
                  </a:lnTo>
                  <a:lnTo>
                    <a:pt x="85" y="91"/>
                  </a:lnTo>
                  <a:lnTo>
                    <a:pt x="87" y="105"/>
                  </a:lnTo>
                  <a:lnTo>
                    <a:pt x="88" y="119"/>
                  </a:lnTo>
                  <a:lnTo>
                    <a:pt x="89" y="156"/>
                  </a:lnTo>
                  <a:lnTo>
                    <a:pt x="89" y="591"/>
                  </a:lnTo>
                  <a:lnTo>
                    <a:pt x="89" y="591"/>
                  </a:lnTo>
                  <a:lnTo>
                    <a:pt x="88" y="626"/>
                  </a:lnTo>
                  <a:lnTo>
                    <a:pt x="87" y="642"/>
                  </a:lnTo>
                  <a:lnTo>
                    <a:pt x="86" y="655"/>
                  </a:lnTo>
                  <a:lnTo>
                    <a:pt x="84" y="666"/>
                  </a:lnTo>
                  <a:lnTo>
                    <a:pt x="80" y="675"/>
                  </a:lnTo>
                  <a:lnTo>
                    <a:pt x="77" y="683"/>
                  </a:lnTo>
                  <a:lnTo>
                    <a:pt x="74" y="688"/>
                  </a:lnTo>
                  <a:lnTo>
                    <a:pt x="74" y="688"/>
                  </a:lnTo>
                  <a:lnTo>
                    <a:pt x="67" y="694"/>
                  </a:lnTo>
                  <a:lnTo>
                    <a:pt x="60" y="700"/>
                  </a:lnTo>
                  <a:lnTo>
                    <a:pt x="51" y="705"/>
                  </a:lnTo>
                  <a:lnTo>
                    <a:pt x="44" y="708"/>
                  </a:lnTo>
                  <a:lnTo>
                    <a:pt x="34" y="712"/>
                  </a:lnTo>
                  <a:lnTo>
                    <a:pt x="24" y="714"/>
                  </a:lnTo>
                  <a:lnTo>
                    <a:pt x="13" y="716"/>
                  </a:lnTo>
                  <a:lnTo>
                    <a:pt x="0" y="716"/>
                  </a:lnTo>
                  <a:lnTo>
                    <a:pt x="0" y="745"/>
                  </a:lnTo>
                  <a:lnTo>
                    <a:pt x="403" y="745"/>
                  </a:lnTo>
                  <a:lnTo>
                    <a:pt x="403" y="716"/>
                  </a:lnTo>
                  <a:lnTo>
                    <a:pt x="403" y="716"/>
                  </a:lnTo>
                  <a:lnTo>
                    <a:pt x="389" y="715"/>
                  </a:lnTo>
                  <a:lnTo>
                    <a:pt x="378" y="714"/>
                  </a:lnTo>
                  <a:lnTo>
                    <a:pt x="367" y="712"/>
                  </a:lnTo>
                  <a:lnTo>
                    <a:pt x="358" y="708"/>
                  </a:lnTo>
                  <a:lnTo>
                    <a:pt x="349" y="705"/>
                  </a:lnTo>
                  <a:lnTo>
                    <a:pt x="343" y="702"/>
                  </a:lnTo>
                  <a:lnTo>
                    <a:pt x="336" y="697"/>
                  </a:lnTo>
                  <a:lnTo>
                    <a:pt x="331" y="692"/>
                  </a:lnTo>
                  <a:lnTo>
                    <a:pt x="331" y="6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76" name="Freeform 110">
            <a:extLst>
              <a:ext uri="{FF2B5EF4-FFF2-40B4-BE49-F238E27FC236}">
                <a16:creationId xmlns:a16="http://schemas.microsoft.com/office/drawing/2014/main" id="{9F3B3CB0-2CC5-427E-9ABD-8056DF56AF8E}"/>
              </a:ext>
            </a:extLst>
          </p:cNvPr>
          <p:cNvSpPr>
            <a:spLocks/>
          </p:cNvSpPr>
          <p:nvPr/>
        </p:nvSpPr>
        <p:spPr bwMode="auto">
          <a:xfrm>
            <a:off x="7641812" y="4595466"/>
            <a:ext cx="175043" cy="293822"/>
          </a:xfrm>
          <a:custGeom>
            <a:avLst/>
            <a:gdLst>
              <a:gd name="T0" fmla="*/ 408 w 677"/>
              <a:gd name="T1" fmla="*/ 0 h 1127"/>
              <a:gd name="T2" fmla="*/ 600 w 677"/>
              <a:gd name="T3" fmla="*/ 0 h 1127"/>
              <a:gd name="T4" fmla="*/ 345 w 677"/>
              <a:gd name="T5" fmla="*/ 337 h 1127"/>
              <a:gd name="T6" fmla="*/ 484 w 677"/>
              <a:gd name="T7" fmla="*/ 337 h 1127"/>
              <a:gd name="T8" fmla="*/ 553 w 677"/>
              <a:gd name="T9" fmla="*/ 337 h 1127"/>
              <a:gd name="T10" fmla="*/ 677 w 677"/>
              <a:gd name="T11" fmla="*/ 337 h 1127"/>
              <a:gd name="T12" fmla="*/ 357 w 677"/>
              <a:gd name="T13" fmla="*/ 759 h 1127"/>
              <a:gd name="T14" fmla="*/ 563 w 677"/>
              <a:gd name="T15" fmla="*/ 759 h 1127"/>
              <a:gd name="T16" fmla="*/ 282 w 677"/>
              <a:gd name="T17" fmla="*/ 1127 h 1127"/>
              <a:gd name="T18" fmla="*/ 0 w 677"/>
              <a:gd name="T19" fmla="*/ 759 h 1127"/>
              <a:gd name="T20" fmla="*/ 165 w 677"/>
              <a:gd name="T21" fmla="*/ 759 h 1127"/>
              <a:gd name="T22" fmla="*/ 365 w 677"/>
              <a:gd name="T23" fmla="*/ 495 h 1127"/>
              <a:gd name="T24" fmla="*/ 26 w 677"/>
              <a:gd name="T25" fmla="*/ 493 h 1127"/>
              <a:gd name="T26" fmla="*/ 408 w 677"/>
              <a:gd name="T27" fmla="*/ 0 h 1127"/>
              <a:gd name="T28" fmla="*/ 408 w 677"/>
              <a:gd name="T29" fmla="*/ 0 h 1127"/>
              <a:gd name="T30" fmla="*/ 408 w 677"/>
              <a:gd name="T31" fmla="*/ 0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7" h="1127">
                <a:moveTo>
                  <a:pt x="408" y="0"/>
                </a:moveTo>
                <a:lnTo>
                  <a:pt x="600" y="0"/>
                </a:lnTo>
                <a:lnTo>
                  <a:pt x="345" y="337"/>
                </a:lnTo>
                <a:lnTo>
                  <a:pt x="484" y="337"/>
                </a:lnTo>
                <a:lnTo>
                  <a:pt x="553" y="337"/>
                </a:lnTo>
                <a:lnTo>
                  <a:pt x="677" y="337"/>
                </a:lnTo>
                <a:lnTo>
                  <a:pt x="357" y="759"/>
                </a:lnTo>
                <a:lnTo>
                  <a:pt x="563" y="759"/>
                </a:lnTo>
                <a:lnTo>
                  <a:pt x="282" y="1127"/>
                </a:lnTo>
                <a:lnTo>
                  <a:pt x="0" y="759"/>
                </a:lnTo>
                <a:lnTo>
                  <a:pt x="165" y="759"/>
                </a:lnTo>
                <a:lnTo>
                  <a:pt x="365" y="495"/>
                </a:lnTo>
                <a:lnTo>
                  <a:pt x="26" y="493"/>
                </a:lnTo>
                <a:lnTo>
                  <a:pt x="408" y="0"/>
                </a:lnTo>
                <a:lnTo>
                  <a:pt x="408" y="0"/>
                </a:lnTo>
                <a:lnTo>
                  <a:pt x="40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377" name="Ellipse 376">
            <a:extLst>
              <a:ext uri="{FF2B5EF4-FFF2-40B4-BE49-F238E27FC236}">
                <a16:creationId xmlns:a16="http://schemas.microsoft.com/office/drawing/2014/main" id="{E98EA97F-1839-41AD-9C3C-F8A1ABBC657B}"/>
              </a:ext>
            </a:extLst>
          </p:cNvPr>
          <p:cNvSpPr/>
          <p:nvPr>
            <p:custDataLst>
              <p:tags r:id="rId41"/>
            </p:custDataLst>
          </p:nvPr>
        </p:nvSpPr>
        <p:spPr bwMode="auto">
          <a:xfrm>
            <a:off x="940145"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78" name="Ellipse 377">
            <a:extLst>
              <a:ext uri="{FF2B5EF4-FFF2-40B4-BE49-F238E27FC236}">
                <a16:creationId xmlns:a16="http://schemas.microsoft.com/office/drawing/2014/main" id="{1EFC666D-2BAC-473C-BDAE-2E7FCA15A411}"/>
              </a:ext>
            </a:extLst>
          </p:cNvPr>
          <p:cNvSpPr/>
          <p:nvPr>
            <p:custDataLst>
              <p:tags r:id="rId42"/>
            </p:custDataLst>
          </p:nvPr>
        </p:nvSpPr>
        <p:spPr bwMode="auto">
          <a:xfrm>
            <a:off x="284401"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a:ln>
                <a:noFill/>
              </a:ln>
              <a:solidFill>
                <a:srgbClr val="FFFFFF"/>
              </a:solidFill>
              <a:effectLst/>
            </a:endParaRPr>
          </a:p>
        </p:txBody>
      </p:sp>
      <p:sp>
        <p:nvSpPr>
          <p:cNvPr id="379" name="Ellipse 378">
            <a:extLst>
              <a:ext uri="{FF2B5EF4-FFF2-40B4-BE49-F238E27FC236}">
                <a16:creationId xmlns:a16="http://schemas.microsoft.com/office/drawing/2014/main" id="{DD967C61-8DCA-4620-BBCF-A2A6FDEE047A}"/>
              </a:ext>
            </a:extLst>
          </p:cNvPr>
          <p:cNvSpPr/>
          <p:nvPr/>
        </p:nvSpPr>
        <p:spPr bwMode="auto">
          <a:xfrm>
            <a:off x="1595889"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0" name="Ellipse 379">
            <a:extLst>
              <a:ext uri="{FF2B5EF4-FFF2-40B4-BE49-F238E27FC236}">
                <a16:creationId xmlns:a16="http://schemas.microsoft.com/office/drawing/2014/main" id="{61F8CDCB-444B-4014-A445-B8E9204CEF7C}"/>
              </a:ext>
            </a:extLst>
          </p:cNvPr>
          <p:cNvSpPr/>
          <p:nvPr/>
        </p:nvSpPr>
        <p:spPr bwMode="auto">
          <a:xfrm>
            <a:off x="2251633"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1" name="Ellipse 380">
            <a:extLst>
              <a:ext uri="{FF2B5EF4-FFF2-40B4-BE49-F238E27FC236}">
                <a16:creationId xmlns:a16="http://schemas.microsoft.com/office/drawing/2014/main" id="{9EBF524F-7BEB-4B09-91CD-2AEDF7A97319}"/>
              </a:ext>
            </a:extLst>
          </p:cNvPr>
          <p:cNvSpPr/>
          <p:nvPr/>
        </p:nvSpPr>
        <p:spPr bwMode="auto">
          <a:xfrm>
            <a:off x="2907377"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2" name="Ellipse 381">
            <a:extLst>
              <a:ext uri="{FF2B5EF4-FFF2-40B4-BE49-F238E27FC236}">
                <a16:creationId xmlns:a16="http://schemas.microsoft.com/office/drawing/2014/main" id="{7A0CA173-6835-42FA-A3E5-FD36DE1D622C}"/>
              </a:ext>
            </a:extLst>
          </p:cNvPr>
          <p:cNvSpPr/>
          <p:nvPr/>
        </p:nvSpPr>
        <p:spPr bwMode="auto">
          <a:xfrm>
            <a:off x="3563121"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3" name="Ellipse 382">
            <a:extLst>
              <a:ext uri="{FF2B5EF4-FFF2-40B4-BE49-F238E27FC236}">
                <a16:creationId xmlns:a16="http://schemas.microsoft.com/office/drawing/2014/main" id="{6D6C21E1-CEA7-4A7C-8559-B65CA1C8116D}"/>
              </a:ext>
            </a:extLst>
          </p:cNvPr>
          <p:cNvSpPr/>
          <p:nvPr/>
        </p:nvSpPr>
        <p:spPr bwMode="auto">
          <a:xfrm>
            <a:off x="4218865"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4" name="Ellipse 383">
            <a:extLst>
              <a:ext uri="{FF2B5EF4-FFF2-40B4-BE49-F238E27FC236}">
                <a16:creationId xmlns:a16="http://schemas.microsoft.com/office/drawing/2014/main" id="{30D21458-82B0-4174-9A94-5563E084E143}"/>
              </a:ext>
            </a:extLst>
          </p:cNvPr>
          <p:cNvSpPr/>
          <p:nvPr/>
        </p:nvSpPr>
        <p:spPr bwMode="auto">
          <a:xfrm>
            <a:off x="4874609"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5" name="Ellipse 384">
            <a:extLst>
              <a:ext uri="{FF2B5EF4-FFF2-40B4-BE49-F238E27FC236}">
                <a16:creationId xmlns:a16="http://schemas.microsoft.com/office/drawing/2014/main" id="{2FB61F3B-5C09-438B-A3C7-E1630798B82D}"/>
              </a:ext>
            </a:extLst>
          </p:cNvPr>
          <p:cNvSpPr/>
          <p:nvPr/>
        </p:nvSpPr>
        <p:spPr bwMode="auto">
          <a:xfrm>
            <a:off x="5530353"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6" name="Ellipse 385">
            <a:extLst>
              <a:ext uri="{FF2B5EF4-FFF2-40B4-BE49-F238E27FC236}">
                <a16:creationId xmlns:a16="http://schemas.microsoft.com/office/drawing/2014/main" id="{CB690F5C-7067-4865-A144-701DC0AC17BE}"/>
              </a:ext>
            </a:extLst>
          </p:cNvPr>
          <p:cNvSpPr/>
          <p:nvPr/>
        </p:nvSpPr>
        <p:spPr bwMode="auto">
          <a:xfrm>
            <a:off x="6186097"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7" name="Ellipse 386">
            <a:extLst>
              <a:ext uri="{FF2B5EF4-FFF2-40B4-BE49-F238E27FC236}">
                <a16:creationId xmlns:a16="http://schemas.microsoft.com/office/drawing/2014/main" id="{CE63370B-C9A9-4390-BE1D-EE6D3ABD35AE}"/>
              </a:ext>
            </a:extLst>
          </p:cNvPr>
          <p:cNvSpPr/>
          <p:nvPr/>
        </p:nvSpPr>
        <p:spPr bwMode="auto">
          <a:xfrm>
            <a:off x="6841841"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8" name="Ellipse 387">
            <a:extLst>
              <a:ext uri="{FF2B5EF4-FFF2-40B4-BE49-F238E27FC236}">
                <a16:creationId xmlns:a16="http://schemas.microsoft.com/office/drawing/2014/main" id="{FCD47CE6-3348-4E0B-8083-1F3E3B3520B5}"/>
              </a:ext>
            </a:extLst>
          </p:cNvPr>
          <p:cNvSpPr/>
          <p:nvPr/>
        </p:nvSpPr>
        <p:spPr bwMode="auto">
          <a:xfrm>
            <a:off x="7497585" y="5139278"/>
            <a:ext cx="463497" cy="463497"/>
          </a:xfrm>
          <a:prstGeom prst="ellipse">
            <a:avLst/>
          </a:prstGeom>
          <a:solidFill>
            <a:schemeClr val="bg1"/>
          </a:solidFill>
          <a:ln w="9525" cap="flat" cmpd="sng" algn="ctr">
            <a:solidFill>
              <a:schemeClr val="bg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fontAlgn="base" hangingPunct="0">
              <a:spcBef>
                <a:spcPct val="0"/>
              </a:spcBef>
              <a:spcAft>
                <a:spcPct val="0"/>
              </a:spcAft>
            </a:pPr>
            <a:endParaRPr lang="de-DE" sz="1400" dirty="0">
              <a:solidFill>
                <a:srgbClr val="FFFFFF"/>
              </a:solidFill>
            </a:endParaRPr>
          </a:p>
        </p:txBody>
      </p:sp>
      <p:sp>
        <p:nvSpPr>
          <p:cNvPr id="389" name="Freeform 37">
            <a:extLst>
              <a:ext uri="{FF2B5EF4-FFF2-40B4-BE49-F238E27FC236}">
                <a16:creationId xmlns:a16="http://schemas.microsoft.com/office/drawing/2014/main" id="{C864F23F-8BD2-4D97-811C-F402A5D08D4F}"/>
              </a:ext>
            </a:extLst>
          </p:cNvPr>
          <p:cNvSpPr>
            <a:spLocks/>
          </p:cNvSpPr>
          <p:nvPr>
            <p:custDataLst>
              <p:tags r:id="rId43"/>
            </p:custDataLst>
          </p:nvPr>
        </p:nvSpPr>
        <p:spPr bwMode="auto">
          <a:xfrm>
            <a:off x="1032797" y="5253811"/>
            <a:ext cx="278193" cy="234432"/>
          </a:xfrm>
          <a:custGeom>
            <a:avLst/>
            <a:gdLst>
              <a:gd name="T0" fmla="*/ 1028 w 1070"/>
              <a:gd name="T1" fmla="*/ 549 h 902"/>
              <a:gd name="T2" fmla="*/ 1038 w 1070"/>
              <a:gd name="T3" fmla="*/ 539 h 902"/>
              <a:gd name="T4" fmla="*/ 1054 w 1070"/>
              <a:gd name="T5" fmla="*/ 516 h 902"/>
              <a:gd name="T6" fmla="*/ 1064 w 1070"/>
              <a:gd name="T7" fmla="*/ 492 h 902"/>
              <a:gd name="T8" fmla="*/ 1069 w 1070"/>
              <a:gd name="T9" fmla="*/ 465 h 902"/>
              <a:gd name="T10" fmla="*/ 1069 w 1070"/>
              <a:gd name="T11" fmla="*/ 437 h 902"/>
              <a:gd name="T12" fmla="*/ 1064 w 1070"/>
              <a:gd name="T13" fmla="*/ 410 h 902"/>
              <a:gd name="T14" fmla="*/ 1054 w 1070"/>
              <a:gd name="T15" fmla="*/ 386 h 902"/>
              <a:gd name="T16" fmla="*/ 1038 w 1070"/>
              <a:gd name="T17" fmla="*/ 363 h 902"/>
              <a:gd name="T18" fmla="*/ 683 w 1070"/>
              <a:gd name="T19" fmla="*/ 35 h 902"/>
              <a:gd name="T20" fmla="*/ 672 w 1070"/>
              <a:gd name="T21" fmla="*/ 26 h 902"/>
              <a:gd name="T22" fmla="*/ 650 w 1070"/>
              <a:gd name="T23" fmla="*/ 12 h 902"/>
              <a:gd name="T24" fmla="*/ 626 w 1070"/>
              <a:gd name="T25" fmla="*/ 4 h 902"/>
              <a:gd name="T26" fmla="*/ 600 w 1070"/>
              <a:gd name="T27" fmla="*/ 0 h 902"/>
              <a:gd name="T28" fmla="*/ 573 w 1070"/>
              <a:gd name="T29" fmla="*/ 1 h 902"/>
              <a:gd name="T30" fmla="*/ 549 w 1070"/>
              <a:gd name="T31" fmla="*/ 7 h 902"/>
              <a:gd name="T32" fmla="*/ 524 w 1070"/>
              <a:gd name="T33" fmla="*/ 18 h 902"/>
              <a:gd name="T34" fmla="*/ 503 w 1070"/>
              <a:gd name="T35" fmla="*/ 33 h 902"/>
              <a:gd name="T36" fmla="*/ 493 w 1070"/>
              <a:gd name="T37" fmla="*/ 42 h 902"/>
              <a:gd name="T38" fmla="*/ 478 w 1070"/>
              <a:gd name="T39" fmla="*/ 65 h 902"/>
              <a:gd name="T40" fmla="*/ 467 w 1070"/>
              <a:gd name="T41" fmla="*/ 88 h 902"/>
              <a:gd name="T42" fmla="*/ 460 w 1070"/>
              <a:gd name="T43" fmla="*/ 113 h 902"/>
              <a:gd name="T44" fmla="*/ 459 w 1070"/>
              <a:gd name="T45" fmla="*/ 139 h 902"/>
              <a:gd name="T46" fmla="*/ 462 w 1070"/>
              <a:gd name="T47" fmla="*/ 165 h 902"/>
              <a:gd name="T48" fmla="*/ 471 w 1070"/>
              <a:gd name="T49" fmla="*/ 189 h 902"/>
              <a:gd name="T50" fmla="*/ 483 w 1070"/>
              <a:gd name="T51" fmla="*/ 211 h 902"/>
              <a:gd name="T52" fmla="*/ 501 w 1070"/>
              <a:gd name="T53" fmla="*/ 232 h 902"/>
              <a:gd name="T54" fmla="*/ 133 w 1070"/>
              <a:gd name="T55" fmla="*/ 317 h 902"/>
              <a:gd name="T56" fmla="*/ 120 w 1070"/>
              <a:gd name="T57" fmla="*/ 318 h 902"/>
              <a:gd name="T58" fmla="*/ 94 w 1070"/>
              <a:gd name="T59" fmla="*/ 324 h 902"/>
              <a:gd name="T60" fmla="*/ 70 w 1070"/>
              <a:gd name="T61" fmla="*/ 334 h 902"/>
              <a:gd name="T62" fmla="*/ 48 w 1070"/>
              <a:gd name="T63" fmla="*/ 348 h 902"/>
              <a:gd name="T64" fmla="*/ 31 w 1070"/>
              <a:gd name="T65" fmla="*/ 366 h 902"/>
              <a:gd name="T66" fmla="*/ 16 w 1070"/>
              <a:gd name="T67" fmla="*/ 387 h 902"/>
              <a:gd name="T68" fmla="*/ 6 w 1070"/>
              <a:gd name="T69" fmla="*/ 412 h 902"/>
              <a:gd name="T70" fmla="*/ 1 w 1070"/>
              <a:gd name="T71" fmla="*/ 437 h 902"/>
              <a:gd name="T72" fmla="*/ 0 w 1070"/>
              <a:gd name="T73" fmla="*/ 450 h 902"/>
              <a:gd name="T74" fmla="*/ 3 w 1070"/>
              <a:gd name="T75" fmla="*/ 478 h 902"/>
              <a:gd name="T76" fmla="*/ 11 w 1070"/>
              <a:gd name="T77" fmla="*/ 503 h 902"/>
              <a:gd name="T78" fmla="*/ 23 w 1070"/>
              <a:gd name="T79" fmla="*/ 525 h 902"/>
              <a:gd name="T80" fmla="*/ 40 w 1070"/>
              <a:gd name="T81" fmla="*/ 545 h 902"/>
              <a:gd name="T82" fmla="*/ 60 w 1070"/>
              <a:gd name="T83" fmla="*/ 562 h 902"/>
              <a:gd name="T84" fmla="*/ 82 w 1070"/>
              <a:gd name="T85" fmla="*/ 574 h 902"/>
              <a:gd name="T86" fmla="*/ 106 w 1070"/>
              <a:gd name="T87" fmla="*/ 582 h 902"/>
              <a:gd name="T88" fmla="*/ 133 w 1070"/>
              <a:gd name="T89" fmla="*/ 585 h 902"/>
              <a:gd name="T90" fmla="*/ 501 w 1070"/>
              <a:gd name="T91" fmla="*/ 670 h 902"/>
              <a:gd name="T92" fmla="*/ 492 w 1070"/>
              <a:gd name="T93" fmla="*/ 680 h 902"/>
              <a:gd name="T94" fmla="*/ 477 w 1070"/>
              <a:gd name="T95" fmla="*/ 702 h 902"/>
              <a:gd name="T96" fmla="*/ 465 w 1070"/>
              <a:gd name="T97" fmla="*/ 725 h 902"/>
              <a:gd name="T98" fmla="*/ 460 w 1070"/>
              <a:gd name="T99" fmla="*/ 751 h 902"/>
              <a:gd name="T100" fmla="*/ 459 w 1070"/>
              <a:gd name="T101" fmla="*/ 776 h 902"/>
              <a:gd name="T102" fmla="*/ 463 w 1070"/>
              <a:gd name="T103" fmla="*/ 802 h 902"/>
              <a:gd name="T104" fmla="*/ 471 w 1070"/>
              <a:gd name="T105" fmla="*/ 826 h 902"/>
              <a:gd name="T106" fmla="*/ 486 w 1070"/>
              <a:gd name="T107" fmla="*/ 849 h 902"/>
              <a:gd name="T108" fmla="*/ 493 w 1070"/>
              <a:gd name="T109" fmla="*/ 860 h 902"/>
              <a:gd name="T110" fmla="*/ 514 w 1070"/>
              <a:gd name="T111" fmla="*/ 877 h 902"/>
              <a:gd name="T112" fmla="*/ 537 w 1070"/>
              <a:gd name="T113" fmla="*/ 890 h 902"/>
              <a:gd name="T114" fmla="*/ 561 w 1070"/>
              <a:gd name="T115" fmla="*/ 899 h 902"/>
              <a:gd name="T116" fmla="*/ 587 w 1070"/>
              <a:gd name="T117" fmla="*/ 902 h 902"/>
              <a:gd name="T118" fmla="*/ 612 w 1070"/>
              <a:gd name="T119" fmla="*/ 901 h 902"/>
              <a:gd name="T120" fmla="*/ 638 w 1070"/>
              <a:gd name="T121" fmla="*/ 894 h 902"/>
              <a:gd name="T122" fmla="*/ 661 w 1070"/>
              <a:gd name="T123" fmla="*/ 883 h 902"/>
              <a:gd name="T124" fmla="*/ 683 w 1070"/>
              <a:gd name="T125" fmla="*/ 86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0" h="902">
                <a:moveTo>
                  <a:pt x="683" y="867"/>
                </a:moveTo>
                <a:lnTo>
                  <a:pt x="1028" y="549"/>
                </a:lnTo>
                <a:lnTo>
                  <a:pt x="1028" y="549"/>
                </a:lnTo>
                <a:lnTo>
                  <a:pt x="1038" y="539"/>
                </a:lnTo>
                <a:lnTo>
                  <a:pt x="1046" y="528"/>
                </a:lnTo>
                <a:lnTo>
                  <a:pt x="1054" y="516"/>
                </a:lnTo>
                <a:lnTo>
                  <a:pt x="1059" y="504"/>
                </a:lnTo>
                <a:lnTo>
                  <a:pt x="1064" y="492"/>
                </a:lnTo>
                <a:lnTo>
                  <a:pt x="1067" y="478"/>
                </a:lnTo>
                <a:lnTo>
                  <a:pt x="1069" y="465"/>
                </a:lnTo>
                <a:lnTo>
                  <a:pt x="1070" y="450"/>
                </a:lnTo>
                <a:lnTo>
                  <a:pt x="1069" y="437"/>
                </a:lnTo>
                <a:lnTo>
                  <a:pt x="1067" y="424"/>
                </a:lnTo>
                <a:lnTo>
                  <a:pt x="1064" y="410"/>
                </a:lnTo>
                <a:lnTo>
                  <a:pt x="1059" y="398"/>
                </a:lnTo>
                <a:lnTo>
                  <a:pt x="1054" y="386"/>
                </a:lnTo>
                <a:lnTo>
                  <a:pt x="1046" y="374"/>
                </a:lnTo>
                <a:lnTo>
                  <a:pt x="1038" y="363"/>
                </a:lnTo>
                <a:lnTo>
                  <a:pt x="1028" y="353"/>
                </a:lnTo>
                <a:lnTo>
                  <a:pt x="683" y="35"/>
                </a:lnTo>
                <a:lnTo>
                  <a:pt x="683" y="35"/>
                </a:lnTo>
                <a:lnTo>
                  <a:pt x="672" y="26"/>
                </a:lnTo>
                <a:lnTo>
                  <a:pt x="661" y="19"/>
                </a:lnTo>
                <a:lnTo>
                  <a:pt x="650" y="12"/>
                </a:lnTo>
                <a:lnTo>
                  <a:pt x="638" y="8"/>
                </a:lnTo>
                <a:lnTo>
                  <a:pt x="626" y="4"/>
                </a:lnTo>
                <a:lnTo>
                  <a:pt x="612" y="1"/>
                </a:lnTo>
                <a:lnTo>
                  <a:pt x="600" y="0"/>
                </a:lnTo>
                <a:lnTo>
                  <a:pt x="587" y="0"/>
                </a:lnTo>
                <a:lnTo>
                  <a:pt x="573" y="1"/>
                </a:lnTo>
                <a:lnTo>
                  <a:pt x="561" y="3"/>
                </a:lnTo>
                <a:lnTo>
                  <a:pt x="549" y="7"/>
                </a:lnTo>
                <a:lnTo>
                  <a:pt x="537" y="12"/>
                </a:lnTo>
                <a:lnTo>
                  <a:pt x="524" y="18"/>
                </a:lnTo>
                <a:lnTo>
                  <a:pt x="514" y="25"/>
                </a:lnTo>
                <a:lnTo>
                  <a:pt x="503" y="33"/>
                </a:lnTo>
                <a:lnTo>
                  <a:pt x="493" y="42"/>
                </a:lnTo>
                <a:lnTo>
                  <a:pt x="493" y="42"/>
                </a:lnTo>
                <a:lnTo>
                  <a:pt x="486" y="53"/>
                </a:lnTo>
                <a:lnTo>
                  <a:pt x="478" y="65"/>
                </a:lnTo>
                <a:lnTo>
                  <a:pt x="471" y="76"/>
                </a:lnTo>
                <a:lnTo>
                  <a:pt x="467" y="88"/>
                </a:lnTo>
                <a:lnTo>
                  <a:pt x="463" y="100"/>
                </a:lnTo>
                <a:lnTo>
                  <a:pt x="460" y="113"/>
                </a:lnTo>
                <a:lnTo>
                  <a:pt x="459" y="126"/>
                </a:lnTo>
                <a:lnTo>
                  <a:pt x="459" y="139"/>
                </a:lnTo>
                <a:lnTo>
                  <a:pt x="460" y="151"/>
                </a:lnTo>
                <a:lnTo>
                  <a:pt x="462" y="165"/>
                </a:lnTo>
                <a:lnTo>
                  <a:pt x="465" y="177"/>
                </a:lnTo>
                <a:lnTo>
                  <a:pt x="471" y="189"/>
                </a:lnTo>
                <a:lnTo>
                  <a:pt x="477" y="201"/>
                </a:lnTo>
                <a:lnTo>
                  <a:pt x="483" y="211"/>
                </a:lnTo>
                <a:lnTo>
                  <a:pt x="492" y="222"/>
                </a:lnTo>
                <a:lnTo>
                  <a:pt x="501" y="232"/>
                </a:lnTo>
                <a:lnTo>
                  <a:pt x="593" y="317"/>
                </a:lnTo>
                <a:lnTo>
                  <a:pt x="133" y="317"/>
                </a:lnTo>
                <a:lnTo>
                  <a:pt x="133" y="317"/>
                </a:lnTo>
                <a:lnTo>
                  <a:pt x="120" y="318"/>
                </a:lnTo>
                <a:lnTo>
                  <a:pt x="106" y="320"/>
                </a:lnTo>
                <a:lnTo>
                  <a:pt x="94" y="324"/>
                </a:lnTo>
                <a:lnTo>
                  <a:pt x="82" y="328"/>
                </a:lnTo>
                <a:lnTo>
                  <a:pt x="70" y="334"/>
                </a:lnTo>
                <a:lnTo>
                  <a:pt x="60" y="340"/>
                </a:lnTo>
                <a:lnTo>
                  <a:pt x="48" y="348"/>
                </a:lnTo>
                <a:lnTo>
                  <a:pt x="40" y="357"/>
                </a:lnTo>
                <a:lnTo>
                  <a:pt x="31" y="366"/>
                </a:lnTo>
                <a:lnTo>
                  <a:pt x="23" y="377"/>
                </a:lnTo>
                <a:lnTo>
                  <a:pt x="16" y="387"/>
                </a:lnTo>
                <a:lnTo>
                  <a:pt x="11" y="399"/>
                </a:lnTo>
                <a:lnTo>
                  <a:pt x="6" y="412"/>
                </a:lnTo>
                <a:lnTo>
                  <a:pt x="3" y="424"/>
                </a:lnTo>
                <a:lnTo>
                  <a:pt x="1" y="437"/>
                </a:lnTo>
                <a:lnTo>
                  <a:pt x="0" y="450"/>
                </a:lnTo>
                <a:lnTo>
                  <a:pt x="0" y="450"/>
                </a:lnTo>
                <a:lnTo>
                  <a:pt x="1" y="465"/>
                </a:lnTo>
                <a:lnTo>
                  <a:pt x="3" y="478"/>
                </a:lnTo>
                <a:lnTo>
                  <a:pt x="6" y="490"/>
                </a:lnTo>
                <a:lnTo>
                  <a:pt x="11" y="503"/>
                </a:lnTo>
                <a:lnTo>
                  <a:pt x="16" y="515"/>
                </a:lnTo>
                <a:lnTo>
                  <a:pt x="23" y="525"/>
                </a:lnTo>
                <a:lnTo>
                  <a:pt x="31" y="536"/>
                </a:lnTo>
                <a:lnTo>
                  <a:pt x="40" y="545"/>
                </a:lnTo>
                <a:lnTo>
                  <a:pt x="48" y="554"/>
                </a:lnTo>
                <a:lnTo>
                  <a:pt x="60" y="562"/>
                </a:lnTo>
                <a:lnTo>
                  <a:pt x="70" y="568"/>
                </a:lnTo>
                <a:lnTo>
                  <a:pt x="82" y="574"/>
                </a:lnTo>
                <a:lnTo>
                  <a:pt x="94" y="578"/>
                </a:lnTo>
                <a:lnTo>
                  <a:pt x="106" y="582"/>
                </a:lnTo>
                <a:lnTo>
                  <a:pt x="120" y="584"/>
                </a:lnTo>
                <a:lnTo>
                  <a:pt x="133" y="585"/>
                </a:lnTo>
                <a:lnTo>
                  <a:pt x="594" y="585"/>
                </a:lnTo>
                <a:lnTo>
                  <a:pt x="501" y="670"/>
                </a:lnTo>
                <a:lnTo>
                  <a:pt x="501" y="670"/>
                </a:lnTo>
                <a:lnTo>
                  <a:pt x="492" y="680"/>
                </a:lnTo>
                <a:lnTo>
                  <a:pt x="483" y="691"/>
                </a:lnTo>
                <a:lnTo>
                  <a:pt x="477" y="702"/>
                </a:lnTo>
                <a:lnTo>
                  <a:pt x="471" y="713"/>
                </a:lnTo>
                <a:lnTo>
                  <a:pt x="465" y="725"/>
                </a:lnTo>
                <a:lnTo>
                  <a:pt x="462" y="737"/>
                </a:lnTo>
                <a:lnTo>
                  <a:pt x="460" y="751"/>
                </a:lnTo>
                <a:lnTo>
                  <a:pt x="459" y="763"/>
                </a:lnTo>
                <a:lnTo>
                  <a:pt x="459" y="776"/>
                </a:lnTo>
                <a:lnTo>
                  <a:pt x="460" y="789"/>
                </a:lnTo>
                <a:lnTo>
                  <a:pt x="463" y="802"/>
                </a:lnTo>
                <a:lnTo>
                  <a:pt x="467" y="814"/>
                </a:lnTo>
                <a:lnTo>
                  <a:pt x="471" y="826"/>
                </a:lnTo>
                <a:lnTo>
                  <a:pt x="478" y="837"/>
                </a:lnTo>
                <a:lnTo>
                  <a:pt x="486" y="849"/>
                </a:lnTo>
                <a:lnTo>
                  <a:pt x="493" y="860"/>
                </a:lnTo>
                <a:lnTo>
                  <a:pt x="493" y="860"/>
                </a:lnTo>
                <a:lnTo>
                  <a:pt x="503" y="869"/>
                </a:lnTo>
                <a:lnTo>
                  <a:pt x="514" y="877"/>
                </a:lnTo>
                <a:lnTo>
                  <a:pt x="524" y="884"/>
                </a:lnTo>
                <a:lnTo>
                  <a:pt x="537" y="890"/>
                </a:lnTo>
                <a:lnTo>
                  <a:pt x="549" y="895"/>
                </a:lnTo>
                <a:lnTo>
                  <a:pt x="561" y="899"/>
                </a:lnTo>
                <a:lnTo>
                  <a:pt x="573" y="901"/>
                </a:lnTo>
                <a:lnTo>
                  <a:pt x="587" y="902"/>
                </a:lnTo>
                <a:lnTo>
                  <a:pt x="600" y="902"/>
                </a:lnTo>
                <a:lnTo>
                  <a:pt x="612" y="901"/>
                </a:lnTo>
                <a:lnTo>
                  <a:pt x="626" y="898"/>
                </a:lnTo>
                <a:lnTo>
                  <a:pt x="638" y="894"/>
                </a:lnTo>
                <a:lnTo>
                  <a:pt x="650" y="890"/>
                </a:lnTo>
                <a:lnTo>
                  <a:pt x="661" y="883"/>
                </a:lnTo>
                <a:lnTo>
                  <a:pt x="672" y="875"/>
                </a:lnTo>
                <a:lnTo>
                  <a:pt x="683" y="867"/>
                </a:lnTo>
                <a:lnTo>
                  <a:pt x="683" y="867"/>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0" name="Freeform 52">
            <a:extLst>
              <a:ext uri="{FF2B5EF4-FFF2-40B4-BE49-F238E27FC236}">
                <a16:creationId xmlns:a16="http://schemas.microsoft.com/office/drawing/2014/main" id="{A486144F-AA99-48F7-AD25-8EFFEFD2CE56}"/>
              </a:ext>
            </a:extLst>
          </p:cNvPr>
          <p:cNvSpPr>
            <a:spLocks/>
          </p:cNvSpPr>
          <p:nvPr>
            <p:custDataLst>
              <p:tags r:id="rId44"/>
            </p:custDataLst>
          </p:nvPr>
        </p:nvSpPr>
        <p:spPr bwMode="auto">
          <a:xfrm>
            <a:off x="398933" y="5231930"/>
            <a:ext cx="234432" cy="278193"/>
          </a:xfrm>
          <a:custGeom>
            <a:avLst/>
            <a:gdLst>
              <a:gd name="T0" fmla="*/ 549 w 902"/>
              <a:gd name="T1" fmla="*/ 42 h 1069"/>
              <a:gd name="T2" fmla="*/ 539 w 902"/>
              <a:gd name="T3" fmla="*/ 32 h 1069"/>
              <a:gd name="T4" fmla="*/ 517 w 902"/>
              <a:gd name="T5" fmla="*/ 16 h 1069"/>
              <a:gd name="T6" fmla="*/ 492 w 902"/>
              <a:gd name="T7" fmla="*/ 5 h 1069"/>
              <a:gd name="T8" fmla="*/ 465 w 902"/>
              <a:gd name="T9" fmla="*/ 0 h 1069"/>
              <a:gd name="T10" fmla="*/ 437 w 902"/>
              <a:gd name="T11" fmla="*/ 0 h 1069"/>
              <a:gd name="T12" fmla="*/ 410 w 902"/>
              <a:gd name="T13" fmla="*/ 5 h 1069"/>
              <a:gd name="T14" fmla="*/ 386 w 902"/>
              <a:gd name="T15" fmla="*/ 16 h 1069"/>
              <a:gd name="T16" fmla="*/ 363 w 902"/>
              <a:gd name="T17" fmla="*/ 32 h 1069"/>
              <a:gd name="T18" fmla="*/ 35 w 902"/>
              <a:gd name="T19" fmla="*/ 387 h 1069"/>
              <a:gd name="T20" fmla="*/ 27 w 902"/>
              <a:gd name="T21" fmla="*/ 397 h 1069"/>
              <a:gd name="T22" fmla="*/ 12 w 902"/>
              <a:gd name="T23" fmla="*/ 420 h 1069"/>
              <a:gd name="T24" fmla="*/ 4 w 902"/>
              <a:gd name="T25" fmla="*/ 444 h 1069"/>
              <a:gd name="T26" fmla="*/ 0 w 902"/>
              <a:gd name="T27" fmla="*/ 470 h 1069"/>
              <a:gd name="T28" fmla="*/ 1 w 902"/>
              <a:gd name="T29" fmla="*/ 496 h 1069"/>
              <a:gd name="T30" fmla="*/ 8 w 902"/>
              <a:gd name="T31" fmla="*/ 521 h 1069"/>
              <a:gd name="T32" fmla="*/ 18 w 902"/>
              <a:gd name="T33" fmla="*/ 544 h 1069"/>
              <a:gd name="T34" fmla="*/ 33 w 902"/>
              <a:gd name="T35" fmla="*/ 566 h 1069"/>
              <a:gd name="T36" fmla="*/ 42 w 902"/>
              <a:gd name="T37" fmla="*/ 576 h 1069"/>
              <a:gd name="T38" fmla="*/ 65 w 902"/>
              <a:gd name="T39" fmla="*/ 592 h 1069"/>
              <a:gd name="T40" fmla="*/ 88 w 902"/>
              <a:gd name="T41" fmla="*/ 603 h 1069"/>
              <a:gd name="T42" fmla="*/ 113 w 902"/>
              <a:gd name="T43" fmla="*/ 609 h 1069"/>
              <a:gd name="T44" fmla="*/ 139 w 902"/>
              <a:gd name="T45" fmla="*/ 611 h 1069"/>
              <a:gd name="T46" fmla="*/ 165 w 902"/>
              <a:gd name="T47" fmla="*/ 607 h 1069"/>
              <a:gd name="T48" fmla="*/ 189 w 902"/>
              <a:gd name="T49" fmla="*/ 599 h 1069"/>
              <a:gd name="T50" fmla="*/ 212 w 902"/>
              <a:gd name="T51" fmla="*/ 586 h 1069"/>
              <a:gd name="T52" fmla="*/ 232 w 902"/>
              <a:gd name="T53" fmla="*/ 568 h 1069"/>
              <a:gd name="T54" fmla="*/ 317 w 902"/>
              <a:gd name="T55" fmla="*/ 936 h 1069"/>
              <a:gd name="T56" fmla="*/ 318 w 902"/>
              <a:gd name="T57" fmla="*/ 949 h 1069"/>
              <a:gd name="T58" fmla="*/ 324 w 902"/>
              <a:gd name="T59" fmla="*/ 976 h 1069"/>
              <a:gd name="T60" fmla="*/ 334 w 902"/>
              <a:gd name="T61" fmla="*/ 999 h 1069"/>
              <a:gd name="T62" fmla="*/ 348 w 902"/>
              <a:gd name="T63" fmla="*/ 1020 h 1069"/>
              <a:gd name="T64" fmla="*/ 366 w 902"/>
              <a:gd name="T65" fmla="*/ 1039 h 1069"/>
              <a:gd name="T66" fmla="*/ 388 w 902"/>
              <a:gd name="T67" fmla="*/ 1054 h 1069"/>
              <a:gd name="T68" fmla="*/ 412 w 902"/>
              <a:gd name="T69" fmla="*/ 1064 h 1069"/>
              <a:gd name="T70" fmla="*/ 437 w 902"/>
              <a:gd name="T71" fmla="*/ 1069 h 1069"/>
              <a:gd name="T72" fmla="*/ 452 w 902"/>
              <a:gd name="T73" fmla="*/ 1069 h 1069"/>
              <a:gd name="T74" fmla="*/ 478 w 902"/>
              <a:gd name="T75" fmla="*/ 1067 h 1069"/>
              <a:gd name="T76" fmla="*/ 503 w 902"/>
              <a:gd name="T77" fmla="*/ 1059 h 1069"/>
              <a:gd name="T78" fmla="*/ 526 w 902"/>
              <a:gd name="T79" fmla="*/ 1047 h 1069"/>
              <a:gd name="T80" fmla="*/ 546 w 902"/>
              <a:gd name="T81" fmla="*/ 1030 h 1069"/>
              <a:gd name="T82" fmla="*/ 562 w 902"/>
              <a:gd name="T83" fmla="*/ 1010 h 1069"/>
              <a:gd name="T84" fmla="*/ 575 w 902"/>
              <a:gd name="T85" fmla="*/ 988 h 1069"/>
              <a:gd name="T86" fmla="*/ 583 w 902"/>
              <a:gd name="T87" fmla="*/ 963 h 1069"/>
              <a:gd name="T88" fmla="*/ 585 w 902"/>
              <a:gd name="T89" fmla="*/ 936 h 1069"/>
              <a:gd name="T90" fmla="*/ 671 w 902"/>
              <a:gd name="T91" fmla="*/ 568 h 1069"/>
              <a:gd name="T92" fmla="*/ 680 w 902"/>
              <a:gd name="T93" fmla="*/ 578 h 1069"/>
              <a:gd name="T94" fmla="*/ 702 w 902"/>
              <a:gd name="T95" fmla="*/ 593 h 1069"/>
              <a:gd name="T96" fmla="*/ 725 w 902"/>
              <a:gd name="T97" fmla="*/ 603 h 1069"/>
              <a:gd name="T98" fmla="*/ 751 w 902"/>
              <a:gd name="T99" fmla="*/ 609 h 1069"/>
              <a:gd name="T100" fmla="*/ 776 w 902"/>
              <a:gd name="T101" fmla="*/ 610 h 1069"/>
              <a:gd name="T102" fmla="*/ 802 w 902"/>
              <a:gd name="T103" fmla="*/ 607 h 1069"/>
              <a:gd name="T104" fmla="*/ 826 w 902"/>
              <a:gd name="T105" fmla="*/ 598 h 1069"/>
              <a:gd name="T106" fmla="*/ 849 w 902"/>
              <a:gd name="T107" fmla="*/ 584 h 1069"/>
              <a:gd name="T108" fmla="*/ 860 w 902"/>
              <a:gd name="T109" fmla="*/ 576 h 1069"/>
              <a:gd name="T110" fmla="*/ 877 w 902"/>
              <a:gd name="T111" fmla="*/ 556 h 1069"/>
              <a:gd name="T112" fmla="*/ 891 w 902"/>
              <a:gd name="T113" fmla="*/ 533 h 1069"/>
              <a:gd name="T114" fmla="*/ 899 w 902"/>
              <a:gd name="T115" fmla="*/ 509 h 1069"/>
              <a:gd name="T116" fmla="*/ 902 w 902"/>
              <a:gd name="T117" fmla="*/ 483 h 1069"/>
              <a:gd name="T118" fmla="*/ 901 w 902"/>
              <a:gd name="T119" fmla="*/ 457 h 1069"/>
              <a:gd name="T120" fmla="*/ 894 w 902"/>
              <a:gd name="T121" fmla="*/ 432 h 1069"/>
              <a:gd name="T122" fmla="*/ 883 w 902"/>
              <a:gd name="T123" fmla="*/ 408 h 1069"/>
              <a:gd name="T124" fmla="*/ 867 w 902"/>
              <a:gd name="T125" fmla="*/ 387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69">
                <a:moveTo>
                  <a:pt x="867" y="387"/>
                </a:moveTo>
                <a:lnTo>
                  <a:pt x="549" y="42"/>
                </a:lnTo>
                <a:lnTo>
                  <a:pt x="549" y="42"/>
                </a:lnTo>
                <a:lnTo>
                  <a:pt x="539" y="32"/>
                </a:lnTo>
                <a:lnTo>
                  <a:pt x="528" y="23"/>
                </a:lnTo>
                <a:lnTo>
                  <a:pt x="517" y="16"/>
                </a:lnTo>
                <a:lnTo>
                  <a:pt x="504" y="10"/>
                </a:lnTo>
                <a:lnTo>
                  <a:pt x="492" y="5"/>
                </a:lnTo>
                <a:lnTo>
                  <a:pt x="478" y="2"/>
                </a:lnTo>
                <a:lnTo>
                  <a:pt x="465" y="0"/>
                </a:lnTo>
                <a:lnTo>
                  <a:pt x="452" y="0"/>
                </a:lnTo>
                <a:lnTo>
                  <a:pt x="437" y="0"/>
                </a:lnTo>
                <a:lnTo>
                  <a:pt x="424" y="2"/>
                </a:lnTo>
                <a:lnTo>
                  <a:pt x="410" y="5"/>
                </a:lnTo>
                <a:lnTo>
                  <a:pt x="398" y="10"/>
                </a:lnTo>
                <a:lnTo>
                  <a:pt x="386" y="16"/>
                </a:lnTo>
                <a:lnTo>
                  <a:pt x="374" y="23"/>
                </a:lnTo>
                <a:lnTo>
                  <a:pt x="363" y="32"/>
                </a:lnTo>
                <a:lnTo>
                  <a:pt x="353" y="42"/>
                </a:lnTo>
                <a:lnTo>
                  <a:pt x="35" y="387"/>
                </a:lnTo>
                <a:lnTo>
                  <a:pt x="35" y="387"/>
                </a:lnTo>
                <a:lnTo>
                  <a:pt x="27" y="397"/>
                </a:lnTo>
                <a:lnTo>
                  <a:pt x="19" y="408"/>
                </a:lnTo>
                <a:lnTo>
                  <a:pt x="12" y="420"/>
                </a:lnTo>
                <a:lnTo>
                  <a:pt x="8" y="432"/>
                </a:lnTo>
                <a:lnTo>
                  <a:pt x="4" y="444"/>
                </a:lnTo>
                <a:lnTo>
                  <a:pt x="1" y="457"/>
                </a:lnTo>
                <a:lnTo>
                  <a:pt x="0" y="470"/>
                </a:lnTo>
                <a:lnTo>
                  <a:pt x="0" y="482"/>
                </a:lnTo>
                <a:lnTo>
                  <a:pt x="1" y="496"/>
                </a:lnTo>
                <a:lnTo>
                  <a:pt x="3" y="508"/>
                </a:lnTo>
                <a:lnTo>
                  <a:pt x="8" y="521"/>
                </a:lnTo>
                <a:lnTo>
                  <a:pt x="12" y="533"/>
                </a:lnTo>
                <a:lnTo>
                  <a:pt x="18" y="544"/>
                </a:lnTo>
                <a:lnTo>
                  <a:pt x="25" y="556"/>
                </a:lnTo>
                <a:lnTo>
                  <a:pt x="33" y="566"/>
                </a:lnTo>
                <a:lnTo>
                  <a:pt x="42" y="576"/>
                </a:lnTo>
                <a:lnTo>
                  <a:pt x="42" y="576"/>
                </a:lnTo>
                <a:lnTo>
                  <a:pt x="53" y="584"/>
                </a:lnTo>
                <a:lnTo>
                  <a:pt x="65" y="592"/>
                </a:lnTo>
                <a:lnTo>
                  <a:pt x="76" y="598"/>
                </a:lnTo>
                <a:lnTo>
                  <a:pt x="88" y="603"/>
                </a:lnTo>
                <a:lnTo>
                  <a:pt x="100" y="607"/>
                </a:lnTo>
                <a:lnTo>
                  <a:pt x="113" y="609"/>
                </a:lnTo>
                <a:lnTo>
                  <a:pt x="126" y="610"/>
                </a:lnTo>
                <a:lnTo>
                  <a:pt x="139" y="611"/>
                </a:lnTo>
                <a:lnTo>
                  <a:pt x="152" y="609"/>
                </a:lnTo>
                <a:lnTo>
                  <a:pt x="165" y="607"/>
                </a:lnTo>
                <a:lnTo>
                  <a:pt x="177" y="603"/>
                </a:lnTo>
                <a:lnTo>
                  <a:pt x="189" y="599"/>
                </a:lnTo>
                <a:lnTo>
                  <a:pt x="201" y="593"/>
                </a:lnTo>
                <a:lnTo>
                  <a:pt x="212" y="586"/>
                </a:lnTo>
                <a:lnTo>
                  <a:pt x="222" y="578"/>
                </a:lnTo>
                <a:lnTo>
                  <a:pt x="232" y="568"/>
                </a:lnTo>
                <a:lnTo>
                  <a:pt x="317" y="476"/>
                </a:lnTo>
                <a:lnTo>
                  <a:pt x="317" y="936"/>
                </a:lnTo>
                <a:lnTo>
                  <a:pt x="317" y="936"/>
                </a:lnTo>
                <a:lnTo>
                  <a:pt x="318" y="949"/>
                </a:lnTo>
                <a:lnTo>
                  <a:pt x="320" y="963"/>
                </a:lnTo>
                <a:lnTo>
                  <a:pt x="324" y="976"/>
                </a:lnTo>
                <a:lnTo>
                  <a:pt x="328" y="988"/>
                </a:lnTo>
                <a:lnTo>
                  <a:pt x="334" y="999"/>
                </a:lnTo>
                <a:lnTo>
                  <a:pt x="340" y="1010"/>
                </a:lnTo>
                <a:lnTo>
                  <a:pt x="348" y="1020"/>
                </a:lnTo>
                <a:lnTo>
                  <a:pt x="357" y="1030"/>
                </a:lnTo>
                <a:lnTo>
                  <a:pt x="366" y="1039"/>
                </a:lnTo>
                <a:lnTo>
                  <a:pt x="377" y="1047"/>
                </a:lnTo>
                <a:lnTo>
                  <a:pt x="388" y="1054"/>
                </a:lnTo>
                <a:lnTo>
                  <a:pt x="399" y="1059"/>
                </a:lnTo>
                <a:lnTo>
                  <a:pt x="412" y="1064"/>
                </a:lnTo>
                <a:lnTo>
                  <a:pt x="425" y="1067"/>
                </a:lnTo>
                <a:lnTo>
                  <a:pt x="437" y="1069"/>
                </a:lnTo>
                <a:lnTo>
                  <a:pt x="452" y="1069"/>
                </a:lnTo>
                <a:lnTo>
                  <a:pt x="452" y="1069"/>
                </a:lnTo>
                <a:lnTo>
                  <a:pt x="465" y="1069"/>
                </a:lnTo>
                <a:lnTo>
                  <a:pt x="478" y="1067"/>
                </a:lnTo>
                <a:lnTo>
                  <a:pt x="490" y="1064"/>
                </a:lnTo>
                <a:lnTo>
                  <a:pt x="503" y="1059"/>
                </a:lnTo>
                <a:lnTo>
                  <a:pt x="515" y="1054"/>
                </a:lnTo>
                <a:lnTo>
                  <a:pt x="526" y="1047"/>
                </a:lnTo>
                <a:lnTo>
                  <a:pt x="536" y="1039"/>
                </a:lnTo>
                <a:lnTo>
                  <a:pt x="546" y="1030"/>
                </a:lnTo>
                <a:lnTo>
                  <a:pt x="554" y="1020"/>
                </a:lnTo>
                <a:lnTo>
                  <a:pt x="562" y="1010"/>
                </a:lnTo>
                <a:lnTo>
                  <a:pt x="568" y="999"/>
                </a:lnTo>
                <a:lnTo>
                  <a:pt x="575" y="988"/>
                </a:lnTo>
                <a:lnTo>
                  <a:pt x="579" y="976"/>
                </a:lnTo>
                <a:lnTo>
                  <a:pt x="583" y="963"/>
                </a:lnTo>
                <a:lnTo>
                  <a:pt x="584" y="949"/>
                </a:lnTo>
                <a:lnTo>
                  <a:pt x="585" y="936"/>
                </a:lnTo>
                <a:lnTo>
                  <a:pt x="585" y="476"/>
                </a:lnTo>
                <a:lnTo>
                  <a:pt x="671" y="568"/>
                </a:lnTo>
                <a:lnTo>
                  <a:pt x="671" y="568"/>
                </a:lnTo>
                <a:lnTo>
                  <a:pt x="680" y="578"/>
                </a:lnTo>
                <a:lnTo>
                  <a:pt x="691" y="586"/>
                </a:lnTo>
                <a:lnTo>
                  <a:pt x="702" y="593"/>
                </a:lnTo>
                <a:lnTo>
                  <a:pt x="713" y="599"/>
                </a:lnTo>
                <a:lnTo>
                  <a:pt x="725" y="603"/>
                </a:lnTo>
                <a:lnTo>
                  <a:pt x="737" y="607"/>
                </a:lnTo>
                <a:lnTo>
                  <a:pt x="751" y="609"/>
                </a:lnTo>
                <a:lnTo>
                  <a:pt x="763" y="610"/>
                </a:lnTo>
                <a:lnTo>
                  <a:pt x="776" y="610"/>
                </a:lnTo>
                <a:lnTo>
                  <a:pt x="789" y="609"/>
                </a:lnTo>
                <a:lnTo>
                  <a:pt x="802" y="607"/>
                </a:lnTo>
                <a:lnTo>
                  <a:pt x="814" y="603"/>
                </a:lnTo>
                <a:lnTo>
                  <a:pt x="826" y="598"/>
                </a:lnTo>
                <a:lnTo>
                  <a:pt x="837" y="592"/>
                </a:lnTo>
                <a:lnTo>
                  <a:pt x="849" y="584"/>
                </a:lnTo>
                <a:lnTo>
                  <a:pt x="860" y="576"/>
                </a:lnTo>
                <a:lnTo>
                  <a:pt x="860" y="576"/>
                </a:lnTo>
                <a:lnTo>
                  <a:pt x="869" y="566"/>
                </a:lnTo>
                <a:lnTo>
                  <a:pt x="877" y="556"/>
                </a:lnTo>
                <a:lnTo>
                  <a:pt x="884" y="544"/>
                </a:lnTo>
                <a:lnTo>
                  <a:pt x="891" y="533"/>
                </a:lnTo>
                <a:lnTo>
                  <a:pt x="895" y="521"/>
                </a:lnTo>
                <a:lnTo>
                  <a:pt x="899" y="509"/>
                </a:lnTo>
                <a:lnTo>
                  <a:pt x="901" y="496"/>
                </a:lnTo>
                <a:lnTo>
                  <a:pt x="902" y="483"/>
                </a:lnTo>
                <a:lnTo>
                  <a:pt x="902" y="470"/>
                </a:lnTo>
                <a:lnTo>
                  <a:pt x="901" y="457"/>
                </a:lnTo>
                <a:lnTo>
                  <a:pt x="899" y="444"/>
                </a:lnTo>
                <a:lnTo>
                  <a:pt x="894" y="432"/>
                </a:lnTo>
                <a:lnTo>
                  <a:pt x="890" y="420"/>
                </a:lnTo>
                <a:lnTo>
                  <a:pt x="883" y="408"/>
                </a:lnTo>
                <a:lnTo>
                  <a:pt x="876" y="397"/>
                </a:lnTo>
                <a:lnTo>
                  <a:pt x="867" y="387"/>
                </a:lnTo>
                <a:lnTo>
                  <a:pt x="867" y="387"/>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1" name="Freeform 57">
            <a:extLst>
              <a:ext uri="{FF2B5EF4-FFF2-40B4-BE49-F238E27FC236}">
                <a16:creationId xmlns:a16="http://schemas.microsoft.com/office/drawing/2014/main" id="{B754FC59-AFE5-4838-824E-82234D28E40A}"/>
              </a:ext>
            </a:extLst>
          </p:cNvPr>
          <p:cNvSpPr>
            <a:spLocks/>
          </p:cNvSpPr>
          <p:nvPr/>
        </p:nvSpPr>
        <p:spPr bwMode="auto">
          <a:xfrm>
            <a:off x="1826856" y="5370245"/>
            <a:ext cx="1563" cy="1563"/>
          </a:xfrm>
          <a:custGeom>
            <a:avLst/>
            <a:gdLst>
              <a:gd name="T0" fmla="*/ 5 w 5"/>
              <a:gd name="T1" fmla="*/ 5 h 5"/>
              <a:gd name="T2" fmla="*/ 5 w 5"/>
              <a:gd name="T3" fmla="*/ 5 h 5"/>
              <a:gd name="T4" fmla="*/ 0 w 5"/>
              <a:gd name="T5" fmla="*/ 0 h 5"/>
              <a:gd name="T6" fmla="*/ 0 w 5"/>
              <a:gd name="T7" fmla="*/ 0 h 5"/>
              <a:gd name="T8" fmla="*/ 5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5"/>
                </a:lnTo>
                <a:lnTo>
                  <a:pt x="0" y="0"/>
                </a:lnTo>
                <a:lnTo>
                  <a:pt x="0" y="0"/>
                </a:lnTo>
                <a:lnTo>
                  <a:pt x="5" y="5"/>
                </a:lnTo>
                <a:lnTo>
                  <a:pt x="5" y="5"/>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2" name="Freeform 58">
            <a:extLst>
              <a:ext uri="{FF2B5EF4-FFF2-40B4-BE49-F238E27FC236}">
                <a16:creationId xmlns:a16="http://schemas.microsoft.com/office/drawing/2014/main" id="{035C18CC-0A20-4FE8-932A-B24F07952427}"/>
              </a:ext>
            </a:extLst>
          </p:cNvPr>
          <p:cNvSpPr>
            <a:spLocks/>
          </p:cNvSpPr>
          <p:nvPr/>
        </p:nvSpPr>
        <p:spPr bwMode="auto">
          <a:xfrm>
            <a:off x="1825293" y="5368682"/>
            <a:ext cx="4689" cy="4689"/>
          </a:xfrm>
          <a:custGeom>
            <a:avLst/>
            <a:gdLst>
              <a:gd name="T0" fmla="*/ 15 w 15"/>
              <a:gd name="T1" fmla="*/ 16 h 16"/>
              <a:gd name="T2" fmla="*/ 15 w 15"/>
              <a:gd name="T3" fmla="*/ 16 h 16"/>
              <a:gd name="T4" fmla="*/ 0 w 15"/>
              <a:gd name="T5" fmla="*/ 0 h 16"/>
              <a:gd name="T6" fmla="*/ 0 w 15"/>
              <a:gd name="T7" fmla="*/ 0 h 16"/>
              <a:gd name="T8" fmla="*/ 15 w 15"/>
              <a:gd name="T9" fmla="*/ 16 h 16"/>
              <a:gd name="T10" fmla="*/ 15 w 15"/>
              <a:gd name="T11" fmla="*/ 16 h 16"/>
            </a:gdLst>
            <a:ahLst/>
            <a:cxnLst>
              <a:cxn ang="0">
                <a:pos x="T0" y="T1"/>
              </a:cxn>
              <a:cxn ang="0">
                <a:pos x="T2" y="T3"/>
              </a:cxn>
              <a:cxn ang="0">
                <a:pos x="T4" y="T5"/>
              </a:cxn>
              <a:cxn ang="0">
                <a:pos x="T6" y="T7"/>
              </a:cxn>
              <a:cxn ang="0">
                <a:pos x="T8" y="T9"/>
              </a:cxn>
              <a:cxn ang="0">
                <a:pos x="T10" y="T11"/>
              </a:cxn>
            </a:cxnLst>
            <a:rect l="0" t="0" r="r" b="b"/>
            <a:pathLst>
              <a:path w="15" h="16">
                <a:moveTo>
                  <a:pt x="15" y="16"/>
                </a:moveTo>
                <a:lnTo>
                  <a:pt x="15" y="16"/>
                </a:lnTo>
                <a:lnTo>
                  <a:pt x="0" y="0"/>
                </a:lnTo>
                <a:lnTo>
                  <a:pt x="0" y="0"/>
                </a:lnTo>
                <a:lnTo>
                  <a:pt x="15" y="16"/>
                </a:lnTo>
                <a:lnTo>
                  <a:pt x="15" y="16"/>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3" name="Freeform 59">
            <a:extLst>
              <a:ext uri="{FF2B5EF4-FFF2-40B4-BE49-F238E27FC236}">
                <a16:creationId xmlns:a16="http://schemas.microsoft.com/office/drawing/2014/main" id="{6BA980D4-B587-4024-BE3C-C209B4B4A222}"/>
              </a:ext>
            </a:extLst>
          </p:cNvPr>
          <p:cNvSpPr>
            <a:spLocks/>
          </p:cNvSpPr>
          <p:nvPr/>
        </p:nvSpPr>
        <p:spPr bwMode="auto">
          <a:xfrm>
            <a:off x="1710422" y="5231930"/>
            <a:ext cx="234432" cy="278193"/>
          </a:xfrm>
          <a:custGeom>
            <a:avLst/>
            <a:gdLst>
              <a:gd name="T0" fmla="*/ 353 w 902"/>
              <a:gd name="T1" fmla="*/ 1027 h 1070"/>
              <a:gd name="T2" fmla="*/ 363 w 902"/>
              <a:gd name="T3" fmla="*/ 1037 h 1070"/>
              <a:gd name="T4" fmla="*/ 386 w 902"/>
              <a:gd name="T5" fmla="*/ 1054 h 1070"/>
              <a:gd name="T6" fmla="*/ 410 w 902"/>
              <a:gd name="T7" fmla="*/ 1064 h 1070"/>
              <a:gd name="T8" fmla="*/ 437 w 902"/>
              <a:gd name="T9" fmla="*/ 1069 h 1070"/>
              <a:gd name="T10" fmla="*/ 465 w 902"/>
              <a:gd name="T11" fmla="*/ 1069 h 1070"/>
              <a:gd name="T12" fmla="*/ 492 w 902"/>
              <a:gd name="T13" fmla="*/ 1064 h 1070"/>
              <a:gd name="T14" fmla="*/ 516 w 902"/>
              <a:gd name="T15" fmla="*/ 1054 h 1070"/>
              <a:gd name="T16" fmla="*/ 539 w 902"/>
              <a:gd name="T17" fmla="*/ 1037 h 1070"/>
              <a:gd name="T18" fmla="*/ 867 w 902"/>
              <a:gd name="T19" fmla="*/ 682 h 1070"/>
              <a:gd name="T20" fmla="*/ 876 w 902"/>
              <a:gd name="T21" fmla="*/ 672 h 1070"/>
              <a:gd name="T22" fmla="*/ 890 w 902"/>
              <a:gd name="T23" fmla="*/ 650 h 1070"/>
              <a:gd name="T24" fmla="*/ 898 w 902"/>
              <a:gd name="T25" fmla="*/ 625 h 1070"/>
              <a:gd name="T26" fmla="*/ 902 w 902"/>
              <a:gd name="T27" fmla="*/ 599 h 1070"/>
              <a:gd name="T28" fmla="*/ 901 w 902"/>
              <a:gd name="T29" fmla="*/ 573 h 1070"/>
              <a:gd name="T30" fmla="*/ 895 w 902"/>
              <a:gd name="T31" fmla="*/ 549 h 1070"/>
              <a:gd name="T32" fmla="*/ 884 w 902"/>
              <a:gd name="T33" fmla="*/ 524 h 1070"/>
              <a:gd name="T34" fmla="*/ 869 w 902"/>
              <a:gd name="T35" fmla="*/ 503 h 1070"/>
              <a:gd name="T36" fmla="*/ 860 w 902"/>
              <a:gd name="T37" fmla="*/ 493 h 1070"/>
              <a:gd name="T38" fmla="*/ 837 w 902"/>
              <a:gd name="T39" fmla="*/ 478 h 1070"/>
              <a:gd name="T40" fmla="*/ 814 w 902"/>
              <a:gd name="T41" fmla="*/ 467 h 1070"/>
              <a:gd name="T42" fmla="*/ 789 w 902"/>
              <a:gd name="T43" fmla="*/ 460 h 1070"/>
              <a:gd name="T44" fmla="*/ 763 w 902"/>
              <a:gd name="T45" fmla="*/ 459 h 1070"/>
              <a:gd name="T46" fmla="*/ 737 w 902"/>
              <a:gd name="T47" fmla="*/ 462 h 1070"/>
              <a:gd name="T48" fmla="*/ 713 w 902"/>
              <a:gd name="T49" fmla="*/ 470 h 1070"/>
              <a:gd name="T50" fmla="*/ 691 w 902"/>
              <a:gd name="T51" fmla="*/ 483 h 1070"/>
              <a:gd name="T52" fmla="*/ 670 w 902"/>
              <a:gd name="T53" fmla="*/ 501 h 1070"/>
              <a:gd name="T54" fmla="*/ 585 w 902"/>
              <a:gd name="T55" fmla="*/ 133 h 1070"/>
              <a:gd name="T56" fmla="*/ 584 w 902"/>
              <a:gd name="T57" fmla="*/ 120 h 1070"/>
              <a:gd name="T58" fmla="*/ 578 w 902"/>
              <a:gd name="T59" fmla="*/ 94 h 1070"/>
              <a:gd name="T60" fmla="*/ 568 w 902"/>
              <a:gd name="T61" fmla="*/ 70 h 1070"/>
              <a:gd name="T62" fmla="*/ 554 w 902"/>
              <a:gd name="T63" fmla="*/ 48 h 1070"/>
              <a:gd name="T64" fmla="*/ 536 w 902"/>
              <a:gd name="T65" fmla="*/ 31 h 1070"/>
              <a:gd name="T66" fmla="*/ 515 w 902"/>
              <a:gd name="T67" fmla="*/ 16 h 1070"/>
              <a:gd name="T68" fmla="*/ 490 w 902"/>
              <a:gd name="T69" fmla="*/ 5 h 1070"/>
              <a:gd name="T70" fmla="*/ 465 w 902"/>
              <a:gd name="T71" fmla="*/ 1 h 1070"/>
              <a:gd name="T72" fmla="*/ 452 w 902"/>
              <a:gd name="T73" fmla="*/ 0 h 1070"/>
              <a:gd name="T74" fmla="*/ 424 w 902"/>
              <a:gd name="T75" fmla="*/ 2 h 1070"/>
              <a:gd name="T76" fmla="*/ 399 w 902"/>
              <a:gd name="T77" fmla="*/ 10 h 1070"/>
              <a:gd name="T78" fmla="*/ 377 w 902"/>
              <a:gd name="T79" fmla="*/ 23 h 1070"/>
              <a:gd name="T80" fmla="*/ 357 w 902"/>
              <a:gd name="T81" fmla="*/ 38 h 1070"/>
              <a:gd name="T82" fmla="*/ 340 w 902"/>
              <a:gd name="T83" fmla="*/ 58 h 1070"/>
              <a:gd name="T84" fmla="*/ 328 w 902"/>
              <a:gd name="T85" fmla="*/ 82 h 1070"/>
              <a:gd name="T86" fmla="*/ 320 w 902"/>
              <a:gd name="T87" fmla="*/ 106 h 1070"/>
              <a:gd name="T88" fmla="*/ 317 w 902"/>
              <a:gd name="T89" fmla="*/ 133 h 1070"/>
              <a:gd name="T90" fmla="*/ 232 w 902"/>
              <a:gd name="T91" fmla="*/ 501 h 1070"/>
              <a:gd name="T92" fmla="*/ 222 w 902"/>
              <a:gd name="T93" fmla="*/ 492 h 1070"/>
              <a:gd name="T94" fmla="*/ 200 w 902"/>
              <a:gd name="T95" fmla="*/ 477 h 1070"/>
              <a:gd name="T96" fmla="*/ 177 w 902"/>
              <a:gd name="T97" fmla="*/ 465 h 1070"/>
              <a:gd name="T98" fmla="*/ 151 w 902"/>
              <a:gd name="T99" fmla="*/ 460 h 1070"/>
              <a:gd name="T100" fmla="*/ 126 w 902"/>
              <a:gd name="T101" fmla="*/ 459 h 1070"/>
              <a:gd name="T102" fmla="*/ 100 w 902"/>
              <a:gd name="T103" fmla="*/ 462 h 1070"/>
              <a:gd name="T104" fmla="*/ 76 w 902"/>
              <a:gd name="T105" fmla="*/ 471 h 1070"/>
              <a:gd name="T106" fmla="*/ 53 w 902"/>
              <a:gd name="T107" fmla="*/ 484 h 1070"/>
              <a:gd name="T108" fmla="*/ 42 w 902"/>
              <a:gd name="T109" fmla="*/ 493 h 1070"/>
              <a:gd name="T110" fmla="*/ 25 w 902"/>
              <a:gd name="T111" fmla="*/ 513 h 1070"/>
              <a:gd name="T112" fmla="*/ 12 w 902"/>
              <a:gd name="T113" fmla="*/ 537 h 1070"/>
              <a:gd name="T114" fmla="*/ 3 w 902"/>
              <a:gd name="T115" fmla="*/ 561 h 1070"/>
              <a:gd name="T116" fmla="*/ 0 w 902"/>
              <a:gd name="T117" fmla="*/ 587 h 1070"/>
              <a:gd name="T118" fmla="*/ 1 w 902"/>
              <a:gd name="T119" fmla="*/ 612 h 1070"/>
              <a:gd name="T120" fmla="*/ 8 w 902"/>
              <a:gd name="T121" fmla="*/ 638 h 1070"/>
              <a:gd name="T122" fmla="*/ 19 w 902"/>
              <a:gd name="T123" fmla="*/ 661 h 1070"/>
              <a:gd name="T124" fmla="*/ 35 w 902"/>
              <a:gd name="T125" fmla="*/ 68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1070">
                <a:moveTo>
                  <a:pt x="35" y="682"/>
                </a:moveTo>
                <a:lnTo>
                  <a:pt x="353" y="1027"/>
                </a:lnTo>
                <a:lnTo>
                  <a:pt x="353" y="1027"/>
                </a:lnTo>
                <a:lnTo>
                  <a:pt x="363" y="1037"/>
                </a:lnTo>
                <a:lnTo>
                  <a:pt x="374" y="1046"/>
                </a:lnTo>
                <a:lnTo>
                  <a:pt x="386" y="1054"/>
                </a:lnTo>
                <a:lnTo>
                  <a:pt x="398" y="1059"/>
                </a:lnTo>
                <a:lnTo>
                  <a:pt x="410" y="1064"/>
                </a:lnTo>
                <a:lnTo>
                  <a:pt x="424" y="1067"/>
                </a:lnTo>
                <a:lnTo>
                  <a:pt x="437" y="1069"/>
                </a:lnTo>
                <a:lnTo>
                  <a:pt x="452" y="1070"/>
                </a:lnTo>
                <a:lnTo>
                  <a:pt x="465" y="1069"/>
                </a:lnTo>
                <a:lnTo>
                  <a:pt x="478" y="1067"/>
                </a:lnTo>
                <a:lnTo>
                  <a:pt x="492" y="1064"/>
                </a:lnTo>
                <a:lnTo>
                  <a:pt x="504" y="1059"/>
                </a:lnTo>
                <a:lnTo>
                  <a:pt x="516" y="1054"/>
                </a:lnTo>
                <a:lnTo>
                  <a:pt x="528" y="1046"/>
                </a:lnTo>
                <a:lnTo>
                  <a:pt x="539" y="1037"/>
                </a:lnTo>
                <a:lnTo>
                  <a:pt x="549" y="1027"/>
                </a:lnTo>
                <a:lnTo>
                  <a:pt x="867" y="682"/>
                </a:lnTo>
                <a:lnTo>
                  <a:pt x="867" y="682"/>
                </a:lnTo>
                <a:lnTo>
                  <a:pt x="876" y="672"/>
                </a:lnTo>
                <a:lnTo>
                  <a:pt x="883" y="661"/>
                </a:lnTo>
                <a:lnTo>
                  <a:pt x="890" y="650"/>
                </a:lnTo>
                <a:lnTo>
                  <a:pt x="894" y="638"/>
                </a:lnTo>
                <a:lnTo>
                  <a:pt x="898" y="625"/>
                </a:lnTo>
                <a:lnTo>
                  <a:pt x="901" y="612"/>
                </a:lnTo>
                <a:lnTo>
                  <a:pt x="902" y="599"/>
                </a:lnTo>
                <a:lnTo>
                  <a:pt x="902" y="587"/>
                </a:lnTo>
                <a:lnTo>
                  <a:pt x="901" y="573"/>
                </a:lnTo>
                <a:lnTo>
                  <a:pt x="899" y="561"/>
                </a:lnTo>
                <a:lnTo>
                  <a:pt x="895" y="549"/>
                </a:lnTo>
                <a:lnTo>
                  <a:pt x="890" y="537"/>
                </a:lnTo>
                <a:lnTo>
                  <a:pt x="884" y="524"/>
                </a:lnTo>
                <a:lnTo>
                  <a:pt x="877" y="513"/>
                </a:lnTo>
                <a:lnTo>
                  <a:pt x="869" y="503"/>
                </a:lnTo>
                <a:lnTo>
                  <a:pt x="860" y="493"/>
                </a:lnTo>
                <a:lnTo>
                  <a:pt x="860" y="493"/>
                </a:lnTo>
                <a:lnTo>
                  <a:pt x="849" y="484"/>
                </a:lnTo>
                <a:lnTo>
                  <a:pt x="837" y="478"/>
                </a:lnTo>
                <a:lnTo>
                  <a:pt x="826" y="471"/>
                </a:lnTo>
                <a:lnTo>
                  <a:pt x="814" y="467"/>
                </a:lnTo>
                <a:lnTo>
                  <a:pt x="802" y="462"/>
                </a:lnTo>
                <a:lnTo>
                  <a:pt x="789" y="460"/>
                </a:lnTo>
                <a:lnTo>
                  <a:pt x="776" y="459"/>
                </a:lnTo>
                <a:lnTo>
                  <a:pt x="763" y="459"/>
                </a:lnTo>
                <a:lnTo>
                  <a:pt x="751" y="460"/>
                </a:lnTo>
                <a:lnTo>
                  <a:pt x="737" y="462"/>
                </a:lnTo>
                <a:lnTo>
                  <a:pt x="725" y="465"/>
                </a:lnTo>
                <a:lnTo>
                  <a:pt x="713" y="470"/>
                </a:lnTo>
                <a:lnTo>
                  <a:pt x="701" y="477"/>
                </a:lnTo>
                <a:lnTo>
                  <a:pt x="691" y="483"/>
                </a:lnTo>
                <a:lnTo>
                  <a:pt x="680" y="492"/>
                </a:lnTo>
                <a:lnTo>
                  <a:pt x="670" y="501"/>
                </a:lnTo>
                <a:lnTo>
                  <a:pt x="585" y="593"/>
                </a:lnTo>
                <a:lnTo>
                  <a:pt x="585" y="133"/>
                </a:lnTo>
                <a:lnTo>
                  <a:pt x="585" y="133"/>
                </a:lnTo>
                <a:lnTo>
                  <a:pt x="584" y="120"/>
                </a:lnTo>
                <a:lnTo>
                  <a:pt x="582" y="106"/>
                </a:lnTo>
                <a:lnTo>
                  <a:pt x="578" y="94"/>
                </a:lnTo>
                <a:lnTo>
                  <a:pt x="574" y="82"/>
                </a:lnTo>
                <a:lnTo>
                  <a:pt x="568" y="70"/>
                </a:lnTo>
                <a:lnTo>
                  <a:pt x="562" y="58"/>
                </a:lnTo>
                <a:lnTo>
                  <a:pt x="554" y="48"/>
                </a:lnTo>
                <a:lnTo>
                  <a:pt x="545" y="38"/>
                </a:lnTo>
                <a:lnTo>
                  <a:pt x="536" y="31"/>
                </a:lnTo>
                <a:lnTo>
                  <a:pt x="525" y="23"/>
                </a:lnTo>
                <a:lnTo>
                  <a:pt x="515" y="16"/>
                </a:lnTo>
                <a:lnTo>
                  <a:pt x="503" y="10"/>
                </a:lnTo>
                <a:lnTo>
                  <a:pt x="490" y="5"/>
                </a:lnTo>
                <a:lnTo>
                  <a:pt x="478" y="2"/>
                </a:lnTo>
                <a:lnTo>
                  <a:pt x="465" y="1"/>
                </a:lnTo>
                <a:lnTo>
                  <a:pt x="452" y="0"/>
                </a:lnTo>
                <a:lnTo>
                  <a:pt x="452" y="0"/>
                </a:lnTo>
                <a:lnTo>
                  <a:pt x="437" y="1"/>
                </a:lnTo>
                <a:lnTo>
                  <a:pt x="424" y="2"/>
                </a:lnTo>
                <a:lnTo>
                  <a:pt x="412" y="5"/>
                </a:lnTo>
                <a:lnTo>
                  <a:pt x="399" y="10"/>
                </a:lnTo>
                <a:lnTo>
                  <a:pt x="387" y="16"/>
                </a:lnTo>
                <a:lnTo>
                  <a:pt x="377" y="23"/>
                </a:lnTo>
                <a:lnTo>
                  <a:pt x="366" y="31"/>
                </a:lnTo>
                <a:lnTo>
                  <a:pt x="357" y="38"/>
                </a:lnTo>
                <a:lnTo>
                  <a:pt x="348" y="48"/>
                </a:lnTo>
                <a:lnTo>
                  <a:pt x="340" y="58"/>
                </a:lnTo>
                <a:lnTo>
                  <a:pt x="334" y="70"/>
                </a:lnTo>
                <a:lnTo>
                  <a:pt x="328" y="82"/>
                </a:lnTo>
                <a:lnTo>
                  <a:pt x="324" y="94"/>
                </a:lnTo>
                <a:lnTo>
                  <a:pt x="320" y="106"/>
                </a:lnTo>
                <a:lnTo>
                  <a:pt x="318" y="120"/>
                </a:lnTo>
                <a:lnTo>
                  <a:pt x="317" y="133"/>
                </a:lnTo>
                <a:lnTo>
                  <a:pt x="317" y="593"/>
                </a:lnTo>
                <a:lnTo>
                  <a:pt x="232" y="501"/>
                </a:lnTo>
                <a:lnTo>
                  <a:pt x="232" y="501"/>
                </a:lnTo>
                <a:lnTo>
                  <a:pt x="222" y="492"/>
                </a:lnTo>
                <a:lnTo>
                  <a:pt x="211" y="483"/>
                </a:lnTo>
                <a:lnTo>
                  <a:pt x="200" y="477"/>
                </a:lnTo>
                <a:lnTo>
                  <a:pt x="189" y="470"/>
                </a:lnTo>
                <a:lnTo>
                  <a:pt x="177" y="465"/>
                </a:lnTo>
                <a:lnTo>
                  <a:pt x="165" y="462"/>
                </a:lnTo>
                <a:lnTo>
                  <a:pt x="151" y="460"/>
                </a:lnTo>
                <a:lnTo>
                  <a:pt x="139" y="459"/>
                </a:lnTo>
                <a:lnTo>
                  <a:pt x="126" y="459"/>
                </a:lnTo>
                <a:lnTo>
                  <a:pt x="113" y="460"/>
                </a:lnTo>
                <a:lnTo>
                  <a:pt x="100" y="462"/>
                </a:lnTo>
                <a:lnTo>
                  <a:pt x="88" y="467"/>
                </a:lnTo>
                <a:lnTo>
                  <a:pt x="76" y="471"/>
                </a:lnTo>
                <a:lnTo>
                  <a:pt x="65" y="478"/>
                </a:lnTo>
                <a:lnTo>
                  <a:pt x="53" y="484"/>
                </a:lnTo>
                <a:lnTo>
                  <a:pt x="42" y="493"/>
                </a:lnTo>
                <a:lnTo>
                  <a:pt x="42" y="493"/>
                </a:lnTo>
                <a:lnTo>
                  <a:pt x="33" y="503"/>
                </a:lnTo>
                <a:lnTo>
                  <a:pt x="25" y="513"/>
                </a:lnTo>
                <a:lnTo>
                  <a:pt x="18" y="524"/>
                </a:lnTo>
                <a:lnTo>
                  <a:pt x="12" y="537"/>
                </a:lnTo>
                <a:lnTo>
                  <a:pt x="7" y="549"/>
                </a:lnTo>
                <a:lnTo>
                  <a:pt x="3" y="561"/>
                </a:lnTo>
                <a:lnTo>
                  <a:pt x="1" y="573"/>
                </a:lnTo>
                <a:lnTo>
                  <a:pt x="0" y="587"/>
                </a:lnTo>
                <a:lnTo>
                  <a:pt x="0" y="599"/>
                </a:lnTo>
                <a:lnTo>
                  <a:pt x="1" y="612"/>
                </a:lnTo>
                <a:lnTo>
                  <a:pt x="4" y="625"/>
                </a:lnTo>
                <a:lnTo>
                  <a:pt x="8" y="638"/>
                </a:lnTo>
                <a:lnTo>
                  <a:pt x="12" y="649"/>
                </a:lnTo>
                <a:lnTo>
                  <a:pt x="19" y="661"/>
                </a:lnTo>
                <a:lnTo>
                  <a:pt x="27" y="672"/>
                </a:lnTo>
                <a:lnTo>
                  <a:pt x="35" y="682"/>
                </a:lnTo>
                <a:lnTo>
                  <a:pt x="35" y="682"/>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4" name="Freeform 64">
            <a:extLst>
              <a:ext uri="{FF2B5EF4-FFF2-40B4-BE49-F238E27FC236}">
                <a16:creationId xmlns:a16="http://schemas.microsoft.com/office/drawing/2014/main" id="{49F17322-CB13-4213-B37B-4F835636C834}"/>
              </a:ext>
            </a:extLst>
          </p:cNvPr>
          <p:cNvSpPr>
            <a:spLocks/>
          </p:cNvSpPr>
          <p:nvPr/>
        </p:nvSpPr>
        <p:spPr bwMode="auto">
          <a:xfrm>
            <a:off x="2348973" y="5336643"/>
            <a:ext cx="268816" cy="68767"/>
          </a:xfrm>
          <a:custGeom>
            <a:avLst/>
            <a:gdLst>
              <a:gd name="T0" fmla="*/ 132 w 1032"/>
              <a:gd name="T1" fmla="*/ 264 h 264"/>
              <a:gd name="T2" fmla="*/ 118 w 1032"/>
              <a:gd name="T3" fmla="*/ 263 h 264"/>
              <a:gd name="T4" fmla="*/ 93 w 1032"/>
              <a:gd name="T5" fmla="*/ 258 h 264"/>
              <a:gd name="T6" fmla="*/ 69 w 1032"/>
              <a:gd name="T7" fmla="*/ 248 h 264"/>
              <a:gd name="T8" fmla="*/ 48 w 1032"/>
              <a:gd name="T9" fmla="*/ 234 h 264"/>
              <a:gd name="T10" fmla="*/ 30 w 1032"/>
              <a:gd name="T11" fmla="*/ 216 h 264"/>
              <a:gd name="T12" fmla="*/ 16 w 1032"/>
              <a:gd name="T13" fmla="*/ 195 h 264"/>
              <a:gd name="T14" fmla="*/ 6 w 1032"/>
              <a:gd name="T15" fmla="*/ 171 h 264"/>
              <a:gd name="T16" fmla="*/ 0 w 1032"/>
              <a:gd name="T17" fmla="*/ 145 h 264"/>
              <a:gd name="T18" fmla="*/ 0 w 1032"/>
              <a:gd name="T19" fmla="*/ 131 h 264"/>
              <a:gd name="T20" fmla="*/ 0 w 1032"/>
              <a:gd name="T21" fmla="*/ 118 h 264"/>
              <a:gd name="T22" fmla="*/ 6 w 1032"/>
              <a:gd name="T23" fmla="*/ 93 h 264"/>
              <a:gd name="T24" fmla="*/ 16 w 1032"/>
              <a:gd name="T25" fmla="*/ 69 h 264"/>
              <a:gd name="T26" fmla="*/ 30 w 1032"/>
              <a:gd name="T27" fmla="*/ 48 h 264"/>
              <a:gd name="T28" fmla="*/ 48 w 1032"/>
              <a:gd name="T29" fmla="*/ 30 h 264"/>
              <a:gd name="T30" fmla="*/ 69 w 1032"/>
              <a:gd name="T31" fmla="*/ 16 h 264"/>
              <a:gd name="T32" fmla="*/ 93 w 1032"/>
              <a:gd name="T33" fmla="*/ 6 h 264"/>
              <a:gd name="T34" fmla="*/ 118 w 1032"/>
              <a:gd name="T35" fmla="*/ 0 h 264"/>
              <a:gd name="T36" fmla="*/ 901 w 1032"/>
              <a:gd name="T37" fmla="*/ 0 h 264"/>
              <a:gd name="T38" fmla="*/ 915 w 1032"/>
              <a:gd name="T39" fmla="*/ 0 h 264"/>
              <a:gd name="T40" fmla="*/ 940 w 1032"/>
              <a:gd name="T41" fmla="*/ 6 h 264"/>
              <a:gd name="T42" fmla="*/ 964 w 1032"/>
              <a:gd name="T43" fmla="*/ 16 h 264"/>
              <a:gd name="T44" fmla="*/ 985 w 1032"/>
              <a:gd name="T45" fmla="*/ 30 h 264"/>
              <a:gd name="T46" fmla="*/ 1002 w 1032"/>
              <a:gd name="T47" fmla="*/ 48 h 264"/>
              <a:gd name="T48" fmla="*/ 1017 w 1032"/>
              <a:gd name="T49" fmla="*/ 69 h 264"/>
              <a:gd name="T50" fmla="*/ 1027 w 1032"/>
              <a:gd name="T51" fmla="*/ 93 h 264"/>
              <a:gd name="T52" fmla="*/ 1032 w 1032"/>
              <a:gd name="T53" fmla="*/ 118 h 264"/>
              <a:gd name="T54" fmla="*/ 1032 w 1032"/>
              <a:gd name="T55" fmla="*/ 131 h 264"/>
              <a:gd name="T56" fmla="*/ 1032 w 1032"/>
              <a:gd name="T57" fmla="*/ 145 h 264"/>
              <a:gd name="T58" fmla="*/ 1027 w 1032"/>
              <a:gd name="T59" fmla="*/ 171 h 264"/>
              <a:gd name="T60" fmla="*/ 1017 w 1032"/>
              <a:gd name="T61" fmla="*/ 195 h 264"/>
              <a:gd name="T62" fmla="*/ 1002 w 1032"/>
              <a:gd name="T63" fmla="*/ 216 h 264"/>
              <a:gd name="T64" fmla="*/ 985 w 1032"/>
              <a:gd name="T65" fmla="*/ 234 h 264"/>
              <a:gd name="T66" fmla="*/ 964 w 1032"/>
              <a:gd name="T67" fmla="*/ 248 h 264"/>
              <a:gd name="T68" fmla="*/ 940 w 1032"/>
              <a:gd name="T69" fmla="*/ 258 h 264"/>
              <a:gd name="T70" fmla="*/ 915 w 1032"/>
              <a:gd name="T71" fmla="*/ 263 h 264"/>
              <a:gd name="T72" fmla="*/ 901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901" y="264"/>
                </a:moveTo>
                <a:lnTo>
                  <a:pt x="132" y="264"/>
                </a:lnTo>
                <a:lnTo>
                  <a:pt x="132" y="264"/>
                </a:lnTo>
                <a:lnTo>
                  <a:pt x="118" y="263"/>
                </a:lnTo>
                <a:lnTo>
                  <a:pt x="105" y="262"/>
                </a:lnTo>
                <a:lnTo>
                  <a:pt x="93" y="258"/>
                </a:lnTo>
                <a:lnTo>
                  <a:pt x="81" y="254"/>
                </a:lnTo>
                <a:lnTo>
                  <a:pt x="69" y="248"/>
                </a:lnTo>
                <a:lnTo>
                  <a:pt x="58" y="242"/>
                </a:lnTo>
                <a:lnTo>
                  <a:pt x="48" y="234"/>
                </a:lnTo>
                <a:lnTo>
                  <a:pt x="38" y="225"/>
                </a:lnTo>
                <a:lnTo>
                  <a:pt x="30" y="216"/>
                </a:lnTo>
                <a:lnTo>
                  <a:pt x="23" y="206"/>
                </a:lnTo>
                <a:lnTo>
                  <a:pt x="16" y="195"/>
                </a:lnTo>
                <a:lnTo>
                  <a:pt x="10" y="184"/>
                </a:lnTo>
                <a:lnTo>
                  <a:pt x="6" y="171"/>
                </a:lnTo>
                <a:lnTo>
                  <a:pt x="3" y="158"/>
                </a:lnTo>
                <a:lnTo>
                  <a:pt x="0" y="145"/>
                </a:lnTo>
                <a:lnTo>
                  <a:pt x="0" y="131"/>
                </a:lnTo>
                <a:lnTo>
                  <a:pt x="0" y="131"/>
                </a:lnTo>
                <a:lnTo>
                  <a:pt x="0" y="131"/>
                </a:lnTo>
                <a:lnTo>
                  <a:pt x="0" y="118"/>
                </a:lnTo>
                <a:lnTo>
                  <a:pt x="3" y="105"/>
                </a:lnTo>
                <a:lnTo>
                  <a:pt x="6" y="93"/>
                </a:lnTo>
                <a:lnTo>
                  <a:pt x="10" y="80"/>
                </a:lnTo>
                <a:lnTo>
                  <a:pt x="16" y="69"/>
                </a:lnTo>
                <a:lnTo>
                  <a:pt x="23" y="58"/>
                </a:lnTo>
                <a:lnTo>
                  <a:pt x="30" y="48"/>
                </a:lnTo>
                <a:lnTo>
                  <a:pt x="38" y="38"/>
                </a:lnTo>
                <a:lnTo>
                  <a:pt x="48" y="30"/>
                </a:lnTo>
                <a:lnTo>
                  <a:pt x="58" y="22"/>
                </a:lnTo>
                <a:lnTo>
                  <a:pt x="69" y="16"/>
                </a:lnTo>
                <a:lnTo>
                  <a:pt x="81" y="10"/>
                </a:lnTo>
                <a:lnTo>
                  <a:pt x="93" y="6"/>
                </a:lnTo>
                <a:lnTo>
                  <a:pt x="105" y="2"/>
                </a:lnTo>
                <a:lnTo>
                  <a:pt x="118" y="0"/>
                </a:lnTo>
                <a:lnTo>
                  <a:pt x="132" y="0"/>
                </a:lnTo>
                <a:lnTo>
                  <a:pt x="901" y="0"/>
                </a:lnTo>
                <a:lnTo>
                  <a:pt x="901" y="0"/>
                </a:lnTo>
                <a:lnTo>
                  <a:pt x="915" y="0"/>
                </a:lnTo>
                <a:lnTo>
                  <a:pt x="928" y="2"/>
                </a:lnTo>
                <a:lnTo>
                  <a:pt x="940" y="6"/>
                </a:lnTo>
                <a:lnTo>
                  <a:pt x="952" y="10"/>
                </a:lnTo>
                <a:lnTo>
                  <a:pt x="964" y="16"/>
                </a:lnTo>
                <a:lnTo>
                  <a:pt x="975" y="22"/>
                </a:lnTo>
                <a:lnTo>
                  <a:pt x="985" y="30"/>
                </a:lnTo>
                <a:lnTo>
                  <a:pt x="995" y="38"/>
                </a:lnTo>
                <a:lnTo>
                  <a:pt x="1002" y="48"/>
                </a:lnTo>
                <a:lnTo>
                  <a:pt x="1010" y="58"/>
                </a:lnTo>
                <a:lnTo>
                  <a:pt x="1017" y="69"/>
                </a:lnTo>
                <a:lnTo>
                  <a:pt x="1022" y="80"/>
                </a:lnTo>
                <a:lnTo>
                  <a:pt x="1027" y="93"/>
                </a:lnTo>
                <a:lnTo>
                  <a:pt x="1030" y="105"/>
                </a:lnTo>
                <a:lnTo>
                  <a:pt x="1032" y="118"/>
                </a:lnTo>
                <a:lnTo>
                  <a:pt x="1032" y="131"/>
                </a:lnTo>
                <a:lnTo>
                  <a:pt x="1032" y="131"/>
                </a:lnTo>
                <a:lnTo>
                  <a:pt x="1032" y="131"/>
                </a:lnTo>
                <a:lnTo>
                  <a:pt x="1032" y="145"/>
                </a:lnTo>
                <a:lnTo>
                  <a:pt x="1030" y="158"/>
                </a:lnTo>
                <a:lnTo>
                  <a:pt x="1027" y="171"/>
                </a:lnTo>
                <a:lnTo>
                  <a:pt x="1022" y="184"/>
                </a:lnTo>
                <a:lnTo>
                  <a:pt x="1017" y="195"/>
                </a:lnTo>
                <a:lnTo>
                  <a:pt x="1010" y="206"/>
                </a:lnTo>
                <a:lnTo>
                  <a:pt x="1002" y="216"/>
                </a:lnTo>
                <a:lnTo>
                  <a:pt x="995" y="225"/>
                </a:lnTo>
                <a:lnTo>
                  <a:pt x="985" y="234"/>
                </a:lnTo>
                <a:lnTo>
                  <a:pt x="975" y="242"/>
                </a:lnTo>
                <a:lnTo>
                  <a:pt x="964" y="248"/>
                </a:lnTo>
                <a:lnTo>
                  <a:pt x="952" y="254"/>
                </a:lnTo>
                <a:lnTo>
                  <a:pt x="940" y="258"/>
                </a:lnTo>
                <a:lnTo>
                  <a:pt x="928" y="262"/>
                </a:lnTo>
                <a:lnTo>
                  <a:pt x="915" y="263"/>
                </a:lnTo>
                <a:lnTo>
                  <a:pt x="901" y="264"/>
                </a:lnTo>
                <a:lnTo>
                  <a:pt x="901" y="264"/>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nvGrpSpPr>
          <p:cNvPr id="398" name="Gruppieren 397">
            <a:extLst>
              <a:ext uri="{FF2B5EF4-FFF2-40B4-BE49-F238E27FC236}">
                <a16:creationId xmlns:a16="http://schemas.microsoft.com/office/drawing/2014/main" id="{79F68BBB-0C6E-4F94-93D7-381BBC680C91}"/>
              </a:ext>
            </a:extLst>
          </p:cNvPr>
          <p:cNvGrpSpPr/>
          <p:nvPr/>
        </p:nvGrpSpPr>
        <p:grpSpPr>
          <a:xfrm>
            <a:off x="3660462" y="5294446"/>
            <a:ext cx="268816" cy="153162"/>
            <a:chOff x="3681470" y="3962829"/>
            <a:chExt cx="268816" cy="153162"/>
          </a:xfrm>
          <a:solidFill>
            <a:schemeClr val="bg1"/>
          </a:solidFill>
        </p:grpSpPr>
        <p:sp>
          <p:nvSpPr>
            <p:cNvPr id="399" name="Freeform 75">
              <a:extLst>
                <a:ext uri="{FF2B5EF4-FFF2-40B4-BE49-F238E27FC236}">
                  <a16:creationId xmlns:a16="http://schemas.microsoft.com/office/drawing/2014/main" id="{89DC560C-0543-45CF-8D5E-B3CF510644A5}"/>
                </a:ext>
              </a:extLst>
            </p:cNvPr>
            <p:cNvSpPr>
              <a:spLocks/>
            </p:cNvSpPr>
            <p:nvPr/>
          </p:nvSpPr>
          <p:spPr bwMode="auto">
            <a:xfrm>
              <a:off x="3681470" y="4047224"/>
              <a:ext cx="268816" cy="68767"/>
            </a:xfrm>
            <a:custGeom>
              <a:avLst/>
              <a:gdLst>
                <a:gd name="T0" fmla="*/ 131 w 1032"/>
                <a:gd name="T1" fmla="*/ 265 h 265"/>
                <a:gd name="T2" fmla="*/ 117 w 1032"/>
                <a:gd name="T3" fmla="*/ 264 h 265"/>
                <a:gd name="T4" fmla="*/ 92 w 1032"/>
                <a:gd name="T5" fmla="*/ 258 h 265"/>
                <a:gd name="T6" fmla="*/ 68 w 1032"/>
                <a:gd name="T7" fmla="*/ 248 h 265"/>
                <a:gd name="T8" fmla="*/ 47 w 1032"/>
                <a:gd name="T9" fmla="*/ 235 h 265"/>
                <a:gd name="T10" fmla="*/ 30 w 1032"/>
                <a:gd name="T11" fmla="*/ 217 h 265"/>
                <a:gd name="T12" fmla="*/ 15 w 1032"/>
                <a:gd name="T13" fmla="*/ 196 h 265"/>
                <a:gd name="T14" fmla="*/ 5 w 1032"/>
                <a:gd name="T15" fmla="*/ 172 h 265"/>
                <a:gd name="T16" fmla="*/ 0 w 1032"/>
                <a:gd name="T17" fmla="*/ 146 h 265"/>
                <a:gd name="T18" fmla="*/ 0 w 1032"/>
                <a:gd name="T19" fmla="*/ 133 h 265"/>
                <a:gd name="T20" fmla="*/ 0 w 1032"/>
                <a:gd name="T21" fmla="*/ 119 h 265"/>
                <a:gd name="T22" fmla="*/ 5 w 1032"/>
                <a:gd name="T23" fmla="*/ 94 h 265"/>
                <a:gd name="T24" fmla="*/ 15 w 1032"/>
                <a:gd name="T25" fmla="*/ 69 h 265"/>
                <a:gd name="T26" fmla="*/ 30 w 1032"/>
                <a:gd name="T27" fmla="*/ 48 h 265"/>
                <a:gd name="T28" fmla="*/ 47 w 1032"/>
                <a:gd name="T29" fmla="*/ 30 h 265"/>
                <a:gd name="T30" fmla="*/ 68 w 1032"/>
                <a:gd name="T31" fmla="*/ 17 h 265"/>
                <a:gd name="T32" fmla="*/ 92 w 1032"/>
                <a:gd name="T33" fmla="*/ 7 h 265"/>
                <a:gd name="T34" fmla="*/ 117 w 1032"/>
                <a:gd name="T35" fmla="*/ 1 h 265"/>
                <a:gd name="T36" fmla="*/ 899 w 1032"/>
                <a:gd name="T37" fmla="*/ 0 h 265"/>
                <a:gd name="T38" fmla="*/ 914 w 1032"/>
                <a:gd name="T39" fmla="*/ 1 h 265"/>
                <a:gd name="T40" fmla="*/ 939 w 1032"/>
                <a:gd name="T41" fmla="*/ 7 h 265"/>
                <a:gd name="T42" fmla="*/ 963 w 1032"/>
                <a:gd name="T43" fmla="*/ 17 h 265"/>
                <a:gd name="T44" fmla="*/ 984 w 1032"/>
                <a:gd name="T45" fmla="*/ 30 h 265"/>
                <a:gd name="T46" fmla="*/ 1002 w 1032"/>
                <a:gd name="T47" fmla="*/ 48 h 265"/>
                <a:gd name="T48" fmla="*/ 1016 w 1032"/>
                <a:gd name="T49" fmla="*/ 69 h 265"/>
                <a:gd name="T50" fmla="*/ 1026 w 1032"/>
                <a:gd name="T51" fmla="*/ 94 h 265"/>
                <a:gd name="T52" fmla="*/ 1032 w 1032"/>
                <a:gd name="T53" fmla="*/ 119 h 265"/>
                <a:gd name="T54" fmla="*/ 1032 w 1032"/>
                <a:gd name="T55" fmla="*/ 133 h 265"/>
                <a:gd name="T56" fmla="*/ 1032 w 1032"/>
                <a:gd name="T57" fmla="*/ 146 h 265"/>
                <a:gd name="T58" fmla="*/ 1026 w 1032"/>
                <a:gd name="T59" fmla="*/ 172 h 265"/>
                <a:gd name="T60" fmla="*/ 1016 w 1032"/>
                <a:gd name="T61" fmla="*/ 196 h 265"/>
                <a:gd name="T62" fmla="*/ 1002 w 1032"/>
                <a:gd name="T63" fmla="*/ 217 h 265"/>
                <a:gd name="T64" fmla="*/ 984 w 1032"/>
                <a:gd name="T65" fmla="*/ 235 h 265"/>
                <a:gd name="T66" fmla="*/ 963 w 1032"/>
                <a:gd name="T67" fmla="*/ 248 h 265"/>
                <a:gd name="T68" fmla="*/ 939 w 1032"/>
                <a:gd name="T69" fmla="*/ 258 h 265"/>
                <a:gd name="T70" fmla="*/ 914 w 1032"/>
                <a:gd name="T71" fmla="*/ 264 h 265"/>
                <a:gd name="T72" fmla="*/ 899 w 1032"/>
                <a:gd name="T73"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5">
                  <a:moveTo>
                    <a:pt x="899" y="265"/>
                  </a:moveTo>
                  <a:lnTo>
                    <a:pt x="131" y="265"/>
                  </a:lnTo>
                  <a:lnTo>
                    <a:pt x="131" y="265"/>
                  </a:lnTo>
                  <a:lnTo>
                    <a:pt x="117" y="264"/>
                  </a:lnTo>
                  <a:lnTo>
                    <a:pt x="104" y="262"/>
                  </a:lnTo>
                  <a:lnTo>
                    <a:pt x="92" y="258"/>
                  </a:lnTo>
                  <a:lnTo>
                    <a:pt x="80" y="254"/>
                  </a:lnTo>
                  <a:lnTo>
                    <a:pt x="68" y="248"/>
                  </a:lnTo>
                  <a:lnTo>
                    <a:pt x="57" y="243"/>
                  </a:lnTo>
                  <a:lnTo>
                    <a:pt x="47" y="235"/>
                  </a:lnTo>
                  <a:lnTo>
                    <a:pt x="37" y="226"/>
                  </a:lnTo>
                  <a:lnTo>
                    <a:pt x="30" y="217"/>
                  </a:lnTo>
                  <a:lnTo>
                    <a:pt x="22" y="206"/>
                  </a:lnTo>
                  <a:lnTo>
                    <a:pt x="15" y="196"/>
                  </a:lnTo>
                  <a:lnTo>
                    <a:pt x="10" y="184"/>
                  </a:lnTo>
                  <a:lnTo>
                    <a:pt x="5" y="172"/>
                  </a:lnTo>
                  <a:lnTo>
                    <a:pt x="2" y="159"/>
                  </a:lnTo>
                  <a:lnTo>
                    <a:pt x="0" y="146"/>
                  </a:lnTo>
                  <a:lnTo>
                    <a:pt x="0" y="133"/>
                  </a:lnTo>
                  <a:lnTo>
                    <a:pt x="0" y="133"/>
                  </a:lnTo>
                  <a:lnTo>
                    <a:pt x="0" y="133"/>
                  </a:lnTo>
                  <a:lnTo>
                    <a:pt x="0" y="119"/>
                  </a:lnTo>
                  <a:lnTo>
                    <a:pt x="2" y="106"/>
                  </a:lnTo>
                  <a:lnTo>
                    <a:pt x="5" y="94"/>
                  </a:lnTo>
                  <a:lnTo>
                    <a:pt x="10" y="82"/>
                  </a:lnTo>
                  <a:lnTo>
                    <a:pt x="15" y="69"/>
                  </a:lnTo>
                  <a:lnTo>
                    <a:pt x="22" y="59"/>
                  </a:lnTo>
                  <a:lnTo>
                    <a:pt x="30" y="48"/>
                  </a:lnTo>
                  <a:lnTo>
                    <a:pt x="37" y="39"/>
                  </a:lnTo>
                  <a:lnTo>
                    <a:pt x="47" y="30"/>
                  </a:lnTo>
                  <a:lnTo>
                    <a:pt x="57" y="24"/>
                  </a:lnTo>
                  <a:lnTo>
                    <a:pt x="68" y="17"/>
                  </a:lnTo>
                  <a:lnTo>
                    <a:pt x="80" y="11"/>
                  </a:lnTo>
                  <a:lnTo>
                    <a:pt x="92" y="7"/>
                  </a:lnTo>
                  <a:lnTo>
                    <a:pt x="104" y="4"/>
                  </a:lnTo>
                  <a:lnTo>
                    <a:pt x="117" y="1"/>
                  </a:lnTo>
                  <a:lnTo>
                    <a:pt x="131" y="0"/>
                  </a:lnTo>
                  <a:lnTo>
                    <a:pt x="899" y="0"/>
                  </a:lnTo>
                  <a:lnTo>
                    <a:pt x="899" y="0"/>
                  </a:lnTo>
                  <a:lnTo>
                    <a:pt x="914" y="1"/>
                  </a:lnTo>
                  <a:lnTo>
                    <a:pt x="926" y="4"/>
                  </a:lnTo>
                  <a:lnTo>
                    <a:pt x="939" y="7"/>
                  </a:lnTo>
                  <a:lnTo>
                    <a:pt x="951" y="11"/>
                  </a:lnTo>
                  <a:lnTo>
                    <a:pt x="963" y="17"/>
                  </a:lnTo>
                  <a:lnTo>
                    <a:pt x="974" y="24"/>
                  </a:lnTo>
                  <a:lnTo>
                    <a:pt x="984" y="30"/>
                  </a:lnTo>
                  <a:lnTo>
                    <a:pt x="993" y="39"/>
                  </a:lnTo>
                  <a:lnTo>
                    <a:pt x="1002" y="48"/>
                  </a:lnTo>
                  <a:lnTo>
                    <a:pt x="1009" y="59"/>
                  </a:lnTo>
                  <a:lnTo>
                    <a:pt x="1016" y="69"/>
                  </a:lnTo>
                  <a:lnTo>
                    <a:pt x="1022" y="82"/>
                  </a:lnTo>
                  <a:lnTo>
                    <a:pt x="1026" y="94"/>
                  </a:lnTo>
                  <a:lnTo>
                    <a:pt x="1029" y="106"/>
                  </a:lnTo>
                  <a:lnTo>
                    <a:pt x="1032" y="119"/>
                  </a:lnTo>
                  <a:lnTo>
                    <a:pt x="1032" y="133"/>
                  </a:lnTo>
                  <a:lnTo>
                    <a:pt x="1032" y="133"/>
                  </a:lnTo>
                  <a:lnTo>
                    <a:pt x="1032" y="133"/>
                  </a:lnTo>
                  <a:lnTo>
                    <a:pt x="1032" y="146"/>
                  </a:lnTo>
                  <a:lnTo>
                    <a:pt x="1029" y="159"/>
                  </a:lnTo>
                  <a:lnTo>
                    <a:pt x="1026" y="172"/>
                  </a:lnTo>
                  <a:lnTo>
                    <a:pt x="1022" y="184"/>
                  </a:lnTo>
                  <a:lnTo>
                    <a:pt x="1016" y="196"/>
                  </a:lnTo>
                  <a:lnTo>
                    <a:pt x="1009" y="206"/>
                  </a:lnTo>
                  <a:lnTo>
                    <a:pt x="1002" y="217"/>
                  </a:lnTo>
                  <a:lnTo>
                    <a:pt x="993" y="226"/>
                  </a:lnTo>
                  <a:lnTo>
                    <a:pt x="984" y="235"/>
                  </a:lnTo>
                  <a:lnTo>
                    <a:pt x="974" y="243"/>
                  </a:lnTo>
                  <a:lnTo>
                    <a:pt x="963" y="248"/>
                  </a:lnTo>
                  <a:lnTo>
                    <a:pt x="951" y="254"/>
                  </a:lnTo>
                  <a:lnTo>
                    <a:pt x="939" y="258"/>
                  </a:lnTo>
                  <a:lnTo>
                    <a:pt x="926" y="262"/>
                  </a:lnTo>
                  <a:lnTo>
                    <a:pt x="914" y="264"/>
                  </a:lnTo>
                  <a:lnTo>
                    <a:pt x="899" y="265"/>
                  </a:lnTo>
                  <a:lnTo>
                    <a:pt x="899" y="265"/>
                  </a:lnTo>
                  <a:close/>
                </a:path>
              </a:pathLst>
            </a:custGeom>
            <a:grp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400" name="Freeform 76">
              <a:extLst>
                <a:ext uri="{FF2B5EF4-FFF2-40B4-BE49-F238E27FC236}">
                  <a16:creationId xmlns:a16="http://schemas.microsoft.com/office/drawing/2014/main" id="{173784F9-1083-4153-AE32-7FE7BA34F93A}"/>
                </a:ext>
              </a:extLst>
            </p:cNvPr>
            <p:cNvSpPr>
              <a:spLocks/>
            </p:cNvSpPr>
            <p:nvPr/>
          </p:nvSpPr>
          <p:spPr bwMode="auto">
            <a:xfrm>
              <a:off x="3681470" y="3962829"/>
              <a:ext cx="268816" cy="68767"/>
            </a:xfrm>
            <a:custGeom>
              <a:avLst/>
              <a:gdLst>
                <a:gd name="T0" fmla="*/ 131 w 1032"/>
                <a:gd name="T1" fmla="*/ 264 h 264"/>
                <a:gd name="T2" fmla="*/ 117 w 1032"/>
                <a:gd name="T3" fmla="*/ 264 h 264"/>
                <a:gd name="T4" fmla="*/ 92 w 1032"/>
                <a:gd name="T5" fmla="*/ 258 h 264"/>
                <a:gd name="T6" fmla="*/ 68 w 1032"/>
                <a:gd name="T7" fmla="*/ 248 h 264"/>
                <a:gd name="T8" fmla="*/ 47 w 1032"/>
                <a:gd name="T9" fmla="*/ 234 h 264"/>
                <a:gd name="T10" fmla="*/ 30 w 1032"/>
                <a:gd name="T11" fmla="*/ 216 h 264"/>
                <a:gd name="T12" fmla="*/ 15 w 1032"/>
                <a:gd name="T13" fmla="*/ 195 h 264"/>
                <a:gd name="T14" fmla="*/ 5 w 1032"/>
                <a:gd name="T15" fmla="*/ 171 h 264"/>
                <a:gd name="T16" fmla="*/ 0 w 1032"/>
                <a:gd name="T17" fmla="*/ 146 h 264"/>
                <a:gd name="T18" fmla="*/ 0 w 1032"/>
                <a:gd name="T19" fmla="*/ 131 h 264"/>
                <a:gd name="T20" fmla="*/ 0 w 1032"/>
                <a:gd name="T21" fmla="*/ 118 h 264"/>
                <a:gd name="T22" fmla="*/ 5 w 1032"/>
                <a:gd name="T23" fmla="*/ 92 h 264"/>
                <a:gd name="T24" fmla="*/ 15 w 1032"/>
                <a:gd name="T25" fmla="*/ 69 h 264"/>
                <a:gd name="T26" fmla="*/ 30 w 1032"/>
                <a:gd name="T27" fmla="*/ 48 h 264"/>
                <a:gd name="T28" fmla="*/ 47 w 1032"/>
                <a:gd name="T29" fmla="*/ 30 h 264"/>
                <a:gd name="T30" fmla="*/ 68 w 1032"/>
                <a:gd name="T31" fmla="*/ 16 h 264"/>
                <a:gd name="T32" fmla="*/ 92 w 1032"/>
                <a:gd name="T33" fmla="*/ 6 h 264"/>
                <a:gd name="T34" fmla="*/ 117 w 1032"/>
                <a:gd name="T35" fmla="*/ 0 h 264"/>
                <a:gd name="T36" fmla="*/ 899 w 1032"/>
                <a:gd name="T37" fmla="*/ 0 h 264"/>
                <a:gd name="T38" fmla="*/ 914 w 1032"/>
                <a:gd name="T39" fmla="*/ 0 h 264"/>
                <a:gd name="T40" fmla="*/ 939 w 1032"/>
                <a:gd name="T41" fmla="*/ 6 h 264"/>
                <a:gd name="T42" fmla="*/ 963 w 1032"/>
                <a:gd name="T43" fmla="*/ 16 h 264"/>
                <a:gd name="T44" fmla="*/ 984 w 1032"/>
                <a:gd name="T45" fmla="*/ 30 h 264"/>
                <a:gd name="T46" fmla="*/ 1002 w 1032"/>
                <a:gd name="T47" fmla="*/ 48 h 264"/>
                <a:gd name="T48" fmla="*/ 1016 w 1032"/>
                <a:gd name="T49" fmla="*/ 69 h 264"/>
                <a:gd name="T50" fmla="*/ 1026 w 1032"/>
                <a:gd name="T51" fmla="*/ 92 h 264"/>
                <a:gd name="T52" fmla="*/ 1032 w 1032"/>
                <a:gd name="T53" fmla="*/ 118 h 264"/>
                <a:gd name="T54" fmla="*/ 1032 w 1032"/>
                <a:gd name="T55" fmla="*/ 131 h 264"/>
                <a:gd name="T56" fmla="*/ 1032 w 1032"/>
                <a:gd name="T57" fmla="*/ 146 h 264"/>
                <a:gd name="T58" fmla="*/ 1026 w 1032"/>
                <a:gd name="T59" fmla="*/ 171 h 264"/>
                <a:gd name="T60" fmla="*/ 1016 w 1032"/>
                <a:gd name="T61" fmla="*/ 195 h 264"/>
                <a:gd name="T62" fmla="*/ 1002 w 1032"/>
                <a:gd name="T63" fmla="*/ 216 h 264"/>
                <a:gd name="T64" fmla="*/ 984 w 1032"/>
                <a:gd name="T65" fmla="*/ 234 h 264"/>
                <a:gd name="T66" fmla="*/ 963 w 1032"/>
                <a:gd name="T67" fmla="*/ 248 h 264"/>
                <a:gd name="T68" fmla="*/ 939 w 1032"/>
                <a:gd name="T69" fmla="*/ 258 h 264"/>
                <a:gd name="T70" fmla="*/ 914 w 1032"/>
                <a:gd name="T71" fmla="*/ 264 h 264"/>
                <a:gd name="T72" fmla="*/ 899 w 1032"/>
                <a:gd name="T7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32" h="264">
                  <a:moveTo>
                    <a:pt x="899" y="264"/>
                  </a:moveTo>
                  <a:lnTo>
                    <a:pt x="131" y="264"/>
                  </a:lnTo>
                  <a:lnTo>
                    <a:pt x="131" y="264"/>
                  </a:lnTo>
                  <a:lnTo>
                    <a:pt x="117" y="264"/>
                  </a:lnTo>
                  <a:lnTo>
                    <a:pt x="104" y="261"/>
                  </a:lnTo>
                  <a:lnTo>
                    <a:pt x="92" y="258"/>
                  </a:lnTo>
                  <a:lnTo>
                    <a:pt x="80" y="254"/>
                  </a:lnTo>
                  <a:lnTo>
                    <a:pt x="68" y="248"/>
                  </a:lnTo>
                  <a:lnTo>
                    <a:pt x="57" y="241"/>
                  </a:lnTo>
                  <a:lnTo>
                    <a:pt x="47" y="234"/>
                  </a:lnTo>
                  <a:lnTo>
                    <a:pt x="37" y="225"/>
                  </a:lnTo>
                  <a:lnTo>
                    <a:pt x="30" y="216"/>
                  </a:lnTo>
                  <a:lnTo>
                    <a:pt x="22" y="206"/>
                  </a:lnTo>
                  <a:lnTo>
                    <a:pt x="15" y="195"/>
                  </a:lnTo>
                  <a:lnTo>
                    <a:pt x="10" y="183"/>
                  </a:lnTo>
                  <a:lnTo>
                    <a:pt x="5" y="171"/>
                  </a:lnTo>
                  <a:lnTo>
                    <a:pt x="2" y="158"/>
                  </a:lnTo>
                  <a:lnTo>
                    <a:pt x="0" y="146"/>
                  </a:lnTo>
                  <a:lnTo>
                    <a:pt x="0" y="131"/>
                  </a:lnTo>
                  <a:lnTo>
                    <a:pt x="0" y="131"/>
                  </a:lnTo>
                  <a:lnTo>
                    <a:pt x="0" y="131"/>
                  </a:lnTo>
                  <a:lnTo>
                    <a:pt x="0" y="118"/>
                  </a:lnTo>
                  <a:lnTo>
                    <a:pt x="2" y="105"/>
                  </a:lnTo>
                  <a:lnTo>
                    <a:pt x="5" y="92"/>
                  </a:lnTo>
                  <a:lnTo>
                    <a:pt x="10" y="80"/>
                  </a:lnTo>
                  <a:lnTo>
                    <a:pt x="15" y="69"/>
                  </a:lnTo>
                  <a:lnTo>
                    <a:pt x="22" y="58"/>
                  </a:lnTo>
                  <a:lnTo>
                    <a:pt x="30" y="48"/>
                  </a:lnTo>
                  <a:lnTo>
                    <a:pt x="37" y="38"/>
                  </a:lnTo>
                  <a:lnTo>
                    <a:pt x="47" y="30"/>
                  </a:lnTo>
                  <a:lnTo>
                    <a:pt x="57" y="22"/>
                  </a:lnTo>
                  <a:lnTo>
                    <a:pt x="68" y="16"/>
                  </a:lnTo>
                  <a:lnTo>
                    <a:pt x="80" y="10"/>
                  </a:lnTo>
                  <a:lnTo>
                    <a:pt x="92" y="6"/>
                  </a:lnTo>
                  <a:lnTo>
                    <a:pt x="104" y="2"/>
                  </a:lnTo>
                  <a:lnTo>
                    <a:pt x="117" y="0"/>
                  </a:lnTo>
                  <a:lnTo>
                    <a:pt x="131" y="0"/>
                  </a:lnTo>
                  <a:lnTo>
                    <a:pt x="899" y="0"/>
                  </a:lnTo>
                  <a:lnTo>
                    <a:pt x="899" y="0"/>
                  </a:lnTo>
                  <a:lnTo>
                    <a:pt x="914" y="0"/>
                  </a:lnTo>
                  <a:lnTo>
                    <a:pt x="926" y="2"/>
                  </a:lnTo>
                  <a:lnTo>
                    <a:pt x="939" y="6"/>
                  </a:lnTo>
                  <a:lnTo>
                    <a:pt x="951" y="10"/>
                  </a:lnTo>
                  <a:lnTo>
                    <a:pt x="963" y="16"/>
                  </a:lnTo>
                  <a:lnTo>
                    <a:pt x="974" y="22"/>
                  </a:lnTo>
                  <a:lnTo>
                    <a:pt x="984" y="30"/>
                  </a:lnTo>
                  <a:lnTo>
                    <a:pt x="993" y="38"/>
                  </a:lnTo>
                  <a:lnTo>
                    <a:pt x="1002" y="48"/>
                  </a:lnTo>
                  <a:lnTo>
                    <a:pt x="1009" y="58"/>
                  </a:lnTo>
                  <a:lnTo>
                    <a:pt x="1016" y="69"/>
                  </a:lnTo>
                  <a:lnTo>
                    <a:pt x="1022" y="80"/>
                  </a:lnTo>
                  <a:lnTo>
                    <a:pt x="1026" y="92"/>
                  </a:lnTo>
                  <a:lnTo>
                    <a:pt x="1029" y="105"/>
                  </a:lnTo>
                  <a:lnTo>
                    <a:pt x="1032" y="118"/>
                  </a:lnTo>
                  <a:lnTo>
                    <a:pt x="1032" y="131"/>
                  </a:lnTo>
                  <a:lnTo>
                    <a:pt x="1032" y="131"/>
                  </a:lnTo>
                  <a:lnTo>
                    <a:pt x="1032" y="131"/>
                  </a:lnTo>
                  <a:lnTo>
                    <a:pt x="1032" y="146"/>
                  </a:lnTo>
                  <a:lnTo>
                    <a:pt x="1029" y="158"/>
                  </a:lnTo>
                  <a:lnTo>
                    <a:pt x="1026" y="171"/>
                  </a:lnTo>
                  <a:lnTo>
                    <a:pt x="1022" y="183"/>
                  </a:lnTo>
                  <a:lnTo>
                    <a:pt x="1016" y="195"/>
                  </a:lnTo>
                  <a:lnTo>
                    <a:pt x="1009" y="206"/>
                  </a:lnTo>
                  <a:lnTo>
                    <a:pt x="1002" y="216"/>
                  </a:lnTo>
                  <a:lnTo>
                    <a:pt x="993" y="225"/>
                  </a:lnTo>
                  <a:lnTo>
                    <a:pt x="984" y="234"/>
                  </a:lnTo>
                  <a:lnTo>
                    <a:pt x="974" y="241"/>
                  </a:lnTo>
                  <a:lnTo>
                    <a:pt x="963" y="248"/>
                  </a:lnTo>
                  <a:lnTo>
                    <a:pt x="951" y="254"/>
                  </a:lnTo>
                  <a:lnTo>
                    <a:pt x="939" y="258"/>
                  </a:lnTo>
                  <a:lnTo>
                    <a:pt x="926" y="261"/>
                  </a:lnTo>
                  <a:lnTo>
                    <a:pt x="914" y="264"/>
                  </a:lnTo>
                  <a:lnTo>
                    <a:pt x="899" y="264"/>
                  </a:lnTo>
                  <a:lnTo>
                    <a:pt x="899" y="264"/>
                  </a:lnTo>
                  <a:close/>
                </a:path>
              </a:pathLst>
            </a:custGeom>
            <a:grp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sp>
        <p:nvSpPr>
          <p:cNvPr id="401" name="Freeform 81">
            <a:extLst>
              <a:ext uri="{FF2B5EF4-FFF2-40B4-BE49-F238E27FC236}">
                <a16:creationId xmlns:a16="http://schemas.microsoft.com/office/drawing/2014/main" id="{CC44ADC9-9A06-4EC2-9C62-9E69C23B5CF1}"/>
              </a:ext>
            </a:extLst>
          </p:cNvPr>
          <p:cNvSpPr>
            <a:spLocks noEditPoints="1"/>
          </p:cNvSpPr>
          <p:nvPr/>
        </p:nvSpPr>
        <p:spPr bwMode="auto">
          <a:xfrm>
            <a:off x="4350589" y="5213176"/>
            <a:ext cx="200049" cy="315702"/>
          </a:xfrm>
          <a:custGeom>
            <a:avLst/>
            <a:gdLst>
              <a:gd name="T0" fmla="*/ 5 w 767"/>
              <a:gd name="T1" fmla="*/ 278 h 1215"/>
              <a:gd name="T2" fmla="*/ 33 w 767"/>
              <a:gd name="T3" fmla="*/ 192 h 1215"/>
              <a:gd name="T4" fmla="*/ 79 w 767"/>
              <a:gd name="T5" fmla="*/ 122 h 1215"/>
              <a:gd name="T6" fmla="*/ 131 w 767"/>
              <a:gd name="T7" fmla="*/ 76 h 1215"/>
              <a:gd name="T8" fmla="*/ 210 w 767"/>
              <a:gd name="T9" fmla="*/ 34 h 1215"/>
              <a:gd name="T10" fmla="*/ 305 w 767"/>
              <a:gd name="T11" fmla="*/ 8 h 1215"/>
              <a:gd name="T12" fmla="*/ 415 w 767"/>
              <a:gd name="T13" fmla="*/ 0 h 1215"/>
              <a:gd name="T14" fmla="*/ 496 w 767"/>
              <a:gd name="T15" fmla="*/ 6 h 1215"/>
              <a:gd name="T16" fmla="*/ 566 w 767"/>
              <a:gd name="T17" fmla="*/ 21 h 1215"/>
              <a:gd name="T18" fmla="*/ 639 w 767"/>
              <a:gd name="T19" fmla="*/ 55 h 1215"/>
              <a:gd name="T20" fmla="*/ 687 w 767"/>
              <a:gd name="T21" fmla="*/ 92 h 1215"/>
              <a:gd name="T22" fmla="*/ 731 w 767"/>
              <a:gd name="T23" fmla="*/ 148 h 1215"/>
              <a:gd name="T24" fmla="*/ 754 w 767"/>
              <a:gd name="T25" fmla="*/ 199 h 1215"/>
              <a:gd name="T26" fmla="*/ 766 w 767"/>
              <a:gd name="T27" fmla="*/ 272 h 1215"/>
              <a:gd name="T28" fmla="*/ 764 w 767"/>
              <a:gd name="T29" fmla="*/ 335 h 1215"/>
              <a:gd name="T30" fmla="*/ 746 w 767"/>
              <a:gd name="T31" fmla="*/ 402 h 1215"/>
              <a:gd name="T32" fmla="*/ 694 w 767"/>
              <a:gd name="T33" fmla="*/ 483 h 1215"/>
              <a:gd name="T34" fmla="*/ 627 w 767"/>
              <a:gd name="T35" fmla="*/ 546 h 1215"/>
              <a:gd name="T36" fmla="*/ 560 w 767"/>
              <a:gd name="T37" fmla="*/ 608 h 1215"/>
              <a:gd name="T38" fmla="*/ 508 w 767"/>
              <a:gd name="T39" fmla="*/ 684 h 1215"/>
              <a:gd name="T40" fmla="*/ 493 w 767"/>
              <a:gd name="T41" fmla="*/ 733 h 1215"/>
              <a:gd name="T42" fmla="*/ 487 w 767"/>
              <a:gd name="T43" fmla="*/ 792 h 1215"/>
              <a:gd name="T44" fmla="*/ 489 w 767"/>
              <a:gd name="T45" fmla="*/ 816 h 1215"/>
              <a:gd name="T46" fmla="*/ 246 w 767"/>
              <a:gd name="T47" fmla="*/ 840 h 1215"/>
              <a:gd name="T48" fmla="*/ 253 w 767"/>
              <a:gd name="T49" fmla="*/ 674 h 1215"/>
              <a:gd name="T50" fmla="*/ 279 w 767"/>
              <a:gd name="T51" fmla="*/ 579 h 1215"/>
              <a:gd name="T52" fmla="*/ 329 w 767"/>
              <a:gd name="T53" fmla="*/ 505 h 1215"/>
              <a:gd name="T54" fmla="*/ 415 w 767"/>
              <a:gd name="T55" fmla="*/ 440 h 1215"/>
              <a:gd name="T56" fmla="*/ 478 w 767"/>
              <a:gd name="T57" fmla="*/ 385 h 1215"/>
              <a:gd name="T58" fmla="*/ 499 w 767"/>
              <a:gd name="T59" fmla="*/ 341 h 1215"/>
              <a:gd name="T60" fmla="*/ 499 w 767"/>
              <a:gd name="T61" fmla="*/ 304 h 1215"/>
              <a:gd name="T62" fmla="*/ 479 w 767"/>
              <a:gd name="T63" fmla="*/ 273 h 1215"/>
              <a:gd name="T64" fmla="*/ 446 w 767"/>
              <a:gd name="T65" fmla="*/ 259 h 1215"/>
              <a:gd name="T66" fmla="*/ 365 w 767"/>
              <a:gd name="T67" fmla="*/ 254 h 1215"/>
              <a:gd name="T68" fmla="*/ 310 w 767"/>
              <a:gd name="T69" fmla="*/ 268 h 1215"/>
              <a:gd name="T70" fmla="*/ 277 w 767"/>
              <a:gd name="T71" fmla="*/ 294 h 1215"/>
              <a:gd name="T72" fmla="*/ 256 w 767"/>
              <a:gd name="T73" fmla="*/ 338 h 1215"/>
              <a:gd name="T74" fmla="*/ 548 w 767"/>
              <a:gd name="T75" fmla="*/ 1081 h 1215"/>
              <a:gd name="T76" fmla="*/ 527 w 767"/>
              <a:gd name="T77" fmla="*/ 1139 h 1215"/>
              <a:gd name="T78" fmla="*/ 484 w 767"/>
              <a:gd name="T79" fmla="*/ 1183 h 1215"/>
              <a:gd name="T80" fmla="*/ 426 w 767"/>
              <a:gd name="T81" fmla="*/ 1208 h 1215"/>
              <a:gd name="T82" fmla="*/ 361 w 767"/>
              <a:gd name="T83" fmla="*/ 1214 h 1215"/>
              <a:gd name="T84" fmla="*/ 301 w 767"/>
              <a:gd name="T85" fmla="*/ 1198 h 1215"/>
              <a:gd name="T86" fmla="*/ 251 w 767"/>
              <a:gd name="T87" fmla="*/ 1162 h 1215"/>
              <a:gd name="T88" fmla="*/ 219 w 767"/>
              <a:gd name="T89" fmla="*/ 1111 h 1215"/>
              <a:gd name="T90" fmla="*/ 212 w 767"/>
              <a:gd name="T91" fmla="*/ 1050 h 1215"/>
              <a:gd name="T92" fmla="*/ 232 w 767"/>
              <a:gd name="T93" fmla="*/ 993 h 1215"/>
              <a:gd name="T94" fmla="*/ 275 w 767"/>
              <a:gd name="T95" fmla="*/ 950 h 1215"/>
              <a:gd name="T96" fmla="*/ 330 w 767"/>
              <a:gd name="T97" fmla="*/ 925 h 1215"/>
              <a:gd name="T98" fmla="*/ 395 w 767"/>
              <a:gd name="T99" fmla="*/ 919 h 1215"/>
              <a:gd name="T100" fmla="*/ 457 w 767"/>
              <a:gd name="T101" fmla="*/ 935 h 1215"/>
              <a:gd name="T102" fmla="*/ 508 w 767"/>
              <a:gd name="T103" fmla="*/ 970 h 1215"/>
              <a:gd name="T104" fmla="*/ 540 w 767"/>
              <a:gd name="T105" fmla="*/ 102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1215">
                <a:moveTo>
                  <a:pt x="0" y="337"/>
                </a:moveTo>
                <a:lnTo>
                  <a:pt x="0" y="337"/>
                </a:lnTo>
                <a:lnTo>
                  <a:pt x="1" y="317"/>
                </a:lnTo>
                <a:lnTo>
                  <a:pt x="3" y="297"/>
                </a:lnTo>
                <a:lnTo>
                  <a:pt x="5" y="278"/>
                </a:lnTo>
                <a:lnTo>
                  <a:pt x="10" y="259"/>
                </a:lnTo>
                <a:lnTo>
                  <a:pt x="14" y="242"/>
                </a:lnTo>
                <a:lnTo>
                  <a:pt x="20" y="225"/>
                </a:lnTo>
                <a:lnTo>
                  <a:pt x="25" y="208"/>
                </a:lnTo>
                <a:lnTo>
                  <a:pt x="33" y="192"/>
                </a:lnTo>
                <a:lnTo>
                  <a:pt x="41" y="177"/>
                </a:lnTo>
                <a:lnTo>
                  <a:pt x="49" y="162"/>
                </a:lnTo>
                <a:lnTo>
                  <a:pt x="59" y="148"/>
                </a:lnTo>
                <a:lnTo>
                  <a:pt x="69" y="134"/>
                </a:lnTo>
                <a:lnTo>
                  <a:pt x="79" y="122"/>
                </a:lnTo>
                <a:lnTo>
                  <a:pt x="91" y="109"/>
                </a:lnTo>
                <a:lnTo>
                  <a:pt x="103" y="97"/>
                </a:lnTo>
                <a:lnTo>
                  <a:pt x="117" y="86"/>
                </a:lnTo>
                <a:lnTo>
                  <a:pt x="117" y="86"/>
                </a:lnTo>
                <a:lnTo>
                  <a:pt x="131" y="76"/>
                </a:lnTo>
                <a:lnTo>
                  <a:pt x="146" y="66"/>
                </a:lnTo>
                <a:lnTo>
                  <a:pt x="160" y="57"/>
                </a:lnTo>
                <a:lnTo>
                  <a:pt x="177" y="48"/>
                </a:lnTo>
                <a:lnTo>
                  <a:pt x="192" y="40"/>
                </a:lnTo>
                <a:lnTo>
                  <a:pt x="210" y="34"/>
                </a:lnTo>
                <a:lnTo>
                  <a:pt x="228" y="27"/>
                </a:lnTo>
                <a:lnTo>
                  <a:pt x="246" y="21"/>
                </a:lnTo>
                <a:lnTo>
                  <a:pt x="265" y="17"/>
                </a:lnTo>
                <a:lnTo>
                  <a:pt x="285" y="13"/>
                </a:lnTo>
                <a:lnTo>
                  <a:pt x="305" y="8"/>
                </a:lnTo>
                <a:lnTo>
                  <a:pt x="326" y="6"/>
                </a:lnTo>
                <a:lnTo>
                  <a:pt x="347" y="4"/>
                </a:lnTo>
                <a:lnTo>
                  <a:pt x="369" y="1"/>
                </a:lnTo>
                <a:lnTo>
                  <a:pt x="391" y="0"/>
                </a:lnTo>
                <a:lnTo>
                  <a:pt x="415" y="0"/>
                </a:lnTo>
                <a:lnTo>
                  <a:pt x="415" y="0"/>
                </a:lnTo>
                <a:lnTo>
                  <a:pt x="436" y="0"/>
                </a:lnTo>
                <a:lnTo>
                  <a:pt x="456" y="1"/>
                </a:lnTo>
                <a:lnTo>
                  <a:pt x="476" y="4"/>
                </a:lnTo>
                <a:lnTo>
                  <a:pt x="496" y="6"/>
                </a:lnTo>
                <a:lnTo>
                  <a:pt x="514" y="8"/>
                </a:lnTo>
                <a:lnTo>
                  <a:pt x="531" y="13"/>
                </a:lnTo>
                <a:lnTo>
                  <a:pt x="549" y="17"/>
                </a:lnTo>
                <a:lnTo>
                  <a:pt x="566" y="21"/>
                </a:lnTo>
                <a:lnTo>
                  <a:pt x="566" y="21"/>
                </a:lnTo>
                <a:lnTo>
                  <a:pt x="582" y="27"/>
                </a:lnTo>
                <a:lnTo>
                  <a:pt x="597" y="34"/>
                </a:lnTo>
                <a:lnTo>
                  <a:pt x="612" y="40"/>
                </a:lnTo>
                <a:lnTo>
                  <a:pt x="626" y="47"/>
                </a:lnTo>
                <a:lnTo>
                  <a:pt x="639" y="55"/>
                </a:lnTo>
                <a:lnTo>
                  <a:pt x="653" y="64"/>
                </a:lnTo>
                <a:lnTo>
                  <a:pt x="665" y="73"/>
                </a:lnTo>
                <a:lnTo>
                  <a:pt x="676" y="83"/>
                </a:lnTo>
                <a:lnTo>
                  <a:pt x="676" y="83"/>
                </a:lnTo>
                <a:lnTo>
                  <a:pt x="687" y="92"/>
                </a:lnTo>
                <a:lnTo>
                  <a:pt x="697" y="103"/>
                </a:lnTo>
                <a:lnTo>
                  <a:pt x="706" y="113"/>
                </a:lnTo>
                <a:lnTo>
                  <a:pt x="715" y="124"/>
                </a:lnTo>
                <a:lnTo>
                  <a:pt x="723" y="136"/>
                </a:lnTo>
                <a:lnTo>
                  <a:pt x="731" y="148"/>
                </a:lnTo>
                <a:lnTo>
                  <a:pt x="737" y="160"/>
                </a:lnTo>
                <a:lnTo>
                  <a:pt x="744" y="173"/>
                </a:lnTo>
                <a:lnTo>
                  <a:pt x="744" y="173"/>
                </a:lnTo>
                <a:lnTo>
                  <a:pt x="749" y="186"/>
                </a:lnTo>
                <a:lnTo>
                  <a:pt x="754" y="199"/>
                </a:lnTo>
                <a:lnTo>
                  <a:pt x="758" y="214"/>
                </a:lnTo>
                <a:lnTo>
                  <a:pt x="761" y="227"/>
                </a:lnTo>
                <a:lnTo>
                  <a:pt x="764" y="242"/>
                </a:lnTo>
                <a:lnTo>
                  <a:pt x="765" y="256"/>
                </a:lnTo>
                <a:lnTo>
                  <a:pt x="766" y="272"/>
                </a:lnTo>
                <a:lnTo>
                  <a:pt x="767" y="286"/>
                </a:lnTo>
                <a:lnTo>
                  <a:pt x="767" y="286"/>
                </a:lnTo>
                <a:lnTo>
                  <a:pt x="766" y="303"/>
                </a:lnTo>
                <a:lnTo>
                  <a:pt x="765" y="320"/>
                </a:lnTo>
                <a:lnTo>
                  <a:pt x="764" y="335"/>
                </a:lnTo>
                <a:lnTo>
                  <a:pt x="762" y="350"/>
                </a:lnTo>
                <a:lnTo>
                  <a:pt x="758" y="364"/>
                </a:lnTo>
                <a:lnTo>
                  <a:pt x="755" y="377"/>
                </a:lnTo>
                <a:lnTo>
                  <a:pt x="751" y="391"/>
                </a:lnTo>
                <a:lnTo>
                  <a:pt x="746" y="402"/>
                </a:lnTo>
                <a:lnTo>
                  <a:pt x="746" y="402"/>
                </a:lnTo>
                <a:lnTo>
                  <a:pt x="735" y="424"/>
                </a:lnTo>
                <a:lnTo>
                  <a:pt x="723" y="445"/>
                </a:lnTo>
                <a:lnTo>
                  <a:pt x="709" y="465"/>
                </a:lnTo>
                <a:lnTo>
                  <a:pt x="694" y="483"/>
                </a:lnTo>
                <a:lnTo>
                  <a:pt x="694" y="483"/>
                </a:lnTo>
                <a:lnTo>
                  <a:pt x="678" y="500"/>
                </a:lnTo>
                <a:lnTo>
                  <a:pt x="662" y="516"/>
                </a:lnTo>
                <a:lnTo>
                  <a:pt x="645" y="532"/>
                </a:lnTo>
                <a:lnTo>
                  <a:pt x="627" y="546"/>
                </a:lnTo>
                <a:lnTo>
                  <a:pt x="627" y="546"/>
                </a:lnTo>
                <a:lnTo>
                  <a:pt x="609" y="561"/>
                </a:lnTo>
                <a:lnTo>
                  <a:pt x="593" y="575"/>
                </a:lnTo>
                <a:lnTo>
                  <a:pt x="576" y="591"/>
                </a:lnTo>
                <a:lnTo>
                  <a:pt x="560" y="608"/>
                </a:lnTo>
                <a:lnTo>
                  <a:pt x="560" y="608"/>
                </a:lnTo>
                <a:lnTo>
                  <a:pt x="545" y="624"/>
                </a:lnTo>
                <a:lnTo>
                  <a:pt x="531" y="643"/>
                </a:lnTo>
                <a:lnTo>
                  <a:pt x="519" y="663"/>
                </a:lnTo>
                <a:lnTo>
                  <a:pt x="508" y="684"/>
                </a:lnTo>
                <a:lnTo>
                  <a:pt x="508" y="684"/>
                </a:lnTo>
                <a:lnTo>
                  <a:pt x="504" y="695"/>
                </a:lnTo>
                <a:lnTo>
                  <a:pt x="499" y="708"/>
                </a:lnTo>
                <a:lnTo>
                  <a:pt x="496" y="720"/>
                </a:lnTo>
                <a:lnTo>
                  <a:pt x="493" y="733"/>
                </a:lnTo>
                <a:lnTo>
                  <a:pt x="490" y="747"/>
                </a:lnTo>
                <a:lnTo>
                  <a:pt x="488" y="762"/>
                </a:lnTo>
                <a:lnTo>
                  <a:pt x="488" y="777"/>
                </a:lnTo>
                <a:lnTo>
                  <a:pt x="487" y="792"/>
                </a:lnTo>
                <a:lnTo>
                  <a:pt x="487" y="792"/>
                </a:lnTo>
                <a:lnTo>
                  <a:pt x="487" y="808"/>
                </a:lnTo>
                <a:lnTo>
                  <a:pt x="487" y="808"/>
                </a:lnTo>
                <a:lnTo>
                  <a:pt x="488" y="812"/>
                </a:lnTo>
                <a:lnTo>
                  <a:pt x="489" y="816"/>
                </a:lnTo>
                <a:lnTo>
                  <a:pt x="489" y="816"/>
                </a:lnTo>
                <a:lnTo>
                  <a:pt x="493" y="824"/>
                </a:lnTo>
                <a:lnTo>
                  <a:pt x="493" y="824"/>
                </a:lnTo>
                <a:lnTo>
                  <a:pt x="497" y="840"/>
                </a:lnTo>
                <a:lnTo>
                  <a:pt x="246" y="840"/>
                </a:lnTo>
                <a:lnTo>
                  <a:pt x="246" y="840"/>
                </a:lnTo>
                <a:lnTo>
                  <a:pt x="247" y="767"/>
                </a:lnTo>
                <a:lnTo>
                  <a:pt x="249" y="733"/>
                </a:lnTo>
                <a:lnTo>
                  <a:pt x="251" y="702"/>
                </a:lnTo>
                <a:lnTo>
                  <a:pt x="251" y="702"/>
                </a:lnTo>
                <a:lnTo>
                  <a:pt x="253" y="674"/>
                </a:lnTo>
                <a:lnTo>
                  <a:pt x="258" y="648"/>
                </a:lnTo>
                <a:lnTo>
                  <a:pt x="263" y="623"/>
                </a:lnTo>
                <a:lnTo>
                  <a:pt x="270" y="600"/>
                </a:lnTo>
                <a:lnTo>
                  <a:pt x="270" y="600"/>
                </a:lnTo>
                <a:lnTo>
                  <a:pt x="279" y="579"/>
                </a:lnTo>
                <a:lnTo>
                  <a:pt x="289" y="559"/>
                </a:lnTo>
                <a:lnTo>
                  <a:pt x="300" y="540"/>
                </a:lnTo>
                <a:lnTo>
                  <a:pt x="313" y="522"/>
                </a:lnTo>
                <a:lnTo>
                  <a:pt x="313" y="522"/>
                </a:lnTo>
                <a:lnTo>
                  <a:pt x="329" y="505"/>
                </a:lnTo>
                <a:lnTo>
                  <a:pt x="347" y="489"/>
                </a:lnTo>
                <a:lnTo>
                  <a:pt x="367" y="473"/>
                </a:lnTo>
                <a:lnTo>
                  <a:pt x="390" y="456"/>
                </a:lnTo>
                <a:lnTo>
                  <a:pt x="390" y="456"/>
                </a:lnTo>
                <a:lnTo>
                  <a:pt x="415" y="440"/>
                </a:lnTo>
                <a:lnTo>
                  <a:pt x="437" y="423"/>
                </a:lnTo>
                <a:lnTo>
                  <a:pt x="456" y="407"/>
                </a:lnTo>
                <a:lnTo>
                  <a:pt x="471" y="392"/>
                </a:lnTo>
                <a:lnTo>
                  <a:pt x="471" y="392"/>
                </a:lnTo>
                <a:lnTo>
                  <a:pt x="478" y="385"/>
                </a:lnTo>
                <a:lnTo>
                  <a:pt x="485" y="376"/>
                </a:lnTo>
                <a:lnTo>
                  <a:pt x="489" y="368"/>
                </a:lnTo>
                <a:lnTo>
                  <a:pt x="494" y="360"/>
                </a:lnTo>
                <a:lnTo>
                  <a:pt x="497" y="351"/>
                </a:lnTo>
                <a:lnTo>
                  <a:pt x="499" y="341"/>
                </a:lnTo>
                <a:lnTo>
                  <a:pt x="500" y="332"/>
                </a:lnTo>
                <a:lnTo>
                  <a:pt x="500" y="321"/>
                </a:lnTo>
                <a:lnTo>
                  <a:pt x="500" y="321"/>
                </a:lnTo>
                <a:lnTo>
                  <a:pt x="500" y="312"/>
                </a:lnTo>
                <a:lnTo>
                  <a:pt x="499" y="304"/>
                </a:lnTo>
                <a:lnTo>
                  <a:pt x="497" y="296"/>
                </a:lnTo>
                <a:lnTo>
                  <a:pt x="494" y="288"/>
                </a:lnTo>
                <a:lnTo>
                  <a:pt x="489" y="283"/>
                </a:lnTo>
                <a:lnTo>
                  <a:pt x="485" y="277"/>
                </a:lnTo>
                <a:lnTo>
                  <a:pt x="479" y="273"/>
                </a:lnTo>
                <a:lnTo>
                  <a:pt x="473" y="268"/>
                </a:lnTo>
                <a:lnTo>
                  <a:pt x="473" y="268"/>
                </a:lnTo>
                <a:lnTo>
                  <a:pt x="465" y="265"/>
                </a:lnTo>
                <a:lnTo>
                  <a:pt x="456" y="262"/>
                </a:lnTo>
                <a:lnTo>
                  <a:pt x="446" y="259"/>
                </a:lnTo>
                <a:lnTo>
                  <a:pt x="435" y="257"/>
                </a:lnTo>
                <a:lnTo>
                  <a:pt x="409" y="254"/>
                </a:lnTo>
                <a:lnTo>
                  <a:pt x="378" y="253"/>
                </a:lnTo>
                <a:lnTo>
                  <a:pt x="378" y="253"/>
                </a:lnTo>
                <a:lnTo>
                  <a:pt x="365" y="254"/>
                </a:lnTo>
                <a:lnTo>
                  <a:pt x="352" y="255"/>
                </a:lnTo>
                <a:lnTo>
                  <a:pt x="341" y="257"/>
                </a:lnTo>
                <a:lnTo>
                  <a:pt x="330" y="259"/>
                </a:lnTo>
                <a:lnTo>
                  <a:pt x="320" y="264"/>
                </a:lnTo>
                <a:lnTo>
                  <a:pt x="310" y="268"/>
                </a:lnTo>
                <a:lnTo>
                  <a:pt x="300" y="274"/>
                </a:lnTo>
                <a:lnTo>
                  <a:pt x="292" y="279"/>
                </a:lnTo>
                <a:lnTo>
                  <a:pt x="292" y="279"/>
                </a:lnTo>
                <a:lnTo>
                  <a:pt x="285" y="286"/>
                </a:lnTo>
                <a:lnTo>
                  <a:pt x="277" y="294"/>
                </a:lnTo>
                <a:lnTo>
                  <a:pt x="271" y="302"/>
                </a:lnTo>
                <a:lnTo>
                  <a:pt x="266" y="311"/>
                </a:lnTo>
                <a:lnTo>
                  <a:pt x="261" y="320"/>
                </a:lnTo>
                <a:lnTo>
                  <a:pt x="258" y="328"/>
                </a:lnTo>
                <a:lnTo>
                  <a:pt x="256" y="338"/>
                </a:lnTo>
                <a:lnTo>
                  <a:pt x="255" y="350"/>
                </a:lnTo>
                <a:lnTo>
                  <a:pt x="0" y="337"/>
                </a:lnTo>
                <a:close/>
                <a:moveTo>
                  <a:pt x="548" y="1066"/>
                </a:moveTo>
                <a:lnTo>
                  <a:pt x="548" y="1066"/>
                </a:lnTo>
                <a:lnTo>
                  <a:pt x="548" y="1081"/>
                </a:lnTo>
                <a:lnTo>
                  <a:pt x="545" y="1097"/>
                </a:lnTo>
                <a:lnTo>
                  <a:pt x="540" y="1111"/>
                </a:lnTo>
                <a:lnTo>
                  <a:pt x="535" y="1126"/>
                </a:lnTo>
                <a:lnTo>
                  <a:pt x="535" y="1126"/>
                </a:lnTo>
                <a:lnTo>
                  <a:pt x="527" y="1139"/>
                </a:lnTo>
                <a:lnTo>
                  <a:pt x="518" y="1151"/>
                </a:lnTo>
                <a:lnTo>
                  <a:pt x="508" y="1162"/>
                </a:lnTo>
                <a:lnTo>
                  <a:pt x="496" y="1172"/>
                </a:lnTo>
                <a:lnTo>
                  <a:pt x="496" y="1172"/>
                </a:lnTo>
                <a:lnTo>
                  <a:pt x="484" y="1183"/>
                </a:lnTo>
                <a:lnTo>
                  <a:pt x="470" y="1190"/>
                </a:lnTo>
                <a:lnTo>
                  <a:pt x="457" y="1198"/>
                </a:lnTo>
                <a:lnTo>
                  <a:pt x="441" y="1204"/>
                </a:lnTo>
                <a:lnTo>
                  <a:pt x="441" y="1204"/>
                </a:lnTo>
                <a:lnTo>
                  <a:pt x="426" y="1208"/>
                </a:lnTo>
                <a:lnTo>
                  <a:pt x="410" y="1211"/>
                </a:lnTo>
                <a:lnTo>
                  <a:pt x="395" y="1214"/>
                </a:lnTo>
                <a:lnTo>
                  <a:pt x="378" y="1215"/>
                </a:lnTo>
                <a:lnTo>
                  <a:pt x="378" y="1215"/>
                </a:lnTo>
                <a:lnTo>
                  <a:pt x="361" y="1214"/>
                </a:lnTo>
                <a:lnTo>
                  <a:pt x="346" y="1211"/>
                </a:lnTo>
                <a:lnTo>
                  <a:pt x="330" y="1208"/>
                </a:lnTo>
                <a:lnTo>
                  <a:pt x="316" y="1204"/>
                </a:lnTo>
                <a:lnTo>
                  <a:pt x="316" y="1204"/>
                </a:lnTo>
                <a:lnTo>
                  <a:pt x="301" y="1198"/>
                </a:lnTo>
                <a:lnTo>
                  <a:pt x="287" y="1190"/>
                </a:lnTo>
                <a:lnTo>
                  <a:pt x="275" y="1183"/>
                </a:lnTo>
                <a:lnTo>
                  <a:pt x="262" y="1172"/>
                </a:lnTo>
                <a:lnTo>
                  <a:pt x="262" y="1172"/>
                </a:lnTo>
                <a:lnTo>
                  <a:pt x="251" y="1162"/>
                </a:lnTo>
                <a:lnTo>
                  <a:pt x="241" y="1151"/>
                </a:lnTo>
                <a:lnTo>
                  <a:pt x="232" y="1139"/>
                </a:lnTo>
                <a:lnTo>
                  <a:pt x="226" y="1126"/>
                </a:lnTo>
                <a:lnTo>
                  <a:pt x="226" y="1126"/>
                </a:lnTo>
                <a:lnTo>
                  <a:pt x="219" y="1111"/>
                </a:lnTo>
                <a:lnTo>
                  <a:pt x="215" y="1097"/>
                </a:lnTo>
                <a:lnTo>
                  <a:pt x="212" y="1081"/>
                </a:lnTo>
                <a:lnTo>
                  <a:pt x="211" y="1066"/>
                </a:lnTo>
                <a:lnTo>
                  <a:pt x="211" y="1066"/>
                </a:lnTo>
                <a:lnTo>
                  <a:pt x="212" y="1050"/>
                </a:lnTo>
                <a:lnTo>
                  <a:pt x="215" y="1035"/>
                </a:lnTo>
                <a:lnTo>
                  <a:pt x="219" y="1020"/>
                </a:lnTo>
                <a:lnTo>
                  <a:pt x="226" y="1007"/>
                </a:lnTo>
                <a:lnTo>
                  <a:pt x="226" y="1007"/>
                </a:lnTo>
                <a:lnTo>
                  <a:pt x="232" y="993"/>
                </a:lnTo>
                <a:lnTo>
                  <a:pt x="241" y="981"/>
                </a:lnTo>
                <a:lnTo>
                  <a:pt x="251" y="970"/>
                </a:lnTo>
                <a:lnTo>
                  <a:pt x="262" y="960"/>
                </a:lnTo>
                <a:lnTo>
                  <a:pt x="262" y="960"/>
                </a:lnTo>
                <a:lnTo>
                  <a:pt x="275" y="950"/>
                </a:lnTo>
                <a:lnTo>
                  <a:pt x="287" y="942"/>
                </a:lnTo>
                <a:lnTo>
                  <a:pt x="301" y="935"/>
                </a:lnTo>
                <a:lnTo>
                  <a:pt x="316" y="929"/>
                </a:lnTo>
                <a:lnTo>
                  <a:pt x="316" y="929"/>
                </a:lnTo>
                <a:lnTo>
                  <a:pt x="330" y="925"/>
                </a:lnTo>
                <a:lnTo>
                  <a:pt x="346" y="921"/>
                </a:lnTo>
                <a:lnTo>
                  <a:pt x="361" y="919"/>
                </a:lnTo>
                <a:lnTo>
                  <a:pt x="378" y="918"/>
                </a:lnTo>
                <a:lnTo>
                  <a:pt x="378" y="918"/>
                </a:lnTo>
                <a:lnTo>
                  <a:pt x="395" y="919"/>
                </a:lnTo>
                <a:lnTo>
                  <a:pt x="410" y="921"/>
                </a:lnTo>
                <a:lnTo>
                  <a:pt x="426" y="925"/>
                </a:lnTo>
                <a:lnTo>
                  <a:pt x="441" y="929"/>
                </a:lnTo>
                <a:lnTo>
                  <a:pt x="441" y="929"/>
                </a:lnTo>
                <a:lnTo>
                  <a:pt x="457" y="935"/>
                </a:lnTo>
                <a:lnTo>
                  <a:pt x="470" y="942"/>
                </a:lnTo>
                <a:lnTo>
                  <a:pt x="484" y="950"/>
                </a:lnTo>
                <a:lnTo>
                  <a:pt x="496" y="960"/>
                </a:lnTo>
                <a:lnTo>
                  <a:pt x="496" y="960"/>
                </a:lnTo>
                <a:lnTo>
                  <a:pt x="508" y="970"/>
                </a:lnTo>
                <a:lnTo>
                  <a:pt x="518" y="981"/>
                </a:lnTo>
                <a:lnTo>
                  <a:pt x="527" y="993"/>
                </a:lnTo>
                <a:lnTo>
                  <a:pt x="535" y="1007"/>
                </a:lnTo>
                <a:lnTo>
                  <a:pt x="535" y="1007"/>
                </a:lnTo>
                <a:lnTo>
                  <a:pt x="540" y="1020"/>
                </a:lnTo>
                <a:lnTo>
                  <a:pt x="545" y="1035"/>
                </a:lnTo>
                <a:lnTo>
                  <a:pt x="548" y="1050"/>
                </a:lnTo>
                <a:lnTo>
                  <a:pt x="548" y="1066"/>
                </a:lnTo>
                <a:lnTo>
                  <a:pt x="548" y="1066"/>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nvGrpSpPr>
          <p:cNvPr id="402" name="Gruppieren 401">
            <a:extLst>
              <a:ext uri="{FF2B5EF4-FFF2-40B4-BE49-F238E27FC236}">
                <a16:creationId xmlns:a16="http://schemas.microsoft.com/office/drawing/2014/main" id="{87B755AD-DFE7-4E14-8338-C54854915649}"/>
              </a:ext>
            </a:extLst>
          </p:cNvPr>
          <p:cNvGrpSpPr/>
          <p:nvPr/>
        </p:nvGrpSpPr>
        <p:grpSpPr>
          <a:xfrm>
            <a:off x="5064160" y="5224898"/>
            <a:ext cx="84396" cy="292258"/>
            <a:chOff x="5050555" y="3900314"/>
            <a:chExt cx="84396" cy="292258"/>
          </a:xfrm>
          <a:solidFill>
            <a:schemeClr val="bg1"/>
          </a:solidFill>
        </p:grpSpPr>
        <p:sp>
          <p:nvSpPr>
            <p:cNvPr id="403" name="Freeform 86">
              <a:extLst>
                <a:ext uri="{FF2B5EF4-FFF2-40B4-BE49-F238E27FC236}">
                  <a16:creationId xmlns:a16="http://schemas.microsoft.com/office/drawing/2014/main" id="{56CDEC20-90FC-48A1-8049-EB6072985BB6}"/>
                </a:ext>
              </a:extLst>
            </p:cNvPr>
            <p:cNvSpPr>
              <a:spLocks/>
            </p:cNvSpPr>
            <p:nvPr/>
          </p:nvSpPr>
          <p:spPr bwMode="auto">
            <a:xfrm>
              <a:off x="5050555" y="3900314"/>
              <a:ext cx="84396" cy="206300"/>
            </a:xfrm>
            <a:custGeom>
              <a:avLst/>
              <a:gdLst>
                <a:gd name="T0" fmla="*/ 165 w 328"/>
                <a:gd name="T1" fmla="*/ 0 h 789"/>
                <a:gd name="T2" fmla="*/ 131 w 328"/>
                <a:gd name="T3" fmla="*/ 2 h 789"/>
                <a:gd name="T4" fmla="*/ 100 w 328"/>
                <a:gd name="T5" fmla="*/ 10 h 789"/>
                <a:gd name="T6" fmla="*/ 72 w 328"/>
                <a:gd name="T7" fmla="*/ 21 h 789"/>
                <a:gd name="T8" fmla="*/ 48 w 328"/>
                <a:gd name="T9" fmla="*/ 38 h 789"/>
                <a:gd name="T10" fmla="*/ 28 w 328"/>
                <a:gd name="T11" fmla="*/ 59 h 789"/>
                <a:gd name="T12" fmla="*/ 13 w 328"/>
                <a:gd name="T13" fmla="*/ 83 h 789"/>
                <a:gd name="T14" fmla="*/ 3 w 328"/>
                <a:gd name="T15" fmla="*/ 112 h 789"/>
                <a:gd name="T16" fmla="*/ 0 w 328"/>
                <a:gd name="T17" fmla="*/ 145 h 789"/>
                <a:gd name="T18" fmla="*/ 0 w 328"/>
                <a:gd name="T19" fmla="*/ 152 h 789"/>
                <a:gd name="T20" fmla="*/ 80 w 328"/>
                <a:gd name="T21" fmla="*/ 733 h 789"/>
                <a:gd name="T22" fmla="*/ 81 w 328"/>
                <a:gd name="T23" fmla="*/ 738 h 789"/>
                <a:gd name="T24" fmla="*/ 86 w 328"/>
                <a:gd name="T25" fmla="*/ 750 h 789"/>
                <a:gd name="T26" fmla="*/ 97 w 328"/>
                <a:gd name="T27" fmla="*/ 765 h 789"/>
                <a:gd name="T28" fmla="*/ 120 w 328"/>
                <a:gd name="T29" fmla="*/ 780 h 789"/>
                <a:gd name="T30" fmla="*/ 149 w 328"/>
                <a:gd name="T31" fmla="*/ 788 h 789"/>
                <a:gd name="T32" fmla="*/ 165 w 328"/>
                <a:gd name="T33" fmla="*/ 789 h 789"/>
                <a:gd name="T34" fmla="*/ 195 w 328"/>
                <a:gd name="T35" fmla="*/ 786 h 789"/>
                <a:gd name="T36" fmla="*/ 220 w 328"/>
                <a:gd name="T37" fmla="*/ 774 h 789"/>
                <a:gd name="T38" fmla="*/ 238 w 328"/>
                <a:gd name="T39" fmla="*/ 755 h 789"/>
                <a:gd name="T40" fmla="*/ 244 w 328"/>
                <a:gd name="T41" fmla="*/ 744 h 789"/>
                <a:gd name="T42" fmla="*/ 246 w 328"/>
                <a:gd name="T43" fmla="*/ 733 h 789"/>
                <a:gd name="T44" fmla="*/ 328 w 328"/>
                <a:gd name="T45" fmla="*/ 159 h 789"/>
                <a:gd name="T46" fmla="*/ 328 w 328"/>
                <a:gd name="T47" fmla="*/ 145 h 789"/>
                <a:gd name="T48" fmla="*/ 327 w 328"/>
                <a:gd name="T49" fmla="*/ 130 h 789"/>
                <a:gd name="T50" fmla="*/ 320 w 328"/>
                <a:gd name="T51" fmla="*/ 100 h 789"/>
                <a:gd name="T52" fmla="*/ 308 w 328"/>
                <a:gd name="T53" fmla="*/ 73 h 789"/>
                <a:gd name="T54" fmla="*/ 290 w 328"/>
                <a:gd name="T55" fmla="*/ 50 h 789"/>
                <a:gd name="T56" fmla="*/ 269 w 328"/>
                <a:gd name="T57" fmla="*/ 31 h 789"/>
                <a:gd name="T58" fmla="*/ 242 w 328"/>
                <a:gd name="T59" fmla="*/ 15 h 789"/>
                <a:gd name="T60" fmla="*/ 213 w 328"/>
                <a:gd name="T61" fmla="*/ 5 h 789"/>
                <a:gd name="T62" fmla="*/ 181 w 328"/>
                <a:gd name="T63" fmla="*/ 0 h 789"/>
                <a:gd name="T64" fmla="*/ 165 w 328"/>
                <a:gd name="T65"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789">
                  <a:moveTo>
                    <a:pt x="165" y="0"/>
                  </a:moveTo>
                  <a:lnTo>
                    <a:pt x="165" y="0"/>
                  </a:lnTo>
                  <a:lnTo>
                    <a:pt x="148" y="0"/>
                  </a:lnTo>
                  <a:lnTo>
                    <a:pt x="131" y="2"/>
                  </a:lnTo>
                  <a:lnTo>
                    <a:pt x="116" y="5"/>
                  </a:lnTo>
                  <a:lnTo>
                    <a:pt x="100" y="10"/>
                  </a:lnTo>
                  <a:lnTo>
                    <a:pt x="86" y="14"/>
                  </a:lnTo>
                  <a:lnTo>
                    <a:pt x="72" y="21"/>
                  </a:lnTo>
                  <a:lnTo>
                    <a:pt x="60" y="29"/>
                  </a:lnTo>
                  <a:lnTo>
                    <a:pt x="48" y="38"/>
                  </a:lnTo>
                  <a:lnTo>
                    <a:pt x="38" y="48"/>
                  </a:lnTo>
                  <a:lnTo>
                    <a:pt x="28" y="59"/>
                  </a:lnTo>
                  <a:lnTo>
                    <a:pt x="20" y="71"/>
                  </a:lnTo>
                  <a:lnTo>
                    <a:pt x="13" y="83"/>
                  </a:lnTo>
                  <a:lnTo>
                    <a:pt x="8" y="98"/>
                  </a:lnTo>
                  <a:lnTo>
                    <a:pt x="3" y="112"/>
                  </a:lnTo>
                  <a:lnTo>
                    <a:pt x="1" y="129"/>
                  </a:lnTo>
                  <a:lnTo>
                    <a:pt x="0" y="145"/>
                  </a:lnTo>
                  <a:lnTo>
                    <a:pt x="0" y="145"/>
                  </a:lnTo>
                  <a:lnTo>
                    <a:pt x="0" y="152"/>
                  </a:lnTo>
                  <a:lnTo>
                    <a:pt x="0" y="159"/>
                  </a:lnTo>
                  <a:lnTo>
                    <a:pt x="80" y="733"/>
                  </a:lnTo>
                  <a:lnTo>
                    <a:pt x="80" y="733"/>
                  </a:lnTo>
                  <a:lnTo>
                    <a:pt x="81" y="738"/>
                  </a:lnTo>
                  <a:lnTo>
                    <a:pt x="83" y="744"/>
                  </a:lnTo>
                  <a:lnTo>
                    <a:pt x="86" y="750"/>
                  </a:lnTo>
                  <a:lnTo>
                    <a:pt x="89" y="755"/>
                  </a:lnTo>
                  <a:lnTo>
                    <a:pt x="97" y="765"/>
                  </a:lnTo>
                  <a:lnTo>
                    <a:pt x="108" y="774"/>
                  </a:lnTo>
                  <a:lnTo>
                    <a:pt x="120" y="780"/>
                  </a:lnTo>
                  <a:lnTo>
                    <a:pt x="133" y="786"/>
                  </a:lnTo>
                  <a:lnTo>
                    <a:pt x="149" y="788"/>
                  </a:lnTo>
                  <a:lnTo>
                    <a:pt x="165" y="789"/>
                  </a:lnTo>
                  <a:lnTo>
                    <a:pt x="165" y="789"/>
                  </a:lnTo>
                  <a:lnTo>
                    <a:pt x="180" y="788"/>
                  </a:lnTo>
                  <a:lnTo>
                    <a:pt x="195" y="786"/>
                  </a:lnTo>
                  <a:lnTo>
                    <a:pt x="208" y="780"/>
                  </a:lnTo>
                  <a:lnTo>
                    <a:pt x="220" y="774"/>
                  </a:lnTo>
                  <a:lnTo>
                    <a:pt x="230" y="765"/>
                  </a:lnTo>
                  <a:lnTo>
                    <a:pt x="238" y="755"/>
                  </a:lnTo>
                  <a:lnTo>
                    <a:pt x="241" y="750"/>
                  </a:lnTo>
                  <a:lnTo>
                    <a:pt x="244" y="744"/>
                  </a:lnTo>
                  <a:lnTo>
                    <a:pt x="245" y="738"/>
                  </a:lnTo>
                  <a:lnTo>
                    <a:pt x="246" y="733"/>
                  </a:lnTo>
                  <a:lnTo>
                    <a:pt x="328" y="159"/>
                  </a:lnTo>
                  <a:lnTo>
                    <a:pt x="328" y="159"/>
                  </a:lnTo>
                  <a:lnTo>
                    <a:pt x="328" y="152"/>
                  </a:lnTo>
                  <a:lnTo>
                    <a:pt x="328" y="145"/>
                  </a:lnTo>
                  <a:lnTo>
                    <a:pt x="328" y="145"/>
                  </a:lnTo>
                  <a:lnTo>
                    <a:pt x="327" y="130"/>
                  </a:lnTo>
                  <a:lnTo>
                    <a:pt x="325" y="114"/>
                  </a:lnTo>
                  <a:lnTo>
                    <a:pt x="320" y="100"/>
                  </a:lnTo>
                  <a:lnTo>
                    <a:pt x="315" y="85"/>
                  </a:lnTo>
                  <a:lnTo>
                    <a:pt x="308" y="73"/>
                  </a:lnTo>
                  <a:lnTo>
                    <a:pt x="300" y="61"/>
                  </a:lnTo>
                  <a:lnTo>
                    <a:pt x="290" y="50"/>
                  </a:lnTo>
                  <a:lnTo>
                    <a:pt x="280" y="40"/>
                  </a:lnTo>
                  <a:lnTo>
                    <a:pt x="269" y="31"/>
                  </a:lnTo>
                  <a:lnTo>
                    <a:pt x="256" y="23"/>
                  </a:lnTo>
                  <a:lnTo>
                    <a:pt x="242" y="15"/>
                  </a:lnTo>
                  <a:lnTo>
                    <a:pt x="228" y="10"/>
                  </a:lnTo>
                  <a:lnTo>
                    <a:pt x="213" y="5"/>
                  </a:lnTo>
                  <a:lnTo>
                    <a:pt x="198" y="2"/>
                  </a:lnTo>
                  <a:lnTo>
                    <a:pt x="181" y="0"/>
                  </a:lnTo>
                  <a:lnTo>
                    <a:pt x="165" y="0"/>
                  </a:lnTo>
                  <a:lnTo>
                    <a:pt x="165" y="0"/>
                  </a:ln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404" name="Freeform 87">
              <a:extLst>
                <a:ext uri="{FF2B5EF4-FFF2-40B4-BE49-F238E27FC236}">
                  <a16:creationId xmlns:a16="http://schemas.microsoft.com/office/drawing/2014/main" id="{2630CA85-230B-4043-BC43-5063A20DFA7A}"/>
                </a:ext>
              </a:extLst>
            </p:cNvPr>
            <p:cNvSpPr>
              <a:spLocks/>
            </p:cNvSpPr>
            <p:nvPr/>
          </p:nvSpPr>
          <p:spPr bwMode="auto">
            <a:xfrm>
              <a:off x="5053681" y="4120679"/>
              <a:ext cx="78144" cy="71893"/>
            </a:xfrm>
            <a:custGeom>
              <a:avLst/>
              <a:gdLst>
                <a:gd name="T0" fmla="*/ 152 w 302"/>
                <a:gd name="T1" fmla="*/ 0 h 275"/>
                <a:gd name="T2" fmla="*/ 120 w 302"/>
                <a:gd name="T3" fmla="*/ 4 h 275"/>
                <a:gd name="T4" fmla="*/ 93 w 302"/>
                <a:gd name="T5" fmla="*/ 11 h 275"/>
                <a:gd name="T6" fmla="*/ 67 w 302"/>
                <a:gd name="T7" fmla="*/ 25 h 275"/>
                <a:gd name="T8" fmla="*/ 45 w 302"/>
                <a:gd name="T9" fmla="*/ 41 h 275"/>
                <a:gd name="T10" fmla="*/ 26 w 302"/>
                <a:gd name="T11" fmla="*/ 62 h 275"/>
                <a:gd name="T12" fmla="*/ 13 w 302"/>
                <a:gd name="T13" fmla="*/ 86 h 275"/>
                <a:gd name="T14" fmla="*/ 4 w 302"/>
                <a:gd name="T15" fmla="*/ 111 h 275"/>
                <a:gd name="T16" fmla="*/ 0 w 302"/>
                <a:gd name="T17" fmla="*/ 140 h 275"/>
                <a:gd name="T18" fmla="*/ 1 w 302"/>
                <a:gd name="T19" fmla="*/ 154 h 275"/>
                <a:gd name="T20" fmla="*/ 7 w 302"/>
                <a:gd name="T21" fmla="*/ 180 h 275"/>
                <a:gd name="T22" fmla="*/ 19 w 302"/>
                <a:gd name="T23" fmla="*/ 205 h 275"/>
                <a:gd name="T24" fmla="*/ 35 w 302"/>
                <a:gd name="T25" fmla="*/ 226 h 275"/>
                <a:gd name="T26" fmla="*/ 55 w 302"/>
                <a:gd name="T27" fmla="*/ 245 h 275"/>
                <a:gd name="T28" fmla="*/ 79 w 302"/>
                <a:gd name="T29" fmla="*/ 259 h 275"/>
                <a:gd name="T30" fmla="*/ 106 w 302"/>
                <a:gd name="T31" fmla="*/ 269 h 275"/>
                <a:gd name="T32" fmla="*/ 136 w 302"/>
                <a:gd name="T33" fmla="*/ 275 h 275"/>
                <a:gd name="T34" fmla="*/ 152 w 302"/>
                <a:gd name="T35" fmla="*/ 275 h 275"/>
                <a:gd name="T36" fmla="*/ 182 w 302"/>
                <a:gd name="T37" fmla="*/ 273 h 275"/>
                <a:gd name="T38" fmla="*/ 209 w 302"/>
                <a:gd name="T39" fmla="*/ 265 h 275"/>
                <a:gd name="T40" fmla="*/ 235 w 302"/>
                <a:gd name="T41" fmla="*/ 253 h 275"/>
                <a:gd name="T42" fmla="*/ 258 w 302"/>
                <a:gd name="T43" fmla="*/ 236 h 275"/>
                <a:gd name="T44" fmla="*/ 276 w 302"/>
                <a:gd name="T45" fmla="*/ 216 h 275"/>
                <a:gd name="T46" fmla="*/ 289 w 302"/>
                <a:gd name="T47" fmla="*/ 194 h 275"/>
                <a:gd name="T48" fmla="*/ 298 w 302"/>
                <a:gd name="T49" fmla="*/ 168 h 275"/>
                <a:gd name="T50" fmla="*/ 302 w 302"/>
                <a:gd name="T51" fmla="*/ 140 h 275"/>
                <a:gd name="T52" fmla="*/ 301 w 302"/>
                <a:gd name="T53" fmla="*/ 126 h 275"/>
                <a:gd name="T54" fmla="*/ 295 w 302"/>
                <a:gd name="T55" fmla="*/ 98 h 275"/>
                <a:gd name="T56" fmla="*/ 284 w 302"/>
                <a:gd name="T57" fmla="*/ 74 h 275"/>
                <a:gd name="T58" fmla="*/ 267 w 302"/>
                <a:gd name="T59" fmla="*/ 51 h 275"/>
                <a:gd name="T60" fmla="*/ 247 w 302"/>
                <a:gd name="T61" fmla="*/ 32 h 275"/>
                <a:gd name="T62" fmla="*/ 223 w 302"/>
                <a:gd name="T63" fmla="*/ 17 h 275"/>
                <a:gd name="T64" fmla="*/ 196 w 302"/>
                <a:gd name="T65" fmla="*/ 7 h 275"/>
                <a:gd name="T66" fmla="*/ 167 w 302"/>
                <a:gd name="T67" fmla="*/ 1 h 275"/>
                <a:gd name="T68" fmla="*/ 152 w 302"/>
                <a:gd name="T6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275">
                  <a:moveTo>
                    <a:pt x="152" y="0"/>
                  </a:moveTo>
                  <a:lnTo>
                    <a:pt x="152" y="0"/>
                  </a:lnTo>
                  <a:lnTo>
                    <a:pt x="136" y="1"/>
                  </a:lnTo>
                  <a:lnTo>
                    <a:pt x="120" y="4"/>
                  </a:lnTo>
                  <a:lnTo>
                    <a:pt x="106" y="7"/>
                  </a:lnTo>
                  <a:lnTo>
                    <a:pt x="93" y="11"/>
                  </a:lnTo>
                  <a:lnTo>
                    <a:pt x="79" y="17"/>
                  </a:lnTo>
                  <a:lnTo>
                    <a:pt x="67" y="25"/>
                  </a:lnTo>
                  <a:lnTo>
                    <a:pt x="55" y="32"/>
                  </a:lnTo>
                  <a:lnTo>
                    <a:pt x="45" y="41"/>
                  </a:lnTo>
                  <a:lnTo>
                    <a:pt x="35" y="51"/>
                  </a:lnTo>
                  <a:lnTo>
                    <a:pt x="26" y="62"/>
                  </a:lnTo>
                  <a:lnTo>
                    <a:pt x="19" y="74"/>
                  </a:lnTo>
                  <a:lnTo>
                    <a:pt x="13" y="86"/>
                  </a:lnTo>
                  <a:lnTo>
                    <a:pt x="7" y="99"/>
                  </a:lnTo>
                  <a:lnTo>
                    <a:pt x="4" y="111"/>
                  </a:lnTo>
                  <a:lnTo>
                    <a:pt x="1" y="126"/>
                  </a:lnTo>
                  <a:lnTo>
                    <a:pt x="0" y="140"/>
                  </a:lnTo>
                  <a:lnTo>
                    <a:pt x="0" y="140"/>
                  </a:lnTo>
                  <a:lnTo>
                    <a:pt x="1" y="154"/>
                  </a:lnTo>
                  <a:lnTo>
                    <a:pt x="4" y="168"/>
                  </a:lnTo>
                  <a:lnTo>
                    <a:pt x="7" y="180"/>
                  </a:lnTo>
                  <a:lnTo>
                    <a:pt x="13" y="194"/>
                  </a:lnTo>
                  <a:lnTo>
                    <a:pt x="19" y="205"/>
                  </a:lnTo>
                  <a:lnTo>
                    <a:pt x="26" y="216"/>
                  </a:lnTo>
                  <a:lnTo>
                    <a:pt x="35" y="226"/>
                  </a:lnTo>
                  <a:lnTo>
                    <a:pt x="45" y="236"/>
                  </a:lnTo>
                  <a:lnTo>
                    <a:pt x="55" y="245"/>
                  </a:lnTo>
                  <a:lnTo>
                    <a:pt x="67" y="253"/>
                  </a:lnTo>
                  <a:lnTo>
                    <a:pt x="79" y="259"/>
                  </a:lnTo>
                  <a:lnTo>
                    <a:pt x="93" y="265"/>
                  </a:lnTo>
                  <a:lnTo>
                    <a:pt x="106" y="269"/>
                  </a:lnTo>
                  <a:lnTo>
                    <a:pt x="120" y="273"/>
                  </a:lnTo>
                  <a:lnTo>
                    <a:pt x="136" y="275"/>
                  </a:lnTo>
                  <a:lnTo>
                    <a:pt x="152" y="275"/>
                  </a:lnTo>
                  <a:lnTo>
                    <a:pt x="152" y="275"/>
                  </a:lnTo>
                  <a:lnTo>
                    <a:pt x="167" y="275"/>
                  </a:lnTo>
                  <a:lnTo>
                    <a:pt x="182" y="273"/>
                  </a:lnTo>
                  <a:lnTo>
                    <a:pt x="196" y="269"/>
                  </a:lnTo>
                  <a:lnTo>
                    <a:pt x="209" y="265"/>
                  </a:lnTo>
                  <a:lnTo>
                    <a:pt x="223" y="259"/>
                  </a:lnTo>
                  <a:lnTo>
                    <a:pt x="235" y="253"/>
                  </a:lnTo>
                  <a:lnTo>
                    <a:pt x="247" y="245"/>
                  </a:lnTo>
                  <a:lnTo>
                    <a:pt x="258" y="236"/>
                  </a:lnTo>
                  <a:lnTo>
                    <a:pt x="267" y="226"/>
                  </a:lnTo>
                  <a:lnTo>
                    <a:pt x="276" y="216"/>
                  </a:lnTo>
                  <a:lnTo>
                    <a:pt x="284" y="205"/>
                  </a:lnTo>
                  <a:lnTo>
                    <a:pt x="289" y="194"/>
                  </a:lnTo>
                  <a:lnTo>
                    <a:pt x="295" y="180"/>
                  </a:lnTo>
                  <a:lnTo>
                    <a:pt x="298" y="168"/>
                  </a:lnTo>
                  <a:lnTo>
                    <a:pt x="301" y="154"/>
                  </a:lnTo>
                  <a:lnTo>
                    <a:pt x="302" y="140"/>
                  </a:lnTo>
                  <a:lnTo>
                    <a:pt x="302" y="140"/>
                  </a:lnTo>
                  <a:lnTo>
                    <a:pt x="301" y="126"/>
                  </a:lnTo>
                  <a:lnTo>
                    <a:pt x="298" y="111"/>
                  </a:lnTo>
                  <a:lnTo>
                    <a:pt x="295" y="98"/>
                  </a:lnTo>
                  <a:lnTo>
                    <a:pt x="289" y="86"/>
                  </a:lnTo>
                  <a:lnTo>
                    <a:pt x="284" y="74"/>
                  </a:lnTo>
                  <a:lnTo>
                    <a:pt x="276" y="62"/>
                  </a:lnTo>
                  <a:lnTo>
                    <a:pt x="267" y="51"/>
                  </a:lnTo>
                  <a:lnTo>
                    <a:pt x="258" y="41"/>
                  </a:lnTo>
                  <a:lnTo>
                    <a:pt x="247" y="32"/>
                  </a:lnTo>
                  <a:lnTo>
                    <a:pt x="235" y="25"/>
                  </a:lnTo>
                  <a:lnTo>
                    <a:pt x="223" y="17"/>
                  </a:lnTo>
                  <a:lnTo>
                    <a:pt x="209" y="11"/>
                  </a:lnTo>
                  <a:lnTo>
                    <a:pt x="196" y="7"/>
                  </a:lnTo>
                  <a:lnTo>
                    <a:pt x="182" y="4"/>
                  </a:lnTo>
                  <a:lnTo>
                    <a:pt x="167" y="1"/>
                  </a:lnTo>
                  <a:lnTo>
                    <a:pt x="152" y="0"/>
                  </a:lnTo>
                  <a:lnTo>
                    <a:pt x="152" y="0"/>
                  </a:ln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405" name="Freeform 93">
            <a:extLst>
              <a:ext uri="{FF2B5EF4-FFF2-40B4-BE49-F238E27FC236}">
                <a16:creationId xmlns:a16="http://schemas.microsoft.com/office/drawing/2014/main" id="{45F18090-821F-4538-AECD-C7503601019B}"/>
              </a:ext>
            </a:extLst>
          </p:cNvPr>
          <p:cNvSpPr>
            <a:spLocks/>
          </p:cNvSpPr>
          <p:nvPr/>
        </p:nvSpPr>
        <p:spPr bwMode="auto">
          <a:xfrm>
            <a:off x="5648011" y="5228805"/>
            <a:ext cx="228181" cy="284444"/>
          </a:xfrm>
          <a:custGeom>
            <a:avLst/>
            <a:gdLst>
              <a:gd name="T0" fmla="*/ 7 w 871"/>
              <a:gd name="T1" fmla="*/ 968 h 1088"/>
              <a:gd name="T2" fmla="*/ 66 w 871"/>
              <a:gd name="T3" fmla="*/ 867 h 1088"/>
              <a:gd name="T4" fmla="*/ 132 w 871"/>
              <a:gd name="T5" fmla="*/ 771 h 1088"/>
              <a:gd name="T6" fmla="*/ 220 w 871"/>
              <a:gd name="T7" fmla="*/ 664 h 1088"/>
              <a:gd name="T8" fmla="*/ 329 w 871"/>
              <a:gd name="T9" fmla="*/ 552 h 1088"/>
              <a:gd name="T10" fmla="*/ 293 w 871"/>
              <a:gd name="T11" fmla="*/ 468 h 1088"/>
              <a:gd name="T12" fmla="*/ 253 w 871"/>
              <a:gd name="T13" fmla="*/ 353 h 1088"/>
              <a:gd name="T14" fmla="*/ 229 w 871"/>
              <a:gd name="T15" fmla="*/ 255 h 1088"/>
              <a:gd name="T16" fmla="*/ 216 w 871"/>
              <a:gd name="T17" fmla="*/ 173 h 1088"/>
              <a:gd name="T18" fmla="*/ 211 w 871"/>
              <a:gd name="T19" fmla="*/ 72 h 1088"/>
              <a:gd name="T20" fmla="*/ 214 w 871"/>
              <a:gd name="T21" fmla="*/ 43 h 1088"/>
              <a:gd name="T22" fmla="*/ 231 w 871"/>
              <a:gd name="T23" fmla="*/ 14 h 1088"/>
              <a:gd name="T24" fmla="*/ 257 w 871"/>
              <a:gd name="T25" fmla="*/ 1 h 1088"/>
              <a:gd name="T26" fmla="*/ 285 w 871"/>
              <a:gd name="T27" fmla="*/ 2 h 1088"/>
              <a:gd name="T28" fmla="*/ 315 w 871"/>
              <a:gd name="T29" fmla="*/ 16 h 1088"/>
              <a:gd name="T30" fmla="*/ 332 w 871"/>
              <a:gd name="T31" fmla="*/ 33 h 1088"/>
              <a:gd name="T32" fmla="*/ 362 w 871"/>
              <a:gd name="T33" fmla="*/ 149 h 1088"/>
              <a:gd name="T34" fmla="*/ 402 w 871"/>
              <a:gd name="T35" fmla="*/ 260 h 1088"/>
              <a:gd name="T36" fmla="*/ 444 w 871"/>
              <a:gd name="T37" fmla="*/ 350 h 1088"/>
              <a:gd name="T38" fmla="*/ 499 w 871"/>
              <a:gd name="T39" fmla="*/ 333 h 1088"/>
              <a:gd name="T40" fmla="*/ 598 w 871"/>
              <a:gd name="T41" fmla="*/ 221 h 1088"/>
              <a:gd name="T42" fmla="*/ 676 w 871"/>
              <a:gd name="T43" fmla="*/ 142 h 1088"/>
              <a:gd name="T44" fmla="*/ 757 w 871"/>
              <a:gd name="T45" fmla="*/ 70 h 1088"/>
              <a:gd name="T46" fmla="*/ 778 w 871"/>
              <a:gd name="T47" fmla="*/ 55 h 1088"/>
              <a:gd name="T48" fmla="*/ 817 w 871"/>
              <a:gd name="T49" fmla="*/ 73 h 1088"/>
              <a:gd name="T50" fmla="*/ 844 w 871"/>
              <a:gd name="T51" fmla="*/ 96 h 1088"/>
              <a:gd name="T52" fmla="*/ 864 w 871"/>
              <a:gd name="T53" fmla="*/ 129 h 1088"/>
              <a:gd name="T54" fmla="*/ 871 w 871"/>
              <a:gd name="T55" fmla="*/ 154 h 1088"/>
              <a:gd name="T56" fmla="*/ 853 w 871"/>
              <a:gd name="T57" fmla="*/ 188 h 1088"/>
              <a:gd name="T58" fmla="*/ 791 w 871"/>
              <a:gd name="T59" fmla="*/ 259 h 1088"/>
              <a:gd name="T60" fmla="*/ 708 w 871"/>
              <a:gd name="T61" fmla="*/ 353 h 1088"/>
              <a:gd name="T62" fmla="*/ 637 w 871"/>
              <a:gd name="T63" fmla="*/ 449 h 1088"/>
              <a:gd name="T64" fmla="*/ 563 w 871"/>
              <a:gd name="T65" fmla="*/ 575 h 1088"/>
              <a:gd name="T66" fmla="*/ 560 w 871"/>
              <a:gd name="T67" fmla="*/ 600 h 1088"/>
              <a:gd name="T68" fmla="*/ 565 w 871"/>
              <a:gd name="T69" fmla="*/ 641 h 1088"/>
              <a:gd name="T70" fmla="*/ 585 w 871"/>
              <a:gd name="T71" fmla="*/ 710 h 1088"/>
              <a:gd name="T72" fmla="*/ 626 w 871"/>
              <a:gd name="T73" fmla="*/ 794 h 1088"/>
              <a:gd name="T74" fmla="*/ 696 w 871"/>
              <a:gd name="T75" fmla="*/ 916 h 1088"/>
              <a:gd name="T76" fmla="*/ 716 w 871"/>
              <a:gd name="T77" fmla="*/ 965 h 1088"/>
              <a:gd name="T78" fmla="*/ 699 w 871"/>
              <a:gd name="T79" fmla="*/ 998 h 1088"/>
              <a:gd name="T80" fmla="*/ 680 w 871"/>
              <a:gd name="T81" fmla="*/ 1023 h 1088"/>
              <a:gd name="T82" fmla="*/ 640 w 871"/>
              <a:gd name="T83" fmla="*/ 1049 h 1088"/>
              <a:gd name="T84" fmla="*/ 590 w 871"/>
              <a:gd name="T85" fmla="*/ 998 h 1088"/>
              <a:gd name="T86" fmla="*/ 500 w 871"/>
              <a:gd name="T87" fmla="*/ 893 h 1088"/>
              <a:gd name="T88" fmla="*/ 441 w 871"/>
              <a:gd name="T89" fmla="*/ 810 h 1088"/>
              <a:gd name="T90" fmla="*/ 403 w 871"/>
              <a:gd name="T91" fmla="*/ 750 h 1088"/>
              <a:gd name="T92" fmla="*/ 331 w 871"/>
              <a:gd name="T93" fmla="*/ 819 h 1088"/>
              <a:gd name="T94" fmla="*/ 233 w 871"/>
              <a:gd name="T95" fmla="*/ 929 h 1088"/>
              <a:gd name="T96" fmla="*/ 84 w 871"/>
              <a:gd name="T97" fmla="*/ 1088 h 1088"/>
              <a:gd name="T98" fmla="*/ 69 w 871"/>
              <a:gd name="T99" fmla="*/ 1086 h 1088"/>
              <a:gd name="T100" fmla="*/ 35 w 871"/>
              <a:gd name="T101" fmla="*/ 1073 h 1088"/>
              <a:gd name="T102" fmla="*/ 12 w 871"/>
              <a:gd name="T103" fmla="*/ 1051 h 1088"/>
              <a:gd name="T104" fmla="*/ 0 w 871"/>
              <a:gd name="T105" fmla="*/ 1013 h 1088"/>
              <a:gd name="T106" fmla="*/ 2 w 871"/>
              <a:gd name="T107" fmla="*/ 978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1" h="1088">
                <a:moveTo>
                  <a:pt x="2" y="978"/>
                </a:moveTo>
                <a:lnTo>
                  <a:pt x="2" y="978"/>
                </a:lnTo>
                <a:lnTo>
                  <a:pt x="7" y="968"/>
                </a:lnTo>
                <a:lnTo>
                  <a:pt x="23" y="938"/>
                </a:lnTo>
                <a:lnTo>
                  <a:pt x="49" y="894"/>
                </a:lnTo>
                <a:lnTo>
                  <a:pt x="66" y="867"/>
                </a:lnTo>
                <a:lnTo>
                  <a:pt x="85" y="837"/>
                </a:lnTo>
                <a:lnTo>
                  <a:pt x="107" y="806"/>
                </a:lnTo>
                <a:lnTo>
                  <a:pt x="132" y="771"/>
                </a:lnTo>
                <a:lnTo>
                  <a:pt x="159" y="737"/>
                </a:lnTo>
                <a:lnTo>
                  <a:pt x="188" y="700"/>
                </a:lnTo>
                <a:lnTo>
                  <a:pt x="220" y="664"/>
                </a:lnTo>
                <a:lnTo>
                  <a:pt x="253" y="626"/>
                </a:lnTo>
                <a:lnTo>
                  <a:pt x="290" y="589"/>
                </a:lnTo>
                <a:lnTo>
                  <a:pt x="329" y="552"/>
                </a:lnTo>
                <a:lnTo>
                  <a:pt x="329" y="552"/>
                </a:lnTo>
                <a:lnTo>
                  <a:pt x="310" y="509"/>
                </a:lnTo>
                <a:lnTo>
                  <a:pt x="293" y="468"/>
                </a:lnTo>
                <a:lnTo>
                  <a:pt x="278" y="428"/>
                </a:lnTo>
                <a:lnTo>
                  <a:pt x="264" y="390"/>
                </a:lnTo>
                <a:lnTo>
                  <a:pt x="253" y="353"/>
                </a:lnTo>
                <a:lnTo>
                  <a:pt x="243" y="319"/>
                </a:lnTo>
                <a:lnTo>
                  <a:pt x="235" y="287"/>
                </a:lnTo>
                <a:lnTo>
                  <a:pt x="229" y="255"/>
                </a:lnTo>
                <a:lnTo>
                  <a:pt x="223" y="226"/>
                </a:lnTo>
                <a:lnTo>
                  <a:pt x="220" y="199"/>
                </a:lnTo>
                <a:lnTo>
                  <a:pt x="216" y="173"/>
                </a:lnTo>
                <a:lnTo>
                  <a:pt x="214" y="150"/>
                </a:lnTo>
                <a:lnTo>
                  <a:pt x="212" y="108"/>
                </a:lnTo>
                <a:lnTo>
                  <a:pt x="211" y="72"/>
                </a:lnTo>
                <a:lnTo>
                  <a:pt x="211" y="72"/>
                </a:lnTo>
                <a:lnTo>
                  <a:pt x="212" y="56"/>
                </a:lnTo>
                <a:lnTo>
                  <a:pt x="214" y="43"/>
                </a:lnTo>
                <a:lnTo>
                  <a:pt x="219" y="32"/>
                </a:lnTo>
                <a:lnTo>
                  <a:pt x="224" y="23"/>
                </a:lnTo>
                <a:lnTo>
                  <a:pt x="231" y="14"/>
                </a:lnTo>
                <a:lnTo>
                  <a:pt x="239" y="9"/>
                </a:lnTo>
                <a:lnTo>
                  <a:pt x="247" y="4"/>
                </a:lnTo>
                <a:lnTo>
                  <a:pt x="257" y="1"/>
                </a:lnTo>
                <a:lnTo>
                  <a:pt x="265" y="0"/>
                </a:lnTo>
                <a:lnTo>
                  <a:pt x="275" y="0"/>
                </a:lnTo>
                <a:lnTo>
                  <a:pt x="285" y="2"/>
                </a:lnTo>
                <a:lnTo>
                  <a:pt x="295" y="5"/>
                </a:lnTo>
                <a:lnTo>
                  <a:pt x="305" y="10"/>
                </a:lnTo>
                <a:lnTo>
                  <a:pt x="315" y="16"/>
                </a:lnTo>
                <a:lnTo>
                  <a:pt x="324" y="24"/>
                </a:lnTo>
                <a:lnTo>
                  <a:pt x="332" y="33"/>
                </a:lnTo>
                <a:lnTo>
                  <a:pt x="332" y="33"/>
                </a:lnTo>
                <a:lnTo>
                  <a:pt x="339" y="65"/>
                </a:lnTo>
                <a:lnTo>
                  <a:pt x="349" y="102"/>
                </a:lnTo>
                <a:lnTo>
                  <a:pt x="362" y="149"/>
                </a:lnTo>
                <a:lnTo>
                  <a:pt x="379" y="202"/>
                </a:lnTo>
                <a:lnTo>
                  <a:pt x="390" y="231"/>
                </a:lnTo>
                <a:lnTo>
                  <a:pt x="402" y="260"/>
                </a:lnTo>
                <a:lnTo>
                  <a:pt x="414" y="290"/>
                </a:lnTo>
                <a:lnTo>
                  <a:pt x="429" y="320"/>
                </a:lnTo>
                <a:lnTo>
                  <a:pt x="444" y="350"/>
                </a:lnTo>
                <a:lnTo>
                  <a:pt x="461" y="379"/>
                </a:lnTo>
                <a:lnTo>
                  <a:pt x="461" y="379"/>
                </a:lnTo>
                <a:lnTo>
                  <a:pt x="499" y="333"/>
                </a:lnTo>
                <a:lnTo>
                  <a:pt x="535" y="292"/>
                </a:lnTo>
                <a:lnTo>
                  <a:pt x="567" y="254"/>
                </a:lnTo>
                <a:lnTo>
                  <a:pt x="598" y="221"/>
                </a:lnTo>
                <a:lnTo>
                  <a:pt x="626" y="191"/>
                </a:lnTo>
                <a:lnTo>
                  <a:pt x="652" y="164"/>
                </a:lnTo>
                <a:lnTo>
                  <a:pt x="676" y="142"/>
                </a:lnTo>
                <a:lnTo>
                  <a:pt x="697" y="122"/>
                </a:lnTo>
                <a:lnTo>
                  <a:pt x="731" y="91"/>
                </a:lnTo>
                <a:lnTo>
                  <a:pt x="757" y="70"/>
                </a:lnTo>
                <a:lnTo>
                  <a:pt x="773" y="59"/>
                </a:lnTo>
                <a:lnTo>
                  <a:pt x="778" y="55"/>
                </a:lnTo>
                <a:lnTo>
                  <a:pt x="778" y="55"/>
                </a:lnTo>
                <a:lnTo>
                  <a:pt x="793" y="60"/>
                </a:lnTo>
                <a:lnTo>
                  <a:pt x="805" y="65"/>
                </a:lnTo>
                <a:lnTo>
                  <a:pt x="817" y="73"/>
                </a:lnTo>
                <a:lnTo>
                  <a:pt x="827" y="80"/>
                </a:lnTo>
                <a:lnTo>
                  <a:pt x="836" y="87"/>
                </a:lnTo>
                <a:lnTo>
                  <a:pt x="844" y="96"/>
                </a:lnTo>
                <a:lnTo>
                  <a:pt x="850" y="104"/>
                </a:lnTo>
                <a:lnTo>
                  <a:pt x="855" y="113"/>
                </a:lnTo>
                <a:lnTo>
                  <a:pt x="864" y="129"/>
                </a:lnTo>
                <a:lnTo>
                  <a:pt x="868" y="142"/>
                </a:lnTo>
                <a:lnTo>
                  <a:pt x="870" y="151"/>
                </a:lnTo>
                <a:lnTo>
                  <a:pt x="871" y="154"/>
                </a:lnTo>
                <a:lnTo>
                  <a:pt x="871" y="154"/>
                </a:lnTo>
                <a:lnTo>
                  <a:pt x="863" y="171"/>
                </a:lnTo>
                <a:lnTo>
                  <a:pt x="853" y="188"/>
                </a:lnTo>
                <a:lnTo>
                  <a:pt x="840" y="204"/>
                </a:lnTo>
                <a:lnTo>
                  <a:pt x="826" y="221"/>
                </a:lnTo>
                <a:lnTo>
                  <a:pt x="791" y="259"/>
                </a:lnTo>
                <a:lnTo>
                  <a:pt x="753" y="302"/>
                </a:lnTo>
                <a:lnTo>
                  <a:pt x="730" y="327"/>
                </a:lnTo>
                <a:lnTo>
                  <a:pt x="708" y="353"/>
                </a:lnTo>
                <a:lnTo>
                  <a:pt x="685" y="382"/>
                </a:lnTo>
                <a:lnTo>
                  <a:pt x="660" y="414"/>
                </a:lnTo>
                <a:lnTo>
                  <a:pt x="637" y="449"/>
                </a:lnTo>
                <a:lnTo>
                  <a:pt x="612" y="488"/>
                </a:lnTo>
                <a:lnTo>
                  <a:pt x="588" y="529"/>
                </a:lnTo>
                <a:lnTo>
                  <a:pt x="563" y="575"/>
                </a:lnTo>
                <a:lnTo>
                  <a:pt x="563" y="575"/>
                </a:lnTo>
                <a:lnTo>
                  <a:pt x="561" y="588"/>
                </a:lnTo>
                <a:lnTo>
                  <a:pt x="560" y="600"/>
                </a:lnTo>
                <a:lnTo>
                  <a:pt x="561" y="614"/>
                </a:lnTo>
                <a:lnTo>
                  <a:pt x="562" y="628"/>
                </a:lnTo>
                <a:lnTo>
                  <a:pt x="565" y="641"/>
                </a:lnTo>
                <a:lnTo>
                  <a:pt x="567" y="655"/>
                </a:lnTo>
                <a:lnTo>
                  <a:pt x="575" y="682"/>
                </a:lnTo>
                <a:lnTo>
                  <a:pt x="585" y="710"/>
                </a:lnTo>
                <a:lnTo>
                  <a:pt x="597" y="738"/>
                </a:lnTo>
                <a:lnTo>
                  <a:pt x="611" y="766"/>
                </a:lnTo>
                <a:lnTo>
                  <a:pt x="626" y="794"/>
                </a:lnTo>
                <a:lnTo>
                  <a:pt x="656" y="846"/>
                </a:lnTo>
                <a:lnTo>
                  <a:pt x="684" y="894"/>
                </a:lnTo>
                <a:lnTo>
                  <a:pt x="696" y="916"/>
                </a:lnTo>
                <a:lnTo>
                  <a:pt x="706" y="937"/>
                </a:lnTo>
                <a:lnTo>
                  <a:pt x="712" y="956"/>
                </a:lnTo>
                <a:lnTo>
                  <a:pt x="716" y="965"/>
                </a:lnTo>
                <a:lnTo>
                  <a:pt x="717" y="973"/>
                </a:lnTo>
                <a:lnTo>
                  <a:pt x="717" y="973"/>
                </a:lnTo>
                <a:lnTo>
                  <a:pt x="699" y="998"/>
                </a:lnTo>
                <a:lnTo>
                  <a:pt x="692" y="1008"/>
                </a:lnTo>
                <a:lnTo>
                  <a:pt x="687" y="1015"/>
                </a:lnTo>
                <a:lnTo>
                  <a:pt x="680" y="1023"/>
                </a:lnTo>
                <a:lnTo>
                  <a:pt x="670" y="1029"/>
                </a:lnTo>
                <a:lnTo>
                  <a:pt x="658" y="1038"/>
                </a:lnTo>
                <a:lnTo>
                  <a:pt x="640" y="1049"/>
                </a:lnTo>
                <a:lnTo>
                  <a:pt x="640" y="1049"/>
                </a:lnTo>
                <a:lnTo>
                  <a:pt x="616" y="1026"/>
                </a:lnTo>
                <a:lnTo>
                  <a:pt x="590" y="998"/>
                </a:lnTo>
                <a:lnTo>
                  <a:pt x="557" y="962"/>
                </a:lnTo>
                <a:lnTo>
                  <a:pt x="519" y="917"/>
                </a:lnTo>
                <a:lnTo>
                  <a:pt x="500" y="893"/>
                </a:lnTo>
                <a:lnTo>
                  <a:pt x="480" y="867"/>
                </a:lnTo>
                <a:lnTo>
                  <a:pt x="460" y="839"/>
                </a:lnTo>
                <a:lnTo>
                  <a:pt x="441" y="810"/>
                </a:lnTo>
                <a:lnTo>
                  <a:pt x="421" y="780"/>
                </a:lnTo>
                <a:lnTo>
                  <a:pt x="403" y="750"/>
                </a:lnTo>
                <a:lnTo>
                  <a:pt x="403" y="750"/>
                </a:lnTo>
                <a:lnTo>
                  <a:pt x="383" y="768"/>
                </a:lnTo>
                <a:lnTo>
                  <a:pt x="364" y="785"/>
                </a:lnTo>
                <a:lnTo>
                  <a:pt x="331" y="819"/>
                </a:lnTo>
                <a:lnTo>
                  <a:pt x="300" y="853"/>
                </a:lnTo>
                <a:lnTo>
                  <a:pt x="268" y="889"/>
                </a:lnTo>
                <a:lnTo>
                  <a:pt x="233" y="929"/>
                </a:lnTo>
                <a:lnTo>
                  <a:pt x="193" y="975"/>
                </a:lnTo>
                <a:lnTo>
                  <a:pt x="144" y="1027"/>
                </a:lnTo>
                <a:lnTo>
                  <a:pt x="84" y="1088"/>
                </a:lnTo>
                <a:lnTo>
                  <a:pt x="84" y="1088"/>
                </a:lnTo>
                <a:lnTo>
                  <a:pt x="80" y="1087"/>
                </a:lnTo>
                <a:lnTo>
                  <a:pt x="69" y="1086"/>
                </a:lnTo>
                <a:lnTo>
                  <a:pt x="53" y="1081"/>
                </a:lnTo>
                <a:lnTo>
                  <a:pt x="44" y="1077"/>
                </a:lnTo>
                <a:lnTo>
                  <a:pt x="35" y="1073"/>
                </a:lnTo>
                <a:lnTo>
                  <a:pt x="26" y="1066"/>
                </a:lnTo>
                <a:lnTo>
                  <a:pt x="19" y="1059"/>
                </a:lnTo>
                <a:lnTo>
                  <a:pt x="12" y="1051"/>
                </a:lnTo>
                <a:lnTo>
                  <a:pt x="5" y="1039"/>
                </a:lnTo>
                <a:lnTo>
                  <a:pt x="2" y="1027"/>
                </a:lnTo>
                <a:lnTo>
                  <a:pt x="0" y="1013"/>
                </a:lnTo>
                <a:lnTo>
                  <a:pt x="0" y="997"/>
                </a:lnTo>
                <a:lnTo>
                  <a:pt x="2" y="978"/>
                </a:lnTo>
                <a:lnTo>
                  <a:pt x="2" y="978"/>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406" name="Freeform 99">
            <a:extLst>
              <a:ext uri="{FF2B5EF4-FFF2-40B4-BE49-F238E27FC236}">
                <a16:creationId xmlns:a16="http://schemas.microsoft.com/office/drawing/2014/main" id="{B73A8D1A-1F4C-4415-A150-AF6C0A913F4D}"/>
              </a:ext>
            </a:extLst>
          </p:cNvPr>
          <p:cNvSpPr>
            <a:spLocks/>
          </p:cNvSpPr>
          <p:nvPr/>
        </p:nvSpPr>
        <p:spPr bwMode="auto">
          <a:xfrm>
            <a:off x="6302974" y="5249903"/>
            <a:ext cx="229744" cy="242247"/>
          </a:xfrm>
          <a:custGeom>
            <a:avLst/>
            <a:gdLst>
              <a:gd name="T0" fmla="*/ 0 w 881"/>
              <a:gd name="T1" fmla="*/ 638 h 930"/>
              <a:gd name="T2" fmla="*/ 36 w 881"/>
              <a:gd name="T3" fmla="*/ 677 h 930"/>
              <a:gd name="T4" fmla="*/ 65 w 881"/>
              <a:gd name="T5" fmla="*/ 719 h 930"/>
              <a:gd name="T6" fmla="*/ 90 w 881"/>
              <a:gd name="T7" fmla="*/ 762 h 930"/>
              <a:gd name="T8" fmla="*/ 134 w 881"/>
              <a:gd name="T9" fmla="*/ 843 h 930"/>
              <a:gd name="T10" fmla="*/ 163 w 881"/>
              <a:gd name="T11" fmla="*/ 893 h 930"/>
              <a:gd name="T12" fmla="*/ 182 w 881"/>
              <a:gd name="T13" fmla="*/ 920 h 930"/>
              <a:gd name="T14" fmla="*/ 192 w 881"/>
              <a:gd name="T15" fmla="*/ 930 h 930"/>
              <a:gd name="T16" fmla="*/ 327 w 881"/>
              <a:gd name="T17" fmla="*/ 924 h 930"/>
              <a:gd name="T18" fmla="*/ 359 w 881"/>
              <a:gd name="T19" fmla="*/ 829 h 930"/>
              <a:gd name="T20" fmla="*/ 393 w 881"/>
              <a:gd name="T21" fmla="*/ 739 h 930"/>
              <a:gd name="T22" fmla="*/ 433 w 881"/>
              <a:gd name="T23" fmla="*/ 653 h 930"/>
              <a:gd name="T24" fmla="*/ 475 w 881"/>
              <a:gd name="T25" fmla="*/ 570 h 930"/>
              <a:gd name="T26" fmla="*/ 521 w 881"/>
              <a:gd name="T27" fmla="*/ 492 h 930"/>
              <a:gd name="T28" fmla="*/ 566 w 881"/>
              <a:gd name="T29" fmla="*/ 419 h 930"/>
              <a:gd name="T30" fmla="*/ 613 w 881"/>
              <a:gd name="T31" fmla="*/ 351 h 930"/>
              <a:gd name="T32" fmla="*/ 703 w 881"/>
              <a:gd name="T33" fmla="*/ 234 h 930"/>
              <a:gd name="T34" fmla="*/ 782 w 881"/>
              <a:gd name="T35" fmla="*/ 142 h 930"/>
              <a:gd name="T36" fmla="*/ 842 w 881"/>
              <a:gd name="T37" fmla="*/ 78 h 930"/>
              <a:gd name="T38" fmla="*/ 881 w 881"/>
              <a:gd name="T39" fmla="*/ 40 h 930"/>
              <a:gd name="T40" fmla="*/ 866 w 881"/>
              <a:gd name="T41" fmla="*/ 29 h 930"/>
              <a:gd name="T42" fmla="*/ 837 w 881"/>
              <a:gd name="T43" fmla="*/ 13 h 930"/>
              <a:gd name="T44" fmla="*/ 811 w 881"/>
              <a:gd name="T45" fmla="*/ 4 h 930"/>
              <a:gd name="T46" fmla="*/ 789 w 881"/>
              <a:gd name="T47" fmla="*/ 0 h 930"/>
              <a:gd name="T48" fmla="*/ 770 w 881"/>
              <a:gd name="T49" fmla="*/ 1 h 930"/>
              <a:gd name="T50" fmla="*/ 750 w 881"/>
              <a:gd name="T51" fmla="*/ 5 h 930"/>
              <a:gd name="T52" fmla="*/ 740 w 881"/>
              <a:gd name="T53" fmla="*/ 10 h 930"/>
              <a:gd name="T54" fmla="*/ 728 w 881"/>
              <a:gd name="T55" fmla="*/ 23 h 930"/>
              <a:gd name="T56" fmla="*/ 670 w 881"/>
              <a:gd name="T57" fmla="*/ 91 h 930"/>
              <a:gd name="T58" fmla="*/ 610 w 881"/>
              <a:gd name="T59" fmla="*/ 164 h 930"/>
              <a:gd name="T60" fmla="*/ 539 w 881"/>
              <a:gd name="T61" fmla="*/ 260 h 930"/>
              <a:gd name="T62" fmla="*/ 459 w 881"/>
              <a:gd name="T63" fmla="*/ 376 h 930"/>
              <a:gd name="T64" fmla="*/ 376 w 881"/>
              <a:gd name="T65" fmla="*/ 509 h 930"/>
              <a:gd name="T66" fmla="*/ 293 w 881"/>
              <a:gd name="T67" fmla="*/ 658 h 930"/>
              <a:gd name="T68" fmla="*/ 252 w 881"/>
              <a:gd name="T69" fmla="*/ 738 h 930"/>
              <a:gd name="T70" fmla="*/ 248 w 881"/>
              <a:gd name="T71" fmla="*/ 728 h 930"/>
              <a:gd name="T72" fmla="*/ 233 w 881"/>
              <a:gd name="T73" fmla="*/ 698 h 930"/>
              <a:gd name="T74" fmla="*/ 206 w 881"/>
              <a:gd name="T75" fmla="*/ 665 h 930"/>
              <a:gd name="T76" fmla="*/ 176 w 881"/>
              <a:gd name="T77" fmla="*/ 638 h 930"/>
              <a:gd name="T78" fmla="*/ 144 w 881"/>
              <a:gd name="T79" fmla="*/ 617 h 930"/>
              <a:gd name="T80" fmla="*/ 114 w 881"/>
              <a:gd name="T81" fmla="*/ 601 h 930"/>
              <a:gd name="T82" fmla="*/ 73 w 881"/>
              <a:gd name="T83" fmla="*/ 585 h 930"/>
              <a:gd name="T84" fmla="*/ 66 w 881"/>
              <a:gd name="T85" fmla="*/ 583 h 930"/>
              <a:gd name="T86" fmla="*/ 44 w 881"/>
              <a:gd name="T87" fmla="*/ 588 h 930"/>
              <a:gd name="T88" fmla="*/ 25 w 881"/>
              <a:gd name="T89" fmla="*/ 597 h 930"/>
              <a:gd name="T90" fmla="*/ 14 w 881"/>
              <a:gd name="T91" fmla="*/ 605 h 930"/>
              <a:gd name="T92" fmla="*/ 5 w 881"/>
              <a:gd name="T93" fmla="*/ 616 h 930"/>
              <a:gd name="T94" fmla="*/ 0 w 881"/>
              <a:gd name="T95" fmla="*/ 629 h 930"/>
              <a:gd name="T96" fmla="*/ 0 w 881"/>
              <a:gd name="T97" fmla="*/ 63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1" h="930">
                <a:moveTo>
                  <a:pt x="0" y="638"/>
                </a:moveTo>
                <a:lnTo>
                  <a:pt x="0" y="638"/>
                </a:lnTo>
                <a:lnTo>
                  <a:pt x="19" y="657"/>
                </a:lnTo>
                <a:lnTo>
                  <a:pt x="36" y="677"/>
                </a:lnTo>
                <a:lnTo>
                  <a:pt x="50" y="698"/>
                </a:lnTo>
                <a:lnTo>
                  <a:pt x="65" y="719"/>
                </a:lnTo>
                <a:lnTo>
                  <a:pt x="78" y="740"/>
                </a:lnTo>
                <a:lnTo>
                  <a:pt x="90" y="762"/>
                </a:lnTo>
                <a:lnTo>
                  <a:pt x="113" y="804"/>
                </a:lnTo>
                <a:lnTo>
                  <a:pt x="134" y="843"/>
                </a:lnTo>
                <a:lnTo>
                  <a:pt x="153" y="878"/>
                </a:lnTo>
                <a:lnTo>
                  <a:pt x="163" y="893"/>
                </a:lnTo>
                <a:lnTo>
                  <a:pt x="172" y="907"/>
                </a:lnTo>
                <a:lnTo>
                  <a:pt x="182" y="920"/>
                </a:lnTo>
                <a:lnTo>
                  <a:pt x="192" y="930"/>
                </a:lnTo>
                <a:lnTo>
                  <a:pt x="192" y="930"/>
                </a:lnTo>
                <a:lnTo>
                  <a:pt x="327" y="924"/>
                </a:lnTo>
                <a:lnTo>
                  <a:pt x="327" y="924"/>
                </a:lnTo>
                <a:lnTo>
                  <a:pt x="342" y="877"/>
                </a:lnTo>
                <a:lnTo>
                  <a:pt x="359" y="829"/>
                </a:lnTo>
                <a:lnTo>
                  <a:pt x="375" y="784"/>
                </a:lnTo>
                <a:lnTo>
                  <a:pt x="393" y="739"/>
                </a:lnTo>
                <a:lnTo>
                  <a:pt x="413" y="695"/>
                </a:lnTo>
                <a:lnTo>
                  <a:pt x="433" y="653"/>
                </a:lnTo>
                <a:lnTo>
                  <a:pt x="454" y="610"/>
                </a:lnTo>
                <a:lnTo>
                  <a:pt x="475" y="570"/>
                </a:lnTo>
                <a:lnTo>
                  <a:pt x="498" y="530"/>
                </a:lnTo>
                <a:lnTo>
                  <a:pt x="521" y="492"/>
                </a:lnTo>
                <a:lnTo>
                  <a:pt x="544" y="455"/>
                </a:lnTo>
                <a:lnTo>
                  <a:pt x="566" y="419"/>
                </a:lnTo>
                <a:lnTo>
                  <a:pt x="590" y="385"/>
                </a:lnTo>
                <a:lnTo>
                  <a:pt x="613" y="351"/>
                </a:lnTo>
                <a:lnTo>
                  <a:pt x="659" y="290"/>
                </a:lnTo>
                <a:lnTo>
                  <a:pt x="703" y="234"/>
                </a:lnTo>
                <a:lnTo>
                  <a:pt x="744" y="184"/>
                </a:lnTo>
                <a:lnTo>
                  <a:pt x="782" y="142"/>
                </a:lnTo>
                <a:lnTo>
                  <a:pt x="816" y="105"/>
                </a:lnTo>
                <a:lnTo>
                  <a:pt x="842" y="78"/>
                </a:lnTo>
                <a:lnTo>
                  <a:pt x="863" y="57"/>
                </a:lnTo>
                <a:lnTo>
                  <a:pt x="881" y="40"/>
                </a:lnTo>
                <a:lnTo>
                  <a:pt x="881" y="40"/>
                </a:lnTo>
                <a:lnTo>
                  <a:pt x="866" y="29"/>
                </a:lnTo>
                <a:lnTo>
                  <a:pt x="851" y="20"/>
                </a:lnTo>
                <a:lnTo>
                  <a:pt x="837" y="13"/>
                </a:lnTo>
                <a:lnTo>
                  <a:pt x="823" y="8"/>
                </a:lnTo>
                <a:lnTo>
                  <a:pt x="811" y="4"/>
                </a:lnTo>
                <a:lnTo>
                  <a:pt x="799" y="2"/>
                </a:lnTo>
                <a:lnTo>
                  <a:pt x="789" y="0"/>
                </a:lnTo>
                <a:lnTo>
                  <a:pt x="779" y="0"/>
                </a:lnTo>
                <a:lnTo>
                  <a:pt x="770" y="1"/>
                </a:lnTo>
                <a:lnTo>
                  <a:pt x="762" y="2"/>
                </a:lnTo>
                <a:lnTo>
                  <a:pt x="750" y="5"/>
                </a:lnTo>
                <a:lnTo>
                  <a:pt x="743" y="9"/>
                </a:lnTo>
                <a:lnTo>
                  <a:pt x="740" y="10"/>
                </a:lnTo>
                <a:lnTo>
                  <a:pt x="740" y="10"/>
                </a:lnTo>
                <a:lnTo>
                  <a:pt x="728" y="23"/>
                </a:lnTo>
                <a:lnTo>
                  <a:pt x="693" y="62"/>
                </a:lnTo>
                <a:lnTo>
                  <a:pt x="670" y="91"/>
                </a:lnTo>
                <a:lnTo>
                  <a:pt x="642" y="124"/>
                </a:lnTo>
                <a:lnTo>
                  <a:pt x="610" y="164"/>
                </a:lnTo>
                <a:lnTo>
                  <a:pt x="575" y="210"/>
                </a:lnTo>
                <a:lnTo>
                  <a:pt x="539" y="260"/>
                </a:lnTo>
                <a:lnTo>
                  <a:pt x="500" y="316"/>
                </a:lnTo>
                <a:lnTo>
                  <a:pt x="459" y="376"/>
                </a:lnTo>
                <a:lnTo>
                  <a:pt x="417" y="440"/>
                </a:lnTo>
                <a:lnTo>
                  <a:pt x="376" y="509"/>
                </a:lnTo>
                <a:lnTo>
                  <a:pt x="334" y="581"/>
                </a:lnTo>
                <a:lnTo>
                  <a:pt x="293" y="658"/>
                </a:lnTo>
                <a:lnTo>
                  <a:pt x="272" y="698"/>
                </a:lnTo>
                <a:lnTo>
                  <a:pt x="252" y="738"/>
                </a:lnTo>
                <a:lnTo>
                  <a:pt x="252" y="738"/>
                </a:lnTo>
                <a:lnTo>
                  <a:pt x="248" y="728"/>
                </a:lnTo>
                <a:lnTo>
                  <a:pt x="244" y="717"/>
                </a:lnTo>
                <a:lnTo>
                  <a:pt x="233" y="698"/>
                </a:lnTo>
                <a:lnTo>
                  <a:pt x="221" y="682"/>
                </a:lnTo>
                <a:lnTo>
                  <a:pt x="206" y="665"/>
                </a:lnTo>
                <a:lnTo>
                  <a:pt x="192" y="651"/>
                </a:lnTo>
                <a:lnTo>
                  <a:pt x="176" y="638"/>
                </a:lnTo>
                <a:lnTo>
                  <a:pt x="159" y="627"/>
                </a:lnTo>
                <a:lnTo>
                  <a:pt x="144" y="617"/>
                </a:lnTo>
                <a:lnTo>
                  <a:pt x="128" y="608"/>
                </a:lnTo>
                <a:lnTo>
                  <a:pt x="114" y="601"/>
                </a:lnTo>
                <a:lnTo>
                  <a:pt x="89" y="590"/>
                </a:lnTo>
                <a:lnTo>
                  <a:pt x="73" y="585"/>
                </a:lnTo>
                <a:lnTo>
                  <a:pt x="66" y="583"/>
                </a:lnTo>
                <a:lnTo>
                  <a:pt x="66" y="583"/>
                </a:lnTo>
                <a:lnTo>
                  <a:pt x="55" y="585"/>
                </a:lnTo>
                <a:lnTo>
                  <a:pt x="44" y="588"/>
                </a:lnTo>
                <a:lnTo>
                  <a:pt x="32" y="594"/>
                </a:lnTo>
                <a:lnTo>
                  <a:pt x="25" y="597"/>
                </a:lnTo>
                <a:lnTo>
                  <a:pt x="19" y="600"/>
                </a:lnTo>
                <a:lnTo>
                  <a:pt x="14" y="605"/>
                </a:lnTo>
                <a:lnTo>
                  <a:pt x="9" y="610"/>
                </a:lnTo>
                <a:lnTo>
                  <a:pt x="5" y="616"/>
                </a:lnTo>
                <a:lnTo>
                  <a:pt x="2" y="623"/>
                </a:lnTo>
                <a:lnTo>
                  <a:pt x="0" y="629"/>
                </a:lnTo>
                <a:lnTo>
                  <a:pt x="0" y="638"/>
                </a:lnTo>
                <a:lnTo>
                  <a:pt x="0" y="638"/>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nvGrpSpPr>
          <p:cNvPr id="407" name="Gruppieren 406">
            <a:extLst>
              <a:ext uri="{FF2B5EF4-FFF2-40B4-BE49-F238E27FC236}">
                <a16:creationId xmlns:a16="http://schemas.microsoft.com/office/drawing/2014/main" id="{93E10D3E-D427-437A-AAA9-F9C2B3A00F0E}"/>
              </a:ext>
            </a:extLst>
          </p:cNvPr>
          <p:cNvGrpSpPr/>
          <p:nvPr/>
        </p:nvGrpSpPr>
        <p:grpSpPr>
          <a:xfrm>
            <a:off x="7021232" y="5221771"/>
            <a:ext cx="104714" cy="298511"/>
            <a:chOff x="7063547" y="3895624"/>
            <a:chExt cx="104714" cy="298511"/>
          </a:xfrm>
          <a:solidFill>
            <a:schemeClr val="bg1"/>
          </a:solidFill>
        </p:grpSpPr>
        <p:sp>
          <p:nvSpPr>
            <p:cNvPr id="408" name="Freeform 104">
              <a:extLst>
                <a:ext uri="{FF2B5EF4-FFF2-40B4-BE49-F238E27FC236}">
                  <a16:creationId xmlns:a16="http://schemas.microsoft.com/office/drawing/2014/main" id="{BDE99DA1-5325-4E0C-9807-3744AC69AB33}"/>
                </a:ext>
              </a:extLst>
            </p:cNvPr>
            <p:cNvSpPr>
              <a:spLocks/>
            </p:cNvSpPr>
            <p:nvPr/>
          </p:nvSpPr>
          <p:spPr bwMode="auto">
            <a:xfrm>
              <a:off x="7082301" y="3895624"/>
              <a:ext cx="65641" cy="65641"/>
            </a:xfrm>
            <a:custGeom>
              <a:avLst/>
              <a:gdLst>
                <a:gd name="T0" fmla="*/ 126 w 255"/>
                <a:gd name="T1" fmla="*/ 255 h 255"/>
                <a:gd name="T2" fmla="*/ 152 w 255"/>
                <a:gd name="T3" fmla="*/ 253 h 255"/>
                <a:gd name="T4" fmla="*/ 176 w 255"/>
                <a:gd name="T5" fmla="*/ 245 h 255"/>
                <a:gd name="T6" fmla="*/ 198 w 255"/>
                <a:gd name="T7" fmla="*/ 234 h 255"/>
                <a:gd name="T8" fmla="*/ 218 w 255"/>
                <a:gd name="T9" fmla="*/ 217 h 255"/>
                <a:gd name="T10" fmla="*/ 227 w 255"/>
                <a:gd name="T11" fmla="*/ 209 h 255"/>
                <a:gd name="T12" fmla="*/ 241 w 255"/>
                <a:gd name="T13" fmla="*/ 187 h 255"/>
                <a:gd name="T14" fmla="*/ 250 w 255"/>
                <a:gd name="T15" fmla="*/ 165 h 255"/>
                <a:gd name="T16" fmla="*/ 254 w 255"/>
                <a:gd name="T17" fmla="*/ 141 h 255"/>
                <a:gd name="T18" fmla="*/ 255 w 255"/>
                <a:gd name="T19" fmla="*/ 127 h 255"/>
                <a:gd name="T20" fmla="*/ 253 w 255"/>
                <a:gd name="T21" fmla="*/ 102 h 255"/>
                <a:gd name="T22" fmla="*/ 245 w 255"/>
                <a:gd name="T23" fmla="*/ 78 h 255"/>
                <a:gd name="T24" fmla="*/ 234 w 255"/>
                <a:gd name="T25" fmla="*/ 57 h 255"/>
                <a:gd name="T26" fmla="*/ 218 w 255"/>
                <a:gd name="T27" fmla="*/ 37 h 255"/>
                <a:gd name="T28" fmla="*/ 209 w 255"/>
                <a:gd name="T29" fmla="*/ 28 h 255"/>
                <a:gd name="T30" fmla="*/ 188 w 255"/>
                <a:gd name="T31" fmla="*/ 14 h 255"/>
                <a:gd name="T32" fmla="*/ 165 w 255"/>
                <a:gd name="T33" fmla="*/ 5 h 255"/>
                <a:gd name="T34" fmla="*/ 140 w 255"/>
                <a:gd name="T35" fmla="*/ 1 h 255"/>
                <a:gd name="T36" fmla="*/ 126 w 255"/>
                <a:gd name="T37" fmla="*/ 0 h 255"/>
                <a:gd name="T38" fmla="*/ 102 w 255"/>
                <a:gd name="T39" fmla="*/ 2 h 255"/>
                <a:gd name="T40" fmla="*/ 78 w 255"/>
                <a:gd name="T41" fmla="*/ 8 h 255"/>
                <a:gd name="T42" fmla="*/ 56 w 255"/>
                <a:gd name="T43" fmla="*/ 21 h 255"/>
                <a:gd name="T44" fmla="*/ 36 w 255"/>
                <a:gd name="T45" fmla="*/ 37 h 255"/>
                <a:gd name="T46" fmla="*/ 29 w 255"/>
                <a:gd name="T47" fmla="*/ 47 h 255"/>
                <a:gd name="T48" fmla="*/ 14 w 255"/>
                <a:gd name="T49" fmla="*/ 67 h 255"/>
                <a:gd name="T50" fmla="*/ 5 w 255"/>
                <a:gd name="T51" fmla="*/ 91 h 255"/>
                <a:gd name="T52" fmla="*/ 0 w 255"/>
                <a:gd name="T53" fmla="*/ 115 h 255"/>
                <a:gd name="T54" fmla="*/ 0 w 255"/>
                <a:gd name="T55" fmla="*/ 127 h 255"/>
                <a:gd name="T56" fmla="*/ 2 w 255"/>
                <a:gd name="T57" fmla="*/ 153 h 255"/>
                <a:gd name="T58" fmla="*/ 9 w 255"/>
                <a:gd name="T59" fmla="*/ 176 h 255"/>
                <a:gd name="T60" fmla="*/ 21 w 255"/>
                <a:gd name="T61" fmla="*/ 199 h 255"/>
                <a:gd name="T62" fmla="*/ 36 w 255"/>
                <a:gd name="T63" fmla="*/ 217 h 255"/>
                <a:gd name="T64" fmla="*/ 46 w 255"/>
                <a:gd name="T65" fmla="*/ 226 h 255"/>
                <a:gd name="T66" fmla="*/ 66 w 255"/>
                <a:gd name="T67" fmla="*/ 241 h 255"/>
                <a:gd name="T68" fmla="*/ 90 w 255"/>
                <a:gd name="T69" fmla="*/ 250 h 255"/>
                <a:gd name="T70" fmla="*/ 114 w 255"/>
                <a:gd name="T71" fmla="*/ 254 h 255"/>
                <a:gd name="T72" fmla="*/ 126 w 255"/>
                <a:gd name="T7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5" h="255">
                  <a:moveTo>
                    <a:pt x="126" y="255"/>
                  </a:moveTo>
                  <a:lnTo>
                    <a:pt x="126" y="255"/>
                  </a:lnTo>
                  <a:lnTo>
                    <a:pt x="140" y="254"/>
                  </a:lnTo>
                  <a:lnTo>
                    <a:pt x="152" y="253"/>
                  </a:lnTo>
                  <a:lnTo>
                    <a:pt x="164" y="250"/>
                  </a:lnTo>
                  <a:lnTo>
                    <a:pt x="176" y="245"/>
                  </a:lnTo>
                  <a:lnTo>
                    <a:pt x="188" y="241"/>
                  </a:lnTo>
                  <a:lnTo>
                    <a:pt x="198" y="234"/>
                  </a:lnTo>
                  <a:lnTo>
                    <a:pt x="208" y="226"/>
                  </a:lnTo>
                  <a:lnTo>
                    <a:pt x="218" y="217"/>
                  </a:lnTo>
                  <a:lnTo>
                    <a:pt x="218" y="217"/>
                  </a:lnTo>
                  <a:lnTo>
                    <a:pt x="227" y="209"/>
                  </a:lnTo>
                  <a:lnTo>
                    <a:pt x="234" y="199"/>
                  </a:lnTo>
                  <a:lnTo>
                    <a:pt x="241" y="187"/>
                  </a:lnTo>
                  <a:lnTo>
                    <a:pt x="245" y="176"/>
                  </a:lnTo>
                  <a:lnTo>
                    <a:pt x="250" y="165"/>
                  </a:lnTo>
                  <a:lnTo>
                    <a:pt x="253" y="153"/>
                  </a:lnTo>
                  <a:lnTo>
                    <a:pt x="254" y="141"/>
                  </a:lnTo>
                  <a:lnTo>
                    <a:pt x="255" y="127"/>
                  </a:lnTo>
                  <a:lnTo>
                    <a:pt x="255" y="127"/>
                  </a:lnTo>
                  <a:lnTo>
                    <a:pt x="254" y="115"/>
                  </a:lnTo>
                  <a:lnTo>
                    <a:pt x="253" y="102"/>
                  </a:lnTo>
                  <a:lnTo>
                    <a:pt x="250" y="91"/>
                  </a:lnTo>
                  <a:lnTo>
                    <a:pt x="245" y="78"/>
                  </a:lnTo>
                  <a:lnTo>
                    <a:pt x="241" y="67"/>
                  </a:lnTo>
                  <a:lnTo>
                    <a:pt x="234" y="57"/>
                  </a:lnTo>
                  <a:lnTo>
                    <a:pt x="227" y="47"/>
                  </a:lnTo>
                  <a:lnTo>
                    <a:pt x="218" y="37"/>
                  </a:lnTo>
                  <a:lnTo>
                    <a:pt x="218" y="37"/>
                  </a:lnTo>
                  <a:lnTo>
                    <a:pt x="209" y="28"/>
                  </a:lnTo>
                  <a:lnTo>
                    <a:pt x="199" y="21"/>
                  </a:lnTo>
                  <a:lnTo>
                    <a:pt x="188" y="14"/>
                  </a:lnTo>
                  <a:lnTo>
                    <a:pt x="176" y="8"/>
                  </a:lnTo>
                  <a:lnTo>
                    <a:pt x="165" y="5"/>
                  </a:lnTo>
                  <a:lnTo>
                    <a:pt x="153" y="2"/>
                  </a:lnTo>
                  <a:lnTo>
                    <a:pt x="140" y="1"/>
                  </a:lnTo>
                  <a:lnTo>
                    <a:pt x="126" y="0"/>
                  </a:lnTo>
                  <a:lnTo>
                    <a:pt x="126" y="0"/>
                  </a:lnTo>
                  <a:lnTo>
                    <a:pt x="114" y="1"/>
                  </a:lnTo>
                  <a:lnTo>
                    <a:pt x="102" y="2"/>
                  </a:lnTo>
                  <a:lnTo>
                    <a:pt x="90" y="5"/>
                  </a:lnTo>
                  <a:lnTo>
                    <a:pt x="78" y="8"/>
                  </a:lnTo>
                  <a:lnTo>
                    <a:pt x="66" y="14"/>
                  </a:lnTo>
                  <a:lnTo>
                    <a:pt x="56" y="21"/>
                  </a:lnTo>
                  <a:lnTo>
                    <a:pt x="46" y="28"/>
                  </a:lnTo>
                  <a:lnTo>
                    <a:pt x="36" y="37"/>
                  </a:lnTo>
                  <a:lnTo>
                    <a:pt x="36" y="37"/>
                  </a:lnTo>
                  <a:lnTo>
                    <a:pt x="29" y="47"/>
                  </a:lnTo>
                  <a:lnTo>
                    <a:pt x="21" y="57"/>
                  </a:lnTo>
                  <a:lnTo>
                    <a:pt x="14" y="67"/>
                  </a:lnTo>
                  <a:lnTo>
                    <a:pt x="9" y="78"/>
                  </a:lnTo>
                  <a:lnTo>
                    <a:pt x="5" y="91"/>
                  </a:lnTo>
                  <a:lnTo>
                    <a:pt x="2" y="102"/>
                  </a:lnTo>
                  <a:lnTo>
                    <a:pt x="0" y="115"/>
                  </a:lnTo>
                  <a:lnTo>
                    <a:pt x="0" y="127"/>
                  </a:lnTo>
                  <a:lnTo>
                    <a:pt x="0" y="127"/>
                  </a:lnTo>
                  <a:lnTo>
                    <a:pt x="0" y="141"/>
                  </a:lnTo>
                  <a:lnTo>
                    <a:pt x="2" y="153"/>
                  </a:lnTo>
                  <a:lnTo>
                    <a:pt x="5" y="165"/>
                  </a:lnTo>
                  <a:lnTo>
                    <a:pt x="9" y="176"/>
                  </a:lnTo>
                  <a:lnTo>
                    <a:pt x="14" y="187"/>
                  </a:lnTo>
                  <a:lnTo>
                    <a:pt x="21" y="199"/>
                  </a:lnTo>
                  <a:lnTo>
                    <a:pt x="29" y="209"/>
                  </a:lnTo>
                  <a:lnTo>
                    <a:pt x="36" y="217"/>
                  </a:lnTo>
                  <a:lnTo>
                    <a:pt x="36" y="217"/>
                  </a:lnTo>
                  <a:lnTo>
                    <a:pt x="46" y="226"/>
                  </a:lnTo>
                  <a:lnTo>
                    <a:pt x="56" y="234"/>
                  </a:lnTo>
                  <a:lnTo>
                    <a:pt x="66" y="241"/>
                  </a:lnTo>
                  <a:lnTo>
                    <a:pt x="78" y="245"/>
                  </a:lnTo>
                  <a:lnTo>
                    <a:pt x="90" y="250"/>
                  </a:lnTo>
                  <a:lnTo>
                    <a:pt x="102" y="253"/>
                  </a:lnTo>
                  <a:lnTo>
                    <a:pt x="114" y="254"/>
                  </a:lnTo>
                  <a:lnTo>
                    <a:pt x="126" y="255"/>
                  </a:lnTo>
                  <a:lnTo>
                    <a:pt x="126" y="255"/>
                  </a:ln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409" name="Freeform 105">
              <a:extLst>
                <a:ext uri="{FF2B5EF4-FFF2-40B4-BE49-F238E27FC236}">
                  <a16:creationId xmlns:a16="http://schemas.microsoft.com/office/drawing/2014/main" id="{F060B7C5-1A76-44E6-BCB3-3022BD48995F}"/>
                </a:ext>
              </a:extLst>
            </p:cNvPr>
            <p:cNvSpPr>
              <a:spLocks/>
            </p:cNvSpPr>
            <p:nvPr/>
          </p:nvSpPr>
          <p:spPr bwMode="auto">
            <a:xfrm>
              <a:off x="7063547" y="4000338"/>
              <a:ext cx="104714" cy="193797"/>
            </a:xfrm>
            <a:custGeom>
              <a:avLst/>
              <a:gdLst>
                <a:gd name="T0" fmla="*/ 331 w 403"/>
                <a:gd name="T1" fmla="*/ 692 h 745"/>
                <a:gd name="T2" fmla="*/ 331 w 403"/>
                <a:gd name="T3" fmla="*/ 692 h 745"/>
                <a:gd name="T4" fmla="*/ 326 w 403"/>
                <a:gd name="T5" fmla="*/ 685 h 745"/>
                <a:gd name="T6" fmla="*/ 323 w 403"/>
                <a:gd name="T7" fmla="*/ 677 h 745"/>
                <a:gd name="T8" fmla="*/ 319 w 403"/>
                <a:gd name="T9" fmla="*/ 667 h 745"/>
                <a:gd name="T10" fmla="*/ 317 w 403"/>
                <a:gd name="T11" fmla="*/ 655 h 745"/>
                <a:gd name="T12" fmla="*/ 315 w 403"/>
                <a:gd name="T13" fmla="*/ 642 h 745"/>
                <a:gd name="T14" fmla="*/ 314 w 403"/>
                <a:gd name="T15" fmla="*/ 626 h 745"/>
                <a:gd name="T16" fmla="*/ 313 w 403"/>
                <a:gd name="T17" fmla="*/ 591 h 745"/>
                <a:gd name="T18" fmla="*/ 313 w 403"/>
                <a:gd name="T19" fmla="*/ 0 h 745"/>
                <a:gd name="T20" fmla="*/ 0 w 403"/>
                <a:gd name="T21" fmla="*/ 0 h 745"/>
                <a:gd name="T22" fmla="*/ 0 w 403"/>
                <a:gd name="T23" fmla="*/ 29 h 745"/>
                <a:gd name="T24" fmla="*/ 0 w 403"/>
                <a:gd name="T25" fmla="*/ 29 h 745"/>
                <a:gd name="T26" fmla="*/ 13 w 403"/>
                <a:gd name="T27" fmla="*/ 30 h 745"/>
                <a:gd name="T28" fmla="*/ 25 w 403"/>
                <a:gd name="T29" fmla="*/ 32 h 745"/>
                <a:gd name="T30" fmla="*/ 35 w 403"/>
                <a:gd name="T31" fmla="*/ 35 h 745"/>
                <a:gd name="T32" fmla="*/ 44 w 403"/>
                <a:gd name="T33" fmla="*/ 38 h 745"/>
                <a:gd name="T34" fmla="*/ 53 w 403"/>
                <a:gd name="T35" fmla="*/ 41 h 745"/>
                <a:gd name="T36" fmla="*/ 59 w 403"/>
                <a:gd name="T37" fmla="*/ 45 h 745"/>
                <a:gd name="T38" fmla="*/ 66 w 403"/>
                <a:gd name="T39" fmla="*/ 49 h 745"/>
                <a:gd name="T40" fmla="*/ 71 w 403"/>
                <a:gd name="T41" fmla="*/ 55 h 745"/>
                <a:gd name="T42" fmla="*/ 71 w 403"/>
                <a:gd name="T43" fmla="*/ 55 h 745"/>
                <a:gd name="T44" fmla="*/ 75 w 403"/>
                <a:gd name="T45" fmla="*/ 61 h 745"/>
                <a:gd name="T46" fmla="*/ 79 w 403"/>
                <a:gd name="T47" fmla="*/ 69 h 745"/>
                <a:gd name="T48" fmla="*/ 83 w 403"/>
                <a:gd name="T49" fmla="*/ 79 h 745"/>
                <a:gd name="T50" fmla="*/ 85 w 403"/>
                <a:gd name="T51" fmla="*/ 91 h 745"/>
                <a:gd name="T52" fmla="*/ 87 w 403"/>
                <a:gd name="T53" fmla="*/ 105 h 745"/>
                <a:gd name="T54" fmla="*/ 88 w 403"/>
                <a:gd name="T55" fmla="*/ 119 h 745"/>
                <a:gd name="T56" fmla="*/ 89 w 403"/>
                <a:gd name="T57" fmla="*/ 156 h 745"/>
                <a:gd name="T58" fmla="*/ 89 w 403"/>
                <a:gd name="T59" fmla="*/ 591 h 745"/>
                <a:gd name="T60" fmla="*/ 89 w 403"/>
                <a:gd name="T61" fmla="*/ 591 h 745"/>
                <a:gd name="T62" fmla="*/ 88 w 403"/>
                <a:gd name="T63" fmla="*/ 626 h 745"/>
                <a:gd name="T64" fmla="*/ 87 w 403"/>
                <a:gd name="T65" fmla="*/ 642 h 745"/>
                <a:gd name="T66" fmla="*/ 86 w 403"/>
                <a:gd name="T67" fmla="*/ 655 h 745"/>
                <a:gd name="T68" fmla="*/ 84 w 403"/>
                <a:gd name="T69" fmla="*/ 666 h 745"/>
                <a:gd name="T70" fmla="*/ 80 w 403"/>
                <a:gd name="T71" fmla="*/ 675 h 745"/>
                <a:gd name="T72" fmla="*/ 77 w 403"/>
                <a:gd name="T73" fmla="*/ 683 h 745"/>
                <a:gd name="T74" fmla="*/ 74 w 403"/>
                <a:gd name="T75" fmla="*/ 688 h 745"/>
                <a:gd name="T76" fmla="*/ 74 w 403"/>
                <a:gd name="T77" fmla="*/ 688 h 745"/>
                <a:gd name="T78" fmla="*/ 67 w 403"/>
                <a:gd name="T79" fmla="*/ 694 h 745"/>
                <a:gd name="T80" fmla="*/ 60 w 403"/>
                <a:gd name="T81" fmla="*/ 700 h 745"/>
                <a:gd name="T82" fmla="*/ 51 w 403"/>
                <a:gd name="T83" fmla="*/ 705 h 745"/>
                <a:gd name="T84" fmla="*/ 44 w 403"/>
                <a:gd name="T85" fmla="*/ 708 h 745"/>
                <a:gd name="T86" fmla="*/ 34 w 403"/>
                <a:gd name="T87" fmla="*/ 712 h 745"/>
                <a:gd name="T88" fmla="*/ 24 w 403"/>
                <a:gd name="T89" fmla="*/ 714 h 745"/>
                <a:gd name="T90" fmla="*/ 13 w 403"/>
                <a:gd name="T91" fmla="*/ 716 h 745"/>
                <a:gd name="T92" fmla="*/ 0 w 403"/>
                <a:gd name="T93" fmla="*/ 716 h 745"/>
                <a:gd name="T94" fmla="*/ 0 w 403"/>
                <a:gd name="T95" fmla="*/ 745 h 745"/>
                <a:gd name="T96" fmla="*/ 403 w 403"/>
                <a:gd name="T97" fmla="*/ 745 h 745"/>
                <a:gd name="T98" fmla="*/ 403 w 403"/>
                <a:gd name="T99" fmla="*/ 716 h 745"/>
                <a:gd name="T100" fmla="*/ 403 w 403"/>
                <a:gd name="T101" fmla="*/ 716 h 745"/>
                <a:gd name="T102" fmla="*/ 389 w 403"/>
                <a:gd name="T103" fmla="*/ 715 h 745"/>
                <a:gd name="T104" fmla="*/ 378 w 403"/>
                <a:gd name="T105" fmla="*/ 714 h 745"/>
                <a:gd name="T106" fmla="*/ 367 w 403"/>
                <a:gd name="T107" fmla="*/ 712 h 745"/>
                <a:gd name="T108" fmla="*/ 358 w 403"/>
                <a:gd name="T109" fmla="*/ 708 h 745"/>
                <a:gd name="T110" fmla="*/ 349 w 403"/>
                <a:gd name="T111" fmla="*/ 705 h 745"/>
                <a:gd name="T112" fmla="*/ 343 w 403"/>
                <a:gd name="T113" fmla="*/ 702 h 745"/>
                <a:gd name="T114" fmla="*/ 336 w 403"/>
                <a:gd name="T115" fmla="*/ 697 h 745"/>
                <a:gd name="T116" fmla="*/ 331 w 403"/>
                <a:gd name="T117" fmla="*/ 692 h 745"/>
                <a:gd name="T118" fmla="*/ 331 w 403"/>
                <a:gd name="T119" fmla="*/ 69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745">
                  <a:moveTo>
                    <a:pt x="331" y="692"/>
                  </a:moveTo>
                  <a:lnTo>
                    <a:pt x="331" y="692"/>
                  </a:lnTo>
                  <a:lnTo>
                    <a:pt x="326" y="685"/>
                  </a:lnTo>
                  <a:lnTo>
                    <a:pt x="323" y="677"/>
                  </a:lnTo>
                  <a:lnTo>
                    <a:pt x="319" y="667"/>
                  </a:lnTo>
                  <a:lnTo>
                    <a:pt x="317" y="655"/>
                  </a:lnTo>
                  <a:lnTo>
                    <a:pt x="315" y="642"/>
                  </a:lnTo>
                  <a:lnTo>
                    <a:pt x="314" y="626"/>
                  </a:lnTo>
                  <a:lnTo>
                    <a:pt x="313" y="591"/>
                  </a:lnTo>
                  <a:lnTo>
                    <a:pt x="313" y="0"/>
                  </a:lnTo>
                  <a:lnTo>
                    <a:pt x="0" y="0"/>
                  </a:lnTo>
                  <a:lnTo>
                    <a:pt x="0" y="29"/>
                  </a:lnTo>
                  <a:lnTo>
                    <a:pt x="0" y="29"/>
                  </a:lnTo>
                  <a:lnTo>
                    <a:pt x="13" y="30"/>
                  </a:lnTo>
                  <a:lnTo>
                    <a:pt x="25" y="32"/>
                  </a:lnTo>
                  <a:lnTo>
                    <a:pt x="35" y="35"/>
                  </a:lnTo>
                  <a:lnTo>
                    <a:pt x="44" y="38"/>
                  </a:lnTo>
                  <a:lnTo>
                    <a:pt x="53" y="41"/>
                  </a:lnTo>
                  <a:lnTo>
                    <a:pt x="59" y="45"/>
                  </a:lnTo>
                  <a:lnTo>
                    <a:pt x="66" y="49"/>
                  </a:lnTo>
                  <a:lnTo>
                    <a:pt x="71" y="55"/>
                  </a:lnTo>
                  <a:lnTo>
                    <a:pt x="71" y="55"/>
                  </a:lnTo>
                  <a:lnTo>
                    <a:pt x="75" y="61"/>
                  </a:lnTo>
                  <a:lnTo>
                    <a:pt x="79" y="69"/>
                  </a:lnTo>
                  <a:lnTo>
                    <a:pt x="83" y="79"/>
                  </a:lnTo>
                  <a:lnTo>
                    <a:pt x="85" y="91"/>
                  </a:lnTo>
                  <a:lnTo>
                    <a:pt x="87" y="105"/>
                  </a:lnTo>
                  <a:lnTo>
                    <a:pt x="88" y="119"/>
                  </a:lnTo>
                  <a:lnTo>
                    <a:pt x="89" y="156"/>
                  </a:lnTo>
                  <a:lnTo>
                    <a:pt x="89" y="591"/>
                  </a:lnTo>
                  <a:lnTo>
                    <a:pt x="89" y="591"/>
                  </a:lnTo>
                  <a:lnTo>
                    <a:pt x="88" y="626"/>
                  </a:lnTo>
                  <a:lnTo>
                    <a:pt x="87" y="642"/>
                  </a:lnTo>
                  <a:lnTo>
                    <a:pt x="86" y="655"/>
                  </a:lnTo>
                  <a:lnTo>
                    <a:pt x="84" y="666"/>
                  </a:lnTo>
                  <a:lnTo>
                    <a:pt x="80" y="675"/>
                  </a:lnTo>
                  <a:lnTo>
                    <a:pt x="77" y="683"/>
                  </a:lnTo>
                  <a:lnTo>
                    <a:pt x="74" y="688"/>
                  </a:lnTo>
                  <a:lnTo>
                    <a:pt x="74" y="688"/>
                  </a:lnTo>
                  <a:lnTo>
                    <a:pt x="67" y="694"/>
                  </a:lnTo>
                  <a:lnTo>
                    <a:pt x="60" y="700"/>
                  </a:lnTo>
                  <a:lnTo>
                    <a:pt x="51" y="705"/>
                  </a:lnTo>
                  <a:lnTo>
                    <a:pt x="44" y="708"/>
                  </a:lnTo>
                  <a:lnTo>
                    <a:pt x="34" y="712"/>
                  </a:lnTo>
                  <a:lnTo>
                    <a:pt x="24" y="714"/>
                  </a:lnTo>
                  <a:lnTo>
                    <a:pt x="13" y="716"/>
                  </a:lnTo>
                  <a:lnTo>
                    <a:pt x="0" y="716"/>
                  </a:lnTo>
                  <a:lnTo>
                    <a:pt x="0" y="745"/>
                  </a:lnTo>
                  <a:lnTo>
                    <a:pt x="403" y="745"/>
                  </a:lnTo>
                  <a:lnTo>
                    <a:pt x="403" y="716"/>
                  </a:lnTo>
                  <a:lnTo>
                    <a:pt x="403" y="716"/>
                  </a:lnTo>
                  <a:lnTo>
                    <a:pt x="389" y="715"/>
                  </a:lnTo>
                  <a:lnTo>
                    <a:pt x="378" y="714"/>
                  </a:lnTo>
                  <a:lnTo>
                    <a:pt x="367" y="712"/>
                  </a:lnTo>
                  <a:lnTo>
                    <a:pt x="358" y="708"/>
                  </a:lnTo>
                  <a:lnTo>
                    <a:pt x="349" y="705"/>
                  </a:lnTo>
                  <a:lnTo>
                    <a:pt x="343" y="702"/>
                  </a:lnTo>
                  <a:lnTo>
                    <a:pt x="336" y="697"/>
                  </a:lnTo>
                  <a:lnTo>
                    <a:pt x="331" y="692"/>
                  </a:lnTo>
                  <a:lnTo>
                    <a:pt x="331" y="692"/>
                  </a:ln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410" name="Freeform 110">
            <a:extLst>
              <a:ext uri="{FF2B5EF4-FFF2-40B4-BE49-F238E27FC236}">
                <a16:creationId xmlns:a16="http://schemas.microsoft.com/office/drawing/2014/main" id="{FC6D39A9-C408-44B5-B5A3-B18C6F9974C1}"/>
              </a:ext>
            </a:extLst>
          </p:cNvPr>
          <p:cNvSpPr>
            <a:spLocks/>
          </p:cNvSpPr>
          <p:nvPr/>
        </p:nvSpPr>
        <p:spPr bwMode="auto">
          <a:xfrm>
            <a:off x="7641812" y="5224116"/>
            <a:ext cx="175043" cy="293822"/>
          </a:xfrm>
          <a:custGeom>
            <a:avLst/>
            <a:gdLst>
              <a:gd name="T0" fmla="*/ 408 w 677"/>
              <a:gd name="T1" fmla="*/ 0 h 1127"/>
              <a:gd name="T2" fmla="*/ 600 w 677"/>
              <a:gd name="T3" fmla="*/ 0 h 1127"/>
              <a:gd name="T4" fmla="*/ 345 w 677"/>
              <a:gd name="T5" fmla="*/ 337 h 1127"/>
              <a:gd name="T6" fmla="*/ 484 w 677"/>
              <a:gd name="T7" fmla="*/ 337 h 1127"/>
              <a:gd name="T8" fmla="*/ 553 w 677"/>
              <a:gd name="T9" fmla="*/ 337 h 1127"/>
              <a:gd name="T10" fmla="*/ 677 w 677"/>
              <a:gd name="T11" fmla="*/ 337 h 1127"/>
              <a:gd name="T12" fmla="*/ 357 w 677"/>
              <a:gd name="T13" fmla="*/ 759 h 1127"/>
              <a:gd name="T14" fmla="*/ 563 w 677"/>
              <a:gd name="T15" fmla="*/ 759 h 1127"/>
              <a:gd name="T16" fmla="*/ 282 w 677"/>
              <a:gd name="T17" fmla="*/ 1127 h 1127"/>
              <a:gd name="T18" fmla="*/ 0 w 677"/>
              <a:gd name="T19" fmla="*/ 759 h 1127"/>
              <a:gd name="T20" fmla="*/ 165 w 677"/>
              <a:gd name="T21" fmla="*/ 759 h 1127"/>
              <a:gd name="T22" fmla="*/ 365 w 677"/>
              <a:gd name="T23" fmla="*/ 495 h 1127"/>
              <a:gd name="T24" fmla="*/ 26 w 677"/>
              <a:gd name="T25" fmla="*/ 493 h 1127"/>
              <a:gd name="T26" fmla="*/ 408 w 677"/>
              <a:gd name="T27" fmla="*/ 0 h 1127"/>
              <a:gd name="T28" fmla="*/ 408 w 677"/>
              <a:gd name="T29" fmla="*/ 0 h 1127"/>
              <a:gd name="T30" fmla="*/ 408 w 677"/>
              <a:gd name="T31" fmla="*/ 0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7" h="1127">
                <a:moveTo>
                  <a:pt x="408" y="0"/>
                </a:moveTo>
                <a:lnTo>
                  <a:pt x="600" y="0"/>
                </a:lnTo>
                <a:lnTo>
                  <a:pt x="345" y="337"/>
                </a:lnTo>
                <a:lnTo>
                  <a:pt x="484" y="337"/>
                </a:lnTo>
                <a:lnTo>
                  <a:pt x="553" y="337"/>
                </a:lnTo>
                <a:lnTo>
                  <a:pt x="677" y="337"/>
                </a:lnTo>
                <a:lnTo>
                  <a:pt x="357" y="759"/>
                </a:lnTo>
                <a:lnTo>
                  <a:pt x="563" y="759"/>
                </a:lnTo>
                <a:lnTo>
                  <a:pt x="282" y="1127"/>
                </a:lnTo>
                <a:lnTo>
                  <a:pt x="0" y="759"/>
                </a:lnTo>
                <a:lnTo>
                  <a:pt x="165" y="759"/>
                </a:lnTo>
                <a:lnTo>
                  <a:pt x="365" y="495"/>
                </a:lnTo>
                <a:lnTo>
                  <a:pt x="26" y="493"/>
                </a:lnTo>
                <a:lnTo>
                  <a:pt x="408" y="0"/>
                </a:lnTo>
                <a:lnTo>
                  <a:pt x="408" y="0"/>
                </a:lnTo>
                <a:lnTo>
                  <a:pt x="408" y="0"/>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nvGrpSpPr>
          <p:cNvPr id="412" name="Gruppieren 411">
            <a:extLst>
              <a:ext uri="{FF2B5EF4-FFF2-40B4-BE49-F238E27FC236}">
                <a16:creationId xmlns:a16="http://schemas.microsoft.com/office/drawing/2014/main" id="{01099588-B251-4CEB-BFBC-B338F9D39CD3}"/>
              </a:ext>
            </a:extLst>
          </p:cNvPr>
          <p:cNvGrpSpPr/>
          <p:nvPr/>
        </p:nvGrpSpPr>
        <p:grpSpPr>
          <a:xfrm>
            <a:off x="3004717" y="5238957"/>
            <a:ext cx="268816" cy="264140"/>
            <a:chOff x="3004717" y="5238999"/>
            <a:chExt cx="268816" cy="264140"/>
          </a:xfrm>
        </p:grpSpPr>
        <p:sp>
          <p:nvSpPr>
            <p:cNvPr id="396" name="Freeform 69">
              <a:extLst>
                <a:ext uri="{FF2B5EF4-FFF2-40B4-BE49-F238E27FC236}">
                  <a16:creationId xmlns:a16="http://schemas.microsoft.com/office/drawing/2014/main" id="{362B1965-43CD-4137-BEC4-646D5D4943E6}"/>
                </a:ext>
              </a:extLst>
            </p:cNvPr>
            <p:cNvSpPr>
              <a:spLocks/>
            </p:cNvSpPr>
            <p:nvPr/>
          </p:nvSpPr>
          <p:spPr bwMode="auto">
            <a:xfrm>
              <a:off x="3004717" y="5336643"/>
              <a:ext cx="268816" cy="68767"/>
            </a:xfrm>
            <a:prstGeom prst="roundRect">
              <a:avLst>
                <a:gd name="adj" fmla="val 50000"/>
              </a:avLst>
            </a:pr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397" name="Freeform 70">
              <a:extLst>
                <a:ext uri="{FF2B5EF4-FFF2-40B4-BE49-F238E27FC236}">
                  <a16:creationId xmlns:a16="http://schemas.microsoft.com/office/drawing/2014/main" id="{32699807-D425-4EC8-AA1E-FEB63007F067}"/>
                </a:ext>
              </a:extLst>
            </p:cNvPr>
            <p:cNvSpPr>
              <a:spLocks/>
            </p:cNvSpPr>
            <p:nvPr/>
          </p:nvSpPr>
          <p:spPr bwMode="auto">
            <a:xfrm>
              <a:off x="3104743" y="5238999"/>
              <a:ext cx="68768" cy="102214"/>
            </a:xfrm>
            <a:custGeom>
              <a:avLst/>
              <a:gdLst>
                <a:gd name="connsiteX0" fmla="*/ 0 w 68767"/>
                <a:gd name="connsiteY0" fmla="*/ 34384 h 136597"/>
                <a:gd name="connsiteX1" fmla="*/ 34384 w 68767"/>
                <a:gd name="connsiteY1" fmla="*/ 0 h 136597"/>
                <a:gd name="connsiteX2" fmla="*/ 34384 w 68767"/>
                <a:gd name="connsiteY2" fmla="*/ 0 h 136597"/>
                <a:gd name="connsiteX3" fmla="*/ 68768 w 68767"/>
                <a:gd name="connsiteY3" fmla="*/ 34384 h 136597"/>
                <a:gd name="connsiteX4" fmla="*/ 68767 w 68767"/>
                <a:gd name="connsiteY4" fmla="*/ 102214 h 136597"/>
                <a:gd name="connsiteX5" fmla="*/ 34383 w 68767"/>
                <a:gd name="connsiteY5" fmla="*/ 136598 h 136597"/>
                <a:gd name="connsiteX6" fmla="*/ 34384 w 68767"/>
                <a:gd name="connsiteY6" fmla="*/ 136597 h 136597"/>
                <a:gd name="connsiteX7" fmla="*/ 0 w 68767"/>
                <a:gd name="connsiteY7" fmla="*/ 102213 h 136597"/>
                <a:gd name="connsiteX8" fmla="*/ 0 w 68767"/>
                <a:gd name="connsiteY8" fmla="*/ 34384 h 136597"/>
                <a:gd name="connsiteX0" fmla="*/ 34384 w 125824"/>
                <a:gd name="connsiteY0" fmla="*/ 136597 h 228037"/>
                <a:gd name="connsiteX1" fmla="*/ 0 w 125824"/>
                <a:gd name="connsiteY1" fmla="*/ 102213 h 228037"/>
                <a:gd name="connsiteX2" fmla="*/ 0 w 125824"/>
                <a:gd name="connsiteY2" fmla="*/ 34384 h 228037"/>
                <a:gd name="connsiteX3" fmla="*/ 34384 w 125824"/>
                <a:gd name="connsiteY3" fmla="*/ 0 h 228037"/>
                <a:gd name="connsiteX4" fmla="*/ 34384 w 125824"/>
                <a:gd name="connsiteY4" fmla="*/ 0 h 228037"/>
                <a:gd name="connsiteX5" fmla="*/ 68768 w 125824"/>
                <a:gd name="connsiteY5" fmla="*/ 34384 h 228037"/>
                <a:gd name="connsiteX6" fmla="*/ 68767 w 125824"/>
                <a:gd name="connsiteY6" fmla="*/ 102214 h 228037"/>
                <a:gd name="connsiteX7" fmla="*/ 34383 w 125824"/>
                <a:gd name="connsiteY7" fmla="*/ 136598 h 228037"/>
                <a:gd name="connsiteX8" fmla="*/ 125824 w 125824"/>
                <a:gd name="connsiteY8" fmla="*/ 228037 h 228037"/>
                <a:gd name="connsiteX0" fmla="*/ 34384 w 68768"/>
                <a:gd name="connsiteY0" fmla="*/ 136597 h 136598"/>
                <a:gd name="connsiteX1" fmla="*/ 0 w 68768"/>
                <a:gd name="connsiteY1" fmla="*/ 102213 h 136598"/>
                <a:gd name="connsiteX2" fmla="*/ 0 w 68768"/>
                <a:gd name="connsiteY2" fmla="*/ 34384 h 136598"/>
                <a:gd name="connsiteX3" fmla="*/ 34384 w 68768"/>
                <a:gd name="connsiteY3" fmla="*/ 0 h 136598"/>
                <a:gd name="connsiteX4" fmla="*/ 34384 w 68768"/>
                <a:gd name="connsiteY4" fmla="*/ 0 h 136598"/>
                <a:gd name="connsiteX5" fmla="*/ 68768 w 68768"/>
                <a:gd name="connsiteY5" fmla="*/ 34384 h 136598"/>
                <a:gd name="connsiteX6" fmla="*/ 68767 w 68768"/>
                <a:gd name="connsiteY6" fmla="*/ 102214 h 136598"/>
                <a:gd name="connsiteX7" fmla="*/ 34383 w 68768"/>
                <a:gd name="connsiteY7" fmla="*/ 136598 h 136598"/>
                <a:gd name="connsiteX0" fmla="*/ 34384 w 68768"/>
                <a:gd name="connsiteY0" fmla="*/ 136597 h 136597"/>
                <a:gd name="connsiteX1" fmla="*/ 0 w 68768"/>
                <a:gd name="connsiteY1" fmla="*/ 102213 h 136597"/>
                <a:gd name="connsiteX2" fmla="*/ 0 w 68768"/>
                <a:gd name="connsiteY2" fmla="*/ 34384 h 136597"/>
                <a:gd name="connsiteX3" fmla="*/ 34384 w 68768"/>
                <a:gd name="connsiteY3" fmla="*/ 0 h 136597"/>
                <a:gd name="connsiteX4" fmla="*/ 34384 w 68768"/>
                <a:gd name="connsiteY4" fmla="*/ 0 h 136597"/>
                <a:gd name="connsiteX5" fmla="*/ 68768 w 68768"/>
                <a:gd name="connsiteY5" fmla="*/ 34384 h 136597"/>
                <a:gd name="connsiteX6" fmla="*/ 68767 w 68768"/>
                <a:gd name="connsiteY6" fmla="*/ 102214 h 136597"/>
                <a:gd name="connsiteX0" fmla="*/ 0 w 68768"/>
                <a:gd name="connsiteY0" fmla="*/ 102213 h 102214"/>
                <a:gd name="connsiteX1" fmla="*/ 0 w 68768"/>
                <a:gd name="connsiteY1" fmla="*/ 34384 h 102214"/>
                <a:gd name="connsiteX2" fmla="*/ 34384 w 68768"/>
                <a:gd name="connsiteY2" fmla="*/ 0 h 102214"/>
                <a:gd name="connsiteX3" fmla="*/ 34384 w 68768"/>
                <a:gd name="connsiteY3" fmla="*/ 0 h 102214"/>
                <a:gd name="connsiteX4" fmla="*/ 68768 w 68768"/>
                <a:gd name="connsiteY4" fmla="*/ 34384 h 102214"/>
                <a:gd name="connsiteX5" fmla="*/ 68767 w 68768"/>
                <a:gd name="connsiteY5" fmla="*/ 102214 h 10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68" h="102214">
                  <a:moveTo>
                    <a:pt x="0" y="102213"/>
                  </a:moveTo>
                  <a:lnTo>
                    <a:pt x="0" y="34384"/>
                  </a:lnTo>
                  <a:cubicBezTo>
                    <a:pt x="0" y="15394"/>
                    <a:pt x="15394" y="0"/>
                    <a:pt x="34384" y="0"/>
                  </a:cubicBezTo>
                  <a:lnTo>
                    <a:pt x="34384" y="0"/>
                  </a:lnTo>
                  <a:cubicBezTo>
                    <a:pt x="53374" y="0"/>
                    <a:pt x="68768" y="15394"/>
                    <a:pt x="68768" y="34384"/>
                  </a:cubicBezTo>
                  <a:cubicBezTo>
                    <a:pt x="68768" y="56994"/>
                    <a:pt x="68767" y="79604"/>
                    <a:pt x="68767" y="102214"/>
                  </a:cubicBezTo>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sp>
          <p:nvSpPr>
            <p:cNvPr id="411" name="Freeform 70">
              <a:extLst>
                <a:ext uri="{FF2B5EF4-FFF2-40B4-BE49-F238E27FC236}">
                  <a16:creationId xmlns:a16="http://schemas.microsoft.com/office/drawing/2014/main" id="{DD698D21-DEB6-4530-A293-EF6671E68FE2}"/>
                </a:ext>
              </a:extLst>
            </p:cNvPr>
            <p:cNvSpPr>
              <a:spLocks/>
            </p:cNvSpPr>
            <p:nvPr/>
          </p:nvSpPr>
          <p:spPr bwMode="auto">
            <a:xfrm flipV="1">
              <a:off x="3104743" y="5400925"/>
              <a:ext cx="68768" cy="102214"/>
            </a:xfrm>
            <a:custGeom>
              <a:avLst/>
              <a:gdLst>
                <a:gd name="connsiteX0" fmla="*/ 0 w 68767"/>
                <a:gd name="connsiteY0" fmla="*/ 34384 h 136597"/>
                <a:gd name="connsiteX1" fmla="*/ 34384 w 68767"/>
                <a:gd name="connsiteY1" fmla="*/ 0 h 136597"/>
                <a:gd name="connsiteX2" fmla="*/ 34384 w 68767"/>
                <a:gd name="connsiteY2" fmla="*/ 0 h 136597"/>
                <a:gd name="connsiteX3" fmla="*/ 68768 w 68767"/>
                <a:gd name="connsiteY3" fmla="*/ 34384 h 136597"/>
                <a:gd name="connsiteX4" fmla="*/ 68767 w 68767"/>
                <a:gd name="connsiteY4" fmla="*/ 102214 h 136597"/>
                <a:gd name="connsiteX5" fmla="*/ 34383 w 68767"/>
                <a:gd name="connsiteY5" fmla="*/ 136598 h 136597"/>
                <a:gd name="connsiteX6" fmla="*/ 34384 w 68767"/>
                <a:gd name="connsiteY6" fmla="*/ 136597 h 136597"/>
                <a:gd name="connsiteX7" fmla="*/ 0 w 68767"/>
                <a:gd name="connsiteY7" fmla="*/ 102213 h 136597"/>
                <a:gd name="connsiteX8" fmla="*/ 0 w 68767"/>
                <a:gd name="connsiteY8" fmla="*/ 34384 h 136597"/>
                <a:gd name="connsiteX0" fmla="*/ 34384 w 125824"/>
                <a:gd name="connsiteY0" fmla="*/ 136597 h 228037"/>
                <a:gd name="connsiteX1" fmla="*/ 0 w 125824"/>
                <a:gd name="connsiteY1" fmla="*/ 102213 h 228037"/>
                <a:gd name="connsiteX2" fmla="*/ 0 w 125824"/>
                <a:gd name="connsiteY2" fmla="*/ 34384 h 228037"/>
                <a:gd name="connsiteX3" fmla="*/ 34384 w 125824"/>
                <a:gd name="connsiteY3" fmla="*/ 0 h 228037"/>
                <a:gd name="connsiteX4" fmla="*/ 34384 w 125824"/>
                <a:gd name="connsiteY4" fmla="*/ 0 h 228037"/>
                <a:gd name="connsiteX5" fmla="*/ 68768 w 125824"/>
                <a:gd name="connsiteY5" fmla="*/ 34384 h 228037"/>
                <a:gd name="connsiteX6" fmla="*/ 68767 w 125824"/>
                <a:gd name="connsiteY6" fmla="*/ 102214 h 228037"/>
                <a:gd name="connsiteX7" fmla="*/ 34383 w 125824"/>
                <a:gd name="connsiteY7" fmla="*/ 136598 h 228037"/>
                <a:gd name="connsiteX8" fmla="*/ 125824 w 125824"/>
                <a:gd name="connsiteY8" fmla="*/ 228037 h 228037"/>
                <a:gd name="connsiteX0" fmla="*/ 34384 w 68768"/>
                <a:gd name="connsiteY0" fmla="*/ 136597 h 136598"/>
                <a:gd name="connsiteX1" fmla="*/ 0 w 68768"/>
                <a:gd name="connsiteY1" fmla="*/ 102213 h 136598"/>
                <a:gd name="connsiteX2" fmla="*/ 0 w 68768"/>
                <a:gd name="connsiteY2" fmla="*/ 34384 h 136598"/>
                <a:gd name="connsiteX3" fmla="*/ 34384 w 68768"/>
                <a:gd name="connsiteY3" fmla="*/ 0 h 136598"/>
                <a:gd name="connsiteX4" fmla="*/ 34384 w 68768"/>
                <a:gd name="connsiteY4" fmla="*/ 0 h 136598"/>
                <a:gd name="connsiteX5" fmla="*/ 68768 w 68768"/>
                <a:gd name="connsiteY5" fmla="*/ 34384 h 136598"/>
                <a:gd name="connsiteX6" fmla="*/ 68767 w 68768"/>
                <a:gd name="connsiteY6" fmla="*/ 102214 h 136598"/>
                <a:gd name="connsiteX7" fmla="*/ 34383 w 68768"/>
                <a:gd name="connsiteY7" fmla="*/ 136598 h 136598"/>
                <a:gd name="connsiteX0" fmla="*/ 34384 w 68768"/>
                <a:gd name="connsiteY0" fmla="*/ 136597 h 136597"/>
                <a:gd name="connsiteX1" fmla="*/ 0 w 68768"/>
                <a:gd name="connsiteY1" fmla="*/ 102213 h 136597"/>
                <a:gd name="connsiteX2" fmla="*/ 0 w 68768"/>
                <a:gd name="connsiteY2" fmla="*/ 34384 h 136597"/>
                <a:gd name="connsiteX3" fmla="*/ 34384 w 68768"/>
                <a:gd name="connsiteY3" fmla="*/ 0 h 136597"/>
                <a:gd name="connsiteX4" fmla="*/ 34384 w 68768"/>
                <a:gd name="connsiteY4" fmla="*/ 0 h 136597"/>
                <a:gd name="connsiteX5" fmla="*/ 68768 w 68768"/>
                <a:gd name="connsiteY5" fmla="*/ 34384 h 136597"/>
                <a:gd name="connsiteX6" fmla="*/ 68767 w 68768"/>
                <a:gd name="connsiteY6" fmla="*/ 102214 h 136597"/>
                <a:gd name="connsiteX0" fmla="*/ 0 w 68768"/>
                <a:gd name="connsiteY0" fmla="*/ 102213 h 102214"/>
                <a:gd name="connsiteX1" fmla="*/ 0 w 68768"/>
                <a:gd name="connsiteY1" fmla="*/ 34384 h 102214"/>
                <a:gd name="connsiteX2" fmla="*/ 34384 w 68768"/>
                <a:gd name="connsiteY2" fmla="*/ 0 h 102214"/>
                <a:gd name="connsiteX3" fmla="*/ 34384 w 68768"/>
                <a:gd name="connsiteY3" fmla="*/ 0 h 102214"/>
                <a:gd name="connsiteX4" fmla="*/ 68768 w 68768"/>
                <a:gd name="connsiteY4" fmla="*/ 34384 h 102214"/>
                <a:gd name="connsiteX5" fmla="*/ 68767 w 68768"/>
                <a:gd name="connsiteY5" fmla="*/ 102214 h 10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68" h="102214">
                  <a:moveTo>
                    <a:pt x="0" y="102213"/>
                  </a:moveTo>
                  <a:lnTo>
                    <a:pt x="0" y="34384"/>
                  </a:lnTo>
                  <a:cubicBezTo>
                    <a:pt x="0" y="15394"/>
                    <a:pt x="15394" y="0"/>
                    <a:pt x="34384" y="0"/>
                  </a:cubicBezTo>
                  <a:lnTo>
                    <a:pt x="34384" y="0"/>
                  </a:lnTo>
                  <a:cubicBezTo>
                    <a:pt x="53374" y="0"/>
                    <a:pt x="68768" y="15394"/>
                    <a:pt x="68768" y="34384"/>
                  </a:cubicBezTo>
                  <a:cubicBezTo>
                    <a:pt x="68768" y="56994"/>
                    <a:pt x="68767" y="79604"/>
                    <a:pt x="68767" y="102214"/>
                  </a:cubicBezTo>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9891530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0E691F-4E23-4968-AABF-406097627226}"/>
              </a:ext>
            </a:extLst>
          </p:cNvPr>
          <p:cNvGraphicFramePr>
            <a:graphicFrameLocks noChangeAspect="1"/>
          </p:cNvGraphicFramePr>
          <p:nvPr>
            <p:custDataLst>
              <p:tags r:id="rId2"/>
            </p:custDataLst>
            <p:extLst>
              <p:ext uri="{D42A27DB-BD31-4B8C-83A1-F6EECF244321}">
                <p14:modId xmlns:p14="http://schemas.microsoft.com/office/powerpoint/2010/main" val="63904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Folie" r:id="rId24" imgW="425" imgH="426" progId="TCLayout.ActiveDocument.1">
                  <p:embed/>
                </p:oleObj>
              </mc:Choice>
              <mc:Fallback>
                <p:oleObj name="think-cell Folie" r:id="rId24" imgW="425" imgH="426" progId="TCLayout.ActiveDocument.1">
                  <p:embed/>
                  <p:pic>
                    <p:nvPicPr>
                      <p:cNvPr id="8" name="Objekt 7" hidden="1">
                        <a:extLst>
                          <a:ext uri="{FF2B5EF4-FFF2-40B4-BE49-F238E27FC236}">
                            <a16:creationId xmlns:a16="http://schemas.microsoft.com/office/drawing/2014/main" id="{F20E691F-4E23-4968-AABF-40609762722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A03092E-3E0F-4766-9B3E-B1520D7ED3D7}"/>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2" name="Titel 1"/>
          <p:cNvSpPr>
            <a:spLocks noGrp="1"/>
          </p:cNvSpPr>
          <p:nvPr>
            <p:ph type="title"/>
          </p:nvPr>
        </p:nvSpPr>
        <p:spPr/>
        <p:txBody>
          <a:bodyPr/>
          <a:lstStyle/>
          <a:p>
            <a:r>
              <a:rPr lang="de-DE" dirty="0"/>
              <a:t>Elemente (2/2)</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BA09C137-A4AF-485B-ACD0-12B5B32900A5}"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8</a:t>
            </a:fld>
            <a:endParaRPr lang="de-DE" dirty="0"/>
          </a:p>
        </p:txBody>
      </p:sp>
      <p:grpSp>
        <p:nvGrpSpPr>
          <p:cNvPr id="204" name="Gruppieren 203"/>
          <p:cNvGrpSpPr/>
          <p:nvPr>
            <p:custDataLst>
              <p:tags r:id="rId4"/>
            </p:custDataLst>
          </p:nvPr>
        </p:nvGrpSpPr>
        <p:grpSpPr>
          <a:xfrm>
            <a:off x="2879179" y="3635074"/>
            <a:ext cx="1914492" cy="1351246"/>
            <a:chOff x="7233796" y="1833907"/>
            <a:chExt cx="1914492" cy="1351246"/>
          </a:xfrm>
        </p:grpSpPr>
        <p:grpSp>
          <p:nvGrpSpPr>
            <p:cNvPr id="205" name="Gruppieren 204"/>
            <p:cNvGrpSpPr/>
            <p:nvPr/>
          </p:nvGrpSpPr>
          <p:grpSpPr>
            <a:xfrm flipH="1">
              <a:off x="7233796" y="1916832"/>
              <a:ext cx="1914492" cy="1268321"/>
              <a:chOff x="1183891" y="1643031"/>
              <a:chExt cx="2564969" cy="1788461"/>
            </a:xfrm>
          </p:grpSpPr>
          <p:pic>
            <p:nvPicPr>
              <p:cNvPr id="208" name="Picture 9" descr="C:\Users\Mike\Desktop\Schatten_tets.png"/>
              <p:cNvPicPr>
                <a:picLocks noChangeAspect="1" noChangeArrowheads="1"/>
              </p:cNvPicPr>
              <p:nvPr>
                <p:custDataLst>
                  <p:tags r:id="rId22"/>
                </p:custDataLst>
              </p:nvPr>
            </p:nvPicPr>
            <p:blipFill>
              <a:blip r:embed="rId26" cstate="print"/>
              <a:srcRect l="9408" t="1698" r="2683"/>
              <a:stretch>
                <a:fillRect/>
              </a:stretch>
            </p:blipFill>
            <p:spPr bwMode="auto">
              <a:xfrm>
                <a:off x="1183891" y="1643032"/>
                <a:ext cx="2564969" cy="1788460"/>
              </a:xfrm>
              <a:prstGeom prst="rect">
                <a:avLst/>
              </a:prstGeom>
              <a:noFill/>
            </p:spPr>
          </p:pic>
          <p:sp>
            <p:nvSpPr>
              <p:cNvPr id="209" name="Freeform 7"/>
              <p:cNvSpPr>
                <a:spLocks/>
              </p:cNvSpPr>
              <p:nvPr/>
            </p:nvSpPr>
            <p:spPr bwMode="auto">
              <a:xfrm>
                <a:off x="1219707" y="1643031"/>
                <a:ext cx="2426712" cy="1542559"/>
              </a:xfrm>
              <a:custGeom>
                <a:avLst/>
                <a:gdLst/>
                <a:ahLst/>
                <a:cxnLst>
                  <a:cxn ang="0">
                    <a:pos x="11" y="122"/>
                  </a:cxn>
                  <a:cxn ang="0">
                    <a:pos x="1713" y="0"/>
                  </a:cxn>
                  <a:cxn ang="0">
                    <a:pos x="1762" y="699"/>
                  </a:cxn>
                  <a:cxn ang="0">
                    <a:pos x="1839" y="1030"/>
                  </a:cxn>
                  <a:cxn ang="0">
                    <a:pos x="1874" y="1172"/>
                  </a:cxn>
                  <a:cxn ang="0">
                    <a:pos x="1625" y="1196"/>
                  </a:cxn>
                  <a:cxn ang="0">
                    <a:pos x="348" y="1282"/>
                  </a:cxn>
                  <a:cxn ang="0">
                    <a:pos x="11" y="122"/>
                  </a:cxn>
                </a:cxnLst>
                <a:rect l="0" t="0" r="r" b="b"/>
                <a:pathLst>
                  <a:path w="1875" h="1359">
                    <a:moveTo>
                      <a:pt x="11" y="122"/>
                    </a:moveTo>
                    <a:cubicBezTo>
                      <a:pt x="1713" y="0"/>
                      <a:pt x="1713" y="0"/>
                      <a:pt x="1713" y="0"/>
                    </a:cubicBezTo>
                    <a:cubicBezTo>
                      <a:pt x="1713" y="0"/>
                      <a:pt x="1735" y="523"/>
                      <a:pt x="1762" y="699"/>
                    </a:cubicBezTo>
                    <a:cubicBezTo>
                      <a:pt x="1790" y="875"/>
                      <a:pt x="1803" y="942"/>
                      <a:pt x="1839" y="1030"/>
                    </a:cubicBezTo>
                    <a:cubicBezTo>
                      <a:pt x="1875" y="1118"/>
                      <a:pt x="1874" y="1172"/>
                      <a:pt x="1874" y="1172"/>
                    </a:cubicBezTo>
                    <a:cubicBezTo>
                      <a:pt x="1625" y="1196"/>
                      <a:pt x="1625" y="1196"/>
                      <a:pt x="1625" y="1196"/>
                    </a:cubicBezTo>
                    <a:cubicBezTo>
                      <a:pt x="1625" y="1196"/>
                      <a:pt x="696" y="1359"/>
                      <a:pt x="348" y="1282"/>
                    </a:cubicBezTo>
                    <a:cubicBezTo>
                      <a:pt x="0" y="1206"/>
                      <a:pt x="11" y="122"/>
                      <a:pt x="11" y="122"/>
                    </a:cubicBezTo>
                    <a:close/>
                  </a:path>
                </a:pathLst>
              </a:custGeom>
              <a:gradFill flip="none" rotWithShape="1">
                <a:gsLst>
                  <a:gs pos="0">
                    <a:srgbClr val="E1E6EB"/>
                  </a:gs>
                  <a:gs pos="70000">
                    <a:srgbClr val="C8CDD2"/>
                  </a:gs>
                  <a:gs pos="100000">
                    <a:srgbClr val="FFFFFF">
                      <a:lumMod val="95000"/>
                    </a:srgbClr>
                  </a:gs>
                </a:gsLst>
                <a:path path="circle">
                  <a:fillToRect l="100000" b="100000"/>
                </a:path>
                <a:tileRect t="-100000" r="-100000"/>
              </a:gra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DB Office"/>
                </a:endParaRPr>
              </a:p>
            </p:txBody>
          </p:sp>
        </p:grpSp>
        <p:sp>
          <p:nvSpPr>
            <p:cNvPr id="206" name="Textfeld 205"/>
            <p:cNvSpPr txBox="1"/>
            <p:nvPr/>
          </p:nvSpPr>
          <p:spPr bwMode="gray">
            <a:xfrm>
              <a:off x="7393364" y="2326854"/>
              <a:ext cx="1667281" cy="215444"/>
            </a:xfrm>
            <a:prstGeom prst="rect">
              <a:avLst/>
            </a:prstGeom>
            <a:noFill/>
          </p:spPr>
          <p:txBody>
            <a:bodyPr wrap="square" lIns="0" tIns="0" rIns="0" bIns="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DB Office"/>
                </a:rPr>
                <a:t>x</a:t>
              </a:r>
            </a:p>
          </p:txBody>
        </p:sp>
        <p:pic>
          <p:nvPicPr>
            <p:cNvPr id="207" name="Picture 4" descr="Tessafilm_5"/>
            <p:cNvPicPr>
              <a:picLocks noChangeAspect="1" noChangeArrowheads="1"/>
            </p:cNvPicPr>
            <p:nvPr>
              <p:custDataLst>
                <p:tags r:id="rId21"/>
              </p:custDataLst>
            </p:nvPr>
          </p:nvPicPr>
          <p:blipFill>
            <a:blip r:embed="rId27" cstate="print">
              <a:duotone>
                <a:prstClr val="black"/>
                <a:srgbClr val="D9C3A5">
                  <a:tint val="50000"/>
                  <a:satMod val="180000"/>
                </a:srgbClr>
              </a:duotone>
            </a:blip>
            <a:srcRect l="75725" t="1588" b="90588"/>
            <a:stretch>
              <a:fillRect/>
            </a:stretch>
          </p:blipFill>
          <p:spPr bwMode="auto">
            <a:xfrm rot="484559">
              <a:off x="7785992" y="1833907"/>
              <a:ext cx="882025" cy="297271"/>
            </a:xfrm>
            <a:prstGeom prst="rect">
              <a:avLst/>
            </a:prstGeom>
            <a:noFill/>
          </p:spPr>
        </p:pic>
      </p:grpSp>
      <p:sp>
        <p:nvSpPr>
          <p:cNvPr id="219" name="Textfeld 218"/>
          <p:cNvSpPr txBox="1"/>
          <p:nvPr/>
        </p:nvSpPr>
        <p:spPr>
          <a:xfrm>
            <a:off x="410323" y="3203091"/>
            <a:ext cx="596317"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Zettel 1</a:t>
            </a:r>
          </a:p>
        </p:txBody>
      </p:sp>
      <p:sp>
        <p:nvSpPr>
          <p:cNvPr id="220" name="Textfeld 219"/>
          <p:cNvSpPr txBox="1"/>
          <p:nvPr/>
        </p:nvSpPr>
        <p:spPr>
          <a:xfrm>
            <a:off x="3004496" y="3203091"/>
            <a:ext cx="596317"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Zettel 2</a:t>
            </a:r>
          </a:p>
        </p:txBody>
      </p:sp>
      <p:pic>
        <p:nvPicPr>
          <p:cNvPr id="221" name="Picture 2" descr="C:\Users\Olivia Roßbach\Downloads\Germany.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55331" y="5673268"/>
            <a:ext cx="515278" cy="515278"/>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3" descr="C:\Users\Olivia Roßbach\Downloads\Spain.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376948" y="5673268"/>
            <a:ext cx="515278" cy="515278"/>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4" descr="C:\Users\Olivia Roßbach\Downloads\Austri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798795" y="5673268"/>
            <a:ext cx="515278" cy="515278"/>
          </a:xfrm>
          <a:prstGeom prst="rect">
            <a:avLst/>
          </a:prstGeom>
          <a:noFill/>
          <a:extLst>
            <a:ext uri="{909E8E84-426E-40DD-AFC4-6F175D3DCCD1}">
              <a14:hiddenFill xmlns:a14="http://schemas.microsoft.com/office/drawing/2010/main">
                <a:solidFill>
                  <a:srgbClr val="FFFFFF"/>
                </a:solidFill>
              </a14:hiddenFill>
            </a:ext>
          </a:extLst>
        </p:spPr>
      </p:pic>
      <p:sp>
        <p:nvSpPr>
          <p:cNvPr id="224" name="Textfeld 223"/>
          <p:cNvSpPr txBox="1"/>
          <p:nvPr/>
        </p:nvSpPr>
        <p:spPr>
          <a:xfrm>
            <a:off x="257175" y="5388137"/>
            <a:ext cx="795089"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Flaggen 1</a:t>
            </a:r>
          </a:p>
        </p:txBody>
      </p:sp>
      <p:sp>
        <p:nvSpPr>
          <p:cNvPr id="225" name="Textfeld 224"/>
          <p:cNvSpPr txBox="1"/>
          <p:nvPr/>
        </p:nvSpPr>
        <p:spPr>
          <a:xfrm>
            <a:off x="2262848" y="5388137"/>
            <a:ext cx="795089"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Flaggen 2</a:t>
            </a:r>
          </a:p>
        </p:txBody>
      </p:sp>
      <p:pic>
        <p:nvPicPr>
          <p:cNvPr id="226" name="Picture 5" descr="C:\Users\Olivia Roßbach\Downloads\flagge-deutschland.gif"/>
          <p:cNvPicPr>
            <a:picLocks noChangeAspect="1" noChangeArrowheads="1"/>
          </p:cNvPicPr>
          <p:nvPr>
            <p:custDataLst>
              <p:tags r:id="rId5"/>
            </p:custDataLst>
          </p:nvPr>
        </p:nvPicPr>
        <p:blipFill>
          <a:blip r:embed="rId31" cstate="screen">
            <a:extLst>
              <a:ext uri="{28A0092B-C50C-407E-A947-70E740481C1C}">
                <a14:useLocalDpi xmlns:a14="http://schemas.microsoft.com/office/drawing/2010/main"/>
              </a:ext>
            </a:extLst>
          </a:blip>
          <a:srcRect/>
          <a:stretch>
            <a:fillRect/>
          </a:stretch>
        </p:blipFill>
        <p:spPr bwMode="auto">
          <a:xfrm>
            <a:off x="2262848" y="5763370"/>
            <a:ext cx="502737" cy="335074"/>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C:\Users\Olivia Roßbach\Downloads\Flag_of_Austria_(state).svg.png"/>
          <p:cNvPicPr>
            <a:picLocks noChangeAspect="1" noChangeArrowheads="1"/>
          </p:cNvPicPr>
          <p:nvPr>
            <p:custDataLst>
              <p:tags r:id="rId6"/>
            </p:custDataLst>
          </p:nvPr>
        </p:nvPicPr>
        <p:blipFill>
          <a:blip r:embed="rId32" cstate="screen">
            <a:extLst>
              <a:ext uri="{28A0092B-C50C-407E-A947-70E740481C1C}">
                <a14:useLocalDpi xmlns:a14="http://schemas.microsoft.com/office/drawing/2010/main"/>
              </a:ext>
            </a:extLst>
          </a:blip>
          <a:srcRect/>
          <a:stretch>
            <a:fillRect/>
          </a:stretch>
        </p:blipFill>
        <p:spPr bwMode="auto">
          <a:xfrm>
            <a:off x="2824389" y="5763370"/>
            <a:ext cx="502737" cy="33507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7" descr="C:\Users\Olivia Roßbach\Downloads\flagge-spanien.gif"/>
          <p:cNvPicPr>
            <a:picLocks noChangeAspect="1" noChangeArrowheads="1"/>
          </p:cNvPicPr>
          <p:nvPr>
            <p:custDataLst>
              <p:tags r:id="rId7"/>
            </p:custDataLst>
          </p:nvPr>
        </p:nvPicPr>
        <p:blipFill>
          <a:blip r:embed="rId33" cstate="screen">
            <a:extLst>
              <a:ext uri="{28A0092B-C50C-407E-A947-70E740481C1C}">
                <a14:useLocalDpi xmlns:a14="http://schemas.microsoft.com/office/drawing/2010/main"/>
              </a:ext>
            </a:extLst>
          </a:blip>
          <a:srcRect/>
          <a:stretch>
            <a:fillRect/>
          </a:stretch>
        </p:blipFill>
        <p:spPr bwMode="auto">
          <a:xfrm>
            <a:off x="3390735" y="5763370"/>
            <a:ext cx="502737" cy="335074"/>
          </a:xfrm>
          <a:prstGeom prst="rect">
            <a:avLst/>
          </a:prstGeom>
          <a:noFill/>
          <a:extLst>
            <a:ext uri="{909E8E84-426E-40DD-AFC4-6F175D3DCCD1}">
              <a14:hiddenFill xmlns:a14="http://schemas.microsoft.com/office/drawing/2010/main">
                <a:solidFill>
                  <a:srgbClr val="FFFFFF"/>
                </a:solidFill>
              </a14:hiddenFill>
            </a:ext>
          </a:extLst>
        </p:spPr>
      </p:pic>
      <p:sp>
        <p:nvSpPr>
          <p:cNvPr id="229" name="Rechteck 228"/>
          <p:cNvSpPr/>
          <p:nvPr>
            <p:custDataLst>
              <p:tags r:id="rId8"/>
            </p:custDataLst>
          </p:nvPr>
        </p:nvSpPr>
        <p:spPr>
          <a:xfrm>
            <a:off x="6106445" y="5823185"/>
            <a:ext cx="3542380"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http://www.iconspedia.com/search/Germany/</a:t>
            </a:r>
          </a:p>
        </p:txBody>
      </p:sp>
      <p:grpSp>
        <p:nvGrpSpPr>
          <p:cNvPr id="230" name="Gruppieren 229"/>
          <p:cNvGrpSpPr/>
          <p:nvPr>
            <p:custDataLst>
              <p:tags r:id="rId9"/>
            </p:custDataLst>
          </p:nvPr>
        </p:nvGrpSpPr>
        <p:grpSpPr>
          <a:xfrm>
            <a:off x="365164" y="2148865"/>
            <a:ext cx="1191339" cy="492808"/>
            <a:chOff x="365164" y="4368190"/>
            <a:chExt cx="1191339" cy="492808"/>
          </a:xfrm>
        </p:grpSpPr>
        <p:sp>
          <p:nvSpPr>
            <p:cNvPr id="231" name="Freihandform 230"/>
            <p:cNvSpPr/>
            <p:nvPr>
              <p:custDataLst>
                <p:tags r:id="rId20"/>
              </p:custDataLst>
            </p:nvPr>
          </p:nvSpPr>
          <p:spPr bwMode="gray">
            <a:xfrm>
              <a:off x="365164" y="4368190"/>
              <a:ext cx="1191339" cy="492808"/>
            </a:xfrm>
            <a:custGeom>
              <a:avLst/>
              <a:gdLst>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6420 w 5563518"/>
                <a:gd name="connsiteY67" fmla="*/ 2798284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594911 w 5563518"/>
                <a:gd name="connsiteY6" fmla="*/ 3139807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39827 w 5563518"/>
                <a:gd name="connsiteY9" fmla="*/ 3084723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49996 w 5563518"/>
                <a:gd name="connsiteY11" fmla="*/ 2798284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63557 w 5563518"/>
                <a:gd name="connsiteY12" fmla="*/ 29525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2198 w 5563518"/>
                <a:gd name="connsiteY0" fmla="*/ 3635566 h 3635566"/>
                <a:gd name="connsiteX1" fmla="*/ 782198 w 5563518"/>
                <a:gd name="connsiteY1" fmla="*/ 3635566 h 3635566"/>
                <a:gd name="connsiteX2" fmla="*/ 672029 w 5563518"/>
                <a:gd name="connsiteY2" fmla="*/ 3481330 h 3635566"/>
                <a:gd name="connsiteX3" fmla="*/ 859316 w 5563518"/>
                <a:gd name="connsiteY3" fmla="*/ 3349128 h 3635566"/>
                <a:gd name="connsiteX4" fmla="*/ 859316 w 5563518"/>
                <a:gd name="connsiteY4" fmla="*/ 3349128 h 3635566"/>
                <a:gd name="connsiteX5" fmla="*/ 672029 w 5563518"/>
                <a:gd name="connsiteY5" fmla="*/ 3360145 h 3635566"/>
                <a:gd name="connsiteX6" fmla="*/ 603112 w 5563518"/>
                <a:gd name="connsiteY6" fmla="*/ 3156209 h 3635566"/>
                <a:gd name="connsiteX7" fmla="*/ 705080 w 5563518"/>
                <a:gd name="connsiteY7" fmla="*/ 3018622 h 3635566"/>
                <a:gd name="connsiteX8" fmla="*/ 539827 w 5563518"/>
                <a:gd name="connsiteY8" fmla="*/ 3084723 h 3635566"/>
                <a:gd name="connsiteX9" fmla="*/ 511124 w 5563518"/>
                <a:gd name="connsiteY9" fmla="*/ 3043719 h 3635566"/>
                <a:gd name="connsiteX10" fmla="*/ 672029 w 5563518"/>
                <a:gd name="connsiteY10" fmla="*/ 2886419 h 3635566"/>
                <a:gd name="connsiteX11" fmla="*/ 654096 w 5563518"/>
                <a:gd name="connsiteY11" fmla="*/ 2785982 h 3635566"/>
                <a:gd name="connsiteX12" fmla="*/ 375858 w 5563518"/>
                <a:gd name="connsiteY12" fmla="*/ 2956621 h 3635566"/>
                <a:gd name="connsiteX13" fmla="*/ 341523 w 5563518"/>
                <a:gd name="connsiteY13" fmla="*/ 2820318 h 3635566"/>
                <a:gd name="connsiteX14" fmla="*/ 143220 w 5563518"/>
                <a:gd name="connsiteY14" fmla="*/ 2853369 h 3635566"/>
                <a:gd name="connsiteX15" fmla="*/ 132203 w 5563518"/>
                <a:gd name="connsiteY15" fmla="*/ 2754217 h 3635566"/>
                <a:gd name="connsiteX16" fmla="*/ 44068 w 5563518"/>
                <a:gd name="connsiteY16" fmla="*/ 2798284 h 3635566"/>
                <a:gd name="connsiteX17" fmla="*/ 0 w 5563518"/>
                <a:gd name="connsiteY17" fmla="*/ 2699133 h 3635566"/>
                <a:gd name="connsiteX18" fmla="*/ 132203 w 5563518"/>
                <a:gd name="connsiteY18" fmla="*/ 2577947 h 3635566"/>
                <a:gd name="connsiteX19" fmla="*/ 110169 w 5563518"/>
                <a:gd name="connsiteY19" fmla="*/ 2511846 h 3635566"/>
                <a:gd name="connsiteX20" fmla="*/ 220338 w 5563518"/>
                <a:gd name="connsiteY20" fmla="*/ 2478795 h 3635566"/>
                <a:gd name="connsiteX21" fmla="*/ 143220 w 5563518"/>
                <a:gd name="connsiteY21" fmla="*/ 2401677 h 3635566"/>
                <a:gd name="connsiteX22" fmla="*/ 231355 w 5563518"/>
                <a:gd name="connsiteY22" fmla="*/ 2390660 h 3635566"/>
                <a:gd name="connsiteX23" fmla="*/ 231355 w 5563518"/>
                <a:gd name="connsiteY23" fmla="*/ 2390660 h 3635566"/>
                <a:gd name="connsiteX24" fmla="*/ 231355 w 5563518"/>
                <a:gd name="connsiteY24" fmla="*/ 2280492 h 3635566"/>
                <a:gd name="connsiteX25" fmla="*/ 132203 w 5563518"/>
                <a:gd name="connsiteY25" fmla="*/ 2269475 h 3635566"/>
                <a:gd name="connsiteX26" fmla="*/ 429658 w 5563518"/>
                <a:gd name="connsiteY26" fmla="*/ 2049137 h 3635566"/>
                <a:gd name="connsiteX27" fmla="*/ 473726 w 5563518"/>
                <a:gd name="connsiteY27" fmla="*/ 1949986 h 3635566"/>
                <a:gd name="connsiteX28" fmla="*/ 363557 w 5563518"/>
                <a:gd name="connsiteY28" fmla="*/ 1872868 h 3635566"/>
                <a:gd name="connsiteX29" fmla="*/ 319489 w 5563518"/>
                <a:gd name="connsiteY29" fmla="*/ 1729648 h 3635566"/>
                <a:gd name="connsiteX30" fmla="*/ 539827 w 5563518"/>
                <a:gd name="connsiteY30" fmla="*/ 1597446 h 3635566"/>
                <a:gd name="connsiteX31" fmla="*/ 539827 w 5563518"/>
                <a:gd name="connsiteY31" fmla="*/ 1597446 h 3635566"/>
                <a:gd name="connsiteX32" fmla="*/ 385591 w 5563518"/>
                <a:gd name="connsiteY32" fmla="*/ 1586429 h 3635566"/>
                <a:gd name="connsiteX33" fmla="*/ 396608 w 5563518"/>
                <a:gd name="connsiteY33" fmla="*/ 1399142 h 3635566"/>
                <a:gd name="connsiteX34" fmla="*/ 319489 w 5563518"/>
                <a:gd name="connsiteY34" fmla="*/ 1299990 h 3635566"/>
                <a:gd name="connsiteX35" fmla="*/ 561861 w 5563518"/>
                <a:gd name="connsiteY35" fmla="*/ 1167788 h 3635566"/>
                <a:gd name="connsiteX36" fmla="*/ 4461832 w 5563518"/>
                <a:gd name="connsiteY36" fmla="*/ 0 h 3635566"/>
                <a:gd name="connsiteX37" fmla="*/ 4616068 w 5563518"/>
                <a:gd name="connsiteY37" fmla="*/ 286439 h 3635566"/>
                <a:gd name="connsiteX38" fmla="*/ 4671152 w 5563518"/>
                <a:gd name="connsiteY38" fmla="*/ 242371 h 3635566"/>
                <a:gd name="connsiteX39" fmla="*/ 4737253 w 5563518"/>
                <a:gd name="connsiteY39" fmla="*/ 319489 h 3635566"/>
                <a:gd name="connsiteX40" fmla="*/ 4858439 w 5563518"/>
                <a:gd name="connsiteY40" fmla="*/ 418641 h 3635566"/>
                <a:gd name="connsiteX41" fmla="*/ 4803355 w 5563518"/>
                <a:gd name="connsiteY41" fmla="*/ 462709 h 3635566"/>
                <a:gd name="connsiteX42" fmla="*/ 4803355 w 5563518"/>
                <a:gd name="connsiteY42" fmla="*/ 462709 h 3635566"/>
                <a:gd name="connsiteX43" fmla="*/ 4693186 w 5563518"/>
                <a:gd name="connsiteY43" fmla="*/ 550843 h 3635566"/>
                <a:gd name="connsiteX44" fmla="*/ 4693186 w 5563518"/>
                <a:gd name="connsiteY44" fmla="*/ 550843 h 3635566"/>
                <a:gd name="connsiteX45" fmla="*/ 4737253 w 5563518"/>
                <a:gd name="connsiteY45" fmla="*/ 661012 h 3635566"/>
                <a:gd name="connsiteX46" fmla="*/ 5001658 w 5563518"/>
                <a:gd name="connsiteY46" fmla="*/ 616945 h 3635566"/>
                <a:gd name="connsiteX47" fmla="*/ 5023692 w 5563518"/>
                <a:gd name="connsiteY47" fmla="*/ 815248 h 3635566"/>
                <a:gd name="connsiteX48" fmla="*/ 5111827 w 5563518"/>
                <a:gd name="connsiteY48" fmla="*/ 914400 h 3635566"/>
                <a:gd name="connsiteX49" fmla="*/ 4913523 w 5563518"/>
                <a:gd name="connsiteY49" fmla="*/ 969484 h 3635566"/>
                <a:gd name="connsiteX50" fmla="*/ 4957591 w 5563518"/>
                <a:gd name="connsiteY50" fmla="*/ 1035586 h 3635566"/>
                <a:gd name="connsiteX51" fmla="*/ 5376232 w 5563518"/>
                <a:gd name="connsiteY51" fmla="*/ 947451 h 3635566"/>
                <a:gd name="connsiteX52" fmla="*/ 5464367 w 5563518"/>
                <a:gd name="connsiteY52" fmla="*/ 1134737 h 3635566"/>
                <a:gd name="connsiteX53" fmla="*/ 5310130 w 5563518"/>
                <a:gd name="connsiteY53" fmla="*/ 1211856 h 3635566"/>
                <a:gd name="connsiteX54" fmla="*/ 5321147 w 5563518"/>
                <a:gd name="connsiteY54" fmla="*/ 1266940 h 3635566"/>
                <a:gd name="connsiteX55" fmla="*/ 5464367 w 5563518"/>
                <a:gd name="connsiteY55" fmla="*/ 1178805 h 3635566"/>
                <a:gd name="connsiteX56" fmla="*/ 5563518 w 5563518"/>
                <a:gd name="connsiteY56" fmla="*/ 1366092 h 3635566"/>
                <a:gd name="connsiteX57" fmla="*/ 5089793 w 5563518"/>
                <a:gd name="connsiteY57" fmla="*/ 1465243 h 3635566"/>
                <a:gd name="connsiteX58" fmla="*/ 5133861 w 5563518"/>
                <a:gd name="connsiteY58" fmla="*/ 1531345 h 3635566"/>
                <a:gd name="connsiteX59" fmla="*/ 5221996 w 5563518"/>
                <a:gd name="connsiteY59" fmla="*/ 1575412 h 3635566"/>
                <a:gd name="connsiteX60" fmla="*/ 5244029 w 5563518"/>
                <a:gd name="connsiteY60" fmla="*/ 1674564 h 3635566"/>
                <a:gd name="connsiteX61" fmla="*/ 5244029 w 5563518"/>
                <a:gd name="connsiteY61" fmla="*/ 1674564 h 3635566"/>
                <a:gd name="connsiteX62" fmla="*/ 5376232 w 5563518"/>
                <a:gd name="connsiteY62" fmla="*/ 1751682 h 3635566"/>
                <a:gd name="connsiteX63" fmla="*/ 5486400 w 5563518"/>
                <a:gd name="connsiteY63" fmla="*/ 1883884 h 3635566"/>
                <a:gd name="connsiteX64" fmla="*/ 5431316 w 5563518"/>
                <a:gd name="connsiteY64" fmla="*/ 1961003 h 3635566"/>
                <a:gd name="connsiteX65" fmla="*/ 5332164 w 5563518"/>
                <a:gd name="connsiteY65" fmla="*/ 2016087 h 3635566"/>
                <a:gd name="connsiteX66" fmla="*/ 5343181 w 5563518"/>
                <a:gd name="connsiteY66" fmla="*/ 2170323 h 3635566"/>
                <a:gd name="connsiteX67" fmla="*/ 2882319 w 5563518"/>
                <a:gd name="connsiteY67" fmla="*/ 2810585 h 3635566"/>
                <a:gd name="connsiteX68" fmla="*/ 782198 w 5563518"/>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33786 w 5565101"/>
                <a:gd name="connsiteY18" fmla="*/ 2577947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21072 w 5565101"/>
                <a:gd name="connsiteY29" fmla="*/ 1729648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41410 w 5565101"/>
                <a:gd name="connsiteY30" fmla="*/ 1597446 h 3635566"/>
                <a:gd name="connsiteX31" fmla="*/ 541410 w 5565101"/>
                <a:gd name="connsiteY31" fmla="*/ 1597446 h 3635566"/>
                <a:gd name="connsiteX32" fmla="*/ 387174 w 5565101"/>
                <a:gd name="connsiteY32" fmla="*/ 1586429 h 3635566"/>
                <a:gd name="connsiteX33" fmla="*/ 398191 w 5565101"/>
                <a:gd name="connsiteY33" fmla="*/ 1399142 h 3635566"/>
                <a:gd name="connsiteX34" fmla="*/ 321072 w 5565101"/>
                <a:gd name="connsiteY34" fmla="*/ 1299990 h 3635566"/>
                <a:gd name="connsiteX35" fmla="*/ 563444 w 5565101"/>
                <a:gd name="connsiteY35" fmla="*/ 1167788 h 3635566"/>
                <a:gd name="connsiteX36" fmla="*/ 4463415 w 5565101"/>
                <a:gd name="connsiteY36" fmla="*/ 0 h 3635566"/>
                <a:gd name="connsiteX37" fmla="*/ 4617651 w 5565101"/>
                <a:gd name="connsiteY37" fmla="*/ 286439 h 3635566"/>
                <a:gd name="connsiteX38" fmla="*/ 4672735 w 5565101"/>
                <a:gd name="connsiteY38" fmla="*/ 242371 h 3635566"/>
                <a:gd name="connsiteX39" fmla="*/ 4738836 w 5565101"/>
                <a:gd name="connsiteY39" fmla="*/ 319489 h 3635566"/>
                <a:gd name="connsiteX40" fmla="*/ 4860022 w 5565101"/>
                <a:gd name="connsiteY40" fmla="*/ 418641 h 3635566"/>
                <a:gd name="connsiteX41" fmla="*/ 4804938 w 5565101"/>
                <a:gd name="connsiteY41" fmla="*/ 462709 h 3635566"/>
                <a:gd name="connsiteX42" fmla="*/ 4804938 w 5565101"/>
                <a:gd name="connsiteY42" fmla="*/ 462709 h 3635566"/>
                <a:gd name="connsiteX43" fmla="*/ 4694769 w 5565101"/>
                <a:gd name="connsiteY43" fmla="*/ 550843 h 3635566"/>
                <a:gd name="connsiteX44" fmla="*/ 4694769 w 5565101"/>
                <a:gd name="connsiteY44" fmla="*/ 550843 h 3635566"/>
                <a:gd name="connsiteX45" fmla="*/ 4738836 w 5565101"/>
                <a:gd name="connsiteY45" fmla="*/ 661012 h 3635566"/>
                <a:gd name="connsiteX46" fmla="*/ 5003241 w 5565101"/>
                <a:gd name="connsiteY46" fmla="*/ 616945 h 3635566"/>
                <a:gd name="connsiteX47" fmla="*/ 5025275 w 5565101"/>
                <a:gd name="connsiteY47" fmla="*/ 815248 h 3635566"/>
                <a:gd name="connsiteX48" fmla="*/ 5113410 w 5565101"/>
                <a:gd name="connsiteY48" fmla="*/ 914400 h 3635566"/>
                <a:gd name="connsiteX49" fmla="*/ 4915106 w 5565101"/>
                <a:gd name="connsiteY49" fmla="*/ 969484 h 3635566"/>
                <a:gd name="connsiteX50" fmla="*/ 4959174 w 5565101"/>
                <a:gd name="connsiteY50" fmla="*/ 1035586 h 3635566"/>
                <a:gd name="connsiteX51" fmla="*/ 5377815 w 5565101"/>
                <a:gd name="connsiteY51" fmla="*/ 947451 h 3635566"/>
                <a:gd name="connsiteX52" fmla="*/ 5465950 w 5565101"/>
                <a:gd name="connsiteY52" fmla="*/ 1134737 h 3635566"/>
                <a:gd name="connsiteX53" fmla="*/ 5311713 w 5565101"/>
                <a:gd name="connsiteY53" fmla="*/ 1211856 h 3635566"/>
                <a:gd name="connsiteX54" fmla="*/ 5322730 w 5565101"/>
                <a:gd name="connsiteY54" fmla="*/ 1266940 h 3635566"/>
                <a:gd name="connsiteX55" fmla="*/ 5465950 w 5565101"/>
                <a:gd name="connsiteY55" fmla="*/ 1178805 h 3635566"/>
                <a:gd name="connsiteX56" fmla="*/ 5565101 w 5565101"/>
                <a:gd name="connsiteY56" fmla="*/ 1366092 h 3635566"/>
                <a:gd name="connsiteX57" fmla="*/ 5091376 w 5565101"/>
                <a:gd name="connsiteY57" fmla="*/ 1465243 h 3635566"/>
                <a:gd name="connsiteX58" fmla="*/ 5135444 w 5565101"/>
                <a:gd name="connsiteY58" fmla="*/ 1531345 h 3635566"/>
                <a:gd name="connsiteX59" fmla="*/ 5223579 w 5565101"/>
                <a:gd name="connsiteY59" fmla="*/ 1575412 h 3635566"/>
                <a:gd name="connsiteX60" fmla="*/ 5245612 w 5565101"/>
                <a:gd name="connsiteY60" fmla="*/ 1674564 h 3635566"/>
                <a:gd name="connsiteX61" fmla="*/ 5245612 w 5565101"/>
                <a:gd name="connsiteY61" fmla="*/ 1674564 h 3635566"/>
                <a:gd name="connsiteX62" fmla="*/ 5377815 w 5565101"/>
                <a:gd name="connsiteY62" fmla="*/ 1751682 h 3635566"/>
                <a:gd name="connsiteX63" fmla="*/ 5487983 w 5565101"/>
                <a:gd name="connsiteY63" fmla="*/ 1883884 h 3635566"/>
                <a:gd name="connsiteX64" fmla="*/ 5432899 w 5565101"/>
                <a:gd name="connsiteY64" fmla="*/ 1961003 h 3635566"/>
                <a:gd name="connsiteX65" fmla="*/ 5333747 w 5565101"/>
                <a:gd name="connsiteY65" fmla="*/ 2016087 h 3635566"/>
                <a:gd name="connsiteX66" fmla="*/ 5344764 w 5565101"/>
                <a:gd name="connsiteY66" fmla="*/ 2170323 h 3635566"/>
                <a:gd name="connsiteX67" fmla="*/ 2883902 w 5565101"/>
                <a:gd name="connsiteY67" fmla="*/ 2810585 h 3635566"/>
                <a:gd name="connsiteX68" fmla="*/ 783781 w 5565101"/>
                <a:gd name="connsiteY68"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1072 w 5565101"/>
                <a:gd name="connsiteY35" fmla="*/ 1299990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67788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8836 w 5565101"/>
                <a:gd name="connsiteY40" fmla="*/ 319489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860022 w 5565101"/>
                <a:gd name="connsiteY41" fmla="*/ 418641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04938 w 5565101"/>
                <a:gd name="connsiteY43" fmla="*/ 462709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94769 w 5565101"/>
                <a:gd name="connsiteY45" fmla="*/ 550843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707070 w 5565101"/>
                <a:gd name="connsiteY45" fmla="*/ 575446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5003241 w 5565101"/>
                <a:gd name="connsiteY47" fmla="*/ 616945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113410 w 5565101"/>
                <a:gd name="connsiteY49" fmla="*/ 914400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65950 w 5565101"/>
                <a:gd name="connsiteY56" fmla="*/ 1178805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091376 w 5565101"/>
                <a:gd name="connsiteY58" fmla="*/ 1465243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35444 w 5565101"/>
                <a:gd name="connsiteY59" fmla="*/ 1531345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223579 w 5565101"/>
                <a:gd name="connsiteY60" fmla="*/ 1575412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245612 w 5565101"/>
                <a:gd name="connsiteY62" fmla="*/ 1674564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77815 w 5565101"/>
                <a:gd name="connsiteY63" fmla="*/ 1751682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87983 w 5565101"/>
                <a:gd name="connsiteY64" fmla="*/ 188388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32899 w 5565101"/>
                <a:gd name="connsiteY65" fmla="*/ 1961003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44764 w 5565101"/>
                <a:gd name="connsiteY67" fmla="*/ 2170323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 name="connsiteX0" fmla="*/ 783781 w 5565101"/>
                <a:gd name="connsiteY0" fmla="*/ 3635566 h 3635566"/>
                <a:gd name="connsiteX1" fmla="*/ 783781 w 5565101"/>
                <a:gd name="connsiteY1" fmla="*/ 3635566 h 3635566"/>
                <a:gd name="connsiteX2" fmla="*/ 673612 w 5565101"/>
                <a:gd name="connsiteY2" fmla="*/ 3481330 h 3635566"/>
                <a:gd name="connsiteX3" fmla="*/ 860899 w 5565101"/>
                <a:gd name="connsiteY3" fmla="*/ 3349128 h 3635566"/>
                <a:gd name="connsiteX4" fmla="*/ 860899 w 5565101"/>
                <a:gd name="connsiteY4" fmla="*/ 3349128 h 3635566"/>
                <a:gd name="connsiteX5" fmla="*/ 673612 w 5565101"/>
                <a:gd name="connsiteY5" fmla="*/ 3360145 h 3635566"/>
                <a:gd name="connsiteX6" fmla="*/ 604695 w 5565101"/>
                <a:gd name="connsiteY6" fmla="*/ 3156209 h 3635566"/>
                <a:gd name="connsiteX7" fmla="*/ 706663 w 5565101"/>
                <a:gd name="connsiteY7" fmla="*/ 3018622 h 3635566"/>
                <a:gd name="connsiteX8" fmla="*/ 541410 w 5565101"/>
                <a:gd name="connsiteY8" fmla="*/ 3084723 h 3635566"/>
                <a:gd name="connsiteX9" fmla="*/ 512707 w 5565101"/>
                <a:gd name="connsiteY9" fmla="*/ 3043719 h 3635566"/>
                <a:gd name="connsiteX10" fmla="*/ 673612 w 5565101"/>
                <a:gd name="connsiteY10" fmla="*/ 2886419 h 3635566"/>
                <a:gd name="connsiteX11" fmla="*/ 655679 w 5565101"/>
                <a:gd name="connsiteY11" fmla="*/ 2785982 h 3635566"/>
                <a:gd name="connsiteX12" fmla="*/ 377441 w 5565101"/>
                <a:gd name="connsiteY12" fmla="*/ 2956621 h 3635566"/>
                <a:gd name="connsiteX13" fmla="*/ 343106 w 5565101"/>
                <a:gd name="connsiteY13" fmla="*/ 2820318 h 3635566"/>
                <a:gd name="connsiteX14" fmla="*/ 144803 w 5565101"/>
                <a:gd name="connsiteY14" fmla="*/ 2853369 h 3635566"/>
                <a:gd name="connsiteX15" fmla="*/ 133786 w 5565101"/>
                <a:gd name="connsiteY15" fmla="*/ 2754217 h 3635566"/>
                <a:gd name="connsiteX16" fmla="*/ 45651 w 5565101"/>
                <a:gd name="connsiteY16" fmla="*/ 2798284 h 3635566"/>
                <a:gd name="connsiteX17" fmla="*/ 1583 w 5565101"/>
                <a:gd name="connsiteY17" fmla="*/ 2699133 h 3635566"/>
                <a:gd name="connsiteX18" fmla="*/ 125585 w 5565101"/>
                <a:gd name="connsiteY18" fmla="*/ 2606651 h 3635566"/>
                <a:gd name="connsiteX19" fmla="*/ 111752 w 5565101"/>
                <a:gd name="connsiteY19" fmla="*/ 2511846 h 3635566"/>
                <a:gd name="connsiteX20" fmla="*/ 221921 w 5565101"/>
                <a:gd name="connsiteY20" fmla="*/ 2478795 h 3635566"/>
                <a:gd name="connsiteX21" fmla="*/ 144803 w 5565101"/>
                <a:gd name="connsiteY21" fmla="*/ 2401677 h 3635566"/>
                <a:gd name="connsiteX22" fmla="*/ 232938 w 5565101"/>
                <a:gd name="connsiteY22" fmla="*/ 2390660 h 3635566"/>
                <a:gd name="connsiteX23" fmla="*/ 232938 w 5565101"/>
                <a:gd name="connsiteY23" fmla="*/ 2390660 h 3635566"/>
                <a:gd name="connsiteX24" fmla="*/ 232938 w 5565101"/>
                <a:gd name="connsiteY24" fmla="*/ 2280492 h 3635566"/>
                <a:gd name="connsiteX25" fmla="*/ 133786 w 5565101"/>
                <a:gd name="connsiteY25" fmla="*/ 2269475 h 3635566"/>
                <a:gd name="connsiteX26" fmla="*/ 431241 w 5565101"/>
                <a:gd name="connsiteY26" fmla="*/ 2049137 h 3635566"/>
                <a:gd name="connsiteX27" fmla="*/ 475309 w 5565101"/>
                <a:gd name="connsiteY27" fmla="*/ 1949986 h 3635566"/>
                <a:gd name="connsiteX28" fmla="*/ 365140 w 5565101"/>
                <a:gd name="connsiteY28" fmla="*/ 1872868 h 3635566"/>
                <a:gd name="connsiteX29" fmla="*/ 366177 w 5565101"/>
                <a:gd name="connsiteY29" fmla="*/ 1766552 h 3635566"/>
                <a:gd name="connsiteX30" fmla="*/ 512361 w 5565101"/>
                <a:gd name="connsiteY30" fmla="*/ 1638499 h 3635566"/>
                <a:gd name="connsiteX31" fmla="*/ 541410 w 5565101"/>
                <a:gd name="connsiteY31" fmla="*/ 1597446 h 3635566"/>
                <a:gd name="connsiteX32" fmla="*/ 541410 w 5565101"/>
                <a:gd name="connsiteY32" fmla="*/ 1597446 h 3635566"/>
                <a:gd name="connsiteX33" fmla="*/ 387174 w 5565101"/>
                <a:gd name="connsiteY33" fmla="*/ 1586429 h 3635566"/>
                <a:gd name="connsiteX34" fmla="*/ 398191 w 5565101"/>
                <a:gd name="connsiteY34" fmla="*/ 1399142 h 3635566"/>
                <a:gd name="connsiteX35" fmla="*/ 325172 w 5565101"/>
                <a:gd name="connsiteY35" fmla="*/ 1345095 h 3635566"/>
                <a:gd name="connsiteX36" fmla="*/ 563444 w 5565101"/>
                <a:gd name="connsiteY36" fmla="*/ 1188290 h 3635566"/>
                <a:gd name="connsiteX37" fmla="*/ 4463415 w 5565101"/>
                <a:gd name="connsiteY37" fmla="*/ 0 h 3635566"/>
                <a:gd name="connsiteX38" fmla="*/ 4617651 w 5565101"/>
                <a:gd name="connsiteY38" fmla="*/ 286439 h 3635566"/>
                <a:gd name="connsiteX39" fmla="*/ 4672735 w 5565101"/>
                <a:gd name="connsiteY39" fmla="*/ 242371 h 3635566"/>
                <a:gd name="connsiteX40" fmla="*/ 4734736 w 5565101"/>
                <a:gd name="connsiteY40" fmla="*/ 331791 h 3635566"/>
                <a:gd name="connsiteX41" fmla="*/ 4790314 w 5565101"/>
                <a:gd name="connsiteY41" fmla="*/ 398139 h 3635566"/>
                <a:gd name="connsiteX42" fmla="*/ 4804938 w 5565101"/>
                <a:gd name="connsiteY42" fmla="*/ 462709 h 3635566"/>
                <a:gd name="connsiteX43" fmla="*/ 4833641 w 5565101"/>
                <a:gd name="connsiteY43" fmla="*/ 532417 h 3635566"/>
                <a:gd name="connsiteX44" fmla="*/ 4694769 w 5565101"/>
                <a:gd name="connsiteY44" fmla="*/ 550843 h 3635566"/>
                <a:gd name="connsiteX45" fmla="*/ 4657865 w 5565101"/>
                <a:gd name="connsiteY45" fmla="*/ 616450 h 3635566"/>
                <a:gd name="connsiteX46" fmla="*/ 4738836 w 5565101"/>
                <a:gd name="connsiteY46" fmla="*/ 661012 h 3635566"/>
                <a:gd name="connsiteX47" fmla="*/ 4974538 w 5565101"/>
                <a:gd name="connsiteY47" fmla="*/ 649748 h 3635566"/>
                <a:gd name="connsiteX48" fmla="*/ 5025275 w 5565101"/>
                <a:gd name="connsiteY48" fmla="*/ 815248 h 3635566"/>
                <a:gd name="connsiteX49" fmla="*/ 5068305 w 5565101"/>
                <a:gd name="connsiteY49" fmla="*/ 910299 h 3635566"/>
                <a:gd name="connsiteX50" fmla="*/ 4915106 w 5565101"/>
                <a:gd name="connsiteY50" fmla="*/ 969484 h 3635566"/>
                <a:gd name="connsiteX51" fmla="*/ 4959174 w 5565101"/>
                <a:gd name="connsiteY51" fmla="*/ 1035586 h 3635566"/>
                <a:gd name="connsiteX52" fmla="*/ 5377815 w 5565101"/>
                <a:gd name="connsiteY52" fmla="*/ 947451 h 3635566"/>
                <a:gd name="connsiteX53" fmla="*/ 5465950 w 5565101"/>
                <a:gd name="connsiteY53" fmla="*/ 1134737 h 3635566"/>
                <a:gd name="connsiteX54" fmla="*/ 5311713 w 5565101"/>
                <a:gd name="connsiteY54" fmla="*/ 1211856 h 3635566"/>
                <a:gd name="connsiteX55" fmla="*/ 5322730 w 5565101"/>
                <a:gd name="connsiteY55" fmla="*/ 1266940 h 3635566"/>
                <a:gd name="connsiteX56" fmla="*/ 5478251 w 5565101"/>
                <a:gd name="connsiteY56" fmla="*/ 1207508 h 3635566"/>
                <a:gd name="connsiteX57" fmla="*/ 5565101 w 5565101"/>
                <a:gd name="connsiteY57" fmla="*/ 1366092 h 3635566"/>
                <a:gd name="connsiteX58" fmla="*/ 5120079 w 5565101"/>
                <a:gd name="connsiteY58" fmla="*/ 1489845 h 3635566"/>
                <a:gd name="connsiteX59" fmla="*/ 5119042 w 5565101"/>
                <a:gd name="connsiteY59" fmla="*/ 1588751 h 3635566"/>
                <a:gd name="connsiteX60" fmla="*/ 5182574 w 5565101"/>
                <a:gd name="connsiteY60" fmla="*/ 1604115 h 3635566"/>
                <a:gd name="connsiteX61" fmla="*/ 5245612 w 5565101"/>
                <a:gd name="connsiteY61" fmla="*/ 1674564 h 3635566"/>
                <a:gd name="connsiteX62" fmla="*/ 5307119 w 5565101"/>
                <a:gd name="connsiteY62" fmla="*/ 1645861 h 3635566"/>
                <a:gd name="connsiteX63" fmla="*/ 5345012 w 5565101"/>
                <a:gd name="connsiteY63" fmla="*/ 1727079 h 3635566"/>
                <a:gd name="connsiteX64" fmla="*/ 5434677 w 5565101"/>
                <a:gd name="connsiteY64" fmla="*/ 1793674 h 3635566"/>
                <a:gd name="connsiteX65" fmla="*/ 5412397 w 5565101"/>
                <a:gd name="connsiteY65" fmla="*/ 1887195 h 3635566"/>
                <a:gd name="connsiteX66" fmla="*/ 5333747 w 5565101"/>
                <a:gd name="connsiteY66" fmla="*/ 2016087 h 3635566"/>
                <a:gd name="connsiteX67" fmla="*/ 5373467 w 5565101"/>
                <a:gd name="connsiteY67" fmla="*/ 2149820 h 3635566"/>
                <a:gd name="connsiteX68" fmla="*/ 2883902 w 5565101"/>
                <a:gd name="connsiteY68" fmla="*/ 2810585 h 3635566"/>
                <a:gd name="connsiteX69" fmla="*/ 783781 w 5565101"/>
                <a:gd name="connsiteY69" fmla="*/ 3635566 h 363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65101" h="3635566">
                  <a:moveTo>
                    <a:pt x="783781" y="3635566"/>
                  </a:moveTo>
                  <a:lnTo>
                    <a:pt x="783781" y="3635566"/>
                  </a:lnTo>
                  <a:lnTo>
                    <a:pt x="673612" y="3481330"/>
                  </a:lnTo>
                  <a:cubicBezTo>
                    <a:pt x="736041" y="3437263"/>
                    <a:pt x="864077" y="3417798"/>
                    <a:pt x="860899" y="3349128"/>
                  </a:cubicBezTo>
                  <a:lnTo>
                    <a:pt x="860899" y="3349128"/>
                  </a:lnTo>
                  <a:cubicBezTo>
                    <a:pt x="860899" y="3349128"/>
                    <a:pt x="898100" y="3280220"/>
                    <a:pt x="673612" y="3360145"/>
                  </a:cubicBezTo>
                  <a:cubicBezTo>
                    <a:pt x="619203" y="3311301"/>
                    <a:pt x="601698" y="3254258"/>
                    <a:pt x="604695" y="3156209"/>
                  </a:cubicBezTo>
                  <a:cubicBezTo>
                    <a:pt x="638684" y="3110347"/>
                    <a:pt x="734181" y="3113689"/>
                    <a:pt x="706663" y="3018622"/>
                  </a:cubicBezTo>
                  <a:cubicBezTo>
                    <a:pt x="680282" y="3011953"/>
                    <a:pt x="573736" y="3080540"/>
                    <a:pt x="541410" y="3084723"/>
                  </a:cubicBezTo>
                  <a:cubicBezTo>
                    <a:pt x="509084" y="3088906"/>
                    <a:pt x="522275" y="3057387"/>
                    <a:pt x="512707" y="3043719"/>
                  </a:cubicBezTo>
                  <a:lnTo>
                    <a:pt x="673612" y="2886419"/>
                  </a:lnTo>
                  <a:cubicBezTo>
                    <a:pt x="667634" y="2852940"/>
                    <a:pt x="694461" y="2827662"/>
                    <a:pt x="655679" y="2785982"/>
                  </a:cubicBezTo>
                  <a:cubicBezTo>
                    <a:pt x="554732" y="2804591"/>
                    <a:pt x="457886" y="2954414"/>
                    <a:pt x="377441" y="2956621"/>
                  </a:cubicBezTo>
                  <a:cubicBezTo>
                    <a:pt x="337293" y="2931690"/>
                    <a:pt x="399656" y="2849350"/>
                    <a:pt x="343106" y="2820318"/>
                  </a:cubicBezTo>
                  <a:cubicBezTo>
                    <a:pt x="277005" y="2806733"/>
                    <a:pt x="223205" y="2875156"/>
                    <a:pt x="144803" y="2853369"/>
                  </a:cubicBezTo>
                  <a:cubicBezTo>
                    <a:pt x="112428" y="2832619"/>
                    <a:pt x="174362" y="2762666"/>
                    <a:pt x="133786" y="2754217"/>
                  </a:cubicBezTo>
                  <a:cubicBezTo>
                    <a:pt x="100307" y="2752504"/>
                    <a:pt x="87330" y="2799997"/>
                    <a:pt x="45651" y="2798284"/>
                  </a:cubicBezTo>
                  <a:cubicBezTo>
                    <a:pt x="30962" y="2765234"/>
                    <a:pt x="-8330" y="2760886"/>
                    <a:pt x="1583" y="2699133"/>
                  </a:cubicBezTo>
                  <a:lnTo>
                    <a:pt x="125585" y="2606651"/>
                  </a:lnTo>
                  <a:lnTo>
                    <a:pt x="111752" y="2511846"/>
                  </a:lnTo>
                  <a:cubicBezTo>
                    <a:pt x="148475" y="2500829"/>
                    <a:pt x="189298" y="2514414"/>
                    <a:pt x="221921" y="2478795"/>
                  </a:cubicBezTo>
                  <a:cubicBezTo>
                    <a:pt x="216717" y="2436687"/>
                    <a:pt x="141806" y="2447885"/>
                    <a:pt x="144803" y="2401677"/>
                  </a:cubicBezTo>
                  <a:cubicBezTo>
                    <a:pt x="174181" y="2373403"/>
                    <a:pt x="203560" y="2394332"/>
                    <a:pt x="232938" y="2390660"/>
                  </a:cubicBezTo>
                  <a:lnTo>
                    <a:pt x="232938" y="2390660"/>
                  </a:lnTo>
                  <a:cubicBezTo>
                    <a:pt x="232938" y="2353937"/>
                    <a:pt x="196034" y="2341818"/>
                    <a:pt x="232938" y="2280492"/>
                  </a:cubicBezTo>
                  <a:lnTo>
                    <a:pt x="133786" y="2269475"/>
                  </a:lnTo>
                  <a:cubicBezTo>
                    <a:pt x="126327" y="2216532"/>
                    <a:pt x="336190" y="2147186"/>
                    <a:pt x="431241" y="2049137"/>
                  </a:cubicBezTo>
                  <a:cubicBezTo>
                    <a:pt x="466432" y="2011986"/>
                    <a:pt x="460620" y="1983036"/>
                    <a:pt x="475309" y="1949986"/>
                  </a:cubicBezTo>
                  <a:cubicBezTo>
                    <a:pt x="364778" y="1957084"/>
                    <a:pt x="401863" y="1898574"/>
                    <a:pt x="365140" y="1872868"/>
                  </a:cubicBezTo>
                  <a:cubicBezTo>
                    <a:pt x="365486" y="1837429"/>
                    <a:pt x="365831" y="1801991"/>
                    <a:pt x="366177" y="1766552"/>
                  </a:cubicBezTo>
                  <a:cubicBezTo>
                    <a:pt x="382513" y="1731591"/>
                    <a:pt x="483156" y="1666683"/>
                    <a:pt x="512361" y="1638499"/>
                  </a:cubicBezTo>
                  <a:cubicBezTo>
                    <a:pt x="541567" y="1610315"/>
                    <a:pt x="536569" y="1604288"/>
                    <a:pt x="541410" y="1597446"/>
                  </a:cubicBezTo>
                  <a:lnTo>
                    <a:pt x="541410" y="1597446"/>
                  </a:lnTo>
                  <a:cubicBezTo>
                    <a:pt x="489998" y="1593774"/>
                    <a:pt x="356577" y="1651608"/>
                    <a:pt x="387174" y="1586429"/>
                  </a:cubicBezTo>
                  <a:cubicBezTo>
                    <a:pt x="456453" y="1495297"/>
                    <a:pt x="394519" y="1461571"/>
                    <a:pt x="398191" y="1399142"/>
                  </a:cubicBezTo>
                  <a:cubicBezTo>
                    <a:pt x="373851" y="1381126"/>
                    <a:pt x="316708" y="1404116"/>
                    <a:pt x="325172" y="1345095"/>
                  </a:cubicBezTo>
                  <a:lnTo>
                    <a:pt x="563444" y="1188290"/>
                  </a:lnTo>
                  <a:cubicBezTo>
                    <a:pt x="678405" y="1139364"/>
                    <a:pt x="2741078" y="331857"/>
                    <a:pt x="4463415" y="0"/>
                  </a:cubicBezTo>
                  <a:cubicBezTo>
                    <a:pt x="4559932" y="38074"/>
                    <a:pt x="4566239" y="190959"/>
                    <a:pt x="4617651" y="286439"/>
                  </a:cubicBezTo>
                  <a:lnTo>
                    <a:pt x="4672735" y="242371"/>
                  </a:lnTo>
                  <a:cubicBezTo>
                    <a:pt x="4713904" y="255776"/>
                    <a:pt x="4714069" y="301984"/>
                    <a:pt x="4734736" y="331791"/>
                  </a:cubicBezTo>
                  <a:lnTo>
                    <a:pt x="4790314" y="398139"/>
                  </a:lnTo>
                  <a:cubicBezTo>
                    <a:pt x="4795189" y="419662"/>
                    <a:pt x="4797717" y="440329"/>
                    <a:pt x="4804938" y="462709"/>
                  </a:cubicBezTo>
                  <a:cubicBezTo>
                    <a:pt x="4812159" y="485089"/>
                    <a:pt x="4824073" y="509181"/>
                    <a:pt x="4833641" y="532417"/>
                  </a:cubicBezTo>
                  <a:cubicBezTo>
                    <a:pt x="4787350" y="538559"/>
                    <a:pt x="4724065" y="536838"/>
                    <a:pt x="4694769" y="550843"/>
                  </a:cubicBezTo>
                  <a:cubicBezTo>
                    <a:pt x="4665473" y="564848"/>
                    <a:pt x="4653765" y="608249"/>
                    <a:pt x="4657865" y="616450"/>
                  </a:cubicBezTo>
                  <a:lnTo>
                    <a:pt x="4738836" y="661012"/>
                  </a:lnTo>
                  <a:cubicBezTo>
                    <a:pt x="4817403" y="657257"/>
                    <a:pt x="4904172" y="604298"/>
                    <a:pt x="4974538" y="649748"/>
                  </a:cubicBezTo>
                  <a:cubicBezTo>
                    <a:pt x="5036555" y="688513"/>
                    <a:pt x="5008363" y="760081"/>
                    <a:pt x="5025275" y="815248"/>
                  </a:cubicBezTo>
                  <a:lnTo>
                    <a:pt x="5068305" y="910299"/>
                  </a:lnTo>
                  <a:lnTo>
                    <a:pt x="4915106" y="969484"/>
                  </a:lnTo>
                  <a:cubicBezTo>
                    <a:pt x="4929795" y="991518"/>
                    <a:pt x="4915782" y="1017652"/>
                    <a:pt x="4959174" y="1035586"/>
                  </a:cubicBezTo>
                  <a:cubicBezTo>
                    <a:pt x="5184831" y="911898"/>
                    <a:pt x="5332579" y="931724"/>
                    <a:pt x="5377815" y="947451"/>
                  </a:cubicBezTo>
                  <a:cubicBezTo>
                    <a:pt x="5444097" y="1001679"/>
                    <a:pt x="5436572" y="1072308"/>
                    <a:pt x="5465950" y="1134737"/>
                  </a:cubicBezTo>
                  <a:lnTo>
                    <a:pt x="5311713" y="1211856"/>
                  </a:lnTo>
                  <a:lnTo>
                    <a:pt x="5322730" y="1266940"/>
                  </a:lnTo>
                  <a:cubicBezTo>
                    <a:pt x="5395073" y="1237562"/>
                    <a:pt x="5430511" y="1236886"/>
                    <a:pt x="5478251" y="1207508"/>
                  </a:cubicBezTo>
                  <a:cubicBezTo>
                    <a:pt x="5531803" y="1219365"/>
                    <a:pt x="5536151" y="1313231"/>
                    <a:pt x="5565101" y="1366092"/>
                  </a:cubicBezTo>
                  <a:cubicBezTo>
                    <a:pt x="5452298" y="1456549"/>
                    <a:pt x="5277987" y="1456795"/>
                    <a:pt x="5120079" y="1489845"/>
                  </a:cubicBezTo>
                  <a:cubicBezTo>
                    <a:pt x="5119733" y="1522814"/>
                    <a:pt x="5119388" y="1555782"/>
                    <a:pt x="5119042" y="1588751"/>
                  </a:cubicBezTo>
                  <a:lnTo>
                    <a:pt x="5182574" y="1604115"/>
                  </a:lnTo>
                  <a:cubicBezTo>
                    <a:pt x="5203587" y="1627598"/>
                    <a:pt x="5224854" y="1667606"/>
                    <a:pt x="5245612" y="1674564"/>
                  </a:cubicBezTo>
                  <a:cubicBezTo>
                    <a:pt x="5266370" y="1681522"/>
                    <a:pt x="5290552" y="1637109"/>
                    <a:pt x="5307119" y="1645861"/>
                  </a:cubicBezTo>
                  <a:cubicBezTo>
                    <a:pt x="5323686" y="1654613"/>
                    <a:pt x="5332381" y="1700006"/>
                    <a:pt x="5345012" y="1727079"/>
                  </a:cubicBezTo>
                  <a:lnTo>
                    <a:pt x="5434677" y="1793674"/>
                  </a:lnTo>
                  <a:cubicBezTo>
                    <a:pt x="5434084" y="1849450"/>
                    <a:pt x="5412990" y="1831419"/>
                    <a:pt x="5412397" y="1887195"/>
                  </a:cubicBezTo>
                  <a:cubicBezTo>
                    <a:pt x="5447687" y="1971164"/>
                    <a:pt x="5359964" y="1973123"/>
                    <a:pt x="5333747" y="2016087"/>
                  </a:cubicBezTo>
                  <a:lnTo>
                    <a:pt x="5373467" y="2149820"/>
                  </a:lnTo>
                  <a:cubicBezTo>
                    <a:pt x="4667992" y="2355040"/>
                    <a:pt x="3753395" y="2560260"/>
                    <a:pt x="2883902" y="2810585"/>
                  </a:cubicBezTo>
                  <a:cubicBezTo>
                    <a:pt x="1294065" y="3352108"/>
                    <a:pt x="1483821" y="3360572"/>
                    <a:pt x="783781" y="3635566"/>
                  </a:cubicBezTo>
                  <a:close/>
                </a:path>
              </a:pathLst>
            </a:custGeom>
            <a:solidFill>
              <a:srgbClr val="4B4B4B"/>
            </a:solidFill>
            <a:ln>
              <a:noFill/>
            </a:ln>
            <a:effectLst>
              <a:outerShdw blurRad="63500" sx="102000" sy="102000" algn="ctr" rotWithShape="0">
                <a:prstClr val="black">
                  <a:alpha val="40000"/>
                </a:prstClr>
              </a:outerShdw>
            </a:effectLst>
          </p:spPr>
          <p:txBody>
            <a:bodyPr lIns="72000" tIns="72000" rIns="72000" bIns="72000" rtlCol="0" anchor="ctr"/>
            <a:lstStyle/>
            <a:p>
              <a:pPr algn="ctr" defTabSz="914400">
                <a:spcBef>
                  <a:spcPts val="600"/>
                </a:spcBef>
              </a:pPr>
              <a:endParaRPr lang="de-DE" sz="1400" dirty="0">
                <a:solidFill>
                  <a:srgbClr val="000000"/>
                </a:solidFill>
                <a:latin typeface="DB Office"/>
              </a:endParaRPr>
            </a:p>
          </p:txBody>
        </p:sp>
        <p:sp>
          <p:nvSpPr>
            <p:cNvPr id="232" name="Textfeld 231"/>
            <p:cNvSpPr txBox="1"/>
            <p:nvPr/>
          </p:nvSpPr>
          <p:spPr>
            <a:xfrm rot="20887304">
              <a:off x="457897" y="4470519"/>
              <a:ext cx="1003980" cy="257368"/>
            </a:xfrm>
            <a:prstGeom prst="rect">
              <a:avLst/>
            </a:prstGeom>
            <a:noFill/>
            <a:scene3d>
              <a:camera prst="orthographicFront">
                <a:rot lat="0" lon="0" rev="0"/>
              </a:camera>
              <a:lightRig rig="threePt" dir="t"/>
            </a:scene3d>
          </p:spPr>
          <p:txBody>
            <a:bodyPr wrap="square" lIns="36000" tIns="36000" rIns="36000" bIns="36000" rtlCol="0">
              <a:spAutoFit/>
            </a:bodyPr>
            <a:lstStyle/>
            <a:p>
              <a:pPr algn="ctr" defTabSz="914400"/>
              <a:r>
                <a:rPr lang="de-DE" sz="1200" b="1" dirty="0">
                  <a:solidFill>
                    <a:srgbClr val="FFFFFF"/>
                  </a:solidFill>
                  <a:latin typeface="DB Office"/>
                </a:rPr>
                <a:t>Sticker</a:t>
              </a:r>
            </a:p>
          </p:txBody>
        </p:sp>
      </p:grpSp>
      <p:grpSp>
        <p:nvGrpSpPr>
          <p:cNvPr id="233" name="Gruppieren 232"/>
          <p:cNvGrpSpPr/>
          <p:nvPr>
            <p:custDataLst>
              <p:tags r:id="rId10"/>
            </p:custDataLst>
          </p:nvPr>
        </p:nvGrpSpPr>
        <p:grpSpPr>
          <a:xfrm>
            <a:off x="2676885" y="2004811"/>
            <a:ext cx="1641694" cy="780919"/>
            <a:chOff x="3080792" y="1785726"/>
            <a:chExt cx="1641694" cy="780919"/>
          </a:xfrm>
        </p:grpSpPr>
        <p:pic>
          <p:nvPicPr>
            <p:cNvPr id="234" name="Picture 10" descr="E:\Professional_Services\Fotodatenbanken\Fotolia_Deposit_gekaufte_Fotos\Empfehlung.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080792" y="1785726"/>
              <a:ext cx="1641694" cy="780919"/>
            </a:xfrm>
            <a:prstGeom prst="rect">
              <a:avLst/>
            </a:prstGeom>
            <a:noFill/>
            <a:extLst>
              <a:ext uri="{909E8E84-426E-40DD-AFC4-6F175D3DCCD1}">
                <a14:hiddenFill xmlns:a14="http://schemas.microsoft.com/office/drawing/2010/main">
                  <a:solidFill>
                    <a:srgbClr val="FFFFFF"/>
                  </a:solidFill>
                </a14:hiddenFill>
              </a:ext>
            </a:extLst>
          </p:spPr>
        </p:pic>
        <p:sp>
          <p:nvSpPr>
            <p:cNvPr id="235" name="Textfeld 234"/>
            <p:cNvSpPr txBox="1"/>
            <p:nvPr/>
          </p:nvSpPr>
          <p:spPr>
            <a:xfrm rot="20947049">
              <a:off x="3165788" y="2049126"/>
              <a:ext cx="1512186" cy="184666"/>
            </a:xfrm>
            <a:prstGeom prst="rect">
              <a:avLst/>
            </a:prstGeom>
            <a:noFill/>
          </p:spPr>
          <p:txBody>
            <a:bodyPr wrap="square" lIns="0" tIns="0" rIns="0" bIns="0" rtlCol="0">
              <a:spAutoFit/>
            </a:bodyPr>
            <a:lstStyle/>
            <a:p>
              <a:pPr algn="ctr" defTabSz="914400"/>
              <a:r>
                <a:rPr lang="de-DE" sz="1200" b="1" dirty="0">
                  <a:solidFill>
                    <a:srgbClr val="FFFFFF"/>
                  </a:solidFill>
                  <a:latin typeface="DB Office"/>
                </a:rPr>
                <a:t>Sticker</a:t>
              </a:r>
            </a:p>
          </p:txBody>
        </p:sp>
      </p:grpSp>
      <p:grpSp>
        <p:nvGrpSpPr>
          <p:cNvPr id="236" name="Gruppieren 235"/>
          <p:cNvGrpSpPr/>
          <p:nvPr>
            <p:custDataLst>
              <p:tags r:id="rId11"/>
            </p:custDataLst>
          </p:nvPr>
        </p:nvGrpSpPr>
        <p:grpSpPr>
          <a:xfrm>
            <a:off x="5438961" y="1707282"/>
            <a:ext cx="1244912" cy="1244912"/>
            <a:chOff x="4325686" y="4089845"/>
            <a:chExt cx="1244912" cy="1244912"/>
          </a:xfrm>
        </p:grpSpPr>
        <p:grpSp>
          <p:nvGrpSpPr>
            <p:cNvPr id="237" name="Gruppieren 236"/>
            <p:cNvGrpSpPr/>
            <p:nvPr/>
          </p:nvGrpSpPr>
          <p:grpSpPr>
            <a:xfrm>
              <a:off x="4325686" y="4089845"/>
              <a:ext cx="1244912" cy="1244912"/>
              <a:chOff x="3563938" y="1943100"/>
              <a:chExt cx="4668838" cy="4524376"/>
            </a:xfrm>
          </p:grpSpPr>
          <p:sp>
            <p:nvSpPr>
              <p:cNvPr id="239" name="Freeform 6"/>
              <p:cNvSpPr>
                <a:spLocks/>
              </p:cNvSpPr>
              <p:nvPr>
                <p:custDataLst>
                  <p:tags r:id="rId18"/>
                </p:custDataLst>
              </p:nvPr>
            </p:nvSpPr>
            <p:spPr bwMode="auto">
              <a:xfrm>
                <a:off x="3563938" y="1947863"/>
                <a:ext cx="4668838" cy="4519613"/>
              </a:xfrm>
              <a:custGeom>
                <a:avLst/>
                <a:gdLst>
                  <a:gd name="T0" fmla="*/ 1018 w 2941"/>
                  <a:gd name="T1" fmla="*/ 3 h 2847"/>
                  <a:gd name="T2" fmla="*/ 1078 w 2941"/>
                  <a:gd name="T3" fmla="*/ 19 h 2847"/>
                  <a:gd name="T4" fmla="*/ 1139 w 2941"/>
                  <a:gd name="T5" fmla="*/ 42 h 2847"/>
                  <a:gd name="T6" fmla="*/ 2584 w 2941"/>
                  <a:gd name="T7" fmla="*/ 596 h 2847"/>
                  <a:gd name="T8" fmla="*/ 2635 w 2941"/>
                  <a:gd name="T9" fmla="*/ 612 h 2847"/>
                  <a:gd name="T10" fmla="*/ 2686 w 2941"/>
                  <a:gd name="T11" fmla="*/ 633 h 2847"/>
                  <a:gd name="T12" fmla="*/ 2741 w 2941"/>
                  <a:gd name="T13" fmla="*/ 668 h 2847"/>
                  <a:gd name="T14" fmla="*/ 2823 w 2941"/>
                  <a:gd name="T15" fmla="*/ 799 h 2847"/>
                  <a:gd name="T16" fmla="*/ 2898 w 2941"/>
                  <a:gd name="T17" fmla="*/ 1020 h 2847"/>
                  <a:gd name="T18" fmla="*/ 2936 w 2941"/>
                  <a:gd name="T19" fmla="*/ 1255 h 2847"/>
                  <a:gd name="T20" fmla="*/ 2936 w 2941"/>
                  <a:gd name="T21" fmla="*/ 1497 h 2847"/>
                  <a:gd name="T22" fmla="*/ 2898 w 2941"/>
                  <a:gd name="T23" fmla="*/ 1730 h 2847"/>
                  <a:gd name="T24" fmla="*/ 2824 w 2941"/>
                  <a:gd name="T25" fmla="*/ 1950 h 2847"/>
                  <a:gd name="T26" fmla="*/ 2721 w 2941"/>
                  <a:gd name="T27" fmla="*/ 2150 h 2847"/>
                  <a:gd name="T28" fmla="*/ 2587 w 2941"/>
                  <a:gd name="T29" fmla="*/ 2334 h 2847"/>
                  <a:gd name="T30" fmla="*/ 2428 w 2941"/>
                  <a:gd name="T31" fmla="*/ 2493 h 2847"/>
                  <a:gd name="T32" fmla="*/ 2244 w 2941"/>
                  <a:gd name="T33" fmla="*/ 2627 h 2847"/>
                  <a:gd name="T34" fmla="*/ 2042 w 2941"/>
                  <a:gd name="T35" fmla="*/ 2732 h 2847"/>
                  <a:gd name="T36" fmla="*/ 1824 w 2941"/>
                  <a:gd name="T37" fmla="*/ 2804 h 2847"/>
                  <a:gd name="T38" fmla="*/ 1591 w 2941"/>
                  <a:gd name="T39" fmla="*/ 2842 h 2847"/>
                  <a:gd name="T40" fmla="*/ 1349 w 2941"/>
                  <a:gd name="T41" fmla="*/ 2842 h 2847"/>
                  <a:gd name="T42" fmla="*/ 1116 w 2941"/>
                  <a:gd name="T43" fmla="*/ 2804 h 2847"/>
                  <a:gd name="T44" fmla="*/ 898 w 2941"/>
                  <a:gd name="T45" fmla="*/ 2732 h 2847"/>
                  <a:gd name="T46" fmla="*/ 696 w 2941"/>
                  <a:gd name="T47" fmla="*/ 2627 h 2847"/>
                  <a:gd name="T48" fmla="*/ 514 w 2941"/>
                  <a:gd name="T49" fmla="*/ 2493 h 2847"/>
                  <a:gd name="T50" fmla="*/ 355 w 2941"/>
                  <a:gd name="T51" fmla="*/ 2334 h 2847"/>
                  <a:gd name="T52" fmla="*/ 221 w 2941"/>
                  <a:gd name="T53" fmla="*/ 2150 h 2847"/>
                  <a:gd name="T54" fmla="*/ 116 w 2941"/>
                  <a:gd name="T55" fmla="*/ 1950 h 2847"/>
                  <a:gd name="T56" fmla="*/ 43 w 2941"/>
                  <a:gd name="T57" fmla="*/ 1730 h 2847"/>
                  <a:gd name="T58" fmla="*/ 4 w 2941"/>
                  <a:gd name="T59" fmla="*/ 1497 h 2847"/>
                  <a:gd name="T60" fmla="*/ 4 w 2941"/>
                  <a:gd name="T61" fmla="*/ 1259 h 2847"/>
                  <a:gd name="T62" fmla="*/ 39 w 2941"/>
                  <a:gd name="T63" fmla="*/ 1035 h 2847"/>
                  <a:gd name="T64" fmla="*/ 108 w 2941"/>
                  <a:gd name="T65" fmla="*/ 821 h 2847"/>
                  <a:gd name="T66" fmla="*/ 207 w 2941"/>
                  <a:gd name="T67" fmla="*/ 625 h 2847"/>
                  <a:gd name="T68" fmla="*/ 333 w 2941"/>
                  <a:gd name="T69" fmla="*/ 445 h 2847"/>
                  <a:gd name="T70" fmla="*/ 482 w 2941"/>
                  <a:gd name="T71" fmla="*/ 287 h 2847"/>
                  <a:gd name="T72" fmla="*/ 654 w 2941"/>
                  <a:gd name="T73" fmla="*/ 153 h 2847"/>
                  <a:gd name="T74" fmla="*/ 846 w 2941"/>
                  <a:gd name="T75" fmla="*/ 45 h 2847"/>
                  <a:gd name="T76" fmla="*/ 986 w 2941"/>
                  <a:gd name="T77" fmla="*/ 0 h 2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1" h="2847">
                    <a:moveTo>
                      <a:pt x="986" y="0"/>
                    </a:moveTo>
                    <a:lnTo>
                      <a:pt x="1018" y="3"/>
                    </a:lnTo>
                    <a:lnTo>
                      <a:pt x="1049" y="10"/>
                    </a:lnTo>
                    <a:lnTo>
                      <a:pt x="1078" y="19"/>
                    </a:lnTo>
                    <a:lnTo>
                      <a:pt x="1108" y="29"/>
                    </a:lnTo>
                    <a:lnTo>
                      <a:pt x="1139" y="42"/>
                    </a:lnTo>
                    <a:lnTo>
                      <a:pt x="2558" y="587"/>
                    </a:lnTo>
                    <a:lnTo>
                      <a:pt x="2584" y="596"/>
                    </a:lnTo>
                    <a:lnTo>
                      <a:pt x="2609" y="604"/>
                    </a:lnTo>
                    <a:lnTo>
                      <a:pt x="2635" y="612"/>
                    </a:lnTo>
                    <a:lnTo>
                      <a:pt x="2660" y="622"/>
                    </a:lnTo>
                    <a:lnTo>
                      <a:pt x="2686" y="633"/>
                    </a:lnTo>
                    <a:lnTo>
                      <a:pt x="2713" y="647"/>
                    </a:lnTo>
                    <a:lnTo>
                      <a:pt x="2741" y="668"/>
                    </a:lnTo>
                    <a:lnTo>
                      <a:pt x="2773" y="695"/>
                    </a:lnTo>
                    <a:lnTo>
                      <a:pt x="2823" y="799"/>
                    </a:lnTo>
                    <a:lnTo>
                      <a:pt x="2864" y="907"/>
                    </a:lnTo>
                    <a:lnTo>
                      <a:pt x="2898" y="1020"/>
                    </a:lnTo>
                    <a:lnTo>
                      <a:pt x="2921" y="1137"/>
                    </a:lnTo>
                    <a:lnTo>
                      <a:pt x="2936" y="1255"/>
                    </a:lnTo>
                    <a:lnTo>
                      <a:pt x="2941" y="1376"/>
                    </a:lnTo>
                    <a:lnTo>
                      <a:pt x="2936" y="1497"/>
                    </a:lnTo>
                    <a:lnTo>
                      <a:pt x="2921" y="1615"/>
                    </a:lnTo>
                    <a:lnTo>
                      <a:pt x="2898" y="1730"/>
                    </a:lnTo>
                    <a:lnTo>
                      <a:pt x="2866" y="1841"/>
                    </a:lnTo>
                    <a:lnTo>
                      <a:pt x="2824" y="1950"/>
                    </a:lnTo>
                    <a:lnTo>
                      <a:pt x="2776" y="2052"/>
                    </a:lnTo>
                    <a:lnTo>
                      <a:pt x="2721" y="2150"/>
                    </a:lnTo>
                    <a:lnTo>
                      <a:pt x="2657" y="2245"/>
                    </a:lnTo>
                    <a:lnTo>
                      <a:pt x="2587" y="2334"/>
                    </a:lnTo>
                    <a:lnTo>
                      <a:pt x="2510" y="2417"/>
                    </a:lnTo>
                    <a:lnTo>
                      <a:pt x="2428" y="2493"/>
                    </a:lnTo>
                    <a:lnTo>
                      <a:pt x="2338" y="2563"/>
                    </a:lnTo>
                    <a:lnTo>
                      <a:pt x="2244" y="2627"/>
                    </a:lnTo>
                    <a:lnTo>
                      <a:pt x="2146" y="2683"/>
                    </a:lnTo>
                    <a:lnTo>
                      <a:pt x="2042" y="2732"/>
                    </a:lnTo>
                    <a:lnTo>
                      <a:pt x="1935" y="2772"/>
                    </a:lnTo>
                    <a:lnTo>
                      <a:pt x="1824" y="2804"/>
                    </a:lnTo>
                    <a:lnTo>
                      <a:pt x="1709" y="2828"/>
                    </a:lnTo>
                    <a:lnTo>
                      <a:pt x="1591" y="2842"/>
                    </a:lnTo>
                    <a:lnTo>
                      <a:pt x="1470" y="2847"/>
                    </a:lnTo>
                    <a:lnTo>
                      <a:pt x="1349" y="2842"/>
                    </a:lnTo>
                    <a:lnTo>
                      <a:pt x="1233" y="2828"/>
                    </a:lnTo>
                    <a:lnTo>
                      <a:pt x="1116" y="2804"/>
                    </a:lnTo>
                    <a:lnTo>
                      <a:pt x="1006" y="2772"/>
                    </a:lnTo>
                    <a:lnTo>
                      <a:pt x="898" y="2732"/>
                    </a:lnTo>
                    <a:lnTo>
                      <a:pt x="795" y="2683"/>
                    </a:lnTo>
                    <a:lnTo>
                      <a:pt x="696" y="2627"/>
                    </a:lnTo>
                    <a:lnTo>
                      <a:pt x="602" y="2563"/>
                    </a:lnTo>
                    <a:lnTo>
                      <a:pt x="514" y="2493"/>
                    </a:lnTo>
                    <a:lnTo>
                      <a:pt x="431" y="2417"/>
                    </a:lnTo>
                    <a:lnTo>
                      <a:pt x="355" y="2334"/>
                    </a:lnTo>
                    <a:lnTo>
                      <a:pt x="283" y="2245"/>
                    </a:lnTo>
                    <a:lnTo>
                      <a:pt x="221" y="2150"/>
                    </a:lnTo>
                    <a:lnTo>
                      <a:pt x="164" y="2052"/>
                    </a:lnTo>
                    <a:lnTo>
                      <a:pt x="116" y="1950"/>
                    </a:lnTo>
                    <a:lnTo>
                      <a:pt x="74" y="1841"/>
                    </a:lnTo>
                    <a:lnTo>
                      <a:pt x="43" y="1730"/>
                    </a:lnTo>
                    <a:lnTo>
                      <a:pt x="19" y="1615"/>
                    </a:lnTo>
                    <a:lnTo>
                      <a:pt x="4" y="1497"/>
                    </a:lnTo>
                    <a:lnTo>
                      <a:pt x="0" y="1376"/>
                    </a:lnTo>
                    <a:lnTo>
                      <a:pt x="4" y="1259"/>
                    </a:lnTo>
                    <a:lnTo>
                      <a:pt x="19" y="1146"/>
                    </a:lnTo>
                    <a:lnTo>
                      <a:pt x="39" y="1035"/>
                    </a:lnTo>
                    <a:lnTo>
                      <a:pt x="70" y="926"/>
                    </a:lnTo>
                    <a:lnTo>
                      <a:pt x="108" y="821"/>
                    </a:lnTo>
                    <a:lnTo>
                      <a:pt x="154" y="721"/>
                    </a:lnTo>
                    <a:lnTo>
                      <a:pt x="207" y="625"/>
                    </a:lnTo>
                    <a:lnTo>
                      <a:pt x="266" y="533"/>
                    </a:lnTo>
                    <a:lnTo>
                      <a:pt x="333" y="445"/>
                    </a:lnTo>
                    <a:lnTo>
                      <a:pt x="404" y="364"/>
                    </a:lnTo>
                    <a:lnTo>
                      <a:pt x="482" y="287"/>
                    </a:lnTo>
                    <a:lnTo>
                      <a:pt x="567" y="217"/>
                    </a:lnTo>
                    <a:lnTo>
                      <a:pt x="654" y="153"/>
                    </a:lnTo>
                    <a:lnTo>
                      <a:pt x="748" y="96"/>
                    </a:lnTo>
                    <a:lnTo>
                      <a:pt x="846" y="45"/>
                    </a:lnTo>
                    <a:lnTo>
                      <a:pt x="947" y="2"/>
                    </a:lnTo>
                    <a:lnTo>
                      <a:pt x="986" y="0"/>
                    </a:lnTo>
                    <a:close/>
                  </a:path>
                </a:pathLst>
              </a:custGeom>
              <a:gradFill flip="none" rotWithShape="1">
                <a:gsLst>
                  <a:gs pos="0">
                    <a:srgbClr val="E1E6EB">
                      <a:lumMod val="90000"/>
                    </a:srgbClr>
                  </a:gs>
                  <a:gs pos="96650">
                    <a:srgbClr val="FFFFFF"/>
                  </a:gs>
                  <a:gs pos="50000">
                    <a:srgbClr val="E1E6EB"/>
                  </a:gs>
                </a:gsLst>
                <a:lin ang="16200000" scaled="1"/>
                <a:tileRect/>
              </a:gradFill>
              <a:ln w="0">
                <a:noFill/>
                <a:prstDash val="solid"/>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B Office"/>
                </a:endParaRPr>
              </a:p>
            </p:txBody>
          </p:sp>
          <p:sp>
            <p:nvSpPr>
              <p:cNvPr id="240" name="Freeform 7"/>
              <p:cNvSpPr>
                <a:spLocks/>
              </p:cNvSpPr>
              <p:nvPr>
                <p:custDataLst>
                  <p:tags r:id="rId19"/>
                </p:custDataLst>
              </p:nvPr>
            </p:nvSpPr>
            <p:spPr bwMode="auto">
              <a:xfrm>
                <a:off x="5067300" y="1943100"/>
                <a:ext cx="2898775" cy="1196975"/>
              </a:xfrm>
              <a:custGeom>
                <a:avLst/>
                <a:gdLst>
                  <a:gd name="T0" fmla="*/ 90 w 1826"/>
                  <a:gd name="T1" fmla="*/ 0 h 754"/>
                  <a:gd name="T2" fmla="*/ 122 w 1826"/>
                  <a:gd name="T3" fmla="*/ 2 h 754"/>
                  <a:gd name="T4" fmla="*/ 155 w 1826"/>
                  <a:gd name="T5" fmla="*/ 5 h 754"/>
                  <a:gd name="T6" fmla="*/ 185 w 1826"/>
                  <a:gd name="T7" fmla="*/ 11 h 754"/>
                  <a:gd name="T8" fmla="*/ 216 w 1826"/>
                  <a:gd name="T9" fmla="*/ 19 h 754"/>
                  <a:gd name="T10" fmla="*/ 1678 w 1826"/>
                  <a:gd name="T11" fmla="*/ 577 h 754"/>
                  <a:gd name="T12" fmla="*/ 1716 w 1826"/>
                  <a:gd name="T13" fmla="*/ 595 h 754"/>
                  <a:gd name="T14" fmla="*/ 1750 w 1826"/>
                  <a:gd name="T15" fmla="*/ 614 h 754"/>
                  <a:gd name="T16" fmla="*/ 1780 w 1826"/>
                  <a:gd name="T17" fmla="*/ 638 h 754"/>
                  <a:gd name="T18" fmla="*/ 1806 w 1826"/>
                  <a:gd name="T19" fmla="*/ 666 h 754"/>
                  <a:gd name="T20" fmla="*/ 1826 w 1826"/>
                  <a:gd name="T21" fmla="*/ 698 h 754"/>
                  <a:gd name="T22" fmla="*/ 1796 w 1826"/>
                  <a:gd name="T23" fmla="*/ 681 h 754"/>
                  <a:gd name="T24" fmla="*/ 1764 w 1826"/>
                  <a:gd name="T25" fmla="*/ 671 h 754"/>
                  <a:gd name="T26" fmla="*/ 1728 w 1826"/>
                  <a:gd name="T27" fmla="*/ 668 h 754"/>
                  <a:gd name="T28" fmla="*/ 1691 w 1826"/>
                  <a:gd name="T29" fmla="*/ 673 h 754"/>
                  <a:gd name="T30" fmla="*/ 1649 w 1826"/>
                  <a:gd name="T31" fmla="*/ 681 h 754"/>
                  <a:gd name="T32" fmla="*/ 1605 w 1826"/>
                  <a:gd name="T33" fmla="*/ 692 h 754"/>
                  <a:gd name="T34" fmla="*/ 1557 w 1826"/>
                  <a:gd name="T35" fmla="*/ 705 h 754"/>
                  <a:gd name="T36" fmla="*/ 1504 w 1826"/>
                  <a:gd name="T37" fmla="*/ 719 h 754"/>
                  <a:gd name="T38" fmla="*/ 1449 w 1826"/>
                  <a:gd name="T39" fmla="*/ 732 h 754"/>
                  <a:gd name="T40" fmla="*/ 1388 w 1826"/>
                  <a:gd name="T41" fmla="*/ 743 h 754"/>
                  <a:gd name="T42" fmla="*/ 1323 w 1826"/>
                  <a:gd name="T43" fmla="*/ 751 h 754"/>
                  <a:gd name="T44" fmla="*/ 1251 w 1826"/>
                  <a:gd name="T45" fmla="*/ 754 h 754"/>
                  <a:gd name="T46" fmla="*/ 1213 w 1826"/>
                  <a:gd name="T47" fmla="*/ 754 h 754"/>
                  <a:gd name="T48" fmla="*/ 1168 w 1826"/>
                  <a:gd name="T49" fmla="*/ 752 h 754"/>
                  <a:gd name="T50" fmla="*/ 1117 w 1826"/>
                  <a:gd name="T51" fmla="*/ 746 h 754"/>
                  <a:gd name="T52" fmla="*/ 1062 w 1826"/>
                  <a:gd name="T53" fmla="*/ 738 h 754"/>
                  <a:gd name="T54" fmla="*/ 1003 w 1826"/>
                  <a:gd name="T55" fmla="*/ 727 h 754"/>
                  <a:gd name="T56" fmla="*/ 940 w 1826"/>
                  <a:gd name="T57" fmla="*/ 713 h 754"/>
                  <a:gd name="T58" fmla="*/ 877 w 1826"/>
                  <a:gd name="T59" fmla="*/ 695 h 754"/>
                  <a:gd name="T60" fmla="*/ 810 w 1826"/>
                  <a:gd name="T61" fmla="*/ 676 h 754"/>
                  <a:gd name="T62" fmla="*/ 743 w 1826"/>
                  <a:gd name="T63" fmla="*/ 652 h 754"/>
                  <a:gd name="T64" fmla="*/ 678 w 1826"/>
                  <a:gd name="T65" fmla="*/ 625 h 754"/>
                  <a:gd name="T66" fmla="*/ 611 w 1826"/>
                  <a:gd name="T67" fmla="*/ 596 h 754"/>
                  <a:gd name="T68" fmla="*/ 547 w 1826"/>
                  <a:gd name="T69" fmla="*/ 563 h 754"/>
                  <a:gd name="T70" fmla="*/ 485 w 1826"/>
                  <a:gd name="T71" fmla="*/ 526 h 754"/>
                  <a:gd name="T72" fmla="*/ 427 w 1826"/>
                  <a:gd name="T73" fmla="*/ 486 h 754"/>
                  <a:gd name="T74" fmla="*/ 372 w 1826"/>
                  <a:gd name="T75" fmla="*/ 443 h 754"/>
                  <a:gd name="T76" fmla="*/ 322 w 1826"/>
                  <a:gd name="T77" fmla="*/ 397 h 754"/>
                  <a:gd name="T78" fmla="*/ 279 w 1826"/>
                  <a:gd name="T79" fmla="*/ 348 h 754"/>
                  <a:gd name="T80" fmla="*/ 241 w 1826"/>
                  <a:gd name="T81" fmla="*/ 295 h 754"/>
                  <a:gd name="T82" fmla="*/ 209 w 1826"/>
                  <a:gd name="T83" fmla="*/ 238 h 754"/>
                  <a:gd name="T84" fmla="*/ 181 w 1826"/>
                  <a:gd name="T85" fmla="*/ 180 h 754"/>
                  <a:gd name="T86" fmla="*/ 153 w 1826"/>
                  <a:gd name="T87" fmla="*/ 132 h 754"/>
                  <a:gd name="T88" fmla="*/ 128 w 1826"/>
                  <a:gd name="T89" fmla="*/ 94 h 754"/>
                  <a:gd name="T90" fmla="*/ 104 w 1826"/>
                  <a:gd name="T91" fmla="*/ 64 h 754"/>
                  <a:gd name="T92" fmla="*/ 82 w 1826"/>
                  <a:gd name="T93" fmla="*/ 42 h 754"/>
                  <a:gd name="T94" fmla="*/ 61 w 1826"/>
                  <a:gd name="T95" fmla="*/ 26 h 754"/>
                  <a:gd name="T96" fmla="*/ 44 w 1826"/>
                  <a:gd name="T97" fmla="*/ 14 h 754"/>
                  <a:gd name="T98" fmla="*/ 29 w 1826"/>
                  <a:gd name="T99" fmla="*/ 8 h 754"/>
                  <a:gd name="T100" fmla="*/ 16 w 1826"/>
                  <a:gd name="T101" fmla="*/ 5 h 754"/>
                  <a:gd name="T102" fmla="*/ 8 w 1826"/>
                  <a:gd name="T103" fmla="*/ 5 h 754"/>
                  <a:gd name="T104" fmla="*/ 2 w 1826"/>
                  <a:gd name="T105" fmla="*/ 5 h 754"/>
                  <a:gd name="T106" fmla="*/ 0 w 1826"/>
                  <a:gd name="T107" fmla="*/ 5 h 754"/>
                  <a:gd name="T108" fmla="*/ 4 w 1826"/>
                  <a:gd name="T109" fmla="*/ 5 h 754"/>
                  <a:gd name="T110" fmla="*/ 16 w 1826"/>
                  <a:gd name="T111" fmla="*/ 3 h 754"/>
                  <a:gd name="T112" fmla="*/ 36 w 1826"/>
                  <a:gd name="T113" fmla="*/ 2 h 754"/>
                  <a:gd name="T114" fmla="*/ 61 w 1826"/>
                  <a:gd name="T115" fmla="*/ 0 h 754"/>
                  <a:gd name="T116" fmla="*/ 90 w 1826"/>
                  <a:gd name="T117"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6" h="754">
                    <a:moveTo>
                      <a:pt x="90" y="0"/>
                    </a:moveTo>
                    <a:lnTo>
                      <a:pt x="122" y="2"/>
                    </a:lnTo>
                    <a:lnTo>
                      <a:pt x="155" y="5"/>
                    </a:lnTo>
                    <a:lnTo>
                      <a:pt x="185" y="11"/>
                    </a:lnTo>
                    <a:lnTo>
                      <a:pt x="216" y="19"/>
                    </a:lnTo>
                    <a:lnTo>
                      <a:pt x="1678" y="577"/>
                    </a:lnTo>
                    <a:lnTo>
                      <a:pt x="1716" y="595"/>
                    </a:lnTo>
                    <a:lnTo>
                      <a:pt x="1750" y="614"/>
                    </a:lnTo>
                    <a:lnTo>
                      <a:pt x="1780" y="638"/>
                    </a:lnTo>
                    <a:lnTo>
                      <a:pt x="1806" y="666"/>
                    </a:lnTo>
                    <a:lnTo>
                      <a:pt x="1826" y="698"/>
                    </a:lnTo>
                    <a:lnTo>
                      <a:pt x="1796" y="681"/>
                    </a:lnTo>
                    <a:lnTo>
                      <a:pt x="1764" y="671"/>
                    </a:lnTo>
                    <a:lnTo>
                      <a:pt x="1728" y="668"/>
                    </a:lnTo>
                    <a:lnTo>
                      <a:pt x="1691" y="673"/>
                    </a:lnTo>
                    <a:lnTo>
                      <a:pt x="1649" y="681"/>
                    </a:lnTo>
                    <a:lnTo>
                      <a:pt x="1605" y="692"/>
                    </a:lnTo>
                    <a:lnTo>
                      <a:pt x="1557" y="705"/>
                    </a:lnTo>
                    <a:lnTo>
                      <a:pt x="1504" y="719"/>
                    </a:lnTo>
                    <a:lnTo>
                      <a:pt x="1449" y="732"/>
                    </a:lnTo>
                    <a:lnTo>
                      <a:pt x="1388" y="743"/>
                    </a:lnTo>
                    <a:lnTo>
                      <a:pt x="1323" y="751"/>
                    </a:lnTo>
                    <a:lnTo>
                      <a:pt x="1251" y="754"/>
                    </a:lnTo>
                    <a:lnTo>
                      <a:pt x="1213" y="754"/>
                    </a:lnTo>
                    <a:lnTo>
                      <a:pt x="1168" y="752"/>
                    </a:lnTo>
                    <a:lnTo>
                      <a:pt x="1117" y="746"/>
                    </a:lnTo>
                    <a:lnTo>
                      <a:pt x="1062" y="738"/>
                    </a:lnTo>
                    <a:lnTo>
                      <a:pt x="1003" y="727"/>
                    </a:lnTo>
                    <a:lnTo>
                      <a:pt x="940" y="713"/>
                    </a:lnTo>
                    <a:lnTo>
                      <a:pt x="877" y="695"/>
                    </a:lnTo>
                    <a:lnTo>
                      <a:pt x="810" y="676"/>
                    </a:lnTo>
                    <a:lnTo>
                      <a:pt x="743" y="652"/>
                    </a:lnTo>
                    <a:lnTo>
                      <a:pt x="678" y="625"/>
                    </a:lnTo>
                    <a:lnTo>
                      <a:pt x="611" y="596"/>
                    </a:lnTo>
                    <a:lnTo>
                      <a:pt x="547" y="563"/>
                    </a:lnTo>
                    <a:lnTo>
                      <a:pt x="485" y="526"/>
                    </a:lnTo>
                    <a:lnTo>
                      <a:pt x="427" y="486"/>
                    </a:lnTo>
                    <a:lnTo>
                      <a:pt x="372" y="443"/>
                    </a:lnTo>
                    <a:lnTo>
                      <a:pt x="322" y="397"/>
                    </a:lnTo>
                    <a:lnTo>
                      <a:pt x="279" y="348"/>
                    </a:lnTo>
                    <a:lnTo>
                      <a:pt x="241" y="295"/>
                    </a:lnTo>
                    <a:lnTo>
                      <a:pt x="209" y="238"/>
                    </a:lnTo>
                    <a:lnTo>
                      <a:pt x="181" y="180"/>
                    </a:lnTo>
                    <a:lnTo>
                      <a:pt x="153" y="132"/>
                    </a:lnTo>
                    <a:lnTo>
                      <a:pt x="128" y="94"/>
                    </a:lnTo>
                    <a:lnTo>
                      <a:pt x="104" y="64"/>
                    </a:lnTo>
                    <a:lnTo>
                      <a:pt x="82" y="42"/>
                    </a:lnTo>
                    <a:lnTo>
                      <a:pt x="61" y="26"/>
                    </a:lnTo>
                    <a:lnTo>
                      <a:pt x="44" y="14"/>
                    </a:lnTo>
                    <a:lnTo>
                      <a:pt x="29" y="8"/>
                    </a:lnTo>
                    <a:lnTo>
                      <a:pt x="16" y="5"/>
                    </a:lnTo>
                    <a:lnTo>
                      <a:pt x="8" y="5"/>
                    </a:lnTo>
                    <a:lnTo>
                      <a:pt x="2" y="5"/>
                    </a:lnTo>
                    <a:lnTo>
                      <a:pt x="0" y="5"/>
                    </a:lnTo>
                    <a:lnTo>
                      <a:pt x="4" y="5"/>
                    </a:lnTo>
                    <a:lnTo>
                      <a:pt x="16" y="3"/>
                    </a:lnTo>
                    <a:lnTo>
                      <a:pt x="36" y="2"/>
                    </a:lnTo>
                    <a:lnTo>
                      <a:pt x="61" y="0"/>
                    </a:lnTo>
                    <a:lnTo>
                      <a:pt x="90" y="0"/>
                    </a:lnTo>
                    <a:close/>
                  </a:path>
                </a:pathLst>
              </a:custGeom>
              <a:gradFill>
                <a:gsLst>
                  <a:gs pos="0">
                    <a:srgbClr val="FFFFFF"/>
                  </a:gs>
                  <a:gs pos="7001">
                    <a:srgbClr val="E6E6E6"/>
                  </a:gs>
                  <a:gs pos="22000">
                    <a:srgbClr val="7D8496"/>
                  </a:gs>
                  <a:gs pos="55000">
                    <a:srgbClr val="FFFFFF"/>
                  </a:gs>
                  <a:gs pos="85001">
                    <a:srgbClr val="7D8496"/>
                  </a:gs>
                  <a:gs pos="100000">
                    <a:srgbClr val="E6E6E6"/>
                  </a:gs>
                </a:gsLst>
                <a:lin ang="6600000" scaled="0"/>
              </a:gradFill>
              <a:ln w="0">
                <a:noFill/>
                <a:prstDash val="solid"/>
                <a:round/>
                <a:headEnd/>
                <a:tailEnd/>
              </a:ln>
              <a:effectLst>
                <a:outerShdw blurRad="139700" dist="63500" dir="8100000" algn="tr" rotWithShape="0">
                  <a:prstClr val="black">
                    <a:alpha val="5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DB Office"/>
                </a:endParaRPr>
              </a:p>
            </p:txBody>
          </p:sp>
        </p:grpSp>
        <p:sp>
          <p:nvSpPr>
            <p:cNvPr id="238" name="Textfeld 237"/>
            <p:cNvSpPr txBox="1"/>
            <p:nvPr/>
          </p:nvSpPr>
          <p:spPr>
            <a:xfrm rot="21021901">
              <a:off x="4386094" y="4659296"/>
              <a:ext cx="1149193" cy="184666"/>
            </a:xfrm>
            <a:prstGeom prst="rect">
              <a:avLst/>
            </a:prstGeom>
            <a:noFill/>
          </p:spPr>
          <p:txBody>
            <a:bodyPr wrap="square" lIns="0" tIns="0" rIns="0" bIns="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DB Office"/>
                  <a:ea typeface="Open Sans" pitchFamily="34" charset="0"/>
                  <a:cs typeface="Open Sans" pitchFamily="34" charset="0"/>
                </a:rPr>
                <a:t>Sticker</a:t>
              </a:r>
              <a:endParaRPr kumimoji="0" lang="de-DE" sz="1200" b="0" i="0" u="none" strike="noStrike" kern="0" cap="none" spc="0" normalizeH="0" baseline="0" noProof="0" dirty="0">
                <a:ln>
                  <a:noFill/>
                </a:ln>
                <a:solidFill>
                  <a:srgbClr val="000000"/>
                </a:solidFill>
                <a:effectLst/>
                <a:uLnTx/>
                <a:uFillTx/>
                <a:latin typeface="DB Office"/>
                <a:ea typeface="Open Sans" pitchFamily="34" charset="0"/>
                <a:cs typeface="Open Sans" pitchFamily="34" charset="0"/>
              </a:endParaRPr>
            </a:p>
          </p:txBody>
        </p:sp>
      </p:grpSp>
      <p:sp>
        <p:nvSpPr>
          <p:cNvPr id="241" name="Abgerundetes Rechteck 240"/>
          <p:cNvSpPr/>
          <p:nvPr>
            <p:custDataLst>
              <p:tags r:id="rId12"/>
            </p:custDataLst>
          </p:nvPr>
        </p:nvSpPr>
        <p:spPr bwMode="auto">
          <a:xfrm rot="20796651">
            <a:off x="7804255" y="2052986"/>
            <a:ext cx="1198065" cy="589153"/>
          </a:xfrm>
          <a:prstGeom prst="roundRect">
            <a:avLst/>
          </a:prstGeom>
          <a:gradFill flip="none" rotWithShape="1">
            <a:gsLst>
              <a:gs pos="80300">
                <a:srgbClr val="DBE1E7"/>
              </a:gs>
              <a:gs pos="0">
                <a:srgbClr val="E1E6EB">
                  <a:lumMod val="90000"/>
                </a:srgbClr>
              </a:gs>
              <a:gs pos="100000">
                <a:srgbClr val="E1E6EB"/>
              </a:gs>
            </a:gsLst>
            <a:lin ang="16200000" scaled="1"/>
            <a:tileRect/>
          </a:gradFill>
          <a:ln w="9525" cap="flat" cmpd="sng" algn="ctr">
            <a:solidFill>
              <a:srgbClr val="C8CDD2"/>
            </a:solidFill>
            <a:prstDash val="solid"/>
            <a:round/>
            <a:headEnd type="none" w="med" len="med"/>
            <a:tailEnd type="none" w="med" len="me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DB Office"/>
              </a:rPr>
              <a:t>Sticker</a:t>
            </a:r>
          </a:p>
        </p:txBody>
      </p:sp>
      <p:grpSp>
        <p:nvGrpSpPr>
          <p:cNvPr id="9" name="Gruppieren 8">
            <a:extLst>
              <a:ext uri="{FF2B5EF4-FFF2-40B4-BE49-F238E27FC236}">
                <a16:creationId xmlns:a16="http://schemas.microsoft.com/office/drawing/2014/main" id="{288D8F00-7E23-45F4-B1E2-3361749EF730}"/>
              </a:ext>
            </a:extLst>
          </p:cNvPr>
          <p:cNvGrpSpPr/>
          <p:nvPr/>
        </p:nvGrpSpPr>
        <p:grpSpPr>
          <a:xfrm>
            <a:off x="285006" y="3558389"/>
            <a:ext cx="1914492" cy="1427931"/>
            <a:chOff x="7689304" y="2243939"/>
            <a:chExt cx="1914492" cy="1427931"/>
          </a:xfrm>
        </p:grpSpPr>
        <p:grpSp>
          <p:nvGrpSpPr>
            <p:cNvPr id="57" name="Gruppieren 56">
              <a:extLst>
                <a:ext uri="{FF2B5EF4-FFF2-40B4-BE49-F238E27FC236}">
                  <a16:creationId xmlns:a16="http://schemas.microsoft.com/office/drawing/2014/main" id="{3DA305B9-3D97-4B82-B02F-4C7C9C0F94B9}"/>
                </a:ext>
              </a:extLst>
            </p:cNvPr>
            <p:cNvGrpSpPr/>
            <p:nvPr>
              <p:custDataLst>
                <p:tags r:id="rId16"/>
              </p:custDataLst>
            </p:nvPr>
          </p:nvGrpSpPr>
          <p:grpSpPr>
            <a:xfrm>
              <a:off x="7689304" y="2403549"/>
              <a:ext cx="1914492" cy="1268321"/>
              <a:chOff x="7233796" y="1916832"/>
              <a:chExt cx="1914492" cy="1268321"/>
            </a:xfrm>
          </p:grpSpPr>
          <p:grpSp>
            <p:nvGrpSpPr>
              <p:cNvPr id="58" name="Gruppieren 57">
                <a:extLst>
                  <a:ext uri="{FF2B5EF4-FFF2-40B4-BE49-F238E27FC236}">
                    <a16:creationId xmlns:a16="http://schemas.microsoft.com/office/drawing/2014/main" id="{0F800EEA-2BEA-4ACB-9BF9-41685701B54D}"/>
                  </a:ext>
                </a:extLst>
              </p:cNvPr>
              <p:cNvGrpSpPr/>
              <p:nvPr/>
            </p:nvGrpSpPr>
            <p:grpSpPr>
              <a:xfrm flipH="1">
                <a:off x="7233796" y="1916832"/>
                <a:ext cx="1914492" cy="1268321"/>
                <a:chOff x="1183891" y="1643031"/>
                <a:chExt cx="2564969" cy="1788461"/>
              </a:xfrm>
            </p:grpSpPr>
            <p:pic>
              <p:nvPicPr>
                <p:cNvPr id="61" name="Picture 9" descr="C:\Users\Mike\Desktop\Schatten_tets.png">
                  <a:extLst>
                    <a:ext uri="{FF2B5EF4-FFF2-40B4-BE49-F238E27FC236}">
                      <a16:creationId xmlns:a16="http://schemas.microsoft.com/office/drawing/2014/main" id="{E66B350D-DC2F-457C-8380-8CCD8BF5C6EC}"/>
                    </a:ext>
                  </a:extLst>
                </p:cNvPr>
                <p:cNvPicPr>
                  <a:picLocks noChangeAspect="1" noChangeArrowheads="1"/>
                </p:cNvPicPr>
                <p:nvPr>
                  <p:custDataLst>
                    <p:tags r:id="rId17"/>
                  </p:custDataLst>
                </p:nvPr>
              </p:nvPicPr>
              <p:blipFill>
                <a:blip r:embed="rId26" cstate="print"/>
                <a:srcRect l="9408" t="1698" r="2683"/>
                <a:stretch>
                  <a:fillRect/>
                </a:stretch>
              </p:blipFill>
              <p:spPr bwMode="auto">
                <a:xfrm>
                  <a:off x="1183891" y="1643032"/>
                  <a:ext cx="2564969" cy="1788460"/>
                </a:xfrm>
                <a:prstGeom prst="rect">
                  <a:avLst/>
                </a:prstGeom>
                <a:noFill/>
              </p:spPr>
            </p:pic>
            <p:sp>
              <p:nvSpPr>
                <p:cNvPr id="62" name="Freeform 7">
                  <a:extLst>
                    <a:ext uri="{FF2B5EF4-FFF2-40B4-BE49-F238E27FC236}">
                      <a16:creationId xmlns:a16="http://schemas.microsoft.com/office/drawing/2014/main" id="{ECA37481-5926-4E8B-8B1C-1CB272BC3934}"/>
                    </a:ext>
                  </a:extLst>
                </p:cNvPr>
                <p:cNvSpPr>
                  <a:spLocks/>
                </p:cNvSpPr>
                <p:nvPr/>
              </p:nvSpPr>
              <p:spPr bwMode="auto">
                <a:xfrm>
                  <a:off x="1219707" y="1643031"/>
                  <a:ext cx="2426712" cy="1542559"/>
                </a:xfrm>
                <a:custGeom>
                  <a:avLst/>
                  <a:gdLst/>
                  <a:ahLst/>
                  <a:cxnLst>
                    <a:cxn ang="0">
                      <a:pos x="11" y="122"/>
                    </a:cxn>
                    <a:cxn ang="0">
                      <a:pos x="1713" y="0"/>
                    </a:cxn>
                    <a:cxn ang="0">
                      <a:pos x="1762" y="699"/>
                    </a:cxn>
                    <a:cxn ang="0">
                      <a:pos x="1839" y="1030"/>
                    </a:cxn>
                    <a:cxn ang="0">
                      <a:pos x="1874" y="1172"/>
                    </a:cxn>
                    <a:cxn ang="0">
                      <a:pos x="1625" y="1196"/>
                    </a:cxn>
                    <a:cxn ang="0">
                      <a:pos x="348" y="1282"/>
                    </a:cxn>
                    <a:cxn ang="0">
                      <a:pos x="11" y="122"/>
                    </a:cxn>
                  </a:cxnLst>
                  <a:rect l="0" t="0" r="r" b="b"/>
                  <a:pathLst>
                    <a:path w="1875" h="1359">
                      <a:moveTo>
                        <a:pt x="11" y="122"/>
                      </a:moveTo>
                      <a:cubicBezTo>
                        <a:pt x="1713" y="0"/>
                        <a:pt x="1713" y="0"/>
                        <a:pt x="1713" y="0"/>
                      </a:cubicBezTo>
                      <a:cubicBezTo>
                        <a:pt x="1713" y="0"/>
                        <a:pt x="1735" y="523"/>
                        <a:pt x="1762" y="699"/>
                      </a:cubicBezTo>
                      <a:cubicBezTo>
                        <a:pt x="1790" y="875"/>
                        <a:pt x="1803" y="942"/>
                        <a:pt x="1839" y="1030"/>
                      </a:cubicBezTo>
                      <a:cubicBezTo>
                        <a:pt x="1875" y="1118"/>
                        <a:pt x="1874" y="1172"/>
                        <a:pt x="1874" y="1172"/>
                      </a:cubicBezTo>
                      <a:cubicBezTo>
                        <a:pt x="1625" y="1196"/>
                        <a:pt x="1625" y="1196"/>
                        <a:pt x="1625" y="1196"/>
                      </a:cubicBezTo>
                      <a:cubicBezTo>
                        <a:pt x="1625" y="1196"/>
                        <a:pt x="696" y="1359"/>
                        <a:pt x="348" y="1282"/>
                      </a:cubicBezTo>
                      <a:cubicBezTo>
                        <a:pt x="0" y="1206"/>
                        <a:pt x="11" y="122"/>
                        <a:pt x="11" y="122"/>
                      </a:cubicBezTo>
                      <a:close/>
                    </a:path>
                  </a:pathLst>
                </a:custGeom>
                <a:gradFill flip="none" rotWithShape="1">
                  <a:gsLst>
                    <a:gs pos="0">
                      <a:srgbClr val="E1E6EB"/>
                    </a:gs>
                    <a:gs pos="70000">
                      <a:srgbClr val="C8CDD2"/>
                    </a:gs>
                    <a:gs pos="100000">
                      <a:srgbClr val="FFFFFF">
                        <a:lumMod val="95000"/>
                      </a:srgbClr>
                    </a:gs>
                  </a:gsLst>
                  <a:path path="circle">
                    <a:fillToRect l="100000" b="100000"/>
                  </a:path>
                  <a:tileRect t="-100000" r="-100000"/>
                </a:gra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DB Office"/>
                  </a:endParaRPr>
                </a:p>
              </p:txBody>
            </p:sp>
          </p:grpSp>
          <p:sp>
            <p:nvSpPr>
              <p:cNvPr id="59" name="Textfeld 58">
                <a:extLst>
                  <a:ext uri="{FF2B5EF4-FFF2-40B4-BE49-F238E27FC236}">
                    <a16:creationId xmlns:a16="http://schemas.microsoft.com/office/drawing/2014/main" id="{156BBB1F-20A8-4A2C-B216-2958D5577E4C}"/>
                  </a:ext>
                </a:extLst>
              </p:cNvPr>
              <p:cNvSpPr txBox="1"/>
              <p:nvPr/>
            </p:nvSpPr>
            <p:spPr bwMode="gray">
              <a:xfrm>
                <a:off x="7393364" y="2326854"/>
                <a:ext cx="1667281" cy="215444"/>
              </a:xfrm>
              <a:prstGeom prst="rect">
                <a:avLst/>
              </a:prstGeom>
              <a:noFill/>
            </p:spPr>
            <p:txBody>
              <a:bodyPr wrap="square" lIns="0" tIns="0" rIns="0" bIns="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DB Office"/>
                  </a:rPr>
                  <a:t>x</a:t>
                </a:r>
              </a:p>
            </p:txBody>
          </p:sp>
        </p:grpSp>
        <p:grpSp>
          <p:nvGrpSpPr>
            <p:cNvPr id="212" name="Group 22" descr="© INSCALE GmbH, 14.06.2010"/>
            <p:cNvGrpSpPr>
              <a:grpSpLocks/>
            </p:cNvGrpSpPr>
            <p:nvPr/>
          </p:nvGrpSpPr>
          <p:grpSpPr bwMode="auto">
            <a:xfrm>
              <a:off x="8624459" y="2243939"/>
              <a:ext cx="440841" cy="424940"/>
              <a:chOff x="2603" y="538"/>
              <a:chExt cx="804" cy="775"/>
            </a:xfrm>
          </p:grpSpPr>
          <p:sp>
            <p:nvSpPr>
              <p:cNvPr id="213" name="Freeform 23"/>
              <p:cNvSpPr>
                <a:spLocks/>
              </p:cNvSpPr>
              <p:nvPr/>
            </p:nvSpPr>
            <p:spPr bwMode="auto">
              <a:xfrm>
                <a:off x="2738" y="1023"/>
                <a:ext cx="669" cy="290"/>
              </a:xfrm>
              <a:custGeom>
                <a:avLst/>
                <a:gdLst/>
                <a:ahLst/>
                <a:cxnLst>
                  <a:cxn ang="0">
                    <a:pos x="492" y="0"/>
                  </a:cxn>
                  <a:cxn ang="0">
                    <a:pos x="195" y="78"/>
                  </a:cxn>
                  <a:cxn ang="0">
                    <a:pos x="245" y="148"/>
                  </a:cxn>
                  <a:cxn ang="0">
                    <a:pos x="5" y="261"/>
                  </a:cxn>
                  <a:cxn ang="0">
                    <a:pos x="48" y="272"/>
                  </a:cxn>
                  <a:cxn ang="0">
                    <a:pos x="294" y="154"/>
                  </a:cxn>
                  <a:cxn ang="0">
                    <a:pos x="327" y="155"/>
                  </a:cxn>
                  <a:cxn ang="0">
                    <a:pos x="624" y="78"/>
                  </a:cxn>
                  <a:cxn ang="0">
                    <a:pos x="492" y="0"/>
                  </a:cxn>
                </a:cxnLst>
                <a:rect l="0" t="0" r="r" b="b"/>
                <a:pathLst>
                  <a:path w="669" h="290">
                    <a:moveTo>
                      <a:pt x="492" y="0"/>
                    </a:moveTo>
                    <a:cubicBezTo>
                      <a:pt x="373" y="0"/>
                      <a:pt x="240" y="35"/>
                      <a:pt x="195" y="78"/>
                    </a:cubicBezTo>
                    <a:cubicBezTo>
                      <a:pt x="162" y="109"/>
                      <a:pt x="184" y="136"/>
                      <a:pt x="245" y="148"/>
                    </a:cubicBezTo>
                    <a:cubicBezTo>
                      <a:pt x="5" y="261"/>
                      <a:pt x="5" y="261"/>
                      <a:pt x="5" y="261"/>
                    </a:cubicBezTo>
                    <a:cubicBezTo>
                      <a:pt x="9" y="284"/>
                      <a:pt x="0" y="290"/>
                      <a:pt x="48" y="272"/>
                    </a:cubicBezTo>
                    <a:cubicBezTo>
                      <a:pt x="294" y="154"/>
                      <a:pt x="294" y="154"/>
                      <a:pt x="294" y="154"/>
                    </a:cubicBezTo>
                    <a:cubicBezTo>
                      <a:pt x="304" y="155"/>
                      <a:pt x="315" y="155"/>
                      <a:pt x="327" y="155"/>
                    </a:cubicBezTo>
                    <a:cubicBezTo>
                      <a:pt x="445" y="155"/>
                      <a:pt x="578" y="120"/>
                      <a:pt x="624" y="78"/>
                    </a:cubicBezTo>
                    <a:cubicBezTo>
                      <a:pt x="669" y="35"/>
                      <a:pt x="610" y="0"/>
                      <a:pt x="492" y="0"/>
                    </a:cubicBezTo>
                    <a:close/>
                  </a:path>
                </a:pathLst>
              </a:custGeom>
              <a:solidFill>
                <a:srgbClr val="000000">
                  <a:alpha val="50000"/>
                </a:srgbClr>
              </a:solidFill>
              <a:ln w="9525" cap="flat" cmpd="sng">
                <a:noFill/>
                <a:prstDash val="solid"/>
                <a:round/>
                <a:headEnd type="none" w="med" len="med"/>
                <a:tailEnd type="none" w="med" len="med"/>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DB Office"/>
                </a:endParaRPr>
              </a:p>
            </p:txBody>
          </p:sp>
          <p:pic>
            <p:nvPicPr>
              <p:cNvPr id="214" name="Picture 24" descr="rot"/>
              <p:cNvPicPr>
                <a:picLocks noChangeAspect="1" noChangeArrowheads="1"/>
              </p:cNvPicPr>
              <p:nvPr/>
            </p:nvPicPr>
            <p:blipFill>
              <a:blip r:embed="rId35" cstate="print"/>
              <a:srcRect b="16612"/>
              <a:stretch>
                <a:fillRect/>
              </a:stretch>
            </p:blipFill>
            <p:spPr bwMode="auto">
              <a:xfrm>
                <a:off x="2603" y="538"/>
                <a:ext cx="576" cy="768"/>
              </a:xfrm>
              <a:prstGeom prst="rect">
                <a:avLst/>
              </a:prstGeom>
              <a:noFill/>
            </p:spPr>
          </p:pic>
        </p:grpSp>
      </p:grpSp>
      <p:pic>
        <p:nvPicPr>
          <p:cNvPr id="70" name="Picture 5" descr="C:\Users\Olivia Roßbach\Downloads\flagge-deutschland.gif">
            <a:extLst>
              <a:ext uri="{FF2B5EF4-FFF2-40B4-BE49-F238E27FC236}">
                <a16:creationId xmlns:a16="http://schemas.microsoft.com/office/drawing/2014/main" id="{AF9D4287-754D-4AE8-86AE-0D3CB2E2EDEE}"/>
              </a:ext>
            </a:extLst>
          </p:cNvPr>
          <p:cNvPicPr>
            <a:picLocks noChangeAspect="1" noChangeArrowheads="1"/>
          </p:cNvPicPr>
          <p:nvPr>
            <p:custDataLst>
              <p:tags r:id="rId13"/>
            </p:custDataLst>
          </p:nvPr>
        </p:nvPicPr>
        <p:blipFill>
          <a:blip r:embed="rId31" cstate="screen">
            <a:extLst>
              <a:ext uri="{28A0092B-C50C-407E-A947-70E740481C1C}">
                <a14:useLocalDpi xmlns:a14="http://schemas.microsoft.com/office/drawing/2010/main"/>
              </a:ext>
            </a:extLst>
          </a:blip>
          <a:srcRect/>
          <a:stretch>
            <a:fillRect/>
          </a:stretch>
        </p:blipFill>
        <p:spPr bwMode="auto">
          <a:xfrm>
            <a:off x="4271153" y="5763370"/>
            <a:ext cx="502737" cy="335074"/>
          </a:xfrm>
          <a:prstGeom prst="ellipse">
            <a:avLst/>
          </a:prstGeom>
          <a:noFill/>
          <a:extLst>
            <a:ext uri="{909E8E84-426E-40DD-AFC4-6F175D3DCCD1}">
              <a14:hiddenFill xmlns:a14="http://schemas.microsoft.com/office/drawing/2010/main">
                <a:solidFill>
                  <a:srgbClr val="FFFFFF"/>
                </a:solidFill>
              </a14:hiddenFill>
            </a:ext>
          </a:extLst>
        </p:spPr>
      </p:pic>
      <p:pic>
        <p:nvPicPr>
          <p:cNvPr id="71" name="Picture 6" descr="C:\Users\Olivia Roßbach\Downloads\Flag_of_Austria_(state).svg.png">
            <a:extLst>
              <a:ext uri="{FF2B5EF4-FFF2-40B4-BE49-F238E27FC236}">
                <a16:creationId xmlns:a16="http://schemas.microsoft.com/office/drawing/2014/main" id="{46C3748F-D2AE-4164-9B6F-3356EC975255}"/>
              </a:ext>
            </a:extLst>
          </p:cNvPr>
          <p:cNvPicPr>
            <a:picLocks noChangeAspect="1" noChangeArrowheads="1"/>
          </p:cNvPicPr>
          <p:nvPr>
            <p:custDataLst>
              <p:tags r:id="rId14"/>
            </p:custDataLst>
          </p:nvPr>
        </p:nvPicPr>
        <p:blipFill>
          <a:blip r:embed="rId32" cstate="screen">
            <a:extLst>
              <a:ext uri="{28A0092B-C50C-407E-A947-70E740481C1C}">
                <a14:useLocalDpi xmlns:a14="http://schemas.microsoft.com/office/drawing/2010/main"/>
              </a:ext>
            </a:extLst>
          </a:blip>
          <a:srcRect/>
          <a:stretch>
            <a:fillRect/>
          </a:stretch>
        </p:blipFill>
        <p:spPr bwMode="auto">
          <a:xfrm>
            <a:off x="4832694" y="5763370"/>
            <a:ext cx="502737" cy="335074"/>
          </a:xfrm>
          <a:prstGeom prst="ellipse">
            <a:avLst/>
          </a:prstGeom>
          <a:noFill/>
          <a:extLst>
            <a:ext uri="{909E8E84-426E-40DD-AFC4-6F175D3DCCD1}">
              <a14:hiddenFill xmlns:a14="http://schemas.microsoft.com/office/drawing/2010/main">
                <a:solidFill>
                  <a:srgbClr val="FFFFFF"/>
                </a:solidFill>
              </a14:hiddenFill>
            </a:ext>
          </a:extLst>
        </p:spPr>
      </p:pic>
      <p:pic>
        <p:nvPicPr>
          <p:cNvPr id="72" name="Picture 7" descr="C:\Users\Olivia Roßbach\Downloads\flagge-spanien.gif">
            <a:extLst>
              <a:ext uri="{FF2B5EF4-FFF2-40B4-BE49-F238E27FC236}">
                <a16:creationId xmlns:a16="http://schemas.microsoft.com/office/drawing/2014/main" id="{BB1158BD-4406-44D9-8ED3-2E958F68057D}"/>
              </a:ext>
            </a:extLst>
          </p:cNvPr>
          <p:cNvPicPr>
            <a:picLocks noChangeAspect="1" noChangeArrowheads="1"/>
          </p:cNvPicPr>
          <p:nvPr>
            <p:custDataLst>
              <p:tags r:id="rId15"/>
            </p:custDataLst>
          </p:nvPr>
        </p:nvPicPr>
        <p:blipFill>
          <a:blip r:embed="rId33" cstate="screen">
            <a:extLst>
              <a:ext uri="{28A0092B-C50C-407E-A947-70E740481C1C}">
                <a14:useLocalDpi xmlns:a14="http://schemas.microsoft.com/office/drawing/2010/main"/>
              </a:ext>
            </a:extLst>
          </a:blip>
          <a:srcRect/>
          <a:stretch>
            <a:fillRect/>
          </a:stretch>
        </p:blipFill>
        <p:spPr bwMode="auto">
          <a:xfrm>
            <a:off x="5399040" y="5763370"/>
            <a:ext cx="502737" cy="335074"/>
          </a:xfrm>
          <a:prstGeom prst="ellipse">
            <a:avLst/>
          </a:prstGeom>
          <a:noFill/>
          <a:extLst>
            <a:ext uri="{909E8E84-426E-40DD-AFC4-6F175D3DCCD1}">
              <a14:hiddenFill xmlns:a14="http://schemas.microsoft.com/office/drawing/2010/main">
                <a:solidFill>
                  <a:srgbClr val="FFFFFF"/>
                </a:solidFill>
              </a14:hiddenFill>
            </a:ext>
          </a:extLst>
        </p:spPr>
      </p:pic>
      <p:sp>
        <p:nvSpPr>
          <p:cNvPr id="73" name="Textfeld 72">
            <a:extLst>
              <a:ext uri="{FF2B5EF4-FFF2-40B4-BE49-F238E27FC236}">
                <a16:creationId xmlns:a16="http://schemas.microsoft.com/office/drawing/2014/main" id="{BE00372C-3B7A-4D34-A674-11A24C1B9EE3}"/>
              </a:ext>
            </a:extLst>
          </p:cNvPr>
          <p:cNvSpPr txBox="1"/>
          <p:nvPr/>
        </p:nvSpPr>
        <p:spPr>
          <a:xfrm>
            <a:off x="4271153" y="5388137"/>
            <a:ext cx="795089" cy="215444"/>
          </a:xfrm>
          <a:prstGeom prst="rect">
            <a:avLst/>
          </a:prstGeom>
          <a:noFill/>
        </p:spPr>
        <p:txBody>
          <a:bodyPr wrap="none" lIns="0" tIns="0" rIns="0" bIns="0" rtlCol="0">
            <a:spAutoFit/>
          </a:bodyPr>
          <a:lstStyle/>
          <a:p>
            <a:pPr defTabSz="914400">
              <a:spcBef>
                <a:spcPts val="600"/>
              </a:spcBef>
              <a:buClr>
                <a:srgbClr val="FF0000"/>
              </a:buClr>
              <a:buSzPct val="85000"/>
            </a:pPr>
            <a:r>
              <a:rPr lang="de-DE" sz="1400" dirty="0">
                <a:solidFill>
                  <a:srgbClr val="000000"/>
                </a:solidFill>
                <a:latin typeface="DB Office"/>
              </a:rPr>
              <a:t>Flaggen 2</a:t>
            </a:r>
          </a:p>
        </p:txBody>
      </p:sp>
    </p:spTree>
    <p:extLst>
      <p:ext uri="{BB962C8B-B14F-4D97-AF65-F5344CB8AC3E}">
        <p14:creationId xmlns:p14="http://schemas.microsoft.com/office/powerpoint/2010/main" val="465472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a:extLst>
              <a:ext uri="{FF2B5EF4-FFF2-40B4-BE49-F238E27FC236}">
                <a16:creationId xmlns:a16="http://schemas.microsoft.com/office/drawing/2014/main" id="{A474CA70-65FA-44F6-9BF5-7C29AE8775A4}"/>
              </a:ext>
            </a:extLst>
          </p:cNvPr>
          <p:cNvSpPr>
            <a:spLocks noGrp="1"/>
          </p:cNvSpPr>
          <p:nvPr>
            <p:ph idx="1"/>
          </p:nvPr>
        </p:nvSpPr>
        <p:spPr/>
        <p:txBody>
          <a:bodyPr/>
          <a:lstStyle/>
          <a:p>
            <a:r>
              <a:rPr lang="de-DE"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 Es ist ein paradiesmatisches Land, in dem einem gebratene Satzteile in den Mund fliegen. Nicht einmal von der allmächtigen Interpunktion werden die Blindtexte beherrscht – ein geradezu unorthographisches Leben.</a:t>
            </a:r>
          </a:p>
          <a:p>
            <a:r>
              <a:rPr lang="de-DE" dirty="0"/>
              <a:t>Eines Tages aber beschloss eine kleine Zeile Blindtext, ihr Name war Lorem Ipsum, hinaus zu gehen in die weite Grammatik. Der große Oxmox riet ihr davon ab, da es dort wimmele von bösen Kommata, wilden Fragezeichen und hinterhältigen Semikoli, doch das Blindtextchen ließ sich nicht beirren. Es packte seine sieben Versalien, schob sich sein Initial in den Gürtel und machte sich auf den Weg.</a:t>
            </a:r>
          </a:p>
          <a:p>
            <a:r>
              <a:rPr lang="de-DE" dirty="0"/>
              <a:t>Als es die ersten Hügel des Kursivgebirges erklommen hatte, warf es einen letzten Blick zurück auf die Skyline seiner Heimatstadt Buchstabhausen, die Headline von Alphabetdorf und die Subline seiner eigenen Straße, der Zeilengasse. Wehmütig lief ihm eine rhetorische Frage über die Wange, dann setzte es seinen Weg fort. </a:t>
            </a:r>
          </a:p>
        </p:txBody>
      </p:sp>
      <p:sp>
        <p:nvSpPr>
          <p:cNvPr id="9" name="Titel 8">
            <a:extLst>
              <a:ext uri="{FF2B5EF4-FFF2-40B4-BE49-F238E27FC236}">
                <a16:creationId xmlns:a16="http://schemas.microsoft.com/office/drawing/2014/main" id="{5CDF1118-43DC-4D18-B8B6-A83EE083C10B}"/>
              </a:ext>
            </a:extLst>
          </p:cNvPr>
          <p:cNvSpPr>
            <a:spLocks noGrp="1"/>
          </p:cNvSpPr>
          <p:nvPr>
            <p:ph type="title"/>
          </p:nvPr>
        </p:nvSpPr>
        <p:spPr>
          <a:xfrm>
            <a:off x="284400" y="475200"/>
            <a:ext cx="9360000" cy="666000"/>
          </a:xfrm>
        </p:spPr>
        <p:txBody>
          <a:bodyPr/>
          <a:lstStyle/>
          <a:p>
            <a:r>
              <a:rPr lang="de-DE"/>
              <a:t>Textseite mit Bildelement</a:t>
            </a:r>
            <a:endParaRPr lang="de-DE" dirty="0"/>
          </a:p>
        </p:txBody>
      </p:sp>
      <p:sp>
        <p:nvSpPr>
          <p:cNvPr id="11" name="Textplatzhalter 10">
            <a:extLst>
              <a:ext uri="{FF2B5EF4-FFF2-40B4-BE49-F238E27FC236}">
                <a16:creationId xmlns:a16="http://schemas.microsoft.com/office/drawing/2014/main" id="{4F90DF35-046A-4C67-B439-6AA47683FBE0}"/>
              </a:ext>
            </a:extLst>
          </p:cNvPr>
          <p:cNvSpPr>
            <a:spLocks noGrp="1"/>
          </p:cNvSpPr>
          <p:nvPr>
            <p:ph type="body" sz="quarter" idx="13"/>
          </p:nvPr>
        </p:nvSpPr>
        <p:spPr/>
        <p:txBody>
          <a:bodyPr/>
          <a:lstStyle/>
          <a:p>
            <a:r>
              <a:rPr lang="de-DE"/>
              <a:t>Platzhalter für Unterüberschrift</a:t>
            </a:r>
            <a:endParaRPr lang="de-DE" dirty="0"/>
          </a:p>
        </p:txBody>
      </p:sp>
      <p:sp>
        <p:nvSpPr>
          <p:cNvPr id="13" name="Textplatzhalter 12"/>
          <p:cNvSpPr>
            <a:spLocks noGrp="1"/>
          </p:cNvSpPr>
          <p:nvPr>
            <p:ph type="body" sz="quarter" idx="14"/>
          </p:nvPr>
        </p:nvSpPr>
        <p:spPr/>
        <p:txBody>
          <a:bodyPr/>
          <a:lstStyle/>
          <a:p>
            <a:pPr>
              <a:spcAft>
                <a:spcPts val="0"/>
              </a:spcAft>
            </a:pPr>
            <a:endParaRPr lang="de-DE"/>
          </a:p>
        </p:txBody>
      </p:sp>
      <p:sp>
        <p:nvSpPr>
          <p:cNvPr id="4" name="Datumsplatzhalter 3">
            <a:extLst>
              <a:ext uri="{FF2B5EF4-FFF2-40B4-BE49-F238E27FC236}">
                <a16:creationId xmlns:a16="http://schemas.microsoft.com/office/drawing/2014/main" id="{DC53775D-80CC-4AB2-ACEC-AA95E03C0691}"/>
              </a:ext>
            </a:extLst>
          </p:cNvPr>
          <p:cNvSpPr>
            <a:spLocks noGrp="1"/>
          </p:cNvSpPr>
          <p:nvPr>
            <p:ph type="dt" sz="half" idx="2"/>
          </p:nvPr>
        </p:nvSpPr>
        <p:spPr/>
        <p:txBody>
          <a:bodyPr/>
          <a:lstStyle/>
          <a:p>
            <a:fld id="{CDC3A82E-A56B-440D-A1A4-D91E599132EA}" type="datetime1">
              <a:rPr lang="de-DE" smtClean="0"/>
              <a:t>04.05.2020</a:t>
            </a:fld>
            <a:endParaRPr lang="de-DE" dirty="0"/>
          </a:p>
        </p:txBody>
      </p:sp>
      <p:sp>
        <p:nvSpPr>
          <p:cNvPr id="6" name="Foliennummernplatzhalter 5">
            <a:extLst>
              <a:ext uri="{FF2B5EF4-FFF2-40B4-BE49-F238E27FC236}">
                <a16:creationId xmlns:a16="http://schemas.microsoft.com/office/drawing/2014/main" id="{35EECA11-7D10-41A7-9BB6-0C83DD031F31}"/>
              </a:ext>
            </a:extLst>
          </p:cNvPr>
          <p:cNvSpPr>
            <a:spLocks noGrp="1"/>
          </p:cNvSpPr>
          <p:nvPr>
            <p:ph type="sldNum" sz="quarter" idx="4"/>
          </p:nvPr>
        </p:nvSpPr>
        <p:spPr/>
        <p:txBody>
          <a:bodyPr/>
          <a:lstStyle/>
          <a:p>
            <a:fld id="{60F8E2DC-8382-49B6-A2A6-01CCC12CBD17}" type="slidenum">
              <a:rPr lang="de-DE" smtClean="0"/>
              <a:pPr/>
              <a:t>2</a:t>
            </a:fld>
            <a:endParaRPr lang="de-DE"/>
          </a:p>
        </p:txBody>
      </p:sp>
      <p:sp>
        <p:nvSpPr>
          <p:cNvPr id="8" name="Textfeld 7"/>
          <p:cNvSpPr txBox="1"/>
          <p:nvPr/>
        </p:nvSpPr>
        <p:spPr>
          <a:xfrm>
            <a:off x="284400" y="116632"/>
            <a:ext cx="5942332" cy="215444"/>
          </a:xfrm>
          <a:prstGeom prst="rect">
            <a:avLst/>
          </a:prstGeom>
        </p:spPr>
        <p:txBody>
          <a:bodyPr vert="horz" wrap="none" lIns="0" tIns="0" rIns="0" bIns="0" rtlCol="0" anchor="t" anchorCtr="0">
            <a:spAutoFit/>
          </a:bodyPr>
          <a:lstStyle/>
          <a:p>
            <a:pPr algn="l">
              <a:spcAft>
                <a:spcPts val="600"/>
              </a:spcAft>
            </a:pPr>
            <a:r>
              <a:rPr lang="de-DE" sz="1400" dirty="0">
                <a:solidFill>
                  <a:schemeClr val="tx1"/>
                </a:solidFill>
              </a:rPr>
              <a:t>Kapitelüberschrift, wenn erforderlich (bitte von dieser Seite auf die anderen Seiten kopieren)</a:t>
            </a:r>
          </a:p>
        </p:txBody>
      </p:sp>
    </p:spTree>
    <p:extLst>
      <p:ext uri="{BB962C8B-B14F-4D97-AF65-F5344CB8AC3E}">
        <p14:creationId xmlns:p14="http://schemas.microsoft.com/office/powerpoint/2010/main" val="33570940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feile</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A6C58663-774B-4127-B7E9-D29931B10FCF}"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29</a:t>
            </a:fld>
            <a:endParaRPr lang="de-DE" dirty="0"/>
          </a:p>
        </p:txBody>
      </p:sp>
      <p:grpSp>
        <p:nvGrpSpPr>
          <p:cNvPr id="7" name="Gruppieren 6"/>
          <p:cNvGrpSpPr/>
          <p:nvPr/>
        </p:nvGrpSpPr>
        <p:grpSpPr>
          <a:xfrm>
            <a:off x="7440557" y="1998491"/>
            <a:ext cx="410542" cy="4015179"/>
            <a:chOff x="5565614" y="2069663"/>
            <a:chExt cx="410542" cy="4015179"/>
          </a:xfrm>
        </p:grpSpPr>
        <p:cxnSp>
          <p:nvCxnSpPr>
            <p:cNvPr id="8" name="Straight Connector 32"/>
            <p:cNvCxnSpPr/>
            <p:nvPr/>
          </p:nvCxnSpPr>
          <p:spPr>
            <a:xfrm flipV="1">
              <a:off x="5770886" y="2069663"/>
              <a:ext cx="0" cy="1690993"/>
            </a:xfrm>
            <a:prstGeom prst="line">
              <a:avLst/>
            </a:prstGeom>
            <a:noFill/>
            <a:ln w="9525" cap="flat" cmpd="sng" algn="ctr">
              <a:solidFill>
                <a:schemeClr val="accent3"/>
              </a:solidFill>
              <a:prstDash val="solid"/>
            </a:ln>
            <a:effectLst/>
          </p:spPr>
        </p:cxnSp>
        <p:cxnSp>
          <p:nvCxnSpPr>
            <p:cNvPr id="9" name="Straight Connector 33"/>
            <p:cNvCxnSpPr/>
            <p:nvPr/>
          </p:nvCxnSpPr>
          <p:spPr>
            <a:xfrm flipV="1">
              <a:off x="5770884" y="4401108"/>
              <a:ext cx="0" cy="1683734"/>
            </a:xfrm>
            <a:prstGeom prst="line">
              <a:avLst/>
            </a:prstGeom>
            <a:noFill/>
            <a:ln w="9525" cap="flat" cmpd="sng" algn="ctr">
              <a:solidFill>
                <a:schemeClr val="accent3"/>
              </a:solidFill>
              <a:prstDash val="solid"/>
            </a:ln>
            <a:effectLst/>
          </p:spPr>
        </p:cxnSp>
        <p:grpSp>
          <p:nvGrpSpPr>
            <p:cNvPr id="10" name="Group 48"/>
            <p:cNvGrpSpPr/>
            <p:nvPr/>
          </p:nvGrpSpPr>
          <p:grpSpPr>
            <a:xfrm rot="16200000" flipV="1">
              <a:off x="5566108" y="3875611"/>
              <a:ext cx="409554" cy="410542"/>
              <a:chOff x="3031488" y="3274926"/>
              <a:chExt cx="185482" cy="185930"/>
            </a:xfrm>
          </p:grpSpPr>
          <p:sp>
            <p:nvSpPr>
              <p:cNvPr id="11" name="Freeform 100"/>
              <p:cNvSpPr>
                <a:spLocks/>
              </p:cNvSpPr>
              <p:nvPr/>
            </p:nvSpPr>
            <p:spPr bwMode="gray">
              <a:xfrm>
                <a:off x="3031488" y="3274926"/>
                <a:ext cx="185482" cy="18593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sp>
            <p:nvSpPr>
              <p:cNvPr id="12" name="Freeform 101"/>
              <p:cNvSpPr>
                <a:spLocks/>
              </p:cNvSpPr>
              <p:nvPr/>
            </p:nvSpPr>
            <p:spPr bwMode="gray">
              <a:xfrm>
                <a:off x="3068126" y="3333700"/>
                <a:ext cx="112207" cy="54901"/>
              </a:xfrm>
              <a:custGeom>
                <a:avLst/>
                <a:gdLst>
                  <a:gd name="T0" fmla="*/ 1753 w 1819"/>
                  <a:gd name="T1" fmla="*/ 979 h 979"/>
                  <a:gd name="T2" fmla="*/ 910 w 1819"/>
                  <a:gd name="T3" fmla="*/ 133 h 979"/>
                  <a:gd name="T4" fmla="*/ 68 w 1819"/>
                  <a:gd name="T5" fmla="*/ 979 h 979"/>
                  <a:gd name="T6" fmla="*/ 0 w 1819"/>
                  <a:gd name="T7" fmla="*/ 912 h 979"/>
                  <a:gd name="T8" fmla="*/ 910 w 1819"/>
                  <a:gd name="T9" fmla="*/ 0 h 979"/>
                  <a:gd name="T10" fmla="*/ 1819 w 1819"/>
                  <a:gd name="T11" fmla="*/ 912 h 979"/>
                  <a:gd name="T12" fmla="*/ 1753 w 1819"/>
                  <a:gd name="T13" fmla="*/ 979 h 979"/>
                </a:gdLst>
                <a:ahLst/>
                <a:cxnLst>
                  <a:cxn ang="0">
                    <a:pos x="T0" y="T1"/>
                  </a:cxn>
                  <a:cxn ang="0">
                    <a:pos x="T2" y="T3"/>
                  </a:cxn>
                  <a:cxn ang="0">
                    <a:pos x="T4" y="T5"/>
                  </a:cxn>
                  <a:cxn ang="0">
                    <a:pos x="T6" y="T7"/>
                  </a:cxn>
                  <a:cxn ang="0">
                    <a:pos x="T8" y="T9"/>
                  </a:cxn>
                  <a:cxn ang="0">
                    <a:pos x="T10" y="T11"/>
                  </a:cxn>
                  <a:cxn ang="0">
                    <a:pos x="T12" y="T13"/>
                  </a:cxn>
                </a:cxnLst>
                <a:rect l="0" t="0" r="r" b="b"/>
                <a:pathLst>
                  <a:path w="1819" h="979">
                    <a:moveTo>
                      <a:pt x="1753" y="979"/>
                    </a:moveTo>
                    <a:lnTo>
                      <a:pt x="910" y="133"/>
                    </a:lnTo>
                    <a:lnTo>
                      <a:pt x="68" y="979"/>
                    </a:lnTo>
                    <a:lnTo>
                      <a:pt x="0" y="912"/>
                    </a:lnTo>
                    <a:lnTo>
                      <a:pt x="910" y="0"/>
                    </a:lnTo>
                    <a:lnTo>
                      <a:pt x="1819" y="912"/>
                    </a:lnTo>
                    <a:lnTo>
                      <a:pt x="1753" y="979"/>
                    </a:lnTo>
                    <a:close/>
                  </a:path>
                </a:pathLst>
              </a:custGeom>
              <a:solidFill>
                <a:sysClr val="window" lastClr="FFFFFF"/>
              </a:solidFill>
              <a:ln w="9525">
                <a:solidFill>
                  <a:sysClr val="window" lastClr="FFFFFF"/>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grpSp>
      </p:grpSp>
      <p:grpSp>
        <p:nvGrpSpPr>
          <p:cNvPr id="13" name="Gruppieren 12"/>
          <p:cNvGrpSpPr/>
          <p:nvPr/>
        </p:nvGrpSpPr>
        <p:grpSpPr>
          <a:xfrm>
            <a:off x="3119140" y="3801303"/>
            <a:ext cx="2790825" cy="167973"/>
            <a:chOff x="488504" y="5277251"/>
            <a:chExt cx="2790825" cy="167973"/>
          </a:xfrm>
        </p:grpSpPr>
        <p:cxnSp>
          <p:nvCxnSpPr>
            <p:cNvPr id="14" name="Straight Connector 47"/>
            <p:cNvCxnSpPr/>
            <p:nvPr/>
          </p:nvCxnSpPr>
          <p:spPr>
            <a:xfrm flipH="1">
              <a:off x="488504" y="5361237"/>
              <a:ext cx="2790825" cy="0"/>
            </a:xfrm>
            <a:prstGeom prst="line">
              <a:avLst/>
            </a:prstGeom>
            <a:noFill/>
            <a:ln w="19050" cap="rnd" cmpd="sng" algn="ctr">
              <a:solidFill>
                <a:schemeClr val="accent3"/>
              </a:solidFill>
              <a:prstDash val="sysDot"/>
            </a:ln>
            <a:effectLst/>
          </p:spPr>
        </p:cxnSp>
        <p:grpSp>
          <p:nvGrpSpPr>
            <p:cNvPr id="15" name="Group 48"/>
            <p:cNvGrpSpPr/>
            <p:nvPr/>
          </p:nvGrpSpPr>
          <p:grpSpPr>
            <a:xfrm flipV="1">
              <a:off x="1800132" y="5277251"/>
              <a:ext cx="167568" cy="167973"/>
              <a:chOff x="3031488" y="3274926"/>
              <a:chExt cx="185482" cy="185930"/>
            </a:xfrm>
          </p:grpSpPr>
          <p:sp>
            <p:nvSpPr>
              <p:cNvPr id="16" name="Freeform 100"/>
              <p:cNvSpPr>
                <a:spLocks/>
              </p:cNvSpPr>
              <p:nvPr/>
            </p:nvSpPr>
            <p:spPr bwMode="gray">
              <a:xfrm>
                <a:off x="3031488" y="3274926"/>
                <a:ext cx="185482" cy="18593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sp>
            <p:nvSpPr>
              <p:cNvPr id="17" name="Freeform 101"/>
              <p:cNvSpPr>
                <a:spLocks/>
              </p:cNvSpPr>
              <p:nvPr/>
            </p:nvSpPr>
            <p:spPr bwMode="gray">
              <a:xfrm>
                <a:off x="3068126" y="3333700"/>
                <a:ext cx="112207" cy="54901"/>
              </a:xfrm>
              <a:custGeom>
                <a:avLst/>
                <a:gdLst>
                  <a:gd name="T0" fmla="*/ 1753 w 1819"/>
                  <a:gd name="T1" fmla="*/ 979 h 979"/>
                  <a:gd name="T2" fmla="*/ 910 w 1819"/>
                  <a:gd name="T3" fmla="*/ 133 h 979"/>
                  <a:gd name="T4" fmla="*/ 68 w 1819"/>
                  <a:gd name="T5" fmla="*/ 979 h 979"/>
                  <a:gd name="T6" fmla="*/ 0 w 1819"/>
                  <a:gd name="T7" fmla="*/ 912 h 979"/>
                  <a:gd name="T8" fmla="*/ 910 w 1819"/>
                  <a:gd name="T9" fmla="*/ 0 h 979"/>
                  <a:gd name="T10" fmla="*/ 1819 w 1819"/>
                  <a:gd name="T11" fmla="*/ 912 h 979"/>
                  <a:gd name="T12" fmla="*/ 1753 w 1819"/>
                  <a:gd name="T13" fmla="*/ 979 h 979"/>
                </a:gdLst>
                <a:ahLst/>
                <a:cxnLst>
                  <a:cxn ang="0">
                    <a:pos x="T0" y="T1"/>
                  </a:cxn>
                  <a:cxn ang="0">
                    <a:pos x="T2" y="T3"/>
                  </a:cxn>
                  <a:cxn ang="0">
                    <a:pos x="T4" y="T5"/>
                  </a:cxn>
                  <a:cxn ang="0">
                    <a:pos x="T6" y="T7"/>
                  </a:cxn>
                  <a:cxn ang="0">
                    <a:pos x="T8" y="T9"/>
                  </a:cxn>
                  <a:cxn ang="0">
                    <a:pos x="T10" y="T11"/>
                  </a:cxn>
                  <a:cxn ang="0">
                    <a:pos x="T12" y="T13"/>
                  </a:cxn>
                </a:cxnLst>
                <a:rect l="0" t="0" r="r" b="b"/>
                <a:pathLst>
                  <a:path w="1819" h="979">
                    <a:moveTo>
                      <a:pt x="1753" y="979"/>
                    </a:moveTo>
                    <a:lnTo>
                      <a:pt x="910" y="133"/>
                    </a:lnTo>
                    <a:lnTo>
                      <a:pt x="68" y="979"/>
                    </a:lnTo>
                    <a:lnTo>
                      <a:pt x="0" y="912"/>
                    </a:lnTo>
                    <a:lnTo>
                      <a:pt x="910" y="0"/>
                    </a:lnTo>
                    <a:lnTo>
                      <a:pt x="1819" y="912"/>
                    </a:lnTo>
                    <a:lnTo>
                      <a:pt x="1753" y="979"/>
                    </a:lnTo>
                    <a:close/>
                  </a:path>
                </a:pathLst>
              </a:custGeom>
              <a:solidFill>
                <a:sysClr val="window" lastClr="FFFFFF"/>
              </a:solidFill>
              <a:ln w="9525">
                <a:solidFill>
                  <a:sysClr val="window" lastClr="FFFFFF"/>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grpSp>
      </p:grpSp>
      <p:grpSp>
        <p:nvGrpSpPr>
          <p:cNvPr id="21" name="Gruppieren 20">
            <a:extLst>
              <a:ext uri="{FF2B5EF4-FFF2-40B4-BE49-F238E27FC236}">
                <a16:creationId xmlns:a16="http://schemas.microsoft.com/office/drawing/2014/main" id="{14841501-9573-4DED-9B60-B8DD4054B0F4}"/>
              </a:ext>
            </a:extLst>
          </p:cNvPr>
          <p:cNvGrpSpPr/>
          <p:nvPr/>
        </p:nvGrpSpPr>
        <p:grpSpPr>
          <a:xfrm>
            <a:off x="2120264" y="2209800"/>
            <a:ext cx="135212" cy="3810000"/>
            <a:chOff x="1338058" y="2209800"/>
            <a:chExt cx="135212" cy="3810000"/>
          </a:xfrm>
        </p:grpSpPr>
        <p:cxnSp>
          <p:nvCxnSpPr>
            <p:cNvPr id="22" name="Gerader Verbinder 21">
              <a:extLst>
                <a:ext uri="{FF2B5EF4-FFF2-40B4-BE49-F238E27FC236}">
                  <a16:creationId xmlns:a16="http://schemas.microsoft.com/office/drawing/2014/main" id="{CF798EE6-4A65-4A9F-8E57-8B71830941EC}"/>
                </a:ext>
              </a:extLst>
            </p:cNvPr>
            <p:cNvCxnSpPr>
              <a:cxnSpLocks/>
            </p:cNvCxnSpPr>
            <p:nvPr/>
          </p:nvCxnSpPr>
          <p:spPr>
            <a:xfrm>
              <a:off x="1349249" y="2209800"/>
              <a:ext cx="0" cy="3810000"/>
            </a:xfrm>
            <a:prstGeom prst="line">
              <a:avLst/>
            </a:prstGeom>
            <a:ln w="12700" cap="rnd"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Gleichschenkliges Dreieck 10">
              <a:extLst>
                <a:ext uri="{FF2B5EF4-FFF2-40B4-BE49-F238E27FC236}">
                  <a16:creationId xmlns:a16="http://schemas.microsoft.com/office/drawing/2014/main" id="{2192F049-6E13-41CA-975F-A43D813EC38D}"/>
                </a:ext>
              </a:extLst>
            </p:cNvPr>
            <p:cNvSpPr/>
            <p:nvPr/>
          </p:nvSpPr>
          <p:spPr>
            <a:xfrm rot="5400000">
              <a:off x="1160654" y="4047194"/>
              <a:ext cx="490019" cy="135212"/>
            </a:xfrm>
            <a:custGeom>
              <a:avLst/>
              <a:gdLst>
                <a:gd name="connsiteX0" fmla="*/ 0 w 570368"/>
                <a:gd name="connsiteY0" fmla="*/ 271604 h 271604"/>
                <a:gd name="connsiteX1" fmla="*/ 285184 w 570368"/>
                <a:gd name="connsiteY1" fmla="*/ 0 h 271604"/>
                <a:gd name="connsiteX2" fmla="*/ 570368 w 570368"/>
                <a:gd name="connsiteY2" fmla="*/ 271604 h 271604"/>
                <a:gd name="connsiteX3" fmla="*/ 0 w 570368"/>
                <a:gd name="connsiteY3" fmla="*/ 271604 h 271604"/>
                <a:gd name="connsiteX0" fmla="*/ 0 w 570368"/>
                <a:gd name="connsiteY0" fmla="*/ 271604 h 363044"/>
                <a:gd name="connsiteX1" fmla="*/ 285184 w 570368"/>
                <a:gd name="connsiteY1" fmla="*/ 0 h 363044"/>
                <a:gd name="connsiteX2" fmla="*/ 570368 w 570368"/>
                <a:gd name="connsiteY2" fmla="*/ 271604 h 363044"/>
                <a:gd name="connsiteX3" fmla="*/ 91440 w 570368"/>
                <a:gd name="connsiteY3" fmla="*/ 363044 h 363044"/>
                <a:gd name="connsiteX0" fmla="*/ 0 w 570368"/>
                <a:gd name="connsiteY0" fmla="*/ 271604 h 271604"/>
                <a:gd name="connsiteX1" fmla="*/ 285184 w 570368"/>
                <a:gd name="connsiteY1" fmla="*/ 0 h 271604"/>
                <a:gd name="connsiteX2" fmla="*/ 570368 w 570368"/>
                <a:gd name="connsiteY2" fmla="*/ 271604 h 271604"/>
              </a:gdLst>
              <a:ahLst/>
              <a:cxnLst>
                <a:cxn ang="0">
                  <a:pos x="connsiteX0" y="connsiteY0"/>
                </a:cxn>
                <a:cxn ang="0">
                  <a:pos x="connsiteX1" y="connsiteY1"/>
                </a:cxn>
                <a:cxn ang="0">
                  <a:pos x="connsiteX2" y="connsiteY2"/>
                </a:cxn>
              </a:cxnLst>
              <a:rect l="l" t="t" r="r" b="b"/>
              <a:pathLst>
                <a:path w="570368" h="271604">
                  <a:moveTo>
                    <a:pt x="0" y="271604"/>
                  </a:moveTo>
                  <a:lnTo>
                    <a:pt x="285184" y="0"/>
                  </a:lnTo>
                  <a:lnTo>
                    <a:pt x="570368" y="271604"/>
                  </a:lnTo>
                </a:path>
              </a:pathLst>
            </a:custGeom>
            <a:solidFill>
              <a:schemeClr val="bg1"/>
            </a:solidFill>
            <a:ln w="41275" cap="rnd"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4" name="Gruppieren 23"/>
          <p:cNvGrpSpPr/>
          <p:nvPr/>
        </p:nvGrpSpPr>
        <p:grpSpPr>
          <a:xfrm>
            <a:off x="3119140" y="4362450"/>
            <a:ext cx="2790825" cy="167973"/>
            <a:chOff x="488504" y="5277251"/>
            <a:chExt cx="2790825" cy="167973"/>
          </a:xfrm>
        </p:grpSpPr>
        <p:cxnSp>
          <p:nvCxnSpPr>
            <p:cNvPr id="25" name="Straight Connector 47"/>
            <p:cNvCxnSpPr/>
            <p:nvPr/>
          </p:nvCxnSpPr>
          <p:spPr>
            <a:xfrm flipH="1">
              <a:off x="488504" y="5361237"/>
              <a:ext cx="2790825" cy="0"/>
            </a:xfrm>
            <a:prstGeom prst="line">
              <a:avLst/>
            </a:prstGeom>
            <a:noFill/>
            <a:ln w="19050" cap="rnd" cmpd="sng" algn="ctr">
              <a:solidFill>
                <a:schemeClr val="bg2"/>
              </a:solidFill>
              <a:prstDash val="sysDot"/>
            </a:ln>
            <a:effectLst/>
          </p:spPr>
        </p:cxnSp>
        <p:grpSp>
          <p:nvGrpSpPr>
            <p:cNvPr id="26" name="Group 48"/>
            <p:cNvGrpSpPr/>
            <p:nvPr/>
          </p:nvGrpSpPr>
          <p:grpSpPr>
            <a:xfrm flipV="1">
              <a:off x="1800132" y="5277251"/>
              <a:ext cx="167568" cy="167973"/>
              <a:chOff x="3031488" y="3274926"/>
              <a:chExt cx="185482" cy="185930"/>
            </a:xfrm>
          </p:grpSpPr>
          <p:sp>
            <p:nvSpPr>
              <p:cNvPr id="27" name="Freeform 100"/>
              <p:cNvSpPr>
                <a:spLocks/>
              </p:cNvSpPr>
              <p:nvPr/>
            </p:nvSpPr>
            <p:spPr bwMode="gray">
              <a:xfrm>
                <a:off x="3031488" y="3274926"/>
                <a:ext cx="185482" cy="18593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sp>
            <p:nvSpPr>
              <p:cNvPr id="28" name="Freeform 101"/>
              <p:cNvSpPr>
                <a:spLocks/>
              </p:cNvSpPr>
              <p:nvPr/>
            </p:nvSpPr>
            <p:spPr bwMode="gray">
              <a:xfrm>
                <a:off x="3068126" y="3333700"/>
                <a:ext cx="112207" cy="54901"/>
              </a:xfrm>
              <a:custGeom>
                <a:avLst/>
                <a:gdLst>
                  <a:gd name="T0" fmla="*/ 1753 w 1819"/>
                  <a:gd name="T1" fmla="*/ 979 h 979"/>
                  <a:gd name="T2" fmla="*/ 910 w 1819"/>
                  <a:gd name="T3" fmla="*/ 133 h 979"/>
                  <a:gd name="T4" fmla="*/ 68 w 1819"/>
                  <a:gd name="T5" fmla="*/ 979 h 979"/>
                  <a:gd name="T6" fmla="*/ 0 w 1819"/>
                  <a:gd name="T7" fmla="*/ 912 h 979"/>
                  <a:gd name="T8" fmla="*/ 910 w 1819"/>
                  <a:gd name="T9" fmla="*/ 0 h 979"/>
                  <a:gd name="T10" fmla="*/ 1819 w 1819"/>
                  <a:gd name="T11" fmla="*/ 912 h 979"/>
                  <a:gd name="T12" fmla="*/ 1753 w 1819"/>
                  <a:gd name="T13" fmla="*/ 979 h 979"/>
                </a:gdLst>
                <a:ahLst/>
                <a:cxnLst>
                  <a:cxn ang="0">
                    <a:pos x="T0" y="T1"/>
                  </a:cxn>
                  <a:cxn ang="0">
                    <a:pos x="T2" y="T3"/>
                  </a:cxn>
                  <a:cxn ang="0">
                    <a:pos x="T4" y="T5"/>
                  </a:cxn>
                  <a:cxn ang="0">
                    <a:pos x="T6" y="T7"/>
                  </a:cxn>
                  <a:cxn ang="0">
                    <a:pos x="T8" y="T9"/>
                  </a:cxn>
                  <a:cxn ang="0">
                    <a:pos x="T10" y="T11"/>
                  </a:cxn>
                  <a:cxn ang="0">
                    <a:pos x="T12" y="T13"/>
                  </a:cxn>
                </a:cxnLst>
                <a:rect l="0" t="0" r="r" b="b"/>
                <a:pathLst>
                  <a:path w="1819" h="979">
                    <a:moveTo>
                      <a:pt x="1753" y="979"/>
                    </a:moveTo>
                    <a:lnTo>
                      <a:pt x="910" y="133"/>
                    </a:lnTo>
                    <a:lnTo>
                      <a:pt x="68" y="979"/>
                    </a:lnTo>
                    <a:lnTo>
                      <a:pt x="0" y="912"/>
                    </a:lnTo>
                    <a:lnTo>
                      <a:pt x="910" y="0"/>
                    </a:lnTo>
                    <a:lnTo>
                      <a:pt x="1819" y="912"/>
                    </a:lnTo>
                    <a:lnTo>
                      <a:pt x="1753" y="979"/>
                    </a:lnTo>
                    <a:close/>
                  </a:path>
                </a:pathLst>
              </a:custGeom>
              <a:solidFill>
                <a:sysClr val="window" lastClr="FFFFFF"/>
              </a:solidFill>
              <a:ln w="9525">
                <a:solidFill>
                  <a:sysClr val="window" lastClr="FFFFFF"/>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grpSp>
      </p:grpSp>
      <p:grpSp>
        <p:nvGrpSpPr>
          <p:cNvPr id="29" name="Gruppieren 28"/>
          <p:cNvGrpSpPr/>
          <p:nvPr/>
        </p:nvGrpSpPr>
        <p:grpSpPr>
          <a:xfrm>
            <a:off x="8286874" y="1998491"/>
            <a:ext cx="410542" cy="4015179"/>
            <a:chOff x="5565614" y="2069663"/>
            <a:chExt cx="410542" cy="4015179"/>
          </a:xfrm>
        </p:grpSpPr>
        <p:cxnSp>
          <p:nvCxnSpPr>
            <p:cNvPr id="30" name="Straight Connector 32"/>
            <p:cNvCxnSpPr/>
            <p:nvPr/>
          </p:nvCxnSpPr>
          <p:spPr>
            <a:xfrm flipV="1">
              <a:off x="5770886" y="2069663"/>
              <a:ext cx="0" cy="1690993"/>
            </a:xfrm>
            <a:prstGeom prst="line">
              <a:avLst/>
            </a:prstGeom>
            <a:noFill/>
            <a:ln w="9525" cap="flat" cmpd="sng" algn="ctr">
              <a:solidFill>
                <a:schemeClr val="bg2"/>
              </a:solidFill>
              <a:prstDash val="solid"/>
            </a:ln>
            <a:effectLst/>
          </p:spPr>
        </p:cxnSp>
        <p:cxnSp>
          <p:nvCxnSpPr>
            <p:cNvPr id="31" name="Straight Connector 33"/>
            <p:cNvCxnSpPr/>
            <p:nvPr/>
          </p:nvCxnSpPr>
          <p:spPr>
            <a:xfrm flipV="1">
              <a:off x="5770884" y="4401108"/>
              <a:ext cx="0" cy="1683734"/>
            </a:xfrm>
            <a:prstGeom prst="line">
              <a:avLst/>
            </a:prstGeom>
            <a:noFill/>
            <a:ln w="9525" cap="flat" cmpd="sng" algn="ctr">
              <a:solidFill>
                <a:schemeClr val="bg2"/>
              </a:solidFill>
              <a:prstDash val="solid"/>
            </a:ln>
            <a:effectLst/>
          </p:spPr>
        </p:cxnSp>
        <p:grpSp>
          <p:nvGrpSpPr>
            <p:cNvPr id="32" name="Group 48"/>
            <p:cNvGrpSpPr/>
            <p:nvPr/>
          </p:nvGrpSpPr>
          <p:grpSpPr>
            <a:xfrm rot="16200000" flipV="1">
              <a:off x="5566108" y="3875611"/>
              <a:ext cx="409554" cy="410542"/>
              <a:chOff x="3031488" y="3274926"/>
              <a:chExt cx="185482" cy="185930"/>
            </a:xfrm>
          </p:grpSpPr>
          <p:sp>
            <p:nvSpPr>
              <p:cNvPr id="33" name="Freeform 100"/>
              <p:cNvSpPr>
                <a:spLocks/>
              </p:cNvSpPr>
              <p:nvPr/>
            </p:nvSpPr>
            <p:spPr bwMode="gray">
              <a:xfrm>
                <a:off x="3031488" y="3274926"/>
                <a:ext cx="185482" cy="18593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sp>
            <p:nvSpPr>
              <p:cNvPr id="34" name="Freeform 101"/>
              <p:cNvSpPr>
                <a:spLocks/>
              </p:cNvSpPr>
              <p:nvPr/>
            </p:nvSpPr>
            <p:spPr bwMode="gray">
              <a:xfrm>
                <a:off x="3068126" y="3333700"/>
                <a:ext cx="112207" cy="54901"/>
              </a:xfrm>
              <a:custGeom>
                <a:avLst/>
                <a:gdLst>
                  <a:gd name="T0" fmla="*/ 1753 w 1819"/>
                  <a:gd name="T1" fmla="*/ 979 h 979"/>
                  <a:gd name="T2" fmla="*/ 910 w 1819"/>
                  <a:gd name="T3" fmla="*/ 133 h 979"/>
                  <a:gd name="T4" fmla="*/ 68 w 1819"/>
                  <a:gd name="T5" fmla="*/ 979 h 979"/>
                  <a:gd name="T6" fmla="*/ 0 w 1819"/>
                  <a:gd name="T7" fmla="*/ 912 h 979"/>
                  <a:gd name="T8" fmla="*/ 910 w 1819"/>
                  <a:gd name="T9" fmla="*/ 0 h 979"/>
                  <a:gd name="T10" fmla="*/ 1819 w 1819"/>
                  <a:gd name="T11" fmla="*/ 912 h 979"/>
                  <a:gd name="T12" fmla="*/ 1753 w 1819"/>
                  <a:gd name="T13" fmla="*/ 979 h 979"/>
                </a:gdLst>
                <a:ahLst/>
                <a:cxnLst>
                  <a:cxn ang="0">
                    <a:pos x="T0" y="T1"/>
                  </a:cxn>
                  <a:cxn ang="0">
                    <a:pos x="T2" y="T3"/>
                  </a:cxn>
                  <a:cxn ang="0">
                    <a:pos x="T4" y="T5"/>
                  </a:cxn>
                  <a:cxn ang="0">
                    <a:pos x="T6" y="T7"/>
                  </a:cxn>
                  <a:cxn ang="0">
                    <a:pos x="T8" y="T9"/>
                  </a:cxn>
                  <a:cxn ang="0">
                    <a:pos x="T10" y="T11"/>
                  </a:cxn>
                  <a:cxn ang="0">
                    <a:pos x="T12" y="T13"/>
                  </a:cxn>
                </a:cxnLst>
                <a:rect l="0" t="0" r="r" b="b"/>
                <a:pathLst>
                  <a:path w="1819" h="979">
                    <a:moveTo>
                      <a:pt x="1753" y="979"/>
                    </a:moveTo>
                    <a:lnTo>
                      <a:pt x="910" y="133"/>
                    </a:lnTo>
                    <a:lnTo>
                      <a:pt x="68" y="979"/>
                    </a:lnTo>
                    <a:lnTo>
                      <a:pt x="0" y="912"/>
                    </a:lnTo>
                    <a:lnTo>
                      <a:pt x="910" y="0"/>
                    </a:lnTo>
                    <a:lnTo>
                      <a:pt x="1819" y="912"/>
                    </a:lnTo>
                    <a:lnTo>
                      <a:pt x="1753" y="979"/>
                    </a:lnTo>
                    <a:close/>
                  </a:path>
                </a:pathLst>
              </a:custGeom>
              <a:solidFill>
                <a:sysClr val="window" lastClr="FFFFFF"/>
              </a:solidFill>
              <a:ln w="9525">
                <a:solidFill>
                  <a:sysClr val="window" lastClr="FFFFFF"/>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E6F73"/>
                  </a:solidFill>
                  <a:effectLst/>
                  <a:uLnTx/>
                  <a:uFillTx/>
                  <a:latin typeface="Trebuchet MS"/>
                </a:endParaRPr>
              </a:p>
            </p:txBody>
          </p:sp>
        </p:grpSp>
      </p:grpSp>
      <p:grpSp>
        <p:nvGrpSpPr>
          <p:cNvPr id="35" name="Gruppieren 34">
            <a:extLst>
              <a:ext uri="{FF2B5EF4-FFF2-40B4-BE49-F238E27FC236}">
                <a16:creationId xmlns:a16="http://schemas.microsoft.com/office/drawing/2014/main" id="{14841501-9573-4DED-9B60-B8DD4054B0F4}"/>
              </a:ext>
            </a:extLst>
          </p:cNvPr>
          <p:cNvGrpSpPr/>
          <p:nvPr/>
        </p:nvGrpSpPr>
        <p:grpSpPr>
          <a:xfrm>
            <a:off x="1301201" y="2209800"/>
            <a:ext cx="135212" cy="3810000"/>
            <a:chOff x="1338058" y="2209800"/>
            <a:chExt cx="135212" cy="3810000"/>
          </a:xfrm>
        </p:grpSpPr>
        <p:cxnSp>
          <p:nvCxnSpPr>
            <p:cNvPr id="36" name="Gerader Verbinder 35">
              <a:extLst>
                <a:ext uri="{FF2B5EF4-FFF2-40B4-BE49-F238E27FC236}">
                  <a16:creationId xmlns:a16="http://schemas.microsoft.com/office/drawing/2014/main" id="{CF798EE6-4A65-4A9F-8E57-8B71830941EC}"/>
                </a:ext>
              </a:extLst>
            </p:cNvPr>
            <p:cNvCxnSpPr>
              <a:cxnSpLocks/>
            </p:cNvCxnSpPr>
            <p:nvPr/>
          </p:nvCxnSpPr>
          <p:spPr>
            <a:xfrm>
              <a:off x="1349249" y="2209800"/>
              <a:ext cx="0" cy="3810000"/>
            </a:xfrm>
            <a:prstGeom prst="line">
              <a:avLst/>
            </a:prstGeom>
            <a:ln w="12700" cap="rnd"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Gleichschenkliges Dreieck 10">
              <a:extLst>
                <a:ext uri="{FF2B5EF4-FFF2-40B4-BE49-F238E27FC236}">
                  <a16:creationId xmlns:a16="http://schemas.microsoft.com/office/drawing/2014/main" id="{2192F049-6E13-41CA-975F-A43D813EC38D}"/>
                </a:ext>
              </a:extLst>
            </p:cNvPr>
            <p:cNvSpPr/>
            <p:nvPr/>
          </p:nvSpPr>
          <p:spPr>
            <a:xfrm rot="5400000">
              <a:off x="1160654" y="4047194"/>
              <a:ext cx="490019" cy="135212"/>
            </a:xfrm>
            <a:custGeom>
              <a:avLst/>
              <a:gdLst>
                <a:gd name="connsiteX0" fmla="*/ 0 w 570368"/>
                <a:gd name="connsiteY0" fmla="*/ 271604 h 271604"/>
                <a:gd name="connsiteX1" fmla="*/ 285184 w 570368"/>
                <a:gd name="connsiteY1" fmla="*/ 0 h 271604"/>
                <a:gd name="connsiteX2" fmla="*/ 570368 w 570368"/>
                <a:gd name="connsiteY2" fmla="*/ 271604 h 271604"/>
                <a:gd name="connsiteX3" fmla="*/ 0 w 570368"/>
                <a:gd name="connsiteY3" fmla="*/ 271604 h 271604"/>
                <a:gd name="connsiteX0" fmla="*/ 0 w 570368"/>
                <a:gd name="connsiteY0" fmla="*/ 271604 h 363044"/>
                <a:gd name="connsiteX1" fmla="*/ 285184 w 570368"/>
                <a:gd name="connsiteY1" fmla="*/ 0 h 363044"/>
                <a:gd name="connsiteX2" fmla="*/ 570368 w 570368"/>
                <a:gd name="connsiteY2" fmla="*/ 271604 h 363044"/>
                <a:gd name="connsiteX3" fmla="*/ 91440 w 570368"/>
                <a:gd name="connsiteY3" fmla="*/ 363044 h 363044"/>
                <a:gd name="connsiteX0" fmla="*/ 0 w 570368"/>
                <a:gd name="connsiteY0" fmla="*/ 271604 h 271604"/>
                <a:gd name="connsiteX1" fmla="*/ 285184 w 570368"/>
                <a:gd name="connsiteY1" fmla="*/ 0 h 271604"/>
                <a:gd name="connsiteX2" fmla="*/ 570368 w 570368"/>
                <a:gd name="connsiteY2" fmla="*/ 271604 h 271604"/>
              </a:gdLst>
              <a:ahLst/>
              <a:cxnLst>
                <a:cxn ang="0">
                  <a:pos x="connsiteX0" y="connsiteY0"/>
                </a:cxn>
                <a:cxn ang="0">
                  <a:pos x="connsiteX1" y="connsiteY1"/>
                </a:cxn>
                <a:cxn ang="0">
                  <a:pos x="connsiteX2" y="connsiteY2"/>
                </a:cxn>
              </a:cxnLst>
              <a:rect l="l" t="t" r="r" b="b"/>
              <a:pathLst>
                <a:path w="570368" h="271604">
                  <a:moveTo>
                    <a:pt x="0" y="271604"/>
                  </a:moveTo>
                  <a:lnTo>
                    <a:pt x="285184" y="0"/>
                  </a:lnTo>
                  <a:lnTo>
                    <a:pt x="570368" y="271604"/>
                  </a:lnTo>
                </a:path>
              </a:pathLst>
            </a:custGeom>
            <a:solidFill>
              <a:schemeClr val="bg1"/>
            </a:solidFill>
            <a:ln w="41275" cap="rnd"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8" name="Freeform 8">
            <a:extLst>
              <a:ext uri="{FF2B5EF4-FFF2-40B4-BE49-F238E27FC236}">
                <a16:creationId xmlns:a16="http://schemas.microsoft.com/office/drawing/2014/main" id="{B7CE66E1-6F27-48D6-920B-40EC75A3CD03}"/>
              </a:ext>
            </a:extLst>
          </p:cNvPr>
          <p:cNvSpPr>
            <a:spLocks noEditPoints="1"/>
          </p:cNvSpPr>
          <p:nvPr/>
        </p:nvSpPr>
        <p:spPr bwMode="gray">
          <a:xfrm rot="20871745">
            <a:off x="2999295" y="2450656"/>
            <a:ext cx="1060853" cy="31226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400" dirty="0">
              <a:solidFill>
                <a:srgbClr val="000000"/>
              </a:solidFill>
              <a:latin typeface="DB Office"/>
            </a:endParaRPr>
          </a:p>
        </p:txBody>
      </p:sp>
      <p:sp>
        <p:nvSpPr>
          <p:cNvPr id="39" name="Freeform 8">
            <a:extLst>
              <a:ext uri="{FF2B5EF4-FFF2-40B4-BE49-F238E27FC236}">
                <a16:creationId xmlns:a16="http://schemas.microsoft.com/office/drawing/2014/main" id="{41F9C3FE-B3D9-43A9-AF23-444442BDA01B}"/>
              </a:ext>
            </a:extLst>
          </p:cNvPr>
          <p:cNvSpPr>
            <a:spLocks noEditPoints="1"/>
          </p:cNvSpPr>
          <p:nvPr/>
        </p:nvSpPr>
        <p:spPr bwMode="gray">
          <a:xfrm rot="20871745">
            <a:off x="4990153" y="2450656"/>
            <a:ext cx="1060853" cy="312260"/>
          </a:xfrm>
          <a:custGeom>
            <a:avLst/>
            <a:gdLst>
              <a:gd name="T0" fmla="*/ 508 w 642"/>
              <a:gd name="T1" fmla="*/ 94 h 189"/>
              <a:gd name="T2" fmla="*/ 243 w 642"/>
              <a:gd name="T3" fmla="*/ 72 h 189"/>
              <a:gd name="T4" fmla="*/ 21 w 642"/>
              <a:gd name="T5" fmla="*/ 183 h 189"/>
              <a:gd name="T6" fmla="*/ 4 w 642"/>
              <a:gd name="T7" fmla="*/ 182 h 189"/>
              <a:gd name="T8" fmla="*/ 10 w 642"/>
              <a:gd name="T9" fmla="*/ 164 h 189"/>
              <a:gd name="T10" fmla="*/ 239 w 642"/>
              <a:gd name="T11" fmla="*/ 47 h 189"/>
              <a:gd name="T12" fmla="*/ 522 w 642"/>
              <a:gd name="T13" fmla="*/ 68 h 189"/>
              <a:gd name="T14" fmla="*/ 508 w 642"/>
              <a:gd name="T15" fmla="*/ 94 h 189"/>
              <a:gd name="T16" fmla="*/ 630 w 642"/>
              <a:gd name="T17" fmla="*/ 93 h 189"/>
              <a:gd name="T18" fmla="*/ 515 w 642"/>
              <a:gd name="T19" fmla="*/ 7 h 189"/>
              <a:gd name="T20" fmla="*/ 496 w 642"/>
              <a:gd name="T21" fmla="*/ 30 h 189"/>
              <a:gd name="T22" fmla="*/ 572 w 642"/>
              <a:gd name="T23" fmla="*/ 87 h 189"/>
              <a:gd name="T24" fmla="*/ 541 w 642"/>
              <a:gd name="T25" fmla="*/ 98 h 189"/>
              <a:gd name="T26" fmla="*/ 459 w 642"/>
              <a:gd name="T27" fmla="*/ 162 h 189"/>
              <a:gd name="T28" fmla="*/ 462 w 642"/>
              <a:gd name="T29" fmla="*/ 179 h 189"/>
              <a:gd name="T30" fmla="*/ 479 w 642"/>
              <a:gd name="T31" fmla="*/ 169 h 189"/>
              <a:gd name="T32" fmla="*/ 536 w 642"/>
              <a:gd name="T33" fmla="*/ 125 h 189"/>
              <a:gd name="T34" fmla="*/ 611 w 642"/>
              <a:gd name="T35" fmla="*/ 116 h 189"/>
              <a:gd name="T36" fmla="*/ 630 w 642"/>
              <a:gd name="T37" fmla="*/ 9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189">
                <a:moveTo>
                  <a:pt x="508" y="94"/>
                </a:moveTo>
                <a:cubicBezTo>
                  <a:pt x="422" y="74"/>
                  <a:pt x="331" y="62"/>
                  <a:pt x="243" y="72"/>
                </a:cubicBezTo>
                <a:cubicBezTo>
                  <a:pt x="160" y="82"/>
                  <a:pt x="79" y="125"/>
                  <a:pt x="21" y="183"/>
                </a:cubicBezTo>
                <a:cubicBezTo>
                  <a:pt x="16" y="187"/>
                  <a:pt x="7" y="189"/>
                  <a:pt x="4" y="182"/>
                </a:cubicBezTo>
                <a:cubicBezTo>
                  <a:pt x="0" y="176"/>
                  <a:pt x="5" y="168"/>
                  <a:pt x="10" y="164"/>
                </a:cubicBezTo>
                <a:cubicBezTo>
                  <a:pt x="70" y="104"/>
                  <a:pt x="155" y="58"/>
                  <a:pt x="239" y="47"/>
                </a:cubicBezTo>
                <a:cubicBezTo>
                  <a:pt x="333" y="34"/>
                  <a:pt x="430" y="47"/>
                  <a:pt x="522" y="68"/>
                </a:cubicBezTo>
                <a:cubicBezTo>
                  <a:pt x="537" y="71"/>
                  <a:pt x="521" y="97"/>
                  <a:pt x="508" y="94"/>
                </a:cubicBezTo>
                <a:close/>
                <a:moveTo>
                  <a:pt x="630" y="93"/>
                </a:moveTo>
                <a:cubicBezTo>
                  <a:pt x="590" y="67"/>
                  <a:pt x="555" y="33"/>
                  <a:pt x="515" y="7"/>
                </a:cubicBezTo>
                <a:cubicBezTo>
                  <a:pt x="503" y="0"/>
                  <a:pt x="484" y="23"/>
                  <a:pt x="496" y="30"/>
                </a:cubicBezTo>
                <a:cubicBezTo>
                  <a:pt x="523" y="47"/>
                  <a:pt x="547" y="68"/>
                  <a:pt x="572" y="87"/>
                </a:cubicBezTo>
                <a:cubicBezTo>
                  <a:pt x="561" y="90"/>
                  <a:pt x="551" y="94"/>
                  <a:pt x="541" y="98"/>
                </a:cubicBezTo>
                <a:cubicBezTo>
                  <a:pt x="509" y="111"/>
                  <a:pt x="478" y="133"/>
                  <a:pt x="459" y="162"/>
                </a:cubicBezTo>
                <a:cubicBezTo>
                  <a:pt x="455" y="167"/>
                  <a:pt x="455" y="176"/>
                  <a:pt x="462" y="179"/>
                </a:cubicBezTo>
                <a:cubicBezTo>
                  <a:pt x="469" y="181"/>
                  <a:pt x="475" y="175"/>
                  <a:pt x="479" y="169"/>
                </a:cubicBezTo>
                <a:cubicBezTo>
                  <a:pt x="493" y="150"/>
                  <a:pt x="515" y="136"/>
                  <a:pt x="536" y="125"/>
                </a:cubicBezTo>
                <a:cubicBezTo>
                  <a:pt x="557" y="115"/>
                  <a:pt x="588" y="103"/>
                  <a:pt x="611" y="116"/>
                </a:cubicBezTo>
                <a:cubicBezTo>
                  <a:pt x="623" y="122"/>
                  <a:pt x="642" y="100"/>
                  <a:pt x="630" y="93"/>
                </a:cubicBezTo>
                <a:close/>
              </a:path>
            </a:pathLst>
          </a:custGeom>
          <a:solidFill>
            <a:schemeClr val="accent3"/>
          </a:solidFill>
          <a:ln>
            <a:noFill/>
          </a:ln>
          <a:effec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000000"/>
              </a:solidFill>
              <a:effectLst/>
              <a:uLnTx/>
              <a:uFillTx/>
              <a:latin typeface="DB Office"/>
              <a:ea typeface="+mn-ea"/>
              <a:cs typeface="+mn-cs"/>
            </a:endParaRPr>
          </a:p>
        </p:txBody>
      </p:sp>
    </p:spTree>
    <p:extLst>
      <p:ext uri="{BB962C8B-B14F-4D97-AF65-F5344CB8AC3E}">
        <p14:creationId xmlns:p14="http://schemas.microsoft.com/office/powerpoint/2010/main" val="4421167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ozesspfeile</a:t>
            </a:r>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E1204CDC-6F5C-4E5B-8087-94D2BD260C49}"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30</a:t>
            </a:fld>
            <a:endParaRPr lang="de-DE" dirty="0"/>
          </a:p>
        </p:txBody>
      </p:sp>
      <p:grpSp>
        <p:nvGrpSpPr>
          <p:cNvPr id="7" name="Gruppieren 6"/>
          <p:cNvGrpSpPr/>
          <p:nvPr/>
        </p:nvGrpSpPr>
        <p:grpSpPr>
          <a:xfrm>
            <a:off x="272480" y="1628800"/>
            <a:ext cx="9371920" cy="4605606"/>
            <a:chOff x="200025" y="1773238"/>
            <a:chExt cx="9505950" cy="4671472"/>
          </a:xfrm>
        </p:grpSpPr>
        <p:sp>
          <p:nvSpPr>
            <p:cNvPr id="8" name="AutoShape 5"/>
            <p:cNvSpPr>
              <a:spLocks noChangeArrowheads="1"/>
            </p:cNvSpPr>
            <p:nvPr/>
          </p:nvSpPr>
          <p:spPr bwMode="gray">
            <a:xfrm>
              <a:off x="200025"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9" name="AutoShape 12"/>
            <p:cNvSpPr>
              <a:spLocks noChangeArrowheads="1"/>
            </p:cNvSpPr>
            <p:nvPr/>
          </p:nvSpPr>
          <p:spPr bwMode="gray">
            <a:xfrm>
              <a:off x="200025"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0" name="AutoShape 20"/>
            <p:cNvSpPr>
              <a:spLocks noChangeArrowheads="1"/>
            </p:cNvSpPr>
            <p:nvPr>
              <p:custDataLst>
                <p:tags r:id="rId1"/>
              </p:custDataLst>
            </p:nvPr>
          </p:nvSpPr>
          <p:spPr bwMode="gray">
            <a:xfrm>
              <a:off x="200025"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1" name="AutoShape 26"/>
            <p:cNvSpPr>
              <a:spLocks noChangeArrowheads="1"/>
            </p:cNvSpPr>
            <p:nvPr/>
          </p:nvSpPr>
          <p:spPr bwMode="gray">
            <a:xfrm>
              <a:off x="200025" y="1773238"/>
              <a:ext cx="4732338" cy="576262"/>
            </a:xfrm>
            <a:custGeom>
              <a:avLst/>
              <a:gdLst>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134961 w 4732338"/>
                <a:gd name="connsiteY5" fmla="*/ 288131 h 576262"/>
                <a:gd name="connsiteX6" fmla="*/ 0 w 4732338"/>
                <a:gd name="connsiteY6" fmla="*/ 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0 w 4732338"/>
                <a:gd name="connsiteY5" fmla="*/ 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91440 w 4732338"/>
                <a:gd name="connsiteY5" fmla="*/ 9144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2338" h="576262">
                  <a:moveTo>
                    <a:pt x="0" y="0"/>
                  </a:moveTo>
                  <a:lnTo>
                    <a:pt x="4597377" y="0"/>
                  </a:lnTo>
                  <a:lnTo>
                    <a:pt x="4732338" y="288131"/>
                  </a:lnTo>
                  <a:lnTo>
                    <a:pt x="4597377"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2" name="AutoShape 28"/>
            <p:cNvSpPr>
              <a:spLocks noChangeArrowheads="1"/>
            </p:cNvSpPr>
            <p:nvPr/>
          </p:nvSpPr>
          <p:spPr bwMode="gray">
            <a:xfrm>
              <a:off x="200025" y="2455773"/>
              <a:ext cx="3168650" cy="576262"/>
            </a:xfrm>
            <a:custGeom>
              <a:avLst/>
              <a:gdLst>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128650 w 3168650"/>
                <a:gd name="connsiteY5" fmla="*/ 288131 h 576262"/>
                <a:gd name="connsiteX6" fmla="*/ 0 w 3168650"/>
                <a:gd name="connsiteY6"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0 w 3168650"/>
                <a:gd name="connsiteY5"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91440 w 3168650"/>
                <a:gd name="connsiteY5" fmla="*/ 9144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0" h="576262">
                  <a:moveTo>
                    <a:pt x="0" y="0"/>
                  </a:moveTo>
                  <a:lnTo>
                    <a:pt x="3040000" y="0"/>
                  </a:lnTo>
                  <a:lnTo>
                    <a:pt x="3168650" y="288131"/>
                  </a:lnTo>
                  <a:lnTo>
                    <a:pt x="3040000"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3" name="AutoShape 31"/>
            <p:cNvSpPr>
              <a:spLocks noChangeArrowheads="1"/>
            </p:cNvSpPr>
            <p:nvPr/>
          </p:nvSpPr>
          <p:spPr bwMode="gray">
            <a:xfrm>
              <a:off x="200025" y="3138308"/>
              <a:ext cx="2376488" cy="576262"/>
            </a:xfrm>
            <a:custGeom>
              <a:avLst/>
              <a:gdLst>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144457 w 2376488"/>
                <a:gd name="connsiteY5" fmla="*/ 288131 h 576262"/>
                <a:gd name="connsiteX6" fmla="*/ 0 w 2376488"/>
                <a:gd name="connsiteY6"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0 w 2376488"/>
                <a:gd name="connsiteY5"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91440 w 2376488"/>
                <a:gd name="connsiteY5" fmla="*/ 9144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88" h="576262">
                  <a:moveTo>
                    <a:pt x="0" y="0"/>
                  </a:moveTo>
                  <a:lnTo>
                    <a:pt x="2232031" y="0"/>
                  </a:lnTo>
                  <a:lnTo>
                    <a:pt x="2376488" y="288131"/>
                  </a:lnTo>
                  <a:lnTo>
                    <a:pt x="2232031"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4" name="AutoShape 35"/>
            <p:cNvSpPr>
              <a:spLocks noChangeArrowheads="1"/>
            </p:cNvSpPr>
            <p:nvPr>
              <p:custDataLst>
                <p:tags r:id="rId2"/>
              </p:custDataLst>
            </p:nvPr>
          </p:nvSpPr>
          <p:spPr bwMode="gray">
            <a:xfrm>
              <a:off x="200025" y="3820843"/>
              <a:ext cx="1901825" cy="576262"/>
            </a:xfrm>
            <a:custGeom>
              <a:avLst/>
              <a:gdLst>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145016 w 1901825"/>
                <a:gd name="connsiteY5" fmla="*/ 288131 h 576262"/>
                <a:gd name="connsiteX6" fmla="*/ 0 w 1901825"/>
                <a:gd name="connsiteY6"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0 w 1901825"/>
                <a:gd name="connsiteY5"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91440 w 1901825"/>
                <a:gd name="connsiteY5" fmla="*/ 9144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825" h="576262">
                  <a:moveTo>
                    <a:pt x="0" y="0"/>
                  </a:moveTo>
                  <a:lnTo>
                    <a:pt x="1756809" y="0"/>
                  </a:lnTo>
                  <a:lnTo>
                    <a:pt x="1901825" y="288131"/>
                  </a:lnTo>
                  <a:lnTo>
                    <a:pt x="1756809"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1</a:t>
              </a:r>
              <a:endParaRPr lang="en-US" sz="1600" dirty="0">
                <a:solidFill>
                  <a:schemeClr val="bg2"/>
                </a:solidFill>
              </a:endParaRPr>
            </a:p>
          </p:txBody>
        </p:sp>
        <p:sp>
          <p:nvSpPr>
            <p:cNvPr id="15" name="AutoShape 26"/>
            <p:cNvSpPr>
              <a:spLocks noChangeArrowheads="1"/>
            </p:cNvSpPr>
            <p:nvPr/>
          </p:nvSpPr>
          <p:spPr bwMode="gray">
            <a:xfrm>
              <a:off x="4973637" y="1773238"/>
              <a:ext cx="4732338" cy="576262"/>
            </a:xfrm>
            <a:custGeom>
              <a:avLst/>
              <a:gdLst>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134961 w 4732338"/>
                <a:gd name="connsiteY5" fmla="*/ 288131 h 576262"/>
                <a:gd name="connsiteX6" fmla="*/ 0 w 4732338"/>
                <a:gd name="connsiteY6" fmla="*/ 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0 w 4732338"/>
                <a:gd name="connsiteY5" fmla="*/ 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 name="connsiteX5" fmla="*/ 91440 w 4732338"/>
                <a:gd name="connsiteY5" fmla="*/ 91440 h 576262"/>
                <a:gd name="connsiteX0" fmla="*/ 0 w 4732338"/>
                <a:gd name="connsiteY0" fmla="*/ 0 h 576262"/>
                <a:gd name="connsiteX1" fmla="*/ 4597377 w 4732338"/>
                <a:gd name="connsiteY1" fmla="*/ 0 h 576262"/>
                <a:gd name="connsiteX2" fmla="*/ 4732338 w 4732338"/>
                <a:gd name="connsiteY2" fmla="*/ 288131 h 576262"/>
                <a:gd name="connsiteX3" fmla="*/ 4597377 w 4732338"/>
                <a:gd name="connsiteY3" fmla="*/ 576262 h 576262"/>
                <a:gd name="connsiteX4" fmla="*/ 0 w 4732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2338" h="576262">
                  <a:moveTo>
                    <a:pt x="0" y="0"/>
                  </a:moveTo>
                  <a:lnTo>
                    <a:pt x="4597377" y="0"/>
                  </a:lnTo>
                  <a:lnTo>
                    <a:pt x="4732338" y="288131"/>
                  </a:lnTo>
                  <a:lnTo>
                    <a:pt x="4597377"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16" name="AutoShape 28"/>
            <p:cNvSpPr>
              <a:spLocks noChangeArrowheads="1"/>
            </p:cNvSpPr>
            <p:nvPr/>
          </p:nvSpPr>
          <p:spPr bwMode="gray">
            <a:xfrm>
              <a:off x="3368675" y="2455773"/>
              <a:ext cx="3168650" cy="576262"/>
            </a:xfrm>
            <a:custGeom>
              <a:avLst/>
              <a:gdLst>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128650 w 3168650"/>
                <a:gd name="connsiteY5" fmla="*/ 288131 h 576262"/>
                <a:gd name="connsiteX6" fmla="*/ 0 w 3168650"/>
                <a:gd name="connsiteY6"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0 w 3168650"/>
                <a:gd name="connsiteY5"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91440 w 3168650"/>
                <a:gd name="connsiteY5" fmla="*/ 9144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0" h="576262">
                  <a:moveTo>
                    <a:pt x="0" y="0"/>
                  </a:moveTo>
                  <a:lnTo>
                    <a:pt x="3040000" y="0"/>
                  </a:lnTo>
                  <a:lnTo>
                    <a:pt x="3168650" y="288131"/>
                  </a:lnTo>
                  <a:lnTo>
                    <a:pt x="3040000"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17" name="AutoShape 28"/>
            <p:cNvSpPr>
              <a:spLocks noChangeArrowheads="1"/>
            </p:cNvSpPr>
            <p:nvPr/>
          </p:nvSpPr>
          <p:spPr bwMode="gray">
            <a:xfrm>
              <a:off x="6537325" y="2455773"/>
              <a:ext cx="3168650" cy="576262"/>
            </a:xfrm>
            <a:custGeom>
              <a:avLst/>
              <a:gdLst>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128650 w 3168650"/>
                <a:gd name="connsiteY5" fmla="*/ 288131 h 576262"/>
                <a:gd name="connsiteX6" fmla="*/ 0 w 3168650"/>
                <a:gd name="connsiteY6"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0 w 3168650"/>
                <a:gd name="connsiteY5" fmla="*/ 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 name="connsiteX5" fmla="*/ 91440 w 3168650"/>
                <a:gd name="connsiteY5" fmla="*/ 91440 h 576262"/>
                <a:gd name="connsiteX0" fmla="*/ 0 w 3168650"/>
                <a:gd name="connsiteY0" fmla="*/ 0 h 576262"/>
                <a:gd name="connsiteX1" fmla="*/ 3040000 w 3168650"/>
                <a:gd name="connsiteY1" fmla="*/ 0 h 576262"/>
                <a:gd name="connsiteX2" fmla="*/ 3168650 w 3168650"/>
                <a:gd name="connsiteY2" fmla="*/ 288131 h 576262"/>
                <a:gd name="connsiteX3" fmla="*/ 3040000 w 3168650"/>
                <a:gd name="connsiteY3" fmla="*/ 576262 h 576262"/>
                <a:gd name="connsiteX4" fmla="*/ 0 w 3168650"/>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650" h="576262">
                  <a:moveTo>
                    <a:pt x="0" y="0"/>
                  </a:moveTo>
                  <a:lnTo>
                    <a:pt x="3040000" y="0"/>
                  </a:lnTo>
                  <a:lnTo>
                    <a:pt x="3168650" y="288131"/>
                  </a:lnTo>
                  <a:lnTo>
                    <a:pt x="3040000"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sp>
          <p:nvSpPr>
            <p:cNvPr id="18" name="AutoShape 31"/>
            <p:cNvSpPr>
              <a:spLocks noChangeArrowheads="1"/>
            </p:cNvSpPr>
            <p:nvPr/>
          </p:nvSpPr>
          <p:spPr bwMode="gray">
            <a:xfrm>
              <a:off x="2576512" y="3138308"/>
              <a:ext cx="2376488" cy="576262"/>
            </a:xfrm>
            <a:custGeom>
              <a:avLst/>
              <a:gdLst>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144457 w 2376488"/>
                <a:gd name="connsiteY5" fmla="*/ 288131 h 576262"/>
                <a:gd name="connsiteX6" fmla="*/ 0 w 2376488"/>
                <a:gd name="connsiteY6"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0 w 2376488"/>
                <a:gd name="connsiteY5"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91440 w 2376488"/>
                <a:gd name="connsiteY5" fmla="*/ 9144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88" h="576262">
                  <a:moveTo>
                    <a:pt x="0" y="0"/>
                  </a:moveTo>
                  <a:lnTo>
                    <a:pt x="2232031" y="0"/>
                  </a:lnTo>
                  <a:lnTo>
                    <a:pt x="2376488" y="288131"/>
                  </a:lnTo>
                  <a:lnTo>
                    <a:pt x="2232031"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19" name="AutoShape 31"/>
            <p:cNvSpPr>
              <a:spLocks noChangeArrowheads="1"/>
            </p:cNvSpPr>
            <p:nvPr/>
          </p:nvSpPr>
          <p:spPr bwMode="gray">
            <a:xfrm>
              <a:off x="4952999" y="3138308"/>
              <a:ext cx="2376488" cy="576262"/>
            </a:xfrm>
            <a:custGeom>
              <a:avLst/>
              <a:gdLst>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144457 w 2376488"/>
                <a:gd name="connsiteY5" fmla="*/ 288131 h 576262"/>
                <a:gd name="connsiteX6" fmla="*/ 0 w 2376488"/>
                <a:gd name="connsiteY6"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0 w 2376488"/>
                <a:gd name="connsiteY5"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91440 w 2376488"/>
                <a:gd name="connsiteY5" fmla="*/ 9144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88" h="576262">
                  <a:moveTo>
                    <a:pt x="0" y="0"/>
                  </a:moveTo>
                  <a:lnTo>
                    <a:pt x="2232031" y="0"/>
                  </a:lnTo>
                  <a:lnTo>
                    <a:pt x="2376488" y="288131"/>
                  </a:lnTo>
                  <a:lnTo>
                    <a:pt x="2232031"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sp>
          <p:nvSpPr>
            <p:cNvPr id="20" name="AutoShape 31"/>
            <p:cNvSpPr>
              <a:spLocks noChangeArrowheads="1"/>
            </p:cNvSpPr>
            <p:nvPr/>
          </p:nvSpPr>
          <p:spPr bwMode="gray">
            <a:xfrm>
              <a:off x="7329487" y="3138128"/>
              <a:ext cx="2376488" cy="576262"/>
            </a:xfrm>
            <a:custGeom>
              <a:avLst/>
              <a:gdLst>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144457 w 2376488"/>
                <a:gd name="connsiteY5" fmla="*/ 288131 h 576262"/>
                <a:gd name="connsiteX6" fmla="*/ 0 w 2376488"/>
                <a:gd name="connsiteY6"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0 w 2376488"/>
                <a:gd name="connsiteY5" fmla="*/ 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 name="connsiteX5" fmla="*/ 91440 w 2376488"/>
                <a:gd name="connsiteY5" fmla="*/ 91440 h 576262"/>
                <a:gd name="connsiteX0" fmla="*/ 0 w 2376488"/>
                <a:gd name="connsiteY0" fmla="*/ 0 h 576262"/>
                <a:gd name="connsiteX1" fmla="*/ 2232031 w 2376488"/>
                <a:gd name="connsiteY1" fmla="*/ 0 h 576262"/>
                <a:gd name="connsiteX2" fmla="*/ 2376488 w 2376488"/>
                <a:gd name="connsiteY2" fmla="*/ 288131 h 576262"/>
                <a:gd name="connsiteX3" fmla="*/ 2232031 w 2376488"/>
                <a:gd name="connsiteY3" fmla="*/ 576262 h 576262"/>
                <a:gd name="connsiteX4" fmla="*/ 0 w 237648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488" h="576262">
                  <a:moveTo>
                    <a:pt x="0" y="0"/>
                  </a:moveTo>
                  <a:lnTo>
                    <a:pt x="2232031" y="0"/>
                  </a:lnTo>
                  <a:lnTo>
                    <a:pt x="2376488" y="288131"/>
                  </a:lnTo>
                  <a:lnTo>
                    <a:pt x="2232031"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4</a:t>
              </a:r>
              <a:endParaRPr lang="en-US" sz="1600" dirty="0">
                <a:solidFill>
                  <a:schemeClr val="bg2"/>
                </a:solidFill>
              </a:endParaRPr>
            </a:p>
          </p:txBody>
        </p:sp>
        <p:sp>
          <p:nvSpPr>
            <p:cNvPr id="21" name="AutoShape 35"/>
            <p:cNvSpPr>
              <a:spLocks noChangeArrowheads="1"/>
            </p:cNvSpPr>
            <p:nvPr>
              <p:custDataLst>
                <p:tags r:id="rId3"/>
              </p:custDataLst>
            </p:nvPr>
          </p:nvSpPr>
          <p:spPr bwMode="gray">
            <a:xfrm>
              <a:off x="7804150" y="3820843"/>
              <a:ext cx="1901825" cy="576262"/>
            </a:xfrm>
            <a:custGeom>
              <a:avLst/>
              <a:gdLst>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145016 w 1901825"/>
                <a:gd name="connsiteY5" fmla="*/ 288131 h 576262"/>
                <a:gd name="connsiteX6" fmla="*/ 0 w 1901825"/>
                <a:gd name="connsiteY6"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0 w 1901825"/>
                <a:gd name="connsiteY5"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91440 w 1901825"/>
                <a:gd name="connsiteY5" fmla="*/ 9144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825" h="576262">
                  <a:moveTo>
                    <a:pt x="0" y="0"/>
                  </a:moveTo>
                  <a:lnTo>
                    <a:pt x="1756809" y="0"/>
                  </a:lnTo>
                  <a:lnTo>
                    <a:pt x="1901825" y="288131"/>
                  </a:lnTo>
                  <a:lnTo>
                    <a:pt x="1756809"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5</a:t>
              </a:r>
              <a:endParaRPr lang="en-US" sz="1600" dirty="0">
                <a:solidFill>
                  <a:schemeClr val="bg2"/>
                </a:solidFill>
              </a:endParaRPr>
            </a:p>
          </p:txBody>
        </p:sp>
        <p:sp>
          <p:nvSpPr>
            <p:cNvPr id="22" name="AutoShape 35"/>
            <p:cNvSpPr>
              <a:spLocks noChangeArrowheads="1"/>
            </p:cNvSpPr>
            <p:nvPr>
              <p:custDataLst>
                <p:tags r:id="rId4"/>
              </p:custDataLst>
            </p:nvPr>
          </p:nvSpPr>
          <p:spPr bwMode="gray">
            <a:xfrm>
              <a:off x="2101056" y="3820843"/>
              <a:ext cx="1901825" cy="576262"/>
            </a:xfrm>
            <a:custGeom>
              <a:avLst/>
              <a:gdLst>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145016 w 1901825"/>
                <a:gd name="connsiteY5" fmla="*/ 288131 h 576262"/>
                <a:gd name="connsiteX6" fmla="*/ 0 w 1901825"/>
                <a:gd name="connsiteY6"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0 w 1901825"/>
                <a:gd name="connsiteY5"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91440 w 1901825"/>
                <a:gd name="connsiteY5" fmla="*/ 9144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825" h="576262">
                  <a:moveTo>
                    <a:pt x="0" y="0"/>
                  </a:moveTo>
                  <a:lnTo>
                    <a:pt x="1756809" y="0"/>
                  </a:lnTo>
                  <a:lnTo>
                    <a:pt x="1901825" y="288131"/>
                  </a:lnTo>
                  <a:lnTo>
                    <a:pt x="1756809"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23" name="AutoShape 35"/>
            <p:cNvSpPr>
              <a:spLocks noChangeArrowheads="1"/>
            </p:cNvSpPr>
            <p:nvPr>
              <p:custDataLst>
                <p:tags r:id="rId5"/>
              </p:custDataLst>
            </p:nvPr>
          </p:nvSpPr>
          <p:spPr bwMode="gray">
            <a:xfrm>
              <a:off x="4002087" y="3820843"/>
              <a:ext cx="1901825" cy="576262"/>
            </a:xfrm>
            <a:custGeom>
              <a:avLst/>
              <a:gdLst>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145016 w 1901825"/>
                <a:gd name="connsiteY5" fmla="*/ 288131 h 576262"/>
                <a:gd name="connsiteX6" fmla="*/ 0 w 1901825"/>
                <a:gd name="connsiteY6"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0 w 1901825"/>
                <a:gd name="connsiteY5"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91440 w 1901825"/>
                <a:gd name="connsiteY5" fmla="*/ 9144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825" h="576262">
                  <a:moveTo>
                    <a:pt x="0" y="0"/>
                  </a:moveTo>
                  <a:lnTo>
                    <a:pt x="1756809" y="0"/>
                  </a:lnTo>
                  <a:lnTo>
                    <a:pt x="1901825" y="288131"/>
                  </a:lnTo>
                  <a:lnTo>
                    <a:pt x="1756809"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sp>
          <p:nvSpPr>
            <p:cNvPr id="24" name="AutoShape 35"/>
            <p:cNvSpPr>
              <a:spLocks noChangeArrowheads="1"/>
            </p:cNvSpPr>
            <p:nvPr>
              <p:custDataLst>
                <p:tags r:id="rId6"/>
              </p:custDataLst>
            </p:nvPr>
          </p:nvSpPr>
          <p:spPr bwMode="gray">
            <a:xfrm>
              <a:off x="5903118" y="3820843"/>
              <a:ext cx="1901825" cy="576262"/>
            </a:xfrm>
            <a:custGeom>
              <a:avLst/>
              <a:gdLst>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145016 w 1901825"/>
                <a:gd name="connsiteY5" fmla="*/ 288131 h 576262"/>
                <a:gd name="connsiteX6" fmla="*/ 0 w 1901825"/>
                <a:gd name="connsiteY6"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0 w 1901825"/>
                <a:gd name="connsiteY5" fmla="*/ 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 name="connsiteX5" fmla="*/ 91440 w 1901825"/>
                <a:gd name="connsiteY5" fmla="*/ 91440 h 576262"/>
                <a:gd name="connsiteX0" fmla="*/ 0 w 1901825"/>
                <a:gd name="connsiteY0" fmla="*/ 0 h 576262"/>
                <a:gd name="connsiteX1" fmla="*/ 1756809 w 1901825"/>
                <a:gd name="connsiteY1" fmla="*/ 0 h 576262"/>
                <a:gd name="connsiteX2" fmla="*/ 1901825 w 1901825"/>
                <a:gd name="connsiteY2" fmla="*/ 288131 h 576262"/>
                <a:gd name="connsiteX3" fmla="*/ 1756809 w 1901825"/>
                <a:gd name="connsiteY3" fmla="*/ 576262 h 576262"/>
                <a:gd name="connsiteX4" fmla="*/ 0 w 1901825"/>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1825" h="576262">
                  <a:moveTo>
                    <a:pt x="0" y="0"/>
                  </a:moveTo>
                  <a:lnTo>
                    <a:pt x="1756809" y="0"/>
                  </a:lnTo>
                  <a:lnTo>
                    <a:pt x="1901825" y="288131"/>
                  </a:lnTo>
                  <a:lnTo>
                    <a:pt x="1756809"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4</a:t>
              </a:r>
              <a:endParaRPr lang="en-US" sz="1600" dirty="0">
                <a:solidFill>
                  <a:schemeClr val="bg2"/>
                </a:solidFill>
              </a:endParaRPr>
            </a:p>
          </p:txBody>
        </p:sp>
        <p:sp>
          <p:nvSpPr>
            <p:cNvPr id="25" name="AutoShape 5"/>
            <p:cNvSpPr>
              <a:spLocks noChangeArrowheads="1"/>
            </p:cNvSpPr>
            <p:nvPr/>
          </p:nvSpPr>
          <p:spPr bwMode="gray">
            <a:xfrm>
              <a:off x="1545960"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26" name="AutoShape 12"/>
            <p:cNvSpPr>
              <a:spLocks noChangeArrowheads="1"/>
            </p:cNvSpPr>
            <p:nvPr/>
          </p:nvSpPr>
          <p:spPr bwMode="gray">
            <a:xfrm>
              <a:off x="1377950"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27" name="AutoShape 20"/>
            <p:cNvSpPr>
              <a:spLocks noChangeArrowheads="1"/>
            </p:cNvSpPr>
            <p:nvPr>
              <p:custDataLst>
                <p:tags r:id="rId7"/>
              </p:custDataLst>
            </p:nvPr>
          </p:nvSpPr>
          <p:spPr bwMode="gray">
            <a:xfrm>
              <a:off x="1784350"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2</a:t>
              </a:r>
              <a:endParaRPr lang="en-US" sz="1600" dirty="0">
                <a:solidFill>
                  <a:schemeClr val="bg2"/>
                </a:solidFill>
              </a:endParaRPr>
            </a:p>
          </p:txBody>
        </p:sp>
        <p:sp>
          <p:nvSpPr>
            <p:cNvPr id="28" name="AutoShape 5"/>
            <p:cNvSpPr>
              <a:spLocks noChangeArrowheads="1"/>
            </p:cNvSpPr>
            <p:nvPr/>
          </p:nvSpPr>
          <p:spPr bwMode="gray">
            <a:xfrm>
              <a:off x="2891895"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sp>
          <p:nvSpPr>
            <p:cNvPr id="29" name="AutoShape 12"/>
            <p:cNvSpPr>
              <a:spLocks noChangeArrowheads="1"/>
            </p:cNvSpPr>
            <p:nvPr/>
          </p:nvSpPr>
          <p:spPr bwMode="gray">
            <a:xfrm>
              <a:off x="3733800"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4</a:t>
              </a:r>
              <a:endParaRPr lang="en-US" sz="1600" dirty="0">
                <a:solidFill>
                  <a:schemeClr val="bg2"/>
                </a:solidFill>
              </a:endParaRPr>
            </a:p>
          </p:txBody>
        </p:sp>
        <p:sp>
          <p:nvSpPr>
            <p:cNvPr id="30" name="AutoShape 20"/>
            <p:cNvSpPr>
              <a:spLocks noChangeArrowheads="1"/>
            </p:cNvSpPr>
            <p:nvPr>
              <p:custDataLst>
                <p:tags r:id="rId8"/>
              </p:custDataLst>
            </p:nvPr>
          </p:nvSpPr>
          <p:spPr bwMode="gray">
            <a:xfrm>
              <a:off x="3368675"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sp>
          <p:nvSpPr>
            <p:cNvPr id="31" name="AutoShape 5"/>
            <p:cNvSpPr>
              <a:spLocks noChangeArrowheads="1"/>
            </p:cNvSpPr>
            <p:nvPr/>
          </p:nvSpPr>
          <p:spPr bwMode="gray">
            <a:xfrm>
              <a:off x="5583765"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5</a:t>
              </a:r>
              <a:endParaRPr lang="en-US" sz="1600" dirty="0">
                <a:solidFill>
                  <a:schemeClr val="bg2"/>
                </a:solidFill>
              </a:endParaRPr>
            </a:p>
          </p:txBody>
        </p:sp>
        <p:sp>
          <p:nvSpPr>
            <p:cNvPr id="32" name="AutoShape 12"/>
            <p:cNvSpPr>
              <a:spLocks noChangeArrowheads="1"/>
            </p:cNvSpPr>
            <p:nvPr/>
          </p:nvSpPr>
          <p:spPr bwMode="gray">
            <a:xfrm>
              <a:off x="6089650"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6</a:t>
              </a:r>
              <a:endParaRPr lang="en-US" sz="1600" dirty="0">
                <a:solidFill>
                  <a:schemeClr val="bg2"/>
                </a:solidFill>
              </a:endParaRPr>
            </a:p>
          </p:txBody>
        </p:sp>
        <p:sp>
          <p:nvSpPr>
            <p:cNvPr id="33" name="AutoShape 20"/>
            <p:cNvSpPr>
              <a:spLocks noChangeArrowheads="1"/>
            </p:cNvSpPr>
            <p:nvPr>
              <p:custDataLst>
                <p:tags r:id="rId9"/>
              </p:custDataLst>
            </p:nvPr>
          </p:nvSpPr>
          <p:spPr bwMode="gray">
            <a:xfrm>
              <a:off x="4953000"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4</a:t>
              </a:r>
              <a:endParaRPr lang="en-US" sz="1600" dirty="0">
                <a:solidFill>
                  <a:schemeClr val="bg2"/>
                </a:solidFill>
              </a:endParaRPr>
            </a:p>
          </p:txBody>
        </p:sp>
        <p:sp>
          <p:nvSpPr>
            <p:cNvPr id="34" name="AutoShape 5"/>
            <p:cNvSpPr>
              <a:spLocks noChangeArrowheads="1"/>
            </p:cNvSpPr>
            <p:nvPr/>
          </p:nvSpPr>
          <p:spPr bwMode="gray">
            <a:xfrm>
              <a:off x="6929700"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6</a:t>
              </a:r>
              <a:endParaRPr lang="en-US" sz="1600" dirty="0">
                <a:solidFill>
                  <a:schemeClr val="bg2"/>
                </a:solidFill>
              </a:endParaRPr>
            </a:p>
          </p:txBody>
        </p:sp>
        <p:sp>
          <p:nvSpPr>
            <p:cNvPr id="35" name="AutoShape 12"/>
            <p:cNvSpPr>
              <a:spLocks noChangeArrowheads="1"/>
            </p:cNvSpPr>
            <p:nvPr/>
          </p:nvSpPr>
          <p:spPr bwMode="gray">
            <a:xfrm>
              <a:off x="7267575"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7</a:t>
              </a:r>
              <a:endParaRPr lang="en-US" sz="1600" dirty="0">
                <a:solidFill>
                  <a:schemeClr val="bg2"/>
                </a:solidFill>
              </a:endParaRPr>
            </a:p>
          </p:txBody>
        </p:sp>
        <p:sp>
          <p:nvSpPr>
            <p:cNvPr id="36" name="AutoShape 20"/>
            <p:cNvSpPr>
              <a:spLocks noChangeArrowheads="1"/>
            </p:cNvSpPr>
            <p:nvPr>
              <p:custDataLst>
                <p:tags r:id="rId10"/>
              </p:custDataLst>
            </p:nvPr>
          </p:nvSpPr>
          <p:spPr bwMode="gray">
            <a:xfrm>
              <a:off x="6537325"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5</a:t>
              </a:r>
              <a:endParaRPr lang="en-US" sz="1600" dirty="0">
                <a:solidFill>
                  <a:schemeClr val="bg2"/>
                </a:solidFill>
              </a:endParaRPr>
            </a:p>
          </p:txBody>
        </p:sp>
        <p:sp>
          <p:nvSpPr>
            <p:cNvPr id="37" name="AutoShape 5"/>
            <p:cNvSpPr>
              <a:spLocks noChangeArrowheads="1"/>
            </p:cNvSpPr>
            <p:nvPr/>
          </p:nvSpPr>
          <p:spPr bwMode="gray">
            <a:xfrm>
              <a:off x="8275637"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7</a:t>
              </a:r>
              <a:endParaRPr lang="en-US" sz="1600" dirty="0">
                <a:solidFill>
                  <a:schemeClr val="bg2"/>
                </a:solidFill>
              </a:endParaRPr>
            </a:p>
          </p:txBody>
        </p:sp>
        <p:sp>
          <p:nvSpPr>
            <p:cNvPr id="38" name="AutoShape 12"/>
            <p:cNvSpPr>
              <a:spLocks noChangeArrowheads="1"/>
            </p:cNvSpPr>
            <p:nvPr/>
          </p:nvSpPr>
          <p:spPr bwMode="gray">
            <a:xfrm>
              <a:off x="8445500"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8</a:t>
              </a:r>
              <a:endParaRPr lang="en-US" sz="1600" dirty="0">
                <a:solidFill>
                  <a:schemeClr val="bg2"/>
                </a:solidFill>
              </a:endParaRPr>
            </a:p>
          </p:txBody>
        </p:sp>
        <p:sp>
          <p:nvSpPr>
            <p:cNvPr id="39" name="AutoShape 20"/>
            <p:cNvSpPr>
              <a:spLocks noChangeArrowheads="1"/>
            </p:cNvSpPr>
            <p:nvPr>
              <p:custDataLst>
                <p:tags r:id="rId11"/>
              </p:custDataLst>
            </p:nvPr>
          </p:nvSpPr>
          <p:spPr bwMode="gray">
            <a:xfrm>
              <a:off x="8121650" y="4503378"/>
              <a:ext cx="1584325" cy="577850"/>
            </a:xfrm>
            <a:custGeom>
              <a:avLst/>
              <a:gdLst>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139580 w 1584325"/>
                <a:gd name="connsiteY5" fmla="*/ 288925 h 577850"/>
                <a:gd name="connsiteX6" fmla="*/ 0 w 1584325"/>
                <a:gd name="connsiteY6"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0 w 1584325"/>
                <a:gd name="connsiteY5" fmla="*/ 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 name="connsiteX5" fmla="*/ 91440 w 1584325"/>
                <a:gd name="connsiteY5" fmla="*/ 91440 h 577850"/>
                <a:gd name="connsiteX0" fmla="*/ 0 w 1584325"/>
                <a:gd name="connsiteY0" fmla="*/ 0 h 577850"/>
                <a:gd name="connsiteX1" fmla="*/ 1444745 w 1584325"/>
                <a:gd name="connsiteY1" fmla="*/ 0 h 577850"/>
                <a:gd name="connsiteX2" fmla="*/ 1584325 w 1584325"/>
                <a:gd name="connsiteY2" fmla="*/ 288925 h 577850"/>
                <a:gd name="connsiteX3" fmla="*/ 1444745 w 1584325"/>
                <a:gd name="connsiteY3" fmla="*/ 577850 h 577850"/>
                <a:gd name="connsiteX4" fmla="*/ 0 w 1584325"/>
                <a:gd name="connsiteY4" fmla="*/ 57785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325" h="577850">
                  <a:moveTo>
                    <a:pt x="0" y="0"/>
                  </a:moveTo>
                  <a:lnTo>
                    <a:pt x="1444745" y="0"/>
                  </a:lnTo>
                  <a:lnTo>
                    <a:pt x="1584325" y="288925"/>
                  </a:lnTo>
                  <a:lnTo>
                    <a:pt x="1444745" y="577850"/>
                  </a:lnTo>
                  <a:lnTo>
                    <a:pt x="0" y="577850"/>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6</a:t>
              </a:r>
              <a:endParaRPr lang="en-US" sz="1600" dirty="0">
                <a:solidFill>
                  <a:schemeClr val="bg2"/>
                </a:solidFill>
              </a:endParaRPr>
            </a:p>
          </p:txBody>
        </p:sp>
        <p:sp>
          <p:nvSpPr>
            <p:cNvPr id="40" name="AutoShape 5"/>
            <p:cNvSpPr>
              <a:spLocks noChangeArrowheads="1"/>
            </p:cNvSpPr>
            <p:nvPr/>
          </p:nvSpPr>
          <p:spPr bwMode="gray">
            <a:xfrm>
              <a:off x="4237830" y="5187501"/>
              <a:ext cx="1430338" cy="576262"/>
            </a:xfrm>
            <a:custGeom>
              <a:avLst/>
              <a:gdLst>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166540 w 1430338"/>
                <a:gd name="connsiteY5" fmla="*/ 288131 h 576262"/>
                <a:gd name="connsiteX6" fmla="*/ 0 w 1430338"/>
                <a:gd name="connsiteY6"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0 w 1430338"/>
                <a:gd name="connsiteY5" fmla="*/ 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 name="connsiteX5" fmla="*/ 91440 w 1430338"/>
                <a:gd name="connsiteY5" fmla="*/ 91440 h 576262"/>
                <a:gd name="connsiteX0" fmla="*/ 0 w 1430338"/>
                <a:gd name="connsiteY0" fmla="*/ 0 h 576262"/>
                <a:gd name="connsiteX1" fmla="*/ 1263798 w 1430338"/>
                <a:gd name="connsiteY1" fmla="*/ 0 h 576262"/>
                <a:gd name="connsiteX2" fmla="*/ 1430338 w 1430338"/>
                <a:gd name="connsiteY2" fmla="*/ 288131 h 576262"/>
                <a:gd name="connsiteX3" fmla="*/ 1263798 w 1430338"/>
                <a:gd name="connsiteY3" fmla="*/ 576262 h 576262"/>
                <a:gd name="connsiteX4" fmla="*/ 0 w 1430338"/>
                <a:gd name="connsiteY4" fmla="*/ 576262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338" h="576262">
                  <a:moveTo>
                    <a:pt x="0" y="0"/>
                  </a:moveTo>
                  <a:lnTo>
                    <a:pt x="1263798" y="0"/>
                  </a:lnTo>
                  <a:lnTo>
                    <a:pt x="1430338" y="288131"/>
                  </a:lnTo>
                  <a:lnTo>
                    <a:pt x="1263798" y="576262"/>
                  </a:lnTo>
                  <a:lnTo>
                    <a:pt x="0" y="576262"/>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4</a:t>
              </a:r>
              <a:endParaRPr lang="en-US" sz="1600" dirty="0">
                <a:solidFill>
                  <a:schemeClr val="bg2"/>
                </a:solidFill>
              </a:endParaRPr>
            </a:p>
          </p:txBody>
        </p:sp>
        <p:sp>
          <p:nvSpPr>
            <p:cNvPr id="41" name="AutoShape 12"/>
            <p:cNvSpPr>
              <a:spLocks noChangeArrowheads="1"/>
            </p:cNvSpPr>
            <p:nvPr/>
          </p:nvSpPr>
          <p:spPr bwMode="gray">
            <a:xfrm>
              <a:off x="4911725"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5</a:t>
              </a:r>
              <a:endParaRPr lang="en-US" sz="1600" dirty="0">
                <a:solidFill>
                  <a:schemeClr val="bg2"/>
                </a:solidFill>
              </a:endParaRPr>
            </a:p>
          </p:txBody>
        </p:sp>
        <p:sp>
          <p:nvSpPr>
            <p:cNvPr id="42" name="AutoShape 12"/>
            <p:cNvSpPr>
              <a:spLocks noChangeArrowheads="1"/>
            </p:cNvSpPr>
            <p:nvPr/>
          </p:nvSpPr>
          <p:spPr bwMode="gray">
            <a:xfrm>
              <a:off x="2555875" y="5870035"/>
              <a:ext cx="1260475" cy="574675"/>
            </a:xfrm>
            <a:custGeom>
              <a:avLst/>
              <a:gdLst>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169816 w 1260475"/>
                <a:gd name="connsiteY5" fmla="*/ 287338 h 574675"/>
                <a:gd name="connsiteX6" fmla="*/ 0 w 1260475"/>
                <a:gd name="connsiteY6"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0 w 1260475"/>
                <a:gd name="connsiteY5" fmla="*/ 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 name="connsiteX5" fmla="*/ 91440 w 1260475"/>
                <a:gd name="connsiteY5" fmla="*/ 91440 h 574675"/>
                <a:gd name="connsiteX0" fmla="*/ 0 w 1260475"/>
                <a:gd name="connsiteY0" fmla="*/ 0 h 574675"/>
                <a:gd name="connsiteX1" fmla="*/ 1090659 w 1260475"/>
                <a:gd name="connsiteY1" fmla="*/ 0 h 574675"/>
                <a:gd name="connsiteX2" fmla="*/ 1260475 w 1260475"/>
                <a:gd name="connsiteY2" fmla="*/ 287338 h 574675"/>
                <a:gd name="connsiteX3" fmla="*/ 1090659 w 1260475"/>
                <a:gd name="connsiteY3" fmla="*/ 574675 h 574675"/>
                <a:gd name="connsiteX4" fmla="*/ 0 w 1260475"/>
                <a:gd name="connsiteY4" fmla="*/ 574675 h 574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75" h="574675">
                  <a:moveTo>
                    <a:pt x="0" y="0"/>
                  </a:moveTo>
                  <a:lnTo>
                    <a:pt x="1090659" y="0"/>
                  </a:lnTo>
                  <a:lnTo>
                    <a:pt x="1260475" y="287338"/>
                  </a:lnTo>
                  <a:lnTo>
                    <a:pt x="1090659" y="574675"/>
                  </a:lnTo>
                  <a:lnTo>
                    <a:pt x="0" y="574675"/>
                  </a:lnTo>
                </a:path>
              </a:pathLst>
            </a:custGeom>
            <a:noFill/>
            <a:ln w="19050" cap="flat" cmpd="sng" algn="ctr">
              <a:solidFill>
                <a:schemeClr val="accent6"/>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spcBef>
                  <a:spcPct val="0"/>
                </a:spcBef>
                <a:spcAft>
                  <a:spcPct val="0"/>
                </a:spcAft>
              </a:pPr>
              <a:r>
                <a:rPr lang="de-DE" sz="1600" dirty="0">
                  <a:solidFill>
                    <a:schemeClr val="bg2"/>
                  </a:solidFill>
                </a:rPr>
                <a:t>3</a:t>
              </a:r>
              <a:endParaRPr lang="en-US" sz="1600" dirty="0">
                <a:solidFill>
                  <a:schemeClr val="bg2"/>
                </a:solidFill>
              </a:endParaRPr>
            </a:p>
          </p:txBody>
        </p:sp>
      </p:grpSp>
    </p:spTree>
    <p:extLst>
      <p:ext uri="{BB962C8B-B14F-4D97-AF65-F5344CB8AC3E}">
        <p14:creationId xmlns:p14="http://schemas.microsoft.com/office/powerpoint/2010/main" val="99709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FAEC14A-C2DE-45BA-9862-324CB619D025}"/>
              </a:ext>
            </a:extLst>
          </p:cNvPr>
          <p:cNvGraphicFramePr>
            <a:graphicFrameLocks noChangeAspect="1"/>
          </p:cNvGraphicFramePr>
          <p:nvPr>
            <p:custDataLst>
              <p:tags r:id="rId2"/>
            </p:custDataLst>
            <p:extLst>
              <p:ext uri="{D42A27DB-BD31-4B8C-83A1-F6EECF244321}">
                <p14:modId xmlns:p14="http://schemas.microsoft.com/office/powerpoint/2010/main" val="416622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8" name="think-cell Folie" r:id="rId4" imgW="425" imgH="426" progId="TCLayout.ActiveDocument.1">
                  <p:embed/>
                </p:oleObj>
              </mc:Choice>
              <mc:Fallback>
                <p:oleObj name="think-cell Folie" r:id="rId4" imgW="425" imgH="426" progId="TCLayout.ActiveDocument.1">
                  <p:embed/>
                  <p:pic>
                    <p:nvPicPr>
                      <p:cNvPr id="3" name="Objekt 2" hidden="1">
                        <a:extLst>
                          <a:ext uri="{FF2B5EF4-FFF2-40B4-BE49-F238E27FC236}">
                            <a16:creationId xmlns:a16="http://schemas.microsoft.com/office/drawing/2014/main" id="{9FAEC14A-C2DE-45BA-9862-324CB619D0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0821D51-5710-4E59-9C71-45B742E33727}"/>
              </a:ext>
            </a:extLst>
          </p:cNvPr>
          <p:cNvSpPr>
            <a:spLocks noGrp="1"/>
          </p:cNvSpPr>
          <p:nvPr>
            <p:ph type="title"/>
          </p:nvPr>
        </p:nvSpPr>
        <p:spPr/>
        <p:txBody>
          <a:bodyPr/>
          <a:lstStyle/>
          <a:p>
            <a:r>
              <a:rPr lang="de-DE" dirty="0"/>
              <a:t>Icon-Sammlung</a:t>
            </a:r>
          </a:p>
        </p:txBody>
      </p:sp>
    </p:spTree>
    <p:extLst>
      <p:ext uri="{BB962C8B-B14F-4D97-AF65-F5344CB8AC3E}">
        <p14:creationId xmlns:p14="http://schemas.microsoft.com/office/powerpoint/2010/main" val="25256512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Farben der Icons änderbar über „Füllbereich“</a:t>
            </a:r>
            <a:endParaRPr lang="de-DE" dirty="0"/>
          </a:p>
        </p:txBody>
      </p:sp>
      <p:sp>
        <p:nvSpPr>
          <p:cNvPr id="9" name="Textplatzhalter 8"/>
          <p:cNvSpPr>
            <a:spLocks noGrp="1"/>
          </p:cNvSpPr>
          <p:nvPr>
            <p:ph type="body" sz="quarter" idx="13"/>
          </p:nvPr>
        </p:nvSpPr>
        <p:spPr/>
        <p:txBody>
          <a:bodyPr/>
          <a:lstStyle/>
          <a:p>
            <a:endParaRPr lang="de-DE"/>
          </a:p>
        </p:txBody>
      </p:sp>
      <p:sp>
        <p:nvSpPr>
          <p:cNvPr id="10" name="Textplatzhalter 9"/>
          <p:cNvSpPr>
            <a:spLocks noGrp="1"/>
          </p:cNvSpPr>
          <p:nvPr>
            <p:ph type="body" sz="quarter" idx="14"/>
          </p:nvPr>
        </p:nvSpPr>
        <p:spPr/>
        <p:txBody>
          <a:bodyPr/>
          <a:lstStyle/>
          <a:p>
            <a:pPr>
              <a:spcAft>
                <a:spcPts val="0"/>
              </a:spcAft>
            </a:pPr>
            <a:endParaRPr lang="de-DE" dirty="0"/>
          </a:p>
        </p:txBody>
      </p:sp>
      <p:sp>
        <p:nvSpPr>
          <p:cNvPr id="4" name="Foliennummernplatzhalter 3"/>
          <p:cNvSpPr>
            <a:spLocks noGrp="1"/>
          </p:cNvSpPr>
          <p:nvPr>
            <p:ph type="sldNum" sz="quarter" idx="4"/>
          </p:nvPr>
        </p:nvSpPr>
        <p:spPr>
          <a:xfrm>
            <a:off x="928939" y="6621990"/>
            <a:ext cx="209993" cy="153888"/>
          </a:xfrm>
        </p:spPr>
        <p:txBody>
          <a:bodyPr/>
          <a:lstStyle/>
          <a:p>
            <a:fld id="{70DB0CEF-E182-42EF-B1DF-BA42708E991C}" type="slidenum">
              <a:rPr lang="de-DE" noProof="0" smtClean="0"/>
              <a:pPr/>
              <a:t>32</a:t>
            </a:fld>
            <a:endParaRPr lang="de-DE" noProof="0" dirty="0"/>
          </a:p>
        </p:txBody>
      </p:sp>
      <p:sp>
        <p:nvSpPr>
          <p:cNvPr id="11" name="Datumsplatzhalter 10"/>
          <p:cNvSpPr>
            <a:spLocks noGrp="1"/>
          </p:cNvSpPr>
          <p:nvPr>
            <p:ph type="dt" sz="half" idx="2"/>
          </p:nvPr>
        </p:nvSpPr>
        <p:spPr/>
        <p:txBody>
          <a:bodyPr/>
          <a:lstStyle/>
          <a:p>
            <a:fld id="{E3916149-6814-43C5-857B-C3F2FF45D601}" type="datetime1">
              <a:rPr lang="de-DE" smtClean="0"/>
              <a:t>04.05.2020</a:t>
            </a:fld>
            <a:endParaRPr lang="de-DE" dirty="0"/>
          </a:p>
        </p:txBody>
      </p:sp>
      <p:grpSp>
        <p:nvGrpSpPr>
          <p:cNvPr id="348" name="Group 88">
            <a:extLst>
              <a:ext uri="{FF2B5EF4-FFF2-40B4-BE49-F238E27FC236}">
                <a16:creationId xmlns:a16="http://schemas.microsoft.com/office/drawing/2014/main" id="{426E5644-F0EB-4CDE-8C1D-8D955F4F2744}"/>
              </a:ext>
            </a:extLst>
          </p:cNvPr>
          <p:cNvGrpSpPr>
            <a:grpSpLocks noChangeAspect="1"/>
          </p:cNvGrpSpPr>
          <p:nvPr/>
        </p:nvGrpSpPr>
        <p:grpSpPr>
          <a:xfrm>
            <a:off x="284400" y="2186361"/>
            <a:ext cx="296247" cy="285619"/>
            <a:chOff x="-1011238" y="2097088"/>
            <a:chExt cx="354013" cy="341312"/>
          </a:xfrm>
          <a:solidFill>
            <a:schemeClr val="bg2"/>
          </a:solidFill>
          <a:effectLst/>
        </p:grpSpPr>
        <p:sp>
          <p:nvSpPr>
            <p:cNvPr id="349" name="Freeform 52">
              <a:extLst>
                <a:ext uri="{FF2B5EF4-FFF2-40B4-BE49-F238E27FC236}">
                  <a16:creationId xmlns:a16="http://schemas.microsoft.com/office/drawing/2014/main" id="{1F20EE0D-87AB-44F7-8EB0-29FF69F4DB79}"/>
                </a:ext>
              </a:extLst>
            </p:cNvPr>
            <p:cNvSpPr>
              <a:spLocks noEditPoints="1"/>
            </p:cNvSpPr>
            <p:nvPr/>
          </p:nvSpPr>
          <p:spPr bwMode="auto">
            <a:xfrm>
              <a:off x="-989013" y="2251075"/>
              <a:ext cx="93663" cy="9366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53">
              <a:extLst>
                <a:ext uri="{FF2B5EF4-FFF2-40B4-BE49-F238E27FC236}">
                  <a16:creationId xmlns:a16="http://schemas.microsoft.com/office/drawing/2014/main" id="{2AF629FB-9202-43F3-BD94-4693E0A76F95}"/>
                </a:ext>
              </a:extLst>
            </p:cNvPr>
            <p:cNvSpPr>
              <a:spLocks/>
            </p:cNvSpPr>
            <p:nvPr/>
          </p:nvSpPr>
          <p:spPr bwMode="auto">
            <a:xfrm>
              <a:off x="-1011238" y="2328863"/>
              <a:ext cx="127000" cy="77788"/>
            </a:xfrm>
            <a:custGeom>
              <a:avLst/>
              <a:gdLst>
                <a:gd name="T0" fmla="*/ 24 w 33"/>
                <a:gd name="T1" fmla="*/ 20 h 20"/>
                <a:gd name="T2" fmla="*/ 2 w 33"/>
                <a:gd name="T3" fmla="*/ 20 h 20"/>
                <a:gd name="T4" fmla="*/ 0 w 33"/>
                <a:gd name="T5" fmla="*/ 18 h 20"/>
                <a:gd name="T6" fmla="*/ 18 w 33"/>
                <a:gd name="T7" fmla="*/ 0 h 20"/>
                <a:gd name="T8" fmla="*/ 33 w 33"/>
                <a:gd name="T9" fmla="*/ 7 h 20"/>
                <a:gd name="T10" fmla="*/ 32 w 33"/>
                <a:gd name="T11" fmla="*/ 10 h 20"/>
                <a:gd name="T12" fmla="*/ 29 w 33"/>
                <a:gd name="T13" fmla="*/ 10 h 20"/>
                <a:gd name="T14" fmla="*/ 18 w 33"/>
                <a:gd name="T15" fmla="*/ 4 h 20"/>
                <a:gd name="T16" fmla="*/ 4 w 33"/>
                <a:gd name="T17" fmla="*/ 16 h 20"/>
                <a:gd name="T18" fmla="*/ 24 w 33"/>
                <a:gd name="T19" fmla="*/ 16 h 20"/>
                <a:gd name="T20" fmla="*/ 26 w 33"/>
                <a:gd name="T21" fmla="*/ 18 h 20"/>
                <a:gd name="T22" fmla="*/ 24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24" y="20"/>
                  </a:moveTo>
                  <a:cubicBezTo>
                    <a:pt x="2" y="20"/>
                    <a:pt x="2" y="20"/>
                    <a:pt x="2" y="20"/>
                  </a:cubicBezTo>
                  <a:cubicBezTo>
                    <a:pt x="1" y="20"/>
                    <a:pt x="0" y="19"/>
                    <a:pt x="0" y="18"/>
                  </a:cubicBezTo>
                  <a:cubicBezTo>
                    <a:pt x="0" y="8"/>
                    <a:pt x="8" y="0"/>
                    <a:pt x="18" y="0"/>
                  </a:cubicBezTo>
                  <a:cubicBezTo>
                    <a:pt x="24" y="0"/>
                    <a:pt x="29" y="3"/>
                    <a:pt x="33" y="7"/>
                  </a:cubicBezTo>
                  <a:cubicBezTo>
                    <a:pt x="33" y="8"/>
                    <a:pt x="33" y="9"/>
                    <a:pt x="32" y="10"/>
                  </a:cubicBezTo>
                  <a:cubicBezTo>
                    <a:pt x="31" y="11"/>
                    <a:pt x="30" y="11"/>
                    <a:pt x="29" y="10"/>
                  </a:cubicBezTo>
                  <a:cubicBezTo>
                    <a:pt x="27" y="6"/>
                    <a:pt x="22" y="4"/>
                    <a:pt x="18" y="4"/>
                  </a:cubicBezTo>
                  <a:cubicBezTo>
                    <a:pt x="11" y="4"/>
                    <a:pt x="5" y="9"/>
                    <a:pt x="4" y="16"/>
                  </a:cubicBezTo>
                  <a:cubicBezTo>
                    <a:pt x="24" y="16"/>
                    <a:pt x="24" y="16"/>
                    <a:pt x="24" y="16"/>
                  </a:cubicBezTo>
                  <a:cubicBezTo>
                    <a:pt x="25" y="16"/>
                    <a:pt x="26" y="17"/>
                    <a:pt x="26" y="18"/>
                  </a:cubicBezTo>
                  <a:cubicBezTo>
                    <a:pt x="26" y="19"/>
                    <a:pt x="25" y="20"/>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54">
              <a:extLst>
                <a:ext uri="{FF2B5EF4-FFF2-40B4-BE49-F238E27FC236}">
                  <a16:creationId xmlns:a16="http://schemas.microsoft.com/office/drawing/2014/main" id="{3A21E940-2117-4ED0-9833-C2D7FAA4988E}"/>
                </a:ext>
              </a:extLst>
            </p:cNvPr>
            <p:cNvSpPr>
              <a:spLocks noEditPoints="1"/>
            </p:cNvSpPr>
            <p:nvPr/>
          </p:nvSpPr>
          <p:spPr bwMode="auto">
            <a:xfrm>
              <a:off x="-773113" y="2251075"/>
              <a:ext cx="93663" cy="9366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55">
              <a:extLst>
                <a:ext uri="{FF2B5EF4-FFF2-40B4-BE49-F238E27FC236}">
                  <a16:creationId xmlns:a16="http://schemas.microsoft.com/office/drawing/2014/main" id="{A82A5E0A-4215-4B84-8EF9-52028CC9F6D8}"/>
                </a:ext>
              </a:extLst>
            </p:cNvPr>
            <p:cNvSpPr>
              <a:spLocks/>
            </p:cNvSpPr>
            <p:nvPr/>
          </p:nvSpPr>
          <p:spPr bwMode="auto">
            <a:xfrm>
              <a:off x="-784225" y="2328863"/>
              <a:ext cx="127000" cy="77788"/>
            </a:xfrm>
            <a:custGeom>
              <a:avLst/>
              <a:gdLst>
                <a:gd name="T0" fmla="*/ 31 w 33"/>
                <a:gd name="T1" fmla="*/ 20 h 20"/>
                <a:gd name="T2" fmla="*/ 9 w 33"/>
                <a:gd name="T3" fmla="*/ 20 h 20"/>
                <a:gd name="T4" fmla="*/ 7 w 33"/>
                <a:gd name="T5" fmla="*/ 18 h 20"/>
                <a:gd name="T6" fmla="*/ 9 w 33"/>
                <a:gd name="T7" fmla="*/ 16 h 20"/>
                <a:gd name="T8" fmla="*/ 29 w 33"/>
                <a:gd name="T9" fmla="*/ 16 h 20"/>
                <a:gd name="T10" fmla="*/ 15 w 33"/>
                <a:gd name="T11" fmla="*/ 4 h 20"/>
                <a:gd name="T12" fmla="*/ 4 w 33"/>
                <a:gd name="T13" fmla="*/ 10 h 20"/>
                <a:gd name="T14" fmla="*/ 1 w 33"/>
                <a:gd name="T15" fmla="*/ 10 h 20"/>
                <a:gd name="T16" fmla="*/ 0 w 33"/>
                <a:gd name="T17" fmla="*/ 7 h 20"/>
                <a:gd name="T18" fmla="*/ 15 w 33"/>
                <a:gd name="T19" fmla="*/ 0 h 20"/>
                <a:gd name="T20" fmla="*/ 33 w 33"/>
                <a:gd name="T21" fmla="*/ 18 h 20"/>
                <a:gd name="T22" fmla="*/ 31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31" y="20"/>
                  </a:moveTo>
                  <a:cubicBezTo>
                    <a:pt x="9" y="20"/>
                    <a:pt x="9" y="20"/>
                    <a:pt x="9" y="20"/>
                  </a:cubicBezTo>
                  <a:cubicBezTo>
                    <a:pt x="8" y="20"/>
                    <a:pt x="7" y="19"/>
                    <a:pt x="7" y="18"/>
                  </a:cubicBezTo>
                  <a:cubicBezTo>
                    <a:pt x="7" y="17"/>
                    <a:pt x="8" y="16"/>
                    <a:pt x="9" y="16"/>
                  </a:cubicBezTo>
                  <a:cubicBezTo>
                    <a:pt x="29" y="16"/>
                    <a:pt x="29" y="16"/>
                    <a:pt x="29" y="16"/>
                  </a:cubicBezTo>
                  <a:cubicBezTo>
                    <a:pt x="28" y="9"/>
                    <a:pt x="22" y="4"/>
                    <a:pt x="15" y="4"/>
                  </a:cubicBezTo>
                  <a:cubicBezTo>
                    <a:pt x="11" y="4"/>
                    <a:pt x="6" y="6"/>
                    <a:pt x="4" y="10"/>
                  </a:cubicBezTo>
                  <a:cubicBezTo>
                    <a:pt x="3" y="11"/>
                    <a:pt x="2" y="11"/>
                    <a:pt x="1" y="10"/>
                  </a:cubicBezTo>
                  <a:cubicBezTo>
                    <a:pt x="0" y="10"/>
                    <a:pt x="0" y="8"/>
                    <a:pt x="0" y="7"/>
                  </a:cubicBezTo>
                  <a:cubicBezTo>
                    <a:pt x="4" y="3"/>
                    <a:pt x="9" y="0"/>
                    <a:pt x="15" y="0"/>
                  </a:cubicBezTo>
                  <a:cubicBezTo>
                    <a:pt x="25" y="0"/>
                    <a:pt x="33" y="8"/>
                    <a:pt x="33" y="18"/>
                  </a:cubicBezTo>
                  <a:cubicBezTo>
                    <a:pt x="33" y="19"/>
                    <a:pt x="32"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56">
              <a:extLst>
                <a:ext uri="{FF2B5EF4-FFF2-40B4-BE49-F238E27FC236}">
                  <a16:creationId xmlns:a16="http://schemas.microsoft.com/office/drawing/2014/main" id="{3EB54784-6D8B-44E9-B89F-7890B4FD006D}"/>
                </a:ext>
              </a:extLst>
            </p:cNvPr>
            <p:cNvSpPr>
              <a:spLocks noEditPoints="1"/>
            </p:cNvSpPr>
            <p:nvPr/>
          </p:nvSpPr>
          <p:spPr bwMode="auto">
            <a:xfrm>
              <a:off x="-895350" y="2220913"/>
              <a:ext cx="122238" cy="127000"/>
            </a:xfrm>
            <a:custGeom>
              <a:avLst/>
              <a:gdLst>
                <a:gd name="T0" fmla="*/ 16 w 32"/>
                <a:gd name="T1" fmla="*/ 33 h 33"/>
                <a:gd name="T2" fmla="*/ 0 w 32"/>
                <a:gd name="T3" fmla="*/ 16 h 33"/>
                <a:gd name="T4" fmla="*/ 16 w 32"/>
                <a:gd name="T5" fmla="*/ 0 h 33"/>
                <a:gd name="T6" fmla="*/ 32 w 32"/>
                <a:gd name="T7" fmla="*/ 16 h 33"/>
                <a:gd name="T8" fmla="*/ 16 w 32"/>
                <a:gd name="T9" fmla="*/ 33 h 33"/>
                <a:gd name="T10" fmla="*/ 16 w 32"/>
                <a:gd name="T11" fmla="*/ 4 h 33"/>
                <a:gd name="T12" fmla="*/ 4 w 32"/>
                <a:gd name="T13" fmla="*/ 16 h 33"/>
                <a:gd name="T14" fmla="*/ 16 w 32"/>
                <a:gd name="T15" fmla="*/ 29 h 33"/>
                <a:gd name="T16" fmla="*/ 28 w 32"/>
                <a:gd name="T17" fmla="*/ 16 h 33"/>
                <a:gd name="T18" fmla="*/ 16 w 3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33"/>
                  </a:moveTo>
                  <a:cubicBezTo>
                    <a:pt x="7" y="33"/>
                    <a:pt x="0" y="26"/>
                    <a:pt x="0" y="16"/>
                  </a:cubicBezTo>
                  <a:cubicBezTo>
                    <a:pt x="0" y="7"/>
                    <a:pt x="7" y="0"/>
                    <a:pt x="16" y="0"/>
                  </a:cubicBezTo>
                  <a:cubicBezTo>
                    <a:pt x="25" y="0"/>
                    <a:pt x="32" y="7"/>
                    <a:pt x="32" y="16"/>
                  </a:cubicBezTo>
                  <a:cubicBezTo>
                    <a:pt x="32" y="26"/>
                    <a:pt x="25" y="33"/>
                    <a:pt x="16" y="33"/>
                  </a:cubicBezTo>
                  <a:close/>
                  <a:moveTo>
                    <a:pt x="16" y="4"/>
                  </a:moveTo>
                  <a:cubicBezTo>
                    <a:pt x="9" y="4"/>
                    <a:pt x="4" y="10"/>
                    <a:pt x="4" y="16"/>
                  </a:cubicBezTo>
                  <a:cubicBezTo>
                    <a:pt x="4" y="23"/>
                    <a:pt x="9" y="29"/>
                    <a:pt x="16" y="29"/>
                  </a:cubicBezTo>
                  <a:cubicBezTo>
                    <a:pt x="23" y="29"/>
                    <a:pt x="28" y="23"/>
                    <a:pt x="28" y="16"/>
                  </a:cubicBezTo>
                  <a:cubicBezTo>
                    <a:pt x="28" y="10"/>
                    <a:pt x="23"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57">
              <a:extLst>
                <a:ext uri="{FF2B5EF4-FFF2-40B4-BE49-F238E27FC236}">
                  <a16:creationId xmlns:a16="http://schemas.microsoft.com/office/drawing/2014/main" id="{E718D193-41AD-464C-97E3-318BE2215E8E}"/>
                </a:ext>
              </a:extLst>
            </p:cNvPr>
            <p:cNvSpPr>
              <a:spLocks/>
            </p:cNvSpPr>
            <p:nvPr/>
          </p:nvSpPr>
          <p:spPr bwMode="auto">
            <a:xfrm>
              <a:off x="-922338" y="2173288"/>
              <a:ext cx="176213" cy="55563"/>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58">
              <a:extLst>
                <a:ext uri="{FF2B5EF4-FFF2-40B4-BE49-F238E27FC236}">
                  <a16:creationId xmlns:a16="http://schemas.microsoft.com/office/drawing/2014/main" id="{12EC88A8-B513-4B51-B817-119187DCD64E}"/>
                </a:ext>
              </a:extLst>
            </p:cNvPr>
            <p:cNvSpPr>
              <a:spLocks/>
            </p:cNvSpPr>
            <p:nvPr/>
          </p:nvSpPr>
          <p:spPr bwMode="auto">
            <a:xfrm>
              <a:off x="-949325" y="2135188"/>
              <a:ext cx="231775" cy="69850"/>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59">
              <a:extLst>
                <a:ext uri="{FF2B5EF4-FFF2-40B4-BE49-F238E27FC236}">
                  <a16:creationId xmlns:a16="http://schemas.microsoft.com/office/drawing/2014/main" id="{34226AAF-C7D3-47C6-97EB-BEB3B04151F5}"/>
                </a:ext>
              </a:extLst>
            </p:cNvPr>
            <p:cNvSpPr>
              <a:spLocks/>
            </p:cNvSpPr>
            <p:nvPr/>
          </p:nvSpPr>
          <p:spPr bwMode="auto">
            <a:xfrm>
              <a:off x="-981075" y="2097088"/>
              <a:ext cx="293688"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60">
              <a:extLst>
                <a:ext uri="{FF2B5EF4-FFF2-40B4-BE49-F238E27FC236}">
                  <a16:creationId xmlns:a16="http://schemas.microsoft.com/office/drawing/2014/main" id="{1BD3EADE-D824-471D-98E0-40E1721520D3}"/>
                </a:ext>
              </a:extLst>
            </p:cNvPr>
            <p:cNvSpPr>
              <a:spLocks noEditPoints="1"/>
            </p:cNvSpPr>
            <p:nvPr/>
          </p:nvSpPr>
          <p:spPr bwMode="auto">
            <a:xfrm>
              <a:off x="-930275" y="2333625"/>
              <a:ext cx="192088" cy="104775"/>
            </a:xfrm>
            <a:custGeom>
              <a:avLst/>
              <a:gdLst>
                <a:gd name="T0" fmla="*/ 48 w 50"/>
                <a:gd name="T1" fmla="*/ 27 h 27"/>
                <a:gd name="T2" fmla="*/ 48 w 50"/>
                <a:gd name="T3" fmla="*/ 27 h 27"/>
                <a:gd name="T4" fmla="*/ 2 w 50"/>
                <a:gd name="T5" fmla="*/ 27 h 27"/>
                <a:gd name="T6" fmla="*/ 0 w 50"/>
                <a:gd name="T7" fmla="*/ 25 h 27"/>
                <a:gd name="T8" fmla="*/ 25 w 50"/>
                <a:gd name="T9" fmla="*/ 0 h 27"/>
                <a:gd name="T10" fmla="*/ 50 w 50"/>
                <a:gd name="T11" fmla="*/ 24 h 27"/>
                <a:gd name="T12" fmla="*/ 50 w 50"/>
                <a:gd name="T13" fmla="*/ 25 h 27"/>
                <a:gd name="T14" fmla="*/ 48 w 50"/>
                <a:gd name="T15" fmla="*/ 27 h 27"/>
                <a:gd name="T16" fmla="*/ 4 w 50"/>
                <a:gd name="T17" fmla="*/ 23 h 27"/>
                <a:gd name="T18" fmla="*/ 46 w 50"/>
                <a:gd name="T19" fmla="*/ 23 h 27"/>
                <a:gd name="T20" fmla="*/ 25 w 50"/>
                <a:gd name="T21" fmla="*/ 4 h 27"/>
                <a:gd name="T22" fmla="*/ 4 w 50"/>
                <a:gd name="T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48" y="27"/>
                  </a:moveTo>
                  <a:cubicBezTo>
                    <a:pt x="48" y="27"/>
                    <a:pt x="48" y="27"/>
                    <a:pt x="48" y="27"/>
                  </a:cubicBezTo>
                  <a:cubicBezTo>
                    <a:pt x="2" y="27"/>
                    <a:pt x="2" y="27"/>
                    <a:pt x="2" y="27"/>
                  </a:cubicBezTo>
                  <a:cubicBezTo>
                    <a:pt x="1" y="27"/>
                    <a:pt x="0" y="26"/>
                    <a:pt x="0" y="25"/>
                  </a:cubicBezTo>
                  <a:cubicBezTo>
                    <a:pt x="0" y="11"/>
                    <a:pt x="11" y="0"/>
                    <a:pt x="25" y="0"/>
                  </a:cubicBezTo>
                  <a:cubicBezTo>
                    <a:pt x="39" y="0"/>
                    <a:pt x="50" y="11"/>
                    <a:pt x="50" y="24"/>
                  </a:cubicBezTo>
                  <a:cubicBezTo>
                    <a:pt x="50" y="25"/>
                    <a:pt x="50" y="25"/>
                    <a:pt x="50" y="25"/>
                  </a:cubicBezTo>
                  <a:cubicBezTo>
                    <a:pt x="50" y="26"/>
                    <a:pt x="49" y="27"/>
                    <a:pt x="48" y="27"/>
                  </a:cubicBezTo>
                  <a:close/>
                  <a:moveTo>
                    <a:pt x="4" y="23"/>
                  </a:moveTo>
                  <a:cubicBezTo>
                    <a:pt x="46" y="23"/>
                    <a:pt x="46" y="23"/>
                    <a:pt x="46" y="23"/>
                  </a:cubicBezTo>
                  <a:cubicBezTo>
                    <a:pt x="45" y="12"/>
                    <a:pt x="36" y="4"/>
                    <a:pt x="25" y="4"/>
                  </a:cubicBezTo>
                  <a:cubicBezTo>
                    <a:pt x="14" y="4"/>
                    <a:pt x="5" y="12"/>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1" name="Group 27">
            <a:extLst>
              <a:ext uri="{FF2B5EF4-FFF2-40B4-BE49-F238E27FC236}">
                <a16:creationId xmlns:a16="http://schemas.microsoft.com/office/drawing/2014/main" id="{D263967E-415C-45A6-9AF7-8D7ED95F40E8}"/>
              </a:ext>
            </a:extLst>
          </p:cNvPr>
          <p:cNvGrpSpPr>
            <a:grpSpLocks noChangeAspect="1"/>
          </p:cNvGrpSpPr>
          <p:nvPr/>
        </p:nvGrpSpPr>
        <p:grpSpPr>
          <a:xfrm>
            <a:off x="284400" y="1647825"/>
            <a:ext cx="311734" cy="285619"/>
            <a:chOff x="7010400" y="1606551"/>
            <a:chExt cx="1497013" cy="1371600"/>
          </a:xfrm>
          <a:solidFill>
            <a:schemeClr val="bg2"/>
          </a:solidFill>
          <a:effectLst/>
        </p:grpSpPr>
        <p:sp>
          <p:nvSpPr>
            <p:cNvPr id="1032" name="Freeform 13">
              <a:extLst>
                <a:ext uri="{FF2B5EF4-FFF2-40B4-BE49-F238E27FC236}">
                  <a16:creationId xmlns:a16="http://schemas.microsoft.com/office/drawing/2014/main" id="{E50E5553-77D0-4E04-B1D9-89F3193DA957}"/>
                </a:ext>
              </a:extLst>
            </p:cNvPr>
            <p:cNvSpPr>
              <a:spLocks noEditPoints="1"/>
            </p:cNvSpPr>
            <p:nvPr/>
          </p:nvSpPr>
          <p:spPr bwMode="auto">
            <a:xfrm>
              <a:off x="7569200" y="1606551"/>
              <a:ext cx="374650" cy="373063"/>
            </a:xfrm>
            <a:custGeom>
              <a:avLst/>
              <a:gdLst>
                <a:gd name="T0" fmla="*/ 50 w 99"/>
                <a:gd name="T1" fmla="*/ 99 h 99"/>
                <a:gd name="T2" fmla="*/ 0 w 99"/>
                <a:gd name="T3" fmla="*/ 49 h 99"/>
                <a:gd name="T4" fmla="*/ 50 w 99"/>
                <a:gd name="T5" fmla="*/ 0 h 99"/>
                <a:gd name="T6" fmla="*/ 99 w 99"/>
                <a:gd name="T7" fmla="*/ 49 h 99"/>
                <a:gd name="T8" fmla="*/ 50 w 99"/>
                <a:gd name="T9" fmla="*/ 99 h 99"/>
                <a:gd name="T10" fmla="*/ 50 w 99"/>
                <a:gd name="T11" fmla="*/ 16 h 99"/>
                <a:gd name="T12" fmla="*/ 17 w 99"/>
                <a:gd name="T13" fmla="*/ 49 h 99"/>
                <a:gd name="T14" fmla="*/ 50 w 99"/>
                <a:gd name="T15" fmla="*/ 82 h 99"/>
                <a:gd name="T16" fmla="*/ 83 w 99"/>
                <a:gd name="T17" fmla="*/ 49 h 99"/>
                <a:gd name="T18" fmla="*/ 50 w 99"/>
                <a:gd name="T19" fmla="*/ 1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23" y="99"/>
                    <a:pt x="0" y="77"/>
                    <a:pt x="0" y="49"/>
                  </a:cubicBezTo>
                  <a:cubicBezTo>
                    <a:pt x="0" y="22"/>
                    <a:pt x="23" y="0"/>
                    <a:pt x="50" y="0"/>
                  </a:cubicBezTo>
                  <a:cubicBezTo>
                    <a:pt x="77" y="0"/>
                    <a:pt x="99" y="22"/>
                    <a:pt x="99" y="49"/>
                  </a:cubicBezTo>
                  <a:cubicBezTo>
                    <a:pt x="99" y="77"/>
                    <a:pt x="77" y="99"/>
                    <a:pt x="50" y="99"/>
                  </a:cubicBezTo>
                  <a:close/>
                  <a:moveTo>
                    <a:pt x="50" y="16"/>
                  </a:moveTo>
                  <a:cubicBezTo>
                    <a:pt x="32" y="16"/>
                    <a:pt x="17" y="31"/>
                    <a:pt x="17" y="49"/>
                  </a:cubicBezTo>
                  <a:cubicBezTo>
                    <a:pt x="17" y="68"/>
                    <a:pt x="32" y="82"/>
                    <a:pt x="50" y="82"/>
                  </a:cubicBezTo>
                  <a:cubicBezTo>
                    <a:pt x="68" y="82"/>
                    <a:pt x="83" y="68"/>
                    <a:pt x="83" y="49"/>
                  </a:cubicBezTo>
                  <a:cubicBezTo>
                    <a:pt x="83" y="31"/>
                    <a:pt x="68" y="16"/>
                    <a:pt x="5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3" name="Freeform 14">
              <a:extLst>
                <a:ext uri="{FF2B5EF4-FFF2-40B4-BE49-F238E27FC236}">
                  <a16:creationId xmlns:a16="http://schemas.microsoft.com/office/drawing/2014/main" id="{1A26E7E3-366A-4717-B0AD-83C7077D570C}"/>
                </a:ext>
              </a:extLst>
            </p:cNvPr>
            <p:cNvSpPr>
              <a:spLocks noEditPoints="1"/>
            </p:cNvSpPr>
            <p:nvPr/>
          </p:nvSpPr>
          <p:spPr bwMode="auto">
            <a:xfrm>
              <a:off x="8069263" y="1730376"/>
              <a:ext cx="249238" cy="249238"/>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6 h 66"/>
                <a:gd name="T12" fmla="*/ 17 w 66"/>
                <a:gd name="T13" fmla="*/ 33 h 66"/>
                <a:gd name="T14" fmla="*/ 33 w 66"/>
                <a:gd name="T15" fmla="*/ 49 h 66"/>
                <a:gd name="T16" fmla="*/ 50 w 66"/>
                <a:gd name="T17" fmla="*/ 33 h 66"/>
                <a:gd name="T18" fmla="*/ 33 w 66"/>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2" y="0"/>
                    <a:pt x="66" y="15"/>
                    <a:pt x="66" y="33"/>
                  </a:cubicBezTo>
                  <a:cubicBezTo>
                    <a:pt x="66" y="51"/>
                    <a:pt x="52" y="66"/>
                    <a:pt x="33" y="66"/>
                  </a:cubicBezTo>
                  <a:close/>
                  <a:moveTo>
                    <a:pt x="33" y="16"/>
                  </a:moveTo>
                  <a:cubicBezTo>
                    <a:pt x="24" y="16"/>
                    <a:pt x="17" y="24"/>
                    <a:pt x="17" y="33"/>
                  </a:cubicBezTo>
                  <a:cubicBezTo>
                    <a:pt x="17" y="42"/>
                    <a:pt x="24" y="49"/>
                    <a:pt x="33" y="49"/>
                  </a:cubicBezTo>
                  <a:cubicBezTo>
                    <a:pt x="43" y="49"/>
                    <a:pt x="50" y="42"/>
                    <a:pt x="50" y="33"/>
                  </a:cubicBezTo>
                  <a:cubicBezTo>
                    <a:pt x="50" y="24"/>
                    <a:pt x="43" y="1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4" name="Freeform 15">
              <a:extLst>
                <a:ext uri="{FF2B5EF4-FFF2-40B4-BE49-F238E27FC236}">
                  <a16:creationId xmlns:a16="http://schemas.microsoft.com/office/drawing/2014/main" id="{2C19106F-821B-460C-A4CB-BCC6B20BF6DC}"/>
                </a:ext>
              </a:extLst>
            </p:cNvPr>
            <p:cNvSpPr>
              <a:spLocks noEditPoints="1"/>
            </p:cNvSpPr>
            <p:nvPr/>
          </p:nvSpPr>
          <p:spPr bwMode="auto">
            <a:xfrm>
              <a:off x="7196138" y="1730376"/>
              <a:ext cx="249238" cy="249238"/>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6 h 66"/>
                <a:gd name="T12" fmla="*/ 17 w 66"/>
                <a:gd name="T13" fmla="*/ 33 h 66"/>
                <a:gd name="T14" fmla="*/ 33 w 66"/>
                <a:gd name="T15" fmla="*/ 49 h 66"/>
                <a:gd name="T16" fmla="*/ 50 w 66"/>
                <a:gd name="T17" fmla="*/ 33 h 66"/>
                <a:gd name="T18" fmla="*/ 33 w 66"/>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2" y="0"/>
                    <a:pt x="66" y="15"/>
                    <a:pt x="66" y="33"/>
                  </a:cubicBezTo>
                  <a:cubicBezTo>
                    <a:pt x="66" y="51"/>
                    <a:pt x="52" y="66"/>
                    <a:pt x="33" y="66"/>
                  </a:cubicBezTo>
                  <a:close/>
                  <a:moveTo>
                    <a:pt x="33" y="16"/>
                  </a:moveTo>
                  <a:cubicBezTo>
                    <a:pt x="24" y="16"/>
                    <a:pt x="17" y="24"/>
                    <a:pt x="17" y="33"/>
                  </a:cubicBezTo>
                  <a:cubicBezTo>
                    <a:pt x="17" y="42"/>
                    <a:pt x="24" y="49"/>
                    <a:pt x="33" y="49"/>
                  </a:cubicBezTo>
                  <a:cubicBezTo>
                    <a:pt x="43" y="49"/>
                    <a:pt x="50" y="42"/>
                    <a:pt x="50" y="33"/>
                  </a:cubicBezTo>
                  <a:cubicBezTo>
                    <a:pt x="50" y="24"/>
                    <a:pt x="43" y="1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5" name="Freeform 16">
              <a:extLst>
                <a:ext uri="{FF2B5EF4-FFF2-40B4-BE49-F238E27FC236}">
                  <a16:creationId xmlns:a16="http://schemas.microsoft.com/office/drawing/2014/main" id="{23762DEC-8784-414D-955C-2DCA16EF41BB}"/>
                </a:ext>
              </a:extLst>
            </p:cNvPr>
            <p:cNvSpPr>
              <a:spLocks/>
            </p:cNvSpPr>
            <p:nvPr/>
          </p:nvSpPr>
          <p:spPr bwMode="auto">
            <a:xfrm>
              <a:off x="7010400" y="2674938"/>
              <a:ext cx="1497013" cy="303213"/>
            </a:xfrm>
            <a:custGeom>
              <a:avLst/>
              <a:gdLst>
                <a:gd name="T0" fmla="*/ 198 w 396"/>
                <a:gd name="T1" fmla="*/ 80 h 80"/>
                <a:gd name="T2" fmla="*/ 0 w 396"/>
                <a:gd name="T3" fmla="*/ 39 h 80"/>
                <a:gd name="T4" fmla="*/ 114 w 396"/>
                <a:gd name="T5" fmla="*/ 1 h 80"/>
                <a:gd name="T6" fmla="*/ 123 w 396"/>
                <a:gd name="T7" fmla="*/ 8 h 80"/>
                <a:gd name="T8" fmla="*/ 116 w 396"/>
                <a:gd name="T9" fmla="*/ 17 h 80"/>
                <a:gd name="T10" fmla="*/ 16 w 396"/>
                <a:gd name="T11" fmla="*/ 40 h 80"/>
                <a:gd name="T12" fmla="*/ 198 w 396"/>
                <a:gd name="T13" fmla="*/ 63 h 80"/>
                <a:gd name="T14" fmla="*/ 380 w 396"/>
                <a:gd name="T15" fmla="*/ 38 h 80"/>
                <a:gd name="T16" fmla="*/ 280 w 396"/>
                <a:gd name="T17" fmla="*/ 17 h 80"/>
                <a:gd name="T18" fmla="*/ 272 w 396"/>
                <a:gd name="T19" fmla="*/ 8 h 80"/>
                <a:gd name="T20" fmla="*/ 281 w 396"/>
                <a:gd name="T21" fmla="*/ 1 h 80"/>
                <a:gd name="T22" fmla="*/ 396 w 396"/>
                <a:gd name="T23" fmla="*/ 39 h 80"/>
                <a:gd name="T24" fmla="*/ 198 w 396"/>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80">
                  <a:moveTo>
                    <a:pt x="198" y="80"/>
                  </a:moveTo>
                  <a:cubicBezTo>
                    <a:pt x="178" y="80"/>
                    <a:pt x="0" y="79"/>
                    <a:pt x="0" y="39"/>
                  </a:cubicBezTo>
                  <a:cubicBezTo>
                    <a:pt x="0" y="20"/>
                    <a:pt x="38" y="7"/>
                    <a:pt x="114" y="1"/>
                  </a:cubicBezTo>
                  <a:cubicBezTo>
                    <a:pt x="119" y="0"/>
                    <a:pt x="123" y="4"/>
                    <a:pt x="123" y="8"/>
                  </a:cubicBezTo>
                  <a:cubicBezTo>
                    <a:pt x="123" y="13"/>
                    <a:pt x="120" y="17"/>
                    <a:pt x="116" y="17"/>
                  </a:cubicBezTo>
                  <a:cubicBezTo>
                    <a:pt x="41" y="24"/>
                    <a:pt x="18" y="36"/>
                    <a:pt x="16" y="40"/>
                  </a:cubicBezTo>
                  <a:cubicBezTo>
                    <a:pt x="21" y="47"/>
                    <a:pt x="86" y="63"/>
                    <a:pt x="198" y="63"/>
                  </a:cubicBezTo>
                  <a:cubicBezTo>
                    <a:pt x="310" y="63"/>
                    <a:pt x="375" y="47"/>
                    <a:pt x="380" y="38"/>
                  </a:cubicBezTo>
                  <a:cubicBezTo>
                    <a:pt x="378" y="36"/>
                    <a:pt x="355" y="24"/>
                    <a:pt x="280" y="17"/>
                  </a:cubicBezTo>
                  <a:cubicBezTo>
                    <a:pt x="275" y="17"/>
                    <a:pt x="272" y="13"/>
                    <a:pt x="272" y="8"/>
                  </a:cubicBezTo>
                  <a:cubicBezTo>
                    <a:pt x="273" y="4"/>
                    <a:pt x="277" y="0"/>
                    <a:pt x="281" y="1"/>
                  </a:cubicBezTo>
                  <a:cubicBezTo>
                    <a:pt x="357" y="7"/>
                    <a:pt x="396" y="20"/>
                    <a:pt x="396" y="39"/>
                  </a:cubicBezTo>
                  <a:cubicBezTo>
                    <a:pt x="396" y="79"/>
                    <a:pt x="218" y="80"/>
                    <a:pt x="19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6" name="Freeform 17">
              <a:extLst>
                <a:ext uri="{FF2B5EF4-FFF2-40B4-BE49-F238E27FC236}">
                  <a16:creationId xmlns:a16="http://schemas.microsoft.com/office/drawing/2014/main" id="{0D26D65A-1801-4359-A408-E4011BBD33EB}"/>
                </a:ext>
              </a:extLst>
            </p:cNvPr>
            <p:cNvSpPr>
              <a:spLocks noEditPoints="1"/>
            </p:cNvSpPr>
            <p:nvPr/>
          </p:nvSpPr>
          <p:spPr bwMode="auto">
            <a:xfrm>
              <a:off x="7569200" y="2039938"/>
              <a:ext cx="374650" cy="623888"/>
            </a:xfrm>
            <a:custGeom>
              <a:avLst/>
              <a:gdLst>
                <a:gd name="T0" fmla="*/ 91 w 99"/>
                <a:gd name="T1" fmla="*/ 165 h 165"/>
                <a:gd name="T2" fmla="*/ 9 w 99"/>
                <a:gd name="T3" fmla="*/ 165 h 165"/>
                <a:gd name="T4" fmla="*/ 0 w 99"/>
                <a:gd name="T5" fmla="*/ 157 h 165"/>
                <a:gd name="T6" fmla="*/ 0 w 99"/>
                <a:gd name="T7" fmla="*/ 50 h 165"/>
                <a:gd name="T8" fmla="*/ 50 w 99"/>
                <a:gd name="T9" fmla="*/ 0 h 165"/>
                <a:gd name="T10" fmla="*/ 99 w 99"/>
                <a:gd name="T11" fmla="*/ 50 h 165"/>
                <a:gd name="T12" fmla="*/ 99 w 99"/>
                <a:gd name="T13" fmla="*/ 157 h 165"/>
                <a:gd name="T14" fmla="*/ 91 w 99"/>
                <a:gd name="T15" fmla="*/ 165 h 165"/>
                <a:gd name="T16" fmla="*/ 17 w 99"/>
                <a:gd name="T17" fmla="*/ 149 h 165"/>
                <a:gd name="T18" fmla="*/ 83 w 99"/>
                <a:gd name="T19" fmla="*/ 149 h 165"/>
                <a:gd name="T20" fmla="*/ 83 w 99"/>
                <a:gd name="T21" fmla="*/ 50 h 165"/>
                <a:gd name="T22" fmla="*/ 50 w 99"/>
                <a:gd name="T23" fmla="*/ 17 h 165"/>
                <a:gd name="T24" fmla="*/ 17 w 99"/>
                <a:gd name="T25" fmla="*/ 50 h 165"/>
                <a:gd name="T26" fmla="*/ 17 w 99"/>
                <a:gd name="T27" fmla="*/ 1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65">
                  <a:moveTo>
                    <a:pt x="91" y="165"/>
                  </a:moveTo>
                  <a:cubicBezTo>
                    <a:pt x="9" y="165"/>
                    <a:pt x="9" y="165"/>
                    <a:pt x="9" y="165"/>
                  </a:cubicBezTo>
                  <a:cubicBezTo>
                    <a:pt x="4" y="165"/>
                    <a:pt x="0" y="162"/>
                    <a:pt x="0" y="157"/>
                  </a:cubicBezTo>
                  <a:cubicBezTo>
                    <a:pt x="0" y="50"/>
                    <a:pt x="0" y="50"/>
                    <a:pt x="0" y="50"/>
                  </a:cubicBezTo>
                  <a:cubicBezTo>
                    <a:pt x="0" y="23"/>
                    <a:pt x="23" y="0"/>
                    <a:pt x="50" y="0"/>
                  </a:cubicBezTo>
                  <a:cubicBezTo>
                    <a:pt x="77" y="0"/>
                    <a:pt x="99" y="23"/>
                    <a:pt x="99" y="50"/>
                  </a:cubicBezTo>
                  <a:cubicBezTo>
                    <a:pt x="99" y="157"/>
                    <a:pt x="99" y="157"/>
                    <a:pt x="99" y="157"/>
                  </a:cubicBezTo>
                  <a:cubicBezTo>
                    <a:pt x="99" y="162"/>
                    <a:pt x="96" y="165"/>
                    <a:pt x="91" y="165"/>
                  </a:cubicBezTo>
                  <a:close/>
                  <a:moveTo>
                    <a:pt x="17" y="149"/>
                  </a:moveTo>
                  <a:cubicBezTo>
                    <a:pt x="83" y="149"/>
                    <a:pt x="83" y="149"/>
                    <a:pt x="83" y="149"/>
                  </a:cubicBezTo>
                  <a:cubicBezTo>
                    <a:pt x="83" y="50"/>
                    <a:pt x="83" y="50"/>
                    <a:pt x="83" y="50"/>
                  </a:cubicBezTo>
                  <a:cubicBezTo>
                    <a:pt x="83" y="32"/>
                    <a:pt x="68" y="17"/>
                    <a:pt x="50" y="17"/>
                  </a:cubicBezTo>
                  <a:cubicBezTo>
                    <a:pt x="32" y="17"/>
                    <a:pt x="17" y="32"/>
                    <a:pt x="17" y="50"/>
                  </a:cubicBezTo>
                  <a:lnTo>
                    <a:pt x="17"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7" name="Freeform 18">
              <a:extLst>
                <a:ext uri="{FF2B5EF4-FFF2-40B4-BE49-F238E27FC236}">
                  <a16:creationId xmlns:a16="http://schemas.microsoft.com/office/drawing/2014/main" id="{B38E2D4E-3EDB-4BBB-ADB3-B8DE532D0C70}"/>
                </a:ext>
              </a:extLst>
            </p:cNvPr>
            <p:cNvSpPr>
              <a:spLocks noEditPoints="1"/>
            </p:cNvSpPr>
            <p:nvPr/>
          </p:nvSpPr>
          <p:spPr bwMode="auto">
            <a:xfrm>
              <a:off x="8069263" y="2039938"/>
              <a:ext cx="249238" cy="498475"/>
            </a:xfrm>
            <a:custGeom>
              <a:avLst/>
              <a:gdLst>
                <a:gd name="T0" fmla="*/ 58 w 66"/>
                <a:gd name="T1" fmla="*/ 132 h 132"/>
                <a:gd name="T2" fmla="*/ 9 w 66"/>
                <a:gd name="T3" fmla="*/ 132 h 132"/>
                <a:gd name="T4" fmla="*/ 0 w 66"/>
                <a:gd name="T5" fmla="*/ 124 h 132"/>
                <a:gd name="T6" fmla="*/ 0 w 66"/>
                <a:gd name="T7" fmla="*/ 33 h 132"/>
                <a:gd name="T8" fmla="*/ 33 w 66"/>
                <a:gd name="T9" fmla="*/ 0 h 132"/>
                <a:gd name="T10" fmla="*/ 66 w 66"/>
                <a:gd name="T11" fmla="*/ 33 h 132"/>
                <a:gd name="T12" fmla="*/ 66 w 66"/>
                <a:gd name="T13" fmla="*/ 124 h 132"/>
                <a:gd name="T14" fmla="*/ 58 w 66"/>
                <a:gd name="T15" fmla="*/ 132 h 132"/>
                <a:gd name="T16" fmla="*/ 17 w 66"/>
                <a:gd name="T17" fmla="*/ 116 h 132"/>
                <a:gd name="T18" fmla="*/ 50 w 66"/>
                <a:gd name="T19" fmla="*/ 116 h 132"/>
                <a:gd name="T20" fmla="*/ 50 w 66"/>
                <a:gd name="T21" fmla="*/ 33 h 132"/>
                <a:gd name="T22" fmla="*/ 33 w 66"/>
                <a:gd name="T23" fmla="*/ 17 h 132"/>
                <a:gd name="T24" fmla="*/ 17 w 66"/>
                <a:gd name="T25" fmla="*/ 33 h 132"/>
                <a:gd name="T26" fmla="*/ 17 w 66"/>
                <a:gd name="T27"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32">
                  <a:moveTo>
                    <a:pt x="58" y="132"/>
                  </a:moveTo>
                  <a:cubicBezTo>
                    <a:pt x="9" y="132"/>
                    <a:pt x="9" y="132"/>
                    <a:pt x="9" y="132"/>
                  </a:cubicBezTo>
                  <a:cubicBezTo>
                    <a:pt x="4" y="132"/>
                    <a:pt x="0" y="129"/>
                    <a:pt x="0" y="124"/>
                  </a:cubicBezTo>
                  <a:cubicBezTo>
                    <a:pt x="0" y="33"/>
                    <a:pt x="0" y="33"/>
                    <a:pt x="0" y="33"/>
                  </a:cubicBezTo>
                  <a:cubicBezTo>
                    <a:pt x="0" y="15"/>
                    <a:pt x="15" y="0"/>
                    <a:pt x="33" y="0"/>
                  </a:cubicBezTo>
                  <a:cubicBezTo>
                    <a:pt x="52" y="0"/>
                    <a:pt x="66" y="15"/>
                    <a:pt x="66" y="33"/>
                  </a:cubicBezTo>
                  <a:cubicBezTo>
                    <a:pt x="66" y="124"/>
                    <a:pt x="66" y="124"/>
                    <a:pt x="66" y="124"/>
                  </a:cubicBezTo>
                  <a:cubicBezTo>
                    <a:pt x="66" y="129"/>
                    <a:pt x="63" y="132"/>
                    <a:pt x="58" y="132"/>
                  </a:cubicBezTo>
                  <a:close/>
                  <a:moveTo>
                    <a:pt x="17" y="116"/>
                  </a:moveTo>
                  <a:cubicBezTo>
                    <a:pt x="50" y="116"/>
                    <a:pt x="50" y="116"/>
                    <a:pt x="50" y="116"/>
                  </a:cubicBezTo>
                  <a:cubicBezTo>
                    <a:pt x="50" y="33"/>
                    <a:pt x="50" y="33"/>
                    <a:pt x="50" y="33"/>
                  </a:cubicBezTo>
                  <a:cubicBezTo>
                    <a:pt x="50" y="24"/>
                    <a:pt x="43" y="17"/>
                    <a:pt x="33" y="17"/>
                  </a:cubicBezTo>
                  <a:cubicBezTo>
                    <a:pt x="24" y="17"/>
                    <a:pt x="17" y="24"/>
                    <a:pt x="17" y="33"/>
                  </a:cubicBezTo>
                  <a:lnTo>
                    <a:pt x="1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8" name="Freeform 19">
              <a:extLst>
                <a:ext uri="{FF2B5EF4-FFF2-40B4-BE49-F238E27FC236}">
                  <a16:creationId xmlns:a16="http://schemas.microsoft.com/office/drawing/2014/main" id="{D746481E-F0D9-40EA-A1DA-536AE37229ED}"/>
                </a:ext>
              </a:extLst>
            </p:cNvPr>
            <p:cNvSpPr>
              <a:spLocks noEditPoints="1"/>
            </p:cNvSpPr>
            <p:nvPr/>
          </p:nvSpPr>
          <p:spPr bwMode="auto">
            <a:xfrm>
              <a:off x="7196138" y="2039938"/>
              <a:ext cx="249238" cy="498475"/>
            </a:xfrm>
            <a:custGeom>
              <a:avLst/>
              <a:gdLst>
                <a:gd name="T0" fmla="*/ 58 w 66"/>
                <a:gd name="T1" fmla="*/ 132 h 132"/>
                <a:gd name="T2" fmla="*/ 9 w 66"/>
                <a:gd name="T3" fmla="*/ 132 h 132"/>
                <a:gd name="T4" fmla="*/ 0 w 66"/>
                <a:gd name="T5" fmla="*/ 124 h 132"/>
                <a:gd name="T6" fmla="*/ 0 w 66"/>
                <a:gd name="T7" fmla="*/ 33 h 132"/>
                <a:gd name="T8" fmla="*/ 33 w 66"/>
                <a:gd name="T9" fmla="*/ 0 h 132"/>
                <a:gd name="T10" fmla="*/ 66 w 66"/>
                <a:gd name="T11" fmla="*/ 33 h 132"/>
                <a:gd name="T12" fmla="*/ 66 w 66"/>
                <a:gd name="T13" fmla="*/ 124 h 132"/>
                <a:gd name="T14" fmla="*/ 58 w 66"/>
                <a:gd name="T15" fmla="*/ 132 h 132"/>
                <a:gd name="T16" fmla="*/ 17 w 66"/>
                <a:gd name="T17" fmla="*/ 116 h 132"/>
                <a:gd name="T18" fmla="*/ 50 w 66"/>
                <a:gd name="T19" fmla="*/ 116 h 132"/>
                <a:gd name="T20" fmla="*/ 50 w 66"/>
                <a:gd name="T21" fmla="*/ 33 h 132"/>
                <a:gd name="T22" fmla="*/ 33 w 66"/>
                <a:gd name="T23" fmla="*/ 17 h 132"/>
                <a:gd name="T24" fmla="*/ 17 w 66"/>
                <a:gd name="T25" fmla="*/ 33 h 132"/>
                <a:gd name="T26" fmla="*/ 17 w 66"/>
                <a:gd name="T27"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32">
                  <a:moveTo>
                    <a:pt x="58" y="132"/>
                  </a:moveTo>
                  <a:cubicBezTo>
                    <a:pt x="9" y="132"/>
                    <a:pt x="9" y="132"/>
                    <a:pt x="9" y="132"/>
                  </a:cubicBezTo>
                  <a:cubicBezTo>
                    <a:pt x="4" y="132"/>
                    <a:pt x="0" y="129"/>
                    <a:pt x="0" y="124"/>
                  </a:cubicBezTo>
                  <a:cubicBezTo>
                    <a:pt x="0" y="33"/>
                    <a:pt x="0" y="33"/>
                    <a:pt x="0" y="33"/>
                  </a:cubicBezTo>
                  <a:cubicBezTo>
                    <a:pt x="0" y="15"/>
                    <a:pt x="15" y="0"/>
                    <a:pt x="33" y="0"/>
                  </a:cubicBezTo>
                  <a:cubicBezTo>
                    <a:pt x="52" y="0"/>
                    <a:pt x="66" y="15"/>
                    <a:pt x="66" y="33"/>
                  </a:cubicBezTo>
                  <a:cubicBezTo>
                    <a:pt x="66" y="124"/>
                    <a:pt x="66" y="124"/>
                    <a:pt x="66" y="124"/>
                  </a:cubicBezTo>
                  <a:cubicBezTo>
                    <a:pt x="66" y="129"/>
                    <a:pt x="63" y="132"/>
                    <a:pt x="58" y="132"/>
                  </a:cubicBezTo>
                  <a:close/>
                  <a:moveTo>
                    <a:pt x="17" y="116"/>
                  </a:moveTo>
                  <a:cubicBezTo>
                    <a:pt x="50" y="116"/>
                    <a:pt x="50" y="116"/>
                    <a:pt x="50" y="116"/>
                  </a:cubicBezTo>
                  <a:cubicBezTo>
                    <a:pt x="50" y="33"/>
                    <a:pt x="50" y="33"/>
                    <a:pt x="50" y="33"/>
                  </a:cubicBezTo>
                  <a:cubicBezTo>
                    <a:pt x="50" y="24"/>
                    <a:pt x="43" y="17"/>
                    <a:pt x="33" y="17"/>
                  </a:cubicBezTo>
                  <a:cubicBezTo>
                    <a:pt x="24" y="17"/>
                    <a:pt x="17" y="24"/>
                    <a:pt x="17" y="33"/>
                  </a:cubicBezTo>
                  <a:lnTo>
                    <a:pt x="1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58" name="Group 1035">
            <a:extLst>
              <a:ext uri="{FF2B5EF4-FFF2-40B4-BE49-F238E27FC236}">
                <a16:creationId xmlns:a16="http://schemas.microsoft.com/office/drawing/2014/main" id="{7AED7473-95F9-469B-B193-7F98B5E5AEAD}"/>
              </a:ext>
            </a:extLst>
          </p:cNvPr>
          <p:cNvGrpSpPr>
            <a:grpSpLocks noChangeAspect="1"/>
          </p:cNvGrpSpPr>
          <p:nvPr/>
        </p:nvGrpSpPr>
        <p:grpSpPr>
          <a:xfrm>
            <a:off x="284400" y="4340505"/>
            <a:ext cx="293136" cy="285619"/>
            <a:chOff x="1973263" y="-365125"/>
            <a:chExt cx="371475" cy="361950"/>
          </a:xfrm>
          <a:solidFill>
            <a:schemeClr val="bg2"/>
          </a:solidFill>
          <a:effectLst/>
        </p:grpSpPr>
        <p:sp>
          <p:nvSpPr>
            <p:cNvPr id="359" name="Freeform 14">
              <a:extLst>
                <a:ext uri="{FF2B5EF4-FFF2-40B4-BE49-F238E27FC236}">
                  <a16:creationId xmlns:a16="http://schemas.microsoft.com/office/drawing/2014/main" id="{1001A620-1654-4688-92DB-F27BFEF4EC12}"/>
                </a:ext>
              </a:extLst>
            </p:cNvPr>
            <p:cNvSpPr>
              <a:spLocks/>
            </p:cNvSpPr>
            <p:nvPr/>
          </p:nvSpPr>
          <p:spPr bwMode="auto">
            <a:xfrm>
              <a:off x="1973263" y="-365125"/>
              <a:ext cx="279400" cy="254000"/>
            </a:xfrm>
            <a:custGeom>
              <a:avLst/>
              <a:gdLst>
                <a:gd name="T0" fmla="*/ 4 w 72"/>
                <a:gd name="T1" fmla="*/ 66 h 66"/>
                <a:gd name="T2" fmla="*/ 2 w 72"/>
                <a:gd name="T3" fmla="*/ 65 h 66"/>
                <a:gd name="T4" fmla="*/ 2 w 72"/>
                <a:gd name="T5" fmla="*/ 63 h 66"/>
                <a:gd name="T6" fmla="*/ 9 w 72"/>
                <a:gd name="T7" fmla="*/ 50 h 66"/>
                <a:gd name="T8" fmla="*/ 0 w 72"/>
                <a:gd name="T9" fmla="*/ 30 h 66"/>
                <a:gd name="T10" fmla="*/ 36 w 72"/>
                <a:gd name="T11" fmla="*/ 0 h 66"/>
                <a:gd name="T12" fmla="*/ 72 w 72"/>
                <a:gd name="T13" fmla="*/ 30 h 66"/>
                <a:gd name="T14" fmla="*/ 70 w 72"/>
                <a:gd name="T15" fmla="*/ 32 h 66"/>
                <a:gd name="T16" fmla="*/ 68 w 72"/>
                <a:gd name="T17" fmla="*/ 30 h 66"/>
                <a:gd name="T18" fmla="*/ 36 w 72"/>
                <a:gd name="T19" fmla="*/ 4 h 66"/>
                <a:gd name="T20" fmla="*/ 4 w 72"/>
                <a:gd name="T21" fmla="*/ 30 h 66"/>
                <a:gd name="T22" fmla="*/ 13 w 72"/>
                <a:gd name="T23" fmla="*/ 48 h 66"/>
                <a:gd name="T24" fmla="*/ 14 w 72"/>
                <a:gd name="T25" fmla="*/ 51 h 66"/>
                <a:gd name="T26" fmla="*/ 9 w 72"/>
                <a:gd name="T27" fmla="*/ 60 h 66"/>
                <a:gd name="T28" fmla="*/ 23 w 72"/>
                <a:gd name="T29" fmla="*/ 54 h 66"/>
                <a:gd name="T30" fmla="*/ 25 w 72"/>
                <a:gd name="T31" fmla="*/ 54 h 66"/>
                <a:gd name="T32" fmla="*/ 30 w 72"/>
                <a:gd name="T33" fmla="*/ 55 h 66"/>
                <a:gd name="T34" fmla="*/ 32 w 72"/>
                <a:gd name="T35" fmla="*/ 58 h 66"/>
                <a:gd name="T36" fmla="*/ 29 w 72"/>
                <a:gd name="T37" fmla="*/ 59 h 66"/>
                <a:gd name="T38" fmla="*/ 24 w 72"/>
                <a:gd name="T39" fmla="*/ 58 h 66"/>
                <a:gd name="T40" fmla="*/ 5 w 72"/>
                <a:gd name="T41" fmla="*/ 66 h 66"/>
                <a:gd name="T42" fmla="*/ 4 w 72"/>
                <a:gd name="T4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66">
                  <a:moveTo>
                    <a:pt x="4" y="66"/>
                  </a:moveTo>
                  <a:cubicBezTo>
                    <a:pt x="3" y="66"/>
                    <a:pt x="3" y="66"/>
                    <a:pt x="2" y="65"/>
                  </a:cubicBezTo>
                  <a:cubicBezTo>
                    <a:pt x="2" y="65"/>
                    <a:pt x="2" y="64"/>
                    <a:pt x="2" y="63"/>
                  </a:cubicBezTo>
                  <a:cubicBezTo>
                    <a:pt x="9" y="50"/>
                    <a:pt x="9" y="50"/>
                    <a:pt x="9" y="50"/>
                  </a:cubicBezTo>
                  <a:cubicBezTo>
                    <a:pt x="3" y="45"/>
                    <a:pt x="0" y="38"/>
                    <a:pt x="0" y="30"/>
                  </a:cubicBezTo>
                  <a:cubicBezTo>
                    <a:pt x="0" y="13"/>
                    <a:pt x="16" y="0"/>
                    <a:pt x="36" y="0"/>
                  </a:cubicBezTo>
                  <a:cubicBezTo>
                    <a:pt x="56" y="0"/>
                    <a:pt x="72" y="13"/>
                    <a:pt x="72" y="30"/>
                  </a:cubicBezTo>
                  <a:cubicBezTo>
                    <a:pt x="72" y="31"/>
                    <a:pt x="71" y="32"/>
                    <a:pt x="70" y="32"/>
                  </a:cubicBezTo>
                  <a:cubicBezTo>
                    <a:pt x="69" y="32"/>
                    <a:pt x="68" y="31"/>
                    <a:pt x="68" y="30"/>
                  </a:cubicBezTo>
                  <a:cubicBezTo>
                    <a:pt x="68" y="16"/>
                    <a:pt x="54" y="4"/>
                    <a:pt x="36" y="4"/>
                  </a:cubicBezTo>
                  <a:cubicBezTo>
                    <a:pt x="18" y="4"/>
                    <a:pt x="4" y="16"/>
                    <a:pt x="4" y="30"/>
                  </a:cubicBezTo>
                  <a:cubicBezTo>
                    <a:pt x="4" y="37"/>
                    <a:pt x="7" y="44"/>
                    <a:pt x="13" y="48"/>
                  </a:cubicBezTo>
                  <a:cubicBezTo>
                    <a:pt x="14" y="49"/>
                    <a:pt x="14" y="50"/>
                    <a:pt x="14" y="51"/>
                  </a:cubicBezTo>
                  <a:cubicBezTo>
                    <a:pt x="9" y="60"/>
                    <a:pt x="9" y="60"/>
                    <a:pt x="9" y="60"/>
                  </a:cubicBezTo>
                  <a:cubicBezTo>
                    <a:pt x="23" y="54"/>
                    <a:pt x="23" y="54"/>
                    <a:pt x="23" y="54"/>
                  </a:cubicBezTo>
                  <a:cubicBezTo>
                    <a:pt x="24" y="54"/>
                    <a:pt x="24" y="54"/>
                    <a:pt x="25" y="54"/>
                  </a:cubicBezTo>
                  <a:cubicBezTo>
                    <a:pt x="26" y="55"/>
                    <a:pt x="28" y="55"/>
                    <a:pt x="30" y="55"/>
                  </a:cubicBezTo>
                  <a:cubicBezTo>
                    <a:pt x="31" y="55"/>
                    <a:pt x="32" y="56"/>
                    <a:pt x="32" y="58"/>
                  </a:cubicBezTo>
                  <a:cubicBezTo>
                    <a:pt x="32" y="59"/>
                    <a:pt x="31" y="59"/>
                    <a:pt x="29" y="59"/>
                  </a:cubicBezTo>
                  <a:cubicBezTo>
                    <a:pt x="28" y="59"/>
                    <a:pt x="26" y="59"/>
                    <a:pt x="24" y="58"/>
                  </a:cubicBezTo>
                  <a:cubicBezTo>
                    <a:pt x="5" y="66"/>
                    <a:pt x="5" y="66"/>
                    <a:pt x="5" y="66"/>
                  </a:cubicBezTo>
                  <a:cubicBezTo>
                    <a:pt x="5" y="66"/>
                    <a:pt x="4" y="66"/>
                    <a:pt x="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5">
              <a:extLst>
                <a:ext uri="{FF2B5EF4-FFF2-40B4-BE49-F238E27FC236}">
                  <a16:creationId xmlns:a16="http://schemas.microsoft.com/office/drawing/2014/main" id="{FE4498A4-A72F-4541-9B0E-EE39050A51CA}"/>
                </a:ext>
              </a:extLst>
            </p:cNvPr>
            <p:cNvSpPr>
              <a:spLocks noEditPoints="1"/>
            </p:cNvSpPr>
            <p:nvPr/>
          </p:nvSpPr>
          <p:spPr bwMode="auto">
            <a:xfrm>
              <a:off x="2112963" y="-219075"/>
              <a:ext cx="231775" cy="215900"/>
            </a:xfrm>
            <a:custGeom>
              <a:avLst/>
              <a:gdLst>
                <a:gd name="T0" fmla="*/ 56 w 60"/>
                <a:gd name="T1" fmla="*/ 56 h 56"/>
                <a:gd name="T2" fmla="*/ 55 w 60"/>
                <a:gd name="T3" fmla="*/ 56 h 56"/>
                <a:gd name="T4" fmla="*/ 40 w 60"/>
                <a:gd name="T5" fmla="*/ 50 h 56"/>
                <a:gd name="T6" fmla="*/ 29 w 60"/>
                <a:gd name="T7" fmla="*/ 52 h 56"/>
                <a:gd name="T8" fmla="*/ 29 w 60"/>
                <a:gd name="T9" fmla="*/ 52 h 56"/>
                <a:gd name="T10" fmla="*/ 0 w 60"/>
                <a:gd name="T11" fmla="*/ 26 h 56"/>
                <a:gd name="T12" fmla="*/ 30 w 60"/>
                <a:gd name="T13" fmla="*/ 0 h 56"/>
                <a:gd name="T14" fmla="*/ 60 w 60"/>
                <a:gd name="T15" fmla="*/ 26 h 56"/>
                <a:gd name="T16" fmla="*/ 52 w 60"/>
                <a:gd name="T17" fmla="*/ 43 h 56"/>
                <a:gd name="T18" fmla="*/ 58 w 60"/>
                <a:gd name="T19" fmla="*/ 53 h 56"/>
                <a:gd name="T20" fmla="*/ 58 w 60"/>
                <a:gd name="T21" fmla="*/ 54 h 56"/>
                <a:gd name="T22" fmla="*/ 56 w 60"/>
                <a:gd name="T23" fmla="*/ 56 h 56"/>
                <a:gd name="T24" fmla="*/ 56 w 60"/>
                <a:gd name="T25" fmla="*/ 56 h 56"/>
                <a:gd name="T26" fmla="*/ 40 w 60"/>
                <a:gd name="T27" fmla="*/ 46 h 56"/>
                <a:gd name="T28" fmla="*/ 41 w 60"/>
                <a:gd name="T29" fmla="*/ 46 h 56"/>
                <a:gd name="T30" fmla="*/ 52 w 60"/>
                <a:gd name="T31" fmla="*/ 50 h 56"/>
                <a:gd name="T32" fmla="*/ 48 w 60"/>
                <a:gd name="T33" fmla="*/ 43 h 56"/>
                <a:gd name="T34" fmla="*/ 49 w 60"/>
                <a:gd name="T35" fmla="*/ 40 h 56"/>
                <a:gd name="T36" fmla="*/ 56 w 60"/>
                <a:gd name="T37" fmla="*/ 26 h 56"/>
                <a:gd name="T38" fmla="*/ 30 w 60"/>
                <a:gd name="T39" fmla="*/ 4 h 56"/>
                <a:gd name="T40" fmla="*/ 4 w 60"/>
                <a:gd name="T41" fmla="*/ 26 h 56"/>
                <a:gd name="T42" fmla="*/ 29 w 60"/>
                <a:gd name="T43" fmla="*/ 48 h 56"/>
                <a:gd name="T44" fmla="*/ 29 w 60"/>
                <a:gd name="T45" fmla="*/ 48 h 56"/>
                <a:gd name="T46" fmla="*/ 39 w 60"/>
                <a:gd name="T47" fmla="*/ 46 h 56"/>
                <a:gd name="T48" fmla="*/ 40 w 60"/>
                <a:gd name="T4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56" y="56"/>
                  </a:moveTo>
                  <a:cubicBezTo>
                    <a:pt x="56" y="56"/>
                    <a:pt x="56" y="56"/>
                    <a:pt x="55" y="56"/>
                  </a:cubicBezTo>
                  <a:cubicBezTo>
                    <a:pt x="40" y="50"/>
                    <a:pt x="40" y="50"/>
                    <a:pt x="40" y="50"/>
                  </a:cubicBezTo>
                  <a:cubicBezTo>
                    <a:pt x="36" y="52"/>
                    <a:pt x="33" y="52"/>
                    <a:pt x="29" y="52"/>
                  </a:cubicBezTo>
                  <a:cubicBezTo>
                    <a:pt x="29" y="52"/>
                    <a:pt x="29" y="52"/>
                    <a:pt x="29" y="52"/>
                  </a:cubicBezTo>
                  <a:cubicBezTo>
                    <a:pt x="13" y="52"/>
                    <a:pt x="0" y="40"/>
                    <a:pt x="0" y="26"/>
                  </a:cubicBezTo>
                  <a:cubicBezTo>
                    <a:pt x="0" y="12"/>
                    <a:pt x="14" y="0"/>
                    <a:pt x="30" y="0"/>
                  </a:cubicBezTo>
                  <a:cubicBezTo>
                    <a:pt x="46" y="0"/>
                    <a:pt x="60" y="12"/>
                    <a:pt x="60" y="26"/>
                  </a:cubicBezTo>
                  <a:cubicBezTo>
                    <a:pt x="60" y="32"/>
                    <a:pt x="57" y="38"/>
                    <a:pt x="52" y="43"/>
                  </a:cubicBezTo>
                  <a:cubicBezTo>
                    <a:pt x="58" y="53"/>
                    <a:pt x="58" y="53"/>
                    <a:pt x="58" y="53"/>
                  </a:cubicBezTo>
                  <a:cubicBezTo>
                    <a:pt x="58" y="53"/>
                    <a:pt x="58" y="53"/>
                    <a:pt x="58" y="54"/>
                  </a:cubicBezTo>
                  <a:cubicBezTo>
                    <a:pt x="58" y="55"/>
                    <a:pt x="57" y="56"/>
                    <a:pt x="56" y="56"/>
                  </a:cubicBezTo>
                  <a:cubicBezTo>
                    <a:pt x="56" y="56"/>
                    <a:pt x="56" y="56"/>
                    <a:pt x="56" y="56"/>
                  </a:cubicBezTo>
                  <a:close/>
                  <a:moveTo>
                    <a:pt x="40" y="46"/>
                  </a:moveTo>
                  <a:cubicBezTo>
                    <a:pt x="40" y="46"/>
                    <a:pt x="40" y="46"/>
                    <a:pt x="41" y="46"/>
                  </a:cubicBezTo>
                  <a:cubicBezTo>
                    <a:pt x="52" y="50"/>
                    <a:pt x="52" y="50"/>
                    <a:pt x="52" y="50"/>
                  </a:cubicBezTo>
                  <a:cubicBezTo>
                    <a:pt x="48" y="43"/>
                    <a:pt x="48" y="43"/>
                    <a:pt x="48" y="43"/>
                  </a:cubicBezTo>
                  <a:cubicBezTo>
                    <a:pt x="48" y="42"/>
                    <a:pt x="48" y="41"/>
                    <a:pt x="49" y="40"/>
                  </a:cubicBezTo>
                  <a:cubicBezTo>
                    <a:pt x="54" y="37"/>
                    <a:pt x="56" y="32"/>
                    <a:pt x="56" y="26"/>
                  </a:cubicBezTo>
                  <a:cubicBezTo>
                    <a:pt x="56" y="14"/>
                    <a:pt x="44" y="4"/>
                    <a:pt x="30" y="4"/>
                  </a:cubicBezTo>
                  <a:cubicBezTo>
                    <a:pt x="16" y="4"/>
                    <a:pt x="4" y="14"/>
                    <a:pt x="4" y="26"/>
                  </a:cubicBezTo>
                  <a:cubicBezTo>
                    <a:pt x="4" y="38"/>
                    <a:pt x="15" y="48"/>
                    <a:pt x="29" y="48"/>
                  </a:cubicBezTo>
                  <a:cubicBezTo>
                    <a:pt x="29" y="48"/>
                    <a:pt x="29" y="48"/>
                    <a:pt x="29" y="48"/>
                  </a:cubicBezTo>
                  <a:cubicBezTo>
                    <a:pt x="32" y="48"/>
                    <a:pt x="36" y="48"/>
                    <a:pt x="39" y="46"/>
                  </a:cubicBezTo>
                  <a:cubicBezTo>
                    <a:pt x="39" y="46"/>
                    <a:pt x="40" y="46"/>
                    <a:pt x="4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6" name="Gruppieren 745">
            <a:extLst>
              <a:ext uri="{FF2B5EF4-FFF2-40B4-BE49-F238E27FC236}">
                <a16:creationId xmlns:a16="http://schemas.microsoft.com/office/drawing/2014/main" id="{B6D42B6A-E003-4C83-AFDA-27DFADFFDDDD}"/>
              </a:ext>
            </a:extLst>
          </p:cNvPr>
          <p:cNvGrpSpPr>
            <a:grpSpLocks noChangeAspect="1"/>
          </p:cNvGrpSpPr>
          <p:nvPr/>
        </p:nvGrpSpPr>
        <p:grpSpPr>
          <a:xfrm>
            <a:off x="4088904" y="4340505"/>
            <a:ext cx="1812851" cy="285619"/>
            <a:chOff x="4660606" y="4192665"/>
            <a:chExt cx="2284954" cy="360000"/>
          </a:xfrm>
          <a:solidFill>
            <a:schemeClr val="bg2"/>
          </a:solidFill>
        </p:grpSpPr>
        <p:grpSp>
          <p:nvGrpSpPr>
            <p:cNvPr id="747" name="Group 3">
              <a:extLst>
                <a:ext uri="{FF2B5EF4-FFF2-40B4-BE49-F238E27FC236}">
                  <a16:creationId xmlns:a16="http://schemas.microsoft.com/office/drawing/2014/main" id="{3C3622AA-54F0-491B-8CA6-6198F4BF5242}"/>
                </a:ext>
              </a:extLst>
            </p:cNvPr>
            <p:cNvGrpSpPr/>
            <p:nvPr/>
          </p:nvGrpSpPr>
          <p:grpSpPr>
            <a:xfrm>
              <a:off x="4660606" y="4192665"/>
              <a:ext cx="392727" cy="360000"/>
              <a:chOff x="4319588" y="1930401"/>
              <a:chExt cx="285750" cy="261938"/>
            </a:xfrm>
            <a:grpFill/>
          </p:grpSpPr>
          <p:sp>
            <p:nvSpPr>
              <p:cNvPr id="749" name="Freeform 156">
                <a:extLst>
                  <a:ext uri="{FF2B5EF4-FFF2-40B4-BE49-F238E27FC236}">
                    <a16:creationId xmlns:a16="http://schemas.microsoft.com/office/drawing/2014/main" id="{CA9C1C6A-783F-4A27-9D81-FAF318D926D4}"/>
                  </a:ext>
                </a:extLst>
              </p:cNvPr>
              <p:cNvSpPr>
                <a:spLocks/>
              </p:cNvSpPr>
              <p:nvPr/>
            </p:nvSpPr>
            <p:spPr bwMode="auto">
              <a:xfrm>
                <a:off x="4319588" y="1930401"/>
                <a:ext cx="238125" cy="200025"/>
              </a:xfrm>
              <a:custGeom>
                <a:avLst/>
                <a:gdLst>
                  <a:gd name="T0" fmla="*/ 286 w 751"/>
                  <a:gd name="T1" fmla="*/ 450 h 630"/>
                  <a:gd name="T2" fmla="*/ 280 w 751"/>
                  <a:gd name="T3" fmla="*/ 451 h 630"/>
                  <a:gd name="T4" fmla="*/ 275 w 751"/>
                  <a:gd name="T5" fmla="*/ 454 h 630"/>
                  <a:gd name="T6" fmla="*/ 150 w 751"/>
                  <a:gd name="T7" fmla="*/ 465 h 630"/>
                  <a:gd name="T8" fmla="*/ 149 w 751"/>
                  <a:gd name="T9" fmla="*/ 459 h 630"/>
                  <a:gd name="T10" fmla="*/ 146 w 751"/>
                  <a:gd name="T11" fmla="*/ 454 h 630"/>
                  <a:gd name="T12" fmla="*/ 141 w 751"/>
                  <a:gd name="T13" fmla="*/ 451 h 630"/>
                  <a:gd name="T14" fmla="*/ 135 w 751"/>
                  <a:gd name="T15" fmla="*/ 450 h 630"/>
                  <a:gd name="T16" fmla="*/ 30 w 751"/>
                  <a:gd name="T17" fmla="*/ 30 h 630"/>
                  <a:gd name="T18" fmla="*/ 721 w 751"/>
                  <a:gd name="T19" fmla="*/ 261 h 630"/>
                  <a:gd name="T20" fmla="*/ 722 w 751"/>
                  <a:gd name="T21" fmla="*/ 267 h 630"/>
                  <a:gd name="T22" fmla="*/ 726 w 751"/>
                  <a:gd name="T23" fmla="*/ 271 h 630"/>
                  <a:gd name="T24" fmla="*/ 730 w 751"/>
                  <a:gd name="T25" fmla="*/ 275 h 630"/>
                  <a:gd name="T26" fmla="*/ 736 w 751"/>
                  <a:gd name="T27" fmla="*/ 276 h 630"/>
                  <a:gd name="T28" fmla="*/ 742 w 751"/>
                  <a:gd name="T29" fmla="*/ 275 h 630"/>
                  <a:gd name="T30" fmla="*/ 747 w 751"/>
                  <a:gd name="T31" fmla="*/ 271 h 630"/>
                  <a:gd name="T32" fmla="*/ 750 w 751"/>
                  <a:gd name="T33" fmla="*/ 267 h 630"/>
                  <a:gd name="T34" fmla="*/ 751 w 751"/>
                  <a:gd name="T35" fmla="*/ 261 h 630"/>
                  <a:gd name="T36" fmla="*/ 750 w 751"/>
                  <a:gd name="T37" fmla="*/ 11 h 630"/>
                  <a:gd name="T38" fmla="*/ 748 w 751"/>
                  <a:gd name="T39" fmla="*/ 6 h 630"/>
                  <a:gd name="T40" fmla="*/ 745 w 751"/>
                  <a:gd name="T41" fmla="*/ 2 h 630"/>
                  <a:gd name="T42" fmla="*/ 740 w 751"/>
                  <a:gd name="T43" fmla="*/ 0 h 630"/>
                  <a:gd name="T44" fmla="*/ 15 w 751"/>
                  <a:gd name="T45" fmla="*/ 0 h 630"/>
                  <a:gd name="T46" fmla="*/ 10 w 751"/>
                  <a:gd name="T47" fmla="*/ 1 h 630"/>
                  <a:gd name="T48" fmla="*/ 5 w 751"/>
                  <a:gd name="T49" fmla="*/ 4 h 630"/>
                  <a:gd name="T50" fmla="*/ 1 w 751"/>
                  <a:gd name="T51" fmla="*/ 9 h 630"/>
                  <a:gd name="T52" fmla="*/ 0 w 751"/>
                  <a:gd name="T53" fmla="*/ 15 h 630"/>
                  <a:gd name="T54" fmla="*/ 0 w 751"/>
                  <a:gd name="T55" fmla="*/ 467 h 630"/>
                  <a:gd name="T56" fmla="*/ 2 w 751"/>
                  <a:gd name="T57" fmla="*/ 473 h 630"/>
                  <a:gd name="T58" fmla="*/ 7 w 751"/>
                  <a:gd name="T59" fmla="*/ 477 h 630"/>
                  <a:gd name="T60" fmla="*/ 12 w 751"/>
                  <a:gd name="T61" fmla="*/ 479 h 630"/>
                  <a:gd name="T62" fmla="*/ 120 w 751"/>
                  <a:gd name="T63" fmla="*/ 480 h 630"/>
                  <a:gd name="T64" fmla="*/ 121 w 751"/>
                  <a:gd name="T65" fmla="*/ 619 h 630"/>
                  <a:gd name="T66" fmla="*/ 125 w 751"/>
                  <a:gd name="T67" fmla="*/ 627 h 630"/>
                  <a:gd name="T68" fmla="*/ 133 w 751"/>
                  <a:gd name="T69" fmla="*/ 630 h 630"/>
                  <a:gd name="T70" fmla="*/ 138 w 751"/>
                  <a:gd name="T71" fmla="*/ 630 h 630"/>
                  <a:gd name="T72" fmla="*/ 144 w 751"/>
                  <a:gd name="T73" fmla="*/ 628 h 630"/>
                  <a:gd name="T74" fmla="*/ 292 w 751"/>
                  <a:gd name="T75" fmla="*/ 480 h 630"/>
                  <a:gd name="T76" fmla="*/ 334 w 751"/>
                  <a:gd name="T77" fmla="*/ 479 h 630"/>
                  <a:gd name="T78" fmla="*/ 339 w 751"/>
                  <a:gd name="T79" fmla="*/ 477 h 630"/>
                  <a:gd name="T80" fmla="*/ 343 w 751"/>
                  <a:gd name="T81" fmla="*/ 473 h 630"/>
                  <a:gd name="T82" fmla="*/ 346 w 751"/>
                  <a:gd name="T83" fmla="*/ 467 h 630"/>
                  <a:gd name="T84" fmla="*/ 346 w 751"/>
                  <a:gd name="T85" fmla="*/ 462 h 630"/>
                  <a:gd name="T86" fmla="*/ 343 w 751"/>
                  <a:gd name="T87" fmla="*/ 457 h 630"/>
                  <a:gd name="T88" fmla="*/ 339 w 751"/>
                  <a:gd name="T89" fmla="*/ 452 h 630"/>
                  <a:gd name="T90" fmla="*/ 334 w 751"/>
                  <a:gd name="T91" fmla="*/ 4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1" h="630">
                    <a:moveTo>
                      <a:pt x="331" y="450"/>
                    </a:moveTo>
                    <a:lnTo>
                      <a:pt x="286" y="450"/>
                    </a:lnTo>
                    <a:lnTo>
                      <a:pt x="283" y="450"/>
                    </a:lnTo>
                    <a:lnTo>
                      <a:pt x="280" y="451"/>
                    </a:lnTo>
                    <a:lnTo>
                      <a:pt x="277" y="452"/>
                    </a:lnTo>
                    <a:lnTo>
                      <a:pt x="275" y="454"/>
                    </a:lnTo>
                    <a:lnTo>
                      <a:pt x="150" y="579"/>
                    </a:lnTo>
                    <a:lnTo>
                      <a:pt x="150" y="465"/>
                    </a:lnTo>
                    <a:lnTo>
                      <a:pt x="150" y="462"/>
                    </a:lnTo>
                    <a:lnTo>
                      <a:pt x="149" y="459"/>
                    </a:lnTo>
                    <a:lnTo>
                      <a:pt x="148" y="457"/>
                    </a:lnTo>
                    <a:lnTo>
                      <a:pt x="146" y="454"/>
                    </a:lnTo>
                    <a:lnTo>
                      <a:pt x="144" y="452"/>
                    </a:lnTo>
                    <a:lnTo>
                      <a:pt x="141" y="451"/>
                    </a:lnTo>
                    <a:lnTo>
                      <a:pt x="138" y="450"/>
                    </a:lnTo>
                    <a:lnTo>
                      <a:pt x="135" y="450"/>
                    </a:lnTo>
                    <a:lnTo>
                      <a:pt x="30" y="450"/>
                    </a:lnTo>
                    <a:lnTo>
                      <a:pt x="30" y="30"/>
                    </a:lnTo>
                    <a:lnTo>
                      <a:pt x="721" y="30"/>
                    </a:lnTo>
                    <a:lnTo>
                      <a:pt x="721" y="261"/>
                    </a:lnTo>
                    <a:lnTo>
                      <a:pt x="721" y="264"/>
                    </a:lnTo>
                    <a:lnTo>
                      <a:pt x="722" y="267"/>
                    </a:lnTo>
                    <a:lnTo>
                      <a:pt x="724" y="269"/>
                    </a:lnTo>
                    <a:lnTo>
                      <a:pt x="726" y="271"/>
                    </a:lnTo>
                    <a:lnTo>
                      <a:pt x="728" y="274"/>
                    </a:lnTo>
                    <a:lnTo>
                      <a:pt x="730" y="275"/>
                    </a:lnTo>
                    <a:lnTo>
                      <a:pt x="733" y="276"/>
                    </a:lnTo>
                    <a:lnTo>
                      <a:pt x="736" y="276"/>
                    </a:lnTo>
                    <a:lnTo>
                      <a:pt x="740" y="276"/>
                    </a:lnTo>
                    <a:lnTo>
                      <a:pt x="742" y="275"/>
                    </a:lnTo>
                    <a:lnTo>
                      <a:pt x="745" y="274"/>
                    </a:lnTo>
                    <a:lnTo>
                      <a:pt x="747" y="271"/>
                    </a:lnTo>
                    <a:lnTo>
                      <a:pt x="748" y="269"/>
                    </a:lnTo>
                    <a:lnTo>
                      <a:pt x="750" y="267"/>
                    </a:lnTo>
                    <a:lnTo>
                      <a:pt x="750" y="264"/>
                    </a:lnTo>
                    <a:lnTo>
                      <a:pt x="751" y="261"/>
                    </a:lnTo>
                    <a:lnTo>
                      <a:pt x="751" y="15"/>
                    </a:lnTo>
                    <a:lnTo>
                      <a:pt x="750" y="11"/>
                    </a:lnTo>
                    <a:lnTo>
                      <a:pt x="750" y="9"/>
                    </a:lnTo>
                    <a:lnTo>
                      <a:pt x="748" y="6"/>
                    </a:lnTo>
                    <a:lnTo>
                      <a:pt x="747" y="4"/>
                    </a:lnTo>
                    <a:lnTo>
                      <a:pt x="745" y="2"/>
                    </a:lnTo>
                    <a:lnTo>
                      <a:pt x="742" y="1"/>
                    </a:lnTo>
                    <a:lnTo>
                      <a:pt x="740" y="0"/>
                    </a:lnTo>
                    <a:lnTo>
                      <a:pt x="736" y="0"/>
                    </a:lnTo>
                    <a:lnTo>
                      <a:pt x="15" y="0"/>
                    </a:lnTo>
                    <a:lnTo>
                      <a:pt x="12" y="0"/>
                    </a:lnTo>
                    <a:lnTo>
                      <a:pt x="10" y="1"/>
                    </a:lnTo>
                    <a:lnTo>
                      <a:pt x="7" y="2"/>
                    </a:lnTo>
                    <a:lnTo>
                      <a:pt x="5" y="4"/>
                    </a:lnTo>
                    <a:lnTo>
                      <a:pt x="2" y="6"/>
                    </a:lnTo>
                    <a:lnTo>
                      <a:pt x="1" y="9"/>
                    </a:lnTo>
                    <a:lnTo>
                      <a:pt x="0" y="11"/>
                    </a:lnTo>
                    <a:lnTo>
                      <a:pt x="0" y="15"/>
                    </a:lnTo>
                    <a:lnTo>
                      <a:pt x="0" y="465"/>
                    </a:lnTo>
                    <a:lnTo>
                      <a:pt x="0" y="467"/>
                    </a:lnTo>
                    <a:lnTo>
                      <a:pt x="1" y="471"/>
                    </a:lnTo>
                    <a:lnTo>
                      <a:pt x="2" y="473"/>
                    </a:lnTo>
                    <a:lnTo>
                      <a:pt x="5" y="475"/>
                    </a:lnTo>
                    <a:lnTo>
                      <a:pt x="7" y="477"/>
                    </a:lnTo>
                    <a:lnTo>
                      <a:pt x="10" y="478"/>
                    </a:lnTo>
                    <a:lnTo>
                      <a:pt x="12" y="479"/>
                    </a:lnTo>
                    <a:lnTo>
                      <a:pt x="15" y="480"/>
                    </a:lnTo>
                    <a:lnTo>
                      <a:pt x="120" y="480"/>
                    </a:lnTo>
                    <a:lnTo>
                      <a:pt x="120" y="615"/>
                    </a:lnTo>
                    <a:lnTo>
                      <a:pt x="121" y="619"/>
                    </a:lnTo>
                    <a:lnTo>
                      <a:pt x="123" y="624"/>
                    </a:lnTo>
                    <a:lnTo>
                      <a:pt x="125" y="627"/>
                    </a:lnTo>
                    <a:lnTo>
                      <a:pt x="130" y="629"/>
                    </a:lnTo>
                    <a:lnTo>
                      <a:pt x="133" y="630"/>
                    </a:lnTo>
                    <a:lnTo>
                      <a:pt x="135" y="630"/>
                    </a:lnTo>
                    <a:lnTo>
                      <a:pt x="138" y="630"/>
                    </a:lnTo>
                    <a:lnTo>
                      <a:pt x="141" y="629"/>
                    </a:lnTo>
                    <a:lnTo>
                      <a:pt x="144" y="628"/>
                    </a:lnTo>
                    <a:lnTo>
                      <a:pt x="146" y="626"/>
                    </a:lnTo>
                    <a:lnTo>
                      <a:pt x="292" y="480"/>
                    </a:lnTo>
                    <a:lnTo>
                      <a:pt x="331" y="480"/>
                    </a:lnTo>
                    <a:lnTo>
                      <a:pt x="334" y="479"/>
                    </a:lnTo>
                    <a:lnTo>
                      <a:pt x="336" y="478"/>
                    </a:lnTo>
                    <a:lnTo>
                      <a:pt x="339" y="477"/>
                    </a:lnTo>
                    <a:lnTo>
                      <a:pt x="342" y="475"/>
                    </a:lnTo>
                    <a:lnTo>
                      <a:pt x="343" y="473"/>
                    </a:lnTo>
                    <a:lnTo>
                      <a:pt x="345" y="471"/>
                    </a:lnTo>
                    <a:lnTo>
                      <a:pt x="346" y="467"/>
                    </a:lnTo>
                    <a:lnTo>
                      <a:pt x="346" y="465"/>
                    </a:lnTo>
                    <a:lnTo>
                      <a:pt x="346" y="462"/>
                    </a:lnTo>
                    <a:lnTo>
                      <a:pt x="345" y="459"/>
                    </a:lnTo>
                    <a:lnTo>
                      <a:pt x="343" y="457"/>
                    </a:lnTo>
                    <a:lnTo>
                      <a:pt x="342" y="454"/>
                    </a:lnTo>
                    <a:lnTo>
                      <a:pt x="339" y="452"/>
                    </a:lnTo>
                    <a:lnTo>
                      <a:pt x="336" y="451"/>
                    </a:lnTo>
                    <a:lnTo>
                      <a:pt x="334" y="450"/>
                    </a:lnTo>
                    <a:lnTo>
                      <a:pt x="331"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57">
                <a:extLst>
                  <a:ext uri="{FF2B5EF4-FFF2-40B4-BE49-F238E27FC236}">
                    <a16:creationId xmlns:a16="http://schemas.microsoft.com/office/drawing/2014/main" id="{B73D2E56-2F38-4820-9C87-1AC56EBADE47}"/>
                  </a:ext>
                </a:extLst>
              </p:cNvPr>
              <p:cNvSpPr>
                <a:spLocks noEditPoints="1"/>
              </p:cNvSpPr>
              <p:nvPr/>
            </p:nvSpPr>
            <p:spPr bwMode="auto">
              <a:xfrm>
                <a:off x="4443413" y="2035176"/>
                <a:ext cx="161925" cy="157163"/>
              </a:xfrm>
              <a:custGeom>
                <a:avLst/>
                <a:gdLst>
                  <a:gd name="T0" fmla="*/ 405 w 510"/>
                  <a:gd name="T1" fmla="*/ 301 h 496"/>
                  <a:gd name="T2" fmla="*/ 399 w 510"/>
                  <a:gd name="T3" fmla="*/ 302 h 496"/>
                  <a:gd name="T4" fmla="*/ 395 w 510"/>
                  <a:gd name="T5" fmla="*/ 305 h 496"/>
                  <a:gd name="T6" fmla="*/ 391 w 510"/>
                  <a:gd name="T7" fmla="*/ 311 h 496"/>
                  <a:gd name="T8" fmla="*/ 390 w 510"/>
                  <a:gd name="T9" fmla="*/ 316 h 496"/>
                  <a:gd name="T10" fmla="*/ 266 w 510"/>
                  <a:gd name="T11" fmla="*/ 306 h 496"/>
                  <a:gd name="T12" fmla="*/ 261 w 510"/>
                  <a:gd name="T13" fmla="*/ 302 h 496"/>
                  <a:gd name="T14" fmla="*/ 256 w 510"/>
                  <a:gd name="T15" fmla="*/ 301 h 496"/>
                  <a:gd name="T16" fmla="*/ 30 w 510"/>
                  <a:gd name="T17" fmla="*/ 30 h 496"/>
                  <a:gd name="T18" fmla="*/ 480 w 510"/>
                  <a:gd name="T19" fmla="*/ 301 h 496"/>
                  <a:gd name="T20" fmla="*/ 15 w 510"/>
                  <a:gd name="T21" fmla="*/ 0 h 496"/>
                  <a:gd name="T22" fmla="*/ 9 w 510"/>
                  <a:gd name="T23" fmla="*/ 1 h 496"/>
                  <a:gd name="T24" fmla="*/ 4 w 510"/>
                  <a:gd name="T25" fmla="*/ 5 h 496"/>
                  <a:gd name="T26" fmla="*/ 1 w 510"/>
                  <a:gd name="T27" fmla="*/ 10 h 496"/>
                  <a:gd name="T28" fmla="*/ 0 w 510"/>
                  <a:gd name="T29" fmla="*/ 15 h 496"/>
                  <a:gd name="T30" fmla="*/ 0 w 510"/>
                  <a:gd name="T31" fmla="*/ 319 h 496"/>
                  <a:gd name="T32" fmla="*/ 2 w 510"/>
                  <a:gd name="T33" fmla="*/ 324 h 496"/>
                  <a:gd name="T34" fmla="*/ 6 w 510"/>
                  <a:gd name="T35" fmla="*/ 329 h 496"/>
                  <a:gd name="T36" fmla="*/ 12 w 510"/>
                  <a:gd name="T37" fmla="*/ 331 h 496"/>
                  <a:gd name="T38" fmla="*/ 248 w 510"/>
                  <a:gd name="T39" fmla="*/ 331 h 496"/>
                  <a:gd name="T40" fmla="*/ 397 w 510"/>
                  <a:gd name="T41" fmla="*/ 494 h 496"/>
                  <a:gd name="T42" fmla="*/ 402 w 510"/>
                  <a:gd name="T43" fmla="*/ 496 h 496"/>
                  <a:gd name="T44" fmla="*/ 407 w 510"/>
                  <a:gd name="T45" fmla="*/ 496 h 496"/>
                  <a:gd name="T46" fmla="*/ 415 w 510"/>
                  <a:gd name="T47" fmla="*/ 493 h 496"/>
                  <a:gd name="T48" fmla="*/ 419 w 510"/>
                  <a:gd name="T49" fmla="*/ 486 h 496"/>
                  <a:gd name="T50" fmla="*/ 420 w 510"/>
                  <a:gd name="T51" fmla="*/ 331 h 496"/>
                  <a:gd name="T52" fmla="*/ 498 w 510"/>
                  <a:gd name="T53" fmla="*/ 331 h 496"/>
                  <a:gd name="T54" fmla="*/ 504 w 510"/>
                  <a:gd name="T55" fmla="*/ 329 h 496"/>
                  <a:gd name="T56" fmla="*/ 508 w 510"/>
                  <a:gd name="T57" fmla="*/ 324 h 496"/>
                  <a:gd name="T58" fmla="*/ 510 w 510"/>
                  <a:gd name="T59" fmla="*/ 319 h 496"/>
                  <a:gd name="T60" fmla="*/ 510 w 510"/>
                  <a:gd name="T61" fmla="*/ 15 h 496"/>
                  <a:gd name="T62" fmla="*/ 509 w 510"/>
                  <a:gd name="T63" fmla="*/ 10 h 496"/>
                  <a:gd name="T64" fmla="*/ 506 w 510"/>
                  <a:gd name="T65" fmla="*/ 5 h 496"/>
                  <a:gd name="T66" fmla="*/ 502 w 510"/>
                  <a:gd name="T67" fmla="*/ 1 h 496"/>
                  <a:gd name="T68" fmla="*/ 495 w 510"/>
                  <a:gd name="T6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496">
                    <a:moveTo>
                      <a:pt x="480" y="301"/>
                    </a:moveTo>
                    <a:lnTo>
                      <a:pt x="405" y="301"/>
                    </a:lnTo>
                    <a:lnTo>
                      <a:pt x="402" y="301"/>
                    </a:lnTo>
                    <a:lnTo>
                      <a:pt x="399" y="302"/>
                    </a:lnTo>
                    <a:lnTo>
                      <a:pt x="397" y="303"/>
                    </a:lnTo>
                    <a:lnTo>
                      <a:pt x="395" y="305"/>
                    </a:lnTo>
                    <a:lnTo>
                      <a:pt x="392" y="307"/>
                    </a:lnTo>
                    <a:lnTo>
                      <a:pt x="391" y="311"/>
                    </a:lnTo>
                    <a:lnTo>
                      <a:pt x="390" y="313"/>
                    </a:lnTo>
                    <a:lnTo>
                      <a:pt x="390" y="316"/>
                    </a:lnTo>
                    <a:lnTo>
                      <a:pt x="390" y="442"/>
                    </a:lnTo>
                    <a:lnTo>
                      <a:pt x="266" y="306"/>
                    </a:lnTo>
                    <a:lnTo>
                      <a:pt x="264" y="304"/>
                    </a:lnTo>
                    <a:lnTo>
                      <a:pt x="261" y="302"/>
                    </a:lnTo>
                    <a:lnTo>
                      <a:pt x="258" y="301"/>
                    </a:lnTo>
                    <a:lnTo>
                      <a:pt x="256" y="301"/>
                    </a:lnTo>
                    <a:lnTo>
                      <a:pt x="30" y="301"/>
                    </a:lnTo>
                    <a:lnTo>
                      <a:pt x="30" y="30"/>
                    </a:lnTo>
                    <a:lnTo>
                      <a:pt x="480" y="30"/>
                    </a:lnTo>
                    <a:lnTo>
                      <a:pt x="480" y="301"/>
                    </a:lnTo>
                    <a:close/>
                    <a:moveTo>
                      <a:pt x="495" y="0"/>
                    </a:moveTo>
                    <a:lnTo>
                      <a:pt x="15" y="0"/>
                    </a:lnTo>
                    <a:lnTo>
                      <a:pt x="12" y="1"/>
                    </a:lnTo>
                    <a:lnTo>
                      <a:pt x="9" y="1"/>
                    </a:lnTo>
                    <a:lnTo>
                      <a:pt x="6" y="3"/>
                    </a:lnTo>
                    <a:lnTo>
                      <a:pt x="4" y="5"/>
                    </a:lnTo>
                    <a:lnTo>
                      <a:pt x="2" y="7"/>
                    </a:lnTo>
                    <a:lnTo>
                      <a:pt x="1" y="10"/>
                    </a:lnTo>
                    <a:lnTo>
                      <a:pt x="0" y="12"/>
                    </a:lnTo>
                    <a:lnTo>
                      <a:pt x="0" y="15"/>
                    </a:lnTo>
                    <a:lnTo>
                      <a:pt x="0" y="316"/>
                    </a:lnTo>
                    <a:lnTo>
                      <a:pt x="0" y="319"/>
                    </a:lnTo>
                    <a:lnTo>
                      <a:pt x="1" y="321"/>
                    </a:lnTo>
                    <a:lnTo>
                      <a:pt x="2" y="324"/>
                    </a:lnTo>
                    <a:lnTo>
                      <a:pt x="4" y="327"/>
                    </a:lnTo>
                    <a:lnTo>
                      <a:pt x="6" y="329"/>
                    </a:lnTo>
                    <a:lnTo>
                      <a:pt x="9" y="330"/>
                    </a:lnTo>
                    <a:lnTo>
                      <a:pt x="12" y="331"/>
                    </a:lnTo>
                    <a:lnTo>
                      <a:pt x="15" y="331"/>
                    </a:lnTo>
                    <a:lnTo>
                      <a:pt x="248" y="331"/>
                    </a:lnTo>
                    <a:lnTo>
                      <a:pt x="395" y="491"/>
                    </a:lnTo>
                    <a:lnTo>
                      <a:pt x="397" y="494"/>
                    </a:lnTo>
                    <a:lnTo>
                      <a:pt x="399" y="495"/>
                    </a:lnTo>
                    <a:lnTo>
                      <a:pt x="402" y="496"/>
                    </a:lnTo>
                    <a:lnTo>
                      <a:pt x="405" y="496"/>
                    </a:lnTo>
                    <a:lnTo>
                      <a:pt x="407" y="496"/>
                    </a:lnTo>
                    <a:lnTo>
                      <a:pt x="411" y="495"/>
                    </a:lnTo>
                    <a:lnTo>
                      <a:pt x="415" y="493"/>
                    </a:lnTo>
                    <a:lnTo>
                      <a:pt x="417" y="489"/>
                    </a:lnTo>
                    <a:lnTo>
                      <a:pt x="419" y="486"/>
                    </a:lnTo>
                    <a:lnTo>
                      <a:pt x="420" y="481"/>
                    </a:lnTo>
                    <a:lnTo>
                      <a:pt x="420" y="331"/>
                    </a:lnTo>
                    <a:lnTo>
                      <a:pt x="495" y="331"/>
                    </a:lnTo>
                    <a:lnTo>
                      <a:pt x="498" y="331"/>
                    </a:lnTo>
                    <a:lnTo>
                      <a:pt x="502" y="330"/>
                    </a:lnTo>
                    <a:lnTo>
                      <a:pt x="504" y="329"/>
                    </a:lnTo>
                    <a:lnTo>
                      <a:pt x="506" y="327"/>
                    </a:lnTo>
                    <a:lnTo>
                      <a:pt x="508" y="324"/>
                    </a:lnTo>
                    <a:lnTo>
                      <a:pt x="509" y="321"/>
                    </a:lnTo>
                    <a:lnTo>
                      <a:pt x="510" y="319"/>
                    </a:lnTo>
                    <a:lnTo>
                      <a:pt x="510" y="316"/>
                    </a:lnTo>
                    <a:lnTo>
                      <a:pt x="510" y="15"/>
                    </a:lnTo>
                    <a:lnTo>
                      <a:pt x="510" y="12"/>
                    </a:lnTo>
                    <a:lnTo>
                      <a:pt x="509" y="10"/>
                    </a:lnTo>
                    <a:lnTo>
                      <a:pt x="508" y="7"/>
                    </a:lnTo>
                    <a:lnTo>
                      <a:pt x="506" y="5"/>
                    </a:lnTo>
                    <a:lnTo>
                      <a:pt x="504" y="3"/>
                    </a:lnTo>
                    <a:lnTo>
                      <a:pt x="502" y="1"/>
                    </a:lnTo>
                    <a:lnTo>
                      <a:pt x="498" y="1"/>
                    </a:lnTo>
                    <a:lnTo>
                      <a:pt x="4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8" name="Rectangle 22">
              <a:extLst>
                <a:ext uri="{FF2B5EF4-FFF2-40B4-BE49-F238E27FC236}">
                  <a16:creationId xmlns:a16="http://schemas.microsoft.com/office/drawing/2014/main" id="{3D66A3B9-3C2D-4EED-8E35-CCB6EB6ABBE7}"/>
                </a:ext>
              </a:extLst>
            </p:cNvPr>
            <p:cNvSpPr/>
            <p:nvPr/>
          </p:nvSpPr>
          <p:spPr>
            <a:xfrm>
              <a:off x="4974675" y="4303406"/>
              <a:ext cx="1970885" cy="107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6">
            <a:extLst>
              <a:ext uri="{FF2B5EF4-FFF2-40B4-BE49-F238E27FC236}">
                <a16:creationId xmlns:a16="http://schemas.microsoft.com/office/drawing/2014/main" id="{123ADDD4-184C-4A00-9ABD-B7878063F3BA}"/>
              </a:ext>
            </a:extLst>
          </p:cNvPr>
          <p:cNvGrpSpPr/>
          <p:nvPr/>
        </p:nvGrpSpPr>
        <p:grpSpPr>
          <a:xfrm>
            <a:off x="284400" y="5417577"/>
            <a:ext cx="283177" cy="285619"/>
            <a:chOff x="284400" y="5417577"/>
            <a:chExt cx="283177" cy="285619"/>
          </a:xfrm>
        </p:grpSpPr>
        <p:sp>
          <p:nvSpPr>
            <p:cNvPr id="372" name="Freeform 31">
              <a:extLst>
                <a:ext uri="{FF2B5EF4-FFF2-40B4-BE49-F238E27FC236}">
                  <a16:creationId xmlns:a16="http://schemas.microsoft.com/office/drawing/2014/main" id="{D70FBF22-3D6B-4637-9526-96A5B96965B5}"/>
                </a:ext>
              </a:extLst>
            </p:cNvPr>
            <p:cNvSpPr>
              <a:spLocks/>
            </p:cNvSpPr>
            <p:nvPr/>
          </p:nvSpPr>
          <p:spPr bwMode="auto">
            <a:xfrm>
              <a:off x="284400" y="5581136"/>
              <a:ext cx="113515" cy="122059"/>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2">
              <a:extLst>
                <a:ext uri="{FF2B5EF4-FFF2-40B4-BE49-F238E27FC236}">
                  <a16:creationId xmlns:a16="http://schemas.microsoft.com/office/drawing/2014/main" id="{EDA5C10C-CB6B-461D-8BF5-BC5D407113C3}"/>
                </a:ext>
              </a:extLst>
            </p:cNvPr>
            <p:cNvSpPr>
              <a:spLocks/>
            </p:cNvSpPr>
            <p:nvPr/>
          </p:nvSpPr>
          <p:spPr bwMode="auto">
            <a:xfrm>
              <a:off x="456503" y="5584798"/>
              <a:ext cx="111074" cy="11839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33">
              <a:extLst>
                <a:ext uri="{FF2B5EF4-FFF2-40B4-BE49-F238E27FC236}">
                  <a16:creationId xmlns:a16="http://schemas.microsoft.com/office/drawing/2014/main" id="{6DD9F489-CC7C-418D-9161-11F622826D58}"/>
                </a:ext>
              </a:extLst>
            </p:cNvPr>
            <p:cNvSpPr>
              <a:spLocks noEditPoints="1"/>
            </p:cNvSpPr>
            <p:nvPr/>
          </p:nvSpPr>
          <p:spPr bwMode="auto">
            <a:xfrm>
              <a:off x="313694" y="5417577"/>
              <a:ext cx="227030" cy="225810"/>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34">
              <a:extLst>
                <a:ext uri="{FF2B5EF4-FFF2-40B4-BE49-F238E27FC236}">
                  <a16:creationId xmlns:a16="http://schemas.microsoft.com/office/drawing/2014/main" id="{B691A180-439B-4CA0-AF47-9C0CE39A3798}"/>
                </a:ext>
              </a:extLst>
            </p:cNvPr>
            <p:cNvSpPr>
              <a:spLocks noEditPoints="1"/>
            </p:cNvSpPr>
            <p:nvPr/>
          </p:nvSpPr>
          <p:spPr bwMode="auto">
            <a:xfrm>
              <a:off x="367400" y="5465180"/>
              <a:ext cx="119618" cy="119618"/>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9" name="Freeform 61">
            <a:extLst>
              <a:ext uri="{FF2B5EF4-FFF2-40B4-BE49-F238E27FC236}">
                <a16:creationId xmlns:a16="http://schemas.microsoft.com/office/drawing/2014/main" id="{210CD568-5C79-461B-9B7B-A2C6218C9757}"/>
              </a:ext>
            </a:extLst>
          </p:cNvPr>
          <p:cNvSpPr>
            <a:spLocks noEditPoints="1"/>
          </p:cNvSpPr>
          <p:nvPr/>
        </p:nvSpPr>
        <p:spPr bwMode="auto">
          <a:xfrm>
            <a:off x="9088472" y="5417577"/>
            <a:ext cx="209942" cy="205060"/>
          </a:xfrm>
          <a:custGeom>
            <a:avLst/>
            <a:gdLst>
              <a:gd name="T0" fmla="*/ 25 w 70"/>
              <a:gd name="T1" fmla="*/ 63 h 69"/>
              <a:gd name="T2" fmla="*/ 10 w 70"/>
              <a:gd name="T3" fmla="*/ 52 h 69"/>
              <a:gd name="T4" fmla="*/ 4 w 70"/>
              <a:gd name="T5" fmla="*/ 34 h 69"/>
              <a:gd name="T6" fmla="*/ 10 w 70"/>
              <a:gd name="T7" fmla="*/ 17 h 69"/>
              <a:gd name="T8" fmla="*/ 25 w 70"/>
              <a:gd name="T9" fmla="*/ 6 h 69"/>
              <a:gd name="T10" fmla="*/ 45 w 70"/>
              <a:gd name="T11" fmla="*/ 6 h 69"/>
              <a:gd name="T12" fmla="*/ 60 w 70"/>
              <a:gd name="T13" fmla="*/ 17 h 69"/>
              <a:gd name="T14" fmla="*/ 66 w 70"/>
              <a:gd name="T15" fmla="*/ 34 h 69"/>
              <a:gd name="T16" fmla="*/ 60 w 70"/>
              <a:gd name="T17" fmla="*/ 52 h 69"/>
              <a:gd name="T18" fmla="*/ 45 w 70"/>
              <a:gd name="T19" fmla="*/ 63 h 69"/>
              <a:gd name="T20" fmla="*/ 26 w 70"/>
              <a:gd name="T21" fmla="*/ 58 h 69"/>
              <a:gd name="T22" fmla="*/ 28 w 70"/>
              <a:gd name="T23" fmla="*/ 60 h 69"/>
              <a:gd name="T24" fmla="*/ 42 w 70"/>
              <a:gd name="T25" fmla="*/ 60 h 69"/>
              <a:gd name="T26" fmla="*/ 45 w 70"/>
              <a:gd name="T27" fmla="*/ 59 h 69"/>
              <a:gd name="T28" fmla="*/ 56 w 70"/>
              <a:gd name="T29" fmla="*/ 51 h 69"/>
              <a:gd name="T30" fmla="*/ 58 w 70"/>
              <a:gd name="T31" fmla="*/ 48 h 69"/>
              <a:gd name="T32" fmla="*/ 62 w 70"/>
              <a:gd name="T33" fmla="*/ 36 h 69"/>
              <a:gd name="T34" fmla="*/ 62 w 70"/>
              <a:gd name="T35" fmla="*/ 33 h 69"/>
              <a:gd name="T36" fmla="*/ 58 w 70"/>
              <a:gd name="T37" fmla="*/ 20 h 69"/>
              <a:gd name="T38" fmla="*/ 56 w 70"/>
              <a:gd name="T39" fmla="*/ 18 h 69"/>
              <a:gd name="T40" fmla="*/ 45 w 70"/>
              <a:gd name="T41" fmla="*/ 10 h 69"/>
              <a:gd name="T42" fmla="*/ 42 w 70"/>
              <a:gd name="T43" fmla="*/ 9 h 69"/>
              <a:gd name="T44" fmla="*/ 28 w 70"/>
              <a:gd name="T45" fmla="*/ 9 h 69"/>
              <a:gd name="T46" fmla="*/ 25 w 70"/>
              <a:gd name="T47" fmla="*/ 10 h 69"/>
              <a:gd name="T48" fmla="*/ 14 w 70"/>
              <a:gd name="T49" fmla="*/ 17 h 69"/>
              <a:gd name="T50" fmla="*/ 12 w 70"/>
              <a:gd name="T51" fmla="*/ 20 h 69"/>
              <a:gd name="T52" fmla="*/ 5 w 70"/>
              <a:gd name="T53" fmla="*/ 25 h 69"/>
              <a:gd name="T54" fmla="*/ 9 w 70"/>
              <a:gd name="T55" fmla="*/ 34 h 69"/>
              <a:gd name="T56" fmla="*/ 5 w 70"/>
              <a:gd name="T57" fmla="*/ 44 h 69"/>
              <a:gd name="T58" fmla="*/ 14 w 70"/>
              <a:gd name="T59" fmla="*/ 49 h 69"/>
              <a:gd name="T60" fmla="*/ 17 w 70"/>
              <a:gd name="T61" fmla="*/ 59 h 69"/>
              <a:gd name="T62" fmla="*/ 26 w 70"/>
              <a:gd name="T63"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69">
                <a:moveTo>
                  <a:pt x="35" y="69"/>
                </a:moveTo>
                <a:cubicBezTo>
                  <a:pt x="31" y="69"/>
                  <a:pt x="27" y="67"/>
                  <a:pt x="25" y="63"/>
                </a:cubicBezTo>
                <a:cubicBezTo>
                  <a:pt x="22" y="65"/>
                  <a:pt x="18" y="64"/>
                  <a:pt x="14" y="62"/>
                </a:cubicBezTo>
                <a:cubicBezTo>
                  <a:pt x="11" y="60"/>
                  <a:pt x="9" y="56"/>
                  <a:pt x="10" y="52"/>
                </a:cubicBezTo>
                <a:cubicBezTo>
                  <a:pt x="6" y="52"/>
                  <a:pt x="3" y="49"/>
                  <a:pt x="2" y="45"/>
                </a:cubicBezTo>
                <a:cubicBezTo>
                  <a:pt x="0" y="41"/>
                  <a:pt x="1" y="37"/>
                  <a:pt x="4" y="34"/>
                </a:cubicBezTo>
                <a:cubicBezTo>
                  <a:pt x="1" y="31"/>
                  <a:pt x="0" y="27"/>
                  <a:pt x="2" y="24"/>
                </a:cubicBezTo>
                <a:cubicBezTo>
                  <a:pt x="3" y="20"/>
                  <a:pt x="6" y="17"/>
                  <a:pt x="10" y="17"/>
                </a:cubicBezTo>
                <a:cubicBezTo>
                  <a:pt x="9" y="13"/>
                  <a:pt x="11" y="9"/>
                  <a:pt x="14" y="7"/>
                </a:cubicBezTo>
                <a:cubicBezTo>
                  <a:pt x="18" y="4"/>
                  <a:pt x="22" y="4"/>
                  <a:pt x="25" y="6"/>
                </a:cubicBezTo>
                <a:cubicBezTo>
                  <a:pt x="27" y="2"/>
                  <a:pt x="31" y="0"/>
                  <a:pt x="35" y="0"/>
                </a:cubicBezTo>
                <a:cubicBezTo>
                  <a:pt x="39" y="0"/>
                  <a:pt x="43" y="2"/>
                  <a:pt x="45" y="6"/>
                </a:cubicBezTo>
                <a:cubicBezTo>
                  <a:pt x="48" y="4"/>
                  <a:pt x="52" y="4"/>
                  <a:pt x="56" y="7"/>
                </a:cubicBezTo>
                <a:cubicBezTo>
                  <a:pt x="59" y="9"/>
                  <a:pt x="61" y="13"/>
                  <a:pt x="60" y="17"/>
                </a:cubicBezTo>
                <a:cubicBezTo>
                  <a:pt x="64" y="17"/>
                  <a:pt x="67" y="20"/>
                  <a:pt x="68" y="24"/>
                </a:cubicBezTo>
                <a:cubicBezTo>
                  <a:pt x="70" y="28"/>
                  <a:pt x="69" y="32"/>
                  <a:pt x="66" y="34"/>
                </a:cubicBezTo>
                <a:cubicBezTo>
                  <a:pt x="69" y="37"/>
                  <a:pt x="70" y="41"/>
                  <a:pt x="68" y="45"/>
                </a:cubicBezTo>
                <a:cubicBezTo>
                  <a:pt x="67" y="49"/>
                  <a:pt x="64" y="52"/>
                  <a:pt x="60" y="52"/>
                </a:cubicBezTo>
                <a:cubicBezTo>
                  <a:pt x="61" y="56"/>
                  <a:pt x="59" y="60"/>
                  <a:pt x="56" y="62"/>
                </a:cubicBezTo>
                <a:cubicBezTo>
                  <a:pt x="52" y="64"/>
                  <a:pt x="48" y="65"/>
                  <a:pt x="45" y="63"/>
                </a:cubicBezTo>
                <a:cubicBezTo>
                  <a:pt x="43" y="67"/>
                  <a:pt x="39" y="69"/>
                  <a:pt x="35" y="69"/>
                </a:cubicBezTo>
                <a:close/>
                <a:moveTo>
                  <a:pt x="26" y="58"/>
                </a:moveTo>
                <a:cubicBezTo>
                  <a:pt x="27" y="58"/>
                  <a:pt x="27" y="58"/>
                  <a:pt x="27" y="58"/>
                </a:cubicBezTo>
                <a:cubicBezTo>
                  <a:pt x="28" y="59"/>
                  <a:pt x="28" y="59"/>
                  <a:pt x="28" y="60"/>
                </a:cubicBezTo>
                <a:cubicBezTo>
                  <a:pt x="29" y="63"/>
                  <a:pt x="32" y="65"/>
                  <a:pt x="35" y="65"/>
                </a:cubicBezTo>
                <a:cubicBezTo>
                  <a:pt x="38" y="65"/>
                  <a:pt x="41" y="63"/>
                  <a:pt x="42" y="60"/>
                </a:cubicBezTo>
                <a:cubicBezTo>
                  <a:pt x="42" y="59"/>
                  <a:pt x="42" y="59"/>
                  <a:pt x="43" y="59"/>
                </a:cubicBezTo>
                <a:cubicBezTo>
                  <a:pt x="44" y="58"/>
                  <a:pt x="44" y="58"/>
                  <a:pt x="45" y="59"/>
                </a:cubicBezTo>
                <a:cubicBezTo>
                  <a:pt x="48" y="61"/>
                  <a:pt x="51" y="61"/>
                  <a:pt x="53" y="59"/>
                </a:cubicBezTo>
                <a:cubicBezTo>
                  <a:pt x="56" y="57"/>
                  <a:pt x="57" y="54"/>
                  <a:pt x="56" y="51"/>
                </a:cubicBezTo>
                <a:cubicBezTo>
                  <a:pt x="56" y="51"/>
                  <a:pt x="56" y="50"/>
                  <a:pt x="56" y="49"/>
                </a:cubicBezTo>
                <a:cubicBezTo>
                  <a:pt x="56" y="49"/>
                  <a:pt x="57" y="48"/>
                  <a:pt x="58" y="48"/>
                </a:cubicBezTo>
                <a:cubicBezTo>
                  <a:pt x="61" y="48"/>
                  <a:pt x="64" y="47"/>
                  <a:pt x="65" y="44"/>
                </a:cubicBezTo>
                <a:cubicBezTo>
                  <a:pt x="66" y="41"/>
                  <a:pt x="65" y="38"/>
                  <a:pt x="62" y="36"/>
                </a:cubicBezTo>
                <a:cubicBezTo>
                  <a:pt x="61" y="36"/>
                  <a:pt x="61" y="35"/>
                  <a:pt x="61" y="34"/>
                </a:cubicBezTo>
                <a:cubicBezTo>
                  <a:pt x="61" y="34"/>
                  <a:pt x="61" y="33"/>
                  <a:pt x="62" y="33"/>
                </a:cubicBezTo>
                <a:cubicBezTo>
                  <a:pt x="65" y="31"/>
                  <a:pt x="66" y="28"/>
                  <a:pt x="65" y="25"/>
                </a:cubicBezTo>
                <a:cubicBezTo>
                  <a:pt x="64" y="22"/>
                  <a:pt x="61" y="20"/>
                  <a:pt x="58" y="20"/>
                </a:cubicBezTo>
                <a:cubicBezTo>
                  <a:pt x="57" y="20"/>
                  <a:pt x="57" y="20"/>
                  <a:pt x="56" y="19"/>
                </a:cubicBezTo>
                <a:cubicBezTo>
                  <a:pt x="56" y="19"/>
                  <a:pt x="56" y="18"/>
                  <a:pt x="56" y="18"/>
                </a:cubicBezTo>
                <a:cubicBezTo>
                  <a:pt x="57" y="15"/>
                  <a:pt x="56" y="12"/>
                  <a:pt x="53" y="10"/>
                </a:cubicBezTo>
                <a:cubicBezTo>
                  <a:pt x="51" y="8"/>
                  <a:pt x="47" y="8"/>
                  <a:pt x="45" y="10"/>
                </a:cubicBezTo>
                <a:cubicBezTo>
                  <a:pt x="44" y="10"/>
                  <a:pt x="44" y="10"/>
                  <a:pt x="43" y="10"/>
                </a:cubicBezTo>
                <a:cubicBezTo>
                  <a:pt x="42" y="10"/>
                  <a:pt x="42" y="10"/>
                  <a:pt x="42" y="9"/>
                </a:cubicBezTo>
                <a:cubicBezTo>
                  <a:pt x="41" y="6"/>
                  <a:pt x="38" y="4"/>
                  <a:pt x="35" y="4"/>
                </a:cubicBezTo>
                <a:cubicBezTo>
                  <a:pt x="32" y="4"/>
                  <a:pt x="29" y="6"/>
                  <a:pt x="28" y="9"/>
                </a:cubicBezTo>
                <a:cubicBezTo>
                  <a:pt x="28" y="9"/>
                  <a:pt x="28" y="10"/>
                  <a:pt x="27" y="10"/>
                </a:cubicBezTo>
                <a:cubicBezTo>
                  <a:pt x="26" y="10"/>
                  <a:pt x="26" y="10"/>
                  <a:pt x="25" y="10"/>
                </a:cubicBezTo>
                <a:cubicBezTo>
                  <a:pt x="22" y="8"/>
                  <a:pt x="19" y="8"/>
                  <a:pt x="17" y="10"/>
                </a:cubicBezTo>
                <a:cubicBezTo>
                  <a:pt x="14" y="12"/>
                  <a:pt x="13" y="15"/>
                  <a:pt x="14" y="17"/>
                </a:cubicBezTo>
                <a:cubicBezTo>
                  <a:pt x="14" y="18"/>
                  <a:pt x="14" y="19"/>
                  <a:pt x="14" y="19"/>
                </a:cubicBezTo>
                <a:cubicBezTo>
                  <a:pt x="14" y="20"/>
                  <a:pt x="13" y="20"/>
                  <a:pt x="12" y="20"/>
                </a:cubicBezTo>
                <a:cubicBezTo>
                  <a:pt x="12" y="20"/>
                  <a:pt x="12" y="20"/>
                  <a:pt x="12" y="20"/>
                </a:cubicBezTo>
                <a:cubicBezTo>
                  <a:pt x="9" y="20"/>
                  <a:pt x="6" y="22"/>
                  <a:pt x="5" y="25"/>
                </a:cubicBezTo>
                <a:cubicBezTo>
                  <a:pt x="4" y="28"/>
                  <a:pt x="5" y="31"/>
                  <a:pt x="8" y="33"/>
                </a:cubicBezTo>
                <a:cubicBezTo>
                  <a:pt x="9" y="33"/>
                  <a:pt x="9" y="34"/>
                  <a:pt x="9" y="34"/>
                </a:cubicBezTo>
                <a:cubicBezTo>
                  <a:pt x="9" y="35"/>
                  <a:pt x="9" y="36"/>
                  <a:pt x="8" y="36"/>
                </a:cubicBezTo>
                <a:cubicBezTo>
                  <a:pt x="5" y="38"/>
                  <a:pt x="4" y="41"/>
                  <a:pt x="5" y="44"/>
                </a:cubicBezTo>
                <a:cubicBezTo>
                  <a:pt x="6" y="47"/>
                  <a:pt x="9" y="48"/>
                  <a:pt x="12" y="48"/>
                </a:cubicBezTo>
                <a:cubicBezTo>
                  <a:pt x="13" y="48"/>
                  <a:pt x="13" y="49"/>
                  <a:pt x="14" y="49"/>
                </a:cubicBezTo>
                <a:cubicBezTo>
                  <a:pt x="14" y="50"/>
                  <a:pt x="14" y="51"/>
                  <a:pt x="14" y="51"/>
                </a:cubicBezTo>
                <a:cubicBezTo>
                  <a:pt x="13" y="54"/>
                  <a:pt x="14" y="57"/>
                  <a:pt x="17" y="59"/>
                </a:cubicBezTo>
                <a:cubicBezTo>
                  <a:pt x="19" y="61"/>
                  <a:pt x="23" y="61"/>
                  <a:pt x="25" y="59"/>
                </a:cubicBezTo>
                <a:cubicBezTo>
                  <a:pt x="25" y="59"/>
                  <a:pt x="26" y="58"/>
                  <a:pt x="26" y="5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0" name="Freeform 62">
            <a:extLst>
              <a:ext uri="{FF2B5EF4-FFF2-40B4-BE49-F238E27FC236}">
                <a16:creationId xmlns:a16="http://schemas.microsoft.com/office/drawing/2014/main" id="{FF0CFA72-6860-4446-913C-7BEAD942BAEC}"/>
              </a:ext>
            </a:extLst>
          </p:cNvPr>
          <p:cNvSpPr>
            <a:spLocks/>
          </p:cNvSpPr>
          <p:nvPr/>
        </p:nvSpPr>
        <p:spPr bwMode="auto">
          <a:xfrm>
            <a:off x="9138517" y="5620196"/>
            <a:ext cx="108633" cy="83000"/>
          </a:xfrm>
          <a:custGeom>
            <a:avLst/>
            <a:gdLst>
              <a:gd name="T0" fmla="*/ 34 w 36"/>
              <a:gd name="T1" fmla="*/ 28 h 28"/>
              <a:gd name="T2" fmla="*/ 33 w 36"/>
              <a:gd name="T3" fmla="*/ 27 h 28"/>
              <a:gd name="T4" fmla="*/ 18 w 36"/>
              <a:gd name="T5" fmla="*/ 13 h 28"/>
              <a:gd name="T6" fmla="*/ 3 w 36"/>
              <a:gd name="T7" fmla="*/ 27 h 28"/>
              <a:gd name="T8" fmla="*/ 1 w 36"/>
              <a:gd name="T9" fmla="*/ 28 h 28"/>
              <a:gd name="T10" fmla="*/ 0 w 36"/>
              <a:gd name="T11" fmla="*/ 26 h 28"/>
              <a:gd name="T12" fmla="*/ 0 w 36"/>
              <a:gd name="T13" fmla="*/ 0 h 28"/>
              <a:gd name="T14" fmla="*/ 4 w 36"/>
              <a:gd name="T15" fmla="*/ 0 h 28"/>
              <a:gd name="T16" fmla="*/ 4 w 36"/>
              <a:gd name="T17" fmla="*/ 21 h 28"/>
              <a:gd name="T18" fmla="*/ 17 w 36"/>
              <a:gd name="T19" fmla="*/ 9 h 28"/>
              <a:gd name="T20" fmla="*/ 19 w 36"/>
              <a:gd name="T21" fmla="*/ 9 h 28"/>
              <a:gd name="T22" fmla="*/ 32 w 36"/>
              <a:gd name="T23" fmla="*/ 21 h 28"/>
              <a:gd name="T24" fmla="*/ 32 w 36"/>
              <a:gd name="T25" fmla="*/ 0 h 28"/>
              <a:gd name="T26" fmla="*/ 36 w 36"/>
              <a:gd name="T27" fmla="*/ 0 h 28"/>
              <a:gd name="T28" fmla="*/ 36 w 36"/>
              <a:gd name="T29" fmla="*/ 26 h 28"/>
              <a:gd name="T30" fmla="*/ 35 w 36"/>
              <a:gd name="T31" fmla="*/ 28 h 28"/>
              <a:gd name="T32" fmla="*/ 34 w 3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
                <a:moveTo>
                  <a:pt x="34" y="28"/>
                </a:moveTo>
                <a:cubicBezTo>
                  <a:pt x="33" y="28"/>
                  <a:pt x="33" y="28"/>
                  <a:pt x="33" y="27"/>
                </a:cubicBezTo>
                <a:cubicBezTo>
                  <a:pt x="18" y="13"/>
                  <a:pt x="18" y="13"/>
                  <a:pt x="18" y="13"/>
                </a:cubicBezTo>
                <a:cubicBezTo>
                  <a:pt x="3" y="27"/>
                  <a:pt x="3" y="27"/>
                  <a:pt x="3" y="27"/>
                </a:cubicBezTo>
                <a:cubicBezTo>
                  <a:pt x="3" y="28"/>
                  <a:pt x="2" y="28"/>
                  <a:pt x="1" y="28"/>
                </a:cubicBezTo>
                <a:cubicBezTo>
                  <a:pt x="0" y="28"/>
                  <a:pt x="0" y="27"/>
                  <a:pt x="0" y="26"/>
                </a:cubicBezTo>
                <a:cubicBezTo>
                  <a:pt x="0" y="0"/>
                  <a:pt x="0" y="0"/>
                  <a:pt x="0" y="0"/>
                </a:cubicBezTo>
                <a:cubicBezTo>
                  <a:pt x="4" y="0"/>
                  <a:pt x="4" y="0"/>
                  <a:pt x="4" y="0"/>
                </a:cubicBezTo>
                <a:cubicBezTo>
                  <a:pt x="4" y="21"/>
                  <a:pt x="4" y="21"/>
                  <a:pt x="4" y="21"/>
                </a:cubicBezTo>
                <a:cubicBezTo>
                  <a:pt x="17" y="9"/>
                  <a:pt x="17" y="9"/>
                  <a:pt x="17" y="9"/>
                </a:cubicBezTo>
                <a:cubicBezTo>
                  <a:pt x="17" y="8"/>
                  <a:pt x="19" y="8"/>
                  <a:pt x="19" y="9"/>
                </a:cubicBezTo>
                <a:cubicBezTo>
                  <a:pt x="32" y="21"/>
                  <a:pt x="32" y="21"/>
                  <a:pt x="32" y="21"/>
                </a:cubicBezTo>
                <a:cubicBezTo>
                  <a:pt x="32" y="0"/>
                  <a:pt x="32" y="0"/>
                  <a:pt x="32" y="0"/>
                </a:cubicBezTo>
                <a:cubicBezTo>
                  <a:pt x="36" y="0"/>
                  <a:pt x="36" y="0"/>
                  <a:pt x="36" y="0"/>
                </a:cubicBezTo>
                <a:cubicBezTo>
                  <a:pt x="36" y="26"/>
                  <a:pt x="36" y="26"/>
                  <a:pt x="36" y="26"/>
                </a:cubicBezTo>
                <a:cubicBezTo>
                  <a:pt x="36" y="27"/>
                  <a:pt x="36" y="28"/>
                  <a:pt x="35" y="28"/>
                </a:cubicBezTo>
                <a:cubicBezTo>
                  <a:pt x="35" y="28"/>
                  <a:pt x="34" y="28"/>
                  <a:pt x="34" y="2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1" name="Freeform 63">
            <a:extLst>
              <a:ext uri="{FF2B5EF4-FFF2-40B4-BE49-F238E27FC236}">
                <a16:creationId xmlns:a16="http://schemas.microsoft.com/office/drawing/2014/main" id="{C88648E9-D26E-46B3-B2BF-B9BF2979788A}"/>
              </a:ext>
            </a:extLst>
          </p:cNvPr>
          <p:cNvSpPr>
            <a:spLocks noEditPoints="1"/>
          </p:cNvSpPr>
          <p:nvPr/>
        </p:nvSpPr>
        <p:spPr bwMode="auto">
          <a:xfrm>
            <a:off x="9133634" y="5452975"/>
            <a:ext cx="119618" cy="119618"/>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8" name="Gruppieren 37">
            <a:extLst>
              <a:ext uri="{FF2B5EF4-FFF2-40B4-BE49-F238E27FC236}">
                <a16:creationId xmlns:a16="http://schemas.microsoft.com/office/drawing/2014/main" id="{F0A39489-6CE0-4CB3-9E6A-64740AB992B4}"/>
              </a:ext>
            </a:extLst>
          </p:cNvPr>
          <p:cNvGrpSpPr/>
          <p:nvPr/>
        </p:nvGrpSpPr>
        <p:grpSpPr>
          <a:xfrm>
            <a:off x="1078931" y="5417577"/>
            <a:ext cx="280737" cy="285619"/>
            <a:chOff x="9379778" y="5417577"/>
            <a:chExt cx="280737" cy="285619"/>
          </a:xfrm>
        </p:grpSpPr>
        <p:sp>
          <p:nvSpPr>
            <p:cNvPr id="1047" name="Freeform 42">
              <a:extLst>
                <a:ext uri="{FF2B5EF4-FFF2-40B4-BE49-F238E27FC236}">
                  <a16:creationId xmlns:a16="http://schemas.microsoft.com/office/drawing/2014/main" id="{52451238-9577-456A-AADE-A5653491B587}"/>
                </a:ext>
              </a:extLst>
            </p:cNvPr>
            <p:cNvSpPr>
              <a:spLocks noEditPoints="1"/>
            </p:cNvSpPr>
            <p:nvPr/>
          </p:nvSpPr>
          <p:spPr bwMode="auto">
            <a:xfrm>
              <a:off x="9412734" y="5417577"/>
              <a:ext cx="214825" cy="214824"/>
            </a:xfrm>
            <a:custGeom>
              <a:avLst/>
              <a:gdLst>
                <a:gd name="T0" fmla="*/ 34 w 72"/>
                <a:gd name="T1" fmla="*/ 71 h 72"/>
                <a:gd name="T2" fmla="*/ 24 w 72"/>
                <a:gd name="T3" fmla="*/ 69 h 72"/>
                <a:gd name="T4" fmla="*/ 21 w 72"/>
                <a:gd name="T5" fmla="*/ 68 h 72"/>
                <a:gd name="T6" fmla="*/ 12 w 72"/>
                <a:gd name="T7" fmla="*/ 62 h 72"/>
                <a:gd name="T8" fmla="*/ 10 w 72"/>
                <a:gd name="T9" fmla="*/ 60 h 72"/>
                <a:gd name="T10" fmla="*/ 4 w 72"/>
                <a:gd name="T11" fmla="*/ 51 h 72"/>
                <a:gd name="T12" fmla="*/ 3 w 72"/>
                <a:gd name="T13" fmla="*/ 48 h 72"/>
                <a:gd name="T14" fmla="*/ 1 w 72"/>
                <a:gd name="T15" fmla="*/ 38 h 72"/>
                <a:gd name="T16" fmla="*/ 1 w 72"/>
                <a:gd name="T17" fmla="*/ 34 h 72"/>
                <a:gd name="T18" fmla="*/ 3 w 72"/>
                <a:gd name="T19" fmla="*/ 24 h 72"/>
                <a:gd name="T20" fmla="*/ 4 w 72"/>
                <a:gd name="T21" fmla="*/ 21 h 72"/>
                <a:gd name="T22" fmla="*/ 10 w 72"/>
                <a:gd name="T23" fmla="*/ 12 h 72"/>
                <a:gd name="T24" fmla="*/ 12 w 72"/>
                <a:gd name="T25" fmla="*/ 10 h 72"/>
                <a:gd name="T26" fmla="*/ 21 w 72"/>
                <a:gd name="T27" fmla="*/ 4 h 72"/>
                <a:gd name="T28" fmla="*/ 24 w 72"/>
                <a:gd name="T29" fmla="*/ 3 h 72"/>
                <a:gd name="T30" fmla="*/ 34 w 72"/>
                <a:gd name="T31" fmla="*/ 1 h 72"/>
                <a:gd name="T32" fmla="*/ 42 w 72"/>
                <a:gd name="T33" fmla="*/ 6 h 72"/>
                <a:gd name="T34" fmla="*/ 50 w 72"/>
                <a:gd name="T35" fmla="*/ 3 h 72"/>
                <a:gd name="T36" fmla="*/ 53 w 72"/>
                <a:gd name="T37" fmla="*/ 11 h 72"/>
                <a:gd name="T38" fmla="*/ 61 w 72"/>
                <a:gd name="T39" fmla="*/ 11 h 72"/>
                <a:gd name="T40" fmla="*/ 61 w 72"/>
                <a:gd name="T41" fmla="*/ 19 h 72"/>
                <a:gd name="T42" fmla="*/ 69 w 72"/>
                <a:gd name="T43" fmla="*/ 22 h 72"/>
                <a:gd name="T44" fmla="*/ 66 w 72"/>
                <a:gd name="T45" fmla="*/ 30 h 72"/>
                <a:gd name="T46" fmla="*/ 72 w 72"/>
                <a:gd name="T47" fmla="*/ 36 h 72"/>
                <a:gd name="T48" fmla="*/ 66 w 72"/>
                <a:gd name="T49" fmla="*/ 42 h 72"/>
                <a:gd name="T50" fmla="*/ 69 w 72"/>
                <a:gd name="T51" fmla="*/ 50 h 72"/>
                <a:gd name="T52" fmla="*/ 61 w 72"/>
                <a:gd name="T53" fmla="*/ 53 h 72"/>
                <a:gd name="T54" fmla="*/ 61 w 72"/>
                <a:gd name="T55" fmla="*/ 61 h 72"/>
                <a:gd name="T56" fmla="*/ 53 w 72"/>
                <a:gd name="T57" fmla="*/ 61 h 72"/>
                <a:gd name="T58" fmla="*/ 50 w 72"/>
                <a:gd name="T59" fmla="*/ 69 h 72"/>
                <a:gd name="T60" fmla="*/ 42 w 72"/>
                <a:gd name="T61" fmla="*/ 66 h 72"/>
                <a:gd name="T62" fmla="*/ 36 w 72"/>
                <a:gd name="T63" fmla="*/ 72 h 72"/>
                <a:gd name="T64" fmla="*/ 32 w 72"/>
                <a:gd name="T65" fmla="*/ 62 h 72"/>
                <a:gd name="T66" fmla="*/ 40 w 72"/>
                <a:gd name="T67" fmla="*/ 62 h 72"/>
                <a:gd name="T68" fmla="*/ 48 w 72"/>
                <a:gd name="T69" fmla="*/ 65 h 72"/>
                <a:gd name="T70" fmla="*/ 52 w 72"/>
                <a:gd name="T71" fmla="*/ 57 h 72"/>
                <a:gd name="T72" fmla="*/ 57 w 72"/>
                <a:gd name="T73" fmla="*/ 52 h 72"/>
                <a:gd name="T74" fmla="*/ 65 w 72"/>
                <a:gd name="T75" fmla="*/ 48 h 72"/>
                <a:gd name="T76" fmla="*/ 62 w 72"/>
                <a:gd name="T77" fmla="*/ 40 h 72"/>
                <a:gd name="T78" fmla="*/ 62 w 72"/>
                <a:gd name="T79" fmla="*/ 32 h 72"/>
                <a:gd name="T80" fmla="*/ 65 w 72"/>
                <a:gd name="T81" fmla="*/ 24 h 72"/>
                <a:gd name="T82" fmla="*/ 57 w 72"/>
                <a:gd name="T83" fmla="*/ 20 h 72"/>
                <a:gd name="T84" fmla="*/ 52 w 72"/>
                <a:gd name="T85" fmla="*/ 15 h 72"/>
                <a:gd name="T86" fmla="*/ 48 w 72"/>
                <a:gd name="T87" fmla="*/ 7 h 72"/>
                <a:gd name="T88" fmla="*/ 40 w 72"/>
                <a:gd name="T89" fmla="*/ 10 h 72"/>
                <a:gd name="T90" fmla="*/ 32 w 72"/>
                <a:gd name="T91" fmla="*/ 10 h 72"/>
                <a:gd name="T92" fmla="*/ 24 w 72"/>
                <a:gd name="T93" fmla="*/ 7 h 72"/>
                <a:gd name="T94" fmla="*/ 20 w 72"/>
                <a:gd name="T95" fmla="*/ 15 h 72"/>
                <a:gd name="T96" fmla="*/ 15 w 72"/>
                <a:gd name="T97" fmla="*/ 20 h 72"/>
                <a:gd name="T98" fmla="*/ 7 w 72"/>
                <a:gd name="T99" fmla="*/ 24 h 72"/>
                <a:gd name="T100" fmla="*/ 10 w 72"/>
                <a:gd name="T101" fmla="*/ 32 h 72"/>
                <a:gd name="T102" fmla="*/ 10 w 72"/>
                <a:gd name="T103" fmla="*/ 40 h 72"/>
                <a:gd name="T104" fmla="*/ 7 w 72"/>
                <a:gd name="T105" fmla="*/ 48 h 72"/>
                <a:gd name="T106" fmla="*/ 15 w 72"/>
                <a:gd name="T107" fmla="*/ 52 h 72"/>
                <a:gd name="T108" fmla="*/ 20 w 72"/>
                <a:gd name="T109" fmla="*/ 57 h 72"/>
                <a:gd name="T110" fmla="*/ 24 w 72"/>
                <a:gd name="T111" fmla="*/ 65 h 72"/>
                <a:gd name="T112" fmla="*/ 31 w 72"/>
                <a:gd name="T113"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 h="72">
                  <a:moveTo>
                    <a:pt x="36" y="72"/>
                  </a:moveTo>
                  <a:cubicBezTo>
                    <a:pt x="35" y="72"/>
                    <a:pt x="35" y="72"/>
                    <a:pt x="34" y="71"/>
                  </a:cubicBezTo>
                  <a:cubicBezTo>
                    <a:pt x="30" y="66"/>
                    <a:pt x="30" y="66"/>
                    <a:pt x="30" y="66"/>
                  </a:cubicBezTo>
                  <a:cubicBezTo>
                    <a:pt x="24" y="69"/>
                    <a:pt x="24" y="69"/>
                    <a:pt x="24" y="69"/>
                  </a:cubicBezTo>
                  <a:cubicBezTo>
                    <a:pt x="23" y="69"/>
                    <a:pt x="23" y="69"/>
                    <a:pt x="22" y="69"/>
                  </a:cubicBezTo>
                  <a:cubicBezTo>
                    <a:pt x="22" y="69"/>
                    <a:pt x="21" y="69"/>
                    <a:pt x="21" y="68"/>
                  </a:cubicBezTo>
                  <a:cubicBezTo>
                    <a:pt x="19" y="61"/>
                    <a:pt x="19" y="61"/>
                    <a:pt x="19" y="61"/>
                  </a:cubicBezTo>
                  <a:cubicBezTo>
                    <a:pt x="12" y="62"/>
                    <a:pt x="12" y="62"/>
                    <a:pt x="12" y="62"/>
                  </a:cubicBezTo>
                  <a:cubicBezTo>
                    <a:pt x="12" y="62"/>
                    <a:pt x="11" y="62"/>
                    <a:pt x="11" y="61"/>
                  </a:cubicBezTo>
                  <a:cubicBezTo>
                    <a:pt x="10" y="61"/>
                    <a:pt x="10" y="60"/>
                    <a:pt x="10" y="60"/>
                  </a:cubicBezTo>
                  <a:cubicBezTo>
                    <a:pt x="11" y="53"/>
                    <a:pt x="11" y="53"/>
                    <a:pt x="11" y="53"/>
                  </a:cubicBezTo>
                  <a:cubicBezTo>
                    <a:pt x="4" y="51"/>
                    <a:pt x="4" y="51"/>
                    <a:pt x="4" y="51"/>
                  </a:cubicBezTo>
                  <a:cubicBezTo>
                    <a:pt x="3" y="51"/>
                    <a:pt x="3" y="50"/>
                    <a:pt x="3" y="50"/>
                  </a:cubicBezTo>
                  <a:cubicBezTo>
                    <a:pt x="3" y="49"/>
                    <a:pt x="3" y="49"/>
                    <a:pt x="3" y="48"/>
                  </a:cubicBezTo>
                  <a:cubicBezTo>
                    <a:pt x="6" y="42"/>
                    <a:pt x="6" y="42"/>
                    <a:pt x="6" y="42"/>
                  </a:cubicBezTo>
                  <a:cubicBezTo>
                    <a:pt x="1" y="38"/>
                    <a:pt x="1" y="38"/>
                    <a:pt x="1" y="38"/>
                  </a:cubicBezTo>
                  <a:cubicBezTo>
                    <a:pt x="0" y="37"/>
                    <a:pt x="0" y="37"/>
                    <a:pt x="0" y="36"/>
                  </a:cubicBezTo>
                  <a:cubicBezTo>
                    <a:pt x="0" y="35"/>
                    <a:pt x="0" y="35"/>
                    <a:pt x="1" y="34"/>
                  </a:cubicBezTo>
                  <a:cubicBezTo>
                    <a:pt x="6" y="30"/>
                    <a:pt x="6" y="30"/>
                    <a:pt x="6" y="30"/>
                  </a:cubicBezTo>
                  <a:cubicBezTo>
                    <a:pt x="3" y="24"/>
                    <a:pt x="3" y="24"/>
                    <a:pt x="3" y="24"/>
                  </a:cubicBezTo>
                  <a:cubicBezTo>
                    <a:pt x="3" y="23"/>
                    <a:pt x="3" y="23"/>
                    <a:pt x="3" y="22"/>
                  </a:cubicBezTo>
                  <a:cubicBezTo>
                    <a:pt x="3" y="22"/>
                    <a:pt x="3" y="21"/>
                    <a:pt x="4" y="21"/>
                  </a:cubicBezTo>
                  <a:cubicBezTo>
                    <a:pt x="11" y="19"/>
                    <a:pt x="11" y="19"/>
                    <a:pt x="11" y="19"/>
                  </a:cubicBezTo>
                  <a:cubicBezTo>
                    <a:pt x="10" y="12"/>
                    <a:pt x="10" y="12"/>
                    <a:pt x="10" y="12"/>
                  </a:cubicBezTo>
                  <a:cubicBezTo>
                    <a:pt x="10" y="12"/>
                    <a:pt x="10" y="11"/>
                    <a:pt x="11" y="11"/>
                  </a:cubicBezTo>
                  <a:cubicBezTo>
                    <a:pt x="11" y="10"/>
                    <a:pt x="12" y="10"/>
                    <a:pt x="12" y="10"/>
                  </a:cubicBezTo>
                  <a:cubicBezTo>
                    <a:pt x="19" y="11"/>
                    <a:pt x="19" y="11"/>
                    <a:pt x="19" y="11"/>
                  </a:cubicBezTo>
                  <a:cubicBezTo>
                    <a:pt x="21" y="4"/>
                    <a:pt x="21" y="4"/>
                    <a:pt x="21" y="4"/>
                  </a:cubicBezTo>
                  <a:cubicBezTo>
                    <a:pt x="21" y="3"/>
                    <a:pt x="22" y="3"/>
                    <a:pt x="22" y="3"/>
                  </a:cubicBezTo>
                  <a:cubicBezTo>
                    <a:pt x="23" y="3"/>
                    <a:pt x="23" y="3"/>
                    <a:pt x="24" y="3"/>
                  </a:cubicBezTo>
                  <a:cubicBezTo>
                    <a:pt x="30" y="6"/>
                    <a:pt x="30" y="6"/>
                    <a:pt x="30" y="6"/>
                  </a:cubicBezTo>
                  <a:cubicBezTo>
                    <a:pt x="34" y="1"/>
                    <a:pt x="34" y="1"/>
                    <a:pt x="34" y="1"/>
                  </a:cubicBezTo>
                  <a:cubicBezTo>
                    <a:pt x="35" y="0"/>
                    <a:pt x="37" y="0"/>
                    <a:pt x="38" y="1"/>
                  </a:cubicBezTo>
                  <a:cubicBezTo>
                    <a:pt x="42" y="6"/>
                    <a:pt x="42" y="6"/>
                    <a:pt x="42" y="6"/>
                  </a:cubicBezTo>
                  <a:cubicBezTo>
                    <a:pt x="48" y="3"/>
                    <a:pt x="48" y="3"/>
                    <a:pt x="48" y="3"/>
                  </a:cubicBezTo>
                  <a:cubicBezTo>
                    <a:pt x="49" y="3"/>
                    <a:pt x="49" y="3"/>
                    <a:pt x="50" y="3"/>
                  </a:cubicBezTo>
                  <a:cubicBezTo>
                    <a:pt x="50" y="3"/>
                    <a:pt x="51" y="3"/>
                    <a:pt x="51" y="4"/>
                  </a:cubicBezTo>
                  <a:cubicBezTo>
                    <a:pt x="53" y="11"/>
                    <a:pt x="53" y="11"/>
                    <a:pt x="53" y="11"/>
                  </a:cubicBezTo>
                  <a:cubicBezTo>
                    <a:pt x="60" y="10"/>
                    <a:pt x="60" y="10"/>
                    <a:pt x="60" y="10"/>
                  </a:cubicBezTo>
                  <a:cubicBezTo>
                    <a:pt x="60" y="10"/>
                    <a:pt x="61" y="10"/>
                    <a:pt x="61" y="11"/>
                  </a:cubicBezTo>
                  <a:cubicBezTo>
                    <a:pt x="62" y="11"/>
                    <a:pt x="62" y="12"/>
                    <a:pt x="62" y="12"/>
                  </a:cubicBezTo>
                  <a:cubicBezTo>
                    <a:pt x="61" y="19"/>
                    <a:pt x="61" y="19"/>
                    <a:pt x="61" y="19"/>
                  </a:cubicBezTo>
                  <a:cubicBezTo>
                    <a:pt x="68" y="21"/>
                    <a:pt x="68" y="21"/>
                    <a:pt x="68" y="21"/>
                  </a:cubicBezTo>
                  <a:cubicBezTo>
                    <a:pt x="69" y="21"/>
                    <a:pt x="69" y="22"/>
                    <a:pt x="69" y="22"/>
                  </a:cubicBezTo>
                  <a:cubicBezTo>
                    <a:pt x="69" y="23"/>
                    <a:pt x="69" y="23"/>
                    <a:pt x="69" y="24"/>
                  </a:cubicBezTo>
                  <a:cubicBezTo>
                    <a:pt x="66" y="30"/>
                    <a:pt x="66" y="30"/>
                    <a:pt x="66" y="30"/>
                  </a:cubicBezTo>
                  <a:cubicBezTo>
                    <a:pt x="71" y="34"/>
                    <a:pt x="71" y="34"/>
                    <a:pt x="71" y="34"/>
                  </a:cubicBezTo>
                  <a:cubicBezTo>
                    <a:pt x="72" y="35"/>
                    <a:pt x="72" y="35"/>
                    <a:pt x="72" y="36"/>
                  </a:cubicBezTo>
                  <a:cubicBezTo>
                    <a:pt x="72" y="37"/>
                    <a:pt x="72" y="37"/>
                    <a:pt x="71" y="38"/>
                  </a:cubicBezTo>
                  <a:cubicBezTo>
                    <a:pt x="66" y="42"/>
                    <a:pt x="66" y="42"/>
                    <a:pt x="66" y="42"/>
                  </a:cubicBezTo>
                  <a:cubicBezTo>
                    <a:pt x="69" y="48"/>
                    <a:pt x="69" y="48"/>
                    <a:pt x="69" y="48"/>
                  </a:cubicBezTo>
                  <a:cubicBezTo>
                    <a:pt x="69" y="49"/>
                    <a:pt x="69" y="49"/>
                    <a:pt x="69" y="50"/>
                  </a:cubicBezTo>
                  <a:cubicBezTo>
                    <a:pt x="69" y="50"/>
                    <a:pt x="69" y="51"/>
                    <a:pt x="68" y="51"/>
                  </a:cubicBezTo>
                  <a:cubicBezTo>
                    <a:pt x="61" y="53"/>
                    <a:pt x="61" y="53"/>
                    <a:pt x="61" y="53"/>
                  </a:cubicBezTo>
                  <a:cubicBezTo>
                    <a:pt x="62" y="60"/>
                    <a:pt x="62" y="60"/>
                    <a:pt x="62" y="60"/>
                  </a:cubicBezTo>
                  <a:cubicBezTo>
                    <a:pt x="62" y="60"/>
                    <a:pt x="62" y="61"/>
                    <a:pt x="61" y="61"/>
                  </a:cubicBezTo>
                  <a:cubicBezTo>
                    <a:pt x="61" y="62"/>
                    <a:pt x="60" y="62"/>
                    <a:pt x="60" y="62"/>
                  </a:cubicBezTo>
                  <a:cubicBezTo>
                    <a:pt x="53" y="61"/>
                    <a:pt x="53" y="61"/>
                    <a:pt x="53" y="61"/>
                  </a:cubicBezTo>
                  <a:cubicBezTo>
                    <a:pt x="51" y="68"/>
                    <a:pt x="51" y="68"/>
                    <a:pt x="51" y="68"/>
                  </a:cubicBezTo>
                  <a:cubicBezTo>
                    <a:pt x="51" y="69"/>
                    <a:pt x="50" y="69"/>
                    <a:pt x="50" y="69"/>
                  </a:cubicBezTo>
                  <a:cubicBezTo>
                    <a:pt x="49" y="69"/>
                    <a:pt x="49" y="69"/>
                    <a:pt x="48" y="69"/>
                  </a:cubicBezTo>
                  <a:cubicBezTo>
                    <a:pt x="42" y="66"/>
                    <a:pt x="42" y="66"/>
                    <a:pt x="42" y="66"/>
                  </a:cubicBezTo>
                  <a:cubicBezTo>
                    <a:pt x="38" y="71"/>
                    <a:pt x="38" y="71"/>
                    <a:pt x="38" y="71"/>
                  </a:cubicBezTo>
                  <a:cubicBezTo>
                    <a:pt x="37" y="72"/>
                    <a:pt x="37" y="72"/>
                    <a:pt x="36" y="72"/>
                  </a:cubicBezTo>
                  <a:close/>
                  <a:moveTo>
                    <a:pt x="31" y="61"/>
                  </a:moveTo>
                  <a:cubicBezTo>
                    <a:pt x="31" y="61"/>
                    <a:pt x="32" y="62"/>
                    <a:pt x="32" y="62"/>
                  </a:cubicBezTo>
                  <a:cubicBezTo>
                    <a:pt x="36" y="67"/>
                    <a:pt x="36" y="67"/>
                    <a:pt x="36" y="67"/>
                  </a:cubicBezTo>
                  <a:cubicBezTo>
                    <a:pt x="40" y="62"/>
                    <a:pt x="40" y="62"/>
                    <a:pt x="40" y="62"/>
                  </a:cubicBezTo>
                  <a:cubicBezTo>
                    <a:pt x="41" y="61"/>
                    <a:pt x="42" y="61"/>
                    <a:pt x="42" y="62"/>
                  </a:cubicBezTo>
                  <a:cubicBezTo>
                    <a:pt x="48" y="65"/>
                    <a:pt x="48" y="65"/>
                    <a:pt x="48" y="65"/>
                  </a:cubicBezTo>
                  <a:cubicBezTo>
                    <a:pt x="50" y="59"/>
                    <a:pt x="50" y="59"/>
                    <a:pt x="50" y="59"/>
                  </a:cubicBezTo>
                  <a:cubicBezTo>
                    <a:pt x="50" y="58"/>
                    <a:pt x="51" y="57"/>
                    <a:pt x="52" y="57"/>
                  </a:cubicBezTo>
                  <a:cubicBezTo>
                    <a:pt x="58" y="58"/>
                    <a:pt x="58" y="58"/>
                    <a:pt x="58" y="58"/>
                  </a:cubicBezTo>
                  <a:cubicBezTo>
                    <a:pt x="57" y="52"/>
                    <a:pt x="57" y="52"/>
                    <a:pt x="57" y="52"/>
                  </a:cubicBezTo>
                  <a:cubicBezTo>
                    <a:pt x="57" y="51"/>
                    <a:pt x="58" y="50"/>
                    <a:pt x="59" y="50"/>
                  </a:cubicBezTo>
                  <a:cubicBezTo>
                    <a:pt x="65" y="48"/>
                    <a:pt x="65" y="48"/>
                    <a:pt x="65" y="48"/>
                  </a:cubicBezTo>
                  <a:cubicBezTo>
                    <a:pt x="62" y="42"/>
                    <a:pt x="62" y="42"/>
                    <a:pt x="62" y="42"/>
                  </a:cubicBezTo>
                  <a:cubicBezTo>
                    <a:pt x="61" y="42"/>
                    <a:pt x="61" y="41"/>
                    <a:pt x="62" y="40"/>
                  </a:cubicBezTo>
                  <a:cubicBezTo>
                    <a:pt x="67" y="36"/>
                    <a:pt x="67" y="36"/>
                    <a:pt x="67" y="36"/>
                  </a:cubicBezTo>
                  <a:cubicBezTo>
                    <a:pt x="62" y="32"/>
                    <a:pt x="62" y="32"/>
                    <a:pt x="62" y="32"/>
                  </a:cubicBezTo>
                  <a:cubicBezTo>
                    <a:pt x="61" y="31"/>
                    <a:pt x="61" y="30"/>
                    <a:pt x="62" y="30"/>
                  </a:cubicBezTo>
                  <a:cubicBezTo>
                    <a:pt x="65" y="24"/>
                    <a:pt x="65" y="24"/>
                    <a:pt x="65" y="24"/>
                  </a:cubicBezTo>
                  <a:cubicBezTo>
                    <a:pt x="59" y="22"/>
                    <a:pt x="59" y="22"/>
                    <a:pt x="59" y="22"/>
                  </a:cubicBezTo>
                  <a:cubicBezTo>
                    <a:pt x="58" y="22"/>
                    <a:pt x="57" y="21"/>
                    <a:pt x="57" y="20"/>
                  </a:cubicBezTo>
                  <a:cubicBezTo>
                    <a:pt x="58" y="14"/>
                    <a:pt x="58" y="14"/>
                    <a:pt x="58" y="14"/>
                  </a:cubicBezTo>
                  <a:cubicBezTo>
                    <a:pt x="52" y="15"/>
                    <a:pt x="52" y="15"/>
                    <a:pt x="52" y="15"/>
                  </a:cubicBezTo>
                  <a:cubicBezTo>
                    <a:pt x="51" y="15"/>
                    <a:pt x="50" y="14"/>
                    <a:pt x="50" y="13"/>
                  </a:cubicBezTo>
                  <a:cubicBezTo>
                    <a:pt x="48" y="7"/>
                    <a:pt x="48" y="7"/>
                    <a:pt x="48" y="7"/>
                  </a:cubicBezTo>
                  <a:cubicBezTo>
                    <a:pt x="42" y="10"/>
                    <a:pt x="42" y="10"/>
                    <a:pt x="42" y="10"/>
                  </a:cubicBezTo>
                  <a:cubicBezTo>
                    <a:pt x="42" y="11"/>
                    <a:pt x="41" y="11"/>
                    <a:pt x="40" y="10"/>
                  </a:cubicBezTo>
                  <a:cubicBezTo>
                    <a:pt x="36" y="5"/>
                    <a:pt x="36" y="5"/>
                    <a:pt x="36" y="5"/>
                  </a:cubicBezTo>
                  <a:cubicBezTo>
                    <a:pt x="32" y="10"/>
                    <a:pt x="32" y="10"/>
                    <a:pt x="32" y="10"/>
                  </a:cubicBezTo>
                  <a:cubicBezTo>
                    <a:pt x="31" y="11"/>
                    <a:pt x="30" y="11"/>
                    <a:pt x="30" y="10"/>
                  </a:cubicBezTo>
                  <a:cubicBezTo>
                    <a:pt x="24" y="7"/>
                    <a:pt x="24" y="7"/>
                    <a:pt x="24" y="7"/>
                  </a:cubicBezTo>
                  <a:cubicBezTo>
                    <a:pt x="22" y="13"/>
                    <a:pt x="22" y="13"/>
                    <a:pt x="22" y="13"/>
                  </a:cubicBezTo>
                  <a:cubicBezTo>
                    <a:pt x="22" y="14"/>
                    <a:pt x="21" y="15"/>
                    <a:pt x="20" y="15"/>
                  </a:cubicBezTo>
                  <a:cubicBezTo>
                    <a:pt x="14" y="14"/>
                    <a:pt x="14" y="14"/>
                    <a:pt x="14" y="14"/>
                  </a:cubicBezTo>
                  <a:cubicBezTo>
                    <a:pt x="15" y="20"/>
                    <a:pt x="15" y="20"/>
                    <a:pt x="15" y="20"/>
                  </a:cubicBezTo>
                  <a:cubicBezTo>
                    <a:pt x="15" y="21"/>
                    <a:pt x="14" y="22"/>
                    <a:pt x="13" y="22"/>
                  </a:cubicBezTo>
                  <a:cubicBezTo>
                    <a:pt x="7" y="24"/>
                    <a:pt x="7" y="24"/>
                    <a:pt x="7" y="24"/>
                  </a:cubicBezTo>
                  <a:cubicBezTo>
                    <a:pt x="10" y="30"/>
                    <a:pt x="10" y="30"/>
                    <a:pt x="10" y="30"/>
                  </a:cubicBezTo>
                  <a:cubicBezTo>
                    <a:pt x="11" y="30"/>
                    <a:pt x="11" y="31"/>
                    <a:pt x="10" y="32"/>
                  </a:cubicBezTo>
                  <a:cubicBezTo>
                    <a:pt x="5" y="36"/>
                    <a:pt x="5" y="36"/>
                    <a:pt x="5" y="36"/>
                  </a:cubicBezTo>
                  <a:cubicBezTo>
                    <a:pt x="10" y="40"/>
                    <a:pt x="10" y="40"/>
                    <a:pt x="10" y="40"/>
                  </a:cubicBezTo>
                  <a:cubicBezTo>
                    <a:pt x="11" y="41"/>
                    <a:pt x="11" y="42"/>
                    <a:pt x="10" y="42"/>
                  </a:cubicBezTo>
                  <a:cubicBezTo>
                    <a:pt x="7" y="48"/>
                    <a:pt x="7" y="48"/>
                    <a:pt x="7" y="48"/>
                  </a:cubicBezTo>
                  <a:cubicBezTo>
                    <a:pt x="13" y="50"/>
                    <a:pt x="13" y="50"/>
                    <a:pt x="13" y="50"/>
                  </a:cubicBezTo>
                  <a:cubicBezTo>
                    <a:pt x="14" y="50"/>
                    <a:pt x="15" y="51"/>
                    <a:pt x="15" y="52"/>
                  </a:cubicBezTo>
                  <a:cubicBezTo>
                    <a:pt x="14" y="58"/>
                    <a:pt x="14" y="58"/>
                    <a:pt x="14" y="58"/>
                  </a:cubicBezTo>
                  <a:cubicBezTo>
                    <a:pt x="20" y="57"/>
                    <a:pt x="20" y="57"/>
                    <a:pt x="20" y="57"/>
                  </a:cubicBezTo>
                  <a:cubicBezTo>
                    <a:pt x="21" y="57"/>
                    <a:pt x="22" y="58"/>
                    <a:pt x="22" y="59"/>
                  </a:cubicBezTo>
                  <a:cubicBezTo>
                    <a:pt x="24" y="65"/>
                    <a:pt x="24" y="65"/>
                    <a:pt x="24" y="65"/>
                  </a:cubicBezTo>
                  <a:cubicBezTo>
                    <a:pt x="30" y="62"/>
                    <a:pt x="30" y="62"/>
                    <a:pt x="30" y="62"/>
                  </a:cubicBezTo>
                  <a:cubicBezTo>
                    <a:pt x="30" y="62"/>
                    <a:pt x="30" y="61"/>
                    <a:pt x="31" y="6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8" name="Freeform 43">
              <a:extLst>
                <a:ext uri="{FF2B5EF4-FFF2-40B4-BE49-F238E27FC236}">
                  <a16:creationId xmlns:a16="http://schemas.microsoft.com/office/drawing/2014/main" id="{9BCDCCBE-C0B3-48DC-99D6-3729FEF7D55D}"/>
                </a:ext>
              </a:extLst>
            </p:cNvPr>
            <p:cNvSpPr>
              <a:spLocks/>
            </p:cNvSpPr>
            <p:nvPr/>
          </p:nvSpPr>
          <p:spPr bwMode="auto">
            <a:xfrm>
              <a:off x="9555544" y="5589681"/>
              <a:ext cx="104971" cy="113515"/>
            </a:xfrm>
            <a:custGeom>
              <a:avLst/>
              <a:gdLst>
                <a:gd name="T0" fmla="*/ 13 w 35"/>
                <a:gd name="T1" fmla="*/ 38 h 38"/>
                <a:gd name="T2" fmla="*/ 11 w 35"/>
                <a:gd name="T3" fmla="*/ 37 h 38"/>
                <a:gd name="T4" fmla="*/ 0 w 35"/>
                <a:gd name="T5" fmla="*/ 19 h 38"/>
                <a:gd name="T6" fmla="*/ 4 w 35"/>
                <a:gd name="T7" fmla="*/ 17 h 38"/>
                <a:gd name="T8" fmla="*/ 12 w 35"/>
                <a:gd name="T9" fmla="*/ 31 h 38"/>
                <a:gd name="T10" fmla="*/ 16 w 35"/>
                <a:gd name="T11" fmla="*/ 21 h 38"/>
                <a:gd name="T12" fmla="*/ 18 w 35"/>
                <a:gd name="T13" fmla="*/ 19 h 38"/>
                <a:gd name="T14" fmla="*/ 29 w 35"/>
                <a:gd name="T15" fmla="*/ 21 h 38"/>
                <a:gd name="T16" fmla="*/ 18 w 35"/>
                <a:gd name="T17" fmla="*/ 2 h 38"/>
                <a:gd name="T18" fmla="*/ 22 w 35"/>
                <a:gd name="T19" fmla="*/ 0 h 38"/>
                <a:gd name="T20" fmla="*/ 35 w 35"/>
                <a:gd name="T21" fmla="*/ 23 h 38"/>
                <a:gd name="T22" fmla="*/ 35 w 35"/>
                <a:gd name="T23" fmla="*/ 25 h 38"/>
                <a:gd name="T24" fmla="*/ 33 w 35"/>
                <a:gd name="T25" fmla="*/ 26 h 38"/>
                <a:gd name="T26" fmla="*/ 19 w 35"/>
                <a:gd name="T27" fmla="*/ 24 h 38"/>
                <a:gd name="T28" fmla="*/ 14 w 35"/>
                <a:gd name="T29" fmla="*/ 37 h 38"/>
                <a:gd name="T30" fmla="*/ 13 w 35"/>
                <a:gd name="T31" fmla="*/ 38 h 38"/>
                <a:gd name="T32" fmla="*/ 13 w 35"/>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8">
                  <a:moveTo>
                    <a:pt x="13" y="38"/>
                  </a:moveTo>
                  <a:cubicBezTo>
                    <a:pt x="12" y="38"/>
                    <a:pt x="11" y="38"/>
                    <a:pt x="11" y="37"/>
                  </a:cubicBezTo>
                  <a:cubicBezTo>
                    <a:pt x="0" y="19"/>
                    <a:pt x="0" y="19"/>
                    <a:pt x="0" y="19"/>
                  </a:cubicBezTo>
                  <a:cubicBezTo>
                    <a:pt x="4" y="17"/>
                    <a:pt x="4" y="17"/>
                    <a:pt x="4" y="17"/>
                  </a:cubicBezTo>
                  <a:cubicBezTo>
                    <a:pt x="12" y="31"/>
                    <a:pt x="12" y="31"/>
                    <a:pt x="12" y="31"/>
                  </a:cubicBezTo>
                  <a:cubicBezTo>
                    <a:pt x="16" y="21"/>
                    <a:pt x="16" y="21"/>
                    <a:pt x="16" y="21"/>
                  </a:cubicBezTo>
                  <a:cubicBezTo>
                    <a:pt x="16" y="20"/>
                    <a:pt x="17" y="19"/>
                    <a:pt x="18" y="19"/>
                  </a:cubicBezTo>
                  <a:cubicBezTo>
                    <a:pt x="29" y="21"/>
                    <a:pt x="29" y="21"/>
                    <a:pt x="29" y="21"/>
                  </a:cubicBezTo>
                  <a:cubicBezTo>
                    <a:pt x="18" y="2"/>
                    <a:pt x="18" y="2"/>
                    <a:pt x="18" y="2"/>
                  </a:cubicBezTo>
                  <a:cubicBezTo>
                    <a:pt x="22" y="0"/>
                    <a:pt x="22" y="0"/>
                    <a:pt x="22" y="0"/>
                  </a:cubicBezTo>
                  <a:cubicBezTo>
                    <a:pt x="35" y="23"/>
                    <a:pt x="35" y="23"/>
                    <a:pt x="35" y="23"/>
                  </a:cubicBezTo>
                  <a:cubicBezTo>
                    <a:pt x="35" y="24"/>
                    <a:pt x="35" y="24"/>
                    <a:pt x="35" y="25"/>
                  </a:cubicBezTo>
                  <a:cubicBezTo>
                    <a:pt x="35" y="26"/>
                    <a:pt x="34" y="26"/>
                    <a:pt x="33" y="26"/>
                  </a:cubicBezTo>
                  <a:cubicBezTo>
                    <a:pt x="19" y="24"/>
                    <a:pt x="19" y="24"/>
                    <a:pt x="19" y="24"/>
                  </a:cubicBezTo>
                  <a:cubicBezTo>
                    <a:pt x="14" y="37"/>
                    <a:pt x="14" y="37"/>
                    <a:pt x="14" y="37"/>
                  </a:cubicBezTo>
                  <a:cubicBezTo>
                    <a:pt x="14" y="37"/>
                    <a:pt x="14" y="38"/>
                    <a:pt x="13" y="38"/>
                  </a:cubicBezTo>
                  <a:cubicBezTo>
                    <a:pt x="13" y="38"/>
                    <a:pt x="13" y="38"/>
                    <a:pt x="13"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9" name="Freeform 44">
              <a:extLst>
                <a:ext uri="{FF2B5EF4-FFF2-40B4-BE49-F238E27FC236}">
                  <a16:creationId xmlns:a16="http://schemas.microsoft.com/office/drawing/2014/main" id="{F167C10F-6578-4CFB-825B-D635E278D887}"/>
                </a:ext>
              </a:extLst>
            </p:cNvPr>
            <p:cNvSpPr>
              <a:spLocks/>
            </p:cNvSpPr>
            <p:nvPr/>
          </p:nvSpPr>
          <p:spPr bwMode="auto">
            <a:xfrm>
              <a:off x="9379778" y="5589681"/>
              <a:ext cx="104971" cy="113515"/>
            </a:xfrm>
            <a:custGeom>
              <a:avLst/>
              <a:gdLst>
                <a:gd name="T0" fmla="*/ 22 w 35"/>
                <a:gd name="T1" fmla="*/ 38 h 38"/>
                <a:gd name="T2" fmla="*/ 22 w 35"/>
                <a:gd name="T3" fmla="*/ 38 h 38"/>
                <a:gd name="T4" fmla="*/ 21 w 35"/>
                <a:gd name="T5" fmla="*/ 37 h 38"/>
                <a:gd name="T6" fmla="*/ 16 w 35"/>
                <a:gd name="T7" fmla="*/ 24 h 38"/>
                <a:gd name="T8" fmla="*/ 2 w 35"/>
                <a:gd name="T9" fmla="*/ 26 h 38"/>
                <a:gd name="T10" fmla="*/ 0 w 35"/>
                <a:gd name="T11" fmla="*/ 25 h 38"/>
                <a:gd name="T12" fmla="*/ 0 w 35"/>
                <a:gd name="T13" fmla="*/ 23 h 38"/>
                <a:gd name="T14" fmla="*/ 13 w 35"/>
                <a:gd name="T15" fmla="*/ 0 h 38"/>
                <a:gd name="T16" fmla="*/ 17 w 35"/>
                <a:gd name="T17" fmla="*/ 2 h 38"/>
                <a:gd name="T18" fmla="*/ 6 w 35"/>
                <a:gd name="T19" fmla="*/ 21 h 38"/>
                <a:gd name="T20" fmla="*/ 17 w 35"/>
                <a:gd name="T21" fmla="*/ 19 h 38"/>
                <a:gd name="T22" fmla="*/ 19 w 35"/>
                <a:gd name="T23" fmla="*/ 21 h 38"/>
                <a:gd name="T24" fmla="*/ 23 w 35"/>
                <a:gd name="T25" fmla="*/ 31 h 38"/>
                <a:gd name="T26" fmla="*/ 31 w 35"/>
                <a:gd name="T27" fmla="*/ 17 h 38"/>
                <a:gd name="T28" fmla="*/ 35 w 35"/>
                <a:gd name="T29" fmla="*/ 19 h 38"/>
                <a:gd name="T30" fmla="*/ 24 w 35"/>
                <a:gd name="T31" fmla="*/ 37 h 38"/>
                <a:gd name="T32" fmla="*/ 22 w 35"/>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8">
                  <a:moveTo>
                    <a:pt x="22" y="38"/>
                  </a:moveTo>
                  <a:cubicBezTo>
                    <a:pt x="22" y="38"/>
                    <a:pt x="22" y="38"/>
                    <a:pt x="22" y="38"/>
                  </a:cubicBezTo>
                  <a:cubicBezTo>
                    <a:pt x="21" y="38"/>
                    <a:pt x="21" y="37"/>
                    <a:pt x="21" y="37"/>
                  </a:cubicBezTo>
                  <a:cubicBezTo>
                    <a:pt x="16" y="24"/>
                    <a:pt x="16" y="24"/>
                    <a:pt x="16" y="24"/>
                  </a:cubicBezTo>
                  <a:cubicBezTo>
                    <a:pt x="2" y="26"/>
                    <a:pt x="2" y="26"/>
                    <a:pt x="2" y="26"/>
                  </a:cubicBezTo>
                  <a:cubicBezTo>
                    <a:pt x="1" y="26"/>
                    <a:pt x="0" y="26"/>
                    <a:pt x="0" y="25"/>
                  </a:cubicBezTo>
                  <a:cubicBezTo>
                    <a:pt x="0" y="24"/>
                    <a:pt x="0" y="24"/>
                    <a:pt x="0" y="23"/>
                  </a:cubicBezTo>
                  <a:cubicBezTo>
                    <a:pt x="13" y="0"/>
                    <a:pt x="13" y="0"/>
                    <a:pt x="13" y="0"/>
                  </a:cubicBezTo>
                  <a:cubicBezTo>
                    <a:pt x="17" y="2"/>
                    <a:pt x="17" y="2"/>
                    <a:pt x="17" y="2"/>
                  </a:cubicBezTo>
                  <a:cubicBezTo>
                    <a:pt x="6" y="21"/>
                    <a:pt x="6" y="21"/>
                    <a:pt x="6" y="21"/>
                  </a:cubicBezTo>
                  <a:cubicBezTo>
                    <a:pt x="17" y="19"/>
                    <a:pt x="17" y="19"/>
                    <a:pt x="17" y="19"/>
                  </a:cubicBezTo>
                  <a:cubicBezTo>
                    <a:pt x="18" y="19"/>
                    <a:pt x="19" y="20"/>
                    <a:pt x="19" y="21"/>
                  </a:cubicBezTo>
                  <a:cubicBezTo>
                    <a:pt x="23" y="31"/>
                    <a:pt x="23" y="31"/>
                    <a:pt x="23" y="31"/>
                  </a:cubicBezTo>
                  <a:cubicBezTo>
                    <a:pt x="31" y="17"/>
                    <a:pt x="31" y="17"/>
                    <a:pt x="31" y="17"/>
                  </a:cubicBezTo>
                  <a:cubicBezTo>
                    <a:pt x="35" y="19"/>
                    <a:pt x="35" y="19"/>
                    <a:pt x="35" y="19"/>
                  </a:cubicBezTo>
                  <a:cubicBezTo>
                    <a:pt x="24" y="37"/>
                    <a:pt x="24" y="37"/>
                    <a:pt x="24" y="37"/>
                  </a:cubicBezTo>
                  <a:cubicBezTo>
                    <a:pt x="24" y="38"/>
                    <a:pt x="23" y="38"/>
                    <a:pt x="22"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0" name="Freeform 45">
              <a:extLst>
                <a:ext uri="{FF2B5EF4-FFF2-40B4-BE49-F238E27FC236}">
                  <a16:creationId xmlns:a16="http://schemas.microsoft.com/office/drawing/2014/main" id="{570C87A9-5B6D-4821-8D43-73633A44F9F5}"/>
                </a:ext>
              </a:extLst>
            </p:cNvPr>
            <p:cNvSpPr>
              <a:spLocks noEditPoints="1"/>
            </p:cNvSpPr>
            <p:nvPr/>
          </p:nvSpPr>
          <p:spPr bwMode="auto">
            <a:xfrm>
              <a:off x="9463999" y="5465180"/>
              <a:ext cx="115957" cy="107412"/>
            </a:xfrm>
            <a:custGeom>
              <a:avLst/>
              <a:gdLst>
                <a:gd name="T0" fmla="*/ 25 w 39"/>
                <a:gd name="T1" fmla="*/ 36 h 36"/>
                <a:gd name="T2" fmla="*/ 18 w 39"/>
                <a:gd name="T3" fmla="*/ 36 h 36"/>
                <a:gd name="T4" fmla="*/ 12 w 39"/>
                <a:gd name="T5" fmla="*/ 35 h 36"/>
                <a:gd name="T6" fmla="*/ 2 w 39"/>
                <a:gd name="T7" fmla="*/ 33 h 36"/>
                <a:gd name="T8" fmla="*/ 0 w 39"/>
                <a:gd name="T9" fmla="*/ 31 h 36"/>
                <a:gd name="T10" fmla="*/ 0 w 39"/>
                <a:gd name="T11" fmla="*/ 18 h 36"/>
                <a:gd name="T12" fmla="*/ 2 w 39"/>
                <a:gd name="T13" fmla="*/ 16 h 36"/>
                <a:gd name="T14" fmla="*/ 5 w 39"/>
                <a:gd name="T15" fmla="*/ 16 h 36"/>
                <a:gd name="T16" fmla="*/ 16 w 39"/>
                <a:gd name="T17" fmla="*/ 3 h 36"/>
                <a:gd name="T18" fmla="*/ 20 w 39"/>
                <a:gd name="T19" fmla="*/ 0 h 36"/>
                <a:gd name="T20" fmla="*/ 24 w 39"/>
                <a:gd name="T21" fmla="*/ 5 h 36"/>
                <a:gd name="T22" fmla="*/ 24 w 39"/>
                <a:gd name="T23" fmla="*/ 12 h 36"/>
                <a:gd name="T24" fmla="*/ 34 w 39"/>
                <a:gd name="T25" fmla="*/ 12 h 36"/>
                <a:gd name="T26" fmla="*/ 39 w 39"/>
                <a:gd name="T27" fmla="*/ 17 h 36"/>
                <a:gd name="T28" fmla="*/ 38 w 39"/>
                <a:gd name="T29" fmla="*/ 17 h 36"/>
                <a:gd name="T30" fmla="*/ 33 w 39"/>
                <a:gd name="T31" fmla="*/ 31 h 36"/>
                <a:gd name="T32" fmla="*/ 25 w 39"/>
                <a:gd name="T33" fmla="*/ 36 h 36"/>
                <a:gd name="T34" fmla="*/ 4 w 39"/>
                <a:gd name="T35" fmla="*/ 29 h 36"/>
                <a:gd name="T36" fmla="*/ 13 w 39"/>
                <a:gd name="T37" fmla="*/ 31 h 36"/>
                <a:gd name="T38" fmla="*/ 18 w 39"/>
                <a:gd name="T39" fmla="*/ 32 h 36"/>
                <a:gd name="T40" fmla="*/ 25 w 39"/>
                <a:gd name="T41" fmla="*/ 32 h 36"/>
                <a:gd name="T42" fmla="*/ 29 w 39"/>
                <a:gd name="T43" fmla="*/ 29 h 36"/>
                <a:gd name="T44" fmla="*/ 35 w 39"/>
                <a:gd name="T45" fmla="*/ 16 h 36"/>
                <a:gd name="T46" fmla="*/ 34 w 39"/>
                <a:gd name="T47" fmla="*/ 16 h 36"/>
                <a:gd name="T48" fmla="*/ 22 w 39"/>
                <a:gd name="T49" fmla="*/ 16 h 36"/>
                <a:gd name="T50" fmla="*/ 20 w 39"/>
                <a:gd name="T51" fmla="*/ 14 h 36"/>
                <a:gd name="T52" fmla="*/ 20 w 39"/>
                <a:gd name="T53" fmla="*/ 5 h 36"/>
                <a:gd name="T54" fmla="*/ 20 w 39"/>
                <a:gd name="T55" fmla="*/ 4 h 36"/>
                <a:gd name="T56" fmla="*/ 19 w 39"/>
                <a:gd name="T57" fmla="*/ 5 h 36"/>
                <a:gd name="T58" fmla="*/ 5 w 39"/>
                <a:gd name="T59" fmla="*/ 20 h 36"/>
                <a:gd name="T60" fmla="*/ 4 w 39"/>
                <a:gd name="T61" fmla="*/ 20 h 36"/>
                <a:gd name="T62" fmla="*/ 4 w 39"/>
                <a:gd name="T63"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6">
                  <a:moveTo>
                    <a:pt x="25" y="36"/>
                  </a:moveTo>
                  <a:cubicBezTo>
                    <a:pt x="18" y="36"/>
                    <a:pt x="18" y="36"/>
                    <a:pt x="18" y="36"/>
                  </a:cubicBezTo>
                  <a:cubicBezTo>
                    <a:pt x="15" y="36"/>
                    <a:pt x="14" y="35"/>
                    <a:pt x="12" y="35"/>
                  </a:cubicBezTo>
                  <a:cubicBezTo>
                    <a:pt x="10" y="34"/>
                    <a:pt x="8" y="33"/>
                    <a:pt x="2" y="33"/>
                  </a:cubicBezTo>
                  <a:cubicBezTo>
                    <a:pt x="1" y="33"/>
                    <a:pt x="0" y="32"/>
                    <a:pt x="0" y="31"/>
                  </a:cubicBezTo>
                  <a:cubicBezTo>
                    <a:pt x="0" y="18"/>
                    <a:pt x="0" y="18"/>
                    <a:pt x="0" y="18"/>
                  </a:cubicBezTo>
                  <a:cubicBezTo>
                    <a:pt x="0" y="17"/>
                    <a:pt x="1" y="16"/>
                    <a:pt x="2" y="16"/>
                  </a:cubicBezTo>
                  <a:cubicBezTo>
                    <a:pt x="5" y="16"/>
                    <a:pt x="5" y="16"/>
                    <a:pt x="5" y="16"/>
                  </a:cubicBezTo>
                  <a:cubicBezTo>
                    <a:pt x="9" y="16"/>
                    <a:pt x="12" y="10"/>
                    <a:pt x="16" y="3"/>
                  </a:cubicBezTo>
                  <a:cubicBezTo>
                    <a:pt x="17" y="1"/>
                    <a:pt x="18" y="0"/>
                    <a:pt x="20" y="0"/>
                  </a:cubicBezTo>
                  <a:cubicBezTo>
                    <a:pt x="21" y="0"/>
                    <a:pt x="24" y="0"/>
                    <a:pt x="24" y="5"/>
                  </a:cubicBezTo>
                  <a:cubicBezTo>
                    <a:pt x="24" y="12"/>
                    <a:pt x="24" y="12"/>
                    <a:pt x="24" y="12"/>
                  </a:cubicBezTo>
                  <a:cubicBezTo>
                    <a:pt x="34" y="12"/>
                    <a:pt x="34" y="12"/>
                    <a:pt x="34" y="12"/>
                  </a:cubicBezTo>
                  <a:cubicBezTo>
                    <a:pt x="37" y="12"/>
                    <a:pt x="39" y="14"/>
                    <a:pt x="39" y="17"/>
                  </a:cubicBezTo>
                  <a:cubicBezTo>
                    <a:pt x="39" y="17"/>
                    <a:pt x="39" y="17"/>
                    <a:pt x="38" y="17"/>
                  </a:cubicBezTo>
                  <a:cubicBezTo>
                    <a:pt x="33" y="31"/>
                    <a:pt x="33" y="31"/>
                    <a:pt x="33" y="31"/>
                  </a:cubicBezTo>
                  <a:cubicBezTo>
                    <a:pt x="31" y="34"/>
                    <a:pt x="28" y="36"/>
                    <a:pt x="25" y="36"/>
                  </a:cubicBezTo>
                  <a:close/>
                  <a:moveTo>
                    <a:pt x="4" y="29"/>
                  </a:moveTo>
                  <a:cubicBezTo>
                    <a:pt x="9" y="29"/>
                    <a:pt x="12" y="30"/>
                    <a:pt x="13" y="31"/>
                  </a:cubicBezTo>
                  <a:cubicBezTo>
                    <a:pt x="15" y="32"/>
                    <a:pt x="16" y="32"/>
                    <a:pt x="18" y="32"/>
                  </a:cubicBezTo>
                  <a:cubicBezTo>
                    <a:pt x="25" y="32"/>
                    <a:pt x="25" y="32"/>
                    <a:pt x="25" y="32"/>
                  </a:cubicBezTo>
                  <a:cubicBezTo>
                    <a:pt x="27" y="32"/>
                    <a:pt x="28" y="31"/>
                    <a:pt x="29" y="29"/>
                  </a:cubicBezTo>
                  <a:cubicBezTo>
                    <a:pt x="35" y="16"/>
                    <a:pt x="35" y="16"/>
                    <a:pt x="35" y="16"/>
                  </a:cubicBezTo>
                  <a:cubicBezTo>
                    <a:pt x="34" y="16"/>
                    <a:pt x="34" y="16"/>
                    <a:pt x="34" y="16"/>
                  </a:cubicBezTo>
                  <a:cubicBezTo>
                    <a:pt x="22" y="16"/>
                    <a:pt x="22" y="16"/>
                    <a:pt x="22" y="16"/>
                  </a:cubicBezTo>
                  <a:cubicBezTo>
                    <a:pt x="21" y="16"/>
                    <a:pt x="20" y="15"/>
                    <a:pt x="20" y="14"/>
                  </a:cubicBezTo>
                  <a:cubicBezTo>
                    <a:pt x="20" y="5"/>
                    <a:pt x="20" y="5"/>
                    <a:pt x="20" y="5"/>
                  </a:cubicBezTo>
                  <a:cubicBezTo>
                    <a:pt x="20" y="5"/>
                    <a:pt x="20" y="5"/>
                    <a:pt x="20" y="4"/>
                  </a:cubicBezTo>
                  <a:cubicBezTo>
                    <a:pt x="20" y="4"/>
                    <a:pt x="19" y="5"/>
                    <a:pt x="19" y="5"/>
                  </a:cubicBezTo>
                  <a:cubicBezTo>
                    <a:pt x="16" y="12"/>
                    <a:pt x="12" y="20"/>
                    <a:pt x="5" y="20"/>
                  </a:cubicBezTo>
                  <a:cubicBezTo>
                    <a:pt x="4" y="20"/>
                    <a:pt x="4" y="20"/>
                    <a:pt x="4" y="20"/>
                  </a:cubicBezTo>
                  <a:lnTo>
                    <a:pt x="4" y="2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35" name="Group 32">
            <a:extLst>
              <a:ext uri="{FF2B5EF4-FFF2-40B4-BE49-F238E27FC236}">
                <a16:creationId xmlns:a16="http://schemas.microsoft.com/office/drawing/2014/main" id="{F29B79FB-9F0D-4ECE-A11E-96953956A070}"/>
              </a:ext>
            </a:extLst>
          </p:cNvPr>
          <p:cNvGrpSpPr>
            <a:grpSpLocks noChangeAspect="1"/>
          </p:cNvGrpSpPr>
          <p:nvPr/>
        </p:nvGrpSpPr>
        <p:grpSpPr>
          <a:xfrm>
            <a:off x="284400" y="3263433"/>
            <a:ext cx="250221" cy="285619"/>
            <a:chOff x="-533400" y="2205038"/>
            <a:chExt cx="325437" cy="371476"/>
          </a:xfrm>
          <a:solidFill>
            <a:schemeClr val="bg2"/>
          </a:solidFill>
          <a:effectLst/>
        </p:grpSpPr>
        <p:sp>
          <p:nvSpPr>
            <p:cNvPr id="336" name="Freeform 30">
              <a:extLst>
                <a:ext uri="{FF2B5EF4-FFF2-40B4-BE49-F238E27FC236}">
                  <a16:creationId xmlns:a16="http://schemas.microsoft.com/office/drawing/2014/main" id="{510F6584-DF15-4A6B-B6F0-537E8F868FBE}"/>
                </a:ext>
              </a:extLst>
            </p:cNvPr>
            <p:cNvSpPr>
              <a:spLocks noEditPoints="1"/>
            </p:cNvSpPr>
            <p:nvPr/>
          </p:nvSpPr>
          <p:spPr bwMode="auto">
            <a:xfrm>
              <a:off x="-487363" y="2251076"/>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31">
              <a:extLst>
                <a:ext uri="{FF2B5EF4-FFF2-40B4-BE49-F238E27FC236}">
                  <a16:creationId xmlns:a16="http://schemas.microsoft.com/office/drawing/2014/main" id="{00307268-7C7B-4085-AD63-7F5012A607F4}"/>
                </a:ext>
              </a:extLst>
            </p:cNvPr>
            <p:cNvSpPr>
              <a:spLocks/>
            </p:cNvSpPr>
            <p:nvPr/>
          </p:nvSpPr>
          <p:spPr bwMode="auto">
            <a:xfrm>
              <a:off x="-425450" y="2468563"/>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32">
              <a:extLst>
                <a:ext uri="{FF2B5EF4-FFF2-40B4-BE49-F238E27FC236}">
                  <a16:creationId xmlns:a16="http://schemas.microsoft.com/office/drawing/2014/main" id="{1658029F-4797-4D98-971E-762E4B71D9D2}"/>
                </a:ext>
              </a:extLst>
            </p:cNvPr>
            <p:cNvSpPr>
              <a:spLocks noEditPoints="1"/>
            </p:cNvSpPr>
            <p:nvPr/>
          </p:nvSpPr>
          <p:spPr bwMode="auto">
            <a:xfrm>
              <a:off x="-409575" y="2498726"/>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33">
              <a:extLst>
                <a:ext uri="{FF2B5EF4-FFF2-40B4-BE49-F238E27FC236}">
                  <a16:creationId xmlns:a16="http://schemas.microsoft.com/office/drawing/2014/main" id="{B2B38CF3-D35F-4AD0-A4B2-298D5B4E489A}"/>
                </a:ext>
              </a:extLst>
            </p:cNvPr>
            <p:cNvSpPr>
              <a:spLocks/>
            </p:cNvSpPr>
            <p:nvPr/>
          </p:nvSpPr>
          <p:spPr bwMode="auto">
            <a:xfrm>
              <a:off x="-379413" y="2530476"/>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34">
              <a:extLst>
                <a:ext uri="{FF2B5EF4-FFF2-40B4-BE49-F238E27FC236}">
                  <a16:creationId xmlns:a16="http://schemas.microsoft.com/office/drawing/2014/main" id="{CA140066-6CCA-4E44-93F8-64FC11D7F89E}"/>
                </a:ext>
              </a:extLst>
            </p:cNvPr>
            <p:cNvSpPr>
              <a:spLocks/>
            </p:cNvSpPr>
            <p:nvPr/>
          </p:nvSpPr>
          <p:spPr bwMode="auto">
            <a:xfrm>
              <a:off x="-379413" y="220503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35">
              <a:extLst>
                <a:ext uri="{FF2B5EF4-FFF2-40B4-BE49-F238E27FC236}">
                  <a16:creationId xmlns:a16="http://schemas.microsoft.com/office/drawing/2014/main" id="{BC061A60-40A0-4BF0-965E-1F81B2251389}"/>
                </a:ext>
              </a:extLst>
            </p:cNvPr>
            <p:cNvSpPr>
              <a:spLocks/>
            </p:cNvSpPr>
            <p:nvPr/>
          </p:nvSpPr>
          <p:spPr bwMode="auto">
            <a:xfrm>
              <a:off x="-282575" y="2251076"/>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6">
              <a:extLst>
                <a:ext uri="{FF2B5EF4-FFF2-40B4-BE49-F238E27FC236}">
                  <a16:creationId xmlns:a16="http://schemas.microsoft.com/office/drawing/2014/main" id="{8114E472-0AAD-4C13-9A8D-B89B13585B95}"/>
                </a:ext>
              </a:extLst>
            </p:cNvPr>
            <p:cNvSpPr>
              <a:spLocks/>
            </p:cNvSpPr>
            <p:nvPr/>
          </p:nvSpPr>
          <p:spPr bwMode="auto">
            <a:xfrm>
              <a:off x="-239713" y="2360613"/>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7">
              <a:extLst>
                <a:ext uri="{FF2B5EF4-FFF2-40B4-BE49-F238E27FC236}">
                  <a16:creationId xmlns:a16="http://schemas.microsoft.com/office/drawing/2014/main" id="{128A6983-7E31-43A6-B926-A361F0B4947D}"/>
                </a:ext>
              </a:extLst>
            </p:cNvPr>
            <p:cNvSpPr>
              <a:spLocks/>
            </p:cNvSpPr>
            <p:nvPr/>
          </p:nvSpPr>
          <p:spPr bwMode="auto">
            <a:xfrm>
              <a:off x="-282575" y="2455863"/>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8">
              <a:extLst>
                <a:ext uri="{FF2B5EF4-FFF2-40B4-BE49-F238E27FC236}">
                  <a16:creationId xmlns:a16="http://schemas.microsoft.com/office/drawing/2014/main" id="{9EA7A4F4-59EC-4B25-96C2-4DDFC696692E}"/>
                </a:ext>
              </a:extLst>
            </p:cNvPr>
            <p:cNvSpPr>
              <a:spLocks/>
            </p:cNvSpPr>
            <p:nvPr/>
          </p:nvSpPr>
          <p:spPr bwMode="auto">
            <a:xfrm>
              <a:off x="-487363" y="2251076"/>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39">
              <a:extLst>
                <a:ext uri="{FF2B5EF4-FFF2-40B4-BE49-F238E27FC236}">
                  <a16:creationId xmlns:a16="http://schemas.microsoft.com/office/drawing/2014/main" id="{F305BEF4-11D6-48BB-85F7-0898B671DA08}"/>
                </a:ext>
              </a:extLst>
            </p:cNvPr>
            <p:cNvSpPr>
              <a:spLocks/>
            </p:cNvSpPr>
            <p:nvPr/>
          </p:nvSpPr>
          <p:spPr bwMode="auto">
            <a:xfrm>
              <a:off x="-533400" y="2360613"/>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40">
              <a:extLst>
                <a:ext uri="{FF2B5EF4-FFF2-40B4-BE49-F238E27FC236}">
                  <a16:creationId xmlns:a16="http://schemas.microsoft.com/office/drawing/2014/main" id="{F23A7469-0B0C-4ADA-A1CA-60535832791D}"/>
                </a:ext>
              </a:extLst>
            </p:cNvPr>
            <p:cNvSpPr>
              <a:spLocks/>
            </p:cNvSpPr>
            <p:nvPr/>
          </p:nvSpPr>
          <p:spPr bwMode="auto">
            <a:xfrm>
              <a:off x="-487363" y="2455863"/>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41">
              <a:extLst>
                <a:ext uri="{FF2B5EF4-FFF2-40B4-BE49-F238E27FC236}">
                  <a16:creationId xmlns:a16="http://schemas.microsoft.com/office/drawing/2014/main" id="{0AA8EFF2-4F97-4404-9299-0E81256CB7A3}"/>
                </a:ext>
              </a:extLst>
            </p:cNvPr>
            <p:cNvSpPr>
              <a:spLocks noEditPoints="1"/>
            </p:cNvSpPr>
            <p:nvPr/>
          </p:nvSpPr>
          <p:spPr bwMode="auto">
            <a:xfrm>
              <a:off x="-441325" y="2360613"/>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1" name="Group 198">
            <a:extLst>
              <a:ext uri="{FF2B5EF4-FFF2-40B4-BE49-F238E27FC236}">
                <a16:creationId xmlns:a16="http://schemas.microsoft.com/office/drawing/2014/main" id="{9854DC43-FB2D-4410-935F-A2AFB8CAEBE9}"/>
              </a:ext>
            </a:extLst>
          </p:cNvPr>
          <p:cNvGrpSpPr>
            <a:grpSpLocks noChangeAspect="1"/>
          </p:cNvGrpSpPr>
          <p:nvPr/>
        </p:nvGrpSpPr>
        <p:grpSpPr>
          <a:xfrm>
            <a:off x="284400" y="4879041"/>
            <a:ext cx="285619" cy="285619"/>
            <a:chOff x="-1100138" y="4281488"/>
            <a:chExt cx="371475" cy="371475"/>
          </a:xfrm>
          <a:solidFill>
            <a:schemeClr val="bg2"/>
          </a:solidFill>
          <a:effectLst/>
        </p:grpSpPr>
        <p:sp>
          <p:nvSpPr>
            <p:cNvPr id="362" name="Freeform 19">
              <a:extLst>
                <a:ext uri="{FF2B5EF4-FFF2-40B4-BE49-F238E27FC236}">
                  <a16:creationId xmlns:a16="http://schemas.microsoft.com/office/drawing/2014/main" id="{BF358DF9-E252-4328-869E-617FFC048E14}"/>
                </a:ext>
              </a:extLst>
            </p:cNvPr>
            <p:cNvSpPr>
              <a:spLocks/>
            </p:cNvSpPr>
            <p:nvPr/>
          </p:nvSpPr>
          <p:spPr bwMode="auto">
            <a:xfrm>
              <a:off x="-1100138" y="4313238"/>
              <a:ext cx="371475" cy="339725"/>
            </a:xfrm>
            <a:custGeom>
              <a:avLst/>
              <a:gdLst>
                <a:gd name="T0" fmla="*/ 94 w 96"/>
                <a:gd name="T1" fmla="*/ 88 h 88"/>
                <a:gd name="T2" fmla="*/ 2 w 96"/>
                <a:gd name="T3" fmla="*/ 88 h 88"/>
                <a:gd name="T4" fmla="*/ 0 w 96"/>
                <a:gd name="T5" fmla="*/ 86 h 88"/>
                <a:gd name="T6" fmla="*/ 0 w 96"/>
                <a:gd name="T7" fmla="*/ 2 h 88"/>
                <a:gd name="T8" fmla="*/ 2 w 96"/>
                <a:gd name="T9" fmla="*/ 0 h 88"/>
                <a:gd name="T10" fmla="*/ 18 w 96"/>
                <a:gd name="T11" fmla="*/ 0 h 88"/>
                <a:gd name="T12" fmla="*/ 20 w 96"/>
                <a:gd name="T13" fmla="*/ 2 h 88"/>
                <a:gd name="T14" fmla="*/ 18 w 96"/>
                <a:gd name="T15" fmla="*/ 4 h 88"/>
                <a:gd name="T16" fmla="*/ 4 w 96"/>
                <a:gd name="T17" fmla="*/ 4 h 88"/>
                <a:gd name="T18" fmla="*/ 4 w 96"/>
                <a:gd name="T19" fmla="*/ 84 h 88"/>
                <a:gd name="T20" fmla="*/ 92 w 96"/>
                <a:gd name="T21" fmla="*/ 84 h 88"/>
                <a:gd name="T22" fmla="*/ 92 w 96"/>
                <a:gd name="T23" fmla="*/ 4 h 88"/>
                <a:gd name="T24" fmla="*/ 78 w 96"/>
                <a:gd name="T25" fmla="*/ 4 h 88"/>
                <a:gd name="T26" fmla="*/ 76 w 96"/>
                <a:gd name="T27" fmla="*/ 2 h 88"/>
                <a:gd name="T28" fmla="*/ 78 w 96"/>
                <a:gd name="T29" fmla="*/ 0 h 88"/>
                <a:gd name="T30" fmla="*/ 94 w 96"/>
                <a:gd name="T31" fmla="*/ 0 h 88"/>
                <a:gd name="T32" fmla="*/ 96 w 96"/>
                <a:gd name="T33" fmla="*/ 2 h 88"/>
                <a:gd name="T34" fmla="*/ 96 w 96"/>
                <a:gd name="T35" fmla="*/ 86 h 88"/>
                <a:gd name="T36" fmla="*/ 94 w 9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88">
                  <a:moveTo>
                    <a:pt x="94" y="88"/>
                  </a:moveTo>
                  <a:cubicBezTo>
                    <a:pt x="2" y="88"/>
                    <a:pt x="2" y="88"/>
                    <a:pt x="2" y="88"/>
                  </a:cubicBezTo>
                  <a:cubicBezTo>
                    <a:pt x="1" y="88"/>
                    <a:pt x="0" y="87"/>
                    <a:pt x="0" y="86"/>
                  </a:cubicBezTo>
                  <a:cubicBezTo>
                    <a:pt x="0" y="2"/>
                    <a:pt x="0" y="2"/>
                    <a:pt x="0" y="2"/>
                  </a:cubicBezTo>
                  <a:cubicBezTo>
                    <a:pt x="0" y="1"/>
                    <a:pt x="1" y="0"/>
                    <a:pt x="2" y="0"/>
                  </a:cubicBezTo>
                  <a:cubicBezTo>
                    <a:pt x="18" y="0"/>
                    <a:pt x="18" y="0"/>
                    <a:pt x="18" y="0"/>
                  </a:cubicBezTo>
                  <a:cubicBezTo>
                    <a:pt x="19" y="0"/>
                    <a:pt x="20" y="1"/>
                    <a:pt x="20" y="2"/>
                  </a:cubicBezTo>
                  <a:cubicBezTo>
                    <a:pt x="20" y="3"/>
                    <a:pt x="19" y="4"/>
                    <a:pt x="18" y="4"/>
                  </a:cubicBezTo>
                  <a:cubicBezTo>
                    <a:pt x="4" y="4"/>
                    <a:pt x="4" y="4"/>
                    <a:pt x="4" y="4"/>
                  </a:cubicBezTo>
                  <a:cubicBezTo>
                    <a:pt x="4" y="84"/>
                    <a:pt x="4" y="84"/>
                    <a:pt x="4" y="84"/>
                  </a:cubicBezTo>
                  <a:cubicBezTo>
                    <a:pt x="92" y="84"/>
                    <a:pt x="92" y="84"/>
                    <a:pt x="92" y="84"/>
                  </a:cubicBezTo>
                  <a:cubicBezTo>
                    <a:pt x="92" y="4"/>
                    <a:pt x="92" y="4"/>
                    <a:pt x="92" y="4"/>
                  </a:cubicBezTo>
                  <a:cubicBezTo>
                    <a:pt x="78" y="4"/>
                    <a:pt x="78" y="4"/>
                    <a:pt x="78" y="4"/>
                  </a:cubicBezTo>
                  <a:cubicBezTo>
                    <a:pt x="77" y="4"/>
                    <a:pt x="76" y="3"/>
                    <a:pt x="76" y="2"/>
                  </a:cubicBezTo>
                  <a:cubicBezTo>
                    <a:pt x="76" y="1"/>
                    <a:pt x="77" y="0"/>
                    <a:pt x="78" y="0"/>
                  </a:cubicBezTo>
                  <a:cubicBezTo>
                    <a:pt x="94" y="0"/>
                    <a:pt x="94" y="0"/>
                    <a:pt x="94" y="0"/>
                  </a:cubicBezTo>
                  <a:cubicBezTo>
                    <a:pt x="95" y="0"/>
                    <a:pt x="96" y="1"/>
                    <a:pt x="96" y="2"/>
                  </a:cubicBezTo>
                  <a:cubicBezTo>
                    <a:pt x="96" y="86"/>
                    <a:pt x="96" y="86"/>
                    <a:pt x="96" y="86"/>
                  </a:cubicBezTo>
                  <a:cubicBezTo>
                    <a:pt x="96" y="87"/>
                    <a:pt x="95" y="88"/>
                    <a:pt x="9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0">
              <a:extLst>
                <a:ext uri="{FF2B5EF4-FFF2-40B4-BE49-F238E27FC236}">
                  <a16:creationId xmlns:a16="http://schemas.microsoft.com/office/drawing/2014/main" id="{907A1EA1-9B53-4AE7-83C1-A6B257FB9934}"/>
                </a:ext>
              </a:extLst>
            </p:cNvPr>
            <p:cNvSpPr>
              <a:spLocks noEditPoints="1"/>
            </p:cNvSpPr>
            <p:nvPr/>
          </p:nvSpPr>
          <p:spPr bwMode="auto">
            <a:xfrm>
              <a:off x="-1038226"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1">
              <a:extLst>
                <a:ext uri="{FF2B5EF4-FFF2-40B4-BE49-F238E27FC236}">
                  <a16:creationId xmlns:a16="http://schemas.microsoft.com/office/drawing/2014/main" id="{5B4296C1-93DC-461C-B7F7-AB2CAD0F13C8}"/>
                </a:ext>
              </a:extLst>
            </p:cNvPr>
            <p:cNvSpPr>
              <a:spLocks noEditPoints="1"/>
            </p:cNvSpPr>
            <p:nvPr/>
          </p:nvSpPr>
          <p:spPr bwMode="auto">
            <a:xfrm>
              <a:off x="-852488"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2">
              <a:extLst>
                <a:ext uri="{FF2B5EF4-FFF2-40B4-BE49-F238E27FC236}">
                  <a16:creationId xmlns:a16="http://schemas.microsoft.com/office/drawing/2014/main" id="{9D9B4B6D-CD07-4617-95DD-6DB7B611152C}"/>
                </a:ext>
              </a:extLst>
            </p:cNvPr>
            <p:cNvSpPr>
              <a:spLocks/>
            </p:cNvSpPr>
            <p:nvPr/>
          </p:nvSpPr>
          <p:spPr bwMode="auto">
            <a:xfrm>
              <a:off x="-992188" y="4313238"/>
              <a:ext cx="155575" cy="1428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Freeform 23">
              <a:extLst>
                <a:ext uri="{FF2B5EF4-FFF2-40B4-BE49-F238E27FC236}">
                  <a16:creationId xmlns:a16="http://schemas.microsoft.com/office/drawing/2014/main" id="{C5A7E4B2-D906-4893-9958-C636044410FA}"/>
                </a:ext>
              </a:extLst>
            </p:cNvPr>
            <p:cNvSpPr>
              <a:spLocks/>
            </p:cNvSpPr>
            <p:nvPr/>
          </p:nvSpPr>
          <p:spPr bwMode="auto">
            <a:xfrm>
              <a:off x="-1100138" y="4389438"/>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4">
              <a:extLst>
                <a:ext uri="{FF2B5EF4-FFF2-40B4-BE49-F238E27FC236}">
                  <a16:creationId xmlns:a16="http://schemas.microsoft.com/office/drawing/2014/main" id="{BB4A609C-44D5-46EA-B278-E8CFAB88589A}"/>
                </a:ext>
              </a:extLst>
            </p:cNvPr>
            <p:cNvSpPr>
              <a:spLocks/>
            </p:cNvSpPr>
            <p:nvPr/>
          </p:nvSpPr>
          <p:spPr bwMode="auto">
            <a:xfrm>
              <a:off x="-992188" y="4451351"/>
              <a:ext cx="47625" cy="139700"/>
            </a:xfrm>
            <a:custGeom>
              <a:avLst/>
              <a:gdLst>
                <a:gd name="T0" fmla="*/ 10 w 12"/>
                <a:gd name="T1" fmla="*/ 36 h 36"/>
                <a:gd name="T2" fmla="*/ 8 w 12"/>
                <a:gd name="T3" fmla="*/ 34 h 36"/>
                <a:gd name="T4" fmla="*/ 8 w 12"/>
                <a:gd name="T5" fmla="*/ 7 h 36"/>
                <a:gd name="T6" fmla="*/ 3 w 12"/>
                <a:gd name="T7" fmla="*/ 11 h 36"/>
                <a:gd name="T8" fmla="*/ 1 w 12"/>
                <a:gd name="T9" fmla="*/ 11 h 36"/>
                <a:gd name="T10" fmla="*/ 1 w 12"/>
                <a:gd name="T11" fmla="*/ 9 h 36"/>
                <a:gd name="T12" fmla="*/ 9 w 12"/>
                <a:gd name="T13" fmla="*/ 1 h 36"/>
                <a:gd name="T14" fmla="*/ 11 w 12"/>
                <a:gd name="T15" fmla="*/ 0 h 36"/>
                <a:gd name="T16" fmla="*/ 12 w 12"/>
                <a:gd name="T17" fmla="*/ 2 h 36"/>
                <a:gd name="T18" fmla="*/ 12 w 12"/>
                <a:gd name="T19" fmla="*/ 34 h 36"/>
                <a:gd name="T20" fmla="*/ 10 w 1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6">
                  <a:moveTo>
                    <a:pt x="10" y="36"/>
                  </a:moveTo>
                  <a:cubicBezTo>
                    <a:pt x="9" y="36"/>
                    <a:pt x="8" y="35"/>
                    <a:pt x="8" y="34"/>
                  </a:cubicBezTo>
                  <a:cubicBezTo>
                    <a:pt x="8" y="7"/>
                    <a:pt x="8" y="7"/>
                    <a:pt x="8" y="7"/>
                  </a:cubicBezTo>
                  <a:cubicBezTo>
                    <a:pt x="3" y="11"/>
                    <a:pt x="3" y="11"/>
                    <a:pt x="3" y="11"/>
                  </a:cubicBezTo>
                  <a:cubicBezTo>
                    <a:pt x="3" y="12"/>
                    <a:pt x="1" y="12"/>
                    <a:pt x="1" y="11"/>
                  </a:cubicBezTo>
                  <a:cubicBezTo>
                    <a:pt x="0" y="11"/>
                    <a:pt x="0" y="9"/>
                    <a:pt x="1" y="9"/>
                  </a:cubicBezTo>
                  <a:cubicBezTo>
                    <a:pt x="9" y="1"/>
                    <a:pt x="9" y="1"/>
                    <a:pt x="9" y="1"/>
                  </a:cubicBezTo>
                  <a:cubicBezTo>
                    <a:pt x="9" y="0"/>
                    <a:pt x="10" y="0"/>
                    <a:pt x="11" y="0"/>
                  </a:cubicBezTo>
                  <a:cubicBezTo>
                    <a:pt x="12" y="0"/>
                    <a:pt x="12" y="1"/>
                    <a:pt x="12" y="2"/>
                  </a:cubicBezTo>
                  <a:cubicBezTo>
                    <a:pt x="12" y="34"/>
                    <a:pt x="12" y="34"/>
                    <a:pt x="12" y="34"/>
                  </a:cubicBezTo>
                  <a:cubicBezTo>
                    <a:pt x="12" y="35"/>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5">
              <a:extLst>
                <a:ext uri="{FF2B5EF4-FFF2-40B4-BE49-F238E27FC236}">
                  <a16:creationId xmlns:a16="http://schemas.microsoft.com/office/drawing/2014/main" id="{69B11815-C3AE-4785-B41D-B484F9E1491F}"/>
                </a:ext>
              </a:extLst>
            </p:cNvPr>
            <p:cNvSpPr>
              <a:spLocks/>
            </p:cNvSpPr>
            <p:nvPr/>
          </p:nvSpPr>
          <p:spPr bwMode="auto">
            <a:xfrm>
              <a:off x="-992188" y="4575176"/>
              <a:ext cx="77788"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6">
              <a:extLst>
                <a:ext uri="{FF2B5EF4-FFF2-40B4-BE49-F238E27FC236}">
                  <a16:creationId xmlns:a16="http://schemas.microsoft.com/office/drawing/2014/main" id="{DB483F1D-CE93-4308-96AF-E27F4F83FA21}"/>
                </a:ext>
              </a:extLst>
            </p:cNvPr>
            <p:cNvSpPr>
              <a:spLocks/>
            </p:cNvSpPr>
            <p:nvPr/>
          </p:nvSpPr>
          <p:spPr bwMode="auto">
            <a:xfrm>
              <a:off x="-922338" y="4451351"/>
              <a:ext cx="93663" cy="139700"/>
            </a:xfrm>
            <a:custGeom>
              <a:avLst/>
              <a:gdLst>
                <a:gd name="T0" fmla="*/ 10 w 24"/>
                <a:gd name="T1" fmla="*/ 36 h 36"/>
                <a:gd name="T2" fmla="*/ 9 w 24"/>
                <a:gd name="T3" fmla="*/ 36 h 36"/>
                <a:gd name="T4" fmla="*/ 8 w 24"/>
                <a:gd name="T5" fmla="*/ 33 h 36"/>
                <a:gd name="T6" fmla="*/ 19 w 24"/>
                <a:gd name="T7" fmla="*/ 4 h 36"/>
                <a:gd name="T8" fmla="*/ 4 w 24"/>
                <a:gd name="T9" fmla="*/ 4 h 36"/>
                <a:gd name="T10" fmla="*/ 4 w 24"/>
                <a:gd name="T11" fmla="*/ 6 h 36"/>
                <a:gd name="T12" fmla="*/ 2 w 24"/>
                <a:gd name="T13" fmla="*/ 8 h 36"/>
                <a:gd name="T14" fmla="*/ 0 w 24"/>
                <a:gd name="T15" fmla="*/ 6 h 36"/>
                <a:gd name="T16" fmla="*/ 0 w 24"/>
                <a:gd name="T17" fmla="*/ 2 h 36"/>
                <a:gd name="T18" fmla="*/ 2 w 24"/>
                <a:gd name="T19" fmla="*/ 0 h 36"/>
                <a:gd name="T20" fmla="*/ 22 w 24"/>
                <a:gd name="T21" fmla="*/ 0 h 36"/>
                <a:gd name="T22" fmla="*/ 24 w 24"/>
                <a:gd name="T23" fmla="*/ 1 h 36"/>
                <a:gd name="T24" fmla="*/ 24 w 24"/>
                <a:gd name="T25" fmla="*/ 3 h 36"/>
                <a:gd name="T26" fmla="*/ 12 w 24"/>
                <a:gd name="T27" fmla="*/ 35 h 36"/>
                <a:gd name="T28" fmla="*/ 10 w 2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6">
                  <a:moveTo>
                    <a:pt x="10" y="36"/>
                  </a:moveTo>
                  <a:cubicBezTo>
                    <a:pt x="10" y="36"/>
                    <a:pt x="10" y="36"/>
                    <a:pt x="9" y="36"/>
                  </a:cubicBezTo>
                  <a:cubicBezTo>
                    <a:pt x="8" y="35"/>
                    <a:pt x="8" y="34"/>
                    <a:pt x="8" y="33"/>
                  </a:cubicBezTo>
                  <a:cubicBezTo>
                    <a:pt x="19" y="4"/>
                    <a:pt x="19" y="4"/>
                    <a:pt x="19"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22" y="0"/>
                    <a:pt x="22" y="0"/>
                    <a:pt x="22" y="0"/>
                  </a:cubicBezTo>
                  <a:cubicBezTo>
                    <a:pt x="23" y="0"/>
                    <a:pt x="23" y="0"/>
                    <a:pt x="24" y="1"/>
                  </a:cubicBezTo>
                  <a:cubicBezTo>
                    <a:pt x="24" y="1"/>
                    <a:pt x="24" y="2"/>
                    <a:pt x="24" y="3"/>
                  </a:cubicBezTo>
                  <a:cubicBezTo>
                    <a:pt x="12" y="35"/>
                    <a:pt x="12" y="35"/>
                    <a:pt x="12" y="35"/>
                  </a:cubicBezTo>
                  <a:cubicBezTo>
                    <a:pt x="12" y="36"/>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7">
              <a:extLst>
                <a:ext uri="{FF2B5EF4-FFF2-40B4-BE49-F238E27FC236}">
                  <a16:creationId xmlns:a16="http://schemas.microsoft.com/office/drawing/2014/main" id="{2F2A5F97-C6E0-4F63-A687-10303FA4012C}"/>
                </a:ext>
              </a:extLst>
            </p:cNvPr>
            <p:cNvSpPr>
              <a:spLocks/>
            </p:cNvSpPr>
            <p:nvPr/>
          </p:nvSpPr>
          <p:spPr bwMode="auto">
            <a:xfrm>
              <a:off x="-898526" y="4513263"/>
              <a:ext cx="61913"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7" name="Group 5135">
            <a:extLst>
              <a:ext uri="{FF2B5EF4-FFF2-40B4-BE49-F238E27FC236}">
                <a16:creationId xmlns:a16="http://schemas.microsoft.com/office/drawing/2014/main" id="{49A60B8A-1C46-447A-A55F-FF5FFA3F51D3}"/>
              </a:ext>
            </a:extLst>
          </p:cNvPr>
          <p:cNvGrpSpPr>
            <a:grpSpLocks noChangeAspect="1"/>
          </p:cNvGrpSpPr>
          <p:nvPr/>
        </p:nvGrpSpPr>
        <p:grpSpPr>
          <a:xfrm>
            <a:off x="284400" y="3801969"/>
            <a:ext cx="297046" cy="285619"/>
            <a:chOff x="-465135" y="1112832"/>
            <a:chExt cx="371473" cy="357181"/>
          </a:xfrm>
          <a:solidFill>
            <a:schemeClr val="bg2"/>
          </a:solidFill>
          <a:effectLst/>
        </p:grpSpPr>
        <p:sp>
          <p:nvSpPr>
            <p:cNvPr id="328" name="Freeform 20">
              <a:extLst>
                <a:ext uri="{FF2B5EF4-FFF2-40B4-BE49-F238E27FC236}">
                  <a16:creationId xmlns:a16="http://schemas.microsoft.com/office/drawing/2014/main" id="{127F973B-31BD-4088-A46F-E7EC31BDB2A8}"/>
                </a:ext>
              </a:extLst>
            </p:cNvPr>
            <p:cNvSpPr>
              <a:spLocks/>
            </p:cNvSpPr>
            <p:nvPr/>
          </p:nvSpPr>
          <p:spPr bwMode="auto">
            <a:xfrm>
              <a:off x="-465135" y="1454137"/>
              <a:ext cx="371473"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1">
              <a:extLst>
                <a:ext uri="{FF2B5EF4-FFF2-40B4-BE49-F238E27FC236}">
                  <a16:creationId xmlns:a16="http://schemas.microsoft.com/office/drawing/2014/main" id="{D94E247B-9F8B-48CF-B2BA-3C2863F40DC1}"/>
                </a:ext>
              </a:extLst>
            </p:cNvPr>
            <p:cNvSpPr>
              <a:spLocks/>
            </p:cNvSpPr>
            <p:nvPr/>
          </p:nvSpPr>
          <p:spPr bwMode="auto">
            <a:xfrm>
              <a:off x="-449260" y="1376350"/>
              <a:ext cx="61913" cy="93662"/>
            </a:xfrm>
            <a:custGeom>
              <a:avLst/>
              <a:gdLst>
                <a:gd name="T0" fmla="*/ 14 w 16"/>
                <a:gd name="T1" fmla="*/ 24 h 24"/>
                <a:gd name="T2" fmla="*/ 12 w 16"/>
                <a:gd name="T3" fmla="*/ 22 h 24"/>
                <a:gd name="T4" fmla="*/ 12 w 16"/>
                <a:gd name="T5" fmla="*/ 4 h 24"/>
                <a:gd name="T6" fmla="*/ 4 w 16"/>
                <a:gd name="T7" fmla="*/ 4 h 24"/>
                <a:gd name="T8" fmla="*/ 4 w 16"/>
                <a:gd name="T9" fmla="*/ 22 h 24"/>
                <a:gd name="T10" fmla="*/ 2 w 16"/>
                <a:gd name="T11" fmla="*/ 24 h 24"/>
                <a:gd name="T12" fmla="*/ 0 w 16"/>
                <a:gd name="T13" fmla="*/ 22 h 24"/>
                <a:gd name="T14" fmla="*/ 0 w 16"/>
                <a:gd name="T15" fmla="*/ 2 h 24"/>
                <a:gd name="T16" fmla="*/ 2 w 16"/>
                <a:gd name="T17" fmla="*/ 0 h 24"/>
                <a:gd name="T18" fmla="*/ 14 w 16"/>
                <a:gd name="T19" fmla="*/ 0 h 24"/>
                <a:gd name="T20" fmla="*/ 16 w 16"/>
                <a:gd name="T21" fmla="*/ 2 h 24"/>
                <a:gd name="T22" fmla="*/ 16 w 16"/>
                <a:gd name="T23" fmla="*/ 22 h 24"/>
                <a:gd name="T24" fmla="*/ 14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4" y="24"/>
                  </a:moveTo>
                  <a:cubicBezTo>
                    <a:pt x="13" y="24"/>
                    <a:pt x="12" y="23"/>
                    <a:pt x="12" y="22"/>
                  </a:cubicBezTo>
                  <a:cubicBezTo>
                    <a:pt x="12" y="4"/>
                    <a:pt x="12" y="4"/>
                    <a:pt x="12" y="4"/>
                  </a:cubicBezTo>
                  <a:cubicBezTo>
                    <a:pt x="4" y="4"/>
                    <a:pt x="4" y="4"/>
                    <a:pt x="4" y="4"/>
                  </a:cubicBezTo>
                  <a:cubicBezTo>
                    <a:pt x="4" y="22"/>
                    <a:pt x="4" y="22"/>
                    <a:pt x="4" y="22"/>
                  </a:cubicBezTo>
                  <a:cubicBezTo>
                    <a:pt x="4" y="23"/>
                    <a:pt x="3"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
              <a:extLst>
                <a:ext uri="{FF2B5EF4-FFF2-40B4-BE49-F238E27FC236}">
                  <a16:creationId xmlns:a16="http://schemas.microsoft.com/office/drawing/2014/main" id="{85B95BD4-0F9A-472C-B18E-3F0FCAEF1B92}"/>
                </a:ext>
              </a:extLst>
            </p:cNvPr>
            <p:cNvSpPr>
              <a:spLocks/>
            </p:cNvSpPr>
            <p:nvPr/>
          </p:nvSpPr>
          <p:spPr bwMode="auto">
            <a:xfrm>
              <a:off x="-357185" y="1298564"/>
              <a:ext cx="61913" cy="171448"/>
            </a:xfrm>
            <a:custGeom>
              <a:avLst/>
              <a:gdLst>
                <a:gd name="T0" fmla="*/ 14 w 16"/>
                <a:gd name="T1" fmla="*/ 44 h 44"/>
                <a:gd name="T2" fmla="*/ 12 w 16"/>
                <a:gd name="T3" fmla="*/ 42 h 44"/>
                <a:gd name="T4" fmla="*/ 12 w 16"/>
                <a:gd name="T5" fmla="*/ 4 h 44"/>
                <a:gd name="T6" fmla="*/ 4 w 16"/>
                <a:gd name="T7" fmla="*/ 4 h 44"/>
                <a:gd name="T8" fmla="*/ 4 w 16"/>
                <a:gd name="T9" fmla="*/ 42 h 44"/>
                <a:gd name="T10" fmla="*/ 2 w 16"/>
                <a:gd name="T11" fmla="*/ 44 h 44"/>
                <a:gd name="T12" fmla="*/ 0 w 16"/>
                <a:gd name="T13" fmla="*/ 42 h 44"/>
                <a:gd name="T14" fmla="*/ 0 w 16"/>
                <a:gd name="T15" fmla="*/ 2 h 44"/>
                <a:gd name="T16" fmla="*/ 2 w 16"/>
                <a:gd name="T17" fmla="*/ 0 h 44"/>
                <a:gd name="T18" fmla="*/ 14 w 16"/>
                <a:gd name="T19" fmla="*/ 0 h 44"/>
                <a:gd name="T20" fmla="*/ 16 w 16"/>
                <a:gd name="T21" fmla="*/ 2 h 44"/>
                <a:gd name="T22" fmla="*/ 16 w 16"/>
                <a:gd name="T23" fmla="*/ 42 h 44"/>
                <a:gd name="T24" fmla="*/ 14 w 1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4">
                  <a:moveTo>
                    <a:pt x="14" y="44"/>
                  </a:moveTo>
                  <a:cubicBezTo>
                    <a:pt x="13" y="44"/>
                    <a:pt x="12" y="43"/>
                    <a:pt x="12" y="42"/>
                  </a:cubicBezTo>
                  <a:cubicBezTo>
                    <a:pt x="12" y="4"/>
                    <a:pt x="12" y="4"/>
                    <a:pt x="12" y="4"/>
                  </a:cubicBezTo>
                  <a:cubicBezTo>
                    <a:pt x="4" y="4"/>
                    <a:pt x="4" y="4"/>
                    <a:pt x="4" y="4"/>
                  </a:cubicBezTo>
                  <a:cubicBezTo>
                    <a:pt x="4" y="42"/>
                    <a:pt x="4" y="42"/>
                    <a:pt x="4" y="42"/>
                  </a:cubicBezTo>
                  <a:cubicBezTo>
                    <a:pt x="4" y="43"/>
                    <a:pt x="3"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3">
              <a:extLst>
                <a:ext uri="{FF2B5EF4-FFF2-40B4-BE49-F238E27FC236}">
                  <a16:creationId xmlns:a16="http://schemas.microsoft.com/office/drawing/2014/main" id="{0B059EF3-4AF0-4E08-A8BE-BC82E9445728}"/>
                </a:ext>
              </a:extLst>
            </p:cNvPr>
            <p:cNvSpPr>
              <a:spLocks/>
            </p:cNvSpPr>
            <p:nvPr/>
          </p:nvSpPr>
          <p:spPr bwMode="auto">
            <a:xfrm>
              <a:off x="-263525" y="1330313"/>
              <a:ext cx="61913" cy="139699"/>
            </a:xfrm>
            <a:custGeom>
              <a:avLst/>
              <a:gdLst>
                <a:gd name="T0" fmla="*/ 14 w 16"/>
                <a:gd name="T1" fmla="*/ 36 h 36"/>
                <a:gd name="T2" fmla="*/ 12 w 16"/>
                <a:gd name="T3" fmla="*/ 34 h 36"/>
                <a:gd name="T4" fmla="*/ 12 w 16"/>
                <a:gd name="T5" fmla="*/ 4 h 36"/>
                <a:gd name="T6" fmla="*/ 4 w 16"/>
                <a:gd name="T7" fmla="*/ 4 h 36"/>
                <a:gd name="T8" fmla="*/ 4 w 16"/>
                <a:gd name="T9" fmla="*/ 34 h 36"/>
                <a:gd name="T10" fmla="*/ 2 w 16"/>
                <a:gd name="T11" fmla="*/ 36 h 36"/>
                <a:gd name="T12" fmla="*/ 0 w 16"/>
                <a:gd name="T13" fmla="*/ 34 h 36"/>
                <a:gd name="T14" fmla="*/ 0 w 16"/>
                <a:gd name="T15" fmla="*/ 2 h 36"/>
                <a:gd name="T16" fmla="*/ 2 w 16"/>
                <a:gd name="T17" fmla="*/ 0 h 36"/>
                <a:gd name="T18" fmla="*/ 14 w 16"/>
                <a:gd name="T19" fmla="*/ 0 h 36"/>
                <a:gd name="T20" fmla="*/ 16 w 16"/>
                <a:gd name="T21" fmla="*/ 2 h 36"/>
                <a:gd name="T22" fmla="*/ 16 w 16"/>
                <a:gd name="T23" fmla="*/ 34 h 36"/>
                <a:gd name="T24" fmla="*/ 14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14" y="36"/>
                  </a:moveTo>
                  <a:cubicBezTo>
                    <a:pt x="13" y="36"/>
                    <a:pt x="12" y="35"/>
                    <a:pt x="12" y="34"/>
                  </a:cubicBezTo>
                  <a:cubicBezTo>
                    <a:pt x="12" y="4"/>
                    <a:pt x="12" y="4"/>
                    <a:pt x="12" y="4"/>
                  </a:cubicBezTo>
                  <a:cubicBezTo>
                    <a:pt x="4" y="4"/>
                    <a:pt x="4" y="4"/>
                    <a:pt x="4" y="4"/>
                  </a:cubicBezTo>
                  <a:cubicBezTo>
                    <a:pt x="4" y="34"/>
                    <a:pt x="4" y="34"/>
                    <a:pt x="4" y="34"/>
                  </a:cubicBezTo>
                  <a:cubicBezTo>
                    <a:pt x="4" y="35"/>
                    <a:pt x="3"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4">
              <a:extLst>
                <a:ext uri="{FF2B5EF4-FFF2-40B4-BE49-F238E27FC236}">
                  <a16:creationId xmlns:a16="http://schemas.microsoft.com/office/drawing/2014/main" id="{24262103-9671-4DDB-9B64-BFF846025EDB}"/>
                </a:ext>
              </a:extLst>
            </p:cNvPr>
            <p:cNvSpPr>
              <a:spLocks/>
            </p:cNvSpPr>
            <p:nvPr/>
          </p:nvSpPr>
          <p:spPr bwMode="auto">
            <a:xfrm>
              <a:off x="-171451" y="1220778"/>
              <a:ext cx="61913" cy="249235"/>
            </a:xfrm>
            <a:custGeom>
              <a:avLst/>
              <a:gdLst>
                <a:gd name="T0" fmla="*/ 14 w 16"/>
                <a:gd name="T1" fmla="*/ 64 h 64"/>
                <a:gd name="T2" fmla="*/ 12 w 16"/>
                <a:gd name="T3" fmla="*/ 62 h 64"/>
                <a:gd name="T4" fmla="*/ 12 w 16"/>
                <a:gd name="T5" fmla="*/ 4 h 64"/>
                <a:gd name="T6" fmla="*/ 4 w 16"/>
                <a:gd name="T7" fmla="*/ 4 h 64"/>
                <a:gd name="T8" fmla="*/ 4 w 16"/>
                <a:gd name="T9" fmla="*/ 62 h 64"/>
                <a:gd name="T10" fmla="*/ 2 w 16"/>
                <a:gd name="T11" fmla="*/ 64 h 64"/>
                <a:gd name="T12" fmla="*/ 0 w 16"/>
                <a:gd name="T13" fmla="*/ 62 h 64"/>
                <a:gd name="T14" fmla="*/ 0 w 16"/>
                <a:gd name="T15" fmla="*/ 2 h 64"/>
                <a:gd name="T16" fmla="*/ 2 w 16"/>
                <a:gd name="T17" fmla="*/ 0 h 64"/>
                <a:gd name="T18" fmla="*/ 14 w 16"/>
                <a:gd name="T19" fmla="*/ 0 h 64"/>
                <a:gd name="T20" fmla="*/ 16 w 16"/>
                <a:gd name="T21" fmla="*/ 2 h 64"/>
                <a:gd name="T22" fmla="*/ 16 w 16"/>
                <a:gd name="T23" fmla="*/ 62 h 64"/>
                <a:gd name="T24" fmla="*/ 14 w 1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4">
                  <a:moveTo>
                    <a:pt x="14" y="64"/>
                  </a:moveTo>
                  <a:cubicBezTo>
                    <a:pt x="13" y="64"/>
                    <a:pt x="12" y="63"/>
                    <a:pt x="12" y="62"/>
                  </a:cubicBezTo>
                  <a:cubicBezTo>
                    <a:pt x="12" y="4"/>
                    <a:pt x="12" y="4"/>
                    <a:pt x="12" y="4"/>
                  </a:cubicBezTo>
                  <a:cubicBezTo>
                    <a:pt x="4" y="4"/>
                    <a:pt x="4" y="4"/>
                    <a:pt x="4" y="4"/>
                  </a:cubicBezTo>
                  <a:cubicBezTo>
                    <a:pt x="4" y="62"/>
                    <a:pt x="4" y="62"/>
                    <a:pt x="4" y="62"/>
                  </a:cubicBezTo>
                  <a:cubicBezTo>
                    <a:pt x="4" y="63"/>
                    <a:pt x="3"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5">
              <a:extLst>
                <a:ext uri="{FF2B5EF4-FFF2-40B4-BE49-F238E27FC236}">
                  <a16:creationId xmlns:a16="http://schemas.microsoft.com/office/drawing/2014/main" id="{AF6F2A17-133A-47A6-8C84-12E3293A3FC6}"/>
                </a:ext>
              </a:extLst>
            </p:cNvPr>
            <p:cNvSpPr>
              <a:spLocks/>
            </p:cNvSpPr>
            <p:nvPr/>
          </p:nvSpPr>
          <p:spPr bwMode="auto">
            <a:xfrm>
              <a:off x="-427036" y="1112832"/>
              <a:ext cx="303212" cy="169861"/>
            </a:xfrm>
            <a:custGeom>
              <a:avLst/>
              <a:gdLst>
                <a:gd name="T0" fmla="*/ 2 w 78"/>
                <a:gd name="T1" fmla="*/ 44 h 44"/>
                <a:gd name="T2" fmla="*/ 0 w 78"/>
                <a:gd name="T3" fmla="*/ 43 h 44"/>
                <a:gd name="T4" fmla="*/ 1 w 78"/>
                <a:gd name="T5" fmla="*/ 40 h 44"/>
                <a:gd name="T6" fmla="*/ 25 w 78"/>
                <a:gd name="T7" fmla="*/ 20 h 44"/>
                <a:gd name="T8" fmla="*/ 27 w 78"/>
                <a:gd name="T9" fmla="*/ 20 h 44"/>
                <a:gd name="T10" fmla="*/ 49 w 78"/>
                <a:gd name="T11" fmla="*/ 28 h 44"/>
                <a:gd name="T12" fmla="*/ 75 w 78"/>
                <a:gd name="T13" fmla="*/ 1 h 44"/>
                <a:gd name="T14" fmla="*/ 77 w 78"/>
                <a:gd name="T15" fmla="*/ 1 h 44"/>
                <a:gd name="T16" fmla="*/ 77 w 78"/>
                <a:gd name="T17" fmla="*/ 3 h 44"/>
                <a:gd name="T18" fmla="*/ 51 w 78"/>
                <a:gd name="T19" fmla="*/ 31 h 44"/>
                <a:gd name="T20" fmla="*/ 49 w 78"/>
                <a:gd name="T21" fmla="*/ 32 h 44"/>
                <a:gd name="T22" fmla="*/ 26 w 78"/>
                <a:gd name="T23" fmla="*/ 24 h 44"/>
                <a:gd name="T24" fmla="*/ 3 w 78"/>
                <a:gd name="T25" fmla="*/ 44 h 44"/>
                <a:gd name="T26" fmla="*/ 2 w 7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44">
                  <a:moveTo>
                    <a:pt x="2" y="44"/>
                  </a:moveTo>
                  <a:cubicBezTo>
                    <a:pt x="1" y="44"/>
                    <a:pt x="1" y="44"/>
                    <a:pt x="0" y="43"/>
                  </a:cubicBezTo>
                  <a:cubicBezTo>
                    <a:pt x="0" y="42"/>
                    <a:pt x="0" y="41"/>
                    <a:pt x="1" y="40"/>
                  </a:cubicBezTo>
                  <a:cubicBezTo>
                    <a:pt x="25" y="20"/>
                    <a:pt x="25" y="20"/>
                    <a:pt x="25" y="20"/>
                  </a:cubicBezTo>
                  <a:cubicBezTo>
                    <a:pt x="25" y="20"/>
                    <a:pt x="26" y="20"/>
                    <a:pt x="27" y="20"/>
                  </a:cubicBezTo>
                  <a:cubicBezTo>
                    <a:pt x="49" y="28"/>
                    <a:pt x="49" y="28"/>
                    <a:pt x="49" y="28"/>
                  </a:cubicBezTo>
                  <a:cubicBezTo>
                    <a:pt x="75" y="1"/>
                    <a:pt x="75" y="1"/>
                    <a:pt x="75" y="1"/>
                  </a:cubicBezTo>
                  <a:cubicBezTo>
                    <a:pt x="75" y="0"/>
                    <a:pt x="77" y="0"/>
                    <a:pt x="77" y="1"/>
                  </a:cubicBezTo>
                  <a:cubicBezTo>
                    <a:pt x="78" y="1"/>
                    <a:pt x="78" y="3"/>
                    <a:pt x="77" y="3"/>
                  </a:cubicBezTo>
                  <a:cubicBezTo>
                    <a:pt x="51" y="31"/>
                    <a:pt x="51" y="31"/>
                    <a:pt x="51" y="31"/>
                  </a:cubicBezTo>
                  <a:cubicBezTo>
                    <a:pt x="51" y="32"/>
                    <a:pt x="50" y="32"/>
                    <a:pt x="49" y="32"/>
                  </a:cubicBezTo>
                  <a:cubicBezTo>
                    <a:pt x="26" y="24"/>
                    <a:pt x="26" y="24"/>
                    <a:pt x="26" y="24"/>
                  </a:cubicBezTo>
                  <a:cubicBezTo>
                    <a:pt x="3" y="44"/>
                    <a:pt x="3" y="44"/>
                    <a:pt x="3" y="44"/>
                  </a:cubicBezTo>
                  <a:cubicBezTo>
                    <a:pt x="3"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26">
              <a:extLst>
                <a:ext uri="{FF2B5EF4-FFF2-40B4-BE49-F238E27FC236}">
                  <a16:creationId xmlns:a16="http://schemas.microsoft.com/office/drawing/2014/main" id="{0988FFB1-86F7-400F-BB45-2528806429AA}"/>
                </a:ext>
              </a:extLst>
            </p:cNvPr>
            <p:cNvSpPr>
              <a:spLocks/>
            </p:cNvSpPr>
            <p:nvPr/>
          </p:nvSpPr>
          <p:spPr bwMode="auto">
            <a:xfrm>
              <a:off x="-201613" y="1112838"/>
              <a:ext cx="77788" cy="77787"/>
            </a:xfrm>
            <a:custGeom>
              <a:avLst/>
              <a:gdLst>
                <a:gd name="T0" fmla="*/ 18 w 20"/>
                <a:gd name="T1" fmla="*/ 20 h 20"/>
                <a:gd name="T2" fmla="*/ 16 w 20"/>
                <a:gd name="T3" fmla="*/ 18 h 20"/>
                <a:gd name="T4" fmla="*/ 16 w 20"/>
                <a:gd name="T5" fmla="*/ 4 h 20"/>
                <a:gd name="T6" fmla="*/ 2 w 20"/>
                <a:gd name="T7" fmla="*/ 4 h 20"/>
                <a:gd name="T8" fmla="*/ 0 w 20"/>
                <a:gd name="T9" fmla="*/ 2 h 20"/>
                <a:gd name="T10" fmla="*/ 2 w 20"/>
                <a:gd name="T11" fmla="*/ 0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17" y="20"/>
                    <a:pt x="16" y="19"/>
                    <a:pt x="16" y="18"/>
                  </a:cubicBezTo>
                  <a:cubicBezTo>
                    <a:pt x="16" y="4"/>
                    <a:pt x="16" y="4"/>
                    <a:pt x="16" y="4"/>
                  </a:cubicBez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3" name="Group 1029">
            <a:extLst>
              <a:ext uri="{FF2B5EF4-FFF2-40B4-BE49-F238E27FC236}">
                <a16:creationId xmlns:a16="http://schemas.microsoft.com/office/drawing/2014/main" id="{6339AB2E-E332-4722-B168-7008C113E0E5}"/>
              </a:ext>
            </a:extLst>
          </p:cNvPr>
          <p:cNvGrpSpPr>
            <a:grpSpLocks noChangeAspect="1"/>
          </p:cNvGrpSpPr>
          <p:nvPr/>
        </p:nvGrpSpPr>
        <p:grpSpPr>
          <a:xfrm>
            <a:off x="284400" y="5956111"/>
            <a:ext cx="286898" cy="285619"/>
            <a:chOff x="2532063" y="1825626"/>
            <a:chExt cx="355600" cy="354013"/>
          </a:xfrm>
          <a:solidFill>
            <a:schemeClr val="bg2"/>
          </a:solidFill>
          <a:effectLst/>
        </p:grpSpPr>
        <p:sp>
          <p:nvSpPr>
            <p:cNvPr id="1231" name="Freeform 14">
              <a:extLst>
                <a:ext uri="{FF2B5EF4-FFF2-40B4-BE49-F238E27FC236}">
                  <a16:creationId xmlns:a16="http://schemas.microsoft.com/office/drawing/2014/main" id="{64503E09-D29B-4260-AB39-A3B4B643BE09}"/>
                </a:ext>
              </a:extLst>
            </p:cNvPr>
            <p:cNvSpPr>
              <a:spLocks noEditPoints="1"/>
            </p:cNvSpPr>
            <p:nvPr/>
          </p:nvSpPr>
          <p:spPr bwMode="auto">
            <a:xfrm>
              <a:off x="2532063" y="1825626"/>
              <a:ext cx="355600" cy="354013"/>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232" name="Freeform 15">
              <a:extLst>
                <a:ext uri="{FF2B5EF4-FFF2-40B4-BE49-F238E27FC236}">
                  <a16:creationId xmlns:a16="http://schemas.microsoft.com/office/drawing/2014/main" id="{DAA869E6-CCEB-4696-AED7-23F690C218D8}"/>
                </a:ext>
              </a:extLst>
            </p:cNvPr>
            <p:cNvSpPr>
              <a:spLocks/>
            </p:cNvSpPr>
            <p:nvPr/>
          </p:nvSpPr>
          <p:spPr bwMode="auto">
            <a:xfrm>
              <a:off x="2655888" y="1909763"/>
              <a:ext cx="107950" cy="153988"/>
            </a:xfrm>
            <a:custGeom>
              <a:avLst/>
              <a:gdLst>
                <a:gd name="T0" fmla="*/ 14 w 28"/>
                <a:gd name="T1" fmla="*/ 40 h 40"/>
                <a:gd name="T2" fmla="*/ 12 w 28"/>
                <a:gd name="T3" fmla="*/ 38 h 40"/>
                <a:gd name="T4" fmla="*/ 12 w 28"/>
                <a:gd name="T5" fmla="*/ 26 h 40"/>
                <a:gd name="T6" fmla="*/ 14 w 28"/>
                <a:gd name="T7" fmla="*/ 24 h 40"/>
                <a:gd name="T8" fmla="*/ 24 w 28"/>
                <a:gd name="T9" fmla="*/ 14 h 40"/>
                <a:gd name="T10" fmla="*/ 14 w 28"/>
                <a:gd name="T11" fmla="*/ 4 h 40"/>
                <a:gd name="T12" fmla="*/ 4 w 28"/>
                <a:gd name="T13" fmla="*/ 14 h 40"/>
                <a:gd name="T14" fmla="*/ 2 w 28"/>
                <a:gd name="T15" fmla="*/ 16 h 40"/>
                <a:gd name="T16" fmla="*/ 0 w 28"/>
                <a:gd name="T17" fmla="*/ 14 h 40"/>
                <a:gd name="T18" fmla="*/ 14 w 28"/>
                <a:gd name="T19" fmla="*/ 0 h 40"/>
                <a:gd name="T20" fmla="*/ 28 w 28"/>
                <a:gd name="T21" fmla="*/ 14 h 40"/>
                <a:gd name="T22" fmla="*/ 16 w 28"/>
                <a:gd name="T23" fmla="*/ 28 h 40"/>
                <a:gd name="T24" fmla="*/ 16 w 28"/>
                <a:gd name="T25" fmla="*/ 38 h 40"/>
                <a:gd name="T26" fmla="*/ 14 w 28"/>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0">
                  <a:moveTo>
                    <a:pt x="14" y="40"/>
                  </a:moveTo>
                  <a:cubicBezTo>
                    <a:pt x="13" y="40"/>
                    <a:pt x="12" y="39"/>
                    <a:pt x="12" y="38"/>
                  </a:cubicBezTo>
                  <a:cubicBezTo>
                    <a:pt x="12" y="26"/>
                    <a:pt x="12" y="26"/>
                    <a:pt x="12" y="26"/>
                  </a:cubicBezTo>
                  <a:cubicBezTo>
                    <a:pt x="12" y="25"/>
                    <a:pt x="13" y="24"/>
                    <a:pt x="14" y="24"/>
                  </a:cubicBezTo>
                  <a:cubicBezTo>
                    <a:pt x="20" y="24"/>
                    <a:pt x="24" y="20"/>
                    <a:pt x="24" y="14"/>
                  </a:cubicBezTo>
                  <a:cubicBezTo>
                    <a:pt x="24" y="8"/>
                    <a:pt x="20" y="4"/>
                    <a:pt x="14" y="4"/>
                  </a:cubicBezTo>
                  <a:cubicBezTo>
                    <a:pt x="8" y="4"/>
                    <a:pt x="4" y="8"/>
                    <a:pt x="4" y="14"/>
                  </a:cubicBezTo>
                  <a:cubicBezTo>
                    <a:pt x="4" y="15"/>
                    <a:pt x="3" y="16"/>
                    <a:pt x="2" y="16"/>
                  </a:cubicBezTo>
                  <a:cubicBezTo>
                    <a:pt x="1" y="16"/>
                    <a:pt x="0" y="15"/>
                    <a:pt x="0" y="14"/>
                  </a:cubicBezTo>
                  <a:cubicBezTo>
                    <a:pt x="0" y="6"/>
                    <a:pt x="6" y="0"/>
                    <a:pt x="14" y="0"/>
                  </a:cubicBezTo>
                  <a:cubicBezTo>
                    <a:pt x="22" y="0"/>
                    <a:pt x="28" y="6"/>
                    <a:pt x="28" y="14"/>
                  </a:cubicBezTo>
                  <a:cubicBezTo>
                    <a:pt x="28" y="21"/>
                    <a:pt x="23" y="27"/>
                    <a:pt x="16" y="28"/>
                  </a:cubicBezTo>
                  <a:cubicBezTo>
                    <a:pt x="16" y="38"/>
                    <a:pt x="16" y="38"/>
                    <a:pt x="16" y="38"/>
                  </a:cubicBezTo>
                  <a:cubicBezTo>
                    <a:pt x="16" y="39"/>
                    <a:pt x="15" y="40"/>
                    <a:pt x="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233" name="Oval 16">
              <a:extLst>
                <a:ext uri="{FF2B5EF4-FFF2-40B4-BE49-F238E27FC236}">
                  <a16:creationId xmlns:a16="http://schemas.microsoft.com/office/drawing/2014/main" id="{C5CFC876-2D8C-4A26-A488-88843D4E1267}"/>
                </a:ext>
              </a:extLst>
            </p:cNvPr>
            <p:cNvSpPr>
              <a:spLocks noChangeArrowheads="1"/>
            </p:cNvSpPr>
            <p:nvPr/>
          </p:nvSpPr>
          <p:spPr bwMode="auto">
            <a:xfrm>
              <a:off x="2693988" y="2079626"/>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415" name="Group 114">
            <a:extLst>
              <a:ext uri="{FF2B5EF4-FFF2-40B4-BE49-F238E27FC236}">
                <a16:creationId xmlns:a16="http://schemas.microsoft.com/office/drawing/2014/main" id="{11169D1A-F705-4F5F-9B4B-1AB2CB7DE588}"/>
              </a:ext>
            </a:extLst>
          </p:cNvPr>
          <p:cNvGrpSpPr>
            <a:grpSpLocks noChangeAspect="1"/>
          </p:cNvGrpSpPr>
          <p:nvPr/>
        </p:nvGrpSpPr>
        <p:grpSpPr>
          <a:xfrm>
            <a:off x="648948" y="2186361"/>
            <a:ext cx="330303" cy="285619"/>
            <a:chOff x="9732963" y="852488"/>
            <a:chExt cx="690563" cy="742951"/>
          </a:xfrm>
          <a:solidFill>
            <a:schemeClr val="bg2"/>
          </a:solidFill>
          <a:effectLst/>
        </p:grpSpPr>
        <p:sp>
          <p:nvSpPr>
            <p:cNvPr id="416" name="Freeform 22">
              <a:extLst>
                <a:ext uri="{FF2B5EF4-FFF2-40B4-BE49-F238E27FC236}">
                  <a16:creationId xmlns:a16="http://schemas.microsoft.com/office/drawing/2014/main" id="{EB64D436-92F4-4E3E-BC52-A4CF5D75351D}"/>
                </a:ext>
              </a:extLst>
            </p:cNvPr>
            <p:cNvSpPr>
              <a:spLocks noEditPoints="1"/>
            </p:cNvSpPr>
            <p:nvPr/>
          </p:nvSpPr>
          <p:spPr bwMode="auto">
            <a:xfrm>
              <a:off x="9969500" y="1144588"/>
              <a:ext cx="220663" cy="239713"/>
            </a:xfrm>
            <a:custGeom>
              <a:avLst/>
              <a:gdLst>
                <a:gd name="T0" fmla="*/ 177 w 416"/>
                <a:gd name="T1" fmla="*/ 55 h 451"/>
                <a:gd name="T2" fmla="*/ 133 w 416"/>
                <a:gd name="T3" fmla="*/ 72 h 451"/>
                <a:gd name="T4" fmla="*/ 97 w 416"/>
                <a:gd name="T5" fmla="*/ 103 h 451"/>
                <a:gd name="T6" fmla="*/ 72 w 416"/>
                <a:gd name="T7" fmla="*/ 143 h 451"/>
                <a:gd name="T8" fmla="*/ 56 w 416"/>
                <a:gd name="T9" fmla="*/ 191 h 451"/>
                <a:gd name="T10" fmla="*/ 53 w 416"/>
                <a:gd name="T11" fmla="*/ 244 h 451"/>
                <a:gd name="T12" fmla="*/ 64 w 416"/>
                <a:gd name="T13" fmla="*/ 293 h 451"/>
                <a:gd name="T14" fmla="*/ 87 w 416"/>
                <a:gd name="T15" fmla="*/ 336 h 451"/>
                <a:gd name="T16" fmla="*/ 120 w 416"/>
                <a:gd name="T17" fmla="*/ 369 h 451"/>
                <a:gd name="T18" fmla="*/ 161 w 416"/>
                <a:gd name="T19" fmla="*/ 391 h 451"/>
                <a:gd name="T20" fmla="*/ 208 w 416"/>
                <a:gd name="T21" fmla="*/ 399 h 451"/>
                <a:gd name="T22" fmla="*/ 254 w 416"/>
                <a:gd name="T23" fmla="*/ 391 h 451"/>
                <a:gd name="T24" fmla="*/ 295 w 416"/>
                <a:gd name="T25" fmla="*/ 369 h 451"/>
                <a:gd name="T26" fmla="*/ 328 w 416"/>
                <a:gd name="T27" fmla="*/ 336 h 451"/>
                <a:gd name="T28" fmla="*/ 351 w 416"/>
                <a:gd name="T29" fmla="*/ 293 h 451"/>
                <a:gd name="T30" fmla="*/ 362 w 416"/>
                <a:gd name="T31" fmla="*/ 244 h 451"/>
                <a:gd name="T32" fmla="*/ 360 w 416"/>
                <a:gd name="T33" fmla="*/ 191 h 451"/>
                <a:gd name="T34" fmla="*/ 344 w 416"/>
                <a:gd name="T35" fmla="*/ 143 h 451"/>
                <a:gd name="T36" fmla="*/ 318 w 416"/>
                <a:gd name="T37" fmla="*/ 103 h 451"/>
                <a:gd name="T38" fmla="*/ 282 w 416"/>
                <a:gd name="T39" fmla="*/ 72 h 451"/>
                <a:gd name="T40" fmla="*/ 239 w 416"/>
                <a:gd name="T41" fmla="*/ 55 h 451"/>
                <a:gd name="T42" fmla="*/ 208 w 416"/>
                <a:gd name="T43" fmla="*/ 451 h 451"/>
                <a:gd name="T44" fmla="*/ 146 w 416"/>
                <a:gd name="T45" fmla="*/ 441 h 451"/>
                <a:gd name="T46" fmla="*/ 92 w 416"/>
                <a:gd name="T47" fmla="*/ 412 h 451"/>
                <a:gd name="T48" fmla="*/ 47 w 416"/>
                <a:gd name="T49" fmla="*/ 369 h 451"/>
                <a:gd name="T50" fmla="*/ 17 w 416"/>
                <a:gd name="T51" fmla="*/ 313 h 451"/>
                <a:gd name="T52" fmla="*/ 1 w 416"/>
                <a:gd name="T53" fmla="*/ 248 h 451"/>
                <a:gd name="T54" fmla="*/ 4 w 416"/>
                <a:gd name="T55" fmla="*/ 180 h 451"/>
                <a:gd name="T56" fmla="*/ 25 w 416"/>
                <a:gd name="T57" fmla="*/ 119 h 451"/>
                <a:gd name="T58" fmla="*/ 61 w 416"/>
                <a:gd name="T59" fmla="*/ 65 h 451"/>
                <a:gd name="T60" fmla="*/ 109 w 416"/>
                <a:gd name="T61" fmla="*/ 26 h 451"/>
                <a:gd name="T62" fmla="*/ 167 w 416"/>
                <a:gd name="T63" fmla="*/ 5 h 451"/>
                <a:gd name="T64" fmla="*/ 228 w 416"/>
                <a:gd name="T65" fmla="*/ 0 h 451"/>
                <a:gd name="T66" fmla="*/ 289 w 416"/>
                <a:gd name="T67" fmla="*/ 18 h 451"/>
                <a:gd name="T68" fmla="*/ 339 w 416"/>
                <a:gd name="T69" fmla="*/ 51 h 451"/>
                <a:gd name="T70" fmla="*/ 380 w 416"/>
                <a:gd name="T71" fmla="*/ 100 h 451"/>
                <a:gd name="T72" fmla="*/ 406 w 416"/>
                <a:gd name="T73" fmla="*/ 159 h 451"/>
                <a:gd name="T74" fmla="*/ 416 w 416"/>
                <a:gd name="T75" fmla="*/ 225 h 451"/>
                <a:gd name="T76" fmla="*/ 406 w 416"/>
                <a:gd name="T77" fmla="*/ 293 h 451"/>
                <a:gd name="T78" fmla="*/ 380 w 416"/>
                <a:gd name="T79" fmla="*/ 352 h 451"/>
                <a:gd name="T80" fmla="*/ 339 w 416"/>
                <a:gd name="T81" fmla="*/ 399 h 451"/>
                <a:gd name="T82" fmla="*/ 289 w 416"/>
                <a:gd name="T83" fmla="*/ 434 h 451"/>
                <a:gd name="T84" fmla="*/ 228 w 416"/>
                <a:gd name="T85" fmla="*/ 4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1">
                  <a:moveTo>
                    <a:pt x="208" y="52"/>
                  </a:moveTo>
                  <a:lnTo>
                    <a:pt x="192" y="52"/>
                  </a:lnTo>
                  <a:lnTo>
                    <a:pt x="177" y="55"/>
                  </a:lnTo>
                  <a:lnTo>
                    <a:pt x="161" y="59"/>
                  </a:lnTo>
                  <a:lnTo>
                    <a:pt x="148" y="65"/>
                  </a:lnTo>
                  <a:lnTo>
                    <a:pt x="133" y="72"/>
                  </a:lnTo>
                  <a:lnTo>
                    <a:pt x="120" y="81"/>
                  </a:lnTo>
                  <a:lnTo>
                    <a:pt x="109" y="91"/>
                  </a:lnTo>
                  <a:lnTo>
                    <a:pt x="97" y="103"/>
                  </a:lnTo>
                  <a:lnTo>
                    <a:pt x="87" y="116"/>
                  </a:lnTo>
                  <a:lnTo>
                    <a:pt x="79" y="129"/>
                  </a:lnTo>
                  <a:lnTo>
                    <a:pt x="72" y="143"/>
                  </a:lnTo>
                  <a:lnTo>
                    <a:pt x="64" y="157"/>
                  </a:lnTo>
                  <a:lnTo>
                    <a:pt x="60" y="173"/>
                  </a:lnTo>
                  <a:lnTo>
                    <a:pt x="56" y="191"/>
                  </a:lnTo>
                  <a:lnTo>
                    <a:pt x="53" y="208"/>
                  </a:lnTo>
                  <a:lnTo>
                    <a:pt x="53" y="225"/>
                  </a:lnTo>
                  <a:lnTo>
                    <a:pt x="53" y="244"/>
                  </a:lnTo>
                  <a:lnTo>
                    <a:pt x="56" y="260"/>
                  </a:lnTo>
                  <a:lnTo>
                    <a:pt x="60" y="277"/>
                  </a:lnTo>
                  <a:lnTo>
                    <a:pt x="64" y="293"/>
                  </a:lnTo>
                  <a:lnTo>
                    <a:pt x="72" y="309"/>
                  </a:lnTo>
                  <a:lnTo>
                    <a:pt x="79" y="323"/>
                  </a:lnTo>
                  <a:lnTo>
                    <a:pt x="87" y="336"/>
                  </a:lnTo>
                  <a:lnTo>
                    <a:pt x="97" y="347"/>
                  </a:lnTo>
                  <a:lnTo>
                    <a:pt x="109" y="359"/>
                  </a:lnTo>
                  <a:lnTo>
                    <a:pt x="120" y="369"/>
                  </a:lnTo>
                  <a:lnTo>
                    <a:pt x="133" y="378"/>
                  </a:lnTo>
                  <a:lnTo>
                    <a:pt x="148" y="385"/>
                  </a:lnTo>
                  <a:lnTo>
                    <a:pt x="161" y="391"/>
                  </a:lnTo>
                  <a:lnTo>
                    <a:pt x="177" y="395"/>
                  </a:lnTo>
                  <a:lnTo>
                    <a:pt x="192" y="398"/>
                  </a:lnTo>
                  <a:lnTo>
                    <a:pt x="208" y="399"/>
                  </a:lnTo>
                  <a:lnTo>
                    <a:pt x="224" y="398"/>
                  </a:lnTo>
                  <a:lnTo>
                    <a:pt x="239" y="395"/>
                  </a:lnTo>
                  <a:lnTo>
                    <a:pt x="254" y="391"/>
                  </a:lnTo>
                  <a:lnTo>
                    <a:pt x="267" y="385"/>
                  </a:lnTo>
                  <a:lnTo>
                    <a:pt x="282" y="378"/>
                  </a:lnTo>
                  <a:lnTo>
                    <a:pt x="295" y="369"/>
                  </a:lnTo>
                  <a:lnTo>
                    <a:pt x="306" y="359"/>
                  </a:lnTo>
                  <a:lnTo>
                    <a:pt x="318" y="347"/>
                  </a:lnTo>
                  <a:lnTo>
                    <a:pt x="328" y="336"/>
                  </a:lnTo>
                  <a:lnTo>
                    <a:pt x="336" y="323"/>
                  </a:lnTo>
                  <a:lnTo>
                    <a:pt x="344" y="309"/>
                  </a:lnTo>
                  <a:lnTo>
                    <a:pt x="351" y="293"/>
                  </a:lnTo>
                  <a:lnTo>
                    <a:pt x="355" y="277"/>
                  </a:lnTo>
                  <a:lnTo>
                    <a:pt x="360" y="260"/>
                  </a:lnTo>
                  <a:lnTo>
                    <a:pt x="362" y="244"/>
                  </a:lnTo>
                  <a:lnTo>
                    <a:pt x="362" y="225"/>
                  </a:lnTo>
                  <a:lnTo>
                    <a:pt x="362" y="208"/>
                  </a:lnTo>
                  <a:lnTo>
                    <a:pt x="360" y="191"/>
                  </a:lnTo>
                  <a:lnTo>
                    <a:pt x="355" y="173"/>
                  </a:lnTo>
                  <a:lnTo>
                    <a:pt x="351" y="157"/>
                  </a:lnTo>
                  <a:lnTo>
                    <a:pt x="344" y="143"/>
                  </a:lnTo>
                  <a:lnTo>
                    <a:pt x="336" y="129"/>
                  </a:lnTo>
                  <a:lnTo>
                    <a:pt x="328" y="116"/>
                  </a:lnTo>
                  <a:lnTo>
                    <a:pt x="318" y="103"/>
                  </a:lnTo>
                  <a:lnTo>
                    <a:pt x="306" y="91"/>
                  </a:lnTo>
                  <a:lnTo>
                    <a:pt x="295" y="81"/>
                  </a:lnTo>
                  <a:lnTo>
                    <a:pt x="282" y="72"/>
                  </a:lnTo>
                  <a:lnTo>
                    <a:pt x="267" y="65"/>
                  </a:lnTo>
                  <a:lnTo>
                    <a:pt x="254" y="59"/>
                  </a:lnTo>
                  <a:lnTo>
                    <a:pt x="239" y="55"/>
                  </a:lnTo>
                  <a:lnTo>
                    <a:pt x="224" y="52"/>
                  </a:lnTo>
                  <a:lnTo>
                    <a:pt x="208" y="52"/>
                  </a:lnTo>
                  <a:close/>
                  <a:moveTo>
                    <a:pt x="208" y="451"/>
                  </a:moveTo>
                  <a:lnTo>
                    <a:pt x="187" y="450"/>
                  </a:lnTo>
                  <a:lnTo>
                    <a:pt x="167" y="447"/>
                  </a:lnTo>
                  <a:lnTo>
                    <a:pt x="146" y="441"/>
                  </a:lnTo>
                  <a:lnTo>
                    <a:pt x="126" y="434"/>
                  </a:lnTo>
                  <a:lnTo>
                    <a:pt x="109" y="424"/>
                  </a:lnTo>
                  <a:lnTo>
                    <a:pt x="92" y="412"/>
                  </a:lnTo>
                  <a:lnTo>
                    <a:pt x="76" y="399"/>
                  </a:lnTo>
                  <a:lnTo>
                    <a:pt x="61" y="385"/>
                  </a:lnTo>
                  <a:lnTo>
                    <a:pt x="47" y="369"/>
                  </a:lnTo>
                  <a:lnTo>
                    <a:pt x="36" y="352"/>
                  </a:lnTo>
                  <a:lnTo>
                    <a:pt x="25" y="333"/>
                  </a:lnTo>
                  <a:lnTo>
                    <a:pt x="17" y="313"/>
                  </a:lnTo>
                  <a:lnTo>
                    <a:pt x="10" y="293"/>
                  </a:lnTo>
                  <a:lnTo>
                    <a:pt x="4" y="271"/>
                  </a:lnTo>
                  <a:lnTo>
                    <a:pt x="1" y="248"/>
                  </a:lnTo>
                  <a:lnTo>
                    <a:pt x="0" y="225"/>
                  </a:lnTo>
                  <a:lnTo>
                    <a:pt x="1" y="202"/>
                  </a:lnTo>
                  <a:lnTo>
                    <a:pt x="4" y="180"/>
                  </a:lnTo>
                  <a:lnTo>
                    <a:pt x="10" y="159"/>
                  </a:lnTo>
                  <a:lnTo>
                    <a:pt x="17" y="137"/>
                  </a:lnTo>
                  <a:lnTo>
                    <a:pt x="25" y="119"/>
                  </a:lnTo>
                  <a:lnTo>
                    <a:pt x="36" y="100"/>
                  </a:lnTo>
                  <a:lnTo>
                    <a:pt x="47" y="83"/>
                  </a:lnTo>
                  <a:lnTo>
                    <a:pt x="61" y="65"/>
                  </a:lnTo>
                  <a:lnTo>
                    <a:pt x="76" y="51"/>
                  </a:lnTo>
                  <a:lnTo>
                    <a:pt x="92" y="38"/>
                  </a:lnTo>
                  <a:lnTo>
                    <a:pt x="109" y="26"/>
                  </a:lnTo>
                  <a:lnTo>
                    <a:pt x="126" y="18"/>
                  </a:lnTo>
                  <a:lnTo>
                    <a:pt x="146" y="11"/>
                  </a:lnTo>
                  <a:lnTo>
                    <a:pt x="167" y="5"/>
                  </a:lnTo>
                  <a:lnTo>
                    <a:pt x="187" y="0"/>
                  </a:lnTo>
                  <a:lnTo>
                    <a:pt x="208" y="0"/>
                  </a:lnTo>
                  <a:lnTo>
                    <a:pt x="228" y="0"/>
                  </a:lnTo>
                  <a:lnTo>
                    <a:pt x="250" y="5"/>
                  </a:lnTo>
                  <a:lnTo>
                    <a:pt x="269" y="11"/>
                  </a:lnTo>
                  <a:lnTo>
                    <a:pt x="289" y="18"/>
                  </a:lnTo>
                  <a:lnTo>
                    <a:pt x="306" y="26"/>
                  </a:lnTo>
                  <a:lnTo>
                    <a:pt x="324" y="38"/>
                  </a:lnTo>
                  <a:lnTo>
                    <a:pt x="339" y="51"/>
                  </a:lnTo>
                  <a:lnTo>
                    <a:pt x="354" y="65"/>
                  </a:lnTo>
                  <a:lnTo>
                    <a:pt x="368" y="83"/>
                  </a:lnTo>
                  <a:lnTo>
                    <a:pt x="380" y="100"/>
                  </a:lnTo>
                  <a:lnTo>
                    <a:pt x="390" y="119"/>
                  </a:lnTo>
                  <a:lnTo>
                    <a:pt x="398" y="137"/>
                  </a:lnTo>
                  <a:lnTo>
                    <a:pt x="406" y="159"/>
                  </a:lnTo>
                  <a:lnTo>
                    <a:pt x="411" y="180"/>
                  </a:lnTo>
                  <a:lnTo>
                    <a:pt x="414" y="202"/>
                  </a:lnTo>
                  <a:lnTo>
                    <a:pt x="416" y="225"/>
                  </a:lnTo>
                  <a:lnTo>
                    <a:pt x="414" y="248"/>
                  </a:lnTo>
                  <a:lnTo>
                    <a:pt x="411" y="271"/>
                  </a:lnTo>
                  <a:lnTo>
                    <a:pt x="406" y="293"/>
                  </a:lnTo>
                  <a:lnTo>
                    <a:pt x="398" y="313"/>
                  </a:lnTo>
                  <a:lnTo>
                    <a:pt x="390" y="333"/>
                  </a:lnTo>
                  <a:lnTo>
                    <a:pt x="380" y="352"/>
                  </a:lnTo>
                  <a:lnTo>
                    <a:pt x="368" y="369"/>
                  </a:lnTo>
                  <a:lnTo>
                    <a:pt x="354" y="385"/>
                  </a:lnTo>
                  <a:lnTo>
                    <a:pt x="339" y="399"/>
                  </a:lnTo>
                  <a:lnTo>
                    <a:pt x="324" y="412"/>
                  </a:lnTo>
                  <a:lnTo>
                    <a:pt x="306" y="424"/>
                  </a:lnTo>
                  <a:lnTo>
                    <a:pt x="289" y="434"/>
                  </a:lnTo>
                  <a:lnTo>
                    <a:pt x="269" y="441"/>
                  </a:lnTo>
                  <a:lnTo>
                    <a:pt x="250" y="447"/>
                  </a:lnTo>
                  <a:lnTo>
                    <a:pt x="228" y="450"/>
                  </a:lnTo>
                  <a:lnTo>
                    <a:pt x="208"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3">
              <a:extLst>
                <a:ext uri="{FF2B5EF4-FFF2-40B4-BE49-F238E27FC236}">
                  <a16:creationId xmlns:a16="http://schemas.microsoft.com/office/drawing/2014/main" id="{41AC34A0-7E12-446B-B2AA-DCF6C365CF11}"/>
                </a:ext>
              </a:extLst>
            </p:cNvPr>
            <p:cNvSpPr>
              <a:spLocks/>
            </p:cNvSpPr>
            <p:nvPr/>
          </p:nvSpPr>
          <p:spPr bwMode="auto">
            <a:xfrm>
              <a:off x="9893300" y="1358901"/>
              <a:ext cx="373063" cy="236538"/>
            </a:xfrm>
            <a:custGeom>
              <a:avLst/>
              <a:gdLst>
                <a:gd name="T0" fmla="*/ 0 w 704"/>
                <a:gd name="T1" fmla="*/ 445 h 445"/>
                <a:gd name="T2" fmla="*/ 0 w 704"/>
                <a:gd name="T3" fmla="*/ 217 h 445"/>
                <a:gd name="T4" fmla="*/ 5 w 704"/>
                <a:gd name="T5" fmla="*/ 184 h 445"/>
                <a:gd name="T6" fmla="*/ 18 w 704"/>
                <a:gd name="T7" fmla="*/ 157 h 445"/>
                <a:gd name="T8" fmla="*/ 34 w 704"/>
                <a:gd name="T9" fmla="*/ 137 h 445"/>
                <a:gd name="T10" fmla="*/ 54 w 704"/>
                <a:gd name="T11" fmla="*/ 120 h 445"/>
                <a:gd name="T12" fmla="*/ 79 w 704"/>
                <a:gd name="T13" fmla="*/ 107 h 445"/>
                <a:gd name="T14" fmla="*/ 119 w 704"/>
                <a:gd name="T15" fmla="*/ 92 h 445"/>
                <a:gd name="T16" fmla="*/ 161 w 704"/>
                <a:gd name="T17" fmla="*/ 79 h 445"/>
                <a:gd name="T18" fmla="*/ 185 w 704"/>
                <a:gd name="T19" fmla="*/ 72 h 445"/>
                <a:gd name="T20" fmla="*/ 208 w 704"/>
                <a:gd name="T21" fmla="*/ 63 h 445"/>
                <a:gd name="T22" fmla="*/ 224 w 704"/>
                <a:gd name="T23" fmla="*/ 55 h 445"/>
                <a:gd name="T24" fmla="*/ 240 w 704"/>
                <a:gd name="T25" fmla="*/ 39 h 445"/>
                <a:gd name="T26" fmla="*/ 253 w 704"/>
                <a:gd name="T27" fmla="*/ 12 h 445"/>
                <a:gd name="T28" fmla="*/ 305 w 704"/>
                <a:gd name="T29" fmla="*/ 0 h 445"/>
                <a:gd name="T30" fmla="*/ 302 w 704"/>
                <a:gd name="T31" fmla="*/ 27 h 445"/>
                <a:gd name="T32" fmla="*/ 289 w 704"/>
                <a:gd name="T33" fmla="*/ 61 h 445"/>
                <a:gd name="T34" fmla="*/ 277 w 704"/>
                <a:gd name="T35" fmla="*/ 76 h 445"/>
                <a:gd name="T36" fmla="*/ 262 w 704"/>
                <a:gd name="T37" fmla="*/ 92 h 445"/>
                <a:gd name="T38" fmla="*/ 240 w 704"/>
                <a:gd name="T39" fmla="*/ 107 h 445"/>
                <a:gd name="T40" fmla="*/ 214 w 704"/>
                <a:gd name="T41" fmla="*/ 117 h 445"/>
                <a:gd name="T42" fmla="*/ 188 w 704"/>
                <a:gd name="T43" fmla="*/ 125 h 445"/>
                <a:gd name="T44" fmla="*/ 164 w 704"/>
                <a:gd name="T45" fmla="*/ 133 h 445"/>
                <a:gd name="T46" fmla="*/ 110 w 704"/>
                <a:gd name="T47" fmla="*/ 150 h 445"/>
                <a:gd name="T48" fmla="*/ 90 w 704"/>
                <a:gd name="T49" fmla="*/ 160 h 445"/>
                <a:gd name="T50" fmla="*/ 76 w 704"/>
                <a:gd name="T51" fmla="*/ 169 h 445"/>
                <a:gd name="T52" fmla="*/ 64 w 704"/>
                <a:gd name="T53" fmla="*/ 181 h 445"/>
                <a:gd name="T54" fmla="*/ 57 w 704"/>
                <a:gd name="T55" fmla="*/ 196 h 445"/>
                <a:gd name="T56" fmla="*/ 53 w 704"/>
                <a:gd name="T57" fmla="*/ 215 h 445"/>
                <a:gd name="T58" fmla="*/ 51 w 704"/>
                <a:gd name="T59" fmla="*/ 238 h 445"/>
                <a:gd name="T60" fmla="*/ 652 w 704"/>
                <a:gd name="T61" fmla="*/ 393 h 445"/>
                <a:gd name="T62" fmla="*/ 652 w 704"/>
                <a:gd name="T63" fmla="*/ 226 h 445"/>
                <a:gd name="T64" fmla="*/ 649 w 704"/>
                <a:gd name="T65" fmla="*/ 205 h 445"/>
                <a:gd name="T66" fmla="*/ 643 w 704"/>
                <a:gd name="T67" fmla="*/ 189 h 445"/>
                <a:gd name="T68" fmla="*/ 635 w 704"/>
                <a:gd name="T69" fmla="*/ 174 h 445"/>
                <a:gd name="T70" fmla="*/ 620 w 704"/>
                <a:gd name="T71" fmla="*/ 164 h 445"/>
                <a:gd name="T72" fmla="*/ 604 w 704"/>
                <a:gd name="T73" fmla="*/ 154 h 445"/>
                <a:gd name="T74" fmla="*/ 570 w 704"/>
                <a:gd name="T75" fmla="*/ 143 h 445"/>
                <a:gd name="T76" fmla="*/ 528 w 704"/>
                <a:gd name="T77" fmla="*/ 130 h 445"/>
                <a:gd name="T78" fmla="*/ 502 w 704"/>
                <a:gd name="T79" fmla="*/ 121 h 445"/>
                <a:gd name="T80" fmla="*/ 475 w 704"/>
                <a:gd name="T81" fmla="*/ 112 h 445"/>
                <a:gd name="T82" fmla="*/ 452 w 704"/>
                <a:gd name="T83" fmla="*/ 99 h 445"/>
                <a:gd name="T84" fmla="*/ 433 w 704"/>
                <a:gd name="T85" fmla="*/ 85 h 445"/>
                <a:gd name="T86" fmla="*/ 420 w 704"/>
                <a:gd name="T87" fmla="*/ 69 h 445"/>
                <a:gd name="T88" fmla="*/ 406 w 704"/>
                <a:gd name="T89" fmla="*/ 43 h 445"/>
                <a:gd name="T90" fmla="*/ 398 w 704"/>
                <a:gd name="T91" fmla="*/ 13 h 445"/>
                <a:gd name="T92" fmla="*/ 450 w 704"/>
                <a:gd name="T93" fmla="*/ 3 h 445"/>
                <a:gd name="T94" fmla="*/ 452 w 704"/>
                <a:gd name="T95" fmla="*/ 13 h 445"/>
                <a:gd name="T96" fmla="*/ 457 w 704"/>
                <a:gd name="T97" fmla="*/ 30 h 445"/>
                <a:gd name="T98" fmla="*/ 473 w 704"/>
                <a:gd name="T99" fmla="*/ 50 h 445"/>
                <a:gd name="T100" fmla="*/ 486 w 704"/>
                <a:gd name="T101" fmla="*/ 61 h 445"/>
                <a:gd name="T102" fmla="*/ 505 w 704"/>
                <a:gd name="T103" fmla="*/ 68 h 445"/>
                <a:gd name="T104" fmla="*/ 531 w 704"/>
                <a:gd name="T105" fmla="*/ 76 h 445"/>
                <a:gd name="T106" fmla="*/ 554 w 704"/>
                <a:gd name="T107" fmla="*/ 84 h 445"/>
                <a:gd name="T108" fmla="*/ 612 w 704"/>
                <a:gd name="T109" fmla="*/ 102 h 445"/>
                <a:gd name="T110" fmla="*/ 637 w 704"/>
                <a:gd name="T111" fmla="*/ 114 h 445"/>
                <a:gd name="T112" fmla="*/ 659 w 704"/>
                <a:gd name="T113" fmla="*/ 128 h 445"/>
                <a:gd name="T114" fmla="*/ 678 w 704"/>
                <a:gd name="T115" fmla="*/ 147 h 445"/>
                <a:gd name="T116" fmla="*/ 692 w 704"/>
                <a:gd name="T117" fmla="*/ 170 h 445"/>
                <a:gd name="T118" fmla="*/ 701 w 704"/>
                <a:gd name="T119" fmla="*/ 200 h 445"/>
                <a:gd name="T120" fmla="*/ 704 w 704"/>
                <a:gd name="T121" fmla="*/ 238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5">
                  <a:moveTo>
                    <a:pt x="704" y="445"/>
                  </a:moveTo>
                  <a:lnTo>
                    <a:pt x="0" y="445"/>
                  </a:lnTo>
                  <a:lnTo>
                    <a:pt x="0" y="238"/>
                  </a:lnTo>
                  <a:lnTo>
                    <a:pt x="0" y="217"/>
                  </a:lnTo>
                  <a:lnTo>
                    <a:pt x="2" y="200"/>
                  </a:lnTo>
                  <a:lnTo>
                    <a:pt x="5" y="184"/>
                  </a:lnTo>
                  <a:lnTo>
                    <a:pt x="11" y="170"/>
                  </a:lnTo>
                  <a:lnTo>
                    <a:pt x="18" y="157"/>
                  </a:lnTo>
                  <a:lnTo>
                    <a:pt x="25" y="147"/>
                  </a:lnTo>
                  <a:lnTo>
                    <a:pt x="34" y="137"/>
                  </a:lnTo>
                  <a:lnTo>
                    <a:pt x="44" y="128"/>
                  </a:lnTo>
                  <a:lnTo>
                    <a:pt x="54" y="120"/>
                  </a:lnTo>
                  <a:lnTo>
                    <a:pt x="66" y="114"/>
                  </a:lnTo>
                  <a:lnTo>
                    <a:pt x="79" y="107"/>
                  </a:lnTo>
                  <a:lnTo>
                    <a:pt x="92" y="102"/>
                  </a:lnTo>
                  <a:lnTo>
                    <a:pt x="119" y="92"/>
                  </a:lnTo>
                  <a:lnTo>
                    <a:pt x="149" y="84"/>
                  </a:lnTo>
                  <a:lnTo>
                    <a:pt x="161" y="79"/>
                  </a:lnTo>
                  <a:lnTo>
                    <a:pt x="172" y="76"/>
                  </a:lnTo>
                  <a:lnTo>
                    <a:pt x="185" y="72"/>
                  </a:lnTo>
                  <a:lnTo>
                    <a:pt x="198" y="68"/>
                  </a:lnTo>
                  <a:lnTo>
                    <a:pt x="208" y="63"/>
                  </a:lnTo>
                  <a:lnTo>
                    <a:pt x="217" y="59"/>
                  </a:lnTo>
                  <a:lnTo>
                    <a:pt x="224" y="55"/>
                  </a:lnTo>
                  <a:lnTo>
                    <a:pt x="231" y="49"/>
                  </a:lnTo>
                  <a:lnTo>
                    <a:pt x="240" y="39"/>
                  </a:lnTo>
                  <a:lnTo>
                    <a:pt x="247" y="29"/>
                  </a:lnTo>
                  <a:lnTo>
                    <a:pt x="253" y="12"/>
                  </a:lnTo>
                  <a:lnTo>
                    <a:pt x="253" y="3"/>
                  </a:lnTo>
                  <a:lnTo>
                    <a:pt x="305" y="0"/>
                  </a:lnTo>
                  <a:lnTo>
                    <a:pt x="305" y="13"/>
                  </a:lnTo>
                  <a:lnTo>
                    <a:pt x="302" y="27"/>
                  </a:lnTo>
                  <a:lnTo>
                    <a:pt x="298" y="43"/>
                  </a:lnTo>
                  <a:lnTo>
                    <a:pt x="289" y="61"/>
                  </a:lnTo>
                  <a:lnTo>
                    <a:pt x="283" y="69"/>
                  </a:lnTo>
                  <a:lnTo>
                    <a:pt x="277" y="76"/>
                  </a:lnTo>
                  <a:lnTo>
                    <a:pt x="270" y="85"/>
                  </a:lnTo>
                  <a:lnTo>
                    <a:pt x="262" y="92"/>
                  </a:lnTo>
                  <a:lnTo>
                    <a:pt x="252" y="99"/>
                  </a:lnTo>
                  <a:lnTo>
                    <a:pt x="240" y="107"/>
                  </a:lnTo>
                  <a:lnTo>
                    <a:pt x="228" y="112"/>
                  </a:lnTo>
                  <a:lnTo>
                    <a:pt x="214" y="117"/>
                  </a:lnTo>
                  <a:lnTo>
                    <a:pt x="201" y="121"/>
                  </a:lnTo>
                  <a:lnTo>
                    <a:pt x="188" y="125"/>
                  </a:lnTo>
                  <a:lnTo>
                    <a:pt x="175" y="130"/>
                  </a:lnTo>
                  <a:lnTo>
                    <a:pt x="164" y="133"/>
                  </a:lnTo>
                  <a:lnTo>
                    <a:pt x="133" y="143"/>
                  </a:lnTo>
                  <a:lnTo>
                    <a:pt x="110" y="150"/>
                  </a:lnTo>
                  <a:lnTo>
                    <a:pt x="100" y="154"/>
                  </a:lnTo>
                  <a:lnTo>
                    <a:pt x="90" y="160"/>
                  </a:lnTo>
                  <a:lnTo>
                    <a:pt x="83" y="164"/>
                  </a:lnTo>
                  <a:lnTo>
                    <a:pt x="76" y="169"/>
                  </a:lnTo>
                  <a:lnTo>
                    <a:pt x="69" y="174"/>
                  </a:lnTo>
                  <a:lnTo>
                    <a:pt x="64" y="181"/>
                  </a:lnTo>
                  <a:lnTo>
                    <a:pt x="60" y="189"/>
                  </a:lnTo>
                  <a:lnTo>
                    <a:pt x="57" y="196"/>
                  </a:lnTo>
                  <a:lnTo>
                    <a:pt x="54" y="205"/>
                  </a:lnTo>
                  <a:lnTo>
                    <a:pt x="53" y="215"/>
                  </a:lnTo>
                  <a:lnTo>
                    <a:pt x="51" y="226"/>
                  </a:lnTo>
                  <a:lnTo>
                    <a:pt x="51" y="238"/>
                  </a:lnTo>
                  <a:lnTo>
                    <a:pt x="51" y="393"/>
                  </a:lnTo>
                  <a:lnTo>
                    <a:pt x="652" y="393"/>
                  </a:lnTo>
                  <a:lnTo>
                    <a:pt x="652" y="238"/>
                  </a:lnTo>
                  <a:lnTo>
                    <a:pt x="652" y="226"/>
                  </a:lnTo>
                  <a:lnTo>
                    <a:pt x="650" y="215"/>
                  </a:lnTo>
                  <a:lnTo>
                    <a:pt x="649" y="205"/>
                  </a:lnTo>
                  <a:lnTo>
                    <a:pt x="646" y="196"/>
                  </a:lnTo>
                  <a:lnTo>
                    <a:pt x="643" y="189"/>
                  </a:lnTo>
                  <a:lnTo>
                    <a:pt x="639" y="181"/>
                  </a:lnTo>
                  <a:lnTo>
                    <a:pt x="635" y="174"/>
                  </a:lnTo>
                  <a:lnTo>
                    <a:pt x="627" y="169"/>
                  </a:lnTo>
                  <a:lnTo>
                    <a:pt x="620" y="164"/>
                  </a:lnTo>
                  <a:lnTo>
                    <a:pt x="613" y="160"/>
                  </a:lnTo>
                  <a:lnTo>
                    <a:pt x="604" y="154"/>
                  </a:lnTo>
                  <a:lnTo>
                    <a:pt x="593" y="150"/>
                  </a:lnTo>
                  <a:lnTo>
                    <a:pt x="570" y="143"/>
                  </a:lnTo>
                  <a:lnTo>
                    <a:pt x="540" y="133"/>
                  </a:lnTo>
                  <a:lnTo>
                    <a:pt x="528" y="130"/>
                  </a:lnTo>
                  <a:lnTo>
                    <a:pt x="515" y="125"/>
                  </a:lnTo>
                  <a:lnTo>
                    <a:pt x="502" y="121"/>
                  </a:lnTo>
                  <a:lnTo>
                    <a:pt x="489" y="117"/>
                  </a:lnTo>
                  <a:lnTo>
                    <a:pt x="475" y="112"/>
                  </a:lnTo>
                  <a:lnTo>
                    <a:pt x="463" y="107"/>
                  </a:lnTo>
                  <a:lnTo>
                    <a:pt x="452" y="99"/>
                  </a:lnTo>
                  <a:lnTo>
                    <a:pt x="442" y="92"/>
                  </a:lnTo>
                  <a:lnTo>
                    <a:pt x="433" y="85"/>
                  </a:lnTo>
                  <a:lnTo>
                    <a:pt x="426" y="76"/>
                  </a:lnTo>
                  <a:lnTo>
                    <a:pt x="420" y="69"/>
                  </a:lnTo>
                  <a:lnTo>
                    <a:pt x="414" y="61"/>
                  </a:lnTo>
                  <a:lnTo>
                    <a:pt x="406" y="43"/>
                  </a:lnTo>
                  <a:lnTo>
                    <a:pt x="401" y="27"/>
                  </a:lnTo>
                  <a:lnTo>
                    <a:pt x="398" y="13"/>
                  </a:lnTo>
                  <a:lnTo>
                    <a:pt x="398" y="0"/>
                  </a:lnTo>
                  <a:lnTo>
                    <a:pt x="450" y="3"/>
                  </a:lnTo>
                  <a:lnTo>
                    <a:pt x="450" y="7"/>
                  </a:lnTo>
                  <a:lnTo>
                    <a:pt x="452" y="13"/>
                  </a:lnTo>
                  <a:lnTo>
                    <a:pt x="453" y="22"/>
                  </a:lnTo>
                  <a:lnTo>
                    <a:pt x="457" y="30"/>
                  </a:lnTo>
                  <a:lnTo>
                    <a:pt x="463" y="40"/>
                  </a:lnTo>
                  <a:lnTo>
                    <a:pt x="473" y="50"/>
                  </a:lnTo>
                  <a:lnTo>
                    <a:pt x="479" y="55"/>
                  </a:lnTo>
                  <a:lnTo>
                    <a:pt x="486" y="61"/>
                  </a:lnTo>
                  <a:lnTo>
                    <a:pt x="495" y="63"/>
                  </a:lnTo>
                  <a:lnTo>
                    <a:pt x="505" y="68"/>
                  </a:lnTo>
                  <a:lnTo>
                    <a:pt x="518" y="72"/>
                  </a:lnTo>
                  <a:lnTo>
                    <a:pt x="531" y="76"/>
                  </a:lnTo>
                  <a:lnTo>
                    <a:pt x="542" y="79"/>
                  </a:lnTo>
                  <a:lnTo>
                    <a:pt x="554" y="84"/>
                  </a:lnTo>
                  <a:lnTo>
                    <a:pt x="584" y="92"/>
                  </a:lnTo>
                  <a:lnTo>
                    <a:pt x="612" y="102"/>
                  </a:lnTo>
                  <a:lnTo>
                    <a:pt x="624" y="107"/>
                  </a:lnTo>
                  <a:lnTo>
                    <a:pt x="637" y="114"/>
                  </a:lnTo>
                  <a:lnTo>
                    <a:pt x="649" y="120"/>
                  </a:lnTo>
                  <a:lnTo>
                    <a:pt x="659" y="128"/>
                  </a:lnTo>
                  <a:lnTo>
                    <a:pt x="669" y="137"/>
                  </a:lnTo>
                  <a:lnTo>
                    <a:pt x="678" y="147"/>
                  </a:lnTo>
                  <a:lnTo>
                    <a:pt x="686" y="157"/>
                  </a:lnTo>
                  <a:lnTo>
                    <a:pt x="692" y="170"/>
                  </a:lnTo>
                  <a:lnTo>
                    <a:pt x="698" y="184"/>
                  </a:lnTo>
                  <a:lnTo>
                    <a:pt x="701" y="200"/>
                  </a:lnTo>
                  <a:lnTo>
                    <a:pt x="704" y="217"/>
                  </a:lnTo>
                  <a:lnTo>
                    <a:pt x="704" y="238"/>
                  </a:lnTo>
                  <a:lnTo>
                    <a:pt x="704"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24">
              <a:extLst>
                <a:ext uri="{FF2B5EF4-FFF2-40B4-BE49-F238E27FC236}">
                  <a16:creationId xmlns:a16="http://schemas.microsoft.com/office/drawing/2014/main" id="{D1808258-DBD1-428B-8FC3-583FA884D307}"/>
                </a:ext>
              </a:extLst>
            </p:cNvPr>
            <p:cNvSpPr>
              <a:spLocks/>
            </p:cNvSpPr>
            <p:nvPr/>
          </p:nvSpPr>
          <p:spPr bwMode="auto">
            <a:xfrm>
              <a:off x="9980613" y="1201738"/>
              <a:ext cx="193675" cy="53975"/>
            </a:xfrm>
            <a:custGeom>
              <a:avLst/>
              <a:gdLst>
                <a:gd name="T0" fmla="*/ 89 w 368"/>
                <a:gd name="T1" fmla="*/ 100 h 100"/>
                <a:gd name="T2" fmla="*/ 67 w 368"/>
                <a:gd name="T3" fmla="*/ 98 h 100"/>
                <a:gd name="T4" fmla="*/ 46 w 368"/>
                <a:gd name="T5" fmla="*/ 97 h 100"/>
                <a:gd name="T6" fmla="*/ 23 w 368"/>
                <a:gd name="T7" fmla="*/ 94 h 100"/>
                <a:gd name="T8" fmla="*/ 0 w 368"/>
                <a:gd name="T9" fmla="*/ 88 h 100"/>
                <a:gd name="T10" fmla="*/ 13 w 368"/>
                <a:gd name="T11" fmla="*/ 38 h 100"/>
                <a:gd name="T12" fmla="*/ 37 w 368"/>
                <a:gd name="T13" fmla="*/ 42 h 100"/>
                <a:gd name="T14" fmla="*/ 60 w 368"/>
                <a:gd name="T15" fmla="*/ 47 h 100"/>
                <a:gd name="T16" fmla="*/ 83 w 368"/>
                <a:gd name="T17" fmla="*/ 47 h 100"/>
                <a:gd name="T18" fmla="*/ 105 w 368"/>
                <a:gd name="T19" fmla="*/ 47 h 100"/>
                <a:gd name="T20" fmla="*/ 125 w 368"/>
                <a:gd name="T21" fmla="*/ 45 h 100"/>
                <a:gd name="T22" fmla="*/ 144 w 368"/>
                <a:gd name="T23" fmla="*/ 42 h 100"/>
                <a:gd name="T24" fmla="*/ 162 w 368"/>
                <a:gd name="T25" fmla="*/ 38 h 100"/>
                <a:gd name="T26" fmla="*/ 178 w 368"/>
                <a:gd name="T27" fmla="*/ 34 h 100"/>
                <a:gd name="T28" fmla="*/ 207 w 368"/>
                <a:gd name="T29" fmla="*/ 25 h 100"/>
                <a:gd name="T30" fmla="*/ 227 w 368"/>
                <a:gd name="T31" fmla="*/ 15 h 100"/>
                <a:gd name="T32" fmla="*/ 240 w 368"/>
                <a:gd name="T33" fmla="*/ 8 h 100"/>
                <a:gd name="T34" fmla="*/ 246 w 368"/>
                <a:gd name="T35" fmla="*/ 5 h 100"/>
                <a:gd name="T36" fmla="*/ 250 w 368"/>
                <a:gd name="T37" fmla="*/ 3 h 100"/>
                <a:gd name="T38" fmla="*/ 255 w 368"/>
                <a:gd name="T39" fmla="*/ 2 h 100"/>
                <a:gd name="T40" fmla="*/ 259 w 368"/>
                <a:gd name="T41" fmla="*/ 0 h 100"/>
                <a:gd name="T42" fmla="*/ 263 w 368"/>
                <a:gd name="T43" fmla="*/ 0 h 100"/>
                <a:gd name="T44" fmla="*/ 268 w 368"/>
                <a:gd name="T45" fmla="*/ 2 h 100"/>
                <a:gd name="T46" fmla="*/ 272 w 368"/>
                <a:gd name="T47" fmla="*/ 3 h 100"/>
                <a:gd name="T48" fmla="*/ 275 w 368"/>
                <a:gd name="T49" fmla="*/ 5 h 100"/>
                <a:gd name="T50" fmla="*/ 279 w 368"/>
                <a:gd name="T51" fmla="*/ 8 h 100"/>
                <a:gd name="T52" fmla="*/ 285 w 368"/>
                <a:gd name="T53" fmla="*/ 13 h 100"/>
                <a:gd name="T54" fmla="*/ 302 w 368"/>
                <a:gd name="T55" fmla="*/ 23 h 100"/>
                <a:gd name="T56" fmla="*/ 315 w 368"/>
                <a:gd name="T57" fmla="*/ 28 h 100"/>
                <a:gd name="T58" fmla="*/ 329 w 368"/>
                <a:gd name="T59" fmla="*/ 32 h 100"/>
                <a:gd name="T60" fmla="*/ 348 w 368"/>
                <a:gd name="T61" fmla="*/ 35 h 100"/>
                <a:gd name="T62" fmla="*/ 368 w 368"/>
                <a:gd name="T63" fmla="*/ 36 h 100"/>
                <a:gd name="T64" fmla="*/ 368 w 368"/>
                <a:gd name="T65" fmla="*/ 90 h 100"/>
                <a:gd name="T66" fmla="*/ 350 w 368"/>
                <a:gd name="T67" fmla="*/ 88 h 100"/>
                <a:gd name="T68" fmla="*/ 332 w 368"/>
                <a:gd name="T69" fmla="*/ 85 h 100"/>
                <a:gd name="T70" fmla="*/ 315 w 368"/>
                <a:gd name="T71" fmla="*/ 83 h 100"/>
                <a:gd name="T72" fmla="*/ 301 w 368"/>
                <a:gd name="T73" fmla="*/ 78 h 100"/>
                <a:gd name="T74" fmla="*/ 288 w 368"/>
                <a:gd name="T75" fmla="*/ 74 h 100"/>
                <a:gd name="T76" fmla="*/ 276 w 368"/>
                <a:gd name="T77" fmla="*/ 68 h 100"/>
                <a:gd name="T78" fmla="*/ 266 w 368"/>
                <a:gd name="T79" fmla="*/ 64 h 100"/>
                <a:gd name="T80" fmla="*/ 257 w 368"/>
                <a:gd name="T81" fmla="*/ 58 h 100"/>
                <a:gd name="T82" fmla="*/ 246 w 368"/>
                <a:gd name="T83" fmla="*/ 64 h 100"/>
                <a:gd name="T84" fmla="*/ 232 w 368"/>
                <a:gd name="T85" fmla="*/ 71 h 100"/>
                <a:gd name="T86" fmla="*/ 213 w 368"/>
                <a:gd name="T87" fmla="*/ 78 h 100"/>
                <a:gd name="T88" fmla="*/ 193 w 368"/>
                <a:gd name="T89" fmla="*/ 84 h 100"/>
                <a:gd name="T90" fmla="*/ 170 w 368"/>
                <a:gd name="T91" fmla="*/ 90 h 100"/>
                <a:gd name="T92" fmla="*/ 145 w 368"/>
                <a:gd name="T93" fmla="*/ 95 h 100"/>
                <a:gd name="T94" fmla="*/ 118 w 368"/>
                <a:gd name="T95" fmla="*/ 98 h 100"/>
                <a:gd name="T96" fmla="*/ 89 w 368"/>
                <a:gd name="T9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100">
                  <a:moveTo>
                    <a:pt x="89" y="100"/>
                  </a:moveTo>
                  <a:lnTo>
                    <a:pt x="67" y="98"/>
                  </a:lnTo>
                  <a:lnTo>
                    <a:pt x="46" y="97"/>
                  </a:lnTo>
                  <a:lnTo>
                    <a:pt x="23" y="94"/>
                  </a:lnTo>
                  <a:lnTo>
                    <a:pt x="0" y="88"/>
                  </a:lnTo>
                  <a:lnTo>
                    <a:pt x="13" y="38"/>
                  </a:lnTo>
                  <a:lnTo>
                    <a:pt x="37" y="42"/>
                  </a:lnTo>
                  <a:lnTo>
                    <a:pt x="60" y="47"/>
                  </a:lnTo>
                  <a:lnTo>
                    <a:pt x="83" y="47"/>
                  </a:lnTo>
                  <a:lnTo>
                    <a:pt x="105" y="47"/>
                  </a:lnTo>
                  <a:lnTo>
                    <a:pt x="125" y="45"/>
                  </a:lnTo>
                  <a:lnTo>
                    <a:pt x="144" y="42"/>
                  </a:lnTo>
                  <a:lnTo>
                    <a:pt x="162" y="38"/>
                  </a:lnTo>
                  <a:lnTo>
                    <a:pt x="178" y="34"/>
                  </a:lnTo>
                  <a:lnTo>
                    <a:pt x="207" y="25"/>
                  </a:lnTo>
                  <a:lnTo>
                    <a:pt x="227" y="15"/>
                  </a:lnTo>
                  <a:lnTo>
                    <a:pt x="240" y="8"/>
                  </a:lnTo>
                  <a:lnTo>
                    <a:pt x="246" y="5"/>
                  </a:lnTo>
                  <a:lnTo>
                    <a:pt x="250" y="3"/>
                  </a:lnTo>
                  <a:lnTo>
                    <a:pt x="255" y="2"/>
                  </a:lnTo>
                  <a:lnTo>
                    <a:pt x="259" y="0"/>
                  </a:lnTo>
                  <a:lnTo>
                    <a:pt x="263" y="0"/>
                  </a:lnTo>
                  <a:lnTo>
                    <a:pt x="268" y="2"/>
                  </a:lnTo>
                  <a:lnTo>
                    <a:pt x="272" y="3"/>
                  </a:lnTo>
                  <a:lnTo>
                    <a:pt x="275" y="5"/>
                  </a:lnTo>
                  <a:lnTo>
                    <a:pt x="279" y="8"/>
                  </a:lnTo>
                  <a:lnTo>
                    <a:pt x="285" y="13"/>
                  </a:lnTo>
                  <a:lnTo>
                    <a:pt x="302" y="23"/>
                  </a:lnTo>
                  <a:lnTo>
                    <a:pt x="315" y="28"/>
                  </a:lnTo>
                  <a:lnTo>
                    <a:pt x="329" y="32"/>
                  </a:lnTo>
                  <a:lnTo>
                    <a:pt x="348" y="35"/>
                  </a:lnTo>
                  <a:lnTo>
                    <a:pt x="368" y="36"/>
                  </a:lnTo>
                  <a:lnTo>
                    <a:pt x="368" y="90"/>
                  </a:lnTo>
                  <a:lnTo>
                    <a:pt x="350" y="88"/>
                  </a:lnTo>
                  <a:lnTo>
                    <a:pt x="332" y="85"/>
                  </a:lnTo>
                  <a:lnTo>
                    <a:pt x="315" y="83"/>
                  </a:lnTo>
                  <a:lnTo>
                    <a:pt x="301" y="78"/>
                  </a:lnTo>
                  <a:lnTo>
                    <a:pt x="288" y="74"/>
                  </a:lnTo>
                  <a:lnTo>
                    <a:pt x="276" y="68"/>
                  </a:lnTo>
                  <a:lnTo>
                    <a:pt x="266" y="64"/>
                  </a:lnTo>
                  <a:lnTo>
                    <a:pt x="257" y="58"/>
                  </a:lnTo>
                  <a:lnTo>
                    <a:pt x="246" y="64"/>
                  </a:lnTo>
                  <a:lnTo>
                    <a:pt x="232" y="71"/>
                  </a:lnTo>
                  <a:lnTo>
                    <a:pt x="213" y="78"/>
                  </a:lnTo>
                  <a:lnTo>
                    <a:pt x="193" y="84"/>
                  </a:lnTo>
                  <a:lnTo>
                    <a:pt x="170" y="90"/>
                  </a:lnTo>
                  <a:lnTo>
                    <a:pt x="145" y="95"/>
                  </a:lnTo>
                  <a:lnTo>
                    <a:pt x="118" y="98"/>
                  </a:lnTo>
                  <a:lnTo>
                    <a:pt x="8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149">
              <a:extLst>
                <a:ext uri="{FF2B5EF4-FFF2-40B4-BE49-F238E27FC236}">
                  <a16:creationId xmlns:a16="http://schemas.microsoft.com/office/drawing/2014/main" id="{FB17CE7B-42D5-4F0F-90FF-DC6A94B2EF4F}"/>
                </a:ext>
              </a:extLst>
            </p:cNvPr>
            <p:cNvSpPr>
              <a:spLocks/>
            </p:cNvSpPr>
            <p:nvPr/>
          </p:nvSpPr>
          <p:spPr bwMode="auto">
            <a:xfrm>
              <a:off x="9890125" y="1058863"/>
              <a:ext cx="374650" cy="127000"/>
            </a:xfrm>
            <a:custGeom>
              <a:avLst/>
              <a:gdLst>
                <a:gd name="T0" fmla="*/ 0 w 707"/>
                <a:gd name="T1" fmla="*/ 216 h 239"/>
                <a:gd name="T2" fmla="*/ 29 w 707"/>
                <a:gd name="T3" fmla="*/ 168 h 239"/>
                <a:gd name="T4" fmla="*/ 65 w 707"/>
                <a:gd name="T5" fmla="*/ 125 h 239"/>
                <a:gd name="T6" fmla="*/ 104 w 707"/>
                <a:gd name="T7" fmla="*/ 89 h 239"/>
                <a:gd name="T8" fmla="*/ 149 w 707"/>
                <a:gd name="T9" fmla="*/ 57 h 239"/>
                <a:gd name="T10" fmla="*/ 196 w 707"/>
                <a:gd name="T11" fmla="*/ 33 h 239"/>
                <a:gd name="T12" fmla="*/ 248 w 707"/>
                <a:gd name="T13" fmla="*/ 14 h 239"/>
                <a:gd name="T14" fmla="*/ 301 w 707"/>
                <a:gd name="T15" fmla="*/ 4 h 239"/>
                <a:gd name="T16" fmla="*/ 357 w 707"/>
                <a:gd name="T17" fmla="*/ 0 h 239"/>
                <a:gd name="T18" fmla="*/ 411 w 707"/>
                <a:gd name="T19" fmla="*/ 3 h 239"/>
                <a:gd name="T20" fmla="*/ 462 w 707"/>
                <a:gd name="T21" fmla="*/ 14 h 239"/>
                <a:gd name="T22" fmla="*/ 513 w 707"/>
                <a:gd name="T23" fmla="*/ 31 h 239"/>
                <a:gd name="T24" fmla="*/ 559 w 707"/>
                <a:gd name="T25" fmla="*/ 54 h 239"/>
                <a:gd name="T26" fmla="*/ 602 w 707"/>
                <a:gd name="T27" fmla="*/ 85 h 239"/>
                <a:gd name="T28" fmla="*/ 642 w 707"/>
                <a:gd name="T29" fmla="*/ 119 h 239"/>
                <a:gd name="T30" fmla="*/ 677 w 707"/>
                <a:gd name="T31" fmla="*/ 160 h 239"/>
                <a:gd name="T32" fmla="*/ 707 w 707"/>
                <a:gd name="T33" fmla="*/ 204 h 239"/>
                <a:gd name="T34" fmla="*/ 650 w 707"/>
                <a:gd name="T35" fmla="*/ 210 h 239"/>
                <a:gd name="T36" fmla="*/ 621 w 707"/>
                <a:gd name="T37" fmla="*/ 173 h 239"/>
                <a:gd name="T38" fmla="*/ 589 w 707"/>
                <a:gd name="T39" fmla="*/ 139 h 239"/>
                <a:gd name="T40" fmla="*/ 552 w 707"/>
                <a:gd name="T41" fmla="*/ 112 h 239"/>
                <a:gd name="T42" fmla="*/ 513 w 707"/>
                <a:gd name="T43" fmla="*/ 89 h 239"/>
                <a:gd name="T44" fmla="*/ 471 w 707"/>
                <a:gd name="T45" fmla="*/ 72 h 239"/>
                <a:gd name="T46" fmla="*/ 426 w 707"/>
                <a:gd name="T47" fmla="*/ 59 h 239"/>
                <a:gd name="T48" fmla="*/ 380 w 707"/>
                <a:gd name="T49" fmla="*/ 53 h 239"/>
                <a:gd name="T50" fmla="*/ 333 w 707"/>
                <a:gd name="T51" fmla="*/ 53 h 239"/>
                <a:gd name="T52" fmla="*/ 285 w 707"/>
                <a:gd name="T53" fmla="*/ 59 h 239"/>
                <a:gd name="T54" fmla="*/ 239 w 707"/>
                <a:gd name="T55" fmla="*/ 72 h 239"/>
                <a:gd name="T56" fmla="*/ 196 w 707"/>
                <a:gd name="T57" fmla="*/ 90 h 239"/>
                <a:gd name="T58" fmla="*/ 156 w 707"/>
                <a:gd name="T59" fmla="*/ 115 h 239"/>
                <a:gd name="T60" fmla="*/ 120 w 707"/>
                <a:gd name="T61" fmla="*/ 145 h 239"/>
                <a:gd name="T62" fmla="*/ 87 w 707"/>
                <a:gd name="T63" fmla="*/ 180 h 239"/>
                <a:gd name="T64" fmla="*/ 59 w 707"/>
                <a:gd name="T65"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7" h="239">
                  <a:moveTo>
                    <a:pt x="46" y="239"/>
                  </a:moveTo>
                  <a:lnTo>
                    <a:pt x="0" y="216"/>
                  </a:lnTo>
                  <a:lnTo>
                    <a:pt x="15" y="191"/>
                  </a:lnTo>
                  <a:lnTo>
                    <a:pt x="29" y="168"/>
                  </a:lnTo>
                  <a:lnTo>
                    <a:pt x="46" y="147"/>
                  </a:lnTo>
                  <a:lnTo>
                    <a:pt x="65" y="125"/>
                  </a:lnTo>
                  <a:lnTo>
                    <a:pt x="84" y="106"/>
                  </a:lnTo>
                  <a:lnTo>
                    <a:pt x="104" y="89"/>
                  </a:lnTo>
                  <a:lnTo>
                    <a:pt x="125" y="72"/>
                  </a:lnTo>
                  <a:lnTo>
                    <a:pt x="149" y="57"/>
                  </a:lnTo>
                  <a:lnTo>
                    <a:pt x="172" y="44"/>
                  </a:lnTo>
                  <a:lnTo>
                    <a:pt x="196" y="33"/>
                  </a:lnTo>
                  <a:lnTo>
                    <a:pt x="222" y="23"/>
                  </a:lnTo>
                  <a:lnTo>
                    <a:pt x="248" y="14"/>
                  </a:lnTo>
                  <a:lnTo>
                    <a:pt x="274" y="8"/>
                  </a:lnTo>
                  <a:lnTo>
                    <a:pt x="301" y="4"/>
                  </a:lnTo>
                  <a:lnTo>
                    <a:pt x="329" y="1"/>
                  </a:lnTo>
                  <a:lnTo>
                    <a:pt x="357" y="0"/>
                  </a:lnTo>
                  <a:lnTo>
                    <a:pt x="383" y="1"/>
                  </a:lnTo>
                  <a:lnTo>
                    <a:pt x="411" y="3"/>
                  </a:lnTo>
                  <a:lnTo>
                    <a:pt x="437" y="8"/>
                  </a:lnTo>
                  <a:lnTo>
                    <a:pt x="462" y="14"/>
                  </a:lnTo>
                  <a:lnTo>
                    <a:pt x="487" y="21"/>
                  </a:lnTo>
                  <a:lnTo>
                    <a:pt x="513" y="31"/>
                  </a:lnTo>
                  <a:lnTo>
                    <a:pt x="536" y="41"/>
                  </a:lnTo>
                  <a:lnTo>
                    <a:pt x="559" y="54"/>
                  </a:lnTo>
                  <a:lnTo>
                    <a:pt x="582" y="69"/>
                  </a:lnTo>
                  <a:lnTo>
                    <a:pt x="602" y="85"/>
                  </a:lnTo>
                  <a:lnTo>
                    <a:pt x="624" y="101"/>
                  </a:lnTo>
                  <a:lnTo>
                    <a:pt x="642" y="119"/>
                  </a:lnTo>
                  <a:lnTo>
                    <a:pt x="660" y="138"/>
                  </a:lnTo>
                  <a:lnTo>
                    <a:pt x="677" y="160"/>
                  </a:lnTo>
                  <a:lnTo>
                    <a:pt x="693" y="181"/>
                  </a:lnTo>
                  <a:lnTo>
                    <a:pt x="707" y="204"/>
                  </a:lnTo>
                  <a:lnTo>
                    <a:pt x="661" y="230"/>
                  </a:lnTo>
                  <a:lnTo>
                    <a:pt x="650" y="210"/>
                  </a:lnTo>
                  <a:lnTo>
                    <a:pt x="635" y="191"/>
                  </a:lnTo>
                  <a:lnTo>
                    <a:pt x="621" y="173"/>
                  </a:lnTo>
                  <a:lnTo>
                    <a:pt x="605" y="155"/>
                  </a:lnTo>
                  <a:lnTo>
                    <a:pt x="589" y="139"/>
                  </a:lnTo>
                  <a:lnTo>
                    <a:pt x="570" y="125"/>
                  </a:lnTo>
                  <a:lnTo>
                    <a:pt x="552" y="112"/>
                  </a:lnTo>
                  <a:lnTo>
                    <a:pt x="533" y="99"/>
                  </a:lnTo>
                  <a:lnTo>
                    <a:pt x="513" y="89"/>
                  </a:lnTo>
                  <a:lnTo>
                    <a:pt x="493" y="79"/>
                  </a:lnTo>
                  <a:lnTo>
                    <a:pt x="471" y="72"/>
                  </a:lnTo>
                  <a:lnTo>
                    <a:pt x="448" y="65"/>
                  </a:lnTo>
                  <a:lnTo>
                    <a:pt x="426" y="59"/>
                  </a:lnTo>
                  <a:lnTo>
                    <a:pt x="403" y="54"/>
                  </a:lnTo>
                  <a:lnTo>
                    <a:pt x="380" y="53"/>
                  </a:lnTo>
                  <a:lnTo>
                    <a:pt x="357" y="52"/>
                  </a:lnTo>
                  <a:lnTo>
                    <a:pt x="333" y="53"/>
                  </a:lnTo>
                  <a:lnTo>
                    <a:pt x="308" y="56"/>
                  </a:lnTo>
                  <a:lnTo>
                    <a:pt x="285" y="59"/>
                  </a:lnTo>
                  <a:lnTo>
                    <a:pt x="262" y="65"/>
                  </a:lnTo>
                  <a:lnTo>
                    <a:pt x="239" y="72"/>
                  </a:lnTo>
                  <a:lnTo>
                    <a:pt x="218" y="80"/>
                  </a:lnTo>
                  <a:lnTo>
                    <a:pt x="196" y="90"/>
                  </a:lnTo>
                  <a:lnTo>
                    <a:pt x="176" y="102"/>
                  </a:lnTo>
                  <a:lnTo>
                    <a:pt x="156" y="115"/>
                  </a:lnTo>
                  <a:lnTo>
                    <a:pt x="137" y="129"/>
                  </a:lnTo>
                  <a:lnTo>
                    <a:pt x="120" y="145"/>
                  </a:lnTo>
                  <a:lnTo>
                    <a:pt x="102" y="161"/>
                  </a:lnTo>
                  <a:lnTo>
                    <a:pt x="87" y="180"/>
                  </a:lnTo>
                  <a:lnTo>
                    <a:pt x="72" y="198"/>
                  </a:lnTo>
                  <a:lnTo>
                    <a:pt x="59" y="219"/>
                  </a:lnTo>
                  <a:lnTo>
                    <a:pt x="46"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50">
              <a:extLst>
                <a:ext uri="{FF2B5EF4-FFF2-40B4-BE49-F238E27FC236}">
                  <a16:creationId xmlns:a16="http://schemas.microsoft.com/office/drawing/2014/main" id="{7A87E4AF-668A-46D9-968A-49F01402F60A}"/>
                </a:ext>
              </a:extLst>
            </p:cNvPr>
            <p:cNvSpPr>
              <a:spLocks/>
            </p:cNvSpPr>
            <p:nvPr/>
          </p:nvSpPr>
          <p:spPr bwMode="auto">
            <a:xfrm>
              <a:off x="9810750" y="950913"/>
              <a:ext cx="534988" cy="155575"/>
            </a:xfrm>
            <a:custGeom>
              <a:avLst/>
              <a:gdLst>
                <a:gd name="T0" fmla="*/ 0 w 1010"/>
                <a:gd name="T1" fmla="*/ 262 h 293"/>
                <a:gd name="T2" fmla="*/ 47 w 1010"/>
                <a:gd name="T3" fmla="*/ 203 h 293"/>
                <a:gd name="T4" fmla="*/ 100 w 1010"/>
                <a:gd name="T5" fmla="*/ 151 h 293"/>
                <a:gd name="T6" fmla="*/ 159 w 1010"/>
                <a:gd name="T7" fmla="*/ 107 h 293"/>
                <a:gd name="T8" fmla="*/ 222 w 1010"/>
                <a:gd name="T9" fmla="*/ 69 h 293"/>
                <a:gd name="T10" fmla="*/ 288 w 1010"/>
                <a:gd name="T11" fmla="*/ 41 h 293"/>
                <a:gd name="T12" fmla="*/ 359 w 1010"/>
                <a:gd name="T13" fmla="*/ 19 h 293"/>
                <a:gd name="T14" fmla="*/ 432 w 1010"/>
                <a:gd name="T15" fmla="*/ 5 h 293"/>
                <a:gd name="T16" fmla="*/ 507 w 1010"/>
                <a:gd name="T17" fmla="*/ 0 h 293"/>
                <a:gd name="T18" fmla="*/ 581 w 1010"/>
                <a:gd name="T19" fmla="*/ 5 h 293"/>
                <a:gd name="T20" fmla="*/ 653 w 1010"/>
                <a:gd name="T21" fmla="*/ 18 h 293"/>
                <a:gd name="T22" fmla="*/ 722 w 1010"/>
                <a:gd name="T23" fmla="*/ 39 h 293"/>
                <a:gd name="T24" fmla="*/ 790 w 1010"/>
                <a:gd name="T25" fmla="*/ 69 h 293"/>
                <a:gd name="T26" fmla="*/ 851 w 1010"/>
                <a:gd name="T27" fmla="*/ 105 h 293"/>
                <a:gd name="T28" fmla="*/ 911 w 1010"/>
                <a:gd name="T29" fmla="*/ 150 h 293"/>
                <a:gd name="T30" fmla="*/ 964 w 1010"/>
                <a:gd name="T31" fmla="*/ 200 h 293"/>
                <a:gd name="T32" fmla="*/ 1010 w 1010"/>
                <a:gd name="T33" fmla="*/ 258 h 293"/>
                <a:gd name="T34" fmla="*/ 948 w 1010"/>
                <a:gd name="T35" fmla="*/ 261 h 293"/>
                <a:gd name="T36" fmla="*/ 902 w 1010"/>
                <a:gd name="T37" fmla="*/ 212 h 293"/>
                <a:gd name="T38" fmla="*/ 850 w 1010"/>
                <a:gd name="T39" fmla="*/ 169 h 293"/>
                <a:gd name="T40" fmla="*/ 795 w 1010"/>
                <a:gd name="T41" fmla="*/ 131 h 293"/>
                <a:gd name="T42" fmla="*/ 735 w 1010"/>
                <a:gd name="T43" fmla="*/ 101 h 293"/>
                <a:gd name="T44" fmla="*/ 673 w 1010"/>
                <a:gd name="T45" fmla="*/ 78 h 293"/>
                <a:gd name="T46" fmla="*/ 608 w 1010"/>
                <a:gd name="T47" fmla="*/ 62 h 293"/>
                <a:gd name="T48" fmla="*/ 540 w 1010"/>
                <a:gd name="T49" fmla="*/ 54 h 293"/>
                <a:gd name="T50" fmla="*/ 473 w 1010"/>
                <a:gd name="T51" fmla="*/ 54 h 293"/>
                <a:gd name="T52" fmla="*/ 405 w 1010"/>
                <a:gd name="T53" fmla="*/ 62 h 293"/>
                <a:gd name="T54" fmla="*/ 339 w 1010"/>
                <a:gd name="T55" fmla="*/ 78 h 293"/>
                <a:gd name="T56" fmla="*/ 275 w 1010"/>
                <a:gd name="T57" fmla="*/ 101 h 293"/>
                <a:gd name="T58" fmla="*/ 216 w 1010"/>
                <a:gd name="T59" fmla="*/ 133 h 293"/>
                <a:gd name="T60" fmla="*/ 160 w 1010"/>
                <a:gd name="T61" fmla="*/ 170 h 293"/>
                <a:gd name="T62" fmla="*/ 108 w 1010"/>
                <a:gd name="T63" fmla="*/ 215 h 293"/>
                <a:gd name="T64" fmla="*/ 64 w 1010"/>
                <a:gd name="T65" fmla="*/ 2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0" h="293">
                  <a:moveTo>
                    <a:pt x="42" y="293"/>
                  </a:moveTo>
                  <a:lnTo>
                    <a:pt x="0" y="262"/>
                  </a:lnTo>
                  <a:lnTo>
                    <a:pt x="22" y="232"/>
                  </a:lnTo>
                  <a:lnTo>
                    <a:pt x="47" y="203"/>
                  </a:lnTo>
                  <a:lnTo>
                    <a:pt x="72" y="177"/>
                  </a:lnTo>
                  <a:lnTo>
                    <a:pt x="100" y="151"/>
                  </a:lnTo>
                  <a:lnTo>
                    <a:pt x="129" y="128"/>
                  </a:lnTo>
                  <a:lnTo>
                    <a:pt x="159" y="107"/>
                  </a:lnTo>
                  <a:lnTo>
                    <a:pt x="189" y="88"/>
                  </a:lnTo>
                  <a:lnTo>
                    <a:pt x="222" y="69"/>
                  </a:lnTo>
                  <a:lnTo>
                    <a:pt x="255" y="54"/>
                  </a:lnTo>
                  <a:lnTo>
                    <a:pt x="288" y="41"/>
                  </a:lnTo>
                  <a:lnTo>
                    <a:pt x="323" y="28"/>
                  </a:lnTo>
                  <a:lnTo>
                    <a:pt x="359" y="19"/>
                  </a:lnTo>
                  <a:lnTo>
                    <a:pt x="395" y="10"/>
                  </a:lnTo>
                  <a:lnTo>
                    <a:pt x="432" y="5"/>
                  </a:lnTo>
                  <a:lnTo>
                    <a:pt x="468" y="2"/>
                  </a:lnTo>
                  <a:lnTo>
                    <a:pt x="507" y="0"/>
                  </a:lnTo>
                  <a:lnTo>
                    <a:pt x="543" y="2"/>
                  </a:lnTo>
                  <a:lnTo>
                    <a:pt x="581" y="5"/>
                  </a:lnTo>
                  <a:lnTo>
                    <a:pt x="617" y="10"/>
                  </a:lnTo>
                  <a:lnTo>
                    <a:pt x="653" y="18"/>
                  </a:lnTo>
                  <a:lnTo>
                    <a:pt x="687" y="28"/>
                  </a:lnTo>
                  <a:lnTo>
                    <a:pt x="722" y="39"/>
                  </a:lnTo>
                  <a:lnTo>
                    <a:pt x="756" y="54"/>
                  </a:lnTo>
                  <a:lnTo>
                    <a:pt x="790" y="69"/>
                  </a:lnTo>
                  <a:lnTo>
                    <a:pt x="821" y="87"/>
                  </a:lnTo>
                  <a:lnTo>
                    <a:pt x="851" y="105"/>
                  </a:lnTo>
                  <a:lnTo>
                    <a:pt x="882" y="127"/>
                  </a:lnTo>
                  <a:lnTo>
                    <a:pt x="911" y="150"/>
                  </a:lnTo>
                  <a:lnTo>
                    <a:pt x="938" y="174"/>
                  </a:lnTo>
                  <a:lnTo>
                    <a:pt x="964" y="200"/>
                  </a:lnTo>
                  <a:lnTo>
                    <a:pt x="988" y="228"/>
                  </a:lnTo>
                  <a:lnTo>
                    <a:pt x="1010" y="258"/>
                  </a:lnTo>
                  <a:lnTo>
                    <a:pt x="968" y="288"/>
                  </a:lnTo>
                  <a:lnTo>
                    <a:pt x="948" y="261"/>
                  </a:lnTo>
                  <a:lnTo>
                    <a:pt x="925" y="236"/>
                  </a:lnTo>
                  <a:lnTo>
                    <a:pt x="902" y="212"/>
                  </a:lnTo>
                  <a:lnTo>
                    <a:pt x="876" y="189"/>
                  </a:lnTo>
                  <a:lnTo>
                    <a:pt x="850" y="169"/>
                  </a:lnTo>
                  <a:lnTo>
                    <a:pt x="823" y="149"/>
                  </a:lnTo>
                  <a:lnTo>
                    <a:pt x="795" y="131"/>
                  </a:lnTo>
                  <a:lnTo>
                    <a:pt x="765" y="115"/>
                  </a:lnTo>
                  <a:lnTo>
                    <a:pt x="735" y="101"/>
                  </a:lnTo>
                  <a:lnTo>
                    <a:pt x="705" y="88"/>
                  </a:lnTo>
                  <a:lnTo>
                    <a:pt x="673" y="78"/>
                  </a:lnTo>
                  <a:lnTo>
                    <a:pt x="640" y="69"/>
                  </a:lnTo>
                  <a:lnTo>
                    <a:pt x="608" y="62"/>
                  </a:lnTo>
                  <a:lnTo>
                    <a:pt x="575" y="56"/>
                  </a:lnTo>
                  <a:lnTo>
                    <a:pt x="540" y="54"/>
                  </a:lnTo>
                  <a:lnTo>
                    <a:pt x="507" y="52"/>
                  </a:lnTo>
                  <a:lnTo>
                    <a:pt x="473" y="54"/>
                  </a:lnTo>
                  <a:lnTo>
                    <a:pt x="438" y="56"/>
                  </a:lnTo>
                  <a:lnTo>
                    <a:pt x="405" y="62"/>
                  </a:lnTo>
                  <a:lnTo>
                    <a:pt x="372" y="69"/>
                  </a:lnTo>
                  <a:lnTo>
                    <a:pt x="339" y="78"/>
                  </a:lnTo>
                  <a:lnTo>
                    <a:pt x="307" y="90"/>
                  </a:lnTo>
                  <a:lnTo>
                    <a:pt x="275" y="101"/>
                  </a:lnTo>
                  <a:lnTo>
                    <a:pt x="245" y="117"/>
                  </a:lnTo>
                  <a:lnTo>
                    <a:pt x="216" y="133"/>
                  </a:lnTo>
                  <a:lnTo>
                    <a:pt x="188" y="150"/>
                  </a:lnTo>
                  <a:lnTo>
                    <a:pt x="160" y="170"/>
                  </a:lnTo>
                  <a:lnTo>
                    <a:pt x="134" y="192"/>
                  </a:lnTo>
                  <a:lnTo>
                    <a:pt x="108" y="215"/>
                  </a:lnTo>
                  <a:lnTo>
                    <a:pt x="85" y="239"/>
                  </a:lnTo>
                  <a:lnTo>
                    <a:pt x="64" y="265"/>
                  </a:lnTo>
                  <a:lnTo>
                    <a:pt x="42"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151">
              <a:extLst>
                <a:ext uri="{FF2B5EF4-FFF2-40B4-BE49-F238E27FC236}">
                  <a16:creationId xmlns:a16="http://schemas.microsoft.com/office/drawing/2014/main" id="{BD64D3FC-A26D-488A-A5C9-382762014FDA}"/>
                </a:ext>
              </a:extLst>
            </p:cNvPr>
            <p:cNvSpPr>
              <a:spLocks/>
            </p:cNvSpPr>
            <p:nvPr/>
          </p:nvSpPr>
          <p:spPr bwMode="auto">
            <a:xfrm>
              <a:off x="9732963" y="852488"/>
              <a:ext cx="690563" cy="190500"/>
            </a:xfrm>
            <a:custGeom>
              <a:avLst/>
              <a:gdLst>
                <a:gd name="T0" fmla="*/ 0 w 1305"/>
                <a:gd name="T1" fmla="*/ 328 h 360"/>
                <a:gd name="T2" fmla="*/ 62 w 1305"/>
                <a:gd name="T3" fmla="*/ 255 h 360"/>
                <a:gd name="T4" fmla="*/ 131 w 1305"/>
                <a:gd name="T5" fmla="*/ 190 h 360"/>
                <a:gd name="T6" fmla="*/ 207 w 1305"/>
                <a:gd name="T7" fmla="*/ 134 h 360"/>
                <a:gd name="T8" fmla="*/ 288 w 1305"/>
                <a:gd name="T9" fmla="*/ 86 h 360"/>
                <a:gd name="T10" fmla="*/ 375 w 1305"/>
                <a:gd name="T11" fmla="*/ 49 h 360"/>
                <a:gd name="T12" fmla="*/ 465 w 1305"/>
                <a:gd name="T13" fmla="*/ 23 h 360"/>
                <a:gd name="T14" fmla="*/ 559 w 1305"/>
                <a:gd name="T15" fmla="*/ 6 h 360"/>
                <a:gd name="T16" fmla="*/ 655 w 1305"/>
                <a:gd name="T17" fmla="*/ 0 h 360"/>
                <a:gd name="T18" fmla="*/ 750 w 1305"/>
                <a:gd name="T19" fmla="*/ 6 h 360"/>
                <a:gd name="T20" fmla="*/ 843 w 1305"/>
                <a:gd name="T21" fmla="*/ 22 h 360"/>
                <a:gd name="T22" fmla="*/ 932 w 1305"/>
                <a:gd name="T23" fmla="*/ 49 h 360"/>
                <a:gd name="T24" fmla="*/ 1018 w 1305"/>
                <a:gd name="T25" fmla="*/ 85 h 360"/>
                <a:gd name="T26" fmla="*/ 1099 w 1305"/>
                <a:gd name="T27" fmla="*/ 131 h 360"/>
                <a:gd name="T28" fmla="*/ 1174 w 1305"/>
                <a:gd name="T29" fmla="*/ 186 h 360"/>
                <a:gd name="T30" fmla="*/ 1243 w 1305"/>
                <a:gd name="T31" fmla="*/ 251 h 360"/>
                <a:gd name="T32" fmla="*/ 1305 w 1305"/>
                <a:gd name="T33" fmla="*/ 323 h 360"/>
                <a:gd name="T34" fmla="*/ 1234 w 1305"/>
                <a:gd name="T35" fmla="*/ 320 h 360"/>
                <a:gd name="T36" fmla="*/ 1174 w 1305"/>
                <a:gd name="T37" fmla="*/ 255 h 360"/>
                <a:gd name="T38" fmla="*/ 1106 w 1305"/>
                <a:gd name="T39" fmla="*/ 200 h 360"/>
                <a:gd name="T40" fmla="*/ 1033 w 1305"/>
                <a:gd name="T41" fmla="*/ 153 h 360"/>
                <a:gd name="T42" fmla="*/ 955 w 1305"/>
                <a:gd name="T43" fmla="*/ 114 h 360"/>
                <a:gd name="T44" fmla="*/ 873 w 1305"/>
                <a:gd name="T45" fmla="*/ 84 h 360"/>
                <a:gd name="T46" fmla="*/ 788 w 1305"/>
                <a:gd name="T47" fmla="*/ 65 h 360"/>
                <a:gd name="T48" fmla="*/ 700 w 1305"/>
                <a:gd name="T49" fmla="*/ 53 h 360"/>
                <a:gd name="T50" fmla="*/ 609 w 1305"/>
                <a:gd name="T51" fmla="*/ 55 h 360"/>
                <a:gd name="T52" fmla="*/ 520 w 1305"/>
                <a:gd name="T53" fmla="*/ 65 h 360"/>
                <a:gd name="T54" fmla="*/ 434 w 1305"/>
                <a:gd name="T55" fmla="*/ 85 h 360"/>
                <a:gd name="T56" fmla="*/ 351 w 1305"/>
                <a:gd name="T57" fmla="*/ 115 h 360"/>
                <a:gd name="T58" fmla="*/ 274 w 1305"/>
                <a:gd name="T59" fmla="*/ 154 h 360"/>
                <a:gd name="T60" fmla="*/ 200 w 1305"/>
                <a:gd name="T61" fmla="*/ 202 h 360"/>
                <a:gd name="T62" fmla="*/ 133 w 1305"/>
                <a:gd name="T63" fmla="*/ 259 h 360"/>
                <a:gd name="T64" fmla="*/ 71 w 1305"/>
                <a:gd name="T65" fmla="*/ 32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5" h="360">
                  <a:moveTo>
                    <a:pt x="42" y="360"/>
                  </a:moveTo>
                  <a:lnTo>
                    <a:pt x="0" y="328"/>
                  </a:lnTo>
                  <a:lnTo>
                    <a:pt x="30" y="291"/>
                  </a:lnTo>
                  <a:lnTo>
                    <a:pt x="62" y="255"/>
                  </a:lnTo>
                  <a:lnTo>
                    <a:pt x="97" y="220"/>
                  </a:lnTo>
                  <a:lnTo>
                    <a:pt x="131" y="190"/>
                  </a:lnTo>
                  <a:lnTo>
                    <a:pt x="169" y="160"/>
                  </a:lnTo>
                  <a:lnTo>
                    <a:pt x="207" y="134"/>
                  </a:lnTo>
                  <a:lnTo>
                    <a:pt x="248" y="108"/>
                  </a:lnTo>
                  <a:lnTo>
                    <a:pt x="288" y="86"/>
                  </a:lnTo>
                  <a:lnTo>
                    <a:pt x="331" y="66"/>
                  </a:lnTo>
                  <a:lnTo>
                    <a:pt x="375" y="49"/>
                  </a:lnTo>
                  <a:lnTo>
                    <a:pt x="419" y="35"/>
                  </a:lnTo>
                  <a:lnTo>
                    <a:pt x="465" y="23"/>
                  </a:lnTo>
                  <a:lnTo>
                    <a:pt x="511" y="13"/>
                  </a:lnTo>
                  <a:lnTo>
                    <a:pt x="559" y="6"/>
                  </a:lnTo>
                  <a:lnTo>
                    <a:pt x="606" y="1"/>
                  </a:lnTo>
                  <a:lnTo>
                    <a:pt x="655" y="0"/>
                  </a:lnTo>
                  <a:lnTo>
                    <a:pt x="703" y="1"/>
                  </a:lnTo>
                  <a:lnTo>
                    <a:pt x="750" y="6"/>
                  </a:lnTo>
                  <a:lnTo>
                    <a:pt x="796" y="13"/>
                  </a:lnTo>
                  <a:lnTo>
                    <a:pt x="843" y="22"/>
                  </a:lnTo>
                  <a:lnTo>
                    <a:pt x="887" y="35"/>
                  </a:lnTo>
                  <a:lnTo>
                    <a:pt x="932" y="49"/>
                  </a:lnTo>
                  <a:lnTo>
                    <a:pt x="975" y="65"/>
                  </a:lnTo>
                  <a:lnTo>
                    <a:pt x="1018" y="85"/>
                  </a:lnTo>
                  <a:lnTo>
                    <a:pt x="1059" y="107"/>
                  </a:lnTo>
                  <a:lnTo>
                    <a:pt x="1099" y="131"/>
                  </a:lnTo>
                  <a:lnTo>
                    <a:pt x="1136" y="157"/>
                  </a:lnTo>
                  <a:lnTo>
                    <a:pt x="1174" y="186"/>
                  </a:lnTo>
                  <a:lnTo>
                    <a:pt x="1208" y="217"/>
                  </a:lnTo>
                  <a:lnTo>
                    <a:pt x="1243" y="251"/>
                  </a:lnTo>
                  <a:lnTo>
                    <a:pt x="1275" y="285"/>
                  </a:lnTo>
                  <a:lnTo>
                    <a:pt x="1305" y="323"/>
                  </a:lnTo>
                  <a:lnTo>
                    <a:pt x="1263" y="354"/>
                  </a:lnTo>
                  <a:lnTo>
                    <a:pt x="1234" y="320"/>
                  </a:lnTo>
                  <a:lnTo>
                    <a:pt x="1205" y="287"/>
                  </a:lnTo>
                  <a:lnTo>
                    <a:pt x="1174" y="255"/>
                  </a:lnTo>
                  <a:lnTo>
                    <a:pt x="1141" y="226"/>
                  </a:lnTo>
                  <a:lnTo>
                    <a:pt x="1106" y="200"/>
                  </a:lnTo>
                  <a:lnTo>
                    <a:pt x="1070" y="174"/>
                  </a:lnTo>
                  <a:lnTo>
                    <a:pt x="1033" y="153"/>
                  </a:lnTo>
                  <a:lnTo>
                    <a:pt x="994" y="131"/>
                  </a:lnTo>
                  <a:lnTo>
                    <a:pt x="955" y="114"/>
                  </a:lnTo>
                  <a:lnTo>
                    <a:pt x="915" y="98"/>
                  </a:lnTo>
                  <a:lnTo>
                    <a:pt x="873" y="84"/>
                  </a:lnTo>
                  <a:lnTo>
                    <a:pt x="831" y="73"/>
                  </a:lnTo>
                  <a:lnTo>
                    <a:pt x="788" y="65"/>
                  </a:lnTo>
                  <a:lnTo>
                    <a:pt x="743" y="58"/>
                  </a:lnTo>
                  <a:lnTo>
                    <a:pt x="700" y="53"/>
                  </a:lnTo>
                  <a:lnTo>
                    <a:pt x="655" y="53"/>
                  </a:lnTo>
                  <a:lnTo>
                    <a:pt x="609" y="55"/>
                  </a:lnTo>
                  <a:lnTo>
                    <a:pt x="565" y="58"/>
                  </a:lnTo>
                  <a:lnTo>
                    <a:pt x="520" y="65"/>
                  </a:lnTo>
                  <a:lnTo>
                    <a:pt x="477" y="73"/>
                  </a:lnTo>
                  <a:lnTo>
                    <a:pt x="434" y="85"/>
                  </a:lnTo>
                  <a:lnTo>
                    <a:pt x="392" y="98"/>
                  </a:lnTo>
                  <a:lnTo>
                    <a:pt x="351" y="115"/>
                  </a:lnTo>
                  <a:lnTo>
                    <a:pt x="311" y="133"/>
                  </a:lnTo>
                  <a:lnTo>
                    <a:pt x="274" y="154"/>
                  </a:lnTo>
                  <a:lnTo>
                    <a:pt x="236" y="177"/>
                  </a:lnTo>
                  <a:lnTo>
                    <a:pt x="200" y="202"/>
                  </a:lnTo>
                  <a:lnTo>
                    <a:pt x="166" y="229"/>
                  </a:lnTo>
                  <a:lnTo>
                    <a:pt x="133" y="259"/>
                  </a:lnTo>
                  <a:lnTo>
                    <a:pt x="101" y="291"/>
                  </a:lnTo>
                  <a:lnTo>
                    <a:pt x="71" y="324"/>
                  </a:lnTo>
                  <a:lnTo>
                    <a:pt x="42"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1" name="Group 42">
            <a:extLst>
              <a:ext uri="{FF2B5EF4-FFF2-40B4-BE49-F238E27FC236}">
                <a16:creationId xmlns:a16="http://schemas.microsoft.com/office/drawing/2014/main" id="{F99B92EF-261A-4ECF-8688-8281A7A724F5}"/>
              </a:ext>
            </a:extLst>
          </p:cNvPr>
          <p:cNvGrpSpPr>
            <a:grpSpLocks noChangeAspect="1"/>
          </p:cNvGrpSpPr>
          <p:nvPr/>
        </p:nvGrpSpPr>
        <p:grpSpPr>
          <a:xfrm>
            <a:off x="650369" y="2724897"/>
            <a:ext cx="327460" cy="285619"/>
            <a:chOff x="3173413" y="1952625"/>
            <a:chExt cx="285750" cy="249238"/>
          </a:xfrm>
          <a:solidFill>
            <a:schemeClr val="bg2"/>
          </a:solidFill>
          <a:effectLst/>
        </p:grpSpPr>
        <p:sp>
          <p:nvSpPr>
            <p:cNvPr id="632" name="Freeform 83">
              <a:extLst>
                <a:ext uri="{FF2B5EF4-FFF2-40B4-BE49-F238E27FC236}">
                  <a16:creationId xmlns:a16="http://schemas.microsoft.com/office/drawing/2014/main" id="{8310169E-CB12-4C6E-864A-FB6551E2AD46}"/>
                </a:ext>
              </a:extLst>
            </p:cNvPr>
            <p:cNvSpPr>
              <a:spLocks noEditPoints="1"/>
            </p:cNvSpPr>
            <p:nvPr/>
          </p:nvSpPr>
          <p:spPr bwMode="auto">
            <a:xfrm>
              <a:off x="3173413" y="1952625"/>
              <a:ext cx="225425" cy="249238"/>
            </a:xfrm>
            <a:custGeom>
              <a:avLst/>
              <a:gdLst>
                <a:gd name="T0" fmla="*/ 37 w 713"/>
                <a:gd name="T1" fmla="*/ 654 h 786"/>
                <a:gd name="T2" fmla="*/ 60 w 713"/>
                <a:gd name="T3" fmla="*/ 578 h 786"/>
                <a:gd name="T4" fmla="*/ 188 w 713"/>
                <a:gd name="T5" fmla="*/ 520 h 786"/>
                <a:gd name="T6" fmla="*/ 295 w 713"/>
                <a:gd name="T7" fmla="*/ 482 h 786"/>
                <a:gd name="T8" fmla="*/ 299 w 713"/>
                <a:gd name="T9" fmla="*/ 372 h 786"/>
                <a:gd name="T10" fmla="*/ 265 w 713"/>
                <a:gd name="T11" fmla="*/ 342 h 786"/>
                <a:gd name="T12" fmla="*/ 241 w 713"/>
                <a:gd name="T13" fmla="*/ 287 h 786"/>
                <a:gd name="T14" fmla="*/ 235 w 713"/>
                <a:gd name="T15" fmla="*/ 248 h 786"/>
                <a:gd name="T16" fmla="*/ 220 w 713"/>
                <a:gd name="T17" fmla="*/ 237 h 786"/>
                <a:gd name="T18" fmla="*/ 221 w 713"/>
                <a:gd name="T19" fmla="*/ 202 h 786"/>
                <a:gd name="T20" fmla="*/ 235 w 713"/>
                <a:gd name="T21" fmla="*/ 193 h 786"/>
                <a:gd name="T22" fmla="*/ 235 w 713"/>
                <a:gd name="T23" fmla="*/ 164 h 786"/>
                <a:gd name="T24" fmla="*/ 225 w 713"/>
                <a:gd name="T25" fmla="*/ 96 h 786"/>
                <a:gd name="T26" fmla="*/ 246 w 713"/>
                <a:gd name="T27" fmla="*/ 83 h 786"/>
                <a:gd name="T28" fmla="*/ 275 w 713"/>
                <a:gd name="T29" fmla="*/ 79 h 786"/>
                <a:gd name="T30" fmla="*/ 289 w 713"/>
                <a:gd name="T31" fmla="*/ 56 h 786"/>
                <a:gd name="T32" fmla="*/ 345 w 713"/>
                <a:gd name="T33" fmla="*/ 34 h 786"/>
                <a:gd name="T34" fmla="*/ 459 w 713"/>
                <a:gd name="T35" fmla="*/ 42 h 786"/>
                <a:gd name="T36" fmla="*/ 490 w 713"/>
                <a:gd name="T37" fmla="*/ 64 h 786"/>
                <a:gd name="T38" fmla="*/ 493 w 713"/>
                <a:gd name="T39" fmla="*/ 123 h 786"/>
                <a:gd name="T40" fmla="*/ 476 w 713"/>
                <a:gd name="T41" fmla="*/ 189 h 786"/>
                <a:gd name="T42" fmla="*/ 489 w 713"/>
                <a:gd name="T43" fmla="*/ 198 h 786"/>
                <a:gd name="T44" fmla="*/ 493 w 713"/>
                <a:gd name="T45" fmla="*/ 238 h 786"/>
                <a:gd name="T46" fmla="*/ 479 w 713"/>
                <a:gd name="T47" fmla="*/ 248 h 786"/>
                <a:gd name="T48" fmla="*/ 473 w 713"/>
                <a:gd name="T49" fmla="*/ 287 h 786"/>
                <a:gd name="T50" fmla="*/ 453 w 713"/>
                <a:gd name="T51" fmla="*/ 342 h 786"/>
                <a:gd name="T52" fmla="*/ 424 w 713"/>
                <a:gd name="T53" fmla="*/ 372 h 786"/>
                <a:gd name="T54" fmla="*/ 427 w 713"/>
                <a:gd name="T55" fmla="*/ 482 h 786"/>
                <a:gd name="T56" fmla="*/ 531 w 713"/>
                <a:gd name="T57" fmla="*/ 520 h 786"/>
                <a:gd name="T58" fmla="*/ 654 w 713"/>
                <a:gd name="T59" fmla="*/ 578 h 786"/>
                <a:gd name="T60" fmla="*/ 677 w 713"/>
                <a:gd name="T61" fmla="*/ 654 h 786"/>
                <a:gd name="T62" fmla="*/ 30 w 713"/>
                <a:gd name="T63" fmla="*/ 756 h 786"/>
                <a:gd name="T64" fmla="*/ 452 w 713"/>
                <a:gd name="T65" fmla="*/ 387 h 786"/>
                <a:gd name="T66" fmla="*/ 490 w 713"/>
                <a:gd name="T67" fmla="*/ 335 h 786"/>
                <a:gd name="T68" fmla="*/ 504 w 713"/>
                <a:gd name="T69" fmla="*/ 271 h 786"/>
                <a:gd name="T70" fmla="*/ 524 w 713"/>
                <a:gd name="T71" fmla="*/ 238 h 786"/>
                <a:gd name="T72" fmla="*/ 522 w 713"/>
                <a:gd name="T73" fmla="*/ 193 h 786"/>
                <a:gd name="T74" fmla="*/ 523 w 713"/>
                <a:gd name="T75" fmla="*/ 127 h 786"/>
                <a:gd name="T76" fmla="*/ 516 w 713"/>
                <a:gd name="T77" fmla="*/ 49 h 786"/>
                <a:gd name="T78" fmla="*/ 471 w 713"/>
                <a:gd name="T79" fmla="*/ 14 h 786"/>
                <a:gd name="T80" fmla="*/ 385 w 713"/>
                <a:gd name="T81" fmla="*/ 0 h 786"/>
                <a:gd name="T82" fmla="*/ 290 w 713"/>
                <a:gd name="T83" fmla="*/ 19 h 786"/>
                <a:gd name="T84" fmla="*/ 252 w 713"/>
                <a:gd name="T85" fmla="*/ 53 h 786"/>
                <a:gd name="T86" fmla="*/ 211 w 713"/>
                <a:gd name="T87" fmla="*/ 64 h 786"/>
                <a:gd name="T88" fmla="*/ 195 w 713"/>
                <a:gd name="T89" fmla="*/ 95 h 786"/>
                <a:gd name="T90" fmla="*/ 206 w 713"/>
                <a:gd name="T91" fmla="*/ 173 h 786"/>
                <a:gd name="T92" fmla="*/ 192 w 713"/>
                <a:gd name="T93" fmla="*/ 192 h 786"/>
                <a:gd name="T94" fmla="*/ 189 w 713"/>
                <a:gd name="T95" fmla="*/ 237 h 786"/>
                <a:gd name="T96" fmla="*/ 209 w 713"/>
                <a:gd name="T97" fmla="*/ 271 h 786"/>
                <a:gd name="T98" fmla="*/ 226 w 713"/>
                <a:gd name="T99" fmla="*/ 336 h 786"/>
                <a:gd name="T100" fmla="*/ 271 w 713"/>
                <a:gd name="T101" fmla="*/ 388 h 786"/>
                <a:gd name="T102" fmla="*/ 173 w 713"/>
                <a:gd name="T103" fmla="*/ 495 h 786"/>
                <a:gd name="T104" fmla="*/ 51 w 713"/>
                <a:gd name="T105" fmla="*/ 549 h 786"/>
                <a:gd name="T106" fmla="*/ 16 w 713"/>
                <a:gd name="T107" fmla="*/ 596 h 786"/>
                <a:gd name="T108" fmla="*/ 1 w 713"/>
                <a:gd name="T109" fmla="*/ 725 h 786"/>
                <a:gd name="T110" fmla="*/ 3 w 713"/>
                <a:gd name="T111" fmla="*/ 780 h 786"/>
                <a:gd name="T112" fmla="*/ 698 w 713"/>
                <a:gd name="T113" fmla="*/ 786 h 786"/>
                <a:gd name="T114" fmla="*/ 712 w 713"/>
                <a:gd name="T115" fmla="*/ 777 h 786"/>
                <a:gd name="T116" fmla="*/ 711 w 713"/>
                <a:gd name="T117" fmla="*/ 697 h 786"/>
                <a:gd name="T118" fmla="*/ 695 w 713"/>
                <a:gd name="T119" fmla="*/ 586 h 786"/>
                <a:gd name="T120" fmla="*/ 655 w 713"/>
                <a:gd name="T121" fmla="*/ 542 h 786"/>
                <a:gd name="T122" fmla="*/ 512 w 713"/>
                <a:gd name="T123" fmla="*/ 482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3" h="786">
                  <a:moveTo>
                    <a:pt x="30" y="756"/>
                  </a:moveTo>
                  <a:lnTo>
                    <a:pt x="31" y="740"/>
                  </a:lnTo>
                  <a:lnTo>
                    <a:pt x="31" y="722"/>
                  </a:lnTo>
                  <a:lnTo>
                    <a:pt x="32" y="700"/>
                  </a:lnTo>
                  <a:lnTo>
                    <a:pt x="34" y="678"/>
                  </a:lnTo>
                  <a:lnTo>
                    <a:pt x="37" y="654"/>
                  </a:lnTo>
                  <a:lnTo>
                    <a:pt x="40" y="632"/>
                  </a:lnTo>
                  <a:lnTo>
                    <a:pt x="43" y="613"/>
                  </a:lnTo>
                  <a:lnTo>
                    <a:pt x="47" y="595"/>
                  </a:lnTo>
                  <a:lnTo>
                    <a:pt x="51" y="589"/>
                  </a:lnTo>
                  <a:lnTo>
                    <a:pt x="55" y="584"/>
                  </a:lnTo>
                  <a:lnTo>
                    <a:pt x="60" y="578"/>
                  </a:lnTo>
                  <a:lnTo>
                    <a:pt x="68" y="573"/>
                  </a:lnTo>
                  <a:lnTo>
                    <a:pt x="86" y="562"/>
                  </a:lnTo>
                  <a:lnTo>
                    <a:pt x="107" y="551"/>
                  </a:lnTo>
                  <a:lnTo>
                    <a:pt x="133" y="541"/>
                  </a:lnTo>
                  <a:lnTo>
                    <a:pt x="160" y="531"/>
                  </a:lnTo>
                  <a:lnTo>
                    <a:pt x="188" y="520"/>
                  </a:lnTo>
                  <a:lnTo>
                    <a:pt x="216" y="511"/>
                  </a:lnTo>
                  <a:lnTo>
                    <a:pt x="235" y="504"/>
                  </a:lnTo>
                  <a:lnTo>
                    <a:pt x="254" y="498"/>
                  </a:lnTo>
                  <a:lnTo>
                    <a:pt x="273" y="491"/>
                  </a:lnTo>
                  <a:lnTo>
                    <a:pt x="292" y="484"/>
                  </a:lnTo>
                  <a:lnTo>
                    <a:pt x="295" y="482"/>
                  </a:lnTo>
                  <a:lnTo>
                    <a:pt x="298" y="479"/>
                  </a:lnTo>
                  <a:lnTo>
                    <a:pt x="300" y="474"/>
                  </a:lnTo>
                  <a:lnTo>
                    <a:pt x="301" y="470"/>
                  </a:lnTo>
                  <a:lnTo>
                    <a:pt x="301" y="380"/>
                  </a:lnTo>
                  <a:lnTo>
                    <a:pt x="300" y="376"/>
                  </a:lnTo>
                  <a:lnTo>
                    <a:pt x="299" y="372"/>
                  </a:lnTo>
                  <a:lnTo>
                    <a:pt x="296" y="369"/>
                  </a:lnTo>
                  <a:lnTo>
                    <a:pt x="293" y="366"/>
                  </a:lnTo>
                  <a:lnTo>
                    <a:pt x="290" y="365"/>
                  </a:lnTo>
                  <a:lnTo>
                    <a:pt x="283" y="361"/>
                  </a:lnTo>
                  <a:lnTo>
                    <a:pt x="275" y="353"/>
                  </a:lnTo>
                  <a:lnTo>
                    <a:pt x="265" y="342"/>
                  </a:lnTo>
                  <a:lnTo>
                    <a:pt x="261" y="335"/>
                  </a:lnTo>
                  <a:lnTo>
                    <a:pt x="255" y="327"/>
                  </a:lnTo>
                  <a:lnTo>
                    <a:pt x="251" y="319"/>
                  </a:lnTo>
                  <a:lnTo>
                    <a:pt x="247" y="309"/>
                  </a:lnTo>
                  <a:lnTo>
                    <a:pt x="244" y="298"/>
                  </a:lnTo>
                  <a:lnTo>
                    <a:pt x="241" y="287"/>
                  </a:lnTo>
                  <a:lnTo>
                    <a:pt x="239" y="273"/>
                  </a:lnTo>
                  <a:lnTo>
                    <a:pt x="239" y="259"/>
                  </a:lnTo>
                  <a:lnTo>
                    <a:pt x="239" y="256"/>
                  </a:lnTo>
                  <a:lnTo>
                    <a:pt x="238" y="253"/>
                  </a:lnTo>
                  <a:lnTo>
                    <a:pt x="236" y="250"/>
                  </a:lnTo>
                  <a:lnTo>
                    <a:pt x="235" y="248"/>
                  </a:lnTo>
                  <a:lnTo>
                    <a:pt x="233" y="246"/>
                  </a:lnTo>
                  <a:lnTo>
                    <a:pt x="230" y="245"/>
                  </a:lnTo>
                  <a:lnTo>
                    <a:pt x="227" y="244"/>
                  </a:lnTo>
                  <a:lnTo>
                    <a:pt x="224" y="244"/>
                  </a:lnTo>
                  <a:lnTo>
                    <a:pt x="222" y="243"/>
                  </a:lnTo>
                  <a:lnTo>
                    <a:pt x="220" y="237"/>
                  </a:lnTo>
                  <a:lnTo>
                    <a:pt x="218" y="231"/>
                  </a:lnTo>
                  <a:lnTo>
                    <a:pt x="217" y="221"/>
                  </a:lnTo>
                  <a:lnTo>
                    <a:pt x="217" y="216"/>
                  </a:lnTo>
                  <a:lnTo>
                    <a:pt x="218" y="210"/>
                  </a:lnTo>
                  <a:lnTo>
                    <a:pt x="219" y="206"/>
                  </a:lnTo>
                  <a:lnTo>
                    <a:pt x="221" y="202"/>
                  </a:lnTo>
                  <a:lnTo>
                    <a:pt x="222" y="200"/>
                  </a:lnTo>
                  <a:lnTo>
                    <a:pt x="224" y="198"/>
                  </a:lnTo>
                  <a:lnTo>
                    <a:pt x="227" y="198"/>
                  </a:lnTo>
                  <a:lnTo>
                    <a:pt x="230" y="197"/>
                  </a:lnTo>
                  <a:lnTo>
                    <a:pt x="233" y="195"/>
                  </a:lnTo>
                  <a:lnTo>
                    <a:pt x="235" y="193"/>
                  </a:lnTo>
                  <a:lnTo>
                    <a:pt x="236" y="191"/>
                  </a:lnTo>
                  <a:lnTo>
                    <a:pt x="238" y="189"/>
                  </a:lnTo>
                  <a:lnTo>
                    <a:pt x="239" y="186"/>
                  </a:lnTo>
                  <a:lnTo>
                    <a:pt x="239" y="183"/>
                  </a:lnTo>
                  <a:lnTo>
                    <a:pt x="238" y="176"/>
                  </a:lnTo>
                  <a:lnTo>
                    <a:pt x="235" y="164"/>
                  </a:lnTo>
                  <a:lnTo>
                    <a:pt x="231" y="147"/>
                  </a:lnTo>
                  <a:lnTo>
                    <a:pt x="225" y="126"/>
                  </a:lnTo>
                  <a:lnTo>
                    <a:pt x="224" y="114"/>
                  </a:lnTo>
                  <a:lnTo>
                    <a:pt x="224" y="104"/>
                  </a:lnTo>
                  <a:lnTo>
                    <a:pt x="224" y="100"/>
                  </a:lnTo>
                  <a:lnTo>
                    <a:pt x="225" y="96"/>
                  </a:lnTo>
                  <a:lnTo>
                    <a:pt x="227" y="91"/>
                  </a:lnTo>
                  <a:lnTo>
                    <a:pt x="229" y="88"/>
                  </a:lnTo>
                  <a:lnTo>
                    <a:pt x="231" y="87"/>
                  </a:lnTo>
                  <a:lnTo>
                    <a:pt x="233" y="85"/>
                  </a:lnTo>
                  <a:lnTo>
                    <a:pt x="238" y="83"/>
                  </a:lnTo>
                  <a:lnTo>
                    <a:pt x="246" y="83"/>
                  </a:lnTo>
                  <a:lnTo>
                    <a:pt x="252" y="83"/>
                  </a:lnTo>
                  <a:lnTo>
                    <a:pt x="259" y="84"/>
                  </a:lnTo>
                  <a:lnTo>
                    <a:pt x="265" y="84"/>
                  </a:lnTo>
                  <a:lnTo>
                    <a:pt x="270" y="82"/>
                  </a:lnTo>
                  <a:lnTo>
                    <a:pt x="273" y="81"/>
                  </a:lnTo>
                  <a:lnTo>
                    <a:pt x="275" y="79"/>
                  </a:lnTo>
                  <a:lnTo>
                    <a:pt x="276" y="75"/>
                  </a:lnTo>
                  <a:lnTo>
                    <a:pt x="277" y="73"/>
                  </a:lnTo>
                  <a:lnTo>
                    <a:pt x="278" y="68"/>
                  </a:lnTo>
                  <a:lnTo>
                    <a:pt x="281" y="64"/>
                  </a:lnTo>
                  <a:lnTo>
                    <a:pt x="284" y="59"/>
                  </a:lnTo>
                  <a:lnTo>
                    <a:pt x="289" y="56"/>
                  </a:lnTo>
                  <a:lnTo>
                    <a:pt x="293" y="52"/>
                  </a:lnTo>
                  <a:lnTo>
                    <a:pt x="298" y="49"/>
                  </a:lnTo>
                  <a:lnTo>
                    <a:pt x="305" y="45"/>
                  </a:lnTo>
                  <a:lnTo>
                    <a:pt x="312" y="42"/>
                  </a:lnTo>
                  <a:lnTo>
                    <a:pt x="327" y="37"/>
                  </a:lnTo>
                  <a:lnTo>
                    <a:pt x="345" y="34"/>
                  </a:lnTo>
                  <a:lnTo>
                    <a:pt x="365" y="30"/>
                  </a:lnTo>
                  <a:lnTo>
                    <a:pt x="385" y="30"/>
                  </a:lnTo>
                  <a:lnTo>
                    <a:pt x="407" y="30"/>
                  </a:lnTo>
                  <a:lnTo>
                    <a:pt x="426" y="34"/>
                  </a:lnTo>
                  <a:lnTo>
                    <a:pt x="443" y="37"/>
                  </a:lnTo>
                  <a:lnTo>
                    <a:pt x="459" y="42"/>
                  </a:lnTo>
                  <a:lnTo>
                    <a:pt x="466" y="45"/>
                  </a:lnTo>
                  <a:lnTo>
                    <a:pt x="472" y="49"/>
                  </a:lnTo>
                  <a:lnTo>
                    <a:pt x="477" y="52"/>
                  </a:lnTo>
                  <a:lnTo>
                    <a:pt x="483" y="56"/>
                  </a:lnTo>
                  <a:lnTo>
                    <a:pt x="487" y="59"/>
                  </a:lnTo>
                  <a:lnTo>
                    <a:pt x="490" y="64"/>
                  </a:lnTo>
                  <a:lnTo>
                    <a:pt x="492" y="68"/>
                  </a:lnTo>
                  <a:lnTo>
                    <a:pt x="494" y="73"/>
                  </a:lnTo>
                  <a:lnTo>
                    <a:pt x="496" y="85"/>
                  </a:lnTo>
                  <a:lnTo>
                    <a:pt x="497" y="98"/>
                  </a:lnTo>
                  <a:lnTo>
                    <a:pt x="496" y="111"/>
                  </a:lnTo>
                  <a:lnTo>
                    <a:pt x="493" y="123"/>
                  </a:lnTo>
                  <a:lnTo>
                    <a:pt x="487" y="145"/>
                  </a:lnTo>
                  <a:lnTo>
                    <a:pt x="481" y="163"/>
                  </a:lnTo>
                  <a:lnTo>
                    <a:pt x="476" y="175"/>
                  </a:lnTo>
                  <a:lnTo>
                    <a:pt x="474" y="183"/>
                  </a:lnTo>
                  <a:lnTo>
                    <a:pt x="475" y="186"/>
                  </a:lnTo>
                  <a:lnTo>
                    <a:pt x="476" y="189"/>
                  </a:lnTo>
                  <a:lnTo>
                    <a:pt x="477" y="191"/>
                  </a:lnTo>
                  <a:lnTo>
                    <a:pt x="479" y="193"/>
                  </a:lnTo>
                  <a:lnTo>
                    <a:pt x="482" y="195"/>
                  </a:lnTo>
                  <a:lnTo>
                    <a:pt x="484" y="197"/>
                  </a:lnTo>
                  <a:lnTo>
                    <a:pt x="487" y="198"/>
                  </a:lnTo>
                  <a:lnTo>
                    <a:pt x="489" y="198"/>
                  </a:lnTo>
                  <a:lnTo>
                    <a:pt x="491" y="200"/>
                  </a:lnTo>
                  <a:lnTo>
                    <a:pt x="493" y="204"/>
                  </a:lnTo>
                  <a:lnTo>
                    <a:pt x="496" y="210"/>
                  </a:lnTo>
                  <a:lnTo>
                    <a:pt x="497" y="221"/>
                  </a:lnTo>
                  <a:lnTo>
                    <a:pt x="496" y="231"/>
                  </a:lnTo>
                  <a:lnTo>
                    <a:pt x="493" y="238"/>
                  </a:lnTo>
                  <a:lnTo>
                    <a:pt x="491" y="243"/>
                  </a:lnTo>
                  <a:lnTo>
                    <a:pt x="489" y="244"/>
                  </a:lnTo>
                  <a:lnTo>
                    <a:pt x="487" y="244"/>
                  </a:lnTo>
                  <a:lnTo>
                    <a:pt x="484" y="245"/>
                  </a:lnTo>
                  <a:lnTo>
                    <a:pt x="482" y="246"/>
                  </a:lnTo>
                  <a:lnTo>
                    <a:pt x="479" y="248"/>
                  </a:lnTo>
                  <a:lnTo>
                    <a:pt x="477" y="250"/>
                  </a:lnTo>
                  <a:lnTo>
                    <a:pt x="476" y="253"/>
                  </a:lnTo>
                  <a:lnTo>
                    <a:pt x="475" y="256"/>
                  </a:lnTo>
                  <a:lnTo>
                    <a:pt x="474" y="259"/>
                  </a:lnTo>
                  <a:lnTo>
                    <a:pt x="474" y="273"/>
                  </a:lnTo>
                  <a:lnTo>
                    <a:pt x="473" y="287"/>
                  </a:lnTo>
                  <a:lnTo>
                    <a:pt x="471" y="298"/>
                  </a:lnTo>
                  <a:lnTo>
                    <a:pt x="468" y="309"/>
                  </a:lnTo>
                  <a:lnTo>
                    <a:pt x="464" y="319"/>
                  </a:lnTo>
                  <a:lnTo>
                    <a:pt x="460" y="327"/>
                  </a:lnTo>
                  <a:lnTo>
                    <a:pt x="457" y="336"/>
                  </a:lnTo>
                  <a:lnTo>
                    <a:pt x="453" y="342"/>
                  </a:lnTo>
                  <a:lnTo>
                    <a:pt x="444" y="353"/>
                  </a:lnTo>
                  <a:lnTo>
                    <a:pt x="437" y="361"/>
                  </a:lnTo>
                  <a:lnTo>
                    <a:pt x="431" y="365"/>
                  </a:lnTo>
                  <a:lnTo>
                    <a:pt x="429" y="367"/>
                  </a:lnTo>
                  <a:lnTo>
                    <a:pt x="426" y="369"/>
                  </a:lnTo>
                  <a:lnTo>
                    <a:pt x="424" y="372"/>
                  </a:lnTo>
                  <a:lnTo>
                    <a:pt x="423" y="376"/>
                  </a:lnTo>
                  <a:lnTo>
                    <a:pt x="422" y="380"/>
                  </a:lnTo>
                  <a:lnTo>
                    <a:pt x="422" y="470"/>
                  </a:lnTo>
                  <a:lnTo>
                    <a:pt x="423" y="474"/>
                  </a:lnTo>
                  <a:lnTo>
                    <a:pt x="425" y="479"/>
                  </a:lnTo>
                  <a:lnTo>
                    <a:pt x="427" y="482"/>
                  </a:lnTo>
                  <a:lnTo>
                    <a:pt x="431" y="484"/>
                  </a:lnTo>
                  <a:lnTo>
                    <a:pt x="449" y="490"/>
                  </a:lnTo>
                  <a:lnTo>
                    <a:pt x="467" y="497"/>
                  </a:lnTo>
                  <a:lnTo>
                    <a:pt x="485" y="503"/>
                  </a:lnTo>
                  <a:lnTo>
                    <a:pt x="502" y="510"/>
                  </a:lnTo>
                  <a:lnTo>
                    <a:pt x="531" y="520"/>
                  </a:lnTo>
                  <a:lnTo>
                    <a:pt x="559" y="530"/>
                  </a:lnTo>
                  <a:lnTo>
                    <a:pt x="586" y="541"/>
                  </a:lnTo>
                  <a:lnTo>
                    <a:pt x="609" y="551"/>
                  </a:lnTo>
                  <a:lnTo>
                    <a:pt x="631" y="562"/>
                  </a:lnTo>
                  <a:lnTo>
                    <a:pt x="647" y="573"/>
                  </a:lnTo>
                  <a:lnTo>
                    <a:pt x="654" y="578"/>
                  </a:lnTo>
                  <a:lnTo>
                    <a:pt x="660" y="584"/>
                  </a:lnTo>
                  <a:lnTo>
                    <a:pt x="663" y="589"/>
                  </a:lnTo>
                  <a:lnTo>
                    <a:pt x="666" y="595"/>
                  </a:lnTo>
                  <a:lnTo>
                    <a:pt x="670" y="613"/>
                  </a:lnTo>
                  <a:lnTo>
                    <a:pt x="675" y="632"/>
                  </a:lnTo>
                  <a:lnTo>
                    <a:pt x="677" y="654"/>
                  </a:lnTo>
                  <a:lnTo>
                    <a:pt x="679" y="678"/>
                  </a:lnTo>
                  <a:lnTo>
                    <a:pt x="681" y="700"/>
                  </a:lnTo>
                  <a:lnTo>
                    <a:pt x="682" y="722"/>
                  </a:lnTo>
                  <a:lnTo>
                    <a:pt x="682" y="740"/>
                  </a:lnTo>
                  <a:lnTo>
                    <a:pt x="683" y="756"/>
                  </a:lnTo>
                  <a:lnTo>
                    <a:pt x="30" y="756"/>
                  </a:lnTo>
                  <a:close/>
                  <a:moveTo>
                    <a:pt x="512" y="482"/>
                  </a:moveTo>
                  <a:lnTo>
                    <a:pt x="497" y="476"/>
                  </a:lnTo>
                  <a:lnTo>
                    <a:pt x="482" y="471"/>
                  </a:lnTo>
                  <a:lnTo>
                    <a:pt x="467" y="466"/>
                  </a:lnTo>
                  <a:lnTo>
                    <a:pt x="452" y="459"/>
                  </a:lnTo>
                  <a:lnTo>
                    <a:pt x="452" y="387"/>
                  </a:lnTo>
                  <a:lnTo>
                    <a:pt x="458" y="382"/>
                  </a:lnTo>
                  <a:lnTo>
                    <a:pt x="466" y="373"/>
                  </a:lnTo>
                  <a:lnTo>
                    <a:pt x="474" y="364"/>
                  </a:lnTo>
                  <a:lnTo>
                    <a:pt x="483" y="351"/>
                  </a:lnTo>
                  <a:lnTo>
                    <a:pt x="487" y="343"/>
                  </a:lnTo>
                  <a:lnTo>
                    <a:pt x="490" y="335"/>
                  </a:lnTo>
                  <a:lnTo>
                    <a:pt x="493" y="326"/>
                  </a:lnTo>
                  <a:lnTo>
                    <a:pt x="497" y="317"/>
                  </a:lnTo>
                  <a:lnTo>
                    <a:pt x="500" y="306"/>
                  </a:lnTo>
                  <a:lnTo>
                    <a:pt x="502" y="295"/>
                  </a:lnTo>
                  <a:lnTo>
                    <a:pt x="503" y="283"/>
                  </a:lnTo>
                  <a:lnTo>
                    <a:pt x="504" y="271"/>
                  </a:lnTo>
                  <a:lnTo>
                    <a:pt x="508" y="267"/>
                  </a:lnTo>
                  <a:lnTo>
                    <a:pt x="513" y="264"/>
                  </a:lnTo>
                  <a:lnTo>
                    <a:pt x="517" y="259"/>
                  </a:lnTo>
                  <a:lnTo>
                    <a:pt x="519" y="254"/>
                  </a:lnTo>
                  <a:lnTo>
                    <a:pt x="522" y="247"/>
                  </a:lnTo>
                  <a:lnTo>
                    <a:pt x="524" y="238"/>
                  </a:lnTo>
                  <a:lnTo>
                    <a:pt x="527" y="230"/>
                  </a:lnTo>
                  <a:lnTo>
                    <a:pt x="527" y="221"/>
                  </a:lnTo>
                  <a:lnTo>
                    <a:pt x="527" y="213"/>
                  </a:lnTo>
                  <a:lnTo>
                    <a:pt x="526" y="206"/>
                  </a:lnTo>
                  <a:lnTo>
                    <a:pt x="524" y="199"/>
                  </a:lnTo>
                  <a:lnTo>
                    <a:pt x="522" y="193"/>
                  </a:lnTo>
                  <a:lnTo>
                    <a:pt x="519" y="187"/>
                  </a:lnTo>
                  <a:lnTo>
                    <a:pt x="516" y="183"/>
                  </a:lnTo>
                  <a:lnTo>
                    <a:pt x="513" y="177"/>
                  </a:lnTo>
                  <a:lnTo>
                    <a:pt x="508" y="174"/>
                  </a:lnTo>
                  <a:lnTo>
                    <a:pt x="516" y="154"/>
                  </a:lnTo>
                  <a:lnTo>
                    <a:pt x="523" y="127"/>
                  </a:lnTo>
                  <a:lnTo>
                    <a:pt x="526" y="113"/>
                  </a:lnTo>
                  <a:lnTo>
                    <a:pt x="527" y="97"/>
                  </a:lnTo>
                  <a:lnTo>
                    <a:pt x="526" y="82"/>
                  </a:lnTo>
                  <a:lnTo>
                    <a:pt x="523" y="66"/>
                  </a:lnTo>
                  <a:lnTo>
                    <a:pt x="520" y="57"/>
                  </a:lnTo>
                  <a:lnTo>
                    <a:pt x="516" y="49"/>
                  </a:lnTo>
                  <a:lnTo>
                    <a:pt x="511" y="41"/>
                  </a:lnTo>
                  <a:lnTo>
                    <a:pt x="504" y="35"/>
                  </a:lnTo>
                  <a:lnTo>
                    <a:pt x="497" y="29"/>
                  </a:lnTo>
                  <a:lnTo>
                    <a:pt x="489" y="24"/>
                  </a:lnTo>
                  <a:lnTo>
                    <a:pt x="481" y="19"/>
                  </a:lnTo>
                  <a:lnTo>
                    <a:pt x="471" y="14"/>
                  </a:lnTo>
                  <a:lnTo>
                    <a:pt x="461" y="11"/>
                  </a:lnTo>
                  <a:lnTo>
                    <a:pt x="450" y="8"/>
                  </a:lnTo>
                  <a:lnTo>
                    <a:pt x="440" y="6"/>
                  </a:lnTo>
                  <a:lnTo>
                    <a:pt x="429" y="4"/>
                  </a:lnTo>
                  <a:lnTo>
                    <a:pt x="407" y="0"/>
                  </a:lnTo>
                  <a:lnTo>
                    <a:pt x="385" y="0"/>
                  </a:lnTo>
                  <a:lnTo>
                    <a:pt x="366" y="0"/>
                  </a:lnTo>
                  <a:lnTo>
                    <a:pt x="345" y="3"/>
                  </a:lnTo>
                  <a:lnTo>
                    <a:pt x="326" y="7"/>
                  </a:lnTo>
                  <a:lnTo>
                    <a:pt x="308" y="12"/>
                  </a:lnTo>
                  <a:lnTo>
                    <a:pt x="298" y="15"/>
                  </a:lnTo>
                  <a:lnTo>
                    <a:pt x="290" y="19"/>
                  </a:lnTo>
                  <a:lnTo>
                    <a:pt x="282" y="23"/>
                  </a:lnTo>
                  <a:lnTo>
                    <a:pt x="275" y="28"/>
                  </a:lnTo>
                  <a:lnTo>
                    <a:pt x="268" y="34"/>
                  </a:lnTo>
                  <a:lnTo>
                    <a:pt x="262" y="39"/>
                  </a:lnTo>
                  <a:lnTo>
                    <a:pt x="256" y="45"/>
                  </a:lnTo>
                  <a:lnTo>
                    <a:pt x="252" y="53"/>
                  </a:lnTo>
                  <a:lnTo>
                    <a:pt x="244" y="53"/>
                  </a:lnTo>
                  <a:lnTo>
                    <a:pt x="235" y="53"/>
                  </a:lnTo>
                  <a:lnTo>
                    <a:pt x="227" y="55"/>
                  </a:lnTo>
                  <a:lnTo>
                    <a:pt x="221" y="57"/>
                  </a:lnTo>
                  <a:lnTo>
                    <a:pt x="216" y="60"/>
                  </a:lnTo>
                  <a:lnTo>
                    <a:pt x="211" y="64"/>
                  </a:lnTo>
                  <a:lnTo>
                    <a:pt x="208" y="67"/>
                  </a:lnTo>
                  <a:lnTo>
                    <a:pt x="205" y="70"/>
                  </a:lnTo>
                  <a:lnTo>
                    <a:pt x="202" y="75"/>
                  </a:lnTo>
                  <a:lnTo>
                    <a:pt x="199" y="82"/>
                  </a:lnTo>
                  <a:lnTo>
                    <a:pt x="196" y="87"/>
                  </a:lnTo>
                  <a:lnTo>
                    <a:pt x="195" y="95"/>
                  </a:lnTo>
                  <a:lnTo>
                    <a:pt x="194" y="108"/>
                  </a:lnTo>
                  <a:lnTo>
                    <a:pt x="195" y="122"/>
                  </a:lnTo>
                  <a:lnTo>
                    <a:pt x="197" y="137"/>
                  </a:lnTo>
                  <a:lnTo>
                    <a:pt x="200" y="149"/>
                  </a:lnTo>
                  <a:lnTo>
                    <a:pt x="203" y="162"/>
                  </a:lnTo>
                  <a:lnTo>
                    <a:pt x="206" y="173"/>
                  </a:lnTo>
                  <a:lnTo>
                    <a:pt x="206" y="173"/>
                  </a:lnTo>
                  <a:lnTo>
                    <a:pt x="206" y="174"/>
                  </a:lnTo>
                  <a:lnTo>
                    <a:pt x="202" y="177"/>
                  </a:lnTo>
                  <a:lnTo>
                    <a:pt x="199" y="182"/>
                  </a:lnTo>
                  <a:lnTo>
                    <a:pt x="195" y="187"/>
                  </a:lnTo>
                  <a:lnTo>
                    <a:pt x="192" y="192"/>
                  </a:lnTo>
                  <a:lnTo>
                    <a:pt x="190" y="199"/>
                  </a:lnTo>
                  <a:lnTo>
                    <a:pt x="188" y="205"/>
                  </a:lnTo>
                  <a:lnTo>
                    <a:pt x="187" y="213"/>
                  </a:lnTo>
                  <a:lnTo>
                    <a:pt x="187" y="221"/>
                  </a:lnTo>
                  <a:lnTo>
                    <a:pt x="187" y="230"/>
                  </a:lnTo>
                  <a:lnTo>
                    <a:pt x="189" y="237"/>
                  </a:lnTo>
                  <a:lnTo>
                    <a:pt x="190" y="245"/>
                  </a:lnTo>
                  <a:lnTo>
                    <a:pt x="193" y="251"/>
                  </a:lnTo>
                  <a:lnTo>
                    <a:pt x="196" y="258"/>
                  </a:lnTo>
                  <a:lnTo>
                    <a:pt x="200" y="263"/>
                  </a:lnTo>
                  <a:lnTo>
                    <a:pt x="205" y="267"/>
                  </a:lnTo>
                  <a:lnTo>
                    <a:pt x="209" y="271"/>
                  </a:lnTo>
                  <a:lnTo>
                    <a:pt x="210" y="283"/>
                  </a:lnTo>
                  <a:lnTo>
                    <a:pt x="212" y="295"/>
                  </a:lnTo>
                  <a:lnTo>
                    <a:pt x="215" y="307"/>
                  </a:lnTo>
                  <a:lnTo>
                    <a:pt x="218" y="317"/>
                  </a:lnTo>
                  <a:lnTo>
                    <a:pt x="222" y="326"/>
                  </a:lnTo>
                  <a:lnTo>
                    <a:pt x="226" y="336"/>
                  </a:lnTo>
                  <a:lnTo>
                    <a:pt x="231" y="343"/>
                  </a:lnTo>
                  <a:lnTo>
                    <a:pt x="235" y="351"/>
                  </a:lnTo>
                  <a:lnTo>
                    <a:pt x="245" y="365"/>
                  </a:lnTo>
                  <a:lnTo>
                    <a:pt x="254" y="375"/>
                  </a:lnTo>
                  <a:lnTo>
                    <a:pt x="264" y="383"/>
                  </a:lnTo>
                  <a:lnTo>
                    <a:pt x="271" y="388"/>
                  </a:lnTo>
                  <a:lnTo>
                    <a:pt x="271" y="459"/>
                  </a:lnTo>
                  <a:lnTo>
                    <a:pt x="255" y="466"/>
                  </a:lnTo>
                  <a:lnTo>
                    <a:pt x="239" y="471"/>
                  </a:lnTo>
                  <a:lnTo>
                    <a:pt x="222" y="477"/>
                  </a:lnTo>
                  <a:lnTo>
                    <a:pt x="206" y="483"/>
                  </a:lnTo>
                  <a:lnTo>
                    <a:pt x="173" y="495"/>
                  </a:lnTo>
                  <a:lnTo>
                    <a:pt x="140" y="506"/>
                  </a:lnTo>
                  <a:lnTo>
                    <a:pt x="111" y="518"/>
                  </a:lnTo>
                  <a:lnTo>
                    <a:pt x="84" y="530"/>
                  </a:lnTo>
                  <a:lnTo>
                    <a:pt x="71" y="536"/>
                  </a:lnTo>
                  <a:lnTo>
                    <a:pt x="60" y="542"/>
                  </a:lnTo>
                  <a:lnTo>
                    <a:pt x="51" y="549"/>
                  </a:lnTo>
                  <a:lnTo>
                    <a:pt x="42" y="556"/>
                  </a:lnTo>
                  <a:lnTo>
                    <a:pt x="33" y="562"/>
                  </a:lnTo>
                  <a:lnTo>
                    <a:pt x="28" y="570"/>
                  </a:lnTo>
                  <a:lnTo>
                    <a:pt x="23" y="577"/>
                  </a:lnTo>
                  <a:lnTo>
                    <a:pt x="19" y="586"/>
                  </a:lnTo>
                  <a:lnTo>
                    <a:pt x="16" y="596"/>
                  </a:lnTo>
                  <a:lnTo>
                    <a:pt x="13" y="609"/>
                  </a:lnTo>
                  <a:lnTo>
                    <a:pt x="11" y="623"/>
                  </a:lnTo>
                  <a:lnTo>
                    <a:pt x="9" y="637"/>
                  </a:lnTo>
                  <a:lnTo>
                    <a:pt x="6" y="667"/>
                  </a:lnTo>
                  <a:lnTo>
                    <a:pt x="3" y="697"/>
                  </a:lnTo>
                  <a:lnTo>
                    <a:pt x="1" y="725"/>
                  </a:lnTo>
                  <a:lnTo>
                    <a:pt x="1" y="748"/>
                  </a:lnTo>
                  <a:lnTo>
                    <a:pt x="0" y="764"/>
                  </a:lnTo>
                  <a:lnTo>
                    <a:pt x="0" y="771"/>
                  </a:lnTo>
                  <a:lnTo>
                    <a:pt x="1" y="774"/>
                  </a:lnTo>
                  <a:lnTo>
                    <a:pt x="1" y="777"/>
                  </a:lnTo>
                  <a:lnTo>
                    <a:pt x="3" y="780"/>
                  </a:lnTo>
                  <a:lnTo>
                    <a:pt x="4" y="782"/>
                  </a:lnTo>
                  <a:lnTo>
                    <a:pt x="7" y="783"/>
                  </a:lnTo>
                  <a:lnTo>
                    <a:pt x="10" y="785"/>
                  </a:lnTo>
                  <a:lnTo>
                    <a:pt x="12" y="785"/>
                  </a:lnTo>
                  <a:lnTo>
                    <a:pt x="15" y="786"/>
                  </a:lnTo>
                  <a:lnTo>
                    <a:pt x="698" y="786"/>
                  </a:lnTo>
                  <a:lnTo>
                    <a:pt x="701" y="785"/>
                  </a:lnTo>
                  <a:lnTo>
                    <a:pt x="704" y="785"/>
                  </a:lnTo>
                  <a:lnTo>
                    <a:pt x="707" y="783"/>
                  </a:lnTo>
                  <a:lnTo>
                    <a:pt x="709" y="782"/>
                  </a:lnTo>
                  <a:lnTo>
                    <a:pt x="711" y="780"/>
                  </a:lnTo>
                  <a:lnTo>
                    <a:pt x="712" y="777"/>
                  </a:lnTo>
                  <a:lnTo>
                    <a:pt x="713" y="774"/>
                  </a:lnTo>
                  <a:lnTo>
                    <a:pt x="713" y="771"/>
                  </a:lnTo>
                  <a:lnTo>
                    <a:pt x="713" y="764"/>
                  </a:lnTo>
                  <a:lnTo>
                    <a:pt x="713" y="748"/>
                  </a:lnTo>
                  <a:lnTo>
                    <a:pt x="712" y="725"/>
                  </a:lnTo>
                  <a:lnTo>
                    <a:pt x="711" y="697"/>
                  </a:lnTo>
                  <a:lnTo>
                    <a:pt x="709" y="667"/>
                  </a:lnTo>
                  <a:lnTo>
                    <a:pt x="706" y="637"/>
                  </a:lnTo>
                  <a:lnTo>
                    <a:pt x="704" y="623"/>
                  </a:lnTo>
                  <a:lnTo>
                    <a:pt x="700" y="609"/>
                  </a:lnTo>
                  <a:lnTo>
                    <a:pt x="698" y="596"/>
                  </a:lnTo>
                  <a:lnTo>
                    <a:pt x="695" y="586"/>
                  </a:lnTo>
                  <a:lnTo>
                    <a:pt x="691" y="577"/>
                  </a:lnTo>
                  <a:lnTo>
                    <a:pt x="686" y="570"/>
                  </a:lnTo>
                  <a:lnTo>
                    <a:pt x="680" y="562"/>
                  </a:lnTo>
                  <a:lnTo>
                    <a:pt x="672" y="555"/>
                  </a:lnTo>
                  <a:lnTo>
                    <a:pt x="665" y="548"/>
                  </a:lnTo>
                  <a:lnTo>
                    <a:pt x="655" y="542"/>
                  </a:lnTo>
                  <a:lnTo>
                    <a:pt x="645" y="535"/>
                  </a:lnTo>
                  <a:lnTo>
                    <a:pt x="633" y="529"/>
                  </a:lnTo>
                  <a:lnTo>
                    <a:pt x="607" y="517"/>
                  </a:lnTo>
                  <a:lnTo>
                    <a:pt x="578" y="505"/>
                  </a:lnTo>
                  <a:lnTo>
                    <a:pt x="546" y="494"/>
                  </a:lnTo>
                  <a:lnTo>
                    <a:pt x="512"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84">
              <a:extLst>
                <a:ext uri="{FF2B5EF4-FFF2-40B4-BE49-F238E27FC236}">
                  <a16:creationId xmlns:a16="http://schemas.microsoft.com/office/drawing/2014/main" id="{70FF8B13-CEA9-486D-B59D-1F7640997B5C}"/>
                </a:ext>
              </a:extLst>
            </p:cNvPr>
            <p:cNvSpPr>
              <a:spLocks/>
            </p:cNvSpPr>
            <p:nvPr/>
          </p:nvSpPr>
          <p:spPr bwMode="auto">
            <a:xfrm>
              <a:off x="3348038" y="1954213"/>
              <a:ext cx="111125" cy="247650"/>
            </a:xfrm>
            <a:custGeom>
              <a:avLst/>
              <a:gdLst>
                <a:gd name="T0" fmla="*/ 315 w 353"/>
                <a:gd name="T1" fmla="*/ 553 h 782"/>
                <a:gd name="T2" fmla="*/ 265 w 353"/>
                <a:gd name="T3" fmla="*/ 517 h 782"/>
                <a:gd name="T4" fmla="*/ 129 w 353"/>
                <a:gd name="T5" fmla="*/ 458 h 782"/>
                <a:gd name="T6" fmla="*/ 90 w 353"/>
                <a:gd name="T7" fmla="*/ 394 h 782"/>
                <a:gd name="T8" fmla="*/ 124 w 353"/>
                <a:gd name="T9" fmla="*/ 358 h 782"/>
                <a:gd name="T10" fmla="*/ 139 w 353"/>
                <a:gd name="T11" fmla="*/ 321 h 782"/>
                <a:gd name="T12" fmla="*/ 148 w 353"/>
                <a:gd name="T13" fmla="*/ 283 h 782"/>
                <a:gd name="T14" fmla="*/ 162 w 353"/>
                <a:gd name="T15" fmla="*/ 261 h 782"/>
                <a:gd name="T16" fmla="*/ 166 w 353"/>
                <a:gd name="T17" fmla="*/ 228 h 782"/>
                <a:gd name="T18" fmla="*/ 159 w 353"/>
                <a:gd name="T19" fmla="*/ 202 h 782"/>
                <a:gd name="T20" fmla="*/ 148 w 353"/>
                <a:gd name="T21" fmla="*/ 188 h 782"/>
                <a:gd name="T22" fmla="*/ 165 w 353"/>
                <a:gd name="T23" fmla="*/ 122 h 782"/>
                <a:gd name="T24" fmla="*/ 159 w 353"/>
                <a:gd name="T25" fmla="*/ 64 h 782"/>
                <a:gd name="T26" fmla="*/ 129 w 353"/>
                <a:gd name="T27" fmla="*/ 26 h 782"/>
                <a:gd name="T28" fmla="*/ 83 w 353"/>
                <a:gd name="T29" fmla="*/ 3 h 782"/>
                <a:gd name="T30" fmla="*/ 38 w 353"/>
                <a:gd name="T31" fmla="*/ 2 h 782"/>
                <a:gd name="T32" fmla="*/ 5 w 353"/>
                <a:gd name="T33" fmla="*/ 17 h 782"/>
                <a:gd name="T34" fmla="*/ 0 w 353"/>
                <a:gd name="T35" fmla="*/ 27 h 782"/>
                <a:gd name="T36" fmla="*/ 5 w 353"/>
                <a:gd name="T37" fmla="*/ 38 h 782"/>
                <a:gd name="T38" fmla="*/ 15 w 353"/>
                <a:gd name="T39" fmla="*/ 42 h 782"/>
                <a:gd name="T40" fmla="*/ 32 w 353"/>
                <a:gd name="T41" fmla="*/ 35 h 782"/>
                <a:gd name="T42" fmla="*/ 65 w 353"/>
                <a:gd name="T43" fmla="*/ 30 h 782"/>
                <a:gd name="T44" fmla="*/ 93 w 353"/>
                <a:gd name="T45" fmla="*/ 39 h 782"/>
                <a:gd name="T46" fmla="*/ 124 w 353"/>
                <a:gd name="T47" fmla="*/ 64 h 782"/>
                <a:gd name="T48" fmla="*/ 135 w 353"/>
                <a:gd name="T49" fmla="*/ 94 h 782"/>
                <a:gd name="T50" fmla="*/ 127 w 353"/>
                <a:gd name="T51" fmla="*/ 158 h 782"/>
                <a:gd name="T52" fmla="*/ 115 w 353"/>
                <a:gd name="T53" fmla="*/ 201 h 782"/>
                <a:gd name="T54" fmla="*/ 120 w 353"/>
                <a:gd name="T55" fmla="*/ 211 h 782"/>
                <a:gd name="T56" fmla="*/ 131 w 353"/>
                <a:gd name="T57" fmla="*/ 214 h 782"/>
                <a:gd name="T58" fmla="*/ 136 w 353"/>
                <a:gd name="T59" fmla="*/ 241 h 782"/>
                <a:gd name="T60" fmla="*/ 131 w 353"/>
                <a:gd name="T61" fmla="*/ 258 h 782"/>
                <a:gd name="T62" fmla="*/ 120 w 353"/>
                <a:gd name="T63" fmla="*/ 261 h 782"/>
                <a:gd name="T64" fmla="*/ 115 w 353"/>
                <a:gd name="T65" fmla="*/ 271 h 782"/>
                <a:gd name="T66" fmla="*/ 110 w 353"/>
                <a:gd name="T67" fmla="*/ 313 h 782"/>
                <a:gd name="T68" fmla="*/ 93 w 353"/>
                <a:gd name="T69" fmla="*/ 348 h 782"/>
                <a:gd name="T70" fmla="*/ 65 w 353"/>
                <a:gd name="T71" fmla="*/ 376 h 782"/>
                <a:gd name="T72" fmla="*/ 53 w 353"/>
                <a:gd name="T73" fmla="*/ 387 h 782"/>
                <a:gd name="T74" fmla="*/ 55 w 353"/>
                <a:gd name="T75" fmla="*/ 460 h 782"/>
                <a:gd name="T76" fmla="*/ 112 w 353"/>
                <a:gd name="T77" fmla="*/ 484 h 782"/>
                <a:gd name="T78" fmla="*/ 239 w 353"/>
                <a:gd name="T79" fmla="*/ 538 h 782"/>
                <a:gd name="T80" fmla="*/ 289 w 353"/>
                <a:gd name="T81" fmla="*/ 569 h 782"/>
                <a:gd name="T82" fmla="*/ 310 w 353"/>
                <a:gd name="T83" fmla="*/ 609 h 782"/>
                <a:gd name="T84" fmla="*/ 321 w 353"/>
                <a:gd name="T85" fmla="*/ 696 h 782"/>
                <a:gd name="T86" fmla="*/ 262 w 353"/>
                <a:gd name="T87" fmla="*/ 752 h 782"/>
                <a:gd name="T88" fmla="*/ 251 w 353"/>
                <a:gd name="T89" fmla="*/ 756 h 782"/>
                <a:gd name="T90" fmla="*/ 247 w 353"/>
                <a:gd name="T91" fmla="*/ 767 h 782"/>
                <a:gd name="T92" fmla="*/ 251 w 353"/>
                <a:gd name="T93" fmla="*/ 778 h 782"/>
                <a:gd name="T94" fmla="*/ 262 w 353"/>
                <a:gd name="T95" fmla="*/ 782 h 782"/>
                <a:gd name="T96" fmla="*/ 347 w 353"/>
                <a:gd name="T97" fmla="*/ 779 h 782"/>
                <a:gd name="T98" fmla="*/ 353 w 353"/>
                <a:gd name="T99" fmla="*/ 770 h 782"/>
                <a:gd name="T100" fmla="*/ 352 w 353"/>
                <a:gd name="T101" fmla="*/ 721 h 782"/>
                <a:gd name="T102" fmla="*/ 342 w 353"/>
                <a:gd name="T103" fmla="*/ 61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82">
                  <a:moveTo>
                    <a:pt x="334" y="582"/>
                  </a:moveTo>
                  <a:lnTo>
                    <a:pt x="329" y="572"/>
                  </a:lnTo>
                  <a:lnTo>
                    <a:pt x="323" y="562"/>
                  </a:lnTo>
                  <a:lnTo>
                    <a:pt x="315" y="553"/>
                  </a:lnTo>
                  <a:lnTo>
                    <a:pt x="305" y="544"/>
                  </a:lnTo>
                  <a:lnTo>
                    <a:pt x="293" y="536"/>
                  </a:lnTo>
                  <a:lnTo>
                    <a:pt x="280" y="526"/>
                  </a:lnTo>
                  <a:lnTo>
                    <a:pt x="265" y="517"/>
                  </a:lnTo>
                  <a:lnTo>
                    <a:pt x="249" y="509"/>
                  </a:lnTo>
                  <a:lnTo>
                    <a:pt x="214" y="493"/>
                  </a:lnTo>
                  <a:lnTo>
                    <a:pt x="173" y="476"/>
                  </a:lnTo>
                  <a:lnTo>
                    <a:pt x="129" y="458"/>
                  </a:lnTo>
                  <a:lnTo>
                    <a:pt x="83" y="441"/>
                  </a:lnTo>
                  <a:lnTo>
                    <a:pt x="82" y="440"/>
                  </a:lnTo>
                  <a:lnTo>
                    <a:pt x="82" y="399"/>
                  </a:lnTo>
                  <a:lnTo>
                    <a:pt x="90" y="394"/>
                  </a:lnTo>
                  <a:lnTo>
                    <a:pt x="99" y="387"/>
                  </a:lnTo>
                  <a:lnTo>
                    <a:pt x="109" y="377"/>
                  </a:lnTo>
                  <a:lnTo>
                    <a:pt x="118" y="364"/>
                  </a:lnTo>
                  <a:lnTo>
                    <a:pt x="124" y="358"/>
                  </a:lnTo>
                  <a:lnTo>
                    <a:pt x="128" y="349"/>
                  </a:lnTo>
                  <a:lnTo>
                    <a:pt x="132" y="341"/>
                  </a:lnTo>
                  <a:lnTo>
                    <a:pt x="135" y="331"/>
                  </a:lnTo>
                  <a:lnTo>
                    <a:pt x="139" y="321"/>
                  </a:lnTo>
                  <a:lnTo>
                    <a:pt x="141" y="309"/>
                  </a:lnTo>
                  <a:lnTo>
                    <a:pt x="143" y="298"/>
                  </a:lnTo>
                  <a:lnTo>
                    <a:pt x="144" y="285"/>
                  </a:lnTo>
                  <a:lnTo>
                    <a:pt x="148" y="283"/>
                  </a:lnTo>
                  <a:lnTo>
                    <a:pt x="152" y="278"/>
                  </a:lnTo>
                  <a:lnTo>
                    <a:pt x="156" y="274"/>
                  </a:lnTo>
                  <a:lnTo>
                    <a:pt x="159" y="269"/>
                  </a:lnTo>
                  <a:lnTo>
                    <a:pt x="162" y="261"/>
                  </a:lnTo>
                  <a:lnTo>
                    <a:pt x="164" y="254"/>
                  </a:lnTo>
                  <a:lnTo>
                    <a:pt x="166" y="245"/>
                  </a:lnTo>
                  <a:lnTo>
                    <a:pt x="166" y="235"/>
                  </a:lnTo>
                  <a:lnTo>
                    <a:pt x="166" y="228"/>
                  </a:lnTo>
                  <a:lnTo>
                    <a:pt x="165" y="220"/>
                  </a:lnTo>
                  <a:lnTo>
                    <a:pt x="163" y="214"/>
                  </a:lnTo>
                  <a:lnTo>
                    <a:pt x="161" y="208"/>
                  </a:lnTo>
                  <a:lnTo>
                    <a:pt x="159" y="202"/>
                  </a:lnTo>
                  <a:lnTo>
                    <a:pt x="156" y="197"/>
                  </a:lnTo>
                  <a:lnTo>
                    <a:pt x="151" y="193"/>
                  </a:lnTo>
                  <a:lnTo>
                    <a:pt x="147" y="189"/>
                  </a:lnTo>
                  <a:lnTo>
                    <a:pt x="148" y="188"/>
                  </a:lnTo>
                  <a:lnTo>
                    <a:pt x="148" y="188"/>
                  </a:lnTo>
                  <a:lnTo>
                    <a:pt x="156" y="166"/>
                  </a:lnTo>
                  <a:lnTo>
                    <a:pt x="162" y="137"/>
                  </a:lnTo>
                  <a:lnTo>
                    <a:pt x="165" y="122"/>
                  </a:lnTo>
                  <a:lnTo>
                    <a:pt x="166" y="106"/>
                  </a:lnTo>
                  <a:lnTo>
                    <a:pt x="165" y="90"/>
                  </a:lnTo>
                  <a:lnTo>
                    <a:pt x="163" y="74"/>
                  </a:lnTo>
                  <a:lnTo>
                    <a:pt x="159" y="64"/>
                  </a:lnTo>
                  <a:lnTo>
                    <a:pt x="154" y="54"/>
                  </a:lnTo>
                  <a:lnTo>
                    <a:pt x="147" y="45"/>
                  </a:lnTo>
                  <a:lnTo>
                    <a:pt x="139" y="35"/>
                  </a:lnTo>
                  <a:lnTo>
                    <a:pt x="129" y="26"/>
                  </a:lnTo>
                  <a:lnTo>
                    <a:pt x="118" y="19"/>
                  </a:lnTo>
                  <a:lnTo>
                    <a:pt x="106" y="12"/>
                  </a:lnTo>
                  <a:lnTo>
                    <a:pt x="95" y="6"/>
                  </a:lnTo>
                  <a:lnTo>
                    <a:pt x="83" y="3"/>
                  </a:lnTo>
                  <a:lnTo>
                    <a:pt x="72" y="1"/>
                  </a:lnTo>
                  <a:lnTo>
                    <a:pt x="60" y="0"/>
                  </a:lnTo>
                  <a:lnTo>
                    <a:pt x="50" y="0"/>
                  </a:lnTo>
                  <a:lnTo>
                    <a:pt x="38" y="2"/>
                  </a:lnTo>
                  <a:lnTo>
                    <a:pt x="27" y="5"/>
                  </a:lnTo>
                  <a:lnTo>
                    <a:pt x="17" y="9"/>
                  </a:lnTo>
                  <a:lnTo>
                    <a:pt x="7" y="15"/>
                  </a:lnTo>
                  <a:lnTo>
                    <a:pt x="5" y="17"/>
                  </a:lnTo>
                  <a:lnTo>
                    <a:pt x="3" y="19"/>
                  </a:lnTo>
                  <a:lnTo>
                    <a:pt x="1" y="22"/>
                  </a:lnTo>
                  <a:lnTo>
                    <a:pt x="0" y="24"/>
                  </a:lnTo>
                  <a:lnTo>
                    <a:pt x="0" y="27"/>
                  </a:lnTo>
                  <a:lnTo>
                    <a:pt x="0" y="31"/>
                  </a:lnTo>
                  <a:lnTo>
                    <a:pt x="1" y="33"/>
                  </a:lnTo>
                  <a:lnTo>
                    <a:pt x="3" y="36"/>
                  </a:lnTo>
                  <a:lnTo>
                    <a:pt x="5" y="38"/>
                  </a:lnTo>
                  <a:lnTo>
                    <a:pt x="7" y="40"/>
                  </a:lnTo>
                  <a:lnTo>
                    <a:pt x="10" y="41"/>
                  </a:lnTo>
                  <a:lnTo>
                    <a:pt x="12" y="42"/>
                  </a:lnTo>
                  <a:lnTo>
                    <a:pt x="15" y="42"/>
                  </a:lnTo>
                  <a:lnTo>
                    <a:pt x="18" y="42"/>
                  </a:lnTo>
                  <a:lnTo>
                    <a:pt x="21" y="41"/>
                  </a:lnTo>
                  <a:lnTo>
                    <a:pt x="24" y="40"/>
                  </a:lnTo>
                  <a:lnTo>
                    <a:pt x="32" y="35"/>
                  </a:lnTo>
                  <a:lnTo>
                    <a:pt x="41" y="32"/>
                  </a:lnTo>
                  <a:lnTo>
                    <a:pt x="48" y="31"/>
                  </a:lnTo>
                  <a:lnTo>
                    <a:pt x="57" y="30"/>
                  </a:lnTo>
                  <a:lnTo>
                    <a:pt x="65" y="30"/>
                  </a:lnTo>
                  <a:lnTo>
                    <a:pt x="71" y="31"/>
                  </a:lnTo>
                  <a:lnTo>
                    <a:pt x="77" y="33"/>
                  </a:lnTo>
                  <a:lnTo>
                    <a:pt x="84" y="35"/>
                  </a:lnTo>
                  <a:lnTo>
                    <a:pt x="93" y="39"/>
                  </a:lnTo>
                  <a:lnTo>
                    <a:pt x="103" y="45"/>
                  </a:lnTo>
                  <a:lnTo>
                    <a:pt x="111" y="51"/>
                  </a:lnTo>
                  <a:lnTo>
                    <a:pt x="118" y="57"/>
                  </a:lnTo>
                  <a:lnTo>
                    <a:pt x="124" y="64"/>
                  </a:lnTo>
                  <a:lnTo>
                    <a:pt x="129" y="70"/>
                  </a:lnTo>
                  <a:lnTo>
                    <a:pt x="132" y="76"/>
                  </a:lnTo>
                  <a:lnTo>
                    <a:pt x="133" y="81"/>
                  </a:lnTo>
                  <a:lnTo>
                    <a:pt x="135" y="94"/>
                  </a:lnTo>
                  <a:lnTo>
                    <a:pt x="136" y="107"/>
                  </a:lnTo>
                  <a:lnTo>
                    <a:pt x="135" y="121"/>
                  </a:lnTo>
                  <a:lnTo>
                    <a:pt x="133" y="134"/>
                  </a:lnTo>
                  <a:lnTo>
                    <a:pt x="127" y="158"/>
                  </a:lnTo>
                  <a:lnTo>
                    <a:pt x="119" y="178"/>
                  </a:lnTo>
                  <a:lnTo>
                    <a:pt x="116" y="190"/>
                  </a:lnTo>
                  <a:lnTo>
                    <a:pt x="114" y="198"/>
                  </a:lnTo>
                  <a:lnTo>
                    <a:pt x="115" y="201"/>
                  </a:lnTo>
                  <a:lnTo>
                    <a:pt x="115" y="203"/>
                  </a:lnTo>
                  <a:lnTo>
                    <a:pt x="117" y="206"/>
                  </a:lnTo>
                  <a:lnTo>
                    <a:pt x="118" y="209"/>
                  </a:lnTo>
                  <a:lnTo>
                    <a:pt x="120" y="211"/>
                  </a:lnTo>
                  <a:lnTo>
                    <a:pt x="124" y="212"/>
                  </a:lnTo>
                  <a:lnTo>
                    <a:pt x="127" y="213"/>
                  </a:lnTo>
                  <a:lnTo>
                    <a:pt x="129" y="213"/>
                  </a:lnTo>
                  <a:lnTo>
                    <a:pt x="131" y="214"/>
                  </a:lnTo>
                  <a:lnTo>
                    <a:pt x="133" y="218"/>
                  </a:lnTo>
                  <a:lnTo>
                    <a:pt x="135" y="226"/>
                  </a:lnTo>
                  <a:lnTo>
                    <a:pt x="136" y="235"/>
                  </a:lnTo>
                  <a:lnTo>
                    <a:pt x="136" y="241"/>
                  </a:lnTo>
                  <a:lnTo>
                    <a:pt x="135" y="246"/>
                  </a:lnTo>
                  <a:lnTo>
                    <a:pt x="134" y="252"/>
                  </a:lnTo>
                  <a:lnTo>
                    <a:pt x="132" y="255"/>
                  </a:lnTo>
                  <a:lnTo>
                    <a:pt x="131" y="258"/>
                  </a:lnTo>
                  <a:lnTo>
                    <a:pt x="129" y="259"/>
                  </a:lnTo>
                  <a:lnTo>
                    <a:pt x="127" y="259"/>
                  </a:lnTo>
                  <a:lnTo>
                    <a:pt x="124" y="260"/>
                  </a:lnTo>
                  <a:lnTo>
                    <a:pt x="120" y="261"/>
                  </a:lnTo>
                  <a:lnTo>
                    <a:pt x="118" y="263"/>
                  </a:lnTo>
                  <a:lnTo>
                    <a:pt x="117" y="265"/>
                  </a:lnTo>
                  <a:lnTo>
                    <a:pt x="115" y="268"/>
                  </a:lnTo>
                  <a:lnTo>
                    <a:pt x="115" y="271"/>
                  </a:lnTo>
                  <a:lnTo>
                    <a:pt x="114" y="274"/>
                  </a:lnTo>
                  <a:lnTo>
                    <a:pt x="114" y="288"/>
                  </a:lnTo>
                  <a:lnTo>
                    <a:pt x="112" y="301"/>
                  </a:lnTo>
                  <a:lnTo>
                    <a:pt x="110" y="313"/>
                  </a:lnTo>
                  <a:lnTo>
                    <a:pt x="106" y="323"/>
                  </a:lnTo>
                  <a:lnTo>
                    <a:pt x="102" y="332"/>
                  </a:lnTo>
                  <a:lnTo>
                    <a:pt x="98" y="341"/>
                  </a:lnTo>
                  <a:lnTo>
                    <a:pt x="93" y="348"/>
                  </a:lnTo>
                  <a:lnTo>
                    <a:pt x="88" y="354"/>
                  </a:lnTo>
                  <a:lnTo>
                    <a:pt x="78" y="365"/>
                  </a:lnTo>
                  <a:lnTo>
                    <a:pt x="70" y="372"/>
                  </a:lnTo>
                  <a:lnTo>
                    <a:pt x="65" y="376"/>
                  </a:lnTo>
                  <a:lnTo>
                    <a:pt x="61" y="377"/>
                  </a:lnTo>
                  <a:lnTo>
                    <a:pt x="57" y="379"/>
                  </a:lnTo>
                  <a:lnTo>
                    <a:pt x="55" y="382"/>
                  </a:lnTo>
                  <a:lnTo>
                    <a:pt x="53" y="387"/>
                  </a:lnTo>
                  <a:lnTo>
                    <a:pt x="52" y="391"/>
                  </a:lnTo>
                  <a:lnTo>
                    <a:pt x="52" y="451"/>
                  </a:lnTo>
                  <a:lnTo>
                    <a:pt x="53" y="455"/>
                  </a:lnTo>
                  <a:lnTo>
                    <a:pt x="55" y="460"/>
                  </a:lnTo>
                  <a:lnTo>
                    <a:pt x="58" y="463"/>
                  </a:lnTo>
                  <a:lnTo>
                    <a:pt x="61" y="465"/>
                  </a:lnTo>
                  <a:lnTo>
                    <a:pt x="73" y="469"/>
                  </a:lnTo>
                  <a:lnTo>
                    <a:pt x="112" y="484"/>
                  </a:lnTo>
                  <a:lnTo>
                    <a:pt x="150" y="499"/>
                  </a:lnTo>
                  <a:lnTo>
                    <a:pt x="188" y="514"/>
                  </a:lnTo>
                  <a:lnTo>
                    <a:pt x="223" y="530"/>
                  </a:lnTo>
                  <a:lnTo>
                    <a:pt x="239" y="538"/>
                  </a:lnTo>
                  <a:lnTo>
                    <a:pt x="253" y="545"/>
                  </a:lnTo>
                  <a:lnTo>
                    <a:pt x="266" y="553"/>
                  </a:lnTo>
                  <a:lnTo>
                    <a:pt x="278" y="561"/>
                  </a:lnTo>
                  <a:lnTo>
                    <a:pt x="289" y="569"/>
                  </a:lnTo>
                  <a:lnTo>
                    <a:pt x="296" y="576"/>
                  </a:lnTo>
                  <a:lnTo>
                    <a:pt x="301" y="584"/>
                  </a:lnTo>
                  <a:lnTo>
                    <a:pt x="306" y="591"/>
                  </a:lnTo>
                  <a:lnTo>
                    <a:pt x="310" y="609"/>
                  </a:lnTo>
                  <a:lnTo>
                    <a:pt x="313" y="628"/>
                  </a:lnTo>
                  <a:lnTo>
                    <a:pt x="317" y="650"/>
                  </a:lnTo>
                  <a:lnTo>
                    <a:pt x="319" y="674"/>
                  </a:lnTo>
                  <a:lnTo>
                    <a:pt x="321" y="696"/>
                  </a:lnTo>
                  <a:lnTo>
                    <a:pt x="322" y="718"/>
                  </a:lnTo>
                  <a:lnTo>
                    <a:pt x="322" y="736"/>
                  </a:lnTo>
                  <a:lnTo>
                    <a:pt x="323" y="752"/>
                  </a:lnTo>
                  <a:lnTo>
                    <a:pt x="262" y="752"/>
                  </a:lnTo>
                  <a:lnTo>
                    <a:pt x="259" y="752"/>
                  </a:lnTo>
                  <a:lnTo>
                    <a:pt x="256" y="753"/>
                  </a:lnTo>
                  <a:lnTo>
                    <a:pt x="253" y="754"/>
                  </a:lnTo>
                  <a:lnTo>
                    <a:pt x="251" y="756"/>
                  </a:lnTo>
                  <a:lnTo>
                    <a:pt x="249" y="759"/>
                  </a:lnTo>
                  <a:lnTo>
                    <a:pt x="248" y="761"/>
                  </a:lnTo>
                  <a:lnTo>
                    <a:pt x="247" y="764"/>
                  </a:lnTo>
                  <a:lnTo>
                    <a:pt x="247" y="767"/>
                  </a:lnTo>
                  <a:lnTo>
                    <a:pt x="247" y="770"/>
                  </a:lnTo>
                  <a:lnTo>
                    <a:pt x="248" y="773"/>
                  </a:lnTo>
                  <a:lnTo>
                    <a:pt x="249" y="776"/>
                  </a:lnTo>
                  <a:lnTo>
                    <a:pt x="251" y="778"/>
                  </a:lnTo>
                  <a:lnTo>
                    <a:pt x="253" y="779"/>
                  </a:lnTo>
                  <a:lnTo>
                    <a:pt x="256" y="781"/>
                  </a:lnTo>
                  <a:lnTo>
                    <a:pt x="259" y="781"/>
                  </a:lnTo>
                  <a:lnTo>
                    <a:pt x="262" y="782"/>
                  </a:lnTo>
                  <a:lnTo>
                    <a:pt x="338" y="782"/>
                  </a:lnTo>
                  <a:lnTo>
                    <a:pt x="341" y="781"/>
                  </a:lnTo>
                  <a:lnTo>
                    <a:pt x="343" y="781"/>
                  </a:lnTo>
                  <a:lnTo>
                    <a:pt x="347" y="779"/>
                  </a:lnTo>
                  <a:lnTo>
                    <a:pt x="349" y="778"/>
                  </a:lnTo>
                  <a:lnTo>
                    <a:pt x="351" y="776"/>
                  </a:lnTo>
                  <a:lnTo>
                    <a:pt x="352" y="773"/>
                  </a:lnTo>
                  <a:lnTo>
                    <a:pt x="353" y="770"/>
                  </a:lnTo>
                  <a:lnTo>
                    <a:pt x="353" y="767"/>
                  </a:lnTo>
                  <a:lnTo>
                    <a:pt x="353" y="760"/>
                  </a:lnTo>
                  <a:lnTo>
                    <a:pt x="353" y="744"/>
                  </a:lnTo>
                  <a:lnTo>
                    <a:pt x="352" y="721"/>
                  </a:lnTo>
                  <a:lnTo>
                    <a:pt x="351" y="693"/>
                  </a:lnTo>
                  <a:lnTo>
                    <a:pt x="349" y="663"/>
                  </a:lnTo>
                  <a:lnTo>
                    <a:pt x="344" y="633"/>
                  </a:lnTo>
                  <a:lnTo>
                    <a:pt x="342" y="619"/>
                  </a:lnTo>
                  <a:lnTo>
                    <a:pt x="340" y="605"/>
                  </a:lnTo>
                  <a:lnTo>
                    <a:pt x="337" y="592"/>
                  </a:lnTo>
                  <a:lnTo>
                    <a:pt x="334"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1" name="Gruppieren 1050">
            <a:extLst>
              <a:ext uri="{FF2B5EF4-FFF2-40B4-BE49-F238E27FC236}">
                <a16:creationId xmlns:a16="http://schemas.microsoft.com/office/drawing/2014/main" id="{11B433EF-2A6D-4F0E-81B1-5B11E4C1BA3A}"/>
              </a:ext>
            </a:extLst>
          </p:cNvPr>
          <p:cNvGrpSpPr>
            <a:grpSpLocks noChangeAspect="1"/>
          </p:cNvGrpSpPr>
          <p:nvPr/>
        </p:nvGrpSpPr>
        <p:grpSpPr>
          <a:xfrm>
            <a:off x="674951" y="1647825"/>
            <a:ext cx="278296" cy="285619"/>
            <a:chOff x="1335452" y="350932"/>
            <a:chExt cx="352670" cy="361950"/>
          </a:xfrm>
          <a:solidFill>
            <a:schemeClr val="bg2"/>
          </a:solidFill>
        </p:grpSpPr>
        <p:sp>
          <p:nvSpPr>
            <p:cNvPr id="1052" name="Freeform 22">
              <a:extLst>
                <a:ext uri="{FF2B5EF4-FFF2-40B4-BE49-F238E27FC236}">
                  <a16:creationId xmlns:a16="http://schemas.microsoft.com/office/drawing/2014/main" id="{B67CCC23-0C15-4809-B5D0-28215104DFA2}"/>
                </a:ext>
              </a:extLst>
            </p:cNvPr>
            <p:cNvSpPr>
              <a:spLocks noEditPoints="1"/>
            </p:cNvSpPr>
            <p:nvPr/>
          </p:nvSpPr>
          <p:spPr bwMode="auto">
            <a:xfrm>
              <a:off x="1364842" y="350932"/>
              <a:ext cx="120650" cy="12065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4 h 32"/>
                <a:gd name="T12" fmla="*/ 4 w 32"/>
                <a:gd name="T13" fmla="*/ 16 h 32"/>
                <a:gd name="T14" fmla="*/ 16 w 32"/>
                <a:gd name="T15" fmla="*/ 28 h 32"/>
                <a:gd name="T16" fmla="*/ 28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4"/>
                  </a:moveTo>
                  <a:cubicBezTo>
                    <a:pt x="9" y="4"/>
                    <a:pt x="4" y="9"/>
                    <a:pt x="4" y="16"/>
                  </a:cubicBezTo>
                  <a:cubicBezTo>
                    <a:pt x="4" y="23"/>
                    <a:pt x="9" y="28"/>
                    <a:pt x="16" y="28"/>
                  </a:cubicBezTo>
                  <a:cubicBezTo>
                    <a:pt x="23" y="28"/>
                    <a:pt x="28" y="23"/>
                    <a:pt x="28" y="16"/>
                  </a:cubicBezTo>
                  <a:cubicBezTo>
                    <a:pt x="28" y="9"/>
                    <a:pt x="23"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3" name="Freeform 23">
              <a:extLst>
                <a:ext uri="{FF2B5EF4-FFF2-40B4-BE49-F238E27FC236}">
                  <a16:creationId xmlns:a16="http://schemas.microsoft.com/office/drawing/2014/main" id="{BD43E709-1885-4A8F-B4FF-84CA01B3B70A}"/>
                </a:ext>
              </a:extLst>
            </p:cNvPr>
            <p:cNvSpPr>
              <a:spLocks noEditPoints="1"/>
            </p:cNvSpPr>
            <p:nvPr/>
          </p:nvSpPr>
          <p:spPr bwMode="auto">
            <a:xfrm>
              <a:off x="1335452" y="487050"/>
              <a:ext cx="179428" cy="225832"/>
            </a:xfrm>
            <a:custGeom>
              <a:avLst/>
              <a:gdLst>
                <a:gd name="T0" fmla="*/ 32 w 48"/>
                <a:gd name="T1" fmla="*/ 60 h 60"/>
                <a:gd name="T2" fmla="*/ 16 w 48"/>
                <a:gd name="T3" fmla="*/ 60 h 60"/>
                <a:gd name="T4" fmla="*/ 14 w 48"/>
                <a:gd name="T5" fmla="*/ 58 h 60"/>
                <a:gd name="T6" fmla="*/ 14 w 48"/>
                <a:gd name="T7" fmla="*/ 33 h 60"/>
                <a:gd name="T8" fmla="*/ 0 w 48"/>
                <a:gd name="T9" fmla="*/ 2 h 60"/>
                <a:gd name="T10" fmla="*/ 2 w 48"/>
                <a:gd name="T11" fmla="*/ 0 h 60"/>
                <a:gd name="T12" fmla="*/ 46 w 48"/>
                <a:gd name="T13" fmla="*/ 0 h 60"/>
                <a:gd name="T14" fmla="*/ 48 w 48"/>
                <a:gd name="T15" fmla="*/ 2 h 60"/>
                <a:gd name="T16" fmla="*/ 34 w 48"/>
                <a:gd name="T17" fmla="*/ 33 h 60"/>
                <a:gd name="T18" fmla="*/ 34 w 48"/>
                <a:gd name="T19" fmla="*/ 58 h 60"/>
                <a:gd name="T20" fmla="*/ 32 w 48"/>
                <a:gd name="T21" fmla="*/ 60 h 60"/>
                <a:gd name="T22" fmla="*/ 18 w 48"/>
                <a:gd name="T23" fmla="*/ 56 h 60"/>
                <a:gd name="T24" fmla="*/ 30 w 48"/>
                <a:gd name="T25" fmla="*/ 56 h 60"/>
                <a:gd name="T26" fmla="*/ 30 w 48"/>
                <a:gd name="T27" fmla="*/ 32 h 60"/>
                <a:gd name="T28" fmla="*/ 31 w 48"/>
                <a:gd name="T29" fmla="*/ 30 h 60"/>
                <a:gd name="T30" fmla="*/ 44 w 48"/>
                <a:gd name="T31" fmla="*/ 4 h 60"/>
                <a:gd name="T32" fmla="*/ 4 w 48"/>
                <a:gd name="T33" fmla="*/ 4 h 60"/>
                <a:gd name="T34" fmla="*/ 17 w 48"/>
                <a:gd name="T35" fmla="*/ 30 h 60"/>
                <a:gd name="T36" fmla="*/ 18 w 48"/>
                <a:gd name="T37" fmla="*/ 32 h 60"/>
                <a:gd name="T38" fmla="*/ 18 w 48"/>
                <a:gd name="T3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60">
                  <a:moveTo>
                    <a:pt x="32" y="60"/>
                  </a:moveTo>
                  <a:cubicBezTo>
                    <a:pt x="16" y="60"/>
                    <a:pt x="16" y="60"/>
                    <a:pt x="16" y="60"/>
                  </a:cubicBezTo>
                  <a:cubicBezTo>
                    <a:pt x="15" y="60"/>
                    <a:pt x="14" y="59"/>
                    <a:pt x="14" y="58"/>
                  </a:cubicBezTo>
                  <a:cubicBezTo>
                    <a:pt x="14" y="33"/>
                    <a:pt x="14" y="33"/>
                    <a:pt x="14" y="33"/>
                  </a:cubicBezTo>
                  <a:cubicBezTo>
                    <a:pt x="5" y="27"/>
                    <a:pt x="0" y="16"/>
                    <a:pt x="0" y="2"/>
                  </a:cubicBezTo>
                  <a:cubicBezTo>
                    <a:pt x="0" y="1"/>
                    <a:pt x="1" y="0"/>
                    <a:pt x="2" y="0"/>
                  </a:cubicBezTo>
                  <a:cubicBezTo>
                    <a:pt x="46" y="0"/>
                    <a:pt x="46" y="0"/>
                    <a:pt x="46" y="0"/>
                  </a:cubicBezTo>
                  <a:cubicBezTo>
                    <a:pt x="47" y="0"/>
                    <a:pt x="48" y="1"/>
                    <a:pt x="48" y="2"/>
                  </a:cubicBezTo>
                  <a:cubicBezTo>
                    <a:pt x="48" y="16"/>
                    <a:pt x="43" y="27"/>
                    <a:pt x="34" y="33"/>
                  </a:cubicBezTo>
                  <a:cubicBezTo>
                    <a:pt x="34" y="58"/>
                    <a:pt x="34" y="58"/>
                    <a:pt x="34" y="58"/>
                  </a:cubicBezTo>
                  <a:cubicBezTo>
                    <a:pt x="34" y="59"/>
                    <a:pt x="33" y="60"/>
                    <a:pt x="32" y="60"/>
                  </a:cubicBezTo>
                  <a:close/>
                  <a:moveTo>
                    <a:pt x="18" y="56"/>
                  </a:moveTo>
                  <a:cubicBezTo>
                    <a:pt x="30" y="56"/>
                    <a:pt x="30" y="56"/>
                    <a:pt x="30" y="56"/>
                  </a:cubicBezTo>
                  <a:cubicBezTo>
                    <a:pt x="30" y="32"/>
                    <a:pt x="30" y="32"/>
                    <a:pt x="30" y="32"/>
                  </a:cubicBezTo>
                  <a:cubicBezTo>
                    <a:pt x="30" y="31"/>
                    <a:pt x="30" y="31"/>
                    <a:pt x="31" y="30"/>
                  </a:cubicBezTo>
                  <a:cubicBezTo>
                    <a:pt x="39" y="26"/>
                    <a:pt x="44" y="16"/>
                    <a:pt x="44" y="4"/>
                  </a:cubicBezTo>
                  <a:cubicBezTo>
                    <a:pt x="4" y="4"/>
                    <a:pt x="4" y="4"/>
                    <a:pt x="4" y="4"/>
                  </a:cubicBezTo>
                  <a:cubicBezTo>
                    <a:pt x="4" y="16"/>
                    <a:pt x="9" y="26"/>
                    <a:pt x="17" y="30"/>
                  </a:cubicBezTo>
                  <a:cubicBezTo>
                    <a:pt x="18" y="31"/>
                    <a:pt x="18" y="31"/>
                    <a:pt x="18" y="32"/>
                  </a:cubicBez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4" name="Freeform 24">
              <a:extLst>
                <a:ext uri="{FF2B5EF4-FFF2-40B4-BE49-F238E27FC236}">
                  <a16:creationId xmlns:a16="http://schemas.microsoft.com/office/drawing/2014/main" id="{3B61A46D-E4D9-467C-AA0A-340A99D5E74E}"/>
                </a:ext>
              </a:extLst>
            </p:cNvPr>
            <p:cNvSpPr>
              <a:spLocks noEditPoints="1"/>
            </p:cNvSpPr>
            <p:nvPr/>
          </p:nvSpPr>
          <p:spPr bwMode="auto">
            <a:xfrm>
              <a:off x="1401965" y="487050"/>
              <a:ext cx="46404" cy="120650"/>
            </a:xfrm>
            <a:custGeom>
              <a:avLst/>
              <a:gdLst>
                <a:gd name="T0" fmla="*/ 6 w 12"/>
                <a:gd name="T1" fmla="*/ 32 h 32"/>
                <a:gd name="T2" fmla="*/ 5 w 12"/>
                <a:gd name="T3" fmla="*/ 31 h 32"/>
                <a:gd name="T4" fmla="*/ 1 w 12"/>
                <a:gd name="T5" fmla="*/ 27 h 32"/>
                <a:gd name="T6" fmla="*/ 0 w 12"/>
                <a:gd name="T7" fmla="*/ 26 h 32"/>
                <a:gd name="T8" fmla="*/ 2 w 12"/>
                <a:gd name="T9" fmla="*/ 2 h 32"/>
                <a:gd name="T10" fmla="*/ 4 w 12"/>
                <a:gd name="T11" fmla="*/ 0 h 32"/>
                <a:gd name="T12" fmla="*/ 8 w 12"/>
                <a:gd name="T13" fmla="*/ 0 h 32"/>
                <a:gd name="T14" fmla="*/ 10 w 12"/>
                <a:gd name="T15" fmla="*/ 2 h 32"/>
                <a:gd name="T16" fmla="*/ 12 w 12"/>
                <a:gd name="T17" fmla="*/ 26 h 32"/>
                <a:gd name="T18" fmla="*/ 11 w 12"/>
                <a:gd name="T19" fmla="*/ 27 h 32"/>
                <a:gd name="T20" fmla="*/ 7 w 12"/>
                <a:gd name="T21" fmla="*/ 31 h 32"/>
                <a:gd name="T22" fmla="*/ 6 w 12"/>
                <a:gd name="T23" fmla="*/ 32 h 32"/>
                <a:gd name="T24" fmla="*/ 4 w 12"/>
                <a:gd name="T25" fmla="*/ 25 h 32"/>
                <a:gd name="T26" fmla="*/ 6 w 12"/>
                <a:gd name="T27" fmla="*/ 27 h 32"/>
                <a:gd name="T28" fmla="*/ 8 w 12"/>
                <a:gd name="T29" fmla="*/ 25 h 32"/>
                <a:gd name="T30" fmla="*/ 6 w 12"/>
                <a:gd name="T31" fmla="*/ 4 h 32"/>
                <a:gd name="T32" fmla="*/ 6 w 12"/>
                <a:gd name="T33" fmla="*/ 4 h 32"/>
                <a:gd name="T34" fmla="*/ 4 w 12"/>
                <a:gd name="T35"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32">
                  <a:moveTo>
                    <a:pt x="6" y="32"/>
                  </a:moveTo>
                  <a:cubicBezTo>
                    <a:pt x="5" y="32"/>
                    <a:pt x="5" y="32"/>
                    <a:pt x="5" y="31"/>
                  </a:cubicBezTo>
                  <a:cubicBezTo>
                    <a:pt x="1" y="27"/>
                    <a:pt x="1" y="27"/>
                    <a:pt x="1" y="27"/>
                  </a:cubicBezTo>
                  <a:cubicBezTo>
                    <a:pt x="0" y="27"/>
                    <a:pt x="0" y="26"/>
                    <a:pt x="0" y="26"/>
                  </a:cubicBezTo>
                  <a:cubicBezTo>
                    <a:pt x="2" y="2"/>
                    <a:pt x="2" y="2"/>
                    <a:pt x="2" y="2"/>
                  </a:cubicBezTo>
                  <a:cubicBezTo>
                    <a:pt x="2" y="1"/>
                    <a:pt x="3" y="0"/>
                    <a:pt x="4" y="0"/>
                  </a:cubicBezTo>
                  <a:cubicBezTo>
                    <a:pt x="8" y="0"/>
                    <a:pt x="8" y="0"/>
                    <a:pt x="8" y="0"/>
                  </a:cubicBezTo>
                  <a:cubicBezTo>
                    <a:pt x="9" y="0"/>
                    <a:pt x="10" y="1"/>
                    <a:pt x="10" y="2"/>
                  </a:cubicBezTo>
                  <a:cubicBezTo>
                    <a:pt x="12" y="26"/>
                    <a:pt x="12" y="26"/>
                    <a:pt x="12" y="26"/>
                  </a:cubicBezTo>
                  <a:cubicBezTo>
                    <a:pt x="12" y="26"/>
                    <a:pt x="12" y="27"/>
                    <a:pt x="11" y="27"/>
                  </a:cubicBezTo>
                  <a:cubicBezTo>
                    <a:pt x="7" y="31"/>
                    <a:pt x="7" y="31"/>
                    <a:pt x="7" y="31"/>
                  </a:cubicBezTo>
                  <a:cubicBezTo>
                    <a:pt x="7" y="32"/>
                    <a:pt x="7" y="32"/>
                    <a:pt x="6" y="32"/>
                  </a:cubicBezTo>
                  <a:close/>
                  <a:moveTo>
                    <a:pt x="4" y="25"/>
                  </a:moveTo>
                  <a:cubicBezTo>
                    <a:pt x="6" y="27"/>
                    <a:pt x="6" y="27"/>
                    <a:pt x="6" y="27"/>
                  </a:cubicBezTo>
                  <a:cubicBezTo>
                    <a:pt x="8" y="25"/>
                    <a:pt x="8" y="25"/>
                    <a:pt x="8" y="25"/>
                  </a:cubicBezTo>
                  <a:cubicBezTo>
                    <a:pt x="6" y="4"/>
                    <a:pt x="6" y="4"/>
                    <a:pt x="6" y="4"/>
                  </a:cubicBezTo>
                  <a:cubicBezTo>
                    <a:pt x="6" y="4"/>
                    <a:pt x="6" y="4"/>
                    <a:pt x="6" y="4"/>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55" name="Gruppieren 1054">
              <a:extLst>
                <a:ext uri="{FF2B5EF4-FFF2-40B4-BE49-F238E27FC236}">
                  <a16:creationId xmlns:a16="http://schemas.microsoft.com/office/drawing/2014/main" id="{3A4BB65F-59AD-48F0-AEA8-3F1E8C8D474D}"/>
                </a:ext>
              </a:extLst>
            </p:cNvPr>
            <p:cNvGrpSpPr/>
            <p:nvPr/>
          </p:nvGrpSpPr>
          <p:grpSpPr>
            <a:xfrm>
              <a:off x="1538082" y="562843"/>
              <a:ext cx="150040" cy="150039"/>
              <a:chOff x="1538082" y="562843"/>
              <a:chExt cx="150040" cy="150039"/>
            </a:xfrm>
            <a:grpFill/>
          </p:grpSpPr>
          <p:sp>
            <p:nvSpPr>
              <p:cNvPr id="1056" name="Freeform 25">
                <a:extLst>
                  <a:ext uri="{FF2B5EF4-FFF2-40B4-BE49-F238E27FC236}">
                    <a16:creationId xmlns:a16="http://schemas.microsoft.com/office/drawing/2014/main" id="{4926C1F8-C1AF-4E77-8F37-C14E827D878C}"/>
                  </a:ext>
                </a:extLst>
              </p:cNvPr>
              <p:cNvSpPr>
                <a:spLocks noEditPoints="1"/>
              </p:cNvSpPr>
              <p:nvPr/>
            </p:nvSpPr>
            <p:spPr bwMode="auto">
              <a:xfrm>
                <a:off x="1538082" y="592232"/>
                <a:ext cx="150040" cy="120650"/>
              </a:xfrm>
              <a:custGeom>
                <a:avLst/>
                <a:gdLst>
                  <a:gd name="T0" fmla="*/ 38 w 40"/>
                  <a:gd name="T1" fmla="*/ 32 h 32"/>
                  <a:gd name="T2" fmla="*/ 2 w 40"/>
                  <a:gd name="T3" fmla="*/ 32 h 32"/>
                  <a:gd name="T4" fmla="*/ 0 w 40"/>
                  <a:gd name="T5" fmla="*/ 30 h 32"/>
                  <a:gd name="T6" fmla="*/ 0 w 40"/>
                  <a:gd name="T7" fmla="*/ 2 h 32"/>
                  <a:gd name="T8" fmla="*/ 2 w 40"/>
                  <a:gd name="T9" fmla="*/ 0 h 32"/>
                  <a:gd name="T10" fmla="*/ 38 w 40"/>
                  <a:gd name="T11" fmla="*/ 0 h 32"/>
                  <a:gd name="T12" fmla="*/ 40 w 40"/>
                  <a:gd name="T13" fmla="*/ 2 h 32"/>
                  <a:gd name="T14" fmla="*/ 40 w 40"/>
                  <a:gd name="T15" fmla="*/ 30 h 32"/>
                  <a:gd name="T16" fmla="*/ 38 w 40"/>
                  <a:gd name="T17" fmla="*/ 32 h 32"/>
                  <a:gd name="T18" fmla="*/ 4 w 40"/>
                  <a:gd name="T19" fmla="*/ 28 h 32"/>
                  <a:gd name="T20" fmla="*/ 36 w 40"/>
                  <a:gd name="T21" fmla="*/ 28 h 32"/>
                  <a:gd name="T22" fmla="*/ 36 w 40"/>
                  <a:gd name="T23" fmla="*/ 4 h 32"/>
                  <a:gd name="T24" fmla="*/ 4 w 40"/>
                  <a:gd name="T25" fmla="*/ 4 h 32"/>
                  <a:gd name="T26" fmla="*/ 4 w 40"/>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8" y="32"/>
                    </a:moveTo>
                    <a:cubicBezTo>
                      <a:pt x="2" y="32"/>
                      <a:pt x="2" y="32"/>
                      <a:pt x="2" y="32"/>
                    </a:cubicBezTo>
                    <a:cubicBezTo>
                      <a:pt x="1" y="32"/>
                      <a:pt x="0" y="31"/>
                      <a:pt x="0" y="30"/>
                    </a:cubicBezTo>
                    <a:cubicBezTo>
                      <a:pt x="0" y="2"/>
                      <a:pt x="0" y="2"/>
                      <a:pt x="0" y="2"/>
                    </a:cubicBezTo>
                    <a:cubicBezTo>
                      <a:pt x="0" y="1"/>
                      <a:pt x="1" y="0"/>
                      <a:pt x="2" y="0"/>
                    </a:cubicBezTo>
                    <a:cubicBezTo>
                      <a:pt x="38" y="0"/>
                      <a:pt x="38" y="0"/>
                      <a:pt x="38" y="0"/>
                    </a:cubicBezTo>
                    <a:cubicBezTo>
                      <a:pt x="39" y="0"/>
                      <a:pt x="40" y="1"/>
                      <a:pt x="40" y="2"/>
                    </a:cubicBezTo>
                    <a:cubicBezTo>
                      <a:pt x="40" y="30"/>
                      <a:pt x="40" y="30"/>
                      <a:pt x="40" y="30"/>
                    </a:cubicBezTo>
                    <a:cubicBezTo>
                      <a:pt x="40" y="31"/>
                      <a:pt x="39" y="32"/>
                      <a:pt x="38" y="32"/>
                    </a:cubicBezTo>
                    <a:close/>
                    <a:moveTo>
                      <a:pt x="4" y="28"/>
                    </a:moveTo>
                    <a:cubicBezTo>
                      <a:pt x="36" y="28"/>
                      <a:pt x="36" y="28"/>
                      <a:pt x="36" y="28"/>
                    </a:cubicBezTo>
                    <a:cubicBezTo>
                      <a:pt x="36" y="4"/>
                      <a:pt x="36" y="4"/>
                      <a:pt x="36"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7" name="Freeform 26">
                <a:extLst>
                  <a:ext uri="{FF2B5EF4-FFF2-40B4-BE49-F238E27FC236}">
                    <a16:creationId xmlns:a16="http://schemas.microsoft.com/office/drawing/2014/main" id="{C10E0D35-7265-4F3E-940B-F82F50B6DCC8}"/>
                  </a:ext>
                </a:extLst>
              </p:cNvPr>
              <p:cNvSpPr>
                <a:spLocks/>
              </p:cNvSpPr>
              <p:nvPr/>
            </p:nvSpPr>
            <p:spPr bwMode="auto">
              <a:xfrm>
                <a:off x="1582939" y="562843"/>
                <a:ext cx="60325" cy="44858"/>
              </a:xfrm>
              <a:custGeom>
                <a:avLst/>
                <a:gdLst>
                  <a:gd name="T0" fmla="*/ 14 w 16"/>
                  <a:gd name="T1" fmla="*/ 12 h 12"/>
                  <a:gd name="T2" fmla="*/ 12 w 16"/>
                  <a:gd name="T3" fmla="*/ 10 h 12"/>
                  <a:gd name="T4" fmla="*/ 12 w 16"/>
                  <a:gd name="T5" fmla="*/ 6 h 12"/>
                  <a:gd name="T6" fmla="*/ 10 w 16"/>
                  <a:gd name="T7" fmla="*/ 4 h 12"/>
                  <a:gd name="T8" fmla="*/ 6 w 16"/>
                  <a:gd name="T9" fmla="*/ 4 h 12"/>
                  <a:gd name="T10" fmla="*/ 4 w 16"/>
                  <a:gd name="T11" fmla="*/ 6 h 12"/>
                  <a:gd name="T12" fmla="*/ 4 w 16"/>
                  <a:gd name="T13" fmla="*/ 10 h 12"/>
                  <a:gd name="T14" fmla="*/ 2 w 16"/>
                  <a:gd name="T15" fmla="*/ 12 h 12"/>
                  <a:gd name="T16" fmla="*/ 0 w 16"/>
                  <a:gd name="T17" fmla="*/ 10 h 12"/>
                  <a:gd name="T18" fmla="*/ 0 w 16"/>
                  <a:gd name="T19" fmla="*/ 6 h 12"/>
                  <a:gd name="T20" fmla="*/ 6 w 16"/>
                  <a:gd name="T21" fmla="*/ 0 h 12"/>
                  <a:gd name="T22" fmla="*/ 10 w 16"/>
                  <a:gd name="T23" fmla="*/ 0 h 12"/>
                  <a:gd name="T24" fmla="*/ 16 w 16"/>
                  <a:gd name="T25" fmla="*/ 6 h 12"/>
                  <a:gd name="T26" fmla="*/ 16 w 16"/>
                  <a:gd name="T27" fmla="*/ 10 h 12"/>
                  <a:gd name="T28" fmla="*/ 14 w 16"/>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2">
                    <a:moveTo>
                      <a:pt x="14" y="12"/>
                    </a:moveTo>
                    <a:cubicBezTo>
                      <a:pt x="13" y="12"/>
                      <a:pt x="12" y="11"/>
                      <a:pt x="12" y="10"/>
                    </a:cubicBezTo>
                    <a:cubicBezTo>
                      <a:pt x="12" y="6"/>
                      <a:pt x="12" y="6"/>
                      <a:pt x="12" y="6"/>
                    </a:cubicBezTo>
                    <a:cubicBezTo>
                      <a:pt x="12" y="5"/>
                      <a:pt x="11" y="4"/>
                      <a:pt x="10" y="4"/>
                    </a:cubicBezTo>
                    <a:cubicBezTo>
                      <a:pt x="6" y="4"/>
                      <a:pt x="6" y="4"/>
                      <a:pt x="6" y="4"/>
                    </a:cubicBezTo>
                    <a:cubicBezTo>
                      <a:pt x="5" y="4"/>
                      <a:pt x="4" y="5"/>
                      <a:pt x="4" y="6"/>
                    </a:cubicBezTo>
                    <a:cubicBezTo>
                      <a:pt x="4" y="10"/>
                      <a:pt x="4" y="10"/>
                      <a:pt x="4" y="10"/>
                    </a:cubicBezTo>
                    <a:cubicBezTo>
                      <a:pt x="4" y="11"/>
                      <a:pt x="3" y="12"/>
                      <a:pt x="2" y="12"/>
                    </a:cubicBezTo>
                    <a:cubicBezTo>
                      <a:pt x="1" y="12"/>
                      <a:pt x="0" y="11"/>
                      <a:pt x="0" y="10"/>
                    </a:cubicBezTo>
                    <a:cubicBezTo>
                      <a:pt x="0" y="6"/>
                      <a:pt x="0" y="6"/>
                      <a:pt x="0" y="6"/>
                    </a:cubicBezTo>
                    <a:cubicBezTo>
                      <a:pt x="0" y="3"/>
                      <a:pt x="3" y="0"/>
                      <a:pt x="6" y="0"/>
                    </a:cubicBezTo>
                    <a:cubicBezTo>
                      <a:pt x="10" y="0"/>
                      <a:pt x="10" y="0"/>
                      <a:pt x="10" y="0"/>
                    </a:cubicBezTo>
                    <a:cubicBezTo>
                      <a:pt x="13" y="0"/>
                      <a:pt x="16" y="3"/>
                      <a:pt x="16" y="6"/>
                    </a:cubicBezTo>
                    <a:cubicBezTo>
                      <a:pt x="16" y="10"/>
                      <a:pt x="16" y="10"/>
                      <a:pt x="16" y="10"/>
                    </a:cubicBezTo>
                    <a:cubicBezTo>
                      <a:pt x="16" y="11"/>
                      <a:pt x="15" y="12"/>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8" name="Freeform 27">
                <a:extLst>
                  <a:ext uri="{FF2B5EF4-FFF2-40B4-BE49-F238E27FC236}">
                    <a16:creationId xmlns:a16="http://schemas.microsoft.com/office/drawing/2014/main" id="{39B22DE3-DC0C-4AC5-B56E-6B2EED57F3B3}"/>
                  </a:ext>
                </a:extLst>
              </p:cNvPr>
              <p:cNvSpPr>
                <a:spLocks/>
              </p:cNvSpPr>
              <p:nvPr/>
            </p:nvSpPr>
            <p:spPr bwMode="auto">
              <a:xfrm>
                <a:off x="1538082" y="637090"/>
                <a:ext cx="150040" cy="1546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9" name="Freeform 28">
                <a:extLst>
                  <a:ext uri="{FF2B5EF4-FFF2-40B4-BE49-F238E27FC236}">
                    <a16:creationId xmlns:a16="http://schemas.microsoft.com/office/drawing/2014/main" id="{23B362B6-A5FE-4438-9968-78EC873DD079}"/>
                  </a:ext>
                </a:extLst>
              </p:cNvPr>
              <p:cNvSpPr>
                <a:spLocks/>
              </p:cNvSpPr>
              <p:nvPr/>
            </p:nvSpPr>
            <p:spPr bwMode="auto">
              <a:xfrm>
                <a:off x="1606141" y="637090"/>
                <a:ext cx="13922" cy="30936"/>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438" name="Group 29">
            <a:extLst>
              <a:ext uri="{FF2B5EF4-FFF2-40B4-BE49-F238E27FC236}">
                <a16:creationId xmlns:a16="http://schemas.microsoft.com/office/drawing/2014/main" id="{35627F3B-9A3C-4289-8540-7144373D0C59}"/>
              </a:ext>
            </a:extLst>
          </p:cNvPr>
          <p:cNvGrpSpPr>
            <a:grpSpLocks noChangeAspect="1"/>
          </p:cNvGrpSpPr>
          <p:nvPr/>
        </p:nvGrpSpPr>
        <p:grpSpPr>
          <a:xfrm>
            <a:off x="671290" y="4340505"/>
            <a:ext cx="285619" cy="285619"/>
            <a:chOff x="4891088" y="1930401"/>
            <a:chExt cx="285750" cy="285750"/>
          </a:xfrm>
          <a:solidFill>
            <a:schemeClr val="bg2"/>
          </a:solidFill>
          <a:effectLst/>
        </p:grpSpPr>
        <p:sp>
          <p:nvSpPr>
            <p:cNvPr id="439" name="Freeform 42">
              <a:extLst>
                <a:ext uri="{FF2B5EF4-FFF2-40B4-BE49-F238E27FC236}">
                  <a16:creationId xmlns:a16="http://schemas.microsoft.com/office/drawing/2014/main" id="{008150CF-17B2-4272-8AE7-AAA191437063}"/>
                </a:ext>
              </a:extLst>
            </p:cNvPr>
            <p:cNvSpPr>
              <a:spLocks noEditPoints="1"/>
            </p:cNvSpPr>
            <p:nvPr/>
          </p:nvSpPr>
          <p:spPr bwMode="auto">
            <a:xfrm>
              <a:off x="4919663" y="2139951"/>
              <a:ext cx="47625" cy="47625"/>
            </a:xfrm>
            <a:custGeom>
              <a:avLst/>
              <a:gdLst>
                <a:gd name="T0" fmla="*/ 66 w 151"/>
                <a:gd name="T1" fmla="*/ 119 h 150"/>
                <a:gd name="T2" fmla="*/ 50 w 151"/>
                <a:gd name="T3" fmla="*/ 112 h 150"/>
                <a:gd name="T4" fmla="*/ 39 w 151"/>
                <a:gd name="T5" fmla="*/ 101 h 150"/>
                <a:gd name="T6" fmla="*/ 31 w 151"/>
                <a:gd name="T7" fmla="*/ 84 h 150"/>
                <a:gd name="T8" fmla="*/ 31 w 151"/>
                <a:gd name="T9" fmla="*/ 66 h 150"/>
                <a:gd name="T10" fmla="*/ 39 w 151"/>
                <a:gd name="T11" fmla="*/ 50 h 150"/>
                <a:gd name="T12" fmla="*/ 50 w 151"/>
                <a:gd name="T13" fmla="*/ 37 h 150"/>
                <a:gd name="T14" fmla="*/ 66 w 151"/>
                <a:gd name="T15" fmla="*/ 31 h 150"/>
                <a:gd name="T16" fmla="*/ 85 w 151"/>
                <a:gd name="T17" fmla="*/ 31 h 150"/>
                <a:gd name="T18" fmla="*/ 101 w 151"/>
                <a:gd name="T19" fmla="*/ 37 h 150"/>
                <a:gd name="T20" fmla="*/ 112 w 151"/>
                <a:gd name="T21" fmla="*/ 50 h 150"/>
                <a:gd name="T22" fmla="*/ 120 w 151"/>
                <a:gd name="T23" fmla="*/ 66 h 150"/>
                <a:gd name="T24" fmla="*/ 120 w 151"/>
                <a:gd name="T25" fmla="*/ 84 h 150"/>
                <a:gd name="T26" fmla="*/ 112 w 151"/>
                <a:gd name="T27" fmla="*/ 101 h 150"/>
                <a:gd name="T28" fmla="*/ 101 w 151"/>
                <a:gd name="T29" fmla="*/ 112 h 150"/>
                <a:gd name="T30" fmla="*/ 85 w 151"/>
                <a:gd name="T31" fmla="*/ 119 h 150"/>
                <a:gd name="T32" fmla="*/ 76 w 151"/>
                <a:gd name="T33" fmla="*/ 120 h 150"/>
                <a:gd name="T34" fmla="*/ 67 w 151"/>
                <a:gd name="T35" fmla="*/ 0 h 150"/>
                <a:gd name="T36" fmla="*/ 53 w 151"/>
                <a:gd name="T37" fmla="*/ 3 h 150"/>
                <a:gd name="T38" fmla="*/ 40 w 151"/>
                <a:gd name="T39" fmla="*/ 8 h 150"/>
                <a:gd name="T40" fmla="*/ 28 w 151"/>
                <a:gd name="T41" fmla="*/ 17 h 150"/>
                <a:gd name="T42" fmla="*/ 17 w 151"/>
                <a:gd name="T43" fmla="*/ 28 h 150"/>
                <a:gd name="T44" fmla="*/ 10 w 151"/>
                <a:gd name="T45" fmla="*/ 40 h 150"/>
                <a:gd name="T46" fmla="*/ 4 w 151"/>
                <a:gd name="T47" fmla="*/ 52 h 150"/>
                <a:gd name="T48" fmla="*/ 1 w 151"/>
                <a:gd name="T49" fmla="*/ 67 h 150"/>
                <a:gd name="T50" fmla="*/ 1 w 151"/>
                <a:gd name="T51" fmla="*/ 82 h 150"/>
                <a:gd name="T52" fmla="*/ 4 w 151"/>
                <a:gd name="T53" fmla="*/ 97 h 150"/>
                <a:gd name="T54" fmla="*/ 10 w 151"/>
                <a:gd name="T55" fmla="*/ 111 h 150"/>
                <a:gd name="T56" fmla="*/ 17 w 151"/>
                <a:gd name="T57" fmla="*/ 123 h 150"/>
                <a:gd name="T58" fmla="*/ 28 w 151"/>
                <a:gd name="T59" fmla="*/ 133 h 150"/>
                <a:gd name="T60" fmla="*/ 40 w 151"/>
                <a:gd name="T61" fmla="*/ 141 h 150"/>
                <a:gd name="T62" fmla="*/ 53 w 151"/>
                <a:gd name="T63" fmla="*/ 147 h 150"/>
                <a:gd name="T64" fmla="*/ 67 w 151"/>
                <a:gd name="T65" fmla="*/ 150 h 150"/>
                <a:gd name="T66" fmla="*/ 83 w 151"/>
                <a:gd name="T67" fmla="*/ 150 h 150"/>
                <a:gd name="T68" fmla="*/ 97 w 151"/>
                <a:gd name="T69" fmla="*/ 147 h 150"/>
                <a:gd name="T70" fmla="*/ 111 w 151"/>
                <a:gd name="T71" fmla="*/ 141 h 150"/>
                <a:gd name="T72" fmla="*/ 123 w 151"/>
                <a:gd name="T73" fmla="*/ 133 h 150"/>
                <a:gd name="T74" fmla="*/ 134 w 151"/>
                <a:gd name="T75" fmla="*/ 123 h 150"/>
                <a:gd name="T76" fmla="*/ 141 w 151"/>
                <a:gd name="T77" fmla="*/ 111 h 150"/>
                <a:gd name="T78" fmla="*/ 148 w 151"/>
                <a:gd name="T79" fmla="*/ 97 h 150"/>
                <a:gd name="T80" fmla="*/ 150 w 151"/>
                <a:gd name="T81" fmla="*/ 82 h 150"/>
                <a:gd name="T82" fmla="*/ 150 w 151"/>
                <a:gd name="T83" fmla="*/ 67 h 150"/>
                <a:gd name="T84" fmla="*/ 148 w 151"/>
                <a:gd name="T85" fmla="*/ 52 h 150"/>
                <a:gd name="T86" fmla="*/ 141 w 151"/>
                <a:gd name="T87" fmla="*/ 40 h 150"/>
                <a:gd name="T88" fmla="*/ 134 w 151"/>
                <a:gd name="T89" fmla="*/ 28 h 150"/>
                <a:gd name="T90" fmla="*/ 123 w 151"/>
                <a:gd name="T91" fmla="*/ 17 h 150"/>
                <a:gd name="T92" fmla="*/ 111 w 151"/>
                <a:gd name="T93" fmla="*/ 8 h 150"/>
                <a:gd name="T94" fmla="*/ 97 w 151"/>
                <a:gd name="T95" fmla="*/ 3 h 150"/>
                <a:gd name="T96" fmla="*/ 83 w 151"/>
                <a:gd name="T97" fmla="*/ 0 h 150"/>
                <a:gd name="T98" fmla="*/ 76 w 151"/>
                <a:gd name="T9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0">
                  <a:moveTo>
                    <a:pt x="76" y="120"/>
                  </a:moveTo>
                  <a:lnTo>
                    <a:pt x="66" y="119"/>
                  </a:lnTo>
                  <a:lnTo>
                    <a:pt x="58" y="117"/>
                  </a:lnTo>
                  <a:lnTo>
                    <a:pt x="50" y="112"/>
                  </a:lnTo>
                  <a:lnTo>
                    <a:pt x="44" y="107"/>
                  </a:lnTo>
                  <a:lnTo>
                    <a:pt x="39" y="101"/>
                  </a:lnTo>
                  <a:lnTo>
                    <a:pt x="34" y="93"/>
                  </a:lnTo>
                  <a:lnTo>
                    <a:pt x="31" y="84"/>
                  </a:lnTo>
                  <a:lnTo>
                    <a:pt x="30" y="75"/>
                  </a:lnTo>
                  <a:lnTo>
                    <a:pt x="31" y="66"/>
                  </a:lnTo>
                  <a:lnTo>
                    <a:pt x="34" y="58"/>
                  </a:lnTo>
                  <a:lnTo>
                    <a:pt x="39" y="50"/>
                  </a:lnTo>
                  <a:lnTo>
                    <a:pt x="44" y="43"/>
                  </a:lnTo>
                  <a:lnTo>
                    <a:pt x="50" y="37"/>
                  </a:lnTo>
                  <a:lnTo>
                    <a:pt x="58" y="33"/>
                  </a:lnTo>
                  <a:lnTo>
                    <a:pt x="66" y="31"/>
                  </a:lnTo>
                  <a:lnTo>
                    <a:pt x="76" y="30"/>
                  </a:lnTo>
                  <a:lnTo>
                    <a:pt x="85" y="31"/>
                  </a:lnTo>
                  <a:lnTo>
                    <a:pt x="93" y="33"/>
                  </a:lnTo>
                  <a:lnTo>
                    <a:pt x="101" y="37"/>
                  </a:lnTo>
                  <a:lnTo>
                    <a:pt x="107" y="43"/>
                  </a:lnTo>
                  <a:lnTo>
                    <a:pt x="112" y="50"/>
                  </a:lnTo>
                  <a:lnTo>
                    <a:pt x="117" y="58"/>
                  </a:lnTo>
                  <a:lnTo>
                    <a:pt x="120" y="66"/>
                  </a:lnTo>
                  <a:lnTo>
                    <a:pt x="121" y="75"/>
                  </a:lnTo>
                  <a:lnTo>
                    <a:pt x="120" y="84"/>
                  </a:lnTo>
                  <a:lnTo>
                    <a:pt x="117" y="92"/>
                  </a:lnTo>
                  <a:lnTo>
                    <a:pt x="112" y="101"/>
                  </a:lnTo>
                  <a:lnTo>
                    <a:pt x="107" y="107"/>
                  </a:lnTo>
                  <a:lnTo>
                    <a:pt x="101" y="112"/>
                  </a:lnTo>
                  <a:lnTo>
                    <a:pt x="93" y="117"/>
                  </a:lnTo>
                  <a:lnTo>
                    <a:pt x="85" y="119"/>
                  </a:lnTo>
                  <a:lnTo>
                    <a:pt x="76" y="120"/>
                  </a:lnTo>
                  <a:lnTo>
                    <a:pt x="76" y="120"/>
                  </a:lnTo>
                  <a:close/>
                  <a:moveTo>
                    <a:pt x="76" y="0"/>
                  </a:moveTo>
                  <a:lnTo>
                    <a:pt x="67" y="0"/>
                  </a:lnTo>
                  <a:lnTo>
                    <a:pt x="60" y="1"/>
                  </a:lnTo>
                  <a:lnTo>
                    <a:pt x="53" y="3"/>
                  </a:lnTo>
                  <a:lnTo>
                    <a:pt x="46" y="5"/>
                  </a:lnTo>
                  <a:lnTo>
                    <a:pt x="40" y="8"/>
                  </a:lnTo>
                  <a:lnTo>
                    <a:pt x="33" y="13"/>
                  </a:lnTo>
                  <a:lnTo>
                    <a:pt x="28" y="17"/>
                  </a:lnTo>
                  <a:lnTo>
                    <a:pt x="22" y="22"/>
                  </a:lnTo>
                  <a:lnTo>
                    <a:pt x="17" y="28"/>
                  </a:lnTo>
                  <a:lnTo>
                    <a:pt x="13" y="33"/>
                  </a:lnTo>
                  <a:lnTo>
                    <a:pt x="10" y="40"/>
                  </a:lnTo>
                  <a:lnTo>
                    <a:pt x="6" y="46"/>
                  </a:lnTo>
                  <a:lnTo>
                    <a:pt x="4" y="52"/>
                  </a:lnTo>
                  <a:lnTo>
                    <a:pt x="2" y="60"/>
                  </a:lnTo>
                  <a:lnTo>
                    <a:pt x="1" y="67"/>
                  </a:lnTo>
                  <a:lnTo>
                    <a:pt x="0" y="75"/>
                  </a:lnTo>
                  <a:lnTo>
                    <a:pt x="1" y="82"/>
                  </a:lnTo>
                  <a:lnTo>
                    <a:pt x="2" y="90"/>
                  </a:lnTo>
                  <a:lnTo>
                    <a:pt x="4" y="97"/>
                  </a:lnTo>
                  <a:lnTo>
                    <a:pt x="6" y="104"/>
                  </a:lnTo>
                  <a:lnTo>
                    <a:pt x="10" y="111"/>
                  </a:lnTo>
                  <a:lnTo>
                    <a:pt x="13" y="117"/>
                  </a:lnTo>
                  <a:lnTo>
                    <a:pt x="17" y="123"/>
                  </a:lnTo>
                  <a:lnTo>
                    <a:pt x="22" y="128"/>
                  </a:lnTo>
                  <a:lnTo>
                    <a:pt x="28" y="133"/>
                  </a:lnTo>
                  <a:lnTo>
                    <a:pt x="33" y="137"/>
                  </a:lnTo>
                  <a:lnTo>
                    <a:pt x="40" y="141"/>
                  </a:lnTo>
                  <a:lnTo>
                    <a:pt x="46" y="144"/>
                  </a:lnTo>
                  <a:lnTo>
                    <a:pt x="53" y="147"/>
                  </a:lnTo>
                  <a:lnTo>
                    <a:pt x="60" y="149"/>
                  </a:lnTo>
                  <a:lnTo>
                    <a:pt x="67" y="150"/>
                  </a:lnTo>
                  <a:lnTo>
                    <a:pt x="76" y="150"/>
                  </a:lnTo>
                  <a:lnTo>
                    <a:pt x="83" y="150"/>
                  </a:lnTo>
                  <a:lnTo>
                    <a:pt x="91" y="149"/>
                  </a:lnTo>
                  <a:lnTo>
                    <a:pt x="97" y="147"/>
                  </a:lnTo>
                  <a:lnTo>
                    <a:pt x="105" y="144"/>
                  </a:lnTo>
                  <a:lnTo>
                    <a:pt x="111" y="141"/>
                  </a:lnTo>
                  <a:lnTo>
                    <a:pt x="118" y="137"/>
                  </a:lnTo>
                  <a:lnTo>
                    <a:pt x="123" y="133"/>
                  </a:lnTo>
                  <a:lnTo>
                    <a:pt x="128" y="128"/>
                  </a:lnTo>
                  <a:lnTo>
                    <a:pt x="134" y="123"/>
                  </a:lnTo>
                  <a:lnTo>
                    <a:pt x="138" y="117"/>
                  </a:lnTo>
                  <a:lnTo>
                    <a:pt x="141" y="111"/>
                  </a:lnTo>
                  <a:lnTo>
                    <a:pt x="144" y="104"/>
                  </a:lnTo>
                  <a:lnTo>
                    <a:pt x="148" y="97"/>
                  </a:lnTo>
                  <a:lnTo>
                    <a:pt x="149" y="90"/>
                  </a:lnTo>
                  <a:lnTo>
                    <a:pt x="150" y="82"/>
                  </a:lnTo>
                  <a:lnTo>
                    <a:pt x="151" y="75"/>
                  </a:lnTo>
                  <a:lnTo>
                    <a:pt x="150" y="67"/>
                  </a:lnTo>
                  <a:lnTo>
                    <a:pt x="149" y="60"/>
                  </a:lnTo>
                  <a:lnTo>
                    <a:pt x="148" y="52"/>
                  </a:lnTo>
                  <a:lnTo>
                    <a:pt x="144" y="46"/>
                  </a:lnTo>
                  <a:lnTo>
                    <a:pt x="141" y="40"/>
                  </a:lnTo>
                  <a:lnTo>
                    <a:pt x="138" y="33"/>
                  </a:lnTo>
                  <a:lnTo>
                    <a:pt x="134" y="28"/>
                  </a:lnTo>
                  <a:lnTo>
                    <a:pt x="128" y="22"/>
                  </a:lnTo>
                  <a:lnTo>
                    <a:pt x="123" y="17"/>
                  </a:lnTo>
                  <a:lnTo>
                    <a:pt x="118" y="13"/>
                  </a:lnTo>
                  <a:lnTo>
                    <a:pt x="111" y="8"/>
                  </a:lnTo>
                  <a:lnTo>
                    <a:pt x="105" y="6"/>
                  </a:lnTo>
                  <a:lnTo>
                    <a:pt x="97" y="3"/>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
              <a:extLst>
                <a:ext uri="{FF2B5EF4-FFF2-40B4-BE49-F238E27FC236}">
                  <a16:creationId xmlns:a16="http://schemas.microsoft.com/office/drawing/2014/main" id="{CB94C63E-3F49-4694-819B-D4775AC68648}"/>
                </a:ext>
              </a:extLst>
            </p:cNvPr>
            <p:cNvSpPr>
              <a:spLocks/>
            </p:cNvSpPr>
            <p:nvPr/>
          </p:nvSpPr>
          <p:spPr bwMode="auto">
            <a:xfrm>
              <a:off x="4891088" y="2197101"/>
              <a:ext cx="19050" cy="19050"/>
            </a:xfrm>
            <a:custGeom>
              <a:avLst/>
              <a:gdLst>
                <a:gd name="T0" fmla="*/ 30 w 59"/>
                <a:gd name="T1" fmla="*/ 0 h 60"/>
                <a:gd name="T2" fmla="*/ 24 w 59"/>
                <a:gd name="T3" fmla="*/ 1 h 60"/>
                <a:gd name="T4" fmla="*/ 18 w 59"/>
                <a:gd name="T5" fmla="*/ 2 h 60"/>
                <a:gd name="T6" fmla="*/ 13 w 59"/>
                <a:gd name="T7" fmla="*/ 5 h 60"/>
                <a:gd name="T8" fmla="*/ 9 w 59"/>
                <a:gd name="T9" fmla="*/ 8 h 60"/>
                <a:gd name="T10" fmla="*/ 5 w 59"/>
                <a:gd name="T11" fmla="*/ 14 h 60"/>
                <a:gd name="T12" fmla="*/ 2 w 59"/>
                <a:gd name="T13" fmla="*/ 18 h 60"/>
                <a:gd name="T14" fmla="*/ 1 w 59"/>
                <a:gd name="T15" fmla="*/ 23 h 60"/>
                <a:gd name="T16" fmla="*/ 0 w 59"/>
                <a:gd name="T17" fmla="*/ 30 h 60"/>
                <a:gd name="T18" fmla="*/ 1 w 59"/>
                <a:gd name="T19" fmla="*/ 35 h 60"/>
                <a:gd name="T20" fmla="*/ 2 w 59"/>
                <a:gd name="T21" fmla="*/ 42 h 60"/>
                <a:gd name="T22" fmla="*/ 5 w 59"/>
                <a:gd name="T23" fmla="*/ 46 h 60"/>
                <a:gd name="T24" fmla="*/ 9 w 59"/>
                <a:gd name="T25" fmla="*/ 50 h 60"/>
                <a:gd name="T26" fmla="*/ 13 w 59"/>
                <a:gd name="T27" fmla="*/ 54 h 60"/>
                <a:gd name="T28" fmla="*/ 18 w 59"/>
                <a:gd name="T29" fmla="*/ 56 h 60"/>
                <a:gd name="T30" fmla="*/ 24 w 59"/>
                <a:gd name="T31" fmla="*/ 59 h 60"/>
                <a:gd name="T32" fmla="*/ 30 w 59"/>
                <a:gd name="T33" fmla="*/ 60 h 60"/>
                <a:gd name="T34" fmla="*/ 35 w 59"/>
                <a:gd name="T35" fmla="*/ 59 h 60"/>
                <a:gd name="T36" fmla="*/ 42 w 59"/>
                <a:gd name="T37" fmla="*/ 56 h 60"/>
                <a:gd name="T38" fmla="*/ 46 w 59"/>
                <a:gd name="T39" fmla="*/ 54 h 60"/>
                <a:gd name="T40" fmla="*/ 50 w 59"/>
                <a:gd name="T41" fmla="*/ 50 h 60"/>
                <a:gd name="T42" fmla="*/ 55 w 59"/>
                <a:gd name="T43" fmla="*/ 46 h 60"/>
                <a:gd name="T44" fmla="*/ 57 w 59"/>
                <a:gd name="T45" fmla="*/ 42 h 60"/>
                <a:gd name="T46" fmla="*/ 59 w 59"/>
                <a:gd name="T47" fmla="*/ 35 h 60"/>
                <a:gd name="T48" fmla="*/ 59 w 59"/>
                <a:gd name="T49" fmla="*/ 30 h 60"/>
                <a:gd name="T50" fmla="*/ 59 w 59"/>
                <a:gd name="T51" fmla="*/ 23 h 60"/>
                <a:gd name="T52" fmla="*/ 57 w 59"/>
                <a:gd name="T53" fmla="*/ 18 h 60"/>
                <a:gd name="T54" fmla="*/ 55 w 59"/>
                <a:gd name="T55" fmla="*/ 14 h 60"/>
                <a:gd name="T56" fmla="*/ 50 w 59"/>
                <a:gd name="T57" fmla="*/ 8 h 60"/>
                <a:gd name="T58" fmla="*/ 46 w 59"/>
                <a:gd name="T59" fmla="*/ 5 h 60"/>
                <a:gd name="T60" fmla="*/ 42 w 59"/>
                <a:gd name="T61" fmla="*/ 3 h 60"/>
                <a:gd name="T62" fmla="*/ 35 w 59"/>
                <a:gd name="T63" fmla="*/ 1 h 60"/>
                <a:gd name="T64" fmla="*/ 30 w 59"/>
                <a:gd name="T65" fmla="*/ 0 h 60"/>
                <a:gd name="T66" fmla="*/ 30 w 59"/>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60">
                  <a:moveTo>
                    <a:pt x="30" y="0"/>
                  </a:moveTo>
                  <a:lnTo>
                    <a:pt x="24" y="1"/>
                  </a:lnTo>
                  <a:lnTo>
                    <a:pt x="18" y="2"/>
                  </a:lnTo>
                  <a:lnTo>
                    <a:pt x="13" y="5"/>
                  </a:lnTo>
                  <a:lnTo>
                    <a:pt x="9" y="8"/>
                  </a:lnTo>
                  <a:lnTo>
                    <a:pt x="5" y="14"/>
                  </a:lnTo>
                  <a:lnTo>
                    <a:pt x="2" y="18"/>
                  </a:lnTo>
                  <a:lnTo>
                    <a:pt x="1" y="23"/>
                  </a:lnTo>
                  <a:lnTo>
                    <a:pt x="0" y="30"/>
                  </a:lnTo>
                  <a:lnTo>
                    <a:pt x="1" y="35"/>
                  </a:lnTo>
                  <a:lnTo>
                    <a:pt x="2" y="42"/>
                  </a:lnTo>
                  <a:lnTo>
                    <a:pt x="5" y="46"/>
                  </a:lnTo>
                  <a:lnTo>
                    <a:pt x="9" y="50"/>
                  </a:lnTo>
                  <a:lnTo>
                    <a:pt x="13" y="54"/>
                  </a:lnTo>
                  <a:lnTo>
                    <a:pt x="18" y="56"/>
                  </a:lnTo>
                  <a:lnTo>
                    <a:pt x="24" y="59"/>
                  </a:lnTo>
                  <a:lnTo>
                    <a:pt x="30" y="60"/>
                  </a:lnTo>
                  <a:lnTo>
                    <a:pt x="35" y="59"/>
                  </a:lnTo>
                  <a:lnTo>
                    <a:pt x="42" y="56"/>
                  </a:lnTo>
                  <a:lnTo>
                    <a:pt x="46" y="54"/>
                  </a:lnTo>
                  <a:lnTo>
                    <a:pt x="50" y="50"/>
                  </a:lnTo>
                  <a:lnTo>
                    <a:pt x="55" y="46"/>
                  </a:lnTo>
                  <a:lnTo>
                    <a:pt x="57" y="42"/>
                  </a:lnTo>
                  <a:lnTo>
                    <a:pt x="59" y="35"/>
                  </a:lnTo>
                  <a:lnTo>
                    <a:pt x="59" y="30"/>
                  </a:lnTo>
                  <a:lnTo>
                    <a:pt x="59" y="23"/>
                  </a:lnTo>
                  <a:lnTo>
                    <a:pt x="57" y="18"/>
                  </a:lnTo>
                  <a:lnTo>
                    <a:pt x="55" y="14"/>
                  </a:lnTo>
                  <a:lnTo>
                    <a:pt x="50" y="8"/>
                  </a:lnTo>
                  <a:lnTo>
                    <a:pt x="46" y="5"/>
                  </a:lnTo>
                  <a:lnTo>
                    <a:pt x="42" y="3"/>
                  </a:lnTo>
                  <a:lnTo>
                    <a:pt x="35" y="1"/>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
              <a:extLst>
                <a:ext uri="{FF2B5EF4-FFF2-40B4-BE49-F238E27FC236}">
                  <a16:creationId xmlns:a16="http://schemas.microsoft.com/office/drawing/2014/main" id="{C11A09E9-33D9-407B-9AC0-4290991B4BA4}"/>
                </a:ext>
              </a:extLst>
            </p:cNvPr>
            <p:cNvSpPr>
              <a:spLocks noEditPoints="1"/>
            </p:cNvSpPr>
            <p:nvPr/>
          </p:nvSpPr>
          <p:spPr bwMode="auto">
            <a:xfrm>
              <a:off x="4891088" y="1930401"/>
              <a:ext cx="285750" cy="212725"/>
            </a:xfrm>
            <a:custGeom>
              <a:avLst/>
              <a:gdLst>
                <a:gd name="T0" fmla="*/ 542 w 901"/>
                <a:gd name="T1" fmla="*/ 588 h 669"/>
                <a:gd name="T2" fmla="*/ 460 w 901"/>
                <a:gd name="T3" fmla="*/ 632 h 669"/>
                <a:gd name="T4" fmla="*/ 375 w 901"/>
                <a:gd name="T5" fmla="*/ 635 h 669"/>
                <a:gd name="T6" fmla="*/ 308 w 901"/>
                <a:gd name="T7" fmla="*/ 611 h 669"/>
                <a:gd name="T8" fmla="*/ 255 w 901"/>
                <a:gd name="T9" fmla="*/ 562 h 669"/>
                <a:gd name="T10" fmla="*/ 208 w 901"/>
                <a:gd name="T11" fmla="*/ 545 h 669"/>
                <a:gd name="T12" fmla="*/ 102 w 901"/>
                <a:gd name="T13" fmla="*/ 500 h 669"/>
                <a:gd name="T14" fmla="*/ 39 w 901"/>
                <a:gd name="T15" fmla="*/ 404 h 669"/>
                <a:gd name="T16" fmla="*/ 39 w 901"/>
                <a:gd name="T17" fmla="*/ 284 h 669"/>
                <a:gd name="T18" fmla="*/ 102 w 901"/>
                <a:gd name="T19" fmla="*/ 188 h 669"/>
                <a:gd name="T20" fmla="*/ 208 w 901"/>
                <a:gd name="T21" fmla="*/ 143 h 669"/>
                <a:gd name="T22" fmla="*/ 302 w 901"/>
                <a:gd name="T23" fmla="*/ 157 h 669"/>
                <a:gd name="T24" fmla="*/ 374 w 901"/>
                <a:gd name="T25" fmla="*/ 158 h 669"/>
                <a:gd name="T26" fmla="*/ 450 w 901"/>
                <a:gd name="T27" fmla="*/ 79 h 669"/>
                <a:gd name="T28" fmla="*/ 549 w 901"/>
                <a:gd name="T29" fmla="*/ 36 h 669"/>
                <a:gd name="T30" fmla="*/ 645 w 901"/>
                <a:gd name="T31" fmla="*/ 34 h 669"/>
                <a:gd name="T32" fmla="*/ 721 w 901"/>
                <a:gd name="T33" fmla="*/ 57 h 669"/>
                <a:gd name="T34" fmla="*/ 784 w 901"/>
                <a:gd name="T35" fmla="*/ 103 h 669"/>
                <a:gd name="T36" fmla="*/ 834 w 901"/>
                <a:gd name="T37" fmla="*/ 167 h 669"/>
                <a:gd name="T38" fmla="*/ 863 w 901"/>
                <a:gd name="T39" fmla="*/ 244 h 669"/>
                <a:gd name="T40" fmla="*/ 871 w 901"/>
                <a:gd name="T41" fmla="*/ 330 h 669"/>
                <a:gd name="T42" fmla="*/ 855 w 901"/>
                <a:gd name="T43" fmla="*/ 413 h 669"/>
                <a:gd name="T44" fmla="*/ 819 w 901"/>
                <a:gd name="T45" fmla="*/ 484 h 669"/>
                <a:gd name="T46" fmla="*/ 765 w 901"/>
                <a:gd name="T47" fmla="*/ 541 h 669"/>
                <a:gd name="T48" fmla="*/ 697 w 901"/>
                <a:gd name="T49" fmla="*/ 579 h 669"/>
                <a:gd name="T50" fmla="*/ 619 w 901"/>
                <a:gd name="T51" fmla="*/ 596 h 669"/>
                <a:gd name="T52" fmla="*/ 547 w 901"/>
                <a:gd name="T53" fmla="*/ 6 h 669"/>
                <a:gd name="T54" fmla="*/ 440 w 901"/>
                <a:gd name="T55" fmla="*/ 49 h 669"/>
                <a:gd name="T56" fmla="*/ 356 w 901"/>
                <a:gd name="T57" fmla="*/ 129 h 669"/>
                <a:gd name="T58" fmla="*/ 274 w 901"/>
                <a:gd name="T59" fmla="*/ 116 h 669"/>
                <a:gd name="T60" fmla="*/ 193 w 901"/>
                <a:gd name="T61" fmla="*/ 114 h 669"/>
                <a:gd name="T62" fmla="*/ 130 w 901"/>
                <a:gd name="T63" fmla="*/ 134 h 669"/>
                <a:gd name="T64" fmla="*/ 53 w 901"/>
                <a:gd name="T65" fmla="*/ 196 h 669"/>
                <a:gd name="T66" fmla="*/ 14 w 901"/>
                <a:gd name="T67" fmla="*/ 264 h 669"/>
                <a:gd name="T68" fmla="*/ 0 w 901"/>
                <a:gd name="T69" fmla="*/ 332 h 669"/>
                <a:gd name="T70" fmla="*/ 8 w 901"/>
                <a:gd name="T71" fmla="*/ 402 h 669"/>
                <a:gd name="T72" fmla="*/ 33 w 901"/>
                <a:gd name="T73" fmla="*/ 464 h 669"/>
                <a:gd name="T74" fmla="*/ 109 w 901"/>
                <a:gd name="T75" fmla="*/ 542 h 669"/>
                <a:gd name="T76" fmla="*/ 171 w 901"/>
                <a:gd name="T77" fmla="*/ 569 h 669"/>
                <a:gd name="T78" fmla="*/ 228 w 901"/>
                <a:gd name="T79" fmla="*/ 576 h 669"/>
                <a:gd name="T80" fmla="*/ 275 w 901"/>
                <a:gd name="T81" fmla="*/ 623 h 669"/>
                <a:gd name="T82" fmla="*/ 345 w 901"/>
                <a:gd name="T83" fmla="*/ 660 h 669"/>
                <a:gd name="T84" fmla="*/ 429 w 901"/>
                <a:gd name="T85" fmla="*/ 668 h 669"/>
                <a:gd name="T86" fmla="*/ 534 w 901"/>
                <a:gd name="T87" fmla="*/ 632 h 669"/>
                <a:gd name="T88" fmla="*/ 620 w 901"/>
                <a:gd name="T89" fmla="*/ 626 h 669"/>
                <a:gd name="T90" fmla="*/ 707 w 901"/>
                <a:gd name="T91" fmla="*/ 607 h 669"/>
                <a:gd name="T92" fmla="*/ 783 w 901"/>
                <a:gd name="T93" fmla="*/ 565 h 669"/>
                <a:gd name="T94" fmla="*/ 843 w 901"/>
                <a:gd name="T95" fmla="*/ 503 h 669"/>
                <a:gd name="T96" fmla="*/ 884 w 901"/>
                <a:gd name="T97" fmla="*/ 423 h 669"/>
                <a:gd name="T98" fmla="*/ 901 w 901"/>
                <a:gd name="T99" fmla="*/ 331 h 669"/>
                <a:gd name="T100" fmla="*/ 892 w 901"/>
                <a:gd name="T101" fmla="*/ 236 h 669"/>
                <a:gd name="T102" fmla="*/ 859 w 901"/>
                <a:gd name="T103" fmla="*/ 150 h 669"/>
                <a:gd name="T104" fmla="*/ 805 w 901"/>
                <a:gd name="T105" fmla="*/ 81 h 669"/>
                <a:gd name="T106" fmla="*/ 734 w 901"/>
                <a:gd name="T107" fmla="*/ 31 h 669"/>
                <a:gd name="T108" fmla="*/ 651 w 901"/>
                <a:gd name="T109" fmla="*/ 4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 h="669">
                  <a:moveTo>
                    <a:pt x="605" y="596"/>
                  </a:moveTo>
                  <a:lnTo>
                    <a:pt x="591" y="596"/>
                  </a:lnTo>
                  <a:lnTo>
                    <a:pt x="576" y="595"/>
                  </a:lnTo>
                  <a:lnTo>
                    <a:pt x="562" y="592"/>
                  </a:lnTo>
                  <a:lnTo>
                    <a:pt x="548" y="590"/>
                  </a:lnTo>
                  <a:lnTo>
                    <a:pt x="542" y="588"/>
                  </a:lnTo>
                  <a:lnTo>
                    <a:pt x="535" y="594"/>
                  </a:lnTo>
                  <a:lnTo>
                    <a:pt x="522" y="603"/>
                  </a:lnTo>
                  <a:lnTo>
                    <a:pt x="507" y="613"/>
                  </a:lnTo>
                  <a:lnTo>
                    <a:pt x="492" y="620"/>
                  </a:lnTo>
                  <a:lnTo>
                    <a:pt x="476" y="628"/>
                  </a:lnTo>
                  <a:lnTo>
                    <a:pt x="460" y="632"/>
                  </a:lnTo>
                  <a:lnTo>
                    <a:pt x="444" y="636"/>
                  </a:lnTo>
                  <a:lnTo>
                    <a:pt x="427" y="638"/>
                  </a:lnTo>
                  <a:lnTo>
                    <a:pt x="410" y="640"/>
                  </a:lnTo>
                  <a:lnTo>
                    <a:pt x="398" y="638"/>
                  </a:lnTo>
                  <a:lnTo>
                    <a:pt x="386" y="637"/>
                  </a:lnTo>
                  <a:lnTo>
                    <a:pt x="375" y="635"/>
                  </a:lnTo>
                  <a:lnTo>
                    <a:pt x="363" y="633"/>
                  </a:lnTo>
                  <a:lnTo>
                    <a:pt x="351" y="630"/>
                  </a:lnTo>
                  <a:lnTo>
                    <a:pt x="340" y="626"/>
                  </a:lnTo>
                  <a:lnTo>
                    <a:pt x="330" y="621"/>
                  </a:lnTo>
                  <a:lnTo>
                    <a:pt x="319" y="616"/>
                  </a:lnTo>
                  <a:lnTo>
                    <a:pt x="308" y="611"/>
                  </a:lnTo>
                  <a:lnTo>
                    <a:pt x="299" y="604"/>
                  </a:lnTo>
                  <a:lnTo>
                    <a:pt x="289" y="597"/>
                  </a:lnTo>
                  <a:lnTo>
                    <a:pt x="279" y="589"/>
                  </a:lnTo>
                  <a:lnTo>
                    <a:pt x="271" y="581"/>
                  </a:lnTo>
                  <a:lnTo>
                    <a:pt x="262" y="572"/>
                  </a:lnTo>
                  <a:lnTo>
                    <a:pt x="255" y="562"/>
                  </a:lnTo>
                  <a:lnTo>
                    <a:pt x="247" y="553"/>
                  </a:lnTo>
                  <a:lnTo>
                    <a:pt x="243" y="545"/>
                  </a:lnTo>
                  <a:lnTo>
                    <a:pt x="231" y="545"/>
                  </a:lnTo>
                  <a:lnTo>
                    <a:pt x="229" y="546"/>
                  </a:lnTo>
                  <a:lnTo>
                    <a:pt x="228" y="546"/>
                  </a:lnTo>
                  <a:lnTo>
                    <a:pt x="208" y="545"/>
                  </a:lnTo>
                  <a:lnTo>
                    <a:pt x="188" y="542"/>
                  </a:lnTo>
                  <a:lnTo>
                    <a:pt x="169" y="537"/>
                  </a:lnTo>
                  <a:lnTo>
                    <a:pt x="151" y="530"/>
                  </a:lnTo>
                  <a:lnTo>
                    <a:pt x="134" y="522"/>
                  </a:lnTo>
                  <a:lnTo>
                    <a:pt x="118" y="511"/>
                  </a:lnTo>
                  <a:lnTo>
                    <a:pt x="102" y="500"/>
                  </a:lnTo>
                  <a:lnTo>
                    <a:pt x="88" y="486"/>
                  </a:lnTo>
                  <a:lnTo>
                    <a:pt x="75" y="473"/>
                  </a:lnTo>
                  <a:lnTo>
                    <a:pt x="64" y="457"/>
                  </a:lnTo>
                  <a:lnTo>
                    <a:pt x="54" y="440"/>
                  </a:lnTo>
                  <a:lnTo>
                    <a:pt x="46" y="422"/>
                  </a:lnTo>
                  <a:lnTo>
                    <a:pt x="39" y="404"/>
                  </a:lnTo>
                  <a:lnTo>
                    <a:pt x="34" y="385"/>
                  </a:lnTo>
                  <a:lnTo>
                    <a:pt x="31" y="364"/>
                  </a:lnTo>
                  <a:lnTo>
                    <a:pt x="30" y="344"/>
                  </a:lnTo>
                  <a:lnTo>
                    <a:pt x="31" y="324"/>
                  </a:lnTo>
                  <a:lnTo>
                    <a:pt x="34" y="303"/>
                  </a:lnTo>
                  <a:lnTo>
                    <a:pt x="39" y="284"/>
                  </a:lnTo>
                  <a:lnTo>
                    <a:pt x="46" y="265"/>
                  </a:lnTo>
                  <a:lnTo>
                    <a:pt x="54" y="248"/>
                  </a:lnTo>
                  <a:lnTo>
                    <a:pt x="64" y="231"/>
                  </a:lnTo>
                  <a:lnTo>
                    <a:pt x="75" y="216"/>
                  </a:lnTo>
                  <a:lnTo>
                    <a:pt x="88" y="201"/>
                  </a:lnTo>
                  <a:lnTo>
                    <a:pt x="102" y="188"/>
                  </a:lnTo>
                  <a:lnTo>
                    <a:pt x="118" y="176"/>
                  </a:lnTo>
                  <a:lnTo>
                    <a:pt x="134" y="167"/>
                  </a:lnTo>
                  <a:lnTo>
                    <a:pt x="151" y="158"/>
                  </a:lnTo>
                  <a:lnTo>
                    <a:pt x="169" y="150"/>
                  </a:lnTo>
                  <a:lnTo>
                    <a:pt x="188" y="146"/>
                  </a:lnTo>
                  <a:lnTo>
                    <a:pt x="208" y="143"/>
                  </a:lnTo>
                  <a:lnTo>
                    <a:pt x="228" y="142"/>
                  </a:lnTo>
                  <a:lnTo>
                    <a:pt x="243" y="142"/>
                  </a:lnTo>
                  <a:lnTo>
                    <a:pt x="258" y="144"/>
                  </a:lnTo>
                  <a:lnTo>
                    <a:pt x="273" y="147"/>
                  </a:lnTo>
                  <a:lnTo>
                    <a:pt x="288" y="152"/>
                  </a:lnTo>
                  <a:lnTo>
                    <a:pt x="302" y="157"/>
                  </a:lnTo>
                  <a:lnTo>
                    <a:pt x="316" y="163"/>
                  </a:lnTo>
                  <a:lnTo>
                    <a:pt x="329" y="171"/>
                  </a:lnTo>
                  <a:lnTo>
                    <a:pt x="341" y="179"/>
                  </a:lnTo>
                  <a:lnTo>
                    <a:pt x="355" y="189"/>
                  </a:lnTo>
                  <a:lnTo>
                    <a:pt x="364" y="174"/>
                  </a:lnTo>
                  <a:lnTo>
                    <a:pt x="374" y="158"/>
                  </a:lnTo>
                  <a:lnTo>
                    <a:pt x="384" y="142"/>
                  </a:lnTo>
                  <a:lnTo>
                    <a:pt x="396" y="128"/>
                  </a:lnTo>
                  <a:lnTo>
                    <a:pt x="408" y="114"/>
                  </a:lnTo>
                  <a:lnTo>
                    <a:pt x="422" y="101"/>
                  </a:lnTo>
                  <a:lnTo>
                    <a:pt x="436" y="89"/>
                  </a:lnTo>
                  <a:lnTo>
                    <a:pt x="450" y="79"/>
                  </a:lnTo>
                  <a:lnTo>
                    <a:pt x="466" y="69"/>
                  </a:lnTo>
                  <a:lnTo>
                    <a:pt x="481" y="60"/>
                  </a:lnTo>
                  <a:lnTo>
                    <a:pt x="498" y="52"/>
                  </a:lnTo>
                  <a:lnTo>
                    <a:pt x="515" y="46"/>
                  </a:lnTo>
                  <a:lnTo>
                    <a:pt x="532" y="40"/>
                  </a:lnTo>
                  <a:lnTo>
                    <a:pt x="549" y="36"/>
                  </a:lnTo>
                  <a:lnTo>
                    <a:pt x="567" y="33"/>
                  </a:lnTo>
                  <a:lnTo>
                    <a:pt x="585" y="31"/>
                  </a:lnTo>
                  <a:lnTo>
                    <a:pt x="605" y="31"/>
                  </a:lnTo>
                  <a:lnTo>
                    <a:pt x="619" y="31"/>
                  </a:lnTo>
                  <a:lnTo>
                    <a:pt x="632" y="32"/>
                  </a:lnTo>
                  <a:lnTo>
                    <a:pt x="645" y="34"/>
                  </a:lnTo>
                  <a:lnTo>
                    <a:pt x="659" y="36"/>
                  </a:lnTo>
                  <a:lnTo>
                    <a:pt x="672" y="39"/>
                  </a:lnTo>
                  <a:lnTo>
                    <a:pt x="685" y="42"/>
                  </a:lnTo>
                  <a:lnTo>
                    <a:pt x="697" y="47"/>
                  </a:lnTo>
                  <a:lnTo>
                    <a:pt x="710" y="52"/>
                  </a:lnTo>
                  <a:lnTo>
                    <a:pt x="721" y="57"/>
                  </a:lnTo>
                  <a:lnTo>
                    <a:pt x="733" y="64"/>
                  </a:lnTo>
                  <a:lnTo>
                    <a:pt x="744" y="71"/>
                  </a:lnTo>
                  <a:lnTo>
                    <a:pt x="754" y="78"/>
                  </a:lnTo>
                  <a:lnTo>
                    <a:pt x="765" y="86"/>
                  </a:lnTo>
                  <a:lnTo>
                    <a:pt x="775" y="95"/>
                  </a:lnTo>
                  <a:lnTo>
                    <a:pt x="784" y="103"/>
                  </a:lnTo>
                  <a:lnTo>
                    <a:pt x="794" y="113"/>
                  </a:lnTo>
                  <a:lnTo>
                    <a:pt x="803" y="123"/>
                  </a:lnTo>
                  <a:lnTo>
                    <a:pt x="811" y="133"/>
                  </a:lnTo>
                  <a:lnTo>
                    <a:pt x="819" y="144"/>
                  </a:lnTo>
                  <a:lnTo>
                    <a:pt x="826" y="155"/>
                  </a:lnTo>
                  <a:lnTo>
                    <a:pt x="834" y="167"/>
                  </a:lnTo>
                  <a:lnTo>
                    <a:pt x="840" y="178"/>
                  </a:lnTo>
                  <a:lnTo>
                    <a:pt x="845" y="191"/>
                  </a:lnTo>
                  <a:lnTo>
                    <a:pt x="851" y="203"/>
                  </a:lnTo>
                  <a:lnTo>
                    <a:pt x="855" y="217"/>
                  </a:lnTo>
                  <a:lnTo>
                    <a:pt x="859" y="230"/>
                  </a:lnTo>
                  <a:lnTo>
                    <a:pt x="863" y="244"/>
                  </a:lnTo>
                  <a:lnTo>
                    <a:pt x="866" y="257"/>
                  </a:lnTo>
                  <a:lnTo>
                    <a:pt x="868" y="271"/>
                  </a:lnTo>
                  <a:lnTo>
                    <a:pt x="870" y="286"/>
                  </a:lnTo>
                  <a:lnTo>
                    <a:pt x="871" y="300"/>
                  </a:lnTo>
                  <a:lnTo>
                    <a:pt x="871" y="315"/>
                  </a:lnTo>
                  <a:lnTo>
                    <a:pt x="871" y="330"/>
                  </a:lnTo>
                  <a:lnTo>
                    <a:pt x="870" y="344"/>
                  </a:lnTo>
                  <a:lnTo>
                    <a:pt x="868" y="359"/>
                  </a:lnTo>
                  <a:lnTo>
                    <a:pt x="866" y="373"/>
                  </a:lnTo>
                  <a:lnTo>
                    <a:pt x="863" y="386"/>
                  </a:lnTo>
                  <a:lnTo>
                    <a:pt x="859" y="400"/>
                  </a:lnTo>
                  <a:lnTo>
                    <a:pt x="855" y="413"/>
                  </a:lnTo>
                  <a:lnTo>
                    <a:pt x="851" y="425"/>
                  </a:lnTo>
                  <a:lnTo>
                    <a:pt x="845" y="438"/>
                  </a:lnTo>
                  <a:lnTo>
                    <a:pt x="840" y="450"/>
                  </a:lnTo>
                  <a:lnTo>
                    <a:pt x="834" y="462"/>
                  </a:lnTo>
                  <a:lnTo>
                    <a:pt x="826" y="474"/>
                  </a:lnTo>
                  <a:lnTo>
                    <a:pt x="819" y="484"/>
                  </a:lnTo>
                  <a:lnTo>
                    <a:pt x="811" y="495"/>
                  </a:lnTo>
                  <a:lnTo>
                    <a:pt x="803" y="505"/>
                  </a:lnTo>
                  <a:lnTo>
                    <a:pt x="794" y="514"/>
                  </a:lnTo>
                  <a:lnTo>
                    <a:pt x="784" y="524"/>
                  </a:lnTo>
                  <a:lnTo>
                    <a:pt x="775" y="533"/>
                  </a:lnTo>
                  <a:lnTo>
                    <a:pt x="765" y="541"/>
                  </a:lnTo>
                  <a:lnTo>
                    <a:pt x="754" y="549"/>
                  </a:lnTo>
                  <a:lnTo>
                    <a:pt x="744" y="556"/>
                  </a:lnTo>
                  <a:lnTo>
                    <a:pt x="733" y="562"/>
                  </a:lnTo>
                  <a:lnTo>
                    <a:pt x="721" y="569"/>
                  </a:lnTo>
                  <a:lnTo>
                    <a:pt x="710" y="574"/>
                  </a:lnTo>
                  <a:lnTo>
                    <a:pt x="697" y="579"/>
                  </a:lnTo>
                  <a:lnTo>
                    <a:pt x="685" y="583"/>
                  </a:lnTo>
                  <a:lnTo>
                    <a:pt x="672" y="587"/>
                  </a:lnTo>
                  <a:lnTo>
                    <a:pt x="659" y="590"/>
                  </a:lnTo>
                  <a:lnTo>
                    <a:pt x="645" y="592"/>
                  </a:lnTo>
                  <a:lnTo>
                    <a:pt x="632" y="595"/>
                  </a:lnTo>
                  <a:lnTo>
                    <a:pt x="619" y="596"/>
                  </a:lnTo>
                  <a:lnTo>
                    <a:pt x="605" y="596"/>
                  </a:lnTo>
                  <a:lnTo>
                    <a:pt x="605" y="596"/>
                  </a:lnTo>
                  <a:close/>
                  <a:moveTo>
                    <a:pt x="605" y="0"/>
                  </a:moveTo>
                  <a:lnTo>
                    <a:pt x="585" y="1"/>
                  </a:lnTo>
                  <a:lnTo>
                    <a:pt x="565" y="3"/>
                  </a:lnTo>
                  <a:lnTo>
                    <a:pt x="547" y="6"/>
                  </a:lnTo>
                  <a:lnTo>
                    <a:pt x="528" y="10"/>
                  </a:lnTo>
                  <a:lnTo>
                    <a:pt x="509" y="16"/>
                  </a:lnTo>
                  <a:lnTo>
                    <a:pt x="491" y="22"/>
                  </a:lnTo>
                  <a:lnTo>
                    <a:pt x="474" y="30"/>
                  </a:lnTo>
                  <a:lnTo>
                    <a:pt x="457" y="39"/>
                  </a:lnTo>
                  <a:lnTo>
                    <a:pt x="440" y="49"/>
                  </a:lnTo>
                  <a:lnTo>
                    <a:pt x="425" y="60"/>
                  </a:lnTo>
                  <a:lnTo>
                    <a:pt x="409" y="72"/>
                  </a:lnTo>
                  <a:lnTo>
                    <a:pt x="395" y="85"/>
                  </a:lnTo>
                  <a:lnTo>
                    <a:pt x="381" y="99"/>
                  </a:lnTo>
                  <a:lnTo>
                    <a:pt x="368" y="113"/>
                  </a:lnTo>
                  <a:lnTo>
                    <a:pt x="356" y="129"/>
                  </a:lnTo>
                  <a:lnTo>
                    <a:pt x="346" y="145"/>
                  </a:lnTo>
                  <a:lnTo>
                    <a:pt x="332" y="138"/>
                  </a:lnTo>
                  <a:lnTo>
                    <a:pt x="318" y="131"/>
                  </a:lnTo>
                  <a:lnTo>
                    <a:pt x="304" y="125"/>
                  </a:lnTo>
                  <a:lnTo>
                    <a:pt x="289" y="121"/>
                  </a:lnTo>
                  <a:lnTo>
                    <a:pt x="274" y="116"/>
                  </a:lnTo>
                  <a:lnTo>
                    <a:pt x="259" y="114"/>
                  </a:lnTo>
                  <a:lnTo>
                    <a:pt x="243" y="112"/>
                  </a:lnTo>
                  <a:lnTo>
                    <a:pt x="228" y="112"/>
                  </a:lnTo>
                  <a:lnTo>
                    <a:pt x="216" y="112"/>
                  </a:lnTo>
                  <a:lnTo>
                    <a:pt x="204" y="113"/>
                  </a:lnTo>
                  <a:lnTo>
                    <a:pt x="193" y="114"/>
                  </a:lnTo>
                  <a:lnTo>
                    <a:pt x="182" y="116"/>
                  </a:lnTo>
                  <a:lnTo>
                    <a:pt x="171" y="119"/>
                  </a:lnTo>
                  <a:lnTo>
                    <a:pt x="161" y="123"/>
                  </a:lnTo>
                  <a:lnTo>
                    <a:pt x="150" y="126"/>
                  </a:lnTo>
                  <a:lnTo>
                    <a:pt x="139" y="130"/>
                  </a:lnTo>
                  <a:lnTo>
                    <a:pt x="130" y="134"/>
                  </a:lnTo>
                  <a:lnTo>
                    <a:pt x="119" y="140"/>
                  </a:lnTo>
                  <a:lnTo>
                    <a:pt x="109" y="145"/>
                  </a:lnTo>
                  <a:lnTo>
                    <a:pt x="101" y="152"/>
                  </a:lnTo>
                  <a:lnTo>
                    <a:pt x="83" y="164"/>
                  </a:lnTo>
                  <a:lnTo>
                    <a:pt x="66" y="179"/>
                  </a:lnTo>
                  <a:lnTo>
                    <a:pt x="53" y="196"/>
                  </a:lnTo>
                  <a:lnTo>
                    <a:pt x="39" y="215"/>
                  </a:lnTo>
                  <a:lnTo>
                    <a:pt x="33" y="223"/>
                  </a:lnTo>
                  <a:lnTo>
                    <a:pt x="28" y="233"/>
                  </a:lnTo>
                  <a:lnTo>
                    <a:pt x="23" y="244"/>
                  </a:lnTo>
                  <a:lnTo>
                    <a:pt x="18" y="253"/>
                  </a:lnTo>
                  <a:lnTo>
                    <a:pt x="14" y="264"/>
                  </a:lnTo>
                  <a:lnTo>
                    <a:pt x="11" y="275"/>
                  </a:lnTo>
                  <a:lnTo>
                    <a:pt x="8" y="286"/>
                  </a:lnTo>
                  <a:lnTo>
                    <a:pt x="4" y="297"/>
                  </a:lnTo>
                  <a:lnTo>
                    <a:pt x="2" y="309"/>
                  </a:lnTo>
                  <a:lnTo>
                    <a:pt x="1" y="321"/>
                  </a:lnTo>
                  <a:lnTo>
                    <a:pt x="0" y="332"/>
                  </a:lnTo>
                  <a:lnTo>
                    <a:pt x="0" y="344"/>
                  </a:lnTo>
                  <a:lnTo>
                    <a:pt x="0" y="356"/>
                  </a:lnTo>
                  <a:lnTo>
                    <a:pt x="1" y="368"/>
                  </a:lnTo>
                  <a:lnTo>
                    <a:pt x="2" y="379"/>
                  </a:lnTo>
                  <a:lnTo>
                    <a:pt x="4" y="391"/>
                  </a:lnTo>
                  <a:lnTo>
                    <a:pt x="8" y="402"/>
                  </a:lnTo>
                  <a:lnTo>
                    <a:pt x="11" y="413"/>
                  </a:lnTo>
                  <a:lnTo>
                    <a:pt x="14" y="423"/>
                  </a:lnTo>
                  <a:lnTo>
                    <a:pt x="18" y="434"/>
                  </a:lnTo>
                  <a:lnTo>
                    <a:pt x="23" y="445"/>
                  </a:lnTo>
                  <a:lnTo>
                    <a:pt x="28" y="454"/>
                  </a:lnTo>
                  <a:lnTo>
                    <a:pt x="33" y="464"/>
                  </a:lnTo>
                  <a:lnTo>
                    <a:pt x="39" y="474"/>
                  </a:lnTo>
                  <a:lnTo>
                    <a:pt x="53" y="492"/>
                  </a:lnTo>
                  <a:lnTo>
                    <a:pt x="66" y="508"/>
                  </a:lnTo>
                  <a:lnTo>
                    <a:pt x="83" y="523"/>
                  </a:lnTo>
                  <a:lnTo>
                    <a:pt x="101" y="537"/>
                  </a:lnTo>
                  <a:lnTo>
                    <a:pt x="109" y="542"/>
                  </a:lnTo>
                  <a:lnTo>
                    <a:pt x="119" y="549"/>
                  </a:lnTo>
                  <a:lnTo>
                    <a:pt x="130" y="553"/>
                  </a:lnTo>
                  <a:lnTo>
                    <a:pt x="139" y="558"/>
                  </a:lnTo>
                  <a:lnTo>
                    <a:pt x="150" y="562"/>
                  </a:lnTo>
                  <a:lnTo>
                    <a:pt x="161" y="566"/>
                  </a:lnTo>
                  <a:lnTo>
                    <a:pt x="171" y="569"/>
                  </a:lnTo>
                  <a:lnTo>
                    <a:pt x="182" y="571"/>
                  </a:lnTo>
                  <a:lnTo>
                    <a:pt x="193" y="573"/>
                  </a:lnTo>
                  <a:lnTo>
                    <a:pt x="204" y="575"/>
                  </a:lnTo>
                  <a:lnTo>
                    <a:pt x="216" y="576"/>
                  </a:lnTo>
                  <a:lnTo>
                    <a:pt x="228" y="576"/>
                  </a:lnTo>
                  <a:lnTo>
                    <a:pt x="228" y="576"/>
                  </a:lnTo>
                  <a:lnTo>
                    <a:pt x="228" y="576"/>
                  </a:lnTo>
                  <a:lnTo>
                    <a:pt x="237" y="587"/>
                  </a:lnTo>
                  <a:lnTo>
                    <a:pt x="245" y="597"/>
                  </a:lnTo>
                  <a:lnTo>
                    <a:pt x="255" y="606"/>
                  </a:lnTo>
                  <a:lnTo>
                    <a:pt x="264" y="615"/>
                  </a:lnTo>
                  <a:lnTo>
                    <a:pt x="275" y="623"/>
                  </a:lnTo>
                  <a:lnTo>
                    <a:pt x="286" y="631"/>
                  </a:lnTo>
                  <a:lnTo>
                    <a:pt x="297" y="638"/>
                  </a:lnTo>
                  <a:lnTo>
                    <a:pt x="308" y="645"/>
                  </a:lnTo>
                  <a:lnTo>
                    <a:pt x="320" y="650"/>
                  </a:lnTo>
                  <a:lnTo>
                    <a:pt x="332" y="656"/>
                  </a:lnTo>
                  <a:lnTo>
                    <a:pt x="345" y="660"/>
                  </a:lnTo>
                  <a:lnTo>
                    <a:pt x="357" y="663"/>
                  </a:lnTo>
                  <a:lnTo>
                    <a:pt x="370" y="665"/>
                  </a:lnTo>
                  <a:lnTo>
                    <a:pt x="383" y="667"/>
                  </a:lnTo>
                  <a:lnTo>
                    <a:pt x="397" y="668"/>
                  </a:lnTo>
                  <a:lnTo>
                    <a:pt x="410" y="669"/>
                  </a:lnTo>
                  <a:lnTo>
                    <a:pt x="429" y="668"/>
                  </a:lnTo>
                  <a:lnTo>
                    <a:pt x="447" y="666"/>
                  </a:lnTo>
                  <a:lnTo>
                    <a:pt x="466" y="662"/>
                  </a:lnTo>
                  <a:lnTo>
                    <a:pt x="484" y="657"/>
                  </a:lnTo>
                  <a:lnTo>
                    <a:pt x="501" y="650"/>
                  </a:lnTo>
                  <a:lnTo>
                    <a:pt x="518" y="642"/>
                  </a:lnTo>
                  <a:lnTo>
                    <a:pt x="534" y="632"/>
                  </a:lnTo>
                  <a:lnTo>
                    <a:pt x="549" y="620"/>
                  </a:lnTo>
                  <a:lnTo>
                    <a:pt x="563" y="622"/>
                  </a:lnTo>
                  <a:lnTo>
                    <a:pt x="577" y="625"/>
                  </a:lnTo>
                  <a:lnTo>
                    <a:pt x="591" y="626"/>
                  </a:lnTo>
                  <a:lnTo>
                    <a:pt x="605" y="626"/>
                  </a:lnTo>
                  <a:lnTo>
                    <a:pt x="620" y="626"/>
                  </a:lnTo>
                  <a:lnTo>
                    <a:pt x="636" y="625"/>
                  </a:lnTo>
                  <a:lnTo>
                    <a:pt x="651" y="622"/>
                  </a:lnTo>
                  <a:lnTo>
                    <a:pt x="665" y="619"/>
                  </a:lnTo>
                  <a:lnTo>
                    <a:pt x="680" y="616"/>
                  </a:lnTo>
                  <a:lnTo>
                    <a:pt x="693" y="612"/>
                  </a:lnTo>
                  <a:lnTo>
                    <a:pt x="707" y="607"/>
                  </a:lnTo>
                  <a:lnTo>
                    <a:pt x="721" y="602"/>
                  </a:lnTo>
                  <a:lnTo>
                    <a:pt x="734" y="596"/>
                  </a:lnTo>
                  <a:lnTo>
                    <a:pt x="747" y="589"/>
                  </a:lnTo>
                  <a:lnTo>
                    <a:pt x="760" y="582"/>
                  </a:lnTo>
                  <a:lnTo>
                    <a:pt x="772" y="573"/>
                  </a:lnTo>
                  <a:lnTo>
                    <a:pt x="783" y="565"/>
                  </a:lnTo>
                  <a:lnTo>
                    <a:pt x="794" y="556"/>
                  </a:lnTo>
                  <a:lnTo>
                    <a:pt x="805" y="546"/>
                  </a:lnTo>
                  <a:lnTo>
                    <a:pt x="815" y="536"/>
                  </a:lnTo>
                  <a:lnTo>
                    <a:pt x="825" y="525"/>
                  </a:lnTo>
                  <a:lnTo>
                    <a:pt x="835" y="514"/>
                  </a:lnTo>
                  <a:lnTo>
                    <a:pt x="843" y="503"/>
                  </a:lnTo>
                  <a:lnTo>
                    <a:pt x="851" y="490"/>
                  </a:lnTo>
                  <a:lnTo>
                    <a:pt x="859" y="478"/>
                  </a:lnTo>
                  <a:lnTo>
                    <a:pt x="866" y="465"/>
                  </a:lnTo>
                  <a:lnTo>
                    <a:pt x="872" y="451"/>
                  </a:lnTo>
                  <a:lnTo>
                    <a:pt x="879" y="437"/>
                  </a:lnTo>
                  <a:lnTo>
                    <a:pt x="884" y="423"/>
                  </a:lnTo>
                  <a:lnTo>
                    <a:pt x="888" y="408"/>
                  </a:lnTo>
                  <a:lnTo>
                    <a:pt x="892" y="394"/>
                  </a:lnTo>
                  <a:lnTo>
                    <a:pt x="896" y="378"/>
                  </a:lnTo>
                  <a:lnTo>
                    <a:pt x="898" y="363"/>
                  </a:lnTo>
                  <a:lnTo>
                    <a:pt x="900" y="347"/>
                  </a:lnTo>
                  <a:lnTo>
                    <a:pt x="901" y="331"/>
                  </a:lnTo>
                  <a:lnTo>
                    <a:pt x="901" y="315"/>
                  </a:lnTo>
                  <a:lnTo>
                    <a:pt x="901" y="299"/>
                  </a:lnTo>
                  <a:lnTo>
                    <a:pt x="900" y="283"/>
                  </a:lnTo>
                  <a:lnTo>
                    <a:pt x="898" y="267"/>
                  </a:lnTo>
                  <a:lnTo>
                    <a:pt x="896" y="251"/>
                  </a:lnTo>
                  <a:lnTo>
                    <a:pt x="892" y="236"/>
                  </a:lnTo>
                  <a:lnTo>
                    <a:pt x="888" y="221"/>
                  </a:lnTo>
                  <a:lnTo>
                    <a:pt x="884" y="206"/>
                  </a:lnTo>
                  <a:lnTo>
                    <a:pt x="879" y="191"/>
                  </a:lnTo>
                  <a:lnTo>
                    <a:pt x="872" y="177"/>
                  </a:lnTo>
                  <a:lnTo>
                    <a:pt x="866" y="164"/>
                  </a:lnTo>
                  <a:lnTo>
                    <a:pt x="859" y="150"/>
                  </a:lnTo>
                  <a:lnTo>
                    <a:pt x="851" y="138"/>
                  </a:lnTo>
                  <a:lnTo>
                    <a:pt x="843" y="126"/>
                  </a:lnTo>
                  <a:lnTo>
                    <a:pt x="835" y="114"/>
                  </a:lnTo>
                  <a:lnTo>
                    <a:pt x="825" y="102"/>
                  </a:lnTo>
                  <a:lnTo>
                    <a:pt x="815" y="92"/>
                  </a:lnTo>
                  <a:lnTo>
                    <a:pt x="805" y="81"/>
                  </a:lnTo>
                  <a:lnTo>
                    <a:pt x="794" y="71"/>
                  </a:lnTo>
                  <a:lnTo>
                    <a:pt x="783" y="62"/>
                  </a:lnTo>
                  <a:lnTo>
                    <a:pt x="772" y="53"/>
                  </a:lnTo>
                  <a:lnTo>
                    <a:pt x="760" y="46"/>
                  </a:lnTo>
                  <a:lnTo>
                    <a:pt x="747" y="38"/>
                  </a:lnTo>
                  <a:lnTo>
                    <a:pt x="734" y="31"/>
                  </a:lnTo>
                  <a:lnTo>
                    <a:pt x="721" y="24"/>
                  </a:lnTo>
                  <a:lnTo>
                    <a:pt x="707" y="19"/>
                  </a:lnTo>
                  <a:lnTo>
                    <a:pt x="693" y="15"/>
                  </a:lnTo>
                  <a:lnTo>
                    <a:pt x="680" y="10"/>
                  </a:lnTo>
                  <a:lnTo>
                    <a:pt x="665" y="6"/>
                  </a:lnTo>
                  <a:lnTo>
                    <a:pt x="651" y="4"/>
                  </a:lnTo>
                  <a:lnTo>
                    <a:pt x="636" y="2"/>
                  </a:lnTo>
                  <a:lnTo>
                    <a:pt x="620" y="1"/>
                  </a:lnTo>
                  <a:lnTo>
                    <a:pt x="605" y="1"/>
                  </a:lnTo>
                  <a:lnTo>
                    <a:pt x="6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5">
              <a:extLst>
                <a:ext uri="{FF2B5EF4-FFF2-40B4-BE49-F238E27FC236}">
                  <a16:creationId xmlns:a16="http://schemas.microsoft.com/office/drawing/2014/main" id="{BF77E8F5-7D0D-4E84-80FE-70C77C7B971B}"/>
                </a:ext>
              </a:extLst>
            </p:cNvPr>
            <p:cNvSpPr>
              <a:spLocks noEditPoints="1"/>
            </p:cNvSpPr>
            <p:nvPr/>
          </p:nvSpPr>
          <p:spPr bwMode="auto">
            <a:xfrm>
              <a:off x="4962525" y="2036763"/>
              <a:ext cx="20638" cy="20638"/>
            </a:xfrm>
            <a:custGeom>
              <a:avLst/>
              <a:gdLst>
                <a:gd name="T0" fmla="*/ 30 w 67"/>
                <a:gd name="T1" fmla="*/ 33 h 66"/>
                <a:gd name="T2" fmla="*/ 31 w 67"/>
                <a:gd name="T3" fmla="*/ 31 h 66"/>
                <a:gd name="T4" fmla="*/ 33 w 67"/>
                <a:gd name="T5" fmla="*/ 30 h 66"/>
                <a:gd name="T6" fmla="*/ 36 w 67"/>
                <a:gd name="T7" fmla="*/ 31 h 66"/>
                <a:gd name="T8" fmla="*/ 36 w 67"/>
                <a:gd name="T9" fmla="*/ 33 h 66"/>
                <a:gd name="T10" fmla="*/ 35 w 67"/>
                <a:gd name="T11" fmla="*/ 35 h 66"/>
                <a:gd name="T12" fmla="*/ 33 w 67"/>
                <a:gd name="T13" fmla="*/ 36 h 66"/>
                <a:gd name="T14" fmla="*/ 31 w 67"/>
                <a:gd name="T15" fmla="*/ 35 h 66"/>
                <a:gd name="T16" fmla="*/ 30 w 67"/>
                <a:gd name="T17" fmla="*/ 33 h 66"/>
                <a:gd name="T18" fmla="*/ 30 w 67"/>
                <a:gd name="T19" fmla="*/ 33 h 66"/>
                <a:gd name="T20" fmla="*/ 33 w 67"/>
                <a:gd name="T21" fmla="*/ 0 h 66"/>
                <a:gd name="T22" fmla="*/ 26 w 67"/>
                <a:gd name="T23" fmla="*/ 0 h 66"/>
                <a:gd name="T24" fmla="*/ 20 w 67"/>
                <a:gd name="T25" fmla="*/ 2 h 66"/>
                <a:gd name="T26" fmla="*/ 15 w 67"/>
                <a:gd name="T27" fmla="*/ 5 h 66"/>
                <a:gd name="T28" fmla="*/ 9 w 67"/>
                <a:gd name="T29" fmla="*/ 9 h 66"/>
                <a:gd name="T30" fmla="*/ 5 w 67"/>
                <a:gd name="T31" fmla="*/ 14 h 66"/>
                <a:gd name="T32" fmla="*/ 2 w 67"/>
                <a:gd name="T33" fmla="*/ 20 h 66"/>
                <a:gd name="T34" fmla="*/ 0 w 67"/>
                <a:gd name="T35" fmla="*/ 26 h 66"/>
                <a:gd name="T36" fmla="*/ 0 w 67"/>
                <a:gd name="T37" fmla="*/ 33 h 66"/>
                <a:gd name="T38" fmla="*/ 0 w 67"/>
                <a:gd name="T39" fmla="*/ 39 h 66"/>
                <a:gd name="T40" fmla="*/ 2 w 67"/>
                <a:gd name="T41" fmla="*/ 46 h 66"/>
                <a:gd name="T42" fmla="*/ 5 w 67"/>
                <a:gd name="T43" fmla="*/ 52 h 66"/>
                <a:gd name="T44" fmla="*/ 9 w 67"/>
                <a:gd name="T45" fmla="*/ 56 h 66"/>
                <a:gd name="T46" fmla="*/ 15 w 67"/>
                <a:gd name="T47" fmla="*/ 61 h 66"/>
                <a:gd name="T48" fmla="*/ 20 w 67"/>
                <a:gd name="T49" fmla="*/ 64 h 66"/>
                <a:gd name="T50" fmla="*/ 26 w 67"/>
                <a:gd name="T51" fmla="*/ 66 h 66"/>
                <a:gd name="T52" fmla="*/ 33 w 67"/>
                <a:gd name="T53" fmla="*/ 66 h 66"/>
                <a:gd name="T54" fmla="*/ 39 w 67"/>
                <a:gd name="T55" fmla="*/ 66 h 66"/>
                <a:gd name="T56" fmla="*/ 46 w 67"/>
                <a:gd name="T57" fmla="*/ 64 h 66"/>
                <a:gd name="T58" fmla="*/ 52 w 67"/>
                <a:gd name="T59" fmla="*/ 61 h 66"/>
                <a:gd name="T60" fmla="*/ 56 w 67"/>
                <a:gd name="T61" fmla="*/ 56 h 66"/>
                <a:gd name="T62" fmla="*/ 61 w 67"/>
                <a:gd name="T63" fmla="*/ 52 h 66"/>
                <a:gd name="T64" fmla="*/ 64 w 67"/>
                <a:gd name="T65" fmla="*/ 46 h 66"/>
                <a:gd name="T66" fmla="*/ 66 w 67"/>
                <a:gd name="T67" fmla="*/ 39 h 66"/>
                <a:gd name="T68" fmla="*/ 67 w 67"/>
                <a:gd name="T69" fmla="*/ 33 h 66"/>
                <a:gd name="T70" fmla="*/ 66 w 67"/>
                <a:gd name="T71" fmla="*/ 26 h 66"/>
                <a:gd name="T72" fmla="*/ 64 w 67"/>
                <a:gd name="T73" fmla="*/ 20 h 66"/>
                <a:gd name="T74" fmla="*/ 61 w 67"/>
                <a:gd name="T75" fmla="*/ 14 h 66"/>
                <a:gd name="T76" fmla="*/ 56 w 67"/>
                <a:gd name="T77" fmla="*/ 9 h 66"/>
                <a:gd name="T78" fmla="*/ 52 w 67"/>
                <a:gd name="T79" fmla="*/ 5 h 66"/>
                <a:gd name="T80" fmla="*/ 46 w 67"/>
                <a:gd name="T81" fmla="*/ 2 h 66"/>
                <a:gd name="T82" fmla="*/ 39 w 67"/>
                <a:gd name="T83" fmla="*/ 0 h 66"/>
                <a:gd name="T84" fmla="*/ 33 w 67"/>
                <a:gd name="T85" fmla="*/ 0 h 66"/>
                <a:gd name="T86" fmla="*/ 33 w 67"/>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66">
                  <a:moveTo>
                    <a:pt x="30" y="33"/>
                  </a:moveTo>
                  <a:lnTo>
                    <a:pt x="31" y="31"/>
                  </a:lnTo>
                  <a:lnTo>
                    <a:pt x="33" y="30"/>
                  </a:lnTo>
                  <a:lnTo>
                    <a:pt x="36" y="31"/>
                  </a:lnTo>
                  <a:lnTo>
                    <a:pt x="36" y="33"/>
                  </a:lnTo>
                  <a:lnTo>
                    <a:pt x="35" y="35"/>
                  </a:lnTo>
                  <a:lnTo>
                    <a:pt x="33" y="36"/>
                  </a:lnTo>
                  <a:lnTo>
                    <a:pt x="31" y="35"/>
                  </a:lnTo>
                  <a:lnTo>
                    <a:pt x="30" y="33"/>
                  </a:lnTo>
                  <a:lnTo>
                    <a:pt x="30" y="33"/>
                  </a:lnTo>
                  <a:close/>
                  <a:moveTo>
                    <a:pt x="33" y="0"/>
                  </a:moveTo>
                  <a:lnTo>
                    <a:pt x="26" y="0"/>
                  </a:lnTo>
                  <a:lnTo>
                    <a:pt x="20" y="2"/>
                  </a:lnTo>
                  <a:lnTo>
                    <a:pt x="15" y="5"/>
                  </a:lnTo>
                  <a:lnTo>
                    <a:pt x="9" y="9"/>
                  </a:lnTo>
                  <a:lnTo>
                    <a:pt x="5" y="14"/>
                  </a:lnTo>
                  <a:lnTo>
                    <a:pt x="2" y="20"/>
                  </a:lnTo>
                  <a:lnTo>
                    <a:pt x="0" y="26"/>
                  </a:lnTo>
                  <a:lnTo>
                    <a:pt x="0" y="33"/>
                  </a:lnTo>
                  <a:lnTo>
                    <a:pt x="0" y="39"/>
                  </a:lnTo>
                  <a:lnTo>
                    <a:pt x="2" y="46"/>
                  </a:lnTo>
                  <a:lnTo>
                    <a:pt x="5" y="52"/>
                  </a:lnTo>
                  <a:lnTo>
                    <a:pt x="9" y="56"/>
                  </a:lnTo>
                  <a:lnTo>
                    <a:pt x="15" y="61"/>
                  </a:lnTo>
                  <a:lnTo>
                    <a:pt x="20" y="64"/>
                  </a:lnTo>
                  <a:lnTo>
                    <a:pt x="26" y="66"/>
                  </a:lnTo>
                  <a:lnTo>
                    <a:pt x="33" y="66"/>
                  </a:lnTo>
                  <a:lnTo>
                    <a:pt x="39" y="66"/>
                  </a:lnTo>
                  <a:lnTo>
                    <a:pt x="46" y="64"/>
                  </a:lnTo>
                  <a:lnTo>
                    <a:pt x="52" y="61"/>
                  </a:lnTo>
                  <a:lnTo>
                    <a:pt x="56" y="56"/>
                  </a:lnTo>
                  <a:lnTo>
                    <a:pt x="61" y="52"/>
                  </a:lnTo>
                  <a:lnTo>
                    <a:pt x="64" y="46"/>
                  </a:lnTo>
                  <a:lnTo>
                    <a:pt x="66" y="39"/>
                  </a:lnTo>
                  <a:lnTo>
                    <a:pt x="67" y="33"/>
                  </a:lnTo>
                  <a:lnTo>
                    <a:pt x="66" y="26"/>
                  </a:lnTo>
                  <a:lnTo>
                    <a:pt x="64" y="20"/>
                  </a:lnTo>
                  <a:lnTo>
                    <a:pt x="61" y="14"/>
                  </a:lnTo>
                  <a:lnTo>
                    <a:pt x="56" y="9"/>
                  </a:lnTo>
                  <a:lnTo>
                    <a:pt x="52" y="5"/>
                  </a:lnTo>
                  <a:lnTo>
                    <a:pt x="46" y="2"/>
                  </a:lnTo>
                  <a:lnTo>
                    <a:pt x="39"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6">
              <a:extLst>
                <a:ext uri="{FF2B5EF4-FFF2-40B4-BE49-F238E27FC236}">
                  <a16:creationId xmlns:a16="http://schemas.microsoft.com/office/drawing/2014/main" id="{4C5A9DF3-2F93-4D90-8460-B42AC3F4F8C1}"/>
                </a:ext>
              </a:extLst>
            </p:cNvPr>
            <p:cNvSpPr>
              <a:spLocks noEditPoints="1"/>
            </p:cNvSpPr>
            <p:nvPr/>
          </p:nvSpPr>
          <p:spPr bwMode="auto">
            <a:xfrm>
              <a:off x="5021263" y="2036763"/>
              <a:ext cx="22225" cy="20638"/>
            </a:xfrm>
            <a:custGeom>
              <a:avLst/>
              <a:gdLst>
                <a:gd name="T0" fmla="*/ 30 w 67"/>
                <a:gd name="T1" fmla="*/ 33 h 66"/>
                <a:gd name="T2" fmla="*/ 31 w 67"/>
                <a:gd name="T3" fmla="*/ 31 h 66"/>
                <a:gd name="T4" fmla="*/ 33 w 67"/>
                <a:gd name="T5" fmla="*/ 30 h 66"/>
                <a:gd name="T6" fmla="*/ 35 w 67"/>
                <a:gd name="T7" fmla="*/ 31 h 66"/>
                <a:gd name="T8" fmla="*/ 36 w 67"/>
                <a:gd name="T9" fmla="*/ 33 h 66"/>
                <a:gd name="T10" fmla="*/ 35 w 67"/>
                <a:gd name="T11" fmla="*/ 35 h 66"/>
                <a:gd name="T12" fmla="*/ 33 w 67"/>
                <a:gd name="T13" fmla="*/ 36 h 66"/>
                <a:gd name="T14" fmla="*/ 31 w 67"/>
                <a:gd name="T15" fmla="*/ 35 h 66"/>
                <a:gd name="T16" fmla="*/ 30 w 67"/>
                <a:gd name="T17" fmla="*/ 33 h 66"/>
                <a:gd name="T18" fmla="*/ 30 w 67"/>
                <a:gd name="T19" fmla="*/ 33 h 66"/>
                <a:gd name="T20" fmla="*/ 33 w 67"/>
                <a:gd name="T21" fmla="*/ 0 h 66"/>
                <a:gd name="T22" fmla="*/ 27 w 67"/>
                <a:gd name="T23" fmla="*/ 0 h 66"/>
                <a:gd name="T24" fmla="*/ 20 w 67"/>
                <a:gd name="T25" fmla="*/ 2 h 66"/>
                <a:gd name="T26" fmla="*/ 15 w 67"/>
                <a:gd name="T27" fmla="*/ 5 h 66"/>
                <a:gd name="T28" fmla="*/ 10 w 67"/>
                <a:gd name="T29" fmla="*/ 9 h 66"/>
                <a:gd name="T30" fmla="*/ 5 w 67"/>
                <a:gd name="T31" fmla="*/ 14 h 66"/>
                <a:gd name="T32" fmla="*/ 2 w 67"/>
                <a:gd name="T33" fmla="*/ 20 h 66"/>
                <a:gd name="T34" fmla="*/ 0 w 67"/>
                <a:gd name="T35" fmla="*/ 26 h 66"/>
                <a:gd name="T36" fmla="*/ 0 w 67"/>
                <a:gd name="T37" fmla="*/ 33 h 66"/>
                <a:gd name="T38" fmla="*/ 0 w 67"/>
                <a:gd name="T39" fmla="*/ 39 h 66"/>
                <a:gd name="T40" fmla="*/ 2 w 67"/>
                <a:gd name="T41" fmla="*/ 46 h 66"/>
                <a:gd name="T42" fmla="*/ 5 w 67"/>
                <a:gd name="T43" fmla="*/ 52 h 66"/>
                <a:gd name="T44" fmla="*/ 10 w 67"/>
                <a:gd name="T45" fmla="*/ 56 h 66"/>
                <a:gd name="T46" fmla="*/ 15 w 67"/>
                <a:gd name="T47" fmla="*/ 61 h 66"/>
                <a:gd name="T48" fmla="*/ 20 w 67"/>
                <a:gd name="T49" fmla="*/ 64 h 66"/>
                <a:gd name="T50" fmla="*/ 27 w 67"/>
                <a:gd name="T51" fmla="*/ 66 h 66"/>
                <a:gd name="T52" fmla="*/ 33 w 67"/>
                <a:gd name="T53" fmla="*/ 66 h 66"/>
                <a:gd name="T54" fmla="*/ 40 w 67"/>
                <a:gd name="T55" fmla="*/ 66 h 66"/>
                <a:gd name="T56" fmla="*/ 46 w 67"/>
                <a:gd name="T57" fmla="*/ 64 h 66"/>
                <a:gd name="T58" fmla="*/ 52 w 67"/>
                <a:gd name="T59" fmla="*/ 61 h 66"/>
                <a:gd name="T60" fmla="*/ 57 w 67"/>
                <a:gd name="T61" fmla="*/ 56 h 66"/>
                <a:gd name="T62" fmla="*/ 61 w 67"/>
                <a:gd name="T63" fmla="*/ 52 h 66"/>
                <a:gd name="T64" fmla="*/ 64 w 67"/>
                <a:gd name="T65" fmla="*/ 46 h 66"/>
                <a:gd name="T66" fmla="*/ 66 w 67"/>
                <a:gd name="T67" fmla="*/ 39 h 66"/>
                <a:gd name="T68" fmla="*/ 67 w 67"/>
                <a:gd name="T69" fmla="*/ 33 h 66"/>
                <a:gd name="T70" fmla="*/ 66 w 67"/>
                <a:gd name="T71" fmla="*/ 26 h 66"/>
                <a:gd name="T72" fmla="*/ 64 w 67"/>
                <a:gd name="T73" fmla="*/ 20 h 66"/>
                <a:gd name="T74" fmla="*/ 61 w 67"/>
                <a:gd name="T75" fmla="*/ 14 h 66"/>
                <a:gd name="T76" fmla="*/ 57 w 67"/>
                <a:gd name="T77" fmla="*/ 9 h 66"/>
                <a:gd name="T78" fmla="*/ 52 w 67"/>
                <a:gd name="T79" fmla="*/ 5 h 66"/>
                <a:gd name="T80" fmla="*/ 46 w 67"/>
                <a:gd name="T81" fmla="*/ 2 h 66"/>
                <a:gd name="T82" fmla="*/ 40 w 67"/>
                <a:gd name="T83" fmla="*/ 0 h 66"/>
                <a:gd name="T84" fmla="*/ 33 w 67"/>
                <a:gd name="T85" fmla="*/ 0 h 66"/>
                <a:gd name="T86" fmla="*/ 33 w 67"/>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66">
                  <a:moveTo>
                    <a:pt x="30" y="33"/>
                  </a:moveTo>
                  <a:lnTo>
                    <a:pt x="31" y="31"/>
                  </a:lnTo>
                  <a:lnTo>
                    <a:pt x="33" y="30"/>
                  </a:lnTo>
                  <a:lnTo>
                    <a:pt x="35" y="31"/>
                  </a:lnTo>
                  <a:lnTo>
                    <a:pt x="36" y="33"/>
                  </a:lnTo>
                  <a:lnTo>
                    <a:pt x="35" y="35"/>
                  </a:lnTo>
                  <a:lnTo>
                    <a:pt x="33" y="36"/>
                  </a:lnTo>
                  <a:lnTo>
                    <a:pt x="31" y="35"/>
                  </a:lnTo>
                  <a:lnTo>
                    <a:pt x="30" y="33"/>
                  </a:lnTo>
                  <a:lnTo>
                    <a:pt x="30" y="33"/>
                  </a:lnTo>
                  <a:close/>
                  <a:moveTo>
                    <a:pt x="33" y="0"/>
                  </a:moveTo>
                  <a:lnTo>
                    <a:pt x="27" y="0"/>
                  </a:lnTo>
                  <a:lnTo>
                    <a:pt x="20" y="2"/>
                  </a:lnTo>
                  <a:lnTo>
                    <a:pt x="15" y="5"/>
                  </a:lnTo>
                  <a:lnTo>
                    <a:pt x="10" y="9"/>
                  </a:lnTo>
                  <a:lnTo>
                    <a:pt x="5" y="14"/>
                  </a:lnTo>
                  <a:lnTo>
                    <a:pt x="2" y="20"/>
                  </a:lnTo>
                  <a:lnTo>
                    <a:pt x="0" y="26"/>
                  </a:lnTo>
                  <a:lnTo>
                    <a:pt x="0" y="33"/>
                  </a:lnTo>
                  <a:lnTo>
                    <a:pt x="0" y="39"/>
                  </a:lnTo>
                  <a:lnTo>
                    <a:pt x="2" y="46"/>
                  </a:lnTo>
                  <a:lnTo>
                    <a:pt x="5" y="52"/>
                  </a:lnTo>
                  <a:lnTo>
                    <a:pt x="10" y="56"/>
                  </a:lnTo>
                  <a:lnTo>
                    <a:pt x="15" y="61"/>
                  </a:lnTo>
                  <a:lnTo>
                    <a:pt x="20" y="64"/>
                  </a:lnTo>
                  <a:lnTo>
                    <a:pt x="27" y="66"/>
                  </a:lnTo>
                  <a:lnTo>
                    <a:pt x="33" y="66"/>
                  </a:lnTo>
                  <a:lnTo>
                    <a:pt x="40" y="66"/>
                  </a:lnTo>
                  <a:lnTo>
                    <a:pt x="46" y="64"/>
                  </a:lnTo>
                  <a:lnTo>
                    <a:pt x="52" y="61"/>
                  </a:lnTo>
                  <a:lnTo>
                    <a:pt x="57" y="56"/>
                  </a:lnTo>
                  <a:lnTo>
                    <a:pt x="61" y="52"/>
                  </a:lnTo>
                  <a:lnTo>
                    <a:pt x="64" y="46"/>
                  </a:lnTo>
                  <a:lnTo>
                    <a:pt x="66" y="39"/>
                  </a:lnTo>
                  <a:lnTo>
                    <a:pt x="67" y="33"/>
                  </a:lnTo>
                  <a:lnTo>
                    <a:pt x="66" y="26"/>
                  </a:lnTo>
                  <a:lnTo>
                    <a:pt x="64" y="20"/>
                  </a:lnTo>
                  <a:lnTo>
                    <a:pt x="61" y="14"/>
                  </a:lnTo>
                  <a:lnTo>
                    <a:pt x="57" y="9"/>
                  </a:lnTo>
                  <a:lnTo>
                    <a:pt x="52" y="5"/>
                  </a:lnTo>
                  <a:lnTo>
                    <a:pt x="46" y="2"/>
                  </a:lnTo>
                  <a:lnTo>
                    <a:pt x="40"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7">
              <a:extLst>
                <a:ext uri="{FF2B5EF4-FFF2-40B4-BE49-F238E27FC236}">
                  <a16:creationId xmlns:a16="http://schemas.microsoft.com/office/drawing/2014/main" id="{DF7A681E-EA70-420B-B5CC-2B0D68FB4BC7}"/>
                </a:ext>
              </a:extLst>
            </p:cNvPr>
            <p:cNvSpPr>
              <a:spLocks noEditPoints="1"/>
            </p:cNvSpPr>
            <p:nvPr/>
          </p:nvSpPr>
          <p:spPr bwMode="auto">
            <a:xfrm>
              <a:off x="5080000" y="2036763"/>
              <a:ext cx="22225" cy="20638"/>
            </a:xfrm>
            <a:custGeom>
              <a:avLst/>
              <a:gdLst>
                <a:gd name="T0" fmla="*/ 30 w 68"/>
                <a:gd name="T1" fmla="*/ 33 h 66"/>
                <a:gd name="T2" fmla="*/ 31 w 68"/>
                <a:gd name="T3" fmla="*/ 31 h 66"/>
                <a:gd name="T4" fmla="*/ 33 w 68"/>
                <a:gd name="T5" fmla="*/ 30 h 66"/>
                <a:gd name="T6" fmla="*/ 35 w 68"/>
                <a:gd name="T7" fmla="*/ 31 h 66"/>
                <a:gd name="T8" fmla="*/ 36 w 68"/>
                <a:gd name="T9" fmla="*/ 33 h 66"/>
                <a:gd name="T10" fmla="*/ 35 w 68"/>
                <a:gd name="T11" fmla="*/ 35 h 66"/>
                <a:gd name="T12" fmla="*/ 33 w 68"/>
                <a:gd name="T13" fmla="*/ 36 h 66"/>
                <a:gd name="T14" fmla="*/ 31 w 68"/>
                <a:gd name="T15" fmla="*/ 35 h 66"/>
                <a:gd name="T16" fmla="*/ 30 w 68"/>
                <a:gd name="T17" fmla="*/ 33 h 66"/>
                <a:gd name="T18" fmla="*/ 30 w 68"/>
                <a:gd name="T19" fmla="*/ 33 h 66"/>
                <a:gd name="T20" fmla="*/ 33 w 68"/>
                <a:gd name="T21" fmla="*/ 0 h 66"/>
                <a:gd name="T22" fmla="*/ 27 w 68"/>
                <a:gd name="T23" fmla="*/ 0 h 66"/>
                <a:gd name="T24" fmla="*/ 20 w 68"/>
                <a:gd name="T25" fmla="*/ 2 h 66"/>
                <a:gd name="T26" fmla="*/ 15 w 68"/>
                <a:gd name="T27" fmla="*/ 5 h 66"/>
                <a:gd name="T28" fmla="*/ 10 w 68"/>
                <a:gd name="T29" fmla="*/ 9 h 66"/>
                <a:gd name="T30" fmla="*/ 5 w 68"/>
                <a:gd name="T31" fmla="*/ 14 h 66"/>
                <a:gd name="T32" fmla="*/ 2 w 68"/>
                <a:gd name="T33" fmla="*/ 20 h 66"/>
                <a:gd name="T34" fmla="*/ 0 w 68"/>
                <a:gd name="T35" fmla="*/ 26 h 66"/>
                <a:gd name="T36" fmla="*/ 0 w 68"/>
                <a:gd name="T37" fmla="*/ 33 h 66"/>
                <a:gd name="T38" fmla="*/ 0 w 68"/>
                <a:gd name="T39" fmla="*/ 39 h 66"/>
                <a:gd name="T40" fmla="*/ 2 w 68"/>
                <a:gd name="T41" fmla="*/ 46 h 66"/>
                <a:gd name="T42" fmla="*/ 5 w 68"/>
                <a:gd name="T43" fmla="*/ 52 h 66"/>
                <a:gd name="T44" fmla="*/ 10 w 68"/>
                <a:gd name="T45" fmla="*/ 56 h 66"/>
                <a:gd name="T46" fmla="*/ 15 w 68"/>
                <a:gd name="T47" fmla="*/ 61 h 66"/>
                <a:gd name="T48" fmla="*/ 20 w 68"/>
                <a:gd name="T49" fmla="*/ 64 h 66"/>
                <a:gd name="T50" fmla="*/ 27 w 68"/>
                <a:gd name="T51" fmla="*/ 66 h 66"/>
                <a:gd name="T52" fmla="*/ 33 w 68"/>
                <a:gd name="T53" fmla="*/ 66 h 66"/>
                <a:gd name="T54" fmla="*/ 40 w 68"/>
                <a:gd name="T55" fmla="*/ 66 h 66"/>
                <a:gd name="T56" fmla="*/ 46 w 68"/>
                <a:gd name="T57" fmla="*/ 64 h 66"/>
                <a:gd name="T58" fmla="*/ 53 w 68"/>
                <a:gd name="T59" fmla="*/ 61 h 66"/>
                <a:gd name="T60" fmla="*/ 57 w 68"/>
                <a:gd name="T61" fmla="*/ 56 h 66"/>
                <a:gd name="T62" fmla="*/ 61 w 68"/>
                <a:gd name="T63" fmla="*/ 52 h 66"/>
                <a:gd name="T64" fmla="*/ 64 w 68"/>
                <a:gd name="T65" fmla="*/ 46 h 66"/>
                <a:gd name="T66" fmla="*/ 66 w 68"/>
                <a:gd name="T67" fmla="*/ 39 h 66"/>
                <a:gd name="T68" fmla="*/ 68 w 68"/>
                <a:gd name="T69" fmla="*/ 33 h 66"/>
                <a:gd name="T70" fmla="*/ 66 w 68"/>
                <a:gd name="T71" fmla="*/ 26 h 66"/>
                <a:gd name="T72" fmla="*/ 64 w 68"/>
                <a:gd name="T73" fmla="*/ 20 h 66"/>
                <a:gd name="T74" fmla="*/ 61 w 68"/>
                <a:gd name="T75" fmla="*/ 14 h 66"/>
                <a:gd name="T76" fmla="*/ 57 w 68"/>
                <a:gd name="T77" fmla="*/ 9 h 66"/>
                <a:gd name="T78" fmla="*/ 53 w 68"/>
                <a:gd name="T79" fmla="*/ 5 h 66"/>
                <a:gd name="T80" fmla="*/ 46 w 68"/>
                <a:gd name="T81" fmla="*/ 2 h 66"/>
                <a:gd name="T82" fmla="*/ 40 w 68"/>
                <a:gd name="T83" fmla="*/ 0 h 66"/>
                <a:gd name="T84" fmla="*/ 33 w 68"/>
                <a:gd name="T85" fmla="*/ 0 h 66"/>
                <a:gd name="T86" fmla="*/ 33 w 68"/>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66">
                  <a:moveTo>
                    <a:pt x="30" y="33"/>
                  </a:moveTo>
                  <a:lnTo>
                    <a:pt x="31" y="31"/>
                  </a:lnTo>
                  <a:lnTo>
                    <a:pt x="33" y="30"/>
                  </a:lnTo>
                  <a:lnTo>
                    <a:pt x="35" y="31"/>
                  </a:lnTo>
                  <a:lnTo>
                    <a:pt x="36" y="33"/>
                  </a:lnTo>
                  <a:lnTo>
                    <a:pt x="35" y="35"/>
                  </a:lnTo>
                  <a:lnTo>
                    <a:pt x="33" y="36"/>
                  </a:lnTo>
                  <a:lnTo>
                    <a:pt x="31" y="35"/>
                  </a:lnTo>
                  <a:lnTo>
                    <a:pt x="30" y="33"/>
                  </a:lnTo>
                  <a:lnTo>
                    <a:pt x="30" y="33"/>
                  </a:lnTo>
                  <a:close/>
                  <a:moveTo>
                    <a:pt x="33" y="0"/>
                  </a:moveTo>
                  <a:lnTo>
                    <a:pt x="27" y="0"/>
                  </a:lnTo>
                  <a:lnTo>
                    <a:pt x="20" y="2"/>
                  </a:lnTo>
                  <a:lnTo>
                    <a:pt x="15" y="5"/>
                  </a:lnTo>
                  <a:lnTo>
                    <a:pt x="10" y="9"/>
                  </a:lnTo>
                  <a:lnTo>
                    <a:pt x="5" y="14"/>
                  </a:lnTo>
                  <a:lnTo>
                    <a:pt x="2" y="20"/>
                  </a:lnTo>
                  <a:lnTo>
                    <a:pt x="0" y="26"/>
                  </a:lnTo>
                  <a:lnTo>
                    <a:pt x="0" y="33"/>
                  </a:lnTo>
                  <a:lnTo>
                    <a:pt x="0" y="39"/>
                  </a:lnTo>
                  <a:lnTo>
                    <a:pt x="2" y="46"/>
                  </a:lnTo>
                  <a:lnTo>
                    <a:pt x="5" y="52"/>
                  </a:lnTo>
                  <a:lnTo>
                    <a:pt x="10" y="56"/>
                  </a:lnTo>
                  <a:lnTo>
                    <a:pt x="15" y="61"/>
                  </a:lnTo>
                  <a:lnTo>
                    <a:pt x="20" y="64"/>
                  </a:lnTo>
                  <a:lnTo>
                    <a:pt x="27" y="66"/>
                  </a:lnTo>
                  <a:lnTo>
                    <a:pt x="33" y="66"/>
                  </a:lnTo>
                  <a:lnTo>
                    <a:pt x="40" y="66"/>
                  </a:lnTo>
                  <a:lnTo>
                    <a:pt x="46" y="64"/>
                  </a:lnTo>
                  <a:lnTo>
                    <a:pt x="53" y="61"/>
                  </a:lnTo>
                  <a:lnTo>
                    <a:pt x="57" y="56"/>
                  </a:lnTo>
                  <a:lnTo>
                    <a:pt x="61" y="52"/>
                  </a:lnTo>
                  <a:lnTo>
                    <a:pt x="64" y="46"/>
                  </a:lnTo>
                  <a:lnTo>
                    <a:pt x="66" y="39"/>
                  </a:lnTo>
                  <a:lnTo>
                    <a:pt x="68" y="33"/>
                  </a:lnTo>
                  <a:lnTo>
                    <a:pt x="66" y="26"/>
                  </a:lnTo>
                  <a:lnTo>
                    <a:pt x="64" y="20"/>
                  </a:lnTo>
                  <a:lnTo>
                    <a:pt x="61" y="14"/>
                  </a:lnTo>
                  <a:lnTo>
                    <a:pt x="57" y="9"/>
                  </a:lnTo>
                  <a:lnTo>
                    <a:pt x="53" y="5"/>
                  </a:lnTo>
                  <a:lnTo>
                    <a:pt x="46" y="2"/>
                  </a:lnTo>
                  <a:lnTo>
                    <a:pt x="40"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0" name="Group 99">
            <a:extLst>
              <a:ext uri="{FF2B5EF4-FFF2-40B4-BE49-F238E27FC236}">
                <a16:creationId xmlns:a16="http://schemas.microsoft.com/office/drawing/2014/main" id="{4D9F94E0-E57B-4A90-B682-0E77F5BA2C63}"/>
              </a:ext>
            </a:extLst>
          </p:cNvPr>
          <p:cNvGrpSpPr>
            <a:grpSpLocks noChangeAspect="1"/>
          </p:cNvGrpSpPr>
          <p:nvPr/>
        </p:nvGrpSpPr>
        <p:grpSpPr>
          <a:xfrm>
            <a:off x="671400" y="5417577"/>
            <a:ext cx="285398" cy="285619"/>
            <a:chOff x="885825" y="3556001"/>
            <a:chExt cx="692150" cy="692150"/>
          </a:xfrm>
          <a:solidFill>
            <a:schemeClr val="bg2"/>
          </a:solidFill>
          <a:effectLst/>
        </p:grpSpPr>
        <p:sp>
          <p:nvSpPr>
            <p:cNvPr id="411" name="Freeform 154">
              <a:extLst>
                <a:ext uri="{FF2B5EF4-FFF2-40B4-BE49-F238E27FC236}">
                  <a16:creationId xmlns:a16="http://schemas.microsoft.com/office/drawing/2014/main" id="{2F285887-B442-4B79-AA9A-F7E9F7579821}"/>
                </a:ext>
              </a:extLst>
            </p:cNvPr>
            <p:cNvSpPr>
              <a:spLocks noEditPoints="1"/>
            </p:cNvSpPr>
            <p:nvPr/>
          </p:nvSpPr>
          <p:spPr bwMode="auto">
            <a:xfrm>
              <a:off x="885825" y="3556001"/>
              <a:ext cx="692150" cy="692150"/>
            </a:xfrm>
            <a:custGeom>
              <a:avLst/>
              <a:gdLst>
                <a:gd name="T0" fmla="*/ 558 w 1309"/>
                <a:gd name="T1" fmla="*/ 1155 h 1309"/>
                <a:gd name="T2" fmla="*/ 745 w 1309"/>
                <a:gd name="T3" fmla="*/ 1158 h 1309"/>
                <a:gd name="T4" fmla="*/ 926 w 1309"/>
                <a:gd name="T5" fmla="*/ 1092 h 1309"/>
                <a:gd name="T6" fmla="*/ 946 w 1309"/>
                <a:gd name="T7" fmla="*/ 1075 h 1309"/>
                <a:gd name="T8" fmla="*/ 1077 w 1309"/>
                <a:gd name="T9" fmla="*/ 941 h 1309"/>
                <a:gd name="T10" fmla="*/ 1158 w 1309"/>
                <a:gd name="T11" fmla="*/ 768 h 1309"/>
                <a:gd name="T12" fmla="*/ 1246 w 1309"/>
                <a:gd name="T13" fmla="*/ 654 h 1309"/>
                <a:gd name="T14" fmla="*/ 1159 w 1309"/>
                <a:gd name="T15" fmla="*/ 542 h 1309"/>
                <a:gd name="T16" fmla="*/ 1083 w 1309"/>
                <a:gd name="T17" fmla="*/ 373 h 1309"/>
                <a:gd name="T18" fmla="*/ 959 w 1309"/>
                <a:gd name="T19" fmla="*/ 237 h 1309"/>
                <a:gd name="T20" fmla="*/ 929 w 1309"/>
                <a:gd name="T21" fmla="*/ 221 h 1309"/>
                <a:gd name="T22" fmla="*/ 762 w 1309"/>
                <a:gd name="T23" fmla="*/ 153 h 1309"/>
                <a:gd name="T24" fmla="*/ 575 w 1309"/>
                <a:gd name="T25" fmla="*/ 143 h 1309"/>
                <a:gd name="T26" fmla="*/ 533 w 1309"/>
                <a:gd name="T27" fmla="*/ 152 h 1309"/>
                <a:gd name="T28" fmla="*/ 370 w 1309"/>
                <a:gd name="T29" fmla="*/ 228 h 1309"/>
                <a:gd name="T30" fmla="*/ 236 w 1309"/>
                <a:gd name="T31" fmla="*/ 350 h 1309"/>
                <a:gd name="T32" fmla="*/ 219 w 1309"/>
                <a:gd name="T33" fmla="*/ 384 h 1309"/>
                <a:gd name="T34" fmla="*/ 153 w 1309"/>
                <a:gd name="T35" fmla="*/ 555 h 1309"/>
                <a:gd name="T36" fmla="*/ 150 w 1309"/>
                <a:gd name="T37" fmla="*/ 743 h 1309"/>
                <a:gd name="T38" fmla="*/ 213 w 1309"/>
                <a:gd name="T39" fmla="*/ 919 h 1309"/>
                <a:gd name="T40" fmla="*/ 235 w 1309"/>
                <a:gd name="T41" fmla="*/ 948 h 1309"/>
                <a:gd name="T42" fmla="*/ 369 w 1309"/>
                <a:gd name="T43" fmla="*/ 1078 h 1309"/>
                <a:gd name="T44" fmla="*/ 428 w 1309"/>
                <a:gd name="T45" fmla="*/ 1201 h 1309"/>
                <a:gd name="T46" fmla="*/ 650 w 1309"/>
                <a:gd name="T47" fmla="*/ 1309 h 1309"/>
                <a:gd name="T48" fmla="*/ 424 w 1309"/>
                <a:gd name="T49" fmla="*/ 1259 h 1309"/>
                <a:gd name="T50" fmla="*/ 399 w 1309"/>
                <a:gd name="T51" fmla="*/ 1256 h 1309"/>
                <a:gd name="T52" fmla="*/ 211 w 1309"/>
                <a:gd name="T53" fmla="*/ 1125 h 1309"/>
                <a:gd name="T54" fmla="*/ 189 w 1309"/>
                <a:gd name="T55" fmla="*/ 1114 h 1309"/>
                <a:gd name="T56" fmla="*/ 61 w 1309"/>
                <a:gd name="T57" fmla="*/ 911 h 1309"/>
                <a:gd name="T58" fmla="*/ 45 w 1309"/>
                <a:gd name="T59" fmla="*/ 892 h 1309"/>
                <a:gd name="T60" fmla="*/ 7 w 1309"/>
                <a:gd name="T61" fmla="*/ 673 h 1309"/>
                <a:gd name="T62" fmla="*/ 0 w 1309"/>
                <a:gd name="T63" fmla="*/ 650 h 1309"/>
                <a:gd name="T64" fmla="*/ 48 w 1309"/>
                <a:gd name="T65" fmla="*/ 431 h 1309"/>
                <a:gd name="T66" fmla="*/ 51 w 1309"/>
                <a:gd name="T67" fmla="*/ 405 h 1309"/>
                <a:gd name="T68" fmla="*/ 185 w 1309"/>
                <a:gd name="T69" fmla="*/ 343 h 1309"/>
                <a:gd name="T70" fmla="*/ 189 w 1309"/>
                <a:gd name="T71" fmla="*/ 196 h 1309"/>
                <a:gd name="T72" fmla="*/ 211 w 1309"/>
                <a:gd name="T73" fmla="*/ 185 h 1309"/>
                <a:gd name="T74" fmla="*/ 399 w 1309"/>
                <a:gd name="T75" fmla="*/ 52 h 1309"/>
                <a:gd name="T76" fmla="*/ 424 w 1309"/>
                <a:gd name="T77" fmla="*/ 49 h 1309"/>
                <a:gd name="T78" fmla="*/ 650 w 1309"/>
                <a:gd name="T79" fmla="*/ 0 h 1309"/>
                <a:gd name="T80" fmla="*/ 673 w 1309"/>
                <a:gd name="T81" fmla="*/ 8 h 1309"/>
                <a:gd name="T82" fmla="*/ 902 w 1309"/>
                <a:gd name="T83" fmla="*/ 49 h 1309"/>
                <a:gd name="T84" fmla="*/ 920 w 1309"/>
                <a:gd name="T85" fmla="*/ 64 h 1309"/>
                <a:gd name="T86" fmla="*/ 1113 w 1309"/>
                <a:gd name="T87" fmla="*/ 189 h 1309"/>
                <a:gd name="T88" fmla="*/ 1125 w 1309"/>
                <a:gd name="T89" fmla="*/ 211 h 1309"/>
                <a:gd name="T90" fmla="*/ 1255 w 1309"/>
                <a:gd name="T91" fmla="*/ 401 h 1309"/>
                <a:gd name="T92" fmla="*/ 1265 w 1309"/>
                <a:gd name="T93" fmla="*/ 424 h 1309"/>
                <a:gd name="T94" fmla="*/ 1305 w 1309"/>
                <a:gd name="T95" fmla="*/ 640 h 1309"/>
                <a:gd name="T96" fmla="*/ 1308 w 1309"/>
                <a:gd name="T97" fmla="*/ 664 h 1309"/>
                <a:gd name="T98" fmla="*/ 1263 w 1309"/>
                <a:gd name="T99" fmla="*/ 885 h 1309"/>
                <a:gd name="T100" fmla="*/ 1257 w 1309"/>
                <a:gd name="T101" fmla="*/ 908 h 1309"/>
                <a:gd name="T102" fmla="*/ 1125 w 1309"/>
                <a:gd name="T103" fmla="*/ 1105 h 1309"/>
                <a:gd name="T104" fmla="*/ 1109 w 1309"/>
                <a:gd name="T105" fmla="*/ 1124 h 1309"/>
                <a:gd name="T106" fmla="*/ 918 w 1309"/>
                <a:gd name="T107" fmla="*/ 1250 h 1309"/>
                <a:gd name="T108" fmla="*/ 896 w 1309"/>
                <a:gd name="T109" fmla="*/ 1262 h 1309"/>
                <a:gd name="T110" fmla="*/ 670 w 1309"/>
                <a:gd name="T111" fmla="*/ 1305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9" h="1309">
                  <a:moveTo>
                    <a:pt x="547" y="1154"/>
                  </a:moveTo>
                  <a:lnTo>
                    <a:pt x="550" y="1154"/>
                  </a:lnTo>
                  <a:lnTo>
                    <a:pt x="552" y="1154"/>
                  </a:lnTo>
                  <a:lnTo>
                    <a:pt x="555" y="1155"/>
                  </a:lnTo>
                  <a:lnTo>
                    <a:pt x="558" y="1155"/>
                  </a:lnTo>
                  <a:lnTo>
                    <a:pt x="565" y="1158"/>
                  </a:lnTo>
                  <a:lnTo>
                    <a:pt x="571" y="1163"/>
                  </a:lnTo>
                  <a:lnTo>
                    <a:pt x="655" y="1246"/>
                  </a:lnTo>
                  <a:lnTo>
                    <a:pt x="739" y="1163"/>
                  </a:lnTo>
                  <a:lnTo>
                    <a:pt x="745" y="1158"/>
                  </a:lnTo>
                  <a:lnTo>
                    <a:pt x="752" y="1155"/>
                  </a:lnTo>
                  <a:lnTo>
                    <a:pt x="762" y="1154"/>
                  </a:lnTo>
                  <a:lnTo>
                    <a:pt x="772" y="1155"/>
                  </a:lnTo>
                  <a:lnTo>
                    <a:pt x="882" y="1201"/>
                  </a:lnTo>
                  <a:lnTo>
                    <a:pt x="926" y="1092"/>
                  </a:lnTo>
                  <a:lnTo>
                    <a:pt x="931" y="1085"/>
                  </a:lnTo>
                  <a:lnTo>
                    <a:pt x="936" y="1080"/>
                  </a:lnTo>
                  <a:lnTo>
                    <a:pt x="938" y="1079"/>
                  </a:lnTo>
                  <a:lnTo>
                    <a:pt x="939" y="1079"/>
                  </a:lnTo>
                  <a:lnTo>
                    <a:pt x="946" y="1075"/>
                  </a:lnTo>
                  <a:lnTo>
                    <a:pt x="955" y="1073"/>
                  </a:lnTo>
                  <a:lnTo>
                    <a:pt x="1073" y="1073"/>
                  </a:lnTo>
                  <a:lnTo>
                    <a:pt x="1073" y="955"/>
                  </a:lnTo>
                  <a:lnTo>
                    <a:pt x="1075" y="948"/>
                  </a:lnTo>
                  <a:lnTo>
                    <a:pt x="1077" y="941"/>
                  </a:lnTo>
                  <a:lnTo>
                    <a:pt x="1083" y="934"/>
                  </a:lnTo>
                  <a:lnTo>
                    <a:pt x="1089" y="926"/>
                  </a:lnTo>
                  <a:lnTo>
                    <a:pt x="1096" y="922"/>
                  </a:lnTo>
                  <a:lnTo>
                    <a:pt x="1204" y="876"/>
                  </a:lnTo>
                  <a:lnTo>
                    <a:pt x="1158" y="768"/>
                  </a:lnTo>
                  <a:lnTo>
                    <a:pt x="1157" y="761"/>
                  </a:lnTo>
                  <a:lnTo>
                    <a:pt x="1157" y="754"/>
                  </a:lnTo>
                  <a:lnTo>
                    <a:pt x="1159" y="745"/>
                  </a:lnTo>
                  <a:lnTo>
                    <a:pt x="1164" y="738"/>
                  </a:lnTo>
                  <a:lnTo>
                    <a:pt x="1246" y="654"/>
                  </a:lnTo>
                  <a:lnTo>
                    <a:pt x="1165" y="574"/>
                  </a:lnTo>
                  <a:lnTo>
                    <a:pt x="1159" y="566"/>
                  </a:lnTo>
                  <a:lnTo>
                    <a:pt x="1158" y="559"/>
                  </a:lnTo>
                  <a:lnTo>
                    <a:pt x="1157" y="551"/>
                  </a:lnTo>
                  <a:lnTo>
                    <a:pt x="1159" y="542"/>
                  </a:lnTo>
                  <a:lnTo>
                    <a:pt x="1204" y="437"/>
                  </a:lnTo>
                  <a:lnTo>
                    <a:pt x="1099" y="391"/>
                  </a:lnTo>
                  <a:lnTo>
                    <a:pt x="1093" y="386"/>
                  </a:lnTo>
                  <a:lnTo>
                    <a:pt x="1087" y="381"/>
                  </a:lnTo>
                  <a:lnTo>
                    <a:pt x="1083" y="373"/>
                  </a:lnTo>
                  <a:lnTo>
                    <a:pt x="1077" y="366"/>
                  </a:lnTo>
                  <a:lnTo>
                    <a:pt x="1075" y="359"/>
                  </a:lnTo>
                  <a:lnTo>
                    <a:pt x="1073" y="350"/>
                  </a:lnTo>
                  <a:lnTo>
                    <a:pt x="1073" y="237"/>
                  </a:lnTo>
                  <a:lnTo>
                    <a:pt x="959" y="237"/>
                  </a:lnTo>
                  <a:lnTo>
                    <a:pt x="952" y="235"/>
                  </a:lnTo>
                  <a:lnTo>
                    <a:pt x="945" y="232"/>
                  </a:lnTo>
                  <a:lnTo>
                    <a:pt x="941" y="228"/>
                  </a:lnTo>
                  <a:lnTo>
                    <a:pt x="935" y="225"/>
                  </a:lnTo>
                  <a:lnTo>
                    <a:pt x="929" y="221"/>
                  </a:lnTo>
                  <a:lnTo>
                    <a:pt x="926" y="214"/>
                  </a:lnTo>
                  <a:lnTo>
                    <a:pt x="882" y="108"/>
                  </a:lnTo>
                  <a:lnTo>
                    <a:pt x="778" y="152"/>
                  </a:lnTo>
                  <a:lnTo>
                    <a:pt x="769" y="153"/>
                  </a:lnTo>
                  <a:lnTo>
                    <a:pt x="762" y="153"/>
                  </a:lnTo>
                  <a:lnTo>
                    <a:pt x="751" y="150"/>
                  </a:lnTo>
                  <a:lnTo>
                    <a:pt x="742" y="149"/>
                  </a:lnTo>
                  <a:lnTo>
                    <a:pt x="735" y="143"/>
                  </a:lnTo>
                  <a:lnTo>
                    <a:pt x="655" y="64"/>
                  </a:lnTo>
                  <a:lnTo>
                    <a:pt x="575" y="143"/>
                  </a:lnTo>
                  <a:lnTo>
                    <a:pt x="569" y="149"/>
                  </a:lnTo>
                  <a:lnTo>
                    <a:pt x="560" y="150"/>
                  </a:lnTo>
                  <a:lnTo>
                    <a:pt x="549" y="153"/>
                  </a:lnTo>
                  <a:lnTo>
                    <a:pt x="540" y="153"/>
                  </a:lnTo>
                  <a:lnTo>
                    <a:pt x="533" y="152"/>
                  </a:lnTo>
                  <a:lnTo>
                    <a:pt x="428" y="108"/>
                  </a:lnTo>
                  <a:lnTo>
                    <a:pt x="385" y="214"/>
                  </a:lnTo>
                  <a:lnTo>
                    <a:pt x="380" y="221"/>
                  </a:lnTo>
                  <a:lnTo>
                    <a:pt x="375" y="225"/>
                  </a:lnTo>
                  <a:lnTo>
                    <a:pt x="370" y="228"/>
                  </a:lnTo>
                  <a:lnTo>
                    <a:pt x="366" y="232"/>
                  </a:lnTo>
                  <a:lnTo>
                    <a:pt x="359" y="235"/>
                  </a:lnTo>
                  <a:lnTo>
                    <a:pt x="350" y="237"/>
                  </a:lnTo>
                  <a:lnTo>
                    <a:pt x="236" y="237"/>
                  </a:lnTo>
                  <a:lnTo>
                    <a:pt x="236" y="350"/>
                  </a:lnTo>
                  <a:lnTo>
                    <a:pt x="235" y="359"/>
                  </a:lnTo>
                  <a:lnTo>
                    <a:pt x="232" y="366"/>
                  </a:lnTo>
                  <a:lnTo>
                    <a:pt x="228" y="372"/>
                  </a:lnTo>
                  <a:lnTo>
                    <a:pt x="225" y="376"/>
                  </a:lnTo>
                  <a:lnTo>
                    <a:pt x="219" y="384"/>
                  </a:lnTo>
                  <a:lnTo>
                    <a:pt x="212" y="389"/>
                  </a:lnTo>
                  <a:lnTo>
                    <a:pt x="107" y="434"/>
                  </a:lnTo>
                  <a:lnTo>
                    <a:pt x="151" y="540"/>
                  </a:lnTo>
                  <a:lnTo>
                    <a:pt x="153" y="548"/>
                  </a:lnTo>
                  <a:lnTo>
                    <a:pt x="153" y="555"/>
                  </a:lnTo>
                  <a:lnTo>
                    <a:pt x="150" y="565"/>
                  </a:lnTo>
                  <a:lnTo>
                    <a:pt x="146" y="574"/>
                  </a:lnTo>
                  <a:lnTo>
                    <a:pt x="64" y="654"/>
                  </a:lnTo>
                  <a:lnTo>
                    <a:pt x="146" y="738"/>
                  </a:lnTo>
                  <a:lnTo>
                    <a:pt x="150" y="743"/>
                  </a:lnTo>
                  <a:lnTo>
                    <a:pt x="153" y="751"/>
                  </a:lnTo>
                  <a:lnTo>
                    <a:pt x="153" y="759"/>
                  </a:lnTo>
                  <a:lnTo>
                    <a:pt x="151" y="767"/>
                  </a:lnTo>
                  <a:lnTo>
                    <a:pt x="105" y="873"/>
                  </a:lnTo>
                  <a:lnTo>
                    <a:pt x="213" y="919"/>
                  </a:lnTo>
                  <a:lnTo>
                    <a:pt x="219" y="923"/>
                  </a:lnTo>
                  <a:lnTo>
                    <a:pt x="225" y="929"/>
                  </a:lnTo>
                  <a:lnTo>
                    <a:pt x="229" y="936"/>
                  </a:lnTo>
                  <a:lnTo>
                    <a:pt x="232" y="941"/>
                  </a:lnTo>
                  <a:lnTo>
                    <a:pt x="235" y="948"/>
                  </a:lnTo>
                  <a:lnTo>
                    <a:pt x="236" y="955"/>
                  </a:lnTo>
                  <a:lnTo>
                    <a:pt x="236" y="1073"/>
                  </a:lnTo>
                  <a:lnTo>
                    <a:pt x="355" y="1073"/>
                  </a:lnTo>
                  <a:lnTo>
                    <a:pt x="362" y="1075"/>
                  </a:lnTo>
                  <a:lnTo>
                    <a:pt x="369" y="1078"/>
                  </a:lnTo>
                  <a:lnTo>
                    <a:pt x="372" y="1079"/>
                  </a:lnTo>
                  <a:lnTo>
                    <a:pt x="373" y="1080"/>
                  </a:lnTo>
                  <a:lnTo>
                    <a:pt x="379" y="1085"/>
                  </a:lnTo>
                  <a:lnTo>
                    <a:pt x="383" y="1092"/>
                  </a:lnTo>
                  <a:lnTo>
                    <a:pt x="428" y="1201"/>
                  </a:lnTo>
                  <a:lnTo>
                    <a:pt x="537" y="1155"/>
                  </a:lnTo>
                  <a:lnTo>
                    <a:pt x="542" y="1154"/>
                  </a:lnTo>
                  <a:lnTo>
                    <a:pt x="547" y="1154"/>
                  </a:lnTo>
                  <a:close/>
                  <a:moveTo>
                    <a:pt x="655" y="1309"/>
                  </a:moveTo>
                  <a:lnTo>
                    <a:pt x="650" y="1309"/>
                  </a:lnTo>
                  <a:lnTo>
                    <a:pt x="645" y="1308"/>
                  </a:lnTo>
                  <a:lnTo>
                    <a:pt x="641" y="1305"/>
                  </a:lnTo>
                  <a:lnTo>
                    <a:pt x="637" y="1302"/>
                  </a:lnTo>
                  <a:lnTo>
                    <a:pt x="545" y="1210"/>
                  </a:lnTo>
                  <a:lnTo>
                    <a:pt x="424" y="1259"/>
                  </a:lnTo>
                  <a:lnTo>
                    <a:pt x="419" y="1260"/>
                  </a:lnTo>
                  <a:lnTo>
                    <a:pt x="414" y="1262"/>
                  </a:lnTo>
                  <a:lnTo>
                    <a:pt x="409" y="1260"/>
                  </a:lnTo>
                  <a:lnTo>
                    <a:pt x="403" y="1259"/>
                  </a:lnTo>
                  <a:lnTo>
                    <a:pt x="399" y="1256"/>
                  </a:lnTo>
                  <a:lnTo>
                    <a:pt x="395" y="1253"/>
                  </a:lnTo>
                  <a:lnTo>
                    <a:pt x="392" y="1249"/>
                  </a:lnTo>
                  <a:lnTo>
                    <a:pt x="389" y="1245"/>
                  </a:lnTo>
                  <a:lnTo>
                    <a:pt x="340" y="1125"/>
                  </a:lnTo>
                  <a:lnTo>
                    <a:pt x="211" y="1125"/>
                  </a:lnTo>
                  <a:lnTo>
                    <a:pt x="205" y="1125"/>
                  </a:lnTo>
                  <a:lnTo>
                    <a:pt x="200" y="1124"/>
                  </a:lnTo>
                  <a:lnTo>
                    <a:pt x="196" y="1121"/>
                  </a:lnTo>
                  <a:lnTo>
                    <a:pt x="192" y="1118"/>
                  </a:lnTo>
                  <a:lnTo>
                    <a:pt x="189" y="1114"/>
                  </a:lnTo>
                  <a:lnTo>
                    <a:pt x="186" y="1109"/>
                  </a:lnTo>
                  <a:lnTo>
                    <a:pt x="185" y="1105"/>
                  </a:lnTo>
                  <a:lnTo>
                    <a:pt x="185" y="1099"/>
                  </a:lnTo>
                  <a:lnTo>
                    <a:pt x="185" y="964"/>
                  </a:lnTo>
                  <a:lnTo>
                    <a:pt x="61" y="911"/>
                  </a:lnTo>
                  <a:lnTo>
                    <a:pt x="56" y="908"/>
                  </a:lnTo>
                  <a:lnTo>
                    <a:pt x="52" y="905"/>
                  </a:lnTo>
                  <a:lnTo>
                    <a:pt x="49" y="900"/>
                  </a:lnTo>
                  <a:lnTo>
                    <a:pt x="46" y="896"/>
                  </a:lnTo>
                  <a:lnTo>
                    <a:pt x="45" y="892"/>
                  </a:lnTo>
                  <a:lnTo>
                    <a:pt x="45" y="886"/>
                  </a:lnTo>
                  <a:lnTo>
                    <a:pt x="45" y="882"/>
                  </a:lnTo>
                  <a:lnTo>
                    <a:pt x="46" y="876"/>
                  </a:lnTo>
                  <a:lnTo>
                    <a:pt x="97" y="762"/>
                  </a:lnTo>
                  <a:lnTo>
                    <a:pt x="7" y="673"/>
                  </a:lnTo>
                  <a:lnTo>
                    <a:pt x="5" y="669"/>
                  </a:lnTo>
                  <a:lnTo>
                    <a:pt x="2" y="664"/>
                  </a:lnTo>
                  <a:lnTo>
                    <a:pt x="0" y="660"/>
                  </a:lnTo>
                  <a:lnTo>
                    <a:pt x="0" y="654"/>
                  </a:lnTo>
                  <a:lnTo>
                    <a:pt x="0" y="650"/>
                  </a:lnTo>
                  <a:lnTo>
                    <a:pt x="2" y="646"/>
                  </a:lnTo>
                  <a:lnTo>
                    <a:pt x="5" y="640"/>
                  </a:lnTo>
                  <a:lnTo>
                    <a:pt x="7" y="637"/>
                  </a:lnTo>
                  <a:lnTo>
                    <a:pt x="98" y="546"/>
                  </a:lnTo>
                  <a:lnTo>
                    <a:pt x="48" y="431"/>
                  </a:lnTo>
                  <a:lnTo>
                    <a:pt x="46" y="425"/>
                  </a:lnTo>
                  <a:lnTo>
                    <a:pt x="46" y="421"/>
                  </a:lnTo>
                  <a:lnTo>
                    <a:pt x="46" y="415"/>
                  </a:lnTo>
                  <a:lnTo>
                    <a:pt x="48" y="411"/>
                  </a:lnTo>
                  <a:lnTo>
                    <a:pt x="51" y="405"/>
                  </a:lnTo>
                  <a:lnTo>
                    <a:pt x="54" y="402"/>
                  </a:lnTo>
                  <a:lnTo>
                    <a:pt x="56" y="398"/>
                  </a:lnTo>
                  <a:lnTo>
                    <a:pt x="62" y="396"/>
                  </a:lnTo>
                  <a:lnTo>
                    <a:pt x="183" y="345"/>
                  </a:lnTo>
                  <a:lnTo>
                    <a:pt x="185" y="343"/>
                  </a:lnTo>
                  <a:lnTo>
                    <a:pt x="185" y="343"/>
                  </a:lnTo>
                  <a:lnTo>
                    <a:pt x="185" y="211"/>
                  </a:lnTo>
                  <a:lnTo>
                    <a:pt x="185" y="205"/>
                  </a:lnTo>
                  <a:lnTo>
                    <a:pt x="186" y="201"/>
                  </a:lnTo>
                  <a:lnTo>
                    <a:pt x="189" y="196"/>
                  </a:lnTo>
                  <a:lnTo>
                    <a:pt x="192" y="192"/>
                  </a:lnTo>
                  <a:lnTo>
                    <a:pt x="196" y="189"/>
                  </a:lnTo>
                  <a:lnTo>
                    <a:pt x="200" y="186"/>
                  </a:lnTo>
                  <a:lnTo>
                    <a:pt x="205" y="185"/>
                  </a:lnTo>
                  <a:lnTo>
                    <a:pt x="211" y="185"/>
                  </a:lnTo>
                  <a:lnTo>
                    <a:pt x="340" y="185"/>
                  </a:lnTo>
                  <a:lnTo>
                    <a:pt x="391" y="64"/>
                  </a:lnTo>
                  <a:lnTo>
                    <a:pt x="392" y="60"/>
                  </a:lnTo>
                  <a:lnTo>
                    <a:pt x="396" y="55"/>
                  </a:lnTo>
                  <a:lnTo>
                    <a:pt x="399" y="52"/>
                  </a:lnTo>
                  <a:lnTo>
                    <a:pt x="403" y="49"/>
                  </a:lnTo>
                  <a:lnTo>
                    <a:pt x="409" y="48"/>
                  </a:lnTo>
                  <a:lnTo>
                    <a:pt x="414" y="48"/>
                  </a:lnTo>
                  <a:lnTo>
                    <a:pt x="419" y="48"/>
                  </a:lnTo>
                  <a:lnTo>
                    <a:pt x="424" y="49"/>
                  </a:lnTo>
                  <a:lnTo>
                    <a:pt x="545" y="100"/>
                  </a:lnTo>
                  <a:lnTo>
                    <a:pt x="637" y="8"/>
                  </a:lnTo>
                  <a:lnTo>
                    <a:pt x="641" y="5"/>
                  </a:lnTo>
                  <a:lnTo>
                    <a:pt x="645" y="2"/>
                  </a:lnTo>
                  <a:lnTo>
                    <a:pt x="650" y="0"/>
                  </a:lnTo>
                  <a:lnTo>
                    <a:pt x="655" y="0"/>
                  </a:lnTo>
                  <a:lnTo>
                    <a:pt x="660" y="0"/>
                  </a:lnTo>
                  <a:lnTo>
                    <a:pt x="664" y="2"/>
                  </a:lnTo>
                  <a:lnTo>
                    <a:pt x="670" y="5"/>
                  </a:lnTo>
                  <a:lnTo>
                    <a:pt x="673" y="8"/>
                  </a:lnTo>
                  <a:lnTo>
                    <a:pt x="766" y="100"/>
                  </a:lnTo>
                  <a:lnTo>
                    <a:pt x="886" y="51"/>
                  </a:lnTo>
                  <a:lnTo>
                    <a:pt x="892" y="48"/>
                  </a:lnTo>
                  <a:lnTo>
                    <a:pt x="896" y="48"/>
                  </a:lnTo>
                  <a:lnTo>
                    <a:pt x="902" y="49"/>
                  </a:lnTo>
                  <a:lnTo>
                    <a:pt x="906" y="51"/>
                  </a:lnTo>
                  <a:lnTo>
                    <a:pt x="910" y="52"/>
                  </a:lnTo>
                  <a:lnTo>
                    <a:pt x="915" y="55"/>
                  </a:lnTo>
                  <a:lnTo>
                    <a:pt x="918" y="60"/>
                  </a:lnTo>
                  <a:lnTo>
                    <a:pt x="920" y="64"/>
                  </a:lnTo>
                  <a:lnTo>
                    <a:pt x="969" y="185"/>
                  </a:lnTo>
                  <a:lnTo>
                    <a:pt x="1099" y="185"/>
                  </a:lnTo>
                  <a:lnTo>
                    <a:pt x="1105" y="185"/>
                  </a:lnTo>
                  <a:lnTo>
                    <a:pt x="1109" y="186"/>
                  </a:lnTo>
                  <a:lnTo>
                    <a:pt x="1113" y="189"/>
                  </a:lnTo>
                  <a:lnTo>
                    <a:pt x="1118" y="192"/>
                  </a:lnTo>
                  <a:lnTo>
                    <a:pt x="1121" y="196"/>
                  </a:lnTo>
                  <a:lnTo>
                    <a:pt x="1123" y="201"/>
                  </a:lnTo>
                  <a:lnTo>
                    <a:pt x="1125" y="205"/>
                  </a:lnTo>
                  <a:lnTo>
                    <a:pt x="1125" y="211"/>
                  </a:lnTo>
                  <a:lnTo>
                    <a:pt x="1125" y="343"/>
                  </a:lnTo>
                  <a:lnTo>
                    <a:pt x="1126" y="345"/>
                  </a:lnTo>
                  <a:lnTo>
                    <a:pt x="1128" y="346"/>
                  </a:lnTo>
                  <a:lnTo>
                    <a:pt x="1250" y="399"/>
                  </a:lnTo>
                  <a:lnTo>
                    <a:pt x="1255" y="401"/>
                  </a:lnTo>
                  <a:lnTo>
                    <a:pt x="1257" y="405"/>
                  </a:lnTo>
                  <a:lnTo>
                    <a:pt x="1262" y="408"/>
                  </a:lnTo>
                  <a:lnTo>
                    <a:pt x="1263" y="414"/>
                  </a:lnTo>
                  <a:lnTo>
                    <a:pt x="1265" y="418"/>
                  </a:lnTo>
                  <a:lnTo>
                    <a:pt x="1265" y="424"/>
                  </a:lnTo>
                  <a:lnTo>
                    <a:pt x="1265" y="428"/>
                  </a:lnTo>
                  <a:lnTo>
                    <a:pt x="1263" y="432"/>
                  </a:lnTo>
                  <a:lnTo>
                    <a:pt x="1214" y="548"/>
                  </a:lnTo>
                  <a:lnTo>
                    <a:pt x="1302" y="637"/>
                  </a:lnTo>
                  <a:lnTo>
                    <a:pt x="1305" y="640"/>
                  </a:lnTo>
                  <a:lnTo>
                    <a:pt x="1308" y="646"/>
                  </a:lnTo>
                  <a:lnTo>
                    <a:pt x="1309" y="650"/>
                  </a:lnTo>
                  <a:lnTo>
                    <a:pt x="1309" y="654"/>
                  </a:lnTo>
                  <a:lnTo>
                    <a:pt x="1309" y="660"/>
                  </a:lnTo>
                  <a:lnTo>
                    <a:pt x="1308" y="664"/>
                  </a:lnTo>
                  <a:lnTo>
                    <a:pt x="1305" y="669"/>
                  </a:lnTo>
                  <a:lnTo>
                    <a:pt x="1302" y="673"/>
                  </a:lnTo>
                  <a:lnTo>
                    <a:pt x="1213" y="762"/>
                  </a:lnTo>
                  <a:lnTo>
                    <a:pt x="1262" y="879"/>
                  </a:lnTo>
                  <a:lnTo>
                    <a:pt x="1263" y="885"/>
                  </a:lnTo>
                  <a:lnTo>
                    <a:pt x="1265" y="889"/>
                  </a:lnTo>
                  <a:lnTo>
                    <a:pt x="1263" y="895"/>
                  </a:lnTo>
                  <a:lnTo>
                    <a:pt x="1262" y="899"/>
                  </a:lnTo>
                  <a:lnTo>
                    <a:pt x="1260" y="903"/>
                  </a:lnTo>
                  <a:lnTo>
                    <a:pt x="1257" y="908"/>
                  </a:lnTo>
                  <a:lnTo>
                    <a:pt x="1253" y="911"/>
                  </a:lnTo>
                  <a:lnTo>
                    <a:pt x="1249" y="913"/>
                  </a:lnTo>
                  <a:lnTo>
                    <a:pt x="1125" y="965"/>
                  </a:lnTo>
                  <a:lnTo>
                    <a:pt x="1125" y="1099"/>
                  </a:lnTo>
                  <a:lnTo>
                    <a:pt x="1125" y="1105"/>
                  </a:lnTo>
                  <a:lnTo>
                    <a:pt x="1123" y="1109"/>
                  </a:lnTo>
                  <a:lnTo>
                    <a:pt x="1121" y="1114"/>
                  </a:lnTo>
                  <a:lnTo>
                    <a:pt x="1118" y="1118"/>
                  </a:lnTo>
                  <a:lnTo>
                    <a:pt x="1113" y="1121"/>
                  </a:lnTo>
                  <a:lnTo>
                    <a:pt x="1109" y="1124"/>
                  </a:lnTo>
                  <a:lnTo>
                    <a:pt x="1105" y="1125"/>
                  </a:lnTo>
                  <a:lnTo>
                    <a:pt x="1099" y="1125"/>
                  </a:lnTo>
                  <a:lnTo>
                    <a:pt x="969" y="1125"/>
                  </a:lnTo>
                  <a:lnTo>
                    <a:pt x="920" y="1245"/>
                  </a:lnTo>
                  <a:lnTo>
                    <a:pt x="918" y="1250"/>
                  </a:lnTo>
                  <a:lnTo>
                    <a:pt x="915" y="1253"/>
                  </a:lnTo>
                  <a:lnTo>
                    <a:pt x="910" y="1258"/>
                  </a:lnTo>
                  <a:lnTo>
                    <a:pt x="906" y="1259"/>
                  </a:lnTo>
                  <a:lnTo>
                    <a:pt x="900" y="1260"/>
                  </a:lnTo>
                  <a:lnTo>
                    <a:pt x="896" y="1262"/>
                  </a:lnTo>
                  <a:lnTo>
                    <a:pt x="890" y="1260"/>
                  </a:lnTo>
                  <a:lnTo>
                    <a:pt x="886" y="1259"/>
                  </a:lnTo>
                  <a:lnTo>
                    <a:pt x="765" y="1210"/>
                  </a:lnTo>
                  <a:lnTo>
                    <a:pt x="673" y="1302"/>
                  </a:lnTo>
                  <a:lnTo>
                    <a:pt x="670" y="1305"/>
                  </a:lnTo>
                  <a:lnTo>
                    <a:pt x="664" y="1308"/>
                  </a:lnTo>
                  <a:lnTo>
                    <a:pt x="660" y="1309"/>
                  </a:lnTo>
                  <a:lnTo>
                    <a:pt x="655" y="1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55">
              <a:extLst>
                <a:ext uri="{FF2B5EF4-FFF2-40B4-BE49-F238E27FC236}">
                  <a16:creationId xmlns:a16="http://schemas.microsoft.com/office/drawing/2014/main" id="{192F5900-FADF-456C-A71F-12E56DA29096}"/>
                </a:ext>
              </a:extLst>
            </p:cNvPr>
            <p:cNvSpPr>
              <a:spLocks noEditPoints="1"/>
            </p:cNvSpPr>
            <p:nvPr/>
          </p:nvSpPr>
          <p:spPr bwMode="auto">
            <a:xfrm>
              <a:off x="995363" y="3665538"/>
              <a:ext cx="471488" cy="471488"/>
            </a:xfrm>
            <a:custGeom>
              <a:avLst/>
              <a:gdLst>
                <a:gd name="T0" fmla="*/ 367 w 891"/>
                <a:gd name="T1" fmla="*/ 60 h 891"/>
                <a:gd name="T2" fmla="*/ 275 w 891"/>
                <a:gd name="T3" fmla="*/ 91 h 891"/>
                <a:gd name="T4" fmla="*/ 196 w 891"/>
                <a:gd name="T5" fmla="*/ 142 h 891"/>
                <a:gd name="T6" fmla="*/ 131 w 891"/>
                <a:gd name="T7" fmla="*/ 210 h 891"/>
                <a:gd name="T8" fmla="*/ 84 w 891"/>
                <a:gd name="T9" fmla="*/ 292 h 891"/>
                <a:gd name="T10" fmla="*/ 58 w 891"/>
                <a:gd name="T11" fmla="*/ 386 h 891"/>
                <a:gd name="T12" fmla="*/ 55 w 891"/>
                <a:gd name="T13" fmla="*/ 485 h 891"/>
                <a:gd name="T14" fmla="*/ 76 w 891"/>
                <a:gd name="T15" fmla="*/ 580 h 891"/>
                <a:gd name="T16" fmla="*/ 120 w 891"/>
                <a:gd name="T17" fmla="*/ 665 h 891"/>
                <a:gd name="T18" fmla="*/ 182 w 891"/>
                <a:gd name="T19" fmla="*/ 737 h 891"/>
                <a:gd name="T20" fmla="*/ 259 w 891"/>
                <a:gd name="T21" fmla="*/ 792 h 891"/>
                <a:gd name="T22" fmla="*/ 347 w 891"/>
                <a:gd name="T23" fmla="*/ 826 h 891"/>
                <a:gd name="T24" fmla="*/ 446 w 891"/>
                <a:gd name="T25" fmla="*/ 839 h 891"/>
                <a:gd name="T26" fmla="*/ 544 w 891"/>
                <a:gd name="T27" fmla="*/ 826 h 891"/>
                <a:gd name="T28" fmla="*/ 634 w 891"/>
                <a:gd name="T29" fmla="*/ 792 h 891"/>
                <a:gd name="T30" fmla="*/ 710 w 891"/>
                <a:gd name="T31" fmla="*/ 737 h 891"/>
                <a:gd name="T32" fmla="*/ 772 w 891"/>
                <a:gd name="T33" fmla="*/ 665 h 891"/>
                <a:gd name="T34" fmla="*/ 815 w 891"/>
                <a:gd name="T35" fmla="*/ 580 h 891"/>
                <a:gd name="T36" fmla="*/ 838 w 891"/>
                <a:gd name="T37" fmla="*/ 485 h 891"/>
                <a:gd name="T38" fmla="*/ 835 w 891"/>
                <a:gd name="T39" fmla="*/ 386 h 891"/>
                <a:gd name="T40" fmla="*/ 808 w 891"/>
                <a:gd name="T41" fmla="*/ 292 h 891"/>
                <a:gd name="T42" fmla="*/ 762 w 891"/>
                <a:gd name="T43" fmla="*/ 210 h 891"/>
                <a:gd name="T44" fmla="*/ 696 w 891"/>
                <a:gd name="T45" fmla="*/ 142 h 891"/>
                <a:gd name="T46" fmla="*/ 616 w 891"/>
                <a:gd name="T47" fmla="*/ 91 h 891"/>
                <a:gd name="T48" fmla="*/ 526 w 891"/>
                <a:gd name="T49" fmla="*/ 60 h 891"/>
                <a:gd name="T50" fmla="*/ 446 w 891"/>
                <a:gd name="T51" fmla="*/ 891 h 891"/>
                <a:gd name="T52" fmla="*/ 334 w 891"/>
                <a:gd name="T53" fmla="*/ 877 h 891"/>
                <a:gd name="T54" fmla="*/ 233 w 891"/>
                <a:gd name="T55" fmla="*/ 838 h 891"/>
                <a:gd name="T56" fmla="*/ 147 w 891"/>
                <a:gd name="T57" fmla="*/ 775 h 891"/>
                <a:gd name="T58" fmla="*/ 76 w 891"/>
                <a:gd name="T59" fmla="*/ 694 h 891"/>
                <a:gd name="T60" fmla="*/ 27 w 891"/>
                <a:gd name="T61" fmla="*/ 599 h 891"/>
                <a:gd name="T62" fmla="*/ 3 w 891"/>
                <a:gd name="T63" fmla="*/ 491 h 891"/>
                <a:gd name="T64" fmla="*/ 6 w 891"/>
                <a:gd name="T65" fmla="*/ 377 h 891"/>
                <a:gd name="T66" fmla="*/ 35 w 891"/>
                <a:gd name="T67" fmla="*/ 272 h 891"/>
                <a:gd name="T68" fmla="*/ 89 w 891"/>
                <a:gd name="T69" fmla="*/ 178 h 891"/>
                <a:gd name="T70" fmla="*/ 163 w 891"/>
                <a:gd name="T71" fmla="*/ 102 h 891"/>
                <a:gd name="T72" fmla="*/ 254 w 891"/>
                <a:gd name="T73" fmla="*/ 43 h 891"/>
                <a:gd name="T74" fmla="*/ 356 w 891"/>
                <a:gd name="T75" fmla="*/ 8 h 891"/>
                <a:gd name="T76" fmla="*/ 470 w 891"/>
                <a:gd name="T77" fmla="*/ 0 h 891"/>
                <a:gd name="T78" fmla="*/ 579 w 891"/>
                <a:gd name="T79" fmla="*/ 20 h 891"/>
                <a:gd name="T80" fmla="*/ 677 w 891"/>
                <a:gd name="T81" fmla="*/ 65 h 891"/>
                <a:gd name="T82" fmla="*/ 760 w 891"/>
                <a:gd name="T83" fmla="*/ 131 h 891"/>
                <a:gd name="T84" fmla="*/ 827 w 891"/>
                <a:gd name="T85" fmla="*/ 214 h 891"/>
                <a:gd name="T86" fmla="*/ 871 w 891"/>
                <a:gd name="T87" fmla="*/ 312 h 891"/>
                <a:gd name="T88" fmla="*/ 891 w 891"/>
                <a:gd name="T89" fmla="*/ 422 h 891"/>
                <a:gd name="T90" fmla="*/ 883 w 891"/>
                <a:gd name="T91" fmla="*/ 535 h 891"/>
                <a:gd name="T92" fmla="*/ 848 w 891"/>
                <a:gd name="T93" fmla="*/ 638 h 891"/>
                <a:gd name="T94" fmla="*/ 789 w 891"/>
                <a:gd name="T95" fmla="*/ 728 h 891"/>
                <a:gd name="T96" fmla="*/ 713 w 891"/>
                <a:gd name="T97" fmla="*/ 802 h 891"/>
                <a:gd name="T98" fmla="*/ 619 w 891"/>
                <a:gd name="T99" fmla="*/ 857 h 891"/>
                <a:gd name="T100" fmla="*/ 514 w 891"/>
                <a:gd name="T101" fmla="*/ 88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1" h="891">
                  <a:moveTo>
                    <a:pt x="446" y="52"/>
                  </a:moveTo>
                  <a:lnTo>
                    <a:pt x="426" y="52"/>
                  </a:lnTo>
                  <a:lnTo>
                    <a:pt x="406" y="55"/>
                  </a:lnTo>
                  <a:lnTo>
                    <a:pt x="386" y="56"/>
                  </a:lnTo>
                  <a:lnTo>
                    <a:pt x="367" y="60"/>
                  </a:lnTo>
                  <a:lnTo>
                    <a:pt x="347" y="65"/>
                  </a:lnTo>
                  <a:lnTo>
                    <a:pt x="328" y="69"/>
                  </a:lnTo>
                  <a:lnTo>
                    <a:pt x="311" y="76"/>
                  </a:lnTo>
                  <a:lnTo>
                    <a:pt x="292" y="83"/>
                  </a:lnTo>
                  <a:lnTo>
                    <a:pt x="275" y="91"/>
                  </a:lnTo>
                  <a:lnTo>
                    <a:pt x="259" y="99"/>
                  </a:lnTo>
                  <a:lnTo>
                    <a:pt x="242" y="109"/>
                  </a:lnTo>
                  <a:lnTo>
                    <a:pt x="226" y="119"/>
                  </a:lnTo>
                  <a:lnTo>
                    <a:pt x="210" y="129"/>
                  </a:lnTo>
                  <a:lnTo>
                    <a:pt x="196" y="142"/>
                  </a:lnTo>
                  <a:lnTo>
                    <a:pt x="182" y="154"/>
                  </a:lnTo>
                  <a:lnTo>
                    <a:pt x="169" y="167"/>
                  </a:lnTo>
                  <a:lnTo>
                    <a:pt x="154" y="181"/>
                  </a:lnTo>
                  <a:lnTo>
                    <a:pt x="143" y="196"/>
                  </a:lnTo>
                  <a:lnTo>
                    <a:pt x="131" y="210"/>
                  </a:lnTo>
                  <a:lnTo>
                    <a:pt x="120" y="226"/>
                  </a:lnTo>
                  <a:lnTo>
                    <a:pt x="110" y="242"/>
                  </a:lnTo>
                  <a:lnTo>
                    <a:pt x="99" y="258"/>
                  </a:lnTo>
                  <a:lnTo>
                    <a:pt x="91" y="275"/>
                  </a:lnTo>
                  <a:lnTo>
                    <a:pt x="84" y="292"/>
                  </a:lnTo>
                  <a:lnTo>
                    <a:pt x="76" y="311"/>
                  </a:lnTo>
                  <a:lnTo>
                    <a:pt x="71" y="328"/>
                  </a:lnTo>
                  <a:lnTo>
                    <a:pt x="65" y="347"/>
                  </a:lnTo>
                  <a:lnTo>
                    <a:pt x="61" y="366"/>
                  </a:lnTo>
                  <a:lnTo>
                    <a:pt x="58" y="386"/>
                  </a:lnTo>
                  <a:lnTo>
                    <a:pt x="55" y="404"/>
                  </a:lnTo>
                  <a:lnTo>
                    <a:pt x="53" y="425"/>
                  </a:lnTo>
                  <a:lnTo>
                    <a:pt x="52" y="445"/>
                  </a:lnTo>
                  <a:lnTo>
                    <a:pt x="53" y="465"/>
                  </a:lnTo>
                  <a:lnTo>
                    <a:pt x="55" y="485"/>
                  </a:lnTo>
                  <a:lnTo>
                    <a:pt x="58" y="505"/>
                  </a:lnTo>
                  <a:lnTo>
                    <a:pt x="61" y="524"/>
                  </a:lnTo>
                  <a:lnTo>
                    <a:pt x="65" y="544"/>
                  </a:lnTo>
                  <a:lnTo>
                    <a:pt x="71" y="563"/>
                  </a:lnTo>
                  <a:lnTo>
                    <a:pt x="76" y="580"/>
                  </a:lnTo>
                  <a:lnTo>
                    <a:pt x="84" y="599"/>
                  </a:lnTo>
                  <a:lnTo>
                    <a:pt x="91" y="616"/>
                  </a:lnTo>
                  <a:lnTo>
                    <a:pt x="99" y="633"/>
                  </a:lnTo>
                  <a:lnTo>
                    <a:pt x="110" y="649"/>
                  </a:lnTo>
                  <a:lnTo>
                    <a:pt x="120" y="665"/>
                  </a:lnTo>
                  <a:lnTo>
                    <a:pt x="131" y="681"/>
                  </a:lnTo>
                  <a:lnTo>
                    <a:pt x="143" y="695"/>
                  </a:lnTo>
                  <a:lnTo>
                    <a:pt x="154" y="710"/>
                  </a:lnTo>
                  <a:lnTo>
                    <a:pt x="169" y="724"/>
                  </a:lnTo>
                  <a:lnTo>
                    <a:pt x="182" y="737"/>
                  </a:lnTo>
                  <a:lnTo>
                    <a:pt x="196" y="749"/>
                  </a:lnTo>
                  <a:lnTo>
                    <a:pt x="210" y="760"/>
                  </a:lnTo>
                  <a:lnTo>
                    <a:pt x="226" y="772"/>
                  </a:lnTo>
                  <a:lnTo>
                    <a:pt x="242" y="782"/>
                  </a:lnTo>
                  <a:lnTo>
                    <a:pt x="259" y="792"/>
                  </a:lnTo>
                  <a:lnTo>
                    <a:pt x="275" y="800"/>
                  </a:lnTo>
                  <a:lnTo>
                    <a:pt x="292" y="808"/>
                  </a:lnTo>
                  <a:lnTo>
                    <a:pt x="311" y="815"/>
                  </a:lnTo>
                  <a:lnTo>
                    <a:pt x="328" y="821"/>
                  </a:lnTo>
                  <a:lnTo>
                    <a:pt x="347" y="826"/>
                  </a:lnTo>
                  <a:lnTo>
                    <a:pt x="367" y="831"/>
                  </a:lnTo>
                  <a:lnTo>
                    <a:pt x="386" y="835"/>
                  </a:lnTo>
                  <a:lnTo>
                    <a:pt x="406" y="836"/>
                  </a:lnTo>
                  <a:lnTo>
                    <a:pt x="426" y="838"/>
                  </a:lnTo>
                  <a:lnTo>
                    <a:pt x="446" y="839"/>
                  </a:lnTo>
                  <a:lnTo>
                    <a:pt x="467" y="838"/>
                  </a:lnTo>
                  <a:lnTo>
                    <a:pt x="487" y="836"/>
                  </a:lnTo>
                  <a:lnTo>
                    <a:pt x="506" y="835"/>
                  </a:lnTo>
                  <a:lnTo>
                    <a:pt x="526" y="831"/>
                  </a:lnTo>
                  <a:lnTo>
                    <a:pt x="544" y="826"/>
                  </a:lnTo>
                  <a:lnTo>
                    <a:pt x="563" y="821"/>
                  </a:lnTo>
                  <a:lnTo>
                    <a:pt x="582" y="815"/>
                  </a:lnTo>
                  <a:lnTo>
                    <a:pt x="599" y="808"/>
                  </a:lnTo>
                  <a:lnTo>
                    <a:pt x="616" y="800"/>
                  </a:lnTo>
                  <a:lnTo>
                    <a:pt x="634" y="792"/>
                  </a:lnTo>
                  <a:lnTo>
                    <a:pt x="650" y="782"/>
                  </a:lnTo>
                  <a:lnTo>
                    <a:pt x="665" y="772"/>
                  </a:lnTo>
                  <a:lnTo>
                    <a:pt x="681" y="760"/>
                  </a:lnTo>
                  <a:lnTo>
                    <a:pt x="696" y="749"/>
                  </a:lnTo>
                  <a:lnTo>
                    <a:pt x="710" y="737"/>
                  </a:lnTo>
                  <a:lnTo>
                    <a:pt x="724" y="724"/>
                  </a:lnTo>
                  <a:lnTo>
                    <a:pt x="737" y="710"/>
                  </a:lnTo>
                  <a:lnTo>
                    <a:pt x="749" y="695"/>
                  </a:lnTo>
                  <a:lnTo>
                    <a:pt x="762" y="681"/>
                  </a:lnTo>
                  <a:lnTo>
                    <a:pt x="772" y="665"/>
                  </a:lnTo>
                  <a:lnTo>
                    <a:pt x="782" y="649"/>
                  </a:lnTo>
                  <a:lnTo>
                    <a:pt x="792" y="633"/>
                  </a:lnTo>
                  <a:lnTo>
                    <a:pt x="801" y="616"/>
                  </a:lnTo>
                  <a:lnTo>
                    <a:pt x="808" y="599"/>
                  </a:lnTo>
                  <a:lnTo>
                    <a:pt x="815" y="580"/>
                  </a:lnTo>
                  <a:lnTo>
                    <a:pt x="822" y="563"/>
                  </a:lnTo>
                  <a:lnTo>
                    <a:pt x="827" y="544"/>
                  </a:lnTo>
                  <a:lnTo>
                    <a:pt x="831" y="524"/>
                  </a:lnTo>
                  <a:lnTo>
                    <a:pt x="835" y="505"/>
                  </a:lnTo>
                  <a:lnTo>
                    <a:pt x="838" y="485"/>
                  </a:lnTo>
                  <a:lnTo>
                    <a:pt x="840" y="465"/>
                  </a:lnTo>
                  <a:lnTo>
                    <a:pt x="840" y="445"/>
                  </a:lnTo>
                  <a:lnTo>
                    <a:pt x="840" y="425"/>
                  </a:lnTo>
                  <a:lnTo>
                    <a:pt x="838" y="404"/>
                  </a:lnTo>
                  <a:lnTo>
                    <a:pt x="835" y="386"/>
                  </a:lnTo>
                  <a:lnTo>
                    <a:pt x="831" y="366"/>
                  </a:lnTo>
                  <a:lnTo>
                    <a:pt x="827" y="347"/>
                  </a:lnTo>
                  <a:lnTo>
                    <a:pt x="822" y="328"/>
                  </a:lnTo>
                  <a:lnTo>
                    <a:pt x="815" y="311"/>
                  </a:lnTo>
                  <a:lnTo>
                    <a:pt x="808" y="292"/>
                  </a:lnTo>
                  <a:lnTo>
                    <a:pt x="801" y="275"/>
                  </a:lnTo>
                  <a:lnTo>
                    <a:pt x="792" y="258"/>
                  </a:lnTo>
                  <a:lnTo>
                    <a:pt x="782" y="242"/>
                  </a:lnTo>
                  <a:lnTo>
                    <a:pt x="772" y="226"/>
                  </a:lnTo>
                  <a:lnTo>
                    <a:pt x="762" y="210"/>
                  </a:lnTo>
                  <a:lnTo>
                    <a:pt x="749" y="196"/>
                  </a:lnTo>
                  <a:lnTo>
                    <a:pt x="737" y="181"/>
                  </a:lnTo>
                  <a:lnTo>
                    <a:pt x="724" y="167"/>
                  </a:lnTo>
                  <a:lnTo>
                    <a:pt x="710" y="154"/>
                  </a:lnTo>
                  <a:lnTo>
                    <a:pt x="696" y="142"/>
                  </a:lnTo>
                  <a:lnTo>
                    <a:pt x="681" y="129"/>
                  </a:lnTo>
                  <a:lnTo>
                    <a:pt x="665" y="119"/>
                  </a:lnTo>
                  <a:lnTo>
                    <a:pt x="650" y="109"/>
                  </a:lnTo>
                  <a:lnTo>
                    <a:pt x="634" y="99"/>
                  </a:lnTo>
                  <a:lnTo>
                    <a:pt x="616" y="91"/>
                  </a:lnTo>
                  <a:lnTo>
                    <a:pt x="599" y="83"/>
                  </a:lnTo>
                  <a:lnTo>
                    <a:pt x="582" y="76"/>
                  </a:lnTo>
                  <a:lnTo>
                    <a:pt x="563" y="69"/>
                  </a:lnTo>
                  <a:lnTo>
                    <a:pt x="544" y="65"/>
                  </a:lnTo>
                  <a:lnTo>
                    <a:pt x="526" y="60"/>
                  </a:lnTo>
                  <a:lnTo>
                    <a:pt x="506" y="56"/>
                  </a:lnTo>
                  <a:lnTo>
                    <a:pt x="487" y="55"/>
                  </a:lnTo>
                  <a:lnTo>
                    <a:pt x="467" y="52"/>
                  </a:lnTo>
                  <a:lnTo>
                    <a:pt x="446" y="52"/>
                  </a:lnTo>
                  <a:close/>
                  <a:moveTo>
                    <a:pt x="446" y="891"/>
                  </a:moveTo>
                  <a:lnTo>
                    <a:pt x="423" y="891"/>
                  </a:lnTo>
                  <a:lnTo>
                    <a:pt x="400" y="888"/>
                  </a:lnTo>
                  <a:lnTo>
                    <a:pt x="379" y="885"/>
                  </a:lnTo>
                  <a:lnTo>
                    <a:pt x="356" y="883"/>
                  </a:lnTo>
                  <a:lnTo>
                    <a:pt x="334" y="877"/>
                  </a:lnTo>
                  <a:lnTo>
                    <a:pt x="314" y="871"/>
                  </a:lnTo>
                  <a:lnTo>
                    <a:pt x="292" y="864"/>
                  </a:lnTo>
                  <a:lnTo>
                    <a:pt x="272" y="857"/>
                  </a:lnTo>
                  <a:lnTo>
                    <a:pt x="254" y="847"/>
                  </a:lnTo>
                  <a:lnTo>
                    <a:pt x="233" y="838"/>
                  </a:lnTo>
                  <a:lnTo>
                    <a:pt x="215" y="826"/>
                  </a:lnTo>
                  <a:lnTo>
                    <a:pt x="197" y="815"/>
                  </a:lnTo>
                  <a:lnTo>
                    <a:pt x="180" y="802"/>
                  </a:lnTo>
                  <a:lnTo>
                    <a:pt x="163" y="789"/>
                  </a:lnTo>
                  <a:lnTo>
                    <a:pt x="147" y="775"/>
                  </a:lnTo>
                  <a:lnTo>
                    <a:pt x="131" y="760"/>
                  </a:lnTo>
                  <a:lnTo>
                    <a:pt x="117" y="744"/>
                  </a:lnTo>
                  <a:lnTo>
                    <a:pt x="102" y="728"/>
                  </a:lnTo>
                  <a:lnTo>
                    <a:pt x="89" y="713"/>
                  </a:lnTo>
                  <a:lnTo>
                    <a:pt x="76" y="694"/>
                  </a:lnTo>
                  <a:lnTo>
                    <a:pt x="65" y="677"/>
                  </a:lnTo>
                  <a:lnTo>
                    <a:pt x="55" y="658"/>
                  </a:lnTo>
                  <a:lnTo>
                    <a:pt x="45" y="638"/>
                  </a:lnTo>
                  <a:lnTo>
                    <a:pt x="35" y="619"/>
                  </a:lnTo>
                  <a:lnTo>
                    <a:pt x="27" y="599"/>
                  </a:lnTo>
                  <a:lnTo>
                    <a:pt x="20" y="577"/>
                  </a:lnTo>
                  <a:lnTo>
                    <a:pt x="14" y="557"/>
                  </a:lnTo>
                  <a:lnTo>
                    <a:pt x="9" y="535"/>
                  </a:lnTo>
                  <a:lnTo>
                    <a:pt x="6" y="512"/>
                  </a:lnTo>
                  <a:lnTo>
                    <a:pt x="3" y="491"/>
                  </a:lnTo>
                  <a:lnTo>
                    <a:pt x="2" y="468"/>
                  </a:lnTo>
                  <a:lnTo>
                    <a:pt x="0" y="445"/>
                  </a:lnTo>
                  <a:lnTo>
                    <a:pt x="2" y="422"/>
                  </a:lnTo>
                  <a:lnTo>
                    <a:pt x="3" y="400"/>
                  </a:lnTo>
                  <a:lnTo>
                    <a:pt x="6" y="377"/>
                  </a:lnTo>
                  <a:lnTo>
                    <a:pt x="9" y="356"/>
                  </a:lnTo>
                  <a:lnTo>
                    <a:pt x="14" y="334"/>
                  </a:lnTo>
                  <a:lnTo>
                    <a:pt x="20" y="312"/>
                  </a:lnTo>
                  <a:lnTo>
                    <a:pt x="27" y="292"/>
                  </a:lnTo>
                  <a:lnTo>
                    <a:pt x="35" y="272"/>
                  </a:lnTo>
                  <a:lnTo>
                    <a:pt x="45" y="252"/>
                  </a:lnTo>
                  <a:lnTo>
                    <a:pt x="55" y="233"/>
                  </a:lnTo>
                  <a:lnTo>
                    <a:pt x="65" y="214"/>
                  </a:lnTo>
                  <a:lnTo>
                    <a:pt x="76" y="196"/>
                  </a:lnTo>
                  <a:lnTo>
                    <a:pt x="89" y="178"/>
                  </a:lnTo>
                  <a:lnTo>
                    <a:pt x="102" y="163"/>
                  </a:lnTo>
                  <a:lnTo>
                    <a:pt x="117" y="145"/>
                  </a:lnTo>
                  <a:lnTo>
                    <a:pt x="131" y="131"/>
                  </a:lnTo>
                  <a:lnTo>
                    <a:pt x="147" y="115"/>
                  </a:lnTo>
                  <a:lnTo>
                    <a:pt x="163" y="102"/>
                  </a:lnTo>
                  <a:lnTo>
                    <a:pt x="180" y="88"/>
                  </a:lnTo>
                  <a:lnTo>
                    <a:pt x="197" y="76"/>
                  </a:lnTo>
                  <a:lnTo>
                    <a:pt x="215" y="65"/>
                  </a:lnTo>
                  <a:lnTo>
                    <a:pt x="233" y="53"/>
                  </a:lnTo>
                  <a:lnTo>
                    <a:pt x="254" y="43"/>
                  </a:lnTo>
                  <a:lnTo>
                    <a:pt x="272" y="34"/>
                  </a:lnTo>
                  <a:lnTo>
                    <a:pt x="292" y="27"/>
                  </a:lnTo>
                  <a:lnTo>
                    <a:pt x="314" y="20"/>
                  </a:lnTo>
                  <a:lnTo>
                    <a:pt x="334" y="14"/>
                  </a:lnTo>
                  <a:lnTo>
                    <a:pt x="356" y="8"/>
                  </a:lnTo>
                  <a:lnTo>
                    <a:pt x="379" y="4"/>
                  </a:lnTo>
                  <a:lnTo>
                    <a:pt x="400" y="1"/>
                  </a:lnTo>
                  <a:lnTo>
                    <a:pt x="423" y="0"/>
                  </a:lnTo>
                  <a:lnTo>
                    <a:pt x="446" y="0"/>
                  </a:lnTo>
                  <a:lnTo>
                    <a:pt x="470" y="0"/>
                  </a:lnTo>
                  <a:lnTo>
                    <a:pt x="491" y="1"/>
                  </a:lnTo>
                  <a:lnTo>
                    <a:pt x="514" y="4"/>
                  </a:lnTo>
                  <a:lnTo>
                    <a:pt x="536" y="8"/>
                  </a:lnTo>
                  <a:lnTo>
                    <a:pt x="557" y="14"/>
                  </a:lnTo>
                  <a:lnTo>
                    <a:pt x="579" y="20"/>
                  </a:lnTo>
                  <a:lnTo>
                    <a:pt x="599" y="27"/>
                  </a:lnTo>
                  <a:lnTo>
                    <a:pt x="619" y="34"/>
                  </a:lnTo>
                  <a:lnTo>
                    <a:pt x="639" y="43"/>
                  </a:lnTo>
                  <a:lnTo>
                    <a:pt x="658" y="53"/>
                  </a:lnTo>
                  <a:lnTo>
                    <a:pt x="677" y="65"/>
                  </a:lnTo>
                  <a:lnTo>
                    <a:pt x="696" y="76"/>
                  </a:lnTo>
                  <a:lnTo>
                    <a:pt x="713" y="88"/>
                  </a:lnTo>
                  <a:lnTo>
                    <a:pt x="729" y="102"/>
                  </a:lnTo>
                  <a:lnTo>
                    <a:pt x="746" y="115"/>
                  </a:lnTo>
                  <a:lnTo>
                    <a:pt x="760" y="131"/>
                  </a:lnTo>
                  <a:lnTo>
                    <a:pt x="776" y="145"/>
                  </a:lnTo>
                  <a:lnTo>
                    <a:pt x="789" y="163"/>
                  </a:lnTo>
                  <a:lnTo>
                    <a:pt x="804" y="178"/>
                  </a:lnTo>
                  <a:lnTo>
                    <a:pt x="815" y="196"/>
                  </a:lnTo>
                  <a:lnTo>
                    <a:pt x="827" y="214"/>
                  </a:lnTo>
                  <a:lnTo>
                    <a:pt x="838" y="233"/>
                  </a:lnTo>
                  <a:lnTo>
                    <a:pt x="848" y="252"/>
                  </a:lnTo>
                  <a:lnTo>
                    <a:pt x="857" y="272"/>
                  </a:lnTo>
                  <a:lnTo>
                    <a:pt x="864" y="292"/>
                  </a:lnTo>
                  <a:lnTo>
                    <a:pt x="871" y="312"/>
                  </a:lnTo>
                  <a:lnTo>
                    <a:pt x="877" y="334"/>
                  </a:lnTo>
                  <a:lnTo>
                    <a:pt x="883" y="356"/>
                  </a:lnTo>
                  <a:lnTo>
                    <a:pt x="887" y="377"/>
                  </a:lnTo>
                  <a:lnTo>
                    <a:pt x="890" y="400"/>
                  </a:lnTo>
                  <a:lnTo>
                    <a:pt x="891" y="422"/>
                  </a:lnTo>
                  <a:lnTo>
                    <a:pt x="891" y="445"/>
                  </a:lnTo>
                  <a:lnTo>
                    <a:pt x="891" y="468"/>
                  </a:lnTo>
                  <a:lnTo>
                    <a:pt x="890" y="491"/>
                  </a:lnTo>
                  <a:lnTo>
                    <a:pt x="887" y="512"/>
                  </a:lnTo>
                  <a:lnTo>
                    <a:pt x="883" y="535"/>
                  </a:lnTo>
                  <a:lnTo>
                    <a:pt x="877" y="557"/>
                  </a:lnTo>
                  <a:lnTo>
                    <a:pt x="871" y="577"/>
                  </a:lnTo>
                  <a:lnTo>
                    <a:pt x="864" y="599"/>
                  </a:lnTo>
                  <a:lnTo>
                    <a:pt x="857" y="619"/>
                  </a:lnTo>
                  <a:lnTo>
                    <a:pt x="848" y="638"/>
                  </a:lnTo>
                  <a:lnTo>
                    <a:pt x="838" y="658"/>
                  </a:lnTo>
                  <a:lnTo>
                    <a:pt x="827" y="677"/>
                  </a:lnTo>
                  <a:lnTo>
                    <a:pt x="815" y="694"/>
                  </a:lnTo>
                  <a:lnTo>
                    <a:pt x="804" y="713"/>
                  </a:lnTo>
                  <a:lnTo>
                    <a:pt x="789" y="728"/>
                  </a:lnTo>
                  <a:lnTo>
                    <a:pt x="776" y="744"/>
                  </a:lnTo>
                  <a:lnTo>
                    <a:pt x="760" y="760"/>
                  </a:lnTo>
                  <a:lnTo>
                    <a:pt x="746" y="775"/>
                  </a:lnTo>
                  <a:lnTo>
                    <a:pt x="729" y="789"/>
                  </a:lnTo>
                  <a:lnTo>
                    <a:pt x="713" y="802"/>
                  </a:lnTo>
                  <a:lnTo>
                    <a:pt x="696" y="815"/>
                  </a:lnTo>
                  <a:lnTo>
                    <a:pt x="677" y="826"/>
                  </a:lnTo>
                  <a:lnTo>
                    <a:pt x="658" y="838"/>
                  </a:lnTo>
                  <a:lnTo>
                    <a:pt x="639" y="847"/>
                  </a:lnTo>
                  <a:lnTo>
                    <a:pt x="619" y="857"/>
                  </a:lnTo>
                  <a:lnTo>
                    <a:pt x="599" y="864"/>
                  </a:lnTo>
                  <a:lnTo>
                    <a:pt x="579" y="871"/>
                  </a:lnTo>
                  <a:lnTo>
                    <a:pt x="557" y="877"/>
                  </a:lnTo>
                  <a:lnTo>
                    <a:pt x="536" y="883"/>
                  </a:lnTo>
                  <a:lnTo>
                    <a:pt x="514" y="885"/>
                  </a:lnTo>
                  <a:lnTo>
                    <a:pt x="491" y="888"/>
                  </a:lnTo>
                  <a:lnTo>
                    <a:pt x="470" y="891"/>
                  </a:lnTo>
                  <a:lnTo>
                    <a:pt x="446"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67">
              <a:extLst>
                <a:ext uri="{FF2B5EF4-FFF2-40B4-BE49-F238E27FC236}">
                  <a16:creationId xmlns:a16="http://schemas.microsoft.com/office/drawing/2014/main" id="{E268392B-12B6-4004-A8A1-5FAA1B11DE0C}"/>
                </a:ext>
              </a:extLst>
            </p:cNvPr>
            <p:cNvSpPr>
              <a:spLocks noEditPoints="1"/>
            </p:cNvSpPr>
            <p:nvPr/>
          </p:nvSpPr>
          <p:spPr bwMode="auto">
            <a:xfrm>
              <a:off x="1089025" y="3752851"/>
              <a:ext cx="285750" cy="276225"/>
            </a:xfrm>
            <a:custGeom>
              <a:avLst/>
              <a:gdLst>
                <a:gd name="T0" fmla="*/ 444 w 540"/>
                <a:gd name="T1" fmla="*/ 469 h 521"/>
                <a:gd name="T2" fmla="*/ 353 w 540"/>
                <a:gd name="T3" fmla="*/ 248 h 521"/>
                <a:gd name="T4" fmla="*/ 344 w 540"/>
                <a:gd name="T5" fmla="*/ 245 h 521"/>
                <a:gd name="T6" fmla="*/ 337 w 540"/>
                <a:gd name="T7" fmla="*/ 239 h 521"/>
                <a:gd name="T8" fmla="*/ 333 w 540"/>
                <a:gd name="T9" fmla="*/ 230 h 521"/>
                <a:gd name="T10" fmla="*/ 331 w 540"/>
                <a:gd name="T11" fmla="*/ 222 h 521"/>
                <a:gd name="T12" fmla="*/ 331 w 540"/>
                <a:gd name="T13" fmla="*/ 118 h 521"/>
                <a:gd name="T14" fmla="*/ 326 w 540"/>
                <a:gd name="T15" fmla="*/ 94 h 521"/>
                <a:gd name="T16" fmla="*/ 318 w 540"/>
                <a:gd name="T17" fmla="*/ 78 h 521"/>
                <a:gd name="T18" fmla="*/ 307 w 540"/>
                <a:gd name="T19" fmla="*/ 66 h 521"/>
                <a:gd name="T20" fmla="*/ 290 w 540"/>
                <a:gd name="T21" fmla="*/ 59 h 521"/>
                <a:gd name="T22" fmla="*/ 280 w 540"/>
                <a:gd name="T23" fmla="*/ 145 h 521"/>
                <a:gd name="T24" fmla="*/ 278 w 540"/>
                <a:gd name="T25" fmla="*/ 156 h 521"/>
                <a:gd name="T26" fmla="*/ 272 w 540"/>
                <a:gd name="T27" fmla="*/ 163 h 521"/>
                <a:gd name="T28" fmla="*/ 195 w 540"/>
                <a:gd name="T29" fmla="*/ 243 h 521"/>
                <a:gd name="T30" fmla="*/ 186 w 540"/>
                <a:gd name="T31" fmla="*/ 248 h 521"/>
                <a:gd name="T32" fmla="*/ 52 w 540"/>
                <a:gd name="T33" fmla="*/ 248 h 521"/>
                <a:gd name="T34" fmla="*/ 182 w 540"/>
                <a:gd name="T35" fmla="*/ 443 h 521"/>
                <a:gd name="T36" fmla="*/ 187 w 540"/>
                <a:gd name="T37" fmla="*/ 443 h 521"/>
                <a:gd name="T38" fmla="*/ 464 w 540"/>
                <a:gd name="T39" fmla="*/ 521 h 521"/>
                <a:gd name="T40" fmla="*/ 301 w 540"/>
                <a:gd name="T41" fmla="*/ 521 h 521"/>
                <a:gd name="T42" fmla="*/ 179 w 540"/>
                <a:gd name="T43" fmla="*/ 495 h 521"/>
                <a:gd name="T44" fmla="*/ 20 w 540"/>
                <a:gd name="T45" fmla="*/ 495 h 521"/>
                <a:gd name="T46" fmla="*/ 12 w 540"/>
                <a:gd name="T47" fmla="*/ 491 h 521"/>
                <a:gd name="T48" fmla="*/ 5 w 540"/>
                <a:gd name="T49" fmla="*/ 484 h 521"/>
                <a:gd name="T50" fmla="*/ 0 w 540"/>
                <a:gd name="T51" fmla="*/ 475 h 521"/>
                <a:gd name="T52" fmla="*/ 0 w 540"/>
                <a:gd name="T53" fmla="*/ 222 h 521"/>
                <a:gd name="T54" fmla="*/ 2 w 540"/>
                <a:gd name="T55" fmla="*/ 212 h 521"/>
                <a:gd name="T56" fmla="*/ 7 w 540"/>
                <a:gd name="T57" fmla="*/ 203 h 521"/>
                <a:gd name="T58" fmla="*/ 16 w 540"/>
                <a:gd name="T59" fmla="*/ 199 h 521"/>
                <a:gd name="T60" fmla="*/ 26 w 540"/>
                <a:gd name="T61" fmla="*/ 196 h 521"/>
                <a:gd name="T62" fmla="*/ 228 w 540"/>
                <a:gd name="T63" fmla="*/ 135 h 521"/>
                <a:gd name="T64" fmla="*/ 228 w 540"/>
                <a:gd name="T65" fmla="*/ 22 h 521"/>
                <a:gd name="T66" fmla="*/ 232 w 540"/>
                <a:gd name="T67" fmla="*/ 12 h 521"/>
                <a:gd name="T68" fmla="*/ 239 w 540"/>
                <a:gd name="T69" fmla="*/ 4 h 521"/>
                <a:gd name="T70" fmla="*/ 248 w 540"/>
                <a:gd name="T71" fmla="*/ 1 h 521"/>
                <a:gd name="T72" fmla="*/ 267 w 540"/>
                <a:gd name="T73" fmla="*/ 1 h 521"/>
                <a:gd name="T74" fmla="*/ 307 w 540"/>
                <a:gd name="T75" fmla="*/ 9 h 521"/>
                <a:gd name="T76" fmla="*/ 330 w 540"/>
                <a:gd name="T77" fmla="*/ 19 h 521"/>
                <a:gd name="T78" fmla="*/ 344 w 540"/>
                <a:gd name="T79" fmla="*/ 29 h 521"/>
                <a:gd name="T80" fmla="*/ 362 w 540"/>
                <a:gd name="T81" fmla="*/ 48 h 521"/>
                <a:gd name="T82" fmla="*/ 376 w 540"/>
                <a:gd name="T83" fmla="*/ 76 h 521"/>
                <a:gd name="T84" fmla="*/ 383 w 540"/>
                <a:gd name="T85" fmla="*/ 115 h 521"/>
                <a:gd name="T86" fmla="*/ 385 w 540"/>
                <a:gd name="T87" fmla="*/ 202 h 521"/>
                <a:gd name="T88" fmla="*/ 526 w 540"/>
                <a:gd name="T89" fmla="*/ 233 h 521"/>
                <a:gd name="T90" fmla="*/ 533 w 540"/>
                <a:gd name="T91" fmla="*/ 239 h 521"/>
                <a:gd name="T92" fmla="*/ 539 w 540"/>
                <a:gd name="T93" fmla="*/ 248 h 521"/>
                <a:gd name="T94" fmla="*/ 540 w 540"/>
                <a:gd name="T95" fmla="*/ 256 h 521"/>
                <a:gd name="T96" fmla="*/ 490 w 540"/>
                <a:gd name="T97" fmla="*/ 501 h 521"/>
                <a:gd name="T98" fmla="*/ 487 w 540"/>
                <a:gd name="T99" fmla="*/ 510 h 521"/>
                <a:gd name="T100" fmla="*/ 481 w 540"/>
                <a:gd name="T101" fmla="*/ 515 h 521"/>
                <a:gd name="T102" fmla="*/ 474 w 540"/>
                <a:gd name="T103" fmla="*/ 520 h 521"/>
                <a:gd name="T104" fmla="*/ 464 w 540"/>
                <a:gd name="T105"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0" h="521">
                  <a:moveTo>
                    <a:pt x="307" y="469"/>
                  </a:moveTo>
                  <a:lnTo>
                    <a:pt x="444" y="469"/>
                  </a:lnTo>
                  <a:lnTo>
                    <a:pt x="484" y="276"/>
                  </a:lnTo>
                  <a:lnTo>
                    <a:pt x="353" y="248"/>
                  </a:lnTo>
                  <a:lnTo>
                    <a:pt x="349" y="246"/>
                  </a:lnTo>
                  <a:lnTo>
                    <a:pt x="344" y="245"/>
                  </a:lnTo>
                  <a:lnTo>
                    <a:pt x="340" y="242"/>
                  </a:lnTo>
                  <a:lnTo>
                    <a:pt x="337" y="239"/>
                  </a:lnTo>
                  <a:lnTo>
                    <a:pt x="336" y="235"/>
                  </a:lnTo>
                  <a:lnTo>
                    <a:pt x="333" y="230"/>
                  </a:lnTo>
                  <a:lnTo>
                    <a:pt x="333" y="226"/>
                  </a:lnTo>
                  <a:lnTo>
                    <a:pt x="331" y="222"/>
                  </a:lnTo>
                  <a:lnTo>
                    <a:pt x="331" y="128"/>
                  </a:lnTo>
                  <a:lnTo>
                    <a:pt x="331" y="118"/>
                  </a:lnTo>
                  <a:lnTo>
                    <a:pt x="329" y="102"/>
                  </a:lnTo>
                  <a:lnTo>
                    <a:pt x="326" y="94"/>
                  </a:lnTo>
                  <a:lnTo>
                    <a:pt x="323" y="85"/>
                  </a:lnTo>
                  <a:lnTo>
                    <a:pt x="318" y="78"/>
                  </a:lnTo>
                  <a:lnTo>
                    <a:pt x="314" y="71"/>
                  </a:lnTo>
                  <a:lnTo>
                    <a:pt x="307" y="66"/>
                  </a:lnTo>
                  <a:lnTo>
                    <a:pt x="298" y="62"/>
                  </a:lnTo>
                  <a:lnTo>
                    <a:pt x="290" y="59"/>
                  </a:lnTo>
                  <a:lnTo>
                    <a:pt x="280" y="56"/>
                  </a:lnTo>
                  <a:lnTo>
                    <a:pt x="280" y="145"/>
                  </a:lnTo>
                  <a:lnTo>
                    <a:pt x="280" y="150"/>
                  </a:lnTo>
                  <a:lnTo>
                    <a:pt x="278" y="156"/>
                  </a:lnTo>
                  <a:lnTo>
                    <a:pt x="275" y="160"/>
                  </a:lnTo>
                  <a:lnTo>
                    <a:pt x="272" y="163"/>
                  </a:lnTo>
                  <a:lnTo>
                    <a:pt x="199" y="240"/>
                  </a:lnTo>
                  <a:lnTo>
                    <a:pt x="195" y="243"/>
                  </a:lnTo>
                  <a:lnTo>
                    <a:pt x="190" y="246"/>
                  </a:lnTo>
                  <a:lnTo>
                    <a:pt x="186" y="248"/>
                  </a:lnTo>
                  <a:lnTo>
                    <a:pt x="180" y="248"/>
                  </a:lnTo>
                  <a:lnTo>
                    <a:pt x="52" y="248"/>
                  </a:lnTo>
                  <a:lnTo>
                    <a:pt x="52" y="443"/>
                  </a:lnTo>
                  <a:lnTo>
                    <a:pt x="182" y="443"/>
                  </a:lnTo>
                  <a:lnTo>
                    <a:pt x="185" y="443"/>
                  </a:lnTo>
                  <a:lnTo>
                    <a:pt x="187" y="443"/>
                  </a:lnTo>
                  <a:lnTo>
                    <a:pt x="307" y="469"/>
                  </a:lnTo>
                  <a:close/>
                  <a:moveTo>
                    <a:pt x="464" y="521"/>
                  </a:moveTo>
                  <a:lnTo>
                    <a:pt x="304" y="521"/>
                  </a:lnTo>
                  <a:lnTo>
                    <a:pt x="301" y="521"/>
                  </a:lnTo>
                  <a:lnTo>
                    <a:pt x="298" y="521"/>
                  </a:lnTo>
                  <a:lnTo>
                    <a:pt x="179" y="495"/>
                  </a:lnTo>
                  <a:lnTo>
                    <a:pt x="26" y="495"/>
                  </a:lnTo>
                  <a:lnTo>
                    <a:pt x="20" y="495"/>
                  </a:lnTo>
                  <a:lnTo>
                    <a:pt x="16" y="494"/>
                  </a:lnTo>
                  <a:lnTo>
                    <a:pt x="12" y="491"/>
                  </a:lnTo>
                  <a:lnTo>
                    <a:pt x="7" y="488"/>
                  </a:lnTo>
                  <a:lnTo>
                    <a:pt x="5" y="484"/>
                  </a:lnTo>
                  <a:lnTo>
                    <a:pt x="2" y="479"/>
                  </a:lnTo>
                  <a:lnTo>
                    <a:pt x="0" y="475"/>
                  </a:lnTo>
                  <a:lnTo>
                    <a:pt x="0" y="469"/>
                  </a:lnTo>
                  <a:lnTo>
                    <a:pt x="0" y="222"/>
                  </a:lnTo>
                  <a:lnTo>
                    <a:pt x="0" y="217"/>
                  </a:lnTo>
                  <a:lnTo>
                    <a:pt x="2" y="212"/>
                  </a:lnTo>
                  <a:lnTo>
                    <a:pt x="5" y="207"/>
                  </a:lnTo>
                  <a:lnTo>
                    <a:pt x="7" y="203"/>
                  </a:lnTo>
                  <a:lnTo>
                    <a:pt x="12" y="200"/>
                  </a:lnTo>
                  <a:lnTo>
                    <a:pt x="16" y="199"/>
                  </a:lnTo>
                  <a:lnTo>
                    <a:pt x="20" y="196"/>
                  </a:lnTo>
                  <a:lnTo>
                    <a:pt x="26" y="196"/>
                  </a:lnTo>
                  <a:lnTo>
                    <a:pt x="169" y="196"/>
                  </a:lnTo>
                  <a:lnTo>
                    <a:pt x="228" y="135"/>
                  </a:lnTo>
                  <a:lnTo>
                    <a:pt x="228" y="27"/>
                  </a:lnTo>
                  <a:lnTo>
                    <a:pt x="228" y="22"/>
                  </a:lnTo>
                  <a:lnTo>
                    <a:pt x="229" y="16"/>
                  </a:lnTo>
                  <a:lnTo>
                    <a:pt x="232" y="12"/>
                  </a:lnTo>
                  <a:lnTo>
                    <a:pt x="235" y="9"/>
                  </a:lnTo>
                  <a:lnTo>
                    <a:pt x="239" y="4"/>
                  </a:lnTo>
                  <a:lnTo>
                    <a:pt x="244" y="3"/>
                  </a:lnTo>
                  <a:lnTo>
                    <a:pt x="248" y="1"/>
                  </a:lnTo>
                  <a:lnTo>
                    <a:pt x="254" y="0"/>
                  </a:lnTo>
                  <a:lnTo>
                    <a:pt x="267" y="1"/>
                  </a:lnTo>
                  <a:lnTo>
                    <a:pt x="293" y="6"/>
                  </a:lnTo>
                  <a:lnTo>
                    <a:pt x="307" y="9"/>
                  </a:lnTo>
                  <a:lnTo>
                    <a:pt x="323" y="16"/>
                  </a:lnTo>
                  <a:lnTo>
                    <a:pt x="330" y="19"/>
                  </a:lnTo>
                  <a:lnTo>
                    <a:pt x="337" y="23"/>
                  </a:lnTo>
                  <a:lnTo>
                    <a:pt x="344" y="29"/>
                  </a:lnTo>
                  <a:lnTo>
                    <a:pt x="350" y="35"/>
                  </a:lnTo>
                  <a:lnTo>
                    <a:pt x="362" y="48"/>
                  </a:lnTo>
                  <a:lnTo>
                    <a:pt x="370" y="62"/>
                  </a:lnTo>
                  <a:lnTo>
                    <a:pt x="376" y="76"/>
                  </a:lnTo>
                  <a:lnTo>
                    <a:pt x="379" y="91"/>
                  </a:lnTo>
                  <a:lnTo>
                    <a:pt x="383" y="115"/>
                  </a:lnTo>
                  <a:lnTo>
                    <a:pt x="385" y="128"/>
                  </a:lnTo>
                  <a:lnTo>
                    <a:pt x="385" y="202"/>
                  </a:lnTo>
                  <a:lnTo>
                    <a:pt x="520" y="232"/>
                  </a:lnTo>
                  <a:lnTo>
                    <a:pt x="526" y="233"/>
                  </a:lnTo>
                  <a:lnTo>
                    <a:pt x="530" y="236"/>
                  </a:lnTo>
                  <a:lnTo>
                    <a:pt x="533" y="239"/>
                  </a:lnTo>
                  <a:lnTo>
                    <a:pt x="536" y="243"/>
                  </a:lnTo>
                  <a:lnTo>
                    <a:pt x="539" y="248"/>
                  </a:lnTo>
                  <a:lnTo>
                    <a:pt x="540" y="252"/>
                  </a:lnTo>
                  <a:lnTo>
                    <a:pt x="540" y="256"/>
                  </a:lnTo>
                  <a:lnTo>
                    <a:pt x="540" y="262"/>
                  </a:lnTo>
                  <a:lnTo>
                    <a:pt x="490" y="501"/>
                  </a:lnTo>
                  <a:lnTo>
                    <a:pt x="488" y="505"/>
                  </a:lnTo>
                  <a:lnTo>
                    <a:pt x="487" y="510"/>
                  </a:lnTo>
                  <a:lnTo>
                    <a:pt x="484" y="513"/>
                  </a:lnTo>
                  <a:lnTo>
                    <a:pt x="481" y="515"/>
                  </a:lnTo>
                  <a:lnTo>
                    <a:pt x="477" y="518"/>
                  </a:lnTo>
                  <a:lnTo>
                    <a:pt x="474" y="520"/>
                  </a:lnTo>
                  <a:lnTo>
                    <a:pt x="470" y="521"/>
                  </a:lnTo>
                  <a:lnTo>
                    <a:pt x="464"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8">
              <a:extLst>
                <a:ext uri="{FF2B5EF4-FFF2-40B4-BE49-F238E27FC236}">
                  <a16:creationId xmlns:a16="http://schemas.microsoft.com/office/drawing/2014/main" id="{224A59C6-829A-465D-BE5D-4084B71F9808}"/>
                </a:ext>
              </a:extLst>
            </p:cNvPr>
            <p:cNvSpPr>
              <a:spLocks/>
            </p:cNvSpPr>
            <p:nvPr/>
          </p:nvSpPr>
          <p:spPr bwMode="auto">
            <a:xfrm>
              <a:off x="1133475" y="3860801"/>
              <a:ext cx="28575" cy="144463"/>
            </a:xfrm>
            <a:custGeom>
              <a:avLst/>
              <a:gdLst>
                <a:gd name="T0" fmla="*/ 26 w 52"/>
                <a:gd name="T1" fmla="*/ 274 h 274"/>
                <a:gd name="T2" fmla="*/ 20 w 52"/>
                <a:gd name="T3" fmla="*/ 274 h 274"/>
                <a:gd name="T4" fmla="*/ 16 w 52"/>
                <a:gd name="T5" fmla="*/ 273 h 274"/>
                <a:gd name="T6" fmla="*/ 11 w 52"/>
                <a:gd name="T7" fmla="*/ 270 h 274"/>
                <a:gd name="T8" fmla="*/ 7 w 52"/>
                <a:gd name="T9" fmla="*/ 267 h 274"/>
                <a:gd name="T10" fmla="*/ 4 w 52"/>
                <a:gd name="T11" fmla="*/ 263 h 274"/>
                <a:gd name="T12" fmla="*/ 1 w 52"/>
                <a:gd name="T13" fmla="*/ 258 h 274"/>
                <a:gd name="T14" fmla="*/ 0 w 52"/>
                <a:gd name="T15" fmla="*/ 254 h 274"/>
                <a:gd name="T16" fmla="*/ 0 w 52"/>
                <a:gd name="T17" fmla="*/ 248 h 274"/>
                <a:gd name="T18" fmla="*/ 0 w 52"/>
                <a:gd name="T19" fmla="*/ 26 h 274"/>
                <a:gd name="T20" fmla="*/ 0 w 52"/>
                <a:gd name="T21" fmla="*/ 22 h 274"/>
                <a:gd name="T22" fmla="*/ 1 w 52"/>
                <a:gd name="T23" fmla="*/ 16 h 274"/>
                <a:gd name="T24" fmla="*/ 4 w 52"/>
                <a:gd name="T25" fmla="*/ 12 h 274"/>
                <a:gd name="T26" fmla="*/ 7 w 52"/>
                <a:gd name="T27" fmla="*/ 9 h 274"/>
                <a:gd name="T28" fmla="*/ 11 w 52"/>
                <a:gd name="T29" fmla="*/ 5 h 274"/>
                <a:gd name="T30" fmla="*/ 16 w 52"/>
                <a:gd name="T31" fmla="*/ 3 h 274"/>
                <a:gd name="T32" fmla="*/ 20 w 52"/>
                <a:gd name="T33" fmla="*/ 2 h 274"/>
                <a:gd name="T34" fmla="*/ 26 w 52"/>
                <a:gd name="T35" fmla="*/ 0 h 274"/>
                <a:gd name="T36" fmla="*/ 30 w 52"/>
                <a:gd name="T37" fmla="*/ 2 h 274"/>
                <a:gd name="T38" fmla="*/ 36 w 52"/>
                <a:gd name="T39" fmla="*/ 3 h 274"/>
                <a:gd name="T40" fmla="*/ 40 w 52"/>
                <a:gd name="T41" fmla="*/ 5 h 274"/>
                <a:gd name="T42" fmla="*/ 44 w 52"/>
                <a:gd name="T43" fmla="*/ 8 h 274"/>
                <a:gd name="T44" fmla="*/ 47 w 52"/>
                <a:gd name="T45" fmla="*/ 12 h 274"/>
                <a:gd name="T46" fmla="*/ 50 w 52"/>
                <a:gd name="T47" fmla="*/ 16 h 274"/>
                <a:gd name="T48" fmla="*/ 52 w 52"/>
                <a:gd name="T49" fmla="*/ 22 h 274"/>
                <a:gd name="T50" fmla="*/ 52 w 52"/>
                <a:gd name="T51" fmla="*/ 26 h 274"/>
                <a:gd name="T52" fmla="*/ 52 w 52"/>
                <a:gd name="T53" fmla="*/ 248 h 274"/>
                <a:gd name="T54" fmla="*/ 52 w 52"/>
                <a:gd name="T55" fmla="*/ 254 h 274"/>
                <a:gd name="T56" fmla="*/ 50 w 52"/>
                <a:gd name="T57" fmla="*/ 258 h 274"/>
                <a:gd name="T58" fmla="*/ 47 w 52"/>
                <a:gd name="T59" fmla="*/ 263 h 274"/>
                <a:gd name="T60" fmla="*/ 44 w 52"/>
                <a:gd name="T61" fmla="*/ 267 h 274"/>
                <a:gd name="T62" fmla="*/ 40 w 52"/>
                <a:gd name="T63" fmla="*/ 270 h 274"/>
                <a:gd name="T64" fmla="*/ 36 w 52"/>
                <a:gd name="T65" fmla="*/ 273 h 274"/>
                <a:gd name="T66" fmla="*/ 30 w 52"/>
                <a:gd name="T67" fmla="*/ 274 h 274"/>
                <a:gd name="T68" fmla="*/ 26 w 52"/>
                <a:gd name="T6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74">
                  <a:moveTo>
                    <a:pt x="26" y="274"/>
                  </a:moveTo>
                  <a:lnTo>
                    <a:pt x="20" y="274"/>
                  </a:lnTo>
                  <a:lnTo>
                    <a:pt x="16" y="273"/>
                  </a:lnTo>
                  <a:lnTo>
                    <a:pt x="11" y="270"/>
                  </a:lnTo>
                  <a:lnTo>
                    <a:pt x="7" y="267"/>
                  </a:lnTo>
                  <a:lnTo>
                    <a:pt x="4" y="263"/>
                  </a:lnTo>
                  <a:lnTo>
                    <a:pt x="1" y="258"/>
                  </a:lnTo>
                  <a:lnTo>
                    <a:pt x="0" y="254"/>
                  </a:lnTo>
                  <a:lnTo>
                    <a:pt x="0" y="248"/>
                  </a:lnTo>
                  <a:lnTo>
                    <a:pt x="0" y="26"/>
                  </a:lnTo>
                  <a:lnTo>
                    <a:pt x="0" y="22"/>
                  </a:lnTo>
                  <a:lnTo>
                    <a:pt x="1" y="16"/>
                  </a:lnTo>
                  <a:lnTo>
                    <a:pt x="4" y="12"/>
                  </a:lnTo>
                  <a:lnTo>
                    <a:pt x="7" y="9"/>
                  </a:lnTo>
                  <a:lnTo>
                    <a:pt x="11" y="5"/>
                  </a:lnTo>
                  <a:lnTo>
                    <a:pt x="16" y="3"/>
                  </a:lnTo>
                  <a:lnTo>
                    <a:pt x="20" y="2"/>
                  </a:lnTo>
                  <a:lnTo>
                    <a:pt x="26" y="0"/>
                  </a:lnTo>
                  <a:lnTo>
                    <a:pt x="30" y="2"/>
                  </a:lnTo>
                  <a:lnTo>
                    <a:pt x="36" y="3"/>
                  </a:lnTo>
                  <a:lnTo>
                    <a:pt x="40" y="5"/>
                  </a:lnTo>
                  <a:lnTo>
                    <a:pt x="44" y="8"/>
                  </a:lnTo>
                  <a:lnTo>
                    <a:pt x="47" y="12"/>
                  </a:lnTo>
                  <a:lnTo>
                    <a:pt x="50" y="16"/>
                  </a:lnTo>
                  <a:lnTo>
                    <a:pt x="52" y="22"/>
                  </a:lnTo>
                  <a:lnTo>
                    <a:pt x="52" y="26"/>
                  </a:lnTo>
                  <a:lnTo>
                    <a:pt x="52" y="248"/>
                  </a:lnTo>
                  <a:lnTo>
                    <a:pt x="52" y="254"/>
                  </a:lnTo>
                  <a:lnTo>
                    <a:pt x="50" y="258"/>
                  </a:lnTo>
                  <a:lnTo>
                    <a:pt x="47" y="263"/>
                  </a:lnTo>
                  <a:lnTo>
                    <a:pt x="44" y="267"/>
                  </a:lnTo>
                  <a:lnTo>
                    <a:pt x="40" y="270"/>
                  </a:lnTo>
                  <a:lnTo>
                    <a:pt x="36" y="273"/>
                  </a:lnTo>
                  <a:lnTo>
                    <a:pt x="30" y="274"/>
                  </a:lnTo>
                  <a:lnTo>
                    <a:pt x="26" y="2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5" name="Group 10">
            <a:extLst>
              <a:ext uri="{FF2B5EF4-FFF2-40B4-BE49-F238E27FC236}">
                <a16:creationId xmlns:a16="http://schemas.microsoft.com/office/drawing/2014/main" id="{B077E574-A3B8-4C67-8F2E-84BAEDF7220E}"/>
              </a:ext>
            </a:extLst>
          </p:cNvPr>
          <p:cNvGrpSpPr>
            <a:grpSpLocks noChangeAspect="1"/>
          </p:cNvGrpSpPr>
          <p:nvPr/>
        </p:nvGrpSpPr>
        <p:grpSpPr>
          <a:xfrm>
            <a:off x="714685" y="3263433"/>
            <a:ext cx="198828" cy="285619"/>
            <a:chOff x="10501313" y="2228850"/>
            <a:chExt cx="200025" cy="287338"/>
          </a:xfrm>
          <a:solidFill>
            <a:schemeClr val="bg2"/>
          </a:solidFill>
          <a:effectLst/>
        </p:grpSpPr>
        <p:sp>
          <p:nvSpPr>
            <p:cNvPr id="446" name="Freeform 203">
              <a:extLst>
                <a:ext uri="{FF2B5EF4-FFF2-40B4-BE49-F238E27FC236}">
                  <a16:creationId xmlns:a16="http://schemas.microsoft.com/office/drawing/2014/main" id="{5044F358-38E2-4B69-AFE1-227125542372}"/>
                </a:ext>
              </a:extLst>
            </p:cNvPr>
            <p:cNvSpPr>
              <a:spLocks noEditPoints="1"/>
            </p:cNvSpPr>
            <p:nvPr/>
          </p:nvSpPr>
          <p:spPr bwMode="auto">
            <a:xfrm>
              <a:off x="10501313" y="2228850"/>
              <a:ext cx="200025" cy="201613"/>
            </a:xfrm>
            <a:custGeom>
              <a:avLst/>
              <a:gdLst>
                <a:gd name="T0" fmla="*/ 373 w 632"/>
                <a:gd name="T1" fmla="*/ 511 h 631"/>
                <a:gd name="T2" fmla="*/ 447 w 632"/>
                <a:gd name="T3" fmla="*/ 447 h 631"/>
                <a:gd name="T4" fmla="*/ 450 w 632"/>
                <a:gd name="T5" fmla="*/ 431 h 631"/>
                <a:gd name="T6" fmla="*/ 436 w 632"/>
                <a:gd name="T7" fmla="*/ 421 h 631"/>
                <a:gd name="T8" fmla="*/ 327 w 632"/>
                <a:gd name="T9" fmla="*/ 426 h 631"/>
                <a:gd name="T10" fmla="*/ 310 w 632"/>
                <a:gd name="T11" fmla="*/ 422 h 631"/>
                <a:gd name="T12" fmla="*/ 202 w 632"/>
                <a:gd name="T13" fmla="*/ 422 h 631"/>
                <a:gd name="T14" fmla="*/ 184 w 632"/>
                <a:gd name="T15" fmla="*/ 426 h 631"/>
                <a:gd name="T16" fmla="*/ 181 w 632"/>
                <a:gd name="T17" fmla="*/ 442 h 631"/>
                <a:gd name="T18" fmla="*/ 253 w 632"/>
                <a:gd name="T19" fmla="*/ 511 h 631"/>
                <a:gd name="T20" fmla="*/ 301 w 632"/>
                <a:gd name="T21" fmla="*/ 473 h 631"/>
                <a:gd name="T22" fmla="*/ 233 w 632"/>
                <a:gd name="T23" fmla="*/ 589 h 631"/>
                <a:gd name="T24" fmla="*/ 160 w 632"/>
                <a:gd name="T25" fmla="*/ 555 h 631"/>
                <a:gd name="T26" fmla="*/ 100 w 632"/>
                <a:gd name="T27" fmla="*/ 503 h 631"/>
                <a:gd name="T28" fmla="*/ 57 w 632"/>
                <a:gd name="T29" fmla="*/ 436 h 631"/>
                <a:gd name="T30" fmla="*/ 33 w 632"/>
                <a:gd name="T31" fmla="*/ 358 h 631"/>
                <a:gd name="T32" fmla="*/ 33 w 632"/>
                <a:gd name="T33" fmla="*/ 272 h 631"/>
                <a:gd name="T34" fmla="*/ 58 w 632"/>
                <a:gd name="T35" fmla="*/ 192 h 631"/>
                <a:gd name="T36" fmla="*/ 104 w 632"/>
                <a:gd name="T37" fmla="*/ 123 h 631"/>
                <a:gd name="T38" fmla="*/ 167 w 632"/>
                <a:gd name="T39" fmla="*/ 72 h 631"/>
                <a:gd name="T40" fmla="*/ 244 w 632"/>
                <a:gd name="T41" fmla="*/ 38 h 631"/>
                <a:gd name="T42" fmla="*/ 330 w 632"/>
                <a:gd name="T43" fmla="*/ 30 h 631"/>
                <a:gd name="T44" fmla="*/ 414 w 632"/>
                <a:gd name="T45" fmla="*/ 47 h 631"/>
                <a:gd name="T46" fmla="*/ 487 w 632"/>
                <a:gd name="T47" fmla="*/ 87 h 631"/>
                <a:gd name="T48" fmla="*/ 545 w 632"/>
                <a:gd name="T49" fmla="*/ 145 h 631"/>
                <a:gd name="T50" fmla="*/ 584 w 632"/>
                <a:gd name="T51" fmla="*/ 218 h 631"/>
                <a:gd name="T52" fmla="*/ 602 w 632"/>
                <a:gd name="T53" fmla="*/ 301 h 631"/>
                <a:gd name="T54" fmla="*/ 593 w 632"/>
                <a:gd name="T55" fmla="*/ 385 h 631"/>
                <a:gd name="T56" fmla="*/ 563 w 632"/>
                <a:gd name="T57" fmla="*/ 460 h 631"/>
                <a:gd name="T58" fmla="*/ 514 w 632"/>
                <a:gd name="T59" fmla="*/ 522 h 631"/>
                <a:gd name="T60" fmla="*/ 449 w 632"/>
                <a:gd name="T61" fmla="*/ 568 h 631"/>
                <a:gd name="T62" fmla="*/ 372 w 632"/>
                <a:gd name="T63" fmla="*/ 596 h 631"/>
                <a:gd name="T64" fmla="*/ 283 w 632"/>
                <a:gd name="T65" fmla="*/ 1 h 631"/>
                <a:gd name="T66" fmla="*/ 193 w 632"/>
                <a:gd name="T67" fmla="*/ 25 h 631"/>
                <a:gd name="T68" fmla="*/ 115 w 632"/>
                <a:gd name="T69" fmla="*/ 72 h 631"/>
                <a:gd name="T70" fmla="*/ 54 w 632"/>
                <a:gd name="T71" fmla="*/ 139 h 631"/>
                <a:gd name="T72" fmla="*/ 14 w 632"/>
                <a:gd name="T73" fmla="*/ 222 h 631"/>
                <a:gd name="T74" fmla="*/ 0 w 632"/>
                <a:gd name="T75" fmla="*/ 316 h 631"/>
                <a:gd name="T76" fmla="*/ 14 w 632"/>
                <a:gd name="T77" fmla="*/ 410 h 631"/>
                <a:gd name="T78" fmla="*/ 54 w 632"/>
                <a:gd name="T79" fmla="*/ 492 h 631"/>
                <a:gd name="T80" fmla="*/ 115 w 632"/>
                <a:gd name="T81" fmla="*/ 560 h 631"/>
                <a:gd name="T82" fmla="*/ 193 w 632"/>
                <a:gd name="T83" fmla="*/ 607 h 631"/>
                <a:gd name="T84" fmla="*/ 283 w 632"/>
                <a:gd name="T85" fmla="*/ 630 h 631"/>
                <a:gd name="T86" fmla="*/ 380 w 632"/>
                <a:gd name="T87" fmla="*/ 625 h 631"/>
                <a:gd name="T88" fmla="*/ 466 w 632"/>
                <a:gd name="T89" fmla="*/ 594 h 631"/>
                <a:gd name="T90" fmla="*/ 539 w 632"/>
                <a:gd name="T91" fmla="*/ 539 h 631"/>
                <a:gd name="T92" fmla="*/ 594 w 632"/>
                <a:gd name="T93" fmla="*/ 466 h 631"/>
                <a:gd name="T94" fmla="*/ 625 w 632"/>
                <a:gd name="T95" fmla="*/ 379 h 631"/>
                <a:gd name="T96" fmla="*/ 631 w 632"/>
                <a:gd name="T97" fmla="*/ 284 h 631"/>
                <a:gd name="T98" fmla="*/ 607 w 632"/>
                <a:gd name="T99" fmla="*/ 193 h 631"/>
                <a:gd name="T100" fmla="*/ 560 w 632"/>
                <a:gd name="T101" fmla="*/ 115 h 631"/>
                <a:gd name="T102" fmla="*/ 492 w 632"/>
                <a:gd name="T103" fmla="*/ 53 h 631"/>
                <a:gd name="T104" fmla="*/ 410 w 632"/>
                <a:gd name="T105" fmla="*/ 14 h 631"/>
                <a:gd name="T106" fmla="*/ 316 w 632"/>
                <a:gd name="T10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2" h="631">
                  <a:moveTo>
                    <a:pt x="331" y="601"/>
                  </a:moveTo>
                  <a:lnTo>
                    <a:pt x="331" y="473"/>
                  </a:lnTo>
                  <a:lnTo>
                    <a:pt x="366" y="507"/>
                  </a:lnTo>
                  <a:lnTo>
                    <a:pt x="368" y="509"/>
                  </a:lnTo>
                  <a:lnTo>
                    <a:pt x="370" y="510"/>
                  </a:lnTo>
                  <a:lnTo>
                    <a:pt x="373" y="511"/>
                  </a:lnTo>
                  <a:lnTo>
                    <a:pt x="376" y="511"/>
                  </a:lnTo>
                  <a:lnTo>
                    <a:pt x="379" y="511"/>
                  </a:lnTo>
                  <a:lnTo>
                    <a:pt x="382" y="510"/>
                  </a:lnTo>
                  <a:lnTo>
                    <a:pt x="384" y="509"/>
                  </a:lnTo>
                  <a:lnTo>
                    <a:pt x="387" y="507"/>
                  </a:lnTo>
                  <a:lnTo>
                    <a:pt x="447" y="447"/>
                  </a:lnTo>
                  <a:lnTo>
                    <a:pt x="449" y="445"/>
                  </a:lnTo>
                  <a:lnTo>
                    <a:pt x="450" y="442"/>
                  </a:lnTo>
                  <a:lnTo>
                    <a:pt x="451" y="440"/>
                  </a:lnTo>
                  <a:lnTo>
                    <a:pt x="451" y="436"/>
                  </a:lnTo>
                  <a:lnTo>
                    <a:pt x="451" y="433"/>
                  </a:lnTo>
                  <a:lnTo>
                    <a:pt x="450" y="431"/>
                  </a:lnTo>
                  <a:lnTo>
                    <a:pt x="449" y="428"/>
                  </a:lnTo>
                  <a:lnTo>
                    <a:pt x="447" y="426"/>
                  </a:lnTo>
                  <a:lnTo>
                    <a:pt x="445" y="423"/>
                  </a:lnTo>
                  <a:lnTo>
                    <a:pt x="442" y="422"/>
                  </a:lnTo>
                  <a:lnTo>
                    <a:pt x="440" y="421"/>
                  </a:lnTo>
                  <a:lnTo>
                    <a:pt x="436" y="421"/>
                  </a:lnTo>
                  <a:lnTo>
                    <a:pt x="433" y="421"/>
                  </a:lnTo>
                  <a:lnTo>
                    <a:pt x="431" y="422"/>
                  </a:lnTo>
                  <a:lnTo>
                    <a:pt x="428" y="423"/>
                  </a:lnTo>
                  <a:lnTo>
                    <a:pt x="426" y="426"/>
                  </a:lnTo>
                  <a:lnTo>
                    <a:pt x="376" y="475"/>
                  </a:lnTo>
                  <a:lnTo>
                    <a:pt x="327" y="426"/>
                  </a:lnTo>
                  <a:lnTo>
                    <a:pt x="324" y="423"/>
                  </a:lnTo>
                  <a:lnTo>
                    <a:pt x="322" y="422"/>
                  </a:lnTo>
                  <a:lnTo>
                    <a:pt x="318" y="421"/>
                  </a:lnTo>
                  <a:lnTo>
                    <a:pt x="316" y="421"/>
                  </a:lnTo>
                  <a:lnTo>
                    <a:pt x="313" y="421"/>
                  </a:lnTo>
                  <a:lnTo>
                    <a:pt x="310" y="422"/>
                  </a:lnTo>
                  <a:lnTo>
                    <a:pt x="308" y="423"/>
                  </a:lnTo>
                  <a:lnTo>
                    <a:pt x="306" y="426"/>
                  </a:lnTo>
                  <a:lnTo>
                    <a:pt x="255" y="475"/>
                  </a:lnTo>
                  <a:lnTo>
                    <a:pt x="206" y="426"/>
                  </a:lnTo>
                  <a:lnTo>
                    <a:pt x="204" y="423"/>
                  </a:lnTo>
                  <a:lnTo>
                    <a:pt x="202" y="422"/>
                  </a:lnTo>
                  <a:lnTo>
                    <a:pt x="198" y="421"/>
                  </a:lnTo>
                  <a:lnTo>
                    <a:pt x="195" y="421"/>
                  </a:lnTo>
                  <a:lnTo>
                    <a:pt x="193" y="421"/>
                  </a:lnTo>
                  <a:lnTo>
                    <a:pt x="190" y="422"/>
                  </a:lnTo>
                  <a:lnTo>
                    <a:pt x="188" y="423"/>
                  </a:lnTo>
                  <a:lnTo>
                    <a:pt x="184" y="426"/>
                  </a:lnTo>
                  <a:lnTo>
                    <a:pt x="183" y="428"/>
                  </a:lnTo>
                  <a:lnTo>
                    <a:pt x="181" y="431"/>
                  </a:lnTo>
                  <a:lnTo>
                    <a:pt x="180" y="433"/>
                  </a:lnTo>
                  <a:lnTo>
                    <a:pt x="180" y="436"/>
                  </a:lnTo>
                  <a:lnTo>
                    <a:pt x="180" y="440"/>
                  </a:lnTo>
                  <a:lnTo>
                    <a:pt x="181" y="442"/>
                  </a:lnTo>
                  <a:lnTo>
                    <a:pt x="183" y="445"/>
                  </a:lnTo>
                  <a:lnTo>
                    <a:pt x="184" y="447"/>
                  </a:lnTo>
                  <a:lnTo>
                    <a:pt x="244" y="507"/>
                  </a:lnTo>
                  <a:lnTo>
                    <a:pt x="248" y="509"/>
                  </a:lnTo>
                  <a:lnTo>
                    <a:pt x="250" y="510"/>
                  </a:lnTo>
                  <a:lnTo>
                    <a:pt x="253" y="511"/>
                  </a:lnTo>
                  <a:lnTo>
                    <a:pt x="255" y="511"/>
                  </a:lnTo>
                  <a:lnTo>
                    <a:pt x="258" y="511"/>
                  </a:lnTo>
                  <a:lnTo>
                    <a:pt x="262" y="510"/>
                  </a:lnTo>
                  <a:lnTo>
                    <a:pt x="264" y="509"/>
                  </a:lnTo>
                  <a:lnTo>
                    <a:pt x="266" y="507"/>
                  </a:lnTo>
                  <a:lnTo>
                    <a:pt x="301" y="473"/>
                  </a:lnTo>
                  <a:lnTo>
                    <a:pt x="301" y="601"/>
                  </a:lnTo>
                  <a:lnTo>
                    <a:pt x="286" y="600"/>
                  </a:lnTo>
                  <a:lnTo>
                    <a:pt x="273" y="598"/>
                  </a:lnTo>
                  <a:lnTo>
                    <a:pt x="259" y="596"/>
                  </a:lnTo>
                  <a:lnTo>
                    <a:pt x="246" y="593"/>
                  </a:lnTo>
                  <a:lnTo>
                    <a:pt x="233" y="589"/>
                  </a:lnTo>
                  <a:lnTo>
                    <a:pt x="220" y="584"/>
                  </a:lnTo>
                  <a:lnTo>
                    <a:pt x="207" y="580"/>
                  </a:lnTo>
                  <a:lnTo>
                    <a:pt x="195" y="575"/>
                  </a:lnTo>
                  <a:lnTo>
                    <a:pt x="183" y="568"/>
                  </a:lnTo>
                  <a:lnTo>
                    <a:pt x="172" y="562"/>
                  </a:lnTo>
                  <a:lnTo>
                    <a:pt x="160" y="555"/>
                  </a:lnTo>
                  <a:lnTo>
                    <a:pt x="149" y="548"/>
                  </a:lnTo>
                  <a:lnTo>
                    <a:pt x="138" y="539"/>
                  </a:lnTo>
                  <a:lnTo>
                    <a:pt x="128" y="531"/>
                  </a:lnTo>
                  <a:lnTo>
                    <a:pt x="118" y="522"/>
                  </a:lnTo>
                  <a:lnTo>
                    <a:pt x="109" y="512"/>
                  </a:lnTo>
                  <a:lnTo>
                    <a:pt x="100" y="503"/>
                  </a:lnTo>
                  <a:lnTo>
                    <a:pt x="91" y="492"/>
                  </a:lnTo>
                  <a:lnTo>
                    <a:pt x="84" y="482"/>
                  </a:lnTo>
                  <a:lnTo>
                    <a:pt x="76" y="471"/>
                  </a:lnTo>
                  <a:lnTo>
                    <a:pt x="69" y="460"/>
                  </a:lnTo>
                  <a:lnTo>
                    <a:pt x="62" y="448"/>
                  </a:lnTo>
                  <a:lnTo>
                    <a:pt x="57" y="436"/>
                  </a:lnTo>
                  <a:lnTo>
                    <a:pt x="51" y="423"/>
                  </a:lnTo>
                  <a:lnTo>
                    <a:pt x="46" y="411"/>
                  </a:lnTo>
                  <a:lnTo>
                    <a:pt x="42" y="398"/>
                  </a:lnTo>
                  <a:lnTo>
                    <a:pt x="39" y="385"/>
                  </a:lnTo>
                  <a:lnTo>
                    <a:pt x="35" y="372"/>
                  </a:lnTo>
                  <a:lnTo>
                    <a:pt x="33" y="358"/>
                  </a:lnTo>
                  <a:lnTo>
                    <a:pt x="31" y="344"/>
                  </a:lnTo>
                  <a:lnTo>
                    <a:pt x="30" y="330"/>
                  </a:lnTo>
                  <a:lnTo>
                    <a:pt x="30" y="316"/>
                  </a:lnTo>
                  <a:lnTo>
                    <a:pt x="30" y="301"/>
                  </a:lnTo>
                  <a:lnTo>
                    <a:pt x="31" y="286"/>
                  </a:lnTo>
                  <a:lnTo>
                    <a:pt x="33" y="272"/>
                  </a:lnTo>
                  <a:lnTo>
                    <a:pt x="35" y="258"/>
                  </a:lnTo>
                  <a:lnTo>
                    <a:pt x="39" y="244"/>
                  </a:lnTo>
                  <a:lnTo>
                    <a:pt x="43" y="230"/>
                  </a:lnTo>
                  <a:lnTo>
                    <a:pt x="47" y="218"/>
                  </a:lnTo>
                  <a:lnTo>
                    <a:pt x="52" y="205"/>
                  </a:lnTo>
                  <a:lnTo>
                    <a:pt x="58" y="192"/>
                  </a:lnTo>
                  <a:lnTo>
                    <a:pt x="64" y="180"/>
                  </a:lnTo>
                  <a:lnTo>
                    <a:pt x="72" y="167"/>
                  </a:lnTo>
                  <a:lnTo>
                    <a:pt x="78" y="156"/>
                  </a:lnTo>
                  <a:lnTo>
                    <a:pt x="87" y="145"/>
                  </a:lnTo>
                  <a:lnTo>
                    <a:pt x="95" y="134"/>
                  </a:lnTo>
                  <a:lnTo>
                    <a:pt x="104" y="123"/>
                  </a:lnTo>
                  <a:lnTo>
                    <a:pt x="114" y="114"/>
                  </a:lnTo>
                  <a:lnTo>
                    <a:pt x="123" y="104"/>
                  </a:lnTo>
                  <a:lnTo>
                    <a:pt x="134" y="95"/>
                  </a:lnTo>
                  <a:lnTo>
                    <a:pt x="145" y="87"/>
                  </a:lnTo>
                  <a:lnTo>
                    <a:pt x="157" y="79"/>
                  </a:lnTo>
                  <a:lnTo>
                    <a:pt x="167" y="72"/>
                  </a:lnTo>
                  <a:lnTo>
                    <a:pt x="180" y="64"/>
                  </a:lnTo>
                  <a:lnTo>
                    <a:pt x="192" y="58"/>
                  </a:lnTo>
                  <a:lnTo>
                    <a:pt x="205" y="52"/>
                  </a:lnTo>
                  <a:lnTo>
                    <a:pt x="218" y="47"/>
                  </a:lnTo>
                  <a:lnTo>
                    <a:pt x="231" y="43"/>
                  </a:lnTo>
                  <a:lnTo>
                    <a:pt x="244" y="38"/>
                  </a:lnTo>
                  <a:lnTo>
                    <a:pt x="258" y="35"/>
                  </a:lnTo>
                  <a:lnTo>
                    <a:pt x="272" y="33"/>
                  </a:lnTo>
                  <a:lnTo>
                    <a:pt x="286" y="31"/>
                  </a:lnTo>
                  <a:lnTo>
                    <a:pt x="301" y="30"/>
                  </a:lnTo>
                  <a:lnTo>
                    <a:pt x="316" y="30"/>
                  </a:lnTo>
                  <a:lnTo>
                    <a:pt x="330" y="30"/>
                  </a:lnTo>
                  <a:lnTo>
                    <a:pt x="345" y="31"/>
                  </a:lnTo>
                  <a:lnTo>
                    <a:pt x="359" y="33"/>
                  </a:lnTo>
                  <a:lnTo>
                    <a:pt x="373" y="35"/>
                  </a:lnTo>
                  <a:lnTo>
                    <a:pt x="387" y="38"/>
                  </a:lnTo>
                  <a:lnTo>
                    <a:pt x="401" y="43"/>
                  </a:lnTo>
                  <a:lnTo>
                    <a:pt x="414" y="47"/>
                  </a:lnTo>
                  <a:lnTo>
                    <a:pt x="427" y="52"/>
                  </a:lnTo>
                  <a:lnTo>
                    <a:pt x="440" y="58"/>
                  </a:lnTo>
                  <a:lnTo>
                    <a:pt x="453" y="64"/>
                  </a:lnTo>
                  <a:lnTo>
                    <a:pt x="464" y="72"/>
                  </a:lnTo>
                  <a:lnTo>
                    <a:pt x="476" y="79"/>
                  </a:lnTo>
                  <a:lnTo>
                    <a:pt x="487" y="87"/>
                  </a:lnTo>
                  <a:lnTo>
                    <a:pt x="498" y="95"/>
                  </a:lnTo>
                  <a:lnTo>
                    <a:pt x="508" y="104"/>
                  </a:lnTo>
                  <a:lnTo>
                    <a:pt x="518" y="114"/>
                  </a:lnTo>
                  <a:lnTo>
                    <a:pt x="528" y="123"/>
                  </a:lnTo>
                  <a:lnTo>
                    <a:pt x="536" y="134"/>
                  </a:lnTo>
                  <a:lnTo>
                    <a:pt x="545" y="145"/>
                  </a:lnTo>
                  <a:lnTo>
                    <a:pt x="553" y="156"/>
                  </a:lnTo>
                  <a:lnTo>
                    <a:pt x="561" y="167"/>
                  </a:lnTo>
                  <a:lnTo>
                    <a:pt x="567" y="180"/>
                  </a:lnTo>
                  <a:lnTo>
                    <a:pt x="574" y="192"/>
                  </a:lnTo>
                  <a:lnTo>
                    <a:pt x="579" y="205"/>
                  </a:lnTo>
                  <a:lnTo>
                    <a:pt x="584" y="218"/>
                  </a:lnTo>
                  <a:lnTo>
                    <a:pt x="589" y="230"/>
                  </a:lnTo>
                  <a:lnTo>
                    <a:pt x="593" y="244"/>
                  </a:lnTo>
                  <a:lnTo>
                    <a:pt x="596" y="258"/>
                  </a:lnTo>
                  <a:lnTo>
                    <a:pt x="598" y="272"/>
                  </a:lnTo>
                  <a:lnTo>
                    <a:pt x="601" y="286"/>
                  </a:lnTo>
                  <a:lnTo>
                    <a:pt x="602" y="301"/>
                  </a:lnTo>
                  <a:lnTo>
                    <a:pt x="602" y="316"/>
                  </a:lnTo>
                  <a:lnTo>
                    <a:pt x="602" y="330"/>
                  </a:lnTo>
                  <a:lnTo>
                    <a:pt x="601" y="344"/>
                  </a:lnTo>
                  <a:lnTo>
                    <a:pt x="598" y="358"/>
                  </a:lnTo>
                  <a:lnTo>
                    <a:pt x="596" y="372"/>
                  </a:lnTo>
                  <a:lnTo>
                    <a:pt x="593" y="385"/>
                  </a:lnTo>
                  <a:lnTo>
                    <a:pt x="590" y="398"/>
                  </a:lnTo>
                  <a:lnTo>
                    <a:pt x="586" y="411"/>
                  </a:lnTo>
                  <a:lnTo>
                    <a:pt x="581" y="423"/>
                  </a:lnTo>
                  <a:lnTo>
                    <a:pt x="575" y="436"/>
                  </a:lnTo>
                  <a:lnTo>
                    <a:pt x="569" y="448"/>
                  </a:lnTo>
                  <a:lnTo>
                    <a:pt x="563" y="460"/>
                  </a:lnTo>
                  <a:lnTo>
                    <a:pt x="555" y="471"/>
                  </a:lnTo>
                  <a:lnTo>
                    <a:pt x="548" y="482"/>
                  </a:lnTo>
                  <a:lnTo>
                    <a:pt x="540" y="492"/>
                  </a:lnTo>
                  <a:lnTo>
                    <a:pt x="532" y="503"/>
                  </a:lnTo>
                  <a:lnTo>
                    <a:pt x="523" y="512"/>
                  </a:lnTo>
                  <a:lnTo>
                    <a:pt x="514" y="522"/>
                  </a:lnTo>
                  <a:lnTo>
                    <a:pt x="504" y="531"/>
                  </a:lnTo>
                  <a:lnTo>
                    <a:pt x="493" y="539"/>
                  </a:lnTo>
                  <a:lnTo>
                    <a:pt x="483" y="548"/>
                  </a:lnTo>
                  <a:lnTo>
                    <a:pt x="472" y="555"/>
                  </a:lnTo>
                  <a:lnTo>
                    <a:pt x="460" y="562"/>
                  </a:lnTo>
                  <a:lnTo>
                    <a:pt x="449" y="568"/>
                  </a:lnTo>
                  <a:lnTo>
                    <a:pt x="436" y="575"/>
                  </a:lnTo>
                  <a:lnTo>
                    <a:pt x="425" y="580"/>
                  </a:lnTo>
                  <a:lnTo>
                    <a:pt x="412" y="584"/>
                  </a:lnTo>
                  <a:lnTo>
                    <a:pt x="399" y="589"/>
                  </a:lnTo>
                  <a:lnTo>
                    <a:pt x="386" y="593"/>
                  </a:lnTo>
                  <a:lnTo>
                    <a:pt x="372" y="596"/>
                  </a:lnTo>
                  <a:lnTo>
                    <a:pt x="359" y="598"/>
                  </a:lnTo>
                  <a:lnTo>
                    <a:pt x="345" y="600"/>
                  </a:lnTo>
                  <a:lnTo>
                    <a:pt x="331" y="601"/>
                  </a:lnTo>
                  <a:close/>
                  <a:moveTo>
                    <a:pt x="316" y="0"/>
                  </a:moveTo>
                  <a:lnTo>
                    <a:pt x="299" y="0"/>
                  </a:lnTo>
                  <a:lnTo>
                    <a:pt x="283" y="1"/>
                  </a:lnTo>
                  <a:lnTo>
                    <a:pt x="268" y="3"/>
                  </a:lnTo>
                  <a:lnTo>
                    <a:pt x="252" y="6"/>
                  </a:lnTo>
                  <a:lnTo>
                    <a:pt x="237" y="10"/>
                  </a:lnTo>
                  <a:lnTo>
                    <a:pt x="222" y="14"/>
                  </a:lnTo>
                  <a:lnTo>
                    <a:pt x="207" y="19"/>
                  </a:lnTo>
                  <a:lnTo>
                    <a:pt x="193" y="25"/>
                  </a:lnTo>
                  <a:lnTo>
                    <a:pt x="179" y="31"/>
                  </a:lnTo>
                  <a:lnTo>
                    <a:pt x="165" y="38"/>
                  </a:lnTo>
                  <a:lnTo>
                    <a:pt x="152" y="46"/>
                  </a:lnTo>
                  <a:lnTo>
                    <a:pt x="139" y="53"/>
                  </a:lnTo>
                  <a:lnTo>
                    <a:pt x="126" y="63"/>
                  </a:lnTo>
                  <a:lnTo>
                    <a:pt x="115" y="72"/>
                  </a:lnTo>
                  <a:lnTo>
                    <a:pt x="103" y="82"/>
                  </a:lnTo>
                  <a:lnTo>
                    <a:pt x="92" y="92"/>
                  </a:lnTo>
                  <a:lnTo>
                    <a:pt x="81" y="104"/>
                  </a:lnTo>
                  <a:lnTo>
                    <a:pt x="72" y="115"/>
                  </a:lnTo>
                  <a:lnTo>
                    <a:pt x="62" y="126"/>
                  </a:lnTo>
                  <a:lnTo>
                    <a:pt x="54" y="139"/>
                  </a:lnTo>
                  <a:lnTo>
                    <a:pt x="46" y="152"/>
                  </a:lnTo>
                  <a:lnTo>
                    <a:pt x="37" y="165"/>
                  </a:lnTo>
                  <a:lnTo>
                    <a:pt x="31" y="179"/>
                  </a:lnTo>
                  <a:lnTo>
                    <a:pt x="25" y="193"/>
                  </a:lnTo>
                  <a:lnTo>
                    <a:pt x="19" y="207"/>
                  </a:lnTo>
                  <a:lnTo>
                    <a:pt x="14" y="222"/>
                  </a:lnTo>
                  <a:lnTo>
                    <a:pt x="10" y="237"/>
                  </a:lnTo>
                  <a:lnTo>
                    <a:pt x="6" y="252"/>
                  </a:lnTo>
                  <a:lnTo>
                    <a:pt x="3" y="268"/>
                  </a:lnTo>
                  <a:lnTo>
                    <a:pt x="1" y="284"/>
                  </a:lnTo>
                  <a:lnTo>
                    <a:pt x="0" y="299"/>
                  </a:lnTo>
                  <a:lnTo>
                    <a:pt x="0" y="316"/>
                  </a:lnTo>
                  <a:lnTo>
                    <a:pt x="0" y="332"/>
                  </a:lnTo>
                  <a:lnTo>
                    <a:pt x="1" y="348"/>
                  </a:lnTo>
                  <a:lnTo>
                    <a:pt x="3" y="363"/>
                  </a:lnTo>
                  <a:lnTo>
                    <a:pt x="6" y="379"/>
                  </a:lnTo>
                  <a:lnTo>
                    <a:pt x="10" y="394"/>
                  </a:lnTo>
                  <a:lnTo>
                    <a:pt x="14" y="410"/>
                  </a:lnTo>
                  <a:lnTo>
                    <a:pt x="19" y="425"/>
                  </a:lnTo>
                  <a:lnTo>
                    <a:pt x="25" y="438"/>
                  </a:lnTo>
                  <a:lnTo>
                    <a:pt x="31" y="452"/>
                  </a:lnTo>
                  <a:lnTo>
                    <a:pt x="37" y="466"/>
                  </a:lnTo>
                  <a:lnTo>
                    <a:pt x="46" y="479"/>
                  </a:lnTo>
                  <a:lnTo>
                    <a:pt x="54" y="492"/>
                  </a:lnTo>
                  <a:lnTo>
                    <a:pt x="62" y="505"/>
                  </a:lnTo>
                  <a:lnTo>
                    <a:pt x="72" y="517"/>
                  </a:lnTo>
                  <a:lnTo>
                    <a:pt x="81" y="529"/>
                  </a:lnTo>
                  <a:lnTo>
                    <a:pt x="92" y="539"/>
                  </a:lnTo>
                  <a:lnTo>
                    <a:pt x="103" y="550"/>
                  </a:lnTo>
                  <a:lnTo>
                    <a:pt x="115" y="560"/>
                  </a:lnTo>
                  <a:lnTo>
                    <a:pt x="126" y="569"/>
                  </a:lnTo>
                  <a:lnTo>
                    <a:pt x="139" y="578"/>
                  </a:lnTo>
                  <a:lnTo>
                    <a:pt x="152" y="586"/>
                  </a:lnTo>
                  <a:lnTo>
                    <a:pt x="165" y="594"/>
                  </a:lnTo>
                  <a:lnTo>
                    <a:pt x="179" y="600"/>
                  </a:lnTo>
                  <a:lnTo>
                    <a:pt x="193" y="607"/>
                  </a:lnTo>
                  <a:lnTo>
                    <a:pt x="207" y="612"/>
                  </a:lnTo>
                  <a:lnTo>
                    <a:pt x="222" y="618"/>
                  </a:lnTo>
                  <a:lnTo>
                    <a:pt x="237" y="622"/>
                  </a:lnTo>
                  <a:lnTo>
                    <a:pt x="252" y="625"/>
                  </a:lnTo>
                  <a:lnTo>
                    <a:pt x="268" y="628"/>
                  </a:lnTo>
                  <a:lnTo>
                    <a:pt x="283" y="630"/>
                  </a:lnTo>
                  <a:lnTo>
                    <a:pt x="299" y="631"/>
                  </a:lnTo>
                  <a:lnTo>
                    <a:pt x="316" y="631"/>
                  </a:lnTo>
                  <a:lnTo>
                    <a:pt x="332" y="631"/>
                  </a:lnTo>
                  <a:lnTo>
                    <a:pt x="348" y="630"/>
                  </a:lnTo>
                  <a:lnTo>
                    <a:pt x="364" y="628"/>
                  </a:lnTo>
                  <a:lnTo>
                    <a:pt x="380" y="625"/>
                  </a:lnTo>
                  <a:lnTo>
                    <a:pt x="395" y="622"/>
                  </a:lnTo>
                  <a:lnTo>
                    <a:pt x="410" y="618"/>
                  </a:lnTo>
                  <a:lnTo>
                    <a:pt x="425" y="612"/>
                  </a:lnTo>
                  <a:lnTo>
                    <a:pt x="439" y="607"/>
                  </a:lnTo>
                  <a:lnTo>
                    <a:pt x="453" y="600"/>
                  </a:lnTo>
                  <a:lnTo>
                    <a:pt x="466" y="594"/>
                  </a:lnTo>
                  <a:lnTo>
                    <a:pt x="479" y="586"/>
                  </a:lnTo>
                  <a:lnTo>
                    <a:pt x="492" y="578"/>
                  </a:lnTo>
                  <a:lnTo>
                    <a:pt x="505" y="569"/>
                  </a:lnTo>
                  <a:lnTo>
                    <a:pt x="517" y="560"/>
                  </a:lnTo>
                  <a:lnTo>
                    <a:pt x="529" y="550"/>
                  </a:lnTo>
                  <a:lnTo>
                    <a:pt x="539" y="539"/>
                  </a:lnTo>
                  <a:lnTo>
                    <a:pt x="550" y="529"/>
                  </a:lnTo>
                  <a:lnTo>
                    <a:pt x="560" y="517"/>
                  </a:lnTo>
                  <a:lnTo>
                    <a:pt x="569" y="505"/>
                  </a:lnTo>
                  <a:lnTo>
                    <a:pt x="578" y="492"/>
                  </a:lnTo>
                  <a:lnTo>
                    <a:pt x="587" y="479"/>
                  </a:lnTo>
                  <a:lnTo>
                    <a:pt x="594" y="466"/>
                  </a:lnTo>
                  <a:lnTo>
                    <a:pt x="601" y="452"/>
                  </a:lnTo>
                  <a:lnTo>
                    <a:pt x="607" y="438"/>
                  </a:lnTo>
                  <a:lnTo>
                    <a:pt x="612" y="425"/>
                  </a:lnTo>
                  <a:lnTo>
                    <a:pt x="618" y="410"/>
                  </a:lnTo>
                  <a:lnTo>
                    <a:pt x="622" y="394"/>
                  </a:lnTo>
                  <a:lnTo>
                    <a:pt x="625" y="379"/>
                  </a:lnTo>
                  <a:lnTo>
                    <a:pt x="628" y="363"/>
                  </a:lnTo>
                  <a:lnTo>
                    <a:pt x="631" y="348"/>
                  </a:lnTo>
                  <a:lnTo>
                    <a:pt x="632" y="332"/>
                  </a:lnTo>
                  <a:lnTo>
                    <a:pt x="632" y="316"/>
                  </a:lnTo>
                  <a:lnTo>
                    <a:pt x="632" y="299"/>
                  </a:lnTo>
                  <a:lnTo>
                    <a:pt x="631" y="284"/>
                  </a:lnTo>
                  <a:lnTo>
                    <a:pt x="628" y="268"/>
                  </a:lnTo>
                  <a:lnTo>
                    <a:pt x="625" y="252"/>
                  </a:lnTo>
                  <a:lnTo>
                    <a:pt x="622" y="237"/>
                  </a:lnTo>
                  <a:lnTo>
                    <a:pt x="618" y="222"/>
                  </a:lnTo>
                  <a:lnTo>
                    <a:pt x="612" y="207"/>
                  </a:lnTo>
                  <a:lnTo>
                    <a:pt x="607" y="193"/>
                  </a:lnTo>
                  <a:lnTo>
                    <a:pt x="601" y="179"/>
                  </a:lnTo>
                  <a:lnTo>
                    <a:pt x="594" y="165"/>
                  </a:lnTo>
                  <a:lnTo>
                    <a:pt x="587" y="152"/>
                  </a:lnTo>
                  <a:lnTo>
                    <a:pt x="578" y="139"/>
                  </a:lnTo>
                  <a:lnTo>
                    <a:pt x="569" y="126"/>
                  </a:lnTo>
                  <a:lnTo>
                    <a:pt x="560" y="115"/>
                  </a:lnTo>
                  <a:lnTo>
                    <a:pt x="550" y="104"/>
                  </a:lnTo>
                  <a:lnTo>
                    <a:pt x="539" y="92"/>
                  </a:lnTo>
                  <a:lnTo>
                    <a:pt x="529" y="82"/>
                  </a:lnTo>
                  <a:lnTo>
                    <a:pt x="517" y="72"/>
                  </a:lnTo>
                  <a:lnTo>
                    <a:pt x="505" y="63"/>
                  </a:lnTo>
                  <a:lnTo>
                    <a:pt x="492" y="53"/>
                  </a:lnTo>
                  <a:lnTo>
                    <a:pt x="479" y="46"/>
                  </a:lnTo>
                  <a:lnTo>
                    <a:pt x="466" y="38"/>
                  </a:lnTo>
                  <a:lnTo>
                    <a:pt x="453" y="31"/>
                  </a:lnTo>
                  <a:lnTo>
                    <a:pt x="439" y="25"/>
                  </a:lnTo>
                  <a:lnTo>
                    <a:pt x="425" y="19"/>
                  </a:lnTo>
                  <a:lnTo>
                    <a:pt x="410" y="14"/>
                  </a:lnTo>
                  <a:lnTo>
                    <a:pt x="395" y="10"/>
                  </a:lnTo>
                  <a:lnTo>
                    <a:pt x="380" y="6"/>
                  </a:lnTo>
                  <a:lnTo>
                    <a:pt x="364" y="3"/>
                  </a:lnTo>
                  <a:lnTo>
                    <a:pt x="348" y="1"/>
                  </a:lnTo>
                  <a:lnTo>
                    <a:pt x="332"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04">
              <a:extLst>
                <a:ext uri="{FF2B5EF4-FFF2-40B4-BE49-F238E27FC236}">
                  <a16:creationId xmlns:a16="http://schemas.microsoft.com/office/drawing/2014/main" id="{272099AA-B974-41D2-8B11-022A246EE819}"/>
                </a:ext>
              </a:extLst>
            </p:cNvPr>
            <p:cNvSpPr>
              <a:spLocks/>
            </p:cNvSpPr>
            <p:nvPr/>
          </p:nvSpPr>
          <p:spPr bwMode="auto">
            <a:xfrm>
              <a:off x="10567988" y="2449513"/>
              <a:ext cx="66675" cy="9525"/>
            </a:xfrm>
            <a:custGeom>
              <a:avLst/>
              <a:gdLst>
                <a:gd name="T0" fmla="*/ 196 w 211"/>
                <a:gd name="T1" fmla="*/ 0 h 31"/>
                <a:gd name="T2" fmla="*/ 15 w 211"/>
                <a:gd name="T3" fmla="*/ 0 h 31"/>
                <a:gd name="T4" fmla="*/ 13 w 211"/>
                <a:gd name="T5" fmla="*/ 1 h 31"/>
                <a:gd name="T6" fmla="*/ 10 w 211"/>
                <a:gd name="T7" fmla="*/ 2 h 31"/>
                <a:gd name="T8" fmla="*/ 8 w 211"/>
                <a:gd name="T9" fmla="*/ 3 h 31"/>
                <a:gd name="T10" fmla="*/ 4 w 211"/>
                <a:gd name="T11" fmla="*/ 5 h 31"/>
                <a:gd name="T12" fmla="*/ 3 w 211"/>
                <a:gd name="T13" fmla="*/ 7 h 31"/>
                <a:gd name="T14" fmla="*/ 1 w 211"/>
                <a:gd name="T15" fmla="*/ 9 h 31"/>
                <a:gd name="T16" fmla="*/ 1 w 211"/>
                <a:gd name="T17" fmla="*/ 12 h 31"/>
                <a:gd name="T18" fmla="*/ 0 w 211"/>
                <a:gd name="T19" fmla="*/ 16 h 31"/>
                <a:gd name="T20" fmla="*/ 1 w 211"/>
                <a:gd name="T21" fmla="*/ 18 h 31"/>
                <a:gd name="T22" fmla="*/ 1 w 211"/>
                <a:gd name="T23" fmla="*/ 21 h 31"/>
                <a:gd name="T24" fmla="*/ 3 w 211"/>
                <a:gd name="T25" fmla="*/ 23 h 31"/>
                <a:gd name="T26" fmla="*/ 4 w 211"/>
                <a:gd name="T27" fmla="*/ 25 h 31"/>
                <a:gd name="T28" fmla="*/ 8 w 211"/>
                <a:gd name="T29" fmla="*/ 27 h 31"/>
                <a:gd name="T30" fmla="*/ 10 w 211"/>
                <a:gd name="T31" fmla="*/ 28 h 31"/>
                <a:gd name="T32" fmla="*/ 13 w 211"/>
                <a:gd name="T33" fmla="*/ 30 h 31"/>
                <a:gd name="T34" fmla="*/ 15 w 211"/>
                <a:gd name="T35" fmla="*/ 31 h 31"/>
                <a:gd name="T36" fmla="*/ 196 w 211"/>
                <a:gd name="T37" fmla="*/ 31 h 31"/>
                <a:gd name="T38" fmla="*/ 200 w 211"/>
                <a:gd name="T39" fmla="*/ 30 h 31"/>
                <a:gd name="T40" fmla="*/ 202 w 211"/>
                <a:gd name="T41" fmla="*/ 28 h 31"/>
                <a:gd name="T42" fmla="*/ 205 w 211"/>
                <a:gd name="T43" fmla="*/ 27 h 31"/>
                <a:gd name="T44" fmla="*/ 207 w 211"/>
                <a:gd name="T45" fmla="*/ 25 h 31"/>
                <a:gd name="T46" fmla="*/ 208 w 211"/>
                <a:gd name="T47" fmla="*/ 23 h 31"/>
                <a:gd name="T48" fmla="*/ 210 w 211"/>
                <a:gd name="T49" fmla="*/ 21 h 31"/>
                <a:gd name="T50" fmla="*/ 211 w 211"/>
                <a:gd name="T51" fmla="*/ 18 h 31"/>
                <a:gd name="T52" fmla="*/ 211 w 211"/>
                <a:gd name="T53" fmla="*/ 16 h 31"/>
                <a:gd name="T54" fmla="*/ 211 w 211"/>
                <a:gd name="T55" fmla="*/ 12 h 31"/>
                <a:gd name="T56" fmla="*/ 210 w 211"/>
                <a:gd name="T57" fmla="*/ 9 h 31"/>
                <a:gd name="T58" fmla="*/ 208 w 211"/>
                <a:gd name="T59" fmla="*/ 7 h 31"/>
                <a:gd name="T60" fmla="*/ 207 w 211"/>
                <a:gd name="T61" fmla="*/ 5 h 31"/>
                <a:gd name="T62" fmla="*/ 205 w 211"/>
                <a:gd name="T63" fmla="*/ 3 h 31"/>
                <a:gd name="T64" fmla="*/ 202 w 211"/>
                <a:gd name="T65" fmla="*/ 2 h 31"/>
                <a:gd name="T66" fmla="*/ 200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3" y="1"/>
                  </a:lnTo>
                  <a:lnTo>
                    <a:pt x="10" y="2"/>
                  </a:lnTo>
                  <a:lnTo>
                    <a:pt x="8" y="3"/>
                  </a:lnTo>
                  <a:lnTo>
                    <a:pt x="4" y="5"/>
                  </a:lnTo>
                  <a:lnTo>
                    <a:pt x="3" y="7"/>
                  </a:lnTo>
                  <a:lnTo>
                    <a:pt x="1" y="9"/>
                  </a:lnTo>
                  <a:lnTo>
                    <a:pt x="1" y="12"/>
                  </a:lnTo>
                  <a:lnTo>
                    <a:pt x="0" y="16"/>
                  </a:lnTo>
                  <a:lnTo>
                    <a:pt x="1" y="18"/>
                  </a:lnTo>
                  <a:lnTo>
                    <a:pt x="1" y="21"/>
                  </a:lnTo>
                  <a:lnTo>
                    <a:pt x="3" y="23"/>
                  </a:lnTo>
                  <a:lnTo>
                    <a:pt x="4" y="25"/>
                  </a:lnTo>
                  <a:lnTo>
                    <a:pt x="8" y="27"/>
                  </a:lnTo>
                  <a:lnTo>
                    <a:pt x="10" y="28"/>
                  </a:lnTo>
                  <a:lnTo>
                    <a:pt x="13" y="30"/>
                  </a:lnTo>
                  <a:lnTo>
                    <a:pt x="15" y="31"/>
                  </a:lnTo>
                  <a:lnTo>
                    <a:pt x="196" y="31"/>
                  </a:lnTo>
                  <a:lnTo>
                    <a:pt x="200" y="30"/>
                  </a:lnTo>
                  <a:lnTo>
                    <a:pt x="202" y="28"/>
                  </a:lnTo>
                  <a:lnTo>
                    <a:pt x="205" y="27"/>
                  </a:lnTo>
                  <a:lnTo>
                    <a:pt x="207" y="25"/>
                  </a:lnTo>
                  <a:lnTo>
                    <a:pt x="208" y="23"/>
                  </a:lnTo>
                  <a:lnTo>
                    <a:pt x="210" y="21"/>
                  </a:lnTo>
                  <a:lnTo>
                    <a:pt x="211" y="18"/>
                  </a:lnTo>
                  <a:lnTo>
                    <a:pt x="211" y="16"/>
                  </a:lnTo>
                  <a:lnTo>
                    <a:pt x="211" y="12"/>
                  </a:lnTo>
                  <a:lnTo>
                    <a:pt x="210" y="9"/>
                  </a:lnTo>
                  <a:lnTo>
                    <a:pt x="208" y="7"/>
                  </a:lnTo>
                  <a:lnTo>
                    <a:pt x="207" y="5"/>
                  </a:lnTo>
                  <a:lnTo>
                    <a:pt x="205" y="3"/>
                  </a:lnTo>
                  <a:lnTo>
                    <a:pt x="202" y="2"/>
                  </a:lnTo>
                  <a:lnTo>
                    <a:pt x="200"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05">
              <a:extLst>
                <a:ext uri="{FF2B5EF4-FFF2-40B4-BE49-F238E27FC236}">
                  <a16:creationId xmlns:a16="http://schemas.microsoft.com/office/drawing/2014/main" id="{6AB3D108-839D-49EF-B8F7-8E80287AD289}"/>
                </a:ext>
              </a:extLst>
            </p:cNvPr>
            <p:cNvSpPr>
              <a:spLocks/>
            </p:cNvSpPr>
            <p:nvPr/>
          </p:nvSpPr>
          <p:spPr bwMode="auto">
            <a:xfrm>
              <a:off x="10567988" y="2468563"/>
              <a:ext cx="66675" cy="9525"/>
            </a:xfrm>
            <a:custGeom>
              <a:avLst/>
              <a:gdLst>
                <a:gd name="T0" fmla="*/ 196 w 211"/>
                <a:gd name="T1" fmla="*/ 0 h 30"/>
                <a:gd name="T2" fmla="*/ 15 w 211"/>
                <a:gd name="T3" fmla="*/ 0 h 30"/>
                <a:gd name="T4" fmla="*/ 13 w 211"/>
                <a:gd name="T5" fmla="*/ 0 h 30"/>
                <a:gd name="T6" fmla="*/ 10 w 211"/>
                <a:gd name="T7" fmla="*/ 1 h 30"/>
                <a:gd name="T8" fmla="*/ 8 w 211"/>
                <a:gd name="T9" fmla="*/ 2 h 30"/>
                <a:gd name="T10" fmla="*/ 4 w 211"/>
                <a:gd name="T11" fmla="*/ 4 h 30"/>
                <a:gd name="T12" fmla="*/ 3 w 211"/>
                <a:gd name="T13" fmla="*/ 6 h 30"/>
                <a:gd name="T14" fmla="*/ 1 w 211"/>
                <a:gd name="T15" fmla="*/ 8 h 30"/>
                <a:gd name="T16" fmla="*/ 1 w 211"/>
                <a:gd name="T17" fmla="*/ 11 h 30"/>
                <a:gd name="T18" fmla="*/ 0 w 211"/>
                <a:gd name="T19" fmla="*/ 15 h 30"/>
                <a:gd name="T20" fmla="*/ 1 w 211"/>
                <a:gd name="T21" fmla="*/ 17 h 30"/>
                <a:gd name="T22" fmla="*/ 1 w 211"/>
                <a:gd name="T23" fmla="*/ 20 h 30"/>
                <a:gd name="T24" fmla="*/ 3 w 211"/>
                <a:gd name="T25" fmla="*/ 22 h 30"/>
                <a:gd name="T26" fmla="*/ 4 w 211"/>
                <a:gd name="T27" fmla="*/ 25 h 30"/>
                <a:gd name="T28" fmla="*/ 8 w 211"/>
                <a:gd name="T29" fmla="*/ 26 h 30"/>
                <a:gd name="T30" fmla="*/ 10 w 211"/>
                <a:gd name="T31" fmla="*/ 29 h 30"/>
                <a:gd name="T32" fmla="*/ 13 w 211"/>
                <a:gd name="T33" fmla="*/ 29 h 30"/>
                <a:gd name="T34" fmla="*/ 15 w 211"/>
                <a:gd name="T35" fmla="*/ 30 h 30"/>
                <a:gd name="T36" fmla="*/ 196 w 211"/>
                <a:gd name="T37" fmla="*/ 30 h 30"/>
                <a:gd name="T38" fmla="*/ 200 w 211"/>
                <a:gd name="T39" fmla="*/ 29 h 30"/>
                <a:gd name="T40" fmla="*/ 202 w 211"/>
                <a:gd name="T41" fmla="*/ 29 h 30"/>
                <a:gd name="T42" fmla="*/ 205 w 211"/>
                <a:gd name="T43" fmla="*/ 26 h 30"/>
                <a:gd name="T44" fmla="*/ 207 w 211"/>
                <a:gd name="T45" fmla="*/ 25 h 30"/>
                <a:gd name="T46" fmla="*/ 208 w 211"/>
                <a:gd name="T47" fmla="*/ 22 h 30"/>
                <a:gd name="T48" fmla="*/ 210 w 211"/>
                <a:gd name="T49" fmla="*/ 20 h 30"/>
                <a:gd name="T50" fmla="*/ 211 w 211"/>
                <a:gd name="T51" fmla="*/ 17 h 30"/>
                <a:gd name="T52" fmla="*/ 211 w 211"/>
                <a:gd name="T53" fmla="*/ 15 h 30"/>
                <a:gd name="T54" fmla="*/ 211 w 211"/>
                <a:gd name="T55" fmla="*/ 11 h 30"/>
                <a:gd name="T56" fmla="*/ 210 w 211"/>
                <a:gd name="T57" fmla="*/ 8 h 30"/>
                <a:gd name="T58" fmla="*/ 208 w 211"/>
                <a:gd name="T59" fmla="*/ 6 h 30"/>
                <a:gd name="T60" fmla="*/ 207 w 211"/>
                <a:gd name="T61" fmla="*/ 4 h 30"/>
                <a:gd name="T62" fmla="*/ 205 w 211"/>
                <a:gd name="T63" fmla="*/ 2 h 30"/>
                <a:gd name="T64" fmla="*/ 202 w 211"/>
                <a:gd name="T65" fmla="*/ 1 h 30"/>
                <a:gd name="T66" fmla="*/ 200 w 211"/>
                <a:gd name="T67" fmla="*/ 0 h 30"/>
                <a:gd name="T68" fmla="*/ 196 w 21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0">
                  <a:moveTo>
                    <a:pt x="196" y="0"/>
                  </a:moveTo>
                  <a:lnTo>
                    <a:pt x="15" y="0"/>
                  </a:lnTo>
                  <a:lnTo>
                    <a:pt x="13" y="0"/>
                  </a:lnTo>
                  <a:lnTo>
                    <a:pt x="10" y="1"/>
                  </a:lnTo>
                  <a:lnTo>
                    <a:pt x="8" y="2"/>
                  </a:lnTo>
                  <a:lnTo>
                    <a:pt x="4" y="4"/>
                  </a:lnTo>
                  <a:lnTo>
                    <a:pt x="3" y="6"/>
                  </a:lnTo>
                  <a:lnTo>
                    <a:pt x="1" y="8"/>
                  </a:lnTo>
                  <a:lnTo>
                    <a:pt x="1" y="11"/>
                  </a:lnTo>
                  <a:lnTo>
                    <a:pt x="0" y="15"/>
                  </a:lnTo>
                  <a:lnTo>
                    <a:pt x="1" y="17"/>
                  </a:lnTo>
                  <a:lnTo>
                    <a:pt x="1" y="20"/>
                  </a:lnTo>
                  <a:lnTo>
                    <a:pt x="3" y="22"/>
                  </a:lnTo>
                  <a:lnTo>
                    <a:pt x="4" y="25"/>
                  </a:lnTo>
                  <a:lnTo>
                    <a:pt x="8" y="26"/>
                  </a:lnTo>
                  <a:lnTo>
                    <a:pt x="10" y="29"/>
                  </a:lnTo>
                  <a:lnTo>
                    <a:pt x="13" y="29"/>
                  </a:lnTo>
                  <a:lnTo>
                    <a:pt x="15" y="30"/>
                  </a:lnTo>
                  <a:lnTo>
                    <a:pt x="196" y="30"/>
                  </a:lnTo>
                  <a:lnTo>
                    <a:pt x="200" y="29"/>
                  </a:lnTo>
                  <a:lnTo>
                    <a:pt x="202" y="29"/>
                  </a:lnTo>
                  <a:lnTo>
                    <a:pt x="205" y="26"/>
                  </a:lnTo>
                  <a:lnTo>
                    <a:pt x="207" y="25"/>
                  </a:lnTo>
                  <a:lnTo>
                    <a:pt x="208" y="22"/>
                  </a:lnTo>
                  <a:lnTo>
                    <a:pt x="210" y="20"/>
                  </a:lnTo>
                  <a:lnTo>
                    <a:pt x="211" y="17"/>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06">
              <a:extLst>
                <a:ext uri="{FF2B5EF4-FFF2-40B4-BE49-F238E27FC236}">
                  <a16:creationId xmlns:a16="http://schemas.microsoft.com/office/drawing/2014/main" id="{4C312FAE-9085-4546-B360-8470FA40B158}"/>
                </a:ext>
              </a:extLst>
            </p:cNvPr>
            <p:cNvSpPr>
              <a:spLocks/>
            </p:cNvSpPr>
            <p:nvPr/>
          </p:nvSpPr>
          <p:spPr bwMode="auto">
            <a:xfrm>
              <a:off x="10567988" y="2487613"/>
              <a:ext cx="66675" cy="28575"/>
            </a:xfrm>
            <a:custGeom>
              <a:avLst/>
              <a:gdLst>
                <a:gd name="T0" fmla="*/ 196 w 211"/>
                <a:gd name="T1" fmla="*/ 0 h 90"/>
                <a:gd name="T2" fmla="*/ 15 w 211"/>
                <a:gd name="T3" fmla="*/ 0 h 90"/>
                <a:gd name="T4" fmla="*/ 13 w 211"/>
                <a:gd name="T5" fmla="*/ 0 h 90"/>
                <a:gd name="T6" fmla="*/ 10 w 211"/>
                <a:gd name="T7" fmla="*/ 1 h 90"/>
                <a:gd name="T8" fmla="*/ 8 w 211"/>
                <a:gd name="T9" fmla="*/ 2 h 90"/>
                <a:gd name="T10" fmla="*/ 4 w 211"/>
                <a:gd name="T11" fmla="*/ 4 h 90"/>
                <a:gd name="T12" fmla="*/ 3 w 211"/>
                <a:gd name="T13" fmla="*/ 6 h 90"/>
                <a:gd name="T14" fmla="*/ 1 w 211"/>
                <a:gd name="T15" fmla="*/ 8 h 90"/>
                <a:gd name="T16" fmla="*/ 1 w 211"/>
                <a:gd name="T17" fmla="*/ 11 h 90"/>
                <a:gd name="T18" fmla="*/ 0 w 211"/>
                <a:gd name="T19" fmla="*/ 15 h 90"/>
                <a:gd name="T20" fmla="*/ 1 w 211"/>
                <a:gd name="T21" fmla="*/ 18 h 90"/>
                <a:gd name="T22" fmla="*/ 1 w 211"/>
                <a:gd name="T23" fmla="*/ 20 h 90"/>
                <a:gd name="T24" fmla="*/ 3 w 211"/>
                <a:gd name="T25" fmla="*/ 23 h 90"/>
                <a:gd name="T26" fmla="*/ 4 w 211"/>
                <a:gd name="T27" fmla="*/ 25 h 90"/>
                <a:gd name="T28" fmla="*/ 8 w 211"/>
                <a:gd name="T29" fmla="*/ 27 h 90"/>
                <a:gd name="T30" fmla="*/ 10 w 211"/>
                <a:gd name="T31" fmla="*/ 29 h 90"/>
                <a:gd name="T32" fmla="*/ 13 w 211"/>
                <a:gd name="T33" fmla="*/ 30 h 90"/>
                <a:gd name="T34" fmla="*/ 15 w 211"/>
                <a:gd name="T35" fmla="*/ 30 h 90"/>
                <a:gd name="T36" fmla="*/ 91 w 211"/>
                <a:gd name="T37" fmla="*/ 30 h 90"/>
                <a:gd name="T38" fmla="*/ 91 w 211"/>
                <a:gd name="T39" fmla="*/ 75 h 90"/>
                <a:gd name="T40" fmla="*/ 91 w 211"/>
                <a:gd name="T41" fmla="*/ 78 h 90"/>
                <a:gd name="T42" fmla="*/ 92 w 211"/>
                <a:gd name="T43" fmla="*/ 80 h 90"/>
                <a:gd name="T44" fmla="*/ 93 w 211"/>
                <a:gd name="T45" fmla="*/ 83 h 90"/>
                <a:gd name="T46" fmla="*/ 96 w 211"/>
                <a:gd name="T47" fmla="*/ 85 h 90"/>
                <a:gd name="T48" fmla="*/ 98 w 211"/>
                <a:gd name="T49" fmla="*/ 88 h 90"/>
                <a:gd name="T50" fmla="*/ 100 w 211"/>
                <a:gd name="T51" fmla="*/ 89 h 90"/>
                <a:gd name="T52" fmla="*/ 103 w 211"/>
                <a:gd name="T53" fmla="*/ 90 h 90"/>
                <a:gd name="T54" fmla="*/ 106 w 211"/>
                <a:gd name="T55" fmla="*/ 90 h 90"/>
                <a:gd name="T56" fmla="*/ 108 w 211"/>
                <a:gd name="T57" fmla="*/ 90 h 90"/>
                <a:gd name="T58" fmla="*/ 112 w 211"/>
                <a:gd name="T59" fmla="*/ 89 h 90"/>
                <a:gd name="T60" fmla="*/ 114 w 211"/>
                <a:gd name="T61" fmla="*/ 88 h 90"/>
                <a:gd name="T62" fmla="*/ 116 w 211"/>
                <a:gd name="T63" fmla="*/ 85 h 90"/>
                <a:gd name="T64" fmla="*/ 118 w 211"/>
                <a:gd name="T65" fmla="*/ 83 h 90"/>
                <a:gd name="T66" fmla="*/ 119 w 211"/>
                <a:gd name="T67" fmla="*/ 80 h 90"/>
                <a:gd name="T68" fmla="*/ 120 w 211"/>
                <a:gd name="T69" fmla="*/ 78 h 90"/>
                <a:gd name="T70" fmla="*/ 121 w 211"/>
                <a:gd name="T71" fmla="*/ 75 h 90"/>
                <a:gd name="T72" fmla="*/ 121 w 211"/>
                <a:gd name="T73" fmla="*/ 30 h 90"/>
                <a:gd name="T74" fmla="*/ 196 w 211"/>
                <a:gd name="T75" fmla="*/ 30 h 90"/>
                <a:gd name="T76" fmla="*/ 200 w 211"/>
                <a:gd name="T77" fmla="*/ 30 h 90"/>
                <a:gd name="T78" fmla="*/ 202 w 211"/>
                <a:gd name="T79" fmla="*/ 29 h 90"/>
                <a:gd name="T80" fmla="*/ 205 w 211"/>
                <a:gd name="T81" fmla="*/ 27 h 90"/>
                <a:gd name="T82" fmla="*/ 207 w 211"/>
                <a:gd name="T83" fmla="*/ 25 h 90"/>
                <a:gd name="T84" fmla="*/ 208 w 211"/>
                <a:gd name="T85" fmla="*/ 23 h 90"/>
                <a:gd name="T86" fmla="*/ 210 w 211"/>
                <a:gd name="T87" fmla="*/ 20 h 90"/>
                <a:gd name="T88" fmla="*/ 211 w 211"/>
                <a:gd name="T89" fmla="*/ 18 h 90"/>
                <a:gd name="T90" fmla="*/ 211 w 211"/>
                <a:gd name="T91" fmla="*/ 15 h 90"/>
                <a:gd name="T92" fmla="*/ 211 w 211"/>
                <a:gd name="T93" fmla="*/ 11 h 90"/>
                <a:gd name="T94" fmla="*/ 210 w 211"/>
                <a:gd name="T95" fmla="*/ 8 h 90"/>
                <a:gd name="T96" fmla="*/ 208 w 211"/>
                <a:gd name="T97" fmla="*/ 6 h 90"/>
                <a:gd name="T98" fmla="*/ 207 w 211"/>
                <a:gd name="T99" fmla="*/ 4 h 90"/>
                <a:gd name="T100" fmla="*/ 205 w 211"/>
                <a:gd name="T101" fmla="*/ 2 h 90"/>
                <a:gd name="T102" fmla="*/ 202 w 211"/>
                <a:gd name="T103" fmla="*/ 1 h 90"/>
                <a:gd name="T104" fmla="*/ 200 w 211"/>
                <a:gd name="T105" fmla="*/ 0 h 90"/>
                <a:gd name="T106" fmla="*/ 196 w 211"/>
                <a:gd name="T10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1" h="90">
                  <a:moveTo>
                    <a:pt x="196" y="0"/>
                  </a:move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91" y="30"/>
                  </a:lnTo>
                  <a:lnTo>
                    <a:pt x="91" y="75"/>
                  </a:lnTo>
                  <a:lnTo>
                    <a:pt x="91" y="78"/>
                  </a:lnTo>
                  <a:lnTo>
                    <a:pt x="92" y="80"/>
                  </a:lnTo>
                  <a:lnTo>
                    <a:pt x="93" y="83"/>
                  </a:lnTo>
                  <a:lnTo>
                    <a:pt x="96" y="85"/>
                  </a:lnTo>
                  <a:lnTo>
                    <a:pt x="98" y="88"/>
                  </a:lnTo>
                  <a:lnTo>
                    <a:pt x="100" y="89"/>
                  </a:lnTo>
                  <a:lnTo>
                    <a:pt x="103" y="90"/>
                  </a:lnTo>
                  <a:lnTo>
                    <a:pt x="106" y="90"/>
                  </a:lnTo>
                  <a:lnTo>
                    <a:pt x="108" y="90"/>
                  </a:lnTo>
                  <a:lnTo>
                    <a:pt x="112" y="89"/>
                  </a:lnTo>
                  <a:lnTo>
                    <a:pt x="114" y="88"/>
                  </a:lnTo>
                  <a:lnTo>
                    <a:pt x="116" y="85"/>
                  </a:lnTo>
                  <a:lnTo>
                    <a:pt x="118" y="83"/>
                  </a:lnTo>
                  <a:lnTo>
                    <a:pt x="119" y="80"/>
                  </a:lnTo>
                  <a:lnTo>
                    <a:pt x="120" y="78"/>
                  </a:lnTo>
                  <a:lnTo>
                    <a:pt x="121" y="75"/>
                  </a:lnTo>
                  <a:lnTo>
                    <a:pt x="121" y="30"/>
                  </a:lnTo>
                  <a:lnTo>
                    <a:pt x="196" y="30"/>
                  </a:lnTo>
                  <a:lnTo>
                    <a:pt x="200" y="30"/>
                  </a:lnTo>
                  <a:lnTo>
                    <a:pt x="202" y="29"/>
                  </a:lnTo>
                  <a:lnTo>
                    <a:pt x="205" y="27"/>
                  </a:lnTo>
                  <a:lnTo>
                    <a:pt x="207" y="25"/>
                  </a:lnTo>
                  <a:lnTo>
                    <a:pt x="208" y="23"/>
                  </a:lnTo>
                  <a:lnTo>
                    <a:pt x="210" y="20"/>
                  </a:lnTo>
                  <a:lnTo>
                    <a:pt x="211" y="18"/>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9" name="Group 17">
            <a:extLst>
              <a:ext uri="{FF2B5EF4-FFF2-40B4-BE49-F238E27FC236}">
                <a16:creationId xmlns:a16="http://schemas.microsoft.com/office/drawing/2014/main" id="{367CF4E4-FC24-4EC7-87CE-F57C8A47F9F8}"/>
              </a:ext>
            </a:extLst>
          </p:cNvPr>
          <p:cNvGrpSpPr>
            <a:grpSpLocks noChangeAspect="1"/>
          </p:cNvGrpSpPr>
          <p:nvPr/>
        </p:nvGrpSpPr>
        <p:grpSpPr>
          <a:xfrm>
            <a:off x="666530" y="4879041"/>
            <a:ext cx="295139" cy="285619"/>
            <a:chOff x="338138" y="4464051"/>
            <a:chExt cx="295275" cy="285750"/>
          </a:xfrm>
          <a:solidFill>
            <a:schemeClr val="bg2"/>
          </a:solidFill>
          <a:effectLst/>
        </p:grpSpPr>
        <p:sp>
          <p:nvSpPr>
            <p:cNvPr id="690" name="Freeform 117">
              <a:extLst>
                <a:ext uri="{FF2B5EF4-FFF2-40B4-BE49-F238E27FC236}">
                  <a16:creationId xmlns:a16="http://schemas.microsoft.com/office/drawing/2014/main" id="{C91D067D-68F1-4FD4-8C1D-99BAD95B29FD}"/>
                </a:ext>
              </a:extLst>
            </p:cNvPr>
            <p:cNvSpPr>
              <a:spLocks noEditPoints="1"/>
            </p:cNvSpPr>
            <p:nvPr/>
          </p:nvSpPr>
          <p:spPr bwMode="auto">
            <a:xfrm>
              <a:off x="355601" y="4497388"/>
              <a:ext cx="252413" cy="252413"/>
            </a:xfrm>
            <a:custGeom>
              <a:avLst/>
              <a:gdLst>
                <a:gd name="T0" fmla="*/ 260 w 636"/>
                <a:gd name="T1" fmla="*/ 606 h 637"/>
                <a:gd name="T2" fmla="*/ 191 w 636"/>
                <a:gd name="T3" fmla="*/ 583 h 637"/>
                <a:gd name="T4" fmla="*/ 132 w 636"/>
                <a:gd name="T5" fmla="*/ 544 h 637"/>
                <a:gd name="T6" fmla="*/ 84 w 636"/>
                <a:gd name="T7" fmla="*/ 494 h 637"/>
                <a:gd name="T8" fmla="*/ 48 w 636"/>
                <a:gd name="T9" fmla="*/ 433 h 637"/>
                <a:gd name="T10" fmla="*/ 29 w 636"/>
                <a:gd name="T11" fmla="*/ 363 h 637"/>
                <a:gd name="T12" fmla="*/ 27 w 636"/>
                <a:gd name="T13" fmla="*/ 289 h 637"/>
                <a:gd name="T14" fmla="*/ 43 w 636"/>
                <a:gd name="T15" fmla="*/ 219 h 637"/>
                <a:gd name="T16" fmla="*/ 75 w 636"/>
                <a:gd name="T17" fmla="*/ 156 h 637"/>
                <a:gd name="T18" fmla="*/ 121 w 636"/>
                <a:gd name="T19" fmla="*/ 102 h 637"/>
                <a:gd name="T20" fmla="*/ 179 w 636"/>
                <a:gd name="T21" fmla="*/ 61 h 637"/>
                <a:gd name="T22" fmla="*/ 245 w 636"/>
                <a:gd name="T23" fmla="*/ 35 h 637"/>
                <a:gd name="T24" fmla="*/ 318 w 636"/>
                <a:gd name="T25" fmla="*/ 26 h 637"/>
                <a:gd name="T26" fmla="*/ 392 w 636"/>
                <a:gd name="T27" fmla="*/ 35 h 637"/>
                <a:gd name="T28" fmla="*/ 457 w 636"/>
                <a:gd name="T29" fmla="*/ 61 h 637"/>
                <a:gd name="T30" fmla="*/ 515 w 636"/>
                <a:gd name="T31" fmla="*/ 102 h 637"/>
                <a:gd name="T32" fmla="*/ 561 w 636"/>
                <a:gd name="T33" fmla="*/ 156 h 637"/>
                <a:gd name="T34" fmla="*/ 593 w 636"/>
                <a:gd name="T35" fmla="*/ 219 h 637"/>
                <a:gd name="T36" fmla="*/ 610 w 636"/>
                <a:gd name="T37" fmla="*/ 289 h 637"/>
                <a:gd name="T38" fmla="*/ 607 w 636"/>
                <a:gd name="T39" fmla="*/ 363 h 637"/>
                <a:gd name="T40" fmla="*/ 588 w 636"/>
                <a:gd name="T41" fmla="*/ 433 h 637"/>
                <a:gd name="T42" fmla="*/ 553 w 636"/>
                <a:gd name="T43" fmla="*/ 494 h 637"/>
                <a:gd name="T44" fmla="*/ 504 w 636"/>
                <a:gd name="T45" fmla="*/ 544 h 637"/>
                <a:gd name="T46" fmla="*/ 445 w 636"/>
                <a:gd name="T47" fmla="*/ 583 h 637"/>
                <a:gd name="T48" fmla="*/ 377 w 636"/>
                <a:gd name="T49" fmla="*/ 606 h 637"/>
                <a:gd name="T50" fmla="*/ 636 w 636"/>
                <a:gd name="T51" fmla="*/ 319 h 637"/>
                <a:gd name="T52" fmla="*/ 627 w 636"/>
                <a:gd name="T53" fmla="*/ 240 h 637"/>
                <a:gd name="T54" fmla="*/ 598 w 636"/>
                <a:gd name="T55" fmla="*/ 168 h 637"/>
                <a:gd name="T56" fmla="*/ 554 w 636"/>
                <a:gd name="T57" fmla="*/ 105 h 637"/>
                <a:gd name="T58" fmla="*/ 496 w 636"/>
                <a:gd name="T59" fmla="*/ 55 h 637"/>
                <a:gd name="T60" fmla="*/ 427 w 636"/>
                <a:gd name="T61" fmla="*/ 20 h 637"/>
                <a:gd name="T62" fmla="*/ 351 w 636"/>
                <a:gd name="T63" fmla="*/ 2 h 637"/>
                <a:gd name="T64" fmla="*/ 269 w 636"/>
                <a:gd name="T65" fmla="*/ 4 h 637"/>
                <a:gd name="T66" fmla="*/ 194 w 636"/>
                <a:gd name="T67" fmla="*/ 26 h 637"/>
                <a:gd name="T68" fmla="*/ 128 w 636"/>
                <a:gd name="T69" fmla="*/ 64 h 637"/>
                <a:gd name="T70" fmla="*/ 73 w 636"/>
                <a:gd name="T71" fmla="*/ 117 h 637"/>
                <a:gd name="T72" fmla="*/ 31 w 636"/>
                <a:gd name="T73" fmla="*/ 182 h 637"/>
                <a:gd name="T74" fmla="*/ 6 w 636"/>
                <a:gd name="T75" fmla="*/ 255 h 637"/>
                <a:gd name="T76" fmla="*/ 1 w 636"/>
                <a:gd name="T77" fmla="*/ 338 h 637"/>
                <a:gd name="T78" fmla="*/ 20 w 636"/>
                <a:gd name="T79" fmla="*/ 433 h 637"/>
                <a:gd name="T80" fmla="*/ 66 w 636"/>
                <a:gd name="T81" fmla="*/ 513 h 637"/>
                <a:gd name="T82" fmla="*/ 132 w 636"/>
                <a:gd name="T83" fmla="*/ 578 h 637"/>
                <a:gd name="T84" fmla="*/ 95 w 636"/>
                <a:gd name="T85" fmla="*/ 634 h 637"/>
                <a:gd name="T86" fmla="*/ 153 w 636"/>
                <a:gd name="T87" fmla="*/ 592 h 637"/>
                <a:gd name="T88" fmla="*/ 252 w 636"/>
                <a:gd name="T89" fmla="*/ 630 h 637"/>
                <a:gd name="T90" fmla="*/ 366 w 636"/>
                <a:gd name="T91" fmla="*/ 634 h 637"/>
                <a:gd name="T92" fmla="*/ 475 w 636"/>
                <a:gd name="T93" fmla="*/ 596 h 637"/>
                <a:gd name="T94" fmla="*/ 558 w 636"/>
                <a:gd name="T95" fmla="*/ 636 h 637"/>
                <a:gd name="T96" fmla="*/ 562 w 636"/>
                <a:gd name="T97" fmla="*/ 614 h 637"/>
                <a:gd name="T98" fmla="*/ 566 w 636"/>
                <a:gd name="T99" fmla="*/ 519 h 637"/>
                <a:gd name="T100" fmla="*/ 611 w 636"/>
                <a:gd name="T101" fmla="*/ 444 h 637"/>
                <a:gd name="T102" fmla="*/ 634 w 636"/>
                <a:gd name="T103" fmla="*/ 355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6" h="637">
                  <a:moveTo>
                    <a:pt x="318" y="612"/>
                  </a:moveTo>
                  <a:lnTo>
                    <a:pt x="303" y="611"/>
                  </a:lnTo>
                  <a:lnTo>
                    <a:pt x="289" y="610"/>
                  </a:lnTo>
                  <a:lnTo>
                    <a:pt x="274" y="608"/>
                  </a:lnTo>
                  <a:lnTo>
                    <a:pt x="260" y="606"/>
                  </a:lnTo>
                  <a:lnTo>
                    <a:pt x="245" y="602"/>
                  </a:lnTo>
                  <a:lnTo>
                    <a:pt x="231" y="598"/>
                  </a:lnTo>
                  <a:lnTo>
                    <a:pt x="218" y="594"/>
                  </a:lnTo>
                  <a:lnTo>
                    <a:pt x="204" y="588"/>
                  </a:lnTo>
                  <a:lnTo>
                    <a:pt x="191" y="583"/>
                  </a:lnTo>
                  <a:lnTo>
                    <a:pt x="179" y="577"/>
                  </a:lnTo>
                  <a:lnTo>
                    <a:pt x="166" y="569"/>
                  </a:lnTo>
                  <a:lnTo>
                    <a:pt x="154" y="562"/>
                  </a:lnTo>
                  <a:lnTo>
                    <a:pt x="143" y="553"/>
                  </a:lnTo>
                  <a:lnTo>
                    <a:pt x="132" y="544"/>
                  </a:lnTo>
                  <a:lnTo>
                    <a:pt x="121" y="536"/>
                  </a:lnTo>
                  <a:lnTo>
                    <a:pt x="111" y="526"/>
                  </a:lnTo>
                  <a:lnTo>
                    <a:pt x="102" y="515"/>
                  </a:lnTo>
                  <a:lnTo>
                    <a:pt x="92" y="505"/>
                  </a:lnTo>
                  <a:lnTo>
                    <a:pt x="84" y="494"/>
                  </a:lnTo>
                  <a:lnTo>
                    <a:pt x="75" y="482"/>
                  </a:lnTo>
                  <a:lnTo>
                    <a:pt x="67" y="470"/>
                  </a:lnTo>
                  <a:lnTo>
                    <a:pt x="61" y="459"/>
                  </a:lnTo>
                  <a:lnTo>
                    <a:pt x="55" y="446"/>
                  </a:lnTo>
                  <a:lnTo>
                    <a:pt x="48" y="433"/>
                  </a:lnTo>
                  <a:lnTo>
                    <a:pt x="43" y="420"/>
                  </a:lnTo>
                  <a:lnTo>
                    <a:pt x="38" y="406"/>
                  </a:lnTo>
                  <a:lnTo>
                    <a:pt x="34" y="392"/>
                  </a:lnTo>
                  <a:lnTo>
                    <a:pt x="31" y="378"/>
                  </a:lnTo>
                  <a:lnTo>
                    <a:pt x="29" y="363"/>
                  </a:lnTo>
                  <a:lnTo>
                    <a:pt x="27" y="349"/>
                  </a:lnTo>
                  <a:lnTo>
                    <a:pt x="26" y="334"/>
                  </a:lnTo>
                  <a:lnTo>
                    <a:pt x="26" y="319"/>
                  </a:lnTo>
                  <a:lnTo>
                    <a:pt x="26" y="304"/>
                  </a:lnTo>
                  <a:lnTo>
                    <a:pt x="27" y="289"/>
                  </a:lnTo>
                  <a:lnTo>
                    <a:pt x="29" y="275"/>
                  </a:lnTo>
                  <a:lnTo>
                    <a:pt x="31" y="260"/>
                  </a:lnTo>
                  <a:lnTo>
                    <a:pt x="34" y="246"/>
                  </a:lnTo>
                  <a:lnTo>
                    <a:pt x="38" y="232"/>
                  </a:lnTo>
                  <a:lnTo>
                    <a:pt x="43" y="219"/>
                  </a:lnTo>
                  <a:lnTo>
                    <a:pt x="48" y="205"/>
                  </a:lnTo>
                  <a:lnTo>
                    <a:pt x="55" y="192"/>
                  </a:lnTo>
                  <a:lnTo>
                    <a:pt x="61" y="179"/>
                  </a:lnTo>
                  <a:lnTo>
                    <a:pt x="67" y="168"/>
                  </a:lnTo>
                  <a:lnTo>
                    <a:pt x="75" y="156"/>
                  </a:lnTo>
                  <a:lnTo>
                    <a:pt x="84" y="144"/>
                  </a:lnTo>
                  <a:lnTo>
                    <a:pt x="92" y="133"/>
                  </a:lnTo>
                  <a:lnTo>
                    <a:pt x="102" y="122"/>
                  </a:lnTo>
                  <a:lnTo>
                    <a:pt x="111" y="112"/>
                  </a:lnTo>
                  <a:lnTo>
                    <a:pt x="121" y="102"/>
                  </a:lnTo>
                  <a:lnTo>
                    <a:pt x="132" y="93"/>
                  </a:lnTo>
                  <a:lnTo>
                    <a:pt x="143" y="85"/>
                  </a:lnTo>
                  <a:lnTo>
                    <a:pt x="154" y="76"/>
                  </a:lnTo>
                  <a:lnTo>
                    <a:pt x="166" y="69"/>
                  </a:lnTo>
                  <a:lnTo>
                    <a:pt x="179" y="61"/>
                  </a:lnTo>
                  <a:lnTo>
                    <a:pt x="191" y="55"/>
                  </a:lnTo>
                  <a:lnTo>
                    <a:pt x="204" y="49"/>
                  </a:lnTo>
                  <a:lnTo>
                    <a:pt x="218" y="44"/>
                  </a:lnTo>
                  <a:lnTo>
                    <a:pt x="231" y="39"/>
                  </a:lnTo>
                  <a:lnTo>
                    <a:pt x="245" y="35"/>
                  </a:lnTo>
                  <a:lnTo>
                    <a:pt x="260" y="32"/>
                  </a:lnTo>
                  <a:lnTo>
                    <a:pt x="274" y="29"/>
                  </a:lnTo>
                  <a:lnTo>
                    <a:pt x="289" y="28"/>
                  </a:lnTo>
                  <a:lnTo>
                    <a:pt x="303" y="26"/>
                  </a:lnTo>
                  <a:lnTo>
                    <a:pt x="318" y="26"/>
                  </a:lnTo>
                  <a:lnTo>
                    <a:pt x="333" y="26"/>
                  </a:lnTo>
                  <a:lnTo>
                    <a:pt x="348" y="28"/>
                  </a:lnTo>
                  <a:lnTo>
                    <a:pt x="363" y="29"/>
                  </a:lnTo>
                  <a:lnTo>
                    <a:pt x="377" y="32"/>
                  </a:lnTo>
                  <a:lnTo>
                    <a:pt x="392" y="35"/>
                  </a:lnTo>
                  <a:lnTo>
                    <a:pt x="405" y="39"/>
                  </a:lnTo>
                  <a:lnTo>
                    <a:pt x="418" y="44"/>
                  </a:lnTo>
                  <a:lnTo>
                    <a:pt x="431" y="49"/>
                  </a:lnTo>
                  <a:lnTo>
                    <a:pt x="445" y="55"/>
                  </a:lnTo>
                  <a:lnTo>
                    <a:pt x="457" y="61"/>
                  </a:lnTo>
                  <a:lnTo>
                    <a:pt x="470" y="69"/>
                  </a:lnTo>
                  <a:lnTo>
                    <a:pt x="482" y="76"/>
                  </a:lnTo>
                  <a:lnTo>
                    <a:pt x="494" y="85"/>
                  </a:lnTo>
                  <a:lnTo>
                    <a:pt x="504" y="93"/>
                  </a:lnTo>
                  <a:lnTo>
                    <a:pt x="515" y="102"/>
                  </a:lnTo>
                  <a:lnTo>
                    <a:pt x="525" y="112"/>
                  </a:lnTo>
                  <a:lnTo>
                    <a:pt x="534" y="122"/>
                  </a:lnTo>
                  <a:lnTo>
                    <a:pt x="544" y="133"/>
                  </a:lnTo>
                  <a:lnTo>
                    <a:pt x="553" y="144"/>
                  </a:lnTo>
                  <a:lnTo>
                    <a:pt x="561" y="156"/>
                  </a:lnTo>
                  <a:lnTo>
                    <a:pt x="569" y="168"/>
                  </a:lnTo>
                  <a:lnTo>
                    <a:pt x="575" y="179"/>
                  </a:lnTo>
                  <a:lnTo>
                    <a:pt x="582" y="192"/>
                  </a:lnTo>
                  <a:lnTo>
                    <a:pt x="588" y="205"/>
                  </a:lnTo>
                  <a:lnTo>
                    <a:pt x="593" y="219"/>
                  </a:lnTo>
                  <a:lnTo>
                    <a:pt x="598" y="232"/>
                  </a:lnTo>
                  <a:lnTo>
                    <a:pt x="602" y="246"/>
                  </a:lnTo>
                  <a:lnTo>
                    <a:pt x="605" y="260"/>
                  </a:lnTo>
                  <a:lnTo>
                    <a:pt x="607" y="275"/>
                  </a:lnTo>
                  <a:lnTo>
                    <a:pt x="610" y="289"/>
                  </a:lnTo>
                  <a:lnTo>
                    <a:pt x="611" y="304"/>
                  </a:lnTo>
                  <a:lnTo>
                    <a:pt x="611" y="319"/>
                  </a:lnTo>
                  <a:lnTo>
                    <a:pt x="611" y="334"/>
                  </a:lnTo>
                  <a:lnTo>
                    <a:pt x="610" y="349"/>
                  </a:lnTo>
                  <a:lnTo>
                    <a:pt x="607" y="363"/>
                  </a:lnTo>
                  <a:lnTo>
                    <a:pt x="605" y="378"/>
                  </a:lnTo>
                  <a:lnTo>
                    <a:pt x="602" y="392"/>
                  </a:lnTo>
                  <a:lnTo>
                    <a:pt x="598" y="406"/>
                  </a:lnTo>
                  <a:lnTo>
                    <a:pt x="593" y="420"/>
                  </a:lnTo>
                  <a:lnTo>
                    <a:pt x="588" y="433"/>
                  </a:lnTo>
                  <a:lnTo>
                    <a:pt x="582" y="446"/>
                  </a:lnTo>
                  <a:lnTo>
                    <a:pt x="575" y="459"/>
                  </a:lnTo>
                  <a:lnTo>
                    <a:pt x="569" y="470"/>
                  </a:lnTo>
                  <a:lnTo>
                    <a:pt x="561" y="482"/>
                  </a:lnTo>
                  <a:lnTo>
                    <a:pt x="553" y="494"/>
                  </a:lnTo>
                  <a:lnTo>
                    <a:pt x="544" y="505"/>
                  </a:lnTo>
                  <a:lnTo>
                    <a:pt x="534" y="515"/>
                  </a:lnTo>
                  <a:lnTo>
                    <a:pt x="525" y="526"/>
                  </a:lnTo>
                  <a:lnTo>
                    <a:pt x="515" y="536"/>
                  </a:lnTo>
                  <a:lnTo>
                    <a:pt x="504" y="544"/>
                  </a:lnTo>
                  <a:lnTo>
                    <a:pt x="494" y="553"/>
                  </a:lnTo>
                  <a:lnTo>
                    <a:pt x="482" y="562"/>
                  </a:lnTo>
                  <a:lnTo>
                    <a:pt x="470" y="569"/>
                  </a:lnTo>
                  <a:lnTo>
                    <a:pt x="457" y="577"/>
                  </a:lnTo>
                  <a:lnTo>
                    <a:pt x="445" y="583"/>
                  </a:lnTo>
                  <a:lnTo>
                    <a:pt x="431" y="588"/>
                  </a:lnTo>
                  <a:lnTo>
                    <a:pt x="418" y="594"/>
                  </a:lnTo>
                  <a:lnTo>
                    <a:pt x="405" y="598"/>
                  </a:lnTo>
                  <a:lnTo>
                    <a:pt x="392" y="602"/>
                  </a:lnTo>
                  <a:lnTo>
                    <a:pt x="377" y="606"/>
                  </a:lnTo>
                  <a:lnTo>
                    <a:pt x="363" y="608"/>
                  </a:lnTo>
                  <a:lnTo>
                    <a:pt x="348" y="610"/>
                  </a:lnTo>
                  <a:lnTo>
                    <a:pt x="333" y="611"/>
                  </a:lnTo>
                  <a:lnTo>
                    <a:pt x="318" y="612"/>
                  </a:lnTo>
                  <a:close/>
                  <a:moveTo>
                    <a:pt x="636" y="319"/>
                  </a:moveTo>
                  <a:lnTo>
                    <a:pt x="636" y="303"/>
                  </a:lnTo>
                  <a:lnTo>
                    <a:pt x="634" y="287"/>
                  </a:lnTo>
                  <a:lnTo>
                    <a:pt x="632" y="271"/>
                  </a:lnTo>
                  <a:lnTo>
                    <a:pt x="630" y="255"/>
                  </a:lnTo>
                  <a:lnTo>
                    <a:pt x="627" y="240"/>
                  </a:lnTo>
                  <a:lnTo>
                    <a:pt x="622" y="224"/>
                  </a:lnTo>
                  <a:lnTo>
                    <a:pt x="617" y="209"/>
                  </a:lnTo>
                  <a:lnTo>
                    <a:pt x="612" y="195"/>
                  </a:lnTo>
                  <a:lnTo>
                    <a:pt x="605" y="182"/>
                  </a:lnTo>
                  <a:lnTo>
                    <a:pt x="598" y="168"/>
                  </a:lnTo>
                  <a:lnTo>
                    <a:pt x="590" y="155"/>
                  </a:lnTo>
                  <a:lnTo>
                    <a:pt x="582" y="142"/>
                  </a:lnTo>
                  <a:lnTo>
                    <a:pt x="573" y="129"/>
                  </a:lnTo>
                  <a:lnTo>
                    <a:pt x="563" y="117"/>
                  </a:lnTo>
                  <a:lnTo>
                    <a:pt x="554" y="105"/>
                  </a:lnTo>
                  <a:lnTo>
                    <a:pt x="543" y="95"/>
                  </a:lnTo>
                  <a:lnTo>
                    <a:pt x="532" y="84"/>
                  </a:lnTo>
                  <a:lnTo>
                    <a:pt x="520" y="73"/>
                  </a:lnTo>
                  <a:lnTo>
                    <a:pt x="509" y="64"/>
                  </a:lnTo>
                  <a:lnTo>
                    <a:pt x="496" y="55"/>
                  </a:lnTo>
                  <a:lnTo>
                    <a:pt x="483" y="47"/>
                  </a:lnTo>
                  <a:lnTo>
                    <a:pt x="470" y="39"/>
                  </a:lnTo>
                  <a:lnTo>
                    <a:pt x="456" y="32"/>
                  </a:lnTo>
                  <a:lnTo>
                    <a:pt x="442" y="26"/>
                  </a:lnTo>
                  <a:lnTo>
                    <a:pt x="427" y="20"/>
                  </a:lnTo>
                  <a:lnTo>
                    <a:pt x="412" y="15"/>
                  </a:lnTo>
                  <a:lnTo>
                    <a:pt x="397" y="11"/>
                  </a:lnTo>
                  <a:lnTo>
                    <a:pt x="382" y="7"/>
                  </a:lnTo>
                  <a:lnTo>
                    <a:pt x="367" y="4"/>
                  </a:lnTo>
                  <a:lnTo>
                    <a:pt x="351" y="2"/>
                  </a:lnTo>
                  <a:lnTo>
                    <a:pt x="335" y="1"/>
                  </a:lnTo>
                  <a:lnTo>
                    <a:pt x="318" y="0"/>
                  </a:lnTo>
                  <a:lnTo>
                    <a:pt x="301" y="1"/>
                  </a:lnTo>
                  <a:lnTo>
                    <a:pt x="285" y="2"/>
                  </a:lnTo>
                  <a:lnTo>
                    <a:pt x="269" y="4"/>
                  </a:lnTo>
                  <a:lnTo>
                    <a:pt x="254" y="7"/>
                  </a:lnTo>
                  <a:lnTo>
                    <a:pt x="238" y="11"/>
                  </a:lnTo>
                  <a:lnTo>
                    <a:pt x="223" y="15"/>
                  </a:lnTo>
                  <a:lnTo>
                    <a:pt x="209" y="20"/>
                  </a:lnTo>
                  <a:lnTo>
                    <a:pt x="194" y="26"/>
                  </a:lnTo>
                  <a:lnTo>
                    <a:pt x="180" y="32"/>
                  </a:lnTo>
                  <a:lnTo>
                    <a:pt x="166" y="39"/>
                  </a:lnTo>
                  <a:lnTo>
                    <a:pt x="153" y="47"/>
                  </a:lnTo>
                  <a:lnTo>
                    <a:pt x="140" y="55"/>
                  </a:lnTo>
                  <a:lnTo>
                    <a:pt x="128" y="64"/>
                  </a:lnTo>
                  <a:lnTo>
                    <a:pt x="116" y="73"/>
                  </a:lnTo>
                  <a:lnTo>
                    <a:pt x="104" y="84"/>
                  </a:lnTo>
                  <a:lnTo>
                    <a:pt x="93" y="95"/>
                  </a:lnTo>
                  <a:lnTo>
                    <a:pt x="82" y="105"/>
                  </a:lnTo>
                  <a:lnTo>
                    <a:pt x="73" y="117"/>
                  </a:lnTo>
                  <a:lnTo>
                    <a:pt x="63" y="129"/>
                  </a:lnTo>
                  <a:lnTo>
                    <a:pt x="55" y="142"/>
                  </a:lnTo>
                  <a:lnTo>
                    <a:pt x="46" y="155"/>
                  </a:lnTo>
                  <a:lnTo>
                    <a:pt x="38" y="168"/>
                  </a:lnTo>
                  <a:lnTo>
                    <a:pt x="31" y="182"/>
                  </a:lnTo>
                  <a:lnTo>
                    <a:pt x="24" y="195"/>
                  </a:lnTo>
                  <a:lnTo>
                    <a:pt x="19" y="209"/>
                  </a:lnTo>
                  <a:lnTo>
                    <a:pt x="14" y="224"/>
                  </a:lnTo>
                  <a:lnTo>
                    <a:pt x="9" y="240"/>
                  </a:lnTo>
                  <a:lnTo>
                    <a:pt x="6" y="255"/>
                  </a:lnTo>
                  <a:lnTo>
                    <a:pt x="3" y="271"/>
                  </a:lnTo>
                  <a:lnTo>
                    <a:pt x="1" y="287"/>
                  </a:lnTo>
                  <a:lnTo>
                    <a:pt x="0" y="303"/>
                  </a:lnTo>
                  <a:lnTo>
                    <a:pt x="0" y="319"/>
                  </a:lnTo>
                  <a:lnTo>
                    <a:pt x="1" y="338"/>
                  </a:lnTo>
                  <a:lnTo>
                    <a:pt x="2" y="359"/>
                  </a:lnTo>
                  <a:lnTo>
                    <a:pt x="5" y="377"/>
                  </a:lnTo>
                  <a:lnTo>
                    <a:pt x="9" y="396"/>
                  </a:lnTo>
                  <a:lnTo>
                    <a:pt x="15" y="415"/>
                  </a:lnTo>
                  <a:lnTo>
                    <a:pt x="20" y="433"/>
                  </a:lnTo>
                  <a:lnTo>
                    <a:pt x="28" y="450"/>
                  </a:lnTo>
                  <a:lnTo>
                    <a:pt x="36" y="467"/>
                  </a:lnTo>
                  <a:lnTo>
                    <a:pt x="45" y="483"/>
                  </a:lnTo>
                  <a:lnTo>
                    <a:pt x="55" y="498"/>
                  </a:lnTo>
                  <a:lnTo>
                    <a:pt x="66" y="513"/>
                  </a:lnTo>
                  <a:lnTo>
                    <a:pt x="78" y="527"/>
                  </a:lnTo>
                  <a:lnTo>
                    <a:pt x="90" y="541"/>
                  </a:lnTo>
                  <a:lnTo>
                    <a:pt x="104" y="554"/>
                  </a:lnTo>
                  <a:lnTo>
                    <a:pt x="118" y="566"/>
                  </a:lnTo>
                  <a:lnTo>
                    <a:pt x="132" y="578"/>
                  </a:lnTo>
                  <a:lnTo>
                    <a:pt x="95" y="614"/>
                  </a:lnTo>
                  <a:lnTo>
                    <a:pt x="92" y="619"/>
                  </a:lnTo>
                  <a:lnTo>
                    <a:pt x="91" y="624"/>
                  </a:lnTo>
                  <a:lnTo>
                    <a:pt x="92" y="629"/>
                  </a:lnTo>
                  <a:lnTo>
                    <a:pt x="95" y="634"/>
                  </a:lnTo>
                  <a:lnTo>
                    <a:pt x="99" y="636"/>
                  </a:lnTo>
                  <a:lnTo>
                    <a:pt x="104" y="637"/>
                  </a:lnTo>
                  <a:lnTo>
                    <a:pt x="108" y="636"/>
                  </a:lnTo>
                  <a:lnTo>
                    <a:pt x="112" y="634"/>
                  </a:lnTo>
                  <a:lnTo>
                    <a:pt x="153" y="592"/>
                  </a:lnTo>
                  <a:lnTo>
                    <a:pt x="173" y="601"/>
                  </a:lnTo>
                  <a:lnTo>
                    <a:pt x="191" y="611"/>
                  </a:lnTo>
                  <a:lnTo>
                    <a:pt x="211" y="619"/>
                  </a:lnTo>
                  <a:lnTo>
                    <a:pt x="232" y="625"/>
                  </a:lnTo>
                  <a:lnTo>
                    <a:pt x="252" y="630"/>
                  </a:lnTo>
                  <a:lnTo>
                    <a:pt x="274" y="634"/>
                  </a:lnTo>
                  <a:lnTo>
                    <a:pt x="296" y="637"/>
                  </a:lnTo>
                  <a:lnTo>
                    <a:pt x="318" y="637"/>
                  </a:lnTo>
                  <a:lnTo>
                    <a:pt x="342" y="636"/>
                  </a:lnTo>
                  <a:lnTo>
                    <a:pt x="366" y="634"/>
                  </a:lnTo>
                  <a:lnTo>
                    <a:pt x="390" y="629"/>
                  </a:lnTo>
                  <a:lnTo>
                    <a:pt x="412" y="623"/>
                  </a:lnTo>
                  <a:lnTo>
                    <a:pt x="435" y="615"/>
                  </a:lnTo>
                  <a:lnTo>
                    <a:pt x="455" y="607"/>
                  </a:lnTo>
                  <a:lnTo>
                    <a:pt x="475" y="596"/>
                  </a:lnTo>
                  <a:lnTo>
                    <a:pt x="496" y="584"/>
                  </a:lnTo>
                  <a:lnTo>
                    <a:pt x="544" y="634"/>
                  </a:lnTo>
                  <a:lnTo>
                    <a:pt x="548" y="636"/>
                  </a:lnTo>
                  <a:lnTo>
                    <a:pt x="554" y="637"/>
                  </a:lnTo>
                  <a:lnTo>
                    <a:pt x="558" y="636"/>
                  </a:lnTo>
                  <a:lnTo>
                    <a:pt x="562" y="634"/>
                  </a:lnTo>
                  <a:lnTo>
                    <a:pt x="566" y="629"/>
                  </a:lnTo>
                  <a:lnTo>
                    <a:pt x="566" y="624"/>
                  </a:lnTo>
                  <a:lnTo>
                    <a:pt x="566" y="619"/>
                  </a:lnTo>
                  <a:lnTo>
                    <a:pt x="562" y="614"/>
                  </a:lnTo>
                  <a:lnTo>
                    <a:pt x="516" y="568"/>
                  </a:lnTo>
                  <a:lnTo>
                    <a:pt x="529" y="557"/>
                  </a:lnTo>
                  <a:lnTo>
                    <a:pt x="542" y="544"/>
                  </a:lnTo>
                  <a:lnTo>
                    <a:pt x="554" y="533"/>
                  </a:lnTo>
                  <a:lnTo>
                    <a:pt x="566" y="519"/>
                  </a:lnTo>
                  <a:lnTo>
                    <a:pt x="576" y="505"/>
                  </a:lnTo>
                  <a:lnTo>
                    <a:pt x="586" y="490"/>
                  </a:lnTo>
                  <a:lnTo>
                    <a:pt x="596" y="475"/>
                  </a:lnTo>
                  <a:lnTo>
                    <a:pt x="603" y="460"/>
                  </a:lnTo>
                  <a:lnTo>
                    <a:pt x="611" y="444"/>
                  </a:lnTo>
                  <a:lnTo>
                    <a:pt x="617" y="426"/>
                  </a:lnTo>
                  <a:lnTo>
                    <a:pt x="624" y="409"/>
                  </a:lnTo>
                  <a:lnTo>
                    <a:pt x="628" y="392"/>
                  </a:lnTo>
                  <a:lnTo>
                    <a:pt x="631" y="374"/>
                  </a:lnTo>
                  <a:lnTo>
                    <a:pt x="634" y="355"/>
                  </a:lnTo>
                  <a:lnTo>
                    <a:pt x="635" y="337"/>
                  </a:lnTo>
                  <a:lnTo>
                    <a:pt x="636"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1" name="Freeform 118">
              <a:extLst>
                <a:ext uri="{FF2B5EF4-FFF2-40B4-BE49-F238E27FC236}">
                  <a16:creationId xmlns:a16="http://schemas.microsoft.com/office/drawing/2014/main" id="{E60F77FE-CBF2-4A2B-8BF5-4FCE0941B44D}"/>
                </a:ext>
              </a:extLst>
            </p:cNvPr>
            <p:cNvSpPr>
              <a:spLocks/>
            </p:cNvSpPr>
            <p:nvPr/>
          </p:nvSpPr>
          <p:spPr bwMode="auto">
            <a:xfrm>
              <a:off x="436563" y="4548188"/>
              <a:ext cx="60325" cy="85725"/>
            </a:xfrm>
            <a:custGeom>
              <a:avLst/>
              <a:gdLst>
                <a:gd name="T0" fmla="*/ 140 w 153"/>
                <a:gd name="T1" fmla="*/ 0 h 216"/>
                <a:gd name="T2" fmla="*/ 136 w 153"/>
                <a:gd name="T3" fmla="*/ 1 h 216"/>
                <a:gd name="T4" fmla="*/ 132 w 153"/>
                <a:gd name="T5" fmla="*/ 4 h 216"/>
                <a:gd name="T6" fmla="*/ 129 w 153"/>
                <a:gd name="T7" fmla="*/ 9 h 216"/>
                <a:gd name="T8" fmla="*/ 128 w 153"/>
                <a:gd name="T9" fmla="*/ 13 h 216"/>
                <a:gd name="T10" fmla="*/ 128 w 153"/>
                <a:gd name="T11" fmla="*/ 190 h 216"/>
                <a:gd name="T12" fmla="*/ 13 w 153"/>
                <a:gd name="T13" fmla="*/ 190 h 216"/>
                <a:gd name="T14" fmla="*/ 7 w 153"/>
                <a:gd name="T15" fmla="*/ 191 h 216"/>
                <a:gd name="T16" fmla="*/ 3 w 153"/>
                <a:gd name="T17" fmla="*/ 194 h 216"/>
                <a:gd name="T18" fmla="*/ 1 w 153"/>
                <a:gd name="T19" fmla="*/ 197 h 216"/>
                <a:gd name="T20" fmla="*/ 0 w 153"/>
                <a:gd name="T21" fmla="*/ 203 h 216"/>
                <a:gd name="T22" fmla="*/ 1 w 153"/>
                <a:gd name="T23" fmla="*/ 208 h 216"/>
                <a:gd name="T24" fmla="*/ 3 w 153"/>
                <a:gd name="T25" fmla="*/ 211 h 216"/>
                <a:gd name="T26" fmla="*/ 7 w 153"/>
                <a:gd name="T27" fmla="*/ 215 h 216"/>
                <a:gd name="T28" fmla="*/ 13 w 153"/>
                <a:gd name="T29" fmla="*/ 216 h 216"/>
                <a:gd name="T30" fmla="*/ 140 w 153"/>
                <a:gd name="T31" fmla="*/ 216 h 216"/>
                <a:gd name="T32" fmla="*/ 146 w 153"/>
                <a:gd name="T33" fmla="*/ 215 h 216"/>
                <a:gd name="T34" fmla="*/ 150 w 153"/>
                <a:gd name="T35" fmla="*/ 211 h 216"/>
                <a:gd name="T36" fmla="*/ 152 w 153"/>
                <a:gd name="T37" fmla="*/ 208 h 216"/>
                <a:gd name="T38" fmla="*/ 153 w 153"/>
                <a:gd name="T39" fmla="*/ 203 h 216"/>
                <a:gd name="T40" fmla="*/ 153 w 153"/>
                <a:gd name="T41" fmla="*/ 13 h 216"/>
                <a:gd name="T42" fmla="*/ 152 w 153"/>
                <a:gd name="T43" fmla="*/ 9 h 216"/>
                <a:gd name="T44" fmla="*/ 150 w 153"/>
                <a:gd name="T45" fmla="*/ 4 h 216"/>
                <a:gd name="T46" fmla="*/ 146 w 153"/>
                <a:gd name="T47" fmla="*/ 1 h 216"/>
                <a:gd name="T48" fmla="*/ 140 w 153"/>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16">
                  <a:moveTo>
                    <a:pt x="140" y="0"/>
                  </a:moveTo>
                  <a:lnTo>
                    <a:pt x="136" y="1"/>
                  </a:lnTo>
                  <a:lnTo>
                    <a:pt x="132" y="4"/>
                  </a:lnTo>
                  <a:lnTo>
                    <a:pt x="129" y="9"/>
                  </a:lnTo>
                  <a:lnTo>
                    <a:pt x="128" y="13"/>
                  </a:lnTo>
                  <a:lnTo>
                    <a:pt x="128" y="190"/>
                  </a:lnTo>
                  <a:lnTo>
                    <a:pt x="13" y="190"/>
                  </a:lnTo>
                  <a:lnTo>
                    <a:pt x="7" y="191"/>
                  </a:lnTo>
                  <a:lnTo>
                    <a:pt x="3" y="194"/>
                  </a:lnTo>
                  <a:lnTo>
                    <a:pt x="1" y="197"/>
                  </a:lnTo>
                  <a:lnTo>
                    <a:pt x="0" y="203"/>
                  </a:lnTo>
                  <a:lnTo>
                    <a:pt x="1" y="208"/>
                  </a:lnTo>
                  <a:lnTo>
                    <a:pt x="3" y="211"/>
                  </a:lnTo>
                  <a:lnTo>
                    <a:pt x="7" y="215"/>
                  </a:lnTo>
                  <a:lnTo>
                    <a:pt x="13" y="216"/>
                  </a:lnTo>
                  <a:lnTo>
                    <a:pt x="140" y="216"/>
                  </a:lnTo>
                  <a:lnTo>
                    <a:pt x="146" y="215"/>
                  </a:lnTo>
                  <a:lnTo>
                    <a:pt x="150" y="211"/>
                  </a:lnTo>
                  <a:lnTo>
                    <a:pt x="152" y="208"/>
                  </a:lnTo>
                  <a:lnTo>
                    <a:pt x="153" y="203"/>
                  </a:lnTo>
                  <a:lnTo>
                    <a:pt x="153" y="13"/>
                  </a:lnTo>
                  <a:lnTo>
                    <a:pt x="152" y="9"/>
                  </a:lnTo>
                  <a:lnTo>
                    <a:pt x="150" y="4"/>
                  </a:lnTo>
                  <a:lnTo>
                    <a:pt x="146" y="1"/>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2" name="Freeform 119">
              <a:extLst>
                <a:ext uri="{FF2B5EF4-FFF2-40B4-BE49-F238E27FC236}">
                  <a16:creationId xmlns:a16="http://schemas.microsoft.com/office/drawing/2014/main" id="{07D6C11C-5E06-4736-9B3B-121DC95898E0}"/>
                </a:ext>
              </a:extLst>
            </p:cNvPr>
            <p:cNvSpPr>
              <a:spLocks/>
            </p:cNvSpPr>
            <p:nvPr/>
          </p:nvSpPr>
          <p:spPr bwMode="auto">
            <a:xfrm>
              <a:off x="338138" y="4464051"/>
              <a:ext cx="95250" cy="95250"/>
            </a:xfrm>
            <a:custGeom>
              <a:avLst/>
              <a:gdLst>
                <a:gd name="T0" fmla="*/ 62 w 240"/>
                <a:gd name="T1" fmla="*/ 231 h 240"/>
                <a:gd name="T2" fmla="*/ 62 w 240"/>
                <a:gd name="T3" fmla="*/ 223 h 240"/>
                <a:gd name="T4" fmla="*/ 51 w 240"/>
                <a:gd name="T5" fmla="*/ 210 h 240"/>
                <a:gd name="T6" fmla="*/ 38 w 240"/>
                <a:gd name="T7" fmla="*/ 190 h 240"/>
                <a:gd name="T8" fmla="*/ 30 w 240"/>
                <a:gd name="T9" fmla="*/ 171 h 240"/>
                <a:gd name="T10" fmla="*/ 27 w 240"/>
                <a:gd name="T11" fmla="*/ 149 h 240"/>
                <a:gd name="T12" fmla="*/ 27 w 240"/>
                <a:gd name="T13" fmla="*/ 128 h 240"/>
                <a:gd name="T14" fmla="*/ 30 w 240"/>
                <a:gd name="T15" fmla="*/ 108 h 240"/>
                <a:gd name="T16" fmla="*/ 38 w 240"/>
                <a:gd name="T17" fmla="*/ 87 h 240"/>
                <a:gd name="T18" fmla="*/ 51 w 240"/>
                <a:gd name="T19" fmla="*/ 69 h 240"/>
                <a:gd name="T20" fmla="*/ 67 w 240"/>
                <a:gd name="T21" fmla="*/ 52 h 240"/>
                <a:gd name="T22" fmla="*/ 87 w 240"/>
                <a:gd name="T23" fmla="*/ 39 h 240"/>
                <a:gd name="T24" fmla="*/ 106 w 240"/>
                <a:gd name="T25" fmla="*/ 30 h 240"/>
                <a:gd name="T26" fmla="*/ 128 w 240"/>
                <a:gd name="T27" fmla="*/ 26 h 240"/>
                <a:gd name="T28" fmla="*/ 150 w 240"/>
                <a:gd name="T29" fmla="*/ 26 h 240"/>
                <a:gd name="T30" fmla="*/ 171 w 240"/>
                <a:gd name="T31" fmla="*/ 30 h 240"/>
                <a:gd name="T32" fmla="*/ 191 w 240"/>
                <a:gd name="T33" fmla="*/ 39 h 240"/>
                <a:gd name="T34" fmla="*/ 209 w 240"/>
                <a:gd name="T35" fmla="*/ 52 h 240"/>
                <a:gd name="T36" fmla="*/ 222 w 240"/>
                <a:gd name="T37" fmla="*/ 63 h 240"/>
                <a:gd name="T38" fmla="*/ 232 w 240"/>
                <a:gd name="T39" fmla="*/ 63 h 240"/>
                <a:gd name="T40" fmla="*/ 239 w 240"/>
                <a:gd name="T41" fmla="*/ 56 h 240"/>
                <a:gd name="T42" fmla="*/ 239 w 240"/>
                <a:gd name="T43" fmla="*/ 45 h 240"/>
                <a:gd name="T44" fmla="*/ 225 w 240"/>
                <a:gd name="T45" fmla="*/ 31 h 240"/>
                <a:gd name="T46" fmla="*/ 203 w 240"/>
                <a:gd name="T47" fmla="*/ 16 h 240"/>
                <a:gd name="T48" fmla="*/ 178 w 240"/>
                <a:gd name="T49" fmla="*/ 7 h 240"/>
                <a:gd name="T50" fmla="*/ 152 w 240"/>
                <a:gd name="T51" fmla="*/ 1 h 240"/>
                <a:gd name="T52" fmla="*/ 125 w 240"/>
                <a:gd name="T53" fmla="*/ 1 h 240"/>
                <a:gd name="T54" fmla="*/ 100 w 240"/>
                <a:gd name="T55" fmla="*/ 7 h 240"/>
                <a:gd name="T56" fmla="*/ 75 w 240"/>
                <a:gd name="T57" fmla="*/ 16 h 240"/>
                <a:gd name="T58" fmla="*/ 51 w 240"/>
                <a:gd name="T59" fmla="*/ 31 h 240"/>
                <a:gd name="T60" fmla="*/ 32 w 240"/>
                <a:gd name="T61" fmla="*/ 52 h 240"/>
                <a:gd name="T62" fmla="*/ 16 w 240"/>
                <a:gd name="T63" fmla="*/ 75 h 240"/>
                <a:gd name="T64" fmla="*/ 6 w 240"/>
                <a:gd name="T65" fmla="*/ 100 h 240"/>
                <a:gd name="T66" fmla="*/ 1 w 240"/>
                <a:gd name="T67" fmla="*/ 126 h 240"/>
                <a:gd name="T68" fmla="*/ 1 w 240"/>
                <a:gd name="T69" fmla="*/ 152 h 240"/>
                <a:gd name="T70" fmla="*/ 6 w 240"/>
                <a:gd name="T71" fmla="*/ 177 h 240"/>
                <a:gd name="T72" fmla="*/ 16 w 240"/>
                <a:gd name="T73" fmla="*/ 202 h 240"/>
                <a:gd name="T74" fmla="*/ 32 w 240"/>
                <a:gd name="T75" fmla="*/ 225 h 240"/>
                <a:gd name="T76" fmla="*/ 46 w 240"/>
                <a:gd name="T77" fmla="*/ 239 h 240"/>
                <a:gd name="T78" fmla="*/ 56 w 240"/>
                <a:gd name="T79"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60" y="235"/>
                  </a:moveTo>
                  <a:lnTo>
                    <a:pt x="62" y="231"/>
                  </a:lnTo>
                  <a:lnTo>
                    <a:pt x="63" y="227"/>
                  </a:lnTo>
                  <a:lnTo>
                    <a:pt x="62" y="223"/>
                  </a:lnTo>
                  <a:lnTo>
                    <a:pt x="60" y="218"/>
                  </a:lnTo>
                  <a:lnTo>
                    <a:pt x="51" y="210"/>
                  </a:lnTo>
                  <a:lnTo>
                    <a:pt x="45" y="200"/>
                  </a:lnTo>
                  <a:lnTo>
                    <a:pt x="38" y="190"/>
                  </a:lnTo>
                  <a:lnTo>
                    <a:pt x="34" y="181"/>
                  </a:lnTo>
                  <a:lnTo>
                    <a:pt x="30" y="171"/>
                  </a:lnTo>
                  <a:lnTo>
                    <a:pt x="28" y="160"/>
                  </a:lnTo>
                  <a:lnTo>
                    <a:pt x="27" y="149"/>
                  </a:lnTo>
                  <a:lnTo>
                    <a:pt x="26" y="139"/>
                  </a:lnTo>
                  <a:lnTo>
                    <a:pt x="27" y="128"/>
                  </a:lnTo>
                  <a:lnTo>
                    <a:pt x="28" y="117"/>
                  </a:lnTo>
                  <a:lnTo>
                    <a:pt x="30" y="108"/>
                  </a:lnTo>
                  <a:lnTo>
                    <a:pt x="34" y="97"/>
                  </a:lnTo>
                  <a:lnTo>
                    <a:pt x="38" y="87"/>
                  </a:lnTo>
                  <a:lnTo>
                    <a:pt x="45" y="78"/>
                  </a:lnTo>
                  <a:lnTo>
                    <a:pt x="51" y="69"/>
                  </a:lnTo>
                  <a:lnTo>
                    <a:pt x="60" y="60"/>
                  </a:lnTo>
                  <a:lnTo>
                    <a:pt x="67" y="52"/>
                  </a:lnTo>
                  <a:lnTo>
                    <a:pt x="77" y="45"/>
                  </a:lnTo>
                  <a:lnTo>
                    <a:pt x="87" y="39"/>
                  </a:lnTo>
                  <a:lnTo>
                    <a:pt x="96" y="35"/>
                  </a:lnTo>
                  <a:lnTo>
                    <a:pt x="106" y="30"/>
                  </a:lnTo>
                  <a:lnTo>
                    <a:pt x="117" y="28"/>
                  </a:lnTo>
                  <a:lnTo>
                    <a:pt x="128" y="26"/>
                  </a:lnTo>
                  <a:lnTo>
                    <a:pt x="138" y="26"/>
                  </a:lnTo>
                  <a:lnTo>
                    <a:pt x="150" y="26"/>
                  </a:lnTo>
                  <a:lnTo>
                    <a:pt x="161" y="28"/>
                  </a:lnTo>
                  <a:lnTo>
                    <a:pt x="171" y="30"/>
                  </a:lnTo>
                  <a:lnTo>
                    <a:pt x="181" y="35"/>
                  </a:lnTo>
                  <a:lnTo>
                    <a:pt x="191" y="39"/>
                  </a:lnTo>
                  <a:lnTo>
                    <a:pt x="201" y="45"/>
                  </a:lnTo>
                  <a:lnTo>
                    <a:pt x="209" y="52"/>
                  </a:lnTo>
                  <a:lnTo>
                    <a:pt x="218" y="60"/>
                  </a:lnTo>
                  <a:lnTo>
                    <a:pt x="222" y="63"/>
                  </a:lnTo>
                  <a:lnTo>
                    <a:pt x="227" y="64"/>
                  </a:lnTo>
                  <a:lnTo>
                    <a:pt x="232" y="63"/>
                  </a:lnTo>
                  <a:lnTo>
                    <a:pt x="236" y="60"/>
                  </a:lnTo>
                  <a:lnTo>
                    <a:pt x="239" y="56"/>
                  </a:lnTo>
                  <a:lnTo>
                    <a:pt x="240" y="51"/>
                  </a:lnTo>
                  <a:lnTo>
                    <a:pt x="239" y="45"/>
                  </a:lnTo>
                  <a:lnTo>
                    <a:pt x="236" y="41"/>
                  </a:lnTo>
                  <a:lnTo>
                    <a:pt x="225" y="31"/>
                  </a:lnTo>
                  <a:lnTo>
                    <a:pt x="215" y="24"/>
                  </a:lnTo>
                  <a:lnTo>
                    <a:pt x="203" y="16"/>
                  </a:lnTo>
                  <a:lnTo>
                    <a:pt x="191" y="11"/>
                  </a:lnTo>
                  <a:lnTo>
                    <a:pt x="178" y="7"/>
                  </a:lnTo>
                  <a:lnTo>
                    <a:pt x="165" y="3"/>
                  </a:lnTo>
                  <a:lnTo>
                    <a:pt x="152" y="1"/>
                  </a:lnTo>
                  <a:lnTo>
                    <a:pt x="138" y="0"/>
                  </a:lnTo>
                  <a:lnTo>
                    <a:pt x="125" y="1"/>
                  </a:lnTo>
                  <a:lnTo>
                    <a:pt x="113" y="3"/>
                  </a:lnTo>
                  <a:lnTo>
                    <a:pt x="100" y="7"/>
                  </a:lnTo>
                  <a:lnTo>
                    <a:pt x="87" y="11"/>
                  </a:lnTo>
                  <a:lnTo>
                    <a:pt x="75" y="16"/>
                  </a:lnTo>
                  <a:lnTo>
                    <a:pt x="63" y="24"/>
                  </a:lnTo>
                  <a:lnTo>
                    <a:pt x="51" y="31"/>
                  </a:lnTo>
                  <a:lnTo>
                    <a:pt x="42" y="41"/>
                  </a:lnTo>
                  <a:lnTo>
                    <a:pt x="32" y="52"/>
                  </a:lnTo>
                  <a:lnTo>
                    <a:pt x="23" y="64"/>
                  </a:lnTo>
                  <a:lnTo>
                    <a:pt x="16" y="75"/>
                  </a:lnTo>
                  <a:lnTo>
                    <a:pt x="11" y="87"/>
                  </a:lnTo>
                  <a:lnTo>
                    <a:pt x="6" y="100"/>
                  </a:lnTo>
                  <a:lnTo>
                    <a:pt x="2" y="113"/>
                  </a:lnTo>
                  <a:lnTo>
                    <a:pt x="1" y="126"/>
                  </a:lnTo>
                  <a:lnTo>
                    <a:pt x="0" y="139"/>
                  </a:lnTo>
                  <a:lnTo>
                    <a:pt x="1" y="152"/>
                  </a:lnTo>
                  <a:lnTo>
                    <a:pt x="2" y="165"/>
                  </a:lnTo>
                  <a:lnTo>
                    <a:pt x="6" y="177"/>
                  </a:lnTo>
                  <a:lnTo>
                    <a:pt x="11" y="190"/>
                  </a:lnTo>
                  <a:lnTo>
                    <a:pt x="16" y="202"/>
                  </a:lnTo>
                  <a:lnTo>
                    <a:pt x="23" y="214"/>
                  </a:lnTo>
                  <a:lnTo>
                    <a:pt x="32" y="225"/>
                  </a:lnTo>
                  <a:lnTo>
                    <a:pt x="42" y="235"/>
                  </a:lnTo>
                  <a:lnTo>
                    <a:pt x="46" y="239"/>
                  </a:lnTo>
                  <a:lnTo>
                    <a:pt x="50" y="240"/>
                  </a:lnTo>
                  <a:lnTo>
                    <a:pt x="56" y="239"/>
                  </a:lnTo>
                  <a:lnTo>
                    <a:pt x="60"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3" name="Freeform 120">
              <a:extLst>
                <a:ext uri="{FF2B5EF4-FFF2-40B4-BE49-F238E27FC236}">
                  <a16:creationId xmlns:a16="http://schemas.microsoft.com/office/drawing/2014/main" id="{73F21F5F-9C4B-45C4-A030-8CFA5C5231FE}"/>
                </a:ext>
              </a:extLst>
            </p:cNvPr>
            <p:cNvSpPr>
              <a:spLocks/>
            </p:cNvSpPr>
            <p:nvPr/>
          </p:nvSpPr>
          <p:spPr bwMode="auto">
            <a:xfrm>
              <a:off x="538163" y="4464051"/>
              <a:ext cx="95250" cy="95250"/>
            </a:xfrm>
            <a:custGeom>
              <a:avLst/>
              <a:gdLst>
                <a:gd name="T0" fmla="*/ 188 w 240"/>
                <a:gd name="T1" fmla="*/ 31 h 240"/>
                <a:gd name="T2" fmla="*/ 166 w 240"/>
                <a:gd name="T3" fmla="*/ 16 h 240"/>
                <a:gd name="T4" fmla="*/ 141 w 240"/>
                <a:gd name="T5" fmla="*/ 7 h 240"/>
                <a:gd name="T6" fmla="*/ 115 w 240"/>
                <a:gd name="T7" fmla="*/ 1 h 240"/>
                <a:gd name="T8" fmla="*/ 88 w 240"/>
                <a:gd name="T9" fmla="*/ 1 h 240"/>
                <a:gd name="T10" fmla="*/ 62 w 240"/>
                <a:gd name="T11" fmla="*/ 7 h 240"/>
                <a:gd name="T12" fmla="*/ 37 w 240"/>
                <a:gd name="T13" fmla="*/ 16 h 240"/>
                <a:gd name="T14" fmla="*/ 14 w 240"/>
                <a:gd name="T15" fmla="*/ 31 h 240"/>
                <a:gd name="T16" fmla="*/ 1 w 240"/>
                <a:gd name="T17" fmla="*/ 45 h 240"/>
                <a:gd name="T18" fmla="*/ 1 w 240"/>
                <a:gd name="T19" fmla="*/ 56 h 240"/>
                <a:gd name="T20" fmla="*/ 8 w 240"/>
                <a:gd name="T21" fmla="*/ 63 h 240"/>
                <a:gd name="T22" fmla="*/ 18 w 240"/>
                <a:gd name="T23" fmla="*/ 63 h 240"/>
                <a:gd name="T24" fmla="*/ 30 w 240"/>
                <a:gd name="T25" fmla="*/ 52 h 240"/>
                <a:gd name="T26" fmla="*/ 49 w 240"/>
                <a:gd name="T27" fmla="*/ 39 h 240"/>
                <a:gd name="T28" fmla="*/ 69 w 240"/>
                <a:gd name="T29" fmla="*/ 30 h 240"/>
                <a:gd name="T30" fmla="*/ 91 w 240"/>
                <a:gd name="T31" fmla="*/ 26 h 240"/>
                <a:gd name="T32" fmla="*/ 112 w 240"/>
                <a:gd name="T33" fmla="*/ 26 h 240"/>
                <a:gd name="T34" fmla="*/ 133 w 240"/>
                <a:gd name="T35" fmla="*/ 30 h 240"/>
                <a:gd name="T36" fmla="*/ 154 w 240"/>
                <a:gd name="T37" fmla="*/ 39 h 240"/>
                <a:gd name="T38" fmla="*/ 172 w 240"/>
                <a:gd name="T39" fmla="*/ 52 h 240"/>
                <a:gd name="T40" fmla="*/ 188 w 240"/>
                <a:gd name="T41" fmla="*/ 69 h 240"/>
                <a:gd name="T42" fmla="*/ 201 w 240"/>
                <a:gd name="T43" fmla="*/ 87 h 240"/>
                <a:gd name="T44" fmla="*/ 210 w 240"/>
                <a:gd name="T45" fmla="*/ 108 h 240"/>
                <a:gd name="T46" fmla="*/ 214 w 240"/>
                <a:gd name="T47" fmla="*/ 128 h 240"/>
                <a:gd name="T48" fmla="*/ 214 w 240"/>
                <a:gd name="T49" fmla="*/ 149 h 240"/>
                <a:gd name="T50" fmla="*/ 210 w 240"/>
                <a:gd name="T51" fmla="*/ 171 h 240"/>
                <a:gd name="T52" fmla="*/ 201 w 240"/>
                <a:gd name="T53" fmla="*/ 190 h 240"/>
                <a:gd name="T54" fmla="*/ 188 w 240"/>
                <a:gd name="T55" fmla="*/ 210 h 240"/>
                <a:gd name="T56" fmla="*/ 178 w 240"/>
                <a:gd name="T57" fmla="*/ 223 h 240"/>
                <a:gd name="T58" fmla="*/ 178 w 240"/>
                <a:gd name="T59" fmla="*/ 231 h 240"/>
                <a:gd name="T60" fmla="*/ 185 w 240"/>
                <a:gd name="T61" fmla="*/ 239 h 240"/>
                <a:gd name="T62" fmla="*/ 195 w 240"/>
                <a:gd name="T63" fmla="*/ 239 h 240"/>
                <a:gd name="T64" fmla="*/ 209 w 240"/>
                <a:gd name="T65" fmla="*/ 225 h 240"/>
                <a:gd name="T66" fmla="*/ 224 w 240"/>
                <a:gd name="T67" fmla="*/ 202 h 240"/>
                <a:gd name="T68" fmla="*/ 234 w 240"/>
                <a:gd name="T69" fmla="*/ 177 h 240"/>
                <a:gd name="T70" fmla="*/ 240 w 240"/>
                <a:gd name="T71" fmla="*/ 152 h 240"/>
                <a:gd name="T72" fmla="*/ 240 w 240"/>
                <a:gd name="T73" fmla="*/ 126 h 240"/>
                <a:gd name="T74" fmla="*/ 234 w 240"/>
                <a:gd name="T75" fmla="*/ 100 h 240"/>
                <a:gd name="T76" fmla="*/ 224 w 240"/>
                <a:gd name="T77" fmla="*/ 75 h 240"/>
                <a:gd name="T78" fmla="*/ 209 w 240"/>
                <a:gd name="T79" fmla="*/ 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199" y="41"/>
                  </a:moveTo>
                  <a:lnTo>
                    <a:pt x="188" y="31"/>
                  </a:lnTo>
                  <a:lnTo>
                    <a:pt x="178" y="24"/>
                  </a:lnTo>
                  <a:lnTo>
                    <a:pt x="166" y="16"/>
                  </a:lnTo>
                  <a:lnTo>
                    <a:pt x="154" y="11"/>
                  </a:lnTo>
                  <a:lnTo>
                    <a:pt x="141" y="7"/>
                  </a:lnTo>
                  <a:lnTo>
                    <a:pt x="128" y="3"/>
                  </a:lnTo>
                  <a:lnTo>
                    <a:pt x="115" y="1"/>
                  </a:lnTo>
                  <a:lnTo>
                    <a:pt x="101" y="0"/>
                  </a:lnTo>
                  <a:lnTo>
                    <a:pt x="88" y="1"/>
                  </a:lnTo>
                  <a:lnTo>
                    <a:pt x="74" y="3"/>
                  </a:lnTo>
                  <a:lnTo>
                    <a:pt x="62" y="7"/>
                  </a:lnTo>
                  <a:lnTo>
                    <a:pt x="49" y="11"/>
                  </a:lnTo>
                  <a:lnTo>
                    <a:pt x="37" y="16"/>
                  </a:lnTo>
                  <a:lnTo>
                    <a:pt x="25" y="24"/>
                  </a:lnTo>
                  <a:lnTo>
                    <a:pt x="14" y="31"/>
                  </a:lnTo>
                  <a:lnTo>
                    <a:pt x="4" y="41"/>
                  </a:lnTo>
                  <a:lnTo>
                    <a:pt x="1" y="45"/>
                  </a:lnTo>
                  <a:lnTo>
                    <a:pt x="0" y="51"/>
                  </a:lnTo>
                  <a:lnTo>
                    <a:pt x="1" y="56"/>
                  </a:lnTo>
                  <a:lnTo>
                    <a:pt x="4" y="60"/>
                  </a:lnTo>
                  <a:lnTo>
                    <a:pt x="8" y="63"/>
                  </a:lnTo>
                  <a:lnTo>
                    <a:pt x="13" y="64"/>
                  </a:lnTo>
                  <a:lnTo>
                    <a:pt x="18" y="63"/>
                  </a:lnTo>
                  <a:lnTo>
                    <a:pt x="22" y="60"/>
                  </a:lnTo>
                  <a:lnTo>
                    <a:pt x="30" y="52"/>
                  </a:lnTo>
                  <a:lnTo>
                    <a:pt x="40" y="45"/>
                  </a:lnTo>
                  <a:lnTo>
                    <a:pt x="49" y="39"/>
                  </a:lnTo>
                  <a:lnTo>
                    <a:pt x="59" y="35"/>
                  </a:lnTo>
                  <a:lnTo>
                    <a:pt x="69" y="30"/>
                  </a:lnTo>
                  <a:lnTo>
                    <a:pt x="80" y="28"/>
                  </a:lnTo>
                  <a:lnTo>
                    <a:pt x="91" y="26"/>
                  </a:lnTo>
                  <a:lnTo>
                    <a:pt x="101" y="26"/>
                  </a:lnTo>
                  <a:lnTo>
                    <a:pt x="112" y="26"/>
                  </a:lnTo>
                  <a:lnTo>
                    <a:pt x="123" y="28"/>
                  </a:lnTo>
                  <a:lnTo>
                    <a:pt x="133" y="30"/>
                  </a:lnTo>
                  <a:lnTo>
                    <a:pt x="144" y="35"/>
                  </a:lnTo>
                  <a:lnTo>
                    <a:pt x="154" y="39"/>
                  </a:lnTo>
                  <a:lnTo>
                    <a:pt x="164" y="45"/>
                  </a:lnTo>
                  <a:lnTo>
                    <a:pt x="172" y="52"/>
                  </a:lnTo>
                  <a:lnTo>
                    <a:pt x="181" y="60"/>
                  </a:lnTo>
                  <a:lnTo>
                    <a:pt x="188" y="69"/>
                  </a:lnTo>
                  <a:lnTo>
                    <a:pt x="196" y="78"/>
                  </a:lnTo>
                  <a:lnTo>
                    <a:pt x="201" y="87"/>
                  </a:lnTo>
                  <a:lnTo>
                    <a:pt x="207" y="97"/>
                  </a:lnTo>
                  <a:lnTo>
                    <a:pt x="210" y="108"/>
                  </a:lnTo>
                  <a:lnTo>
                    <a:pt x="213" y="117"/>
                  </a:lnTo>
                  <a:lnTo>
                    <a:pt x="214" y="128"/>
                  </a:lnTo>
                  <a:lnTo>
                    <a:pt x="214" y="139"/>
                  </a:lnTo>
                  <a:lnTo>
                    <a:pt x="214" y="149"/>
                  </a:lnTo>
                  <a:lnTo>
                    <a:pt x="213" y="160"/>
                  </a:lnTo>
                  <a:lnTo>
                    <a:pt x="210" y="171"/>
                  </a:lnTo>
                  <a:lnTo>
                    <a:pt x="207" y="181"/>
                  </a:lnTo>
                  <a:lnTo>
                    <a:pt x="201" y="190"/>
                  </a:lnTo>
                  <a:lnTo>
                    <a:pt x="196" y="200"/>
                  </a:lnTo>
                  <a:lnTo>
                    <a:pt x="188" y="210"/>
                  </a:lnTo>
                  <a:lnTo>
                    <a:pt x="181" y="218"/>
                  </a:lnTo>
                  <a:lnTo>
                    <a:pt x="178" y="223"/>
                  </a:lnTo>
                  <a:lnTo>
                    <a:pt x="176" y="227"/>
                  </a:lnTo>
                  <a:lnTo>
                    <a:pt x="178" y="231"/>
                  </a:lnTo>
                  <a:lnTo>
                    <a:pt x="181" y="235"/>
                  </a:lnTo>
                  <a:lnTo>
                    <a:pt x="185" y="239"/>
                  </a:lnTo>
                  <a:lnTo>
                    <a:pt x="189" y="240"/>
                  </a:lnTo>
                  <a:lnTo>
                    <a:pt x="195" y="239"/>
                  </a:lnTo>
                  <a:lnTo>
                    <a:pt x="199" y="235"/>
                  </a:lnTo>
                  <a:lnTo>
                    <a:pt x="209" y="225"/>
                  </a:lnTo>
                  <a:lnTo>
                    <a:pt x="217" y="214"/>
                  </a:lnTo>
                  <a:lnTo>
                    <a:pt x="224" y="202"/>
                  </a:lnTo>
                  <a:lnTo>
                    <a:pt x="230" y="190"/>
                  </a:lnTo>
                  <a:lnTo>
                    <a:pt x="234" y="177"/>
                  </a:lnTo>
                  <a:lnTo>
                    <a:pt x="238" y="165"/>
                  </a:lnTo>
                  <a:lnTo>
                    <a:pt x="240" y="152"/>
                  </a:lnTo>
                  <a:lnTo>
                    <a:pt x="240" y="139"/>
                  </a:lnTo>
                  <a:lnTo>
                    <a:pt x="240" y="126"/>
                  </a:lnTo>
                  <a:lnTo>
                    <a:pt x="238" y="113"/>
                  </a:lnTo>
                  <a:lnTo>
                    <a:pt x="234" y="100"/>
                  </a:lnTo>
                  <a:lnTo>
                    <a:pt x="230" y="87"/>
                  </a:lnTo>
                  <a:lnTo>
                    <a:pt x="224" y="75"/>
                  </a:lnTo>
                  <a:lnTo>
                    <a:pt x="217" y="64"/>
                  </a:lnTo>
                  <a:lnTo>
                    <a:pt x="209" y="52"/>
                  </a:lnTo>
                  <a:lnTo>
                    <a:pt x="19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433" name="Group 136">
            <a:extLst>
              <a:ext uri="{FF2B5EF4-FFF2-40B4-BE49-F238E27FC236}">
                <a16:creationId xmlns:a16="http://schemas.microsoft.com/office/drawing/2014/main" id="{4E7A9D6D-63F6-4362-9969-80E195536AB4}"/>
              </a:ext>
            </a:extLst>
          </p:cNvPr>
          <p:cNvGrpSpPr>
            <a:grpSpLocks noChangeAspect="1"/>
          </p:cNvGrpSpPr>
          <p:nvPr/>
        </p:nvGrpSpPr>
        <p:grpSpPr>
          <a:xfrm>
            <a:off x="651487" y="3801969"/>
            <a:ext cx="325224" cy="285619"/>
            <a:chOff x="0" y="4483101"/>
            <a:chExt cx="677863" cy="595313"/>
          </a:xfrm>
          <a:solidFill>
            <a:schemeClr val="bg2"/>
          </a:solidFill>
          <a:effectLst/>
        </p:grpSpPr>
        <p:sp>
          <p:nvSpPr>
            <p:cNvPr id="434" name="Freeform 201">
              <a:extLst>
                <a:ext uri="{FF2B5EF4-FFF2-40B4-BE49-F238E27FC236}">
                  <a16:creationId xmlns:a16="http://schemas.microsoft.com/office/drawing/2014/main" id="{185ECA56-6E06-4EA2-A095-70F4E6045D97}"/>
                </a:ext>
              </a:extLst>
            </p:cNvPr>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02">
              <a:extLst>
                <a:ext uri="{FF2B5EF4-FFF2-40B4-BE49-F238E27FC236}">
                  <a16:creationId xmlns:a16="http://schemas.microsoft.com/office/drawing/2014/main" id="{47D21B9D-2C73-4075-97F1-967104F06923}"/>
                </a:ext>
              </a:extLst>
            </p:cNvPr>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203">
              <a:extLst>
                <a:ext uri="{FF2B5EF4-FFF2-40B4-BE49-F238E27FC236}">
                  <a16:creationId xmlns:a16="http://schemas.microsoft.com/office/drawing/2014/main" id="{DC663A64-F43D-49E4-9281-186B80E8DFF6}"/>
                </a:ext>
              </a:extLst>
            </p:cNvPr>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04">
              <a:extLst>
                <a:ext uri="{FF2B5EF4-FFF2-40B4-BE49-F238E27FC236}">
                  <a16:creationId xmlns:a16="http://schemas.microsoft.com/office/drawing/2014/main" id="{469A5F5C-EBC0-45F8-9D8F-2193F0AE580D}"/>
                </a:ext>
              </a:extLst>
            </p:cNvPr>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4" name="Gruppieren 1153">
            <a:extLst>
              <a:ext uri="{FF2B5EF4-FFF2-40B4-BE49-F238E27FC236}">
                <a16:creationId xmlns:a16="http://schemas.microsoft.com/office/drawing/2014/main" id="{7EA37E08-2918-4A6F-A31E-6A6A74EA9541}"/>
              </a:ext>
            </a:extLst>
          </p:cNvPr>
          <p:cNvGrpSpPr>
            <a:grpSpLocks noChangeAspect="1"/>
          </p:cNvGrpSpPr>
          <p:nvPr/>
        </p:nvGrpSpPr>
        <p:grpSpPr>
          <a:xfrm>
            <a:off x="671290" y="5956111"/>
            <a:ext cx="285619" cy="285619"/>
            <a:chOff x="695878" y="6317331"/>
            <a:chExt cx="360000" cy="360000"/>
          </a:xfrm>
          <a:solidFill>
            <a:schemeClr val="bg2"/>
          </a:solidFill>
        </p:grpSpPr>
        <p:sp>
          <p:nvSpPr>
            <p:cNvPr id="1229" name="Freeform 407">
              <a:extLst>
                <a:ext uri="{FF2B5EF4-FFF2-40B4-BE49-F238E27FC236}">
                  <a16:creationId xmlns:a16="http://schemas.microsoft.com/office/drawing/2014/main" id="{C8A7E6B4-F348-4332-8236-ECC2E5E0AFF9}"/>
                </a:ext>
              </a:extLst>
            </p:cNvPr>
            <p:cNvSpPr>
              <a:spLocks noEditPoints="1"/>
            </p:cNvSpPr>
            <p:nvPr/>
          </p:nvSpPr>
          <p:spPr bwMode="auto">
            <a:xfrm>
              <a:off x="695878" y="6317331"/>
              <a:ext cx="360000" cy="360000"/>
            </a:xfrm>
            <a:custGeom>
              <a:avLst/>
              <a:gdLst>
                <a:gd name="T0" fmla="*/ 242 w 597"/>
                <a:gd name="T1" fmla="*/ 25 h 596"/>
                <a:gd name="T2" fmla="*/ 179 w 597"/>
                <a:gd name="T3" fmla="*/ 48 h 596"/>
                <a:gd name="T4" fmla="*/ 123 w 597"/>
                <a:gd name="T5" fmla="*/ 83 h 596"/>
                <a:gd name="T6" fmla="*/ 76 w 597"/>
                <a:gd name="T7" fmla="*/ 132 h 596"/>
                <a:gd name="T8" fmla="*/ 43 w 597"/>
                <a:gd name="T9" fmla="*/ 190 h 596"/>
                <a:gd name="T10" fmla="*/ 24 w 597"/>
                <a:gd name="T11" fmla="*/ 256 h 596"/>
                <a:gd name="T12" fmla="*/ 22 w 597"/>
                <a:gd name="T13" fmla="*/ 326 h 596"/>
                <a:gd name="T14" fmla="*/ 37 w 597"/>
                <a:gd name="T15" fmla="*/ 393 h 596"/>
                <a:gd name="T16" fmla="*/ 69 w 597"/>
                <a:gd name="T17" fmla="*/ 454 h 596"/>
                <a:gd name="T18" fmla="*/ 112 w 597"/>
                <a:gd name="T19" fmla="*/ 503 h 596"/>
                <a:gd name="T20" fmla="*/ 167 w 597"/>
                <a:gd name="T21" fmla="*/ 542 h 596"/>
                <a:gd name="T22" fmla="*/ 229 w 597"/>
                <a:gd name="T23" fmla="*/ 567 h 596"/>
                <a:gd name="T24" fmla="*/ 299 w 597"/>
                <a:gd name="T25" fmla="*/ 576 h 596"/>
                <a:gd name="T26" fmla="*/ 369 w 597"/>
                <a:gd name="T27" fmla="*/ 567 h 596"/>
                <a:gd name="T28" fmla="*/ 431 w 597"/>
                <a:gd name="T29" fmla="*/ 542 h 596"/>
                <a:gd name="T30" fmla="*/ 485 w 597"/>
                <a:gd name="T31" fmla="*/ 503 h 596"/>
                <a:gd name="T32" fmla="*/ 530 w 597"/>
                <a:gd name="T33" fmla="*/ 454 h 596"/>
                <a:gd name="T34" fmla="*/ 560 w 597"/>
                <a:gd name="T35" fmla="*/ 393 h 596"/>
                <a:gd name="T36" fmla="*/ 575 w 597"/>
                <a:gd name="T37" fmla="*/ 326 h 596"/>
                <a:gd name="T38" fmla="*/ 574 w 597"/>
                <a:gd name="T39" fmla="*/ 256 h 596"/>
                <a:gd name="T40" fmla="*/ 554 w 597"/>
                <a:gd name="T41" fmla="*/ 190 h 596"/>
                <a:gd name="T42" fmla="*/ 522 w 597"/>
                <a:gd name="T43" fmla="*/ 132 h 596"/>
                <a:gd name="T44" fmla="*/ 476 w 597"/>
                <a:gd name="T45" fmla="*/ 83 h 596"/>
                <a:gd name="T46" fmla="*/ 420 w 597"/>
                <a:gd name="T47" fmla="*/ 48 h 596"/>
                <a:gd name="T48" fmla="*/ 355 w 597"/>
                <a:gd name="T49" fmla="*/ 25 h 596"/>
                <a:gd name="T50" fmla="*/ 299 w 597"/>
                <a:gd name="T51" fmla="*/ 596 h 596"/>
                <a:gd name="T52" fmla="*/ 224 w 597"/>
                <a:gd name="T53" fmla="*/ 587 h 596"/>
                <a:gd name="T54" fmla="*/ 157 w 597"/>
                <a:gd name="T55" fmla="*/ 560 h 596"/>
                <a:gd name="T56" fmla="*/ 99 w 597"/>
                <a:gd name="T57" fmla="*/ 519 h 596"/>
                <a:gd name="T58" fmla="*/ 52 w 597"/>
                <a:gd name="T59" fmla="*/ 465 h 596"/>
                <a:gd name="T60" fmla="*/ 19 w 597"/>
                <a:gd name="T61" fmla="*/ 400 h 596"/>
                <a:gd name="T62" fmla="*/ 3 w 597"/>
                <a:gd name="T63" fmla="*/ 328 h 596"/>
                <a:gd name="T64" fmla="*/ 5 w 597"/>
                <a:gd name="T65" fmla="*/ 253 h 596"/>
                <a:gd name="T66" fmla="*/ 24 w 597"/>
                <a:gd name="T67" fmla="*/ 182 h 596"/>
                <a:gd name="T68" fmla="*/ 60 w 597"/>
                <a:gd name="T69" fmla="*/ 120 h 596"/>
                <a:gd name="T70" fmla="*/ 110 w 597"/>
                <a:gd name="T71" fmla="*/ 68 h 596"/>
                <a:gd name="T72" fmla="*/ 170 w 597"/>
                <a:gd name="T73" fmla="*/ 29 h 596"/>
                <a:gd name="T74" fmla="*/ 239 w 597"/>
                <a:gd name="T75" fmla="*/ 6 h 596"/>
                <a:gd name="T76" fmla="*/ 314 w 597"/>
                <a:gd name="T77" fmla="*/ 0 h 596"/>
                <a:gd name="T78" fmla="*/ 387 w 597"/>
                <a:gd name="T79" fmla="*/ 13 h 596"/>
                <a:gd name="T80" fmla="*/ 453 w 597"/>
                <a:gd name="T81" fmla="*/ 43 h 596"/>
                <a:gd name="T82" fmla="*/ 509 w 597"/>
                <a:gd name="T83" fmla="*/ 88 h 596"/>
                <a:gd name="T84" fmla="*/ 553 w 597"/>
                <a:gd name="T85" fmla="*/ 144 h 596"/>
                <a:gd name="T86" fmla="*/ 584 w 597"/>
                <a:gd name="T87" fmla="*/ 210 h 596"/>
                <a:gd name="T88" fmla="*/ 597 w 597"/>
                <a:gd name="T89" fmla="*/ 282 h 596"/>
                <a:gd name="T90" fmla="*/ 591 w 597"/>
                <a:gd name="T91" fmla="*/ 358 h 596"/>
                <a:gd name="T92" fmla="*/ 567 w 597"/>
                <a:gd name="T93" fmla="*/ 427 h 596"/>
                <a:gd name="T94" fmla="*/ 529 w 597"/>
                <a:gd name="T95" fmla="*/ 487 h 596"/>
                <a:gd name="T96" fmla="*/ 477 w 597"/>
                <a:gd name="T97" fmla="*/ 537 h 596"/>
                <a:gd name="T98" fmla="*/ 415 w 597"/>
                <a:gd name="T99" fmla="*/ 573 h 596"/>
                <a:gd name="T100" fmla="*/ 344 w 597"/>
                <a:gd name="T101" fmla="*/ 59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7" h="596">
                  <a:moveTo>
                    <a:pt x="299" y="20"/>
                  </a:moveTo>
                  <a:lnTo>
                    <a:pt x="285" y="21"/>
                  </a:lnTo>
                  <a:lnTo>
                    <a:pt x="270" y="22"/>
                  </a:lnTo>
                  <a:lnTo>
                    <a:pt x="256" y="23"/>
                  </a:lnTo>
                  <a:lnTo>
                    <a:pt x="242" y="25"/>
                  </a:lnTo>
                  <a:lnTo>
                    <a:pt x="229" y="28"/>
                  </a:lnTo>
                  <a:lnTo>
                    <a:pt x="216" y="33"/>
                  </a:lnTo>
                  <a:lnTo>
                    <a:pt x="204" y="37"/>
                  </a:lnTo>
                  <a:lnTo>
                    <a:pt x="191" y="41"/>
                  </a:lnTo>
                  <a:lnTo>
                    <a:pt x="179" y="48"/>
                  </a:lnTo>
                  <a:lnTo>
                    <a:pt x="167" y="53"/>
                  </a:lnTo>
                  <a:lnTo>
                    <a:pt x="155" y="61"/>
                  </a:lnTo>
                  <a:lnTo>
                    <a:pt x="143" y="67"/>
                  </a:lnTo>
                  <a:lnTo>
                    <a:pt x="132" y="75"/>
                  </a:lnTo>
                  <a:lnTo>
                    <a:pt x="123" y="83"/>
                  </a:lnTo>
                  <a:lnTo>
                    <a:pt x="112" y="92"/>
                  </a:lnTo>
                  <a:lnTo>
                    <a:pt x="102" y="102"/>
                  </a:lnTo>
                  <a:lnTo>
                    <a:pt x="93" y="111"/>
                  </a:lnTo>
                  <a:lnTo>
                    <a:pt x="85" y="121"/>
                  </a:lnTo>
                  <a:lnTo>
                    <a:pt x="76" y="132"/>
                  </a:lnTo>
                  <a:lnTo>
                    <a:pt x="69" y="143"/>
                  </a:lnTo>
                  <a:lnTo>
                    <a:pt x="61" y="153"/>
                  </a:lnTo>
                  <a:lnTo>
                    <a:pt x="54" y="165"/>
                  </a:lnTo>
                  <a:lnTo>
                    <a:pt x="48" y="177"/>
                  </a:lnTo>
                  <a:lnTo>
                    <a:pt x="43" y="190"/>
                  </a:lnTo>
                  <a:lnTo>
                    <a:pt x="37" y="202"/>
                  </a:lnTo>
                  <a:lnTo>
                    <a:pt x="33" y="215"/>
                  </a:lnTo>
                  <a:lnTo>
                    <a:pt x="30" y="228"/>
                  </a:lnTo>
                  <a:lnTo>
                    <a:pt x="26" y="242"/>
                  </a:lnTo>
                  <a:lnTo>
                    <a:pt x="24" y="256"/>
                  </a:lnTo>
                  <a:lnTo>
                    <a:pt x="22" y="269"/>
                  </a:lnTo>
                  <a:lnTo>
                    <a:pt x="21" y="283"/>
                  </a:lnTo>
                  <a:lnTo>
                    <a:pt x="21" y="298"/>
                  </a:lnTo>
                  <a:lnTo>
                    <a:pt x="21" y="312"/>
                  </a:lnTo>
                  <a:lnTo>
                    <a:pt x="22" y="326"/>
                  </a:lnTo>
                  <a:lnTo>
                    <a:pt x="24" y="340"/>
                  </a:lnTo>
                  <a:lnTo>
                    <a:pt x="26" y="353"/>
                  </a:lnTo>
                  <a:lnTo>
                    <a:pt x="30" y="367"/>
                  </a:lnTo>
                  <a:lnTo>
                    <a:pt x="33" y="380"/>
                  </a:lnTo>
                  <a:lnTo>
                    <a:pt x="37" y="393"/>
                  </a:lnTo>
                  <a:lnTo>
                    <a:pt x="43" y="406"/>
                  </a:lnTo>
                  <a:lnTo>
                    <a:pt x="48" y="418"/>
                  </a:lnTo>
                  <a:lnTo>
                    <a:pt x="54" y="430"/>
                  </a:lnTo>
                  <a:lnTo>
                    <a:pt x="61" y="442"/>
                  </a:lnTo>
                  <a:lnTo>
                    <a:pt x="69" y="454"/>
                  </a:lnTo>
                  <a:lnTo>
                    <a:pt x="76" y="465"/>
                  </a:lnTo>
                  <a:lnTo>
                    <a:pt x="85" y="474"/>
                  </a:lnTo>
                  <a:lnTo>
                    <a:pt x="93" y="485"/>
                  </a:lnTo>
                  <a:lnTo>
                    <a:pt x="102" y="495"/>
                  </a:lnTo>
                  <a:lnTo>
                    <a:pt x="112" y="503"/>
                  </a:lnTo>
                  <a:lnTo>
                    <a:pt x="123" y="512"/>
                  </a:lnTo>
                  <a:lnTo>
                    <a:pt x="132" y="521"/>
                  </a:lnTo>
                  <a:lnTo>
                    <a:pt x="143" y="528"/>
                  </a:lnTo>
                  <a:lnTo>
                    <a:pt x="155" y="536"/>
                  </a:lnTo>
                  <a:lnTo>
                    <a:pt x="167" y="542"/>
                  </a:lnTo>
                  <a:lnTo>
                    <a:pt x="179" y="549"/>
                  </a:lnTo>
                  <a:lnTo>
                    <a:pt x="191" y="554"/>
                  </a:lnTo>
                  <a:lnTo>
                    <a:pt x="204" y="558"/>
                  </a:lnTo>
                  <a:lnTo>
                    <a:pt x="216" y="564"/>
                  </a:lnTo>
                  <a:lnTo>
                    <a:pt x="229" y="567"/>
                  </a:lnTo>
                  <a:lnTo>
                    <a:pt x="242" y="570"/>
                  </a:lnTo>
                  <a:lnTo>
                    <a:pt x="256" y="573"/>
                  </a:lnTo>
                  <a:lnTo>
                    <a:pt x="270" y="575"/>
                  </a:lnTo>
                  <a:lnTo>
                    <a:pt x="285" y="576"/>
                  </a:lnTo>
                  <a:lnTo>
                    <a:pt x="299" y="576"/>
                  </a:lnTo>
                  <a:lnTo>
                    <a:pt x="314" y="576"/>
                  </a:lnTo>
                  <a:lnTo>
                    <a:pt x="328" y="575"/>
                  </a:lnTo>
                  <a:lnTo>
                    <a:pt x="341" y="573"/>
                  </a:lnTo>
                  <a:lnTo>
                    <a:pt x="355" y="570"/>
                  </a:lnTo>
                  <a:lnTo>
                    <a:pt x="369" y="567"/>
                  </a:lnTo>
                  <a:lnTo>
                    <a:pt x="382" y="564"/>
                  </a:lnTo>
                  <a:lnTo>
                    <a:pt x="395" y="558"/>
                  </a:lnTo>
                  <a:lnTo>
                    <a:pt x="407" y="554"/>
                  </a:lnTo>
                  <a:lnTo>
                    <a:pt x="420" y="549"/>
                  </a:lnTo>
                  <a:lnTo>
                    <a:pt x="431" y="542"/>
                  </a:lnTo>
                  <a:lnTo>
                    <a:pt x="443" y="536"/>
                  </a:lnTo>
                  <a:lnTo>
                    <a:pt x="454" y="528"/>
                  </a:lnTo>
                  <a:lnTo>
                    <a:pt x="465" y="521"/>
                  </a:lnTo>
                  <a:lnTo>
                    <a:pt x="476" y="512"/>
                  </a:lnTo>
                  <a:lnTo>
                    <a:pt x="485" y="503"/>
                  </a:lnTo>
                  <a:lnTo>
                    <a:pt x="495" y="495"/>
                  </a:lnTo>
                  <a:lnTo>
                    <a:pt x="505" y="485"/>
                  </a:lnTo>
                  <a:lnTo>
                    <a:pt x="513" y="474"/>
                  </a:lnTo>
                  <a:lnTo>
                    <a:pt x="522" y="465"/>
                  </a:lnTo>
                  <a:lnTo>
                    <a:pt x="530" y="454"/>
                  </a:lnTo>
                  <a:lnTo>
                    <a:pt x="536" y="442"/>
                  </a:lnTo>
                  <a:lnTo>
                    <a:pt x="544" y="430"/>
                  </a:lnTo>
                  <a:lnTo>
                    <a:pt x="549" y="418"/>
                  </a:lnTo>
                  <a:lnTo>
                    <a:pt x="554" y="406"/>
                  </a:lnTo>
                  <a:lnTo>
                    <a:pt x="560" y="393"/>
                  </a:lnTo>
                  <a:lnTo>
                    <a:pt x="564" y="380"/>
                  </a:lnTo>
                  <a:lnTo>
                    <a:pt x="569" y="367"/>
                  </a:lnTo>
                  <a:lnTo>
                    <a:pt x="572" y="353"/>
                  </a:lnTo>
                  <a:lnTo>
                    <a:pt x="574" y="340"/>
                  </a:lnTo>
                  <a:lnTo>
                    <a:pt x="575" y="326"/>
                  </a:lnTo>
                  <a:lnTo>
                    <a:pt x="576" y="312"/>
                  </a:lnTo>
                  <a:lnTo>
                    <a:pt x="577" y="298"/>
                  </a:lnTo>
                  <a:lnTo>
                    <a:pt x="576" y="283"/>
                  </a:lnTo>
                  <a:lnTo>
                    <a:pt x="575" y="269"/>
                  </a:lnTo>
                  <a:lnTo>
                    <a:pt x="574" y="256"/>
                  </a:lnTo>
                  <a:lnTo>
                    <a:pt x="572" y="242"/>
                  </a:lnTo>
                  <a:lnTo>
                    <a:pt x="569" y="228"/>
                  </a:lnTo>
                  <a:lnTo>
                    <a:pt x="564" y="215"/>
                  </a:lnTo>
                  <a:lnTo>
                    <a:pt x="560" y="202"/>
                  </a:lnTo>
                  <a:lnTo>
                    <a:pt x="554" y="190"/>
                  </a:lnTo>
                  <a:lnTo>
                    <a:pt x="549" y="177"/>
                  </a:lnTo>
                  <a:lnTo>
                    <a:pt x="544" y="165"/>
                  </a:lnTo>
                  <a:lnTo>
                    <a:pt x="536" y="153"/>
                  </a:lnTo>
                  <a:lnTo>
                    <a:pt x="530" y="143"/>
                  </a:lnTo>
                  <a:lnTo>
                    <a:pt x="522" y="132"/>
                  </a:lnTo>
                  <a:lnTo>
                    <a:pt x="513" y="121"/>
                  </a:lnTo>
                  <a:lnTo>
                    <a:pt x="505" y="111"/>
                  </a:lnTo>
                  <a:lnTo>
                    <a:pt x="495" y="102"/>
                  </a:lnTo>
                  <a:lnTo>
                    <a:pt x="485" y="92"/>
                  </a:lnTo>
                  <a:lnTo>
                    <a:pt x="476" y="83"/>
                  </a:lnTo>
                  <a:lnTo>
                    <a:pt x="465" y="75"/>
                  </a:lnTo>
                  <a:lnTo>
                    <a:pt x="454" y="67"/>
                  </a:lnTo>
                  <a:lnTo>
                    <a:pt x="443" y="61"/>
                  </a:lnTo>
                  <a:lnTo>
                    <a:pt x="431" y="53"/>
                  </a:lnTo>
                  <a:lnTo>
                    <a:pt x="420" y="48"/>
                  </a:lnTo>
                  <a:lnTo>
                    <a:pt x="407" y="41"/>
                  </a:lnTo>
                  <a:lnTo>
                    <a:pt x="395" y="37"/>
                  </a:lnTo>
                  <a:lnTo>
                    <a:pt x="382" y="33"/>
                  </a:lnTo>
                  <a:lnTo>
                    <a:pt x="369" y="28"/>
                  </a:lnTo>
                  <a:lnTo>
                    <a:pt x="355" y="25"/>
                  </a:lnTo>
                  <a:lnTo>
                    <a:pt x="341" y="23"/>
                  </a:lnTo>
                  <a:lnTo>
                    <a:pt x="328" y="22"/>
                  </a:lnTo>
                  <a:lnTo>
                    <a:pt x="314" y="21"/>
                  </a:lnTo>
                  <a:lnTo>
                    <a:pt x="299" y="20"/>
                  </a:lnTo>
                  <a:close/>
                  <a:moveTo>
                    <a:pt x="299" y="596"/>
                  </a:moveTo>
                  <a:lnTo>
                    <a:pt x="283" y="595"/>
                  </a:lnTo>
                  <a:lnTo>
                    <a:pt x="268" y="594"/>
                  </a:lnTo>
                  <a:lnTo>
                    <a:pt x="253" y="592"/>
                  </a:lnTo>
                  <a:lnTo>
                    <a:pt x="239" y="590"/>
                  </a:lnTo>
                  <a:lnTo>
                    <a:pt x="224" y="587"/>
                  </a:lnTo>
                  <a:lnTo>
                    <a:pt x="210" y="582"/>
                  </a:lnTo>
                  <a:lnTo>
                    <a:pt x="197" y="578"/>
                  </a:lnTo>
                  <a:lnTo>
                    <a:pt x="183" y="573"/>
                  </a:lnTo>
                  <a:lnTo>
                    <a:pt x="170" y="566"/>
                  </a:lnTo>
                  <a:lnTo>
                    <a:pt x="157" y="560"/>
                  </a:lnTo>
                  <a:lnTo>
                    <a:pt x="144" y="553"/>
                  </a:lnTo>
                  <a:lnTo>
                    <a:pt x="132" y="544"/>
                  </a:lnTo>
                  <a:lnTo>
                    <a:pt x="120" y="537"/>
                  </a:lnTo>
                  <a:lnTo>
                    <a:pt x="110" y="527"/>
                  </a:lnTo>
                  <a:lnTo>
                    <a:pt x="99" y="519"/>
                  </a:lnTo>
                  <a:lnTo>
                    <a:pt x="88" y="509"/>
                  </a:lnTo>
                  <a:lnTo>
                    <a:pt x="78" y="498"/>
                  </a:lnTo>
                  <a:lnTo>
                    <a:pt x="70" y="487"/>
                  </a:lnTo>
                  <a:lnTo>
                    <a:pt x="60" y="476"/>
                  </a:lnTo>
                  <a:lnTo>
                    <a:pt x="52" y="465"/>
                  </a:lnTo>
                  <a:lnTo>
                    <a:pt x="44" y="453"/>
                  </a:lnTo>
                  <a:lnTo>
                    <a:pt x="37" y="440"/>
                  </a:lnTo>
                  <a:lnTo>
                    <a:pt x="31" y="427"/>
                  </a:lnTo>
                  <a:lnTo>
                    <a:pt x="24" y="414"/>
                  </a:lnTo>
                  <a:lnTo>
                    <a:pt x="19" y="400"/>
                  </a:lnTo>
                  <a:lnTo>
                    <a:pt x="15" y="387"/>
                  </a:lnTo>
                  <a:lnTo>
                    <a:pt x="10" y="373"/>
                  </a:lnTo>
                  <a:lnTo>
                    <a:pt x="7" y="358"/>
                  </a:lnTo>
                  <a:lnTo>
                    <a:pt x="5" y="344"/>
                  </a:lnTo>
                  <a:lnTo>
                    <a:pt x="3" y="328"/>
                  </a:lnTo>
                  <a:lnTo>
                    <a:pt x="2" y="313"/>
                  </a:lnTo>
                  <a:lnTo>
                    <a:pt x="0" y="298"/>
                  </a:lnTo>
                  <a:lnTo>
                    <a:pt x="2" y="282"/>
                  </a:lnTo>
                  <a:lnTo>
                    <a:pt x="3" y="267"/>
                  </a:lnTo>
                  <a:lnTo>
                    <a:pt x="5" y="253"/>
                  </a:lnTo>
                  <a:lnTo>
                    <a:pt x="7" y="238"/>
                  </a:lnTo>
                  <a:lnTo>
                    <a:pt x="10" y="224"/>
                  </a:lnTo>
                  <a:lnTo>
                    <a:pt x="15" y="210"/>
                  </a:lnTo>
                  <a:lnTo>
                    <a:pt x="19" y="196"/>
                  </a:lnTo>
                  <a:lnTo>
                    <a:pt x="24" y="182"/>
                  </a:lnTo>
                  <a:lnTo>
                    <a:pt x="31" y="169"/>
                  </a:lnTo>
                  <a:lnTo>
                    <a:pt x="37" y="156"/>
                  </a:lnTo>
                  <a:lnTo>
                    <a:pt x="44" y="144"/>
                  </a:lnTo>
                  <a:lnTo>
                    <a:pt x="52" y="132"/>
                  </a:lnTo>
                  <a:lnTo>
                    <a:pt x="60" y="120"/>
                  </a:lnTo>
                  <a:lnTo>
                    <a:pt x="69" y="108"/>
                  </a:lnTo>
                  <a:lnTo>
                    <a:pt x="78" y="97"/>
                  </a:lnTo>
                  <a:lnTo>
                    <a:pt x="88" y="88"/>
                  </a:lnTo>
                  <a:lnTo>
                    <a:pt x="99" y="78"/>
                  </a:lnTo>
                  <a:lnTo>
                    <a:pt x="110" y="68"/>
                  </a:lnTo>
                  <a:lnTo>
                    <a:pt x="120" y="60"/>
                  </a:lnTo>
                  <a:lnTo>
                    <a:pt x="132" y="51"/>
                  </a:lnTo>
                  <a:lnTo>
                    <a:pt x="144" y="43"/>
                  </a:lnTo>
                  <a:lnTo>
                    <a:pt x="157" y="36"/>
                  </a:lnTo>
                  <a:lnTo>
                    <a:pt x="170" y="29"/>
                  </a:lnTo>
                  <a:lnTo>
                    <a:pt x="183" y="24"/>
                  </a:lnTo>
                  <a:lnTo>
                    <a:pt x="197" y="18"/>
                  </a:lnTo>
                  <a:lnTo>
                    <a:pt x="210" y="13"/>
                  </a:lnTo>
                  <a:lnTo>
                    <a:pt x="224" y="10"/>
                  </a:lnTo>
                  <a:lnTo>
                    <a:pt x="239" y="6"/>
                  </a:lnTo>
                  <a:lnTo>
                    <a:pt x="253" y="3"/>
                  </a:lnTo>
                  <a:lnTo>
                    <a:pt x="268" y="1"/>
                  </a:lnTo>
                  <a:lnTo>
                    <a:pt x="283" y="0"/>
                  </a:lnTo>
                  <a:lnTo>
                    <a:pt x="299" y="0"/>
                  </a:lnTo>
                  <a:lnTo>
                    <a:pt x="314" y="0"/>
                  </a:lnTo>
                  <a:lnTo>
                    <a:pt x="329" y="1"/>
                  </a:lnTo>
                  <a:lnTo>
                    <a:pt x="344" y="3"/>
                  </a:lnTo>
                  <a:lnTo>
                    <a:pt x="359" y="6"/>
                  </a:lnTo>
                  <a:lnTo>
                    <a:pt x="373" y="9"/>
                  </a:lnTo>
                  <a:lnTo>
                    <a:pt x="387" y="13"/>
                  </a:lnTo>
                  <a:lnTo>
                    <a:pt x="401" y="18"/>
                  </a:lnTo>
                  <a:lnTo>
                    <a:pt x="415" y="24"/>
                  </a:lnTo>
                  <a:lnTo>
                    <a:pt x="428" y="29"/>
                  </a:lnTo>
                  <a:lnTo>
                    <a:pt x="441" y="36"/>
                  </a:lnTo>
                  <a:lnTo>
                    <a:pt x="453" y="43"/>
                  </a:lnTo>
                  <a:lnTo>
                    <a:pt x="465" y="51"/>
                  </a:lnTo>
                  <a:lnTo>
                    <a:pt x="477" y="60"/>
                  </a:lnTo>
                  <a:lnTo>
                    <a:pt x="489" y="68"/>
                  </a:lnTo>
                  <a:lnTo>
                    <a:pt x="499" y="78"/>
                  </a:lnTo>
                  <a:lnTo>
                    <a:pt x="509" y="88"/>
                  </a:lnTo>
                  <a:lnTo>
                    <a:pt x="519" y="97"/>
                  </a:lnTo>
                  <a:lnTo>
                    <a:pt x="529" y="108"/>
                  </a:lnTo>
                  <a:lnTo>
                    <a:pt x="537" y="120"/>
                  </a:lnTo>
                  <a:lnTo>
                    <a:pt x="546" y="132"/>
                  </a:lnTo>
                  <a:lnTo>
                    <a:pt x="553" y="144"/>
                  </a:lnTo>
                  <a:lnTo>
                    <a:pt x="561" y="156"/>
                  </a:lnTo>
                  <a:lnTo>
                    <a:pt x="567" y="169"/>
                  </a:lnTo>
                  <a:lnTo>
                    <a:pt x="573" y="182"/>
                  </a:lnTo>
                  <a:lnTo>
                    <a:pt x="578" y="196"/>
                  </a:lnTo>
                  <a:lnTo>
                    <a:pt x="584" y="210"/>
                  </a:lnTo>
                  <a:lnTo>
                    <a:pt x="587" y="224"/>
                  </a:lnTo>
                  <a:lnTo>
                    <a:pt x="591" y="238"/>
                  </a:lnTo>
                  <a:lnTo>
                    <a:pt x="593" y="253"/>
                  </a:lnTo>
                  <a:lnTo>
                    <a:pt x="596" y="267"/>
                  </a:lnTo>
                  <a:lnTo>
                    <a:pt x="597" y="282"/>
                  </a:lnTo>
                  <a:lnTo>
                    <a:pt x="597" y="298"/>
                  </a:lnTo>
                  <a:lnTo>
                    <a:pt x="597" y="313"/>
                  </a:lnTo>
                  <a:lnTo>
                    <a:pt x="596" y="328"/>
                  </a:lnTo>
                  <a:lnTo>
                    <a:pt x="593" y="344"/>
                  </a:lnTo>
                  <a:lnTo>
                    <a:pt x="591" y="358"/>
                  </a:lnTo>
                  <a:lnTo>
                    <a:pt x="587" y="373"/>
                  </a:lnTo>
                  <a:lnTo>
                    <a:pt x="584" y="387"/>
                  </a:lnTo>
                  <a:lnTo>
                    <a:pt x="578" y="400"/>
                  </a:lnTo>
                  <a:lnTo>
                    <a:pt x="573" y="414"/>
                  </a:lnTo>
                  <a:lnTo>
                    <a:pt x="567" y="427"/>
                  </a:lnTo>
                  <a:lnTo>
                    <a:pt x="561" y="440"/>
                  </a:lnTo>
                  <a:lnTo>
                    <a:pt x="553" y="453"/>
                  </a:lnTo>
                  <a:lnTo>
                    <a:pt x="546" y="465"/>
                  </a:lnTo>
                  <a:lnTo>
                    <a:pt x="537" y="476"/>
                  </a:lnTo>
                  <a:lnTo>
                    <a:pt x="529" y="487"/>
                  </a:lnTo>
                  <a:lnTo>
                    <a:pt x="519" y="498"/>
                  </a:lnTo>
                  <a:lnTo>
                    <a:pt x="509" y="509"/>
                  </a:lnTo>
                  <a:lnTo>
                    <a:pt x="499" y="519"/>
                  </a:lnTo>
                  <a:lnTo>
                    <a:pt x="489" y="527"/>
                  </a:lnTo>
                  <a:lnTo>
                    <a:pt x="477" y="537"/>
                  </a:lnTo>
                  <a:lnTo>
                    <a:pt x="465" y="544"/>
                  </a:lnTo>
                  <a:lnTo>
                    <a:pt x="453" y="553"/>
                  </a:lnTo>
                  <a:lnTo>
                    <a:pt x="441" y="560"/>
                  </a:lnTo>
                  <a:lnTo>
                    <a:pt x="428" y="566"/>
                  </a:lnTo>
                  <a:lnTo>
                    <a:pt x="415" y="573"/>
                  </a:lnTo>
                  <a:lnTo>
                    <a:pt x="401" y="578"/>
                  </a:lnTo>
                  <a:lnTo>
                    <a:pt x="387" y="582"/>
                  </a:lnTo>
                  <a:lnTo>
                    <a:pt x="373" y="587"/>
                  </a:lnTo>
                  <a:lnTo>
                    <a:pt x="359" y="590"/>
                  </a:lnTo>
                  <a:lnTo>
                    <a:pt x="344" y="592"/>
                  </a:lnTo>
                  <a:lnTo>
                    <a:pt x="329" y="594"/>
                  </a:lnTo>
                  <a:lnTo>
                    <a:pt x="314" y="595"/>
                  </a:lnTo>
                  <a:lnTo>
                    <a:pt x="299"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230" name="Freeform 408">
              <a:extLst>
                <a:ext uri="{FF2B5EF4-FFF2-40B4-BE49-F238E27FC236}">
                  <a16:creationId xmlns:a16="http://schemas.microsoft.com/office/drawing/2014/main" id="{5305086C-6FEB-4C61-9275-09D5C6163B15}"/>
                </a:ext>
              </a:extLst>
            </p:cNvPr>
            <p:cNvSpPr>
              <a:spLocks/>
            </p:cNvSpPr>
            <p:nvPr/>
          </p:nvSpPr>
          <p:spPr bwMode="auto">
            <a:xfrm>
              <a:off x="816683" y="6382567"/>
              <a:ext cx="132886" cy="227114"/>
            </a:xfrm>
            <a:custGeom>
              <a:avLst/>
              <a:gdLst>
                <a:gd name="T0" fmla="*/ 11 w 219"/>
                <a:gd name="T1" fmla="*/ 377 h 377"/>
                <a:gd name="T2" fmla="*/ 7 w 219"/>
                <a:gd name="T3" fmla="*/ 377 h 377"/>
                <a:gd name="T4" fmla="*/ 3 w 219"/>
                <a:gd name="T5" fmla="*/ 374 h 377"/>
                <a:gd name="T6" fmla="*/ 1 w 219"/>
                <a:gd name="T7" fmla="*/ 371 h 377"/>
                <a:gd name="T8" fmla="*/ 0 w 219"/>
                <a:gd name="T9" fmla="*/ 367 h 377"/>
                <a:gd name="T10" fmla="*/ 1 w 219"/>
                <a:gd name="T11" fmla="*/ 363 h 377"/>
                <a:gd name="T12" fmla="*/ 3 w 219"/>
                <a:gd name="T13" fmla="*/ 360 h 377"/>
                <a:gd name="T14" fmla="*/ 195 w 219"/>
                <a:gd name="T15" fmla="*/ 189 h 377"/>
                <a:gd name="T16" fmla="*/ 3 w 219"/>
                <a:gd name="T17" fmla="*/ 17 h 377"/>
                <a:gd name="T18" fmla="*/ 1 w 219"/>
                <a:gd name="T19" fmla="*/ 14 h 377"/>
                <a:gd name="T20" fmla="*/ 0 w 219"/>
                <a:gd name="T21" fmla="*/ 11 h 377"/>
                <a:gd name="T22" fmla="*/ 1 w 219"/>
                <a:gd name="T23" fmla="*/ 7 h 377"/>
                <a:gd name="T24" fmla="*/ 3 w 219"/>
                <a:gd name="T25" fmla="*/ 3 h 377"/>
                <a:gd name="T26" fmla="*/ 7 w 219"/>
                <a:gd name="T27" fmla="*/ 1 h 377"/>
                <a:gd name="T28" fmla="*/ 10 w 219"/>
                <a:gd name="T29" fmla="*/ 0 h 377"/>
                <a:gd name="T30" fmla="*/ 14 w 219"/>
                <a:gd name="T31" fmla="*/ 0 h 377"/>
                <a:gd name="T32" fmla="*/ 17 w 219"/>
                <a:gd name="T33" fmla="*/ 2 h 377"/>
                <a:gd name="T34" fmla="*/ 216 w 219"/>
                <a:gd name="T35" fmla="*/ 182 h 377"/>
                <a:gd name="T36" fmla="*/ 218 w 219"/>
                <a:gd name="T37" fmla="*/ 185 h 377"/>
                <a:gd name="T38" fmla="*/ 219 w 219"/>
                <a:gd name="T39" fmla="*/ 189 h 377"/>
                <a:gd name="T40" fmla="*/ 218 w 219"/>
                <a:gd name="T41" fmla="*/ 192 h 377"/>
                <a:gd name="T42" fmla="*/ 216 w 219"/>
                <a:gd name="T43" fmla="*/ 196 h 377"/>
                <a:gd name="T44" fmla="*/ 17 w 219"/>
                <a:gd name="T45" fmla="*/ 375 h 377"/>
                <a:gd name="T46" fmla="*/ 14 w 219"/>
                <a:gd name="T47" fmla="*/ 377 h 377"/>
                <a:gd name="T48" fmla="*/ 11 w 219"/>
                <a:gd name="T49"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377">
                  <a:moveTo>
                    <a:pt x="11" y="377"/>
                  </a:moveTo>
                  <a:lnTo>
                    <a:pt x="7" y="377"/>
                  </a:lnTo>
                  <a:lnTo>
                    <a:pt x="3" y="374"/>
                  </a:lnTo>
                  <a:lnTo>
                    <a:pt x="1" y="371"/>
                  </a:lnTo>
                  <a:lnTo>
                    <a:pt x="0" y="367"/>
                  </a:lnTo>
                  <a:lnTo>
                    <a:pt x="1" y="363"/>
                  </a:lnTo>
                  <a:lnTo>
                    <a:pt x="3" y="360"/>
                  </a:lnTo>
                  <a:lnTo>
                    <a:pt x="195" y="189"/>
                  </a:lnTo>
                  <a:lnTo>
                    <a:pt x="3" y="17"/>
                  </a:lnTo>
                  <a:lnTo>
                    <a:pt x="1" y="14"/>
                  </a:lnTo>
                  <a:lnTo>
                    <a:pt x="0" y="11"/>
                  </a:lnTo>
                  <a:lnTo>
                    <a:pt x="1" y="7"/>
                  </a:lnTo>
                  <a:lnTo>
                    <a:pt x="3" y="3"/>
                  </a:lnTo>
                  <a:lnTo>
                    <a:pt x="7" y="1"/>
                  </a:lnTo>
                  <a:lnTo>
                    <a:pt x="10" y="0"/>
                  </a:lnTo>
                  <a:lnTo>
                    <a:pt x="14" y="0"/>
                  </a:lnTo>
                  <a:lnTo>
                    <a:pt x="17" y="2"/>
                  </a:lnTo>
                  <a:lnTo>
                    <a:pt x="216" y="182"/>
                  </a:lnTo>
                  <a:lnTo>
                    <a:pt x="218" y="185"/>
                  </a:lnTo>
                  <a:lnTo>
                    <a:pt x="219" y="189"/>
                  </a:lnTo>
                  <a:lnTo>
                    <a:pt x="218" y="192"/>
                  </a:lnTo>
                  <a:lnTo>
                    <a:pt x="216" y="196"/>
                  </a:lnTo>
                  <a:lnTo>
                    <a:pt x="17" y="375"/>
                  </a:lnTo>
                  <a:lnTo>
                    <a:pt x="14" y="377"/>
                  </a:lnTo>
                  <a:lnTo>
                    <a:pt x="11"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393" name="Group 54">
            <a:extLst>
              <a:ext uri="{FF2B5EF4-FFF2-40B4-BE49-F238E27FC236}">
                <a16:creationId xmlns:a16="http://schemas.microsoft.com/office/drawing/2014/main" id="{AEDD9035-4A55-499D-90A6-6B6B189DFC01}"/>
              </a:ext>
            </a:extLst>
          </p:cNvPr>
          <p:cNvGrpSpPr>
            <a:grpSpLocks noChangeAspect="1"/>
          </p:cNvGrpSpPr>
          <p:nvPr/>
        </p:nvGrpSpPr>
        <p:grpSpPr>
          <a:xfrm>
            <a:off x="1459347" y="2186361"/>
            <a:ext cx="324608" cy="285619"/>
            <a:chOff x="2606675" y="839788"/>
            <a:chExt cx="787401" cy="757238"/>
          </a:xfrm>
          <a:solidFill>
            <a:schemeClr val="bg2"/>
          </a:solidFill>
          <a:effectLst/>
        </p:grpSpPr>
        <p:sp>
          <p:nvSpPr>
            <p:cNvPr id="394" name="Freeform 33">
              <a:extLst>
                <a:ext uri="{FF2B5EF4-FFF2-40B4-BE49-F238E27FC236}">
                  <a16:creationId xmlns:a16="http://schemas.microsoft.com/office/drawing/2014/main" id="{91B82AD0-0AD2-4227-8D34-B9463889A99B}"/>
                </a:ext>
              </a:extLst>
            </p:cNvPr>
            <p:cNvSpPr>
              <a:spLocks noEditPoints="1"/>
            </p:cNvSpPr>
            <p:nvPr/>
          </p:nvSpPr>
          <p:spPr bwMode="auto">
            <a:xfrm>
              <a:off x="2890838" y="1146176"/>
              <a:ext cx="219075" cy="238125"/>
            </a:xfrm>
            <a:custGeom>
              <a:avLst/>
              <a:gdLst>
                <a:gd name="T0" fmla="*/ 176 w 415"/>
                <a:gd name="T1" fmla="*/ 56 h 451"/>
                <a:gd name="T2" fmla="*/ 133 w 415"/>
                <a:gd name="T3" fmla="*/ 73 h 451"/>
                <a:gd name="T4" fmla="*/ 98 w 415"/>
                <a:gd name="T5" fmla="*/ 104 h 451"/>
                <a:gd name="T6" fmla="*/ 71 w 415"/>
                <a:gd name="T7" fmla="*/ 142 h 451"/>
                <a:gd name="T8" fmla="*/ 55 w 415"/>
                <a:gd name="T9" fmla="*/ 191 h 451"/>
                <a:gd name="T10" fmla="*/ 52 w 415"/>
                <a:gd name="T11" fmla="*/ 243 h 451"/>
                <a:gd name="T12" fmla="*/ 64 w 415"/>
                <a:gd name="T13" fmla="*/ 294 h 451"/>
                <a:gd name="T14" fmla="*/ 88 w 415"/>
                <a:gd name="T15" fmla="*/ 335 h 451"/>
                <a:gd name="T16" fmla="*/ 121 w 415"/>
                <a:gd name="T17" fmla="*/ 370 h 451"/>
                <a:gd name="T18" fmla="*/ 162 w 415"/>
                <a:gd name="T19" fmla="*/ 392 h 451"/>
                <a:gd name="T20" fmla="*/ 208 w 415"/>
                <a:gd name="T21" fmla="*/ 399 h 451"/>
                <a:gd name="T22" fmla="*/ 254 w 415"/>
                <a:gd name="T23" fmla="*/ 392 h 451"/>
                <a:gd name="T24" fmla="*/ 294 w 415"/>
                <a:gd name="T25" fmla="*/ 370 h 451"/>
                <a:gd name="T26" fmla="*/ 327 w 415"/>
                <a:gd name="T27" fmla="*/ 335 h 451"/>
                <a:gd name="T28" fmla="*/ 350 w 415"/>
                <a:gd name="T29" fmla="*/ 294 h 451"/>
                <a:gd name="T30" fmla="*/ 362 w 415"/>
                <a:gd name="T31" fmla="*/ 243 h 451"/>
                <a:gd name="T32" fmla="*/ 359 w 415"/>
                <a:gd name="T33" fmla="*/ 191 h 451"/>
                <a:gd name="T34" fmla="*/ 345 w 415"/>
                <a:gd name="T35" fmla="*/ 142 h 451"/>
                <a:gd name="T36" fmla="*/ 317 w 415"/>
                <a:gd name="T37" fmla="*/ 104 h 451"/>
                <a:gd name="T38" fmla="*/ 281 w 415"/>
                <a:gd name="T39" fmla="*/ 73 h 451"/>
                <a:gd name="T40" fmla="*/ 238 w 415"/>
                <a:gd name="T41" fmla="*/ 56 h 451"/>
                <a:gd name="T42" fmla="*/ 208 w 415"/>
                <a:gd name="T43" fmla="*/ 451 h 451"/>
                <a:gd name="T44" fmla="*/ 146 w 415"/>
                <a:gd name="T45" fmla="*/ 440 h 451"/>
                <a:gd name="T46" fmla="*/ 91 w 415"/>
                <a:gd name="T47" fmla="*/ 413 h 451"/>
                <a:gd name="T48" fmla="*/ 48 w 415"/>
                <a:gd name="T49" fmla="*/ 368 h 451"/>
                <a:gd name="T50" fmla="*/ 16 w 415"/>
                <a:gd name="T51" fmla="*/ 314 h 451"/>
                <a:gd name="T52" fmla="*/ 0 w 415"/>
                <a:gd name="T53" fmla="*/ 249 h 451"/>
                <a:gd name="T54" fmla="*/ 5 w 415"/>
                <a:gd name="T55" fmla="*/ 180 h 451"/>
                <a:gd name="T56" fmla="*/ 25 w 415"/>
                <a:gd name="T57" fmla="*/ 118 h 451"/>
                <a:gd name="T58" fmla="*/ 61 w 415"/>
                <a:gd name="T59" fmla="*/ 66 h 451"/>
                <a:gd name="T60" fmla="*/ 108 w 415"/>
                <a:gd name="T61" fmla="*/ 27 h 451"/>
                <a:gd name="T62" fmla="*/ 166 w 415"/>
                <a:gd name="T63" fmla="*/ 4 h 451"/>
                <a:gd name="T64" fmla="*/ 228 w 415"/>
                <a:gd name="T65" fmla="*/ 1 h 451"/>
                <a:gd name="T66" fmla="*/ 288 w 415"/>
                <a:gd name="T67" fmla="*/ 17 h 451"/>
                <a:gd name="T68" fmla="*/ 339 w 415"/>
                <a:gd name="T69" fmla="*/ 52 h 451"/>
                <a:gd name="T70" fmla="*/ 379 w 415"/>
                <a:gd name="T71" fmla="*/ 99 h 451"/>
                <a:gd name="T72" fmla="*/ 405 w 415"/>
                <a:gd name="T73" fmla="*/ 158 h 451"/>
                <a:gd name="T74" fmla="*/ 415 w 415"/>
                <a:gd name="T75" fmla="*/ 226 h 451"/>
                <a:gd name="T76" fmla="*/ 405 w 415"/>
                <a:gd name="T77" fmla="*/ 292 h 451"/>
                <a:gd name="T78" fmla="*/ 379 w 415"/>
                <a:gd name="T79" fmla="*/ 351 h 451"/>
                <a:gd name="T80" fmla="*/ 339 w 415"/>
                <a:gd name="T81" fmla="*/ 400 h 451"/>
                <a:gd name="T82" fmla="*/ 288 w 415"/>
                <a:gd name="T83" fmla="*/ 433 h 451"/>
                <a:gd name="T84" fmla="*/ 228 w 415"/>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5" h="451">
                  <a:moveTo>
                    <a:pt x="208" y="52"/>
                  </a:moveTo>
                  <a:lnTo>
                    <a:pt x="192" y="53"/>
                  </a:lnTo>
                  <a:lnTo>
                    <a:pt x="176" y="56"/>
                  </a:lnTo>
                  <a:lnTo>
                    <a:pt x="162" y="60"/>
                  </a:lnTo>
                  <a:lnTo>
                    <a:pt x="147" y="66"/>
                  </a:lnTo>
                  <a:lnTo>
                    <a:pt x="133" y="73"/>
                  </a:lnTo>
                  <a:lnTo>
                    <a:pt x="121" y="82"/>
                  </a:lnTo>
                  <a:lnTo>
                    <a:pt x="108" y="92"/>
                  </a:lnTo>
                  <a:lnTo>
                    <a:pt x="98" y="104"/>
                  </a:lnTo>
                  <a:lnTo>
                    <a:pt x="88" y="115"/>
                  </a:lnTo>
                  <a:lnTo>
                    <a:pt x="78" y="128"/>
                  </a:lnTo>
                  <a:lnTo>
                    <a:pt x="71" y="142"/>
                  </a:lnTo>
                  <a:lnTo>
                    <a:pt x="64" y="158"/>
                  </a:lnTo>
                  <a:lnTo>
                    <a:pt x="59" y="174"/>
                  </a:lnTo>
                  <a:lnTo>
                    <a:pt x="55" y="191"/>
                  </a:lnTo>
                  <a:lnTo>
                    <a:pt x="52" y="207"/>
                  </a:lnTo>
                  <a:lnTo>
                    <a:pt x="52" y="226"/>
                  </a:lnTo>
                  <a:lnTo>
                    <a:pt x="52" y="243"/>
                  </a:lnTo>
                  <a:lnTo>
                    <a:pt x="55" y="260"/>
                  </a:lnTo>
                  <a:lnTo>
                    <a:pt x="59" y="278"/>
                  </a:lnTo>
                  <a:lnTo>
                    <a:pt x="64" y="294"/>
                  </a:lnTo>
                  <a:lnTo>
                    <a:pt x="71" y="308"/>
                  </a:lnTo>
                  <a:lnTo>
                    <a:pt x="78" y="322"/>
                  </a:lnTo>
                  <a:lnTo>
                    <a:pt x="88" y="335"/>
                  </a:lnTo>
                  <a:lnTo>
                    <a:pt x="98" y="348"/>
                  </a:lnTo>
                  <a:lnTo>
                    <a:pt x="108" y="360"/>
                  </a:lnTo>
                  <a:lnTo>
                    <a:pt x="121" y="370"/>
                  </a:lnTo>
                  <a:lnTo>
                    <a:pt x="133" y="379"/>
                  </a:lnTo>
                  <a:lnTo>
                    <a:pt x="147" y="386"/>
                  </a:lnTo>
                  <a:lnTo>
                    <a:pt x="162" y="392"/>
                  </a:lnTo>
                  <a:lnTo>
                    <a:pt x="176" y="396"/>
                  </a:lnTo>
                  <a:lnTo>
                    <a:pt x="192" y="399"/>
                  </a:lnTo>
                  <a:lnTo>
                    <a:pt x="208" y="399"/>
                  </a:lnTo>
                  <a:lnTo>
                    <a:pt x="224" y="399"/>
                  </a:lnTo>
                  <a:lnTo>
                    <a:pt x="238" y="396"/>
                  </a:lnTo>
                  <a:lnTo>
                    <a:pt x="254" y="392"/>
                  </a:lnTo>
                  <a:lnTo>
                    <a:pt x="268" y="386"/>
                  </a:lnTo>
                  <a:lnTo>
                    <a:pt x="281" y="379"/>
                  </a:lnTo>
                  <a:lnTo>
                    <a:pt x="294" y="370"/>
                  </a:lnTo>
                  <a:lnTo>
                    <a:pt x="306" y="360"/>
                  </a:lnTo>
                  <a:lnTo>
                    <a:pt x="317" y="348"/>
                  </a:lnTo>
                  <a:lnTo>
                    <a:pt x="327" y="335"/>
                  </a:lnTo>
                  <a:lnTo>
                    <a:pt x="336" y="322"/>
                  </a:lnTo>
                  <a:lnTo>
                    <a:pt x="345" y="308"/>
                  </a:lnTo>
                  <a:lnTo>
                    <a:pt x="350" y="294"/>
                  </a:lnTo>
                  <a:lnTo>
                    <a:pt x="356" y="278"/>
                  </a:lnTo>
                  <a:lnTo>
                    <a:pt x="359" y="260"/>
                  </a:lnTo>
                  <a:lnTo>
                    <a:pt x="362" y="243"/>
                  </a:lnTo>
                  <a:lnTo>
                    <a:pt x="363" y="226"/>
                  </a:lnTo>
                  <a:lnTo>
                    <a:pt x="362" y="207"/>
                  </a:lnTo>
                  <a:lnTo>
                    <a:pt x="359" y="191"/>
                  </a:lnTo>
                  <a:lnTo>
                    <a:pt x="356" y="174"/>
                  </a:lnTo>
                  <a:lnTo>
                    <a:pt x="350" y="158"/>
                  </a:lnTo>
                  <a:lnTo>
                    <a:pt x="345" y="142"/>
                  </a:lnTo>
                  <a:lnTo>
                    <a:pt x="336" y="128"/>
                  </a:lnTo>
                  <a:lnTo>
                    <a:pt x="327" y="115"/>
                  </a:lnTo>
                  <a:lnTo>
                    <a:pt x="317" y="104"/>
                  </a:lnTo>
                  <a:lnTo>
                    <a:pt x="306" y="92"/>
                  </a:lnTo>
                  <a:lnTo>
                    <a:pt x="294" y="82"/>
                  </a:lnTo>
                  <a:lnTo>
                    <a:pt x="281" y="73"/>
                  </a:lnTo>
                  <a:lnTo>
                    <a:pt x="268" y="66"/>
                  </a:lnTo>
                  <a:lnTo>
                    <a:pt x="254" y="60"/>
                  </a:lnTo>
                  <a:lnTo>
                    <a:pt x="238" y="56"/>
                  </a:lnTo>
                  <a:lnTo>
                    <a:pt x="224" y="53"/>
                  </a:lnTo>
                  <a:lnTo>
                    <a:pt x="208" y="52"/>
                  </a:lnTo>
                  <a:close/>
                  <a:moveTo>
                    <a:pt x="208" y="451"/>
                  </a:moveTo>
                  <a:lnTo>
                    <a:pt x="186" y="451"/>
                  </a:lnTo>
                  <a:lnTo>
                    <a:pt x="166" y="446"/>
                  </a:lnTo>
                  <a:lnTo>
                    <a:pt x="146" y="440"/>
                  </a:lnTo>
                  <a:lnTo>
                    <a:pt x="127" y="433"/>
                  </a:lnTo>
                  <a:lnTo>
                    <a:pt x="108" y="425"/>
                  </a:lnTo>
                  <a:lnTo>
                    <a:pt x="91" y="413"/>
                  </a:lnTo>
                  <a:lnTo>
                    <a:pt x="75" y="400"/>
                  </a:lnTo>
                  <a:lnTo>
                    <a:pt x="61" y="386"/>
                  </a:lnTo>
                  <a:lnTo>
                    <a:pt x="48" y="368"/>
                  </a:lnTo>
                  <a:lnTo>
                    <a:pt x="35" y="351"/>
                  </a:lnTo>
                  <a:lnTo>
                    <a:pt x="25" y="332"/>
                  </a:lnTo>
                  <a:lnTo>
                    <a:pt x="16" y="314"/>
                  </a:lnTo>
                  <a:lnTo>
                    <a:pt x="9" y="292"/>
                  </a:lnTo>
                  <a:lnTo>
                    <a:pt x="5" y="271"/>
                  </a:lnTo>
                  <a:lnTo>
                    <a:pt x="0" y="249"/>
                  </a:lnTo>
                  <a:lnTo>
                    <a:pt x="0" y="226"/>
                  </a:lnTo>
                  <a:lnTo>
                    <a:pt x="0" y="203"/>
                  </a:lnTo>
                  <a:lnTo>
                    <a:pt x="5" y="180"/>
                  </a:lnTo>
                  <a:lnTo>
                    <a:pt x="9" y="158"/>
                  </a:lnTo>
                  <a:lnTo>
                    <a:pt x="16" y="138"/>
                  </a:lnTo>
                  <a:lnTo>
                    <a:pt x="25" y="118"/>
                  </a:lnTo>
                  <a:lnTo>
                    <a:pt x="35" y="99"/>
                  </a:lnTo>
                  <a:lnTo>
                    <a:pt x="48" y="82"/>
                  </a:lnTo>
                  <a:lnTo>
                    <a:pt x="61" y="66"/>
                  </a:lnTo>
                  <a:lnTo>
                    <a:pt x="75" y="52"/>
                  </a:lnTo>
                  <a:lnTo>
                    <a:pt x="91" y="39"/>
                  </a:lnTo>
                  <a:lnTo>
                    <a:pt x="108" y="27"/>
                  </a:lnTo>
                  <a:lnTo>
                    <a:pt x="127" y="17"/>
                  </a:lnTo>
                  <a:lnTo>
                    <a:pt x="146" y="10"/>
                  </a:lnTo>
                  <a:lnTo>
                    <a:pt x="166" y="4"/>
                  </a:lnTo>
                  <a:lnTo>
                    <a:pt x="186" y="1"/>
                  </a:lnTo>
                  <a:lnTo>
                    <a:pt x="208" y="0"/>
                  </a:lnTo>
                  <a:lnTo>
                    <a:pt x="228" y="1"/>
                  </a:lnTo>
                  <a:lnTo>
                    <a:pt x="249" y="4"/>
                  </a:lnTo>
                  <a:lnTo>
                    <a:pt x="270" y="10"/>
                  </a:lnTo>
                  <a:lnTo>
                    <a:pt x="288" y="17"/>
                  </a:lnTo>
                  <a:lnTo>
                    <a:pt x="306" y="27"/>
                  </a:lnTo>
                  <a:lnTo>
                    <a:pt x="323" y="39"/>
                  </a:lnTo>
                  <a:lnTo>
                    <a:pt x="339" y="52"/>
                  </a:lnTo>
                  <a:lnTo>
                    <a:pt x="355" y="66"/>
                  </a:lnTo>
                  <a:lnTo>
                    <a:pt x="368" y="82"/>
                  </a:lnTo>
                  <a:lnTo>
                    <a:pt x="379" y="99"/>
                  </a:lnTo>
                  <a:lnTo>
                    <a:pt x="389" y="118"/>
                  </a:lnTo>
                  <a:lnTo>
                    <a:pt x="399" y="138"/>
                  </a:lnTo>
                  <a:lnTo>
                    <a:pt x="405" y="158"/>
                  </a:lnTo>
                  <a:lnTo>
                    <a:pt x="411" y="180"/>
                  </a:lnTo>
                  <a:lnTo>
                    <a:pt x="414" y="203"/>
                  </a:lnTo>
                  <a:lnTo>
                    <a:pt x="415" y="226"/>
                  </a:lnTo>
                  <a:lnTo>
                    <a:pt x="414" y="249"/>
                  </a:lnTo>
                  <a:lnTo>
                    <a:pt x="411" y="271"/>
                  </a:lnTo>
                  <a:lnTo>
                    <a:pt x="405" y="292"/>
                  </a:lnTo>
                  <a:lnTo>
                    <a:pt x="399" y="314"/>
                  </a:lnTo>
                  <a:lnTo>
                    <a:pt x="389" y="332"/>
                  </a:lnTo>
                  <a:lnTo>
                    <a:pt x="379" y="351"/>
                  </a:lnTo>
                  <a:lnTo>
                    <a:pt x="368" y="368"/>
                  </a:lnTo>
                  <a:lnTo>
                    <a:pt x="355" y="386"/>
                  </a:lnTo>
                  <a:lnTo>
                    <a:pt x="339" y="400"/>
                  </a:lnTo>
                  <a:lnTo>
                    <a:pt x="323" y="413"/>
                  </a:lnTo>
                  <a:lnTo>
                    <a:pt x="306" y="425"/>
                  </a:lnTo>
                  <a:lnTo>
                    <a:pt x="288" y="433"/>
                  </a:lnTo>
                  <a:lnTo>
                    <a:pt x="270" y="440"/>
                  </a:lnTo>
                  <a:lnTo>
                    <a:pt x="249" y="446"/>
                  </a:lnTo>
                  <a:lnTo>
                    <a:pt x="228" y="451"/>
                  </a:lnTo>
                  <a:lnTo>
                    <a:pt x="208"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4">
              <a:extLst>
                <a:ext uri="{FF2B5EF4-FFF2-40B4-BE49-F238E27FC236}">
                  <a16:creationId xmlns:a16="http://schemas.microsoft.com/office/drawing/2014/main" id="{B2F3836A-D0FE-4DDA-9454-7512341C9920}"/>
                </a:ext>
              </a:extLst>
            </p:cNvPr>
            <p:cNvSpPr>
              <a:spLocks/>
            </p:cNvSpPr>
            <p:nvPr/>
          </p:nvSpPr>
          <p:spPr bwMode="auto">
            <a:xfrm>
              <a:off x="2814638" y="1360488"/>
              <a:ext cx="373063" cy="236538"/>
            </a:xfrm>
            <a:custGeom>
              <a:avLst/>
              <a:gdLst>
                <a:gd name="T0" fmla="*/ 0 w 706"/>
                <a:gd name="T1" fmla="*/ 445 h 445"/>
                <a:gd name="T2" fmla="*/ 0 w 706"/>
                <a:gd name="T3" fmla="*/ 217 h 445"/>
                <a:gd name="T4" fmla="*/ 7 w 706"/>
                <a:gd name="T5" fmla="*/ 183 h 445"/>
                <a:gd name="T6" fmla="*/ 19 w 706"/>
                <a:gd name="T7" fmla="*/ 157 h 445"/>
                <a:gd name="T8" fmla="*/ 34 w 706"/>
                <a:gd name="T9" fmla="*/ 135 h 445"/>
                <a:gd name="T10" fmla="*/ 55 w 706"/>
                <a:gd name="T11" fmla="*/ 119 h 445"/>
                <a:gd name="T12" fmla="*/ 79 w 706"/>
                <a:gd name="T13" fmla="*/ 106 h 445"/>
                <a:gd name="T14" fmla="*/ 119 w 706"/>
                <a:gd name="T15" fmla="*/ 91 h 445"/>
                <a:gd name="T16" fmla="*/ 161 w 706"/>
                <a:gd name="T17" fmla="*/ 79 h 445"/>
                <a:gd name="T18" fmla="*/ 186 w 706"/>
                <a:gd name="T19" fmla="*/ 70 h 445"/>
                <a:gd name="T20" fmla="*/ 209 w 706"/>
                <a:gd name="T21" fmla="*/ 63 h 445"/>
                <a:gd name="T22" fmla="*/ 225 w 706"/>
                <a:gd name="T23" fmla="*/ 55 h 445"/>
                <a:gd name="T24" fmla="*/ 242 w 706"/>
                <a:gd name="T25" fmla="*/ 39 h 445"/>
                <a:gd name="T26" fmla="*/ 253 w 706"/>
                <a:gd name="T27" fmla="*/ 10 h 445"/>
                <a:gd name="T28" fmla="*/ 305 w 706"/>
                <a:gd name="T29" fmla="*/ 0 h 445"/>
                <a:gd name="T30" fmla="*/ 304 w 706"/>
                <a:gd name="T31" fmla="*/ 26 h 445"/>
                <a:gd name="T32" fmla="*/ 289 w 706"/>
                <a:gd name="T33" fmla="*/ 59 h 445"/>
                <a:gd name="T34" fmla="*/ 278 w 706"/>
                <a:gd name="T35" fmla="*/ 76 h 445"/>
                <a:gd name="T36" fmla="*/ 262 w 706"/>
                <a:gd name="T37" fmla="*/ 92 h 445"/>
                <a:gd name="T38" fmla="*/ 242 w 706"/>
                <a:gd name="T39" fmla="*/ 105 h 445"/>
                <a:gd name="T40" fmla="*/ 216 w 706"/>
                <a:gd name="T41" fmla="*/ 117 h 445"/>
                <a:gd name="T42" fmla="*/ 189 w 706"/>
                <a:gd name="T43" fmla="*/ 125 h 445"/>
                <a:gd name="T44" fmla="*/ 164 w 706"/>
                <a:gd name="T45" fmla="*/ 132 h 445"/>
                <a:gd name="T46" fmla="*/ 111 w 706"/>
                <a:gd name="T47" fmla="*/ 150 h 445"/>
                <a:gd name="T48" fmla="*/ 91 w 706"/>
                <a:gd name="T49" fmla="*/ 158 h 445"/>
                <a:gd name="T50" fmla="*/ 76 w 706"/>
                <a:gd name="T51" fmla="*/ 168 h 445"/>
                <a:gd name="T52" fmla="*/ 65 w 706"/>
                <a:gd name="T53" fmla="*/ 180 h 445"/>
                <a:gd name="T54" fmla="*/ 58 w 706"/>
                <a:gd name="T55" fmla="*/ 196 h 445"/>
                <a:gd name="T56" fmla="*/ 53 w 706"/>
                <a:gd name="T57" fmla="*/ 213 h 445"/>
                <a:gd name="T58" fmla="*/ 52 w 706"/>
                <a:gd name="T59" fmla="*/ 236 h 445"/>
                <a:gd name="T60" fmla="*/ 652 w 706"/>
                <a:gd name="T61" fmla="*/ 392 h 445"/>
                <a:gd name="T62" fmla="*/ 652 w 706"/>
                <a:gd name="T63" fmla="*/ 225 h 445"/>
                <a:gd name="T64" fmla="*/ 649 w 706"/>
                <a:gd name="T65" fmla="*/ 204 h 445"/>
                <a:gd name="T66" fmla="*/ 644 w 706"/>
                <a:gd name="T67" fmla="*/ 187 h 445"/>
                <a:gd name="T68" fmla="*/ 635 w 706"/>
                <a:gd name="T69" fmla="*/ 174 h 445"/>
                <a:gd name="T70" fmla="*/ 622 w 706"/>
                <a:gd name="T71" fmla="*/ 163 h 445"/>
                <a:gd name="T72" fmla="*/ 605 w 706"/>
                <a:gd name="T73" fmla="*/ 154 h 445"/>
                <a:gd name="T74" fmla="*/ 570 w 706"/>
                <a:gd name="T75" fmla="*/ 141 h 445"/>
                <a:gd name="T76" fmla="*/ 528 w 706"/>
                <a:gd name="T77" fmla="*/ 128 h 445"/>
                <a:gd name="T78" fmla="*/ 502 w 706"/>
                <a:gd name="T79" fmla="*/ 121 h 445"/>
                <a:gd name="T80" fmla="*/ 475 w 706"/>
                <a:gd name="T81" fmla="*/ 111 h 445"/>
                <a:gd name="T82" fmla="*/ 452 w 706"/>
                <a:gd name="T83" fmla="*/ 99 h 445"/>
                <a:gd name="T84" fmla="*/ 435 w 706"/>
                <a:gd name="T85" fmla="*/ 83 h 445"/>
                <a:gd name="T86" fmla="*/ 420 w 706"/>
                <a:gd name="T87" fmla="*/ 68 h 445"/>
                <a:gd name="T88" fmla="*/ 406 w 706"/>
                <a:gd name="T89" fmla="*/ 43 h 445"/>
                <a:gd name="T90" fmla="*/ 399 w 706"/>
                <a:gd name="T91" fmla="*/ 11 h 445"/>
                <a:gd name="T92" fmla="*/ 451 w 706"/>
                <a:gd name="T93" fmla="*/ 3 h 445"/>
                <a:gd name="T94" fmla="*/ 452 w 706"/>
                <a:gd name="T95" fmla="*/ 11 h 445"/>
                <a:gd name="T96" fmla="*/ 458 w 706"/>
                <a:gd name="T97" fmla="*/ 30 h 445"/>
                <a:gd name="T98" fmla="*/ 474 w 706"/>
                <a:gd name="T99" fmla="*/ 50 h 445"/>
                <a:gd name="T100" fmla="*/ 488 w 706"/>
                <a:gd name="T101" fmla="*/ 59 h 445"/>
                <a:gd name="T102" fmla="*/ 505 w 706"/>
                <a:gd name="T103" fmla="*/ 68 h 445"/>
                <a:gd name="T104" fmla="*/ 531 w 706"/>
                <a:gd name="T105" fmla="*/ 75 h 445"/>
                <a:gd name="T106" fmla="*/ 556 w 706"/>
                <a:gd name="T107" fmla="*/ 82 h 445"/>
                <a:gd name="T108" fmla="*/ 612 w 706"/>
                <a:gd name="T109" fmla="*/ 101 h 445"/>
                <a:gd name="T110" fmla="*/ 638 w 706"/>
                <a:gd name="T111" fmla="*/ 112 h 445"/>
                <a:gd name="T112" fmla="*/ 661 w 706"/>
                <a:gd name="T113" fmla="*/ 127 h 445"/>
                <a:gd name="T114" fmla="*/ 678 w 706"/>
                <a:gd name="T115" fmla="*/ 145 h 445"/>
                <a:gd name="T116" fmla="*/ 693 w 706"/>
                <a:gd name="T117" fmla="*/ 170 h 445"/>
                <a:gd name="T118" fmla="*/ 701 w 706"/>
                <a:gd name="T119" fmla="*/ 200 h 445"/>
                <a:gd name="T120" fmla="*/ 706 w 706"/>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445">
                  <a:moveTo>
                    <a:pt x="706" y="445"/>
                  </a:moveTo>
                  <a:lnTo>
                    <a:pt x="0" y="445"/>
                  </a:lnTo>
                  <a:lnTo>
                    <a:pt x="0" y="236"/>
                  </a:lnTo>
                  <a:lnTo>
                    <a:pt x="0" y="217"/>
                  </a:lnTo>
                  <a:lnTo>
                    <a:pt x="3" y="200"/>
                  </a:lnTo>
                  <a:lnTo>
                    <a:pt x="7" y="183"/>
                  </a:lnTo>
                  <a:lnTo>
                    <a:pt x="11" y="170"/>
                  </a:lnTo>
                  <a:lnTo>
                    <a:pt x="19" y="157"/>
                  </a:lnTo>
                  <a:lnTo>
                    <a:pt x="26" y="145"/>
                  </a:lnTo>
                  <a:lnTo>
                    <a:pt x="34" y="135"/>
                  </a:lnTo>
                  <a:lnTo>
                    <a:pt x="45" y="127"/>
                  </a:lnTo>
                  <a:lnTo>
                    <a:pt x="55" y="119"/>
                  </a:lnTo>
                  <a:lnTo>
                    <a:pt x="66" y="112"/>
                  </a:lnTo>
                  <a:lnTo>
                    <a:pt x="79" y="106"/>
                  </a:lnTo>
                  <a:lnTo>
                    <a:pt x="92" y="101"/>
                  </a:lnTo>
                  <a:lnTo>
                    <a:pt x="119" y="91"/>
                  </a:lnTo>
                  <a:lnTo>
                    <a:pt x="150" y="82"/>
                  </a:lnTo>
                  <a:lnTo>
                    <a:pt x="161" y="79"/>
                  </a:lnTo>
                  <a:lnTo>
                    <a:pt x="173" y="75"/>
                  </a:lnTo>
                  <a:lnTo>
                    <a:pt x="186" y="70"/>
                  </a:lnTo>
                  <a:lnTo>
                    <a:pt x="199" y="68"/>
                  </a:lnTo>
                  <a:lnTo>
                    <a:pt x="209" y="63"/>
                  </a:lnTo>
                  <a:lnTo>
                    <a:pt x="217" y="59"/>
                  </a:lnTo>
                  <a:lnTo>
                    <a:pt x="225" y="55"/>
                  </a:lnTo>
                  <a:lnTo>
                    <a:pt x="232" y="49"/>
                  </a:lnTo>
                  <a:lnTo>
                    <a:pt x="242" y="39"/>
                  </a:lnTo>
                  <a:lnTo>
                    <a:pt x="248" y="27"/>
                  </a:lnTo>
                  <a:lnTo>
                    <a:pt x="253" y="10"/>
                  </a:lnTo>
                  <a:lnTo>
                    <a:pt x="253" y="3"/>
                  </a:lnTo>
                  <a:lnTo>
                    <a:pt x="305" y="0"/>
                  </a:lnTo>
                  <a:lnTo>
                    <a:pt x="305" y="11"/>
                  </a:lnTo>
                  <a:lnTo>
                    <a:pt x="304" y="26"/>
                  </a:lnTo>
                  <a:lnTo>
                    <a:pt x="298" y="43"/>
                  </a:lnTo>
                  <a:lnTo>
                    <a:pt x="289" y="59"/>
                  </a:lnTo>
                  <a:lnTo>
                    <a:pt x="285" y="68"/>
                  </a:lnTo>
                  <a:lnTo>
                    <a:pt x="278" y="76"/>
                  </a:lnTo>
                  <a:lnTo>
                    <a:pt x="271" y="83"/>
                  </a:lnTo>
                  <a:lnTo>
                    <a:pt x="262" y="92"/>
                  </a:lnTo>
                  <a:lnTo>
                    <a:pt x="252" y="99"/>
                  </a:lnTo>
                  <a:lnTo>
                    <a:pt x="242" y="105"/>
                  </a:lnTo>
                  <a:lnTo>
                    <a:pt x="229" y="111"/>
                  </a:lnTo>
                  <a:lnTo>
                    <a:pt x="216" y="117"/>
                  </a:lnTo>
                  <a:lnTo>
                    <a:pt x="202" y="121"/>
                  </a:lnTo>
                  <a:lnTo>
                    <a:pt x="189" y="125"/>
                  </a:lnTo>
                  <a:lnTo>
                    <a:pt x="177" y="128"/>
                  </a:lnTo>
                  <a:lnTo>
                    <a:pt x="164" y="132"/>
                  </a:lnTo>
                  <a:lnTo>
                    <a:pt x="135" y="141"/>
                  </a:lnTo>
                  <a:lnTo>
                    <a:pt x="111" y="150"/>
                  </a:lnTo>
                  <a:lnTo>
                    <a:pt x="101" y="154"/>
                  </a:lnTo>
                  <a:lnTo>
                    <a:pt x="91" y="158"/>
                  </a:lnTo>
                  <a:lnTo>
                    <a:pt x="83" y="163"/>
                  </a:lnTo>
                  <a:lnTo>
                    <a:pt x="76" y="168"/>
                  </a:lnTo>
                  <a:lnTo>
                    <a:pt x="70" y="174"/>
                  </a:lnTo>
                  <a:lnTo>
                    <a:pt x="65" y="180"/>
                  </a:lnTo>
                  <a:lnTo>
                    <a:pt x="60" y="187"/>
                  </a:lnTo>
                  <a:lnTo>
                    <a:pt x="58" y="196"/>
                  </a:lnTo>
                  <a:lnTo>
                    <a:pt x="55" y="204"/>
                  </a:lnTo>
                  <a:lnTo>
                    <a:pt x="53" y="213"/>
                  </a:lnTo>
                  <a:lnTo>
                    <a:pt x="52" y="225"/>
                  </a:lnTo>
                  <a:lnTo>
                    <a:pt x="52" y="236"/>
                  </a:lnTo>
                  <a:lnTo>
                    <a:pt x="52" y="392"/>
                  </a:lnTo>
                  <a:lnTo>
                    <a:pt x="652" y="392"/>
                  </a:lnTo>
                  <a:lnTo>
                    <a:pt x="652" y="236"/>
                  </a:lnTo>
                  <a:lnTo>
                    <a:pt x="652" y="225"/>
                  </a:lnTo>
                  <a:lnTo>
                    <a:pt x="651" y="213"/>
                  </a:lnTo>
                  <a:lnTo>
                    <a:pt x="649" y="204"/>
                  </a:lnTo>
                  <a:lnTo>
                    <a:pt x="648" y="196"/>
                  </a:lnTo>
                  <a:lnTo>
                    <a:pt x="644" y="187"/>
                  </a:lnTo>
                  <a:lnTo>
                    <a:pt x="639" y="180"/>
                  </a:lnTo>
                  <a:lnTo>
                    <a:pt x="635" y="174"/>
                  </a:lnTo>
                  <a:lnTo>
                    <a:pt x="629" y="168"/>
                  </a:lnTo>
                  <a:lnTo>
                    <a:pt x="622" y="163"/>
                  </a:lnTo>
                  <a:lnTo>
                    <a:pt x="613" y="158"/>
                  </a:lnTo>
                  <a:lnTo>
                    <a:pt x="605" y="154"/>
                  </a:lnTo>
                  <a:lnTo>
                    <a:pt x="595" y="150"/>
                  </a:lnTo>
                  <a:lnTo>
                    <a:pt x="570" y="141"/>
                  </a:lnTo>
                  <a:lnTo>
                    <a:pt x="540" y="132"/>
                  </a:lnTo>
                  <a:lnTo>
                    <a:pt x="528" y="128"/>
                  </a:lnTo>
                  <a:lnTo>
                    <a:pt x="515" y="125"/>
                  </a:lnTo>
                  <a:lnTo>
                    <a:pt x="502" y="121"/>
                  </a:lnTo>
                  <a:lnTo>
                    <a:pt x="490" y="117"/>
                  </a:lnTo>
                  <a:lnTo>
                    <a:pt x="475" y="111"/>
                  </a:lnTo>
                  <a:lnTo>
                    <a:pt x="464" y="105"/>
                  </a:lnTo>
                  <a:lnTo>
                    <a:pt x="452" y="99"/>
                  </a:lnTo>
                  <a:lnTo>
                    <a:pt x="443" y="92"/>
                  </a:lnTo>
                  <a:lnTo>
                    <a:pt x="435" y="83"/>
                  </a:lnTo>
                  <a:lnTo>
                    <a:pt x="426" y="76"/>
                  </a:lnTo>
                  <a:lnTo>
                    <a:pt x="420" y="68"/>
                  </a:lnTo>
                  <a:lnTo>
                    <a:pt x="415" y="59"/>
                  </a:lnTo>
                  <a:lnTo>
                    <a:pt x="406" y="43"/>
                  </a:lnTo>
                  <a:lnTo>
                    <a:pt x="402" y="26"/>
                  </a:lnTo>
                  <a:lnTo>
                    <a:pt x="399" y="11"/>
                  </a:lnTo>
                  <a:lnTo>
                    <a:pt x="399" y="0"/>
                  </a:lnTo>
                  <a:lnTo>
                    <a:pt x="451" y="3"/>
                  </a:lnTo>
                  <a:lnTo>
                    <a:pt x="451" y="6"/>
                  </a:lnTo>
                  <a:lnTo>
                    <a:pt x="452" y="11"/>
                  </a:lnTo>
                  <a:lnTo>
                    <a:pt x="454" y="20"/>
                  </a:lnTo>
                  <a:lnTo>
                    <a:pt x="458" y="30"/>
                  </a:lnTo>
                  <a:lnTo>
                    <a:pt x="464" y="40"/>
                  </a:lnTo>
                  <a:lnTo>
                    <a:pt x="474" y="50"/>
                  </a:lnTo>
                  <a:lnTo>
                    <a:pt x="481" y="55"/>
                  </a:lnTo>
                  <a:lnTo>
                    <a:pt x="488" y="59"/>
                  </a:lnTo>
                  <a:lnTo>
                    <a:pt x="497" y="63"/>
                  </a:lnTo>
                  <a:lnTo>
                    <a:pt x="505" y="68"/>
                  </a:lnTo>
                  <a:lnTo>
                    <a:pt x="518" y="70"/>
                  </a:lnTo>
                  <a:lnTo>
                    <a:pt x="531" y="75"/>
                  </a:lnTo>
                  <a:lnTo>
                    <a:pt x="544" y="79"/>
                  </a:lnTo>
                  <a:lnTo>
                    <a:pt x="556" y="82"/>
                  </a:lnTo>
                  <a:lnTo>
                    <a:pt x="585" y="91"/>
                  </a:lnTo>
                  <a:lnTo>
                    <a:pt x="612" y="101"/>
                  </a:lnTo>
                  <a:lnTo>
                    <a:pt x="626" y="106"/>
                  </a:lnTo>
                  <a:lnTo>
                    <a:pt x="638" y="112"/>
                  </a:lnTo>
                  <a:lnTo>
                    <a:pt x="649" y="119"/>
                  </a:lnTo>
                  <a:lnTo>
                    <a:pt x="661" y="127"/>
                  </a:lnTo>
                  <a:lnTo>
                    <a:pt x="670" y="135"/>
                  </a:lnTo>
                  <a:lnTo>
                    <a:pt x="678" y="145"/>
                  </a:lnTo>
                  <a:lnTo>
                    <a:pt x="687" y="157"/>
                  </a:lnTo>
                  <a:lnTo>
                    <a:pt x="693" y="170"/>
                  </a:lnTo>
                  <a:lnTo>
                    <a:pt x="698" y="183"/>
                  </a:lnTo>
                  <a:lnTo>
                    <a:pt x="701" y="200"/>
                  </a:lnTo>
                  <a:lnTo>
                    <a:pt x="704" y="217"/>
                  </a:lnTo>
                  <a:lnTo>
                    <a:pt x="706" y="236"/>
                  </a:lnTo>
                  <a:lnTo>
                    <a:pt x="706"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5">
              <a:extLst>
                <a:ext uri="{FF2B5EF4-FFF2-40B4-BE49-F238E27FC236}">
                  <a16:creationId xmlns:a16="http://schemas.microsoft.com/office/drawing/2014/main" id="{CE9C1DF6-CE85-4BB5-A472-8DF3AD09E43A}"/>
                </a:ext>
              </a:extLst>
            </p:cNvPr>
            <p:cNvSpPr>
              <a:spLocks/>
            </p:cNvSpPr>
            <p:nvPr/>
          </p:nvSpPr>
          <p:spPr bwMode="auto">
            <a:xfrm>
              <a:off x="2900363" y="1200151"/>
              <a:ext cx="196850" cy="55563"/>
            </a:xfrm>
            <a:custGeom>
              <a:avLst/>
              <a:gdLst>
                <a:gd name="T0" fmla="*/ 89 w 370"/>
                <a:gd name="T1" fmla="*/ 106 h 106"/>
                <a:gd name="T2" fmla="*/ 68 w 370"/>
                <a:gd name="T3" fmla="*/ 106 h 106"/>
                <a:gd name="T4" fmla="*/ 46 w 370"/>
                <a:gd name="T5" fmla="*/ 103 h 106"/>
                <a:gd name="T6" fmla="*/ 25 w 370"/>
                <a:gd name="T7" fmla="*/ 100 h 106"/>
                <a:gd name="T8" fmla="*/ 0 w 370"/>
                <a:gd name="T9" fmla="*/ 96 h 106"/>
                <a:gd name="T10" fmla="*/ 13 w 370"/>
                <a:gd name="T11" fmla="*/ 44 h 106"/>
                <a:gd name="T12" fmla="*/ 38 w 370"/>
                <a:gd name="T13" fmla="*/ 50 h 106"/>
                <a:gd name="T14" fmla="*/ 61 w 370"/>
                <a:gd name="T15" fmla="*/ 53 h 106"/>
                <a:gd name="T16" fmla="*/ 84 w 370"/>
                <a:gd name="T17" fmla="*/ 54 h 106"/>
                <a:gd name="T18" fmla="*/ 105 w 370"/>
                <a:gd name="T19" fmla="*/ 54 h 106"/>
                <a:gd name="T20" fmla="*/ 125 w 370"/>
                <a:gd name="T21" fmla="*/ 52 h 106"/>
                <a:gd name="T22" fmla="*/ 146 w 370"/>
                <a:gd name="T23" fmla="*/ 49 h 106"/>
                <a:gd name="T24" fmla="*/ 163 w 370"/>
                <a:gd name="T25" fmla="*/ 46 h 106"/>
                <a:gd name="T26" fmla="*/ 179 w 370"/>
                <a:gd name="T27" fmla="*/ 41 h 106"/>
                <a:gd name="T28" fmla="*/ 207 w 370"/>
                <a:gd name="T29" fmla="*/ 31 h 106"/>
                <a:gd name="T30" fmla="*/ 228 w 370"/>
                <a:gd name="T31" fmla="*/ 23 h 106"/>
                <a:gd name="T32" fmla="*/ 242 w 370"/>
                <a:gd name="T33" fmla="*/ 16 h 106"/>
                <a:gd name="T34" fmla="*/ 246 w 370"/>
                <a:gd name="T35" fmla="*/ 13 h 106"/>
                <a:gd name="T36" fmla="*/ 264 w 370"/>
                <a:gd name="T37" fmla="*/ 0 h 106"/>
                <a:gd name="T38" fmla="*/ 279 w 370"/>
                <a:gd name="T39" fmla="*/ 16 h 106"/>
                <a:gd name="T40" fmla="*/ 285 w 370"/>
                <a:gd name="T41" fmla="*/ 20 h 106"/>
                <a:gd name="T42" fmla="*/ 302 w 370"/>
                <a:gd name="T43" fmla="*/ 30 h 106"/>
                <a:gd name="T44" fmla="*/ 315 w 370"/>
                <a:gd name="T45" fmla="*/ 36 h 106"/>
                <a:gd name="T46" fmla="*/ 331 w 370"/>
                <a:gd name="T47" fmla="*/ 40 h 106"/>
                <a:gd name="T48" fmla="*/ 349 w 370"/>
                <a:gd name="T49" fmla="*/ 43 h 106"/>
                <a:gd name="T50" fmla="*/ 370 w 370"/>
                <a:gd name="T51" fmla="*/ 44 h 106"/>
                <a:gd name="T52" fmla="*/ 370 w 370"/>
                <a:gd name="T53" fmla="*/ 96 h 106"/>
                <a:gd name="T54" fmla="*/ 350 w 370"/>
                <a:gd name="T55" fmla="*/ 96 h 106"/>
                <a:gd name="T56" fmla="*/ 333 w 370"/>
                <a:gd name="T57" fmla="*/ 93 h 106"/>
                <a:gd name="T58" fmla="*/ 315 w 370"/>
                <a:gd name="T59" fmla="*/ 90 h 106"/>
                <a:gd name="T60" fmla="*/ 301 w 370"/>
                <a:gd name="T61" fmla="*/ 86 h 106"/>
                <a:gd name="T62" fmla="*/ 288 w 370"/>
                <a:gd name="T63" fmla="*/ 80 h 106"/>
                <a:gd name="T64" fmla="*/ 277 w 370"/>
                <a:gd name="T65" fmla="*/ 76 h 106"/>
                <a:gd name="T66" fmla="*/ 266 w 370"/>
                <a:gd name="T67" fmla="*/ 70 h 106"/>
                <a:gd name="T68" fmla="*/ 259 w 370"/>
                <a:gd name="T69" fmla="*/ 66 h 106"/>
                <a:gd name="T70" fmla="*/ 246 w 370"/>
                <a:gd name="T71" fmla="*/ 72 h 106"/>
                <a:gd name="T72" fmla="*/ 232 w 370"/>
                <a:gd name="T73" fmla="*/ 77 h 106"/>
                <a:gd name="T74" fmla="*/ 215 w 370"/>
                <a:gd name="T75" fmla="*/ 85 h 106"/>
                <a:gd name="T76" fmla="*/ 193 w 370"/>
                <a:gd name="T77" fmla="*/ 92 h 106"/>
                <a:gd name="T78" fmla="*/ 171 w 370"/>
                <a:gd name="T79" fmla="*/ 98 h 106"/>
                <a:gd name="T80" fmla="*/ 146 w 370"/>
                <a:gd name="T81" fmla="*/ 102 h 106"/>
                <a:gd name="T82" fmla="*/ 118 w 370"/>
                <a:gd name="T83" fmla="*/ 105 h 106"/>
                <a:gd name="T84" fmla="*/ 89 w 370"/>
                <a:gd name="T8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6">
                  <a:moveTo>
                    <a:pt x="89" y="106"/>
                  </a:moveTo>
                  <a:lnTo>
                    <a:pt x="68" y="106"/>
                  </a:lnTo>
                  <a:lnTo>
                    <a:pt x="46" y="103"/>
                  </a:lnTo>
                  <a:lnTo>
                    <a:pt x="25" y="100"/>
                  </a:lnTo>
                  <a:lnTo>
                    <a:pt x="0" y="96"/>
                  </a:lnTo>
                  <a:lnTo>
                    <a:pt x="13" y="44"/>
                  </a:lnTo>
                  <a:lnTo>
                    <a:pt x="38" y="50"/>
                  </a:lnTo>
                  <a:lnTo>
                    <a:pt x="61" y="53"/>
                  </a:lnTo>
                  <a:lnTo>
                    <a:pt x="84" y="54"/>
                  </a:lnTo>
                  <a:lnTo>
                    <a:pt x="105" y="54"/>
                  </a:lnTo>
                  <a:lnTo>
                    <a:pt x="125" y="52"/>
                  </a:lnTo>
                  <a:lnTo>
                    <a:pt x="146" y="49"/>
                  </a:lnTo>
                  <a:lnTo>
                    <a:pt x="163" y="46"/>
                  </a:lnTo>
                  <a:lnTo>
                    <a:pt x="179" y="41"/>
                  </a:lnTo>
                  <a:lnTo>
                    <a:pt x="207" y="31"/>
                  </a:lnTo>
                  <a:lnTo>
                    <a:pt x="228" y="23"/>
                  </a:lnTo>
                  <a:lnTo>
                    <a:pt x="242" y="16"/>
                  </a:lnTo>
                  <a:lnTo>
                    <a:pt x="246" y="13"/>
                  </a:lnTo>
                  <a:lnTo>
                    <a:pt x="264" y="0"/>
                  </a:lnTo>
                  <a:lnTo>
                    <a:pt x="279" y="16"/>
                  </a:lnTo>
                  <a:lnTo>
                    <a:pt x="285" y="20"/>
                  </a:lnTo>
                  <a:lnTo>
                    <a:pt x="302" y="30"/>
                  </a:lnTo>
                  <a:lnTo>
                    <a:pt x="315" y="36"/>
                  </a:lnTo>
                  <a:lnTo>
                    <a:pt x="331" y="40"/>
                  </a:lnTo>
                  <a:lnTo>
                    <a:pt x="349" y="43"/>
                  </a:lnTo>
                  <a:lnTo>
                    <a:pt x="370" y="44"/>
                  </a:lnTo>
                  <a:lnTo>
                    <a:pt x="370" y="96"/>
                  </a:lnTo>
                  <a:lnTo>
                    <a:pt x="350" y="96"/>
                  </a:lnTo>
                  <a:lnTo>
                    <a:pt x="333" y="93"/>
                  </a:lnTo>
                  <a:lnTo>
                    <a:pt x="315" y="90"/>
                  </a:lnTo>
                  <a:lnTo>
                    <a:pt x="301" y="86"/>
                  </a:lnTo>
                  <a:lnTo>
                    <a:pt x="288" y="80"/>
                  </a:lnTo>
                  <a:lnTo>
                    <a:pt x="277" y="76"/>
                  </a:lnTo>
                  <a:lnTo>
                    <a:pt x="266" y="70"/>
                  </a:lnTo>
                  <a:lnTo>
                    <a:pt x="259" y="66"/>
                  </a:lnTo>
                  <a:lnTo>
                    <a:pt x="246" y="72"/>
                  </a:lnTo>
                  <a:lnTo>
                    <a:pt x="232" y="77"/>
                  </a:lnTo>
                  <a:lnTo>
                    <a:pt x="215" y="85"/>
                  </a:lnTo>
                  <a:lnTo>
                    <a:pt x="193" y="92"/>
                  </a:lnTo>
                  <a:lnTo>
                    <a:pt x="171" y="98"/>
                  </a:lnTo>
                  <a:lnTo>
                    <a:pt x="146" y="102"/>
                  </a:lnTo>
                  <a:lnTo>
                    <a:pt x="118" y="105"/>
                  </a:lnTo>
                  <a:lnTo>
                    <a:pt x="89"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42">
              <a:extLst>
                <a:ext uri="{FF2B5EF4-FFF2-40B4-BE49-F238E27FC236}">
                  <a16:creationId xmlns:a16="http://schemas.microsoft.com/office/drawing/2014/main" id="{516FF7E9-8318-4860-A201-0C1DDDC3CDA0}"/>
                </a:ext>
              </a:extLst>
            </p:cNvPr>
            <p:cNvSpPr>
              <a:spLocks noEditPoints="1"/>
            </p:cNvSpPr>
            <p:nvPr/>
          </p:nvSpPr>
          <p:spPr bwMode="auto">
            <a:xfrm>
              <a:off x="2667000" y="1230313"/>
              <a:ext cx="182563" cy="196850"/>
            </a:xfrm>
            <a:custGeom>
              <a:avLst/>
              <a:gdLst>
                <a:gd name="T0" fmla="*/ 149 w 343"/>
                <a:gd name="T1" fmla="*/ 54 h 371"/>
                <a:gd name="T2" fmla="*/ 116 w 343"/>
                <a:gd name="T3" fmla="*/ 67 h 371"/>
                <a:gd name="T4" fmla="*/ 88 w 343"/>
                <a:gd name="T5" fmla="*/ 90 h 371"/>
                <a:gd name="T6" fmla="*/ 68 w 343"/>
                <a:gd name="T7" fmla="*/ 122 h 371"/>
                <a:gd name="T8" fmla="*/ 55 w 343"/>
                <a:gd name="T9" fmla="*/ 158 h 371"/>
                <a:gd name="T10" fmla="*/ 54 w 343"/>
                <a:gd name="T11" fmla="*/ 198 h 371"/>
                <a:gd name="T12" fmla="*/ 62 w 343"/>
                <a:gd name="T13" fmla="*/ 237 h 371"/>
                <a:gd name="T14" fmla="*/ 81 w 343"/>
                <a:gd name="T15" fmla="*/ 270 h 371"/>
                <a:gd name="T16" fmla="*/ 106 w 343"/>
                <a:gd name="T17" fmla="*/ 296 h 371"/>
                <a:gd name="T18" fmla="*/ 137 w 343"/>
                <a:gd name="T19" fmla="*/ 312 h 371"/>
                <a:gd name="T20" fmla="*/ 172 w 343"/>
                <a:gd name="T21" fmla="*/ 319 h 371"/>
                <a:gd name="T22" fmla="*/ 208 w 343"/>
                <a:gd name="T23" fmla="*/ 312 h 371"/>
                <a:gd name="T24" fmla="*/ 238 w 343"/>
                <a:gd name="T25" fmla="*/ 296 h 371"/>
                <a:gd name="T26" fmla="*/ 264 w 343"/>
                <a:gd name="T27" fmla="*/ 270 h 371"/>
                <a:gd name="T28" fmla="*/ 281 w 343"/>
                <a:gd name="T29" fmla="*/ 237 h 371"/>
                <a:gd name="T30" fmla="*/ 291 w 343"/>
                <a:gd name="T31" fmla="*/ 198 h 371"/>
                <a:gd name="T32" fmla="*/ 288 w 343"/>
                <a:gd name="T33" fmla="*/ 158 h 371"/>
                <a:gd name="T34" fmla="*/ 277 w 343"/>
                <a:gd name="T35" fmla="*/ 122 h 371"/>
                <a:gd name="T36" fmla="*/ 257 w 343"/>
                <a:gd name="T37" fmla="*/ 90 h 371"/>
                <a:gd name="T38" fmla="*/ 229 w 343"/>
                <a:gd name="T39" fmla="*/ 67 h 371"/>
                <a:gd name="T40" fmla="*/ 196 w 343"/>
                <a:gd name="T41" fmla="*/ 54 h 371"/>
                <a:gd name="T42" fmla="*/ 172 w 343"/>
                <a:gd name="T43" fmla="*/ 371 h 371"/>
                <a:gd name="T44" fmla="*/ 121 w 343"/>
                <a:gd name="T45" fmla="*/ 363 h 371"/>
                <a:gd name="T46" fmla="*/ 77 w 343"/>
                <a:gd name="T47" fmla="*/ 340 h 371"/>
                <a:gd name="T48" fmla="*/ 41 w 343"/>
                <a:gd name="T49" fmla="*/ 304 h 371"/>
                <a:gd name="T50" fmla="*/ 15 w 343"/>
                <a:gd name="T51" fmla="*/ 257 h 371"/>
                <a:gd name="T52" fmla="*/ 2 w 343"/>
                <a:gd name="T53" fmla="*/ 204 h 371"/>
                <a:gd name="T54" fmla="*/ 5 w 343"/>
                <a:gd name="T55" fmla="*/ 148 h 371"/>
                <a:gd name="T56" fmla="*/ 22 w 343"/>
                <a:gd name="T57" fmla="*/ 96 h 371"/>
                <a:gd name="T58" fmla="*/ 51 w 343"/>
                <a:gd name="T59" fmla="*/ 54 h 371"/>
                <a:gd name="T60" fmla="*/ 91 w 343"/>
                <a:gd name="T61" fmla="*/ 21 h 371"/>
                <a:gd name="T62" fmla="*/ 137 w 343"/>
                <a:gd name="T63" fmla="*/ 4 h 371"/>
                <a:gd name="T64" fmla="*/ 189 w 343"/>
                <a:gd name="T65" fmla="*/ 1 h 371"/>
                <a:gd name="T66" fmla="*/ 239 w 343"/>
                <a:gd name="T67" fmla="*/ 14 h 371"/>
                <a:gd name="T68" fmla="*/ 281 w 343"/>
                <a:gd name="T69" fmla="*/ 41 h 371"/>
                <a:gd name="T70" fmla="*/ 314 w 343"/>
                <a:gd name="T71" fmla="*/ 82 h 371"/>
                <a:gd name="T72" fmla="*/ 336 w 343"/>
                <a:gd name="T73" fmla="*/ 131 h 371"/>
                <a:gd name="T74" fmla="*/ 343 w 343"/>
                <a:gd name="T75" fmla="*/ 185 h 371"/>
                <a:gd name="T76" fmla="*/ 336 w 343"/>
                <a:gd name="T77" fmla="*/ 240 h 371"/>
                <a:gd name="T78" fmla="*/ 314 w 343"/>
                <a:gd name="T79" fmla="*/ 289 h 371"/>
                <a:gd name="T80" fmla="*/ 281 w 343"/>
                <a:gd name="T81" fmla="*/ 328 h 371"/>
                <a:gd name="T82" fmla="*/ 239 w 343"/>
                <a:gd name="T83" fmla="*/ 357 h 371"/>
                <a:gd name="T84" fmla="*/ 189 w 343"/>
                <a:gd name="T85" fmla="*/ 37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1">
                  <a:moveTo>
                    <a:pt x="172" y="52"/>
                  </a:moveTo>
                  <a:lnTo>
                    <a:pt x="160" y="53"/>
                  </a:lnTo>
                  <a:lnTo>
                    <a:pt x="149" y="54"/>
                  </a:lnTo>
                  <a:lnTo>
                    <a:pt x="137" y="57"/>
                  </a:lnTo>
                  <a:lnTo>
                    <a:pt x="126" y="62"/>
                  </a:lnTo>
                  <a:lnTo>
                    <a:pt x="116" y="67"/>
                  </a:lnTo>
                  <a:lnTo>
                    <a:pt x="106" y="75"/>
                  </a:lnTo>
                  <a:lnTo>
                    <a:pt x="97" y="82"/>
                  </a:lnTo>
                  <a:lnTo>
                    <a:pt x="88" y="90"/>
                  </a:lnTo>
                  <a:lnTo>
                    <a:pt x="81" y="100"/>
                  </a:lnTo>
                  <a:lnTo>
                    <a:pt x="74" y="111"/>
                  </a:lnTo>
                  <a:lnTo>
                    <a:pt x="68" y="122"/>
                  </a:lnTo>
                  <a:lnTo>
                    <a:pt x="62" y="134"/>
                  </a:lnTo>
                  <a:lnTo>
                    <a:pt x="58" y="145"/>
                  </a:lnTo>
                  <a:lnTo>
                    <a:pt x="55" y="158"/>
                  </a:lnTo>
                  <a:lnTo>
                    <a:pt x="54" y="171"/>
                  </a:lnTo>
                  <a:lnTo>
                    <a:pt x="54" y="185"/>
                  </a:lnTo>
                  <a:lnTo>
                    <a:pt x="54" y="198"/>
                  </a:lnTo>
                  <a:lnTo>
                    <a:pt x="55" y="213"/>
                  </a:lnTo>
                  <a:lnTo>
                    <a:pt x="58" y="224"/>
                  </a:lnTo>
                  <a:lnTo>
                    <a:pt x="62" y="237"/>
                  </a:lnTo>
                  <a:lnTo>
                    <a:pt x="68" y="249"/>
                  </a:lnTo>
                  <a:lnTo>
                    <a:pt x="74" y="260"/>
                  </a:lnTo>
                  <a:lnTo>
                    <a:pt x="81" y="270"/>
                  </a:lnTo>
                  <a:lnTo>
                    <a:pt x="88" y="279"/>
                  </a:lnTo>
                  <a:lnTo>
                    <a:pt x="97" y="288"/>
                  </a:lnTo>
                  <a:lnTo>
                    <a:pt x="106" y="296"/>
                  </a:lnTo>
                  <a:lnTo>
                    <a:pt x="116" y="302"/>
                  </a:lnTo>
                  <a:lnTo>
                    <a:pt x="126" y="308"/>
                  </a:lnTo>
                  <a:lnTo>
                    <a:pt x="137" y="312"/>
                  </a:lnTo>
                  <a:lnTo>
                    <a:pt x="149" y="316"/>
                  </a:lnTo>
                  <a:lnTo>
                    <a:pt x="160" y="318"/>
                  </a:lnTo>
                  <a:lnTo>
                    <a:pt x="172" y="319"/>
                  </a:lnTo>
                  <a:lnTo>
                    <a:pt x="185" y="318"/>
                  </a:lnTo>
                  <a:lnTo>
                    <a:pt x="196" y="316"/>
                  </a:lnTo>
                  <a:lnTo>
                    <a:pt x="208" y="312"/>
                  </a:lnTo>
                  <a:lnTo>
                    <a:pt x="218" y="308"/>
                  </a:lnTo>
                  <a:lnTo>
                    <a:pt x="229" y="302"/>
                  </a:lnTo>
                  <a:lnTo>
                    <a:pt x="238" y="296"/>
                  </a:lnTo>
                  <a:lnTo>
                    <a:pt x="248" y="288"/>
                  </a:lnTo>
                  <a:lnTo>
                    <a:pt x="257" y="279"/>
                  </a:lnTo>
                  <a:lnTo>
                    <a:pt x="264" y="270"/>
                  </a:lnTo>
                  <a:lnTo>
                    <a:pt x="271" y="260"/>
                  </a:lnTo>
                  <a:lnTo>
                    <a:pt x="277" y="249"/>
                  </a:lnTo>
                  <a:lnTo>
                    <a:pt x="281" y="237"/>
                  </a:lnTo>
                  <a:lnTo>
                    <a:pt x="286" y="224"/>
                  </a:lnTo>
                  <a:lnTo>
                    <a:pt x="288" y="213"/>
                  </a:lnTo>
                  <a:lnTo>
                    <a:pt x="291" y="198"/>
                  </a:lnTo>
                  <a:lnTo>
                    <a:pt x="291" y="185"/>
                  </a:lnTo>
                  <a:lnTo>
                    <a:pt x="291" y="171"/>
                  </a:lnTo>
                  <a:lnTo>
                    <a:pt x="288" y="158"/>
                  </a:lnTo>
                  <a:lnTo>
                    <a:pt x="286" y="145"/>
                  </a:lnTo>
                  <a:lnTo>
                    <a:pt x="281" y="134"/>
                  </a:lnTo>
                  <a:lnTo>
                    <a:pt x="277" y="122"/>
                  </a:lnTo>
                  <a:lnTo>
                    <a:pt x="271" y="111"/>
                  </a:lnTo>
                  <a:lnTo>
                    <a:pt x="264" y="100"/>
                  </a:lnTo>
                  <a:lnTo>
                    <a:pt x="257" y="90"/>
                  </a:lnTo>
                  <a:lnTo>
                    <a:pt x="248" y="82"/>
                  </a:lnTo>
                  <a:lnTo>
                    <a:pt x="238" y="75"/>
                  </a:lnTo>
                  <a:lnTo>
                    <a:pt x="229" y="67"/>
                  </a:lnTo>
                  <a:lnTo>
                    <a:pt x="218" y="62"/>
                  </a:lnTo>
                  <a:lnTo>
                    <a:pt x="208" y="57"/>
                  </a:lnTo>
                  <a:lnTo>
                    <a:pt x="196" y="54"/>
                  </a:lnTo>
                  <a:lnTo>
                    <a:pt x="185" y="53"/>
                  </a:lnTo>
                  <a:lnTo>
                    <a:pt x="172" y="52"/>
                  </a:lnTo>
                  <a:close/>
                  <a:moveTo>
                    <a:pt x="172" y="371"/>
                  </a:moveTo>
                  <a:lnTo>
                    <a:pt x="155" y="370"/>
                  </a:lnTo>
                  <a:lnTo>
                    <a:pt x="137" y="367"/>
                  </a:lnTo>
                  <a:lnTo>
                    <a:pt x="121" y="363"/>
                  </a:lnTo>
                  <a:lnTo>
                    <a:pt x="106" y="357"/>
                  </a:lnTo>
                  <a:lnTo>
                    <a:pt x="91" y="348"/>
                  </a:lnTo>
                  <a:lnTo>
                    <a:pt x="77" y="340"/>
                  </a:lnTo>
                  <a:lnTo>
                    <a:pt x="64" y="328"/>
                  </a:lnTo>
                  <a:lnTo>
                    <a:pt x="51" y="316"/>
                  </a:lnTo>
                  <a:lnTo>
                    <a:pt x="41" y="304"/>
                  </a:lnTo>
                  <a:lnTo>
                    <a:pt x="31" y="289"/>
                  </a:lnTo>
                  <a:lnTo>
                    <a:pt x="22" y="273"/>
                  </a:lnTo>
                  <a:lnTo>
                    <a:pt x="15" y="257"/>
                  </a:lnTo>
                  <a:lnTo>
                    <a:pt x="9" y="240"/>
                  </a:lnTo>
                  <a:lnTo>
                    <a:pt x="5" y="223"/>
                  </a:lnTo>
                  <a:lnTo>
                    <a:pt x="2" y="204"/>
                  </a:lnTo>
                  <a:lnTo>
                    <a:pt x="0" y="185"/>
                  </a:lnTo>
                  <a:lnTo>
                    <a:pt x="2" y="167"/>
                  </a:lnTo>
                  <a:lnTo>
                    <a:pt x="5" y="148"/>
                  </a:lnTo>
                  <a:lnTo>
                    <a:pt x="9" y="131"/>
                  </a:lnTo>
                  <a:lnTo>
                    <a:pt x="15" y="113"/>
                  </a:lnTo>
                  <a:lnTo>
                    <a:pt x="22" y="96"/>
                  </a:lnTo>
                  <a:lnTo>
                    <a:pt x="31" y="82"/>
                  </a:lnTo>
                  <a:lnTo>
                    <a:pt x="41" y="67"/>
                  </a:lnTo>
                  <a:lnTo>
                    <a:pt x="51" y="54"/>
                  </a:lnTo>
                  <a:lnTo>
                    <a:pt x="64" y="41"/>
                  </a:lnTo>
                  <a:lnTo>
                    <a:pt x="77" y="31"/>
                  </a:lnTo>
                  <a:lnTo>
                    <a:pt x="91" y="21"/>
                  </a:lnTo>
                  <a:lnTo>
                    <a:pt x="106" y="14"/>
                  </a:lnTo>
                  <a:lnTo>
                    <a:pt x="121" y="8"/>
                  </a:lnTo>
                  <a:lnTo>
                    <a:pt x="137" y="4"/>
                  </a:lnTo>
                  <a:lnTo>
                    <a:pt x="155" y="1"/>
                  </a:lnTo>
                  <a:lnTo>
                    <a:pt x="172" y="0"/>
                  </a:lnTo>
                  <a:lnTo>
                    <a:pt x="189" y="1"/>
                  </a:lnTo>
                  <a:lnTo>
                    <a:pt x="206" y="4"/>
                  </a:lnTo>
                  <a:lnTo>
                    <a:pt x="224" y="8"/>
                  </a:lnTo>
                  <a:lnTo>
                    <a:pt x="239" y="14"/>
                  </a:lnTo>
                  <a:lnTo>
                    <a:pt x="254" y="21"/>
                  </a:lnTo>
                  <a:lnTo>
                    <a:pt x="268" y="31"/>
                  </a:lnTo>
                  <a:lnTo>
                    <a:pt x="281" y="41"/>
                  </a:lnTo>
                  <a:lnTo>
                    <a:pt x="293" y="54"/>
                  </a:lnTo>
                  <a:lnTo>
                    <a:pt x="304" y="67"/>
                  </a:lnTo>
                  <a:lnTo>
                    <a:pt x="314" y="82"/>
                  </a:lnTo>
                  <a:lnTo>
                    <a:pt x="323" y="96"/>
                  </a:lnTo>
                  <a:lnTo>
                    <a:pt x="330" y="113"/>
                  </a:lnTo>
                  <a:lnTo>
                    <a:pt x="336" y="131"/>
                  </a:lnTo>
                  <a:lnTo>
                    <a:pt x="340" y="148"/>
                  </a:lnTo>
                  <a:lnTo>
                    <a:pt x="343" y="167"/>
                  </a:lnTo>
                  <a:lnTo>
                    <a:pt x="343" y="185"/>
                  </a:lnTo>
                  <a:lnTo>
                    <a:pt x="343" y="204"/>
                  </a:lnTo>
                  <a:lnTo>
                    <a:pt x="340" y="223"/>
                  </a:lnTo>
                  <a:lnTo>
                    <a:pt x="336" y="240"/>
                  </a:lnTo>
                  <a:lnTo>
                    <a:pt x="330" y="257"/>
                  </a:lnTo>
                  <a:lnTo>
                    <a:pt x="323" y="273"/>
                  </a:lnTo>
                  <a:lnTo>
                    <a:pt x="314" y="289"/>
                  </a:lnTo>
                  <a:lnTo>
                    <a:pt x="304" y="304"/>
                  </a:lnTo>
                  <a:lnTo>
                    <a:pt x="293" y="316"/>
                  </a:lnTo>
                  <a:lnTo>
                    <a:pt x="281" y="328"/>
                  </a:lnTo>
                  <a:lnTo>
                    <a:pt x="268" y="340"/>
                  </a:lnTo>
                  <a:lnTo>
                    <a:pt x="254" y="348"/>
                  </a:lnTo>
                  <a:lnTo>
                    <a:pt x="239" y="357"/>
                  </a:lnTo>
                  <a:lnTo>
                    <a:pt x="224" y="363"/>
                  </a:lnTo>
                  <a:lnTo>
                    <a:pt x="206" y="367"/>
                  </a:lnTo>
                  <a:lnTo>
                    <a:pt x="189" y="370"/>
                  </a:lnTo>
                  <a:lnTo>
                    <a:pt x="172" y="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43">
              <a:extLst>
                <a:ext uri="{FF2B5EF4-FFF2-40B4-BE49-F238E27FC236}">
                  <a16:creationId xmlns:a16="http://schemas.microsoft.com/office/drawing/2014/main" id="{9CCD627A-46C6-4E8F-83D0-399073449BC8}"/>
                </a:ext>
              </a:extLst>
            </p:cNvPr>
            <p:cNvSpPr>
              <a:spLocks/>
            </p:cNvSpPr>
            <p:nvPr/>
          </p:nvSpPr>
          <p:spPr bwMode="auto">
            <a:xfrm>
              <a:off x="2776538" y="1404938"/>
              <a:ext cx="66675" cy="58738"/>
            </a:xfrm>
            <a:custGeom>
              <a:avLst/>
              <a:gdLst>
                <a:gd name="T0" fmla="*/ 114 w 128"/>
                <a:gd name="T1" fmla="*/ 112 h 112"/>
                <a:gd name="T2" fmla="*/ 95 w 128"/>
                <a:gd name="T3" fmla="*/ 107 h 112"/>
                <a:gd name="T4" fmla="*/ 75 w 128"/>
                <a:gd name="T5" fmla="*/ 99 h 112"/>
                <a:gd name="T6" fmla="*/ 63 w 128"/>
                <a:gd name="T7" fmla="*/ 95 h 112"/>
                <a:gd name="T8" fmla="*/ 53 w 128"/>
                <a:gd name="T9" fmla="*/ 91 h 112"/>
                <a:gd name="T10" fmla="*/ 45 w 128"/>
                <a:gd name="T11" fmla="*/ 85 h 112"/>
                <a:gd name="T12" fmla="*/ 36 w 128"/>
                <a:gd name="T13" fmla="*/ 79 h 112"/>
                <a:gd name="T14" fmla="*/ 29 w 128"/>
                <a:gd name="T15" fmla="*/ 72 h 112"/>
                <a:gd name="T16" fmla="*/ 23 w 128"/>
                <a:gd name="T17" fmla="*/ 66 h 112"/>
                <a:gd name="T18" fmla="*/ 17 w 128"/>
                <a:gd name="T19" fmla="*/ 59 h 112"/>
                <a:gd name="T20" fmla="*/ 13 w 128"/>
                <a:gd name="T21" fmla="*/ 52 h 112"/>
                <a:gd name="T22" fmla="*/ 6 w 128"/>
                <a:gd name="T23" fmla="*/ 37 h 112"/>
                <a:gd name="T24" fmla="*/ 1 w 128"/>
                <a:gd name="T25" fmla="*/ 23 h 112"/>
                <a:gd name="T26" fmla="*/ 0 w 128"/>
                <a:gd name="T27" fmla="*/ 12 h 112"/>
                <a:gd name="T28" fmla="*/ 0 w 128"/>
                <a:gd name="T29" fmla="*/ 0 h 112"/>
                <a:gd name="T30" fmla="*/ 52 w 128"/>
                <a:gd name="T31" fmla="*/ 4 h 112"/>
                <a:gd name="T32" fmla="*/ 52 w 128"/>
                <a:gd name="T33" fmla="*/ 12 h 112"/>
                <a:gd name="T34" fmla="*/ 56 w 128"/>
                <a:gd name="T35" fmla="*/ 24 h 112"/>
                <a:gd name="T36" fmla="*/ 62 w 128"/>
                <a:gd name="T37" fmla="*/ 32 h 112"/>
                <a:gd name="T38" fmla="*/ 69 w 128"/>
                <a:gd name="T39" fmla="*/ 39 h 112"/>
                <a:gd name="T40" fmla="*/ 79 w 128"/>
                <a:gd name="T41" fmla="*/ 45 h 112"/>
                <a:gd name="T42" fmla="*/ 92 w 128"/>
                <a:gd name="T43" fmla="*/ 50 h 112"/>
                <a:gd name="T44" fmla="*/ 111 w 128"/>
                <a:gd name="T45" fmla="*/ 56 h 112"/>
                <a:gd name="T46" fmla="*/ 128 w 128"/>
                <a:gd name="T47" fmla="*/ 62 h 112"/>
                <a:gd name="T48" fmla="*/ 114 w 128"/>
                <a:gd name="T4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12">
                  <a:moveTo>
                    <a:pt x="114" y="112"/>
                  </a:moveTo>
                  <a:lnTo>
                    <a:pt x="95" y="107"/>
                  </a:lnTo>
                  <a:lnTo>
                    <a:pt x="75" y="99"/>
                  </a:lnTo>
                  <a:lnTo>
                    <a:pt x="63" y="95"/>
                  </a:lnTo>
                  <a:lnTo>
                    <a:pt x="53" y="91"/>
                  </a:lnTo>
                  <a:lnTo>
                    <a:pt x="45" y="85"/>
                  </a:lnTo>
                  <a:lnTo>
                    <a:pt x="36" y="79"/>
                  </a:lnTo>
                  <a:lnTo>
                    <a:pt x="29" y="72"/>
                  </a:lnTo>
                  <a:lnTo>
                    <a:pt x="23" y="66"/>
                  </a:lnTo>
                  <a:lnTo>
                    <a:pt x="17" y="59"/>
                  </a:lnTo>
                  <a:lnTo>
                    <a:pt x="13" y="52"/>
                  </a:lnTo>
                  <a:lnTo>
                    <a:pt x="6" y="37"/>
                  </a:lnTo>
                  <a:lnTo>
                    <a:pt x="1" y="23"/>
                  </a:lnTo>
                  <a:lnTo>
                    <a:pt x="0" y="12"/>
                  </a:lnTo>
                  <a:lnTo>
                    <a:pt x="0" y="0"/>
                  </a:lnTo>
                  <a:lnTo>
                    <a:pt x="52" y="4"/>
                  </a:lnTo>
                  <a:lnTo>
                    <a:pt x="52" y="12"/>
                  </a:lnTo>
                  <a:lnTo>
                    <a:pt x="56" y="24"/>
                  </a:lnTo>
                  <a:lnTo>
                    <a:pt x="62" y="32"/>
                  </a:lnTo>
                  <a:lnTo>
                    <a:pt x="69" y="39"/>
                  </a:lnTo>
                  <a:lnTo>
                    <a:pt x="79" y="45"/>
                  </a:lnTo>
                  <a:lnTo>
                    <a:pt x="92" y="50"/>
                  </a:lnTo>
                  <a:lnTo>
                    <a:pt x="111" y="56"/>
                  </a:lnTo>
                  <a:lnTo>
                    <a:pt x="128" y="62"/>
                  </a:lnTo>
                  <a:lnTo>
                    <a:pt x="11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44">
              <a:extLst>
                <a:ext uri="{FF2B5EF4-FFF2-40B4-BE49-F238E27FC236}">
                  <a16:creationId xmlns:a16="http://schemas.microsoft.com/office/drawing/2014/main" id="{25731B04-C210-4FE3-882B-5A7F93064089}"/>
                </a:ext>
              </a:extLst>
            </p:cNvPr>
            <p:cNvSpPr>
              <a:spLocks/>
            </p:cNvSpPr>
            <p:nvPr/>
          </p:nvSpPr>
          <p:spPr bwMode="auto">
            <a:xfrm>
              <a:off x="2606675" y="1404938"/>
              <a:ext cx="223838" cy="192088"/>
            </a:xfrm>
            <a:custGeom>
              <a:avLst/>
              <a:gdLst>
                <a:gd name="T0" fmla="*/ 424 w 424"/>
                <a:gd name="T1" fmla="*/ 363 h 363"/>
                <a:gd name="T2" fmla="*/ 0 w 424"/>
                <a:gd name="T3" fmla="*/ 363 h 363"/>
                <a:gd name="T4" fmla="*/ 0 w 424"/>
                <a:gd name="T5" fmla="*/ 192 h 363"/>
                <a:gd name="T6" fmla="*/ 0 w 424"/>
                <a:gd name="T7" fmla="*/ 174 h 363"/>
                <a:gd name="T8" fmla="*/ 3 w 424"/>
                <a:gd name="T9" fmla="*/ 160 h 363"/>
                <a:gd name="T10" fmla="*/ 6 w 424"/>
                <a:gd name="T11" fmla="*/ 147 h 363"/>
                <a:gd name="T12" fmla="*/ 10 w 424"/>
                <a:gd name="T13" fmla="*/ 135 h 363"/>
                <a:gd name="T14" fmla="*/ 16 w 424"/>
                <a:gd name="T15" fmla="*/ 124 h 363"/>
                <a:gd name="T16" fmla="*/ 22 w 424"/>
                <a:gd name="T17" fmla="*/ 115 h 363"/>
                <a:gd name="T18" fmla="*/ 29 w 424"/>
                <a:gd name="T19" fmla="*/ 107 h 363"/>
                <a:gd name="T20" fmla="*/ 38 w 424"/>
                <a:gd name="T21" fmla="*/ 99 h 363"/>
                <a:gd name="T22" fmla="*/ 46 w 424"/>
                <a:gd name="T23" fmla="*/ 92 h 363"/>
                <a:gd name="T24" fmla="*/ 56 w 424"/>
                <a:gd name="T25" fmla="*/ 86 h 363"/>
                <a:gd name="T26" fmla="*/ 66 w 424"/>
                <a:gd name="T27" fmla="*/ 82 h 363"/>
                <a:gd name="T28" fmla="*/ 78 w 424"/>
                <a:gd name="T29" fmla="*/ 78 h 363"/>
                <a:gd name="T30" fmla="*/ 100 w 424"/>
                <a:gd name="T31" fmla="*/ 69 h 363"/>
                <a:gd name="T32" fmla="*/ 124 w 424"/>
                <a:gd name="T33" fmla="*/ 62 h 363"/>
                <a:gd name="T34" fmla="*/ 143 w 424"/>
                <a:gd name="T35" fmla="*/ 56 h 363"/>
                <a:gd name="T36" fmla="*/ 163 w 424"/>
                <a:gd name="T37" fmla="*/ 50 h 363"/>
                <a:gd name="T38" fmla="*/ 176 w 424"/>
                <a:gd name="T39" fmla="*/ 45 h 363"/>
                <a:gd name="T40" fmla="*/ 186 w 424"/>
                <a:gd name="T41" fmla="*/ 39 h 363"/>
                <a:gd name="T42" fmla="*/ 193 w 424"/>
                <a:gd name="T43" fmla="*/ 32 h 363"/>
                <a:gd name="T44" fmla="*/ 198 w 424"/>
                <a:gd name="T45" fmla="*/ 24 h 363"/>
                <a:gd name="T46" fmla="*/ 202 w 424"/>
                <a:gd name="T47" fmla="*/ 12 h 363"/>
                <a:gd name="T48" fmla="*/ 203 w 424"/>
                <a:gd name="T49" fmla="*/ 4 h 363"/>
                <a:gd name="T50" fmla="*/ 255 w 424"/>
                <a:gd name="T51" fmla="*/ 0 h 363"/>
                <a:gd name="T52" fmla="*/ 255 w 424"/>
                <a:gd name="T53" fmla="*/ 12 h 363"/>
                <a:gd name="T54" fmla="*/ 254 w 424"/>
                <a:gd name="T55" fmla="*/ 23 h 363"/>
                <a:gd name="T56" fmla="*/ 249 w 424"/>
                <a:gd name="T57" fmla="*/ 37 h 363"/>
                <a:gd name="T58" fmla="*/ 242 w 424"/>
                <a:gd name="T59" fmla="*/ 52 h 363"/>
                <a:gd name="T60" fmla="*/ 238 w 424"/>
                <a:gd name="T61" fmla="*/ 59 h 363"/>
                <a:gd name="T62" fmla="*/ 232 w 424"/>
                <a:gd name="T63" fmla="*/ 66 h 363"/>
                <a:gd name="T64" fmla="*/ 226 w 424"/>
                <a:gd name="T65" fmla="*/ 72 h 363"/>
                <a:gd name="T66" fmla="*/ 219 w 424"/>
                <a:gd name="T67" fmla="*/ 79 h 363"/>
                <a:gd name="T68" fmla="*/ 210 w 424"/>
                <a:gd name="T69" fmla="*/ 85 h 363"/>
                <a:gd name="T70" fmla="*/ 200 w 424"/>
                <a:gd name="T71" fmla="*/ 91 h 363"/>
                <a:gd name="T72" fmla="*/ 190 w 424"/>
                <a:gd name="T73" fmla="*/ 95 h 363"/>
                <a:gd name="T74" fmla="*/ 179 w 424"/>
                <a:gd name="T75" fmla="*/ 99 h 363"/>
                <a:gd name="T76" fmla="*/ 159 w 424"/>
                <a:gd name="T77" fmla="*/ 107 h 363"/>
                <a:gd name="T78" fmla="*/ 138 w 424"/>
                <a:gd name="T79" fmla="*/ 112 h 363"/>
                <a:gd name="T80" fmla="*/ 115 w 424"/>
                <a:gd name="T81" fmla="*/ 120 h 363"/>
                <a:gd name="T82" fmla="*/ 97 w 424"/>
                <a:gd name="T83" fmla="*/ 125 h 363"/>
                <a:gd name="T84" fmla="*/ 82 w 424"/>
                <a:gd name="T85" fmla="*/ 132 h 363"/>
                <a:gd name="T86" fmla="*/ 71 w 424"/>
                <a:gd name="T87" fmla="*/ 140 h 363"/>
                <a:gd name="T88" fmla="*/ 65 w 424"/>
                <a:gd name="T89" fmla="*/ 144 h 363"/>
                <a:gd name="T90" fmla="*/ 62 w 424"/>
                <a:gd name="T91" fmla="*/ 148 h 363"/>
                <a:gd name="T92" fmla="*/ 59 w 424"/>
                <a:gd name="T93" fmla="*/ 154 h 363"/>
                <a:gd name="T94" fmla="*/ 56 w 424"/>
                <a:gd name="T95" fmla="*/ 160 h 363"/>
                <a:gd name="T96" fmla="*/ 54 w 424"/>
                <a:gd name="T97" fmla="*/ 174 h 363"/>
                <a:gd name="T98" fmla="*/ 52 w 424"/>
                <a:gd name="T99" fmla="*/ 192 h 363"/>
                <a:gd name="T100" fmla="*/ 52 w 424"/>
                <a:gd name="T101" fmla="*/ 310 h 363"/>
                <a:gd name="T102" fmla="*/ 424 w 424"/>
                <a:gd name="T103" fmla="*/ 310 h 363"/>
                <a:gd name="T104" fmla="*/ 424 w 424"/>
                <a:gd name="T10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363">
                  <a:moveTo>
                    <a:pt x="424" y="363"/>
                  </a:moveTo>
                  <a:lnTo>
                    <a:pt x="0" y="363"/>
                  </a:lnTo>
                  <a:lnTo>
                    <a:pt x="0" y="192"/>
                  </a:lnTo>
                  <a:lnTo>
                    <a:pt x="0" y="174"/>
                  </a:lnTo>
                  <a:lnTo>
                    <a:pt x="3" y="160"/>
                  </a:lnTo>
                  <a:lnTo>
                    <a:pt x="6" y="147"/>
                  </a:lnTo>
                  <a:lnTo>
                    <a:pt x="10" y="135"/>
                  </a:lnTo>
                  <a:lnTo>
                    <a:pt x="16" y="124"/>
                  </a:lnTo>
                  <a:lnTo>
                    <a:pt x="22" y="115"/>
                  </a:lnTo>
                  <a:lnTo>
                    <a:pt x="29" y="107"/>
                  </a:lnTo>
                  <a:lnTo>
                    <a:pt x="38" y="99"/>
                  </a:lnTo>
                  <a:lnTo>
                    <a:pt x="46" y="92"/>
                  </a:lnTo>
                  <a:lnTo>
                    <a:pt x="56" y="86"/>
                  </a:lnTo>
                  <a:lnTo>
                    <a:pt x="66" y="82"/>
                  </a:lnTo>
                  <a:lnTo>
                    <a:pt x="78" y="78"/>
                  </a:lnTo>
                  <a:lnTo>
                    <a:pt x="100" y="69"/>
                  </a:lnTo>
                  <a:lnTo>
                    <a:pt x="124" y="62"/>
                  </a:lnTo>
                  <a:lnTo>
                    <a:pt x="143" y="56"/>
                  </a:lnTo>
                  <a:lnTo>
                    <a:pt x="163" y="50"/>
                  </a:lnTo>
                  <a:lnTo>
                    <a:pt x="176" y="45"/>
                  </a:lnTo>
                  <a:lnTo>
                    <a:pt x="186" y="39"/>
                  </a:lnTo>
                  <a:lnTo>
                    <a:pt x="193" y="32"/>
                  </a:lnTo>
                  <a:lnTo>
                    <a:pt x="198" y="24"/>
                  </a:lnTo>
                  <a:lnTo>
                    <a:pt x="202" y="12"/>
                  </a:lnTo>
                  <a:lnTo>
                    <a:pt x="203" y="4"/>
                  </a:lnTo>
                  <a:lnTo>
                    <a:pt x="255" y="0"/>
                  </a:lnTo>
                  <a:lnTo>
                    <a:pt x="255" y="12"/>
                  </a:lnTo>
                  <a:lnTo>
                    <a:pt x="254" y="23"/>
                  </a:lnTo>
                  <a:lnTo>
                    <a:pt x="249" y="37"/>
                  </a:lnTo>
                  <a:lnTo>
                    <a:pt x="242" y="52"/>
                  </a:lnTo>
                  <a:lnTo>
                    <a:pt x="238" y="59"/>
                  </a:lnTo>
                  <a:lnTo>
                    <a:pt x="232" y="66"/>
                  </a:lnTo>
                  <a:lnTo>
                    <a:pt x="226" y="72"/>
                  </a:lnTo>
                  <a:lnTo>
                    <a:pt x="219" y="79"/>
                  </a:lnTo>
                  <a:lnTo>
                    <a:pt x="210" y="85"/>
                  </a:lnTo>
                  <a:lnTo>
                    <a:pt x="200" y="91"/>
                  </a:lnTo>
                  <a:lnTo>
                    <a:pt x="190" y="95"/>
                  </a:lnTo>
                  <a:lnTo>
                    <a:pt x="179" y="99"/>
                  </a:lnTo>
                  <a:lnTo>
                    <a:pt x="159" y="107"/>
                  </a:lnTo>
                  <a:lnTo>
                    <a:pt x="138" y="112"/>
                  </a:lnTo>
                  <a:lnTo>
                    <a:pt x="115" y="120"/>
                  </a:lnTo>
                  <a:lnTo>
                    <a:pt x="97" y="125"/>
                  </a:lnTo>
                  <a:lnTo>
                    <a:pt x="82" y="132"/>
                  </a:lnTo>
                  <a:lnTo>
                    <a:pt x="71" y="140"/>
                  </a:lnTo>
                  <a:lnTo>
                    <a:pt x="65" y="144"/>
                  </a:lnTo>
                  <a:lnTo>
                    <a:pt x="62" y="148"/>
                  </a:lnTo>
                  <a:lnTo>
                    <a:pt x="59" y="154"/>
                  </a:lnTo>
                  <a:lnTo>
                    <a:pt x="56" y="160"/>
                  </a:lnTo>
                  <a:lnTo>
                    <a:pt x="54" y="174"/>
                  </a:lnTo>
                  <a:lnTo>
                    <a:pt x="52" y="192"/>
                  </a:lnTo>
                  <a:lnTo>
                    <a:pt x="52" y="310"/>
                  </a:lnTo>
                  <a:lnTo>
                    <a:pt x="424" y="310"/>
                  </a:lnTo>
                  <a:lnTo>
                    <a:pt x="424"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45">
              <a:extLst>
                <a:ext uri="{FF2B5EF4-FFF2-40B4-BE49-F238E27FC236}">
                  <a16:creationId xmlns:a16="http://schemas.microsoft.com/office/drawing/2014/main" id="{DEF1416A-7DAA-424B-BD47-D3913B5861AA}"/>
                </a:ext>
              </a:extLst>
            </p:cNvPr>
            <p:cNvSpPr>
              <a:spLocks/>
            </p:cNvSpPr>
            <p:nvPr/>
          </p:nvSpPr>
          <p:spPr bwMode="auto">
            <a:xfrm>
              <a:off x="2678113" y="1273176"/>
              <a:ext cx="157163" cy="50800"/>
            </a:xfrm>
            <a:custGeom>
              <a:avLst/>
              <a:gdLst>
                <a:gd name="T0" fmla="*/ 72 w 296"/>
                <a:gd name="T1" fmla="*/ 96 h 96"/>
                <a:gd name="T2" fmla="*/ 54 w 296"/>
                <a:gd name="T3" fmla="*/ 96 h 96"/>
                <a:gd name="T4" fmla="*/ 37 w 296"/>
                <a:gd name="T5" fmla="*/ 95 h 96"/>
                <a:gd name="T6" fmla="*/ 18 w 296"/>
                <a:gd name="T7" fmla="*/ 92 h 96"/>
                <a:gd name="T8" fmla="*/ 0 w 296"/>
                <a:gd name="T9" fmla="*/ 88 h 96"/>
                <a:gd name="T10" fmla="*/ 13 w 296"/>
                <a:gd name="T11" fmla="*/ 37 h 96"/>
                <a:gd name="T12" fmla="*/ 31 w 296"/>
                <a:gd name="T13" fmla="*/ 42 h 96"/>
                <a:gd name="T14" fmla="*/ 50 w 296"/>
                <a:gd name="T15" fmla="*/ 43 h 96"/>
                <a:gd name="T16" fmla="*/ 67 w 296"/>
                <a:gd name="T17" fmla="*/ 45 h 96"/>
                <a:gd name="T18" fmla="*/ 85 w 296"/>
                <a:gd name="T19" fmla="*/ 45 h 96"/>
                <a:gd name="T20" fmla="*/ 100 w 296"/>
                <a:gd name="T21" fmla="*/ 43 h 96"/>
                <a:gd name="T22" fmla="*/ 115 w 296"/>
                <a:gd name="T23" fmla="*/ 40 h 96"/>
                <a:gd name="T24" fmla="*/ 129 w 296"/>
                <a:gd name="T25" fmla="*/ 37 h 96"/>
                <a:gd name="T26" fmla="*/ 142 w 296"/>
                <a:gd name="T27" fmla="*/ 34 h 96"/>
                <a:gd name="T28" fmla="*/ 164 w 296"/>
                <a:gd name="T29" fmla="*/ 27 h 96"/>
                <a:gd name="T30" fmla="*/ 181 w 296"/>
                <a:gd name="T31" fmla="*/ 20 h 96"/>
                <a:gd name="T32" fmla="*/ 191 w 296"/>
                <a:gd name="T33" fmla="*/ 14 h 96"/>
                <a:gd name="T34" fmla="*/ 195 w 296"/>
                <a:gd name="T35" fmla="*/ 11 h 96"/>
                <a:gd name="T36" fmla="*/ 213 w 296"/>
                <a:gd name="T37" fmla="*/ 0 h 96"/>
                <a:gd name="T38" fmla="*/ 227 w 296"/>
                <a:gd name="T39" fmla="*/ 16 h 96"/>
                <a:gd name="T40" fmla="*/ 233 w 296"/>
                <a:gd name="T41" fmla="*/ 19 h 96"/>
                <a:gd name="T42" fmla="*/ 246 w 296"/>
                <a:gd name="T43" fmla="*/ 26 h 96"/>
                <a:gd name="T44" fmla="*/ 254 w 296"/>
                <a:gd name="T45" fmla="*/ 30 h 96"/>
                <a:gd name="T46" fmla="*/ 266 w 296"/>
                <a:gd name="T47" fmla="*/ 33 h 96"/>
                <a:gd name="T48" fmla="*/ 280 w 296"/>
                <a:gd name="T49" fmla="*/ 36 h 96"/>
                <a:gd name="T50" fmla="*/ 296 w 296"/>
                <a:gd name="T51" fmla="*/ 37 h 96"/>
                <a:gd name="T52" fmla="*/ 296 w 296"/>
                <a:gd name="T53" fmla="*/ 89 h 96"/>
                <a:gd name="T54" fmla="*/ 280 w 296"/>
                <a:gd name="T55" fmla="*/ 88 h 96"/>
                <a:gd name="T56" fmla="*/ 267 w 296"/>
                <a:gd name="T57" fmla="*/ 86 h 96"/>
                <a:gd name="T58" fmla="*/ 254 w 296"/>
                <a:gd name="T59" fmla="*/ 83 h 96"/>
                <a:gd name="T60" fmla="*/ 242 w 296"/>
                <a:gd name="T61" fmla="*/ 81 h 96"/>
                <a:gd name="T62" fmla="*/ 223 w 296"/>
                <a:gd name="T63" fmla="*/ 73 h 96"/>
                <a:gd name="T64" fmla="*/ 207 w 296"/>
                <a:gd name="T65" fmla="*/ 65 h 96"/>
                <a:gd name="T66" fmla="*/ 185 w 296"/>
                <a:gd name="T67" fmla="*/ 75 h 96"/>
                <a:gd name="T68" fmla="*/ 154 w 296"/>
                <a:gd name="T69" fmla="*/ 86 h 96"/>
                <a:gd name="T70" fmla="*/ 136 w 296"/>
                <a:gd name="T71" fmla="*/ 91 h 96"/>
                <a:gd name="T72" fmla="*/ 116 w 296"/>
                <a:gd name="T73" fmla="*/ 93 h 96"/>
                <a:gd name="T74" fmla="*/ 95 w 296"/>
                <a:gd name="T75" fmla="*/ 96 h 96"/>
                <a:gd name="T76" fmla="*/ 72 w 296"/>
                <a:gd name="T7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96">
                  <a:moveTo>
                    <a:pt x="72" y="96"/>
                  </a:moveTo>
                  <a:lnTo>
                    <a:pt x="54" y="96"/>
                  </a:lnTo>
                  <a:lnTo>
                    <a:pt x="37" y="95"/>
                  </a:lnTo>
                  <a:lnTo>
                    <a:pt x="18" y="92"/>
                  </a:lnTo>
                  <a:lnTo>
                    <a:pt x="0" y="88"/>
                  </a:lnTo>
                  <a:lnTo>
                    <a:pt x="13" y="37"/>
                  </a:lnTo>
                  <a:lnTo>
                    <a:pt x="31" y="42"/>
                  </a:lnTo>
                  <a:lnTo>
                    <a:pt x="50" y="43"/>
                  </a:lnTo>
                  <a:lnTo>
                    <a:pt x="67" y="45"/>
                  </a:lnTo>
                  <a:lnTo>
                    <a:pt x="85" y="45"/>
                  </a:lnTo>
                  <a:lnTo>
                    <a:pt x="100" y="43"/>
                  </a:lnTo>
                  <a:lnTo>
                    <a:pt x="115" y="40"/>
                  </a:lnTo>
                  <a:lnTo>
                    <a:pt x="129" y="37"/>
                  </a:lnTo>
                  <a:lnTo>
                    <a:pt x="142" y="34"/>
                  </a:lnTo>
                  <a:lnTo>
                    <a:pt x="164" y="27"/>
                  </a:lnTo>
                  <a:lnTo>
                    <a:pt x="181" y="20"/>
                  </a:lnTo>
                  <a:lnTo>
                    <a:pt x="191" y="14"/>
                  </a:lnTo>
                  <a:lnTo>
                    <a:pt x="195" y="11"/>
                  </a:lnTo>
                  <a:lnTo>
                    <a:pt x="213" y="0"/>
                  </a:lnTo>
                  <a:lnTo>
                    <a:pt x="227" y="16"/>
                  </a:lnTo>
                  <a:lnTo>
                    <a:pt x="233" y="19"/>
                  </a:lnTo>
                  <a:lnTo>
                    <a:pt x="246" y="26"/>
                  </a:lnTo>
                  <a:lnTo>
                    <a:pt x="254" y="30"/>
                  </a:lnTo>
                  <a:lnTo>
                    <a:pt x="266" y="33"/>
                  </a:lnTo>
                  <a:lnTo>
                    <a:pt x="280" y="36"/>
                  </a:lnTo>
                  <a:lnTo>
                    <a:pt x="296" y="37"/>
                  </a:lnTo>
                  <a:lnTo>
                    <a:pt x="296" y="89"/>
                  </a:lnTo>
                  <a:lnTo>
                    <a:pt x="280" y="88"/>
                  </a:lnTo>
                  <a:lnTo>
                    <a:pt x="267" y="86"/>
                  </a:lnTo>
                  <a:lnTo>
                    <a:pt x="254" y="83"/>
                  </a:lnTo>
                  <a:lnTo>
                    <a:pt x="242" y="81"/>
                  </a:lnTo>
                  <a:lnTo>
                    <a:pt x="223" y="73"/>
                  </a:lnTo>
                  <a:lnTo>
                    <a:pt x="207" y="65"/>
                  </a:lnTo>
                  <a:lnTo>
                    <a:pt x="185" y="75"/>
                  </a:lnTo>
                  <a:lnTo>
                    <a:pt x="154" y="86"/>
                  </a:lnTo>
                  <a:lnTo>
                    <a:pt x="136" y="91"/>
                  </a:lnTo>
                  <a:lnTo>
                    <a:pt x="116" y="93"/>
                  </a:lnTo>
                  <a:lnTo>
                    <a:pt x="95" y="96"/>
                  </a:lnTo>
                  <a:lnTo>
                    <a:pt x="7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46">
              <a:extLst>
                <a:ext uri="{FF2B5EF4-FFF2-40B4-BE49-F238E27FC236}">
                  <a16:creationId xmlns:a16="http://schemas.microsoft.com/office/drawing/2014/main" id="{F07F22BA-B115-4058-8009-DC74923A9FC9}"/>
                </a:ext>
              </a:extLst>
            </p:cNvPr>
            <p:cNvSpPr>
              <a:spLocks noEditPoints="1"/>
            </p:cNvSpPr>
            <p:nvPr/>
          </p:nvSpPr>
          <p:spPr bwMode="auto">
            <a:xfrm>
              <a:off x="3151188" y="1230313"/>
              <a:ext cx="182563" cy="196850"/>
            </a:xfrm>
            <a:custGeom>
              <a:avLst/>
              <a:gdLst>
                <a:gd name="T0" fmla="*/ 148 w 343"/>
                <a:gd name="T1" fmla="*/ 54 h 371"/>
                <a:gd name="T2" fmla="*/ 115 w 343"/>
                <a:gd name="T3" fmla="*/ 67 h 371"/>
                <a:gd name="T4" fmla="*/ 88 w 343"/>
                <a:gd name="T5" fmla="*/ 90 h 371"/>
                <a:gd name="T6" fmla="*/ 68 w 343"/>
                <a:gd name="T7" fmla="*/ 122 h 371"/>
                <a:gd name="T8" fmla="*/ 55 w 343"/>
                <a:gd name="T9" fmla="*/ 158 h 371"/>
                <a:gd name="T10" fmla="*/ 53 w 343"/>
                <a:gd name="T11" fmla="*/ 198 h 371"/>
                <a:gd name="T12" fmla="*/ 62 w 343"/>
                <a:gd name="T13" fmla="*/ 237 h 371"/>
                <a:gd name="T14" fmla="*/ 79 w 343"/>
                <a:gd name="T15" fmla="*/ 270 h 371"/>
                <a:gd name="T16" fmla="*/ 105 w 343"/>
                <a:gd name="T17" fmla="*/ 296 h 371"/>
                <a:gd name="T18" fmla="*/ 137 w 343"/>
                <a:gd name="T19" fmla="*/ 312 h 371"/>
                <a:gd name="T20" fmla="*/ 171 w 343"/>
                <a:gd name="T21" fmla="*/ 319 h 371"/>
                <a:gd name="T22" fmla="*/ 207 w 343"/>
                <a:gd name="T23" fmla="*/ 312 h 371"/>
                <a:gd name="T24" fmla="*/ 237 w 343"/>
                <a:gd name="T25" fmla="*/ 296 h 371"/>
                <a:gd name="T26" fmla="*/ 263 w 343"/>
                <a:gd name="T27" fmla="*/ 270 h 371"/>
                <a:gd name="T28" fmla="*/ 281 w 343"/>
                <a:gd name="T29" fmla="*/ 237 h 371"/>
                <a:gd name="T30" fmla="*/ 289 w 343"/>
                <a:gd name="T31" fmla="*/ 198 h 371"/>
                <a:gd name="T32" fmla="*/ 288 w 343"/>
                <a:gd name="T33" fmla="*/ 158 h 371"/>
                <a:gd name="T34" fmla="*/ 276 w 343"/>
                <a:gd name="T35" fmla="*/ 122 h 371"/>
                <a:gd name="T36" fmla="*/ 256 w 343"/>
                <a:gd name="T37" fmla="*/ 90 h 371"/>
                <a:gd name="T38" fmla="*/ 229 w 343"/>
                <a:gd name="T39" fmla="*/ 67 h 371"/>
                <a:gd name="T40" fmla="*/ 196 w 343"/>
                <a:gd name="T41" fmla="*/ 54 h 371"/>
                <a:gd name="T42" fmla="*/ 171 w 343"/>
                <a:gd name="T43" fmla="*/ 371 h 371"/>
                <a:gd name="T44" fmla="*/ 121 w 343"/>
                <a:gd name="T45" fmla="*/ 363 h 371"/>
                <a:gd name="T46" fmla="*/ 76 w 343"/>
                <a:gd name="T47" fmla="*/ 340 h 371"/>
                <a:gd name="T48" fmla="*/ 39 w 343"/>
                <a:gd name="T49" fmla="*/ 304 h 371"/>
                <a:gd name="T50" fmla="*/ 14 w 343"/>
                <a:gd name="T51" fmla="*/ 257 h 371"/>
                <a:gd name="T52" fmla="*/ 1 w 343"/>
                <a:gd name="T53" fmla="*/ 204 h 371"/>
                <a:gd name="T54" fmla="*/ 4 w 343"/>
                <a:gd name="T55" fmla="*/ 148 h 371"/>
                <a:gd name="T56" fmla="*/ 21 w 343"/>
                <a:gd name="T57" fmla="*/ 96 h 371"/>
                <a:gd name="T58" fmla="*/ 50 w 343"/>
                <a:gd name="T59" fmla="*/ 54 h 371"/>
                <a:gd name="T60" fmla="*/ 91 w 343"/>
                <a:gd name="T61" fmla="*/ 21 h 371"/>
                <a:gd name="T62" fmla="*/ 137 w 343"/>
                <a:gd name="T63" fmla="*/ 4 h 371"/>
                <a:gd name="T64" fmla="*/ 188 w 343"/>
                <a:gd name="T65" fmla="*/ 1 h 371"/>
                <a:gd name="T66" fmla="*/ 237 w 343"/>
                <a:gd name="T67" fmla="*/ 14 h 371"/>
                <a:gd name="T68" fmla="*/ 281 w 343"/>
                <a:gd name="T69" fmla="*/ 41 h 371"/>
                <a:gd name="T70" fmla="*/ 314 w 343"/>
                <a:gd name="T71" fmla="*/ 82 h 371"/>
                <a:gd name="T72" fmla="*/ 335 w 343"/>
                <a:gd name="T73" fmla="*/ 131 h 371"/>
                <a:gd name="T74" fmla="*/ 343 w 343"/>
                <a:gd name="T75" fmla="*/ 185 h 371"/>
                <a:gd name="T76" fmla="*/ 335 w 343"/>
                <a:gd name="T77" fmla="*/ 240 h 371"/>
                <a:gd name="T78" fmla="*/ 314 w 343"/>
                <a:gd name="T79" fmla="*/ 289 h 371"/>
                <a:gd name="T80" fmla="*/ 281 w 343"/>
                <a:gd name="T81" fmla="*/ 328 h 371"/>
                <a:gd name="T82" fmla="*/ 237 w 343"/>
                <a:gd name="T83" fmla="*/ 357 h 371"/>
                <a:gd name="T84" fmla="*/ 188 w 343"/>
                <a:gd name="T85" fmla="*/ 37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1">
                  <a:moveTo>
                    <a:pt x="171" y="52"/>
                  </a:moveTo>
                  <a:lnTo>
                    <a:pt x="160" y="53"/>
                  </a:lnTo>
                  <a:lnTo>
                    <a:pt x="148" y="54"/>
                  </a:lnTo>
                  <a:lnTo>
                    <a:pt x="137" y="57"/>
                  </a:lnTo>
                  <a:lnTo>
                    <a:pt x="125" y="62"/>
                  </a:lnTo>
                  <a:lnTo>
                    <a:pt x="115" y="67"/>
                  </a:lnTo>
                  <a:lnTo>
                    <a:pt x="105" y="75"/>
                  </a:lnTo>
                  <a:lnTo>
                    <a:pt x="96" y="82"/>
                  </a:lnTo>
                  <a:lnTo>
                    <a:pt x="88" y="90"/>
                  </a:lnTo>
                  <a:lnTo>
                    <a:pt x="79" y="100"/>
                  </a:lnTo>
                  <a:lnTo>
                    <a:pt x="73" y="111"/>
                  </a:lnTo>
                  <a:lnTo>
                    <a:pt x="68" y="122"/>
                  </a:lnTo>
                  <a:lnTo>
                    <a:pt x="62" y="134"/>
                  </a:lnTo>
                  <a:lnTo>
                    <a:pt x="57" y="145"/>
                  </a:lnTo>
                  <a:lnTo>
                    <a:pt x="55" y="158"/>
                  </a:lnTo>
                  <a:lnTo>
                    <a:pt x="53" y="171"/>
                  </a:lnTo>
                  <a:lnTo>
                    <a:pt x="53" y="185"/>
                  </a:lnTo>
                  <a:lnTo>
                    <a:pt x="53" y="198"/>
                  </a:lnTo>
                  <a:lnTo>
                    <a:pt x="55" y="213"/>
                  </a:lnTo>
                  <a:lnTo>
                    <a:pt x="57" y="224"/>
                  </a:lnTo>
                  <a:lnTo>
                    <a:pt x="62" y="237"/>
                  </a:lnTo>
                  <a:lnTo>
                    <a:pt x="68" y="249"/>
                  </a:lnTo>
                  <a:lnTo>
                    <a:pt x="73" y="260"/>
                  </a:lnTo>
                  <a:lnTo>
                    <a:pt x="79" y="270"/>
                  </a:lnTo>
                  <a:lnTo>
                    <a:pt x="88" y="279"/>
                  </a:lnTo>
                  <a:lnTo>
                    <a:pt x="96" y="288"/>
                  </a:lnTo>
                  <a:lnTo>
                    <a:pt x="105" y="296"/>
                  </a:lnTo>
                  <a:lnTo>
                    <a:pt x="115" y="302"/>
                  </a:lnTo>
                  <a:lnTo>
                    <a:pt x="125" y="308"/>
                  </a:lnTo>
                  <a:lnTo>
                    <a:pt x="137" y="312"/>
                  </a:lnTo>
                  <a:lnTo>
                    <a:pt x="148" y="316"/>
                  </a:lnTo>
                  <a:lnTo>
                    <a:pt x="160" y="318"/>
                  </a:lnTo>
                  <a:lnTo>
                    <a:pt x="171" y="319"/>
                  </a:lnTo>
                  <a:lnTo>
                    <a:pt x="184" y="318"/>
                  </a:lnTo>
                  <a:lnTo>
                    <a:pt x="196" y="316"/>
                  </a:lnTo>
                  <a:lnTo>
                    <a:pt x="207" y="312"/>
                  </a:lnTo>
                  <a:lnTo>
                    <a:pt x="217" y="308"/>
                  </a:lnTo>
                  <a:lnTo>
                    <a:pt x="229" y="302"/>
                  </a:lnTo>
                  <a:lnTo>
                    <a:pt x="237" y="296"/>
                  </a:lnTo>
                  <a:lnTo>
                    <a:pt x="248" y="288"/>
                  </a:lnTo>
                  <a:lnTo>
                    <a:pt x="256" y="279"/>
                  </a:lnTo>
                  <a:lnTo>
                    <a:pt x="263" y="270"/>
                  </a:lnTo>
                  <a:lnTo>
                    <a:pt x="271" y="260"/>
                  </a:lnTo>
                  <a:lnTo>
                    <a:pt x="276" y="249"/>
                  </a:lnTo>
                  <a:lnTo>
                    <a:pt x="281" y="237"/>
                  </a:lnTo>
                  <a:lnTo>
                    <a:pt x="285" y="224"/>
                  </a:lnTo>
                  <a:lnTo>
                    <a:pt x="288" y="213"/>
                  </a:lnTo>
                  <a:lnTo>
                    <a:pt x="289" y="198"/>
                  </a:lnTo>
                  <a:lnTo>
                    <a:pt x="291" y="185"/>
                  </a:lnTo>
                  <a:lnTo>
                    <a:pt x="289" y="171"/>
                  </a:lnTo>
                  <a:lnTo>
                    <a:pt x="288" y="158"/>
                  </a:lnTo>
                  <a:lnTo>
                    <a:pt x="285" y="145"/>
                  </a:lnTo>
                  <a:lnTo>
                    <a:pt x="281" y="134"/>
                  </a:lnTo>
                  <a:lnTo>
                    <a:pt x="276" y="122"/>
                  </a:lnTo>
                  <a:lnTo>
                    <a:pt x="271" y="111"/>
                  </a:lnTo>
                  <a:lnTo>
                    <a:pt x="263" y="100"/>
                  </a:lnTo>
                  <a:lnTo>
                    <a:pt x="256" y="90"/>
                  </a:lnTo>
                  <a:lnTo>
                    <a:pt x="248" y="82"/>
                  </a:lnTo>
                  <a:lnTo>
                    <a:pt x="237" y="75"/>
                  </a:lnTo>
                  <a:lnTo>
                    <a:pt x="229" y="67"/>
                  </a:lnTo>
                  <a:lnTo>
                    <a:pt x="217" y="62"/>
                  </a:lnTo>
                  <a:lnTo>
                    <a:pt x="207" y="57"/>
                  </a:lnTo>
                  <a:lnTo>
                    <a:pt x="196" y="54"/>
                  </a:lnTo>
                  <a:lnTo>
                    <a:pt x="184" y="53"/>
                  </a:lnTo>
                  <a:lnTo>
                    <a:pt x="171" y="52"/>
                  </a:lnTo>
                  <a:close/>
                  <a:moveTo>
                    <a:pt x="171" y="371"/>
                  </a:moveTo>
                  <a:lnTo>
                    <a:pt x="154" y="370"/>
                  </a:lnTo>
                  <a:lnTo>
                    <a:pt x="137" y="367"/>
                  </a:lnTo>
                  <a:lnTo>
                    <a:pt x="121" y="363"/>
                  </a:lnTo>
                  <a:lnTo>
                    <a:pt x="105" y="357"/>
                  </a:lnTo>
                  <a:lnTo>
                    <a:pt x="91" y="348"/>
                  </a:lnTo>
                  <a:lnTo>
                    <a:pt x="76" y="340"/>
                  </a:lnTo>
                  <a:lnTo>
                    <a:pt x="63" y="328"/>
                  </a:lnTo>
                  <a:lnTo>
                    <a:pt x="50" y="316"/>
                  </a:lnTo>
                  <a:lnTo>
                    <a:pt x="39" y="304"/>
                  </a:lnTo>
                  <a:lnTo>
                    <a:pt x="30" y="289"/>
                  </a:lnTo>
                  <a:lnTo>
                    <a:pt x="21" y="273"/>
                  </a:lnTo>
                  <a:lnTo>
                    <a:pt x="14" y="257"/>
                  </a:lnTo>
                  <a:lnTo>
                    <a:pt x="8" y="240"/>
                  </a:lnTo>
                  <a:lnTo>
                    <a:pt x="4" y="223"/>
                  </a:lnTo>
                  <a:lnTo>
                    <a:pt x="1" y="204"/>
                  </a:lnTo>
                  <a:lnTo>
                    <a:pt x="0" y="185"/>
                  </a:lnTo>
                  <a:lnTo>
                    <a:pt x="1" y="167"/>
                  </a:lnTo>
                  <a:lnTo>
                    <a:pt x="4" y="148"/>
                  </a:lnTo>
                  <a:lnTo>
                    <a:pt x="8" y="131"/>
                  </a:lnTo>
                  <a:lnTo>
                    <a:pt x="14" y="113"/>
                  </a:lnTo>
                  <a:lnTo>
                    <a:pt x="21" y="96"/>
                  </a:lnTo>
                  <a:lnTo>
                    <a:pt x="30" y="82"/>
                  </a:lnTo>
                  <a:lnTo>
                    <a:pt x="39" y="67"/>
                  </a:lnTo>
                  <a:lnTo>
                    <a:pt x="50" y="54"/>
                  </a:lnTo>
                  <a:lnTo>
                    <a:pt x="63" y="41"/>
                  </a:lnTo>
                  <a:lnTo>
                    <a:pt x="76" y="31"/>
                  </a:lnTo>
                  <a:lnTo>
                    <a:pt x="91" y="21"/>
                  </a:lnTo>
                  <a:lnTo>
                    <a:pt x="105" y="14"/>
                  </a:lnTo>
                  <a:lnTo>
                    <a:pt x="121" y="8"/>
                  </a:lnTo>
                  <a:lnTo>
                    <a:pt x="137" y="4"/>
                  </a:lnTo>
                  <a:lnTo>
                    <a:pt x="154" y="1"/>
                  </a:lnTo>
                  <a:lnTo>
                    <a:pt x="171" y="0"/>
                  </a:lnTo>
                  <a:lnTo>
                    <a:pt x="188" y="1"/>
                  </a:lnTo>
                  <a:lnTo>
                    <a:pt x="206" y="4"/>
                  </a:lnTo>
                  <a:lnTo>
                    <a:pt x="223" y="8"/>
                  </a:lnTo>
                  <a:lnTo>
                    <a:pt x="237" y="14"/>
                  </a:lnTo>
                  <a:lnTo>
                    <a:pt x="253" y="21"/>
                  </a:lnTo>
                  <a:lnTo>
                    <a:pt x="268" y="31"/>
                  </a:lnTo>
                  <a:lnTo>
                    <a:pt x="281" y="41"/>
                  </a:lnTo>
                  <a:lnTo>
                    <a:pt x="292" y="54"/>
                  </a:lnTo>
                  <a:lnTo>
                    <a:pt x="304" y="67"/>
                  </a:lnTo>
                  <a:lnTo>
                    <a:pt x="314" y="82"/>
                  </a:lnTo>
                  <a:lnTo>
                    <a:pt x="322" y="96"/>
                  </a:lnTo>
                  <a:lnTo>
                    <a:pt x="330" y="113"/>
                  </a:lnTo>
                  <a:lnTo>
                    <a:pt x="335" y="131"/>
                  </a:lnTo>
                  <a:lnTo>
                    <a:pt x="340" y="148"/>
                  </a:lnTo>
                  <a:lnTo>
                    <a:pt x="341" y="167"/>
                  </a:lnTo>
                  <a:lnTo>
                    <a:pt x="343" y="185"/>
                  </a:lnTo>
                  <a:lnTo>
                    <a:pt x="341" y="204"/>
                  </a:lnTo>
                  <a:lnTo>
                    <a:pt x="340" y="223"/>
                  </a:lnTo>
                  <a:lnTo>
                    <a:pt x="335" y="240"/>
                  </a:lnTo>
                  <a:lnTo>
                    <a:pt x="330" y="257"/>
                  </a:lnTo>
                  <a:lnTo>
                    <a:pt x="322" y="273"/>
                  </a:lnTo>
                  <a:lnTo>
                    <a:pt x="314" y="289"/>
                  </a:lnTo>
                  <a:lnTo>
                    <a:pt x="304" y="304"/>
                  </a:lnTo>
                  <a:lnTo>
                    <a:pt x="292" y="316"/>
                  </a:lnTo>
                  <a:lnTo>
                    <a:pt x="281" y="328"/>
                  </a:lnTo>
                  <a:lnTo>
                    <a:pt x="268" y="340"/>
                  </a:lnTo>
                  <a:lnTo>
                    <a:pt x="253" y="348"/>
                  </a:lnTo>
                  <a:lnTo>
                    <a:pt x="237" y="357"/>
                  </a:lnTo>
                  <a:lnTo>
                    <a:pt x="223" y="363"/>
                  </a:lnTo>
                  <a:lnTo>
                    <a:pt x="206" y="367"/>
                  </a:lnTo>
                  <a:lnTo>
                    <a:pt x="188" y="370"/>
                  </a:lnTo>
                  <a:lnTo>
                    <a:pt x="171" y="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47">
              <a:extLst>
                <a:ext uri="{FF2B5EF4-FFF2-40B4-BE49-F238E27FC236}">
                  <a16:creationId xmlns:a16="http://schemas.microsoft.com/office/drawing/2014/main" id="{73E809BB-3200-4E0B-A8D6-AB9C3D2CFFF5}"/>
                </a:ext>
              </a:extLst>
            </p:cNvPr>
            <p:cNvSpPr>
              <a:spLocks/>
            </p:cNvSpPr>
            <p:nvPr/>
          </p:nvSpPr>
          <p:spPr bwMode="auto">
            <a:xfrm>
              <a:off x="3176588" y="1404938"/>
              <a:ext cx="217488" cy="192088"/>
            </a:xfrm>
            <a:custGeom>
              <a:avLst/>
              <a:gdLst>
                <a:gd name="T0" fmla="*/ 412 w 412"/>
                <a:gd name="T1" fmla="*/ 363 h 363"/>
                <a:gd name="T2" fmla="*/ 0 w 412"/>
                <a:gd name="T3" fmla="*/ 363 h 363"/>
                <a:gd name="T4" fmla="*/ 0 w 412"/>
                <a:gd name="T5" fmla="*/ 310 h 363"/>
                <a:gd name="T6" fmla="*/ 359 w 412"/>
                <a:gd name="T7" fmla="*/ 310 h 363"/>
                <a:gd name="T8" fmla="*/ 359 w 412"/>
                <a:gd name="T9" fmla="*/ 192 h 363"/>
                <a:gd name="T10" fmla="*/ 359 w 412"/>
                <a:gd name="T11" fmla="*/ 174 h 363"/>
                <a:gd name="T12" fmla="*/ 356 w 412"/>
                <a:gd name="T13" fmla="*/ 160 h 363"/>
                <a:gd name="T14" fmla="*/ 353 w 412"/>
                <a:gd name="T15" fmla="*/ 154 h 363"/>
                <a:gd name="T16" fmla="*/ 350 w 412"/>
                <a:gd name="T17" fmla="*/ 148 h 363"/>
                <a:gd name="T18" fmla="*/ 346 w 412"/>
                <a:gd name="T19" fmla="*/ 144 h 363"/>
                <a:gd name="T20" fmla="*/ 342 w 412"/>
                <a:gd name="T21" fmla="*/ 140 h 363"/>
                <a:gd name="T22" fmla="*/ 330 w 412"/>
                <a:gd name="T23" fmla="*/ 132 h 363"/>
                <a:gd name="T24" fmla="*/ 316 w 412"/>
                <a:gd name="T25" fmla="*/ 125 h 363"/>
                <a:gd name="T26" fmla="*/ 297 w 412"/>
                <a:gd name="T27" fmla="*/ 120 h 363"/>
                <a:gd name="T28" fmla="*/ 274 w 412"/>
                <a:gd name="T29" fmla="*/ 112 h 363"/>
                <a:gd name="T30" fmla="*/ 254 w 412"/>
                <a:gd name="T31" fmla="*/ 107 h 363"/>
                <a:gd name="T32" fmla="*/ 232 w 412"/>
                <a:gd name="T33" fmla="*/ 99 h 363"/>
                <a:gd name="T34" fmla="*/ 221 w 412"/>
                <a:gd name="T35" fmla="*/ 95 h 363"/>
                <a:gd name="T36" fmla="*/ 211 w 412"/>
                <a:gd name="T37" fmla="*/ 91 h 363"/>
                <a:gd name="T38" fmla="*/ 202 w 412"/>
                <a:gd name="T39" fmla="*/ 85 h 363"/>
                <a:gd name="T40" fmla="*/ 193 w 412"/>
                <a:gd name="T41" fmla="*/ 79 h 363"/>
                <a:gd name="T42" fmla="*/ 186 w 412"/>
                <a:gd name="T43" fmla="*/ 72 h 363"/>
                <a:gd name="T44" fmla="*/ 180 w 412"/>
                <a:gd name="T45" fmla="*/ 66 h 363"/>
                <a:gd name="T46" fmla="*/ 175 w 412"/>
                <a:gd name="T47" fmla="*/ 59 h 363"/>
                <a:gd name="T48" fmla="*/ 170 w 412"/>
                <a:gd name="T49" fmla="*/ 52 h 363"/>
                <a:gd name="T50" fmla="*/ 163 w 412"/>
                <a:gd name="T51" fmla="*/ 37 h 363"/>
                <a:gd name="T52" fmla="*/ 159 w 412"/>
                <a:gd name="T53" fmla="*/ 23 h 363"/>
                <a:gd name="T54" fmla="*/ 157 w 412"/>
                <a:gd name="T55" fmla="*/ 12 h 363"/>
                <a:gd name="T56" fmla="*/ 156 w 412"/>
                <a:gd name="T57" fmla="*/ 0 h 363"/>
                <a:gd name="T58" fmla="*/ 209 w 412"/>
                <a:gd name="T59" fmla="*/ 4 h 363"/>
                <a:gd name="T60" fmla="*/ 209 w 412"/>
                <a:gd name="T61" fmla="*/ 12 h 363"/>
                <a:gd name="T62" fmla="*/ 213 w 412"/>
                <a:gd name="T63" fmla="*/ 24 h 363"/>
                <a:gd name="T64" fmla="*/ 219 w 412"/>
                <a:gd name="T65" fmla="*/ 32 h 363"/>
                <a:gd name="T66" fmla="*/ 226 w 412"/>
                <a:gd name="T67" fmla="*/ 39 h 363"/>
                <a:gd name="T68" fmla="*/ 237 w 412"/>
                <a:gd name="T69" fmla="*/ 45 h 363"/>
                <a:gd name="T70" fmla="*/ 249 w 412"/>
                <a:gd name="T71" fmla="*/ 50 h 363"/>
                <a:gd name="T72" fmla="*/ 270 w 412"/>
                <a:gd name="T73" fmla="*/ 56 h 363"/>
                <a:gd name="T74" fmla="*/ 288 w 412"/>
                <a:gd name="T75" fmla="*/ 62 h 363"/>
                <a:gd name="T76" fmla="*/ 311 w 412"/>
                <a:gd name="T77" fmla="*/ 69 h 363"/>
                <a:gd name="T78" fmla="*/ 334 w 412"/>
                <a:gd name="T79" fmla="*/ 78 h 363"/>
                <a:gd name="T80" fmla="*/ 345 w 412"/>
                <a:gd name="T81" fmla="*/ 82 h 363"/>
                <a:gd name="T82" fmla="*/ 356 w 412"/>
                <a:gd name="T83" fmla="*/ 86 h 363"/>
                <a:gd name="T84" fmla="*/ 365 w 412"/>
                <a:gd name="T85" fmla="*/ 92 h 363"/>
                <a:gd name="T86" fmla="*/ 373 w 412"/>
                <a:gd name="T87" fmla="*/ 99 h 363"/>
                <a:gd name="T88" fmla="*/ 382 w 412"/>
                <a:gd name="T89" fmla="*/ 107 h 363"/>
                <a:gd name="T90" fmla="*/ 389 w 412"/>
                <a:gd name="T91" fmla="*/ 115 h 363"/>
                <a:gd name="T92" fmla="*/ 396 w 412"/>
                <a:gd name="T93" fmla="*/ 124 h 363"/>
                <a:gd name="T94" fmla="*/ 402 w 412"/>
                <a:gd name="T95" fmla="*/ 135 h 363"/>
                <a:gd name="T96" fmla="*/ 406 w 412"/>
                <a:gd name="T97" fmla="*/ 147 h 363"/>
                <a:gd name="T98" fmla="*/ 409 w 412"/>
                <a:gd name="T99" fmla="*/ 160 h 363"/>
                <a:gd name="T100" fmla="*/ 411 w 412"/>
                <a:gd name="T101" fmla="*/ 174 h 363"/>
                <a:gd name="T102" fmla="*/ 412 w 412"/>
                <a:gd name="T103" fmla="*/ 192 h 363"/>
                <a:gd name="T104" fmla="*/ 412 w 412"/>
                <a:gd name="T10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3">
                  <a:moveTo>
                    <a:pt x="412" y="363"/>
                  </a:moveTo>
                  <a:lnTo>
                    <a:pt x="0" y="363"/>
                  </a:lnTo>
                  <a:lnTo>
                    <a:pt x="0" y="310"/>
                  </a:lnTo>
                  <a:lnTo>
                    <a:pt x="359" y="310"/>
                  </a:lnTo>
                  <a:lnTo>
                    <a:pt x="359" y="192"/>
                  </a:lnTo>
                  <a:lnTo>
                    <a:pt x="359" y="174"/>
                  </a:lnTo>
                  <a:lnTo>
                    <a:pt x="356" y="160"/>
                  </a:lnTo>
                  <a:lnTo>
                    <a:pt x="353" y="154"/>
                  </a:lnTo>
                  <a:lnTo>
                    <a:pt x="350" y="148"/>
                  </a:lnTo>
                  <a:lnTo>
                    <a:pt x="346" y="144"/>
                  </a:lnTo>
                  <a:lnTo>
                    <a:pt x="342" y="140"/>
                  </a:lnTo>
                  <a:lnTo>
                    <a:pt x="330" y="132"/>
                  </a:lnTo>
                  <a:lnTo>
                    <a:pt x="316" y="125"/>
                  </a:lnTo>
                  <a:lnTo>
                    <a:pt x="297" y="120"/>
                  </a:lnTo>
                  <a:lnTo>
                    <a:pt x="274" y="112"/>
                  </a:lnTo>
                  <a:lnTo>
                    <a:pt x="254" y="107"/>
                  </a:lnTo>
                  <a:lnTo>
                    <a:pt x="232" y="99"/>
                  </a:lnTo>
                  <a:lnTo>
                    <a:pt x="221" y="95"/>
                  </a:lnTo>
                  <a:lnTo>
                    <a:pt x="211" y="91"/>
                  </a:lnTo>
                  <a:lnTo>
                    <a:pt x="202" y="85"/>
                  </a:lnTo>
                  <a:lnTo>
                    <a:pt x="193" y="79"/>
                  </a:lnTo>
                  <a:lnTo>
                    <a:pt x="186" y="72"/>
                  </a:lnTo>
                  <a:lnTo>
                    <a:pt x="180" y="66"/>
                  </a:lnTo>
                  <a:lnTo>
                    <a:pt x="175" y="59"/>
                  </a:lnTo>
                  <a:lnTo>
                    <a:pt x="170" y="52"/>
                  </a:lnTo>
                  <a:lnTo>
                    <a:pt x="163" y="37"/>
                  </a:lnTo>
                  <a:lnTo>
                    <a:pt x="159" y="23"/>
                  </a:lnTo>
                  <a:lnTo>
                    <a:pt x="157" y="12"/>
                  </a:lnTo>
                  <a:lnTo>
                    <a:pt x="156" y="0"/>
                  </a:lnTo>
                  <a:lnTo>
                    <a:pt x="209" y="4"/>
                  </a:lnTo>
                  <a:lnTo>
                    <a:pt x="209" y="12"/>
                  </a:lnTo>
                  <a:lnTo>
                    <a:pt x="213" y="24"/>
                  </a:lnTo>
                  <a:lnTo>
                    <a:pt x="219" y="32"/>
                  </a:lnTo>
                  <a:lnTo>
                    <a:pt x="226" y="39"/>
                  </a:lnTo>
                  <a:lnTo>
                    <a:pt x="237" y="45"/>
                  </a:lnTo>
                  <a:lnTo>
                    <a:pt x="249" y="50"/>
                  </a:lnTo>
                  <a:lnTo>
                    <a:pt x="270" y="56"/>
                  </a:lnTo>
                  <a:lnTo>
                    <a:pt x="288" y="62"/>
                  </a:lnTo>
                  <a:lnTo>
                    <a:pt x="311" y="69"/>
                  </a:lnTo>
                  <a:lnTo>
                    <a:pt x="334" y="78"/>
                  </a:lnTo>
                  <a:lnTo>
                    <a:pt x="345" y="82"/>
                  </a:lnTo>
                  <a:lnTo>
                    <a:pt x="356" y="86"/>
                  </a:lnTo>
                  <a:lnTo>
                    <a:pt x="365" y="92"/>
                  </a:lnTo>
                  <a:lnTo>
                    <a:pt x="373" y="99"/>
                  </a:lnTo>
                  <a:lnTo>
                    <a:pt x="382" y="107"/>
                  </a:lnTo>
                  <a:lnTo>
                    <a:pt x="389" y="115"/>
                  </a:lnTo>
                  <a:lnTo>
                    <a:pt x="396" y="124"/>
                  </a:lnTo>
                  <a:lnTo>
                    <a:pt x="402" y="135"/>
                  </a:lnTo>
                  <a:lnTo>
                    <a:pt x="406" y="147"/>
                  </a:lnTo>
                  <a:lnTo>
                    <a:pt x="409" y="160"/>
                  </a:lnTo>
                  <a:lnTo>
                    <a:pt x="411" y="174"/>
                  </a:lnTo>
                  <a:lnTo>
                    <a:pt x="412" y="192"/>
                  </a:lnTo>
                  <a:lnTo>
                    <a:pt x="412"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48">
              <a:extLst>
                <a:ext uri="{FF2B5EF4-FFF2-40B4-BE49-F238E27FC236}">
                  <a16:creationId xmlns:a16="http://schemas.microsoft.com/office/drawing/2014/main" id="{635F6E05-A554-45BE-B3AB-E631C974EFE5}"/>
                </a:ext>
              </a:extLst>
            </p:cNvPr>
            <p:cNvSpPr>
              <a:spLocks/>
            </p:cNvSpPr>
            <p:nvPr/>
          </p:nvSpPr>
          <p:spPr bwMode="auto">
            <a:xfrm>
              <a:off x="3162300" y="1404938"/>
              <a:ext cx="63500" cy="57150"/>
            </a:xfrm>
            <a:custGeom>
              <a:avLst/>
              <a:gdLst>
                <a:gd name="T0" fmla="*/ 15 w 121"/>
                <a:gd name="T1" fmla="*/ 109 h 109"/>
                <a:gd name="T2" fmla="*/ 0 w 121"/>
                <a:gd name="T3" fmla="*/ 59 h 109"/>
                <a:gd name="T4" fmla="*/ 14 w 121"/>
                <a:gd name="T5" fmla="*/ 55 h 109"/>
                <a:gd name="T6" fmla="*/ 28 w 121"/>
                <a:gd name="T7" fmla="*/ 50 h 109"/>
                <a:gd name="T8" fmla="*/ 41 w 121"/>
                <a:gd name="T9" fmla="*/ 45 h 109"/>
                <a:gd name="T10" fmla="*/ 51 w 121"/>
                <a:gd name="T11" fmla="*/ 39 h 109"/>
                <a:gd name="T12" fmla="*/ 59 w 121"/>
                <a:gd name="T13" fmla="*/ 32 h 109"/>
                <a:gd name="T14" fmla="*/ 63 w 121"/>
                <a:gd name="T15" fmla="*/ 24 h 109"/>
                <a:gd name="T16" fmla="*/ 67 w 121"/>
                <a:gd name="T17" fmla="*/ 12 h 109"/>
                <a:gd name="T18" fmla="*/ 69 w 121"/>
                <a:gd name="T19" fmla="*/ 4 h 109"/>
                <a:gd name="T20" fmla="*/ 121 w 121"/>
                <a:gd name="T21" fmla="*/ 0 h 109"/>
                <a:gd name="T22" fmla="*/ 121 w 121"/>
                <a:gd name="T23" fmla="*/ 12 h 109"/>
                <a:gd name="T24" fmla="*/ 118 w 121"/>
                <a:gd name="T25" fmla="*/ 23 h 109"/>
                <a:gd name="T26" fmla="*/ 115 w 121"/>
                <a:gd name="T27" fmla="*/ 37 h 109"/>
                <a:gd name="T28" fmla="*/ 108 w 121"/>
                <a:gd name="T29" fmla="*/ 52 h 109"/>
                <a:gd name="T30" fmla="*/ 103 w 121"/>
                <a:gd name="T31" fmla="*/ 59 h 109"/>
                <a:gd name="T32" fmla="*/ 97 w 121"/>
                <a:gd name="T33" fmla="*/ 66 h 109"/>
                <a:gd name="T34" fmla="*/ 90 w 121"/>
                <a:gd name="T35" fmla="*/ 72 h 109"/>
                <a:gd name="T36" fmla="*/ 83 w 121"/>
                <a:gd name="T37" fmla="*/ 79 h 109"/>
                <a:gd name="T38" fmla="*/ 76 w 121"/>
                <a:gd name="T39" fmla="*/ 85 h 109"/>
                <a:gd name="T40" fmla="*/ 66 w 121"/>
                <a:gd name="T41" fmla="*/ 91 h 109"/>
                <a:gd name="T42" fmla="*/ 56 w 121"/>
                <a:gd name="T43" fmla="*/ 95 h 109"/>
                <a:gd name="T44" fmla="*/ 44 w 121"/>
                <a:gd name="T45" fmla="*/ 99 h 109"/>
                <a:gd name="T46" fmla="*/ 30 w 121"/>
                <a:gd name="T47" fmla="*/ 105 h 109"/>
                <a:gd name="T48" fmla="*/ 15 w 121"/>
                <a:gd name="T4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9">
                  <a:moveTo>
                    <a:pt x="15" y="109"/>
                  </a:moveTo>
                  <a:lnTo>
                    <a:pt x="0" y="59"/>
                  </a:lnTo>
                  <a:lnTo>
                    <a:pt x="14" y="55"/>
                  </a:lnTo>
                  <a:lnTo>
                    <a:pt x="28" y="50"/>
                  </a:lnTo>
                  <a:lnTo>
                    <a:pt x="41" y="45"/>
                  </a:lnTo>
                  <a:lnTo>
                    <a:pt x="51" y="39"/>
                  </a:lnTo>
                  <a:lnTo>
                    <a:pt x="59" y="32"/>
                  </a:lnTo>
                  <a:lnTo>
                    <a:pt x="63" y="24"/>
                  </a:lnTo>
                  <a:lnTo>
                    <a:pt x="67" y="12"/>
                  </a:lnTo>
                  <a:lnTo>
                    <a:pt x="69" y="4"/>
                  </a:lnTo>
                  <a:lnTo>
                    <a:pt x="121" y="0"/>
                  </a:lnTo>
                  <a:lnTo>
                    <a:pt x="121" y="12"/>
                  </a:lnTo>
                  <a:lnTo>
                    <a:pt x="118" y="23"/>
                  </a:lnTo>
                  <a:lnTo>
                    <a:pt x="115" y="37"/>
                  </a:lnTo>
                  <a:lnTo>
                    <a:pt x="108" y="52"/>
                  </a:lnTo>
                  <a:lnTo>
                    <a:pt x="103" y="59"/>
                  </a:lnTo>
                  <a:lnTo>
                    <a:pt x="97" y="66"/>
                  </a:lnTo>
                  <a:lnTo>
                    <a:pt x="90" y="72"/>
                  </a:lnTo>
                  <a:lnTo>
                    <a:pt x="83" y="79"/>
                  </a:lnTo>
                  <a:lnTo>
                    <a:pt x="76" y="85"/>
                  </a:lnTo>
                  <a:lnTo>
                    <a:pt x="66" y="91"/>
                  </a:lnTo>
                  <a:lnTo>
                    <a:pt x="56" y="95"/>
                  </a:lnTo>
                  <a:lnTo>
                    <a:pt x="44" y="99"/>
                  </a:lnTo>
                  <a:lnTo>
                    <a:pt x="30" y="105"/>
                  </a:lnTo>
                  <a:lnTo>
                    <a:pt x="15"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49">
              <a:extLst>
                <a:ext uri="{FF2B5EF4-FFF2-40B4-BE49-F238E27FC236}">
                  <a16:creationId xmlns:a16="http://schemas.microsoft.com/office/drawing/2014/main" id="{0D4414F7-7E35-4301-A317-DDB9BB01BF68}"/>
                </a:ext>
              </a:extLst>
            </p:cNvPr>
            <p:cNvSpPr>
              <a:spLocks/>
            </p:cNvSpPr>
            <p:nvPr/>
          </p:nvSpPr>
          <p:spPr bwMode="auto">
            <a:xfrm>
              <a:off x="3162300" y="1273176"/>
              <a:ext cx="157163" cy="50800"/>
            </a:xfrm>
            <a:custGeom>
              <a:avLst/>
              <a:gdLst>
                <a:gd name="T0" fmla="*/ 72 w 297"/>
                <a:gd name="T1" fmla="*/ 96 h 96"/>
                <a:gd name="T2" fmla="*/ 55 w 297"/>
                <a:gd name="T3" fmla="*/ 96 h 96"/>
                <a:gd name="T4" fmla="*/ 37 w 297"/>
                <a:gd name="T5" fmla="*/ 95 h 96"/>
                <a:gd name="T6" fmla="*/ 19 w 297"/>
                <a:gd name="T7" fmla="*/ 92 h 96"/>
                <a:gd name="T8" fmla="*/ 0 w 297"/>
                <a:gd name="T9" fmla="*/ 88 h 96"/>
                <a:gd name="T10" fmla="*/ 13 w 297"/>
                <a:gd name="T11" fmla="*/ 37 h 96"/>
                <a:gd name="T12" fmla="*/ 32 w 297"/>
                <a:gd name="T13" fmla="*/ 42 h 96"/>
                <a:gd name="T14" fmla="*/ 50 w 297"/>
                <a:gd name="T15" fmla="*/ 43 h 96"/>
                <a:gd name="T16" fmla="*/ 68 w 297"/>
                <a:gd name="T17" fmla="*/ 45 h 96"/>
                <a:gd name="T18" fmla="*/ 85 w 297"/>
                <a:gd name="T19" fmla="*/ 45 h 96"/>
                <a:gd name="T20" fmla="*/ 101 w 297"/>
                <a:gd name="T21" fmla="*/ 43 h 96"/>
                <a:gd name="T22" fmla="*/ 115 w 297"/>
                <a:gd name="T23" fmla="*/ 40 h 96"/>
                <a:gd name="T24" fmla="*/ 130 w 297"/>
                <a:gd name="T25" fmla="*/ 37 h 96"/>
                <a:gd name="T26" fmla="*/ 143 w 297"/>
                <a:gd name="T27" fmla="*/ 34 h 96"/>
                <a:gd name="T28" fmla="*/ 164 w 297"/>
                <a:gd name="T29" fmla="*/ 27 h 96"/>
                <a:gd name="T30" fmla="*/ 181 w 297"/>
                <a:gd name="T31" fmla="*/ 20 h 96"/>
                <a:gd name="T32" fmla="*/ 192 w 297"/>
                <a:gd name="T33" fmla="*/ 14 h 96"/>
                <a:gd name="T34" fmla="*/ 196 w 297"/>
                <a:gd name="T35" fmla="*/ 11 h 96"/>
                <a:gd name="T36" fmla="*/ 213 w 297"/>
                <a:gd name="T37" fmla="*/ 0 h 96"/>
                <a:gd name="T38" fmla="*/ 228 w 297"/>
                <a:gd name="T39" fmla="*/ 16 h 96"/>
                <a:gd name="T40" fmla="*/ 233 w 297"/>
                <a:gd name="T41" fmla="*/ 19 h 96"/>
                <a:gd name="T42" fmla="*/ 245 w 297"/>
                <a:gd name="T43" fmla="*/ 26 h 96"/>
                <a:gd name="T44" fmla="*/ 255 w 297"/>
                <a:gd name="T45" fmla="*/ 30 h 96"/>
                <a:gd name="T46" fmla="*/ 266 w 297"/>
                <a:gd name="T47" fmla="*/ 33 h 96"/>
                <a:gd name="T48" fmla="*/ 281 w 297"/>
                <a:gd name="T49" fmla="*/ 36 h 96"/>
                <a:gd name="T50" fmla="*/ 297 w 297"/>
                <a:gd name="T51" fmla="*/ 37 h 96"/>
                <a:gd name="T52" fmla="*/ 297 w 297"/>
                <a:gd name="T53" fmla="*/ 89 h 96"/>
                <a:gd name="T54" fmla="*/ 281 w 297"/>
                <a:gd name="T55" fmla="*/ 88 h 96"/>
                <a:gd name="T56" fmla="*/ 266 w 297"/>
                <a:gd name="T57" fmla="*/ 86 h 96"/>
                <a:gd name="T58" fmla="*/ 253 w 297"/>
                <a:gd name="T59" fmla="*/ 83 h 96"/>
                <a:gd name="T60" fmla="*/ 242 w 297"/>
                <a:gd name="T61" fmla="*/ 81 h 96"/>
                <a:gd name="T62" fmla="*/ 223 w 297"/>
                <a:gd name="T63" fmla="*/ 73 h 96"/>
                <a:gd name="T64" fmla="*/ 207 w 297"/>
                <a:gd name="T65" fmla="*/ 65 h 96"/>
                <a:gd name="T66" fmla="*/ 184 w 297"/>
                <a:gd name="T67" fmla="*/ 75 h 96"/>
                <a:gd name="T68" fmla="*/ 154 w 297"/>
                <a:gd name="T69" fmla="*/ 86 h 96"/>
                <a:gd name="T70" fmla="*/ 137 w 297"/>
                <a:gd name="T71" fmla="*/ 91 h 96"/>
                <a:gd name="T72" fmla="*/ 117 w 297"/>
                <a:gd name="T73" fmla="*/ 93 h 96"/>
                <a:gd name="T74" fmla="*/ 95 w 297"/>
                <a:gd name="T75" fmla="*/ 96 h 96"/>
                <a:gd name="T76" fmla="*/ 72 w 297"/>
                <a:gd name="T7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 h="96">
                  <a:moveTo>
                    <a:pt x="72" y="96"/>
                  </a:moveTo>
                  <a:lnTo>
                    <a:pt x="55" y="96"/>
                  </a:lnTo>
                  <a:lnTo>
                    <a:pt x="37" y="95"/>
                  </a:lnTo>
                  <a:lnTo>
                    <a:pt x="19" y="92"/>
                  </a:lnTo>
                  <a:lnTo>
                    <a:pt x="0" y="88"/>
                  </a:lnTo>
                  <a:lnTo>
                    <a:pt x="13" y="37"/>
                  </a:lnTo>
                  <a:lnTo>
                    <a:pt x="32" y="42"/>
                  </a:lnTo>
                  <a:lnTo>
                    <a:pt x="50" y="43"/>
                  </a:lnTo>
                  <a:lnTo>
                    <a:pt x="68" y="45"/>
                  </a:lnTo>
                  <a:lnTo>
                    <a:pt x="85" y="45"/>
                  </a:lnTo>
                  <a:lnTo>
                    <a:pt x="101" y="43"/>
                  </a:lnTo>
                  <a:lnTo>
                    <a:pt x="115" y="40"/>
                  </a:lnTo>
                  <a:lnTo>
                    <a:pt x="130" y="37"/>
                  </a:lnTo>
                  <a:lnTo>
                    <a:pt x="143" y="34"/>
                  </a:lnTo>
                  <a:lnTo>
                    <a:pt x="164" y="27"/>
                  </a:lnTo>
                  <a:lnTo>
                    <a:pt x="181" y="20"/>
                  </a:lnTo>
                  <a:lnTo>
                    <a:pt x="192" y="14"/>
                  </a:lnTo>
                  <a:lnTo>
                    <a:pt x="196" y="11"/>
                  </a:lnTo>
                  <a:lnTo>
                    <a:pt x="213" y="0"/>
                  </a:lnTo>
                  <a:lnTo>
                    <a:pt x="228" y="16"/>
                  </a:lnTo>
                  <a:lnTo>
                    <a:pt x="233" y="19"/>
                  </a:lnTo>
                  <a:lnTo>
                    <a:pt x="245" y="26"/>
                  </a:lnTo>
                  <a:lnTo>
                    <a:pt x="255" y="30"/>
                  </a:lnTo>
                  <a:lnTo>
                    <a:pt x="266" y="33"/>
                  </a:lnTo>
                  <a:lnTo>
                    <a:pt x="281" y="36"/>
                  </a:lnTo>
                  <a:lnTo>
                    <a:pt x="297" y="37"/>
                  </a:lnTo>
                  <a:lnTo>
                    <a:pt x="297" y="89"/>
                  </a:lnTo>
                  <a:lnTo>
                    <a:pt x="281" y="88"/>
                  </a:lnTo>
                  <a:lnTo>
                    <a:pt x="266" y="86"/>
                  </a:lnTo>
                  <a:lnTo>
                    <a:pt x="253" y="83"/>
                  </a:lnTo>
                  <a:lnTo>
                    <a:pt x="242" y="81"/>
                  </a:lnTo>
                  <a:lnTo>
                    <a:pt x="223" y="73"/>
                  </a:lnTo>
                  <a:lnTo>
                    <a:pt x="207" y="65"/>
                  </a:lnTo>
                  <a:lnTo>
                    <a:pt x="184" y="75"/>
                  </a:lnTo>
                  <a:lnTo>
                    <a:pt x="154" y="86"/>
                  </a:lnTo>
                  <a:lnTo>
                    <a:pt x="137" y="91"/>
                  </a:lnTo>
                  <a:lnTo>
                    <a:pt x="117" y="93"/>
                  </a:lnTo>
                  <a:lnTo>
                    <a:pt x="95" y="96"/>
                  </a:lnTo>
                  <a:lnTo>
                    <a:pt x="7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50">
              <a:extLst>
                <a:ext uri="{FF2B5EF4-FFF2-40B4-BE49-F238E27FC236}">
                  <a16:creationId xmlns:a16="http://schemas.microsoft.com/office/drawing/2014/main" id="{CA4D130C-5F18-4CCB-8E60-4FBAFF75619D}"/>
                </a:ext>
              </a:extLst>
            </p:cNvPr>
            <p:cNvSpPr>
              <a:spLocks/>
            </p:cNvSpPr>
            <p:nvPr/>
          </p:nvSpPr>
          <p:spPr bwMode="auto">
            <a:xfrm>
              <a:off x="2768600" y="839788"/>
              <a:ext cx="466725" cy="387350"/>
            </a:xfrm>
            <a:custGeom>
              <a:avLst/>
              <a:gdLst>
                <a:gd name="T0" fmla="*/ 724 w 881"/>
                <a:gd name="T1" fmla="*/ 732 h 732"/>
                <a:gd name="T2" fmla="*/ 672 w 881"/>
                <a:gd name="T3" fmla="*/ 732 h 732"/>
                <a:gd name="T4" fmla="*/ 672 w 881"/>
                <a:gd name="T5" fmla="*/ 412 h 732"/>
                <a:gd name="T6" fmla="*/ 672 w 881"/>
                <a:gd name="T7" fmla="*/ 406 h 732"/>
                <a:gd name="T8" fmla="*/ 674 w 881"/>
                <a:gd name="T9" fmla="*/ 402 h 732"/>
                <a:gd name="T10" fmla="*/ 677 w 881"/>
                <a:gd name="T11" fmla="*/ 397 h 732"/>
                <a:gd name="T12" fmla="*/ 680 w 881"/>
                <a:gd name="T13" fmla="*/ 393 h 732"/>
                <a:gd name="T14" fmla="*/ 684 w 881"/>
                <a:gd name="T15" fmla="*/ 390 h 732"/>
                <a:gd name="T16" fmla="*/ 688 w 881"/>
                <a:gd name="T17" fmla="*/ 387 h 732"/>
                <a:gd name="T18" fmla="*/ 693 w 881"/>
                <a:gd name="T19" fmla="*/ 386 h 732"/>
                <a:gd name="T20" fmla="*/ 698 w 881"/>
                <a:gd name="T21" fmla="*/ 386 h 732"/>
                <a:gd name="T22" fmla="*/ 788 w 881"/>
                <a:gd name="T23" fmla="*/ 386 h 732"/>
                <a:gd name="T24" fmla="*/ 438 w 881"/>
                <a:gd name="T25" fmla="*/ 62 h 732"/>
                <a:gd name="T26" fmla="*/ 92 w 881"/>
                <a:gd name="T27" fmla="*/ 386 h 732"/>
                <a:gd name="T28" fmla="*/ 176 w 881"/>
                <a:gd name="T29" fmla="*/ 386 h 732"/>
                <a:gd name="T30" fmla="*/ 181 w 881"/>
                <a:gd name="T31" fmla="*/ 386 h 732"/>
                <a:gd name="T32" fmla="*/ 186 w 881"/>
                <a:gd name="T33" fmla="*/ 387 h 732"/>
                <a:gd name="T34" fmla="*/ 190 w 881"/>
                <a:gd name="T35" fmla="*/ 390 h 732"/>
                <a:gd name="T36" fmla="*/ 194 w 881"/>
                <a:gd name="T37" fmla="*/ 393 h 732"/>
                <a:gd name="T38" fmla="*/ 197 w 881"/>
                <a:gd name="T39" fmla="*/ 397 h 732"/>
                <a:gd name="T40" fmla="*/ 200 w 881"/>
                <a:gd name="T41" fmla="*/ 402 h 732"/>
                <a:gd name="T42" fmla="*/ 202 w 881"/>
                <a:gd name="T43" fmla="*/ 406 h 732"/>
                <a:gd name="T44" fmla="*/ 202 w 881"/>
                <a:gd name="T45" fmla="*/ 412 h 732"/>
                <a:gd name="T46" fmla="*/ 202 w 881"/>
                <a:gd name="T47" fmla="*/ 732 h 732"/>
                <a:gd name="T48" fmla="*/ 150 w 881"/>
                <a:gd name="T49" fmla="*/ 732 h 732"/>
                <a:gd name="T50" fmla="*/ 150 w 881"/>
                <a:gd name="T51" fmla="*/ 438 h 732"/>
                <a:gd name="T52" fmla="*/ 26 w 881"/>
                <a:gd name="T53" fmla="*/ 438 h 732"/>
                <a:gd name="T54" fmla="*/ 17 w 881"/>
                <a:gd name="T55" fmla="*/ 436 h 732"/>
                <a:gd name="T56" fmla="*/ 10 w 881"/>
                <a:gd name="T57" fmla="*/ 433 h 732"/>
                <a:gd name="T58" fmla="*/ 6 w 881"/>
                <a:gd name="T59" fmla="*/ 428 h 732"/>
                <a:gd name="T60" fmla="*/ 1 w 881"/>
                <a:gd name="T61" fmla="*/ 422 h 732"/>
                <a:gd name="T62" fmla="*/ 0 w 881"/>
                <a:gd name="T63" fmla="*/ 413 h 732"/>
                <a:gd name="T64" fmla="*/ 0 w 881"/>
                <a:gd name="T65" fmla="*/ 406 h 732"/>
                <a:gd name="T66" fmla="*/ 3 w 881"/>
                <a:gd name="T67" fmla="*/ 399 h 732"/>
                <a:gd name="T68" fmla="*/ 7 w 881"/>
                <a:gd name="T69" fmla="*/ 393 h 732"/>
                <a:gd name="T70" fmla="*/ 419 w 881"/>
                <a:gd name="T71" fmla="*/ 7 h 732"/>
                <a:gd name="T72" fmla="*/ 423 w 881"/>
                <a:gd name="T73" fmla="*/ 4 h 732"/>
                <a:gd name="T74" fmla="*/ 428 w 881"/>
                <a:gd name="T75" fmla="*/ 1 h 732"/>
                <a:gd name="T76" fmla="*/ 432 w 881"/>
                <a:gd name="T77" fmla="*/ 0 h 732"/>
                <a:gd name="T78" fmla="*/ 436 w 881"/>
                <a:gd name="T79" fmla="*/ 0 h 732"/>
                <a:gd name="T80" fmla="*/ 442 w 881"/>
                <a:gd name="T81" fmla="*/ 0 h 732"/>
                <a:gd name="T82" fmla="*/ 446 w 881"/>
                <a:gd name="T83" fmla="*/ 1 h 732"/>
                <a:gd name="T84" fmla="*/ 451 w 881"/>
                <a:gd name="T85" fmla="*/ 4 h 732"/>
                <a:gd name="T86" fmla="*/ 455 w 881"/>
                <a:gd name="T87" fmla="*/ 7 h 732"/>
                <a:gd name="T88" fmla="*/ 873 w 881"/>
                <a:gd name="T89" fmla="*/ 393 h 732"/>
                <a:gd name="T90" fmla="*/ 877 w 881"/>
                <a:gd name="T91" fmla="*/ 399 h 732"/>
                <a:gd name="T92" fmla="*/ 880 w 881"/>
                <a:gd name="T93" fmla="*/ 406 h 732"/>
                <a:gd name="T94" fmla="*/ 881 w 881"/>
                <a:gd name="T95" fmla="*/ 413 h 732"/>
                <a:gd name="T96" fmla="*/ 878 w 881"/>
                <a:gd name="T97" fmla="*/ 422 h 732"/>
                <a:gd name="T98" fmla="*/ 875 w 881"/>
                <a:gd name="T99" fmla="*/ 428 h 732"/>
                <a:gd name="T100" fmla="*/ 870 w 881"/>
                <a:gd name="T101" fmla="*/ 433 h 732"/>
                <a:gd name="T102" fmla="*/ 863 w 881"/>
                <a:gd name="T103" fmla="*/ 436 h 732"/>
                <a:gd name="T104" fmla="*/ 855 w 881"/>
                <a:gd name="T105" fmla="*/ 438 h 732"/>
                <a:gd name="T106" fmla="*/ 724 w 881"/>
                <a:gd name="T107" fmla="*/ 438 h 732"/>
                <a:gd name="T108" fmla="*/ 724 w 881"/>
                <a:gd name="T10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1" h="732">
                  <a:moveTo>
                    <a:pt x="724" y="732"/>
                  </a:moveTo>
                  <a:lnTo>
                    <a:pt x="672" y="732"/>
                  </a:lnTo>
                  <a:lnTo>
                    <a:pt x="672" y="412"/>
                  </a:lnTo>
                  <a:lnTo>
                    <a:pt x="672" y="406"/>
                  </a:lnTo>
                  <a:lnTo>
                    <a:pt x="674" y="402"/>
                  </a:lnTo>
                  <a:lnTo>
                    <a:pt x="677" y="397"/>
                  </a:lnTo>
                  <a:lnTo>
                    <a:pt x="680" y="393"/>
                  </a:lnTo>
                  <a:lnTo>
                    <a:pt x="684" y="390"/>
                  </a:lnTo>
                  <a:lnTo>
                    <a:pt x="688" y="387"/>
                  </a:lnTo>
                  <a:lnTo>
                    <a:pt x="693" y="386"/>
                  </a:lnTo>
                  <a:lnTo>
                    <a:pt x="698" y="386"/>
                  </a:lnTo>
                  <a:lnTo>
                    <a:pt x="788" y="386"/>
                  </a:lnTo>
                  <a:lnTo>
                    <a:pt x="438" y="62"/>
                  </a:lnTo>
                  <a:lnTo>
                    <a:pt x="92" y="386"/>
                  </a:lnTo>
                  <a:lnTo>
                    <a:pt x="176" y="386"/>
                  </a:lnTo>
                  <a:lnTo>
                    <a:pt x="181" y="386"/>
                  </a:lnTo>
                  <a:lnTo>
                    <a:pt x="186" y="387"/>
                  </a:lnTo>
                  <a:lnTo>
                    <a:pt x="190" y="390"/>
                  </a:lnTo>
                  <a:lnTo>
                    <a:pt x="194" y="393"/>
                  </a:lnTo>
                  <a:lnTo>
                    <a:pt x="197" y="397"/>
                  </a:lnTo>
                  <a:lnTo>
                    <a:pt x="200" y="402"/>
                  </a:lnTo>
                  <a:lnTo>
                    <a:pt x="202" y="406"/>
                  </a:lnTo>
                  <a:lnTo>
                    <a:pt x="202" y="412"/>
                  </a:lnTo>
                  <a:lnTo>
                    <a:pt x="202" y="732"/>
                  </a:lnTo>
                  <a:lnTo>
                    <a:pt x="150" y="732"/>
                  </a:lnTo>
                  <a:lnTo>
                    <a:pt x="150" y="438"/>
                  </a:lnTo>
                  <a:lnTo>
                    <a:pt x="26" y="438"/>
                  </a:lnTo>
                  <a:lnTo>
                    <a:pt x="17" y="436"/>
                  </a:lnTo>
                  <a:lnTo>
                    <a:pt x="10" y="433"/>
                  </a:lnTo>
                  <a:lnTo>
                    <a:pt x="6" y="428"/>
                  </a:lnTo>
                  <a:lnTo>
                    <a:pt x="1" y="422"/>
                  </a:lnTo>
                  <a:lnTo>
                    <a:pt x="0" y="413"/>
                  </a:lnTo>
                  <a:lnTo>
                    <a:pt x="0" y="406"/>
                  </a:lnTo>
                  <a:lnTo>
                    <a:pt x="3" y="399"/>
                  </a:lnTo>
                  <a:lnTo>
                    <a:pt x="7" y="393"/>
                  </a:lnTo>
                  <a:lnTo>
                    <a:pt x="419" y="7"/>
                  </a:lnTo>
                  <a:lnTo>
                    <a:pt x="423" y="4"/>
                  </a:lnTo>
                  <a:lnTo>
                    <a:pt x="428" y="1"/>
                  </a:lnTo>
                  <a:lnTo>
                    <a:pt x="432" y="0"/>
                  </a:lnTo>
                  <a:lnTo>
                    <a:pt x="436" y="0"/>
                  </a:lnTo>
                  <a:lnTo>
                    <a:pt x="442" y="0"/>
                  </a:lnTo>
                  <a:lnTo>
                    <a:pt x="446" y="1"/>
                  </a:lnTo>
                  <a:lnTo>
                    <a:pt x="451" y="4"/>
                  </a:lnTo>
                  <a:lnTo>
                    <a:pt x="455" y="7"/>
                  </a:lnTo>
                  <a:lnTo>
                    <a:pt x="873" y="393"/>
                  </a:lnTo>
                  <a:lnTo>
                    <a:pt x="877" y="399"/>
                  </a:lnTo>
                  <a:lnTo>
                    <a:pt x="880" y="406"/>
                  </a:lnTo>
                  <a:lnTo>
                    <a:pt x="881" y="413"/>
                  </a:lnTo>
                  <a:lnTo>
                    <a:pt x="878" y="422"/>
                  </a:lnTo>
                  <a:lnTo>
                    <a:pt x="875" y="428"/>
                  </a:lnTo>
                  <a:lnTo>
                    <a:pt x="870" y="433"/>
                  </a:lnTo>
                  <a:lnTo>
                    <a:pt x="863" y="436"/>
                  </a:lnTo>
                  <a:lnTo>
                    <a:pt x="855" y="438"/>
                  </a:lnTo>
                  <a:lnTo>
                    <a:pt x="724" y="438"/>
                  </a:lnTo>
                  <a:lnTo>
                    <a:pt x="724" y="7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3" name="Group 39">
            <a:extLst>
              <a:ext uri="{FF2B5EF4-FFF2-40B4-BE49-F238E27FC236}">
                <a16:creationId xmlns:a16="http://schemas.microsoft.com/office/drawing/2014/main" id="{553D3DDD-37A0-4385-8859-7977C5018E0B}"/>
              </a:ext>
            </a:extLst>
          </p:cNvPr>
          <p:cNvGrpSpPr>
            <a:grpSpLocks noChangeAspect="1"/>
          </p:cNvGrpSpPr>
          <p:nvPr/>
        </p:nvGrpSpPr>
        <p:grpSpPr>
          <a:xfrm>
            <a:off x="1478842" y="2724897"/>
            <a:ext cx="285619" cy="285619"/>
            <a:chOff x="314325" y="4219576"/>
            <a:chExt cx="285750" cy="285750"/>
          </a:xfrm>
          <a:solidFill>
            <a:schemeClr val="bg2"/>
          </a:solidFill>
          <a:effectLst/>
        </p:grpSpPr>
        <p:sp>
          <p:nvSpPr>
            <p:cNvPr id="654" name="Freeform 18">
              <a:extLst>
                <a:ext uri="{FF2B5EF4-FFF2-40B4-BE49-F238E27FC236}">
                  <a16:creationId xmlns:a16="http://schemas.microsoft.com/office/drawing/2014/main" id="{BDAE88D5-5850-453A-A1B7-E005BF653743}"/>
                </a:ext>
              </a:extLst>
            </p:cNvPr>
            <p:cNvSpPr>
              <a:spLocks noEditPoints="1"/>
            </p:cNvSpPr>
            <p:nvPr/>
          </p:nvSpPr>
          <p:spPr bwMode="auto">
            <a:xfrm>
              <a:off x="314325" y="4219576"/>
              <a:ext cx="285750" cy="285750"/>
            </a:xfrm>
            <a:custGeom>
              <a:avLst/>
              <a:gdLst>
                <a:gd name="T0" fmla="*/ 195 w 901"/>
                <a:gd name="T1" fmla="*/ 692 h 901"/>
                <a:gd name="T2" fmla="*/ 239 w 901"/>
                <a:gd name="T3" fmla="*/ 609 h 901"/>
                <a:gd name="T4" fmla="*/ 304 w 901"/>
                <a:gd name="T5" fmla="*/ 544 h 901"/>
                <a:gd name="T6" fmla="*/ 386 w 901"/>
                <a:gd name="T7" fmla="*/ 504 h 901"/>
                <a:gd name="T8" fmla="*/ 477 w 901"/>
                <a:gd name="T9" fmla="*/ 496 h 901"/>
                <a:gd name="T10" fmla="*/ 564 w 901"/>
                <a:gd name="T11" fmla="*/ 523 h 901"/>
                <a:gd name="T12" fmla="*/ 637 w 901"/>
                <a:gd name="T13" fmla="*/ 578 h 901"/>
                <a:gd name="T14" fmla="*/ 690 w 901"/>
                <a:gd name="T15" fmla="*/ 655 h 901"/>
                <a:gd name="T16" fmla="*/ 718 w 901"/>
                <a:gd name="T17" fmla="*/ 745 h 901"/>
                <a:gd name="T18" fmla="*/ 646 w 901"/>
                <a:gd name="T19" fmla="*/ 823 h 901"/>
                <a:gd name="T20" fmla="*/ 525 w 901"/>
                <a:gd name="T21" fmla="*/ 865 h 901"/>
                <a:gd name="T22" fmla="*/ 394 w 901"/>
                <a:gd name="T23" fmla="*/ 867 h 901"/>
                <a:gd name="T24" fmla="*/ 271 w 901"/>
                <a:gd name="T25" fmla="*/ 830 h 901"/>
                <a:gd name="T26" fmla="*/ 181 w 901"/>
                <a:gd name="T27" fmla="*/ 773 h 901"/>
                <a:gd name="T28" fmla="*/ 49 w 901"/>
                <a:gd name="T29" fmla="*/ 325 h 901"/>
                <a:gd name="T30" fmla="*/ 113 w 901"/>
                <a:gd name="T31" fmla="*/ 199 h 901"/>
                <a:gd name="T32" fmla="*/ 215 w 901"/>
                <a:gd name="T33" fmla="*/ 102 h 901"/>
                <a:gd name="T34" fmla="*/ 346 w 901"/>
                <a:gd name="T35" fmla="*/ 43 h 901"/>
                <a:gd name="T36" fmla="*/ 493 w 901"/>
                <a:gd name="T37" fmla="*/ 32 h 901"/>
                <a:gd name="T38" fmla="*/ 632 w 901"/>
                <a:gd name="T39" fmla="*/ 72 h 901"/>
                <a:gd name="T40" fmla="*/ 748 w 901"/>
                <a:gd name="T41" fmla="*/ 153 h 901"/>
                <a:gd name="T42" fmla="*/ 829 w 901"/>
                <a:gd name="T43" fmla="*/ 269 h 901"/>
                <a:gd name="T44" fmla="*/ 869 w 901"/>
                <a:gd name="T45" fmla="*/ 408 h 901"/>
                <a:gd name="T46" fmla="*/ 858 w 901"/>
                <a:gd name="T47" fmla="*/ 555 h 901"/>
                <a:gd name="T48" fmla="*/ 799 w 901"/>
                <a:gd name="T49" fmla="*/ 684 h 901"/>
                <a:gd name="T50" fmla="*/ 740 w 901"/>
                <a:gd name="T51" fmla="*/ 704 h 901"/>
                <a:gd name="T52" fmla="*/ 702 w 901"/>
                <a:gd name="T53" fmla="*/ 613 h 901"/>
                <a:gd name="T54" fmla="*/ 639 w 901"/>
                <a:gd name="T55" fmla="*/ 539 h 901"/>
                <a:gd name="T56" fmla="*/ 557 w 901"/>
                <a:gd name="T57" fmla="*/ 488 h 901"/>
                <a:gd name="T58" fmla="*/ 464 w 901"/>
                <a:gd name="T59" fmla="*/ 465 h 901"/>
                <a:gd name="T60" fmla="*/ 369 w 901"/>
                <a:gd name="T61" fmla="*/ 478 h 901"/>
                <a:gd name="T62" fmla="*/ 284 w 901"/>
                <a:gd name="T63" fmla="*/ 522 h 901"/>
                <a:gd name="T64" fmla="*/ 215 w 901"/>
                <a:gd name="T65" fmla="*/ 591 h 901"/>
                <a:gd name="T66" fmla="*/ 168 w 901"/>
                <a:gd name="T67" fmla="*/ 677 h 901"/>
                <a:gd name="T68" fmla="*/ 125 w 901"/>
                <a:gd name="T69" fmla="*/ 717 h 901"/>
                <a:gd name="T70" fmla="*/ 56 w 901"/>
                <a:gd name="T71" fmla="*/ 594 h 901"/>
                <a:gd name="T72" fmla="*/ 30 w 901"/>
                <a:gd name="T73" fmla="*/ 450 h 901"/>
                <a:gd name="T74" fmla="*/ 887 w 901"/>
                <a:gd name="T75" fmla="*/ 338 h 901"/>
                <a:gd name="T76" fmla="*/ 824 w 901"/>
                <a:gd name="T77" fmla="*/ 199 h 901"/>
                <a:gd name="T78" fmla="*/ 720 w 901"/>
                <a:gd name="T79" fmla="*/ 90 h 901"/>
                <a:gd name="T80" fmla="*/ 584 w 901"/>
                <a:gd name="T81" fmla="*/ 20 h 901"/>
                <a:gd name="T82" fmla="*/ 427 w 901"/>
                <a:gd name="T83" fmla="*/ 0 h 901"/>
                <a:gd name="T84" fmla="*/ 275 w 901"/>
                <a:gd name="T85" fmla="*/ 35 h 901"/>
                <a:gd name="T86" fmla="*/ 148 w 901"/>
                <a:gd name="T87" fmla="*/ 117 h 901"/>
                <a:gd name="T88" fmla="*/ 55 w 901"/>
                <a:gd name="T89" fmla="*/ 235 h 901"/>
                <a:gd name="T90" fmla="*/ 5 w 901"/>
                <a:gd name="T91" fmla="*/ 382 h 901"/>
                <a:gd name="T92" fmla="*/ 11 w 901"/>
                <a:gd name="T93" fmla="*/ 548 h 901"/>
                <a:gd name="T94" fmla="*/ 75 w 901"/>
                <a:gd name="T95" fmla="*/ 700 h 901"/>
                <a:gd name="T96" fmla="*/ 155 w 901"/>
                <a:gd name="T97" fmla="*/ 792 h 901"/>
                <a:gd name="T98" fmla="*/ 241 w 901"/>
                <a:gd name="T99" fmla="*/ 849 h 901"/>
                <a:gd name="T100" fmla="*/ 370 w 901"/>
                <a:gd name="T101" fmla="*/ 894 h 901"/>
                <a:gd name="T102" fmla="*/ 511 w 901"/>
                <a:gd name="T103" fmla="*/ 897 h 901"/>
                <a:gd name="T104" fmla="*/ 643 w 901"/>
                <a:gd name="T105" fmla="*/ 857 h 901"/>
                <a:gd name="T106" fmla="*/ 744 w 901"/>
                <a:gd name="T107" fmla="*/ 794 h 901"/>
                <a:gd name="T108" fmla="*/ 812 w 901"/>
                <a:gd name="T109" fmla="*/ 718 h 901"/>
                <a:gd name="T110" fmla="*/ 885 w 901"/>
                <a:gd name="T111" fmla="*/ 57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1" h="901">
                  <a:moveTo>
                    <a:pt x="181" y="773"/>
                  </a:moveTo>
                  <a:lnTo>
                    <a:pt x="182" y="759"/>
                  </a:lnTo>
                  <a:lnTo>
                    <a:pt x="183" y="745"/>
                  </a:lnTo>
                  <a:lnTo>
                    <a:pt x="185" y="731"/>
                  </a:lnTo>
                  <a:lnTo>
                    <a:pt x="187" y="718"/>
                  </a:lnTo>
                  <a:lnTo>
                    <a:pt x="192" y="705"/>
                  </a:lnTo>
                  <a:lnTo>
                    <a:pt x="195" y="692"/>
                  </a:lnTo>
                  <a:lnTo>
                    <a:pt x="200" y="679"/>
                  </a:lnTo>
                  <a:lnTo>
                    <a:pt x="204" y="667"/>
                  </a:lnTo>
                  <a:lnTo>
                    <a:pt x="211" y="655"/>
                  </a:lnTo>
                  <a:lnTo>
                    <a:pt x="217" y="642"/>
                  </a:lnTo>
                  <a:lnTo>
                    <a:pt x="224" y="631"/>
                  </a:lnTo>
                  <a:lnTo>
                    <a:pt x="231" y="620"/>
                  </a:lnTo>
                  <a:lnTo>
                    <a:pt x="239" y="609"/>
                  </a:lnTo>
                  <a:lnTo>
                    <a:pt x="246" y="598"/>
                  </a:lnTo>
                  <a:lnTo>
                    <a:pt x="256" y="589"/>
                  </a:lnTo>
                  <a:lnTo>
                    <a:pt x="264" y="578"/>
                  </a:lnTo>
                  <a:lnTo>
                    <a:pt x="274" y="569"/>
                  </a:lnTo>
                  <a:lnTo>
                    <a:pt x="284" y="561"/>
                  </a:lnTo>
                  <a:lnTo>
                    <a:pt x="293" y="552"/>
                  </a:lnTo>
                  <a:lnTo>
                    <a:pt x="304" y="544"/>
                  </a:lnTo>
                  <a:lnTo>
                    <a:pt x="315" y="537"/>
                  </a:lnTo>
                  <a:lnTo>
                    <a:pt x="326" y="530"/>
                  </a:lnTo>
                  <a:lnTo>
                    <a:pt x="338" y="523"/>
                  </a:lnTo>
                  <a:lnTo>
                    <a:pt x="349" y="518"/>
                  </a:lnTo>
                  <a:lnTo>
                    <a:pt x="362" y="513"/>
                  </a:lnTo>
                  <a:lnTo>
                    <a:pt x="373" y="508"/>
                  </a:lnTo>
                  <a:lnTo>
                    <a:pt x="386" y="504"/>
                  </a:lnTo>
                  <a:lnTo>
                    <a:pt x="398" y="502"/>
                  </a:lnTo>
                  <a:lnTo>
                    <a:pt x="411" y="499"/>
                  </a:lnTo>
                  <a:lnTo>
                    <a:pt x="424" y="496"/>
                  </a:lnTo>
                  <a:lnTo>
                    <a:pt x="438" y="495"/>
                  </a:lnTo>
                  <a:lnTo>
                    <a:pt x="450" y="495"/>
                  </a:lnTo>
                  <a:lnTo>
                    <a:pt x="463" y="495"/>
                  </a:lnTo>
                  <a:lnTo>
                    <a:pt x="477" y="496"/>
                  </a:lnTo>
                  <a:lnTo>
                    <a:pt x="490" y="499"/>
                  </a:lnTo>
                  <a:lnTo>
                    <a:pt x="503" y="501"/>
                  </a:lnTo>
                  <a:lnTo>
                    <a:pt x="515" y="504"/>
                  </a:lnTo>
                  <a:lnTo>
                    <a:pt x="528" y="508"/>
                  </a:lnTo>
                  <a:lnTo>
                    <a:pt x="539" y="513"/>
                  </a:lnTo>
                  <a:lnTo>
                    <a:pt x="552" y="518"/>
                  </a:lnTo>
                  <a:lnTo>
                    <a:pt x="564" y="523"/>
                  </a:lnTo>
                  <a:lnTo>
                    <a:pt x="575" y="530"/>
                  </a:lnTo>
                  <a:lnTo>
                    <a:pt x="586" y="536"/>
                  </a:lnTo>
                  <a:lnTo>
                    <a:pt x="597" y="544"/>
                  </a:lnTo>
                  <a:lnTo>
                    <a:pt x="608" y="552"/>
                  </a:lnTo>
                  <a:lnTo>
                    <a:pt x="617" y="561"/>
                  </a:lnTo>
                  <a:lnTo>
                    <a:pt x="627" y="569"/>
                  </a:lnTo>
                  <a:lnTo>
                    <a:pt x="637" y="578"/>
                  </a:lnTo>
                  <a:lnTo>
                    <a:pt x="646" y="589"/>
                  </a:lnTo>
                  <a:lnTo>
                    <a:pt x="655" y="598"/>
                  </a:lnTo>
                  <a:lnTo>
                    <a:pt x="662" y="609"/>
                  </a:lnTo>
                  <a:lnTo>
                    <a:pt x="670" y="620"/>
                  </a:lnTo>
                  <a:lnTo>
                    <a:pt x="677" y="631"/>
                  </a:lnTo>
                  <a:lnTo>
                    <a:pt x="685" y="642"/>
                  </a:lnTo>
                  <a:lnTo>
                    <a:pt x="690" y="655"/>
                  </a:lnTo>
                  <a:lnTo>
                    <a:pt x="697" y="667"/>
                  </a:lnTo>
                  <a:lnTo>
                    <a:pt x="701" y="679"/>
                  </a:lnTo>
                  <a:lnTo>
                    <a:pt x="706" y="692"/>
                  </a:lnTo>
                  <a:lnTo>
                    <a:pt x="709" y="705"/>
                  </a:lnTo>
                  <a:lnTo>
                    <a:pt x="714" y="718"/>
                  </a:lnTo>
                  <a:lnTo>
                    <a:pt x="716" y="732"/>
                  </a:lnTo>
                  <a:lnTo>
                    <a:pt x="718" y="745"/>
                  </a:lnTo>
                  <a:lnTo>
                    <a:pt x="720" y="759"/>
                  </a:lnTo>
                  <a:lnTo>
                    <a:pt x="720" y="773"/>
                  </a:lnTo>
                  <a:lnTo>
                    <a:pt x="706" y="783"/>
                  </a:lnTo>
                  <a:lnTo>
                    <a:pt x="692" y="794"/>
                  </a:lnTo>
                  <a:lnTo>
                    <a:pt x="677" y="805"/>
                  </a:lnTo>
                  <a:lnTo>
                    <a:pt x="662" y="814"/>
                  </a:lnTo>
                  <a:lnTo>
                    <a:pt x="646" y="823"/>
                  </a:lnTo>
                  <a:lnTo>
                    <a:pt x="630" y="830"/>
                  </a:lnTo>
                  <a:lnTo>
                    <a:pt x="613" y="838"/>
                  </a:lnTo>
                  <a:lnTo>
                    <a:pt x="597" y="844"/>
                  </a:lnTo>
                  <a:lnTo>
                    <a:pt x="579" y="851"/>
                  </a:lnTo>
                  <a:lnTo>
                    <a:pt x="562" y="856"/>
                  </a:lnTo>
                  <a:lnTo>
                    <a:pt x="544" y="860"/>
                  </a:lnTo>
                  <a:lnTo>
                    <a:pt x="525" y="865"/>
                  </a:lnTo>
                  <a:lnTo>
                    <a:pt x="507" y="867"/>
                  </a:lnTo>
                  <a:lnTo>
                    <a:pt x="489" y="869"/>
                  </a:lnTo>
                  <a:lnTo>
                    <a:pt x="470" y="871"/>
                  </a:lnTo>
                  <a:lnTo>
                    <a:pt x="450" y="871"/>
                  </a:lnTo>
                  <a:lnTo>
                    <a:pt x="431" y="871"/>
                  </a:lnTo>
                  <a:lnTo>
                    <a:pt x="412" y="869"/>
                  </a:lnTo>
                  <a:lnTo>
                    <a:pt x="394" y="867"/>
                  </a:lnTo>
                  <a:lnTo>
                    <a:pt x="376" y="865"/>
                  </a:lnTo>
                  <a:lnTo>
                    <a:pt x="357" y="860"/>
                  </a:lnTo>
                  <a:lnTo>
                    <a:pt x="339" y="856"/>
                  </a:lnTo>
                  <a:lnTo>
                    <a:pt x="322" y="851"/>
                  </a:lnTo>
                  <a:lnTo>
                    <a:pt x="305" y="844"/>
                  </a:lnTo>
                  <a:lnTo>
                    <a:pt x="288" y="838"/>
                  </a:lnTo>
                  <a:lnTo>
                    <a:pt x="271" y="830"/>
                  </a:lnTo>
                  <a:lnTo>
                    <a:pt x="255" y="823"/>
                  </a:lnTo>
                  <a:lnTo>
                    <a:pt x="240" y="814"/>
                  </a:lnTo>
                  <a:lnTo>
                    <a:pt x="224" y="805"/>
                  </a:lnTo>
                  <a:lnTo>
                    <a:pt x="209" y="794"/>
                  </a:lnTo>
                  <a:lnTo>
                    <a:pt x="195" y="783"/>
                  </a:lnTo>
                  <a:lnTo>
                    <a:pt x="181" y="773"/>
                  </a:lnTo>
                  <a:lnTo>
                    <a:pt x="181" y="773"/>
                  </a:lnTo>
                  <a:close/>
                  <a:moveTo>
                    <a:pt x="30" y="450"/>
                  </a:moveTo>
                  <a:lnTo>
                    <a:pt x="31" y="429"/>
                  </a:lnTo>
                  <a:lnTo>
                    <a:pt x="32" y="408"/>
                  </a:lnTo>
                  <a:lnTo>
                    <a:pt x="35" y="386"/>
                  </a:lnTo>
                  <a:lnTo>
                    <a:pt x="39" y="366"/>
                  </a:lnTo>
                  <a:lnTo>
                    <a:pt x="43" y="346"/>
                  </a:lnTo>
                  <a:lnTo>
                    <a:pt x="49" y="325"/>
                  </a:lnTo>
                  <a:lnTo>
                    <a:pt x="56" y="306"/>
                  </a:lnTo>
                  <a:lnTo>
                    <a:pt x="63" y="287"/>
                  </a:lnTo>
                  <a:lnTo>
                    <a:pt x="72" y="269"/>
                  </a:lnTo>
                  <a:lnTo>
                    <a:pt x="81" y="250"/>
                  </a:lnTo>
                  <a:lnTo>
                    <a:pt x="91" y="232"/>
                  </a:lnTo>
                  <a:lnTo>
                    <a:pt x="102" y="215"/>
                  </a:lnTo>
                  <a:lnTo>
                    <a:pt x="113" y="199"/>
                  </a:lnTo>
                  <a:lnTo>
                    <a:pt x="126" y="183"/>
                  </a:lnTo>
                  <a:lnTo>
                    <a:pt x="139" y="168"/>
                  </a:lnTo>
                  <a:lnTo>
                    <a:pt x="153" y="153"/>
                  </a:lnTo>
                  <a:lnTo>
                    <a:pt x="168" y="139"/>
                  </a:lnTo>
                  <a:lnTo>
                    <a:pt x="183" y="126"/>
                  </a:lnTo>
                  <a:lnTo>
                    <a:pt x="199" y="113"/>
                  </a:lnTo>
                  <a:lnTo>
                    <a:pt x="215" y="102"/>
                  </a:lnTo>
                  <a:lnTo>
                    <a:pt x="232" y="91"/>
                  </a:lnTo>
                  <a:lnTo>
                    <a:pt x="250" y="81"/>
                  </a:lnTo>
                  <a:lnTo>
                    <a:pt x="269" y="72"/>
                  </a:lnTo>
                  <a:lnTo>
                    <a:pt x="287" y="63"/>
                  </a:lnTo>
                  <a:lnTo>
                    <a:pt x="306" y="56"/>
                  </a:lnTo>
                  <a:lnTo>
                    <a:pt x="325" y="49"/>
                  </a:lnTo>
                  <a:lnTo>
                    <a:pt x="346" y="43"/>
                  </a:lnTo>
                  <a:lnTo>
                    <a:pt x="366" y="38"/>
                  </a:lnTo>
                  <a:lnTo>
                    <a:pt x="386" y="35"/>
                  </a:lnTo>
                  <a:lnTo>
                    <a:pt x="408" y="32"/>
                  </a:lnTo>
                  <a:lnTo>
                    <a:pt x="429" y="31"/>
                  </a:lnTo>
                  <a:lnTo>
                    <a:pt x="450" y="30"/>
                  </a:lnTo>
                  <a:lnTo>
                    <a:pt x="472" y="31"/>
                  </a:lnTo>
                  <a:lnTo>
                    <a:pt x="493" y="32"/>
                  </a:lnTo>
                  <a:lnTo>
                    <a:pt x="515" y="35"/>
                  </a:lnTo>
                  <a:lnTo>
                    <a:pt x="535" y="38"/>
                  </a:lnTo>
                  <a:lnTo>
                    <a:pt x="555" y="43"/>
                  </a:lnTo>
                  <a:lnTo>
                    <a:pt x="576" y="49"/>
                  </a:lnTo>
                  <a:lnTo>
                    <a:pt x="595" y="56"/>
                  </a:lnTo>
                  <a:lnTo>
                    <a:pt x="614" y="63"/>
                  </a:lnTo>
                  <a:lnTo>
                    <a:pt x="632" y="72"/>
                  </a:lnTo>
                  <a:lnTo>
                    <a:pt x="651" y="80"/>
                  </a:lnTo>
                  <a:lnTo>
                    <a:pt x="669" y="91"/>
                  </a:lnTo>
                  <a:lnTo>
                    <a:pt x="686" y="102"/>
                  </a:lnTo>
                  <a:lnTo>
                    <a:pt x="702" y="113"/>
                  </a:lnTo>
                  <a:lnTo>
                    <a:pt x="718" y="126"/>
                  </a:lnTo>
                  <a:lnTo>
                    <a:pt x="733" y="139"/>
                  </a:lnTo>
                  <a:lnTo>
                    <a:pt x="748" y="153"/>
                  </a:lnTo>
                  <a:lnTo>
                    <a:pt x="762" y="168"/>
                  </a:lnTo>
                  <a:lnTo>
                    <a:pt x="775" y="183"/>
                  </a:lnTo>
                  <a:lnTo>
                    <a:pt x="788" y="199"/>
                  </a:lnTo>
                  <a:lnTo>
                    <a:pt x="799" y="215"/>
                  </a:lnTo>
                  <a:lnTo>
                    <a:pt x="810" y="232"/>
                  </a:lnTo>
                  <a:lnTo>
                    <a:pt x="821" y="250"/>
                  </a:lnTo>
                  <a:lnTo>
                    <a:pt x="829" y="269"/>
                  </a:lnTo>
                  <a:lnTo>
                    <a:pt x="838" y="287"/>
                  </a:lnTo>
                  <a:lnTo>
                    <a:pt x="845" y="306"/>
                  </a:lnTo>
                  <a:lnTo>
                    <a:pt x="852" y="325"/>
                  </a:lnTo>
                  <a:lnTo>
                    <a:pt x="858" y="346"/>
                  </a:lnTo>
                  <a:lnTo>
                    <a:pt x="862" y="366"/>
                  </a:lnTo>
                  <a:lnTo>
                    <a:pt x="866" y="386"/>
                  </a:lnTo>
                  <a:lnTo>
                    <a:pt x="869" y="408"/>
                  </a:lnTo>
                  <a:lnTo>
                    <a:pt x="870" y="429"/>
                  </a:lnTo>
                  <a:lnTo>
                    <a:pt x="871" y="450"/>
                  </a:lnTo>
                  <a:lnTo>
                    <a:pt x="870" y="472"/>
                  </a:lnTo>
                  <a:lnTo>
                    <a:pt x="869" y="493"/>
                  </a:lnTo>
                  <a:lnTo>
                    <a:pt x="867" y="514"/>
                  </a:lnTo>
                  <a:lnTo>
                    <a:pt x="862" y="535"/>
                  </a:lnTo>
                  <a:lnTo>
                    <a:pt x="858" y="555"/>
                  </a:lnTo>
                  <a:lnTo>
                    <a:pt x="852" y="575"/>
                  </a:lnTo>
                  <a:lnTo>
                    <a:pt x="845" y="594"/>
                  </a:lnTo>
                  <a:lnTo>
                    <a:pt x="838" y="613"/>
                  </a:lnTo>
                  <a:lnTo>
                    <a:pt x="830" y="631"/>
                  </a:lnTo>
                  <a:lnTo>
                    <a:pt x="821" y="650"/>
                  </a:lnTo>
                  <a:lnTo>
                    <a:pt x="811" y="668"/>
                  </a:lnTo>
                  <a:lnTo>
                    <a:pt x="799" y="684"/>
                  </a:lnTo>
                  <a:lnTo>
                    <a:pt x="789" y="701"/>
                  </a:lnTo>
                  <a:lnTo>
                    <a:pt x="776" y="717"/>
                  </a:lnTo>
                  <a:lnTo>
                    <a:pt x="763" y="732"/>
                  </a:lnTo>
                  <a:lnTo>
                    <a:pt x="749" y="747"/>
                  </a:lnTo>
                  <a:lnTo>
                    <a:pt x="747" y="732"/>
                  </a:lnTo>
                  <a:lnTo>
                    <a:pt x="745" y="718"/>
                  </a:lnTo>
                  <a:lnTo>
                    <a:pt x="740" y="704"/>
                  </a:lnTo>
                  <a:lnTo>
                    <a:pt x="737" y="690"/>
                  </a:lnTo>
                  <a:lnTo>
                    <a:pt x="733" y="677"/>
                  </a:lnTo>
                  <a:lnTo>
                    <a:pt x="728" y="663"/>
                  </a:lnTo>
                  <a:lnTo>
                    <a:pt x="722" y="651"/>
                  </a:lnTo>
                  <a:lnTo>
                    <a:pt x="716" y="638"/>
                  </a:lnTo>
                  <a:lnTo>
                    <a:pt x="709" y="626"/>
                  </a:lnTo>
                  <a:lnTo>
                    <a:pt x="702" y="613"/>
                  </a:lnTo>
                  <a:lnTo>
                    <a:pt x="694" y="601"/>
                  </a:lnTo>
                  <a:lnTo>
                    <a:pt x="686" y="591"/>
                  </a:lnTo>
                  <a:lnTo>
                    <a:pt x="677" y="579"/>
                  </a:lnTo>
                  <a:lnTo>
                    <a:pt x="669" y="568"/>
                  </a:lnTo>
                  <a:lnTo>
                    <a:pt x="659" y="559"/>
                  </a:lnTo>
                  <a:lnTo>
                    <a:pt x="649" y="549"/>
                  </a:lnTo>
                  <a:lnTo>
                    <a:pt x="639" y="539"/>
                  </a:lnTo>
                  <a:lnTo>
                    <a:pt x="628" y="531"/>
                  </a:lnTo>
                  <a:lnTo>
                    <a:pt x="617" y="522"/>
                  </a:lnTo>
                  <a:lnTo>
                    <a:pt x="606" y="514"/>
                  </a:lnTo>
                  <a:lnTo>
                    <a:pt x="594" y="506"/>
                  </a:lnTo>
                  <a:lnTo>
                    <a:pt x="582" y="500"/>
                  </a:lnTo>
                  <a:lnTo>
                    <a:pt x="570" y="493"/>
                  </a:lnTo>
                  <a:lnTo>
                    <a:pt x="557" y="488"/>
                  </a:lnTo>
                  <a:lnTo>
                    <a:pt x="545" y="483"/>
                  </a:lnTo>
                  <a:lnTo>
                    <a:pt x="532" y="478"/>
                  </a:lnTo>
                  <a:lnTo>
                    <a:pt x="519" y="474"/>
                  </a:lnTo>
                  <a:lnTo>
                    <a:pt x="505" y="471"/>
                  </a:lnTo>
                  <a:lnTo>
                    <a:pt x="492" y="469"/>
                  </a:lnTo>
                  <a:lnTo>
                    <a:pt x="478" y="467"/>
                  </a:lnTo>
                  <a:lnTo>
                    <a:pt x="464" y="465"/>
                  </a:lnTo>
                  <a:lnTo>
                    <a:pt x="450" y="465"/>
                  </a:lnTo>
                  <a:lnTo>
                    <a:pt x="437" y="465"/>
                  </a:lnTo>
                  <a:lnTo>
                    <a:pt x="423" y="467"/>
                  </a:lnTo>
                  <a:lnTo>
                    <a:pt x="409" y="469"/>
                  </a:lnTo>
                  <a:lnTo>
                    <a:pt x="396" y="471"/>
                  </a:lnTo>
                  <a:lnTo>
                    <a:pt x="382" y="474"/>
                  </a:lnTo>
                  <a:lnTo>
                    <a:pt x="369" y="478"/>
                  </a:lnTo>
                  <a:lnTo>
                    <a:pt x="356" y="483"/>
                  </a:lnTo>
                  <a:lnTo>
                    <a:pt x="343" y="488"/>
                  </a:lnTo>
                  <a:lnTo>
                    <a:pt x="331" y="493"/>
                  </a:lnTo>
                  <a:lnTo>
                    <a:pt x="319" y="500"/>
                  </a:lnTo>
                  <a:lnTo>
                    <a:pt x="307" y="506"/>
                  </a:lnTo>
                  <a:lnTo>
                    <a:pt x="295" y="514"/>
                  </a:lnTo>
                  <a:lnTo>
                    <a:pt x="284" y="522"/>
                  </a:lnTo>
                  <a:lnTo>
                    <a:pt x="273" y="531"/>
                  </a:lnTo>
                  <a:lnTo>
                    <a:pt x="262" y="539"/>
                  </a:lnTo>
                  <a:lnTo>
                    <a:pt x="253" y="549"/>
                  </a:lnTo>
                  <a:lnTo>
                    <a:pt x="242" y="559"/>
                  </a:lnTo>
                  <a:lnTo>
                    <a:pt x="232" y="568"/>
                  </a:lnTo>
                  <a:lnTo>
                    <a:pt x="224" y="579"/>
                  </a:lnTo>
                  <a:lnTo>
                    <a:pt x="215" y="591"/>
                  </a:lnTo>
                  <a:lnTo>
                    <a:pt x="207" y="601"/>
                  </a:lnTo>
                  <a:lnTo>
                    <a:pt x="199" y="613"/>
                  </a:lnTo>
                  <a:lnTo>
                    <a:pt x="192" y="626"/>
                  </a:lnTo>
                  <a:lnTo>
                    <a:pt x="185" y="638"/>
                  </a:lnTo>
                  <a:lnTo>
                    <a:pt x="179" y="651"/>
                  </a:lnTo>
                  <a:lnTo>
                    <a:pt x="173" y="663"/>
                  </a:lnTo>
                  <a:lnTo>
                    <a:pt x="168" y="677"/>
                  </a:lnTo>
                  <a:lnTo>
                    <a:pt x="164" y="690"/>
                  </a:lnTo>
                  <a:lnTo>
                    <a:pt x="161" y="704"/>
                  </a:lnTo>
                  <a:lnTo>
                    <a:pt x="157" y="718"/>
                  </a:lnTo>
                  <a:lnTo>
                    <a:pt x="154" y="732"/>
                  </a:lnTo>
                  <a:lnTo>
                    <a:pt x="152" y="747"/>
                  </a:lnTo>
                  <a:lnTo>
                    <a:pt x="138" y="732"/>
                  </a:lnTo>
                  <a:lnTo>
                    <a:pt x="125" y="717"/>
                  </a:lnTo>
                  <a:lnTo>
                    <a:pt x="113" y="701"/>
                  </a:lnTo>
                  <a:lnTo>
                    <a:pt x="102" y="684"/>
                  </a:lnTo>
                  <a:lnTo>
                    <a:pt x="91" y="668"/>
                  </a:lnTo>
                  <a:lnTo>
                    <a:pt x="80" y="650"/>
                  </a:lnTo>
                  <a:lnTo>
                    <a:pt x="72" y="631"/>
                  </a:lnTo>
                  <a:lnTo>
                    <a:pt x="63" y="613"/>
                  </a:lnTo>
                  <a:lnTo>
                    <a:pt x="56" y="594"/>
                  </a:lnTo>
                  <a:lnTo>
                    <a:pt x="49" y="575"/>
                  </a:lnTo>
                  <a:lnTo>
                    <a:pt x="43" y="555"/>
                  </a:lnTo>
                  <a:lnTo>
                    <a:pt x="39" y="535"/>
                  </a:lnTo>
                  <a:lnTo>
                    <a:pt x="35" y="514"/>
                  </a:lnTo>
                  <a:lnTo>
                    <a:pt x="32" y="493"/>
                  </a:lnTo>
                  <a:lnTo>
                    <a:pt x="31" y="472"/>
                  </a:lnTo>
                  <a:lnTo>
                    <a:pt x="30" y="450"/>
                  </a:lnTo>
                  <a:lnTo>
                    <a:pt x="30" y="450"/>
                  </a:lnTo>
                  <a:close/>
                  <a:moveTo>
                    <a:pt x="901" y="450"/>
                  </a:moveTo>
                  <a:lnTo>
                    <a:pt x="901" y="427"/>
                  </a:lnTo>
                  <a:lnTo>
                    <a:pt x="899" y="404"/>
                  </a:lnTo>
                  <a:lnTo>
                    <a:pt x="896" y="382"/>
                  </a:lnTo>
                  <a:lnTo>
                    <a:pt x="892" y="360"/>
                  </a:lnTo>
                  <a:lnTo>
                    <a:pt x="887" y="338"/>
                  </a:lnTo>
                  <a:lnTo>
                    <a:pt x="881" y="317"/>
                  </a:lnTo>
                  <a:lnTo>
                    <a:pt x="873" y="295"/>
                  </a:lnTo>
                  <a:lnTo>
                    <a:pt x="866" y="275"/>
                  </a:lnTo>
                  <a:lnTo>
                    <a:pt x="856" y="256"/>
                  </a:lnTo>
                  <a:lnTo>
                    <a:pt x="846" y="235"/>
                  </a:lnTo>
                  <a:lnTo>
                    <a:pt x="836" y="217"/>
                  </a:lnTo>
                  <a:lnTo>
                    <a:pt x="824" y="199"/>
                  </a:lnTo>
                  <a:lnTo>
                    <a:pt x="811" y="181"/>
                  </a:lnTo>
                  <a:lnTo>
                    <a:pt x="798" y="164"/>
                  </a:lnTo>
                  <a:lnTo>
                    <a:pt x="784" y="148"/>
                  </a:lnTo>
                  <a:lnTo>
                    <a:pt x="769" y="132"/>
                  </a:lnTo>
                  <a:lnTo>
                    <a:pt x="753" y="117"/>
                  </a:lnTo>
                  <a:lnTo>
                    <a:pt x="737" y="103"/>
                  </a:lnTo>
                  <a:lnTo>
                    <a:pt x="720" y="90"/>
                  </a:lnTo>
                  <a:lnTo>
                    <a:pt x="702" y="77"/>
                  </a:lnTo>
                  <a:lnTo>
                    <a:pt x="684" y="65"/>
                  </a:lnTo>
                  <a:lnTo>
                    <a:pt x="666" y="55"/>
                  </a:lnTo>
                  <a:lnTo>
                    <a:pt x="645" y="45"/>
                  </a:lnTo>
                  <a:lnTo>
                    <a:pt x="626" y="35"/>
                  </a:lnTo>
                  <a:lnTo>
                    <a:pt x="606" y="28"/>
                  </a:lnTo>
                  <a:lnTo>
                    <a:pt x="584" y="20"/>
                  </a:lnTo>
                  <a:lnTo>
                    <a:pt x="563" y="14"/>
                  </a:lnTo>
                  <a:lnTo>
                    <a:pt x="541" y="10"/>
                  </a:lnTo>
                  <a:lnTo>
                    <a:pt x="519" y="5"/>
                  </a:lnTo>
                  <a:lnTo>
                    <a:pt x="496" y="2"/>
                  </a:lnTo>
                  <a:lnTo>
                    <a:pt x="474" y="0"/>
                  </a:lnTo>
                  <a:lnTo>
                    <a:pt x="450" y="0"/>
                  </a:lnTo>
                  <a:lnTo>
                    <a:pt x="427" y="0"/>
                  </a:lnTo>
                  <a:lnTo>
                    <a:pt x="404" y="2"/>
                  </a:lnTo>
                  <a:lnTo>
                    <a:pt x="382" y="5"/>
                  </a:lnTo>
                  <a:lnTo>
                    <a:pt x="360" y="10"/>
                  </a:lnTo>
                  <a:lnTo>
                    <a:pt x="338" y="14"/>
                  </a:lnTo>
                  <a:lnTo>
                    <a:pt x="317" y="20"/>
                  </a:lnTo>
                  <a:lnTo>
                    <a:pt x="295" y="28"/>
                  </a:lnTo>
                  <a:lnTo>
                    <a:pt x="275" y="35"/>
                  </a:lnTo>
                  <a:lnTo>
                    <a:pt x="256" y="45"/>
                  </a:lnTo>
                  <a:lnTo>
                    <a:pt x="236" y="55"/>
                  </a:lnTo>
                  <a:lnTo>
                    <a:pt x="217" y="65"/>
                  </a:lnTo>
                  <a:lnTo>
                    <a:pt x="199" y="77"/>
                  </a:lnTo>
                  <a:lnTo>
                    <a:pt x="181" y="90"/>
                  </a:lnTo>
                  <a:lnTo>
                    <a:pt x="164" y="103"/>
                  </a:lnTo>
                  <a:lnTo>
                    <a:pt x="148" y="117"/>
                  </a:lnTo>
                  <a:lnTo>
                    <a:pt x="132" y="132"/>
                  </a:lnTo>
                  <a:lnTo>
                    <a:pt x="118" y="148"/>
                  </a:lnTo>
                  <a:lnTo>
                    <a:pt x="103" y="164"/>
                  </a:lnTo>
                  <a:lnTo>
                    <a:pt x="90" y="181"/>
                  </a:lnTo>
                  <a:lnTo>
                    <a:pt x="77" y="199"/>
                  </a:lnTo>
                  <a:lnTo>
                    <a:pt x="65" y="217"/>
                  </a:lnTo>
                  <a:lnTo>
                    <a:pt x="55" y="235"/>
                  </a:lnTo>
                  <a:lnTo>
                    <a:pt x="45" y="256"/>
                  </a:lnTo>
                  <a:lnTo>
                    <a:pt x="35" y="275"/>
                  </a:lnTo>
                  <a:lnTo>
                    <a:pt x="28" y="295"/>
                  </a:lnTo>
                  <a:lnTo>
                    <a:pt x="20" y="317"/>
                  </a:lnTo>
                  <a:lnTo>
                    <a:pt x="14" y="338"/>
                  </a:lnTo>
                  <a:lnTo>
                    <a:pt x="10" y="360"/>
                  </a:lnTo>
                  <a:lnTo>
                    <a:pt x="5" y="382"/>
                  </a:lnTo>
                  <a:lnTo>
                    <a:pt x="2" y="404"/>
                  </a:lnTo>
                  <a:lnTo>
                    <a:pt x="1" y="427"/>
                  </a:lnTo>
                  <a:lnTo>
                    <a:pt x="0" y="450"/>
                  </a:lnTo>
                  <a:lnTo>
                    <a:pt x="1" y="475"/>
                  </a:lnTo>
                  <a:lnTo>
                    <a:pt x="3" y="500"/>
                  </a:lnTo>
                  <a:lnTo>
                    <a:pt x="6" y="524"/>
                  </a:lnTo>
                  <a:lnTo>
                    <a:pt x="11" y="548"/>
                  </a:lnTo>
                  <a:lnTo>
                    <a:pt x="16" y="571"/>
                  </a:lnTo>
                  <a:lnTo>
                    <a:pt x="24" y="594"/>
                  </a:lnTo>
                  <a:lnTo>
                    <a:pt x="32" y="616"/>
                  </a:lnTo>
                  <a:lnTo>
                    <a:pt x="41" y="638"/>
                  </a:lnTo>
                  <a:lnTo>
                    <a:pt x="51" y="659"/>
                  </a:lnTo>
                  <a:lnTo>
                    <a:pt x="63" y="679"/>
                  </a:lnTo>
                  <a:lnTo>
                    <a:pt x="75" y="700"/>
                  </a:lnTo>
                  <a:lnTo>
                    <a:pt x="89" y="718"/>
                  </a:lnTo>
                  <a:lnTo>
                    <a:pt x="103" y="737"/>
                  </a:lnTo>
                  <a:lnTo>
                    <a:pt x="119" y="754"/>
                  </a:lnTo>
                  <a:lnTo>
                    <a:pt x="135" y="772"/>
                  </a:lnTo>
                  <a:lnTo>
                    <a:pt x="152" y="788"/>
                  </a:lnTo>
                  <a:lnTo>
                    <a:pt x="153" y="790"/>
                  </a:lnTo>
                  <a:lnTo>
                    <a:pt x="155" y="792"/>
                  </a:lnTo>
                  <a:lnTo>
                    <a:pt x="157" y="794"/>
                  </a:lnTo>
                  <a:lnTo>
                    <a:pt x="161" y="795"/>
                  </a:lnTo>
                  <a:lnTo>
                    <a:pt x="175" y="807"/>
                  </a:lnTo>
                  <a:lnTo>
                    <a:pt x="192" y="819"/>
                  </a:lnTo>
                  <a:lnTo>
                    <a:pt x="207" y="829"/>
                  </a:lnTo>
                  <a:lnTo>
                    <a:pt x="224" y="839"/>
                  </a:lnTo>
                  <a:lnTo>
                    <a:pt x="241" y="849"/>
                  </a:lnTo>
                  <a:lnTo>
                    <a:pt x="258" y="857"/>
                  </a:lnTo>
                  <a:lnTo>
                    <a:pt x="275" y="866"/>
                  </a:lnTo>
                  <a:lnTo>
                    <a:pt x="293" y="873"/>
                  </a:lnTo>
                  <a:lnTo>
                    <a:pt x="312" y="880"/>
                  </a:lnTo>
                  <a:lnTo>
                    <a:pt x="331" y="885"/>
                  </a:lnTo>
                  <a:lnTo>
                    <a:pt x="350" y="889"/>
                  </a:lnTo>
                  <a:lnTo>
                    <a:pt x="370" y="894"/>
                  </a:lnTo>
                  <a:lnTo>
                    <a:pt x="389" y="897"/>
                  </a:lnTo>
                  <a:lnTo>
                    <a:pt x="410" y="899"/>
                  </a:lnTo>
                  <a:lnTo>
                    <a:pt x="430" y="901"/>
                  </a:lnTo>
                  <a:lnTo>
                    <a:pt x="450" y="901"/>
                  </a:lnTo>
                  <a:lnTo>
                    <a:pt x="471" y="901"/>
                  </a:lnTo>
                  <a:lnTo>
                    <a:pt x="491" y="899"/>
                  </a:lnTo>
                  <a:lnTo>
                    <a:pt x="511" y="897"/>
                  </a:lnTo>
                  <a:lnTo>
                    <a:pt x="532" y="894"/>
                  </a:lnTo>
                  <a:lnTo>
                    <a:pt x="551" y="889"/>
                  </a:lnTo>
                  <a:lnTo>
                    <a:pt x="570" y="885"/>
                  </a:lnTo>
                  <a:lnTo>
                    <a:pt x="589" y="880"/>
                  </a:lnTo>
                  <a:lnTo>
                    <a:pt x="608" y="873"/>
                  </a:lnTo>
                  <a:lnTo>
                    <a:pt x="626" y="866"/>
                  </a:lnTo>
                  <a:lnTo>
                    <a:pt x="643" y="857"/>
                  </a:lnTo>
                  <a:lnTo>
                    <a:pt x="660" y="849"/>
                  </a:lnTo>
                  <a:lnTo>
                    <a:pt x="677" y="839"/>
                  </a:lnTo>
                  <a:lnTo>
                    <a:pt x="694" y="829"/>
                  </a:lnTo>
                  <a:lnTo>
                    <a:pt x="710" y="819"/>
                  </a:lnTo>
                  <a:lnTo>
                    <a:pt x="725" y="807"/>
                  </a:lnTo>
                  <a:lnTo>
                    <a:pt x="740" y="795"/>
                  </a:lnTo>
                  <a:lnTo>
                    <a:pt x="744" y="794"/>
                  </a:lnTo>
                  <a:lnTo>
                    <a:pt x="746" y="792"/>
                  </a:lnTo>
                  <a:lnTo>
                    <a:pt x="748" y="790"/>
                  </a:lnTo>
                  <a:lnTo>
                    <a:pt x="749" y="788"/>
                  </a:lnTo>
                  <a:lnTo>
                    <a:pt x="766" y="772"/>
                  </a:lnTo>
                  <a:lnTo>
                    <a:pt x="782" y="754"/>
                  </a:lnTo>
                  <a:lnTo>
                    <a:pt x="798" y="737"/>
                  </a:lnTo>
                  <a:lnTo>
                    <a:pt x="812" y="718"/>
                  </a:lnTo>
                  <a:lnTo>
                    <a:pt x="826" y="700"/>
                  </a:lnTo>
                  <a:lnTo>
                    <a:pt x="838" y="679"/>
                  </a:lnTo>
                  <a:lnTo>
                    <a:pt x="850" y="659"/>
                  </a:lnTo>
                  <a:lnTo>
                    <a:pt x="860" y="638"/>
                  </a:lnTo>
                  <a:lnTo>
                    <a:pt x="869" y="616"/>
                  </a:lnTo>
                  <a:lnTo>
                    <a:pt x="877" y="594"/>
                  </a:lnTo>
                  <a:lnTo>
                    <a:pt x="885" y="571"/>
                  </a:lnTo>
                  <a:lnTo>
                    <a:pt x="890" y="548"/>
                  </a:lnTo>
                  <a:lnTo>
                    <a:pt x="895" y="524"/>
                  </a:lnTo>
                  <a:lnTo>
                    <a:pt x="899" y="500"/>
                  </a:lnTo>
                  <a:lnTo>
                    <a:pt x="900" y="475"/>
                  </a:lnTo>
                  <a:lnTo>
                    <a:pt x="901" y="450"/>
                  </a:lnTo>
                  <a:lnTo>
                    <a:pt x="901"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9">
              <a:extLst>
                <a:ext uri="{FF2B5EF4-FFF2-40B4-BE49-F238E27FC236}">
                  <a16:creationId xmlns:a16="http://schemas.microsoft.com/office/drawing/2014/main" id="{705EB0FA-A4BA-4C53-9BE3-996D0B50BC26}"/>
                </a:ext>
              </a:extLst>
            </p:cNvPr>
            <p:cNvSpPr>
              <a:spLocks/>
            </p:cNvSpPr>
            <p:nvPr/>
          </p:nvSpPr>
          <p:spPr bwMode="auto">
            <a:xfrm>
              <a:off x="376238" y="4310063"/>
              <a:ext cx="57150" cy="33338"/>
            </a:xfrm>
            <a:custGeom>
              <a:avLst/>
              <a:gdLst>
                <a:gd name="T0" fmla="*/ 99 w 181"/>
                <a:gd name="T1" fmla="*/ 103 h 105"/>
                <a:gd name="T2" fmla="*/ 117 w 181"/>
                <a:gd name="T3" fmla="*/ 100 h 105"/>
                <a:gd name="T4" fmla="*/ 133 w 181"/>
                <a:gd name="T5" fmla="*/ 94 h 105"/>
                <a:gd name="T6" fmla="*/ 148 w 181"/>
                <a:gd name="T7" fmla="*/ 84 h 105"/>
                <a:gd name="T8" fmla="*/ 160 w 181"/>
                <a:gd name="T9" fmla="*/ 71 h 105"/>
                <a:gd name="T10" fmla="*/ 170 w 181"/>
                <a:gd name="T11" fmla="*/ 57 h 105"/>
                <a:gd name="T12" fmla="*/ 176 w 181"/>
                <a:gd name="T13" fmla="*/ 41 h 105"/>
                <a:gd name="T14" fmla="*/ 180 w 181"/>
                <a:gd name="T15" fmla="*/ 23 h 105"/>
                <a:gd name="T16" fmla="*/ 181 w 181"/>
                <a:gd name="T17" fmla="*/ 11 h 105"/>
                <a:gd name="T18" fmla="*/ 177 w 181"/>
                <a:gd name="T19" fmla="*/ 6 h 105"/>
                <a:gd name="T20" fmla="*/ 174 w 181"/>
                <a:gd name="T21" fmla="*/ 2 h 105"/>
                <a:gd name="T22" fmla="*/ 169 w 181"/>
                <a:gd name="T23" fmla="*/ 0 h 105"/>
                <a:gd name="T24" fmla="*/ 162 w 181"/>
                <a:gd name="T25" fmla="*/ 0 h 105"/>
                <a:gd name="T26" fmla="*/ 157 w 181"/>
                <a:gd name="T27" fmla="*/ 2 h 105"/>
                <a:gd name="T28" fmla="*/ 153 w 181"/>
                <a:gd name="T29" fmla="*/ 6 h 105"/>
                <a:gd name="T30" fmla="*/ 151 w 181"/>
                <a:gd name="T31" fmla="*/ 11 h 105"/>
                <a:gd name="T32" fmla="*/ 151 w 181"/>
                <a:gd name="T33" fmla="*/ 20 h 105"/>
                <a:gd name="T34" fmla="*/ 147 w 181"/>
                <a:gd name="T35" fmla="*/ 32 h 105"/>
                <a:gd name="T36" fmla="*/ 143 w 181"/>
                <a:gd name="T37" fmla="*/ 44 h 105"/>
                <a:gd name="T38" fmla="*/ 137 w 181"/>
                <a:gd name="T39" fmla="*/ 53 h 105"/>
                <a:gd name="T40" fmla="*/ 129 w 181"/>
                <a:gd name="T41" fmla="*/ 61 h 105"/>
                <a:gd name="T42" fmla="*/ 120 w 181"/>
                <a:gd name="T43" fmla="*/ 67 h 105"/>
                <a:gd name="T44" fmla="*/ 109 w 181"/>
                <a:gd name="T45" fmla="*/ 71 h 105"/>
                <a:gd name="T46" fmla="*/ 96 w 181"/>
                <a:gd name="T47" fmla="*/ 74 h 105"/>
                <a:gd name="T48" fmla="*/ 84 w 181"/>
                <a:gd name="T49" fmla="*/ 74 h 105"/>
                <a:gd name="T50" fmla="*/ 73 w 181"/>
                <a:gd name="T51" fmla="*/ 71 h 105"/>
                <a:gd name="T52" fmla="*/ 62 w 181"/>
                <a:gd name="T53" fmla="*/ 67 h 105"/>
                <a:gd name="T54" fmla="*/ 52 w 181"/>
                <a:gd name="T55" fmla="*/ 61 h 105"/>
                <a:gd name="T56" fmla="*/ 44 w 181"/>
                <a:gd name="T57" fmla="*/ 52 h 105"/>
                <a:gd name="T58" fmla="*/ 37 w 181"/>
                <a:gd name="T59" fmla="*/ 44 h 105"/>
                <a:gd name="T60" fmla="*/ 33 w 181"/>
                <a:gd name="T61" fmla="*/ 32 h 105"/>
                <a:gd name="T62" fmla="*/ 31 w 181"/>
                <a:gd name="T63" fmla="*/ 20 h 105"/>
                <a:gd name="T64" fmla="*/ 30 w 181"/>
                <a:gd name="T65" fmla="*/ 11 h 105"/>
                <a:gd name="T66" fmla="*/ 28 w 181"/>
                <a:gd name="T67" fmla="*/ 6 h 105"/>
                <a:gd name="T68" fmla="*/ 23 w 181"/>
                <a:gd name="T69" fmla="*/ 2 h 105"/>
                <a:gd name="T70" fmla="*/ 18 w 181"/>
                <a:gd name="T71" fmla="*/ 0 h 105"/>
                <a:gd name="T72" fmla="*/ 13 w 181"/>
                <a:gd name="T73" fmla="*/ 0 h 105"/>
                <a:gd name="T74" fmla="*/ 7 w 181"/>
                <a:gd name="T75" fmla="*/ 2 h 105"/>
                <a:gd name="T76" fmla="*/ 3 w 181"/>
                <a:gd name="T77" fmla="*/ 6 h 105"/>
                <a:gd name="T78" fmla="*/ 1 w 181"/>
                <a:gd name="T79" fmla="*/ 11 h 105"/>
                <a:gd name="T80" fmla="*/ 1 w 181"/>
                <a:gd name="T81" fmla="*/ 23 h 105"/>
                <a:gd name="T82" fmla="*/ 4 w 181"/>
                <a:gd name="T83" fmla="*/ 41 h 105"/>
                <a:gd name="T84" fmla="*/ 10 w 181"/>
                <a:gd name="T85" fmla="*/ 57 h 105"/>
                <a:gd name="T86" fmla="*/ 20 w 181"/>
                <a:gd name="T87" fmla="*/ 71 h 105"/>
                <a:gd name="T88" fmla="*/ 33 w 181"/>
                <a:gd name="T89" fmla="*/ 84 h 105"/>
                <a:gd name="T90" fmla="*/ 47 w 181"/>
                <a:gd name="T91" fmla="*/ 94 h 105"/>
                <a:gd name="T92" fmla="*/ 63 w 181"/>
                <a:gd name="T93" fmla="*/ 100 h 105"/>
                <a:gd name="T94" fmla="*/ 81 w 181"/>
                <a:gd name="T9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91" y="105"/>
                  </a:moveTo>
                  <a:lnTo>
                    <a:pt x="99" y="103"/>
                  </a:lnTo>
                  <a:lnTo>
                    <a:pt x="109" y="102"/>
                  </a:lnTo>
                  <a:lnTo>
                    <a:pt x="117" y="100"/>
                  </a:lnTo>
                  <a:lnTo>
                    <a:pt x="126" y="97"/>
                  </a:lnTo>
                  <a:lnTo>
                    <a:pt x="133" y="94"/>
                  </a:lnTo>
                  <a:lnTo>
                    <a:pt x="141" y="90"/>
                  </a:lnTo>
                  <a:lnTo>
                    <a:pt x="148" y="84"/>
                  </a:lnTo>
                  <a:lnTo>
                    <a:pt x="154" y="78"/>
                  </a:lnTo>
                  <a:lnTo>
                    <a:pt x="160" y="71"/>
                  </a:lnTo>
                  <a:lnTo>
                    <a:pt x="166" y="65"/>
                  </a:lnTo>
                  <a:lnTo>
                    <a:pt x="170" y="57"/>
                  </a:lnTo>
                  <a:lnTo>
                    <a:pt x="173" y="50"/>
                  </a:lnTo>
                  <a:lnTo>
                    <a:pt x="176" y="41"/>
                  </a:lnTo>
                  <a:lnTo>
                    <a:pt x="178" y="33"/>
                  </a:lnTo>
                  <a:lnTo>
                    <a:pt x="180" y="23"/>
                  </a:lnTo>
                  <a:lnTo>
                    <a:pt x="181" y="15"/>
                  </a:lnTo>
                  <a:lnTo>
                    <a:pt x="181" y="11"/>
                  </a:lnTo>
                  <a:lnTo>
                    <a:pt x="180" y="8"/>
                  </a:lnTo>
                  <a:lnTo>
                    <a:pt x="177" y="6"/>
                  </a:lnTo>
                  <a:lnTo>
                    <a:pt x="176" y="4"/>
                  </a:lnTo>
                  <a:lnTo>
                    <a:pt x="174" y="2"/>
                  </a:lnTo>
                  <a:lnTo>
                    <a:pt x="171" y="1"/>
                  </a:lnTo>
                  <a:lnTo>
                    <a:pt x="169" y="0"/>
                  </a:lnTo>
                  <a:lnTo>
                    <a:pt x="166" y="0"/>
                  </a:lnTo>
                  <a:lnTo>
                    <a:pt x="162" y="0"/>
                  </a:lnTo>
                  <a:lnTo>
                    <a:pt x="159" y="1"/>
                  </a:lnTo>
                  <a:lnTo>
                    <a:pt x="157" y="2"/>
                  </a:lnTo>
                  <a:lnTo>
                    <a:pt x="155" y="4"/>
                  </a:lnTo>
                  <a:lnTo>
                    <a:pt x="153" y="6"/>
                  </a:lnTo>
                  <a:lnTo>
                    <a:pt x="152" y="8"/>
                  </a:lnTo>
                  <a:lnTo>
                    <a:pt x="151" y="11"/>
                  </a:lnTo>
                  <a:lnTo>
                    <a:pt x="151" y="15"/>
                  </a:lnTo>
                  <a:lnTo>
                    <a:pt x="151" y="20"/>
                  </a:lnTo>
                  <a:lnTo>
                    <a:pt x="150" y="26"/>
                  </a:lnTo>
                  <a:lnTo>
                    <a:pt x="147" y="32"/>
                  </a:lnTo>
                  <a:lnTo>
                    <a:pt x="145" y="38"/>
                  </a:lnTo>
                  <a:lnTo>
                    <a:pt x="143" y="44"/>
                  </a:lnTo>
                  <a:lnTo>
                    <a:pt x="140" y="48"/>
                  </a:lnTo>
                  <a:lnTo>
                    <a:pt x="137" y="53"/>
                  </a:lnTo>
                  <a:lnTo>
                    <a:pt x="133" y="56"/>
                  </a:lnTo>
                  <a:lnTo>
                    <a:pt x="129" y="61"/>
                  </a:lnTo>
                  <a:lnTo>
                    <a:pt x="124" y="64"/>
                  </a:lnTo>
                  <a:lnTo>
                    <a:pt x="120" y="67"/>
                  </a:lnTo>
                  <a:lnTo>
                    <a:pt x="114" y="69"/>
                  </a:lnTo>
                  <a:lnTo>
                    <a:pt x="109" y="71"/>
                  </a:lnTo>
                  <a:lnTo>
                    <a:pt x="102" y="74"/>
                  </a:lnTo>
                  <a:lnTo>
                    <a:pt x="96" y="74"/>
                  </a:lnTo>
                  <a:lnTo>
                    <a:pt x="91" y="75"/>
                  </a:lnTo>
                  <a:lnTo>
                    <a:pt x="84" y="74"/>
                  </a:lnTo>
                  <a:lnTo>
                    <a:pt x="78" y="74"/>
                  </a:lnTo>
                  <a:lnTo>
                    <a:pt x="73" y="71"/>
                  </a:lnTo>
                  <a:lnTo>
                    <a:pt x="67" y="69"/>
                  </a:lnTo>
                  <a:lnTo>
                    <a:pt x="62" y="67"/>
                  </a:lnTo>
                  <a:lnTo>
                    <a:pt x="56" y="64"/>
                  </a:lnTo>
                  <a:lnTo>
                    <a:pt x="52" y="61"/>
                  </a:lnTo>
                  <a:lnTo>
                    <a:pt x="48" y="56"/>
                  </a:lnTo>
                  <a:lnTo>
                    <a:pt x="44" y="52"/>
                  </a:lnTo>
                  <a:lnTo>
                    <a:pt x="40" y="48"/>
                  </a:lnTo>
                  <a:lnTo>
                    <a:pt x="37" y="44"/>
                  </a:lnTo>
                  <a:lnTo>
                    <a:pt x="35" y="38"/>
                  </a:lnTo>
                  <a:lnTo>
                    <a:pt x="33" y="32"/>
                  </a:lnTo>
                  <a:lnTo>
                    <a:pt x="32" y="26"/>
                  </a:lnTo>
                  <a:lnTo>
                    <a:pt x="31" y="20"/>
                  </a:lnTo>
                  <a:lnTo>
                    <a:pt x="31" y="15"/>
                  </a:lnTo>
                  <a:lnTo>
                    <a:pt x="30" y="11"/>
                  </a:lnTo>
                  <a:lnTo>
                    <a:pt x="29" y="8"/>
                  </a:lnTo>
                  <a:lnTo>
                    <a:pt x="28" y="6"/>
                  </a:lnTo>
                  <a:lnTo>
                    <a:pt x="25" y="4"/>
                  </a:lnTo>
                  <a:lnTo>
                    <a:pt x="23" y="2"/>
                  </a:lnTo>
                  <a:lnTo>
                    <a:pt x="21" y="1"/>
                  </a:lnTo>
                  <a:lnTo>
                    <a:pt x="18" y="0"/>
                  </a:lnTo>
                  <a:lnTo>
                    <a:pt x="15" y="0"/>
                  </a:lnTo>
                  <a:lnTo>
                    <a:pt x="13" y="0"/>
                  </a:lnTo>
                  <a:lnTo>
                    <a:pt x="9" y="1"/>
                  </a:lnTo>
                  <a:lnTo>
                    <a:pt x="7" y="2"/>
                  </a:lnTo>
                  <a:lnTo>
                    <a:pt x="5" y="4"/>
                  </a:lnTo>
                  <a:lnTo>
                    <a:pt x="3" y="6"/>
                  </a:lnTo>
                  <a:lnTo>
                    <a:pt x="2" y="8"/>
                  </a:lnTo>
                  <a:lnTo>
                    <a:pt x="1" y="11"/>
                  </a:lnTo>
                  <a:lnTo>
                    <a:pt x="0" y="15"/>
                  </a:lnTo>
                  <a:lnTo>
                    <a:pt x="1" y="23"/>
                  </a:lnTo>
                  <a:lnTo>
                    <a:pt x="2" y="33"/>
                  </a:lnTo>
                  <a:lnTo>
                    <a:pt x="4" y="41"/>
                  </a:lnTo>
                  <a:lnTo>
                    <a:pt x="7" y="50"/>
                  </a:lnTo>
                  <a:lnTo>
                    <a:pt x="10" y="57"/>
                  </a:lnTo>
                  <a:lnTo>
                    <a:pt x="16" y="65"/>
                  </a:lnTo>
                  <a:lnTo>
                    <a:pt x="20" y="71"/>
                  </a:lnTo>
                  <a:lnTo>
                    <a:pt x="26" y="78"/>
                  </a:lnTo>
                  <a:lnTo>
                    <a:pt x="33" y="84"/>
                  </a:lnTo>
                  <a:lnTo>
                    <a:pt x="39" y="90"/>
                  </a:lnTo>
                  <a:lnTo>
                    <a:pt x="47" y="94"/>
                  </a:lnTo>
                  <a:lnTo>
                    <a:pt x="55" y="97"/>
                  </a:lnTo>
                  <a:lnTo>
                    <a:pt x="63" y="100"/>
                  </a:lnTo>
                  <a:lnTo>
                    <a:pt x="71" y="102"/>
                  </a:lnTo>
                  <a:lnTo>
                    <a:pt x="81" y="103"/>
                  </a:lnTo>
                  <a:lnTo>
                    <a:pt x="9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20">
              <a:extLst>
                <a:ext uri="{FF2B5EF4-FFF2-40B4-BE49-F238E27FC236}">
                  <a16:creationId xmlns:a16="http://schemas.microsoft.com/office/drawing/2014/main" id="{9020F68D-26F3-4853-BA12-57481009BD32}"/>
                </a:ext>
              </a:extLst>
            </p:cNvPr>
            <p:cNvSpPr>
              <a:spLocks/>
            </p:cNvSpPr>
            <p:nvPr/>
          </p:nvSpPr>
          <p:spPr bwMode="auto">
            <a:xfrm>
              <a:off x="481013" y="4310063"/>
              <a:ext cx="57150" cy="33338"/>
            </a:xfrm>
            <a:custGeom>
              <a:avLst/>
              <a:gdLst>
                <a:gd name="T0" fmla="*/ 100 w 181"/>
                <a:gd name="T1" fmla="*/ 103 h 105"/>
                <a:gd name="T2" fmla="*/ 118 w 181"/>
                <a:gd name="T3" fmla="*/ 100 h 105"/>
                <a:gd name="T4" fmla="*/ 134 w 181"/>
                <a:gd name="T5" fmla="*/ 94 h 105"/>
                <a:gd name="T6" fmla="*/ 148 w 181"/>
                <a:gd name="T7" fmla="*/ 84 h 105"/>
                <a:gd name="T8" fmla="*/ 161 w 181"/>
                <a:gd name="T9" fmla="*/ 71 h 105"/>
                <a:gd name="T10" fmla="*/ 171 w 181"/>
                <a:gd name="T11" fmla="*/ 57 h 105"/>
                <a:gd name="T12" fmla="*/ 177 w 181"/>
                <a:gd name="T13" fmla="*/ 41 h 105"/>
                <a:gd name="T14" fmla="*/ 180 w 181"/>
                <a:gd name="T15" fmla="*/ 23 h 105"/>
                <a:gd name="T16" fmla="*/ 180 w 181"/>
                <a:gd name="T17" fmla="*/ 11 h 105"/>
                <a:gd name="T18" fmla="*/ 178 w 181"/>
                <a:gd name="T19" fmla="*/ 6 h 105"/>
                <a:gd name="T20" fmla="*/ 174 w 181"/>
                <a:gd name="T21" fmla="*/ 2 h 105"/>
                <a:gd name="T22" fmla="*/ 168 w 181"/>
                <a:gd name="T23" fmla="*/ 0 h 105"/>
                <a:gd name="T24" fmla="*/ 163 w 181"/>
                <a:gd name="T25" fmla="*/ 0 h 105"/>
                <a:gd name="T26" fmla="*/ 158 w 181"/>
                <a:gd name="T27" fmla="*/ 2 h 105"/>
                <a:gd name="T28" fmla="*/ 153 w 181"/>
                <a:gd name="T29" fmla="*/ 6 h 105"/>
                <a:gd name="T30" fmla="*/ 151 w 181"/>
                <a:gd name="T31" fmla="*/ 11 h 105"/>
                <a:gd name="T32" fmla="*/ 150 w 181"/>
                <a:gd name="T33" fmla="*/ 20 h 105"/>
                <a:gd name="T34" fmla="*/ 148 w 181"/>
                <a:gd name="T35" fmla="*/ 32 h 105"/>
                <a:gd name="T36" fmla="*/ 144 w 181"/>
                <a:gd name="T37" fmla="*/ 44 h 105"/>
                <a:gd name="T38" fmla="*/ 137 w 181"/>
                <a:gd name="T39" fmla="*/ 53 h 105"/>
                <a:gd name="T40" fmla="*/ 129 w 181"/>
                <a:gd name="T41" fmla="*/ 61 h 105"/>
                <a:gd name="T42" fmla="*/ 119 w 181"/>
                <a:gd name="T43" fmla="*/ 67 h 105"/>
                <a:gd name="T44" fmla="*/ 108 w 181"/>
                <a:gd name="T45" fmla="*/ 71 h 105"/>
                <a:gd name="T46" fmla="*/ 97 w 181"/>
                <a:gd name="T47" fmla="*/ 74 h 105"/>
                <a:gd name="T48" fmla="*/ 85 w 181"/>
                <a:gd name="T49" fmla="*/ 74 h 105"/>
                <a:gd name="T50" fmla="*/ 73 w 181"/>
                <a:gd name="T51" fmla="*/ 71 h 105"/>
                <a:gd name="T52" fmla="*/ 61 w 181"/>
                <a:gd name="T53" fmla="*/ 67 h 105"/>
                <a:gd name="T54" fmla="*/ 53 w 181"/>
                <a:gd name="T55" fmla="*/ 61 h 105"/>
                <a:gd name="T56" fmla="*/ 44 w 181"/>
                <a:gd name="T57" fmla="*/ 52 h 105"/>
                <a:gd name="T58" fmla="*/ 38 w 181"/>
                <a:gd name="T59" fmla="*/ 44 h 105"/>
                <a:gd name="T60" fmla="*/ 34 w 181"/>
                <a:gd name="T61" fmla="*/ 32 h 105"/>
                <a:gd name="T62" fmla="*/ 31 w 181"/>
                <a:gd name="T63" fmla="*/ 20 h 105"/>
                <a:gd name="T64" fmla="*/ 30 w 181"/>
                <a:gd name="T65" fmla="*/ 11 h 105"/>
                <a:gd name="T66" fmla="*/ 28 w 181"/>
                <a:gd name="T67" fmla="*/ 6 h 105"/>
                <a:gd name="T68" fmla="*/ 24 w 181"/>
                <a:gd name="T69" fmla="*/ 2 h 105"/>
                <a:gd name="T70" fmla="*/ 19 w 181"/>
                <a:gd name="T71" fmla="*/ 0 h 105"/>
                <a:gd name="T72" fmla="*/ 12 w 181"/>
                <a:gd name="T73" fmla="*/ 0 h 105"/>
                <a:gd name="T74" fmla="*/ 7 w 181"/>
                <a:gd name="T75" fmla="*/ 2 h 105"/>
                <a:gd name="T76" fmla="*/ 4 w 181"/>
                <a:gd name="T77" fmla="*/ 6 h 105"/>
                <a:gd name="T78" fmla="*/ 0 w 181"/>
                <a:gd name="T79" fmla="*/ 11 h 105"/>
                <a:gd name="T80" fmla="*/ 1 w 181"/>
                <a:gd name="T81" fmla="*/ 23 h 105"/>
                <a:gd name="T82" fmla="*/ 5 w 181"/>
                <a:gd name="T83" fmla="*/ 41 h 105"/>
                <a:gd name="T84" fmla="*/ 11 w 181"/>
                <a:gd name="T85" fmla="*/ 57 h 105"/>
                <a:gd name="T86" fmla="*/ 21 w 181"/>
                <a:gd name="T87" fmla="*/ 71 h 105"/>
                <a:gd name="T88" fmla="*/ 34 w 181"/>
                <a:gd name="T89" fmla="*/ 84 h 105"/>
                <a:gd name="T90" fmla="*/ 47 w 181"/>
                <a:gd name="T91" fmla="*/ 94 h 105"/>
                <a:gd name="T92" fmla="*/ 64 w 181"/>
                <a:gd name="T93" fmla="*/ 100 h 105"/>
                <a:gd name="T94" fmla="*/ 82 w 181"/>
                <a:gd name="T9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90" y="105"/>
                  </a:moveTo>
                  <a:lnTo>
                    <a:pt x="100" y="103"/>
                  </a:lnTo>
                  <a:lnTo>
                    <a:pt x="110" y="102"/>
                  </a:lnTo>
                  <a:lnTo>
                    <a:pt x="118" y="100"/>
                  </a:lnTo>
                  <a:lnTo>
                    <a:pt x="126" y="97"/>
                  </a:lnTo>
                  <a:lnTo>
                    <a:pt x="134" y="94"/>
                  </a:lnTo>
                  <a:lnTo>
                    <a:pt x="142" y="90"/>
                  </a:lnTo>
                  <a:lnTo>
                    <a:pt x="148" y="84"/>
                  </a:lnTo>
                  <a:lnTo>
                    <a:pt x="154" y="78"/>
                  </a:lnTo>
                  <a:lnTo>
                    <a:pt x="161" y="71"/>
                  </a:lnTo>
                  <a:lnTo>
                    <a:pt x="165" y="65"/>
                  </a:lnTo>
                  <a:lnTo>
                    <a:pt x="171" y="57"/>
                  </a:lnTo>
                  <a:lnTo>
                    <a:pt x="174" y="50"/>
                  </a:lnTo>
                  <a:lnTo>
                    <a:pt x="177" y="41"/>
                  </a:lnTo>
                  <a:lnTo>
                    <a:pt x="179" y="33"/>
                  </a:lnTo>
                  <a:lnTo>
                    <a:pt x="180" y="23"/>
                  </a:lnTo>
                  <a:lnTo>
                    <a:pt x="181" y="15"/>
                  </a:lnTo>
                  <a:lnTo>
                    <a:pt x="180" y="11"/>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1"/>
                  </a:lnTo>
                  <a:lnTo>
                    <a:pt x="151" y="15"/>
                  </a:lnTo>
                  <a:lnTo>
                    <a:pt x="150" y="20"/>
                  </a:lnTo>
                  <a:lnTo>
                    <a:pt x="149" y="26"/>
                  </a:lnTo>
                  <a:lnTo>
                    <a:pt x="148" y="32"/>
                  </a:lnTo>
                  <a:lnTo>
                    <a:pt x="146" y="38"/>
                  </a:lnTo>
                  <a:lnTo>
                    <a:pt x="144" y="44"/>
                  </a:lnTo>
                  <a:lnTo>
                    <a:pt x="141" y="48"/>
                  </a:lnTo>
                  <a:lnTo>
                    <a:pt x="137" y="53"/>
                  </a:lnTo>
                  <a:lnTo>
                    <a:pt x="133" y="56"/>
                  </a:lnTo>
                  <a:lnTo>
                    <a:pt x="129" y="61"/>
                  </a:lnTo>
                  <a:lnTo>
                    <a:pt x="124" y="64"/>
                  </a:lnTo>
                  <a:lnTo>
                    <a:pt x="119" y="67"/>
                  </a:lnTo>
                  <a:lnTo>
                    <a:pt x="114" y="69"/>
                  </a:lnTo>
                  <a:lnTo>
                    <a:pt x="108" y="71"/>
                  </a:lnTo>
                  <a:lnTo>
                    <a:pt x="103" y="74"/>
                  </a:lnTo>
                  <a:lnTo>
                    <a:pt x="97" y="74"/>
                  </a:lnTo>
                  <a:lnTo>
                    <a:pt x="90" y="75"/>
                  </a:lnTo>
                  <a:lnTo>
                    <a:pt x="85" y="74"/>
                  </a:lnTo>
                  <a:lnTo>
                    <a:pt x="78" y="74"/>
                  </a:lnTo>
                  <a:lnTo>
                    <a:pt x="73" y="71"/>
                  </a:lnTo>
                  <a:lnTo>
                    <a:pt x="67" y="69"/>
                  </a:lnTo>
                  <a:lnTo>
                    <a:pt x="61" y="67"/>
                  </a:lnTo>
                  <a:lnTo>
                    <a:pt x="57" y="64"/>
                  </a:lnTo>
                  <a:lnTo>
                    <a:pt x="53" y="61"/>
                  </a:lnTo>
                  <a:lnTo>
                    <a:pt x="49" y="56"/>
                  </a:lnTo>
                  <a:lnTo>
                    <a:pt x="44" y="52"/>
                  </a:lnTo>
                  <a:lnTo>
                    <a:pt x="41" y="48"/>
                  </a:lnTo>
                  <a:lnTo>
                    <a:pt x="38" y="44"/>
                  </a:lnTo>
                  <a:lnTo>
                    <a:pt x="36" y="38"/>
                  </a:lnTo>
                  <a:lnTo>
                    <a:pt x="34" y="32"/>
                  </a:lnTo>
                  <a:lnTo>
                    <a:pt x="31" y="26"/>
                  </a:lnTo>
                  <a:lnTo>
                    <a:pt x="31" y="20"/>
                  </a:lnTo>
                  <a:lnTo>
                    <a:pt x="30" y="15"/>
                  </a:lnTo>
                  <a:lnTo>
                    <a:pt x="30" y="11"/>
                  </a:lnTo>
                  <a:lnTo>
                    <a:pt x="29" y="8"/>
                  </a:lnTo>
                  <a:lnTo>
                    <a:pt x="28" y="6"/>
                  </a:lnTo>
                  <a:lnTo>
                    <a:pt x="26" y="4"/>
                  </a:lnTo>
                  <a:lnTo>
                    <a:pt x="24" y="2"/>
                  </a:lnTo>
                  <a:lnTo>
                    <a:pt x="22" y="1"/>
                  </a:lnTo>
                  <a:lnTo>
                    <a:pt x="19" y="0"/>
                  </a:lnTo>
                  <a:lnTo>
                    <a:pt x="15" y="0"/>
                  </a:lnTo>
                  <a:lnTo>
                    <a:pt x="12" y="0"/>
                  </a:lnTo>
                  <a:lnTo>
                    <a:pt x="10" y="1"/>
                  </a:lnTo>
                  <a:lnTo>
                    <a:pt x="7" y="2"/>
                  </a:lnTo>
                  <a:lnTo>
                    <a:pt x="5" y="4"/>
                  </a:lnTo>
                  <a:lnTo>
                    <a:pt x="4" y="6"/>
                  </a:lnTo>
                  <a:lnTo>
                    <a:pt x="1" y="8"/>
                  </a:lnTo>
                  <a:lnTo>
                    <a:pt x="0" y="11"/>
                  </a:lnTo>
                  <a:lnTo>
                    <a:pt x="0" y="15"/>
                  </a:lnTo>
                  <a:lnTo>
                    <a:pt x="1" y="23"/>
                  </a:lnTo>
                  <a:lnTo>
                    <a:pt x="3" y="33"/>
                  </a:lnTo>
                  <a:lnTo>
                    <a:pt x="5" y="41"/>
                  </a:lnTo>
                  <a:lnTo>
                    <a:pt x="8" y="50"/>
                  </a:lnTo>
                  <a:lnTo>
                    <a:pt x="11" y="57"/>
                  </a:lnTo>
                  <a:lnTo>
                    <a:pt x="15" y="65"/>
                  </a:lnTo>
                  <a:lnTo>
                    <a:pt x="21" y="71"/>
                  </a:lnTo>
                  <a:lnTo>
                    <a:pt x="27" y="78"/>
                  </a:lnTo>
                  <a:lnTo>
                    <a:pt x="34" y="84"/>
                  </a:lnTo>
                  <a:lnTo>
                    <a:pt x="40" y="90"/>
                  </a:lnTo>
                  <a:lnTo>
                    <a:pt x="47" y="94"/>
                  </a:lnTo>
                  <a:lnTo>
                    <a:pt x="55" y="97"/>
                  </a:lnTo>
                  <a:lnTo>
                    <a:pt x="64" y="100"/>
                  </a:lnTo>
                  <a:lnTo>
                    <a:pt x="72" y="102"/>
                  </a:lnTo>
                  <a:lnTo>
                    <a:pt x="82" y="103"/>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1" name="Group 42">
            <a:extLst>
              <a:ext uri="{FF2B5EF4-FFF2-40B4-BE49-F238E27FC236}">
                <a16:creationId xmlns:a16="http://schemas.microsoft.com/office/drawing/2014/main" id="{BA1E713E-73EC-4BF3-9AC8-D98844B0A4E8}"/>
              </a:ext>
            </a:extLst>
          </p:cNvPr>
          <p:cNvGrpSpPr>
            <a:grpSpLocks noChangeAspect="1"/>
          </p:cNvGrpSpPr>
          <p:nvPr/>
        </p:nvGrpSpPr>
        <p:grpSpPr>
          <a:xfrm>
            <a:off x="1516924" y="5417577"/>
            <a:ext cx="209454" cy="285619"/>
            <a:chOff x="2081213" y="2497138"/>
            <a:chExt cx="209550" cy="285750"/>
          </a:xfrm>
          <a:solidFill>
            <a:schemeClr val="bg2"/>
          </a:solidFill>
          <a:effectLst/>
        </p:grpSpPr>
        <p:sp>
          <p:nvSpPr>
            <p:cNvPr id="472" name="Freeform 78">
              <a:extLst>
                <a:ext uri="{FF2B5EF4-FFF2-40B4-BE49-F238E27FC236}">
                  <a16:creationId xmlns:a16="http://schemas.microsoft.com/office/drawing/2014/main" id="{881CEC1C-F49F-42F5-BD78-A9DE55C4AE62}"/>
                </a:ext>
              </a:extLst>
            </p:cNvPr>
            <p:cNvSpPr>
              <a:spLocks noEditPoints="1"/>
            </p:cNvSpPr>
            <p:nvPr/>
          </p:nvSpPr>
          <p:spPr bwMode="auto">
            <a:xfrm>
              <a:off x="2119313" y="2530475"/>
              <a:ext cx="133350" cy="133350"/>
            </a:xfrm>
            <a:custGeom>
              <a:avLst/>
              <a:gdLst>
                <a:gd name="T0" fmla="*/ 273 w 420"/>
                <a:gd name="T1" fmla="*/ 231 h 420"/>
                <a:gd name="T2" fmla="*/ 270 w 420"/>
                <a:gd name="T3" fmla="*/ 240 h 420"/>
                <a:gd name="T4" fmla="*/ 313 w 420"/>
                <a:gd name="T5" fmla="*/ 361 h 420"/>
                <a:gd name="T6" fmla="*/ 215 w 420"/>
                <a:gd name="T7" fmla="*/ 286 h 420"/>
                <a:gd name="T8" fmla="*/ 206 w 420"/>
                <a:gd name="T9" fmla="*/ 286 h 420"/>
                <a:gd name="T10" fmla="*/ 107 w 420"/>
                <a:gd name="T11" fmla="*/ 361 h 420"/>
                <a:gd name="T12" fmla="*/ 150 w 420"/>
                <a:gd name="T13" fmla="*/ 240 h 420"/>
                <a:gd name="T14" fmla="*/ 148 w 420"/>
                <a:gd name="T15" fmla="*/ 231 h 420"/>
                <a:gd name="T16" fmla="*/ 60 w 420"/>
                <a:gd name="T17" fmla="*/ 165 h 420"/>
                <a:gd name="T18" fmla="*/ 170 w 420"/>
                <a:gd name="T19" fmla="*/ 164 h 420"/>
                <a:gd name="T20" fmla="*/ 177 w 420"/>
                <a:gd name="T21" fmla="*/ 159 h 420"/>
                <a:gd name="T22" fmla="*/ 210 w 420"/>
                <a:gd name="T23" fmla="*/ 62 h 420"/>
                <a:gd name="T24" fmla="*/ 243 w 420"/>
                <a:gd name="T25" fmla="*/ 159 h 420"/>
                <a:gd name="T26" fmla="*/ 251 w 420"/>
                <a:gd name="T27" fmla="*/ 164 h 420"/>
                <a:gd name="T28" fmla="*/ 360 w 420"/>
                <a:gd name="T29" fmla="*/ 165 h 420"/>
                <a:gd name="T30" fmla="*/ 405 w 420"/>
                <a:gd name="T31" fmla="*/ 135 h 420"/>
                <a:gd name="T32" fmla="*/ 225 w 420"/>
                <a:gd name="T33" fmla="*/ 10 h 420"/>
                <a:gd name="T34" fmla="*/ 218 w 420"/>
                <a:gd name="T35" fmla="*/ 4 h 420"/>
                <a:gd name="T36" fmla="*/ 210 w 420"/>
                <a:gd name="T37" fmla="*/ 0 h 420"/>
                <a:gd name="T38" fmla="*/ 201 w 420"/>
                <a:gd name="T39" fmla="*/ 4 h 420"/>
                <a:gd name="T40" fmla="*/ 196 w 420"/>
                <a:gd name="T41" fmla="*/ 10 h 420"/>
                <a:gd name="T42" fmla="*/ 15 w 420"/>
                <a:gd name="T43" fmla="*/ 135 h 420"/>
                <a:gd name="T44" fmla="*/ 7 w 420"/>
                <a:gd name="T45" fmla="*/ 138 h 420"/>
                <a:gd name="T46" fmla="*/ 1 w 420"/>
                <a:gd name="T47" fmla="*/ 145 h 420"/>
                <a:gd name="T48" fmla="*/ 1 w 420"/>
                <a:gd name="T49" fmla="*/ 154 h 420"/>
                <a:gd name="T50" fmla="*/ 7 w 420"/>
                <a:gd name="T51" fmla="*/ 162 h 420"/>
                <a:gd name="T52" fmla="*/ 61 w 420"/>
                <a:gd name="T53" fmla="*/ 399 h 420"/>
                <a:gd name="T54" fmla="*/ 61 w 420"/>
                <a:gd name="T55" fmla="*/ 409 h 420"/>
                <a:gd name="T56" fmla="*/ 67 w 420"/>
                <a:gd name="T57" fmla="*/ 416 h 420"/>
                <a:gd name="T58" fmla="*/ 75 w 420"/>
                <a:gd name="T59" fmla="*/ 420 h 420"/>
                <a:gd name="T60" fmla="*/ 85 w 420"/>
                <a:gd name="T61" fmla="*/ 416 h 420"/>
                <a:gd name="T62" fmla="*/ 336 w 420"/>
                <a:gd name="T63" fmla="*/ 416 h 420"/>
                <a:gd name="T64" fmla="*/ 345 w 420"/>
                <a:gd name="T65" fmla="*/ 420 h 420"/>
                <a:gd name="T66" fmla="*/ 353 w 420"/>
                <a:gd name="T67" fmla="*/ 416 h 420"/>
                <a:gd name="T68" fmla="*/ 360 w 420"/>
                <a:gd name="T69" fmla="*/ 409 h 420"/>
                <a:gd name="T70" fmla="*/ 359 w 420"/>
                <a:gd name="T71" fmla="*/ 399 h 420"/>
                <a:gd name="T72" fmla="*/ 414 w 420"/>
                <a:gd name="T73" fmla="*/ 162 h 420"/>
                <a:gd name="T74" fmla="*/ 420 w 420"/>
                <a:gd name="T75" fmla="*/ 154 h 420"/>
                <a:gd name="T76" fmla="*/ 420 w 420"/>
                <a:gd name="T77" fmla="*/ 145 h 420"/>
                <a:gd name="T78" fmla="*/ 413 w 420"/>
                <a:gd name="T79" fmla="*/ 138 h 420"/>
                <a:gd name="T80" fmla="*/ 405 w 420"/>
                <a:gd name="T81" fmla="*/ 135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0" h="420">
                  <a:moveTo>
                    <a:pt x="276" y="228"/>
                  </a:moveTo>
                  <a:lnTo>
                    <a:pt x="273" y="231"/>
                  </a:lnTo>
                  <a:lnTo>
                    <a:pt x="271" y="236"/>
                  </a:lnTo>
                  <a:lnTo>
                    <a:pt x="270" y="240"/>
                  </a:lnTo>
                  <a:lnTo>
                    <a:pt x="271" y="245"/>
                  </a:lnTo>
                  <a:lnTo>
                    <a:pt x="313" y="361"/>
                  </a:lnTo>
                  <a:lnTo>
                    <a:pt x="220" y="288"/>
                  </a:lnTo>
                  <a:lnTo>
                    <a:pt x="215" y="286"/>
                  </a:lnTo>
                  <a:lnTo>
                    <a:pt x="210" y="285"/>
                  </a:lnTo>
                  <a:lnTo>
                    <a:pt x="206" y="286"/>
                  </a:lnTo>
                  <a:lnTo>
                    <a:pt x="201" y="288"/>
                  </a:lnTo>
                  <a:lnTo>
                    <a:pt x="107" y="361"/>
                  </a:lnTo>
                  <a:lnTo>
                    <a:pt x="149" y="245"/>
                  </a:lnTo>
                  <a:lnTo>
                    <a:pt x="150" y="240"/>
                  </a:lnTo>
                  <a:lnTo>
                    <a:pt x="150" y="236"/>
                  </a:lnTo>
                  <a:lnTo>
                    <a:pt x="148" y="231"/>
                  </a:lnTo>
                  <a:lnTo>
                    <a:pt x="145" y="228"/>
                  </a:lnTo>
                  <a:lnTo>
                    <a:pt x="60" y="165"/>
                  </a:lnTo>
                  <a:lnTo>
                    <a:pt x="165" y="165"/>
                  </a:lnTo>
                  <a:lnTo>
                    <a:pt x="170" y="164"/>
                  </a:lnTo>
                  <a:lnTo>
                    <a:pt x="174" y="162"/>
                  </a:lnTo>
                  <a:lnTo>
                    <a:pt x="177" y="159"/>
                  </a:lnTo>
                  <a:lnTo>
                    <a:pt x="179" y="154"/>
                  </a:lnTo>
                  <a:lnTo>
                    <a:pt x="210" y="62"/>
                  </a:lnTo>
                  <a:lnTo>
                    <a:pt x="241" y="154"/>
                  </a:lnTo>
                  <a:lnTo>
                    <a:pt x="243" y="159"/>
                  </a:lnTo>
                  <a:lnTo>
                    <a:pt x="246" y="162"/>
                  </a:lnTo>
                  <a:lnTo>
                    <a:pt x="251" y="164"/>
                  </a:lnTo>
                  <a:lnTo>
                    <a:pt x="255" y="165"/>
                  </a:lnTo>
                  <a:lnTo>
                    <a:pt x="360" y="165"/>
                  </a:lnTo>
                  <a:lnTo>
                    <a:pt x="276" y="228"/>
                  </a:lnTo>
                  <a:close/>
                  <a:moveTo>
                    <a:pt x="405" y="135"/>
                  </a:moveTo>
                  <a:lnTo>
                    <a:pt x="266" y="135"/>
                  </a:lnTo>
                  <a:lnTo>
                    <a:pt x="225" y="10"/>
                  </a:lnTo>
                  <a:lnTo>
                    <a:pt x="222" y="6"/>
                  </a:lnTo>
                  <a:lnTo>
                    <a:pt x="218" y="4"/>
                  </a:lnTo>
                  <a:lnTo>
                    <a:pt x="215" y="1"/>
                  </a:lnTo>
                  <a:lnTo>
                    <a:pt x="210" y="0"/>
                  </a:lnTo>
                  <a:lnTo>
                    <a:pt x="206" y="1"/>
                  </a:lnTo>
                  <a:lnTo>
                    <a:pt x="201" y="4"/>
                  </a:lnTo>
                  <a:lnTo>
                    <a:pt x="198" y="7"/>
                  </a:lnTo>
                  <a:lnTo>
                    <a:pt x="196" y="10"/>
                  </a:lnTo>
                  <a:lnTo>
                    <a:pt x="154" y="135"/>
                  </a:lnTo>
                  <a:lnTo>
                    <a:pt x="15" y="135"/>
                  </a:lnTo>
                  <a:lnTo>
                    <a:pt x="11" y="136"/>
                  </a:lnTo>
                  <a:lnTo>
                    <a:pt x="7" y="138"/>
                  </a:lnTo>
                  <a:lnTo>
                    <a:pt x="3" y="142"/>
                  </a:lnTo>
                  <a:lnTo>
                    <a:pt x="1" y="145"/>
                  </a:lnTo>
                  <a:lnTo>
                    <a:pt x="0" y="150"/>
                  </a:lnTo>
                  <a:lnTo>
                    <a:pt x="1" y="154"/>
                  </a:lnTo>
                  <a:lnTo>
                    <a:pt x="3" y="159"/>
                  </a:lnTo>
                  <a:lnTo>
                    <a:pt x="7" y="162"/>
                  </a:lnTo>
                  <a:lnTo>
                    <a:pt x="118" y="245"/>
                  </a:lnTo>
                  <a:lnTo>
                    <a:pt x="61" y="399"/>
                  </a:lnTo>
                  <a:lnTo>
                    <a:pt x="60" y="405"/>
                  </a:lnTo>
                  <a:lnTo>
                    <a:pt x="61" y="409"/>
                  </a:lnTo>
                  <a:lnTo>
                    <a:pt x="63" y="413"/>
                  </a:lnTo>
                  <a:lnTo>
                    <a:pt x="67" y="416"/>
                  </a:lnTo>
                  <a:lnTo>
                    <a:pt x="71" y="419"/>
                  </a:lnTo>
                  <a:lnTo>
                    <a:pt x="75" y="420"/>
                  </a:lnTo>
                  <a:lnTo>
                    <a:pt x="80" y="419"/>
                  </a:lnTo>
                  <a:lnTo>
                    <a:pt x="85" y="416"/>
                  </a:lnTo>
                  <a:lnTo>
                    <a:pt x="210" y="319"/>
                  </a:lnTo>
                  <a:lnTo>
                    <a:pt x="336" y="416"/>
                  </a:lnTo>
                  <a:lnTo>
                    <a:pt x="340" y="419"/>
                  </a:lnTo>
                  <a:lnTo>
                    <a:pt x="345" y="420"/>
                  </a:lnTo>
                  <a:lnTo>
                    <a:pt x="349" y="419"/>
                  </a:lnTo>
                  <a:lnTo>
                    <a:pt x="353" y="416"/>
                  </a:lnTo>
                  <a:lnTo>
                    <a:pt x="358" y="413"/>
                  </a:lnTo>
                  <a:lnTo>
                    <a:pt x="360" y="409"/>
                  </a:lnTo>
                  <a:lnTo>
                    <a:pt x="360" y="405"/>
                  </a:lnTo>
                  <a:lnTo>
                    <a:pt x="359" y="399"/>
                  </a:lnTo>
                  <a:lnTo>
                    <a:pt x="303" y="245"/>
                  </a:lnTo>
                  <a:lnTo>
                    <a:pt x="414" y="162"/>
                  </a:lnTo>
                  <a:lnTo>
                    <a:pt x="418" y="159"/>
                  </a:lnTo>
                  <a:lnTo>
                    <a:pt x="420" y="154"/>
                  </a:lnTo>
                  <a:lnTo>
                    <a:pt x="420" y="150"/>
                  </a:lnTo>
                  <a:lnTo>
                    <a:pt x="420" y="145"/>
                  </a:lnTo>
                  <a:lnTo>
                    <a:pt x="416" y="142"/>
                  </a:lnTo>
                  <a:lnTo>
                    <a:pt x="413" y="138"/>
                  </a:lnTo>
                  <a:lnTo>
                    <a:pt x="410" y="136"/>
                  </a:lnTo>
                  <a:lnTo>
                    <a:pt x="405"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3" name="Freeform 79">
              <a:extLst>
                <a:ext uri="{FF2B5EF4-FFF2-40B4-BE49-F238E27FC236}">
                  <a16:creationId xmlns:a16="http://schemas.microsoft.com/office/drawing/2014/main" id="{14CA5F3D-DC2C-4752-A8C8-EFAFDAE102DE}"/>
                </a:ext>
              </a:extLst>
            </p:cNvPr>
            <p:cNvSpPr>
              <a:spLocks noEditPoints="1"/>
            </p:cNvSpPr>
            <p:nvPr/>
          </p:nvSpPr>
          <p:spPr bwMode="auto">
            <a:xfrm>
              <a:off x="2081213" y="2497138"/>
              <a:ext cx="209550" cy="285750"/>
            </a:xfrm>
            <a:custGeom>
              <a:avLst/>
              <a:gdLst>
                <a:gd name="T0" fmla="*/ 388 w 659"/>
                <a:gd name="T1" fmla="*/ 627 h 898"/>
                <a:gd name="T2" fmla="*/ 272 w 659"/>
                <a:gd name="T3" fmla="*/ 627 h 898"/>
                <a:gd name="T4" fmla="*/ 250 w 659"/>
                <a:gd name="T5" fmla="*/ 618 h 898"/>
                <a:gd name="T6" fmla="*/ 191 w 659"/>
                <a:gd name="T7" fmla="*/ 594 h 898"/>
                <a:gd name="T8" fmla="*/ 112 w 659"/>
                <a:gd name="T9" fmla="*/ 534 h 898"/>
                <a:gd name="T10" fmla="*/ 57 w 659"/>
                <a:gd name="T11" fmla="*/ 452 h 898"/>
                <a:gd name="T12" fmla="*/ 32 w 659"/>
                <a:gd name="T13" fmla="*/ 367 h 898"/>
                <a:gd name="T14" fmla="*/ 31 w 659"/>
                <a:gd name="T15" fmla="*/ 314 h 898"/>
                <a:gd name="T16" fmla="*/ 40 w 659"/>
                <a:gd name="T17" fmla="*/ 254 h 898"/>
                <a:gd name="T18" fmla="*/ 60 w 659"/>
                <a:gd name="T19" fmla="*/ 200 h 898"/>
                <a:gd name="T20" fmla="*/ 90 w 659"/>
                <a:gd name="T21" fmla="*/ 149 h 898"/>
                <a:gd name="T22" fmla="*/ 129 w 659"/>
                <a:gd name="T23" fmla="*/ 108 h 898"/>
                <a:gd name="T24" fmla="*/ 175 w 659"/>
                <a:gd name="T25" fmla="*/ 73 h 898"/>
                <a:gd name="T26" fmla="*/ 227 w 659"/>
                <a:gd name="T27" fmla="*/ 48 h 898"/>
                <a:gd name="T28" fmla="*/ 285 w 659"/>
                <a:gd name="T29" fmla="*/ 33 h 898"/>
                <a:gd name="T30" fmla="*/ 346 w 659"/>
                <a:gd name="T31" fmla="*/ 29 h 898"/>
                <a:gd name="T32" fmla="*/ 405 w 659"/>
                <a:gd name="T33" fmla="*/ 39 h 898"/>
                <a:gd name="T34" fmla="*/ 460 w 659"/>
                <a:gd name="T35" fmla="*/ 59 h 898"/>
                <a:gd name="T36" fmla="*/ 510 w 659"/>
                <a:gd name="T37" fmla="*/ 89 h 898"/>
                <a:gd name="T38" fmla="*/ 551 w 659"/>
                <a:gd name="T39" fmla="*/ 128 h 898"/>
                <a:gd name="T40" fmla="*/ 587 w 659"/>
                <a:gd name="T41" fmla="*/ 174 h 898"/>
                <a:gd name="T42" fmla="*/ 611 w 659"/>
                <a:gd name="T43" fmla="*/ 226 h 898"/>
                <a:gd name="T44" fmla="*/ 626 w 659"/>
                <a:gd name="T45" fmla="*/ 283 h 898"/>
                <a:gd name="T46" fmla="*/ 630 w 659"/>
                <a:gd name="T47" fmla="*/ 342 h 898"/>
                <a:gd name="T48" fmla="*/ 620 w 659"/>
                <a:gd name="T49" fmla="*/ 405 h 898"/>
                <a:gd name="T50" fmla="*/ 579 w 659"/>
                <a:gd name="T51" fmla="*/ 496 h 898"/>
                <a:gd name="T52" fmla="*/ 512 w 659"/>
                <a:gd name="T53" fmla="*/ 567 h 898"/>
                <a:gd name="T54" fmla="*/ 435 w 659"/>
                <a:gd name="T55" fmla="*/ 609 h 898"/>
                <a:gd name="T56" fmla="*/ 330 w 659"/>
                <a:gd name="T57" fmla="*/ 0 h 898"/>
                <a:gd name="T58" fmla="*/ 264 w 659"/>
                <a:gd name="T59" fmla="*/ 6 h 898"/>
                <a:gd name="T60" fmla="*/ 202 w 659"/>
                <a:gd name="T61" fmla="*/ 25 h 898"/>
                <a:gd name="T62" fmla="*/ 146 w 659"/>
                <a:gd name="T63" fmla="*/ 56 h 898"/>
                <a:gd name="T64" fmla="*/ 97 w 659"/>
                <a:gd name="T65" fmla="*/ 96 h 898"/>
                <a:gd name="T66" fmla="*/ 57 w 659"/>
                <a:gd name="T67" fmla="*/ 145 h 898"/>
                <a:gd name="T68" fmla="*/ 26 w 659"/>
                <a:gd name="T69" fmla="*/ 201 h 898"/>
                <a:gd name="T70" fmla="*/ 7 w 659"/>
                <a:gd name="T71" fmla="*/ 263 h 898"/>
                <a:gd name="T72" fmla="*/ 0 w 659"/>
                <a:gd name="T73" fmla="*/ 329 h 898"/>
                <a:gd name="T74" fmla="*/ 5 w 659"/>
                <a:gd name="T75" fmla="*/ 385 h 898"/>
                <a:gd name="T76" fmla="*/ 19 w 659"/>
                <a:gd name="T77" fmla="*/ 437 h 898"/>
                <a:gd name="T78" fmla="*/ 40 w 659"/>
                <a:gd name="T79" fmla="*/ 486 h 898"/>
                <a:gd name="T80" fmla="*/ 69 w 659"/>
                <a:gd name="T81" fmla="*/ 531 h 898"/>
                <a:gd name="T82" fmla="*/ 105 w 659"/>
                <a:gd name="T83" fmla="*/ 570 h 898"/>
                <a:gd name="T84" fmla="*/ 147 w 659"/>
                <a:gd name="T85" fmla="*/ 603 h 898"/>
                <a:gd name="T86" fmla="*/ 195 w 659"/>
                <a:gd name="T87" fmla="*/ 630 h 898"/>
                <a:gd name="T88" fmla="*/ 248 w 659"/>
                <a:gd name="T89" fmla="*/ 648 h 898"/>
                <a:gd name="T90" fmla="*/ 326 w 659"/>
                <a:gd name="T91" fmla="*/ 897 h 898"/>
                <a:gd name="T92" fmla="*/ 343 w 659"/>
                <a:gd name="T93" fmla="*/ 892 h 898"/>
                <a:gd name="T94" fmla="*/ 440 w 659"/>
                <a:gd name="T95" fmla="*/ 639 h 898"/>
                <a:gd name="T96" fmla="*/ 490 w 659"/>
                <a:gd name="T97" fmla="*/ 617 h 898"/>
                <a:gd name="T98" fmla="*/ 534 w 659"/>
                <a:gd name="T99" fmla="*/ 588 h 898"/>
                <a:gd name="T100" fmla="*/ 574 w 659"/>
                <a:gd name="T101" fmla="*/ 551 h 898"/>
                <a:gd name="T102" fmla="*/ 606 w 659"/>
                <a:gd name="T103" fmla="*/ 509 h 898"/>
                <a:gd name="T104" fmla="*/ 632 w 659"/>
                <a:gd name="T105" fmla="*/ 463 h 898"/>
                <a:gd name="T106" fmla="*/ 650 w 659"/>
                <a:gd name="T107" fmla="*/ 411 h 898"/>
                <a:gd name="T108" fmla="*/ 658 w 659"/>
                <a:gd name="T109" fmla="*/ 357 h 898"/>
                <a:gd name="T110" fmla="*/ 658 w 659"/>
                <a:gd name="T111" fmla="*/ 295 h 898"/>
                <a:gd name="T112" fmla="*/ 645 w 659"/>
                <a:gd name="T113" fmla="*/ 231 h 898"/>
                <a:gd name="T114" fmla="*/ 620 w 659"/>
                <a:gd name="T115" fmla="*/ 172 h 898"/>
                <a:gd name="T116" fmla="*/ 585 w 659"/>
                <a:gd name="T117" fmla="*/ 119 h 898"/>
                <a:gd name="T118" fmla="*/ 540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1" y="624"/>
                  </a:lnTo>
                  <a:lnTo>
                    <a:pt x="388" y="627"/>
                  </a:lnTo>
                  <a:lnTo>
                    <a:pt x="387" y="631"/>
                  </a:lnTo>
                  <a:lnTo>
                    <a:pt x="330" y="828"/>
                  </a:lnTo>
                  <a:lnTo>
                    <a:pt x="273" y="631"/>
                  </a:lnTo>
                  <a:lnTo>
                    <a:pt x="272" y="627"/>
                  </a:lnTo>
                  <a:lnTo>
                    <a:pt x="270" y="624"/>
                  </a:lnTo>
                  <a:lnTo>
                    <a:pt x="267" y="622"/>
                  </a:lnTo>
                  <a:lnTo>
                    <a:pt x="263" y="621"/>
                  </a:lnTo>
                  <a:lnTo>
                    <a:pt x="250" y="618"/>
                  </a:lnTo>
                  <a:lnTo>
                    <a:pt x="238" y="613"/>
                  </a:lnTo>
                  <a:lnTo>
                    <a:pt x="225" y="609"/>
                  </a:lnTo>
                  <a:lnTo>
                    <a:pt x="213" y="605"/>
                  </a:lnTo>
                  <a:lnTo>
                    <a:pt x="191" y="594"/>
                  </a:lnTo>
                  <a:lnTo>
                    <a:pt x="168" y="581"/>
                  </a:lnTo>
                  <a:lnTo>
                    <a:pt x="148" y="567"/>
                  </a:lnTo>
                  <a:lnTo>
                    <a:pt x="129" y="551"/>
                  </a:lnTo>
                  <a:lnTo>
                    <a:pt x="112" y="534"/>
                  </a:lnTo>
                  <a:lnTo>
                    <a:pt x="96" y="515"/>
                  </a:lnTo>
                  <a:lnTo>
                    <a:pt x="81" y="496"/>
                  </a:lnTo>
                  <a:lnTo>
                    <a:pt x="68" y="474"/>
                  </a:lnTo>
                  <a:lnTo>
                    <a:pt x="57" y="452"/>
                  </a:lnTo>
                  <a:lnTo>
                    <a:pt x="47" y="430"/>
                  </a:lnTo>
                  <a:lnTo>
                    <a:pt x="40" y="405"/>
                  </a:lnTo>
                  <a:lnTo>
                    <a:pt x="35" y="380"/>
                  </a:lnTo>
                  <a:lnTo>
                    <a:pt x="32" y="367"/>
                  </a:lnTo>
                  <a:lnTo>
                    <a:pt x="31" y="355"/>
                  </a:lnTo>
                  <a:lnTo>
                    <a:pt x="30" y="342"/>
                  </a:lnTo>
                  <a:lnTo>
                    <a:pt x="30" y="329"/>
                  </a:lnTo>
                  <a:lnTo>
                    <a:pt x="31" y="314"/>
                  </a:lnTo>
                  <a:lnTo>
                    <a:pt x="32" y="298"/>
                  </a:lnTo>
                  <a:lnTo>
                    <a:pt x="34" y="283"/>
                  </a:lnTo>
                  <a:lnTo>
                    <a:pt x="37" y="269"/>
                  </a:lnTo>
                  <a:lnTo>
                    <a:pt x="40" y="254"/>
                  </a:lnTo>
                  <a:lnTo>
                    <a:pt x="44" y="240"/>
                  </a:lnTo>
                  <a:lnTo>
                    <a:pt x="49" y="226"/>
                  </a:lnTo>
                  <a:lnTo>
                    <a:pt x="54" y="212"/>
                  </a:lnTo>
                  <a:lnTo>
                    <a:pt x="60" y="200"/>
                  </a:lnTo>
                  <a:lnTo>
                    <a:pt x="67" y="187"/>
                  </a:lnTo>
                  <a:lnTo>
                    <a:pt x="74" y="174"/>
                  </a:lnTo>
                  <a:lnTo>
                    <a:pt x="82" y="161"/>
                  </a:lnTo>
                  <a:lnTo>
                    <a:pt x="90" y="149"/>
                  </a:lnTo>
                  <a:lnTo>
                    <a:pt x="99" y="139"/>
                  </a:lnTo>
                  <a:lnTo>
                    <a:pt x="108" y="128"/>
                  </a:lnTo>
                  <a:lnTo>
                    <a:pt x="118" y="117"/>
                  </a:lnTo>
                  <a:lnTo>
                    <a:pt x="129" y="108"/>
                  </a:lnTo>
                  <a:lnTo>
                    <a:pt x="139" y="98"/>
                  </a:lnTo>
                  <a:lnTo>
                    <a:pt x="151" y="89"/>
                  </a:lnTo>
                  <a:lnTo>
                    <a:pt x="163" y="81"/>
                  </a:lnTo>
                  <a:lnTo>
                    <a:pt x="175" y="73"/>
                  </a:lnTo>
                  <a:lnTo>
                    <a:pt x="188" y="66"/>
                  </a:lnTo>
                  <a:lnTo>
                    <a:pt x="200" y="59"/>
                  </a:lnTo>
                  <a:lnTo>
                    <a:pt x="213" y="53"/>
                  </a:lnTo>
                  <a:lnTo>
                    <a:pt x="227" y="48"/>
                  </a:lnTo>
                  <a:lnTo>
                    <a:pt x="241" y="43"/>
                  </a:lnTo>
                  <a:lnTo>
                    <a:pt x="255" y="39"/>
                  </a:lnTo>
                  <a:lnTo>
                    <a:pt x="270" y="36"/>
                  </a:lnTo>
                  <a:lnTo>
                    <a:pt x="285" y="33"/>
                  </a:lnTo>
                  <a:lnTo>
                    <a:pt x="300" y="31"/>
                  </a:lnTo>
                  <a:lnTo>
                    <a:pt x="315" y="29"/>
                  </a:lnTo>
                  <a:lnTo>
                    <a:pt x="330" y="29"/>
                  </a:lnTo>
                  <a:lnTo>
                    <a:pt x="346" y="29"/>
                  </a:lnTo>
                  <a:lnTo>
                    <a:pt x="361" y="31"/>
                  </a:lnTo>
                  <a:lnTo>
                    <a:pt x="376" y="33"/>
                  </a:lnTo>
                  <a:lnTo>
                    <a:pt x="391" y="36"/>
                  </a:lnTo>
                  <a:lnTo>
                    <a:pt x="405" y="39"/>
                  </a:lnTo>
                  <a:lnTo>
                    <a:pt x="419" y="43"/>
                  </a:lnTo>
                  <a:lnTo>
                    <a:pt x="433" y="48"/>
                  </a:lnTo>
                  <a:lnTo>
                    <a:pt x="447" y="53"/>
                  </a:lnTo>
                  <a:lnTo>
                    <a:pt x="460" y="59"/>
                  </a:lnTo>
                  <a:lnTo>
                    <a:pt x="473" y="66"/>
                  </a:lnTo>
                  <a:lnTo>
                    <a:pt x="485" y="72"/>
                  </a:lnTo>
                  <a:lnTo>
                    <a:pt x="498" y="81"/>
                  </a:lnTo>
                  <a:lnTo>
                    <a:pt x="510" y="89"/>
                  </a:lnTo>
                  <a:lnTo>
                    <a:pt x="520" y="98"/>
                  </a:lnTo>
                  <a:lnTo>
                    <a:pt x="531" y="108"/>
                  </a:lnTo>
                  <a:lnTo>
                    <a:pt x="542" y="117"/>
                  </a:lnTo>
                  <a:lnTo>
                    <a:pt x="551" y="128"/>
                  </a:lnTo>
                  <a:lnTo>
                    <a:pt x="561" y="139"/>
                  </a:lnTo>
                  <a:lnTo>
                    <a:pt x="571" y="149"/>
                  </a:lnTo>
                  <a:lnTo>
                    <a:pt x="578" y="161"/>
                  </a:lnTo>
                  <a:lnTo>
                    <a:pt x="587" y="174"/>
                  </a:lnTo>
                  <a:lnTo>
                    <a:pt x="593" y="187"/>
                  </a:lnTo>
                  <a:lnTo>
                    <a:pt x="601" y="200"/>
                  </a:lnTo>
                  <a:lnTo>
                    <a:pt x="606" y="212"/>
                  </a:lnTo>
                  <a:lnTo>
                    <a:pt x="611" y="226"/>
                  </a:lnTo>
                  <a:lnTo>
                    <a:pt x="617" y="240"/>
                  </a:lnTo>
                  <a:lnTo>
                    <a:pt x="620" y="254"/>
                  </a:lnTo>
                  <a:lnTo>
                    <a:pt x="624" y="269"/>
                  </a:lnTo>
                  <a:lnTo>
                    <a:pt x="626" y="283"/>
                  </a:lnTo>
                  <a:lnTo>
                    <a:pt x="628" y="298"/>
                  </a:lnTo>
                  <a:lnTo>
                    <a:pt x="630" y="314"/>
                  </a:lnTo>
                  <a:lnTo>
                    <a:pt x="630" y="329"/>
                  </a:lnTo>
                  <a:lnTo>
                    <a:pt x="630" y="342"/>
                  </a:lnTo>
                  <a:lnTo>
                    <a:pt x="628" y="355"/>
                  </a:lnTo>
                  <a:lnTo>
                    <a:pt x="627" y="367"/>
                  </a:lnTo>
                  <a:lnTo>
                    <a:pt x="625" y="380"/>
                  </a:lnTo>
                  <a:lnTo>
                    <a:pt x="620" y="405"/>
                  </a:lnTo>
                  <a:lnTo>
                    <a:pt x="612" y="430"/>
                  </a:lnTo>
                  <a:lnTo>
                    <a:pt x="604" y="452"/>
                  </a:lnTo>
                  <a:lnTo>
                    <a:pt x="592" y="474"/>
                  </a:lnTo>
                  <a:lnTo>
                    <a:pt x="579" y="496"/>
                  </a:lnTo>
                  <a:lnTo>
                    <a:pt x="565" y="515"/>
                  </a:lnTo>
                  <a:lnTo>
                    <a:pt x="549" y="534"/>
                  </a:lnTo>
                  <a:lnTo>
                    <a:pt x="531" y="551"/>
                  </a:lnTo>
                  <a:lnTo>
                    <a:pt x="512" y="567"/>
                  </a:lnTo>
                  <a:lnTo>
                    <a:pt x="492" y="581"/>
                  </a:lnTo>
                  <a:lnTo>
                    <a:pt x="470" y="594"/>
                  </a:lnTo>
                  <a:lnTo>
                    <a:pt x="447" y="605"/>
                  </a:lnTo>
                  <a:lnTo>
                    <a:pt x="435" y="609"/>
                  </a:lnTo>
                  <a:lnTo>
                    <a:pt x="423" y="613"/>
                  </a:lnTo>
                  <a:lnTo>
                    <a:pt x="410" y="618"/>
                  </a:lnTo>
                  <a:lnTo>
                    <a:pt x="397" y="621"/>
                  </a:lnTo>
                  <a:close/>
                  <a:moveTo>
                    <a:pt x="330" y="0"/>
                  </a:moveTo>
                  <a:lnTo>
                    <a:pt x="313" y="0"/>
                  </a:lnTo>
                  <a:lnTo>
                    <a:pt x="297" y="1"/>
                  </a:lnTo>
                  <a:lnTo>
                    <a:pt x="280" y="3"/>
                  </a:lnTo>
                  <a:lnTo>
                    <a:pt x="264" y="6"/>
                  </a:lnTo>
                  <a:lnTo>
                    <a:pt x="248" y="10"/>
                  </a:lnTo>
                  <a:lnTo>
                    <a:pt x="233" y="15"/>
                  </a:lnTo>
                  <a:lnTo>
                    <a:pt x="217" y="20"/>
                  </a:lnTo>
                  <a:lnTo>
                    <a:pt x="202" y="25"/>
                  </a:lnTo>
                  <a:lnTo>
                    <a:pt x="188" y="32"/>
                  </a:lnTo>
                  <a:lnTo>
                    <a:pt x="174" y="39"/>
                  </a:lnTo>
                  <a:lnTo>
                    <a:pt x="160" y="48"/>
                  </a:lnTo>
                  <a:lnTo>
                    <a:pt x="146" y="56"/>
                  </a:lnTo>
                  <a:lnTo>
                    <a:pt x="133" y="65"/>
                  </a:lnTo>
                  <a:lnTo>
                    <a:pt x="120" y="74"/>
                  </a:lnTo>
                  <a:lnTo>
                    <a:pt x="108" y="85"/>
                  </a:lnTo>
                  <a:lnTo>
                    <a:pt x="97" y="96"/>
                  </a:lnTo>
                  <a:lnTo>
                    <a:pt x="86" y="108"/>
                  </a:lnTo>
                  <a:lnTo>
                    <a:pt x="76" y="119"/>
                  </a:lnTo>
                  <a:lnTo>
                    <a:pt x="66" y="132"/>
                  </a:lnTo>
                  <a:lnTo>
                    <a:pt x="57" y="145"/>
                  </a:lnTo>
                  <a:lnTo>
                    <a:pt x="49" y="158"/>
                  </a:lnTo>
                  <a:lnTo>
                    <a:pt x="40" y="172"/>
                  </a:lnTo>
                  <a:lnTo>
                    <a:pt x="34" y="187"/>
                  </a:lnTo>
                  <a:lnTo>
                    <a:pt x="26" y="201"/>
                  </a:lnTo>
                  <a:lnTo>
                    <a:pt x="21" y="216"/>
                  </a:lnTo>
                  <a:lnTo>
                    <a:pt x="15" y="231"/>
                  </a:lnTo>
                  <a:lnTo>
                    <a:pt x="11" y="247"/>
                  </a:lnTo>
                  <a:lnTo>
                    <a:pt x="7" y="263"/>
                  </a:lnTo>
                  <a:lnTo>
                    <a:pt x="5" y="279"/>
                  </a:lnTo>
                  <a:lnTo>
                    <a:pt x="3" y="296"/>
                  </a:lnTo>
                  <a:lnTo>
                    <a:pt x="1" y="312"/>
                  </a:lnTo>
                  <a:lnTo>
                    <a:pt x="0" y="329"/>
                  </a:lnTo>
                  <a:lnTo>
                    <a:pt x="0" y="343"/>
                  </a:lnTo>
                  <a:lnTo>
                    <a:pt x="1" y="357"/>
                  </a:lnTo>
                  <a:lnTo>
                    <a:pt x="4" y="371"/>
                  </a:lnTo>
                  <a:lnTo>
                    <a:pt x="5" y="385"/>
                  </a:lnTo>
                  <a:lnTo>
                    <a:pt x="8" y="397"/>
                  </a:lnTo>
                  <a:lnTo>
                    <a:pt x="11" y="411"/>
                  </a:lnTo>
                  <a:lnTo>
                    <a:pt x="14" y="424"/>
                  </a:lnTo>
                  <a:lnTo>
                    <a:pt x="19" y="437"/>
                  </a:lnTo>
                  <a:lnTo>
                    <a:pt x="23" y="450"/>
                  </a:lnTo>
                  <a:lnTo>
                    <a:pt x="28" y="463"/>
                  </a:lnTo>
                  <a:lnTo>
                    <a:pt x="34" y="474"/>
                  </a:lnTo>
                  <a:lnTo>
                    <a:pt x="40" y="486"/>
                  </a:lnTo>
                  <a:lnTo>
                    <a:pt x="46" y="498"/>
                  </a:lnTo>
                  <a:lnTo>
                    <a:pt x="54" y="509"/>
                  </a:lnTo>
                  <a:lnTo>
                    <a:pt x="61" y="520"/>
                  </a:lnTo>
                  <a:lnTo>
                    <a:pt x="69" y="531"/>
                  </a:lnTo>
                  <a:lnTo>
                    <a:pt x="77" y="541"/>
                  </a:lnTo>
                  <a:lnTo>
                    <a:pt x="86" y="551"/>
                  </a:lnTo>
                  <a:lnTo>
                    <a:pt x="96" y="561"/>
                  </a:lnTo>
                  <a:lnTo>
                    <a:pt x="105" y="570"/>
                  </a:lnTo>
                  <a:lnTo>
                    <a:pt x="115" y="579"/>
                  </a:lnTo>
                  <a:lnTo>
                    <a:pt x="126" y="588"/>
                  </a:lnTo>
                  <a:lnTo>
                    <a:pt x="136" y="595"/>
                  </a:lnTo>
                  <a:lnTo>
                    <a:pt x="147" y="603"/>
                  </a:lnTo>
                  <a:lnTo>
                    <a:pt x="159" y="610"/>
                  </a:lnTo>
                  <a:lnTo>
                    <a:pt x="171" y="617"/>
                  </a:lnTo>
                  <a:lnTo>
                    <a:pt x="182" y="623"/>
                  </a:lnTo>
                  <a:lnTo>
                    <a:pt x="195" y="630"/>
                  </a:lnTo>
                  <a:lnTo>
                    <a:pt x="208" y="635"/>
                  </a:lnTo>
                  <a:lnTo>
                    <a:pt x="221" y="639"/>
                  </a:lnTo>
                  <a:lnTo>
                    <a:pt x="234" y="643"/>
                  </a:lnTo>
                  <a:lnTo>
                    <a:pt x="248" y="648"/>
                  </a:lnTo>
                  <a:lnTo>
                    <a:pt x="316" y="887"/>
                  </a:lnTo>
                  <a:lnTo>
                    <a:pt x="318" y="892"/>
                  </a:lnTo>
                  <a:lnTo>
                    <a:pt x="321" y="895"/>
                  </a:lnTo>
                  <a:lnTo>
                    <a:pt x="326" y="897"/>
                  </a:lnTo>
                  <a:lnTo>
                    <a:pt x="330" y="898"/>
                  </a:lnTo>
                  <a:lnTo>
                    <a:pt x="335" y="897"/>
                  </a:lnTo>
                  <a:lnTo>
                    <a:pt x="340" y="895"/>
                  </a:lnTo>
                  <a:lnTo>
                    <a:pt x="343" y="892"/>
                  </a:lnTo>
                  <a:lnTo>
                    <a:pt x="345" y="887"/>
                  </a:lnTo>
                  <a:lnTo>
                    <a:pt x="413" y="648"/>
                  </a:lnTo>
                  <a:lnTo>
                    <a:pt x="426" y="643"/>
                  </a:lnTo>
                  <a:lnTo>
                    <a:pt x="440" y="639"/>
                  </a:lnTo>
                  <a:lnTo>
                    <a:pt x="453" y="635"/>
                  </a:lnTo>
                  <a:lnTo>
                    <a:pt x="466" y="630"/>
                  </a:lnTo>
                  <a:lnTo>
                    <a:pt x="478" y="623"/>
                  </a:lnTo>
                  <a:lnTo>
                    <a:pt x="490" y="617"/>
                  </a:lnTo>
                  <a:lnTo>
                    <a:pt x="501" y="610"/>
                  </a:lnTo>
                  <a:lnTo>
                    <a:pt x="513" y="603"/>
                  </a:lnTo>
                  <a:lnTo>
                    <a:pt x="524" y="595"/>
                  </a:lnTo>
                  <a:lnTo>
                    <a:pt x="534" y="588"/>
                  </a:lnTo>
                  <a:lnTo>
                    <a:pt x="545" y="579"/>
                  </a:lnTo>
                  <a:lnTo>
                    <a:pt x="555" y="570"/>
                  </a:lnTo>
                  <a:lnTo>
                    <a:pt x="564" y="561"/>
                  </a:lnTo>
                  <a:lnTo>
                    <a:pt x="574" y="551"/>
                  </a:lnTo>
                  <a:lnTo>
                    <a:pt x="582" y="541"/>
                  </a:lnTo>
                  <a:lnTo>
                    <a:pt x="591" y="531"/>
                  </a:lnTo>
                  <a:lnTo>
                    <a:pt x="599" y="520"/>
                  </a:lnTo>
                  <a:lnTo>
                    <a:pt x="606" y="509"/>
                  </a:lnTo>
                  <a:lnTo>
                    <a:pt x="613" y="498"/>
                  </a:lnTo>
                  <a:lnTo>
                    <a:pt x="620" y="486"/>
                  </a:lnTo>
                  <a:lnTo>
                    <a:pt x="626" y="474"/>
                  </a:lnTo>
                  <a:lnTo>
                    <a:pt x="632" y="463"/>
                  </a:lnTo>
                  <a:lnTo>
                    <a:pt x="637" y="450"/>
                  </a:lnTo>
                  <a:lnTo>
                    <a:pt x="641" y="437"/>
                  </a:lnTo>
                  <a:lnTo>
                    <a:pt x="646" y="424"/>
                  </a:lnTo>
                  <a:lnTo>
                    <a:pt x="650" y="411"/>
                  </a:lnTo>
                  <a:lnTo>
                    <a:pt x="653" y="399"/>
                  </a:lnTo>
                  <a:lnTo>
                    <a:pt x="655" y="385"/>
                  </a:lnTo>
                  <a:lnTo>
                    <a:pt x="657" y="371"/>
                  </a:lnTo>
                  <a:lnTo>
                    <a:pt x="658" y="357"/>
                  </a:lnTo>
                  <a:lnTo>
                    <a:pt x="659" y="343"/>
                  </a:lnTo>
                  <a:lnTo>
                    <a:pt x="659" y="329"/>
                  </a:lnTo>
                  <a:lnTo>
                    <a:pt x="659" y="312"/>
                  </a:lnTo>
                  <a:lnTo>
                    <a:pt x="658" y="295"/>
                  </a:lnTo>
                  <a:lnTo>
                    <a:pt x="656" y="279"/>
                  </a:lnTo>
                  <a:lnTo>
                    <a:pt x="653" y="263"/>
                  </a:lnTo>
                  <a:lnTo>
                    <a:pt x="650" y="247"/>
                  </a:lnTo>
                  <a:lnTo>
                    <a:pt x="645" y="231"/>
                  </a:lnTo>
                  <a:lnTo>
                    <a:pt x="640" y="216"/>
                  </a:lnTo>
                  <a:lnTo>
                    <a:pt x="634" y="201"/>
                  </a:lnTo>
                  <a:lnTo>
                    <a:pt x="627" y="187"/>
                  </a:lnTo>
                  <a:lnTo>
                    <a:pt x="620" y="172"/>
                  </a:lnTo>
                  <a:lnTo>
                    <a:pt x="612" y="158"/>
                  </a:lnTo>
                  <a:lnTo>
                    <a:pt x="604" y="145"/>
                  </a:lnTo>
                  <a:lnTo>
                    <a:pt x="594" y="132"/>
                  </a:lnTo>
                  <a:lnTo>
                    <a:pt x="585" y="119"/>
                  </a:lnTo>
                  <a:lnTo>
                    <a:pt x="574" y="108"/>
                  </a:lnTo>
                  <a:lnTo>
                    <a:pt x="563" y="96"/>
                  </a:lnTo>
                  <a:lnTo>
                    <a:pt x="551" y="85"/>
                  </a:lnTo>
                  <a:lnTo>
                    <a:pt x="540" y="74"/>
                  </a:lnTo>
                  <a:lnTo>
                    <a:pt x="527" y="65"/>
                  </a:lnTo>
                  <a:lnTo>
                    <a:pt x="514" y="56"/>
                  </a:lnTo>
                  <a:lnTo>
                    <a:pt x="501" y="48"/>
                  </a:lnTo>
                  <a:lnTo>
                    <a:pt x="487" y="39"/>
                  </a:lnTo>
                  <a:lnTo>
                    <a:pt x="473" y="32"/>
                  </a:lnTo>
                  <a:lnTo>
                    <a:pt x="458" y="25"/>
                  </a:lnTo>
                  <a:lnTo>
                    <a:pt x="443" y="20"/>
                  </a:lnTo>
                  <a:lnTo>
                    <a:pt x="428" y="15"/>
                  </a:lnTo>
                  <a:lnTo>
                    <a:pt x="412" y="10"/>
                  </a:lnTo>
                  <a:lnTo>
                    <a:pt x="396" y="6"/>
                  </a:lnTo>
                  <a:lnTo>
                    <a:pt x="380" y="3"/>
                  </a:lnTo>
                  <a:lnTo>
                    <a:pt x="364" y="2"/>
                  </a:lnTo>
                  <a:lnTo>
                    <a:pt x="347" y="0"/>
                  </a:lnTo>
                  <a:lnTo>
                    <a:pt x="330" y="0"/>
                  </a:lnTo>
                  <a:lnTo>
                    <a:pt x="3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502" name="Group 16">
            <a:extLst>
              <a:ext uri="{FF2B5EF4-FFF2-40B4-BE49-F238E27FC236}">
                <a16:creationId xmlns:a16="http://schemas.microsoft.com/office/drawing/2014/main" id="{C01BBEA1-545D-4CC0-B44F-E691B91F1D31}"/>
              </a:ext>
            </a:extLst>
          </p:cNvPr>
          <p:cNvGrpSpPr>
            <a:grpSpLocks noChangeAspect="1"/>
          </p:cNvGrpSpPr>
          <p:nvPr/>
        </p:nvGrpSpPr>
        <p:grpSpPr>
          <a:xfrm>
            <a:off x="1514544" y="3263433"/>
            <a:ext cx="214214" cy="285619"/>
            <a:chOff x="6821487" y="1028700"/>
            <a:chExt cx="533400" cy="711200"/>
          </a:xfrm>
          <a:solidFill>
            <a:schemeClr val="bg2"/>
          </a:solidFill>
          <a:effectLst/>
        </p:grpSpPr>
        <p:sp>
          <p:nvSpPr>
            <p:cNvPr id="503" name="Freeform 17">
              <a:extLst>
                <a:ext uri="{FF2B5EF4-FFF2-40B4-BE49-F238E27FC236}">
                  <a16:creationId xmlns:a16="http://schemas.microsoft.com/office/drawing/2014/main" id="{4E3519E0-2AF0-4A1D-B17E-66E09EDC1CC1}"/>
                </a:ext>
              </a:extLst>
            </p:cNvPr>
            <p:cNvSpPr>
              <a:spLocks noEditPoints="1"/>
            </p:cNvSpPr>
            <p:nvPr/>
          </p:nvSpPr>
          <p:spPr bwMode="auto">
            <a:xfrm>
              <a:off x="6821487" y="1028700"/>
              <a:ext cx="533400" cy="711200"/>
            </a:xfrm>
            <a:custGeom>
              <a:avLst/>
              <a:gdLst>
                <a:gd name="T0" fmla="*/ 503 w 1344"/>
                <a:gd name="T1" fmla="*/ 1609 h 1792"/>
                <a:gd name="T2" fmla="*/ 516 w 1344"/>
                <a:gd name="T3" fmla="*/ 1651 h 1792"/>
                <a:gd name="T4" fmla="*/ 559 w 1344"/>
                <a:gd name="T5" fmla="*/ 1699 h 1792"/>
                <a:gd name="T6" fmla="*/ 640 w 1344"/>
                <a:gd name="T7" fmla="*/ 1726 h 1792"/>
                <a:gd name="T8" fmla="*/ 734 w 1344"/>
                <a:gd name="T9" fmla="*/ 1720 h 1792"/>
                <a:gd name="T10" fmla="*/ 804 w 1344"/>
                <a:gd name="T11" fmla="*/ 1685 h 1792"/>
                <a:gd name="T12" fmla="*/ 832 w 1344"/>
                <a:gd name="T13" fmla="*/ 1632 h 1792"/>
                <a:gd name="T14" fmla="*/ 852 w 1344"/>
                <a:gd name="T15" fmla="*/ 1603 h 1792"/>
                <a:gd name="T16" fmla="*/ 965 w 1344"/>
                <a:gd name="T17" fmla="*/ 1210 h 1792"/>
                <a:gd name="T18" fmla="*/ 1043 w 1344"/>
                <a:gd name="T19" fmla="*/ 1153 h 1792"/>
                <a:gd name="T20" fmla="*/ 1130 w 1344"/>
                <a:gd name="T21" fmla="*/ 1072 h 1792"/>
                <a:gd name="T22" fmla="*/ 1234 w 1344"/>
                <a:gd name="T23" fmla="*/ 904 h 1792"/>
                <a:gd name="T24" fmla="*/ 1268 w 1344"/>
                <a:gd name="T25" fmla="*/ 792 h 1792"/>
                <a:gd name="T26" fmla="*/ 1280 w 1344"/>
                <a:gd name="T27" fmla="*/ 672 h 1792"/>
                <a:gd name="T28" fmla="*/ 1253 w 1344"/>
                <a:gd name="T29" fmla="*/ 491 h 1792"/>
                <a:gd name="T30" fmla="*/ 1176 w 1344"/>
                <a:gd name="T31" fmla="*/ 332 h 1792"/>
                <a:gd name="T32" fmla="*/ 1059 w 1344"/>
                <a:gd name="T33" fmla="*/ 203 h 1792"/>
                <a:gd name="T34" fmla="*/ 909 w 1344"/>
                <a:gd name="T35" fmla="*/ 112 h 1792"/>
                <a:gd name="T36" fmla="*/ 734 w 1344"/>
                <a:gd name="T37" fmla="*/ 67 h 1792"/>
                <a:gd name="T38" fmla="*/ 550 w 1344"/>
                <a:gd name="T39" fmla="*/ 76 h 1792"/>
                <a:gd name="T40" fmla="*/ 383 w 1344"/>
                <a:gd name="T41" fmla="*/ 137 h 1792"/>
                <a:gd name="T42" fmla="*/ 242 w 1344"/>
                <a:gd name="T43" fmla="*/ 242 h 1792"/>
                <a:gd name="T44" fmla="*/ 138 w 1344"/>
                <a:gd name="T45" fmla="*/ 382 h 1792"/>
                <a:gd name="T46" fmla="*/ 76 w 1344"/>
                <a:gd name="T47" fmla="*/ 549 h 1792"/>
                <a:gd name="T48" fmla="*/ 66 w 1344"/>
                <a:gd name="T49" fmla="*/ 713 h 1792"/>
                <a:gd name="T50" fmla="*/ 85 w 1344"/>
                <a:gd name="T51" fmla="*/ 830 h 1792"/>
                <a:gd name="T52" fmla="*/ 146 w 1344"/>
                <a:gd name="T53" fmla="*/ 975 h 1792"/>
                <a:gd name="T54" fmla="*/ 242 w 1344"/>
                <a:gd name="T55" fmla="*/ 1101 h 1792"/>
                <a:gd name="T56" fmla="*/ 333 w 1344"/>
                <a:gd name="T57" fmla="*/ 1177 h 1792"/>
                <a:gd name="T58" fmla="*/ 384 w 1344"/>
                <a:gd name="T59" fmla="*/ 1225 h 1792"/>
                <a:gd name="T60" fmla="*/ 594 w 1344"/>
                <a:gd name="T61" fmla="*/ 1782 h 1792"/>
                <a:gd name="T62" fmla="*/ 502 w 1344"/>
                <a:gd name="T63" fmla="*/ 1737 h 1792"/>
                <a:gd name="T64" fmla="*/ 452 w 1344"/>
                <a:gd name="T65" fmla="*/ 1664 h 1792"/>
                <a:gd name="T66" fmla="*/ 326 w 1344"/>
                <a:gd name="T67" fmla="*/ 1650 h 1792"/>
                <a:gd name="T68" fmla="*/ 284 w 1344"/>
                <a:gd name="T69" fmla="*/ 1220 h 1792"/>
                <a:gd name="T70" fmla="*/ 186 w 1344"/>
                <a:gd name="T71" fmla="*/ 1135 h 1792"/>
                <a:gd name="T72" fmla="*/ 108 w 1344"/>
                <a:gd name="T73" fmla="*/ 1036 h 1792"/>
                <a:gd name="T74" fmla="*/ 49 w 1344"/>
                <a:gd name="T75" fmla="*/ 923 h 1792"/>
                <a:gd name="T76" fmla="*/ 12 w 1344"/>
                <a:gd name="T77" fmla="*/ 800 h 1792"/>
                <a:gd name="T78" fmla="*/ 0 w 1344"/>
                <a:gd name="T79" fmla="*/ 672 h 1792"/>
                <a:gd name="T80" fmla="*/ 30 w 1344"/>
                <a:gd name="T81" fmla="*/ 472 h 1792"/>
                <a:gd name="T82" fmla="*/ 115 w 1344"/>
                <a:gd name="T83" fmla="*/ 297 h 1792"/>
                <a:gd name="T84" fmla="*/ 245 w 1344"/>
                <a:gd name="T85" fmla="*/ 154 h 1792"/>
                <a:gd name="T86" fmla="*/ 411 w 1344"/>
                <a:gd name="T87" fmla="*/ 53 h 1792"/>
                <a:gd name="T88" fmla="*/ 603 w 1344"/>
                <a:gd name="T89" fmla="*/ 4 h 1792"/>
                <a:gd name="T90" fmla="*/ 807 w 1344"/>
                <a:gd name="T91" fmla="*/ 14 h 1792"/>
                <a:gd name="T92" fmla="*/ 993 w 1344"/>
                <a:gd name="T93" fmla="*/ 81 h 1792"/>
                <a:gd name="T94" fmla="*/ 1147 w 1344"/>
                <a:gd name="T95" fmla="*/ 197 h 1792"/>
                <a:gd name="T96" fmla="*/ 1263 w 1344"/>
                <a:gd name="T97" fmla="*/ 351 h 1792"/>
                <a:gd name="T98" fmla="*/ 1330 w 1344"/>
                <a:gd name="T99" fmla="*/ 537 h 1792"/>
                <a:gd name="T100" fmla="*/ 1343 w 1344"/>
                <a:gd name="T101" fmla="*/ 715 h 1792"/>
                <a:gd name="T102" fmla="*/ 1322 w 1344"/>
                <a:gd name="T103" fmla="*/ 842 h 1792"/>
                <a:gd name="T104" fmla="*/ 1278 w 1344"/>
                <a:gd name="T105" fmla="*/ 961 h 1792"/>
                <a:gd name="T106" fmla="*/ 1212 w 1344"/>
                <a:gd name="T107" fmla="*/ 1070 h 1792"/>
                <a:gd name="T108" fmla="*/ 1127 w 1344"/>
                <a:gd name="T109" fmla="*/ 1166 h 1792"/>
                <a:gd name="T110" fmla="*/ 1024 w 1344"/>
                <a:gd name="T111" fmla="*/ 1244 h 1792"/>
                <a:gd name="T112" fmla="*/ 1010 w 1344"/>
                <a:gd name="T113" fmla="*/ 1659 h 1792"/>
                <a:gd name="T114" fmla="*/ 881 w 1344"/>
                <a:gd name="T115" fmla="*/ 1691 h 1792"/>
                <a:gd name="T116" fmla="*/ 815 w 1344"/>
                <a:gd name="T117" fmla="*/ 1755 h 1792"/>
                <a:gd name="T118" fmla="*/ 712 w 1344"/>
                <a:gd name="T119" fmla="*/ 1789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1792">
                  <a:moveTo>
                    <a:pt x="384" y="1601"/>
                  </a:moveTo>
                  <a:lnTo>
                    <a:pt x="480" y="1601"/>
                  </a:lnTo>
                  <a:lnTo>
                    <a:pt x="487" y="1601"/>
                  </a:lnTo>
                  <a:lnTo>
                    <a:pt x="493" y="1603"/>
                  </a:lnTo>
                  <a:lnTo>
                    <a:pt x="498" y="1606"/>
                  </a:lnTo>
                  <a:lnTo>
                    <a:pt x="503" y="1609"/>
                  </a:lnTo>
                  <a:lnTo>
                    <a:pt x="507" y="1614"/>
                  </a:lnTo>
                  <a:lnTo>
                    <a:pt x="510" y="1620"/>
                  </a:lnTo>
                  <a:lnTo>
                    <a:pt x="511" y="1626"/>
                  </a:lnTo>
                  <a:lnTo>
                    <a:pt x="512" y="1632"/>
                  </a:lnTo>
                  <a:lnTo>
                    <a:pt x="513" y="1641"/>
                  </a:lnTo>
                  <a:lnTo>
                    <a:pt x="516" y="1651"/>
                  </a:lnTo>
                  <a:lnTo>
                    <a:pt x="520" y="1660"/>
                  </a:lnTo>
                  <a:lnTo>
                    <a:pt x="525" y="1669"/>
                  </a:lnTo>
                  <a:lnTo>
                    <a:pt x="531" y="1678"/>
                  </a:lnTo>
                  <a:lnTo>
                    <a:pt x="540" y="1685"/>
                  </a:lnTo>
                  <a:lnTo>
                    <a:pt x="549" y="1693"/>
                  </a:lnTo>
                  <a:lnTo>
                    <a:pt x="559" y="1699"/>
                  </a:lnTo>
                  <a:lnTo>
                    <a:pt x="570" y="1706"/>
                  </a:lnTo>
                  <a:lnTo>
                    <a:pt x="583" y="1711"/>
                  </a:lnTo>
                  <a:lnTo>
                    <a:pt x="597" y="1716"/>
                  </a:lnTo>
                  <a:lnTo>
                    <a:pt x="611" y="1720"/>
                  </a:lnTo>
                  <a:lnTo>
                    <a:pt x="625" y="1724"/>
                  </a:lnTo>
                  <a:lnTo>
                    <a:pt x="640" y="1726"/>
                  </a:lnTo>
                  <a:lnTo>
                    <a:pt x="655" y="1727"/>
                  </a:lnTo>
                  <a:lnTo>
                    <a:pt x="672" y="1729"/>
                  </a:lnTo>
                  <a:lnTo>
                    <a:pt x="688" y="1727"/>
                  </a:lnTo>
                  <a:lnTo>
                    <a:pt x="704" y="1726"/>
                  </a:lnTo>
                  <a:lnTo>
                    <a:pt x="719" y="1724"/>
                  </a:lnTo>
                  <a:lnTo>
                    <a:pt x="734" y="1720"/>
                  </a:lnTo>
                  <a:lnTo>
                    <a:pt x="748" y="1716"/>
                  </a:lnTo>
                  <a:lnTo>
                    <a:pt x="761" y="1711"/>
                  </a:lnTo>
                  <a:lnTo>
                    <a:pt x="773" y="1706"/>
                  </a:lnTo>
                  <a:lnTo>
                    <a:pt x="785" y="1699"/>
                  </a:lnTo>
                  <a:lnTo>
                    <a:pt x="795" y="1693"/>
                  </a:lnTo>
                  <a:lnTo>
                    <a:pt x="804" y="1685"/>
                  </a:lnTo>
                  <a:lnTo>
                    <a:pt x="813" y="1678"/>
                  </a:lnTo>
                  <a:lnTo>
                    <a:pt x="819" y="1669"/>
                  </a:lnTo>
                  <a:lnTo>
                    <a:pt x="825" y="1660"/>
                  </a:lnTo>
                  <a:lnTo>
                    <a:pt x="829" y="1651"/>
                  </a:lnTo>
                  <a:lnTo>
                    <a:pt x="832" y="1641"/>
                  </a:lnTo>
                  <a:lnTo>
                    <a:pt x="832" y="1632"/>
                  </a:lnTo>
                  <a:lnTo>
                    <a:pt x="833" y="1626"/>
                  </a:lnTo>
                  <a:lnTo>
                    <a:pt x="834" y="1620"/>
                  </a:lnTo>
                  <a:lnTo>
                    <a:pt x="838" y="1614"/>
                  </a:lnTo>
                  <a:lnTo>
                    <a:pt x="842" y="1609"/>
                  </a:lnTo>
                  <a:lnTo>
                    <a:pt x="846" y="1606"/>
                  </a:lnTo>
                  <a:lnTo>
                    <a:pt x="852" y="1603"/>
                  </a:lnTo>
                  <a:lnTo>
                    <a:pt x="857" y="1601"/>
                  </a:lnTo>
                  <a:lnTo>
                    <a:pt x="865" y="1601"/>
                  </a:lnTo>
                  <a:lnTo>
                    <a:pt x="960" y="1601"/>
                  </a:lnTo>
                  <a:lnTo>
                    <a:pt x="960" y="1225"/>
                  </a:lnTo>
                  <a:lnTo>
                    <a:pt x="961" y="1218"/>
                  </a:lnTo>
                  <a:lnTo>
                    <a:pt x="965" y="1210"/>
                  </a:lnTo>
                  <a:lnTo>
                    <a:pt x="970" y="1204"/>
                  </a:lnTo>
                  <a:lnTo>
                    <a:pt x="976" y="1199"/>
                  </a:lnTo>
                  <a:lnTo>
                    <a:pt x="994" y="1187"/>
                  </a:lnTo>
                  <a:lnTo>
                    <a:pt x="1010" y="1177"/>
                  </a:lnTo>
                  <a:lnTo>
                    <a:pt x="1027" y="1166"/>
                  </a:lnTo>
                  <a:lnTo>
                    <a:pt x="1043" y="1153"/>
                  </a:lnTo>
                  <a:lnTo>
                    <a:pt x="1059" y="1140"/>
                  </a:lnTo>
                  <a:lnTo>
                    <a:pt x="1074" y="1128"/>
                  </a:lnTo>
                  <a:lnTo>
                    <a:pt x="1088" y="1114"/>
                  </a:lnTo>
                  <a:lnTo>
                    <a:pt x="1103" y="1101"/>
                  </a:lnTo>
                  <a:lnTo>
                    <a:pt x="1117" y="1086"/>
                  </a:lnTo>
                  <a:lnTo>
                    <a:pt x="1130" y="1072"/>
                  </a:lnTo>
                  <a:lnTo>
                    <a:pt x="1142" y="1057"/>
                  </a:lnTo>
                  <a:lnTo>
                    <a:pt x="1155" y="1041"/>
                  </a:lnTo>
                  <a:lnTo>
                    <a:pt x="1178" y="1008"/>
                  </a:lnTo>
                  <a:lnTo>
                    <a:pt x="1198" y="975"/>
                  </a:lnTo>
                  <a:lnTo>
                    <a:pt x="1217" y="940"/>
                  </a:lnTo>
                  <a:lnTo>
                    <a:pt x="1234" y="904"/>
                  </a:lnTo>
                  <a:lnTo>
                    <a:pt x="1241" y="887"/>
                  </a:lnTo>
                  <a:lnTo>
                    <a:pt x="1247" y="868"/>
                  </a:lnTo>
                  <a:lnTo>
                    <a:pt x="1254" y="849"/>
                  </a:lnTo>
                  <a:lnTo>
                    <a:pt x="1259" y="830"/>
                  </a:lnTo>
                  <a:lnTo>
                    <a:pt x="1264" y="811"/>
                  </a:lnTo>
                  <a:lnTo>
                    <a:pt x="1268" y="792"/>
                  </a:lnTo>
                  <a:lnTo>
                    <a:pt x="1272" y="771"/>
                  </a:lnTo>
                  <a:lnTo>
                    <a:pt x="1274" y="752"/>
                  </a:lnTo>
                  <a:lnTo>
                    <a:pt x="1277" y="732"/>
                  </a:lnTo>
                  <a:lnTo>
                    <a:pt x="1279" y="713"/>
                  </a:lnTo>
                  <a:lnTo>
                    <a:pt x="1279" y="693"/>
                  </a:lnTo>
                  <a:lnTo>
                    <a:pt x="1280" y="672"/>
                  </a:lnTo>
                  <a:lnTo>
                    <a:pt x="1279" y="641"/>
                  </a:lnTo>
                  <a:lnTo>
                    <a:pt x="1277" y="610"/>
                  </a:lnTo>
                  <a:lnTo>
                    <a:pt x="1273" y="580"/>
                  </a:lnTo>
                  <a:lnTo>
                    <a:pt x="1268" y="549"/>
                  </a:lnTo>
                  <a:lnTo>
                    <a:pt x="1261" y="520"/>
                  </a:lnTo>
                  <a:lnTo>
                    <a:pt x="1253" y="491"/>
                  </a:lnTo>
                  <a:lnTo>
                    <a:pt x="1242" y="463"/>
                  </a:lnTo>
                  <a:lnTo>
                    <a:pt x="1232" y="435"/>
                  </a:lnTo>
                  <a:lnTo>
                    <a:pt x="1220" y="409"/>
                  </a:lnTo>
                  <a:lnTo>
                    <a:pt x="1207" y="382"/>
                  </a:lnTo>
                  <a:lnTo>
                    <a:pt x="1192" y="357"/>
                  </a:lnTo>
                  <a:lnTo>
                    <a:pt x="1176" y="332"/>
                  </a:lnTo>
                  <a:lnTo>
                    <a:pt x="1159" y="308"/>
                  </a:lnTo>
                  <a:lnTo>
                    <a:pt x="1141" y="286"/>
                  </a:lnTo>
                  <a:lnTo>
                    <a:pt x="1122" y="264"/>
                  </a:lnTo>
                  <a:lnTo>
                    <a:pt x="1102" y="242"/>
                  </a:lnTo>
                  <a:lnTo>
                    <a:pt x="1080" y="222"/>
                  </a:lnTo>
                  <a:lnTo>
                    <a:pt x="1059" y="203"/>
                  </a:lnTo>
                  <a:lnTo>
                    <a:pt x="1036" y="185"/>
                  </a:lnTo>
                  <a:lnTo>
                    <a:pt x="1012" y="168"/>
                  </a:lnTo>
                  <a:lnTo>
                    <a:pt x="988" y="152"/>
                  </a:lnTo>
                  <a:lnTo>
                    <a:pt x="962" y="137"/>
                  </a:lnTo>
                  <a:lnTo>
                    <a:pt x="936" y="125"/>
                  </a:lnTo>
                  <a:lnTo>
                    <a:pt x="909" y="112"/>
                  </a:lnTo>
                  <a:lnTo>
                    <a:pt x="881" y="100"/>
                  </a:lnTo>
                  <a:lnTo>
                    <a:pt x="853" y="92"/>
                  </a:lnTo>
                  <a:lnTo>
                    <a:pt x="824" y="83"/>
                  </a:lnTo>
                  <a:lnTo>
                    <a:pt x="795" y="76"/>
                  </a:lnTo>
                  <a:lnTo>
                    <a:pt x="764" y="71"/>
                  </a:lnTo>
                  <a:lnTo>
                    <a:pt x="734" y="67"/>
                  </a:lnTo>
                  <a:lnTo>
                    <a:pt x="704" y="65"/>
                  </a:lnTo>
                  <a:lnTo>
                    <a:pt x="672" y="64"/>
                  </a:lnTo>
                  <a:lnTo>
                    <a:pt x="641" y="65"/>
                  </a:lnTo>
                  <a:lnTo>
                    <a:pt x="610" y="67"/>
                  </a:lnTo>
                  <a:lnTo>
                    <a:pt x="579" y="71"/>
                  </a:lnTo>
                  <a:lnTo>
                    <a:pt x="550" y="76"/>
                  </a:lnTo>
                  <a:lnTo>
                    <a:pt x="520" y="83"/>
                  </a:lnTo>
                  <a:lnTo>
                    <a:pt x="492" y="92"/>
                  </a:lnTo>
                  <a:lnTo>
                    <a:pt x="463" y="100"/>
                  </a:lnTo>
                  <a:lnTo>
                    <a:pt x="436" y="112"/>
                  </a:lnTo>
                  <a:lnTo>
                    <a:pt x="408" y="125"/>
                  </a:lnTo>
                  <a:lnTo>
                    <a:pt x="383" y="137"/>
                  </a:lnTo>
                  <a:lnTo>
                    <a:pt x="357" y="152"/>
                  </a:lnTo>
                  <a:lnTo>
                    <a:pt x="332" y="168"/>
                  </a:lnTo>
                  <a:lnTo>
                    <a:pt x="308" y="185"/>
                  </a:lnTo>
                  <a:lnTo>
                    <a:pt x="285" y="203"/>
                  </a:lnTo>
                  <a:lnTo>
                    <a:pt x="264" y="222"/>
                  </a:lnTo>
                  <a:lnTo>
                    <a:pt x="242" y="242"/>
                  </a:lnTo>
                  <a:lnTo>
                    <a:pt x="222" y="264"/>
                  </a:lnTo>
                  <a:lnTo>
                    <a:pt x="203" y="286"/>
                  </a:lnTo>
                  <a:lnTo>
                    <a:pt x="185" y="308"/>
                  </a:lnTo>
                  <a:lnTo>
                    <a:pt x="168" y="332"/>
                  </a:lnTo>
                  <a:lnTo>
                    <a:pt x="152" y="357"/>
                  </a:lnTo>
                  <a:lnTo>
                    <a:pt x="138" y="382"/>
                  </a:lnTo>
                  <a:lnTo>
                    <a:pt x="124" y="409"/>
                  </a:lnTo>
                  <a:lnTo>
                    <a:pt x="111" y="435"/>
                  </a:lnTo>
                  <a:lnTo>
                    <a:pt x="101" y="463"/>
                  </a:lnTo>
                  <a:lnTo>
                    <a:pt x="91" y="491"/>
                  </a:lnTo>
                  <a:lnTo>
                    <a:pt x="83" y="520"/>
                  </a:lnTo>
                  <a:lnTo>
                    <a:pt x="76" y="549"/>
                  </a:lnTo>
                  <a:lnTo>
                    <a:pt x="71" y="580"/>
                  </a:lnTo>
                  <a:lnTo>
                    <a:pt x="67" y="610"/>
                  </a:lnTo>
                  <a:lnTo>
                    <a:pt x="64" y="641"/>
                  </a:lnTo>
                  <a:lnTo>
                    <a:pt x="64" y="672"/>
                  </a:lnTo>
                  <a:lnTo>
                    <a:pt x="64" y="693"/>
                  </a:lnTo>
                  <a:lnTo>
                    <a:pt x="66" y="713"/>
                  </a:lnTo>
                  <a:lnTo>
                    <a:pt x="67" y="732"/>
                  </a:lnTo>
                  <a:lnTo>
                    <a:pt x="70" y="752"/>
                  </a:lnTo>
                  <a:lnTo>
                    <a:pt x="72" y="771"/>
                  </a:lnTo>
                  <a:lnTo>
                    <a:pt x="76" y="792"/>
                  </a:lnTo>
                  <a:lnTo>
                    <a:pt x="80" y="811"/>
                  </a:lnTo>
                  <a:lnTo>
                    <a:pt x="85" y="830"/>
                  </a:lnTo>
                  <a:lnTo>
                    <a:pt x="91" y="849"/>
                  </a:lnTo>
                  <a:lnTo>
                    <a:pt x="96" y="868"/>
                  </a:lnTo>
                  <a:lnTo>
                    <a:pt x="104" y="887"/>
                  </a:lnTo>
                  <a:lnTo>
                    <a:pt x="111" y="904"/>
                  </a:lnTo>
                  <a:lnTo>
                    <a:pt x="127" y="940"/>
                  </a:lnTo>
                  <a:lnTo>
                    <a:pt x="146" y="975"/>
                  </a:lnTo>
                  <a:lnTo>
                    <a:pt x="166" y="1008"/>
                  </a:lnTo>
                  <a:lnTo>
                    <a:pt x="190" y="1041"/>
                  </a:lnTo>
                  <a:lnTo>
                    <a:pt x="201" y="1057"/>
                  </a:lnTo>
                  <a:lnTo>
                    <a:pt x="214" y="1072"/>
                  </a:lnTo>
                  <a:lnTo>
                    <a:pt x="228" y="1086"/>
                  </a:lnTo>
                  <a:lnTo>
                    <a:pt x="242" y="1101"/>
                  </a:lnTo>
                  <a:lnTo>
                    <a:pt x="256" y="1114"/>
                  </a:lnTo>
                  <a:lnTo>
                    <a:pt x="270" y="1128"/>
                  </a:lnTo>
                  <a:lnTo>
                    <a:pt x="285" y="1140"/>
                  </a:lnTo>
                  <a:lnTo>
                    <a:pt x="302" y="1153"/>
                  </a:lnTo>
                  <a:lnTo>
                    <a:pt x="317" y="1166"/>
                  </a:lnTo>
                  <a:lnTo>
                    <a:pt x="333" y="1177"/>
                  </a:lnTo>
                  <a:lnTo>
                    <a:pt x="351" y="1187"/>
                  </a:lnTo>
                  <a:lnTo>
                    <a:pt x="367" y="1199"/>
                  </a:lnTo>
                  <a:lnTo>
                    <a:pt x="375" y="1204"/>
                  </a:lnTo>
                  <a:lnTo>
                    <a:pt x="380" y="1210"/>
                  </a:lnTo>
                  <a:lnTo>
                    <a:pt x="383" y="1218"/>
                  </a:lnTo>
                  <a:lnTo>
                    <a:pt x="384" y="1225"/>
                  </a:lnTo>
                  <a:lnTo>
                    <a:pt x="384" y="1601"/>
                  </a:lnTo>
                  <a:close/>
                  <a:moveTo>
                    <a:pt x="672" y="1792"/>
                  </a:moveTo>
                  <a:lnTo>
                    <a:pt x="652" y="1792"/>
                  </a:lnTo>
                  <a:lnTo>
                    <a:pt x="631" y="1789"/>
                  </a:lnTo>
                  <a:lnTo>
                    <a:pt x="612" y="1787"/>
                  </a:lnTo>
                  <a:lnTo>
                    <a:pt x="594" y="1782"/>
                  </a:lnTo>
                  <a:lnTo>
                    <a:pt x="577" y="1777"/>
                  </a:lnTo>
                  <a:lnTo>
                    <a:pt x="559" y="1770"/>
                  </a:lnTo>
                  <a:lnTo>
                    <a:pt x="544" y="1764"/>
                  </a:lnTo>
                  <a:lnTo>
                    <a:pt x="529" y="1755"/>
                  </a:lnTo>
                  <a:lnTo>
                    <a:pt x="515" y="1746"/>
                  </a:lnTo>
                  <a:lnTo>
                    <a:pt x="502" y="1737"/>
                  </a:lnTo>
                  <a:lnTo>
                    <a:pt x="490" y="1726"/>
                  </a:lnTo>
                  <a:lnTo>
                    <a:pt x="479" y="1715"/>
                  </a:lnTo>
                  <a:lnTo>
                    <a:pt x="470" y="1703"/>
                  </a:lnTo>
                  <a:lnTo>
                    <a:pt x="463" y="1691"/>
                  </a:lnTo>
                  <a:lnTo>
                    <a:pt x="456" y="1678"/>
                  </a:lnTo>
                  <a:lnTo>
                    <a:pt x="452" y="1664"/>
                  </a:lnTo>
                  <a:lnTo>
                    <a:pt x="352" y="1664"/>
                  </a:lnTo>
                  <a:lnTo>
                    <a:pt x="346" y="1664"/>
                  </a:lnTo>
                  <a:lnTo>
                    <a:pt x="340" y="1661"/>
                  </a:lnTo>
                  <a:lnTo>
                    <a:pt x="335" y="1659"/>
                  </a:lnTo>
                  <a:lnTo>
                    <a:pt x="329" y="1655"/>
                  </a:lnTo>
                  <a:lnTo>
                    <a:pt x="326" y="1650"/>
                  </a:lnTo>
                  <a:lnTo>
                    <a:pt x="323" y="1645"/>
                  </a:lnTo>
                  <a:lnTo>
                    <a:pt x="321" y="1639"/>
                  </a:lnTo>
                  <a:lnTo>
                    <a:pt x="321" y="1632"/>
                  </a:lnTo>
                  <a:lnTo>
                    <a:pt x="321" y="1244"/>
                  </a:lnTo>
                  <a:lnTo>
                    <a:pt x="302" y="1232"/>
                  </a:lnTo>
                  <a:lnTo>
                    <a:pt x="284" y="1220"/>
                  </a:lnTo>
                  <a:lnTo>
                    <a:pt x="266" y="1207"/>
                  </a:lnTo>
                  <a:lnTo>
                    <a:pt x="250" y="1193"/>
                  </a:lnTo>
                  <a:lnTo>
                    <a:pt x="233" y="1180"/>
                  </a:lnTo>
                  <a:lnTo>
                    <a:pt x="217" y="1166"/>
                  </a:lnTo>
                  <a:lnTo>
                    <a:pt x="201" y="1150"/>
                  </a:lnTo>
                  <a:lnTo>
                    <a:pt x="186" y="1135"/>
                  </a:lnTo>
                  <a:lnTo>
                    <a:pt x="172" y="1120"/>
                  </a:lnTo>
                  <a:lnTo>
                    <a:pt x="158" y="1103"/>
                  </a:lnTo>
                  <a:lnTo>
                    <a:pt x="144" y="1087"/>
                  </a:lnTo>
                  <a:lnTo>
                    <a:pt x="132" y="1070"/>
                  </a:lnTo>
                  <a:lnTo>
                    <a:pt x="119" y="1053"/>
                  </a:lnTo>
                  <a:lnTo>
                    <a:pt x="108" y="1036"/>
                  </a:lnTo>
                  <a:lnTo>
                    <a:pt x="96" y="1017"/>
                  </a:lnTo>
                  <a:lnTo>
                    <a:pt x="86" y="999"/>
                  </a:lnTo>
                  <a:lnTo>
                    <a:pt x="76" y="980"/>
                  </a:lnTo>
                  <a:lnTo>
                    <a:pt x="66" y="961"/>
                  </a:lnTo>
                  <a:lnTo>
                    <a:pt x="57" y="942"/>
                  </a:lnTo>
                  <a:lnTo>
                    <a:pt x="49" y="923"/>
                  </a:lnTo>
                  <a:lnTo>
                    <a:pt x="42" y="903"/>
                  </a:lnTo>
                  <a:lnTo>
                    <a:pt x="34" y="883"/>
                  </a:lnTo>
                  <a:lnTo>
                    <a:pt x="28" y="863"/>
                  </a:lnTo>
                  <a:lnTo>
                    <a:pt x="23" y="842"/>
                  </a:lnTo>
                  <a:lnTo>
                    <a:pt x="18" y="822"/>
                  </a:lnTo>
                  <a:lnTo>
                    <a:pt x="12" y="800"/>
                  </a:lnTo>
                  <a:lnTo>
                    <a:pt x="9" y="780"/>
                  </a:lnTo>
                  <a:lnTo>
                    <a:pt x="6" y="759"/>
                  </a:lnTo>
                  <a:lnTo>
                    <a:pt x="4" y="737"/>
                  </a:lnTo>
                  <a:lnTo>
                    <a:pt x="1" y="715"/>
                  </a:lnTo>
                  <a:lnTo>
                    <a:pt x="0" y="694"/>
                  </a:lnTo>
                  <a:lnTo>
                    <a:pt x="0" y="672"/>
                  </a:lnTo>
                  <a:lnTo>
                    <a:pt x="1" y="638"/>
                  </a:lnTo>
                  <a:lnTo>
                    <a:pt x="4" y="604"/>
                  </a:lnTo>
                  <a:lnTo>
                    <a:pt x="7" y="570"/>
                  </a:lnTo>
                  <a:lnTo>
                    <a:pt x="14" y="537"/>
                  </a:lnTo>
                  <a:lnTo>
                    <a:pt x="21" y="504"/>
                  </a:lnTo>
                  <a:lnTo>
                    <a:pt x="30" y="472"/>
                  </a:lnTo>
                  <a:lnTo>
                    <a:pt x="40" y="442"/>
                  </a:lnTo>
                  <a:lnTo>
                    <a:pt x="53" y="411"/>
                  </a:lnTo>
                  <a:lnTo>
                    <a:pt x="67" y="381"/>
                  </a:lnTo>
                  <a:lnTo>
                    <a:pt x="81" y="351"/>
                  </a:lnTo>
                  <a:lnTo>
                    <a:pt x="97" y="324"/>
                  </a:lnTo>
                  <a:lnTo>
                    <a:pt x="115" y="297"/>
                  </a:lnTo>
                  <a:lnTo>
                    <a:pt x="134" y="270"/>
                  </a:lnTo>
                  <a:lnTo>
                    <a:pt x="153" y="245"/>
                  </a:lnTo>
                  <a:lnTo>
                    <a:pt x="175" y="221"/>
                  </a:lnTo>
                  <a:lnTo>
                    <a:pt x="198" y="197"/>
                  </a:lnTo>
                  <a:lnTo>
                    <a:pt x="220" y="175"/>
                  </a:lnTo>
                  <a:lnTo>
                    <a:pt x="245" y="154"/>
                  </a:lnTo>
                  <a:lnTo>
                    <a:pt x="270" y="133"/>
                  </a:lnTo>
                  <a:lnTo>
                    <a:pt x="296" y="114"/>
                  </a:lnTo>
                  <a:lnTo>
                    <a:pt x="324" y="98"/>
                  </a:lnTo>
                  <a:lnTo>
                    <a:pt x="352" y="81"/>
                  </a:lnTo>
                  <a:lnTo>
                    <a:pt x="381" y="66"/>
                  </a:lnTo>
                  <a:lnTo>
                    <a:pt x="411" y="53"/>
                  </a:lnTo>
                  <a:lnTo>
                    <a:pt x="441" y="41"/>
                  </a:lnTo>
                  <a:lnTo>
                    <a:pt x="473" y="31"/>
                  </a:lnTo>
                  <a:lnTo>
                    <a:pt x="504" y="22"/>
                  </a:lnTo>
                  <a:lnTo>
                    <a:pt x="536" y="14"/>
                  </a:lnTo>
                  <a:lnTo>
                    <a:pt x="570" y="8"/>
                  </a:lnTo>
                  <a:lnTo>
                    <a:pt x="603" y="4"/>
                  </a:lnTo>
                  <a:lnTo>
                    <a:pt x="638" y="2"/>
                  </a:lnTo>
                  <a:lnTo>
                    <a:pt x="672" y="0"/>
                  </a:lnTo>
                  <a:lnTo>
                    <a:pt x="706" y="2"/>
                  </a:lnTo>
                  <a:lnTo>
                    <a:pt x="740" y="4"/>
                  </a:lnTo>
                  <a:lnTo>
                    <a:pt x="775" y="8"/>
                  </a:lnTo>
                  <a:lnTo>
                    <a:pt x="807" y="14"/>
                  </a:lnTo>
                  <a:lnTo>
                    <a:pt x="839" y="22"/>
                  </a:lnTo>
                  <a:lnTo>
                    <a:pt x="872" y="31"/>
                  </a:lnTo>
                  <a:lnTo>
                    <a:pt x="903" y="41"/>
                  </a:lnTo>
                  <a:lnTo>
                    <a:pt x="933" y="53"/>
                  </a:lnTo>
                  <a:lnTo>
                    <a:pt x="963" y="66"/>
                  </a:lnTo>
                  <a:lnTo>
                    <a:pt x="993" y="81"/>
                  </a:lnTo>
                  <a:lnTo>
                    <a:pt x="1021" y="98"/>
                  </a:lnTo>
                  <a:lnTo>
                    <a:pt x="1047" y="114"/>
                  </a:lnTo>
                  <a:lnTo>
                    <a:pt x="1074" y="133"/>
                  </a:lnTo>
                  <a:lnTo>
                    <a:pt x="1099" y="154"/>
                  </a:lnTo>
                  <a:lnTo>
                    <a:pt x="1123" y="175"/>
                  </a:lnTo>
                  <a:lnTo>
                    <a:pt x="1147" y="197"/>
                  </a:lnTo>
                  <a:lnTo>
                    <a:pt x="1169" y="221"/>
                  </a:lnTo>
                  <a:lnTo>
                    <a:pt x="1190" y="245"/>
                  </a:lnTo>
                  <a:lnTo>
                    <a:pt x="1211" y="270"/>
                  </a:lnTo>
                  <a:lnTo>
                    <a:pt x="1228" y="297"/>
                  </a:lnTo>
                  <a:lnTo>
                    <a:pt x="1246" y="324"/>
                  </a:lnTo>
                  <a:lnTo>
                    <a:pt x="1263" y="351"/>
                  </a:lnTo>
                  <a:lnTo>
                    <a:pt x="1278" y="381"/>
                  </a:lnTo>
                  <a:lnTo>
                    <a:pt x="1291" y="411"/>
                  </a:lnTo>
                  <a:lnTo>
                    <a:pt x="1303" y="442"/>
                  </a:lnTo>
                  <a:lnTo>
                    <a:pt x="1313" y="472"/>
                  </a:lnTo>
                  <a:lnTo>
                    <a:pt x="1322" y="504"/>
                  </a:lnTo>
                  <a:lnTo>
                    <a:pt x="1330" y="537"/>
                  </a:lnTo>
                  <a:lnTo>
                    <a:pt x="1336" y="570"/>
                  </a:lnTo>
                  <a:lnTo>
                    <a:pt x="1340" y="604"/>
                  </a:lnTo>
                  <a:lnTo>
                    <a:pt x="1343" y="638"/>
                  </a:lnTo>
                  <a:lnTo>
                    <a:pt x="1344" y="672"/>
                  </a:lnTo>
                  <a:lnTo>
                    <a:pt x="1344" y="694"/>
                  </a:lnTo>
                  <a:lnTo>
                    <a:pt x="1343" y="715"/>
                  </a:lnTo>
                  <a:lnTo>
                    <a:pt x="1341" y="737"/>
                  </a:lnTo>
                  <a:lnTo>
                    <a:pt x="1339" y="759"/>
                  </a:lnTo>
                  <a:lnTo>
                    <a:pt x="1335" y="780"/>
                  </a:lnTo>
                  <a:lnTo>
                    <a:pt x="1331" y="800"/>
                  </a:lnTo>
                  <a:lnTo>
                    <a:pt x="1327" y="822"/>
                  </a:lnTo>
                  <a:lnTo>
                    <a:pt x="1322" y="842"/>
                  </a:lnTo>
                  <a:lnTo>
                    <a:pt x="1316" y="863"/>
                  </a:lnTo>
                  <a:lnTo>
                    <a:pt x="1310" y="883"/>
                  </a:lnTo>
                  <a:lnTo>
                    <a:pt x="1302" y="903"/>
                  </a:lnTo>
                  <a:lnTo>
                    <a:pt x="1294" y="923"/>
                  </a:lnTo>
                  <a:lnTo>
                    <a:pt x="1287" y="942"/>
                  </a:lnTo>
                  <a:lnTo>
                    <a:pt x="1278" y="961"/>
                  </a:lnTo>
                  <a:lnTo>
                    <a:pt x="1268" y="980"/>
                  </a:lnTo>
                  <a:lnTo>
                    <a:pt x="1258" y="999"/>
                  </a:lnTo>
                  <a:lnTo>
                    <a:pt x="1247" y="1017"/>
                  </a:lnTo>
                  <a:lnTo>
                    <a:pt x="1236" y="1036"/>
                  </a:lnTo>
                  <a:lnTo>
                    <a:pt x="1225" y="1053"/>
                  </a:lnTo>
                  <a:lnTo>
                    <a:pt x="1212" y="1070"/>
                  </a:lnTo>
                  <a:lnTo>
                    <a:pt x="1199" y="1087"/>
                  </a:lnTo>
                  <a:lnTo>
                    <a:pt x="1185" y="1103"/>
                  </a:lnTo>
                  <a:lnTo>
                    <a:pt x="1171" y="1120"/>
                  </a:lnTo>
                  <a:lnTo>
                    <a:pt x="1157" y="1135"/>
                  </a:lnTo>
                  <a:lnTo>
                    <a:pt x="1142" y="1150"/>
                  </a:lnTo>
                  <a:lnTo>
                    <a:pt x="1127" y="1166"/>
                  </a:lnTo>
                  <a:lnTo>
                    <a:pt x="1111" y="1180"/>
                  </a:lnTo>
                  <a:lnTo>
                    <a:pt x="1094" y="1193"/>
                  </a:lnTo>
                  <a:lnTo>
                    <a:pt x="1078" y="1207"/>
                  </a:lnTo>
                  <a:lnTo>
                    <a:pt x="1060" y="1220"/>
                  </a:lnTo>
                  <a:lnTo>
                    <a:pt x="1042" y="1232"/>
                  </a:lnTo>
                  <a:lnTo>
                    <a:pt x="1024" y="1244"/>
                  </a:lnTo>
                  <a:lnTo>
                    <a:pt x="1024" y="1632"/>
                  </a:lnTo>
                  <a:lnTo>
                    <a:pt x="1023" y="1639"/>
                  </a:lnTo>
                  <a:lnTo>
                    <a:pt x="1022" y="1645"/>
                  </a:lnTo>
                  <a:lnTo>
                    <a:pt x="1018" y="1650"/>
                  </a:lnTo>
                  <a:lnTo>
                    <a:pt x="1014" y="1655"/>
                  </a:lnTo>
                  <a:lnTo>
                    <a:pt x="1010" y="1659"/>
                  </a:lnTo>
                  <a:lnTo>
                    <a:pt x="1004" y="1661"/>
                  </a:lnTo>
                  <a:lnTo>
                    <a:pt x="999" y="1664"/>
                  </a:lnTo>
                  <a:lnTo>
                    <a:pt x="993" y="1664"/>
                  </a:lnTo>
                  <a:lnTo>
                    <a:pt x="891" y="1664"/>
                  </a:lnTo>
                  <a:lnTo>
                    <a:pt x="887" y="1678"/>
                  </a:lnTo>
                  <a:lnTo>
                    <a:pt x="881" y="1691"/>
                  </a:lnTo>
                  <a:lnTo>
                    <a:pt x="873" y="1703"/>
                  </a:lnTo>
                  <a:lnTo>
                    <a:pt x="865" y="1715"/>
                  </a:lnTo>
                  <a:lnTo>
                    <a:pt x="854" y="1726"/>
                  </a:lnTo>
                  <a:lnTo>
                    <a:pt x="843" y="1737"/>
                  </a:lnTo>
                  <a:lnTo>
                    <a:pt x="829" y="1746"/>
                  </a:lnTo>
                  <a:lnTo>
                    <a:pt x="815" y="1755"/>
                  </a:lnTo>
                  <a:lnTo>
                    <a:pt x="801" y="1764"/>
                  </a:lnTo>
                  <a:lnTo>
                    <a:pt x="785" y="1770"/>
                  </a:lnTo>
                  <a:lnTo>
                    <a:pt x="768" y="1777"/>
                  </a:lnTo>
                  <a:lnTo>
                    <a:pt x="750" y="1782"/>
                  </a:lnTo>
                  <a:lnTo>
                    <a:pt x="731" y="1787"/>
                  </a:lnTo>
                  <a:lnTo>
                    <a:pt x="712" y="1789"/>
                  </a:lnTo>
                  <a:lnTo>
                    <a:pt x="692" y="1792"/>
                  </a:lnTo>
                  <a:lnTo>
                    <a:pt x="672" y="1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8">
              <a:extLst>
                <a:ext uri="{FF2B5EF4-FFF2-40B4-BE49-F238E27FC236}">
                  <a16:creationId xmlns:a16="http://schemas.microsoft.com/office/drawing/2014/main" id="{8A3E6D6C-4DF9-4387-B9CB-4E81746E9DFB}"/>
                </a:ext>
              </a:extLst>
            </p:cNvPr>
            <p:cNvSpPr>
              <a:spLocks/>
            </p:cNvSpPr>
            <p:nvPr/>
          </p:nvSpPr>
          <p:spPr bwMode="auto">
            <a:xfrm>
              <a:off x="6948487" y="15621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5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5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5"/>
                  </a:lnTo>
                  <a:lnTo>
                    <a:pt x="19" y="3"/>
                  </a:lnTo>
                  <a:lnTo>
                    <a:pt x="25" y="0"/>
                  </a:lnTo>
                  <a:lnTo>
                    <a:pt x="31" y="0"/>
                  </a:lnTo>
                  <a:lnTo>
                    <a:pt x="672" y="0"/>
                  </a:lnTo>
                  <a:lnTo>
                    <a:pt x="678" y="0"/>
                  </a:lnTo>
                  <a:lnTo>
                    <a:pt x="683" y="3"/>
                  </a:lnTo>
                  <a:lnTo>
                    <a:pt x="689" y="5"/>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9">
              <a:extLst>
                <a:ext uri="{FF2B5EF4-FFF2-40B4-BE49-F238E27FC236}">
                  <a16:creationId xmlns:a16="http://schemas.microsoft.com/office/drawing/2014/main" id="{5FE466C3-C7E0-4F93-8B2F-96B055149E3F}"/>
                </a:ext>
              </a:extLst>
            </p:cNvPr>
            <p:cNvSpPr>
              <a:spLocks/>
            </p:cNvSpPr>
            <p:nvPr/>
          </p:nvSpPr>
          <p:spPr bwMode="auto">
            <a:xfrm>
              <a:off x="6948487" y="16129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6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6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6"/>
                  </a:lnTo>
                  <a:lnTo>
                    <a:pt x="19" y="3"/>
                  </a:lnTo>
                  <a:lnTo>
                    <a:pt x="25" y="0"/>
                  </a:lnTo>
                  <a:lnTo>
                    <a:pt x="31" y="0"/>
                  </a:lnTo>
                  <a:lnTo>
                    <a:pt x="672" y="0"/>
                  </a:lnTo>
                  <a:lnTo>
                    <a:pt x="678" y="0"/>
                  </a:lnTo>
                  <a:lnTo>
                    <a:pt x="683" y="3"/>
                  </a:lnTo>
                  <a:lnTo>
                    <a:pt x="689" y="6"/>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20">
              <a:extLst>
                <a:ext uri="{FF2B5EF4-FFF2-40B4-BE49-F238E27FC236}">
                  <a16:creationId xmlns:a16="http://schemas.microsoft.com/office/drawing/2014/main" id="{308E7572-374D-4B15-99CB-68ACFF3299F1}"/>
                </a:ext>
              </a:extLst>
            </p:cNvPr>
            <p:cNvSpPr>
              <a:spLocks/>
            </p:cNvSpPr>
            <p:nvPr/>
          </p:nvSpPr>
          <p:spPr bwMode="auto">
            <a:xfrm>
              <a:off x="6897687" y="1104900"/>
              <a:ext cx="190500" cy="190500"/>
            </a:xfrm>
            <a:custGeom>
              <a:avLst/>
              <a:gdLst>
                <a:gd name="T0" fmla="*/ 25 w 479"/>
                <a:gd name="T1" fmla="*/ 479 h 480"/>
                <a:gd name="T2" fmla="*/ 13 w 479"/>
                <a:gd name="T3" fmla="*/ 474 h 480"/>
                <a:gd name="T4" fmla="*/ 5 w 479"/>
                <a:gd name="T5" fmla="*/ 466 h 480"/>
                <a:gd name="T6" fmla="*/ 0 w 479"/>
                <a:gd name="T7" fmla="*/ 455 h 480"/>
                <a:gd name="T8" fmla="*/ 0 w 479"/>
                <a:gd name="T9" fmla="*/ 425 h 480"/>
                <a:gd name="T10" fmla="*/ 5 w 479"/>
                <a:gd name="T11" fmla="*/ 380 h 480"/>
                <a:gd name="T12" fmla="*/ 13 w 479"/>
                <a:gd name="T13" fmla="*/ 336 h 480"/>
                <a:gd name="T14" fmla="*/ 26 w 479"/>
                <a:gd name="T15" fmla="*/ 294 h 480"/>
                <a:gd name="T16" fmla="*/ 43 w 479"/>
                <a:gd name="T17" fmla="*/ 253 h 480"/>
                <a:gd name="T18" fmla="*/ 64 w 479"/>
                <a:gd name="T19" fmla="*/ 215 h 480"/>
                <a:gd name="T20" fmla="*/ 88 w 479"/>
                <a:gd name="T21" fmla="*/ 180 h 480"/>
                <a:gd name="T22" fmla="*/ 115 w 479"/>
                <a:gd name="T23" fmla="*/ 147 h 480"/>
                <a:gd name="T24" fmla="*/ 145 w 479"/>
                <a:gd name="T25" fmla="*/ 116 h 480"/>
                <a:gd name="T26" fmla="*/ 180 w 479"/>
                <a:gd name="T27" fmla="*/ 90 h 480"/>
                <a:gd name="T28" fmla="*/ 215 w 479"/>
                <a:gd name="T29" fmla="*/ 64 h 480"/>
                <a:gd name="T30" fmla="*/ 253 w 479"/>
                <a:gd name="T31" fmla="*/ 44 h 480"/>
                <a:gd name="T32" fmla="*/ 294 w 479"/>
                <a:gd name="T33" fmla="*/ 28 h 480"/>
                <a:gd name="T34" fmla="*/ 336 w 479"/>
                <a:gd name="T35" fmla="*/ 14 h 480"/>
                <a:gd name="T36" fmla="*/ 379 w 479"/>
                <a:gd name="T37" fmla="*/ 5 h 480"/>
                <a:gd name="T38" fmla="*/ 424 w 479"/>
                <a:gd name="T39" fmla="*/ 1 h 480"/>
                <a:gd name="T40" fmla="*/ 453 w 479"/>
                <a:gd name="T41" fmla="*/ 1 h 480"/>
                <a:gd name="T42" fmla="*/ 465 w 479"/>
                <a:gd name="T43" fmla="*/ 6 h 480"/>
                <a:gd name="T44" fmla="*/ 474 w 479"/>
                <a:gd name="T45" fmla="*/ 14 h 480"/>
                <a:gd name="T46" fmla="*/ 479 w 479"/>
                <a:gd name="T47" fmla="*/ 25 h 480"/>
                <a:gd name="T48" fmla="*/ 479 w 479"/>
                <a:gd name="T49" fmla="*/ 39 h 480"/>
                <a:gd name="T50" fmla="*/ 474 w 479"/>
                <a:gd name="T51" fmla="*/ 50 h 480"/>
                <a:gd name="T52" fmla="*/ 465 w 479"/>
                <a:gd name="T53" fmla="*/ 58 h 480"/>
                <a:gd name="T54" fmla="*/ 453 w 479"/>
                <a:gd name="T55" fmla="*/ 63 h 480"/>
                <a:gd name="T56" fmla="*/ 427 w 479"/>
                <a:gd name="T57" fmla="*/ 64 h 480"/>
                <a:gd name="T58" fmla="*/ 389 w 479"/>
                <a:gd name="T59" fmla="*/ 68 h 480"/>
                <a:gd name="T60" fmla="*/ 351 w 479"/>
                <a:gd name="T61" fmla="*/ 76 h 480"/>
                <a:gd name="T62" fmla="*/ 315 w 479"/>
                <a:gd name="T63" fmla="*/ 87 h 480"/>
                <a:gd name="T64" fmla="*/ 281 w 479"/>
                <a:gd name="T65" fmla="*/ 102 h 480"/>
                <a:gd name="T66" fmla="*/ 248 w 479"/>
                <a:gd name="T67" fmla="*/ 120 h 480"/>
                <a:gd name="T68" fmla="*/ 218 w 479"/>
                <a:gd name="T69" fmla="*/ 140 h 480"/>
                <a:gd name="T70" fmla="*/ 188 w 479"/>
                <a:gd name="T71" fmla="*/ 163 h 480"/>
                <a:gd name="T72" fmla="*/ 163 w 479"/>
                <a:gd name="T73" fmla="*/ 190 h 480"/>
                <a:gd name="T74" fmla="*/ 139 w 479"/>
                <a:gd name="T75" fmla="*/ 218 h 480"/>
                <a:gd name="T76" fmla="*/ 119 w 479"/>
                <a:gd name="T77" fmla="*/ 250 h 480"/>
                <a:gd name="T78" fmla="*/ 101 w 479"/>
                <a:gd name="T79" fmla="*/ 281 h 480"/>
                <a:gd name="T80" fmla="*/ 86 w 479"/>
                <a:gd name="T81" fmla="*/ 317 h 480"/>
                <a:gd name="T82" fmla="*/ 76 w 479"/>
                <a:gd name="T83" fmla="*/ 352 h 480"/>
                <a:gd name="T84" fmla="*/ 68 w 479"/>
                <a:gd name="T85" fmla="*/ 389 h 480"/>
                <a:gd name="T86" fmla="*/ 63 w 479"/>
                <a:gd name="T87" fmla="*/ 428 h 480"/>
                <a:gd name="T88" fmla="*/ 63 w 479"/>
                <a:gd name="T89" fmla="*/ 455 h 480"/>
                <a:gd name="T90" fmla="*/ 58 w 479"/>
                <a:gd name="T91" fmla="*/ 466 h 480"/>
                <a:gd name="T92" fmla="*/ 49 w 479"/>
                <a:gd name="T93" fmla="*/ 474 h 480"/>
                <a:gd name="T94" fmla="*/ 38 w 479"/>
                <a:gd name="T95" fmla="*/ 47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480">
                  <a:moveTo>
                    <a:pt x="31" y="480"/>
                  </a:moveTo>
                  <a:lnTo>
                    <a:pt x="25" y="479"/>
                  </a:lnTo>
                  <a:lnTo>
                    <a:pt x="19" y="478"/>
                  </a:lnTo>
                  <a:lnTo>
                    <a:pt x="13" y="474"/>
                  </a:lnTo>
                  <a:lnTo>
                    <a:pt x="8" y="470"/>
                  </a:lnTo>
                  <a:lnTo>
                    <a:pt x="5" y="466"/>
                  </a:lnTo>
                  <a:lnTo>
                    <a:pt x="2" y="460"/>
                  </a:lnTo>
                  <a:lnTo>
                    <a:pt x="0" y="455"/>
                  </a:lnTo>
                  <a:lnTo>
                    <a:pt x="0" y="449"/>
                  </a:lnTo>
                  <a:lnTo>
                    <a:pt x="0" y="425"/>
                  </a:lnTo>
                  <a:lnTo>
                    <a:pt x="1" y="402"/>
                  </a:lnTo>
                  <a:lnTo>
                    <a:pt x="5" y="380"/>
                  </a:lnTo>
                  <a:lnTo>
                    <a:pt x="8" y="357"/>
                  </a:lnTo>
                  <a:lnTo>
                    <a:pt x="13" y="336"/>
                  </a:lnTo>
                  <a:lnTo>
                    <a:pt x="20" y="315"/>
                  </a:lnTo>
                  <a:lnTo>
                    <a:pt x="26" y="294"/>
                  </a:lnTo>
                  <a:lnTo>
                    <a:pt x="34" y="274"/>
                  </a:lnTo>
                  <a:lnTo>
                    <a:pt x="43" y="253"/>
                  </a:lnTo>
                  <a:lnTo>
                    <a:pt x="53" y="234"/>
                  </a:lnTo>
                  <a:lnTo>
                    <a:pt x="64" y="215"/>
                  </a:lnTo>
                  <a:lnTo>
                    <a:pt x="76" y="198"/>
                  </a:lnTo>
                  <a:lnTo>
                    <a:pt x="88" y="180"/>
                  </a:lnTo>
                  <a:lnTo>
                    <a:pt x="101" y="163"/>
                  </a:lnTo>
                  <a:lnTo>
                    <a:pt x="115" y="147"/>
                  </a:lnTo>
                  <a:lnTo>
                    <a:pt x="130" y="132"/>
                  </a:lnTo>
                  <a:lnTo>
                    <a:pt x="145" y="116"/>
                  </a:lnTo>
                  <a:lnTo>
                    <a:pt x="162" y="102"/>
                  </a:lnTo>
                  <a:lnTo>
                    <a:pt x="180" y="90"/>
                  </a:lnTo>
                  <a:lnTo>
                    <a:pt x="196" y="77"/>
                  </a:lnTo>
                  <a:lnTo>
                    <a:pt x="215" y="64"/>
                  </a:lnTo>
                  <a:lnTo>
                    <a:pt x="234" y="54"/>
                  </a:lnTo>
                  <a:lnTo>
                    <a:pt x="253" y="44"/>
                  </a:lnTo>
                  <a:lnTo>
                    <a:pt x="273" y="35"/>
                  </a:lnTo>
                  <a:lnTo>
                    <a:pt x="294" y="28"/>
                  </a:lnTo>
                  <a:lnTo>
                    <a:pt x="314" y="20"/>
                  </a:lnTo>
                  <a:lnTo>
                    <a:pt x="336" y="14"/>
                  </a:lnTo>
                  <a:lnTo>
                    <a:pt x="357" y="9"/>
                  </a:lnTo>
                  <a:lnTo>
                    <a:pt x="379" y="5"/>
                  </a:lnTo>
                  <a:lnTo>
                    <a:pt x="401" y="2"/>
                  </a:lnTo>
                  <a:lnTo>
                    <a:pt x="424" y="1"/>
                  </a:lnTo>
                  <a:lnTo>
                    <a:pt x="447" y="0"/>
                  </a:lnTo>
                  <a:lnTo>
                    <a:pt x="453" y="1"/>
                  </a:lnTo>
                  <a:lnTo>
                    <a:pt x="460" y="2"/>
                  </a:lnTo>
                  <a:lnTo>
                    <a:pt x="465" y="6"/>
                  </a:lnTo>
                  <a:lnTo>
                    <a:pt x="470" y="10"/>
                  </a:lnTo>
                  <a:lnTo>
                    <a:pt x="474" y="14"/>
                  </a:lnTo>
                  <a:lnTo>
                    <a:pt x="476" y="20"/>
                  </a:lnTo>
                  <a:lnTo>
                    <a:pt x="479" y="25"/>
                  </a:lnTo>
                  <a:lnTo>
                    <a:pt x="479" y="31"/>
                  </a:lnTo>
                  <a:lnTo>
                    <a:pt x="479" y="39"/>
                  </a:lnTo>
                  <a:lnTo>
                    <a:pt x="476" y="44"/>
                  </a:lnTo>
                  <a:lnTo>
                    <a:pt x="474" y="50"/>
                  </a:lnTo>
                  <a:lnTo>
                    <a:pt x="470" y="54"/>
                  </a:lnTo>
                  <a:lnTo>
                    <a:pt x="465" y="58"/>
                  </a:lnTo>
                  <a:lnTo>
                    <a:pt x="460" y="62"/>
                  </a:lnTo>
                  <a:lnTo>
                    <a:pt x="453" y="63"/>
                  </a:lnTo>
                  <a:lnTo>
                    <a:pt x="447" y="64"/>
                  </a:lnTo>
                  <a:lnTo>
                    <a:pt x="427" y="64"/>
                  </a:lnTo>
                  <a:lnTo>
                    <a:pt x="408" y="66"/>
                  </a:lnTo>
                  <a:lnTo>
                    <a:pt x="389" y="68"/>
                  </a:lnTo>
                  <a:lnTo>
                    <a:pt x="370" y="72"/>
                  </a:lnTo>
                  <a:lnTo>
                    <a:pt x="351" y="76"/>
                  </a:lnTo>
                  <a:lnTo>
                    <a:pt x="333" y="81"/>
                  </a:lnTo>
                  <a:lnTo>
                    <a:pt x="315" y="87"/>
                  </a:lnTo>
                  <a:lnTo>
                    <a:pt x="297" y="95"/>
                  </a:lnTo>
                  <a:lnTo>
                    <a:pt x="281" y="102"/>
                  </a:lnTo>
                  <a:lnTo>
                    <a:pt x="265" y="110"/>
                  </a:lnTo>
                  <a:lnTo>
                    <a:pt x="248" y="120"/>
                  </a:lnTo>
                  <a:lnTo>
                    <a:pt x="233" y="129"/>
                  </a:lnTo>
                  <a:lnTo>
                    <a:pt x="218" y="140"/>
                  </a:lnTo>
                  <a:lnTo>
                    <a:pt x="202" y="152"/>
                  </a:lnTo>
                  <a:lnTo>
                    <a:pt x="188" y="163"/>
                  </a:lnTo>
                  <a:lnTo>
                    <a:pt x="176" y="177"/>
                  </a:lnTo>
                  <a:lnTo>
                    <a:pt x="163" y="190"/>
                  </a:lnTo>
                  <a:lnTo>
                    <a:pt x="150" y="204"/>
                  </a:lnTo>
                  <a:lnTo>
                    <a:pt x="139" y="218"/>
                  </a:lnTo>
                  <a:lnTo>
                    <a:pt x="129" y="233"/>
                  </a:lnTo>
                  <a:lnTo>
                    <a:pt x="119" y="250"/>
                  </a:lnTo>
                  <a:lnTo>
                    <a:pt x="110" y="265"/>
                  </a:lnTo>
                  <a:lnTo>
                    <a:pt x="101" y="281"/>
                  </a:lnTo>
                  <a:lnTo>
                    <a:pt x="93" y="299"/>
                  </a:lnTo>
                  <a:lnTo>
                    <a:pt x="86" y="317"/>
                  </a:lnTo>
                  <a:lnTo>
                    <a:pt x="81" y="334"/>
                  </a:lnTo>
                  <a:lnTo>
                    <a:pt x="76" y="352"/>
                  </a:lnTo>
                  <a:lnTo>
                    <a:pt x="71" y="371"/>
                  </a:lnTo>
                  <a:lnTo>
                    <a:pt x="68" y="389"/>
                  </a:lnTo>
                  <a:lnTo>
                    <a:pt x="65" y="409"/>
                  </a:lnTo>
                  <a:lnTo>
                    <a:pt x="63" y="428"/>
                  </a:lnTo>
                  <a:lnTo>
                    <a:pt x="63" y="449"/>
                  </a:lnTo>
                  <a:lnTo>
                    <a:pt x="63" y="455"/>
                  </a:lnTo>
                  <a:lnTo>
                    <a:pt x="60" y="460"/>
                  </a:lnTo>
                  <a:lnTo>
                    <a:pt x="58" y="466"/>
                  </a:lnTo>
                  <a:lnTo>
                    <a:pt x="54" y="470"/>
                  </a:lnTo>
                  <a:lnTo>
                    <a:pt x="49" y="474"/>
                  </a:lnTo>
                  <a:lnTo>
                    <a:pt x="44" y="478"/>
                  </a:lnTo>
                  <a:lnTo>
                    <a:pt x="38" y="479"/>
                  </a:lnTo>
                  <a:lnTo>
                    <a:pt x="31"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6" name="Gruppieren 735">
            <a:extLst>
              <a:ext uri="{FF2B5EF4-FFF2-40B4-BE49-F238E27FC236}">
                <a16:creationId xmlns:a16="http://schemas.microsoft.com/office/drawing/2014/main" id="{43E70F04-7D6E-4F55-9ECE-C44BD722DA58}"/>
              </a:ext>
            </a:extLst>
          </p:cNvPr>
          <p:cNvGrpSpPr>
            <a:grpSpLocks noChangeAspect="1"/>
          </p:cNvGrpSpPr>
          <p:nvPr/>
        </p:nvGrpSpPr>
        <p:grpSpPr>
          <a:xfrm>
            <a:off x="1477864" y="4879041"/>
            <a:ext cx="287575" cy="285619"/>
            <a:chOff x="3896333" y="4953768"/>
            <a:chExt cx="219725" cy="218230"/>
          </a:xfrm>
          <a:solidFill>
            <a:schemeClr val="bg2"/>
          </a:solidFill>
          <a:effectLst/>
        </p:grpSpPr>
        <p:sp>
          <p:nvSpPr>
            <p:cNvPr id="737" name="Freeform 273">
              <a:extLst>
                <a:ext uri="{FF2B5EF4-FFF2-40B4-BE49-F238E27FC236}">
                  <a16:creationId xmlns:a16="http://schemas.microsoft.com/office/drawing/2014/main" id="{A66EA8F8-DED1-4773-815F-22CCAB4A9724}"/>
                </a:ext>
              </a:extLst>
            </p:cNvPr>
            <p:cNvSpPr>
              <a:spLocks noEditPoints="1"/>
            </p:cNvSpPr>
            <p:nvPr/>
          </p:nvSpPr>
          <p:spPr bwMode="auto">
            <a:xfrm>
              <a:off x="3896333" y="4953768"/>
              <a:ext cx="219725" cy="218230"/>
            </a:xfrm>
            <a:custGeom>
              <a:avLst/>
              <a:gdLst>
                <a:gd name="T0" fmla="*/ 239 w 585"/>
                <a:gd name="T1" fmla="*/ 554 h 586"/>
                <a:gd name="T2" fmla="*/ 177 w 585"/>
                <a:gd name="T3" fmla="*/ 534 h 586"/>
                <a:gd name="T4" fmla="*/ 122 w 585"/>
                <a:gd name="T5" fmla="*/ 500 h 586"/>
                <a:gd name="T6" fmla="*/ 78 w 585"/>
                <a:gd name="T7" fmla="*/ 452 h 586"/>
                <a:gd name="T8" fmla="*/ 46 w 585"/>
                <a:gd name="T9" fmla="*/ 397 h 586"/>
                <a:gd name="T10" fmla="*/ 29 w 585"/>
                <a:gd name="T11" fmla="*/ 333 h 586"/>
                <a:gd name="T12" fmla="*/ 26 w 585"/>
                <a:gd name="T13" fmla="*/ 266 h 586"/>
                <a:gd name="T14" fmla="*/ 42 w 585"/>
                <a:gd name="T15" fmla="*/ 201 h 586"/>
                <a:gd name="T16" fmla="*/ 71 w 585"/>
                <a:gd name="T17" fmla="*/ 144 h 586"/>
                <a:gd name="T18" fmla="*/ 112 w 585"/>
                <a:gd name="T19" fmla="*/ 95 h 586"/>
                <a:gd name="T20" fmla="*/ 165 w 585"/>
                <a:gd name="T21" fmla="*/ 58 h 586"/>
                <a:gd name="T22" fmla="*/ 226 w 585"/>
                <a:gd name="T23" fmla="*/ 34 h 586"/>
                <a:gd name="T24" fmla="*/ 293 w 585"/>
                <a:gd name="T25" fmla="*/ 25 h 586"/>
                <a:gd name="T26" fmla="*/ 359 w 585"/>
                <a:gd name="T27" fmla="*/ 34 h 586"/>
                <a:gd name="T28" fmla="*/ 419 w 585"/>
                <a:gd name="T29" fmla="*/ 58 h 586"/>
                <a:gd name="T30" fmla="*/ 472 w 585"/>
                <a:gd name="T31" fmla="*/ 95 h 586"/>
                <a:gd name="T32" fmla="*/ 514 w 585"/>
                <a:gd name="T33" fmla="*/ 144 h 586"/>
                <a:gd name="T34" fmla="*/ 544 w 585"/>
                <a:gd name="T35" fmla="*/ 201 h 586"/>
                <a:gd name="T36" fmla="*/ 558 w 585"/>
                <a:gd name="T37" fmla="*/ 266 h 586"/>
                <a:gd name="T38" fmla="*/ 557 w 585"/>
                <a:gd name="T39" fmla="*/ 333 h 586"/>
                <a:gd name="T40" fmla="*/ 539 w 585"/>
                <a:gd name="T41" fmla="*/ 397 h 586"/>
                <a:gd name="T42" fmla="*/ 506 w 585"/>
                <a:gd name="T43" fmla="*/ 452 h 586"/>
                <a:gd name="T44" fmla="*/ 462 w 585"/>
                <a:gd name="T45" fmla="*/ 500 h 586"/>
                <a:gd name="T46" fmla="*/ 409 w 585"/>
                <a:gd name="T47" fmla="*/ 534 h 586"/>
                <a:gd name="T48" fmla="*/ 346 w 585"/>
                <a:gd name="T49" fmla="*/ 554 h 586"/>
                <a:gd name="T50" fmla="*/ 293 w 585"/>
                <a:gd name="T51" fmla="*/ 0 h 586"/>
                <a:gd name="T52" fmla="*/ 220 w 585"/>
                <a:gd name="T53" fmla="*/ 9 h 586"/>
                <a:gd name="T54" fmla="*/ 153 w 585"/>
                <a:gd name="T55" fmla="*/ 36 h 586"/>
                <a:gd name="T56" fmla="*/ 95 w 585"/>
                <a:gd name="T57" fmla="*/ 77 h 586"/>
                <a:gd name="T58" fmla="*/ 50 w 585"/>
                <a:gd name="T59" fmla="*/ 129 h 586"/>
                <a:gd name="T60" fmla="*/ 18 w 585"/>
                <a:gd name="T61" fmla="*/ 193 h 586"/>
                <a:gd name="T62" fmla="*/ 1 w 585"/>
                <a:gd name="T63" fmla="*/ 263 h 586"/>
                <a:gd name="T64" fmla="*/ 3 w 585"/>
                <a:gd name="T65" fmla="*/ 338 h 586"/>
                <a:gd name="T66" fmla="*/ 22 w 585"/>
                <a:gd name="T67" fmla="*/ 407 h 586"/>
                <a:gd name="T68" fmla="*/ 58 w 585"/>
                <a:gd name="T69" fmla="*/ 469 h 586"/>
                <a:gd name="T70" fmla="*/ 106 w 585"/>
                <a:gd name="T71" fmla="*/ 519 h 586"/>
                <a:gd name="T72" fmla="*/ 166 w 585"/>
                <a:gd name="T73" fmla="*/ 557 h 586"/>
                <a:gd name="T74" fmla="*/ 234 w 585"/>
                <a:gd name="T75" fmla="*/ 580 h 586"/>
                <a:gd name="T76" fmla="*/ 308 w 585"/>
                <a:gd name="T77" fmla="*/ 586 h 586"/>
                <a:gd name="T78" fmla="*/ 380 w 585"/>
                <a:gd name="T79" fmla="*/ 573 h 586"/>
                <a:gd name="T80" fmla="*/ 444 w 585"/>
                <a:gd name="T81" fmla="*/ 544 h 586"/>
                <a:gd name="T82" fmla="*/ 499 w 585"/>
                <a:gd name="T83" fmla="*/ 500 h 586"/>
                <a:gd name="T84" fmla="*/ 543 w 585"/>
                <a:gd name="T85" fmla="*/ 445 h 586"/>
                <a:gd name="T86" fmla="*/ 572 w 585"/>
                <a:gd name="T87" fmla="*/ 380 h 586"/>
                <a:gd name="T88" fmla="*/ 585 w 585"/>
                <a:gd name="T89" fmla="*/ 307 h 586"/>
                <a:gd name="T90" fmla="*/ 579 w 585"/>
                <a:gd name="T91" fmla="*/ 234 h 586"/>
                <a:gd name="T92" fmla="*/ 557 w 585"/>
                <a:gd name="T93" fmla="*/ 167 h 586"/>
                <a:gd name="T94" fmla="*/ 518 w 585"/>
                <a:gd name="T95" fmla="*/ 107 h 586"/>
                <a:gd name="T96" fmla="*/ 468 w 585"/>
                <a:gd name="T97" fmla="*/ 58 h 586"/>
                <a:gd name="T98" fmla="*/ 407 w 585"/>
                <a:gd name="T99" fmla="*/ 23 h 586"/>
                <a:gd name="T100" fmla="*/ 337 w 585"/>
                <a:gd name="T101" fmla="*/ 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5" h="586">
                  <a:moveTo>
                    <a:pt x="293" y="560"/>
                  </a:moveTo>
                  <a:lnTo>
                    <a:pt x="279" y="560"/>
                  </a:lnTo>
                  <a:lnTo>
                    <a:pt x="265" y="559"/>
                  </a:lnTo>
                  <a:lnTo>
                    <a:pt x="252" y="558"/>
                  </a:lnTo>
                  <a:lnTo>
                    <a:pt x="239" y="554"/>
                  </a:lnTo>
                  <a:lnTo>
                    <a:pt x="226" y="552"/>
                  </a:lnTo>
                  <a:lnTo>
                    <a:pt x="213" y="548"/>
                  </a:lnTo>
                  <a:lnTo>
                    <a:pt x="200" y="544"/>
                  </a:lnTo>
                  <a:lnTo>
                    <a:pt x="189" y="539"/>
                  </a:lnTo>
                  <a:lnTo>
                    <a:pt x="177" y="534"/>
                  </a:lnTo>
                  <a:lnTo>
                    <a:pt x="165" y="528"/>
                  </a:lnTo>
                  <a:lnTo>
                    <a:pt x="154" y="521"/>
                  </a:lnTo>
                  <a:lnTo>
                    <a:pt x="144" y="515"/>
                  </a:lnTo>
                  <a:lnTo>
                    <a:pt x="133" y="507"/>
                  </a:lnTo>
                  <a:lnTo>
                    <a:pt x="122" y="500"/>
                  </a:lnTo>
                  <a:lnTo>
                    <a:pt x="112" y="491"/>
                  </a:lnTo>
                  <a:lnTo>
                    <a:pt x="104" y="482"/>
                  </a:lnTo>
                  <a:lnTo>
                    <a:pt x="94" y="473"/>
                  </a:lnTo>
                  <a:lnTo>
                    <a:pt x="87" y="463"/>
                  </a:lnTo>
                  <a:lnTo>
                    <a:pt x="78" y="452"/>
                  </a:lnTo>
                  <a:lnTo>
                    <a:pt x="71" y="443"/>
                  </a:lnTo>
                  <a:lnTo>
                    <a:pt x="64" y="432"/>
                  </a:lnTo>
                  <a:lnTo>
                    <a:pt x="58" y="420"/>
                  </a:lnTo>
                  <a:lnTo>
                    <a:pt x="51" y="408"/>
                  </a:lnTo>
                  <a:lnTo>
                    <a:pt x="46" y="397"/>
                  </a:lnTo>
                  <a:lnTo>
                    <a:pt x="42" y="385"/>
                  </a:lnTo>
                  <a:lnTo>
                    <a:pt x="37" y="372"/>
                  </a:lnTo>
                  <a:lnTo>
                    <a:pt x="34" y="360"/>
                  </a:lnTo>
                  <a:lnTo>
                    <a:pt x="31" y="347"/>
                  </a:lnTo>
                  <a:lnTo>
                    <a:pt x="29" y="333"/>
                  </a:lnTo>
                  <a:lnTo>
                    <a:pt x="26" y="320"/>
                  </a:lnTo>
                  <a:lnTo>
                    <a:pt x="25" y="306"/>
                  </a:lnTo>
                  <a:lnTo>
                    <a:pt x="25" y="292"/>
                  </a:lnTo>
                  <a:lnTo>
                    <a:pt x="25" y="280"/>
                  </a:lnTo>
                  <a:lnTo>
                    <a:pt x="26" y="266"/>
                  </a:lnTo>
                  <a:lnTo>
                    <a:pt x="29" y="253"/>
                  </a:lnTo>
                  <a:lnTo>
                    <a:pt x="31" y="240"/>
                  </a:lnTo>
                  <a:lnTo>
                    <a:pt x="34" y="227"/>
                  </a:lnTo>
                  <a:lnTo>
                    <a:pt x="37" y="214"/>
                  </a:lnTo>
                  <a:lnTo>
                    <a:pt x="42" y="201"/>
                  </a:lnTo>
                  <a:lnTo>
                    <a:pt x="46" y="189"/>
                  </a:lnTo>
                  <a:lnTo>
                    <a:pt x="51" y="178"/>
                  </a:lnTo>
                  <a:lnTo>
                    <a:pt x="58" y="166"/>
                  </a:lnTo>
                  <a:lnTo>
                    <a:pt x="64" y="155"/>
                  </a:lnTo>
                  <a:lnTo>
                    <a:pt x="71" y="144"/>
                  </a:lnTo>
                  <a:lnTo>
                    <a:pt x="78" y="134"/>
                  </a:lnTo>
                  <a:lnTo>
                    <a:pt x="87" y="123"/>
                  </a:lnTo>
                  <a:lnTo>
                    <a:pt x="94" y="113"/>
                  </a:lnTo>
                  <a:lnTo>
                    <a:pt x="104" y="105"/>
                  </a:lnTo>
                  <a:lnTo>
                    <a:pt x="112" y="95"/>
                  </a:lnTo>
                  <a:lnTo>
                    <a:pt x="122" y="87"/>
                  </a:lnTo>
                  <a:lnTo>
                    <a:pt x="133" y="79"/>
                  </a:lnTo>
                  <a:lnTo>
                    <a:pt x="144" y="71"/>
                  </a:lnTo>
                  <a:lnTo>
                    <a:pt x="154" y="65"/>
                  </a:lnTo>
                  <a:lnTo>
                    <a:pt x="165" y="58"/>
                  </a:lnTo>
                  <a:lnTo>
                    <a:pt x="177" y="52"/>
                  </a:lnTo>
                  <a:lnTo>
                    <a:pt x="189" y="47"/>
                  </a:lnTo>
                  <a:lnTo>
                    <a:pt x="200" y="42"/>
                  </a:lnTo>
                  <a:lnTo>
                    <a:pt x="213" y="38"/>
                  </a:lnTo>
                  <a:lnTo>
                    <a:pt x="226" y="34"/>
                  </a:lnTo>
                  <a:lnTo>
                    <a:pt x="239" y="30"/>
                  </a:lnTo>
                  <a:lnTo>
                    <a:pt x="252" y="28"/>
                  </a:lnTo>
                  <a:lnTo>
                    <a:pt x="265" y="27"/>
                  </a:lnTo>
                  <a:lnTo>
                    <a:pt x="279" y="26"/>
                  </a:lnTo>
                  <a:lnTo>
                    <a:pt x="293" y="25"/>
                  </a:lnTo>
                  <a:lnTo>
                    <a:pt x="306" y="26"/>
                  </a:lnTo>
                  <a:lnTo>
                    <a:pt x="320" y="27"/>
                  </a:lnTo>
                  <a:lnTo>
                    <a:pt x="334" y="28"/>
                  </a:lnTo>
                  <a:lnTo>
                    <a:pt x="346" y="30"/>
                  </a:lnTo>
                  <a:lnTo>
                    <a:pt x="359" y="34"/>
                  </a:lnTo>
                  <a:lnTo>
                    <a:pt x="372" y="38"/>
                  </a:lnTo>
                  <a:lnTo>
                    <a:pt x="384" y="42"/>
                  </a:lnTo>
                  <a:lnTo>
                    <a:pt x="397" y="47"/>
                  </a:lnTo>
                  <a:lnTo>
                    <a:pt x="409" y="52"/>
                  </a:lnTo>
                  <a:lnTo>
                    <a:pt x="419" y="58"/>
                  </a:lnTo>
                  <a:lnTo>
                    <a:pt x="431" y="65"/>
                  </a:lnTo>
                  <a:lnTo>
                    <a:pt x="442" y="71"/>
                  </a:lnTo>
                  <a:lnTo>
                    <a:pt x="453" y="79"/>
                  </a:lnTo>
                  <a:lnTo>
                    <a:pt x="462" y="87"/>
                  </a:lnTo>
                  <a:lnTo>
                    <a:pt x="472" y="95"/>
                  </a:lnTo>
                  <a:lnTo>
                    <a:pt x="482" y="105"/>
                  </a:lnTo>
                  <a:lnTo>
                    <a:pt x="490" y="113"/>
                  </a:lnTo>
                  <a:lnTo>
                    <a:pt x="499" y="123"/>
                  </a:lnTo>
                  <a:lnTo>
                    <a:pt x="506" y="134"/>
                  </a:lnTo>
                  <a:lnTo>
                    <a:pt x="514" y="144"/>
                  </a:lnTo>
                  <a:lnTo>
                    <a:pt x="521" y="155"/>
                  </a:lnTo>
                  <a:lnTo>
                    <a:pt x="528" y="166"/>
                  </a:lnTo>
                  <a:lnTo>
                    <a:pt x="533" y="178"/>
                  </a:lnTo>
                  <a:lnTo>
                    <a:pt x="539" y="189"/>
                  </a:lnTo>
                  <a:lnTo>
                    <a:pt x="544" y="201"/>
                  </a:lnTo>
                  <a:lnTo>
                    <a:pt x="548" y="214"/>
                  </a:lnTo>
                  <a:lnTo>
                    <a:pt x="551" y="227"/>
                  </a:lnTo>
                  <a:lnTo>
                    <a:pt x="555" y="240"/>
                  </a:lnTo>
                  <a:lnTo>
                    <a:pt x="557" y="253"/>
                  </a:lnTo>
                  <a:lnTo>
                    <a:pt x="558" y="266"/>
                  </a:lnTo>
                  <a:lnTo>
                    <a:pt x="559" y="280"/>
                  </a:lnTo>
                  <a:lnTo>
                    <a:pt x="560" y="292"/>
                  </a:lnTo>
                  <a:lnTo>
                    <a:pt x="559" y="306"/>
                  </a:lnTo>
                  <a:lnTo>
                    <a:pt x="558" y="320"/>
                  </a:lnTo>
                  <a:lnTo>
                    <a:pt x="557" y="333"/>
                  </a:lnTo>
                  <a:lnTo>
                    <a:pt x="555" y="347"/>
                  </a:lnTo>
                  <a:lnTo>
                    <a:pt x="551" y="360"/>
                  </a:lnTo>
                  <a:lnTo>
                    <a:pt x="548" y="372"/>
                  </a:lnTo>
                  <a:lnTo>
                    <a:pt x="544" y="385"/>
                  </a:lnTo>
                  <a:lnTo>
                    <a:pt x="539" y="397"/>
                  </a:lnTo>
                  <a:lnTo>
                    <a:pt x="533" y="408"/>
                  </a:lnTo>
                  <a:lnTo>
                    <a:pt x="528" y="420"/>
                  </a:lnTo>
                  <a:lnTo>
                    <a:pt x="521" y="432"/>
                  </a:lnTo>
                  <a:lnTo>
                    <a:pt x="514" y="443"/>
                  </a:lnTo>
                  <a:lnTo>
                    <a:pt x="506" y="452"/>
                  </a:lnTo>
                  <a:lnTo>
                    <a:pt x="499" y="463"/>
                  </a:lnTo>
                  <a:lnTo>
                    <a:pt x="490" y="473"/>
                  </a:lnTo>
                  <a:lnTo>
                    <a:pt x="482" y="482"/>
                  </a:lnTo>
                  <a:lnTo>
                    <a:pt x="472" y="491"/>
                  </a:lnTo>
                  <a:lnTo>
                    <a:pt x="462" y="500"/>
                  </a:lnTo>
                  <a:lnTo>
                    <a:pt x="453" y="507"/>
                  </a:lnTo>
                  <a:lnTo>
                    <a:pt x="442" y="515"/>
                  </a:lnTo>
                  <a:lnTo>
                    <a:pt x="431" y="521"/>
                  </a:lnTo>
                  <a:lnTo>
                    <a:pt x="419" y="528"/>
                  </a:lnTo>
                  <a:lnTo>
                    <a:pt x="409" y="534"/>
                  </a:lnTo>
                  <a:lnTo>
                    <a:pt x="397" y="539"/>
                  </a:lnTo>
                  <a:lnTo>
                    <a:pt x="384" y="544"/>
                  </a:lnTo>
                  <a:lnTo>
                    <a:pt x="372" y="548"/>
                  </a:lnTo>
                  <a:lnTo>
                    <a:pt x="359" y="552"/>
                  </a:lnTo>
                  <a:lnTo>
                    <a:pt x="346" y="554"/>
                  </a:lnTo>
                  <a:lnTo>
                    <a:pt x="334" y="558"/>
                  </a:lnTo>
                  <a:lnTo>
                    <a:pt x="320" y="559"/>
                  </a:lnTo>
                  <a:lnTo>
                    <a:pt x="306" y="560"/>
                  </a:lnTo>
                  <a:lnTo>
                    <a:pt x="293" y="560"/>
                  </a:lnTo>
                  <a:close/>
                  <a:moveTo>
                    <a:pt x="293" y="0"/>
                  </a:moveTo>
                  <a:lnTo>
                    <a:pt x="278" y="0"/>
                  </a:lnTo>
                  <a:lnTo>
                    <a:pt x="263" y="1"/>
                  </a:lnTo>
                  <a:lnTo>
                    <a:pt x="248" y="4"/>
                  </a:lnTo>
                  <a:lnTo>
                    <a:pt x="234" y="6"/>
                  </a:lnTo>
                  <a:lnTo>
                    <a:pt x="220" y="9"/>
                  </a:lnTo>
                  <a:lnTo>
                    <a:pt x="206" y="13"/>
                  </a:lnTo>
                  <a:lnTo>
                    <a:pt x="192" y="18"/>
                  </a:lnTo>
                  <a:lnTo>
                    <a:pt x="179" y="23"/>
                  </a:lnTo>
                  <a:lnTo>
                    <a:pt x="166" y="29"/>
                  </a:lnTo>
                  <a:lnTo>
                    <a:pt x="153" y="36"/>
                  </a:lnTo>
                  <a:lnTo>
                    <a:pt x="140" y="42"/>
                  </a:lnTo>
                  <a:lnTo>
                    <a:pt x="128" y="51"/>
                  </a:lnTo>
                  <a:lnTo>
                    <a:pt x="118" y="58"/>
                  </a:lnTo>
                  <a:lnTo>
                    <a:pt x="106" y="67"/>
                  </a:lnTo>
                  <a:lnTo>
                    <a:pt x="95" y="77"/>
                  </a:lnTo>
                  <a:lnTo>
                    <a:pt x="86" y="86"/>
                  </a:lnTo>
                  <a:lnTo>
                    <a:pt x="76" y="97"/>
                  </a:lnTo>
                  <a:lnTo>
                    <a:pt x="66" y="107"/>
                  </a:lnTo>
                  <a:lnTo>
                    <a:pt x="58" y="118"/>
                  </a:lnTo>
                  <a:lnTo>
                    <a:pt x="50" y="129"/>
                  </a:lnTo>
                  <a:lnTo>
                    <a:pt x="42" y="142"/>
                  </a:lnTo>
                  <a:lnTo>
                    <a:pt x="35" y="154"/>
                  </a:lnTo>
                  <a:lnTo>
                    <a:pt x="29" y="167"/>
                  </a:lnTo>
                  <a:lnTo>
                    <a:pt x="22" y="180"/>
                  </a:lnTo>
                  <a:lnTo>
                    <a:pt x="18" y="193"/>
                  </a:lnTo>
                  <a:lnTo>
                    <a:pt x="13" y="207"/>
                  </a:lnTo>
                  <a:lnTo>
                    <a:pt x="9" y="220"/>
                  </a:lnTo>
                  <a:lnTo>
                    <a:pt x="5" y="234"/>
                  </a:lnTo>
                  <a:lnTo>
                    <a:pt x="3" y="248"/>
                  </a:lnTo>
                  <a:lnTo>
                    <a:pt x="1" y="263"/>
                  </a:lnTo>
                  <a:lnTo>
                    <a:pt x="0" y="277"/>
                  </a:lnTo>
                  <a:lnTo>
                    <a:pt x="0" y="292"/>
                  </a:lnTo>
                  <a:lnTo>
                    <a:pt x="0" y="307"/>
                  </a:lnTo>
                  <a:lnTo>
                    <a:pt x="1" y="322"/>
                  </a:lnTo>
                  <a:lnTo>
                    <a:pt x="3" y="338"/>
                  </a:lnTo>
                  <a:lnTo>
                    <a:pt x="5" y="351"/>
                  </a:lnTo>
                  <a:lnTo>
                    <a:pt x="9" y="367"/>
                  </a:lnTo>
                  <a:lnTo>
                    <a:pt x="13" y="380"/>
                  </a:lnTo>
                  <a:lnTo>
                    <a:pt x="18" y="393"/>
                  </a:lnTo>
                  <a:lnTo>
                    <a:pt x="22" y="407"/>
                  </a:lnTo>
                  <a:lnTo>
                    <a:pt x="29" y="420"/>
                  </a:lnTo>
                  <a:lnTo>
                    <a:pt x="35" y="432"/>
                  </a:lnTo>
                  <a:lnTo>
                    <a:pt x="42" y="445"/>
                  </a:lnTo>
                  <a:lnTo>
                    <a:pt x="50" y="457"/>
                  </a:lnTo>
                  <a:lnTo>
                    <a:pt x="58" y="469"/>
                  </a:lnTo>
                  <a:lnTo>
                    <a:pt x="66" y="479"/>
                  </a:lnTo>
                  <a:lnTo>
                    <a:pt x="76" y="490"/>
                  </a:lnTo>
                  <a:lnTo>
                    <a:pt x="86" y="500"/>
                  </a:lnTo>
                  <a:lnTo>
                    <a:pt x="95" y="509"/>
                  </a:lnTo>
                  <a:lnTo>
                    <a:pt x="106" y="519"/>
                  </a:lnTo>
                  <a:lnTo>
                    <a:pt x="118" y="528"/>
                  </a:lnTo>
                  <a:lnTo>
                    <a:pt x="128" y="536"/>
                  </a:lnTo>
                  <a:lnTo>
                    <a:pt x="140" y="544"/>
                  </a:lnTo>
                  <a:lnTo>
                    <a:pt x="153" y="550"/>
                  </a:lnTo>
                  <a:lnTo>
                    <a:pt x="166" y="557"/>
                  </a:lnTo>
                  <a:lnTo>
                    <a:pt x="179" y="563"/>
                  </a:lnTo>
                  <a:lnTo>
                    <a:pt x="192" y="568"/>
                  </a:lnTo>
                  <a:lnTo>
                    <a:pt x="206" y="573"/>
                  </a:lnTo>
                  <a:lnTo>
                    <a:pt x="220" y="577"/>
                  </a:lnTo>
                  <a:lnTo>
                    <a:pt x="234" y="580"/>
                  </a:lnTo>
                  <a:lnTo>
                    <a:pt x="248" y="582"/>
                  </a:lnTo>
                  <a:lnTo>
                    <a:pt x="263" y="584"/>
                  </a:lnTo>
                  <a:lnTo>
                    <a:pt x="278" y="586"/>
                  </a:lnTo>
                  <a:lnTo>
                    <a:pt x="293" y="586"/>
                  </a:lnTo>
                  <a:lnTo>
                    <a:pt x="308" y="586"/>
                  </a:lnTo>
                  <a:lnTo>
                    <a:pt x="323" y="584"/>
                  </a:lnTo>
                  <a:lnTo>
                    <a:pt x="337" y="582"/>
                  </a:lnTo>
                  <a:lnTo>
                    <a:pt x="352" y="580"/>
                  </a:lnTo>
                  <a:lnTo>
                    <a:pt x="366" y="577"/>
                  </a:lnTo>
                  <a:lnTo>
                    <a:pt x="380" y="573"/>
                  </a:lnTo>
                  <a:lnTo>
                    <a:pt x="393" y="568"/>
                  </a:lnTo>
                  <a:lnTo>
                    <a:pt x="407" y="563"/>
                  </a:lnTo>
                  <a:lnTo>
                    <a:pt x="419" y="557"/>
                  </a:lnTo>
                  <a:lnTo>
                    <a:pt x="432" y="550"/>
                  </a:lnTo>
                  <a:lnTo>
                    <a:pt x="444" y="544"/>
                  </a:lnTo>
                  <a:lnTo>
                    <a:pt x="456" y="536"/>
                  </a:lnTo>
                  <a:lnTo>
                    <a:pt x="468" y="528"/>
                  </a:lnTo>
                  <a:lnTo>
                    <a:pt x="478" y="519"/>
                  </a:lnTo>
                  <a:lnTo>
                    <a:pt x="489" y="509"/>
                  </a:lnTo>
                  <a:lnTo>
                    <a:pt x="499" y="500"/>
                  </a:lnTo>
                  <a:lnTo>
                    <a:pt x="510" y="490"/>
                  </a:lnTo>
                  <a:lnTo>
                    <a:pt x="518" y="479"/>
                  </a:lnTo>
                  <a:lnTo>
                    <a:pt x="527" y="469"/>
                  </a:lnTo>
                  <a:lnTo>
                    <a:pt x="535" y="457"/>
                  </a:lnTo>
                  <a:lnTo>
                    <a:pt x="543" y="445"/>
                  </a:lnTo>
                  <a:lnTo>
                    <a:pt x="549" y="432"/>
                  </a:lnTo>
                  <a:lnTo>
                    <a:pt x="557" y="420"/>
                  </a:lnTo>
                  <a:lnTo>
                    <a:pt x="562" y="407"/>
                  </a:lnTo>
                  <a:lnTo>
                    <a:pt x="568" y="393"/>
                  </a:lnTo>
                  <a:lnTo>
                    <a:pt x="572" y="380"/>
                  </a:lnTo>
                  <a:lnTo>
                    <a:pt x="576" y="367"/>
                  </a:lnTo>
                  <a:lnTo>
                    <a:pt x="579" y="351"/>
                  </a:lnTo>
                  <a:lnTo>
                    <a:pt x="582" y="338"/>
                  </a:lnTo>
                  <a:lnTo>
                    <a:pt x="584" y="322"/>
                  </a:lnTo>
                  <a:lnTo>
                    <a:pt x="585" y="307"/>
                  </a:lnTo>
                  <a:lnTo>
                    <a:pt x="585" y="292"/>
                  </a:lnTo>
                  <a:lnTo>
                    <a:pt x="585" y="277"/>
                  </a:lnTo>
                  <a:lnTo>
                    <a:pt x="584" y="263"/>
                  </a:lnTo>
                  <a:lnTo>
                    <a:pt x="582" y="248"/>
                  </a:lnTo>
                  <a:lnTo>
                    <a:pt x="579" y="234"/>
                  </a:lnTo>
                  <a:lnTo>
                    <a:pt x="576" y="220"/>
                  </a:lnTo>
                  <a:lnTo>
                    <a:pt x="572" y="207"/>
                  </a:lnTo>
                  <a:lnTo>
                    <a:pt x="568" y="193"/>
                  </a:lnTo>
                  <a:lnTo>
                    <a:pt x="562" y="180"/>
                  </a:lnTo>
                  <a:lnTo>
                    <a:pt x="557" y="167"/>
                  </a:lnTo>
                  <a:lnTo>
                    <a:pt x="549" y="154"/>
                  </a:lnTo>
                  <a:lnTo>
                    <a:pt x="543" y="142"/>
                  </a:lnTo>
                  <a:lnTo>
                    <a:pt x="535" y="129"/>
                  </a:lnTo>
                  <a:lnTo>
                    <a:pt x="527" y="118"/>
                  </a:lnTo>
                  <a:lnTo>
                    <a:pt x="518" y="107"/>
                  </a:lnTo>
                  <a:lnTo>
                    <a:pt x="510" y="97"/>
                  </a:lnTo>
                  <a:lnTo>
                    <a:pt x="499" y="86"/>
                  </a:lnTo>
                  <a:lnTo>
                    <a:pt x="489" y="77"/>
                  </a:lnTo>
                  <a:lnTo>
                    <a:pt x="478" y="67"/>
                  </a:lnTo>
                  <a:lnTo>
                    <a:pt x="468" y="58"/>
                  </a:lnTo>
                  <a:lnTo>
                    <a:pt x="456" y="51"/>
                  </a:lnTo>
                  <a:lnTo>
                    <a:pt x="444" y="42"/>
                  </a:lnTo>
                  <a:lnTo>
                    <a:pt x="432" y="36"/>
                  </a:lnTo>
                  <a:lnTo>
                    <a:pt x="419" y="29"/>
                  </a:lnTo>
                  <a:lnTo>
                    <a:pt x="407" y="23"/>
                  </a:lnTo>
                  <a:lnTo>
                    <a:pt x="393" y="18"/>
                  </a:lnTo>
                  <a:lnTo>
                    <a:pt x="380" y="13"/>
                  </a:lnTo>
                  <a:lnTo>
                    <a:pt x="366" y="9"/>
                  </a:lnTo>
                  <a:lnTo>
                    <a:pt x="352" y="6"/>
                  </a:lnTo>
                  <a:lnTo>
                    <a:pt x="337" y="4"/>
                  </a:lnTo>
                  <a:lnTo>
                    <a:pt x="323" y="1"/>
                  </a:lnTo>
                  <a:lnTo>
                    <a:pt x="308" y="0"/>
                  </a:lnTo>
                  <a:lnTo>
                    <a:pt x="2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274">
              <a:extLst>
                <a:ext uri="{FF2B5EF4-FFF2-40B4-BE49-F238E27FC236}">
                  <a16:creationId xmlns:a16="http://schemas.microsoft.com/office/drawing/2014/main" id="{EA99545B-28EF-4248-98A1-4B4BD688C67B}"/>
                </a:ext>
              </a:extLst>
            </p:cNvPr>
            <p:cNvSpPr>
              <a:spLocks/>
            </p:cNvSpPr>
            <p:nvPr/>
          </p:nvSpPr>
          <p:spPr bwMode="auto">
            <a:xfrm>
              <a:off x="3996479" y="5000104"/>
              <a:ext cx="52316" cy="73242"/>
            </a:xfrm>
            <a:custGeom>
              <a:avLst/>
              <a:gdLst>
                <a:gd name="T0" fmla="*/ 126 w 137"/>
                <a:gd name="T1" fmla="*/ 168 h 194"/>
                <a:gd name="T2" fmla="*/ 26 w 137"/>
                <a:gd name="T3" fmla="*/ 168 h 194"/>
                <a:gd name="T4" fmla="*/ 26 w 137"/>
                <a:gd name="T5" fmla="*/ 13 h 194"/>
                <a:gd name="T6" fmla="*/ 25 w 137"/>
                <a:gd name="T7" fmla="*/ 7 h 194"/>
                <a:gd name="T8" fmla="*/ 21 w 137"/>
                <a:gd name="T9" fmla="*/ 3 h 194"/>
                <a:gd name="T10" fmla="*/ 17 w 137"/>
                <a:gd name="T11" fmla="*/ 1 h 194"/>
                <a:gd name="T12" fmla="*/ 13 w 137"/>
                <a:gd name="T13" fmla="*/ 0 h 194"/>
                <a:gd name="T14" fmla="*/ 7 w 137"/>
                <a:gd name="T15" fmla="*/ 1 h 194"/>
                <a:gd name="T16" fmla="*/ 3 w 137"/>
                <a:gd name="T17" fmla="*/ 3 h 194"/>
                <a:gd name="T18" fmla="*/ 1 w 137"/>
                <a:gd name="T19" fmla="*/ 7 h 194"/>
                <a:gd name="T20" fmla="*/ 0 w 137"/>
                <a:gd name="T21" fmla="*/ 13 h 194"/>
                <a:gd name="T22" fmla="*/ 0 w 137"/>
                <a:gd name="T23" fmla="*/ 194 h 194"/>
                <a:gd name="T24" fmla="*/ 126 w 137"/>
                <a:gd name="T25" fmla="*/ 194 h 194"/>
                <a:gd name="T26" fmla="*/ 130 w 137"/>
                <a:gd name="T27" fmla="*/ 193 h 194"/>
                <a:gd name="T28" fmla="*/ 134 w 137"/>
                <a:gd name="T29" fmla="*/ 191 h 194"/>
                <a:gd name="T30" fmla="*/ 136 w 137"/>
                <a:gd name="T31" fmla="*/ 187 h 194"/>
                <a:gd name="T32" fmla="*/ 137 w 137"/>
                <a:gd name="T33" fmla="*/ 181 h 194"/>
                <a:gd name="T34" fmla="*/ 136 w 137"/>
                <a:gd name="T35" fmla="*/ 177 h 194"/>
                <a:gd name="T36" fmla="*/ 134 w 137"/>
                <a:gd name="T37" fmla="*/ 173 h 194"/>
                <a:gd name="T38" fmla="*/ 130 w 137"/>
                <a:gd name="T39" fmla="*/ 170 h 194"/>
                <a:gd name="T40" fmla="*/ 126 w 137"/>
                <a:gd name="T41" fmla="*/ 16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94">
                  <a:moveTo>
                    <a:pt x="126" y="168"/>
                  </a:moveTo>
                  <a:lnTo>
                    <a:pt x="26" y="168"/>
                  </a:lnTo>
                  <a:lnTo>
                    <a:pt x="26" y="13"/>
                  </a:lnTo>
                  <a:lnTo>
                    <a:pt x="25" y="7"/>
                  </a:lnTo>
                  <a:lnTo>
                    <a:pt x="21" y="3"/>
                  </a:lnTo>
                  <a:lnTo>
                    <a:pt x="17" y="1"/>
                  </a:lnTo>
                  <a:lnTo>
                    <a:pt x="13" y="0"/>
                  </a:lnTo>
                  <a:lnTo>
                    <a:pt x="7" y="1"/>
                  </a:lnTo>
                  <a:lnTo>
                    <a:pt x="3" y="3"/>
                  </a:lnTo>
                  <a:lnTo>
                    <a:pt x="1" y="7"/>
                  </a:lnTo>
                  <a:lnTo>
                    <a:pt x="0" y="13"/>
                  </a:lnTo>
                  <a:lnTo>
                    <a:pt x="0" y="194"/>
                  </a:lnTo>
                  <a:lnTo>
                    <a:pt x="126" y="194"/>
                  </a:lnTo>
                  <a:lnTo>
                    <a:pt x="130" y="193"/>
                  </a:lnTo>
                  <a:lnTo>
                    <a:pt x="134" y="191"/>
                  </a:lnTo>
                  <a:lnTo>
                    <a:pt x="136" y="187"/>
                  </a:lnTo>
                  <a:lnTo>
                    <a:pt x="137" y="181"/>
                  </a:lnTo>
                  <a:lnTo>
                    <a:pt x="136" y="177"/>
                  </a:lnTo>
                  <a:lnTo>
                    <a:pt x="134" y="173"/>
                  </a:lnTo>
                  <a:lnTo>
                    <a:pt x="130" y="170"/>
                  </a:lnTo>
                  <a:lnTo>
                    <a:pt x="12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120">
            <a:extLst>
              <a:ext uri="{FF2B5EF4-FFF2-40B4-BE49-F238E27FC236}">
                <a16:creationId xmlns:a16="http://schemas.microsoft.com/office/drawing/2014/main" id="{9B805C7D-C247-45A7-8E29-97F2D4A75428}"/>
              </a:ext>
            </a:extLst>
          </p:cNvPr>
          <p:cNvGrpSpPr>
            <a:grpSpLocks noChangeAspect="1"/>
          </p:cNvGrpSpPr>
          <p:nvPr/>
        </p:nvGrpSpPr>
        <p:grpSpPr>
          <a:xfrm>
            <a:off x="1474762" y="3801969"/>
            <a:ext cx="293779" cy="285619"/>
            <a:chOff x="11028363" y="2508250"/>
            <a:chExt cx="285750" cy="277813"/>
          </a:xfrm>
          <a:solidFill>
            <a:schemeClr val="bg2"/>
          </a:solidFill>
          <a:effectLst/>
        </p:grpSpPr>
        <p:sp>
          <p:nvSpPr>
            <p:cNvPr id="559" name="Freeform 70">
              <a:extLst>
                <a:ext uri="{FF2B5EF4-FFF2-40B4-BE49-F238E27FC236}">
                  <a16:creationId xmlns:a16="http://schemas.microsoft.com/office/drawing/2014/main" id="{71A076B8-45D1-4614-828D-96B068D4DECD}"/>
                </a:ext>
              </a:extLst>
            </p:cNvPr>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71">
              <a:extLst>
                <a:ext uri="{FF2B5EF4-FFF2-40B4-BE49-F238E27FC236}">
                  <a16:creationId xmlns:a16="http://schemas.microsoft.com/office/drawing/2014/main" id="{D258B877-4FF4-4E2F-AF25-48F40AE0EAD1}"/>
                </a:ext>
              </a:extLst>
            </p:cNvPr>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5" name="Group 47">
            <a:extLst>
              <a:ext uri="{FF2B5EF4-FFF2-40B4-BE49-F238E27FC236}">
                <a16:creationId xmlns:a16="http://schemas.microsoft.com/office/drawing/2014/main" id="{4AD96C36-7CF0-4B7D-9959-8B26E98EE7DD}"/>
              </a:ext>
            </a:extLst>
          </p:cNvPr>
          <p:cNvGrpSpPr>
            <a:grpSpLocks noChangeAspect="1"/>
          </p:cNvGrpSpPr>
          <p:nvPr/>
        </p:nvGrpSpPr>
        <p:grpSpPr>
          <a:xfrm>
            <a:off x="1486383" y="5956111"/>
            <a:ext cx="270537" cy="285619"/>
            <a:chOff x="4926013" y="5194300"/>
            <a:chExt cx="455613" cy="481013"/>
          </a:xfrm>
          <a:solidFill>
            <a:schemeClr val="bg2"/>
          </a:solidFill>
          <a:effectLst/>
        </p:grpSpPr>
        <p:sp>
          <p:nvSpPr>
            <p:cNvPr id="1227" name="Freeform 181">
              <a:extLst>
                <a:ext uri="{FF2B5EF4-FFF2-40B4-BE49-F238E27FC236}">
                  <a16:creationId xmlns:a16="http://schemas.microsoft.com/office/drawing/2014/main" id="{A28C888A-4DA5-42F2-A0B4-4036254E9969}"/>
                </a:ext>
              </a:extLst>
            </p:cNvPr>
            <p:cNvSpPr>
              <a:spLocks/>
            </p:cNvSpPr>
            <p:nvPr/>
          </p:nvSpPr>
          <p:spPr bwMode="auto">
            <a:xfrm>
              <a:off x="4926013" y="5218113"/>
              <a:ext cx="455613" cy="457200"/>
            </a:xfrm>
            <a:custGeom>
              <a:avLst/>
              <a:gdLst>
                <a:gd name="T0" fmla="*/ 460 w 1152"/>
                <a:gd name="T1" fmla="*/ 1139 h 1151"/>
                <a:gd name="T2" fmla="*/ 327 w 1152"/>
                <a:gd name="T3" fmla="*/ 1094 h 1151"/>
                <a:gd name="T4" fmla="*/ 210 w 1152"/>
                <a:gd name="T5" fmla="*/ 1019 h 1151"/>
                <a:gd name="T6" fmla="*/ 114 w 1152"/>
                <a:gd name="T7" fmla="*/ 920 h 1151"/>
                <a:gd name="T8" fmla="*/ 46 w 1152"/>
                <a:gd name="T9" fmla="*/ 799 h 1151"/>
                <a:gd name="T10" fmla="*/ 6 w 1152"/>
                <a:gd name="T11" fmla="*/ 663 h 1151"/>
                <a:gd name="T12" fmla="*/ 3 w 1152"/>
                <a:gd name="T13" fmla="*/ 523 h 1151"/>
                <a:gd name="T14" fmla="*/ 27 w 1152"/>
                <a:gd name="T15" fmla="*/ 398 h 1151"/>
                <a:gd name="T16" fmla="*/ 78 w 1152"/>
                <a:gd name="T17" fmla="*/ 284 h 1151"/>
                <a:gd name="T18" fmla="*/ 151 w 1152"/>
                <a:gd name="T19" fmla="*/ 186 h 1151"/>
                <a:gd name="T20" fmla="*/ 244 w 1152"/>
                <a:gd name="T21" fmla="*/ 104 h 1151"/>
                <a:gd name="T22" fmla="*/ 353 w 1152"/>
                <a:gd name="T23" fmla="*/ 44 h 1151"/>
                <a:gd name="T24" fmla="*/ 477 w 1152"/>
                <a:gd name="T25" fmla="*/ 8 h 1151"/>
                <a:gd name="T26" fmla="*/ 497 w 1152"/>
                <a:gd name="T27" fmla="*/ 14 h 1151"/>
                <a:gd name="T28" fmla="*/ 503 w 1152"/>
                <a:gd name="T29" fmla="*/ 35 h 1151"/>
                <a:gd name="T30" fmla="*/ 490 w 1152"/>
                <a:gd name="T31" fmla="*/ 52 h 1151"/>
                <a:gd name="T32" fmla="*/ 393 w 1152"/>
                <a:gd name="T33" fmla="*/ 78 h 1151"/>
                <a:gd name="T34" fmla="*/ 290 w 1152"/>
                <a:gd name="T35" fmla="*/ 128 h 1151"/>
                <a:gd name="T36" fmla="*/ 200 w 1152"/>
                <a:gd name="T37" fmla="*/ 201 h 1151"/>
                <a:gd name="T38" fmla="*/ 130 w 1152"/>
                <a:gd name="T39" fmla="*/ 289 h 1151"/>
                <a:gd name="T40" fmla="*/ 79 w 1152"/>
                <a:gd name="T41" fmla="*/ 391 h 1151"/>
                <a:gd name="T42" fmla="*/ 51 w 1152"/>
                <a:gd name="T43" fmla="*/ 504 h 1151"/>
                <a:gd name="T44" fmla="*/ 49 w 1152"/>
                <a:gd name="T45" fmla="*/ 629 h 1151"/>
                <a:gd name="T46" fmla="*/ 79 w 1152"/>
                <a:gd name="T47" fmla="*/ 758 h 1151"/>
                <a:gd name="T48" fmla="*/ 136 w 1152"/>
                <a:gd name="T49" fmla="*/ 872 h 1151"/>
                <a:gd name="T50" fmla="*/ 220 w 1152"/>
                <a:gd name="T51" fmla="*/ 967 h 1151"/>
                <a:gd name="T52" fmla="*/ 324 w 1152"/>
                <a:gd name="T53" fmla="*/ 1041 h 1151"/>
                <a:gd name="T54" fmla="*/ 443 w 1152"/>
                <a:gd name="T55" fmla="*/ 1089 h 1151"/>
                <a:gd name="T56" fmla="*/ 575 w 1152"/>
                <a:gd name="T57" fmla="*/ 1105 h 1151"/>
                <a:gd name="T58" fmla="*/ 708 w 1152"/>
                <a:gd name="T59" fmla="*/ 1089 h 1151"/>
                <a:gd name="T60" fmla="*/ 828 w 1152"/>
                <a:gd name="T61" fmla="*/ 1041 h 1151"/>
                <a:gd name="T62" fmla="*/ 932 w 1152"/>
                <a:gd name="T63" fmla="*/ 967 h 1151"/>
                <a:gd name="T64" fmla="*/ 1015 w 1152"/>
                <a:gd name="T65" fmla="*/ 872 h 1151"/>
                <a:gd name="T66" fmla="*/ 1073 w 1152"/>
                <a:gd name="T67" fmla="*/ 758 h 1151"/>
                <a:gd name="T68" fmla="*/ 1103 w 1152"/>
                <a:gd name="T69" fmla="*/ 629 h 1151"/>
                <a:gd name="T70" fmla="*/ 1100 w 1152"/>
                <a:gd name="T71" fmla="*/ 499 h 1151"/>
                <a:gd name="T72" fmla="*/ 1069 w 1152"/>
                <a:gd name="T73" fmla="*/ 380 h 1151"/>
                <a:gd name="T74" fmla="*/ 1011 w 1152"/>
                <a:gd name="T75" fmla="*/ 273 h 1151"/>
                <a:gd name="T76" fmla="*/ 931 w 1152"/>
                <a:gd name="T77" fmla="*/ 182 h 1151"/>
                <a:gd name="T78" fmla="*/ 832 w 1152"/>
                <a:gd name="T79" fmla="*/ 112 h 1151"/>
                <a:gd name="T80" fmla="*/ 719 w 1152"/>
                <a:gd name="T81" fmla="*/ 65 h 1151"/>
                <a:gd name="T82" fmla="*/ 609 w 1152"/>
                <a:gd name="T83" fmla="*/ 46 h 1151"/>
                <a:gd name="T84" fmla="*/ 567 w 1152"/>
                <a:gd name="T85" fmla="*/ 44 h 1151"/>
                <a:gd name="T86" fmla="*/ 553 w 1152"/>
                <a:gd name="T87" fmla="*/ 27 h 1151"/>
                <a:gd name="T88" fmla="*/ 560 w 1152"/>
                <a:gd name="T89" fmla="*/ 6 h 1151"/>
                <a:gd name="T90" fmla="*/ 588 w 1152"/>
                <a:gd name="T91" fmla="*/ 0 h 1151"/>
                <a:gd name="T92" fmla="*/ 679 w 1152"/>
                <a:gd name="T93" fmla="*/ 8 h 1151"/>
                <a:gd name="T94" fmla="*/ 807 w 1152"/>
                <a:gd name="T95" fmla="*/ 47 h 1151"/>
                <a:gd name="T96" fmla="*/ 921 w 1152"/>
                <a:gd name="T97" fmla="*/ 115 h 1151"/>
                <a:gd name="T98" fmla="*/ 1016 w 1152"/>
                <a:gd name="T99" fmla="*/ 206 h 1151"/>
                <a:gd name="T100" fmla="*/ 1089 w 1152"/>
                <a:gd name="T101" fmla="*/ 315 h 1151"/>
                <a:gd name="T102" fmla="*/ 1136 w 1152"/>
                <a:gd name="T103" fmla="*/ 440 h 1151"/>
                <a:gd name="T104" fmla="*/ 1152 w 1152"/>
                <a:gd name="T105" fmla="*/ 575 h 1151"/>
                <a:gd name="T106" fmla="*/ 1134 w 1152"/>
                <a:gd name="T107" fmla="*/ 718 h 1151"/>
                <a:gd name="T108" fmla="*/ 1082 w 1152"/>
                <a:gd name="T109" fmla="*/ 850 h 1151"/>
                <a:gd name="T110" fmla="*/ 1002 w 1152"/>
                <a:gd name="T111" fmla="*/ 963 h 1151"/>
                <a:gd name="T112" fmla="*/ 898 w 1152"/>
                <a:gd name="T113" fmla="*/ 1052 h 1151"/>
                <a:gd name="T114" fmla="*/ 774 w 1152"/>
                <a:gd name="T115" fmla="*/ 1116 h 1151"/>
                <a:gd name="T116" fmla="*/ 634 w 1152"/>
                <a:gd name="T117" fmla="*/ 1148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2" h="1151">
                  <a:moveTo>
                    <a:pt x="575" y="1151"/>
                  </a:moveTo>
                  <a:lnTo>
                    <a:pt x="546" y="1150"/>
                  </a:lnTo>
                  <a:lnTo>
                    <a:pt x="517" y="1148"/>
                  </a:lnTo>
                  <a:lnTo>
                    <a:pt x="488" y="1144"/>
                  </a:lnTo>
                  <a:lnTo>
                    <a:pt x="460" y="1139"/>
                  </a:lnTo>
                  <a:lnTo>
                    <a:pt x="432" y="1133"/>
                  </a:lnTo>
                  <a:lnTo>
                    <a:pt x="405" y="1126"/>
                  </a:lnTo>
                  <a:lnTo>
                    <a:pt x="378" y="1116"/>
                  </a:lnTo>
                  <a:lnTo>
                    <a:pt x="352" y="1106"/>
                  </a:lnTo>
                  <a:lnTo>
                    <a:pt x="327" y="1094"/>
                  </a:lnTo>
                  <a:lnTo>
                    <a:pt x="302" y="1082"/>
                  </a:lnTo>
                  <a:lnTo>
                    <a:pt x="277" y="1068"/>
                  </a:lnTo>
                  <a:lnTo>
                    <a:pt x="254" y="1052"/>
                  </a:lnTo>
                  <a:lnTo>
                    <a:pt x="232" y="1036"/>
                  </a:lnTo>
                  <a:lnTo>
                    <a:pt x="210" y="1019"/>
                  </a:lnTo>
                  <a:lnTo>
                    <a:pt x="189" y="1002"/>
                  </a:lnTo>
                  <a:lnTo>
                    <a:pt x="168" y="982"/>
                  </a:lnTo>
                  <a:lnTo>
                    <a:pt x="150" y="963"/>
                  </a:lnTo>
                  <a:lnTo>
                    <a:pt x="132" y="942"/>
                  </a:lnTo>
                  <a:lnTo>
                    <a:pt x="114" y="920"/>
                  </a:lnTo>
                  <a:lnTo>
                    <a:pt x="98" y="898"/>
                  </a:lnTo>
                  <a:lnTo>
                    <a:pt x="84" y="873"/>
                  </a:lnTo>
                  <a:lnTo>
                    <a:pt x="70" y="850"/>
                  </a:lnTo>
                  <a:lnTo>
                    <a:pt x="57" y="825"/>
                  </a:lnTo>
                  <a:lnTo>
                    <a:pt x="46" y="799"/>
                  </a:lnTo>
                  <a:lnTo>
                    <a:pt x="35" y="772"/>
                  </a:lnTo>
                  <a:lnTo>
                    <a:pt x="26" y="747"/>
                  </a:lnTo>
                  <a:lnTo>
                    <a:pt x="19" y="718"/>
                  </a:lnTo>
                  <a:lnTo>
                    <a:pt x="11" y="691"/>
                  </a:lnTo>
                  <a:lnTo>
                    <a:pt x="6" y="663"/>
                  </a:lnTo>
                  <a:lnTo>
                    <a:pt x="3" y="634"/>
                  </a:lnTo>
                  <a:lnTo>
                    <a:pt x="0" y="604"/>
                  </a:lnTo>
                  <a:lnTo>
                    <a:pt x="0" y="575"/>
                  </a:lnTo>
                  <a:lnTo>
                    <a:pt x="0" y="549"/>
                  </a:lnTo>
                  <a:lnTo>
                    <a:pt x="3" y="523"/>
                  </a:lnTo>
                  <a:lnTo>
                    <a:pt x="5" y="498"/>
                  </a:lnTo>
                  <a:lnTo>
                    <a:pt x="9" y="472"/>
                  </a:lnTo>
                  <a:lnTo>
                    <a:pt x="14" y="447"/>
                  </a:lnTo>
                  <a:lnTo>
                    <a:pt x="20" y="423"/>
                  </a:lnTo>
                  <a:lnTo>
                    <a:pt x="27" y="398"/>
                  </a:lnTo>
                  <a:lnTo>
                    <a:pt x="36" y="375"/>
                  </a:lnTo>
                  <a:lnTo>
                    <a:pt x="44" y="352"/>
                  </a:lnTo>
                  <a:lnTo>
                    <a:pt x="55" y="328"/>
                  </a:lnTo>
                  <a:lnTo>
                    <a:pt x="66" y="306"/>
                  </a:lnTo>
                  <a:lnTo>
                    <a:pt x="78" y="284"/>
                  </a:lnTo>
                  <a:lnTo>
                    <a:pt x="91" y="263"/>
                  </a:lnTo>
                  <a:lnTo>
                    <a:pt x="105" y="244"/>
                  </a:lnTo>
                  <a:lnTo>
                    <a:pt x="119" y="223"/>
                  </a:lnTo>
                  <a:lnTo>
                    <a:pt x="135" y="204"/>
                  </a:lnTo>
                  <a:lnTo>
                    <a:pt x="151" y="186"/>
                  </a:lnTo>
                  <a:lnTo>
                    <a:pt x="168" y="168"/>
                  </a:lnTo>
                  <a:lnTo>
                    <a:pt x="185" y="150"/>
                  </a:lnTo>
                  <a:lnTo>
                    <a:pt x="205" y="135"/>
                  </a:lnTo>
                  <a:lnTo>
                    <a:pt x="223" y="119"/>
                  </a:lnTo>
                  <a:lnTo>
                    <a:pt x="244" y="104"/>
                  </a:lnTo>
                  <a:lnTo>
                    <a:pt x="264" y="90"/>
                  </a:lnTo>
                  <a:lnTo>
                    <a:pt x="286" y="77"/>
                  </a:lnTo>
                  <a:lnTo>
                    <a:pt x="308" y="65"/>
                  </a:lnTo>
                  <a:lnTo>
                    <a:pt x="330" y="54"/>
                  </a:lnTo>
                  <a:lnTo>
                    <a:pt x="353" y="44"/>
                  </a:lnTo>
                  <a:lnTo>
                    <a:pt x="377" y="34"/>
                  </a:lnTo>
                  <a:lnTo>
                    <a:pt x="401" y="27"/>
                  </a:lnTo>
                  <a:lnTo>
                    <a:pt x="426" y="19"/>
                  </a:lnTo>
                  <a:lnTo>
                    <a:pt x="452" y="13"/>
                  </a:lnTo>
                  <a:lnTo>
                    <a:pt x="477" y="8"/>
                  </a:lnTo>
                  <a:lnTo>
                    <a:pt x="481" y="7"/>
                  </a:lnTo>
                  <a:lnTo>
                    <a:pt x="486" y="8"/>
                  </a:lnTo>
                  <a:lnTo>
                    <a:pt x="490" y="9"/>
                  </a:lnTo>
                  <a:lnTo>
                    <a:pt x="495" y="12"/>
                  </a:lnTo>
                  <a:lnTo>
                    <a:pt x="497" y="14"/>
                  </a:lnTo>
                  <a:lnTo>
                    <a:pt x="501" y="18"/>
                  </a:lnTo>
                  <a:lnTo>
                    <a:pt x="502" y="22"/>
                  </a:lnTo>
                  <a:lnTo>
                    <a:pt x="503" y="27"/>
                  </a:lnTo>
                  <a:lnTo>
                    <a:pt x="504" y="31"/>
                  </a:lnTo>
                  <a:lnTo>
                    <a:pt x="503" y="35"/>
                  </a:lnTo>
                  <a:lnTo>
                    <a:pt x="502" y="40"/>
                  </a:lnTo>
                  <a:lnTo>
                    <a:pt x="499" y="44"/>
                  </a:lnTo>
                  <a:lnTo>
                    <a:pt x="497" y="47"/>
                  </a:lnTo>
                  <a:lnTo>
                    <a:pt x="493" y="50"/>
                  </a:lnTo>
                  <a:lnTo>
                    <a:pt x="490" y="52"/>
                  </a:lnTo>
                  <a:lnTo>
                    <a:pt x="485" y="54"/>
                  </a:lnTo>
                  <a:lnTo>
                    <a:pt x="461" y="57"/>
                  </a:lnTo>
                  <a:lnTo>
                    <a:pt x="438" y="63"/>
                  </a:lnTo>
                  <a:lnTo>
                    <a:pt x="415" y="70"/>
                  </a:lnTo>
                  <a:lnTo>
                    <a:pt x="393" y="78"/>
                  </a:lnTo>
                  <a:lnTo>
                    <a:pt x="371" y="85"/>
                  </a:lnTo>
                  <a:lnTo>
                    <a:pt x="350" y="95"/>
                  </a:lnTo>
                  <a:lnTo>
                    <a:pt x="329" y="105"/>
                  </a:lnTo>
                  <a:lnTo>
                    <a:pt x="309" y="117"/>
                  </a:lnTo>
                  <a:lnTo>
                    <a:pt x="290" y="128"/>
                  </a:lnTo>
                  <a:lnTo>
                    <a:pt x="270" y="142"/>
                  </a:lnTo>
                  <a:lnTo>
                    <a:pt x="252" y="155"/>
                  </a:lnTo>
                  <a:lnTo>
                    <a:pt x="235" y="169"/>
                  </a:lnTo>
                  <a:lnTo>
                    <a:pt x="217" y="185"/>
                  </a:lnTo>
                  <a:lnTo>
                    <a:pt x="200" y="201"/>
                  </a:lnTo>
                  <a:lnTo>
                    <a:pt x="185" y="217"/>
                  </a:lnTo>
                  <a:lnTo>
                    <a:pt x="170" y="234"/>
                  </a:lnTo>
                  <a:lnTo>
                    <a:pt x="156" y="251"/>
                  </a:lnTo>
                  <a:lnTo>
                    <a:pt x="143" y="269"/>
                  </a:lnTo>
                  <a:lnTo>
                    <a:pt x="130" y="289"/>
                  </a:lnTo>
                  <a:lnTo>
                    <a:pt x="118" y="307"/>
                  </a:lnTo>
                  <a:lnTo>
                    <a:pt x="107" y="328"/>
                  </a:lnTo>
                  <a:lnTo>
                    <a:pt x="97" y="348"/>
                  </a:lnTo>
                  <a:lnTo>
                    <a:pt x="87" y="369"/>
                  </a:lnTo>
                  <a:lnTo>
                    <a:pt x="79" y="391"/>
                  </a:lnTo>
                  <a:lnTo>
                    <a:pt x="71" y="413"/>
                  </a:lnTo>
                  <a:lnTo>
                    <a:pt x="65" y="435"/>
                  </a:lnTo>
                  <a:lnTo>
                    <a:pt x="59" y="457"/>
                  </a:lnTo>
                  <a:lnTo>
                    <a:pt x="54" y="480"/>
                  </a:lnTo>
                  <a:lnTo>
                    <a:pt x="51" y="504"/>
                  </a:lnTo>
                  <a:lnTo>
                    <a:pt x="48" y="527"/>
                  </a:lnTo>
                  <a:lnTo>
                    <a:pt x="47" y="552"/>
                  </a:lnTo>
                  <a:lnTo>
                    <a:pt x="46" y="575"/>
                  </a:lnTo>
                  <a:lnTo>
                    <a:pt x="47" y="602"/>
                  </a:lnTo>
                  <a:lnTo>
                    <a:pt x="49" y="629"/>
                  </a:lnTo>
                  <a:lnTo>
                    <a:pt x="52" y="656"/>
                  </a:lnTo>
                  <a:lnTo>
                    <a:pt x="57" y="682"/>
                  </a:lnTo>
                  <a:lnTo>
                    <a:pt x="63" y="707"/>
                  </a:lnTo>
                  <a:lnTo>
                    <a:pt x="70" y="733"/>
                  </a:lnTo>
                  <a:lnTo>
                    <a:pt x="79" y="758"/>
                  </a:lnTo>
                  <a:lnTo>
                    <a:pt x="87" y="781"/>
                  </a:lnTo>
                  <a:lnTo>
                    <a:pt x="98" y="804"/>
                  </a:lnTo>
                  <a:lnTo>
                    <a:pt x="111" y="828"/>
                  </a:lnTo>
                  <a:lnTo>
                    <a:pt x="123" y="850"/>
                  </a:lnTo>
                  <a:lnTo>
                    <a:pt x="136" y="872"/>
                  </a:lnTo>
                  <a:lnTo>
                    <a:pt x="151" y="891"/>
                  </a:lnTo>
                  <a:lnTo>
                    <a:pt x="167" y="912"/>
                  </a:lnTo>
                  <a:lnTo>
                    <a:pt x="184" y="931"/>
                  </a:lnTo>
                  <a:lnTo>
                    <a:pt x="201" y="950"/>
                  </a:lnTo>
                  <a:lnTo>
                    <a:pt x="220" y="967"/>
                  </a:lnTo>
                  <a:lnTo>
                    <a:pt x="239" y="983"/>
                  </a:lnTo>
                  <a:lnTo>
                    <a:pt x="259" y="999"/>
                  </a:lnTo>
                  <a:lnTo>
                    <a:pt x="280" y="1014"/>
                  </a:lnTo>
                  <a:lnTo>
                    <a:pt x="301" y="1029"/>
                  </a:lnTo>
                  <a:lnTo>
                    <a:pt x="324" y="1041"/>
                  </a:lnTo>
                  <a:lnTo>
                    <a:pt x="346" y="1053"/>
                  </a:lnTo>
                  <a:lnTo>
                    <a:pt x="369" y="1063"/>
                  </a:lnTo>
                  <a:lnTo>
                    <a:pt x="394" y="1073"/>
                  </a:lnTo>
                  <a:lnTo>
                    <a:pt x="419" y="1082"/>
                  </a:lnTo>
                  <a:lnTo>
                    <a:pt x="443" y="1089"/>
                  </a:lnTo>
                  <a:lnTo>
                    <a:pt x="469" y="1094"/>
                  </a:lnTo>
                  <a:lnTo>
                    <a:pt x="496" y="1099"/>
                  </a:lnTo>
                  <a:lnTo>
                    <a:pt x="522" y="1102"/>
                  </a:lnTo>
                  <a:lnTo>
                    <a:pt x="549" y="1105"/>
                  </a:lnTo>
                  <a:lnTo>
                    <a:pt x="575" y="1105"/>
                  </a:lnTo>
                  <a:lnTo>
                    <a:pt x="604" y="1105"/>
                  </a:lnTo>
                  <a:lnTo>
                    <a:pt x="629" y="1102"/>
                  </a:lnTo>
                  <a:lnTo>
                    <a:pt x="656" y="1099"/>
                  </a:lnTo>
                  <a:lnTo>
                    <a:pt x="682" y="1094"/>
                  </a:lnTo>
                  <a:lnTo>
                    <a:pt x="708" y="1089"/>
                  </a:lnTo>
                  <a:lnTo>
                    <a:pt x="734" y="1082"/>
                  </a:lnTo>
                  <a:lnTo>
                    <a:pt x="758" y="1073"/>
                  </a:lnTo>
                  <a:lnTo>
                    <a:pt x="782" y="1063"/>
                  </a:lnTo>
                  <a:lnTo>
                    <a:pt x="805" y="1053"/>
                  </a:lnTo>
                  <a:lnTo>
                    <a:pt x="828" y="1041"/>
                  </a:lnTo>
                  <a:lnTo>
                    <a:pt x="850" y="1029"/>
                  </a:lnTo>
                  <a:lnTo>
                    <a:pt x="872" y="1014"/>
                  </a:lnTo>
                  <a:lnTo>
                    <a:pt x="893" y="999"/>
                  </a:lnTo>
                  <a:lnTo>
                    <a:pt x="913" y="983"/>
                  </a:lnTo>
                  <a:lnTo>
                    <a:pt x="932" y="967"/>
                  </a:lnTo>
                  <a:lnTo>
                    <a:pt x="951" y="950"/>
                  </a:lnTo>
                  <a:lnTo>
                    <a:pt x="968" y="931"/>
                  </a:lnTo>
                  <a:lnTo>
                    <a:pt x="985" y="912"/>
                  </a:lnTo>
                  <a:lnTo>
                    <a:pt x="1000" y="891"/>
                  </a:lnTo>
                  <a:lnTo>
                    <a:pt x="1015" y="872"/>
                  </a:lnTo>
                  <a:lnTo>
                    <a:pt x="1029" y="850"/>
                  </a:lnTo>
                  <a:lnTo>
                    <a:pt x="1042" y="828"/>
                  </a:lnTo>
                  <a:lnTo>
                    <a:pt x="1054" y="804"/>
                  </a:lnTo>
                  <a:lnTo>
                    <a:pt x="1064" y="781"/>
                  </a:lnTo>
                  <a:lnTo>
                    <a:pt x="1073" y="758"/>
                  </a:lnTo>
                  <a:lnTo>
                    <a:pt x="1082" y="733"/>
                  </a:lnTo>
                  <a:lnTo>
                    <a:pt x="1089" y="707"/>
                  </a:lnTo>
                  <a:lnTo>
                    <a:pt x="1096" y="682"/>
                  </a:lnTo>
                  <a:lnTo>
                    <a:pt x="1099" y="656"/>
                  </a:lnTo>
                  <a:lnTo>
                    <a:pt x="1103" y="629"/>
                  </a:lnTo>
                  <a:lnTo>
                    <a:pt x="1105" y="602"/>
                  </a:lnTo>
                  <a:lnTo>
                    <a:pt x="1105" y="575"/>
                  </a:lnTo>
                  <a:lnTo>
                    <a:pt x="1105" y="549"/>
                  </a:lnTo>
                  <a:lnTo>
                    <a:pt x="1103" y="525"/>
                  </a:lnTo>
                  <a:lnTo>
                    <a:pt x="1100" y="499"/>
                  </a:lnTo>
                  <a:lnTo>
                    <a:pt x="1096" y="474"/>
                  </a:lnTo>
                  <a:lnTo>
                    <a:pt x="1091" y="451"/>
                  </a:lnTo>
                  <a:lnTo>
                    <a:pt x="1084" y="426"/>
                  </a:lnTo>
                  <a:lnTo>
                    <a:pt x="1077" y="403"/>
                  </a:lnTo>
                  <a:lnTo>
                    <a:pt x="1069" y="380"/>
                  </a:lnTo>
                  <a:lnTo>
                    <a:pt x="1059" y="358"/>
                  </a:lnTo>
                  <a:lnTo>
                    <a:pt x="1048" y="336"/>
                  </a:lnTo>
                  <a:lnTo>
                    <a:pt x="1037" y="315"/>
                  </a:lnTo>
                  <a:lnTo>
                    <a:pt x="1024" y="294"/>
                  </a:lnTo>
                  <a:lnTo>
                    <a:pt x="1011" y="273"/>
                  </a:lnTo>
                  <a:lnTo>
                    <a:pt x="996" y="254"/>
                  </a:lnTo>
                  <a:lnTo>
                    <a:pt x="981" y="235"/>
                  </a:lnTo>
                  <a:lnTo>
                    <a:pt x="966" y="217"/>
                  </a:lnTo>
                  <a:lnTo>
                    <a:pt x="948" y="200"/>
                  </a:lnTo>
                  <a:lnTo>
                    <a:pt x="931" y="182"/>
                  </a:lnTo>
                  <a:lnTo>
                    <a:pt x="913" y="166"/>
                  </a:lnTo>
                  <a:lnTo>
                    <a:pt x="893" y="152"/>
                  </a:lnTo>
                  <a:lnTo>
                    <a:pt x="874" y="138"/>
                  </a:lnTo>
                  <a:lnTo>
                    <a:pt x="854" y="125"/>
                  </a:lnTo>
                  <a:lnTo>
                    <a:pt x="832" y="112"/>
                  </a:lnTo>
                  <a:lnTo>
                    <a:pt x="811" y="100"/>
                  </a:lnTo>
                  <a:lnTo>
                    <a:pt x="789" y="90"/>
                  </a:lnTo>
                  <a:lnTo>
                    <a:pt x="766" y="81"/>
                  </a:lnTo>
                  <a:lnTo>
                    <a:pt x="742" y="72"/>
                  </a:lnTo>
                  <a:lnTo>
                    <a:pt x="719" y="65"/>
                  </a:lnTo>
                  <a:lnTo>
                    <a:pt x="694" y="58"/>
                  </a:lnTo>
                  <a:lnTo>
                    <a:pt x="670" y="54"/>
                  </a:lnTo>
                  <a:lnTo>
                    <a:pt x="645" y="50"/>
                  </a:lnTo>
                  <a:lnTo>
                    <a:pt x="620" y="47"/>
                  </a:lnTo>
                  <a:lnTo>
                    <a:pt x="609" y="46"/>
                  </a:lnTo>
                  <a:lnTo>
                    <a:pt x="598" y="46"/>
                  </a:lnTo>
                  <a:lnTo>
                    <a:pt x="587" y="45"/>
                  </a:lnTo>
                  <a:lnTo>
                    <a:pt x="575" y="45"/>
                  </a:lnTo>
                  <a:lnTo>
                    <a:pt x="572" y="45"/>
                  </a:lnTo>
                  <a:lnTo>
                    <a:pt x="567" y="44"/>
                  </a:lnTo>
                  <a:lnTo>
                    <a:pt x="563" y="41"/>
                  </a:lnTo>
                  <a:lnTo>
                    <a:pt x="560" y="39"/>
                  </a:lnTo>
                  <a:lnTo>
                    <a:pt x="557" y="35"/>
                  </a:lnTo>
                  <a:lnTo>
                    <a:pt x="555" y="31"/>
                  </a:lnTo>
                  <a:lnTo>
                    <a:pt x="553" y="27"/>
                  </a:lnTo>
                  <a:lnTo>
                    <a:pt x="553" y="22"/>
                  </a:lnTo>
                  <a:lnTo>
                    <a:pt x="553" y="18"/>
                  </a:lnTo>
                  <a:lnTo>
                    <a:pt x="555" y="13"/>
                  </a:lnTo>
                  <a:lnTo>
                    <a:pt x="557" y="9"/>
                  </a:lnTo>
                  <a:lnTo>
                    <a:pt x="560" y="6"/>
                  </a:lnTo>
                  <a:lnTo>
                    <a:pt x="563" y="3"/>
                  </a:lnTo>
                  <a:lnTo>
                    <a:pt x="567" y="1"/>
                  </a:lnTo>
                  <a:lnTo>
                    <a:pt x="572" y="0"/>
                  </a:lnTo>
                  <a:lnTo>
                    <a:pt x="575" y="0"/>
                  </a:lnTo>
                  <a:lnTo>
                    <a:pt x="588" y="0"/>
                  </a:lnTo>
                  <a:lnTo>
                    <a:pt x="600" y="0"/>
                  </a:lnTo>
                  <a:lnTo>
                    <a:pt x="612" y="1"/>
                  </a:lnTo>
                  <a:lnTo>
                    <a:pt x="623" y="1"/>
                  </a:lnTo>
                  <a:lnTo>
                    <a:pt x="652" y="5"/>
                  </a:lnTo>
                  <a:lnTo>
                    <a:pt x="679" y="8"/>
                  </a:lnTo>
                  <a:lnTo>
                    <a:pt x="706" y="14"/>
                  </a:lnTo>
                  <a:lnTo>
                    <a:pt x="731" y="20"/>
                  </a:lnTo>
                  <a:lnTo>
                    <a:pt x="757" y="29"/>
                  </a:lnTo>
                  <a:lnTo>
                    <a:pt x="783" y="38"/>
                  </a:lnTo>
                  <a:lnTo>
                    <a:pt x="807" y="47"/>
                  </a:lnTo>
                  <a:lnTo>
                    <a:pt x="831" y="60"/>
                  </a:lnTo>
                  <a:lnTo>
                    <a:pt x="855" y="72"/>
                  </a:lnTo>
                  <a:lnTo>
                    <a:pt x="877" y="85"/>
                  </a:lnTo>
                  <a:lnTo>
                    <a:pt x="899" y="99"/>
                  </a:lnTo>
                  <a:lnTo>
                    <a:pt x="921" y="115"/>
                  </a:lnTo>
                  <a:lnTo>
                    <a:pt x="942" y="131"/>
                  </a:lnTo>
                  <a:lnTo>
                    <a:pt x="962" y="148"/>
                  </a:lnTo>
                  <a:lnTo>
                    <a:pt x="980" y="166"/>
                  </a:lnTo>
                  <a:lnTo>
                    <a:pt x="999" y="186"/>
                  </a:lnTo>
                  <a:lnTo>
                    <a:pt x="1016" y="206"/>
                  </a:lnTo>
                  <a:lnTo>
                    <a:pt x="1033" y="227"/>
                  </a:lnTo>
                  <a:lnTo>
                    <a:pt x="1048" y="247"/>
                  </a:lnTo>
                  <a:lnTo>
                    <a:pt x="1062" y="269"/>
                  </a:lnTo>
                  <a:lnTo>
                    <a:pt x="1076" y="292"/>
                  </a:lnTo>
                  <a:lnTo>
                    <a:pt x="1089" y="315"/>
                  </a:lnTo>
                  <a:lnTo>
                    <a:pt x="1100" y="339"/>
                  </a:lnTo>
                  <a:lnTo>
                    <a:pt x="1111" y="364"/>
                  </a:lnTo>
                  <a:lnTo>
                    <a:pt x="1120" y="388"/>
                  </a:lnTo>
                  <a:lnTo>
                    <a:pt x="1129" y="414"/>
                  </a:lnTo>
                  <a:lnTo>
                    <a:pt x="1136" y="440"/>
                  </a:lnTo>
                  <a:lnTo>
                    <a:pt x="1141" y="466"/>
                  </a:lnTo>
                  <a:lnTo>
                    <a:pt x="1146" y="493"/>
                  </a:lnTo>
                  <a:lnTo>
                    <a:pt x="1149" y="520"/>
                  </a:lnTo>
                  <a:lnTo>
                    <a:pt x="1151" y="548"/>
                  </a:lnTo>
                  <a:lnTo>
                    <a:pt x="1152" y="575"/>
                  </a:lnTo>
                  <a:lnTo>
                    <a:pt x="1151" y="604"/>
                  </a:lnTo>
                  <a:lnTo>
                    <a:pt x="1148" y="634"/>
                  </a:lnTo>
                  <a:lnTo>
                    <a:pt x="1145" y="663"/>
                  </a:lnTo>
                  <a:lnTo>
                    <a:pt x="1140" y="691"/>
                  </a:lnTo>
                  <a:lnTo>
                    <a:pt x="1134" y="718"/>
                  </a:lnTo>
                  <a:lnTo>
                    <a:pt x="1126" y="747"/>
                  </a:lnTo>
                  <a:lnTo>
                    <a:pt x="1116" y="772"/>
                  </a:lnTo>
                  <a:lnTo>
                    <a:pt x="1107" y="799"/>
                  </a:lnTo>
                  <a:lnTo>
                    <a:pt x="1094" y="825"/>
                  </a:lnTo>
                  <a:lnTo>
                    <a:pt x="1082" y="850"/>
                  </a:lnTo>
                  <a:lnTo>
                    <a:pt x="1069" y="873"/>
                  </a:lnTo>
                  <a:lnTo>
                    <a:pt x="1054" y="898"/>
                  </a:lnTo>
                  <a:lnTo>
                    <a:pt x="1037" y="920"/>
                  </a:lnTo>
                  <a:lnTo>
                    <a:pt x="1021" y="942"/>
                  </a:lnTo>
                  <a:lnTo>
                    <a:pt x="1002" y="963"/>
                  </a:lnTo>
                  <a:lnTo>
                    <a:pt x="983" y="982"/>
                  </a:lnTo>
                  <a:lnTo>
                    <a:pt x="963" y="1002"/>
                  </a:lnTo>
                  <a:lnTo>
                    <a:pt x="942" y="1019"/>
                  </a:lnTo>
                  <a:lnTo>
                    <a:pt x="920" y="1036"/>
                  </a:lnTo>
                  <a:lnTo>
                    <a:pt x="898" y="1052"/>
                  </a:lnTo>
                  <a:lnTo>
                    <a:pt x="875" y="1068"/>
                  </a:lnTo>
                  <a:lnTo>
                    <a:pt x="850" y="1082"/>
                  </a:lnTo>
                  <a:lnTo>
                    <a:pt x="826" y="1094"/>
                  </a:lnTo>
                  <a:lnTo>
                    <a:pt x="800" y="1106"/>
                  </a:lnTo>
                  <a:lnTo>
                    <a:pt x="774" y="1116"/>
                  </a:lnTo>
                  <a:lnTo>
                    <a:pt x="747" y="1126"/>
                  </a:lnTo>
                  <a:lnTo>
                    <a:pt x="720" y="1133"/>
                  </a:lnTo>
                  <a:lnTo>
                    <a:pt x="692" y="1139"/>
                  </a:lnTo>
                  <a:lnTo>
                    <a:pt x="664" y="1144"/>
                  </a:lnTo>
                  <a:lnTo>
                    <a:pt x="634" y="1148"/>
                  </a:lnTo>
                  <a:lnTo>
                    <a:pt x="605" y="1150"/>
                  </a:lnTo>
                  <a:lnTo>
                    <a:pt x="575" y="1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82">
              <a:extLst>
                <a:ext uri="{FF2B5EF4-FFF2-40B4-BE49-F238E27FC236}">
                  <a16:creationId xmlns:a16="http://schemas.microsoft.com/office/drawing/2014/main" id="{E65DA497-A8FD-4168-A276-65DBF93B664D}"/>
                </a:ext>
              </a:extLst>
            </p:cNvPr>
            <p:cNvSpPr>
              <a:spLocks/>
            </p:cNvSpPr>
            <p:nvPr/>
          </p:nvSpPr>
          <p:spPr bwMode="auto">
            <a:xfrm>
              <a:off x="5084763" y="5194300"/>
              <a:ext cx="47625" cy="74613"/>
            </a:xfrm>
            <a:custGeom>
              <a:avLst/>
              <a:gdLst>
                <a:gd name="T0" fmla="*/ 23 w 120"/>
                <a:gd name="T1" fmla="*/ 191 h 191"/>
                <a:gd name="T2" fmla="*/ 19 w 120"/>
                <a:gd name="T3" fmla="*/ 191 h 191"/>
                <a:gd name="T4" fmla="*/ 15 w 120"/>
                <a:gd name="T5" fmla="*/ 190 h 191"/>
                <a:gd name="T6" fmla="*/ 11 w 120"/>
                <a:gd name="T7" fmla="*/ 188 h 191"/>
                <a:gd name="T8" fmla="*/ 7 w 120"/>
                <a:gd name="T9" fmla="*/ 185 h 191"/>
                <a:gd name="T10" fmla="*/ 5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5 w 120"/>
                <a:gd name="T23" fmla="*/ 156 h 191"/>
                <a:gd name="T24" fmla="*/ 7 w 120"/>
                <a:gd name="T25" fmla="*/ 152 h 191"/>
                <a:gd name="T26" fmla="*/ 65 w 120"/>
                <a:gd name="T27" fmla="*/ 96 h 191"/>
                <a:gd name="T28" fmla="*/ 8 w 120"/>
                <a:gd name="T29" fmla="*/ 39 h 191"/>
                <a:gd name="T30" fmla="*/ 6 w 120"/>
                <a:gd name="T31" fmla="*/ 36 h 191"/>
                <a:gd name="T32" fmla="*/ 3 w 120"/>
                <a:gd name="T33" fmla="*/ 32 h 191"/>
                <a:gd name="T34" fmla="*/ 2 w 120"/>
                <a:gd name="T35" fmla="*/ 28 h 191"/>
                <a:gd name="T36" fmla="*/ 2 w 120"/>
                <a:gd name="T37" fmla="*/ 23 h 191"/>
                <a:gd name="T38" fmla="*/ 2 w 120"/>
                <a:gd name="T39" fmla="*/ 18 h 191"/>
                <a:gd name="T40" fmla="*/ 3 w 120"/>
                <a:gd name="T41" fmla="*/ 15 h 191"/>
                <a:gd name="T42" fmla="*/ 6 w 120"/>
                <a:gd name="T43" fmla="*/ 11 h 191"/>
                <a:gd name="T44" fmla="*/ 8 w 120"/>
                <a:gd name="T45" fmla="*/ 7 h 191"/>
                <a:gd name="T46" fmla="*/ 12 w 120"/>
                <a:gd name="T47" fmla="*/ 4 h 191"/>
                <a:gd name="T48" fmla="*/ 16 w 120"/>
                <a:gd name="T49" fmla="*/ 2 h 191"/>
                <a:gd name="T50" fmla="*/ 21 w 120"/>
                <a:gd name="T51" fmla="*/ 1 h 191"/>
                <a:gd name="T52" fmla="*/ 24 w 120"/>
                <a:gd name="T53" fmla="*/ 0 h 191"/>
                <a:gd name="T54" fmla="*/ 29 w 120"/>
                <a:gd name="T55" fmla="*/ 1 h 191"/>
                <a:gd name="T56" fmla="*/ 33 w 120"/>
                <a:gd name="T57" fmla="*/ 2 h 191"/>
                <a:gd name="T58" fmla="*/ 38 w 120"/>
                <a:gd name="T59" fmla="*/ 4 h 191"/>
                <a:gd name="T60" fmla="*/ 41 w 120"/>
                <a:gd name="T61" fmla="*/ 7 h 191"/>
                <a:gd name="T62" fmla="*/ 113 w 120"/>
                <a:gd name="T63" fmla="*/ 79 h 191"/>
                <a:gd name="T64" fmla="*/ 116 w 120"/>
                <a:gd name="T65" fmla="*/ 82 h 191"/>
                <a:gd name="T66" fmla="*/ 118 w 120"/>
                <a:gd name="T67" fmla="*/ 87 h 191"/>
                <a:gd name="T68" fmla="*/ 120 w 120"/>
                <a:gd name="T69" fmla="*/ 91 h 191"/>
                <a:gd name="T70" fmla="*/ 120 w 120"/>
                <a:gd name="T71" fmla="*/ 96 h 191"/>
                <a:gd name="T72" fmla="*/ 120 w 120"/>
                <a:gd name="T73" fmla="*/ 99 h 191"/>
                <a:gd name="T74" fmla="*/ 118 w 120"/>
                <a:gd name="T75" fmla="*/ 104 h 191"/>
                <a:gd name="T76" fmla="*/ 116 w 120"/>
                <a:gd name="T77" fmla="*/ 108 h 191"/>
                <a:gd name="T78" fmla="*/ 113 w 120"/>
                <a:gd name="T79" fmla="*/ 112 h 191"/>
                <a:gd name="T80" fmla="*/ 40 w 120"/>
                <a:gd name="T81" fmla="*/ 185 h 191"/>
                <a:gd name="T82" fmla="*/ 37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9" y="191"/>
                  </a:lnTo>
                  <a:lnTo>
                    <a:pt x="15" y="190"/>
                  </a:lnTo>
                  <a:lnTo>
                    <a:pt x="11" y="188"/>
                  </a:lnTo>
                  <a:lnTo>
                    <a:pt x="7" y="185"/>
                  </a:lnTo>
                  <a:lnTo>
                    <a:pt x="5" y="182"/>
                  </a:lnTo>
                  <a:lnTo>
                    <a:pt x="2" y="178"/>
                  </a:lnTo>
                  <a:lnTo>
                    <a:pt x="1" y="173"/>
                  </a:lnTo>
                  <a:lnTo>
                    <a:pt x="0" y="168"/>
                  </a:lnTo>
                  <a:lnTo>
                    <a:pt x="1" y="164"/>
                  </a:lnTo>
                  <a:lnTo>
                    <a:pt x="2" y="160"/>
                  </a:lnTo>
                  <a:lnTo>
                    <a:pt x="5" y="156"/>
                  </a:lnTo>
                  <a:lnTo>
                    <a:pt x="7" y="152"/>
                  </a:lnTo>
                  <a:lnTo>
                    <a:pt x="65" y="96"/>
                  </a:lnTo>
                  <a:lnTo>
                    <a:pt x="8" y="39"/>
                  </a:lnTo>
                  <a:lnTo>
                    <a:pt x="6" y="36"/>
                  </a:lnTo>
                  <a:lnTo>
                    <a:pt x="3" y="32"/>
                  </a:lnTo>
                  <a:lnTo>
                    <a:pt x="2" y="28"/>
                  </a:lnTo>
                  <a:lnTo>
                    <a:pt x="2" y="23"/>
                  </a:lnTo>
                  <a:lnTo>
                    <a:pt x="2" y="18"/>
                  </a:lnTo>
                  <a:lnTo>
                    <a:pt x="3" y="15"/>
                  </a:lnTo>
                  <a:lnTo>
                    <a:pt x="6" y="11"/>
                  </a:lnTo>
                  <a:lnTo>
                    <a:pt x="8" y="7"/>
                  </a:lnTo>
                  <a:lnTo>
                    <a:pt x="12" y="4"/>
                  </a:lnTo>
                  <a:lnTo>
                    <a:pt x="16" y="2"/>
                  </a:lnTo>
                  <a:lnTo>
                    <a:pt x="21" y="1"/>
                  </a:lnTo>
                  <a:lnTo>
                    <a:pt x="24" y="0"/>
                  </a:lnTo>
                  <a:lnTo>
                    <a:pt x="29" y="1"/>
                  </a:lnTo>
                  <a:lnTo>
                    <a:pt x="33" y="2"/>
                  </a:lnTo>
                  <a:lnTo>
                    <a:pt x="38" y="4"/>
                  </a:lnTo>
                  <a:lnTo>
                    <a:pt x="41" y="7"/>
                  </a:lnTo>
                  <a:lnTo>
                    <a:pt x="113" y="79"/>
                  </a:lnTo>
                  <a:lnTo>
                    <a:pt x="116" y="82"/>
                  </a:lnTo>
                  <a:lnTo>
                    <a:pt x="118" y="87"/>
                  </a:lnTo>
                  <a:lnTo>
                    <a:pt x="120" y="91"/>
                  </a:lnTo>
                  <a:lnTo>
                    <a:pt x="120" y="96"/>
                  </a:lnTo>
                  <a:lnTo>
                    <a:pt x="120" y="99"/>
                  </a:lnTo>
                  <a:lnTo>
                    <a:pt x="118" y="104"/>
                  </a:lnTo>
                  <a:lnTo>
                    <a:pt x="116" y="108"/>
                  </a:lnTo>
                  <a:lnTo>
                    <a:pt x="113" y="112"/>
                  </a:lnTo>
                  <a:lnTo>
                    <a:pt x="40" y="185"/>
                  </a:lnTo>
                  <a:lnTo>
                    <a:pt x="37"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3" name="Group 55">
            <a:extLst>
              <a:ext uri="{FF2B5EF4-FFF2-40B4-BE49-F238E27FC236}">
                <a16:creationId xmlns:a16="http://schemas.microsoft.com/office/drawing/2014/main" id="{DC37E5AC-DD8E-461C-970E-F61BD4B6A40F}"/>
              </a:ext>
            </a:extLst>
          </p:cNvPr>
          <p:cNvGrpSpPr>
            <a:grpSpLocks noChangeAspect="1"/>
          </p:cNvGrpSpPr>
          <p:nvPr/>
        </p:nvGrpSpPr>
        <p:grpSpPr>
          <a:xfrm>
            <a:off x="2292507" y="2186361"/>
            <a:ext cx="329560" cy="285619"/>
            <a:chOff x="4892675" y="1935163"/>
            <a:chExt cx="285750" cy="247650"/>
          </a:xfrm>
          <a:solidFill>
            <a:schemeClr val="bg2"/>
          </a:solidFill>
          <a:effectLst/>
        </p:grpSpPr>
        <p:sp>
          <p:nvSpPr>
            <p:cNvPr id="454" name="Freeform 185">
              <a:extLst>
                <a:ext uri="{FF2B5EF4-FFF2-40B4-BE49-F238E27FC236}">
                  <a16:creationId xmlns:a16="http://schemas.microsoft.com/office/drawing/2014/main" id="{5107C765-4D09-4537-9293-60D36396DFE5}"/>
                </a:ext>
              </a:extLst>
            </p:cNvPr>
            <p:cNvSpPr>
              <a:spLocks noEditPoints="1"/>
            </p:cNvSpPr>
            <p:nvPr/>
          </p:nvSpPr>
          <p:spPr bwMode="auto">
            <a:xfrm>
              <a:off x="4892675" y="2020888"/>
              <a:ext cx="66675" cy="114300"/>
            </a:xfrm>
            <a:custGeom>
              <a:avLst/>
              <a:gdLst>
                <a:gd name="T0" fmla="*/ 30 w 210"/>
                <a:gd name="T1" fmla="*/ 30 h 360"/>
                <a:gd name="T2" fmla="*/ 180 w 210"/>
                <a:gd name="T3" fmla="*/ 30 h 360"/>
                <a:gd name="T4" fmla="*/ 180 w 210"/>
                <a:gd name="T5" fmla="*/ 123 h 360"/>
                <a:gd name="T6" fmla="*/ 180 w 210"/>
                <a:gd name="T7" fmla="*/ 135 h 360"/>
                <a:gd name="T8" fmla="*/ 180 w 210"/>
                <a:gd name="T9" fmla="*/ 146 h 360"/>
                <a:gd name="T10" fmla="*/ 179 w 210"/>
                <a:gd name="T11" fmla="*/ 157 h 360"/>
                <a:gd name="T12" fmla="*/ 177 w 210"/>
                <a:gd name="T13" fmla="*/ 167 h 360"/>
                <a:gd name="T14" fmla="*/ 174 w 210"/>
                <a:gd name="T15" fmla="*/ 175 h 360"/>
                <a:gd name="T16" fmla="*/ 171 w 210"/>
                <a:gd name="T17" fmla="*/ 178 h 360"/>
                <a:gd name="T18" fmla="*/ 168 w 210"/>
                <a:gd name="T19" fmla="*/ 180 h 360"/>
                <a:gd name="T20" fmla="*/ 165 w 210"/>
                <a:gd name="T21" fmla="*/ 180 h 360"/>
                <a:gd name="T22" fmla="*/ 150 w 210"/>
                <a:gd name="T23" fmla="*/ 180 h 360"/>
                <a:gd name="T24" fmla="*/ 150 w 210"/>
                <a:gd name="T25" fmla="*/ 330 h 360"/>
                <a:gd name="T26" fmla="*/ 60 w 210"/>
                <a:gd name="T27" fmla="*/ 330 h 360"/>
                <a:gd name="T28" fmla="*/ 60 w 210"/>
                <a:gd name="T29" fmla="*/ 180 h 360"/>
                <a:gd name="T30" fmla="*/ 45 w 210"/>
                <a:gd name="T31" fmla="*/ 180 h 360"/>
                <a:gd name="T32" fmla="*/ 40 w 210"/>
                <a:gd name="T33" fmla="*/ 179 h 360"/>
                <a:gd name="T34" fmla="*/ 38 w 210"/>
                <a:gd name="T35" fmla="*/ 178 h 360"/>
                <a:gd name="T36" fmla="*/ 35 w 210"/>
                <a:gd name="T37" fmla="*/ 173 h 360"/>
                <a:gd name="T38" fmla="*/ 33 w 210"/>
                <a:gd name="T39" fmla="*/ 168 h 360"/>
                <a:gd name="T40" fmla="*/ 32 w 210"/>
                <a:gd name="T41" fmla="*/ 162 h 360"/>
                <a:gd name="T42" fmla="*/ 31 w 210"/>
                <a:gd name="T43" fmla="*/ 154 h 360"/>
                <a:gd name="T44" fmla="*/ 30 w 210"/>
                <a:gd name="T45" fmla="*/ 138 h 360"/>
                <a:gd name="T46" fmla="*/ 30 w 210"/>
                <a:gd name="T47" fmla="*/ 123 h 360"/>
                <a:gd name="T48" fmla="*/ 30 w 210"/>
                <a:gd name="T49" fmla="*/ 30 h 360"/>
                <a:gd name="T50" fmla="*/ 0 w 210"/>
                <a:gd name="T51" fmla="*/ 123 h 360"/>
                <a:gd name="T52" fmla="*/ 0 w 210"/>
                <a:gd name="T53" fmla="*/ 143 h 360"/>
                <a:gd name="T54" fmla="*/ 2 w 210"/>
                <a:gd name="T55" fmla="*/ 164 h 360"/>
                <a:gd name="T56" fmla="*/ 4 w 210"/>
                <a:gd name="T57" fmla="*/ 175 h 360"/>
                <a:gd name="T58" fmla="*/ 7 w 210"/>
                <a:gd name="T59" fmla="*/ 183 h 360"/>
                <a:gd name="T60" fmla="*/ 12 w 210"/>
                <a:gd name="T61" fmla="*/ 192 h 360"/>
                <a:gd name="T62" fmla="*/ 17 w 210"/>
                <a:gd name="T63" fmla="*/ 199 h 360"/>
                <a:gd name="T64" fmla="*/ 23 w 210"/>
                <a:gd name="T65" fmla="*/ 203 h 360"/>
                <a:gd name="T66" fmla="*/ 30 w 210"/>
                <a:gd name="T67" fmla="*/ 208 h 360"/>
                <a:gd name="T68" fmla="*/ 30 w 210"/>
                <a:gd name="T69" fmla="*/ 360 h 360"/>
                <a:gd name="T70" fmla="*/ 180 w 210"/>
                <a:gd name="T71" fmla="*/ 360 h 360"/>
                <a:gd name="T72" fmla="*/ 180 w 210"/>
                <a:gd name="T73" fmla="*/ 208 h 360"/>
                <a:gd name="T74" fmla="*/ 184 w 210"/>
                <a:gd name="T75" fmla="*/ 206 h 360"/>
                <a:gd name="T76" fmla="*/ 187 w 210"/>
                <a:gd name="T77" fmla="*/ 203 h 360"/>
                <a:gd name="T78" fmla="*/ 192 w 210"/>
                <a:gd name="T79" fmla="*/ 200 h 360"/>
                <a:gd name="T80" fmla="*/ 195 w 210"/>
                <a:gd name="T81" fmla="*/ 197 h 360"/>
                <a:gd name="T82" fmla="*/ 198 w 210"/>
                <a:gd name="T83" fmla="*/ 193 h 360"/>
                <a:gd name="T84" fmla="*/ 201 w 210"/>
                <a:gd name="T85" fmla="*/ 187 h 360"/>
                <a:gd name="T86" fmla="*/ 203 w 210"/>
                <a:gd name="T87" fmla="*/ 181 h 360"/>
                <a:gd name="T88" fmla="*/ 206 w 210"/>
                <a:gd name="T89" fmla="*/ 175 h 360"/>
                <a:gd name="T90" fmla="*/ 209 w 210"/>
                <a:gd name="T91" fmla="*/ 162 h 360"/>
                <a:gd name="T92" fmla="*/ 210 w 210"/>
                <a:gd name="T93" fmla="*/ 149 h 360"/>
                <a:gd name="T94" fmla="*/ 210 w 210"/>
                <a:gd name="T95" fmla="*/ 136 h 360"/>
                <a:gd name="T96" fmla="*/ 210 w 210"/>
                <a:gd name="T97" fmla="*/ 123 h 360"/>
                <a:gd name="T98" fmla="*/ 210 w 210"/>
                <a:gd name="T99" fmla="*/ 0 h 360"/>
                <a:gd name="T100" fmla="*/ 0 w 210"/>
                <a:gd name="T101" fmla="*/ 0 h 360"/>
                <a:gd name="T102" fmla="*/ 0 w 210"/>
                <a:gd name="T103" fmla="*/ 12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0" h="360">
                  <a:moveTo>
                    <a:pt x="30" y="30"/>
                  </a:moveTo>
                  <a:lnTo>
                    <a:pt x="180" y="30"/>
                  </a:lnTo>
                  <a:lnTo>
                    <a:pt x="180" y="123"/>
                  </a:lnTo>
                  <a:lnTo>
                    <a:pt x="180" y="135"/>
                  </a:lnTo>
                  <a:lnTo>
                    <a:pt x="180" y="146"/>
                  </a:lnTo>
                  <a:lnTo>
                    <a:pt x="179" y="157"/>
                  </a:lnTo>
                  <a:lnTo>
                    <a:pt x="177" y="167"/>
                  </a:lnTo>
                  <a:lnTo>
                    <a:pt x="174" y="175"/>
                  </a:lnTo>
                  <a:lnTo>
                    <a:pt x="171" y="178"/>
                  </a:lnTo>
                  <a:lnTo>
                    <a:pt x="168" y="180"/>
                  </a:lnTo>
                  <a:lnTo>
                    <a:pt x="165" y="180"/>
                  </a:lnTo>
                  <a:lnTo>
                    <a:pt x="150" y="180"/>
                  </a:lnTo>
                  <a:lnTo>
                    <a:pt x="150" y="330"/>
                  </a:lnTo>
                  <a:lnTo>
                    <a:pt x="60" y="330"/>
                  </a:lnTo>
                  <a:lnTo>
                    <a:pt x="60" y="180"/>
                  </a:lnTo>
                  <a:lnTo>
                    <a:pt x="45" y="180"/>
                  </a:lnTo>
                  <a:lnTo>
                    <a:pt x="40" y="179"/>
                  </a:lnTo>
                  <a:lnTo>
                    <a:pt x="38" y="178"/>
                  </a:lnTo>
                  <a:lnTo>
                    <a:pt x="35" y="173"/>
                  </a:lnTo>
                  <a:lnTo>
                    <a:pt x="33" y="168"/>
                  </a:lnTo>
                  <a:lnTo>
                    <a:pt x="32" y="162"/>
                  </a:lnTo>
                  <a:lnTo>
                    <a:pt x="31" y="154"/>
                  </a:lnTo>
                  <a:lnTo>
                    <a:pt x="30" y="138"/>
                  </a:lnTo>
                  <a:lnTo>
                    <a:pt x="30" y="123"/>
                  </a:lnTo>
                  <a:lnTo>
                    <a:pt x="30" y="30"/>
                  </a:lnTo>
                  <a:close/>
                  <a:moveTo>
                    <a:pt x="0" y="123"/>
                  </a:moveTo>
                  <a:lnTo>
                    <a:pt x="0" y="143"/>
                  </a:lnTo>
                  <a:lnTo>
                    <a:pt x="2" y="164"/>
                  </a:lnTo>
                  <a:lnTo>
                    <a:pt x="4" y="175"/>
                  </a:lnTo>
                  <a:lnTo>
                    <a:pt x="7" y="183"/>
                  </a:lnTo>
                  <a:lnTo>
                    <a:pt x="12" y="192"/>
                  </a:lnTo>
                  <a:lnTo>
                    <a:pt x="17" y="199"/>
                  </a:lnTo>
                  <a:lnTo>
                    <a:pt x="23" y="203"/>
                  </a:lnTo>
                  <a:lnTo>
                    <a:pt x="30" y="208"/>
                  </a:lnTo>
                  <a:lnTo>
                    <a:pt x="30" y="360"/>
                  </a:lnTo>
                  <a:lnTo>
                    <a:pt x="180" y="360"/>
                  </a:lnTo>
                  <a:lnTo>
                    <a:pt x="180" y="208"/>
                  </a:lnTo>
                  <a:lnTo>
                    <a:pt x="184" y="206"/>
                  </a:lnTo>
                  <a:lnTo>
                    <a:pt x="187" y="203"/>
                  </a:lnTo>
                  <a:lnTo>
                    <a:pt x="192" y="200"/>
                  </a:lnTo>
                  <a:lnTo>
                    <a:pt x="195" y="197"/>
                  </a:lnTo>
                  <a:lnTo>
                    <a:pt x="198" y="193"/>
                  </a:lnTo>
                  <a:lnTo>
                    <a:pt x="201" y="187"/>
                  </a:lnTo>
                  <a:lnTo>
                    <a:pt x="203" y="181"/>
                  </a:lnTo>
                  <a:lnTo>
                    <a:pt x="206" y="175"/>
                  </a:lnTo>
                  <a:lnTo>
                    <a:pt x="209" y="162"/>
                  </a:lnTo>
                  <a:lnTo>
                    <a:pt x="210" y="149"/>
                  </a:lnTo>
                  <a:lnTo>
                    <a:pt x="210" y="136"/>
                  </a:lnTo>
                  <a:lnTo>
                    <a:pt x="210" y="123"/>
                  </a:lnTo>
                  <a:lnTo>
                    <a:pt x="210" y="0"/>
                  </a:lnTo>
                  <a:lnTo>
                    <a:pt x="0" y="0"/>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86">
              <a:extLst>
                <a:ext uri="{FF2B5EF4-FFF2-40B4-BE49-F238E27FC236}">
                  <a16:creationId xmlns:a16="http://schemas.microsoft.com/office/drawing/2014/main" id="{EE311F8C-DF75-476D-8F83-E0126323615B}"/>
                </a:ext>
              </a:extLst>
            </p:cNvPr>
            <p:cNvSpPr>
              <a:spLocks noEditPoints="1"/>
            </p:cNvSpPr>
            <p:nvPr/>
          </p:nvSpPr>
          <p:spPr bwMode="auto">
            <a:xfrm>
              <a:off x="5111750" y="2020888"/>
              <a:ext cx="66675" cy="114300"/>
            </a:xfrm>
            <a:custGeom>
              <a:avLst/>
              <a:gdLst>
                <a:gd name="T0" fmla="*/ 181 w 212"/>
                <a:gd name="T1" fmla="*/ 120 h 360"/>
                <a:gd name="T2" fmla="*/ 180 w 212"/>
                <a:gd name="T3" fmla="*/ 130 h 360"/>
                <a:gd name="T4" fmla="*/ 179 w 212"/>
                <a:gd name="T5" fmla="*/ 138 h 360"/>
                <a:gd name="T6" fmla="*/ 177 w 212"/>
                <a:gd name="T7" fmla="*/ 146 h 360"/>
                <a:gd name="T8" fmla="*/ 175 w 212"/>
                <a:gd name="T9" fmla="*/ 152 h 360"/>
                <a:gd name="T10" fmla="*/ 173 w 212"/>
                <a:gd name="T11" fmla="*/ 157 h 360"/>
                <a:gd name="T12" fmla="*/ 170 w 212"/>
                <a:gd name="T13" fmla="*/ 161 h 360"/>
                <a:gd name="T14" fmla="*/ 168 w 212"/>
                <a:gd name="T15" fmla="*/ 164 h 360"/>
                <a:gd name="T16" fmla="*/ 166 w 212"/>
                <a:gd name="T17" fmla="*/ 165 h 360"/>
                <a:gd name="T18" fmla="*/ 151 w 212"/>
                <a:gd name="T19" fmla="*/ 165 h 360"/>
                <a:gd name="T20" fmla="*/ 151 w 212"/>
                <a:gd name="T21" fmla="*/ 330 h 360"/>
                <a:gd name="T22" fmla="*/ 60 w 212"/>
                <a:gd name="T23" fmla="*/ 330 h 360"/>
                <a:gd name="T24" fmla="*/ 60 w 212"/>
                <a:gd name="T25" fmla="*/ 180 h 360"/>
                <a:gd name="T26" fmla="*/ 59 w 212"/>
                <a:gd name="T27" fmla="*/ 166 h 360"/>
                <a:gd name="T28" fmla="*/ 45 w 212"/>
                <a:gd name="T29" fmla="*/ 165 h 360"/>
                <a:gd name="T30" fmla="*/ 44 w 212"/>
                <a:gd name="T31" fmla="*/ 164 h 360"/>
                <a:gd name="T32" fmla="*/ 42 w 212"/>
                <a:gd name="T33" fmla="*/ 162 h 360"/>
                <a:gd name="T34" fmla="*/ 40 w 212"/>
                <a:gd name="T35" fmla="*/ 158 h 360"/>
                <a:gd name="T36" fmla="*/ 37 w 212"/>
                <a:gd name="T37" fmla="*/ 154 h 360"/>
                <a:gd name="T38" fmla="*/ 35 w 212"/>
                <a:gd name="T39" fmla="*/ 148 h 360"/>
                <a:gd name="T40" fmla="*/ 32 w 212"/>
                <a:gd name="T41" fmla="*/ 139 h 360"/>
                <a:gd name="T42" fmla="*/ 31 w 212"/>
                <a:gd name="T43" fmla="*/ 131 h 360"/>
                <a:gd name="T44" fmla="*/ 30 w 212"/>
                <a:gd name="T45" fmla="*/ 120 h 360"/>
                <a:gd name="T46" fmla="*/ 30 w 212"/>
                <a:gd name="T47" fmla="*/ 30 h 360"/>
                <a:gd name="T48" fmla="*/ 181 w 212"/>
                <a:gd name="T49" fmla="*/ 30 h 360"/>
                <a:gd name="T50" fmla="*/ 181 w 212"/>
                <a:gd name="T51" fmla="*/ 120 h 360"/>
                <a:gd name="T52" fmla="*/ 0 w 212"/>
                <a:gd name="T53" fmla="*/ 0 h 360"/>
                <a:gd name="T54" fmla="*/ 0 w 212"/>
                <a:gd name="T55" fmla="*/ 120 h 360"/>
                <a:gd name="T56" fmla="*/ 1 w 212"/>
                <a:gd name="T57" fmla="*/ 133 h 360"/>
                <a:gd name="T58" fmla="*/ 2 w 212"/>
                <a:gd name="T59" fmla="*/ 145 h 360"/>
                <a:gd name="T60" fmla="*/ 6 w 212"/>
                <a:gd name="T61" fmla="*/ 155 h 360"/>
                <a:gd name="T62" fmla="*/ 9 w 212"/>
                <a:gd name="T63" fmla="*/ 165 h 360"/>
                <a:gd name="T64" fmla="*/ 13 w 212"/>
                <a:gd name="T65" fmla="*/ 173 h 360"/>
                <a:gd name="T66" fmla="*/ 19 w 212"/>
                <a:gd name="T67" fmla="*/ 181 h 360"/>
                <a:gd name="T68" fmla="*/ 24 w 212"/>
                <a:gd name="T69" fmla="*/ 186 h 360"/>
                <a:gd name="T70" fmla="*/ 30 w 212"/>
                <a:gd name="T71" fmla="*/ 192 h 360"/>
                <a:gd name="T72" fmla="*/ 30 w 212"/>
                <a:gd name="T73" fmla="*/ 360 h 360"/>
                <a:gd name="T74" fmla="*/ 181 w 212"/>
                <a:gd name="T75" fmla="*/ 360 h 360"/>
                <a:gd name="T76" fmla="*/ 181 w 212"/>
                <a:gd name="T77" fmla="*/ 191 h 360"/>
                <a:gd name="T78" fmla="*/ 188 w 212"/>
                <a:gd name="T79" fmla="*/ 186 h 360"/>
                <a:gd name="T80" fmla="*/ 194 w 212"/>
                <a:gd name="T81" fmla="*/ 180 h 360"/>
                <a:gd name="T82" fmla="*/ 199 w 212"/>
                <a:gd name="T83" fmla="*/ 171 h 360"/>
                <a:gd name="T84" fmla="*/ 203 w 212"/>
                <a:gd name="T85" fmla="*/ 163 h 360"/>
                <a:gd name="T86" fmla="*/ 207 w 212"/>
                <a:gd name="T87" fmla="*/ 152 h 360"/>
                <a:gd name="T88" fmla="*/ 209 w 212"/>
                <a:gd name="T89" fmla="*/ 142 h 360"/>
                <a:gd name="T90" fmla="*/ 210 w 212"/>
                <a:gd name="T91" fmla="*/ 131 h 360"/>
                <a:gd name="T92" fmla="*/ 212 w 212"/>
                <a:gd name="T93" fmla="*/ 120 h 360"/>
                <a:gd name="T94" fmla="*/ 212 w 212"/>
                <a:gd name="T95" fmla="*/ 0 h 360"/>
                <a:gd name="T96" fmla="*/ 0 w 212"/>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360">
                  <a:moveTo>
                    <a:pt x="181" y="120"/>
                  </a:moveTo>
                  <a:lnTo>
                    <a:pt x="180" y="130"/>
                  </a:lnTo>
                  <a:lnTo>
                    <a:pt x="179" y="138"/>
                  </a:lnTo>
                  <a:lnTo>
                    <a:pt x="177" y="146"/>
                  </a:lnTo>
                  <a:lnTo>
                    <a:pt x="175" y="152"/>
                  </a:lnTo>
                  <a:lnTo>
                    <a:pt x="173" y="157"/>
                  </a:lnTo>
                  <a:lnTo>
                    <a:pt x="170" y="161"/>
                  </a:lnTo>
                  <a:lnTo>
                    <a:pt x="168" y="164"/>
                  </a:lnTo>
                  <a:lnTo>
                    <a:pt x="166" y="165"/>
                  </a:lnTo>
                  <a:lnTo>
                    <a:pt x="151" y="165"/>
                  </a:lnTo>
                  <a:lnTo>
                    <a:pt x="151" y="330"/>
                  </a:lnTo>
                  <a:lnTo>
                    <a:pt x="60" y="330"/>
                  </a:lnTo>
                  <a:lnTo>
                    <a:pt x="60" y="180"/>
                  </a:lnTo>
                  <a:lnTo>
                    <a:pt x="59" y="166"/>
                  </a:lnTo>
                  <a:lnTo>
                    <a:pt x="45" y="165"/>
                  </a:lnTo>
                  <a:lnTo>
                    <a:pt x="44" y="164"/>
                  </a:lnTo>
                  <a:lnTo>
                    <a:pt x="42" y="162"/>
                  </a:lnTo>
                  <a:lnTo>
                    <a:pt x="40" y="158"/>
                  </a:lnTo>
                  <a:lnTo>
                    <a:pt x="37" y="154"/>
                  </a:lnTo>
                  <a:lnTo>
                    <a:pt x="35" y="148"/>
                  </a:lnTo>
                  <a:lnTo>
                    <a:pt x="32" y="139"/>
                  </a:lnTo>
                  <a:lnTo>
                    <a:pt x="31" y="131"/>
                  </a:lnTo>
                  <a:lnTo>
                    <a:pt x="30" y="120"/>
                  </a:lnTo>
                  <a:lnTo>
                    <a:pt x="30" y="30"/>
                  </a:lnTo>
                  <a:lnTo>
                    <a:pt x="181" y="30"/>
                  </a:lnTo>
                  <a:lnTo>
                    <a:pt x="181" y="120"/>
                  </a:lnTo>
                  <a:close/>
                  <a:moveTo>
                    <a:pt x="0" y="0"/>
                  </a:moveTo>
                  <a:lnTo>
                    <a:pt x="0" y="120"/>
                  </a:lnTo>
                  <a:lnTo>
                    <a:pt x="1" y="133"/>
                  </a:lnTo>
                  <a:lnTo>
                    <a:pt x="2" y="145"/>
                  </a:lnTo>
                  <a:lnTo>
                    <a:pt x="6" y="155"/>
                  </a:lnTo>
                  <a:lnTo>
                    <a:pt x="9" y="165"/>
                  </a:lnTo>
                  <a:lnTo>
                    <a:pt x="13" y="173"/>
                  </a:lnTo>
                  <a:lnTo>
                    <a:pt x="19" y="181"/>
                  </a:lnTo>
                  <a:lnTo>
                    <a:pt x="24" y="186"/>
                  </a:lnTo>
                  <a:lnTo>
                    <a:pt x="30" y="192"/>
                  </a:lnTo>
                  <a:lnTo>
                    <a:pt x="30" y="360"/>
                  </a:lnTo>
                  <a:lnTo>
                    <a:pt x="181" y="360"/>
                  </a:lnTo>
                  <a:lnTo>
                    <a:pt x="181" y="191"/>
                  </a:lnTo>
                  <a:lnTo>
                    <a:pt x="188" y="186"/>
                  </a:lnTo>
                  <a:lnTo>
                    <a:pt x="194" y="180"/>
                  </a:lnTo>
                  <a:lnTo>
                    <a:pt x="199" y="171"/>
                  </a:lnTo>
                  <a:lnTo>
                    <a:pt x="203" y="163"/>
                  </a:lnTo>
                  <a:lnTo>
                    <a:pt x="207" y="152"/>
                  </a:lnTo>
                  <a:lnTo>
                    <a:pt x="209" y="142"/>
                  </a:lnTo>
                  <a:lnTo>
                    <a:pt x="210" y="131"/>
                  </a:lnTo>
                  <a:lnTo>
                    <a:pt x="212" y="120"/>
                  </a:lnTo>
                  <a:lnTo>
                    <a:pt x="21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87">
              <a:extLst>
                <a:ext uri="{FF2B5EF4-FFF2-40B4-BE49-F238E27FC236}">
                  <a16:creationId xmlns:a16="http://schemas.microsoft.com/office/drawing/2014/main" id="{31556E63-788D-4DA1-A080-6A0C8ECB50A0}"/>
                </a:ext>
              </a:extLst>
            </p:cNvPr>
            <p:cNvSpPr>
              <a:spLocks noEditPoints="1"/>
            </p:cNvSpPr>
            <p:nvPr/>
          </p:nvSpPr>
          <p:spPr bwMode="auto">
            <a:xfrm>
              <a:off x="4987925" y="2020888"/>
              <a:ext cx="95250" cy="161925"/>
            </a:xfrm>
            <a:custGeom>
              <a:avLst/>
              <a:gdLst>
                <a:gd name="T0" fmla="*/ 270 w 300"/>
                <a:gd name="T1" fmla="*/ 30 h 511"/>
                <a:gd name="T2" fmla="*/ 270 w 300"/>
                <a:gd name="T3" fmla="*/ 218 h 511"/>
                <a:gd name="T4" fmla="*/ 266 w 300"/>
                <a:gd name="T5" fmla="*/ 239 h 511"/>
                <a:gd name="T6" fmla="*/ 259 w 300"/>
                <a:gd name="T7" fmla="*/ 253 h 511"/>
                <a:gd name="T8" fmla="*/ 253 w 300"/>
                <a:gd name="T9" fmla="*/ 260 h 511"/>
                <a:gd name="T10" fmla="*/ 244 w 300"/>
                <a:gd name="T11" fmla="*/ 267 h 511"/>
                <a:gd name="T12" fmla="*/ 233 w 300"/>
                <a:gd name="T13" fmla="*/ 270 h 511"/>
                <a:gd name="T14" fmla="*/ 210 w 300"/>
                <a:gd name="T15" fmla="*/ 270 h 511"/>
                <a:gd name="T16" fmla="*/ 90 w 300"/>
                <a:gd name="T17" fmla="*/ 481 h 511"/>
                <a:gd name="T18" fmla="*/ 75 w 300"/>
                <a:gd name="T19" fmla="*/ 270 h 511"/>
                <a:gd name="T20" fmla="*/ 61 w 300"/>
                <a:gd name="T21" fmla="*/ 269 h 511"/>
                <a:gd name="T22" fmla="*/ 51 w 300"/>
                <a:gd name="T23" fmla="*/ 264 h 511"/>
                <a:gd name="T24" fmla="*/ 43 w 300"/>
                <a:gd name="T25" fmla="*/ 257 h 511"/>
                <a:gd name="T26" fmla="*/ 38 w 300"/>
                <a:gd name="T27" fmla="*/ 249 h 511"/>
                <a:gd name="T28" fmla="*/ 31 w 300"/>
                <a:gd name="T29" fmla="*/ 229 h 511"/>
                <a:gd name="T30" fmla="*/ 30 w 300"/>
                <a:gd name="T31" fmla="*/ 210 h 511"/>
                <a:gd name="T32" fmla="*/ 0 w 300"/>
                <a:gd name="T33" fmla="*/ 210 h 511"/>
                <a:gd name="T34" fmla="*/ 1 w 300"/>
                <a:gd name="T35" fmla="*/ 228 h 511"/>
                <a:gd name="T36" fmla="*/ 3 w 300"/>
                <a:gd name="T37" fmla="*/ 244 h 511"/>
                <a:gd name="T38" fmla="*/ 9 w 300"/>
                <a:gd name="T39" fmla="*/ 258 h 511"/>
                <a:gd name="T40" fmla="*/ 16 w 300"/>
                <a:gd name="T41" fmla="*/ 270 h 511"/>
                <a:gd name="T42" fmla="*/ 25 w 300"/>
                <a:gd name="T43" fmla="*/ 281 h 511"/>
                <a:gd name="T44" fmla="*/ 34 w 300"/>
                <a:gd name="T45" fmla="*/ 289 h 511"/>
                <a:gd name="T46" fmla="*/ 46 w 300"/>
                <a:gd name="T47" fmla="*/ 295 h 511"/>
                <a:gd name="T48" fmla="*/ 60 w 300"/>
                <a:gd name="T49" fmla="*/ 299 h 511"/>
                <a:gd name="T50" fmla="*/ 240 w 300"/>
                <a:gd name="T51" fmla="*/ 511 h 511"/>
                <a:gd name="T52" fmla="*/ 247 w 300"/>
                <a:gd name="T53" fmla="*/ 297 h 511"/>
                <a:gd name="T54" fmla="*/ 259 w 300"/>
                <a:gd name="T55" fmla="*/ 292 h 511"/>
                <a:gd name="T56" fmla="*/ 271 w 300"/>
                <a:gd name="T57" fmla="*/ 285 h 511"/>
                <a:gd name="T58" fmla="*/ 280 w 300"/>
                <a:gd name="T59" fmla="*/ 275 h 511"/>
                <a:gd name="T60" fmla="*/ 288 w 300"/>
                <a:gd name="T61" fmla="*/ 265 h 511"/>
                <a:gd name="T62" fmla="*/ 294 w 300"/>
                <a:gd name="T63" fmla="*/ 251 h 511"/>
                <a:gd name="T64" fmla="*/ 298 w 300"/>
                <a:gd name="T65" fmla="*/ 236 h 511"/>
                <a:gd name="T66" fmla="*/ 300 w 300"/>
                <a:gd name="T67" fmla="*/ 220 h 511"/>
                <a:gd name="T68" fmla="*/ 300 w 300"/>
                <a:gd name="T69" fmla="*/ 0 h 511"/>
                <a:gd name="T70" fmla="*/ 0 w 300"/>
                <a:gd name="T71" fmla="*/ 21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511">
                  <a:moveTo>
                    <a:pt x="30" y="30"/>
                  </a:moveTo>
                  <a:lnTo>
                    <a:pt x="270" y="30"/>
                  </a:lnTo>
                  <a:lnTo>
                    <a:pt x="270" y="210"/>
                  </a:lnTo>
                  <a:lnTo>
                    <a:pt x="270" y="218"/>
                  </a:lnTo>
                  <a:lnTo>
                    <a:pt x="269" y="229"/>
                  </a:lnTo>
                  <a:lnTo>
                    <a:pt x="266" y="239"/>
                  </a:lnTo>
                  <a:lnTo>
                    <a:pt x="263" y="249"/>
                  </a:lnTo>
                  <a:lnTo>
                    <a:pt x="259" y="253"/>
                  </a:lnTo>
                  <a:lnTo>
                    <a:pt x="256" y="257"/>
                  </a:lnTo>
                  <a:lnTo>
                    <a:pt x="253" y="260"/>
                  </a:lnTo>
                  <a:lnTo>
                    <a:pt x="249" y="264"/>
                  </a:lnTo>
                  <a:lnTo>
                    <a:pt x="244" y="267"/>
                  </a:lnTo>
                  <a:lnTo>
                    <a:pt x="238" y="269"/>
                  </a:lnTo>
                  <a:lnTo>
                    <a:pt x="233" y="270"/>
                  </a:lnTo>
                  <a:lnTo>
                    <a:pt x="225" y="270"/>
                  </a:lnTo>
                  <a:lnTo>
                    <a:pt x="210" y="270"/>
                  </a:lnTo>
                  <a:lnTo>
                    <a:pt x="210" y="481"/>
                  </a:lnTo>
                  <a:lnTo>
                    <a:pt x="90" y="481"/>
                  </a:lnTo>
                  <a:lnTo>
                    <a:pt x="90" y="270"/>
                  </a:lnTo>
                  <a:lnTo>
                    <a:pt x="75" y="270"/>
                  </a:lnTo>
                  <a:lnTo>
                    <a:pt x="68" y="270"/>
                  </a:lnTo>
                  <a:lnTo>
                    <a:pt x="61" y="269"/>
                  </a:lnTo>
                  <a:lnTo>
                    <a:pt x="56" y="267"/>
                  </a:lnTo>
                  <a:lnTo>
                    <a:pt x="51" y="264"/>
                  </a:lnTo>
                  <a:lnTo>
                    <a:pt x="47" y="260"/>
                  </a:lnTo>
                  <a:lnTo>
                    <a:pt x="43" y="257"/>
                  </a:lnTo>
                  <a:lnTo>
                    <a:pt x="40" y="253"/>
                  </a:lnTo>
                  <a:lnTo>
                    <a:pt x="38" y="249"/>
                  </a:lnTo>
                  <a:lnTo>
                    <a:pt x="33" y="239"/>
                  </a:lnTo>
                  <a:lnTo>
                    <a:pt x="31" y="229"/>
                  </a:lnTo>
                  <a:lnTo>
                    <a:pt x="30" y="218"/>
                  </a:lnTo>
                  <a:lnTo>
                    <a:pt x="30" y="210"/>
                  </a:lnTo>
                  <a:lnTo>
                    <a:pt x="30" y="30"/>
                  </a:lnTo>
                  <a:close/>
                  <a:moveTo>
                    <a:pt x="0" y="210"/>
                  </a:moveTo>
                  <a:lnTo>
                    <a:pt x="0" y="218"/>
                  </a:lnTo>
                  <a:lnTo>
                    <a:pt x="1" y="228"/>
                  </a:lnTo>
                  <a:lnTo>
                    <a:pt x="2" y="236"/>
                  </a:lnTo>
                  <a:lnTo>
                    <a:pt x="3" y="244"/>
                  </a:lnTo>
                  <a:lnTo>
                    <a:pt x="6" y="251"/>
                  </a:lnTo>
                  <a:lnTo>
                    <a:pt x="9" y="258"/>
                  </a:lnTo>
                  <a:lnTo>
                    <a:pt x="12" y="265"/>
                  </a:lnTo>
                  <a:lnTo>
                    <a:pt x="16" y="270"/>
                  </a:lnTo>
                  <a:lnTo>
                    <a:pt x="19" y="275"/>
                  </a:lnTo>
                  <a:lnTo>
                    <a:pt x="25" y="281"/>
                  </a:lnTo>
                  <a:lnTo>
                    <a:pt x="29" y="285"/>
                  </a:lnTo>
                  <a:lnTo>
                    <a:pt x="34" y="289"/>
                  </a:lnTo>
                  <a:lnTo>
                    <a:pt x="41" y="292"/>
                  </a:lnTo>
                  <a:lnTo>
                    <a:pt x="46" y="295"/>
                  </a:lnTo>
                  <a:lnTo>
                    <a:pt x="53" y="297"/>
                  </a:lnTo>
                  <a:lnTo>
                    <a:pt x="60" y="299"/>
                  </a:lnTo>
                  <a:lnTo>
                    <a:pt x="60" y="511"/>
                  </a:lnTo>
                  <a:lnTo>
                    <a:pt x="240" y="511"/>
                  </a:lnTo>
                  <a:lnTo>
                    <a:pt x="240" y="299"/>
                  </a:lnTo>
                  <a:lnTo>
                    <a:pt x="247" y="297"/>
                  </a:lnTo>
                  <a:lnTo>
                    <a:pt x="254" y="295"/>
                  </a:lnTo>
                  <a:lnTo>
                    <a:pt x="259" y="292"/>
                  </a:lnTo>
                  <a:lnTo>
                    <a:pt x="266" y="289"/>
                  </a:lnTo>
                  <a:lnTo>
                    <a:pt x="271" y="285"/>
                  </a:lnTo>
                  <a:lnTo>
                    <a:pt x="276" y="281"/>
                  </a:lnTo>
                  <a:lnTo>
                    <a:pt x="280" y="275"/>
                  </a:lnTo>
                  <a:lnTo>
                    <a:pt x="284" y="270"/>
                  </a:lnTo>
                  <a:lnTo>
                    <a:pt x="288" y="265"/>
                  </a:lnTo>
                  <a:lnTo>
                    <a:pt x="292" y="258"/>
                  </a:lnTo>
                  <a:lnTo>
                    <a:pt x="294" y="251"/>
                  </a:lnTo>
                  <a:lnTo>
                    <a:pt x="296" y="244"/>
                  </a:lnTo>
                  <a:lnTo>
                    <a:pt x="298" y="236"/>
                  </a:lnTo>
                  <a:lnTo>
                    <a:pt x="299" y="228"/>
                  </a:lnTo>
                  <a:lnTo>
                    <a:pt x="300" y="220"/>
                  </a:lnTo>
                  <a:lnTo>
                    <a:pt x="300" y="210"/>
                  </a:lnTo>
                  <a:lnTo>
                    <a:pt x="300" y="0"/>
                  </a:lnTo>
                  <a:lnTo>
                    <a:pt x="0" y="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88">
              <a:extLst>
                <a:ext uri="{FF2B5EF4-FFF2-40B4-BE49-F238E27FC236}">
                  <a16:creationId xmlns:a16="http://schemas.microsoft.com/office/drawing/2014/main" id="{07C53F6D-8DD5-4CC5-87FD-AA4F9E71C7FE}"/>
                </a:ext>
              </a:extLst>
            </p:cNvPr>
            <p:cNvSpPr>
              <a:spLocks noEditPoints="1"/>
            </p:cNvSpPr>
            <p:nvPr/>
          </p:nvSpPr>
          <p:spPr bwMode="auto">
            <a:xfrm>
              <a:off x="5121275" y="1963738"/>
              <a:ext cx="47625" cy="47625"/>
            </a:xfrm>
            <a:custGeom>
              <a:avLst/>
              <a:gdLst>
                <a:gd name="T0" fmla="*/ 85 w 151"/>
                <a:gd name="T1" fmla="*/ 31 h 151"/>
                <a:gd name="T2" fmla="*/ 101 w 151"/>
                <a:gd name="T3" fmla="*/ 38 h 151"/>
                <a:gd name="T4" fmla="*/ 113 w 151"/>
                <a:gd name="T5" fmla="*/ 50 h 151"/>
                <a:gd name="T6" fmla="*/ 120 w 151"/>
                <a:gd name="T7" fmla="*/ 66 h 151"/>
                <a:gd name="T8" fmla="*/ 120 w 151"/>
                <a:gd name="T9" fmla="*/ 84 h 151"/>
                <a:gd name="T10" fmla="*/ 113 w 151"/>
                <a:gd name="T11" fmla="*/ 100 h 151"/>
                <a:gd name="T12" fmla="*/ 101 w 151"/>
                <a:gd name="T13" fmla="*/ 112 h 151"/>
                <a:gd name="T14" fmla="*/ 85 w 151"/>
                <a:gd name="T15" fmla="*/ 120 h 151"/>
                <a:gd name="T16" fmla="*/ 67 w 151"/>
                <a:gd name="T17" fmla="*/ 120 h 151"/>
                <a:gd name="T18" fmla="*/ 51 w 151"/>
                <a:gd name="T19" fmla="*/ 112 h 151"/>
                <a:gd name="T20" fmla="*/ 39 w 151"/>
                <a:gd name="T21" fmla="*/ 100 h 151"/>
                <a:gd name="T22" fmla="*/ 31 w 151"/>
                <a:gd name="T23" fmla="*/ 84 h 151"/>
                <a:gd name="T24" fmla="*/ 31 w 151"/>
                <a:gd name="T25" fmla="*/ 66 h 151"/>
                <a:gd name="T26" fmla="*/ 39 w 151"/>
                <a:gd name="T27" fmla="*/ 50 h 151"/>
                <a:gd name="T28" fmla="*/ 51 w 151"/>
                <a:gd name="T29" fmla="*/ 38 h 151"/>
                <a:gd name="T30" fmla="*/ 67 w 151"/>
                <a:gd name="T31" fmla="*/ 31 h 151"/>
                <a:gd name="T32" fmla="*/ 76 w 151"/>
                <a:gd name="T33" fmla="*/ 151 h 151"/>
                <a:gd name="T34" fmla="*/ 91 w 151"/>
                <a:gd name="T35" fmla="*/ 149 h 151"/>
                <a:gd name="T36" fmla="*/ 105 w 151"/>
                <a:gd name="T37" fmla="*/ 144 h 151"/>
                <a:gd name="T38" fmla="*/ 118 w 151"/>
                <a:gd name="T39" fmla="*/ 138 h 151"/>
                <a:gd name="T40" fmla="*/ 129 w 151"/>
                <a:gd name="T41" fmla="*/ 128 h 151"/>
                <a:gd name="T42" fmla="*/ 139 w 151"/>
                <a:gd name="T43" fmla="*/ 118 h 151"/>
                <a:gd name="T44" fmla="*/ 145 w 151"/>
                <a:gd name="T45" fmla="*/ 105 h 151"/>
                <a:gd name="T46" fmla="*/ 149 w 151"/>
                <a:gd name="T47" fmla="*/ 91 h 151"/>
                <a:gd name="T48" fmla="*/ 151 w 151"/>
                <a:gd name="T49" fmla="*/ 75 h 151"/>
                <a:gd name="T50" fmla="*/ 149 w 151"/>
                <a:gd name="T51" fmla="*/ 60 h 151"/>
                <a:gd name="T52" fmla="*/ 145 w 151"/>
                <a:gd name="T53" fmla="*/ 46 h 151"/>
                <a:gd name="T54" fmla="*/ 139 w 151"/>
                <a:gd name="T55" fmla="*/ 33 h 151"/>
                <a:gd name="T56" fmla="*/ 129 w 151"/>
                <a:gd name="T57" fmla="*/ 22 h 151"/>
                <a:gd name="T58" fmla="*/ 118 w 151"/>
                <a:gd name="T59" fmla="*/ 12 h 151"/>
                <a:gd name="T60" fmla="*/ 105 w 151"/>
                <a:gd name="T61" fmla="*/ 6 h 151"/>
                <a:gd name="T62" fmla="*/ 91 w 151"/>
                <a:gd name="T63" fmla="*/ 2 h 151"/>
                <a:gd name="T64" fmla="*/ 76 w 151"/>
                <a:gd name="T65" fmla="*/ 0 h 151"/>
                <a:gd name="T66" fmla="*/ 60 w 151"/>
                <a:gd name="T67" fmla="*/ 2 h 151"/>
                <a:gd name="T68" fmla="*/ 46 w 151"/>
                <a:gd name="T69" fmla="*/ 6 h 151"/>
                <a:gd name="T70" fmla="*/ 34 w 151"/>
                <a:gd name="T71" fmla="*/ 12 h 151"/>
                <a:gd name="T72" fmla="*/ 23 w 151"/>
                <a:gd name="T73" fmla="*/ 22 h 151"/>
                <a:gd name="T74" fmla="*/ 13 w 151"/>
                <a:gd name="T75" fmla="*/ 33 h 151"/>
                <a:gd name="T76" fmla="*/ 7 w 151"/>
                <a:gd name="T77" fmla="*/ 46 h 151"/>
                <a:gd name="T78" fmla="*/ 2 w 151"/>
                <a:gd name="T79" fmla="*/ 60 h 151"/>
                <a:gd name="T80" fmla="*/ 0 w 151"/>
                <a:gd name="T81" fmla="*/ 75 h 151"/>
                <a:gd name="T82" fmla="*/ 2 w 151"/>
                <a:gd name="T83" fmla="*/ 91 h 151"/>
                <a:gd name="T84" fmla="*/ 7 w 151"/>
                <a:gd name="T85" fmla="*/ 105 h 151"/>
                <a:gd name="T86" fmla="*/ 13 w 151"/>
                <a:gd name="T87" fmla="*/ 118 h 151"/>
                <a:gd name="T88" fmla="*/ 23 w 151"/>
                <a:gd name="T89" fmla="*/ 128 h 151"/>
                <a:gd name="T90" fmla="*/ 34 w 151"/>
                <a:gd name="T91" fmla="*/ 138 h 151"/>
                <a:gd name="T92" fmla="*/ 46 w 151"/>
                <a:gd name="T93" fmla="*/ 144 h 151"/>
                <a:gd name="T94" fmla="*/ 60 w 151"/>
                <a:gd name="T95" fmla="*/ 149 h 151"/>
                <a:gd name="T96" fmla="*/ 76 w 151"/>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76" y="30"/>
                  </a:moveTo>
                  <a:lnTo>
                    <a:pt x="85" y="31"/>
                  </a:lnTo>
                  <a:lnTo>
                    <a:pt x="94" y="34"/>
                  </a:lnTo>
                  <a:lnTo>
                    <a:pt x="101" y="38"/>
                  </a:lnTo>
                  <a:lnTo>
                    <a:pt x="108" y="44"/>
                  </a:lnTo>
                  <a:lnTo>
                    <a:pt x="113" y="50"/>
                  </a:lnTo>
                  <a:lnTo>
                    <a:pt x="117" y="57"/>
                  </a:lnTo>
                  <a:lnTo>
                    <a:pt x="120" y="66"/>
                  </a:lnTo>
                  <a:lnTo>
                    <a:pt x="121" y="75"/>
                  </a:lnTo>
                  <a:lnTo>
                    <a:pt x="120" y="84"/>
                  </a:lnTo>
                  <a:lnTo>
                    <a:pt x="117" y="93"/>
                  </a:lnTo>
                  <a:lnTo>
                    <a:pt x="113" y="100"/>
                  </a:lnTo>
                  <a:lnTo>
                    <a:pt x="108" y="107"/>
                  </a:lnTo>
                  <a:lnTo>
                    <a:pt x="101" y="112"/>
                  </a:lnTo>
                  <a:lnTo>
                    <a:pt x="94" y="116"/>
                  </a:lnTo>
                  <a:lnTo>
                    <a:pt x="85" y="120"/>
                  </a:lnTo>
                  <a:lnTo>
                    <a:pt x="76" y="121"/>
                  </a:lnTo>
                  <a:lnTo>
                    <a:pt x="67" y="120"/>
                  </a:lnTo>
                  <a:lnTo>
                    <a:pt x="58" y="116"/>
                  </a:lnTo>
                  <a:lnTo>
                    <a:pt x="51" y="112"/>
                  </a:lnTo>
                  <a:lnTo>
                    <a:pt x="44" y="107"/>
                  </a:lnTo>
                  <a:lnTo>
                    <a:pt x="39" y="100"/>
                  </a:lnTo>
                  <a:lnTo>
                    <a:pt x="35" y="93"/>
                  </a:lnTo>
                  <a:lnTo>
                    <a:pt x="31" y="84"/>
                  </a:lnTo>
                  <a:lnTo>
                    <a:pt x="30" y="75"/>
                  </a:lnTo>
                  <a:lnTo>
                    <a:pt x="31" y="66"/>
                  </a:lnTo>
                  <a:lnTo>
                    <a:pt x="35" y="57"/>
                  </a:lnTo>
                  <a:lnTo>
                    <a:pt x="39" y="50"/>
                  </a:lnTo>
                  <a:lnTo>
                    <a:pt x="44" y="44"/>
                  </a:lnTo>
                  <a:lnTo>
                    <a:pt x="51" y="38"/>
                  </a:lnTo>
                  <a:lnTo>
                    <a:pt x="58" y="34"/>
                  </a:lnTo>
                  <a:lnTo>
                    <a:pt x="67" y="31"/>
                  </a:lnTo>
                  <a:lnTo>
                    <a:pt x="76" y="30"/>
                  </a:lnTo>
                  <a:close/>
                  <a:moveTo>
                    <a:pt x="76" y="151"/>
                  </a:moveTo>
                  <a:lnTo>
                    <a:pt x="84" y="150"/>
                  </a:lnTo>
                  <a:lnTo>
                    <a:pt x="91" y="149"/>
                  </a:lnTo>
                  <a:lnTo>
                    <a:pt x="98" y="146"/>
                  </a:lnTo>
                  <a:lnTo>
                    <a:pt x="105" y="144"/>
                  </a:lnTo>
                  <a:lnTo>
                    <a:pt x="112" y="141"/>
                  </a:lnTo>
                  <a:lnTo>
                    <a:pt x="118" y="138"/>
                  </a:lnTo>
                  <a:lnTo>
                    <a:pt x="124" y="134"/>
                  </a:lnTo>
                  <a:lnTo>
                    <a:pt x="129" y="128"/>
                  </a:lnTo>
                  <a:lnTo>
                    <a:pt x="134" y="123"/>
                  </a:lnTo>
                  <a:lnTo>
                    <a:pt x="139" y="118"/>
                  </a:lnTo>
                  <a:lnTo>
                    <a:pt x="142" y="111"/>
                  </a:lnTo>
                  <a:lnTo>
                    <a:pt x="145" y="105"/>
                  </a:lnTo>
                  <a:lnTo>
                    <a:pt x="148" y="97"/>
                  </a:lnTo>
                  <a:lnTo>
                    <a:pt x="149" y="91"/>
                  </a:lnTo>
                  <a:lnTo>
                    <a:pt x="150" y="83"/>
                  </a:lnTo>
                  <a:lnTo>
                    <a:pt x="151" y="75"/>
                  </a:lnTo>
                  <a:lnTo>
                    <a:pt x="150" y="67"/>
                  </a:lnTo>
                  <a:lnTo>
                    <a:pt x="149" y="60"/>
                  </a:lnTo>
                  <a:lnTo>
                    <a:pt x="148" y="53"/>
                  </a:lnTo>
                  <a:lnTo>
                    <a:pt x="145" y="46"/>
                  </a:lnTo>
                  <a:lnTo>
                    <a:pt x="142" y="39"/>
                  </a:lnTo>
                  <a:lnTo>
                    <a:pt x="139" y="33"/>
                  </a:lnTo>
                  <a:lnTo>
                    <a:pt x="134" y="27"/>
                  </a:lnTo>
                  <a:lnTo>
                    <a:pt x="129" y="22"/>
                  </a:lnTo>
                  <a:lnTo>
                    <a:pt x="124" y="17"/>
                  </a:lnTo>
                  <a:lnTo>
                    <a:pt x="118" y="12"/>
                  </a:lnTo>
                  <a:lnTo>
                    <a:pt x="112" y="9"/>
                  </a:lnTo>
                  <a:lnTo>
                    <a:pt x="105" y="6"/>
                  </a:lnTo>
                  <a:lnTo>
                    <a:pt x="98" y="4"/>
                  </a:lnTo>
                  <a:lnTo>
                    <a:pt x="91" y="2"/>
                  </a:lnTo>
                  <a:lnTo>
                    <a:pt x="84" y="1"/>
                  </a:lnTo>
                  <a:lnTo>
                    <a:pt x="76" y="0"/>
                  </a:lnTo>
                  <a:lnTo>
                    <a:pt x="68" y="1"/>
                  </a:lnTo>
                  <a:lnTo>
                    <a:pt x="60" y="2"/>
                  </a:lnTo>
                  <a:lnTo>
                    <a:pt x="54" y="4"/>
                  </a:lnTo>
                  <a:lnTo>
                    <a:pt x="46" y="6"/>
                  </a:lnTo>
                  <a:lnTo>
                    <a:pt x="40" y="9"/>
                  </a:lnTo>
                  <a:lnTo>
                    <a:pt x="34" y="12"/>
                  </a:lnTo>
                  <a:lnTo>
                    <a:pt x="28" y="17"/>
                  </a:lnTo>
                  <a:lnTo>
                    <a:pt x="23" y="22"/>
                  </a:lnTo>
                  <a:lnTo>
                    <a:pt x="17" y="27"/>
                  </a:lnTo>
                  <a:lnTo>
                    <a:pt x="13" y="33"/>
                  </a:lnTo>
                  <a:lnTo>
                    <a:pt x="10" y="39"/>
                  </a:lnTo>
                  <a:lnTo>
                    <a:pt x="7" y="46"/>
                  </a:lnTo>
                  <a:lnTo>
                    <a:pt x="5" y="53"/>
                  </a:lnTo>
                  <a:lnTo>
                    <a:pt x="2" y="60"/>
                  </a:lnTo>
                  <a:lnTo>
                    <a:pt x="1" y="67"/>
                  </a:lnTo>
                  <a:lnTo>
                    <a:pt x="0" y="75"/>
                  </a:lnTo>
                  <a:lnTo>
                    <a:pt x="1" y="83"/>
                  </a:lnTo>
                  <a:lnTo>
                    <a:pt x="2" y="91"/>
                  </a:lnTo>
                  <a:lnTo>
                    <a:pt x="5" y="97"/>
                  </a:lnTo>
                  <a:lnTo>
                    <a:pt x="7" y="105"/>
                  </a:lnTo>
                  <a:lnTo>
                    <a:pt x="10" y="111"/>
                  </a:lnTo>
                  <a:lnTo>
                    <a:pt x="13" y="118"/>
                  </a:lnTo>
                  <a:lnTo>
                    <a:pt x="17" y="123"/>
                  </a:lnTo>
                  <a:lnTo>
                    <a:pt x="23" y="128"/>
                  </a:lnTo>
                  <a:lnTo>
                    <a:pt x="28" y="134"/>
                  </a:lnTo>
                  <a:lnTo>
                    <a:pt x="34" y="138"/>
                  </a:lnTo>
                  <a:lnTo>
                    <a:pt x="40" y="141"/>
                  </a:lnTo>
                  <a:lnTo>
                    <a:pt x="46" y="144"/>
                  </a:lnTo>
                  <a:lnTo>
                    <a:pt x="54" y="146"/>
                  </a:lnTo>
                  <a:lnTo>
                    <a:pt x="60" y="149"/>
                  </a:lnTo>
                  <a:lnTo>
                    <a:pt x="68" y="150"/>
                  </a:lnTo>
                  <a:lnTo>
                    <a:pt x="7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89">
              <a:extLst>
                <a:ext uri="{FF2B5EF4-FFF2-40B4-BE49-F238E27FC236}">
                  <a16:creationId xmlns:a16="http://schemas.microsoft.com/office/drawing/2014/main" id="{CC50189B-5468-4EFB-9D10-C128FC416911}"/>
                </a:ext>
              </a:extLst>
            </p:cNvPr>
            <p:cNvSpPr>
              <a:spLocks noEditPoints="1"/>
            </p:cNvSpPr>
            <p:nvPr/>
          </p:nvSpPr>
          <p:spPr bwMode="auto">
            <a:xfrm>
              <a:off x="4902200" y="1963738"/>
              <a:ext cx="47625" cy="47625"/>
            </a:xfrm>
            <a:custGeom>
              <a:avLst/>
              <a:gdLst>
                <a:gd name="T0" fmla="*/ 84 w 150"/>
                <a:gd name="T1" fmla="*/ 31 h 151"/>
                <a:gd name="T2" fmla="*/ 101 w 150"/>
                <a:gd name="T3" fmla="*/ 38 h 151"/>
                <a:gd name="T4" fmla="*/ 112 w 150"/>
                <a:gd name="T5" fmla="*/ 50 h 151"/>
                <a:gd name="T6" fmla="*/ 119 w 150"/>
                <a:gd name="T7" fmla="*/ 66 h 151"/>
                <a:gd name="T8" fmla="*/ 119 w 150"/>
                <a:gd name="T9" fmla="*/ 84 h 151"/>
                <a:gd name="T10" fmla="*/ 112 w 150"/>
                <a:gd name="T11" fmla="*/ 100 h 151"/>
                <a:gd name="T12" fmla="*/ 101 w 150"/>
                <a:gd name="T13" fmla="*/ 112 h 151"/>
                <a:gd name="T14" fmla="*/ 84 w 150"/>
                <a:gd name="T15" fmla="*/ 120 h 151"/>
                <a:gd name="T16" fmla="*/ 66 w 150"/>
                <a:gd name="T17" fmla="*/ 120 h 151"/>
                <a:gd name="T18" fmla="*/ 50 w 150"/>
                <a:gd name="T19" fmla="*/ 112 h 151"/>
                <a:gd name="T20" fmla="*/ 37 w 150"/>
                <a:gd name="T21" fmla="*/ 100 h 151"/>
                <a:gd name="T22" fmla="*/ 31 w 150"/>
                <a:gd name="T23" fmla="*/ 84 h 151"/>
                <a:gd name="T24" fmla="*/ 31 w 150"/>
                <a:gd name="T25" fmla="*/ 66 h 151"/>
                <a:gd name="T26" fmla="*/ 37 w 150"/>
                <a:gd name="T27" fmla="*/ 50 h 151"/>
                <a:gd name="T28" fmla="*/ 50 w 150"/>
                <a:gd name="T29" fmla="*/ 38 h 151"/>
                <a:gd name="T30" fmla="*/ 66 w 150"/>
                <a:gd name="T31" fmla="*/ 31 h 151"/>
                <a:gd name="T32" fmla="*/ 75 w 150"/>
                <a:gd name="T33" fmla="*/ 151 h 151"/>
                <a:gd name="T34" fmla="*/ 90 w 150"/>
                <a:gd name="T35" fmla="*/ 149 h 151"/>
                <a:gd name="T36" fmla="*/ 105 w 150"/>
                <a:gd name="T37" fmla="*/ 144 h 151"/>
                <a:gd name="T38" fmla="*/ 117 w 150"/>
                <a:gd name="T39" fmla="*/ 138 h 151"/>
                <a:gd name="T40" fmla="*/ 128 w 150"/>
                <a:gd name="T41" fmla="*/ 128 h 151"/>
                <a:gd name="T42" fmla="*/ 137 w 150"/>
                <a:gd name="T43" fmla="*/ 118 h 151"/>
                <a:gd name="T44" fmla="*/ 144 w 150"/>
                <a:gd name="T45" fmla="*/ 105 h 151"/>
                <a:gd name="T46" fmla="*/ 149 w 150"/>
                <a:gd name="T47" fmla="*/ 91 h 151"/>
                <a:gd name="T48" fmla="*/ 150 w 150"/>
                <a:gd name="T49" fmla="*/ 75 h 151"/>
                <a:gd name="T50" fmla="*/ 149 w 150"/>
                <a:gd name="T51" fmla="*/ 60 h 151"/>
                <a:gd name="T52" fmla="*/ 144 w 150"/>
                <a:gd name="T53" fmla="*/ 46 h 151"/>
                <a:gd name="T54" fmla="*/ 137 w 150"/>
                <a:gd name="T55" fmla="*/ 33 h 151"/>
                <a:gd name="T56" fmla="*/ 128 w 150"/>
                <a:gd name="T57" fmla="*/ 22 h 151"/>
                <a:gd name="T58" fmla="*/ 117 w 150"/>
                <a:gd name="T59" fmla="*/ 12 h 151"/>
                <a:gd name="T60" fmla="*/ 105 w 150"/>
                <a:gd name="T61" fmla="*/ 6 h 151"/>
                <a:gd name="T62" fmla="*/ 90 w 150"/>
                <a:gd name="T63" fmla="*/ 2 h 151"/>
                <a:gd name="T64" fmla="*/ 75 w 150"/>
                <a:gd name="T65" fmla="*/ 0 h 151"/>
                <a:gd name="T66" fmla="*/ 60 w 150"/>
                <a:gd name="T67" fmla="*/ 2 h 151"/>
                <a:gd name="T68" fmla="*/ 46 w 150"/>
                <a:gd name="T69" fmla="*/ 6 h 151"/>
                <a:gd name="T70" fmla="*/ 33 w 150"/>
                <a:gd name="T71" fmla="*/ 12 h 151"/>
                <a:gd name="T72" fmla="*/ 22 w 150"/>
                <a:gd name="T73" fmla="*/ 22 h 151"/>
                <a:gd name="T74" fmla="*/ 13 w 150"/>
                <a:gd name="T75" fmla="*/ 33 h 151"/>
                <a:gd name="T76" fmla="*/ 6 w 150"/>
                <a:gd name="T77" fmla="*/ 46 h 151"/>
                <a:gd name="T78" fmla="*/ 2 w 150"/>
                <a:gd name="T79" fmla="*/ 60 h 151"/>
                <a:gd name="T80" fmla="*/ 0 w 150"/>
                <a:gd name="T81" fmla="*/ 75 h 151"/>
                <a:gd name="T82" fmla="*/ 2 w 150"/>
                <a:gd name="T83" fmla="*/ 91 h 151"/>
                <a:gd name="T84" fmla="*/ 6 w 150"/>
                <a:gd name="T85" fmla="*/ 105 h 151"/>
                <a:gd name="T86" fmla="*/ 13 w 150"/>
                <a:gd name="T87" fmla="*/ 118 h 151"/>
                <a:gd name="T88" fmla="*/ 22 w 150"/>
                <a:gd name="T89" fmla="*/ 128 h 151"/>
                <a:gd name="T90" fmla="*/ 33 w 150"/>
                <a:gd name="T91" fmla="*/ 138 h 151"/>
                <a:gd name="T92" fmla="*/ 46 w 150"/>
                <a:gd name="T93" fmla="*/ 144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1" y="38"/>
                  </a:lnTo>
                  <a:lnTo>
                    <a:pt x="107" y="44"/>
                  </a:lnTo>
                  <a:lnTo>
                    <a:pt x="112" y="50"/>
                  </a:lnTo>
                  <a:lnTo>
                    <a:pt x="117" y="57"/>
                  </a:lnTo>
                  <a:lnTo>
                    <a:pt x="119" y="66"/>
                  </a:lnTo>
                  <a:lnTo>
                    <a:pt x="120" y="75"/>
                  </a:lnTo>
                  <a:lnTo>
                    <a:pt x="119" y="84"/>
                  </a:lnTo>
                  <a:lnTo>
                    <a:pt x="117" y="93"/>
                  </a:lnTo>
                  <a:lnTo>
                    <a:pt x="112" y="100"/>
                  </a:lnTo>
                  <a:lnTo>
                    <a:pt x="107" y="107"/>
                  </a:lnTo>
                  <a:lnTo>
                    <a:pt x="101" y="112"/>
                  </a:lnTo>
                  <a:lnTo>
                    <a:pt x="93" y="116"/>
                  </a:lnTo>
                  <a:lnTo>
                    <a:pt x="84" y="120"/>
                  </a:lnTo>
                  <a:lnTo>
                    <a:pt x="75" y="121"/>
                  </a:lnTo>
                  <a:lnTo>
                    <a:pt x="66" y="120"/>
                  </a:lnTo>
                  <a:lnTo>
                    <a:pt x="58" y="116"/>
                  </a:lnTo>
                  <a:lnTo>
                    <a:pt x="50" y="112"/>
                  </a:lnTo>
                  <a:lnTo>
                    <a:pt x="44" y="107"/>
                  </a:lnTo>
                  <a:lnTo>
                    <a:pt x="37" y="100"/>
                  </a:lnTo>
                  <a:lnTo>
                    <a:pt x="33" y="93"/>
                  </a:lnTo>
                  <a:lnTo>
                    <a:pt x="31" y="84"/>
                  </a:lnTo>
                  <a:lnTo>
                    <a:pt x="30" y="75"/>
                  </a:lnTo>
                  <a:lnTo>
                    <a:pt x="31" y="66"/>
                  </a:lnTo>
                  <a:lnTo>
                    <a:pt x="33" y="57"/>
                  </a:lnTo>
                  <a:lnTo>
                    <a:pt x="37" y="50"/>
                  </a:lnTo>
                  <a:lnTo>
                    <a:pt x="44" y="44"/>
                  </a:lnTo>
                  <a:lnTo>
                    <a:pt x="50" y="38"/>
                  </a:lnTo>
                  <a:lnTo>
                    <a:pt x="58" y="34"/>
                  </a:lnTo>
                  <a:lnTo>
                    <a:pt x="66" y="31"/>
                  </a:lnTo>
                  <a:lnTo>
                    <a:pt x="75" y="30"/>
                  </a:lnTo>
                  <a:close/>
                  <a:moveTo>
                    <a:pt x="75" y="151"/>
                  </a:moveTo>
                  <a:lnTo>
                    <a:pt x="82" y="150"/>
                  </a:lnTo>
                  <a:lnTo>
                    <a:pt x="90" y="149"/>
                  </a:lnTo>
                  <a:lnTo>
                    <a:pt x="97" y="146"/>
                  </a:lnTo>
                  <a:lnTo>
                    <a:pt x="105" y="144"/>
                  </a:lnTo>
                  <a:lnTo>
                    <a:pt x="111" y="141"/>
                  </a:lnTo>
                  <a:lnTo>
                    <a:pt x="117" y="138"/>
                  </a:lnTo>
                  <a:lnTo>
                    <a:pt x="123" y="134"/>
                  </a:lnTo>
                  <a:lnTo>
                    <a:pt x="128" y="128"/>
                  </a:lnTo>
                  <a:lnTo>
                    <a:pt x="133" y="123"/>
                  </a:lnTo>
                  <a:lnTo>
                    <a:pt x="137" y="118"/>
                  </a:lnTo>
                  <a:lnTo>
                    <a:pt x="141" y="111"/>
                  </a:lnTo>
                  <a:lnTo>
                    <a:pt x="144" y="105"/>
                  </a:lnTo>
                  <a:lnTo>
                    <a:pt x="147" y="97"/>
                  </a:lnTo>
                  <a:lnTo>
                    <a:pt x="149" y="91"/>
                  </a:lnTo>
                  <a:lnTo>
                    <a:pt x="150" y="83"/>
                  </a:lnTo>
                  <a:lnTo>
                    <a:pt x="150" y="75"/>
                  </a:lnTo>
                  <a:lnTo>
                    <a:pt x="150" y="67"/>
                  </a:lnTo>
                  <a:lnTo>
                    <a:pt x="149" y="60"/>
                  </a:lnTo>
                  <a:lnTo>
                    <a:pt x="147" y="53"/>
                  </a:lnTo>
                  <a:lnTo>
                    <a:pt x="144" y="46"/>
                  </a:lnTo>
                  <a:lnTo>
                    <a:pt x="141" y="39"/>
                  </a:lnTo>
                  <a:lnTo>
                    <a:pt x="137" y="33"/>
                  </a:lnTo>
                  <a:lnTo>
                    <a:pt x="133" y="27"/>
                  </a:lnTo>
                  <a:lnTo>
                    <a:pt x="128" y="22"/>
                  </a:lnTo>
                  <a:lnTo>
                    <a:pt x="123" y="17"/>
                  </a:lnTo>
                  <a:lnTo>
                    <a:pt x="117" y="12"/>
                  </a:lnTo>
                  <a:lnTo>
                    <a:pt x="111" y="9"/>
                  </a:lnTo>
                  <a:lnTo>
                    <a:pt x="105" y="6"/>
                  </a:lnTo>
                  <a:lnTo>
                    <a:pt x="97" y="4"/>
                  </a:lnTo>
                  <a:lnTo>
                    <a:pt x="90" y="2"/>
                  </a:lnTo>
                  <a:lnTo>
                    <a:pt x="82" y="1"/>
                  </a:lnTo>
                  <a:lnTo>
                    <a:pt x="75" y="0"/>
                  </a:lnTo>
                  <a:lnTo>
                    <a:pt x="67" y="1"/>
                  </a:lnTo>
                  <a:lnTo>
                    <a:pt x="60" y="2"/>
                  </a:lnTo>
                  <a:lnTo>
                    <a:pt x="52" y="4"/>
                  </a:lnTo>
                  <a:lnTo>
                    <a:pt x="46" y="6"/>
                  </a:lnTo>
                  <a:lnTo>
                    <a:pt x="39" y="9"/>
                  </a:lnTo>
                  <a:lnTo>
                    <a:pt x="33" y="12"/>
                  </a:lnTo>
                  <a:lnTo>
                    <a:pt x="28" y="17"/>
                  </a:lnTo>
                  <a:lnTo>
                    <a:pt x="22" y="22"/>
                  </a:lnTo>
                  <a:lnTo>
                    <a:pt x="17" y="27"/>
                  </a:lnTo>
                  <a:lnTo>
                    <a:pt x="13" y="33"/>
                  </a:lnTo>
                  <a:lnTo>
                    <a:pt x="9" y="39"/>
                  </a:lnTo>
                  <a:lnTo>
                    <a:pt x="6" y="46"/>
                  </a:lnTo>
                  <a:lnTo>
                    <a:pt x="3" y="53"/>
                  </a:lnTo>
                  <a:lnTo>
                    <a:pt x="2" y="60"/>
                  </a:lnTo>
                  <a:lnTo>
                    <a:pt x="0" y="67"/>
                  </a:lnTo>
                  <a:lnTo>
                    <a:pt x="0" y="75"/>
                  </a:lnTo>
                  <a:lnTo>
                    <a:pt x="0" y="83"/>
                  </a:lnTo>
                  <a:lnTo>
                    <a:pt x="2" y="91"/>
                  </a:lnTo>
                  <a:lnTo>
                    <a:pt x="3" y="97"/>
                  </a:lnTo>
                  <a:lnTo>
                    <a:pt x="6" y="105"/>
                  </a:lnTo>
                  <a:lnTo>
                    <a:pt x="9" y="111"/>
                  </a:lnTo>
                  <a:lnTo>
                    <a:pt x="13" y="118"/>
                  </a:lnTo>
                  <a:lnTo>
                    <a:pt x="17" y="123"/>
                  </a:lnTo>
                  <a:lnTo>
                    <a:pt x="22" y="128"/>
                  </a:lnTo>
                  <a:lnTo>
                    <a:pt x="28" y="134"/>
                  </a:lnTo>
                  <a:lnTo>
                    <a:pt x="33" y="138"/>
                  </a:lnTo>
                  <a:lnTo>
                    <a:pt x="39" y="141"/>
                  </a:lnTo>
                  <a:lnTo>
                    <a:pt x="46" y="144"/>
                  </a:lnTo>
                  <a:lnTo>
                    <a:pt x="52" y="146"/>
                  </a:lnTo>
                  <a:lnTo>
                    <a:pt x="60" y="149"/>
                  </a:lnTo>
                  <a:lnTo>
                    <a:pt x="67" y="150"/>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90">
              <a:extLst>
                <a:ext uri="{FF2B5EF4-FFF2-40B4-BE49-F238E27FC236}">
                  <a16:creationId xmlns:a16="http://schemas.microsoft.com/office/drawing/2014/main" id="{79AAF082-FD57-4345-8AC2-A45F2BAC7618}"/>
                </a:ext>
              </a:extLst>
            </p:cNvPr>
            <p:cNvSpPr>
              <a:spLocks noEditPoints="1"/>
            </p:cNvSpPr>
            <p:nvPr/>
          </p:nvSpPr>
          <p:spPr bwMode="auto">
            <a:xfrm>
              <a:off x="4997450" y="1935163"/>
              <a:ext cx="76200" cy="76200"/>
            </a:xfrm>
            <a:custGeom>
              <a:avLst/>
              <a:gdLst>
                <a:gd name="T0" fmla="*/ 138 w 240"/>
                <a:gd name="T1" fmla="*/ 32 h 241"/>
                <a:gd name="T2" fmla="*/ 163 w 240"/>
                <a:gd name="T3" fmla="*/ 40 h 241"/>
                <a:gd name="T4" fmla="*/ 183 w 240"/>
                <a:gd name="T5" fmla="*/ 56 h 241"/>
                <a:gd name="T6" fmla="*/ 199 w 240"/>
                <a:gd name="T7" fmla="*/ 77 h 241"/>
                <a:gd name="T8" fmla="*/ 208 w 240"/>
                <a:gd name="T9" fmla="*/ 101 h 241"/>
                <a:gd name="T10" fmla="*/ 210 w 240"/>
                <a:gd name="T11" fmla="*/ 129 h 241"/>
                <a:gd name="T12" fmla="*/ 203 w 240"/>
                <a:gd name="T13" fmla="*/ 155 h 241"/>
                <a:gd name="T14" fmla="*/ 190 w 240"/>
                <a:gd name="T15" fmla="*/ 178 h 241"/>
                <a:gd name="T16" fmla="*/ 171 w 240"/>
                <a:gd name="T17" fmla="*/ 195 h 241"/>
                <a:gd name="T18" fmla="*/ 147 w 240"/>
                <a:gd name="T19" fmla="*/ 206 h 241"/>
                <a:gd name="T20" fmla="*/ 120 w 240"/>
                <a:gd name="T21" fmla="*/ 211 h 241"/>
                <a:gd name="T22" fmla="*/ 93 w 240"/>
                <a:gd name="T23" fmla="*/ 206 h 241"/>
                <a:gd name="T24" fmla="*/ 70 w 240"/>
                <a:gd name="T25" fmla="*/ 195 h 241"/>
                <a:gd name="T26" fmla="*/ 50 w 240"/>
                <a:gd name="T27" fmla="*/ 178 h 241"/>
                <a:gd name="T28" fmla="*/ 36 w 240"/>
                <a:gd name="T29" fmla="*/ 155 h 241"/>
                <a:gd name="T30" fmla="*/ 30 w 240"/>
                <a:gd name="T31" fmla="*/ 129 h 241"/>
                <a:gd name="T32" fmla="*/ 31 w 240"/>
                <a:gd name="T33" fmla="*/ 101 h 241"/>
                <a:gd name="T34" fmla="*/ 41 w 240"/>
                <a:gd name="T35" fmla="*/ 77 h 241"/>
                <a:gd name="T36" fmla="*/ 56 w 240"/>
                <a:gd name="T37" fmla="*/ 56 h 241"/>
                <a:gd name="T38" fmla="*/ 77 w 240"/>
                <a:gd name="T39" fmla="*/ 40 h 241"/>
                <a:gd name="T40" fmla="*/ 102 w 240"/>
                <a:gd name="T41" fmla="*/ 32 h 241"/>
                <a:gd name="T42" fmla="*/ 120 w 240"/>
                <a:gd name="T43" fmla="*/ 241 h 241"/>
                <a:gd name="T44" fmla="*/ 155 w 240"/>
                <a:gd name="T45" fmla="*/ 235 h 241"/>
                <a:gd name="T46" fmla="*/ 188 w 240"/>
                <a:gd name="T47" fmla="*/ 219 h 241"/>
                <a:gd name="T48" fmla="*/ 212 w 240"/>
                <a:gd name="T49" fmla="*/ 197 h 241"/>
                <a:gd name="T50" fmla="*/ 231 w 240"/>
                <a:gd name="T51" fmla="*/ 167 h 241"/>
                <a:gd name="T52" fmla="*/ 240 w 240"/>
                <a:gd name="T53" fmla="*/ 132 h 241"/>
                <a:gd name="T54" fmla="*/ 238 w 240"/>
                <a:gd name="T55" fmla="*/ 96 h 241"/>
                <a:gd name="T56" fmla="*/ 226 w 240"/>
                <a:gd name="T57" fmla="*/ 63 h 241"/>
                <a:gd name="T58" fmla="*/ 205 w 240"/>
                <a:gd name="T59" fmla="*/ 35 h 241"/>
                <a:gd name="T60" fmla="*/ 177 w 240"/>
                <a:gd name="T61" fmla="*/ 15 h 241"/>
                <a:gd name="T62" fmla="*/ 144 w 240"/>
                <a:gd name="T63" fmla="*/ 2 h 241"/>
                <a:gd name="T64" fmla="*/ 107 w 240"/>
                <a:gd name="T65" fmla="*/ 1 h 241"/>
                <a:gd name="T66" fmla="*/ 73 w 240"/>
                <a:gd name="T67" fmla="*/ 9 h 241"/>
                <a:gd name="T68" fmla="*/ 44 w 240"/>
                <a:gd name="T69" fmla="*/ 27 h 241"/>
                <a:gd name="T70" fmla="*/ 20 w 240"/>
                <a:gd name="T71" fmla="*/ 53 h 241"/>
                <a:gd name="T72" fmla="*/ 5 w 240"/>
                <a:gd name="T73" fmla="*/ 84 h 241"/>
                <a:gd name="T74" fmla="*/ 0 w 240"/>
                <a:gd name="T75" fmla="*/ 120 h 241"/>
                <a:gd name="T76" fmla="*/ 5 w 240"/>
                <a:gd name="T77" fmla="*/ 156 h 241"/>
                <a:gd name="T78" fmla="*/ 20 w 240"/>
                <a:gd name="T79" fmla="*/ 187 h 241"/>
                <a:gd name="T80" fmla="*/ 44 w 240"/>
                <a:gd name="T81" fmla="*/ 213 h 241"/>
                <a:gd name="T82" fmla="*/ 73 w 240"/>
                <a:gd name="T83" fmla="*/ 231 h 241"/>
                <a:gd name="T84" fmla="*/ 107 w 240"/>
                <a:gd name="T85" fmla="*/ 24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29" y="31"/>
                  </a:lnTo>
                  <a:lnTo>
                    <a:pt x="138" y="32"/>
                  </a:lnTo>
                  <a:lnTo>
                    <a:pt x="147" y="34"/>
                  </a:lnTo>
                  <a:lnTo>
                    <a:pt x="155" y="37"/>
                  </a:lnTo>
                  <a:lnTo>
                    <a:pt x="163" y="40"/>
                  </a:lnTo>
                  <a:lnTo>
                    <a:pt x="171" y="46"/>
                  </a:lnTo>
                  <a:lnTo>
                    <a:pt x="177" y="50"/>
                  </a:lnTo>
                  <a:lnTo>
                    <a:pt x="183" y="56"/>
                  </a:lnTo>
                  <a:lnTo>
                    <a:pt x="190" y="63"/>
                  </a:lnTo>
                  <a:lnTo>
                    <a:pt x="195" y="69"/>
                  </a:lnTo>
                  <a:lnTo>
                    <a:pt x="199" y="77"/>
                  </a:lnTo>
                  <a:lnTo>
                    <a:pt x="203" y="85"/>
                  </a:lnTo>
                  <a:lnTo>
                    <a:pt x="206" y="93"/>
                  </a:lnTo>
                  <a:lnTo>
                    <a:pt x="208" y="101"/>
                  </a:lnTo>
                  <a:lnTo>
                    <a:pt x="210" y="111"/>
                  </a:lnTo>
                  <a:lnTo>
                    <a:pt x="210" y="120"/>
                  </a:lnTo>
                  <a:lnTo>
                    <a:pt x="210" y="129"/>
                  </a:lnTo>
                  <a:lnTo>
                    <a:pt x="208" y="138"/>
                  </a:lnTo>
                  <a:lnTo>
                    <a:pt x="206" y="146"/>
                  </a:lnTo>
                  <a:lnTo>
                    <a:pt x="203" y="155"/>
                  </a:lnTo>
                  <a:lnTo>
                    <a:pt x="199" y="163"/>
                  </a:lnTo>
                  <a:lnTo>
                    <a:pt x="195" y="170"/>
                  </a:lnTo>
                  <a:lnTo>
                    <a:pt x="190" y="178"/>
                  </a:lnTo>
                  <a:lnTo>
                    <a:pt x="183" y="184"/>
                  </a:lnTo>
                  <a:lnTo>
                    <a:pt x="177" y="189"/>
                  </a:lnTo>
                  <a:lnTo>
                    <a:pt x="171" y="195"/>
                  </a:lnTo>
                  <a:lnTo>
                    <a:pt x="163" y="199"/>
                  </a:lnTo>
                  <a:lnTo>
                    <a:pt x="155" y="203"/>
                  </a:lnTo>
                  <a:lnTo>
                    <a:pt x="147" y="206"/>
                  </a:lnTo>
                  <a:lnTo>
                    <a:pt x="138" y="209"/>
                  </a:lnTo>
                  <a:lnTo>
                    <a:pt x="129" y="210"/>
                  </a:lnTo>
                  <a:lnTo>
                    <a:pt x="120" y="211"/>
                  </a:lnTo>
                  <a:lnTo>
                    <a:pt x="110" y="210"/>
                  </a:lnTo>
                  <a:lnTo>
                    <a:pt x="102" y="209"/>
                  </a:lnTo>
                  <a:lnTo>
                    <a:pt x="93" y="206"/>
                  </a:lnTo>
                  <a:lnTo>
                    <a:pt x="85" y="203"/>
                  </a:lnTo>
                  <a:lnTo>
                    <a:pt x="77" y="199"/>
                  </a:lnTo>
                  <a:lnTo>
                    <a:pt x="70" y="195"/>
                  </a:lnTo>
                  <a:lnTo>
                    <a:pt x="62" y="189"/>
                  </a:lnTo>
                  <a:lnTo>
                    <a:pt x="56" y="184"/>
                  </a:lnTo>
                  <a:lnTo>
                    <a:pt x="50" y="178"/>
                  </a:lnTo>
                  <a:lnTo>
                    <a:pt x="45" y="170"/>
                  </a:lnTo>
                  <a:lnTo>
                    <a:pt x="41" y="164"/>
                  </a:lnTo>
                  <a:lnTo>
                    <a:pt x="36" y="155"/>
                  </a:lnTo>
                  <a:lnTo>
                    <a:pt x="34" y="146"/>
                  </a:lnTo>
                  <a:lnTo>
                    <a:pt x="31" y="138"/>
                  </a:lnTo>
                  <a:lnTo>
                    <a:pt x="30" y="129"/>
                  </a:lnTo>
                  <a:lnTo>
                    <a:pt x="30" y="120"/>
                  </a:lnTo>
                  <a:lnTo>
                    <a:pt x="30" y="111"/>
                  </a:lnTo>
                  <a:lnTo>
                    <a:pt x="31" y="101"/>
                  </a:lnTo>
                  <a:lnTo>
                    <a:pt x="34" y="93"/>
                  </a:lnTo>
                  <a:lnTo>
                    <a:pt x="36" y="85"/>
                  </a:lnTo>
                  <a:lnTo>
                    <a:pt x="41" y="77"/>
                  </a:lnTo>
                  <a:lnTo>
                    <a:pt x="45" y="69"/>
                  </a:lnTo>
                  <a:lnTo>
                    <a:pt x="50" y="63"/>
                  </a:lnTo>
                  <a:lnTo>
                    <a:pt x="56" y="56"/>
                  </a:lnTo>
                  <a:lnTo>
                    <a:pt x="62" y="50"/>
                  </a:lnTo>
                  <a:lnTo>
                    <a:pt x="70" y="46"/>
                  </a:lnTo>
                  <a:lnTo>
                    <a:pt x="77" y="40"/>
                  </a:lnTo>
                  <a:lnTo>
                    <a:pt x="85" y="37"/>
                  </a:lnTo>
                  <a:lnTo>
                    <a:pt x="93" y="34"/>
                  </a:lnTo>
                  <a:lnTo>
                    <a:pt x="102" y="32"/>
                  </a:lnTo>
                  <a:lnTo>
                    <a:pt x="110" y="31"/>
                  </a:lnTo>
                  <a:lnTo>
                    <a:pt x="120" y="30"/>
                  </a:lnTo>
                  <a:close/>
                  <a:moveTo>
                    <a:pt x="120" y="241"/>
                  </a:moveTo>
                  <a:lnTo>
                    <a:pt x="132" y="240"/>
                  </a:lnTo>
                  <a:lnTo>
                    <a:pt x="144" y="238"/>
                  </a:lnTo>
                  <a:lnTo>
                    <a:pt x="155" y="235"/>
                  </a:lnTo>
                  <a:lnTo>
                    <a:pt x="167" y="231"/>
                  </a:lnTo>
                  <a:lnTo>
                    <a:pt x="177" y="226"/>
                  </a:lnTo>
                  <a:lnTo>
                    <a:pt x="188" y="219"/>
                  </a:lnTo>
                  <a:lnTo>
                    <a:pt x="196" y="213"/>
                  </a:lnTo>
                  <a:lnTo>
                    <a:pt x="205" y="205"/>
                  </a:lnTo>
                  <a:lnTo>
                    <a:pt x="212" y="197"/>
                  </a:lnTo>
                  <a:lnTo>
                    <a:pt x="220" y="187"/>
                  </a:lnTo>
                  <a:lnTo>
                    <a:pt x="226" y="178"/>
                  </a:lnTo>
                  <a:lnTo>
                    <a:pt x="231" y="167"/>
                  </a:lnTo>
                  <a:lnTo>
                    <a:pt x="235" y="156"/>
                  </a:lnTo>
                  <a:lnTo>
                    <a:pt x="238" y="144"/>
                  </a:lnTo>
                  <a:lnTo>
                    <a:pt x="240" y="132"/>
                  </a:lnTo>
                  <a:lnTo>
                    <a:pt x="240" y="120"/>
                  </a:lnTo>
                  <a:lnTo>
                    <a:pt x="240" y="108"/>
                  </a:lnTo>
                  <a:lnTo>
                    <a:pt x="238" y="96"/>
                  </a:lnTo>
                  <a:lnTo>
                    <a:pt x="235" y="84"/>
                  </a:lnTo>
                  <a:lnTo>
                    <a:pt x="231" y="74"/>
                  </a:lnTo>
                  <a:lnTo>
                    <a:pt x="226" y="63"/>
                  </a:lnTo>
                  <a:lnTo>
                    <a:pt x="220" y="53"/>
                  </a:lnTo>
                  <a:lnTo>
                    <a:pt x="212" y="43"/>
                  </a:lnTo>
                  <a:lnTo>
                    <a:pt x="205" y="35"/>
                  </a:lnTo>
                  <a:lnTo>
                    <a:pt x="196" y="27"/>
                  </a:lnTo>
                  <a:lnTo>
                    <a:pt x="188" y="20"/>
                  </a:lnTo>
                  <a:lnTo>
                    <a:pt x="177" y="15"/>
                  </a:lnTo>
                  <a:lnTo>
                    <a:pt x="167" y="9"/>
                  </a:lnTo>
                  <a:lnTo>
                    <a:pt x="155" y="5"/>
                  </a:lnTo>
                  <a:lnTo>
                    <a:pt x="144" y="2"/>
                  </a:lnTo>
                  <a:lnTo>
                    <a:pt x="132" y="1"/>
                  </a:lnTo>
                  <a:lnTo>
                    <a:pt x="120" y="0"/>
                  </a:lnTo>
                  <a:lnTo>
                    <a:pt x="107" y="1"/>
                  </a:lnTo>
                  <a:lnTo>
                    <a:pt x="95" y="2"/>
                  </a:lnTo>
                  <a:lnTo>
                    <a:pt x="85" y="5"/>
                  </a:lnTo>
                  <a:lnTo>
                    <a:pt x="73" y="9"/>
                  </a:lnTo>
                  <a:lnTo>
                    <a:pt x="62" y="15"/>
                  </a:lnTo>
                  <a:lnTo>
                    <a:pt x="53" y="20"/>
                  </a:lnTo>
                  <a:lnTo>
                    <a:pt x="44" y="27"/>
                  </a:lnTo>
                  <a:lnTo>
                    <a:pt x="35" y="35"/>
                  </a:lnTo>
                  <a:lnTo>
                    <a:pt x="27" y="43"/>
                  </a:lnTo>
                  <a:lnTo>
                    <a:pt x="20" y="53"/>
                  </a:lnTo>
                  <a:lnTo>
                    <a:pt x="14" y="63"/>
                  </a:lnTo>
                  <a:lnTo>
                    <a:pt x="10" y="74"/>
                  </a:lnTo>
                  <a:lnTo>
                    <a:pt x="5" y="84"/>
                  </a:lnTo>
                  <a:lnTo>
                    <a:pt x="2" y="96"/>
                  </a:lnTo>
                  <a:lnTo>
                    <a:pt x="0" y="108"/>
                  </a:lnTo>
                  <a:lnTo>
                    <a:pt x="0" y="120"/>
                  </a:lnTo>
                  <a:lnTo>
                    <a:pt x="0" y="132"/>
                  </a:lnTo>
                  <a:lnTo>
                    <a:pt x="2" y="144"/>
                  </a:lnTo>
                  <a:lnTo>
                    <a:pt x="5" y="156"/>
                  </a:lnTo>
                  <a:lnTo>
                    <a:pt x="10" y="167"/>
                  </a:lnTo>
                  <a:lnTo>
                    <a:pt x="14" y="178"/>
                  </a:lnTo>
                  <a:lnTo>
                    <a:pt x="20" y="187"/>
                  </a:lnTo>
                  <a:lnTo>
                    <a:pt x="27" y="197"/>
                  </a:lnTo>
                  <a:lnTo>
                    <a:pt x="35" y="205"/>
                  </a:lnTo>
                  <a:lnTo>
                    <a:pt x="44" y="213"/>
                  </a:lnTo>
                  <a:lnTo>
                    <a:pt x="53" y="219"/>
                  </a:lnTo>
                  <a:lnTo>
                    <a:pt x="62" y="226"/>
                  </a:lnTo>
                  <a:lnTo>
                    <a:pt x="73" y="231"/>
                  </a:lnTo>
                  <a:lnTo>
                    <a:pt x="85" y="235"/>
                  </a:lnTo>
                  <a:lnTo>
                    <a:pt x="95" y="238"/>
                  </a:lnTo>
                  <a:lnTo>
                    <a:pt x="107" y="240"/>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8" name="Group 28">
            <a:extLst>
              <a:ext uri="{FF2B5EF4-FFF2-40B4-BE49-F238E27FC236}">
                <a16:creationId xmlns:a16="http://schemas.microsoft.com/office/drawing/2014/main" id="{A364059B-A4A8-4428-B14E-EE1E69DC0849}"/>
              </a:ext>
            </a:extLst>
          </p:cNvPr>
          <p:cNvGrpSpPr>
            <a:grpSpLocks noChangeAspect="1"/>
          </p:cNvGrpSpPr>
          <p:nvPr/>
        </p:nvGrpSpPr>
        <p:grpSpPr>
          <a:xfrm>
            <a:off x="2314477" y="2724897"/>
            <a:ext cx="285619" cy="285619"/>
            <a:chOff x="2603500" y="4219576"/>
            <a:chExt cx="285750" cy="285750"/>
          </a:xfrm>
          <a:solidFill>
            <a:schemeClr val="bg2"/>
          </a:solidFill>
          <a:effectLst/>
        </p:grpSpPr>
        <p:sp>
          <p:nvSpPr>
            <p:cNvPr id="649" name="Freeform 33">
              <a:extLst>
                <a:ext uri="{FF2B5EF4-FFF2-40B4-BE49-F238E27FC236}">
                  <a16:creationId xmlns:a16="http://schemas.microsoft.com/office/drawing/2014/main" id="{86C529CC-D125-49C8-BA41-46D03C39BB15}"/>
                </a:ext>
              </a:extLst>
            </p:cNvPr>
            <p:cNvSpPr>
              <a:spLocks noEditPoints="1"/>
            </p:cNvSpPr>
            <p:nvPr/>
          </p:nvSpPr>
          <p:spPr bwMode="auto">
            <a:xfrm>
              <a:off x="2603500" y="4219576"/>
              <a:ext cx="285750" cy="285750"/>
            </a:xfrm>
            <a:custGeom>
              <a:avLst/>
              <a:gdLst>
                <a:gd name="T0" fmla="*/ 366 w 901"/>
                <a:gd name="T1" fmla="*/ 862 h 901"/>
                <a:gd name="T2" fmla="*/ 267 w 901"/>
                <a:gd name="T3" fmla="*/ 829 h 901"/>
                <a:gd name="T4" fmla="*/ 183 w 901"/>
                <a:gd name="T5" fmla="*/ 775 h 901"/>
                <a:gd name="T6" fmla="*/ 113 w 901"/>
                <a:gd name="T7" fmla="*/ 702 h 901"/>
                <a:gd name="T8" fmla="*/ 63 w 901"/>
                <a:gd name="T9" fmla="*/ 614 h 901"/>
                <a:gd name="T10" fmla="*/ 34 w 901"/>
                <a:gd name="T11" fmla="*/ 515 h 901"/>
                <a:gd name="T12" fmla="*/ 32 w 901"/>
                <a:gd name="T13" fmla="*/ 408 h 901"/>
                <a:gd name="T14" fmla="*/ 55 w 901"/>
                <a:gd name="T15" fmla="*/ 306 h 901"/>
                <a:gd name="T16" fmla="*/ 101 w 901"/>
                <a:gd name="T17" fmla="*/ 215 h 901"/>
                <a:gd name="T18" fmla="*/ 168 w 901"/>
                <a:gd name="T19" fmla="*/ 139 h 901"/>
                <a:gd name="T20" fmla="*/ 249 w 901"/>
                <a:gd name="T21" fmla="*/ 81 h 901"/>
                <a:gd name="T22" fmla="*/ 345 w 901"/>
                <a:gd name="T23" fmla="*/ 43 h 901"/>
                <a:gd name="T24" fmla="*/ 450 w 901"/>
                <a:gd name="T25" fmla="*/ 30 h 901"/>
                <a:gd name="T26" fmla="*/ 555 w 901"/>
                <a:gd name="T27" fmla="*/ 43 h 901"/>
                <a:gd name="T28" fmla="*/ 650 w 901"/>
                <a:gd name="T29" fmla="*/ 80 h 901"/>
                <a:gd name="T30" fmla="*/ 733 w 901"/>
                <a:gd name="T31" fmla="*/ 139 h 901"/>
                <a:gd name="T32" fmla="*/ 798 w 901"/>
                <a:gd name="T33" fmla="*/ 215 h 901"/>
                <a:gd name="T34" fmla="*/ 845 w 901"/>
                <a:gd name="T35" fmla="*/ 306 h 901"/>
                <a:gd name="T36" fmla="*/ 868 w 901"/>
                <a:gd name="T37" fmla="*/ 408 h 901"/>
                <a:gd name="T38" fmla="*/ 865 w 901"/>
                <a:gd name="T39" fmla="*/ 515 h 901"/>
                <a:gd name="T40" fmla="*/ 837 w 901"/>
                <a:gd name="T41" fmla="*/ 614 h 901"/>
                <a:gd name="T42" fmla="*/ 786 w 901"/>
                <a:gd name="T43" fmla="*/ 702 h 901"/>
                <a:gd name="T44" fmla="*/ 716 w 901"/>
                <a:gd name="T45" fmla="*/ 775 h 901"/>
                <a:gd name="T46" fmla="*/ 632 w 901"/>
                <a:gd name="T47" fmla="*/ 829 h 901"/>
                <a:gd name="T48" fmla="*/ 535 w 901"/>
                <a:gd name="T49" fmla="*/ 862 h 901"/>
                <a:gd name="T50" fmla="*/ 450 w 901"/>
                <a:gd name="T51" fmla="*/ 871 h 901"/>
                <a:gd name="T52" fmla="*/ 359 w 901"/>
                <a:gd name="T53" fmla="*/ 9 h 901"/>
                <a:gd name="T54" fmla="*/ 254 w 901"/>
                <a:gd name="T55" fmla="*/ 45 h 901"/>
                <a:gd name="T56" fmla="*/ 163 w 901"/>
                <a:gd name="T57" fmla="*/ 103 h 901"/>
                <a:gd name="T58" fmla="*/ 88 w 901"/>
                <a:gd name="T59" fmla="*/ 181 h 901"/>
                <a:gd name="T60" fmla="*/ 35 w 901"/>
                <a:gd name="T61" fmla="*/ 275 h 901"/>
                <a:gd name="T62" fmla="*/ 4 w 901"/>
                <a:gd name="T63" fmla="*/ 382 h 901"/>
                <a:gd name="T64" fmla="*/ 2 w 901"/>
                <a:gd name="T65" fmla="*/ 496 h 901"/>
                <a:gd name="T66" fmla="*/ 26 w 901"/>
                <a:gd name="T67" fmla="*/ 606 h 901"/>
                <a:gd name="T68" fmla="*/ 77 w 901"/>
                <a:gd name="T69" fmla="*/ 702 h 901"/>
                <a:gd name="T70" fmla="*/ 147 w 901"/>
                <a:gd name="T71" fmla="*/ 783 h 901"/>
                <a:gd name="T72" fmla="*/ 235 w 901"/>
                <a:gd name="T73" fmla="*/ 846 h 901"/>
                <a:gd name="T74" fmla="*/ 338 w 901"/>
                <a:gd name="T75" fmla="*/ 887 h 901"/>
                <a:gd name="T76" fmla="*/ 450 w 901"/>
                <a:gd name="T77" fmla="*/ 901 h 901"/>
                <a:gd name="T78" fmla="*/ 562 w 901"/>
                <a:gd name="T79" fmla="*/ 887 h 901"/>
                <a:gd name="T80" fmla="*/ 664 w 901"/>
                <a:gd name="T81" fmla="*/ 846 h 901"/>
                <a:gd name="T82" fmla="*/ 753 w 901"/>
                <a:gd name="T83" fmla="*/ 783 h 901"/>
                <a:gd name="T84" fmla="*/ 823 w 901"/>
                <a:gd name="T85" fmla="*/ 702 h 901"/>
                <a:gd name="T86" fmla="*/ 873 w 901"/>
                <a:gd name="T87" fmla="*/ 606 h 901"/>
                <a:gd name="T88" fmla="*/ 897 w 901"/>
                <a:gd name="T89" fmla="*/ 496 h 901"/>
                <a:gd name="T90" fmla="*/ 895 w 901"/>
                <a:gd name="T91" fmla="*/ 382 h 901"/>
                <a:gd name="T92" fmla="*/ 865 w 901"/>
                <a:gd name="T93" fmla="*/ 275 h 901"/>
                <a:gd name="T94" fmla="*/ 811 w 901"/>
                <a:gd name="T95" fmla="*/ 181 h 901"/>
                <a:gd name="T96" fmla="*/ 736 w 901"/>
                <a:gd name="T97" fmla="*/ 103 h 901"/>
                <a:gd name="T98" fmla="*/ 645 w 901"/>
                <a:gd name="T99" fmla="*/ 44 h 901"/>
                <a:gd name="T100" fmla="*/ 540 w 901"/>
                <a:gd name="T101" fmla="*/ 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8" y="870"/>
                  </a:lnTo>
                  <a:lnTo>
                    <a:pt x="407" y="869"/>
                  </a:lnTo>
                  <a:lnTo>
                    <a:pt x="386" y="866"/>
                  </a:lnTo>
                  <a:lnTo>
                    <a:pt x="366" y="862"/>
                  </a:lnTo>
                  <a:lnTo>
                    <a:pt x="345" y="857"/>
                  </a:lnTo>
                  <a:lnTo>
                    <a:pt x="325" y="852"/>
                  </a:lnTo>
                  <a:lnTo>
                    <a:pt x="306" y="845"/>
                  </a:lnTo>
                  <a:lnTo>
                    <a:pt x="286" y="838"/>
                  </a:lnTo>
                  <a:lnTo>
                    <a:pt x="267" y="829"/>
                  </a:lnTo>
                  <a:lnTo>
                    <a:pt x="249" y="820"/>
                  </a:lnTo>
                  <a:lnTo>
                    <a:pt x="232" y="810"/>
                  </a:lnTo>
                  <a:lnTo>
                    <a:pt x="215" y="799"/>
                  </a:lnTo>
                  <a:lnTo>
                    <a:pt x="199" y="788"/>
                  </a:lnTo>
                  <a:lnTo>
                    <a:pt x="183" y="775"/>
                  </a:lnTo>
                  <a:lnTo>
                    <a:pt x="168" y="762"/>
                  </a:lnTo>
                  <a:lnTo>
                    <a:pt x="153" y="748"/>
                  </a:lnTo>
                  <a:lnTo>
                    <a:pt x="139" y="733"/>
                  </a:lnTo>
                  <a:lnTo>
                    <a:pt x="126" y="718"/>
                  </a:lnTo>
                  <a:lnTo>
                    <a:pt x="113" y="702"/>
                  </a:lnTo>
                  <a:lnTo>
                    <a:pt x="101" y="686"/>
                  </a:lnTo>
                  <a:lnTo>
                    <a:pt x="91" y="669"/>
                  </a:lnTo>
                  <a:lnTo>
                    <a:pt x="80" y="651"/>
                  </a:lnTo>
                  <a:lnTo>
                    <a:pt x="70" y="632"/>
                  </a:lnTo>
                  <a:lnTo>
                    <a:pt x="63" y="614"/>
                  </a:lnTo>
                  <a:lnTo>
                    <a:pt x="55" y="595"/>
                  </a:lnTo>
                  <a:lnTo>
                    <a:pt x="48" y="576"/>
                  </a:lnTo>
                  <a:lnTo>
                    <a:pt x="42" y="555"/>
                  </a:lnTo>
                  <a:lnTo>
                    <a:pt x="38" y="535"/>
                  </a:lnTo>
                  <a:lnTo>
                    <a:pt x="34" y="515"/>
                  </a:lnTo>
                  <a:lnTo>
                    <a:pt x="32" y="493"/>
                  </a:lnTo>
                  <a:lnTo>
                    <a:pt x="30" y="472"/>
                  </a:lnTo>
                  <a:lnTo>
                    <a:pt x="30" y="450"/>
                  </a:lnTo>
                  <a:lnTo>
                    <a:pt x="30" y="429"/>
                  </a:lnTo>
                  <a:lnTo>
                    <a:pt x="32" y="408"/>
                  </a:lnTo>
                  <a:lnTo>
                    <a:pt x="34" y="386"/>
                  </a:lnTo>
                  <a:lnTo>
                    <a:pt x="38" y="366"/>
                  </a:lnTo>
                  <a:lnTo>
                    <a:pt x="42" y="346"/>
                  </a:lnTo>
                  <a:lnTo>
                    <a:pt x="48" y="325"/>
                  </a:lnTo>
                  <a:lnTo>
                    <a:pt x="55" y="306"/>
                  </a:lnTo>
                  <a:lnTo>
                    <a:pt x="63" y="287"/>
                  </a:lnTo>
                  <a:lnTo>
                    <a:pt x="70" y="269"/>
                  </a:lnTo>
                  <a:lnTo>
                    <a:pt x="80" y="250"/>
                  </a:lnTo>
                  <a:lnTo>
                    <a:pt x="91" y="232"/>
                  </a:lnTo>
                  <a:lnTo>
                    <a:pt x="101" y="215"/>
                  </a:lnTo>
                  <a:lnTo>
                    <a:pt x="113" y="199"/>
                  </a:lnTo>
                  <a:lnTo>
                    <a:pt x="126" y="183"/>
                  </a:lnTo>
                  <a:lnTo>
                    <a:pt x="139" y="168"/>
                  </a:lnTo>
                  <a:lnTo>
                    <a:pt x="153" y="153"/>
                  </a:lnTo>
                  <a:lnTo>
                    <a:pt x="168" y="139"/>
                  </a:lnTo>
                  <a:lnTo>
                    <a:pt x="183" y="126"/>
                  </a:lnTo>
                  <a:lnTo>
                    <a:pt x="199" y="113"/>
                  </a:lnTo>
                  <a:lnTo>
                    <a:pt x="215" y="102"/>
                  </a:lnTo>
                  <a:lnTo>
                    <a:pt x="232" y="91"/>
                  </a:lnTo>
                  <a:lnTo>
                    <a:pt x="249" y="81"/>
                  </a:lnTo>
                  <a:lnTo>
                    <a:pt x="267" y="72"/>
                  </a:lnTo>
                  <a:lnTo>
                    <a:pt x="286" y="63"/>
                  </a:lnTo>
                  <a:lnTo>
                    <a:pt x="306" y="56"/>
                  </a:lnTo>
                  <a:lnTo>
                    <a:pt x="325" y="49"/>
                  </a:lnTo>
                  <a:lnTo>
                    <a:pt x="345" y="43"/>
                  </a:lnTo>
                  <a:lnTo>
                    <a:pt x="366" y="38"/>
                  </a:lnTo>
                  <a:lnTo>
                    <a:pt x="386" y="35"/>
                  </a:lnTo>
                  <a:lnTo>
                    <a:pt x="407" y="32"/>
                  </a:lnTo>
                  <a:lnTo>
                    <a:pt x="428" y="31"/>
                  </a:lnTo>
                  <a:lnTo>
                    <a:pt x="450" y="30"/>
                  </a:lnTo>
                  <a:lnTo>
                    <a:pt x="471" y="31"/>
                  </a:lnTo>
                  <a:lnTo>
                    <a:pt x="493" y="32"/>
                  </a:lnTo>
                  <a:lnTo>
                    <a:pt x="513" y="35"/>
                  </a:lnTo>
                  <a:lnTo>
                    <a:pt x="535" y="38"/>
                  </a:lnTo>
                  <a:lnTo>
                    <a:pt x="555" y="43"/>
                  </a:lnTo>
                  <a:lnTo>
                    <a:pt x="574" y="49"/>
                  </a:lnTo>
                  <a:lnTo>
                    <a:pt x="595" y="56"/>
                  </a:lnTo>
                  <a:lnTo>
                    <a:pt x="613" y="63"/>
                  </a:lnTo>
                  <a:lnTo>
                    <a:pt x="632" y="72"/>
                  </a:lnTo>
                  <a:lnTo>
                    <a:pt x="650" y="80"/>
                  </a:lnTo>
                  <a:lnTo>
                    <a:pt x="667" y="91"/>
                  </a:lnTo>
                  <a:lnTo>
                    <a:pt x="684" y="102"/>
                  </a:lnTo>
                  <a:lnTo>
                    <a:pt x="702" y="113"/>
                  </a:lnTo>
                  <a:lnTo>
                    <a:pt x="716" y="126"/>
                  </a:lnTo>
                  <a:lnTo>
                    <a:pt x="733" y="139"/>
                  </a:lnTo>
                  <a:lnTo>
                    <a:pt x="746" y="153"/>
                  </a:lnTo>
                  <a:lnTo>
                    <a:pt x="760" y="168"/>
                  </a:lnTo>
                  <a:lnTo>
                    <a:pt x="774" y="183"/>
                  </a:lnTo>
                  <a:lnTo>
                    <a:pt x="786" y="199"/>
                  </a:lnTo>
                  <a:lnTo>
                    <a:pt x="798" y="215"/>
                  </a:lnTo>
                  <a:lnTo>
                    <a:pt x="810" y="232"/>
                  </a:lnTo>
                  <a:lnTo>
                    <a:pt x="819" y="250"/>
                  </a:lnTo>
                  <a:lnTo>
                    <a:pt x="829" y="269"/>
                  </a:lnTo>
                  <a:lnTo>
                    <a:pt x="837" y="287"/>
                  </a:lnTo>
                  <a:lnTo>
                    <a:pt x="845" y="306"/>
                  </a:lnTo>
                  <a:lnTo>
                    <a:pt x="851" y="325"/>
                  </a:lnTo>
                  <a:lnTo>
                    <a:pt x="857" y="346"/>
                  </a:lnTo>
                  <a:lnTo>
                    <a:pt x="862" y="366"/>
                  </a:lnTo>
                  <a:lnTo>
                    <a:pt x="865" y="386"/>
                  </a:lnTo>
                  <a:lnTo>
                    <a:pt x="868" y="408"/>
                  </a:lnTo>
                  <a:lnTo>
                    <a:pt x="870" y="429"/>
                  </a:lnTo>
                  <a:lnTo>
                    <a:pt x="871" y="450"/>
                  </a:lnTo>
                  <a:lnTo>
                    <a:pt x="870" y="472"/>
                  </a:lnTo>
                  <a:lnTo>
                    <a:pt x="868" y="493"/>
                  </a:lnTo>
                  <a:lnTo>
                    <a:pt x="865" y="515"/>
                  </a:lnTo>
                  <a:lnTo>
                    <a:pt x="862" y="535"/>
                  </a:lnTo>
                  <a:lnTo>
                    <a:pt x="857" y="555"/>
                  </a:lnTo>
                  <a:lnTo>
                    <a:pt x="851" y="576"/>
                  </a:lnTo>
                  <a:lnTo>
                    <a:pt x="845" y="595"/>
                  </a:lnTo>
                  <a:lnTo>
                    <a:pt x="837" y="614"/>
                  </a:lnTo>
                  <a:lnTo>
                    <a:pt x="829" y="632"/>
                  </a:lnTo>
                  <a:lnTo>
                    <a:pt x="819" y="651"/>
                  </a:lnTo>
                  <a:lnTo>
                    <a:pt x="810" y="669"/>
                  </a:lnTo>
                  <a:lnTo>
                    <a:pt x="798" y="686"/>
                  </a:lnTo>
                  <a:lnTo>
                    <a:pt x="786" y="702"/>
                  </a:lnTo>
                  <a:lnTo>
                    <a:pt x="774" y="718"/>
                  </a:lnTo>
                  <a:lnTo>
                    <a:pt x="760" y="733"/>
                  </a:lnTo>
                  <a:lnTo>
                    <a:pt x="746" y="748"/>
                  </a:lnTo>
                  <a:lnTo>
                    <a:pt x="733" y="762"/>
                  </a:lnTo>
                  <a:lnTo>
                    <a:pt x="716" y="775"/>
                  </a:lnTo>
                  <a:lnTo>
                    <a:pt x="702" y="788"/>
                  </a:lnTo>
                  <a:lnTo>
                    <a:pt x="684" y="799"/>
                  </a:lnTo>
                  <a:lnTo>
                    <a:pt x="667" y="810"/>
                  </a:lnTo>
                  <a:lnTo>
                    <a:pt x="650" y="820"/>
                  </a:lnTo>
                  <a:lnTo>
                    <a:pt x="632" y="829"/>
                  </a:lnTo>
                  <a:lnTo>
                    <a:pt x="613" y="838"/>
                  </a:lnTo>
                  <a:lnTo>
                    <a:pt x="595" y="845"/>
                  </a:lnTo>
                  <a:lnTo>
                    <a:pt x="574" y="852"/>
                  </a:lnTo>
                  <a:lnTo>
                    <a:pt x="555" y="858"/>
                  </a:lnTo>
                  <a:lnTo>
                    <a:pt x="535" y="862"/>
                  </a:lnTo>
                  <a:lnTo>
                    <a:pt x="513" y="866"/>
                  </a:lnTo>
                  <a:lnTo>
                    <a:pt x="493" y="869"/>
                  </a:lnTo>
                  <a:lnTo>
                    <a:pt x="471" y="870"/>
                  </a:lnTo>
                  <a:lnTo>
                    <a:pt x="450" y="871"/>
                  </a:lnTo>
                  <a:lnTo>
                    <a:pt x="450" y="871"/>
                  </a:lnTo>
                  <a:close/>
                  <a:moveTo>
                    <a:pt x="450" y="0"/>
                  </a:moveTo>
                  <a:lnTo>
                    <a:pt x="427" y="0"/>
                  </a:lnTo>
                  <a:lnTo>
                    <a:pt x="404" y="2"/>
                  </a:lnTo>
                  <a:lnTo>
                    <a:pt x="382" y="5"/>
                  </a:lnTo>
                  <a:lnTo>
                    <a:pt x="359" y="9"/>
                  </a:lnTo>
                  <a:lnTo>
                    <a:pt x="338" y="14"/>
                  </a:lnTo>
                  <a:lnTo>
                    <a:pt x="316" y="20"/>
                  </a:lnTo>
                  <a:lnTo>
                    <a:pt x="295" y="28"/>
                  </a:lnTo>
                  <a:lnTo>
                    <a:pt x="275" y="35"/>
                  </a:lnTo>
                  <a:lnTo>
                    <a:pt x="254" y="45"/>
                  </a:lnTo>
                  <a:lnTo>
                    <a:pt x="235" y="55"/>
                  </a:lnTo>
                  <a:lnTo>
                    <a:pt x="216" y="65"/>
                  </a:lnTo>
                  <a:lnTo>
                    <a:pt x="198" y="77"/>
                  </a:lnTo>
                  <a:lnTo>
                    <a:pt x="180" y="90"/>
                  </a:lnTo>
                  <a:lnTo>
                    <a:pt x="163" y="103"/>
                  </a:lnTo>
                  <a:lnTo>
                    <a:pt x="147" y="117"/>
                  </a:lnTo>
                  <a:lnTo>
                    <a:pt x="131" y="132"/>
                  </a:lnTo>
                  <a:lnTo>
                    <a:pt x="116" y="148"/>
                  </a:lnTo>
                  <a:lnTo>
                    <a:pt x="102" y="164"/>
                  </a:lnTo>
                  <a:lnTo>
                    <a:pt x="88" y="181"/>
                  </a:lnTo>
                  <a:lnTo>
                    <a:pt x="77" y="199"/>
                  </a:lnTo>
                  <a:lnTo>
                    <a:pt x="65" y="217"/>
                  </a:lnTo>
                  <a:lnTo>
                    <a:pt x="53" y="235"/>
                  </a:lnTo>
                  <a:lnTo>
                    <a:pt x="43" y="256"/>
                  </a:lnTo>
                  <a:lnTo>
                    <a:pt x="35" y="275"/>
                  </a:lnTo>
                  <a:lnTo>
                    <a:pt x="26" y="295"/>
                  </a:lnTo>
                  <a:lnTo>
                    <a:pt x="20" y="317"/>
                  </a:lnTo>
                  <a:lnTo>
                    <a:pt x="14" y="338"/>
                  </a:lnTo>
                  <a:lnTo>
                    <a:pt x="8" y="360"/>
                  </a:lnTo>
                  <a:lnTo>
                    <a:pt x="4" y="382"/>
                  </a:lnTo>
                  <a:lnTo>
                    <a:pt x="2" y="404"/>
                  </a:lnTo>
                  <a:lnTo>
                    <a:pt x="0" y="427"/>
                  </a:lnTo>
                  <a:lnTo>
                    <a:pt x="0" y="450"/>
                  </a:lnTo>
                  <a:lnTo>
                    <a:pt x="0" y="474"/>
                  </a:lnTo>
                  <a:lnTo>
                    <a:pt x="2" y="496"/>
                  </a:lnTo>
                  <a:lnTo>
                    <a:pt x="4" y="519"/>
                  </a:lnTo>
                  <a:lnTo>
                    <a:pt x="8" y="541"/>
                  </a:lnTo>
                  <a:lnTo>
                    <a:pt x="14" y="563"/>
                  </a:lnTo>
                  <a:lnTo>
                    <a:pt x="20" y="584"/>
                  </a:lnTo>
                  <a:lnTo>
                    <a:pt x="26" y="606"/>
                  </a:lnTo>
                  <a:lnTo>
                    <a:pt x="35" y="626"/>
                  </a:lnTo>
                  <a:lnTo>
                    <a:pt x="43" y="645"/>
                  </a:lnTo>
                  <a:lnTo>
                    <a:pt x="53" y="665"/>
                  </a:lnTo>
                  <a:lnTo>
                    <a:pt x="65" y="684"/>
                  </a:lnTo>
                  <a:lnTo>
                    <a:pt x="77" y="702"/>
                  </a:lnTo>
                  <a:lnTo>
                    <a:pt x="88" y="720"/>
                  </a:lnTo>
                  <a:lnTo>
                    <a:pt x="102" y="737"/>
                  </a:lnTo>
                  <a:lnTo>
                    <a:pt x="116" y="753"/>
                  </a:lnTo>
                  <a:lnTo>
                    <a:pt x="131" y="769"/>
                  </a:lnTo>
                  <a:lnTo>
                    <a:pt x="147" y="783"/>
                  </a:lnTo>
                  <a:lnTo>
                    <a:pt x="163" y="798"/>
                  </a:lnTo>
                  <a:lnTo>
                    <a:pt x="180" y="811"/>
                  </a:lnTo>
                  <a:lnTo>
                    <a:pt x="198" y="824"/>
                  </a:lnTo>
                  <a:lnTo>
                    <a:pt x="216" y="836"/>
                  </a:lnTo>
                  <a:lnTo>
                    <a:pt x="235" y="846"/>
                  </a:lnTo>
                  <a:lnTo>
                    <a:pt x="254" y="856"/>
                  </a:lnTo>
                  <a:lnTo>
                    <a:pt x="275" y="866"/>
                  </a:lnTo>
                  <a:lnTo>
                    <a:pt x="295" y="873"/>
                  </a:lnTo>
                  <a:lnTo>
                    <a:pt x="316" y="881"/>
                  </a:lnTo>
                  <a:lnTo>
                    <a:pt x="338" y="887"/>
                  </a:lnTo>
                  <a:lnTo>
                    <a:pt x="359" y="891"/>
                  </a:lnTo>
                  <a:lnTo>
                    <a:pt x="382" y="896"/>
                  </a:lnTo>
                  <a:lnTo>
                    <a:pt x="404" y="899"/>
                  </a:lnTo>
                  <a:lnTo>
                    <a:pt x="427" y="900"/>
                  </a:lnTo>
                  <a:lnTo>
                    <a:pt x="450" y="901"/>
                  </a:lnTo>
                  <a:lnTo>
                    <a:pt x="473" y="900"/>
                  </a:lnTo>
                  <a:lnTo>
                    <a:pt x="496" y="899"/>
                  </a:lnTo>
                  <a:lnTo>
                    <a:pt x="519" y="896"/>
                  </a:lnTo>
                  <a:lnTo>
                    <a:pt x="540" y="891"/>
                  </a:lnTo>
                  <a:lnTo>
                    <a:pt x="562" y="887"/>
                  </a:lnTo>
                  <a:lnTo>
                    <a:pt x="584" y="881"/>
                  </a:lnTo>
                  <a:lnTo>
                    <a:pt x="604" y="873"/>
                  </a:lnTo>
                  <a:lnTo>
                    <a:pt x="624" y="866"/>
                  </a:lnTo>
                  <a:lnTo>
                    <a:pt x="645" y="856"/>
                  </a:lnTo>
                  <a:lnTo>
                    <a:pt x="664" y="846"/>
                  </a:lnTo>
                  <a:lnTo>
                    <a:pt x="683" y="836"/>
                  </a:lnTo>
                  <a:lnTo>
                    <a:pt x="702" y="824"/>
                  </a:lnTo>
                  <a:lnTo>
                    <a:pt x="719" y="811"/>
                  </a:lnTo>
                  <a:lnTo>
                    <a:pt x="736" y="798"/>
                  </a:lnTo>
                  <a:lnTo>
                    <a:pt x="753" y="783"/>
                  </a:lnTo>
                  <a:lnTo>
                    <a:pt x="768" y="768"/>
                  </a:lnTo>
                  <a:lnTo>
                    <a:pt x="783" y="753"/>
                  </a:lnTo>
                  <a:lnTo>
                    <a:pt x="797" y="737"/>
                  </a:lnTo>
                  <a:lnTo>
                    <a:pt x="811" y="720"/>
                  </a:lnTo>
                  <a:lnTo>
                    <a:pt x="823" y="702"/>
                  </a:lnTo>
                  <a:lnTo>
                    <a:pt x="835" y="684"/>
                  </a:lnTo>
                  <a:lnTo>
                    <a:pt x="846" y="665"/>
                  </a:lnTo>
                  <a:lnTo>
                    <a:pt x="856" y="645"/>
                  </a:lnTo>
                  <a:lnTo>
                    <a:pt x="865" y="626"/>
                  </a:lnTo>
                  <a:lnTo>
                    <a:pt x="873" y="606"/>
                  </a:lnTo>
                  <a:lnTo>
                    <a:pt x="880" y="584"/>
                  </a:lnTo>
                  <a:lnTo>
                    <a:pt x="886" y="563"/>
                  </a:lnTo>
                  <a:lnTo>
                    <a:pt x="891" y="541"/>
                  </a:lnTo>
                  <a:lnTo>
                    <a:pt x="895" y="519"/>
                  </a:lnTo>
                  <a:lnTo>
                    <a:pt x="897" y="496"/>
                  </a:lnTo>
                  <a:lnTo>
                    <a:pt x="899" y="474"/>
                  </a:lnTo>
                  <a:lnTo>
                    <a:pt x="901" y="450"/>
                  </a:lnTo>
                  <a:lnTo>
                    <a:pt x="899" y="427"/>
                  </a:lnTo>
                  <a:lnTo>
                    <a:pt x="897" y="404"/>
                  </a:lnTo>
                  <a:lnTo>
                    <a:pt x="895" y="382"/>
                  </a:lnTo>
                  <a:lnTo>
                    <a:pt x="891" y="360"/>
                  </a:lnTo>
                  <a:lnTo>
                    <a:pt x="886" y="338"/>
                  </a:lnTo>
                  <a:lnTo>
                    <a:pt x="880" y="317"/>
                  </a:lnTo>
                  <a:lnTo>
                    <a:pt x="873" y="295"/>
                  </a:lnTo>
                  <a:lnTo>
                    <a:pt x="865" y="275"/>
                  </a:lnTo>
                  <a:lnTo>
                    <a:pt x="856" y="256"/>
                  </a:lnTo>
                  <a:lnTo>
                    <a:pt x="846" y="235"/>
                  </a:lnTo>
                  <a:lnTo>
                    <a:pt x="835" y="217"/>
                  </a:lnTo>
                  <a:lnTo>
                    <a:pt x="823" y="199"/>
                  </a:lnTo>
                  <a:lnTo>
                    <a:pt x="811" y="181"/>
                  </a:lnTo>
                  <a:lnTo>
                    <a:pt x="797" y="164"/>
                  </a:lnTo>
                  <a:lnTo>
                    <a:pt x="783" y="148"/>
                  </a:lnTo>
                  <a:lnTo>
                    <a:pt x="768" y="132"/>
                  </a:lnTo>
                  <a:lnTo>
                    <a:pt x="753" y="117"/>
                  </a:lnTo>
                  <a:lnTo>
                    <a:pt x="736" y="103"/>
                  </a:lnTo>
                  <a:lnTo>
                    <a:pt x="719" y="90"/>
                  </a:lnTo>
                  <a:lnTo>
                    <a:pt x="702" y="77"/>
                  </a:lnTo>
                  <a:lnTo>
                    <a:pt x="683" y="65"/>
                  </a:lnTo>
                  <a:lnTo>
                    <a:pt x="664" y="55"/>
                  </a:lnTo>
                  <a:lnTo>
                    <a:pt x="645" y="44"/>
                  </a:lnTo>
                  <a:lnTo>
                    <a:pt x="624" y="35"/>
                  </a:lnTo>
                  <a:lnTo>
                    <a:pt x="604" y="28"/>
                  </a:lnTo>
                  <a:lnTo>
                    <a:pt x="584" y="20"/>
                  </a:lnTo>
                  <a:lnTo>
                    <a:pt x="562" y="14"/>
                  </a:lnTo>
                  <a:lnTo>
                    <a:pt x="540" y="9"/>
                  </a:lnTo>
                  <a:lnTo>
                    <a:pt x="519" y="5"/>
                  </a:lnTo>
                  <a:lnTo>
                    <a:pt x="496" y="2"/>
                  </a:lnTo>
                  <a:lnTo>
                    <a:pt x="473"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34">
              <a:extLst>
                <a:ext uri="{FF2B5EF4-FFF2-40B4-BE49-F238E27FC236}">
                  <a16:creationId xmlns:a16="http://schemas.microsoft.com/office/drawing/2014/main" id="{128079B1-61B5-4FD3-BFF2-A5FD57016683}"/>
                </a:ext>
              </a:extLst>
            </p:cNvPr>
            <p:cNvSpPr>
              <a:spLocks/>
            </p:cNvSpPr>
            <p:nvPr/>
          </p:nvSpPr>
          <p:spPr bwMode="auto">
            <a:xfrm>
              <a:off x="2651125" y="4367213"/>
              <a:ext cx="190500" cy="101600"/>
            </a:xfrm>
            <a:custGeom>
              <a:avLst/>
              <a:gdLst>
                <a:gd name="T0" fmla="*/ 580 w 601"/>
                <a:gd name="T1" fmla="*/ 2 h 323"/>
                <a:gd name="T2" fmla="*/ 574 w 601"/>
                <a:gd name="T3" fmla="*/ 7 h 323"/>
                <a:gd name="T4" fmla="*/ 571 w 601"/>
                <a:gd name="T5" fmla="*/ 15 h 323"/>
                <a:gd name="T6" fmla="*/ 567 w 601"/>
                <a:gd name="T7" fmla="*/ 57 h 323"/>
                <a:gd name="T8" fmla="*/ 559 w 601"/>
                <a:gd name="T9" fmla="*/ 97 h 323"/>
                <a:gd name="T10" fmla="*/ 544 w 601"/>
                <a:gd name="T11" fmla="*/ 134 h 323"/>
                <a:gd name="T12" fmla="*/ 524 w 601"/>
                <a:gd name="T13" fmla="*/ 168 h 323"/>
                <a:gd name="T14" fmla="*/ 500 w 601"/>
                <a:gd name="T15" fmla="*/ 201 h 323"/>
                <a:gd name="T16" fmla="*/ 471 w 601"/>
                <a:gd name="T17" fmla="*/ 228 h 323"/>
                <a:gd name="T18" fmla="*/ 439 w 601"/>
                <a:gd name="T19" fmla="*/ 252 h 323"/>
                <a:gd name="T20" fmla="*/ 405 w 601"/>
                <a:gd name="T21" fmla="*/ 270 h 323"/>
                <a:gd name="T22" fmla="*/ 367 w 601"/>
                <a:gd name="T23" fmla="*/ 283 h 323"/>
                <a:gd name="T24" fmla="*/ 328 w 601"/>
                <a:gd name="T25" fmla="*/ 290 h 323"/>
                <a:gd name="T26" fmla="*/ 287 w 601"/>
                <a:gd name="T27" fmla="*/ 292 h 323"/>
                <a:gd name="T28" fmla="*/ 246 w 601"/>
                <a:gd name="T29" fmla="*/ 286 h 323"/>
                <a:gd name="T30" fmla="*/ 209 w 601"/>
                <a:gd name="T31" fmla="*/ 275 h 323"/>
                <a:gd name="T32" fmla="*/ 173 w 601"/>
                <a:gd name="T33" fmla="*/ 258 h 323"/>
                <a:gd name="T34" fmla="*/ 141 w 601"/>
                <a:gd name="T35" fmla="*/ 236 h 323"/>
                <a:gd name="T36" fmla="*/ 111 w 601"/>
                <a:gd name="T37" fmla="*/ 210 h 323"/>
                <a:gd name="T38" fmla="*/ 85 w 601"/>
                <a:gd name="T39" fmla="*/ 180 h 323"/>
                <a:gd name="T40" fmla="*/ 64 w 601"/>
                <a:gd name="T41" fmla="*/ 146 h 323"/>
                <a:gd name="T42" fmla="*/ 47 w 601"/>
                <a:gd name="T43" fmla="*/ 110 h 323"/>
                <a:gd name="T44" fmla="*/ 36 w 601"/>
                <a:gd name="T45" fmla="*/ 70 h 323"/>
                <a:gd name="T46" fmla="*/ 30 w 601"/>
                <a:gd name="T47" fmla="*/ 29 h 323"/>
                <a:gd name="T48" fmla="*/ 29 w 601"/>
                <a:gd name="T49" fmla="*/ 10 h 323"/>
                <a:gd name="T50" fmla="*/ 24 w 601"/>
                <a:gd name="T51" fmla="*/ 3 h 323"/>
                <a:gd name="T52" fmla="*/ 15 w 601"/>
                <a:gd name="T53" fmla="*/ 0 h 323"/>
                <a:gd name="T54" fmla="*/ 7 w 601"/>
                <a:gd name="T55" fmla="*/ 3 h 323"/>
                <a:gd name="T56" fmla="*/ 1 w 601"/>
                <a:gd name="T57" fmla="*/ 10 h 323"/>
                <a:gd name="T58" fmla="*/ 0 w 601"/>
                <a:gd name="T59" fmla="*/ 31 h 323"/>
                <a:gd name="T60" fmla="*/ 7 w 601"/>
                <a:gd name="T61" fmla="*/ 76 h 323"/>
                <a:gd name="T62" fmla="*/ 19 w 601"/>
                <a:gd name="T63" fmla="*/ 119 h 323"/>
                <a:gd name="T64" fmla="*/ 37 w 601"/>
                <a:gd name="T65" fmla="*/ 160 h 323"/>
                <a:gd name="T66" fmla="*/ 61 w 601"/>
                <a:gd name="T67" fmla="*/ 197 h 323"/>
                <a:gd name="T68" fmla="*/ 89 w 601"/>
                <a:gd name="T69" fmla="*/ 232 h 323"/>
                <a:gd name="T70" fmla="*/ 122 w 601"/>
                <a:gd name="T71" fmla="*/ 261 h 323"/>
                <a:gd name="T72" fmla="*/ 159 w 601"/>
                <a:gd name="T73" fmla="*/ 285 h 323"/>
                <a:gd name="T74" fmla="*/ 198 w 601"/>
                <a:gd name="T75" fmla="*/ 303 h 323"/>
                <a:gd name="T76" fmla="*/ 241 w 601"/>
                <a:gd name="T77" fmla="*/ 316 h 323"/>
                <a:gd name="T78" fmla="*/ 285 w 601"/>
                <a:gd name="T79" fmla="*/ 321 h 323"/>
                <a:gd name="T80" fmla="*/ 331 w 601"/>
                <a:gd name="T81" fmla="*/ 320 h 323"/>
                <a:gd name="T82" fmla="*/ 375 w 601"/>
                <a:gd name="T83" fmla="*/ 313 h 323"/>
                <a:gd name="T84" fmla="*/ 417 w 601"/>
                <a:gd name="T85" fmla="*/ 298 h 323"/>
                <a:gd name="T86" fmla="*/ 455 w 601"/>
                <a:gd name="T87" fmla="*/ 278 h 323"/>
                <a:gd name="T88" fmla="*/ 490 w 601"/>
                <a:gd name="T89" fmla="*/ 251 h 323"/>
                <a:gd name="T90" fmla="*/ 521 w 601"/>
                <a:gd name="T91" fmla="*/ 221 h 323"/>
                <a:gd name="T92" fmla="*/ 549 w 601"/>
                <a:gd name="T93" fmla="*/ 186 h 323"/>
                <a:gd name="T94" fmla="*/ 571 w 601"/>
                <a:gd name="T95" fmla="*/ 147 h 323"/>
                <a:gd name="T96" fmla="*/ 587 w 601"/>
                <a:gd name="T97" fmla="*/ 105 h 323"/>
                <a:gd name="T98" fmla="*/ 597 w 601"/>
                <a:gd name="T99" fmla="*/ 61 h 323"/>
                <a:gd name="T100" fmla="*/ 601 w 601"/>
                <a:gd name="T101" fmla="*/ 15 h 323"/>
                <a:gd name="T102" fmla="*/ 599 w 601"/>
                <a:gd name="T103" fmla="*/ 7 h 323"/>
                <a:gd name="T104" fmla="*/ 592 w 601"/>
                <a:gd name="T105" fmla="*/ 2 h 323"/>
                <a:gd name="T106" fmla="*/ 586 w 601"/>
                <a:gd name="T10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1" h="323">
                  <a:moveTo>
                    <a:pt x="586" y="0"/>
                  </a:moveTo>
                  <a:lnTo>
                    <a:pt x="582" y="0"/>
                  </a:lnTo>
                  <a:lnTo>
                    <a:pt x="580" y="2"/>
                  </a:lnTo>
                  <a:lnTo>
                    <a:pt x="577" y="3"/>
                  </a:lnTo>
                  <a:lnTo>
                    <a:pt x="575" y="5"/>
                  </a:lnTo>
                  <a:lnTo>
                    <a:pt x="574" y="7"/>
                  </a:lnTo>
                  <a:lnTo>
                    <a:pt x="572" y="10"/>
                  </a:lnTo>
                  <a:lnTo>
                    <a:pt x="572" y="12"/>
                  </a:lnTo>
                  <a:lnTo>
                    <a:pt x="571" y="15"/>
                  </a:lnTo>
                  <a:lnTo>
                    <a:pt x="571" y="29"/>
                  </a:lnTo>
                  <a:lnTo>
                    <a:pt x="570" y="43"/>
                  </a:lnTo>
                  <a:lnTo>
                    <a:pt x="567" y="57"/>
                  </a:lnTo>
                  <a:lnTo>
                    <a:pt x="565" y="70"/>
                  </a:lnTo>
                  <a:lnTo>
                    <a:pt x="562" y="84"/>
                  </a:lnTo>
                  <a:lnTo>
                    <a:pt x="559" y="97"/>
                  </a:lnTo>
                  <a:lnTo>
                    <a:pt x="555" y="110"/>
                  </a:lnTo>
                  <a:lnTo>
                    <a:pt x="549" y="122"/>
                  </a:lnTo>
                  <a:lnTo>
                    <a:pt x="544" y="134"/>
                  </a:lnTo>
                  <a:lnTo>
                    <a:pt x="538" y="146"/>
                  </a:lnTo>
                  <a:lnTo>
                    <a:pt x="531" y="158"/>
                  </a:lnTo>
                  <a:lnTo>
                    <a:pt x="524" y="168"/>
                  </a:lnTo>
                  <a:lnTo>
                    <a:pt x="516" y="180"/>
                  </a:lnTo>
                  <a:lnTo>
                    <a:pt x="509" y="190"/>
                  </a:lnTo>
                  <a:lnTo>
                    <a:pt x="500" y="201"/>
                  </a:lnTo>
                  <a:lnTo>
                    <a:pt x="490" y="210"/>
                  </a:lnTo>
                  <a:lnTo>
                    <a:pt x="481" y="220"/>
                  </a:lnTo>
                  <a:lnTo>
                    <a:pt x="471" y="228"/>
                  </a:lnTo>
                  <a:lnTo>
                    <a:pt x="462" y="237"/>
                  </a:lnTo>
                  <a:lnTo>
                    <a:pt x="451" y="244"/>
                  </a:lnTo>
                  <a:lnTo>
                    <a:pt x="439" y="252"/>
                  </a:lnTo>
                  <a:lnTo>
                    <a:pt x="428" y="258"/>
                  </a:lnTo>
                  <a:lnTo>
                    <a:pt x="417" y="265"/>
                  </a:lnTo>
                  <a:lnTo>
                    <a:pt x="405" y="270"/>
                  </a:lnTo>
                  <a:lnTo>
                    <a:pt x="392" y="275"/>
                  </a:lnTo>
                  <a:lnTo>
                    <a:pt x="380" y="280"/>
                  </a:lnTo>
                  <a:lnTo>
                    <a:pt x="367" y="283"/>
                  </a:lnTo>
                  <a:lnTo>
                    <a:pt x="355" y="286"/>
                  </a:lnTo>
                  <a:lnTo>
                    <a:pt x="342" y="289"/>
                  </a:lnTo>
                  <a:lnTo>
                    <a:pt x="328" y="290"/>
                  </a:lnTo>
                  <a:lnTo>
                    <a:pt x="314" y="292"/>
                  </a:lnTo>
                  <a:lnTo>
                    <a:pt x="301" y="293"/>
                  </a:lnTo>
                  <a:lnTo>
                    <a:pt x="287" y="292"/>
                  </a:lnTo>
                  <a:lnTo>
                    <a:pt x="273" y="290"/>
                  </a:lnTo>
                  <a:lnTo>
                    <a:pt x="260" y="289"/>
                  </a:lnTo>
                  <a:lnTo>
                    <a:pt x="246" y="286"/>
                  </a:lnTo>
                  <a:lnTo>
                    <a:pt x="234" y="283"/>
                  </a:lnTo>
                  <a:lnTo>
                    <a:pt x="221" y="280"/>
                  </a:lnTo>
                  <a:lnTo>
                    <a:pt x="209" y="275"/>
                  </a:lnTo>
                  <a:lnTo>
                    <a:pt x="196" y="270"/>
                  </a:lnTo>
                  <a:lnTo>
                    <a:pt x="184" y="265"/>
                  </a:lnTo>
                  <a:lnTo>
                    <a:pt x="173" y="258"/>
                  </a:lnTo>
                  <a:lnTo>
                    <a:pt x="162" y="252"/>
                  </a:lnTo>
                  <a:lnTo>
                    <a:pt x="151" y="244"/>
                  </a:lnTo>
                  <a:lnTo>
                    <a:pt x="141" y="236"/>
                  </a:lnTo>
                  <a:lnTo>
                    <a:pt x="130" y="228"/>
                  </a:lnTo>
                  <a:lnTo>
                    <a:pt x="120" y="220"/>
                  </a:lnTo>
                  <a:lnTo>
                    <a:pt x="111" y="210"/>
                  </a:lnTo>
                  <a:lnTo>
                    <a:pt x="102" y="201"/>
                  </a:lnTo>
                  <a:lnTo>
                    <a:pt x="93" y="190"/>
                  </a:lnTo>
                  <a:lnTo>
                    <a:pt x="85" y="180"/>
                  </a:lnTo>
                  <a:lnTo>
                    <a:pt x="77" y="168"/>
                  </a:lnTo>
                  <a:lnTo>
                    <a:pt x="70" y="158"/>
                  </a:lnTo>
                  <a:lnTo>
                    <a:pt x="64" y="146"/>
                  </a:lnTo>
                  <a:lnTo>
                    <a:pt x="57" y="134"/>
                  </a:lnTo>
                  <a:lnTo>
                    <a:pt x="52" y="122"/>
                  </a:lnTo>
                  <a:lnTo>
                    <a:pt x="47" y="110"/>
                  </a:lnTo>
                  <a:lnTo>
                    <a:pt x="43" y="97"/>
                  </a:lnTo>
                  <a:lnTo>
                    <a:pt x="39" y="84"/>
                  </a:lnTo>
                  <a:lnTo>
                    <a:pt x="36" y="70"/>
                  </a:lnTo>
                  <a:lnTo>
                    <a:pt x="34" y="57"/>
                  </a:lnTo>
                  <a:lnTo>
                    <a:pt x="31" y="43"/>
                  </a:lnTo>
                  <a:lnTo>
                    <a:pt x="30" y="29"/>
                  </a:lnTo>
                  <a:lnTo>
                    <a:pt x="30" y="15"/>
                  </a:lnTo>
                  <a:lnTo>
                    <a:pt x="30" y="12"/>
                  </a:lnTo>
                  <a:lnTo>
                    <a:pt x="29" y="10"/>
                  </a:lnTo>
                  <a:lnTo>
                    <a:pt x="28" y="7"/>
                  </a:lnTo>
                  <a:lnTo>
                    <a:pt x="26" y="5"/>
                  </a:lnTo>
                  <a:lnTo>
                    <a:pt x="24" y="3"/>
                  </a:lnTo>
                  <a:lnTo>
                    <a:pt x="21" y="2"/>
                  </a:lnTo>
                  <a:lnTo>
                    <a:pt x="19" y="0"/>
                  </a:lnTo>
                  <a:lnTo>
                    <a:pt x="15" y="0"/>
                  </a:lnTo>
                  <a:lnTo>
                    <a:pt x="12" y="0"/>
                  </a:lnTo>
                  <a:lnTo>
                    <a:pt x="10" y="2"/>
                  </a:lnTo>
                  <a:lnTo>
                    <a:pt x="7" y="3"/>
                  </a:lnTo>
                  <a:lnTo>
                    <a:pt x="5" y="5"/>
                  </a:lnTo>
                  <a:lnTo>
                    <a:pt x="3" y="7"/>
                  </a:lnTo>
                  <a:lnTo>
                    <a:pt x="1" y="10"/>
                  </a:lnTo>
                  <a:lnTo>
                    <a:pt x="0" y="12"/>
                  </a:lnTo>
                  <a:lnTo>
                    <a:pt x="0" y="15"/>
                  </a:lnTo>
                  <a:lnTo>
                    <a:pt x="0" y="31"/>
                  </a:lnTo>
                  <a:lnTo>
                    <a:pt x="1" y="46"/>
                  </a:lnTo>
                  <a:lnTo>
                    <a:pt x="4" y="61"/>
                  </a:lnTo>
                  <a:lnTo>
                    <a:pt x="7" y="76"/>
                  </a:lnTo>
                  <a:lnTo>
                    <a:pt x="10" y="91"/>
                  </a:lnTo>
                  <a:lnTo>
                    <a:pt x="14" y="105"/>
                  </a:lnTo>
                  <a:lnTo>
                    <a:pt x="19" y="119"/>
                  </a:lnTo>
                  <a:lnTo>
                    <a:pt x="24" y="133"/>
                  </a:lnTo>
                  <a:lnTo>
                    <a:pt x="30" y="147"/>
                  </a:lnTo>
                  <a:lnTo>
                    <a:pt x="37" y="160"/>
                  </a:lnTo>
                  <a:lnTo>
                    <a:pt x="44" y="173"/>
                  </a:lnTo>
                  <a:lnTo>
                    <a:pt x="53" y="186"/>
                  </a:lnTo>
                  <a:lnTo>
                    <a:pt x="61" y="197"/>
                  </a:lnTo>
                  <a:lnTo>
                    <a:pt x="70" y="209"/>
                  </a:lnTo>
                  <a:lnTo>
                    <a:pt x="80" y="221"/>
                  </a:lnTo>
                  <a:lnTo>
                    <a:pt x="89" y="232"/>
                  </a:lnTo>
                  <a:lnTo>
                    <a:pt x="100" y="241"/>
                  </a:lnTo>
                  <a:lnTo>
                    <a:pt x="111" y="251"/>
                  </a:lnTo>
                  <a:lnTo>
                    <a:pt x="122" y="261"/>
                  </a:lnTo>
                  <a:lnTo>
                    <a:pt x="134" y="269"/>
                  </a:lnTo>
                  <a:lnTo>
                    <a:pt x="146" y="278"/>
                  </a:lnTo>
                  <a:lnTo>
                    <a:pt x="159" y="285"/>
                  </a:lnTo>
                  <a:lnTo>
                    <a:pt x="172" y="292"/>
                  </a:lnTo>
                  <a:lnTo>
                    <a:pt x="186" y="298"/>
                  </a:lnTo>
                  <a:lnTo>
                    <a:pt x="198" y="303"/>
                  </a:lnTo>
                  <a:lnTo>
                    <a:pt x="212" y="309"/>
                  </a:lnTo>
                  <a:lnTo>
                    <a:pt x="226" y="313"/>
                  </a:lnTo>
                  <a:lnTo>
                    <a:pt x="241" y="316"/>
                  </a:lnTo>
                  <a:lnTo>
                    <a:pt x="256" y="318"/>
                  </a:lnTo>
                  <a:lnTo>
                    <a:pt x="270" y="320"/>
                  </a:lnTo>
                  <a:lnTo>
                    <a:pt x="285" y="321"/>
                  </a:lnTo>
                  <a:lnTo>
                    <a:pt x="301" y="323"/>
                  </a:lnTo>
                  <a:lnTo>
                    <a:pt x="316" y="321"/>
                  </a:lnTo>
                  <a:lnTo>
                    <a:pt x="331" y="320"/>
                  </a:lnTo>
                  <a:lnTo>
                    <a:pt x="346" y="318"/>
                  </a:lnTo>
                  <a:lnTo>
                    <a:pt x="360" y="316"/>
                  </a:lnTo>
                  <a:lnTo>
                    <a:pt x="375" y="313"/>
                  </a:lnTo>
                  <a:lnTo>
                    <a:pt x="389" y="309"/>
                  </a:lnTo>
                  <a:lnTo>
                    <a:pt x="403" y="303"/>
                  </a:lnTo>
                  <a:lnTo>
                    <a:pt x="417" y="298"/>
                  </a:lnTo>
                  <a:lnTo>
                    <a:pt x="429" y="292"/>
                  </a:lnTo>
                  <a:lnTo>
                    <a:pt x="442" y="285"/>
                  </a:lnTo>
                  <a:lnTo>
                    <a:pt x="455" y="278"/>
                  </a:lnTo>
                  <a:lnTo>
                    <a:pt x="467" y="269"/>
                  </a:lnTo>
                  <a:lnTo>
                    <a:pt x="479" y="261"/>
                  </a:lnTo>
                  <a:lnTo>
                    <a:pt x="490" y="251"/>
                  </a:lnTo>
                  <a:lnTo>
                    <a:pt x="501" y="241"/>
                  </a:lnTo>
                  <a:lnTo>
                    <a:pt x="512" y="232"/>
                  </a:lnTo>
                  <a:lnTo>
                    <a:pt x="521" y="221"/>
                  </a:lnTo>
                  <a:lnTo>
                    <a:pt x="531" y="209"/>
                  </a:lnTo>
                  <a:lnTo>
                    <a:pt x="541" y="197"/>
                  </a:lnTo>
                  <a:lnTo>
                    <a:pt x="549" y="186"/>
                  </a:lnTo>
                  <a:lnTo>
                    <a:pt x="557" y="173"/>
                  </a:lnTo>
                  <a:lnTo>
                    <a:pt x="564" y="160"/>
                  </a:lnTo>
                  <a:lnTo>
                    <a:pt x="571" y="147"/>
                  </a:lnTo>
                  <a:lnTo>
                    <a:pt x="577" y="133"/>
                  </a:lnTo>
                  <a:lnTo>
                    <a:pt x="582" y="119"/>
                  </a:lnTo>
                  <a:lnTo>
                    <a:pt x="587" y="105"/>
                  </a:lnTo>
                  <a:lnTo>
                    <a:pt x="591" y="91"/>
                  </a:lnTo>
                  <a:lnTo>
                    <a:pt x="595" y="76"/>
                  </a:lnTo>
                  <a:lnTo>
                    <a:pt x="597" y="61"/>
                  </a:lnTo>
                  <a:lnTo>
                    <a:pt x="600" y="46"/>
                  </a:lnTo>
                  <a:lnTo>
                    <a:pt x="601" y="31"/>
                  </a:lnTo>
                  <a:lnTo>
                    <a:pt x="601" y="15"/>
                  </a:lnTo>
                  <a:lnTo>
                    <a:pt x="601" y="12"/>
                  </a:lnTo>
                  <a:lnTo>
                    <a:pt x="600" y="10"/>
                  </a:lnTo>
                  <a:lnTo>
                    <a:pt x="599" y="7"/>
                  </a:lnTo>
                  <a:lnTo>
                    <a:pt x="596" y="5"/>
                  </a:lnTo>
                  <a:lnTo>
                    <a:pt x="594" y="3"/>
                  </a:lnTo>
                  <a:lnTo>
                    <a:pt x="592" y="2"/>
                  </a:lnTo>
                  <a:lnTo>
                    <a:pt x="589" y="0"/>
                  </a:lnTo>
                  <a:lnTo>
                    <a:pt x="586" y="0"/>
                  </a:lnTo>
                  <a:lnTo>
                    <a:pt x="5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35">
              <a:extLst>
                <a:ext uri="{FF2B5EF4-FFF2-40B4-BE49-F238E27FC236}">
                  <a16:creationId xmlns:a16="http://schemas.microsoft.com/office/drawing/2014/main" id="{ED1FA292-80B1-45BD-874A-9E43DF1B4C54}"/>
                </a:ext>
              </a:extLst>
            </p:cNvPr>
            <p:cNvSpPr>
              <a:spLocks/>
            </p:cNvSpPr>
            <p:nvPr/>
          </p:nvSpPr>
          <p:spPr bwMode="auto">
            <a:xfrm>
              <a:off x="2770188" y="4322763"/>
              <a:ext cx="57150" cy="20638"/>
            </a:xfrm>
            <a:custGeom>
              <a:avLst/>
              <a:gdLst>
                <a:gd name="T0" fmla="*/ 18 w 180"/>
                <a:gd name="T1" fmla="*/ 63 h 63"/>
                <a:gd name="T2" fmla="*/ 24 w 180"/>
                <a:gd name="T3" fmla="*/ 59 h 63"/>
                <a:gd name="T4" fmla="*/ 27 w 180"/>
                <a:gd name="T5" fmla="*/ 56 h 63"/>
                <a:gd name="T6" fmla="*/ 30 w 180"/>
                <a:gd name="T7" fmla="*/ 51 h 63"/>
                <a:gd name="T8" fmla="*/ 31 w 180"/>
                <a:gd name="T9" fmla="*/ 45 h 63"/>
                <a:gd name="T10" fmla="*/ 38 w 180"/>
                <a:gd name="T11" fmla="*/ 40 h 63"/>
                <a:gd name="T12" fmla="*/ 53 w 180"/>
                <a:gd name="T13" fmla="*/ 35 h 63"/>
                <a:gd name="T14" fmla="*/ 76 w 180"/>
                <a:gd name="T15" fmla="*/ 32 h 63"/>
                <a:gd name="T16" fmla="*/ 103 w 180"/>
                <a:gd name="T17" fmla="*/ 32 h 63"/>
                <a:gd name="T18" fmla="*/ 126 w 180"/>
                <a:gd name="T19" fmla="*/ 35 h 63"/>
                <a:gd name="T20" fmla="*/ 142 w 180"/>
                <a:gd name="T21" fmla="*/ 41 h 63"/>
                <a:gd name="T22" fmla="*/ 149 w 180"/>
                <a:gd name="T23" fmla="*/ 45 h 63"/>
                <a:gd name="T24" fmla="*/ 150 w 180"/>
                <a:gd name="T25" fmla="*/ 51 h 63"/>
                <a:gd name="T26" fmla="*/ 153 w 180"/>
                <a:gd name="T27" fmla="*/ 56 h 63"/>
                <a:gd name="T28" fmla="*/ 156 w 180"/>
                <a:gd name="T29" fmla="*/ 59 h 63"/>
                <a:gd name="T30" fmla="*/ 162 w 180"/>
                <a:gd name="T31" fmla="*/ 63 h 63"/>
                <a:gd name="T32" fmla="*/ 168 w 180"/>
                <a:gd name="T33" fmla="*/ 63 h 63"/>
                <a:gd name="T34" fmla="*/ 173 w 180"/>
                <a:gd name="T35" fmla="*/ 59 h 63"/>
                <a:gd name="T36" fmla="*/ 178 w 180"/>
                <a:gd name="T37" fmla="*/ 56 h 63"/>
                <a:gd name="T38" fmla="*/ 180 w 180"/>
                <a:gd name="T39" fmla="*/ 51 h 63"/>
                <a:gd name="T40" fmla="*/ 180 w 180"/>
                <a:gd name="T41" fmla="*/ 41 h 63"/>
                <a:gd name="T42" fmla="*/ 175 w 180"/>
                <a:gd name="T43" fmla="*/ 30 h 63"/>
                <a:gd name="T44" fmla="*/ 168 w 180"/>
                <a:gd name="T45" fmla="*/ 22 h 63"/>
                <a:gd name="T46" fmla="*/ 157 w 180"/>
                <a:gd name="T47" fmla="*/ 14 h 63"/>
                <a:gd name="T48" fmla="*/ 137 w 180"/>
                <a:gd name="T49" fmla="*/ 7 h 63"/>
                <a:gd name="T50" fmla="*/ 106 w 180"/>
                <a:gd name="T51" fmla="*/ 2 h 63"/>
                <a:gd name="T52" fmla="*/ 74 w 180"/>
                <a:gd name="T53" fmla="*/ 2 h 63"/>
                <a:gd name="T54" fmla="*/ 43 w 180"/>
                <a:gd name="T55" fmla="*/ 7 h 63"/>
                <a:gd name="T56" fmla="*/ 24 w 180"/>
                <a:gd name="T57" fmla="*/ 14 h 63"/>
                <a:gd name="T58" fmla="*/ 13 w 180"/>
                <a:gd name="T59" fmla="*/ 22 h 63"/>
                <a:gd name="T60" fmla="*/ 4 w 180"/>
                <a:gd name="T61" fmla="*/ 30 h 63"/>
                <a:gd name="T62" fmla="*/ 0 w 180"/>
                <a:gd name="T63" fmla="*/ 41 h 63"/>
                <a:gd name="T64" fmla="*/ 0 w 180"/>
                <a:gd name="T65" fmla="*/ 51 h 63"/>
                <a:gd name="T66" fmla="*/ 2 w 180"/>
                <a:gd name="T67" fmla="*/ 56 h 63"/>
                <a:gd name="T68" fmla="*/ 6 w 180"/>
                <a:gd name="T69" fmla="*/ 59 h 63"/>
                <a:gd name="T70" fmla="*/ 12 w 18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63">
                  <a:moveTo>
                    <a:pt x="15" y="63"/>
                  </a:moveTo>
                  <a:lnTo>
                    <a:pt x="18" y="63"/>
                  </a:lnTo>
                  <a:lnTo>
                    <a:pt x="20" y="61"/>
                  </a:lnTo>
                  <a:lnTo>
                    <a:pt x="24" y="59"/>
                  </a:lnTo>
                  <a:lnTo>
                    <a:pt x="26" y="58"/>
                  </a:lnTo>
                  <a:lnTo>
                    <a:pt x="27" y="56"/>
                  </a:lnTo>
                  <a:lnTo>
                    <a:pt x="29" y="53"/>
                  </a:lnTo>
                  <a:lnTo>
                    <a:pt x="30" y="51"/>
                  </a:lnTo>
                  <a:lnTo>
                    <a:pt x="30" y="48"/>
                  </a:lnTo>
                  <a:lnTo>
                    <a:pt x="31" y="45"/>
                  </a:lnTo>
                  <a:lnTo>
                    <a:pt x="33" y="42"/>
                  </a:lnTo>
                  <a:lnTo>
                    <a:pt x="38" y="40"/>
                  </a:lnTo>
                  <a:lnTo>
                    <a:pt x="45" y="37"/>
                  </a:lnTo>
                  <a:lnTo>
                    <a:pt x="53" y="35"/>
                  </a:lnTo>
                  <a:lnTo>
                    <a:pt x="64" y="33"/>
                  </a:lnTo>
                  <a:lnTo>
                    <a:pt x="76" y="32"/>
                  </a:lnTo>
                  <a:lnTo>
                    <a:pt x="90" y="32"/>
                  </a:lnTo>
                  <a:lnTo>
                    <a:pt x="103" y="32"/>
                  </a:lnTo>
                  <a:lnTo>
                    <a:pt x="116" y="33"/>
                  </a:lnTo>
                  <a:lnTo>
                    <a:pt x="126" y="35"/>
                  </a:lnTo>
                  <a:lnTo>
                    <a:pt x="136" y="38"/>
                  </a:lnTo>
                  <a:lnTo>
                    <a:pt x="142" y="41"/>
                  </a:lnTo>
                  <a:lnTo>
                    <a:pt x="147" y="43"/>
                  </a:lnTo>
                  <a:lnTo>
                    <a:pt x="149" y="45"/>
                  </a:lnTo>
                  <a:lnTo>
                    <a:pt x="150" y="48"/>
                  </a:lnTo>
                  <a:lnTo>
                    <a:pt x="150" y="51"/>
                  </a:lnTo>
                  <a:lnTo>
                    <a:pt x="151" y="53"/>
                  </a:lnTo>
                  <a:lnTo>
                    <a:pt x="153" y="56"/>
                  </a:lnTo>
                  <a:lnTo>
                    <a:pt x="154" y="58"/>
                  </a:lnTo>
                  <a:lnTo>
                    <a:pt x="156" y="59"/>
                  </a:lnTo>
                  <a:lnTo>
                    <a:pt x="159" y="61"/>
                  </a:lnTo>
                  <a:lnTo>
                    <a:pt x="162" y="63"/>
                  </a:lnTo>
                  <a:lnTo>
                    <a:pt x="165" y="63"/>
                  </a:lnTo>
                  <a:lnTo>
                    <a:pt x="168" y="63"/>
                  </a:lnTo>
                  <a:lnTo>
                    <a:pt x="171" y="61"/>
                  </a:lnTo>
                  <a:lnTo>
                    <a:pt x="173" y="59"/>
                  </a:lnTo>
                  <a:lnTo>
                    <a:pt x="175" y="58"/>
                  </a:lnTo>
                  <a:lnTo>
                    <a:pt x="178" y="56"/>
                  </a:lnTo>
                  <a:lnTo>
                    <a:pt x="179" y="53"/>
                  </a:lnTo>
                  <a:lnTo>
                    <a:pt x="180" y="51"/>
                  </a:lnTo>
                  <a:lnTo>
                    <a:pt x="180" y="48"/>
                  </a:lnTo>
                  <a:lnTo>
                    <a:pt x="180" y="41"/>
                  </a:lnTo>
                  <a:lnTo>
                    <a:pt x="178" y="36"/>
                  </a:lnTo>
                  <a:lnTo>
                    <a:pt x="175" y="30"/>
                  </a:lnTo>
                  <a:lnTo>
                    <a:pt x="172" y="25"/>
                  </a:lnTo>
                  <a:lnTo>
                    <a:pt x="168" y="22"/>
                  </a:lnTo>
                  <a:lnTo>
                    <a:pt x="163" y="18"/>
                  </a:lnTo>
                  <a:lnTo>
                    <a:pt x="157" y="14"/>
                  </a:lnTo>
                  <a:lnTo>
                    <a:pt x="151" y="11"/>
                  </a:lnTo>
                  <a:lnTo>
                    <a:pt x="137" y="7"/>
                  </a:lnTo>
                  <a:lnTo>
                    <a:pt x="122" y="4"/>
                  </a:lnTo>
                  <a:lnTo>
                    <a:pt x="106" y="2"/>
                  </a:lnTo>
                  <a:lnTo>
                    <a:pt x="90" y="0"/>
                  </a:lnTo>
                  <a:lnTo>
                    <a:pt x="74" y="2"/>
                  </a:lnTo>
                  <a:lnTo>
                    <a:pt x="58" y="4"/>
                  </a:lnTo>
                  <a:lnTo>
                    <a:pt x="43" y="7"/>
                  </a:lnTo>
                  <a:lnTo>
                    <a:pt x="29" y="11"/>
                  </a:lnTo>
                  <a:lnTo>
                    <a:pt x="24" y="14"/>
                  </a:lnTo>
                  <a:lnTo>
                    <a:pt x="17" y="18"/>
                  </a:lnTo>
                  <a:lnTo>
                    <a:pt x="13" y="22"/>
                  </a:lnTo>
                  <a:lnTo>
                    <a:pt x="9" y="26"/>
                  </a:lnTo>
                  <a:lnTo>
                    <a:pt x="4" y="30"/>
                  </a:lnTo>
                  <a:lnTo>
                    <a:pt x="2" y="36"/>
                  </a:lnTo>
                  <a:lnTo>
                    <a:pt x="0" y="41"/>
                  </a:lnTo>
                  <a:lnTo>
                    <a:pt x="0" y="48"/>
                  </a:lnTo>
                  <a:lnTo>
                    <a:pt x="0" y="51"/>
                  </a:lnTo>
                  <a:lnTo>
                    <a:pt x="1" y="53"/>
                  </a:lnTo>
                  <a:lnTo>
                    <a:pt x="2" y="56"/>
                  </a:lnTo>
                  <a:lnTo>
                    <a:pt x="4" y="58"/>
                  </a:lnTo>
                  <a:lnTo>
                    <a:pt x="6" y="59"/>
                  </a:lnTo>
                  <a:lnTo>
                    <a:pt x="9" y="61"/>
                  </a:lnTo>
                  <a:lnTo>
                    <a:pt x="12" y="63"/>
                  </a:lnTo>
                  <a:lnTo>
                    <a:pt x="1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36">
              <a:extLst>
                <a:ext uri="{FF2B5EF4-FFF2-40B4-BE49-F238E27FC236}">
                  <a16:creationId xmlns:a16="http://schemas.microsoft.com/office/drawing/2014/main" id="{BD2EB25F-D68B-4035-B2B3-0DD2C9C8BFDD}"/>
                </a:ext>
              </a:extLst>
            </p:cNvPr>
            <p:cNvSpPr>
              <a:spLocks noEditPoints="1"/>
            </p:cNvSpPr>
            <p:nvPr/>
          </p:nvSpPr>
          <p:spPr bwMode="auto">
            <a:xfrm>
              <a:off x="2670175" y="4305301"/>
              <a:ext cx="47625" cy="47625"/>
            </a:xfrm>
            <a:custGeom>
              <a:avLst/>
              <a:gdLst>
                <a:gd name="T0" fmla="*/ 85 w 150"/>
                <a:gd name="T1" fmla="*/ 30 h 150"/>
                <a:gd name="T2" fmla="*/ 101 w 150"/>
                <a:gd name="T3" fmla="*/ 37 h 150"/>
                <a:gd name="T4" fmla="*/ 113 w 150"/>
                <a:gd name="T5" fmla="*/ 49 h 150"/>
                <a:gd name="T6" fmla="*/ 120 w 150"/>
                <a:gd name="T7" fmla="*/ 65 h 150"/>
                <a:gd name="T8" fmla="*/ 120 w 150"/>
                <a:gd name="T9" fmla="*/ 83 h 150"/>
                <a:gd name="T10" fmla="*/ 113 w 150"/>
                <a:gd name="T11" fmla="*/ 99 h 150"/>
                <a:gd name="T12" fmla="*/ 101 w 150"/>
                <a:gd name="T13" fmla="*/ 112 h 150"/>
                <a:gd name="T14" fmla="*/ 85 w 150"/>
                <a:gd name="T15" fmla="*/ 118 h 150"/>
                <a:gd name="T16" fmla="*/ 67 w 150"/>
                <a:gd name="T17" fmla="*/ 118 h 150"/>
                <a:gd name="T18" fmla="*/ 51 w 150"/>
                <a:gd name="T19" fmla="*/ 112 h 150"/>
                <a:gd name="T20" fmla="*/ 38 w 150"/>
                <a:gd name="T21" fmla="*/ 99 h 150"/>
                <a:gd name="T22" fmla="*/ 31 w 150"/>
                <a:gd name="T23" fmla="*/ 83 h 150"/>
                <a:gd name="T24" fmla="*/ 31 w 150"/>
                <a:gd name="T25" fmla="*/ 65 h 150"/>
                <a:gd name="T26" fmla="*/ 38 w 150"/>
                <a:gd name="T27" fmla="*/ 49 h 150"/>
                <a:gd name="T28" fmla="*/ 51 w 150"/>
                <a:gd name="T29" fmla="*/ 37 h 150"/>
                <a:gd name="T30" fmla="*/ 67 w 150"/>
                <a:gd name="T31" fmla="*/ 30 h 150"/>
                <a:gd name="T32" fmla="*/ 75 w 150"/>
                <a:gd name="T33" fmla="*/ 30 h 150"/>
                <a:gd name="T34" fmla="*/ 83 w 150"/>
                <a:gd name="T35" fmla="*/ 148 h 150"/>
                <a:gd name="T36" fmla="*/ 98 w 150"/>
                <a:gd name="T37" fmla="*/ 146 h 150"/>
                <a:gd name="T38" fmla="*/ 112 w 150"/>
                <a:gd name="T39" fmla="*/ 140 h 150"/>
                <a:gd name="T40" fmla="*/ 123 w 150"/>
                <a:gd name="T41" fmla="*/ 132 h 150"/>
                <a:gd name="T42" fmla="*/ 133 w 150"/>
                <a:gd name="T43" fmla="*/ 122 h 150"/>
                <a:gd name="T44" fmla="*/ 142 w 150"/>
                <a:gd name="T45" fmla="*/ 110 h 150"/>
                <a:gd name="T46" fmla="*/ 147 w 150"/>
                <a:gd name="T47" fmla="*/ 97 h 150"/>
                <a:gd name="T48" fmla="*/ 150 w 150"/>
                <a:gd name="T49" fmla="*/ 82 h 150"/>
                <a:gd name="T50" fmla="*/ 150 w 150"/>
                <a:gd name="T51" fmla="*/ 67 h 150"/>
                <a:gd name="T52" fmla="*/ 147 w 150"/>
                <a:gd name="T53" fmla="*/ 52 h 150"/>
                <a:gd name="T54" fmla="*/ 142 w 150"/>
                <a:gd name="T55" fmla="*/ 38 h 150"/>
                <a:gd name="T56" fmla="*/ 133 w 150"/>
                <a:gd name="T57" fmla="*/ 26 h 150"/>
                <a:gd name="T58" fmla="*/ 123 w 150"/>
                <a:gd name="T59" fmla="*/ 17 h 150"/>
                <a:gd name="T60" fmla="*/ 112 w 150"/>
                <a:gd name="T61" fmla="*/ 8 h 150"/>
                <a:gd name="T62" fmla="*/ 98 w 150"/>
                <a:gd name="T63" fmla="*/ 3 h 150"/>
                <a:gd name="T64" fmla="*/ 83 w 150"/>
                <a:gd name="T65" fmla="*/ 0 h 150"/>
                <a:gd name="T66" fmla="*/ 68 w 150"/>
                <a:gd name="T67" fmla="*/ 0 h 150"/>
                <a:gd name="T68" fmla="*/ 53 w 150"/>
                <a:gd name="T69" fmla="*/ 3 h 150"/>
                <a:gd name="T70" fmla="*/ 40 w 150"/>
                <a:gd name="T71" fmla="*/ 8 h 150"/>
                <a:gd name="T72" fmla="*/ 28 w 150"/>
                <a:gd name="T73" fmla="*/ 17 h 150"/>
                <a:gd name="T74" fmla="*/ 17 w 150"/>
                <a:gd name="T75" fmla="*/ 26 h 150"/>
                <a:gd name="T76" fmla="*/ 10 w 150"/>
                <a:gd name="T77" fmla="*/ 38 h 150"/>
                <a:gd name="T78" fmla="*/ 4 w 150"/>
                <a:gd name="T79" fmla="*/ 52 h 150"/>
                <a:gd name="T80" fmla="*/ 0 w 150"/>
                <a:gd name="T81" fmla="*/ 67 h 150"/>
                <a:gd name="T82" fmla="*/ 0 w 150"/>
                <a:gd name="T83" fmla="*/ 82 h 150"/>
                <a:gd name="T84" fmla="*/ 4 w 150"/>
                <a:gd name="T85" fmla="*/ 97 h 150"/>
                <a:gd name="T86" fmla="*/ 10 w 150"/>
                <a:gd name="T87" fmla="*/ 110 h 150"/>
                <a:gd name="T88" fmla="*/ 17 w 150"/>
                <a:gd name="T89" fmla="*/ 122 h 150"/>
                <a:gd name="T90" fmla="*/ 28 w 150"/>
                <a:gd name="T91" fmla="*/ 132 h 150"/>
                <a:gd name="T92" fmla="*/ 40 w 150"/>
                <a:gd name="T93" fmla="*/ 140 h 150"/>
                <a:gd name="T94" fmla="*/ 53 w 150"/>
                <a:gd name="T95" fmla="*/ 146 h 150"/>
                <a:gd name="T96" fmla="*/ 68 w 150"/>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30"/>
                  </a:moveTo>
                  <a:lnTo>
                    <a:pt x="85" y="30"/>
                  </a:lnTo>
                  <a:lnTo>
                    <a:pt x="93" y="33"/>
                  </a:lnTo>
                  <a:lnTo>
                    <a:pt x="101" y="37"/>
                  </a:lnTo>
                  <a:lnTo>
                    <a:pt x="107" y="43"/>
                  </a:lnTo>
                  <a:lnTo>
                    <a:pt x="113" y="49"/>
                  </a:lnTo>
                  <a:lnTo>
                    <a:pt x="117" y="56"/>
                  </a:lnTo>
                  <a:lnTo>
                    <a:pt x="120" y="65"/>
                  </a:lnTo>
                  <a:lnTo>
                    <a:pt x="120" y="75"/>
                  </a:lnTo>
                  <a:lnTo>
                    <a:pt x="120" y="83"/>
                  </a:lnTo>
                  <a:lnTo>
                    <a:pt x="117" y="92"/>
                  </a:lnTo>
                  <a:lnTo>
                    <a:pt x="113" y="99"/>
                  </a:lnTo>
                  <a:lnTo>
                    <a:pt x="107" y="106"/>
                  </a:lnTo>
                  <a:lnTo>
                    <a:pt x="101" y="112"/>
                  </a:lnTo>
                  <a:lnTo>
                    <a:pt x="93" y="116"/>
                  </a:lnTo>
                  <a:lnTo>
                    <a:pt x="85" y="118"/>
                  </a:lnTo>
                  <a:lnTo>
                    <a:pt x="75" y="120"/>
                  </a:lnTo>
                  <a:lnTo>
                    <a:pt x="67" y="118"/>
                  </a:lnTo>
                  <a:lnTo>
                    <a:pt x="58" y="116"/>
                  </a:lnTo>
                  <a:lnTo>
                    <a:pt x="51" y="112"/>
                  </a:lnTo>
                  <a:lnTo>
                    <a:pt x="43" y="106"/>
                  </a:lnTo>
                  <a:lnTo>
                    <a:pt x="38" y="99"/>
                  </a:lnTo>
                  <a:lnTo>
                    <a:pt x="33" y="92"/>
                  </a:lnTo>
                  <a:lnTo>
                    <a:pt x="31" y="83"/>
                  </a:lnTo>
                  <a:lnTo>
                    <a:pt x="30" y="75"/>
                  </a:lnTo>
                  <a:lnTo>
                    <a:pt x="31" y="65"/>
                  </a:lnTo>
                  <a:lnTo>
                    <a:pt x="33" y="56"/>
                  </a:lnTo>
                  <a:lnTo>
                    <a:pt x="38" y="49"/>
                  </a:lnTo>
                  <a:lnTo>
                    <a:pt x="43" y="43"/>
                  </a:lnTo>
                  <a:lnTo>
                    <a:pt x="51" y="37"/>
                  </a:lnTo>
                  <a:lnTo>
                    <a:pt x="58" y="33"/>
                  </a:lnTo>
                  <a:lnTo>
                    <a:pt x="67" y="30"/>
                  </a:lnTo>
                  <a:lnTo>
                    <a:pt x="75" y="30"/>
                  </a:lnTo>
                  <a:lnTo>
                    <a:pt x="75" y="30"/>
                  </a:lnTo>
                  <a:close/>
                  <a:moveTo>
                    <a:pt x="75" y="150"/>
                  </a:moveTo>
                  <a:lnTo>
                    <a:pt x="83" y="148"/>
                  </a:lnTo>
                  <a:lnTo>
                    <a:pt x="90" y="147"/>
                  </a:lnTo>
                  <a:lnTo>
                    <a:pt x="98" y="146"/>
                  </a:lnTo>
                  <a:lnTo>
                    <a:pt x="105" y="143"/>
                  </a:lnTo>
                  <a:lnTo>
                    <a:pt x="112" y="140"/>
                  </a:lnTo>
                  <a:lnTo>
                    <a:pt x="117" y="137"/>
                  </a:lnTo>
                  <a:lnTo>
                    <a:pt x="123" y="132"/>
                  </a:lnTo>
                  <a:lnTo>
                    <a:pt x="129" y="127"/>
                  </a:lnTo>
                  <a:lnTo>
                    <a:pt x="133" y="122"/>
                  </a:lnTo>
                  <a:lnTo>
                    <a:pt x="137" y="116"/>
                  </a:lnTo>
                  <a:lnTo>
                    <a:pt x="142" y="110"/>
                  </a:lnTo>
                  <a:lnTo>
                    <a:pt x="145" y="104"/>
                  </a:lnTo>
                  <a:lnTo>
                    <a:pt x="147" y="97"/>
                  </a:lnTo>
                  <a:lnTo>
                    <a:pt x="149" y="90"/>
                  </a:lnTo>
                  <a:lnTo>
                    <a:pt x="150" y="82"/>
                  </a:lnTo>
                  <a:lnTo>
                    <a:pt x="150" y="75"/>
                  </a:lnTo>
                  <a:lnTo>
                    <a:pt x="150" y="67"/>
                  </a:lnTo>
                  <a:lnTo>
                    <a:pt x="149" y="60"/>
                  </a:lnTo>
                  <a:lnTo>
                    <a:pt x="147" y="52"/>
                  </a:lnTo>
                  <a:lnTo>
                    <a:pt x="145" y="45"/>
                  </a:lnTo>
                  <a:lnTo>
                    <a:pt x="142" y="38"/>
                  </a:lnTo>
                  <a:lnTo>
                    <a:pt x="137" y="33"/>
                  </a:lnTo>
                  <a:lnTo>
                    <a:pt x="133" y="26"/>
                  </a:lnTo>
                  <a:lnTo>
                    <a:pt x="129" y="21"/>
                  </a:lnTo>
                  <a:lnTo>
                    <a:pt x="123" y="17"/>
                  </a:lnTo>
                  <a:lnTo>
                    <a:pt x="117" y="13"/>
                  </a:lnTo>
                  <a:lnTo>
                    <a:pt x="112" y="8"/>
                  </a:lnTo>
                  <a:lnTo>
                    <a:pt x="105" y="5"/>
                  </a:lnTo>
                  <a:lnTo>
                    <a:pt x="98" y="3"/>
                  </a:lnTo>
                  <a:lnTo>
                    <a:pt x="90" y="1"/>
                  </a:lnTo>
                  <a:lnTo>
                    <a:pt x="83" y="0"/>
                  </a:lnTo>
                  <a:lnTo>
                    <a:pt x="75" y="0"/>
                  </a:lnTo>
                  <a:lnTo>
                    <a:pt x="68" y="0"/>
                  </a:lnTo>
                  <a:lnTo>
                    <a:pt x="60" y="1"/>
                  </a:lnTo>
                  <a:lnTo>
                    <a:pt x="53" y="3"/>
                  </a:lnTo>
                  <a:lnTo>
                    <a:pt x="46" y="5"/>
                  </a:lnTo>
                  <a:lnTo>
                    <a:pt x="40" y="8"/>
                  </a:lnTo>
                  <a:lnTo>
                    <a:pt x="33" y="13"/>
                  </a:lnTo>
                  <a:lnTo>
                    <a:pt x="28" y="17"/>
                  </a:lnTo>
                  <a:lnTo>
                    <a:pt x="23" y="21"/>
                  </a:lnTo>
                  <a:lnTo>
                    <a:pt x="17" y="26"/>
                  </a:lnTo>
                  <a:lnTo>
                    <a:pt x="13" y="33"/>
                  </a:lnTo>
                  <a:lnTo>
                    <a:pt x="10" y="38"/>
                  </a:lnTo>
                  <a:lnTo>
                    <a:pt x="7" y="45"/>
                  </a:lnTo>
                  <a:lnTo>
                    <a:pt x="4" y="52"/>
                  </a:lnTo>
                  <a:lnTo>
                    <a:pt x="2" y="60"/>
                  </a:lnTo>
                  <a:lnTo>
                    <a:pt x="0" y="67"/>
                  </a:lnTo>
                  <a:lnTo>
                    <a:pt x="0" y="75"/>
                  </a:lnTo>
                  <a:lnTo>
                    <a:pt x="0" y="82"/>
                  </a:lnTo>
                  <a:lnTo>
                    <a:pt x="2" y="90"/>
                  </a:lnTo>
                  <a:lnTo>
                    <a:pt x="4" y="97"/>
                  </a:lnTo>
                  <a:lnTo>
                    <a:pt x="7" y="104"/>
                  </a:lnTo>
                  <a:lnTo>
                    <a:pt x="10" y="110"/>
                  </a:lnTo>
                  <a:lnTo>
                    <a:pt x="13" y="116"/>
                  </a:lnTo>
                  <a:lnTo>
                    <a:pt x="17" y="122"/>
                  </a:lnTo>
                  <a:lnTo>
                    <a:pt x="23" y="127"/>
                  </a:lnTo>
                  <a:lnTo>
                    <a:pt x="28" y="132"/>
                  </a:lnTo>
                  <a:lnTo>
                    <a:pt x="33" y="137"/>
                  </a:lnTo>
                  <a:lnTo>
                    <a:pt x="40" y="140"/>
                  </a:lnTo>
                  <a:lnTo>
                    <a:pt x="46" y="143"/>
                  </a:lnTo>
                  <a:lnTo>
                    <a:pt x="53" y="146"/>
                  </a:lnTo>
                  <a:lnTo>
                    <a:pt x="60" y="147"/>
                  </a:lnTo>
                  <a:lnTo>
                    <a:pt x="68" y="150"/>
                  </a:lnTo>
                  <a:lnTo>
                    <a:pt x="7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1">
            <a:extLst>
              <a:ext uri="{FF2B5EF4-FFF2-40B4-BE49-F238E27FC236}">
                <a16:creationId xmlns:a16="http://schemas.microsoft.com/office/drawing/2014/main" id="{D555D959-CAAD-4828-B16D-6BF2583F8C4F}"/>
              </a:ext>
            </a:extLst>
          </p:cNvPr>
          <p:cNvGrpSpPr>
            <a:grpSpLocks noChangeAspect="1"/>
          </p:cNvGrpSpPr>
          <p:nvPr/>
        </p:nvGrpSpPr>
        <p:grpSpPr>
          <a:xfrm>
            <a:off x="2289439" y="4340505"/>
            <a:ext cx="335696" cy="285619"/>
            <a:chOff x="5432425" y="3116263"/>
            <a:chExt cx="574675" cy="488950"/>
          </a:xfrm>
          <a:solidFill>
            <a:schemeClr val="bg2"/>
          </a:solidFill>
          <a:effectLst/>
        </p:grpSpPr>
        <p:sp>
          <p:nvSpPr>
            <p:cNvPr id="600" name="Freeform 119">
              <a:extLst>
                <a:ext uri="{FF2B5EF4-FFF2-40B4-BE49-F238E27FC236}">
                  <a16:creationId xmlns:a16="http://schemas.microsoft.com/office/drawing/2014/main" id="{58629794-FDB8-40CA-8F41-BDA221D2A01A}"/>
                </a:ext>
              </a:extLst>
            </p:cNvPr>
            <p:cNvSpPr>
              <a:spLocks noEditPoints="1"/>
            </p:cNvSpPr>
            <p:nvPr/>
          </p:nvSpPr>
          <p:spPr bwMode="auto">
            <a:xfrm>
              <a:off x="5432425" y="3116263"/>
              <a:ext cx="574675" cy="488950"/>
            </a:xfrm>
            <a:custGeom>
              <a:avLst/>
              <a:gdLst>
                <a:gd name="T0" fmla="*/ 141 w 1450"/>
                <a:gd name="T1" fmla="*/ 56 h 1235"/>
                <a:gd name="T2" fmla="*/ 110 w 1450"/>
                <a:gd name="T3" fmla="*/ 66 h 1235"/>
                <a:gd name="T4" fmla="*/ 86 w 1450"/>
                <a:gd name="T5" fmla="*/ 86 h 1235"/>
                <a:gd name="T6" fmla="*/ 68 w 1450"/>
                <a:gd name="T7" fmla="*/ 110 h 1235"/>
                <a:gd name="T8" fmla="*/ 57 w 1450"/>
                <a:gd name="T9" fmla="*/ 139 h 1235"/>
                <a:gd name="T10" fmla="*/ 54 w 1450"/>
                <a:gd name="T11" fmla="*/ 805 h 1235"/>
                <a:gd name="T12" fmla="*/ 60 w 1450"/>
                <a:gd name="T13" fmla="*/ 837 h 1235"/>
                <a:gd name="T14" fmla="*/ 73 w 1450"/>
                <a:gd name="T15" fmla="*/ 865 h 1235"/>
                <a:gd name="T16" fmla="*/ 94 w 1450"/>
                <a:gd name="T17" fmla="*/ 888 h 1235"/>
                <a:gd name="T18" fmla="*/ 120 w 1450"/>
                <a:gd name="T19" fmla="*/ 904 h 1235"/>
                <a:gd name="T20" fmla="*/ 151 w 1450"/>
                <a:gd name="T21" fmla="*/ 912 h 1235"/>
                <a:gd name="T22" fmla="*/ 915 w 1450"/>
                <a:gd name="T23" fmla="*/ 913 h 1235"/>
                <a:gd name="T24" fmla="*/ 931 w 1450"/>
                <a:gd name="T25" fmla="*/ 923 h 1235"/>
                <a:gd name="T26" fmla="*/ 935 w 1450"/>
                <a:gd name="T27" fmla="*/ 940 h 1235"/>
                <a:gd name="T28" fmla="*/ 1174 w 1450"/>
                <a:gd name="T29" fmla="*/ 917 h 1235"/>
                <a:gd name="T30" fmla="*/ 1185 w 1450"/>
                <a:gd name="T31" fmla="*/ 913 h 1235"/>
                <a:gd name="T32" fmla="*/ 1300 w 1450"/>
                <a:gd name="T33" fmla="*/ 912 h 1235"/>
                <a:gd name="T34" fmla="*/ 1330 w 1450"/>
                <a:gd name="T35" fmla="*/ 904 h 1235"/>
                <a:gd name="T36" fmla="*/ 1357 w 1450"/>
                <a:gd name="T37" fmla="*/ 888 h 1235"/>
                <a:gd name="T38" fmla="*/ 1377 w 1450"/>
                <a:gd name="T39" fmla="*/ 865 h 1235"/>
                <a:gd name="T40" fmla="*/ 1391 w 1450"/>
                <a:gd name="T41" fmla="*/ 837 h 1235"/>
                <a:gd name="T42" fmla="*/ 1396 w 1450"/>
                <a:gd name="T43" fmla="*/ 805 h 1235"/>
                <a:gd name="T44" fmla="*/ 1394 w 1450"/>
                <a:gd name="T45" fmla="*/ 139 h 1235"/>
                <a:gd name="T46" fmla="*/ 1383 w 1450"/>
                <a:gd name="T47" fmla="*/ 110 h 1235"/>
                <a:gd name="T48" fmla="*/ 1365 w 1450"/>
                <a:gd name="T49" fmla="*/ 86 h 1235"/>
                <a:gd name="T50" fmla="*/ 1340 w 1450"/>
                <a:gd name="T51" fmla="*/ 66 h 1235"/>
                <a:gd name="T52" fmla="*/ 1310 w 1450"/>
                <a:gd name="T53" fmla="*/ 56 h 1235"/>
                <a:gd name="T54" fmla="*/ 162 w 1450"/>
                <a:gd name="T55" fmla="*/ 54 h 1235"/>
                <a:gd name="T56" fmla="*/ 824 w 1450"/>
                <a:gd name="T57" fmla="*/ 1234 h 1235"/>
                <a:gd name="T58" fmla="*/ 814 w 1450"/>
                <a:gd name="T59" fmla="*/ 1227 h 1235"/>
                <a:gd name="T60" fmla="*/ 808 w 1450"/>
                <a:gd name="T61" fmla="*/ 1217 h 1235"/>
                <a:gd name="T62" fmla="*/ 805 w 1450"/>
                <a:gd name="T63" fmla="*/ 1204 h 1235"/>
                <a:gd name="T64" fmla="*/ 162 w 1450"/>
                <a:gd name="T65" fmla="*/ 966 h 1235"/>
                <a:gd name="T66" fmla="*/ 114 w 1450"/>
                <a:gd name="T67" fmla="*/ 959 h 1235"/>
                <a:gd name="T68" fmla="*/ 72 w 1450"/>
                <a:gd name="T69" fmla="*/ 939 h 1235"/>
                <a:gd name="T70" fmla="*/ 37 w 1450"/>
                <a:gd name="T71" fmla="*/ 907 h 1235"/>
                <a:gd name="T72" fmla="*/ 14 w 1450"/>
                <a:gd name="T73" fmla="*/ 868 h 1235"/>
                <a:gd name="T74" fmla="*/ 2 w 1450"/>
                <a:gd name="T75" fmla="*/ 821 h 1235"/>
                <a:gd name="T76" fmla="*/ 2 w 1450"/>
                <a:gd name="T77" fmla="*/ 145 h 1235"/>
                <a:gd name="T78" fmla="*/ 14 w 1450"/>
                <a:gd name="T79" fmla="*/ 99 h 1235"/>
                <a:gd name="T80" fmla="*/ 37 w 1450"/>
                <a:gd name="T81" fmla="*/ 59 h 1235"/>
                <a:gd name="T82" fmla="*/ 72 w 1450"/>
                <a:gd name="T83" fmla="*/ 27 h 1235"/>
                <a:gd name="T84" fmla="*/ 114 w 1450"/>
                <a:gd name="T85" fmla="*/ 7 h 1235"/>
                <a:gd name="T86" fmla="*/ 162 w 1450"/>
                <a:gd name="T87" fmla="*/ 0 h 1235"/>
                <a:gd name="T88" fmla="*/ 1321 w 1450"/>
                <a:gd name="T89" fmla="*/ 4 h 1235"/>
                <a:gd name="T90" fmla="*/ 1365 w 1450"/>
                <a:gd name="T91" fmla="*/ 19 h 1235"/>
                <a:gd name="T92" fmla="*/ 1402 w 1450"/>
                <a:gd name="T93" fmla="*/ 47 h 1235"/>
                <a:gd name="T94" fmla="*/ 1430 w 1450"/>
                <a:gd name="T95" fmla="*/ 84 h 1235"/>
                <a:gd name="T96" fmla="*/ 1447 w 1450"/>
                <a:gd name="T97" fmla="*/ 129 h 1235"/>
                <a:gd name="T98" fmla="*/ 1450 w 1450"/>
                <a:gd name="T99" fmla="*/ 805 h 1235"/>
                <a:gd name="T100" fmla="*/ 1442 w 1450"/>
                <a:gd name="T101" fmla="*/ 852 h 1235"/>
                <a:gd name="T102" fmla="*/ 1422 w 1450"/>
                <a:gd name="T103" fmla="*/ 895 h 1235"/>
                <a:gd name="T104" fmla="*/ 1391 w 1450"/>
                <a:gd name="T105" fmla="*/ 929 h 1235"/>
                <a:gd name="T106" fmla="*/ 1351 w 1450"/>
                <a:gd name="T107" fmla="*/ 953 h 1235"/>
                <a:gd name="T108" fmla="*/ 1305 w 1450"/>
                <a:gd name="T109" fmla="*/ 966 h 1235"/>
                <a:gd name="T110" fmla="*/ 849 w 1450"/>
                <a:gd name="T111" fmla="*/ 1229 h 1235"/>
                <a:gd name="T112" fmla="*/ 837 w 1450"/>
                <a:gd name="T113" fmla="*/ 1234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0" h="1235">
                  <a:moveTo>
                    <a:pt x="162" y="54"/>
                  </a:moveTo>
                  <a:lnTo>
                    <a:pt x="151" y="54"/>
                  </a:lnTo>
                  <a:lnTo>
                    <a:pt x="141" y="56"/>
                  </a:lnTo>
                  <a:lnTo>
                    <a:pt x="131" y="59"/>
                  </a:lnTo>
                  <a:lnTo>
                    <a:pt x="120" y="62"/>
                  </a:lnTo>
                  <a:lnTo>
                    <a:pt x="110" y="66"/>
                  </a:lnTo>
                  <a:lnTo>
                    <a:pt x="102" y="72"/>
                  </a:lnTo>
                  <a:lnTo>
                    <a:pt x="94" y="79"/>
                  </a:lnTo>
                  <a:lnTo>
                    <a:pt x="86" y="86"/>
                  </a:lnTo>
                  <a:lnTo>
                    <a:pt x="79" y="93"/>
                  </a:lnTo>
                  <a:lnTo>
                    <a:pt x="73" y="101"/>
                  </a:lnTo>
                  <a:lnTo>
                    <a:pt x="68" y="110"/>
                  </a:lnTo>
                  <a:lnTo>
                    <a:pt x="63" y="119"/>
                  </a:lnTo>
                  <a:lnTo>
                    <a:pt x="60" y="129"/>
                  </a:lnTo>
                  <a:lnTo>
                    <a:pt x="57" y="139"/>
                  </a:lnTo>
                  <a:lnTo>
                    <a:pt x="55" y="151"/>
                  </a:lnTo>
                  <a:lnTo>
                    <a:pt x="54" y="161"/>
                  </a:lnTo>
                  <a:lnTo>
                    <a:pt x="54" y="805"/>
                  </a:lnTo>
                  <a:lnTo>
                    <a:pt x="55" y="817"/>
                  </a:lnTo>
                  <a:lnTo>
                    <a:pt x="57" y="827"/>
                  </a:lnTo>
                  <a:lnTo>
                    <a:pt x="60" y="837"/>
                  </a:lnTo>
                  <a:lnTo>
                    <a:pt x="63" y="847"/>
                  </a:lnTo>
                  <a:lnTo>
                    <a:pt x="68" y="856"/>
                  </a:lnTo>
                  <a:lnTo>
                    <a:pt x="73" y="865"/>
                  </a:lnTo>
                  <a:lnTo>
                    <a:pt x="79" y="874"/>
                  </a:lnTo>
                  <a:lnTo>
                    <a:pt x="86" y="880"/>
                  </a:lnTo>
                  <a:lnTo>
                    <a:pt x="94" y="888"/>
                  </a:lnTo>
                  <a:lnTo>
                    <a:pt x="102" y="894"/>
                  </a:lnTo>
                  <a:lnTo>
                    <a:pt x="110" y="899"/>
                  </a:lnTo>
                  <a:lnTo>
                    <a:pt x="120" y="904"/>
                  </a:lnTo>
                  <a:lnTo>
                    <a:pt x="131" y="907"/>
                  </a:lnTo>
                  <a:lnTo>
                    <a:pt x="141" y="911"/>
                  </a:lnTo>
                  <a:lnTo>
                    <a:pt x="151" y="912"/>
                  </a:lnTo>
                  <a:lnTo>
                    <a:pt x="162" y="912"/>
                  </a:lnTo>
                  <a:lnTo>
                    <a:pt x="910" y="912"/>
                  </a:lnTo>
                  <a:lnTo>
                    <a:pt x="915" y="913"/>
                  </a:lnTo>
                  <a:lnTo>
                    <a:pt x="921" y="915"/>
                  </a:lnTo>
                  <a:lnTo>
                    <a:pt x="926" y="919"/>
                  </a:lnTo>
                  <a:lnTo>
                    <a:pt x="931" y="923"/>
                  </a:lnTo>
                  <a:lnTo>
                    <a:pt x="934" y="929"/>
                  </a:lnTo>
                  <a:lnTo>
                    <a:pt x="935" y="934"/>
                  </a:lnTo>
                  <a:lnTo>
                    <a:pt x="935" y="940"/>
                  </a:lnTo>
                  <a:lnTo>
                    <a:pt x="935" y="947"/>
                  </a:lnTo>
                  <a:lnTo>
                    <a:pt x="880" y="1138"/>
                  </a:lnTo>
                  <a:lnTo>
                    <a:pt x="1174" y="917"/>
                  </a:lnTo>
                  <a:lnTo>
                    <a:pt x="1178" y="915"/>
                  </a:lnTo>
                  <a:lnTo>
                    <a:pt x="1182" y="914"/>
                  </a:lnTo>
                  <a:lnTo>
                    <a:pt x="1185" y="913"/>
                  </a:lnTo>
                  <a:lnTo>
                    <a:pt x="1190" y="912"/>
                  </a:lnTo>
                  <a:lnTo>
                    <a:pt x="1288" y="912"/>
                  </a:lnTo>
                  <a:lnTo>
                    <a:pt x="1300" y="912"/>
                  </a:lnTo>
                  <a:lnTo>
                    <a:pt x="1310" y="910"/>
                  </a:lnTo>
                  <a:lnTo>
                    <a:pt x="1320" y="907"/>
                  </a:lnTo>
                  <a:lnTo>
                    <a:pt x="1330" y="904"/>
                  </a:lnTo>
                  <a:lnTo>
                    <a:pt x="1340" y="899"/>
                  </a:lnTo>
                  <a:lnTo>
                    <a:pt x="1349" y="894"/>
                  </a:lnTo>
                  <a:lnTo>
                    <a:pt x="1357" y="888"/>
                  </a:lnTo>
                  <a:lnTo>
                    <a:pt x="1365" y="880"/>
                  </a:lnTo>
                  <a:lnTo>
                    <a:pt x="1371" y="874"/>
                  </a:lnTo>
                  <a:lnTo>
                    <a:pt x="1377" y="865"/>
                  </a:lnTo>
                  <a:lnTo>
                    <a:pt x="1383" y="856"/>
                  </a:lnTo>
                  <a:lnTo>
                    <a:pt x="1387" y="847"/>
                  </a:lnTo>
                  <a:lnTo>
                    <a:pt x="1391" y="837"/>
                  </a:lnTo>
                  <a:lnTo>
                    <a:pt x="1394" y="827"/>
                  </a:lnTo>
                  <a:lnTo>
                    <a:pt x="1395" y="817"/>
                  </a:lnTo>
                  <a:lnTo>
                    <a:pt x="1396" y="805"/>
                  </a:lnTo>
                  <a:lnTo>
                    <a:pt x="1396" y="161"/>
                  </a:lnTo>
                  <a:lnTo>
                    <a:pt x="1395" y="151"/>
                  </a:lnTo>
                  <a:lnTo>
                    <a:pt x="1394" y="139"/>
                  </a:lnTo>
                  <a:lnTo>
                    <a:pt x="1391" y="129"/>
                  </a:lnTo>
                  <a:lnTo>
                    <a:pt x="1387" y="119"/>
                  </a:lnTo>
                  <a:lnTo>
                    <a:pt x="1383" y="110"/>
                  </a:lnTo>
                  <a:lnTo>
                    <a:pt x="1377" y="101"/>
                  </a:lnTo>
                  <a:lnTo>
                    <a:pt x="1371" y="93"/>
                  </a:lnTo>
                  <a:lnTo>
                    <a:pt x="1365" y="86"/>
                  </a:lnTo>
                  <a:lnTo>
                    <a:pt x="1357" y="79"/>
                  </a:lnTo>
                  <a:lnTo>
                    <a:pt x="1349" y="72"/>
                  </a:lnTo>
                  <a:lnTo>
                    <a:pt x="1340" y="66"/>
                  </a:lnTo>
                  <a:lnTo>
                    <a:pt x="1330" y="62"/>
                  </a:lnTo>
                  <a:lnTo>
                    <a:pt x="1320" y="59"/>
                  </a:lnTo>
                  <a:lnTo>
                    <a:pt x="1310" y="56"/>
                  </a:lnTo>
                  <a:lnTo>
                    <a:pt x="1300" y="54"/>
                  </a:lnTo>
                  <a:lnTo>
                    <a:pt x="1288" y="54"/>
                  </a:lnTo>
                  <a:lnTo>
                    <a:pt x="162" y="54"/>
                  </a:lnTo>
                  <a:close/>
                  <a:moveTo>
                    <a:pt x="832" y="1235"/>
                  </a:moveTo>
                  <a:lnTo>
                    <a:pt x="829" y="1234"/>
                  </a:lnTo>
                  <a:lnTo>
                    <a:pt x="824" y="1234"/>
                  </a:lnTo>
                  <a:lnTo>
                    <a:pt x="821" y="1231"/>
                  </a:lnTo>
                  <a:lnTo>
                    <a:pt x="818" y="1229"/>
                  </a:lnTo>
                  <a:lnTo>
                    <a:pt x="814" y="1227"/>
                  </a:lnTo>
                  <a:lnTo>
                    <a:pt x="811" y="1224"/>
                  </a:lnTo>
                  <a:lnTo>
                    <a:pt x="809" y="1220"/>
                  </a:lnTo>
                  <a:lnTo>
                    <a:pt x="808" y="1217"/>
                  </a:lnTo>
                  <a:lnTo>
                    <a:pt x="806" y="1212"/>
                  </a:lnTo>
                  <a:lnTo>
                    <a:pt x="805" y="1209"/>
                  </a:lnTo>
                  <a:lnTo>
                    <a:pt x="805" y="1204"/>
                  </a:lnTo>
                  <a:lnTo>
                    <a:pt x="806" y="1200"/>
                  </a:lnTo>
                  <a:lnTo>
                    <a:pt x="874" y="966"/>
                  </a:lnTo>
                  <a:lnTo>
                    <a:pt x="162" y="966"/>
                  </a:lnTo>
                  <a:lnTo>
                    <a:pt x="145" y="966"/>
                  </a:lnTo>
                  <a:lnTo>
                    <a:pt x="129" y="962"/>
                  </a:lnTo>
                  <a:lnTo>
                    <a:pt x="114" y="959"/>
                  </a:lnTo>
                  <a:lnTo>
                    <a:pt x="99" y="953"/>
                  </a:lnTo>
                  <a:lnTo>
                    <a:pt x="86" y="947"/>
                  </a:lnTo>
                  <a:lnTo>
                    <a:pt x="72" y="939"/>
                  </a:lnTo>
                  <a:lnTo>
                    <a:pt x="60" y="929"/>
                  </a:lnTo>
                  <a:lnTo>
                    <a:pt x="49" y="919"/>
                  </a:lnTo>
                  <a:lnTo>
                    <a:pt x="37" y="907"/>
                  </a:lnTo>
                  <a:lnTo>
                    <a:pt x="28" y="895"/>
                  </a:lnTo>
                  <a:lnTo>
                    <a:pt x="21" y="882"/>
                  </a:lnTo>
                  <a:lnTo>
                    <a:pt x="14" y="868"/>
                  </a:lnTo>
                  <a:lnTo>
                    <a:pt x="8" y="852"/>
                  </a:lnTo>
                  <a:lnTo>
                    <a:pt x="4" y="838"/>
                  </a:lnTo>
                  <a:lnTo>
                    <a:pt x="2" y="821"/>
                  </a:lnTo>
                  <a:lnTo>
                    <a:pt x="0" y="805"/>
                  </a:lnTo>
                  <a:lnTo>
                    <a:pt x="0" y="161"/>
                  </a:lnTo>
                  <a:lnTo>
                    <a:pt x="2" y="145"/>
                  </a:lnTo>
                  <a:lnTo>
                    <a:pt x="4" y="129"/>
                  </a:lnTo>
                  <a:lnTo>
                    <a:pt x="8" y="114"/>
                  </a:lnTo>
                  <a:lnTo>
                    <a:pt x="14" y="99"/>
                  </a:lnTo>
                  <a:lnTo>
                    <a:pt x="21" y="84"/>
                  </a:lnTo>
                  <a:lnTo>
                    <a:pt x="28" y="71"/>
                  </a:lnTo>
                  <a:lnTo>
                    <a:pt x="37" y="59"/>
                  </a:lnTo>
                  <a:lnTo>
                    <a:pt x="49" y="47"/>
                  </a:lnTo>
                  <a:lnTo>
                    <a:pt x="60" y="37"/>
                  </a:lnTo>
                  <a:lnTo>
                    <a:pt x="72" y="27"/>
                  </a:lnTo>
                  <a:lnTo>
                    <a:pt x="86" y="19"/>
                  </a:lnTo>
                  <a:lnTo>
                    <a:pt x="99" y="13"/>
                  </a:lnTo>
                  <a:lnTo>
                    <a:pt x="114" y="7"/>
                  </a:lnTo>
                  <a:lnTo>
                    <a:pt x="129" y="4"/>
                  </a:lnTo>
                  <a:lnTo>
                    <a:pt x="145" y="1"/>
                  </a:lnTo>
                  <a:lnTo>
                    <a:pt x="162" y="0"/>
                  </a:lnTo>
                  <a:lnTo>
                    <a:pt x="1288" y="0"/>
                  </a:lnTo>
                  <a:lnTo>
                    <a:pt x="1305" y="1"/>
                  </a:lnTo>
                  <a:lnTo>
                    <a:pt x="1321" y="4"/>
                  </a:lnTo>
                  <a:lnTo>
                    <a:pt x="1337" y="7"/>
                  </a:lnTo>
                  <a:lnTo>
                    <a:pt x="1351" y="13"/>
                  </a:lnTo>
                  <a:lnTo>
                    <a:pt x="1365" y="19"/>
                  </a:lnTo>
                  <a:lnTo>
                    <a:pt x="1378" y="27"/>
                  </a:lnTo>
                  <a:lnTo>
                    <a:pt x="1391" y="37"/>
                  </a:lnTo>
                  <a:lnTo>
                    <a:pt x="1402" y="47"/>
                  </a:lnTo>
                  <a:lnTo>
                    <a:pt x="1413" y="59"/>
                  </a:lnTo>
                  <a:lnTo>
                    <a:pt x="1422" y="71"/>
                  </a:lnTo>
                  <a:lnTo>
                    <a:pt x="1430" y="84"/>
                  </a:lnTo>
                  <a:lnTo>
                    <a:pt x="1436" y="99"/>
                  </a:lnTo>
                  <a:lnTo>
                    <a:pt x="1442" y="114"/>
                  </a:lnTo>
                  <a:lnTo>
                    <a:pt x="1447" y="129"/>
                  </a:lnTo>
                  <a:lnTo>
                    <a:pt x="1449" y="145"/>
                  </a:lnTo>
                  <a:lnTo>
                    <a:pt x="1450" y="161"/>
                  </a:lnTo>
                  <a:lnTo>
                    <a:pt x="1450" y="805"/>
                  </a:lnTo>
                  <a:lnTo>
                    <a:pt x="1449" y="821"/>
                  </a:lnTo>
                  <a:lnTo>
                    <a:pt x="1447" y="838"/>
                  </a:lnTo>
                  <a:lnTo>
                    <a:pt x="1442" y="852"/>
                  </a:lnTo>
                  <a:lnTo>
                    <a:pt x="1436" y="868"/>
                  </a:lnTo>
                  <a:lnTo>
                    <a:pt x="1430" y="882"/>
                  </a:lnTo>
                  <a:lnTo>
                    <a:pt x="1422" y="895"/>
                  </a:lnTo>
                  <a:lnTo>
                    <a:pt x="1413" y="907"/>
                  </a:lnTo>
                  <a:lnTo>
                    <a:pt x="1402" y="919"/>
                  </a:lnTo>
                  <a:lnTo>
                    <a:pt x="1391" y="929"/>
                  </a:lnTo>
                  <a:lnTo>
                    <a:pt x="1378" y="939"/>
                  </a:lnTo>
                  <a:lnTo>
                    <a:pt x="1365" y="947"/>
                  </a:lnTo>
                  <a:lnTo>
                    <a:pt x="1351" y="953"/>
                  </a:lnTo>
                  <a:lnTo>
                    <a:pt x="1337" y="959"/>
                  </a:lnTo>
                  <a:lnTo>
                    <a:pt x="1321" y="962"/>
                  </a:lnTo>
                  <a:lnTo>
                    <a:pt x="1305" y="966"/>
                  </a:lnTo>
                  <a:lnTo>
                    <a:pt x="1288" y="966"/>
                  </a:lnTo>
                  <a:lnTo>
                    <a:pt x="1199" y="966"/>
                  </a:lnTo>
                  <a:lnTo>
                    <a:pt x="849" y="1229"/>
                  </a:lnTo>
                  <a:lnTo>
                    <a:pt x="845" y="1231"/>
                  </a:lnTo>
                  <a:lnTo>
                    <a:pt x="841" y="1232"/>
                  </a:lnTo>
                  <a:lnTo>
                    <a:pt x="837" y="1234"/>
                  </a:lnTo>
                  <a:lnTo>
                    <a:pt x="832" y="1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20">
              <a:extLst>
                <a:ext uri="{FF2B5EF4-FFF2-40B4-BE49-F238E27FC236}">
                  <a16:creationId xmlns:a16="http://schemas.microsoft.com/office/drawing/2014/main" id="{272A0230-7BB5-4B78-9118-87A8A3E6CB6B}"/>
                </a:ext>
              </a:extLst>
            </p:cNvPr>
            <p:cNvSpPr>
              <a:spLocks noEditPoints="1"/>
            </p:cNvSpPr>
            <p:nvPr/>
          </p:nvSpPr>
          <p:spPr bwMode="auto">
            <a:xfrm>
              <a:off x="5561013" y="3286125"/>
              <a:ext cx="63500" cy="63500"/>
            </a:xfrm>
            <a:custGeom>
              <a:avLst/>
              <a:gdLst>
                <a:gd name="T0" fmla="*/ 75 w 161"/>
                <a:gd name="T1" fmla="*/ 54 h 160"/>
                <a:gd name="T2" fmla="*/ 65 w 161"/>
                <a:gd name="T3" fmla="*/ 58 h 160"/>
                <a:gd name="T4" fmla="*/ 59 w 161"/>
                <a:gd name="T5" fmla="*/ 65 h 160"/>
                <a:gd name="T6" fmla="*/ 54 w 161"/>
                <a:gd name="T7" fmla="*/ 75 h 160"/>
                <a:gd name="T8" fmla="*/ 54 w 161"/>
                <a:gd name="T9" fmla="*/ 85 h 160"/>
                <a:gd name="T10" fmla="*/ 59 w 161"/>
                <a:gd name="T11" fmla="*/ 95 h 160"/>
                <a:gd name="T12" fmla="*/ 65 w 161"/>
                <a:gd name="T13" fmla="*/ 102 h 160"/>
                <a:gd name="T14" fmla="*/ 75 w 161"/>
                <a:gd name="T15" fmla="*/ 106 h 160"/>
                <a:gd name="T16" fmla="*/ 86 w 161"/>
                <a:gd name="T17" fmla="*/ 106 h 160"/>
                <a:gd name="T18" fmla="*/ 96 w 161"/>
                <a:gd name="T19" fmla="*/ 102 h 160"/>
                <a:gd name="T20" fmla="*/ 102 w 161"/>
                <a:gd name="T21" fmla="*/ 95 h 160"/>
                <a:gd name="T22" fmla="*/ 107 w 161"/>
                <a:gd name="T23" fmla="*/ 85 h 160"/>
                <a:gd name="T24" fmla="*/ 107 w 161"/>
                <a:gd name="T25" fmla="*/ 75 h 160"/>
                <a:gd name="T26" fmla="*/ 102 w 161"/>
                <a:gd name="T27" fmla="*/ 65 h 160"/>
                <a:gd name="T28" fmla="*/ 96 w 161"/>
                <a:gd name="T29" fmla="*/ 58 h 160"/>
                <a:gd name="T30" fmla="*/ 86 w 161"/>
                <a:gd name="T31" fmla="*/ 54 h 160"/>
                <a:gd name="T32" fmla="*/ 80 w 161"/>
                <a:gd name="T33" fmla="*/ 160 h 160"/>
                <a:gd name="T34" fmla="*/ 64 w 161"/>
                <a:gd name="T35" fmla="*/ 159 h 160"/>
                <a:gd name="T36" fmla="*/ 49 w 161"/>
                <a:gd name="T37" fmla="*/ 154 h 160"/>
                <a:gd name="T38" fmla="*/ 35 w 161"/>
                <a:gd name="T39" fmla="*/ 147 h 160"/>
                <a:gd name="T40" fmla="*/ 24 w 161"/>
                <a:gd name="T41" fmla="*/ 136 h 160"/>
                <a:gd name="T42" fmla="*/ 14 w 161"/>
                <a:gd name="T43" fmla="*/ 125 h 160"/>
                <a:gd name="T44" fmla="*/ 6 w 161"/>
                <a:gd name="T45" fmla="*/ 111 h 160"/>
                <a:gd name="T46" fmla="*/ 1 w 161"/>
                <a:gd name="T47" fmla="*/ 96 h 160"/>
                <a:gd name="T48" fmla="*/ 0 w 161"/>
                <a:gd name="T49" fmla="*/ 80 h 160"/>
                <a:gd name="T50" fmla="*/ 1 w 161"/>
                <a:gd name="T51" fmla="*/ 64 h 160"/>
                <a:gd name="T52" fmla="*/ 6 w 161"/>
                <a:gd name="T53" fmla="*/ 49 h 160"/>
                <a:gd name="T54" fmla="*/ 14 w 161"/>
                <a:gd name="T55" fmla="*/ 34 h 160"/>
                <a:gd name="T56" fmla="*/ 24 w 161"/>
                <a:gd name="T57" fmla="*/ 23 h 160"/>
                <a:gd name="T58" fmla="*/ 35 w 161"/>
                <a:gd name="T59" fmla="*/ 13 h 160"/>
                <a:gd name="T60" fmla="*/ 49 w 161"/>
                <a:gd name="T61" fmla="*/ 5 h 160"/>
                <a:gd name="T62" fmla="*/ 64 w 161"/>
                <a:gd name="T63" fmla="*/ 1 h 160"/>
                <a:gd name="T64" fmla="*/ 80 w 161"/>
                <a:gd name="T65" fmla="*/ 0 h 160"/>
                <a:gd name="T66" fmla="*/ 97 w 161"/>
                <a:gd name="T67" fmla="*/ 1 h 160"/>
                <a:gd name="T68" fmla="*/ 111 w 161"/>
                <a:gd name="T69" fmla="*/ 5 h 160"/>
                <a:gd name="T70" fmla="*/ 125 w 161"/>
                <a:gd name="T71" fmla="*/ 13 h 160"/>
                <a:gd name="T72" fmla="*/ 137 w 161"/>
                <a:gd name="T73" fmla="*/ 23 h 160"/>
                <a:gd name="T74" fmla="*/ 147 w 161"/>
                <a:gd name="T75" fmla="*/ 34 h 160"/>
                <a:gd name="T76" fmla="*/ 155 w 161"/>
                <a:gd name="T77" fmla="*/ 49 h 160"/>
                <a:gd name="T78" fmla="*/ 159 w 161"/>
                <a:gd name="T79" fmla="*/ 64 h 160"/>
                <a:gd name="T80" fmla="*/ 161 w 161"/>
                <a:gd name="T81" fmla="*/ 80 h 160"/>
                <a:gd name="T82" fmla="*/ 159 w 161"/>
                <a:gd name="T83" fmla="*/ 96 h 160"/>
                <a:gd name="T84" fmla="*/ 155 w 161"/>
                <a:gd name="T85" fmla="*/ 111 h 160"/>
                <a:gd name="T86" fmla="*/ 147 w 161"/>
                <a:gd name="T87" fmla="*/ 125 h 160"/>
                <a:gd name="T88" fmla="*/ 137 w 161"/>
                <a:gd name="T89" fmla="*/ 136 h 160"/>
                <a:gd name="T90" fmla="*/ 125 w 161"/>
                <a:gd name="T91" fmla="*/ 147 h 160"/>
                <a:gd name="T92" fmla="*/ 111 w 161"/>
                <a:gd name="T93" fmla="*/ 154 h 160"/>
                <a:gd name="T94" fmla="*/ 97 w 161"/>
                <a:gd name="T95" fmla="*/ 159 h 160"/>
                <a:gd name="T96" fmla="*/ 80 w 161"/>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60">
                  <a:moveTo>
                    <a:pt x="80" y="54"/>
                  </a:moveTo>
                  <a:lnTo>
                    <a:pt x="75" y="54"/>
                  </a:lnTo>
                  <a:lnTo>
                    <a:pt x="70" y="55"/>
                  </a:lnTo>
                  <a:lnTo>
                    <a:pt x="65" y="58"/>
                  </a:lnTo>
                  <a:lnTo>
                    <a:pt x="61" y="61"/>
                  </a:lnTo>
                  <a:lnTo>
                    <a:pt x="59" y="65"/>
                  </a:lnTo>
                  <a:lnTo>
                    <a:pt x="55" y="69"/>
                  </a:lnTo>
                  <a:lnTo>
                    <a:pt x="54" y="75"/>
                  </a:lnTo>
                  <a:lnTo>
                    <a:pt x="53" y="80"/>
                  </a:lnTo>
                  <a:lnTo>
                    <a:pt x="54" y="85"/>
                  </a:lnTo>
                  <a:lnTo>
                    <a:pt x="55" y="91"/>
                  </a:lnTo>
                  <a:lnTo>
                    <a:pt x="59" y="95"/>
                  </a:lnTo>
                  <a:lnTo>
                    <a:pt x="61" y="98"/>
                  </a:lnTo>
                  <a:lnTo>
                    <a:pt x="65" y="102"/>
                  </a:lnTo>
                  <a:lnTo>
                    <a:pt x="70" y="105"/>
                  </a:lnTo>
                  <a:lnTo>
                    <a:pt x="75" y="106"/>
                  </a:lnTo>
                  <a:lnTo>
                    <a:pt x="80" y="106"/>
                  </a:lnTo>
                  <a:lnTo>
                    <a:pt x="86" y="106"/>
                  </a:lnTo>
                  <a:lnTo>
                    <a:pt x="91" y="105"/>
                  </a:lnTo>
                  <a:lnTo>
                    <a:pt x="96" y="102"/>
                  </a:lnTo>
                  <a:lnTo>
                    <a:pt x="99" y="98"/>
                  </a:lnTo>
                  <a:lnTo>
                    <a:pt x="102" y="95"/>
                  </a:lnTo>
                  <a:lnTo>
                    <a:pt x="105" y="91"/>
                  </a:lnTo>
                  <a:lnTo>
                    <a:pt x="107" y="85"/>
                  </a:lnTo>
                  <a:lnTo>
                    <a:pt x="107" y="80"/>
                  </a:lnTo>
                  <a:lnTo>
                    <a:pt x="107" y="75"/>
                  </a:lnTo>
                  <a:lnTo>
                    <a:pt x="105" y="69"/>
                  </a:lnTo>
                  <a:lnTo>
                    <a:pt x="102" y="65"/>
                  </a:lnTo>
                  <a:lnTo>
                    <a:pt x="99" y="61"/>
                  </a:lnTo>
                  <a:lnTo>
                    <a:pt x="96" y="58"/>
                  </a:lnTo>
                  <a:lnTo>
                    <a:pt x="91" y="55"/>
                  </a:lnTo>
                  <a:lnTo>
                    <a:pt x="86" y="54"/>
                  </a:lnTo>
                  <a:lnTo>
                    <a:pt x="80" y="54"/>
                  </a:lnTo>
                  <a:close/>
                  <a:moveTo>
                    <a:pt x="80" y="160"/>
                  </a:moveTo>
                  <a:lnTo>
                    <a:pt x="72" y="160"/>
                  </a:lnTo>
                  <a:lnTo>
                    <a:pt x="64" y="159"/>
                  </a:lnTo>
                  <a:lnTo>
                    <a:pt x="56" y="157"/>
                  </a:lnTo>
                  <a:lnTo>
                    <a:pt x="49" y="154"/>
                  </a:lnTo>
                  <a:lnTo>
                    <a:pt x="42" y="151"/>
                  </a:lnTo>
                  <a:lnTo>
                    <a:pt x="35" y="147"/>
                  </a:lnTo>
                  <a:lnTo>
                    <a:pt x="29" y="142"/>
                  </a:lnTo>
                  <a:lnTo>
                    <a:pt x="24" y="136"/>
                  </a:lnTo>
                  <a:lnTo>
                    <a:pt x="18" y="131"/>
                  </a:lnTo>
                  <a:lnTo>
                    <a:pt x="14" y="125"/>
                  </a:lnTo>
                  <a:lnTo>
                    <a:pt x="9" y="119"/>
                  </a:lnTo>
                  <a:lnTo>
                    <a:pt x="6" y="111"/>
                  </a:lnTo>
                  <a:lnTo>
                    <a:pt x="4" y="104"/>
                  </a:lnTo>
                  <a:lnTo>
                    <a:pt x="1" y="96"/>
                  </a:lnTo>
                  <a:lnTo>
                    <a:pt x="0" y="88"/>
                  </a:lnTo>
                  <a:lnTo>
                    <a:pt x="0" y="80"/>
                  </a:lnTo>
                  <a:lnTo>
                    <a:pt x="0" y="71"/>
                  </a:lnTo>
                  <a:lnTo>
                    <a:pt x="1" y="64"/>
                  </a:lnTo>
                  <a:lnTo>
                    <a:pt x="4" y="56"/>
                  </a:lnTo>
                  <a:lnTo>
                    <a:pt x="6" y="49"/>
                  </a:lnTo>
                  <a:lnTo>
                    <a:pt x="9" y="41"/>
                  </a:lnTo>
                  <a:lnTo>
                    <a:pt x="14" y="34"/>
                  </a:lnTo>
                  <a:lnTo>
                    <a:pt x="18" y="29"/>
                  </a:lnTo>
                  <a:lnTo>
                    <a:pt x="24" y="23"/>
                  </a:lnTo>
                  <a:lnTo>
                    <a:pt x="29" y="18"/>
                  </a:lnTo>
                  <a:lnTo>
                    <a:pt x="35" y="13"/>
                  </a:lnTo>
                  <a:lnTo>
                    <a:pt x="42" y="9"/>
                  </a:lnTo>
                  <a:lnTo>
                    <a:pt x="49" y="5"/>
                  </a:lnTo>
                  <a:lnTo>
                    <a:pt x="56" y="3"/>
                  </a:lnTo>
                  <a:lnTo>
                    <a:pt x="64" y="1"/>
                  </a:lnTo>
                  <a:lnTo>
                    <a:pt x="72" y="0"/>
                  </a:lnTo>
                  <a:lnTo>
                    <a:pt x="80" y="0"/>
                  </a:lnTo>
                  <a:lnTo>
                    <a:pt x="89" y="0"/>
                  </a:lnTo>
                  <a:lnTo>
                    <a:pt x="97" y="1"/>
                  </a:lnTo>
                  <a:lnTo>
                    <a:pt x="105" y="3"/>
                  </a:lnTo>
                  <a:lnTo>
                    <a:pt x="111" y="5"/>
                  </a:lnTo>
                  <a:lnTo>
                    <a:pt x="119" y="9"/>
                  </a:lnTo>
                  <a:lnTo>
                    <a:pt x="125" y="13"/>
                  </a:lnTo>
                  <a:lnTo>
                    <a:pt x="131" y="18"/>
                  </a:lnTo>
                  <a:lnTo>
                    <a:pt x="137" y="23"/>
                  </a:lnTo>
                  <a:lnTo>
                    <a:pt x="143" y="29"/>
                  </a:lnTo>
                  <a:lnTo>
                    <a:pt x="147" y="34"/>
                  </a:lnTo>
                  <a:lnTo>
                    <a:pt x="151" y="41"/>
                  </a:lnTo>
                  <a:lnTo>
                    <a:pt x="155" y="49"/>
                  </a:lnTo>
                  <a:lnTo>
                    <a:pt x="157" y="56"/>
                  </a:lnTo>
                  <a:lnTo>
                    <a:pt x="159" y="64"/>
                  </a:lnTo>
                  <a:lnTo>
                    <a:pt x="161" y="71"/>
                  </a:lnTo>
                  <a:lnTo>
                    <a:pt x="161" y="80"/>
                  </a:lnTo>
                  <a:lnTo>
                    <a:pt x="161" y="88"/>
                  </a:lnTo>
                  <a:lnTo>
                    <a:pt x="159" y="96"/>
                  </a:lnTo>
                  <a:lnTo>
                    <a:pt x="157" y="104"/>
                  </a:lnTo>
                  <a:lnTo>
                    <a:pt x="155" y="111"/>
                  </a:lnTo>
                  <a:lnTo>
                    <a:pt x="151" y="119"/>
                  </a:lnTo>
                  <a:lnTo>
                    <a:pt x="147" y="125"/>
                  </a:lnTo>
                  <a:lnTo>
                    <a:pt x="143" y="131"/>
                  </a:lnTo>
                  <a:lnTo>
                    <a:pt x="137" y="136"/>
                  </a:lnTo>
                  <a:lnTo>
                    <a:pt x="131" y="142"/>
                  </a:lnTo>
                  <a:lnTo>
                    <a:pt x="125" y="147"/>
                  </a:lnTo>
                  <a:lnTo>
                    <a:pt x="119" y="151"/>
                  </a:lnTo>
                  <a:lnTo>
                    <a:pt x="111" y="154"/>
                  </a:lnTo>
                  <a:lnTo>
                    <a:pt x="105" y="157"/>
                  </a:lnTo>
                  <a:lnTo>
                    <a:pt x="97" y="159"/>
                  </a:lnTo>
                  <a:lnTo>
                    <a:pt x="89" y="160"/>
                  </a:lnTo>
                  <a:lnTo>
                    <a:pt x="8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21">
              <a:extLst>
                <a:ext uri="{FF2B5EF4-FFF2-40B4-BE49-F238E27FC236}">
                  <a16:creationId xmlns:a16="http://schemas.microsoft.com/office/drawing/2014/main" id="{412AC8ED-FD0C-4CE8-B43B-80C60CAD9D70}"/>
                </a:ext>
              </a:extLst>
            </p:cNvPr>
            <p:cNvSpPr>
              <a:spLocks noEditPoints="1"/>
            </p:cNvSpPr>
            <p:nvPr/>
          </p:nvSpPr>
          <p:spPr bwMode="auto">
            <a:xfrm>
              <a:off x="5688013" y="3286125"/>
              <a:ext cx="63500" cy="63500"/>
            </a:xfrm>
            <a:custGeom>
              <a:avLst/>
              <a:gdLst>
                <a:gd name="T0" fmla="*/ 75 w 160"/>
                <a:gd name="T1" fmla="*/ 54 h 160"/>
                <a:gd name="T2" fmla="*/ 65 w 160"/>
                <a:gd name="T3" fmla="*/ 58 h 160"/>
                <a:gd name="T4" fmla="*/ 58 w 160"/>
                <a:gd name="T5" fmla="*/ 65 h 160"/>
                <a:gd name="T6" fmla="*/ 54 w 160"/>
                <a:gd name="T7" fmla="*/ 75 h 160"/>
                <a:gd name="T8" fmla="*/ 54 w 160"/>
                <a:gd name="T9" fmla="*/ 85 h 160"/>
                <a:gd name="T10" fmla="*/ 58 w 160"/>
                <a:gd name="T11" fmla="*/ 95 h 160"/>
                <a:gd name="T12" fmla="*/ 65 w 160"/>
                <a:gd name="T13" fmla="*/ 102 h 160"/>
                <a:gd name="T14" fmla="*/ 75 w 160"/>
                <a:gd name="T15" fmla="*/ 106 h 160"/>
                <a:gd name="T16" fmla="*/ 85 w 160"/>
                <a:gd name="T17" fmla="*/ 106 h 160"/>
                <a:gd name="T18" fmla="*/ 95 w 160"/>
                <a:gd name="T19" fmla="*/ 102 h 160"/>
                <a:gd name="T20" fmla="*/ 102 w 160"/>
                <a:gd name="T21" fmla="*/ 95 h 160"/>
                <a:gd name="T22" fmla="*/ 107 w 160"/>
                <a:gd name="T23" fmla="*/ 85 h 160"/>
                <a:gd name="T24" fmla="*/ 107 w 160"/>
                <a:gd name="T25" fmla="*/ 75 h 160"/>
                <a:gd name="T26" fmla="*/ 102 w 160"/>
                <a:gd name="T27" fmla="*/ 65 h 160"/>
                <a:gd name="T28" fmla="*/ 95 w 160"/>
                <a:gd name="T29" fmla="*/ 58 h 160"/>
                <a:gd name="T30" fmla="*/ 85 w 160"/>
                <a:gd name="T31" fmla="*/ 54 h 160"/>
                <a:gd name="T32" fmla="*/ 81 w 160"/>
                <a:gd name="T33" fmla="*/ 160 h 160"/>
                <a:gd name="T34" fmla="*/ 64 w 160"/>
                <a:gd name="T35" fmla="*/ 159 h 160"/>
                <a:gd name="T36" fmla="*/ 49 w 160"/>
                <a:gd name="T37" fmla="*/ 154 h 160"/>
                <a:gd name="T38" fmla="*/ 35 w 160"/>
                <a:gd name="T39" fmla="*/ 147 h 160"/>
                <a:gd name="T40" fmla="*/ 24 w 160"/>
                <a:gd name="T41" fmla="*/ 136 h 160"/>
                <a:gd name="T42" fmla="*/ 13 w 160"/>
                <a:gd name="T43" fmla="*/ 125 h 160"/>
                <a:gd name="T44" fmla="*/ 6 w 160"/>
                <a:gd name="T45" fmla="*/ 111 h 160"/>
                <a:gd name="T46" fmla="*/ 1 w 160"/>
                <a:gd name="T47" fmla="*/ 96 h 160"/>
                <a:gd name="T48" fmla="*/ 0 w 160"/>
                <a:gd name="T49" fmla="*/ 80 h 160"/>
                <a:gd name="T50" fmla="*/ 1 w 160"/>
                <a:gd name="T51" fmla="*/ 64 h 160"/>
                <a:gd name="T52" fmla="*/ 6 w 160"/>
                <a:gd name="T53" fmla="*/ 49 h 160"/>
                <a:gd name="T54" fmla="*/ 13 w 160"/>
                <a:gd name="T55" fmla="*/ 34 h 160"/>
                <a:gd name="T56" fmla="*/ 24 w 160"/>
                <a:gd name="T57" fmla="*/ 23 h 160"/>
                <a:gd name="T58" fmla="*/ 35 w 160"/>
                <a:gd name="T59" fmla="*/ 13 h 160"/>
                <a:gd name="T60" fmla="*/ 49 w 160"/>
                <a:gd name="T61" fmla="*/ 5 h 160"/>
                <a:gd name="T62" fmla="*/ 64 w 160"/>
                <a:gd name="T63" fmla="*/ 1 h 160"/>
                <a:gd name="T64" fmla="*/ 81 w 160"/>
                <a:gd name="T65" fmla="*/ 0 h 160"/>
                <a:gd name="T66" fmla="*/ 96 w 160"/>
                <a:gd name="T67" fmla="*/ 1 h 160"/>
                <a:gd name="T68" fmla="*/ 111 w 160"/>
                <a:gd name="T69" fmla="*/ 5 h 160"/>
                <a:gd name="T70" fmla="*/ 126 w 160"/>
                <a:gd name="T71" fmla="*/ 13 h 160"/>
                <a:gd name="T72" fmla="*/ 137 w 160"/>
                <a:gd name="T73" fmla="*/ 23 h 160"/>
                <a:gd name="T74" fmla="*/ 147 w 160"/>
                <a:gd name="T75" fmla="*/ 34 h 160"/>
                <a:gd name="T76" fmla="*/ 155 w 160"/>
                <a:gd name="T77" fmla="*/ 49 h 160"/>
                <a:gd name="T78" fmla="*/ 159 w 160"/>
                <a:gd name="T79" fmla="*/ 64 h 160"/>
                <a:gd name="T80" fmla="*/ 160 w 160"/>
                <a:gd name="T81" fmla="*/ 80 h 160"/>
                <a:gd name="T82" fmla="*/ 159 w 160"/>
                <a:gd name="T83" fmla="*/ 96 h 160"/>
                <a:gd name="T84" fmla="*/ 155 w 160"/>
                <a:gd name="T85" fmla="*/ 111 h 160"/>
                <a:gd name="T86" fmla="*/ 147 w 160"/>
                <a:gd name="T87" fmla="*/ 125 h 160"/>
                <a:gd name="T88" fmla="*/ 137 w 160"/>
                <a:gd name="T89" fmla="*/ 136 h 160"/>
                <a:gd name="T90" fmla="*/ 126 w 160"/>
                <a:gd name="T91" fmla="*/ 147 h 160"/>
                <a:gd name="T92" fmla="*/ 111 w 160"/>
                <a:gd name="T93" fmla="*/ 154 h 160"/>
                <a:gd name="T94" fmla="*/ 96 w 160"/>
                <a:gd name="T95" fmla="*/ 159 h 160"/>
                <a:gd name="T96" fmla="*/ 81 w 160"/>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81" y="54"/>
                  </a:moveTo>
                  <a:lnTo>
                    <a:pt x="75" y="54"/>
                  </a:lnTo>
                  <a:lnTo>
                    <a:pt x="70" y="55"/>
                  </a:lnTo>
                  <a:lnTo>
                    <a:pt x="65" y="58"/>
                  </a:lnTo>
                  <a:lnTo>
                    <a:pt x="62" y="61"/>
                  </a:lnTo>
                  <a:lnTo>
                    <a:pt x="58" y="65"/>
                  </a:lnTo>
                  <a:lnTo>
                    <a:pt x="55" y="69"/>
                  </a:lnTo>
                  <a:lnTo>
                    <a:pt x="54" y="75"/>
                  </a:lnTo>
                  <a:lnTo>
                    <a:pt x="54" y="80"/>
                  </a:lnTo>
                  <a:lnTo>
                    <a:pt x="54" y="85"/>
                  </a:lnTo>
                  <a:lnTo>
                    <a:pt x="55" y="91"/>
                  </a:lnTo>
                  <a:lnTo>
                    <a:pt x="58" y="95"/>
                  </a:lnTo>
                  <a:lnTo>
                    <a:pt x="62" y="98"/>
                  </a:lnTo>
                  <a:lnTo>
                    <a:pt x="65" y="102"/>
                  </a:lnTo>
                  <a:lnTo>
                    <a:pt x="70" y="105"/>
                  </a:lnTo>
                  <a:lnTo>
                    <a:pt x="75" y="106"/>
                  </a:lnTo>
                  <a:lnTo>
                    <a:pt x="81" y="106"/>
                  </a:lnTo>
                  <a:lnTo>
                    <a:pt x="85" y="106"/>
                  </a:lnTo>
                  <a:lnTo>
                    <a:pt x="91" y="105"/>
                  </a:lnTo>
                  <a:lnTo>
                    <a:pt x="95" y="102"/>
                  </a:lnTo>
                  <a:lnTo>
                    <a:pt x="99" y="98"/>
                  </a:lnTo>
                  <a:lnTo>
                    <a:pt x="102" y="95"/>
                  </a:lnTo>
                  <a:lnTo>
                    <a:pt x="105" y="91"/>
                  </a:lnTo>
                  <a:lnTo>
                    <a:pt x="107" y="85"/>
                  </a:lnTo>
                  <a:lnTo>
                    <a:pt x="107" y="80"/>
                  </a:lnTo>
                  <a:lnTo>
                    <a:pt x="107" y="75"/>
                  </a:lnTo>
                  <a:lnTo>
                    <a:pt x="105" y="69"/>
                  </a:lnTo>
                  <a:lnTo>
                    <a:pt x="102" y="65"/>
                  </a:lnTo>
                  <a:lnTo>
                    <a:pt x="99" y="61"/>
                  </a:lnTo>
                  <a:lnTo>
                    <a:pt x="95" y="58"/>
                  </a:lnTo>
                  <a:lnTo>
                    <a:pt x="91" y="55"/>
                  </a:lnTo>
                  <a:lnTo>
                    <a:pt x="85" y="54"/>
                  </a:lnTo>
                  <a:lnTo>
                    <a:pt x="81" y="54"/>
                  </a:lnTo>
                  <a:close/>
                  <a:moveTo>
                    <a:pt x="81" y="160"/>
                  </a:moveTo>
                  <a:lnTo>
                    <a:pt x="72" y="160"/>
                  </a:lnTo>
                  <a:lnTo>
                    <a:pt x="64" y="159"/>
                  </a:lnTo>
                  <a:lnTo>
                    <a:pt x="56" y="157"/>
                  </a:lnTo>
                  <a:lnTo>
                    <a:pt x="49" y="154"/>
                  </a:lnTo>
                  <a:lnTo>
                    <a:pt x="42" y="151"/>
                  </a:lnTo>
                  <a:lnTo>
                    <a:pt x="35" y="147"/>
                  </a:lnTo>
                  <a:lnTo>
                    <a:pt x="29" y="142"/>
                  </a:lnTo>
                  <a:lnTo>
                    <a:pt x="24" y="136"/>
                  </a:lnTo>
                  <a:lnTo>
                    <a:pt x="18" y="131"/>
                  </a:lnTo>
                  <a:lnTo>
                    <a:pt x="13" y="125"/>
                  </a:lnTo>
                  <a:lnTo>
                    <a:pt x="9" y="119"/>
                  </a:lnTo>
                  <a:lnTo>
                    <a:pt x="6" y="111"/>
                  </a:lnTo>
                  <a:lnTo>
                    <a:pt x="3" y="104"/>
                  </a:lnTo>
                  <a:lnTo>
                    <a:pt x="1" y="96"/>
                  </a:lnTo>
                  <a:lnTo>
                    <a:pt x="0" y="88"/>
                  </a:lnTo>
                  <a:lnTo>
                    <a:pt x="0" y="80"/>
                  </a:lnTo>
                  <a:lnTo>
                    <a:pt x="0" y="71"/>
                  </a:lnTo>
                  <a:lnTo>
                    <a:pt x="1" y="64"/>
                  </a:lnTo>
                  <a:lnTo>
                    <a:pt x="3" y="56"/>
                  </a:lnTo>
                  <a:lnTo>
                    <a:pt x="6" y="49"/>
                  </a:lnTo>
                  <a:lnTo>
                    <a:pt x="9" y="41"/>
                  </a:lnTo>
                  <a:lnTo>
                    <a:pt x="13" y="34"/>
                  </a:lnTo>
                  <a:lnTo>
                    <a:pt x="18" y="29"/>
                  </a:lnTo>
                  <a:lnTo>
                    <a:pt x="24" y="23"/>
                  </a:lnTo>
                  <a:lnTo>
                    <a:pt x="29" y="18"/>
                  </a:lnTo>
                  <a:lnTo>
                    <a:pt x="35" y="13"/>
                  </a:lnTo>
                  <a:lnTo>
                    <a:pt x="42" y="9"/>
                  </a:lnTo>
                  <a:lnTo>
                    <a:pt x="49" y="5"/>
                  </a:lnTo>
                  <a:lnTo>
                    <a:pt x="56" y="3"/>
                  </a:lnTo>
                  <a:lnTo>
                    <a:pt x="64" y="1"/>
                  </a:lnTo>
                  <a:lnTo>
                    <a:pt x="72" y="0"/>
                  </a:lnTo>
                  <a:lnTo>
                    <a:pt x="81" y="0"/>
                  </a:lnTo>
                  <a:lnTo>
                    <a:pt x="89" y="0"/>
                  </a:lnTo>
                  <a:lnTo>
                    <a:pt x="96" y="1"/>
                  </a:lnTo>
                  <a:lnTo>
                    <a:pt x="104" y="3"/>
                  </a:lnTo>
                  <a:lnTo>
                    <a:pt x="111" y="5"/>
                  </a:lnTo>
                  <a:lnTo>
                    <a:pt x="119" y="9"/>
                  </a:lnTo>
                  <a:lnTo>
                    <a:pt x="126" y="13"/>
                  </a:lnTo>
                  <a:lnTo>
                    <a:pt x="131" y="18"/>
                  </a:lnTo>
                  <a:lnTo>
                    <a:pt x="137" y="23"/>
                  </a:lnTo>
                  <a:lnTo>
                    <a:pt x="142" y="29"/>
                  </a:lnTo>
                  <a:lnTo>
                    <a:pt x="147" y="34"/>
                  </a:lnTo>
                  <a:lnTo>
                    <a:pt x="151" y="41"/>
                  </a:lnTo>
                  <a:lnTo>
                    <a:pt x="155" y="49"/>
                  </a:lnTo>
                  <a:lnTo>
                    <a:pt x="157" y="56"/>
                  </a:lnTo>
                  <a:lnTo>
                    <a:pt x="159" y="64"/>
                  </a:lnTo>
                  <a:lnTo>
                    <a:pt x="160" y="71"/>
                  </a:lnTo>
                  <a:lnTo>
                    <a:pt x="160" y="80"/>
                  </a:lnTo>
                  <a:lnTo>
                    <a:pt x="160" y="88"/>
                  </a:lnTo>
                  <a:lnTo>
                    <a:pt x="159" y="96"/>
                  </a:lnTo>
                  <a:lnTo>
                    <a:pt x="157" y="104"/>
                  </a:lnTo>
                  <a:lnTo>
                    <a:pt x="155" y="111"/>
                  </a:lnTo>
                  <a:lnTo>
                    <a:pt x="151" y="119"/>
                  </a:lnTo>
                  <a:lnTo>
                    <a:pt x="147" y="125"/>
                  </a:lnTo>
                  <a:lnTo>
                    <a:pt x="142" y="131"/>
                  </a:lnTo>
                  <a:lnTo>
                    <a:pt x="137" y="136"/>
                  </a:lnTo>
                  <a:lnTo>
                    <a:pt x="131" y="142"/>
                  </a:lnTo>
                  <a:lnTo>
                    <a:pt x="126" y="147"/>
                  </a:lnTo>
                  <a:lnTo>
                    <a:pt x="119" y="151"/>
                  </a:lnTo>
                  <a:lnTo>
                    <a:pt x="111" y="154"/>
                  </a:lnTo>
                  <a:lnTo>
                    <a:pt x="104" y="157"/>
                  </a:lnTo>
                  <a:lnTo>
                    <a:pt x="96" y="159"/>
                  </a:lnTo>
                  <a:lnTo>
                    <a:pt x="89" y="160"/>
                  </a:lnTo>
                  <a:lnTo>
                    <a:pt x="81"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22">
              <a:extLst>
                <a:ext uri="{FF2B5EF4-FFF2-40B4-BE49-F238E27FC236}">
                  <a16:creationId xmlns:a16="http://schemas.microsoft.com/office/drawing/2014/main" id="{57B57FE1-7EE7-4FDB-87FD-D250F50288D2}"/>
                </a:ext>
              </a:extLst>
            </p:cNvPr>
            <p:cNvSpPr>
              <a:spLocks noEditPoints="1"/>
            </p:cNvSpPr>
            <p:nvPr/>
          </p:nvSpPr>
          <p:spPr bwMode="auto">
            <a:xfrm>
              <a:off x="5815013" y="3286125"/>
              <a:ext cx="65088" cy="63500"/>
            </a:xfrm>
            <a:custGeom>
              <a:avLst/>
              <a:gdLst>
                <a:gd name="T0" fmla="*/ 75 w 160"/>
                <a:gd name="T1" fmla="*/ 54 h 160"/>
                <a:gd name="T2" fmla="*/ 65 w 160"/>
                <a:gd name="T3" fmla="*/ 58 h 160"/>
                <a:gd name="T4" fmla="*/ 58 w 160"/>
                <a:gd name="T5" fmla="*/ 65 h 160"/>
                <a:gd name="T6" fmla="*/ 54 w 160"/>
                <a:gd name="T7" fmla="*/ 75 h 160"/>
                <a:gd name="T8" fmla="*/ 54 w 160"/>
                <a:gd name="T9" fmla="*/ 85 h 160"/>
                <a:gd name="T10" fmla="*/ 58 w 160"/>
                <a:gd name="T11" fmla="*/ 95 h 160"/>
                <a:gd name="T12" fmla="*/ 65 w 160"/>
                <a:gd name="T13" fmla="*/ 102 h 160"/>
                <a:gd name="T14" fmla="*/ 75 w 160"/>
                <a:gd name="T15" fmla="*/ 106 h 160"/>
                <a:gd name="T16" fmla="*/ 85 w 160"/>
                <a:gd name="T17" fmla="*/ 106 h 160"/>
                <a:gd name="T18" fmla="*/ 95 w 160"/>
                <a:gd name="T19" fmla="*/ 102 h 160"/>
                <a:gd name="T20" fmla="*/ 102 w 160"/>
                <a:gd name="T21" fmla="*/ 95 h 160"/>
                <a:gd name="T22" fmla="*/ 106 w 160"/>
                <a:gd name="T23" fmla="*/ 85 h 160"/>
                <a:gd name="T24" fmla="*/ 106 w 160"/>
                <a:gd name="T25" fmla="*/ 75 h 160"/>
                <a:gd name="T26" fmla="*/ 102 w 160"/>
                <a:gd name="T27" fmla="*/ 65 h 160"/>
                <a:gd name="T28" fmla="*/ 95 w 160"/>
                <a:gd name="T29" fmla="*/ 58 h 160"/>
                <a:gd name="T30" fmla="*/ 85 w 160"/>
                <a:gd name="T31" fmla="*/ 54 h 160"/>
                <a:gd name="T32" fmla="*/ 80 w 160"/>
                <a:gd name="T33" fmla="*/ 160 h 160"/>
                <a:gd name="T34" fmla="*/ 64 w 160"/>
                <a:gd name="T35" fmla="*/ 159 h 160"/>
                <a:gd name="T36" fmla="*/ 49 w 160"/>
                <a:gd name="T37" fmla="*/ 154 h 160"/>
                <a:gd name="T38" fmla="*/ 36 w 160"/>
                <a:gd name="T39" fmla="*/ 147 h 160"/>
                <a:gd name="T40" fmla="*/ 23 w 160"/>
                <a:gd name="T41" fmla="*/ 136 h 160"/>
                <a:gd name="T42" fmla="*/ 13 w 160"/>
                <a:gd name="T43" fmla="*/ 125 h 160"/>
                <a:gd name="T44" fmla="*/ 6 w 160"/>
                <a:gd name="T45" fmla="*/ 111 h 160"/>
                <a:gd name="T46" fmla="*/ 1 w 160"/>
                <a:gd name="T47" fmla="*/ 96 h 160"/>
                <a:gd name="T48" fmla="*/ 0 w 160"/>
                <a:gd name="T49" fmla="*/ 80 h 160"/>
                <a:gd name="T50" fmla="*/ 1 w 160"/>
                <a:gd name="T51" fmla="*/ 64 h 160"/>
                <a:gd name="T52" fmla="*/ 6 w 160"/>
                <a:gd name="T53" fmla="*/ 49 h 160"/>
                <a:gd name="T54" fmla="*/ 13 w 160"/>
                <a:gd name="T55" fmla="*/ 34 h 160"/>
                <a:gd name="T56" fmla="*/ 23 w 160"/>
                <a:gd name="T57" fmla="*/ 23 h 160"/>
                <a:gd name="T58" fmla="*/ 36 w 160"/>
                <a:gd name="T59" fmla="*/ 13 h 160"/>
                <a:gd name="T60" fmla="*/ 49 w 160"/>
                <a:gd name="T61" fmla="*/ 5 h 160"/>
                <a:gd name="T62" fmla="*/ 64 w 160"/>
                <a:gd name="T63" fmla="*/ 1 h 160"/>
                <a:gd name="T64" fmla="*/ 80 w 160"/>
                <a:gd name="T65" fmla="*/ 0 h 160"/>
                <a:gd name="T66" fmla="*/ 96 w 160"/>
                <a:gd name="T67" fmla="*/ 1 h 160"/>
                <a:gd name="T68" fmla="*/ 112 w 160"/>
                <a:gd name="T69" fmla="*/ 5 h 160"/>
                <a:gd name="T70" fmla="*/ 125 w 160"/>
                <a:gd name="T71" fmla="*/ 13 h 160"/>
                <a:gd name="T72" fmla="*/ 137 w 160"/>
                <a:gd name="T73" fmla="*/ 23 h 160"/>
                <a:gd name="T74" fmla="*/ 147 w 160"/>
                <a:gd name="T75" fmla="*/ 34 h 160"/>
                <a:gd name="T76" fmla="*/ 154 w 160"/>
                <a:gd name="T77" fmla="*/ 49 h 160"/>
                <a:gd name="T78" fmla="*/ 159 w 160"/>
                <a:gd name="T79" fmla="*/ 64 h 160"/>
                <a:gd name="T80" fmla="*/ 160 w 160"/>
                <a:gd name="T81" fmla="*/ 80 h 160"/>
                <a:gd name="T82" fmla="*/ 159 w 160"/>
                <a:gd name="T83" fmla="*/ 96 h 160"/>
                <a:gd name="T84" fmla="*/ 154 w 160"/>
                <a:gd name="T85" fmla="*/ 111 h 160"/>
                <a:gd name="T86" fmla="*/ 147 w 160"/>
                <a:gd name="T87" fmla="*/ 125 h 160"/>
                <a:gd name="T88" fmla="*/ 137 w 160"/>
                <a:gd name="T89" fmla="*/ 136 h 160"/>
                <a:gd name="T90" fmla="*/ 125 w 160"/>
                <a:gd name="T91" fmla="*/ 147 h 160"/>
                <a:gd name="T92" fmla="*/ 112 w 160"/>
                <a:gd name="T93" fmla="*/ 154 h 160"/>
                <a:gd name="T94" fmla="*/ 96 w 160"/>
                <a:gd name="T95" fmla="*/ 159 h 160"/>
                <a:gd name="T96" fmla="*/ 80 w 160"/>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80" y="54"/>
                  </a:moveTo>
                  <a:lnTo>
                    <a:pt x="75" y="54"/>
                  </a:lnTo>
                  <a:lnTo>
                    <a:pt x="69" y="55"/>
                  </a:lnTo>
                  <a:lnTo>
                    <a:pt x="65" y="58"/>
                  </a:lnTo>
                  <a:lnTo>
                    <a:pt x="61" y="61"/>
                  </a:lnTo>
                  <a:lnTo>
                    <a:pt x="58" y="65"/>
                  </a:lnTo>
                  <a:lnTo>
                    <a:pt x="56" y="69"/>
                  </a:lnTo>
                  <a:lnTo>
                    <a:pt x="54" y="75"/>
                  </a:lnTo>
                  <a:lnTo>
                    <a:pt x="54" y="80"/>
                  </a:lnTo>
                  <a:lnTo>
                    <a:pt x="54" y="85"/>
                  </a:lnTo>
                  <a:lnTo>
                    <a:pt x="56" y="91"/>
                  </a:lnTo>
                  <a:lnTo>
                    <a:pt x="58" y="95"/>
                  </a:lnTo>
                  <a:lnTo>
                    <a:pt x="61" y="98"/>
                  </a:lnTo>
                  <a:lnTo>
                    <a:pt x="65" y="102"/>
                  </a:lnTo>
                  <a:lnTo>
                    <a:pt x="69" y="105"/>
                  </a:lnTo>
                  <a:lnTo>
                    <a:pt x="75" y="106"/>
                  </a:lnTo>
                  <a:lnTo>
                    <a:pt x="80" y="106"/>
                  </a:lnTo>
                  <a:lnTo>
                    <a:pt x="85" y="106"/>
                  </a:lnTo>
                  <a:lnTo>
                    <a:pt x="91" y="105"/>
                  </a:lnTo>
                  <a:lnTo>
                    <a:pt x="95" y="102"/>
                  </a:lnTo>
                  <a:lnTo>
                    <a:pt x="100" y="98"/>
                  </a:lnTo>
                  <a:lnTo>
                    <a:pt x="102" y="95"/>
                  </a:lnTo>
                  <a:lnTo>
                    <a:pt x="105" y="91"/>
                  </a:lnTo>
                  <a:lnTo>
                    <a:pt x="106" y="85"/>
                  </a:lnTo>
                  <a:lnTo>
                    <a:pt x="107" y="80"/>
                  </a:lnTo>
                  <a:lnTo>
                    <a:pt x="106" y="75"/>
                  </a:lnTo>
                  <a:lnTo>
                    <a:pt x="105" y="69"/>
                  </a:lnTo>
                  <a:lnTo>
                    <a:pt x="102" y="65"/>
                  </a:lnTo>
                  <a:lnTo>
                    <a:pt x="100" y="61"/>
                  </a:lnTo>
                  <a:lnTo>
                    <a:pt x="95" y="58"/>
                  </a:lnTo>
                  <a:lnTo>
                    <a:pt x="91" y="55"/>
                  </a:lnTo>
                  <a:lnTo>
                    <a:pt x="85" y="54"/>
                  </a:lnTo>
                  <a:lnTo>
                    <a:pt x="80" y="54"/>
                  </a:lnTo>
                  <a:close/>
                  <a:moveTo>
                    <a:pt x="80" y="160"/>
                  </a:moveTo>
                  <a:lnTo>
                    <a:pt x="72" y="160"/>
                  </a:lnTo>
                  <a:lnTo>
                    <a:pt x="64" y="159"/>
                  </a:lnTo>
                  <a:lnTo>
                    <a:pt x="56" y="157"/>
                  </a:lnTo>
                  <a:lnTo>
                    <a:pt x="49" y="154"/>
                  </a:lnTo>
                  <a:lnTo>
                    <a:pt x="41" y="151"/>
                  </a:lnTo>
                  <a:lnTo>
                    <a:pt x="36" y="147"/>
                  </a:lnTo>
                  <a:lnTo>
                    <a:pt x="29" y="142"/>
                  </a:lnTo>
                  <a:lnTo>
                    <a:pt x="23" y="136"/>
                  </a:lnTo>
                  <a:lnTo>
                    <a:pt x="18" y="131"/>
                  </a:lnTo>
                  <a:lnTo>
                    <a:pt x="13" y="125"/>
                  </a:lnTo>
                  <a:lnTo>
                    <a:pt x="10" y="119"/>
                  </a:lnTo>
                  <a:lnTo>
                    <a:pt x="6" y="111"/>
                  </a:lnTo>
                  <a:lnTo>
                    <a:pt x="3" y="104"/>
                  </a:lnTo>
                  <a:lnTo>
                    <a:pt x="1" y="96"/>
                  </a:lnTo>
                  <a:lnTo>
                    <a:pt x="0" y="88"/>
                  </a:lnTo>
                  <a:lnTo>
                    <a:pt x="0" y="80"/>
                  </a:lnTo>
                  <a:lnTo>
                    <a:pt x="0" y="71"/>
                  </a:lnTo>
                  <a:lnTo>
                    <a:pt x="1" y="64"/>
                  </a:lnTo>
                  <a:lnTo>
                    <a:pt x="3" y="56"/>
                  </a:lnTo>
                  <a:lnTo>
                    <a:pt x="6" y="49"/>
                  </a:lnTo>
                  <a:lnTo>
                    <a:pt x="10" y="41"/>
                  </a:lnTo>
                  <a:lnTo>
                    <a:pt x="13" y="34"/>
                  </a:lnTo>
                  <a:lnTo>
                    <a:pt x="18" y="29"/>
                  </a:lnTo>
                  <a:lnTo>
                    <a:pt x="23" y="23"/>
                  </a:lnTo>
                  <a:lnTo>
                    <a:pt x="29" y="18"/>
                  </a:lnTo>
                  <a:lnTo>
                    <a:pt x="36" y="13"/>
                  </a:lnTo>
                  <a:lnTo>
                    <a:pt x="41" y="9"/>
                  </a:lnTo>
                  <a:lnTo>
                    <a:pt x="49" y="5"/>
                  </a:lnTo>
                  <a:lnTo>
                    <a:pt x="56" y="3"/>
                  </a:lnTo>
                  <a:lnTo>
                    <a:pt x="64" y="1"/>
                  </a:lnTo>
                  <a:lnTo>
                    <a:pt x="72" y="0"/>
                  </a:lnTo>
                  <a:lnTo>
                    <a:pt x="80" y="0"/>
                  </a:lnTo>
                  <a:lnTo>
                    <a:pt x="88" y="0"/>
                  </a:lnTo>
                  <a:lnTo>
                    <a:pt x="96" y="1"/>
                  </a:lnTo>
                  <a:lnTo>
                    <a:pt x="104" y="3"/>
                  </a:lnTo>
                  <a:lnTo>
                    <a:pt x="112" y="5"/>
                  </a:lnTo>
                  <a:lnTo>
                    <a:pt x="119" y="9"/>
                  </a:lnTo>
                  <a:lnTo>
                    <a:pt x="125" y="13"/>
                  </a:lnTo>
                  <a:lnTo>
                    <a:pt x="131" y="18"/>
                  </a:lnTo>
                  <a:lnTo>
                    <a:pt x="137" y="23"/>
                  </a:lnTo>
                  <a:lnTo>
                    <a:pt x="142" y="29"/>
                  </a:lnTo>
                  <a:lnTo>
                    <a:pt x="147" y="34"/>
                  </a:lnTo>
                  <a:lnTo>
                    <a:pt x="151" y="41"/>
                  </a:lnTo>
                  <a:lnTo>
                    <a:pt x="154" y="49"/>
                  </a:lnTo>
                  <a:lnTo>
                    <a:pt x="157" y="56"/>
                  </a:lnTo>
                  <a:lnTo>
                    <a:pt x="159" y="64"/>
                  </a:lnTo>
                  <a:lnTo>
                    <a:pt x="160" y="71"/>
                  </a:lnTo>
                  <a:lnTo>
                    <a:pt x="160" y="80"/>
                  </a:lnTo>
                  <a:lnTo>
                    <a:pt x="160" y="88"/>
                  </a:lnTo>
                  <a:lnTo>
                    <a:pt x="159" y="96"/>
                  </a:lnTo>
                  <a:lnTo>
                    <a:pt x="157" y="104"/>
                  </a:lnTo>
                  <a:lnTo>
                    <a:pt x="154" y="111"/>
                  </a:lnTo>
                  <a:lnTo>
                    <a:pt x="151" y="119"/>
                  </a:lnTo>
                  <a:lnTo>
                    <a:pt x="147" y="125"/>
                  </a:lnTo>
                  <a:lnTo>
                    <a:pt x="142" y="131"/>
                  </a:lnTo>
                  <a:lnTo>
                    <a:pt x="137" y="136"/>
                  </a:lnTo>
                  <a:lnTo>
                    <a:pt x="131" y="142"/>
                  </a:lnTo>
                  <a:lnTo>
                    <a:pt x="125" y="147"/>
                  </a:lnTo>
                  <a:lnTo>
                    <a:pt x="119" y="151"/>
                  </a:lnTo>
                  <a:lnTo>
                    <a:pt x="112" y="154"/>
                  </a:lnTo>
                  <a:lnTo>
                    <a:pt x="104" y="157"/>
                  </a:lnTo>
                  <a:lnTo>
                    <a:pt x="96" y="159"/>
                  </a:lnTo>
                  <a:lnTo>
                    <a:pt x="88" y="160"/>
                  </a:lnTo>
                  <a:lnTo>
                    <a:pt x="8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3" name="Group 51">
            <a:extLst>
              <a:ext uri="{FF2B5EF4-FFF2-40B4-BE49-F238E27FC236}">
                <a16:creationId xmlns:a16="http://schemas.microsoft.com/office/drawing/2014/main" id="{8F0014FF-63AF-4C59-B43B-F4CF5F764066}"/>
              </a:ext>
            </a:extLst>
          </p:cNvPr>
          <p:cNvGrpSpPr>
            <a:grpSpLocks noChangeAspect="1"/>
          </p:cNvGrpSpPr>
          <p:nvPr/>
        </p:nvGrpSpPr>
        <p:grpSpPr>
          <a:xfrm>
            <a:off x="2315699" y="5426101"/>
            <a:ext cx="283177" cy="268571"/>
            <a:chOff x="4478338" y="3613151"/>
            <a:chExt cx="554038" cy="525463"/>
          </a:xfrm>
          <a:solidFill>
            <a:schemeClr val="bg2"/>
          </a:solidFill>
          <a:effectLst/>
        </p:grpSpPr>
        <p:sp>
          <p:nvSpPr>
            <p:cNvPr id="484" name="Freeform 164">
              <a:extLst>
                <a:ext uri="{FF2B5EF4-FFF2-40B4-BE49-F238E27FC236}">
                  <a16:creationId xmlns:a16="http://schemas.microsoft.com/office/drawing/2014/main" id="{57E6EA8F-4091-4B1F-953E-F09AFD9ED5F7}"/>
                </a:ext>
              </a:extLst>
            </p:cNvPr>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65">
              <a:extLst>
                <a:ext uri="{FF2B5EF4-FFF2-40B4-BE49-F238E27FC236}">
                  <a16:creationId xmlns:a16="http://schemas.microsoft.com/office/drawing/2014/main" id="{454991A3-0DDD-4080-AE5E-DB651D6262F9}"/>
                </a:ext>
              </a:extLst>
            </p:cNvPr>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66">
              <a:extLst>
                <a:ext uri="{FF2B5EF4-FFF2-40B4-BE49-F238E27FC236}">
                  <a16:creationId xmlns:a16="http://schemas.microsoft.com/office/drawing/2014/main" id="{AF405D08-B170-4249-AD22-77DBED538FC4}"/>
                </a:ext>
              </a:extLst>
            </p:cNvPr>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69">
              <a:extLst>
                <a:ext uri="{FF2B5EF4-FFF2-40B4-BE49-F238E27FC236}">
                  <a16:creationId xmlns:a16="http://schemas.microsoft.com/office/drawing/2014/main" id="{9D7C538F-FA2D-4430-A2E7-E007327C4F6F}"/>
                </a:ext>
              </a:extLst>
            </p:cNvPr>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70">
              <a:extLst>
                <a:ext uri="{FF2B5EF4-FFF2-40B4-BE49-F238E27FC236}">
                  <a16:creationId xmlns:a16="http://schemas.microsoft.com/office/drawing/2014/main" id="{7A73A93E-C5D9-421B-B7DB-5738E7855367}"/>
                </a:ext>
              </a:extLst>
            </p:cNvPr>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118">
            <a:extLst>
              <a:ext uri="{FF2B5EF4-FFF2-40B4-BE49-F238E27FC236}">
                <a16:creationId xmlns:a16="http://schemas.microsoft.com/office/drawing/2014/main" id="{2FD96BB2-97D2-416A-8763-825A9CF57F77}"/>
              </a:ext>
            </a:extLst>
          </p:cNvPr>
          <p:cNvGrpSpPr>
            <a:grpSpLocks noChangeAspect="1"/>
          </p:cNvGrpSpPr>
          <p:nvPr/>
        </p:nvGrpSpPr>
        <p:grpSpPr>
          <a:xfrm>
            <a:off x="2351346" y="3263433"/>
            <a:ext cx="211881" cy="285619"/>
            <a:chOff x="3132981" y="2563141"/>
            <a:chExt cx="418808" cy="564561"/>
          </a:xfrm>
          <a:solidFill>
            <a:schemeClr val="bg2"/>
          </a:solidFill>
          <a:effectLst/>
        </p:grpSpPr>
        <p:sp>
          <p:nvSpPr>
            <p:cNvPr id="605" name="Freeform 77">
              <a:extLst>
                <a:ext uri="{FF2B5EF4-FFF2-40B4-BE49-F238E27FC236}">
                  <a16:creationId xmlns:a16="http://schemas.microsoft.com/office/drawing/2014/main" id="{641DC4CB-3D79-49C2-A708-0AE92AA83F87}"/>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78">
              <a:extLst>
                <a:ext uri="{FF2B5EF4-FFF2-40B4-BE49-F238E27FC236}">
                  <a16:creationId xmlns:a16="http://schemas.microsoft.com/office/drawing/2014/main" id="{D884862B-0D68-4B90-AC5D-56173C14AEEB}"/>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79">
              <a:extLst>
                <a:ext uri="{FF2B5EF4-FFF2-40B4-BE49-F238E27FC236}">
                  <a16:creationId xmlns:a16="http://schemas.microsoft.com/office/drawing/2014/main" id="{7F7A55AD-95BA-4D0F-8DB9-8EB604652AC1}"/>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80">
              <a:extLst>
                <a:ext uri="{FF2B5EF4-FFF2-40B4-BE49-F238E27FC236}">
                  <a16:creationId xmlns:a16="http://schemas.microsoft.com/office/drawing/2014/main" id="{901B6CA0-0FAE-4E1B-9E10-EFCDBF395C8F}"/>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81">
              <a:extLst>
                <a:ext uri="{FF2B5EF4-FFF2-40B4-BE49-F238E27FC236}">
                  <a16:creationId xmlns:a16="http://schemas.microsoft.com/office/drawing/2014/main" id="{050665B7-694D-4528-BA19-3C6B5B67C91A}"/>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1" name="Group 50">
            <a:extLst>
              <a:ext uri="{FF2B5EF4-FFF2-40B4-BE49-F238E27FC236}">
                <a16:creationId xmlns:a16="http://schemas.microsoft.com/office/drawing/2014/main" id="{ABEA1E2C-1F1F-4F27-B39C-84B7C255ACFF}"/>
              </a:ext>
            </a:extLst>
          </p:cNvPr>
          <p:cNvGrpSpPr>
            <a:grpSpLocks noChangeAspect="1"/>
          </p:cNvGrpSpPr>
          <p:nvPr/>
        </p:nvGrpSpPr>
        <p:grpSpPr>
          <a:xfrm>
            <a:off x="2332422" y="4879041"/>
            <a:ext cx="249730" cy="285619"/>
            <a:chOff x="345159" y="5354717"/>
            <a:chExt cx="249620" cy="285493"/>
          </a:xfrm>
          <a:solidFill>
            <a:schemeClr val="bg2"/>
          </a:solidFill>
          <a:effectLst/>
        </p:grpSpPr>
        <p:sp>
          <p:nvSpPr>
            <p:cNvPr id="782" name="Freeform 196">
              <a:extLst>
                <a:ext uri="{FF2B5EF4-FFF2-40B4-BE49-F238E27FC236}">
                  <a16:creationId xmlns:a16="http://schemas.microsoft.com/office/drawing/2014/main" id="{99FC9733-D670-4100-9EB7-F3155D5A0B73}"/>
                </a:ext>
              </a:extLst>
            </p:cNvPr>
            <p:cNvSpPr>
              <a:spLocks/>
            </p:cNvSpPr>
            <p:nvPr/>
          </p:nvSpPr>
          <p:spPr bwMode="auto">
            <a:xfrm>
              <a:off x="404948" y="5450380"/>
              <a:ext cx="28400" cy="26905"/>
            </a:xfrm>
            <a:custGeom>
              <a:avLst/>
              <a:gdLst>
                <a:gd name="T0" fmla="*/ 53 w 75"/>
                <a:gd name="T1" fmla="*/ 71 h 74"/>
                <a:gd name="T2" fmla="*/ 57 w 75"/>
                <a:gd name="T3" fmla="*/ 73 h 74"/>
                <a:gd name="T4" fmla="*/ 62 w 75"/>
                <a:gd name="T5" fmla="*/ 74 h 74"/>
                <a:gd name="T6" fmla="*/ 67 w 75"/>
                <a:gd name="T7" fmla="*/ 73 h 74"/>
                <a:gd name="T8" fmla="*/ 71 w 75"/>
                <a:gd name="T9" fmla="*/ 71 h 74"/>
                <a:gd name="T10" fmla="*/ 73 w 75"/>
                <a:gd name="T11" fmla="*/ 66 h 74"/>
                <a:gd name="T12" fmla="*/ 75 w 75"/>
                <a:gd name="T13" fmla="*/ 61 h 74"/>
                <a:gd name="T14" fmla="*/ 73 w 75"/>
                <a:gd name="T15" fmla="*/ 57 h 74"/>
                <a:gd name="T16" fmla="*/ 71 w 75"/>
                <a:gd name="T17" fmla="*/ 52 h 74"/>
                <a:gd name="T18" fmla="*/ 23 w 75"/>
                <a:gd name="T19" fmla="*/ 4 h 74"/>
                <a:gd name="T20" fmla="*/ 19 w 75"/>
                <a:gd name="T21" fmla="*/ 1 h 74"/>
                <a:gd name="T22" fmla="*/ 13 w 75"/>
                <a:gd name="T23" fmla="*/ 0 h 74"/>
                <a:gd name="T24" fmla="*/ 9 w 75"/>
                <a:gd name="T25" fmla="*/ 1 h 74"/>
                <a:gd name="T26" fmla="*/ 5 w 75"/>
                <a:gd name="T27" fmla="*/ 4 h 74"/>
                <a:gd name="T28" fmla="*/ 2 w 75"/>
                <a:gd name="T29" fmla="*/ 8 h 74"/>
                <a:gd name="T30" fmla="*/ 0 w 75"/>
                <a:gd name="T31" fmla="*/ 13 h 74"/>
                <a:gd name="T32" fmla="*/ 2 w 75"/>
                <a:gd name="T33" fmla="*/ 18 h 74"/>
                <a:gd name="T34" fmla="*/ 5 w 75"/>
                <a:gd name="T35" fmla="*/ 21 h 74"/>
                <a:gd name="T36" fmla="*/ 53 w 75"/>
                <a:gd name="T3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4">
                  <a:moveTo>
                    <a:pt x="53" y="71"/>
                  </a:moveTo>
                  <a:lnTo>
                    <a:pt x="57" y="73"/>
                  </a:lnTo>
                  <a:lnTo>
                    <a:pt x="62" y="74"/>
                  </a:lnTo>
                  <a:lnTo>
                    <a:pt x="67" y="73"/>
                  </a:lnTo>
                  <a:lnTo>
                    <a:pt x="71" y="71"/>
                  </a:lnTo>
                  <a:lnTo>
                    <a:pt x="73" y="66"/>
                  </a:lnTo>
                  <a:lnTo>
                    <a:pt x="75" y="61"/>
                  </a:lnTo>
                  <a:lnTo>
                    <a:pt x="73" y="57"/>
                  </a:lnTo>
                  <a:lnTo>
                    <a:pt x="71" y="52"/>
                  </a:lnTo>
                  <a:lnTo>
                    <a:pt x="23" y="4"/>
                  </a:lnTo>
                  <a:lnTo>
                    <a:pt x="19" y="1"/>
                  </a:lnTo>
                  <a:lnTo>
                    <a:pt x="13" y="0"/>
                  </a:lnTo>
                  <a:lnTo>
                    <a:pt x="9" y="1"/>
                  </a:lnTo>
                  <a:lnTo>
                    <a:pt x="5" y="4"/>
                  </a:lnTo>
                  <a:lnTo>
                    <a:pt x="2" y="8"/>
                  </a:lnTo>
                  <a:lnTo>
                    <a:pt x="0" y="13"/>
                  </a:lnTo>
                  <a:lnTo>
                    <a:pt x="2" y="18"/>
                  </a:lnTo>
                  <a:lnTo>
                    <a:pt x="5" y="21"/>
                  </a:lnTo>
                  <a:lnTo>
                    <a:pt x="5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3" name="Freeform 197">
              <a:extLst>
                <a:ext uri="{FF2B5EF4-FFF2-40B4-BE49-F238E27FC236}">
                  <a16:creationId xmlns:a16="http://schemas.microsoft.com/office/drawing/2014/main" id="{6898D383-A921-4E7F-96BB-EB7F7EA14763}"/>
                </a:ext>
              </a:extLst>
            </p:cNvPr>
            <p:cNvSpPr>
              <a:spLocks/>
            </p:cNvSpPr>
            <p:nvPr/>
          </p:nvSpPr>
          <p:spPr bwMode="auto">
            <a:xfrm>
              <a:off x="466232" y="5569958"/>
              <a:ext cx="10464" cy="34379"/>
            </a:xfrm>
            <a:custGeom>
              <a:avLst/>
              <a:gdLst>
                <a:gd name="T0" fmla="*/ 12 w 24"/>
                <a:gd name="T1" fmla="*/ 0 h 90"/>
                <a:gd name="T2" fmla="*/ 7 w 24"/>
                <a:gd name="T3" fmla="*/ 1 h 90"/>
                <a:gd name="T4" fmla="*/ 3 w 24"/>
                <a:gd name="T5" fmla="*/ 4 h 90"/>
                <a:gd name="T6" fmla="*/ 0 w 24"/>
                <a:gd name="T7" fmla="*/ 8 h 90"/>
                <a:gd name="T8" fmla="*/ 0 w 24"/>
                <a:gd name="T9" fmla="*/ 13 h 90"/>
                <a:gd name="T10" fmla="*/ 0 w 24"/>
                <a:gd name="T11" fmla="*/ 78 h 90"/>
                <a:gd name="T12" fmla="*/ 0 w 24"/>
                <a:gd name="T13" fmla="*/ 82 h 90"/>
                <a:gd name="T14" fmla="*/ 3 w 24"/>
                <a:gd name="T15" fmla="*/ 87 h 90"/>
                <a:gd name="T16" fmla="*/ 7 w 24"/>
                <a:gd name="T17" fmla="*/ 89 h 90"/>
                <a:gd name="T18" fmla="*/ 12 w 24"/>
                <a:gd name="T19" fmla="*/ 90 h 90"/>
                <a:gd name="T20" fmla="*/ 17 w 24"/>
                <a:gd name="T21" fmla="*/ 89 h 90"/>
                <a:gd name="T22" fmla="*/ 21 w 24"/>
                <a:gd name="T23" fmla="*/ 87 h 90"/>
                <a:gd name="T24" fmla="*/ 23 w 24"/>
                <a:gd name="T25" fmla="*/ 82 h 90"/>
                <a:gd name="T26" fmla="*/ 24 w 24"/>
                <a:gd name="T27" fmla="*/ 78 h 90"/>
                <a:gd name="T28" fmla="*/ 24 w 24"/>
                <a:gd name="T29" fmla="*/ 13 h 90"/>
                <a:gd name="T30" fmla="*/ 23 w 24"/>
                <a:gd name="T31" fmla="*/ 8 h 90"/>
                <a:gd name="T32" fmla="*/ 21 w 24"/>
                <a:gd name="T33" fmla="*/ 4 h 90"/>
                <a:gd name="T34" fmla="*/ 17 w 24"/>
                <a:gd name="T35" fmla="*/ 1 h 90"/>
                <a:gd name="T36" fmla="*/ 12 w 24"/>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90">
                  <a:moveTo>
                    <a:pt x="12" y="0"/>
                  </a:moveTo>
                  <a:lnTo>
                    <a:pt x="7" y="1"/>
                  </a:lnTo>
                  <a:lnTo>
                    <a:pt x="3" y="4"/>
                  </a:lnTo>
                  <a:lnTo>
                    <a:pt x="0" y="8"/>
                  </a:lnTo>
                  <a:lnTo>
                    <a:pt x="0" y="13"/>
                  </a:lnTo>
                  <a:lnTo>
                    <a:pt x="0" y="78"/>
                  </a:lnTo>
                  <a:lnTo>
                    <a:pt x="0" y="82"/>
                  </a:lnTo>
                  <a:lnTo>
                    <a:pt x="3" y="87"/>
                  </a:lnTo>
                  <a:lnTo>
                    <a:pt x="7" y="89"/>
                  </a:lnTo>
                  <a:lnTo>
                    <a:pt x="12" y="90"/>
                  </a:lnTo>
                  <a:lnTo>
                    <a:pt x="17" y="89"/>
                  </a:lnTo>
                  <a:lnTo>
                    <a:pt x="21" y="87"/>
                  </a:lnTo>
                  <a:lnTo>
                    <a:pt x="23" y="82"/>
                  </a:lnTo>
                  <a:lnTo>
                    <a:pt x="24" y="78"/>
                  </a:lnTo>
                  <a:lnTo>
                    <a:pt x="24" y="13"/>
                  </a:lnTo>
                  <a:lnTo>
                    <a:pt x="23"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4" name="Freeform 198">
              <a:extLst>
                <a:ext uri="{FF2B5EF4-FFF2-40B4-BE49-F238E27FC236}">
                  <a16:creationId xmlns:a16="http://schemas.microsoft.com/office/drawing/2014/main" id="{42470ECD-BB16-42EA-9F63-DA461AC41479}"/>
                </a:ext>
              </a:extLst>
            </p:cNvPr>
            <p:cNvSpPr>
              <a:spLocks/>
            </p:cNvSpPr>
            <p:nvPr/>
          </p:nvSpPr>
          <p:spPr bwMode="auto">
            <a:xfrm>
              <a:off x="404948" y="5552021"/>
              <a:ext cx="28400" cy="28400"/>
            </a:xfrm>
            <a:custGeom>
              <a:avLst/>
              <a:gdLst>
                <a:gd name="T0" fmla="*/ 53 w 75"/>
                <a:gd name="T1" fmla="*/ 5 h 75"/>
                <a:gd name="T2" fmla="*/ 5 w 75"/>
                <a:gd name="T3" fmla="*/ 53 h 75"/>
                <a:gd name="T4" fmla="*/ 2 w 75"/>
                <a:gd name="T5" fmla="*/ 57 h 75"/>
                <a:gd name="T6" fmla="*/ 0 w 75"/>
                <a:gd name="T7" fmla="*/ 62 h 75"/>
                <a:gd name="T8" fmla="*/ 2 w 75"/>
                <a:gd name="T9" fmla="*/ 66 h 75"/>
                <a:gd name="T10" fmla="*/ 5 w 75"/>
                <a:gd name="T11" fmla="*/ 70 h 75"/>
                <a:gd name="T12" fmla="*/ 9 w 75"/>
                <a:gd name="T13" fmla="*/ 74 h 75"/>
                <a:gd name="T14" fmla="*/ 13 w 75"/>
                <a:gd name="T15" fmla="*/ 75 h 75"/>
                <a:gd name="T16" fmla="*/ 19 w 75"/>
                <a:gd name="T17" fmla="*/ 74 h 75"/>
                <a:gd name="T18" fmla="*/ 23 w 75"/>
                <a:gd name="T19" fmla="*/ 70 h 75"/>
                <a:gd name="T20" fmla="*/ 71 w 75"/>
                <a:gd name="T21" fmla="*/ 23 h 75"/>
                <a:gd name="T22" fmla="*/ 73 w 75"/>
                <a:gd name="T23" fmla="*/ 19 h 75"/>
                <a:gd name="T24" fmla="*/ 75 w 75"/>
                <a:gd name="T25" fmla="*/ 14 h 75"/>
                <a:gd name="T26" fmla="*/ 73 w 75"/>
                <a:gd name="T27" fmla="*/ 9 h 75"/>
                <a:gd name="T28" fmla="*/ 71 w 75"/>
                <a:gd name="T29" fmla="*/ 5 h 75"/>
                <a:gd name="T30" fmla="*/ 67 w 75"/>
                <a:gd name="T31" fmla="*/ 2 h 75"/>
                <a:gd name="T32" fmla="*/ 62 w 75"/>
                <a:gd name="T33" fmla="*/ 0 h 75"/>
                <a:gd name="T34" fmla="*/ 57 w 75"/>
                <a:gd name="T35" fmla="*/ 2 h 75"/>
                <a:gd name="T36" fmla="*/ 53 w 75"/>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5">
                  <a:moveTo>
                    <a:pt x="53" y="5"/>
                  </a:moveTo>
                  <a:lnTo>
                    <a:pt x="5" y="53"/>
                  </a:lnTo>
                  <a:lnTo>
                    <a:pt x="2" y="57"/>
                  </a:lnTo>
                  <a:lnTo>
                    <a:pt x="0" y="62"/>
                  </a:lnTo>
                  <a:lnTo>
                    <a:pt x="2" y="66"/>
                  </a:lnTo>
                  <a:lnTo>
                    <a:pt x="5" y="70"/>
                  </a:lnTo>
                  <a:lnTo>
                    <a:pt x="9" y="74"/>
                  </a:lnTo>
                  <a:lnTo>
                    <a:pt x="13" y="75"/>
                  </a:lnTo>
                  <a:lnTo>
                    <a:pt x="19" y="74"/>
                  </a:lnTo>
                  <a:lnTo>
                    <a:pt x="23" y="70"/>
                  </a:lnTo>
                  <a:lnTo>
                    <a:pt x="71" y="23"/>
                  </a:lnTo>
                  <a:lnTo>
                    <a:pt x="73" y="19"/>
                  </a:lnTo>
                  <a:lnTo>
                    <a:pt x="75" y="14"/>
                  </a:lnTo>
                  <a:lnTo>
                    <a:pt x="73" y="9"/>
                  </a:lnTo>
                  <a:lnTo>
                    <a:pt x="71" y="5"/>
                  </a:lnTo>
                  <a:lnTo>
                    <a:pt x="67" y="2"/>
                  </a:lnTo>
                  <a:lnTo>
                    <a:pt x="62" y="0"/>
                  </a:lnTo>
                  <a:lnTo>
                    <a:pt x="57" y="2"/>
                  </a:lnTo>
                  <a:lnTo>
                    <a:pt x="5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5" name="Freeform 199">
              <a:extLst>
                <a:ext uri="{FF2B5EF4-FFF2-40B4-BE49-F238E27FC236}">
                  <a16:creationId xmlns:a16="http://schemas.microsoft.com/office/drawing/2014/main" id="{7255AA1C-D2F4-4A20-9A68-DDE76580F901}"/>
                </a:ext>
              </a:extLst>
            </p:cNvPr>
            <p:cNvSpPr>
              <a:spLocks/>
            </p:cNvSpPr>
            <p:nvPr/>
          </p:nvSpPr>
          <p:spPr bwMode="auto">
            <a:xfrm>
              <a:off x="526021" y="5507179"/>
              <a:ext cx="32884" cy="8968"/>
            </a:xfrm>
            <a:custGeom>
              <a:avLst/>
              <a:gdLst>
                <a:gd name="T0" fmla="*/ 76 w 89"/>
                <a:gd name="T1" fmla="*/ 0 h 26"/>
                <a:gd name="T2" fmla="*/ 11 w 89"/>
                <a:gd name="T3" fmla="*/ 0 h 26"/>
                <a:gd name="T4" fmla="*/ 7 w 89"/>
                <a:gd name="T5" fmla="*/ 1 h 26"/>
                <a:gd name="T6" fmla="*/ 3 w 89"/>
                <a:gd name="T7" fmla="*/ 4 h 26"/>
                <a:gd name="T8" fmla="*/ 0 w 89"/>
                <a:gd name="T9" fmla="*/ 9 h 26"/>
                <a:gd name="T10" fmla="*/ 0 w 89"/>
                <a:gd name="T11" fmla="*/ 13 h 26"/>
                <a:gd name="T12" fmla="*/ 0 w 89"/>
                <a:gd name="T13" fmla="*/ 18 h 26"/>
                <a:gd name="T14" fmla="*/ 3 w 89"/>
                <a:gd name="T15" fmla="*/ 23 h 26"/>
                <a:gd name="T16" fmla="*/ 7 w 89"/>
                <a:gd name="T17" fmla="*/ 25 h 26"/>
                <a:gd name="T18" fmla="*/ 11 w 89"/>
                <a:gd name="T19" fmla="*/ 26 h 26"/>
                <a:gd name="T20" fmla="*/ 76 w 89"/>
                <a:gd name="T21" fmla="*/ 26 h 26"/>
                <a:gd name="T22" fmla="*/ 81 w 89"/>
                <a:gd name="T23" fmla="*/ 25 h 26"/>
                <a:gd name="T24" fmla="*/ 85 w 89"/>
                <a:gd name="T25" fmla="*/ 23 h 26"/>
                <a:gd name="T26" fmla="*/ 88 w 89"/>
                <a:gd name="T27" fmla="*/ 18 h 26"/>
                <a:gd name="T28" fmla="*/ 89 w 89"/>
                <a:gd name="T29" fmla="*/ 13 h 26"/>
                <a:gd name="T30" fmla="*/ 88 w 89"/>
                <a:gd name="T31" fmla="*/ 9 h 26"/>
                <a:gd name="T32" fmla="*/ 85 w 89"/>
                <a:gd name="T33" fmla="*/ 4 h 26"/>
                <a:gd name="T34" fmla="*/ 81 w 89"/>
                <a:gd name="T35" fmla="*/ 1 h 26"/>
                <a:gd name="T36" fmla="*/ 76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6" y="0"/>
                  </a:moveTo>
                  <a:lnTo>
                    <a:pt x="11" y="0"/>
                  </a:lnTo>
                  <a:lnTo>
                    <a:pt x="7" y="1"/>
                  </a:lnTo>
                  <a:lnTo>
                    <a:pt x="3" y="4"/>
                  </a:lnTo>
                  <a:lnTo>
                    <a:pt x="0" y="9"/>
                  </a:lnTo>
                  <a:lnTo>
                    <a:pt x="0" y="13"/>
                  </a:lnTo>
                  <a:lnTo>
                    <a:pt x="0" y="18"/>
                  </a:lnTo>
                  <a:lnTo>
                    <a:pt x="3" y="23"/>
                  </a:lnTo>
                  <a:lnTo>
                    <a:pt x="7" y="25"/>
                  </a:lnTo>
                  <a:lnTo>
                    <a:pt x="11" y="26"/>
                  </a:lnTo>
                  <a:lnTo>
                    <a:pt x="76" y="26"/>
                  </a:lnTo>
                  <a:lnTo>
                    <a:pt x="81" y="25"/>
                  </a:lnTo>
                  <a:lnTo>
                    <a:pt x="85" y="23"/>
                  </a:lnTo>
                  <a:lnTo>
                    <a:pt x="88" y="18"/>
                  </a:lnTo>
                  <a:lnTo>
                    <a:pt x="89" y="13"/>
                  </a:lnTo>
                  <a:lnTo>
                    <a:pt x="88" y="9"/>
                  </a:lnTo>
                  <a:lnTo>
                    <a:pt x="85" y="4"/>
                  </a:lnTo>
                  <a:lnTo>
                    <a:pt x="81"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6" name="Freeform 200">
              <a:extLst>
                <a:ext uri="{FF2B5EF4-FFF2-40B4-BE49-F238E27FC236}">
                  <a16:creationId xmlns:a16="http://schemas.microsoft.com/office/drawing/2014/main" id="{55309BA6-5B44-4196-89BF-06E4D7C67809}"/>
                </a:ext>
              </a:extLst>
            </p:cNvPr>
            <p:cNvSpPr>
              <a:spLocks/>
            </p:cNvSpPr>
            <p:nvPr/>
          </p:nvSpPr>
          <p:spPr bwMode="auto">
            <a:xfrm>
              <a:off x="508085" y="5552021"/>
              <a:ext cx="26905" cy="28400"/>
            </a:xfrm>
            <a:custGeom>
              <a:avLst/>
              <a:gdLst>
                <a:gd name="T0" fmla="*/ 22 w 73"/>
                <a:gd name="T1" fmla="*/ 5 h 75"/>
                <a:gd name="T2" fmla="*/ 17 w 73"/>
                <a:gd name="T3" fmla="*/ 2 h 75"/>
                <a:gd name="T4" fmla="*/ 13 w 73"/>
                <a:gd name="T5" fmla="*/ 0 h 75"/>
                <a:gd name="T6" fmla="*/ 8 w 73"/>
                <a:gd name="T7" fmla="*/ 2 h 75"/>
                <a:gd name="T8" fmla="*/ 3 w 73"/>
                <a:gd name="T9" fmla="*/ 5 h 75"/>
                <a:gd name="T10" fmla="*/ 1 w 73"/>
                <a:gd name="T11" fmla="*/ 9 h 75"/>
                <a:gd name="T12" fmla="*/ 0 w 73"/>
                <a:gd name="T13" fmla="*/ 14 h 75"/>
                <a:gd name="T14" fmla="*/ 1 w 73"/>
                <a:gd name="T15" fmla="*/ 19 h 75"/>
                <a:gd name="T16" fmla="*/ 3 w 73"/>
                <a:gd name="T17" fmla="*/ 23 h 75"/>
                <a:gd name="T18" fmla="*/ 52 w 73"/>
                <a:gd name="T19" fmla="*/ 70 h 75"/>
                <a:gd name="T20" fmla="*/ 56 w 73"/>
                <a:gd name="T21" fmla="*/ 74 h 75"/>
                <a:gd name="T22" fmla="*/ 60 w 73"/>
                <a:gd name="T23" fmla="*/ 75 h 75"/>
                <a:gd name="T24" fmla="*/ 66 w 73"/>
                <a:gd name="T25" fmla="*/ 74 h 75"/>
                <a:gd name="T26" fmla="*/ 70 w 73"/>
                <a:gd name="T27" fmla="*/ 70 h 75"/>
                <a:gd name="T28" fmla="*/ 72 w 73"/>
                <a:gd name="T29" fmla="*/ 66 h 75"/>
                <a:gd name="T30" fmla="*/ 73 w 73"/>
                <a:gd name="T31" fmla="*/ 62 h 75"/>
                <a:gd name="T32" fmla="*/ 72 w 73"/>
                <a:gd name="T33" fmla="*/ 57 h 75"/>
                <a:gd name="T34" fmla="*/ 70 w 73"/>
                <a:gd name="T35" fmla="*/ 53 h 75"/>
                <a:gd name="T36" fmla="*/ 22 w 73"/>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5">
                  <a:moveTo>
                    <a:pt x="22" y="5"/>
                  </a:moveTo>
                  <a:lnTo>
                    <a:pt x="17" y="2"/>
                  </a:lnTo>
                  <a:lnTo>
                    <a:pt x="13" y="0"/>
                  </a:lnTo>
                  <a:lnTo>
                    <a:pt x="8" y="2"/>
                  </a:lnTo>
                  <a:lnTo>
                    <a:pt x="3" y="5"/>
                  </a:lnTo>
                  <a:lnTo>
                    <a:pt x="1" y="9"/>
                  </a:lnTo>
                  <a:lnTo>
                    <a:pt x="0" y="14"/>
                  </a:lnTo>
                  <a:lnTo>
                    <a:pt x="1" y="19"/>
                  </a:lnTo>
                  <a:lnTo>
                    <a:pt x="3" y="23"/>
                  </a:lnTo>
                  <a:lnTo>
                    <a:pt x="52" y="70"/>
                  </a:lnTo>
                  <a:lnTo>
                    <a:pt x="56" y="74"/>
                  </a:lnTo>
                  <a:lnTo>
                    <a:pt x="60" y="75"/>
                  </a:lnTo>
                  <a:lnTo>
                    <a:pt x="66" y="74"/>
                  </a:lnTo>
                  <a:lnTo>
                    <a:pt x="70" y="70"/>
                  </a:lnTo>
                  <a:lnTo>
                    <a:pt x="72" y="66"/>
                  </a:lnTo>
                  <a:lnTo>
                    <a:pt x="73" y="62"/>
                  </a:lnTo>
                  <a:lnTo>
                    <a:pt x="72" y="57"/>
                  </a:lnTo>
                  <a:lnTo>
                    <a:pt x="70" y="53"/>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7" name="Freeform 201">
              <a:extLst>
                <a:ext uri="{FF2B5EF4-FFF2-40B4-BE49-F238E27FC236}">
                  <a16:creationId xmlns:a16="http://schemas.microsoft.com/office/drawing/2014/main" id="{95C7FC4E-F8E3-4FF9-8334-3EE920E086DA}"/>
                </a:ext>
              </a:extLst>
            </p:cNvPr>
            <p:cNvSpPr>
              <a:spLocks/>
            </p:cNvSpPr>
            <p:nvPr/>
          </p:nvSpPr>
          <p:spPr bwMode="auto">
            <a:xfrm>
              <a:off x="508085" y="5450380"/>
              <a:ext cx="26905" cy="26905"/>
            </a:xfrm>
            <a:custGeom>
              <a:avLst/>
              <a:gdLst>
                <a:gd name="T0" fmla="*/ 13 w 73"/>
                <a:gd name="T1" fmla="*/ 74 h 74"/>
                <a:gd name="T2" fmla="*/ 17 w 73"/>
                <a:gd name="T3" fmla="*/ 73 h 74"/>
                <a:gd name="T4" fmla="*/ 22 w 73"/>
                <a:gd name="T5" fmla="*/ 71 h 74"/>
                <a:gd name="T6" fmla="*/ 70 w 73"/>
                <a:gd name="T7" fmla="*/ 21 h 74"/>
                <a:gd name="T8" fmla="*/ 72 w 73"/>
                <a:gd name="T9" fmla="*/ 18 h 74"/>
                <a:gd name="T10" fmla="*/ 73 w 73"/>
                <a:gd name="T11" fmla="*/ 13 h 74"/>
                <a:gd name="T12" fmla="*/ 72 w 73"/>
                <a:gd name="T13" fmla="*/ 8 h 74"/>
                <a:gd name="T14" fmla="*/ 70 w 73"/>
                <a:gd name="T15" fmla="*/ 4 h 74"/>
                <a:gd name="T16" fmla="*/ 66 w 73"/>
                <a:gd name="T17" fmla="*/ 1 h 74"/>
                <a:gd name="T18" fmla="*/ 60 w 73"/>
                <a:gd name="T19" fmla="*/ 0 h 74"/>
                <a:gd name="T20" fmla="*/ 56 w 73"/>
                <a:gd name="T21" fmla="*/ 1 h 74"/>
                <a:gd name="T22" fmla="*/ 52 w 73"/>
                <a:gd name="T23" fmla="*/ 4 h 74"/>
                <a:gd name="T24" fmla="*/ 3 w 73"/>
                <a:gd name="T25" fmla="*/ 52 h 74"/>
                <a:gd name="T26" fmla="*/ 1 w 73"/>
                <a:gd name="T27" fmla="*/ 57 h 74"/>
                <a:gd name="T28" fmla="*/ 0 w 73"/>
                <a:gd name="T29" fmla="*/ 61 h 74"/>
                <a:gd name="T30" fmla="*/ 1 w 73"/>
                <a:gd name="T31" fmla="*/ 66 h 74"/>
                <a:gd name="T32" fmla="*/ 3 w 73"/>
                <a:gd name="T33" fmla="*/ 71 h 74"/>
                <a:gd name="T34" fmla="*/ 8 w 73"/>
                <a:gd name="T35" fmla="*/ 73 h 74"/>
                <a:gd name="T36" fmla="*/ 13 w 73"/>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4">
                  <a:moveTo>
                    <a:pt x="13" y="74"/>
                  </a:moveTo>
                  <a:lnTo>
                    <a:pt x="17" y="73"/>
                  </a:lnTo>
                  <a:lnTo>
                    <a:pt x="22" y="71"/>
                  </a:lnTo>
                  <a:lnTo>
                    <a:pt x="70" y="21"/>
                  </a:lnTo>
                  <a:lnTo>
                    <a:pt x="72" y="18"/>
                  </a:lnTo>
                  <a:lnTo>
                    <a:pt x="73" y="13"/>
                  </a:lnTo>
                  <a:lnTo>
                    <a:pt x="72" y="8"/>
                  </a:lnTo>
                  <a:lnTo>
                    <a:pt x="70" y="4"/>
                  </a:lnTo>
                  <a:lnTo>
                    <a:pt x="66" y="1"/>
                  </a:lnTo>
                  <a:lnTo>
                    <a:pt x="60" y="0"/>
                  </a:lnTo>
                  <a:lnTo>
                    <a:pt x="56" y="1"/>
                  </a:lnTo>
                  <a:lnTo>
                    <a:pt x="52" y="4"/>
                  </a:lnTo>
                  <a:lnTo>
                    <a:pt x="3" y="52"/>
                  </a:lnTo>
                  <a:lnTo>
                    <a:pt x="1" y="57"/>
                  </a:lnTo>
                  <a:lnTo>
                    <a:pt x="0" y="61"/>
                  </a:lnTo>
                  <a:lnTo>
                    <a:pt x="1" y="66"/>
                  </a:lnTo>
                  <a:lnTo>
                    <a:pt x="3" y="71"/>
                  </a:lnTo>
                  <a:lnTo>
                    <a:pt x="8"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8" name="Freeform 202">
              <a:extLst>
                <a:ext uri="{FF2B5EF4-FFF2-40B4-BE49-F238E27FC236}">
                  <a16:creationId xmlns:a16="http://schemas.microsoft.com/office/drawing/2014/main" id="{9E13AF6B-1F48-4E41-97F9-B0949104753B}"/>
                </a:ext>
              </a:extLst>
            </p:cNvPr>
            <p:cNvSpPr>
              <a:spLocks noEditPoints="1"/>
            </p:cNvSpPr>
            <p:nvPr/>
          </p:nvSpPr>
          <p:spPr bwMode="auto">
            <a:xfrm>
              <a:off x="345159" y="5354717"/>
              <a:ext cx="249620" cy="285493"/>
            </a:xfrm>
            <a:custGeom>
              <a:avLst/>
              <a:gdLst>
                <a:gd name="T0" fmla="*/ 287 w 667"/>
                <a:gd name="T1" fmla="*/ 735 h 764"/>
                <a:gd name="T2" fmla="*/ 228 w 667"/>
                <a:gd name="T3" fmla="*/ 721 h 764"/>
                <a:gd name="T4" fmla="*/ 176 w 667"/>
                <a:gd name="T5" fmla="*/ 695 h 764"/>
                <a:gd name="T6" fmla="*/ 128 w 667"/>
                <a:gd name="T7" fmla="*/ 660 h 764"/>
                <a:gd name="T8" fmla="*/ 90 w 667"/>
                <a:gd name="T9" fmla="*/ 618 h 764"/>
                <a:gd name="T10" fmla="*/ 59 w 667"/>
                <a:gd name="T11" fmla="*/ 567 h 764"/>
                <a:gd name="T12" fmla="*/ 37 w 667"/>
                <a:gd name="T13" fmla="*/ 510 h 764"/>
                <a:gd name="T14" fmla="*/ 26 w 667"/>
                <a:gd name="T15" fmla="*/ 449 h 764"/>
                <a:gd name="T16" fmla="*/ 345 w 667"/>
                <a:gd name="T17" fmla="*/ 430 h 764"/>
                <a:gd name="T18" fmla="*/ 362 w 667"/>
                <a:gd name="T19" fmla="*/ 124 h 764"/>
                <a:gd name="T20" fmla="*/ 416 w 667"/>
                <a:gd name="T21" fmla="*/ 133 h 764"/>
                <a:gd name="T22" fmla="*/ 467 w 667"/>
                <a:gd name="T23" fmla="*/ 152 h 764"/>
                <a:gd name="T24" fmla="*/ 512 w 667"/>
                <a:gd name="T25" fmla="*/ 178 h 764"/>
                <a:gd name="T26" fmla="*/ 543 w 667"/>
                <a:gd name="T27" fmla="*/ 204 h 764"/>
                <a:gd name="T28" fmla="*/ 556 w 667"/>
                <a:gd name="T29" fmla="*/ 217 h 764"/>
                <a:gd name="T30" fmla="*/ 594 w 667"/>
                <a:gd name="T31" fmla="*/ 265 h 764"/>
                <a:gd name="T32" fmla="*/ 621 w 667"/>
                <a:gd name="T33" fmla="*/ 321 h 764"/>
                <a:gd name="T34" fmla="*/ 637 w 667"/>
                <a:gd name="T35" fmla="*/ 381 h 764"/>
                <a:gd name="T36" fmla="*/ 642 w 667"/>
                <a:gd name="T37" fmla="*/ 446 h 764"/>
                <a:gd name="T38" fmla="*/ 632 w 667"/>
                <a:gd name="T39" fmla="*/ 507 h 764"/>
                <a:gd name="T40" fmla="*/ 611 w 667"/>
                <a:gd name="T41" fmla="*/ 564 h 764"/>
                <a:gd name="T42" fmla="*/ 580 w 667"/>
                <a:gd name="T43" fmla="*/ 614 h 764"/>
                <a:gd name="T44" fmla="*/ 541 w 667"/>
                <a:gd name="T45" fmla="*/ 658 h 764"/>
                <a:gd name="T46" fmla="*/ 493 w 667"/>
                <a:gd name="T47" fmla="*/ 694 h 764"/>
                <a:gd name="T48" fmla="*/ 439 w 667"/>
                <a:gd name="T49" fmla="*/ 720 h 764"/>
                <a:gd name="T50" fmla="*/ 381 w 667"/>
                <a:gd name="T51" fmla="*/ 735 h 764"/>
                <a:gd name="T52" fmla="*/ 571 w 667"/>
                <a:gd name="T53" fmla="*/ 194 h 764"/>
                <a:gd name="T54" fmla="*/ 638 w 667"/>
                <a:gd name="T55" fmla="*/ 171 h 764"/>
                <a:gd name="T56" fmla="*/ 651 w 667"/>
                <a:gd name="T57" fmla="*/ 158 h 764"/>
                <a:gd name="T58" fmla="*/ 595 w 667"/>
                <a:gd name="T59" fmla="*/ 98 h 764"/>
                <a:gd name="T60" fmla="*/ 578 w 667"/>
                <a:gd name="T61" fmla="*/ 104 h 764"/>
                <a:gd name="T62" fmla="*/ 596 w 667"/>
                <a:gd name="T63" fmla="*/ 133 h 764"/>
                <a:gd name="T64" fmla="*/ 519 w 667"/>
                <a:gd name="T65" fmla="*/ 153 h 764"/>
                <a:gd name="T66" fmla="*/ 472 w 667"/>
                <a:gd name="T67" fmla="*/ 126 h 764"/>
                <a:gd name="T68" fmla="*/ 419 w 667"/>
                <a:gd name="T69" fmla="*/ 108 h 764"/>
                <a:gd name="T70" fmla="*/ 363 w 667"/>
                <a:gd name="T71" fmla="*/ 98 h 764"/>
                <a:gd name="T72" fmla="*/ 380 w 667"/>
                <a:gd name="T73" fmla="*/ 25 h 764"/>
                <a:gd name="T74" fmla="*/ 386 w 667"/>
                <a:gd name="T75" fmla="*/ 8 h 764"/>
                <a:gd name="T76" fmla="*/ 298 w 667"/>
                <a:gd name="T77" fmla="*/ 0 h 764"/>
                <a:gd name="T78" fmla="*/ 285 w 667"/>
                <a:gd name="T79" fmla="*/ 13 h 764"/>
                <a:gd name="T80" fmla="*/ 298 w 667"/>
                <a:gd name="T81" fmla="*/ 25 h 764"/>
                <a:gd name="T82" fmla="*/ 12 w 667"/>
                <a:gd name="T83" fmla="*/ 407 h 764"/>
                <a:gd name="T84" fmla="*/ 0 w 667"/>
                <a:gd name="T85" fmla="*/ 420 h 764"/>
                <a:gd name="T86" fmla="*/ 6 w 667"/>
                <a:gd name="T87" fmla="*/ 491 h 764"/>
                <a:gd name="T88" fmla="*/ 25 w 667"/>
                <a:gd name="T89" fmla="*/ 555 h 764"/>
                <a:gd name="T90" fmla="*/ 55 w 667"/>
                <a:gd name="T91" fmla="*/ 614 h 764"/>
                <a:gd name="T92" fmla="*/ 96 w 667"/>
                <a:gd name="T93" fmla="*/ 665 h 764"/>
                <a:gd name="T94" fmla="*/ 146 w 667"/>
                <a:gd name="T95" fmla="*/ 707 h 764"/>
                <a:gd name="T96" fmla="*/ 202 w 667"/>
                <a:gd name="T97" fmla="*/ 738 h 764"/>
                <a:gd name="T98" fmla="*/ 265 w 667"/>
                <a:gd name="T99" fmla="*/ 757 h 764"/>
                <a:gd name="T100" fmla="*/ 333 w 667"/>
                <a:gd name="T101" fmla="*/ 764 h 764"/>
                <a:gd name="T102" fmla="*/ 400 w 667"/>
                <a:gd name="T103" fmla="*/ 757 h 764"/>
                <a:gd name="T104" fmla="*/ 463 w 667"/>
                <a:gd name="T105" fmla="*/ 738 h 764"/>
                <a:gd name="T106" fmla="*/ 520 w 667"/>
                <a:gd name="T107" fmla="*/ 707 h 764"/>
                <a:gd name="T108" fmla="*/ 570 w 667"/>
                <a:gd name="T109" fmla="*/ 666 h 764"/>
                <a:gd name="T110" fmla="*/ 610 w 667"/>
                <a:gd name="T111" fmla="*/ 616 h 764"/>
                <a:gd name="T112" fmla="*/ 640 w 667"/>
                <a:gd name="T113" fmla="*/ 561 h 764"/>
                <a:gd name="T114" fmla="*/ 660 w 667"/>
                <a:gd name="T115" fmla="*/ 497 h 764"/>
                <a:gd name="T116" fmla="*/ 667 w 667"/>
                <a:gd name="T117" fmla="*/ 431 h 764"/>
                <a:gd name="T118" fmla="*/ 661 w 667"/>
                <a:gd name="T119" fmla="*/ 363 h 764"/>
                <a:gd name="T120" fmla="*/ 642 w 667"/>
                <a:gd name="T121" fmla="*/ 301 h 764"/>
                <a:gd name="T122" fmla="*/ 610 w 667"/>
                <a:gd name="T123" fmla="*/ 244 h 764"/>
                <a:gd name="T124" fmla="*/ 571 w 667"/>
                <a:gd name="T125" fmla="*/ 19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7" h="764">
                  <a:moveTo>
                    <a:pt x="333" y="739"/>
                  </a:moveTo>
                  <a:lnTo>
                    <a:pt x="317" y="738"/>
                  </a:lnTo>
                  <a:lnTo>
                    <a:pt x="302" y="737"/>
                  </a:lnTo>
                  <a:lnTo>
                    <a:pt x="287" y="735"/>
                  </a:lnTo>
                  <a:lnTo>
                    <a:pt x="272" y="732"/>
                  </a:lnTo>
                  <a:lnTo>
                    <a:pt x="257" y="729"/>
                  </a:lnTo>
                  <a:lnTo>
                    <a:pt x="242" y="725"/>
                  </a:lnTo>
                  <a:lnTo>
                    <a:pt x="228" y="721"/>
                  </a:lnTo>
                  <a:lnTo>
                    <a:pt x="215" y="715"/>
                  </a:lnTo>
                  <a:lnTo>
                    <a:pt x="201" y="709"/>
                  </a:lnTo>
                  <a:lnTo>
                    <a:pt x="188" y="702"/>
                  </a:lnTo>
                  <a:lnTo>
                    <a:pt x="176" y="695"/>
                  </a:lnTo>
                  <a:lnTo>
                    <a:pt x="164" y="687"/>
                  </a:lnTo>
                  <a:lnTo>
                    <a:pt x="151" y="679"/>
                  </a:lnTo>
                  <a:lnTo>
                    <a:pt x="140" y="670"/>
                  </a:lnTo>
                  <a:lnTo>
                    <a:pt x="128" y="660"/>
                  </a:lnTo>
                  <a:lnTo>
                    <a:pt x="119" y="651"/>
                  </a:lnTo>
                  <a:lnTo>
                    <a:pt x="108" y="640"/>
                  </a:lnTo>
                  <a:lnTo>
                    <a:pt x="98" y="629"/>
                  </a:lnTo>
                  <a:lnTo>
                    <a:pt x="90" y="618"/>
                  </a:lnTo>
                  <a:lnTo>
                    <a:pt x="81" y="606"/>
                  </a:lnTo>
                  <a:lnTo>
                    <a:pt x="73" y="593"/>
                  </a:lnTo>
                  <a:lnTo>
                    <a:pt x="65" y="580"/>
                  </a:lnTo>
                  <a:lnTo>
                    <a:pt x="59" y="567"/>
                  </a:lnTo>
                  <a:lnTo>
                    <a:pt x="52" y="553"/>
                  </a:lnTo>
                  <a:lnTo>
                    <a:pt x="47" y="539"/>
                  </a:lnTo>
                  <a:lnTo>
                    <a:pt x="41" y="525"/>
                  </a:lnTo>
                  <a:lnTo>
                    <a:pt x="37" y="510"/>
                  </a:lnTo>
                  <a:lnTo>
                    <a:pt x="33" y="496"/>
                  </a:lnTo>
                  <a:lnTo>
                    <a:pt x="31" y="480"/>
                  </a:lnTo>
                  <a:lnTo>
                    <a:pt x="27" y="465"/>
                  </a:lnTo>
                  <a:lnTo>
                    <a:pt x="26" y="449"/>
                  </a:lnTo>
                  <a:lnTo>
                    <a:pt x="25" y="433"/>
                  </a:lnTo>
                  <a:lnTo>
                    <a:pt x="336" y="433"/>
                  </a:lnTo>
                  <a:lnTo>
                    <a:pt x="341" y="432"/>
                  </a:lnTo>
                  <a:lnTo>
                    <a:pt x="345" y="430"/>
                  </a:lnTo>
                  <a:lnTo>
                    <a:pt x="347" y="425"/>
                  </a:lnTo>
                  <a:lnTo>
                    <a:pt x="348" y="420"/>
                  </a:lnTo>
                  <a:lnTo>
                    <a:pt x="348" y="123"/>
                  </a:lnTo>
                  <a:lnTo>
                    <a:pt x="362" y="124"/>
                  </a:lnTo>
                  <a:lnTo>
                    <a:pt x="376" y="125"/>
                  </a:lnTo>
                  <a:lnTo>
                    <a:pt x="390" y="127"/>
                  </a:lnTo>
                  <a:lnTo>
                    <a:pt x="403" y="130"/>
                  </a:lnTo>
                  <a:lnTo>
                    <a:pt x="416" y="133"/>
                  </a:lnTo>
                  <a:lnTo>
                    <a:pt x="429" y="137"/>
                  </a:lnTo>
                  <a:lnTo>
                    <a:pt x="442" y="141"/>
                  </a:lnTo>
                  <a:lnTo>
                    <a:pt x="454" y="146"/>
                  </a:lnTo>
                  <a:lnTo>
                    <a:pt x="467" y="152"/>
                  </a:lnTo>
                  <a:lnTo>
                    <a:pt x="478" y="158"/>
                  </a:lnTo>
                  <a:lnTo>
                    <a:pt x="489" y="164"/>
                  </a:lnTo>
                  <a:lnTo>
                    <a:pt x="501" y="171"/>
                  </a:lnTo>
                  <a:lnTo>
                    <a:pt x="512" y="178"/>
                  </a:lnTo>
                  <a:lnTo>
                    <a:pt x="522" y="186"/>
                  </a:lnTo>
                  <a:lnTo>
                    <a:pt x="532" y="194"/>
                  </a:lnTo>
                  <a:lnTo>
                    <a:pt x="542" y="204"/>
                  </a:lnTo>
                  <a:lnTo>
                    <a:pt x="543" y="204"/>
                  </a:lnTo>
                  <a:lnTo>
                    <a:pt x="543" y="205"/>
                  </a:lnTo>
                  <a:lnTo>
                    <a:pt x="544" y="205"/>
                  </a:lnTo>
                  <a:lnTo>
                    <a:pt x="545" y="206"/>
                  </a:lnTo>
                  <a:lnTo>
                    <a:pt x="556" y="217"/>
                  </a:lnTo>
                  <a:lnTo>
                    <a:pt x="566" y="228"/>
                  </a:lnTo>
                  <a:lnTo>
                    <a:pt x="576" y="241"/>
                  </a:lnTo>
                  <a:lnTo>
                    <a:pt x="586" y="252"/>
                  </a:lnTo>
                  <a:lnTo>
                    <a:pt x="594" y="265"/>
                  </a:lnTo>
                  <a:lnTo>
                    <a:pt x="602" y="278"/>
                  </a:lnTo>
                  <a:lnTo>
                    <a:pt x="609" y="292"/>
                  </a:lnTo>
                  <a:lnTo>
                    <a:pt x="616" y="306"/>
                  </a:lnTo>
                  <a:lnTo>
                    <a:pt x="621" y="321"/>
                  </a:lnTo>
                  <a:lnTo>
                    <a:pt x="627" y="335"/>
                  </a:lnTo>
                  <a:lnTo>
                    <a:pt x="631" y="350"/>
                  </a:lnTo>
                  <a:lnTo>
                    <a:pt x="635" y="366"/>
                  </a:lnTo>
                  <a:lnTo>
                    <a:pt x="637" y="381"/>
                  </a:lnTo>
                  <a:lnTo>
                    <a:pt x="639" y="397"/>
                  </a:lnTo>
                  <a:lnTo>
                    <a:pt x="642" y="414"/>
                  </a:lnTo>
                  <a:lnTo>
                    <a:pt x="642" y="431"/>
                  </a:lnTo>
                  <a:lnTo>
                    <a:pt x="642" y="446"/>
                  </a:lnTo>
                  <a:lnTo>
                    <a:pt x="640" y="462"/>
                  </a:lnTo>
                  <a:lnTo>
                    <a:pt x="638" y="477"/>
                  </a:lnTo>
                  <a:lnTo>
                    <a:pt x="635" y="493"/>
                  </a:lnTo>
                  <a:lnTo>
                    <a:pt x="632" y="507"/>
                  </a:lnTo>
                  <a:lnTo>
                    <a:pt x="628" y="522"/>
                  </a:lnTo>
                  <a:lnTo>
                    <a:pt x="623" y="536"/>
                  </a:lnTo>
                  <a:lnTo>
                    <a:pt x="617" y="550"/>
                  </a:lnTo>
                  <a:lnTo>
                    <a:pt x="611" y="564"/>
                  </a:lnTo>
                  <a:lnTo>
                    <a:pt x="604" y="578"/>
                  </a:lnTo>
                  <a:lnTo>
                    <a:pt x="596" y="591"/>
                  </a:lnTo>
                  <a:lnTo>
                    <a:pt x="589" y="603"/>
                  </a:lnTo>
                  <a:lnTo>
                    <a:pt x="580" y="614"/>
                  </a:lnTo>
                  <a:lnTo>
                    <a:pt x="571" y="626"/>
                  </a:lnTo>
                  <a:lnTo>
                    <a:pt x="561" y="638"/>
                  </a:lnTo>
                  <a:lnTo>
                    <a:pt x="551" y="649"/>
                  </a:lnTo>
                  <a:lnTo>
                    <a:pt x="541" y="658"/>
                  </a:lnTo>
                  <a:lnTo>
                    <a:pt x="529" y="668"/>
                  </a:lnTo>
                  <a:lnTo>
                    <a:pt x="518" y="678"/>
                  </a:lnTo>
                  <a:lnTo>
                    <a:pt x="505" y="686"/>
                  </a:lnTo>
                  <a:lnTo>
                    <a:pt x="493" y="694"/>
                  </a:lnTo>
                  <a:lnTo>
                    <a:pt x="481" y="701"/>
                  </a:lnTo>
                  <a:lnTo>
                    <a:pt x="467" y="708"/>
                  </a:lnTo>
                  <a:lnTo>
                    <a:pt x="454" y="714"/>
                  </a:lnTo>
                  <a:lnTo>
                    <a:pt x="439" y="720"/>
                  </a:lnTo>
                  <a:lnTo>
                    <a:pt x="425" y="725"/>
                  </a:lnTo>
                  <a:lnTo>
                    <a:pt x="411" y="729"/>
                  </a:lnTo>
                  <a:lnTo>
                    <a:pt x="396" y="732"/>
                  </a:lnTo>
                  <a:lnTo>
                    <a:pt x="381" y="735"/>
                  </a:lnTo>
                  <a:lnTo>
                    <a:pt x="365" y="737"/>
                  </a:lnTo>
                  <a:lnTo>
                    <a:pt x="350" y="738"/>
                  </a:lnTo>
                  <a:lnTo>
                    <a:pt x="333" y="739"/>
                  </a:lnTo>
                  <a:close/>
                  <a:moveTo>
                    <a:pt x="571" y="194"/>
                  </a:moveTo>
                  <a:lnTo>
                    <a:pt x="615" y="152"/>
                  </a:lnTo>
                  <a:lnTo>
                    <a:pt x="630" y="167"/>
                  </a:lnTo>
                  <a:lnTo>
                    <a:pt x="633" y="170"/>
                  </a:lnTo>
                  <a:lnTo>
                    <a:pt x="638" y="171"/>
                  </a:lnTo>
                  <a:lnTo>
                    <a:pt x="643" y="170"/>
                  </a:lnTo>
                  <a:lnTo>
                    <a:pt x="647" y="167"/>
                  </a:lnTo>
                  <a:lnTo>
                    <a:pt x="650" y="162"/>
                  </a:lnTo>
                  <a:lnTo>
                    <a:pt x="651" y="158"/>
                  </a:lnTo>
                  <a:lnTo>
                    <a:pt x="650" y="153"/>
                  </a:lnTo>
                  <a:lnTo>
                    <a:pt x="647" y="149"/>
                  </a:lnTo>
                  <a:lnTo>
                    <a:pt x="599" y="100"/>
                  </a:lnTo>
                  <a:lnTo>
                    <a:pt x="595" y="98"/>
                  </a:lnTo>
                  <a:lnTo>
                    <a:pt x="590" y="97"/>
                  </a:lnTo>
                  <a:lnTo>
                    <a:pt x="586" y="98"/>
                  </a:lnTo>
                  <a:lnTo>
                    <a:pt x="581" y="100"/>
                  </a:lnTo>
                  <a:lnTo>
                    <a:pt x="578" y="104"/>
                  </a:lnTo>
                  <a:lnTo>
                    <a:pt x="577" y="110"/>
                  </a:lnTo>
                  <a:lnTo>
                    <a:pt x="578" y="114"/>
                  </a:lnTo>
                  <a:lnTo>
                    <a:pt x="581" y="118"/>
                  </a:lnTo>
                  <a:lnTo>
                    <a:pt x="596" y="133"/>
                  </a:lnTo>
                  <a:lnTo>
                    <a:pt x="552" y="178"/>
                  </a:lnTo>
                  <a:lnTo>
                    <a:pt x="542" y="170"/>
                  </a:lnTo>
                  <a:lnTo>
                    <a:pt x="531" y="161"/>
                  </a:lnTo>
                  <a:lnTo>
                    <a:pt x="519" y="153"/>
                  </a:lnTo>
                  <a:lnTo>
                    <a:pt x="507" y="145"/>
                  </a:lnTo>
                  <a:lnTo>
                    <a:pt x="496" y="139"/>
                  </a:lnTo>
                  <a:lnTo>
                    <a:pt x="484" y="132"/>
                  </a:lnTo>
                  <a:lnTo>
                    <a:pt x="472" y="126"/>
                  </a:lnTo>
                  <a:lnTo>
                    <a:pt x="459" y="120"/>
                  </a:lnTo>
                  <a:lnTo>
                    <a:pt x="446" y="116"/>
                  </a:lnTo>
                  <a:lnTo>
                    <a:pt x="432" y="112"/>
                  </a:lnTo>
                  <a:lnTo>
                    <a:pt x="419" y="108"/>
                  </a:lnTo>
                  <a:lnTo>
                    <a:pt x="405" y="104"/>
                  </a:lnTo>
                  <a:lnTo>
                    <a:pt x="391" y="101"/>
                  </a:lnTo>
                  <a:lnTo>
                    <a:pt x="377" y="99"/>
                  </a:lnTo>
                  <a:lnTo>
                    <a:pt x="363" y="98"/>
                  </a:lnTo>
                  <a:lnTo>
                    <a:pt x="348" y="97"/>
                  </a:lnTo>
                  <a:lnTo>
                    <a:pt x="348" y="25"/>
                  </a:lnTo>
                  <a:lnTo>
                    <a:pt x="374" y="25"/>
                  </a:lnTo>
                  <a:lnTo>
                    <a:pt x="380" y="25"/>
                  </a:lnTo>
                  <a:lnTo>
                    <a:pt x="383" y="22"/>
                  </a:lnTo>
                  <a:lnTo>
                    <a:pt x="386" y="17"/>
                  </a:lnTo>
                  <a:lnTo>
                    <a:pt x="387" y="13"/>
                  </a:lnTo>
                  <a:lnTo>
                    <a:pt x="386" y="8"/>
                  </a:lnTo>
                  <a:lnTo>
                    <a:pt x="383" y="3"/>
                  </a:lnTo>
                  <a:lnTo>
                    <a:pt x="380" y="1"/>
                  </a:lnTo>
                  <a:lnTo>
                    <a:pt x="374" y="0"/>
                  </a:lnTo>
                  <a:lnTo>
                    <a:pt x="298" y="0"/>
                  </a:lnTo>
                  <a:lnTo>
                    <a:pt x="293" y="1"/>
                  </a:lnTo>
                  <a:lnTo>
                    <a:pt x="288" y="3"/>
                  </a:lnTo>
                  <a:lnTo>
                    <a:pt x="286" y="8"/>
                  </a:lnTo>
                  <a:lnTo>
                    <a:pt x="285" y="13"/>
                  </a:lnTo>
                  <a:lnTo>
                    <a:pt x="286" y="17"/>
                  </a:lnTo>
                  <a:lnTo>
                    <a:pt x="288" y="22"/>
                  </a:lnTo>
                  <a:lnTo>
                    <a:pt x="293" y="25"/>
                  </a:lnTo>
                  <a:lnTo>
                    <a:pt x="298" y="25"/>
                  </a:lnTo>
                  <a:lnTo>
                    <a:pt x="324" y="25"/>
                  </a:lnTo>
                  <a:lnTo>
                    <a:pt x="324" y="110"/>
                  </a:lnTo>
                  <a:lnTo>
                    <a:pt x="324" y="407"/>
                  </a:lnTo>
                  <a:lnTo>
                    <a:pt x="12" y="407"/>
                  </a:lnTo>
                  <a:lnTo>
                    <a:pt x="7" y="408"/>
                  </a:lnTo>
                  <a:lnTo>
                    <a:pt x="3" y="411"/>
                  </a:lnTo>
                  <a:lnTo>
                    <a:pt x="1" y="416"/>
                  </a:lnTo>
                  <a:lnTo>
                    <a:pt x="0" y="420"/>
                  </a:lnTo>
                  <a:lnTo>
                    <a:pt x="0" y="438"/>
                  </a:lnTo>
                  <a:lnTo>
                    <a:pt x="2" y="455"/>
                  </a:lnTo>
                  <a:lnTo>
                    <a:pt x="3" y="474"/>
                  </a:lnTo>
                  <a:lnTo>
                    <a:pt x="6" y="491"/>
                  </a:lnTo>
                  <a:lnTo>
                    <a:pt x="10" y="507"/>
                  </a:lnTo>
                  <a:lnTo>
                    <a:pt x="15" y="524"/>
                  </a:lnTo>
                  <a:lnTo>
                    <a:pt x="19" y="540"/>
                  </a:lnTo>
                  <a:lnTo>
                    <a:pt x="25" y="555"/>
                  </a:lnTo>
                  <a:lnTo>
                    <a:pt x="32" y="570"/>
                  </a:lnTo>
                  <a:lnTo>
                    <a:pt x="39" y="585"/>
                  </a:lnTo>
                  <a:lnTo>
                    <a:pt x="47" y="600"/>
                  </a:lnTo>
                  <a:lnTo>
                    <a:pt x="55" y="614"/>
                  </a:lnTo>
                  <a:lnTo>
                    <a:pt x="65" y="627"/>
                  </a:lnTo>
                  <a:lnTo>
                    <a:pt x="75" y="640"/>
                  </a:lnTo>
                  <a:lnTo>
                    <a:pt x="85" y="653"/>
                  </a:lnTo>
                  <a:lnTo>
                    <a:pt x="96" y="665"/>
                  </a:lnTo>
                  <a:lnTo>
                    <a:pt x="108" y="676"/>
                  </a:lnTo>
                  <a:lnTo>
                    <a:pt x="120" y="686"/>
                  </a:lnTo>
                  <a:lnTo>
                    <a:pt x="133" y="697"/>
                  </a:lnTo>
                  <a:lnTo>
                    <a:pt x="146" y="707"/>
                  </a:lnTo>
                  <a:lnTo>
                    <a:pt x="158" y="715"/>
                  </a:lnTo>
                  <a:lnTo>
                    <a:pt x="172" y="723"/>
                  </a:lnTo>
                  <a:lnTo>
                    <a:pt x="187" y="730"/>
                  </a:lnTo>
                  <a:lnTo>
                    <a:pt x="202" y="738"/>
                  </a:lnTo>
                  <a:lnTo>
                    <a:pt x="217" y="743"/>
                  </a:lnTo>
                  <a:lnTo>
                    <a:pt x="232" y="749"/>
                  </a:lnTo>
                  <a:lnTo>
                    <a:pt x="249" y="753"/>
                  </a:lnTo>
                  <a:lnTo>
                    <a:pt x="265" y="757"/>
                  </a:lnTo>
                  <a:lnTo>
                    <a:pt x="282" y="760"/>
                  </a:lnTo>
                  <a:lnTo>
                    <a:pt x="299" y="763"/>
                  </a:lnTo>
                  <a:lnTo>
                    <a:pt x="316" y="764"/>
                  </a:lnTo>
                  <a:lnTo>
                    <a:pt x="333" y="764"/>
                  </a:lnTo>
                  <a:lnTo>
                    <a:pt x="351" y="764"/>
                  </a:lnTo>
                  <a:lnTo>
                    <a:pt x="368" y="763"/>
                  </a:lnTo>
                  <a:lnTo>
                    <a:pt x="384" y="760"/>
                  </a:lnTo>
                  <a:lnTo>
                    <a:pt x="400" y="757"/>
                  </a:lnTo>
                  <a:lnTo>
                    <a:pt x="416" y="754"/>
                  </a:lnTo>
                  <a:lnTo>
                    <a:pt x="432" y="749"/>
                  </a:lnTo>
                  <a:lnTo>
                    <a:pt x="448" y="743"/>
                  </a:lnTo>
                  <a:lnTo>
                    <a:pt x="463" y="738"/>
                  </a:lnTo>
                  <a:lnTo>
                    <a:pt x="478" y="731"/>
                  </a:lnTo>
                  <a:lnTo>
                    <a:pt x="492" y="724"/>
                  </a:lnTo>
                  <a:lnTo>
                    <a:pt x="506" y="715"/>
                  </a:lnTo>
                  <a:lnTo>
                    <a:pt x="520" y="707"/>
                  </a:lnTo>
                  <a:lnTo>
                    <a:pt x="533" y="698"/>
                  </a:lnTo>
                  <a:lnTo>
                    <a:pt x="545" y="687"/>
                  </a:lnTo>
                  <a:lnTo>
                    <a:pt x="558" y="678"/>
                  </a:lnTo>
                  <a:lnTo>
                    <a:pt x="570" y="666"/>
                  </a:lnTo>
                  <a:lnTo>
                    <a:pt x="580" y="655"/>
                  </a:lnTo>
                  <a:lnTo>
                    <a:pt x="591" y="642"/>
                  </a:lnTo>
                  <a:lnTo>
                    <a:pt x="601" y="630"/>
                  </a:lnTo>
                  <a:lnTo>
                    <a:pt x="610" y="616"/>
                  </a:lnTo>
                  <a:lnTo>
                    <a:pt x="619" y="604"/>
                  </a:lnTo>
                  <a:lnTo>
                    <a:pt x="627" y="590"/>
                  </a:lnTo>
                  <a:lnTo>
                    <a:pt x="634" y="575"/>
                  </a:lnTo>
                  <a:lnTo>
                    <a:pt x="640" y="561"/>
                  </a:lnTo>
                  <a:lnTo>
                    <a:pt x="647" y="546"/>
                  </a:lnTo>
                  <a:lnTo>
                    <a:pt x="652" y="529"/>
                  </a:lnTo>
                  <a:lnTo>
                    <a:pt x="657" y="513"/>
                  </a:lnTo>
                  <a:lnTo>
                    <a:pt x="660" y="497"/>
                  </a:lnTo>
                  <a:lnTo>
                    <a:pt x="663" y="481"/>
                  </a:lnTo>
                  <a:lnTo>
                    <a:pt x="665" y="464"/>
                  </a:lnTo>
                  <a:lnTo>
                    <a:pt x="666" y="448"/>
                  </a:lnTo>
                  <a:lnTo>
                    <a:pt x="667" y="431"/>
                  </a:lnTo>
                  <a:lnTo>
                    <a:pt x="666" y="414"/>
                  </a:lnTo>
                  <a:lnTo>
                    <a:pt x="665" y="396"/>
                  </a:lnTo>
                  <a:lnTo>
                    <a:pt x="663" y="380"/>
                  </a:lnTo>
                  <a:lnTo>
                    <a:pt x="661" y="363"/>
                  </a:lnTo>
                  <a:lnTo>
                    <a:pt x="657" y="347"/>
                  </a:lnTo>
                  <a:lnTo>
                    <a:pt x="652" y="332"/>
                  </a:lnTo>
                  <a:lnTo>
                    <a:pt x="647" y="316"/>
                  </a:lnTo>
                  <a:lnTo>
                    <a:pt x="642" y="301"/>
                  </a:lnTo>
                  <a:lnTo>
                    <a:pt x="634" y="287"/>
                  </a:lnTo>
                  <a:lnTo>
                    <a:pt x="628" y="272"/>
                  </a:lnTo>
                  <a:lnTo>
                    <a:pt x="619" y="258"/>
                  </a:lnTo>
                  <a:lnTo>
                    <a:pt x="610" y="244"/>
                  </a:lnTo>
                  <a:lnTo>
                    <a:pt x="602" y="231"/>
                  </a:lnTo>
                  <a:lnTo>
                    <a:pt x="592" y="218"/>
                  </a:lnTo>
                  <a:lnTo>
                    <a:pt x="581" y="206"/>
                  </a:lnTo>
                  <a:lnTo>
                    <a:pt x="571"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20" name="Group 55">
            <a:extLst>
              <a:ext uri="{FF2B5EF4-FFF2-40B4-BE49-F238E27FC236}">
                <a16:creationId xmlns:a16="http://schemas.microsoft.com/office/drawing/2014/main" id="{92B3731E-F05D-4282-B496-73173E924730}"/>
              </a:ext>
            </a:extLst>
          </p:cNvPr>
          <p:cNvGrpSpPr>
            <a:grpSpLocks noChangeAspect="1"/>
          </p:cNvGrpSpPr>
          <p:nvPr/>
        </p:nvGrpSpPr>
        <p:grpSpPr>
          <a:xfrm>
            <a:off x="2301726" y="3801969"/>
            <a:ext cx="311122" cy="285619"/>
            <a:chOff x="1770063" y="4483101"/>
            <a:chExt cx="677863" cy="622300"/>
          </a:xfrm>
          <a:solidFill>
            <a:schemeClr val="bg2"/>
          </a:solidFill>
          <a:effectLst/>
        </p:grpSpPr>
        <p:sp>
          <p:nvSpPr>
            <p:cNvPr id="621" name="Freeform 206">
              <a:extLst>
                <a:ext uri="{FF2B5EF4-FFF2-40B4-BE49-F238E27FC236}">
                  <a16:creationId xmlns:a16="http://schemas.microsoft.com/office/drawing/2014/main" id="{760B06C3-D45D-4450-92E9-CEF37BEECAB5}"/>
                </a:ext>
              </a:extLst>
            </p:cNvPr>
            <p:cNvSpPr>
              <a:spLocks/>
            </p:cNvSpPr>
            <p:nvPr/>
          </p:nvSpPr>
          <p:spPr bwMode="auto">
            <a:xfrm>
              <a:off x="1770063" y="4483101"/>
              <a:ext cx="677863" cy="622300"/>
            </a:xfrm>
            <a:custGeom>
              <a:avLst/>
              <a:gdLst>
                <a:gd name="T0" fmla="*/ 1280 w 1280"/>
                <a:gd name="T1" fmla="*/ 1176 h 1176"/>
                <a:gd name="T2" fmla="*/ 0 w 1280"/>
                <a:gd name="T3" fmla="*/ 1176 h 1176"/>
                <a:gd name="T4" fmla="*/ 0 w 1280"/>
                <a:gd name="T5" fmla="*/ 0 h 1176"/>
                <a:gd name="T6" fmla="*/ 52 w 1280"/>
                <a:gd name="T7" fmla="*/ 0 h 1176"/>
                <a:gd name="T8" fmla="*/ 52 w 1280"/>
                <a:gd name="T9" fmla="*/ 1123 h 1176"/>
                <a:gd name="T10" fmla="*/ 1280 w 1280"/>
                <a:gd name="T11" fmla="*/ 1123 h 1176"/>
                <a:gd name="T12" fmla="*/ 1280 w 1280"/>
                <a:gd name="T13" fmla="*/ 1176 h 1176"/>
              </a:gdLst>
              <a:ahLst/>
              <a:cxnLst>
                <a:cxn ang="0">
                  <a:pos x="T0" y="T1"/>
                </a:cxn>
                <a:cxn ang="0">
                  <a:pos x="T2" y="T3"/>
                </a:cxn>
                <a:cxn ang="0">
                  <a:pos x="T4" y="T5"/>
                </a:cxn>
                <a:cxn ang="0">
                  <a:pos x="T6" y="T7"/>
                </a:cxn>
                <a:cxn ang="0">
                  <a:pos x="T8" y="T9"/>
                </a:cxn>
                <a:cxn ang="0">
                  <a:pos x="T10" y="T11"/>
                </a:cxn>
                <a:cxn ang="0">
                  <a:pos x="T12" y="T13"/>
                </a:cxn>
              </a:cxnLst>
              <a:rect l="0" t="0" r="r" b="b"/>
              <a:pathLst>
                <a:path w="1280" h="1176">
                  <a:moveTo>
                    <a:pt x="1280" y="1176"/>
                  </a:moveTo>
                  <a:lnTo>
                    <a:pt x="0" y="1176"/>
                  </a:lnTo>
                  <a:lnTo>
                    <a:pt x="0" y="0"/>
                  </a:lnTo>
                  <a:lnTo>
                    <a:pt x="52" y="0"/>
                  </a:lnTo>
                  <a:lnTo>
                    <a:pt x="52" y="1123"/>
                  </a:lnTo>
                  <a:lnTo>
                    <a:pt x="1280" y="1123"/>
                  </a:lnTo>
                  <a:lnTo>
                    <a:pt x="1280" y="1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10">
              <a:extLst>
                <a:ext uri="{FF2B5EF4-FFF2-40B4-BE49-F238E27FC236}">
                  <a16:creationId xmlns:a16="http://schemas.microsoft.com/office/drawing/2014/main" id="{948A19AD-1DDB-4CF3-9D2D-302FD418C271}"/>
                </a:ext>
              </a:extLst>
            </p:cNvPr>
            <p:cNvSpPr>
              <a:spLocks/>
            </p:cNvSpPr>
            <p:nvPr/>
          </p:nvSpPr>
          <p:spPr bwMode="auto">
            <a:xfrm>
              <a:off x="1773238" y="4640263"/>
              <a:ext cx="655638" cy="461963"/>
            </a:xfrm>
            <a:custGeom>
              <a:avLst/>
              <a:gdLst>
                <a:gd name="T0" fmla="*/ 38 w 1239"/>
                <a:gd name="T1" fmla="*/ 873 h 873"/>
                <a:gd name="T2" fmla="*/ 0 w 1239"/>
                <a:gd name="T3" fmla="*/ 837 h 873"/>
                <a:gd name="T4" fmla="*/ 471 w 1239"/>
                <a:gd name="T5" fmla="*/ 366 h 873"/>
                <a:gd name="T6" fmla="*/ 476 w 1239"/>
                <a:gd name="T7" fmla="*/ 363 h 873"/>
                <a:gd name="T8" fmla="*/ 480 w 1239"/>
                <a:gd name="T9" fmla="*/ 360 h 873"/>
                <a:gd name="T10" fmla="*/ 484 w 1239"/>
                <a:gd name="T11" fmla="*/ 359 h 873"/>
                <a:gd name="T12" fmla="*/ 490 w 1239"/>
                <a:gd name="T13" fmla="*/ 359 h 873"/>
                <a:gd name="T14" fmla="*/ 494 w 1239"/>
                <a:gd name="T15" fmla="*/ 359 h 873"/>
                <a:gd name="T16" fmla="*/ 499 w 1239"/>
                <a:gd name="T17" fmla="*/ 360 h 873"/>
                <a:gd name="T18" fmla="*/ 504 w 1239"/>
                <a:gd name="T19" fmla="*/ 363 h 873"/>
                <a:gd name="T20" fmla="*/ 507 w 1239"/>
                <a:gd name="T21" fmla="*/ 366 h 873"/>
                <a:gd name="T22" fmla="*/ 673 w 1239"/>
                <a:gd name="T23" fmla="*/ 530 h 873"/>
                <a:gd name="T24" fmla="*/ 1203 w 1239"/>
                <a:gd name="T25" fmla="*/ 0 h 873"/>
                <a:gd name="T26" fmla="*/ 1239 w 1239"/>
                <a:gd name="T27" fmla="*/ 38 h 873"/>
                <a:gd name="T28" fmla="*/ 690 w 1239"/>
                <a:gd name="T29" fmla="*/ 586 h 873"/>
                <a:gd name="T30" fmla="*/ 687 w 1239"/>
                <a:gd name="T31" fmla="*/ 589 h 873"/>
                <a:gd name="T32" fmla="*/ 681 w 1239"/>
                <a:gd name="T33" fmla="*/ 592 h 873"/>
                <a:gd name="T34" fmla="*/ 677 w 1239"/>
                <a:gd name="T35" fmla="*/ 593 h 873"/>
                <a:gd name="T36" fmla="*/ 673 w 1239"/>
                <a:gd name="T37" fmla="*/ 593 h 873"/>
                <a:gd name="T38" fmla="*/ 667 w 1239"/>
                <a:gd name="T39" fmla="*/ 593 h 873"/>
                <a:gd name="T40" fmla="*/ 663 w 1239"/>
                <a:gd name="T41" fmla="*/ 592 h 873"/>
                <a:gd name="T42" fmla="*/ 658 w 1239"/>
                <a:gd name="T43" fmla="*/ 589 h 873"/>
                <a:gd name="T44" fmla="*/ 654 w 1239"/>
                <a:gd name="T45" fmla="*/ 586 h 873"/>
                <a:gd name="T46" fmla="*/ 490 w 1239"/>
                <a:gd name="T47" fmla="*/ 422 h 873"/>
                <a:gd name="T48" fmla="*/ 38 w 1239"/>
                <a:gd name="T49" fmla="*/ 87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9" h="873">
                  <a:moveTo>
                    <a:pt x="38" y="873"/>
                  </a:moveTo>
                  <a:lnTo>
                    <a:pt x="0" y="837"/>
                  </a:lnTo>
                  <a:lnTo>
                    <a:pt x="471" y="366"/>
                  </a:lnTo>
                  <a:lnTo>
                    <a:pt x="476" y="363"/>
                  </a:lnTo>
                  <a:lnTo>
                    <a:pt x="480" y="360"/>
                  </a:lnTo>
                  <a:lnTo>
                    <a:pt x="484" y="359"/>
                  </a:lnTo>
                  <a:lnTo>
                    <a:pt x="490" y="359"/>
                  </a:lnTo>
                  <a:lnTo>
                    <a:pt x="494" y="359"/>
                  </a:lnTo>
                  <a:lnTo>
                    <a:pt x="499" y="360"/>
                  </a:lnTo>
                  <a:lnTo>
                    <a:pt x="504" y="363"/>
                  </a:lnTo>
                  <a:lnTo>
                    <a:pt x="507" y="366"/>
                  </a:lnTo>
                  <a:lnTo>
                    <a:pt x="673" y="530"/>
                  </a:lnTo>
                  <a:lnTo>
                    <a:pt x="1203" y="0"/>
                  </a:lnTo>
                  <a:lnTo>
                    <a:pt x="1239" y="38"/>
                  </a:lnTo>
                  <a:lnTo>
                    <a:pt x="690" y="586"/>
                  </a:lnTo>
                  <a:lnTo>
                    <a:pt x="687" y="589"/>
                  </a:lnTo>
                  <a:lnTo>
                    <a:pt x="681" y="592"/>
                  </a:lnTo>
                  <a:lnTo>
                    <a:pt x="677" y="593"/>
                  </a:lnTo>
                  <a:lnTo>
                    <a:pt x="673" y="593"/>
                  </a:lnTo>
                  <a:lnTo>
                    <a:pt x="667" y="593"/>
                  </a:lnTo>
                  <a:lnTo>
                    <a:pt x="663" y="592"/>
                  </a:lnTo>
                  <a:lnTo>
                    <a:pt x="658" y="589"/>
                  </a:lnTo>
                  <a:lnTo>
                    <a:pt x="654" y="586"/>
                  </a:lnTo>
                  <a:lnTo>
                    <a:pt x="490" y="422"/>
                  </a:lnTo>
                  <a:lnTo>
                    <a:pt x="38" y="8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11">
              <a:extLst>
                <a:ext uri="{FF2B5EF4-FFF2-40B4-BE49-F238E27FC236}">
                  <a16:creationId xmlns:a16="http://schemas.microsoft.com/office/drawing/2014/main" id="{D835990C-7538-47C1-A7AE-EF5104A52E2C}"/>
                </a:ext>
              </a:extLst>
            </p:cNvPr>
            <p:cNvSpPr>
              <a:spLocks/>
            </p:cNvSpPr>
            <p:nvPr/>
          </p:nvSpPr>
          <p:spPr bwMode="auto">
            <a:xfrm>
              <a:off x="2295525" y="4635501"/>
              <a:ext cx="138113" cy="138113"/>
            </a:xfrm>
            <a:custGeom>
              <a:avLst/>
              <a:gdLst>
                <a:gd name="T0" fmla="*/ 236 w 262"/>
                <a:gd name="T1" fmla="*/ 261 h 261"/>
                <a:gd name="T2" fmla="*/ 231 w 262"/>
                <a:gd name="T3" fmla="*/ 261 h 261"/>
                <a:gd name="T4" fmla="*/ 225 w 262"/>
                <a:gd name="T5" fmla="*/ 259 h 261"/>
                <a:gd name="T6" fmla="*/ 221 w 262"/>
                <a:gd name="T7" fmla="*/ 256 h 261"/>
                <a:gd name="T8" fmla="*/ 218 w 262"/>
                <a:gd name="T9" fmla="*/ 253 h 261"/>
                <a:gd name="T10" fmla="*/ 213 w 262"/>
                <a:gd name="T11" fmla="*/ 249 h 261"/>
                <a:gd name="T12" fmla="*/ 212 w 262"/>
                <a:gd name="T13" fmla="*/ 245 h 261"/>
                <a:gd name="T14" fmla="*/ 211 w 262"/>
                <a:gd name="T15" fmla="*/ 240 h 261"/>
                <a:gd name="T16" fmla="*/ 209 w 262"/>
                <a:gd name="T17" fmla="*/ 235 h 261"/>
                <a:gd name="T18" fmla="*/ 209 w 262"/>
                <a:gd name="T19" fmla="*/ 52 h 261"/>
                <a:gd name="T20" fmla="*/ 26 w 262"/>
                <a:gd name="T21" fmla="*/ 52 h 261"/>
                <a:gd name="T22" fmla="*/ 22 w 262"/>
                <a:gd name="T23" fmla="*/ 52 h 261"/>
                <a:gd name="T24" fmla="*/ 16 w 262"/>
                <a:gd name="T25" fmla="*/ 50 h 261"/>
                <a:gd name="T26" fmla="*/ 12 w 262"/>
                <a:gd name="T27" fmla="*/ 47 h 261"/>
                <a:gd name="T28" fmla="*/ 9 w 262"/>
                <a:gd name="T29" fmla="*/ 45 h 261"/>
                <a:gd name="T30" fmla="*/ 5 w 262"/>
                <a:gd name="T31" fmla="*/ 40 h 261"/>
                <a:gd name="T32" fmla="*/ 3 w 262"/>
                <a:gd name="T33" fmla="*/ 36 h 261"/>
                <a:gd name="T34" fmla="*/ 2 w 262"/>
                <a:gd name="T35" fmla="*/ 32 h 261"/>
                <a:gd name="T36" fmla="*/ 0 w 262"/>
                <a:gd name="T37" fmla="*/ 26 h 261"/>
                <a:gd name="T38" fmla="*/ 2 w 262"/>
                <a:gd name="T39" fmla="*/ 20 h 261"/>
                <a:gd name="T40" fmla="*/ 3 w 262"/>
                <a:gd name="T41" fmla="*/ 16 h 261"/>
                <a:gd name="T42" fmla="*/ 5 w 262"/>
                <a:gd name="T43" fmla="*/ 11 h 261"/>
                <a:gd name="T44" fmla="*/ 9 w 262"/>
                <a:gd name="T45" fmla="*/ 7 h 261"/>
                <a:gd name="T46" fmla="*/ 12 w 262"/>
                <a:gd name="T47" fmla="*/ 4 h 261"/>
                <a:gd name="T48" fmla="*/ 16 w 262"/>
                <a:gd name="T49" fmla="*/ 1 h 261"/>
                <a:gd name="T50" fmla="*/ 22 w 262"/>
                <a:gd name="T51" fmla="*/ 0 h 261"/>
                <a:gd name="T52" fmla="*/ 26 w 262"/>
                <a:gd name="T53" fmla="*/ 0 h 261"/>
                <a:gd name="T54" fmla="*/ 262 w 262"/>
                <a:gd name="T55" fmla="*/ 0 h 261"/>
                <a:gd name="T56" fmla="*/ 262 w 262"/>
                <a:gd name="T57" fmla="*/ 235 h 261"/>
                <a:gd name="T58" fmla="*/ 261 w 262"/>
                <a:gd name="T59" fmla="*/ 240 h 261"/>
                <a:gd name="T60" fmla="*/ 259 w 262"/>
                <a:gd name="T61" fmla="*/ 245 h 261"/>
                <a:gd name="T62" fmla="*/ 258 w 262"/>
                <a:gd name="T63" fmla="*/ 249 h 261"/>
                <a:gd name="T64" fmla="*/ 254 w 262"/>
                <a:gd name="T65" fmla="*/ 253 h 261"/>
                <a:gd name="T66" fmla="*/ 251 w 262"/>
                <a:gd name="T67" fmla="*/ 256 h 261"/>
                <a:gd name="T68" fmla="*/ 247 w 262"/>
                <a:gd name="T69" fmla="*/ 259 h 261"/>
                <a:gd name="T70" fmla="*/ 241 w 262"/>
                <a:gd name="T71" fmla="*/ 261 h 261"/>
                <a:gd name="T72" fmla="*/ 236 w 262"/>
                <a:gd name="T7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1">
                  <a:moveTo>
                    <a:pt x="236" y="261"/>
                  </a:moveTo>
                  <a:lnTo>
                    <a:pt x="231" y="261"/>
                  </a:lnTo>
                  <a:lnTo>
                    <a:pt x="225" y="259"/>
                  </a:lnTo>
                  <a:lnTo>
                    <a:pt x="221" y="256"/>
                  </a:lnTo>
                  <a:lnTo>
                    <a:pt x="218" y="253"/>
                  </a:lnTo>
                  <a:lnTo>
                    <a:pt x="213" y="249"/>
                  </a:lnTo>
                  <a:lnTo>
                    <a:pt x="212" y="245"/>
                  </a:lnTo>
                  <a:lnTo>
                    <a:pt x="211" y="240"/>
                  </a:lnTo>
                  <a:lnTo>
                    <a:pt x="209" y="235"/>
                  </a:lnTo>
                  <a:lnTo>
                    <a:pt x="209" y="52"/>
                  </a:lnTo>
                  <a:lnTo>
                    <a:pt x="26" y="52"/>
                  </a:lnTo>
                  <a:lnTo>
                    <a:pt x="22" y="52"/>
                  </a:lnTo>
                  <a:lnTo>
                    <a:pt x="16" y="50"/>
                  </a:lnTo>
                  <a:lnTo>
                    <a:pt x="12" y="47"/>
                  </a:lnTo>
                  <a:lnTo>
                    <a:pt x="9" y="45"/>
                  </a:lnTo>
                  <a:lnTo>
                    <a:pt x="5" y="40"/>
                  </a:lnTo>
                  <a:lnTo>
                    <a:pt x="3" y="36"/>
                  </a:lnTo>
                  <a:lnTo>
                    <a:pt x="2" y="32"/>
                  </a:lnTo>
                  <a:lnTo>
                    <a:pt x="0" y="26"/>
                  </a:lnTo>
                  <a:lnTo>
                    <a:pt x="2" y="20"/>
                  </a:lnTo>
                  <a:lnTo>
                    <a:pt x="3" y="16"/>
                  </a:lnTo>
                  <a:lnTo>
                    <a:pt x="5" y="11"/>
                  </a:lnTo>
                  <a:lnTo>
                    <a:pt x="9" y="7"/>
                  </a:lnTo>
                  <a:lnTo>
                    <a:pt x="12" y="4"/>
                  </a:lnTo>
                  <a:lnTo>
                    <a:pt x="16" y="1"/>
                  </a:lnTo>
                  <a:lnTo>
                    <a:pt x="22" y="0"/>
                  </a:lnTo>
                  <a:lnTo>
                    <a:pt x="26" y="0"/>
                  </a:lnTo>
                  <a:lnTo>
                    <a:pt x="262" y="0"/>
                  </a:lnTo>
                  <a:lnTo>
                    <a:pt x="262" y="235"/>
                  </a:lnTo>
                  <a:lnTo>
                    <a:pt x="261" y="240"/>
                  </a:lnTo>
                  <a:lnTo>
                    <a:pt x="259" y="245"/>
                  </a:lnTo>
                  <a:lnTo>
                    <a:pt x="258" y="249"/>
                  </a:lnTo>
                  <a:lnTo>
                    <a:pt x="254" y="253"/>
                  </a:lnTo>
                  <a:lnTo>
                    <a:pt x="251" y="256"/>
                  </a:lnTo>
                  <a:lnTo>
                    <a:pt x="247" y="259"/>
                  </a:lnTo>
                  <a:lnTo>
                    <a:pt x="241" y="261"/>
                  </a:lnTo>
                  <a:lnTo>
                    <a:pt x="23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6" name="Group 32">
            <a:extLst>
              <a:ext uri="{FF2B5EF4-FFF2-40B4-BE49-F238E27FC236}">
                <a16:creationId xmlns:a16="http://schemas.microsoft.com/office/drawing/2014/main" id="{20AD3CB7-1F9E-41C8-B459-91793939ABA5}"/>
              </a:ext>
            </a:extLst>
          </p:cNvPr>
          <p:cNvGrpSpPr>
            <a:grpSpLocks noChangeAspect="1"/>
          </p:cNvGrpSpPr>
          <p:nvPr/>
        </p:nvGrpSpPr>
        <p:grpSpPr>
          <a:xfrm>
            <a:off x="2314477" y="5956111"/>
            <a:ext cx="285619" cy="285619"/>
            <a:chOff x="4319588" y="1954213"/>
            <a:chExt cx="276225" cy="276225"/>
          </a:xfrm>
          <a:solidFill>
            <a:schemeClr val="bg2"/>
          </a:solidFill>
          <a:effectLst/>
        </p:grpSpPr>
        <p:sp>
          <p:nvSpPr>
            <p:cNvPr id="1225" name="Freeform 140">
              <a:extLst>
                <a:ext uri="{FF2B5EF4-FFF2-40B4-BE49-F238E27FC236}">
                  <a16:creationId xmlns:a16="http://schemas.microsoft.com/office/drawing/2014/main" id="{1C0A9200-8963-454F-8500-F02F35F23917}"/>
                </a:ext>
              </a:extLst>
            </p:cNvPr>
            <p:cNvSpPr>
              <a:spLocks noEditPoints="1"/>
            </p:cNvSpPr>
            <p:nvPr/>
          </p:nvSpPr>
          <p:spPr bwMode="auto">
            <a:xfrm>
              <a:off x="4319588" y="1954213"/>
              <a:ext cx="276225" cy="276225"/>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1">
              <a:extLst>
                <a:ext uri="{FF2B5EF4-FFF2-40B4-BE49-F238E27FC236}">
                  <a16:creationId xmlns:a16="http://schemas.microsoft.com/office/drawing/2014/main" id="{91C9C2D4-5AE3-49D8-8567-DCD396F44A25}"/>
                </a:ext>
              </a:extLst>
            </p:cNvPr>
            <p:cNvSpPr>
              <a:spLocks/>
            </p:cNvSpPr>
            <p:nvPr/>
          </p:nvSpPr>
          <p:spPr bwMode="auto">
            <a:xfrm>
              <a:off x="4400550" y="2035175"/>
              <a:ext cx="114300" cy="114300"/>
            </a:xfrm>
            <a:custGeom>
              <a:avLst/>
              <a:gdLst>
                <a:gd name="T0" fmla="*/ 5 w 361"/>
                <a:gd name="T1" fmla="*/ 335 h 361"/>
                <a:gd name="T2" fmla="*/ 1 w 361"/>
                <a:gd name="T3" fmla="*/ 341 h 361"/>
                <a:gd name="T4" fmla="*/ 0 w 361"/>
                <a:gd name="T5" fmla="*/ 346 h 361"/>
                <a:gd name="T6" fmla="*/ 1 w 361"/>
                <a:gd name="T7" fmla="*/ 351 h 361"/>
                <a:gd name="T8" fmla="*/ 5 w 361"/>
                <a:gd name="T9" fmla="*/ 357 h 361"/>
                <a:gd name="T10" fmla="*/ 10 w 361"/>
                <a:gd name="T11" fmla="*/ 360 h 361"/>
                <a:gd name="T12" fmla="*/ 15 w 361"/>
                <a:gd name="T13" fmla="*/ 361 h 361"/>
                <a:gd name="T14" fmla="*/ 21 w 361"/>
                <a:gd name="T15" fmla="*/ 360 h 361"/>
                <a:gd name="T16" fmla="*/ 26 w 361"/>
                <a:gd name="T17" fmla="*/ 357 h 361"/>
                <a:gd name="T18" fmla="*/ 336 w 361"/>
                <a:gd name="T19" fmla="*/ 357 h 361"/>
                <a:gd name="T20" fmla="*/ 340 w 361"/>
                <a:gd name="T21" fmla="*/ 360 h 361"/>
                <a:gd name="T22" fmla="*/ 346 w 361"/>
                <a:gd name="T23" fmla="*/ 361 h 361"/>
                <a:gd name="T24" fmla="*/ 352 w 361"/>
                <a:gd name="T25" fmla="*/ 360 h 361"/>
                <a:gd name="T26" fmla="*/ 357 w 361"/>
                <a:gd name="T27" fmla="*/ 357 h 361"/>
                <a:gd name="T28" fmla="*/ 360 w 361"/>
                <a:gd name="T29" fmla="*/ 353 h 361"/>
                <a:gd name="T30" fmla="*/ 361 w 361"/>
                <a:gd name="T31" fmla="*/ 347 h 361"/>
                <a:gd name="T32" fmla="*/ 360 w 361"/>
                <a:gd name="T33" fmla="*/ 341 h 361"/>
                <a:gd name="T34" fmla="*/ 357 w 361"/>
                <a:gd name="T35" fmla="*/ 335 h 361"/>
                <a:gd name="T36" fmla="*/ 357 w 361"/>
                <a:gd name="T37" fmla="*/ 25 h 361"/>
                <a:gd name="T38" fmla="*/ 360 w 361"/>
                <a:gd name="T39" fmla="*/ 21 h 361"/>
                <a:gd name="T40" fmla="*/ 361 w 361"/>
                <a:gd name="T41" fmla="*/ 16 h 361"/>
                <a:gd name="T42" fmla="*/ 360 w 361"/>
                <a:gd name="T43" fmla="*/ 9 h 361"/>
                <a:gd name="T44" fmla="*/ 357 w 361"/>
                <a:gd name="T45" fmla="*/ 5 h 361"/>
                <a:gd name="T46" fmla="*/ 352 w 361"/>
                <a:gd name="T47" fmla="*/ 1 h 361"/>
                <a:gd name="T48" fmla="*/ 346 w 361"/>
                <a:gd name="T49" fmla="*/ 0 h 361"/>
                <a:gd name="T50" fmla="*/ 340 w 361"/>
                <a:gd name="T51" fmla="*/ 1 h 361"/>
                <a:gd name="T52" fmla="*/ 336 w 361"/>
                <a:gd name="T53" fmla="*/ 5 h 361"/>
                <a:gd name="T54" fmla="*/ 26 w 361"/>
                <a:gd name="T55" fmla="*/ 5 h 361"/>
                <a:gd name="T56" fmla="*/ 20 w 361"/>
                <a:gd name="T57" fmla="*/ 1 h 361"/>
                <a:gd name="T58" fmla="*/ 15 w 361"/>
                <a:gd name="T59" fmla="*/ 0 h 361"/>
                <a:gd name="T60" fmla="*/ 10 w 361"/>
                <a:gd name="T61" fmla="*/ 1 h 361"/>
                <a:gd name="T62" fmla="*/ 4 w 361"/>
                <a:gd name="T63" fmla="*/ 5 h 361"/>
                <a:gd name="T64" fmla="*/ 1 w 361"/>
                <a:gd name="T65" fmla="*/ 9 h 361"/>
                <a:gd name="T66" fmla="*/ 0 w 361"/>
                <a:gd name="T67" fmla="*/ 16 h 361"/>
                <a:gd name="T68" fmla="*/ 1 w 361"/>
                <a:gd name="T69" fmla="*/ 21 h 361"/>
                <a:gd name="T70" fmla="*/ 4 w 361"/>
                <a:gd name="T71" fmla="*/ 2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61">
                  <a:moveTo>
                    <a:pt x="159" y="181"/>
                  </a:moveTo>
                  <a:lnTo>
                    <a:pt x="5" y="335"/>
                  </a:lnTo>
                  <a:lnTo>
                    <a:pt x="3" y="339"/>
                  </a:lnTo>
                  <a:lnTo>
                    <a:pt x="1" y="341"/>
                  </a:lnTo>
                  <a:lnTo>
                    <a:pt x="1" y="344"/>
                  </a:lnTo>
                  <a:lnTo>
                    <a:pt x="0" y="346"/>
                  </a:lnTo>
                  <a:lnTo>
                    <a:pt x="1" y="349"/>
                  </a:lnTo>
                  <a:lnTo>
                    <a:pt x="1" y="351"/>
                  </a:lnTo>
                  <a:lnTo>
                    <a:pt x="3" y="355"/>
                  </a:lnTo>
                  <a:lnTo>
                    <a:pt x="5" y="357"/>
                  </a:lnTo>
                  <a:lnTo>
                    <a:pt x="8" y="359"/>
                  </a:lnTo>
                  <a:lnTo>
                    <a:pt x="10" y="360"/>
                  </a:lnTo>
                  <a:lnTo>
                    <a:pt x="13" y="361"/>
                  </a:lnTo>
                  <a:lnTo>
                    <a:pt x="15" y="361"/>
                  </a:lnTo>
                  <a:lnTo>
                    <a:pt x="18" y="361"/>
                  </a:lnTo>
                  <a:lnTo>
                    <a:pt x="21" y="360"/>
                  </a:lnTo>
                  <a:lnTo>
                    <a:pt x="24" y="359"/>
                  </a:lnTo>
                  <a:lnTo>
                    <a:pt x="26" y="357"/>
                  </a:lnTo>
                  <a:lnTo>
                    <a:pt x="180" y="203"/>
                  </a:lnTo>
                  <a:lnTo>
                    <a:pt x="336" y="357"/>
                  </a:lnTo>
                  <a:lnTo>
                    <a:pt x="338" y="359"/>
                  </a:lnTo>
                  <a:lnTo>
                    <a:pt x="340" y="360"/>
                  </a:lnTo>
                  <a:lnTo>
                    <a:pt x="343" y="361"/>
                  </a:lnTo>
                  <a:lnTo>
                    <a:pt x="346" y="361"/>
                  </a:lnTo>
                  <a:lnTo>
                    <a:pt x="349" y="361"/>
                  </a:lnTo>
                  <a:lnTo>
                    <a:pt x="352" y="360"/>
                  </a:lnTo>
                  <a:lnTo>
                    <a:pt x="354" y="359"/>
                  </a:lnTo>
                  <a:lnTo>
                    <a:pt x="357" y="357"/>
                  </a:lnTo>
                  <a:lnTo>
                    <a:pt x="358" y="355"/>
                  </a:lnTo>
                  <a:lnTo>
                    <a:pt x="360" y="353"/>
                  </a:lnTo>
                  <a:lnTo>
                    <a:pt x="360" y="349"/>
                  </a:lnTo>
                  <a:lnTo>
                    <a:pt x="361" y="347"/>
                  </a:lnTo>
                  <a:lnTo>
                    <a:pt x="360" y="344"/>
                  </a:lnTo>
                  <a:lnTo>
                    <a:pt x="360" y="341"/>
                  </a:lnTo>
                  <a:lnTo>
                    <a:pt x="358" y="339"/>
                  </a:lnTo>
                  <a:lnTo>
                    <a:pt x="357" y="335"/>
                  </a:lnTo>
                  <a:lnTo>
                    <a:pt x="202" y="181"/>
                  </a:lnTo>
                  <a:lnTo>
                    <a:pt x="357" y="25"/>
                  </a:lnTo>
                  <a:lnTo>
                    <a:pt x="358" y="23"/>
                  </a:lnTo>
                  <a:lnTo>
                    <a:pt x="360" y="21"/>
                  </a:lnTo>
                  <a:lnTo>
                    <a:pt x="360" y="19"/>
                  </a:lnTo>
                  <a:lnTo>
                    <a:pt x="361" y="16"/>
                  </a:lnTo>
                  <a:lnTo>
                    <a:pt x="360" y="13"/>
                  </a:lnTo>
                  <a:lnTo>
                    <a:pt x="360" y="9"/>
                  </a:lnTo>
                  <a:lnTo>
                    <a:pt x="358" y="7"/>
                  </a:lnTo>
                  <a:lnTo>
                    <a:pt x="357" y="5"/>
                  </a:lnTo>
                  <a:lnTo>
                    <a:pt x="354" y="3"/>
                  </a:lnTo>
                  <a:lnTo>
                    <a:pt x="352" y="1"/>
                  </a:lnTo>
                  <a:lnTo>
                    <a:pt x="349" y="1"/>
                  </a:lnTo>
                  <a:lnTo>
                    <a:pt x="346" y="0"/>
                  </a:lnTo>
                  <a:lnTo>
                    <a:pt x="343" y="1"/>
                  </a:lnTo>
                  <a:lnTo>
                    <a:pt x="340" y="1"/>
                  </a:lnTo>
                  <a:lnTo>
                    <a:pt x="338" y="3"/>
                  </a:lnTo>
                  <a:lnTo>
                    <a:pt x="336" y="5"/>
                  </a:lnTo>
                  <a:lnTo>
                    <a:pt x="180" y="159"/>
                  </a:lnTo>
                  <a:lnTo>
                    <a:pt x="26" y="5"/>
                  </a:lnTo>
                  <a:lnTo>
                    <a:pt x="24" y="3"/>
                  </a:lnTo>
                  <a:lnTo>
                    <a:pt x="20" y="1"/>
                  </a:lnTo>
                  <a:lnTo>
                    <a:pt x="18" y="1"/>
                  </a:lnTo>
                  <a:lnTo>
                    <a:pt x="15" y="0"/>
                  </a:lnTo>
                  <a:lnTo>
                    <a:pt x="12" y="1"/>
                  </a:lnTo>
                  <a:lnTo>
                    <a:pt x="10" y="1"/>
                  </a:lnTo>
                  <a:lnTo>
                    <a:pt x="6" y="3"/>
                  </a:lnTo>
                  <a:lnTo>
                    <a:pt x="4" y="5"/>
                  </a:lnTo>
                  <a:lnTo>
                    <a:pt x="2" y="7"/>
                  </a:lnTo>
                  <a:lnTo>
                    <a:pt x="1" y="9"/>
                  </a:lnTo>
                  <a:lnTo>
                    <a:pt x="0" y="13"/>
                  </a:lnTo>
                  <a:lnTo>
                    <a:pt x="0" y="16"/>
                  </a:lnTo>
                  <a:lnTo>
                    <a:pt x="0" y="19"/>
                  </a:lnTo>
                  <a:lnTo>
                    <a:pt x="1" y="21"/>
                  </a:lnTo>
                  <a:lnTo>
                    <a:pt x="2" y="23"/>
                  </a:lnTo>
                  <a:lnTo>
                    <a:pt x="4" y="25"/>
                  </a:lnTo>
                  <a:lnTo>
                    <a:pt x="15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5" name="Group 27">
            <a:extLst>
              <a:ext uri="{FF2B5EF4-FFF2-40B4-BE49-F238E27FC236}">
                <a16:creationId xmlns:a16="http://schemas.microsoft.com/office/drawing/2014/main" id="{CC8A8C85-6EA7-49F2-B5FD-53064FA66E06}"/>
              </a:ext>
            </a:extLst>
          </p:cNvPr>
          <p:cNvGrpSpPr>
            <a:grpSpLocks noChangeAspect="1"/>
          </p:cNvGrpSpPr>
          <p:nvPr/>
        </p:nvGrpSpPr>
        <p:grpSpPr>
          <a:xfrm>
            <a:off x="3227529" y="2186361"/>
            <a:ext cx="235832" cy="285619"/>
            <a:chOff x="50800" y="903288"/>
            <a:chExt cx="571500" cy="692151"/>
          </a:xfrm>
          <a:solidFill>
            <a:schemeClr val="bg2"/>
          </a:solidFill>
          <a:effectLst/>
        </p:grpSpPr>
        <p:sp>
          <p:nvSpPr>
            <p:cNvPr id="596" name="Freeform 5">
              <a:extLst>
                <a:ext uri="{FF2B5EF4-FFF2-40B4-BE49-F238E27FC236}">
                  <a16:creationId xmlns:a16="http://schemas.microsoft.com/office/drawing/2014/main" id="{76CB36CB-4FB0-43A1-85D6-4B43063F7EBC}"/>
                </a:ext>
              </a:extLst>
            </p:cNvPr>
            <p:cNvSpPr>
              <a:spLocks noEditPoints="1"/>
            </p:cNvSpPr>
            <p:nvPr/>
          </p:nvSpPr>
          <p:spPr bwMode="auto">
            <a:xfrm>
              <a:off x="171450" y="903288"/>
              <a:ext cx="328613" cy="360363"/>
            </a:xfrm>
            <a:custGeom>
              <a:avLst/>
              <a:gdLst>
                <a:gd name="T0" fmla="*/ 272 w 622"/>
                <a:gd name="T1" fmla="*/ 56 h 680"/>
                <a:gd name="T2" fmla="*/ 189 w 622"/>
                <a:gd name="T3" fmla="*/ 86 h 680"/>
                <a:gd name="T4" fmla="*/ 112 w 622"/>
                <a:gd name="T5" fmla="*/ 157 h 680"/>
                <a:gd name="T6" fmla="*/ 65 w 622"/>
                <a:gd name="T7" fmla="*/ 255 h 680"/>
                <a:gd name="T8" fmla="*/ 55 w 622"/>
                <a:gd name="T9" fmla="*/ 369 h 680"/>
                <a:gd name="T10" fmla="*/ 84 w 622"/>
                <a:gd name="T11" fmla="*/ 477 h 680"/>
                <a:gd name="T12" fmla="*/ 147 w 622"/>
                <a:gd name="T13" fmla="*/ 562 h 680"/>
                <a:gd name="T14" fmla="*/ 235 w 622"/>
                <a:gd name="T15" fmla="*/ 613 h 680"/>
                <a:gd name="T16" fmla="*/ 298 w 622"/>
                <a:gd name="T17" fmla="*/ 626 h 680"/>
                <a:gd name="T18" fmla="*/ 351 w 622"/>
                <a:gd name="T19" fmla="*/ 623 h 680"/>
                <a:gd name="T20" fmla="*/ 435 w 622"/>
                <a:gd name="T21" fmla="*/ 592 h 680"/>
                <a:gd name="T22" fmla="*/ 511 w 622"/>
                <a:gd name="T23" fmla="*/ 523 h 680"/>
                <a:gd name="T24" fmla="*/ 559 w 622"/>
                <a:gd name="T25" fmla="*/ 425 h 680"/>
                <a:gd name="T26" fmla="*/ 569 w 622"/>
                <a:gd name="T27" fmla="*/ 311 h 680"/>
                <a:gd name="T28" fmla="*/ 539 w 622"/>
                <a:gd name="T29" fmla="*/ 203 h 680"/>
                <a:gd name="T30" fmla="*/ 477 w 622"/>
                <a:gd name="T31" fmla="*/ 118 h 680"/>
                <a:gd name="T32" fmla="*/ 389 w 622"/>
                <a:gd name="T33" fmla="*/ 65 h 680"/>
                <a:gd name="T34" fmla="*/ 325 w 622"/>
                <a:gd name="T35" fmla="*/ 53 h 680"/>
                <a:gd name="T36" fmla="*/ 279 w 622"/>
                <a:gd name="T37" fmla="*/ 678 h 680"/>
                <a:gd name="T38" fmla="*/ 219 w 622"/>
                <a:gd name="T39" fmla="*/ 664 h 680"/>
                <a:gd name="T40" fmla="*/ 164 w 622"/>
                <a:gd name="T41" fmla="*/ 638 h 680"/>
                <a:gd name="T42" fmla="*/ 114 w 622"/>
                <a:gd name="T43" fmla="*/ 602 h 680"/>
                <a:gd name="T44" fmla="*/ 72 w 622"/>
                <a:gd name="T45" fmla="*/ 556 h 680"/>
                <a:gd name="T46" fmla="*/ 39 w 622"/>
                <a:gd name="T47" fmla="*/ 501 h 680"/>
                <a:gd name="T48" fmla="*/ 14 w 622"/>
                <a:gd name="T49" fmla="*/ 441 h 680"/>
                <a:gd name="T50" fmla="*/ 3 w 622"/>
                <a:gd name="T51" fmla="*/ 374 h 680"/>
                <a:gd name="T52" fmla="*/ 3 w 622"/>
                <a:gd name="T53" fmla="*/ 305 h 680"/>
                <a:gd name="T54" fmla="*/ 14 w 622"/>
                <a:gd name="T55" fmla="*/ 239 h 680"/>
                <a:gd name="T56" fmla="*/ 39 w 622"/>
                <a:gd name="T57" fmla="*/ 179 h 680"/>
                <a:gd name="T58" fmla="*/ 72 w 622"/>
                <a:gd name="T59" fmla="*/ 124 h 680"/>
                <a:gd name="T60" fmla="*/ 114 w 622"/>
                <a:gd name="T61" fmla="*/ 78 h 680"/>
                <a:gd name="T62" fmla="*/ 164 w 622"/>
                <a:gd name="T63" fmla="*/ 42 h 680"/>
                <a:gd name="T64" fmla="*/ 219 w 622"/>
                <a:gd name="T65" fmla="*/ 16 h 680"/>
                <a:gd name="T66" fmla="*/ 279 w 622"/>
                <a:gd name="T67" fmla="*/ 1 h 680"/>
                <a:gd name="T68" fmla="*/ 343 w 622"/>
                <a:gd name="T69" fmla="*/ 1 h 680"/>
                <a:gd name="T70" fmla="*/ 405 w 622"/>
                <a:gd name="T71" fmla="*/ 16 h 680"/>
                <a:gd name="T72" fmla="*/ 459 w 622"/>
                <a:gd name="T73" fmla="*/ 42 h 680"/>
                <a:gd name="T74" fmla="*/ 510 w 622"/>
                <a:gd name="T75" fmla="*/ 78 h 680"/>
                <a:gd name="T76" fmla="*/ 552 w 622"/>
                <a:gd name="T77" fmla="*/ 124 h 680"/>
                <a:gd name="T78" fmla="*/ 585 w 622"/>
                <a:gd name="T79" fmla="*/ 179 h 680"/>
                <a:gd name="T80" fmla="*/ 609 w 622"/>
                <a:gd name="T81" fmla="*/ 239 h 680"/>
                <a:gd name="T82" fmla="*/ 621 w 622"/>
                <a:gd name="T83" fmla="*/ 305 h 680"/>
                <a:gd name="T84" fmla="*/ 621 w 622"/>
                <a:gd name="T85" fmla="*/ 374 h 680"/>
                <a:gd name="T86" fmla="*/ 609 w 622"/>
                <a:gd name="T87" fmla="*/ 441 h 680"/>
                <a:gd name="T88" fmla="*/ 585 w 622"/>
                <a:gd name="T89" fmla="*/ 501 h 680"/>
                <a:gd name="T90" fmla="*/ 552 w 622"/>
                <a:gd name="T91" fmla="*/ 556 h 680"/>
                <a:gd name="T92" fmla="*/ 510 w 622"/>
                <a:gd name="T93" fmla="*/ 602 h 680"/>
                <a:gd name="T94" fmla="*/ 459 w 622"/>
                <a:gd name="T95" fmla="*/ 638 h 680"/>
                <a:gd name="T96" fmla="*/ 405 w 622"/>
                <a:gd name="T97" fmla="*/ 664 h 680"/>
                <a:gd name="T98" fmla="*/ 343 w 622"/>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2" h="680">
                  <a:moveTo>
                    <a:pt x="311" y="52"/>
                  </a:moveTo>
                  <a:lnTo>
                    <a:pt x="298" y="53"/>
                  </a:lnTo>
                  <a:lnTo>
                    <a:pt x="285" y="53"/>
                  </a:lnTo>
                  <a:lnTo>
                    <a:pt x="272" y="56"/>
                  </a:lnTo>
                  <a:lnTo>
                    <a:pt x="259" y="58"/>
                  </a:lnTo>
                  <a:lnTo>
                    <a:pt x="235" y="65"/>
                  </a:lnTo>
                  <a:lnTo>
                    <a:pt x="212" y="75"/>
                  </a:lnTo>
                  <a:lnTo>
                    <a:pt x="189" y="86"/>
                  </a:lnTo>
                  <a:lnTo>
                    <a:pt x="167" y="101"/>
                  </a:lnTo>
                  <a:lnTo>
                    <a:pt x="147" y="118"/>
                  </a:lnTo>
                  <a:lnTo>
                    <a:pt x="128" y="137"/>
                  </a:lnTo>
                  <a:lnTo>
                    <a:pt x="112" y="157"/>
                  </a:lnTo>
                  <a:lnTo>
                    <a:pt x="96" y="179"/>
                  </a:lnTo>
                  <a:lnTo>
                    <a:pt x="84" y="203"/>
                  </a:lnTo>
                  <a:lnTo>
                    <a:pt x="73" y="227"/>
                  </a:lnTo>
                  <a:lnTo>
                    <a:pt x="65" y="255"/>
                  </a:lnTo>
                  <a:lnTo>
                    <a:pt x="58" y="282"/>
                  </a:lnTo>
                  <a:lnTo>
                    <a:pt x="55" y="311"/>
                  </a:lnTo>
                  <a:lnTo>
                    <a:pt x="53" y="340"/>
                  </a:lnTo>
                  <a:lnTo>
                    <a:pt x="55" y="369"/>
                  </a:lnTo>
                  <a:lnTo>
                    <a:pt x="58" y="397"/>
                  </a:lnTo>
                  <a:lnTo>
                    <a:pt x="65" y="425"/>
                  </a:lnTo>
                  <a:lnTo>
                    <a:pt x="73" y="452"/>
                  </a:lnTo>
                  <a:lnTo>
                    <a:pt x="84" y="477"/>
                  </a:lnTo>
                  <a:lnTo>
                    <a:pt x="96" y="500"/>
                  </a:lnTo>
                  <a:lnTo>
                    <a:pt x="112" y="523"/>
                  </a:lnTo>
                  <a:lnTo>
                    <a:pt x="128" y="543"/>
                  </a:lnTo>
                  <a:lnTo>
                    <a:pt x="147" y="562"/>
                  </a:lnTo>
                  <a:lnTo>
                    <a:pt x="167" y="577"/>
                  </a:lnTo>
                  <a:lnTo>
                    <a:pt x="189" y="592"/>
                  </a:lnTo>
                  <a:lnTo>
                    <a:pt x="212" y="605"/>
                  </a:lnTo>
                  <a:lnTo>
                    <a:pt x="235" y="613"/>
                  </a:lnTo>
                  <a:lnTo>
                    <a:pt x="259" y="621"/>
                  </a:lnTo>
                  <a:lnTo>
                    <a:pt x="272" y="623"/>
                  </a:lnTo>
                  <a:lnTo>
                    <a:pt x="285" y="625"/>
                  </a:lnTo>
                  <a:lnTo>
                    <a:pt x="298" y="626"/>
                  </a:lnTo>
                  <a:lnTo>
                    <a:pt x="311" y="626"/>
                  </a:lnTo>
                  <a:lnTo>
                    <a:pt x="325" y="626"/>
                  </a:lnTo>
                  <a:lnTo>
                    <a:pt x="338" y="625"/>
                  </a:lnTo>
                  <a:lnTo>
                    <a:pt x="351" y="623"/>
                  </a:lnTo>
                  <a:lnTo>
                    <a:pt x="364" y="621"/>
                  </a:lnTo>
                  <a:lnTo>
                    <a:pt x="389" y="613"/>
                  </a:lnTo>
                  <a:lnTo>
                    <a:pt x="412" y="605"/>
                  </a:lnTo>
                  <a:lnTo>
                    <a:pt x="435" y="592"/>
                  </a:lnTo>
                  <a:lnTo>
                    <a:pt x="456" y="577"/>
                  </a:lnTo>
                  <a:lnTo>
                    <a:pt x="477" y="562"/>
                  </a:lnTo>
                  <a:lnTo>
                    <a:pt x="494" y="543"/>
                  </a:lnTo>
                  <a:lnTo>
                    <a:pt x="511" y="523"/>
                  </a:lnTo>
                  <a:lnTo>
                    <a:pt x="526" y="500"/>
                  </a:lnTo>
                  <a:lnTo>
                    <a:pt x="539" y="477"/>
                  </a:lnTo>
                  <a:lnTo>
                    <a:pt x="550" y="452"/>
                  </a:lnTo>
                  <a:lnTo>
                    <a:pt x="559" y="425"/>
                  </a:lnTo>
                  <a:lnTo>
                    <a:pt x="566" y="397"/>
                  </a:lnTo>
                  <a:lnTo>
                    <a:pt x="569" y="369"/>
                  </a:lnTo>
                  <a:lnTo>
                    <a:pt x="570" y="340"/>
                  </a:lnTo>
                  <a:lnTo>
                    <a:pt x="569" y="311"/>
                  </a:lnTo>
                  <a:lnTo>
                    <a:pt x="566" y="282"/>
                  </a:lnTo>
                  <a:lnTo>
                    <a:pt x="559" y="255"/>
                  </a:lnTo>
                  <a:lnTo>
                    <a:pt x="550" y="227"/>
                  </a:lnTo>
                  <a:lnTo>
                    <a:pt x="539" y="203"/>
                  </a:lnTo>
                  <a:lnTo>
                    <a:pt x="526" y="179"/>
                  </a:lnTo>
                  <a:lnTo>
                    <a:pt x="511" y="157"/>
                  </a:lnTo>
                  <a:lnTo>
                    <a:pt x="494" y="137"/>
                  </a:lnTo>
                  <a:lnTo>
                    <a:pt x="477" y="118"/>
                  </a:lnTo>
                  <a:lnTo>
                    <a:pt x="456" y="101"/>
                  </a:lnTo>
                  <a:lnTo>
                    <a:pt x="435" y="86"/>
                  </a:lnTo>
                  <a:lnTo>
                    <a:pt x="412" y="75"/>
                  </a:lnTo>
                  <a:lnTo>
                    <a:pt x="389" y="65"/>
                  </a:lnTo>
                  <a:lnTo>
                    <a:pt x="364" y="58"/>
                  </a:lnTo>
                  <a:lnTo>
                    <a:pt x="351" y="56"/>
                  </a:lnTo>
                  <a:lnTo>
                    <a:pt x="338" y="53"/>
                  </a:lnTo>
                  <a:lnTo>
                    <a:pt x="325" y="53"/>
                  </a:lnTo>
                  <a:lnTo>
                    <a:pt x="311" y="52"/>
                  </a:lnTo>
                  <a:close/>
                  <a:moveTo>
                    <a:pt x="311" y="680"/>
                  </a:moveTo>
                  <a:lnTo>
                    <a:pt x="295" y="678"/>
                  </a:lnTo>
                  <a:lnTo>
                    <a:pt x="279" y="678"/>
                  </a:lnTo>
                  <a:lnTo>
                    <a:pt x="265" y="675"/>
                  </a:lnTo>
                  <a:lnTo>
                    <a:pt x="249" y="672"/>
                  </a:lnTo>
                  <a:lnTo>
                    <a:pt x="233" y="668"/>
                  </a:lnTo>
                  <a:lnTo>
                    <a:pt x="219" y="664"/>
                  </a:lnTo>
                  <a:lnTo>
                    <a:pt x="204" y="658"/>
                  </a:lnTo>
                  <a:lnTo>
                    <a:pt x="190" y="652"/>
                  </a:lnTo>
                  <a:lnTo>
                    <a:pt x="177" y="645"/>
                  </a:lnTo>
                  <a:lnTo>
                    <a:pt x="164" y="638"/>
                  </a:lnTo>
                  <a:lnTo>
                    <a:pt x="150" y="631"/>
                  </a:lnTo>
                  <a:lnTo>
                    <a:pt x="138" y="621"/>
                  </a:lnTo>
                  <a:lnTo>
                    <a:pt x="125" y="612"/>
                  </a:lnTo>
                  <a:lnTo>
                    <a:pt x="114" y="602"/>
                  </a:lnTo>
                  <a:lnTo>
                    <a:pt x="102" y="590"/>
                  </a:lnTo>
                  <a:lnTo>
                    <a:pt x="92" y="580"/>
                  </a:lnTo>
                  <a:lnTo>
                    <a:pt x="82" y="567"/>
                  </a:lnTo>
                  <a:lnTo>
                    <a:pt x="72" y="556"/>
                  </a:lnTo>
                  <a:lnTo>
                    <a:pt x="62" y="543"/>
                  </a:lnTo>
                  <a:lnTo>
                    <a:pt x="53" y="530"/>
                  </a:lnTo>
                  <a:lnTo>
                    <a:pt x="46" y="515"/>
                  </a:lnTo>
                  <a:lnTo>
                    <a:pt x="39" y="501"/>
                  </a:lnTo>
                  <a:lnTo>
                    <a:pt x="32" y="487"/>
                  </a:lnTo>
                  <a:lnTo>
                    <a:pt x="24" y="472"/>
                  </a:lnTo>
                  <a:lnTo>
                    <a:pt x="20" y="456"/>
                  </a:lnTo>
                  <a:lnTo>
                    <a:pt x="14" y="441"/>
                  </a:lnTo>
                  <a:lnTo>
                    <a:pt x="10" y="425"/>
                  </a:lnTo>
                  <a:lnTo>
                    <a:pt x="7" y="407"/>
                  </a:lnTo>
                  <a:lnTo>
                    <a:pt x="4" y="392"/>
                  </a:lnTo>
                  <a:lnTo>
                    <a:pt x="3" y="374"/>
                  </a:lnTo>
                  <a:lnTo>
                    <a:pt x="1" y="357"/>
                  </a:lnTo>
                  <a:lnTo>
                    <a:pt x="0" y="340"/>
                  </a:lnTo>
                  <a:lnTo>
                    <a:pt x="1" y="323"/>
                  </a:lnTo>
                  <a:lnTo>
                    <a:pt x="3" y="305"/>
                  </a:lnTo>
                  <a:lnTo>
                    <a:pt x="4" y="288"/>
                  </a:lnTo>
                  <a:lnTo>
                    <a:pt x="7" y="271"/>
                  </a:lnTo>
                  <a:lnTo>
                    <a:pt x="10" y="255"/>
                  </a:lnTo>
                  <a:lnTo>
                    <a:pt x="14" y="239"/>
                  </a:lnTo>
                  <a:lnTo>
                    <a:pt x="20" y="223"/>
                  </a:lnTo>
                  <a:lnTo>
                    <a:pt x="24" y="207"/>
                  </a:lnTo>
                  <a:lnTo>
                    <a:pt x="32" y="193"/>
                  </a:lnTo>
                  <a:lnTo>
                    <a:pt x="39" y="179"/>
                  </a:lnTo>
                  <a:lnTo>
                    <a:pt x="46" y="164"/>
                  </a:lnTo>
                  <a:lnTo>
                    <a:pt x="53" y="150"/>
                  </a:lnTo>
                  <a:lnTo>
                    <a:pt x="62" y="137"/>
                  </a:lnTo>
                  <a:lnTo>
                    <a:pt x="72" y="124"/>
                  </a:lnTo>
                  <a:lnTo>
                    <a:pt x="82" y="111"/>
                  </a:lnTo>
                  <a:lnTo>
                    <a:pt x="92" y="99"/>
                  </a:lnTo>
                  <a:lnTo>
                    <a:pt x="102" y="88"/>
                  </a:lnTo>
                  <a:lnTo>
                    <a:pt x="114" y="78"/>
                  </a:lnTo>
                  <a:lnTo>
                    <a:pt x="125" y="68"/>
                  </a:lnTo>
                  <a:lnTo>
                    <a:pt x="138" y="58"/>
                  </a:lnTo>
                  <a:lnTo>
                    <a:pt x="150" y="49"/>
                  </a:lnTo>
                  <a:lnTo>
                    <a:pt x="164" y="42"/>
                  </a:lnTo>
                  <a:lnTo>
                    <a:pt x="177" y="33"/>
                  </a:lnTo>
                  <a:lnTo>
                    <a:pt x="190" y="27"/>
                  </a:lnTo>
                  <a:lnTo>
                    <a:pt x="204" y="20"/>
                  </a:lnTo>
                  <a:lnTo>
                    <a:pt x="219" y="16"/>
                  </a:lnTo>
                  <a:lnTo>
                    <a:pt x="233" y="11"/>
                  </a:lnTo>
                  <a:lnTo>
                    <a:pt x="249" y="7"/>
                  </a:lnTo>
                  <a:lnTo>
                    <a:pt x="265" y="4"/>
                  </a:lnTo>
                  <a:lnTo>
                    <a:pt x="279" y="1"/>
                  </a:lnTo>
                  <a:lnTo>
                    <a:pt x="295" y="0"/>
                  </a:lnTo>
                  <a:lnTo>
                    <a:pt x="311" y="0"/>
                  </a:lnTo>
                  <a:lnTo>
                    <a:pt x="328" y="0"/>
                  </a:lnTo>
                  <a:lnTo>
                    <a:pt x="343" y="1"/>
                  </a:lnTo>
                  <a:lnTo>
                    <a:pt x="359" y="4"/>
                  </a:lnTo>
                  <a:lnTo>
                    <a:pt x="374" y="7"/>
                  </a:lnTo>
                  <a:lnTo>
                    <a:pt x="389" y="11"/>
                  </a:lnTo>
                  <a:lnTo>
                    <a:pt x="405" y="16"/>
                  </a:lnTo>
                  <a:lnTo>
                    <a:pt x="419" y="20"/>
                  </a:lnTo>
                  <a:lnTo>
                    <a:pt x="432" y="27"/>
                  </a:lnTo>
                  <a:lnTo>
                    <a:pt x="446" y="33"/>
                  </a:lnTo>
                  <a:lnTo>
                    <a:pt x="459" y="42"/>
                  </a:lnTo>
                  <a:lnTo>
                    <a:pt x="472" y="49"/>
                  </a:lnTo>
                  <a:lnTo>
                    <a:pt x="485" y="58"/>
                  </a:lnTo>
                  <a:lnTo>
                    <a:pt x="498" y="68"/>
                  </a:lnTo>
                  <a:lnTo>
                    <a:pt x="510" y="78"/>
                  </a:lnTo>
                  <a:lnTo>
                    <a:pt x="521" y="88"/>
                  </a:lnTo>
                  <a:lnTo>
                    <a:pt x="531" y="99"/>
                  </a:lnTo>
                  <a:lnTo>
                    <a:pt x="541" y="111"/>
                  </a:lnTo>
                  <a:lnTo>
                    <a:pt x="552" y="124"/>
                  </a:lnTo>
                  <a:lnTo>
                    <a:pt x="560" y="137"/>
                  </a:lnTo>
                  <a:lnTo>
                    <a:pt x="570" y="150"/>
                  </a:lnTo>
                  <a:lnTo>
                    <a:pt x="577" y="164"/>
                  </a:lnTo>
                  <a:lnTo>
                    <a:pt x="585" y="179"/>
                  </a:lnTo>
                  <a:lnTo>
                    <a:pt x="592" y="193"/>
                  </a:lnTo>
                  <a:lnTo>
                    <a:pt x="598" y="207"/>
                  </a:lnTo>
                  <a:lnTo>
                    <a:pt x="603" y="223"/>
                  </a:lnTo>
                  <a:lnTo>
                    <a:pt x="609" y="239"/>
                  </a:lnTo>
                  <a:lnTo>
                    <a:pt x="613" y="255"/>
                  </a:lnTo>
                  <a:lnTo>
                    <a:pt x="616" y="271"/>
                  </a:lnTo>
                  <a:lnTo>
                    <a:pt x="619" y="288"/>
                  </a:lnTo>
                  <a:lnTo>
                    <a:pt x="621" y="305"/>
                  </a:lnTo>
                  <a:lnTo>
                    <a:pt x="622" y="323"/>
                  </a:lnTo>
                  <a:lnTo>
                    <a:pt x="622" y="340"/>
                  </a:lnTo>
                  <a:lnTo>
                    <a:pt x="622" y="357"/>
                  </a:lnTo>
                  <a:lnTo>
                    <a:pt x="621" y="374"/>
                  </a:lnTo>
                  <a:lnTo>
                    <a:pt x="619" y="392"/>
                  </a:lnTo>
                  <a:lnTo>
                    <a:pt x="616" y="407"/>
                  </a:lnTo>
                  <a:lnTo>
                    <a:pt x="613" y="425"/>
                  </a:lnTo>
                  <a:lnTo>
                    <a:pt x="609" y="441"/>
                  </a:lnTo>
                  <a:lnTo>
                    <a:pt x="603" y="456"/>
                  </a:lnTo>
                  <a:lnTo>
                    <a:pt x="598" y="472"/>
                  </a:lnTo>
                  <a:lnTo>
                    <a:pt x="592" y="487"/>
                  </a:lnTo>
                  <a:lnTo>
                    <a:pt x="585" y="501"/>
                  </a:lnTo>
                  <a:lnTo>
                    <a:pt x="577" y="515"/>
                  </a:lnTo>
                  <a:lnTo>
                    <a:pt x="570" y="530"/>
                  </a:lnTo>
                  <a:lnTo>
                    <a:pt x="560" y="543"/>
                  </a:lnTo>
                  <a:lnTo>
                    <a:pt x="552" y="556"/>
                  </a:lnTo>
                  <a:lnTo>
                    <a:pt x="541" y="567"/>
                  </a:lnTo>
                  <a:lnTo>
                    <a:pt x="531" y="580"/>
                  </a:lnTo>
                  <a:lnTo>
                    <a:pt x="521" y="590"/>
                  </a:lnTo>
                  <a:lnTo>
                    <a:pt x="510" y="602"/>
                  </a:lnTo>
                  <a:lnTo>
                    <a:pt x="498" y="612"/>
                  </a:lnTo>
                  <a:lnTo>
                    <a:pt x="485" y="621"/>
                  </a:lnTo>
                  <a:lnTo>
                    <a:pt x="472" y="631"/>
                  </a:lnTo>
                  <a:lnTo>
                    <a:pt x="459" y="638"/>
                  </a:lnTo>
                  <a:lnTo>
                    <a:pt x="446" y="645"/>
                  </a:lnTo>
                  <a:lnTo>
                    <a:pt x="432" y="652"/>
                  </a:lnTo>
                  <a:lnTo>
                    <a:pt x="419" y="658"/>
                  </a:lnTo>
                  <a:lnTo>
                    <a:pt x="405" y="664"/>
                  </a:lnTo>
                  <a:lnTo>
                    <a:pt x="389" y="668"/>
                  </a:lnTo>
                  <a:lnTo>
                    <a:pt x="374" y="672"/>
                  </a:lnTo>
                  <a:lnTo>
                    <a:pt x="359" y="675"/>
                  </a:lnTo>
                  <a:lnTo>
                    <a:pt x="343" y="678"/>
                  </a:lnTo>
                  <a:lnTo>
                    <a:pt x="328"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6">
              <a:extLst>
                <a:ext uri="{FF2B5EF4-FFF2-40B4-BE49-F238E27FC236}">
                  <a16:creationId xmlns:a16="http://schemas.microsoft.com/office/drawing/2014/main" id="{2D294B2B-AD6A-4088-80BE-66933AA8EBEF}"/>
                </a:ext>
              </a:extLst>
            </p:cNvPr>
            <p:cNvSpPr>
              <a:spLocks/>
            </p:cNvSpPr>
            <p:nvPr/>
          </p:nvSpPr>
          <p:spPr bwMode="auto">
            <a:xfrm>
              <a:off x="50800" y="1235076"/>
              <a:ext cx="571500" cy="360363"/>
            </a:xfrm>
            <a:custGeom>
              <a:avLst/>
              <a:gdLst>
                <a:gd name="T0" fmla="*/ 0 w 1079"/>
                <a:gd name="T1" fmla="*/ 370 h 681"/>
                <a:gd name="T2" fmla="*/ 11 w 1079"/>
                <a:gd name="T3" fmla="*/ 292 h 681"/>
                <a:gd name="T4" fmla="*/ 38 w 1079"/>
                <a:gd name="T5" fmla="*/ 236 h 681"/>
                <a:gd name="T6" fmla="*/ 81 w 1079"/>
                <a:gd name="T7" fmla="*/ 197 h 681"/>
                <a:gd name="T8" fmla="*/ 137 w 1079"/>
                <a:gd name="T9" fmla="*/ 170 h 681"/>
                <a:gd name="T10" fmla="*/ 244 w 1079"/>
                <a:gd name="T11" fmla="*/ 137 h 681"/>
                <a:gd name="T12" fmla="*/ 303 w 1079"/>
                <a:gd name="T13" fmla="*/ 118 h 681"/>
                <a:gd name="T14" fmla="*/ 349 w 1079"/>
                <a:gd name="T15" fmla="*/ 95 h 681"/>
                <a:gd name="T16" fmla="*/ 378 w 1079"/>
                <a:gd name="T17" fmla="*/ 66 h 681"/>
                <a:gd name="T18" fmla="*/ 395 w 1079"/>
                <a:gd name="T19" fmla="*/ 30 h 681"/>
                <a:gd name="T20" fmla="*/ 399 w 1079"/>
                <a:gd name="T21" fmla="*/ 3 h 681"/>
                <a:gd name="T22" fmla="*/ 448 w 1079"/>
                <a:gd name="T23" fmla="*/ 37 h 681"/>
                <a:gd name="T24" fmla="*/ 435 w 1079"/>
                <a:gd name="T25" fmla="*/ 73 h 681"/>
                <a:gd name="T26" fmla="*/ 411 w 1079"/>
                <a:gd name="T27" fmla="*/ 109 h 681"/>
                <a:gd name="T28" fmla="*/ 373 w 1079"/>
                <a:gd name="T29" fmla="*/ 141 h 681"/>
                <a:gd name="T30" fmla="*/ 320 w 1079"/>
                <a:gd name="T31" fmla="*/ 167 h 681"/>
                <a:gd name="T32" fmla="*/ 258 w 1079"/>
                <a:gd name="T33" fmla="*/ 186 h 681"/>
                <a:gd name="T34" fmla="*/ 157 w 1079"/>
                <a:gd name="T35" fmla="*/ 217 h 681"/>
                <a:gd name="T36" fmla="*/ 111 w 1079"/>
                <a:gd name="T37" fmla="*/ 239 h 681"/>
                <a:gd name="T38" fmla="*/ 80 w 1079"/>
                <a:gd name="T39" fmla="*/ 269 h 681"/>
                <a:gd name="T40" fmla="*/ 60 w 1079"/>
                <a:gd name="T41" fmla="*/ 311 h 681"/>
                <a:gd name="T42" fmla="*/ 52 w 1079"/>
                <a:gd name="T43" fmla="*/ 370 h 681"/>
                <a:gd name="T44" fmla="*/ 1026 w 1079"/>
                <a:gd name="T45" fmla="*/ 370 h 681"/>
                <a:gd name="T46" fmla="*/ 1020 w 1079"/>
                <a:gd name="T47" fmla="*/ 311 h 681"/>
                <a:gd name="T48" fmla="*/ 1000 w 1079"/>
                <a:gd name="T49" fmla="*/ 269 h 681"/>
                <a:gd name="T50" fmla="*/ 967 w 1079"/>
                <a:gd name="T51" fmla="*/ 239 h 681"/>
                <a:gd name="T52" fmla="*/ 921 w 1079"/>
                <a:gd name="T53" fmla="*/ 217 h 681"/>
                <a:gd name="T54" fmla="*/ 820 w 1079"/>
                <a:gd name="T55" fmla="*/ 186 h 681"/>
                <a:gd name="T56" fmla="*/ 759 w 1079"/>
                <a:gd name="T57" fmla="*/ 167 h 681"/>
                <a:gd name="T58" fmla="*/ 706 w 1079"/>
                <a:gd name="T59" fmla="*/ 141 h 681"/>
                <a:gd name="T60" fmla="*/ 669 w 1079"/>
                <a:gd name="T61" fmla="*/ 109 h 681"/>
                <a:gd name="T62" fmla="*/ 644 w 1079"/>
                <a:gd name="T63" fmla="*/ 73 h 681"/>
                <a:gd name="T64" fmla="*/ 631 w 1079"/>
                <a:gd name="T65" fmla="*/ 37 h 681"/>
                <a:gd name="T66" fmla="*/ 680 w 1079"/>
                <a:gd name="T67" fmla="*/ 3 h 681"/>
                <a:gd name="T68" fmla="*/ 684 w 1079"/>
                <a:gd name="T69" fmla="*/ 32 h 681"/>
                <a:gd name="T70" fmla="*/ 702 w 1079"/>
                <a:gd name="T71" fmla="*/ 68 h 681"/>
                <a:gd name="T72" fmla="*/ 731 w 1079"/>
                <a:gd name="T73" fmla="*/ 95 h 681"/>
                <a:gd name="T74" fmla="*/ 775 w 1079"/>
                <a:gd name="T75" fmla="*/ 118 h 681"/>
                <a:gd name="T76" fmla="*/ 836 w 1079"/>
                <a:gd name="T77" fmla="*/ 137 h 681"/>
                <a:gd name="T78" fmla="*/ 942 w 1079"/>
                <a:gd name="T79" fmla="*/ 170 h 681"/>
                <a:gd name="T80" fmla="*/ 997 w 1079"/>
                <a:gd name="T81" fmla="*/ 197 h 681"/>
                <a:gd name="T82" fmla="*/ 1040 w 1079"/>
                <a:gd name="T83" fmla="*/ 236 h 681"/>
                <a:gd name="T84" fmla="*/ 1069 w 1079"/>
                <a:gd name="T85" fmla="*/ 292 h 681"/>
                <a:gd name="T86" fmla="*/ 1079 w 1079"/>
                <a:gd name="T87" fmla="*/ 3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9" h="681">
                  <a:moveTo>
                    <a:pt x="1079" y="681"/>
                  </a:moveTo>
                  <a:lnTo>
                    <a:pt x="0" y="681"/>
                  </a:lnTo>
                  <a:lnTo>
                    <a:pt x="0" y="370"/>
                  </a:lnTo>
                  <a:lnTo>
                    <a:pt x="2" y="341"/>
                  </a:lnTo>
                  <a:lnTo>
                    <a:pt x="5" y="315"/>
                  </a:lnTo>
                  <a:lnTo>
                    <a:pt x="11" y="292"/>
                  </a:lnTo>
                  <a:lnTo>
                    <a:pt x="18" y="271"/>
                  </a:lnTo>
                  <a:lnTo>
                    <a:pt x="28" y="252"/>
                  </a:lnTo>
                  <a:lnTo>
                    <a:pt x="38" y="236"/>
                  </a:lnTo>
                  <a:lnTo>
                    <a:pt x="51" y="222"/>
                  </a:lnTo>
                  <a:lnTo>
                    <a:pt x="65" y="209"/>
                  </a:lnTo>
                  <a:lnTo>
                    <a:pt x="81" y="197"/>
                  </a:lnTo>
                  <a:lnTo>
                    <a:pt x="98" y="187"/>
                  </a:lnTo>
                  <a:lnTo>
                    <a:pt x="117" y="178"/>
                  </a:lnTo>
                  <a:lnTo>
                    <a:pt x="137" y="170"/>
                  </a:lnTo>
                  <a:lnTo>
                    <a:pt x="179" y="155"/>
                  </a:lnTo>
                  <a:lnTo>
                    <a:pt x="225" y="141"/>
                  </a:lnTo>
                  <a:lnTo>
                    <a:pt x="244" y="137"/>
                  </a:lnTo>
                  <a:lnTo>
                    <a:pt x="263" y="129"/>
                  </a:lnTo>
                  <a:lnTo>
                    <a:pt x="283" y="124"/>
                  </a:lnTo>
                  <a:lnTo>
                    <a:pt x="303" y="118"/>
                  </a:lnTo>
                  <a:lnTo>
                    <a:pt x="322" y="111"/>
                  </a:lnTo>
                  <a:lnTo>
                    <a:pt x="336" y="102"/>
                  </a:lnTo>
                  <a:lnTo>
                    <a:pt x="349" y="95"/>
                  </a:lnTo>
                  <a:lnTo>
                    <a:pt x="360" y="85"/>
                  </a:lnTo>
                  <a:lnTo>
                    <a:pt x="371" y="76"/>
                  </a:lnTo>
                  <a:lnTo>
                    <a:pt x="378" y="66"/>
                  </a:lnTo>
                  <a:lnTo>
                    <a:pt x="385" y="58"/>
                  </a:lnTo>
                  <a:lnTo>
                    <a:pt x="389" y="47"/>
                  </a:lnTo>
                  <a:lnTo>
                    <a:pt x="395" y="30"/>
                  </a:lnTo>
                  <a:lnTo>
                    <a:pt x="399" y="16"/>
                  </a:lnTo>
                  <a:lnTo>
                    <a:pt x="399" y="7"/>
                  </a:lnTo>
                  <a:lnTo>
                    <a:pt x="399" y="3"/>
                  </a:lnTo>
                  <a:lnTo>
                    <a:pt x="451" y="0"/>
                  </a:lnTo>
                  <a:lnTo>
                    <a:pt x="451" y="17"/>
                  </a:lnTo>
                  <a:lnTo>
                    <a:pt x="448" y="37"/>
                  </a:lnTo>
                  <a:lnTo>
                    <a:pt x="445" y="49"/>
                  </a:lnTo>
                  <a:lnTo>
                    <a:pt x="441" y="60"/>
                  </a:lnTo>
                  <a:lnTo>
                    <a:pt x="435" y="73"/>
                  </a:lnTo>
                  <a:lnTo>
                    <a:pt x="428" y="85"/>
                  </a:lnTo>
                  <a:lnTo>
                    <a:pt x="421" y="96"/>
                  </a:lnTo>
                  <a:lnTo>
                    <a:pt x="411" y="109"/>
                  </a:lnTo>
                  <a:lnTo>
                    <a:pt x="401" y="119"/>
                  </a:lnTo>
                  <a:lnTo>
                    <a:pt x="388" y="131"/>
                  </a:lnTo>
                  <a:lnTo>
                    <a:pt x="373" y="141"/>
                  </a:lnTo>
                  <a:lnTo>
                    <a:pt x="358" y="151"/>
                  </a:lnTo>
                  <a:lnTo>
                    <a:pt x="340" y="160"/>
                  </a:lnTo>
                  <a:lnTo>
                    <a:pt x="320" y="167"/>
                  </a:lnTo>
                  <a:lnTo>
                    <a:pt x="299" y="174"/>
                  </a:lnTo>
                  <a:lnTo>
                    <a:pt x="278" y="180"/>
                  </a:lnTo>
                  <a:lnTo>
                    <a:pt x="258" y="186"/>
                  </a:lnTo>
                  <a:lnTo>
                    <a:pt x="240" y="191"/>
                  </a:lnTo>
                  <a:lnTo>
                    <a:pt x="196" y="204"/>
                  </a:lnTo>
                  <a:lnTo>
                    <a:pt x="157" y="217"/>
                  </a:lnTo>
                  <a:lnTo>
                    <a:pt x="142" y="225"/>
                  </a:lnTo>
                  <a:lnTo>
                    <a:pt x="126" y="232"/>
                  </a:lnTo>
                  <a:lnTo>
                    <a:pt x="111" y="239"/>
                  </a:lnTo>
                  <a:lnTo>
                    <a:pt x="100" y="249"/>
                  </a:lnTo>
                  <a:lnTo>
                    <a:pt x="88" y="258"/>
                  </a:lnTo>
                  <a:lnTo>
                    <a:pt x="80" y="269"/>
                  </a:lnTo>
                  <a:lnTo>
                    <a:pt x="71" y="281"/>
                  </a:lnTo>
                  <a:lnTo>
                    <a:pt x="65" y="295"/>
                  </a:lnTo>
                  <a:lnTo>
                    <a:pt x="60" y="311"/>
                  </a:lnTo>
                  <a:lnTo>
                    <a:pt x="55" y="328"/>
                  </a:lnTo>
                  <a:lnTo>
                    <a:pt x="54" y="348"/>
                  </a:lnTo>
                  <a:lnTo>
                    <a:pt x="52" y="370"/>
                  </a:lnTo>
                  <a:lnTo>
                    <a:pt x="52" y="629"/>
                  </a:lnTo>
                  <a:lnTo>
                    <a:pt x="1026" y="629"/>
                  </a:lnTo>
                  <a:lnTo>
                    <a:pt x="1026" y="370"/>
                  </a:lnTo>
                  <a:lnTo>
                    <a:pt x="1026" y="348"/>
                  </a:lnTo>
                  <a:lnTo>
                    <a:pt x="1023" y="328"/>
                  </a:lnTo>
                  <a:lnTo>
                    <a:pt x="1020" y="311"/>
                  </a:lnTo>
                  <a:lnTo>
                    <a:pt x="1014" y="295"/>
                  </a:lnTo>
                  <a:lnTo>
                    <a:pt x="1008" y="281"/>
                  </a:lnTo>
                  <a:lnTo>
                    <a:pt x="1000" y="269"/>
                  </a:lnTo>
                  <a:lnTo>
                    <a:pt x="991" y="258"/>
                  </a:lnTo>
                  <a:lnTo>
                    <a:pt x="980" y="249"/>
                  </a:lnTo>
                  <a:lnTo>
                    <a:pt x="967" y="239"/>
                  </a:lnTo>
                  <a:lnTo>
                    <a:pt x="954" y="232"/>
                  </a:lnTo>
                  <a:lnTo>
                    <a:pt x="938" y="225"/>
                  </a:lnTo>
                  <a:lnTo>
                    <a:pt x="921" y="217"/>
                  </a:lnTo>
                  <a:lnTo>
                    <a:pt x="883" y="204"/>
                  </a:lnTo>
                  <a:lnTo>
                    <a:pt x="840" y="191"/>
                  </a:lnTo>
                  <a:lnTo>
                    <a:pt x="820" y="186"/>
                  </a:lnTo>
                  <a:lnTo>
                    <a:pt x="801" y="180"/>
                  </a:lnTo>
                  <a:lnTo>
                    <a:pt x="781" y="174"/>
                  </a:lnTo>
                  <a:lnTo>
                    <a:pt x="759" y="167"/>
                  </a:lnTo>
                  <a:lnTo>
                    <a:pt x="739" y="160"/>
                  </a:lnTo>
                  <a:lnTo>
                    <a:pt x="722" y="151"/>
                  </a:lnTo>
                  <a:lnTo>
                    <a:pt x="706" y="141"/>
                  </a:lnTo>
                  <a:lnTo>
                    <a:pt x="692" y="131"/>
                  </a:lnTo>
                  <a:lnTo>
                    <a:pt x="679" y="119"/>
                  </a:lnTo>
                  <a:lnTo>
                    <a:pt x="669" y="109"/>
                  </a:lnTo>
                  <a:lnTo>
                    <a:pt x="659" y="96"/>
                  </a:lnTo>
                  <a:lnTo>
                    <a:pt x="651" y="85"/>
                  </a:lnTo>
                  <a:lnTo>
                    <a:pt x="644" y="73"/>
                  </a:lnTo>
                  <a:lnTo>
                    <a:pt x="638" y="60"/>
                  </a:lnTo>
                  <a:lnTo>
                    <a:pt x="634" y="49"/>
                  </a:lnTo>
                  <a:lnTo>
                    <a:pt x="631" y="37"/>
                  </a:lnTo>
                  <a:lnTo>
                    <a:pt x="628" y="17"/>
                  </a:lnTo>
                  <a:lnTo>
                    <a:pt x="627" y="0"/>
                  </a:lnTo>
                  <a:lnTo>
                    <a:pt x="680" y="3"/>
                  </a:lnTo>
                  <a:lnTo>
                    <a:pt x="680" y="7"/>
                  </a:lnTo>
                  <a:lnTo>
                    <a:pt x="680" y="17"/>
                  </a:lnTo>
                  <a:lnTo>
                    <a:pt x="684" y="32"/>
                  </a:lnTo>
                  <a:lnTo>
                    <a:pt x="690" y="49"/>
                  </a:lnTo>
                  <a:lnTo>
                    <a:pt x="696" y="58"/>
                  </a:lnTo>
                  <a:lnTo>
                    <a:pt x="702" y="68"/>
                  </a:lnTo>
                  <a:lnTo>
                    <a:pt x="709" y="76"/>
                  </a:lnTo>
                  <a:lnTo>
                    <a:pt x="719" y="86"/>
                  </a:lnTo>
                  <a:lnTo>
                    <a:pt x="731" y="95"/>
                  </a:lnTo>
                  <a:lnTo>
                    <a:pt x="744" y="104"/>
                  </a:lnTo>
                  <a:lnTo>
                    <a:pt x="758" y="111"/>
                  </a:lnTo>
                  <a:lnTo>
                    <a:pt x="775" y="118"/>
                  </a:lnTo>
                  <a:lnTo>
                    <a:pt x="797" y="124"/>
                  </a:lnTo>
                  <a:lnTo>
                    <a:pt x="817" y="129"/>
                  </a:lnTo>
                  <a:lnTo>
                    <a:pt x="836" y="137"/>
                  </a:lnTo>
                  <a:lnTo>
                    <a:pt x="854" y="141"/>
                  </a:lnTo>
                  <a:lnTo>
                    <a:pt x="900" y="155"/>
                  </a:lnTo>
                  <a:lnTo>
                    <a:pt x="942" y="170"/>
                  </a:lnTo>
                  <a:lnTo>
                    <a:pt x="962" y="178"/>
                  </a:lnTo>
                  <a:lnTo>
                    <a:pt x="981" y="187"/>
                  </a:lnTo>
                  <a:lnTo>
                    <a:pt x="997" y="197"/>
                  </a:lnTo>
                  <a:lnTo>
                    <a:pt x="1014" y="209"/>
                  </a:lnTo>
                  <a:lnTo>
                    <a:pt x="1029" y="222"/>
                  </a:lnTo>
                  <a:lnTo>
                    <a:pt x="1040" y="236"/>
                  </a:lnTo>
                  <a:lnTo>
                    <a:pt x="1052" y="252"/>
                  </a:lnTo>
                  <a:lnTo>
                    <a:pt x="1062" y="271"/>
                  </a:lnTo>
                  <a:lnTo>
                    <a:pt x="1069" y="292"/>
                  </a:lnTo>
                  <a:lnTo>
                    <a:pt x="1075" y="315"/>
                  </a:lnTo>
                  <a:lnTo>
                    <a:pt x="1078" y="341"/>
                  </a:lnTo>
                  <a:lnTo>
                    <a:pt x="1079" y="370"/>
                  </a:lnTo>
                  <a:lnTo>
                    <a:pt x="1079"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7">
              <a:extLst>
                <a:ext uri="{FF2B5EF4-FFF2-40B4-BE49-F238E27FC236}">
                  <a16:creationId xmlns:a16="http://schemas.microsoft.com/office/drawing/2014/main" id="{7C87C997-98EA-402A-81F3-ACDF3348940F}"/>
                </a:ext>
              </a:extLst>
            </p:cNvPr>
            <p:cNvSpPr>
              <a:spLocks/>
            </p:cNvSpPr>
            <p:nvPr/>
          </p:nvSpPr>
          <p:spPr bwMode="auto">
            <a:xfrm>
              <a:off x="182563" y="993776"/>
              <a:ext cx="304800" cy="66675"/>
            </a:xfrm>
            <a:custGeom>
              <a:avLst/>
              <a:gdLst>
                <a:gd name="T0" fmla="*/ 137 w 576"/>
                <a:gd name="T1" fmla="*/ 126 h 126"/>
                <a:gd name="T2" fmla="*/ 104 w 576"/>
                <a:gd name="T3" fmla="*/ 124 h 126"/>
                <a:gd name="T4" fmla="*/ 71 w 576"/>
                <a:gd name="T5" fmla="*/ 121 h 126"/>
                <a:gd name="T6" fmla="*/ 36 w 576"/>
                <a:gd name="T7" fmla="*/ 117 h 126"/>
                <a:gd name="T8" fmla="*/ 0 w 576"/>
                <a:gd name="T9" fmla="*/ 108 h 126"/>
                <a:gd name="T10" fmla="*/ 13 w 576"/>
                <a:gd name="T11" fmla="*/ 58 h 126"/>
                <a:gd name="T12" fmla="*/ 33 w 576"/>
                <a:gd name="T13" fmla="*/ 62 h 126"/>
                <a:gd name="T14" fmla="*/ 52 w 576"/>
                <a:gd name="T15" fmla="*/ 67 h 126"/>
                <a:gd name="T16" fmla="*/ 72 w 576"/>
                <a:gd name="T17" fmla="*/ 69 h 126"/>
                <a:gd name="T18" fmla="*/ 91 w 576"/>
                <a:gd name="T19" fmla="*/ 71 h 126"/>
                <a:gd name="T20" fmla="*/ 127 w 576"/>
                <a:gd name="T21" fmla="*/ 72 h 126"/>
                <a:gd name="T22" fmla="*/ 161 w 576"/>
                <a:gd name="T23" fmla="*/ 72 h 126"/>
                <a:gd name="T24" fmla="*/ 195 w 576"/>
                <a:gd name="T25" fmla="*/ 69 h 126"/>
                <a:gd name="T26" fmla="*/ 226 w 576"/>
                <a:gd name="T27" fmla="*/ 65 h 126"/>
                <a:gd name="T28" fmla="*/ 255 w 576"/>
                <a:gd name="T29" fmla="*/ 58 h 126"/>
                <a:gd name="T30" fmla="*/ 281 w 576"/>
                <a:gd name="T31" fmla="*/ 52 h 126"/>
                <a:gd name="T32" fmla="*/ 305 w 576"/>
                <a:gd name="T33" fmla="*/ 44 h 126"/>
                <a:gd name="T34" fmla="*/ 327 w 576"/>
                <a:gd name="T35" fmla="*/ 36 h 126"/>
                <a:gd name="T36" fmla="*/ 346 w 576"/>
                <a:gd name="T37" fmla="*/ 28 h 126"/>
                <a:gd name="T38" fmla="*/ 362 w 576"/>
                <a:gd name="T39" fmla="*/ 20 h 126"/>
                <a:gd name="T40" fmla="*/ 383 w 576"/>
                <a:gd name="T41" fmla="*/ 9 h 126"/>
                <a:gd name="T42" fmla="*/ 392 w 576"/>
                <a:gd name="T43" fmla="*/ 5 h 126"/>
                <a:gd name="T44" fmla="*/ 395 w 576"/>
                <a:gd name="T45" fmla="*/ 2 h 126"/>
                <a:gd name="T46" fmla="*/ 399 w 576"/>
                <a:gd name="T47" fmla="*/ 0 h 126"/>
                <a:gd name="T48" fmla="*/ 403 w 576"/>
                <a:gd name="T49" fmla="*/ 0 h 126"/>
                <a:gd name="T50" fmla="*/ 408 w 576"/>
                <a:gd name="T51" fmla="*/ 0 h 126"/>
                <a:gd name="T52" fmla="*/ 412 w 576"/>
                <a:gd name="T53" fmla="*/ 0 h 126"/>
                <a:gd name="T54" fmla="*/ 416 w 576"/>
                <a:gd name="T55" fmla="*/ 3 h 126"/>
                <a:gd name="T56" fmla="*/ 421 w 576"/>
                <a:gd name="T57" fmla="*/ 5 h 126"/>
                <a:gd name="T58" fmla="*/ 424 w 576"/>
                <a:gd name="T59" fmla="*/ 8 h 126"/>
                <a:gd name="T60" fmla="*/ 435 w 576"/>
                <a:gd name="T61" fmla="*/ 16 h 126"/>
                <a:gd name="T62" fmla="*/ 464 w 576"/>
                <a:gd name="T63" fmla="*/ 33 h 126"/>
                <a:gd name="T64" fmla="*/ 484 w 576"/>
                <a:gd name="T65" fmla="*/ 42 h 126"/>
                <a:gd name="T66" fmla="*/ 510 w 576"/>
                <a:gd name="T67" fmla="*/ 49 h 126"/>
                <a:gd name="T68" fmla="*/ 526 w 576"/>
                <a:gd name="T69" fmla="*/ 52 h 126"/>
                <a:gd name="T70" fmla="*/ 542 w 576"/>
                <a:gd name="T71" fmla="*/ 55 h 126"/>
                <a:gd name="T72" fmla="*/ 559 w 576"/>
                <a:gd name="T73" fmla="*/ 56 h 126"/>
                <a:gd name="T74" fmla="*/ 576 w 576"/>
                <a:gd name="T75" fmla="*/ 56 h 126"/>
                <a:gd name="T76" fmla="*/ 576 w 576"/>
                <a:gd name="T77" fmla="*/ 110 h 126"/>
                <a:gd name="T78" fmla="*/ 544 w 576"/>
                <a:gd name="T79" fmla="*/ 108 h 126"/>
                <a:gd name="T80" fmla="*/ 516 w 576"/>
                <a:gd name="T81" fmla="*/ 104 h 126"/>
                <a:gd name="T82" fmla="*/ 490 w 576"/>
                <a:gd name="T83" fmla="*/ 98 h 126"/>
                <a:gd name="T84" fmla="*/ 467 w 576"/>
                <a:gd name="T85" fmla="*/ 91 h 126"/>
                <a:gd name="T86" fmla="*/ 447 w 576"/>
                <a:gd name="T87" fmla="*/ 82 h 126"/>
                <a:gd name="T88" fmla="*/ 429 w 576"/>
                <a:gd name="T89" fmla="*/ 74 h 126"/>
                <a:gd name="T90" fmla="*/ 415 w 576"/>
                <a:gd name="T91" fmla="*/ 65 h 126"/>
                <a:gd name="T92" fmla="*/ 403 w 576"/>
                <a:gd name="T93" fmla="*/ 58 h 126"/>
                <a:gd name="T94" fmla="*/ 386 w 576"/>
                <a:gd name="T95" fmla="*/ 67 h 126"/>
                <a:gd name="T96" fmla="*/ 364 w 576"/>
                <a:gd name="T97" fmla="*/ 78 h 126"/>
                <a:gd name="T98" fmla="*/ 337 w 576"/>
                <a:gd name="T99" fmla="*/ 88 h 126"/>
                <a:gd name="T100" fmla="*/ 305 w 576"/>
                <a:gd name="T101" fmla="*/ 100 h 126"/>
                <a:gd name="T102" fmla="*/ 268 w 576"/>
                <a:gd name="T103" fmla="*/ 110 h 126"/>
                <a:gd name="T104" fmla="*/ 228 w 576"/>
                <a:gd name="T105" fmla="*/ 118 h 126"/>
                <a:gd name="T106" fmla="*/ 206 w 576"/>
                <a:gd name="T107" fmla="*/ 121 h 126"/>
                <a:gd name="T108" fmla="*/ 184 w 576"/>
                <a:gd name="T109" fmla="*/ 123 h 126"/>
                <a:gd name="T110" fmla="*/ 160 w 576"/>
                <a:gd name="T111" fmla="*/ 124 h 126"/>
                <a:gd name="T112" fmla="*/ 137 w 576"/>
                <a:gd name="T11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126">
                  <a:moveTo>
                    <a:pt x="137" y="126"/>
                  </a:moveTo>
                  <a:lnTo>
                    <a:pt x="104" y="124"/>
                  </a:lnTo>
                  <a:lnTo>
                    <a:pt x="71" y="121"/>
                  </a:lnTo>
                  <a:lnTo>
                    <a:pt x="36" y="117"/>
                  </a:lnTo>
                  <a:lnTo>
                    <a:pt x="0" y="108"/>
                  </a:lnTo>
                  <a:lnTo>
                    <a:pt x="13" y="58"/>
                  </a:lnTo>
                  <a:lnTo>
                    <a:pt x="33" y="62"/>
                  </a:lnTo>
                  <a:lnTo>
                    <a:pt x="52" y="67"/>
                  </a:lnTo>
                  <a:lnTo>
                    <a:pt x="72" y="69"/>
                  </a:lnTo>
                  <a:lnTo>
                    <a:pt x="91" y="71"/>
                  </a:lnTo>
                  <a:lnTo>
                    <a:pt x="127" y="72"/>
                  </a:lnTo>
                  <a:lnTo>
                    <a:pt x="161" y="72"/>
                  </a:lnTo>
                  <a:lnTo>
                    <a:pt x="195" y="69"/>
                  </a:lnTo>
                  <a:lnTo>
                    <a:pt x="226" y="65"/>
                  </a:lnTo>
                  <a:lnTo>
                    <a:pt x="255" y="58"/>
                  </a:lnTo>
                  <a:lnTo>
                    <a:pt x="281" y="52"/>
                  </a:lnTo>
                  <a:lnTo>
                    <a:pt x="305" y="44"/>
                  </a:lnTo>
                  <a:lnTo>
                    <a:pt x="327" y="36"/>
                  </a:lnTo>
                  <a:lnTo>
                    <a:pt x="346" y="28"/>
                  </a:lnTo>
                  <a:lnTo>
                    <a:pt x="362" y="20"/>
                  </a:lnTo>
                  <a:lnTo>
                    <a:pt x="383" y="9"/>
                  </a:lnTo>
                  <a:lnTo>
                    <a:pt x="392" y="5"/>
                  </a:lnTo>
                  <a:lnTo>
                    <a:pt x="395" y="2"/>
                  </a:lnTo>
                  <a:lnTo>
                    <a:pt x="399" y="0"/>
                  </a:lnTo>
                  <a:lnTo>
                    <a:pt x="403" y="0"/>
                  </a:lnTo>
                  <a:lnTo>
                    <a:pt x="408" y="0"/>
                  </a:lnTo>
                  <a:lnTo>
                    <a:pt x="412" y="0"/>
                  </a:lnTo>
                  <a:lnTo>
                    <a:pt x="416" y="3"/>
                  </a:lnTo>
                  <a:lnTo>
                    <a:pt x="421" y="5"/>
                  </a:lnTo>
                  <a:lnTo>
                    <a:pt x="424" y="8"/>
                  </a:lnTo>
                  <a:lnTo>
                    <a:pt x="435" y="16"/>
                  </a:lnTo>
                  <a:lnTo>
                    <a:pt x="464" y="33"/>
                  </a:lnTo>
                  <a:lnTo>
                    <a:pt x="484" y="42"/>
                  </a:lnTo>
                  <a:lnTo>
                    <a:pt x="510" y="49"/>
                  </a:lnTo>
                  <a:lnTo>
                    <a:pt x="526" y="52"/>
                  </a:lnTo>
                  <a:lnTo>
                    <a:pt x="542" y="55"/>
                  </a:lnTo>
                  <a:lnTo>
                    <a:pt x="559" y="56"/>
                  </a:lnTo>
                  <a:lnTo>
                    <a:pt x="576" y="56"/>
                  </a:lnTo>
                  <a:lnTo>
                    <a:pt x="576" y="110"/>
                  </a:lnTo>
                  <a:lnTo>
                    <a:pt x="544" y="108"/>
                  </a:lnTo>
                  <a:lnTo>
                    <a:pt x="516" y="104"/>
                  </a:lnTo>
                  <a:lnTo>
                    <a:pt x="490" y="98"/>
                  </a:lnTo>
                  <a:lnTo>
                    <a:pt x="467" y="91"/>
                  </a:lnTo>
                  <a:lnTo>
                    <a:pt x="447" y="82"/>
                  </a:lnTo>
                  <a:lnTo>
                    <a:pt x="429" y="74"/>
                  </a:lnTo>
                  <a:lnTo>
                    <a:pt x="415" y="65"/>
                  </a:lnTo>
                  <a:lnTo>
                    <a:pt x="403" y="58"/>
                  </a:lnTo>
                  <a:lnTo>
                    <a:pt x="386" y="67"/>
                  </a:lnTo>
                  <a:lnTo>
                    <a:pt x="364" y="78"/>
                  </a:lnTo>
                  <a:lnTo>
                    <a:pt x="337" y="88"/>
                  </a:lnTo>
                  <a:lnTo>
                    <a:pt x="305" y="100"/>
                  </a:lnTo>
                  <a:lnTo>
                    <a:pt x="268" y="110"/>
                  </a:lnTo>
                  <a:lnTo>
                    <a:pt x="228" y="118"/>
                  </a:lnTo>
                  <a:lnTo>
                    <a:pt x="206" y="121"/>
                  </a:lnTo>
                  <a:lnTo>
                    <a:pt x="184" y="123"/>
                  </a:lnTo>
                  <a:lnTo>
                    <a:pt x="160" y="124"/>
                  </a:lnTo>
                  <a:lnTo>
                    <a:pt x="13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7" name="Group 43">
            <a:extLst>
              <a:ext uri="{FF2B5EF4-FFF2-40B4-BE49-F238E27FC236}">
                <a16:creationId xmlns:a16="http://schemas.microsoft.com/office/drawing/2014/main" id="{5911ED0F-DBB5-4B7C-9564-C9699D5C6301}"/>
              </a:ext>
            </a:extLst>
          </p:cNvPr>
          <p:cNvGrpSpPr>
            <a:grpSpLocks noChangeAspect="1"/>
          </p:cNvGrpSpPr>
          <p:nvPr/>
        </p:nvGrpSpPr>
        <p:grpSpPr>
          <a:xfrm>
            <a:off x="3252618" y="2724897"/>
            <a:ext cx="185654" cy="285619"/>
            <a:chOff x="1525588" y="2489200"/>
            <a:chExt cx="185737" cy="285750"/>
          </a:xfrm>
          <a:solidFill>
            <a:schemeClr val="bg2"/>
          </a:solidFill>
          <a:effectLst/>
        </p:grpSpPr>
        <p:sp>
          <p:nvSpPr>
            <p:cNvPr id="658" name="Freeform 196">
              <a:extLst>
                <a:ext uri="{FF2B5EF4-FFF2-40B4-BE49-F238E27FC236}">
                  <a16:creationId xmlns:a16="http://schemas.microsoft.com/office/drawing/2014/main" id="{C1225F9D-8FB5-4104-ADA3-9CF78038F415}"/>
                </a:ext>
              </a:extLst>
            </p:cNvPr>
            <p:cNvSpPr>
              <a:spLocks noEditPoints="1"/>
            </p:cNvSpPr>
            <p:nvPr/>
          </p:nvSpPr>
          <p:spPr bwMode="auto">
            <a:xfrm>
              <a:off x="1549400" y="2489200"/>
              <a:ext cx="95250" cy="95250"/>
            </a:xfrm>
            <a:custGeom>
              <a:avLst/>
              <a:gdLst>
                <a:gd name="T0" fmla="*/ 175 w 301"/>
                <a:gd name="T1" fmla="*/ 33 h 301"/>
                <a:gd name="T2" fmla="*/ 208 w 301"/>
                <a:gd name="T3" fmla="*/ 45 h 301"/>
                <a:gd name="T4" fmla="*/ 236 w 301"/>
                <a:gd name="T5" fmla="*/ 65 h 301"/>
                <a:gd name="T6" fmla="*/ 256 w 301"/>
                <a:gd name="T7" fmla="*/ 93 h 301"/>
                <a:gd name="T8" fmla="*/ 268 w 301"/>
                <a:gd name="T9" fmla="*/ 126 h 301"/>
                <a:gd name="T10" fmla="*/ 270 w 301"/>
                <a:gd name="T11" fmla="*/ 163 h 301"/>
                <a:gd name="T12" fmla="*/ 262 w 301"/>
                <a:gd name="T13" fmla="*/ 197 h 301"/>
                <a:gd name="T14" fmla="*/ 243 w 301"/>
                <a:gd name="T15" fmla="*/ 227 h 301"/>
                <a:gd name="T16" fmla="*/ 218 w 301"/>
                <a:gd name="T17" fmla="*/ 251 h 301"/>
                <a:gd name="T18" fmla="*/ 186 w 301"/>
                <a:gd name="T19" fmla="*/ 266 h 301"/>
                <a:gd name="T20" fmla="*/ 150 w 301"/>
                <a:gd name="T21" fmla="*/ 271 h 301"/>
                <a:gd name="T22" fmla="*/ 115 w 301"/>
                <a:gd name="T23" fmla="*/ 266 h 301"/>
                <a:gd name="T24" fmla="*/ 84 w 301"/>
                <a:gd name="T25" fmla="*/ 251 h 301"/>
                <a:gd name="T26" fmla="*/ 58 w 301"/>
                <a:gd name="T27" fmla="*/ 227 h 301"/>
                <a:gd name="T28" fmla="*/ 40 w 301"/>
                <a:gd name="T29" fmla="*/ 197 h 301"/>
                <a:gd name="T30" fmla="*/ 31 w 301"/>
                <a:gd name="T31" fmla="*/ 163 h 301"/>
                <a:gd name="T32" fmla="*/ 32 w 301"/>
                <a:gd name="T33" fmla="*/ 126 h 301"/>
                <a:gd name="T34" fmla="*/ 45 w 301"/>
                <a:gd name="T35" fmla="*/ 93 h 301"/>
                <a:gd name="T36" fmla="*/ 65 w 301"/>
                <a:gd name="T37" fmla="*/ 65 h 301"/>
                <a:gd name="T38" fmla="*/ 93 w 301"/>
                <a:gd name="T39" fmla="*/ 45 h 301"/>
                <a:gd name="T40" fmla="*/ 126 w 301"/>
                <a:gd name="T41" fmla="*/ 33 h 301"/>
                <a:gd name="T42" fmla="*/ 150 w 301"/>
                <a:gd name="T43" fmla="*/ 301 h 301"/>
                <a:gd name="T44" fmla="*/ 195 w 301"/>
                <a:gd name="T45" fmla="*/ 295 h 301"/>
                <a:gd name="T46" fmla="*/ 235 w 301"/>
                <a:gd name="T47" fmla="*/ 275 h 301"/>
                <a:gd name="T48" fmla="*/ 266 w 301"/>
                <a:gd name="T49" fmla="*/ 246 h 301"/>
                <a:gd name="T50" fmla="*/ 289 w 301"/>
                <a:gd name="T51" fmla="*/ 209 h 301"/>
                <a:gd name="T52" fmla="*/ 300 w 301"/>
                <a:gd name="T53" fmla="*/ 166 h 301"/>
                <a:gd name="T54" fmla="*/ 298 w 301"/>
                <a:gd name="T55" fmla="*/ 120 h 301"/>
                <a:gd name="T56" fmla="*/ 283 w 301"/>
                <a:gd name="T57" fmla="*/ 79 h 301"/>
                <a:gd name="T58" fmla="*/ 256 w 301"/>
                <a:gd name="T59" fmla="*/ 44 h 301"/>
                <a:gd name="T60" fmla="*/ 222 w 301"/>
                <a:gd name="T61" fmla="*/ 18 h 301"/>
                <a:gd name="T62" fmla="*/ 181 w 301"/>
                <a:gd name="T63" fmla="*/ 3 h 301"/>
                <a:gd name="T64" fmla="*/ 135 w 301"/>
                <a:gd name="T65" fmla="*/ 1 h 301"/>
                <a:gd name="T66" fmla="*/ 92 w 301"/>
                <a:gd name="T67" fmla="*/ 12 h 301"/>
                <a:gd name="T68" fmla="*/ 55 w 301"/>
                <a:gd name="T69" fmla="*/ 34 h 301"/>
                <a:gd name="T70" fmla="*/ 26 w 301"/>
                <a:gd name="T71" fmla="*/ 66 h 301"/>
                <a:gd name="T72" fmla="*/ 6 w 301"/>
                <a:gd name="T73" fmla="*/ 106 h 301"/>
                <a:gd name="T74" fmla="*/ 0 w 301"/>
                <a:gd name="T75" fmla="*/ 151 h 301"/>
                <a:gd name="T76" fmla="*/ 6 w 301"/>
                <a:gd name="T77" fmla="*/ 195 h 301"/>
                <a:gd name="T78" fmla="*/ 26 w 301"/>
                <a:gd name="T79" fmla="*/ 235 h 301"/>
                <a:gd name="T80" fmla="*/ 55 w 301"/>
                <a:gd name="T81" fmla="*/ 267 h 301"/>
                <a:gd name="T82" fmla="*/ 92 w 301"/>
                <a:gd name="T83" fmla="*/ 289 h 301"/>
                <a:gd name="T84" fmla="*/ 135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0" y="30"/>
                  </a:moveTo>
                  <a:lnTo>
                    <a:pt x="163" y="31"/>
                  </a:lnTo>
                  <a:lnTo>
                    <a:pt x="175" y="33"/>
                  </a:lnTo>
                  <a:lnTo>
                    <a:pt x="186" y="35"/>
                  </a:lnTo>
                  <a:lnTo>
                    <a:pt x="197" y="40"/>
                  </a:lnTo>
                  <a:lnTo>
                    <a:pt x="208" y="45"/>
                  </a:lnTo>
                  <a:lnTo>
                    <a:pt x="218" y="51"/>
                  </a:lnTo>
                  <a:lnTo>
                    <a:pt x="227" y="58"/>
                  </a:lnTo>
                  <a:lnTo>
                    <a:pt x="236" y="65"/>
                  </a:lnTo>
                  <a:lnTo>
                    <a:pt x="243" y="74"/>
                  </a:lnTo>
                  <a:lnTo>
                    <a:pt x="250" y="83"/>
                  </a:lnTo>
                  <a:lnTo>
                    <a:pt x="256" y="93"/>
                  </a:lnTo>
                  <a:lnTo>
                    <a:pt x="262" y="104"/>
                  </a:lnTo>
                  <a:lnTo>
                    <a:pt x="265" y="115"/>
                  </a:lnTo>
                  <a:lnTo>
                    <a:pt x="268" y="126"/>
                  </a:lnTo>
                  <a:lnTo>
                    <a:pt x="270" y="138"/>
                  </a:lnTo>
                  <a:lnTo>
                    <a:pt x="270" y="151"/>
                  </a:lnTo>
                  <a:lnTo>
                    <a:pt x="270" y="163"/>
                  </a:lnTo>
                  <a:lnTo>
                    <a:pt x="268" y="175"/>
                  </a:lnTo>
                  <a:lnTo>
                    <a:pt x="265" y="186"/>
                  </a:lnTo>
                  <a:lnTo>
                    <a:pt x="262" y="197"/>
                  </a:lnTo>
                  <a:lnTo>
                    <a:pt x="256" y="208"/>
                  </a:lnTo>
                  <a:lnTo>
                    <a:pt x="250" y="217"/>
                  </a:lnTo>
                  <a:lnTo>
                    <a:pt x="243" y="227"/>
                  </a:lnTo>
                  <a:lnTo>
                    <a:pt x="236" y="236"/>
                  </a:lnTo>
                  <a:lnTo>
                    <a:pt x="227" y="243"/>
                  </a:lnTo>
                  <a:lnTo>
                    <a:pt x="218" y="251"/>
                  </a:lnTo>
                  <a:lnTo>
                    <a:pt x="208" y="256"/>
                  </a:lnTo>
                  <a:lnTo>
                    <a:pt x="197" y="261"/>
                  </a:lnTo>
                  <a:lnTo>
                    <a:pt x="186" y="266"/>
                  </a:lnTo>
                  <a:lnTo>
                    <a:pt x="175" y="269"/>
                  </a:lnTo>
                  <a:lnTo>
                    <a:pt x="163" y="270"/>
                  </a:lnTo>
                  <a:lnTo>
                    <a:pt x="150" y="271"/>
                  </a:lnTo>
                  <a:lnTo>
                    <a:pt x="138" y="270"/>
                  </a:lnTo>
                  <a:lnTo>
                    <a:pt x="126" y="269"/>
                  </a:lnTo>
                  <a:lnTo>
                    <a:pt x="115" y="266"/>
                  </a:lnTo>
                  <a:lnTo>
                    <a:pt x="104" y="261"/>
                  </a:lnTo>
                  <a:lnTo>
                    <a:pt x="93" y="256"/>
                  </a:lnTo>
                  <a:lnTo>
                    <a:pt x="84" y="251"/>
                  </a:lnTo>
                  <a:lnTo>
                    <a:pt x="74" y="243"/>
                  </a:lnTo>
                  <a:lnTo>
                    <a:pt x="65" y="236"/>
                  </a:lnTo>
                  <a:lnTo>
                    <a:pt x="58" y="227"/>
                  </a:lnTo>
                  <a:lnTo>
                    <a:pt x="50" y="217"/>
                  </a:lnTo>
                  <a:lnTo>
                    <a:pt x="45" y="208"/>
                  </a:lnTo>
                  <a:lnTo>
                    <a:pt x="40" y="197"/>
                  </a:lnTo>
                  <a:lnTo>
                    <a:pt x="35" y="186"/>
                  </a:lnTo>
                  <a:lnTo>
                    <a:pt x="32" y="175"/>
                  </a:lnTo>
                  <a:lnTo>
                    <a:pt x="31" y="163"/>
                  </a:lnTo>
                  <a:lnTo>
                    <a:pt x="30" y="151"/>
                  </a:lnTo>
                  <a:lnTo>
                    <a:pt x="31" y="138"/>
                  </a:lnTo>
                  <a:lnTo>
                    <a:pt x="32" y="126"/>
                  </a:lnTo>
                  <a:lnTo>
                    <a:pt x="35" y="115"/>
                  </a:lnTo>
                  <a:lnTo>
                    <a:pt x="40" y="104"/>
                  </a:lnTo>
                  <a:lnTo>
                    <a:pt x="45" y="93"/>
                  </a:lnTo>
                  <a:lnTo>
                    <a:pt x="50" y="83"/>
                  </a:lnTo>
                  <a:lnTo>
                    <a:pt x="58" y="74"/>
                  </a:lnTo>
                  <a:lnTo>
                    <a:pt x="65" y="65"/>
                  </a:lnTo>
                  <a:lnTo>
                    <a:pt x="74" y="58"/>
                  </a:lnTo>
                  <a:lnTo>
                    <a:pt x="84" y="51"/>
                  </a:lnTo>
                  <a:lnTo>
                    <a:pt x="93" y="45"/>
                  </a:lnTo>
                  <a:lnTo>
                    <a:pt x="104" y="40"/>
                  </a:lnTo>
                  <a:lnTo>
                    <a:pt x="115" y="35"/>
                  </a:lnTo>
                  <a:lnTo>
                    <a:pt x="126" y="33"/>
                  </a:lnTo>
                  <a:lnTo>
                    <a:pt x="138" y="31"/>
                  </a:lnTo>
                  <a:lnTo>
                    <a:pt x="150" y="30"/>
                  </a:lnTo>
                  <a:close/>
                  <a:moveTo>
                    <a:pt x="150" y="301"/>
                  </a:moveTo>
                  <a:lnTo>
                    <a:pt x="166" y="300"/>
                  </a:lnTo>
                  <a:lnTo>
                    <a:pt x="181" y="298"/>
                  </a:lnTo>
                  <a:lnTo>
                    <a:pt x="195" y="295"/>
                  </a:lnTo>
                  <a:lnTo>
                    <a:pt x="209" y="289"/>
                  </a:lnTo>
                  <a:lnTo>
                    <a:pt x="222" y="283"/>
                  </a:lnTo>
                  <a:lnTo>
                    <a:pt x="235" y="275"/>
                  </a:lnTo>
                  <a:lnTo>
                    <a:pt x="245" y="267"/>
                  </a:lnTo>
                  <a:lnTo>
                    <a:pt x="256" y="257"/>
                  </a:lnTo>
                  <a:lnTo>
                    <a:pt x="266" y="246"/>
                  </a:lnTo>
                  <a:lnTo>
                    <a:pt x="275" y="235"/>
                  </a:lnTo>
                  <a:lnTo>
                    <a:pt x="283" y="222"/>
                  </a:lnTo>
                  <a:lnTo>
                    <a:pt x="289" y="209"/>
                  </a:lnTo>
                  <a:lnTo>
                    <a:pt x="294" y="195"/>
                  </a:lnTo>
                  <a:lnTo>
                    <a:pt x="298" y="181"/>
                  </a:lnTo>
                  <a:lnTo>
                    <a:pt x="300" y="166"/>
                  </a:lnTo>
                  <a:lnTo>
                    <a:pt x="301" y="151"/>
                  </a:lnTo>
                  <a:lnTo>
                    <a:pt x="300" y="135"/>
                  </a:lnTo>
                  <a:lnTo>
                    <a:pt x="298" y="120"/>
                  </a:lnTo>
                  <a:lnTo>
                    <a:pt x="294" y="106"/>
                  </a:lnTo>
                  <a:lnTo>
                    <a:pt x="289" y="92"/>
                  </a:lnTo>
                  <a:lnTo>
                    <a:pt x="283" y="79"/>
                  </a:lnTo>
                  <a:lnTo>
                    <a:pt x="275" y="66"/>
                  </a:lnTo>
                  <a:lnTo>
                    <a:pt x="266" y="55"/>
                  </a:lnTo>
                  <a:lnTo>
                    <a:pt x="256" y="44"/>
                  </a:lnTo>
                  <a:lnTo>
                    <a:pt x="245" y="34"/>
                  </a:lnTo>
                  <a:lnTo>
                    <a:pt x="235" y="26"/>
                  </a:lnTo>
                  <a:lnTo>
                    <a:pt x="222" y="18"/>
                  </a:lnTo>
                  <a:lnTo>
                    <a:pt x="209" y="12"/>
                  </a:lnTo>
                  <a:lnTo>
                    <a:pt x="195" y="7"/>
                  </a:lnTo>
                  <a:lnTo>
                    <a:pt x="181" y="3"/>
                  </a:lnTo>
                  <a:lnTo>
                    <a:pt x="166" y="1"/>
                  </a:lnTo>
                  <a:lnTo>
                    <a:pt x="150" y="0"/>
                  </a:lnTo>
                  <a:lnTo>
                    <a:pt x="135" y="1"/>
                  </a:lnTo>
                  <a:lnTo>
                    <a:pt x="120" y="3"/>
                  </a:lnTo>
                  <a:lnTo>
                    <a:pt x="106" y="7"/>
                  </a:lnTo>
                  <a:lnTo>
                    <a:pt x="92" y="12"/>
                  </a:lnTo>
                  <a:lnTo>
                    <a:pt x="78" y="18"/>
                  </a:lnTo>
                  <a:lnTo>
                    <a:pt x="66" y="26"/>
                  </a:lnTo>
                  <a:lnTo>
                    <a:pt x="55" y="34"/>
                  </a:lnTo>
                  <a:lnTo>
                    <a:pt x="44" y="44"/>
                  </a:lnTo>
                  <a:lnTo>
                    <a:pt x="34" y="55"/>
                  </a:lnTo>
                  <a:lnTo>
                    <a:pt x="26" y="66"/>
                  </a:lnTo>
                  <a:lnTo>
                    <a:pt x="18" y="79"/>
                  </a:lnTo>
                  <a:lnTo>
                    <a:pt x="12" y="92"/>
                  </a:lnTo>
                  <a:lnTo>
                    <a:pt x="6" y="106"/>
                  </a:lnTo>
                  <a:lnTo>
                    <a:pt x="3" y="120"/>
                  </a:lnTo>
                  <a:lnTo>
                    <a:pt x="1" y="135"/>
                  </a:lnTo>
                  <a:lnTo>
                    <a:pt x="0" y="151"/>
                  </a:lnTo>
                  <a:lnTo>
                    <a:pt x="1" y="166"/>
                  </a:lnTo>
                  <a:lnTo>
                    <a:pt x="3" y="181"/>
                  </a:lnTo>
                  <a:lnTo>
                    <a:pt x="6" y="195"/>
                  </a:lnTo>
                  <a:lnTo>
                    <a:pt x="12" y="209"/>
                  </a:lnTo>
                  <a:lnTo>
                    <a:pt x="18" y="222"/>
                  </a:lnTo>
                  <a:lnTo>
                    <a:pt x="26" y="235"/>
                  </a:lnTo>
                  <a:lnTo>
                    <a:pt x="34" y="246"/>
                  </a:lnTo>
                  <a:lnTo>
                    <a:pt x="44" y="257"/>
                  </a:lnTo>
                  <a:lnTo>
                    <a:pt x="55" y="267"/>
                  </a:lnTo>
                  <a:lnTo>
                    <a:pt x="66" y="275"/>
                  </a:lnTo>
                  <a:lnTo>
                    <a:pt x="78" y="283"/>
                  </a:lnTo>
                  <a:lnTo>
                    <a:pt x="92" y="289"/>
                  </a:lnTo>
                  <a:lnTo>
                    <a:pt x="106"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97">
              <a:extLst>
                <a:ext uri="{FF2B5EF4-FFF2-40B4-BE49-F238E27FC236}">
                  <a16:creationId xmlns:a16="http://schemas.microsoft.com/office/drawing/2014/main" id="{95984782-8CAC-41E0-BBDC-2C6FCD9A0443}"/>
                </a:ext>
              </a:extLst>
            </p:cNvPr>
            <p:cNvSpPr>
              <a:spLocks noEditPoints="1"/>
            </p:cNvSpPr>
            <p:nvPr/>
          </p:nvSpPr>
          <p:spPr bwMode="auto">
            <a:xfrm>
              <a:off x="1525588" y="2593975"/>
              <a:ext cx="142875" cy="180975"/>
            </a:xfrm>
            <a:custGeom>
              <a:avLst/>
              <a:gdLst>
                <a:gd name="T0" fmla="*/ 285 w 451"/>
                <a:gd name="T1" fmla="*/ 307 h 572"/>
                <a:gd name="T2" fmla="*/ 165 w 451"/>
                <a:gd name="T3" fmla="*/ 542 h 572"/>
                <a:gd name="T4" fmla="*/ 157 w 451"/>
                <a:gd name="T5" fmla="*/ 302 h 572"/>
                <a:gd name="T6" fmla="*/ 136 w 451"/>
                <a:gd name="T7" fmla="*/ 287 h 572"/>
                <a:gd name="T8" fmla="*/ 115 w 451"/>
                <a:gd name="T9" fmla="*/ 267 h 572"/>
                <a:gd name="T10" fmla="*/ 93 w 451"/>
                <a:gd name="T11" fmla="*/ 241 h 572"/>
                <a:gd name="T12" fmla="*/ 74 w 451"/>
                <a:gd name="T13" fmla="*/ 210 h 572"/>
                <a:gd name="T14" fmla="*/ 57 w 451"/>
                <a:gd name="T15" fmla="*/ 174 h 572"/>
                <a:gd name="T16" fmla="*/ 44 w 451"/>
                <a:gd name="T17" fmla="*/ 131 h 572"/>
                <a:gd name="T18" fmla="*/ 34 w 451"/>
                <a:gd name="T19" fmla="*/ 84 h 572"/>
                <a:gd name="T20" fmla="*/ 30 w 451"/>
                <a:gd name="T21" fmla="*/ 30 h 572"/>
                <a:gd name="T22" fmla="*/ 170 w 451"/>
                <a:gd name="T23" fmla="*/ 252 h 572"/>
                <a:gd name="T24" fmla="*/ 171 w 451"/>
                <a:gd name="T25" fmla="*/ 259 h 572"/>
                <a:gd name="T26" fmla="*/ 175 w 451"/>
                <a:gd name="T27" fmla="*/ 264 h 572"/>
                <a:gd name="T28" fmla="*/ 215 w 451"/>
                <a:gd name="T29" fmla="*/ 304 h 572"/>
                <a:gd name="T30" fmla="*/ 221 w 451"/>
                <a:gd name="T31" fmla="*/ 306 h 572"/>
                <a:gd name="T32" fmla="*/ 226 w 451"/>
                <a:gd name="T33" fmla="*/ 306 h 572"/>
                <a:gd name="T34" fmla="*/ 231 w 451"/>
                <a:gd name="T35" fmla="*/ 304 h 572"/>
                <a:gd name="T36" fmla="*/ 272 w 451"/>
                <a:gd name="T37" fmla="*/ 264 h 572"/>
                <a:gd name="T38" fmla="*/ 275 w 451"/>
                <a:gd name="T39" fmla="*/ 259 h 572"/>
                <a:gd name="T40" fmla="*/ 276 w 451"/>
                <a:gd name="T41" fmla="*/ 252 h 572"/>
                <a:gd name="T42" fmla="*/ 420 w 451"/>
                <a:gd name="T43" fmla="*/ 30 h 572"/>
                <a:gd name="T44" fmla="*/ 416 w 451"/>
                <a:gd name="T45" fmla="*/ 84 h 572"/>
                <a:gd name="T46" fmla="*/ 407 w 451"/>
                <a:gd name="T47" fmla="*/ 131 h 572"/>
                <a:gd name="T48" fmla="*/ 393 w 451"/>
                <a:gd name="T49" fmla="*/ 174 h 572"/>
                <a:gd name="T50" fmla="*/ 376 w 451"/>
                <a:gd name="T51" fmla="*/ 210 h 572"/>
                <a:gd name="T52" fmla="*/ 357 w 451"/>
                <a:gd name="T53" fmla="*/ 241 h 572"/>
                <a:gd name="T54" fmla="*/ 337 w 451"/>
                <a:gd name="T55" fmla="*/ 267 h 572"/>
                <a:gd name="T56" fmla="*/ 315 w 451"/>
                <a:gd name="T57" fmla="*/ 287 h 572"/>
                <a:gd name="T58" fmla="*/ 293 w 451"/>
                <a:gd name="T59" fmla="*/ 302 h 572"/>
                <a:gd name="T60" fmla="*/ 223 w 451"/>
                <a:gd name="T61" fmla="*/ 269 h 572"/>
                <a:gd name="T62" fmla="*/ 219 w 451"/>
                <a:gd name="T63" fmla="*/ 30 h 572"/>
                <a:gd name="T64" fmla="*/ 245 w 451"/>
                <a:gd name="T65" fmla="*/ 248 h 572"/>
                <a:gd name="T66" fmla="*/ 0 w 451"/>
                <a:gd name="T67" fmla="*/ 0 h 572"/>
                <a:gd name="T68" fmla="*/ 1 w 451"/>
                <a:gd name="T69" fmla="*/ 45 h 572"/>
                <a:gd name="T70" fmla="*/ 6 w 451"/>
                <a:gd name="T71" fmla="*/ 101 h 572"/>
                <a:gd name="T72" fmla="*/ 18 w 451"/>
                <a:gd name="T73" fmla="*/ 151 h 572"/>
                <a:gd name="T74" fmla="*/ 34 w 451"/>
                <a:gd name="T75" fmla="*/ 196 h 572"/>
                <a:gd name="T76" fmla="*/ 53 w 451"/>
                <a:gd name="T77" fmla="*/ 235 h 572"/>
                <a:gd name="T78" fmla="*/ 75 w 451"/>
                <a:gd name="T79" fmla="*/ 268 h 572"/>
                <a:gd name="T80" fmla="*/ 99 w 451"/>
                <a:gd name="T81" fmla="*/ 295 h 572"/>
                <a:gd name="T82" fmla="*/ 123 w 451"/>
                <a:gd name="T83" fmla="*/ 316 h 572"/>
                <a:gd name="T84" fmla="*/ 135 w 451"/>
                <a:gd name="T85" fmla="*/ 572 h 572"/>
                <a:gd name="T86" fmla="*/ 315 w 451"/>
                <a:gd name="T87" fmla="*/ 324 h 572"/>
                <a:gd name="T88" fmla="*/ 340 w 451"/>
                <a:gd name="T89" fmla="*/ 306 h 572"/>
                <a:gd name="T90" fmla="*/ 363 w 451"/>
                <a:gd name="T91" fmla="*/ 282 h 572"/>
                <a:gd name="T92" fmla="*/ 387 w 451"/>
                <a:gd name="T93" fmla="*/ 252 h 572"/>
                <a:gd name="T94" fmla="*/ 407 w 451"/>
                <a:gd name="T95" fmla="*/ 217 h 572"/>
                <a:gd name="T96" fmla="*/ 426 w 451"/>
                <a:gd name="T97" fmla="*/ 175 h 572"/>
                <a:gd name="T98" fmla="*/ 438 w 451"/>
                <a:gd name="T99" fmla="*/ 128 h 572"/>
                <a:gd name="T100" fmla="*/ 448 w 451"/>
                <a:gd name="T101" fmla="*/ 74 h 572"/>
                <a:gd name="T102" fmla="*/ 451 w 451"/>
                <a:gd name="T103" fmla="*/ 1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1" h="572">
                  <a:moveTo>
                    <a:pt x="293" y="302"/>
                  </a:moveTo>
                  <a:lnTo>
                    <a:pt x="285" y="307"/>
                  </a:lnTo>
                  <a:lnTo>
                    <a:pt x="285" y="542"/>
                  </a:lnTo>
                  <a:lnTo>
                    <a:pt x="165" y="542"/>
                  </a:lnTo>
                  <a:lnTo>
                    <a:pt x="165" y="307"/>
                  </a:lnTo>
                  <a:lnTo>
                    <a:pt x="157" y="302"/>
                  </a:lnTo>
                  <a:lnTo>
                    <a:pt x="147" y="296"/>
                  </a:lnTo>
                  <a:lnTo>
                    <a:pt x="136" y="287"/>
                  </a:lnTo>
                  <a:lnTo>
                    <a:pt x="125" y="279"/>
                  </a:lnTo>
                  <a:lnTo>
                    <a:pt x="115" y="267"/>
                  </a:lnTo>
                  <a:lnTo>
                    <a:pt x="104" y="255"/>
                  </a:lnTo>
                  <a:lnTo>
                    <a:pt x="93" y="241"/>
                  </a:lnTo>
                  <a:lnTo>
                    <a:pt x="83" y="226"/>
                  </a:lnTo>
                  <a:lnTo>
                    <a:pt x="74" y="210"/>
                  </a:lnTo>
                  <a:lnTo>
                    <a:pt x="65" y="193"/>
                  </a:lnTo>
                  <a:lnTo>
                    <a:pt x="57" y="174"/>
                  </a:lnTo>
                  <a:lnTo>
                    <a:pt x="50" y="153"/>
                  </a:lnTo>
                  <a:lnTo>
                    <a:pt x="44" y="131"/>
                  </a:lnTo>
                  <a:lnTo>
                    <a:pt x="38" y="108"/>
                  </a:lnTo>
                  <a:lnTo>
                    <a:pt x="34" y="84"/>
                  </a:lnTo>
                  <a:lnTo>
                    <a:pt x="32" y="58"/>
                  </a:lnTo>
                  <a:lnTo>
                    <a:pt x="30" y="30"/>
                  </a:lnTo>
                  <a:lnTo>
                    <a:pt x="189" y="30"/>
                  </a:lnTo>
                  <a:lnTo>
                    <a:pt x="170" y="252"/>
                  </a:lnTo>
                  <a:lnTo>
                    <a:pt x="170" y="255"/>
                  </a:lnTo>
                  <a:lnTo>
                    <a:pt x="171" y="259"/>
                  </a:lnTo>
                  <a:lnTo>
                    <a:pt x="172" y="261"/>
                  </a:lnTo>
                  <a:lnTo>
                    <a:pt x="175" y="264"/>
                  </a:lnTo>
                  <a:lnTo>
                    <a:pt x="213" y="301"/>
                  </a:lnTo>
                  <a:lnTo>
                    <a:pt x="215" y="304"/>
                  </a:lnTo>
                  <a:lnTo>
                    <a:pt x="218" y="305"/>
                  </a:lnTo>
                  <a:lnTo>
                    <a:pt x="221" y="306"/>
                  </a:lnTo>
                  <a:lnTo>
                    <a:pt x="223" y="306"/>
                  </a:lnTo>
                  <a:lnTo>
                    <a:pt x="226" y="306"/>
                  </a:lnTo>
                  <a:lnTo>
                    <a:pt x="229" y="305"/>
                  </a:lnTo>
                  <a:lnTo>
                    <a:pt x="231" y="304"/>
                  </a:lnTo>
                  <a:lnTo>
                    <a:pt x="234" y="301"/>
                  </a:lnTo>
                  <a:lnTo>
                    <a:pt x="272" y="264"/>
                  </a:lnTo>
                  <a:lnTo>
                    <a:pt x="274" y="261"/>
                  </a:lnTo>
                  <a:lnTo>
                    <a:pt x="275" y="259"/>
                  </a:lnTo>
                  <a:lnTo>
                    <a:pt x="276" y="255"/>
                  </a:lnTo>
                  <a:lnTo>
                    <a:pt x="276" y="252"/>
                  </a:lnTo>
                  <a:lnTo>
                    <a:pt x="258" y="30"/>
                  </a:lnTo>
                  <a:lnTo>
                    <a:pt x="420" y="30"/>
                  </a:lnTo>
                  <a:lnTo>
                    <a:pt x="419" y="58"/>
                  </a:lnTo>
                  <a:lnTo>
                    <a:pt x="416" y="84"/>
                  </a:lnTo>
                  <a:lnTo>
                    <a:pt x="413" y="108"/>
                  </a:lnTo>
                  <a:lnTo>
                    <a:pt x="407" y="131"/>
                  </a:lnTo>
                  <a:lnTo>
                    <a:pt x="401" y="153"/>
                  </a:lnTo>
                  <a:lnTo>
                    <a:pt x="393" y="174"/>
                  </a:lnTo>
                  <a:lnTo>
                    <a:pt x="386" y="193"/>
                  </a:lnTo>
                  <a:lnTo>
                    <a:pt x="376" y="210"/>
                  </a:lnTo>
                  <a:lnTo>
                    <a:pt x="368" y="226"/>
                  </a:lnTo>
                  <a:lnTo>
                    <a:pt x="357" y="241"/>
                  </a:lnTo>
                  <a:lnTo>
                    <a:pt x="347" y="255"/>
                  </a:lnTo>
                  <a:lnTo>
                    <a:pt x="337" y="267"/>
                  </a:lnTo>
                  <a:lnTo>
                    <a:pt x="326" y="279"/>
                  </a:lnTo>
                  <a:lnTo>
                    <a:pt x="315" y="287"/>
                  </a:lnTo>
                  <a:lnTo>
                    <a:pt x="304" y="296"/>
                  </a:lnTo>
                  <a:lnTo>
                    <a:pt x="293" y="302"/>
                  </a:lnTo>
                  <a:close/>
                  <a:moveTo>
                    <a:pt x="245" y="248"/>
                  </a:moveTo>
                  <a:lnTo>
                    <a:pt x="223" y="269"/>
                  </a:lnTo>
                  <a:lnTo>
                    <a:pt x="201" y="248"/>
                  </a:lnTo>
                  <a:lnTo>
                    <a:pt x="219" y="30"/>
                  </a:lnTo>
                  <a:lnTo>
                    <a:pt x="228" y="30"/>
                  </a:lnTo>
                  <a:lnTo>
                    <a:pt x="245" y="248"/>
                  </a:lnTo>
                  <a:close/>
                  <a:moveTo>
                    <a:pt x="451" y="0"/>
                  </a:moveTo>
                  <a:lnTo>
                    <a:pt x="0" y="0"/>
                  </a:lnTo>
                  <a:lnTo>
                    <a:pt x="0" y="15"/>
                  </a:lnTo>
                  <a:lnTo>
                    <a:pt x="1" y="45"/>
                  </a:lnTo>
                  <a:lnTo>
                    <a:pt x="3" y="74"/>
                  </a:lnTo>
                  <a:lnTo>
                    <a:pt x="6" y="101"/>
                  </a:lnTo>
                  <a:lnTo>
                    <a:pt x="12" y="128"/>
                  </a:lnTo>
                  <a:lnTo>
                    <a:pt x="18" y="151"/>
                  </a:lnTo>
                  <a:lnTo>
                    <a:pt x="26" y="175"/>
                  </a:lnTo>
                  <a:lnTo>
                    <a:pt x="34" y="196"/>
                  </a:lnTo>
                  <a:lnTo>
                    <a:pt x="44" y="216"/>
                  </a:lnTo>
                  <a:lnTo>
                    <a:pt x="53" y="235"/>
                  </a:lnTo>
                  <a:lnTo>
                    <a:pt x="64" y="252"/>
                  </a:lnTo>
                  <a:lnTo>
                    <a:pt x="75" y="268"/>
                  </a:lnTo>
                  <a:lnTo>
                    <a:pt x="87" y="282"/>
                  </a:lnTo>
                  <a:lnTo>
                    <a:pt x="99" y="295"/>
                  </a:lnTo>
                  <a:lnTo>
                    <a:pt x="111" y="306"/>
                  </a:lnTo>
                  <a:lnTo>
                    <a:pt x="123" y="316"/>
                  </a:lnTo>
                  <a:lnTo>
                    <a:pt x="135" y="324"/>
                  </a:lnTo>
                  <a:lnTo>
                    <a:pt x="135" y="572"/>
                  </a:lnTo>
                  <a:lnTo>
                    <a:pt x="315" y="572"/>
                  </a:lnTo>
                  <a:lnTo>
                    <a:pt x="315" y="324"/>
                  </a:lnTo>
                  <a:lnTo>
                    <a:pt x="328" y="315"/>
                  </a:lnTo>
                  <a:lnTo>
                    <a:pt x="340" y="306"/>
                  </a:lnTo>
                  <a:lnTo>
                    <a:pt x="352" y="295"/>
                  </a:lnTo>
                  <a:lnTo>
                    <a:pt x="363" y="282"/>
                  </a:lnTo>
                  <a:lnTo>
                    <a:pt x="375" y="267"/>
                  </a:lnTo>
                  <a:lnTo>
                    <a:pt x="387" y="252"/>
                  </a:lnTo>
                  <a:lnTo>
                    <a:pt x="398" y="235"/>
                  </a:lnTo>
                  <a:lnTo>
                    <a:pt x="407" y="217"/>
                  </a:lnTo>
                  <a:lnTo>
                    <a:pt x="417" y="196"/>
                  </a:lnTo>
                  <a:lnTo>
                    <a:pt x="426" y="175"/>
                  </a:lnTo>
                  <a:lnTo>
                    <a:pt x="432" y="151"/>
                  </a:lnTo>
                  <a:lnTo>
                    <a:pt x="438" y="128"/>
                  </a:lnTo>
                  <a:lnTo>
                    <a:pt x="444" y="101"/>
                  </a:lnTo>
                  <a:lnTo>
                    <a:pt x="448" y="74"/>
                  </a:lnTo>
                  <a:lnTo>
                    <a:pt x="450" y="45"/>
                  </a:lnTo>
                  <a:lnTo>
                    <a:pt x="451" y="15"/>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98">
              <a:extLst>
                <a:ext uri="{FF2B5EF4-FFF2-40B4-BE49-F238E27FC236}">
                  <a16:creationId xmlns:a16="http://schemas.microsoft.com/office/drawing/2014/main" id="{924C7458-3F41-40AB-9FB6-D1736C9D4682}"/>
                </a:ext>
              </a:extLst>
            </p:cNvPr>
            <p:cNvSpPr>
              <a:spLocks noEditPoints="1"/>
            </p:cNvSpPr>
            <p:nvPr/>
          </p:nvSpPr>
          <p:spPr bwMode="auto">
            <a:xfrm>
              <a:off x="1663700" y="2670175"/>
              <a:ext cx="47625" cy="104775"/>
            </a:xfrm>
            <a:custGeom>
              <a:avLst/>
              <a:gdLst>
                <a:gd name="T0" fmla="*/ 120 w 150"/>
                <a:gd name="T1" fmla="*/ 302 h 332"/>
                <a:gd name="T2" fmla="*/ 30 w 150"/>
                <a:gd name="T3" fmla="*/ 302 h 332"/>
                <a:gd name="T4" fmla="*/ 30 w 150"/>
                <a:gd name="T5" fmla="*/ 60 h 332"/>
                <a:gd name="T6" fmla="*/ 120 w 150"/>
                <a:gd name="T7" fmla="*/ 60 h 332"/>
                <a:gd name="T8" fmla="*/ 120 w 150"/>
                <a:gd name="T9" fmla="*/ 302 h 332"/>
                <a:gd name="T10" fmla="*/ 90 w 150"/>
                <a:gd name="T11" fmla="*/ 30 h 332"/>
                <a:gd name="T12" fmla="*/ 90 w 150"/>
                <a:gd name="T13" fmla="*/ 0 h 332"/>
                <a:gd name="T14" fmla="*/ 60 w 150"/>
                <a:gd name="T15" fmla="*/ 0 h 332"/>
                <a:gd name="T16" fmla="*/ 60 w 150"/>
                <a:gd name="T17" fmla="*/ 30 h 332"/>
                <a:gd name="T18" fmla="*/ 0 w 150"/>
                <a:gd name="T19" fmla="*/ 30 h 332"/>
                <a:gd name="T20" fmla="*/ 0 w 150"/>
                <a:gd name="T21" fmla="*/ 332 h 332"/>
                <a:gd name="T22" fmla="*/ 150 w 150"/>
                <a:gd name="T23" fmla="*/ 332 h 332"/>
                <a:gd name="T24" fmla="*/ 150 w 150"/>
                <a:gd name="T25" fmla="*/ 30 h 332"/>
                <a:gd name="T26" fmla="*/ 90 w 150"/>
                <a:gd name="T27" fmla="*/ 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2">
                  <a:moveTo>
                    <a:pt x="120" y="302"/>
                  </a:moveTo>
                  <a:lnTo>
                    <a:pt x="30" y="302"/>
                  </a:lnTo>
                  <a:lnTo>
                    <a:pt x="30" y="60"/>
                  </a:lnTo>
                  <a:lnTo>
                    <a:pt x="120" y="60"/>
                  </a:lnTo>
                  <a:lnTo>
                    <a:pt x="120" y="302"/>
                  </a:lnTo>
                  <a:close/>
                  <a:moveTo>
                    <a:pt x="90" y="30"/>
                  </a:moveTo>
                  <a:lnTo>
                    <a:pt x="90" y="0"/>
                  </a:lnTo>
                  <a:lnTo>
                    <a:pt x="60" y="0"/>
                  </a:lnTo>
                  <a:lnTo>
                    <a:pt x="60" y="30"/>
                  </a:lnTo>
                  <a:lnTo>
                    <a:pt x="0" y="30"/>
                  </a:lnTo>
                  <a:lnTo>
                    <a:pt x="0" y="332"/>
                  </a:lnTo>
                  <a:lnTo>
                    <a:pt x="150" y="332"/>
                  </a:lnTo>
                  <a:lnTo>
                    <a:pt x="150" y="30"/>
                  </a:lnTo>
                  <a:lnTo>
                    <a:pt x="9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3" name="Group 68">
            <a:extLst>
              <a:ext uri="{FF2B5EF4-FFF2-40B4-BE49-F238E27FC236}">
                <a16:creationId xmlns:a16="http://schemas.microsoft.com/office/drawing/2014/main" id="{3F6A994C-DAE1-4AC9-B188-F4ED5FAD88A5}"/>
              </a:ext>
            </a:extLst>
          </p:cNvPr>
          <p:cNvGrpSpPr>
            <a:grpSpLocks noChangeAspect="1"/>
          </p:cNvGrpSpPr>
          <p:nvPr/>
        </p:nvGrpSpPr>
        <p:grpSpPr>
          <a:xfrm>
            <a:off x="3192435" y="4340505"/>
            <a:ext cx="306021" cy="285619"/>
            <a:chOff x="2603500" y="2522538"/>
            <a:chExt cx="285750" cy="266700"/>
          </a:xfrm>
          <a:solidFill>
            <a:schemeClr val="bg2"/>
          </a:solidFill>
          <a:effectLst/>
        </p:grpSpPr>
        <p:sp>
          <p:nvSpPr>
            <p:cNvPr id="734" name="Freeform 130">
              <a:extLst>
                <a:ext uri="{FF2B5EF4-FFF2-40B4-BE49-F238E27FC236}">
                  <a16:creationId xmlns:a16="http://schemas.microsoft.com/office/drawing/2014/main" id="{4E03FEF3-E343-4B68-9243-D59593AB6F97}"/>
                </a:ext>
              </a:extLst>
            </p:cNvPr>
            <p:cNvSpPr>
              <a:spLocks noEditPoints="1"/>
            </p:cNvSpPr>
            <p:nvPr/>
          </p:nvSpPr>
          <p:spPr bwMode="auto">
            <a:xfrm>
              <a:off x="2603500" y="2522538"/>
              <a:ext cx="285750" cy="266700"/>
            </a:xfrm>
            <a:custGeom>
              <a:avLst/>
              <a:gdLst>
                <a:gd name="T0" fmla="*/ 374 w 901"/>
                <a:gd name="T1" fmla="*/ 705 h 841"/>
                <a:gd name="T2" fmla="*/ 296 w 901"/>
                <a:gd name="T3" fmla="*/ 688 h 841"/>
                <a:gd name="T4" fmla="*/ 159 w 901"/>
                <a:gd name="T5" fmla="*/ 620 h 841"/>
                <a:gd name="T6" fmla="*/ 113 w 901"/>
                <a:gd name="T7" fmla="*/ 573 h 841"/>
                <a:gd name="T8" fmla="*/ 62 w 901"/>
                <a:gd name="T9" fmla="*/ 500 h 841"/>
                <a:gd name="T10" fmla="*/ 34 w 901"/>
                <a:gd name="T11" fmla="*/ 420 h 841"/>
                <a:gd name="T12" fmla="*/ 32 w 901"/>
                <a:gd name="T13" fmla="*/ 335 h 841"/>
                <a:gd name="T14" fmla="*/ 55 w 901"/>
                <a:gd name="T15" fmla="*/ 253 h 841"/>
                <a:gd name="T16" fmla="*/ 101 w 901"/>
                <a:gd name="T17" fmla="*/ 179 h 841"/>
                <a:gd name="T18" fmla="*/ 168 w 901"/>
                <a:gd name="T19" fmla="*/ 117 h 841"/>
                <a:gd name="T20" fmla="*/ 249 w 901"/>
                <a:gd name="T21" fmla="*/ 70 h 841"/>
                <a:gd name="T22" fmla="*/ 345 w 901"/>
                <a:gd name="T23" fmla="*/ 40 h 841"/>
                <a:gd name="T24" fmla="*/ 450 w 901"/>
                <a:gd name="T25" fmla="*/ 30 h 841"/>
                <a:gd name="T26" fmla="*/ 555 w 901"/>
                <a:gd name="T27" fmla="*/ 40 h 841"/>
                <a:gd name="T28" fmla="*/ 650 w 901"/>
                <a:gd name="T29" fmla="*/ 70 h 841"/>
                <a:gd name="T30" fmla="*/ 733 w 901"/>
                <a:gd name="T31" fmla="*/ 117 h 841"/>
                <a:gd name="T32" fmla="*/ 798 w 901"/>
                <a:gd name="T33" fmla="*/ 179 h 841"/>
                <a:gd name="T34" fmla="*/ 845 w 901"/>
                <a:gd name="T35" fmla="*/ 253 h 841"/>
                <a:gd name="T36" fmla="*/ 868 w 901"/>
                <a:gd name="T37" fmla="*/ 335 h 841"/>
                <a:gd name="T38" fmla="*/ 865 w 901"/>
                <a:gd name="T39" fmla="*/ 421 h 841"/>
                <a:gd name="T40" fmla="*/ 837 w 901"/>
                <a:gd name="T41" fmla="*/ 502 h 841"/>
                <a:gd name="T42" fmla="*/ 786 w 901"/>
                <a:gd name="T43" fmla="*/ 573 h 841"/>
                <a:gd name="T44" fmla="*/ 716 w 901"/>
                <a:gd name="T45" fmla="*/ 632 h 841"/>
                <a:gd name="T46" fmla="*/ 632 w 901"/>
                <a:gd name="T47" fmla="*/ 676 h 841"/>
                <a:gd name="T48" fmla="*/ 535 w 901"/>
                <a:gd name="T49" fmla="*/ 703 h 841"/>
                <a:gd name="T50" fmla="*/ 450 w 901"/>
                <a:gd name="T51" fmla="*/ 710 h 841"/>
                <a:gd name="T52" fmla="*/ 359 w 901"/>
                <a:gd name="T53" fmla="*/ 7 h 841"/>
                <a:gd name="T54" fmla="*/ 254 w 901"/>
                <a:gd name="T55" fmla="*/ 36 h 841"/>
                <a:gd name="T56" fmla="*/ 163 w 901"/>
                <a:gd name="T57" fmla="*/ 84 h 841"/>
                <a:gd name="T58" fmla="*/ 88 w 901"/>
                <a:gd name="T59" fmla="*/ 148 h 841"/>
                <a:gd name="T60" fmla="*/ 35 w 901"/>
                <a:gd name="T61" fmla="*/ 225 h 841"/>
                <a:gd name="T62" fmla="*/ 4 w 901"/>
                <a:gd name="T63" fmla="*/ 313 h 841"/>
                <a:gd name="T64" fmla="*/ 2 w 901"/>
                <a:gd name="T65" fmla="*/ 406 h 841"/>
                <a:gd name="T66" fmla="*/ 24 w 901"/>
                <a:gd name="T67" fmla="*/ 493 h 841"/>
                <a:gd name="T68" fmla="*/ 71 w 901"/>
                <a:gd name="T69" fmla="*/ 571 h 841"/>
                <a:gd name="T70" fmla="*/ 31 w 901"/>
                <a:gd name="T71" fmla="*/ 818 h 841"/>
                <a:gd name="T72" fmla="*/ 36 w 901"/>
                <a:gd name="T73" fmla="*/ 838 h 841"/>
                <a:gd name="T74" fmla="*/ 51 w 901"/>
                <a:gd name="T75" fmla="*/ 839 h 841"/>
                <a:gd name="T76" fmla="*/ 373 w 901"/>
                <a:gd name="T77" fmla="*/ 735 h 841"/>
                <a:gd name="T78" fmla="*/ 473 w 901"/>
                <a:gd name="T79" fmla="*/ 739 h 841"/>
                <a:gd name="T80" fmla="*/ 584 w 901"/>
                <a:gd name="T81" fmla="*/ 723 h 841"/>
                <a:gd name="T82" fmla="*/ 683 w 901"/>
                <a:gd name="T83" fmla="*/ 687 h 841"/>
                <a:gd name="T84" fmla="*/ 768 w 901"/>
                <a:gd name="T85" fmla="*/ 631 h 841"/>
                <a:gd name="T86" fmla="*/ 835 w 901"/>
                <a:gd name="T87" fmla="*/ 561 h 841"/>
                <a:gd name="T88" fmla="*/ 880 w 901"/>
                <a:gd name="T89" fmla="*/ 480 h 841"/>
                <a:gd name="T90" fmla="*/ 899 w 901"/>
                <a:gd name="T91" fmla="*/ 389 h 841"/>
                <a:gd name="T92" fmla="*/ 891 w 901"/>
                <a:gd name="T93" fmla="*/ 295 h 841"/>
                <a:gd name="T94" fmla="*/ 856 w 901"/>
                <a:gd name="T95" fmla="*/ 209 h 841"/>
                <a:gd name="T96" fmla="*/ 797 w 901"/>
                <a:gd name="T97" fmla="*/ 134 h 841"/>
                <a:gd name="T98" fmla="*/ 719 w 901"/>
                <a:gd name="T99" fmla="*/ 73 h 841"/>
                <a:gd name="T100" fmla="*/ 624 w 901"/>
                <a:gd name="T101" fmla="*/ 29 h 841"/>
                <a:gd name="T102" fmla="*/ 519 w 901"/>
                <a:gd name="T103" fmla="*/ 4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1" h="841">
                  <a:moveTo>
                    <a:pt x="450" y="710"/>
                  </a:moveTo>
                  <a:lnTo>
                    <a:pt x="431" y="709"/>
                  </a:lnTo>
                  <a:lnTo>
                    <a:pt x="412" y="709"/>
                  </a:lnTo>
                  <a:lnTo>
                    <a:pt x="393" y="707"/>
                  </a:lnTo>
                  <a:lnTo>
                    <a:pt x="374" y="705"/>
                  </a:lnTo>
                  <a:lnTo>
                    <a:pt x="356" y="702"/>
                  </a:lnTo>
                  <a:lnTo>
                    <a:pt x="338" y="697"/>
                  </a:lnTo>
                  <a:lnTo>
                    <a:pt x="320" y="693"/>
                  </a:lnTo>
                  <a:lnTo>
                    <a:pt x="301" y="689"/>
                  </a:lnTo>
                  <a:lnTo>
                    <a:pt x="296" y="688"/>
                  </a:lnTo>
                  <a:lnTo>
                    <a:pt x="291" y="689"/>
                  </a:lnTo>
                  <a:lnTo>
                    <a:pt x="78" y="793"/>
                  </a:lnTo>
                  <a:lnTo>
                    <a:pt x="158" y="630"/>
                  </a:lnTo>
                  <a:lnTo>
                    <a:pt x="160" y="626"/>
                  </a:lnTo>
                  <a:lnTo>
                    <a:pt x="159" y="620"/>
                  </a:lnTo>
                  <a:lnTo>
                    <a:pt x="158" y="616"/>
                  </a:lnTo>
                  <a:lnTo>
                    <a:pt x="155" y="612"/>
                  </a:lnTo>
                  <a:lnTo>
                    <a:pt x="140" y="599"/>
                  </a:lnTo>
                  <a:lnTo>
                    <a:pt x="126" y="586"/>
                  </a:lnTo>
                  <a:lnTo>
                    <a:pt x="113" y="573"/>
                  </a:lnTo>
                  <a:lnTo>
                    <a:pt x="100" y="559"/>
                  </a:lnTo>
                  <a:lnTo>
                    <a:pt x="89" y="545"/>
                  </a:lnTo>
                  <a:lnTo>
                    <a:pt x="79" y="532"/>
                  </a:lnTo>
                  <a:lnTo>
                    <a:pt x="70" y="517"/>
                  </a:lnTo>
                  <a:lnTo>
                    <a:pt x="62" y="500"/>
                  </a:lnTo>
                  <a:lnTo>
                    <a:pt x="54" y="485"/>
                  </a:lnTo>
                  <a:lnTo>
                    <a:pt x="48" y="469"/>
                  </a:lnTo>
                  <a:lnTo>
                    <a:pt x="42" y="453"/>
                  </a:lnTo>
                  <a:lnTo>
                    <a:pt x="37" y="437"/>
                  </a:lnTo>
                  <a:lnTo>
                    <a:pt x="34" y="420"/>
                  </a:lnTo>
                  <a:lnTo>
                    <a:pt x="32" y="404"/>
                  </a:lnTo>
                  <a:lnTo>
                    <a:pt x="30" y="387"/>
                  </a:lnTo>
                  <a:lnTo>
                    <a:pt x="30" y="370"/>
                  </a:lnTo>
                  <a:lnTo>
                    <a:pt x="30" y="352"/>
                  </a:lnTo>
                  <a:lnTo>
                    <a:pt x="32" y="335"/>
                  </a:lnTo>
                  <a:lnTo>
                    <a:pt x="34" y="317"/>
                  </a:lnTo>
                  <a:lnTo>
                    <a:pt x="38" y="301"/>
                  </a:lnTo>
                  <a:lnTo>
                    <a:pt x="42" y="284"/>
                  </a:lnTo>
                  <a:lnTo>
                    <a:pt x="48" y="268"/>
                  </a:lnTo>
                  <a:lnTo>
                    <a:pt x="55" y="253"/>
                  </a:lnTo>
                  <a:lnTo>
                    <a:pt x="63" y="237"/>
                  </a:lnTo>
                  <a:lnTo>
                    <a:pt x="70" y="222"/>
                  </a:lnTo>
                  <a:lnTo>
                    <a:pt x="80" y="207"/>
                  </a:lnTo>
                  <a:lnTo>
                    <a:pt x="91" y="193"/>
                  </a:lnTo>
                  <a:lnTo>
                    <a:pt x="101" y="179"/>
                  </a:lnTo>
                  <a:lnTo>
                    <a:pt x="113" y="167"/>
                  </a:lnTo>
                  <a:lnTo>
                    <a:pt x="126" y="154"/>
                  </a:lnTo>
                  <a:lnTo>
                    <a:pt x="139" y="141"/>
                  </a:lnTo>
                  <a:lnTo>
                    <a:pt x="153" y="129"/>
                  </a:lnTo>
                  <a:lnTo>
                    <a:pt x="168" y="117"/>
                  </a:lnTo>
                  <a:lnTo>
                    <a:pt x="183" y="107"/>
                  </a:lnTo>
                  <a:lnTo>
                    <a:pt x="199" y="97"/>
                  </a:lnTo>
                  <a:lnTo>
                    <a:pt x="215" y="87"/>
                  </a:lnTo>
                  <a:lnTo>
                    <a:pt x="232" y="79"/>
                  </a:lnTo>
                  <a:lnTo>
                    <a:pt x="249" y="70"/>
                  </a:lnTo>
                  <a:lnTo>
                    <a:pt x="267" y="63"/>
                  </a:lnTo>
                  <a:lnTo>
                    <a:pt x="286" y="56"/>
                  </a:lnTo>
                  <a:lnTo>
                    <a:pt x="306" y="50"/>
                  </a:lnTo>
                  <a:lnTo>
                    <a:pt x="325" y="45"/>
                  </a:lnTo>
                  <a:lnTo>
                    <a:pt x="345" y="40"/>
                  </a:lnTo>
                  <a:lnTo>
                    <a:pt x="366" y="36"/>
                  </a:lnTo>
                  <a:lnTo>
                    <a:pt x="386" y="33"/>
                  </a:lnTo>
                  <a:lnTo>
                    <a:pt x="407" y="31"/>
                  </a:lnTo>
                  <a:lnTo>
                    <a:pt x="428" y="30"/>
                  </a:lnTo>
                  <a:lnTo>
                    <a:pt x="450" y="30"/>
                  </a:lnTo>
                  <a:lnTo>
                    <a:pt x="471" y="30"/>
                  </a:lnTo>
                  <a:lnTo>
                    <a:pt x="493" y="31"/>
                  </a:lnTo>
                  <a:lnTo>
                    <a:pt x="513" y="33"/>
                  </a:lnTo>
                  <a:lnTo>
                    <a:pt x="535" y="36"/>
                  </a:lnTo>
                  <a:lnTo>
                    <a:pt x="555" y="40"/>
                  </a:lnTo>
                  <a:lnTo>
                    <a:pt x="574" y="45"/>
                  </a:lnTo>
                  <a:lnTo>
                    <a:pt x="595" y="50"/>
                  </a:lnTo>
                  <a:lnTo>
                    <a:pt x="613" y="56"/>
                  </a:lnTo>
                  <a:lnTo>
                    <a:pt x="632" y="63"/>
                  </a:lnTo>
                  <a:lnTo>
                    <a:pt x="650" y="70"/>
                  </a:lnTo>
                  <a:lnTo>
                    <a:pt x="667" y="79"/>
                  </a:lnTo>
                  <a:lnTo>
                    <a:pt x="684" y="87"/>
                  </a:lnTo>
                  <a:lnTo>
                    <a:pt x="702" y="97"/>
                  </a:lnTo>
                  <a:lnTo>
                    <a:pt x="716" y="107"/>
                  </a:lnTo>
                  <a:lnTo>
                    <a:pt x="733" y="117"/>
                  </a:lnTo>
                  <a:lnTo>
                    <a:pt x="746" y="129"/>
                  </a:lnTo>
                  <a:lnTo>
                    <a:pt x="760" y="141"/>
                  </a:lnTo>
                  <a:lnTo>
                    <a:pt x="774" y="154"/>
                  </a:lnTo>
                  <a:lnTo>
                    <a:pt x="786" y="167"/>
                  </a:lnTo>
                  <a:lnTo>
                    <a:pt x="798" y="179"/>
                  </a:lnTo>
                  <a:lnTo>
                    <a:pt x="810" y="193"/>
                  </a:lnTo>
                  <a:lnTo>
                    <a:pt x="819" y="207"/>
                  </a:lnTo>
                  <a:lnTo>
                    <a:pt x="829" y="222"/>
                  </a:lnTo>
                  <a:lnTo>
                    <a:pt x="837" y="237"/>
                  </a:lnTo>
                  <a:lnTo>
                    <a:pt x="845" y="253"/>
                  </a:lnTo>
                  <a:lnTo>
                    <a:pt x="851" y="268"/>
                  </a:lnTo>
                  <a:lnTo>
                    <a:pt x="857" y="284"/>
                  </a:lnTo>
                  <a:lnTo>
                    <a:pt x="862" y="301"/>
                  </a:lnTo>
                  <a:lnTo>
                    <a:pt x="865" y="317"/>
                  </a:lnTo>
                  <a:lnTo>
                    <a:pt x="868" y="335"/>
                  </a:lnTo>
                  <a:lnTo>
                    <a:pt x="870" y="352"/>
                  </a:lnTo>
                  <a:lnTo>
                    <a:pt x="871" y="370"/>
                  </a:lnTo>
                  <a:lnTo>
                    <a:pt x="870" y="387"/>
                  </a:lnTo>
                  <a:lnTo>
                    <a:pt x="868" y="404"/>
                  </a:lnTo>
                  <a:lnTo>
                    <a:pt x="865" y="421"/>
                  </a:lnTo>
                  <a:lnTo>
                    <a:pt x="862" y="438"/>
                  </a:lnTo>
                  <a:lnTo>
                    <a:pt x="857" y="454"/>
                  </a:lnTo>
                  <a:lnTo>
                    <a:pt x="851" y="471"/>
                  </a:lnTo>
                  <a:lnTo>
                    <a:pt x="845" y="487"/>
                  </a:lnTo>
                  <a:lnTo>
                    <a:pt x="837" y="502"/>
                  </a:lnTo>
                  <a:lnTo>
                    <a:pt x="829" y="518"/>
                  </a:lnTo>
                  <a:lnTo>
                    <a:pt x="819" y="532"/>
                  </a:lnTo>
                  <a:lnTo>
                    <a:pt x="810" y="546"/>
                  </a:lnTo>
                  <a:lnTo>
                    <a:pt x="798" y="559"/>
                  </a:lnTo>
                  <a:lnTo>
                    <a:pt x="786" y="573"/>
                  </a:lnTo>
                  <a:lnTo>
                    <a:pt x="774" y="586"/>
                  </a:lnTo>
                  <a:lnTo>
                    <a:pt x="760" y="599"/>
                  </a:lnTo>
                  <a:lnTo>
                    <a:pt x="746" y="611"/>
                  </a:lnTo>
                  <a:lnTo>
                    <a:pt x="733" y="621"/>
                  </a:lnTo>
                  <a:lnTo>
                    <a:pt x="716" y="632"/>
                  </a:lnTo>
                  <a:lnTo>
                    <a:pt x="702" y="643"/>
                  </a:lnTo>
                  <a:lnTo>
                    <a:pt x="684" y="651"/>
                  </a:lnTo>
                  <a:lnTo>
                    <a:pt x="667" y="661"/>
                  </a:lnTo>
                  <a:lnTo>
                    <a:pt x="650" y="668"/>
                  </a:lnTo>
                  <a:lnTo>
                    <a:pt x="632" y="676"/>
                  </a:lnTo>
                  <a:lnTo>
                    <a:pt x="613" y="683"/>
                  </a:lnTo>
                  <a:lnTo>
                    <a:pt x="595" y="690"/>
                  </a:lnTo>
                  <a:lnTo>
                    <a:pt x="574" y="695"/>
                  </a:lnTo>
                  <a:lnTo>
                    <a:pt x="555" y="700"/>
                  </a:lnTo>
                  <a:lnTo>
                    <a:pt x="535" y="703"/>
                  </a:lnTo>
                  <a:lnTo>
                    <a:pt x="513" y="706"/>
                  </a:lnTo>
                  <a:lnTo>
                    <a:pt x="493" y="708"/>
                  </a:lnTo>
                  <a:lnTo>
                    <a:pt x="471" y="709"/>
                  </a:lnTo>
                  <a:lnTo>
                    <a:pt x="450" y="710"/>
                  </a:lnTo>
                  <a:lnTo>
                    <a:pt x="450" y="710"/>
                  </a:lnTo>
                  <a:close/>
                  <a:moveTo>
                    <a:pt x="450" y="0"/>
                  </a:moveTo>
                  <a:lnTo>
                    <a:pt x="427" y="0"/>
                  </a:lnTo>
                  <a:lnTo>
                    <a:pt x="404" y="1"/>
                  </a:lnTo>
                  <a:lnTo>
                    <a:pt x="382" y="4"/>
                  </a:lnTo>
                  <a:lnTo>
                    <a:pt x="359" y="7"/>
                  </a:lnTo>
                  <a:lnTo>
                    <a:pt x="338" y="11"/>
                  </a:lnTo>
                  <a:lnTo>
                    <a:pt x="316" y="16"/>
                  </a:lnTo>
                  <a:lnTo>
                    <a:pt x="295" y="22"/>
                  </a:lnTo>
                  <a:lnTo>
                    <a:pt x="275" y="29"/>
                  </a:lnTo>
                  <a:lnTo>
                    <a:pt x="254" y="36"/>
                  </a:lnTo>
                  <a:lnTo>
                    <a:pt x="235" y="45"/>
                  </a:lnTo>
                  <a:lnTo>
                    <a:pt x="216" y="53"/>
                  </a:lnTo>
                  <a:lnTo>
                    <a:pt x="198" y="63"/>
                  </a:lnTo>
                  <a:lnTo>
                    <a:pt x="180" y="73"/>
                  </a:lnTo>
                  <a:lnTo>
                    <a:pt x="163" y="84"/>
                  </a:lnTo>
                  <a:lnTo>
                    <a:pt x="147" y="96"/>
                  </a:lnTo>
                  <a:lnTo>
                    <a:pt x="131" y="108"/>
                  </a:lnTo>
                  <a:lnTo>
                    <a:pt x="116" y="121"/>
                  </a:lnTo>
                  <a:lnTo>
                    <a:pt x="102" y="134"/>
                  </a:lnTo>
                  <a:lnTo>
                    <a:pt x="88" y="148"/>
                  </a:lnTo>
                  <a:lnTo>
                    <a:pt x="77" y="162"/>
                  </a:lnTo>
                  <a:lnTo>
                    <a:pt x="65" y="177"/>
                  </a:lnTo>
                  <a:lnTo>
                    <a:pt x="53" y="193"/>
                  </a:lnTo>
                  <a:lnTo>
                    <a:pt x="43" y="209"/>
                  </a:lnTo>
                  <a:lnTo>
                    <a:pt x="35" y="225"/>
                  </a:lnTo>
                  <a:lnTo>
                    <a:pt x="26" y="243"/>
                  </a:lnTo>
                  <a:lnTo>
                    <a:pt x="20" y="260"/>
                  </a:lnTo>
                  <a:lnTo>
                    <a:pt x="14" y="277"/>
                  </a:lnTo>
                  <a:lnTo>
                    <a:pt x="8" y="295"/>
                  </a:lnTo>
                  <a:lnTo>
                    <a:pt x="4" y="313"/>
                  </a:lnTo>
                  <a:lnTo>
                    <a:pt x="2" y="331"/>
                  </a:lnTo>
                  <a:lnTo>
                    <a:pt x="0" y="351"/>
                  </a:lnTo>
                  <a:lnTo>
                    <a:pt x="0" y="370"/>
                  </a:lnTo>
                  <a:lnTo>
                    <a:pt x="0" y="388"/>
                  </a:lnTo>
                  <a:lnTo>
                    <a:pt x="2" y="406"/>
                  </a:lnTo>
                  <a:lnTo>
                    <a:pt x="4" y="423"/>
                  </a:lnTo>
                  <a:lnTo>
                    <a:pt x="7" y="442"/>
                  </a:lnTo>
                  <a:lnTo>
                    <a:pt x="12" y="459"/>
                  </a:lnTo>
                  <a:lnTo>
                    <a:pt x="18" y="476"/>
                  </a:lnTo>
                  <a:lnTo>
                    <a:pt x="24" y="493"/>
                  </a:lnTo>
                  <a:lnTo>
                    <a:pt x="32" y="509"/>
                  </a:lnTo>
                  <a:lnTo>
                    <a:pt x="40" y="525"/>
                  </a:lnTo>
                  <a:lnTo>
                    <a:pt x="50" y="541"/>
                  </a:lnTo>
                  <a:lnTo>
                    <a:pt x="61" y="556"/>
                  </a:lnTo>
                  <a:lnTo>
                    <a:pt x="71" y="571"/>
                  </a:lnTo>
                  <a:lnTo>
                    <a:pt x="84" y="586"/>
                  </a:lnTo>
                  <a:lnTo>
                    <a:pt x="97" y="600"/>
                  </a:lnTo>
                  <a:lnTo>
                    <a:pt x="111" y="614"/>
                  </a:lnTo>
                  <a:lnTo>
                    <a:pt x="126" y="628"/>
                  </a:lnTo>
                  <a:lnTo>
                    <a:pt x="31" y="818"/>
                  </a:lnTo>
                  <a:lnTo>
                    <a:pt x="30" y="824"/>
                  </a:lnTo>
                  <a:lnTo>
                    <a:pt x="30" y="828"/>
                  </a:lnTo>
                  <a:lnTo>
                    <a:pt x="31" y="832"/>
                  </a:lnTo>
                  <a:lnTo>
                    <a:pt x="34" y="835"/>
                  </a:lnTo>
                  <a:lnTo>
                    <a:pt x="36" y="838"/>
                  </a:lnTo>
                  <a:lnTo>
                    <a:pt x="38" y="840"/>
                  </a:lnTo>
                  <a:lnTo>
                    <a:pt x="41" y="840"/>
                  </a:lnTo>
                  <a:lnTo>
                    <a:pt x="45" y="841"/>
                  </a:lnTo>
                  <a:lnTo>
                    <a:pt x="48" y="840"/>
                  </a:lnTo>
                  <a:lnTo>
                    <a:pt x="51" y="839"/>
                  </a:lnTo>
                  <a:lnTo>
                    <a:pt x="298" y="719"/>
                  </a:lnTo>
                  <a:lnTo>
                    <a:pt x="316" y="724"/>
                  </a:lnTo>
                  <a:lnTo>
                    <a:pt x="336" y="728"/>
                  </a:lnTo>
                  <a:lnTo>
                    <a:pt x="354" y="732"/>
                  </a:lnTo>
                  <a:lnTo>
                    <a:pt x="373" y="735"/>
                  </a:lnTo>
                  <a:lnTo>
                    <a:pt x="391" y="737"/>
                  </a:lnTo>
                  <a:lnTo>
                    <a:pt x="410" y="739"/>
                  </a:lnTo>
                  <a:lnTo>
                    <a:pt x="430" y="740"/>
                  </a:lnTo>
                  <a:lnTo>
                    <a:pt x="450" y="740"/>
                  </a:lnTo>
                  <a:lnTo>
                    <a:pt x="473" y="739"/>
                  </a:lnTo>
                  <a:lnTo>
                    <a:pt x="496" y="738"/>
                  </a:lnTo>
                  <a:lnTo>
                    <a:pt x="519" y="736"/>
                  </a:lnTo>
                  <a:lnTo>
                    <a:pt x="540" y="733"/>
                  </a:lnTo>
                  <a:lnTo>
                    <a:pt x="562" y="728"/>
                  </a:lnTo>
                  <a:lnTo>
                    <a:pt x="584" y="723"/>
                  </a:lnTo>
                  <a:lnTo>
                    <a:pt x="604" y="718"/>
                  </a:lnTo>
                  <a:lnTo>
                    <a:pt x="624" y="711"/>
                  </a:lnTo>
                  <a:lnTo>
                    <a:pt x="645" y="704"/>
                  </a:lnTo>
                  <a:lnTo>
                    <a:pt x="664" y="695"/>
                  </a:lnTo>
                  <a:lnTo>
                    <a:pt x="683" y="687"/>
                  </a:lnTo>
                  <a:lnTo>
                    <a:pt x="702" y="677"/>
                  </a:lnTo>
                  <a:lnTo>
                    <a:pt x="719" y="666"/>
                  </a:lnTo>
                  <a:lnTo>
                    <a:pt x="736" y="656"/>
                  </a:lnTo>
                  <a:lnTo>
                    <a:pt x="753" y="644"/>
                  </a:lnTo>
                  <a:lnTo>
                    <a:pt x="768" y="631"/>
                  </a:lnTo>
                  <a:lnTo>
                    <a:pt x="783" y="618"/>
                  </a:lnTo>
                  <a:lnTo>
                    <a:pt x="797" y="605"/>
                  </a:lnTo>
                  <a:lnTo>
                    <a:pt x="811" y="591"/>
                  </a:lnTo>
                  <a:lnTo>
                    <a:pt x="823" y="576"/>
                  </a:lnTo>
                  <a:lnTo>
                    <a:pt x="835" y="561"/>
                  </a:lnTo>
                  <a:lnTo>
                    <a:pt x="846" y="546"/>
                  </a:lnTo>
                  <a:lnTo>
                    <a:pt x="856" y="530"/>
                  </a:lnTo>
                  <a:lnTo>
                    <a:pt x="865" y="513"/>
                  </a:lnTo>
                  <a:lnTo>
                    <a:pt x="873" y="497"/>
                  </a:lnTo>
                  <a:lnTo>
                    <a:pt x="880" y="480"/>
                  </a:lnTo>
                  <a:lnTo>
                    <a:pt x="886" y="462"/>
                  </a:lnTo>
                  <a:lnTo>
                    <a:pt x="891" y="444"/>
                  </a:lnTo>
                  <a:lnTo>
                    <a:pt x="895" y="426"/>
                  </a:lnTo>
                  <a:lnTo>
                    <a:pt x="897" y="407"/>
                  </a:lnTo>
                  <a:lnTo>
                    <a:pt x="899" y="389"/>
                  </a:lnTo>
                  <a:lnTo>
                    <a:pt x="901" y="370"/>
                  </a:lnTo>
                  <a:lnTo>
                    <a:pt x="899" y="351"/>
                  </a:lnTo>
                  <a:lnTo>
                    <a:pt x="897" y="331"/>
                  </a:lnTo>
                  <a:lnTo>
                    <a:pt x="895" y="313"/>
                  </a:lnTo>
                  <a:lnTo>
                    <a:pt x="891" y="295"/>
                  </a:lnTo>
                  <a:lnTo>
                    <a:pt x="886" y="277"/>
                  </a:lnTo>
                  <a:lnTo>
                    <a:pt x="880" y="260"/>
                  </a:lnTo>
                  <a:lnTo>
                    <a:pt x="873" y="243"/>
                  </a:lnTo>
                  <a:lnTo>
                    <a:pt x="865" y="225"/>
                  </a:lnTo>
                  <a:lnTo>
                    <a:pt x="856" y="209"/>
                  </a:lnTo>
                  <a:lnTo>
                    <a:pt x="846" y="193"/>
                  </a:lnTo>
                  <a:lnTo>
                    <a:pt x="835" y="177"/>
                  </a:lnTo>
                  <a:lnTo>
                    <a:pt x="823" y="162"/>
                  </a:lnTo>
                  <a:lnTo>
                    <a:pt x="811" y="148"/>
                  </a:lnTo>
                  <a:lnTo>
                    <a:pt x="797" y="134"/>
                  </a:lnTo>
                  <a:lnTo>
                    <a:pt x="783" y="121"/>
                  </a:lnTo>
                  <a:lnTo>
                    <a:pt x="768" y="108"/>
                  </a:lnTo>
                  <a:lnTo>
                    <a:pt x="753" y="96"/>
                  </a:lnTo>
                  <a:lnTo>
                    <a:pt x="736" y="84"/>
                  </a:lnTo>
                  <a:lnTo>
                    <a:pt x="719" y="73"/>
                  </a:lnTo>
                  <a:lnTo>
                    <a:pt x="702" y="63"/>
                  </a:lnTo>
                  <a:lnTo>
                    <a:pt x="683" y="53"/>
                  </a:lnTo>
                  <a:lnTo>
                    <a:pt x="664" y="45"/>
                  </a:lnTo>
                  <a:lnTo>
                    <a:pt x="645" y="36"/>
                  </a:lnTo>
                  <a:lnTo>
                    <a:pt x="624" y="29"/>
                  </a:lnTo>
                  <a:lnTo>
                    <a:pt x="604" y="22"/>
                  </a:lnTo>
                  <a:lnTo>
                    <a:pt x="584" y="16"/>
                  </a:lnTo>
                  <a:lnTo>
                    <a:pt x="562" y="11"/>
                  </a:lnTo>
                  <a:lnTo>
                    <a:pt x="540" y="7"/>
                  </a:lnTo>
                  <a:lnTo>
                    <a:pt x="519" y="4"/>
                  </a:lnTo>
                  <a:lnTo>
                    <a:pt x="496" y="2"/>
                  </a:lnTo>
                  <a:lnTo>
                    <a:pt x="473"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31">
              <a:extLst>
                <a:ext uri="{FF2B5EF4-FFF2-40B4-BE49-F238E27FC236}">
                  <a16:creationId xmlns:a16="http://schemas.microsoft.com/office/drawing/2014/main" id="{5F5C8347-19D5-4385-824B-31C41996BF8E}"/>
                </a:ext>
              </a:extLst>
            </p:cNvPr>
            <p:cNvSpPr>
              <a:spLocks noEditPoints="1"/>
            </p:cNvSpPr>
            <p:nvPr/>
          </p:nvSpPr>
          <p:spPr bwMode="auto">
            <a:xfrm>
              <a:off x="2681288" y="2581276"/>
              <a:ext cx="141288" cy="130175"/>
            </a:xfrm>
            <a:custGeom>
              <a:avLst/>
              <a:gdLst>
                <a:gd name="T0" fmla="*/ 151 w 446"/>
                <a:gd name="T1" fmla="*/ 314 h 409"/>
                <a:gd name="T2" fmla="*/ 89 w 446"/>
                <a:gd name="T3" fmla="*/ 248 h 409"/>
                <a:gd name="T4" fmla="*/ 41 w 446"/>
                <a:gd name="T5" fmla="*/ 179 h 409"/>
                <a:gd name="T6" fmla="*/ 30 w 446"/>
                <a:gd name="T7" fmla="*/ 137 h 409"/>
                <a:gd name="T8" fmla="*/ 34 w 446"/>
                <a:gd name="T9" fmla="*/ 97 h 409"/>
                <a:gd name="T10" fmla="*/ 51 w 446"/>
                <a:gd name="T11" fmla="*/ 63 h 409"/>
                <a:gd name="T12" fmla="*/ 78 w 446"/>
                <a:gd name="T13" fmla="*/ 41 h 409"/>
                <a:gd name="T14" fmla="*/ 109 w 446"/>
                <a:gd name="T15" fmla="*/ 30 h 409"/>
                <a:gd name="T16" fmla="*/ 141 w 446"/>
                <a:gd name="T17" fmla="*/ 33 h 409"/>
                <a:gd name="T18" fmla="*/ 168 w 446"/>
                <a:gd name="T19" fmla="*/ 48 h 409"/>
                <a:gd name="T20" fmla="*/ 190 w 446"/>
                <a:gd name="T21" fmla="*/ 74 h 409"/>
                <a:gd name="T22" fmla="*/ 205 w 446"/>
                <a:gd name="T23" fmla="*/ 110 h 409"/>
                <a:gd name="T24" fmla="*/ 218 w 446"/>
                <a:gd name="T25" fmla="*/ 131 h 409"/>
                <a:gd name="T26" fmla="*/ 235 w 446"/>
                <a:gd name="T27" fmla="*/ 125 h 409"/>
                <a:gd name="T28" fmla="*/ 247 w 446"/>
                <a:gd name="T29" fmla="*/ 91 h 409"/>
                <a:gd name="T30" fmla="*/ 266 w 446"/>
                <a:gd name="T31" fmla="*/ 60 h 409"/>
                <a:gd name="T32" fmla="*/ 291 w 446"/>
                <a:gd name="T33" fmla="*/ 40 h 409"/>
                <a:gd name="T34" fmla="*/ 320 w 446"/>
                <a:gd name="T35" fmla="*/ 30 h 409"/>
                <a:gd name="T36" fmla="*/ 352 w 446"/>
                <a:gd name="T37" fmla="*/ 33 h 409"/>
                <a:gd name="T38" fmla="*/ 382 w 446"/>
                <a:gd name="T39" fmla="*/ 50 h 409"/>
                <a:gd name="T40" fmla="*/ 404 w 446"/>
                <a:gd name="T41" fmla="*/ 79 h 409"/>
                <a:gd name="T42" fmla="*/ 415 w 446"/>
                <a:gd name="T43" fmla="*/ 119 h 409"/>
                <a:gd name="T44" fmla="*/ 413 w 446"/>
                <a:gd name="T45" fmla="*/ 153 h 409"/>
                <a:gd name="T46" fmla="*/ 384 w 446"/>
                <a:gd name="T47" fmla="*/ 213 h 409"/>
                <a:gd name="T48" fmla="*/ 327 w 446"/>
                <a:gd name="T49" fmla="*/ 283 h 409"/>
                <a:gd name="T50" fmla="*/ 249 w 446"/>
                <a:gd name="T51" fmla="*/ 354 h 409"/>
                <a:gd name="T52" fmla="*/ 299 w 446"/>
                <a:gd name="T53" fmla="*/ 3 h 409"/>
                <a:gd name="T54" fmla="*/ 271 w 446"/>
                <a:gd name="T55" fmla="*/ 16 h 409"/>
                <a:gd name="T56" fmla="*/ 245 w 446"/>
                <a:gd name="T57" fmla="*/ 39 h 409"/>
                <a:gd name="T58" fmla="*/ 222 w 446"/>
                <a:gd name="T59" fmla="*/ 72 h 409"/>
                <a:gd name="T60" fmla="*/ 201 w 446"/>
                <a:gd name="T61" fmla="*/ 39 h 409"/>
                <a:gd name="T62" fmla="*/ 174 w 446"/>
                <a:gd name="T63" fmla="*/ 16 h 409"/>
                <a:gd name="T64" fmla="*/ 145 w 446"/>
                <a:gd name="T65" fmla="*/ 3 h 409"/>
                <a:gd name="T66" fmla="*/ 96 w 446"/>
                <a:gd name="T67" fmla="*/ 2 h 409"/>
                <a:gd name="T68" fmla="*/ 54 w 446"/>
                <a:gd name="T69" fmla="*/ 19 h 409"/>
                <a:gd name="T70" fmla="*/ 21 w 446"/>
                <a:gd name="T71" fmla="*/ 53 h 409"/>
                <a:gd name="T72" fmla="*/ 2 w 446"/>
                <a:gd name="T73" fmla="*/ 101 h 409"/>
                <a:gd name="T74" fmla="*/ 2 w 446"/>
                <a:gd name="T75" fmla="*/ 152 h 409"/>
                <a:gd name="T76" fmla="*/ 18 w 446"/>
                <a:gd name="T77" fmla="*/ 199 h 409"/>
                <a:gd name="T78" fmla="*/ 65 w 446"/>
                <a:gd name="T79" fmla="*/ 268 h 409"/>
                <a:gd name="T80" fmla="*/ 142 w 446"/>
                <a:gd name="T81" fmla="*/ 347 h 409"/>
                <a:gd name="T82" fmla="*/ 214 w 446"/>
                <a:gd name="T83" fmla="*/ 406 h 409"/>
                <a:gd name="T84" fmla="*/ 232 w 446"/>
                <a:gd name="T85" fmla="*/ 406 h 409"/>
                <a:gd name="T86" fmla="*/ 304 w 446"/>
                <a:gd name="T87" fmla="*/ 347 h 409"/>
                <a:gd name="T88" fmla="*/ 381 w 446"/>
                <a:gd name="T89" fmla="*/ 268 h 409"/>
                <a:gd name="T90" fmla="*/ 427 w 446"/>
                <a:gd name="T91" fmla="*/ 199 h 409"/>
                <a:gd name="T92" fmla="*/ 444 w 446"/>
                <a:gd name="T93" fmla="*/ 152 h 409"/>
                <a:gd name="T94" fmla="*/ 444 w 446"/>
                <a:gd name="T95" fmla="*/ 101 h 409"/>
                <a:gd name="T96" fmla="*/ 423 w 446"/>
                <a:gd name="T97" fmla="*/ 53 h 409"/>
                <a:gd name="T98" fmla="*/ 390 w 446"/>
                <a:gd name="T99" fmla="*/ 19 h 409"/>
                <a:gd name="T100" fmla="*/ 350 w 446"/>
                <a:gd name="T101" fmla="*/ 2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6" h="409">
                  <a:moveTo>
                    <a:pt x="222" y="375"/>
                  </a:moveTo>
                  <a:lnTo>
                    <a:pt x="197" y="354"/>
                  </a:lnTo>
                  <a:lnTo>
                    <a:pt x="167" y="329"/>
                  </a:lnTo>
                  <a:lnTo>
                    <a:pt x="151" y="314"/>
                  </a:lnTo>
                  <a:lnTo>
                    <a:pt x="135" y="299"/>
                  </a:lnTo>
                  <a:lnTo>
                    <a:pt x="118" y="283"/>
                  </a:lnTo>
                  <a:lnTo>
                    <a:pt x="103" y="265"/>
                  </a:lnTo>
                  <a:lnTo>
                    <a:pt x="89" y="248"/>
                  </a:lnTo>
                  <a:lnTo>
                    <a:pt x="75" y="231"/>
                  </a:lnTo>
                  <a:lnTo>
                    <a:pt x="62" y="213"/>
                  </a:lnTo>
                  <a:lnTo>
                    <a:pt x="51" y="196"/>
                  </a:lnTo>
                  <a:lnTo>
                    <a:pt x="41" y="179"/>
                  </a:lnTo>
                  <a:lnTo>
                    <a:pt x="35" y="162"/>
                  </a:lnTo>
                  <a:lnTo>
                    <a:pt x="33" y="153"/>
                  </a:lnTo>
                  <a:lnTo>
                    <a:pt x="31" y="146"/>
                  </a:lnTo>
                  <a:lnTo>
                    <a:pt x="30" y="137"/>
                  </a:lnTo>
                  <a:lnTo>
                    <a:pt x="30" y="130"/>
                  </a:lnTo>
                  <a:lnTo>
                    <a:pt x="30" y="119"/>
                  </a:lnTo>
                  <a:lnTo>
                    <a:pt x="32" y="107"/>
                  </a:lnTo>
                  <a:lnTo>
                    <a:pt x="34" y="97"/>
                  </a:lnTo>
                  <a:lnTo>
                    <a:pt x="37" y="88"/>
                  </a:lnTo>
                  <a:lnTo>
                    <a:pt x="41" y="79"/>
                  </a:lnTo>
                  <a:lnTo>
                    <a:pt x="46" y="71"/>
                  </a:lnTo>
                  <a:lnTo>
                    <a:pt x="51" y="63"/>
                  </a:lnTo>
                  <a:lnTo>
                    <a:pt x="57" y="57"/>
                  </a:lnTo>
                  <a:lnTo>
                    <a:pt x="64" y="50"/>
                  </a:lnTo>
                  <a:lnTo>
                    <a:pt x="70" y="45"/>
                  </a:lnTo>
                  <a:lnTo>
                    <a:pt x="78" y="41"/>
                  </a:lnTo>
                  <a:lnTo>
                    <a:pt x="85" y="36"/>
                  </a:lnTo>
                  <a:lnTo>
                    <a:pt x="93" y="33"/>
                  </a:lnTo>
                  <a:lnTo>
                    <a:pt x="101" y="31"/>
                  </a:lnTo>
                  <a:lnTo>
                    <a:pt x="109" y="30"/>
                  </a:lnTo>
                  <a:lnTo>
                    <a:pt x="117" y="30"/>
                  </a:lnTo>
                  <a:lnTo>
                    <a:pt x="126" y="30"/>
                  </a:lnTo>
                  <a:lnTo>
                    <a:pt x="133" y="31"/>
                  </a:lnTo>
                  <a:lnTo>
                    <a:pt x="141" y="33"/>
                  </a:lnTo>
                  <a:lnTo>
                    <a:pt x="147" y="36"/>
                  </a:lnTo>
                  <a:lnTo>
                    <a:pt x="155" y="40"/>
                  </a:lnTo>
                  <a:lnTo>
                    <a:pt x="161" y="44"/>
                  </a:lnTo>
                  <a:lnTo>
                    <a:pt x="168" y="48"/>
                  </a:lnTo>
                  <a:lnTo>
                    <a:pt x="174" y="54"/>
                  </a:lnTo>
                  <a:lnTo>
                    <a:pt x="179" y="60"/>
                  </a:lnTo>
                  <a:lnTo>
                    <a:pt x="185" y="66"/>
                  </a:lnTo>
                  <a:lnTo>
                    <a:pt x="190" y="74"/>
                  </a:lnTo>
                  <a:lnTo>
                    <a:pt x="194" y="82"/>
                  </a:lnTo>
                  <a:lnTo>
                    <a:pt x="199" y="91"/>
                  </a:lnTo>
                  <a:lnTo>
                    <a:pt x="202" y="101"/>
                  </a:lnTo>
                  <a:lnTo>
                    <a:pt x="205" y="110"/>
                  </a:lnTo>
                  <a:lnTo>
                    <a:pt x="208" y="120"/>
                  </a:lnTo>
                  <a:lnTo>
                    <a:pt x="210" y="125"/>
                  </a:lnTo>
                  <a:lnTo>
                    <a:pt x="214" y="128"/>
                  </a:lnTo>
                  <a:lnTo>
                    <a:pt x="218" y="131"/>
                  </a:lnTo>
                  <a:lnTo>
                    <a:pt x="222" y="132"/>
                  </a:lnTo>
                  <a:lnTo>
                    <a:pt x="228" y="131"/>
                  </a:lnTo>
                  <a:lnTo>
                    <a:pt x="232" y="128"/>
                  </a:lnTo>
                  <a:lnTo>
                    <a:pt x="235" y="125"/>
                  </a:lnTo>
                  <a:lnTo>
                    <a:pt x="237" y="120"/>
                  </a:lnTo>
                  <a:lnTo>
                    <a:pt x="240" y="110"/>
                  </a:lnTo>
                  <a:lnTo>
                    <a:pt x="244" y="101"/>
                  </a:lnTo>
                  <a:lnTo>
                    <a:pt x="247" y="91"/>
                  </a:lnTo>
                  <a:lnTo>
                    <a:pt x="251" y="82"/>
                  </a:lnTo>
                  <a:lnTo>
                    <a:pt x="255" y="74"/>
                  </a:lnTo>
                  <a:lnTo>
                    <a:pt x="261" y="66"/>
                  </a:lnTo>
                  <a:lnTo>
                    <a:pt x="266" y="60"/>
                  </a:lnTo>
                  <a:lnTo>
                    <a:pt x="271" y="54"/>
                  </a:lnTo>
                  <a:lnTo>
                    <a:pt x="278" y="48"/>
                  </a:lnTo>
                  <a:lnTo>
                    <a:pt x="283" y="44"/>
                  </a:lnTo>
                  <a:lnTo>
                    <a:pt x="291" y="40"/>
                  </a:lnTo>
                  <a:lnTo>
                    <a:pt x="297" y="36"/>
                  </a:lnTo>
                  <a:lnTo>
                    <a:pt x="305" y="33"/>
                  </a:lnTo>
                  <a:lnTo>
                    <a:pt x="312" y="31"/>
                  </a:lnTo>
                  <a:lnTo>
                    <a:pt x="320" y="30"/>
                  </a:lnTo>
                  <a:lnTo>
                    <a:pt x="328" y="30"/>
                  </a:lnTo>
                  <a:lnTo>
                    <a:pt x="336" y="30"/>
                  </a:lnTo>
                  <a:lnTo>
                    <a:pt x="344" y="31"/>
                  </a:lnTo>
                  <a:lnTo>
                    <a:pt x="352" y="33"/>
                  </a:lnTo>
                  <a:lnTo>
                    <a:pt x="360" y="36"/>
                  </a:lnTo>
                  <a:lnTo>
                    <a:pt x="368" y="41"/>
                  </a:lnTo>
                  <a:lnTo>
                    <a:pt x="374" y="45"/>
                  </a:lnTo>
                  <a:lnTo>
                    <a:pt x="382" y="50"/>
                  </a:lnTo>
                  <a:lnTo>
                    <a:pt x="388" y="57"/>
                  </a:lnTo>
                  <a:lnTo>
                    <a:pt x="395" y="63"/>
                  </a:lnTo>
                  <a:lnTo>
                    <a:pt x="400" y="71"/>
                  </a:lnTo>
                  <a:lnTo>
                    <a:pt x="404" y="79"/>
                  </a:lnTo>
                  <a:lnTo>
                    <a:pt x="408" y="88"/>
                  </a:lnTo>
                  <a:lnTo>
                    <a:pt x="412" y="97"/>
                  </a:lnTo>
                  <a:lnTo>
                    <a:pt x="414" y="107"/>
                  </a:lnTo>
                  <a:lnTo>
                    <a:pt x="415" y="119"/>
                  </a:lnTo>
                  <a:lnTo>
                    <a:pt x="416" y="130"/>
                  </a:lnTo>
                  <a:lnTo>
                    <a:pt x="416" y="137"/>
                  </a:lnTo>
                  <a:lnTo>
                    <a:pt x="415" y="146"/>
                  </a:lnTo>
                  <a:lnTo>
                    <a:pt x="413" y="153"/>
                  </a:lnTo>
                  <a:lnTo>
                    <a:pt x="411" y="162"/>
                  </a:lnTo>
                  <a:lnTo>
                    <a:pt x="403" y="179"/>
                  </a:lnTo>
                  <a:lnTo>
                    <a:pt x="395" y="196"/>
                  </a:lnTo>
                  <a:lnTo>
                    <a:pt x="384" y="213"/>
                  </a:lnTo>
                  <a:lnTo>
                    <a:pt x="371" y="231"/>
                  </a:lnTo>
                  <a:lnTo>
                    <a:pt x="357" y="248"/>
                  </a:lnTo>
                  <a:lnTo>
                    <a:pt x="342" y="265"/>
                  </a:lnTo>
                  <a:lnTo>
                    <a:pt x="327" y="283"/>
                  </a:lnTo>
                  <a:lnTo>
                    <a:pt x="311" y="299"/>
                  </a:lnTo>
                  <a:lnTo>
                    <a:pt x="295" y="314"/>
                  </a:lnTo>
                  <a:lnTo>
                    <a:pt x="279" y="329"/>
                  </a:lnTo>
                  <a:lnTo>
                    <a:pt x="249" y="354"/>
                  </a:lnTo>
                  <a:lnTo>
                    <a:pt x="222" y="375"/>
                  </a:lnTo>
                  <a:close/>
                  <a:moveTo>
                    <a:pt x="328" y="0"/>
                  </a:moveTo>
                  <a:lnTo>
                    <a:pt x="314" y="1"/>
                  </a:lnTo>
                  <a:lnTo>
                    <a:pt x="299" y="3"/>
                  </a:lnTo>
                  <a:lnTo>
                    <a:pt x="293" y="5"/>
                  </a:lnTo>
                  <a:lnTo>
                    <a:pt x="285" y="9"/>
                  </a:lnTo>
                  <a:lnTo>
                    <a:pt x="278" y="12"/>
                  </a:lnTo>
                  <a:lnTo>
                    <a:pt x="271" y="16"/>
                  </a:lnTo>
                  <a:lnTo>
                    <a:pt x="264" y="20"/>
                  </a:lnTo>
                  <a:lnTo>
                    <a:pt x="258" y="26"/>
                  </a:lnTo>
                  <a:lnTo>
                    <a:pt x="251" y="32"/>
                  </a:lnTo>
                  <a:lnTo>
                    <a:pt x="245" y="39"/>
                  </a:lnTo>
                  <a:lnTo>
                    <a:pt x="238" y="46"/>
                  </a:lnTo>
                  <a:lnTo>
                    <a:pt x="233" y="54"/>
                  </a:lnTo>
                  <a:lnTo>
                    <a:pt x="228" y="62"/>
                  </a:lnTo>
                  <a:lnTo>
                    <a:pt x="222" y="72"/>
                  </a:lnTo>
                  <a:lnTo>
                    <a:pt x="218" y="62"/>
                  </a:lnTo>
                  <a:lnTo>
                    <a:pt x="213" y="54"/>
                  </a:lnTo>
                  <a:lnTo>
                    <a:pt x="206" y="46"/>
                  </a:lnTo>
                  <a:lnTo>
                    <a:pt x="201" y="39"/>
                  </a:lnTo>
                  <a:lnTo>
                    <a:pt x="194" y="32"/>
                  </a:lnTo>
                  <a:lnTo>
                    <a:pt x="188" y="26"/>
                  </a:lnTo>
                  <a:lnTo>
                    <a:pt x="181" y="20"/>
                  </a:lnTo>
                  <a:lnTo>
                    <a:pt x="174" y="16"/>
                  </a:lnTo>
                  <a:lnTo>
                    <a:pt x="167" y="12"/>
                  </a:lnTo>
                  <a:lnTo>
                    <a:pt x="160" y="9"/>
                  </a:lnTo>
                  <a:lnTo>
                    <a:pt x="153" y="5"/>
                  </a:lnTo>
                  <a:lnTo>
                    <a:pt x="145" y="3"/>
                  </a:lnTo>
                  <a:lnTo>
                    <a:pt x="131" y="1"/>
                  </a:lnTo>
                  <a:lnTo>
                    <a:pt x="117" y="0"/>
                  </a:lnTo>
                  <a:lnTo>
                    <a:pt x="107" y="0"/>
                  </a:lnTo>
                  <a:lnTo>
                    <a:pt x="96" y="2"/>
                  </a:lnTo>
                  <a:lnTo>
                    <a:pt x="85" y="4"/>
                  </a:lnTo>
                  <a:lnTo>
                    <a:pt x="75" y="9"/>
                  </a:lnTo>
                  <a:lnTo>
                    <a:pt x="64" y="14"/>
                  </a:lnTo>
                  <a:lnTo>
                    <a:pt x="54" y="19"/>
                  </a:lnTo>
                  <a:lnTo>
                    <a:pt x="46" y="27"/>
                  </a:lnTo>
                  <a:lnTo>
                    <a:pt x="36" y="34"/>
                  </a:lnTo>
                  <a:lnTo>
                    <a:pt x="29" y="43"/>
                  </a:lnTo>
                  <a:lnTo>
                    <a:pt x="21" y="53"/>
                  </a:lnTo>
                  <a:lnTo>
                    <a:pt x="15" y="63"/>
                  </a:lnTo>
                  <a:lnTo>
                    <a:pt x="9" y="75"/>
                  </a:lnTo>
                  <a:lnTo>
                    <a:pt x="5" y="88"/>
                  </a:lnTo>
                  <a:lnTo>
                    <a:pt x="2" y="101"/>
                  </a:lnTo>
                  <a:lnTo>
                    <a:pt x="0" y="115"/>
                  </a:lnTo>
                  <a:lnTo>
                    <a:pt x="0" y="130"/>
                  </a:lnTo>
                  <a:lnTo>
                    <a:pt x="0" y="141"/>
                  </a:lnTo>
                  <a:lnTo>
                    <a:pt x="2" y="152"/>
                  </a:lnTo>
                  <a:lnTo>
                    <a:pt x="4" y="164"/>
                  </a:lnTo>
                  <a:lnTo>
                    <a:pt x="8" y="176"/>
                  </a:lnTo>
                  <a:lnTo>
                    <a:pt x="13" y="187"/>
                  </a:lnTo>
                  <a:lnTo>
                    <a:pt x="18" y="199"/>
                  </a:lnTo>
                  <a:lnTo>
                    <a:pt x="24" y="211"/>
                  </a:lnTo>
                  <a:lnTo>
                    <a:pt x="32" y="222"/>
                  </a:lnTo>
                  <a:lnTo>
                    <a:pt x="47" y="245"/>
                  </a:lnTo>
                  <a:lnTo>
                    <a:pt x="65" y="268"/>
                  </a:lnTo>
                  <a:lnTo>
                    <a:pt x="84" y="289"/>
                  </a:lnTo>
                  <a:lnTo>
                    <a:pt x="103" y="309"/>
                  </a:lnTo>
                  <a:lnTo>
                    <a:pt x="123" y="329"/>
                  </a:lnTo>
                  <a:lnTo>
                    <a:pt x="142" y="347"/>
                  </a:lnTo>
                  <a:lnTo>
                    <a:pt x="160" y="363"/>
                  </a:lnTo>
                  <a:lnTo>
                    <a:pt x="176" y="377"/>
                  </a:lnTo>
                  <a:lnTo>
                    <a:pt x="202" y="397"/>
                  </a:lnTo>
                  <a:lnTo>
                    <a:pt x="214" y="406"/>
                  </a:lnTo>
                  <a:lnTo>
                    <a:pt x="218" y="408"/>
                  </a:lnTo>
                  <a:lnTo>
                    <a:pt x="222" y="409"/>
                  </a:lnTo>
                  <a:lnTo>
                    <a:pt x="228" y="408"/>
                  </a:lnTo>
                  <a:lnTo>
                    <a:pt x="232" y="406"/>
                  </a:lnTo>
                  <a:lnTo>
                    <a:pt x="244" y="397"/>
                  </a:lnTo>
                  <a:lnTo>
                    <a:pt x="268" y="377"/>
                  </a:lnTo>
                  <a:lnTo>
                    <a:pt x="285" y="363"/>
                  </a:lnTo>
                  <a:lnTo>
                    <a:pt x="304" y="347"/>
                  </a:lnTo>
                  <a:lnTo>
                    <a:pt x="323" y="329"/>
                  </a:lnTo>
                  <a:lnTo>
                    <a:pt x="342" y="309"/>
                  </a:lnTo>
                  <a:lnTo>
                    <a:pt x="361" y="289"/>
                  </a:lnTo>
                  <a:lnTo>
                    <a:pt x="381" y="268"/>
                  </a:lnTo>
                  <a:lnTo>
                    <a:pt x="398" y="245"/>
                  </a:lnTo>
                  <a:lnTo>
                    <a:pt x="414" y="222"/>
                  </a:lnTo>
                  <a:lnTo>
                    <a:pt x="420" y="211"/>
                  </a:lnTo>
                  <a:lnTo>
                    <a:pt x="427" y="199"/>
                  </a:lnTo>
                  <a:lnTo>
                    <a:pt x="432" y="187"/>
                  </a:lnTo>
                  <a:lnTo>
                    <a:pt x="437" y="176"/>
                  </a:lnTo>
                  <a:lnTo>
                    <a:pt x="441" y="164"/>
                  </a:lnTo>
                  <a:lnTo>
                    <a:pt x="444" y="152"/>
                  </a:lnTo>
                  <a:lnTo>
                    <a:pt x="445" y="141"/>
                  </a:lnTo>
                  <a:lnTo>
                    <a:pt x="446" y="130"/>
                  </a:lnTo>
                  <a:lnTo>
                    <a:pt x="445" y="115"/>
                  </a:lnTo>
                  <a:lnTo>
                    <a:pt x="444" y="101"/>
                  </a:lnTo>
                  <a:lnTo>
                    <a:pt x="439" y="88"/>
                  </a:lnTo>
                  <a:lnTo>
                    <a:pt x="435" y="75"/>
                  </a:lnTo>
                  <a:lnTo>
                    <a:pt x="430" y="63"/>
                  </a:lnTo>
                  <a:lnTo>
                    <a:pt x="423" y="53"/>
                  </a:lnTo>
                  <a:lnTo>
                    <a:pt x="417" y="43"/>
                  </a:lnTo>
                  <a:lnTo>
                    <a:pt x="408" y="34"/>
                  </a:lnTo>
                  <a:lnTo>
                    <a:pt x="400" y="27"/>
                  </a:lnTo>
                  <a:lnTo>
                    <a:pt x="390" y="19"/>
                  </a:lnTo>
                  <a:lnTo>
                    <a:pt x="381" y="14"/>
                  </a:lnTo>
                  <a:lnTo>
                    <a:pt x="371" y="9"/>
                  </a:lnTo>
                  <a:lnTo>
                    <a:pt x="360" y="4"/>
                  </a:lnTo>
                  <a:lnTo>
                    <a:pt x="350" y="2"/>
                  </a:lnTo>
                  <a:lnTo>
                    <a:pt x="339" y="0"/>
                  </a:lnTo>
                  <a:lnTo>
                    <a:pt x="328" y="0"/>
                  </a:lnTo>
                  <a:lnTo>
                    <a:pt x="3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87">
            <a:extLst>
              <a:ext uri="{FF2B5EF4-FFF2-40B4-BE49-F238E27FC236}">
                <a16:creationId xmlns:a16="http://schemas.microsoft.com/office/drawing/2014/main" id="{2AA9A862-B8F6-4772-A5E4-9E7F78C4C70C}"/>
              </a:ext>
            </a:extLst>
          </p:cNvPr>
          <p:cNvGrpSpPr>
            <a:grpSpLocks noChangeAspect="1"/>
          </p:cNvGrpSpPr>
          <p:nvPr/>
        </p:nvGrpSpPr>
        <p:grpSpPr>
          <a:xfrm>
            <a:off x="3202635" y="5417577"/>
            <a:ext cx="285620" cy="285619"/>
            <a:chOff x="11033125" y="1349375"/>
            <a:chExt cx="284163" cy="284162"/>
          </a:xfrm>
          <a:solidFill>
            <a:schemeClr val="bg2"/>
          </a:solidFill>
          <a:effectLst/>
        </p:grpSpPr>
        <p:sp>
          <p:nvSpPr>
            <p:cNvPr id="556" name="Freeform 331">
              <a:extLst>
                <a:ext uri="{FF2B5EF4-FFF2-40B4-BE49-F238E27FC236}">
                  <a16:creationId xmlns:a16="http://schemas.microsoft.com/office/drawing/2014/main" id="{8C60EC95-2429-4DAD-B82F-B4A99002DDD1}"/>
                </a:ext>
              </a:extLst>
            </p:cNvPr>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332">
              <a:extLst>
                <a:ext uri="{FF2B5EF4-FFF2-40B4-BE49-F238E27FC236}">
                  <a16:creationId xmlns:a16="http://schemas.microsoft.com/office/drawing/2014/main" id="{0DA34B4C-410E-4922-9972-7822BF40AB4C}"/>
                </a:ext>
              </a:extLst>
            </p:cNvPr>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6" name="Gruppieren 1095">
            <a:extLst>
              <a:ext uri="{FF2B5EF4-FFF2-40B4-BE49-F238E27FC236}">
                <a16:creationId xmlns:a16="http://schemas.microsoft.com/office/drawing/2014/main" id="{83A0F234-1505-4CD0-8DD0-E319666E1DED}"/>
              </a:ext>
            </a:extLst>
          </p:cNvPr>
          <p:cNvGrpSpPr>
            <a:grpSpLocks noChangeAspect="1"/>
          </p:cNvGrpSpPr>
          <p:nvPr/>
        </p:nvGrpSpPr>
        <p:grpSpPr>
          <a:xfrm>
            <a:off x="3199890" y="3263433"/>
            <a:ext cx="291110" cy="285619"/>
            <a:chOff x="1716088" y="5295900"/>
            <a:chExt cx="882649" cy="931863"/>
          </a:xfrm>
          <a:solidFill>
            <a:schemeClr val="bg2"/>
          </a:solidFill>
        </p:grpSpPr>
        <p:sp>
          <p:nvSpPr>
            <p:cNvPr id="1097" name="Freeform 50">
              <a:extLst>
                <a:ext uri="{FF2B5EF4-FFF2-40B4-BE49-F238E27FC236}">
                  <a16:creationId xmlns:a16="http://schemas.microsoft.com/office/drawing/2014/main" id="{5C9E45A8-9598-416B-83AC-152DF82E9281}"/>
                </a:ext>
              </a:extLst>
            </p:cNvPr>
            <p:cNvSpPr>
              <a:spLocks/>
            </p:cNvSpPr>
            <p:nvPr/>
          </p:nvSpPr>
          <p:spPr bwMode="auto">
            <a:xfrm>
              <a:off x="2047875" y="6097588"/>
              <a:ext cx="215900" cy="25400"/>
            </a:xfrm>
            <a:custGeom>
              <a:avLst/>
              <a:gdLst>
                <a:gd name="T0" fmla="*/ 265 w 271"/>
                <a:gd name="T1" fmla="*/ 0 h 33"/>
                <a:gd name="T2" fmla="*/ 6 w 271"/>
                <a:gd name="T3" fmla="*/ 0 h 33"/>
                <a:gd name="T4" fmla="*/ 6 w 271"/>
                <a:gd name="T5" fmla="*/ 0 h 33"/>
                <a:gd name="T6" fmla="*/ 4 w 271"/>
                <a:gd name="T7" fmla="*/ 2 h 33"/>
                <a:gd name="T8" fmla="*/ 2 w 271"/>
                <a:gd name="T9" fmla="*/ 3 h 33"/>
                <a:gd name="T10" fmla="*/ 0 w 271"/>
                <a:gd name="T11" fmla="*/ 5 h 33"/>
                <a:gd name="T12" fmla="*/ 0 w 271"/>
                <a:gd name="T13" fmla="*/ 8 h 33"/>
                <a:gd name="T14" fmla="*/ 1 w 271"/>
                <a:gd name="T15" fmla="*/ 27 h 33"/>
                <a:gd name="T16" fmla="*/ 1 w 271"/>
                <a:gd name="T17" fmla="*/ 27 h 33"/>
                <a:gd name="T18" fmla="*/ 2 w 271"/>
                <a:gd name="T19" fmla="*/ 29 h 33"/>
                <a:gd name="T20" fmla="*/ 3 w 271"/>
                <a:gd name="T21" fmla="*/ 31 h 33"/>
                <a:gd name="T22" fmla="*/ 6 w 271"/>
                <a:gd name="T23" fmla="*/ 33 h 33"/>
                <a:gd name="T24" fmla="*/ 8 w 271"/>
                <a:gd name="T25" fmla="*/ 33 h 33"/>
                <a:gd name="T26" fmla="*/ 263 w 271"/>
                <a:gd name="T27" fmla="*/ 33 h 33"/>
                <a:gd name="T28" fmla="*/ 263 w 271"/>
                <a:gd name="T29" fmla="*/ 33 h 33"/>
                <a:gd name="T30" fmla="*/ 265 w 271"/>
                <a:gd name="T31" fmla="*/ 33 h 33"/>
                <a:gd name="T32" fmla="*/ 268 w 271"/>
                <a:gd name="T33" fmla="*/ 31 h 33"/>
                <a:gd name="T34" fmla="*/ 269 w 271"/>
                <a:gd name="T35" fmla="*/ 29 h 33"/>
                <a:gd name="T36" fmla="*/ 270 w 271"/>
                <a:gd name="T37" fmla="*/ 27 h 33"/>
                <a:gd name="T38" fmla="*/ 271 w 271"/>
                <a:gd name="T39" fmla="*/ 8 h 33"/>
                <a:gd name="T40" fmla="*/ 271 w 271"/>
                <a:gd name="T41" fmla="*/ 8 h 33"/>
                <a:gd name="T42" fmla="*/ 271 w 271"/>
                <a:gd name="T43" fmla="*/ 5 h 33"/>
                <a:gd name="T44" fmla="*/ 269 w 271"/>
                <a:gd name="T45" fmla="*/ 3 h 33"/>
                <a:gd name="T46" fmla="*/ 267 w 271"/>
                <a:gd name="T47" fmla="*/ 2 h 33"/>
                <a:gd name="T48" fmla="*/ 265 w 271"/>
                <a:gd name="T49" fmla="*/ 0 h 33"/>
                <a:gd name="T50" fmla="*/ 265 w 271"/>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1" h="33">
                  <a:moveTo>
                    <a:pt x="265" y="0"/>
                  </a:moveTo>
                  <a:lnTo>
                    <a:pt x="6" y="0"/>
                  </a:lnTo>
                  <a:lnTo>
                    <a:pt x="6" y="0"/>
                  </a:lnTo>
                  <a:lnTo>
                    <a:pt x="4" y="2"/>
                  </a:lnTo>
                  <a:lnTo>
                    <a:pt x="2" y="3"/>
                  </a:lnTo>
                  <a:lnTo>
                    <a:pt x="0" y="5"/>
                  </a:lnTo>
                  <a:lnTo>
                    <a:pt x="0" y="8"/>
                  </a:lnTo>
                  <a:lnTo>
                    <a:pt x="1" y="27"/>
                  </a:lnTo>
                  <a:lnTo>
                    <a:pt x="1" y="27"/>
                  </a:lnTo>
                  <a:lnTo>
                    <a:pt x="2" y="29"/>
                  </a:lnTo>
                  <a:lnTo>
                    <a:pt x="3" y="31"/>
                  </a:lnTo>
                  <a:lnTo>
                    <a:pt x="6" y="33"/>
                  </a:lnTo>
                  <a:lnTo>
                    <a:pt x="8" y="33"/>
                  </a:lnTo>
                  <a:lnTo>
                    <a:pt x="263" y="33"/>
                  </a:lnTo>
                  <a:lnTo>
                    <a:pt x="263" y="33"/>
                  </a:lnTo>
                  <a:lnTo>
                    <a:pt x="265" y="33"/>
                  </a:lnTo>
                  <a:lnTo>
                    <a:pt x="268" y="31"/>
                  </a:lnTo>
                  <a:lnTo>
                    <a:pt x="269" y="29"/>
                  </a:lnTo>
                  <a:lnTo>
                    <a:pt x="270" y="27"/>
                  </a:lnTo>
                  <a:lnTo>
                    <a:pt x="271" y="8"/>
                  </a:lnTo>
                  <a:lnTo>
                    <a:pt x="271" y="8"/>
                  </a:lnTo>
                  <a:lnTo>
                    <a:pt x="271" y="5"/>
                  </a:lnTo>
                  <a:lnTo>
                    <a:pt x="269" y="3"/>
                  </a:lnTo>
                  <a:lnTo>
                    <a:pt x="267" y="2"/>
                  </a:lnTo>
                  <a:lnTo>
                    <a:pt x="265" y="0"/>
                  </a:lnTo>
                  <a:lnTo>
                    <a:pt x="265"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8" name="Freeform 51">
              <a:extLst>
                <a:ext uri="{FF2B5EF4-FFF2-40B4-BE49-F238E27FC236}">
                  <a16:creationId xmlns:a16="http://schemas.microsoft.com/office/drawing/2014/main" id="{AC64A850-AF0B-493E-8D5E-E8BF4BAF2293}"/>
                </a:ext>
              </a:extLst>
            </p:cNvPr>
            <p:cNvSpPr>
              <a:spLocks noEditPoints="1"/>
            </p:cNvSpPr>
            <p:nvPr/>
          </p:nvSpPr>
          <p:spPr bwMode="auto">
            <a:xfrm>
              <a:off x="1919287" y="5522914"/>
              <a:ext cx="473075" cy="557213"/>
            </a:xfrm>
            <a:custGeom>
              <a:avLst/>
              <a:gdLst>
                <a:gd name="T0" fmla="*/ 237 w 596"/>
                <a:gd name="T1" fmla="*/ 5 h 703"/>
                <a:gd name="T2" fmla="*/ 156 w 596"/>
                <a:gd name="T3" fmla="*/ 33 h 703"/>
                <a:gd name="T4" fmla="*/ 87 w 596"/>
                <a:gd name="T5" fmla="*/ 82 h 703"/>
                <a:gd name="T6" fmla="*/ 36 w 596"/>
                <a:gd name="T7" fmla="*/ 147 h 703"/>
                <a:gd name="T8" fmla="*/ 7 w 596"/>
                <a:gd name="T9" fmla="*/ 227 h 703"/>
                <a:gd name="T10" fmla="*/ 0 w 596"/>
                <a:gd name="T11" fmla="*/ 305 h 703"/>
                <a:gd name="T12" fmla="*/ 20 w 596"/>
                <a:gd name="T13" fmla="*/ 399 h 703"/>
                <a:gd name="T14" fmla="*/ 81 w 596"/>
                <a:gd name="T15" fmla="*/ 500 h 703"/>
                <a:gd name="T16" fmla="*/ 140 w 596"/>
                <a:gd name="T17" fmla="*/ 608 h 703"/>
                <a:gd name="T18" fmla="*/ 156 w 596"/>
                <a:gd name="T19" fmla="*/ 676 h 703"/>
                <a:gd name="T20" fmla="*/ 164 w 596"/>
                <a:gd name="T21" fmla="*/ 701 h 703"/>
                <a:gd name="T22" fmla="*/ 436 w 596"/>
                <a:gd name="T23" fmla="*/ 698 h 703"/>
                <a:gd name="T24" fmla="*/ 451 w 596"/>
                <a:gd name="T25" fmla="*/ 623 h 703"/>
                <a:gd name="T26" fmla="*/ 483 w 596"/>
                <a:gd name="T27" fmla="*/ 549 h 703"/>
                <a:gd name="T28" fmla="*/ 557 w 596"/>
                <a:gd name="T29" fmla="*/ 435 h 703"/>
                <a:gd name="T30" fmla="*/ 592 w 596"/>
                <a:gd name="T31" fmla="*/ 340 h 703"/>
                <a:gd name="T32" fmla="*/ 594 w 596"/>
                <a:gd name="T33" fmla="*/ 256 h 703"/>
                <a:gd name="T34" fmla="*/ 572 w 596"/>
                <a:gd name="T35" fmla="*/ 172 h 703"/>
                <a:gd name="T36" fmla="*/ 528 w 596"/>
                <a:gd name="T37" fmla="*/ 102 h 703"/>
                <a:gd name="T38" fmla="*/ 464 w 596"/>
                <a:gd name="T39" fmla="*/ 47 h 703"/>
                <a:gd name="T40" fmla="*/ 386 w 596"/>
                <a:gd name="T41" fmla="*/ 12 h 703"/>
                <a:gd name="T42" fmla="*/ 298 w 596"/>
                <a:gd name="T43" fmla="*/ 0 h 703"/>
                <a:gd name="T44" fmla="*/ 469 w 596"/>
                <a:gd name="T45" fmla="*/ 470 h 703"/>
                <a:gd name="T46" fmla="*/ 407 w 596"/>
                <a:gd name="T47" fmla="*/ 587 h 703"/>
                <a:gd name="T48" fmla="*/ 393 w 596"/>
                <a:gd name="T49" fmla="*/ 644 h 703"/>
                <a:gd name="T50" fmla="*/ 353 w 596"/>
                <a:gd name="T51" fmla="*/ 428 h 703"/>
                <a:gd name="T52" fmla="*/ 416 w 596"/>
                <a:gd name="T53" fmla="*/ 392 h 703"/>
                <a:gd name="T54" fmla="*/ 425 w 596"/>
                <a:gd name="T55" fmla="*/ 361 h 703"/>
                <a:gd name="T56" fmla="*/ 408 w 596"/>
                <a:gd name="T57" fmla="*/ 329 h 703"/>
                <a:gd name="T58" fmla="*/ 366 w 596"/>
                <a:gd name="T59" fmla="*/ 312 h 703"/>
                <a:gd name="T60" fmla="*/ 330 w 596"/>
                <a:gd name="T61" fmla="*/ 341 h 703"/>
                <a:gd name="T62" fmla="*/ 300 w 596"/>
                <a:gd name="T63" fmla="*/ 383 h 703"/>
                <a:gd name="T64" fmla="*/ 273 w 596"/>
                <a:gd name="T65" fmla="*/ 319 h 703"/>
                <a:gd name="T66" fmla="*/ 244 w 596"/>
                <a:gd name="T67" fmla="*/ 305 h 703"/>
                <a:gd name="T68" fmla="*/ 203 w 596"/>
                <a:gd name="T69" fmla="*/ 324 h 703"/>
                <a:gd name="T70" fmla="*/ 186 w 596"/>
                <a:gd name="T71" fmla="*/ 357 h 703"/>
                <a:gd name="T72" fmla="*/ 203 w 596"/>
                <a:gd name="T73" fmla="*/ 391 h 703"/>
                <a:gd name="T74" fmla="*/ 293 w 596"/>
                <a:gd name="T75" fmla="*/ 440 h 703"/>
                <a:gd name="T76" fmla="*/ 202 w 596"/>
                <a:gd name="T77" fmla="*/ 641 h 703"/>
                <a:gd name="T78" fmla="*/ 177 w 596"/>
                <a:gd name="T79" fmla="*/ 555 h 703"/>
                <a:gd name="T80" fmla="*/ 126 w 596"/>
                <a:gd name="T81" fmla="*/ 469 h 703"/>
                <a:gd name="T82" fmla="*/ 75 w 596"/>
                <a:gd name="T83" fmla="*/ 386 h 703"/>
                <a:gd name="T84" fmla="*/ 56 w 596"/>
                <a:gd name="T85" fmla="*/ 303 h 703"/>
                <a:gd name="T86" fmla="*/ 74 w 596"/>
                <a:gd name="T87" fmla="*/ 198 h 703"/>
                <a:gd name="T88" fmla="*/ 143 w 596"/>
                <a:gd name="T89" fmla="*/ 108 h 703"/>
                <a:gd name="T90" fmla="*/ 273 w 596"/>
                <a:gd name="T91" fmla="*/ 58 h 703"/>
                <a:gd name="T92" fmla="*/ 391 w 596"/>
                <a:gd name="T93" fmla="*/ 74 h 703"/>
                <a:gd name="T94" fmla="*/ 486 w 596"/>
                <a:gd name="T95" fmla="*/ 141 h 703"/>
                <a:gd name="T96" fmla="*/ 539 w 596"/>
                <a:gd name="T97" fmla="*/ 265 h 703"/>
                <a:gd name="T98" fmla="*/ 535 w 596"/>
                <a:gd name="T99" fmla="*/ 343 h 703"/>
                <a:gd name="T100" fmla="*/ 489 w 596"/>
                <a:gd name="T101" fmla="*/ 442 h 703"/>
                <a:gd name="T102" fmla="*/ 325 w 596"/>
                <a:gd name="T103" fmla="*/ 390 h 703"/>
                <a:gd name="T104" fmla="*/ 365 w 596"/>
                <a:gd name="T105" fmla="*/ 329 h 703"/>
                <a:gd name="T106" fmla="*/ 393 w 596"/>
                <a:gd name="T107" fmla="*/ 335 h 703"/>
                <a:gd name="T108" fmla="*/ 412 w 596"/>
                <a:gd name="T109" fmla="*/ 366 h 703"/>
                <a:gd name="T110" fmla="*/ 402 w 596"/>
                <a:gd name="T111" fmla="*/ 387 h 703"/>
                <a:gd name="T112" fmla="*/ 315 w 596"/>
                <a:gd name="T113" fmla="*/ 423 h 703"/>
                <a:gd name="T114" fmla="*/ 246 w 596"/>
                <a:gd name="T115" fmla="*/ 404 h 703"/>
                <a:gd name="T116" fmla="*/ 202 w 596"/>
                <a:gd name="T117" fmla="*/ 364 h 703"/>
                <a:gd name="T118" fmla="*/ 216 w 596"/>
                <a:gd name="T119" fmla="*/ 333 h 703"/>
                <a:gd name="T120" fmla="*/ 242 w 596"/>
                <a:gd name="T121" fmla="*/ 321 h 703"/>
                <a:gd name="T122" fmla="*/ 269 w 596"/>
                <a:gd name="T123" fmla="*/ 344 h 703"/>
                <a:gd name="T124" fmla="*/ 289 w 596"/>
                <a:gd name="T125" fmla="*/ 424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703">
                  <a:moveTo>
                    <a:pt x="298" y="0"/>
                  </a:moveTo>
                  <a:lnTo>
                    <a:pt x="298" y="0"/>
                  </a:lnTo>
                  <a:lnTo>
                    <a:pt x="282" y="0"/>
                  </a:lnTo>
                  <a:lnTo>
                    <a:pt x="268" y="1"/>
                  </a:lnTo>
                  <a:lnTo>
                    <a:pt x="252" y="3"/>
                  </a:lnTo>
                  <a:lnTo>
                    <a:pt x="237" y="5"/>
                  </a:lnTo>
                  <a:lnTo>
                    <a:pt x="224" y="9"/>
                  </a:lnTo>
                  <a:lnTo>
                    <a:pt x="209" y="12"/>
                  </a:lnTo>
                  <a:lnTo>
                    <a:pt x="195" y="16"/>
                  </a:lnTo>
                  <a:lnTo>
                    <a:pt x="182" y="21"/>
                  </a:lnTo>
                  <a:lnTo>
                    <a:pt x="169" y="27"/>
                  </a:lnTo>
                  <a:lnTo>
                    <a:pt x="156" y="33"/>
                  </a:lnTo>
                  <a:lnTo>
                    <a:pt x="143" y="40"/>
                  </a:lnTo>
                  <a:lnTo>
                    <a:pt x="132" y="47"/>
                  </a:lnTo>
                  <a:lnTo>
                    <a:pt x="120" y="55"/>
                  </a:lnTo>
                  <a:lnTo>
                    <a:pt x="108" y="63"/>
                  </a:lnTo>
                  <a:lnTo>
                    <a:pt x="98" y="73"/>
                  </a:lnTo>
                  <a:lnTo>
                    <a:pt x="87" y="82"/>
                  </a:lnTo>
                  <a:lnTo>
                    <a:pt x="78" y="91"/>
                  </a:lnTo>
                  <a:lnTo>
                    <a:pt x="69" y="102"/>
                  </a:lnTo>
                  <a:lnTo>
                    <a:pt x="59" y="112"/>
                  </a:lnTo>
                  <a:lnTo>
                    <a:pt x="51" y="124"/>
                  </a:lnTo>
                  <a:lnTo>
                    <a:pt x="43" y="135"/>
                  </a:lnTo>
                  <a:lnTo>
                    <a:pt x="36" y="147"/>
                  </a:lnTo>
                  <a:lnTo>
                    <a:pt x="30" y="160"/>
                  </a:lnTo>
                  <a:lnTo>
                    <a:pt x="24" y="172"/>
                  </a:lnTo>
                  <a:lnTo>
                    <a:pt x="18" y="186"/>
                  </a:lnTo>
                  <a:lnTo>
                    <a:pt x="14" y="199"/>
                  </a:lnTo>
                  <a:lnTo>
                    <a:pt x="10" y="213"/>
                  </a:lnTo>
                  <a:lnTo>
                    <a:pt x="7" y="227"/>
                  </a:lnTo>
                  <a:lnTo>
                    <a:pt x="4" y="241"/>
                  </a:lnTo>
                  <a:lnTo>
                    <a:pt x="2" y="256"/>
                  </a:lnTo>
                  <a:lnTo>
                    <a:pt x="0" y="272"/>
                  </a:lnTo>
                  <a:lnTo>
                    <a:pt x="0" y="286"/>
                  </a:lnTo>
                  <a:lnTo>
                    <a:pt x="0" y="286"/>
                  </a:lnTo>
                  <a:lnTo>
                    <a:pt x="0" y="305"/>
                  </a:lnTo>
                  <a:lnTo>
                    <a:pt x="3" y="323"/>
                  </a:lnTo>
                  <a:lnTo>
                    <a:pt x="5" y="340"/>
                  </a:lnTo>
                  <a:lnTo>
                    <a:pt x="8" y="357"/>
                  </a:lnTo>
                  <a:lnTo>
                    <a:pt x="11" y="371"/>
                  </a:lnTo>
                  <a:lnTo>
                    <a:pt x="15" y="386"/>
                  </a:lnTo>
                  <a:lnTo>
                    <a:pt x="20" y="399"/>
                  </a:lnTo>
                  <a:lnTo>
                    <a:pt x="26" y="412"/>
                  </a:lnTo>
                  <a:lnTo>
                    <a:pt x="38" y="435"/>
                  </a:lnTo>
                  <a:lnTo>
                    <a:pt x="52" y="458"/>
                  </a:lnTo>
                  <a:lnTo>
                    <a:pt x="67" y="479"/>
                  </a:lnTo>
                  <a:lnTo>
                    <a:pt x="81" y="500"/>
                  </a:lnTo>
                  <a:lnTo>
                    <a:pt x="81" y="500"/>
                  </a:lnTo>
                  <a:lnTo>
                    <a:pt x="103" y="534"/>
                  </a:lnTo>
                  <a:lnTo>
                    <a:pt x="113" y="549"/>
                  </a:lnTo>
                  <a:lnTo>
                    <a:pt x="121" y="564"/>
                  </a:lnTo>
                  <a:lnTo>
                    <a:pt x="128" y="579"/>
                  </a:lnTo>
                  <a:lnTo>
                    <a:pt x="135" y="594"/>
                  </a:lnTo>
                  <a:lnTo>
                    <a:pt x="140" y="608"/>
                  </a:lnTo>
                  <a:lnTo>
                    <a:pt x="144" y="623"/>
                  </a:lnTo>
                  <a:lnTo>
                    <a:pt x="144" y="623"/>
                  </a:lnTo>
                  <a:lnTo>
                    <a:pt x="152" y="661"/>
                  </a:lnTo>
                  <a:lnTo>
                    <a:pt x="152" y="661"/>
                  </a:lnTo>
                  <a:lnTo>
                    <a:pt x="156" y="676"/>
                  </a:lnTo>
                  <a:lnTo>
                    <a:pt x="156" y="676"/>
                  </a:lnTo>
                  <a:lnTo>
                    <a:pt x="156" y="676"/>
                  </a:lnTo>
                  <a:lnTo>
                    <a:pt x="159" y="695"/>
                  </a:lnTo>
                  <a:lnTo>
                    <a:pt x="159" y="695"/>
                  </a:lnTo>
                  <a:lnTo>
                    <a:pt x="160" y="698"/>
                  </a:lnTo>
                  <a:lnTo>
                    <a:pt x="161" y="700"/>
                  </a:lnTo>
                  <a:lnTo>
                    <a:pt x="164" y="701"/>
                  </a:lnTo>
                  <a:lnTo>
                    <a:pt x="167" y="703"/>
                  </a:lnTo>
                  <a:lnTo>
                    <a:pt x="428" y="703"/>
                  </a:lnTo>
                  <a:lnTo>
                    <a:pt x="428" y="703"/>
                  </a:lnTo>
                  <a:lnTo>
                    <a:pt x="431" y="701"/>
                  </a:lnTo>
                  <a:lnTo>
                    <a:pt x="433" y="700"/>
                  </a:lnTo>
                  <a:lnTo>
                    <a:pt x="436" y="698"/>
                  </a:lnTo>
                  <a:lnTo>
                    <a:pt x="437" y="695"/>
                  </a:lnTo>
                  <a:lnTo>
                    <a:pt x="440" y="677"/>
                  </a:lnTo>
                  <a:lnTo>
                    <a:pt x="440" y="677"/>
                  </a:lnTo>
                  <a:lnTo>
                    <a:pt x="443" y="661"/>
                  </a:lnTo>
                  <a:lnTo>
                    <a:pt x="443" y="661"/>
                  </a:lnTo>
                  <a:lnTo>
                    <a:pt x="451" y="623"/>
                  </a:lnTo>
                  <a:lnTo>
                    <a:pt x="451" y="623"/>
                  </a:lnTo>
                  <a:lnTo>
                    <a:pt x="455" y="608"/>
                  </a:lnTo>
                  <a:lnTo>
                    <a:pt x="461" y="594"/>
                  </a:lnTo>
                  <a:lnTo>
                    <a:pt x="467" y="579"/>
                  </a:lnTo>
                  <a:lnTo>
                    <a:pt x="474" y="564"/>
                  </a:lnTo>
                  <a:lnTo>
                    <a:pt x="483" y="549"/>
                  </a:lnTo>
                  <a:lnTo>
                    <a:pt x="492" y="534"/>
                  </a:lnTo>
                  <a:lnTo>
                    <a:pt x="514" y="500"/>
                  </a:lnTo>
                  <a:lnTo>
                    <a:pt x="514" y="500"/>
                  </a:lnTo>
                  <a:lnTo>
                    <a:pt x="529" y="479"/>
                  </a:lnTo>
                  <a:lnTo>
                    <a:pt x="543" y="458"/>
                  </a:lnTo>
                  <a:lnTo>
                    <a:pt x="557" y="435"/>
                  </a:lnTo>
                  <a:lnTo>
                    <a:pt x="570" y="412"/>
                  </a:lnTo>
                  <a:lnTo>
                    <a:pt x="575" y="399"/>
                  </a:lnTo>
                  <a:lnTo>
                    <a:pt x="580" y="386"/>
                  </a:lnTo>
                  <a:lnTo>
                    <a:pt x="584" y="371"/>
                  </a:lnTo>
                  <a:lnTo>
                    <a:pt x="589" y="357"/>
                  </a:lnTo>
                  <a:lnTo>
                    <a:pt x="592" y="340"/>
                  </a:lnTo>
                  <a:lnTo>
                    <a:pt x="594" y="323"/>
                  </a:lnTo>
                  <a:lnTo>
                    <a:pt x="595" y="305"/>
                  </a:lnTo>
                  <a:lnTo>
                    <a:pt x="596" y="286"/>
                  </a:lnTo>
                  <a:lnTo>
                    <a:pt x="596" y="286"/>
                  </a:lnTo>
                  <a:lnTo>
                    <a:pt x="595" y="272"/>
                  </a:lnTo>
                  <a:lnTo>
                    <a:pt x="594" y="256"/>
                  </a:lnTo>
                  <a:lnTo>
                    <a:pt x="592" y="241"/>
                  </a:lnTo>
                  <a:lnTo>
                    <a:pt x="590" y="227"/>
                  </a:lnTo>
                  <a:lnTo>
                    <a:pt x="586" y="213"/>
                  </a:lnTo>
                  <a:lnTo>
                    <a:pt x="582" y="199"/>
                  </a:lnTo>
                  <a:lnTo>
                    <a:pt x="577" y="186"/>
                  </a:lnTo>
                  <a:lnTo>
                    <a:pt x="572" y="172"/>
                  </a:lnTo>
                  <a:lnTo>
                    <a:pt x="567" y="160"/>
                  </a:lnTo>
                  <a:lnTo>
                    <a:pt x="559" y="147"/>
                  </a:lnTo>
                  <a:lnTo>
                    <a:pt x="552" y="135"/>
                  </a:lnTo>
                  <a:lnTo>
                    <a:pt x="545" y="124"/>
                  </a:lnTo>
                  <a:lnTo>
                    <a:pt x="536" y="112"/>
                  </a:lnTo>
                  <a:lnTo>
                    <a:pt x="528" y="102"/>
                  </a:lnTo>
                  <a:lnTo>
                    <a:pt x="518" y="91"/>
                  </a:lnTo>
                  <a:lnTo>
                    <a:pt x="508" y="82"/>
                  </a:lnTo>
                  <a:lnTo>
                    <a:pt x="498" y="73"/>
                  </a:lnTo>
                  <a:lnTo>
                    <a:pt x="487" y="63"/>
                  </a:lnTo>
                  <a:lnTo>
                    <a:pt x="475" y="55"/>
                  </a:lnTo>
                  <a:lnTo>
                    <a:pt x="464" y="47"/>
                  </a:lnTo>
                  <a:lnTo>
                    <a:pt x="452" y="40"/>
                  </a:lnTo>
                  <a:lnTo>
                    <a:pt x="440" y="33"/>
                  </a:lnTo>
                  <a:lnTo>
                    <a:pt x="427" y="27"/>
                  </a:lnTo>
                  <a:lnTo>
                    <a:pt x="413" y="21"/>
                  </a:lnTo>
                  <a:lnTo>
                    <a:pt x="400" y="16"/>
                  </a:lnTo>
                  <a:lnTo>
                    <a:pt x="386" y="12"/>
                  </a:lnTo>
                  <a:lnTo>
                    <a:pt x="373" y="9"/>
                  </a:lnTo>
                  <a:lnTo>
                    <a:pt x="358" y="5"/>
                  </a:lnTo>
                  <a:lnTo>
                    <a:pt x="343" y="3"/>
                  </a:lnTo>
                  <a:lnTo>
                    <a:pt x="329" y="1"/>
                  </a:lnTo>
                  <a:lnTo>
                    <a:pt x="313" y="0"/>
                  </a:lnTo>
                  <a:lnTo>
                    <a:pt x="298" y="0"/>
                  </a:lnTo>
                  <a:lnTo>
                    <a:pt x="298" y="0"/>
                  </a:lnTo>
                  <a:close/>
                  <a:moveTo>
                    <a:pt x="476" y="459"/>
                  </a:moveTo>
                  <a:lnTo>
                    <a:pt x="470" y="469"/>
                  </a:lnTo>
                  <a:lnTo>
                    <a:pt x="470" y="469"/>
                  </a:lnTo>
                  <a:lnTo>
                    <a:pt x="469" y="470"/>
                  </a:lnTo>
                  <a:lnTo>
                    <a:pt x="469" y="470"/>
                  </a:lnTo>
                  <a:lnTo>
                    <a:pt x="446" y="507"/>
                  </a:lnTo>
                  <a:lnTo>
                    <a:pt x="436" y="523"/>
                  </a:lnTo>
                  <a:lnTo>
                    <a:pt x="426" y="539"/>
                  </a:lnTo>
                  <a:lnTo>
                    <a:pt x="419" y="555"/>
                  </a:lnTo>
                  <a:lnTo>
                    <a:pt x="412" y="570"/>
                  </a:lnTo>
                  <a:lnTo>
                    <a:pt x="407" y="587"/>
                  </a:lnTo>
                  <a:lnTo>
                    <a:pt x="402" y="603"/>
                  </a:lnTo>
                  <a:lnTo>
                    <a:pt x="402" y="603"/>
                  </a:lnTo>
                  <a:lnTo>
                    <a:pt x="394" y="640"/>
                  </a:lnTo>
                  <a:lnTo>
                    <a:pt x="394" y="640"/>
                  </a:lnTo>
                  <a:lnTo>
                    <a:pt x="393" y="644"/>
                  </a:lnTo>
                  <a:lnTo>
                    <a:pt x="393" y="644"/>
                  </a:lnTo>
                  <a:lnTo>
                    <a:pt x="393" y="646"/>
                  </a:lnTo>
                  <a:lnTo>
                    <a:pt x="310" y="646"/>
                  </a:lnTo>
                  <a:lnTo>
                    <a:pt x="310" y="438"/>
                  </a:lnTo>
                  <a:lnTo>
                    <a:pt x="310" y="438"/>
                  </a:lnTo>
                  <a:lnTo>
                    <a:pt x="335" y="433"/>
                  </a:lnTo>
                  <a:lnTo>
                    <a:pt x="353" y="428"/>
                  </a:lnTo>
                  <a:lnTo>
                    <a:pt x="371" y="422"/>
                  </a:lnTo>
                  <a:lnTo>
                    <a:pt x="388" y="414"/>
                  </a:lnTo>
                  <a:lnTo>
                    <a:pt x="396" y="409"/>
                  </a:lnTo>
                  <a:lnTo>
                    <a:pt x="404" y="404"/>
                  </a:lnTo>
                  <a:lnTo>
                    <a:pt x="410" y="399"/>
                  </a:lnTo>
                  <a:lnTo>
                    <a:pt x="416" y="392"/>
                  </a:lnTo>
                  <a:lnTo>
                    <a:pt x="421" y="386"/>
                  </a:lnTo>
                  <a:lnTo>
                    <a:pt x="424" y="379"/>
                  </a:lnTo>
                  <a:lnTo>
                    <a:pt x="424" y="379"/>
                  </a:lnTo>
                  <a:lnTo>
                    <a:pt x="425" y="372"/>
                  </a:lnTo>
                  <a:lnTo>
                    <a:pt x="426" y="367"/>
                  </a:lnTo>
                  <a:lnTo>
                    <a:pt x="425" y="361"/>
                  </a:lnTo>
                  <a:lnTo>
                    <a:pt x="424" y="355"/>
                  </a:lnTo>
                  <a:lnTo>
                    <a:pt x="422" y="348"/>
                  </a:lnTo>
                  <a:lnTo>
                    <a:pt x="418" y="342"/>
                  </a:lnTo>
                  <a:lnTo>
                    <a:pt x="413" y="336"/>
                  </a:lnTo>
                  <a:lnTo>
                    <a:pt x="408" y="329"/>
                  </a:lnTo>
                  <a:lnTo>
                    <a:pt x="408" y="329"/>
                  </a:lnTo>
                  <a:lnTo>
                    <a:pt x="399" y="322"/>
                  </a:lnTo>
                  <a:lnTo>
                    <a:pt x="390" y="316"/>
                  </a:lnTo>
                  <a:lnTo>
                    <a:pt x="381" y="313"/>
                  </a:lnTo>
                  <a:lnTo>
                    <a:pt x="373" y="312"/>
                  </a:lnTo>
                  <a:lnTo>
                    <a:pt x="373" y="312"/>
                  </a:lnTo>
                  <a:lnTo>
                    <a:pt x="366" y="312"/>
                  </a:lnTo>
                  <a:lnTo>
                    <a:pt x="360" y="314"/>
                  </a:lnTo>
                  <a:lnTo>
                    <a:pt x="355" y="316"/>
                  </a:lnTo>
                  <a:lnTo>
                    <a:pt x="349" y="320"/>
                  </a:lnTo>
                  <a:lnTo>
                    <a:pt x="343" y="324"/>
                  </a:lnTo>
                  <a:lnTo>
                    <a:pt x="339" y="329"/>
                  </a:lnTo>
                  <a:lnTo>
                    <a:pt x="330" y="341"/>
                  </a:lnTo>
                  <a:lnTo>
                    <a:pt x="321" y="355"/>
                  </a:lnTo>
                  <a:lnTo>
                    <a:pt x="314" y="369"/>
                  </a:lnTo>
                  <a:lnTo>
                    <a:pt x="309" y="384"/>
                  </a:lnTo>
                  <a:lnTo>
                    <a:pt x="303" y="397"/>
                  </a:lnTo>
                  <a:lnTo>
                    <a:pt x="303" y="397"/>
                  </a:lnTo>
                  <a:lnTo>
                    <a:pt x="300" y="383"/>
                  </a:lnTo>
                  <a:lnTo>
                    <a:pt x="296" y="367"/>
                  </a:lnTo>
                  <a:lnTo>
                    <a:pt x="292" y="351"/>
                  </a:lnTo>
                  <a:lnTo>
                    <a:pt x="285" y="337"/>
                  </a:lnTo>
                  <a:lnTo>
                    <a:pt x="281" y="330"/>
                  </a:lnTo>
                  <a:lnTo>
                    <a:pt x="277" y="324"/>
                  </a:lnTo>
                  <a:lnTo>
                    <a:pt x="273" y="319"/>
                  </a:lnTo>
                  <a:lnTo>
                    <a:pt x="268" y="314"/>
                  </a:lnTo>
                  <a:lnTo>
                    <a:pt x="263" y="310"/>
                  </a:lnTo>
                  <a:lnTo>
                    <a:pt x="256" y="307"/>
                  </a:lnTo>
                  <a:lnTo>
                    <a:pt x="250" y="305"/>
                  </a:lnTo>
                  <a:lnTo>
                    <a:pt x="244" y="305"/>
                  </a:lnTo>
                  <a:lnTo>
                    <a:pt x="244" y="305"/>
                  </a:lnTo>
                  <a:lnTo>
                    <a:pt x="235" y="306"/>
                  </a:lnTo>
                  <a:lnTo>
                    <a:pt x="226" y="308"/>
                  </a:lnTo>
                  <a:lnTo>
                    <a:pt x="217" y="314"/>
                  </a:lnTo>
                  <a:lnTo>
                    <a:pt x="208" y="319"/>
                  </a:lnTo>
                  <a:lnTo>
                    <a:pt x="208" y="319"/>
                  </a:lnTo>
                  <a:lnTo>
                    <a:pt x="203" y="324"/>
                  </a:lnTo>
                  <a:lnTo>
                    <a:pt x="198" y="329"/>
                  </a:lnTo>
                  <a:lnTo>
                    <a:pt x="193" y="335"/>
                  </a:lnTo>
                  <a:lnTo>
                    <a:pt x="190" y="340"/>
                  </a:lnTo>
                  <a:lnTo>
                    <a:pt x="188" y="345"/>
                  </a:lnTo>
                  <a:lnTo>
                    <a:pt x="186" y="351"/>
                  </a:lnTo>
                  <a:lnTo>
                    <a:pt x="186" y="357"/>
                  </a:lnTo>
                  <a:lnTo>
                    <a:pt x="187" y="362"/>
                  </a:lnTo>
                  <a:lnTo>
                    <a:pt x="187" y="362"/>
                  </a:lnTo>
                  <a:lnTo>
                    <a:pt x="189" y="370"/>
                  </a:lnTo>
                  <a:lnTo>
                    <a:pt x="192" y="378"/>
                  </a:lnTo>
                  <a:lnTo>
                    <a:pt x="198" y="384"/>
                  </a:lnTo>
                  <a:lnTo>
                    <a:pt x="203" y="391"/>
                  </a:lnTo>
                  <a:lnTo>
                    <a:pt x="210" y="397"/>
                  </a:lnTo>
                  <a:lnTo>
                    <a:pt x="217" y="404"/>
                  </a:lnTo>
                  <a:lnTo>
                    <a:pt x="234" y="414"/>
                  </a:lnTo>
                  <a:lnTo>
                    <a:pt x="252" y="424"/>
                  </a:lnTo>
                  <a:lnTo>
                    <a:pt x="268" y="431"/>
                  </a:lnTo>
                  <a:lnTo>
                    <a:pt x="293" y="440"/>
                  </a:lnTo>
                  <a:lnTo>
                    <a:pt x="293" y="646"/>
                  </a:lnTo>
                  <a:lnTo>
                    <a:pt x="203" y="646"/>
                  </a:lnTo>
                  <a:lnTo>
                    <a:pt x="203" y="646"/>
                  </a:lnTo>
                  <a:lnTo>
                    <a:pt x="203" y="644"/>
                  </a:lnTo>
                  <a:lnTo>
                    <a:pt x="203" y="644"/>
                  </a:lnTo>
                  <a:lnTo>
                    <a:pt x="202" y="641"/>
                  </a:lnTo>
                  <a:lnTo>
                    <a:pt x="202" y="641"/>
                  </a:lnTo>
                  <a:lnTo>
                    <a:pt x="193" y="603"/>
                  </a:lnTo>
                  <a:lnTo>
                    <a:pt x="193" y="603"/>
                  </a:lnTo>
                  <a:lnTo>
                    <a:pt x="189" y="587"/>
                  </a:lnTo>
                  <a:lnTo>
                    <a:pt x="184" y="570"/>
                  </a:lnTo>
                  <a:lnTo>
                    <a:pt x="177" y="555"/>
                  </a:lnTo>
                  <a:lnTo>
                    <a:pt x="169" y="539"/>
                  </a:lnTo>
                  <a:lnTo>
                    <a:pt x="160" y="523"/>
                  </a:lnTo>
                  <a:lnTo>
                    <a:pt x="150" y="507"/>
                  </a:lnTo>
                  <a:lnTo>
                    <a:pt x="126" y="470"/>
                  </a:lnTo>
                  <a:lnTo>
                    <a:pt x="126" y="470"/>
                  </a:lnTo>
                  <a:lnTo>
                    <a:pt x="126" y="469"/>
                  </a:lnTo>
                  <a:lnTo>
                    <a:pt x="119" y="459"/>
                  </a:lnTo>
                  <a:lnTo>
                    <a:pt x="119" y="459"/>
                  </a:lnTo>
                  <a:lnTo>
                    <a:pt x="106" y="442"/>
                  </a:lnTo>
                  <a:lnTo>
                    <a:pt x="95" y="424"/>
                  </a:lnTo>
                  <a:lnTo>
                    <a:pt x="84" y="406"/>
                  </a:lnTo>
                  <a:lnTo>
                    <a:pt x="75" y="386"/>
                  </a:lnTo>
                  <a:lnTo>
                    <a:pt x="67" y="365"/>
                  </a:lnTo>
                  <a:lnTo>
                    <a:pt x="63" y="355"/>
                  </a:lnTo>
                  <a:lnTo>
                    <a:pt x="61" y="343"/>
                  </a:lnTo>
                  <a:lnTo>
                    <a:pt x="58" y="330"/>
                  </a:lnTo>
                  <a:lnTo>
                    <a:pt x="57" y="317"/>
                  </a:lnTo>
                  <a:lnTo>
                    <a:pt x="56" y="303"/>
                  </a:lnTo>
                  <a:lnTo>
                    <a:pt x="56" y="288"/>
                  </a:lnTo>
                  <a:lnTo>
                    <a:pt x="56" y="288"/>
                  </a:lnTo>
                  <a:lnTo>
                    <a:pt x="57" y="265"/>
                  </a:lnTo>
                  <a:lnTo>
                    <a:pt x="60" y="242"/>
                  </a:lnTo>
                  <a:lnTo>
                    <a:pt x="65" y="219"/>
                  </a:lnTo>
                  <a:lnTo>
                    <a:pt x="74" y="198"/>
                  </a:lnTo>
                  <a:lnTo>
                    <a:pt x="83" y="177"/>
                  </a:lnTo>
                  <a:lnTo>
                    <a:pt x="96" y="158"/>
                  </a:lnTo>
                  <a:lnTo>
                    <a:pt x="110" y="141"/>
                  </a:lnTo>
                  <a:lnTo>
                    <a:pt x="126" y="124"/>
                  </a:lnTo>
                  <a:lnTo>
                    <a:pt x="126" y="124"/>
                  </a:lnTo>
                  <a:lnTo>
                    <a:pt x="143" y="108"/>
                  </a:lnTo>
                  <a:lnTo>
                    <a:pt x="163" y="95"/>
                  </a:lnTo>
                  <a:lnTo>
                    <a:pt x="183" y="83"/>
                  </a:lnTo>
                  <a:lnTo>
                    <a:pt x="204" y="74"/>
                  </a:lnTo>
                  <a:lnTo>
                    <a:pt x="227" y="66"/>
                  </a:lnTo>
                  <a:lnTo>
                    <a:pt x="250" y="61"/>
                  </a:lnTo>
                  <a:lnTo>
                    <a:pt x="273" y="58"/>
                  </a:lnTo>
                  <a:lnTo>
                    <a:pt x="298" y="57"/>
                  </a:lnTo>
                  <a:lnTo>
                    <a:pt x="298" y="57"/>
                  </a:lnTo>
                  <a:lnTo>
                    <a:pt x="322" y="58"/>
                  </a:lnTo>
                  <a:lnTo>
                    <a:pt x="346" y="61"/>
                  </a:lnTo>
                  <a:lnTo>
                    <a:pt x="369" y="66"/>
                  </a:lnTo>
                  <a:lnTo>
                    <a:pt x="391" y="74"/>
                  </a:lnTo>
                  <a:lnTo>
                    <a:pt x="413" y="83"/>
                  </a:lnTo>
                  <a:lnTo>
                    <a:pt x="433" y="95"/>
                  </a:lnTo>
                  <a:lnTo>
                    <a:pt x="452" y="108"/>
                  </a:lnTo>
                  <a:lnTo>
                    <a:pt x="470" y="124"/>
                  </a:lnTo>
                  <a:lnTo>
                    <a:pt x="470" y="124"/>
                  </a:lnTo>
                  <a:lnTo>
                    <a:pt x="486" y="141"/>
                  </a:lnTo>
                  <a:lnTo>
                    <a:pt x="499" y="158"/>
                  </a:lnTo>
                  <a:lnTo>
                    <a:pt x="512" y="177"/>
                  </a:lnTo>
                  <a:lnTo>
                    <a:pt x="521" y="198"/>
                  </a:lnTo>
                  <a:lnTo>
                    <a:pt x="530" y="219"/>
                  </a:lnTo>
                  <a:lnTo>
                    <a:pt x="535" y="242"/>
                  </a:lnTo>
                  <a:lnTo>
                    <a:pt x="539" y="265"/>
                  </a:lnTo>
                  <a:lnTo>
                    <a:pt x="540" y="288"/>
                  </a:lnTo>
                  <a:lnTo>
                    <a:pt x="540" y="288"/>
                  </a:lnTo>
                  <a:lnTo>
                    <a:pt x="539" y="303"/>
                  </a:lnTo>
                  <a:lnTo>
                    <a:pt x="538" y="317"/>
                  </a:lnTo>
                  <a:lnTo>
                    <a:pt x="537" y="330"/>
                  </a:lnTo>
                  <a:lnTo>
                    <a:pt x="535" y="343"/>
                  </a:lnTo>
                  <a:lnTo>
                    <a:pt x="532" y="355"/>
                  </a:lnTo>
                  <a:lnTo>
                    <a:pt x="529" y="366"/>
                  </a:lnTo>
                  <a:lnTo>
                    <a:pt x="521" y="386"/>
                  </a:lnTo>
                  <a:lnTo>
                    <a:pt x="512" y="406"/>
                  </a:lnTo>
                  <a:lnTo>
                    <a:pt x="500" y="424"/>
                  </a:lnTo>
                  <a:lnTo>
                    <a:pt x="489" y="442"/>
                  </a:lnTo>
                  <a:lnTo>
                    <a:pt x="476" y="459"/>
                  </a:lnTo>
                  <a:lnTo>
                    <a:pt x="476" y="459"/>
                  </a:lnTo>
                  <a:close/>
                  <a:moveTo>
                    <a:pt x="315" y="423"/>
                  </a:moveTo>
                  <a:lnTo>
                    <a:pt x="315" y="423"/>
                  </a:lnTo>
                  <a:lnTo>
                    <a:pt x="319" y="407"/>
                  </a:lnTo>
                  <a:lnTo>
                    <a:pt x="325" y="390"/>
                  </a:lnTo>
                  <a:lnTo>
                    <a:pt x="332" y="374"/>
                  </a:lnTo>
                  <a:lnTo>
                    <a:pt x="339" y="360"/>
                  </a:lnTo>
                  <a:lnTo>
                    <a:pt x="347" y="347"/>
                  </a:lnTo>
                  <a:lnTo>
                    <a:pt x="357" y="337"/>
                  </a:lnTo>
                  <a:lnTo>
                    <a:pt x="361" y="333"/>
                  </a:lnTo>
                  <a:lnTo>
                    <a:pt x="365" y="329"/>
                  </a:lnTo>
                  <a:lnTo>
                    <a:pt x="371" y="328"/>
                  </a:lnTo>
                  <a:lnTo>
                    <a:pt x="375" y="327"/>
                  </a:lnTo>
                  <a:lnTo>
                    <a:pt x="375" y="327"/>
                  </a:lnTo>
                  <a:lnTo>
                    <a:pt x="381" y="328"/>
                  </a:lnTo>
                  <a:lnTo>
                    <a:pt x="386" y="330"/>
                  </a:lnTo>
                  <a:lnTo>
                    <a:pt x="393" y="335"/>
                  </a:lnTo>
                  <a:lnTo>
                    <a:pt x="399" y="341"/>
                  </a:lnTo>
                  <a:lnTo>
                    <a:pt x="399" y="341"/>
                  </a:lnTo>
                  <a:lnTo>
                    <a:pt x="406" y="350"/>
                  </a:lnTo>
                  <a:lnTo>
                    <a:pt x="410" y="359"/>
                  </a:lnTo>
                  <a:lnTo>
                    <a:pt x="411" y="363"/>
                  </a:lnTo>
                  <a:lnTo>
                    <a:pt x="412" y="366"/>
                  </a:lnTo>
                  <a:lnTo>
                    <a:pt x="412" y="370"/>
                  </a:lnTo>
                  <a:lnTo>
                    <a:pt x="411" y="373"/>
                  </a:lnTo>
                  <a:lnTo>
                    <a:pt x="411" y="373"/>
                  </a:lnTo>
                  <a:lnTo>
                    <a:pt x="409" y="379"/>
                  </a:lnTo>
                  <a:lnTo>
                    <a:pt x="406" y="383"/>
                  </a:lnTo>
                  <a:lnTo>
                    <a:pt x="402" y="387"/>
                  </a:lnTo>
                  <a:lnTo>
                    <a:pt x="397" y="391"/>
                  </a:lnTo>
                  <a:lnTo>
                    <a:pt x="385" y="399"/>
                  </a:lnTo>
                  <a:lnTo>
                    <a:pt x="372" y="405"/>
                  </a:lnTo>
                  <a:lnTo>
                    <a:pt x="357" y="411"/>
                  </a:lnTo>
                  <a:lnTo>
                    <a:pt x="342" y="416"/>
                  </a:lnTo>
                  <a:lnTo>
                    <a:pt x="315" y="423"/>
                  </a:lnTo>
                  <a:lnTo>
                    <a:pt x="315" y="423"/>
                  </a:lnTo>
                  <a:close/>
                  <a:moveTo>
                    <a:pt x="289" y="424"/>
                  </a:moveTo>
                  <a:lnTo>
                    <a:pt x="289" y="424"/>
                  </a:lnTo>
                  <a:lnTo>
                    <a:pt x="275" y="418"/>
                  </a:lnTo>
                  <a:lnTo>
                    <a:pt x="260" y="411"/>
                  </a:lnTo>
                  <a:lnTo>
                    <a:pt x="246" y="404"/>
                  </a:lnTo>
                  <a:lnTo>
                    <a:pt x="232" y="395"/>
                  </a:lnTo>
                  <a:lnTo>
                    <a:pt x="221" y="387"/>
                  </a:lnTo>
                  <a:lnTo>
                    <a:pt x="211" y="378"/>
                  </a:lnTo>
                  <a:lnTo>
                    <a:pt x="207" y="373"/>
                  </a:lnTo>
                  <a:lnTo>
                    <a:pt x="204" y="369"/>
                  </a:lnTo>
                  <a:lnTo>
                    <a:pt x="202" y="364"/>
                  </a:lnTo>
                  <a:lnTo>
                    <a:pt x="201" y="360"/>
                  </a:lnTo>
                  <a:lnTo>
                    <a:pt x="201" y="360"/>
                  </a:lnTo>
                  <a:lnTo>
                    <a:pt x="201" y="352"/>
                  </a:lnTo>
                  <a:lnTo>
                    <a:pt x="203" y="346"/>
                  </a:lnTo>
                  <a:lnTo>
                    <a:pt x="208" y="339"/>
                  </a:lnTo>
                  <a:lnTo>
                    <a:pt x="216" y="333"/>
                  </a:lnTo>
                  <a:lnTo>
                    <a:pt x="216" y="333"/>
                  </a:lnTo>
                  <a:lnTo>
                    <a:pt x="223" y="327"/>
                  </a:lnTo>
                  <a:lnTo>
                    <a:pt x="229" y="324"/>
                  </a:lnTo>
                  <a:lnTo>
                    <a:pt x="235" y="322"/>
                  </a:lnTo>
                  <a:lnTo>
                    <a:pt x="242" y="321"/>
                  </a:lnTo>
                  <a:lnTo>
                    <a:pt x="242" y="321"/>
                  </a:lnTo>
                  <a:lnTo>
                    <a:pt x="247" y="322"/>
                  </a:lnTo>
                  <a:lnTo>
                    <a:pt x="252" y="324"/>
                  </a:lnTo>
                  <a:lnTo>
                    <a:pt x="256" y="327"/>
                  </a:lnTo>
                  <a:lnTo>
                    <a:pt x="260" y="333"/>
                  </a:lnTo>
                  <a:lnTo>
                    <a:pt x="265" y="338"/>
                  </a:lnTo>
                  <a:lnTo>
                    <a:pt x="269" y="344"/>
                  </a:lnTo>
                  <a:lnTo>
                    <a:pt x="275" y="359"/>
                  </a:lnTo>
                  <a:lnTo>
                    <a:pt x="280" y="375"/>
                  </a:lnTo>
                  <a:lnTo>
                    <a:pt x="285" y="392"/>
                  </a:lnTo>
                  <a:lnTo>
                    <a:pt x="287" y="409"/>
                  </a:lnTo>
                  <a:lnTo>
                    <a:pt x="289" y="424"/>
                  </a:lnTo>
                  <a:lnTo>
                    <a:pt x="289" y="424"/>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9" name="Freeform 52">
              <a:extLst>
                <a:ext uri="{FF2B5EF4-FFF2-40B4-BE49-F238E27FC236}">
                  <a16:creationId xmlns:a16="http://schemas.microsoft.com/office/drawing/2014/main" id="{B40CC998-328B-4FD1-99E1-1B1572397875}"/>
                </a:ext>
              </a:extLst>
            </p:cNvPr>
            <p:cNvSpPr>
              <a:spLocks/>
            </p:cNvSpPr>
            <p:nvPr/>
          </p:nvSpPr>
          <p:spPr bwMode="auto">
            <a:xfrm>
              <a:off x="2051050" y="6142038"/>
              <a:ext cx="209550" cy="23812"/>
            </a:xfrm>
            <a:custGeom>
              <a:avLst/>
              <a:gdLst>
                <a:gd name="T0" fmla="*/ 259 w 265"/>
                <a:gd name="T1" fmla="*/ 0 h 30"/>
                <a:gd name="T2" fmla="*/ 6 w 265"/>
                <a:gd name="T3" fmla="*/ 0 h 30"/>
                <a:gd name="T4" fmla="*/ 6 w 265"/>
                <a:gd name="T5" fmla="*/ 0 h 30"/>
                <a:gd name="T6" fmla="*/ 4 w 265"/>
                <a:gd name="T7" fmla="*/ 1 h 30"/>
                <a:gd name="T8" fmla="*/ 2 w 265"/>
                <a:gd name="T9" fmla="*/ 2 h 30"/>
                <a:gd name="T10" fmla="*/ 0 w 265"/>
                <a:gd name="T11" fmla="*/ 4 h 30"/>
                <a:gd name="T12" fmla="*/ 0 w 265"/>
                <a:gd name="T13" fmla="*/ 7 h 30"/>
                <a:gd name="T14" fmla="*/ 1 w 265"/>
                <a:gd name="T15" fmla="*/ 23 h 30"/>
                <a:gd name="T16" fmla="*/ 1 w 265"/>
                <a:gd name="T17" fmla="*/ 23 h 30"/>
                <a:gd name="T18" fmla="*/ 1 w 265"/>
                <a:gd name="T19" fmla="*/ 26 h 30"/>
                <a:gd name="T20" fmla="*/ 3 w 265"/>
                <a:gd name="T21" fmla="*/ 28 h 30"/>
                <a:gd name="T22" fmla="*/ 5 w 265"/>
                <a:gd name="T23" fmla="*/ 30 h 30"/>
                <a:gd name="T24" fmla="*/ 8 w 265"/>
                <a:gd name="T25" fmla="*/ 30 h 30"/>
                <a:gd name="T26" fmla="*/ 257 w 265"/>
                <a:gd name="T27" fmla="*/ 30 h 30"/>
                <a:gd name="T28" fmla="*/ 257 w 265"/>
                <a:gd name="T29" fmla="*/ 30 h 30"/>
                <a:gd name="T30" fmla="*/ 260 w 265"/>
                <a:gd name="T31" fmla="*/ 30 h 30"/>
                <a:gd name="T32" fmla="*/ 262 w 265"/>
                <a:gd name="T33" fmla="*/ 28 h 30"/>
                <a:gd name="T34" fmla="*/ 264 w 265"/>
                <a:gd name="T35" fmla="*/ 26 h 30"/>
                <a:gd name="T36" fmla="*/ 264 w 265"/>
                <a:gd name="T37" fmla="*/ 23 h 30"/>
                <a:gd name="T38" fmla="*/ 265 w 265"/>
                <a:gd name="T39" fmla="*/ 7 h 30"/>
                <a:gd name="T40" fmla="*/ 265 w 265"/>
                <a:gd name="T41" fmla="*/ 7 h 30"/>
                <a:gd name="T42" fmla="*/ 265 w 265"/>
                <a:gd name="T43" fmla="*/ 4 h 30"/>
                <a:gd name="T44" fmla="*/ 263 w 265"/>
                <a:gd name="T45" fmla="*/ 2 h 30"/>
                <a:gd name="T46" fmla="*/ 261 w 265"/>
                <a:gd name="T47" fmla="*/ 1 h 30"/>
                <a:gd name="T48" fmla="*/ 259 w 265"/>
                <a:gd name="T49" fmla="*/ 0 h 30"/>
                <a:gd name="T50" fmla="*/ 259 w 265"/>
                <a:gd name="T5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5" h="30">
                  <a:moveTo>
                    <a:pt x="259" y="0"/>
                  </a:moveTo>
                  <a:lnTo>
                    <a:pt x="6" y="0"/>
                  </a:lnTo>
                  <a:lnTo>
                    <a:pt x="6" y="0"/>
                  </a:lnTo>
                  <a:lnTo>
                    <a:pt x="4" y="1"/>
                  </a:lnTo>
                  <a:lnTo>
                    <a:pt x="2" y="2"/>
                  </a:lnTo>
                  <a:lnTo>
                    <a:pt x="0" y="4"/>
                  </a:lnTo>
                  <a:lnTo>
                    <a:pt x="0" y="7"/>
                  </a:lnTo>
                  <a:lnTo>
                    <a:pt x="1" y="23"/>
                  </a:lnTo>
                  <a:lnTo>
                    <a:pt x="1" y="23"/>
                  </a:lnTo>
                  <a:lnTo>
                    <a:pt x="1" y="26"/>
                  </a:lnTo>
                  <a:lnTo>
                    <a:pt x="3" y="28"/>
                  </a:lnTo>
                  <a:lnTo>
                    <a:pt x="5" y="30"/>
                  </a:lnTo>
                  <a:lnTo>
                    <a:pt x="8" y="30"/>
                  </a:lnTo>
                  <a:lnTo>
                    <a:pt x="257" y="30"/>
                  </a:lnTo>
                  <a:lnTo>
                    <a:pt x="257" y="30"/>
                  </a:lnTo>
                  <a:lnTo>
                    <a:pt x="260" y="30"/>
                  </a:lnTo>
                  <a:lnTo>
                    <a:pt x="262" y="28"/>
                  </a:lnTo>
                  <a:lnTo>
                    <a:pt x="264" y="26"/>
                  </a:lnTo>
                  <a:lnTo>
                    <a:pt x="264" y="23"/>
                  </a:lnTo>
                  <a:lnTo>
                    <a:pt x="265" y="7"/>
                  </a:lnTo>
                  <a:lnTo>
                    <a:pt x="265" y="7"/>
                  </a:lnTo>
                  <a:lnTo>
                    <a:pt x="265" y="4"/>
                  </a:lnTo>
                  <a:lnTo>
                    <a:pt x="263" y="2"/>
                  </a:lnTo>
                  <a:lnTo>
                    <a:pt x="261" y="1"/>
                  </a:lnTo>
                  <a:lnTo>
                    <a:pt x="259" y="0"/>
                  </a:lnTo>
                  <a:lnTo>
                    <a:pt x="259"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0" name="Freeform 53">
              <a:extLst>
                <a:ext uri="{FF2B5EF4-FFF2-40B4-BE49-F238E27FC236}">
                  <a16:creationId xmlns:a16="http://schemas.microsoft.com/office/drawing/2014/main" id="{8A1FD2FC-A08C-43B8-8D5F-C63416B4BD8B}"/>
                </a:ext>
              </a:extLst>
            </p:cNvPr>
            <p:cNvSpPr>
              <a:spLocks/>
            </p:cNvSpPr>
            <p:nvPr/>
          </p:nvSpPr>
          <p:spPr bwMode="auto">
            <a:xfrm>
              <a:off x="2052638" y="6183313"/>
              <a:ext cx="206375" cy="44450"/>
            </a:xfrm>
            <a:custGeom>
              <a:avLst/>
              <a:gdLst>
                <a:gd name="T0" fmla="*/ 7 w 261"/>
                <a:gd name="T1" fmla="*/ 0 h 57"/>
                <a:gd name="T2" fmla="*/ 2 w 261"/>
                <a:gd name="T3" fmla="*/ 1 h 57"/>
                <a:gd name="T4" fmla="*/ 0 w 261"/>
                <a:gd name="T5" fmla="*/ 4 h 57"/>
                <a:gd name="T6" fmla="*/ 0 w 261"/>
                <a:gd name="T7" fmla="*/ 5 h 57"/>
                <a:gd name="T8" fmla="*/ 1 w 261"/>
                <a:gd name="T9" fmla="*/ 12 h 57"/>
                <a:gd name="T10" fmla="*/ 7 w 261"/>
                <a:gd name="T11" fmla="*/ 25 h 57"/>
                <a:gd name="T12" fmla="*/ 20 w 261"/>
                <a:gd name="T13" fmla="*/ 35 h 57"/>
                <a:gd name="T14" fmla="*/ 35 w 261"/>
                <a:gd name="T15" fmla="*/ 41 h 57"/>
                <a:gd name="T16" fmla="*/ 43 w 261"/>
                <a:gd name="T17" fmla="*/ 42 h 57"/>
                <a:gd name="T18" fmla="*/ 70 w 261"/>
                <a:gd name="T19" fmla="*/ 42 h 57"/>
                <a:gd name="T20" fmla="*/ 77 w 261"/>
                <a:gd name="T21" fmla="*/ 42 h 57"/>
                <a:gd name="T22" fmla="*/ 77 w 261"/>
                <a:gd name="T23" fmla="*/ 42 h 57"/>
                <a:gd name="T24" fmla="*/ 77 w 261"/>
                <a:gd name="T25" fmla="*/ 43 h 57"/>
                <a:gd name="T26" fmla="*/ 78 w 261"/>
                <a:gd name="T27" fmla="*/ 49 h 57"/>
                <a:gd name="T28" fmla="*/ 86 w 261"/>
                <a:gd name="T29" fmla="*/ 56 h 57"/>
                <a:gd name="T30" fmla="*/ 92 w 261"/>
                <a:gd name="T31" fmla="*/ 57 h 57"/>
                <a:gd name="T32" fmla="*/ 106 w 261"/>
                <a:gd name="T33" fmla="*/ 57 h 57"/>
                <a:gd name="T34" fmla="*/ 152 w 261"/>
                <a:gd name="T35" fmla="*/ 57 h 57"/>
                <a:gd name="T36" fmla="*/ 158 w 261"/>
                <a:gd name="T37" fmla="*/ 57 h 57"/>
                <a:gd name="T38" fmla="*/ 169 w 261"/>
                <a:gd name="T39" fmla="*/ 57 h 57"/>
                <a:gd name="T40" fmla="*/ 180 w 261"/>
                <a:gd name="T41" fmla="*/ 53 h 57"/>
                <a:gd name="T42" fmla="*/ 185 w 261"/>
                <a:gd name="T43" fmla="*/ 47 h 57"/>
                <a:gd name="T44" fmla="*/ 185 w 261"/>
                <a:gd name="T45" fmla="*/ 43 h 57"/>
                <a:gd name="T46" fmla="*/ 185 w 261"/>
                <a:gd name="T47" fmla="*/ 42 h 57"/>
                <a:gd name="T48" fmla="*/ 185 w 261"/>
                <a:gd name="T49" fmla="*/ 42 h 57"/>
                <a:gd name="T50" fmla="*/ 194 w 261"/>
                <a:gd name="T51" fmla="*/ 42 h 57"/>
                <a:gd name="T52" fmla="*/ 218 w 261"/>
                <a:gd name="T53" fmla="*/ 42 h 57"/>
                <a:gd name="T54" fmla="*/ 234 w 261"/>
                <a:gd name="T55" fmla="*/ 39 h 57"/>
                <a:gd name="T56" fmla="*/ 248 w 261"/>
                <a:gd name="T57" fmla="*/ 31 h 57"/>
                <a:gd name="T58" fmla="*/ 258 w 261"/>
                <a:gd name="T59" fmla="*/ 18 h 57"/>
                <a:gd name="T60" fmla="*/ 261 w 261"/>
                <a:gd name="T61" fmla="*/ 5 h 57"/>
                <a:gd name="T62" fmla="*/ 261 w 261"/>
                <a:gd name="T63" fmla="*/ 4 h 57"/>
                <a:gd name="T64" fmla="*/ 260 w 261"/>
                <a:gd name="T65" fmla="*/ 3 h 57"/>
                <a:gd name="T66" fmla="*/ 254 w 261"/>
                <a:gd name="T6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1" h="57">
                  <a:moveTo>
                    <a:pt x="254" y="0"/>
                  </a:moveTo>
                  <a:lnTo>
                    <a:pt x="7" y="0"/>
                  </a:lnTo>
                  <a:lnTo>
                    <a:pt x="7" y="0"/>
                  </a:lnTo>
                  <a:lnTo>
                    <a:pt x="2" y="1"/>
                  </a:lnTo>
                  <a:lnTo>
                    <a:pt x="1" y="3"/>
                  </a:lnTo>
                  <a:lnTo>
                    <a:pt x="0" y="4"/>
                  </a:lnTo>
                  <a:lnTo>
                    <a:pt x="0" y="4"/>
                  </a:lnTo>
                  <a:lnTo>
                    <a:pt x="0" y="5"/>
                  </a:lnTo>
                  <a:lnTo>
                    <a:pt x="0" y="5"/>
                  </a:lnTo>
                  <a:lnTo>
                    <a:pt x="1" y="12"/>
                  </a:lnTo>
                  <a:lnTo>
                    <a:pt x="3" y="18"/>
                  </a:lnTo>
                  <a:lnTo>
                    <a:pt x="7" y="25"/>
                  </a:lnTo>
                  <a:lnTo>
                    <a:pt x="14" y="31"/>
                  </a:lnTo>
                  <a:lnTo>
                    <a:pt x="20" y="35"/>
                  </a:lnTo>
                  <a:lnTo>
                    <a:pt x="27" y="39"/>
                  </a:lnTo>
                  <a:lnTo>
                    <a:pt x="35" y="41"/>
                  </a:lnTo>
                  <a:lnTo>
                    <a:pt x="43" y="42"/>
                  </a:lnTo>
                  <a:lnTo>
                    <a:pt x="43" y="42"/>
                  </a:lnTo>
                  <a:lnTo>
                    <a:pt x="70" y="42"/>
                  </a:lnTo>
                  <a:lnTo>
                    <a:pt x="70" y="42"/>
                  </a:lnTo>
                  <a:lnTo>
                    <a:pt x="77" y="42"/>
                  </a:lnTo>
                  <a:lnTo>
                    <a:pt x="77" y="42"/>
                  </a:lnTo>
                  <a:lnTo>
                    <a:pt x="77" y="42"/>
                  </a:lnTo>
                  <a:lnTo>
                    <a:pt x="77" y="42"/>
                  </a:lnTo>
                  <a:lnTo>
                    <a:pt x="77" y="43"/>
                  </a:lnTo>
                  <a:lnTo>
                    <a:pt x="77" y="43"/>
                  </a:lnTo>
                  <a:lnTo>
                    <a:pt x="77" y="47"/>
                  </a:lnTo>
                  <a:lnTo>
                    <a:pt x="78" y="49"/>
                  </a:lnTo>
                  <a:lnTo>
                    <a:pt x="81" y="53"/>
                  </a:lnTo>
                  <a:lnTo>
                    <a:pt x="86" y="56"/>
                  </a:lnTo>
                  <a:lnTo>
                    <a:pt x="92" y="57"/>
                  </a:lnTo>
                  <a:lnTo>
                    <a:pt x="92" y="57"/>
                  </a:lnTo>
                  <a:lnTo>
                    <a:pt x="106" y="57"/>
                  </a:lnTo>
                  <a:lnTo>
                    <a:pt x="106" y="57"/>
                  </a:lnTo>
                  <a:lnTo>
                    <a:pt x="152" y="57"/>
                  </a:lnTo>
                  <a:lnTo>
                    <a:pt x="152" y="57"/>
                  </a:lnTo>
                  <a:lnTo>
                    <a:pt x="158" y="57"/>
                  </a:lnTo>
                  <a:lnTo>
                    <a:pt x="158" y="57"/>
                  </a:lnTo>
                  <a:lnTo>
                    <a:pt x="169" y="57"/>
                  </a:lnTo>
                  <a:lnTo>
                    <a:pt x="169" y="57"/>
                  </a:lnTo>
                  <a:lnTo>
                    <a:pt x="175" y="56"/>
                  </a:lnTo>
                  <a:lnTo>
                    <a:pt x="180" y="53"/>
                  </a:lnTo>
                  <a:lnTo>
                    <a:pt x="184" y="49"/>
                  </a:lnTo>
                  <a:lnTo>
                    <a:pt x="185" y="47"/>
                  </a:lnTo>
                  <a:lnTo>
                    <a:pt x="185" y="43"/>
                  </a:lnTo>
                  <a:lnTo>
                    <a:pt x="185" y="43"/>
                  </a:lnTo>
                  <a:lnTo>
                    <a:pt x="185" y="42"/>
                  </a:lnTo>
                  <a:lnTo>
                    <a:pt x="185" y="42"/>
                  </a:lnTo>
                  <a:lnTo>
                    <a:pt x="185" y="42"/>
                  </a:lnTo>
                  <a:lnTo>
                    <a:pt x="185" y="42"/>
                  </a:lnTo>
                  <a:lnTo>
                    <a:pt x="194" y="42"/>
                  </a:lnTo>
                  <a:lnTo>
                    <a:pt x="194" y="42"/>
                  </a:lnTo>
                  <a:lnTo>
                    <a:pt x="218" y="42"/>
                  </a:lnTo>
                  <a:lnTo>
                    <a:pt x="218" y="42"/>
                  </a:lnTo>
                  <a:lnTo>
                    <a:pt x="227" y="41"/>
                  </a:lnTo>
                  <a:lnTo>
                    <a:pt x="234" y="39"/>
                  </a:lnTo>
                  <a:lnTo>
                    <a:pt x="241" y="35"/>
                  </a:lnTo>
                  <a:lnTo>
                    <a:pt x="248" y="31"/>
                  </a:lnTo>
                  <a:lnTo>
                    <a:pt x="254" y="25"/>
                  </a:lnTo>
                  <a:lnTo>
                    <a:pt x="258" y="18"/>
                  </a:lnTo>
                  <a:lnTo>
                    <a:pt x="260" y="12"/>
                  </a:lnTo>
                  <a:lnTo>
                    <a:pt x="261" y="5"/>
                  </a:lnTo>
                  <a:lnTo>
                    <a:pt x="261" y="5"/>
                  </a:lnTo>
                  <a:lnTo>
                    <a:pt x="261" y="4"/>
                  </a:lnTo>
                  <a:lnTo>
                    <a:pt x="261" y="4"/>
                  </a:lnTo>
                  <a:lnTo>
                    <a:pt x="260" y="3"/>
                  </a:lnTo>
                  <a:lnTo>
                    <a:pt x="259" y="1"/>
                  </a:lnTo>
                  <a:lnTo>
                    <a:pt x="254" y="0"/>
                  </a:lnTo>
                  <a:lnTo>
                    <a:pt x="254"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1" name="Freeform 54">
              <a:extLst>
                <a:ext uri="{FF2B5EF4-FFF2-40B4-BE49-F238E27FC236}">
                  <a16:creationId xmlns:a16="http://schemas.microsoft.com/office/drawing/2014/main" id="{CA7FD4F9-FA26-4E22-AF51-94FD9A16FBA8}"/>
                </a:ext>
              </a:extLst>
            </p:cNvPr>
            <p:cNvSpPr>
              <a:spLocks/>
            </p:cNvSpPr>
            <p:nvPr/>
          </p:nvSpPr>
          <p:spPr bwMode="auto">
            <a:xfrm>
              <a:off x="2136775" y="5295900"/>
              <a:ext cx="39687" cy="174625"/>
            </a:xfrm>
            <a:custGeom>
              <a:avLst/>
              <a:gdLst>
                <a:gd name="T0" fmla="*/ 25 w 50"/>
                <a:gd name="T1" fmla="*/ 220 h 220"/>
                <a:gd name="T2" fmla="*/ 25 w 50"/>
                <a:gd name="T3" fmla="*/ 220 h 220"/>
                <a:gd name="T4" fmla="*/ 30 w 50"/>
                <a:gd name="T5" fmla="*/ 220 h 220"/>
                <a:gd name="T6" fmla="*/ 35 w 50"/>
                <a:gd name="T7" fmla="*/ 218 h 220"/>
                <a:gd name="T8" fmla="*/ 39 w 50"/>
                <a:gd name="T9" fmla="*/ 216 h 220"/>
                <a:gd name="T10" fmla="*/ 43 w 50"/>
                <a:gd name="T11" fmla="*/ 213 h 220"/>
                <a:gd name="T12" fmla="*/ 46 w 50"/>
                <a:gd name="T13" fmla="*/ 209 h 220"/>
                <a:gd name="T14" fmla="*/ 48 w 50"/>
                <a:gd name="T15" fmla="*/ 204 h 220"/>
                <a:gd name="T16" fmla="*/ 49 w 50"/>
                <a:gd name="T17" fmla="*/ 200 h 220"/>
                <a:gd name="T18" fmla="*/ 50 w 50"/>
                <a:gd name="T19" fmla="*/ 195 h 220"/>
                <a:gd name="T20" fmla="*/ 50 w 50"/>
                <a:gd name="T21" fmla="*/ 25 h 220"/>
                <a:gd name="T22" fmla="*/ 50 w 50"/>
                <a:gd name="T23" fmla="*/ 25 h 220"/>
                <a:gd name="T24" fmla="*/ 49 w 50"/>
                <a:gd name="T25" fmla="*/ 20 h 220"/>
                <a:gd name="T26" fmla="*/ 48 w 50"/>
                <a:gd name="T27" fmla="*/ 16 h 220"/>
                <a:gd name="T28" fmla="*/ 46 w 50"/>
                <a:gd name="T29" fmla="*/ 12 h 220"/>
                <a:gd name="T30" fmla="*/ 43 w 50"/>
                <a:gd name="T31" fmla="*/ 7 h 220"/>
                <a:gd name="T32" fmla="*/ 39 w 50"/>
                <a:gd name="T33" fmla="*/ 4 h 220"/>
                <a:gd name="T34" fmla="*/ 35 w 50"/>
                <a:gd name="T35" fmla="*/ 2 h 220"/>
                <a:gd name="T36" fmla="*/ 30 w 50"/>
                <a:gd name="T37" fmla="*/ 1 h 220"/>
                <a:gd name="T38" fmla="*/ 25 w 50"/>
                <a:gd name="T39" fmla="*/ 0 h 220"/>
                <a:gd name="T40" fmla="*/ 25 w 50"/>
                <a:gd name="T41" fmla="*/ 0 h 220"/>
                <a:gd name="T42" fmla="*/ 20 w 50"/>
                <a:gd name="T43" fmla="*/ 1 h 220"/>
                <a:gd name="T44" fmla="*/ 16 w 50"/>
                <a:gd name="T45" fmla="*/ 2 h 220"/>
                <a:gd name="T46" fmla="*/ 12 w 50"/>
                <a:gd name="T47" fmla="*/ 4 h 220"/>
                <a:gd name="T48" fmla="*/ 7 w 50"/>
                <a:gd name="T49" fmla="*/ 7 h 220"/>
                <a:gd name="T50" fmla="*/ 4 w 50"/>
                <a:gd name="T51" fmla="*/ 12 h 220"/>
                <a:gd name="T52" fmla="*/ 2 w 50"/>
                <a:gd name="T53" fmla="*/ 16 h 220"/>
                <a:gd name="T54" fmla="*/ 0 w 50"/>
                <a:gd name="T55" fmla="*/ 20 h 220"/>
                <a:gd name="T56" fmla="*/ 0 w 50"/>
                <a:gd name="T57" fmla="*/ 25 h 220"/>
                <a:gd name="T58" fmla="*/ 0 w 50"/>
                <a:gd name="T59" fmla="*/ 195 h 220"/>
                <a:gd name="T60" fmla="*/ 0 w 50"/>
                <a:gd name="T61" fmla="*/ 195 h 220"/>
                <a:gd name="T62" fmla="*/ 0 w 50"/>
                <a:gd name="T63" fmla="*/ 200 h 220"/>
                <a:gd name="T64" fmla="*/ 2 w 50"/>
                <a:gd name="T65" fmla="*/ 204 h 220"/>
                <a:gd name="T66" fmla="*/ 4 w 50"/>
                <a:gd name="T67" fmla="*/ 209 h 220"/>
                <a:gd name="T68" fmla="*/ 7 w 50"/>
                <a:gd name="T69" fmla="*/ 213 h 220"/>
                <a:gd name="T70" fmla="*/ 12 w 50"/>
                <a:gd name="T71" fmla="*/ 216 h 220"/>
                <a:gd name="T72" fmla="*/ 16 w 50"/>
                <a:gd name="T73" fmla="*/ 218 h 220"/>
                <a:gd name="T74" fmla="*/ 20 w 50"/>
                <a:gd name="T75" fmla="*/ 220 h 220"/>
                <a:gd name="T76" fmla="*/ 25 w 50"/>
                <a:gd name="T77" fmla="*/ 220 h 220"/>
                <a:gd name="T78" fmla="*/ 25 w 50"/>
                <a:gd name="T7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220">
                  <a:moveTo>
                    <a:pt x="25" y="220"/>
                  </a:moveTo>
                  <a:lnTo>
                    <a:pt x="25" y="220"/>
                  </a:lnTo>
                  <a:lnTo>
                    <a:pt x="30" y="220"/>
                  </a:lnTo>
                  <a:lnTo>
                    <a:pt x="35" y="218"/>
                  </a:lnTo>
                  <a:lnTo>
                    <a:pt x="39" y="216"/>
                  </a:lnTo>
                  <a:lnTo>
                    <a:pt x="43" y="213"/>
                  </a:lnTo>
                  <a:lnTo>
                    <a:pt x="46" y="209"/>
                  </a:lnTo>
                  <a:lnTo>
                    <a:pt x="48" y="204"/>
                  </a:lnTo>
                  <a:lnTo>
                    <a:pt x="49" y="200"/>
                  </a:lnTo>
                  <a:lnTo>
                    <a:pt x="50" y="195"/>
                  </a:lnTo>
                  <a:lnTo>
                    <a:pt x="50" y="25"/>
                  </a:lnTo>
                  <a:lnTo>
                    <a:pt x="50" y="25"/>
                  </a:lnTo>
                  <a:lnTo>
                    <a:pt x="49" y="20"/>
                  </a:lnTo>
                  <a:lnTo>
                    <a:pt x="48" y="16"/>
                  </a:lnTo>
                  <a:lnTo>
                    <a:pt x="46" y="12"/>
                  </a:lnTo>
                  <a:lnTo>
                    <a:pt x="43" y="7"/>
                  </a:lnTo>
                  <a:lnTo>
                    <a:pt x="39" y="4"/>
                  </a:lnTo>
                  <a:lnTo>
                    <a:pt x="35" y="2"/>
                  </a:lnTo>
                  <a:lnTo>
                    <a:pt x="30" y="1"/>
                  </a:lnTo>
                  <a:lnTo>
                    <a:pt x="25" y="0"/>
                  </a:lnTo>
                  <a:lnTo>
                    <a:pt x="25" y="0"/>
                  </a:lnTo>
                  <a:lnTo>
                    <a:pt x="20" y="1"/>
                  </a:lnTo>
                  <a:lnTo>
                    <a:pt x="16" y="2"/>
                  </a:lnTo>
                  <a:lnTo>
                    <a:pt x="12" y="4"/>
                  </a:lnTo>
                  <a:lnTo>
                    <a:pt x="7" y="7"/>
                  </a:lnTo>
                  <a:lnTo>
                    <a:pt x="4" y="12"/>
                  </a:lnTo>
                  <a:lnTo>
                    <a:pt x="2" y="16"/>
                  </a:lnTo>
                  <a:lnTo>
                    <a:pt x="0" y="20"/>
                  </a:lnTo>
                  <a:lnTo>
                    <a:pt x="0" y="25"/>
                  </a:lnTo>
                  <a:lnTo>
                    <a:pt x="0" y="195"/>
                  </a:lnTo>
                  <a:lnTo>
                    <a:pt x="0" y="195"/>
                  </a:lnTo>
                  <a:lnTo>
                    <a:pt x="0" y="200"/>
                  </a:lnTo>
                  <a:lnTo>
                    <a:pt x="2" y="204"/>
                  </a:lnTo>
                  <a:lnTo>
                    <a:pt x="4" y="209"/>
                  </a:lnTo>
                  <a:lnTo>
                    <a:pt x="7" y="213"/>
                  </a:lnTo>
                  <a:lnTo>
                    <a:pt x="12" y="216"/>
                  </a:lnTo>
                  <a:lnTo>
                    <a:pt x="16" y="218"/>
                  </a:lnTo>
                  <a:lnTo>
                    <a:pt x="20" y="220"/>
                  </a:lnTo>
                  <a:lnTo>
                    <a:pt x="25" y="220"/>
                  </a:lnTo>
                  <a:lnTo>
                    <a:pt x="25" y="22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2" name="Freeform 55">
              <a:extLst>
                <a:ext uri="{FF2B5EF4-FFF2-40B4-BE49-F238E27FC236}">
                  <a16:creationId xmlns:a16="http://schemas.microsoft.com/office/drawing/2014/main" id="{E0370F75-37C7-4E2B-83C4-421F903B75E7}"/>
                </a:ext>
              </a:extLst>
            </p:cNvPr>
            <p:cNvSpPr>
              <a:spLocks/>
            </p:cNvSpPr>
            <p:nvPr/>
          </p:nvSpPr>
          <p:spPr bwMode="auto">
            <a:xfrm>
              <a:off x="2319338" y="5378450"/>
              <a:ext cx="119062" cy="147637"/>
            </a:xfrm>
            <a:custGeom>
              <a:avLst/>
              <a:gdLst>
                <a:gd name="T0" fmla="*/ 10 w 151"/>
                <a:gd name="T1" fmla="*/ 182 h 186"/>
                <a:gd name="T2" fmla="*/ 10 w 151"/>
                <a:gd name="T3" fmla="*/ 182 h 186"/>
                <a:gd name="T4" fmla="*/ 13 w 151"/>
                <a:gd name="T5" fmla="*/ 184 h 186"/>
                <a:gd name="T6" fmla="*/ 16 w 151"/>
                <a:gd name="T7" fmla="*/ 185 h 186"/>
                <a:gd name="T8" fmla="*/ 21 w 151"/>
                <a:gd name="T9" fmla="*/ 186 h 186"/>
                <a:gd name="T10" fmla="*/ 25 w 151"/>
                <a:gd name="T11" fmla="*/ 186 h 186"/>
                <a:gd name="T12" fmla="*/ 25 w 151"/>
                <a:gd name="T13" fmla="*/ 186 h 186"/>
                <a:gd name="T14" fmla="*/ 30 w 151"/>
                <a:gd name="T15" fmla="*/ 186 h 186"/>
                <a:gd name="T16" fmla="*/ 36 w 151"/>
                <a:gd name="T17" fmla="*/ 184 h 186"/>
                <a:gd name="T18" fmla="*/ 41 w 151"/>
                <a:gd name="T19" fmla="*/ 181 h 186"/>
                <a:gd name="T20" fmla="*/ 45 w 151"/>
                <a:gd name="T21" fmla="*/ 177 h 186"/>
                <a:gd name="T22" fmla="*/ 145 w 151"/>
                <a:gd name="T23" fmla="*/ 40 h 186"/>
                <a:gd name="T24" fmla="*/ 145 w 151"/>
                <a:gd name="T25" fmla="*/ 40 h 186"/>
                <a:gd name="T26" fmla="*/ 148 w 151"/>
                <a:gd name="T27" fmla="*/ 35 h 186"/>
                <a:gd name="T28" fmla="*/ 150 w 151"/>
                <a:gd name="T29" fmla="*/ 31 h 186"/>
                <a:gd name="T30" fmla="*/ 151 w 151"/>
                <a:gd name="T31" fmla="*/ 26 h 186"/>
                <a:gd name="T32" fmla="*/ 151 w 151"/>
                <a:gd name="T33" fmla="*/ 21 h 186"/>
                <a:gd name="T34" fmla="*/ 148 w 151"/>
                <a:gd name="T35" fmla="*/ 17 h 186"/>
                <a:gd name="T36" fmla="*/ 146 w 151"/>
                <a:gd name="T37" fmla="*/ 12 h 186"/>
                <a:gd name="T38" fmla="*/ 144 w 151"/>
                <a:gd name="T39" fmla="*/ 8 h 186"/>
                <a:gd name="T40" fmla="*/ 140 w 151"/>
                <a:gd name="T41" fmla="*/ 5 h 186"/>
                <a:gd name="T42" fmla="*/ 140 w 151"/>
                <a:gd name="T43" fmla="*/ 5 h 186"/>
                <a:gd name="T44" fmla="*/ 136 w 151"/>
                <a:gd name="T45" fmla="*/ 2 h 186"/>
                <a:gd name="T46" fmla="*/ 132 w 151"/>
                <a:gd name="T47" fmla="*/ 1 h 186"/>
                <a:gd name="T48" fmla="*/ 126 w 151"/>
                <a:gd name="T49" fmla="*/ 0 h 186"/>
                <a:gd name="T50" fmla="*/ 121 w 151"/>
                <a:gd name="T51" fmla="*/ 1 h 186"/>
                <a:gd name="T52" fmla="*/ 117 w 151"/>
                <a:gd name="T53" fmla="*/ 2 h 186"/>
                <a:gd name="T54" fmla="*/ 113 w 151"/>
                <a:gd name="T55" fmla="*/ 4 h 186"/>
                <a:gd name="T56" fmla="*/ 109 w 151"/>
                <a:gd name="T57" fmla="*/ 6 h 186"/>
                <a:gd name="T58" fmla="*/ 106 w 151"/>
                <a:gd name="T59" fmla="*/ 10 h 186"/>
                <a:gd name="T60" fmla="*/ 5 w 151"/>
                <a:gd name="T61" fmla="*/ 147 h 186"/>
                <a:gd name="T62" fmla="*/ 5 w 151"/>
                <a:gd name="T63" fmla="*/ 147 h 186"/>
                <a:gd name="T64" fmla="*/ 2 w 151"/>
                <a:gd name="T65" fmla="*/ 151 h 186"/>
                <a:gd name="T66" fmla="*/ 1 w 151"/>
                <a:gd name="T67" fmla="*/ 156 h 186"/>
                <a:gd name="T68" fmla="*/ 0 w 151"/>
                <a:gd name="T69" fmla="*/ 160 h 186"/>
                <a:gd name="T70" fmla="*/ 0 w 151"/>
                <a:gd name="T71" fmla="*/ 165 h 186"/>
                <a:gd name="T72" fmla="*/ 1 w 151"/>
                <a:gd name="T73" fmla="*/ 170 h 186"/>
                <a:gd name="T74" fmla="*/ 3 w 151"/>
                <a:gd name="T75" fmla="*/ 175 h 186"/>
                <a:gd name="T76" fmla="*/ 6 w 151"/>
                <a:gd name="T77" fmla="*/ 178 h 186"/>
                <a:gd name="T78" fmla="*/ 10 w 151"/>
                <a:gd name="T79" fmla="*/ 182 h 186"/>
                <a:gd name="T80" fmla="*/ 10 w 151"/>
                <a:gd name="T81"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186">
                  <a:moveTo>
                    <a:pt x="10" y="182"/>
                  </a:moveTo>
                  <a:lnTo>
                    <a:pt x="10" y="182"/>
                  </a:lnTo>
                  <a:lnTo>
                    <a:pt x="13" y="184"/>
                  </a:lnTo>
                  <a:lnTo>
                    <a:pt x="16" y="185"/>
                  </a:lnTo>
                  <a:lnTo>
                    <a:pt x="21" y="186"/>
                  </a:lnTo>
                  <a:lnTo>
                    <a:pt x="25" y="186"/>
                  </a:lnTo>
                  <a:lnTo>
                    <a:pt x="25" y="186"/>
                  </a:lnTo>
                  <a:lnTo>
                    <a:pt x="30" y="186"/>
                  </a:lnTo>
                  <a:lnTo>
                    <a:pt x="36" y="184"/>
                  </a:lnTo>
                  <a:lnTo>
                    <a:pt x="41" y="181"/>
                  </a:lnTo>
                  <a:lnTo>
                    <a:pt x="45" y="177"/>
                  </a:lnTo>
                  <a:lnTo>
                    <a:pt x="145" y="40"/>
                  </a:lnTo>
                  <a:lnTo>
                    <a:pt x="145" y="40"/>
                  </a:lnTo>
                  <a:lnTo>
                    <a:pt x="148" y="35"/>
                  </a:lnTo>
                  <a:lnTo>
                    <a:pt x="150" y="31"/>
                  </a:lnTo>
                  <a:lnTo>
                    <a:pt x="151" y="26"/>
                  </a:lnTo>
                  <a:lnTo>
                    <a:pt x="151" y="21"/>
                  </a:lnTo>
                  <a:lnTo>
                    <a:pt x="148" y="17"/>
                  </a:lnTo>
                  <a:lnTo>
                    <a:pt x="146" y="12"/>
                  </a:lnTo>
                  <a:lnTo>
                    <a:pt x="144" y="8"/>
                  </a:lnTo>
                  <a:lnTo>
                    <a:pt x="140" y="5"/>
                  </a:lnTo>
                  <a:lnTo>
                    <a:pt x="140" y="5"/>
                  </a:lnTo>
                  <a:lnTo>
                    <a:pt x="136" y="2"/>
                  </a:lnTo>
                  <a:lnTo>
                    <a:pt x="132" y="1"/>
                  </a:lnTo>
                  <a:lnTo>
                    <a:pt x="126" y="0"/>
                  </a:lnTo>
                  <a:lnTo>
                    <a:pt x="121" y="1"/>
                  </a:lnTo>
                  <a:lnTo>
                    <a:pt x="117" y="2"/>
                  </a:lnTo>
                  <a:lnTo>
                    <a:pt x="113" y="4"/>
                  </a:lnTo>
                  <a:lnTo>
                    <a:pt x="109" y="6"/>
                  </a:lnTo>
                  <a:lnTo>
                    <a:pt x="106" y="10"/>
                  </a:lnTo>
                  <a:lnTo>
                    <a:pt x="5" y="147"/>
                  </a:lnTo>
                  <a:lnTo>
                    <a:pt x="5" y="147"/>
                  </a:lnTo>
                  <a:lnTo>
                    <a:pt x="2" y="151"/>
                  </a:lnTo>
                  <a:lnTo>
                    <a:pt x="1" y="156"/>
                  </a:lnTo>
                  <a:lnTo>
                    <a:pt x="0" y="160"/>
                  </a:lnTo>
                  <a:lnTo>
                    <a:pt x="0" y="165"/>
                  </a:lnTo>
                  <a:lnTo>
                    <a:pt x="1" y="170"/>
                  </a:lnTo>
                  <a:lnTo>
                    <a:pt x="3" y="175"/>
                  </a:lnTo>
                  <a:lnTo>
                    <a:pt x="6" y="178"/>
                  </a:lnTo>
                  <a:lnTo>
                    <a:pt x="10" y="182"/>
                  </a:lnTo>
                  <a:lnTo>
                    <a:pt x="10" y="182"/>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3" name="Freeform 56">
              <a:extLst>
                <a:ext uri="{FF2B5EF4-FFF2-40B4-BE49-F238E27FC236}">
                  <a16:creationId xmlns:a16="http://schemas.microsoft.com/office/drawing/2014/main" id="{3C028D44-8C45-4A32-B885-9DEF8C17E611}"/>
                </a:ext>
              </a:extLst>
            </p:cNvPr>
            <p:cNvSpPr>
              <a:spLocks/>
            </p:cNvSpPr>
            <p:nvPr/>
          </p:nvSpPr>
          <p:spPr bwMode="auto">
            <a:xfrm>
              <a:off x="2432050" y="5595938"/>
              <a:ext cx="166687" cy="80962"/>
            </a:xfrm>
            <a:custGeom>
              <a:avLst/>
              <a:gdLst>
                <a:gd name="T0" fmla="*/ 24 w 211"/>
                <a:gd name="T1" fmla="*/ 103 h 103"/>
                <a:gd name="T2" fmla="*/ 24 w 211"/>
                <a:gd name="T3" fmla="*/ 103 h 103"/>
                <a:gd name="T4" fmla="*/ 33 w 211"/>
                <a:gd name="T5" fmla="*/ 102 h 103"/>
                <a:gd name="T6" fmla="*/ 194 w 211"/>
                <a:gd name="T7" fmla="*/ 49 h 103"/>
                <a:gd name="T8" fmla="*/ 194 w 211"/>
                <a:gd name="T9" fmla="*/ 49 h 103"/>
                <a:gd name="T10" fmla="*/ 198 w 211"/>
                <a:gd name="T11" fmla="*/ 48 h 103"/>
                <a:gd name="T12" fmla="*/ 202 w 211"/>
                <a:gd name="T13" fmla="*/ 44 h 103"/>
                <a:gd name="T14" fmla="*/ 206 w 211"/>
                <a:gd name="T15" fmla="*/ 41 h 103"/>
                <a:gd name="T16" fmla="*/ 209 w 211"/>
                <a:gd name="T17" fmla="*/ 37 h 103"/>
                <a:gd name="T18" fmla="*/ 209 w 211"/>
                <a:gd name="T19" fmla="*/ 37 h 103"/>
                <a:gd name="T20" fmla="*/ 210 w 211"/>
                <a:gd name="T21" fmla="*/ 32 h 103"/>
                <a:gd name="T22" fmla="*/ 211 w 211"/>
                <a:gd name="T23" fmla="*/ 28 h 103"/>
                <a:gd name="T24" fmla="*/ 211 w 211"/>
                <a:gd name="T25" fmla="*/ 22 h 103"/>
                <a:gd name="T26" fmla="*/ 210 w 211"/>
                <a:gd name="T27" fmla="*/ 17 h 103"/>
                <a:gd name="T28" fmla="*/ 210 w 211"/>
                <a:gd name="T29" fmla="*/ 17 h 103"/>
                <a:gd name="T30" fmla="*/ 209 w 211"/>
                <a:gd name="T31" fmla="*/ 14 h 103"/>
                <a:gd name="T32" fmla="*/ 207 w 211"/>
                <a:gd name="T33" fmla="*/ 11 h 103"/>
                <a:gd name="T34" fmla="*/ 200 w 211"/>
                <a:gd name="T35" fmla="*/ 5 h 103"/>
                <a:gd name="T36" fmla="*/ 194 w 211"/>
                <a:gd name="T37" fmla="*/ 1 h 103"/>
                <a:gd name="T38" fmla="*/ 190 w 211"/>
                <a:gd name="T39" fmla="*/ 0 h 103"/>
                <a:gd name="T40" fmla="*/ 186 w 211"/>
                <a:gd name="T41" fmla="*/ 0 h 103"/>
                <a:gd name="T42" fmla="*/ 186 w 211"/>
                <a:gd name="T43" fmla="*/ 0 h 103"/>
                <a:gd name="T44" fmla="*/ 178 w 211"/>
                <a:gd name="T45" fmla="*/ 1 h 103"/>
                <a:gd name="T46" fmla="*/ 17 w 211"/>
                <a:gd name="T47" fmla="*/ 54 h 103"/>
                <a:gd name="T48" fmla="*/ 17 w 211"/>
                <a:gd name="T49" fmla="*/ 54 h 103"/>
                <a:gd name="T50" fmla="*/ 13 w 211"/>
                <a:gd name="T51" fmla="*/ 56 h 103"/>
                <a:gd name="T52" fmla="*/ 9 w 211"/>
                <a:gd name="T53" fmla="*/ 59 h 103"/>
                <a:gd name="T54" fmla="*/ 5 w 211"/>
                <a:gd name="T55" fmla="*/ 62 h 103"/>
                <a:gd name="T56" fmla="*/ 2 w 211"/>
                <a:gd name="T57" fmla="*/ 66 h 103"/>
                <a:gd name="T58" fmla="*/ 0 w 211"/>
                <a:gd name="T59" fmla="*/ 71 h 103"/>
                <a:gd name="T60" fmla="*/ 0 w 211"/>
                <a:gd name="T61" fmla="*/ 76 h 103"/>
                <a:gd name="T62" fmla="*/ 0 w 211"/>
                <a:gd name="T63" fmla="*/ 80 h 103"/>
                <a:gd name="T64" fmla="*/ 1 w 211"/>
                <a:gd name="T65" fmla="*/ 85 h 103"/>
                <a:gd name="T66" fmla="*/ 1 w 211"/>
                <a:gd name="T67" fmla="*/ 85 h 103"/>
                <a:gd name="T68" fmla="*/ 2 w 211"/>
                <a:gd name="T69" fmla="*/ 90 h 103"/>
                <a:gd name="T70" fmla="*/ 4 w 211"/>
                <a:gd name="T71" fmla="*/ 93 h 103"/>
                <a:gd name="T72" fmla="*/ 10 w 211"/>
                <a:gd name="T73" fmla="*/ 98 h 103"/>
                <a:gd name="T74" fmla="*/ 17 w 211"/>
                <a:gd name="T75" fmla="*/ 102 h 103"/>
                <a:gd name="T76" fmla="*/ 21 w 211"/>
                <a:gd name="T77" fmla="*/ 102 h 103"/>
                <a:gd name="T78" fmla="*/ 24 w 211"/>
                <a:gd name="T79" fmla="*/ 103 h 103"/>
                <a:gd name="T80" fmla="*/ 24 w 211"/>
                <a:gd name="T8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103">
                  <a:moveTo>
                    <a:pt x="24" y="103"/>
                  </a:moveTo>
                  <a:lnTo>
                    <a:pt x="24" y="103"/>
                  </a:lnTo>
                  <a:lnTo>
                    <a:pt x="33" y="102"/>
                  </a:lnTo>
                  <a:lnTo>
                    <a:pt x="194" y="49"/>
                  </a:lnTo>
                  <a:lnTo>
                    <a:pt x="194" y="49"/>
                  </a:lnTo>
                  <a:lnTo>
                    <a:pt x="198" y="48"/>
                  </a:lnTo>
                  <a:lnTo>
                    <a:pt x="202" y="44"/>
                  </a:lnTo>
                  <a:lnTo>
                    <a:pt x="206" y="41"/>
                  </a:lnTo>
                  <a:lnTo>
                    <a:pt x="209" y="37"/>
                  </a:lnTo>
                  <a:lnTo>
                    <a:pt x="209" y="37"/>
                  </a:lnTo>
                  <a:lnTo>
                    <a:pt x="210" y="32"/>
                  </a:lnTo>
                  <a:lnTo>
                    <a:pt x="211" y="28"/>
                  </a:lnTo>
                  <a:lnTo>
                    <a:pt x="211" y="22"/>
                  </a:lnTo>
                  <a:lnTo>
                    <a:pt x="210" y="17"/>
                  </a:lnTo>
                  <a:lnTo>
                    <a:pt x="210" y="17"/>
                  </a:lnTo>
                  <a:lnTo>
                    <a:pt x="209" y="14"/>
                  </a:lnTo>
                  <a:lnTo>
                    <a:pt x="207" y="11"/>
                  </a:lnTo>
                  <a:lnTo>
                    <a:pt x="200" y="5"/>
                  </a:lnTo>
                  <a:lnTo>
                    <a:pt x="194" y="1"/>
                  </a:lnTo>
                  <a:lnTo>
                    <a:pt x="190" y="0"/>
                  </a:lnTo>
                  <a:lnTo>
                    <a:pt x="186" y="0"/>
                  </a:lnTo>
                  <a:lnTo>
                    <a:pt x="186" y="0"/>
                  </a:lnTo>
                  <a:lnTo>
                    <a:pt x="178" y="1"/>
                  </a:lnTo>
                  <a:lnTo>
                    <a:pt x="17" y="54"/>
                  </a:lnTo>
                  <a:lnTo>
                    <a:pt x="17" y="54"/>
                  </a:lnTo>
                  <a:lnTo>
                    <a:pt x="13" y="56"/>
                  </a:lnTo>
                  <a:lnTo>
                    <a:pt x="9" y="59"/>
                  </a:lnTo>
                  <a:lnTo>
                    <a:pt x="5" y="62"/>
                  </a:lnTo>
                  <a:lnTo>
                    <a:pt x="2" y="66"/>
                  </a:lnTo>
                  <a:lnTo>
                    <a:pt x="0" y="71"/>
                  </a:lnTo>
                  <a:lnTo>
                    <a:pt x="0" y="76"/>
                  </a:lnTo>
                  <a:lnTo>
                    <a:pt x="0" y="80"/>
                  </a:lnTo>
                  <a:lnTo>
                    <a:pt x="1" y="85"/>
                  </a:lnTo>
                  <a:lnTo>
                    <a:pt x="1" y="85"/>
                  </a:lnTo>
                  <a:lnTo>
                    <a:pt x="2" y="90"/>
                  </a:lnTo>
                  <a:lnTo>
                    <a:pt x="4" y="93"/>
                  </a:lnTo>
                  <a:lnTo>
                    <a:pt x="10" y="98"/>
                  </a:lnTo>
                  <a:lnTo>
                    <a:pt x="17" y="102"/>
                  </a:lnTo>
                  <a:lnTo>
                    <a:pt x="21" y="102"/>
                  </a:lnTo>
                  <a:lnTo>
                    <a:pt x="24" y="103"/>
                  </a:lnTo>
                  <a:lnTo>
                    <a:pt x="24" y="103"/>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4" name="Freeform 57">
              <a:extLst>
                <a:ext uri="{FF2B5EF4-FFF2-40B4-BE49-F238E27FC236}">
                  <a16:creationId xmlns:a16="http://schemas.microsoft.com/office/drawing/2014/main" id="{4020FA5E-D642-41DF-AB55-ABD47163F877}"/>
                </a:ext>
              </a:extLst>
            </p:cNvPr>
            <p:cNvSpPr>
              <a:spLocks/>
            </p:cNvSpPr>
            <p:nvPr/>
          </p:nvSpPr>
          <p:spPr bwMode="auto">
            <a:xfrm>
              <a:off x="2432050" y="5824538"/>
              <a:ext cx="166687" cy="80962"/>
            </a:xfrm>
            <a:custGeom>
              <a:avLst/>
              <a:gdLst>
                <a:gd name="T0" fmla="*/ 209 w 212"/>
                <a:gd name="T1" fmla="*/ 65 h 101"/>
                <a:gd name="T2" fmla="*/ 209 w 212"/>
                <a:gd name="T3" fmla="*/ 65 h 101"/>
                <a:gd name="T4" fmla="*/ 206 w 212"/>
                <a:gd name="T5" fmla="*/ 61 h 101"/>
                <a:gd name="T6" fmla="*/ 202 w 212"/>
                <a:gd name="T7" fmla="*/ 57 h 101"/>
                <a:gd name="T8" fmla="*/ 198 w 212"/>
                <a:gd name="T9" fmla="*/ 54 h 101"/>
                <a:gd name="T10" fmla="*/ 194 w 212"/>
                <a:gd name="T11" fmla="*/ 52 h 101"/>
                <a:gd name="T12" fmla="*/ 34 w 212"/>
                <a:gd name="T13" fmla="*/ 1 h 101"/>
                <a:gd name="T14" fmla="*/ 34 w 212"/>
                <a:gd name="T15" fmla="*/ 1 h 101"/>
                <a:gd name="T16" fmla="*/ 28 w 212"/>
                <a:gd name="T17" fmla="*/ 0 h 101"/>
                <a:gd name="T18" fmla="*/ 23 w 212"/>
                <a:gd name="T19" fmla="*/ 0 h 101"/>
                <a:gd name="T20" fmla="*/ 19 w 212"/>
                <a:gd name="T21" fmla="*/ 0 h 101"/>
                <a:gd name="T22" fmla="*/ 14 w 212"/>
                <a:gd name="T23" fmla="*/ 2 h 101"/>
                <a:gd name="T24" fmla="*/ 10 w 212"/>
                <a:gd name="T25" fmla="*/ 5 h 101"/>
                <a:gd name="T26" fmla="*/ 6 w 212"/>
                <a:gd name="T27" fmla="*/ 8 h 101"/>
                <a:gd name="T28" fmla="*/ 3 w 212"/>
                <a:gd name="T29" fmla="*/ 12 h 101"/>
                <a:gd name="T30" fmla="*/ 1 w 212"/>
                <a:gd name="T31" fmla="*/ 16 h 101"/>
                <a:gd name="T32" fmla="*/ 1 w 212"/>
                <a:gd name="T33" fmla="*/ 16 h 101"/>
                <a:gd name="T34" fmla="*/ 0 w 212"/>
                <a:gd name="T35" fmla="*/ 22 h 101"/>
                <a:gd name="T36" fmla="*/ 0 w 212"/>
                <a:gd name="T37" fmla="*/ 26 h 101"/>
                <a:gd name="T38" fmla="*/ 1 w 212"/>
                <a:gd name="T39" fmla="*/ 31 h 101"/>
                <a:gd name="T40" fmla="*/ 3 w 212"/>
                <a:gd name="T41" fmla="*/ 35 h 101"/>
                <a:gd name="T42" fmla="*/ 5 w 212"/>
                <a:gd name="T43" fmla="*/ 40 h 101"/>
                <a:gd name="T44" fmla="*/ 10 w 212"/>
                <a:gd name="T45" fmla="*/ 43 h 101"/>
                <a:gd name="T46" fmla="*/ 13 w 212"/>
                <a:gd name="T47" fmla="*/ 46 h 101"/>
                <a:gd name="T48" fmla="*/ 18 w 212"/>
                <a:gd name="T49" fmla="*/ 48 h 101"/>
                <a:gd name="T50" fmla="*/ 178 w 212"/>
                <a:gd name="T51" fmla="*/ 100 h 101"/>
                <a:gd name="T52" fmla="*/ 178 w 212"/>
                <a:gd name="T53" fmla="*/ 100 h 101"/>
                <a:gd name="T54" fmla="*/ 187 w 212"/>
                <a:gd name="T55" fmla="*/ 101 h 101"/>
                <a:gd name="T56" fmla="*/ 187 w 212"/>
                <a:gd name="T57" fmla="*/ 101 h 101"/>
                <a:gd name="T58" fmla="*/ 191 w 212"/>
                <a:gd name="T59" fmla="*/ 101 h 101"/>
                <a:gd name="T60" fmla="*/ 194 w 212"/>
                <a:gd name="T61" fmla="*/ 100 h 101"/>
                <a:gd name="T62" fmla="*/ 201 w 212"/>
                <a:gd name="T63" fmla="*/ 97 h 101"/>
                <a:gd name="T64" fmla="*/ 207 w 212"/>
                <a:gd name="T65" fmla="*/ 91 h 101"/>
                <a:gd name="T66" fmla="*/ 209 w 212"/>
                <a:gd name="T67" fmla="*/ 88 h 101"/>
                <a:gd name="T68" fmla="*/ 210 w 212"/>
                <a:gd name="T69" fmla="*/ 85 h 101"/>
                <a:gd name="T70" fmla="*/ 210 w 212"/>
                <a:gd name="T71" fmla="*/ 85 h 101"/>
                <a:gd name="T72" fmla="*/ 211 w 212"/>
                <a:gd name="T73" fmla="*/ 79 h 101"/>
                <a:gd name="T74" fmla="*/ 212 w 212"/>
                <a:gd name="T75" fmla="*/ 74 h 101"/>
                <a:gd name="T76" fmla="*/ 211 w 212"/>
                <a:gd name="T77" fmla="*/ 70 h 101"/>
                <a:gd name="T78" fmla="*/ 209 w 212"/>
                <a:gd name="T79" fmla="*/ 65 h 101"/>
                <a:gd name="T80" fmla="*/ 209 w 212"/>
                <a:gd name="T81"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2" h="101">
                  <a:moveTo>
                    <a:pt x="209" y="65"/>
                  </a:moveTo>
                  <a:lnTo>
                    <a:pt x="209" y="65"/>
                  </a:lnTo>
                  <a:lnTo>
                    <a:pt x="206" y="61"/>
                  </a:lnTo>
                  <a:lnTo>
                    <a:pt x="202" y="57"/>
                  </a:lnTo>
                  <a:lnTo>
                    <a:pt x="198" y="54"/>
                  </a:lnTo>
                  <a:lnTo>
                    <a:pt x="194" y="52"/>
                  </a:lnTo>
                  <a:lnTo>
                    <a:pt x="34" y="1"/>
                  </a:lnTo>
                  <a:lnTo>
                    <a:pt x="34" y="1"/>
                  </a:lnTo>
                  <a:lnTo>
                    <a:pt x="28" y="0"/>
                  </a:lnTo>
                  <a:lnTo>
                    <a:pt x="23" y="0"/>
                  </a:lnTo>
                  <a:lnTo>
                    <a:pt x="19" y="0"/>
                  </a:lnTo>
                  <a:lnTo>
                    <a:pt x="14" y="2"/>
                  </a:lnTo>
                  <a:lnTo>
                    <a:pt x="10" y="5"/>
                  </a:lnTo>
                  <a:lnTo>
                    <a:pt x="6" y="8"/>
                  </a:lnTo>
                  <a:lnTo>
                    <a:pt x="3" y="12"/>
                  </a:lnTo>
                  <a:lnTo>
                    <a:pt x="1" y="16"/>
                  </a:lnTo>
                  <a:lnTo>
                    <a:pt x="1" y="16"/>
                  </a:lnTo>
                  <a:lnTo>
                    <a:pt x="0" y="22"/>
                  </a:lnTo>
                  <a:lnTo>
                    <a:pt x="0" y="26"/>
                  </a:lnTo>
                  <a:lnTo>
                    <a:pt x="1" y="31"/>
                  </a:lnTo>
                  <a:lnTo>
                    <a:pt x="3" y="35"/>
                  </a:lnTo>
                  <a:lnTo>
                    <a:pt x="5" y="40"/>
                  </a:lnTo>
                  <a:lnTo>
                    <a:pt x="10" y="43"/>
                  </a:lnTo>
                  <a:lnTo>
                    <a:pt x="13" y="46"/>
                  </a:lnTo>
                  <a:lnTo>
                    <a:pt x="18" y="48"/>
                  </a:lnTo>
                  <a:lnTo>
                    <a:pt x="178" y="100"/>
                  </a:lnTo>
                  <a:lnTo>
                    <a:pt x="178" y="100"/>
                  </a:lnTo>
                  <a:lnTo>
                    <a:pt x="187" y="101"/>
                  </a:lnTo>
                  <a:lnTo>
                    <a:pt x="187" y="101"/>
                  </a:lnTo>
                  <a:lnTo>
                    <a:pt x="191" y="101"/>
                  </a:lnTo>
                  <a:lnTo>
                    <a:pt x="194" y="100"/>
                  </a:lnTo>
                  <a:lnTo>
                    <a:pt x="201" y="97"/>
                  </a:lnTo>
                  <a:lnTo>
                    <a:pt x="207" y="91"/>
                  </a:lnTo>
                  <a:lnTo>
                    <a:pt x="209" y="88"/>
                  </a:lnTo>
                  <a:lnTo>
                    <a:pt x="210" y="85"/>
                  </a:lnTo>
                  <a:lnTo>
                    <a:pt x="210" y="85"/>
                  </a:lnTo>
                  <a:lnTo>
                    <a:pt x="211" y="79"/>
                  </a:lnTo>
                  <a:lnTo>
                    <a:pt x="212" y="74"/>
                  </a:lnTo>
                  <a:lnTo>
                    <a:pt x="211" y="70"/>
                  </a:lnTo>
                  <a:lnTo>
                    <a:pt x="209" y="65"/>
                  </a:lnTo>
                  <a:lnTo>
                    <a:pt x="209" y="65"/>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5" name="Freeform 58">
              <a:extLst>
                <a:ext uri="{FF2B5EF4-FFF2-40B4-BE49-F238E27FC236}">
                  <a16:creationId xmlns:a16="http://schemas.microsoft.com/office/drawing/2014/main" id="{0CB6C87B-1735-4EC5-9C76-3337B4FC45E0}"/>
                </a:ext>
              </a:extLst>
            </p:cNvPr>
            <p:cNvSpPr>
              <a:spLocks/>
            </p:cNvSpPr>
            <p:nvPr/>
          </p:nvSpPr>
          <p:spPr bwMode="auto">
            <a:xfrm>
              <a:off x="1879600" y="5378450"/>
              <a:ext cx="120650" cy="147637"/>
            </a:xfrm>
            <a:custGeom>
              <a:avLst/>
              <a:gdLst>
                <a:gd name="T0" fmla="*/ 105 w 151"/>
                <a:gd name="T1" fmla="*/ 177 h 186"/>
                <a:gd name="T2" fmla="*/ 105 w 151"/>
                <a:gd name="T3" fmla="*/ 177 h 186"/>
                <a:gd name="T4" fmla="*/ 109 w 151"/>
                <a:gd name="T5" fmla="*/ 181 h 186"/>
                <a:gd name="T6" fmla="*/ 114 w 151"/>
                <a:gd name="T7" fmla="*/ 184 h 186"/>
                <a:gd name="T8" fmla="*/ 120 w 151"/>
                <a:gd name="T9" fmla="*/ 186 h 186"/>
                <a:gd name="T10" fmla="*/ 126 w 151"/>
                <a:gd name="T11" fmla="*/ 186 h 186"/>
                <a:gd name="T12" fmla="*/ 126 w 151"/>
                <a:gd name="T13" fmla="*/ 186 h 186"/>
                <a:gd name="T14" fmla="*/ 130 w 151"/>
                <a:gd name="T15" fmla="*/ 186 h 186"/>
                <a:gd name="T16" fmla="*/ 133 w 151"/>
                <a:gd name="T17" fmla="*/ 185 h 186"/>
                <a:gd name="T18" fmla="*/ 137 w 151"/>
                <a:gd name="T19" fmla="*/ 184 h 186"/>
                <a:gd name="T20" fmla="*/ 141 w 151"/>
                <a:gd name="T21" fmla="*/ 182 h 186"/>
                <a:gd name="T22" fmla="*/ 141 w 151"/>
                <a:gd name="T23" fmla="*/ 182 h 186"/>
                <a:gd name="T24" fmla="*/ 144 w 151"/>
                <a:gd name="T25" fmla="*/ 178 h 186"/>
                <a:gd name="T26" fmla="*/ 147 w 151"/>
                <a:gd name="T27" fmla="*/ 175 h 186"/>
                <a:gd name="T28" fmla="*/ 149 w 151"/>
                <a:gd name="T29" fmla="*/ 171 h 186"/>
                <a:gd name="T30" fmla="*/ 150 w 151"/>
                <a:gd name="T31" fmla="*/ 165 h 186"/>
                <a:gd name="T32" fmla="*/ 150 w 151"/>
                <a:gd name="T33" fmla="*/ 165 h 186"/>
                <a:gd name="T34" fmla="*/ 151 w 151"/>
                <a:gd name="T35" fmla="*/ 160 h 186"/>
                <a:gd name="T36" fmla="*/ 150 w 151"/>
                <a:gd name="T37" fmla="*/ 156 h 186"/>
                <a:gd name="T38" fmla="*/ 148 w 151"/>
                <a:gd name="T39" fmla="*/ 151 h 186"/>
                <a:gd name="T40" fmla="*/ 146 w 151"/>
                <a:gd name="T41" fmla="*/ 147 h 186"/>
                <a:gd name="T42" fmla="*/ 45 w 151"/>
                <a:gd name="T43" fmla="*/ 10 h 186"/>
                <a:gd name="T44" fmla="*/ 45 w 151"/>
                <a:gd name="T45" fmla="*/ 10 h 186"/>
                <a:gd name="T46" fmla="*/ 42 w 151"/>
                <a:gd name="T47" fmla="*/ 6 h 186"/>
                <a:gd name="T48" fmla="*/ 38 w 151"/>
                <a:gd name="T49" fmla="*/ 4 h 186"/>
                <a:gd name="T50" fmla="*/ 34 w 151"/>
                <a:gd name="T51" fmla="*/ 2 h 186"/>
                <a:gd name="T52" fmla="*/ 28 w 151"/>
                <a:gd name="T53" fmla="*/ 0 h 186"/>
                <a:gd name="T54" fmla="*/ 24 w 151"/>
                <a:gd name="T55" fmla="*/ 0 h 186"/>
                <a:gd name="T56" fmla="*/ 19 w 151"/>
                <a:gd name="T57" fmla="*/ 1 h 186"/>
                <a:gd name="T58" fmla="*/ 15 w 151"/>
                <a:gd name="T59" fmla="*/ 2 h 186"/>
                <a:gd name="T60" fmla="*/ 11 w 151"/>
                <a:gd name="T61" fmla="*/ 5 h 186"/>
                <a:gd name="T62" fmla="*/ 11 w 151"/>
                <a:gd name="T63" fmla="*/ 5 h 186"/>
                <a:gd name="T64" fmla="*/ 6 w 151"/>
                <a:gd name="T65" fmla="*/ 8 h 186"/>
                <a:gd name="T66" fmla="*/ 3 w 151"/>
                <a:gd name="T67" fmla="*/ 12 h 186"/>
                <a:gd name="T68" fmla="*/ 1 w 151"/>
                <a:gd name="T69" fmla="*/ 17 h 186"/>
                <a:gd name="T70" fmla="*/ 0 w 151"/>
                <a:gd name="T71" fmla="*/ 21 h 186"/>
                <a:gd name="T72" fmla="*/ 0 w 151"/>
                <a:gd name="T73" fmla="*/ 26 h 186"/>
                <a:gd name="T74" fmla="*/ 0 w 151"/>
                <a:gd name="T75" fmla="*/ 31 h 186"/>
                <a:gd name="T76" fmla="*/ 2 w 151"/>
                <a:gd name="T77" fmla="*/ 35 h 186"/>
                <a:gd name="T78" fmla="*/ 4 w 151"/>
                <a:gd name="T79" fmla="*/ 40 h 186"/>
                <a:gd name="T80" fmla="*/ 105 w 151"/>
                <a:gd name="T81" fmla="*/ 17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186">
                  <a:moveTo>
                    <a:pt x="105" y="177"/>
                  </a:moveTo>
                  <a:lnTo>
                    <a:pt x="105" y="177"/>
                  </a:lnTo>
                  <a:lnTo>
                    <a:pt x="109" y="181"/>
                  </a:lnTo>
                  <a:lnTo>
                    <a:pt x="114" y="184"/>
                  </a:lnTo>
                  <a:lnTo>
                    <a:pt x="120" y="186"/>
                  </a:lnTo>
                  <a:lnTo>
                    <a:pt x="126" y="186"/>
                  </a:lnTo>
                  <a:lnTo>
                    <a:pt x="126" y="186"/>
                  </a:lnTo>
                  <a:lnTo>
                    <a:pt x="130" y="186"/>
                  </a:lnTo>
                  <a:lnTo>
                    <a:pt x="133" y="185"/>
                  </a:lnTo>
                  <a:lnTo>
                    <a:pt x="137" y="184"/>
                  </a:lnTo>
                  <a:lnTo>
                    <a:pt x="141" y="182"/>
                  </a:lnTo>
                  <a:lnTo>
                    <a:pt x="141" y="182"/>
                  </a:lnTo>
                  <a:lnTo>
                    <a:pt x="144" y="178"/>
                  </a:lnTo>
                  <a:lnTo>
                    <a:pt x="147" y="175"/>
                  </a:lnTo>
                  <a:lnTo>
                    <a:pt x="149" y="171"/>
                  </a:lnTo>
                  <a:lnTo>
                    <a:pt x="150" y="165"/>
                  </a:lnTo>
                  <a:lnTo>
                    <a:pt x="150" y="165"/>
                  </a:lnTo>
                  <a:lnTo>
                    <a:pt x="151" y="160"/>
                  </a:lnTo>
                  <a:lnTo>
                    <a:pt x="150" y="156"/>
                  </a:lnTo>
                  <a:lnTo>
                    <a:pt x="148" y="151"/>
                  </a:lnTo>
                  <a:lnTo>
                    <a:pt x="146" y="147"/>
                  </a:lnTo>
                  <a:lnTo>
                    <a:pt x="45" y="10"/>
                  </a:lnTo>
                  <a:lnTo>
                    <a:pt x="45" y="10"/>
                  </a:lnTo>
                  <a:lnTo>
                    <a:pt x="42" y="6"/>
                  </a:lnTo>
                  <a:lnTo>
                    <a:pt x="38" y="4"/>
                  </a:lnTo>
                  <a:lnTo>
                    <a:pt x="34" y="2"/>
                  </a:lnTo>
                  <a:lnTo>
                    <a:pt x="28" y="0"/>
                  </a:lnTo>
                  <a:lnTo>
                    <a:pt x="24" y="0"/>
                  </a:lnTo>
                  <a:lnTo>
                    <a:pt x="19" y="1"/>
                  </a:lnTo>
                  <a:lnTo>
                    <a:pt x="15" y="2"/>
                  </a:lnTo>
                  <a:lnTo>
                    <a:pt x="11" y="5"/>
                  </a:lnTo>
                  <a:lnTo>
                    <a:pt x="11" y="5"/>
                  </a:lnTo>
                  <a:lnTo>
                    <a:pt x="6" y="8"/>
                  </a:lnTo>
                  <a:lnTo>
                    <a:pt x="3" y="12"/>
                  </a:lnTo>
                  <a:lnTo>
                    <a:pt x="1" y="17"/>
                  </a:lnTo>
                  <a:lnTo>
                    <a:pt x="0" y="21"/>
                  </a:lnTo>
                  <a:lnTo>
                    <a:pt x="0" y="26"/>
                  </a:lnTo>
                  <a:lnTo>
                    <a:pt x="0" y="31"/>
                  </a:lnTo>
                  <a:lnTo>
                    <a:pt x="2" y="35"/>
                  </a:lnTo>
                  <a:lnTo>
                    <a:pt x="4" y="40"/>
                  </a:lnTo>
                  <a:lnTo>
                    <a:pt x="105" y="177"/>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6" name="Freeform 59">
              <a:extLst>
                <a:ext uri="{FF2B5EF4-FFF2-40B4-BE49-F238E27FC236}">
                  <a16:creationId xmlns:a16="http://schemas.microsoft.com/office/drawing/2014/main" id="{7CD92002-C3BC-469E-805A-4E85E43286BF}"/>
                </a:ext>
              </a:extLst>
            </p:cNvPr>
            <p:cNvSpPr>
              <a:spLocks/>
            </p:cNvSpPr>
            <p:nvPr/>
          </p:nvSpPr>
          <p:spPr bwMode="auto">
            <a:xfrm>
              <a:off x="1719263" y="5595938"/>
              <a:ext cx="168275" cy="80962"/>
            </a:xfrm>
            <a:custGeom>
              <a:avLst/>
              <a:gdLst>
                <a:gd name="T0" fmla="*/ 195 w 212"/>
                <a:gd name="T1" fmla="*/ 54 h 103"/>
                <a:gd name="T2" fmla="*/ 33 w 212"/>
                <a:gd name="T3" fmla="*/ 1 h 103"/>
                <a:gd name="T4" fmla="*/ 33 w 212"/>
                <a:gd name="T5" fmla="*/ 1 h 103"/>
                <a:gd name="T6" fmla="*/ 25 w 212"/>
                <a:gd name="T7" fmla="*/ 0 h 103"/>
                <a:gd name="T8" fmla="*/ 25 w 212"/>
                <a:gd name="T9" fmla="*/ 0 h 103"/>
                <a:gd name="T10" fmla="*/ 21 w 212"/>
                <a:gd name="T11" fmla="*/ 0 h 103"/>
                <a:gd name="T12" fmla="*/ 18 w 212"/>
                <a:gd name="T13" fmla="*/ 1 h 103"/>
                <a:gd name="T14" fmla="*/ 10 w 212"/>
                <a:gd name="T15" fmla="*/ 5 h 103"/>
                <a:gd name="T16" fmla="*/ 5 w 212"/>
                <a:gd name="T17" fmla="*/ 11 h 103"/>
                <a:gd name="T18" fmla="*/ 3 w 212"/>
                <a:gd name="T19" fmla="*/ 14 h 103"/>
                <a:gd name="T20" fmla="*/ 1 w 212"/>
                <a:gd name="T21" fmla="*/ 17 h 103"/>
                <a:gd name="T22" fmla="*/ 1 w 212"/>
                <a:gd name="T23" fmla="*/ 17 h 103"/>
                <a:gd name="T24" fmla="*/ 0 w 212"/>
                <a:gd name="T25" fmla="*/ 22 h 103"/>
                <a:gd name="T26" fmla="*/ 0 w 212"/>
                <a:gd name="T27" fmla="*/ 28 h 103"/>
                <a:gd name="T28" fmla="*/ 1 w 212"/>
                <a:gd name="T29" fmla="*/ 32 h 103"/>
                <a:gd name="T30" fmla="*/ 3 w 212"/>
                <a:gd name="T31" fmla="*/ 37 h 103"/>
                <a:gd name="T32" fmla="*/ 3 w 212"/>
                <a:gd name="T33" fmla="*/ 37 h 103"/>
                <a:gd name="T34" fmla="*/ 5 w 212"/>
                <a:gd name="T35" fmla="*/ 41 h 103"/>
                <a:gd name="T36" fmla="*/ 9 w 212"/>
                <a:gd name="T37" fmla="*/ 44 h 103"/>
                <a:gd name="T38" fmla="*/ 14 w 212"/>
                <a:gd name="T39" fmla="*/ 48 h 103"/>
                <a:gd name="T40" fmla="*/ 18 w 212"/>
                <a:gd name="T41" fmla="*/ 49 h 103"/>
                <a:gd name="T42" fmla="*/ 179 w 212"/>
                <a:gd name="T43" fmla="*/ 102 h 103"/>
                <a:gd name="T44" fmla="*/ 179 w 212"/>
                <a:gd name="T45" fmla="*/ 102 h 103"/>
                <a:gd name="T46" fmla="*/ 186 w 212"/>
                <a:gd name="T47" fmla="*/ 103 h 103"/>
                <a:gd name="T48" fmla="*/ 186 w 212"/>
                <a:gd name="T49" fmla="*/ 103 h 103"/>
                <a:gd name="T50" fmla="*/ 191 w 212"/>
                <a:gd name="T51" fmla="*/ 102 h 103"/>
                <a:gd name="T52" fmla="*/ 195 w 212"/>
                <a:gd name="T53" fmla="*/ 102 h 103"/>
                <a:gd name="T54" fmla="*/ 201 w 212"/>
                <a:gd name="T55" fmla="*/ 98 h 103"/>
                <a:gd name="T56" fmla="*/ 207 w 212"/>
                <a:gd name="T57" fmla="*/ 93 h 103"/>
                <a:gd name="T58" fmla="*/ 210 w 212"/>
                <a:gd name="T59" fmla="*/ 90 h 103"/>
                <a:gd name="T60" fmla="*/ 211 w 212"/>
                <a:gd name="T61" fmla="*/ 85 h 103"/>
                <a:gd name="T62" fmla="*/ 211 w 212"/>
                <a:gd name="T63" fmla="*/ 85 h 103"/>
                <a:gd name="T64" fmla="*/ 212 w 212"/>
                <a:gd name="T65" fmla="*/ 80 h 103"/>
                <a:gd name="T66" fmla="*/ 212 w 212"/>
                <a:gd name="T67" fmla="*/ 76 h 103"/>
                <a:gd name="T68" fmla="*/ 211 w 212"/>
                <a:gd name="T69" fmla="*/ 71 h 103"/>
                <a:gd name="T70" fmla="*/ 210 w 212"/>
                <a:gd name="T71" fmla="*/ 66 h 103"/>
                <a:gd name="T72" fmla="*/ 206 w 212"/>
                <a:gd name="T73" fmla="*/ 62 h 103"/>
                <a:gd name="T74" fmla="*/ 203 w 212"/>
                <a:gd name="T75" fmla="*/ 59 h 103"/>
                <a:gd name="T76" fmla="*/ 199 w 212"/>
                <a:gd name="T77" fmla="*/ 56 h 103"/>
                <a:gd name="T78" fmla="*/ 195 w 212"/>
                <a:gd name="T79" fmla="*/ 54 h 103"/>
                <a:gd name="T80" fmla="*/ 195 w 212"/>
                <a:gd name="T81"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2" h="103">
                  <a:moveTo>
                    <a:pt x="195" y="54"/>
                  </a:moveTo>
                  <a:lnTo>
                    <a:pt x="33" y="1"/>
                  </a:lnTo>
                  <a:lnTo>
                    <a:pt x="33" y="1"/>
                  </a:lnTo>
                  <a:lnTo>
                    <a:pt x="25" y="0"/>
                  </a:lnTo>
                  <a:lnTo>
                    <a:pt x="25" y="0"/>
                  </a:lnTo>
                  <a:lnTo>
                    <a:pt x="21" y="0"/>
                  </a:lnTo>
                  <a:lnTo>
                    <a:pt x="18" y="1"/>
                  </a:lnTo>
                  <a:lnTo>
                    <a:pt x="10" y="5"/>
                  </a:lnTo>
                  <a:lnTo>
                    <a:pt x="5" y="11"/>
                  </a:lnTo>
                  <a:lnTo>
                    <a:pt x="3" y="14"/>
                  </a:lnTo>
                  <a:lnTo>
                    <a:pt x="1" y="17"/>
                  </a:lnTo>
                  <a:lnTo>
                    <a:pt x="1" y="17"/>
                  </a:lnTo>
                  <a:lnTo>
                    <a:pt x="0" y="22"/>
                  </a:lnTo>
                  <a:lnTo>
                    <a:pt x="0" y="28"/>
                  </a:lnTo>
                  <a:lnTo>
                    <a:pt x="1" y="32"/>
                  </a:lnTo>
                  <a:lnTo>
                    <a:pt x="3" y="37"/>
                  </a:lnTo>
                  <a:lnTo>
                    <a:pt x="3" y="37"/>
                  </a:lnTo>
                  <a:lnTo>
                    <a:pt x="5" y="41"/>
                  </a:lnTo>
                  <a:lnTo>
                    <a:pt x="9" y="44"/>
                  </a:lnTo>
                  <a:lnTo>
                    <a:pt x="14" y="48"/>
                  </a:lnTo>
                  <a:lnTo>
                    <a:pt x="18" y="49"/>
                  </a:lnTo>
                  <a:lnTo>
                    <a:pt x="179" y="102"/>
                  </a:lnTo>
                  <a:lnTo>
                    <a:pt x="179" y="102"/>
                  </a:lnTo>
                  <a:lnTo>
                    <a:pt x="186" y="103"/>
                  </a:lnTo>
                  <a:lnTo>
                    <a:pt x="186" y="103"/>
                  </a:lnTo>
                  <a:lnTo>
                    <a:pt x="191" y="102"/>
                  </a:lnTo>
                  <a:lnTo>
                    <a:pt x="195" y="102"/>
                  </a:lnTo>
                  <a:lnTo>
                    <a:pt x="201" y="98"/>
                  </a:lnTo>
                  <a:lnTo>
                    <a:pt x="207" y="93"/>
                  </a:lnTo>
                  <a:lnTo>
                    <a:pt x="210" y="90"/>
                  </a:lnTo>
                  <a:lnTo>
                    <a:pt x="211" y="85"/>
                  </a:lnTo>
                  <a:lnTo>
                    <a:pt x="211" y="85"/>
                  </a:lnTo>
                  <a:lnTo>
                    <a:pt x="212" y="80"/>
                  </a:lnTo>
                  <a:lnTo>
                    <a:pt x="212" y="76"/>
                  </a:lnTo>
                  <a:lnTo>
                    <a:pt x="211" y="71"/>
                  </a:lnTo>
                  <a:lnTo>
                    <a:pt x="210" y="66"/>
                  </a:lnTo>
                  <a:lnTo>
                    <a:pt x="206" y="62"/>
                  </a:lnTo>
                  <a:lnTo>
                    <a:pt x="203" y="59"/>
                  </a:lnTo>
                  <a:lnTo>
                    <a:pt x="199" y="56"/>
                  </a:lnTo>
                  <a:lnTo>
                    <a:pt x="195" y="54"/>
                  </a:lnTo>
                  <a:lnTo>
                    <a:pt x="195" y="54"/>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7" name="Freeform 60">
              <a:extLst>
                <a:ext uri="{FF2B5EF4-FFF2-40B4-BE49-F238E27FC236}">
                  <a16:creationId xmlns:a16="http://schemas.microsoft.com/office/drawing/2014/main" id="{985305CC-B648-41F9-A29C-8822EC72AE33}"/>
                </a:ext>
              </a:extLst>
            </p:cNvPr>
            <p:cNvSpPr>
              <a:spLocks/>
            </p:cNvSpPr>
            <p:nvPr/>
          </p:nvSpPr>
          <p:spPr bwMode="auto">
            <a:xfrm>
              <a:off x="1716088" y="5826125"/>
              <a:ext cx="168275" cy="80962"/>
            </a:xfrm>
            <a:custGeom>
              <a:avLst/>
              <a:gdLst>
                <a:gd name="T0" fmla="*/ 178 w 211"/>
                <a:gd name="T1" fmla="*/ 1 h 102"/>
                <a:gd name="T2" fmla="*/ 17 w 211"/>
                <a:gd name="T3" fmla="*/ 54 h 102"/>
                <a:gd name="T4" fmla="*/ 17 w 211"/>
                <a:gd name="T5" fmla="*/ 54 h 102"/>
                <a:gd name="T6" fmla="*/ 12 w 211"/>
                <a:gd name="T7" fmla="*/ 55 h 102"/>
                <a:gd name="T8" fmla="*/ 8 w 211"/>
                <a:gd name="T9" fmla="*/ 58 h 102"/>
                <a:gd name="T10" fmla="*/ 5 w 211"/>
                <a:gd name="T11" fmla="*/ 62 h 102"/>
                <a:gd name="T12" fmla="*/ 2 w 211"/>
                <a:gd name="T13" fmla="*/ 66 h 102"/>
                <a:gd name="T14" fmla="*/ 2 w 211"/>
                <a:gd name="T15" fmla="*/ 66 h 102"/>
                <a:gd name="T16" fmla="*/ 1 w 211"/>
                <a:gd name="T17" fmla="*/ 71 h 102"/>
                <a:gd name="T18" fmla="*/ 0 w 211"/>
                <a:gd name="T19" fmla="*/ 75 h 102"/>
                <a:gd name="T20" fmla="*/ 0 w 211"/>
                <a:gd name="T21" fmla="*/ 80 h 102"/>
                <a:gd name="T22" fmla="*/ 1 w 211"/>
                <a:gd name="T23" fmla="*/ 86 h 102"/>
                <a:gd name="T24" fmla="*/ 1 w 211"/>
                <a:gd name="T25" fmla="*/ 86 h 102"/>
                <a:gd name="T26" fmla="*/ 3 w 211"/>
                <a:gd name="T27" fmla="*/ 89 h 102"/>
                <a:gd name="T28" fmla="*/ 4 w 211"/>
                <a:gd name="T29" fmla="*/ 93 h 102"/>
                <a:gd name="T30" fmla="*/ 10 w 211"/>
                <a:gd name="T31" fmla="*/ 98 h 102"/>
                <a:gd name="T32" fmla="*/ 17 w 211"/>
                <a:gd name="T33" fmla="*/ 101 h 102"/>
                <a:gd name="T34" fmla="*/ 21 w 211"/>
                <a:gd name="T35" fmla="*/ 102 h 102"/>
                <a:gd name="T36" fmla="*/ 25 w 211"/>
                <a:gd name="T37" fmla="*/ 102 h 102"/>
                <a:gd name="T38" fmla="*/ 25 w 211"/>
                <a:gd name="T39" fmla="*/ 102 h 102"/>
                <a:gd name="T40" fmla="*/ 32 w 211"/>
                <a:gd name="T41" fmla="*/ 101 h 102"/>
                <a:gd name="T42" fmla="*/ 194 w 211"/>
                <a:gd name="T43" fmla="*/ 49 h 102"/>
                <a:gd name="T44" fmla="*/ 194 w 211"/>
                <a:gd name="T45" fmla="*/ 49 h 102"/>
                <a:gd name="T46" fmla="*/ 199 w 211"/>
                <a:gd name="T47" fmla="*/ 47 h 102"/>
                <a:gd name="T48" fmla="*/ 203 w 211"/>
                <a:gd name="T49" fmla="*/ 44 h 102"/>
                <a:gd name="T50" fmla="*/ 206 w 211"/>
                <a:gd name="T51" fmla="*/ 41 h 102"/>
                <a:gd name="T52" fmla="*/ 208 w 211"/>
                <a:gd name="T53" fmla="*/ 36 h 102"/>
                <a:gd name="T54" fmla="*/ 210 w 211"/>
                <a:gd name="T55" fmla="*/ 32 h 102"/>
                <a:gd name="T56" fmla="*/ 211 w 211"/>
                <a:gd name="T57" fmla="*/ 27 h 102"/>
                <a:gd name="T58" fmla="*/ 211 w 211"/>
                <a:gd name="T59" fmla="*/ 23 h 102"/>
                <a:gd name="T60" fmla="*/ 210 w 211"/>
                <a:gd name="T61" fmla="*/ 18 h 102"/>
                <a:gd name="T62" fmla="*/ 210 w 211"/>
                <a:gd name="T63" fmla="*/ 18 h 102"/>
                <a:gd name="T64" fmla="*/ 208 w 211"/>
                <a:gd name="T65" fmla="*/ 12 h 102"/>
                <a:gd name="T66" fmla="*/ 205 w 211"/>
                <a:gd name="T67" fmla="*/ 9 h 102"/>
                <a:gd name="T68" fmla="*/ 202 w 211"/>
                <a:gd name="T69" fmla="*/ 6 h 102"/>
                <a:gd name="T70" fmla="*/ 198 w 211"/>
                <a:gd name="T71" fmla="*/ 3 h 102"/>
                <a:gd name="T72" fmla="*/ 193 w 211"/>
                <a:gd name="T73" fmla="*/ 1 h 102"/>
                <a:gd name="T74" fmla="*/ 188 w 211"/>
                <a:gd name="T75" fmla="*/ 0 h 102"/>
                <a:gd name="T76" fmla="*/ 183 w 211"/>
                <a:gd name="T77" fmla="*/ 0 h 102"/>
                <a:gd name="T78" fmla="*/ 178 w 211"/>
                <a:gd name="T79" fmla="*/ 1 h 102"/>
                <a:gd name="T80" fmla="*/ 178 w 211"/>
                <a:gd name="T81"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102">
                  <a:moveTo>
                    <a:pt x="178" y="1"/>
                  </a:moveTo>
                  <a:lnTo>
                    <a:pt x="17" y="54"/>
                  </a:lnTo>
                  <a:lnTo>
                    <a:pt x="17" y="54"/>
                  </a:lnTo>
                  <a:lnTo>
                    <a:pt x="12" y="55"/>
                  </a:lnTo>
                  <a:lnTo>
                    <a:pt x="8" y="58"/>
                  </a:lnTo>
                  <a:lnTo>
                    <a:pt x="5" y="62"/>
                  </a:lnTo>
                  <a:lnTo>
                    <a:pt x="2" y="66"/>
                  </a:lnTo>
                  <a:lnTo>
                    <a:pt x="2" y="66"/>
                  </a:lnTo>
                  <a:lnTo>
                    <a:pt x="1" y="71"/>
                  </a:lnTo>
                  <a:lnTo>
                    <a:pt x="0" y="75"/>
                  </a:lnTo>
                  <a:lnTo>
                    <a:pt x="0" y="80"/>
                  </a:lnTo>
                  <a:lnTo>
                    <a:pt x="1" y="86"/>
                  </a:lnTo>
                  <a:lnTo>
                    <a:pt x="1" y="86"/>
                  </a:lnTo>
                  <a:lnTo>
                    <a:pt x="3" y="89"/>
                  </a:lnTo>
                  <a:lnTo>
                    <a:pt x="4" y="93"/>
                  </a:lnTo>
                  <a:lnTo>
                    <a:pt x="10" y="98"/>
                  </a:lnTo>
                  <a:lnTo>
                    <a:pt x="17" y="101"/>
                  </a:lnTo>
                  <a:lnTo>
                    <a:pt x="21" y="102"/>
                  </a:lnTo>
                  <a:lnTo>
                    <a:pt x="25" y="102"/>
                  </a:lnTo>
                  <a:lnTo>
                    <a:pt x="25" y="102"/>
                  </a:lnTo>
                  <a:lnTo>
                    <a:pt x="32" y="101"/>
                  </a:lnTo>
                  <a:lnTo>
                    <a:pt x="194" y="49"/>
                  </a:lnTo>
                  <a:lnTo>
                    <a:pt x="194" y="49"/>
                  </a:lnTo>
                  <a:lnTo>
                    <a:pt x="199" y="47"/>
                  </a:lnTo>
                  <a:lnTo>
                    <a:pt x="203" y="44"/>
                  </a:lnTo>
                  <a:lnTo>
                    <a:pt x="206" y="41"/>
                  </a:lnTo>
                  <a:lnTo>
                    <a:pt x="208" y="36"/>
                  </a:lnTo>
                  <a:lnTo>
                    <a:pt x="210" y="32"/>
                  </a:lnTo>
                  <a:lnTo>
                    <a:pt x="211" y="27"/>
                  </a:lnTo>
                  <a:lnTo>
                    <a:pt x="211" y="23"/>
                  </a:lnTo>
                  <a:lnTo>
                    <a:pt x="210" y="18"/>
                  </a:lnTo>
                  <a:lnTo>
                    <a:pt x="210" y="18"/>
                  </a:lnTo>
                  <a:lnTo>
                    <a:pt x="208" y="12"/>
                  </a:lnTo>
                  <a:lnTo>
                    <a:pt x="205" y="9"/>
                  </a:lnTo>
                  <a:lnTo>
                    <a:pt x="202" y="6"/>
                  </a:lnTo>
                  <a:lnTo>
                    <a:pt x="198" y="3"/>
                  </a:lnTo>
                  <a:lnTo>
                    <a:pt x="193" y="1"/>
                  </a:lnTo>
                  <a:lnTo>
                    <a:pt x="188" y="0"/>
                  </a:lnTo>
                  <a:lnTo>
                    <a:pt x="183" y="0"/>
                  </a:lnTo>
                  <a:lnTo>
                    <a:pt x="178" y="1"/>
                  </a:lnTo>
                  <a:lnTo>
                    <a:pt x="178" y="1"/>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5" name="Group 107">
            <a:extLst>
              <a:ext uri="{FF2B5EF4-FFF2-40B4-BE49-F238E27FC236}">
                <a16:creationId xmlns:a16="http://schemas.microsoft.com/office/drawing/2014/main" id="{5C38A95F-0651-49E3-AA1E-3C51CFA4235C}"/>
              </a:ext>
            </a:extLst>
          </p:cNvPr>
          <p:cNvGrpSpPr>
            <a:grpSpLocks noChangeAspect="1"/>
          </p:cNvGrpSpPr>
          <p:nvPr/>
        </p:nvGrpSpPr>
        <p:grpSpPr>
          <a:xfrm>
            <a:off x="3198008" y="4879041"/>
            <a:ext cx="294875" cy="285619"/>
            <a:chOff x="2046165" y="4792684"/>
            <a:chExt cx="285486" cy="276521"/>
          </a:xfrm>
          <a:solidFill>
            <a:schemeClr val="bg2"/>
          </a:solidFill>
          <a:effectLst/>
        </p:grpSpPr>
        <p:sp>
          <p:nvSpPr>
            <p:cNvPr id="886" name="Freeform 132">
              <a:extLst>
                <a:ext uri="{FF2B5EF4-FFF2-40B4-BE49-F238E27FC236}">
                  <a16:creationId xmlns:a16="http://schemas.microsoft.com/office/drawing/2014/main" id="{CFB9FCE2-ED2B-47D2-A45B-FAA665912A7B}"/>
                </a:ext>
              </a:extLst>
            </p:cNvPr>
            <p:cNvSpPr>
              <a:spLocks noEditPoints="1"/>
            </p:cNvSpPr>
            <p:nvPr/>
          </p:nvSpPr>
          <p:spPr bwMode="auto">
            <a:xfrm>
              <a:off x="2082039" y="4855460"/>
              <a:ext cx="213747" cy="213745"/>
            </a:xfrm>
            <a:custGeom>
              <a:avLst/>
              <a:gdLst>
                <a:gd name="T0" fmla="*/ 82 w 570"/>
                <a:gd name="T1" fmla="*/ 455 h 572"/>
                <a:gd name="T2" fmla="*/ 94 w 570"/>
                <a:gd name="T3" fmla="*/ 428 h 572"/>
                <a:gd name="T4" fmla="*/ 92 w 570"/>
                <a:gd name="T5" fmla="*/ 257 h 572"/>
                <a:gd name="T6" fmla="*/ 109 w 570"/>
                <a:gd name="T7" fmla="*/ 202 h 572"/>
                <a:gd name="T8" fmla="*/ 140 w 570"/>
                <a:gd name="T9" fmla="*/ 155 h 572"/>
                <a:gd name="T10" fmla="*/ 184 w 570"/>
                <a:gd name="T11" fmla="*/ 120 h 572"/>
                <a:gd name="T12" fmla="*/ 216 w 570"/>
                <a:gd name="T13" fmla="*/ 100 h 572"/>
                <a:gd name="T14" fmla="*/ 219 w 570"/>
                <a:gd name="T15" fmla="*/ 80 h 572"/>
                <a:gd name="T16" fmla="*/ 229 w 570"/>
                <a:gd name="T17" fmla="*/ 55 h 572"/>
                <a:gd name="T18" fmla="*/ 247 w 570"/>
                <a:gd name="T19" fmla="*/ 37 h 572"/>
                <a:gd name="T20" fmla="*/ 272 w 570"/>
                <a:gd name="T21" fmla="*/ 27 h 572"/>
                <a:gd name="T22" fmla="*/ 299 w 570"/>
                <a:gd name="T23" fmla="*/ 27 h 572"/>
                <a:gd name="T24" fmla="*/ 324 w 570"/>
                <a:gd name="T25" fmla="*/ 37 h 572"/>
                <a:gd name="T26" fmla="*/ 342 w 570"/>
                <a:gd name="T27" fmla="*/ 55 h 572"/>
                <a:gd name="T28" fmla="*/ 351 w 570"/>
                <a:gd name="T29" fmla="*/ 80 h 572"/>
                <a:gd name="T30" fmla="*/ 355 w 570"/>
                <a:gd name="T31" fmla="*/ 100 h 572"/>
                <a:gd name="T32" fmla="*/ 387 w 570"/>
                <a:gd name="T33" fmla="*/ 120 h 572"/>
                <a:gd name="T34" fmla="*/ 431 w 570"/>
                <a:gd name="T35" fmla="*/ 155 h 572"/>
                <a:gd name="T36" fmla="*/ 463 w 570"/>
                <a:gd name="T37" fmla="*/ 202 h 572"/>
                <a:gd name="T38" fmla="*/ 479 w 570"/>
                <a:gd name="T39" fmla="*/ 256 h 572"/>
                <a:gd name="T40" fmla="*/ 477 w 570"/>
                <a:gd name="T41" fmla="*/ 428 h 572"/>
                <a:gd name="T42" fmla="*/ 489 w 570"/>
                <a:gd name="T43" fmla="*/ 456 h 572"/>
                <a:gd name="T44" fmla="*/ 66 w 570"/>
                <a:gd name="T45" fmla="*/ 470 h 572"/>
                <a:gd name="T46" fmla="*/ 297 w 570"/>
                <a:gd name="T47" fmla="*/ 546 h 572"/>
                <a:gd name="T48" fmla="*/ 257 w 570"/>
                <a:gd name="T49" fmla="*/ 539 h 572"/>
                <a:gd name="T50" fmla="*/ 238 w 570"/>
                <a:gd name="T51" fmla="*/ 507 h 572"/>
                <a:gd name="T52" fmla="*/ 331 w 570"/>
                <a:gd name="T53" fmla="*/ 517 h 572"/>
                <a:gd name="T54" fmla="*/ 320 w 570"/>
                <a:gd name="T55" fmla="*/ 535 h 572"/>
                <a:gd name="T56" fmla="*/ 529 w 570"/>
                <a:gd name="T57" fmla="*/ 456 h 572"/>
                <a:gd name="T58" fmla="*/ 505 w 570"/>
                <a:gd name="T59" fmla="*/ 433 h 572"/>
                <a:gd name="T60" fmla="*/ 507 w 570"/>
                <a:gd name="T61" fmla="*/ 287 h 572"/>
                <a:gd name="T62" fmla="*/ 497 w 570"/>
                <a:gd name="T63" fmla="*/ 223 h 572"/>
                <a:gd name="T64" fmla="*/ 472 w 570"/>
                <a:gd name="T65" fmla="*/ 167 h 572"/>
                <a:gd name="T66" fmla="*/ 431 w 570"/>
                <a:gd name="T67" fmla="*/ 120 h 572"/>
                <a:gd name="T68" fmla="*/ 378 w 570"/>
                <a:gd name="T69" fmla="*/ 85 h 572"/>
                <a:gd name="T70" fmla="*/ 369 w 570"/>
                <a:gd name="T71" fmla="*/ 52 h 572"/>
                <a:gd name="T72" fmla="*/ 348 w 570"/>
                <a:gd name="T73" fmla="*/ 25 h 572"/>
                <a:gd name="T74" fmla="*/ 320 w 570"/>
                <a:gd name="T75" fmla="*/ 7 h 572"/>
                <a:gd name="T76" fmla="*/ 286 w 570"/>
                <a:gd name="T77" fmla="*/ 0 h 572"/>
                <a:gd name="T78" fmla="*/ 252 w 570"/>
                <a:gd name="T79" fmla="*/ 7 h 572"/>
                <a:gd name="T80" fmla="*/ 223 w 570"/>
                <a:gd name="T81" fmla="*/ 25 h 572"/>
                <a:gd name="T82" fmla="*/ 202 w 570"/>
                <a:gd name="T83" fmla="*/ 52 h 572"/>
                <a:gd name="T84" fmla="*/ 193 w 570"/>
                <a:gd name="T85" fmla="*/ 85 h 572"/>
                <a:gd name="T86" fmla="*/ 140 w 570"/>
                <a:gd name="T87" fmla="*/ 120 h 572"/>
                <a:gd name="T88" fmla="*/ 99 w 570"/>
                <a:gd name="T89" fmla="*/ 167 h 572"/>
                <a:gd name="T90" fmla="*/ 73 w 570"/>
                <a:gd name="T91" fmla="*/ 223 h 572"/>
                <a:gd name="T92" fmla="*/ 64 w 570"/>
                <a:gd name="T93" fmla="*/ 287 h 572"/>
                <a:gd name="T94" fmla="*/ 67 w 570"/>
                <a:gd name="T95" fmla="*/ 432 h 572"/>
                <a:gd name="T96" fmla="*/ 42 w 570"/>
                <a:gd name="T97" fmla="*/ 456 h 572"/>
                <a:gd name="T98" fmla="*/ 4 w 570"/>
                <a:gd name="T99" fmla="*/ 474 h 572"/>
                <a:gd name="T100" fmla="*/ 1 w 570"/>
                <a:gd name="T101" fmla="*/ 490 h 572"/>
                <a:gd name="T102" fmla="*/ 210 w 570"/>
                <a:gd name="T103" fmla="*/ 495 h 572"/>
                <a:gd name="T104" fmla="*/ 217 w 570"/>
                <a:gd name="T105" fmla="*/ 528 h 572"/>
                <a:gd name="T106" fmla="*/ 232 w 570"/>
                <a:gd name="T107" fmla="*/ 552 h 572"/>
                <a:gd name="T108" fmla="*/ 255 w 570"/>
                <a:gd name="T109" fmla="*/ 566 h 572"/>
                <a:gd name="T110" fmla="*/ 285 w 570"/>
                <a:gd name="T111" fmla="*/ 572 h 572"/>
                <a:gd name="T112" fmla="*/ 302 w 570"/>
                <a:gd name="T113" fmla="*/ 571 h 572"/>
                <a:gd name="T114" fmla="*/ 328 w 570"/>
                <a:gd name="T115" fmla="*/ 561 h 572"/>
                <a:gd name="T116" fmla="*/ 348 w 570"/>
                <a:gd name="T117" fmla="*/ 540 h 572"/>
                <a:gd name="T118" fmla="*/ 361 w 570"/>
                <a:gd name="T119" fmla="*/ 495 h 572"/>
                <a:gd name="T120" fmla="*/ 569 w 570"/>
                <a:gd name="T121" fmla="*/ 490 h 572"/>
                <a:gd name="T122" fmla="*/ 566 w 570"/>
                <a:gd name="T123" fmla="*/ 47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0" h="572">
                  <a:moveTo>
                    <a:pt x="66" y="470"/>
                  </a:moveTo>
                  <a:lnTo>
                    <a:pt x="71" y="465"/>
                  </a:lnTo>
                  <a:lnTo>
                    <a:pt x="78" y="460"/>
                  </a:lnTo>
                  <a:lnTo>
                    <a:pt x="82" y="455"/>
                  </a:lnTo>
                  <a:lnTo>
                    <a:pt x="86" y="449"/>
                  </a:lnTo>
                  <a:lnTo>
                    <a:pt x="89" y="443"/>
                  </a:lnTo>
                  <a:lnTo>
                    <a:pt x="93" y="435"/>
                  </a:lnTo>
                  <a:lnTo>
                    <a:pt x="94" y="428"/>
                  </a:lnTo>
                  <a:lnTo>
                    <a:pt x="95" y="419"/>
                  </a:lnTo>
                  <a:lnTo>
                    <a:pt x="89" y="287"/>
                  </a:lnTo>
                  <a:lnTo>
                    <a:pt x="91" y="272"/>
                  </a:lnTo>
                  <a:lnTo>
                    <a:pt x="92" y="257"/>
                  </a:lnTo>
                  <a:lnTo>
                    <a:pt x="95" y="243"/>
                  </a:lnTo>
                  <a:lnTo>
                    <a:pt x="98" y="229"/>
                  </a:lnTo>
                  <a:lnTo>
                    <a:pt x="102" y="215"/>
                  </a:lnTo>
                  <a:lnTo>
                    <a:pt x="109" y="202"/>
                  </a:lnTo>
                  <a:lnTo>
                    <a:pt x="115" y="189"/>
                  </a:lnTo>
                  <a:lnTo>
                    <a:pt x="123" y="178"/>
                  </a:lnTo>
                  <a:lnTo>
                    <a:pt x="130" y="166"/>
                  </a:lnTo>
                  <a:lnTo>
                    <a:pt x="140" y="155"/>
                  </a:lnTo>
                  <a:lnTo>
                    <a:pt x="150" y="145"/>
                  </a:lnTo>
                  <a:lnTo>
                    <a:pt x="160" y="136"/>
                  </a:lnTo>
                  <a:lnTo>
                    <a:pt x="172" y="127"/>
                  </a:lnTo>
                  <a:lnTo>
                    <a:pt x="184" y="120"/>
                  </a:lnTo>
                  <a:lnTo>
                    <a:pt x="197" y="112"/>
                  </a:lnTo>
                  <a:lnTo>
                    <a:pt x="210" y="106"/>
                  </a:lnTo>
                  <a:lnTo>
                    <a:pt x="213" y="103"/>
                  </a:lnTo>
                  <a:lnTo>
                    <a:pt x="216" y="100"/>
                  </a:lnTo>
                  <a:lnTo>
                    <a:pt x="217" y="97"/>
                  </a:lnTo>
                  <a:lnTo>
                    <a:pt x="218" y="93"/>
                  </a:lnTo>
                  <a:lnTo>
                    <a:pt x="218" y="86"/>
                  </a:lnTo>
                  <a:lnTo>
                    <a:pt x="219" y="80"/>
                  </a:lnTo>
                  <a:lnTo>
                    <a:pt x="222" y="73"/>
                  </a:lnTo>
                  <a:lnTo>
                    <a:pt x="224" y="67"/>
                  </a:lnTo>
                  <a:lnTo>
                    <a:pt x="226" y="62"/>
                  </a:lnTo>
                  <a:lnTo>
                    <a:pt x="229" y="55"/>
                  </a:lnTo>
                  <a:lnTo>
                    <a:pt x="233" y="50"/>
                  </a:lnTo>
                  <a:lnTo>
                    <a:pt x="238" y="45"/>
                  </a:lnTo>
                  <a:lnTo>
                    <a:pt x="243" y="41"/>
                  </a:lnTo>
                  <a:lnTo>
                    <a:pt x="247" y="37"/>
                  </a:lnTo>
                  <a:lnTo>
                    <a:pt x="254" y="34"/>
                  </a:lnTo>
                  <a:lnTo>
                    <a:pt x="259" y="30"/>
                  </a:lnTo>
                  <a:lnTo>
                    <a:pt x="266" y="28"/>
                  </a:lnTo>
                  <a:lnTo>
                    <a:pt x="272" y="27"/>
                  </a:lnTo>
                  <a:lnTo>
                    <a:pt x="278" y="26"/>
                  </a:lnTo>
                  <a:lnTo>
                    <a:pt x="286" y="25"/>
                  </a:lnTo>
                  <a:lnTo>
                    <a:pt x="292" y="26"/>
                  </a:lnTo>
                  <a:lnTo>
                    <a:pt x="299" y="27"/>
                  </a:lnTo>
                  <a:lnTo>
                    <a:pt x="305" y="28"/>
                  </a:lnTo>
                  <a:lnTo>
                    <a:pt x="312" y="30"/>
                  </a:lnTo>
                  <a:lnTo>
                    <a:pt x="318" y="34"/>
                  </a:lnTo>
                  <a:lnTo>
                    <a:pt x="324" y="37"/>
                  </a:lnTo>
                  <a:lnTo>
                    <a:pt x="329" y="41"/>
                  </a:lnTo>
                  <a:lnTo>
                    <a:pt x="333" y="45"/>
                  </a:lnTo>
                  <a:lnTo>
                    <a:pt x="337" y="50"/>
                  </a:lnTo>
                  <a:lnTo>
                    <a:pt x="342" y="55"/>
                  </a:lnTo>
                  <a:lnTo>
                    <a:pt x="345" y="62"/>
                  </a:lnTo>
                  <a:lnTo>
                    <a:pt x="348" y="67"/>
                  </a:lnTo>
                  <a:lnTo>
                    <a:pt x="350" y="73"/>
                  </a:lnTo>
                  <a:lnTo>
                    <a:pt x="351" y="80"/>
                  </a:lnTo>
                  <a:lnTo>
                    <a:pt x="353" y="86"/>
                  </a:lnTo>
                  <a:lnTo>
                    <a:pt x="353" y="93"/>
                  </a:lnTo>
                  <a:lnTo>
                    <a:pt x="354" y="97"/>
                  </a:lnTo>
                  <a:lnTo>
                    <a:pt x="355" y="100"/>
                  </a:lnTo>
                  <a:lnTo>
                    <a:pt x="358" y="103"/>
                  </a:lnTo>
                  <a:lnTo>
                    <a:pt x="361" y="106"/>
                  </a:lnTo>
                  <a:lnTo>
                    <a:pt x="374" y="112"/>
                  </a:lnTo>
                  <a:lnTo>
                    <a:pt x="387" y="120"/>
                  </a:lnTo>
                  <a:lnTo>
                    <a:pt x="399" y="127"/>
                  </a:lnTo>
                  <a:lnTo>
                    <a:pt x="410" y="136"/>
                  </a:lnTo>
                  <a:lnTo>
                    <a:pt x="421" y="145"/>
                  </a:lnTo>
                  <a:lnTo>
                    <a:pt x="431" y="155"/>
                  </a:lnTo>
                  <a:lnTo>
                    <a:pt x="441" y="166"/>
                  </a:lnTo>
                  <a:lnTo>
                    <a:pt x="449" y="178"/>
                  </a:lnTo>
                  <a:lnTo>
                    <a:pt x="456" y="189"/>
                  </a:lnTo>
                  <a:lnTo>
                    <a:pt x="463" y="202"/>
                  </a:lnTo>
                  <a:lnTo>
                    <a:pt x="468" y="215"/>
                  </a:lnTo>
                  <a:lnTo>
                    <a:pt x="473" y="228"/>
                  </a:lnTo>
                  <a:lnTo>
                    <a:pt x="477" y="242"/>
                  </a:lnTo>
                  <a:lnTo>
                    <a:pt x="479" y="256"/>
                  </a:lnTo>
                  <a:lnTo>
                    <a:pt x="481" y="271"/>
                  </a:lnTo>
                  <a:lnTo>
                    <a:pt x="481" y="285"/>
                  </a:lnTo>
                  <a:lnTo>
                    <a:pt x="476" y="419"/>
                  </a:lnTo>
                  <a:lnTo>
                    <a:pt x="477" y="428"/>
                  </a:lnTo>
                  <a:lnTo>
                    <a:pt x="479" y="435"/>
                  </a:lnTo>
                  <a:lnTo>
                    <a:pt x="481" y="443"/>
                  </a:lnTo>
                  <a:lnTo>
                    <a:pt x="485" y="449"/>
                  </a:lnTo>
                  <a:lnTo>
                    <a:pt x="489" y="456"/>
                  </a:lnTo>
                  <a:lnTo>
                    <a:pt x="494" y="461"/>
                  </a:lnTo>
                  <a:lnTo>
                    <a:pt x="500" y="465"/>
                  </a:lnTo>
                  <a:lnTo>
                    <a:pt x="505" y="470"/>
                  </a:lnTo>
                  <a:lnTo>
                    <a:pt x="66" y="470"/>
                  </a:lnTo>
                  <a:close/>
                  <a:moveTo>
                    <a:pt x="320" y="535"/>
                  </a:moveTo>
                  <a:lnTo>
                    <a:pt x="314" y="540"/>
                  </a:lnTo>
                  <a:lnTo>
                    <a:pt x="305" y="544"/>
                  </a:lnTo>
                  <a:lnTo>
                    <a:pt x="297" y="546"/>
                  </a:lnTo>
                  <a:lnTo>
                    <a:pt x="286" y="547"/>
                  </a:lnTo>
                  <a:lnTo>
                    <a:pt x="275" y="546"/>
                  </a:lnTo>
                  <a:lnTo>
                    <a:pt x="266" y="544"/>
                  </a:lnTo>
                  <a:lnTo>
                    <a:pt x="257" y="539"/>
                  </a:lnTo>
                  <a:lnTo>
                    <a:pt x="251" y="534"/>
                  </a:lnTo>
                  <a:lnTo>
                    <a:pt x="245" y="527"/>
                  </a:lnTo>
                  <a:lnTo>
                    <a:pt x="240" y="518"/>
                  </a:lnTo>
                  <a:lnTo>
                    <a:pt x="238" y="507"/>
                  </a:lnTo>
                  <a:lnTo>
                    <a:pt x="235" y="495"/>
                  </a:lnTo>
                  <a:lnTo>
                    <a:pt x="335" y="495"/>
                  </a:lnTo>
                  <a:lnTo>
                    <a:pt x="334" y="506"/>
                  </a:lnTo>
                  <a:lnTo>
                    <a:pt x="331" y="517"/>
                  </a:lnTo>
                  <a:lnTo>
                    <a:pt x="329" y="521"/>
                  </a:lnTo>
                  <a:lnTo>
                    <a:pt x="327" y="527"/>
                  </a:lnTo>
                  <a:lnTo>
                    <a:pt x="324" y="531"/>
                  </a:lnTo>
                  <a:lnTo>
                    <a:pt x="320" y="535"/>
                  </a:lnTo>
                  <a:close/>
                  <a:moveTo>
                    <a:pt x="563" y="472"/>
                  </a:moveTo>
                  <a:lnTo>
                    <a:pt x="550" y="466"/>
                  </a:lnTo>
                  <a:lnTo>
                    <a:pt x="538" y="461"/>
                  </a:lnTo>
                  <a:lnTo>
                    <a:pt x="529" y="456"/>
                  </a:lnTo>
                  <a:lnTo>
                    <a:pt x="519" y="449"/>
                  </a:lnTo>
                  <a:lnTo>
                    <a:pt x="512" y="444"/>
                  </a:lnTo>
                  <a:lnTo>
                    <a:pt x="507" y="436"/>
                  </a:lnTo>
                  <a:lnTo>
                    <a:pt x="505" y="433"/>
                  </a:lnTo>
                  <a:lnTo>
                    <a:pt x="503" y="429"/>
                  </a:lnTo>
                  <a:lnTo>
                    <a:pt x="502" y="425"/>
                  </a:lnTo>
                  <a:lnTo>
                    <a:pt x="502" y="420"/>
                  </a:lnTo>
                  <a:lnTo>
                    <a:pt x="507" y="287"/>
                  </a:lnTo>
                  <a:lnTo>
                    <a:pt x="506" y="270"/>
                  </a:lnTo>
                  <a:lnTo>
                    <a:pt x="505" y="254"/>
                  </a:lnTo>
                  <a:lnTo>
                    <a:pt x="502" y="239"/>
                  </a:lnTo>
                  <a:lnTo>
                    <a:pt x="497" y="223"/>
                  </a:lnTo>
                  <a:lnTo>
                    <a:pt x="493" y="209"/>
                  </a:lnTo>
                  <a:lnTo>
                    <a:pt x="487" y="194"/>
                  </a:lnTo>
                  <a:lnTo>
                    <a:pt x="480" y="180"/>
                  </a:lnTo>
                  <a:lnTo>
                    <a:pt x="472" y="167"/>
                  </a:lnTo>
                  <a:lnTo>
                    <a:pt x="463" y="154"/>
                  </a:lnTo>
                  <a:lnTo>
                    <a:pt x="453" y="142"/>
                  </a:lnTo>
                  <a:lnTo>
                    <a:pt x="443" y="130"/>
                  </a:lnTo>
                  <a:lnTo>
                    <a:pt x="431" y="120"/>
                  </a:lnTo>
                  <a:lnTo>
                    <a:pt x="419" y="110"/>
                  </a:lnTo>
                  <a:lnTo>
                    <a:pt x="406" y="100"/>
                  </a:lnTo>
                  <a:lnTo>
                    <a:pt x="392" y="93"/>
                  </a:lnTo>
                  <a:lnTo>
                    <a:pt x="378" y="85"/>
                  </a:lnTo>
                  <a:lnTo>
                    <a:pt x="377" y="77"/>
                  </a:lnTo>
                  <a:lnTo>
                    <a:pt x="375" y="68"/>
                  </a:lnTo>
                  <a:lnTo>
                    <a:pt x="372" y="59"/>
                  </a:lnTo>
                  <a:lnTo>
                    <a:pt x="369" y="52"/>
                  </a:lnTo>
                  <a:lnTo>
                    <a:pt x="364" y="44"/>
                  </a:lnTo>
                  <a:lnTo>
                    <a:pt x="360" y="37"/>
                  </a:lnTo>
                  <a:lnTo>
                    <a:pt x="355" y="30"/>
                  </a:lnTo>
                  <a:lnTo>
                    <a:pt x="348" y="25"/>
                  </a:lnTo>
                  <a:lnTo>
                    <a:pt x="342" y="20"/>
                  </a:lnTo>
                  <a:lnTo>
                    <a:pt x="335" y="14"/>
                  </a:lnTo>
                  <a:lnTo>
                    <a:pt x="328" y="10"/>
                  </a:lnTo>
                  <a:lnTo>
                    <a:pt x="320" y="7"/>
                  </a:lnTo>
                  <a:lnTo>
                    <a:pt x="312" y="4"/>
                  </a:lnTo>
                  <a:lnTo>
                    <a:pt x="303" y="1"/>
                  </a:lnTo>
                  <a:lnTo>
                    <a:pt x="295" y="0"/>
                  </a:lnTo>
                  <a:lnTo>
                    <a:pt x="286" y="0"/>
                  </a:lnTo>
                  <a:lnTo>
                    <a:pt x="276" y="0"/>
                  </a:lnTo>
                  <a:lnTo>
                    <a:pt x="268" y="1"/>
                  </a:lnTo>
                  <a:lnTo>
                    <a:pt x="259" y="4"/>
                  </a:lnTo>
                  <a:lnTo>
                    <a:pt x="252" y="7"/>
                  </a:lnTo>
                  <a:lnTo>
                    <a:pt x="243" y="10"/>
                  </a:lnTo>
                  <a:lnTo>
                    <a:pt x="237" y="14"/>
                  </a:lnTo>
                  <a:lnTo>
                    <a:pt x="229" y="20"/>
                  </a:lnTo>
                  <a:lnTo>
                    <a:pt x="223" y="25"/>
                  </a:lnTo>
                  <a:lnTo>
                    <a:pt x="217" y="30"/>
                  </a:lnTo>
                  <a:lnTo>
                    <a:pt x="211" y="37"/>
                  </a:lnTo>
                  <a:lnTo>
                    <a:pt x="206" y="44"/>
                  </a:lnTo>
                  <a:lnTo>
                    <a:pt x="202" y="52"/>
                  </a:lnTo>
                  <a:lnTo>
                    <a:pt x="199" y="59"/>
                  </a:lnTo>
                  <a:lnTo>
                    <a:pt x="196" y="68"/>
                  </a:lnTo>
                  <a:lnTo>
                    <a:pt x="194" y="77"/>
                  </a:lnTo>
                  <a:lnTo>
                    <a:pt x="193" y="85"/>
                  </a:lnTo>
                  <a:lnTo>
                    <a:pt x="179" y="93"/>
                  </a:lnTo>
                  <a:lnTo>
                    <a:pt x="165" y="100"/>
                  </a:lnTo>
                  <a:lnTo>
                    <a:pt x="152" y="110"/>
                  </a:lnTo>
                  <a:lnTo>
                    <a:pt x="140" y="120"/>
                  </a:lnTo>
                  <a:lnTo>
                    <a:pt x="128" y="130"/>
                  </a:lnTo>
                  <a:lnTo>
                    <a:pt x="117" y="142"/>
                  </a:lnTo>
                  <a:lnTo>
                    <a:pt x="108" y="154"/>
                  </a:lnTo>
                  <a:lnTo>
                    <a:pt x="99" y="167"/>
                  </a:lnTo>
                  <a:lnTo>
                    <a:pt x="92" y="180"/>
                  </a:lnTo>
                  <a:lnTo>
                    <a:pt x="84" y="194"/>
                  </a:lnTo>
                  <a:lnTo>
                    <a:pt x="78" y="209"/>
                  </a:lnTo>
                  <a:lnTo>
                    <a:pt x="73" y="223"/>
                  </a:lnTo>
                  <a:lnTo>
                    <a:pt x="69" y="239"/>
                  </a:lnTo>
                  <a:lnTo>
                    <a:pt x="66" y="254"/>
                  </a:lnTo>
                  <a:lnTo>
                    <a:pt x="65" y="270"/>
                  </a:lnTo>
                  <a:lnTo>
                    <a:pt x="64" y="287"/>
                  </a:lnTo>
                  <a:lnTo>
                    <a:pt x="69" y="419"/>
                  </a:lnTo>
                  <a:lnTo>
                    <a:pt x="69" y="423"/>
                  </a:lnTo>
                  <a:lnTo>
                    <a:pt x="68" y="428"/>
                  </a:lnTo>
                  <a:lnTo>
                    <a:pt x="67" y="432"/>
                  </a:lnTo>
                  <a:lnTo>
                    <a:pt x="65" y="436"/>
                  </a:lnTo>
                  <a:lnTo>
                    <a:pt x="59" y="443"/>
                  </a:lnTo>
                  <a:lnTo>
                    <a:pt x="52" y="449"/>
                  </a:lnTo>
                  <a:lnTo>
                    <a:pt x="42" y="456"/>
                  </a:lnTo>
                  <a:lnTo>
                    <a:pt x="33" y="461"/>
                  </a:lnTo>
                  <a:lnTo>
                    <a:pt x="21" y="466"/>
                  </a:lnTo>
                  <a:lnTo>
                    <a:pt x="8" y="472"/>
                  </a:lnTo>
                  <a:lnTo>
                    <a:pt x="4" y="474"/>
                  </a:lnTo>
                  <a:lnTo>
                    <a:pt x="1" y="477"/>
                  </a:lnTo>
                  <a:lnTo>
                    <a:pt x="0" y="481"/>
                  </a:lnTo>
                  <a:lnTo>
                    <a:pt x="0" y="486"/>
                  </a:lnTo>
                  <a:lnTo>
                    <a:pt x="1" y="490"/>
                  </a:lnTo>
                  <a:lnTo>
                    <a:pt x="5" y="493"/>
                  </a:lnTo>
                  <a:lnTo>
                    <a:pt x="8" y="494"/>
                  </a:lnTo>
                  <a:lnTo>
                    <a:pt x="12" y="495"/>
                  </a:lnTo>
                  <a:lnTo>
                    <a:pt x="210" y="495"/>
                  </a:lnTo>
                  <a:lnTo>
                    <a:pt x="211" y="504"/>
                  </a:lnTo>
                  <a:lnTo>
                    <a:pt x="212" y="513"/>
                  </a:lnTo>
                  <a:lnTo>
                    <a:pt x="214" y="520"/>
                  </a:lnTo>
                  <a:lnTo>
                    <a:pt x="217" y="528"/>
                  </a:lnTo>
                  <a:lnTo>
                    <a:pt x="220" y="535"/>
                  </a:lnTo>
                  <a:lnTo>
                    <a:pt x="224" y="540"/>
                  </a:lnTo>
                  <a:lnTo>
                    <a:pt x="228" y="547"/>
                  </a:lnTo>
                  <a:lnTo>
                    <a:pt x="232" y="552"/>
                  </a:lnTo>
                  <a:lnTo>
                    <a:pt x="238" y="557"/>
                  </a:lnTo>
                  <a:lnTo>
                    <a:pt x="243" y="561"/>
                  </a:lnTo>
                  <a:lnTo>
                    <a:pt x="248" y="564"/>
                  </a:lnTo>
                  <a:lnTo>
                    <a:pt x="255" y="566"/>
                  </a:lnTo>
                  <a:lnTo>
                    <a:pt x="262" y="569"/>
                  </a:lnTo>
                  <a:lnTo>
                    <a:pt x="270" y="571"/>
                  </a:lnTo>
                  <a:lnTo>
                    <a:pt x="277" y="572"/>
                  </a:lnTo>
                  <a:lnTo>
                    <a:pt x="285" y="572"/>
                  </a:lnTo>
                  <a:lnTo>
                    <a:pt x="286" y="572"/>
                  </a:lnTo>
                  <a:lnTo>
                    <a:pt x="287" y="572"/>
                  </a:lnTo>
                  <a:lnTo>
                    <a:pt x="295" y="572"/>
                  </a:lnTo>
                  <a:lnTo>
                    <a:pt x="302" y="571"/>
                  </a:lnTo>
                  <a:lnTo>
                    <a:pt x="308" y="569"/>
                  </a:lnTo>
                  <a:lnTo>
                    <a:pt x="315" y="567"/>
                  </a:lnTo>
                  <a:lnTo>
                    <a:pt x="321" y="564"/>
                  </a:lnTo>
                  <a:lnTo>
                    <a:pt x="328" y="561"/>
                  </a:lnTo>
                  <a:lnTo>
                    <a:pt x="333" y="558"/>
                  </a:lnTo>
                  <a:lnTo>
                    <a:pt x="337" y="552"/>
                  </a:lnTo>
                  <a:lnTo>
                    <a:pt x="344" y="547"/>
                  </a:lnTo>
                  <a:lnTo>
                    <a:pt x="348" y="540"/>
                  </a:lnTo>
                  <a:lnTo>
                    <a:pt x="353" y="533"/>
                  </a:lnTo>
                  <a:lnTo>
                    <a:pt x="355" y="525"/>
                  </a:lnTo>
                  <a:lnTo>
                    <a:pt x="359" y="510"/>
                  </a:lnTo>
                  <a:lnTo>
                    <a:pt x="361" y="495"/>
                  </a:lnTo>
                  <a:lnTo>
                    <a:pt x="559" y="495"/>
                  </a:lnTo>
                  <a:lnTo>
                    <a:pt x="563" y="494"/>
                  </a:lnTo>
                  <a:lnTo>
                    <a:pt x="566" y="493"/>
                  </a:lnTo>
                  <a:lnTo>
                    <a:pt x="569" y="490"/>
                  </a:lnTo>
                  <a:lnTo>
                    <a:pt x="570" y="486"/>
                  </a:lnTo>
                  <a:lnTo>
                    <a:pt x="570" y="481"/>
                  </a:lnTo>
                  <a:lnTo>
                    <a:pt x="569" y="477"/>
                  </a:lnTo>
                  <a:lnTo>
                    <a:pt x="566" y="474"/>
                  </a:lnTo>
                  <a:lnTo>
                    <a:pt x="563"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7" name="Freeform 133">
              <a:extLst>
                <a:ext uri="{FF2B5EF4-FFF2-40B4-BE49-F238E27FC236}">
                  <a16:creationId xmlns:a16="http://schemas.microsoft.com/office/drawing/2014/main" id="{21C11CB9-601E-4042-8ADE-102D03341A03}"/>
                </a:ext>
              </a:extLst>
            </p:cNvPr>
            <p:cNvSpPr>
              <a:spLocks/>
            </p:cNvSpPr>
            <p:nvPr/>
          </p:nvSpPr>
          <p:spPr bwMode="auto">
            <a:xfrm>
              <a:off x="2046165" y="4849481"/>
              <a:ext cx="46337" cy="47831"/>
            </a:xfrm>
            <a:custGeom>
              <a:avLst/>
              <a:gdLst>
                <a:gd name="T0" fmla="*/ 121 w 121"/>
                <a:gd name="T1" fmla="*/ 114 h 127"/>
                <a:gd name="T2" fmla="*/ 120 w 121"/>
                <a:gd name="T3" fmla="*/ 110 h 127"/>
                <a:gd name="T4" fmla="*/ 118 w 121"/>
                <a:gd name="T5" fmla="*/ 106 h 127"/>
                <a:gd name="T6" fmla="*/ 114 w 121"/>
                <a:gd name="T7" fmla="*/ 104 h 127"/>
                <a:gd name="T8" fmla="*/ 108 w 121"/>
                <a:gd name="T9" fmla="*/ 102 h 127"/>
                <a:gd name="T10" fmla="*/ 42 w 121"/>
                <a:gd name="T11" fmla="*/ 102 h 127"/>
                <a:gd name="T12" fmla="*/ 118 w 121"/>
                <a:gd name="T13" fmla="*/ 22 h 127"/>
                <a:gd name="T14" fmla="*/ 120 w 121"/>
                <a:gd name="T15" fmla="*/ 19 h 127"/>
                <a:gd name="T16" fmla="*/ 121 w 121"/>
                <a:gd name="T17" fmla="*/ 15 h 127"/>
                <a:gd name="T18" fmla="*/ 121 w 121"/>
                <a:gd name="T19" fmla="*/ 11 h 127"/>
                <a:gd name="T20" fmla="*/ 120 w 121"/>
                <a:gd name="T21" fmla="*/ 8 h 127"/>
                <a:gd name="T22" fmla="*/ 118 w 121"/>
                <a:gd name="T23" fmla="*/ 5 h 127"/>
                <a:gd name="T24" fmla="*/ 116 w 121"/>
                <a:gd name="T25" fmla="*/ 3 h 127"/>
                <a:gd name="T26" fmla="*/ 112 w 121"/>
                <a:gd name="T27" fmla="*/ 0 h 127"/>
                <a:gd name="T28" fmla="*/ 108 w 121"/>
                <a:gd name="T29" fmla="*/ 0 h 127"/>
                <a:gd name="T30" fmla="*/ 13 w 121"/>
                <a:gd name="T31" fmla="*/ 0 h 127"/>
                <a:gd name="T32" fmla="*/ 7 w 121"/>
                <a:gd name="T33" fmla="*/ 2 h 127"/>
                <a:gd name="T34" fmla="*/ 3 w 121"/>
                <a:gd name="T35" fmla="*/ 4 h 127"/>
                <a:gd name="T36" fmla="*/ 1 w 121"/>
                <a:gd name="T37" fmla="*/ 8 h 127"/>
                <a:gd name="T38" fmla="*/ 0 w 121"/>
                <a:gd name="T39" fmla="*/ 13 h 127"/>
                <a:gd name="T40" fmla="*/ 1 w 121"/>
                <a:gd name="T41" fmla="*/ 18 h 127"/>
                <a:gd name="T42" fmla="*/ 3 w 121"/>
                <a:gd name="T43" fmla="*/ 22 h 127"/>
                <a:gd name="T44" fmla="*/ 7 w 121"/>
                <a:gd name="T45" fmla="*/ 25 h 127"/>
                <a:gd name="T46" fmla="*/ 13 w 121"/>
                <a:gd name="T47" fmla="*/ 25 h 127"/>
                <a:gd name="T48" fmla="*/ 79 w 121"/>
                <a:gd name="T49" fmla="*/ 25 h 127"/>
                <a:gd name="T50" fmla="*/ 3 w 121"/>
                <a:gd name="T51" fmla="*/ 107 h 127"/>
                <a:gd name="T52" fmla="*/ 1 w 121"/>
                <a:gd name="T53" fmla="*/ 110 h 127"/>
                <a:gd name="T54" fmla="*/ 0 w 121"/>
                <a:gd name="T55" fmla="*/ 113 h 127"/>
                <a:gd name="T56" fmla="*/ 0 w 121"/>
                <a:gd name="T57" fmla="*/ 116 h 127"/>
                <a:gd name="T58" fmla="*/ 1 w 121"/>
                <a:gd name="T59" fmla="*/ 120 h 127"/>
                <a:gd name="T60" fmla="*/ 3 w 121"/>
                <a:gd name="T61" fmla="*/ 123 h 127"/>
                <a:gd name="T62" fmla="*/ 5 w 121"/>
                <a:gd name="T63" fmla="*/ 126 h 127"/>
                <a:gd name="T64" fmla="*/ 8 w 121"/>
                <a:gd name="T65" fmla="*/ 127 h 127"/>
                <a:gd name="T66" fmla="*/ 13 w 121"/>
                <a:gd name="T67" fmla="*/ 127 h 127"/>
                <a:gd name="T68" fmla="*/ 108 w 121"/>
                <a:gd name="T69" fmla="*/ 127 h 127"/>
                <a:gd name="T70" fmla="*/ 114 w 121"/>
                <a:gd name="T71" fmla="*/ 126 h 127"/>
                <a:gd name="T72" fmla="*/ 118 w 121"/>
                <a:gd name="T73" fmla="*/ 124 h 127"/>
                <a:gd name="T74" fmla="*/ 120 w 121"/>
                <a:gd name="T75" fmla="*/ 120 h 127"/>
                <a:gd name="T76" fmla="*/ 121 w 121"/>
                <a:gd name="T77" fmla="*/ 11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27">
                  <a:moveTo>
                    <a:pt x="121" y="114"/>
                  </a:moveTo>
                  <a:lnTo>
                    <a:pt x="120" y="110"/>
                  </a:lnTo>
                  <a:lnTo>
                    <a:pt x="118" y="106"/>
                  </a:lnTo>
                  <a:lnTo>
                    <a:pt x="114" y="104"/>
                  </a:lnTo>
                  <a:lnTo>
                    <a:pt x="108" y="102"/>
                  </a:lnTo>
                  <a:lnTo>
                    <a:pt x="42" y="102"/>
                  </a:lnTo>
                  <a:lnTo>
                    <a:pt x="118" y="22"/>
                  </a:lnTo>
                  <a:lnTo>
                    <a:pt x="120" y="19"/>
                  </a:lnTo>
                  <a:lnTo>
                    <a:pt x="121" y="15"/>
                  </a:lnTo>
                  <a:lnTo>
                    <a:pt x="121" y="11"/>
                  </a:lnTo>
                  <a:lnTo>
                    <a:pt x="120" y="8"/>
                  </a:lnTo>
                  <a:lnTo>
                    <a:pt x="118" y="5"/>
                  </a:lnTo>
                  <a:lnTo>
                    <a:pt x="116" y="3"/>
                  </a:lnTo>
                  <a:lnTo>
                    <a:pt x="112" y="0"/>
                  </a:lnTo>
                  <a:lnTo>
                    <a:pt x="108" y="0"/>
                  </a:lnTo>
                  <a:lnTo>
                    <a:pt x="13" y="0"/>
                  </a:lnTo>
                  <a:lnTo>
                    <a:pt x="7" y="2"/>
                  </a:lnTo>
                  <a:lnTo>
                    <a:pt x="3" y="4"/>
                  </a:lnTo>
                  <a:lnTo>
                    <a:pt x="1" y="8"/>
                  </a:lnTo>
                  <a:lnTo>
                    <a:pt x="0" y="13"/>
                  </a:lnTo>
                  <a:lnTo>
                    <a:pt x="1" y="18"/>
                  </a:lnTo>
                  <a:lnTo>
                    <a:pt x="3" y="22"/>
                  </a:lnTo>
                  <a:lnTo>
                    <a:pt x="7" y="25"/>
                  </a:lnTo>
                  <a:lnTo>
                    <a:pt x="13" y="25"/>
                  </a:lnTo>
                  <a:lnTo>
                    <a:pt x="79" y="25"/>
                  </a:lnTo>
                  <a:lnTo>
                    <a:pt x="3" y="107"/>
                  </a:lnTo>
                  <a:lnTo>
                    <a:pt x="1" y="110"/>
                  </a:lnTo>
                  <a:lnTo>
                    <a:pt x="0" y="113"/>
                  </a:lnTo>
                  <a:lnTo>
                    <a:pt x="0" y="116"/>
                  </a:lnTo>
                  <a:lnTo>
                    <a:pt x="1" y="120"/>
                  </a:lnTo>
                  <a:lnTo>
                    <a:pt x="3" y="123"/>
                  </a:lnTo>
                  <a:lnTo>
                    <a:pt x="5" y="126"/>
                  </a:lnTo>
                  <a:lnTo>
                    <a:pt x="8" y="127"/>
                  </a:lnTo>
                  <a:lnTo>
                    <a:pt x="13" y="127"/>
                  </a:lnTo>
                  <a:lnTo>
                    <a:pt x="108" y="127"/>
                  </a:lnTo>
                  <a:lnTo>
                    <a:pt x="114" y="126"/>
                  </a:lnTo>
                  <a:lnTo>
                    <a:pt x="118" y="124"/>
                  </a:lnTo>
                  <a:lnTo>
                    <a:pt x="120" y="120"/>
                  </a:lnTo>
                  <a:lnTo>
                    <a:pt x="12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8" name="Freeform 134">
              <a:extLst>
                <a:ext uri="{FF2B5EF4-FFF2-40B4-BE49-F238E27FC236}">
                  <a16:creationId xmlns:a16="http://schemas.microsoft.com/office/drawing/2014/main" id="{F61700DF-69DC-4B5A-A127-2429765D5EF2}"/>
                </a:ext>
              </a:extLst>
            </p:cNvPr>
            <p:cNvSpPr>
              <a:spLocks/>
            </p:cNvSpPr>
            <p:nvPr/>
          </p:nvSpPr>
          <p:spPr bwMode="auto">
            <a:xfrm>
              <a:off x="2153786" y="4792684"/>
              <a:ext cx="34379" cy="37369"/>
            </a:xfrm>
            <a:custGeom>
              <a:avLst/>
              <a:gdLst>
                <a:gd name="T0" fmla="*/ 12 w 90"/>
                <a:gd name="T1" fmla="*/ 26 h 102"/>
                <a:gd name="T2" fmla="*/ 49 w 90"/>
                <a:gd name="T3" fmla="*/ 26 h 102"/>
                <a:gd name="T4" fmla="*/ 3 w 90"/>
                <a:gd name="T5" fmla="*/ 81 h 102"/>
                <a:gd name="T6" fmla="*/ 1 w 90"/>
                <a:gd name="T7" fmla="*/ 85 h 102"/>
                <a:gd name="T8" fmla="*/ 0 w 90"/>
                <a:gd name="T9" fmla="*/ 88 h 102"/>
                <a:gd name="T10" fmla="*/ 0 w 90"/>
                <a:gd name="T11" fmla="*/ 92 h 102"/>
                <a:gd name="T12" fmla="*/ 1 w 90"/>
                <a:gd name="T13" fmla="*/ 95 h 102"/>
                <a:gd name="T14" fmla="*/ 3 w 90"/>
                <a:gd name="T15" fmla="*/ 99 h 102"/>
                <a:gd name="T16" fmla="*/ 5 w 90"/>
                <a:gd name="T17" fmla="*/ 101 h 102"/>
                <a:gd name="T18" fmla="*/ 8 w 90"/>
                <a:gd name="T19" fmla="*/ 102 h 102"/>
                <a:gd name="T20" fmla="*/ 12 w 90"/>
                <a:gd name="T21" fmla="*/ 102 h 102"/>
                <a:gd name="T22" fmla="*/ 77 w 90"/>
                <a:gd name="T23" fmla="*/ 102 h 102"/>
                <a:gd name="T24" fmla="*/ 81 w 90"/>
                <a:gd name="T25" fmla="*/ 101 h 102"/>
                <a:gd name="T26" fmla="*/ 85 w 90"/>
                <a:gd name="T27" fmla="*/ 99 h 102"/>
                <a:gd name="T28" fmla="*/ 89 w 90"/>
                <a:gd name="T29" fmla="*/ 94 h 102"/>
                <a:gd name="T30" fmla="*/ 90 w 90"/>
                <a:gd name="T31" fmla="*/ 89 h 102"/>
                <a:gd name="T32" fmla="*/ 89 w 90"/>
                <a:gd name="T33" fmla="*/ 85 h 102"/>
                <a:gd name="T34" fmla="*/ 85 w 90"/>
                <a:gd name="T35" fmla="*/ 80 h 102"/>
                <a:gd name="T36" fmla="*/ 81 w 90"/>
                <a:gd name="T37" fmla="*/ 78 h 102"/>
                <a:gd name="T38" fmla="*/ 77 w 90"/>
                <a:gd name="T39" fmla="*/ 77 h 102"/>
                <a:gd name="T40" fmla="*/ 39 w 90"/>
                <a:gd name="T41" fmla="*/ 77 h 102"/>
                <a:gd name="T42" fmla="*/ 87 w 90"/>
                <a:gd name="T43" fmla="*/ 22 h 102"/>
                <a:gd name="T44" fmla="*/ 89 w 90"/>
                <a:gd name="T45" fmla="*/ 19 h 102"/>
                <a:gd name="T46" fmla="*/ 89 w 90"/>
                <a:gd name="T47" fmla="*/ 16 h 102"/>
                <a:gd name="T48" fmla="*/ 89 w 90"/>
                <a:gd name="T49" fmla="*/ 12 h 102"/>
                <a:gd name="T50" fmla="*/ 88 w 90"/>
                <a:gd name="T51" fmla="*/ 8 h 102"/>
                <a:gd name="T52" fmla="*/ 87 w 90"/>
                <a:gd name="T53" fmla="*/ 5 h 102"/>
                <a:gd name="T54" fmla="*/ 83 w 90"/>
                <a:gd name="T55" fmla="*/ 3 h 102"/>
                <a:gd name="T56" fmla="*/ 80 w 90"/>
                <a:gd name="T57" fmla="*/ 1 h 102"/>
                <a:gd name="T58" fmla="*/ 77 w 90"/>
                <a:gd name="T59" fmla="*/ 0 h 102"/>
                <a:gd name="T60" fmla="*/ 12 w 90"/>
                <a:gd name="T61" fmla="*/ 0 h 102"/>
                <a:gd name="T62" fmla="*/ 7 w 90"/>
                <a:gd name="T63" fmla="*/ 1 h 102"/>
                <a:gd name="T64" fmla="*/ 3 w 90"/>
                <a:gd name="T65" fmla="*/ 4 h 102"/>
                <a:gd name="T66" fmla="*/ 1 w 90"/>
                <a:gd name="T67" fmla="*/ 8 h 102"/>
                <a:gd name="T68" fmla="*/ 0 w 90"/>
                <a:gd name="T69" fmla="*/ 13 h 102"/>
                <a:gd name="T70" fmla="*/ 1 w 90"/>
                <a:gd name="T71" fmla="*/ 18 h 102"/>
                <a:gd name="T72" fmla="*/ 3 w 90"/>
                <a:gd name="T73" fmla="*/ 22 h 102"/>
                <a:gd name="T74" fmla="*/ 7 w 90"/>
                <a:gd name="T75" fmla="*/ 25 h 102"/>
                <a:gd name="T76" fmla="*/ 12 w 90"/>
                <a:gd name="T77" fmla="*/ 2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 h="102">
                  <a:moveTo>
                    <a:pt x="12" y="26"/>
                  </a:moveTo>
                  <a:lnTo>
                    <a:pt x="49" y="26"/>
                  </a:lnTo>
                  <a:lnTo>
                    <a:pt x="3" y="81"/>
                  </a:lnTo>
                  <a:lnTo>
                    <a:pt x="1" y="85"/>
                  </a:lnTo>
                  <a:lnTo>
                    <a:pt x="0" y="88"/>
                  </a:lnTo>
                  <a:lnTo>
                    <a:pt x="0" y="92"/>
                  </a:lnTo>
                  <a:lnTo>
                    <a:pt x="1" y="95"/>
                  </a:lnTo>
                  <a:lnTo>
                    <a:pt x="3" y="99"/>
                  </a:lnTo>
                  <a:lnTo>
                    <a:pt x="5" y="101"/>
                  </a:lnTo>
                  <a:lnTo>
                    <a:pt x="8" y="102"/>
                  </a:lnTo>
                  <a:lnTo>
                    <a:pt x="12" y="102"/>
                  </a:lnTo>
                  <a:lnTo>
                    <a:pt x="77" y="102"/>
                  </a:lnTo>
                  <a:lnTo>
                    <a:pt x="81" y="101"/>
                  </a:lnTo>
                  <a:lnTo>
                    <a:pt x="85" y="99"/>
                  </a:lnTo>
                  <a:lnTo>
                    <a:pt x="89" y="94"/>
                  </a:lnTo>
                  <a:lnTo>
                    <a:pt x="90" y="89"/>
                  </a:lnTo>
                  <a:lnTo>
                    <a:pt x="89" y="85"/>
                  </a:lnTo>
                  <a:lnTo>
                    <a:pt x="85" y="80"/>
                  </a:lnTo>
                  <a:lnTo>
                    <a:pt x="81" y="78"/>
                  </a:lnTo>
                  <a:lnTo>
                    <a:pt x="77" y="77"/>
                  </a:lnTo>
                  <a:lnTo>
                    <a:pt x="39" y="77"/>
                  </a:lnTo>
                  <a:lnTo>
                    <a:pt x="87" y="22"/>
                  </a:lnTo>
                  <a:lnTo>
                    <a:pt x="89" y="19"/>
                  </a:lnTo>
                  <a:lnTo>
                    <a:pt x="89" y="16"/>
                  </a:lnTo>
                  <a:lnTo>
                    <a:pt x="89" y="12"/>
                  </a:lnTo>
                  <a:lnTo>
                    <a:pt x="88" y="8"/>
                  </a:lnTo>
                  <a:lnTo>
                    <a:pt x="87" y="5"/>
                  </a:lnTo>
                  <a:lnTo>
                    <a:pt x="83" y="3"/>
                  </a:lnTo>
                  <a:lnTo>
                    <a:pt x="80" y="1"/>
                  </a:lnTo>
                  <a:lnTo>
                    <a:pt x="77" y="0"/>
                  </a:lnTo>
                  <a:lnTo>
                    <a:pt x="12" y="0"/>
                  </a:lnTo>
                  <a:lnTo>
                    <a:pt x="7" y="1"/>
                  </a:lnTo>
                  <a:lnTo>
                    <a:pt x="3" y="4"/>
                  </a:lnTo>
                  <a:lnTo>
                    <a:pt x="1" y="8"/>
                  </a:lnTo>
                  <a:lnTo>
                    <a:pt x="0" y="13"/>
                  </a:lnTo>
                  <a:lnTo>
                    <a:pt x="1" y="18"/>
                  </a:lnTo>
                  <a:lnTo>
                    <a:pt x="3" y="22"/>
                  </a:lnTo>
                  <a:lnTo>
                    <a:pt x="7" y="25"/>
                  </a:ln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9" name="Freeform 135">
              <a:extLst>
                <a:ext uri="{FF2B5EF4-FFF2-40B4-BE49-F238E27FC236}">
                  <a16:creationId xmlns:a16="http://schemas.microsoft.com/office/drawing/2014/main" id="{808C9BC3-351D-4438-A0EB-6DBD77EBD8E2}"/>
                </a:ext>
              </a:extLst>
            </p:cNvPr>
            <p:cNvSpPr>
              <a:spLocks/>
            </p:cNvSpPr>
            <p:nvPr/>
          </p:nvSpPr>
          <p:spPr bwMode="auto">
            <a:xfrm>
              <a:off x="2274851" y="4821100"/>
              <a:ext cx="56800" cy="56800"/>
            </a:xfrm>
            <a:custGeom>
              <a:avLst/>
              <a:gdLst>
                <a:gd name="T0" fmla="*/ 141 w 153"/>
                <a:gd name="T1" fmla="*/ 127 h 153"/>
                <a:gd name="T2" fmla="*/ 44 w 153"/>
                <a:gd name="T3" fmla="*/ 127 h 153"/>
                <a:gd name="T4" fmla="*/ 150 w 153"/>
                <a:gd name="T5" fmla="*/ 22 h 153"/>
                <a:gd name="T6" fmla="*/ 152 w 153"/>
                <a:gd name="T7" fmla="*/ 18 h 153"/>
                <a:gd name="T8" fmla="*/ 153 w 153"/>
                <a:gd name="T9" fmla="*/ 15 h 153"/>
                <a:gd name="T10" fmla="*/ 153 w 153"/>
                <a:gd name="T11" fmla="*/ 12 h 153"/>
                <a:gd name="T12" fmla="*/ 152 w 153"/>
                <a:gd name="T13" fmla="*/ 9 h 153"/>
                <a:gd name="T14" fmla="*/ 151 w 153"/>
                <a:gd name="T15" fmla="*/ 6 h 153"/>
                <a:gd name="T16" fmla="*/ 148 w 153"/>
                <a:gd name="T17" fmla="*/ 2 h 153"/>
                <a:gd name="T18" fmla="*/ 144 w 153"/>
                <a:gd name="T19" fmla="*/ 0 h 153"/>
                <a:gd name="T20" fmla="*/ 141 w 153"/>
                <a:gd name="T21" fmla="*/ 0 h 153"/>
                <a:gd name="T22" fmla="*/ 12 w 153"/>
                <a:gd name="T23" fmla="*/ 0 h 153"/>
                <a:gd name="T24" fmla="*/ 7 w 153"/>
                <a:gd name="T25" fmla="*/ 1 h 153"/>
                <a:gd name="T26" fmla="*/ 3 w 153"/>
                <a:gd name="T27" fmla="*/ 3 h 153"/>
                <a:gd name="T28" fmla="*/ 1 w 153"/>
                <a:gd name="T29" fmla="*/ 8 h 153"/>
                <a:gd name="T30" fmla="*/ 0 w 153"/>
                <a:gd name="T31" fmla="*/ 12 h 153"/>
                <a:gd name="T32" fmla="*/ 1 w 153"/>
                <a:gd name="T33" fmla="*/ 17 h 153"/>
                <a:gd name="T34" fmla="*/ 3 w 153"/>
                <a:gd name="T35" fmla="*/ 22 h 153"/>
                <a:gd name="T36" fmla="*/ 7 w 153"/>
                <a:gd name="T37" fmla="*/ 24 h 153"/>
                <a:gd name="T38" fmla="*/ 12 w 153"/>
                <a:gd name="T39" fmla="*/ 25 h 153"/>
                <a:gd name="T40" fmla="*/ 110 w 153"/>
                <a:gd name="T41" fmla="*/ 25 h 153"/>
                <a:gd name="T42" fmla="*/ 4 w 153"/>
                <a:gd name="T43" fmla="*/ 131 h 153"/>
                <a:gd name="T44" fmla="*/ 1 w 153"/>
                <a:gd name="T45" fmla="*/ 134 h 153"/>
                <a:gd name="T46" fmla="*/ 0 w 153"/>
                <a:gd name="T47" fmla="*/ 138 h 153"/>
                <a:gd name="T48" fmla="*/ 0 w 153"/>
                <a:gd name="T49" fmla="*/ 141 h 153"/>
                <a:gd name="T50" fmla="*/ 1 w 153"/>
                <a:gd name="T51" fmla="*/ 145 h 153"/>
                <a:gd name="T52" fmla="*/ 3 w 153"/>
                <a:gd name="T53" fmla="*/ 148 h 153"/>
                <a:gd name="T54" fmla="*/ 5 w 153"/>
                <a:gd name="T55" fmla="*/ 151 h 153"/>
                <a:gd name="T56" fmla="*/ 8 w 153"/>
                <a:gd name="T57" fmla="*/ 152 h 153"/>
                <a:gd name="T58" fmla="*/ 12 w 153"/>
                <a:gd name="T59" fmla="*/ 153 h 153"/>
                <a:gd name="T60" fmla="*/ 141 w 153"/>
                <a:gd name="T61" fmla="*/ 153 h 153"/>
                <a:gd name="T62" fmla="*/ 146 w 153"/>
                <a:gd name="T63" fmla="*/ 152 h 153"/>
                <a:gd name="T64" fmla="*/ 150 w 153"/>
                <a:gd name="T65" fmla="*/ 149 h 153"/>
                <a:gd name="T66" fmla="*/ 152 w 153"/>
                <a:gd name="T67" fmla="*/ 145 h 153"/>
                <a:gd name="T68" fmla="*/ 153 w 153"/>
                <a:gd name="T69" fmla="*/ 140 h 153"/>
                <a:gd name="T70" fmla="*/ 152 w 153"/>
                <a:gd name="T71" fmla="*/ 135 h 153"/>
                <a:gd name="T72" fmla="*/ 150 w 153"/>
                <a:gd name="T73" fmla="*/ 131 h 153"/>
                <a:gd name="T74" fmla="*/ 146 w 153"/>
                <a:gd name="T75" fmla="*/ 128 h 153"/>
                <a:gd name="T76" fmla="*/ 141 w 153"/>
                <a:gd name="T77" fmla="*/ 12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3" h="153">
                  <a:moveTo>
                    <a:pt x="141" y="127"/>
                  </a:moveTo>
                  <a:lnTo>
                    <a:pt x="44" y="127"/>
                  </a:lnTo>
                  <a:lnTo>
                    <a:pt x="150" y="22"/>
                  </a:lnTo>
                  <a:lnTo>
                    <a:pt x="152" y="18"/>
                  </a:lnTo>
                  <a:lnTo>
                    <a:pt x="153" y="15"/>
                  </a:lnTo>
                  <a:lnTo>
                    <a:pt x="153" y="12"/>
                  </a:lnTo>
                  <a:lnTo>
                    <a:pt x="152" y="9"/>
                  </a:lnTo>
                  <a:lnTo>
                    <a:pt x="151" y="6"/>
                  </a:lnTo>
                  <a:lnTo>
                    <a:pt x="148" y="2"/>
                  </a:lnTo>
                  <a:lnTo>
                    <a:pt x="144" y="0"/>
                  </a:lnTo>
                  <a:lnTo>
                    <a:pt x="141" y="0"/>
                  </a:lnTo>
                  <a:lnTo>
                    <a:pt x="12" y="0"/>
                  </a:lnTo>
                  <a:lnTo>
                    <a:pt x="7" y="1"/>
                  </a:lnTo>
                  <a:lnTo>
                    <a:pt x="3" y="3"/>
                  </a:lnTo>
                  <a:lnTo>
                    <a:pt x="1" y="8"/>
                  </a:lnTo>
                  <a:lnTo>
                    <a:pt x="0" y="12"/>
                  </a:lnTo>
                  <a:lnTo>
                    <a:pt x="1" y="17"/>
                  </a:lnTo>
                  <a:lnTo>
                    <a:pt x="3" y="22"/>
                  </a:lnTo>
                  <a:lnTo>
                    <a:pt x="7" y="24"/>
                  </a:lnTo>
                  <a:lnTo>
                    <a:pt x="12" y="25"/>
                  </a:lnTo>
                  <a:lnTo>
                    <a:pt x="110" y="25"/>
                  </a:lnTo>
                  <a:lnTo>
                    <a:pt x="4" y="131"/>
                  </a:lnTo>
                  <a:lnTo>
                    <a:pt x="1" y="134"/>
                  </a:lnTo>
                  <a:lnTo>
                    <a:pt x="0" y="138"/>
                  </a:lnTo>
                  <a:lnTo>
                    <a:pt x="0" y="141"/>
                  </a:lnTo>
                  <a:lnTo>
                    <a:pt x="1" y="145"/>
                  </a:lnTo>
                  <a:lnTo>
                    <a:pt x="3" y="148"/>
                  </a:lnTo>
                  <a:lnTo>
                    <a:pt x="5" y="151"/>
                  </a:lnTo>
                  <a:lnTo>
                    <a:pt x="8" y="152"/>
                  </a:lnTo>
                  <a:lnTo>
                    <a:pt x="12" y="153"/>
                  </a:lnTo>
                  <a:lnTo>
                    <a:pt x="141" y="153"/>
                  </a:lnTo>
                  <a:lnTo>
                    <a:pt x="146" y="152"/>
                  </a:lnTo>
                  <a:lnTo>
                    <a:pt x="150" y="149"/>
                  </a:lnTo>
                  <a:lnTo>
                    <a:pt x="152" y="145"/>
                  </a:lnTo>
                  <a:lnTo>
                    <a:pt x="153" y="140"/>
                  </a:lnTo>
                  <a:lnTo>
                    <a:pt x="152" y="135"/>
                  </a:lnTo>
                  <a:lnTo>
                    <a:pt x="150" y="131"/>
                  </a:lnTo>
                  <a:lnTo>
                    <a:pt x="146" y="128"/>
                  </a:lnTo>
                  <a:lnTo>
                    <a:pt x="141"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32" name="Freeform 72">
            <a:extLst>
              <a:ext uri="{FF2B5EF4-FFF2-40B4-BE49-F238E27FC236}">
                <a16:creationId xmlns:a16="http://schemas.microsoft.com/office/drawing/2014/main" id="{82823FC1-A2D5-4C8B-B488-11C03B513BA4}"/>
              </a:ext>
            </a:extLst>
          </p:cNvPr>
          <p:cNvSpPr>
            <a:spLocks noChangeAspect="1" noEditPoints="1"/>
          </p:cNvSpPr>
          <p:nvPr/>
        </p:nvSpPr>
        <p:spPr bwMode="auto">
          <a:xfrm>
            <a:off x="3196922" y="3844938"/>
            <a:ext cx="297046" cy="199681"/>
          </a:xfrm>
          <a:custGeom>
            <a:avLst/>
            <a:gdLst>
              <a:gd name="T0" fmla="*/ 812 w 902"/>
              <a:gd name="T1" fmla="*/ 30 h 601"/>
              <a:gd name="T2" fmla="*/ 511 w 902"/>
              <a:gd name="T3" fmla="*/ 571 h 601"/>
              <a:gd name="T4" fmla="*/ 602 w 902"/>
              <a:gd name="T5" fmla="*/ 571 h 601"/>
              <a:gd name="T6" fmla="*/ 301 w 902"/>
              <a:gd name="T7" fmla="*/ 210 h 601"/>
              <a:gd name="T8" fmla="*/ 301 w 902"/>
              <a:gd name="T9" fmla="*/ 571 h 601"/>
              <a:gd name="T10" fmla="*/ 181 w 902"/>
              <a:gd name="T11" fmla="*/ 421 h 601"/>
              <a:gd name="T12" fmla="*/ 887 w 902"/>
              <a:gd name="T13" fmla="*/ 571 h 601"/>
              <a:gd name="T14" fmla="*/ 842 w 902"/>
              <a:gd name="T15" fmla="*/ 12 h 601"/>
              <a:gd name="T16" fmla="*/ 838 w 902"/>
              <a:gd name="T17" fmla="*/ 5 h 601"/>
              <a:gd name="T18" fmla="*/ 830 w 902"/>
              <a:gd name="T19" fmla="*/ 0 h 601"/>
              <a:gd name="T20" fmla="*/ 704 w 902"/>
              <a:gd name="T21" fmla="*/ 0 h 601"/>
              <a:gd name="T22" fmla="*/ 696 w 902"/>
              <a:gd name="T23" fmla="*/ 5 h 601"/>
              <a:gd name="T24" fmla="*/ 692 w 902"/>
              <a:gd name="T25" fmla="*/ 12 h 601"/>
              <a:gd name="T26" fmla="*/ 632 w 902"/>
              <a:gd name="T27" fmla="*/ 571 h 601"/>
              <a:gd name="T28" fmla="*/ 631 w 902"/>
              <a:gd name="T29" fmla="*/ 280 h 601"/>
              <a:gd name="T30" fmla="*/ 626 w 902"/>
              <a:gd name="T31" fmla="*/ 274 h 601"/>
              <a:gd name="T32" fmla="*/ 617 w 902"/>
              <a:gd name="T33" fmla="*/ 270 h 601"/>
              <a:gd name="T34" fmla="*/ 491 w 902"/>
              <a:gd name="T35" fmla="*/ 271 h 601"/>
              <a:gd name="T36" fmla="*/ 484 w 902"/>
              <a:gd name="T37" fmla="*/ 278 h 601"/>
              <a:gd name="T38" fmla="*/ 481 w 902"/>
              <a:gd name="T39" fmla="*/ 285 h 601"/>
              <a:gd name="T40" fmla="*/ 421 w 902"/>
              <a:gd name="T41" fmla="*/ 195 h 601"/>
              <a:gd name="T42" fmla="*/ 419 w 902"/>
              <a:gd name="T43" fmla="*/ 187 h 601"/>
              <a:gd name="T44" fmla="*/ 412 w 902"/>
              <a:gd name="T45" fmla="*/ 181 h 601"/>
              <a:gd name="T46" fmla="*/ 286 w 902"/>
              <a:gd name="T47" fmla="*/ 180 h 601"/>
              <a:gd name="T48" fmla="*/ 277 w 902"/>
              <a:gd name="T49" fmla="*/ 184 h 601"/>
              <a:gd name="T50" fmla="*/ 272 w 902"/>
              <a:gd name="T51" fmla="*/ 190 h 601"/>
              <a:gd name="T52" fmla="*/ 271 w 902"/>
              <a:gd name="T53" fmla="*/ 571 h 601"/>
              <a:gd name="T54" fmla="*/ 210 w 902"/>
              <a:gd name="T55" fmla="*/ 403 h 601"/>
              <a:gd name="T56" fmla="*/ 207 w 902"/>
              <a:gd name="T57" fmla="*/ 396 h 601"/>
              <a:gd name="T58" fmla="*/ 199 w 902"/>
              <a:gd name="T59" fmla="*/ 391 h 601"/>
              <a:gd name="T60" fmla="*/ 73 w 902"/>
              <a:gd name="T61" fmla="*/ 391 h 601"/>
              <a:gd name="T62" fmla="*/ 65 w 902"/>
              <a:gd name="T63" fmla="*/ 396 h 601"/>
              <a:gd name="T64" fmla="*/ 61 w 902"/>
              <a:gd name="T65" fmla="*/ 403 h 601"/>
              <a:gd name="T66" fmla="*/ 15 w 902"/>
              <a:gd name="T67" fmla="*/ 571 h 601"/>
              <a:gd name="T68" fmla="*/ 6 w 902"/>
              <a:gd name="T69" fmla="*/ 573 h 601"/>
              <a:gd name="T70" fmla="*/ 1 w 902"/>
              <a:gd name="T71" fmla="*/ 581 h 601"/>
              <a:gd name="T72" fmla="*/ 1 w 902"/>
              <a:gd name="T73" fmla="*/ 590 h 601"/>
              <a:gd name="T74" fmla="*/ 4 w 902"/>
              <a:gd name="T75" fmla="*/ 597 h 601"/>
              <a:gd name="T76" fmla="*/ 12 w 902"/>
              <a:gd name="T77" fmla="*/ 601 h 601"/>
              <a:gd name="T78" fmla="*/ 196 w 902"/>
              <a:gd name="T79" fmla="*/ 601 h 601"/>
              <a:gd name="T80" fmla="*/ 496 w 902"/>
              <a:gd name="T81" fmla="*/ 601 h 601"/>
              <a:gd name="T82" fmla="*/ 827 w 902"/>
              <a:gd name="T83" fmla="*/ 601 h 601"/>
              <a:gd name="T84" fmla="*/ 893 w 902"/>
              <a:gd name="T85" fmla="*/ 600 h 601"/>
              <a:gd name="T86" fmla="*/ 900 w 902"/>
              <a:gd name="T87" fmla="*/ 595 h 601"/>
              <a:gd name="T88" fmla="*/ 902 w 902"/>
              <a:gd name="T89" fmla="*/ 586 h 601"/>
              <a:gd name="T90" fmla="*/ 900 w 902"/>
              <a:gd name="T91" fmla="*/ 578 h 601"/>
              <a:gd name="T92" fmla="*/ 893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2" y="571"/>
                </a:moveTo>
                <a:lnTo>
                  <a:pt x="722" y="30"/>
                </a:lnTo>
                <a:lnTo>
                  <a:pt x="812" y="30"/>
                </a:lnTo>
                <a:lnTo>
                  <a:pt x="812" y="571"/>
                </a:lnTo>
                <a:lnTo>
                  <a:pt x="722" y="571"/>
                </a:lnTo>
                <a:close/>
                <a:moveTo>
                  <a:pt x="511" y="571"/>
                </a:moveTo>
                <a:lnTo>
                  <a:pt x="511" y="300"/>
                </a:lnTo>
                <a:lnTo>
                  <a:pt x="602" y="300"/>
                </a:lnTo>
                <a:lnTo>
                  <a:pt x="602" y="571"/>
                </a:lnTo>
                <a:lnTo>
                  <a:pt x="511" y="571"/>
                </a:lnTo>
                <a:close/>
                <a:moveTo>
                  <a:pt x="301" y="571"/>
                </a:moveTo>
                <a:lnTo>
                  <a:pt x="301" y="210"/>
                </a:lnTo>
                <a:lnTo>
                  <a:pt x="391" y="210"/>
                </a:lnTo>
                <a:lnTo>
                  <a:pt x="391" y="571"/>
                </a:lnTo>
                <a:lnTo>
                  <a:pt x="301" y="571"/>
                </a:lnTo>
                <a:close/>
                <a:moveTo>
                  <a:pt x="90" y="571"/>
                </a:moveTo>
                <a:lnTo>
                  <a:pt x="90" y="421"/>
                </a:lnTo>
                <a:lnTo>
                  <a:pt x="181" y="421"/>
                </a:lnTo>
                <a:lnTo>
                  <a:pt x="181" y="571"/>
                </a:lnTo>
                <a:lnTo>
                  <a:pt x="90" y="571"/>
                </a:lnTo>
                <a:close/>
                <a:moveTo>
                  <a:pt x="887"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1" y="1"/>
                </a:lnTo>
                <a:lnTo>
                  <a:pt x="698" y="3"/>
                </a:lnTo>
                <a:lnTo>
                  <a:pt x="696" y="5"/>
                </a:lnTo>
                <a:lnTo>
                  <a:pt x="694" y="7"/>
                </a:lnTo>
                <a:lnTo>
                  <a:pt x="693" y="9"/>
                </a:lnTo>
                <a:lnTo>
                  <a:pt x="692" y="12"/>
                </a:lnTo>
                <a:lnTo>
                  <a:pt x="692" y="15"/>
                </a:lnTo>
                <a:lnTo>
                  <a:pt x="692" y="571"/>
                </a:lnTo>
                <a:lnTo>
                  <a:pt x="632" y="571"/>
                </a:lnTo>
                <a:lnTo>
                  <a:pt x="632" y="285"/>
                </a:lnTo>
                <a:lnTo>
                  <a:pt x="631" y="283"/>
                </a:lnTo>
                <a:lnTo>
                  <a:pt x="631" y="280"/>
                </a:lnTo>
                <a:lnTo>
                  <a:pt x="629" y="278"/>
                </a:lnTo>
                <a:lnTo>
                  <a:pt x="628" y="275"/>
                </a:lnTo>
                <a:lnTo>
                  <a:pt x="626" y="274"/>
                </a:lnTo>
                <a:lnTo>
                  <a:pt x="622" y="271"/>
                </a:lnTo>
                <a:lnTo>
                  <a:pt x="620" y="271"/>
                </a:lnTo>
                <a:lnTo>
                  <a:pt x="617" y="270"/>
                </a:lnTo>
                <a:lnTo>
                  <a:pt x="496" y="270"/>
                </a:lnTo>
                <a:lnTo>
                  <a:pt x="494" y="271"/>
                </a:lnTo>
                <a:lnTo>
                  <a:pt x="491" y="271"/>
                </a:lnTo>
                <a:lnTo>
                  <a:pt x="488" y="274"/>
                </a:lnTo>
                <a:lnTo>
                  <a:pt x="486" y="275"/>
                </a:lnTo>
                <a:lnTo>
                  <a:pt x="484" y="278"/>
                </a:lnTo>
                <a:lnTo>
                  <a:pt x="483" y="280"/>
                </a:lnTo>
                <a:lnTo>
                  <a:pt x="482" y="283"/>
                </a:lnTo>
                <a:lnTo>
                  <a:pt x="481" y="285"/>
                </a:lnTo>
                <a:lnTo>
                  <a:pt x="481"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0" y="181"/>
                </a:lnTo>
                <a:lnTo>
                  <a:pt x="277" y="184"/>
                </a:lnTo>
                <a:lnTo>
                  <a:pt x="275" y="185"/>
                </a:lnTo>
                <a:lnTo>
                  <a:pt x="273" y="187"/>
                </a:lnTo>
                <a:lnTo>
                  <a:pt x="272" y="190"/>
                </a:lnTo>
                <a:lnTo>
                  <a:pt x="271" y="192"/>
                </a:lnTo>
                <a:lnTo>
                  <a:pt x="271" y="195"/>
                </a:lnTo>
                <a:lnTo>
                  <a:pt x="271" y="571"/>
                </a:lnTo>
                <a:lnTo>
                  <a:pt x="211" y="571"/>
                </a:lnTo>
                <a:lnTo>
                  <a:pt x="211" y="406"/>
                </a:lnTo>
                <a:lnTo>
                  <a:pt x="210" y="403"/>
                </a:lnTo>
                <a:lnTo>
                  <a:pt x="210" y="400"/>
                </a:lnTo>
                <a:lnTo>
                  <a:pt x="208" y="398"/>
                </a:lnTo>
                <a:lnTo>
                  <a:pt x="207" y="396"/>
                </a:lnTo>
                <a:lnTo>
                  <a:pt x="205" y="394"/>
                </a:lnTo>
                <a:lnTo>
                  <a:pt x="201" y="392"/>
                </a:lnTo>
                <a:lnTo>
                  <a:pt x="199" y="391"/>
                </a:lnTo>
                <a:lnTo>
                  <a:pt x="196" y="391"/>
                </a:lnTo>
                <a:lnTo>
                  <a:pt x="75" y="391"/>
                </a:lnTo>
                <a:lnTo>
                  <a:pt x="73" y="391"/>
                </a:lnTo>
                <a:lnTo>
                  <a:pt x="70" y="392"/>
                </a:lnTo>
                <a:lnTo>
                  <a:pt x="67" y="394"/>
                </a:lnTo>
                <a:lnTo>
                  <a:pt x="65" y="396"/>
                </a:lnTo>
                <a:lnTo>
                  <a:pt x="63" y="398"/>
                </a:lnTo>
                <a:lnTo>
                  <a:pt x="62" y="400"/>
                </a:lnTo>
                <a:lnTo>
                  <a:pt x="61" y="403"/>
                </a:lnTo>
                <a:lnTo>
                  <a:pt x="60" y="406"/>
                </a:lnTo>
                <a:lnTo>
                  <a:pt x="60" y="571"/>
                </a:lnTo>
                <a:lnTo>
                  <a:pt x="15" y="571"/>
                </a:lnTo>
                <a:lnTo>
                  <a:pt x="12" y="571"/>
                </a:lnTo>
                <a:lnTo>
                  <a:pt x="10" y="572"/>
                </a:lnTo>
                <a:lnTo>
                  <a:pt x="6" y="573"/>
                </a:lnTo>
                <a:lnTo>
                  <a:pt x="4" y="576"/>
                </a:lnTo>
                <a:lnTo>
                  <a:pt x="3" y="578"/>
                </a:lnTo>
                <a:lnTo>
                  <a:pt x="1" y="581"/>
                </a:lnTo>
                <a:lnTo>
                  <a:pt x="1" y="583"/>
                </a:lnTo>
                <a:lnTo>
                  <a:pt x="0" y="586"/>
                </a:lnTo>
                <a:lnTo>
                  <a:pt x="1" y="590"/>
                </a:lnTo>
                <a:lnTo>
                  <a:pt x="1" y="593"/>
                </a:lnTo>
                <a:lnTo>
                  <a:pt x="3" y="595"/>
                </a:lnTo>
                <a:lnTo>
                  <a:pt x="4" y="597"/>
                </a:lnTo>
                <a:lnTo>
                  <a:pt x="6" y="599"/>
                </a:lnTo>
                <a:lnTo>
                  <a:pt x="10" y="600"/>
                </a:lnTo>
                <a:lnTo>
                  <a:pt x="12" y="601"/>
                </a:lnTo>
                <a:lnTo>
                  <a:pt x="15" y="601"/>
                </a:lnTo>
                <a:lnTo>
                  <a:pt x="75" y="601"/>
                </a:lnTo>
                <a:lnTo>
                  <a:pt x="196" y="601"/>
                </a:lnTo>
                <a:lnTo>
                  <a:pt x="286" y="601"/>
                </a:lnTo>
                <a:lnTo>
                  <a:pt x="406" y="601"/>
                </a:lnTo>
                <a:lnTo>
                  <a:pt x="496" y="601"/>
                </a:lnTo>
                <a:lnTo>
                  <a:pt x="617" y="601"/>
                </a:lnTo>
                <a:lnTo>
                  <a:pt x="707" y="601"/>
                </a:lnTo>
                <a:lnTo>
                  <a:pt x="827" y="601"/>
                </a:lnTo>
                <a:lnTo>
                  <a:pt x="887" y="601"/>
                </a:lnTo>
                <a:lnTo>
                  <a:pt x="890" y="601"/>
                </a:lnTo>
                <a:lnTo>
                  <a:pt x="893" y="600"/>
                </a:lnTo>
                <a:lnTo>
                  <a:pt x="896" y="599"/>
                </a:lnTo>
                <a:lnTo>
                  <a:pt x="898" y="597"/>
                </a:lnTo>
                <a:lnTo>
                  <a:pt x="900" y="595"/>
                </a:lnTo>
                <a:lnTo>
                  <a:pt x="901" y="593"/>
                </a:lnTo>
                <a:lnTo>
                  <a:pt x="902" y="590"/>
                </a:lnTo>
                <a:lnTo>
                  <a:pt x="902" y="586"/>
                </a:lnTo>
                <a:lnTo>
                  <a:pt x="902" y="583"/>
                </a:lnTo>
                <a:lnTo>
                  <a:pt x="901" y="581"/>
                </a:lnTo>
                <a:lnTo>
                  <a:pt x="900" y="578"/>
                </a:lnTo>
                <a:lnTo>
                  <a:pt x="898" y="576"/>
                </a:lnTo>
                <a:lnTo>
                  <a:pt x="896" y="573"/>
                </a:lnTo>
                <a:lnTo>
                  <a:pt x="893" y="572"/>
                </a:lnTo>
                <a:lnTo>
                  <a:pt x="890" y="571"/>
                </a:lnTo>
                <a:lnTo>
                  <a:pt x="887" y="57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57" name="Group 531">
            <a:extLst>
              <a:ext uri="{FF2B5EF4-FFF2-40B4-BE49-F238E27FC236}">
                <a16:creationId xmlns:a16="http://schemas.microsoft.com/office/drawing/2014/main" id="{E4165FCE-CECC-4F55-8286-AD84FA6DD2C2}"/>
              </a:ext>
            </a:extLst>
          </p:cNvPr>
          <p:cNvGrpSpPr>
            <a:grpSpLocks noChangeAspect="1"/>
          </p:cNvGrpSpPr>
          <p:nvPr/>
        </p:nvGrpSpPr>
        <p:grpSpPr>
          <a:xfrm>
            <a:off x="3181249" y="5956111"/>
            <a:ext cx="328392" cy="285619"/>
            <a:chOff x="8137525" y="2320925"/>
            <a:chExt cx="377825" cy="328613"/>
          </a:xfrm>
          <a:solidFill>
            <a:schemeClr val="bg2"/>
          </a:solidFill>
          <a:effectLst/>
        </p:grpSpPr>
        <p:sp>
          <p:nvSpPr>
            <p:cNvPr id="1222" name="Freeform 273">
              <a:extLst>
                <a:ext uri="{FF2B5EF4-FFF2-40B4-BE49-F238E27FC236}">
                  <a16:creationId xmlns:a16="http://schemas.microsoft.com/office/drawing/2014/main" id="{B7AC327D-ED84-4940-81AF-E154C44DABF9}"/>
                </a:ext>
              </a:extLst>
            </p:cNvPr>
            <p:cNvSpPr>
              <a:spLocks noEditPoints="1"/>
            </p:cNvSpPr>
            <p:nvPr/>
          </p:nvSpPr>
          <p:spPr bwMode="auto">
            <a:xfrm>
              <a:off x="8137525" y="2320925"/>
              <a:ext cx="377825" cy="328613"/>
            </a:xfrm>
            <a:custGeom>
              <a:avLst/>
              <a:gdLst>
                <a:gd name="T0" fmla="*/ 476 w 952"/>
                <a:gd name="T1" fmla="*/ 72 h 830"/>
                <a:gd name="T2" fmla="*/ 891 w 952"/>
                <a:gd name="T3" fmla="*/ 794 h 830"/>
                <a:gd name="T4" fmla="*/ 61 w 952"/>
                <a:gd name="T5" fmla="*/ 794 h 830"/>
                <a:gd name="T6" fmla="*/ 476 w 952"/>
                <a:gd name="T7" fmla="*/ 72 h 830"/>
                <a:gd name="T8" fmla="*/ 476 w 952"/>
                <a:gd name="T9" fmla="*/ 0 h 830"/>
                <a:gd name="T10" fmla="*/ 0 w 952"/>
                <a:gd name="T11" fmla="*/ 830 h 830"/>
                <a:gd name="T12" fmla="*/ 952 w 952"/>
                <a:gd name="T13" fmla="*/ 830 h 830"/>
                <a:gd name="T14" fmla="*/ 476 w 952"/>
                <a:gd name="T15" fmla="*/ 0 h 8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2" h="830">
                  <a:moveTo>
                    <a:pt x="476" y="72"/>
                  </a:moveTo>
                  <a:lnTo>
                    <a:pt x="891" y="794"/>
                  </a:lnTo>
                  <a:lnTo>
                    <a:pt x="61" y="794"/>
                  </a:lnTo>
                  <a:lnTo>
                    <a:pt x="476" y="72"/>
                  </a:lnTo>
                  <a:close/>
                  <a:moveTo>
                    <a:pt x="476" y="0"/>
                  </a:moveTo>
                  <a:lnTo>
                    <a:pt x="0" y="830"/>
                  </a:lnTo>
                  <a:lnTo>
                    <a:pt x="952" y="8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Rectangle 274">
              <a:extLst>
                <a:ext uri="{FF2B5EF4-FFF2-40B4-BE49-F238E27FC236}">
                  <a16:creationId xmlns:a16="http://schemas.microsoft.com/office/drawing/2014/main" id="{5C649E59-85E4-49B9-98A2-242A96FA2AD9}"/>
                </a:ext>
              </a:extLst>
            </p:cNvPr>
            <p:cNvSpPr>
              <a:spLocks noChangeArrowheads="1"/>
            </p:cNvSpPr>
            <p:nvPr/>
          </p:nvSpPr>
          <p:spPr bwMode="auto">
            <a:xfrm>
              <a:off x="8320088" y="2452688"/>
              <a:ext cx="127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275">
              <a:extLst>
                <a:ext uri="{FF2B5EF4-FFF2-40B4-BE49-F238E27FC236}">
                  <a16:creationId xmlns:a16="http://schemas.microsoft.com/office/drawing/2014/main" id="{86695E81-BC10-4D36-8DAC-E2BB09E94ED1}"/>
                </a:ext>
              </a:extLst>
            </p:cNvPr>
            <p:cNvSpPr>
              <a:spLocks/>
            </p:cNvSpPr>
            <p:nvPr/>
          </p:nvSpPr>
          <p:spPr bwMode="auto">
            <a:xfrm>
              <a:off x="8315325" y="2571750"/>
              <a:ext cx="22225" cy="22225"/>
            </a:xfrm>
            <a:custGeom>
              <a:avLst/>
              <a:gdLst>
                <a:gd name="T0" fmla="*/ 26 w 53"/>
                <a:gd name="T1" fmla="*/ 0 h 53"/>
                <a:gd name="T2" fmla="*/ 20 w 53"/>
                <a:gd name="T3" fmla="*/ 1 h 53"/>
                <a:gd name="T4" fmla="*/ 15 w 53"/>
                <a:gd name="T5" fmla="*/ 3 h 53"/>
                <a:gd name="T6" fmla="*/ 11 w 53"/>
                <a:gd name="T7" fmla="*/ 5 h 53"/>
                <a:gd name="T8" fmla="*/ 7 w 53"/>
                <a:gd name="T9" fmla="*/ 8 h 53"/>
                <a:gd name="T10" fmla="*/ 4 w 53"/>
                <a:gd name="T11" fmla="*/ 12 h 53"/>
                <a:gd name="T12" fmla="*/ 1 w 53"/>
                <a:gd name="T13" fmla="*/ 17 h 53"/>
                <a:gd name="T14" fmla="*/ 0 w 53"/>
                <a:gd name="T15" fmla="*/ 22 h 53"/>
                <a:gd name="T16" fmla="*/ 0 w 53"/>
                <a:gd name="T17" fmla="*/ 27 h 53"/>
                <a:gd name="T18" fmla="*/ 0 w 53"/>
                <a:gd name="T19" fmla="*/ 32 h 53"/>
                <a:gd name="T20" fmla="*/ 1 w 53"/>
                <a:gd name="T21" fmla="*/ 37 h 53"/>
                <a:gd name="T22" fmla="*/ 4 w 53"/>
                <a:gd name="T23" fmla="*/ 41 h 53"/>
                <a:gd name="T24" fmla="*/ 7 w 53"/>
                <a:gd name="T25" fmla="*/ 46 h 53"/>
                <a:gd name="T26" fmla="*/ 11 w 53"/>
                <a:gd name="T27" fmla="*/ 49 h 53"/>
                <a:gd name="T28" fmla="*/ 15 w 53"/>
                <a:gd name="T29" fmla="*/ 51 h 53"/>
                <a:gd name="T30" fmla="*/ 20 w 53"/>
                <a:gd name="T31" fmla="*/ 52 h 53"/>
                <a:gd name="T32" fmla="*/ 26 w 53"/>
                <a:gd name="T33" fmla="*/ 53 h 53"/>
                <a:gd name="T34" fmla="*/ 31 w 53"/>
                <a:gd name="T35" fmla="*/ 52 h 53"/>
                <a:gd name="T36" fmla="*/ 37 w 53"/>
                <a:gd name="T37" fmla="*/ 51 h 53"/>
                <a:gd name="T38" fmla="*/ 41 w 53"/>
                <a:gd name="T39" fmla="*/ 49 h 53"/>
                <a:gd name="T40" fmla="*/ 44 w 53"/>
                <a:gd name="T41" fmla="*/ 46 h 53"/>
                <a:gd name="T42" fmla="*/ 47 w 53"/>
                <a:gd name="T43" fmla="*/ 41 h 53"/>
                <a:gd name="T44" fmla="*/ 51 w 53"/>
                <a:gd name="T45" fmla="*/ 37 h 53"/>
                <a:gd name="T46" fmla="*/ 52 w 53"/>
                <a:gd name="T47" fmla="*/ 32 h 53"/>
                <a:gd name="T48" fmla="*/ 53 w 53"/>
                <a:gd name="T49" fmla="*/ 27 h 53"/>
                <a:gd name="T50" fmla="*/ 52 w 53"/>
                <a:gd name="T51" fmla="*/ 22 h 53"/>
                <a:gd name="T52" fmla="*/ 51 w 53"/>
                <a:gd name="T53" fmla="*/ 17 h 53"/>
                <a:gd name="T54" fmla="*/ 47 w 53"/>
                <a:gd name="T55" fmla="*/ 12 h 53"/>
                <a:gd name="T56" fmla="*/ 44 w 53"/>
                <a:gd name="T57" fmla="*/ 8 h 53"/>
                <a:gd name="T58" fmla="*/ 41 w 53"/>
                <a:gd name="T59" fmla="*/ 5 h 53"/>
                <a:gd name="T60" fmla="*/ 37 w 53"/>
                <a:gd name="T61" fmla="*/ 3 h 53"/>
                <a:gd name="T62" fmla="*/ 31 w 53"/>
                <a:gd name="T63" fmla="*/ 1 h 53"/>
                <a:gd name="T64" fmla="*/ 26 w 53"/>
                <a:gd name="T6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6" y="0"/>
                  </a:moveTo>
                  <a:lnTo>
                    <a:pt x="20" y="1"/>
                  </a:lnTo>
                  <a:lnTo>
                    <a:pt x="15" y="3"/>
                  </a:lnTo>
                  <a:lnTo>
                    <a:pt x="11" y="5"/>
                  </a:lnTo>
                  <a:lnTo>
                    <a:pt x="7" y="8"/>
                  </a:lnTo>
                  <a:lnTo>
                    <a:pt x="4" y="12"/>
                  </a:lnTo>
                  <a:lnTo>
                    <a:pt x="1" y="17"/>
                  </a:lnTo>
                  <a:lnTo>
                    <a:pt x="0" y="22"/>
                  </a:lnTo>
                  <a:lnTo>
                    <a:pt x="0" y="27"/>
                  </a:lnTo>
                  <a:lnTo>
                    <a:pt x="0" y="32"/>
                  </a:lnTo>
                  <a:lnTo>
                    <a:pt x="1" y="37"/>
                  </a:lnTo>
                  <a:lnTo>
                    <a:pt x="4" y="41"/>
                  </a:lnTo>
                  <a:lnTo>
                    <a:pt x="7" y="46"/>
                  </a:lnTo>
                  <a:lnTo>
                    <a:pt x="11" y="49"/>
                  </a:lnTo>
                  <a:lnTo>
                    <a:pt x="15" y="51"/>
                  </a:lnTo>
                  <a:lnTo>
                    <a:pt x="20" y="52"/>
                  </a:lnTo>
                  <a:lnTo>
                    <a:pt x="26" y="53"/>
                  </a:lnTo>
                  <a:lnTo>
                    <a:pt x="31" y="52"/>
                  </a:lnTo>
                  <a:lnTo>
                    <a:pt x="37" y="51"/>
                  </a:lnTo>
                  <a:lnTo>
                    <a:pt x="41" y="49"/>
                  </a:lnTo>
                  <a:lnTo>
                    <a:pt x="44" y="46"/>
                  </a:lnTo>
                  <a:lnTo>
                    <a:pt x="47" y="41"/>
                  </a:lnTo>
                  <a:lnTo>
                    <a:pt x="51" y="37"/>
                  </a:lnTo>
                  <a:lnTo>
                    <a:pt x="52" y="32"/>
                  </a:lnTo>
                  <a:lnTo>
                    <a:pt x="53" y="27"/>
                  </a:lnTo>
                  <a:lnTo>
                    <a:pt x="52" y="22"/>
                  </a:lnTo>
                  <a:lnTo>
                    <a:pt x="51" y="17"/>
                  </a:lnTo>
                  <a:lnTo>
                    <a:pt x="47" y="12"/>
                  </a:lnTo>
                  <a:lnTo>
                    <a:pt x="44" y="8"/>
                  </a:lnTo>
                  <a:lnTo>
                    <a:pt x="41" y="5"/>
                  </a:lnTo>
                  <a:lnTo>
                    <a:pt x="37" y="3"/>
                  </a:lnTo>
                  <a:lnTo>
                    <a:pt x="31" y="1"/>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9" name="Group 34">
            <a:extLst>
              <a:ext uri="{FF2B5EF4-FFF2-40B4-BE49-F238E27FC236}">
                <a16:creationId xmlns:a16="http://schemas.microsoft.com/office/drawing/2014/main" id="{8320273D-5A94-4FB3-A91D-C3102E8F8490}"/>
              </a:ext>
            </a:extLst>
          </p:cNvPr>
          <p:cNvGrpSpPr>
            <a:grpSpLocks noChangeAspect="1"/>
          </p:cNvGrpSpPr>
          <p:nvPr/>
        </p:nvGrpSpPr>
        <p:grpSpPr>
          <a:xfrm>
            <a:off x="4437123" y="2203241"/>
            <a:ext cx="311734" cy="251859"/>
            <a:chOff x="5483226" y="5235575"/>
            <a:chExt cx="520700" cy="420688"/>
          </a:xfrm>
          <a:solidFill>
            <a:schemeClr val="bg2"/>
          </a:solidFill>
          <a:effectLst/>
        </p:grpSpPr>
        <p:sp>
          <p:nvSpPr>
            <p:cNvPr id="540" name="Freeform 112">
              <a:extLst>
                <a:ext uri="{FF2B5EF4-FFF2-40B4-BE49-F238E27FC236}">
                  <a16:creationId xmlns:a16="http://schemas.microsoft.com/office/drawing/2014/main" id="{55D2CCD9-6DAB-4E57-AD35-836B7504DA2D}"/>
                </a:ext>
              </a:extLst>
            </p:cNvPr>
            <p:cNvSpPr>
              <a:spLocks noEditPoints="1"/>
            </p:cNvSpPr>
            <p:nvPr/>
          </p:nvSpPr>
          <p:spPr bwMode="auto">
            <a:xfrm>
              <a:off x="5670551" y="5235575"/>
              <a:ext cx="146050" cy="158750"/>
            </a:xfrm>
            <a:custGeom>
              <a:avLst/>
              <a:gdLst>
                <a:gd name="T0" fmla="*/ 155 w 366"/>
                <a:gd name="T1" fmla="*/ 49 h 399"/>
                <a:gd name="T2" fmla="*/ 118 w 366"/>
                <a:gd name="T3" fmla="*/ 65 h 399"/>
                <a:gd name="T4" fmla="*/ 86 w 366"/>
                <a:gd name="T5" fmla="*/ 91 h 399"/>
                <a:gd name="T6" fmla="*/ 63 w 366"/>
                <a:gd name="T7" fmla="*/ 126 h 399"/>
                <a:gd name="T8" fmla="*/ 48 w 366"/>
                <a:gd name="T9" fmla="*/ 168 h 399"/>
                <a:gd name="T10" fmla="*/ 47 w 366"/>
                <a:gd name="T11" fmla="*/ 215 h 399"/>
                <a:gd name="T12" fmla="*/ 57 w 366"/>
                <a:gd name="T13" fmla="*/ 259 h 399"/>
                <a:gd name="T14" fmla="*/ 78 w 366"/>
                <a:gd name="T15" fmla="*/ 297 h 399"/>
                <a:gd name="T16" fmla="*/ 106 w 366"/>
                <a:gd name="T17" fmla="*/ 326 h 399"/>
                <a:gd name="T18" fmla="*/ 143 w 366"/>
                <a:gd name="T19" fmla="*/ 346 h 399"/>
                <a:gd name="T20" fmla="*/ 183 w 366"/>
                <a:gd name="T21" fmla="*/ 352 h 399"/>
                <a:gd name="T22" fmla="*/ 223 w 366"/>
                <a:gd name="T23" fmla="*/ 346 h 399"/>
                <a:gd name="T24" fmla="*/ 259 w 366"/>
                <a:gd name="T25" fmla="*/ 326 h 399"/>
                <a:gd name="T26" fmla="*/ 288 w 366"/>
                <a:gd name="T27" fmla="*/ 297 h 399"/>
                <a:gd name="T28" fmla="*/ 309 w 366"/>
                <a:gd name="T29" fmla="*/ 259 h 399"/>
                <a:gd name="T30" fmla="*/ 319 w 366"/>
                <a:gd name="T31" fmla="*/ 215 h 399"/>
                <a:gd name="T32" fmla="*/ 317 w 366"/>
                <a:gd name="T33" fmla="*/ 168 h 399"/>
                <a:gd name="T34" fmla="*/ 303 w 366"/>
                <a:gd name="T35" fmla="*/ 126 h 399"/>
                <a:gd name="T36" fmla="*/ 280 w 366"/>
                <a:gd name="T37" fmla="*/ 91 h 399"/>
                <a:gd name="T38" fmla="*/ 248 w 366"/>
                <a:gd name="T39" fmla="*/ 65 h 399"/>
                <a:gd name="T40" fmla="*/ 210 w 366"/>
                <a:gd name="T41" fmla="*/ 49 h 399"/>
                <a:gd name="T42" fmla="*/ 183 w 366"/>
                <a:gd name="T43" fmla="*/ 399 h 399"/>
                <a:gd name="T44" fmla="*/ 128 w 366"/>
                <a:gd name="T45" fmla="*/ 389 h 399"/>
                <a:gd name="T46" fmla="*/ 80 w 366"/>
                <a:gd name="T47" fmla="*/ 364 h 399"/>
                <a:gd name="T48" fmla="*/ 42 w 366"/>
                <a:gd name="T49" fmla="*/ 326 h 399"/>
                <a:gd name="T50" fmla="*/ 14 w 366"/>
                <a:gd name="T51" fmla="*/ 277 h 399"/>
                <a:gd name="T52" fmla="*/ 0 w 366"/>
                <a:gd name="T53" fmla="*/ 220 h 399"/>
                <a:gd name="T54" fmla="*/ 4 w 366"/>
                <a:gd name="T55" fmla="*/ 159 h 399"/>
                <a:gd name="T56" fmla="*/ 22 w 366"/>
                <a:gd name="T57" fmla="*/ 104 h 399"/>
                <a:gd name="T58" fmla="*/ 53 w 366"/>
                <a:gd name="T59" fmla="*/ 59 h 399"/>
                <a:gd name="T60" fmla="*/ 96 w 366"/>
                <a:gd name="T61" fmla="*/ 25 h 399"/>
                <a:gd name="T62" fmla="*/ 146 w 366"/>
                <a:gd name="T63" fmla="*/ 4 h 399"/>
                <a:gd name="T64" fmla="*/ 201 w 366"/>
                <a:gd name="T65" fmla="*/ 1 h 399"/>
                <a:gd name="T66" fmla="*/ 254 w 366"/>
                <a:gd name="T67" fmla="*/ 16 h 399"/>
                <a:gd name="T68" fmla="*/ 300 w 366"/>
                <a:gd name="T69" fmla="*/ 45 h 399"/>
                <a:gd name="T70" fmla="*/ 334 w 366"/>
                <a:gd name="T71" fmla="*/ 88 h 399"/>
                <a:gd name="T72" fmla="*/ 357 w 366"/>
                <a:gd name="T73" fmla="*/ 140 h 399"/>
                <a:gd name="T74" fmla="*/ 366 w 366"/>
                <a:gd name="T75" fmla="*/ 199 h 399"/>
                <a:gd name="T76" fmla="*/ 357 w 366"/>
                <a:gd name="T77" fmla="*/ 259 h 399"/>
                <a:gd name="T78" fmla="*/ 334 w 366"/>
                <a:gd name="T79" fmla="*/ 310 h 399"/>
                <a:gd name="T80" fmla="*/ 300 w 366"/>
                <a:gd name="T81" fmla="*/ 353 h 399"/>
                <a:gd name="T82" fmla="*/ 254 w 366"/>
                <a:gd name="T83" fmla="*/ 383 h 399"/>
                <a:gd name="T84" fmla="*/ 201 w 366"/>
                <a:gd name="T85" fmla="*/ 39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9">
                  <a:moveTo>
                    <a:pt x="183" y="47"/>
                  </a:moveTo>
                  <a:lnTo>
                    <a:pt x="168" y="47"/>
                  </a:lnTo>
                  <a:lnTo>
                    <a:pt x="155" y="49"/>
                  </a:lnTo>
                  <a:lnTo>
                    <a:pt x="143" y="53"/>
                  </a:lnTo>
                  <a:lnTo>
                    <a:pt x="129" y="59"/>
                  </a:lnTo>
                  <a:lnTo>
                    <a:pt x="118" y="65"/>
                  </a:lnTo>
                  <a:lnTo>
                    <a:pt x="106" y="72"/>
                  </a:lnTo>
                  <a:lnTo>
                    <a:pt x="96" y="81"/>
                  </a:lnTo>
                  <a:lnTo>
                    <a:pt x="86" y="91"/>
                  </a:lnTo>
                  <a:lnTo>
                    <a:pt x="78" y="102"/>
                  </a:lnTo>
                  <a:lnTo>
                    <a:pt x="69" y="114"/>
                  </a:lnTo>
                  <a:lnTo>
                    <a:pt x="63" y="126"/>
                  </a:lnTo>
                  <a:lnTo>
                    <a:pt x="57" y="140"/>
                  </a:lnTo>
                  <a:lnTo>
                    <a:pt x="52" y="153"/>
                  </a:lnTo>
                  <a:lnTo>
                    <a:pt x="48" y="168"/>
                  </a:lnTo>
                  <a:lnTo>
                    <a:pt x="47" y="184"/>
                  </a:lnTo>
                  <a:lnTo>
                    <a:pt x="46" y="199"/>
                  </a:lnTo>
                  <a:lnTo>
                    <a:pt x="47" y="215"/>
                  </a:lnTo>
                  <a:lnTo>
                    <a:pt x="48" y="231"/>
                  </a:lnTo>
                  <a:lnTo>
                    <a:pt x="52" y="244"/>
                  </a:lnTo>
                  <a:lnTo>
                    <a:pt x="57" y="259"/>
                  </a:lnTo>
                  <a:lnTo>
                    <a:pt x="63" y="272"/>
                  </a:lnTo>
                  <a:lnTo>
                    <a:pt x="69" y="285"/>
                  </a:lnTo>
                  <a:lnTo>
                    <a:pt x="78" y="297"/>
                  </a:lnTo>
                  <a:lnTo>
                    <a:pt x="86" y="308"/>
                  </a:lnTo>
                  <a:lnTo>
                    <a:pt x="96" y="318"/>
                  </a:lnTo>
                  <a:lnTo>
                    <a:pt x="106" y="326"/>
                  </a:lnTo>
                  <a:lnTo>
                    <a:pt x="118" y="334"/>
                  </a:lnTo>
                  <a:lnTo>
                    <a:pt x="129" y="340"/>
                  </a:lnTo>
                  <a:lnTo>
                    <a:pt x="143" y="346"/>
                  </a:lnTo>
                  <a:lnTo>
                    <a:pt x="155" y="350"/>
                  </a:lnTo>
                  <a:lnTo>
                    <a:pt x="168" y="351"/>
                  </a:lnTo>
                  <a:lnTo>
                    <a:pt x="183" y="352"/>
                  </a:lnTo>
                  <a:lnTo>
                    <a:pt x="197" y="351"/>
                  </a:lnTo>
                  <a:lnTo>
                    <a:pt x="210" y="350"/>
                  </a:lnTo>
                  <a:lnTo>
                    <a:pt x="223" y="346"/>
                  </a:lnTo>
                  <a:lnTo>
                    <a:pt x="236" y="340"/>
                  </a:lnTo>
                  <a:lnTo>
                    <a:pt x="248" y="334"/>
                  </a:lnTo>
                  <a:lnTo>
                    <a:pt x="259" y="326"/>
                  </a:lnTo>
                  <a:lnTo>
                    <a:pt x="270" y="318"/>
                  </a:lnTo>
                  <a:lnTo>
                    <a:pt x="280" y="308"/>
                  </a:lnTo>
                  <a:lnTo>
                    <a:pt x="288" y="297"/>
                  </a:lnTo>
                  <a:lnTo>
                    <a:pt x="296" y="285"/>
                  </a:lnTo>
                  <a:lnTo>
                    <a:pt x="303" y="272"/>
                  </a:lnTo>
                  <a:lnTo>
                    <a:pt x="309" y="259"/>
                  </a:lnTo>
                  <a:lnTo>
                    <a:pt x="313" y="244"/>
                  </a:lnTo>
                  <a:lnTo>
                    <a:pt x="317" y="231"/>
                  </a:lnTo>
                  <a:lnTo>
                    <a:pt x="319" y="215"/>
                  </a:lnTo>
                  <a:lnTo>
                    <a:pt x="319" y="199"/>
                  </a:lnTo>
                  <a:lnTo>
                    <a:pt x="319" y="184"/>
                  </a:lnTo>
                  <a:lnTo>
                    <a:pt x="317" y="168"/>
                  </a:lnTo>
                  <a:lnTo>
                    <a:pt x="313" y="153"/>
                  </a:lnTo>
                  <a:lnTo>
                    <a:pt x="309" y="140"/>
                  </a:lnTo>
                  <a:lnTo>
                    <a:pt x="303" y="126"/>
                  </a:lnTo>
                  <a:lnTo>
                    <a:pt x="296" y="114"/>
                  </a:lnTo>
                  <a:lnTo>
                    <a:pt x="288" y="102"/>
                  </a:lnTo>
                  <a:lnTo>
                    <a:pt x="280" y="91"/>
                  </a:lnTo>
                  <a:lnTo>
                    <a:pt x="270" y="81"/>
                  </a:lnTo>
                  <a:lnTo>
                    <a:pt x="259" y="72"/>
                  </a:lnTo>
                  <a:lnTo>
                    <a:pt x="248" y="65"/>
                  </a:lnTo>
                  <a:lnTo>
                    <a:pt x="236" y="59"/>
                  </a:lnTo>
                  <a:lnTo>
                    <a:pt x="223" y="53"/>
                  </a:lnTo>
                  <a:lnTo>
                    <a:pt x="210" y="49"/>
                  </a:lnTo>
                  <a:lnTo>
                    <a:pt x="197" y="47"/>
                  </a:lnTo>
                  <a:lnTo>
                    <a:pt x="183" y="47"/>
                  </a:lnTo>
                  <a:close/>
                  <a:moveTo>
                    <a:pt x="183" y="399"/>
                  </a:moveTo>
                  <a:lnTo>
                    <a:pt x="165" y="397"/>
                  </a:lnTo>
                  <a:lnTo>
                    <a:pt x="146" y="394"/>
                  </a:lnTo>
                  <a:lnTo>
                    <a:pt x="128" y="389"/>
                  </a:lnTo>
                  <a:lnTo>
                    <a:pt x="112" y="383"/>
                  </a:lnTo>
                  <a:lnTo>
                    <a:pt x="96" y="374"/>
                  </a:lnTo>
                  <a:lnTo>
                    <a:pt x="80" y="364"/>
                  </a:lnTo>
                  <a:lnTo>
                    <a:pt x="66" y="353"/>
                  </a:lnTo>
                  <a:lnTo>
                    <a:pt x="53" y="340"/>
                  </a:lnTo>
                  <a:lnTo>
                    <a:pt x="42" y="326"/>
                  </a:lnTo>
                  <a:lnTo>
                    <a:pt x="31" y="310"/>
                  </a:lnTo>
                  <a:lnTo>
                    <a:pt x="22" y="294"/>
                  </a:lnTo>
                  <a:lnTo>
                    <a:pt x="14" y="277"/>
                  </a:lnTo>
                  <a:lnTo>
                    <a:pt x="8" y="259"/>
                  </a:lnTo>
                  <a:lnTo>
                    <a:pt x="4" y="239"/>
                  </a:lnTo>
                  <a:lnTo>
                    <a:pt x="0" y="220"/>
                  </a:lnTo>
                  <a:lnTo>
                    <a:pt x="0" y="199"/>
                  </a:lnTo>
                  <a:lnTo>
                    <a:pt x="0" y="179"/>
                  </a:lnTo>
                  <a:lnTo>
                    <a:pt x="4" y="159"/>
                  </a:lnTo>
                  <a:lnTo>
                    <a:pt x="8" y="140"/>
                  </a:lnTo>
                  <a:lnTo>
                    <a:pt x="14" y="121"/>
                  </a:lnTo>
                  <a:lnTo>
                    <a:pt x="22" y="104"/>
                  </a:lnTo>
                  <a:lnTo>
                    <a:pt x="31" y="88"/>
                  </a:lnTo>
                  <a:lnTo>
                    <a:pt x="42" y="72"/>
                  </a:lnTo>
                  <a:lnTo>
                    <a:pt x="53" y="59"/>
                  </a:lnTo>
                  <a:lnTo>
                    <a:pt x="66" y="45"/>
                  </a:lnTo>
                  <a:lnTo>
                    <a:pt x="80" y="34"/>
                  </a:lnTo>
                  <a:lnTo>
                    <a:pt x="96" y="25"/>
                  </a:lnTo>
                  <a:lnTo>
                    <a:pt x="112" y="16"/>
                  </a:lnTo>
                  <a:lnTo>
                    <a:pt x="128" y="9"/>
                  </a:lnTo>
                  <a:lnTo>
                    <a:pt x="146" y="4"/>
                  </a:lnTo>
                  <a:lnTo>
                    <a:pt x="165" y="1"/>
                  </a:lnTo>
                  <a:lnTo>
                    <a:pt x="183" y="0"/>
                  </a:lnTo>
                  <a:lnTo>
                    <a:pt x="201" y="1"/>
                  </a:lnTo>
                  <a:lnTo>
                    <a:pt x="220" y="4"/>
                  </a:lnTo>
                  <a:lnTo>
                    <a:pt x="237" y="9"/>
                  </a:lnTo>
                  <a:lnTo>
                    <a:pt x="254" y="16"/>
                  </a:lnTo>
                  <a:lnTo>
                    <a:pt x="270" y="25"/>
                  </a:lnTo>
                  <a:lnTo>
                    <a:pt x="285" y="34"/>
                  </a:lnTo>
                  <a:lnTo>
                    <a:pt x="300" y="45"/>
                  </a:lnTo>
                  <a:lnTo>
                    <a:pt x="312" y="59"/>
                  </a:lnTo>
                  <a:lnTo>
                    <a:pt x="324" y="72"/>
                  </a:lnTo>
                  <a:lnTo>
                    <a:pt x="334" y="88"/>
                  </a:lnTo>
                  <a:lnTo>
                    <a:pt x="344" y="104"/>
                  </a:lnTo>
                  <a:lnTo>
                    <a:pt x="351" y="121"/>
                  </a:lnTo>
                  <a:lnTo>
                    <a:pt x="357" y="140"/>
                  </a:lnTo>
                  <a:lnTo>
                    <a:pt x="362" y="159"/>
                  </a:lnTo>
                  <a:lnTo>
                    <a:pt x="365" y="179"/>
                  </a:lnTo>
                  <a:lnTo>
                    <a:pt x="366" y="199"/>
                  </a:lnTo>
                  <a:lnTo>
                    <a:pt x="365" y="220"/>
                  </a:lnTo>
                  <a:lnTo>
                    <a:pt x="362" y="239"/>
                  </a:lnTo>
                  <a:lnTo>
                    <a:pt x="357" y="259"/>
                  </a:lnTo>
                  <a:lnTo>
                    <a:pt x="351" y="277"/>
                  </a:lnTo>
                  <a:lnTo>
                    <a:pt x="344" y="294"/>
                  </a:lnTo>
                  <a:lnTo>
                    <a:pt x="334" y="310"/>
                  </a:lnTo>
                  <a:lnTo>
                    <a:pt x="324" y="326"/>
                  </a:lnTo>
                  <a:lnTo>
                    <a:pt x="312" y="340"/>
                  </a:lnTo>
                  <a:lnTo>
                    <a:pt x="300" y="353"/>
                  </a:lnTo>
                  <a:lnTo>
                    <a:pt x="285" y="364"/>
                  </a:lnTo>
                  <a:lnTo>
                    <a:pt x="270" y="374"/>
                  </a:lnTo>
                  <a:lnTo>
                    <a:pt x="254" y="383"/>
                  </a:lnTo>
                  <a:lnTo>
                    <a:pt x="237" y="389"/>
                  </a:lnTo>
                  <a:lnTo>
                    <a:pt x="220" y="394"/>
                  </a:lnTo>
                  <a:lnTo>
                    <a:pt x="201" y="397"/>
                  </a:lnTo>
                  <a:lnTo>
                    <a:pt x="183"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1" name="Freeform 113">
              <a:extLst>
                <a:ext uri="{FF2B5EF4-FFF2-40B4-BE49-F238E27FC236}">
                  <a16:creationId xmlns:a16="http://schemas.microsoft.com/office/drawing/2014/main" id="{262417CE-80E8-451B-8AC2-29611E185C51}"/>
                </a:ext>
              </a:extLst>
            </p:cNvPr>
            <p:cNvSpPr>
              <a:spLocks/>
            </p:cNvSpPr>
            <p:nvPr/>
          </p:nvSpPr>
          <p:spPr bwMode="auto">
            <a:xfrm>
              <a:off x="5619751" y="5378450"/>
              <a:ext cx="247650" cy="155575"/>
            </a:xfrm>
            <a:custGeom>
              <a:avLst/>
              <a:gdLst>
                <a:gd name="T0" fmla="*/ 0 w 622"/>
                <a:gd name="T1" fmla="*/ 393 h 393"/>
                <a:gd name="T2" fmla="*/ 2 w 622"/>
                <a:gd name="T3" fmla="*/ 192 h 393"/>
                <a:gd name="T4" fmla="*/ 7 w 622"/>
                <a:gd name="T5" fmla="*/ 162 h 393"/>
                <a:gd name="T6" fmla="*/ 18 w 622"/>
                <a:gd name="T7" fmla="*/ 139 h 393"/>
                <a:gd name="T8" fmla="*/ 31 w 622"/>
                <a:gd name="T9" fmla="*/ 120 h 393"/>
                <a:gd name="T10" fmla="*/ 50 w 622"/>
                <a:gd name="T11" fmla="*/ 106 h 393"/>
                <a:gd name="T12" fmla="*/ 70 w 622"/>
                <a:gd name="T13" fmla="*/ 95 h 393"/>
                <a:gd name="T14" fmla="*/ 107 w 622"/>
                <a:gd name="T15" fmla="*/ 81 h 393"/>
                <a:gd name="T16" fmla="*/ 143 w 622"/>
                <a:gd name="T17" fmla="*/ 70 h 393"/>
                <a:gd name="T18" fmla="*/ 165 w 622"/>
                <a:gd name="T19" fmla="*/ 63 h 393"/>
                <a:gd name="T20" fmla="*/ 184 w 622"/>
                <a:gd name="T21" fmla="*/ 57 h 393"/>
                <a:gd name="T22" fmla="*/ 199 w 622"/>
                <a:gd name="T23" fmla="*/ 48 h 393"/>
                <a:gd name="T24" fmla="*/ 213 w 622"/>
                <a:gd name="T25" fmla="*/ 36 h 393"/>
                <a:gd name="T26" fmla="*/ 222 w 622"/>
                <a:gd name="T27" fmla="*/ 19 h 393"/>
                <a:gd name="T28" fmla="*/ 225 w 622"/>
                <a:gd name="T29" fmla="*/ 5 h 393"/>
                <a:gd name="T30" fmla="*/ 270 w 622"/>
                <a:gd name="T31" fmla="*/ 0 h 393"/>
                <a:gd name="T32" fmla="*/ 268 w 622"/>
                <a:gd name="T33" fmla="*/ 23 h 393"/>
                <a:gd name="T34" fmla="*/ 257 w 622"/>
                <a:gd name="T35" fmla="*/ 53 h 393"/>
                <a:gd name="T36" fmla="*/ 246 w 622"/>
                <a:gd name="T37" fmla="*/ 68 h 393"/>
                <a:gd name="T38" fmla="*/ 232 w 622"/>
                <a:gd name="T39" fmla="*/ 81 h 393"/>
                <a:gd name="T40" fmla="*/ 214 w 622"/>
                <a:gd name="T41" fmla="*/ 93 h 393"/>
                <a:gd name="T42" fmla="*/ 191 w 622"/>
                <a:gd name="T43" fmla="*/ 103 h 393"/>
                <a:gd name="T44" fmla="*/ 167 w 622"/>
                <a:gd name="T45" fmla="*/ 111 h 393"/>
                <a:gd name="T46" fmla="*/ 145 w 622"/>
                <a:gd name="T47" fmla="*/ 117 h 393"/>
                <a:gd name="T48" fmla="*/ 99 w 622"/>
                <a:gd name="T49" fmla="*/ 133 h 393"/>
                <a:gd name="T50" fmla="*/ 81 w 622"/>
                <a:gd name="T51" fmla="*/ 140 h 393"/>
                <a:gd name="T52" fmla="*/ 68 w 622"/>
                <a:gd name="T53" fmla="*/ 149 h 393"/>
                <a:gd name="T54" fmla="*/ 58 w 622"/>
                <a:gd name="T55" fmla="*/ 160 h 393"/>
                <a:gd name="T56" fmla="*/ 52 w 622"/>
                <a:gd name="T57" fmla="*/ 173 h 393"/>
                <a:gd name="T58" fmla="*/ 48 w 622"/>
                <a:gd name="T59" fmla="*/ 189 h 393"/>
                <a:gd name="T60" fmla="*/ 47 w 622"/>
                <a:gd name="T61" fmla="*/ 209 h 393"/>
                <a:gd name="T62" fmla="*/ 577 w 622"/>
                <a:gd name="T63" fmla="*/ 346 h 393"/>
                <a:gd name="T64" fmla="*/ 577 w 622"/>
                <a:gd name="T65" fmla="*/ 199 h 393"/>
                <a:gd name="T66" fmla="*/ 574 w 622"/>
                <a:gd name="T67" fmla="*/ 180 h 393"/>
                <a:gd name="T68" fmla="*/ 568 w 622"/>
                <a:gd name="T69" fmla="*/ 166 h 393"/>
                <a:gd name="T70" fmla="*/ 561 w 622"/>
                <a:gd name="T71" fmla="*/ 154 h 393"/>
                <a:gd name="T72" fmla="*/ 549 w 622"/>
                <a:gd name="T73" fmla="*/ 145 h 393"/>
                <a:gd name="T74" fmla="*/ 534 w 622"/>
                <a:gd name="T75" fmla="*/ 136 h 393"/>
                <a:gd name="T76" fmla="*/ 503 w 622"/>
                <a:gd name="T77" fmla="*/ 125 h 393"/>
                <a:gd name="T78" fmla="*/ 467 w 622"/>
                <a:gd name="T79" fmla="*/ 114 h 393"/>
                <a:gd name="T80" fmla="*/ 444 w 622"/>
                <a:gd name="T81" fmla="*/ 107 h 393"/>
                <a:gd name="T82" fmla="*/ 420 w 622"/>
                <a:gd name="T83" fmla="*/ 98 h 393"/>
                <a:gd name="T84" fmla="*/ 400 w 622"/>
                <a:gd name="T85" fmla="*/ 87 h 393"/>
                <a:gd name="T86" fmla="*/ 384 w 622"/>
                <a:gd name="T87" fmla="*/ 75 h 393"/>
                <a:gd name="T88" fmla="*/ 372 w 622"/>
                <a:gd name="T89" fmla="*/ 60 h 393"/>
                <a:gd name="T90" fmla="*/ 360 w 622"/>
                <a:gd name="T91" fmla="*/ 38 h 393"/>
                <a:gd name="T92" fmla="*/ 352 w 622"/>
                <a:gd name="T93" fmla="*/ 11 h 393"/>
                <a:gd name="T94" fmla="*/ 399 w 622"/>
                <a:gd name="T95" fmla="*/ 3 h 393"/>
                <a:gd name="T96" fmla="*/ 399 w 622"/>
                <a:gd name="T97" fmla="*/ 11 h 393"/>
                <a:gd name="T98" fmla="*/ 404 w 622"/>
                <a:gd name="T99" fmla="*/ 26 h 393"/>
                <a:gd name="T100" fmla="*/ 419 w 622"/>
                <a:gd name="T101" fmla="*/ 44 h 393"/>
                <a:gd name="T102" fmla="*/ 431 w 622"/>
                <a:gd name="T103" fmla="*/ 53 h 393"/>
                <a:gd name="T104" fmla="*/ 447 w 622"/>
                <a:gd name="T105" fmla="*/ 59 h 393"/>
                <a:gd name="T106" fmla="*/ 469 w 622"/>
                <a:gd name="T107" fmla="*/ 66 h 393"/>
                <a:gd name="T108" fmla="*/ 491 w 622"/>
                <a:gd name="T109" fmla="*/ 73 h 393"/>
                <a:gd name="T110" fmla="*/ 541 w 622"/>
                <a:gd name="T111" fmla="*/ 90 h 393"/>
                <a:gd name="T112" fmla="*/ 563 w 622"/>
                <a:gd name="T113" fmla="*/ 100 h 393"/>
                <a:gd name="T114" fmla="*/ 583 w 622"/>
                <a:gd name="T115" fmla="*/ 112 h 393"/>
                <a:gd name="T116" fmla="*/ 599 w 622"/>
                <a:gd name="T117" fmla="*/ 129 h 393"/>
                <a:gd name="T118" fmla="*/ 613 w 622"/>
                <a:gd name="T119" fmla="*/ 150 h 393"/>
                <a:gd name="T120" fmla="*/ 620 w 622"/>
                <a:gd name="T121" fmla="*/ 177 h 393"/>
                <a:gd name="T122" fmla="*/ 622 w 622"/>
                <a:gd name="T123" fmla="*/ 209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3">
                  <a:moveTo>
                    <a:pt x="622" y="393"/>
                  </a:moveTo>
                  <a:lnTo>
                    <a:pt x="0" y="393"/>
                  </a:lnTo>
                  <a:lnTo>
                    <a:pt x="0" y="209"/>
                  </a:lnTo>
                  <a:lnTo>
                    <a:pt x="2" y="192"/>
                  </a:lnTo>
                  <a:lnTo>
                    <a:pt x="3" y="177"/>
                  </a:lnTo>
                  <a:lnTo>
                    <a:pt x="7" y="162"/>
                  </a:lnTo>
                  <a:lnTo>
                    <a:pt x="12" y="150"/>
                  </a:lnTo>
                  <a:lnTo>
                    <a:pt x="18" y="139"/>
                  </a:lnTo>
                  <a:lnTo>
                    <a:pt x="24" y="129"/>
                  </a:lnTo>
                  <a:lnTo>
                    <a:pt x="31" y="120"/>
                  </a:lnTo>
                  <a:lnTo>
                    <a:pt x="40" y="112"/>
                  </a:lnTo>
                  <a:lnTo>
                    <a:pt x="50" y="106"/>
                  </a:lnTo>
                  <a:lnTo>
                    <a:pt x="59" y="100"/>
                  </a:lnTo>
                  <a:lnTo>
                    <a:pt x="70" y="95"/>
                  </a:lnTo>
                  <a:lnTo>
                    <a:pt x="83" y="90"/>
                  </a:lnTo>
                  <a:lnTo>
                    <a:pt x="107" y="81"/>
                  </a:lnTo>
                  <a:lnTo>
                    <a:pt x="133" y="73"/>
                  </a:lnTo>
                  <a:lnTo>
                    <a:pt x="143" y="70"/>
                  </a:lnTo>
                  <a:lnTo>
                    <a:pt x="154" y="66"/>
                  </a:lnTo>
                  <a:lnTo>
                    <a:pt x="165" y="63"/>
                  </a:lnTo>
                  <a:lnTo>
                    <a:pt x="176" y="59"/>
                  </a:lnTo>
                  <a:lnTo>
                    <a:pt x="184" y="57"/>
                  </a:lnTo>
                  <a:lnTo>
                    <a:pt x="193" y="53"/>
                  </a:lnTo>
                  <a:lnTo>
                    <a:pt x="199" y="48"/>
                  </a:lnTo>
                  <a:lnTo>
                    <a:pt x="204" y="44"/>
                  </a:lnTo>
                  <a:lnTo>
                    <a:pt x="213" y="36"/>
                  </a:lnTo>
                  <a:lnTo>
                    <a:pt x="219" y="26"/>
                  </a:lnTo>
                  <a:lnTo>
                    <a:pt x="222" y="19"/>
                  </a:lnTo>
                  <a:lnTo>
                    <a:pt x="224" y="11"/>
                  </a:lnTo>
                  <a:lnTo>
                    <a:pt x="225" y="5"/>
                  </a:lnTo>
                  <a:lnTo>
                    <a:pt x="225" y="3"/>
                  </a:lnTo>
                  <a:lnTo>
                    <a:pt x="270" y="0"/>
                  </a:lnTo>
                  <a:lnTo>
                    <a:pt x="270" y="11"/>
                  </a:lnTo>
                  <a:lnTo>
                    <a:pt x="268" y="23"/>
                  </a:lnTo>
                  <a:lnTo>
                    <a:pt x="264" y="38"/>
                  </a:lnTo>
                  <a:lnTo>
                    <a:pt x="257" y="53"/>
                  </a:lnTo>
                  <a:lnTo>
                    <a:pt x="252" y="60"/>
                  </a:lnTo>
                  <a:lnTo>
                    <a:pt x="246" y="68"/>
                  </a:lnTo>
                  <a:lnTo>
                    <a:pt x="240" y="75"/>
                  </a:lnTo>
                  <a:lnTo>
                    <a:pt x="232" y="81"/>
                  </a:lnTo>
                  <a:lnTo>
                    <a:pt x="224" y="87"/>
                  </a:lnTo>
                  <a:lnTo>
                    <a:pt x="214" y="93"/>
                  </a:lnTo>
                  <a:lnTo>
                    <a:pt x="203" y="98"/>
                  </a:lnTo>
                  <a:lnTo>
                    <a:pt x="191" y="103"/>
                  </a:lnTo>
                  <a:lnTo>
                    <a:pt x="180" y="107"/>
                  </a:lnTo>
                  <a:lnTo>
                    <a:pt x="167" y="111"/>
                  </a:lnTo>
                  <a:lnTo>
                    <a:pt x="156" y="114"/>
                  </a:lnTo>
                  <a:lnTo>
                    <a:pt x="145" y="117"/>
                  </a:lnTo>
                  <a:lnTo>
                    <a:pt x="119" y="125"/>
                  </a:lnTo>
                  <a:lnTo>
                    <a:pt x="99" y="133"/>
                  </a:lnTo>
                  <a:lnTo>
                    <a:pt x="90" y="136"/>
                  </a:lnTo>
                  <a:lnTo>
                    <a:pt x="81" y="140"/>
                  </a:lnTo>
                  <a:lnTo>
                    <a:pt x="74" y="145"/>
                  </a:lnTo>
                  <a:lnTo>
                    <a:pt x="68" y="149"/>
                  </a:lnTo>
                  <a:lnTo>
                    <a:pt x="63" y="154"/>
                  </a:lnTo>
                  <a:lnTo>
                    <a:pt x="58" y="160"/>
                  </a:lnTo>
                  <a:lnTo>
                    <a:pt x="54" y="166"/>
                  </a:lnTo>
                  <a:lnTo>
                    <a:pt x="52" y="173"/>
                  </a:lnTo>
                  <a:lnTo>
                    <a:pt x="50" y="180"/>
                  </a:lnTo>
                  <a:lnTo>
                    <a:pt x="48" y="189"/>
                  </a:lnTo>
                  <a:lnTo>
                    <a:pt x="47" y="199"/>
                  </a:lnTo>
                  <a:lnTo>
                    <a:pt x="47" y="209"/>
                  </a:lnTo>
                  <a:lnTo>
                    <a:pt x="47" y="346"/>
                  </a:lnTo>
                  <a:lnTo>
                    <a:pt x="577" y="346"/>
                  </a:lnTo>
                  <a:lnTo>
                    <a:pt x="577" y="209"/>
                  </a:lnTo>
                  <a:lnTo>
                    <a:pt x="577" y="199"/>
                  </a:lnTo>
                  <a:lnTo>
                    <a:pt x="576" y="189"/>
                  </a:lnTo>
                  <a:lnTo>
                    <a:pt x="574" y="180"/>
                  </a:lnTo>
                  <a:lnTo>
                    <a:pt x="572" y="173"/>
                  </a:lnTo>
                  <a:lnTo>
                    <a:pt x="568" y="166"/>
                  </a:lnTo>
                  <a:lnTo>
                    <a:pt x="565" y="160"/>
                  </a:lnTo>
                  <a:lnTo>
                    <a:pt x="561" y="154"/>
                  </a:lnTo>
                  <a:lnTo>
                    <a:pt x="555" y="149"/>
                  </a:lnTo>
                  <a:lnTo>
                    <a:pt x="549" y="145"/>
                  </a:lnTo>
                  <a:lnTo>
                    <a:pt x="543" y="140"/>
                  </a:lnTo>
                  <a:lnTo>
                    <a:pt x="534" y="136"/>
                  </a:lnTo>
                  <a:lnTo>
                    <a:pt x="525" y="133"/>
                  </a:lnTo>
                  <a:lnTo>
                    <a:pt x="503" y="125"/>
                  </a:lnTo>
                  <a:lnTo>
                    <a:pt x="478" y="117"/>
                  </a:lnTo>
                  <a:lnTo>
                    <a:pt x="467" y="114"/>
                  </a:lnTo>
                  <a:lnTo>
                    <a:pt x="456" y="111"/>
                  </a:lnTo>
                  <a:lnTo>
                    <a:pt x="444" y="107"/>
                  </a:lnTo>
                  <a:lnTo>
                    <a:pt x="432" y="103"/>
                  </a:lnTo>
                  <a:lnTo>
                    <a:pt x="420" y="98"/>
                  </a:lnTo>
                  <a:lnTo>
                    <a:pt x="410" y="93"/>
                  </a:lnTo>
                  <a:lnTo>
                    <a:pt x="400" y="87"/>
                  </a:lnTo>
                  <a:lnTo>
                    <a:pt x="392" y="81"/>
                  </a:lnTo>
                  <a:lnTo>
                    <a:pt x="384" y="75"/>
                  </a:lnTo>
                  <a:lnTo>
                    <a:pt x="377" y="68"/>
                  </a:lnTo>
                  <a:lnTo>
                    <a:pt x="372" y="60"/>
                  </a:lnTo>
                  <a:lnTo>
                    <a:pt x="367" y="53"/>
                  </a:lnTo>
                  <a:lnTo>
                    <a:pt x="360" y="38"/>
                  </a:lnTo>
                  <a:lnTo>
                    <a:pt x="355" y="23"/>
                  </a:lnTo>
                  <a:lnTo>
                    <a:pt x="352" y="11"/>
                  </a:lnTo>
                  <a:lnTo>
                    <a:pt x="352" y="0"/>
                  </a:lnTo>
                  <a:lnTo>
                    <a:pt x="399" y="3"/>
                  </a:lnTo>
                  <a:lnTo>
                    <a:pt x="399" y="5"/>
                  </a:lnTo>
                  <a:lnTo>
                    <a:pt x="399" y="11"/>
                  </a:lnTo>
                  <a:lnTo>
                    <a:pt x="402" y="19"/>
                  </a:lnTo>
                  <a:lnTo>
                    <a:pt x="404" y="26"/>
                  </a:lnTo>
                  <a:lnTo>
                    <a:pt x="410" y="36"/>
                  </a:lnTo>
                  <a:lnTo>
                    <a:pt x="419" y="44"/>
                  </a:lnTo>
                  <a:lnTo>
                    <a:pt x="425" y="48"/>
                  </a:lnTo>
                  <a:lnTo>
                    <a:pt x="431" y="53"/>
                  </a:lnTo>
                  <a:lnTo>
                    <a:pt x="438" y="57"/>
                  </a:lnTo>
                  <a:lnTo>
                    <a:pt x="447" y="59"/>
                  </a:lnTo>
                  <a:lnTo>
                    <a:pt x="458" y="63"/>
                  </a:lnTo>
                  <a:lnTo>
                    <a:pt x="469" y="66"/>
                  </a:lnTo>
                  <a:lnTo>
                    <a:pt x="480" y="70"/>
                  </a:lnTo>
                  <a:lnTo>
                    <a:pt x="491" y="73"/>
                  </a:lnTo>
                  <a:lnTo>
                    <a:pt x="517" y="81"/>
                  </a:lnTo>
                  <a:lnTo>
                    <a:pt x="541" y="90"/>
                  </a:lnTo>
                  <a:lnTo>
                    <a:pt x="552" y="95"/>
                  </a:lnTo>
                  <a:lnTo>
                    <a:pt x="563" y="100"/>
                  </a:lnTo>
                  <a:lnTo>
                    <a:pt x="573" y="106"/>
                  </a:lnTo>
                  <a:lnTo>
                    <a:pt x="583" y="112"/>
                  </a:lnTo>
                  <a:lnTo>
                    <a:pt x="592" y="120"/>
                  </a:lnTo>
                  <a:lnTo>
                    <a:pt x="599" y="129"/>
                  </a:lnTo>
                  <a:lnTo>
                    <a:pt x="606" y="139"/>
                  </a:lnTo>
                  <a:lnTo>
                    <a:pt x="613" y="150"/>
                  </a:lnTo>
                  <a:lnTo>
                    <a:pt x="616" y="162"/>
                  </a:lnTo>
                  <a:lnTo>
                    <a:pt x="620" y="177"/>
                  </a:lnTo>
                  <a:lnTo>
                    <a:pt x="622" y="192"/>
                  </a:lnTo>
                  <a:lnTo>
                    <a:pt x="622" y="209"/>
                  </a:lnTo>
                  <a:lnTo>
                    <a:pt x="622" y="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2" name="Freeform 114">
              <a:extLst>
                <a:ext uri="{FF2B5EF4-FFF2-40B4-BE49-F238E27FC236}">
                  <a16:creationId xmlns:a16="http://schemas.microsoft.com/office/drawing/2014/main" id="{50716418-60A3-441C-9682-642EED9A910F}"/>
                </a:ext>
              </a:extLst>
            </p:cNvPr>
            <p:cNvSpPr>
              <a:spLocks/>
            </p:cNvSpPr>
            <p:nvPr/>
          </p:nvSpPr>
          <p:spPr bwMode="auto">
            <a:xfrm>
              <a:off x="5678488" y="5273675"/>
              <a:ext cx="128588" cy="34925"/>
            </a:xfrm>
            <a:custGeom>
              <a:avLst/>
              <a:gdLst>
                <a:gd name="T0" fmla="*/ 79 w 325"/>
                <a:gd name="T1" fmla="*/ 87 h 87"/>
                <a:gd name="T2" fmla="*/ 59 w 325"/>
                <a:gd name="T3" fmla="*/ 87 h 87"/>
                <a:gd name="T4" fmla="*/ 41 w 325"/>
                <a:gd name="T5" fmla="*/ 86 h 87"/>
                <a:gd name="T6" fmla="*/ 20 w 325"/>
                <a:gd name="T7" fmla="*/ 82 h 87"/>
                <a:gd name="T8" fmla="*/ 0 w 325"/>
                <a:gd name="T9" fmla="*/ 78 h 87"/>
                <a:gd name="T10" fmla="*/ 11 w 325"/>
                <a:gd name="T11" fmla="*/ 33 h 87"/>
                <a:gd name="T12" fmla="*/ 32 w 325"/>
                <a:gd name="T13" fmla="*/ 38 h 87"/>
                <a:gd name="T14" fmla="*/ 53 w 325"/>
                <a:gd name="T15" fmla="*/ 40 h 87"/>
                <a:gd name="T16" fmla="*/ 74 w 325"/>
                <a:gd name="T17" fmla="*/ 41 h 87"/>
                <a:gd name="T18" fmla="*/ 92 w 325"/>
                <a:gd name="T19" fmla="*/ 41 h 87"/>
                <a:gd name="T20" fmla="*/ 111 w 325"/>
                <a:gd name="T21" fmla="*/ 39 h 87"/>
                <a:gd name="T22" fmla="*/ 128 w 325"/>
                <a:gd name="T23" fmla="*/ 36 h 87"/>
                <a:gd name="T24" fmla="*/ 143 w 325"/>
                <a:gd name="T25" fmla="*/ 34 h 87"/>
                <a:gd name="T26" fmla="*/ 157 w 325"/>
                <a:gd name="T27" fmla="*/ 29 h 87"/>
                <a:gd name="T28" fmla="*/ 182 w 325"/>
                <a:gd name="T29" fmla="*/ 22 h 87"/>
                <a:gd name="T30" fmla="*/ 200 w 325"/>
                <a:gd name="T31" fmla="*/ 13 h 87"/>
                <a:gd name="T32" fmla="*/ 213 w 325"/>
                <a:gd name="T33" fmla="*/ 7 h 87"/>
                <a:gd name="T34" fmla="*/ 218 w 325"/>
                <a:gd name="T35" fmla="*/ 5 h 87"/>
                <a:gd name="T36" fmla="*/ 220 w 325"/>
                <a:gd name="T37" fmla="*/ 2 h 87"/>
                <a:gd name="T38" fmla="*/ 224 w 325"/>
                <a:gd name="T39" fmla="*/ 1 h 87"/>
                <a:gd name="T40" fmla="*/ 229 w 325"/>
                <a:gd name="T41" fmla="*/ 0 h 87"/>
                <a:gd name="T42" fmla="*/ 232 w 325"/>
                <a:gd name="T43" fmla="*/ 1 h 87"/>
                <a:gd name="T44" fmla="*/ 236 w 325"/>
                <a:gd name="T45" fmla="*/ 1 h 87"/>
                <a:gd name="T46" fmla="*/ 240 w 325"/>
                <a:gd name="T47" fmla="*/ 2 h 87"/>
                <a:gd name="T48" fmla="*/ 243 w 325"/>
                <a:gd name="T49" fmla="*/ 5 h 87"/>
                <a:gd name="T50" fmla="*/ 246 w 325"/>
                <a:gd name="T51" fmla="*/ 7 h 87"/>
                <a:gd name="T52" fmla="*/ 252 w 325"/>
                <a:gd name="T53" fmla="*/ 11 h 87"/>
                <a:gd name="T54" fmla="*/ 267 w 325"/>
                <a:gd name="T55" fmla="*/ 19 h 87"/>
                <a:gd name="T56" fmla="*/ 278 w 325"/>
                <a:gd name="T57" fmla="*/ 24 h 87"/>
                <a:gd name="T58" fmla="*/ 291 w 325"/>
                <a:gd name="T59" fmla="*/ 28 h 87"/>
                <a:gd name="T60" fmla="*/ 307 w 325"/>
                <a:gd name="T61" fmla="*/ 32 h 87"/>
                <a:gd name="T62" fmla="*/ 325 w 325"/>
                <a:gd name="T63" fmla="*/ 33 h 87"/>
                <a:gd name="T64" fmla="*/ 325 w 325"/>
                <a:gd name="T65" fmla="*/ 78 h 87"/>
                <a:gd name="T66" fmla="*/ 308 w 325"/>
                <a:gd name="T67" fmla="*/ 78 h 87"/>
                <a:gd name="T68" fmla="*/ 292 w 325"/>
                <a:gd name="T69" fmla="*/ 76 h 87"/>
                <a:gd name="T70" fmla="*/ 279 w 325"/>
                <a:gd name="T71" fmla="*/ 72 h 87"/>
                <a:gd name="T72" fmla="*/ 265 w 325"/>
                <a:gd name="T73" fmla="*/ 68 h 87"/>
                <a:gd name="T74" fmla="*/ 254 w 325"/>
                <a:gd name="T75" fmla="*/ 65 h 87"/>
                <a:gd name="T76" fmla="*/ 243 w 325"/>
                <a:gd name="T77" fmla="*/ 60 h 87"/>
                <a:gd name="T78" fmla="*/ 235 w 325"/>
                <a:gd name="T79" fmla="*/ 55 h 87"/>
                <a:gd name="T80" fmla="*/ 227 w 325"/>
                <a:gd name="T81" fmla="*/ 51 h 87"/>
                <a:gd name="T82" fmla="*/ 218 w 325"/>
                <a:gd name="T83" fmla="*/ 56 h 87"/>
                <a:gd name="T84" fmla="*/ 204 w 325"/>
                <a:gd name="T85" fmla="*/ 62 h 87"/>
                <a:gd name="T86" fmla="*/ 188 w 325"/>
                <a:gd name="T87" fmla="*/ 68 h 87"/>
                <a:gd name="T88" fmla="*/ 171 w 325"/>
                <a:gd name="T89" fmla="*/ 74 h 87"/>
                <a:gd name="T90" fmla="*/ 150 w 325"/>
                <a:gd name="T91" fmla="*/ 79 h 87"/>
                <a:gd name="T92" fmla="*/ 128 w 325"/>
                <a:gd name="T93" fmla="*/ 83 h 87"/>
                <a:gd name="T94" fmla="*/ 105 w 325"/>
                <a:gd name="T95" fmla="*/ 87 h 87"/>
                <a:gd name="T96" fmla="*/ 79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9" y="87"/>
                  </a:moveTo>
                  <a:lnTo>
                    <a:pt x="59" y="87"/>
                  </a:lnTo>
                  <a:lnTo>
                    <a:pt x="41" y="86"/>
                  </a:lnTo>
                  <a:lnTo>
                    <a:pt x="20" y="82"/>
                  </a:lnTo>
                  <a:lnTo>
                    <a:pt x="0" y="78"/>
                  </a:lnTo>
                  <a:lnTo>
                    <a:pt x="11" y="33"/>
                  </a:lnTo>
                  <a:lnTo>
                    <a:pt x="32" y="38"/>
                  </a:lnTo>
                  <a:lnTo>
                    <a:pt x="53" y="40"/>
                  </a:lnTo>
                  <a:lnTo>
                    <a:pt x="74" y="41"/>
                  </a:lnTo>
                  <a:lnTo>
                    <a:pt x="92" y="41"/>
                  </a:lnTo>
                  <a:lnTo>
                    <a:pt x="111" y="39"/>
                  </a:lnTo>
                  <a:lnTo>
                    <a:pt x="128" y="36"/>
                  </a:lnTo>
                  <a:lnTo>
                    <a:pt x="143" y="34"/>
                  </a:lnTo>
                  <a:lnTo>
                    <a:pt x="157" y="29"/>
                  </a:lnTo>
                  <a:lnTo>
                    <a:pt x="182" y="22"/>
                  </a:lnTo>
                  <a:lnTo>
                    <a:pt x="200" y="13"/>
                  </a:lnTo>
                  <a:lnTo>
                    <a:pt x="213" y="7"/>
                  </a:lnTo>
                  <a:lnTo>
                    <a:pt x="218" y="5"/>
                  </a:lnTo>
                  <a:lnTo>
                    <a:pt x="220" y="2"/>
                  </a:lnTo>
                  <a:lnTo>
                    <a:pt x="224" y="1"/>
                  </a:lnTo>
                  <a:lnTo>
                    <a:pt x="229" y="0"/>
                  </a:lnTo>
                  <a:lnTo>
                    <a:pt x="232" y="1"/>
                  </a:lnTo>
                  <a:lnTo>
                    <a:pt x="236" y="1"/>
                  </a:lnTo>
                  <a:lnTo>
                    <a:pt x="240" y="2"/>
                  </a:lnTo>
                  <a:lnTo>
                    <a:pt x="243" y="5"/>
                  </a:lnTo>
                  <a:lnTo>
                    <a:pt x="246" y="7"/>
                  </a:lnTo>
                  <a:lnTo>
                    <a:pt x="252" y="11"/>
                  </a:lnTo>
                  <a:lnTo>
                    <a:pt x="267" y="19"/>
                  </a:lnTo>
                  <a:lnTo>
                    <a:pt x="278" y="24"/>
                  </a:lnTo>
                  <a:lnTo>
                    <a:pt x="291" y="28"/>
                  </a:lnTo>
                  <a:lnTo>
                    <a:pt x="307" y="32"/>
                  </a:lnTo>
                  <a:lnTo>
                    <a:pt x="325" y="33"/>
                  </a:lnTo>
                  <a:lnTo>
                    <a:pt x="325" y="78"/>
                  </a:lnTo>
                  <a:lnTo>
                    <a:pt x="308" y="78"/>
                  </a:lnTo>
                  <a:lnTo>
                    <a:pt x="292" y="76"/>
                  </a:lnTo>
                  <a:lnTo>
                    <a:pt x="279" y="72"/>
                  </a:lnTo>
                  <a:lnTo>
                    <a:pt x="265" y="68"/>
                  </a:lnTo>
                  <a:lnTo>
                    <a:pt x="254" y="65"/>
                  </a:lnTo>
                  <a:lnTo>
                    <a:pt x="243" y="60"/>
                  </a:lnTo>
                  <a:lnTo>
                    <a:pt x="235" y="55"/>
                  </a:lnTo>
                  <a:lnTo>
                    <a:pt x="227" y="51"/>
                  </a:lnTo>
                  <a:lnTo>
                    <a:pt x="218" y="56"/>
                  </a:lnTo>
                  <a:lnTo>
                    <a:pt x="204" y="62"/>
                  </a:lnTo>
                  <a:lnTo>
                    <a:pt x="188" y="68"/>
                  </a:lnTo>
                  <a:lnTo>
                    <a:pt x="171" y="74"/>
                  </a:lnTo>
                  <a:lnTo>
                    <a:pt x="150" y="79"/>
                  </a:lnTo>
                  <a:lnTo>
                    <a:pt x="128" y="83"/>
                  </a:lnTo>
                  <a:lnTo>
                    <a:pt x="105" y="87"/>
                  </a:lnTo>
                  <a:lnTo>
                    <a:pt x="79"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3" name="Freeform 115">
              <a:extLst>
                <a:ext uri="{FF2B5EF4-FFF2-40B4-BE49-F238E27FC236}">
                  <a16:creationId xmlns:a16="http://schemas.microsoft.com/office/drawing/2014/main" id="{9838D33C-34DB-4BEA-BD9C-42F14EAB37E6}"/>
                </a:ext>
              </a:extLst>
            </p:cNvPr>
            <p:cNvSpPr>
              <a:spLocks noEditPoints="1"/>
            </p:cNvSpPr>
            <p:nvPr/>
          </p:nvSpPr>
          <p:spPr bwMode="auto">
            <a:xfrm>
              <a:off x="5522913" y="5292725"/>
              <a:ext cx="120650" cy="130175"/>
            </a:xfrm>
            <a:custGeom>
              <a:avLst/>
              <a:gdLst>
                <a:gd name="T0" fmla="*/ 130 w 301"/>
                <a:gd name="T1" fmla="*/ 48 h 328"/>
                <a:gd name="T2" fmla="*/ 100 w 301"/>
                <a:gd name="T3" fmla="*/ 60 h 328"/>
                <a:gd name="T4" fmla="*/ 77 w 301"/>
                <a:gd name="T5" fmla="*/ 81 h 328"/>
                <a:gd name="T6" fmla="*/ 59 w 301"/>
                <a:gd name="T7" fmla="*/ 108 h 328"/>
                <a:gd name="T8" fmla="*/ 47 w 301"/>
                <a:gd name="T9" fmla="*/ 140 h 328"/>
                <a:gd name="T10" fmla="*/ 46 w 301"/>
                <a:gd name="T11" fmla="*/ 175 h 328"/>
                <a:gd name="T12" fmla="*/ 54 w 301"/>
                <a:gd name="T13" fmla="*/ 210 h 328"/>
                <a:gd name="T14" fmla="*/ 70 w 301"/>
                <a:gd name="T15" fmla="*/ 239 h 328"/>
                <a:gd name="T16" fmla="*/ 92 w 301"/>
                <a:gd name="T17" fmla="*/ 261 h 328"/>
                <a:gd name="T18" fmla="*/ 120 w 301"/>
                <a:gd name="T19" fmla="*/ 276 h 328"/>
                <a:gd name="T20" fmla="*/ 150 w 301"/>
                <a:gd name="T21" fmla="*/ 282 h 328"/>
                <a:gd name="T22" fmla="*/ 181 w 301"/>
                <a:gd name="T23" fmla="*/ 276 h 328"/>
                <a:gd name="T24" fmla="*/ 209 w 301"/>
                <a:gd name="T25" fmla="*/ 261 h 328"/>
                <a:gd name="T26" fmla="*/ 231 w 301"/>
                <a:gd name="T27" fmla="*/ 239 h 328"/>
                <a:gd name="T28" fmla="*/ 247 w 301"/>
                <a:gd name="T29" fmla="*/ 210 h 328"/>
                <a:gd name="T30" fmla="*/ 255 w 301"/>
                <a:gd name="T31" fmla="*/ 175 h 328"/>
                <a:gd name="T32" fmla="*/ 254 w 301"/>
                <a:gd name="T33" fmla="*/ 140 h 328"/>
                <a:gd name="T34" fmla="*/ 242 w 301"/>
                <a:gd name="T35" fmla="*/ 108 h 328"/>
                <a:gd name="T36" fmla="*/ 225 w 301"/>
                <a:gd name="T37" fmla="*/ 81 h 328"/>
                <a:gd name="T38" fmla="*/ 201 w 301"/>
                <a:gd name="T39" fmla="*/ 60 h 328"/>
                <a:gd name="T40" fmla="*/ 171 w 301"/>
                <a:gd name="T41" fmla="*/ 48 h 328"/>
                <a:gd name="T42" fmla="*/ 150 w 301"/>
                <a:gd name="T43" fmla="*/ 328 h 328"/>
                <a:gd name="T44" fmla="*/ 106 w 301"/>
                <a:gd name="T45" fmla="*/ 320 h 328"/>
                <a:gd name="T46" fmla="*/ 66 w 301"/>
                <a:gd name="T47" fmla="*/ 299 h 328"/>
                <a:gd name="T48" fmla="*/ 34 w 301"/>
                <a:gd name="T49" fmla="*/ 267 h 328"/>
                <a:gd name="T50" fmla="*/ 12 w 301"/>
                <a:gd name="T51" fmla="*/ 227 h 328"/>
                <a:gd name="T52" fmla="*/ 1 w 301"/>
                <a:gd name="T53" fmla="*/ 180 h 328"/>
                <a:gd name="T54" fmla="*/ 2 w 301"/>
                <a:gd name="T55" fmla="*/ 131 h 328"/>
                <a:gd name="T56" fmla="*/ 18 w 301"/>
                <a:gd name="T57" fmla="*/ 86 h 328"/>
                <a:gd name="T58" fmla="*/ 44 w 301"/>
                <a:gd name="T59" fmla="*/ 48 h 328"/>
                <a:gd name="T60" fmla="*/ 78 w 301"/>
                <a:gd name="T61" fmla="*/ 20 h 328"/>
                <a:gd name="T62" fmla="*/ 120 w 301"/>
                <a:gd name="T63" fmla="*/ 4 h 328"/>
                <a:gd name="T64" fmla="*/ 166 w 301"/>
                <a:gd name="T65" fmla="*/ 1 h 328"/>
                <a:gd name="T66" fmla="*/ 209 w 301"/>
                <a:gd name="T67" fmla="*/ 12 h 328"/>
                <a:gd name="T68" fmla="*/ 246 w 301"/>
                <a:gd name="T69" fmla="*/ 38 h 328"/>
                <a:gd name="T70" fmla="*/ 276 w 301"/>
                <a:gd name="T71" fmla="*/ 72 h 328"/>
                <a:gd name="T72" fmla="*/ 295 w 301"/>
                <a:gd name="T73" fmla="*/ 115 h 328"/>
                <a:gd name="T74" fmla="*/ 301 w 301"/>
                <a:gd name="T75" fmla="*/ 164 h 328"/>
                <a:gd name="T76" fmla="*/ 295 w 301"/>
                <a:gd name="T77" fmla="*/ 212 h 328"/>
                <a:gd name="T78" fmla="*/ 276 w 301"/>
                <a:gd name="T79" fmla="*/ 255 h 328"/>
                <a:gd name="T80" fmla="*/ 246 w 301"/>
                <a:gd name="T81" fmla="*/ 291 h 328"/>
                <a:gd name="T82" fmla="*/ 209 w 301"/>
                <a:gd name="T83" fmla="*/ 315 h 328"/>
                <a:gd name="T84" fmla="*/ 166 w 301"/>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28">
                  <a:moveTo>
                    <a:pt x="150" y="47"/>
                  </a:moveTo>
                  <a:lnTo>
                    <a:pt x="139" y="47"/>
                  </a:lnTo>
                  <a:lnTo>
                    <a:pt x="130" y="48"/>
                  </a:lnTo>
                  <a:lnTo>
                    <a:pt x="120" y="52"/>
                  </a:lnTo>
                  <a:lnTo>
                    <a:pt x="110" y="55"/>
                  </a:lnTo>
                  <a:lnTo>
                    <a:pt x="100" y="60"/>
                  </a:lnTo>
                  <a:lnTo>
                    <a:pt x="92" y="66"/>
                  </a:lnTo>
                  <a:lnTo>
                    <a:pt x="84" y="72"/>
                  </a:lnTo>
                  <a:lnTo>
                    <a:pt x="77" y="81"/>
                  </a:lnTo>
                  <a:lnTo>
                    <a:pt x="70" y="88"/>
                  </a:lnTo>
                  <a:lnTo>
                    <a:pt x="63" y="98"/>
                  </a:lnTo>
                  <a:lnTo>
                    <a:pt x="59" y="108"/>
                  </a:lnTo>
                  <a:lnTo>
                    <a:pt x="54" y="118"/>
                  </a:lnTo>
                  <a:lnTo>
                    <a:pt x="50" y="129"/>
                  </a:lnTo>
                  <a:lnTo>
                    <a:pt x="47" y="140"/>
                  </a:lnTo>
                  <a:lnTo>
                    <a:pt x="46" y="152"/>
                  </a:lnTo>
                  <a:lnTo>
                    <a:pt x="46" y="164"/>
                  </a:lnTo>
                  <a:lnTo>
                    <a:pt x="46" y="175"/>
                  </a:lnTo>
                  <a:lnTo>
                    <a:pt x="47" y="188"/>
                  </a:lnTo>
                  <a:lnTo>
                    <a:pt x="50" y="199"/>
                  </a:lnTo>
                  <a:lnTo>
                    <a:pt x="54" y="210"/>
                  </a:lnTo>
                  <a:lnTo>
                    <a:pt x="59" y="220"/>
                  </a:lnTo>
                  <a:lnTo>
                    <a:pt x="63" y="229"/>
                  </a:lnTo>
                  <a:lnTo>
                    <a:pt x="70" y="239"/>
                  </a:lnTo>
                  <a:lnTo>
                    <a:pt x="77" y="247"/>
                  </a:lnTo>
                  <a:lnTo>
                    <a:pt x="84" y="255"/>
                  </a:lnTo>
                  <a:lnTo>
                    <a:pt x="92" y="261"/>
                  </a:lnTo>
                  <a:lnTo>
                    <a:pt x="100" y="267"/>
                  </a:lnTo>
                  <a:lnTo>
                    <a:pt x="110" y="272"/>
                  </a:lnTo>
                  <a:lnTo>
                    <a:pt x="120" y="276"/>
                  </a:lnTo>
                  <a:lnTo>
                    <a:pt x="130" y="280"/>
                  </a:lnTo>
                  <a:lnTo>
                    <a:pt x="139" y="281"/>
                  </a:lnTo>
                  <a:lnTo>
                    <a:pt x="150" y="282"/>
                  </a:lnTo>
                  <a:lnTo>
                    <a:pt x="162" y="281"/>
                  </a:lnTo>
                  <a:lnTo>
                    <a:pt x="171" y="280"/>
                  </a:lnTo>
                  <a:lnTo>
                    <a:pt x="181" y="276"/>
                  </a:lnTo>
                  <a:lnTo>
                    <a:pt x="191" y="272"/>
                  </a:lnTo>
                  <a:lnTo>
                    <a:pt x="201" y="267"/>
                  </a:lnTo>
                  <a:lnTo>
                    <a:pt x="209" y="261"/>
                  </a:lnTo>
                  <a:lnTo>
                    <a:pt x="217" y="255"/>
                  </a:lnTo>
                  <a:lnTo>
                    <a:pt x="225" y="247"/>
                  </a:lnTo>
                  <a:lnTo>
                    <a:pt x="231" y="239"/>
                  </a:lnTo>
                  <a:lnTo>
                    <a:pt x="238" y="229"/>
                  </a:lnTo>
                  <a:lnTo>
                    <a:pt x="242" y="220"/>
                  </a:lnTo>
                  <a:lnTo>
                    <a:pt x="247" y="210"/>
                  </a:lnTo>
                  <a:lnTo>
                    <a:pt x="251" y="199"/>
                  </a:lnTo>
                  <a:lnTo>
                    <a:pt x="254" y="188"/>
                  </a:lnTo>
                  <a:lnTo>
                    <a:pt x="255" y="175"/>
                  </a:lnTo>
                  <a:lnTo>
                    <a:pt x="256" y="164"/>
                  </a:lnTo>
                  <a:lnTo>
                    <a:pt x="255" y="152"/>
                  </a:lnTo>
                  <a:lnTo>
                    <a:pt x="254" y="140"/>
                  </a:lnTo>
                  <a:lnTo>
                    <a:pt x="251" y="129"/>
                  </a:lnTo>
                  <a:lnTo>
                    <a:pt x="247" y="118"/>
                  </a:lnTo>
                  <a:lnTo>
                    <a:pt x="242" y="108"/>
                  </a:lnTo>
                  <a:lnTo>
                    <a:pt x="238" y="98"/>
                  </a:lnTo>
                  <a:lnTo>
                    <a:pt x="231" y="88"/>
                  </a:lnTo>
                  <a:lnTo>
                    <a:pt x="225" y="81"/>
                  </a:lnTo>
                  <a:lnTo>
                    <a:pt x="217" y="72"/>
                  </a:lnTo>
                  <a:lnTo>
                    <a:pt x="209" y="66"/>
                  </a:lnTo>
                  <a:lnTo>
                    <a:pt x="201" y="60"/>
                  </a:lnTo>
                  <a:lnTo>
                    <a:pt x="191" y="55"/>
                  </a:lnTo>
                  <a:lnTo>
                    <a:pt x="181" y="52"/>
                  </a:lnTo>
                  <a:lnTo>
                    <a:pt x="171" y="48"/>
                  </a:lnTo>
                  <a:lnTo>
                    <a:pt x="162" y="47"/>
                  </a:lnTo>
                  <a:lnTo>
                    <a:pt x="150" y="47"/>
                  </a:lnTo>
                  <a:close/>
                  <a:moveTo>
                    <a:pt x="150" y="328"/>
                  </a:moveTo>
                  <a:lnTo>
                    <a:pt x="136" y="326"/>
                  </a:lnTo>
                  <a:lnTo>
                    <a:pt x="120" y="324"/>
                  </a:lnTo>
                  <a:lnTo>
                    <a:pt x="106" y="320"/>
                  </a:lnTo>
                  <a:lnTo>
                    <a:pt x="92" y="315"/>
                  </a:lnTo>
                  <a:lnTo>
                    <a:pt x="78" y="308"/>
                  </a:lnTo>
                  <a:lnTo>
                    <a:pt x="66" y="299"/>
                  </a:lnTo>
                  <a:lnTo>
                    <a:pt x="55" y="291"/>
                  </a:lnTo>
                  <a:lnTo>
                    <a:pt x="44" y="280"/>
                  </a:lnTo>
                  <a:lnTo>
                    <a:pt x="34" y="267"/>
                  </a:lnTo>
                  <a:lnTo>
                    <a:pt x="25" y="255"/>
                  </a:lnTo>
                  <a:lnTo>
                    <a:pt x="18" y="242"/>
                  </a:lnTo>
                  <a:lnTo>
                    <a:pt x="12" y="227"/>
                  </a:lnTo>
                  <a:lnTo>
                    <a:pt x="7" y="212"/>
                  </a:lnTo>
                  <a:lnTo>
                    <a:pt x="2" y="196"/>
                  </a:lnTo>
                  <a:lnTo>
                    <a:pt x="1" y="180"/>
                  </a:lnTo>
                  <a:lnTo>
                    <a:pt x="0" y="164"/>
                  </a:lnTo>
                  <a:lnTo>
                    <a:pt x="1" y="147"/>
                  </a:lnTo>
                  <a:lnTo>
                    <a:pt x="2" y="131"/>
                  </a:lnTo>
                  <a:lnTo>
                    <a:pt x="7" y="115"/>
                  </a:lnTo>
                  <a:lnTo>
                    <a:pt x="12" y="101"/>
                  </a:lnTo>
                  <a:lnTo>
                    <a:pt x="18" y="86"/>
                  </a:lnTo>
                  <a:lnTo>
                    <a:pt x="25" y="72"/>
                  </a:lnTo>
                  <a:lnTo>
                    <a:pt x="34" y="60"/>
                  </a:lnTo>
                  <a:lnTo>
                    <a:pt x="44" y="48"/>
                  </a:lnTo>
                  <a:lnTo>
                    <a:pt x="55" y="38"/>
                  </a:lnTo>
                  <a:lnTo>
                    <a:pt x="66" y="28"/>
                  </a:lnTo>
                  <a:lnTo>
                    <a:pt x="78" y="20"/>
                  </a:lnTo>
                  <a:lnTo>
                    <a:pt x="92" y="12"/>
                  </a:lnTo>
                  <a:lnTo>
                    <a:pt x="106" y="7"/>
                  </a:lnTo>
                  <a:lnTo>
                    <a:pt x="120" y="4"/>
                  </a:lnTo>
                  <a:lnTo>
                    <a:pt x="136" y="1"/>
                  </a:lnTo>
                  <a:lnTo>
                    <a:pt x="150" y="0"/>
                  </a:lnTo>
                  <a:lnTo>
                    <a:pt x="166" y="1"/>
                  </a:lnTo>
                  <a:lnTo>
                    <a:pt x="181" y="4"/>
                  </a:lnTo>
                  <a:lnTo>
                    <a:pt x="196" y="7"/>
                  </a:lnTo>
                  <a:lnTo>
                    <a:pt x="209" y="12"/>
                  </a:lnTo>
                  <a:lnTo>
                    <a:pt x="223" y="20"/>
                  </a:lnTo>
                  <a:lnTo>
                    <a:pt x="235" y="28"/>
                  </a:lnTo>
                  <a:lnTo>
                    <a:pt x="246" y="38"/>
                  </a:lnTo>
                  <a:lnTo>
                    <a:pt x="257" y="48"/>
                  </a:lnTo>
                  <a:lnTo>
                    <a:pt x="267" y="60"/>
                  </a:lnTo>
                  <a:lnTo>
                    <a:pt x="276" y="72"/>
                  </a:lnTo>
                  <a:lnTo>
                    <a:pt x="283" y="86"/>
                  </a:lnTo>
                  <a:lnTo>
                    <a:pt x="290" y="101"/>
                  </a:lnTo>
                  <a:lnTo>
                    <a:pt x="295" y="115"/>
                  </a:lnTo>
                  <a:lnTo>
                    <a:pt x="299" y="131"/>
                  </a:lnTo>
                  <a:lnTo>
                    <a:pt x="301" y="147"/>
                  </a:lnTo>
                  <a:lnTo>
                    <a:pt x="301" y="164"/>
                  </a:lnTo>
                  <a:lnTo>
                    <a:pt x="301" y="180"/>
                  </a:lnTo>
                  <a:lnTo>
                    <a:pt x="299" y="196"/>
                  </a:lnTo>
                  <a:lnTo>
                    <a:pt x="295" y="212"/>
                  </a:lnTo>
                  <a:lnTo>
                    <a:pt x="290" y="227"/>
                  </a:lnTo>
                  <a:lnTo>
                    <a:pt x="283" y="242"/>
                  </a:lnTo>
                  <a:lnTo>
                    <a:pt x="276" y="255"/>
                  </a:lnTo>
                  <a:lnTo>
                    <a:pt x="267" y="267"/>
                  </a:lnTo>
                  <a:lnTo>
                    <a:pt x="257" y="280"/>
                  </a:lnTo>
                  <a:lnTo>
                    <a:pt x="246" y="291"/>
                  </a:lnTo>
                  <a:lnTo>
                    <a:pt x="235" y="299"/>
                  </a:lnTo>
                  <a:lnTo>
                    <a:pt x="223" y="308"/>
                  </a:lnTo>
                  <a:lnTo>
                    <a:pt x="209" y="315"/>
                  </a:lnTo>
                  <a:lnTo>
                    <a:pt x="196" y="320"/>
                  </a:lnTo>
                  <a:lnTo>
                    <a:pt x="181" y="324"/>
                  </a:lnTo>
                  <a:lnTo>
                    <a:pt x="166" y="326"/>
                  </a:lnTo>
                  <a:lnTo>
                    <a:pt x="15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4" name="Freeform 116">
              <a:extLst>
                <a:ext uri="{FF2B5EF4-FFF2-40B4-BE49-F238E27FC236}">
                  <a16:creationId xmlns:a16="http://schemas.microsoft.com/office/drawing/2014/main" id="{8B63E073-04CE-4E4C-8B24-AFD02B61702C}"/>
                </a:ext>
              </a:extLst>
            </p:cNvPr>
            <p:cNvSpPr>
              <a:spLocks/>
            </p:cNvSpPr>
            <p:nvPr/>
          </p:nvSpPr>
          <p:spPr bwMode="auto">
            <a:xfrm>
              <a:off x="5594351" y="5407025"/>
              <a:ext cx="46038" cy="39688"/>
            </a:xfrm>
            <a:custGeom>
              <a:avLst/>
              <a:gdLst>
                <a:gd name="T0" fmla="*/ 102 w 114"/>
                <a:gd name="T1" fmla="*/ 98 h 98"/>
                <a:gd name="T2" fmla="*/ 84 w 114"/>
                <a:gd name="T3" fmla="*/ 92 h 98"/>
                <a:gd name="T4" fmla="*/ 67 w 114"/>
                <a:gd name="T5" fmla="*/ 87 h 98"/>
                <a:gd name="T6" fmla="*/ 56 w 114"/>
                <a:gd name="T7" fmla="*/ 83 h 98"/>
                <a:gd name="T8" fmla="*/ 48 w 114"/>
                <a:gd name="T9" fmla="*/ 78 h 98"/>
                <a:gd name="T10" fmla="*/ 39 w 114"/>
                <a:gd name="T11" fmla="*/ 73 h 98"/>
                <a:gd name="T12" fmla="*/ 33 w 114"/>
                <a:gd name="T13" fmla="*/ 68 h 98"/>
                <a:gd name="T14" fmla="*/ 25 w 114"/>
                <a:gd name="T15" fmla="*/ 62 h 98"/>
                <a:gd name="T16" fmla="*/ 21 w 114"/>
                <a:gd name="T17" fmla="*/ 56 h 98"/>
                <a:gd name="T18" fmla="*/ 16 w 114"/>
                <a:gd name="T19" fmla="*/ 50 h 98"/>
                <a:gd name="T20" fmla="*/ 12 w 114"/>
                <a:gd name="T21" fmla="*/ 44 h 98"/>
                <a:gd name="T22" fmla="*/ 6 w 114"/>
                <a:gd name="T23" fmla="*/ 32 h 98"/>
                <a:gd name="T24" fmla="*/ 2 w 114"/>
                <a:gd name="T25" fmla="*/ 19 h 98"/>
                <a:gd name="T26" fmla="*/ 0 w 114"/>
                <a:gd name="T27" fmla="*/ 8 h 98"/>
                <a:gd name="T28" fmla="*/ 0 w 114"/>
                <a:gd name="T29" fmla="*/ 0 h 98"/>
                <a:gd name="T30" fmla="*/ 46 w 114"/>
                <a:gd name="T31" fmla="*/ 2 h 98"/>
                <a:gd name="T32" fmla="*/ 46 w 114"/>
                <a:gd name="T33" fmla="*/ 10 h 98"/>
                <a:gd name="T34" fmla="*/ 50 w 114"/>
                <a:gd name="T35" fmla="*/ 21 h 98"/>
                <a:gd name="T36" fmla="*/ 55 w 114"/>
                <a:gd name="T37" fmla="*/ 27 h 98"/>
                <a:gd name="T38" fmla="*/ 61 w 114"/>
                <a:gd name="T39" fmla="*/ 33 h 98"/>
                <a:gd name="T40" fmla="*/ 70 w 114"/>
                <a:gd name="T41" fmla="*/ 38 h 98"/>
                <a:gd name="T42" fmla="*/ 81 w 114"/>
                <a:gd name="T43" fmla="*/ 43 h 98"/>
                <a:gd name="T44" fmla="*/ 98 w 114"/>
                <a:gd name="T45" fmla="*/ 49 h 98"/>
                <a:gd name="T46" fmla="*/ 114 w 114"/>
                <a:gd name="T47" fmla="*/ 53 h 98"/>
                <a:gd name="T48" fmla="*/ 102 w 114"/>
                <a:gd name="T4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98">
                  <a:moveTo>
                    <a:pt x="102" y="98"/>
                  </a:moveTo>
                  <a:lnTo>
                    <a:pt x="84" y="92"/>
                  </a:lnTo>
                  <a:lnTo>
                    <a:pt x="67" y="87"/>
                  </a:lnTo>
                  <a:lnTo>
                    <a:pt x="56" y="83"/>
                  </a:lnTo>
                  <a:lnTo>
                    <a:pt x="48" y="78"/>
                  </a:lnTo>
                  <a:lnTo>
                    <a:pt x="39" y="73"/>
                  </a:lnTo>
                  <a:lnTo>
                    <a:pt x="33" y="68"/>
                  </a:lnTo>
                  <a:lnTo>
                    <a:pt x="25" y="62"/>
                  </a:lnTo>
                  <a:lnTo>
                    <a:pt x="21" y="56"/>
                  </a:lnTo>
                  <a:lnTo>
                    <a:pt x="16" y="50"/>
                  </a:lnTo>
                  <a:lnTo>
                    <a:pt x="12" y="44"/>
                  </a:lnTo>
                  <a:lnTo>
                    <a:pt x="6" y="32"/>
                  </a:lnTo>
                  <a:lnTo>
                    <a:pt x="2" y="19"/>
                  </a:lnTo>
                  <a:lnTo>
                    <a:pt x="0" y="8"/>
                  </a:lnTo>
                  <a:lnTo>
                    <a:pt x="0" y="0"/>
                  </a:lnTo>
                  <a:lnTo>
                    <a:pt x="46" y="2"/>
                  </a:lnTo>
                  <a:lnTo>
                    <a:pt x="46" y="10"/>
                  </a:lnTo>
                  <a:lnTo>
                    <a:pt x="50" y="21"/>
                  </a:lnTo>
                  <a:lnTo>
                    <a:pt x="55" y="27"/>
                  </a:lnTo>
                  <a:lnTo>
                    <a:pt x="61" y="33"/>
                  </a:lnTo>
                  <a:lnTo>
                    <a:pt x="70" y="38"/>
                  </a:lnTo>
                  <a:lnTo>
                    <a:pt x="81" y="43"/>
                  </a:lnTo>
                  <a:lnTo>
                    <a:pt x="98" y="49"/>
                  </a:lnTo>
                  <a:lnTo>
                    <a:pt x="114" y="53"/>
                  </a:lnTo>
                  <a:lnTo>
                    <a:pt x="102"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5" name="Freeform 117">
              <a:extLst>
                <a:ext uri="{FF2B5EF4-FFF2-40B4-BE49-F238E27FC236}">
                  <a16:creationId xmlns:a16="http://schemas.microsoft.com/office/drawing/2014/main" id="{078BD6AF-BAEB-4F99-93DB-B0489BB1E480}"/>
                </a:ext>
              </a:extLst>
            </p:cNvPr>
            <p:cNvSpPr>
              <a:spLocks/>
            </p:cNvSpPr>
            <p:nvPr/>
          </p:nvSpPr>
          <p:spPr bwMode="auto">
            <a:xfrm>
              <a:off x="5483226" y="5407025"/>
              <a:ext cx="147638" cy="127000"/>
            </a:xfrm>
            <a:custGeom>
              <a:avLst/>
              <a:gdLst>
                <a:gd name="T0" fmla="*/ 374 w 374"/>
                <a:gd name="T1" fmla="*/ 319 h 319"/>
                <a:gd name="T2" fmla="*/ 0 w 374"/>
                <a:gd name="T3" fmla="*/ 319 h 319"/>
                <a:gd name="T4" fmla="*/ 0 w 374"/>
                <a:gd name="T5" fmla="*/ 168 h 319"/>
                <a:gd name="T6" fmla="*/ 1 w 374"/>
                <a:gd name="T7" fmla="*/ 153 h 319"/>
                <a:gd name="T8" fmla="*/ 2 w 374"/>
                <a:gd name="T9" fmla="*/ 140 h 319"/>
                <a:gd name="T10" fmla="*/ 6 w 374"/>
                <a:gd name="T11" fmla="*/ 127 h 319"/>
                <a:gd name="T12" fmla="*/ 9 w 374"/>
                <a:gd name="T13" fmla="*/ 118 h 319"/>
                <a:gd name="T14" fmla="*/ 14 w 374"/>
                <a:gd name="T15" fmla="*/ 108 h 319"/>
                <a:gd name="T16" fmla="*/ 20 w 374"/>
                <a:gd name="T17" fmla="*/ 100 h 319"/>
                <a:gd name="T18" fmla="*/ 27 w 374"/>
                <a:gd name="T19" fmla="*/ 93 h 319"/>
                <a:gd name="T20" fmla="*/ 34 w 374"/>
                <a:gd name="T21" fmla="*/ 86 h 319"/>
                <a:gd name="T22" fmla="*/ 41 w 374"/>
                <a:gd name="T23" fmla="*/ 81 h 319"/>
                <a:gd name="T24" fmla="*/ 50 w 374"/>
                <a:gd name="T25" fmla="*/ 76 h 319"/>
                <a:gd name="T26" fmla="*/ 58 w 374"/>
                <a:gd name="T27" fmla="*/ 71 h 319"/>
                <a:gd name="T28" fmla="*/ 68 w 374"/>
                <a:gd name="T29" fmla="*/ 67 h 319"/>
                <a:gd name="T30" fmla="*/ 88 w 374"/>
                <a:gd name="T31" fmla="*/ 60 h 319"/>
                <a:gd name="T32" fmla="*/ 109 w 374"/>
                <a:gd name="T33" fmla="*/ 54 h 319"/>
                <a:gd name="T34" fmla="*/ 126 w 374"/>
                <a:gd name="T35" fmla="*/ 49 h 319"/>
                <a:gd name="T36" fmla="*/ 144 w 374"/>
                <a:gd name="T37" fmla="*/ 43 h 319"/>
                <a:gd name="T38" fmla="*/ 157 w 374"/>
                <a:gd name="T39" fmla="*/ 38 h 319"/>
                <a:gd name="T40" fmla="*/ 165 w 374"/>
                <a:gd name="T41" fmla="*/ 32 h 319"/>
                <a:gd name="T42" fmla="*/ 171 w 374"/>
                <a:gd name="T43" fmla="*/ 24 h 319"/>
                <a:gd name="T44" fmla="*/ 175 w 374"/>
                <a:gd name="T45" fmla="*/ 18 h 319"/>
                <a:gd name="T46" fmla="*/ 179 w 374"/>
                <a:gd name="T47" fmla="*/ 7 h 319"/>
                <a:gd name="T48" fmla="*/ 180 w 374"/>
                <a:gd name="T49" fmla="*/ 2 h 319"/>
                <a:gd name="T50" fmla="*/ 225 w 374"/>
                <a:gd name="T51" fmla="*/ 0 h 319"/>
                <a:gd name="T52" fmla="*/ 225 w 374"/>
                <a:gd name="T53" fmla="*/ 8 h 319"/>
                <a:gd name="T54" fmla="*/ 224 w 374"/>
                <a:gd name="T55" fmla="*/ 19 h 319"/>
                <a:gd name="T56" fmla="*/ 219 w 374"/>
                <a:gd name="T57" fmla="*/ 32 h 319"/>
                <a:gd name="T58" fmla="*/ 213 w 374"/>
                <a:gd name="T59" fmla="*/ 44 h 319"/>
                <a:gd name="T60" fmla="*/ 209 w 374"/>
                <a:gd name="T61" fmla="*/ 50 h 319"/>
                <a:gd name="T62" fmla="*/ 204 w 374"/>
                <a:gd name="T63" fmla="*/ 56 h 319"/>
                <a:gd name="T64" fmla="*/ 200 w 374"/>
                <a:gd name="T65" fmla="*/ 62 h 319"/>
                <a:gd name="T66" fmla="*/ 193 w 374"/>
                <a:gd name="T67" fmla="*/ 68 h 319"/>
                <a:gd name="T68" fmla="*/ 186 w 374"/>
                <a:gd name="T69" fmla="*/ 73 h 319"/>
                <a:gd name="T70" fmla="*/ 177 w 374"/>
                <a:gd name="T71" fmla="*/ 78 h 319"/>
                <a:gd name="T72" fmla="*/ 169 w 374"/>
                <a:gd name="T73" fmla="*/ 83 h 319"/>
                <a:gd name="T74" fmla="*/ 159 w 374"/>
                <a:gd name="T75" fmla="*/ 87 h 319"/>
                <a:gd name="T76" fmla="*/ 139 w 374"/>
                <a:gd name="T77" fmla="*/ 93 h 319"/>
                <a:gd name="T78" fmla="*/ 122 w 374"/>
                <a:gd name="T79" fmla="*/ 98 h 319"/>
                <a:gd name="T80" fmla="*/ 101 w 374"/>
                <a:gd name="T81" fmla="*/ 104 h 319"/>
                <a:gd name="T82" fmla="*/ 85 w 374"/>
                <a:gd name="T83" fmla="*/ 110 h 319"/>
                <a:gd name="T84" fmla="*/ 72 w 374"/>
                <a:gd name="T85" fmla="*/ 115 h 319"/>
                <a:gd name="T86" fmla="*/ 62 w 374"/>
                <a:gd name="T87" fmla="*/ 122 h 319"/>
                <a:gd name="T88" fmla="*/ 58 w 374"/>
                <a:gd name="T89" fmla="*/ 126 h 319"/>
                <a:gd name="T90" fmla="*/ 55 w 374"/>
                <a:gd name="T91" fmla="*/ 130 h 319"/>
                <a:gd name="T92" fmla="*/ 52 w 374"/>
                <a:gd name="T93" fmla="*/ 135 h 319"/>
                <a:gd name="T94" fmla="*/ 50 w 374"/>
                <a:gd name="T95" fmla="*/ 140 h 319"/>
                <a:gd name="T96" fmla="*/ 47 w 374"/>
                <a:gd name="T97" fmla="*/ 152 h 319"/>
                <a:gd name="T98" fmla="*/ 46 w 374"/>
                <a:gd name="T99" fmla="*/ 168 h 319"/>
                <a:gd name="T100" fmla="*/ 46 w 374"/>
                <a:gd name="T101" fmla="*/ 272 h 319"/>
                <a:gd name="T102" fmla="*/ 374 w 374"/>
                <a:gd name="T103" fmla="*/ 272 h 319"/>
                <a:gd name="T104" fmla="*/ 374 w 374"/>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4" h="319">
                  <a:moveTo>
                    <a:pt x="374" y="319"/>
                  </a:moveTo>
                  <a:lnTo>
                    <a:pt x="0" y="319"/>
                  </a:lnTo>
                  <a:lnTo>
                    <a:pt x="0" y="168"/>
                  </a:lnTo>
                  <a:lnTo>
                    <a:pt x="1" y="153"/>
                  </a:lnTo>
                  <a:lnTo>
                    <a:pt x="2" y="140"/>
                  </a:lnTo>
                  <a:lnTo>
                    <a:pt x="6" y="127"/>
                  </a:lnTo>
                  <a:lnTo>
                    <a:pt x="9" y="118"/>
                  </a:lnTo>
                  <a:lnTo>
                    <a:pt x="14" y="108"/>
                  </a:lnTo>
                  <a:lnTo>
                    <a:pt x="20" y="100"/>
                  </a:lnTo>
                  <a:lnTo>
                    <a:pt x="27" y="93"/>
                  </a:lnTo>
                  <a:lnTo>
                    <a:pt x="34" y="86"/>
                  </a:lnTo>
                  <a:lnTo>
                    <a:pt x="41" y="81"/>
                  </a:lnTo>
                  <a:lnTo>
                    <a:pt x="50" y="76"/>
                  </a:lnTo>
                  <a:lnTo>
                    <a:pt x="58" y="71"/>
                  </a:lnTo>
                  <a:lnTo>
                    <a:pt x="68" y="67"/>
                  </a:lnTo>
                  <a:lnTo>
                    <a:pt x="88" y="60"/>
                  </a:lnTo>
                  <a:lnTo>
                    <a:pt x="109" y="54"/>
                  </a:lnTo>
                  <a:lnTo>
                    <a:pt x="126" y="49"/>
                  </a:lnTo>
                  <a:lnTo>
                    <a:pt x="144" y="43"/>
                  </a:lnTo>
                  <a:lnTo>
                    <a:pt x="157" y="38"/>
                  </a:lnTo>
                  <a:lnTo>
                    <a:pt x="165" y="32"/>
                  </a:lnTo>
                  <a:lnTo>
                    <a:pt x="171" y="24"/>
                  </a:lnTo>
                  <a:lnTo>
                    <a:pt x="175" y="18"/>
                  </a:lnTo>
                  <a:lnTo>
                    <a:pt x="179" y="7"/>
                  </a:lnTo>
                  <a:lnTo>
                    <a:pt x="180" y="2"/>
                  </a:lnTo>
                  <a:lnTo>
                    <a:pt x="225" y="0"/>
                  </a:lnTo>
                  <a:lnTo>
                    <a:pt x="225" y="8"/>
                  </a:lnTo>
                  <a:lnTo>
                    <a:pt x="224" y="19"/>
                  </a:lnTo>
                  <a:lnTo>
                    <a:pt x="219" y="32"/>
                  </a:lnTo>
                  <a:lnTo>
                    <a:pt x="213" y="44"/>
                  </a:lnTo>
                  <a:lnTo>
                    <a:pt x="209" y="50"/>
                  </a:lnTo>
                  <a:lnTo>
                    <a:pt x="204" y="56"/>
                  </a:lnTo>
                  <a:lnTo>
                    <a:pt x="200" y="62"/>
                  </a:lnTo>
                  <a:lnTo>
                    <a:pt x="193" y="68"/>
                  </a:lnTo>
                  <a:lnTo>
                    <a:pt x="186" y="73"/>
                  </a:lnTo>
                  <a:lnTo>
                    <a:pt x="177" y="78"/>
                  </a:lnTo>
                  <a:lnTo>
                    <a:pt x="169" y="83"/>
                  </a:lnTo>
                  <a:lnTo>
                    <a:pt x="159" y="87"/>
                  </a:lnTo>
                  <a:lnTo>
                    <a:pt x="139" y="93"/>
                  </a:lnTo>
                  <a:lnTo>
                    <a:pt x="122" y="98"/>
                  </a:lnTo>
                  <a:lnTo>
                    <a:pt x="101" y="104"/>
                  </a:lnTo>
                  <a:lnTo>
                    <a:pt x="85" y="110"/>
                  </a:lnTo>
                  <a:lnTo>
                    <a:pt x="72" y="115"/>
                  </a:lnTo>
                  <a:lnTo>
                    <a:pt x="62" y="122"/>
                  </a:lnTo>
                  <a:lnTo>
                    <a:pt x="58" y="126"/>
                  </a:lnTo>
                  <a:lnTo>
                    <a:pt x="55" y="130"/>
                  </a:lnTo>
                  <a:lnTo>
                    <a:pt x="52" y="135"/>
                  </a:lnTo>
                  <a:lnTo>
                    <a:pt x="50" y="140"/>
                  </a:lnTo>
                  <a:lnTo>
                    <a:pt x="47" y="152"/>
                  </a:lnTo>
                  <a:lnTo>
                    <a:pt x="46" y="168"/>
                  </a:lnTo>
                  <a:lnTo>
                    <a:pt x="46" y="272"/>
                  </a:lnTo>
                  <a:lnTo>
                    <a:pt x="374" y="272"/>
                  </a:lnTo>
                  <a:lnTo>
                    <a:pt x="37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6" name="Freeform 118">
              <a:extLst>
                <a:ext uri="{FF2B5EF4-FFF2-40B4-BE49-F238E27FC236}">
                  <a16:creationId xmlns:a16="http://schemas.microsoft.com/office/drawing/2014/main" id="{170FF2F3-CB57-4DB3-8537-4742D033C405}"/>
                </a:ext>
              </a:extLst>
            </p:cNvPr>
            <p:cNvSpPr>
              <a:spLocks/>
            </p:cNvSpPr>
            <p:nvPr/>
          </p:nvSpPr>
          <p:spPr bwMode="auto">
            <a:xfrm>
              <a:off x="5530851" y="5322888"/>
              <a:ext cx="103188" cy="31750"/>
            </a:xfrm>
            <a:custGeom>
              <a:avLst/>
              <a:gdLst>
                <a:gd name="T0" fmla="*/ 64 w 261"/>
                <a:gd name="T1" fmla="*/ 79 h 79"/>
                <a:gd name="T2" fmla="*/ 49 w 261"/>
                <a:gd name="T3" fmla="*/ 79 h 79"/>
                <a:gd name="T4" fmla="*/ 33 w 261"/>
                <a:gd name="T5" fmla="*/ 76 h 79"/>
                <a:gd name="T6" fmla="*/ 17 w 261"/>
                <a:gd name="T7" fmla="*/ 74 h 79"/>
                <a:gd name="T8" fmla="*/ 0 w 261"/>
                <a:gd name="T9" fmla="*/ 70 h 79"/>
                <a:gd name="T10" fmla="*/ 11 w 261"/>
                <a:gd name="T11" fmla="*/ 26 h 79"/>
                <a:gd name="T12" fmla="*/ 28 w 261"/>
                <a:gd name="T13" fmla="*/ 30 h 79"/>
                <a:gd name="T14" fmla="*/ 44 w 261"/>
                <a:gd name="T15" fmla="*/ 32 h 79"/>
                <a:gd name="T16" fmla="*/ 60 w 261"/>
                <a:gd name="T17" fmla="*/ 32 h 79"/>
                <a:gd name="T18" fmla="*/ 75 w 261"/>
                <a:gd name="T19" fmla="*/ 32 h 79"/>
                <a:gd name="T20" fmla="*/ 89 w 261"/>
                <a:gd name="T21" fmla="*/ 31 h 79"/>
                <a:gd name="T22" fmla="*/ 102 w 261"/>
                <a:gd name="T23" fmla="*/ 30 h 79"/>
                <a:gd name="T24" fmla="*/ 114 w 261"/>
                <a:gd name="T25" fmla="*/ 26 h 79"/>
                <a:gd name="T26" fmla="*/ 126 w 261"/>
                <a:gd name="T27" fmla="*/ 24 h 79"/>
                <a:gd name="T28" fmla="*/ 145 w 261"/>
                <a:gd name="T29" fmla="*/ 18 h 79"/>
                <a:gd name="T30" fmla="*/ 159 w 261"/>
                <a:gd name="T31" fmla="*/ 10 h 79"/>
                <a:gd name="T32" fmla="*/ 169 w 261"/>
                <a:gd name="T33" fmla="*/ 5 h 79"/>
                <a:gd name="T34" fmla="*/ 172 w 261"/>
                <a:gd name="T35" fmla="*/ 4 h 79"/>
                <a:gd name="T36" fmla="*/ 175 w 261"/>
                <a:gd name="T37" fmla="*/ 2 h 79"/>
                <a:gd name="T38" fmla="*/ 179 w 261"/>
                <a:gd name="T39" fmla="*/ 0 h 79"/>
                <a:gd name="T40" fmla="*/ 184 w 261"/>
                <a:gd name="T41" fmla="*/ 0 h 79"/>
                <a:gd name="T42" fmla="*/ 187 w 261"/>
                <a:gd name="T43" fmla="*/ 0 h 79"/>
                <a:gd name="T44" fmla="*/ 191 w 261"/>
                <a:gd name="T45" fmla="*/ 0 h 79"/>
                <a:gd name="T46" fmla="*/ 195 w 261"/>
                <a:gd name="T47" fmla="*/ 2 h 79"/>
                <a:gd name="T48" fmla="*/ 199 w 261"/>
                <a:gd name="T49" fmla="*/ 4 h 79"/>
                <a:gd name="T50" fmla="*/ 201 w 261"/>
                <a:gd name="T51" fmla="*/ 6 h 79"/>
                <a:gd name="T52" fmla="*/ 205 w 261"/>
                <a:gd name="T53" fmla="*/ 10 h 79"/>
                <a:gd name="T54" fmla="*/ 217 w 261"/>
                <a:gd name="T55" fmla="*/ 16 h 79"/>
                <a:gd name="T56" fmla="*/ 225 w 261"/>
                <a:gd name="T57" fmla="*/ 20 h 79"/>
                <a:gd name="T58" fmla="*/ 235 w 261"/>
                <a:gd name="T59" fmla="*/ 22 h 79"/>
                <a:gd name="T60" fmla="*/ 248 w 261"/>
                <a:gd name="T61" fmla="*/ 25 h 79"/>
                <a:gd name="T62" fmla="*/ 261 w 261"/>
                <a:gd name="T63" fmla="*/ 25 h 79"/>
                <a:gd name="T64" fmla="*/ 261 w 261"/>
                <a:gd name="T65" fmla="*/ 71 h 79"/>
                <a:gd name="T66" fmla="*/ 248 w 261"/>
                <a:gd name="T67" fmla="*/ 71 h 79"/>
                <a:gd name="T68" fmla="*/ 235 w 261"/>
                <a:gd name="T69" fmla="*/ 69 h 79"/>
                <a:gd name="T70" fmla="*/ 224 w 261"/>
                <a:gd name="T71" fmla="*/ 68 h 79"/>
                <a:gd name="T72" fmla="*/ 213 w 261"/>
                <a:gd name="T73" fmla="*/ 64 h 79"/>
                <a:gd name="T74" fmla="*/ 196 w 261"/>
                <a:gd name="T75" fmla="*/ 58 h 79"/>
                <a:gd name="T76" fmla="*/ 183 w 261"/>
                <a:gd name="T77" fmla="*/ 51 h 79"/>
                <a:gd name="T78" fmla="*/ 163 w 261"/>
                <a:gd name="T79" fmla="*/ 59 h 79"/>
                <a:gd name="T80" fmla="*/ 136 w 261"/>
                <a:gd name="T81" fmla="*/ 69 h 79"/>
                <a:gd name="T82" fmla="*/ 120 w 261"/>
                <a:gd name="T83" fmla="*/ 73 h 79"/>
                <a:gd name="T84" fmla="*/ 103 w 261"/>
                <a:gd name="T85" fmla="*/ 76 h 79"/>
                <a:gd name="T86" fmla="*/ 83 w 261"/>
                <a:gd name="T87" fmla="*/ 78 h 79"/>
                <a:gd name="T88" fmla="*/ 64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4" y="79"/>
                  </a:moveTo>
                  <a:lnTo>
                    <a:pt x="49" y="79"/>
                  </a:lnTo>
                  <a:lnTo>
                    <a:pt x="33" y="76"/>
                  </a:lnTo>
                  <a:lnTo>
                    <a:pt x="17" y="74"/>
                  </a:lnTo>
                  <a:lnTo>
                    <a:pt x="0" y="70"/>
                  </a:lnTo>
                  <a:lnTo>
                    <a:pt x="11" y="26"/>
                  </a:lnTo>
                  <a:lnTo>
                    <a:pt x="28" y="30"/>
                  </a:lnTo>
                  <a:lnTo>
                    <a:pt x="44" y="32"/>
                  </a:lnTo>
                  <a:lnTo>
                    <a:pt x="60" y="32"/>
                  </a:lnTo>
                  <a:lnTo>
                    <a:pt x="75" y="32"/>
                  </a:lnTo>
                  <a:lnTo>
                    <a:pt x="89" y="31"/>
                  </a:lnTo>
                  <a:lnTo>
                    <a:pt x="102" y="30"/>
                  </a:lnTo>
                  <a:lnTo>
                    <a:pt x="114" y="26"/>
                  </a:lnTo>
                  <a:lnTo>
                    <a:pt x="126" y="24"/>
                  </a:lnTo>
                  <a:lnTo>
                    <a:pt x="145" y="18"/>
                  </a:lnTo>
                  <a:lnTo>
                    <a:pt x="159" y="10"/>
                  </a:lnTo>
                  <a:lnTo>
                    <a:pt x="169" y="5"/>
                  </a:lnTo>
                  <a:lnTo>
                    <a:pt x="172" y="4"/>
                  </a:lnTo>
                  <a:lnTo>
                    <a:pt x="175" y="2"/>
                  </a:lnTo>
                  <a:lnTo>
                    <a:pt x="179" y="0"/>
                  </a:lnTo>
                  <a:lnTo>
                    <a:pt x="184" y="0"/>
                  </a:lnTo>
                  <a:lnTo>
                    <a:pt x="187" y="0"/>
                  </a:lnTo>
                  <a:lnTo>
                    <a:pt x="191" y="0"/>
                  </a:lnTo>
                  <a:lnTo>
                    <a:pt x="195" y="2"/>
                  </a:lnTo>
                  <a:lnTo>
                    <a:pt x="199" y="4"/>
                  </a:lnTo>
                  <a:lnTo>
                    <a:pt x="201" y="6"/>
                  </a:lnTo>
                  <a:lnTo>
                    <a:pt x="205" y="10"/>
                  </a:lnTo>
                  <a:lnTo>
                    <a:pt x="217" y="16"/>
                  </a:lnTo>
                  <a:lnTo>
                    <a:pt x="225" y="20"/>
                  </a:lnTo>
                  <a:lnTo>
                    <a:pt x="235" y="22"/>
                  </a:lnTo>
                  <a:lnTo>
                    <a:pt x="248" y="25"/>
                  </a:lnTo>
                  <a:lnTo>
                    <a:pt x="261" y="25"/>
                  </a:lnTo>
                  <a:lnTo>
                    <a:pt x="261" y="71"/>
                  </a:lnTo>
                  <a:lnTo>
                    <a:pt x="248" y="71"/>
                  </a:lnTo>
                  <a:lnTo>
                    <a:pt x="235" y="69"/>
                  </a:lnTo>
                  <a:lnTo>
                    <a:pt x="224" y="68"/>
                  </a:lnTo>
                  <a:lnTo>
                    <a:pt x="213" y="64"/>
                  </a:lnTo>
                  <a:lnTo>
                    <a:pt x="196" y="58"/>
                  </a:lnTo>
                  <a:lnTo>
                    <a:pt x="183" y="51"/>
                  </a:lnTo>
                  <a:lnTo>
                    <a:pt x="163" y="59"/>
                  </a:lnTo>
                  <a:lnTo>
                    <a:pt x="136" y="69"/>
                  </a:lnTo>
                  <a:lnTo>
                    <a:pt x="120" y="73"/>
                  </a:lnTo>
                  <a:lnTo>
                    <a:pt x="103" y="76"/>
                  </a:lnTo>
                  <a:lnTo>
                    <a:pt x="83" y="78"/>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7" name="Freeform 119">
              <a:extLst>
                <a:ext uri="{FF2B5EF4-FFF2-40B4-BE49-F238E27FC236}">
                  <a16:creationId xmlns:a16="http://schemas.microsoft.com/office/drawing/2014/main" id="{3DD01D0F-AD14-413E-8EBD-7A2FB7D06E0C}"/>
                </a:ext>
              </a:extLst>
            </p:cNvPr>
            <p:cNvSpPr>
              <a:spLocks noEditPoints="1"/>
            </p:cNvSpPr>
            <p:nvPr/>
          </p:nvSpPr>
          <p:spPr bwMode="auto">
            <a:xfrm>
              <a:off x="5843588" y="5292725"/>
              <a:ext cx="120650" cy="130175"/>
            </a:xfrm>
            <a:custGeom>
              <a:avLst/>
              <a:gdLst>
                <a:gd name="T0" fmla="*/ 130 w 303"/>
                <a:gd name="T1" fmla="*/ 48 h 328"/>
                <a:gd name="T2" fmla="*/ 102 w 303"/>
                <a:gd name="T3" fmla="*/ 60 h 328"/>
                <a:gd name="T4" fmla="*/ 78 w 303"/>
                <a:gd name="T5" fmla="*/ 81 h 328"/>
                <a:gd name="T6" fmla="*/ 59 w 303"/>
                <a:gd name="T7" fmla="*/ 108 h 328"/>
                <a:gd name="T8" fmla="*/ 50 w 303"/>
                <a:gd name="T9" fmla="*/ 140 h 328"/>
                <a:gd name="T10" fmla="*/ 47 w 303"/>
                <a:gd name="T11" fmla="*/ 175 h 328"/>
                <a:gd name="T12" fmla="*/ 56 w 303"/>
                <a:gd name="T13" fmla="*/ 210 h 328"/>
                <a:gd name="T14" fmla="*/ 70 w 303"/>
                <a:gd name="T15" fmla="*/ 239 h 328"/>
                <a:gd name="T16" fmla="*/ 94 w 303"/>
                <a:gd name="T17" fmla="*/ 261 h 328"/>
                <a:gd name="T18" fmla="*/ 121 w 303"/>
                <a:gd name="T19" fmla="*/ 276 h 328"/>
                <a:gd name="T20" fmla="*/ 151 w 303"/>
                <a:gd name="T21" fmla="*/ 282 h 328"/>
                <a:gd name="T22" fmla="*/ 183 w 303"/>
                <a:gd name="T23" fmla="*/ 276 h 328"/>
                <a:gd name="T24" fmla="*/ 210 w 303"/>
                <a:gd name="T25" fmla="*/ 261 h 328"/>
                <a:gd name="T26" fmla="*/ 232 w 303"/>
                <a:gd name="T27" fmla="*/ 239 h 328"/>
                <a:gd name="T28" fmla="*/ 248 w 303"/>
                <a:gd name="T29" fmla="*/ 210 h 328"/>
                <a:gd name="T30" fmla="*/ 257 w 303"/>
                <a:gd name="T31" fmla="*/ 175 h 328"/>
                <a:gd name="T32" fmla="*/ 254 w 303"/>
                <a:gd name="T33" fmla="*/ 140 h 328"/>
                <a:gd name="T34" fmla="*/ 245 w 303"/>
                <a:gd name="T35" fmla="*/ 108 h 328"/>
                <a:gd name="T36" fmla="*/ 226 w 303"/>
                <a:gd name="T37" fmla="*/ 81 h 328"/>
                <a:gd name="T38" fmla="*/ 202 w 303"/>
                <a:gd name="T39" fmla="*/ 60 h 328"/>
                <a:gd name="T40" fmla="*/ 173 w 303"/>
                <a:gd name="T41" fmla="*/ 48 h 328"/>
                <a:gd name="T42" fmla="*/ 151 w 303"/>
                <a:gd name="T43" fmla="*/ 328 h 328"/>
                <a:gd name="T44" fmla="*/ 107 w 303"/>
                <a:gd name="T45" fmla="*/ 320 h 328"/>
                <a:gd name="T46" fmla="*/ 68 w 303"/>
                <a:gd name="T47" fmla="*/ 299 h 328"/>
                <a:gd name="T48" fmla="*/ 35 w 303"/>
                <a:gd name="T49" fmla="*/ 267 h 328"/>
                <a:gd name="T50" fmla="*/ 13 w 303"/>
                <a:gd name="T51" fmla="*/ 227 h 328"/>
                <a:gd name="T52" fmla="*/ 2 w 303"/>
                <a:gd name="T53" fmla="*/ 180 h 328"/>
                <a:gd name="T54" fmla="*/ 4 w 303"/>
                <a:gd name="T55" fmla="*/ 131 h 328"/>
                <a:gd name="T56" fmla="*/ 19 w 303"/>
                <a:gd name="T57" fmla="*/ 86 h 328"/>
                <a:gd name="T58" fmla="*/ 45 w 303"/>
                <a:gd name="T59" fmla="*/ 48 h 328"/>
                <a:gd name="T60" fmla="*/ 80 w 303"/>
                <a:gd name="T61" fmla="*/ 20 h 328"/>
                <a:gd name="T62" fmla="*/ 122 w 303"/>
                <a:gd name="T63" fmla="*/ 4 h 328"/>
                <a:gd name="T64" fmla="*/ 167 w 303"/>
                <a:gd name="T65" fmla="*/ 1 h 328"/>
                <a:gd name="T66" fmla="*/ 210 w 303"/>
                <a:gd name="T67" fmla="*/ 12 h 328"/>
                <a:gd name="T68" fmla="*/ 248 w 303"/>
                <a:gd name="T69" fmla="*/ 38 h 328"/>
                <a:gd name="T70" fmla="*/ 278 w 303"/>
                <a:gd name="T71" fmla="*/ 72 h 328"/>
                <a:gd name="T72" fmla="*/ 296 w 303"/>
                <a:gd name="T73" fmla="*/ 115 h 328"/>
                <a:gd name="T74" fmla="*/ 303 w 303"/>
                <a:gd name="T75" fmla="*/ 164 h 328"/>
                <a:gd name="T76" fmla="*/ 296 w 303"/>
                <a:gd name="T77" fmla="*/ 212 h 328"/>
                <a:gd name="T78" fmla="*/ 278 w 303"/>
                <a:gd name="T79" fmla="*/ 255 h 328"/>
                <a:gd name="T80" fmla="*/ 248 w 303"/>
                <a:gd name="T81" fmla="*/ 291 h 328"/>
                <a:gd name="T82" fmla="*/ 210 w 303"/>
                <a:gd name="T83" fmla="*/ 315 h 328"/>
                <a:gd name="T84" fmla="*/ 167 w 303"/>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3" h="328">
                  <a:moveTo>
                    <a:pt x="151" y="47"/>
                  </a:moveTo>
                  <a:lnTo>
                    <a:pt x="141" y="47"/>
                  </a:lnTo>
                  <a:lnTo>
                    <a:pt x="130" y="48"/>
                  </a:lnTo>
                  <a:lnTo>
                    <a:pt x="121" y="52"/>
                  </a:lnTo>
                  <a:lnTo>
                    <a:pt x="111" y="55"/>
                  </a:lnTo>
                  <a:lnTo>
                    <a:pt x="102" y="60"/>
                  </a:lnTo>
                  <a:lnTo>
                    <a:pt x="94" y="66"/>
                  </a:lnTo>
                  <a:lnTo>
                    <a:pt x="85" y="72"/>
                  </a:lnTo>
                  <a:lnTo>
                    <a:pt x="78" y="81"/>
                  </a:lnTo>
                  <a:lnTo>
                    <a:pt x="70" y="88"/>
                  </a:lnTo>
                  <a:lnTo>
                    <a:pt x="65" y="98"/>
                  </a:lnTo>
                  <a:lnTo>
                    <a:pt x="59" y="108"/>
                  </a:lnTo>
                  <a:lnTo>
                    <a:pt x="56" y="118"/>
                  </a:lnTo>
                  <a:lnTo>
                    <a:pt x="52" y="129"/>
                  </a:lnTo>
                  <a:lnTo>
                    <a:pt x="50" y="140"/>
                  </a:lnTo>
                  <a:lnTo>
                    <a:pt x="47" y="152"/>
                  </a:lnTo>
                  <a:lnTo>
                    <a:pt x="47" y="164"/>
                  </a:lnTo>
                  <a:lnTo>
                    <a:pt x="47" y="175"/>
                  </a:lnTo>
                  <a:lnTo>
                    <a:pt x="50" y="188"/>
                  </a:lnTo>
                  <a:lnTo>
                    <a:pt x="52" y="199"/>
                  </a:lnTo>
                  <a:lnTo>
                    <a:pt x="56" y="210"/>
                  </a:lnTo>
                  <a:lnTo>
                    <a:pt x="59" y="220"/>
                  </a:lnTo>
                  <a:lnTo>
                    <a:pt x="65" y="229"/>
                  </a:lnTo>
                  <a:lnTo>
                    <a:pt x="70" y="239"/>
                  </a:lnTo>
                  <a:lnTo>
                    <a:pt x="78" y="247"/>
                  </a:lnTo>
                  <a:lnTo>
                    <a:pt x="85" y="255"/>
                  </a:lnTo>
                  <a:lnTo>
                    <a:pt x="94" y="261"/>
                  </a:lnTo>
                  <a:lnTo>
                    <a:pt x="102" y="267"/>
                  </a:lnTo>
                  <a:lnTo>
                    <a:pt x="111" y="272"/>
                  </a:lnTo>
                  <a:lnTo>
                    <a:pt x="121" y="276"/>
                  </a:lnTo>
                  <a:lnTo>
                    <a:pt x="130" y="280"/>
                  </a:lnTo>
                  <a:lnTo>
                    <a:pt x="141" y="281"/>
                  </a:lnTo>
                  <a:lnTo>
                    <a:pt x="151" y="282"/>
                  </a:lnTo>
                  <a:lnTo>
                    <a:pt x="162" y="281"/>
                  </a:lnTo>
                  <a:lnTo>
                    <a:pt x="173" y="280"/>
                  </a:lnTo>
                  <a:lnTo>
                    <a:pt x="183" y="276"/>
                  </a:lnTo>
                  <a:lnTo>
                    <a:pt x="193" y="272"/>
                  </a:lnTo>
                  <a:lnTo>
                    <a:pt x="202" y="267"/>
                  </a:lnTo>
                  <a:lnTo>
                    <a:pt x="210" y="261"/>
                  </a:lnTo>
                  <a:lnTo>
                    <a:pt x="219" y="255"/>
                  </a:lnTo>
                  <a:lnTo>
                    <a:pt x="226" y="247"/>
                  </a:lnTo>
                  <a:lnTo>
                    <a:pt x="232" y="239"/>
                  </a:lnTo>
                  <a:lnTo>
                    <a:pt x="238" y="229"/>
                  </a:lnTo>
                  <a:lnTo>
                    <a:pt x="245" y="220"/>
                  </a:lnTo>
                  <a:lnTo>
                    <a:pt x="248" y="210"/>
                  </a:lnTo>
                  <a:lnTo>
                    <a:pt x="252" y="199"/>
                  </a:lnTo>
                  <a:lnTo>
                    <a:pt x="254" y="188"/>
                  </a:lnTo>
                  <a:lnTo>
                    <a:pt x="257" y="175"/>
                  </a:lnTo>
                  <a:lnTo>
                    <a:pt x="257" y="164"/>
                  </a:lnTo>
                  <a:lnTo>
                    <a:pt x="257" y="152"/>
                  </a:lnTo>
                  <a:lnTo>
                    <a:pt x="254" y="140"/>
                  </a:lnTo>
                  <a:lnTo>
                    <a:pt x="252" y="129"/>
                  </a:lnTo>
                  <a:lnTo>
                    <a:pt x="248" y="118"/>
                  </a:lnTo>
                  <a:lnTo>
                    <a:pt x="245" y="108"/>
                  </a:lnTo>
                  <a:lnTo>
                    <a:pt x="238" y="98"/>
                  </a:lnTo>
                  <a:lnTo>
                    <a:pt x="232" y="88"/>
                  </a:lnTo>
                  <a:lnTo>
                    <a:pt x="226" y="81"/>
                  </a:lnTo>
                  <a:lnTo>
                    <a:pt x="219" y="72"/>
                  </a:lnTo>
                  <a:lnTo>
                    <a:pt x="210" y="66"/>
                  </a:lnTo>
                  <a:lnTo>
                    <a:pt x="202" y="60"/>
                  </a:lnTo>
                  <a:lnTo>
                    <a:pt x="193" y="55"/>
                  </a:lnTo>
                  <a:lnTo>
                    <a:pt x="183" y="52"/>
                  </a:lnTo>
                  <a:lnTo>
                    <a:pt x="173" y="48"/>
                  </a:lnTo>
                  <a:lnTo>
                    <a:pt x="162" y="47"/>
                  </a:lnTo>
                  <a:lnTo>
                    <a:pt x="151" y="47"/>
                  </a:lnTo>
                  <a:close/>
                  <a:moveTo>
                    <a:pt x="151" y="328"/>
                  </a:moveTo>
                  <a:lnTo>
                    <a:pt x="137" y="326"/>
                  </a:lnTo>
                  <a:lnTo>
                    <a:pt x="122" y="324"/>
                  </a:lnTo>
                  <a:lnTo>
                    <a:pt x="107" y="320"/>
                  </a:lnTo>
                  <a:lnTo>
                    <a:pt x="94" y="315"/>
                  </a:lnTo>
                  <a:lnTo>
                    <a:pt x="80" y="308"/>
                  </a:lnTo>
                  <a:lnTo>
                    <a:pt x="68" y="299"/>
                  </a:lnTo>
                  <a:lnTo>
                    <a:pt x="56" y="291"/>
                  </a:lnTo>
                  <a:lnTo>
                    <a:pt x="45" y="280"/>
                  </a:lnTo>
                  <a:lnTo>
                    <a:pt x="35" y="267"/>
                  </a:lnTo>
                  <a:lnTo>
                    <a:pt x="26" y="255"/>
                  </a:lnTo>
                  <a:lnTo>
                    <a:pt x="19" y="242"/>
                  </a:lnTo>
                  <a:lnTo>
                    <a:pt x="13" y="227"/>
                  </a:lnTo>
                  <a:lnTo>
                    <a:pt x="8" y="212"/>
                  </a:lnTo>
                  <a:lnTo>
                    <a:pt x="4" y="196"/>
                  </a:lnTo>
                  <a:lnTo>
                    <a:pt x="2" y="180"/>
                  </a:lnTo>
                  <a:lnTo>
                    <a:pt x="0" y="164"/>
                  </a:lnTo>
                  <a:lnTo>
                    <a:pt x="2" y="147"/>
                  </a:lnTo>
                  <a:lnTo>
                    <a:pt x="4" y="131"/>
                  </a:lnTo>
                  <a:lnTo>
                    <a:pt x="8" y="115"/>
                  </a:lnTo>
                  <a:lnTo>
                    <a:pt x="13" y="101"/>
                  </a:lnTo>
                  <a:lnTo>
                    <a:pt x="19" y="86"/>
                  </a:lnTo>
                  <a:lnTo>
                    <a:pt x="26" y="72"/>
                  </a:lnTo>
                  <a:lnTo>
                    <a:pt x="35" y="60"/>
                  </a:lnTo>
                  <a:lnTo>
                    <a:pt x="45" y="48"/>
                  </a:lnTo>
                  <a:lnTo>
                    <a:pt x="56" y="38"/>
                  </a:lnTo>
                  <a:lnTo>
                    <a:pt x="68" y="28"/>
                  </a:lnTo>
                  <a:lnTo>
                    <a:pt x="80" y="20"/>
                  </a:lnTo>
                  <a:lnTo>
                    <a:pt x="94" y="12"/>
                  </a:lnTo>
                  <a:lnTo>
                    <a:pt x="107" y="7"/>
                  </a:lnTo>
                  <a:lnTo>
                    <a:pt x="122" y="4"/>
                  </a:lnTo>
                  <a:lnTo>
                    <a:pt x="137" y="1"/>
                  </a:lnTo>
                  <a:lnTo>
                    <a:pt x="151" y="0"/>
                  </a:lnTo>
                  <a:lnTo>
                    <a:pt x="167" y="1"/>
                  </a:lnTo>
                  <a:lnTo>
                    <a:pt x="182" y="4"/>
                  </a:lnTo>
                  <a:lnTo>
                    <a:pt x="197" y="7"/>
                  </a:lnTo>
                  <a:lnTo>
                    <a:pt x="210" y="12"/>
                  </a:lnTo>
                  <a:lnTo>
                    <a:pt x="224" y="20"/>
                  </a:lnTo>
                  <a:lnTo>
                    <a:pt x="236" y="28"/>
                  </a:lnTo>
                  <a:lnTo>
                    <a:pt x="248" y="38"/>
                  </a:lnTo>
                  <a:lnTo>
                    <a:pt x="258" y="48"/>
                  </a:lnTo>
                  <a:lnTo>
                    <a:pt x="268" y="60"/>
                  </a:lnTo>
                  <a:lnTo>
                    <a:pt x="278" y="72"/>
                  </a:lnTo>
                  <a:lnTo>
                    <a:pt x="285" y="86"/>
                  </a:lnTo>
                  <a:lnTo>
                    <a:pt x="291" y="101"/>
                  </a:lnTo>
                  <a:lnTo>
                    <a:pt x="296" y="115"/>
                  </a:lnTo>
                  <a:lnTo>
                    <a:pt x="300" y="131"/>
                  </a:lnTo>
                  <a:lnTo>
                    <a:pt x="302" y="147"/>
                  </a:lnTo>
                  <a:lnTo>
                    <a:pt x="303" y="164"/>
                  </a:lnTo>
                  <a:lnTo>
                    <a:pt x="302" y="180"/>
                  </a:lnTo>
                  <a:lnTo>
                    <a:pt x="300" y="196"/>
                  </a:lnTo>
                  <a:lnTo>
                    <a:pt x="296" y="212"/>
                  </a:lnTo>
                  <a:lnTo>
                    <a:pt x="291" y="227"/>
                  </a:lnTo>
                  <a:lnTo>
                    <a:pt x="285" y="242"/>
                  </a:lnTo>
                  <a:lnTo>
                    <a:pt x="278" y="255"/>
                  </a:lnTo>
                  <a:lnTo>
                    <a:pt x="268" y="267"/>
                  </a:lnTo>
                  <a:lnTo>
                    <a:pt x="258" y="280"/>
                  </a:lnTo>
                  <a:lnTo>
                    <a:pt x="248" y="291"/>
                  </a:lnTo>
                  <a:lnTo>
                    <a:pt x="236" y="299"/>
                  </a:lnTo>
                  <a:lnTo>
                    <a:pt x="224" y="308"/>
                  </a:lnTo>
                  <a:lnTo>
                    <a:pt x="210" y="315"/>
                  </a:lnTo>
                  <a:lnTo>
                    <a:pt x="197" y="320"/>
                  </a:lnTo>
                  <a:lnTo>
                    <a:pt x="182" y="324"/>
                  </a:lnTo>
                  <a:lnTo>
                    <a:pt x="167" y="326"/>
                  </a:lnTo>
                  <a:lnTo>
                    <a:pt x="15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8" name="Freeform 120">
              <a:extLst>
                <a:ext uri="{FF2B5EF4-FFF2-40B4-BE49-F238E27FC236}">
                  <a16:creationId xmlns:a16="http://schemas.microsoft.com/office/drawing/2014/main" id="{45DF0826-98A0-4543-9434-95FE64F67796}"/>
                </a:ext>
              </a:extLst>
            </p:cNvPr>
            <p:cNvSpPr>
              <a:spLocks/>
            </p:cNvSpPr>
            <p:nvPr/>
          </p:nvSpPr>
          <p:spPr bwMode="auto">
            <a:xfrm>
              <a:off x="5859463" y="5407025"/>
              <a:ext cx="144463" cy="127000"/>
            </a:xfrm>
            <a:custGeom>
              <a:avLst/>
              <a:gdLst>
                <a:gd name="T0" fmla="*/ 363 w 363"/>
                <a:gd name="T1" fmla="*/ 319 h 319"/>
                <a:gd name="T2" fmla="*/ 0 w 363"/>
                <a:gd name="T3" fmla="*/ 319 h 319"/>
                <a:gd name="T4" fmla="*/ 0 w 363"/>
                <a:gd name="T5" fmla="*/ 272 h 319"/>
                <a:gd name="T6" fmla="*/ 317 w 363"/>
                <a:gd name="T7" fmla="*/ 272 h 319"/>
                <a:gd name="T8" fmla="*/ 317 w 363"/>
                <a:gd name="T9" fmla="*/ 168 h 319"/>
                <a:gd name="T10" fmla="*/ 317 w 363"/>
                <a:gd name="T11" fmla="*/ 152 h 319"/>
                <a:gd name="T12" fmla="*/ 314 w 363"/>
                <a:gd name="T13" fmla="*/ 140 h 319"/>
                <a:gd name="T14" fmla="*/ 312 w 363"/>
                <a:gd name="T15" fmla="*/ 135 h 319"/>
                <a:gd name="T16" fmla="*/ 309 w 363"/>
                <a:gd name="T17" fmla="*/ 130 h 319"/>
                <a:gd name="T18" fmla="*/ 306 w 363"/>
                <a:gd name="T19" fmla="*/ 126 h 319"/>
                <a:gd name="T20" fmla="*/ 302 w 363"/>
                <a:gd name="T21" fmla="*/ 122 h 319"/>
                <a:gd name="T22" fmla="*/ 291 w 363"/>
                <a:gd name="T23" fmla="*/ 115 h 319"/>
                <a:gd name="T24" fmla="*/ 279 w 363"/>
                <a:gd name="T25" fmla="*/ 110 h 319"/>
                <a:gd name="T26" fmla="*/ 261 w 363"/>
                <a:gd name="T27" fmla="*/ 104 h 319"/>
                <a:gd name="T28" fmla="*/ 242 w 363"/>
                <a:gd name="T29" fmla="*/ 98 h 319"/>
                <a:gd name="T30" fmla="*/ 223 w 363"/>
                <a:gd name="T31" fmla="*/ 93 h 319"/>
                <a:gd name="T32" fmla="*/ 205 w 363"/>
                <a:gd name="T33" fmla="*/ 87 h 319"/>
                <a:gd name="T34" fmla="*/ 195 w 363"/>
                <a:gd name="T35" fmla="*/ 83 h 319"/>
                <a:gd name="T36" fmla="*/ 185 w 363"/>
                <a:gd name="T37" fmla="*/ 78 h 319"/>
                <a:gd name="T38" fmla="*/ 178 w 363"/>
                <a:gd name="T39" fmla="*/ 73 h 319"/>
                <a:gd name="T40" fmla="*/ 171 w 363"/>
                <a:gd name="T41" fmla="*/ 68 h 319"/>
                <a:gd name="T42" fmla="*/ 164 w 363"/>
                <a:gd name="T43" fmla="*/ 62 h 319"/>
                <a:gd name="T44" fmla="*/ 158 w 363"/>
                <a:gd name="T45" fmla="*/ 56 h 319"/>
                <a:gd name="T46" fmla="*/ 153 w 363"/>
                <a:gd name="T47" fmla="*/ 50 h 319"/>
                <a:gd name="T48" fmla="*/ 150 w 363"/>
                <a:gd name="T49" fmla="*/ 44 h 319"/>
                <a:gd name="T50" fmla="*/ 144 w 363"/>
                <a:gd name="T51" fmla="*/ 32 h 319"/>
                <a:gd name="T52" fmla="*/ 140 w 363"/>
                <a:gd name="T53" fmla="*/ 19 h 319"/>
                <a:gd name="T54" fmla="*/ 139 w 363"/>
                <a:gd name="T55" fmla="*/ 8 h 319"/>
                <a:gd name="T56" fmla="*/ 138 w 363"/>
                <a:gd name="T57" fmla="*/ 0 h 319"/>
                <a:gd name="T58" fmla="*/ 184 w 363"/>
                <a:gd name="T59" fmla="*/ 2 h 319"/>
                <a:gd name="T60" fmla="*/ 184 w 363"/>
                <a:gd name="T61" fmla="*/ 10 h 319"/>
                <a:gd name="T62" fmla="*/ 189 w 363"/>
                <a:gd name="T63" fmla="*/ 21 h 319"/>
                <a:gd name="T64" fmla="*/ 193 w 363"/>
                <a:gd name="T65" fmla="*/ 27 h 319"/>
                <a:gd name="T66" fmla="*/ 199 w 363"/>
                <a:gd name="T67" fmla="*/ 33 h 319"/>
                <a:gd name="T68" fmla="*/ 209 w 363"/>
                <a:gd name="T69" fmla="*/ 38 h 319"/>
                <a:gd name="T70" fmla="*/ 220 w 363"/>
                <a:gd name="T71" fmla="*/ 43 h 319"/>
                <a:gd name="T72" fmla="*/ 238 w 363"/>
                <a:gd name="T73" fmla="*/ 49 h 319"/>
                <a:gd name="T74" fmla="*/ 254 w 363"/>
                <a:gd name="T75" fmla="*/ 54 h 319"/>
                <a:gd name="T76" fmla="*/ 275 w 363"/>
                <a:gd name="T77" fmla="*/ 60 h 319"/>
                <a:gd name="T78" fmla="*/ 295 w 363"/>
                <a:gd name="T79" fmla="*/ 67 h 319"/>
                <a:gd name="T80" fmla="*/ 304 w 363"/>
                <a:gd name="T81" fmla="*/ 71 h 319"/>
                <a:gd name="T82" fmla="*/ 313 w 363"/>
                <a:gd name="T83" fmla="*/ 76 h 319"/>
                <a:gd name="T84" fmla="*/ 321 w 363"/>
                <a:gd name="T85" fmla="*/ 81 h 319"/>
                <a:gd name="T86" fmla="*/ 330 w 363"/>
                <a:gd name="T87" fmla="*/ 86 h 319"/>
                <a:gd name="T88" fmla="*/ 337 w 363"/>
                <a:gd name="T89" fmla="*/ 93 h 319"/>
                <a:gd name="T90" fmla="*/ 344 w 363"/>
                <a:gd name="T91" fmla="*/ 100 h 319"/>
                <a:gd name="T92" fmla="*/ 350 w 363"/>
                <a:gd name="T93" fmla="*/ 108 h 319"/>
                <a:gd name="T94" fmla="*/ 355 w 363"/>
                <a:gd name="T95" fmla="*/ 118 h 319"/>
                <a:gd name="T96" fmla="*/ 358 w 363"/>
                <a:gd name="T97" fmla="*/ 127 h 319"/>
                <a:gd name="T98" fmla="*/ 361 w 363"/>
                <a:gd name="T99" fmla="*/ 140 h 319"/>
                <a:gd name="T100" fmla="*/ 363 w 363"/>
                <a:gd name="T101" fmla="*/ 153 h 319"/>
                <a:gd name="T102" fmla="*/ 363 w 363"/>
                <a:gd name="T103" fmla="*/ 168 h 319"/>
                <a:gd name="T104" fmla="*/ 363 w 363"/>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3" h="319">
                  <a:moveTo>
                    <a:pt x="363" y="319"/>
                  </a:moveTo>
                  <a:lnTo>
                    <a:pt x="0" y="319"/>
                  </a:lnTo>
                  <a:lnTo>
                    <a:pt x="0" y="272"/>
                  </a:lnTo>
                  <a:lnTo>
                    <a:pt x="317" y="272"/>
                  </a:lnTo>
                  <a:lnTo>
                    <a:pt x="317" y="168"/>
                  </a:lnTo>
                  <a:lnTo>
                    <a:pt x="317" y="152"/>
                  </a:lnTo>
                  <a:lnTo>
                    <a:pt x="314" y="140"/>
                  </a:lnTo>
                  <a:lnTo>
                    <a:pt x="312" y="135"/>
                  </a:lnTo>
                  <a:lnTo>
                    <a:pt x="309" y="130"/>
                  </a:lnTo>
                  <a:lnTo>
                    <a:pt x="306" y="126"/>
                  </a:lnTo>
                  <a:lnTo>
                    <a:pt x="302" y="122"/>
                  </a:lnTo>
                  <a:lnTo>
                    <a:pt x="291" y="115"/>
                  </a:lnTo>
                  <a:lnTo>
                    <a:pt x="279" y="110"/>
                  </a:lnTo>
                  <a:lnTo>
                    <a:pt x="261" y="104"/>
                  </a:lnTo>
                  <a:lnTo>
                    <a:pt x="242" y="98"/>
                  </a:lnTo>
                  <a:lnTo>
                    <a:pt x="223" y="93"/>
                  </a:lnTo>
                  <a:lnTo>
                    <a:pt x="205" y="87"/>
                  </a:lnTo>
                  <a:lnTo>
                    <a:pt x="195" y="83"/>
                  </a:lnTo>
                  <a:lnTo>
                    <a:pt x="185" y="78"/>
                  </a:lnTo>
                  <a:lnTo>
                    <a:pt x="178" y="73"/>
                  </a:lnTo>
                  <a:lnTo>
                    <a:pt x="171" y="68"/>
                  </a:lnTo>
                  <a:lnTo>
                    <a:pt x="164" y="62"/>
                  </a:lnTo>
                  <a:lnTo>
                    <a:pt x="158" y="56"/>
                  </a:lnTo>
                  <a:lnTo>
                    <a:pt x="153" y="50"/>
                  </a:lnTo>
                  <a:lnTo>
                    <a:pt x="150" y="44"/>
                  </a:lnTo>
                  <a:lnTo>
                    <a:pt x="144" y="32"/>
                  </a:lnTo>
                  <a:lnTo>
                    <a:pt x="140" y="19"/>
                  </a:lnTo>
                  <a:lnTo>
                    <a:pt x="139" y="8"/>
                  </a:lnTo>
                  <a:lnTo>
                    <a:pt x="138" y="0"/>
                  </a:lnTo>
                  <a:lnTo>
                    <a:pt x="184" y="2"/>
                  </a:lnTo>
                  <a:lnTo>
                    <a:pt x="184" y="10"/>
                  </a:lnTo>
                  <a:lnTo>
                    <a:pt x="189" y="21"/>
                  </a:lnTo>
                  <a:lnTo>
                    <a:pt x="193" y="27"/>
                  </a:lnTo>
                  <a:lnTo>
                    <a:pt x="199" y="33"/>
                  </a:lnTo>
                  <a:lnTo>
                    <a:pt x="209" y="38"/>
                  </a:lnTo>
                  <a:lnTo>
                    <a:pt x="220" y="43"/>
                  </a:lnTo>
                  <a:lnTo>
                    <a:pt x="238" y="49"/>
                  </a:lnTo>
                  <a:lnTo>
                    <a:pt x="254" y="54"/>
                  </a:lnTo>
                  <a:lnTo>
                    <a:pt x="275" y="60"/>
                  </a:lnTo>
                  <a:lnTo>
                    <a:pt x="295" y="67"/>
                  </a:lnTo>
                  <a:lnTo>
                    <a:pt x="304" y="71"/>
                  </a:lnTo>
                  <a:lnTo>
                    <a:pt x="313" y="76"/>
                  </a:lnTo>
                  <a:lnTo>
                    <a:pt x="321" y="81"/>
                  </a:lnTo>
                  <a:lnTo>
                    <a:pt x="330" y="86"/>
                  </a:lnTo>
                  <a:lnTo>
                    <a:pt x="337" y="93"/>
                  </a:lnTo>
                  <a:lnTo>
                    <a:pt x="344" y="100"/>
                  </a:lnTo>
                  <a:lnTo>
                    <a:pt x="350" y="108"/>
                  </a:lnTo>
                  <a:lnTo>
                    <a:pt x="355" y="118"/>
                  </a:lnTo>
                  <a:lnTo>
                    <a:pt x="358" y="127"/>
                  </a:lnTo>
                  <a:lnTo>
                    <a:pt x="361" y="140"/>
                  </a:lnTo>
                  <a:lnTo>
                    <a:pt x="363" y="153"/>
                  </a:lnTo>
                  <a:lnTo>
                    <a:pt x="363" y="168"/>
                  </a:lnTo>
                  <a:lnTo>
                    <a:pt x="36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9" name="Freeform 121">
              <a:extLst>
                <a:ext uri="{FF2B5EF4-FFF2-40B4-BE49-F238E27FC236}">
                  <a16:creationId xmlns:a16="http://schemas.microsoft.com/office/drawing/2014/main" id="{7DB8801F-EAFF-47DE-BDB7-C8D5826249BF}"/>
                </a:ext>
              </a:extLst>
            </p:cNvPr>
            <p:cNvSpPr>
              <a:spLocks/>
            </p:cNvSpPr>
            <p:nvPr/>
          </p:nvSpPr>
          <p:spPr bwMode="auto">
            <a:xfrm>
              <a:off x="5849938" y="5407025"/>
              <a:ext cx="42863" cy="38100"/>
            </a:xfrm>
            <a:custGeom>
              <a:avLst/>
              <a:gdLst>
                <a:gd name="T0" fmla="*/ 12 w 105"/>
                <a:gd name="T1" fmla="*/ 95 h 95"/>
                <a:gd name="T2" fmla="*/ 0 w 105"/>
                <a:gd name="T3" fmla="*/ 51 h 95"/>
                <a:gd name="T4" fmla="*/ 12 w 105"/>
                <a:gd name="T5" fmla="*/ 48 h 95"/>
                <a:gd name="T6" fmla="*/ 24 w 105"/>
                <a:gd name="T7" fmla="*/ 43 h 95"/>
                <a:gd name="T8" fmla="*/ 36 w 105"/>
                <a:gd name="T9" fmla="*/ 38 h 95"/>
                <a:gd name="T10" fmla="*/ 45 w 105"/>
                <a:gd name="T11" fmla="*/ 32 h 95"/>
                <a:gd name="T12" fmla="*/ 51 w 105"/>
                <a:gd name="T13" fmla="*/ 24 h 95"/>
                <a:gd name="T14" fmla="*/ 56 w 105"/>
                <a:gd name="T15" fmla="*/ 18 h 95"/>
                <a:gd name="T16" fmla="*/ 60 w 105"/>
                <a:gd name="T17" fmla="*/ 7 h 95"/>
                <a:gd name="T18" fmla="*/ 60 w 105"/>
                <a:gd name="T19" fmla="*/ 2 h 95"/>
                <a:gd name="T20" fmla="*/ 105 w 105"/>
                <a:gd name="T21" fmla="*/ 0 h 95"/>
                <a:gd name="T22" fmla="*/ 105 w 105"/>
                <a:gd name="T23" fmla="*/ 8 h 95"/>
                <a:gd name="T24" fmla="*/ 104 w 105"/>
                <a:gd name="T25" fmla="*/ 19 h 95"/>
                <a:gd name="T26" fmla="*/ 100 w 105"/>
                <a:gd name="T27" fmla="*/ 32 h 95"/>
                <a:gd name="T28" fmla="*/ 94 w 105"/>
                <a:gd name="T29" fmla="*/ 44 h 95"/>
                <a:gd name="T30" fmla="*/ 90 w 105"/>
                <a:gd name="T31" fmla="*/ 50 h 95"/>
                <a:gd name="T32" fmla="*/ 85 w 105"/>
                <a:gd name="T33" fmla="*/ 56 h 95"/>
                <a:gd name="T34" fmla="*/ 79 w 105"/>
                <a:gd name="T35" fmla="*/ 62 h 95"/>
                <a:gd name="T36" fmla="*/ 73 w 105"/>
                <a:gd name="T37" fmla="*/ 68 h 95"/>
                <a:gd name="T38" fmla="*/ 66 w 105"/>
                <a:gd name="T39" fmla="*/ 73 h 95"/>
                <a:gd name="T40" fmla="*/ 57 w 105"/>
                <a:gd name="T41" fmla="*/ 78 h 95"/>
                <a:gd name="T42" fmla="*/ 49 w 105"/>
                <a:gd name="T43" fmla="*/ 83 h 95"/>
                <a:gd name="T44" fmla="*/ 39 w 105"/>
                <a:gd name="T45" fmla="*/ 87 h 95"/>
                <a:gd name="T46" fmla="*/ 25 w 105"/>
                <a:gd name="T47" fmla="*/ 91 h 95"/>
                <a:gd name="T48" fmla="*/ 12 w 105"/>
                <a:gd name="T4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95">
                  <a:moveTo>
                    <a:pt x="12" y="95"/>
                  </a:moveTo>
                  <a:lnTo>
                    <a:pt x="0" y="51"/>
                  </a:lnTo>
                  <a:lnTo>
                    <a:pt x="12" y="48"/>
                  </a:lnTo>
                  <a:lnTo>
                    <a:pt x="24" y="43"/>
                  </a:lnTo>
                  <a:lnTo>
                    <a:pt x="36" y="38"/>
                  </a:lnTo>
                  <a:lnTo>
                    <a:pt x="45" y="32"/>
                  </a:lnTo>
                  <a:lnTo>
                    <a:pt x="51" y="24"/>
                  </a:lnTo>
                  <a:lnTo>
                    <a:pt x="56" y="18"/>
                  </a:lnTo>
                  <a:lnTo>
                    <a:pt x="60" y="7"/>
                  </a:lnTo>
                  <a:lnTo>
                    <a:pt x="60" y="2"/>
                  </a:lnTo>
                  <a:lnTo>
                    <a:pt x="105" y="0"/>
                  </a:lnTo>
                  <a:lnTo>
                    <a:pt x="105" y="8"/>
                  </a:lnTo>
                  <a:lnTo>
                    <a:pt x="104" y="19"/>
                  </a:lnTo>
                  <a:lnTo>
                    <a:pt x="100" y="32"/>
                  </a:lnTo>
                  <a:lnTo>
                    <a:pt x="94" y="44"/>
                  </a:lnTo>
                  <a:lnTo>
                    <a:pt x="90" y="50"/>
                  </a:lnTo>
                  <a:lnTo>
                    <a:pt x="85" y="56"/>
                  </a:lnTo>
                  <a:lnTo>
                    <a:pt x="79" y="62"/>
                  </a:lnTo>
                  <a:lnTo>
                    <a:pt x="73" y="68"/>
                  </a:lnTo>
                  <a:lnTo>
                    <a:pt x="66" y="73"/>
                  </a:lnTo>
                  <a:lnTo>
                    <a:pt x="57" y="78"/>
                  </a:lnTo>
                  <a:lnTo>
                    <a:pt x="49" y="83"/>
                  </a:lnTo>
                  <a:lnTo>
                    <a:pt x="39" y="87"/>
                  </a:lnTo>
                  <a:lnTo>
                    <a:pt x="25" y="91"/>
                  </a:lnTo>
                  <a:lnTo>
                    <a:pt x="12"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0" name="Freeform 122">
              <a:extLst>
                <a:ext uri="{FF2B5EF4-FFF2-40B4-BE49-F238E27FC236}">
                  <a16:creationId xmlns:a16="http://schemas.microsoft.com/office/drawing/2014/main" id="{ED40DCAC-4C6B-42F7-A793-5D1DEB89C0B2}"/>
                </a:ext>
              </a:extLst>
            </p:cNvPr>
            <p:cNvSpPr>
              <a:spLocks/>
            </p:cNvSpPr>
            <p:nvPr/>
          </p:nvSpPr>
          <p:spPr bwMode="auto">
            <a:xfrm>
              <a:off x="5849938" y="5322888"/>
              <a:ext cx="104775" cy="31750"/>
            </a:xfrm>
            <a:custGeom>
              <a:avLst/>
              <a:gdLst>
                <a:gd name="T0" fmla="*/ 62 w 261"/>
                <a:gd name="T1" fmla="*/ 79 h 79"/>
                <a:gd name="T2" fmla="*/ 48 w 261"/>
                <a:gd name="T3" fmla="*/ 79 h 79"/>
                <a:gd name="T4" fmla="*/ 32 w 261"/>
                <a:gd name="T5" fmla="*/ 76 h 79"/>
                <a:gd name="T6" fmla="*/ 16 w 261"/>
                <a:gd name="T7" fmla="*/ 74 h 79"/>
                <a:gd name="T8" fmla="*/ 0 w 261"/>
                <a:gd name="T9" fmla="*/ 70 h 79"/>
                <a:gd name="T10" fmla="*/ 11 w 261"/>
                <a:gd name="T11" fmla="*/ 26 h 79"/>
                <a:gd name="T12" fmla="*/ 27 w 261"/>
                <a:gd name="T13" fmla="*/ 30 h 79"/>
                <a:gd name="T14" fmla="*/ 44 w 261"/>
                <a:gd name="T15" fmla="*/ 32 h 79"/>
                <a:gd name="T16" fmla="*/ 59 w 261"/>
                <a:gd name="T17" fmla="*/ 32 h 79"/>
                <a:gd name="T18" fmla="*/ 75 w 261"/>
                <a:gd name="T19" fmla="*/ 32 h 79"/>
                <a:gd name="T20" fmla="*/ 88 w 261"/>
                <a:gd name="T21" fmla="*/ 31 h 79"/>
                <a:gd name="T22" fmla="*/ 102 w 261"/>
                <a:gd name="T23" fmla="*/ 30 h 79"/>
                <a:gd name="T24" fmla="*/ 114 w 261"/>
                <a:gd name="T25" fmla="*/ 26 h 79"/>
                <a:gd name="T26" fmla="*/ 125 w 261"/>
                <a:gd name="T27" fmla="*/ 24 h 79"/>
                <a:gd name="T28" fmla="*/ 145 w 261"/>
                <a:gd name="T29" fmla="*/ 18 h 79"/>
                <a:gd name="T30" fmla="*/ 159 w 261"/>
                <a:gd name="T31" fmla="*/ 10 h 79"/>
                <a:gd name="T32" fmla="*/ 168 w 261"/>
                <a:gd name="T33" fmla="*/ 5 h 79"/>
                <a:gd name="T34" fmla="*/ 172 w 261"/>
                <a:gd name="T35" fmla="*/ 4 h 79"/>
                <a:gd name="T36" fmla="*/ 175 w 261"/>
                <a:gd name="T37" fmla="*/ 2 h 79"/>
                <a:gd name="T38" fmla="*/ 179 w 261"/>
                <a:gd name="T39" fmla="*/ 0 h 79"/>
                <a:gd name="T40" fmla="*/ 183 w 261"/>
                <a:gd name="T41" fmla="*/ 0 h 79"/>
                <a:gd name="T42" fmla="*/ 186 w 261"/>
                <a:gd name="T43" fmla="*/ 0 h 79"/>
                <a:gd name="T44" fmla="*/ 190 w 261"/>
                <a:gd name="T45" fmla="*/ 0 h 79"/>
                <a:gd name="T46" fmla="*/ 194 w 261"/>
                <a:gd name="T47" fmla="*/ 2 h 79"/>
                <a:gd name="T48" fmla="*/ 197 w 261"/>
                <a:gd name="T49" fmla="*/ 4 h 79"/>
                <a:gd name="T50" fmla="*/ 200 w 261"/>
                <a:gd name="T51" fmla="*/ 6 h 79"/>
                <a:gd name="T52" fmla="*/ 205 w 261"/>
                <a:gd name="T53" fmla="*/ 10 h 79"/>
                <a:gd name="T54" fmla="*/ 216 w 261"/>
                <a:gd name="T55" fmla="*/ 16 h 79"/>
                <a:gd name="T56" fmla="*/ 224 w 261"/>
                <a:gd name="T57" fmla="*/ 20 h 79"/>
                <a:gd name="T58" fmla="*/ 234 w 261"/>
                <a:gd name="T59" fmla="*/ 22 h 79"/>
                <a:gd name="T60" fmla="*/ 246 w 261"/>
                <a:gd name="T61" fmla="*/ 25 h 79"/>
                <a:gd name="T62" fmla="*/ 261 w 261"/>
                <a:gd name="T63" fmla="*/ 25 h 79"/>
                <a:gd name="T64" fmla="*/ 261 w 261"/>
                <a:gd name="T65" fmla="*/ 71 h 79"/>
                <a:gd name="T66" fmla="*/ 248 w 261"/>
                <a:gd name="T67" fmla="*/ 71 h 79"/>
                <a:gd name="T68" fmla="*/ 235 w 261"/>
                <a:gd name="T69" fmla="*/ 69 h 79"/>
                <a:gd name="T70" fmla="*/ 223 w 261"/>
                <a:gd name="T71" fmla="*/ 68 h 79"/>
                <a:gd name="T72" fmla="*/ 213 w 261"/>
                <a:gd name="T73" fmla="*/ 64 h 79"/>
                <a:gd name="T74" fmla="*/ 196 w 261"/>
                <a:gd name="T75" fmla="*/ 58 h 79"/>
                <a:gd name="T76" fmla="*/ 183 w 261"/>
                <a:gd name="T77" fmla="*/ 51 h 79"/>
                <a:gd name="T78" fmla="*/ 163 w 261"/>
                <a:gd name="T79" fmla="*/ 59 h 79"/>
                <a:gd name="T80" fmla="*/ 135 w 261"/>
                <a:gd name="T81" fmla="*/ 69 h 79"/>
                <a:gd name="T82" fmla="*/ 119 w 261"/>
                <a:gd name="T83" fmla="*/ 73 h 79"/>
                <a:gd name="T84" fmla="*/ 102 w 261"/>
                <a:gd name="T85" fmla="*/ 76 h 79"/>
                <a:gd name="T86" fmla="*/ 83 w 261"/>
                <a:gd name="T87" fmla="*/ 78 h 79"/>
                <a:gd name="T88" fmla="*/ 62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2" y="79"/>
                  </a:moveTo>
                  <a:lnTo>
                    <a:pt x="48" y="79"/>
                  </a:lnTo>
                  <a:lnTo>
                    <a:pt x="32" y="76"/>
                  </a:lnTo>
                  <a:lnTo>
                    <a:pt x="16" y="74"/>
                  </a:lnTo>
                  <a:lnTo>
                    <a:pt x="0" y="70"/>
                  </a:lnTo>
                  <a:lnTo>
                    <a:pt x="11" y="26"/>
                  </a:lnTo>
                  <a:lnTo>
                    <a:pt x="27" y="30"/>
                  </a:lnTo>
                  <a:lnTo>
                    <a:pt x="44" y="32"/>
                  </a:lnTo>
                  <a:lnTo>
                    <a:pt x="59" y="32"/>
                  </a:lnTo>
                  <a:lnTo>
                    <a:pt x="75" y="32"/>
                  </a:lnTo>
                  <a:lnTo>
                    <a:pt x="88" y="31"/>
                  </a:lnTo>
                  <a:lnTo>
                    <a:pt x="102" y="30"/>
                  </a:lnTo>
                  <a:lnTo>
                    <a:pt x="114" y="26"/>
                  </a:lnTo>
                  <a:lnTo>
                    <a:pt x="125" y="24"/>
                  </a:lnTo>
                  <a:lnTo>
                    <a:pt x="145" y="18"/>
                  </a:lnTo>
                  <a:lnTo>
                    <a:pt x="159" y="10"/>
                  </a:lnTo>
                  <a:lnTo>
                    <a:pt x="168" y="5"/>
                  </a:lnTo>
                  <a:lnTo>
                    <a:pt x="172" y="4"/>
                  </a:lnTo>
                  <a:lnTo>
                    <a:pt x="175" y="2"/>
                  </a:lnTo>
                  <a:lnTo>
                    <a:pt x="179" y="0"/>
                  </a:lnTo>
                  <a:lnTo>
                    <a:pt x="183" y="0"/>
                  </a:lnTo>
                  <a:lnTo>
                    <a:pt x="186" y="0"/>
                  </a:lnTo>
                  <a:lnTo>
                    <a:pt x="190" y="0"/>
                  </a:lnTo>
                  <a:lnTo>
                    <a:pt x="194" y="2"/>
                  </a:lnTo>
                  <a:lnTo>
                    <a:pt x="197" y="4"/>
                  </a:lnTo>
                  <a:lnTo>
                    <a:pt x="200" y="6"/>
                  </a:lnTo>
                  <a:lnTo>
                    <a:pt x="205" y="10"/>
                  </a:lnTo>
                  <a:lnTo>
                    <a:pt x="216" y="16"/>
                  </a:lnTo>
                  <a:lnTo>
                    <a:pt x="224" y="20"/>
                  </a:lnTo>
                  <a:lnTo>
                    <a:pt x="234" y="22"/>
                  </a:lnTo>
                  <a:lnTo>
                    <a:pt x="246" y="25"/>
                  </a:lnTo>
                  <a:lnTo>
                    <a:pt x="261" y="25"/>
                  </a:lnTo>
                  <a:lnTo>
                    <a:pt x="261" y="71"/>
                  </a:lnTo>
                  <a:lnTo>
                    <a:pt x="248" y="71"/>
                  </a:lnTo>
                  <a:lnTo>
                    <a:pt x="235" y="69"/>
                  </a:lnTo>
                  <a:lnTo>
                    <a:pt x="223" y="68"/>
                  </a:lnTo>
                  <a:lnTo>
                    <a:pt x="213" y="64"/>
                  </a:lnTo>
                  <a:lnTo>
                    <a:pt x="196" y="58"/>
                  </a:lnTo>
                  <a:lnTo>
                    <a:pt x="183" y="51"/>
                  </a:lnTo>
                  <a:lnTo>
                    <a:pt x="163" y="59"/>
                  </a:lnTo>
                  <a:lnTo>
                    <a:pt x="135" y="69"/>
                  </a:lnTo>
                  <a:lnTo>
                    <a:pt x="119" y="73"/>
                  </a:lnTo>
                  <a:lnTo>
                    <a:pt x="102" y="76"/>
                  </a:lnTo>
                  <a:lnTo>
                    <a:pt x="83" y="78"/>
                  </a:lnTo>
                  <a:lnTo>
                    <a:pt x="6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1" name="Freeform 183">
              <a:extLst>
                <a:ext uri="{FF2B5EF4-FFF2-40B4-BE49-F238E27FC236}">
                  <a16:creationId xmlns:a16="http://schemas.microsoft.com/office/drawing/2014/main" id="{7BA17524-F703-42A1-B2D3-BF8C146FAD45}"/>
                </a:ext>
              </a:extLst>
            </p:cNvPr>
            <p:cNvSpPr>
              <a:spLocks/>
            </p:cNvSpPr>
            <p:nvPr/>
          </p:nvSpPr>
          <p:spPr bwMode="auto">
            <a:xfrm>
              <a:off x="5537201" y="5565775"/>
              <a:ext cx="76200" cy="47625"/>
            </a:xfrm>
            <a:custGeom>
              <a:avLst/>
              <a:gdLst>
                <a:gd name="T0" fmla="*/ 168 w 191"/>
                <a:gd name="T1" fmla="*/ 120 h 120"/>
                <a:gd name="T2" fmla="*/ 163 w 191"/>
                <a:gd name="T3" fmla="*/ 119 h 120"/>
                <a:gd name="T4" fmla="*/ 159 w 191"/>
                <a:gd name="T5" fmla="*/ 118 h 120"/>
                <a:gd name="T6" fmla="*/ 155 w 191"/>
                <a:gd name="T7" fmla="*/ 117 h 120"/>
                <a:gd name="T8" fmla="*/ 152 w 191"/>
                <a:gd name="T9" fmla="*/ 113 h 120"/>
                <a:gd name="T10" fmla="*/ 94 w 191"/>
                <a:gd name="T11" fmla="*/ 57 h 120"/>
                <a:gd name="T12" fmla="*/ 39 w 191"/>
                <a:gd name="T13" fmla="*/ 112 h 120"/>
                <a:gd name="T14" fmla="*/ 36 w 191"/>
                <a:gd name="T15" fmla="*/ 116 h 120"/>
                <a:gd name="T16" fmla="*/ 31 w 191"/>
                <a:gd name="T17" fmla="*/ 117 h 120"/>
                <a:gd name="T18" fmla="*/ 27 w 191"/>
                <a:gd name="T19" fmla="*/ 118 h 120"/>
                <a:gd name="T20" fmla="*/ 22 w 191"/>
                <a:gd name="T21" fmla="*/ 119 h 120"/>
                <a:gd name="T22" fmla="*/ 18 w 191"/>
                <a:gd name="T23" fmla="*/ 118 h 120"/>
                <a:gd name="T24" fmla="*/ 13 w 191"/>
                <a:gd name="T25" fmla="*/ 117 h 120"/>
                <a:gd name="T26" fmla="*/ 10 w 191"/>
                <a:gd name="T27" fmla="*/ 116 h 120"/>
                <a:gd name="T28" fmla="*/ 6 w 191"/>
                <a:gd name="T29" fmla="*/ 112 h 120"/>
                <a:gd name="T30" fmla="*/ 4 w 191"/>
                <a:gd name="T31" fmla="*/ 108 h 120"/>
                <a:gd name="T32" fmla="*/ 1 w 191"/>
                <a:gd name="T33" fmla="*/ 104 h 120"/>
                <a:gd name="T34" fmla="*/ 0 w 191"/>
                <a:gd name="T35" fmla="*/ 100 h 120"/>
                <a:gd name="T36" fmla="*/ 0 w 191"/>
                <a:gd name="T37" fmla="*/ 96 h 120"/>
                <a:gd name="T38" fmla="*/ 0 w 191"/>
                <a:gd name="T39" fmla="*/ 91 h 120"/>
                <a:gd name="T40" fmla="*/ 1 w 191"/>
                <a:gd name="T41" fmla="*/ 87 h 120"/>
                <a:gd name="T42" fmla="*/ 4 w 191"/>
                <a:gd name="T43" fmla="*/ 82 h 120"/>
                <a:gd name="T44" fmla="*/ 6 w 191"/>
                <a:gd name="T45" fmla="*/ 80 h 120"/>
                <a:gd name="T46" fmla="*/ 78 w 191"/>
                <a:gd name="T47" fmla="*/ 8 h 120"/>
                <a:gd name="T48" fmla="*/ 82 w 191"/>
                <a:gd name="T49" fmla="*/ 5 h 120"/>
                <a:gd name="T50" fmla="*/ 86 w 191"/>
                <a:gd name="T51" fmla="*/ 3 h 120"/>
                <a:gd name="T52" fmla="*/ 90 w 191"/>
                <a:gd name="T53" fmla="*/ 1 h 120"/>
                <a:gd name="T54" fmla="*/ 94 w 191"/>
                <a:gd name="T55" fmla="*/ 0 h 120"/>
                <a:gd name="T56" fmla="*/ 99 w 191"/>
                <a:gd name="T57" fmla="*/ 1 h 120"/>
                <a:gd name="T58" fmla="*/ 103 w 191"/>
                <a:gd name="T59" fmla="*/ 3 h 120"/>
                <a:gd name="T60" fmla="*/ 107 w 191"/>
                <a:gd name="T61" fmla="*/ 5 h 120"/>
                <a:gd name="T62" fmla="*/ 110 w 191"/>
                <a:gd name="T63" fmla="*/ 8 h 120"/>
                <a:gd name="T64" fmla="*/ 184 w 191"/>
                <a:gd name="T65" fmla="*/ 81 h 120"/>
                <a:gd name="T66" fmla="*/ 186 w 191"/>
                <a:gd name="T67" fmla="*/ 85 h 120"/>
                <a:gd name="T68" fmla="*/ 189 w 191"/>
                <a:gd name="T69" fmla="*/ 89 h 120"/>
                <a:gd name="T70" fmla="*/ 190 w 191"/>
                <a:gd name="T71" fmla="*/ 92 h 120"/>
                <a:gd name="T72" fmla="*/ 191 w 191"/>
                <a:gd name="T73" fmla="*/ 97 h 120"/>
                <a:gd name="T74" fmla="*/ 190 w 191"/>
                <a:gd name="T75" fmla="*/ 102 h 120"/>
                <a:gd name="T76" fmla="*/ 189 w 191"/>
                <a:gd name="T77" fmla="*/ 106 h 120"/>
                <a:gd name="T78" fmla="*/ 186 w 191"/>
                <a:gd name="T79" fmla="*/ 109 h 120"/>
                <a:gd name="T80" fmla="*/ 184 w 191"/>
                <a:gd name="T81" fmla="*/ 113 h 120"/>
                <a:gd name="T82" fmla="*/ 180 w 191"/>
                <a:gd name="T83" fmla="*/ 117 h 120"/>
                <a:gd name="T84" fmla="*/ 177 w 191"/>
                <a:gd name="T85" fmla="*/ 118 h 120"/>
                <a:gd name="T86" fmla="*/ 172 w 191"/>
                <a:gd name="T87" fmla="*/ 119 h 120"/>
                <a:gd name="T88" fmla="*/ 168 w 191"/>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 h="120">
                  <a:moveTo>
                    <a:pt x="168" y="120"/>
                  </a:moveTo>
                  <a:lnTo>
                    <a:pt x="163" y="119"/>
                  </a:lnTo>
                  <a:lnTo>
                    <a:pt x="159" y="118"/>
                  </a:lnTo>
                  <a:lnTo>
                    <a:pt x="155" y="117"/>
                  </a:lnTo>
                  <a:lnTo>
                    <a:pt x="152" y="113"/>
                  </a:lnTo>
                  <a:lnTo>
                    <a:pt x="94" y="57"/>
                  </a:lnTo>
                  <a:lnTo>
                    <a:pt x="39" y="112"/>
                  </a:lnTo>
                  <a:lnTo>
                    <a:pt x="36" y="116"/>
                  </a:lnTo>
                  <a:lnTo>
                    <a:pt x="31" y="117"/>
                  </a:lnTo>
                  <a:lnTo>
                    <a:pt x="27" y="118"/>
                  </a:lnTo>
                  <a:lnTo>
                    <a:pt x="22" y="119"/>
                  </a:lnTo>
                  <a:lnTo>
                    <a:pt x="18" y="118"/>
                  </a:lnTo>
                  <a:lnTo>
                    <a:pt x="13" y="117"/>
                  </a:lnTo>
                  <a:lnTo>
                    <a:pt x="10" y="116"/>
                  </a:lnTo>
                  <a:lnTo>
                    <a:pt x="6" y="112"/>
                  </a:lnTo>
                  <a:lnTo>
                    <a:pt x="4" y="108"/>
                  </a:lnTo>
                  <a:lnTo>
                    <a:pt x="1" y="104"/>
                  </a:lnTo>
                  <a:lnTo>
                    <a:pt x="0" y="100"/>
                  </a:lnTo>
                  <a:lnTo>
                    <a:pt x="0" y="96"/>
                  </a:lnTo>
                  <a:lnTo>
                    <a:pt x="0" y="91"/>
                  </a:lnTo>
                  <a:lnTo>
                    <a:pt x="1" y="87"/>
                  </a:lnTo>
                  <a:lnTo>
                    <a:pt x="4" y="82"/>
                  </a:lnTo>
                  <a:lnTo>
                    <a:pt x="6" y="80"/>
                  </a:lnTo>
                  <a:lnTo>
                    <a:pt x="78" y="8"/>
                  </a:lnTo>
                  <a:lnTo>
                    <a:pt x="82" y="5"/>
                  </a:lnTo>
                  <a:lnTo>
                    <a:pt x="86" y="3"/>
                  </a:lnTo>
                  <a:lnTo>
                    <a:pt x="90" y="1"/>
                  </a:lnTo>
                  <a:lnTo>
                    <a:pt x="94" y="0"/>
                  </a:lnTo>
                  <a:lnTo>
                    <a:pt x="99" y="1"/>
                  </a:lnTo>
                  <a:lnTo>
                    <a:pt x="103" y="3"/>
                  </a:lnTo>
                  <a:lnTo>
                    <a:pt x="107" y="5"/>
                  </a:lnTo>
                  <a:lnTo>
                    <a:pt x="110" y="8"/>
                  </a:lnTo>
                  <a:lnTo>
                    <a:pt x="184" y="81"/>
                  </a:lnTo>
                  <a:lnTo>
                    <a:pt x="186" y="85"/>
                  </a:lnTo>
                  <a:lnTo>
                    <a:pt x="189" y="89"/>
                  </a:lnTo>
                  <a:lnTo>
                    <a:pt x="190" y="92"/>
                  </a:lnTo>
                  <a:lnTo>
                    <a:pt x="191" y="97"/>
                  </a:lnTo>
                  <a:lnTo>
                    <a:pt x="190" y="102"/>
                  </a:lnTo>
                  <a:lnTo>
                    <a:pt x="189" y="106"/>
                  </a:lnTo>
                  <a:lnTo>
                    <a:pt x="186" y="109"/>
                  </a:lnTo>
                  <a:lnTo>
                    <a:pt x="184" y="113"/>
                  </a:lnTo>
                  <a:lnTo>
                    <a:pt x="180" y="117"/>
                  </a:lnTo>
                  <a:lnTo>
                    <a:pt x="177" y="118"/>
                  </a:lnTo>
                  <a:lnTo>
                    <a:pt x="172"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2" name="Freeform 184">
              <a:extLst>
                <a:ext uri="{FF2B5EF4-FFF2-40B4-BE49-F238E27FC236}">
                  <a16:creationId xmlns:a16="http://schemas.microsoft.com/office/drawing/2014/main" id="{3190240F-CE5B-4A04-811E-0A362ED9A0F1}"/>
                </a:ext>
              </a:extLst>
            </p:cNvPr>
            <p:cNvSpPr>
              <a:spLocks/>
            </p:cNvSpPr>
            <p:nvPr/>
          </p:nvSpPr>
          <p:spPr bwMode="auto">
            <a:xfrm>
              <a:off x="5883276" y="5565775"/>
              <a:ext cx="76200" cy="47625"/>
            </a:xfrm>
            <a:custGeom>
              <a:avLst/>
              <a:gdLst>
                <a:gd name="T0" fmla="*/ 168 w 192"/>
                <a:gd name="T1" fmla="*/ 120 h 120"/>
                <a:gd name="T2" fmla="*/ 165 w 192"/>
                <a:gd name="T3" fmla="*/ 119 h 120"/>
                <a:gd name="T4" fmla="*/ 160 w 192"/>
                <a:gd name="T5" fmla="*/ 118 h 120"/>
                <a:gd name="T6" fmla="*/ 156 w 192"/>
                <a:gd name="T7" fmla="*/ 117 h 120"/>
                <a:gd name="T8" fmla="*/ 152 w 192"/>
                <a:gd name="T9" fmla="*/ 113 h 120"/>
                <a:gd name="T10" fmla="*/ 95 w 192"/>
                <a:gd name="T11" fmla="*/ 57 h 120"/>
                <a:gd name="T12" fmla="*/ 39 w 192"/>
                <a:gd name="T13" fmla="*/ 112 h 120"/>
                <a:gd name="T14" fmla="*/ 36 w 192"/>
                <a:gd name="T15" fmla="*/ 116 h 120"/>
                <a:gd name="T16" fmla="*/ 32 w 192"/>
                <a:gd name="T17" fmla="*/ 117 h 120"/>
                <a:gd name="T18" fmla="*/ 27 w 192"/>
                <a:gd name="T19" fmla="*/ 118 h 120"/>
                <a:gd name="T20" fmla="*/ 24 w 192"/>
                <a:gd name="T21" fmla="*/ 119 h 120"/>
                <a:gd name="T22" fmla="*/ 19 w 192"/>
                <a:gd name="T23" fmla="*/ 118 h 120"/>
                <a:gd name="T24" fmla="*/ 15 w 192"/>
                <a:gd name="T25" fmla="*/ 117 h 120"/>
                <a:gd name="T26" fmla="*/ 10 w 192"/>
                <a:gd name="T27" fmla="*/ 116 h 120"/>
                <a:gd name="T28" fmla="*/ 8 w 192"/>
                <a:gd name="T29" fmla="*/ 112 h 120"/>
                <a:gd name="T30" fmla="*/ 4 w 192"/>
                <a:gd name="T31" fmla="*/ 108 h 120"/>
                <a:gd name="T32" fmla="*/ 1 w 192"/>
                <a:gd name="T33" fmla="*/ 104 h 120"/>
                <a:gd name="T34" fmla="*/ 0 w 192"/>
                <a:gd name="T35" fmla="*/ 100 h 120"/>
                <a:gd name="T36" fmla="*/ 0 w 192"/>
                <a:gd name="T37" fmla="*/ 96 h 120"/>
                <a:gd name="T38" fmla="*/ 0 w 192"/>
                <a:gd name="T39" fmla="*/ 91 h 120"/>
                <a:gd name="T40" fmla="*/ 1 w 192"/>
                <a:gd name="T41" fmla="*/ 87 h 120"/>
                <a:gd name="T42" fmla="*/ 4 w 192"/>
                <a:gd name="T43" fmla="*/ 82 h 120"/>
                <a:gd name="T44" fmla="*/ 8 w 192"/>
                <a:gd name="T45" fmla="*/ 80 h 120"/>
                <a:gd name="T46" fmla="*/ 79 w 192"/>
                <a:gd name="T47" fmla="*/ 8 h 120"/>
                <a:gd name="T48" fmla="*/ 82 w 192"/>
                <a:gd name="T49" fmla="*/ 5 h 120"/>
                <a:gd name="T50" fmla="*/ 86 w 192"/>
                <a:gd name="T51" fmla="*/ 3 h 120"/>
                <a:gd name="T52" fmla="*/ 91 w 192"/>
                <a:gd name="T53" fmla="*/ 1 h 120"/>
                <a:gd name="T54" fmla="*/ 95 w 192"/>
                <a:gd name="T55" fmla="*/ 0 h 120"/>
                <a:gd name="T56" fmla="*/ 95 w 192"/>
                <a:gd name="T57" fmla="*/ 0 h 120"/>
                <a:gd name="T58" fmla="*/ 100 w 192"/>
                <a:gd name="T59" fmla="*/ 1 h 120"/>
                <a:gd name="T60" fmla="*/ 104 w 192"/>
                <a:gd name="T61" fmla="*/ 3 h 120"/>
                <a:gd name="T62" fmla="*/ 108 w 192"/>
                <a:gd name="T63" fmla="*/ 5 h 120"/>
                <a:gd name="T64" fmla="*/ 112 w 192"/>
                <a:gd name="T65" fmla="*/ 8 h 120"/>
                <a:gd name="T66" fmla="*/ 185 w 192"/>
                <a:gd name="T67" fmla="*/ 81 h 120"/>
                <a:gd name="T68" fmla="*/ 188 w 192"/>
                <a:gd name="T69" fmla="*/ 85 h 120"/>
                <a:gd name="T70" fmla="*/ 190 w 192"/>
                <a:gd name="T71" fmla="*/ 89 h 120"/>
                <a:gd name="T72" fmla="*/ 192 w 192"/>
                <a:gd name="T73" fmla="*/ 92 h 120"/>
                <a:gd name="T74" fmla="*/ 192 w 192"/>
                <a:gd name="T75" fmla="*/ 97 h 120"/>
                <a:gd name="T76" fmla="*/ 192 w 192"/>
                <a:gd name="T77" fmla="*/ 102 h 120"/>
                <a:gd name="T78" fmla="*/ 190 w 192"/>
                <a:gd name="T79" fmla="*/ 106 h 120"/>
                <a:gd name="T80" fmla="*/ 188 w 192"/>
                <a:gd name="T81" fmla="*/ 109 h 120"/>
                <a:gd name="T82" fmla="*/ 184 w 192"/>
                <a:gd name="T83" fmla="*/ 113 h 120"/>
                <a:gd name="T84" fmla="*/ 182 w 192"/>
                <a:gd name="T85" fmla="*/ 117 h 120"/>
                <a:gd name="T86" fmla="*/ 177 w 192"/>
                <a:gd name="T87" fmla="*/ 118 h 120"/>
                <a:gd name="T88" fmla="*/ 173 w 192"/>
                <a:gd name="T89" fmla="*/ 119 h 120"/>
                <a:gd name="T90" fmla="*/ 168 w 192"/>
                <a:gd name="T9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0">
                  <a:moveTo>
                    <a:pt x="168" y="120"/>
                  </a:moveTo>
                  <a:lnTo>
                    <a:pt x="165" y="119"/>
                  </a:lnTo>
                  <a:lnTo>
                    <a:pt x="160" y="118"/>
                  </a:lnTo>
                  <a:lnTo>
                    <a:pt x="156" y="117"/>
                  </a:lnTo>
                  <a:lnTo>
                    <a:pt x="152" y="113"/>
                  </a:lnTo>
                  <a:lnTo>
                    <a:pt x="95" y="57"/>
                  </a:lnTo>
                  <a:lnTo>
                    <a:pt x="39" y="112"/>
                  </a:lnTo>
                  <a:lnTo>
                    <a:pt x="36" y="116"/>
                  </a:lnTo>
                  <a:lnTo>
                    <a:pt x="32" y="117"/>
                  </a:lnTo>
                  <a:lnTo>
                    <a:pt x="27" y="118"/>
                  </a:lnTo>
                  <a:lnTo>
                    <a:pt x="24" y="119"/>
                  </a:lnTo>
                  <a:lnTo>
                    <a:pt x="19" y="118"/>
                  </a:lnTo>
                  <a:lnTo>
                    <a:pt x="15" y="117"/>
                  </a:lnTo>
                  <a:lnTo>
                    <a:pt x="10" y="116"/>
                  </a:lnTo>
                  <a:lnTo>
                    <a:pt x="8" y="112"/>
                  </a:lnTo>
                  <a:lnTo>
                    <a:pt x="4" y="108"/>
                  </a:lnTo>
                  <a:lnTo>
                    <a:pt x="1" y="104"/>
                  </a:lnTo>
                  <a:lnTo>
                    <a:pt x="0" y="100"/>
                  </a:lnTo>
                  <a:lnTo>
                    <a:pt x="0" y="96"/>
                  </a:lnTo>
                  <a:lnTo>
                    <a:pt x="0" y="91"/>
                  </a:lnTo>
                  <a:lnTo>
                    <a:pt x="1" y="87"/>
                  </a:lnTo>
                  <a:lnTo>
                    <a:pt x="4" y="82"/>
                  </a:lnTo>
                  <a:lnTo>
                    <a:pt x="8" y="80"/>
                  </a:lnTo>
                  <a:lnTo>
                    <a:pt x="79" y="8"/>
                  </a:lnTo>
                  <a:lnTo>
                    <a:pt x="82" y="5"/>
                  </a:lnTo>
                  <a:lnTo>
                    <a:pt x="86" y="3"/>
                  </a:lnTo>
                  <a:lnTo>
                    <a:pt x="91" y="1"/>
                  </a:lnTo>
                  <a:lnTo>
                    <a:pt x="95" y="0"/>
                  </a:lnTo>
                  <a:lnTo>
                    <a:pt x="95" y="0"/>
                  </a:lnTo>
                  <a:lnTo>
                    <a:pt x="100" y="1"/>
                  </a:lnTo>
                  <a:lnTo>
                    <a:pt x="104" y="3"/>
                  </a:lnTo>
                  <a:lnTo>
                    <a:pt x="108" y="5"/>
                  </a:lnTo>
                  <a:lnTo>
                    <a:pt x="112" y="8"/>
                  </a:lnTo>
                  <a:lnTo>
                    <a:pt x="185" y="81"/>
                  </a:lnTo>
                  <a:lnTo>
                    <a:pt x="188" y="85"/>
                  </a:lnTo>
                  <a:lnTo>
                    <a:pt x="190" y="89"/>
                  </a:lnTo>
                  <a:lnTo>
                    <a:pt x="192" y="92"/>
                  </a:lnTo>
                  <a:lnTo>
                    <a:pt x="192" y="97"/>
                  </a:lnTo>
                  <a:lnTo>
                    <a:pt x="192" y="102"/>
                  </a:lnTo>
                  <a:lnTo>
                    <a:pt x="190" y="106"/>
                  </a:lnTo>
                  <a:lnTo>
                    <a:pt x="188" y="109"/>
                  </a:lnTo>
                  <a:lnTo>
                    <a:pt x="184" y="113"/>
                  </a:lnTo>
                  <a:lnTo>
                    <a:pt x="182" y="117"/>
                  </a:lnTo>
                  <a:lnTo>
                    <a:pt x="177" y="118"/>
                  </a:lnTo>
                  <a:lnTo>
                    <a:pt x="173"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3" name="Freeform 187">
              <a:extLst>
                <a:ext uri="{FF2B5EF4-FFF2-40B4-BE49-F238E27FC236}">
                  <a16:creationId xmlns:a16="http://schemas.microsoft.com/office/drawing/2014/main" id="{C66CDADD-BD39-4F0D-8CB2-AA42562BA323}"/>
                </a:ext>
              </a:extLst>
            </p:cNvPr>
            <p:cNvSpPr>
              <a:spLocks/>
            </p:cNvSpPr>
            <p:nvPr/>
          </p:nvSpPr>
          <p:spPr bwMode="auto">
            <a:xfrm>
              <a:off x="5565776" y="5583238"/>
              <a:ext cx="365125" cy="73025"/>
            </a:xfrm>
            <a:custGeom>
              <a:avLst/>
              <a:gdLst>
                <a:gd name="T0" fmla="*/ 898 w 921"/>
                <a:gd name="T1" fmla="*/ 184 h 184"/>
                <a:gd name="T2" fmla="*/ 22 w 921"/>
                <a:gd name="T3" fmla="*/ 184 h 184"/>
                <a:gd name="T4" fmla="*/ 19 w 921"/>
                <a:gd name="T5" fmla="*/ 184 h 184"/>
                <a:gd name="T6" fmla="*/ 14 w 921"/>
                <a:gd name="T7" fmla="*/ 183 h 184"/>
                <a:gd name="T8" fmla="*/ 10 w 921"/>
                <a:gd name="T9" fmla="*/ 180 h 184"/>
                <a:gd name="T10" fmla="*/ 6 w 921"/>
                <a:gd name="T11" fmla="*/ 178 h 184"/>
                <a:gd name="T12" fmla="*/ 4 w 921"/>
                <a:gd name="T13" fmla="*/ 174 h 184"/>
                <a:gd name="T14" fmla="*/ 1 w 921"/>
                <a:gd name="T15" fmla="*/ 170 h 184"/>
                <a:gd name="T16" fmla="*/ 0 w 921"/>
                <a:gd name="T17" fmla="*/ 165 h 184"/>
                <a:gd name="T18" fmla="*/ 0 w 921"/>
                <a:gd name="T19" fmla="*/ 161 h 184"/>
                <a:gd name="T20" fmla="*/ 0 w 921"/>
                <a:gd name="T21" fmla="*/ 0 h 184"/>
                <a:gd name="T22" fmla="*/ 45 w 921"/>
                <a:gd name="T23" fmla="*/ 0 h 184"/>
                <a:gd name="T24" fmla="*/ 45 w 921"/>
                <a:gd name="T25" fmla="*/ 138 h 184"/>
                <a:gd name="T26" fmla="*/ 875 w 921"/>
                <a:gd name="T27" fmla="*/ 138 h 184"/>
                <a:gd name="T28" fmla="*/ 875 w 921"/>
                <a:gd name="T29" fmla="*/ 0 h 184"/>
                <a:gd name="T30" fmla="*/ 921 w 921"/>
                <a:gd name="T31" fmla="*/ 0 h 184"/>
                <a:gd name="T32" fmla="*/ 921 w 921"/>
                <a:gd name="T33" fmla="*/ 161 h 184"/>
                <a:gd name="T34" fmla="*/ 920 w 921"/>
                <a:gd name="T35" fmla="*/ 165 h 184"/>
                <a:gd name="T36" fmla="*/ 919 w 921"/>
                <a:gd name="T37" fmla="*/ 170 h 184"/>
                <a:gd name="T38" fmla="*/ 918 w 921"/>
                <a:gd name="T39" fmla="*/ 174 h 184"/>
                <a:gd name="T40" fmla="*/ 914 w 921"/>
                <a:gd name="T41" fmla="*/ 178 h 184"/>
                <a:gd name="T42" fmla="*/ 911 w 921"/>
                <a:gd name="T43" fmla="*/ 180 h 184"/>
                <a:gd name="T44" fmla="*/ 906 w 921"/>
                <a:gd name="T45" fmla="*/ 183 h 184"/>
                <a:gd name="T46" fmla="*/ 903 w 921"/>
                <a:gd name="T47" fmla="*/ 184 h 184"/>
                <a:gd name="T48" fmla="*/ 898 w 921"/>
                <a:gd name="T4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1" h="184">
                  <a:moveTo>
                    <a:pt x="898" y="184"/>
                  </a:moveTo>
                  <a:lnTo>
                    <a:pt x="22" y="184"/>
                  </a:lnTo>
                  <a:lnTo>
                    <a:pt x="19" y="184"/>
                  </a:lnTo>
                  <a:lnTo>
                    <a:pt x="14" y="183"/>
                  </a:lnTo>
                  <a:lnTo>
                    <a:pt x="10" y="180"/>
                  </a:lnTo>
                  <a:lnTo>
                    <a:pt x="6" y="178"/>
                  </a:lnTo>
                  <a:lnTo>
                    <a:pt x="4" y="174"/>
                  </a:lnTo>
                  <a:lnTo>
                    <a:pt x="1" y="170"/>
                  </a:lnTo>
                  <a:lnTo>
                    <a:pt x="0" y="165"/>
                  </a:lnTo>
                  <a:lnTo>
                    <a:pt x="0" y="161"/>
                  </a:lnTo>
                  <a:lnTo>
                    <a:pt x="0" y="0"/>
                  </a:lnTo>
                  <a:lnTo>
                    <a:pt x="45" y="0"/>
                  </a:lnTo>
                  <a:lnTo>
                    <a:pt x="45" y="138"/>
                  </a:lnTo>
                  <a:lnTo>
                    <a:pt x="875" y="138"/>
                  </a:lnTo>
                  <a:lnTo>
                    <a:pt x="875" y="0"/>
                  </a:lnTo>
                  <a:lnTo>
                    <a:pt x="921" y="0"/>
                  </a:lnTo>
                  <a:lnTo>
                    <a:pt x="921" y="161"/>
                  </a:lnTo>
                  <a:lnTo>
                    <a:pt x="920" y="165"/>
                  </a:lnTo>
                  <a:lnTo>
                    <a:pt x="919" y="170"/>
                  </a:lnTo>
                  <a:lnTo>
                    <a:pt x="918" y="174"/>
                  </a:lnTo>
                  <a:lnTo>
                    <a:pt x="914" y="178"/>
                  </a:lnTo>
                  <a:lnTo>
                    <a:pt x="911" y="180"/>
                  </a:lnTo>
                  <a:lnTo>
                    <a:pt x="906" y="183"/>
                  </a:lnTo>
                  <a:lnTo>
                    <a:pt x="903" y="184"/>
                  </a:lnTo>
                  <a:lnTo>
                    <a:pt x="89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4" name="Rectangle 188">
              <a:extLst>
                <a:ext uri="{FF2B5EF4-FFF2-40B4-BE49-F238E27FC236}">
                  <a16:creationId xmlns:a16="http://schemas.microsoft.com/office/drawing/2014/main" id="{7D6644D6-3EC4-45C3-8FB5-081885AB7C21}"/>
                </a:ext>
              </a:extLst>
            </p:cNvPr>
            <p:cNvSpPr>
              <a:spLocks noChangeArrowheads="1"/>
            </p:cNvSpPr>
            <p:nvPr/>
          </p:nvSpPr>
          <p:spPr bwMode="auto">
            <a:xfrm>
              <a:off x="5729288" y="5519738"/>
              <a:ext cx="19050"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77" name="Group 45">
            <a:extLst>
              <a:ext uri="{FF2B5EF4-FFF2-40B4-BE49-F238E27FC236}">
                <a16:creationId xmlns:a16="http://schemas.microsoft.com/office/drawing/2014/main" id="{2C43E14A-DCB7-4C24-A0DE-98CC311DC72E}"/>
              </a:ext>
            </a:extLst>
          </p:cNvPr>
          <p:cNvGrpSpPr>
            <a:grpSpLocks noChangeAspect="1"/>
          </p:cNvGrpSpPr>
          <p:nvPr/>
        </p:nvGrpSpPr>
        <p:grpSpPr>
          <a:xfrm>
            <a:off x="4461398" y="2724897"/>
            <a:ext cx="263183" cy="285619"/>
            <a:chOff x="7832726" y="4595813"/>
            <a:chExt cx="484187" cy="525463"/>
          </a:xfrm>
          <a:solidFill>
            <a:schemeClr val="bg2"/>
          </a:solidFill>
          <a:effectLst/>
        </p:grpSpPr>
        <p:sp>
          <p:nvSpPr>
            <p:cNvPr id="678" name="Freeform 127">
              <a:extLst>
                <a:ext uri="{FF2B5EF4-FFF2-40B4-BE49-F238E27FC236}">
                  <a16:creationId xmlns:a16="http://schemas.microsoft.com/office/drawing/2014/main" id="{6E636A0F-F7DD-4497-A4FE-0938F2EA436D}"/>
                </a:ext>
              </a:extLst>
            </p:cNvPr>
            <p:cNvSpPr>
              <a:spLocks noEditPoints="1"/>
            </p:cNvSpPr>
            <p:nvPr/>
          </p:nvSpPr>
          <p:spPr bwMode="auto">
            <a:xfrm>
              <a:off x="7912101" y="4595813"/>
              <a:ext cx="217488" cy="238125"/>
            </a:xfrm>
            <a:custGeom>
              <a:avLst/>
              <a:gdLst>
                <a:gd name="T0" fmla="*/ 240 w 550"/>
                <a:gd name="T1" fmla="*/ 49 h 600"/>
                <a:gd name="T2" fmla="*/ 166 w 550"/>
                <a:gd name="T3" fmla="*/ 77 h 600"/>
                <a:gd name="T4" fmla="*/ 98 w 550"/>
                <a:gd name="T5" fmla="*/ 139 h 600"/>
                <a:gd name="T6" fmla="*/ 56 w 550"/>
                <a:gd name="T7" fmla="*/ 224 h 600"/>
                <a:gd name="T8" fmla="*/ 48 w 550"/>
                <a:gd name="T9" fmla="*/ 326 h 600"/>
                <a:gd name="T10" fmla="*/ 74 w 550"/>
                <a:gd name="T11" fmla="*/ 421 h 600"/>
                <a:gd name="T12" fmla="*/ 130 w 550"/>
                <a:gd name="T13" fmla="*/ 495 h 600"/>
                <a:gd name="T14" fmla="*/ 207 w 550"/>
                <a:gd name="T15" fmla="*/ 542 h 600"/>
                <a:gd name="T16" fmla="*/ 263 w 550"/>
                <a:gd name="T17" fmla="*/ 553 h 600"/>
                <a:gd name="T18" fmla="*/ 309 w 550"/>
                <a:gd name="T19" fmla="*/ 551 h 600"/>
                <a:gd name="T20" fmla="*/ 384 w 550"/>
                <a:gd name="T21" fmla="*/ 522 h 600"/>
                <a:gd name="T22" fmla="*/ 451 w 550"/>
                <a:gd name="T23" fmla="*/ 461 h 600"/>
                <a:gd name="T24" fmla="*/ 493 w 550"/>
                <a:gd name="T25" fmla="*/ 375 h 600"/>
                <a:gd name="T26" fmla="*/ 502 w 550"/>
                <a:gd name="T27" fmla="*/ 273 h 600"/>
                <a:gd name="T28" fmla="*/ 476 w 550"/>
                <a:gd name="T29" fmla="*/ 179 h 600"/>
                <a:gd name="T30" fmla="*/ 420 w 550"/>
                <a:gd name="T31" fmla="*/ 104 h 600"/>
                <a:gd name="T32" fmla="*/ 342 w 550"/>
                <a:gd name="T33" fmla="*/ 58 h 600"/>
                <a:gd name="T34" fmla="*/ 287 w 550"/>
                <a:gd name="T35" fmla="*/ 47 h 600"/>
                <a:gd name="T36" fmla="*/ 247 w 550"/>
                <a:gd name="T37" fmla="*/ 597 h 600"/>
                <a:gd name="T38" fmla="*/ 194 w 550"/>
                <a:gd name="T39" fmla="*/ 586 h 600"/>
                <a:gd name="T40" fmla="*/ 144 w 550"/>
                <a:gd name="T41" fmla="*/ 563 h 600"/>
                <a:gd name="T42" fmla="*/ 101 w 550"/>
                <a:gd name="T43" fmla="*/ 531 h 600"/>
                <a:gd name="T44" fmla="*/ 63 w 550"/>
                <a:gd name="T45" fmla="*/ 491 h 600"/>
                <a:gd name="T46" fmla="*/ 33 w 550"/>
                <a:gd name="T47" fmla="*/ 443 h 600"/>
                <a:gd name="T48" fmla="*/ 12 w 550"/>
                <a:gd name="T49" fmla="*/ 389 h 600"/>
                <a:gd name="T50" fmla="*/ 1 w 550"/>
                <a:gd name="T51" fmla="*/ 331 h 600"/>
                <a:gd name="T52" fmla="*/ 1 w 550"/>
                <a:gd name="T53" fmla="*/ 270 h 600"/>
                <a:gd name="T54" fmla="*/ 12 w 550"/>
                <a:gd name="T55" fmla="*/ 211 h 600"/>
                <a:gd name="T56" fmla="*/ 33 w 550"/>
                <a:gd name="T57" fmla="*/ 157 h 600"/>
                <a:gd name="T58" fmla="*/ 63 w 550"/>
                <a:gd name="T59" fmla="*/ 109 h 600"/>
                <a:gd name="T60" fmla="*/ 101 w 550"/>
                <a:gd name="T61" fmla="*/ 69 h 600"/>
                <a:gd name="T62" fmla="*/ 144 w 550"/>
                <a:gd name="T63" fmla="*/ 37 h 600"/>
                <a:gd name="T64" fmla="*/ 194 w 550"/>
                <a:gd name="T65" fmla="*/ 13 h 600"/>
                <a:gd name="T66" fmla="*/ 247 w 550"/>
                <a:gd name="T67" fmla="*/ 2 h 600"/>
                <a:gd name="T68" fmla="*/ 303 w 550"/>
                <a:gd name="T69" fmla="*/ 2 h 600"/>
                <a:gd name="T70" fmla="*/ 356 w 550"/>
                <a:gd name="T71" fmla="*/ 13 h 600"/>
                <a:gd name="T72" fmla="*/ 406 w 550"/>
                <a:gd name="T73" fmla="*/ 37 h 600"/>
                <a:gd name="T74" fmla="*/ 449 w 550"/>
                <a:gd name="T75" fmla="*/ 69 h 600"/>
                <a:gd name="T76" fmla="*/ 487 w 550"/>
                <a:gd name="T77" fmla="*/ 109 h 600"/>
                <a:gd name="T78" fmla="*/ 516 w 550"/>
                <a:gd name="T79" fmla="*/ 157 h 600"/>
                <a:gd name="T80" fmla="*/ 537 w 550"/>
                <a:gd name="T81" fmla="*/ 211 h 600"/>
                <a:gd name="T82" fmla="*/ 548 w 550"/>
                <a:gd name="T83" fmla="*/ 270 h 600"/>
                <a:gd name="T84" fmla="*/ 548 w 550"/>
                <a:gd name="T85" fmla="*/ 331 h 600"/>
                <a:gd name="T86" fmla="*/ 537 w 550"/>
                <a:gd name="T87" fmla="*/ 389 h 600"/>
                <a:gd name="T88" fmla="*/ 516 w 550"/>
                <a:gd name="T89" fmla="*/ 443 h 600"/>
                <a:gd name="T90" fmla="*/ 487 w 550"/>
                <a:gd name="T91" fmla="*/ 491 h 600"/>
                <a:gd name="T92" fmla="*/ 449 w 550"/>
                <a:gd name="T93" fmla="*/ 531 h 600"/>
                <a:gd name="T94" fmla="*/ 406 w 550"/>
                <a:gd name="T95" fmla="*/ 563 h 600"/>
                <a:gd name="T96" fmla="*/ 356 w 550"/>
                <a:gd name="T97" fmla="*/ 586 h 600"/>
                <a:gd name="T98" fmla="*/ 303 w 550"/>
                <a:gd name="T99" fmla="*/ 597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600">
                  <a:moveTo>
                    <a:pt x="275" y="47"/>
                  </a:moveTo>
                  <a:lnTo>
                    <a:pt x="263" y="47"/>
                  </a:lnTo>
                  <a:lnTo>
                    <a:pt x="252" y="48"/>
                  </a:lnTo>
                  <a:lnTo>
                    <a:pt x="240" y="49"/>
                  </a:lnTo>
                  <a:lnTo>
                    <a:pt x="229" y="51"/>
                  </a:lnTo>
                  <a:lnTo>
                    <a:pt x="207" y="58"/>
                  </a:lnTo>
                  <a:lnTo>
                    <a:pt x="186" y="66"/>
                  </a:lnTo>
                  <a:lnTo>
                    <a:pt x="166" y="77"/>
                  </a:lnTo>
                  <a:lnTo>
                    <a:pt x="147" y="89"/>
                  </a:lnTo>
                  <a:lnTo>
                    <a:pt x="130" y="104"/>
                  </a:lnTo>
                  <a:lnTo>
                    <a:pt x="113" y="121"/>
                  </a:lnTo>
                  <a:lnTo>
                    <a:pt x="98" y="139"/>
                  </a:lnTo>
                  <a:lnTo>
                    <a:pt x="86" y="158"/>
                  </a:lnTo>
                  <a:lnTo>
                    <a:pt x="74" y="179"/>
                  </a:lnTo>
                  <a:lnTo>
                    <a:pt x="65" y="201"/>
                  </a:lnTo>
                  <a:lnTo>
                    <a:pt x="56" y="224"/>
                  </a:lnTo>
                  <a:lnTo>
                    <a:pt x="52" y="249"/>
                  </a:lnTo>
                  <a:lnTo>
                    <a:pt x="48" y="273"/>
                  </a:lnTo>
                  <a:lnTo>
                    <a:pt x="47" y="300"/>
                  </a:lnTo>
                  <a:lnTo>
                    <a:pt x="48" y="326"/>
                  </a:lnTo>
                  <a:lnTo>
                    <a:pt x="52" y="351"/>
                  </a:lnTo>
                  <a:lnTo>
                    <a:pt x="56" y="375"/>
                  </a:lnTo>
                  <a:lnTo>
                    <a:pt x="65" y="399"/>
                  </a:lnTo>
                  <a:lnTo>
                    <a:pt x="74" y="421"/>
                  </a:lnTo>
                  <a:lnTo>
                    <a:pt x="86" y="442"/>
                  </a:lnTo>
                  <a:lnTo>
                    <a:pt x="98" y="461"/>
                  </a:lnTo>
                  <a:lnTo>
                    <a:pt x="113" y="480"/>
                  </a:lnTo>
                  <a:lnTo>
                    <a:pt x="130" y="495"/>
                  </a:lnTo>
                  <a:lnTo>
                    <a:pt x="147" y="510"/>
                  </a:lnTo>
                  <a:lnTo>
                    <a:pt x="166" y="522"/>
                  </a:lnTo>
                  <a:lnTo>
                    <a:pt x="186" y="534"/>
                  </a:lnTo>
                  <a:lnTo>
                    <a:pt x="207" y="542"/>
                  </a:lnTo>
                  <a:lnTo>
                    <a:pt x="229" y="548"/>
                  </a:lnTo>
                  <a:lnTo>
                    <a:pt x="240" y="551"/>
                  </a:lnTo>
                  <a:lnTo>
                    <a:pt x="252" y="552"/>
                  </a:lnTo>
                  <a:lnTo>
                    <a:pt x="263" y="553"/>
                  </a:lnTo>
                  <a:lnTo>
                    <a:pt x="275" y="553"/>
                  </a:lnTo>
                  <a:lnTo>
                    <a:pt x="287" y="553"/>
                  </a:lnTo>
                  <a:lnTo>
                    <a:pt x="298" y="552"/>
                  </a:lnTo>
                  <a:lnTo>
                    <a:pt x="309" y="551"/>
                  </a:lnTo>
                  <a:lnTo>
                    <a:pt x="320" y="548"/>
                  </a:lnTo>
                  <a:lnTo>
                    <a:pt x="342" y="542"/>
                  </a:lnTo>
                  <a:lnTo>
                    <a:pt x="363" y="534"/>
                  </a:lnTo>
                  <a:lnTo>
                    <a:pt x="384" y="522"/>
                  </a:lnTo>
                  <a:lnTo>
                    <a:pt x="402" y="510"/>
                  </a:lnTo>
                  <a:lnTo>
                    <a:pt x="420" y="495"/>
                  </a:lnTo>
                  <a:lnTo>
                    <a:pt x="437" y="480"/>
                  </a:lnTo>
                  <a:lnTo>
                    <a:pt x="451" y="461"/>
                  </a:lnTo>
                  <a:lnTo>
                    <a:pt x="464" y="442"/>
                  </a:lnTo>
                  <a:lnTo>
                    <a:pt x="476" y="421"/>
                  </a:lnTo>
                  <a:lnTo>
                    <a:pt x="485" y="399"/>
                  </a:lnTo>
                  <a:lnTo>
                    <a:pt x="493" y="375"/>
                  </a:lnTo>
                  <a:lnTo>
                    <a:pt x="498" y="351"/>
                  </a:lnTo>
                  <a:lnTo>
                    <a:pt x="502" y="326"/>
                  </a:lnTo>
                  <a:lnTo>
                    <a:pt x="503" y="300"/>
                  </a:lnTo>
                  <a:lnTo>
                    <a:pt x="502" y="273"/>
                  </a:lnTo>
                  <a:lnTo>
                    <a:pt x="498" y="249"/>
                  </a:lnTo>
                  <a:lnTo>
                    <a:pt x="493" y="224"/>
                  </a:lnTo>
                  <a:lnTo>
                    <a:pt x="485" y="201"/>
                  </a:lnTo>
                  <a:lnTo>
                    <a:pt x="476" y="179"/>
                  </a:lnTo>
                  <a:lnTo>
                    <a:pt x="464" y="158"/>
                  </a:lnTo>
                  <a:lnTo>
                    <a:pt x="451" y="139"/>
                  </a:lnTo>
                  <a:lnTo>
                    <a:pt x="437" y="121"/>
                  </a:lnTo>
                  <a:lnTo>
                    <a:pt x="420" y="104"/>
                  </a:lnTo>
                  <a:lnTo>
                    <a:pt x="402" y="89"/>
                  </a:lnTo>
                  <a:lnTo>
                    <a:pt x="384" y="77"/>
                  </a:lnTo>
                  <a:lnTo>
                    <a:pt x="363" y="66"/>
                  </a:lnTo>
                  <a:lnTo>
                    <a:pt x="342" y="58"/>
                  </a:lnTo>
                  <a:lnTo>
                    <a:pt x="320" y="51"/>
                  </a:lnTo>
                  <a:lnTo>
                    <a:pt x="309" y="49"/>
                  </a:lnTo>
                  <a:lnTo>
                    <a:pt x="298" y="48"/>
                  </a:lnTo>
                  <a:lnTo>
                    <a:pt x="287" y="47"/>
                  </a:lnTo>
                  <a:lnTo>
                    <a:pt x="275" y="47"/>
                  </a:lnTo>
                  <a:close/>
                  <a:moveTo>
                    <a:pt x="275" y="600"/>
                  </a:moveTo>
                  <a:lnTo>
                    <a:pt x="261" y="599"/>
                  </a:lnTo>
                  <a:lnTo>
                    <a:pt x="247" y="597"/>
                  </a:lnTo>
                  <a:lnTo>
                    <a:pt x="233" y="596"/>
                  </a:lnTo>
                  <a:lnTo>
                    <a:pt x="220" y="594"/>
                  </a:lnTo>
                  <a:lnTo>
                    <a:pt x="206" y="590"/>
                  </a:lnTo>
                  <a:lnTo>
                    <a:pt x="194" y="586"/>
                  </a:lnTo>
                  <a:lnTo>
                    <a:pt x="180" y="581"/>
                  </a:lnTo>
                  <a:lnTo>
                    <a:pt x="168" y="576"/>
                  </a:lnTo>
                  <a:lnTo>
                    <a:pt x="156" y="570"/>
                  </a:lnTo>
                  <a:lnTo>
                    <a:pt x="144" y="563"/>
                  </a:lnTo>
                  <a:lnTo>
                    <a:pt x="133" y="556"/>
                  </a:lnTo>
                  <a:lnTo>
                    <a:pt x="121" y="548"/>
                  </a:lnTo>
                  <a:lnTo>
                    <a:pt x="110" y="540"/>
                  </a:lnTo>
                  <a:lnTo>
                    <a:pt x="101" y="531"/>
                  </a:lnTo>
                  <a:lnTo>
                    <a:pt x="91" y="521"/>
                  </a:lnTo>
                  <a:lnTo>
                    <a:pt x="81" y="511"/>
                  </a:lnTo>
                  <a:lnTo>
                    <a:pt x="72" y="502"/>
                  </a:lnTo>
                  <a:lnTo>
                    <a:pt x="63" y="491"/>
                  </a:lnTo>
                  <a:lnTo>
                    <a:pt x="55" y="480"/>
                  </a:lnTo>
                  <a:lnTo>
                    <a:pt x="48" y="467"/>
                  </a:lnTo>
                  <a:lnTo>
                    <a:pt x="41" y="455"/>
                  </a:lnTo>
                  <a:lnTo>
                    <a:pt x="33" y="443"/>
                  </a:lnTo>
                  <a:lnTo>
                    <a:pt x="27" y="429"/>
                  </a:lnTo>
                  <a:lnTo>
                    <a:pt x="22" y="417"/>
                  </a:lnTo>
                  <a:lnTo>
                    <a:pt x="17" y="402"/>
                  </a:lnTo>
                  <a:lnTo>
                    <a:pt x="12" y="389"/>
                  </a:lnTo>
                  <a:lnTo>
                    <a:pt x="9" y="375"/>
                  </a:lnTo>
                  <a:lnTo>
                    <a:pt x="6" y="361"/>
                  </a:lnTo>
                  <a:lnTo>
                    <a:pt x="4" y="346"/>
                  </a:lnTo>
                  <a:lnTo>
                    <a:pt x="1" y="331"/>
                  </a:lnTo>
                  <a:lnTo>
                    <a:pt x="1" y="315"/>
                  </a:lnTo>
                  <a:lnTo>
                    <a:pt x="0" y="300"/>
                  </a:lnTo>
                  <a:lnTo>
                    <a:pt x="1" y="285"/>
                  </a:lnTo>
                  <a:lnTo>
                    <a:pt x="1" y="270"/>
                  </a:lnTo>
                  <a:lnTo>
                    <a:pt x="4" y="254"/>
                  </a:lnTo>
                  <a:lnTo>
                    <a:pt x="6" y="239"/>
                  </a:lnTo>
                  <a:lnTo>
                    <a:pt x="9" y="226"/>
                  </a:lnTo>
                  <a:lnTo>
                    <a:pt x="12" y="211"/>
                  </a:lnTo>
                  <a:lnTo>
                    <a:pt x="17" y="197"/>
                  </a:lnTo>
                  <a:lnTo>
                    <a:pt x="22" y="184"/>
                  </a:lnTo>
                  <a:lnTo>
                    <a:pt x="27" y="170"/>
                  </a:lnTo>
                  <a:lnTo>
                    <a:pt x="33" y="157"/>
                  </a:lnTo>
                  <a:lnTo>
                    <a:pt x="41" y="145"/>
                  </a:lnTo>
                  <a:lnTo>
                    <a:pt x="48" y="132"/>
                  </a:lnTo>
                  <a:lnTo>
                    <a:pt x="55" y="121"/>
                  </a:lnTo>
                  <a:lnTo>
                    <a:pt x="63" y="109"/>
                  </a:lnTo>
                  <a:lnTo>
                    <a:pt x="72" y="98"/>
                  </a:lnTo>
                  <a:lnTo>
                    <a:pt x="81" y="88"/>
                  </a:lnTo>
                  <a:lnTo>
                    <a:pt x="91" y="78"/>
                  </a:lnTo>
                  <a:lnTo>
                    <a:pt x="101" y="69"/>
                  </a:lnTo>
                  <a:lnTo>
                    <a:pt x="110" y="60"/>
                  </a:lnTo>
                  <a:lnTo>
                    <a:pt x="121" y="51"/>
                  </a:lnTo>
                  <a:lnTo>
                    <a:pt x="133" y="44"/>
                  </a:lnTo>
                  <a:lnTo>
                    <a:pt x="144" y="37"/>
                  </a:lnTo>
                  <a:lnTo>
                    <a:pt x="156" y="31"/>
                  </a:lnTo>
                  <a:lnTo>
                    <a:pt x="168" y="24"/>
                  </a:lnTo>
                  <a:lnTo>
                    <a:pt x="180" y="18"/>
                  </a:lnTo>
                  <a:lnTo>
                    <a:pt x="194" y="13"/>
                  </a:lnTo>
                  <a:lnTo>
                    <a:pt x="206" y="10"/>
                  </a:lnTo>
                  <a:lnTo>
                    <a:pt x="220" y="6"/>
                  </a:lnTo>
                  <a:lnTo>
                    <a:pt x="233" y="4"/>
                  </a:lnTo>
                  <a:lnTo>
                    <a:pt x="247" y="2"/>
                  </a:lnTo>
                  <a:lnTo>
                    <a:pt x="261" y="1"/>
                  </a:lnTo>
                  <a:lnTo>
                    <a:pt x="275" y="0"/>
                  </a:lnTo>
                  <a:lnTo>
                    <a:pt x="290" y="1"/>
                  </a:lnTo>
                  <a:lnTo>
                    <a:pt x="303" y="2"/>
                  </a:lnTo>
                  <a:lnTo>
                    <a:pt x="317" y="4"/>
                  </a:lnTo>
                  <a:lnTo>
                    <a:pt x="330" y="6"/>
                  </a:lnTo>
                  <a:lnTo>
                    <a:pt x="343" y="10"/>
                  </a:lnTo>
                  <a:lnTo>
                    <a:pt x="356" y="13"/>
                  </a:lnTo>
                  <a:lnTo>
                    <a:pt x="369" y="18"/>
                  </a:lnTo>
                  <a:lnTo>
                    <a:pt x="382" y="24"/>
                  </a:lnTo>
                  <a:lnTo>
                    <a:pt x="394" y="31"/>
                  </a:lnTo>
                  <a:lnTo>
                    <a:pt x="406" y="37"/>
                  </a:lnTo>
                  <a:lnTo>
                    <a:pt x="417" y="44"/>
                  </a:lnTo>
                  <a:lnTo>
                    <a:pt x="428" y="51"/>
                  </a:lnTo>
                  <a:lnTo>
                    <a:pt x="439" y="60"/>
                  </a:lnTo>
                  <a:lnTo>
                    <a:pt x="449" y="69"/>
                  </a:lnTo>
                  <a:lnTo>
                    <a:pt x="459" y="78"/>
                  </a:lnTo>
                  <a:lnTo>
                    <a:pt x="469" y="88"/>
                  </a:lnTo>
                  <a:lnTo>
                    <a:pt x="478" y="98"/>
                  </a:lnTo>
                  <a:lnTo>
                    <a:pt x="487" y="109"/>
                  </a:lnTo>
                  <a:lnTo>
                    <a:pt x="494" y="121"/>
                  </a:lnTo>
                  <a:lnTo>
                    <a:pt x="502" y="132"/>
                  </a:lnTo>
                  <a:lnTo>
                    <a:pt x="509" y="145"/>
                  </a:lnTo>
                  <a:lnTo>
                    <a:pt x="516" y="157"/>
                  </a:lnTo>
                  <a:lnTo>
                    <a:pt x="523" y="170"/>
                  </a:lnTo>
                  <a:lnTo>
                    <a:pt x="527" y="184"/>
                  </a:lnTo>
                  <a:lnTo>
                    <a:pt x="532" y="197"/>
                  </a:lnTo>
                  <a:lnTo>
                    <a:pt x="537" y="211"/>
                  </a:lnTo>
                  <a:lnTo>
                    <a:pt x="541" y="226"/>
                  </a:lnTo>
                  <a:lnTo>
                    <a:pt x="543" y="239"/>
                  </a:lnTo>
                  <a:lnTo>
                    <a:pt x="546" y="254"/>
                  </a:lnTo>
                  <a:lnTo>
                    <a:pt x="548" y="270"/>
                  </a:lnTo>
                  <a:lnTo>
                    <a:pt x="548" y="285"/>
                  </a:lnTo>
                  <a:lnTo>
                    <a:pt x="550" y="300"/>
                  </a:lnTo>
                  <a:lnTo>
                    <a:pt x="548" y="315"/>
                  </a:lnTo>
                  <a:lnTo>
                    <a:pt x="548" y="331"/>
                  </a:lnTo>
                  <a:lnTo>
                    <a:pt x="546" y="346"/>
                  </a:lnTo>
                  <a:lnTo>
                    <a:pt x="543" y="361"/>
                  </a:lnTo>
                  <a:lnTo>
                    <a:pt x="541" y="375"/>
                  </a:lnTo>
                  <a:lnTo>
                    <a:pt x="537" y="389"/>
                  </a:lnTo>
                  <a:lnTo>
                    <a:pt x="532" y="402"/>
                  </a:lnTo>
                  <a:lnTo>
                    <a:pt x="527" y="417"/>
                  </a:lnTo>
                  <a:lnTo>
                    <a:pt x="523" y="429"/>
                  </a:lnTo>
                  <a:lnTo>
                    <a:pt x="516" y="443"/>
                  </a:lnTo>
                  <a:lnTo>
                    <a:pt x="509" y="455"/>
                  </a:lnTo>
                  <a:lnTo>
                    <a:pt x="502" y="467"/>
                  </a:lnTo>
                  <a:lnTo>
                    <a:pt x="494" y="480"/>
                  </a:lnTo>
                  <a:lnTo>
                    <a:pt x="487" y="491"/>
                  </a:lnTo>
                  <a:lnTo>
                    <a:pt x="478" y="502"/>
                  </a:lnTo>
                  <a:lnTo>
                    <a:pt x="469" y="511"/>
                  </a:lnTo>
                  <a:lnTo>
                    <a:pt x="459" y="521"/>
                  </a:lnTo>
                  <a:lnTo>
                    <a:pt x="449" y="531"/>
                  </a:lnTo>
                  <a:lnTo>
                    <a:pt x="439" y="540"/>
                  </a:lnTo>
                  <a:lnTo>
                    <a:pt x="428" y="548"/>
                  </a:lnTo>
                  <a:lnTo>
                    <a:pt x="417" y="556"/>
                  </a:lnTo>
                  <a:lnTo>
                    <a:pt x="406" y="563"/>
                  </a:lnTo>
                  <a:lnTo>
                    <a:pt x="394" y="570"/>
                  </a:lnTo>
                  <a:lnTo>
                    <a:pt x="382" y="576"/>
                  </a:lnTo>
                  <a:lnTo>
                    <a:pt x="369" y="581"/>
                  </a:lnTo>
                  <a:lnTo>
                    <a:pt x="356" y="586"/>
                  </a:lnTo>
                  <a:lnTo>
                    <a:pt x="343" y="590"/>
                  </a:lnTo>
                  <a:lnTo>
                    <a:pt x="330" y="594"/>
                  </a:lnTo>
                  <a:lnTo>
                    <a:pt x="317" y="596"/>
                  </a:lnTo>
                  <a:lnTo>
                    <a:pt x="303" y="597"/>
                  </a:lnTo>
                  <a:lnTo>
                    <a:pt x="290" y="599"/>
                  </a:lnTo>
                  <a:lnTo>
                    <a:pt x="275" y="60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28">
              <a:extLst>
                <a:ext uri="{FF2B5EF4-FFF2-40B4-BE49-F238E27FC236}">
                  <a16:creationId xmlns:a16="http://schemas.microsoft.com/office/drawing/2014/main" id="{CD678A13-16CC-4CF0-82A1-9FE82419E2D0}"/>
                </a:ext>
              </a:extLst>
            </p:cNvPr>
            <p:cNvSpPr>
              <a:spLocks/>
            </p:cNvSpPr>
            <p:nvPr/>
          </p:nvSpPr>
          <p:spPr bwMode="auto">
            <a:xfrm>
              <a:off x="8051801" y="4814888"/>
              <a:ext cx="158750" cy="130175"/>
            </a:xfrm>
            <a:custGeom>
              <a:avLst/>
              <a:gdLst>
                <a:gd name="T0" fmla="*/ 352 w 399"/>
                <a:gd name="T1" fmla="*/ 327 h 327"/>
                <a:gd name="T2" fmla="*/ 350 w 399"/>
                <a:gd name="T3" fmla="*/ 290 h 327"/>
                <a:gd name="T4" fmla="*/ 342 w 399"/>
                <a:gd name="T5" fmla="*/ 261 h 327"/>
                <a:gd name="T6" fmla="*/ 329 w 399"/>
                <a:gd name="T7" fmla="*/ 238 h 327"/>
                <a:gd name="T8" fmla="*/ 310 w 399"/>
                <a:gd name="T9" fmla="*/ 219 h 327"/>
                <a:gd name="T10" fmla="*/ 288 w 399"/>
                <a:gd name="T11" fmla="*/ 205 h 327"/>
                <a:gd name="T12" fmla="*/ 259 w 399"/>
                <a:gd name="T13" fmla="*/ 192 h 327"/>
                <a:gd name="T14" fmla="*/ 188 w 399"/>
                <a:gd name="T15" fmla="*/ 170 h 327"/>
                <a:gd name="T16" fmla="*/ 153 w 399"/>
                <a:gd name="T17" fmla="*/ 159 h 327"/>
                <a:gd name="T18" fmla="*/ 117 w 399"/>
                <a:gd name="T19" fmla="*/ 148 h 327"/>
                <a:gd name="T20" fmla="*/ 83 w 399"/>
                <a:gd name="T21" fmla="*/ 133 h 327"/>
                <a:gd name="T22" fmla="*/ 56 w 399"/>
                <a:gd name="T23" fmla="*/ 116 h 327"/>
                <a:gd name="T24" fmla="*/ 36 w 399"/>
                <a:gd name="T25" fmla="*/ 97 h 327"/>
                <a:gd name="T26" fmla="*/ 21 w 399"/>
                <a:gd name="T27" fmla="*/ 76 h 327"/>
                <a:gd name="T28" fmla="*/ 10 w 399"/>
                <a:gd name="T29" fmla="*/ 55 h 327"/>
                <a:gd name="T30" fmla="*/ 4 w 399"/>
                <a:gd name="T31" fmla="*/ 34 h 327"/>
                <a:gd name="T32" fmla="*/ 0 w 399"/>
                <a:gd name="T33" fmla="*/ 16 h 327"/>
                <a:gd name="T34" fmla="*/ 0 w 399"/>
                <a:gd name="T35" fmla="*/ 0 h 327"/>
                <a:gd name="T36" fmla="*/ 47 w 399"/>
                <a:gd name="T37" fmla="*/ 7 h 327"/>
                <a:gd name="T38" fmla="*/ 50 w 399"/>
                <a:gd name="T39" fmla="*/ 29 h 327"/>
                <a:gd name="T40" fmla="*/ 60 w 399"/>
                <a:gd name="T41" fmla="*/ 51 h 327"/>
                <a:gd name="T42" fmla="*/ 72 w 399"/>
                <a:gd name="T43" fmla="*/ 68 h 327"/>
                <a:gd name="T44" fmla="*/ 91 w 399"/>
                <a:gd name="T45" fmla="*/ 84 h 327"/>
                <a:gd name="T46" fmla="*/ 115 w 399"/>
                <a:gd name="T47" fmla="*/ 98 h 327"/>
                <a:gd name="T48" fmla="*/ 150 w 399"/>
                <a:gd name="T49" fmla="*/ 110 h 327"/>
                <a:gd name="T50" fmla="*/ 184 w 399"/>
                <a:gd name="T51" fmla="*/ 121 h 327"/>
                <a:gd name="T52" fmla="*/ 240 w 399"/>
                <a:gd name="T53" fmla="*/ 137 h 327"/>
                <a:gd name="T54" fmla="*/ 296 w 399"/>
                <a:gd name="T55" fmla="*/ 158 h 327"/>
                <a:gd name="T56" fmla="*/ 326 w 399"/>
                <a:gd name="T57" fmla="*/ 175 h 327"/>
                <a:gd name="T58" fmla="*/ 353 w 399"/>
                <a:gd name="T59" fmla="*/ 196 h 327"/>
                <a:gd name="T60" fmla="*/ 374 w 399"/>
                <a:gd name="T61" fmla="*/ 223 h 327"/>
                <a:gd name="T62" fmla="*/ 389 w 399"/>
                <a:gd name="T63" fmla="*/ 259 h 327"/>
                <a:gd name="T64" fmla="*/ 397 w 399"/>
                <a:gd name="T65" fmla="*/ 30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9" h="327">
                  <a:moveTo>
                    <a:pt x="399" y="327"/>
                  </a:moveTo>
                  <a:lnTo>
                    <a:pt x="352" y="327"/>
                  </a:lnTo>
                  <a:lnTo>
                    <a:pt x="352" y="308"/>
                  </a:lnTo>
                  <a:lnTo>
                    <a:pt x="350" y="290"/>
                  </a:lnTo>
                  <a:lnTo>
                    <a:pt x="346" y="274"/>
                  </a:lnTo>
                  <a:lnTo>
                    <a:pt x="342" y="261"/>
                  </a:lnTo>
                  <a:lnTo>
                    <a:pt x="336" y="249"/>
                  </a:lnTo>
                  <a:lnTo>
                    <a:pt x="329" y="238"/>
                  </a:lnTo>
                  <a:lnTo>
                    <a:pt x="320" y="228"/>
                  </a:lnTo>
                  <a:lnTo>
                    <a:pt x="310" y="219"/>
                  </a:lnTo>
                  <a:lnTo>
                    <a:pt x="299" y="212"/>
                  </a:lnTo>
                  <a:lnTo>
                    <a:pt x="288" y="205"/>
                  </a:lnTo>
                  <a:lnTo>
                    <a:pt x="274" y="198"/>
                  </a:lnTo>
                  <a:lnTo>
                    <a:pt x="259" y="192"/>
                  </a:lnTo>
                  <a:lnTo>
                    <a:pt x="226" y="181"/>
                  </a:lnTo>
                  <a:lnTo>
                    <a:pt x="188" y="170"/>
                  </a:lnTo>
                  <a:lnTo>
                    <a:pt x="171" y="164"/>
                  </a:lnTo>
                  <a:lnTo>
                    <a:pt x="153" y="159"/>
                  </a:lnTo>
                  <a:lnTo>
                    <a:pt x="135" y="154"/>
                  </a:lnTo>
                  <a:lnTo>
                    <a:pt x="117" y="148"/>
                  </a:lnTo>
                  <a:lnTo>
                    <a:pt x="99" y="141"/>
                  </a:lnTo>
                  <a:lnTo>
                    <a:pt x="83" y="133"/>
                  </a:lnTo>
                  <a:lnTo>
                    <a:pt x="70" y="125"/>
                  </a:lnTo>
                  <a:lnTo>
                    <a:pt x="56" y="116"/>
                  </a:lnTo>
                  <a:lnTo>
                    <a:pt x="45" y="106"/>
                  </a:lnTo>
                  <a:lnTo>
                    <a:pt x="36" y="97"/>
                  </a:lnTo>
                  <a:lnTo>
                    <a:pt x="28" y="86"/>
                  </a:lnTo>
                  <a:lnTo>
                    <a:pt x="21" y="76"/>
                  </a:lnTo>
                  <a:lnTo>
                    <a:pt x="15" y="65"/>
                  </a:lnTo>
                  <a:lnTo>
                    <a:pt x="10" y="55"/>
                  </a:lnTo>
                  <a:lnTo>
                    <a:pt x="6" y="44"/>
                  </a:lnTo>
                  <a:lnTo>
                    <a:pt x="4" y="34"/>
                  </a:lnTo>
                  <a:lnTo>
                    <a:pt x="1" y="24"/>
                  </a:lnTo>
                  <a:lnTo>
                    <a:pt x="0" y="16"/>
                  </a:lnTo>
                  <a:lnTo>
                    <a:pt x="0" y="7"/>
                  </a:lnTo>
                  <a:lnTo>
                    <a:pt x="0" y="0"/>
                  </a:lnTo>
                  <a:lnTo>
                    <a:pt x="47" y="3"/>
                  </a:lnTo>
                  <a:lnTo>
                    <a:pt x="47" y="7"/>
                  </a:lnTo>
                  <a:lnTo>
                    <a:pt x="47" y="16"/>
                  </a:lnTo>
                  <a:lnTo>
                    <a:pt x="50" y="29"/>
                  </a:lnTo>
                  <a:lnTo>
                    <a:pt x="56" y="44"/>
                  </a:lnTo>
                  <a:lnTo>
                    <a:pt x="60" y="51"/>
                  </a:lnTo>
                  <a:lnTo>
                    <a:pt x="66" y="60"/>
                  </a:lnTo>
                  <a:lnTo>
                    <a:pt x="72" y="68"/>
                  </a:lnTo>
                  <a:lnTo>
                    <a:pt x="81" y="77"/>
                  </a:lnTo>
                  <a:lnTo>
                    <a:pt x="91" y="84"/>
                  </a:lnTo>
                  <a:lnTo>
                    <a:pt x="102" y="92"/>
                  </a:lnTo>
                  <a:lnTo>
                    <a:pt x="115" y="98"/>
                  </a:lnTo>
                  <a:lnTo>
                    <a:pt x="131" y="104"/>
                  </a:lnTo>
                  <a:lnTo>
                    <a:pt x="150" y="110"/>
                  </a:lnTo>
                  <a:lnTo>
                    <a:pt x="167" y="115"/>
                  </a:lnTo>
                  <a:lnTo>
                    <a:pt x="184" y="121"/>
                  </a:lnTo>
                  <a:lnTo>
                    <a:pt x="200" y="125"/>
                  </a:lnTo>
                  <a:lnTo>
                    <a:pt x="240" y="137"/>
                  </a:lnTo>
                  <a:lnTo>
                    <a:pt x="278" y="151"/>
                  </a:lnTo>
                  <a:lnTo>
                    <a:pt x="296" y="158"/>
                  </a:lnTo>
                  <a:lnTo>
                    <a:pt x="312" y="165"/>
                  </a:lnTo>
                  <a:lnTo>
                    <a:pt x="326" y="175"/>
                  </a:lnTo>
                  <a:lnTo>
                    <a:pt x="341" y="185"/>
                  </a:lnTo>
                  <a:lnTo>
                    <a:pt x="353" y="196"/>
                  </a:lnTo>
                  <a:lnTo>
                    <a:pt x="364" y="209"/>
                  </a:lnTo>
                  <a:lnTo>
                    <a:pt x="374" y="223"/>
                  </a:lnTo>
                  <a:lnTo>
                    <a:pt x="383" y="240"/>
                  </a:lnTo>
                  <a:lnTo>
                    <a:pt x="389" y="259"/>
                  </a:lnTo>
                  <a:lnTo>
                    <a:pt x="394" y="278"/>
                  </a:lnTo>
                  <a:lnTo>
                    <a:pt x="397" y="301"/>
                  </a:lnTo>
                  <a:lnTo>
                    <a:pt x="399" y="327"/>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29">
              <a:extLst>
                <a:ext uri="{FF2B5EF4-FFF2-40B4-BE49-F238E27FC236}">
                  <a16:creationId xmlns:a16="http://schemas.microsoft.com/office/drawing/2014/main" id="{8C451405-B75D-44F7-93FE-CF02D2C0286B}"/>
                </a:ext>
              </a:extLst>
            </p:cNvPr>
            <p:cNvSpPr>
              <a:spLocks/>
            </p:cNvSpPr>
            <p:nvPr/>
          </p:nvSpPr>
          <p:spPr bwMode="auto">
            <a:xfrm>
              <a:off x="7832726" y="4814888"/>
              <a:ext cx="276225" cy="238125"/>
            </a:xfrm>
            <a:custGeom>
              <a:avLst/>
              <a:gdLst>
                <a:gd name="T0" fmla="*/ 0 w 698"/>
                <a:gd name="T1" fmla="*/ 602 h 602"/>
                <a:gd name="T2" fmla="*/ 1 w 698"/>
                <a:gd name="T3" fmla="*/ 301 h 602"/>
                <a:gd name="T4" fmla="*/ 10 w 698"/>
                <a:gd name="T5" fmla="*/ 259 h 602"/>
                <a:gd name="T6" fmla="*/ 24 w 698"/>
                <a:gd name="T7" fmla="*/ 223 h 602"/>
                <a:gd name="T8" fmla="*/ 45 w 698"/>
                <a:gd name="T9" fmla="*/ 196 h 602"/>
                <a:gd name="T10" fmla="*/ 72 w 698"/>
                <a:gd name="T11" fmla="*/ 175 h 602"/>
                <a:gd name="T12" fmla="*/ 103 w 698"/>
                <a:gd name="T13" fmla="*/ 158 h 602"/>
                <a:gd name="T14" fmla="*/ 158 w 698"/>
                <a:gd name="T15" fmla="*/ 137 h 602"/>
                <a:gd name="T16" fmla="*/ 215 w 698"/>
                <a:gd name="T17" fmla="*/ 121 h 602"/>
                <a:gd name="T18" fmla="*/ 249 w 698"/>
                <a:gd name="T19" fmla="*/ 110 h 602"/>
                <a:gd name="T20" fmla="*/ 283 w 698"/>
                <a:gd name="T21" fmla="*/ 98 h 602"/>
                <a:gd name="T22" fmla="*/ 308 w 698"/>
                <a:gd name="T23" fmla="*/ 84 h 602"/>
                <a:gd name="T24" fmla="*/ 326 w 698"/>
                <a:gd name="T25" fmla="*/ 68 h 602"/>
                <a:gd name="T26" fmla="*/ 338 w 698"/>
                <a:gd name="T27" fmla="*/ 51 h 602"/>
                <a:gd name="T28" fmla="*/ 348 w 698"/>
                <a:gd name="T29" fmla="*/ 28 h 602"/>
                <a:gd name="T30" fmla="*/ 352 w 698"/>
                <a:gd name="T31" fmla="*/ 7 h 602"/>
                <a:gd name="T32" fmla="*/ 399 w 698"/>
                <a:gd name="T33" fmla="*/ 0 h 602"/>
                <a:gd name="T34" fmla="*/ 399 w 698"/>
                <a:gd name="T35" fmla="*/ 16 h 602"/>
                <a:gd name="T36" fmla="*/ 395 w 698"/>
                <a:gd name="T37" fmla="*/ 34 h 602"/>
                <a:gd name="T38" fmla="*/ 389 w 698"/>
                <a:gd name="T39" fmla="*/ 55 h 602"/>
                <a:gd name="T40" fmla="*/ 378 w 698"/>
                <a:gd name="T41" fmla="*/ 76 h 602"/>
                <a:gd name="T42" fmla="*/ 363 w 698"/>
                <a:gd name="T43" fmla="*/ 97 h 602"/>
                <a:gd name="T44" fmla="*/ 342 w 698"/>
                <a:gd name="T45" fmla="*/ 116 h 602"/>
                <a:gd name="T46" fmla="*/ 315 w 698"/>
                <a:gd name="T47" fmla="*/ 133 h 602"/>
                <a:gd name="T48" fmla="*/ 282 w 698"/>
                <a:gd name="T49" fmla="*/ 148 h 602"/>
                <a:gd name="T50" fmla="*/ 245 w 698"/>
                <a:gd name="T51" fmla="*/ 159 h 602"/>
                <a:gd name="T52" fmla="*/ 211 w 698"/>
                <a:gd name="T53" fmla="*/ 170 h 602"/>
                <a:gd name="T54" fmla="*/ 140 w 698"/>
                <a:gd name="T55" fmla="*/ 192 h 602"/>
                <a:gd name="T56" fmla="*/ 112 w 698"/>
                <a:gd name="T57" fmla="*/ 205 h 602"/>
                <a:gd name="T58" fmla="*/ 88 w 698"/>
                <a:gd name="T59" fmla="*/ 219 h 602"/>
                <a:gd name="T60" fmla="*/ 70 w 698"/>
                <a:gd name="T61" fmla="*/ 238 h 602"/>
                <a:gd name="T62" fmla="*/ 56 w 698"/>
                <a:gd name="T63" fmla="*/ 261 h 602"/>
                <a:gd name="T64" fmla="*/ 49 w 698"/>
                <a:gd name="T65" fmla="*/ 290 h 602"/>
                <a:gd name="T66" fmla="*/ 47 w 698"/>
                <a:gd name="T67" fmla="*/ 327 h 602"/>
                <a:gd name="T68" fmla="*/ 698 w 698"/>
                <a:gd name="T69" fmla="*/ 55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602">
                  <a:moveTo>
                    <a:pt x="698" y="602"/>
                  </a:moveTo>
                  <a:lnTo>
                    <a:pt x="0" y="602"/>
                  </a:lnTo>
                  <a:lnTo>
                    <a:pt x="0" y="327"/>
                  </a:lnTo>
                  <a:lnTo>
                    <a:pt x="1" y="301"/>
                  </a:lnTo>
                  <a:lnTo>
                    <a:pt x="5" y="278"/>
                  </a:lnTo>
                  <a:lnTo>
                    <a:pt x="10" y="259"/>
                  </a:lnTo>
                  <a:lnTo>
                    <a:pt x="16" y="240"/>
                  </a:lnTo>
                  <a:lnTo>
                    <a:pt x="24" y="223"/>
                  </a:lnTo>
                  <a:lnTo>
                    <a:pt x="34" y="209"/>
                  </a:lnTo>
                  <a:lnTo>
                    <a:pt x="45" y="196"/>
                  </a:lnTo>
                  <a:lnTo>
                    <a:pt x="58" y="185"/>
                  </a:lnTo>
                  <a:lnTo>
                    <a:pt x="72" y="175"/>
                  </a:lnTo>
                  <a:lnTo>
                    <a:pt x="87" y="165"/>
                  </a:lnTo>
                  <a:lnTo>
                    <a:pt x="103" y="158"/>
                  </a:lnTo>
                  <a:lnTo>
                    <a:pt x="121" y="151"/>
                  </a:lnTo>
                  <a:lnTo>
                    <a:pt x="158" y="137"/>
                  </a:lnTo>
                  <a:lnTo>
                    <a:pt x="199" y="125"/>
                  </a:lnTo>
                  <a:lnTo>
                    <a:pt x="215" y="121"/>
                  </a:lnTo>
                  <a:lnTo>
                    <a:pt x="232" y="115"/>
                  </a:lnTo>
                  <a:lnTo>
                    <a:pt x="249" y="110"/>
                  </a:lnTo>
                  <a:lnTo>
                    <a:pt x="267" y="104"/>
                  </a:lnTo>
                  <a:lnTo>
                    <a:pt x="283" y="98"/>
                  </a:lnTo>
                  <a:lnTo>
                    <a:pt x="297" y="92"/>
                  </a:lnTo>
                  <a:lnTo>
                    <a:pt x="308" y="84"/>
                  </a:lnTo>
                  <a:lnTo>
                    <a:pt x="318" y="77"/>
                  </a:lnTo>
                  <a:lnTo>
                    <a:pt x="326" y="68"/>
                  </a:lnTo>
                  <a:lnTo>
                    <a:pt x="332" y="60"/>
                  </a:lnTo>
                  <a:lnTo>
                    <a:pt x="338" y="51"/>
                  </a:lnTo>
                  <a:lnTo>
                    <a:pt x="343" y="44"/>
                  </a:lnTo>
                  <a:lnTo>
                    <a:pt x="348" y="28"/>
                  </a:lnTo>
                  <a:lnTo>
                    <a:pt x="352" y="16"/>
                  </a:lnTo>
                  <a:lnTo>
                    <a:pt x="352" y="7"/>
                  </a:lnTo>
                  <a:lnTo>
                    <a:pt x="352" y="3"/>
                  </a:lnTo>
                  <a:lnTo>
                    <a:pt x="399" y="0"/>
                  </a:lnTo>
                  <a:lnTo>
                    <a:pt x="399" y="7"/>
                  </a:lnTo>
                  <a:lnTo>
                    <a:pt x="399" y="16"/>
                  </a:lnTo>
                  <a:lnTo>
                    <a:pt x="397" y="24"/>
                  </a:lnTo>
                  <a:lnTo>
                    <a:pt x="395" y="34"/>
                  </a:lnTo>
                  <a:lnTo>
                    <a:pt x="392" y="44"/>
                  </a:lnTo>
                  <a:lnTo>
                    <a:pt x="389" y="55"/>
                  </a:lnTo>
                  <a:lnTo>
                    <a:pt x="384" y="65"/>
                  </a:lnTo>
                  <a:lnTo>
                    <a:pt x="378" y="76"/>
                  </a:lnTo>
                  <a:lnTo>
                    <a:pt x="370" y="86"/>
                  </a:lnTo>
                  <a:lnTo>
                    <a:pt x="363" y="97"/>
                  </a:lnTo>
                  <a:lnTo>
                    <a:pt x="353" y="106"/>
                  </a:lnTo>
                  <a:lnTo>
                    <a:pt x="342" y="116"/>
                  </a:lnTo>
                  <a:lnTo>
                    <a:pt x="330" y="125"/>
                  </a:lnTo>
                  <a:lnTo>
                    <a:pt x="315" y="133"/>
                  </a:lnTo>
                  <a:lnTo>
                    <a:pt x="299" y="141"/>
                  </a:lnTo>
                  <a:lnTo>
                    <a:pt x="282" y="148"/>
                  </a:lnTo>
                  <a:lnTo>
                    <a:pt x="264" y="154"/>
                  </a:lnTo>
                  <a:lnTo>
                    <a:pt x="245" y="159"/>
                  </a:lnTo>
                  <a:lnTo>
                    <a:pt x="228" y="164"/>
                  </a:lnTo>
                  <a:lnTo>
                    <a:pt x="211" y="170"/>
                  </a:lnTo>
                  <a:lnTo>
                    <a:pt x="173" y="181"/>
                  </a:lnTo>
                  <a:lnTo>
                    <a:pt x="140" y="192"/>
                  </a:lnTo>
                  <a:lnTo>
                    <a:pt x="125" y="198"/>
                  </a:lnTo>
                  <a:lnTo>
                    <a:pt x="112" y="205"/>
                  </a:lnTo>
                  <a:lnTo>
                    <a:pt x="99" y="212"/>
                  </a:lnTo>
                  <a:lnTo>
                    <a:pt x="88" y="219"/>
                  </a:lnTo>
                  <a:lnTo>
                    <a:pt x="78" y="228"/>
                  </a:lnTo>
                  <a:lnTo>
                    <a:pt x="70" y="238"/>
                  </a:lnTo>
                  <a:lnTo>
                    <a:pt x="62" y="249"/>
                  </a:lnTo>
                  <a:lnTo>
                    <a:pt x="56" y="261"/>
                  </a:lnTo>
                  <a:lnTo>
                    <a:pt x="53" y="274"/>
                  </a:lnTo>
                  <a:lnTo>
                    <a:pt x="49" y="290"/>
                  </a:lnTo>
                  <a:lnTo>
                    <a:pt x="48" y="308"/>
                  </a:lnTo>
                  <a:lnTo>
                    <a:pt x="47" y="327"/>
                  </a:lnTo>
                  <a:lnTo>
                    <a:pt x="47" y="555"/>
                  </a:lnTo>
                  <a:lnTo>
                    <a:pt x="698" y="555"/>
                  </a:lnTo>
                  <a:lnTo>
                    <a:pt x="698" y="602"/>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30">
              <a:extLst>
                <a:ext uri="{FF2B5EF4-FFF2-40B4-BE49-F238E27FC236}">
                  <a16:creationId xmlns:a16="http://schemas.microsoft.com/office/drawing/2014/main" id="{C0D187EC-99F3-4806-A0A9-865A7E7E4627}"/>
                </a:ext>
              </a:extLst>
            </p:cNvPr>
            <p:cNvSpPr>
              <a:spLocks/>
            </p:cNvSpPr>
            <p:nvPr/>
          </p:nvSpPr>
          <p:spPr bwMode="auto">
            <a:xfrm>
              <a:off x="7920038" y="4656138"/>
              <a:ext cx="201613" cy="44450"/>
            </a:xfrm>
            <a:custGeom>
              <a:avLst/>
              <a:gdLst>
                <a:gd name="T0" fmla="*/ 119 w 508"/>
                <a:gd name="T1" fmla="*/ 110 h 110"/>
                <a:gd name="T2" fmla="*/ 91 w 508"/>
                <a:gd name="T3" fmla="*/ 110 h 110"/>
                <a:gd name="T4" fmla="*/ 62 w 508"/>
                <a:gd name="T5" fmla="*/ 108 h 110"/>
                <a:gd name="T6" fmla="*/ 31 w 508"/>
                <a:gd name="T7" fmla="*/ 103 h 110"/>
                <a:gd name="T8" fmla="*/ 0 w 508"/>
                <a:gd name="T9" fmla="*/ 95 h 110"/>
                <a:gd name="T10" fmla="*/ 12 w 508"/>
                <a:gd name="T11" fmla="*/ 51 h 110"/>
                <a:gd name="T12" fmla="*/ 29 w 508"/>
                <a:gd name="T13" fmla="*/ 55 h 110"/>
                <a:gd name="T14" fmla="*/ 46 w 508"/>
                <a:gd name="T15" fmla="*/ 59 h 110"/>
                <a:gd name="T16" fmla="*/ 63 w 508"/>
                <a:gd name="T17" fmla="*/ 61 h 110"/>
                <a:gd name="T18" fmla="*/ 79 w 508"/>
                <a:gd name="T19" fmla="*/ 62 h 110"/>
                <a:gd name="T20" fmla="*/ 112 w 508"/>
                <a:gd name="T21" fmla="*/ 65 h 110"/>
                <a:gd name="T22" fmla="*/ 143 w 508"/>
                <a:gd name="T23" fmla="*/ 64 h 110"/>
                <a:gd name="T24" fmla="*/ 171 w 508"/>
                <a:gd name="T25" fmla="*/ 61 h 110"/>
                <a:gd name="T26" fmla="*/ 199 w 508"/>
                <a:gd name="T27" fmla="*/ 57 h 110"/>
                <a:gd name="T28" fmla="*/ 225 w 508"/>
                <a:gd name="T29" fmla="*/ 51 h 110"/>
                <a:gd name="T30" fmla="*/ 248 w 508"/>
                <a:gd name="T31" fmla="*/ 45 h 110"/>
                <a:gd name="T32" fmla="*/ 269 w 508"/>
                <a:gd name="T33" fmla="*/ 39 h 110"/>
                <a:gd name="T34" fmla="*/ 287 w 508"/>
                <a:gd name="T35" fmla="*/ 32 h 110"/>
                <a:gd name="T36" fmla="*/ 305 w 508"/>
                <a:gd name="T37" fmla="*/ 24 h 110"/>
                <a:gd name="T38" fmla="*/ 318 w 508"/>
                <a:gd name="T39" fmla="*/ 18 h 110"/>
                <a:gd name="T40" fmla="*/ 338 w 508"/>
                <a:gd name="T41" fmla="*/ 8 h 110"/>
                <a:gd name="T42" fmla="*/ 345 w 508"/>
                <a:gd name="T43" fmla="*/ 3 h 110"/>
                <a:gd name="T44" fmla="*/ 348 w 508"/>
                <a:gd name="T45" fmla="*/ 2 h 110"/>
                <a:gd name="T46" fmla="*/ 352 w 508"/>
                <a:gd name="T47" fmla="*/ 1 h 110"/>
                <a:gd name="T48" fmla="*/ 356 w 508"/>
                <a:gd name="T49" fmla="*/ 0 h 110"/>
                <a:gd name="T50" fmla="*/ 360 w 508"/>
                <a:gd name="T51" fmla="*/ 0 h 110"/>
                <a:gd name="T52" fmla="*/ 364 w 508"/>
                <a:gd name="T53" fmla="*/ 1 h 110"/>
                <a:gd name="T54" fmla="*/ 367 w 508"/>
                <a:gd name="T55" fmla="*/ 2 h 110"/>
                <a:gd name="T56" fmla="*/ 371 w 508"/>
                <a:gd name="T57" fmla="*/ 5 h 110"/>
                <a:gd name="T58" fmla="*/ 373 w 508"/>
                <a:gd name="T59" fmla="*/ 7 h 110"/>
                <a:gd name="T60" fmla="*/ 376 w 508"/>
                <a:gd name="T61" fmla="*/ 10 h 110"/>
                <a:gd name="T62" fmla="*/ 383 w 508"/>
                <a:gd name="T63" fmla="*/ 15 h 110"/>
                <a:gd name="T64" fmla="*/ 393 w 508"/>
                <a:gd name="T65" fmla="*/ 22 h 110"/>
                <a:gd name="T66" fmla="*/ 408 w 508"/>
                <a:gd name="T67" fmla="*/ 29 h 110"/>
                <a:gd name="T68" fmla="*/ 427 w 508"/>
                <a:gd name="T69" fmla="*/ 37 h 110"/>
                <a:gd name="T70" fmla="*/ 449 w 508"/>
                <a:gd name="T71" fmla="*/ 44 h 110"/>
                <a:gd name="T72" fmla="*/ 463 w 508"/>
                <a:gd name="T73" fmla="*/ 46 h 110"/>
                <a:gd name="T74" fmla="*/ 478 w 508"/>
                <a:gd name="T75" fmla="*/ 49 h 110"/>
                <a:gd name="T76" fmla="*/ 492 w 508"/>
                <a:gd name="T77" fmla="*/ 50 h 110"/>
                <a:gd name="T78" fmla="*/ 508 w 508"/>
                <a:gd name="T79" fmla="*/ 50 h 110"/>
                <a:gd name="T80" fmla="*/ 508 w 508"/>
                <a:gd name="T81" fmla="*/ 97 h 110"/>
                <a:gd name="T82" fmla="*/ 480 w 508"/>
                <a:gd name="T83" fmla="*/ 95 h 110"/>
                <a:gd name="T84" fmla="*/ 454 w 508"/>
                <a:gd name="T85" fmla="*/ 92 h 110"/>
                <a:gd name="T86" fmla="*/ 431 w 508"/>
                <a:gd name="T87" fmla="*/ 87 h 110"/>
                <a:gd name="T88" fmla="*/ 411 w 508"/>
                <a:gd name="T89" fmla="*/ 81 h 110"/>
                <a:gd name="T90" fmla="*/ 393 w 508"/>
                <a:gd name="T91" fmla="*/ 73 h 110"/>
                <a:gd name="T92" fmla="*/ 378 w 508"/>
                <a:gd name="T93" fmla="*/ 65 h 110"/>
                <a:gd name="T94" fmla="*/ 365 w 508"/>
                <a:gd name="T95" fmla="*/ 57 h 110"/>
                <a:gd name="T96" fmla="*/ 355 w 508"/>
                <a:gd name="T97" fmla="*/ 51 h 110"/>
                <a:gd name="T98" fmla="*/ 340 w 508"/>
                <a:gd name="T99" fmla="*/ 59 h 110"/>
                <a:gd name="T100" fmla="*/ 321 w 508"/>
                <a:gd name="T101" fmla="*/ 68 h 110"/>
                <a:gd name="T102" fmla="*/ 297 w 508"/>
                <a:gd name="T103" fmla="*/ 78 h 110"/>
                <a:gd name="T104" fmla="*/ 269 w 508"/>
                <a:gd name="T105" fmla="*/ 88 h 110"/>
                <a:gd name="T106" fmla="*/ 236 w 508"/>
                <a:gd name="T107" fmla="*/ 97 h 110"/>
                <a:gd name="T108" fmla="*/ 200 w 508"/>
                <a:gd name="T109" fmla="*/ 104 h 110"/>
                <a:gd name="T110" fmla="*/ 182 w 508"/>
                <a:gd name="T111" fmla="*/ 107 h 110"/>
                <a:gd name="T112" fmla="*/ 162 w 508"/>
                <a:gd name="T113" fmla="*/ 109 h 110"/>
                <a:gd name="T114" fmla="*/ 142 w 508"/>
                <a:gd name="T115" fmla="*/ 110 h 110"/>
                <a:gd name="T116" fmla="*/ 119 w 508"/>
                <a:gd name="T11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110">
                  <a:moveTo>
                    <a:pt x="119" y="110"/>
                  </a:moveTo>
                  <a:lnTo>
                    <a:pt x="91" y="110"/>
                  </a:lnTo>
                  <a:lnTo>
                    <a:pt x="62" y="108"/>
                  </a:lnTo>
                  <a:lnTo>
                    <a:pt x="31" y="103"/>
                  </a:lnTo>
                  <a:lnTo>
                    <a:pt x="0" y="95"/>
                  </a:lnTo>
                  <a:lnTo>
                    <a:pt x="12" y="51"/>
                  </a:lnTo>
                  <a:lnTo>
                    <a:pt x="29" y="55"/>
                  </a:lnTo>
                  <a:lnTo>
                    <a:pt x="46" y="59"/>
                  </a:lnTo>
                  <a:lnTo>
                    <a:pt x="63" y="61"/>
                  </a:lnTo>
                  <a:lnTo>
                    <a:pt x="79" y="62"/>
                  </a:lnTo>
                  <a:lnTo>
                    <a:pt x="112" y="65"/>
                  </a:lnTo>
                  <a:lnTo>
                    <a:pt x="143" y="64"/>
                  </a:lnTo>
                  <a:lnTo>
                    <a:pt x="171" y="61"/>
                  </a:lnTo>
                  <a:lnTo>
                    <a:pt x="199" y="57"/>
                  </a:lnTo>
                  <a:lnTo>
                    <a:pt x="225" y="51"/>
                  </a:lnTo>
                  <a:lnTo>
                    <a:pt x="248" y="45"/>
                  </a:lnTo>
                  <a:lnTo>
                    <a:pt x="269" y="39"/>
                  </a:lnTo>
                  <a:lnTo>
                    <a:pt x="287" y="32"/>
                  </a:lnTo>
                  <a:lnTo>
                    <a:pt x="305" y="24"/>
                  </a:lnTo>
                  <a:lnTo>
                    <a:pt x="318" y="18"/>
                  </a:lnTo>
                  <a:lnTo>
                    <a:pt x="338" y="8"/>
                  </a:lnTo>
                  <a:lnTo>
                    <a:pt x="345" y="3"/>
                  </a:lnTo>
                  <a:lnTo>
                    <a:pt x="348" y="2"/>
                  </a:lnTo>
                  <a:lnTo>
                    <a:pt x="352" y="1"/>
                  </a:lnTo>
                  <a:lnTo>
                    <a:pt x="356" y="0"/>
                  </a:lnTo>
                  <a:lnTo>
                    <a:pt x="360" y="0"/>
                  </a:lnTo>
                  <a:lnTo>
                    <a:pt x="364" y="1"/>
                  </a:lnTo>
                  <a:lnTo>
                    <a:pt x="367" y="2"/>
                  </a:lnTo>
                  <a:lnTo>
                    <a:pt x="371" y="5"/>
                  </a:lnTo>
                  <a:lnTo>
                    <a:pt x="373" y="7"/>
                  </a:lnTo>
                  <a:lnTo>
                    <a:pt x="376" y="10"/>
                  </a:lnTo>
                  <a:lnTo>
                    <a:pt x="383" y="15"/>
                  </a:lnTo>
                  <a:lnTo>
                    <a:pt x="393" y="22"/>
                  </a:lnTo>
                  <a:lnTo>
                    <a:pt x="408" y="29"/>
                  </a:lnTo>
                  <a:lnTo>
                    <a:pt x="427" y="37"/>
                  </a:lnTo>
                  <a:lnTo>
                    <a:pt x="449" y="44"/>
                  </a:lnTo>
                  <a:lnTo>
                    <a:pt x="463" y="46"/>
                  </a:lnTo>
                  <a:lnTo>
                    <a:pt x="478" y="49"/>
                  </a:lnTo>
                  <a:lnTo>
                    <a:pt x="492" y="50"/>
                  </a:lnTo>
                  <a:lnTo>
                    <a:pt x="508" y="50"/>
                  </a:lnTo>
                  <a:lnTo>
                    <a:pt x="508" y="97"/>
                  </a:lnTo>
                  <a:lnTo>
                    <a:pt x="480" y="95"/>
                  </a:lnTo>
                  <a:lnTo>
                    <a:pt x="454" y="92"/>
                  </a:lnTo>
                  <a:lnTo>
                    <a:pt x="431" y="87"/>
                  </a:lnTo>
                  <a:lnTo>
                    <a:pt x="411" y="81"/>
                  </a:lnTo>
                  <a:lnTo>
                    <a:pt x="393" y="73"/>
                  </a:lnTo>
                  <a:lnTo>
                    <a:pt x="378" y="65"/>
                  </a:lnTo>
                  <a:lnTo>
                    <a:pt x="365" y="57"/>
                  </a:lnTo>
                  <a:lnTo>
                    <a:pt x="355" y="51"/>
                  </a:lnTo>
                  <a:lnTo>
                    <a:pt x="340" y="59"/>
                  </a:lnTo>
                  <a:lnTo>
                    <a:pt x="321" y="68"/>
                  </a:lnTo>
                  <a:lnTo>
                    <a:pt x="297" y="78"/>
                  </a:lnTo>
                  <a:lnTo>
                    <a:pt x="269" y="88"/>
                  </a:lnTo>
                  <a:lnTo>
                    <a:pt x="236" y="97"/>
                  </a:lnTo>
                  <a:lnTo>
                    <a:pt x="200" y="104"/>
                  </a:lnTo>
                  <a:lnTo>
                    <a:pt x="182" y="107"/>
                  </a:lnTo>
                  <a:lnTo>
                    <a:pt x="162" y="109"/>
                  </a:lnTo>
                  <a:lnTo>
                    <a:pt x="142" y="110"/>
                  </a:lnTo>
                  <a:lnTo>
                    <a:pt x="119" y="11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9">
              <a:extLst>
                <a:ext uri="{FF2B5EF4-FFF2-40B4-BE49-F238E27FC236}">
                  <a16:creationId xmlns:a16="http://schemas.microsoft.com/office/drawing/2014/main" id="{7DFCEA64-496E-4824-A87C-4DB63E1D1986}"/>
                </a:ext>
              </a:extLst>
            </p:cNvPr>
            <p:cNvSpPr>
              <a:spLocks/>
            </p:cNvSpPr>
            <p:nvPr/>
          </p:nvSpPr>
          <p:spPr bwMode="auto">
            <a:xfrm>
              <a:off x="8139113" y="4946650"/>
              <a:ext cx="177800" cy="128588"/>
            </a:xfrm>
            <a:custGeom>
              <a:avLst/>
              <a:gdLst>
                <a:gd name="T0" fmla="*/ 154 w 446"/>
                <a:gd name="T1" fmla="*/ 325 h 325"/>
                <a:gd name="T2" fmla="*/ 0 w 446"/>
                <a:gd name="T3" fmla="*/ 171 h 325"/>
                <a:gd name="T4" fmla="*/ 32 w 446"/>
                <a:gd name="T5" fmla="*/ 138 h 325"/>
                <a:gd name="T6" fmla="*/ 154 w 446"/>
                <a:gd name="T7" fmla="*/ 260 h 325"/>
                <a:gd name="T8" fmla="*/ 414 w 446"/>
                <a:gd name="T9" fmla="*/ 0 h 325"/>
                <a:gd name="T10" fmla="*/ 446 w 446"/>
                <a:gd name="T11" fmla="*/ 32 h 325"/>
                <a:gd name="T12" fmla="*/ 154 w 446"/>
                <a:gd name="T13" fmla="*/ 325 h 325"/>
              </a:gdLst>
              <a:ahLst/>
              <a:cxnLst>
                <a:cxn ang="0">
                  <a:pos x="T0" y="T1"/>
                </a:cxn>
                <a:cxn ang="0">
                  <a:pos x="T2" y="T3"/>
                </a:cxn>
                <a:cxn ang="0">
                  <a:pos x="T4" y="T5"/>
                </a:cxn>
                <a:cxn ang="0">
                  <a:pos x="T6" y="T7"/>
                </a:cxn>
                <a:cxn ang="0">
                  <a:pos x="T8" y="T9"/>
                </a:cxn>
                <a:cxn ang="0">
                  <a:pos x="T10" y="T11"/>
                </a:cxn>
                <a:cxn ang="0">
                  <a:pos x="T12" y="T13"/>
                </a:cxn>
              </a:cxnLst>
              <a:rect l="0" t="0" r="r" b="b"/>
              <a:pathLst>
                <a:path w="446" h="325">
                  <a:moveTo>
                    <a:pt x="154" y="325"/>
                  </a:moveTo>
                  <a:lnTo>
                    <a:pt x="0" y="171"/>
                  </a:lnTo>
                  <a:lnTo>
                    <a:pt x="32" y="138"/>
                  </a:lnTo>
                  <a:lnTo>
                    <a:pt x="154" y="260"/>
                  </a:lnTo>
                  <a:lnTo>
                    <a:pt x="414" y="0"/>
                  </a:lnTo>
                  <a:lnTo>
                    <a:pt x="446" y="32"/>
                  </a:lnTo>
                  <a:lnTo>
                    <a:pt x="154" y="325"/>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70">
              <a:extLst>
                <a:ext uri="{FF2B5EF4-FFF2-40B4-BE49-F238E27FC236}">
                  <a16:creationId xmlns:a16="http://schemas.microsoft.com/office/drawing/2014/main" id="{94DF4EE6-DF83-4C5E-895C-2D4CDAAAF9B9}"/>
                </a:ext>
              </a:extLst>
            </p:cNvPr>
            <p:cNvSpPr>
              <a:spLocks noEditPoints="1"/>
            </p:cNvSpPr>
            <p:nvPr/>
          </p:nvSpPr>
          <p:spPr bwMode="auto">
            <a:xfrm>
              <a:off x="8099426" y="4938713"/>
              <a:ext cx="184150" cy="182563"/>
            </a:xfrm>
            <a:custGeom>
              <a:avLst/>
              <a:gdLst>
                <a:gd name="T0" fmla="*/ 193 w 461"/>
                <a:gd name="T1" fmla="*/ 50 h 461"/>
                <a:gd name="T2" fmla="*/ 142 w 461"/>
                <a:gd name="T3" fmla="*/ 69 h 461"/>
                <a:gd name="T4" fmla="*/ 100 w 461"/>
                <a:gd name="T5" fmla="*/ 101 h 461"/>
                <a:gd name="T6" fmla="*/ 68 w 461"/>
                <a:gd name="T7" fmla="*/ 142 h 461"/>
                <a:gd name="T8" fmla="*/ 50 w 461"/>
                <a:gd name="T9" fmla="*/ 194 h 461"/>
                <a:gd name="T10" fmla="*/ 47 w 461"/>
                <a:gd name="T11" fmla="*/ 249 h 461"/>
                <a:gd name="T12" fmla="*/ 61 w 461"/>
                <a:gd name="T13" fmla="*/ 302 h 461"/>
                <a:gd name="T14" fmla="*/ 88 w 461"/>
                <a:gd name="T15" fmla="*/ 348 h 461"/>
                <a:gd name="T16" fmla="*/ 127 w 461"/>
                <a:gd name="T17" fmla="*/ 384 h 461"/>
                <a:gd name="T18" fmla="*/ 175 w 461"/>
                <a:gd name="T19" fmla="*/ 406 h 461"/>
                <a:gd name="T20" fmla="*/ 230 w 461"/>
                <a:gd name="T21" fmla="*/ 415 h 461"/>
                <a:gd name="T22" fmla="*/ 285 w 461"/>
                <a:gd name="T23" fmla="*/ 406 h 461"/>
                <a:gd name="T24" fmla="*/ 333 w 461"/>
                <a:gd name="T25" fmla="*/ 384 h 461"/>
                <a:gd name="T26" fmla="*/ 372 w 461"/>
                <a:gd name="T27" fmla="*/ 348 h 461"/>
                <a:gd name="T28" fmla="*/ 399 w 461"/>
                <a:gd name="T29" fmla="*/ 302 h 461"/>
                <a:gd name="T30" fmla="*/ 414 w 461"/>
                <a:gd name="T31" fmla="*/ 249 h 461"/>
                <a:gd name="T32" fmla="*/ 410 w 461"/>
                <a:gd name="T33" fmla="*/ 194 h 461"/>
                <a:gd name="T34" fmla="*/ 392 w 461"/>
                <a:gd name="T35" fmla="*/ 142 h 461"/>
                <a:gd name="T36" fmla="*/ 360 w 461"/>
                <a:gd name="T37" fmla="*/ 101 h 461"/>
                <a:gd name="T38" fmla="*/ 318 w 461"/>
                <a:gd name="T39" fmla="*/ 69 h 461"/>
                <a:gd name="T40" fmla="*/ 267 w 461"/>
                <a:gd name="T41" fmla="*/ 50 h 461"/>
                <a:gd name="T42" fmla="*/ 230 w 461"/>
                <a:gd name="T43" fmla="*/ 461 h 461"/>
                <a:gd name="T44" fmla="*/ 161 w 461"/>
                <a:gd name="T45" fmla="*/ 450 h 461"/>
                <a:gd name="T46" fmla="*/ 101 w 461"/>
                <a:gd name="T47" fmla="*/ 422 h 461"/>
                <a:gd name="T48" fmla="*/ 52 w 461"/>
                <a:gd name="T49" fmla="*/ 377 h 461"/>
                <a:gd name="T50" fmla="*/ 18 w 461"/>
                <a:gd name="T51" fmla="*/ 320 h 461"/>
                <a:gd name="T52" fmla="*/ 1 w 461"/>
                <a:gd name="T53" fmla="*/ 254 h 461"/>
                <a:gd name="T54" fmla="*/ 4 w 461"/>
                <a:gd name="T55" fmla="*/ 184 h 461"/>
                <a:gd name="T56" fmla="*/ 28 w 461"/>
                <a:gd name="T57" fmla="*/ 121 h 461"/>
                <a:gd name="T58" fmla="*/ 67 w 461"/>
                <a:gd name="T59" fmla="*/ 68 h 461"/>
                <a:gd name="T60" fmla="*/ 121 w 461"/>
                <a:gd name="T61" fmla="*/ 28 h 461"/>
                <a:gd name="T62" fmla="*/ 183 w 461"/>
                <a:gd name="T63" fmla="*/ 5 h 461"/>
                <a:gd name="T64" fmla="*/ 253 w 461"/>
                <a:gd name="T65" fmla="*/ 1 h 461"/>
                <a:gd name="T66" fmla="*/ 320 w 461"/>
                <a:gd name="T67" fmla="*/ 18 h 461"/>
                <a:gd name="T68" fmla="*/ 376 w 461"/>
                <a:gd name="T69" fmla="*/ 53 h 461"/>
                <a:gd name="T70" fmla="*/ 421 w 461"/>
                <a:gd name="T71" fmla="*/ 102 h 461"/>
                <a:gd name="T72" fmla="*/ 450 w 461"/>
                <a:gd name="T73" fmla="*/ 162 h 461"/>
                <a:gd name="T74" fmla="*/ 461 w 461"/>
                <a:gd name="T75" fmla="*/ 231 h 461"/>
                <a:gd name="T76" fmla="*/ 450 w 461"/>
                <a:gd name="T77" fmla="*/ 299 h 461"/>
                <a:gd name="T78" fmla="*/ 421 w 461"/>
                <a:gd name="T79" fmla="*/ 359 h 461"/>
                <a:gd name="T80" fmla="*/ 376 w 461"/>
                <a:gd name="T81" fmla="*/ 409 h 461"/>
                <a:gd name="T82" fmla="*/ 320 w 461"/>
                <a:gd name="T83" fmla="*/ 443 h 461"/>
                <a:gd name="T84" fmla="*/ 253 w 461"/>
                <a:gd name="T85" fmla="*/ 46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1" h="461">
                  <a:moveTo>
                    <a:pt x="230" y="47"/>
                  </a:moveTo>
                  <a:lnTo>
                    <a:pt x="212" y="48"/>
                  </a:lnTo>
                  <a:lnTo>
                    <a:pt x="193" y="50"/>
                  </a:lnTo>
                  <a:lnTo>
                    <a:pt x="175" y="55"/>
                  </a:lnTo>
                  <a:lnTo>
                    <a:pt x="159" y="61"/>
                  </a:lnTo>
                  <a:lnTo>
                    <a:pt x="142" y="69"/>
                  </a:lnTo>
                  <a:lnTo>
                    <a:pt x="127" y="77"/>
                  </a:lnTo>
                  <a:lnTo>
                    <a:pt x="114" y="88"/>
                  </a:lnTo>
                  <a:lnTo>
                    <a:pt x="100" y="101"/>
                  </a:lnTo>
                  <a:lnTo>
                    <a:pt x="88" y="113"/>
                  </a:lnTo>
                  <a:lnTo>
                    <a:pt x="77" y="128"/>
                  </a:lnTo>
                  <a:lnTo>
                    <a:pt x="68" y="142"/>
                  </a:lnTo>
                  <a:lnTo>
                    <a:pt x="61" y="160"/>
                  </a:lnTo>
                  <a:lnTo>
                    <a:pt x="55" y="175"/>
                  </a:lnTo>
                  <a:lnTo>
                    <a:pt x="50" y="194"/>
                  </a:lnTo>
                  <a:lnTo>
                    <a:pt x="47" y="212"/>
                  </a:lnTo>
                  <a:lnTo>
                    <a:pt x="46" y="231"/>
                  </a:lnTo>
                  <a:lnTo>
                    <a:pt x="47" y="249"/>
                  </a:lnTo>
                  <a:lnTo>
                    <a:pt x="50" y="267"/>
                  </a:lnTo>
                  <a:lnTo>
                    <a:pt x="55" y="286"/>
                  </a:lnTo>
                  <a:lnTo>
                    <a:pt x="61" y="302"/>
                  </a:lnTo>
                  <a:lnTo>
                    <a:pt x="68" y="319"/>
                  </a:lnTo>
                  <a:lnTo>
                    <a:pt x="77" y="334"/>
                  </a:lnTo>
                  <a:lnTo>
                    <a:pt x="88" y="348"/>
                  </a:lnTo>
                  <a:lnTo>
                    <a:pt x="100" y="361"/>
                  </a:lnTo>
                  <a:lnTo>
                    <a:pt x="114" y="373"/>
                  </a:lnTo>
                  <a:lnTo>
                    <a:pt x="127" y="384"/>
                  </a:lnTo>
                  <a:lnTo>
                    <a:pt x="142" y="393"/>
                  </a:lnTo>
                  <a:lnTo>
                    <a:pt x="159" y="400"/>
                  </a:lnTo>
                  <a:lnTo>
                    <a:pt x="175" y="406"/>
                  </a:lnTo>
                  <a:lnTo>
                    <a:pt x="193" y="411"/>
                  </a:lnTo>
                  <a:lnTo>
                    <a:pt x="212" y="413"/>
                  </a:lnTo>
                  <a:lnTo>
                    <a:pt x="230" y="415"/>
                  </a:lnTo>
                  <a:lnTo>
                    <a:pt x="248" y="413"/>
                  </a:lnTo>
                  <a:lnTo>
                    <a:pt x="267" y="411"/>
                  </a:lnTo>
                  <a:lnTo>
                    <a:pt x="285" y="406"/>
                  </a:lnTo>
                  <a:lnTo>
                    <a:pt x="301" y="400"/>
                  </a:lnTo>
                  <a:lnTo>
                    <a:pt x="318" y="393"/>
                  </a:lnTo>
                  <a:lnTo>
                    <a:pt x="333" y="384"/>
                  </a:lnTo>
                  <a:lnTo>
                    <a:pt x="348" y="373"/>
                  </a:lnTo>
                  <a:lnTo>
                    <a:pt x="360" y="361"/>
                  </a:lnTo>
                  <a:lnTo>
                    <a:pt x="372" y="348"/>
                  </a:lnTo>
                  <a:lnTo>
                    <a:pt x="383" y="334"/>
                  </a:lnTo>
                  <a:lnTo>
                    <a:pt x="392" y="319"/>
                  </a:lnTo>
                  <a:lnTo>
                    <a:pt x="399" y="302"/>
                  </a:lnTo>
                  <a:lnTo>
                    <a:pt x="407" y="286"/>
                  </a:lnTo>
                  <a:lnTo>
                    <a:pt x="410" y="267"/>
                  </a:lnTo>
                  <a:lnTo>
                    <a:pt x="414" y="249"/>
                  </a:lnTo>
                  <a:lnTo>
                    <a:pt x="414" y="231"/>
                  </a:lnTo>
                  <a:lnTo>
                    <a:pt x="414" y="212"/>
                  </a:lnTo>
                  <a:lnTo>
                    <a:pt x="410" y="194"/>
                  </a:lnTo>
                  <a:lnTo>
                    <a:pt x="407" y="175"/>
                  </a:lnTo>
                  <a:lnTo>
                    <a:pt x="399" y="160"/>
                  </a:lnTo>
                  <a:lnTo>
                    <a:pt x="392" y="142"/>
                  </a:lnTo>
                  <a:lnTo>
                    <a:pt x="383" y="128"/>
                  </a:lnTo>
                  <a:lnTo>
                    <a:pt x="372" y="113"/>
                  </a:lnTo>
                  <a:lnTo>
                    <a:pt x="360" y="101"/>
                  </a:lnTo>
                  <a:lnTo>
                    <a:pt x="348" y="88"/>
                  </a:lnTo>
                  <a:lnTo>
                    <a:pt x="333" y="77"/>
                  </a:lnTo>
                  <a:lnTo>
                    <a:pt x="318" y="69"/>
                  </a:lnTo>
                  <a:lnTo>
                    <a:pt x="301" y="61"/>
                  </a:lnTo>
                  <a:lnTo>
                    <a:pt x="285" y="55"/>
                  </a:lnTo>
                  <a:lnTo>
                    <a:pt x="267" y="50"/>
                  </a:lnTo>
                  <a:lnTo>
                    <a:pt x="248" y="48"/>
                  </a:lnTo>
                  <a:lnTo>
                    <a:pt x="230" y="47"/>
                  </a:lnTo>
                  <a:close/>
                  <a:moveTo>
                    <a:pt x="230" y="461"/>
                  </a:moveTo>
                  <a:lnTo>
                    <a:pt x="207" y="460"/>
                  </a:lnTo>
                  <a:lnTo>
                    <a:pt x="183" y="456"/>
                  </a:lnTo>
                  <a:lnTo>
                    <a:pt x="161" y="450"/>
                  </a:lnTo>
                  <a:lnTo>
                    <a:pt x="141" y="443"/>
                  </a:lnTo>
                  <a:lnTo>
                    <a:pt x="121" y="433"/>
                  </a:lnTo>
                  <a:lnTo>
                    <a:pt x="101" y="422"/>
                  </a:lnTo>
                  <a:lnTo>
                    <a:pt x="84" y="409"/>
                  </a:lnTo>
                  <a:lnTo>
                    <a:pt x="67" y="394"/>
                  </a:lnTo>
                  <a:lnTo>
                    <a:pt x="52" y="377"/>
                  </a:lnTo>
                  <a:lnTo>
                    <a:pt x="39" y="359"/>
                  </a:lnTo>
                  <a:lnTo>
                    <a:pt x="28" y="340"/>
                  </a:lnTo>
                  <a:lnTo>
                    <a:pt x="18" y="320"/>
                  </a:lnTo>
                  <a:lnTo>
                    <a:pt x="11" y="299"/>
                  </a:lnTo>
                  <a:lnTo>
                    <a:pt x="4" y="277"/>
                  </a:lnTo>
                  <a:lnTo>
                    <a:pt x="1" y="254"/>
                  </a:lnTo>
                  <a:lnTo>
                    <a:pt x="0" y="231"/>
                  </a:lnTo>
                  <a:lnTo>
                    <a:pt x="1" y="207"/>
                  </a:lnTo>
                  <a:lnTo>
                    <a:pt x="4" y="184"/>
                  </a:lnTo>
                  <a:lnTo>
                    <a:pt x="11" y="162"/>
                  </a:lnTo>
                  <a:lnTo>
                    <a:pt x="18" y="141"/>
                  </a:lnTo>
                  <a:lnTo>
                    <a:pt x="28" y="121"/>
                  </a:lnTo>
                  <a:lnTo>
                    <a:pt x="39" y="102"/>
                  </a:lnTo>
                  <a:lnTo>
                    <a:pt x="52" y="85"/>
                  </a:lnTo>
                  <a:lnTo>
                    <a:pt x="67" y="68"/>
                  </a:lnTo>
                  <a:lnTo>
                    <a:pt x="84" y="53"/>
                  </a:lnTo>
                  <a:lnTo>
                    <a:pt x="101" y="39"/>
                  </a:lnTo>
                  <a:lnTo>
                    <a:pt x="121" y="28"/>
                  </a:lnTo>
                  <a:lnTo>
                    <a:pt x="141" y="18"/>
                  </a:lnTo>
                  <a:lnTo>
                    <a:pt x="161" y="11"/>
                  </a:lnTo>
                  <a:lnTo>
                    <a:pt x="183" y="5"/>
                  </a:lnTo>
                  <a:lnTo>
                    <a:pt x="207" y="1"/>
                  </a:lnTo>
                  <a:lnTo>
                    <a:pt x="230" y="0"/>
                  </a:lnTo>
                  <a:lnTo>
                    <a:pt x="253" y="1"/>
                  </a:lnTo>
                  <a:lnTo>
                    <a:pt x="277" y="5"/>
                  </a:lnTo>
                  <a:lnTo>
                    <a:pt x="299" y="11"/>
                  </a:lnTo>
                  <a:lnTo>
                    <a:pt x="320" y="18"/>
                  </a:lnTo>
                  <a:lnTo>
                    <a:pt x="339" y="28"/>
                  </a:lnTo>
                  <a:lnTo>
                    <a:pt x="359" y="39"/>
                  </a:lnTo>
                  <a:lnTo>
                    <a:pt x="376" y="53"/>
                  </a:lnTo>
                  <a:lnTo>
                    <a:pt x="393" y="68"/>
                  </a:lnTo>
                  <a:lnTo>
                    <a:pt x="408" y="85"/>
                  </a:lnTo>
                  <a:lnTo>
                    <a:pt x="421" y="102"/>
                  </a:lnTo>
                  <a:lnTo>
                    <a:pt x="432" y="121"/>
                  </a:lnTo>
                  <a:lnTo>
                    <a:pt x="442" y="141"/>
                  </a:lnTo>
                  <a:lnTo>
                    <a:pt x="450" y="162"/>
                  </a:lnTo>
                  <a:lnTo>
                    <a:pt x="456" y="184"/>
                  </a:lnTo>
                  <a:lnTo>
                    <a:pt x="459" y="207"/>
                  </a:lnTo>
                  <a:lnTo>
                    <a:pt x="461" y="231"/>
                  </a:lnTo>
                  <a:lnTo>
                    <a:pt x="459" y="254"/>
                  </a:lnTo>
                  <a:lnTo>
                    <a:pt x="456" y="277"/>
                  </a:lnTo>
                  <a:lnTo>
                    <a:pt x="450" y="299"/>
                  </a:lnTo>
                  <a:lnTo>
                    <a:pt x="442" y="320"/>
                  </a:lnTo>
                  <a:lnTo>
                    <a:pt x="432" y="340"/>
                  </a:lnTo>
                  <a:lnTo>
                    <a:pt x="421" y="359"/>
                  </a:lnTo>
                  <a:lnTo>
                    <a:pt x="408" y="377"/>
                  </a:lnTo>
                  <a:lnTo>
                    <a:pt x="393" y="394"/>
                  </a:lnTo>
                  <a:lnTo>
                    <a:pt x="376" y="409"/>
                  </a:lnTo>
                  <a:lnTo>
                    <a:pt x="359" y="422"/>
                  </a:lnTo>
                  <a:lnTo>
                    <a:pt x="339" y="433"/>
                  </a:lnTo>
                  <a:lnTo>
                    <a:pt x="320" y="443"/>
                  </a:lnTo>
                  <a:lnTo>
                    <a:pt x="299" y="450"/>
                  </a:lnTo>
                  <a:lnTo>
                    <a:pt x="277" y="456"/>
                  </a:lnTo>
                  <a:lnTo>
                    <a:pt x="253" y="460"/>
                  </a:lnTo>
                  <a:lnTo>
                    <a:pt x="230" y="46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5" name="Freeform 36">
            <a:extLst>
              <a:ext uri="{FF2B5EF4-FFF2-40B4-BE49-F238E27FC236}">
                <a16:creationId xmlns:a16="http://schemas.microsoft.com/office/drawing/2014/main" id="{E513B8A4-665B-4558-8391-946E2DF29AAC}"/>
              </a:ext>
            </a:extLst>
          </p:cNvPr>
          <p:cNvSpPr>
            <a:spLocks noChangeAspect="1" noEditPoints="1"/>
          </p:cNvSpPr>
          <p:nvPr/>
        </p:nvSpPr>
        <p:spPr bwMode="auto">
          <a:xfrm>
            <a:off x="4418066" y="5417577"/>
            <a:ext cx="349846" cy="285619"/>
          </a:xfrm>
          <a:custGeom>
            <a:avLst/>
            <a:gdLst>
              <a:gd name="T0" fmla="*/ 1020 w 2314"/>
              <a:gd name="T1" fmla="*/ 1561 h 1888"/>
              <a:gd name="T2" fmla="*/ 1259 w 2314"/>
              <a:gd name="T3" fmla="*/ 1808 h 1888"/>
              <a:gd name="T4" fmla="*/ 685 w 2314"/>
              <a:gd name="T5" fmla="*/ 1644 h 1888"/>
              <a:gd name="T6" fmla="*/ 751 w 2314"/>
              <a:gd name="T7" fmla="*/ 1710 h 1888"/>
              <a:gd name="T8" fmla="*/ 560 w 2314"/>
              <a:gd name="T9" fmla="*/ 1156 h 1888"/>
              <a:gd name="T10" fmla="*/ 507 w 2314"/>
              <a:gd name="T11" fmla="*/ 1463 h 1888"/>
              <a:gd name="T12" fmla="*/ 687 w 2314"/>
              <a:gd name="T13" fmla="*/ 1283 h 1888"/>
              <a:gd name="T14" fmla="*/ 743 w 2314"/>
              <a:gd name="T15" fmla="*/ 1339 h 1888"/>
              <a:gd name="T16" fmla="*/ 2303 w 2314"/>
              <a:gd name="T17" fmla="*/ 432 h 1888"/>
              <a:gd name="T18" fmla="*/ 2267 w 2314"/>
              <a:gd name="T19" fmla="*/ 421 h 1888"/>
              <a:gd name="T20" fmla="*/ 1902 w 2314"/>
              <a:gd name="T21" fmla="*/ 778 h 1888"/>
              <a:gd name="T22" fmla="*/ 1730 w 2314"/>
              <a:gd name="T23" fmla="*/ 1092 h 1888"/>
              <a:gd name="T24" fmla="*/ 1268 w 2314"/>
              <a:gd name="T25" fmla="*/ 649 h 1888"/>
              <a:gd name="T26" fmla="*/ 1034 w 2314"/>
              <a:gd name="T27" fmla="*/ 660 h 1888"/>
              <a:gd name="T28" fmla="*/ 1496 w 2314"/>
              <a:gd name="T29" fmla="*/ 355 h 1888"/>
              <a:gd name="T30" fmla="*/ 1797 w 2314"/>
              <a:gd name="T31" fmla="*/ 63 h 1888"/>
              <a:gd name="T32" fmla="*/ 1800 w 2314"/>
              <a:gd name="T33" fmla="*/ 26 h 1888"/>
              <a:gd name="T34" fmla="*/ 1771 w 2314"/>
              <a:gd name="T35" fmla="*/ 1 h 1888"/>
              <a:gd name="T36" fmla="*/ 1736 w 2314"/>
              <a:gd name="T37" fmla="*/ 12 h 1888"/>
              <a:gd name="T38" fmla="*/ 1116 w 2314"/>
              <a:gd name="T39" fmla="*/ 282 h 1888"/>
              <a:gd name="T40" fmla="*/ 531 w 2314"/>
              <a:gd name="T41" fmla="*/ 130 h 1888"/>
              <a:gd name="T42" fmla="*/ 494 w 2314"/>
              <a:gd name="T43" fmla="*/ 126 h 1888"/>
              <a:gd name="T44" fmla="*/ 470 w 2314"/>
              <a:gd name="T45" fmla="*/ 155 h 1888"/>
              <a:gd name="T46" fmla="*/ 481 w 2314"/>
              <a:gd name="T47" fmla="*/ 191 h 1888"/>
              <a:gd name="T48" fmla="*/ 726 w 2314"/>
              <a:gd name="T49" fmla="*/ 420 h 1888"/>
              <a:gd name="T50" fmla="*/ 603 w 2314"/>
              <a:gd name="T51" fmla="*/ 804 h 1888"/>
              <a:gd name="T52" fmla="*/ 614 w 2314"/>
              <a:gd name="T53" fmla="*/ 839 h 1888"/>
              <a:gd name="T54" fmla="*/ 791 w 2314"/>
              <a:gd name="T55" fmla="*/ 999 h 1888"/>
              <a:gd name="T56" fmla="*/ 1079 w 2314"/>
              <a:gd name="T57" fmla="*/ 729 h 1888"/>
              <a:gd name="T58" fmla="*/ 1434 w 2314"/>
              <a:gd name="T59" fmla="*/ 1174 h 1888"/>
              <a:gd name="T60" fmla="*/ 1398 w 2314"/>
              <a:gd name="T61" fmla="*/ 1171 h 1888"/>
              <a:gd name="T62" fmla="*/ 1373 w 2314"/>
              <a:gd name="T63" fmla="*/ 1200 h 1888"/>
              <a:gd name="T64" fmla="*/ 1384 w 2314"/>
              <a:gd name="T65" fmla="*/ 1236 h 1888"/>
              <a:gd name="T66" fmla="*/ 1230 w 2314"/>
              <a:gd name="T67" fmla="*/ 1327 h 1888"/>
              <a:gd name="T68" fmla="*/ 1192 w 2314"/>
              <a:gd name="T69" fmla="*/ 1332 h 1888"/>
              <a:gd name="T70" fmla="*/ 1174 w 2314"/>
              <a:gd name="T71" fmla="*/ 1365 h 1888"/>
              <a:gd name="T72" fmla="*/ 1441 w 2314"/>
              <a:gd name="T73" fmla="*/ 1649 h 1888"/>
              <a:gd name="T74" fmla="*/ 1314 w 2314"/>
              <a:gd name="T75" fmla="*/ 1751 h 1888"/>
              <a:gd name="T76" fmla="*/ 1058 w 2314"/>
              <a:gd name="T77" fmla="*/ 1512 h 1888"/>
              <a:gd name="T78" fmla="*/ 1029 w 2314"/>
              <a:gd name="T79" fmla="*/ 1524 h 1888"/>
              <a:gd name="T80" fmla="*/ 1018 w 2314"/>
              <a:gd name="T81" fmla="*/ 1500 h 1888"/>
              <a:gd name="T82" fmla="*/ 499 w 2314"/>
              <a:gd name="T83" fmla="*/ 998 h 1888"/>
              <a:gd name="T84" fmla="*/ 361 w 2314"/>
              <a:gd name="T85" fmla="*/ 1119 h 1888"/>
              <a:gd name="T86" fmla="*/ 350 w 2314"/>
              <a:gd name="T87" fmla="*/ 860 h 1888"/>
              <a:gd name="T88" fmla="*/ 40 w 2314"/>
              <a:gd name="T89" fmla="*/ 565 h 1888"/>
              <a:gd name="T90" fmla="*/ 7 w 2314"/>
              <a:gd name="T91" fmla="*/ 583 h 1888"/>
              <a:gd name="T92" fmla="*/ 2 w 2314"/>
              <a:gd name="T93" fmla="*/ 620 h 1888"/>
              <a:gd name="T94" fmla="*/ 244 w 2314"/>
              <a:gd name="T95" fmla="*/ 1237 h 1888"/>
              <a:gd name="T96" fmla="*/ 227 w 2314"/>
              <a:gd name="T97" fmla="*/ 1255 h 1888"/>
              <a:gd name="T98" fmla="*/ 224 w 2314"/>
              <a:gd name="T99" fmla="*/ 1292 h 1888"/>
              <a:gd name="T100" fmla="*/ 736 w 2314"/>
              <a:gd name="T101" fmla="*/ 1804 h 1888"/>
              <a:gd name="T102" fmla="*/ 773 w 2314"/>
              <a:gd name="T103" fmla="*/ 1800 h 1888"/>
              <a:gd name="T104" fmla="*/ 1016 w 2314"/>
              <a:gd name="T105" fmla="*/ 1886 h 1888"/>
              <a:gd name="T106" fmla="*/ 1299 w 2314"/>
              <a:gd name="T107" fmla="*/ 1887 h 1888"/>
              <a:gd name="T108" fmla="*/ 1704 w 2314"/>
              <a:gd name="T109" fmla="*/ 1499 h 1888"/>
              <a:gd name="T110" fmla="*/ 1892 w 2314"/>
              <a:gd name="T111" fmla="*/ 1311 h 1888"/>
              <a:gd name="T112" fmla="*/ 1903 w 2314"/>
              <a:gd name="T113" fmla="*/ 1274 h 1888"/>
              <a:gd name="T114" fmla="*/ 1963 w 2314"/>
              <a:gd name="T115" fmla="*/ 973 h 1888"/>
              <a:gd name="T116" fmla="*/ 1975 w 2314"/>
              <a:gd name="T117" fmla="*/ 816 h 1888"/>
              <a:gd name="T118" fmla="*/ 2314 w 2314"/>
              <a:gd name="T119" fmla="*/ 46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4" h="1888">
                <a:moveTo>
                  <a:pt x="906" y="1668"/>
                </a:moveTo>
                <a:lnTo>
                  <a:pt x="1018" y="1557"/>
                </a:lnTo>
                <a:lnTo>
                  <a:pt x="1018" y="1556"/>
                </a:lnTo>
                <a:lnTo>
                  <a:pt x="1019" y="1554"/>
                </a:lnTo>
                <a:lnTo>
                  <a:pt x="1020" y="1561"/>
                </a:lnTo>
                <a:lnTo>
                  <a:pt x="1023" y="1568"/>
                </a:lnTo>
                <a:lnTo>
                  <a:pt x="1026" y="1574"/>
                </a:lnTo>
                <a:lnTo>
                  <a:pt x="1030" y="1580"/>
                </a:lnTo>
                <a:lnTo>
                  <a:pt x="1258" y="1807"/>
                </a:lnTo>
                <a:lnTo>
                  <a:pt x="1259" y="1808"/>
                </a:lnTo>
                <a:lnTo>
                  <a:pt x="1259" y="1808"/>
                </a:lnTo>
                <a:lnTo>
                  <a:pt x="1047" y="1809"/>
                </a:lnTo>
                <a:lnTo>
                  <a:pt x="906" y="1668"/>
                </a:lnTo>
                <a:close/>
                <a:moveTo>
                  <a:pt x="751" y="1710"/>
                </a:moveTo>
                <a:lnTo>
                  <a:pt x="685" y="1644"/>
                </a:lnTo>
                <a:lnTo>
                  <a:pt x="686" y="1644"/>
                </a:lnTo>
                <a:lnTo>
                  <a:pt x="687" y="1643"/>
                </a:lnTo>
                <a:lnTo>
                  <a:pt x="867" y="1463"/>
                </a:lnTo>
                <a:lnTo>
                  <a:pt x="933" y="1529"/>
                </a:lnTo>
                <a:lnTo>
                  <a:pt x="751" y="1710"/>
                </a:lnTo>
                <a:close/>
                <a:moveTo>
                  <a:pt x="350" y="1243"/>
                </a:moveTo>
                <a:lnTo>
                  <a:pt x="350" y="1243"/>
                </a:lnTo>
                <a:lnTo>
                  <a:pt x="350" y="1243"/>
                </a:lnTo>
                <a:lnTo>
                  <a:pt x="499" y="1095"/>
                </a:lnTo>
                <a:lnTo>
                  <a:pt x="560" y="1156"/>
                </a:lnTo>
                <a:lnTo>
                  <a:pt x="378" y="1337"/>
                </a:lnTo>
                <a:lnTo>
                  <a:pt x="318" y="1276"/>
                </a:lnTo>
                <a:lnTo>
                  <a:pt x="350" y="1243"/>
                </a:lnTo>
                <a:close/>
                <a:moveTo>
                  <a:pt x="687" y="1283"/>
                </a:moveTo>
                <a:lnTo>
                  <a:pt x="507" y="1463"/>
                </a:lnTo>
                <a:lnTo>
                  <a:pt x="506" y="1464"/>
                </a:lnTo>
                <a:lnTo>
                  <a:pt x="506" y="1464"/>
                </a:lnTo>
                <a:lnTo>
                  <a:pt x="435" y="1395"/>
                </a:lnTo>
                <a:lnTo>
                  <a:pt x="616" y="1212"/>
                </a:lnTo>
                <a:lnTo>
                  <a:pt x="687" y="1283"/>
                </a:lnTo>
                <a:close/>
                <a:moveTo>
                  <a:pt x="629" y="1588"/>
                </a:moveTo>
                <a:lnTo>
                  <a:pt x="562" y="1521"/>
                </a:lnTo>
                <a:lnTo>
                  <a:pt x="563" y="1520"/>
                </a:lnTo>
                <a:lnTo>
                  <a:pt x="563" y="1520"/>
                </a:lnTo>
                <a:lnTo>
                  <a:pt x="743" y="1339"/>
                </a:lnTo>
                <a:lnTo>
                  <a:pt x="810" y="1406"/>
                </a:lnTo>
                <a:lnTo>
                  <a:pt x="630" y="1586"/>
                </a:lnTo>
                <a:lnTo>
                  <a:pt x="630" y="1587"/>
                </a:lnTo>
                <a:lnTo>
                  <a:pt x="629" y="1588"/>
                </a:lnTo>
                <a:close/>
                <a:moveTo>
                  <a:pt x="2303" y="432"/>
                </a:moveTo>
                <a:lnTo>
                  <a:pt x="2296" y="426"/>
                </a:lnTo>
                <a:lnTo>
                  <a:pt x="2289" y="423"/>
                </a:lnTo>
                <a:lnTo>
                  <a:pt x="2282" y="421"/>
                </a:lnTo>
                <a:lnTo>
                  <a:pt x="2274" y="420"/>
                </a:lnTo>
                <a:lnTo>
                  <a:pt x="2267" y="421"/>
                </a:lnTo>
                <a:lnTo>
                  <a:pt x="2259" y="423"/>
                </a:lnTo>
                <a:lnTo>
                  <a:pt x="2253" y="426"/>
                </a:lnTo>
                <a:lnTo>
                  <a:pt x="2246" y="432"/>
                </a:lnTo>
                <a:lnTo>
                  <a:pt x="1907" y="771"/>
                </a:lnTo>
                <a:lnTo>
                  <a:pt x="1902" y="778"/>
                </a:lnTo>
                <a:lnTo>
                  <a:pt x="1898" y="785"/>
                </a:lnTo>
                <a:lnTo>
                  <a:pt x="1896" y="791"/>
                </a:lnTo>
                <a:lnTo>
                  <a:pt x="1894" y="799"/>
                </a:lnTo>
                <a:lnTo>
                  <a:pt x="1894" y="928"/>
                </a:lnTo>
                <a:lnTo>
                  <a:pt x="1730" y="1092"/>
                </a:lnTo>
                <a:lnTo>
                  <a:pt x="1296" y="660"/>
                </a:lnTo>
                <a:lnTo>
                  <a:pt x="1290" y="656"/>
                </a:lnTo>
                <a:lnTo>
                  <a:pt x="1282" y="652"/>
                </a:lnTo>
                <a:lnTo>
                  <a:pt x="1276" y="650"/>
                </a:lnTo>
                <a:lnTo>
                  <a:pt x="1268" y="649"/>
                </a:lnTo>
                <a:lnTo>
                  <a:pt x="1062" y="649"/>
                </a:lnTo>
                <a:lnTo>
                  <a:pt x="1054" y="650"/>
                </a:lnTo>
                <a:lnTo>
                  <a:pt x="1046" y="652"/>
                </a:lnTo>
                <a:lnTo>
                  <a:pt x="1039" y="656"/>
                </a:lnTo>
                <a:lnTo>
                  <a:pt x="1034" y="660"/>
                </a:lnTo>
                <a:lnTo>
                  <a:pt x="791" y="903"/>
                </a:lnTo>
                <a:lnTo>
                  <a:pt x="699" y="811"/>
                </a:lnTo>
                <a:lnTo>
                  <a:pt x="1155" y="355"/>
                </a:lnTo>
                <a:lnTo>
                  <a:pt x="1488" y="355"/>
                </a:lnTo>
                <a:lnTo>
                  <a:pt x="1496" y="355"/>
                </a:lnTo>
                <a:lnTo>
                  <a:pt x="1504" y="352"/>
                </a:lnTo>
                <a:lnTo>
                  <a:pt x="1511" y="348"/>
                </a:lnTo>
                <a:lnTo>
                  <a:pt x="1517" y="343"/>
                </a:lnTo>
                <a:lnTo>
                  <a:pt x="1791" y="68"/>
                </a:lnTo>
                <a:lnTo>
                  <a:pt x="1797" y="63"/>
                </a:lnTo>
                <a:lnTo>
                  <a:pt x="1800" y="56"/>
                </a:lnTo>
                <a:lnTo>
                  <a:pt x="1803" y="48"/>
                </a:lnTo>
                <a:lnTo>
                  <a:pt x="1804" y="40"/>
                </a:lnTo>
                <a:lnTo>
                  <a:pt x="1803" y="32"/>
                </a:lnTo>
                <a:lnTo>
                  <a:pt x="1800" y="26"/>
                </a:lnTo>
                <a:lnTo>
                  <a:pt x="1797" y="19"/>
                </a:lnTo>
                <a:lnTo>
                  <a:pt x="1791" y="12"/>
                </a:lnTo>
                <a:lnTo>
                  <a:pt x="1786" y="7"/>
                </a:lnTo>
                <a:lnTo>
                  <a:pt x="1778" y="3"/>
                </a:lnTo>
                <a:lnTo>
                  <a:pt x="1771" y="1"/>
                </a:lnTo>
                <a:lnTo>
                  <a:pt x="1763" y="0"/>
                </a:lnTo>
                <a:lnTo>
                  <a:pt x="1756" y="1"/>
                </a:lnTo>
                <a:lnTo>
                  <a:pt x="1748" y="3"/>
                </a:lnTo>
                <a:lnTo>
                  <a:pt x="1741" y="7"/>
                </a:lnTo>
                <a:lnTo>
                  <a:pt x="1736" y="12"/>
                </a:lnTo>
                <a:lnTo>
                  <a:pt x="1473" y="275"/>
                </a:lnTo>
                <a:lnTo>
                  <a:pt x="1138" y="275"/>
                </a:lnTo>
                <a:lnTo>
                  <a:pt x="1130" y="276"/>
                </a:lnTo>
                <a:lnTo>
                  <a:pt x="1122" y="279"/>
                </a:lnTo>
                <a:lnTo>
                  <a:pt x="1116" y="282"/>
                </a:lnTo>
                <a:lnTo>
                  <a:pt x="1110" y="286"/>
                </a:lnTo>
                <a:lnTo>
                  <a:pt x="1056" y="340"/>
                </a:lnTo>
                <a:lnTo>
                  <a:pt x="743" y="340"/>
                </a:lnTo>
                <a:lnTo>
                  <a:pt x="537" y="135"/>
                </a:lnTo>
                <a:lnTo>
                  <a:pt x="531" y="130"/>
                </a:lnTo>
                <a:lnTo>
                  <a:pt x="525" y="126"/>
                </a:lnTo>
                <a:lnTo>
                  <a:pt x="517" y="124"/>
                </a:lnTo>
                <a:lnTo>
                  <a:pt x="509" y="123"/>
                </a:lnTo>
                <a:lnTo>
                  <a:pt x="501" y="124"/>
                </a:lnTo>
                <a:lnTo>
                  <a:pt x="494" y="126"/>
                </a:lnTo>
                <a:lnTo>
                  <a:pt x="487" y="130"/>
                </a:lnTo>
                <a:lnTo>
                  <a:pt x="481" y="135"/>
                </a:lnTo>
                <a:lnTo>
                  <a:pt x="475" y="141"/>
                </a:lnTo>
                <a:lnTo>
                  <a:pt x="472" y="148"/>
                </a:lnTo>
                <a:lnTo>
                  <a:pt x="470" y="155"/>
                </a:lnTo>
                <a:lnTo>
                  <a:pt x="469" y="163"/>
                </a:lnTo>
                <a:lnTo>
                  <a:pt x="470" y="171"/>
                </a:lnTo>
                <a:lnTo>
                  <a:pt x="472" y="178"/>
                </a:lnTo>
                <a:lnTo>
                  <a:pt x="475" y="186"/>
                </a:lnTo>
                <a:lnTo>
                  <a:pt x="481" y="191"/>
                </a:lnTo>
                <a:lnTo>
                  <a:pt x="698" y="408"/>
                </a:lnTo>
                <a:lnTo>
                  <a:pt x="704" y="413"/>
                </a:lnTo>
                <a:lnTo>
                  <a:pt x="710" y="417"/>
                </a:lnTo>
                <a:lnTo>
                  <a:pt x="718" y="420"/>
                </a:lnTo>
                <a:lnTo>
                  <a:pt x="726" y="420"/>
                </a:lnTo>
                <a:lnTo>
                  <a:pt x="977" y="420"/>
                </a:lnTo>
                <a:lnTo>
                  <a:pt x="614" y="782"/>
                </a:lnTo>
                <a:lnTo>
                  <a:pt x="609" y="789"/>
                </a:lnTo>
                <a:lnTo>
                  <a:pt x="605" y="796"/>
                </a:lnTo>
                <a:lnTo>
                  <a:pt x="603" y="804"/>
                </a:lnTo>
                <a:lnTo>
                  <a:pt x="602" y="811"/>
                </a:lnTo>
                <a:lnTo>
                  <a:pt x="603" y="818"/>
                </a:lnTo>
                <a:lnTo>
                  <a:pt x="605" y="826"/>
                </a:lnTo>
                <a:lnTo>
                  <a:pt x="609" y="833"/>
                </a:lnTo>
                <a:lnTo>
                  <a:pt x="614" y="839"/>
                </a:lnTo>
                <a:lnTo>
                  <a:pt x="763" y="988"/>
                </a:lnTo>
                <a:lnTo>
                  <a:pt x="769" y="993"/>
                </a:lnTo>
                <a:lnTo>
                  <a:pt x="775" y="997"/>
                </a:lnTo>
                <a:lnTo>
                  <a:pt x="783" y="999"/>
                </a:lnTo>
                <a:lnTo>
                  <a:pt x="791" y="999"/>
                </a:lnTo>
                <a:lnTo>
                  <a:pt x="799" y="999"/>
                </a:lnTo>
                <a:lnTo>
                  <a:pt x="807" y="997"/>
                </a:lnTo>
                <a:lnTo>
                  <a:pt x="813" y="993"/>
                </a:lnTo>
                <a:lnTo>
                  <a:pt x="819" y="988"/>
                </a:lnTo>
                <a:lnTo>
                  <a:pt x="1079" y="729"/>
                </a:lnTo>
                <a:lnTo>
                  <a:pt x="1251" y="729"/>
                </a:lnTo>
                <a:lnTo>
                  <a:pt x="1807" y="1283"/>
                </a:lnTo>
                <a:lnTo>
                  <a:pt x="1675" y="1415"/>
                </a:lnTo>
                <a:lnTo>
                  <a:pt x="1441" y="1180"/>
                </a:lnTo>
                <a:lnTo>
                  <a:pt x="1434" y="1174"/>
                </a:lnTo>
                <a:lnTo>
                  <a:pt x="1428" y="1171"/>
                </a:lnTo>
                <a:lnTo>
                  <a:pt x="1420" y="1168"/>
                </a:lnTo>
                <a:lnTo>
                  <a:pt x="1412" y="1167"/>
                </a:lnTo>
                <a:lnTo>
                  <a:pt x="1405" y="1168"/>
                </a:lnTo>
                <a:lnTo>
                  <a:pt x="1398" y="1171"/>
                </a:lnTo>
                <a:lnTo>
                  <a:pt x="1391" y="1174"/>
                </a:lnTo>
                <a:lnTo>
                  <a:pt x="1384" y="1180"/>
                </a:lnTo>
                <a:lnTo>
                  <a:pt x="1380" y="1185"/>
                </a:lnTo>
                <a:lnTo>
                  <a:pt x="1375" y="1193"/>
                </a:lnTo>
                <a:lnTo>
                  <a:pt x="1373" y="1200"/>
                </a:lnTo>
                <a:lnTo>
                  <a:pt x="1373" y="1208"/>
                </a:lnTo>
                <a:lnTo>
                  <a:pt x="1373" y="1215"/>
                </a:lnTo>
                <a:lnTo>
                  <a:pt x="1375" y="1222"/>
                </a:lnTo>
                <a:lnTo>
                  <a:pt x="1380" y="1230"/>
                </a:lnTo>
                <a:lnTo>
                  <a:pt x="1384" y="1236"/>
                </a:lnTo>
                <a:lnTo>
                  <a:pt x="1619" y="1471"/>
                </a:lnTo>
                <a:lnTo>
                  <a:pt x="1498" y="1593"/>
                </a:lnTo>
                <a:lnTo>
                  <a:pt x="1242" y="1336"/>
                </a:lnTo>
                <a:lnTo>
                  <a:pt x="1236" y="1332"/>
                </a:lnTo>
                <a:lnTo>
                  <a:pt x="1230" y="1327"/>
                </a:lnTo>
                <a:lnTo>
                  <a:pt x="1222" y="1326"/>
                </a:lnTo>
                <a:lnTo>
                  <a:pt x="1214" y="1325"/>
                </a:lnTo>
                <a:lnTo>
                  <a:pt x="1206" y="1326"/>
                </a:lnTo>
                <a:lnTo>
                  <a:pt x="1199" y="1327"/>
                </a:lnTo>
                <a:lnTo>
                  <a:pt x="1192" y="1332"/>
                </a:lnTo>
                <a:lnTo>
                  <a:pt x="1186" y="1336"/>
                </a:lnTo>
                <a:lnTo>
                  <a:pt x="1180" y="1343"/>
                </a:lnTo>
                <a:lnTo>
                  <a:pt x="1177" y="1350"/>
                </a:lnTo>
                <a:lnTo>
                  <a:pt x="1175" y="1358"/>
                </a:lnTo>
                <a:lnTo>
                  <a:pt x="1174" y="1365"/>
                </a:lnTo>
                <a:lnTo>
                  <a:pt x="1175" y="1372"/>
                </a:lnTo>
                <a:lnTo>
                  <a:pt x="1177" y="1380"/>
                </a:lnTo>
                <a:lnTo>
                  <a:pt x="1180" y="1387"/>
                </a:lnTo>
                <a:lnTo>
                  <a:pt x="1186" y="1393"/>
                </a:lnTo>
                <a:lnTo>
                  <a:pt x="1441" y="1649"/>
                </a:lnTo>
                <a:lnTo>
                  <a:pt x="1324" y="1766"/>
                </a:lnTo>
                <a:lnTo>
                  <a:pt x="1321" y="1762"/>
                </a:lnTo>
                <a:lnTo>
                  <a:pt x="1320" y="1758"/>
                </a:lnTo>
                <a:lnTo>
                  <a:pt x="1317" y="1754"/>
                </a:lnTo>
                <a:lnTo>
                  <a:pt x="1314" y="1751"/>
                </a:lnTo>
                <a:lnTo>
                  <a:pt x="1088" y="1523"/>
                </a:lnTo>
                <a:lnTo>
                  <a:pt x="1081" y="1518"/>
                </a:lnTo>
                <a:lnTo>
                  <a:pt x="1074" y="1514"/>
                </a:lnTo>
                <a:lnTo>
                  <a:pt x="1066" y="1512"/>
                </a:lnTo>
                <a:lnTo>
                  <a:pt x="1058" y="1512"/>
                </a:lnTo>
                <a:lnTo>
                  <a:pt x="1052" y="1512"/>
                </a:lnTo>
                <a:lnTo>
                  <a:pt x="1044" y="1514"/>
                </a:lnTo>
                <a:lnTo>
                  <a:pt x="1037" y="1518"/>
                </a:lnTo>
                <a:lnTo>
                  <a:pt x="1030" y="1523"/>
                </a:lnTo>
                <a:lnTo>
                  <a:pt x="1029" y="1524"/>
                </a:lnTo>
                <a:lnTo>
                  <a:pt x="1029" y="1526"/>
                </a:lnTo>
                <a:lnTo>
                  <a:pt x="1028" y="1519"/>
                </a:lnTo>
                <a:lnTo>
                  <a:pt x="1026" y="1512"/>
                </a:lnTo>
                <a:lnTo>
                  <a:pt x="1023" y="1505"/>
                </a:lnTo>
                <a:lnTo>
                  <a:pt x="1018" y="1500"/>
                </a:lnTo>
                <a:lnTo>
                  <a:pt x="527" y="1010"/>
                </a:lnTo>
                <a:lnTo>
                  <a:pt x="521" y="1005"/>
                </a:lnTo>
                <a:lnTo>
                  <a:pt x="515" y="1001"/>
                </a:lnTo>
                <a:lnTo>
                  <a:pt x="507" y="998"/>
                </a:lnTo>
                <a:lnTo>
                  <a:pt x="499" y="998"/>
                </a:lnTo>
                <a:lnTo>
                  <a:pt x="491" y="998"/>
                </a:lnTo>
                <a:lnTo>
                  <a:pt x="483" y="1001"/>
                </a:lnTo>
                <a:lnTo>
                  <a:pt x="477" y="1005"/>
                </a:lnTo>
                <a:lnTo>
                  <a:pt x="471" y="1010"/>
                </a:lnTo>
                <a:lnTo>
                  <a:pt x="361" y="1119"/>
                </a:lnTo>
                <a:lnTo>
                  <a:pt x="361" y="888"/>
                </a:lnTo>
                <a:lnTo>
                  <a:pt x="361" y="880"/>
                </a:lnTo>
                <a:lnTo>
                  <a:pt x="359" y="872"/>
                </a:lnTo>
                <a:lnTo>
                  <a:pt x="355" y="865"/>
                </a:lnTo>
                <a:lnTo>
                  <a:pt x="350" y="860"/>
                </a:lnTo>
                <a:lnTo>
                  <a:pt x="68" y="576"/>
                </a:lnTo>
                <a:lnTo>
                  <a:pt x="61" y="572"/>
                </a:lnTo>
                <a:lnTo>
                  <a:pt x="55" y="568"/>
                </a:lnTo>
                <a:lnTo>
                  <a:pt x="47" y="566"/>
                </a:lnTo>
                <a:lnTo>
                  <a:pt x="40" y="565"/>
                </a:lnTo>
                <a:lnTo>
                  <a:pt x="32" y="566"/>
                </a:lnTo>
                <a:lnTo>
                  <a:pt x="24" y="568"/>
                </a:lnTo>
                <a:lnTo>
                  <a:pt x="18" y="572"/>
                </a:lnTo>
                <a:lnTo>
                  <a:pt x="11" y="576"/>
                </a:lnTo>
                <a:lnTo>
                  <a:pt x="7" y="583"/>
                </a:lnTo>
                <a:lnTo>
                  <a:pt x="2" y="590"/>
                </a:lnTo>
                <a:lnTo>
                  <a:pt x="0" y="598"/>
                </a:lnTo>
                <a:lnTo>
                  <a:pt x="0" y="605"/>
                </a:lnTo>
                <a:lnTo>
                  <a:pt x="0" y="612"/>
                </a:lnTo>
                <a:lnTo>
                  <a:pt x="2" y="620"/>
                </a:lnTo>
                <a:lnTo>
                  <a:pt x="7" y="627"/>
                </a:lnTo>
                <a:lnTo>
                  <a:pt x="11" y="633"/>
                </a:lnTo>
                <a:lnTo>
                  <a:pt x="282" y="904"/>
                </a:lnTo>
                <a:lnTo>
                  <a:pt x="282" y="1199"/>
                </a:lnTo>
                <a:lnTo>
                  <a:pt x="244" y="1237"/>
                </a:lnTo>
                <a:lnTo>
                  <a:pt x="242" y="1240"/>
                </a:lnTo>
                <a:lnTo>
                  <a:pt x="238" y="1243"/>
                </a:lnTo>
                <a:lnTo>
                  <a:pt x="236" y="1246"/>
                </a:lnTo>
                <a:lnTo>
                  <a:pt x="233" y="1248"/>
                </a:lnTo>
                <a:lnTo>
                  <a:pt x="227" y="1255"/>
                </a:lnTo>
                <a:lnTo>
                  <a:pt x="224" y="1261"/>
                </a:lnTo>
                <a:lnTo>
                  <a:pt x="221" y="1269"/>
                </a:lnTo>
                <a:lnTo>
                  <a:pt x="220" y="1276"/>
                </a:lnTo>
                <a:lnTo>
                  <a:pt x="221" y="1284"/>
                </a:lnTo>
                <a:lnTo>
                  <a:pt x="224" y="1292"/>
                </a:lnTo>
                <a:lnTo>
                  <a:pt x="227" y="1298"/>
                </a:lnTo>
                <a:lnTo>
                  <a:pt x="233" y="1305"/>
                </a:lnTo>
                <a:lnTo>
                  <a:pt x="723" y="1795"/>
                </a:lnTo>
                <a:lnTo>
                  <a:pt x="729" y="1800"/>
                </a:lnTo>
                <a:lnTo>
                  <a:pt x="736" y="1804"/>
                </a:lnTo>
                <a:lnTo>
                  <a:pt x="743" y="1807"/>
                </a:lnTo>
                <a:lnTo>
                  <a:pt x="751" y="1807"/>
                </a:lnTo>
                <a:lnTo>
                  <a:pt x="759" y="1807"/>
                </a:lnTo>
                <a:lnTo>
                  <a:pt x="766" y="1804"/>
                </a:lnTo>
                <a:lnTo>
                  <a:pt x="773" y="1800"/>
                </a:lnTo>
                <a:lnTo>
                  <a:pt x="780" y="1795"/>
                </a:lnTo>
                <a:lnTo>
                  <a:pt x="850" y="1724"/>
                </a:lnTo>
                <a:lnTo>
                  <a:pt x="1003" y="1877"/>
                </a:lnTo>
                <a:lnTo>
                  <a:pt x="1009" y="1882"/>
                </a:lnTo>
                <a:lnTo>
                  <a:pt x="1016" y="1886"/>
                </a:lnTo>
                <a:lnTo>
                  <a:pt x="1024" y="1888"/>
                </a:lnTo>
                <a:lnTo>
                  <a:pt x="1032" y="1888"/>
                </a:lnTo>
                <a:lnTo>
                  <a:pt x="1032" y="1888"/>
                </a:lnTo>
                <a:lnTo>
                  <a:pt x="1032" y="1888"/>
                </a:lnTo>
                <a:lnTo>
                  <a:pt x="1299" y="1887"/>
                </a:lnTo>
                <a:lnTo>
                  <a:pt x="1307" y="1887"/>
                </a:lnTo>
                <a:lnTo>
                  <a:pt x="1315" y="1885"/>
                </a:lnTo>
                <a:lnTo>
                  <a:pt x="1321" y="1880"/>
                </a:lnTo>
                <a:lnTo>
                  <a:pt x="1327" y="1876"/>
                </a:lnTo>
                <a:lnTo>
                  <a:pt x="1704" y="1499"/>
                </a:lnTo>
                <a:lnTo>
                  <a:pt x="1704" y="1499"/>
                </a:lnTo>
                <a:lnTo>
                  <a:pt x="1704" y="1499"/>
                </a:lnTo>
                <a:lnTo>
                  <a:pt x="1704" y="1499"/>
                </a:lnTo>
                <a:lnTo>
                  <a:pt x="1704" y="1499"/>
                </a:lnTo>
                <a:lnTo>
                  <a:pt x="1892" y="1311"/>
                </a:lnTo>
                <a:lnTo>
                  <a:pt x="1898" y="1304"/>
                </a:lnTo>
                <a:lnTo>
                  <a:pt x="1901" y="1297"/>
                </a:lnTo>
                <a:lnTo>
                  <a:pt x="1903" y="1290"/>
                </a:lnTo>
                <a:lnTo>
                  <a:pt x="1904" y="1283"/>
                </a:lnTo>
                <a:lnTo>
                  <a:pt x="1903" y="1274"/>
                </a:lnTo>
                <a:lnTo>
                  <a:pt x="1901" y="1267"/>
                </a:lnTo>
                <a:lnTo>
                  <a:pt x="1898" y="1260"/>
                </a:lnTo>
                <a:lnTo>
                  <a:pt x="1892" y="1254"/>
                </a:lnTo>
                <a:lnTo>
                  <a:pt x="1787" y="1149"/>
                </a:lnTo>
                <a:lnTo>
                  <a:pt x="1963" y="973"/>
                </a:lnTo>
                <a:lnTo>
                  <a:pt x="1968" y="967"/>
                </a:lnTo>
                <a:lnTo>
                  <a:pt x="1972" y="960"/>
                </a:lnTo>
                <a:lnTo>
                  <a:pt x="1974" y="952"/>
                </a:lnTo>
                <a:lnTo>
                  <a:pt x="1975" y="945"/>
                </a:lnTo>
                <a:lnTo>
                  <a:pt x="1975" y="816"/>
                </a:lnTo>
                <a:lnTo>
                  <a:pt x="2303" y="488"/>
                </a:lnTo>
                <a:lnTo>
                  <a:pt x="2307" y="482"/>
                </a:lnTo>
                <a:lnTo>
                  <a:pt x="2312" y="476"/>
                </a:lnTo>
                <a:lnTo>
                  <a:pt x="2314" y="468"/>
                </a:lnTo>
                <a:lnTo>
                  <a:pt x="2314" y="460"/>
                </a:lnTo>
                <a:lnTo>
                  <a:pt x="2314" y="452"/>
                </a:lnTo>
                <a:lnTo>
                  <a:pt x="2312" y="445"/>
                </a:lnTo>
                <a:lnTo>
                  <a:pt x="2307" y="438"/>
                </a:lnTo>
                <a:lnTo>
                  <a:pt x="2303" y="432"/>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42" name="Group 26">
            <a:extLst>
              <a:ext uri="{FF2B5EF4-FFF2-40B4-BE49-F238E27FC236}">
                <a16:creationId xmlns:a16="http://schemas.microsoft.com/office/drawing/2014/main" id="{63EC5D4B-4F0E-4387-A394-FE4C20AB5499}"/>
              </a:ext>
            </a:extLst>
          </p:cNvPr>
          <p:cNvGrpSpPr>
            <a:grpSpLocks noChangeAspect="1"/>
          </p:cNvGrpSpPr>
          <p:nvPr/>
        </p:nvGrpSpPr>
        <p:grpSpPr>
          <a:xfrm>
            <a:off x="4490959" y="4879041"/>
            <a:ext cx="204060" cy="285619"/>
            <a:chOff x="1701800" y="887413"/>
            <a:chExt cx="989013" cy="1384300"/>
          </a:xfrm>
          <a:solidFill>
            <a:schemeClr val="bg2"/>
          </a:solidFill>
          <a:effectLst/>
        </p:grpSpPr>
        <p:sp>
          <p:nvSpPr>
            <p:cNvPr id="943" name="Freeform 5">
              <a:extLst>
                <a:ext uri="{FF2B5EF4-FFF2-40B4-BE49-F238E27FC236}">
                  <a16:creationId xmlns:a16="http://schemas.microsoft.com/office/drawing/2014/main" id="{ABA9BC4A-37BB-4E5F-A323-2D5DE2A3DC3E}"/>
                </a:ext>
              </a:extLst>
            </p:cNvPr>
            <p:cNvSpPr>
              <a:spLocks/>
            </p:cNvSpPr>
            <p:nvPr/>
          </p:nvSpPr>
          <p:spPr bwMode="auto">
            <a:xfrm>
              <a:off x="2155825" y="1263650"/>
              <a:ext cx="393700" cy="361950"/>
            </a:xfrm>
            <a:custGeom>
              <a:avLst/>
              <a:gdLst>
                <a:gd name="T0" fmla="*/ 314 w 338"/>
                <a:gd name="T1" fmla="*/ 246 h 311"/>
                <a:gd name="T2" fmla="*/ 71 w 338"/>
                <a:gd name="T3" fmla="*/ 246 h 311"/>
                <a:gd name="T4" fmla="*/ 65 w 338"/>
                <a:gd name="T5" fmla="*/ 237 h 311"/>
                <a:gd name="T6" fmla="*/ 65 w 338"/>
                <a:gd name="T7" fmla="*/ 24 h 311"/>
                <a:gd name="T8" fmla="*/ 41 w 338"/>
                <a:gd name="T9" fmla="*/ 0 h 311"/>
                <a:gd name="T10" fmla="*/ 17 w 338"/>
                <a:gd name="T11" fmla="*/ 24 h 311"/>
                <a:gd name="T12" fmla="*/ 17 w 338"/>
                <a:gd name="T13" fmla="*/ 237 h 311"/>
                <a:gd name="T14" fmla="*/ 0 w 338"/>
                <a:gd name="T15" fmla="*/ 270 h 311"/>
                <a:gd name="T16" fmla="*/ 40 w 338"/>
                <a:gd name="T17" fmla="*/ 311 h 311"/>
                <a:gd name="T18" fmla="*/ 74 w 338"/>
                <a:gd name="T19" fmla="*/ 294 h 311"/>
                <a:gd name="T20" fmla="*/ 314 w 338"/>
                <a:gd name="T21" fmla="*/ 294 h 311"/>
                <a:gd name="T22" fmla="*/ 338 w 338"/>
                <a:gd name="T23" fmla="*/ 270 h 311"/>
                <a:gd name="T24" fmla="*/ 314 w 338"/>
                <a:gd name="T25" fmla="*/ 24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311">
                  <a:moveTo>
                    <a:pt x="314" y="246"/>
                  </a:moveTo>
                  <a:cubicBezTo>
                    <a:pt x="71" y="246"/>
                    <a:pt x="71" y="246"/>
                    <a:pt x="71" y="246"/>
                  </a:cubicBezTo>
                  <a:cubicBezTo>
                    <a:pt x="69" y="242"/>
                    <a:pt x="65" y="239"/>
                    <a:pt x="65" y="237"/>
                  </a:cubicBezTo>
                  <a:cubicBezTo>
                    <a:pt x="65" y="24"/>
                    <a:pt x="65" y="24"/>
                    <a:pt x="65" y="24"/>
                  </a:cubicBezTo>
                  <a:cubicBezTo>
                    <a:pt x="65" y="11"/>
                    <a:pt x="54" y="0"/>
                    <a:pt x="41" y="0"/>
                  </a:cubicBezTo>
                  <a:cubicBezTo>
                    <a:pt x="28" y="0"/>
                    <a:pt x="17" y="11"/>
                    <a:pt x="17" y="24"/>
                  </a:cubicBezTo>
                  <a:cubicBezTo>
                    <a:pt x="17" y="237"/>
                    <a:pt x="17" y="237"/>
                    <a:pt x="17" y="237"/>
                  </a:cubicBezTo>
                  <a:cubicBezTo>
                    <a:pt x="5" y="245"/>
                    <a:pt x="0" y="257"/>
                    <a:pt x="0" y="270"/>
                  </a:cubicBezTo>
                  <a:cubicBezTo>
                    <a:pt x="0" y="292"/>
                    <a:pt x="18" y="311"/>
                    <a:pt x="40" y="311"/>
                  </a:cubicBezTo>
                  <a:cubicBezTo>
                    <a:pt x="54" y="311"/>
                    <a:pt x="66" y="302"/>
                    <a:pt x="74" y="294"/>
                  </a:cubicBezTo>
                  <a:cubicBezTo>
                    <a:pt x="314" y="294"/>
                    <a:pt x="314" y="294"/>
                    <a:pt x="314" y="294"/>
                  </a:cubicBezTo>
                  <a:cubicBezTo>
                    <a:pt x="327" y="294"/>
                    <a:pt x="338" y="283"/>
                    <a:pt x="338" y="270"/>
                  </a:cubicBezTo>
                  <a:cubicBezTo>
                    <a:pt x="338" y="257"/>
                    <a:pt x="327" y="246"/>
                    <a:pt x="314"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6">
              <a:extLst>
                <a:ext uri="{FF2B5EF4-FFF2-40B4-BE49-F238E27FC236}">
                  <a16:creationId xmlns:a16="http://schemas.microsoft.com/office/drawing/2014/main" id="{61F9C606-79C7-4E93-9005-068197E920EA}"/>
                </a:ext>
              </a:extLst>
            </p:cNvPr>
            <p:cNvSpPr>
              <a:spLocks noEditPoints="1"/>
            </p:cNvSpPr>
            <p:nvPr/>
          </p:nvSpPr>
          <p:spPr bwMode="auto">
            <a:xfrm>
              <a:off x="1701800" y="887413"/>
              <a:ext cx="989013" cy="1384300"/>
            </a:xfrm>
            <a:custGeom>
              <a:avLst/>
              <a:gdLst>
                <a:gd name="T0" fmla="*/ 848 w 848"/>
                <a:gd name="T1" fmla="*/ 597 h 1188"/>
                <a:gd name="T2" fmla="*/ 678 w 848"/>
                <a:gd name="T3" fmla="*/ 258 h 1188"/>
                <a:gd name="T4" fmla="*/ 678 w 848"/>
                <a:gd name="T5" fmla="*/ 258 h 1188"/>
                <a:gd name="T6" fmla="*/ 678 w 848"/>
                <a:gd name="T7" fmla="*/ 24 h 1188"/>
                <a:gd name="T8" fmla="*/ 655 w 848"/>
                <a:gd name="T9" fmla="*/ 0 h 1188"/>
                <a:gd name="T10" fmla="*/ 202 w 848"/>
                <a:gd name="T11" fmla="*/ 0 h 1188"/>
                <a:gd name="T12" fmla="*/ 178 w 848"/>
                <a:gd name="T13" fmla="*/ 24 h 1188"/>
                <a:gd name="T14" fmla="*/ 178 w 848"/>
                <a:gd name="T15" fmla="*/ 251 h 1188"/>
                <a:gd name="T16" fmla="*/ 0 w 848"/>
                <a:gd name="T17" fmla="*/ 597 h 1188"/>
                <a:gd name="T18" fmla="*/ 178 w 848"/>
                <a:gd name="T19" fmla="*/ 942 h 1188"/>
                <a:gd name="T20" fmla="*/ 178 w 848"/>
                <a:gd name="T21" fmla="*/ 1162 h 1188"/>
                <a:gd name="T22" fmla="*/ 202 w 848"/>
                <a:gd name="T23" fmla="*/ 1188 h 1188"/>
                <a:gd name="T24" fmla="*/ 655 w 848"/>
                <a:gd name="T25" fmla="*/ 1188 h 1188"/>
                <a:gd name="T26" fmla="*/ 678 w 848"/>
                <a:gd name="T27" fmla="*/ 1162 h 1188"/>
                <a:gd name="T28" fmla="*/ 678 w 848"/>
                <a:gd name="T29" fmla="*/ 935 h 1188"/>
                <a:gd name="T30" fmla="*/ 848 w 848"/>
                <a:gd name="T31" fmla="*/ 597 h 1188"/>
                <a:gd name="T32" fmla="*/ 226 w 848"/>
                <a:gd name="T33" fmla="*/ 48 h 1188"/>
                <a:gd name="T34" fmla="*/ 630 w 848"/>
                <a:gd name="T35" fmla="*/ 48 h 1188"/>
                <a:gd name="T36" fmla="*/ 630 w 848"/>
                <a:gd name="T37" fmla="*/ 227 h 1188"/>
                <a:gd name="T38" fmla="*/ 423 w 848"/>
                <a:gd name="T39" fmla="*/ 172 h 1188"/>
                <a:gd name="T40" fmla="*/ 226 w 848"/>
                <a:gd name="T41" fmla="*/ 222 h 1188"/>
                <a:gd name="T42" fmla="*/ 226 w 848"/>
                <a:gd name="T43" fmla="*/ 48 h 1188"/>
                <a:gd name="T44" fmla="*/ 630 w 848"/>
                <a:gd name="T45" fmla="*/ 1140 h 1188"/>
                <a:gd name="T46" fmla="*/ 226 w 848"/>
                <a:gd name="T47" fmla="*/ 1140 h 1188"/>
                <a:gd name="T48" fmla="*/ 226 w 848"/>
                <a:gd name="T49" fmla="*/ 972 h 1188"/>
                <a:gd name="T50" fmla="*/ 423 w 848"/>
                <a:gd name="T51" fmla="*/ 1021 h 1188"/>
                <a:gd name="T52" fmla="*/ 630 w 848"/>
                <a:gd name="T53" fmla="*/ 967 h 1188"/>
                <a:gd name="T54" fmla="*/ 630 w 848"/>
                <a:gd name="T55" fmla="*/ 1140 h 1188"/>
                <a:gd name="T56" fmla="*/ 424 w 848"/>
                <a:gd name="T57" fmla="*/ 973 h 1188"/>
                <a:gd name="T58" fmla="*/ 48 w 848"/>
                <a:gd name="T59" fmla="*/ 597 h 1188"/>
                <a:gd name="T60" fmla="*/ 424 w 848"/>
                <a:gd name="T61" fmla="*/ 220 h 1188"/>
                <a:gd name="T62" fmla="*/ 801 w 848"/>
                <a:gd name="T63" fmla="*/ 597 h 1188"/>
                <a:gd name="T64" fmla="*/ 424 w 848"/>
                <a:gd name="T65" fmla="*/ 97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8" h="1188">
                  <a:moveTo>
                    <a:pt x="848" y="597"/>
                  </a:moveTo>
                  <a:cubicBezTo>
                    <a:pt x="848" y="458"/>
                    <a:pt x="781" y="335"/>
                    <a:pt x="678" y="258"/>
                  </a:cubicBezTo>
                  <a:cubicBezTo>
                    <a:pt x="678" y="258"/>
                    <a:pt x="678" y="258"/>
                    <a:pt x="678" y="258"/>
                  </a:cubicBezTo>
                  <a:cubicBezTo>
                    <a:pt x="678" y="24"/>
                    <a:pt x="678" y="24"/>
                    <a:pt x="678" y="24"/>
                  </a:cubicBezTo>
                  <a:cubicBezTo>
                    <a:pt x="678" y="11"/>
                    <a:pt x="668" y="0"/>
                    <a:pt x="655" y="0"/>
                  </a:cubicBezTo>
                  <a:cubicBezTo>
                    <a:pt x="202" y="0"/>
                    <a:pt x="202" y="0"/>
                    <a:pt x="202" y="0"/>
                  </a:cubicBezTo>
                  <a:cubicBezTo>
                    <a:pt x="189" y="0"/>
                    <a:pt x="178" y="11"/>
                    <a:pt x="178" y="24"/>
                  </a:cubicBezTo>
                  <a:cubicBezTo>
                    <a:pt x="178" y="251"/>
                    <a:pt x="178" y="251"/>
                    <a:pt x="178" y="251"/>
                  </a:cubicBezTo>
                  <a:cubicBezTo>
                    <a:pt x="70" y="328"/>
                    <a:pt x="0" y="454"/>
                    <a:pt x="0" y="597"/>
                  </a:cubicBezTo>
                  <a:cubicBezTo>
                    <a:pt x="0" y="739"/>
                    <a:pt x="70" y="865"/>
                    <a:pt x="178" y="942"/>
                  </a:cubicBezTo>
                  <a:cubicBezTo>
                    <a:pt x="178" y="1162"/>
                    <a:pt x="178" y="1162"/>
                    <a:pt x="178" y="1162"/>
                  </a:cubicBezTo>
                  <a:cubicBezTo>
                    <a:pt x="178" y="1176"/>
                    <a:pt x="189" y="1188"/>
                    <a:pt x="202" y="1188"/>
                  </a:cubicBezTo>
                  <a:cubicBezTo>
                    <a:pt x="655" y="1188"/>
                    <a:pt x="655" y="1188"/>
                    <a:pt x="655" y="1188"/>
                  </a:cubicBezTo>
                  <a:cubicBezTo>
                    <a:pt x="668" y="1188"/>
                    <a:pt x="678" y="1176"/>
                    <a:pt x="678" y="1162"/>
                  </a:cubicBezTo>
                  <a:cubicBezTo>
                    <a:pt x="678" y="935"/>
                    <a:pt x="678" y="935"/>
                    <a:pt x="678" y="935"/>
                  </a:cubicBezTo>
                  <a:cubicBezTo>
                    <a:pt x="782" y="858"/>
                    <a:pt x="848" y="735"/>
                    <a:pt x="848" y="597"/>
                  </a:cubicBezTo>
                  <a:close/>
                  <a:moveTo>
                    <a:pt x="226" y="48"/>
                  </a:moveTo>
                  <a:cubicBezTo>
                    <a:pt x="630" y="48"/>
                    <a:pt x="630" y="48"/>
                    <a:pt x="630" y="48"/>
                  </a:cubicBezTo>
                  <a:cubicBezTo>
                    <a:pt x="630" y="227"/>
                    <a:pt x="630" y="227"/>
                    <a:pt x="630" y="227"/>
                  </a:cubicBezTo>
                  <a:cubicBezTo>
                    <a:pt x="570" y="192"/>
                    <a:pt x="499" y="172"/>
                    <a:pt x="423" y="172"/>
                  </a:cubicBezTo>
                  <a:cubicBezTo>
                    <a:pt x="352" y="172"/>
                    <a:pt x="286" y="190"/>
                    <a:pt x="226" y="222"/>
                  </a:cubicBezTo>
                  <a:lnTo>
                    <a:pt x="226" y="48"/>
                  </a:lnTo>
                  <a:close/>
                  <a:moveTo>
                    <a:pt x="630" y="1140"/>
                  </a:moveTo>
                  <a:cubicBezTo>
                    <a:pt x="226" y="1140"/>
                    <a:pt x="226" y="1140"/>
                    <a:pt x="226" y="1140"/>
                  </a:cubicBezTo>
                  <a:cubicBezTo>
                    <a:pt x="226" y="972"/>
                    <a:pt x="226" y="972"/>
                    <a:pt x="226" y="972"/>
                  </a:cubicBezTo>
                  <a:cubicBezTo>
                    <a:pt x="286" y="1003"/>
                    <a:pt x="352" y="1021"/>
                    <a:pt x="423" y="1021"/>
                  </a:cubicBezTo>
                  <a:cubicBezTo>
                    <a:pt x="499" y="1021"/>
                    <a:pt x="570" y="1001"/>
                    <a:pt x="630" y="967"/>
                  </a:cubicBezTo>
                  <a:lnTo>
                    <a:pt x="630" y="1140"/>
                  </a:lnTo>
                  <a:close/>
                  <a:moveTo>
                    <a:pt x="424" y="973"/>
                  </a:moveTo>
                  <a:cubicBezTo>
                    <a:pt x="216" y="973"/>
                    <a:pt x="48" y="804"/>
                    <a:pt x="48" y="597"/>
                  </a:cubicBezTo>
                  <a:cubicBezTo>
                    <a:pt x="48" y="389"/>
                    <a:pt x="216" y="220"/>
                    <a:pt x="424" y="220"/>
                  </a:cubicBezTo>
                  <a:cubicBezTo>
                    <a:pt x="632" y="220"/>
                    <a:pt x="801" y="389"/>
                    <a:pt x="801" y="597"/>
                  </a:cubicBezTo>
                  <a:cubicBezTo>
                    <a:pt x="801" y="804"/>
                    <a:pt x="632" y="973"/>
                    <a:pt x="424" y="9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8" name="Group 27">
            <a:extLst>
              <a:ext uri="{FF2B5EF4-FFF2-40B4-BE49-F238E27FC236}">
                <a16:creationId xmlns:a16="http://schemas.microsoft.com/office/drawing/2014/main" id="{348C31B0-018F-4766-ADA3-1C381C932987}"/>
              </a:ext>
            </a:extLst>
          </p:cNvPr>
          <p:cNvGrpSpPr>
            <a:grpSpLocks noChangeAspect="1"/>
          </p:cNvGrpSpPr>
          <p:nvPr/>
        </p:nvGrpSpPr>
        <p:grpSpPr>
          <a:xfrm>
            <a:off x="4450180" y="3801969"/>
            <a:ext cx="285619" cy="285619"/>
            <a:chOff x="9882188" y="4217988"/>
            <a:chExt cx="285750" cy="285750"/>
          </a:xfrm>
          <a:solidFill>
            <a:schemeClr val="bg2"/>
          </a:solidFill>
          <a:effectLst/>
        </p:grpSpPr>
        <p:sp>
          <p:nvSpPr>
            <p:cNvPr id="929" name="Freeform 309">
              <a:extLst>
                <a:ext uri="{FF2B5EF4-FFF2-40B4-BE49-F238E27FC236}">
                  <a16:creationId xmlns:a16="http://schemas.microsoft.com/office/drawing/2014/main" id="{79A714B4-0142-4593-A02C-E9EFA8D747EF}"/>
                </a:ext>
              </a:extLst>
            </p:cNvPr>
            <p:cNvSpPr>
              <a:spLocks noEditPoints="1"/>
            </p:cNvSpPr>
            <p:nvPr/>
          </p:nvSpPr>
          <p:spPr bwMode="auto">
            <a:xfrm>
              <a:off x="10034588" y="4217988"/>
              <a:ext cx="133350" cy="133350"/>
            </a:xfrm>
            <a:custGeom>
              <a:avLst/>
              <a:gdLst>
                <a:gd name="T0" fmla="*/ 30 w 421"/>
                <a:gd name="T1" fmla="*/ 30 h 421"/>
                <a:gd name="T2" fmla="*/ 66 w 421"/>
                <a:gd name="T3" fmla="*/ 33 h 421"/>
                <a:gd name="T4" fmla="*/ 102 w 421"/>
                <a:gd name="T5" fmla="*/ 40 h 421"/>
                <a:gd name="T6" fmla="*/ 136 w 421"/>
                <a:gd name="T7" fmla="*/ 49 h 421"/>
                <a:gd name="T8" fmla="*/ 168 w 421"/>
                <a:gd name="T9" fmla="*/ 62 h 421"/>
                <a:gd name="T10" fmla="*/ 199 w 421"/>
                <a:gd name="T11" fmla="*/ 78 h 421"/>
                <a:gd name="T12" fmla="*/ 228 w 421"/>
                <a:gd name="T13" fmla="*/ 97 h 421"/>
                <a:gd name="T14" fmla="*/ 256 w 421"/>
                <a:gd name="T15" fmla="*/ 117 h 421"/>
                <a:gd name="T16" fmla="*/ 281 w 421"/>
                <a:gd name="T17" fmla="*/ 140 h 421"/>
                <a:gd name="T18" fmla="*/ 304 w 421"/>
                <a:gd name="T19" fmla="*/ 165 h 421"/>
                <a:gd name="T20" fmla="*/ 325 w 421"/>
                <a:gd name="T21" fmla="*/ 193 h 421"/>
                <a:gd name="T22" fmla="*/ 344 w 421"/>
                <a:gd name="T23" fmla="*/ 222 h 421"/>
                <a:gd name="T24" fmla="*/ 359 w 421"/>
                <a:gd name="T25" fmla="*/ 253 h 421"/>
                <a:gd name="T26" fmla="*/ 372 w 421"/>
                <a:gd name="T27" fmla="*/ 285 h 421"/>
                <a:gd name="T28" fmla="*/ 381 w 421"/>
                <a:gd name="T29" fmla="*/ 319 h 421"/>
                <a:gd name="T30" fmla="*/ 388 w 421"/>
                <a:gd name="T31" fmla="*/ 355 h 421"/>
                <a:gd name="T32" fmla="*/ 391 w 421"/>
                <a:gd name="T33" fmla="*/ 391 h 421"/>
                <a:gd name="T34" fmla="*/ 15 w 421"/>
                <a:gd name="T35" fmla="*/ 0 h 421"/>
                <a:gd name="T36" fmla="*/ 10 w 421"/>
                <a:gd name="T37" fmla="*/ 1 h 421"/>
                <a:gd name="T38" fmla="*/ 5 w 421"/>
                <a:gd name="T39" fmla="*/ 4 h 421"/>
                <a:gd name="T40" fmla="*/ 2 w 421"/>
                <a:gd name="T41" fmla="*/ 9 h 421"/>
                <a:gd name="T42" fmla="*/ 0 w 421"/>
                <a:gd name="T43" fmla="*/ 15 h 421"/>
                <a:gd name="T44" fmla="*/ 1 w 421"/>
                <a:gd name="T45" fmla="*/ 408 h 421"/>
                <a:gd name="T46" fmla="*/ 3 w 421"/>
                <a:gd name="T47" fmla="*/ 414 h 421"/>
                <a:gd name="T48" fmla="*/ 7 w 421"/>
                <a:gd name="T49" fmla="*/ 418 h 421"/>
                <a:gd name="T50" fmla="*/ 13 w 421"/>
                <a:gd name="T51" fmla="*/ 420 h 421"/>
                <a:gd name="T52" fmla="*/ 406 w 421"/>
                <a:gd name="T53" fmla="*/ 421 h 421"/>
                <a:gd name="T54" fmla="*/ 412 w 421"/>
                <a:gd name="T55" fmla="*/ 420 h 421"/>
                <a:gd name="T56" fmla="*/ 417 w 421"/>
                <a:gd name="T57" fmla="*/ 417 h 421"/>
                <a:gd name="T58" fmla="*/ 420 w 421"/>
                <a:gd name="T59" fmla="*/ 411 h 421"/>
                <a:gd name="T60" fmla="*/ 421 w 421"/>
                <a:gd name="T61" fmla="*/ 406 h 421"/>
                <a:gd name="T62" fmla="*/ 419 w 421"/>
                <a:gd name="T63" fmla="*/ 364 h 421"/>
                <a:gd name="T64" fmla="*/ 413 w 421"/>
                <a:gd name="T65" fmla="*/ 324 h 421"/>
                <a:gd name="T66" fmla="*/ 403 w 421"/>
                <a:gd name="T67" fmla="*/ 285 h 421"/>
                <a:gd name="T68" fmla="*/ 390 w 421"/>
                <a:gd name="T69" fmla="*/ 248 h 421"/>
                <a:gd name="T70" fmla="*/ 373 w 421"/>
                <a:gd name="T71" fmla="*/ 212 h 421"/>
                <a:gd name="T72" fmla="*/ 352 w 421"/>
                <a:gd name="T73" fmla="*/ 179 h 421"/>
                <a:gd name="T74" fmla="*/ 329 w 421"/>
                <a:gd name="T75" fmla="*/ 148 h 421"/>
                <a:gd name="T76" fmla="*/ 302 w 421"/>
                <a:gd name="T77" fmla="*/ 119 h 421"/>
                <a:gd name="T78" fmla="*/ 273 w 421"/>
                <a:gd name="T79" fmla="*/ 92 h 421"/>
                <a:gd name="T80" fmla="*/ 242 w 421"/>
                <a:gd name="T81" fmla="*/ 69 h 421"/>
                <a:gd name="T82" fmla="*/ 209 w 421"/>
                <a:gd name="T83" fmla="*/ 48 h 421"/>
                <a:gd name="T84" fmla="*/ 174 w 421"/>
                <a:gd name="T85" fmla="*/ 31 h 421"/>
                <a:gd name="T86" fmla="*/ 136 w 421"/>
                <a:gd name="T87" fmla="*/ 18 h 421"/>
                <a:gd name="T88" fmla="*/ 97 w 421"/>
                <a:gd name="T89" fmla="*/ 8 h 421"/>
                <a:gd name="T90" fmla="*/ 57 w 421"/>
                <a:gd name="T91" fmla="*/ 2 h 421"/>
                <a:gd name="T92" fmla="*/ 15 w 421"/>
                <a:gd name="T9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1" h="421">
                  <a:moveTo>
                    <a:pt x="30" y="390"/>
                  </a:moveTo>
                  <a:lnTo>
                    <a:pt x="30" y="30"/>
                  </a:lnTo>
                  <a:lnTo>
                    <a:pt x="48" y="31"/>
                  </a:lnTo>
                  <a:lnTo>
                    <a:pt x="66" y="33"/>
                  </a:lnTo>
                  <a:lnTo>
                    <a:pt x="85" y="37"/>
                  </a:lnTo>
                  <a:lnTo>
                    <a:pt x="102" y="40"/>
                  </a:lnTo>
                  <a:lnTo>
                    <a:pt x="119" y="44"/>
                  </a:lnTo>
                  <a:lnTo>
                    <a:pt x="136" y="49"/>
                  </a:lnTo>
                  <a:lnTo>
                    <a:pt x="152" y="56"/>
                  </a:lnTo>
                  <a:lnTo>
                    <a:pt x="168" y="62"/>
                  </a:lnTo>
                  <a:lnTo>
                    <a:pt x="184" y="70"/>
                  </a:lnTo>
                  <a:lnTo>
                    <a:pt x="199" y="78"/>
                  </a:lnTo>
                  <a:lnTo>
                    <a:pt x="214" y="87"/>
                  </a:lnTo>
                  <a:lnTo>
                    <a:pt x="228" y="97"/>
                  </a:lnTo>
                  <a:lnTo>
                    <a:pt x="242" y="106"/>
                  </a:lnTo>
                  <a:lnTo>
                    <a:pt x="256" y="117"/>
                  </a:lnTo>
                  <a:lnTo>
                    <a:pt x="269" y="129"/>
                  </a:lnTo>
                  <a:lnTo>
                    <a:pt x="281" y="140"/>
                  </a:lnTo>
                  <a:lnTo>
                    <a:pt x="293" y="152"/>
                  </a:lnTo>
                  <a:lnTo>
                    <a:pt x="304" y="165"/>
                  </a:lnTo>
                  <a:lnTo>
                    <a:pt x="315" y="179"/>
                  </a:lnTo>
                  <a:lnTo>
                    <a:pt x="325" y="193"/>
                  </a:lnTo>
                  <a:lnTo>
                    <a:pt x="334" y="207"/>
                  </a:lnTo>
                  <a:lnTo>
                    <a:pt x="344" y="222"/>
                  </a:lnTo>
                  <a:lnTo>
                    <a:pt x="351" y="237"/>
                  </a:lnTo>
                  <a:lnTo>
                    <a:pt x="359" y="253"/>
                  </a:lnTo>
                  <a:lnTo>
                    <a:pt x="365" y="269"/>
                  </a:lnTo>
                  <a:lnTo>
                    <a:pt x="372" y="285"/>
                  </a:lnTo>
                  <a:lnTo>
                    <a:pt x="377" y="302"/>
                  </a:lnTo>
                  <a:lnTo>
                    <a:pt x="381" y="319"/>
                  </a:lnTo>
                  <a:lnTo>
                    <a:pt x="385" y="337"/>
                  </a:lnTo>
                  <a:lnTo>
                    <a:pt x="388" y="355"/>
                  </a:lnTo>
                  <a:lnTo>
                    <a:pt x="390" y="373"/>
                  </a:lnTo>
                  <a:lnTo>
                    <a:pt x="391" y="391"/>
                  </a:lnTo>
                  <a:lnTo>
                    <a:pt x="30" y="390"/>
                  </a:lnTo>
                  <a:close/>
                  <a:moveTo>
                    <a:pt x="15" y="0"/>
                  </a:moveTo>
                  <a:lnTo>
                    <a:pt x="13" y="0"/>
                  </a:lnTo>
                  <a:lnTo>
                    <a:pt x="10" y="1"/>
                  </a:lnTo>
                  <a:lnTo>
                    <a:pt x="7" y="2"/>
                  </a:lnTo>
                  <a:lnTo>
                    <a:pt x="5" y="4"/>
                  </a:lnTo>
                  <a:lnTo>
                    <a:pt x="3" y="7"/>
                  </a:lnTo>
                  <a:lnTo>
                    <a:pt x="2" y="9"/>
                  </a:lnTo>
                  <a:lnTo>
                    <a:pt x="1" y="12"/>
                  </a:lnTo>
                  <a:lnTo>
                    <a:pt x="0" y="15"/>
                  </a:lnTo>
                  <a:lnTo>
                    <a:pt x="0" y="406"/>
                  </a:lnTo>
                  <a:lnTo>
                    <a:pt x="1" y="408"/>
                  </a:lnTo>
                  <a:lnTo>
                    <a:pt x="2" y="411"/>
                  </a:lnTo>
                  <a:lnTo>
                    <a:pt x="3" y="414"/>
                  </a:lnTo>
                  <a:lnTo>
                    <a:pt x="5" y="417"/>
                  </a:lnTo>
                  <a:lnTo>
                    <a:pt x="7" y="418"/>
                  </a:lnTo>
                  <a:lnTo>
                    <a:pt x="10" y="420"/>
                  </a:lnTo>
                  <a:lnTo>
                    <a:pt x="13" y="420"/>
                  </a:lnTo>
                  <a:lnTo>
                    <a:pt x="15" y="421"/>
                  </a:lnTo>
                  <a:lnTo>
                    <a:pt x="406" y="421"/>
                  </a:lnTo>
                  <a:lnTo>
                    <a:pt x="409" y="420"/>
                  </a:lnTo>
                  <a:lnTo>
                    <a:pt x="412" y="420"/>
                  </a:lnTo>
                  <a:lnTo>
                    <a:pt x="415" y="418"/>
                  </a:lnTo>
                  <a:lnTo>
                    <a:pt x="417" y="417"/>
                  </a:lnTo>
                  <a:lnTo>
                    <a:pt x="419" y="414"/>
                  </a:lnTo>
                  <a:lnTo>
                    <a:pt x="420" y="411"/>
                  </a:lnTo>
                  <a:lnTo>
                    <a:pt x="421" y="408"/>
                  </a:lnTo>
                  <a:lnTo>
                    <a:pt x="421" y="406"/>
                  </a:lnTo>
                  <a:lnTo>
                    <a:pt x="421" y="385"/>
                  </a:lnTo>
                  <a:lnTo>
                    <a:pt x="419" y="364"/>
                  </a:lnTo>
                  <a:lnTo>
                    <a:pt x="417" y="344"/>
                  </a:lnTo>
                  <a:lnTo>
                    <a:pt x="413" y="324"/>
                  </a:lnTo>
                  <a:lnTo>
                    <a:pt x="408" y="304"/>
                  </a:lnTo>
                  <a:lnTo>
                    <a:pt x="403" y="285"/>
                  </a:lnTo>
                  <a:lnTo>
                    <a:pt x="396" y="266"/>
                  </a:lnTo>
                  <a:lnTo>
                    <a:pt x="390" y="248"/>
                  </a:lnTo>
                  <a:lnTo>
                    <a:pt x="381" y="229"/>
                  </a:lnTo>
                  <a:lnTo>
                    <a:pt x="373" y="212"/>
                  </a:lnTo>
                  <a:lnTo>
                    <a:pt x="362" y="195"/>
                  </a:lnTo>
                  <a:lnTo>
                    <a:pt x="352" y="179"/>
                  </a:lnTo>
                  <a:lnTo>
                    <a:pt x="341" y="163"/>
                  </a:lnTo>
                  <a:lnTo>
                    <a:pt x="329" y="148"/>
                  </a:lnTo>
                  <a:lnTo>
                    <a:pt x="316" y="133"/>
                  </a:lnTo>
                  <a:lnTo>
                    <a:pt x="302" y="119"/>
                  </a:lnTo>
                  <a:lnTo>
                    <a:pt x="288" y="105"/>
                  </a:lnTo>
                  <a:lnTo>
                    <a:pt x="273" y="92"/>
                  </a:lnTo>
                  <a:lnTo>
                    <a:pt x="258" y="80"/>
                  </a:lnTo>
                  <a:lnTo>
                    <a:pt x="242" y="69"/>
                  </a:lnTo>
                  <a:lnTo>
                    <a:pt x="226" y="59"/>
                  </a:lnTo>
                  <a:lnTo>
                    <a:pt x="209" y="48"/>
                  </a:lnTo>
                  <a:lnTo>
                    <a:pt x="192" y="40"/>
                  </a:lnTo>
                  <a:lnTo>
                    <a:pt x="174" y="31"/>
                  </a:lnTo>
                  <a:lnTo>
                    <a:pt x="155" y="25"/>
                  </a:lnTo>
                  <a:lnTo>
                    <a:pt x="136" y="18"/>
                  </a:lnTo>
                  <a:lnTo>
                    <a:pt x="117" y="13"/>
                  </a:lnTo>
                  <a:lnTo>
                    <a:pt x="97" y="8"/>
                  </a:lnTo>
                  <a:lnTo>
                    <a:pt x="77" y="4"/>
                  </a:lnTo>
                  <a:lnTo>
                    <a:pt x="57" y="2"/>
                  </a:lnTo>
                  <a:lnTo>
                    <a:pt x="36"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930" name="Freeform 310">
              <a:extLst>
                <a:ext uri="{FF2B5EF4-FFF2-40B4-BE49-F238E27FC236}">
                  <a16:creationId xmlns:a16="http://schemas.microsoft.com/office/drawing/2014/main" id="{5506ACFA-3299-4999-A674-B961F666A872}"/>
                </a:ext>
              </a:extLst>
            </p:cNvPr>
            <p:cNvSpPr>
              <a:spLocks noEditPoints="1"/>
            </p:cNvSpPr>
            <p:nvPr/>
          </p:nvSpPr>
          <p:spPr bwMode="auto">
            <a:xfrm>
              <a:off x="9882188" y="4246563"/>
              <a:ext cx="257175" cy="257175"/>
            </a:xfrm>
            <a:custGeom>
              <a:avLst/>
              <a:gdLst>
                <a:gd name="T0" fmla="*/ 349 w 812"/>
                <a:gd name="T1" fmla="*/ 778 h 812"/>
                <a:gd name="T2" fmla="*/ 277 w 812"/>
                <a:gd name="T3" fmla="*/ 759 h 812"/>
                <a:gd name="T4" fmla="*/ 211 w 812"/>
                <a:gd name="T5" fmla="*/ 727 h 812"/>
                <a:gd name="T6" fmla="*/ 153 w 812"/>
                <a:gd name="T7" fmla="*/ 684 h 812"/>
                <a:gd name="T8" fmla="*/ 105 w 812"/>
                <a:gd name="T9" fmla="*/ 631 h 812"/>
                <a:gd name="T10" fmla="*/ 67 w 812"/>
                <a:gd name="T11" fmla="*/ 569 h 812"/>
                <a:gd name="T12" fmla="*/ 42 w 812"/>
                <a:gd name="T13" fmla="*/ 499 h 812"/>
                <a:gd name="T14" fmla="*/ 31 w 812"/>
                <a:gd name="T15" fmla="*/ 425 h 812"/>
                <a:gd name="T16" fmla="*/ 34 w 812"/>
                <a:gd name="T17" fmla="*/ 350 h 812"/>
                <a:gd name="T18" fmla="*/ 52 w 812"/>
                <a:gd name="T19" fmla="*/ 280 h 812"/>
                <a:gd name="T20" fmla="*/ 82 w 812"/>
                <a:gd name="T21" fmla="*/ 215 h 812"/>
                <a:gd name="T22" fmla="*/ 124 w 812"/>
                <a:gd name="T23" fmla="*/ 159 h 812"/>
                <a:gd name="T24" fmla="*/ 175 w 812"/>
                <a:gd name="T25" fmla="*/ 109 h 812"/>
                <a:gd name="T26" fmla="*/ 235 w 812"/>
                <a:gd name="T27" fmla="*/ 72 h 812"/>
                <a:gd name="T28" fmla="*/ 301 w 812"/>
                <a:gd name="T29" fmla="*/ 45 h 812"/>
                <a:gd name="T30" fmla="*/ 373 w 812"/>
                <a:gd name="T31" fmla="*/ 31 h 812"/>
                <a:gd name="T32" fmla="*/ 392 w 812"/>
                <a:gd name="T33" fmla="*/ 411 h 812"/>
                <a:gd name="T34" fmla="*/ 401 w 812"/>
                <a:gd name="T35" fmla="*/ 420 h 812"/>
                <a:gd name="T36" fmla="*/ 781 w 812"/>
                <a:gd name="T37" fmla="*/ 439 h 812"/>
                <a:gd name="T38" fmla="*/ 767 w 812"/>
                <a:gd name="T39" fmla="*/ 511 h 812"/>
                <a:gd name="T40" fmla="*/ 740 w 812"/>
                <a:gd name="T41" fmla="*/ 578 h 812"/>
                <a:gd name="T42" fmla="*/ 703 w 812"/>
                <a:gd name="T43" fmla="*/ 637 h 812"/>
                <a:gd name="T44" fmla="*/ 653 w 812"/>
                <a:gd name="T45" fmla="*/ 688 h 812"/>
                <a:gd name="T46" fmla="*/ 597 w 812"/>
                <a:gd name="T47" fmla="*/ 730 h 812"/>
                <a:gd name="T48" fmla="*/ 532 w 812"/>
                <a:gd name="T49" fmla="*/ 760 h 812"/>
                <a:gd name="T50" fmla="*/ 462 w 812"/>
                <a:gd name="T51" fmla="*/ 778 h 812"/>
                <a:gd name="T52" fmla="*/ 797 w 812"/>
                <a:gd name="T53" fmla="*/ 391 h 812"/>
                <a:gd name="T54" fmla="*/ 420 w 812"/>
                <a:gd name="T55" fmla="*/ 9 h 812"/>
                <a:gd name="T56" fmla="*/ 412 w 812"/>
                <a:gd name="T57" fmla="*/ 1 h 812"/>
                <a:gd name="T58" fmla="*/ 365 w 812"/>
                <a:gd name="T59" fmla="*/ 2 h 812"/>
                <a:gd name="T60" fmla="*/ 286 w 812"/>
                <a:gd name="T61" fmla="*/ 18 h 812"/>
                <a:gd name="T62" fmla="*/ 213 w 812"/>
                <a:gd name="T63" fmla="*/ 49 h 812"/>
                <a:gd name="T64" fmla="*/ 148 w 812"/>
                <a:gd name="T65" fmla="*/ 92 h 812"/>
                <a:gd name="T66" fmla="*/ 93 w 812"/>
                <a:gd name="T67" fmla="*/ 148 h 812"/>
                <a:gd name="T68" fmla="*/ 49 w 812"/>
                <a:gd name="T69" fmla="*/ 212 h 812"/>
                <a:gd name="T70" fmla="*/ 18 w 812"/>
                <a:gd name="T71" fmla="*/ 285 h 812"/>
                <a:gd name="T72" fmla="*/ 2 w 812"/>
                <a:gd name="T73" fmla="*/ 364 h 812"/>
                <a:gd name="T74" fmla="*/ 2 w 812"/>
                <a:gd name="T75" fmla="*/ 448 h 812"/>
                <a:gd name="T76" fmla="*/ 18 w 812"/>
                <a:gd name="T77" fmla="*/ 526 h 812"/>
                <a:gd name="T78" fmla="*/ 49 w 812"/>
                <a:gd name="T79" fmla="*/ 599 h 812"/>
                <a:gd name="T80" fmla="*/ 93 w 812"/>
                <a:gd name="T81" fmla="*/ 664 h 812"/>
                <a:gd name="T82" fmla="*/ 148 w 812"/>
                <a:gd name="T83" fmla="*/ 719 h 812"/>
                <a:gd name="T84" fmla="*/ 213 w 812"/>
                <a:gd name="T85" fmla="*/ 763 h 812"/>
                <a:gd name="T86" fmla="*/ 286 w 812"/>
                <a:gd name="T87" fmla="*/ 794 h 812"/>
                <a:gd name="T88" fmla="*/ 365 w 812"/>
                <a:gd name="T89" fmla="*/ 810 h 812"/>
                <a:gd name="T90" fmla="*/ 448 w 812"/>
                <a:gd name="T91" fmla="*/ 810 h 812"/>
                <a:gd name="T92" fmla="*/ 527 w 812"/>
                <a:gd name="T93" fmla="*/ 794 h 812"/>
                <a:gd name="T94" fmla="*/ 600 w 812"/>
                <a:gd name="T95" fmla="*/ 763 h 812"/>
                <a:gd name="T96" fmla="*/ 664 w 812"/>
                <a:gd name="T97" fmla="*/ 719 h 812"/>
                <a:gd name="T98" fmla="*/ 720 w 812"/>
                <a:gd name="T99" fmla="*/ 664 h 812"/>
                <a:gd name="T100" fmla="*/ 763 w 812"/>
                <a:gd name="T101" fmla="*/ 599 h 812"/>
                <a:gd name="T102" fmla="*/ 794 w 812"/>
                <a:gd name="T103" fmla="*/ 526 h 812"/>
                <a:gd name="T104" fmla="*/ 810 w 812"/>
                <a:gd name="T105" fmla="*/ 448 h 812"/>
                <a:gd name="T106" fmla="*/ 811 w 812"/>
                <a:gd name="T107" fmla="*/ 400 h 812"/>
                <a:gd name="T108" fmla="*/ 803 w 812"/>
                <a:gd name="T109" fmla="*/ 39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2" h="812">
                  <a:moveTo>
                    <a:pt x="406" y="782"/>
                  </a:moveTo>
                  <a:lnTo>
                    <a:pt x="387" y="781"/>
                  </a:lnTo>
                  <a:lnTo>
                    <a:pt x="367" y="780"/>
                  </a:lnTo>
                  <a:lnTo>
                    <a:pt x="349" y="778"/>
                  </a:lnTo>
                  <a:lnTo>
                    <a:pt x="331" y="775"/>
                  </a:lnTo>
                  <a:lnTo>
                    <a:pt x="313" y="770"/>
                  </a:lnTo>
                  <a:lnTo>
                    <a:pt x="295" y="765"/>
                  </a:lnTo>
                  <a:lnTo>
                    <a:pt x="277" y="759"/>
                  </a:lnTo>
                  <a:lnTo>
                    <a:pt x="260" y="752"/>
                  </a:lnTo>
                  <a:lnTo>
                    <a:pt x="243" y="745"/>
                  </a:lnTo>
                  <a:lnTo>
                    <a:pt x="227" y="736"/>
                  </a:lnTo>
                  <a:lnTo>
                    <a:pt x="211" y="727"/>
                  </a:lnTo>
                  <a:lnTo>
                    <a:pt x="196" y="718"/>
                  </a:lnTo>
                  <a:lnTo>
                    <a:pt x="181" y="707"/>
                  </a:lnTo>
                  <a:lnTo>
                    <a:pt x="167" y="695"/>
                  </a:lnTo>
                  <a:lnTo>
                    <a:pt x="153" y="684"/>
                  </a:lnTo>
                  <a:lnTo>
                    <a:pt x="140" y="672"/>
                  </a:lnTo>
                  <a:lnTo>
                    <a:pt x="129" y="659"/>
                  </a:lnTo>
                  <a:lnTo>
                    <a:pt x="117" y="645"/>
                  </a:lnTo>
                  <a:lnTo>
                    <a:pt x="105" y="631"/>
                  </a:lnTo>
                  <a:lnTo>
                    <a:pt x="94" y="616"/>
                  </a:lnTo>
                  <a:lnTo>
                    <a:pt x="85" y="601"/>
                  </a:lnTo>
                  <a:lnTo>
                    <a:pt x="76" y="585"/>
                  </a:lnTo>
                  <a:lnTo>
                    <a:pt x="67" y="569"/>
                  </a:lnTo>
                  <a:lnTo>
                    <a:pt x="60" y="552"/>
                  </a:lnTo>
                  <a:lnTo>
                    <a:pt x="54" y="535"/>
                  </a:lnTo>
                  <a:lnTo>
                    <a:pt x="47" y="518"/>
                  </a:lnTo>
                  <a:lnTo>
                    <a:pt x="42" y="499"/>
                  </a:lnTo>
                  <a:lnTo>
                    <a:pt x="37" y="481"/>
                  </a:lnTo>
                  <a:lnTo>
                    <a:pt x="34" y="463"/>
                  </a:lnTo>
                  <a:lnTo>
                    <a:pt x="32" y="445"/>
                  </a:lnTo>
                  <a:lnTo>
                    <a:pt x="31" y="425"/>
                  </a:lnTo>
                  <a:lnTo>
                    <a:pt x="30" y="406"/>
                  </a:lnTo>
                  <a:lnTo>
                    <a:pt x="31" y="387"/>
                  </a:lnTo>
                  <a:lnTo>
                    <a:pt x="32" y="369"/>
                  </a:lnTo>
                  <a:lnTo>
                    <a:pt x="34" y="350"/>
                  </a:lnTo>
                  <a:lnTo>
                    <a:pt x="37" y="332"/>
                  </a:lnTo>
                  <a:lnTo>
                    <a:pt x="42" y="314"/>
                  </a:lnTo>
                  <a:lnTo>
                    <a:pt x="46" y="297"/>
                  </a:lnTo>
                  <a:lnTo>
                    <a:pt x="52" y="280"/>
                  </a:lnTo>
                  <a:lnTo>
                    <a:pt x="59" y="263"/>
                  </a:lnTo>
                  <a:lnTo>
                    <a:pt x="65" y="247"/>
                  </a:lnTo>
                  <a:lnTo>
                    <a:pt x="74" y="230"/>
                  </a:lnTo>
                  <a:lnTo>
                    <a:pt x="82" y="215"/>
                  </a:lnTo>
                  <a:lnTo>
                    <a:pt x="92" y="200"/>
                  </a:lnTo>
                  <a:lnTo>
                    <a:pt x="102" y="185"/>
                  </a:lnTo>
                  <a:lnTo>
                    <a:pt x="112" y="172"/>
                  </a:lnTo>
                  <a:lnTo>
                    <a:pt x="124" y="159"/>
                  </a:lnTo>
                  <a:lnTo>
                    <a:pt x="136" y="145"/>
                  </a:lnTo>
                  <a:lnTo>
                    <a:pt x="148" y="133"/>
                  </a:lnTo>
                  <a:lnTo>
                    <a:pt x="162" y="121"/>
                  </a:lnTo>
                  <a:lnTo>
                    <a:pt x="175" y="109"/>
                  </a:lnTo>
                  <a:lnTo>
                    <a:pt x="189" y="100"/>
                  </a:lnTo>
                  <a:lnTo>
                    <a:pt x="204" y="89"/>
                  </a:lnTo>
                  <a:lnTo>
                    <a:pt x="219" y="80"/>
                  </a:lnTo>
                  <a:lnTo>
                    <a:pt x="235" y="72"/>
                  </a:lnTo>
                  <a:lnTo>
                    <a:pt x="251" y="64"/>
                  </a:lnTo>
                  <a:lnTo>
                    <a:pt x="267" y="57"/>
                  </a:lnTo>
                  <a:lnTo>
                    <a:pt x="284" y="50"/>
                  </a:lnTo>
                  <a:lnTo>
                    <a:pt x="301" y="45"/>
                  </a:lnTo>
                  <a:lnTo>
                    <a:pt x="318" y="41"/>
                  </a:lnTo>
                  <a:lnTo>
                    <a:pt x="336" y="37"/>
                  </a:lnTo>
                  <a:lnTo>
                    <a:pt x="355" y="33"/>
                  </a:lnTo>
                  <a:lnTo>
                    <a:pt x="373" y="31"/>
                  </a:lnTo>
                  <a:lnTo>
                    <a:pt x="391" y="30"/>
                  </a:lnTo>
                  <a:lnTo>
                    <a:pt x="391" y="406"/>
                  </a:lnTo>
                  <a:lnTo>
                    <a:pt x="391" y="409"/>
                  </a:lnTo>
                  <a:lnTo>
                    <a:pt x="392" y="411"/>
                  </a:lnTo>
                  <a:lnTo>
                    <a:pt x="394" y="415"/>
                  </a:lnTo>
                  <a:lnTo>
                    <a:pt x="395" y="417"/>
                  </a:lnTo>
                  <a:lnTo>
                    <a:pt x="397" y="418"/>
                  </a:lnTo>
                  <a:lnTo>
                    <a:pt x="401" y="420"/>
                  </a:lnTo>
                  <a:lnTo>
                    <a:pt x="403" y="421"/>
                  </a:lnTo>
                  <a:lnTo>
                    <a:pt x="406" y="421"/>
                  </a:lnTo>
                  <a:lnTo>
                    <a:pt x="782" y="421"/>
                  </a:lnTo>
                  <a:lnTo>
                    <a:pt x="781" y="439"/>
                  </a:lnTo>
                  <a:lnTo>
                    <a:pt x="779" y="458"/>
                  </a:lnTo>
                  <a:lnTo>
                    <a:pt x="776" y="476"/>
                  </a:lnTo>
                  <a:lnTo>
                    <a:pt x="771" y="494"/>
                  </a:lnTo>
                  <a:lnTo>
                    <a:pt x="767" y="511"/>
                  </a:lnTo>
                  <a:lnTo>
                    <a:pt x="762" y="528"/>
                  </a:lnTo>
                  <a:lnTo>
                    <a:pt x="755" y="545"/>
                  </a:lnTo>
                  <a:lnTo>
                    <a:pt x="748" y="561"/>
                  </a:lnTo>
                  <a:lnTo>
                    <a:pt x="740" y="578"/>
                  </a:lnTo>
                  <a:lnTo>
                    <a:pt x="732" y="594"/>
                  </a:lnTo>
                  <a:lnTo>
                    <a:pt x="723" y="609"/>
                  </a:lnTo>
                  <a:lnTo>
                    <a:pt x="712" y="624"/>
                  </a:lnTo>
                  <a:lnTo>
                    <a:pt x="703" y="637"/>
                  </a:lnTo>
                  <a:lnTo>
                    <a:pt x="691" y="650"/>
                  </a:lnTo>
                  <a:lnTo>
                    <a:pt x="679" y="664"/>
                  </a:lnTo>
                  <a:lnTo>
                    <a:pt x="667" y="676"/>
                  </a:lnTo>
                  <a:lnTo>
                    <a:pt x="653" y="688"/>
                  </a:lnTo>
                  <a:lnTo>
                    <a:pt x="641" y="700"/>
                  </a:lnTo>
                  <a:lnTo>
                    <a:pt x="627" y="710"/>
                  </a:lnTo>
                  <a:lnTo>
                    <a:pt x="612" y="720"/>
                  </a:lnTo>
                  <a:lnTo>
                    <a:pt x="597" y="730"/>
                  </a:lnTo>
                  <a:lnTo>
                    <a:pt x="582" y="738"/>
                  </a:lnTo>
                  <a:lnTo>
                    <a:pt x="566" y="747"/>
                  </a:lnTo>
                  <a:lnTo>
                    <a:pt x="550" y="753"/>
                  </a:lnTo>
                  <a:lnTo>
                    <a:pt x="532" y="760"/>
                  </a:lnTo>
                  <a:lnTo>
                    <a:pt x="515" y="766"/>
                  </a:lnTo>
                  <a:lnTo>
                    <a:pt x="498" y="770"/>
                  </a:lnTo>
                  <a:lnTo>
                    <a:pt x="480" y="775"/>
                  </a:lnTo>
                  <a:lnTo>
                    <a:pt x="462" y="778"/>
                  </a:lnTo>
                  <a:lnTo>
                    <a:pt x="443" y="780"/>
                  </a:lnTo>
                  <a:lnTo>
                    <a:pt x="425" y="781"/>
                  </a:lnTo>
                  <a:lnTo>
                    <a:pt x="406" y="782"/>
                  </a:lnTo>
                  <a:close/>
                  <a:moveTo>
                    <a:pt x="797" y="391"/>
                  </a:moveTo>
                  <a:lnTo>
                    <a:pt x="421" y="391"/>
                  </a:lnTo>
                  <a:lnTo>
                    <a:pt x="421" y="15"/>
                  </a:lnTo>
                  <a:lnTo>
                    <a:pt x="421" y="12"/>
                  </a:lnTo>
                  <a:lnTo>
                    <a:pt x="420" y="9"/>
                  </a:lnTo>
                  <a:lnTo>
                    <a:pt x="419" y="7"/>
                  </a:lnTo>
                  <a:lnTo>
                    <a:pt x="417" y="4"/>
                  </a:lnTo>
                  <a:lnTo>
                    <a:pt x="415" y="2"/>
                  </a:lnTo>
                  <a:lnTo>
                    <a:pt x="412" y="1"/>
                  </a:lnTo>
                  <a:lnTo>
                    <a:pt x="409" y="0"/>
                  </a:lnTo>
                  <a:lnTo>
                    <a:pt x="406" y="0"/>
                  </a:lnTo>
                  <a:lnTo>
                    <a:pt x="386" y="0"/>
                  </a:lnTo>
                  <a:lnTo>
                    <a:pt x="365" y="2"/>
                  </a:lnTo>
                  <a:lnTo>
                    <a:pt x="345" y="4"/>
                  </a:lnTo>
                  <a:lnTo>
                    <a:pt x="325" y="9"/>
                  </a:lnTo>
                  <a:lnTo>
                    <a:pt x="305" y="13"/>
                  </a:lnTo>
                  <a:lnTo>
                    <a:pt x="286" y="18"/>
                  </a:lnTo>
                  <a:lnTo>
                    <a:pt x="267" y="25"/>
                  </a:lnTo>
                  <a:lnTo>
                    <a:pt x="249" y="32"/>
                  </a:lnTo>
                  <a:lnTo>
                    <a:pt x="230" y="40"/>
                  </a:lnTo>
                  <a:lnTo>
                    <a:pt x="213" y="49"/>
                  </a:lnTo>
                  <a:lnTo>
                    <a:pt x="196" y="59"/>
                  </a:lnTo>
                  <a:lnTo>
                    <a:pt x="179" y="70"/>
                  </a:lnTo>
                  <a:lnTo>
                    <a:pt x="164" y="80"/>
                  </a:lnTo>
                  <a:lnTo>
                    <a:pt x="148" y="92"/>
                  </a:lnTo>
                  <a:lnTo>
                    <a:pt x="134" y="105"/>
                  </a:lnTo>
                  <a:lnTo>
                    <a:pt x="119" y="119"/>
                  </a:lnTo>
                  <a:lnTo>
                    <a:pt x="106" y="133"/>
                  </a:lnTo>
                  <a:lnTo>
                    <a:pt x="93" y="148"/>
                  </a:lnTo>
                  <a:lnTo>
                    <a:pt x="81" y="163"/>
                  </a:lnTo>
                  <a:lnTo>
                    <a:pt x="70" y="179"/>
                  </a:lnTo>
                  <a:lnTo>
                    <a:pt x="59" y="195"/>
                  </a:lnTo>
                  <a:lnTo>
                    <a:pt x="49" y="212"/>
                  </a:lnTo>
                  <a:lnTo>
                    <a:pt x="41" y="230"/>
                  </a:lnTo>
                  <a:lnTo>
                    <a:pt x="32" y="248"/>
                  </a:lnTo>
                  <a:lnTo>
                    <a:pt x="25" y="267"/>
                  </a:lnTo>
                  <a:lnTo>
                    <a:pt x="18" y="285"/>
                  </a:lnTo>
                  <a:lnTo>
                    <a:pt x="13" y="304"/>
                  </a:lnTo>
                  <a:lnTo>
                    <a:pt x="9" y="325"/>
                  </a:lnTo>
                  <a:lnTo>
                    <a:pt x="5" y="344"/>
                  </a:lnTo>
                  <a:lnTo>
                    <a:pt x="2" y="364"/>
                  </a:lnTo>
                  <a:lnTo>
                    <a:pt x="1" y="385"/>
                  </a:lnTo>
                  <a:lnTo>
                    <a:pt x="0" y="406"/>
                  </a:lnTo>
                  <a:lnTo>
                    <a:pt x="1" y="426"/>
                  </a:lnTo>
                  <a:lnTo>
                    <a:pt x="2" y="448"/>
                  </a:lnTo>
                  <a:lnTo>
                    <a:pt x="5" y="467"/>
                  </a:lnTo>
                  <a:lnTo>
                    <a:pt x="9" y="488"/>
                  </a:lnTo>
                  <a:lnTo>
                    <a:pt x="13" y="507"/>
                  </a:lnTo>
                  <a:lnTo>
                    <a:pt x="18" y="526"/>
                  </a:lnTo>
                  <a:lnTo>
                    <a:pt x="25" y="545"/>
                  </a:lnTo>
                  <a:lnTo>
                    <a:pt x="32" y="564"/>
                  </a:lnTo>
                  <a:lnTo>
                    <a:pt x="41" y="582"/>
                  </a:lnTo>
                  <a:lnTo>
                    <a:pt x="49" y="599"/>
                  </a:lnTo>
                  <a:lnTo>
                    <a:pt x="59" y="616"/>
                  </a:lnTo>
                  <a:lnTo>
                    <a:pt x="70" y="633"/>
                  </a:lnTo>
                  <a:lnTo>
                    <a:pt x="81" y="648"/>
                  </a:lnTo>
                  <a:lnTo>
                    <a:pt x="93" y="664"/>
                  </a:lnTo>
                  <a:lnTo>
                    <a:pt x="106" y="678"/>
                  </a:lnTo>
                  <a:lnTo>
                    <a:pt x="119" y="693"/>
                  </a:lnTo>
                  <a:lnTo>
                    <a:pt x="134" y="706"/>
                  </a:lnTo>
                  <a:lnTo>
                    <a:pt x="148" y="719"/>
                  </a:lnTo>
                  <a:lnTo>
                    <a:pt x="164" y="731"/>
                  </a:lnTo>
                  <a:lnTo>
                    <a:pt x="179" y="742"/>
                  </a:lnTo>
                  <a:lnTo>
                    <a:pt x="196" y="753"/>
                  </a:lnTo>
                  <a:lnTo>
                    <a:pt x="213" y="763"/>
                  </a:lnTo>
                  <a:lnTo>
                    <a:pt x="230" y="771"/>
                  </a:lnTo>
                  <a:lnTo>
                    <a:pt x="249" y="780"/>
                  </a:lnTo>
                  <a:lnTo>
                    <a:pt x="267" y="787"/>
                  </a:lnTo>
                  <a:lnTo>
                    <a:pt x="286" y="794"/>
                  </a:lnTo>
                  <a:lnTo>
                    <a:pt x="305" y="799"/>
                  </a:lnTo>
                  <a:lnTo>
                    <a:pt x="325" y="804"/>
                  </a:lnTo>
                  <a:lnTo>
                    <a:pt x="345" y="807"/>
                  </a:lnTo>
                  <a:lnTo>
                    <a:pt x="365" y="810"/>
                  </a:lnTo>
                  <a:lnTo>
                    <a:pt x="386" y="811"/>
                  </a:lnTo>
                  <a:lnTo>
                    <a:pt x="406" y="812"/>
                  </a:lnTo>
                  <a:lnTo>
                    <a:pt x="427" y="811"/>
                  </a:lnTo>
                  <a:lnTo>
                    <a:pt x="448" y="810"/>
                  </a:lnTo>
                  <a:lnTo>
                    <a:pt x="468" y="807"/>
                  </a:lnTo>
                  <a:lnTo>
                    <a:pt x="488" y="804"/>
                  </a:lnTo>
                  <a:lnTo>
                    <a:pt x="508" y="799"/>
                  </a:lnTo>
                  <a:lnTo>
                    <a:pt x="527" y="794"/>
                  </a:lnTo>
                  <a:lnTo>
                    <a:pt x="545" y="787"/>
                  </a:lnTo>
                  <a:lnTo>
                    <a:pt x="565" y="780"/>
                  </a:lnTo>
                  <a:lnTo>
                    <a:pt x="582" y="771"/>
                  </a:lnTo>
                  <a:lnTo>
                    <a:pt x="600" y="763"/>
                  </a:lnTo>
                  <a:lnTo>
                    <a:pt x="617" y="753"/>
                  </a:lnTo>
                  <a:lnTo>
                    <a:pt x="633" y="742"/>
                  </a:lnTo>
                  <a:lnTo>
                    <a:pt x="649" y="731"/>
                  </a:lnTo>
                  <a:lnTo>
                    <a:pt x="664" y="719"/>
                  </a:lnTo>
                  <a:lnTo>
                    <a:pt x="679" y="706"/>
                  </a:lnTo>
                  <a:lnTo>
                    <a:pt x="693" y="693"/>
                  </a:lnTo>
                  <a:lnTo>
                    <a:pt x="707" y="678"/>
                  </a:lnTo>
                  <a:lnTo>
                    <a:pt x="720" y="664"/>
                  </a:lnTo>
                  <a:lnTo>
                    <a:pt x="732" y="648"/>
                  </a:lnTo>
                  <a:lnTo>
                    <a:pt x="742" y="633"/>
                  </a:lnTo>
                  <a:lnTo>
                    <a:pt x="753" y="616"/>
                  </a:lnTo>
                  <a:lnTo>
                    <a:pt x="763" y="599"/>
                  </a:lnTo>
                  <a:lnTo>
                    <a:pt x="772" y="582"/>
                  </a:lnTo>
                  <a:lnTo>
                    <a:pt x="780" y="564"/>
                  </a:lnTo>
                  <a:lnTo>
                    <a:pt x="787" y="545"/>
                  </a:lnTo>
                  <a:lnTo>
                    <a:pt x="794" y="526"/>
                  </a:lnTo>
                  <a:lnTo>
                    <a:pt x="799" y="507"/>
                  </a:lnTo>
                  <a:lnTo>
                    <a:pt x="803" y="488"/>
                  </a:lnTo>
                  <a:lnTo>
                    <a:pt x="808" y="467"/>
                  </a:lnTo>
                  <a:lnTo>
                    <a:pt x="810" y="448"/>
                  </a:lnTo>
                  <a:lnTo>
                    <a:pt x="812" y="426"/>
                  </a:lnTo>
                  <a:lnTo>
                    <a:pt x="812" y="406"/>
                  </a:lnTo>
                  <a:lnTo>
                    <a:pt x="812" y="403"/>
                  </a:lnTo>
                  <a:lnTo>
                    <a:pt x="811" y="400"/>
                  </a:lnTo>
                  <a:lnTo>
                    <a:pt x="810" y="398"/>
                  </a:lnTo>
                  <a:lnTo>
                    <a:pt x="808" y="395"/>
                  </a:lnTo>
                  <a:lnTo>
                    <a:pt x="806" y="393"/>
                  </a:lnTo>
                  <a:lnTo>
                    <a:pt x="803" y="392"/>
                  </a:lnTo>
                  <a:lnTo>
                    <a:pt x="800" y="391"/>
                  </a:lnTo>
                  <a:lnTo>
                    <a:pt x="797" y="391"/>
                  </a:lnTo>
                  <a:lnTo>
                    <a:pt x="797"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1159" name="Group 17">
            <a:extLst>
              <a:ext uri="{FF2B5EF4-FFF2-40B4-BE49-F238E27FC236}">
                <a16:creationId xmlns:a16="http://schemas.microsoft.com/office/drawing/2014/main" id="{99D7CEBB-97C7-4C45-B020-5D947EFFD1F4}"/>
              </a:ext>
            </a:extLst>
          </p:cNvPr>
          <p:cNvGrpSpPr>
            <a:grpSpLocks noChangeAspect="1"/>
          </p:cNvGrpSpPr>
          <p:nvPr/>
        </p:nvGrpSpPr>
        <p:grpSpPr>
          <a:xfrm>
            <a:off x="4450180" y="5956111"/>
            <a:ext cx="285619" cy="285619"/>
            <a:chOff x="8162079" y="2506555"/>
            <a:chExt cx="288323" cy="287091"/>
          </a:xfrm>
          <a:solidFill>
            <a:schemeClr val="bg2"/>
          </a:solidFill>
          <a:effectLst/>
        </p:grpSpPr>
        <p:sp>
          <p:nvSpPr>
            <p:cNvPr id="1218" name="Freeform 325">
              <a:extLst>
                <a:ext uri="{FF2B5EF4-FFF2-40B4-BE49-F238E27FC236}">
                  <a16:creationId xmlns:a16="http://schemas.microsoft.com/office/drawing/2014/main" id="{93F54B6E-B4AB-46A0-A373-8EF3F71A138A}"/>
                </a:ext>
              </a:extLst>
            </p:cNvPr>
            <p:cNvSpPr>
              <a:spLocks noEditPoints="1"/>
            </p:cNvSpPr>
            <p:nvPr/>
          </p:nvSpPr>
          <p:spPr bwMode="auto">
            <a:xfrm>
              <a:off x="8162079" y="2506555"/>
              <a:ext cx="288323" cy="287091"/>
            </a:xfrm>
            <a:custGeom>
              <a:avLst/>
              <a:gdLst>
                <a:gd name="T0" fmla="*/ 379 w 932"/>
                <a:gd name="T1" fmla="*/ 892 h 932"/>
                <a:gd name="T2" fmla="*/ 278 w 932"/>
                <a:gd name="T3" fmla="*/ 858 h 932"/>
                <a:gd name="T4" fmla="*/ 190 w 932"/>
                <a:gd name="T5" fmla="*/ 802 h 932"/>
                <a:gd name="T6" fmla="*/ 118 w 932"/>
                <a:gd name="T7" fmla="*/ 727 h 932"/>
                <a:gd name="T8" fmla="*/ 65 w 932"/>
                <a:gd name="T9" fmla="*/ 636 h 932"/>
                <a:gd name="T10" fmla="*/ 35 w 932"/>
                <a:gd name="T11" fmla="*/ 532 h 932"/>
                <a:gd name="T12" fmla="*/ 33 w 932"/>
                <a:gd name="T13" fmla="*/ 421 h 932"/>
                <a:gd name="T14" fmla="*/ 58 w 932"/>
                <a:gd name="T15" fmla="*/ 317 h 932"/>
                <a:gd name="T16" fmla="*/ 105 w 932"/>
                <a:gd name="T17" fmla="*/ 224 h 932"/>
                <a:gd name="T18" fmla="*/ 173 w 932"/>
                <a:gd name="T19" fmla="*/ 145 h 932"/>
                <a:gd name="T20" fmla="*/ 259 w 932"/>
                <a:gd name="T21" fmla="*/ 84 h 932"/>
                <a:gd name="T22" fmla="*/ 358 w 932"/>
                <a:gd name="T23" fmla="*/ 45 h 932"/>
                <a:gd name="T24" fmla="*/ 466 w 932"/>
                <a:gd name="T25" fmla="*/ 31 h 932"/>
                <a:gd name="T26" fmla="*/ 574 w 932"/>
                <a:gd name="T27" fmla="*/ 45 h 932"/>
                <a:gd name="T28" fmla="*/ 673 w 932"/>
                <a:gd name="T29" fmla="*/ 84 h 932"/>
                <a:gd name="T30" fmla="*/ 759 w 932"/>
                <a:gd name="T31" fmla="*/ 145 h 932"/>
                <a:gd name="T32" fmla="*/ 826 w 932"/>
                <a:gd name="T33" fmla="*/ 224 h 932"/>
                <a:gd name="T34" fmla="*/ 874 w 932"/>
                <a:gd name="T35" fmla="*/ 317 h 932"/>
                <a:gd name="T36" fmla="*/ 899 w 932"/>
                <a:gd name="T37" fmla="*/ 421 h 932"/>
                <a:gd name="T38" fmla="*/ 896 w 932"/>
                <a:gd name="T39" fmla="*/ 532 h 932"/>
                <a:gd name="T40" fmla="*/ 866 w 932"/>
                <a:gd name="T41" fmla="*/ 636 h 932"/>
                <a:gd name="T42" fmla="*/ 814 w 932"/>
                <a:gd name="T43" fmla="*/ 727 h 932"/>
                <a:gd name="T44" fmla="*/ 743 w 932"/>
                <a:gd name="T45" fmla="*/ 802 h 932"/>
                <a:gd name="T46" fmla="*/ 654 w 932"/>
                <a:gd name="T47" fmla="*/ 858 h 932"/>
                <a:gd name="T48" fmla="*/ 553 w 932"/>
                <a:gd name="T49" fmla="*/ 892 h 932"/>
                <a:gd name="T50" fmla="*/ 466 w 932"/>
                <a:gd name="T51" fmla="*/ 0 h 932"/>
                <a:gd name="T52" fmla="*/ 350 w 932"/>
                <a:gd name="T53" fmla="*/ 15 h 932"/>
                <a:gd name="T54" fmla="*/ 244 w 932"/>
                <a:gd name="T55" fmla="*/ 56 h 932"/>
                <a:gd name="T56" fmla="*/ 152 w 932"/>
                <a:gd name="T57" fmla="*/ 121 h 932"/>
                <a:gd name="T58" fmla="*/ 80 w 932"/>
                <a:gd name="T59" fmla="*/ 206 h 932"/>
                <a:gd name="T60" fmla="*/ 28 w 932"/>
                <a:gd name="T61" fmla="*/ 306 h 932"/>
                <a:gd name="T62" fmla="*/ 2 w 932"/>
                <a:gd name="T63" fmla="*/ 419 h 932"/>
                <a:gd name="T64" fmla="*/ 5 w 932"/>
                <a:gd name="T65" fmla="*/ 537 h 932"/>
                <a:gd name="T66" fmla="*/ 37 w 932"/>
                <a:gd name="T67" fmla="*/ 648 h 932"/>
                <a:gd name="T68" fmla="*/ 92 w 932"/>
                <a:gd name="T69" fmla="*/ 745 h 932"/>
                <a:gd name="T70" fmla="*/ 170 w 932"/>
                <a:gd name="T71" fmla="*/ 826 h 932"/>
                <a:gd name="T72" fmla="*/ 264 w 932"/>
                <a:gd name="T73" fmla="*/ 887 h 932"/>
                <a:gd name="T74" fmla="*/ 372 w 932"/>
                <a:gd name="T75" fmla="*/ 924 h 932"/>
                <a:gd name="T76" fmla="*/ 490 w 932"/>
                <a:gd name="T77" fmla="*/ 932 h 932"/>
                <a:gd name="T78" fmla="*/ 604 w 932"/>
                <a:gd name="T79" fmla="*/ 911 h 932"/>
                <a:gd name="T80" fmla="*/ 708 w 932"/>
                <a:gd name="T81" fmla="*/ 865 h 932"/>
                <a:gd name="T82" fmla="*/ 795 w 932"/>
                <a:gd name="T83" fmla="*/ 796 h 932"/>
                <a:gd name="T84" fmla="*/ 864 w 932"/>
                <a:gd name="T85" fmla="*/ 708 h 932"/>
                <a:gd name="T86" fmla="*/ 911 w 932"/>
                <a:gd name="T87" fmla="*/ 605 h 932"/>
                <a:gd name="T88" fmla="*/ 932 w 932"/>
                <a:gd name="T89" fmla="*/ 490 h 932"/>
                <a:gd name="T90" fmla="*/ 923 w 932"/>
                <a:gd name="T91" fmla="*/ 372 h 932"/>
                <a:gd name="T92" fmla="*/ 886 w 932"/>
                <a:gd name="T93" fmla="*/ 265 h 932"/>
                <a:gd name="T94" fmla="*/ 825 w 932"/>
                <a:gd name="T95" fmla="*/ 170 h 932"/>
                <a:gd name="T96" fmla="*/ 744 w 932"/>
                <a:gd name="T97" fmla="*/ 92 h 932"/>
                <a:gd name="T98" fmla="*/ 648 w 932"/>
                <a:gd name="T99" fmla="*/ 37 h 932"/>
                <a:gd name="T100" fmla="*/ 536 w 932"/>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2" h="932">
                  <a:moveTo>
                    <a:pt x="466" y="901"/>
                  </a:moveTo>
                  <a:lnTo>
                    <a:pt x="443" y="901"/>
                  </a:lnTo>
                  <a:lnTo>
                    <a:pt x="422" y="899"/>
                  </a:lnTo>
                  <a:lnTo>
                    <a:pt x="400" y="897"/>
                  </a:lnTo>
                  <a:lnTo>
                    <a:pt x="379" y="892"/>
                  </a:lnTo>
                  <a:lnTo>
                    <a:pt x="358" y="888"/>
                  </a:lnTo>
                  <a:lnTo>
                    <a:pt x="337" y="881"/>
                  </a:lnTo>
                  <a:lnTo>
                    <a:pt x="317" y="875"/>
                  </a:lnTo>
                  <a:lnTo>
                    <a:pt x="297" y="867"/>
                  </a:lnTo>
                  <a:lnTo>
                    <a:pt x="278" y="858"/>
                  </a:lnTo>
                  <a:lnTo>
                    <a:pt x="259" y="849"/>
                  </a:lnTo>
                  <a:lnTo>
                    <a:pt x="241" y="838"/>
                  </a:lnTo>
                  <a:lnTo>
                    <a:pt x="223" y="827"/>
                  </a:lnTo>
                  <a:lnTo>
                    <a:pt x="205" y="815"/>
                  </a:lnTo>
                  <a:lnTo>
                    <a:pt x="190" y="802"/>
                  </a:lnTo>
                  <a:lnTo>
                    <a:pt x="173" y="788"/>
                  </a:lnTo>
                  <a:lnTo>
                    <a:pt x="159" y="774"/>
                  </a:lnTo>
                  <a:lnTo>
                    <a:pt x="144" y="759"/>
                  </a:lnTo>
                  <a:lnTo>
                    <a:pt x="130" y="742"/>
                  </a:lnTo>
                  <a:lnTo>
                    <a:pt x="118" y="727"/>
                  </a:lnTo>
                  <a:lnTo>
                    <a:pt x="105" y="709"/>
                  </a:lnTo>
                  <a:lnTo>
                    <a:pt x="94" y="691"/>
                  </a:lnTo>
                  <a:lnTo>
                    <a:pt x="83" y="674"/>
                  </a:lnTo>
                  <a:lnTo>
                    <a:pt x="74" y="655"/>
                  </a:lnTo>
                  <a:lnTo>
                    <a:pt x="65" y="636"/>
                  </a:lnTo>
                  <a:lnTo>
                    <a:pt x="58" y="616"/>
                  </a:lnTo>
                  <a:lnTo>
                    <a:pt x="50" y="596"/>
                  </a:lnTo>
                  <a:lnTo>
                    <a:pt x="44" y="575"/>
                  </a:lnTo>
                  <a:lnTo>
                    <a:pt x="40" y="554"/>
                  </a:lnTo>
                  <a:lnTo>
                    <a:pt x="35" y="532"/>
                  </a:lnTo>
                  <a:lnTo>
                    <a:pt x="33" y="510"/>
                  </a:lnTo>
                  <a:lnTo>
                    <a:pt x="31" y="489"/>
                  </a:lnTo>
                  <a:lnTo>
                    <a:pt x="31" y="466"/>
                  </a:lnTo>
                  <a:lnTo>
                    <a:pt x="31" y="444"/>
                  </a:lnTo>
                  <a:lnTo>
                    <a:pt x="33" y="421"/>
                  </a:lnTo>
                  <a:lnTo>
                    <a:pt x="35" y="400"/>
                  </a:lnTo>
                  <a:lnTo>
                    <a:pt x="40" y="379"/>
                  </a:lnTo>
                  <a:lnTo>
                    <a:pt x="44" y="358"/>
                  </a:lnTo>
                  <a:lnTo>
                    <a:pt x="50" y="337"/>
                  </a:lnTo>
                  <a:lnTo>
                    <a:pt x="58" y="317"/>
                  </a:lnTo>
                  <a:lnTo>
                    <a:pt x="65" y="297"/>
                  </a:lnTo>
                  <a:lnTo>
                    <a:pt x="74" y="278"/>
                  </a:lnTo>
                  <a:lnTo>
                    <a:pt x="83" y="259"/>
                  </a:lnTo>
                  <a:lnTo>
                    <a:pt x="94" y="240"/>
                  </a:lnTo>
                  <a:lnTo>
                    <a:pt x="105" y="224"/>
                  </a:lnTo>
                  <a:lnTo>
                    <a:pt x="118" y="206"/>
                  </a:lnTo>
                  <a:lnTo>
                    <a:pt x="130" y="189"/>
                  </a:lnTo>
                  <a:lnTo>
                    <a:pt x="144" y="174"/>
                  </a:lnTo>
                  <a:lnTo>
                    <a:pt x="159" y="159"/>
                  </a:lnTo>
                  <a:lnTo>
                    <a:pt x="173" y="145"/>
                  </a:lnTo>
                  <a:lnTo>
                    <a:pt x="190" y="130"/>
                  </a:lnTo>
                  <a:lnTo>
                    <a:pt x="205" y="118"/>
                  </a:lnTo>
                  <a:lnTo>
                    <a:pt x="223" y="106"/>
                  </a:lnTo>
                  <a:lnTo>
                    <a:pt x="241" y="95"/>
                  </a:lnTo>
                  <a:lnTo>
                    <a:pt x="259" y="84"/>
                  </a:lnTo>
                  <a:lnTo>
                    <a:pt x="278" y="74"/>
                  </a:lnTo>
                  <a:lnTo>
                    <a:pt x="297" y="66"/>
                  </a:lnTo>
                  <a:lnTo>
                    <a:pt x="317" y="58"/>
                  </a:lnTo>
                  <a:lnTo>
                    <a:pt x="337" y="50"/>
                  </a:lnTo>
                  <a:lnTo>
                    <a:pt x="358" y="45"/>
                  </a:lnTo>
                  <a:lnTo>
                    <a:pt x="379" y="40"/>
                  </a:lnTo>
                  <a:lnTo>
                    <a:pt x="400" y="36"/>
                  </a:lnTo>
                  <a:lnTo>
                    <a:pt x="422" y="34"/>
                  </a:lnTo>
                  <a:lnTo>
                    <a:pt x="443" y="31"/>
                  </a:lnTo>
                  <a:lnTo>
                    <a:pt x="466" y="31"/>
                  </a:lnTo>
                  <a:lnTo>
                    <a:pt x="489" y="31"/>
                  </a:lnTo>
                  <a:lnTo>
                    <a:pt x="511" y="34"/>
                  </a:lnTo>
                  <a:lnTo>
                    <a:pt x="532" y="36"/>
                  </a:lnTo>
                  <a:lnTo>
                    <a:pt x="553" y="40"/>
                  </a:lnTo>
                  <a:lnTo>
                    <a:pt x="574" y="45"/>
                  </a:lnTo>
                  <a:lnTo>
                    <a:pt x="595" y="50"/>
                  </a:lnTo>
                  <a:lnTo>
                    <a:pt x="615" y="58"/>
                  </a:lnTo>
                  <a:lnTo>
                    <a:pt x="635" y="66"/>
                  </a:lnTo>
                  <a:lnTo>
                    <a:pt x="654" y="74"/>
                  </a:lnTo>
                  <a:lnTo>
                    <a:pt x="673" y="84"/>
                  </a:lnTo>
                  <a:lnTo>
                    <a:pt x="691" y="95"/>
                  </a:lnTo>
                  <a:lnTo>
                    <a:pt x="709" y="106"/>
                  </a:lnTo>
                  <a:lnTo>
                    <a:pt x="726" y="118"/>
                  </a:lnTo>
                  <a:lnTo>
                    <a:pt x="743" y="130"/>
                  </a:lnTo>
                  <a:lnTo>
                    <a:pt x="759" y="145"/>
                  </a:lnTo>
                  <a:lnTo>
                    <a:pt x="773" y="159"/>
                  </a:lnTo>
                  <a:lnTo>
                    <a:pt x="788" y="174"/>
                  </a:lnTo>
                  <a:lnTo>
                    <a:pt x="802" y="189"/>
                  </a:lnTo>
                  <a:lnTo>
                    <a:pt x="814" y="206"/>
                  </a:lnTo>
                  <a:lnTo>
                    <a:pt x="826" y="224"/>
                  </a:lnTo>
                  <a:lnTo>
                    <a:pt x="838" y="240"/>
                  </a:lnTo>
                  <a:lnTo>
                    <a:pt x="849" y="259"/>
                  </a:lnTo>
                  <a:lnTo>
                    <a:pt x="859" y="278"/>
                  </a:lnTo>
                  <a:lnTo>
                    <a:pt x="866" y="297"/>
                  </a:lnTo>
                  <a:lnTo>
                    <a:pt x="874" y="317"/>
                  </a:lnTo>
                  <a:lnTo>
                    <a:pt x="882" y="337"/>
                  </a:lnTo>
                  <a:lnTo>
                    <a:pt x="888" y="358"/>
                  </a:lnTo>
                  <a:lnTo>
                    <a:pt x="892" y="379"/>
                  </a:lnTo>
                  <a:lnTo>
                    <a:pt x="896" y="400"/>
                  </a:lnTo>
                  <a:lnTo>
                    <a:pt x="899" y="421"/>
                  </a:lnTo>
                  <a:lnTo>
                    <a:pt x="901" y="444"/>
                  </a:lnTo>
                  <a:lnTo>
                    <a:pt x="901" y="466"/>
                  </a:lnTo>
                  <a:lnTo>
                    <a:pt x="901" y="489"/>
                  </a:lnTo>
                  <a:lnTo>
                    <a:pt x="899" y="510"/>
                  </a:lnTo>
                  <a:lnTo>
                    <a:pt x="896" y="532"/>
                  </a:lnTo>
                  <a:lnTo>
                    <a:pt x="892" y="554"/>
                  </a:lnTo>
                  <a:lnTo>
                    <a:pt x="888" y="575"/>
                  </a:lnTo>
                  <a:lnTo>
                    <a:pt x="882" y="596"/>
                  </a:lnTo>
                  <a:lnTo>
                    <a:pt x="874" y="616"/>
                  </a:lnTo>
                  <a:lnTo>
                    <a:pt x="866" y="636"/>
                  </a:lnTo>
                  <a:lnTo>
                    <a:pt x="859" y="655"/>
                  </a:lnTo>
                  <a:lnTo>
                    <a:pt x="849" y="674"/>
                  </a:lnTo>
                  <a:lnTo>
                    <a:pt x="838" y="691"/>
                  </a:lnTo>
                  <a:lnTo>
                    <a:pt x="826" y="709"/>
                  </a:lnTo>
                  <a:lnTo>
                    <a:pt x="814" y="727"/>
                  </a:lnTo>
                  <a:lnTo>
                    <a:pt x="802" y="742"/>
                  </a:lnTo>
                  <a:lnTo>
                    <a:pt x="788" y="759"/>
                  </a:lnTo>
                  <a:lnTo>
                    <a:pt x="773" y="774"/>
                  </a:lnTo>
                  <a:lnTo>
                    <a:pt x="759" y="788"/>
                  </a:lnTo>
                  <a:lnTo>
                    <a:pt x="743" y="802"/>
                  </a:lnTo>
                  <a:lnTo>
                    <a:pt x="726" y="815"/>
                  </a:lnTo>
                  <a:lnTo>
                    <a:pt x="709" y="827"/>
                  </a:lnTo>
                  <a:lnTo>
                    <a:pt x="691" y="838"/>
                  </a:lnTo>
                  <a:lnTo>
                    <a:pt x="673" y="849"/>
                  </a:lnTo>
                  <a:lnTo>
                    <a:pt x="654" y="858"/>
                  </a:lnTo>
                  <a:lnTo>
                    <a:pt x="635" y="867"/>
                  </a:lnTo>
                  <a:lnTo>
                    <a:pt x="615" y="875"/>
                  </a:lnTo>
                  <a:lnTo>
                    <a:pt x="595" y="881"/>
                  </a:lnTo>
                  <a:lnTo>
                    <a:pt x="574" y="888"/>
                  </a:lnTo>
                  <a:lnTo>
                    <a:pt x="553" y="892"/>
                  </a:lnTo>
                  <a:lnTo>
                    <a:pt x="532" y="897"/>
                  </a:lnTo>
                  <a:lnTo>
                    <a:pt x="511" y="899"/>
                  </a:lnTo>
                  <a:lnTo>
                    <a:pt x="489" y="901"/>
                  </a:lnTo>
                  <a:lnTo>
                    <a:pt x="466" y="901"/>
                  </a:lnTo>
                  <a:close/>
                  <a:moveTo>
                    <a:pt x="466" y="0"/>
                  </a:moveTo>
                  <a:lnTo>
                    <a:pt x="442" y="0"/>
                  </a:lnTo>
                  <a:lnTo>
                    <a:pt x="419" y="2"/>
                  </a:lnTo>
                  <a:lnTo>
                    <a:pt x="395" y="6"/>
                  </a:lnTo>
                  <a:lnTo>
                    <a:pt x="372" y="9"/>
                  </a:lnTo>
                  <a:lnTo>
                    <a:pt x="350" y="15"/>
                  </a:lnTo>
                  <a:lnTo>
                    <a:pt x="328" y="21"/>
                  </a:lnTo>
                  <a:lnTo>
                    <a:pt x="305" y="28"/>
                  </a:lnTo>
                  <a:lnTo>
                    <a:pt x="284" y="37"/>
                  </a:lnTo>
                  <a:lnTo>
                    <a:pt x="264" y="46"/>
                  </a:lnTo>
                  <a:lnTo>
                    <a:pt x="244" y="56"/>
                  </a:lnTo>
                  <a:lnTo>
                    <a:pt x="224" y="68"/>
                  </a:lnTo>
                  <a:lnTo>
                    <a:pt x="205" y="79"/>
                  </a:lnTo>
                  <a:lnTo>
                    <a:pt x="188" y="92"/>
                  </a:lnTo>
                  <a:lnTo>
                    <a:pt x="170" y="107"/>
                  </a:lnTo>
                  <a:lnTo>
                    <a:pt x="152" y="121"/>
                  </a:lnTo>
                  <a:lnTo>
                    <a:pt x="137" y="137"/>
                  </a:lnTo>
                  <a:lnTo>
                    <a:pt x="121" y="152"/>
                  </a:lnTo>
                  <a:lnTo>
                    <a:pt x="107" y="170"/>
                  </a:lnTo>
                  <a:lnTo>
                    <a:pt x="92" y="187"/>
                  </a:lnTo>
                  <a:lnTo>
                    <a:pt x="80" y="206"/>
                  </a:lnTo>
                  <a:lnTo>
                    <a:pt x="68" y="225"/>
                  </a:lnTo>
                  <a:lnTo>
                    <a:pt x="57" y="245"/>
                  </a:lnTo>
                  <a:lnTo>
                    <a:pt x="45" y="265"/>
                  </a:lnTo>
                  <a:lnTo>
                    <a:pt x="37" y="285"/>
                  </a:lnTo>
                  <a:lnTo>
                    <a:pt x="28" y="306"/>
                  </a:lnTo>
                  <a:lnTo>
                    <a:pt x="21" y="328"/>
                  </a:lnTo>
                  <a:lnTo>
                    <a:pt x="14" y="350"/>
                  </a:lnTo>
                  <a:lnTo>
                    <a:pt x="9" y="372"/>
                  </a:lnTo>
                  <a:lnTo>
                    <a:pt x="5" y="396"/>
                  </a:lnTo>
                  <a:lnTo>
                    <a:pt x="2" y="419"/>
                  </a:lnTo>
                  <a:lnTo>
                    <a:pt x="0" y="442"/>
                  </a:lnTo>
                  <a:lnTo>
                    <a:pt x="0" y="466"/>
                  </a:lnTo>
                  <a:lnTo>
                    <a:pt x="0" y="490"/>
                  </a:lnTo>
                  <a:lnTo>
                    <a:pt x="2" y="514"/>
                  </a:lnTo>
                  <a:lnTo>
                    <a:pt x="5" y="537"/>
                  </a:lnTo>
                  <a:lnTo>
                    <a:pt x="9" y="560"/>
                  </a:lnTo>
                  <a:lnTo>
                    <a:pt x="14" y="582"/>
                  </a:lnTo>
                  <a:lnTo>
                    <a:pt x="21" y="605"/>
                  </a:lnTo>
                  <a:lnTo>
                    <a:pt x="28" y="627"/>
                  </a:lnTo>
                  <a:lnTo>
                    <a:pt x="37" y="648"/>
                  </a:lnTo>
                  <a:lnTo>
                    <a:pt x="45" y="668"/>
                  </a:lnTo>
                  <a:lnTo>
                    <a:pt x="57" y="688"/>
                  </a:lnTo>
                  <a:lnTo>
                    <a:pt x="68" y="708"/>
                  </a:lnTo>
                  <a:lnTo>
                    <a:pt x="80" y="727"/>
                  </a:lnTo>
                  <a:lnTo>
                    <a:pt x="92" y="745"/>
                  </a:lnTo>
                  <a:lnTo>
                    <a:pt x="107" y="762"/>
                  </a:lnTo>
                  <a:lnTo>
                    <a:pt x="121" y="779"/>
                  </a:lnTo>
                  <a:lnTo>
                    <a:pt x="137" y="796"/>
                  </a:lnTo>
                  <a:lnTo>
                    <a:pt x="152" y="811"/>
                  </a:lnTo>
                  <a:lnTo>
                    <a:pt x="170" y="826"/>
                  </a:lnTo>
                  <a:lnTo>
                    <a:pt x="188" y="840"/>
                  </a:lnTo>
                  <a:lnTo>
                    <a:pt x="205" y="852"/>
                  </a:lnTo>
                  <a:lnTo>
                    <a:pt x="224" y="865"/>
                  </a:lnTo>
                  <a:lnTo>
                    <a:pt x="244" y="876"/>
                  </a:lnTo>
                  <a:lnTo>
                    <a:pt x="264" y="887"/>
                  </a:lnTo>
                  <a:lnTo>
                    <a:pt x="284" y="896"/>
                  </a:lnTo>
                  <a:lnTo>
                    <a:pt x="305" y="905"/>
                  </a:lnTo>
                  <a:lnTo>
                    <a:pt x="328" y="911"/>
                  </a:lnTo>
                  <a:lnTo>
                    <a:pt x="350" y="918"/>
                  </a:lnTo>
                  <a:lnTo>
                    <a:pt x="372" y="924"/>
                  </a:lnTo>
                  <a:lnTo>
                    <a:pt x="395" y="927"/>
                  </a:lnTo>
                  <a:lnTo>
                    <a:pt x="419" y="930"/>
                  </a:lnTo>
                  <a:lnTo>
                    <a:pt x="442" y="932"/>
                  </a:lnTo>
                  <a:lnTo>
                    <a:pt x="466" y="932"/>
                  </a:lnTo>
                  <a:lnTo>
                    <a:pt x="490" y="932"/>
                  </a:lnTo>
                  <a:lnTo>
                    <a:pt x="513" y="930"/>
                  </a:lnTo>
                  <a:lnTo>
                    <a:pt x="536" y="927"/>
                  </a:lnTo>
                  <a:lnTo>
                    <a:pt x="560" y="924"/>
                  </a:lnTo>
                  <a:lnTo>
                    <a:pt x="582" y="918"/>
                  </a:lnTo>
                  <a:lnTo>
                    <a:pt x="604" y="911"/>
                  </a:lnTo>
                  <a:lnTo>
                    <a:pt x="626" y="905"/>
                  </a:lnTo>
                  <a:lnTo>
                    <a:pt x="648" y="896"/>
                  </a:lnTo>
                  <a:lnTo>
                    <a:pt x="668" y="887"/>
                  </a:lnTo>
                  <a:lnTo>
                    <a:pt x="688" y="876"/>
                  </a:lnTo>
                  <a:lnTo>
                    <a:pt x="708" y="865"/>
                  </a:lnTo>
                  <a:lnTo>
                    <a:pt x="726" y="852"/>
                  </a:lnTo>
                  <a:lnTo>
                    <a:pt x="744" y="840"/>
                  </a:lnTo>
                  <a:lnTo>
                    <a:pt x="762" y="826"/>
                  </a:lnTo>
                  <a:lnTo>
                    <a:pt x="780" y="811"/>
                  </a:lnTo>
                  <a:lnTo>
                    <a:pt x="795" y="796"/>
                  </a:lnTo>
                  <a:lnTo>
                    <a:pt x="811" y="779"/>
                  </a:lnTo>
                  <a:lnTo>
                    <a:pt x="825" y="762"/>
                  </a:lnTo>
                  <a:lnTo>
                    <a:pt x="840" y="745"/>
                  </a:lnTo>
                  <a:lnTo>
                    <a:pt x="852" y="727"/>
                  </a:lnTo>
                  <a:lnTo>
                    <a:pt x="864" y="708"/>
                  </a:lnTo>
                  <a:lnTo>
                    <a:pt x="875" y="688"/>
                  </a:lnTo>
                  <a:lnTo>
                    <a:pt x="886" y="668"/>
                  </a:lnTo>
                  <a:lnTo>
                    <a:pt x="895" y="648"/>
                  </a:lnTo>
                  <a:lnTo>
                    <a:pt x="904" y="627"/>
                  </a:lnTo>
                  <a:lnTo>
                    <a:pt x="911" y="605"/>
                  </a:lnTo>
                  <a:lnTo>
                    <a:pt x="918" y="582"/>
                  </a:lnTo>
                  <a:lnTo>
                    <a:pt x="923" y="560"/>
                  </a:lnTo>
                  <a:lnTo>
                    <a:pt x="926" y="537"/>
                  </a:lnTo>
                  <a:lnTo>
                    <a:pt x="930" y="514"/>
                  </a:lnTo>
                  <a:lnTo>
                    <a:pt x="932" y="490"/>
                  </a:lnTo>
                  <a:lnTo>
                    <a:pt x="932" y="466"/>
                  </a:lnTo>
                  <a:lnTo>
                    <a:pt x="932" y="442"/>
                  </a:lnTo>
                  <a:lnTo>
                    <a:pt x="930" y="419"/>
                  </a:lnTo>
                  <a:lnTo>
                    <a:pt x="926" y="396"/>
                  </a:lnTo>
                  <a:lnTo>
                    <a:pt x="923" y="372"/>
                  </a:lnTo>
                  <a:lnTo>
                    <a:pt x="918" y="350"/>
                  </a:lnTo>
                  <a:lnTo>
                    <a:pt x="911" y="328"/>
                  </a:lnTo>
                  <a:lnTo>
                    <a:pt x="904" y="306"/>
                  </a:lnTo>
                  <a:lnTo>
                    <a:pt x="895" y="285"/>
                  </a:lnTo>
                  <a:lnTo>
                    <a:pt x="886" y="265"/>
                  </a:lnTo>
                  <a:lnTo>
                    <a:pt x="875" y="245"/>
                  </a:lnTo>
                  <a:lnTo>
                    <a:pt x="864" y="225"/>
                  </a:lnTo>
                  <a:lnTo>
                    <a:pt x="852" y="206"/>
                  </a:lnTo>
                  <a:lnTo>
                    <a:pt x="840" y="187"/>
                  </a:lnTo>
                  <a:lnTo>
                    <a:pt x="825" y="170"/>
                  </a:lnTo>
                  <a:lnTo>
                    <a:pt x="811" y="152"/>
                  </a:lnTo>
                  <a:lnTo>
                    <a:pt x="795" y="137"/>
                  </a:lnTo>
                  <a:lnTo>
                    <a:pt x="780" y="121"/>
                  </a:lnTo>
                  <a:lnTo>
                    <a:pt x="762" y="107"/>
                  </a:lnTo>
                  <a:lnTo>
                    <a:pt x="744" y="92"/>
                  </a:lnTo>
                  <a:lnTo>
                    <a:pt x="726" y="80"/>
                  </a:lnTo>
                  <a:lnTo>
                    <a:pt x="708" y="68"/>
                  </a:lnTo>
                  <a:lnTo>
                    <a:pt x="688" y="56"/>
                  </a:lnTo>
                  <a:lnTo>
                    <a:pt x="668" y="46"/>
                  </a:lnTo>
                  <a:lnTo>
                    <a:pt x="648" y="37"/>
                  </a:lnTo>
                  <a:lnTo>
                    <a:pt x="626" y="28"/>
                  </a:lnTo>
                  <a:lnTo>
                    <a:pt x="604" y="21"/>
                  </a:lnTo>
                  <a:lnTo>
                    <a:pt x="582" y="15"/>
                  </a:lnTo>
                  <a:lnTo>
                    <a:pt x="560" y="9"/>
                  </a:lnTo>
                  <a:lnTo>
                    <a:pt x="536" y="6"/>
                  </a:lnTo>
                  <a:lnTo>
                    <a:pt x="513" y="2"/>
                  </a:lnTo>
                  <a:lnTo>
                    <a:pt x="490"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9" name="Freeform 326">
              <a:extLst>
                <a:ext uri="{FF2B5EF4-FFF2-40B4-BE49-F238E27FC236}">
                  <a16:creationId xmlns:a16="http://schemas.microsoft.com/office/drawing/2014/main" id="{C77D89F0-1D8B-4F7D-A197-325AE1585CC1}"/>
                </a:ext>
              </a:extLst>
            </p:cNvPr>
            <p:cNvSpPr>
              <a:spLocks noEditPoints="1"/>
            </p:cNvSpPr>
            <p:nvPr/>
          </p:nvSpPr>
          <p:spPr bwMode="auto">
            <a:xfrm>
              <a:off x="8248329" y="2591573"/>
              <a:ext cx="115822" cy="115822"/>
            </a:xfrm>
            <a:custGeom>
              <a:avLst/>
              <a:gdLst>
                <a:gd name="T0" fmla="*/ 341 w 372"/>
                <a:gd name="T1" fmla="*/ 342 h 373"/>
                <a:gd name="T2" fmla="*/ 31 w 372"/>
                <a:gd name="T3" fmla="*/ 342 h 373"/>
                <a:gd name="T4" fmla="*/ 31 w 372"/>
                <a:gd name="T5" fmla="*/ 32 h 373"/>
                <a:gd name="T6" fmla="*/ 341 w 372"/>
                <a:gd name="T7" fmla="*/ 32 h 373"/>
                <a:gd name="T8" fmla="*/ 341 w 372"/>
                <a:gd name="T9" fmla="*/ 342 h 373"/>
                <a:gd name="T10" fmla="*/ 356 w 372"/>
                <a:gd name="T11" fmla="*/ 0 h 373"/>
                <a:gd name="T12" fmla="*/ 15 w 372"/>
                <a:gd name="T13" fmla="*/ 0 h 373"/>
                <a:gd name="T14" fmla="*/ 12 w 372"/>
                <a:gd name="T15" fmla="*/ 1 h 373"/>
                <a:gd name="T16" fmla="*/ 9 w 372"/>
                <a:gd name="T17" fmla="*/ 2 h 373"/>
                <a:gd name="T18" fmla="*/ 7 w 372"/>
                <a:gd name="T19" fmla="*/ 3 h 373"/>
                <a:gd name="T20" fmla="*/ 4 w 372"/>
                <a:gd name="T21" fmla="*/ 6 h 373"/>
                <a:gd name="T22" fmla="*/ 2 w 372"/>
                <a:gd name="T23" fmla="*/ 8 h 373"/>
                <a:gd name="T24" fmla="*/ 1 w 372"/>
                <a:gd name="T25" fmla="*/ 10 h 373"/>
                <a:gd name="T26" fmla="*/ 0 w 372"/>
                <a:gd name="T27" fmla="*/ 13 h 373"/>
                <a:gd name="T28" fmla="*/ 0 w 372"/>
                <a:gd name="T29" fmla="*/ 17 h 373"/>
                <a:gd name="T30" fmla="*/ 0 w 372"/>
                <a:gd name="T31" fmla="*/ 358 h 373"/>
                <a:gd name="T32" fmla="*/ 0 w 372"/>
                <a:gd name="T33" fmla="*/ 361 h 373"/>
                <a:gd name="T34" fmla="*/ 1 w 372"/>
                <a:gd name="T35" fmla="*/ 365 h 373"/>
                <a:gd name="T36" fmla="*/ 2 w 372"/>
                <a:gd name="T37" fmla="*/ 367 h 373"/>
                <a:gd name="T38" fmla="*/ 4 w 372"/>
                <a:gd name="T39" fmla="*/ 369 h 373"/>
                <a:gd name="T40" fmla="*/ 7 w 372"/>
                <a:gd name="T41" fmla="*/ 371 h 373"/>
                <a:gd name="T42" fmla="*/ 9 w 372"/>
                <a:gd name="T43" fmla="*/ 372 h 373"/>
                <a:gd name="T44" fmla="*/ 12 w 372"/>
                <a:gd name="T45" fmla="*/ 373 h 373"/>
                <a:gd name="T46" fmla="*/ 15 w 372"/>
                <a:gd name="T47" fmla="*/ 373 h 373"/>
                <a:gd name="T48" fmla="*/ 356 w 372"/>
                <a:gd name="T49" fmla="*/ 373 h 373"/>
                <a:gd name="T50" fmla="*/ 360 w 372"/>
                <a:gd name="T51" fmla="*/ 373 h 373"/>
                <a:gd name="T52" fmla="*/ 363 w 372"/>
                <a:gd name="T53" fmla="*/ 372 h 373"/>
                <a:gd name="T54" fmla="*/ 365 w 372"/>
                <a:gd name="T55" fmla="*/ 371 h 373"/>
                <a:gd name="T56" fmla="*/ 368 w 372"/>
                <a:gd name="T57" fmla="*/ 369 h 373"/>
                <a:gd name="T58" fmla="*/ 370 w 372"/>
                <a:gd name="T59" fmla="*/ 367 h 373"/>
                <a:gd name="T60" fmla="*/ 371 w 372"/>
                <a:gd name="T61" fmla="*/ 365 h 373"/>
                <a:gd name="T62" fmla="*/ 372 w 372"/>
                <a:gd name="T63" fmla="*/ 361 h 373"/>
                <a:gd name="T64" fmla="*/ 372 w 372"/>
                <a:gd name="T65" fmla="*/ 358 h 373"/>
                <a:gd name="T66" fmla="*/ 372 w 372"/>
                <a:gd name="T67" fmla="*/ 17 h 373"/>
                <a:gd name="T68" fmla="*/ 372 w 372"/>
                <a:gd name="T69" fmla="*/ 13 h 373"/>
                <a:gd name="T70" fmla="*/ 371 w 372"/>
                <a:gd name="T71" fmla="*/ 10 h 373"/>
                <a:gd name="T72" fmla="*/ 370 w 372"/>
                <a:gd name="T73" fmla="*/ 8 h 373"/>
                <a:gd name="T74" fmla="*/ 368 w 372"/>
                <a:gd name="T75" fmla="*/ 6 h 373"/>
                <a:gd name="T76" fmla="*/ 365 w 372"/>
                <a:gd name="T77" fmla="*/ 3 h 373"/>
                <a:gd name="T78" fmla="*/ 363 w 372"/>
                <a:gd name="T79" fmla="*/ 2 h 373"/>
                <a:gd name="T80" fmla="*/ 360 w 372"/>
                <a:gd name="T81" fmla="*/ 1 h 373"/>
                <a:gd name="T82" fmla="*/ 356 w 372"/>
                <a:gd name="T8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2" h="373">
                  <a:moveTo>
                    <a:pt x="341" y="342"/>
                  </a:moveTo>
                  <a:lnTo>
                    <a:pt x="31" y="342"/>
                  </a:lnTo>
                  <a:lnTo>
                    <a:pt x="31" y="32"/>
                  </a:lnTo>
                  <a:lnTo>
                    <a:pt x="341" y="32"/>
                  </a:lnTo>
                  <a:lnTo>
                    <a:pt x="341" y="342"/>
                  </a:lnTo>
                  <a:close/>
                  <a:moveTo>
                    <a:pt x="356" y="0"/>
                  </a:moveTo>
                  <a:lnTo>
                    <a:pt x="15" y="0"/>
                  </a:lnTo>
                  <a:lnTo>
                    <a:pt x="12" y="1"/>
                  </a:lnTo>
                  <a:lnTo>
                    <a:pt x="9" y="2"/>
                  </a:lnTo>
                  <a:lnTo>
                    <a:pt x="7" y="3"/>
                  </a:lnTo>
                  <a:lnTo>
                    <a:pt x="4" y="6"/>
                  </a:lnTo>
                  <a:lnTo>
                    <a:pt x="2" y="8"/>
                  </a:lnTo>
                  <a:lnTo>
                    <a:pt x="1" y="10"/>
                  </a:lnTo>
                  <a:lnTo>
                    <a:pt x="0" y="13"/>
                  </a:lnTo>
                  <a:lnTo>
                    <a:pt x="0" y="17"/>
                  </a:lnTo>
                  <a:lnTo>
                    <a:pt x="0" y="358"/>
                  </a:lnTo>
                  <a:lnTo>
                    <a:pt x="0" y="361"/>
                  </a:lnTo>
                  <a:lnTo>
                    <a:pt x="1" y="365"/>
                  </a:lnTo>
                  <a:lnTo>
                    <a:pt x="2" y="367"/>
                  </a:lnTo>
                  <a:lnTo>
                    <a:pt x="4" y="369"/>
                  </a:lnTo>
                  <a:lnTo>
                    <a:pt x="7" y="371"/>
                  </a:lnTo>
                  <a:lnTo>
                    <a:pt x="9" y="372"/>
                  </a:lnTo>
                  <a:lnTo>
                    <a:pt x="12" y="373"/>
                  </a:lnTo>
                  <a:lnTo>
                    <a:pt x="15" y="373"/>
                  </a:lnTo>
                  <a:lnTo>
                    <a:pt x="356" y="373"/>
                  </a:lnTo>
                  <a:lnTo>
                    <a:pt x="360" y="373"/>
                  </a:lnTo>
                  <a:lnTo>
                    <a:pt x="363" y="372"/>
                  </a:lnTo>
                  <a:lnTo>
                    <a:pt x="365" y="371"/>
                  </a:lnTo>
                  <a:lnTo>
                    <a:pt x="368" y="369"/>
                  </a:lnTo>
                  <a:lnTo>
                    <a:pt x="370" y="367"/>
                  </a:lnTo>
                  <a:lnTo>
                    <a:pt x="371" y="365"/>
                  </a:lnTo>
                  <a:lnTo>
                    <a:pt x="372" y="361"/>
                  </a:lnTo>
                  <a:lnTo>
                    <a:pt x="372" y="358"/>
                  </a:lnTo>
                  <a:lnTo>
                    <a:pt x="372" y="17"/>
                  </a:lnTo>
                  <a:lnTo>
                    <a:pt x="372" y="13"/>
                  </a:lnTo>
                  <a:lnTo>
                    <a:pt x="371" y="10"/>
                  </a:lnTo>
                  <a:lnTo>
                    <a:pt x="370" y="8"/>
                  </a:lnTo>
                  <a:lnTo>
                    <a:pt x="368" y="6"/>
                  </a:lnTo>
                  <a:lnTo>
                    <a:pt x="365" y="3"/>
                  </a:lnTo>
                  <a:lnTo>
                    <a:pt x="363" y="2"/>
                  </a:lnTo>
                  <a:lnTo>
                    <a:pt x="360"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31" name="Group 26">
            <a:extLst>
              <a:ext uri="{FF2B5EF4-FFF2-40B4-BE49-F238E27FC236}">
                <a16:creationId xmlns:a16="http://schemas.microsoft.com/office/drawing/2014/main" id="{99E78AE3-62C2-47B1-A1DE-0C2918824EE0}"/>
              </a:ext>
            </a:extLst>
          </p:cNvPr>
          <p:cNvGrpSpPr>
            <a:grpSpLocks noChangeAspect="1"/>
          </p:cNvGrpSpPr>
          <p:nvPr/>
        </p:nvGrpSpPr>
        <p:grpSpPr>
          <a:xfrm>
            <a:off x="4049239" y="2186361"/>
            <a:ext cx="258673" cy="285619"/>
            <a:chOff x="4346576" y="5194300"/>
            <a:chExt cx="457200" cy="504826"/>
          </a:xfrm>
          <a:solidFill>
            <a:schemeClr val="bg2"/>
          </a:solidFill>
          <a:effectLst/>
        </p:grpSpPr>
        <p:sp>
          <p:nvSpPr>
            <p:cNvPr id="532" name="Freeform 109">
              <a:extLst>
                <a:ext uri="{FF2B5EF4-FFF2-40B4-BE49-F238E27FC236}">
                  <a16:creationId xmlns:a16="http://schemas.microsoft.com/office/drawing/2014/main" id="{E08DD48B-B0A2-4212-AE85-2C140D72EC16}"/>
                </a:ext>
              </a:extLst>
            </p:cNvPr>
            <p:cNvSpPr>
              <a:spLocks noEditPoints="1"/>
            </p:cNvSpPr>
            <p:nvPr/>
          </p:nvSpPr>
          <p:spPr bwMode="auto">
            <a:xfrm>
              <a:off x="4500563" y="5292725"/>
              <a:ext cx="146050" cy="158750"/>
            </a:xfrm>
            <a:custGeom>
              <a:avLst/>
              <a:gdLst>
                <a:gd name="T0" fmla="*/ 155 w 366"/>
                <a:gd name="T1" fmla="*/ 49 h 398"/>
                <a:gd name="T2" fmla="*/ 117 w 366"/>
                <a:gd name="T3" fmla="*/ 65 h 398"/>
                <a:gd name="T4" fmla="*/ 87 w 366"/>
                <a:gd name="T5" fmla="*/ 90 h 398"/>
                <a:gd name="T6" fmla="*/ 63 w 366"/>
                <a:gd name="T7" fmla="*/ 126 h 398"/>
                <a:gd name="T8" fmla="*/ 49 w 366"/>
                <a:gd name="T9" fmla="*/ 168 h 398"/>
                <a:gd name="T10" fmla="*/ 47 w 366"/>
                <a:gd name="T11" fmla="*/ 214 h 398"/>
                <a:gd name="T12" fmla="*/ 57 w 366"/>
                <a:gd name="T13" fmla="*/ 258 h 398"/>
                <a:gd name="T14" fmla="*/ 78 w 366"/>
                <a:gd name="T15" fmla="*/ 296 h 398"/>
                <a:gd name="T16" fmla="*/ 106 w 366"/>
                <a:gd name="T17" fmla="*/ 326 h 398"/>
                <a:gd name="T18" fmla="*/ 143 w 366"/>
                <a:gd name="T19" fmla="*/ 344 h 398"/>
                <a:gd name="T20" fmla="*/ 184 w 366"/>
                <a:gd name="T21" fmla="*/ 352 h 398"/>
                <a:gd name="T22" fmla="*/ 224 w 366"/>
                <a:gd name="T23" fmla="*/ 344 h 398"/>
                <a:gd name="T24" fmla="*/ 260 w 366"/>
                <a:gd name="T25" fmla="*/ 326 h 398"/>
                <a:gd name="T26" fmla="*/ 289 w 366"/>
                <a:gd name="T27" fmla="*/ 296 h 398"/>
                <a:gd name="T28" fmla="*/ 310 w 366"/>
                <a:gd name="T29" fmla="*/ 258 h 398"/>
                <a:gd name="T30" fmla="*/ 320 w 366"/>
                <a:gd name="T31" fmla="*/ 214 h 398"/>
                <a:gd name="T32" fmla="*/ 317 w 366"/>
                <a:gd name="T33" fmla="*/ 168 h 398"/>
                <a:gd name="T34" fmla="*/ 304 w 366"/>
                <a:gd name="T35" fmla="*/ 126 h 398"/>
                <a:gd name="T36" fmla="*/ 280 w 366"/>
                <a:gd name="T37" fmla="*/ 90 h 398"/>
                <a:gd name="T38" fmla="*/ 249 w 366"/>
                <a:gd name="T39" fmla="*/ 65 h 398"/>
                <a:gd name="T40" fmla="*/ 210 w 366"/>
                <a:gd name="T41" fmla="*/ 49 h 398"/>
                <a:gd name="T42" fmla="*/ 184 w 366"/>
                <a:gd name="T43" fmla="*/ 398 h 398"/>
                <a:gd name="T44" fmla="*/ 128 w 366"/>
                <a:gd name="T45" fmla="*/ 388 h 398"/>
                <a:gd name="T46" fmla="*/ 80 w 366"/>
                <a:gd name="T47" fmla="*/ 364 h 398"/>
                <a:gd name="T48" fmla="*/ 42 w 366"/>
                <a:gd name="T49" fmla="*/ 325 h 398"/>
                <a:gd name="T50" fmla="*/ 14 w 366"/>
                <a:gd name="T51" fmla="*/ 276 h 398"/>
                <a:gd name="T52" fmla="*/ 1 w 366"/>
                <a:gd name="T53" fmla="*/ 219 h 398"/>
                <a:gd name="T54" fmla="*/ 3 w 366"/>
                <a:gd name="T55" fmla="*/ 159 h 398"/>
                <a:gd name="T56" fmla="*/ 22 w 366"/>
                <a:gd name="T57" fmla="*/ 104 h 398"/>
                <a:gd name="T58" fmla="*/ 53 w 366"/>
                <a:gd name="T59" fmla="*/ 58 h 398"/>
                <a:gd name="T60" fmla="*/ 96 w 366"/>
                <a:gd name="T61" fmla="*/ 24 h 398"/>
                <a:gd name="T62" fmla="*/ 147 w 366"/>
                <a:gd name="T63" fmla="*/ 3 h 398"/>
                <a:gd name="T64" fmla="*/ 202 w 366"/>
                <a:gd name="T65" fmla="*/ 1 h 398"/>
                <a:gd name="T66" fmla="*/ 255 w 366"/>
                <a:gd name="T67" fmla="*/ 15 h 398"/>
                <a:gd name="T68" fmla="*/ 300 w 366"/>
                <a:gd name="T69" fmla="*/ 45 h 398"/>
                <a:gd name="T70" fmla="*/ 334 w 366"/>
                <a:gd name="T71" fmla="*/ 88 h 398"/>
                <a:gd name="T72" fmla="*/ 358 w 366"/>
                <a:gd name="T73" fmla="*/ 139 h 398"/>
                <a:gd name="T74" fmla="*/ 366 w 366"/>
                <a:gd name="T75" fmla="*/ 198 h 398"/>
                <a:gd name="T76" fmla="*/ 358 w 366"/>
                <a:gd name="T77" fmla="*/ 258 h 398"/>
                <a:gd name="T78" fmla="*/ 334 w 366"/>
                <a:gd name="T79" fmla="*/ 310 h 398"/>
                <a:gd name="T80" fmla="*/ 300 w 366"/>
                <a:gd name="T81" fmla="*/ 352 h 398"/>
                <a:gd name="T82" fmla="*/ 255 w 366"/>
                <a:gd name="T83" fmla="*/ 382 h 398"/>
                <a:gd name="T84" fmla="*/ 202 w 366"/>
                <a:gd name="T85"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8">
                  <a:moveTo>
                    <a:pt x="184" y="46"/>
                  </a:moveTo>
                  <a:lnTo>
                    <a:pt x="169" y="46"/>
                  </a:lnTo>
                  <a:lnTo>
                    <a:pt x="155" y="49"/>
                  </a:lnTo>
                  <a:lnTo>
                    <a:pt x="143" y="52"/>
                  </a:lnTo>
                  <a:lnTo>
                    <a:pt x="130" y="57"/>
                  </a:lnTo>
                  <a:lnTo>
                    <a:pt x="117" y="65"/>
                  </a:lnTo>
                  <a:lnTo>
                    <a:pt x="106" y="72"/>
                  </a:lnTo>
                  <a:lnTo>
                    <a:pt x="96" y="80"/>
                  </a:lnTo>
                  <a:lnTo>
                    <a:pt x="87" y="90"/>
                  </a:lnTo>
                  <a:lnTo>
                    <a:pt x="78" y="101"/>
                  </a:lnTo>
                  <a:lnTo>
                    <a:pt x="69" y="114"/>
                  </a:lnTo>
                  <a:lnTo>
                    <a:pt x="63" y="126"/>
                  </a:lnTo>
                  <a:lnTo>
                    <a:pt x="57" y="139"/>
                  </a:lnTo>
                  <a:lnTo>
                    <a:pt x="52" y="153"/>
                  </a:lnTo>
                  <a:lnTo>
                    <a:pt x="49" y="168"/>
                  </a:lnTo>
                  <a:lnTo>
                    <a:pt x="47" y="184"/>
                  </a:lnTo>
                  <a:lnTo>
                    <a:pt x="46" y="198"/>
                  </a:lnTo>
                  <a:lnTo>
                    <a:pt x="47" y="214"/>
                  </a:lnTo>
                  <a:lnTo>
                    <a:pt x="49" y="229"/>
                  </a:lnTo>
                  <a:lnTo>
                    <a:pt x="52" y="244"/>
                  </a:lnTo>
                  <a:lnTo>
                    <a:pt x="57" y="258"/>
                  </a:lnTo>
                  <a:lnTo>
                    <a:pt x="63" y="272"/>
                  </a:lnTo>
                  <a:lnTo>
                    <a:pt x="69" y="284"/>
                  </a:lnTo>
                  <a:lnTo>
                    <a:pt x="78" y="296"/>
                  </a:lnTo>
                  <a:lnTo>
                    <a:pt x="87" y="306"/>
                  </a:lnTo>
                  <a:lnTo>
                    <a:pt x="96" y="316"/>
                  </a:lnTo>
                  <a:lnTo>
                    <a:pt x="106" y="326"/>
                  </a:lnTo>
                  <a:lnTo>
                    <a:pt x="117" y="333"/>
                  </a:lnTo>
                  <a:lnTo>
                    <a:pt x="130" y="339"/>
                  </a:lnTo>
                  <a:lnTo>
                    <a:pt x="143" y="344"/>
                  </a:lnTo>
                  <a:lnTo>
                    <a:pt x="155" y="348"/>
                  </a:lnTo>
                  <a:lnTo>
                    <a:pt x="169" y="350"/>
                  </a:lnTo>
                  <a:lnTo>
                    <a:pt x="184" y="352"/>
                  </a:lnTo>
                  <a:lnTo>
                    <a:pt x="197" y="350"/>
                  </a:lnTo>
                  <a:lnTo>
                    <a:pt x="210" y="348"/>
                  </a:lnTo>
                  <a:lnTo>
                    <a:pt x="224" y="344"/>
                  </a:lnTo>
                  <a:lnTo>
                    <a:pt x="236" y="339"/>
                  </a:lnTo>
                  <a:lnTo>
                    <a:pt x="249" y="333"/>
                  </a:lnTo>
                  <a:lnTo>
                    <a:pt x="260" y="326"/>
                  </a:lnTo>
                  <a:lnTo>
                    <a:pt x="271" y="316"/>
                  </a:lnTo>
                  <a:lnTo>
                    <a:pt x="280" y="306"/>
                  </a:lnTo>
                  <a:lnTo>
                    <a:pt x="289" y="296"/>
                  </a:lnTo>
                  <a:lnTo>
                    <a:pt x="296" y="284"/>
                  </a:lnTo>
                  <a:lnTo>
                    <a:pt x="304" y="272"/>
                  </a:lnTo>
                  <a:lnTo>
                    <a:pt x="310" y="258"/>
                  </a:lnTo>
                  <a:lnTo>
                    <a:pt x="314" y="244"/>
                  </a:lnTo>
                  <a:lnTo>
                    <a:pt x="317" y="229"/>
                  </a:lnTo>
                  <a:lnTo>
                    <a:pt x="320" y="214"/>
                  </a:lnTo>
                  <a:lnTo>
                    <a:pt x="320" y="198"/>
                  </a:lnTo>
                  <a:lnTo>
                    <a:pt x="320" y="184"/>
                  </a:lnTo>
                  <a:lnTo>
                    <a:pt x="317" y="168"/>
                  </a:lnTo>
                  <a:lnTo>
                    <a:pt x="314" y="153"/>
                  </a:lnTo>
                  <a:lnTo>
                    <a:pt x="310" y="139"/>
                  </a:lnTo>
                  <a:lnTo>
                    <a:pt x="304" y="126"/>
                  </a:lnTo>
                  <a:lnTo>
                    <a:pt x="296" y="114"/>
                  </a:lnTo>
                  <a:lnTo>
                    <a:pt x="289" y="101"/>
                  </a:lnTo>
                  <a:lnTo>
                    <a:pt x="280" y="90"/>
                  </a:lnTo>
                  <a:lnTo>
                    <a:pt x="271" y="80"/>
                  </a:lnTo>
                  <a:lnTo>
                    <a:pt x="260" y="72"/>
                  </a:lnTo>
                  <a:lnTo>
                    <a:pt x="249" y="65"/>
                  </a:lnTo>
                  <a:lnTo>
                    <a:pt x="236" y="57"/>
                  </a:lnTo>
                  <a:lnTo>
                    <a:pt x="224" y="52"/>
                  </a:lnTo>
                  <a:lnTo>
                    <a:pt x="210" y="49"/>
                  </a:lnTo>
                  <a:lnTo>
                    <a:pt x="197" y="46"/>
                  </a:lnTo>
                  <a:lnTo>
                    <a:pt x="184" y="46"/>
                  </a:lnTo>
                  <a:close/>
                  <a:moveTo>
                    <a:pt x="184" y="398"/>
                  </a:moveTo>
                  <a:lnTo>
                    <a:pt x="164" y="397"/>
                  </a:lnTo>
                  <a:lnTo>
                    <a:pt x="147" y="393"/>
                  </a:lnTo>
                  <a:lnTo>
                    <a:pt x="128" y="388"/>
                  </a:lnTo>
                  <a:lnTo>
                    <a:pt x="112" y="382"/>
                  </a:lnTo>
                  <a:lnTo>
                    <a:pt x="96" y="374"/>
                  </a:lnTo>
                  <a:lnTo>
                    <a:pt x="80" y="364"/>
                  </a:lnTo>
                  <a:lnTo>
                    <a:pt x="67" y="352"/>
                  </a:lnTo>
                  <a:lnTo>
                    <a:pt x="53" y="339"/>
                  </a:lnTo>
                  <a:lnTo>
                    <a:pt x="42" y="325"/>
                  </a:lnTo>
                  <a:lnTo>
                    <a:pt x="31" y="310"/>
                  </a:lnTo>
                  <a:lnTo>
                    <a:pt x="22" y="294"/>
                  </a:lnTo>
                  <a:lnTo>
                    <a:pt x="14" y="276"/>
                  </a:lnTo>
                  <a:lnTo>
                    <a:pt x="8" y="258"/>
                  </a:lnTo>
                  <a:lnTo>
                    <a:pt x="3" y="239"/>
                  </a:lnTo>
                  <a:lnTo>
                    <a:pt x="1" y="219"/>
                  </a:lnTo>
                  <a:lnTo>
                    <a:pt x="0" y="198"/>
                  </a:lnTo>
                  <a:lnTo>
                    <a:pt x="1" y="179"/>
                  </a:lnTo>
                  <a:lnTo>
                    <a:pt x="3" y="159"/>
                  </a:lnTo>
                  <a:lnTo>
                    <a:pt x="8" y="139"/>
                  </a:lnTo>
                  <a:lnTo>
                    <a:pt x="14" y="121"/>
                  </a:lnTo>
                  <a:lnTo>
                    <a:pt x="22" y="104"/>
                  </a:lnTo>
                  <a:lnTo>
                    <a:pt x="31" y="88"/>
                  </a:lnTo>
                  <a:lnTo>
                    <a:pt x="42" y="72"/>
                  </a:lnTo>
                  <a:lnTo>
                    <a:pt x="53" y="58"/>
                  </a:lnTo>
                  <a:lnTo>
                    <a:pt x="67" y="45"/>
                  </a:lnTo>
                  <a:lnTo>
                    <a:pt x="80" y="34"/>
                  </a:lnTo>
                  <a:lnTo>
                    <a:pt x="96" y="24"/>
                  </a:lnTo>
                  <a:lnTo>
                    <a:pt x="112" y="15"/>
                  </a:lnTo>
                  <a:lnTo>
                    <a:pt x="128" y="8"/>
                  </a:lnTo>
                  <a:lnTo>
                    <a:pt x="147" y="3"/>
                  </a:lnTo>
                  <a:lnTo>
                    <a:pt x="164" y="1"/>
                  </a:lnTo>
                  <a:lnTo>
                    <a:pt x="184" y="0"/>
                  </a:lnTo>
                  <a:lnTo>
                    <a:pt x="202" y="1"/>
                  </a:lnTo>
                  <a:lnTo>
                    <a:pt x="220" y="3"/>
                  </a:lnTo>
                  <a:lnTo>
                    <a:pt x="237" y="8"/>
                  </a:lnTo>
                  <a:lnTo>
                    <a:pt x="255" y="15"/>
                  </a:lnTo>
                  <a:lnTo>
                    <a:pt x="271" y="24"/>
                  </a:lnTo>
                  <a:lnTo>
                    <a:pt x="285" y="34"/>
                  </a:lnTo>
                  <a:lnTo>
                    <a:pt x="300" y="45"/>
                  </a:lnTo>
                  <a:lnTo>
                    <a:pt x="312" y="58"/>
                  </a:lnTo>
                  <a:lnTo>
                    <a:pt x="325" y="72"/>
                  </a:lnTo>
                  <a:lnTo>
                    <a:pt x="334" y="88"/>
                  </a:lnTo>
                  <a:lnTo>
                    <a:pt x="344" y="104"/>
                  </a:lnTo>
                  <a:lnTo>
                    <a:pt x="352" y="121"/>
                  </a:lnTo>
                  <a:lnTo>
                    <a:pt x="358" y="139"/>
                  </a:lnTo>
                  <a:lnTo>
                    <a:pt x="363" y="159"/>
                  </a:lnTo>
                  <a:lnTo>
                    <a:pt x="365" y="179"/>
                  </a:lnTo>
                  <a:lnTo>
                    <a:pt x="366" y="198"/>
                  </a:lnTo>
                  <a:lnTo>
                    <a:pt x="365" y="219"/>
                  </a:lnTo>
                  <a:lnTo>
                    <a:pt x="363" y="239"/>
                  </a:lnTo>
                  <a:lnTo>
                    <a:pt x="358" y="258"/>
                  </a:lnTo>
                  <a:lnTo>
                    <a:pt x="352" y="276"/>
                  </a:lnTo>
                  <a:lnTo>
                    <a:pt x="344" y="294"/>
                  </a:lnTo>
                  <a:lnTo>
                    <a:pt x="334" y="310"/>
                  </a:lnTo>
                  <a:lnTo>
                    <a:pt x="325" y="325"/>
                  </a:lnTo>
                  <a:lnTo>
                    <a:pt x="312" y="339"/>
                  </a:lnTo>
                  <a:lnTo>
                    <a:pt x="300" y="352"/>
                  </a:lnTo>
                  <a:lnTo>
                    <a:pt x="285" y="364"/>
                  </a:lnTo>
                  <a:lnTo>
                    <a:pt x="271" y="374"/>
                  </a:lnTo>
                  <a:lnTo>
                    <a:pt x="255" y="382"/>
                  </a:lnTo>
                  <a:lnTo>
                    <a:pt x="237" y="388"/>
                  </a:lnTo>
                  <a:lnTo>
                    <a:pt x="220" y="393"/>
                  </a:lnTo>
                  <a:lnTo>
                    <a:pt x="202" y="397"/>
                  </a:lnTo>
                  <a:lnTo>
                    <a:pt x="184"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3" name="Freeform 110">
              <a:extLst>
                <a:ext uri="{FF2B5EF4-FFF2-40B4-BE49-F238E27FC236}">
                  <a16:creationId xmlns:a16="http://schemas.microsoft.com/office/drawing/2014/main" id="{3F8109B1-7353-4220-B4F9-E5A8EFA28130}"/>
                </a:ext>
              </a:extLst>
            </p:cNvPr>
            <p:cNvSpPr>
              <a:spLocks/>
            </p:cNvSpPr>
            <p:nvPr/>
          </p:nvSpPr>
          <p:spPr bwMode="auto">
            <a:xfrm>
              <a:off x="4449763" y="5435600"/>
              <a:ext cx="246063" cy="155575"/>
            </a:xfrm>
            <a:custGeom>
              <a:avLst/>
              <a:gdLst>
                <a:gd name="T0" fmla="*/ 0 w 622"/>
                <a:gd name="T1" fmla="*/ 394 h 394"/>
                <a:gd name="T2" fmla="*/ 1 w 622"/>
                <a:gd name="T3" fmla="*/ 193 h 394"/>
                <a:gd name="T4" fmla="*/ 6 w 622"/>
                <a:gd name="T5" fmla="*/ 164 h 394"/>
                <a:gd name="T6" fmla="*/ 16 w 622"/>
                <a:gd name="T7" fmla="*/ 140 h 394"/>
                <a:gd name="T8" fmla="*/ 31 w 622"/>
                <a:gd name="T9" fmla="*/ 122 h 394"/>
                <a:gd name="T10" fmla="*/ 49 w 622"/>
                <a:gd name="T11" fmla="*/ 107 h 394"/>
                <a:gd name="T12" fmla="*/ 70 w 622"/>
                <a:gd name="T13" fmla="*/ 95 h 394"/>
                <a:gd name="T14" fmla="*/ 105 w 622"/>
                <a:gd name="T15" fmla="*/ 83 h 394"/>
                <a:gd name="T16" fmla="*/ 142 w 622"/>
                <a:gd name="T17" fmla="*/ 72 h 394"/>
                <a:gd name="T18" fmla="*/ 164 w 622"/>
                <a:gd name="T19" fmla="*/ 64 h 394"/>
                <a:gd name="T20" fmla="*/ 184 w 622"/>
                <a:gd name="T21" fmla="*/ 57 h 394"/>
                <a:gd name="T22" fmla="*/ 199 w 622"/>
                <a:gd name="T23" fmla="*/ 50 h 394"/>
                <a:gd name="T24" fmla="*/ 212 w 622"/>
                <a:gd name="T25" fmla="*/ 37 h 394"/>
                <a:gd name="T26" fmla="*/ 222 w 622"/>
                <a:gd name="T27" fmla="*/ 19 h 394"/>
                <a:gd name="T28" fmla="*/ 224 w 622"/>
                <a:gd name="T29" fmla="*/ 7 h 394"/>
                <a:gd name="T30" fmla="*/ 270 w 622"/>
                <a:gd name="T31" fmla="*/ 0 h 394"/>
                <a:gd name="T32" fmla="*/ 267 w 622"/>
                <a:gd name="T33" fmla="*/ 25 h 394"/>
                <a:gd name="T34" fmla="*/ 256 w 622"/>
                <a:gd name="T35" fmla="*/ 54 h 394"/>
                <a:gd name="T36" fmla="*/ 245 w 622"/>
                <a:gd name="T37" fmla="*/ 69 h 394"/>
                <a:gd name="T38" fmla="*/ 232 w 622"/>
                <a:gd name="T39" fmla="*/ 83 h 394"/>
                <a:gd name="T40" fmla="*/ 213 w 622"/>
                <a:gd name="T41" fmla="*/ 95 h 394"/>
                <a:gd name="T42" fmla="*/ 190 w 622"/>
                <a:gd name="T43" fmla="*/ 105 h 394"/>
                <a:gd name="T44" fmla="*/ 167 w 622"/>
                <a:gd name="T45" fmla="*/ 112 h 394"/>
                <a:gd name="T46" fmla="*/ 145 w 622"/>
                <a:gd name="T47" fmla="*/ 118 h 394"/>
                <a:gd name="T48" fmla="*/ 98 w 622"/>
                <a:gd name="T49" fmla="*/ 134 h 394"/>
                <a:gd name="T50" fmla="*/ 81 w 622"/>
                <a:gd name="T51" fmla="*/ 142 h 394"/>
                <a:gd name="T52" fmla="*/ 67 w 622"/>
                <a:gd name="T53" fmla="*/ 150 h 394"/>
                <a:gd name="T54" fmla="*/ 58 w 622"/>
                <a:gd name="T55" fmla="*/ 161 h 394"/>
                <a:gd name="T56" fmla="*/ 51 w 622"/>
                <a:gd name="T57" fmla="*/ 173 h 394"/>
                <a:gd name="T58" fmla="*/ 48 w 622"/>
                <a:gd name="T59" fmla="*/ 191 h 394"/>
                <a:gd name="T60" fmla="*/ 47 w 622"/>
                <a:gd name="T61" fmla="*/ 210 h 394"/>
                <a:gd name="T62" fmla="*/ 576 w 622"/>
                <a:gd name="T63" fmla="*/ 348 h 394"/>
                <a:gd name="T64" fmla="*/ 575 w 622"/>
                <a:gd name="T65" fmla="*/ 200 h 394"/>
                <a:gd name="T66" fmla="*/ 573 w 622"/>
                <a:gd name="T67" fmla="*/ 182 h 394"/>
                <a:gd name="T68" fmla="*/ 568 w 622"/>
                <a:gd name="T69" fmla="*/ 167 h 394"/>
                <a:gd name="T70" fmla="*/ 560 w 622"/>
                <a:gd name="T71" fmla="*/ 155 h 394"/>
                <a:gd name="T72" fmla="*/ 548 w 622"/>
                <a:gd name="T73" fmla="*/ 145 h 394"/>
                <a:gd name="T74" fmla="*/ 534 w 622"/>
                <a:gd name="T75" fmla="*/ 138 h 394"/>
                <a:gd name="T76" fmla="*/ 503 w 622"/>
                <a:gd name="T77" fmla="*/ 127 h 394"/>
                <a:gd name="T78" fmla="*/ 466 w 622"/>
                <a:gd name="T79" fmla="*/ 116 h 394"/>
                <a:gd name="T80" fmla="*/ 444 w 622"/>
                <a:gd name="T81" fmla="*/ 108 h 394"/>
                <a:gd name="T82" fmla="*/ 419 w 622"/>
                <a:gd name="T83" fmla="*/ 100 h 394"/>
                <a:gd name="T84" fmla="*/ 400 w 622"/>
                <a:gd name="T85" fmla="*/ 89 h 394"/>
                <a:gd name="T86" fmla="*/ 383 w 622"/>
                <a:gd name="T87" fmla="*/ 75 h 394"/>
                <a:gd name="T88" fmla="*/ 370 w 622"/>
                <a:gd name="T89" fmla="*/ 62 h 394"/>
                <a:gd name="T90" fmla="*/ 359 w 622"/>
                <a:gd name="T91" fmla="*/ 40 h 394"/>
                <a:gd name="T92" fmla="*/ 352 w 622"/>
                <a:gd name="T93" fmla="*/ 12 h 394"/>
                <a:gd name="T94" fmla="*/ 399 w 622"/>
                <a:gd name="T95" fmla="*/ 4 h 394"/>
                <a:gd name="T96" fmla="*/ 399 w 622"/>
                <a:gd name="T97" fmla="*/ 13 h 394"/>
                <a:gd name="T98" fmla="*/ 403 w 622"/>
                <a:gd name="T99" fmla="*/ 27 h 394"/>
                <a:gd name="T100" fmla="*/ 418 w 622"/>
                <a:gd name="T101" fmla="*/ 46 h 394"/>
                <a:gd name="T102" fmla="*/ 430 w 622"/>
                <a:gd name="T103" fmla="*/ 54 h 394"/>
                <a:gd name="T104" fmla="*/ 446 w 622"/>
                <a:gd name="T105" fmla="*/ 61 h 394"/>
                <a:gd name="T106" fmla="*/ 469 w 622"/>
                <a:gd name="T107" fmla="*/ 68 h 394"/>
                <a:gd name="T108" fmla="*/ 491 w 622"/>
                <a:gd name="T109" fmla="*/ 74 h 394"/>
                <a:gd name="T110" fmla="*/ 541 w 622"/>
                <a:gd name="T111" fmla="*/ 91 h 394"/>
                <a:gd name="T112" fmla="*/ 563 w 622"/>
                <a:gd name="T113" fmla="*/ 101 h 394"/>
                <a:gd name="T114" fmla="*/ 583 w 622"/>
                <a:gd name="T115" fmla="*/ 113 h 394"/>
                <a:gd name="T116" fmla="*/ 599 w 622"/>
                <a:gd name="T117" fmla="*/ 130 h 394"/>
                <a:gd name="T118" fmla="*/ 612 w 622"/>
                <a:gd name="T119" fmla="*/ 151 h 394"/>
                <a:gd name="T120" fmla="*/ 619 w 622"/>
                <a:gd name="T121" fmla="*/ 177 h 394"/>
                <a:gd name="T122" fmla="*/ 622 w 622"/>
                <a:gd name="T123"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4">
                  <a:moveTo>
                    <a:pt x="622" y="394"/>
                  </a:moveTo>
                  <a:lnTo>
                    <a:pt x="0" y="394"/>
                  </a:lnTo>
                  <a:lnTo>
                    <a:pt x="0" y="210"/>
                  </a:lnTo>
                  <a:lnTo>
                    <a:pt x="1" y="193"/>
                  </a:lnTo>
                  <a:lnTo>
                    <a:pt x="2" y="177"/>
                  </a:lnTo>
                  <a:lnTo>
                    <a:pt x="6" y="164"/>
                  </a:lnTo>
                  <a:lnTo>
                    <a:pt x="11" y="151"/>
                  </a:lnTo>
                  <a:lnTo>
                    <a:pt x="16" y="140"/>
                  </a:lnTo>
                  <a:lnTo>
                    <a:pt x="23" y="130"/>
                  </a:lnTo>
                  <a:lnTo>
                    <a:pt x="31" y="122"/>
                  </a:lnTo>
                  <a:lnTo>
                    <a:pt x="39" y="113"/>
                  </a:lnTo>
                  <a:lnTo>
                    <a:pt x="49" y="107"/>
                  </a:lnTo>
                  <a:lnTo>
                    <a:pt x="59" y="101"/>
                  </a:lnTo>
                  <a:lnTo>
                    <a:pt x="70" y="95"/>
                  </a:lnTo>
                  <a:lnTo>
                    <a:pt x="82" y="91"/>
                  </a:lnTo>
                  <a:lnTo>
                    <a:pt x="105" y="83"/>
                  </a:lnTo>
                  <a:lnTo>
                    <a:pt x="132" y="74"/>
                  </a:lnTo>
                  <a:lnTo>
                    <a:pt x="142" y="72"/>
                  </a:lnTo>
                  <a:lnTo>
                    <a:pt x="153" y="68"/>
                  </a:lnTo>
                  <a:lnTo>
                    <a:pt x="164" y="64"/>
                  </a:lnTo>
                  <a:lnTo>
                    <a:pt x="175" y="61"/>
                  </a:lnTo>
                  <a:lnTo>
                    <a:pt x="184" y="57"/>
                  </a:lnTo>
                  <a:lnTo>
                    <a:pt x="191" y="54"/>
                  </a:lnTo>
                  <a:lnTo>
                    <a:pt x="199" y="50"/>
                  </a:lnTo>
                  <a:lnTo>
                    <a:pt x="204" y="46"/>
                  </a:lnTo>
                  <a:lnTo>
                    <a:pt x="212" y="37"/>
                  </a:lnTo>
                  <a:lnTo>
                    <a:pt x="218" y="27"/>
                  </a:lnTo>
                  <a:lnTo>
                    <a:pt x="222" y="19"/>
                  </a:lnTo>
                  <a:lnTo>
                    <a:pt x="223" y="13"/>
                  </a:lnTo>
                  <a:lnTo>
                    <a:pt x="224" y="7"/>
                  </a:lnTo>
                  <a:lnTo>
                    <a:pt x="224" y="4"/>
                  </a:lnTo>
                  <a:lnTo>
                    <a:pt x="270" y="0"/>
                  </a:lnTo>
                  <a:lnTo>
                    <a:pt x="270" y="12"/>
                  </a:lnTo>
                  <a:lnTo>
                    <a:pt x="267" y="25"/>
                  </a:lnTo>
                  <a:lnTo>
                    <a:pt x="264" y="40"/>
                  </a:lnTo>
                  <a:lnTo>
                    <a:pt x="256" y="54"/>
                  </a:lnTo>
                  <a:lnTo>
                    <a:pt x="251" y="62"/>
                  </a:lnTo>
                  <a:lnTo>
                    <a:pt x="245" y="69"/>
                  </a:lnTo>
                  <a:lnTo>
                    <a:pt x="239" y="75"/>
                  </a:lnTo>
                  <a:lnTo>
                    <a:pt x="232" y="83"/>
                  </a:lnTo>
                  <a:lnTo>
                    <a:pt x="223" y="89"/>
                  </a:lnTo>
                  <a:lnTo>
                    <a:pt x="213" y="95"/>
                  </a:lnTo>
                  <a:lnTo>
                    <a:pt x="202" y="100"/>
                  </a:lnTo>
                  <a:lnTo>
                    <a:pt x="190" y="105"/>
                  </a:lnTo>
                  <a:lnTo>
                    <a:pt x="179" y="108"/>
                  </a:lnTo>
                  <a:lnTo>
                    <a:pt x="167" y="112"/>
                  </a:lnTo>
                  <a:lnTo>
                    <a:pt x="156" y="116"/>
                  </a:lnTo>
                  <a:lnTo>
                    <a:pt x="145" y="118"/>
                  </a:lnTo>
                  <a:lnTo>
                    <a:pt x="119" y="127"/>
                  </a:lnTo>
                  <a:lnTo>
                    <a:pt x="98" y="134"/>
                  </a:lnTo>
                  <a:lnTo>
                    <a:pt x="88" y="138"/>
                  </a:lnTo>
                  <a:lnTo>
                    <a:pt x="81" y="142"/>
                  </a:lnTo>
                  <a:lnTo>
                    <a:pt x="74" y="145"/>
                  </a:lnTo>
                  <a:lnTo>
                    <a:pt x="67" y="150"/>
                  </a:lnTo>
                  <a:lnTo>
                    <a:pt x="63" y="155"/>
                  </a:lnTo>
                  <a:lnTo>
                    <a:pt x="58" y="161"/>
                  </a:lnTo>
                  <a:lnTo>
                    <a:pt x="54" y="167"/>
                  </a:lnTo>
                  <a:lnTo>
                    <a:pt x="51" y="173"/>
                  </a:lnTo>
                  <a:lnTo>
                    <a:pt x="49" y="182"/>
                  </a:lnTo>
                  <a:lnTo>
                    <a:pt x="48" y="191"/>
                  </a:lnTo>
                  <a:lnTo>
                    <a:pt x="47" y="200"/>
                  </a:lnTo>
                  <a:lnTo>
                    <a:pt x="47" y="210"/>
                  </a:lnTo>
                  <a:lnTo>
                    <a:pt x="47" y="348"/>
                  </a:lnTo>
                  <a:lnTo>
                    <a:pt x="576" y="348"/>
                  </a:lnTo>
                  <a:lnTo>
                    <a:pt x="576" y="210"/>
                  </a:lnTo>
                  <a:lnTo>
                    <a:pt x="575" y="200"/>
                  </a:lnTo>
                  <a:lnTo>
                    <a:pt x="575" y="191"/>
                  </a:lnTo>
                  <a:lnTo>
                    <a:pt x="573" y="182"/>
                  </a:lnTo>
                  <a:lnTo>
                    <a:pt x="572" y="173"/>
                  </a:lnTo>
                  <a:lnTo>
                    <a:pt x="568" y="167"/>
                  </a:lnTo>
                  <a:lnTo>
                    <a:pt x="564" y="161"/>
                  </a:lnTo>
                  <a:lnTo>
                    <a:pt x="560" y="155"/>
                  </a:lnTo>
                  <a:lnTo>
                    <a:pt x="554" y="150"/>
                  </a:lnTo>
                  <a:lnTo>
                    <a:pt x="548" y="145"/>
                  </a:lnTo>
                  <a:lnTo>
                    <a:pt x="541" y="142"/>
                  </a:lnTo>
                  <a:lnTo>
                    <a:pt x="534" y="138"/>
                  </a:lnTo>
                  <a:lnTo>
                    <a:pt x="524" y="134"/>
                  </a:lnTo>
                  <a:lnTo>
                    <a:pt x="503" y="127"/>
                  </a:lnTo>
                  <a:lnTo>
                    <a:pt x="477" y="118"/>
                  </a:lnTo>
                  <a:lnTo>
                    <a:pt x="466" y="116"/>
                  </a:lnTo>
                  <a:lnTo>
                    <a:pt x="455" y="112"/>
                  </a:lnTo>
                  <a:lnTo>
                    <a:pt x="444" y="108"/>
                  </a:lnTo>
                  <a:lnTo>
                    <a:pt x="432" y="105"/>
                  </a:lnTo>
                  <a:lnTo>
                    <a:pt x="419" y="100"/>
                  </a:lnTo>
                  <a:lnTo>
                    <a:pt x="410" y="95"/>
                  </a:lnTo>
                  <a:lnTo>
                    <a:pt x="400" y="89"/>
                  </a:lnTo>
                  <a:lnTo>
                    <a:pt x="391" y="83"/>
                  </a:lnTo>
                  <a:lnTo>
                    <a:pt x="383" y="75"/>
                  </a:lnTo>
                  <a:lnTo>
                    <a:pt x="377" y="69"/>
                  </a:lnTo>
                  <a:lnTo>
                    <a:pt x="370" y="62"/>
                  </a:lnTo>
                  <a:lnTo>
                    <a:pt x="367" y="54"/>
                  </a:lnTo>
                  <a:lnTo>
                    <a:pt x="359" y="40"/>
                  </a:lnTo>
                  <a:lnTo>
                    <a:pt x="354" y="25"/>
                  </a:lnTo>
                  <a:lnTo>
                    <a:pt x="352" y="12"/>
                  </a:lnTo>
                  <a:lnTo>
                    <a:pt x="352" y="0"/>
                  </a:lnTo>
                  <a:lnTo>
                    <a:pt x="399" y="4"/>
                  </a:lnTo>
                  <a:lnTo>
                    <a:pt x="399" y="7"/>
                  </a:lnTo>
                  <a:lnTo>
                    <a:pt x="399" y="13"/>
                  </a:lnTo>
                  <a:lnTo>
                    <a:pt x="401" y="19"/>
                  </a:lnTo>
                  <a:lnTo>
                    <a:pt x="403" y="27"/>
                  </a:lnTo>
                  <a:lnTo>
                    <a:pt x="410" y="37"/>
                  </a:lnTo>
                  <a:lnTo>
                    <a:pt x="418" y="46"/>
                  </a:lnTo>
                  <a:lnTo>
                    <a:pt x="424" y="50"/>
                  </a:lnTo>
                  <a:lnTo>
                    <a:pt x="430" y="54"/>
                  </a:lnTo>
                  <a:lnTo>
                    <a:pt x="438" y="57"/>
                  </a:lnTo>
                  <a:lnTo>
                    <a:pt x="446" y="61"/>
                  </a:lnTo>
                  <a:lnTo>
                    <a:pt x="457" y="64"/>
                  </a:lnTo>
                  <a:lnTo>
                    <a:pt x="469" y="68"/>
                  </a:lnTo>
                  <a:lnTo>
                    <a:pt x="480" y="72"/>
                  </a:lnTo>
                  <a:lnTo>
                    <a:pt x="491" y="74"/>
                  </a:lnTo>
                  <a:lnTo>
                    <a:pt x="516" y="83"/>
                  </a:lnTo>
                  <a:lnTo>
                    <a:pt x="541" y="91"/>
                  </a:lnTo>
                  <a:lnTo>
                    <a:pt x="552" y="95"/>
                  </a:lnTo>
                  <a:lnTo>
                    <a:pt x="563" y="101"/>
                  </a:lnTo>
                  <a:lnTo>
                    <a:pt x="573" y="107"/>
                  </a:lnTo>
                  <a:lnTo>
                    <a:pt x="583" y="113"/>
                  </a:lnTo>
                  <a:lnTo>
                    <a:pt x="591" y="122"/>
                  </a:lnTo>
                  <a:lnTo>
                    <a:pt x="599" y="130"/>
                  </a:lnTo>
                  <a:lnTo>
                    <a:pt x="606" y="140"/>
                  </a:lnTo>
                  <a:lnTo>
                    <a:pt x="612" y="151"/>
                  </a:lnTo>
                  <a:lnTo>
                    <a:pt x="616" y="164"/>
                  </a:lnTo>
                  <a:lnTo>
                    <a:pt x="619" y="177"/>
                  </a:lnTo>
                  <a:lnTo>
                    <a:pt x="622" y="193"/>
                  </a:lnTo>
                  <a:lnTo>
                    <a:pt x="622" y="210"/>
                  </a:lnTo>
                  <a:lnTo>
                    <a:pt x="622"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4" name="Freeform 111">
              <a:extLst>
                <a:ext uri="{FF2B5EF4-FFF2-40B4-BE49-F238E27FC236}">
                  <a16:creationId xmlns:a16="http://schemas.microsoft.com/office/drawing/2014/main" id="{F9E26865-F701-417A-B138-4DC5C5C41B08}"/>
                </a:ext>
              </a:extLst>
            </p:cNvPr>
            <p:cNvSpPr>
              <a:spLocks/>
            </p:cNvSpPr>
            <p:nvPr/>
          </p:nvSpPr>
          <p:spPr bwMode="auto">
            <a:xfrm>
              <a:off x="4506913" y="5330825"/>
              <a:ext cx="130175" cy="34925"/>
            </a:xfrm>
            <a:custGeom>
              <a:avLst/>
              <a:gdLst>
                <a:gd name="T0" fmla="*/ 78 w 325"/>
                <a:gd name="T1" fmla="*/ 87 h 87"/>
                <a:gd name="T2" fmla="*/ 59 w 325"/>
                <a:gd name="T3" fmla="*/ 87 h 87"/>
                <a:gd name="T4" fmla="*/ 40 w 325"/>
                <a:gd name="T5" fmla="*/ 85 h 87"/>
                <a:gd name="T6" fmla="*/ 20 w 325"/>
                <a:gd name="T7" fmla="*/ 82 h 87"/>
                <a:gd name="T8" fmla="*/ 0 w 325"/>
                <a:gd name="T9" fmla="*/ 77 h 87"/>
                <a:gd name="T10" fmla="*/ 11 w 325"/>
                <a:gd name="T11" fmla="*/ 33 h 87"/>
                <a:gd name="T12" fmla="*/ 32 w 325"/>
                <a:gd name="T13" fmla="*/ 38 h 87"/>
                <a:gd name="T14" fmla="*/ 53 w 325"/>
                <a:gd name="T15" fmla="*/ 41 h 87"/>
                <a:gd name="T16" fmla="*/ 74 w 325"/>
                <a:gd name="T17" fmla="*/ 42 h 87"/>
                <a:gd name="T18" fmla="*/ 92 w 325"/>
                <a:gd name="T19" fmla="*/ 41 h 87"/>
                <a:gd name="T20" fmla="*/ 110 w 325"/>
                <a:gd name="T21" fmla="*/ 39 h 87"/>
                <a:gd name="T22" fmla="*/ 126 w 325"/>
                <a:gd name="T23" fmla="*/ 37 h 87"/>
                <a:gd name="T24" fmla="*/ 142 w 325"/>
                <a:gd name="T25" fmla="*/ 33 h 87"/>
                <a:gd name="T26" fmla="*/ 157 w 325"/>
                <a:gd name="T27" fmla="*/ 30 h 87"/>
                <a:gd name="T28" fmla="*/ 181 w 325"/>
                <a:gd name="T29" fmla="*/ 21 h 87"/>
                <a:gd name="T30" fmla="*/ 200 w 325"/>
                <a:gd name="T31" fmla="*/ 14 h 87"/>
                <a:gd name="T32" fmla="*/ 212 w 325"/>
                <a:gd name="T33" fmla="*/ 8 h 87"/>
                <a:gd name="T34" fmla="*/ 216 w 325"/>
                <a:gd name="T35" fmla="*/ 4 h 87"/>
                <a:gd name="T36" fmla="*/ 219 w 325"/>
                <a:gd name="T37" fmla="*/ 3 h 87"/>
                <a:gd name="T38" fmla="*/ 223 w 325"/>
                <a:gd name="T39" fmla="*/ 1 h 87"/>
                <a:gd name="T40" fmla="*/ 228 w 325"/>
                <a:gd name="T41" fmla="*/ 0 h 87"/>
                <a:gd name="T42" fmla="*/ 232 w 325"/>
                <a:gd name="T43" fmla="*/ 0 h 87"/>
                <a:gd name="T44" fmla="*/ 235 w 325"/>
                <a:gd name="T45" fmla="*/ 1 h 87"/>
                <a:gd name="T46" fmla="*/ 239 w 325"/>
                <a:gd name="T47" fmla="*/ 3 h 87"/>
                <a:gd name="T48" fmla="*/ 243 w 325"/>
                <a:gd name="T49" fmla="*/ 5 h 87"/>
                <a:gd name="T50" fmla="*/ 245 w 325"/>
                <a:gd name="T51" fmla="*/ 8 h 87"/>
                <a:gd name="T52" fmla="*/ 251 w 325"/>
                <a:gd name="T53" fmla="*/ 11 h 87"/>
                <a:gd name="T54" fmla="*/ 266 w 325"/>
                <a:gd name="T55" fmla="*/ 20 h 87"/>
                <a:gd name="T56" fmla="*/ 277 w 325"/>
                <a:gd name="T57" fmla="*/ 25 h 87"/>
                <a:gd name="T58" fmla="*/ 291 w 325"/>
                <a:gd name="T59" fmla="*/ 28 h 87"/>
                <a:gd name="T60" fmla="*/ 307 w 325"/>
                <a:gd name="T61" fmla="*/ 32 h 87"/>
                <a:gd name="T62" fmla="*/ 325 w 325"/>
                <a:gd name="T63" fmla="*/ 32 h 87"/>
                <a:gd name="T64" fmla="*/ 325 w 325"/>
                <a:gd name="T65" fmla="*/ 79 h 87"/>
                <a:gd name="T66" fmla="*/ 308 w 325"/>
                <a:gd name="T67" fmla="*/ 77 h 87"/>
                <a:gd name="T68" fmla="*/ 292 w 325"/>
                <a:gd name="T69" fmla="*/ 76 h 87"/>
                <a:gd name="T70" fmla="*/ 278 w 325"/>
                <a:gd name="T71" fmla="*/ 73 h 87"/>
                <a:gd name="T72" fmla="*/ 265 w 325"/>
                <a:gd name="T73" fmla="*/ 69 h 87"/>
                <a:gd name="T74" fmla="*/ 254 w 325"/>
                <a:gd name="T75" fmla="*/ 65 h 87"/>
                <a:gd name="T76" fmla="*/ 243 w 325"/>
                <a:gd name="T77" fmla="*/ 60 h 87"/>
                <a:gd name="T78" fmla="*/ 234 w 325"/>
                <a:gd name="T79" fmla="*/ 55 h 87"/>
                <a:gd name="T80" fmla="*/ 227 w 325"/>
                <a:gd name="T81" fmla="*/ 52 h 87"/>
                <a:gd name="T82" fmla="*/ 217 w 325"/>
                <a:gd name="T83" fmla="*/ 57 h 87"/>
                <a:gd name="T84" fmla="*/ 204 w 325"/>
                <a:gd name="T85" fmla="*/ 63 h 87"/>
                <a:gd name="T86" fmla="*/ 188 w 325"/>
                <a:gd name="T87" fmla="*/ 69 h 87"/>
                <a:gd name="T88" fmla="*/ 170 w 325"/>
                <a:gd name="T89" fmla="*/ 74 h 87"/>
                <a:gd name="T90" fmla="*/ 150 w 325"/>
                <a:gd name="T91" fmla="*/ 80 h 87"/>
                <a:gd name="T92" fmla="*/ 127 w 325"/>
                <a:gd name="T93" fmla="*/ 84 h 87"/>
                <a:gd name="T94" fmla="*/ 103 w 325"/>
                <a:gd name="T95" fmla="*/ 86 h 87"/>
                <a:gd name="T96" fmla="*/ 78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8" y="87"/>
                  </a:moveTo>
                  <a:lnTo>
                    <a:pt x="59" y="87"/>
                  </a:lnTo>
                  <a:lnTo>
                    <a:pt x="40" y="85"/>
                  </a:lnTo>
                  <a:lnTo>
                    <a:pt x="20" y="82"/>
                  </a:lnTo>
                  <a:lnTo>
                    <a:pt x="0" y="77"/>
                  </a:lnTo>
                  <a:lnTo>
                    <a:pt x="11" y="33"/>
                  </a:lnTo>
                  <a:lnTo>
                    <a:pt x="32" y="38"/>
                  </a:lnTo>
                  <a:lnTo>
                    <a:pt x="53" y="41"/>
                  </a:lnTo>
                  <a:lnTo>
                    <a:pt x="74" y="42"/>
                  </a:lnTo>
                  <a:lnTo>
                    <a:pt x="92" y="41"/>
                  </a:lnTo>
                  <a:lnTo>
                    <a:pt x="110" y="39"/>
                  </a:lnTo>
                  <a:lnTo>
                    <a:pt x="126" y="37"/>
                  </a:lnTo>
                  <a:lnTo>
                    <a:pt x="142" y="33"/>
                  </a:lnTo>
                  <a:lnTo>
                    <a:pt x="157" y="30"/>
                  </a:lnTo>
                  <a:lnTo>
                    <a:pt x="181" y="21"/>
                  </a:lnTo>
                  <a:lnTo>
                    <a:pt x="200" y="14"/>
                  </a:lnTo>
                  <a:lnTo>
                    <a:pt x="212" y="8"/>
                  </a:lnTo>
                  <a:lnTo>
                    <a:pt x="216" y="4"/>
                  </a:lnTo>
                  <a:lnTo>
                    <a:pt x="219" y="3"/>
                  </a:lnTo>
                  <a:lnTo>
                    <a:pt x="223" y="1"/>
                  </a:lnTo>
                  <a:lnTo>
                    <a:pt x="228" y="0"/>
                  </a:lnTo>
                  <a:lnTo>
                    <a:pt x="232" y="0"/>
                  </a:lnTo>
                  <a:lnTo>
                    <a:pt x="235" y="1"/>
                  </a:lnTo>
                  <a:lnTo>
                    <a:pt x="239" y="3"/>
                  </a:lnTo>
                  <a:lnTo>
                    <a:pt x="243" y="5"/>
                  </a:lnTo>
                  <a:lnTo>
                    <a:pt x="245" y="8"/>
                  </a:lnTo>
                  <a:lnTo>
                    <a:pt x="251" y="11"/>
                  </a:lnTo>
                  <a:lnTo>
                    <a:pt x="266" y="20"/>
                  </a:lnTo>
                  <a:lnTo>
                    <a:pt x="277" y="25"/>
                  </a:lnTo>
                  <a:lnTo>
                    <a:pt x="291" y="28"/>
                  </a:lnTo>
                  <a:lnTo>
                    <a:pt x="307" y="32"/>
                  </a:lnTo>
                  <a:lnTo>
                    <a:pt x="325" y="32"/>
                  </a:lnTo>
                  <a:lnTo>
                    <a:pt x="325" y="79"/>
                  </a:lnTo>
                  <a:lnTo>
                    <a:pt x="308" y="77"/>
                  </a:lnTo>
                  <a:lnTo>
                    <a:pt x="292" y="76"/>
                  </a:lnTo>
                  <a:lnTo>
                    <a:pt x="278" y="73"/>
                  </a:lnTo>
                  <a:lnTo>
                    <a:pt x="265" y="69"/>
                  </a:lnTo>
                  <a:lnTo>
                    <a:pt x="254" y="65"/>
                  </a:lnTo>
                  <a:lnTo>
                    <a:pt x="243" y="60"/>
                  </a:lnTo>
                  <a:lnTo>
                    <a:pt x="234" y="55"/>
                  </a:lnTo>
                  <a:lnTo>
                    <a:pt x="227" y="52"/>
                  </a:lnTo>
                  <a:lnTo>
                    <a:pt x="217" y="57"/>
                  </a:lnTo>
                  <a:lnTo>
                    <a:pt x="204" y="63"/>
                  </a:lnTo>
                  <a:lnTo>
                    <a:pt x="188" y="69"/>
                  </a:lnTo>
                  <a:lnTo>
                    <a:pt x="170" y="74"/>
                  </a:lnTo>
                  <a:lnTo>
                    <a:pt x="150" y="80"/>
                  </a:lnTo>
                  <a:lnTo>
                    <a:pt x="127" y="84"/>
                  </a:lnTo>
                  <a:lnTo>
                    <a:pt x="103" y="86"/>
                  </a:lnTo>
                  <a:lnTo>
                    <a:pt x="78"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5" name="Freeform 173">
              <a:extLst>
                <a:ext uri="{FF2B5EF4-FFF2-40B4-BE49-F238E27FC236}">
                  <a16:creationId xmlns:a16="http://schemas.microsoft.com/office/drawing/2014/main" id="{B3720F0F-96B6-451F-B61E-269F06811910}"/>
                </a:ext>
              </a:extLst>
            </p:cNvPr>
            <p:cNvSpPr>
              <a:spLocks/>
            </p:cNvSpPr>
            <p:nvPr/>
          </p:nvSpPr>
          <p:spPr bwMode="auto">
            <a:xfrm>
              <a:off x="4346576" y="5219700"/>
              <a:ext cx="215900" cy="455613"/>
            </a:xfrm>
            <a:custGeom>
              <a:avLst/>
              <a:gdLst>
                <a:gd name="T0" fmla="*/ 520 w 546"/>
                <a:gd name="T1" fmla="*/ 1147 h 1147"/>
                <a:gd name="T2" fmla="*/ 439 w 546"/>
                <a:gd name="T3" fmla="*/ 1132 h 1147"/>
                <a:gd name="T4" fmla="*/ 363 w 546"/>
                <a:gd name="T5" fmla="*/ 1109 h 1147"/>
                <a:gd name="T6" fmla="*/ 290 w 546"/>
                <a:gd name="T7" fmla="*/ 1075 h 1147"/>
                <a:gd name="T8" fmla="*/ 225 w 546"/>
                <a:gd name="T9" fmla="*/ 1032 h 1147"/>
                <a:gd name="T10" fmla="*/ 167 w 546"/>
                <a:gd name="T11" fmla="*/ 980 h 1147"/>
                <a:gd name="T12" fmla="*/ 116 w 546"/>
                <a:gd name="T13" fmla="*/ 922 h 1147"/>
                <a:gd name="T14" fmla="*/ 73 w 546"/>
                <a:gd name="T15" fmla="*/ 856 h 1147"/>
                <a:gd name="T16" fmla="*/ 40 w 546"/>
                <a:gd name="T17" fmla="*/ 785 h 1147"/>
                <a:gd name="T18" fmla="*/ 16 w 546"/>
                <a:gd name="T19" fmla="*/ 709 h 1147"/>
                <a:gd name="T20" fmla="*/ 3 w 546"/>
                <a:gd name="T21" fmla="*/ 628 h 1147"/>
                <a:gd name="T22" fmla="*/ 1 w 546"/>
                <a:gd name="T23" fmla="*/ 546 h 1147"/>
                <a:gd name="T24" fmla="*/ 11 w 546"/>
                <a:gd name="T25" fmla="*/ 465 h 1147"/>
                <a:gd name="T26" fmla="*/ 30 w 546"/>
                <a:gd name="T27" fmla="*/ 388 h 1147"/>
                <a:gd name="T28" fmla="*/ 61 w 546"/>
                <a:gd name="T29" fmla="*/ 316 h 1147"/>
                <a:gd name="T30" fmla="*/ 100 w 546"/>
                <a:gd name="T31" fmla="*/ 248 h 1147"/>
                <a:gd name="T32" fmla="*/ 148 w 546"/>
                <a:gd name="T33" fmla="*/ 187 h 1147"/>
                <a:gd name="T34" fmla="*/ 205 w 546"/>
                <a:gd name="T35" fmla="*/ 133 h 1147"/>
                <a:gd name="T36" fmla="*/ 267 w 546"/>
                <a:gd name="T37" fmla="*/ 87 h 1147"/>
                <a:gd name="T38" fmla="*/ 336 w 546"/>
                <a:gd name="T39" fmla="*/ 49 h 1147"/>
                <a:gd name="T40" fmla="*/ 411 w 546"/>
                <a:gd name="T41" fmla="*/ 21 h 1147"/>
                <a:gd name="T42" fmla="*/ 490 w 546"/>
                <a:gd name="T43" fmla="*/ 4 h 1147"/>
                <a:gd name="T44" fmla="*/ 527 w 546"/>
                <a:gd name="T45" fmla="*/ 2 h 1147"/>
                <a:gd name="T46" fmla="*/ 537 w 546"/>
                <a:gd name="T47" fmla="*/ 9 h 1147"/>
                <a:gd name="T48" fmla="*/ 543 w 546"/>
                <a:gd name="T49" fmla="*/ 21 h 1147"/>
                <a:gd name="T50" fmla="*/ 541 w 546"/>
                <a:gd name="T51" fmla="*/ 35 h 1147"/>
                <a:gd name="T52" fmla="*/ 531 w 546"/>
                <a:gd name="T53" fmla="*/ 43 h 1147"/>
                <a:gd name="T54" fmla="*/ 496 w 546"/>
                <a:gd name="T55" fmla="*/ 49 h 1147"/>
                <a:gd name="T56" fmla="*/ 424 w 546"/>
                <a:gd name="T57" fmla="*/ 65 h 1147"/>
                <a:gd name="T58" fmla="*/ 355 w 546"/>
                <a:gd name="T59" fmla="*/ 91 h 1147"/>
                <a:gd name="T60" fmla="*/ 292 w 546"/>
                <a:gd name="T61" fmla="*/ 125 h 1147"/>
                <a:gd name="T62" fmla="*/ 234 w 546"/>
                <a:gd name="T63" fmla="*/ 168 h 1147"/>
                <a:gd name="T64" fmla="*/ 182 w 546"/>
                <a:gd name="T65" fmla="*/ 217 h 1147"/>
                <a:gd name="T66" fmla="*/ 138 w 546"/>
                <a:gd name="T67" fmla="*/ 274 h 1147"/>
                <a:gd name="T68" fmla="*/ 102 w 546"/>
                <a:gd name="T69" fmla="*/ 335 h 1147"/>
                <a:gd name="T70" fmla="*/ 75 w 546"/>
                <a:gd name="T71" fmla="*/ 403 h 1147"/>
                <a:gd name="T72" fmla="*/ 56 w 546"/>
                <a:gd name="T73" fmla="*/ 474 h 1147"/>
                <a:gd name="T74" fmla="*/ 46 w 546"/>
                <a:gd name="T75" fmla="*/ 547 h 1147"/>
                <a:gd name="T76" fmla="*/ 49 w 546"/>
                <a:gd name="T77" fmla="*/ 625 h 1147"/>
                <a:gd name="T78" fmla="*/ 61 w 546"/>
                <a:gd name="T79" fmla="*/ 698 h 1147"/>
                <a:gd name="T80" fmla="*/ 83 w 546"/>
                <a:gd name="T81" fmla="*/ 768 h 1147"/>
                <a:gd name="T82" fmla="*/ 114 w 546"/>
                <a:gd name="T83" fmla="*/ 833 h 1147"/>
                <a:gd name="T84" fmla="*/ 153 w 546"/>
                <a:gd name="T85" fmla="*/ 893 h 1147"/>
                <a:gd name="T86" fmla="*/ 200 w 546"/>
                <a:gd name="T87" fmla="*/ 947 h 1147"/>
                <a:gd name="T88" fmla="*/ 254 w 546"/>
                <a:gd name="T89" fmla="*/ 995 h 1147"/>
                <a:gd name="T90" fmla="*/ 314 w 546"/>
                <a:gd name="T91" fmla="*/ 1034 h 1147"/>
                <a:gd name="T92" fmla="*/ 379 w 546"/>
                <a:gd name="T93" fmla="*/ 1066 h 1147"/>
                <a:gd name="T94" fmla="*/ 450 w 546"/>
                <a:gd name="T95" fmla="*/ 1088 h 1147"/>
                <a:gd name="T96" fmla="*/ 525 w 546"/>
                <a:gd name="T97" fmla="*/ 1101 h 1147"/>
                <a:gd name="T98" fmla="*/ 537 w 546"/>
                <a:gd name="T99" fmla="*/ 1106 h 1147"/>
                <a:gd name="T100" fmla="*/ 544 w 546"/>
                <a:gd name="T101" fmla="*/ 1117 h 1147"/>
                <a:gd name="T102" fmla="*/ 544 w 546"/>
                <a:gd name="T103" fmla="*/ 1130 h 1147"/>
                <a:gd name="T104" fmla="*/ 538 w 546"/>
                <a:gd name="T105" fmla="*/ 1141 h 1147"/>
                <a:gd name="T106" fmla="*/ 527 w 546"/>
                <a:gd name="T107" fmla="*/ 1146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7">
                  <a:moveTo>
                    <a:pt x="522" y="1147"/>
                  </a:moveTo>
                  <a:lnTo>
                    <a:pt x="521" y="1147"/>
                  </a:lnTo>
                  <a:lnTo>
                    <a:pt x="520" y="1147"/>
                  </a:lnTo>
                  <a:lnTo>
                    <a:pt x="493" y="1144"/>
                  </a:lnTo>
                  <a:lnTo>
                    <a:pt x="466" y="1139"/>
                  </a:lnTo>
                  <a:lnTo>
                    <a:pt x="439" y="1132"/>
                  </a:lnTo>
                  <a:lnTo>
                    <a:pt x="413" y="1126"/>
                  </a:lnTo>
                  <a:lnTo>
                    <a:pt x="387" y="1118"/>
                  </a:lnTo>
                  <a:lnTo>
                    <a:pt x="363" y="1109"/>
                  </a:lnTo>
                  <a:lnTo>
                    <a:pt x="338" y="1098"/>
                  </a:lnTo>
                  <a:lnTo>
                    <a:pt x="314" y="1087"/>
                  </a:lnTo>
                  <a:lnTo>
                    <a:pt x="290" y="1075"/>
                  </a:lnTo>
                  <a:lnTo>
                    <a:pt x="268" y="1061"/>
                  </a:lnTo>
                  <a:lnTo>
                    <a:pt x="246" y="1047"/>
                  </a:lnTo>
                  <a:lnTo>
                    <a:pt x="225" y="1032"/>
                  </a:lnTo>
                  <a:lnTo>
                    <a:pt x="206" y="1015"/>
                  </a:lnTo>
                  <a:lnTo>
                    <a:pt x="186" y="998"/>
                  </a:lnTo>
                  <a:lnTo>
                    <a:pt x="167" y="980"/>
                  </a:lnTo>
                  <a:lnTo>
                    <a:pt x="149" y="961"/>
                  </a:lnTo>
                  <a:lnTo>
                    <a:pt x="132" y="941"/>
                  </a:lnTo>
                  <a:lnTo>
                    <a:pt x="116" y="922"/>
                  </a:lnTo>
                  <a:lnTo>
                    <a:pt x="100" y="901"/>
                  </a:lnTo>
                  <a:lnTo>
                    <a:pt x="87" y="879"/>
                  </a:lnTo>
                  <a:lnTo>
                    <a:pt x="73" y="856"/>
                  </a:lnTo>
                  <a:lnTo>
                    <a:pt x="61" y="833"/>
                  </a:lnTo>
                  <a:lnTo>
                    <a:pt x="50" y="809"/>
                  </a:lnTo>
                  <a:lnTo>
                    <a:pt x="40" y="785"/>
                  </a:lnTo>
                  <a:lnTo>
                    <a:pt x="30" y="760"/>
                  </a:lnTo>
                  <a:lnTo>
                    <a:pt x="23" y="735"/>
                  </a:lnTo>
                  <a:lnTo>
                    <a:pt x="16" y="709"/>
                  </a:lnTo>
                  <a:lnTo>
                    <a:pt x="11" y="682"/>
                  </a:lnTo>
                  <a:lnTo>
                    <a:pt x="6" y="655"/>
                  </a:lnTo>
                  <a:lnTo>
                    <a:pt x="3" y="628"/>
                  </a:lnTo>
                  <a:lnTo>
                    <a:pt x="1" y="601"/>
                  </a:lnTo>
                  <a:lnTo>
                    <a:pt x="0" y="573"/>
                  </a:lnTo>
                  <a:lnTo>
                    <a:pt x="1" y="546"/>
                  </a:lnTo>
                  <a:lnTo>
                    <a:pt x="3" y="518"/>
                  </a:lnTo>
                  <a:lnTo>
                    <a:pt x="6" y="491"/>
                  </a:lnTo>
                  <a:lnTo>
                    <a:pt x="11" y="465"/>
                  </a:lnTo>
                  <a:lnTo>
                    <a:pt x="16" y="438"/>
                  </a:lnTo>
                  <a:lnTo>
                    <a:pt x="23" y="412"/>
                  </a:lnTo>
                  <a:lnTo>
                    <a:pt x="30" y="388"/>
                  </a:lnTo>
                  <a:lnTo>
                    <a:pt x="40" y="363"/>
                  </a:lnTo>
                  <a:lnTo>
                    <a:pt x="50" y="339"/>
                  </a:lnTo>
                  <a:lnTo>
                    <a:pt x="61" y="316"/>
                  </a:lnTo>
                  <a:lnTo>
                    <a:pt x="73" y="292"/>
                  </a:lnTo>
                  <a:lnTo>
                    <a:pt x="86" y="270"/>
                  </a:lnTo>
                  <a:lnTo>
                    <a:pt x="100" y="248"/>
                  </a:lnTo>
                  <a:lnTo>
                    <a:pt x="115" y="227"/>
                  </a:lnTo>
                  <a:lnTo>
                    <a:pt x="131" y="206"/>
                  </a:lnTo>
                  <a:lnTo>
                    <a:pt x="148" y="187"/>
                  </a:lnTo>
                  <a:lnTo>
                    <a:pt x="167" y="168"/>
                  </a:lnTo>
                  <a:lnTo>
                    <a:pt x="185" y="150"/>
                  </a:lnTo>
                  <a:lnTo>
                    <a:pt x="205" y="133"/>
                  </a:lnTo>
                  <a:lnTo>
                    <a:pt x="224" y="117"/>
                  </a:lnTo>
                  <a:lnTo>
                    <a:pt x="245" y="101"/>
                  </a:lnTo>
                  <a:lnTo>
                    <a:pt x="267" y="87"/>
                  </a:lnTo>
                  <a:lnTo>
                    <a:pt x="289" y="74"/>
                  </a:lnTo>
                  <a:lnTo>
                    <a:pt x="312" y="60"/>
                  </a:lnTo>
                  <a:lnTo>
                    <a:pt x="336" y="49"/>
                  </a:lnTo>
                  <a:lnTo>
                    <a:pt x="360" y="40"/>
                  </a:lnTo>
                  <a:lnTo>
                    <a:pt x="385" y="30"/>
                  </a:lnTo>
                  <a:lnTo>
                    <a:pt x="411" y="21"/>
                  </a:lnTo>
                  <a:lnTo>
                    <a:pt x="436" y="14"/>
                  </a:lnTo>
                  <a:lnTo>
                    <a:pt x="463" y="9"/>
                  </a:lnTo>
                  <a:lnTo>
                    <a:pt x="490" y="4"/>
                  </a:lnTo>
                  <a:lnTo>
                    <a:pt x="517" y="0"/>
                  </a:lnTo>
                  <a:lnTo>
                    <a:pt x="522" y="0"/>
                  </a:lnTo>
                  <a:lnTo>
                    <a:pt x="527" y="2"/>
                  </a:lnTo>
                  <a:lnTo>
                    <a:pt x="531" y="3"/>
                  </a:lnTo>
                  <a:lnTo>
                    <a:pt x="534" y="5"/>
                  </a:lnTo>
                  <a:lnTo>
                    <a:pt x="537" y="9"/>
                  </a:lnTo>
                  <a:lnTo>
                    <a:pt x="539" y="13"/>
                  </a:lnTo>
                  <a:lnTo>
                    <a:pt x="542" y="16"/>
                  </a:lnTo>
                  <a:lnTo>
                    <a:pt x="543" y="21"/>
                  </a:lnTo>
                  <a:lnTo>
                    <a:pt x="543" y="26"/>
                  </a:lnTo>
                  <a:lnTo>
                    <a:pt x="542" y="30"/>
                  </a:lnTo>
                  <a:lnTo>
                    <a:pt x="541" y="35"/>
                  </a:lnTo>
                  <a:lnTo>
                    <a:pt x="538" y="38"/>
                  </a:lnTo>
                  <a:lnTo>
                    <a:pt x="534" y="41"/>
                  </a:lnTo>
                  <a:lnTo>
                    <a:pt x="531" y="43"/>
                  </a:lnTo>
                  <a:lnTo>
                    <a:pt x="527" y="46"/>
                  </a:lnTo>
                  <a:lnTo>
                    <a:pt x="522" y="46"/>
                  </a:lnTo>
                  <a:lnTo>
                    <a:pt x="496" y="49"/>
                  </a:lnTo>
                  <a:lnTo>
                    <a:pt x="472" y="54"/>
                  </a:lnTo>
                  <a:lnTo>
                    <a:pt x="447" y="59"/>
                  </a:lnTo>
                  <a:lnTo>
                    <a:pt x="424" y="65"/>
                  </a:lnTo>
                  <a:lnTo>
                    <a:pt x="401" y="73"/>
                  </a:lnTo>
                  <a:lnTo>
                    <a:pt x="377" y="81"/>
                  </a:lnTo>
                  <a:lnTo>
                    <a:pt x="355" y="91"/>
                  </a:lnTo>
                  <a:lnTo>
                    <a:pt x="333" y="102"/>
                  </a:lnTo>
                  <a:lnTo>
                    <a:pt x="312" y="113"/>
                  </a:lnTo>
                  <a:lnTo>
                    <a:pt x="292" y="125"/>
                  </a:lnTo>
                  <a:lnTo>
                    <a:pt x="272" y="139"/>
                  </a:lnTo>
                  <a:lnTo>
                    <a:pt x="252" y="154"/>
                  </a:lnTo>
                  <a:lnTo>
                    <a:pt x="234" y="168"/>
                  </a:lnTo>
                  <a:lnTo>
                    <a:pt x="216" y="184"/>
                  </a:lnTo>
                  <a:lnTo>
                    <a:pt x="198" y="200"/>
                  </a:lnTo>
                  <a:lnTo>
                    <a:pt x="182" y="217"/>
                  </a:lnTo>
                  <a:lnTo>
                    <a:pt x="167" y="236"/>
                  </a:lnTo>
                  <a:lnTo>
                    <a:pt x="152" y="254"/>
                  </a:lnTo>
                  <a:lnTo>
                    <a:pt x="138" y="274"/>
                  </a:lnTo>
                  <a:lnTo>
                    <a:pt x="125" y="293"/>
                  </a:lnTo>
                  <a:lnTo>
                    <a:pt x="114" y="314"/>
                  </a:lnTo>
                  <a:lnTo>
                    <a:pt x="102" y="335"/>
                  </a:lnTo>
                  <a:lnTo>
                    <a:pt x="92" y="357"/>
                  </a:lnTo>
                  <a:lnTo>
                    <a:pt x="83" y="379"/>
                  </a:lnTo>
                  <a:lnTo>
                    <a:pt x="75" y="403"/>
                  </a:lnTo>
                  <a:lnTo>
                    <a:pt x="67" y="426"/>
                  </a:lnTo>
                  <a:lnTo>
                    <a:pt x="61" y="449"/>
                  </a:lnTo>
                  <a:lnTo>
                    <a:pt x="56" y="474"/>
                  </a:lnTo>
                  <a:lnTo>
                    <a:pt x="51" y="498"/>
                  </a:lnTo>
                  <a:lnTo>
                    <a:pt x="49" y="523"/>
                  </a:lnTo>
                  <a:lnTo>
                    <a:pt x="46" y="547"/>
                  </a:lnTo>
                  <a:lnTo>
                    <a:pt x="46" y="573"/>
                  </a:lnTo>
                  <a:lnTo>
                    <a:pt x="46" y="599"/>
                  </a:lnTo>
                  <a:lnTo>
                    <a:pt x="49" y="625"/>
                  </a:lnTo>
                  <a:lnTo>
                    <a:pt x="51" y="649"/>
                  </a:lnTo>
                  <a:lnTo>
                    <a:pt x="56" y="674"/>
                  </a:lnTo>
                  <a:lnTo>
                    <a:pt x="61" y="698"/>
                  </a:lnTo>
                  <a:lnTo>
                    <a:pt x="67" y="722"/>
                  </a:lnTo>
                  <a:lnTo>
                    <a:pt x="75" y="745"/>
                  </a:lnTo>
                  <a:lnTo>
                    <a:pt x="83" y="768"/>
                  </a:lnTo>
                  <a:lnTo>
                    <a:pt x="92" y="790"/>
                  </a:lnTo>
                  <a:lnTo>
                    <a:pt x="103" y="812"/>
                  </a:lnTo>
                  <a:lnTo>
                    <a:pt x="114" y="833"/>
                  </a:lnTo>
                  <a:lnTo>
                    <a:pt x="126" y="854"/>
                  </a:lnTo>
                  <a:lnTo>
                    <a:pt x="138" y="874"/>
                  </a:lnTo>
                  <a:lnTo>
                    <a:pt x="153" y="893"/>
                  </a:lnTo>
                  <a:lnTo>
                    <a:pt x="168" y="912"/>
                  </a:lnTo>
                  <a:lnTo>
                    <a:pt x="184" y="930"/>
                  </a:lnTo>
                  <a:lnTo>
                    <a:pt x="200" y="947"/>
                  </a:lnTo>
                  <a:lnTo>
                    <a:pt x="217" y="964"/>
                  </a:lnTo>
                  <a:lnTo>
                    <a:pt x="235" y="980"/>
                  </a:lnTo>
                  <a:lnTo>
                    <a:pt x="254" y="995"/>
                  </a:lnTo>
                  <a:lnTo>
                    <a:pt x="273" y="1009"/>
                  </a:lnTo>
                  <a:lnTo>
                    <a:pt x="293" y="1022"/>
                  </a:lnTo>
                  <a:lnTo>
                    <a:pt x="314" y="1034"/>
                  </a:lnTo>
                  <a:lnTo>
                    <a:pt x="335" y="1045"/>
                  </a:lnTo>
                  <a:lnTo>
                    <a:pt x="357" y="1056"/>
                  </a:lnTo>
                  <a:lnTo>
                    <a:pt x="379" y="1066"/>
                  </a:lnTo>
                  <a:lnTo>
                    <a:pt x="402" y="1075"/>
                  </a:lnTo>
                  <a:lnTo>
                    <a:pt x="425" y="1082"/>
                  </a:lnTo>
                  <a:lnTo>
                    <a:pt x="450" y="1088"/>
                  </a:lnTo>
                  <a:lnTo>
                    <a:pt x="474" y="1093"/>
                  </a:lnTo>
                  <a:lnTo>
                    <a:pt x="499" y="1098"/>
                  </a:lnTo>
                  <a:lnTo>
                    <a:pt x="525" y="1101"/>
                  </a:lnTo>
                  <a:lnTo>
                    <a:pt x="530" y="1102"/>
                  </a:lnTo>
                  <a:lnTo>
                    <a:pt x="533" y="1103"/>
                  </a:lnTo>
                  <a:lnTo>
                    <a:pt x="537" y="1106"/>
                  </a:lnTo>
                  <a:lnTo>
                    <a:pt x="541" y="1109"/>
                  </a:lnTo>
                  <a:lnTo>
                    <a:pt x="543" y="1113"/>
                  </a:lnTo>
                  <a:lnTo>
                    <a:pt x="544" y="1117"/>
                  </a:lnTo>
                  <a:lnTo>
                    <a:pt x="546" y="1121"/>
                  </a:lnTo>
                  <a:lnTo>
                    <a:pt x="546" y="1126"/>
                  </a:lnTo>
                  <a:lnTo>
                    <a:pt x="544" y="1130"/>
                  </a:lnTo>
                  <a:lnTo>
                    <a:pt x="543" y="1134"/>
                  </a:lnTo>
                  <a:lnTo>
                    <a:pt x="541" y="1137"/>
                  </a:lnTo>
                  <a:lnTo>
                    <a:pt x="538" y="1141"/>
                  </a:lnTo>
                  <a:lnTo>
                    <a:pt x="534" y="1144"/>
                  </a:lnTo>
                  <a:lnTo>
                    <a:pt x="531" y="1145"/>
                  </a:lnTo>
                  <a:lnTo>
                    <a:pt x="527" y="1146"/>
                  </a:lnTo>
                  <a:lnTo>
                    <a:pt x="522"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6" name="Freeform 174">
              <a:extLst>
                <a:ext uri="{FF2B5EF4-FFF2-40B4-BE49-F238E27FC236}">
                  <a16:creationId xmlns:a16="http://schemas.microsoft.com/office/drawing/2014/main" id="{78DF2834-D4CE-439E-9402-7620EFEF3A46}"/>
                </a:ext>
              </a:extLst>
            </p:cNvPr>
            <p:cNvSpPr>
              <a:spLocks/>
            </p:cNvSpPr>
            <p:nvPr/>
          </p:nvSpPr>
          <p:spPr bwMode="auto">
            <a:xfrm>
              <a:off x="4522788" y="5194300"/>
              <a:ext cx="47625" cy="74613"/>
            </a:xfrm>
            <a:custGeom>
              <a:avLst/>
              <a:gdLst>
                <a:gd name="T0" fmla="*/ 23 w 120"/>
                <a:gd name="T1" fmla="*/ 191 h 191"/>
                <a:gd name="T2" fmla="*/ 18 w 120"/>
                <a:gd name="T3" fmla="*/ 191 h 191"/>
                <a:gd name="T4" fmla="*/ 15 w 120"/>
                <a:gd name="T5" fmla="*/ 190 h 191"/>
                <a:gd name="T6" fmla="*/ 11 w 120"/>
                <a:gd name="T7" fmla="*/ 188 h 191"/>
                <a:gd name="T8" fmla="*/ 7 w 120"/>
                <a:gd name="T9" fmla="*/ 185 h 191"/>
                <a:gd name="T10" fmla="*/ 4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4 w 120"/>
                <a:gd name="T23" fmla="*/ 156 h 191"/>
                <a:gd name="T24" fmla="*/ 7 w 120"/>
                <a:gd name="T25" fmla="*/ 152 h 191"/>
                <a:gd name="T26" fmla="*/ 64 w 120"/>
                <a:gd name="T27" fmla="*/ 96 h 191"/>
                <a:gd name="T28" fmla="*/ 9 w 120"/>
                <a:gd name="T29" fmla="*/ 39 h 191"/>
                <a:gd name="T30" fmla="*/ 5 w 120"/>
                <a:gd name="T31" fmla="*/ 36 h 191"/>
                <a:gd name="T32" fmla="*/ 4 w 120"/>
                <a:gd name="T33" fmla="*/ 32 h 191"/>
                <a:gd name="T34" fmla="*/ 2 w 120"/>
                <a:gd name="T35" fmla="*/ 28 h 191"/>
                <a:gd name="T36" fmla="*/ 1 w 120"/>
                <a:gd name="T37" fmla="*/ 23 h 191"/>
                <a:gd name="T38" fmla="*/ 2 w 120"/>
                <a:gd name="T39" fmla="*/ 18 h 191"/>
                <a:gd name="T40" fmla="*/ 4 w 120"/>
                <a:gd name="T41" fmla="*/ 15 h 191"/>
                <a:gd name="T42" fmla="*/ 5 w 120"/>
                <a:gd name="T43" fmla="*/ 11 h 191"/>
                <a:gd name="T44" fmla="*/ 9 w 120"/>
                <a:gd name="T45" fmla="*/ 7 h 191"/>
                <a:gd name="T46" fmla="*/ 12 w 120"/>
                <a:gd name="T47" fmla="*/ 4 h 191"/>
                <a:gd name="T48" fmla="*/ 16 w 120"/>
                <a:gd name="T49" fmla="*/ 2 h 191"/>
                <a:gd name="T50" fmla="*/ 20 w 120"/>
                <a:gd name="T51" fmla="*/ 1 h 191"/>
                <a:gd name="T52" fmla="*/ 24 w 120"/>
                <a:gd name="T53" fmla="*/ 0 h 191"/>
                <a:gd name="T54" fmla="*/ 29 w 120"/>
                <a:gd name="T55" fmla="*/ 1 h 191"/>
                <a:gd name="T56" fmla="*/ 33 w 120"/>
                <a:gd name="T57" fmla="*/ 2 h 191"/>
                <a:gd name="T58" fmla="*/ 37 w 120"/>
                <a:gd name="T59" fmla="*/ 4 h 191"/>
                <a:gd name="T60" fmla="*/ 40 w 120"/>
                <a:gd name="T61" fmla="*/ 7 h 191"/>
                <a:gd name="T62" fmla="*/ 113 w 120"/>
                <a:gd name="T63" fmla="*/ 79 h 191"/>
                <a:gd name="T64" fmla="*/ 115 w 120"/>
                <a:gd name="T65" fmla="*/ 82 h 191"/>
                <a:gd name="T66" fmla="*/ 118 w 120"/>
                <a:gd name="T67" fmla="*/ 87 h 191"/>
                <a:gd name="T68" fmla="*/ 119 w 120"/>
                <a:gd name="T69" fmla="*/ 91 h 191"/>
                <a:gd name="T70" fmla="*/ 120 w 120"/>
                <a:gd name="T71" fmla="*/ 96 h 191"/>
                <a:gd name="T72" fmla="*/ 119 w 120"/>
                <a:gd name="T73" fmla="*/ 99 h 191"/>
                <a:gd name="T74" fmla="*/ 118 w 120"/>
                <a:gd name="T75" fmla="*/ 104 h 191"/>
                <a:gd name="T76" fmla="*/ 115 w 120"/>
                <a:gd name="T77" fmla="*/ 108 h 191"/>
                <a:gd name="T78" fmla="*/ 113 w 120"/>
                <a:gd name="T79" fmla="*/ 112 h 191"/>
                <a:gd name="T80" fmla="*/ 39 w 120"/>
                <a:gd name="T81" fmla="*/ 185 h 191"/>
                <a:gd name="T82" fmla="*/ 36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8" y="191"/>
                  </a:lnTo>
                  <a:lnTo>
                    <a:pt x="15" y="190"/>
                  </a:lnTo>
                  <a:lnTo>
                    <a:pt x="11" y="188"/>
                  </a:lnTo>
                  <a:lnTo>
                    <a:pt x="7" y="185"/>
                  </a:lnTo>
                  <a:lnTo>
                    <a:pt x="4" y="182"/>
                  </a:lnTo>
                  <a:lnTo>
                    <a:pt x="2" y="178"/>
                  </a:lnTo>
                  <a:lnTo>
                    <a:pt x="1" y="173"/>
                  </a:lnTo>
                  <a:lnTo>
                    <a:pt x="0" y="168"/>
                  </a:lnTo>
                  <a:lnTo>
                    <a:pt x="1" y="164"/>
                  </a:lnTo>
                  <a:lnTo>
                    <a:pt x="2" y="160"/>
                  </a:lnTo>
                  <a:lnTo>
                    <a:pt x="4" y="156"/>
                  </a:lnTo>
                  <a:lnTo>
                    <a:pt x="7" y="152"/>
                  </a:lnTo>
                  <a:lnTo>
                    <a:pt x="64" y="96"/>
                  </a:lnTo>
                  <a:lnTo>
                    <a:pt x="9" y="39"/>
                  </a:lnTo>
                  <a:lnTo>
                    <a:pt x="5" y="36"/>
                  </a:lnTo>
                  <a:lnTo>
                    <a:pt x="4" y="32"/>
                  </a:lnTo>
                  <a:lnTo>
                    <a:pt x="2" y="28"/>
                  </a:lnTo>
                  <a:lnTo>
                    <a:pt x="1" y="23"/>
                  </a:lnTo>
                  <a:lnTo>
                    <a:pt x="2" y="18"/>
                  </a:lnTo>
                  <a:lnTo>
                    <a:pt x="4" y="15"/>
                  </a:lnTo>
                  <a:lnTo>
                    <a:pt x="5" y="11"/>
                  </a:lnTo>
                  <a:lnTo>
                    <a:pt x="9" y="7"/>
                  </a:lnTo>
                  <a:lnTo>
                    <a:pt x="12" y="4"/>
                  </a:lnTo>
                  <a:lnTo>
                    <a:pt x="16" y="2"/>
                  </a:lnTo>
                  <a:lnTo>
                    <a:pt x="20" y="1"/>
                  </a:lnTo>
                  <a:lnTo>
                    <a:pt x="24" y="0"/>
                  </a:lnTo>
                  <a:lnTo>
                    <a:pt x="29" y="1"/>
                  </a:lnTo>
                  <a:lnTo>
                    <a:pt x="33" y="2"/>
                  </a:lnTo>
                  <a:lnTo>
                    <a:pt x="37" y="4"/>
                  </a:lnTo>
                  <a:lnTo>
                    <a:pt x="40" y="7"/>
                  </a:lnTo>
                  <a:lnTo>
                    <a:pt x="113" y="79"/>
                  </a:lnTo>
                  <a:lnTo>
                    <a:pt x="115" y="82"/>
                  </a:lnTo>
                  <a:lnTo>
                    <a:pt x="118" y="87"/>
                  </a:lnTo>
                  <a:lnTo>
                    <a:pt x="119" y="91"/>
                  </a:lnTo>
                  <a:lnTo>
                    <a:pt x="120" y="96"/>
                  </a:lnTo>
                  <a:lnTo>
                    <a:pt x="119" y="99"/>
                  </a:lnTo>
                  <a:lnTo>
                    <a:pt x="118" y="104"/>
                  </a:lnTo>
                  <a:lnTo>
                    <a:pt x="115" y="108"/>
                  </a:lnTo>
                  <a:lnTo>
                    <a:pt x="113" y="112"/>
                  </a:lnTo>
                  <a:lnTo>
                    <a:pt x="39" y="185"/>
                  </a:lnTo>
                  <a:lnTo>
                    <a:pt x="36"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7" name="Freeform 175">
              <a:extLst>
                <a:ext uri="{FF2B5EF4-FFF2-40B4-BE49-F238E27FC236}">
                  <a16:creationId xmlns:a16="http://schemas.microsoft.com/office/drawing/2014/main" id="{0D455184-CE2C-4F04-B214-9967EF8436DD}"/>
                </a:ext>
              </a:extLst>
            </p:cNvPr>
            <p:cNvSpPr>
              <a:spLocks/>
            </p:cNvSpPr>
            <p:nvPr/>
          </p:nvSpPr>
          <p:spPr bwMode="auto">
            <a:xfrm>
              <a:off x="4586288" y="5218113"/>
              <a:ext cx="217488" cy="455613"/>
            </a:xfrm>
            <a:custGeom>
              <a:avLst/>
              <a:gdLst>
                <a:gd name="T0" fmla="*/ 17 w 546"/>
                <a:gd name="T1" fmla="*/ 1144 h 1146"/>
                <a:gd name="T2" fmla="*/ 7 w 546"/>
                <a:gd name="T3" fmla="*/ 1137 h 1146"/>
                <a:gd name="T4" fmla="*/ 2 w 546"/>
                <a:gd name="T5" fmla="*/ 1125 h 1146"/>
                <a:gd name="T6" fmla="*/ 6 w 546"/>
                <a:gd name="T7" fmla="*/ 1112 h 1146"/>
                <a:gd name="T8" fmla="*/ 15 w 546"/>
                <a:gd name="T9" fmla="*/ 1103 h 1146"/>
                <a:gd name="T10" fmla="*/ 49 w 546"/>
                <a:gd name="T11" fmla="*/ 1096 h 1146"/>
                <a:gd name="T12" fmla="*/ 121 w 546"/>
                <a:gd name="T13" fmla="*/ 1081 h 1146"/>
                <a:gd name="T14" fmla="*/ 190 w 546"/>
                <a:gd name="T15" fmla="*/ 1055 h 1146"/>
                <a:gd name="T16" fmla="*/ 254 w 546"/>
                <a:gd name="T17" fmla="*/ 1020 h 1146"/>
                <a:gd name="T18" fmla="*/ 311 w 546"/>
                <a:gd name="T19" fmla="*/ 979 h 1146"/>
                <a:gd name="T20" fmla="*/ 363 w 546"/>
                <a:gd name="T21" fmla="*/ 928 h 1146"/>
                <a:gd name="T22" fmla="*/ 407 w 546"/>
                <a:gd name="T23" fmla="*/ 872 h 1146"/>
                <a:gd name="T24" fmla="*/ 444 w 546"/>
                <a:gd name="T25" fmla="*/ 811 h 1146"/>
                <a:gd name="T26" fmla="*/ 471 w 546"/>
                <a:gd name="T27" fmla="*/ 743 h 1146"/>
                <a:gd name="T28" fmla="*/ 489 w 546"/>
                <a:gd name="T29" fmla="*/ 673 h 1146"/>
                <a:gd name="T30" fmla="*/ 499 w 546"/>
                <a:gd name="T31" fmla="*/ 598 h 1146"/>
                <a:gd name="T32" fmla="*/ 497 w 546"/>
                <a:gd name="T33" fmla="*/ 522 h 1146"/>
                <a:gd name="T34" fmla="*/ 484 w 546"/>
                <a:gd name="T35" fmla="*/ 449 h 1146"/>
                <a:gd name="T36" fmla="*/ 462 w 546"/>
                <a:gd name="T37" fmla="*/ 379 h 1146"/>
                <a:gd name="T38" fmla="*/ 432 w 546"/>
                <a:gd name="T39" fmla="*/ 313 h 1146"/>
                <a:gd name="T40" fmla="*/ 392 w 546"/>
                <a:gd name="T41" fmla="*/ 253 h 1146"/>
                <a:gd name="T42" fmla="*/ 346 w 546"/>
                <a:gd name="T43" fmla="*/ 199 h 1146"/>
                <a:gd name="T44" fmla="*/ 292 w 546"/>
                <a:gd name="T45" fmla="*/ 152 h 1146"/>
                <a:gd name="T46" fmla="*/ 232 w 546"/>
                <a:gd name="T47" fmla="*/ 111 h 1146"/>
                <a:gd name="T48" fmla="*/ 167 w 546"/>
                <a:gd name="T49" fmla="*/ 81 h 1146"/>
                <a:gd name="T50" fmla="*/ 96 w 546"/>
                <a:gd name="T51" fmla="*/ 57 h 1146"/>
                <a:gd name="T52" fmla="*/ 21 w 546"/>
                <a:gd name="T53" fmla="*/ 45 h 1146"/>
                <a:gd name="T54" fmla="*/ 8 w 546"/>
                <a:gd name="T55" fmla="*/ 40 h 1146"/>
                <a:gd name="T56" fmla="*/ 1 w 546"/>
                <a:gd name="T57" fmla="*/ 29 h 1146"/>
                <a:gd name="T58" fmla="*/ 1 w 546"/>
                <a:gd name="T59" fmla="*/ 16 h 1146"/>
                <a:gd name="T60" fmla="*/ 8 w 546"/>
                <a:gd name="T61" fmla="*/ 5 h 1146"/>
                <a:gd name="T62" fmla="*/ 21 w 546"/>
                <a:gd name="T63" fmla="*/ 0 h 1146"/>
                <a:gd name="T64" fmla="*/ 80 w 546"/>
                <a:gd name="T65" fmla="*/ 7 h 1146"/>
                <a:gd name="T66" fmla="*/ 158 w 546"/>
                <a:gd name="T67" fmla="*/ 28 h 1146"/>
                <a:gd name="T68" fmla="*/ 232 w 546"/>
                <a:gd name="T69" fmla="*/ 59 h 1146"/>
                <a:gd name="T70" fmla="*/ 299 w 546"/>
                <a:gd name="T71" fmla="*/ 99 h 1146"/>
                <a:gd name="T72" fmla="*/ 359 w 546"/>
                <a:gd name="T73" fmla="*/ 148 h 1146"/>
                <a:gd name="T74" fmla="*/ 413 w 546"/>
                <a:gd name="T75" fmla="*/ 205 h 1146"/>
                <a:gd name="T76" fmla="*/ 459 w 546"/>
                <a:gd name="T77" fmla="*/ 268 h 1146"/>
                <a:gd name="T78" fmla="*/ 495 w 546"/>
                <a:gd name="T79" fmla="*/ 337 h 1146"/>
                <a:gd name="T80" fmla="*/ 522 w 546"/>
                <a:gd name="T81" fmla="*/ 412 h 1146"/>
                <a:gd name="T82" fmla="*/ 540 w 546"/>
                <a:gd name="T83" fmla="*/ 490 h 1146"/>
                <a:gd name="T84" fmla="*/ 546 w 546"/>
                <a:gd name="T85" fmla="*/ 573 h 1146"/>
                <a:gd name="T86" fmla="*/ 540 w 546"/>
                <a:gd name="T87" fmla="*/ 655 h 1146"/>
                <a:gd name="T88" fmla="*/ 522 w 546"/>
                <a:gd name="T89" fmla="*/ 733 h 1146"/>
                <a:gd name="T90" fmla="*/ 495 w 546"/>
                <a:gd name="T91" fmla="*/ 807 h 1146"/>
                <a:gd name="T92" fmla="*/ 460 w 546"/>
                <a:gd name="T93" fmla="*/ 877 h 1146"/>
                <a:gd name="T94" fmla="*/ 414 w 546"/>
                <a:gd name="T95" fmla="*/ 939 h 1146"/>
                <a:gd name="T96" fmla="*/ 360 w 546"/>
                <a:gd name="T97" fmla="*/ 996 h 1146"/>
                <a:gd name="T98" fmla="*/ 300 w 546"/>
                <a:gd name="T99" fmla="*/ 1045 h 1146"/>
                <a:gd name="T100" fmla="*/ 233 w 546"/>
                <a:gd name="T101" fmla="*/ 1085 h 1146"/>
                <a:gd name="T102" fmla="*/ 161 w 546"/>
                <a:gd name="T103" fmla="*/ 1116 h 1146"/>
                <a:gd name="T104" fmla="*/ 82 w 546"/>
                <a:gd name="T105" fmla="*/ 1138 h 1146"/>
                <a:gd name="T106" fmla="*/ 27 w 546"/>
                <a:gd name="T107" fmla="*/ 1146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6">
                  <a:moveTo>
                    <a:pt x="26" y="1146"/>
                  </a:moveTo>
                  <a:lnTo>
                    <a:pt x="22" y="1146"/>
                  </a:lnTo>
                  <a:lnTo>
                    <a:pt x="17" y="1144"/>
                  </a:lnTo>
                  <a:lnTo>
                    <a:pt x="13" y="1143"/>
                  </a:lnTo>
                  <a:lnTo>
                    <a:pt x="11" y="1141"/>
                  </a:lnTo>
                  <a:lnTo>
                    <a:pt x="7" y="1137"/>
                  </a:lnTo>
                  <a:lnTo>
                    <a:pt x="5" y="1133"/>
                  </a:lnTo>
                  <a:lnTo>
                    <a:pt x="4" y="1130"/>
                  </a:lnTo>
                  <a:lnTo>
                    <a:pt x="2" y="1125"/>
                  </a:lnTo>
                  <a:lnTo>
                    <a:pt x="2" y="1121"/>
                  </a:lnTo>
                  <a:lnTo>
                    <a:pt x="4" y="1116"/>
                  </a:lnTo>
                  <a:lnTo>
                    <a:pt x="6" y="1112"/>
                  </a:lnTo>
                  <a:lnTo>
                    <a:pt x="8" y="1109"/>
                  </a:lnTo>
                  <a:lnTo>
                    <a:pt x="11" y="1105"/>
                  </a:lnTo>
                  <a:lnTo>
                    <a:pt x="15" y="1103"/>
                  </a:lnTo>
                  <a:lnTo>
                    <a:pt x="19" y="1101"/>
                  </a:lnTo>
                  <a:lnTo>
                    <a:pt x="23" y="1100"/>
                  </a:lnTo>
                  <a:lnTo>
                    <a:pt x="49" y="1096"/>
                  </a:lnTo>
                  <a:lnTo>
                    <a:pt x="73" y="1093"/>
                  </a:lnTo>
                  <a:lnTo>
                    <a:pt x="98" y="1087"/>
                  </a:lnTo>
                  <a:lnTo>
                    <a:pt x="121" y="1081"/>
                  </a:lnTo>
                  <a:lnTo>
                    <a:pt x="145" y="1073"/>
                  </a:lnTo>
                  <a:lnTo>
                    <a:pt x="168" y="1065"/>
                  </a:lnTo>
                  <a:lnTo>
                    <a:pt x="190" y="1055"/>
                  </a:lnTo>
                  <a:lnTo>
                    <a:pt x="212" y="1045"/>
                  </a:lnTo>
                  <a:lnTo>
                    <a:pt x="233" y="1033"/>
                  </a:lnTo>
                  <a:lnTo>
                    <a:pt x="254" y="1020"/>
                  </a:lnTo>
                  <a:lnTo>
                    <a:pt x="273" y="1007"/>
                  </a:lnTo>
                  <a:lnTo>
                    <a:pt x="293" y="993"/>
                  </a:lnTo>
                  <a:lnTo>
                    <a:pt x="311" y="979"/>
                  </a:lnTo>
                  <a:lnTo>
                    <a:pt x="330" y="963"/>
                  </a:lnTo>
                  <a:lnTo>
                    <a:pt x="347" y="946"/>
                  </a:lnTo>
                  <a:lnTo>
                    <a:pt x="363" y="928"/>
                  </a:lnTo>
                  <a:lnTo>
                    <a:pt x="379" y="910"/>
                  </a:lnTo>
                  <a:lnTo>
                    <a:pt x="394" y="892"/>
                  </a:lnTo>
                  <a:lnTo>
                    <a:pt x="407" y="872"/>
                  </a:lnTo>
                  <a:lnTo>
                    <a:pt x="421" y="852"/>
                  </a:lnTo>
                  <a:lnTo>
                    <a:pt x="432" y="832"/>
                  </a:lnTo>
                  <a:lnTo>
                    <a:pt x="444" y="811"/>
                  </a:lnTo>
                  <a:lnTo>
                    <a:pt x="454" y="789"/>
                  </a:lnTo>
                  <a:lnTo>
                    <a:pt x="463" y="766"/>
                  </a:lnTo>
                  <a:lnTo>
                    <a:pt x="471" y="743"/>
                  </a:lnTo>
                  <a:lnTo>
                    <a:pt x="478" y="721"/>
                  </a:lnTo>
                  <a:lnTo>
                    <a:pt x="484" y="697"/>
                  </a:lnTo>
                  <a:lnTo>
                    <a:pt x="489" y="673"/>
                  </a:lnTo>
                  <a:lnTo>
                    <a:pt x="494" y="649"/>
                  </a:lnTo>
                  <a:lnTo>
                    <a:pt x="497" y="623"/>
                  </a:lnTo>
                  <a:lnTo>
                    <a:pt x="499" y="598"/>
                  </a:lnTo>
                  <a:lnTo>
                    <a:pt x="499" y="573"/>
                  </a:lnTo>
                  <a:lnTo>
                    <a:pt x="499" y="547"/>
                  </a:lnTo>
                  <a:lnTo>
                    <a:pt x="497" y="522"/>
                  </a:lnTo>
                  <a:lnTo>
                    <a:pt x="494" y="497"/>
                  </a:lnTo>
                  <a:lnTo>
                    <a:pt x="489" y="472"/>
                  </a:lnTo>
                  <a:lnTo>
                    <a:pt x="484" y="449"/>
                  </a:lnTo>
                  <a:lnTo>
                    <a:pt x="478" y="424"/>
                  </a:lnTo>
                  <a:lnTo>
                    <a:pt x="471" y="401"/>
                  </a:lnTo>
                  <a:lnTo>
                    <a:pt x="462" y="379"/>
                  </a:lnTo>
                  <a:lnTo>
                    <a:pt x="454" y="356"/>
                  </a:lnTo>
                  <a:lnTo>
                    <a:pt x="443" y="335"/>
                  </a:lnTo>
                  <a:lnTo>
                    <a:pt x="432" y="313"/>
                  </a:lnTo>
                  <a:lnTo>
                    <a:pt x="419" y="292"/>
                  </a:lnTo>
                  <a:lnTo>
                    <a:pt x="407" y="272"/>
                  </a:lnTo>
                  <a:lnTo>
                    <a:pt x="392" y="253"/>
                  </a:lnTo>
                  <a:lnTo>
                    <a:pt x="378" y="234"/>
                  </a:lnTo>
                  <a:lnTo>
                    <a:pt x="362" y="216"/>
                  </a:lnTo>
                  <a:lnTo>
                    <a:pt x="346" y="199"/>
                  </a:lnTo>
                  <a:lnTo>
                    <a:pt x="329" y="183"/>
                  </a:lnTo>
                  <a:lnTo>
                    <a:pt x="310" y="167"/>
                  </a:lnTo>
                  <a:lnTo>
                    <a:pt x="292" y="152"/>
                  </a:lnTo>
                  <a:lnTo>
                    <a:pt x="272" y="137"/>
                  </a:lnTo>
                  <a:lnTo>
                    <a:pt x="253" y="124"/>
                  </a:lnTo>
                  <a:lnTo>
                    <a:pt x="232" y="111"/>
                  </a:lnTo>
                  <a:lnTo>
                    <a:pt x="211" y="100"/>
                  </a:lnTo>
                  <a:lnTo>
                    <a:pt x="189" y="89"/>
                  </a:lnTo>
                  <a:lnTo>
                    <a:pt x="167" y="81"/>
                  </a:lnTo>
                  <a:lnTo>
                    <a:pt x="143" y="72"/>
                  </a:lnTo>
                  <a:lnTo>
                    <a:pt x="120" y="65"/>
                  </a:lnTo>
                  <a:lnTo>
                    <a:pt x="96" y="57"/>
                  </a:lnTo>
                  <a:lnTo>
                    <a:pt x="71" y="53"/>
                  </a:lnTo>
                  <a:lnTo>
                    <a:pt x="46" y="49"/>
                  </a:lnTo>
                  <a:lnTo>
                    <a:pt x="21" y="45"/>
                  </a:lnTo>
                  <a:lnTo>
                    <a:pt x="16" y="44"/>
                  </a:lnTo>
                  <a:lnTo>
                    <a:pt x="12" y="43"/>
                  </a:lnTo>
                  <a:lnTo>
                    <a:pt x="8" y="40"/>
                  </a:lnTo>
                  <a:lnTo>
                    <a:pt x="5" y="37"/>
                  </a:lnTo>
                  <a:lnTo>
                    <a:pt x="2" y="33"/>
                  </a:lnTo>
                  <a:lnTo>
                    <a:pt x="1" y="29"/>
                  </a:lnTo>
                  <a:lnTo>
                    <a:pt x="0" y="24"/>
                  </a:lnTo>
                  <a:lnTo>
                    <a:pt x="0" y="21"/>
                  </a:lnTo>
                  <a:lnTo>
                    <a:pt x="1" y="16"/>
                  </a:lnTo>
                  <a:lnTo>
                    <a:pt x="2" y="12"/>
                  </a:lnTo>
                  <a:lnTo>
                    <a:pt x="5" y="8"/>
                  </a:lnTo>
                  <a:lnTo>
                    <a:pt x="8" y="5"/>
                  </a:lnTo>
                  <a:lnTo>
                    <a:pt x="12" y="2"/>
                  </a:lnTo>
                  <a:lnTo>
                    <a:pt x="16" y="1"/>
                  </a:lnTo>
                  <a:lnTo>
                    <a:pt x="21" y="0"/>
                  </a:lnTo>
                  <a:lnTo>
                    <a:pt x="26" y="0"/>
                  </a:lnTo>
                  <a:lnTo>
                    <a:pt x="53" y="2"/>
                  </a:lnTo>
                  <a:lnTo>
                    <a:pt x="80" y="7"/>
                  </a:lnTo>
                  <a:lnTo>
                    <a:pt x="107" y="13"/>
                  </a:lnTo>
                  <a:lnTo>
                    <a:pt x="132" y="21"/>
                  </a:lnTo>
                  <a:lnTo>
                    <a:pt x="158" y="28"/>
                  </a:lnTo>
                  <a:lnTo>
                    <a:pt x="184" y="38"/>
                  </a:lnTo>
                  <a:lnTo>
                    <a:pt x="207" y="48"/>
                  </a:lnTo>
                  <a:lnTo>
                    <a:pt x="232" y="59"/>
                  </a:lnTo>
                  <a:lnTo>
                    <a:pt x="255" y="72"/>
                  </a:lnTo>
                  <a:lnTo>
                    <a:pt x="277" y="84"/>
                  </a:lnTo>
                  <a:lnTo>
                    <a:pt x="299" y="99"/>
                  </a:lnTo>
                  <a:lnTo>
                    <a:pt x="320" y="115"/>
                  </a:lnTo>
                  <a:lnTo>
                    <a:pt x="341" y="131"/>
                  </a:lnTo>
                  <a:lnTo>
                    <a:pt x="359" y="148"/>
                  </a:lnTo>
                  <a:lnTo>
                    <a:pt x="379" y="167"/>
                  </a:lnTo>
                  <a:lnTo>
                    <a:pt x="396" y="185"/>
                  </a:lnTo>
                  <a:lnTo>
                    <a:pt x="413" y="205"/>
                  </a:lnTo>
                  <a:lnTo>
                    <a:pt x="429" y="226"/>
                  </a:lnTo>
                  <a:lnTo>
                    <a:pt x="445" y="246"/>
                  </a:lnTo>
                  <a:lnTo>
                    <a:pt x="459" y="268"/>
                  </a:lnTo>
                  <a:lnTo>
                    <a:pt x="472" y="291"/>
                  </a:lnTo>
                  <a:lnTo>
                    <a:pt x="484" y="314"/>
                  </a:lnTo>
                  <a:lnTo>
                    <a:pt x="495" y="337"/>
                  </a:lnTo>
                  <a:lnTo>
                    <a:pt x="505" y="362"/>
                  </a:lnTo>
                  <a:lnTo>
                    <a:pt x="515" y="386"/>
                  </a:lnTo>
                  <a:lnTo>
                    <a:pt x="522" y="412"/>
                  </a:lnTo>
                  <a:lnTo>
                    <a:pt x="530" y="438"/>
                  </a:lnTo>
                  <a:lnTo>
                    <a:pt x="535" y="464"/>
                  </a:lnTo>
                  <a:lnTo>
                    <a:pt x="540" y="490"/>
                  </a:lnTo>
                  <a:lnTo>
                    <a:pt x="542" y="517"/>
                  </a:lnTo>
                  <a:lnTo>
                    <a:pt x="544" y="544"/>
                  </a:lnTo>
                  <a:lnTo>
                    <a:pt x="546" y="573"/>
                  </a:lnTo>
                  <a:lnTo>
                    <a:pt x="544" y="601"/>
                  </a:lnTo>
                  <a:lnTo>
                    <a:pt x="542" y="628"/>
                  </a:lnTo>
                  <a:lnTo>
                    <a:pt x="540" y="655"/>
                  </a:lnTo>
                  <a:lnTo>
                    <a:pt x="535" y="682"/>
                  </a:lnTo>
                  <a:lnTo>
                    <a:pt x="530" y="708"/>
                  </a:lnTo>
                  <a:lnTo>
                    <a:pt x="522" y="733"/>
                  </a:lnTo>
                  <a:lnTo>
                    <a:pt x="515" y="759"/>
                  </a:lnTo>
                  <a:lnTo>
                    <a:pt x="506" y="784"/>
                  </a:lnTo>
                  <a:lnTo>
                    <a:pt x="495" y="807"/>
                  </a:lnTo>
                  <a:lnTo>
                    <a:pt x="484" y="832"/>
                  </a:lnTo>
                  <a:lnTo>
                    <a:pt x="472" y="855"/>
                  </a:lnTo>
                  <a:lnTo>
                    <a:pt x="460" y="877"/>
                  </a:lnTo>
                  <a:lnTo>
                    <a:pt x="445" y="899"/>
                  </a:lnTo>
                  <a:lnTo>
                    <a:pt x="430" y="920"/>
                  </a:lnTo>
                  <a:lnTo>
                    <a:pt x="414" y="939"/>
                  </a:lnTo>
                  <a:lnTo>
                    <a:pt x="397" y="959"/>
                  </a:lnTo>
                  <a:lnTo>
                    <a:pt x="379" y="979"/>
                  </a:lnTo>
                  <a:lnTo>
                    <a:pt x="360" y="996"/>
                  </a:lnTo>
                  <a:lnTo>
                    <a:pt x="341" y="1013"/>
                  </a:lnTo>
                  <a:lnTo>
                    <a:pt x="321" y="1030"/>
                  </a:lnTo>
                  <a:lnTo>
                    <a:pt x="300" y="1045"/>
                  </a:lnTo>
                  <a:lnTo>
                    <a:pt x="278" y="1060"/>
                  </a:lnTo>
                  <a:lnTo>
                    <a:pt x="256" y="1073"/>
                  </a:lnTo>
                  <a:lnTo>
                    <a:pt x="233" y="1085"/>
                  </a:lnTo>
                  <a:lnTo>
                    <a:pt x="210" y="1096"/>
                  </a:lnTo>
                  <a:lnTo>
                    <a:pt x="185" y="1108"/>
                  </a:lnTo>
                  <a:lnTo>
                    <a:pt x="161" y="1116"/>
                  </a:lnTo>
                  <a:lnTo>
                    <a:pt x="135" y="1125"/>
                  </a:lnTo>
                  <a:lnTo>
                    <a:pt x="109" y="1132"/>
                  </a:lnTo>
                  <a:lnTo>
                    <a:pt x="82" y="1138"/>
                  </a:lnTo>
                  <a:lnTo>
                    <a:pt x="55" y="1142"/>
                  </a:lnTo>
                  <a:lnTo>
                    <a:pt x="28" y="1146"/>
                  </a:lnTo>
                  <a:lnTo>
                    <a:pt x="27" y="1146"/>
                  </a:lnTo>
                  <a:lnTo>
                    <a:pt x="26" y="1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8" name="Freeform 176">
              <a:extLst>
                <a:ext uri="{FF2B5EF4-FFF2-40B4-BE49-F238E27FC236}">
                  <a16:creationId xmlns:a16="http://schemas.microsoft.com/office/drawing/2014/main" id="{EF861FF8-AD74-47D8-A8CA-DDF7AF1C2E7C}"/>
                </a:ext>
              </a:extLst>
            </p:cNvPr>
            <p:cNvSpPr>
              <a:spLocks/>
            </p:cNvSpPr>
            <p:nvPr/>
          </p:nvSpPr>
          <p:spPr bwMode="auto">
            <a:xfrm>
              <a:off x="4579938" y="5624513"/>
              <a:ext cx="47625" cy="74613"/>
            </a:xfrm>
            <a:custGeom>
              <a:avLst/>
              <a:gdLst>
                <a:gd name="T0" fmla="*/ 95 w 119"/>
                <a:gd name="T1" fmla="*/ 192 h 192"/>
                <a:gd name="T2" fmla="*/ 90 w 119"/>
                <a:gd name="T3" fmla="*/ 192 h 192"/>
                <a:gd name="T4" fmla="*/ 86 w 119"/>
                <a:gd name="T5" fmla="*/ 191 h 192"/>
                <a:gd name="T6" fmla="*/ 83 w 119"/>
                <a:gd name="T7" fmla="*/ 188 h 192"/>
                <a:gd name="T8" fmla="*/ 79 w 119"/>
                <a:gd name="T9" fmla="*/ 186 h 192"/>
                <a:gd name="T10" fmla="*/ 7 w 119"/>
                <a:gd name="T11" fmla="*/ 113 h 192"/>
                <a:gd name="T12" fmla="*/ 4 w 119"/>
                <a:gd name="T13" fmla="*/ 110 h 192"/>
                <a:gd name="T14" fmla="*/ 2 w 119"/>
                <a:gd name="T15" fmla="*/ 106 h 192"/>
                <a:gd name="T16" fmla="*/ 0 w 119"/>
                <a:gd name="T17" fmla="*/ 101 h 192"/>
                <a:gd name="T18" fmla="*/ 0 w 119"/>
                <a:gd name="T19" fmla="*/ 97 h 192"/>
                <a:gd name="T20" fmla="*/ 0 w 119"/>
                <a:gd name="T21" fmla="*/ 92 h 192"/>
                <a:gd name="T22" fmla="*/ 2 w 119"/>
                <a:gd name="T23" fmla="*/ 89 h 192"/>
                <a:gd name="T24" fmla="*/ 4 w 119"/>
                <a:gd name="T25" fmla="*/ 84 h 192"/>
                <a:gd name="T26" fmla="*/ 7 w 119"/>
                <a:gd name="T27" fmla="*/ 80 h 192"/>
                <a:gd name="T28" fmla="*/ 80 w 119"/>
                <a:gd name="T29" fmla="*/ 8 h 192"/>
                <a:gd name="T30" fmla="*/ 84 w 119"/>
                <a:gd name="T31" fmla="*/ 4 h 192"/>
                <a:gd name="T32" fmla="*/ 88 w 119"/>
                <a:gd name="T33" fmla="*/ 2 h 192"/>
                <a:gd name="T34" fmla="*/ 92 w 119"/>
                <a:gd name="T35" fmla="*/ 0 h 192"/>
                <a:gd name="T36" fmla="*/ 96 w 119"/>
                <a:gd name="T37" fmla="*/ 0 h 192"/>
                <a:gd name="T38" fmla="*/ 101 w 119"/>
                <a:gd name="T39" fmla="*/ 0 h 192"/>
                <a:gd name="T40" fmla="*/ 105 w 119"/>
                <a:gd name="T41" fmla="*/ 2 h 192"/>
                <a:gd name="T42" fmla="*/ 108 w 119"/>
                <a:gd name="T43" fmla="*/ 4 h 192"/>
                <a:gd name="T44" fmla="*/ 112 w 119"/>
                <a:gd name="T45" fmla="*/ 8 h 192"/>
                <a:gd name="T46" fmla="*/ 116 w 119"/>
                <a:gd name="T47" fmla="*/ 11 h 192"/>
                <a:gd name="T48" fmla="*/ 118 w 119"/>
                <a:gd name="T49" fmla="*/ 15 h 192"/>
                <a:gd name="T50" fmla="*/ 119 w 119"/>
                <a:gd name="T51" fmla="*/ 19 h 192"/>
                <a:gd name="T52" fmla="*/ 119 w 119"/>
                <a:gd name="T53" fmla="*/ 24 h 192"/>
                <a:gd name="T54" fmla="*/ 119 w 119"/>
                <a:gd name="T55" fmla="*/ 27 h 192"/>
                <a:gd name="T56" fmla="*/ 118 w 119"/>
                <a:gd name="T57" fmla="*/ 32 h 192"/>
                <a:gd name="T58" fmla="*/ 116 w 119"/>
                <a:gd name="T59" fmla="*/ 36 h 192"/>
                <a:gd name="T60" fmla="*/ 112 w 119"/>
                <a:gd name="T61" fmla="*/ 40 h 192"/>
                <a:gd name="T62" fmla="*/ 56 w 119"/>
                <a:gd name="T63" fmla="*/ 97 h 192"/>
                <a:gd name="T64" fmla="*/ 111 w 119"/>
                <a:gd name="T65" fmla="*/ 153 h 192"/>
                <a:gd name="T66" fmla="*/ 115 w 119"/>
                <a:gd name="T67" fmla="*/ 156 h 192"/>
                <a:gd name="T68" fmla="*/ 116 w 119"/>
                <a:gd name="T69" fmla="*/ 160 h 192"/>
                <a:gd name="T70" fmla="*/ 117 w 119"/>
                <a:gd name="T71" fmla="*/ 165 h 192"/>
                <a:gd name="T72" fmla="*/ 118 w 119"/>
                <a:gd name="T73" fmla="*/ 168 h 192"/>
                <a:gd name="T74" fmla="*/ 117 w 119"/>
                <a:gd name="T75" fmla="*/ 173 h 192"/>
                <a:gd name="T76" fmla="*/ 116 w 119"/>
                <a:gd name="T77" fmla="*/ 177 h 192"/>
                <a:gd name="T78" fmla="*/ 115 w 119"/>
                <a:gd name="T79" fmla="*/ 182 h 192"/>
                <a:gd name="T80" fmla="*/ 111 w 119"/>
                <a:gd name="T81" fmla="*/ 186 h 192"/>
                <a:gd name="T82" fmla="*/ 107 w 119"/>
                <a:gd name="T83" fmla="*/ 188 h 192"/>
                <a:gd name="T84" fmla="*/ 103 w 119"/>
                <a:gd name="T85" fmla="*/ 191 h 192"/>
                <a:gd name="T86" fmla="*/ 100 w 119"/>
                <a:gd name="T87" fmla="*/ 192 h 192"/>
                <a:gd name="T88" fmla="*/ 95 w 119"/>
                <a:gd name="T8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92">
                  <a:moveTo>
                    <a:pt x="95" y="192"/>
                  </a:moveTo>
                  <a:lnTo>
                    <a:pt x="90" y="192"/>
                  </a:lnTo>
                  <a:lnTo>
                    <a:pt x="86" y="191"/>
                  </a:lnTo>
                  <a:lnTo>
                    <a:pt x="83" y="188"/>
                  </a:lnTo>
                  <a:lnTo>
                    <a:pt x="79" y="186"/>
                  </a:lnTo>
                  <a:lnTo>
                    <a:pt x="7" y="113"/>
                  </a:lnTo>
                  <a:lnTo>
                    <a:pt x="4" y="110"/>
                  </a:lnTo>
                  <a:lnTo>
                    <a:pt x="2" y="106"/>
                  </a:lnTo>
                  <a:lnTo>
                    <a:pt x="0" y="101"/>
                  </a:lnTo>
                  <a:lnTo>
                    <a:pt x="0" y="97"/>
                  </a:lnTo>
                  <a:lnTo>
                    <a:pt x="0" y="92"/>
                  </a:lnTo>
                  <a:lnTo>
                    <a:pt x="2" y="89"/>
                  </a:lnTo>
                  <a:lnTo>
                    <a:pt x="4" y="84"/>
                  </a:lnTo>
                  <a:lnTo>
                    <a:pt x="7" y="80"/>
                  </a:lnTo>
                  <a:lnTo>
                    <a:pt x="80" y="8"/>
                  </a:lnTo>
                  <a:lnTo>
                    <a:pt x="84" y="4"/>
                  </a:lnTo>
                  <a:lnTo>
                    <a:pt x="88" y="2"/>
                  </a:lnTo>
                  <a:lnTo>
                    <a:pt x="92" y="0"/>
                  </a:lnTo>
                  <a:lnTo>
                    <a:pt x="96" y="0"/>
                  </a:lnTo>
                  <a:lnTo>
                    <a:pt x="101" y="0"/>
                  </a:lnTo>
                  <a:lnTo>
                    <a:pt x="105" y="2"/>
                  </a:lnTo>
                  <a:lnTo>
                    <a:pt x="108" y="4"/>
                  </a:lnTo>
                  <a:lnTo>
                    <a:pt x="112" y="8"/>
                  </a:lnTo>
                  <a:lnTo>
                    <a:pt x="116" y="11"/>
                  </a:lnTo>
                  <a:lnTo>
                    <a:pt x="118" y="15"/>
                  </a:lnTo>
                  <a:lnTo>
                    <a:pt x="119" y="19"/>
                  </a:lnTo>
                  <a:lnTo>
                    <a:pt x="119" y="24"/>
                  </a:lnTo>
                  <a:lnTo>
                    <a:pt x="119" y="27"/>
                  </a:lnTo>
                  <a:lnTo>
                    <a:pt x="118" y="32"/>
                  </a:lnTo>
                  <a:lnTo>
                    <a:pt x="116" y="36"/>
                  </a:lnTo>
                  <a:lnTo>
                    <a:pt x="112" y="40"/>
                  </a:lnTo>
                  <a:lnTo>
                    <a:pt x="56" y="97"/>
                  </a:lnTo>
                  <a:lnTo>
                    <a:pt x="111" y="153"/>
                  </a:lnTo>
                  <a:lnTo>
                    <a:pt x="115" y="156"/>
                  </a:lnTo>
                  <a:lnTo>
                    <a:pt x="116" y="160"/>
                  </a:lnTo>
                  <a:lnTo>
                    <a:pt x="117" y="165"/>
                  </a:lnTo>
                  <a:lnTo>
                    <a:pt x="118" y="168"/>
                  </a:lnTo>
                  <a:lnTo>
                    <a:pt x="117" y="173"/>
                  </a:lnTo>
                  <a:lnTo>
                    <a:pt x="116" y="177"/>
                  </a:lnTo>
                  <a:lnTo>
                    <a:pt x="115" y="182"/>
                  </a:lnTo>
                  <a:lnTo>
                    <a:pt x="111" y="186"/>
                  </a:lnTo>
                  <a:lnTo>
                    <a:pt x="107" y="188"/>
                  </a:lnTo>
                  <a:lnTo>
                    <a:pt x="103" y="191"/>
                  </a:lnTo>
                  <a:lnTo>
                    <a:pt x="100" y="192"/>
                  </a:lnTo>
                  <a:lnTo>
                    <a:pt x="9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70" name="Group 50">
            <a:extLst>
              <a:ext uri="{FF2B5EF4-FFF2-40B4-BE49-F238E27FC236}">
                <a16:creationId xmlns:a16="http://schemas.microsoft.com/office/drawing/2014/main" id="{859B53FC-C285-4023-8B4C-E7DCB83BCAE7}"/>
              </a:ext>
            </a:extLst>
          </p:cNvPr>
          <p:cNvGrpSpPr>
            <a:grpSpLocks noChangeAspect="1"/>
          </p:cNvGrpSpPr>
          <p:nvPr/>
        </p:nvGrpSpPr>
        <p:grpSpPr>
          <a:xfrm>
            <a:off x="4049239" y="2724897"/>
            <a:ext cx="285619" cy="285619"/>
            <a:chOff x="8408988" y="4614863"/>
            <a:chExt cx="511175" cy="511175"/>
          </a:xfrm>
          <a:solidFill>
            <a:schemeClr val="bg2"/>
          </a:solidFill>
          <a:effectLst/>
        </p:grpSpPr>
        <p:sp>
          <p:nvSpPr>
            <p:cNvPr id="671" name="Freeform 123">
              <a:extLst>
                <a:ext uri="{FF2B5EF4-FFF2-40B4-BE49-F238E27FC236}">
                  <a16:creationId xmlns:a16="http://schemas.microsoft.com/office/drawing/2014/main" id="{3B2EBA59-9B81-469D-8E0E-56D7D39B61E6}"/>
                </a:ext>
              </a:extLst>
            </p:cNvPr>
            <p:cNvSpPr>
              <a:spLocks noEditPoints="1"/>
            </p:cNvSpPr>
            <p:nvPr/>
          </p:nvSpPr>
          <p:spPr bwMode="auto">
            <a:xfrm>
              <a:off x="8551863" y="4614863"/>
              <a:ext cx="217488" cy="238125"/>
            </a:xfrm>
            <a:custGeom>
              <a:avLst/>
              <a:gdLst>
                <a:gd name="T0" fmla="*/ 239 w 548"/>
                <a:gd name="T1" fmla="*/ 49 h 598"/>
                <a:gd name="T2" fmla="*/ 165 w 548"/>
                <a:gd name="T3" fmla="*/ 77 h 598"/>
                <a:gd name="T4" fmla="*/ 98 w 548"/>
                <a:gd name="T5" fmla="*/ 138 h 598"/>
                <a:gd name="T6" fmla="*/ 56 w 548"/>
                <a:gd name="T7" fmla="*/ 224 h 598"/>
                <a:gd name="T8" fmla="*/ 48 w 548"/>
                <a:gd name="T9" fmla="*/ 325 h 598"/>
                <a:gd name="T10" fmla="*/ 74 w 548"/>
                <a:gd name="T11" fmla="*/ 420 h 598"/>
                <a:gd name="T12" fmla="*/ 129 w 548"/>
                <a:gd name="T13" fmla="*/ 495 h 598"/>
                <a:gd name="T14" fmla="*/ 206 w 548"/>
                <a:gd name="T15" fmla="*/ 540 h 598"/>
                <a:gd name="T16" fmla="*/ 262 w 548"/>
                <a:gd name="T17" fmla="*/ 552 h 598"/>
                <a:gd name="T18" fmla="*/ 309 w 548"/>
                <a:gd name="T19" fmla="*/ 549 h 598"/>
                <a:gd name="T20" fmla="*/ 383 w 548"/>
                <a:gd name="T21" fmla="*/ 522 h 598"/>
                <a:gd name="T22" fmla="*/ 450 w 548"/>
                <a:gd name="T23" fmla="*/ 460 h 598"/>
                <a:gd name="T24" fmla="*/ 492 w 548"/>
                <a:gd name="T25" fmla="*/ 375 h 598"/>
                <a:gd name="T26" fmla="*/ 502 w 548"/>
                <a:gd name="T27" fmla="*/ 273 h 598"/>
                <a:gd name="T28" fmla="*/ 475 w 548"/>
                <a:gd name="T29" fmla="*/ 179 h 598"/>
                <a:gd name="T30" fmla="*/ 419 w 548"/>
                <a:gd name="T31" fmla="*/ 104 h 598"/>
                <a:gd name="T32" fmla="*/ 342 w 548"/>
                <a:gd name="T33" fmla="*/ 57 h 598"/>
                <a:gd name="T34" fmla="*/ 286 w 548"/>
                <a:gd name="T35" fmla="*/ 46 h 598"/>
                <a:gd name="T36" fmla="*/ 246 w 548"/>
                <a:gd name="T37" fmla="*/ 597 h 598"/>
                <a:gd name="T38" fmla="*/ 192 w 548"/>
                <a:gd name="T39" fmla="*/ 585 h 598"/>
                <a:gd name="T40" fmla="*/ 143 w 548"/>
                <a:gd name="T41" fmla="*/ 563 h 598"/>
                <a:gd name="T42" fmla="*/ 100 w 548"/>
                <a:gd name="T43" fmla="*/ 529 h 598"/>
                <a:gd name="T44" fmla="*/ 62 w 548"/>
                <a:gd name="T45" fmla="*/ 489 h 598"/>
                <a:gd name="T46" fmla="*/ 33 w 548"/>
                <a:gd name="T47" fmla="*/ 441 h 598"/>
                <a:gd name="T48" fmla="*/ 12 w 548"/>
                <a:gd name="T49" fmla="*/ 388 h 598"/>
                <a:gd name="T50" fmla="*/ 1 w 548"/>
                <a:gd name="T51" fmla="*/ 330 h 598"/>
                <a:gd name="T52" fmla="*/ 1 w 548"/>
                <a:gd name="T53" fmla="*/ 268 h 598"/>
                <a:gd name="T54" fmla="*/ 12 w 548"/>
                <a:gd name="T55" fmla="*/ 211 h 598"/>
                <a:gd name="T56" fmla="*/ 33 w 548"/>
                <a:gd name="T57" fmla="*/ 157 h 598"/>
                <a:gd name="T58" fmla="*/ 62 w 548"/>
                <a:gd name="T59" fmla="*/ 109 h 598"/>
                <a:gd name="T60" fmla="*/ 100 w 548"/>
                <a:gd name="T61" fmla="*/ 68 h 598"/>
                <a:gd name="T62" fmla="*/ 143 w 548"/>
                <a:gd name="T63" fmla="*/ 35 h 598"/>
                <a:gd name="T64" fmla="*/ 192 w 548"/>
                <a:gd name="T65" fmla="*/ 13 h 598"/>
                <a:gd name="T66" fmla="*/ 246 w 548"/>
                <a:gd name="T67" fmla="*/ 1 h 598"/>
                <a:gd name="T68" fmla="*/ 303 w 548"/>
                <a:gd name="T69" fmla="*/ 1 h 598"/>
                <a:gd name="T70" fmla="*/ 356 w 548"/>
                <a:gd name="T71" fmla="*/ 13 h 598"/>
                <a:gd name="T72" fmla="*/ 405 w 548"/>
                <a:gd name="T73" fmla="*/ 35 h 598"/>
                <a:gd name="T74" fmla="*/ 449 w 548"/>
                <a:gd name="T75" fmla="*/ 68 h 598"/>
                <a:gd name="T76" fmla="*/ 486 w 548"/>
                <a:gd name="T77" fmla="*/ 109 h 598"/>
                <a:gd name="T78" fmla="*/ 515 w 548"/>
                <a:gd name="T79" fmla="*/ 157 h 598"/>
                <a:gd name="T80" fmla="*/ 536 w 548"/>
                <a:gd name="T81" fmla="*/ 211 h 598"/>
                <a:gd name="T82" fmla="*/ 547 w 548"/>
                <a:gd name="T83" fmla="*/ 268 h 598"/>
                <a:gd name="T84" fmla="*/ 547 w 548"/>
                <a:gd name="T85" fmla="*/ 330 h 598"/>
                <a:gd name="T86" fmla="*/ 536 w 548"/>
                <a:gd name="T87" fmla="*/ 388 h 598"/>
                <a:gd name="T88" fmla="*/ 515 w 548"/>
                <a:gd name="T89" fmla="*/ 441 h 598"/>
                <a:gd name="T90" fmla="*/ 486 w 548"/>
                <a:gd name="T91" fmla="*/ 489 h 598"/>
                <a:gd name="T92" fmla="*/ 449 w 548"/>
                <a:gd name="T93" fmla="*/ 529 h 598"/>
                <a:gd name="T94" fmla="*/ 405 w 548"/>
                <a:gd name="T95" fmla="*/ 563 h 598"/>
                <a:gd name="T96" fmla="*/ 356 w 548"/>
                <a:gd name="T97" fmla="*/ 585 h 598"/>
                <a:gd name="T98" fmla="*/ 303 w 548"/>
                <a:gd name="T99" fmla="*/ 59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8" h="598">
                  <a:moveTo>
                    <a:pt x="275" y="46"/>
                  </a:moveTo>
                  <a:lnTo>
                    <a:pt x="262" y="46"/>
                  </a:lnTo>
                  <a:lnTo>
                    <a:pt x="251" y="47"/>
                  </a:lnTo>
                  <a:lnTo>
                    <a:pt x="239" y="49"/>
                  </a:lnTo>
                  <a:lnTo>
                    <a:pt x="228" y="51"/>
                  </a:lnTo>
                  <a:lnTo>
                    <a:pt x="206" y="57"/>
                  </a:lnTo>
                  <a:lnTo>
                    <a:pt x="185" y="66"/>
                  </a:lnTo>
                  <a:lnTo>
                    <a:pt x="165" y="77"/>
                  </a:lnTo>
                  <a:lnTo>
                    <a:pt x="147" y="89"/>
                  </a:lnTo>
                  <a:lnTo>
                    <a:pt x="129" y="104"/>
                  </a:lnTo>
                  <a:lnTo>
                    <a:pt x="113" y="120"/>
                  </a:lnTo>
                  <a:lnTo>
                    <a:pt x="98" y="138"/>
                  </a:lnTo>
                  <a:lnTo>
                    <a:pt x="85" y="158"/>
                  </a:lnTo>
                  <a:lnTo>
                    <a:pt x="74" y="179"/>
                  </a:lnTo>
                  <a:lnTo>
                    <a:pt x="64" y="201"/>
                  </a:lnTo>
                  <a:lnTo>
                    <a:pt x="56" y="224"/>
                  </a:lnTo>
                  <a:lnTo>
                    <a:pt x="50" y="249"/>
                  </a:lnTo>
                  <a:lnTo>
                    <a:pt x="48" y="273"/>
                  </a:lnTo>
                  <a:lnTo>
                    <a:pt x="47" y="299"/>
                  </a:lnTo>
                  <a:lnTo>
                    <a:pt x="48" y="325"/>
                  </a:lnTo>
                  <a:lnTo>
                    <a:pt x="50" y="350"/>
                  </a:lnTo>
                  <a:lnTo>
                    <a:pt x="56" y="375"/>
                  </a:lnTo>
                  <a:lnTo>
                    <a:pt x="64" y="397"/>
                  </a:lnTo>
                  <a:lnTo>
                    <a:pt x="74" y="420"/>
                  </a:lnTo>
                  <a:lnTo>
                    <a:pt x="85" y="441"/>
                  </a:lnTo>
                  <a:lnTo>
                    <a:pt x="98" y="460"/>
                  </a:lnTo>
                  <a:lnTo>
                    <a:pt x="113" y="478"/>
                  </a:lnTo>
                  <a:lnTo>
                    <a:pt x="129" y="495"/>
                  </a:lnTo>
                  <a:lnTo>
                    <a:pt x="147" y="509"/>
                  </a:lnTo>
                  <a:lnTo>
                    <a:pt x="165" y="522"/>
                  </a:lnTo>
                  <a:lnTo>
                    <a:pt x="185" y="532"/>
                  </a:lnTo>
                  <a:lnTo>
                    <a:pt x="206" y="540"/>
                  </a:lnTo>
                  <a:lnTo>
                    <a:pt x="228" y="548"/>
                  </a:lnTo>
                  <a:lnTo>
                    <a:pt x="239" y="549"/>
                  </a:lnTo>
                  <a:lnTo>
                    <a:pt x="251" y="552"/>
                  </a:lnTo>
                  <a:lnTo>
                    <a:pt x="262" y="552"/>
                  </a:lnTo>
                  <a:lnTo>
                    <a:pt x="275" y="553"/>
                  </a:lnTo>
                  <a:lnTo>
                    <a:pt x="286" y="552"/>
                  </a:lnTo>
                  <a:lnTo>
                    <a:pt x="298" y="552"/>
                  </a:lnTo>
                  <a:lnTo>
                    <a:pt x="309" y="549"/>
                  </a:lnTo>
                  <a:lnTo>
                    <a:pt x="320" y="548"/>
                  </a:lnTo>
                  <a:lnTo>
                    <a:pt x="342" y="540"/>
                  </a:lnTo>
                  <a:lnTo>
                    <a:pt x="363" y="532"/>
                  </a:lnTo>
                  <a:lnTo>
                    <a:pt x="383" y="522"/>
                  </a:lnTo>
                  <a:lnTo>
                    <a:pt x="402" y="509"/>
                  </a:lnTo>
                  <a:lnTo>
                    <a:pt x="419" y="495"/>
                  </a:lnTo>
                  <a:lnTo>
                    <a:pt x="435" y="478"/>
                  </a:lnTo>
                  <a:lnTo>
                    <a:pt x="450" y="460"/>
                  </a:lnTo>
                  <a:lnTo>
                    <a:pt x="464" y="441"/>
                  </a:lnTo>
                  <a:lnTo>
                    <a:pt x="475" y="420"/>
                  </a:lnTo>
                  <a:lnTo>
                    <a:pt x="484" y="397"/>
                  </a:lnTo>
                  <a:lnTo>
                    <a:pt x="492" y="375"/>
                  </a:lnTo>
                  <a:lnTo>
                    <a:pt x="498" y="350"/>
                  </a:lnTo>
                  <a:lnTo>
                    <a:pt x="502" y="325"/>
                  </a:lnTo>
                  <a:lnTo>
                    <a:pt x="503" y="299"/>
                  </a:lnTo>
                  <a:lnTo>
                    <a:pt x="502" y="273"/>
                  </a:lnTo>
                  <a:lnTo>
                    <a:pt x="498" y="249"/>
                  </a:lnTo>
                  <a:lnTo>
                    <a:pt x="492" y="224"/>
                  </a:lnTo>
                  <a:lnTo>
                    <a:pt x="484" y="201"/>
                  </a:lnTo>
                  <a:lnTo>
                    <a:pt x="475" y="179"/>
                  </a:lnTo>
                  <a:lnTo>
                    <a:pt x="464" y="158"/>
                  </a:lnTo>
                  <a:lnTo>
                    <a:pt x="450" y="138"/>
                  </a:lnTo>
                  <a:lnTo>
                    <a:pt x="435" y="120"/>
                  </a:lnTo>
                  <a:lnTo>
                    <a:pt x="419" y="104"/>
                  </a:lnTo>
                  <a:lnTo>
                    <a:pt x="402" y="89"/>
                  </a:lnTo>
                  <a:lnTo>
                    <a:pt x="383" y="77"/>
                  </a:lnTo>
                  <a:lnTo>
                    <a:pt x="363" y="66"/>
                  </a:lnTo>
                  <a:lnTo>
                    <a:pt x="342" y="57"/>
                  </a:lnTo>
                  <a:lnTo>
                    <a:pt x="320" y="51"/>
                  </a:lnTo>
                  <a:lnTo>
                    <a:pt x="309" y="49"/>
                  </a:lnTo>
                  <a:lnTo>
                    <a:pt x="298" y="47"/>
                  </a:lnTo>
                  <a:lnTo>
                    <a:pt x="286" y="46"/>
                  </a:lnTo>
                  <a:lnTo>
                    <a:pt x="275" y="46"/>
                  </a:lnTo>
                  <a:close/>
                  <a:moveTo>
                    <a:pt x="275" y="598"/>
                  </a:moveTo>
                  <a:lnTo>
                    <a:pt x="260" y="598"/>
                  </a:lnTo>
                  <a:lnTo>
                    <a:pt x="246" y="597"/>
                  </a:lnTo>
                  <a:lnTo>
                    <a:pt x="233" y="594"/>
                  </a:lnTo>
                  <a:lnTo>
                    <a:pt x="219" y="592"/>
                  </a:lnTo>
                  <a:lnTo>
                    <a:pt x="206" y="590"/>
                  </a:lnTo>
                  <a:lnTo>
                    <a:pt x="192" y="585"/>
                  </a:lnTo>
                  <a:lnTo>
                    <a:pt x="180" y="580"/>
                  </a:lnTo>
                  <a:lnTo>
                    <a:pt x="168" y="575"/>
                  </a:lnTo>
                  <a:lnTo>
                    <a:pt x="156" y="569"/>
                  </a:lnTo>
                  <a:lnTo>
                    <a:pt x="143" y="563"/>
                  </a:lnTo>
                  <a:lnTo>
                    <a:pt x="132" y="555"/>
                  </a:lnTo>
                  <a:lnTo>
                    <a:pt x="121" y="548"/>
                  </a:lnTo>
                  <a:lnTo>
                    <a:pt x="110" y="539"/>
                  </a:lnTo>
                  <a:lnTo>
                    <a:pt x="100" y="529"/>
                  </a:lnTo>
                  <a:lnTo>
                    <a:pt x="89" y="521"/>
                  </a:lnTo>
                  <a:lnTo>
                    <a:pt x="81" y="511"/>
                  </a:lnTo>
                  <a:lnTo>
                    <a:pt x="71" y="500"/>
                  </a:lnTo>
                  <a:lnTo>
                    <a:pt x="62" y="489"/>
                  </a:lnTo>
                  <a:lnTo>
                    <a:pt x="55" y="478"/>
                  </a:lnTo>
                  <a:lnTo>
                    <a:pt x="47" y="467"/>
                  </a:lnTo>
                  <a:lnTo>
                    <a:pt x="40" y="455"/>
                  </a:lnTo>
                  <a:lnTo>
                    <a:pt x="33" y="441"/>
                  </a:lnTo>
                  <a:lnTo>
                    <a:pt x="27" y="429"/>
                  </a:lnTo>
                  <a:lnTo>
                    <a:pt x="22" y="415"/>
                  </a:lnTo>
                  <a:lnTo>
                    <a:pt x="17" y="402"/>
                  </a:lnTo>
                  <a:lnTo>
                    <a:pt x="12" y="388"/>
                  </a:lnTo>
                  <a:lnTo>
                    <a:pt x="9" y="374"/>
                  </a:lnTo>
                  <a:lnTo>
                    <a:pt x="6" y="359"/>
                  </a:lnTo>
                  <a:lnTo>
                    <a:pt x="4" y="344"/>
                  </a:lnTo>
                  <a:lnTo>
                    <a:pt x="1" y="330"/>
                  </a:lnTo>
                  <a:lnTo>
                    <a:pt x="0" y="315"/>
                  </a:lnTo>
                  <a:lnTo>
                    <a:pt x="0" y="299"/>
                  </a:lnTo>
                  <a:lnTo>
                    <a:pt x="0" y="284"/>
                  </a:lnTo>
                  <a:lnTo>
                    <a:pt x="1" y="268"/>
                  </a:lnTo>
                  <a:lnTo>
                    <a:pt x="4" y="253"/>
                  </a:lnTo>
                  <a:lnTo>
                    <a:pt x="6" y="239"/>
                  </a:lnTo>
                  <a:lnTo>
                    <a:pt x="9" y="224"/>
                  </a:lnTo>
                  <a:lnTo>
                    <a:pt x="12" y="211"/>
                  </a:lnTo>
                  <a:lnTo>
                    <a:pt x="17" y="196"/>
                  </a:lnTo>
                  <a:lnTo>
                    <a:pt x="22" y="182"/>
                  </a:lnTo>
                  <a:lnTo>
                    <a:pt x="27" y="169"/>
                  </a:lnTo>
                  <a:lnTo>
                    <a:pt x="33" y="157"/>
                  </a:lnTo>
                  <a:lnTo>
                    <a:pt x="40" y="144"/>
                  </a:lnTo>
                  <a:lnTo>
                    <a:pt x="47" y="132"/>
                  </a:lnTo>
                  <a:lnTo>
                    <a:pt x="55" y="120"/>
                  </a:lnTo>
                  <a:lnTo>
                    <a:pt x="62" y="109"/>
                  </a:lnTo>
                  <a:lnTo>
                    <a:pt x="71" y="98"/>
                  </a:lnTo>
                  <a:lnTo>
                    <a:pt x="81" y="88"/>
                  </a:lnTo>
                  <a:lnTo>
                    <a:pt x="89" y="77"/>
                  </a:lnTo>
                  <a:lnTo>
                    <a:pt x="100" y="68"/>
                  </a:lnTo>
                  <a:lnTo>
                    <a:pt x="110" y="60"/>
                  </a:lnTo>
                  <a:lnTo>
                    <a:pt x="121" y="51"/>
                  </a:lnTo>
                  <a:lnTo>
                    <a:pt x="132" y="42"/>
                  </a:lnTo>
                  <a:lnTo>
                    <a:pt x="143" y="35"/>
                  </a:lnTo>
                  <a:lnTo>
                    <a:pt x="156" y="29"/>
                  </a:lnTo>
                  <a:lnTo>
                    <a:pt x="168" y="23"/>
                  </a:lnTo>
                  <a:lnTo>
                    <a:pt x="180" y="18"/>
                  </a:lnTo>
                  <a:lnTo>
                    <a:pt x="192" y="13"/>
                  </a:lnTo>
                  <a:lnTo>
                    <a:pt x="206" y="9"/>
                  </a:lnTo>
                  <a:lnTo>
                    <a:pt x="219" y="6"/>
                  </a:lnTo>
                  <a:lnTo>
                    <a:pt x="233" y="3"/>
                  </a:lnTo>
                  <a:lnTo>
                    <a:pt x="246" y="1"/>
                  </a:lnTo>
                  <a:lnTo>
                    <a:pt x="260" y="0"/>
                  </a:lnTo>
                  <a:lnTo>
                    <a:pt x="275" y="0"/>
                  </a:lnTo>
                  <a:lnTo>
                    <a:pt x="288" y="0"/>
                  </a:lnTo>
                  <a:lnTo>
                    <a:pt x="303" y="1"/>
                  </a:lnTo>
                  <a:lnTo>
                    <a:pt x="316" y="3"/>
                  </a:lnTo>
                  <a:lnTo>
                    <a:pt x="330" y="6"/>
                  </a:lnTo>
                  <a:lnTo>
                    <a:pt x="343" y="9"/>
                  </a:lnTo>
                  <a:lnTo>
                    <a:pt x="356" y="13"/>
                  </a:lnTo>
                  <a:lnTo>
                    <a:pt x="369" y="18"/>
                  </a:lnTo>
                  <a:lnTo>
                    <a:pt x="381" y="23"/>
                  </a:lnTo>
                  <a:lnTo>
                    <a:pt x="394" y="29"/>
                  </a:lnTo>
                  <a:lnTo>
                    <a:pt x="405" y="35"/>
                  </a:lnTo>
                  <a:lnTo>
                    <a:pt x="417" y="42"/>
                  </a:lnTo>
                  <a:lnTo>
                    <a:pt x="428" y="51"/>
                  </a:lnTo>
                  <a:lnTo>
                    <a:pt x="439" y="60"/>
                  </a:lnTo>
                  <a:lnTo>
                    <a:pt x="449" y="68"/>
                  </a:lnTo>
                  <a:lnTo>
                    <a:pt x="459" y="77"/>
                  </a:lnTo>
                  <a:lnTo>
                    <a:pt x="468" y="88"/>
                  </a:lnTo>
                  <a:lnTo>
                    <a:pt x="477" y="98"/>
                  </a:lnTo>
                  <a:lnTo>
                    <a:pt x="486" y="109"/>
                  </a:lnTo>
                  <a:lnTo>
                    <a:pt x="494" y="120"/>
                  </a:lnTo>
                  <a:lnTo>
                    <a:pt x="502" y="132"/>
                  </a:lnTo>
                  <a:lnTo>
                    <a:pt x="509" y="144"/>
                  </a:lnTo>
                  <a:lnTo>
                    <a:pt x="515" y="157"/>
                  </a:lnTo>
                  <a:lnTo>
                    <a:pt x="521" y="169"/>
                  </a:lnTo>
                  <a:lnTo>
                    <a:pt x="527" y="182"/>
                  </a:lnTo>
                  <a:lnTo>
                    <a:pt x="532" y="196"/>
                  </a:lnTo>
                  <a:lnTo>
                    <a:pt x="536" y="211"/>
                  </a:lnTo>
                  <a:lnTo>
                    <a:pt x="540" y="224"/>
                  </a:lnTo>
                  <a:lnTo>
                    <a:pt x="543" y="239"/>
                  </a:lnTo>
                  <a:lnTo>
                    <a:pt x="546" y="253"/>
                  </a:lnTo>
                  <a:lnTo>
                    <a:pt x="547" y="268"/>
                  </a:lnTo>
                  <a:lnTo>
                    <a:pt x="548" y="284"/>
                  </a:lnTo>
                  <a:lnTo>
                    <a:pt x="548" y="299"/>
                  </a:lnTo>
                  <a:lnTo>
                    <a:pt x="548" y="315"/>
                  </a:lnTo>
                  <a:lnTo>
                    <a:pt x="547" y="330"/>
                  </a:lnTo>
                  <a:lnTo>
                    <a:pt x="546" y="344"/>
                  </a:lnTo>
                  <a:lnTo>
                    <a:pt x="543" y="359"/>
                  </a:lnTo>
                  <a:lnTo>
                    <a:pt x="540" y="374"/>
                  </a:lnTo>
                  <a:lnTo>
                    <a:pt x="536" y="388"/>
                  </a:lnTo>
                  <a:lnTo>
                    <a:pt x="532" y="402"/>
                  </a:lnTo>
                  <a:lnTo>
                    <a:pt x="527" y="415"/>
                  </a:lnTo>
                  <a:lnTo>
                    <a:pt x="521" y="429"/>
                  </a:lnTo>
                  <a:lnTo>
                    <a:pt x="515" y="441"/>
                  </a:lnTo>
                  <a:lnTo>
                    <a:pt x="509" y="455"/>
                  </a:lnTo>
                  <a:lnTo>
                    <a:pt x="502" y="467"/>
                  </a:lnTo>
                  <a:lnTo>
                    <a:pt x="494" y="478"/>
                  </a:lnTo>
                  <a:lnTo>
                    <a:pt x="486" y="489"/>
                  </a:lnTo>
                  <a:lnTo>
                    <a:pt x="477" y="500"/>
                  </a:lnTo>
                  <a:lnTo>
                    <a:pt x="468" y="511"/>
                  </a:lnTo>
                  <a:lnTo>
                    <a:pt x="459" y="521"/>
                  </a:lnTo>
                  <a:lnTo>
                    <a:pt x="449" y="529"/>
                  </a:lnTo>
                  <a:lnTo>
                    <a:pt x="439" y="539"/>
                  </a:lnTo>
                  <a:lnTo>
                    <a:pt x="428" y="548"/>
                  </a:lnTo>
                  <a:lnTo>
                    <a:pt x="417" y="555"/>
                  </a:lnTo>
                  <a:lnTo>
                    <a:pt x="405" y="563"/>
                  </a:lnTo>
                  <a:lnTo>
                    <a:pt x="394" y="569"/>
                  </a:lnTo>
                  <a:lnTo>
                    <a:pt x="381" y="575"/>
                  </a:lnTo>
                  <a:lnTo>
                    <a:pt x="369" y="580"/>
                  </a:lnTo>
                  <a:lnTo>
                    <a:pt x="356" y="585"/>
                  </a:lnTo>
                  <a:lnTo>
                    <a:pt x="343" y="590"/>
                  </a:lnTo>
                  <a:lnTo>
                    <a:pt x="330" y="592"/>
                  </a:lnTo>
                  <a:lnTo>
                    <a:pt x="316" y="594"/>
                  </a:lnTo>
                  <a:lnTo>
                    <a:pt x="303" y="597"/>
                  </a:lnTo>
                  <a:lnTo>
                    <a:pt x="288" y="598"/>
                  </a:lnTo>
                  <a:lnTo>
                    <a:pt x="275"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24">
              <a:extLst>
                <a:ext uri="{FF2B5EF4-FFF2-40B4-BE49-F238E27FC236}">
                  <a16:creationId xmlns:a16="http://schemas.microsoft.com/office/drawing/2014/main" id="{2CFA5259-BC58-4F42-8B88-70DD35C76957}"/>
                </a:ext>
              </a:extLst>
            </p:cNvPr>
            <p:cNvSpPr>
              <a:spLocks/>
            </p:cNvSpPr>
            <p:nvPr/>
          </p:nvSpPr>
          <p:spPr bwMode="auto">
            <a:xfrm>
              <a:off x="8691563" y="4833938"/>
              <a:ext cx="158750" cy="192088"/>
            </a:xfrm>
            <a:custGeom>
              <a:avLst/>
              <a:gdLst>
                <a:gd name="T0" fmla="*/ 352 w 397"/>
                <a:gd name="T1" fmla="*/ 486 h 486"/>
                <a:gd name="T2" fmla="*/ 351 w 397"/>
                <a:gd name="T3" fmla="*/ 308 h 486"/>
                <a:gd name="T4" fmla="*/ 346 w 397"/>
                <a:gd name="T5" fmla="*/ 275 h 486"/>
                <a:gd name="T6" fmla="*/ 336 w 397"/>
                <a:gd name="T7" fmla="*/ 249 h 486"/>
                <a:gd name="T8" fmla="*/ 320 w 397"/>
                <a:gd name="T9" fmla="*/ 228 h 486"/>
                <a:gd name="T10" fmla="*/ 299 w 397"/>
                <a:gd name="T11" fmla="*/ 213 h 486"/>
                <a:gd name="T12" fmla="*/ 273 w 397"/>
                <a:gd name="T13" fmla="*/ 199 h 486"/>
                <a:gd name="T14" fmla="*/ 226 w 397"/>
                <a:gd name="T15" fmla="*/ 182 h 486"/>
                <a:gd name="T16" fmla="*/ 170 w 397"/>
                <a:gd name="T17" fmla="*/ 165 h 486"/>
                <a:gd name="T18" fmla="*/ 135 w 397"/>
                <a:gd name="T19" fmla="*/ 154 h 486"/>
                <a:gd name="T20" fmla="*/ 99 w 397"/>
                <a:gd name="T21" fmla="*/ 141 h 486"/>
                <a:gd name="T22" fmla="*/ 69 w 397"/>
                <a:gd name="T23" fmla="*/ 125 h 486"/>
                <a:gd name="T24" fmla="*/ 45 w 397"/>
                <a:gd name="T25" fmla="*/ 107 h 486"/>
                <a:gd name="T26" fmla="*/ 27 w 397"/>
                <a:gd name="T27" fmla="*/ 86 h 486"/>
                <a:gd name="T28" fmla="*/ 15 w 397"/>
                <a:gd name="T29" fmla="*/ 65 h 486"/>
                <a:gd name="T30" fmla="*/ 6 w 397"/>
                <a:gd name="T31" fmla="*/ 44 h 486"/>
                <a:gd name="T32" fmla="*/ 1 w 397"/>
                <a:gd name="T33" fmla="*/ 25 h 486"/>
                <a:gd name="T34" fmla="*/ 0 w 397"/>
                <a:gd name="T35" fmla="*/ 8 h 486"/>
                <a:gd name="T36" fmla="*/ 45 w 397"/>
                <a:gd name="T37" fmla="*/ 3 h 486"/>
                <a:gd name="T38" fmla="*/ 47 w 397"/>
                <a:gd name="T39" fmla="*/ 16 h 486"/>
                <a:gd name="T40" fmla="*/ 55 w 397"/>
                <a:gd name="T41" fmla="*/ 43 h 486"/>
                <a:gd name="T42" fmla="*/ 65 w 397"/>
                <a:gd name="T43" fmla="*/ 60 h 486"/>
                <a:gd name="T44" fmla="*/ 81 w 397"/>
                <a:gd name="T45" fmla="*/ 76 h 486"/>
                <a:gd name="T46" fmla="*/ 102 w 397"/>
                <a:gd name="T47" fmla="*/ 91 h 486"/>
                <a:gd name="T48" fmla="*/ 131 w 397"/>
                <a:gd name="T49" fmla="*/ 105 h 486"/>
                <a:gd name="T50" fmla="*/ 167 w 397"/>
                <a:gd name="T51" fmla="*/ 116 h 486"/>
                <a:gd name="T52" fmla="*/ 200 w 397"/>
                <a:gd name="T53" fmla="*/ 125 h 486"/>
                <a:gd name="T54" fmla="*/ 277 w 397"/>
                <a:gd name="T55" fmla="*/ 151 h 486"/>
                <a:gd name="T56" fmla="*/ 311 w 397"/>
                <a:gd name="T57" fmla="*/ 166 h 486"/>
                <a:gd name="T58" fmla="*/ 340 w 397"/>
                <a:gd name="T59" fmla="*/ 184 h 486"/>
                <a:gd name="T60" fmla="*/ 364 w 397"/>
                <a:gd name="T61" fmla="*/ 209 h 486"/>
                <a:gd name="T62" fmla="*/ 383 w 397"/>
                <a:gd name="T63" fmla="*/ 240 h 486"/>
                <a:gd name="T64" fmla="*/ 394 w 397"/>
                <a:gd name="T65" fmla="*/ 279 h 486"/>
                <a:gd name="T66" fmla="*/ 397 w 397"/>
                <a:gd name="T67" fmla="*/ 32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7" h="486">
                  <a:moveTo>
                    <a:pt x="397" y="486"/>
                  </a:moveTo>
                  <a:lnTo>
                    <a:pt x="352" y="486"/>
                  </a:lnTo>
                  <a:lnTo>
                    <a:pt x="352" y="327"/>
                  </a:lnTo>
                  <a:lnTo>
                    <a:pt x="351" y="308"/>
                  </a:lnTo>
                  <a:lnTo>
                    <a:pt x="349" y="290"/>
                  </a:lnTo>
                  <a:lnTo>
                    <a:pt x="346" y="275"/>
                  </a:lnTo>
                  <a:lnTo>
                    <a:pt x="341" y="262"/>
                  </a:lnTo>
                  <a:lnTo>
                    <a:pt x="336" y="249"/>
                  </a:lnTo>
                  <a:lnTo>
                    <a:pt x="329" y="238"/>
                  </a:lnTo>
                  <a:lnTo>
                    <a:pt x="320" y="228"/>
                  </a:lnTo>
                  <a:lnTo>
                    <a:pt x="310" y="220"/>
                  </a:lnTo>
                  <a:lnTo>
                    <a:pt x="299" y="213"/>
                  </a:lnTo>
                  <a:lnTo>
                    <a:pt x="287" y="205"/>
                  </a:lnTo>
                  <a:lnTo>
                    <a:pt x="273" y="199"/>
                  </a:lnTo>
                  <a:lnTo>
                    <a:pt x="259" y="193"/>
                  </a:lnTo>
                  <a:lnTo>
                    <a:pt x="226" y="182"/>
                  </a:lnTo>
                  <a:lnTo>
                    <a:pt x="186" y="170"/>
                  </a:lnTo>
                  <a:lnTo>
                    <a:pt x="170" y="165"/>
                  </a:lnTo>
                  <a:lnTo>
                    <a:pt x="153" y="160"/>
                  </a:lnTo>
                  <a:lnTo>
                    <a:pt x="135" y="154"/>
                  </a:lnTo>
                  <a:lnTo>
                    <a:pt x="116" y="148"/>
                  </a:lnTo>
                  <a:lnTo>
                    <a:pt x="99" y="141"/>
                  </a:lnTo>
                  <a:lnTo>
                    <a:pt x="83" y="134"/>
                  </a:lnTo>
                  <a:lnTo>
                    <a:pt x="69" y="125"/>
                  </a:lnTo>
                  <a:lnTo>
                    <a:pt x="56" y="116"/>
                  </a:lnTo>
                  <a:lnTo>
                    <a:pt x="45" y="107"/>
                  </a:lnTo>
                  <a:lnTo>
                    <a:pt x="35" y="96"/>
                  </a:lnTo>
                  <a:lnTo>
                    <a:pt x="27" y="86"/>
                  </a:lnTo>
                  <a:lnTo>
                    <a:pt x="21" y="75"/>
                  </a:lnTo>
                  <a:lnTo>
                    <a:pt x="15" y="65"/>
                  </a:lnTo>
                  <a:lnTo>
                    <a:pt x="10" y="54"/>
                  </a:lnTo>
                  <a:lnTo>
                    <a:pt x="6" y="44"/>
                  </a:lnTo>
                  <a:lnTo>
                    <a:pt x="4" y="35"/>
                  </a:lnTo>
                  <a:lnTo>
                    <a:pt x="1" y="25"/>
                  </a:lnTo>
                  <a:lnTo>
                    <a:pt x="0" y="15"/>
                  </a:lnTo>
                  <a:lnTo>
                    <a:pt x="0" y="8"/>
                  </a:lnTo>
                  <a:lnTo>
                    <a:pt x="0" y="0"/>
                  </a:lnTo>
                  <a:lnTo>
                    <a:pt x="45" y="3"/>
                  </a:lnTo>
                  <a:lnTo>
                    <a:pt x="45" y="8"/>
                  </a:lnTo>
                  <a:lnTo>
                    <a:pt x="47" y="16"/>
                  </a:lnTo>
                  <a:lnTo>
                    <a:pt x="50" y="29"/>
                  </a:lnTo>
                  <a:lnTo>
                    <a:pt x="55" y="43"/>
                  </a:lnTo>
                  <a:lnTo>
                    <a:pt x="60" y="52"/>
                  </a:lnTo>
                  <a:lnTo>
                    <a:pt x="65" y="60"/>
                  </a:lnTo>
                  <a:lnTo>
                    <a:pt x="72" y="68"/>
                  </a:lnTo>
                  <a:lnTo>
                    <a:pt x="81" y="76"/>
                  </a:lnTo>
                  <a:lnTo>
                    <a:pt x="91" y="84"/>
                  </a:lnTo>
                  <a:lnTo>
                    <a:pt x="102" y="91"/>
                  </a:lnTo>
                  <a:lnTo>
                    <a:pt x="115" y="98"/>
                  </a:lnTo>
                  <a:lnTo>
                    <a:pt x="131" y="105"/>
                  </a:lnTo>
                  <a:lnTo>
                    <a:pt x="148" y="109"/>
                  </a:lnTo>
                  <a:lnTo>
                    <a:pt x="167" y="116"/>
                  </a:lnTo>
                  <a:lnTo>
                    <a:pt x="184" y="121"/>
                  </a:lnTo>
                  <a:lnTo>
                    <a:pt x="200" y="125"/>
                  </a:lnTo>
                  <a:lnTo>
                    <a:pt x="240" y="138"/>
                  </a:lnTo>
                  <a:lnTo>
                    <a:pt x="277" y="151"/>
                  </a:lnTo>
                  <a:lnTo>
                    <a:pt x="294" y="157"/>
                  </a:lnTo>
                  <a:lnTo>
                    <a:pt x="311" y="166"/>
                  </a:lnTo>
                  <a:lnTo>
                    <a:pt x="326" y="174"/>
                  </a:lnTo>
                  <a:lnTo>
                    <a:pt x="340" y="184"/>
                  </a:lnTo>
                  <a:lnTo>
                    <a:pt x="353" y="197"/>
                  </a:lnTo>
                  <a:lnTo>
                    <a:pt x="364" y="209"/>
                  </a:lnTo>
                  <a:lnTo>
                    <a:pt x="374" y="224"/>
                  </a:lnTo>
                  <a:lnTo>
                    <a:pt x="383" y="240"/>
                  </a:lnTo>
                  <a:lnTo>
                    <a:pt x="389" y="258"/>
                  </a:lnTo>
                  <a:lnTo>
                    <a:pt x="394" y="279"/>
                  </a:lnTo>
                  <a:lnTo>
                    <a:pt x="397" y="302"/>
                  </a:lnTo>
                  <a:lnTo>
                    <a:pt x="397" y="327"/>
                  </a:lnTo>
                  <a:lnTo>
                    <a:pt x="397"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25">
              <a:extLst>
                <a:ext uri="{FF2B5EF4-FFF2-40B4-BE49-F238E27FC236}">
                  <a16:creationId xmlns:a16="http://schemas.microsoft.com/office/drawing/2014/main" id="{52D278BB-7BA7-4C6B-86F3-1B3696D57752}"/>
                </a:ext>
              </a:extLst>
            </p:cNvPr>
            <p:cNvSpPr>
              <a:spLocks/>
            </p:cNvSpPr>
            <p:nvPr/>
          </p:nvSpPr>
          <p:spPr bwMode="auto">
            <a:xfrm>
              <a:off x="8472488" y="4833938"/>
              <a:ext cx="158750" cy="192088"/>
            </a:xfrm>
            <a:custGeom>
              <a:avLst/>
              <a:gdLst>
                <a:gd name="T0" fmla="*/ 0 w 398"/>
                <a:gd name="T1" fmla="*/ 486 h 486"/>
                <a:gd name="T2" fmla="*/ 1 w 398"/>
                <a:gd name="T3" fmla="*/ 302 h 486"/>
                <a:gd name="T4" fmla="*/ 8 w 398"/>
                <a:gd name="T5" fmla="*/ 258 h 486"/>
                <a:gd name="T6" fmla="*/ 23 w 398"/>
                <a:gd name="T7" fmla="*/ 224 h 486"/>
                <a:gd name="T8" fmla="*/ 45 w 398"/>
                <a:gd name="T9" fmla="*/ 197 h 486"/>
                <a:gd name="T10" fmla="*/ 71 w 398"/>
                <a:gd name="T11" fmla="*/ 174 h 486"/>
                <a:gd name="T12" fmla="*/ 103 w 398"/>
                <a:gd name="T13" fmla="*/ 157 h 486"/>
                <a:gd name="T14" fmla="*/ 158 w 398"/>
                <a:gd name="T15" fmla="*/ 138 h 486"/>
                <a:gd name="T16" fmla="*/ 214 w 398"/>
                <a:gd name="T17" fmla="*/ 121 h 486"/>
                <a:gd name="T18" fmla="*/ 249 w 398"/>
                <a:gd name="T19" fmla="*/ 109 h 486"/>
                <a:gd name="T20" fmla="*/ 282 w 398"/>
                <a:gd name="T21" fmla="*/ 98 h 486"/>
                <a:gd name="T22" fmla="*/ 308 w 398"/>
                <a:gd name="T23" fmla="*/ 84 h 486"/>
                <a:gd name="T24" fmla="*/ 326 w 398"/>
                <a:gd name="T25" fmla="*/ 68 h 486"/>
                <a:gd name="T26" fmla="*/ 338 w 398"/>
                <a:gd name="T27" fmla="*/ 52 h 486"/>
                <a:gd name="T28" fmla="*/ 348 w 398"/>
                <a:gd name="T29" fmla="*/ 29 h 486"/>
                <a:gd name="T30" fmla="*/ 352 w 398"/>
                <a:gd name="T31" fmla="*/ 6 h 486"/>
                <a:gd name="T32" fmla="*/ 398 w 398"/>
                <a:gd name="T33" fmla="*/ 0 h 486"/>
                <a:gd name="T34" fmla="*/ 397 w 398"/>
                <a:gd name="T35" fmla="*/ 15 h 486"/>
                <a:gd name="T36" fmla="*/ 395 w 398"/>
                <a:gd name="T37" fmla="*/ 35 h 486"/>
                <a:gd name="T38" fmla="*/ 387 w 398"/>
                <a:gd name="T39" fmla="*/ 54 h 486"/>
                <a:gd name="T40" fmla="*/ 378 w 398"/>
                <a:gd name="T41" fmla="*/ 75 h 486"/>
                <a:gd name="T42" fmla="*/ 362 w 398"/>
                <a:gd name="T43" fmla="*/ 96 h 486"/>
                <a:gd name="T44" fmla="*/ 341 w 398"/>
                <a:gd name="T45" fmla="*/ 116 h 486"/>
                <a:gd name="T46" fmla="*/ 315 w 398"/>
                <a:gd name="T47" fmla="*/ 134 h 486"/>
                <a:gd name="T48" fmla="*/ 282 w 398"/>
                <a:gd name="T49" fmla="*/ 148 h 486"/>
                <a:gd name="T50" fmla="*/ 245 w 398"/>
                <a:gd name="T51" fmla="*/ 160 h 486"/>
                <a:gd name="T52" fmla="*/ 211 w 398"/>
                <a:gd name="T53" fmla="*/ 170 h 486"/>
                <a:gd name="T54" fmla="*/ 138 w 398"/>
                <a:gd name="T55" fmla="*/ 193 h 486"/>
                <a:gd name="T56" fmla="*/ 110 w 398"/>
                <a:gd name="T57" fmla="*/ 205 h 486"/>
                <a:gd name="T58" fmla="*/ 87 w 398"/>
                <a:gd name="T59" fmla="*/ 220 h 486"/>
                <a:gd name="T60" fmla="*/ 70 w 398"/>
                <a:gd name="T61" fmla="*/ 238 h 486"/>
                <a:gd name="T62" fmla="*/ 56 w 398"/>
                <a:gd name="T63" fmla="*/ 262 h 486"/>
                <a:gd name="T64" fmla="*/ 49 w 398"/>
                <a:gd name="T65" fmla="*/ 290 h 486"/>
                <a:gd name="T66" fmla="*/ 46 w 398"/>
                <a:gd name="T67" fmla="*/ 32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86">
                  <a:moveTo>
                    <a:pt x="46" y="486"/>
                  </a:moveTo>
                  <a:lnTo>
                    <a:pt x="0" y="486"/>
                  </a:lnTo>
                  <a:lnTo>
                    <a:pt x="0" y="327"/>
                  </a:lnTo>
                  <a:lnTo>
                    <a:pt x="1" y="302"/>
                  </a:lnTo>
                  <a:lnTo>
                    <a:pt x="3" y="279"/>
                  </a:lnTo>
                  <a:lnTo>
                    <a:pt x="8" y="258"/>
                  </a:lnTo>
                  <a:lnTo>
                    <a:pt x="16" y="240"/>
                  </a:lnTo>
                  <a:lnTo>
                    <a:pt x="23" y="224"/>
                  </a:lnTo>
                  <a:lnTo>
                    <a:pt x="33" y="209"/>
                  </a:lnTo>
                  <a:lnTo>
                    <a:pt x="45" y="197"/>
                  </a:lnTo>
                  <a:lnTo>
                    <a:pt x="57" y="184"/>
                  </a:lnTo>
                  <a:lnTo>
                    <a:pt x="71" y="174"/>
                  </a:lnTo>
                  <a:lnTo>
                    <a:pt x="87" y="166"/>
                  </a:lnTo>
                  <a:lnTo>
                    <a:pt x="103" y="157"/>
                  </a:lnTo>
                  <a:lnTo>
                    <a:pt x="120" y="151"/>
                  </a:lnTo>
                  <a:lnTo>
                    <a:pt x="158" y="138"/>
                  </a:lnTo>
                  <a:lnTo>
                    <a:pt x="197" y="125"/>
                  </a:lnTo>
                  <a:lnTo>
                    <a:pt x="214" y="121"/>
                  </a:lnTo>
                  <a:lnTo>
                    <a:pt x="232" y="116"/>
                  </a:lnTo>
                  <a:lnTo>
                    <a:pt x="249" y="109"/>
                  </a:lnTo>
                  <a:lnTo>
                    <a:pt x="267" y="105"/>
                  </a:lnTo>
                  <a:lnTo>
                    <a:pt x="282" y="98"/>
                  </a:lnTo>
                  <a:lnTo>
                    <a:pt x="295" y="91"/>
                  </a:lnTo>
                  <a:lnTo>
                    <a:pt x="308" y="84"/>
                  </a:lnTo>
                  <a:lnTo>
                    <a:pt x="317" y="76"/>
                  </a:lnTo>
                  <a:lnTo>
                    <a:pt x="326" y="68"/>
                  </a:lnTo>
                  <a:lnTo>
                    <a:pt x="332" y="60"/>
                  </a:lnTo>
                  <a:lnTo>
                    <a:pt x="338" y="52"/>
                  </a:lnTo>
                  <a:lnTo>
                    <a:pt x="342" y="43"/>
                  </a:lnTo>
                  <a:lnTo>
                    <a:pt x="348" y="29"/>
                  </a:lnTo>
                  <a:lnTo>
                    <a:pt x="351" y="16"/>
                  </a:lnTo>
                  <a:lnTo>
                    <a:pt x="352" y="6"/>
                  </a:lnTo>
                  <a:lnTo>
                    <a:pt x="352" y="3"/>
                  </a:lnTo>
                  <a:lnTo>
                    <a:pt x="398" y="0"/>
                  </a:lnTo>
                  <a:lnTo>
                    <a:pt x="398" y="8"/>
                  </a:lnTo>
                  <a:lnTo>
                    <a:pt x="397" y="15"/>
                  </a:lnTo>
                  <a:lnTo>
                    <a:pt x="396" y="25"/>
                  </a:lnTo>
                  <a:lnTo>
                    <a:pt x="395" y="35"/>
                  </a:lnTo>
                  <a:lnTo>
                    <a:pt x="392" y="44"/>
                  </a:lnTo>
                  <a:lnTo>
                    <a:pt x="387" y="54"/>
                  </a:lnTo>
                  <a:lnTo>
                    <a:pt x="384" y="65"/>
                  </a:lnTo>
                  <a:lnTo>
                    <a:pt x="378" y="75"/>
                  </a:lnTo>
                  <a:lnTo>
                    <a:pt x="370" y="86"/>
                  </a:lnTo>
                  <a:lnTo>
                    <a:pt x="362" y="96"/>
                  </a:lnTo>
                  <a:lnTo>
                    <a:pt x="352" y="107"/>
                  </a:lnTo>
                  <a:lnTo>
                    <a:pt x="341" y="116"/>
                  </a:lnTo>
                  <a:lnTo>
                    <a:pt x="328" y="125"/>
                  </a:lnTo>
                  <a:lnTo>
                    <a:pt x="315" y="134"/>
                  </a:lnTo>
                  <a:lnTo>
                    <a:pt x="299" y="141"/>
                  </a:lnTo>
                  <a:lnTo>
                    <a:pt x="282" y="148"/>
                  </a:lnTo>
                  <a:lnTo>
                    <a:pt x="263" y="154"/>
                  </a:lnTo>
                  <a:lnTo>
                    <a:pt x="245" y="160"/>
                  </a:lnTo>
                  <a:lnTo>
                    <a:pt x="228" y="165"/>
                  </a:lnTo>
                  <a:lnTo>
                    <a:pt x="211" y="170"/>
                  </a:lnTo>
                  <a:lnTo>
                    <a:pt x="173" y="182"/>
                  </a:lnTo>
                  <a:lnTo>
                    <a:pt x="138" y="193"/>
                  </a:lnTo>
                  <a:lnTo>
                    <a:pt x="124" y="199"/>
                  </a:lnTo>
                  <a:lnTo>
                    <a:pt x="110" y="205"/>
                  </a:lnTo>
                  <a:lnTo>
                    <a:pt x="98" y="213"/>
                  </a:lnTo>
                  <a:lnTo>
                    <a:pt x="87" y="220"/>
                  </a:lnTo>
                  <a:lnTo>
                    <a:pt x="77" y="228"/>
                  </a:lnTo>
                  <a:lnTo>
                    <a:pt x="70" y="238"/>
                  </a:lnTo>
                  <a:lnTo>
                    <a:pt x="62" y="249"/>
                  </a:lnTo>
                  <a:lnTo>
                    <a:pt x="56" y="262"/>
                  </a:lnTo>
                  <a:lnTo>
                    <a:pt x="51" y="275"/>
                  </a:lnTo>
                  <a:lnTo>
                    <a:pt x="49" y="290"/>
                  </a:lnTo>
                  <a:lnTo>
                    <a:pt x="46" y="308"/>
                  </a:lnTo>
                  <a:lnTo>
                    <a:pt x="46" y="327"/>
                  </a:lnTo>
                  <a:lnTo>
                    <a:pt x="4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26">
              <a:extLst>
                <a:ext uri="{FF2B5EF4-FFF2-40B4-BE49-F238E27FC236}">
                  <a16:creationId xmlns:a16="http://schemas.microsoft.com/office/drawing/2014/main" id="{9ED6FE0B-A4E6-4AB4-8274-8D0ED37A1745}"/>
                </a:ext>
              </a:extLst>
            </p:cNvPr>
            <p:cNvSpPr>
              <a:spLocks/>
            </p:cNvSpPr>
            <p:nvPr/>
          </p:nvSpPr>
          <p:spPr bwMode="auto">
            <a:xfrm>
              <a:off x="8559801" y="4675188"/>
              <a:ext cx="201613" cy="42863"/>
            </a:xfrm>
            <a:custGeom>
              <a:avLst/>
              <a:gdLst>
                <a:gd name="T0" fmla="*/ 120 w 509"/>
                <a:gd name="T1" fmla="*/ 111 h 111"/>
                <a:gd name="T2" fmla="*/ 92 w 509"/>
                <a:gd name="T3" fmla="*/ 110 h 111"/>
                <a:gd name="T4" fmla="*/ 63 w 509"/>
                <a:gd name="T5" fmla="*/ 107 h 111"/>
                <a:gd name="T6" fmla="*/ 32 w 509"/>
                <a:gd name="T7" fmla="*/ 102 h 111"/>
                <a:gd name="T8" fmla="*/ 0 w 509"/>
                <a:gd name="T9" fmla="*/ 96 h 111"/>
                <a:gd name="T10" fmla="*/ 11 w 509"/>
                <a:gd name="T11" fmla="*/ 51 h 111"/>
                <a:gd name="T12" fmla="*/ 30 w 509"/>
                <a:gd name="T13" fmla="*/ 56 h 111"/>
                <a:gd name="T14" fmla="*/ 47 w 509"/>
                <a:gd name="T15" fmla="*/ 58 h 111"/>
                <a:gd name="T16" fmla="*/ 64 w 509"/>
                <a:gd name="T17" fmla="*/ 61 h 111"/>
                <a:gd name="T18" fmla="*/ 80 w 509"/>
                <a:gd name="T19" fmla="*/ 63 h 111"/>
                <a:gd name="T20" fmla="*/ 112 w 509"/>
                <a:gd name="T21" fmla="*/ 64 h 111"/>
                <a:gd name="T22" fmla="*/ 142 w 509"/>
                <a:gd name="T23" fmla="*/ 64 h 111"/>
                <a:gd name="T24" fmla="*/ 172 w 509"/>
                <a:gd name="T25" fmla="*/ 62 h 111"/>
                <a:gd name="T26" fmla="*/ 200 w 509"/>
                <a:gd name="T27" fmla="*/ 57 h 111"/>
                <a:gd name="T28" fmla="*/ 225 w 509"/>
                <a:gd name="T29" fmla="*/ 52 h 111"/>
                <a:gd name="T30" fmla="*/ 248 w 509"/>
                <a:gd name="T31" fmla="*/ 46 h 111"/>
                <a:gd name="T32" fmla="*/ 270 w 509"/>
                <a:gd name="T33" fmla="*/ 38 h 111"/>
                <a:gd name="T34" fmla="*/ 288 w 509"/>
                <a:gd name="T35" fmla="*/ 32 h 111"/>
                <a:gd name="T36" fmla="*/ 305 w 509"/>
                <a:gd name="T37" fmla="*/ 25 h 111"/>
                <a:gd name="T38" fmla="*/ 319 w 509"/>
                <a:gd name="T39" fmla="*/ 19 h 111"/>
                <a:gd name="T40" fmla="*/ 339 w 509"/>
                <a:gd name="T41" fmla="*/ 8 h 111"/>
                <a:gd name="T42" fmla="*/ 345 w 509"/>
                <a:gd name="T43" fmla="*/ 4 h 111"/>
                <a:gd name="T44" fmla="*/ 348 w 509"/>
                <a:gd name="T45" fmla="*/ 2 h 111"/>
                <a:gd name="T46" fmla="*/ 352 w 509"/>
                <a:gd name="T47" fmla="*/ 0 h 111"/>
                <a:gd name="T48" fmla="*/ 356 w 509"/>
                <a:gd name="T49" fmla="*/ 0 h 111"/>
                <a:gd name="T50" fmla="*/ 361 w 509"/>
                <a:gd name="T51" fmla="*/ 0 h 111"/>
                <a:gd name="T52" fmla="*/ 364 w 509"/>
                <a:gd name="T53" fmla="*/ 2 h 111"/>
                <a:gd name="T54" fmla="*/ 368 w 509"/>
                <a:gd name="T55" fmla="*/ 3 h 111"/>
                <a:gd name="T56" fmla="*/ 370 w 509"/>
                <a:gd name="T57" fmla="*/ 4 h 111"/>
                <a:gd name="T58" fmla="*/ 374 w 509"/>
                <a:gd name="T59" fmla="*/ 7 h 111"/>
                <a:gd name="T60" fmla="*/ 377 w 509"/>
                <a:gd name="T61" fmla="*/ 9 h 111"/>
                <a:gd name="T62" fmla="*/ 384 w 509"/>
                <a:gd name="T63" fmla="*/ 15 h 111"/>
                <a:gd name="T64" fmla="*/ 394 w 509"/>
                <a:gd name="T65" fmla="*/ 21 h 111"/>
                <a:gd name="T66" fmla="*/ 409 w 509"/>
                <a:gd name="T67" fmla="*/ 30 h 111"/>
                <a:gd name="T68" fmla="*/ 428 w 509"/>
                <a:gd name="T69" fmla="*/ 37 h 111"/>
                <a:gd name="T70" fmla="*/ 450 w 509"/>
                <a:gd name="T71" fmla="*/ 45 h 111"/>
                <a:gd name="T72" fmla="*/ 464 w 509"/>
                <a:gd name="T73" fmla="*/ 47 h 111"/>
                <a:gd name="T74" fmla="*/ 477 w 509"/>
                <a:gd name="T75" fmla="*/ 48 h 111"/>
                <a:gd name="T76" fmla="*/ 493 w 509"/>
                <a:gd name="T77" fmla="*/ 49 h 111"/>
                <a:gd name="T78" fmla="*/ 509 w 509"/>
                <a:gd name="T79" fmla="*/ 51 h 111"/>
                <a:gd name="T80" fmla="*/ 509 w 509"/>
                <a:gd name="T81" fmla="*/ 96 h 111"/>
                <a:gd name="T82" fmla="*/ 481 w 509"/>
                <a:gd name="T83" fmla="*/ 95 h 111"/>
                <a:gd name="T84" fmla="*/ 455 w 509"/>
                <a:gd name="T85" fmla="*/ 92 h 111"/>
                <a:gd name="T86" fmla="*/ 432 w 509"/>
                <a:gd name="T87" fmla="*/ 86 h 111"/>
                <a:gd name="T88" fmla="*/ 411 w 509"/>
                <a:gd name="T89" fmla="*/ 80 h 111"/>
                <a:gd name="T90" fmla="*/ 394 w 509"/>
                <a:gd name="T91" fmla="*/ 73 h 111"/>
                <a:gd name="T92" fmla="*/ 378 w 509"/>
                <a:gd name="T93" fmla="*/ 65 h 111"/>
                <a:gd name="T94" fmla="*/ 366 w 509"/>
                <a:gd name="T95" fmla="*/ 58 h 111"/>
                <a:gd name="T96" fmla="*/ 356 w 509"/>
                <a:gd name="T97" fmla="*/ 52 h 111"/>
                <a:gd name="T98" fmla="*/ 341 w 509"/>
                <a:gd name="T99" fmla="*/ 59 h 111"/>
                <a:gd name="T100" fmla="*/ 321 w 509"/>
                <a:gd name="T101" fmla="*/ 68 h 111"/>
                <a:gd name="T102" fmla="*/ 297 w 509"/>
                <a:gd name="T103" fmla="*/ 79 h 111"/>
                <a:gd name="T104" fmla="*/ 269 w 509"/>
                <a:gd name="T105" fmla="*/ 88 h 111"/>
                <a:gd name="T106" fmla="*/ 237 w 509"/>
                <a:gd name="T107" fmla="*/ 97 h 111"/>
                <a:gd name="T108" fmla="*/ 201 w 509"/>
                <a:gd name="T109" fmla="*/ 105 h 111"/>
                <a:gd name="T110" fmla="*/ 183 w 509"/>
                <a:gd name="T111" fmla="*/ 107 h 111"/>
                <a:gd name="T112" fmla="*/ 162 w 509"/>
                <a:gd name="T113" fmla="*/ 110 h 111"/>
                <a:gd name="T114" fmla="*/ 142 w 509"/>
                <a:gd name="T115" fmla="*/ 111 h 111"/>
                <a:gd name="T116" fmla="*/ 120 w 509"/>
                <a:gd name="T1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9" h="111">
                  <a:moveTo>
                    <a:pt x="120" y="111"/>
                  </a:moveTo>
                  <a:lnTo>
                    <a:pt x="92" y="110"/>
                  </a:lnTo>
                  <a:lnTo>
                    <a:pt x="63" y="107"/>
                  </a:lnTo>
                  <a:lnTo>
                    <a:pt x="32" y="102"/>
                  </a:lnTo>
                  <a:lnTo>
                    <a:pt x="0" y="96"/>
                  </a:lnTo>
                  <a:lnTo>
                    <a:pt x="11" y="51"/>
                  </a:lnTo>
                  <a:lnTo>
                    <a:pt x="30" y="56"/>
                  </a:lnTo>
                  <a:lnTo>
                    <a:pt x="47" y="58"/>
                  </a:lnTo>
                  <a:lnTo>
                    <a:pt x="64" y="61"/>
                  </a:lnTo>
                  <a:lnTo>
                    <a:pt x="80" y="63"/>
                  </a:lnTo>
                  <a:lnTo>
                    <a:pt x="112" y="64"/>
                  </a:lnTo>
                  <a:lnTo>
                    <a:pt x="142" y="64"/>
                  </a:lnTo>
                  <a:lnTo>
                    <a:pt x="172" y="62"/>
                  </a:lnTo>
                  <a:lnTo>
                    <a:pt x="200" y="57"/>
                  </a:lnTo>
                  <a:lnTo>
                    <a:pt x="225" y="52"/>
                  </a:lnTo>
                  <a:lnTo>
                    <a:pt x="248" y="46"/>
                  </a:lnTo>
                  <a:lnTo>
                    <a:pt x="270" y="38"/>
                  </a:lnTo>
                  <a:lnTo>
                    <a:pt x="288" y="32"/>
                  </a:lnTo>
                  <a:lnTo>
                    <a:pt x="305" y="25"/>
                  </a:lnTo>
                  <a:lnTo>
                    <a:pt x="319" y="19"/>
                  </a:lnTo>
                  <a:lnTo>
                    <a:pt x="339" y="8"/>
                  </a:lnTo>
                  <a:lnTo>
                    <a:pt x="345" y="4"/>
                  </a:lnTo>
                  <a:lnTo>
                    <a:pt x="348" y="2"/>
                  </a:lnTo>
                  <a:lnTo>
                    <a:pt x="352" y="0"/>
                  </a:lnTo>
                  <a:lnTo>
                    <a:pt x="356" y="0"/>
                  </a:lnTo>
                  <a:lnTo>
                    <a:pt x="361" y="0"/>
                  </a:lnTo>
                  <a:lnTo>
                    <a:pt x="364" y="2"/>
                  </a:lnTo>
                  <a:lnTo>
                    <a:pt x="368" y="3"/>
                  </a:lnTo>
                  <a:lnTo>
                    <a:pt x="370" y="4"/>
                  </a:lnTo>
                  <a:lnTo>
                    <a:pt x="374" y="7"/>
                  </a:lnTo>
                  <a:lnTo>
                    <a:pt x="377" y="9"/>
                  </a:lnTo>
                  <a:lnTo>
                    <a:pt x="384" y="15"/>
                  </a:lnTo>
                  <a:lnTo>
                    <a:pt x="394" y="21"/>
                  </a:lnTo>
                  <a:lnTo>
                    <a:pt x="409" y="30"/>
                  </a:lnTo>
                  <a:lnTo>
                    <a:pt x="428" y="37"/>
                  </a:lnTo>
                  <a:lnTo>
                    <a:pt x="450" y="45"/>
                  </a:lnTo>
                  <a:lnTo>
                    <a:pt x="464" y="47"/>
                  </a:lnTo>
                  <a:lnTo>
                    <a:pt x="477" y="48"/>
                  </a:lnTo>
                  <a:lnTo>
                    <a:pt x="493" y="49"/>
                  </a:lnTo>
                  <a:lnTo>
                    <a:pt x="509" y="51"/>
                  </a:lnTo>
                  <a:lnTo>
                    <a:pt x="509" y="96"/>
                  </a:lnTo>
                  <a:lnTo>
                    <a:pt x="481" y="95"/>
                  </a:lnTo>
                  <a:lnTo>
                    <a:pt x="455" y="92"/>
                  </a:lnTo>
                  <a:lnTo>
                    <a:pt x="432" y="86"/>
                  </a:lnTo>
                  <a:lnTo>
                    <a:pt x="411" y="80"/>
                  </a:lnTo>
                  <a:lnTo>
                    <a:pt x="394" y="73"/>
                  </a:lnTo>
                  <a:lnTo>
                    <a:pt x="378" y="65"/>
                  </a:lnTo>
                  <a:lnTo>
                    <a:pt x="366" y="58"/>
                  </a:lnTo>
                  <a:lnTo>
                    <a:pt x="356" y="52"/>
                  </a:lnTo>
                  <a:lnTo>
                    <a:pt x="341" y="59"/>
                  </a:lnTo>
                  <a:lnTo>
                    <a:pt x="321" y="68"/>
                  </a:lnTo>
                  <a:lnTo>
                    <a:pt x="297" y="79"/>
                  </a:lnTo>
                  <a:lnTo>
                    <a:pt x="269" y="88"/>
                  </a:lnTo>
                  <a:lnTo>
                    <a:pt x="237" y="97"/>
                  </a:lnTo>
                  <a:lnTo>
                    <a:pt x="201" y="105"/>
                  </a:lnTo>
                  <a:lnTo>
                    <a:pt x="183" y="107"/>
                  </a:lnTo>
                  <a:lnTo>
                    <a:pt x="162" y="110"/>
                  </a:lnTo>
                  <a:lnTo>
                    <a:pt x="142" y="111"/>
                  </a:lnTo>
                  <a:lnTo>
                    <a:pt x="12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71">
              <a:extLst>
                <a:ext uri="{FF2B5EF4-FFF2-40B4-BE49-F238E27FC236}">
                  <a16:creationId xmlns:a16="http://schemas.microsoft.com/office/drawing/2014/main" id="{8276A5E2-EF6F-48EE-9A1E-104183B8BF85}"/>
                </a:ext>
              </a:extLst>
            </p:cNvPr>
            <p:cNvSpPr>
              <a:spLocks/>
            </p:cNvSpPr>
            <p:nvPr/>
          </p:nvSpPr>
          <p:spPr bwMode="auto">
            <a:xfrm>
              <a:off x="8408988" y="4999038"/>
              <a:ext cx="511175" cy="73025"/>
            </a:xfrm>
            <a:custGeom>
              <a:avLst/>
              <a:gdLst>
                <a:gd name="T0" fmla="*/ 1265 w 1290"/>
                <a:gd name="T1" fmla="*/ 183 h 184"/>
                <a:gd name="T2" fmla="*/ 1218 w 1290"/>
                <a:gd name="T3" fmla="*/ 172 h 184"/>
                <a:gd name="T4" fmla="*/ 1158 w 1290"/>
                <a:gd name="T5" fmla="*/ 143 h 184"/>
                <a:gd name="T6" fmla="*/ 1101 w 1290"/>
                <a:gd name="T7" fmla="*/ 106 h 184"/>
                <a:gd name="T8" fmla="*/ 1035 w 1290"/>
                <a:gd name="T9" fmla="*/ 69 h 184"/>
                <a:gd name="T10" fmla="*/ 997 w 1290"/>
                <a:gd name="T11" fmla="*/ 56 h 184"/>
                <a:gd name="T12" fmla="*/ 954 w 1290"/>
                <a:gd name="T13" fmla="*/ 48 h 184"/>
                <a:gd name="T14" fmla="*/ 905 w 1290"/>
                <a:gd name="T15" fmla="*/ 47 h 184"/>
                <a:gd name="T16" fmla="*/ 860 w 1290"/>
                <a:gd name="T17" fmla="*/ 52 h 184"/>
                <a:gd name="T18" fmla="*/ 778 w 1290"/>
                <a:gd name="T19" fmla="*/ 76 h 184"/>
                <a:gd name="T20" fmla="*/ 702 w 1290"/>
                <a:gd name="T21" fmla="*/ 113 h 184"/>
                <a:gd name="T22" fmla="*/ 619 w 1290"/>
                <a:gd name="T23" fmla="*/ 151 h 184"/>
                <a:gd name="T24" fmla="*/ 530 w 1290"/>
                <a:gd name="T25" fmla="*/ 178 h 184"/>
                <a:gd name="T26" fmla="*/ 478 w 1290"/>
                <a:gd name="T27" fmla="*/ 184 h 184"/>
                <a:gd name="T28" fmla="*/ 427 w 1290"/>
                <a:gd name="T29" fmla="*/ 183 h 184"/>
                <a:gd name="T30" fmla="*/ 368 w 1290"/>
                <a:gd name="T31" fmla="*/ 172 h 184"/>
                <a:gd name="T32" fmla="*/ 292 w 1290"/>
                <a:gd name="T33" fmla="*/ 143 h 184"/>
                <a:gd name="T34" fmla="*/ 222 w 1290"/>
                <a:gd name="T35" fmla="*/ 105 h 184"/>
                <a:gd name="T36" fmla="*/ 142 w 1290"/>
                <a:gd name="T37" fmla="*/ 69 h 184"/>
                <a:gd name="T38" fmla="*/ 96 w 1290"/>
                <a:gd name="T39" fmla="*/ 56 h 184"/>
                <a:gd name="T40" fmla="*/ 41 w 1290"/>
                <a:gd name="T41" fmla="*/ 48 h 184"/>
                <a:gd name="T42" fmla="*/ 0 w 1290"/>
                <a:gd name="T43" fmla="*/ 0 h 184"/>
                <a:gd name="T44" fmla="*/ 66 w 1290"/>
                <a:gd name="T45" fmla="*/ 4 h 184"/>
                <a:gd name="T46" fmla="*/ 124 w 1290"/>
                <a:gd name="T47" fmla="*/ 15 h 184"/>
                <a:gd name="T48" fmla="*/ 188 w 1290"/>
                <a:gd name="T49" fmla="*/ 37 h 184"/>
                <a:gd name="T50" fmla="*/ 269 w 1290"/>
                <a:gd name="T51" fmla="*/ 78 h 184"/>
                <a:gd name="T52" fmla="*/ 334 w 1290"/>
                <a:gd name="T53" fmla="*/ 111 h 184"/>
                <a:gd name="T54" fmla="*/ 405 w 1290"/>
                <a:gd name="T55" fmla="*/ 134 h 184"/>
                <a:gd name="T56" fmla="*/ 445 w 1290"/>
                <a:gd name="T57" fmla="*/ 138 h 184"/>
                <a:gd name="T58" fmla="*/ 492 w 1290"/>
                <a:gd name="T59" fmla="*/ 137 h 184"/>
                <a:gd name="T60" fmla="*/ 550 w 1290"/>
                <a:gd name="T61" fmla="*/ 127 h 184"/>
                <a:gd name="T62" fmla="*/ 629 w 1290"/>
                <a:gd name="T63" fmla="*/ 96 h 184"/>
                <a:gd name="T64" fmla="*/ 707 w 1290"/>
                <a:gd name="T65" fmla="*/ 58 h 184"/>
                <a:gd name="T66" fmla="*/ 791 w 1290"/>
                <a:gd name="T67" fmla="*/ 22 h 184"/>
                <a:gd name="T68" fmla="*/ 868 w 1290"/>
                <a:gd name="T69" fmla="*/ 4 h 184"/>
                <a:gd name="T70" fmla="*/ 921 w 1290"/>
                <a:gd name="T71" fmla="*/ 0 h 184"/>
                <a:gd name="T72" fmla="*/ 976 w 1290"/>
                <a:gd name="T73" fmla="*/ 4 h 184"/>
                <a:gd name="T74" fmla="*/ 1024 w 1290"/>
                <a:gd name="T75" fmla="*/ 15 h 184"/>
                <a:gd name="T76" fmla="*/ 1078 w 1290"/>
                <a:gd name="T77" fmla="*/ 38 h 184"/>
                <a:gd name="T78" fmla="*/ 1147 w 1290"/>
                <a:gd name="T79" fmla="*/ 80 h 184"/>
                <a:gd name="T80" fmla="*/ 1197 w 1290"/>
                <a:gd name="T81" fmla="*/ 112 h 184"/>
                <a:gd name="T82" fmla="*/ 1250 w 1290"/>
                <a:gd name="T83" fmla="*/ 134 h 184"/>
                <a:gd name="T84" fmla="*/ 1290 w 1290"/>
                <a:gd name="T8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0" h="184">
                  <a:moveTo>
                    <a:pt x="1290" y="184"/>
                  </a:moveTo>
                  <a:lnTo>
                    <a:pt x="1277" y="184"/>
                  </a:lnTo>
                  <a:lnTo>
                    <a:pt x="1265" y="183"/>
                  </a:lnTo>
                  <a:lnTo>
                    <a:pt x="1252" y="181"/>
                  </a:lnTo>
                  <a:lnTo>
                    <a:pt x="1240" y="178"/>
                  </a:lnTo>
                  <a:lnTo>
                    <a:pt x="1218" y="172"/>
                  </a:lnTo>
                  <a:lnTo>
                    <a:pt x="1197" y="164"/>
                  </a:lnTo>
                  <a:lnTo>
                    <a:pt x="1176" y="154"/>
                  </a:lnTo>
                  <a:lnTo>
                    <a:pt x="1158" y="143"/>
                  </a:lnTo>
                  <a:lnTo>
                    <a:pt x="1140" y="130"/>
                  </a:lnTo>
                  <a:lnTo>
                    <a:pt x="1121" y="119"/>
                  </a:lnTo>
                  <a:lnTo>
                    <a:pt x="1101" y="106"/>
                  </a:lnTo>
                  <a:lnTo>
                    <a:pt x="1081" y="92"/>
                  </a:lnTo>
                  <a:lnTo>
                    <a:pt x="1059" y="80"/>
                  </a:lnTo>
                  <a:lnTo>
                    <a:pt x="1035" y="69"/>
                  </a:lnTo>
                  <a:lnTo>
                    <a:pt x="1023" y="64"/>
                  </a:lnTo>
                  <a:lnTo>
                    <a:pt x="1011" y="59"/>
                  </a:lnTo>
                  <a:lnTo>
                    <a:pt x="997" y="56"/>
                  </a:lnTo>
                  <a:lnTo>
                    <a:pt x="984" y="53"/>
                  </a:lnTo>
                  <a:lnTo>
                    <a:pt x="969" y="49"/>
                  </a:lnTo>
                  <a:lnTo>
                    <a:pt x="954" y="48"/>
                  </a:lnTo>
                  <a:lnTo>
                    <a:pt x="938" y="47"/>
                  </a:lnTo>
                  <a:lnTo>
                    <a:pt x="921" y="46"/>
                  </a:lnTo>
                  <a:lnTo>
                    <a:pt x="905" y="47"/>
                  </a:lnTo>
                  <a:lnTo>
                    <a:pt x="889" y="48"/>
                  </a:lnTo>
                  <a:lnTo>
                    <a:pt x="875" y="49"/>
                  </a:lnTo>
                  <a:lnTo>
                    <a:pt x="860" y="52"/>
                  </a:lnTo>
                  <a:lnTo>
                    <a:pt x="832" y="58"/>
                  </a:lnTo>
                  <a:lnTo>
                    <a:pt x="805" y="67"/>
                  </a:lnTo>
                  <a:lnTo>
                    <a:pt x="778" y="76"/>
                  </a:lnTo>
                  <a:lnTo>
                    <a:pt x="752" y="87"/>
                  </a:lnTo>
                  <a:lnTo>
                    <a:pt x="726" y="100"/>
                  </a:lnTo>
                  <a:lnTo>
                    <a:pt x="702" y="113"/>
                  </a:lnTo>
                  <a:lnTo>
                    <a:pt x="675" y="125"/>
                  </a:lnTo>
                  <a:lnTo>
                    <a:pt x="648" y="139"/>
                  </a:lnTo>
                  <a:lnTo>
                    <a:pt x="619" y="151"/>
                  </a:lnTo>
                  <a:lnTo>
                    <a:pt x="591" y="162"/>
                  </a:lnTo>
                  <a:lnTo>
                    <a:pt x="561" y="171"/>
                  </a:lnTo>
                  <a:lnTo>
                    <a:pt x="530" y="178"/>
                  </a:lnTo>
                  <a:lnTo>
                    <a:pt x="513" y="181"/>
                  </a:lnTo>
                  <a:lnTo>
                    <a:pt x="496" y="183"/>
                  </a:lnTo>
                  <a:lnTo>
                    <a:pt x="478" y="184"/>
                  </a:lnTo>
                  <a:lnTo>
                    <a:pt x="460" y="184"/>
                  </a:lnTo>
                  <a:lnTo>
                    <a:pt x="443" y="184"/>
                  </a:lnTo>
                  <a:lnTo>
                    <a:pt x="427" y="183"/>
                  </a:lnTo>
                  <a:lnTo>
                    <a:pt x="411" y="181"/>
                  </a:lnTo>
                  <a:lnTo>
                    <a:pt x="396" y="178"/>
                  </a:lnTo>
                  <a:lnTo>
                    <a:pt x="368" y="172"/>
                  </a:lnTo>
                  <a:lnTo>
                    <a:pt x="341" y="164"/>
                  </a:lnTo>
                  <a:lnTo>
                    <a:pt x="317" y="154"/>
                  </a:lnTo>
                  <a:lnTo>
                    <a:pt x="292" y="143"/>
                  </a:lnTo>
                  <a:lnTo>
                    <a:pt x="269" y="130"/>
                  </a:lnTo>
                  <a:lnTo>
                    <a:pt x="247" y="118"/>
                  </a:lnTo>
                  <a:lnTo>
                    <a:pt x="222" y="105"/>
                  </a:lnTo>
                  <a:lnTo>
                    <a:pt x="198" y="92"/>
                  </a:lnTo>
                  <a:lnTo>
                    <a:pt x="171" y="80"/>
                  </a:lnTo>
                  <a:lnTo>
                    <a:pt x="142" y="69"/>
                  </a:lnTo>
                  <a:lnTo>
                    <a:pt x="128" y="64"/>
                  </a:lnTo>
                  <a:lnTo>
                    <a:pt x="112" y="59"/>
                  </a:lnTo>
                  <a:lnTo>
                    <a:pt x="96" y="56"/>
                  </a:lnTo>
                  <a:lnTo>
                    <a:pt x="79" y="53"/>
                  </a:lnTo>
                  <a:lnTo>
                    <a:pt x="60" y="49"/>
                  </a:lnTo>
                  <a:lnTo>
                    <a:pt x="41" y="48"/>
                  </a:lnTo>
                  <a:lnTo>
                    <a:pt x="21" y="47"/>
                  </a:lnTo>
                  <a:lnTo>
                    <a:pt x="0" y="46"/>
                  </a:lnTo>
                  <a:lnTo>
                    <a:pt x="0" y="0"/>
                  </a:lnTo>
                  <a:lnTo>
                    <a:pt x="23" y="0"/>
                  </a:lnTo>
                  <a:lnTo>
                    <a:pt x="45" y="2"/>
                  </a:lnTo>
                  <a:lnTo>
                    <a:pt x="66" y="4"/>
                  </a:lnTo>
                  <a:lnTo>
                    <a:pt x="86" y="8"/>
                  </a:lnTo>
                  <a:lnTo>
                    <a:pt x="106" y="11"/>
                  </a:lnTo>
                  <a:lnTo>
                    <a:pt x="124" y="15"/>
                  </a:lnTo>
                  <a:lnTo>
                    <a:pt x="141" y="20"/>
                  </a:lnTo>
                  <a:lnTo>
                    <a:pt x="157" y="25"/>
                  </a:lnTo>
                  <a:lnTo>
                    <a:pt x="188" y="37"/>
                  </a:lnTo>
                  <a:lnTo>
                    <a:pt x="217" y="51"/>
                  </a:lnTo>
                  <a:lnTo>
                    <a:pt x="244" y="64"/>
                  </a:lnTo>
                  <a:lnTo>
                    <a:pt x="269" y="78"/>
                  </a:lnTo>
                  <a:lnTo>
                    <a:pt x="291" y="90"/>
                  </a:lnTo>
                  <a:lnTo>
                    <a:pt x="313" y="101"/>
                  </a:lnTo>
                  <a:lnTo>
                    <a:pt x="334" y="111"/>
                  </a:lnTo>
                  <a:lnTo>
                    <a:pt x="357" y="121"/>
                  </a:lnTo>
                  <a:lnTo>
                    <a:pt x="380" y="128"/>
                  </a:lnTo>
                  <a:lnTo>
                    <a:pt x="405" y="134"/>
                  </a:lnTo>
                  <a:lnTo>
                    <a:pt x="418" y="135"/>
                  </a:lnTo>
                  <a:lnTo>
                    <a:pt x="432" y="138"/>
                  </a:lnTo>
                  <a:lnTo>
                    <a:pt x="445" y="138"/>
                  </a:lnTo>
                  <a:lnTo>
                    <a:pt x="460" y="139"/>
                  </a:lnTo>
                  <a:lnTo>
                    <a:pt x="476" y="138"/>
                  </a:lnTo>
                  <a:lnTo>
                    <a:pt x="492" y="137"/>
                  </a:lnTo>
                  <a:lnTo>
                    <a:pt x="507" y="135"/>
                  </a:lnTo>
                  <a:lnTo>
                    <a:pt x="521" y="133"/>
                  </a:lnTo>
                  <a:lnTo>
                    <a:pt x="550" y="127"/>
                  </a:lnTo>
                  <a:lnTo>
                    <a:pt x="578" y="118"/>
                  </a:lnTo>
                  <a:lnTo>
                    <a:pt x="604" y="108"/>
                  </a:lnTo>
                  <a:lnTo>
                    <a:pt x="629" y="96"/>
                  </a:lnTo>
                  <a:lnTo>
                    <a:pt x="655" y="85"/>
                  </a:lnTo>
                  <a:lnTo>
                    <a:pt x="681" y="72"/>
                  </a:lnTo>
                  <a:lnTo>
                    <a:pt x="707" y="58"/>
                  </a:lnTo>
                  <a:lnTo>
                    <a:pt x="734" y="46"/>
                  </a:lnTo>
                  <a:lnTo>
                    <a:pt x="762" y="33"/>
                  </a:lnTo>
                  <a:lnTo>
                    <a:pt x="791" y="22"/>
                  </a:lnTo>
                  <a:lnTo>
                    <a:pt x="821" y="14"/>
                  </a:lnTo>
                  <a:lnTo>
                    <a:pt x="853" y="7"/>
                  </a:lnTo>
                  <a:lnTo>
                    <a:pt x="868" y="4"/>
                  </a:lnTo>
                  <a:lnTo>
                    <a:pt x="886" y="2"/>
                  </a:lnTo>
                  <a:lnTo>
                    <a:pt x="903" y="0"/>
                  </a:lnTo>
                  <a:lnTo>
                    <a:pt x="921" y="0"/>
                  </a:lnTo>
                  <a:lnTo>
                    <a:pt x="941" y="0"/>
                  </a:lnTo>
                  <a:lnTo>
                    <a:pt x="959" y="2"/>
                  </a:lnTo>
                  <a:lnTo>
                    <a:pt x="976" y="4"/>
                  </a:lnTo>
                  <a:lnTo>
                    <a:pt x="994" y="8"/>
                  </a:lnTo>
                  <a:lnTo>
                    <a:pt x="1010" y="11"/>
                  </a:lnTo>
                  <a:lnTo>
                    <a:pt x="1024" y="15"/>
                  </a:lnTo>
                  <a:lnTo>
                    <a:pt x="1039" y="21"/>
                  </a:lnTo>
                  <a:lnTo>
                    <a:pt x="1052" y="26"/>
                  </a:lnTo>
                  <a:lnTo>
                    <a:pt x="1078" y="38"/>
                  </a:lnTo>
                  <a:lnTo>
                    <a:pt x="1103" y="52"/>
                  </a:lnTo>
                  <a:lnTo>
                    <a:pt x="1125" y="67"/>
                  </a:lnTo>
                  <a:lnTo>
                    <a:pt x="1147" y="80"/>
                  </a:lnTo>
                  <a:lnTo>
                    <a:pt x="1164" y="92"/>
                  </a:lnTo>
                  <a:lnTo>
                    <a:pt x="1180" y="102"/>
                  </a:lnTo>
                  <a:lnTo>
                    <a:pt x="1197" y="112"/>
                  </a:lnTo>
                  <a:lnTo>
                    <a:pt x="1214" y="121"/>
                  </a:lnTo>
                  <a:lnTo>
                    <a:pt x="1232" y="128"/>
                  </a:lnTo>
                  <a:lnTo>
                    <a:pt x="1250" y="134"/>
                  </a:lnTo>
                  <a:lnTo>
                    <a:pt x="1270" y="138"/>
                  </a:lnTo>
                  <a:lnTo>
                    <a:pt x="1290" y="139"/>
                  </a:lnTo>
                  <a:lnTo>
                    <a:pt x="129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72">
              <a:extLst>
                <a:ext uri="{FF2B5EF4-FFF2-40B4-BE49-F238E27FC236}">
                  <a16:creationId xmlns:a16="http://schemas.microsoft.com/office/drawing/2014/main" id="{581B1539-4180-499F-AB71-7908FA87E85B}"/>
                </a:ext>
              </a:extLst>
            </p:cNvPr>
            <p:cNvSpPr>
              <a:spLocks/>
            </p:cNvSpPr>
            <p:nvPr/>
          </p:nvSpPr>
          <p:spPr bwMode="auto">
            <a:xfrm>
              <a:off x="8408988" y="5053013"/>
              <a:ext cx="511175" cy="73025"/>
            </a:xfrm>
            <a:custGeom>
              <a:avLst/>
              <a:gdLst>
                <a:gd name="T0" fmla="*/ 1265 w 1290"/>
                <a:gd name="T1" fmla="*/ 183 h 184"/>
                <a:gd name="T2" fmla="*/ 1218 w 1290"/>
                <a:gd name="T3" fmla="*/ 172 h 184"/>
                <a:gd name="T4" fmla="*/ 1158 w 1290"/>
                <a:gd name="T5" fmla="*/ 142 h 184"/>
                <a:gd name="T6" fmla="*/ 1101 w 1290"/>
                <a:gd name="T7" fmla="*/ 104 h 184"/>
                <a:gd name="T8" fmla="*/ 1035 w 1290"/>
                <a:gd name="T9" fmla="*/ 69 h 184"/>
                <a:gd name="T10" fmla="*/ 997 w 1290"/>
                <a:gd name="T11" fmla="*/ 55 h 184"/>
                <a:gd name="T12" fmla="*/ 954 w 1290"/>
                <a:gd name="T13" fmla="*/ 47 h 184"/>
                <a:gd name="T14" fmla="*/ 905 w 1290"/>
                <a:gd name="T15" fmla="*/ 45 h 184"/>
                <a:gd name="T16" fmla="*/ 860 w 1290"/>
                <a:gd name="T17" fmla="*/ 52 h 184"/>
                <a:gd name="T18" fmla="*/ 778 w 1290"/>
                <a:gd name="T19" fmla="*/ 76 h 184"/>
                <a:gd name="T20" fmla="*/ 702 w 1290"/>
                <a:gd name="T21" fmla="*/ 112 h 184"/>
                <a:gd name="T22" fmla="*/ 619 w 1290"/>
                <a:gd name="T23" fmla="*/ 151 h 184"/>
                <a:gd name="T24" fmla="*/ 530 w 1290"/>
                <a:gd name="T25" fmla="*/ 178 h 184"/>
                <a:gd name="T26" fmla="*/ 478 w 1290"/>
                <a:gd name="T27" fmla="*/ 183 h 184"/>
                <a:gd name="T28" fmla="*/ 427 w 1290"/>
                <a:gd name="T29" fmla="*/ 183 h 184"/>
                <a:gd name="T30" fmla="*/ 368 w 1290"/>
                <a:gd name="T31" fmla="*/ 172 h 184"/>
                <a:gd name="T32" fmla="*/ 292 w 1290"/>
                <a:gd name="T33" fmla="*/ 141 h 184"/>
                <a:gd name="T34" fmla="*/ 222 w 1290"/>
                <a:gd name="T35" fmla="*/ 104 h 184"/>
                <a:gd name="T36" fmla="*/ 142 w 1290"/>
                <a:gd name="T37" fmla="*/ 69 h 184"/>
                <a:gd name="T38" fmla="*/ 96 w 1290"/>
                <a:gd name="T39" fmla="*/ 55 h 184"/>
                <a:gd name="T40" fmla="*/ 41 w 1290"/>
                <a:gd name="T41" fmla="*/ 47 h 184"/>
                <a:gd name="T42" fmla="*/ 0 w 1290"/>
                <a:gd name="T43" fmla="*/ 0 h 184"/>
                <a:gd name="T44" fmla="*/ 66 w 1290"/>
                <a:gd name="T45" fmla="*/ 4 h 184"/>
                <a:gd name="T46" fmla="*/ 124 w 1290"/>
                <a:gd name="T47" fmla="*/ 15 h 184"/>
                <a:gd name="T48" fmla="*/ 188 w 1290"/>
                <a:gd name="T49" fmla="*/ 37 h 184"/>
                <a:gd name="T50" fmla="*/ 269 w 1290"/>
                <a:gd name="T51" fmla="*/ 77 h 184"/>
                <a:gd name="T52" fmla="*/ 334 w 1290"/>
                <a:gd name="T53" fmla="*/ 110 h 184"/>
                <a:gd name="T54" fmla="*/ 405 w 1290"/>
                <a:gd name="T55" fmla="*/ 132 h 184"/>
                <a:gd name="T56" fmla="*/ 445 w 1290"/>
                <a:gd name="T57" fmla="*/ 137 h 184"/>
                <a:gd name="T58" fmla="*/ 492 w 1290"/>
                <a:gd name="T59" fmla="*/ 136 h 184"/>
                <a:gd name="T60" fmla="*/ 550 w 1290"/>
                <a:gd name="T61" fmla="*/ 125 h 184"/>
                <a:gd name="T62" fmla="*/ 629 w 1290"/>
                <a:gd name="T63" fmla="*/ 96 h 184"/>
                <a:gd name="T64" fmla="*/ 707 w 1290"/>
                <a:gd name="T65" fmla="*/ 58 h 184"/>
                <a:gd name="T66" fmla="*/ 791 w 1290"/>
                <a:gd name="T67" fmla="*/ 22 h 184"/>
                <a:gd name="T68" fmla="*/ 868 w 1290"/>
                <a:gd name="T69" fmla="*/ 2 h 184"/>
                <a:gd name="T70" fmla="*/ 921 w 1290"/>
                <a:gd name="T71" fmla="*/ 0 h 184"/>
                <a:gd name="T72" fmla="*/ 976 w 1290"/>
                <a:gd name="T73" fmla="*/ 4 h 184"/>
                <a:gd name="T74" fmla="*/ 1024 w 1290"/>
                <a:gd name="T75" fmla="*/ 15 h 184"/>
                <a:gd name="T76" fmla="*/ 1078 w 1290"/>
                <a:gd name="T77" fmla="*/ 38 h 184"/>
                <a:gd name="T78" fmla="*/ 1147 w 1290"/>
                <a:gd name="T79" fmla="*/ 80 h 184"/>
                <a:gd name="T80" fmla="*/ 1197 w 1290"/>
                <a:gd name="T81" fmla="*/ 112 h 184"/>
                <a:gd name="T82" fmla="*/ 1250 w 1290"/>
                <a:gd name="T83" fmla="*/ 132 h 184"/>
                <a:gd name="T84" fmla="*/ 1290 w 1290"/>
                <a:gd name="T8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0" h="184">
                  <a:moveTo>
                    <a:pt x="1290" y="184"/>
                  </a:moveTo>
                  <a:lnTo>
                    <a:pt x="1277" y="183"/>
                  </a:lnTo>
                  <a:lnTo>
                    <a:pt x="1265" y="183"/>
                  </a:lnTo>
                  <a:lnTo>
                    <a:pt x="1252" y="180"/>
                  </a:lnTo>
                  <a:lnTo>
                    <a:pt x="1240" y="178"/>
                  </a:lnTo>
                  <a:lnTo>
                    <a:pt x="1218" y="172"/>
                  </a:lnTo>
                  <a:lnTo>
                    <a:pt x="1197" y="163"/>
                  </a:lnTo>
                  <a:lnTo>
                    <a:pt x="1176" y="153"/>
                  </a:lnTo>
                  <a:lnTo>
                    <a:pt x="1158" y="142"/>
                  </a:lnTo>
                  <a:lnTo>
                    <a:pt x="1140" y="130"/>
                  </a:lnTo>
                  <a:lnTo>
                    <a:pt x="1121" y="118"/>
                  </a:lnTo>
                  <a:lnTo>
                    <a:pt x="1101" y="104"/>
                  </a:lnTo>
                  <a:lnTo>
                    <a:pt x="1081" y="92"/>
                  </a:lnTo>
                  <a:lnTo>
                    <a:pt x="1059" y="80"/>
                  </a:lnTo>
                  <a:lnTo>
                    <a:pt x="1035" y="69"/>
                  </a:lnTo>
                  <a:lnTo>
                    <a:pt x="1023" y="64"/>
                  </a:lnTo>
                  <a:lnTo>
                    <a:pt x="1011" y="59"/>
                  </a:lnTo>
                  <a:lnTo>
                    <a:pt x="997" y="55"/>
                  </a:lnTo>
                  <a:lnTo>
                    <a:pt x="984" y="52"/>
                  </a:lnTo>
                  <a:lnTo>
                    <a:pt x="969" y="49"/>
                  </a:lnTo>
                  <a:lnTo>
                    <a:pt x="954" y="47"/>
                  </a:lnTo>
                  <a:lnTo>
                    <a:pt x="938" y="45"/>
                  </a:lnTo>
                  <a:lnTo>
                    <a:pt x="921" y="45"/>
                  </a:lnTo>
                  <a:lnTo>
                    <a:pt x="905" y="45"/>
                  </a:lnTo>
                  <a:lnTo>
                    <a:pt x="889" y="47"/>
                  </a:lnTo>
                  <a:lnTo>
                    <a:pt x="875" y="49"/>
                  </a:lnTo>
                  <a:lnTo>
                    <a:pt x="860" y="52"/>
                  </a:lnTo>
                  <a:lnTo>
                    <a:pt x="832" y="58"/>
                  </a:lnTo>
                  <a:lnTo>
                    <a:pt x="805" y="66"/>
                  </a:lnTo>
                  <a:lnTo>
                    <a:pt x="778" y="76"/>
                  </a:lnTo>
                  <a:lnTo>
                    <a:pt x="752" y="87"/>
                  </a:lnTo>
                  <a:lnTo>
                    <a:pt x="726" y="99"/>
                  </a:lnTo>
                  <a:lnTo>
                    <a:pt x="702" y="112"/>
                  </a:lnTo>
                  <a:lnTo>
                    <a:pt x="675" y="125"/>
                  </a:lnTo>
                  <a:lnTo>
                    <a:pt x="648" y="139"/>
                  </a:lnTo>
                  <a:lnTo>
                    <a:pt x="619" y="151"/>
                  </a:lnTo>
                  <a:lnTo>
                    <a:pt x="591" y="161"/>
                  </a:lnTo>
                  <a:lnTo>
                    <a:pt x="561" y="170"/>
                  </a:lnTo>
                  <a:lnTo>
                    <a:pt x="530" y="178"/>
                  </a:lnTo>
                  <a:lnTo>
                    <a:pt x="513" y="180"/>
                  </a:lnTo>
                  <a:lnTo>
                    <a:pt x="496" y="182"/>
                  </a:lnTo>
                  <a:lnTo>
                    <a:pt x="478" y="183"/>
                  </a:lnTo>
                  <a:lnTo>
                    <a:pt x="460" y="184"/>
                  </a:lnTo>
                  <a:lnTo>
                    <a:pt x="443" y="183"/>
                  </a:lnTo>
                  <a:lnTo>
                    <a:pt x="427" y="183"/>
                  </a:lnTo>
                  <a:lnTo>
                    <a:pt x="411" y="180"/>
                  </a:lnTo>
                  <a:lnTo>
                    <a:pt x="396" y="178"/>
                  </a:lnTo>
                  <a:lnTo>
                    <a:pt x="368" y="172"/>
                  </a:lnTo>
                  <a:lnTo>
                    <a:pt x="341" y="163"/>
                  </a:lnTo>
                  <a:lnTo>
                    <a:pt x="317" y="153"/>
                  </a:lnTo>
                  <a:lnTo>
                    <a:pt x="292" y="141"/>
                  </a:lnTo>
                  <a:lnTo>
                    <a:pt x="269" y="130"/>
                  </a:lnTo>
                  <a:lnTo>
                    <a:pt x="247" y="118"/>
                  </a:lnTo>
                  <a:lnTo>
                    <a:pt x="222" y="104"/>
                  </a:lnTo>
                  <a:lnTo>
                    <a:pt x="198" y="91"/>
                  </a:lnTo>
                  <a:lnTo>
                    <a:pt x="171" y="80"/>
                  </a:lnTo>
                  <a:lnTo>
                    <a:pt x="142" y="69"/>
                  </a:lnTo>
                  <a:lnTo>
                    <a:pt x="128" y="64"/>
                  </a:lnTo>
                  <a:lnTo>
                    <a:pt x="112" y="59"/>
                  </a:lnTo>
                  <a:lnTo>
                    <a:pt x="96" y="55"/>
                  </a:lnTo>
                  <a:lnTo>
                    <a:pt x="79" y="52"/>
                  </a:lnTo>
                  <a:lnTo>
                    <a:pt x="60" y="49"/>
                  </a:lnTo>
                  <a:lnTo>
                    <a:pt x="41" y="47"/>
                  </a:lnTo>
                  <a:lnTo>
                    <a:pt x="21" y="45"/>
                  </a:lnTo>
                  <a:lnTo>
                    <a:pt x="0" y="45"/>
                  </a:lnTo>
                  <a:lnTo>
                    <a:pt x="0" y="0"/>
                  </a:lnTo>
                  <a:lnTo>
                    <a:pt x="23" y="0"/>
                  </a:lnTo>
                  <a:lnTo>
                    <a:pt x="45" y="1"/>
                  </a:lnTo>
                  <a:lnTo>
                    <a:pt x="66" y="4"/>
                  </a:lnTo>
                  <a:lnTo>
                    <a:pt x="86" y="6"/>
                  </a:lnTo>
                  <a:lnTo>
                    <a:pt x="106" y="10"/>
                  </a:lnTo>
                  <a:lnTo>
                    <a:pt x="124" y="15"/>
                  </a:lnTo>
                  <a:lnTo>
                    <a:pt x="141" y="20"/>
                  </a:lnTo>
                  <a:lnTo>
                    <a:pt x="157" y="25"/>
                  </a:lnTo>
                  <a:lnTo>
                    <a:pt x="188" y="37"/>
                  </a:lnTo>
                  <a:lnTo>
                    <a:pt x="217" y="49"/>
                  </a:lnTo>
                  <a:lnTo>
                    <a:pt x="244" y="64"/>
                  </a:lnTo>
                  <a:lnTo>
                    <a:pt x="269" y="77"/>
                  </a:lnTo>
                  <a:lnTo>
                    <a:pt x="291" y="90"/>
                  </a:lnTo>
                  <a:lnTo>
                    <a:pt x="313" y="101"/>
                  </a:lnTo>
                  <a:lnTo>
                    <a:pt x="334" y="110"/>
                  </a:lnTo>
                  <a:lnTo>
                    <a:pt x="357" y="119"/>
                  </a:lnTo>
                  <a:lnTo>
                    <a:pt x="380" y="128"/>
                  </a:lnTo>
                  <a:lnTo>
                    <a:pt x="405" y="132"/>
                  </a:lnTo>
                  <a:lnTo>
                    <a:pt x="418" y="135"/>
                  </a:lnTo>
                  <a:lnTo>
                    <a:pt x="432" y="136"/>
                  </a:lnTo>
                  <a:lnTo>
                    <a:pt x="445" y="137"/>
                  </a:lnTo>
                  <a:lnTo>
                    <a:pt x="460" y="137"/>
                  </a:lnTo>
                  <a:lnTo>
                    <a:pt x="476" y="137"/>
                  </a:lnTo>
                  <a:lnTo>
                    <a:pt x="492" y="136"/>
                  </a:lnTo>
                  <a:lnTo>
                    <a:pt x="507" y="135"/>
                  </a:lnTo>
                  <a:lnTo>
                    <a:pt x="521" y="132"/>
                  </a:lnTo>
                  <a:lnTo>
                    <a:pt x="550" y="125"/>
                  </a:lnTo>
                  <a:lnTo>
                    <a:pt x="578" y="118"/>
                  </a:lnTo>
                  <a:lnTo>
                    <a:pt x="604" y="107"/>
                  </a:lnTo>
                  <a:lnTo>
                    <a:pt x="629" y="96"/>
                  </a:lnTo>
                  <a:lnTo>
                    <a:pt x="655" y="83"/>
                  </a:lnTo>
                  <a:lnTo>
                    <a:pt x="681" y="71"/>
                  </a:lnTo>
                  <a:lnTo>
                    <a:pt x="707" y="58"/>
                  </a:lnTo>
                  <a:lnTo>
                    <a:pt x="734" y="45"/>
                  </a:lnTo>
                  <a:lnTo>
                    <a:pt x="762" y="33"/>
                  </a:lnTo>
                  <a:lnTo>
                    <a:pt x="791" y="22"/>
                  </a:lnTo>
                  <a:lnTo>
                    <a:pt x="821" y="12"/>
                  </a:lnTo>
                  <a:lnTo>
                    <a:pt x="853" y="6"/>
                  </a:lnTo>
                  <a:lnTo>
                    <a:pt x="868" y="2"/>
                  </a:lnTo>
                  <a:lnTo>
                    <a:pt x="886" y="1"/>
                  </a:lnTo>
                  <a:lnTo>
                    <a:pt x="903" y="0"/>
                  </a:lnTo>
                  <a:lnTo>
                    <a:pt x="921" y="0"/>
                  </a:lnTo>
                  <a:lnTo>
                    <a:pt x="941" y="0"/>
                  </a:lnTo>
                  <a:lnTo>
                    <a:pt x="959" y="1"/>
                  </a:lnTo>
                  <a:lnTo>
                    <a:pt x="976" y="4"/>
                  </a:lnTo>
                  <a:lnTo>
                    <a:pt x="994" y="6"/>
                  </a:lnTo>
                  <a:lnTo>
                    <a:pt x="1010" y="11"/>
                  </a:lnTo>
                  <a:lnTo>
                    <a:pt x="1024" y="15"/>
                  </a:lnTo>
                  <a:lnTo>
                    <a:pt x="1039" y="20"/>
                  </a:lnTo>
                  <a:lnTo>
                    <a:pt x="1052" y="26"/>
                  </a:lnTo>
                  <a:lnTo>
                    <a:pt x="1078" y="38"/>
                  </a:lnTo>
                  <a:lnTo>
                    <a:pt x="1103" y="52"/>
                  </a:lnTo>
                  <a:lnTo>
                    <a:pt x="1125" y="65"/>
                  </a:lnTo>
                  <a:lnTo>
                    <a:pt x="1147" y="80"/>
                  </a:lnTo>
                  <a:lnTo>
                    <a:pt x="1164" y="91"/>
                  </a:lnTo>
                  <a:lnTo>
                    <a:pt x="1180" y="102"/>
                  </a:lnTo>
                  <a:lnTo>
                    <a:pt x="1197" y="112"/>
                  </a:lnTo>
                  <a:lnTo>
                    <a:pt x="1214" y="120"/>
                  </a:lnTo>
                  <a:lnTo>
                    <a:pt x="1232" y="128"/>
                  </a:lnTo>
                  <a:lnTo>
                    <a:pt x="1250" y="132"/>
                  </a:lnTo>
                  <a:lnTo>
                    <a:pt x="1270" y="136"/>
                  </a:lnTo>
                  <a:lnTo>
                    <a:pt x="1290" y="137"/>
                  </a:lnTo>
                  <a:lnTo>
                    <a:pt x="129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87">
            <a:extLst>
              <a:ext uri="{FF2B5EF4-FFF2-40B4-BE49-F238E27FC236}">
                <a16:creationId xmlns:a16="http://schemas.microsoft.com/office/drawing/2014/main" id="{2E6CF62F-9323-466C-9C83-BE3711DB2861}"/>
              </a:ext>
            </a:extLst>
          </p:cNvPr>
          <p:cNvGrpSpPr>
            <a:grpSpLocks noChangeAspect="1"/>
          </p:cNvGrpSpPr>
          <p:nvPr/>
        </p:nvGrpSpPr>
        <p:grpSpPr>
          <a:xfrm>
            <a:off x="4049239" y="5417577"/>
            <a:ext cx="276047" cy="285619"/>
            <a:chOff x="7620000" y="1919288"/>
            <a:chExt cx="274638" cy="284162"/>
          </a:xfrm>
          <a:solidFill>
            <a:schemeClr val="bg2"/>
          </a:solidFill>
          <a:effectLst/>
        </p:grpSpPr>
        <p:sp>
          <p:nvSpPr>
            <p:cNvPr id="585" name="Freeform 310">
              <a:extLst>
                <a:ext uri="{FF2B5EF4-FFF2-40B4-BE49-F238E27FC236}">
                  <a16:creationId xmlns:a16="http://schemas.microsoft.com/office/drawing/2014/main" id="{C14BAB29-C2DE-4E71-9F4A-4C6A8E9CF63B}"/>
                </a:ext>
              </a:extLst>
            </p:cNvPr>
            <p:cNvSpPr>
              <a:spLocks noEditPoints="1"/>
            </p:cNvSpPr>
            <p:nvPr/>
          </p:nvSpPr>
          <p:spPr bwMode="auto">
            <a:xfrm>
              <a:off x="7662863" y="2014538"/>
              <a:ext cx="190500" cy="188912"/>
            </a:xfrm>
            <a:custGeom>
              <a:avLst/>
              <a:gdLst>
                <a:gd name="T0" fmla="*/ 245 w 599"/>
                <a:gd name="T1" fmla="*/ 563 h 599"/>
                <a:gd name="T2" fmla="*/ 183 w 599"/>
                <a:gd name="T3" fmla="*/ 542 h 599"/>
                <a:gd name="T4" fmla="*/ 128 w 599"/>
                <a:gd name="T5" fmla="*/ 507 h 599"/>
                <a:gd name="T6" fmla="*/ 83 w 599"/>
                <a:gd name="T7" fmla="*/ 460 h 599"/>
                <a:gd name="T8" fmla="*/ 51 w 599"/>
                <a:gd name="T9" fmla="*/ 404 h 599"/>
                <a:gd name="T10" fmla="*/ 33 w 599"/>
                <a:gd name="T11" fmla="*/ 340 h 599"/>
                <a:gd name="T12" fmla="*/ 32 w 599"/>
                <a:gd name="T13" fmla="*/ 272 h 599"/>
                <a:gd name="T14" fmla="*/ 47 w 599"/>
                <a:gd name="T15" fmla="*/ 207 h 599"/>
                <a:gd name="T16" fmla="*/ 76 w 599"/>
                <a:gd name="T17" fmla="*/ 149 h 599"/>
                <a:gd name="T18" fmla="*/ 118 w 599"/>
                <a:gd name="T19" fmla="*/ 101 h 599"/>
                <a:gd name="T20" fmla="*/ 171 w 599"/>
                <a:gd name="T21" fmla="*/ 63 h 599"/>
                <a:gd name="T22" fmla="*/ 232 w 599"/>
                <a:gd name="T23" fmla="*/ 38 h 599"/>
                <a:gd name="T24" fmla="*/ 299 w 599"/>
                <a:gd name="T25" fmla="*/ 30 h 599"/>
                <a:gd name="T26" fmla="*/ 367 w 599"/>
                <a:gd name="T27" fmla="*/ 38 h 599"/>
                <a:gd name="T28" fmla="*/ 428 w 599"/>
                <a:gd name="T29" fmla="*/ 63 h 599"/>
                <a:gd name="T30" fmla="*/ 480 w 599"/>
                <a:gd name="T31" fmla="*/ 101 h 599"/>
                <a:gd name="T32" fmla="*/ 523 w 599"/>
                <a:gd name="T33" fmla="*/ 149 h 599"/>
                <a:gd name="T34" fmla="*/ 552 w 599"/>
                <a:gd name="T35" fmla="*/ 207 h 599"/>
                <a:gd name="T36" fmla="*/ 567 w 599"/>
                <a:gd name="T37" fmla="*/ 272 h 599"/>
                <a:gd name="T38" fmla="*/ 565 w 599"/>
                <a:gd name="T39" fmla="*/ 340 h 599"/>
                <a:gd name="T40" fmla="*/ 547 w 599"/>
                <a:gd name="T41" fmla="*/ 404 h 599"/>
                <a:gd name="T42" fmla="*/ 515 w 599"/>
                <a:gd name="T43" fmla="*/ 460 h 599"/>
                <a:gd name="T44" fmla="*/ 470 w 599"/>
                <a:gd name="T45" fmla="*/ 507 h 599"/>
                <a:gd name="T46" fmla="*/ 416 w 599"/>
                <a:gd name="T47" fmla="*/ 542 h 599"/>
                <a:gd name="T48" fmla="*/ 354 w 599"/>
                <a:gd name="T49" fmla="*/ 563 h 599"/>
                <a:gd name="T50" fmla="*/ 299 w 599"/>
                <a:gd name="T51" fmla="*/ 0 h 599"/>
                <a:gd name="T52" fmla="*/ 224 w 599"/>
                <a:gd name="T53" fmla="*/ 10 h 599"/>
                <a:gd name="T54" fmla="*/ 157 w 599"/>
                <a:gd name="T55" fmla="*/ 36 h 599"/>
                <a:gd name="T56" fmla="*/ 98 w 599"/>
                <a:gd name="T57" fmla="*/ 78 h 599"/>
                <a:gd name="T58" fmla="*/ 51 w 599"/>
                <a:gd name="T59" fmla="*/ 133 h 599"/>
                <a:gd name="T60" fmla="*/ 18 w 599"/>
                <a:gd name="T61" fmla="*/ 197 h 599"/>
                <a:gd name="T62" fmla="*/ 2 w 599"/>
                <a:gd name="T63" fmla="*/ 268 h 599"/>
                <a:gd name="T64" fmla="*/ 4 w 599"/>
                <a:gd name="T65" fmla="*/ 344 h 599"/>
                <a:gd name="T66" fmla="*/ 23 w 599"/>
                <a:gd name="T67" fmla="*/ 416 h 599"/>
                <a:gd name="T68" fmla="*/ 60 w 599"/>
                <a:gd name="T69" fmla="*/ 478 h 599"/>
                <a:gd name="T70" fmla="*/ 109 w 599"/>
                <a:gd name="T71" fmla="*/ 530 h 599"/>
                <a:gd name="T72" fmla="*/ 170 w 599"/>
                <a:gd name="T73" fmla="*/ 569 h 599"/>
                <a:gd name="T74" fmla="*/ 239 w 599"/>
                <a:gd name="T75" fmla="*/ 592 h 599"/>
                <a:gd name="T76" fmla="*/ 314 w 599"/>
                <a:gd name="T77" fmla="*/ 598 h 599"/>
                <a:gd name="T78" fmla="*/ 388 w 599"/>
                <a:gd name="T79" fmla="*/ 585 h 599"/>
                <a:gd name="T80" fmla="*/ 454 w 599"/>
                <a:gd name="T81" fmla="*/ 555 h 599"/>
                <a:gd name="T82" fmla="*/ 511 w 599"/>
                <a:gd name="T83" fmla="*/ 511 h 599"/>
                <a:gd name="T84" fmla="*/ 555 w 599"/>
                <a:gd name="T85" fmla="*/ 455 h 599"/>
                <a:gd name="T86" fmla="*/ 585 w 599"/>
                <a:gd name="T87" fmla="*/ 388 h 599"/>
                <a:gd name="T88" fmla="*/ 598 w 599"/>
                <a:gd name="T89" fmla="*/ 314 h 599"/>
                <a:gd name="T90" fmla="*/ 592 w 599"/>
                <a:gd name="T91" fmla="*/ 240 h 599"/>
                <a:gd name="T92" fmla="*/ 569 w 599"/>
                <a:gd name="T93" fmla="*/ 170 h 599"/>
                <a:gd name="T94" fmla="*/ 530 w 599"/>
                <a:gd name="T95" fmla="*/ 109 h 599"/>
                <a:gd name="T96" fmla="*/ 478 w 599"/>
                <a:gd name="T97" fmla="*/ 60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8"/>
                  </a:lnTo>
                  <a:lnTo>
                    <a:pt x="271" y="567"/>
                  </a:lnTo>
                  <a:lnTo>
                    <a:pt x="259" y="566"/>
                  </a:lnTo>
                  <a:lnTo>
                    <a:pt x="245" y="563"/>
                  </a:lnTo>
                  <a:lnTo>
                    <a:pt x="232" y="560"/>
                  </a:lnTo>
                  <a:lnTo>
                    <a:pt x="219" y="556"/>
                  </a:lnTo>
                  <a:lnTo>
                    <a:pt x="207" y="552"/>
                  </a:lnTo>
                  <a:lnTo>
                    <a:pt x="194" y="548"/>
                  </a:lnTo>
                  <a:lnTo>
                    <a:pt x="183" y="542"/>
                  </a:lnTo>
                  <a:lnTo>
                    <a:pt x="171" y="536"/>
                  </a:lnTo>
                  <a:lnTo>
                    <a:pt x="160" y="529"/>
                  </a:lnTo>
                  <a:lnTo>
                    <a:pt x="148" y="523"/>
                  </a:lnTo>
                  <a:lnTo>
                    <a:pt x="139" y="515"/>
                  </a:lnTo>
                  <a:lnTo>
                    <a:pt x="128" y="507"/>
                  </a:lnTo>
                  <a:lnTo>
                    <a:pt x="118" y="498"/>
                  </a:lnTo>
                  <a:lnTo>
                    <a:pt x="109" y="490"/>
                  </a:lnTo>
                  <a:lnTo>
                    <a:pt x="100" y="480"/>
                  </a:lnTo>
                  <a:lnTo>
                    <a:pt x="92" y="471"/>
                  </a:lnTo>
                  <a:lnTo>
                    <a:pt x="83" y="460"/>
                  </a:lnTo>
                  <a:lnTo>
                    <a:pt x="76" y="450"/>
                  </a:lnTo>
                  <a:lnTo>
                    <a:pt x="69" y="438"/>
                  </a:lnTo>
                  <a:lnTo>
                    <a:pt x="63" y="428"/>
                  </a:lnTo>
                  <a:lnTo>
                    <a:pt x="56" y="416"/>
                  </a:lnTo>
                  <a:lnTo>
                    <a:pt x="51" y="404"/>
                  </a:lnTo>
                  <a:lnTo>
                    <a:pt x="47" y="391"/>
                  </a:lnTo>
                  <a:lnTo>
                    <a:pt x="43" y="380"/>
                  </a:lnTo>
                  <a:lnTo>
                    <a:pt x="38" y="367"/>
                  </a:lnTo>
                  <a:lnTo>
                    <a:pt x="35" y="354"/>
                  </a:lnTo>
                  <a:lnTo>
                    <a:pt x="33" y="340"/>
                  </a:lnTo>
                  <a:lnTo>
                    <a:pt x="32" y="327"/>
                  </a:lnTo>
                  <a:lnTo>
                    <a:pt x="31" y="313"/>
                  </a:lnTo>
                  <a:lnTo>
                    <a:pt x="30" y="299"/>
                  </a:lnTo>
                  <a:lnTo>
                    <a:pt x="31" y="286"/>
                  </a:lnTo>
                  <a:lnTo>
                    <a:pt x="32" y="272"/>
                  </a:lnTo>
                  <a:lnTo>
                    <a:pt x="33" y="259"/>
                  </a:lnTo>
                  <a:lnTo>
                    <a:pt x="35" y="245"/>
                  </a:lnTo>
                  <a:lnTo>
                    <a:pt x="38" y="232"/>
                  </a:lnTo>
                  <a:lnTo>
                    <a:pt x="43" y="219"/>
                  </a:lnTo>
                  <a:lnTo>
                    <a:pt x="47" y="207"/>
                  </a:lnTo>
                  <a:lnTo>
                    <a:pt x="51" y="195"/>
                  </a:lnTo>
                  <a:lnTo>
                    <a:pt x="56" y="183"/>
                  </a:lnTo>
                  <a:lnTo>
                    <a:pt x="63" y="171"/>
                  </a:lnTo>
                  <a:lnTo>
                    <a:pt x="69" y="160"/>
                  </a:lnTo>
                  <a:lnTo>
                    <a:pt x="76" y="149"/>
                  </a:lnTo>
                  <a:lnTo>
                    <a:pt x="83" y="138"/>
                  </a:lnTo>
                  <a:lnTo>
                    <a:pt x="92" y="128"/>
                  </a:lnTo>
                  <a:lnTo>
                    <a:pt x="100" y="119"/>
                  </a:lnTo>
                  <a:lnTo>
                    <a:pt x="109" y="109"/>
                  </a:lnTo>
                  <a:lnTo>
                    <a:pt x="118" y="101"/>
                  </a:lnTo>
                  <a:lnTo>
                    <a:pt x="128" y="92"/>
                  </a:lnTo>
                  <a:lnTo>
                    <a:pt x="139" y="83"/>
                  </a:lnTo>
                  <a:lnTo>
                    <a:pt x="148" y="76"/>
                  </a:lnTo>
                  <a:lnTo>
                    <a:pt x="160" y="70"/>
                  </a:lnTo>
                  <a:lnTo>
                    <a:pt x="171" y="63"/>
                  </a:lnTo>
                  <a:lnTo>
                    <a:pt x="183" y="57"/>
                  </a:lnTo>
                  <a:lnTo>
                    <a:pt x="194" y="51"/>
                  </a:lnTo>
                  <a:lnTo>
                    <a:pt x="207" y="47"/>
                  </a:lnTo>
                  <a:lnTo>
                    <a:pt x="219" y="43"/>
                  </a:lnTo>
                  <a:lnTo>
                    <a:pt x="232" y="38"/>
                  </a:lnTo>
                  <a:lnTo>
                    <a:pt x="245" y="35"/>
                  </a:lnTo>
                  <a:lnTo>
                    <a:pt x="259" y="33"/>
                  </a:lnTo>
                  <a:lnTo>
                    <a:pt x="271" y="32"/>
                  </a:lnTo>
                  <a:lnTo>
                    <a:pt x="285" y="31"/>
                  </a:lnTo>
                  <a:lnTo>
                    <a:pt x="299" y="30"/>
                  </a:lnTo>
                  <a:lnTo>
                    <a:pt x="313" y="31"/>
                  </a:lnTo>
                  <a:lnTo>
                    <a:pt x="327" y="32"/>
                  </a:lnTo>
                  <a:lnTo>
                    <a:pt x="340" y="33"/>
                  </a:lnTo>
                  <a:lnTo>
                    <a:pt x="354" y="35"/>
                  </a:lnTo>
                  <a:lnTo>
                    <a:pt x="367" y="38"/>
                  </a:lnTo>
                  <a:lnTo>
                    <a:pt x="379" y="43"/>
                  </a:lnTo>
                  <a:lnTo>
                    <a:pt x="391" y="47"/>
                  </a:lnTo>
                  <a:lnTo>
                    <a:pt x="404" y="51"/>
                  </a:lnTo>
                  <a:lnTo>
                    <a:pt x="416" y="57"/>
                  </a:lnTo>
                  <a:lnTo>
                    <a:pt x="428" y="63"/>
                  </a:lnTo>
                  <a:lnTo>
                    <a:pt x="438" y="70"/>
                  </a:lnTo>
                  <a:lnTo>
                    <a:pt x="450" y="76"/>
                  </a:lnTo>
                  <a:lnTo>
                    <a:pt x="460" y="83"/>
                  </a:lnTo>
                  <a:lnTo>
                    <a:pt x="470" y="92"/>
                  </a:lnTo>
                  <a:lnTo>
                    <a:pt x="480" y="101"/>
                  </a:lnTo>
                  <a:lnTo>
                    <a:pt x="490" y="109"/>
                  </a:lnTo>
                  <a:lnTo>
                    <a:pt x="498" y="119"/>
                  </a:lnTo>
                  <a:lnTo>
                    <a:pt x="507" y="128"/>
                  </a:lnTo>
                  <a:lnTo>
                    <a:pt x="515" y="138"/>
                  </a:lnTo>
                  <a:lnTo>
                    <a:pt x="523" y="149"/>
                  </a:lnTo>
                  <a:lnTo>
                    <a:pt x="529" y="160"/>
                  </a:lnTo>
                  <a:lnTo>
                    <a:pt x="536" y="171"/>
                  </a:lnTo>
                  <a:lnTo>
                    <a:pt x="542" y="183"/>
                  </a:lnTo>
                  <a:lnTo>
                    <a:pt x="547" y="195"/>
                  </a:lnTo>
                  <a:lnTo>
                    <a:pt x="552" y="207"/>
                  </a:lnTo>
                  <a:lnTo>
                    <a:pt x="556" y="219"/>
                  </a:lnTo>
                  <a:lnTo>
                    <a:pt x="560" y="232"/>
                  </a:lnTo>
                  <a:lnTo>
                    <a:pt x="563" y="245"/>
                  </a:lnTo>
                  <a:lnTo>
                    <a:pt x="565" y="259"/>
                  </a:lnTo>
                  <a:lnTo>
                    <a:pt x="567" y="272"/>
                  </a:lnTo>
                  <a:lnTo>
                    <a:pt x="568" y="286"/>
                  </a:lnTo>
                  <a:lnTo>
                    <a:pt x="569" y="299"/>
                  </a:lnTo>
                  <a:lnTo>
                    <a:pt x="568" y="313"/>
                  </a:lnTo>
                  <a:lnTo>
                    <a:pt x="567" y="327"/>
                  </a:lnTo>
                  <a:lnTo>
                    <a:pt x="565" y="340"/>
                  </a:lnTo>
                  <a:lnTo>
                    <a:pt x="563" y="354"/>
                  </a:lnTo>
                  <a:lnTo>
                    <a:pt x="560" y="367"/>
                  </a:lnTo>
                  <a:lnTo>
                    <a:pt x="556" y="380"/>
                  </a:lnTo>
                  <a:lnTo>
                    <a:pt x="552" y="391"/>
                  </a:lnTo>
                  <a:lnTo>
                    <a:pt x="547" y="404"/>
                  </a:lnTo>
                  <a:lnTo>
                    <a:pt x="542" y="416"/>
                  </a:lnTo>
                  <a:lnTo>
                    <a:pt x="536" y="428"/>
                  </a:lnTo>
                  <a:lnTo>
                    <a:pt x="529" y="438"/>
                  </a:lnTo>
                  <a:lnTo>
                    <a:pt x="523" y="450"/>
                  </a:lnTo>
                  <a:lnTo>
                    <a:pt x="515" y="460"/>
                  </a:lnTo>
                  <a:lnTo>
                    <a:pt x="507" y="471"/>
                  </a:lnTo>
                  <a:lnTo>
                    <a:pt x="498" y="480"/>
                  </a:lnTo>
                  <a:lnTo>
                    <a:pt x="490" y="490"/>
                  </a:lnTo>
                  <a:lnTo>
                    <a:pt x="480" y="498"/>
                  </a:lnTo>
                  <a:lnTo>
                    <a:pt x="470" y="507"/>
                  </a:lnTo>
                  <a:lnTo>
                    <a:pt x="460" y="515"/>
                  </a:lnTo>
                  <a:lnTo>
                    <a:pt x="450" y="523"/>
                  </a:lnTo>
                  <a:lnTo>
                    <a:pt x="438" y="529"/>
                  </a:lnTo>
                  <a:lnTo>
                    <a:pt x="428" y="536"/>
                  </a:lnTo>
                  <a:lnTo>
                    <a:pt x="416" y="542"/>
                  </a:lnTo>
                  <a:lnTo>
                    <a:pt x="404" y="548"/>
                  </a:lnTo>
                  <a:lnTo>
                    <a:pt x="391" y="552"/>
                  </a:lnTo>
                  <a:lnTo>
                    <a:pt x="379" y="556"/>
                  </a:lnTo>
                  <a:lnTo>
                    <a:pt x="367" y="560"/>
                  </a:lnTo>
                  <a:lnTo>
                    <a:pt x="354" y="563"/>
                  </a:lnTo>
                  <a:lnTo>
                    <a:pt x="340" y="566"/>
                  </a:lnTo>
                  <a:lnTo>
                    <a:pt x="327" y="567"/>
                  </a:lnTo>
                  <a:lnTo>
                    <a:pt x="313" y="568"/>
                  </a:lnTo>
                  <a:lnTo>
                    <a:pt x="299" y="569"/>
                  </a:lnTo>
                  <a:close/>
                  <a:moveTo>
                    <a:pt x="299" y="0"/>
                  </a:moveTo>
                  <a:lnTo>
                    <a:pt x="284" y="1"/>
                  </a:lnTo>
                  <a:lnTo>
                    <a:pt x="268" y="2"/>
                  </a:lnTo>
                  <a:lnTo>
                    <a:pt x="253" y="4"/>
                  </a:lnTo>
                  <a:lnTo>
                    <a:pt x="239" y="6"/>
                  </a:lnTo>
                  <a:lnTo>
                    <a:pt x="224" y="10"/>
                  </a:lnTo>
                  <a:lnTo>
                    <a:pt x="210" y="14"/>
                  </a:lnTo>
                  <a:lnTo>
                    <a:pt x="197" y="18"/>
                  </a:lnTo>
                  <a:lnTo>
                    <a:pt x="183" y="24"/>
                  </a:lnTo>
                  <a:lnTo>
                    <a:pt x="170" y="30"/>
                  </a:lnTo>
                  <a:lnTo>
                    <a:pt x="157" y="36"/>
                  </a:lnTo>
                  <a:lnTo>
                    <a:pt x="144" y="44"/>
                  </a:lnTo>
                  <a:lnTo>
                    <a:pt x="132" y="51"/>
                  </a:lnTo>
                  <a:lnTo>
                    <a:pt x="121" y="60"/>
                  </a:lnTo>
                  <a:lnTo>
                    <a:pt x="109" y="68"/>
                  </a:lnTo>
                  <a:lnTo>
                    <a:pt x="98" y="78"/>
                  </a:lnTo>
                  <a:lnTo>
                    <a:pt x="87" y="88"/>
                  </a:lnTo>
                  <a:lnTo>
                    <a:pt x="78" y="98"/>
                  </a:lnTo>
                  <a:lnTo>
                    <a:pt x="68" y="109"/>
                  </a:lnTo>
                  <a:lnTo>
                    <a:pt x="60" y="121"/>
                  </a:lnTo>
                  <a:lnTo>
                    <a:pt x="51" y="133"/>
                  </a:lnTo>
                  <a:lnTo>
                    <a:pt x="44" y="144"/>
                  </a:lnTo>
                  <a:lnTo>
                    <a:pt x="36" y="157"/>
                  </a:lnTo>
                  <a:lnTo>
                    <a:pt x="30" y="170"/>
                  </a:lnTo>
                  <a:lnTo>
                    <a:pt x="23" y="183"/>
                  </a:lnTo>
                  <a:lnTo>
                    <a:pt x="18" y="197"/>
                  </a:lnTo>
                  <a:lnTo>
                    <a:pt x="14" y="211"/>
                  </a:lnTo>
                  <a:lnTo>
                    <a:pt x="9" y="225"/>
                  </a:lnTo>
                  <a:lnTo>
                    <a:pt x="6" y="240"/>
                  </a:lnTo>
                  <a:lnTo>
                    <a:pt x="4" y="253"/>
                  </a:lnTo>
                  <a:lnTo>
                    <a:pt x="2" y="268"/>
                  </a:lnTo>
                  <a:lnTo>
                    <a:pt x="1" y="284"/>
                  </a:lnTo>
                  <a:lnTo>
                    <a:pt x="0" y="299"/>
                  </a:lnTo>
                  <a:lnTo>
                    <a:pt x="1" y="314"/>
                  </a:lnTo>
                  <a:lnTo>
                    <a:pt x="2" y="330"/>
                  </a:lnTo>
                  <a:lnTo>
                    <a:pt x="4" y="344"/>
                  </a:lnTo>
                  <a:lnTo>
                    <a:pt x="6" y="359"/>
                  </a:lnTo>
                  <a:lnTo>
                    <a:pt x="9" y="374"/>
                  </a:lnTo>
                  <a:lnTo>
                    <a:pt x="14" y="388"/>
                  </a:lnTo>
                  <a:lnTo>
                    <a:pt x="18" y="402"/>
                  </a:lnTo>
                  <a:lnTo>
                    <a:pt x="23" y="416"/>
                  </a:lnTo>
                  <a:lnTo>
                    <a:pt x="30" y="429"/>
                  </a:lnTo>
                  <a:lnTo>
                    <a:pt x="36" y="442"/>
                  </a:lnTo>
                  <a:lnTo>
                    <a:pt x="44" y="455"/>
                  </a:lnTo>
                  <a:lnTo>
                    <a:pt x="51" y="466"/>
                  </a:lnTo>
                  <a:lnTo>
                    <a:pt x="60" y="478"/>
                  </a:lnTo>
                  <a:lnTo>
                    <a:pt x="68" y="490"/>
                  </a:lnTo>
                  <a:lnTo>
                    <a:pt x="78" y="501"/>
                  </a:lnTo>
                  <a:lnTo>
                    <a:pt x="87" y="511"/>
                  </a:lnTo>
                  <a:lnTo>
                    <a:pt x="98" y="521"/>
                  </a:lnTo>
                  <a:lnTo>
                    <a:pt x="109" y="530"/>
                  </a:lnTo>
                  <a:lnTo>
                    <a:pt x="121" y="539"/>
                  </a:lnTo>
                  <a:lnTo>
                    <a:pt x="132" y="548"/>
                  </a:lnTo>
                  <a:lnTo>
                    <a:pt x="144" y="555"/>
                  </a:lnTo>
                  <a:lnTo>
                    <a:pt x="157" y="563"/>
                  </a:lnTo>
                  <a:lnTo>
                    <a:pt x="170" y="569"/>
                  </a:lnTo>
                  <a:lnTo>
                    <a:pt x="183" y="575"/>
                  </a:lnTo>
                  <a:lnTo>
                    <a:pt x="197" y="581"/>
                  </a:lnTo>
                  <a:lnTo>
                    <a:pt x="210" y="585"/>
                  </a:lnTo>
                  <a:lnTo>
                    <a:pt x="224" y="589"/>
                  </a:lnTo>
                  <a:lnTo>
                    <a:pt x="239" y="592"/>
                  </a:lnTo>
                  <a:lnTo>
                    <a:pt x="253" y="595"/>
                  </a:lnTo>
                  <a:lnTo>
                    <a:pt x="268" y="597"/>
                  </a:lnTo>
                  <a:lnTo>
                    <a:pt x="284" y="598"/>
                  </a:lnTo>
                  <a:lnTo>
                    <a:pt x="299" y="599"/>
                  </a:lnTo>
                  <a:lnTo>
                    <a:pt x="314" y="598"/>
                  </a:lnTo>
                  <a:lnTo>
                    <a:pt x="330" y="597"/>
                  </a:lnTo>
                  <a:lnTo>
                    <a:pt x="345" y="595"/>
                  </a:lnTo>
                  <a:lnTo>
                    <a:pt x="359" y="592"/>
                  </a:lnTo>
                  <a:lnTo>
                    <a:pt x="374" y="589"/>
                  </a:lnTo>
                  <a:lnTo>
                    <a:pt x="388" y="585"/>
                  </a:lnTo>
                  <a:lnTo>
                    <a:pt x="402" y="581"/>
                  </a:lnTo>
                  <a:lnTo>
                    <a:pt x="416" y="575"/>
                  </a:lnTo>
                  <a:lnTo>
                    <a:pt x="429" y="569"/>
                  </a:lnTo>
                  <a:lnTo>
                    <a:pt x="441" y="563"/>
                  </a:lnTo>
                  <a:lnTo>
                    <a:pt x="454" y="555"/>
                  </a:lnTo>
                  <a:lnTo>
                    <a:pt x="466" y="548"/>
                  </a:lnTo>
                  <a:lnTo>
                    <a:pt x="478" y="539"/>
                  </a:lnTo>
                  <a:lnTo>
                    <a:pt x="490" y="530"/>
                  </a:lnTo>
                  <a:lnTo>
                    <a:pt x="500" y="521"/>
                  </a:lnTo>
                  <a:lnTo>
                    <a:pt x="511" y="511"/>
                  </a:lnTo>
                  <a:lnTo>
                    <a:pt x="521" y="501"/>
                  </a:lnTo>
                  <a:lnTo>
                    <a:pt x="530" y="490"/>
                  </a:lnTo>
                  <a:lnTo>
                    <a:pt x="539" y="478"/>
                  </a:lnTo>
                  <a:lnTo>
                    <a:pt x="547" y="466"/>
                  </a:lnTo>
                  <a:lnTo>
                    <a:pt x="555" y="455"/>
                  </a:lnTo>
                  <a:lnTo>
                    <a:pt x="562" y="442"/>
                  </a:lnTo>
                  <a:lnTo>
                    <a:pt x="569" y="429"/>
                  </a:lnTo>
                  <a:lnTo>
                    <a:pt x="575" y="416"/>
                  </a:lnTo>
                  <a:lnTo>
                    <a:pt x="580" y="402"/>
                  </a:lnTo>
                  <a:lnTo>
                    <a:pt x="585" y="388"/>
                  </a:lnTo>
                  <a:lnTo>
                    <a:pt x="589" y="374"/>
                  </a:lnTo>
                  <a:lnTo>
                    <a:pt x="592" y="359"/>
                  </a:lnTo>
                  <a:lnTo>
                    <a:pt x="594" y="345"/>
                  </a:lnTo>
                  <a:lnTo>
                    <a:pt x="596" y="330"/>
                  </a:lnTo>
                  <a:lnTo>
                    <a:pt x="598" y="314"/>
                  </a:lnTo>
                  <a:lnTo>
                    <a:pt x="599" y="299"/>
                  </a:lnTo>
                  <a:lnTo>
                    <a:pt x="598" y="284"/>
                  </a:lnTo>
                  <a:lnTo>
                    <a:pt x="596" y="268"/>
                  </a:lnTo>
                  <a:lnTo>
                    <a:pt x="594" y="253"/>
                  </a:lnTo>
                  <a:lnTo>
                    <a:pt x="592" y="240"/>
                  </a:lnTo>
                  <a:lnTo>
                    <a:pt x="589" y="225"/>
                  </a:lnTo>
                  <a:lnTo>
                    <a:pt x="585" y="211"/>
                  </a:lnTo>
                  <a:lnTo>
                    <a:pt x="580" y="197"/>
                  </a:lnTo>
                  <a:lnTo>
                    <a:pt x="575" y="183"/>
                  </a:lnTo>
                  <a:lnTo>
                    <a:pt x="569" y="170"/>
                  </a:lnTo>
                  <a:lnTo>
                    <a:pt x="562" y="157"/>
                  </a:lnTo>
                  <a:lnTo>
                    <a:pt x="555" y="144"/>
                  </a:lnTo>
                  <a:lnTo>
                    <a:pt x="547" y="133"/>
                  </a:lnTo>
                  <a:lnTo>
                    <a:pt x="539" y="121"/>
                  </a:lnTo>
                  <a:lnTo>
                    <a:pt x="530" y="109"/>
                  </a:lnTo>
                  <a:lnTo>
                    <a:pt x="521" y="98"/>
                  </a:lnTo>
                  <a:lnTo>
                    <a:pt x="511" y="88"/>
                  </a:lnTo>
                  <a:lnTo>
                    <a:pt x="500" y="78"/>
                  </a:lnTo>
                  <a:lnTo>
                    <a:pt x="490" y="68"/>
                  </a:lnTo>
                  <a:lnTo>
                    <a:pt x="478" y="60"/>
                  </a:lnTo>
                  <a:lnTo>
                    <a:pt x="466" y="51"/>
                  </a:lnTo>
                  <a:lnTo>
                    <a:pt x="454" y="44"/>
                  </a:lnTo>
                  <a:lnTo>
                    <a:pt x="441" y="36"/>
                  </a:lnTo>
                  <a:lnTo>
                    <a:pt x="429" y="30"/>
                  </a:lnTo>
                  <a:lnTo>
                    <a:pt x="416" y="24"/>
                  </a:lnTo>
                  <a:lnTo>
                    <a:pt x="402" y="18"/>
                  </a:lnTo>
                  <a:lnTo>
                    <a:pt x="388" y="14"/>
                  </a:lnTo>
                  <a:lnTo>
                    <a:pt x="374" y="10"/>
                  </a:lnTo>
                  <a:lnTo>
                    <a:pt x="359" y="6"/>
                  </a:lnTo>
                  <a:lnTo>
                    <a:pt x="345" y="4"/>
                  </a:lnTo>
                  <a:lnTo>
                    <a:pt x="330" y="2"/>
                  </a:lnTo>
                  <a:lnTo>
                    <a:pt x="314" y="1"/>
                  </a:lnTo>
                  <a:lnTo>
                    <a:pt x="29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6" name="Freeform 311">
              <a:extLst>
                <a:ext uri="{FF2B5EF4-FFF2-40B4-BE49-F238E27FC236}">
                  <a16:creationId xmlns:a16="http://schemas.microsoft.com/office/drawing/2014/main" id="{D09A66E0-C6FB-4B84-8F75-59C30BF485D3}"/>
                </a:ext>
              </a:extLst>
            </p:cNvPr>
            <p:cNvSpPr>
              <a:spLocks noEditPoints="1"/>
            </p:cNvSpPr>
            <p:nvPr/>
          </p:nvSpPr>
          <p:spPr bwMode="auto">
            <a:xfrm>
              <a:off x="7700963" y="2052638"/>
              <a:ext cx="114300" cy="112712"/>
            </a:xfrm>
            <a:custGeom>
              <a:avLst/>
              <a:gdLst>
                <a:gd name="T0" fmla="*/ 241 w 359"/>
                <a:gd name="T1" fmla="*/ 200 h 358"/>
                <a:gd name="T2" fmla="*/ 239 w 359"/>
                <a:gd name="T3" fmla="*/ 208 h 358"/>
                <a:gd name="T4" fmla="*/ 271 w 359"/>
                <a:gd name="T5" fmla="*/ 308 h 358"/>
                <a:gd name="T6" fmla="*/ 183 w 359"/>
                <a:gd name="T7" fmla="*/ 253 h 358"/>
                <a:gd name="T8" fmla="*/ 175 w 359"/>
                <a:gd name="T9" fmla="*/ 253 h 358"/>
                <a:gd name="T10" fmla="*/ 87 w 359"/>
                <a:gd name="T11" fmla="*/ 308 h 358"/>
                <a:gd name="T12" fmla="*/ 119 w 359"/>
                <a:gd name="T13" fmla="*/ 208 h 358"/>
                <a:gd name="T14" fmla="*/ 117 w 359"/>
                <a:gd name="T15" fmla="*/ 200 h 358"/>
                <a:gd name="T16" fmla="*/ 56 w 359"/>
                <a:gd name="T17" fmla="*/ 148 h 358"/>
                <a:gd name="T18" fmla="*/ 124 w 359"/>
                <a:gd name="T19" fmla="*/ 147 h 358"/>
                <a:gd name="T20" fmla="*/ 130 w 359"/>
                <a:gd name="T21" fmla="*/ 143 h 358"/>
                <a:gd name="T22" fmla="*/ 179 w 359"/>
                <a:gd name="T23" fmla="*/ 47 h 358"/>
                <a:gd name="T24" fmla="*/ 228 w 359"/>
                <a:gd name="T25" fmla="*/ 143 h 358"/>
                <a:gd name="T26" fmla="*/ 235 w 359"/>
                <a:gd name="T27" fmla="*/ 147 h 358"/>
                <a:gd name="T28" fmla="*/ 302 w 359"/>
                <a:gd name="T29" fmla="*/ 148 h 358"/>
                <a:gd name="T30" fmla="*/ 344 w 359"/>
                <a:gd name="T31" fmla="*/ 119 h 358"/>
                <a:gd name="T32" fmla="*/ 193 w 359"/>
                <a:gd name="T33" fmla="*/ 7 h 358"/>
                <a:gd name="T34" fmla="*/ 187 w 359"/>
                <a:gd name="T35" fmla="*/ 2 h 358"/>
                <a:gd name="T36" fmla="*/ 179 w 359"/>
                <a:gd name="T37" fmla="*/ 0 h 358"/>
                <a:gd name="T38" fmla="*/ 172 w 359"/>
                <a:gd name="T39" fmla="*/ 2 h 358"/>
                <a:gd name="T40" fmla="*/ 165 w 359"/>
                <a:gd name="T41" fmla="*/ 7 h 358"/>
                <a:gd name="T42" fmla="*/ 15 w 359"/>
                <a:gd name="T43" fmla="*/ 119 h 358"/>
                <a:gd name="T44" fmla="*/ 6 w 359"/>
                <a:gd name="T45" fmla="*/ 122 h 358"/>
                <a:gd name="T46" fmla="*/ 1 w 359"/>
                <a:gd name="T47" fmla="*/ 128 h 358"/>
                <a:gd name="T48" fmla="*/ 1 w 359"/>
                <a:gd name="T49" fmla="*/ 138 h 358"/>
                <a:gd name="T50" fmla="*/ 5 w 359"/>
                <a:gd name="T51" fmla="*/ 145 h 358"/>
                <a:gd name="T52" fmla="*/ 46 w 359"/>
                <a:gd name="T53" fmla="*/ 338 h 358"/>
                <a:gd name="T54" fmla="*/ 46 w 359"/>
                <a:gd name="T55" fmla="*/ 347 h 358"/>
                <a:gd name="T56" fmla="*/ 51 w 359"/>
                <a:gd name="T57" fmla="*/ 355 h 358"/>
                <a:gd name="T58" fmla="*/ 58 w 359"/>
                <a:gd name="T59" fmla="*/ 358 h 358"/>
                <a:gd name="T60" fmla="*/ 68 w 359"/>
                <a:gd name="T61" fmla="*/ 356 h 358"/>
                <a:gd name="T62" fmla="*/ 290 w 359"/>
                <a:gd name="T63" fmla="*/ 356 h 358"/>
                <a:gd name="T64" fmla="*/ 299 w 359"/>
                <a:gd name="T65" fmla="*/ 358 h 358"/>
                <a:gd name="T66" fmla="*/ 308 w 359"/>
                <a:gd name="T67" fmla="*/ 355 h 358"/>
                <a:gd name="T68" fmla="*/ 313 w 359"/>
                <a:gd name="T69" fmla="*/ 347 h 358"/>
                <a:gd name="T70" fmla="*/ 313 w 359"/>
                <a:gd name="T71" fmla="*/ 338 h 358"/>
                <a:gd name="T72" fmla="*/ 354 w 359"/>
                <a:gd name="T73" fmla="*/ 145 h 358"/>
                <a:gd name="T74" fmla="*/ 358 w 359"/>
                <a:gd name="T75" fmla="*/ 138 h 358"/>
                <a:gd name="T76" fmla="*/ 358 w 359"/>
                <a:gd name="T77" fmla="*/ 128 h 358"/>
                <a:gd name="T78" fmla="*/ 352 w 359"/>
                <a:gd name="T79" fmla="*/ 122 h 358"/>
                <a:gd name="T80" fmla="*/ 344 w 359"/>
                <a:gd name="T81" fmla="*/ 11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9" h="358">
                  <a:moveTo>
                    <a:pt x="244" y="197"/>
                  </a:moveTo>
                  <a:lnTo>
                    <a:pt x="241" y="200"/>
                  </a:lnTo>
                  <a:lnTo>
                    <a:pt x="239" y="204"/>
                  </a:lnTo>
                  <a:lnTo>
                    <a:pt x="239" y="208"/>
                  </a:lnTo>
                  <a:lnTo>
                    <a:pt x="240" y="213"/>
                  </a:lnTo>
                  <a:lnTo>
                    <a:pt x="271" y="308"/>
                  </a:lnTo>
                  <a:lnTo>
                    <a:pt x="187" y="255"/>
                  </a:lnTo>
                  <a:lnTo>
                    <a:pt x="183" y="253"/>
                  </a:lnTo>
                  <a:lnTo>
                    <a:pt x="179" y="253"/>
                  </a:lnTo>
                  <a:lnTo>
                    <a:pt x="175" y="253"/>
                  </a:lnTo>
                  <a:lnTo>
                    <a:pt x="172" y="255"/>
                  </a:lnTo>
                  <a:lnTo>
                    <a:pt x="87" y="308"/>
                  </a:lnTo>
                  <a:lnTo>
                    <a:pt x="118" y="213"/>
                  </a:lnTo>
                  <a:lnTo>
                    <a:pt x="119" y="208"/>
                  </a:lnTo>
                  <a:lnTo>
                    <a:pt x="119" y="204"/>
                  </a:lnTo>
                  <a:lnTo>
                    <a:pt x="117" y="200"/>
                  </a:lnTo>
                  <a:lnTo>
                    <a:pt x="114" y="197"/>
                  </a:lnTo>
                  <a:lnTo>
                    <a:pt x="56" y="148"/>
                  </a:lnTo>
                  <a:lnTo>
                    <a:pt x="119" y="148"/>
                  </a:lnTo>
                  <a:lnTo>
                    <a:pt x="124" y="147"/>
                  </a:lnTo>
                  <a:lnTo>
                    <a:pt x="127" y="146"/>
                  </a:lnTo>
                  <a:lnTo>
                    <a:pt x="130" y="143"/>
                  </a:lnTo>
                  <a:lnTo>
                    <a:pt x="133" y="140"/>
                  </a:lnTo>
                  <a:lnTo>
                    <a:pt x="179" y="47"/>
                  </a:lnTo>
                  <a:lnTo>
                    <a:pt x="225" y="140"/>
                  </a:lnTo>
                  <a:lnTo>
                    <a:pt x="228" y="143"/>
                  </a:lnTo>
                  <a:lnTo>
                    <a:pt x="232" y="146"/>
                  </a:lnTo>
                  <a:lnTo>
                    <a:pt x="235" y="147"/>
                  </a:lnTo>
                  <a:lnTo>
                    <a:pt x="239" y="148"/>
                  </a:lnTo>
                  <a:lnTo>
                    <a:pt x="302" y="148"/>
                  </a:lnTo>
                  <a:lnTo>
                    <a:pt x="244" y="197"/>
                  </a:lnTo>
                  <a:close/>
                  <a:moveTo>
                    <a:pt x="344" y="119"/>
                  </a:moveTo>
                  <a:lnTo>
                    <a:pt x="249" y="119"/>
                  </a:lnTo>
                  <a:lnTo>
                    <a:pt x="193" y="7"/>
                  </a:lnTo>
                  <a:lnTo>
                    <a:pt x="190" y="4"/>
                  </a:lnTo>
                  <a:lnTo>
                    <a:pt x="187" y="2"/>
                  </a:lnTo>
                  <a:lnTo>
                    <a:pt x="183" y="0"/>
                  </a:lnTo>
                  <a:lnTo>
                    <a:pt x="179" y="0"/>
                  </a:lnTo>
                  <a:lnTo>
                    <a:pt x="175" y="0"/>
                  </a:lnTo>
                  <a:lnTo>
                    <a:pt x="172" y="2"/>
                  </a:lnTo>
                  <a:lnTo>
                    <a:pt x="168" y="4"/>
                  </a:lnTo>
                  <a:lnTo>
                    <a:pt x="165" y="7"/>
                  </a:lnTo>
                  <a:lnTo>
                    <a:pt x="110" y="119"/>
                  </a:lnTo>
                  <a:lnTo>
                    <a:pt x="15" y="119"/>
                  </a:lnTo>
                  <a:lnTo>
                    <a:pt x="10" y="120"/>
                  </a:lnTo>
                  <a:lnTo>
                    <a:pt x="6" y="122"/>
                  </a:lnTo>
                  <a:lnTo>
                    <a:pt x="3" y="124"/>
                  </a:lnTo>
                  <a:lnTo>
                    <a:pt x="1" y="128"/>
                  </a:lnTo>
                  <a:lnTo>
                    <a:pt x="0" y="132"/>
                  </a:lnTo>
                  <a:lnTo>
                    <a:pt x="1" y="138"/>
                  </a:lnTo>
                  <a:lnTo>
                    <a:pt x="2" y="142"/>
                  </a:lnTo>
                  <a:lnTo>
                    <a:pt x="5" y="145"/>
                  </a:lnTo>
                  <a:lnTo>
                    <a:pt x="87" y="214"/>
                  </a:lnTo>
                  <a:lnTo>
                    <a:pt x="46" y="338"/>
                  </a:lnTo>
                  <a:lnTo>
                    <a:pt x="44" y="343"/>
                  </a:lnTo>
                  <a:lnTo>
                    <a:pt x="46" y="347"/>
                  </a:lnTo>
                  <a:lnTo>
                    <a:pt x="48" y="352"/>
                  </a:lnTo>
                  <a:lnTo>
                    <a:pt x="51" y="355"/>
                  </a:lnTo>
                  <a:lnTo>
                    <a:pt x="54" y="357"/>
                  </a:lnTo>
                  <a:lnTo>
                    <a:pt x="58" y="358"/>
                  </a:lnTo>
                  <a:lnTo>
                    <a:pt x="64" y="357"/>
                  </a:lnTo>
                  <a:lnTo>
                    <a:pt x="68" y="356"/>
                  </a:lnTo>
                  <a:lnTo>
                    <a:pt x="179" y="285"/>
                  </a:lnTo>
                  <a:lnTo>
                    <a:pt x="290" y="356"/>
                  </a:lnTo>
                  <a:lnTo>
                    <a:pt x="295" y="357"/>
                  </a:lnTo>
                  <a:lnTo>
                    <a:pt x="299" y="358"/>
                  </a:lnTo>
                  <a:lnTo>
                    <a:pt x="303" y="357"/>
                  </a:lnTo>
                  <a:lnTo>
                    <a:pt x="308" y="355"/>
                  </a:lnTo>
                  <a:lnTo>
                    <a:pt x="311" y="352"/>
                  </a:lnTo>
                  <a:lnTo>
                    <a:pt x="313" y="347"/>
                  </a:lnTo>
                  <a:lnTo>
                    <a:pt x="314" y="343"/>
                  </a:lnTo>
                  <a:lnTo>
                    <a:pt x="313" y="338"/>
                  </a:lnTo>
                  <a:lnTo>
                    <a:pt x="271" y="214"/>
                  </a:lnTo>
                  <a:lnTo>
                    <a:pt x="354" y="145"/>
                  </a:lnTo>
                  <a:lnTo>
                    <a:pt x="357" y="141"/>
                  </a:lnTo>
                  <a:lnTo>
                    <a:pt x="358" y="138"/>
                  </a:lnTo>
                  <a:lnTo>
                    <a:pt x="359" y="132"/>
                  </a:lnTo>
                  <a:lnTo>
                    <a:pt x="358" y="128"/>
                  </a:lnTo>
                  <a:lnTo>
                    <a:pt x="356" y="124"/>
                  </a:lnTo>
                  <a:lnTo>
                    <a:pt x="352" y="122"/>
                  </a:lnTo>
                  <a:lnTo>
                    <a:pt x="348" y="120"/>
                  </a:lnTo>
                  <a:lnTo>
                    <a:pt x="344" y="119"/>
                  </a:lnTo>
                  <a:lnTo>
                    <a:pt x="344" y="1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7" name="Freeform 312">
              <a:extLst>
                <a:ext uri="{FF2B5EF4-FFF2-40B4-BE49-F238E27FC236}">
                  <a16:creationId xmlns:a16="http://schemas.microsoft.com/office/drawing/2014/main" id="{C5887D61-E9B6-40D7-AD68-543A313E9861}"/>
                </a:ext>
              </a:extLst>
            </p:cNvPr>
            <p:cNvSpPr>
              <a:spLocks/>
            </p:cNvSpPr>
            <p:nvPr/>
          </p:nvSpPr>
          <p:spPr bwMode="auto">
            <a:xfrm>
              <a:off x="7791450" y="1919288"/>
              <a:ext cx="103188" cy="109537"/>
            </a:xfrm>
            <a:custGeom>
              <a:avLst/>
              <a:gdLst>
                <a:gd name="T0" fmla="*/ 324 w 328"/>
                <a:gd name="T1" fmla="*/ 3 h 343"/>
                <a:gd name="T2" fmla="*/ 318 w 328"/>
                <a:gd name="T3" fmla="*/ 0 h 343"/>
                <a:gd name="T4" fmla="*/ 210 w 328"/>
                <a:gd name="T5" fmla="*/ 0 h 343"/>
                <a:gd name="T6" fmla="*/ 114 w 328"/>
                <a:gd name="T7" fmla="*/ 0 h 343"/>
                <a:gd name="T8" fmla="*/ 108 w 328"/>
                <a:gd name="T9" fmla="*/ 4 h 343"/>
                <a:gd name="T10" fmla="*/ 1 w 328"/>
                <a:gd name="T11" fmla="*/ 233 h 343"/>
                <a:gd name="T12" fmla="*/ 0 w 328"/>
                <a:gd name="T13" fmla="*/ 238 h 343"/>
                <a:gd name="T14" fmla="*/ 1 w 328"/>
                <a:gd name="T15" fmla="*/ 243 h 343"/>
                <a:gd name="T16" fmla="*/ 3 w 328"/>
                <a:gd name="T17" fmla="*/ 249 h 343"/>
                <a:gd name="T18" fmla="*/ 9 w 328"/>
                <a:gd name="T19" fmla="*/ 252 h 343"/>
                <a:gd name="T20" fmla="*/ 14 w 328"/>
                <a:gd name="T21" fmla="*/ 253 h 343"/>
                <a:gd name="T22" fmla="*/ 20 w 328"/>
                <a:gd name="T23" fmla="*/ 253 h 343"/>
                <a:gd name="T24" fmla="*/ 25 w 328"/>
                <a:gd name="T25" fmla="*/ 250 h 343"/>
                <a:gd name="T26" fmla="*/ 29 w 328"/>
                <a:gd name="T27" fmla="*/ 245 h 343"/>
                <a:gd name="T28" fmla="*/ 186 w 328"/>
                <a:gd name="T29" fmla="*/ 30 h 343"/>
                <a:gd name="T30" fmla="*/ 75 w 328"/>
                <a:gd name="T31" fmla="*/ 280 h 343"/>
                <a:gd name="T32" fmla="*/ 75 w 328"/>
                <a:gd name="T33" fmla="*/ 286 h 343"/>
                <a:gd name="T34" fmla="*/ 77 w 328"/>
                <a:gd name="T35" fmla="*/ 292 h 343"/>
                <a:gd name="T36" fmla="*/ 81 w 328"/>
                <a:gd name="T37" fmla="*/ 296 h 343"/>
                <a:gd name="T38" fmla="*/ 87 w 328"/>
                <a:gd name="T39" fmla="*/ 298 h 343"/>
                <a:gd name="T40" fmla="*/ 90 w 328"/>
                <a:gd name="T41" fmla="*/ 298 h 343"/>
                <a:gd name="T42" fmla="*/ 92 w 328"/>
                <a:gd name="T43" fmla="*/ 298 h 343"/>
                <a:gd name="T44" fmla="*/ 95 w 328"/>
                <a:gd name="T45" fmla="*/ 297 h 343"/>
                <a:gd name="T46" fmla="*/ 97 w 328"/>
                <a:gd name="T47" fmla="*/ 296 h 343"/>
                <a:gd name="T48" fmla="*/ 99 w 328"/>
                <a:gd name="T49" fmla="*/ 295 h 343"/>
                <a:gd name="T50" fmla="*/ 102 w 328"/>
                <a:gd name="T51" fmla="*/ 292 h 343"/>
                <a:gd name="T52" fmla="*/ 219 w 328"/>
                <a:gd name="T53" fmla="*/ 30 h 343"/>
                <a:gd name="T54" fmla="*/ 151 w 328"/>
                <a:gd name="T55" fmla="*/ 322 h 343"/>
                <a:gd name="T56" fmla="*/ 150 w 328"/>
                <a:gd name="T57" fmla="*/ 328 h 343"/>
                <a:gd name="T58" fmla="*/ 150 w 328"/>
                <a:gd name="T59" fmla="*/ 333 h 343"/>
                <a:gd name="T60" fmla="*/ 153 w 328"/>
                <a:gd name="T61" fmla="*/ 339 h 343"/>
                <a:gd name="T62" fmla="*/ 158 w 328"/>
                <a:gd name="T63" fmla="*/ 342 h 343"/>
                <a:gd name="T64" fmla="*/ 165 w 328"/>
                <a:gd name="T65" fmla="*/ 343 h 343"/>
                <a:gd name="T66" fmla="*/ 172 w 328"/>
                <a:gd name="T67" fmla="*/ 341 h 343"/>
                <a:gd name="T68" fmla="*/ 178 w 328"/>
                <a:gd name="T69" fmla="*/ 334 h 343"/>
                <a:gd name="T70" fmla="*/ 328 w 328"/>
                <a:gd name="T71" fmla="*/ 17 h 343"/>
                <a:gd name="T72" fmla="*/ 328 w 328"/>
                <a:gd name="T73" fmla="*/ 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8" h="343">
                  <a:moveTo>
                    <a:pt x="326" y="6"/>
                  </a:moveTo>
                  <a:lnTo>
                    <a:pt x="324" y="3"/>
                  </a:lnTo>
                  <a:lnTo>
                    <a:pt x="321" y="1"/>
                  </a:lnTo>
                  <a:lnTo>
                    <a:pt x="318" y="0"/>
                  </a:lnTo>
                  <a:lnTo>
                    <a:pt x="313" y="0"/>
                  </a:lnTo>
                  <a:lnTo>
                    <a:pt x="210" y="0"/>
                  </a:lnTo>
                  <a:lnTo>
                    <a:pt x="119" y="0"/>
                  </a:lnTo>
                  <a:lnTo>
                    <a:pt x="114" y="0"/>
                  </a:lnTo>
                  <a:lnTo>
                    <a:pt x="111" y="2"/>
                  </a:lnTo>
                  <a:lnTo>
                    <a:pt x="108" y="4"/>
                  </a:lnTo>
                  <a:lnTo>
                    <a:pt x="106" y="8"/>
                  </a:lnTo>
                  <a:lnTo>
                    <a:pt x="1" y="233"/>
                  </a:lnTo>
                  <a:lnTo>
                    <a:pt x="0" y="235"/>
                  </a:lnTo>
                  <a:lnTo>
                    <a:pt x="0" y="238"/>
                  </a:lnTo>
                  <a:lnTo>
                    <a:pt x="0" y="241"/>
                  </a:lnTo>
                  <a:lnTo>
                    <a:pt x="1" y="243"/>
                  </a:lnTo>
                  <a:lnTo>
                    <a:pt x="2" y="247"/>
                  </a:lnTo>
                  <a:lnTo>
                    <a:pt x="3" y="249"/>
                  </a:lnTo>
                  <a:lnTo>
                    <a:pt x="6" y="251"/>
                  </a:lnTo>
                  <a:lnTo>
                    <a:pt x="9" y="252"/>
                  </a:lnTo>
                  <a:lnTo>
                    <a:pt x="12" y="253"/>
                  </a:lnTo>
                  <a:lnTo>
                    <a:pt x="14" y="253"/>
                  </a:lnTo>
                  <a:lnTo>
                    <a:pt x="17" y="253"/>
                  </a:lnTo>
                  <a:lnTo>
                    <a:pt x="20" y="253"/>
                  </a:lnTo>
                  <a:lnTo>
                    <a:pt x="22" y="251"/>
                  </a:lnTo>
                  <a:lnTo>
                    <a:pt x="25" y="250"/>
                  </a:lnTo>
                  <a:lnTo>
                    <a:pt x="27" y="248"/>
                  </a:lnTo>
                  <a:lnTo>
                    <a:pt x="29" y="245"/>
                  </a:lnTo>
                  <a:lnTo>
                    <a:pt x="128" y="30"/>
                  </a:lnTo>
                  <a:lnTo>
                    <a:pt x="186" y="30"/>
                  </a:lnTo>
                  <a:lnTo>
                    <a:pt x="76" y="278"/>
                  </a:lnTo>
                  <a:lnTo>
                    <a:pt x="75" y="280"/>
                  </a:lnTo>
                  <a:lnTo>
                    <a:pt x="75" y="283"/>
                  </a:lnTo>
                  <a:lnTo>
                    <a:pt x="75" y="286"/>
                  </a:lnTo>
                  <a:lnTo>
                    <a:pt x="76" y="288"/>
                  </a:lnTo>
                  <a:lnTo>
                    <a:pt x="77" y="292"/>
                  </a:lnTo>
                  <a:lnTo>
                    <a:pt x="79" y="294"/>
                  </a:lnTo>
                  <a:lnTo>
                    <a:pt x="81" y="296"/>
                  </a:lnTo>
                  <a:lnTo>
                    <a:pt x="83" y="297"/>
                  </a:lnTo>
                  <a:lnTo>
                    <a:pt x="87" y="298"/>
                  </a:lnTo>
                  <a:lnTo>
                    <a:pt x="90" y="298"/>
                  </a:lnTo>
                  <a:lnTo>
                    <a:pt x="90" y="298"/>
                  </a:lnTo>
                  <a:lnTo>
                    <a:pt x="90" y="298"/>
                  </a:lnTo>
                  <a:lnTo>
                    <a:pt x="92" y="298"/>
                  </a:lnTo>
                  <a:lnTo>
                    <a:pt x="94" y="298"/>
                  </a:lnTo>
                  <a:lnTo>
                    <a:pt x="95" y="297"/>
                  </a:lnTo>
                  <a:lnTo>
                    <a:pt x="95" y="297"/>
                  </a:lnTo>
                  <a:lnTo>
                    <a:pt x="97" y="296"/>
                  </a:lnTo>
                  <a:lnTo>
                    <a:pt x="99" y="295"/>
                  </a:lnTo>
                  <a:lnTo>
                    <a:pt x="99" y="295"/>
                  </a:lnTo>
                  <a:lnTo>
                    <a:pt x="101" y="294"/>
                  </a:lnTo>
                  <a:lnTo>
                    <a:pt x="102" y="292"/>
                  </a:lnTo>
                  <a:lnTo>
                    <a:pt x="104" y="289"/>
                  </a:lnTo>
                  <a:lnTo>
                    <a:pt x="219" y="30"/>
                  </a:lnTo>
                  <a:lnTo>
                    <a:pt x="290" y="30"/>
                  </a:lnTo>
                  <a:lnTo>
                    <a:pt x="151" y="322"/>
                  </a:lnTo>
                  <a:lnTo>
                    <a:pt x="150" y="325"/>
                  </a:lnTo>
                  <a:lnTo>
                    <a:pt x="150" y="328"/>
                  </a:lnTo>
                  <a:lnTo>
                    <a:pt x="150" y="330"/>
                  </a:lnTo>
                  <a:lnTo>
                    <a:pt x="150" y="333"/>
                  </a:lnTo>
                  <a:lnTo>
                    <a:pt x="152" y="335"/>
                  </a:lnTo>
                  <a:lnTo>
                    <a:pt x="153" y="339"/>
                  </a:lnTo>
                  <a:lnTo>
                    <a:pt x="155" y="340"/>
                  </a:lnTo>
                  <a:lnTo>
                    <a:pt x="158" y="342"/>
                  </a:lnTo>
                  <a:lnTo>
                    <a:pt x="161" y="343"/>
                  </a:lnTo>
                  <a:lnTo>
                    <a:pt x="165" y="343"/>
                  </a:lnTo>
                  <a:lnTo>
                    <a:pt x="168" y="343"/>
                  </a:lnTo>
                  <a:lnTo>
                    <a:pt x="172" y="341"/>
                  </a:lnTo>
                  <a:lnTo>
                    <a:pt x="175" y="339"/>
                  </a:lnTo>
                  <a:lnTo>
                    <a:pt x="178" y="334"/>
                  </a:lnTo>
                  <a:lnTo>
                    <a:pt x="327" y="21"/>
                  </a:lnTo>
                  <a:lnTo>
                    <a:pt x="328" y="17"/>
                  </a:lnTo>
                  <a:lnTo>
                    <a:pt x="328" y="14"/>
                  </a:lnTo>
                  <a:lnTo>
                    <a:pt x="328" y="9"/>
                  </a:lnTo>
                  <a:lnTo>
                    <a:pt x="326"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8" name="Freeform 313">
              <a:extLst>
                <a:ext uri="{FF2B5EF4-FFF2-40B4-BE49-F238E27FC236}">
                  <a16:creationId xmlns:a16="http://schemas.microsoft.com/office/drawing/2014/main" id="{982EAF8A-1672-4C34-9827-6E84E4A825BF}"/>
                </a:ext>
              </a:extLst>
            </p:cNvPr>
            <p:cNvSpPr>
              <a:spLocks/>
            </p:cNvSpPr>
            <p:nvPr/>
          </p:nvSpPr>
          <p:spPr bwMode="auto">
            <a:xfrm>
              <a:off x="7620000" y="1919288"/>
              <a:ext cx="104775" cy="109537"/>
            </a:xfrm>
            <a:custGeom>
              <a:avLst/>
              <a:gdLst>
                <a:gd name="T0" fmla="*/ 167 w 328"/>
                <a:gd name="T1" fmla="*/ 343 h 343"/>
                <a:gd name="T2" fmla="*/ 173 w 328"/>
                <a:gd name="T3" fmla="*/ 340 h 343"/>
                <a:gd name="T4" fmla="*/ 177 w 328"/>
                <a:gd name="T5" fmla="*/ 335 h 343"/>
                <a:gd name="T6" fmla="*/ 179 w 328"/>
                <a:gd name="T7" fmla="*/ 330 h 343"/>
                <a:gd name="T8" fmla="*/ 179 w 328"/>
                <a:gd name="T9" fmla="*/ 325 h 343"/>
                <a:gd name="T10" fmla="*/ 39 w 328"/>
                <a:gd name="T11" fmla="*/ 30 h 343"/>
                <a:gd name="T12" fmla="*/ 225 w 328"/>
                <a:gd name="T13" fmla="*/ 289 h 343"/>
                <a:gd name="T14" fmla="*/ 228 w 328"/>
                <a:gd name="T15" fmla="*/ 294 h 343"/>
                <a:gd name="T16" fmla="*/ 229 w 328"/>
                <a:gd name="T17" fmla="*/ 295 h 343"/>
                <a:gd name="T18" fmla="*/ 232 w 328"/>
                <a:gd name="T19" fmla="*/ 297 h 343"/>
                <a:gd name="T20" fmla="*/ 234 w 328"/>
                <a:gd name="T21" fmla="*/ 298 h 343"/>
                <a:gd name="T22" fmla="*/ 239 w 328"/>
                <a:gd name="T23" fmla="*/ 298 h 343"/>
                <a:gd name="T24" fmla="*/ 239 w 328"/>
                <a:gd name="T25" fmla="*/ 298 h 343"/>
                <a:gd name="T26" fmla="*/ 245 w 328"/>
                <a:gd name="T27" fmla="*/ 297 h 343"/>
                <a:gd name="T28" fmla="*/ 249 w 328"/>
                <a:gd name="T29" fmla="*/ 294 h 343"/>
                <a:gd name="T30" fmla="*/ 252 w 328"/>
                <a:gd name="T31" fmla="*/ 288 h 343"/>
                <a:gd name="T32" fmla="*/ 254 w 328"/>
                <a:gd name="T33" fmla="*/ 283 h 343"/>
                <a:gd name="T34" fmla="*/ 252 w 328"/>
                <a:gd name="T35" fmla="*/ 278 h 343"/>
                <a:gd name="T36" fmla="*/ 199 w 328"/>
                <a:gd name="T37" fmla="*/ 30 h 343"/>
                <a:gd name="T38" fmla="*/ 302 w 328"/>
                <a:gd name="T39" fmla="*/ 248 h 343"/>
                <a:gd name="T40" fmla="*/ 306 w 328"/>
                <a:gd name="T41" fmla="*/ 251 h 343"/>
                <a:gd name="T42" fmla="*/ 311 w 328"/>
                <a:gd name="T43" fmla="*/ 253 h 343"/>
                <a:gd name="T44" fmla="*/ 317 w 328"/>
                <a:gd name="T45" fmla="*/ 253 h 343"/>
                <a:gd name="T46" fmla="*/ 323 w 328"/>
                <a:gd name="T47" fmla="*/ 251 h 343"/>
                <a:gd name="T48" fmla="*/ 326 w 328"/>
                <a:gd name="T49" fmla="*/ 247 h 343"/>
                <a:gd name="T50" fmla="*/ 328 w 328"/>
                <a:gd name="T51" fmla="*/ 241 h 343"/>
                <a:gd name="T52" fmla="*/ 328 w 328"/>
                <a:gd name="T53" fmla="*/ 235 h 343"/>
                <a:gd name="T54" fmla="*/ 223 w 328"/>
                <a:gd name="T55" fmla="*/ 8 h 343"/>
                <a:gd name="T56" fmla="*/ 217 w 328"/>
                <a:gd name="T57" fmla="*/ 2 h 343"/>
                <a:gd name="T58" fmla="*/ 209 w 328"/>
                <a:gd name="T59" fmla="*/ 0 h 343"/>
                <a:gd name="T60" fmla="*/ 15 w 328"/>
                <a:gd name="T61" fmla="*/ 0 h 343"/>
                <a:gd name="T62" fmla="*/ 8 w 328"/>
                <a:gd name="T63" fmla="*/ 1 h 343"/>
                <a:gd name="T64" fmla="*/ 2 w 328"/>
                <a:gd name="T65" fmla="*/ 6 h 343"/>
                <a:gd name="T66" fmla="*/ 0 w 328"/>
                <a:gd name="T67" fmla="*/ 14 h 343"/>
                <a:gd name="T68" fmla="*/ 1 w 328"/>
                <a:gd name="T69" fmla="*/ 21 h 343"/>
                <a:gd name="T70" fmla="*/ 153 w 328"/>
                <a:gd name="T71" fmla="*/ 339 h 343"/>
                <a:gd name="T72" fmla="*/ 161 w 328"/>
                <a:gd name="T73" fmla="*/ 343 h 343"/>
                <a:gd name="T74" fmla="*/ 164 w 328"/>
                <a:gd name="T7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43">
                  <a:moveTo>
                    <a:pt x="164" y="343"/>
                  </a:moveTo>
                  <a:lnTo>
                    <a:pt x="167" y="343"/>
                  </a:lnTo>
                  <a:lnTo>
                    <a:pt x="170" y="342"/>
                  </a:lnTo>
                  <a:lnTo>
                    <a:pt x="173" y="340"/>
                  </a:lnTo>
                  <a:lnTo>
                    <a:pt x="175" y="339"/>
                  </a:lnTo>
                  <a:lnTo>
                    <a:pt x="177" y="335"/>
                  </a:lnTo>
                  <a:lnTo>
                    <a:pt x="179" y="333"/>
                  </a:lnTo>
                  <a:lnTo>
                    <a:pt x="179" y="330"/>
                  </a:lnTo>
                  <a:lnTo>
                    <a:pt x="179" y="328"/>
                  </a:lnTo>
                  <a:lnTo>
                    <a:pt x="179" y="325"/>
                  </a:lnTo>
                  <a:lnTo>
                    <a:pt x="178" y="322"/>
                  </a:lnTo>
                  <a:lnTo>
                    <a:pt x="39" y="30"/>
                  </a:lnTo>
                  <a:lnTo>
                    <a:pt x="109" y="30"/>
                  </a:lnTo>
                  <a:lnTo>
                    <a:pt x="225" y="289"/>
                  </a:lnTo>
                  <a:lnTo>
                    <a:pt x="227" y="292"/>
                  </a:lnTo>
                  <a:lnTo>
                    <a:pt x="228" y="294"/>
                  </a:lnTo>
                  <a:lnTo>
                    <a:pt x="229" y="295"/>
                  </a:lnTo>
                  <a:lnTo>
                    <a:pt x="229" y="295"/>
                  </a:lnTo>
                  <a:lnTo>
                    <a:pt x="231" y="296"/>
                  </a:lnTo>
                  <a:lnTo>
                    <a:pt x="232" y="297"/>
                  </a:lnTo>
                  <a:lnTo>
                    <a:pt x="233" y="297"/>
                  </a:lnTo>
                  <a:lnTo>
                    <a:pt x="234" y="298"/>
                  </a:lnTo>
                  <a:lnTo>
                    <a:pt x="236" y="298"/>
                  </a:lnTo>
                  <a:lnTo>
                    <a:pt x="239" y="298"/>
                  </a:lnTo>
                  <a:lnTo>
                    <a:pt x="239" y="298"/>
                  </a:lnTo>
                  <a:lnTo>
                    <a:pt x="239" y="298"/>
                  </a:lnTo>
                  <a:lnTo>
                    <a:pt x="242" y="298"/>
                  </a:lnTo>
                  <a:lnTo>
                    <a:pt x="245" y="297"/>
                  </a:lnTo>
                  <a:lnTo>
                    <a:pt x="247" y="296"/>
                  </a:lnTo>
                  <a:lnTo>
                    <a:pt x="249" y="294"/>
                  </a:lnTo>
                  <a:lnTo>
                    <a:pt x="251" y="292"/>
                  </a:lnTo>
                  <a:lnTo>
                    <a:pt x="252" y="288"/>
                  </a:lnTo>
                  <a:lnTo>
                    <a:pt x="254" y="286"/>
                  </a:lnTo>
                  <a:lnTo>
                    <a:pt x="254" y="283"/>
                  </a:lnTo>
                  <a:lnTo>
                    <a:pt x="254" y="280"/>
                  </a:lnTo>
                  <a:lnTo>
                    <a:pt x="252" y="278"/>
                  </a:lnTo>
                  <a:lnTo>
                    <a:pt x="142" y="30"/>
                  </a:lnTo>
                  <a:lnTo>
                    <a:pt x="199" y="30"/>
                  </a:lnTo>
                  <a:lnTo>
                    <a:pt x="300" y="245"/>
                  </a:lnTo>
                  <a:lnTo>
                    <a:pt x="302" y="248"/>
                  </a:lnTo>
                  <a:lnTo>
                    <a:pt x="304" y="250"/>
                  </a:lnTo>
                  <a:lnTo>
                    <a:pt x="306" y="251"/>
                  </a:lnTo>
                  <a:lnTo>
                    <a:pt x="308" y="252"/>
                  </a:lnTo>
                  <a:lnTo>
                    <a:pt x="311" y="253"/>
                  </a:lnTo>
                  <a:lnTo>
                    <a:pt x="314" y="253"/>
                  </a:lnTo>
                  <a:lnTo>
                    <a:pt x="317" y="253"/>
                  </a:lnTo>
                  <a:lnTo>
                    <a:pt x="320" y="252"/>
                  </a:lnTo>
                  <a:lnTo>
                    <a:pt x="323" y="251"/>
                  </a:lnTo>
                  <a:lnTo>
                    <a:pt x="325" y="249"/>
                  </a:lnTo>
                  <a:lnTo>
                    <a:pt x="326" y="247"/>
                  </a:lnTo>
                  <a:lnTo>
                    <a:pt x="327" y="243"/>
                  </a:lnTo>
                  <a:lnTo>
                    <a:pt x="328" y="241"/>
                  </a:lnTo>
                  <a:lnTo>
                    <a:pt x="328" y="238"/>
                  </a:lnTo>
                  <a:lnTo>
                    <a:pt x="328" y="235"/>
                  </a:lnTo>
                  <a:lnTo>
                    <a:pt x="327" y="233"/>
                  </a:lnTo>
                  <a:lnTo>
                    <a:pt x="223" y="8"/>
                  </a:lnTo>
                  <a:lnTo>
                    <a:pt x="220" y="4"/>
                  </a:lnTo>
                  <a:lnTo>
                    <a:pt x="217" y="2"/>
                  </a:lnTo>
                  <a:lnTo>
                    <a:pt x="213" y="0"/>
                  </a:lnTo>
                  <a:lnTo>
                    <a:pt x="209" y="0"/>
                  </a:lnTo>
                  <a:lnTo>
                    <a:pt x="119" y="0"/>
                  </a:lnTo>
                  <a:lnTo>
                    <a:pt x="15" y="0"/>
                  </a:lnTo>
                  <a:lnTo>
                    <a:pt x="11" y="0"/>
                  </a:lnTo>
                  <a:lnTo>
                    <a:pt x="8" y="1"/>
                  </a:lnTo>
                  <a:lnTo>
                    <a:pt x="4" y="3"/>
                  </a:lnTo>
                  <a:lnTo>
                    <a:pt x="2" y="6"/>
                  </a:lnTo>
                  <a:lnTo>
                    <a:pt x="0" y="9"/>
                  </a:lnTo>
                  <a:lnTo>
                    <a:pt x="0" y="14"/>
                  </a:lnTo>
                  <a:lnTo>
                    <a:pt x="0" y="17"/>
                  </a:lnTo>
                  <a:lnTo>
                    <a:pt x="1" y="21"/>
                  </a:lnTo>
                  <a:lnTo>
                    <a:pt x="151" y="334"/>
                  </a:lnTo>
                  <a:lnTo>
                    <a:pt x="153" y="339"/>
                  </a:lnTo>
                  <a:lnTo>
                    <a:pt x="156" y="341"/>
                  </a:lnTo>
                  <a:lnTo>
                    <a:pt x="161" y="343"/>
                  </a:lnTo>
                  <a:lnTo>
                    <a:pt x="164" y="343"/>
                  </a:lnTo>
                  <a:lnTo>
                    <a:pt x="164" y="3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949" name="Group 26">
            <a:extLst>
              <a:ext uri="{FF2B5EF4-FFF2-40B4-BE49-F238E27FC236}">
                <a16:creationId xmlns:a16="http://schemas.microsoft.com/office/drawing/2014/main" id="{9D9C20FB-740B-4034-8EE7-658081493E70}"/>
              </a:ext>
            </a:extLst>
          </p:cNvPr>
          <p:cNvGrpSpPr>
            <a:grpSpLocks noChangeAspect="1"/>
          </p:cNvGrpSpPr>
          <p:nvPr/>
        </p:nvGrpSpPr>
        <p:grpSpPr>
          <a:xfrm>
            <a:off x="4049239" y="3263433"/>
            <a:ext cx="285619" cy="285619"/>
            <a:chOff x="6777037" y="2907505"/>
            <a:chExt cx="258763" cy="258763"/>
          </a:xfrm>
          <a:solidFill>
            <a:schemeClr val="bg2"/>
          </a:solidFill>
        </p:grpSpPr>
        <p:grpSp>
          <p:nvGrpSpPr>
            <p:cNvPr id="950" name="Group 53">
              <a:extLst>
                <a:ext uri="{FF2B5EF4-FFF2-40B4-BE49-F238E27FC236}">
                  <a16:creationId xmlns:a16="http://schemas.microsoft.com/office/drawing/2014/main" id="{96DFF3B4-B849-407A-A47B-5E666E6B9FDF}"/>
                </a:ext>
              </a:extLst>
            </p:cNvPr>
            <p:cNvGrpSpPr/>
            <p:nvPr/>
          </p:nvGrpSpPr>
          <p:grpSpPr>
            <a:xfrm>
              <a:off x="6777037" y="2907505"/>
              <a:ext cx="258763" cy="258763"/>
              <a:chOff x="11045825" y="2247900"/>
              <a:chExt cx="258763" cy="258763"/>
            </a:xfrm>
            <a:grpFill/>
          </p:grpSpPr>
          <p:sp>
            <p:nvSpPr>
              <p:cNvPr id="954" name="Freeform 207">
                <a:extLst>
                  <a:ext uri="{FF2B5EF4-FFF2-40B4-BE49-F238E27FC236}">
                    <a16:creationId xmlns:a16="http://schemas.microsoft.com/office/drawing/2014/main" id="{8AF6218F-B77A-4BA5-A1AA-059A86567C9A}"/>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5" name="Freeform 208">
                <a:extLst>
                  <a:ext uri="{FF2B5EF4-FFF2-40B4-BE49-F238E27FC236}">
                    <a16:creationId xmlns:a16="http://schemas.microsoft.com/office/drawing/2014/main" id="{2B2BAFAA-3860-4D67-A28D-8EAF8B509C43}"/>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6" name="Freeform 209">
                <a:extLst>
                  <a:ext uri="{FF2B5EF4-FFF2-40B4-BE49-F238E27FC236}">
                    <a16:creationId xmlns:a16="http://schemas.microsoft.com/office/drawing/2014/main" id="{EA749520-1AE6-4CF6-957E-D4DCF8520A9E}"/>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7" name="Freeform 210">
                <a:extLst>
                  <a:ext uri="{FF2B5EF4-FFF2-40B4-BE49-F238E27FC236}">
                    <a16:creationId xmlns:a16="http://schemas.microsoft.com/office/drawing/2014/main" id="{A5501570-974E-4586-8F8D-38E8928351C2}"/>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8" name="Freeform 211">
                <a:extLst>
                  <a:ext uri="{FF2B5EF4-FFF2-40B4-BE49-F238E27FC236}">
                    <a16:creationId xmlns:a16="http://schemas.microsoft.com/office/drawing/2014/main" id="{56906EF9-9A30-4912-A343-18EC0DE56999}"/>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9" name="Freeform 212">
                <a:extLst>
                  <a:ext uri="{FF2B5EF4-FFF2-40B4-BE49-F238E27FC236}">
                    <a16:creationId xmlns:a16="http://schemas.microsoft.com/office/drawing/2014/main" id="{B70532CC-0721-4FE1-938A-687756864F66}"/>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0" name="Freeform 213">
                <a:extLst>
                  <a:ext uri="{FF2B5EF4-FFF2-40B4-BE49-F238E27FC236}">
                    <a16:creationId xmlns:a16="http://schemas.microsoft.com/office/drawing/2014/main" id="{B14B7B0B-E233-4E43-8BA7-DE3B954A1EBF}"/>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1" name="Freeform 214">
                <a:extLst>
                  <a:ext uri="{FF2B5EF4-FFF2-40B4-BE49-F238E27FC236}">
                    <a16:creationId xmlns:a16="http://schemas.microsoft.com/office/drawing/2014/main" id="{4598DCF4-F7D3-4201-BC3C-7B59B65C52D0}"/>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51" name="Group 25">
              <a:extLst>
                <a:ext uri="{FF2B5EF4-FFF2-40B4-BE49-F238E27FC236}">
                  <a16:creationId xmlns:a16="http://schemas.microsoft.com/office/drawing/2014/main" id="{AFC80343-A80D-4E47-A0D5-3ACD75EFFFB8}"/>
                </a:ext>
              </a:extLst>
            </p:cNvPr>
            <p:cNvGrpSpPr/>
            <p:nvPr/>
          </p:nvGrpSpPr>
          <p:grpSpPr>
            <a:xfrm>
              <a:off x="6853236" y="2977258"/>
              <a:ext cx="106364" cy="109126"/>
              <a:chOff x="6960229" y="3672598"/>
              <a:chExt cx="115094" cy="118084"/>
            </a:xfrm>
            <a:grpFill/>
          </p:grpSpPr>
          <p:sp>
            <p:nvSpPr>
              <p:cNvPr id="952" name="Freeform 62">
                <a:extLst>
                  <a:ext uri="{FF2B5EF4-FFF2-40B4-BE49-F238E27FC236}">
                    <a16:creationId xmlns:a16="http://schemas.microsoft.com/office/drawing/2014/main" id="{E1423251-6804-4574-8A93-8B15E0B5DAFA}"/>
                  </a:ext>
                </a:extLst>
              </p:cNvPr>
              <p:cNvSpPr>
                <a:spLocks noEditPoints="1"/>
              </p:cNvSpPr>
              <p:nvPr/>
            </p:nvSpPr>
            <p:spPr bwMode="auto">
              <a:xfrm>
                <a:off x="6994607" y="3708471"/>
                <a:ext cx="46337" cy="44842"/>
              </a:xfrm>
              <a:custGeom>
                <a:avLst/>
                <a:gdLst>
                  <a:gd name="T0" fmla="*/ 54 w 122"/>
                  <a:gd name="T1" fmla="*/ 96 h 121"/>
                  <a:gd name="T2" fmla="*/ 41 w 122"/>
                  <a:gd name="T3" fmla="*/ 90 h 121"/>
                  <a:gd name="T4" fmla="*/ 31 w 122"/>
                  <a:gd name="T5" fmla="*/ 81 h 121"/>
                  <a:gd name="T6" fmla="*/ 26 w 122"/>
                  <a:gd name="T7" fmla="*/ 68 h 121"/>
                  <a:gd name="T8" fmla="*/ 26 w 122"/>
                  <a:gd name="T9" fmla="*/ 54 h 121"/>
                  <a:gd name="T10" fmla="*/ 31 w 122"/>
                  <a:gd name="T11" fmla="*/ 41 h 121"/>
                  <a:gd name="T12" fmla="*/ 41 w 122"/>
                  <a:gd name="T13" fmla="*/ 31 h 121"/>
                  <a:gd name="T14" fmla="*/ 54 w 122"/>
                  <a:gd name="T15" fmla="*/ 26 h 121"/>
                  <a:gd name="T16" fmla="*/ 68 w 122"/>
                  <a:gd name="T17" fmla="*/ 26 h 121"/>
                  <a:gd name="T18" fmla="*/ 81 w 122"/>
                  <a:gd name="T19" fmla="*/ 31 h 121"/>
                  <a:gd name="T20" fmla="*/ 90 w 122"/>
                  <a:gd name="T21" fmla="*/ 41 h 121"/>
                  <a:gd name="T22" fmla="*/ 96 w 122"/>
                  <a:gd name="T23" fmla="*/ 54 h 121"/>
                  <a:gd name="T24" fmla="*/ 96 w 122"/>
                  <a:gd name="T25" fmla="*/ 68 h 121"/>
                  <a:gd name="T26" fmla="*/ 90 w 122"/>
                  <a:gd name="T27" fmla="*/ 81 h 121"/>
                  <a:gd name="T28" fmla="*/ 81 w 122"/>
                  <a:gd name="T29" fmla="*/ 90 h 121"/>
                  <a:gd name="T30" fmla="*/ 68 w 122"/>
                  <a:gd name="T31" fmla="*/ 96 h 121"/>
                  <a:gd name="T32" fmla="*/ 61 w 122"/>
                  <a:gd name="T33" fmla="*/ 0 h 121"/>
                  <a:gd name="T34" fmla="*/ 49 w 122"/>
                  <a:gd name="T35" fmla="*/ 1 h 121"/>
                  <a:gd name="T36" fmla="*/ 38 w 122"/>
                  <a:gd name="T37" fmla="*/ 4 h 121"/>
                  <a:gd name="T38" fmla="*/ 27 w 122"/>
                  <a:gd name="T39" fmla="*/ 11 h 121"/>
                  <a:gd name="T40" fmla="*/ 19 w 122"/>
                  <a:gd name="T41" fmla="*/ 18 h 121"/>
                  <a:gd name="T42" fmla="*/ 11 w 122"/>
                  <a:gd name="T43" fmla="*/ 27 h 121"/>
                  <a:gd name="T44" fmla="*/ 5 w 122"/>
                  <a:gd name="T45" fmla="*/ 38 h 121"/>
                  <a:gd name="T46" fmla="*/ 1 w 122"/>
                  <a:gd name="T47" fmla="*/ 48 h 121"/>
                  <a:gd name="T48" fmla="*/ 0 w 122"/>
                  <a:gd name="T49" fmla="*/ 61 h 121"/>
                  <a:gd name="T50" fmla="*/ 1 w 122"/>
                  <a:gd name="T51" fmla="*/ 73 h 121"/>
                  <a:gd name="T52" fmla="*/ 5 w 122"/>
                  <a:gd name="T53" fmla="*/ 85 h 121"/>
                  <a:gd name="T54" fmla="*/ 11 w 122"/>
                  <a:gd name="T55" fmla="*/ 96 h 121"/>
                  <a:gd name="T56" fmla="*/ 19 w 122"/>
                  <a:gd name="T57" fmla="*/ 104 h 121"/>
                  <a:gd name="T58" fmla="*/ 27 w 122"/>
                  <a:gd name="T59" fmla="*/ 112 h 121"/>
                  <a:gd name="T60" fmla="*/ 38 w 122"/>
                  <a:gd name="T61" fmla="*/ 117 h 121"/>
                  <a:gd name="T62" fmla="*/ 49 w 122"/>
                  <a:gd name="T63" fmla="*/ 120 h 121"/>
                  <a:gd name="T64" fmla="*/ 61 w 122"/>
                  <a:gd name="T65" fmla="*/ 121 h 121"/>
                  <a:gd name="T66" fmla="*/ 73 w 122"/>
                  <a:gd name="T67" fmla="*/ 120 h 121"/>
                  <a:gd name="T68" fmla="*/ 85 w 122"/>
                  <a:gd name="T69" fmla="*/ 117 h 121"/>
                  <a:gd name="T70" fmla="*/ 95 w 122"/>
                  <a:gd name="T71" fmla="*/ 112 h 121"/>
                  <a:gd name="T72" fmla="*/ 104 w 122"/>
                  <a:gd name="T73" fmla="*/ 104 h 121"/>
                  <a:gd name="T74" fmla="*/ 112 w 122"/>
                  <a:gd name="T75" fmla="*/ 96 h 121"/>
                  <a:gd name="T76" fmla="*/ 117 w 122"/>
                  <a:gd name="T77" fmla="*/ 85 h 121"/>
                  <a:gd name="T78" fmla="*/ 121 w 122"/>
                  <a:gd name="T79" fmla="*/ 73 h 121"/>
                  <a:gd name="T80" fmla="*/ 122 w 122"/>
                  <a:gd name="T81" fmla="*/ 61 h 121"/>
                  <a:gd name="T82" fmla="*/ 121 w 122"/>
                  <a:gd name="T83" fmla="*/ 48 h 121"/>
                  <a:gd name="T84" fmla="*/ 117 w 122"/>
                  <a:gd name="T85" fmla="*/ 38 h 121"/>
                  <a:gd name="T86" fmla="*/ 112 w 122"/>
                  <a:gd name="T87" fmla="*/ 27 h 121"/>
                  <a:gd name="T88" fmla="*/ 104 w 122"/>
                  <a:gd name="T89" fmla="*/ 18 h 121"/>
                  <a:gd name="T90" fmla="*/ 95 w 122"/>
                  <a:gd name="T91" fmla="*/ 11 h 121"/>
                  <a:gd name="T92" fmla="*/ 85 w 122"/>
                  <a:gd name="T93" fmla="*/ 4 h 121"/>
                  <a:gd name="T94" fmla="*/ 73 w 122"/>
                  <a:gd name="T95" fmla="*/ 1 h 121"/>
                  <a:gd name="T96" fmla="*/ 61 w 122"/>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1">
                    <a:moveTo>
                      <a:pt x="61" y="97"/>
                    </a:moveTo>
                    <a:lnTo>
                      <a:pt x="54" y="96"/>
                    </a:lnTo>
                    <a:lnTo>
                      <a:pt x="47" y="93"/>
                    </a:lnTo>
                    <a:lnTo>
                      <a:pt x="41" y="90"/>
                    </a:lnTo>
                    <a:lnTo>
                      <a:pt x="36" y="86"/>
                    </a:lnTo>
                    <a:lnTo>
                      <a:pt x="31" y="81"/>
                    </a:lnTo>
                    <a:lnTo>
                      <a:pt x="28" y="75"/>
                    </a:lnTo>
                    <a:lnTo>
                      <a:pt x="26" y="68"/>
                    </a:lnTo>
                    <a:lnTo>
                      <a:pt x="26" y="61"/>
                    </a:lnTo>
                    <a:lnTo>
                      <a:pt x="26" y="54"/>
                    </a:lnTo>
                    <a:lnTo>
                      <a:pt x="28" y="47"/>
                    </a:lnTo>
                    <a:lnTo>
                      <a:pt x="31" y="41"/>
                    </a:lnTo>
                    <a:lnTo>
                      <a:pt x="36" y="35"/>
                    </a:lnTo>
                    <a:lnTo>
                      <a:pt x="41" y="31"/>
                    </a:lnTo>
                    <a:lnTo>
                      <a:pt x="47" y="28"/>
                    </a:lnTo>
                    <a:lnTo>
                      <a:pt x="54" y="26"/>
                    </a:lnTo>
                    <a:lnTo>
                      <a:pt x="61" y="25"/>
                    </a:lnTo>
                    <a:lnTo>
                      <a:pt x="68" y="26"/>
                    </a:lnTo>
                    <a:lnTo>
                      <a:pt x="75" y="28"/>
                    </a:lnTo>
                    <a:lnTo>
                      <a:pt x="81" y="31"/>
                    </a:lnTo>
                    <a:lnTo>
                      <a:pt x="86" y="35"/>
                    </a:lnTo>
                    <a:lnTo>
                      <a:pt x="90" y="41"/>
                    </a:lnTo>
                    <a:lnTo>
                      <a:pt x="94" y="47"/>
                    </a:lnTo>
                    <a:lnTo>
                      <a:pt x="96" y="54"/>
                    </a:lnTo>
                    <a:lnTo>
                      <a:pt x="97" y="61"/>
                    </a:lnTo>
                    <a:lnTo>
                      <a:pt x="96" y="68"/>
                    </a:lnTo>
                    <a:lnTo>
                      <a:pt x="94" y="75"/>
                    </a:lnTo>
                    <a:lnTo>
                      <a:pt x="90" y="81"/>
                    </a:lnTo>
                    <a:lnTo>
                      <a:pt x="86" y="86"/>
                    </a:lnTo>
                    <a:lnTo>
                      <a:pt x="81" y="90"/>
                    </a:lnTo>
                    <a:lnTo>
                      <a:pt x="75" y="93"/>
                    </a:lnTo>
                    <a:lnTo>
                      <a:pt x="68" y="96"/>
                    </a:lnTo>
                    <a:lnTo>
                      <a:pt x="61" y="97"/>
                    </a:lnTo>
                    <a:close/>
                    <a:moveTo>
                      <a:pt x="61" y="0"/>
                    </a:moveTo>
                    <a:lnTo>
                      <a:pt x="55" y="0"/>
                    </a:lnTo>
                    <a:lnTo>
                      <a:pt x="49" y="1"/>
                    </a:lnTo>
                    <a:lnTo>
                      <a:pt x="43" y="2"/>
                    </a:lnTo>
                    <a:lnTo>
                      <a:pt x="38" y="4"/>
                    </a:lnTo>
                    <a:lnTo>
                      <a:pt x="32" y="8"/>
                    </a:lnTo>
                    <a:lnTo>
                      <a:pt x="27" y="11"/>
                    </a:lnTo>
                    <a:lnTo>
                      <a:pt x="23" y="14"/>
                    </a:lnTo>
                    <a:lnTo>
                      <a:pt x="19" y="18"/>
                    </a:lnTo>
                    <a:lnTo>
                      <a:pt x="14" y="23"/>
                    </a:lnTo>
                    <a:lnTo>
                      <a:pt x="11" y="27"/>
                    </a:lnTo>
                    <a:lnTo>
                      <a:pt x="8" y="32"/>
                    </a:lnTo>
                    <a:lnTo>
                      <a:pt x="5" y="38"/>
                    </a:lnTo>
                    <a:lnTo>
                      <a:pt x="3" y="43"/>
                    </a:lnTo>
                    <a:lnTo>
                      <a:pt x="1" y="48"/>
                    </a:lnTo>
                    <a:lnTo>
                      <a:pt x="0" y="55"/>
                    </a:lnTo>
                    <a:lnTo>
                      <a:pt x="0" y="61"/>
                    </a:lnTo>
                    <a:lnTo>
                      <a:pt x="0" y="67"/>
                    </a:lnTo>
                    <a:lnTo>
                      <a:pt x="1" y="73"/>
                    </a:lnTo>
                    <a:lnTo>
                      <a:pt x="3" y="79"/>
                    </a:lnTo>
                    <a:lnTo>
                      <a:pt x="5" y="85"/>
                    </a:lnTo>
                    <a:lnTo>
                      <a:pt x="8" y="90"/>
                    </a:lnTo>
                    <a:lnTo>
                      <a:pt x="11" y="96"/>
                    </a:lnTo>
                    <a:lnTo>
                      <a:pt x="14" y="100"/>
                    </a:lnTo>
                    <a:lnTo>
                      <a:pt x="19" y="104"/>
                    </a:lnTo>
                    <a:lnTo>
                      <a:pt x="23" y="108"/>
                    </a:lnTo>
                    <a:lnTo>
                      <a:pt x="27" y="112"/>
                    </a:lnTo>
                    <a:lnTo>
                      <a:pt x="32" y="115"/>
                    </a:lnTo>
                    <a:lnTo>
                      <a:pt x="38" y="117"/>
                    </a:lnTo>
                    <a:lnTo>
                      <a:pt x="43" y="119"/>
                    </a:lnTo>
                    <a:lnTo>
                      <a:pt x="49" y="120"/>
                    </a:lnTo>
                    <a:lnTo>
                      <a:pt x="55" y="121"/>
                    </a:lnTo>
                    <a:lnTo>
                      <a:pt x="61" y="121"/>
                    </a:lnTo>
                    <a:lnTo>
                      <a:pt x="68" y="121"/>
                    </a:lnTo>
                    <a:lnTo>
                      <a:pt x="73" y="120"/>
                    </a:lnTo>
                    <a:lnTo>
                      <a:pt x="80" y="119"/>
                    </a:lnTo>
                    <a:lnTo>
                      <a:pt x="85" y="117"/>
                    </a:lnTo>
                    <a:lnTo>
                      <a:pt x="90" y="115"/>
                    </a:lnTo>
                    <a:lnTo>
                      <a:pt x="95" y="112"/>
                    </a:lnTo>
                    <a:lnTo>
                      <a:pt x="100" y="108"/>
                    </a:lnTo>
                    <a:lnTo>
                      <a:pt x="104" y="104"/>
                    </a:lnTo>
                    <a:lnTo>
                      <a:pt x="108" y="100"/>
                    </a:lnTo>
                    <a:lnTo>
                      <a:pt x="112" y="96"/>
                    </a:lnTo>
                    <a:lnTo>
                      <a:pt x="115" y="90"/>
                    </a:lnTo>
                    <a:lnTo>
                      <a:pt x="117" y="85"/>
                    </a:lnTo>
                    <a:lnTo>
                      <a:pt x="119" y="79"/>
                    </a:lnTo>
                    <a:lnTo>
                      <a:pt x="121" y="73"/>
                    </a:lnTo>
                    <a:lnTo>
                      <a:pt x="122" y="67"/>
                    </a:lnTo>
                    <a:lnTo>
                      <a:pt x="122" y="61"/>
                    </a:lnTo>
                    <a:lnTo>
                      <a:pt x="122" y="55"/>
                    </a:lnTo>
                    <a:lnTo>
                      <a:pt x="121" y="48"/>
                    </a:lnTo>
                    <a:lnTo>
                      <a:pt x="119" y="43"/>
                    </a:lnTo>
                    <a:lnTo>
                      <a:pt x="117" y="38"/>
                    </a:lnTo>
                    <a:lnTo>
                      <a:pt x="115" y="32"/>
                    </a:lnTo>
                    <a:lnTo>
                      <a:pt x="112" y="27"/>
                    </a:lnTo>
                    <a:lnTo>
                      <a:pt x="108" y="23"/>
                    </a:lnTo>
                    <a:lnTo>
                      <a:pt x="104" y="18"/>
                    </a:lnTo>
                    <a:lnTo>
                      <a:pt x="100" y="14"/>
                    </a:lnTo>
                    <a:lnTo>
                      <a:pt x="95" y="11"/>
                    </a:lnTo>
                    <a:lnTo>
                      <a:pt x="90" y="8"/>
                    </a:lnTo>
                    <a:lnTo>
                      <a:pt x="85" y="4"/>
                    </a:lnTo>
                    <a:lnTo>
                      <a:pt x="80" y="2"/>
                    </a:lnTo>
                    <a:lnTo>
                      <a:pt x="73" y="1"/>
                    </a:lnTo>
                    <a:lnTo>
                      <a:pt x="68"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3" name="Freeform 64">
                <a:extLst>
                  <a:ext uri="{FF2B5EF4-FFF2-40B4-BE49-F238E27FC236}">
                    <a16:creationId xmlns:a16="http://schemas.microsoft.com/office/drawing/2014/main" id="{2AE22C67-5994-4A06-A478-F7A3E2B1635E}"/>
                  </a:ext>
                </a:extLst>
              </p:cNvPr>
              <p:cNvSpPr>
                <a:spLocks noEditPoints="1"/>
              </p:cNvSpPr>
              <p:nvPr/>
            </p:nvSpPr>
            <p:spPr bwMode="auto">
              <a:xfrm>
                <a:off x="6960229" y="3672598"/>
                <a:ext cx="115094" cy="118084"/>
              </a:xfrm>
              <a:custGeom>
                <a:avLst/>
                <a:gdLst>
                  <a:gd name="T0" fmla="*/ 235 w 308"/>
                  <a:gd name="T1" fmla="*/ 227 h 315"/>
                  <a:gd name="T2" fmla="*/ 223 w 308"/>
                  <a:gd name="T3" fmla="*/ 229 h 315"/>
                  <a:gd name="T4" fmla="*/ 195 w 308"/>
                  <a:gd name="T5" fmla="*/ 248 h 315"/>
                  <a:gd name="T6" fmla="*/ 178 w 308"/>
                  <a:gd name="T7" fmla="*/ 257 h 315"/>
                  <a:gd name="T8" fmla="*/ 176 w 308"/>
                  <a:gd name="T9" fmla="*/ 289 h 315"/>
                  <a:gd name="T10" fmla="*/ 136 w 308"/>
                  <a:gd name="T11" fmla="*/ 260 h 315"/>
                  <a:gd name="T12" fmla="*/ 129 w 308"/>
                  <a:gd name="T13" fmla="*/ 253 h 315"/>
                  <a:gd name="T14" fmla="*/ 95 w 308"/>
                  <a:gd name="T15" fmla="*/ 237 h 315"/>
                  <a:gd name="T16" fmla="*/ 79 w 308"/>
                  <a:gd name="T17" fmla="*/ 226 h 315"/>
                  <a:gd name="T18" fmla="*/ 50 w 308"/>
                  <a:gd name="T19" fmla="*/ 240 h 315"/>
                  <a:gd name="T20" fmla="*/ 55 w 308"/>
                  <a:gd name="T21" fmla="*/ 192 h 315"/>
                  <a:gd name="T22" fmla="*/ 58 w 308"/>
                  <a:gd name="T23" fmla="*/ 180 h 315"/>
                  <a:gd name="T24" fmla="*/ 56 w 308"/>
                  <a:gd name="T25" fmla="*/ 145 h 315"/>
                  <a:gd name="T26" fmla="*/ 57 w 308"/>
                  <a:gd name="T27" fmla="*/ 126 h 315"/>
                  <a:gd name="T28" fmla="*/ 31 w 308"/>
                  <a:gd name="T29" fmla="*/ 108 h 315"/>
                  <a:gd name="T30" fmla="*/ 76 w 308"/>
                  <a:gd name="T31" fmla="*/ 87 h 315"/>
                  <a:gd name="T32" fmla="*/ 87 w 308"/>
                  <a:gd name="T33" fmla="*/ 84 h 315"/>
                  <a:gd name="T34" fmla="*/ 117 w 308"/>
                  <a:gd name="T35" fmla="*/ 66 h 315"/>
                  <a:gd name="T36" fmla="*/ 135 w 308"/>
                  <a:gd name="T37" fmla="*/ 57 h 315"/>
                  <a:gd name="T38" fmla="*/ 137 w 308"/>
                  <a:gd name="T39" fmla="*/ 25 h 315"/>
                  <a:gd name="T40" fmla="*/ 176 w 308"/>
                  <a:gd name="T41" fmla="*/ 53 h 315"/>
                  <a:gd name="T42" fmla="*/ 185 w 308"/>
                  <a:gd name="T43" fmla="*/ 62 h 315"/>
                  <a:gd name="T44" fmla="*/ 215 w 308"/>
                  <a:gd name="T45" fmla="*/ 77 h 315"/>
                  <a:gd name="T46" fmla="*/ 231 w 308"/>
                  <a:gd name="T47" fmla="*/ 88 h 315"/>
                  <a:gd name="T48" fmla="*/ 259 w 308"/>
                  <a:gd name="T49" fmla="*/ 76 h 315"/>
                  <a:gd name="T50" fmla="*/ 254 w 308"/>
                  <a:gd name="T51" fmla="*/ 123 h 315"/>
                  <a:gd name="T52" fmla="*/ 251 w 308"/>
                  <a:gd name="T53" fmla="*/ 134 h 315"/>
                  <a:gd name="T54" fmla="*/ 253 w 308"/>
                  <a:gd name="T55" fmla="*/ 169 h 315"/>
                  <a:gd name="T56" fmla="*/ 252 w 308"/>
                  <a:gd name="T57" fmla="*/ 188 h 315"/>
                  <a:gd name="T58" fmla="*/ 278 w 308"/>
                  <a:gd name="T59" fmla="*/ 207 h 315"/>
                  <a:gd name="T60" fmla="*/ 278 w 308"/>
                  <a:gd name="T61" fmla="*/ 178 h 315"/>
                  <a:gd name="T62" fmla="*/ 279 w 308"/>
                  <a:gd name="T63" fmla="*/ 148 h 315"/>
                  <a:gd name="T64" fmla="*/ 304 w 308"/>
                  <a:gd name="T65" fmla="*/ 123 h 315"/>
                  <a:gd name="T66" fmla="*/ 308 w 308"/>
                  <a:gd name="T67" fmla="*/ 116 h 315"/>
                  <a:gd name="T68" fmla="*/ 275 w 308"/>
                  <a:gd name="T69" fmla="*/ 51 h 315"/>
                  <a:gd name="T70" fmla="*/ 269 w 308"/>
                  <a:gd name="T71" fmla="*/ 46 h 315"/>
                  <a:gd name="T72" fmla="*/ 256 w 308"/>
                  <a:gd name="T73" fmla="*/ 46 h 315"/>
                  <a:gd name="T74" fmla="*/ 218 w 308"/>
                  <a:gd name="T75" fmla="*/ 49 h 315"/>
                  <a:gd name="T76" fmla="*/ 202 w 308"/>
                  <a:gd name="T77" fmla="*/ 13 h 315"/>
                  <a:gd name="T78" fmla="*/ 193 w 308"/>
                  <a:gd name="T79" fmla="*/ 2 h 315"/>
                  <a:gd name="T80" fmla="*/ 119 w 308"/>
                  <a:gd name="T81" fmla="*/ 2 h 315"/>
                  <a:gd name="T82" fmla="*/ 112 w 308"/>
                  <a:gd name="T83" fmla="*/ 13 h 315"/>
                  <a:gd name="T84" fmla="*/ 93 w 308"/>
                  <a:gd name="T85" fmla="*/ 50 h 315"/>
                  <a:gd name="T86" fmla="*/ 52 w 308"/>
                  <a:gd name="T87" fmla="*/ 46 h 315"/>
                  <a:gd name="T88" fmla="*/ 37 w 308"/>
                  <a:gd name="T89" fmla="*/ 47 h 315"/>
                  <a:gd name="T90" fmla="*/ 1 w 308"/>
                  <a:gd name="T91" fmla="*/ 111 h 315"/>
                  <a:gd name="T92" fmla="*/ 3 w 308"/>
                  <a:gd name="T93" fmla="*/ 121 h 315"/>
                  <a:gd name="T94" fmla="*/ 31 w 308"/>
                  <a:gd name="T95" fmla="*/ 138 h 315"/>
                  <a:gd name="T96" fmla="*/ 30 w 308"/>
                  <a:gd name="T97" fmla="*/ 167 h 315"/>
                  <a:gd name="T98" fmla="*/ 4 w 308"/>
                  <a:gd name="T99" fmla="*/ 193 h 315"/>
                  <a:gd name="T100" fmla="*/ 1 w 308"/>
                  <a:gd name="T101" fmla="*/ 199 h 315"/>
                  <a:gd name="T102" fmla="*/ 34 w 308"/>
                  <a:gd name="T103" fmla="*/ 263 h 315"/>
                  <a:gd name="T104" fmla="*/ 46 w 308"/>
                  <a:gd name="T105" fmla="*/ 270 h 315"/>
                  <a:gd name="T106" fmla="*/ 85 w 308"/>
                  <a:gd name="T107" fmla="*/ 259 h 315"/>
                  <a:gd name="T108" fmla="*/ 112 w 308"/>
                  <a:gd name="T109" fmla="*/ 274 h 315"/>
                  <a:gd name="T110" fmla="*/ 116 w 308"/>
                  <a:gd name="T111" fmla="*/ 311 h 315"/>
                  <a:gd name="T112" fmla="*/ 189 w 308"/>
                  <a:gd name="T113" fmla="*/ 315 h 315"/>
                  <a:gd name="T114" fmla="*/ 201 w 308"/>
                  <a:gd name="T115" fmla="*/ 306 h 315"/>
                  <a:gd name="T116" fmla="*/ 210 w 308"/>
                  <a:gd name="T117" fmla="*/ 270 h 315"/>
                  <a:gd name="T118" fmla="*/ 234 w 308"/>
                  <a:gd name="T119" fmla="*/ 255 h 315"/>
                  <a:gd name="T120" fmla="*/ 267 w 308"/>
                  <a:gd name="T121" fmla="*/ 270 h 315"/>
                  <a:gd name="T122" fmla="*/ 307 w 308"/>
                  <a:gd name="T123" fmla="*/ 208 h 315"/>
                  <a:gd name="T124" fmla="*/ 306 w 308"/>
                  <a:gd name="T125" fmla="*/ 19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315">
                    <a:moveTo>
                      <a:pt x="260" y="240"/>
                    </a:moveTo>
                    <a:lnTo>
                      <a:pt x="239" y="228"/>
                    </a:lnTo>
                    <a:lnTo>
                      <a:pt x="235" y="227"/>
                    </a:lnTo>
                    <a:lnTo>
                      <a:pt x="231" y="226"/>
                    </a:lnTo>
                    <a:lnTo>
                      <a:pt x="227" y="227"/>
                    </a:lnTo>
                    <a:lnTo>
                      <a:pt x="223" y="229"/>
                    </a:lnTo>
                    <a:lnTo>
                      <a:pt x="215" y="237"/>
                    </a:lnTo>
                    <a:lnTo>
                      <a:pt x="205" y="243"/>
                    </a:lnTo>
                    <a:lnTo>
                      <a:pt x="195" y="248"/>
                    </a:lnTo>
                    <a:lnTo>
                      <a:pt x="185" y="253"/>
                    </a:lnTo>
                    <a:lnTo>
                      <a:pt x="181" y="255"/>
                    </a:lnTo>
                    <a:lnTo>
                      <a:pt x="178" y="257"/>
                    </a:lnTo>
                    <a:lnTo>
                      <a:pt x="177" y="260"/>
                    </a:lnTo>
                    <a:lnTo>
                      <a:pt x="176" y="265"/>
                    </a:lnTo>
                    <a:lnTo>
                      <a:pt x="176" y="289"/>
                    </a:lnTo>
                    <a:lnTo>
                      <a:pt x="137" y="289"/>
                    </a:lnTo>
                    <a:lnTo>
                      <a:pt x="137" y="265"/>
                    </a:lnTo>
                    <a:lnTo>
                      <a:pt x="136" y="260"/>
                    </a:lnTo>
                    <a:lnTo>
                      <a:pt x="135" y="257"/>
                    </a:lnTo>
                    <a:lnTo>
                      <a:pt x="132" y="255"/>
                    </a:lnTo>
                    <a:lnTo>
                      <a:pt x="129" y="253"/>
                    </a:lnTo>
                    <a:lnTo>
                      <a:pt x="117" y="248"/>
                    </a:lnTo>
                    <a:lnTo>
                      <a:pt x="105" y="243"/>
                    </a:lnTo>
                    <a:lnTo>
                      <a:pt x="95" y="237"/>
                    </a:lnTo>
                    <a:lnTo>
                      <a:pt x="87" y="229"/>
                    </a:lnTo>
                    <a:lnTo>
                      <a:pt x="84" y="227"/>
                    </a:lnTo>
                    <a:lnTo>
                      <a:pt x="79" y="226"/>
                    </a:lnTo>
                    <a:lnTo>
                      <a:pt x="76" y="227"/>
                    </a:lnTo>
                    <a:lnTo>
                      <a:pt x="72" y="228"/>
                    </a:lnTo>
                    <a:lnTo>
                      <a:pt x="50" y="240"/>
                    </a:lnTo>
                    <a:lnTo>
                      <a:pt x="30" y="207"/>
                    </a:lnTo>
                    <a:lnTo>
                      <a:pt x="51" y="194"/>
                    </a:lnTo>
                    <a:lnTo>
                      <a:pt x="55" y="192"/>
                    </a:lnTo>
                    <a:lnTo>
                      <a:pt x="57" y="188"/>
                    </a:lnTo>
                    <a:lnTo>
                      <a:pt x="58" y="184"/>
                    </a:lnTo>
                    <a:lnTo>
                      <a:pt x="58" y="180"/>
                    </a:lnTo>
                    <a:lnTo>
                      <a:pt x="56" y="168"/>
                    </a:lnTo>
                    <a:lnTo>
                      <a:pt x="55" y="157"/>
                    </a:lnTo>
                    <a:lnTo>
                      <a:pt x="56" y="145"/>
                    </a:lnTo>
                    <a:lnTo>
                      <a:pt x="58" y="134"/>
                    </a:lnTo>
                    <a:lnTo>
                      <a:pt x="58" y="130"/>
                    </a:lnTo>
                    <a:lnTo>
                      <a:pt x="57" y="126"/>
                    </a:lnTo>
                    <a:lnTo>
                      <a:pt x="55" y="123"/>
                    </a:lnTo>
                    <a:lnTo>
                      <a:pt x="51" y="120"/>
                    </a:lnTo>
                    <a:lnTo>
                      <a:pt x="31" y="108"/>
                    </a:lnTo>
                    <a:lnTo>
                      <a:pt x="50" y="73"/>
                    </a:lnTo>
                    <a:lnTo>
                      <a:pt x="72" y="86"/>
                    </a:lnTo>
                    <a:lnTo>
                      <a:pt x="76" y="87"/>
                    </a:lnTo>
                    <a:lnTo>
                      <a:pt x="79" y="87"/>
                    </a:lnTo>
                    <a:lnTo>
                      <a:pt x="84" y="86"/>
                    </a:lnTo>
                    <a:lnTo>
                      <a:pt x="87" y="84"/>
                    </a:lnTo>
                    <a:lnTo>
                      <a:pt x="95" y="78"/>
                    </a:lnTo>
                    <a:lnTo>
                      <a:pt x="105" y="71"/>
                    </a:lnTo>
                    <a:lnTo>
                      <a:pt x="117" y="66"/>
                    </a:lnTo>
                    <a:lnTo>
                      <a:pt x="129" y="62"/>
                    </a:lnTo>
                    <a:lnTo>
                      <a:pt x="132" y="59"/>
                    </a:lnTo>
                    <a:lnTo>
                      <a:pt x="135" y="57"/>
                    </a:lnTo>
                    <a:lnTo>
                      <a:pt x="136" y="53"/>
                    </a:lnTo>
                    <a:lnTo>
                      <a:pt x="137" y="50"/>
                    </a:lnTo>
                    <a:lnTo>
                      <a:pt x="137" y="25"/>
                    </a:lnTo>
                    <a:lnTo>
                      <a:pt x="176" y="25"/>
                    </a:lnTo>
                    <a:lnTo>
                      <a:pt x="176" y="50"/>
                    </a:lnTo>
                    <a:lnTo>
                      <a:pt x="176" y="53"/>
                    </a:lnTo>
                    <a:lnTo>
                      <a:pt x="178" y="57"/>
                    </a:lnTo>
                    <a:lnTo>
                      <a:pt x="181" y="59"/>
                    </a:lnTo>
                    <a:lnTo>
                      <a:pt x="185" y="62"/>
                    </a:lnTo>
                    <a:lnTo>
                      <a:pt x="195" y="66"/>
                    </a:lnTo>
                    <a:lnTo>
                      <a:pt x="205" y="71"/>
                    </a:lnTo>
                    <a:lnTo>
                      <a:pt x="215" y="77"/>
                    </a:lnTo>
                    <a:lnTo>
                      <a:pt x="223" y="84"/>
                    </a:lnTo>
                    <a:lnTo>
                      <a:pt x="227" y="87"/>
                    </a:lnTo>
                    <a:lnTo>
                      <a:pt x="231" y="88"/>
                    </a:lnTo>
                    <a:lnTo>
                      <a:pt x="235" y="88"/>
                    </a:lnTo>
                    <a:lnTo>
                      <a:pt x="239" y="86"/>
                    </a:lnTo>
                    <a:lnTo>
                      <a:pt x="259" y="76"/>
                    </a:lnTo>
                    <a:lnTo>
                      <a:pt x="278" y="108"/>
                    </a:lnTo>
                    <a:lnTo>
                      <a:pt x="258" y="120"/>
                    </a:lnTo>
                    <a:lnTo>
                      <a:pt x="254" y="123"/>
                    </a:lnTo>
                    <a:lnTo>
                      <a:pt x="252" y="126"/>
                    </a:lnTo>
                    <a:lnTo>
                      <a:pt x="251" y="130"/>
                    </a:lnTo>
                    <a:lnTo>
                      <a:pt x="251" y="134"/>
                    </a:lnTo>
                    <a:lnTo>
                      <a:pt x="253" y="145"/>
                    </a:lnTo>
                    <a:lnTo>
                      <a:pt x="254" y="157"/>
                    </a:lnTo>
                    <a:lnTo>
                      <a:pt x="253" y="169"/>
                    </a:lnTo>
                    <a:lnTo>
                      <a:pt x="251" y="180"/>
                    </a:lnTo>
                    <a:lnTo>
                      <a:pt x="251" y="184"/>
                    </a:lnTo>
                    <a:lnTo>
                      <a:pt x="252" y="188"/>
                    </a:lnTo>
                    <a:lnTo>
                      <a:pt x="254" y="192"/>
                    </a:lnTo>
                    <a:lnTo>
                      <a:pt x="258" y="194"/>
                    </a:lnTo>
                    <a:lnTo>
                      <a:pt x="278" y="207"/>
                    </a:lnTo>
                    <a:lnTo>
                      <a:pt x="260" y="240"/>
                    </a:lnTo>
                    <a:close/>
                    <a:moveTo>
                      <a:pt x="302" y="192"/>
                    </a:moveTo>
                    <a:lnTo>
                      <a:pt x="278" y="178"/>
                    </a:lnTo>
                    <a:lnTo>
                      <a:pt x="279" y="167"/>
                    </a:lnTo>
                    <a:lnTo>
                      <a:pt x="279" y="157"/>
                    </a:lnTo>
                    <a:lnTo>
                      <a:pt x="279" y="148"/>
                    </a:lnTo>
                    <a:lnTo>
                      <a:pt x="278" y="138"/>
                    </a:lnTo>
                    <a:lnTo>
                      <a:pt x="302" y="124"/>
                    </a:lnTo>
                    <a:lnTo>
                      <a:pt x="304" y="123"/>
                    </a:lnTo>
                    <a:lnTo>
                      <a:pt x="306" y="121"/>
                    </a:lnTo>
                    <a:lnTo>
                      <a:pt x="307" y="119"/>
                    </a:lnTo>
                    <a:lnTo>
                      <a:pt x="308" y="116"/>
                    </a:lnTo>
                    <a:lnTo>
                      <a:pt x="308" y="111"/>
                    </a:lnTo>
                    <a:lnTo>
                      <a:pt x="306" y="106"/>
                    </a:lnTo>
                    <a:lnTo>
                      <a:pt x="275" y="51"/>
                    </a:lnTo>
                    <a:lnTo>
                      <a:pt x="273" y="49"/>
                    </a:lnTo>
                    <a:lnTo>
                      <a:pt x="271" y="47"/>
                    </a:lnTo>
                    <a:lnTo>
                      <a:pt x="269" y="46"/>
                    </a:lnTo>
                    <a:lnTo>
                      <a:pt x="266" y="44"/>
                    </a:lnTo>
                    <a:lnTo>
                      <a:pt x="262" y="44"/>
                    </a:lnTo>
                    <a:lnTo>
                      <a:pt x="256" y="46"/>
                    </a:lnTo>
                    <a:lnTo>
                      <a:pt x="234" y="59"/>
                    </a:lnTo>
                    <a:lnTo>
                      <a:pt x="226" y="54"/>
                    </a:lnTo>
                    <a:lnTo>
                      <a:pt x="218" y="49"/>
                    </a:lnTo>
                    <a:lnTo>
                      <a:pt x="210" y="44"/>
                    </a:lnTo>
                    <a:lnTo>
                      <a:pt x="202" y="41"/>
                    </a:lnTo>
                    <a:lnTo>
                      <a:pt x="202" y="13"/>
                    </a:lnTo>
                    <a:lnTo>
                      <a:pt x="201" y="8"/>
                    </a:lnTo>
                    <a:lnTo>
                      <a:pt x="197" y="4"/>
                    </a:lnTo>
                    <a:lnTo>
                      <a:pt x="193" y="2"/>
                    </a:lnTo>
                    <a:lnTo>
                      <a:pt x="189" y="0"/>
                    </a:lnTo>
                    <a:lnTo>
                      <a:pt x="124" y="0"/>
                    </a:lnTo>
                    <a:lnTo>
                      <a:pt x="119" y="2"/>
                    </a:lnTo>
                    <a:lnTo>
                      <a:pt x="116" y="4"/>
                    </a:lnTo>
                    <a:lnTo>
                      <a:pt x="113" y="8"/>
                    </a:lnTo>
                    <a:lnTo>
                      <a:pt x="112" y="13"/>
                    </a:lnTo>
                    <a:lnTo>
                      <a:pt x="112" y="41"/>
                    </a:lnTo>
                    <a:lnTo>
                      <a:pt x="102" y="44"/>
                    </a:lnTo>
                    <a:lnTo>
                      <a:pt x="93" y="50"/>
                    </a:lnTo>
                    <a:lnTo>
                      <a:pt x="85" y="54"/>
                    </a:lnTo>
                    <a:lnTo>
                      <a:pt x="77" y="59"/>
                    </a:lnTo>
                    <a:lnTo>
                      <a:pt x="52" y="46"/>
                    </a:lnTo>
                    <a:lnTo>
                      <a:pt x="47" y="44"/>
                    </a:lnTo>
                    <a:lnTo>
                      <a:pt x="43" y="44"/>
                    </a:lnTo>
                    <a:lnTo>
                      <a:pt x="37" y="47"/>
                    </a:lnTo>
                    <a:lnTo>
                      <a:pt x="34" y="51"/>
                    </a:lnTo>
                    <a:lnTo>
                      <a:pt x="2" y="106"/>
                    </a:lnTo>
                    <a:lnTo>
                      <a:pt x="1" y="111"/>
                    </a:lnTo>
                    <a:lnTo>
                      <a:pt x="1" y="116"/>
                    </a:lnTo>
                    <a:lnTo>
                      <a:pt x="2" y="119"/>
                    </a:lnTo>
                    <a:lnTo>
                      <a:pt x="3" y="121"/>
                    </a:lnTo>
                    <a:lnTo>
                      <a:pt x="5" y="123"/>
                    </a:lnTo>
                    <a:lnTo>
                      <a:pt x="7" y="124"/>
                    </a:lnTo>
                    <a:lnTo>
                      <a:pt x="31" y="138"/>
                    </a:lnTo>
                    <a:lnTo>
                      <a:pt x="30" y="148"/>
                    </a:lnTo>
                    <a:lnTo>
                      <a:pt x="29" y="157"/>
                    </a:lnTo>
                    <a:lnTo>
                      <a:pt x="30" y="167"/>
                    </a:lnTo>
                    <a:lnTo>
                      <a:pt x="31" y="178"/>
                    </a:lnTo>
                    <a:lnTo>
                      <a:pt x="6" y="192"/>
                    </a:lnTo>
                    <a:lnTo>
                      <a:pt x="4" y="193"/>
                    </a:lnTo>
                    <a:lnTo>
                      <a:pt x="3" y="194"/>
                    </a:lnTo>
                    <a:lnTo>
                      <a:pt x="2" y="196"/>
                    </a:lnTo>
                    <a:lnTo>
                      <a:pt x="1" y="199"/>
                    </a:lnTo>
                    <a:lnTo>
                      <a:pt x="0" y="203"/>
                    </a:lnTo>
                    <a:lnTo>
                      <a:pt x="2" y="208"/>
                    </a:lnTo>
                    <a:lnTo>
                      <a:pt x="34" y="263"/>
                    </a:lnTo>
                    <a:lnTo>
                      <a:pt x="37" y="268"/>
                    </a:lnTo>
                    <a:lnTo>
                      <a:pt x="42" y="270"/>
                    </a:lnTo>
                    <a:lnTo>
                      <a:pt x="46" y="270"/>
                    </a:lnTo>
                    <a:lnTo>
                      <a:pt x="51" y="269"/>
                    </a:lnTo>
                    <a:lnTo>
                      <a:pt x="77" y="254"/>
                    </a:lnTo>
                    <a:lnTo>
                      <a:pt x="85" y="259"/>
                    </a:lnTo>
                    <a:lnTo>
                      <a:pt x="93" y="266"/>
                    </a:lnTo>
                    <a:lnTo>
                      <a:pt x="102" y="270"/>
                    </a:lnTo>
                    <a:lnTo>
                      <a:pt x="112" y="274"/>
                    </a:lnTo>
                    <a:lnTo>
                      <a:pt x="112" y="302"/>
                    </a:lnTo>
                    <a:lnTo>
                      <a:pt x="113" y="306"/>
                    </a:lnTo>
                    <a:lnTo>
                      <a:pt x="116" y="311"/>
                    </a:lnTo>
                    <a:lnTo>
                      <a:pt x="119" y="314"/>
                    </a:lnTo>
                    <a:lnTo>
                      <a:pt x="124" y="315"/>
                    </a:lnTo>
                    <a:lnTo>
                      <a:pt x="189" y="315"/>
                    </a:lnTo>
                    <a:lnTo>
                      <a:pt x="193" y="314"/>
                    </a:lnTo>
                    <a:lnTo>
                      <a:pt x="197" y="311"/>
                    </a:lnTo>
                    <a:lnTo>
                      <a:pt x="201" y="306"/>
                    </a:lnTo>
                    <a:lnTo>
                      <a:pt x="202" y="302"/>
                    </a:lnTo>
                    <a:lnTo>
                      <a:pt x="202" y="274"/>
                    </a:lnTo>
                    <a:lnTo>
                      <a:pt x="210" y="270"/>
                    </a:lnTo>
                    <a:lnTo>
                      <a:pt x="218" y="266"/>
                    </a:lnTo>
                    <a:lnTo>
                      <a:pt x="226" y="260"/>
                    </a:lnTo>
                    <a:lnTo>
                      <a:pt x="234" y="255"/>
                    </a:lnTo>
                    <a:lnTo>
                      <a:pt x="258" y="268"/>
                    </a:lnTo>
                    <a:lnTo>
                      <a:pt x="262" y="270"/>
                    </a:lnTo>
                    <a:lnTo>
                      <a:pt x="267" y="270"/>
                    </a:lnTo>
                    <a:lnTo>
                      <a:pt x="271" y="268"/>
                    </a:lnTo>
                    <a:lnTo>
                      <a:pt x="275" y="263"/>
                    </a:lnTo>
                    <a:lnTo>
                      <a:pt x="307" y="208"/>
                    </a:lnTo>
                    <a:lnTo>
                      <a:pt x="308" y="202"/>
                    </a:lnTo>
                    <a:lnTo>
                      <a:pt x="308" y="198"/>
                    </a:lnTo>
                    <a:lnTo>
                      <a:pt x="306" y="194"/>
                    </a:lnTo>
                    <a:lnTo>
                      <a:pt x="30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920" name="Group 44">
            <a:extLst>
              <a:ext uri="{FF2B5EF4-FFF2-40B4-BE49-F238E27FC236}">
                <a16:creationId xmlns:a16="http://schemas.microsoft.com/office/drawing/2014/main" id="{162EB8CB-C0DC-4784-9A16-9ED7BA942E87}"/>
              </a:ext>
            </a:extLst>
          </p:cNvPr>
          <p:cNvGrpSpPr>
            <a:grpSpLocks noChangeAspect="1"/>
          </p:cNvGrpSpPr>
          <p:nvPr/>
        </p:nvGrpSpPr>
        <p:grpSpPr>
          <a:xfrm>
            <a:off x="4049239" y="4879041"/>
            <a:ext cx="285619" cy="285619"/>
            <a:chOff x="1455738" y="2714625"/>
            <a:chExt cx="285750" cy="285750"/>
          </a:xfrm>
          <a:solidFill>
            <a:schemeClr val="bg2"/>
          </a:solidFill>
          <a:effectLst/>
        </p:grpSpPr>
        <p:sp>
          <p:nvSpPr>
            <p:cNvPr id="921" name="Freeform 83">
              <a:extLst>
                <a:ext uri="{FF2B5EF4-FFF2-40B4-BE49-F238E27FC236}">
                  <a16:creationId xmlns:a16="http://schemas.microsoft.com/office/drawing/2014/main" id="{F63B5825-0B44-42D7-A88C-A19D2BE03650}"/>
                </a:ext>
              </a:extLst>
            </p:cNvPr>
            <p:cNvSpPr>
              <a:spLocks/>
            </p:cNvSpPr>
            <p:nvPr/>
          </p:nvSpPr>
          <p:spPr bwMode="auto">
            <a:xfrm>
              <a:off x="1655763" y="2867025"/>
              <a:ext cx="38100" cy="57150"/>
            </a:xfrm>
            <a:custGeom>
              <a:avLst/>
              <a:gdLst>
                <a:gd name="T0" fmla="*/ 105 w 120"/>
                <a:gd name="T1" fmla="*/ 150 h 180"/>
                <a:gd name="T2" fmla="*/ 30 w 120"/>
                <a:gd name="T3" fmla="*/ 150 h 180"/>
                <a:gd name="T4" fmla="*/ 30 w 120"/>
                <a:gd name="T5" fmla="*/ 15 h 180"/>
                <a:gd name="T6" fmla="*/ 30 w 120"/>
                <a:gd name="T7" fmla="*/ 11 h 180"/>
                <a:gd name="T8" fmla="*/ 29 w 120"/>
                <a:gd name="T9" fmla="*/ 8 h 180"/>
                <a:gd name="T10" fmla="*/ 27 w 120"/>
                <a:gd name="T11" fmla="*/ 6 h 180"/>
                <a:gd name="T12" fmla="*/ 25 w 120"/>
                <a:gd name="T13" fmla="*/ 4 h 180"/>
                <a:gd name="T14" fmla="*/ 23 w 120"/>
                <a:gd name="T15" fmla="*/ 2 h 180"/>
                <a:gd name="T16" fmla="*/ 20 w 120"/>
                <a:gd name="T17" fmla="*/ 1 h 180"/>
                <a:gd name="T18" fmla="*/ 18 w 120"/>
                <a:gd name="T19" fmla="*/ 0 h 180"/>
                <a:gd name="T20" fmla="*/ 15 w 120"/>
                <a:gd name="T21" fmla="*/ 0 h 180"/>
                <a:gd name="T22" fmla="*/ 12 w 120"/>
                <a:gd name="T23" fmla="*/ 0 h 180"/>
                <a:gd name="T24" fmla="*/ 8 w 120"/>
                <a:gd name="T25" fmla="*/ 1 h 180"/>
                <a:gd name="T26" fmla="*/ 6 w 120"/>
                <a:gd name="T27" fmla="*/ 2 h 180"/>
                <a:gd name="T28" fmla="*/ 4 w 120"/>
                <a:gd name="T29" fmla="*/ 4 h 180"/>
                <a:gd name="T30" fmla="*/ 2 w 120"/>
                <a:gd name="T31" fmla="*/ 6 h 180"/>
                <a:gd name="T32" fmla="*/ 1 w 120"/>
                <a:gd name="T33" fmla="*/ 8 h 180"/>
                <a:gd name="T34" fmla="*/ 0 w 120"/>
                <a:gd name="T35" fmla="*/ 11 h 180"/>
                <a:gd name="T36" fmla="*/ 0 w 120"/>
                <a:gd name="T37" fmla="*/ 15 h 180"/>
                <a:gd name="T38" fmla="*/ 0 w 120"/>
                <a:gd name="T39" fmla="*/ 180 h 180"/>
                <a:gd name="T40" fmla="*/ 105 w 120"/>
                <a:gd name="T41" fmla="*/ 180 h 180"/>
                <a:gd name="T42" fmla="*/ 108 w 120"/>
                <a:gd name="T43" fmla="*/ 180 h 180"/>
                <a:gd name="T44" fmla="*/ 110 w 120"/>
                <a:gd name="T45" fmla="*/ 179 h 180"/>
                <a:gd name="T46" fmla="*/ 113 w 120"/>
                <a:gd name="T47" fmla="*/ 177 h 180"/>
                <a:gd name="T48" fmla="*/ 116 w 120"/>
                <a:gd name="T49" fmla="*/ 175 h 180"/>
                <a:gd name="T50" fmla="*/ 118 w 120"/>
                <a:gd name="T51" fmla="*/ 173 h 180"/>
                <a:gd name="T52" fmla="*/ 119 w 120"/>
                <a:gd name="T53" fmla="*/ 170 h 180"/>
                <a:gd name="T54" fmla="*/ 120 w 120"/>
                <a:gd name="T55" fmla="*/ 168 h 180"/>
                <a:gd name="T56" fmla="*/ 120 w 120"/>
                <a:gd name="T57" fmla="*/ 165 h 180"/>
                <a:gd name="T58" fmla="*/ 120 w 120"/>
                <a:gd name="T59" fmla="*/ 161 h 180"/>
                <a:gd name="T60" fmla="*/ 119 w 120"/>
                <a:gd name="T61" fmla="*/ 159 h 180"/>
                <a:gd name="T62" fmla="*/ 118 w 120"/>
                <a:gd name="T63" fmla="*/ 156 h 180"/>
                <a:gd name="T64" fmla="*/ 116 w 120"/>
                <a:gd name="T65" fmla="*/ 154 h 180"/>
                <a:gd name="T66" fmla="*/ 113 w 120"/>
                <a:gd name="T67" fmla="*/ 152 h 180"/>
                <a:gd name="T68" fmla="*/ 110 w 120"/>
                <a:gd name="T69" fmla="*/ 151 h 180"/>
                <a:gd name="T70" fmla="*/ 108 w 120"/>
                <a:gd name="T71" fmla="*/ 150 h 180"/>
                <a:gd name="T72" fmla="*/ 105 w 120"/>
                <a:gd name="T73" fmla="*/ 150 h 180"/>
                <a:gd name="T74" fmla="*/ 105 w 120"/>
                <a:gd name="T75" fmla="*/ 15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80">
                  <a:moveTo>
                    <a:pt x="105" y="150"/>
                  </a:moveTo>
                  <a:lnTo>
                    <a:pt x="30" y="150"/>
                  </a:lnTo>
                  <a:lnTo>
                    <a:pt x="30" y="15"/>
                  </a:lnTo>
                  <a:lnTo>
                    <a:pt x="30" y="11"/>
                  </a:lnTo>
                  <a:lnTo>
                    <a:pt x="29" y="8"/>
                  </a:lnTo>
                  <a:lnTo>
                    <a:pt x="27" y="6"/>
                  </a:lnTo>
                  <a:lnTo>
                    <a:pt x="25" y="4"/>
                  </a:lnTo>
                  <a:lnTo>
                    <a:pt x="23" y="2"/>
                  </a:lnTo>
                  <a:lnTo>
                    <a:pt x="20" y="1"/>
                  </a:lnTo>
                  <a:lnTo>
                    <a:pt x="18" y="0"/>
                  </a:lnTo>
                  <a:lnTo>
                    <a:pt x="15" y="0"/>
                  </a:lnTo>
                  <a:lnTo>
                    <a:pt x="12" y="0"/>
                  </a:lnTo>
                  <a:lnTo>
                    <a:pt x="8" y="1"/>
                  </a:lnTo>
                  <a:lnTo>
                    <a:pt x="6" y="2"/>
                  </a:lnTo>
                  <a:lnTo>
                    <a:pt x="4" y="4"/>
                  </a:lnTo>
                  <a:lnTo>
                    <a:pt x="2" y="6"/>
                  </a:lnTo>
                  <a:lnTo>
                    <a:pt x="1" y="8"/>
                  </a:lnTo>
                  <a:lnTo>
                    <a:pt x="0" y="11"/>
                  </a:lnTo>
                  <a:lnTo>
                    <a:pt x="0" y="15"/>
                  </a:lnTo>
                  <a:lnTo>
                    <a:pt x="0" y="180"/>
                  </a:lnTo>
                  <a:lnTo>
                    <a:pt x="105" y="180"/>
                  </a:lnTo>
                  <a:lnTo>
                    <a:pt x="108" y="180"/>
                  </a:lnTo>
                  <a:lnTo>
                    <a:pt x="110" y="179"/>
                  </a:lnTo>
                  <a:lnTo>
                    <a:pt x="113" y="177"/>
                  </a:lnTo>
                  <a:lnTo>
                    <a:pt x="116" y="175"/>
                  </a:lnTo>
                  <a:lnTo>
                    <a:pt x="118" y="173"/>
                  </a:lnTo>
                  <a:lnTo>
                    <a:pt x="119" y="170"/>
                  </a:lnTo>
                  <a:lnTo>
                    <a:pt x="120" y="168"/>
                  </a:lnTo>
                  <a:lnTo>
                    <a:pt x="120" y="165"/>
                  </a:lnTo>
                  <a:lnTo>
                    <a:pt x="120" y="161"/>
                  </a:lnTo>
                  <a:lnTo>
                    <a:pt x="119" y="159"/>
                  </a:lnTo>
                  <a:lnTo>
                    <a:pt x="118" y="156"/>
                  </a:lnTo>
                  <a:lnTo>
                    <a:pt x="116" y="154"/>
                  </a:lnTo>
                  <a:lnTo>
                    <a:pt x="113" y="152"/>
                  </a:lnTo>
                  <a:lnTo>
                    <a:pt x="110" y="151"/>
                  </a:lnTo>
                  <a:lnTo>
                    <a:pt x="108" y="150"/>
                  </a:lnTo>
                  <a:lnTo>
                    <a:pt x="105" y="150"/>
                  </a:lnTo>
                  <a:lnTo>
                    <a:pt x="10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2" name="Freeform 84">
              <a:extLst>
                <a:ext uri="{FF2B5EF4-FFF2-40B4-BE49-F238E27FC236}">
                  <a16:creationId xmlns:a16="http://schemas.microsoft.com/office/drawing/2014/main" id="{9176CC3E-20AE-4554-83D1-09C51E1C261E}"/>
                </a:ext>
              </a:extLst>
            </p:cNvPr>
            <p:cNvSpPr>
              <a:spLocks noEditPoints="1"/>
            </p:cNvSpPr>
            <p:nvPr/>
          </p:nvSpPr>
          <p:spPr bwMode="auto">
            <a:xfrm>
              <a:off x="1579563" y="2838450"/>
              <a:ext cx="161925" cy="161925"/>
            </a:xfrm>
            <a:custGeom>
              <a:avLst/>
              <a:gdLst>
                <a:gd name="T0" fmla="*/ 222 w 512"/>
                <a:gd name="T1" fmla="*/ 477 h 510"/>
                <a:gd name="T2" fmla="*/ 180 w 512"/>
                <a:gd name="T3" fmla="*/ 467 h 510"/>
                <a:gd name="T4" fmla="*/ 113 w 512"/>
                <a:gd name="T5" fmla="*/ 428 h 510"/>
                <a:gd name="T6" fmla="*/ 58 w 512"/>
                <a:gd name="T7" fmla="*/ 362 h 510"/>
                <a:gd name="T8" fmla="*/ 38 w 512"/>
                <a:gd name="T9" fmla="*/ 311 h 510"/>
                <a:gd name="T10" fmla="*/ 32 w 512"/>
                <a:gd name="T11" fmla="*/ 266 h 510"/>
                <a:gd name="T12" fmla="*/ 34 w 512"/>
                <a:gd name="T13" fmla="*/ 220 h 510"/>
                <a:gd name="T14" fmla="*/ 44 w 512"/>
                <a:gd name="T15" fmla="*/ 177 h 510"/>
                <a:gd name="T16" fmla="*/ 83 w 512"/>
                <a:gd name="T17" fmla="*/ 111 h 510"/>
                <a:gd name="T18" fmla="*/ 150 w 512"/>
                <a:gd name="T19" fmla="*/ 56 h 510"/>
                <a:gd name="T20" fmla="*/ 200 w 512"/>
                <a:gd name="T21" fmla="*/ 36 h 510"/>
                <a:gd name="T22" fmla="*/ 245 w 512"/>
                <a:gd name="T23" fmla="*/ 30 h 510"/>
                <a:gd name="T24" fmla="*/ 291 w 512"/>
                <a:gd name="T25" fmla="*/ 32 h 510"/>
                <a:gd name="T26" fmla="*/ 334 w 512"/>
                <a:gd name="T27" fmla="*/ 42 h 510"/>
                <a:gd name="T28" fmla="*/ 400 w 512"/>
                <a:gd name="T29" fmla="*/ 81 h 510"/>
                <a:gd name="T30" fmla="*/ 455 w 512"/>
                <a:gd name="T31" fmla="*/ 147 h 510"/>
                <a:gd name="T32" fmla="*/ 474 w 512"/>
                <a:gd name="T33" fmla="*/ 199 h 510"/>
                <a:gd name="T34" fmla="*/ 482 w 512"/>
                <a:gd name="T35" fmla="*/ 243 h 510"/>
                <a:gd name="T36" fmla="*/ 480 w 512"/>
                <a:gd name="T37" fmla="*/ 289 h 510"/>
                <a:gd name="T38" fmla="*/ 468 w 512"/>
                <a:gd name="T39" fmla="*/ 332 h 510"/>
                <a:gd name="T40" fmla="*/ 431 w 512"/>
                <a:gd name="T41" fmla="*/ 398 h 510"/>
                <a:gd name="T42" fmla="*/ 364 w 512"/>
                <a:gd name="T43" fmla="*/ 453 h 510"/>
                <a:gd name="T44" fmla="*/ 313 w 512"/>
                <a:gd name="T45" fmla="*/ 473 h 510"/>
                <a:gd name="T46" fmla="*/ 269 w 512"/>
                <a:gd name="T47" fmla="*/ 480 h 510"/>
                <a:gd name="T48" fmla="*/ 230 w 512"/>
                <a:gd name="T49" fmla="*/ 1 h 510"/>
                <a:gd name="T50" fmla="*/ 181 w 512"/>
                <a:gd name="T51" fmla="*/ 10 h 510"/>
                <a:gd name="T52" fmla="*/ 135 w 512"/>
                <a:gd name="T53" fmla="*/ 30 h 510"/>
                <a:gd name="T54" fmla="*/ 94 w 512"/>
                <a:gd name="T55" fmla="*/ 57 h 510"/>
                <a:gd name="T56" fmla="*/ 59 w 512"/>
                <a:gd name="T57" fmla="*/ 92 h 510"/>
                <a:gd name="T58" fmla="*/ 32 w 512"/>
                <a:gd name="T59" fmla="*/ 132 h 510"/>
                <a:gd name="T60" fmla="*/ 12 w 512"/>
                <a:gd name="T61" fmla="*/ 179 h 510"/>
                <a:gd name="T62" fmla="*/ 3 w 512"/>
                <a:gd name="T63" fmla="*/ 229 h 510"/>
                <a:gd name="T64" fmla="*/ 3 w 512"/>
                <a:gd name="T65" fmla="*/ 280 h 510"/>
                <a:gd name="T66" fmla="*/ 12 w 512"/>
                <a:gd name="T67" fmla="*/ 331 h 510"/>
                <a:gd name="T68" fmla="*/ 32 w 512"/>
                <a:gd name="T69" fmla="*/ 376 h 510"/>
                <a:gd name="T70" fmla="*/ 59 w 512"/>
                <a:gd name="T71" fmla="*/ 416 h 510"/>
                <a:gd name="T72" fmla="*/ 94 w 512"/>
                <a:gd name="T73" fmla="*/ 452 h 510"/>
                <a:gd name="T74" fmla="*/ 135 w 512"/>
                <a:gd name="T75" fmla="*/ 480 h 510"/>
                <a:gd name="T76" fmla="*/ 181 w 512"/>
                <a:gd name="T77" fmla="*/ 499 h 510"/>
                <a:gd name="T78" fmla="*/ 230 w 512"/>
                <a:gd name="T79" fmla="*/ 509 h 510"/>
                <a:gd name="T80" fmla="*/ 283 w 512"/>
                <a:gd name="T81" fmla="*/ 509 h 510"/>
                <a:gd name="T82" fmla="*/ 333 w 512"/>
                <a:gd name="T83" fmla="*/ 499 h 510"/>
                <a:gd name="T84" fmla="*/ 378 w 512"/>
                <a:gd name="T85" fmla="*/ 480 h 510"/>
                <a:gd name="T86" fmla="*/ 419 w 512"/>
                <a:gd name="T87" fmla="*/ 452 h 510"/>
                <a:gd name="T88" fmla="*/ 454 w 512"/>
                <a:gd name="T89" fmla="*/ 417 h 510"/>
                <a:gd name="T90" fmla="*/ 481 w 512"/>
                <a:gd name="T91" fmla="*/ 376 h 510"/>
                <a:gd name="T92" fmla="*/ 500 w 512"/>
                <a:gd name="T93" fmla="*/ 331 h 510"/>
                <a:gd name="T94" fmla="*/ 511 w 512"/>
                <a:gd name="T95" fmla="*/ 280 h 510"/>
                <a:gd name="T96" fmla="*/ 511 w 512"/>
                <a:gd name="T97" fmla="*/ 229 h 510"/>
                <a:gd name="T98" fmla="*/ 500 w 512"/>
                <a:gd name="T99" fmla="*/ 179 h 510"/>
                <a:gd name="T100" fmla="*/ 481 w 512"/>
                <a:gd name="T101" fmla="*/ 132 h 510"/>
                <a:gd name="T102" fmla="*/ 454 w 512"/>
                <a:gd name="T103" fmla="*/ 92 h 510"/>
                <a:gd name="T104" fmla="*/ 419 w 512"/>
                <a:gd name="T105" fmla="*/ 57 h 510"/>
                <a:gd name="T106" fmla="*/ 378 w 512"/>
                <a:gd name="T107" fmla="*/ 30 h 510"/>
                <a:gd name="T108" fmla="*/ 333 w 512"/>
                <a:gd name="T109" fmla="*/ 10 h 510"/>
                <a:gd name="T110" fmla="*/ 283 w 512"/>
                <a:gd name="T111" fmla="*/ 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0">
                  <a:moveTo>
                    <a:pt x="257" y="480"/>
                  </a:moveTo>
                  <a:lnTo>
                    <a:pt x="245" y="480"/>
                  </a:lnTo>
                  <a:lnTo>
                    <a:pt x="233" y="479"/>
                  </a:lnTo>
                  <a:lnTo>
                    <a:pt x="222" y="477"/>
                  </a:lnTo>
                  <a:lnTo>
                    <a:pt x="211" y="475"/>
                  </a:lnTo>
                  <a:lnTo>
                    <a:pt x="200" y="473"/>
                  </a:lnTo>
                  <a:lnTo>
                    <a:pt x="189" y="470"/>
                  </a:lnTo>
                  <a:lnTo>
                    <a:pt x="180" y="467"/>
                  </a:lnTo>
                  <a:lnTo>
                    <a:pt x="169" y="462"/>
                  </a:lnTo>
                  <a:lnTo>
                    <a:pt x="150" y="453"/>
                  </a:lnTo>
                  <a:lnTo>
                    <a:pt x="130" y="441"/>
                  </a:lnTo>
                  <a:lnTo>
                    <a:pt x="113" y="428"/>
                  </a:lnTo>
                  <a:lnTo>
                    <a:pt x="97" y="414"/>
                  </a:lnTo>
                  <a:lnTo>
                    <a:pt x="83" y="398"/>
                  </a:lnTo>
                  <a:lnTo>
                    <a:pt x="69" y="381"/>
                  </a:lnTo>
                  <a:lnTo>
                    <a:pt x="58" y="362"/>
                  </a:lnTo>
                  <a:lnTo>
                    <a:pt x="49" y="342"/>
                  </a:lnTo>
                  <a:lnTo>
                    <a:pt x="44" y="332"/>
                  </a:lnTo>
                  <a:lnTo>
                    <a:pt x="41" y="321"/>
                  </a:lnTo>
                  <a:lnTo>
                    <a:pt x="38" y="311"/>
                  </a:lnTo>
                  <a:lnTo>
                    <a:pt x="36" y="300"/>
                  </a:lnTo>
                  <a:lnTo>
                    <a:pt x="34" y="289"/>
                  </a:lnTo>
                  <a:lnTo>
                    <a:pt x="33" y="277"/>
                  </a:lnTo>
                  <a:lnTo>
                    <a:pt x="32" y="266"/>
                  </a:lnTo>
                  <a:lnTo>
                    <a:pt x="30" y="255"/>
                  </a:lnTo>
                  <a:lnTo>
                    <a:pt x="32" y="243"/>
                  </a:lnTo>
                  <a:lnTo>
                    <a:pt x="33" y="232"/>
                  </a:lnTo>
                  <a:lnTo>
                    <a:pt x="34" y="220"/>
                  </a:lnTo>
                  <a:lnTo>
                    <a:pt x="36" y="210"/>
                  </a:lnTo>
                  <a:lnTo>
                    <a:pt x="38" y="198"/>
                  </a:lnTo>
                  <a:lnTo>
                    <a:pt x="41" y="188"/>
                  </a:lnTo>
                  <a:lnTo>
                    <a:pt x="44" y="177"/>
                  </a:lnTo>
                  <a:lnTo>
                    <a:pt x="49" y="167"/>
                  </a:lnTo>
                  <a:lnTo>
                    <a:pt x="58" y="147"/>
                  </a:lnTo>
                  <a:lnTo>
                    <a:pt x="69" y="128"/>
                  </a:lnTo>
                  <a:lnTo>
                    <a:pt x="83" y="111"/>
                  </a:lnTo>
                  <a:lnTo>
                    <a:pt x="97" y="95"/>
                  </a:lnTo>
                  <a:lnTo>
                    <a:pt x="113" y="81"/>
                  </a:lnTo>
                  <a:lnTo>
                    <a:pt x="130" y="68"/>
                  </a:lnTo>
                  <a:lnTo>
                    <a:pt x="150" y="56"/>
                  </a:lnTo>
                  <a:lnTo>
                    <a:pt x="169" y="47"/>
                  </a:lnTo>
                  <a:lnTo>
                    <a:pt x="180" y="42"/>
                  </a:lnTo>
                  <a:lnTo>
                    <a:pt x="189" y="39"/>
                  </a:lnTo>
                  <a:lnTo>
                    <a:pt x="200" y="36"/>
                  </a:lnTo>
                  <a:lnTo>
                    <a:pt x="211" y="34"/>
                  </a:lnTo>
                  <a:lnTo>
                    <a:pt x="222" y="32"/>
                  </a:lnTo>
                  <a:lnTo>
                    <a:pt x="233" y="31"/>
                  </a:lnTo>
                  <a:lnTo>
                    <a:pt x="245" y="30"/>
                  </a:lnTo>
                  <a:lnTo>
                    <a:pt x="257" y="30"/>
                  </a:lnTo>
                  <a:lnTo>
                    <a:pt x="269" y="30"/>
                  </a:lnTo>
                  <a:lnTo>
                    <a:pt x="279" y="31"/>
                  </a:lnTo>
                  <a:lnTo>
                    <a:pt x="291" y="32"/>
                  </a:lnTo>
                  <a:lnTo>
                    <a:pt x="302" y="34"/>
                  </a:lnTo>
                  <a:lnTo>
                    <a:pt x="313" y="36"/>
                  </a:lnTo>
                  <a:lnTo>
                    <a:pt x="323" y="39"/>
                  </a:lnTo>
                  <a:lnTo>
                    <a:pt x="334" y="42"/>
                  </a:lnTo>
                  <a:lnTo>
                    <a:pt x="345" y="47"/>
                  </a:lnTo>
                  <a:lnTo>
                    <a:pt x="364" y="56"/>
                  </a:lnTo>
                  <a:lnTo>
                    <a:pt x="382" y="68"/>
                  </a:lnTo>
                  <a:lnTo>
                    <a:pt x="400" y="81"/>
                  </a:lnTo>
                  <a:lnTo>
                    <a:pt x="415" y="95"/>
                  </a:lnTo>
                  <a:lnTo>
                    <a:pt x="431" y="111"/>
                  </a:lnTo>
                  <a:lnTo>
                    <a:pt x="443" y="129"/>
                  </a:lnTo>
                  <a:lnTo>
                    <a:pt x="455" y="147"/>
                  </a:lnTo>
                  <a:lnTo>
                    <a:pt x="465" y="167"/>
                  </a:lnTo>
                  <a:lnTo>
                    <a:pt x="468" y="177"/>
                  </a:lnTo>
                  <a:lnTo>
                    <a:pt x="472" y="188"/>
                  </a:lnTo>
                  <a:lnTo>
                    <a:pt x="474" y="199"/>
                  </a:lnTo>
                  <a:lnTo>
                    <a:pt x="478" y="210"/>
                  </a:lnTo>
                  <a:lnTo>
                    <a:pt x="480" y="220"/>
                  </a:lnTo>
                  <a:lnTo>
                    <a:pt x="481" y="232"/>
                  </a:lnTo>
                  <a:lnTo>
                    <a:pt x="482" y="243"/>
                  </a:lnTo>
                  <a:lnTo>
                    <a:pt x="482" y="255"/>
                  </a:lnTo>
                  <a:lnTo>
                    <a:pt x="482" y="266"/>
                  </a:lnTo>
                  <a:lnTo>
                    <a:pt x="481" y="277"/>
                  </a:lnTo>
                  <a:lnTo>
                    <a:pt x="480" y="289"/>
                  </a:lnTo>
                  <a:lnTo>
                    <a:pt x="478" y="300"/>
                  </a:lnTo>
                  <a:lnTo>
                    <a:pt x="474" y="310"/>
                  </a:lnTo>
                  <a:lnTo>
                    <a:pt x="472" y="321"/>
                  </a:lnTo>
                  <a:lnTo>
                    <a:pt x="468" y="332"/>
                  </a:lnTo>
                  <a:lnTo>
                    <a:pt x="465" y="342"/>
                  </a:lnTo>
                  <a:lnTo>
                    <a:pt x="455" y="362"/>
                  </a:lnTo>
                  <a:lnTo>
                    <a:pt x="443" y="380"/>
                  </a:lnTo>
                  <a:lnTo>
                    <a:pt x="431" y="398"/>
                  </a:lnTo>
                  <a:lnTo>
                    <a:pt x="415" y="414"/>
                  </a:lnTo>
                  <a:lnTo>
                    <a:pt x="399" y="428"/>
                  </a:lnTo>
                  <a:lnTo>
                    <a:pt x="382" y="441"/>
                  </a:lnTo>
                  <a:lnTo>
                    <a:pt x="364" y="453"/>
                  </a:lnTo>
                  <a:lnTo>
                    <a:pt x="345" y="462"/>
                  </a:lnTo>
                  <a:lnTo>
                    <a:pt x="334" y="467"/>
                  </a:lnTo>
                  <a:lnTo>
                    <a:pt x="323" y="470"/>
                  </a:lnTo>
                  <a:lnTo>
                    <a:pt x="313" y="473"/>
                  </a:lnTo>
                  <a:lnTo>
                    <a:pt x="302" y="475"/>
                  </a:lnTo>
                  <a:lnTo>
                    <a:pt x="291" y="477"/>
                  </a:lnTo>
                  <a:lnTo>
                    <a:pt x="279" y="479"/>
                  </a:lnTo>
                  <a:lnTo>
                    <a:pt x="269" y="480"/>
                  </a:lnTo>
                  <a:lnTo>
                    <a:pt x="257" y="480"/>
                  </a:lnTo>
                  <a:close/>
                  <a:moveTo>
                    <a:pt x="257" y="0"/>
                  </a:moveTo>
                  <a:lnTo>
                    <a:pt x="244" y="0"/>
                  </a:lnTo>
                  <a:lnTo>
                    <a:pt x="230" y="1"/>
                  </a:lnTo>
                  <a:lnTo>
                    <a:pt x="218" y="2"/>
                  </a:lnTo>
                  <a:lnTo>
                    <a:pt x="205" y="4"/>
                  </a:lnTo>
                  <a:lnTo>
                    <a:pt x="192" y="7"/>
                  </a:lnTo>
                  <a:lnTo>
                    <a:pt x="181" y="10"/>
                  </a:lnTo>
                  <a:lnTo>
                    <a:pt x="169" y="15"/>
                  </a:lnTo>
                  <a:lnTo>
                    <a:pt x="157" y="19"/>
                  </a:lnTo>
                  <a:lnTo>
                    <a:pt x="146" y="24"/>
                  </a:lnTo>
                  <a:lnTo>
                    <a:pt x="135" y="30"/>
                  </a:lnTo>
                  <a:lnTo>
                    <a:pt x="124" y="36"/>
                  </a:lnTo>
                  <a:lnTo>
                    <a:pt x="114" y="42"/>
                  </a:lnTo>
                  <a:lnTo>
                    <a:pt x="103" y="50"/>
                  </a:lnTo>
                  <a:lnTo>
                    <a:pt x="94" y="57"/>
                  </a:lnTo>
                  <a:lnTo>
                    <a:pt x="85" y="66"/>
                  </a:lnTo>
                  <a:lnTo>
                    <a:pt x="76" y="74"/>
                  </a:lnTo>
                  <a:lnTo>
                    <a:pt x="67" y="83"/>
                  </a:lnTo>
                  <a:lnTo>
                    <a:pt x="59" y="92"/>
                  </a:lnTo>
                  <a:lnTo>
                    <a:pt x="52" y="101"/>
                  </a:lnTo>
                  <a:lnTo>
                    <a:pt x="44" y="112"/>
                  </a:lnTo>
                  <a:lnTo>
                    <a:pt x="38" y="122"/>
                  </a:lnTo>
                  <a:lnTo>
                    <a:pt x="32" y="132"/>
                  </a:lnTo>
                  <a:lnTo>
                    <a:pt x="26" y="144"/>
                  </a:lnTo>
                  <a:lnTo>
                    <a:pt x="21" y="155"/>
                  </a:lnTo>
                  <a:lnTo>
                    <a:pt x="17" y="167"/>
                  </a:lnTo>
                  <a:lnTo>
                    <a:pt x="12" y="179"/>
                  </a:lnTo>
                  <a:lnTo>
                    <a:pt x="9" y="190"/>
                  </a:lnTo>
                  <a:lnTo>
                    <a:pt x="6" y="203"/>
                  </a:lnTo>
                  <a:lnTo>
                    <a:pt x="4" y="216"/>
                  </a:lnTo>
                  <a:lnTo>
                    <a:pt x="3" y="229"/>
                  </a:lnTo>
                  <a:lnTo>
                    <a:pt x="2" y="242"/>
                  </a:lnTo>
                  <a:lnTo>
                    <a:pt x="0" y="255"/>
                  </a:lnTo>
                  <a:lnTo>
                    <a:pt x="2" y="267"/>
                  </a:lnTo>
                  <a:lnTo>
                    <a:pt x="3" y="280"/>
                  </a:lnTo>
                  <a:lnTo>
                    <a:pt x="4" y="293"/>
                  </a:lnTo>
                  <a:lnTo>
                    <a:pt x="6" y="306"/>
                  </a:lnTo>
                  <a:lnTo>
                    <a:pt x="9" y="318"/>
                  </a:lnTo>
                  <a:lnTo>
                    <a:pt x="12" y="331"/>
                  </a:lnTo>
                  <a:lnTo>
                    <a:pt x="17" y="342"/>
                  </a:lnTo>
                  <a:lnTo>
                    <a:pt x="21" y="354"/>
                  </a:lnTo>
                  <a:lnTo>
                    <a:pt x="26" y="365"/>
                  </a:lnTo>
                  <a:lnTo>
                    <a:pt x="32" y="376"/>
                  </a:lnTo>
                  <a:lnTo>
                    <a:pt x="38" y="386"/>
                  </a:lnTo>
                  <a:lnTo>
                    <a:pt x="44" y="397"/>
                  </a:lnTo>
                  <a:lnTo>
                    <a:pt x="52" y="407"/>
                  </a:lnTo>
                  <a:lnTo>
                    <a:pt x="59" y="416"/>
                  </a:lnTo>
                  <a:lnTo>
                    <a:pt x="67" y="426"/>
                  </a:lnTo>
                  <a:lnTo>
                    <a:pt x="76" y="435"/>
                  </a:lnTo>
                  <a:lnTo>
                    <a:pt x="85" y="443"/>
                  </a:lnTo>
                  <a:lnTo>
                    <a:pt x="94" y="452"/>
                  </a:lnTo>
                  <a:lnTo>
                    <a:pt x="103" y="459"/>
                  </a:lnTo>
                  <a:lnTo>
                    <a:pt x="114" y="467"/>
                  </a:lnTo>
                  <a:lnTo>
                    <a:pt x="124" y="473"/>
                  </a:lnTo>
                  <a:lnTo>
                    <a:pt x="135" y="480"/>
                  </a:lnTo>
                  <a:lnTo>
                    <a:pt x="146" y="485"/>
                  </a:lnTo>
                  <a:lnTo>
                    <a:pt x="157" y="490"/>
                  </a:lnTo>
                  <a:lnTo>
                    <a:pt x="169" y="495"/>
                  </a:lnTo>
                  <a:lnTo>
                    <a:pt x="181" y="499"/>
                  </a:lnTo>
                  <a:lnTo>
                    <a:pt x="192" y="502"/>
                  </a:lnTo>
                  <a:lnTo>
                    <a:pt x="205" y="505"/>
                  </a:lnTo>
                  <a:lnTo>
                    <a:pt x="218" y="507"/>
                  </a:lnTo>
                  <a:lnTo>
                    <a:pt x="230" y="509"/>
                  </a:lnTo>
                  <a:lnTo>
                    <a:pt x="244" y="510"/>
                  </a:lnTo>
                  <a:lnTo>
                    <a:pt x="257" y="510"/>
                  </a:lnTo>
                  <a:lnTo>
                    <a:pt x="270" y="510"/>
                  </a:lnTo>
                  <a:lnTo>
                    <a:pt x="283" y="509"/>
                  </a:lnTo>
                  <a:lnTo>
                    <a:pt x="295" y="507"/>
                  </a:lnTo>
                  <a:lnTo>
                    <a:pt x="308" y="505"/>
                  </a:lnTo>
                  <a:lnTo>
                    <a:pt x="320" y="502"/>
                  </a:lnTo>
                  <a:lnTo>
                    <a:pt x="333" y="499"/>
                  </a:lnTo>
                  <a:lnTo>
                    <a:pt x="345" y="495"/>
                  </a:lnTo>
                  <a:lnTo>
                    <a:pt x="355" y="490"/>
                  </a:lnTo>
                  <a:lnTo>
                    <a:pt x="367" y="485"/>
                  </a:lnTo>
                  <a:lnTo>
                    <a:pt x="378" y="480"/>
                  </a:lnTo>
                  <a:lnTo>
                    <a:pt x="389" y="473"/>
                  </a:lnTo>
                  <a:lnTo>
                    <a:pt x="399" y="467"/>
                  </a:lnTo>
                  <a:lnTo>
                    <a:pt x="409" y="459"/>
                  </a:lnTo>
                  <a:lnTo>
                    <a:pt x="419" y="452"/>
                  </a:lnTo>
                  <a:lnTo>
                    <a:pt x="428" y="443"/>
                  </a:lnTo>
                  <a:lnTo>
                    <a:pt x="437" y="435"/>
                  </a:lnTo>
                  <a:lnTo>
                    <a:pt x="446" y="426"/>
                  </a:lnTo>
                  <a:lnTo>
                    <a:pt x="454" y="417"/>
                  </a:lnTo>
                  <a:lnTo>
                    <a:pt x="462" y="407"/>
                  </a:lnTo>
                  <a:lnTo>
                    <a:pt x="468" y="397"/>
                  </a:lnTo>
                  <a:lnTo>
                    <a:pt x="476" y="386"/>
                  </a:lnTo>
                  <a:lnTo>
                    <a:pt x="481" y="376"/>
                  </a:lnTo>
                  <a:lnTo>
                    <a:pt x="487" y="365"/>
                  </a:lnTo>
                  <a:lnTo>
                    <a:pt x="492" y="354"/>
                  </a:lnTo>
                  <a:lnTo>
                    <a:pt x="497" y="342"/>
                  </a:lnTo>
                  <a:lnTo>
                    <a:pt x="500" y="331"/>
                  </a:lnTo>
                  <a:lnTo>
                    <a:pt x="505" y="318"/>
                  </a:lnTo>
                  <a:lnTo>
                    <a:pt x="507" y="306"/>
                  </a:lnTo>
                  <a:lnTo>
                    <a:pt x="509" y="293"/>
                  </a:lnTo>
                  <a:lnTo>
                    <a:pt x="511" y="280"/>
                  </a:lnTo>
                  <a:lnTo>
                    <a:pt x="512" y="267"/>
                  </a:lnTo>
                  <a:lnTo>
                    <a:pt x="512" y="255"/>
                  </a:lnTo>
                  <a:lnTo>
                    <a:pt x="512" y="242"/>
                  </a:lnTo>
                  <a:lnTo>
                    <a:pt x="511" y="229"/>
                  </a:lnTo>
                  <a:lnTo>
                    <a:pt x="509" y="216"/>
                  </a:lnTo>
                  <a:lnTo>
                    <a:pt x="507" y="203"/>
                  </a:lnTo>
                  <a:lnTo>
                    <a:pt x="505" y="190"/>
                  </a:lnTo>
                  <a:lnTo>
                    <a:pt x="500" y="179"/>
                  </a:lnTo>
                  <a:lnTo>
                    <a:pt x="497" y="167"/>
                  </a:lnTo>
                  <a:lnTo>
                    <a:pt x="492" y="155"/>
                  </a:lnTo>
                  <a:lnTo>
                    <a:pt x="487" y="144"/>
                  </a:lnTo>
                  <a:lnTo>
                    <a:pt x="481" y="132"/>
                  </a:lnTo>
                  <a:lnTo>
                    <a:pt x="476" y="122"/>
                  </a:lnTo>
                  <a:lnTo>
                    <a:pt x="468" y="112"/>
                  </a:lnTo>
                  <a:lnTo>
                    <a:pt x="462" y="101"/>
                  </a:lnTo>
                  <a:lnTo>
                    <a:pt x="454" y="92"/>
                  </a:lnTo>
                  <a:lnTo>
                    <a:pt x="446" y="83"/>
                  </a:lnTo>
                  <a:lnTo>
                    <a:pt x="437" y="74"/>
                  </a:lnTo>
                  <a:lnTo>
                    <a:pt x="428" y="66"/>
                  </a:lnTo>
                  <a:lnTo>
                    <a:pt x="419" y="57"/>
                  </a:lnTo>
                  <a:lnTo>
                    <a:pt x="409" y="50"/>
                  </a:lnTo>
                  <a:lnTo>
                    <a:pt x="399" y="42"/>
                  </a:lnTo>
                  <a:lnTo>
                    <a:pt x="389" y="36"/>
                  </a:lnTo>
                  <a:lnTo>
                    <a:pt x="378" y="30"/>
                  </a:lnTo>
                  <a:lnTo>
                    <a:pt x="367" y="24"/>
                  </a:lnTo>
                  <a:lnTo>
                    <a:pt x="355" y="19"/>
                  </a:lnTo>
                  <a:lnTo>
                    <a:pt x="345" y="15"/>
                  </a:lnTo>
                  <a:lnTo>
                    <a:pt x="333" y="10"/>
                  </a:lnTo>
                  <a:lnTo>
                    <a:pt x="320" y="7"/>
                  </a:lnTo>
                  <a:lnTo>
                    <a:pt x="308" y="4"/>
                  </a:lnTo>
                  <a:lnTo>
                    <a:pt x="295" y="2"/>
                  </a:lnTo>
                  <a:lnTo>
                    <a:pt x="283" y="1"/>
                  </a:lnTo>
                  <a:lnTo>
                    <a:pt x="270"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3" name="Freeform 85">
              <a:extLst>
                <a:ext uri="{FF2B5EF4-FFF2-40B4-BE49-F238E27FC236}">
                  <a16:creationId xmlns:a16="http://schemas.microsoft.com/office/drawing/2014/main" id="{FA357FD9-82ED-44AD-8039-87A79D7A7529}"/>
                </a:ext>
              </a:extLst>
            </p:cNvPr>
            <p:cNvSpPr>
              <a:spLocks noEditPoints="1"/>
            </p:cNvSpPr>
            <p:nvPr/>
          </p:nvSpPr>
          <p:spPr bwMode="auto">
            <a:xfrm>
              <a:off x="1455738" y="2714625"/>
              <a:ext cx="238125" cy="246063"/>
            </a:xfrm>
            <a:custGeom>
              <a:avLst/>
              <a:gdLst>
                <a:gd name="T0" fmla="*/ 548 w 752"/>
                <a:gd name="T1" fmla="*/ 49 h 775"/>
                <a:gd name="T2" fmla="*/ 683 w 752"/>
                <a:gd name="T3" fmla="*/ 105 h 775"/>
                <a:gd name="T4" fmla="*/ 719 w 752"/>
                <a:gd name="T5" fmla="*/ 147 h 775"/>
                <a:gd name="T6" fmla="*/ 719 w 752"/>
                <a:gd name="T7" fmla="*/ 184 h 775"/>
                <a:gd name="T8" fmla="*/ 683 w 752"/>
                <a:gd name="T9" fmla="*/ 227 h 775"/>
                <a:gd name="T10" fmla="*/ 548 w 752"/>
                <a:gd name="T11" fmla="*/ 282 h 775"/>
                <a:gd name="T12" fmla="*/ 338 w 752"/>
                <a:gd name="T13" fmla="*/ 300 h 775"/>
                <a:gd name="T14" fmla="*/ 149 w 752"/>
                <a:gd name="T15" fmla="*/ 267 h 775"/>
                <a:gd name="T16" fmla="*/ 49 w 752"/>
                <a:gd name="T17" fmla="*/ 208 h 775"/>
                <a:gd name="T18" fmla="*/ 30 w 752"/>
                <a:gd name="T19" fmla="*/ 172 h 775"/>
                <a:gd name="T20" fmla="*/ 40 w 752"/>
                <a:gd name="T21" fmla="*/ 135 h 775"/>
                <a:gd name="T22" fmla="*/ 104 w 752"/>
                <a:gd name="T23" fmla="*/ 84 h 775"/>
                <a:gd name="T24" fmla="*/ 267 w 752"/>
                <a:gd name="T25" fmla="*/ 38 h 775"/>
                <a:gd name="T26" fmla="*/ 433 w 752"/>
                <a:gd name="T27" fmla="*/ 329 h 775"/>
                <a:gd name="T28" fmla="*/ 587 w 752"/>
                <a:gd name="T29" fmla="*/ 304 h 775"/>
                <a:gd name="T30" fmla="*/ 697 w 752"/>
                <a:gd name="T31" fmla="*/ 253 h 775"/>
                <a:gd name="T32" fmla="*/ 724 w 752"/>
                <a:gd name="T33" fmla="*/ 324 h 775"/>
                <a:gd name="T34" fmla="*/ 740 w 752"/>
                <a:gd name="T35" fmla="*/ 331 h 775"/>
                <a:gd name="T36" fmla="*/ 752 w 752"/>
                <a:gd name="T37" fmla="*/ 319 h 775"/>
                <a:gd name="T38" fmla="*/ 744 w 752"/>
                <a:gd name="T39" fmla="*/ 132 h 775"/>
                <a:gd name="T40" fmla="*/ 707 w 752"/>
                <a:gd name="T41" fmla="*/ 86 h 775"/>
                <a:gd name="T42" fmla="*/ 588 w 752"/>
                <a:gd name="T43" fmla="*/ 28 h 775"/>
                <a:gd name="T44" fmla="*/ 375 w 752"/>
                <a:gd name="T45" fmla="*/ 0 h 775"/>
                <a:gd name="T46" fmla="*/ 164 w 752"/>
                <a:gd name="T47" fmla="*/ 28 h 775"/>
                <a:gd name="T48" fmla="*/ 45 w 752"/>
                <a:gd name="T49" fmla="*/ 86 h 775"/>
                <a:gd name="T50" fmla="*/ 8 w 752"/>
                <a:gd name="T51" fmla="*/ 132 h 775"/>
                <a:gd name="T52" fmla="*/ 0 w 752"/>
                <a:gd name="T53" fmla="*/ 623 h 775"/>
                <a:gd name="T54" fmla="*/ 15 w 752"/>
                <a:gd name="T55" fmla="*/ 664 h 775"/>
                <a:gd name="T56" fmla="*/ 93 w 752"/>
                <a:gd name="T57" fmla="*/ 727 h 775"/>
                <a:gd name="T58" fmla="*/ 241 w 752"/>
                <a:gd name="T59" fmla="*/ 771 h 775"/>
                <a:gd name="T60" fmla="*/ 285 w 752"/>
                <a:gd name="T61" fmla="*/ 768 h 775"/>
                <a:gd name="T62" fmla="*/ 282 w 752"/>
                <a:gd name="T63" fmla="*/ 749 h 775"/>
                <a:gd name="T64" fmla="*/ 200 w 752"/>
                <a:gd name="T65" fmla="*/ 732 h 775"/>
                <a:gd name="T66" fmla="*/ 84 w 752"/>
                <a:gd name="T67" fmla="*/ 687 h 775"/>
                <a:gd name="T68" fmla="*/ 32 w 752"/>
                <a:gd name="T69" fmla="*/ 633 h 775"/>
                <a:gd name="T70" fmla="*/ 47 w 752"/>
                <a:gd name="T71" fmla="*/ 548 h 775"/>
                <a:gd name="T72" fmla="*/ 118 w 752"/>
                <a:gd name="T73" fmla="*/ 588 h 775"/>
                <a:gd name="T74" fmla="*/ 255 w 752"/>
                <a:gd name="T75" fmla="*/ 623 h 775"/>
                <a:gd name="T76" fmla="*/ 272 w 752"/>
                <a:gd name="T77" fmla="*/ 610 h 775"/>
                <a:gd name="T78" fmla="*/ 265 w 752"/>
                <a:gd name="T79" fmla="*/ 595 h 775"/>
                <a:gd name="T80" fmla="*/ 166 w 752"/>
                <a:gd name="T81" fmla="*/ 573 h 775"/>
                <a:gd name="T82" fmla="*/ 67 w 752"/>
                <a:gd name="T83" fmla="*/ 526 h 775"/>
                <a:gd name="T84" fmla="*/ 30 w 752"/>
                <a:gd name="T85" fmla="*/ 467 h 775"/>
                <a:gd name="T86" fmla="*/ 88 w 752"/>
                <a:gd name="T87" fmla="*/ 424 h 775"/>
                <a:gd name="T88" fmla="*/ 191 w 752"/>
                <a:gd name="T89" fmla="*/ 460 h 775"/>
                <a:gd name="T90" fmla="*/ 300 w 752"/>
                <a:gd name="T91" fmla="*/ 478 h 775"/>
                <a:gd name="T92" fmla="*/ 316 w 752"/>
                <a:gd name="T93" fmla="*/ 461 h 775"/>
                <a:gd name="T94" fmla="*/ 306 w 752"/>
                <a:gd name="T95" fmla="*/ 448 h 775"/>
                <a:gd name="T96" fmla="*/ 171 w 752"/>
                <a:gd name="T97" fmla="*/ 424 h 775"/>
                <a:gd name="T98" fmla="*/ 62 w 752"/>
                <a:gd name="T99" fmla="*/ 371 h 775"/>
                <a:gd name="T100" fmla="*/ 30 w 752"/>
                <a:gd name="T101" fmla="*/ 322 h 775"/>
                <a:gd name="T102" fmla="*/ 86 w 752"/>
                <a:gd name="T103" fmla="*/ 272 h 775"/>
                <a:gd name="T104" fmla="*/ 212 w 752"/>
                <a:gd name="T105" fmla="*/ 316 h 775"/>
                <a:gd name="T106" fmla="*/ 375 w 752"/>
                <a:gd name="T107" fmla="*/ 33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2" h="775">
                  <a:moveTo>
                    <a:pt x="375" y="30"/>
                  </a:moveTo>
                  <a:lnTo>
                    <a:pt x="414" y="32"/>
                  </a:lnTo>
                  <a:lnTo>
                    <a:pt x="451" y="34"/>
                  </a:lnTo>
                  <a:lnTo>
                    <a:pt x="485" y="38"/>
                  </a:lnTo>
                  <a:lnTo>
                    <a:pt x="517" y="42"/>
                  </a:lnTo>
                  <a:lnTo>
                    <a:pt x="548" y="49"/>
                  </a:lnTo>
                  <a:lnTo>
                    <a:pt x="576" y="56"/>
                  </a:lnTo>
                  <a:lnTo>
                    <a:pt x="603" y="65"/>
                  </a:lnTo>
                  <a:lnTo>
                    <a:pt x="626" y="73"/>
                  </a:lnTo>
                  <a:lnTo>
                    <a:pt x="648" y="84"/>
                  </a:lnTo>
                  <a:lnTo>
                    <a:pt x="667" y="95"/>
                  </a:lnTo>
                  <a:lnTo>
                    <a:pt x="683" y="105"/>
                  </a:lnTo>
                  <a:lnTo>
                    <a:pt x="697" y="117"/>
                  </a:lnTo>
                  <a:lnTo>
                    <a:pt x="703" y="123"/>
                  </a:lnTo>
                  <a:lnTo>
                    <a:pt x="708" y="129"/>
                  </a:lnTo>
                  <a:lnTo>
                    <a:pt x="712" y="135"/>
                  </a:lnTo>
                  <a:lnTo>
                    <a:pt x="715" y="141"/>
                  </a:lnTo>
                  <a:lnTo>
                    <a:pt x="719" y="147"/>
                  </a:lnTo>
                  <a:lnTo>
                    <a:pt x="720" y="154"/>
                  </a:lnTo>
                  <a:lnTo>
                    <a:pt x="722" y="160"/>
                  </a:lnTo>
                  <a:lnTo>
                    <a:pt x="722" y="165"/>
                  </a:lnTo>
                  <a:lnTo>
                    <a:pt x="722" y="172"/>
                  </a:lnTo>
                  <a:lnTo>
                    <a:pt x="720" y="178"/>
                  </a:lnTo>
                  <a:lnTo>
                    <a:pt x="719" y="184"/>
                  </a:lnTo>
                  <a:lnTo>
                    <a:pt x="715" y="190"/>
                  </a:lnTo>
                  <a:lnTo>
                    <a:pt x="712" y="197"/>
                  </a:lnTo>
                  <a:lnTo>
                    <a:pt x="708" y="203"/>
                  </a:lnTo>
                  <a:lnTo>
                    <a:pt x="703" y="208"/>
                  </a:lnTo>
                  <a:lnTo>
                    <a:pt x="697" y="215"/>
                  </a:lnTo>
                  <a:lnTo>
                    <a:pt x="683" y="227"/>
                  </a:lnTo>
                  <a:lnTo>
                    <a:pt x="667" y="237"/>
                  </a:lnTo>
                  <a:lnTo>
                    <a:pt x="648" y="248"/>
                  </a:lnTo>
                  <a:lnTo>
                    <a:pt x="626" y="258"/>
                  </a:lnTo>
                  <a:lnTo>
                    <a:pt x="603" y="267"/>
                  </a:lnTo>
                  <a:lnTo>
                    <a:pt x="576" y="276"/>
                  </a:lnTo>
                  <a:lnTo>
                    <a:pt x="548" y="282"/>
                  </a:lnTo>
                  <a:lnTo>
                    <a:pt x="517" y="289"/>
                  </a:lnTo>
                  <a:lnTo>
                    <a:pt x="485" y="294"/>
                  </a:lnTo>
                  <a:lnTo>
                    <a:pt x="451" y="298"/>
                  </a:lnTo>
                  <a:lnTo>
                    <a:pt x="414" y="300"/>
                  </a:lnTo>
                  <a:lnTo>
                    <a:pt x="375" y="302"/>
                  </a:lnTo>
                  <a:lnTo>
                    <a:pt x="338" y="300"/>
                  </a:lnTo>
                  <a:lnTo>
                    <a:pt x="301" y="298"/>
                  </a:lnTo>
                  <a:lnTo>
                    <a:pt x="267" y="294"/>
                  </a:lnTo>
                  <a:lnTo>
                    <a:pt x="235" y="289"/>
                  </a:lnTo>
                  <a:lnTo>
                    <a:pt x="204" y="282"/>
                  </a:lnTo>
                  <a:lnTo>
                    <a:pt x="176" y="276"/>
                  </a:lnTo>
                  <a:lnTo>
                    <a:pt x="149" y="267"/>
                  </a:lnTo>
                  <a:lnTo>
                    <a:pt x="126" y="258"/>
                  </a:lnTo>
                  <a:lnTo>
                    <a:pt x="104" y="248"/>
                  </a:lnTo>
                  <a:lnTo>
                    <a:pt x="85" y="237"/>
                  </a:lnTo>
                  <a:lnTo>
                    <a:pt x="69" y="227"/>
                  </a:lnTo>
                  <a:lnTo>
                    <a:pt x="55" y="215"/>
                  </a:lnTo>
                  <a:lnTo>
                    <a:pt x="49" y="208"/>
                  </a:lnTo>
                  <a:lnTo>
                    <a:pt x="44" y="203"/>
                  </a:lnTo>
                  <a:lnTo>
                    <a:pt x="40" y="197"/>
                  </a:lnTo>
                  <a:lnTo>
                    <a:pt x="37" y="190"/>
                  </a:lnTo>
                  <a:lnTo>
                    <a:pt x="33" y="184"/>
                  </a:lnTo>
                  <a:lnTo>
                    <a:pt x="31" y="178"/>
                  </a:lnTo>
                  <a:lnTo>
                    <a:pt x="30" y="172"/>
                  </a:lnTo>
                  <a:lnTo>
                    <a:pt x="30" y="165"/>
                  </a:lnTo>
                  <a:lnTo>
                    <a:pt x="30" y="160"/>
                  </a:lnTo>
                  <a:lnTo>
                    <a:pt x="31" y="154"/>
                  </a:lnTo>
                  <a:lnTo>
                    <a:pt x="33" y="147"/>
                  </a:lnTo>
                  <a:lnTo>
                    <a:pt x="37" y="141"/>
                  </a:lnTo>
                  <a:lnTo>
                    <a:pt x="40" y="135"/>
                  </a:lnTo>
                  <a:lnTo>
                    <a:pt x="44" y="129"/>
                  </a:lnTo>
                  <a:lnTo>
                    <a:pt x="49" y="123"/>
                  </a:lnTo>
                  <a:lnTo>
                    <a:pt x="55" y="117"/>
                  </a:lnTo>
                  <a:lnTo>
                    <a:pt x="69" y="105"/>
                  </a:lnTo>
                  <a:lnTo>
                    <a:pt x="85" y="95"/>
                  </a:lnTo>
                  <a:lnTo>
                    <a:pt x="104" y="84"/>
                  </a:lnTo>
                  <a:lnTo>
                    <a:pt x="126" y="73"/>
                  </a:lnTo>
                  <a:lnTo>
                    <a:pt x="149" y="65"/>
                  </a:lnTo>
                  <a:lnTo>
                    <a:pt x="176" y="56"/>
                  </a:lnTo>
                  <a:lnTo>
                    <a:pt x="204" y="49"/>
                  </a:lnTo>
                  <a:lnTo>
                    <a:pt x="235" y="42"/>
                  </a:lnTo>
                  <a:lnTo>
                    <a:pt x="267" y="38"/>
                  </a:lnTo>
                  <a:lnTo>
                    <a:pt x="301" y="34"/>
                  </a:lnTo>
                  <a:lnTo>
                    <a:pt x="338" y="32"/>
                  </a:lnTo>
                  <a:lnTo>
                    <a:pt x="375" y="30"/>
                  </a:lnTo>
                  <a:close/>
                  <a:moveTo>
                    <a:pt x="375" y="332"/>
                  </a:moveTo>
                  <a:lnTo>
                    <a:pt x="405" y="331"/>
                  </a:lnTo>
                  <a:lnTo>
                    <a:pt x="433" y="329"/>
                  </a:lnTo>
                  <a:lnTo>
                    <a:pt x="461" y="327"/>
                  </a:lnTo>
                  <a:lnTo>
                    <a:pt x="488" y="324"/>
                  </a:lnTo>
                  <a:lnTo>
                    <a:pt x="515" y="320"/>
                  </a:lnTo>
                  <a:lnTo>
                    <a:pt x="540" y="316"/>
                  </a:lnTo>
                  <a:lnTo>
                    <a:pt x="563" y="310"/>
                  </a:lnTo>
                  <a:lnTo>
                    <a:pt x="587" y="304"/>
                  </a:lnTo>
                  <a:lnTo>
                    <a:pt x="608" y="296"/>
                  </a:lnTo>
                  <a:lnTo>
                    <a:pt x="629" y="289"/>
                  </a:lnTo>
                  <a:lnTo>
                    <a:pt x="648" y="281"/>
                  </a:lnTo>
                  <a:lnTo>
                    <a:pt x="666" y="272"/>
                  </a:lnTo>
                  <a:lnTo>
                    <a:pt x="682" y="263"/>
                  </a:lnTo>
                  <a:lnTo>
                    <a:pt x="697" y="253"/>
                  </a:lnTo>
                  <a:lnTo>
                    <a:pt x="710" y="243"/>
                  </a:lnTo>
                  <a:lnTo>
                    <a:pt x="722" y="232"/>
                  </a:lnTo>
                  <a:lnTo>
                    <a:pt x="722" y="317"/>
                  </a:lnTo>
                  <a:lnTo>
                    <a:pt x="722" y="319"/>
                  </a:lnTo>
                  <a:lnTo>
                    <a:pt x="723" y="322"/>
                  </a:lnTo>
                  <a:lnTo>
                    <a:pt x="724" y="324"/>
                  </a:lnTo>
                  <a:lnTo>
                    <a:pt x="726" y="326"/>
                  </a:lnTo>
                  <a:lnTo>
                    <a:pt x="728" y="328"/>
                  </a:lnTo>
                  <a:lnTo>
                    <a:pt x="730" y="329"/>
                  </a:lnTo>
                  <a:lnTo>
                    <a:pt x="734" y="331"/>
                  </a:lnTo>
                  <a:lnTo>
                    <a:pt x="737" y="332"/>
                  </a:lnTo>
                  <a:lnTo>
                    <a:pt x="740" y="331"/>
                  </a:lnTo>
                  <a:lnTo>
                    <a:pt x="742" y="329"/>
                  </a:lnTo>
                  <a:lnTo>
                    <a:pt x="745" y="328"/>
                  </a:lnTo>
                  <a:lnTo>
                    <a:pt x="748" y="326"/>
                  </a:lnTo>
                  <a:lnTo>
                    <a:pt x="750" y="324"/>
                  </a:lnTo>
                  <a:lnTo>
                    <a:pt x="751" y="322"/>
                  </a:lnTo>
                  <a:lnTo>
                    <a:pt x="752" y="319"/>
                  </a:lnTo>
                  <a:lnTo>
                    <a:pt x="752" y="317"/>
                  </a:lnTo>
                  <a:lnTo>
                    <a:pt x="752" y="165"/>
                  </a:lnTo>
                  <a:lnTo>
                    <a:pt x="751" y="157"/>
                  </a:lnTo>
                  <a:lnTo>
                    <a:pt x="750" y="148"/>
                  </a:lnTo>
                  <a:lnTo>
                    <a:pt x="748" y="140"/>
                  </a:lnTo>
                  <a:lnTo>
                    <a:pt x="744" y="132"/>
                  </a:lnTo>
                  <a:lnTo>
                    <a:pt x="740" y="124"/>
                  </a:lnTo>
                  <a:lnTo>
                    <a:pt x="735" y="116"/>
                  </a:lnTo>
                  <a:lnTo>
                    <a:pt x="729" y="109"/>
                  </a:lnTo>
                  <a:lnTo>
                    <a:pt x="723" y="101"/>
                  </a:lnTo>
                  <a:lnTo>
                    <a:pt x="715" y="94"/>
                  </a:lnTo>
                  <a:lnTo>
                    <a:pt x="707" y="86"/>
                  </a:lnTo>
                  <a:lnTo>
                    <a:pt x="698" y="80"/>
                  </a:lnTo>
                  <a:lnTo>
                    <a:pt x="689" y="72"/>
                  </a:lnTo>
                  <a:lnTo>
                    <a:pt x="667" y="60"/>
                  </a:lnTo>
                  <a:lnTo>
                    <a:pt x="642" y="49"/>
                  </a:lnTo>
                  <a:lnTo>
                    <a:pt x="617" y="38"/>
                  </a:lnTo>
                  <a:lnTo>
                    <a:pt x="588" y="28"/>
                  </a:lnTo>
                  <a:lnTo>
                    <a:pt x="557" y="20"/>
                  </a:lnTo>
                  <a:lnTo>
                    <a:pt x="523" y="13"/>
                  </a:lnTo>
                  <a:lnTo>
                    <a:pt x="489" y="8"/>
                  </a:lnTo>
                  <a:lnTo>
                    <a:pt x="453" y="4"/>
                  </a:lnTo>
                  <a:lnTo>
                    <a:pt x="415" y="2"/>
                  </a:lnTo>
                  <a:lnTo>
                    <a:pt x="375" y="0"/>
                  </a:lnTo>
                  <a:lnTo>
                    <a:pt x="337" y="2"/>
                  </a:lnTo>
                  <a:lnTo>
                    <a:pt x="299" y="4"/>
                  </a:lnTo>
                  <a:lnTo>
                    <a:pt x="263" y="8"/>
                  </a:lnTo>
                  <a:lnTo>
                    <a:pt x="228" y="13"/>
                  </a:lnTo>
                  <a:lnTo>
                    <a:pt x="195" y="20"/>
                  </a:lnTo>
                  <a:lnTo>
                    <a:pt x="164" y="28"/>
                  </a:lnTo>
                  <a:lnTo>
                    <a:pt x="135" y="38"/>
                  </a:lnTo>
                  <a:lnTo>
                    <a:pt x="108" y="49"/>
                  </a:lnTo>
                  <a:lnTo>
                    <a:pt x="85" y="60"/>
                  </a:lnTo>
                  <a:lnTo>
                    <a:pt x="63" y="72"/>
                  </a:lnTo>
                  <a:lnTo>
                    <a:pt x="54" y="80"/>
                  </a:lnTo>
                  <a:lnTo>
                    <a:pt x="45" y="86"/>
                  </a:lnTo>
                  <a:lnTo>
                    <a:pt x="37" y="94"/>
                  </a:lnTo>
                  <a:lnTo>
                    <a:pt x="29" y="101"/>
                  </a:lnTo>
                  <a:lnTo>
                    <a:pt x="23" y="109"/>
                  </a:lnTo>
                  <a:lnTo>
                    <a:pt x="16" y="116"/>
                  </a:lnTo>
                  <a:lnTo>
                    <a:pt x="12" y="124"/>
                  </a:lnTo>
                  <a:lnTo>
                    <a:pt x="8" y="132"/>
                  </a:lnTo>
                  <a:lnTo>
                    <a:pt x="4" y="141"/>
                  </a:lnTo>
                  <a:lnTo>
                    <a:pt x="2" y="148"/>
                  </a:lnTo>
                  <a:lnTo>
                    <a:pt x="0" y="157"/>
                  </a:lnTo>
                  <a:lnTo>
                    <a:pt x="0" y="165"/>
                  </a:lnTo>
                  <a:lnTo>
                    <a:pt x="0" y="617"/>
                  </a:lnTo>
                  <a:lnTo>
                    <a:pt x="0" y="623"/>
                  </a:lnTo>
                  <a:lnTo>
                    <a:pt x="1" y="631"/>
                  </a:lnTo>
                  <a:lnTo>
                    <a:pt x="2" y="637"/>
                  </a:lnTo>
                  <a:lnTo>
                    <a:pt x="4" y="644"/>
                  </a:lnTo>
                  <a:lnTo>
                    <a:pt x="8" y="651"/>
                  </a:lnTo>
                  <a:lnTo>
                    <a:pt x="11" y="657"/>
                  </a:lnTo>
                  <a:lnTo>
                    <a:pt x="15" y="664"/>
                  </a:lnTo>
                  <a:lnTo>
                    <a:pt x="19" y="670"/>
                  </a:lnTo>
                  <a:lnTo>
                    <a:pt x="30" y="682"/>
                  </a:lnTo>
                  <a:lnTo>
                    <a:pt x="43" y="695"/>
                  </a:lnTo>
                  <a:lnTo>
                    <a:pt x="58" y="706"/>
                  </a:lnTo>
                  <a:lnTo>
                    <a:pt x="74" y="716"/>
                  </a:lnTo>
                  <a:lnTo>
                    <a:pt x="93" y="727"/>
                  </a:lnTo>
                  <a:lnTo>
                    <a:pt x="114" y="736"/>
                  </a:lnTo>
                  <a:lnTo>
                    <a:pt x="136" y="745"/>
                  </a:lnTo>
                  <a:lnTo>
                    <a:pt x="160" y="753"/>
                  </a:lnTo>
                  <a:lnTo>
                    <a:pt x="186" y="760"/>
                  </a:lnTo>
                  <a:lnTo>
                    <a:pt x="212" y="766"/>
                  </a:lnTo>
                  <a:lnTo>
                    <a:pt x="241" y="771"/>
                  </a:lnTo>
                  <a:lnTo>
                    <a:pt x="270" y="775"/>
                  </a:lnTo>
                  <a:lnTo>
                    <a:pt x="271" y="775"/>
                  </a:lnTo>
                  <a:lnTo>
                    <a:pt x="272" y="775"/>
                  </a:lnTo>
                  <a:lnTo>
                    <a:pt x="278" y="774"/>
                  </a:lnTo>
                  <a:lnTo>
                    <a:pt x="282" y="772"/>
                  </a:lnTo>
                  <a:lnTo>
                    <a:pt x="285" y="768"/>
                  </a:lnTo>
                  <a:lnTo>
                    <a:pt x="287" y="762"/>
                  </a:lnTo>
                  <a:lnTo>
                    <a:pt x="287" y="759"/>
                  </a:lnTo>
                  <a:lnTo>
                    <a:pt x="286" y="756"/>
                  </a:lnTo>
                  <a:lnTo>
                    <a:pt x="285" y="754"/>
                  </a:lnTo>
                  <a:lnTo>
                    <a:pt x="284" y="752"/>
                  </a:lnTo>
                  <a:lnTo>
                    <a:pt x="282" y="749"/>
                  </a:lnTo>
                  <a:lnTo>
                    <a:pt x="280" y="747"/>
                  </a:lnTo>
                  <a:lnTo>
                    <a:pt x="278" y="746"/>
                  </a:lnTo>
                  <a:lnTo>
                    <a:pt x="275" y="745"/>
                  </a:lnTo>
                  <a:lnTo>
                    <a:pt x="248" y="742"/>
                  </a:lnTo>
                  <a:lnTo>
                    <a:pt x="223" y="738"/>
                  </a:lnTo>
                  <a:lnTo>
                    <a:pt x="200" y="732"/>
                  </a:lnTo>
                  <a:lnTo>
                    <a:pt x="176" y="726"/>
                  </a:lnTo>
                  <a:lnTo>
                    <a:pt x="154" y="719"/>
                  </a:lnTo>
                  <a:lnTo>
                    <a:pt x="135" y="712"/>
                  </a:lnTo>
                  <a:lnTo>
                    <a:pt x="116" y="704"/>
                  </a:lnTo>
                  <a:lnTo>
                    <a:pt x="99" y="696"/>
                  </a:lnTo>
                  <a:lnTo>
                    <a:pt x="84" y="687"/>
                  </a:lnTo>
                  <a:lnTo>
                    <a:pt x="70" y="678"/>
                  </a:lnTo>
                  <a:lnTo>
                    <a:pt x="58" y="668"/>
                  </a:lnTo>
                  <a:lnTo>
                    <a:pt x="48" y="658"/>
                  </a:lnTo>
                  <a:lnTo>
                    <a:pt x="41" y="648"/>
                  </a:lnTo>
                  <a:lnTo>
                    <a:pt x="34" y="638"/>
                  </a:lnTo>
                  <a:lnTo>
                    <a:pt x="32" y="633"/>
                  </a:lnTo>
                  <a:lnTo>
                    <a:pt x="31" y="627"/>
                  </a:lnTo>
                  <a:lnTo>
                    <a:pt x="30" y="622"/>
                  </a:lnTo>
                  <a:lnTo>
                    <a:pt x="30" y="617"/>
                  </a:lnTo>
                  <a:lnTo>
                    <a:pt x="30" y="532"/>
                  </a:lnTo>
                  <a:lnTo>
                    <a:pt x="38" y="541"/>
                  </a:lnTo>
                  <a:lnTo>
                    <a:pt x="47" y="548"/>
                  </a:lnTo>
                  <a:lnTo>
                    <a:pt x="57" y="556"/>
                  </a:lnTo>
                  <a:lnTo>
                    <a:pt x="68" y="562"/>
                  </a:lnTo>
                  <a:lnTo>
                    <a:pt x="79" y="569"/>
                  </a:lnTo>
                  <a:lnTo>
                    <a:pt x="91" y="576"/>
                  </a:lnTo>
                  <a:lnTo>
                    <a:pt x="104" y="582"/>
                  </a:lnTo>
                  <a:lnTo>
                    <a:pt x="118" y="588"/>
                  </a:lnTo>
                  <a:lnTo>
                    <a:pt x="133" y="593"/>
                  </a:lnTo>
                  <a:lnTo>
                    <a:pt x="148" y="598"/>
                  </a:lnTo>
                  <a:lnTo>
                    <a:pt x="164" y="604"/>
                  </a:lnTo>
                  <a:lnTo>
                    <a:pt x="181" y="608"/>
                  </a:lnTo>
                  <a:lnTo>
                    <a:pt x="217" y="617"/>
                  </a:lnTo>
                  <a:lnTo>
                    <a:pt x="255" y="623"/>
                  </a:lnTo>
                  <a:lnTo>
                    <a:pt x="256" y="623"/>
                  </a:lnTo>
                  <a:lnTo>
                    <a:pt x="257" y="623"/>
                  </a:lnTo>
                  <a:lnTo>
                    <a:pt x="263" y="622"/>
                  </a:lnTo>
                  <a:lnTo>
                    <a:pt x="267" y="620"/>
                  </a:lnTo>
                  <a:lnTo>
                    <a:pt x="270" y="616"/>
                  </a:lnTo>
                  <a:lnTo>
                    <a:pt x="272" y="610"/>
                  </a:lnTo>
                  <a:lnTo>
                    <a:pt x="272" y="607"/>
                  </a:lnTo>
                  <a:lnTo>
                    <a:pt x="271" y="604"/>
                  </a:lnTo>
                  <a:lnTo>
                    <a:pt x="271" y="602"/>
                  </a:lnTo>
                  <a:lnTo>
                    <a:pt x="269" y="599"/>
                  </a:lnTo>
                  <a:lnTo>
                    <a:pt x="267" y="597"/>
                  </a:lnTo>
                  <a:lnTo>
                    <a:pt x="265" y="595"/>
                  </a:lnTo>
                  <a:lnTo>
                    <a:pt x="263" y="594"/>
                  </a:lnTo>
                  <a:lnTo>
                    <a:pt x="260" y="593"/>
                  </a:lnTo>
                  <a:lnTo>
                    <a:pt x="235" y="589"/>
                  </a:lnTo>
                  <a:lnTo>
                    <a:pt x="211" y="584"/>
                  </a:lnTo>
                  <a:lnTo>
                    <a:pt x="188" y="579"/>
                  </a:lnTo>
                  <a:lnTo>
                    <a:pt x="166" y="573"/>
                  </a:lnTo>
                  <a:lnTo>
                    <a:pt x="146" y="566"/>
                  </a:lnTo>
                  <a:lnTo>
                    <a:pt x="128" y="559"/>
                  </a:lnTo>
                  <a:lnTo>
                    <a:pt x="111" y="551"/>
                  </a:lnTo>
                  <a:lnTo>
                    <a:pt x="94" y="543"/>
                  </a:lnTo>
                  <a:lnTo>
                    <a:pt x="79" y="534"/>
                  </a:lnTo>
                  <a:lnTo>
                    <a:pt x="67" y="526"/>
                  </a:lnTo>
                  <a:lnTo>
                    <a:pt x="56" y="516"/>
                  </a:lnTo>
                  <a:lnTo>
                    <a:pt x="47" y="506"/>
                  </a:lnTo>
                  <a:lnTo>
                    <a:pt x="40" y="497"/>
                  </a:lnTo>
                  <a:lnTo>
                    <a:pt x="34" y="487"/>
                  </a:lnTo>
                  <a:lnTo>
                    <a:pt x="31" y="476"/>
                  </a:lnTo>
                  <a:lnTo>
                    <a:pt x="30" y="467"/>
                  </a:lnTo>
                  <a:lnTo>
                    <a:pt x="30" y="382"/>
                  </a:lnTo>
                  <a:lnTo>
                    <a:pt x="40" y="391"/>
                  </a:lnTo>
                  <a:lnTo>
                    <a:pt x="49" y="399"/>
                  </a:lnTo>
                  <a:lnTo>
                    <a:pt x="61" y="408"/>
                  </a:lnTo>
                  <a:lnTo>
                    <a:pt x="74" y="415"/>
                  </a:lnTo>
                  <a:lnTo>
                    <a:pt x="88" y="424"/>
                  </a:lnTo>
                  <a:lnTo>
                    <a:pt x="103" y="430"/>
                  </a:lnTo>
                  <a:lnTo>
                    <a:pt x="119" y="438"/>
                  </a:lnTo>
                  <a:lnTo>
                    <a:pt x="135" y="444"/>
                  </a:lnTo>
                  <a:lnTo>
                    <a:pt x="153" y="451"/>
                  </a:lnTo>
                  <a:lnTo>
                    <a:pt x="172" y="456"/>
                  </a:lnTo>
                  <a:lnTo>
                    <a:pt x="191" y="460"/>
                  </a:lnTo>
                  <a:lnTo>
                    <a:pt x="211" y="466"/>
                  </a:lnTo>
                  <a:lnTo>
                    <a:pt x="233" y="469"/>
                  </a:lnTo>
                  <a:lnTo>
                    <a:pt x="254" y="473"/>
                  </a:lnTo>
                  <a:lnTo>
                    <a:pt x="277" y="475"/>
                  </a:lnTo>
                  <a:lnTo>
                    <a:pt x="300" y="478"/>
                  </a:lnTo>
                  <a:lnTo>
                    <a:pt x="300" y="478"/>
                  </a:lnTo>
                  <a:lnTo>
                    <a:pt x="301" y="478"/>
                  </a:lnTo>
                  <a:lnTo>
                    <a:pt x="307" y="477"/>
                  </a:lnTo>
                  <a:lnTo>
                    <a:pt x="311" y="474"/>
                  </a:lnTo>
                  <a:lnTo>
                    <a:pt x="314" y="470"/>
                  </a:lnTo>
                  <a:lnTo>
                    <a:pt x="316" y="464"/>
                  </a:lnTo>
                  <a:lnTo>
                    <a:pt x="316" y="461"/>
                  </a:lnTo>
                  <a:lnTo>
                    <a:pt x="315" y="458"/>
                  </a:lnTo>
                  <a:lnTo>
                    <a:pt x="314" y="456"/>
                  </a:lnTo>
                  <a:lnTo>
                    <a:pt x="313" y="454"/>
                  </a:lnTo>
                  <a:lnTo>
                    <a:pt x="311" y="452"/>
                  </a:lnTo>
                  <a:lnTo>
                    <a:pt x="308" y="449"/>
                  </a:lnTo>
                  <a:lnTo>
                    <a:pt x="306" y="448"/>
                  </a:lnTo>
                  <a:lnTo>
                    <a:pt x="302" y="448"/>
                  </a:lnTo>
                  <a:lnTo>
                    <a:pt x="274" y="445"/>
                  </a:lnTo>
                  <a:lnTo>
                    <a:pt x="247" y="441"/>
                  </a:lnTo>
                  <a:lnTo>
                    <a:pt x="220" y="437"/>
                  </a:lnTo>
                  <a:lnTo>
                    <a:pt x="194" y="430"/>
                  </a:lnTo>
                  <a:lnTo>
                    <a:pt x="171" y="424"/>
                  </a:lnTo>
                  <a:lnTo>
                    <a:pt x="148" y="416"/>
                  </a:lnTo>
                  <a:lnTo>
                    <a:pt x="128" y="409"/>
                  </a:lnTo>
                  <a:lnTo>
                    <a:pt x="108" y="400"/>
                  </a:lnTo>
                  <a:lnTo>
                    <a:pt x="90" y="391"/>
                  </a:lnTo>
                  <a:lnTo>
                    <a:pt x="75" y="381"/>
                  </a:lnTo>
                  <a:lnTo>
                    <a:pt x="62" y="371"/>
                  </a:lnTo>
                  <a:lnTo>
                    <a:pt x="50" y="361"/>
                  </a:lnTo>
                  <a:lnTo>
                    <a:pt x="42" y="350"/>
                  </a:lnTo>
                  <a:lnTo>
                    <a:pt x="35" y="339"/>
                  </a:lnTo>
                  <a:lnTo>
                    <a:pt x="33" y="334"/>
                  </a:lnTo>
                  <a:lnTo>
                    <a:pt x="31" y="327"/>
                  </a:lnTo>
                  <a:lnTo>
                    <a:pt x="30" y="322"/>
                  </a:lnTo>
                  <a:lnTo>
                    <a:pt x="30" y="317"/>
                  </a:lnTo>
                  <a:lnTo>
                    <a:pt x="30" y="232"/>
                  </a:lnTo>
                  <a:lnTo>
                    <a:pt x="42" y="243"/>
                  </a:lnTo>
                  <a:lnTo>
                    <a:pt x="55" y="252"/>
                  </a:lnTo>
                  <a:lnTo>
                    <a:pt x="70" y="263"/>
                  </a:lnTo>
                  <a:lnTo>
                    <a:pt x="86" y="272"/>
                  </a:lnTo>
                  <a:lnTo>
                    <a:pt x="104" y="281"/>
                  </a:lnTo>
                  <a:lnTo>
                    <a:pt x="123" y="289"/>
                  </a:lnTo>
                  <a:lnTo>
                    <a:pt x="144" y="296"/>
                  </a:lnTo>
                  <a:lnTo>
                    <a:pt x="165" y="304"/>
                  </a:lnTo>
                  <a:lnTo>
                    <a:pt x="188" y="310"/>
                  </a:lnTo>
                  <a:lnTo>
                    <a:pt x="212" y="316"/>
                  </a:lnTo>
                  <a:lnTo>
                    <a:pt x="237" y="320"/>
                  </a:lnTo>
                  <a:lnTo>
                    <a:pt x="264" y="324"/>
                  </a:lnTo>
                  <a:lnTo>
                    <a:pt x="291" y="327"/>
                  </a:lnTo>
                  <a:lnTo>
                    <a:pt x="319" y="329"/>
                  </a:lnTo>
                  <a:lnTo>
                    <a:pt x="346" y="331"/>
                  </a:lnTo>
                  <a:lnTo>
                    <a:pt x="375"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grpSp>
        <p:nvGrpSpPr>
          <p:cNvPr id="808" name="Group 35">
            <a:extLst>
              <a:ext uri="{FF2B5EF4-FFF2-40B4-BE49-F238E27FC236}">
                <a16:creationId xmlns:a16="http://schemas.microsoft.com/office/drawing/2014/main" id="{849DA77D-D415-4992-B249-945974A295D0}"/>
              </a:ext>
            </a:extLst>
          </p:cNvPr>
          <p:cNvGrpSpPr>
            <a:grpSpLocks noChangeAspect="1"/>
          </p:cNvGrpSpPr>
          <p:nvPr/>
        </p:nvGrpSpPr>
        <p:grpSpPr>
          <a:xfrm>
            <a:off x="4049239" y="3801969"/>
            <a:ext cx="284963" cy="285619"/>
            <a:chOff x="885825" y="4441826"/>
            <a:chExt cx="690563" cy="692150"/>
          </a:xfrm>
          <a:solidFill>
            <a:schemeClr val="bg2"/>
          </a:solidFill>
          <a:effectLst/>
        </p:grpSpPr>
        <p:sp>
          <p:nvSpPr>
            <p:cNvPr id="809" name="Freeform 207">
              <a:extLst>
                <a:ext uri="{FF2B5EF4-FFF2-40B4-BE49-F238E27FC236}">
                  <a16:creationId xmlns:a16="http://schemas.microsoft.com/office/drawing/2014/main" id="{9D1C0020-40B1-4556-887D-2D6A5ADA97F1}"/>
                </a:ext>
              </a:extLst>
            </p:cNvPr>
            <p:cNvSpPr>
              <a:spLocks noEditPoints="1"/>
            </p:cNvSpPr>
            <p:nvPr/>
          </p:nvSpPr>
          <p:spPr bwMode="auto">
            <a:xfrm>
              <a:off x="885825" y="4441826"/>
              <a:ext cx="690563" cy="692150"/>
            </a:xfrm>
            <a:custGeom>
              <a:avLst/>
              <a:gdLst>
                <a:gd name="T0" fmla="*/ 533 w 1306"/>
                <a:gd name="T1" fmla="*/ 65 h 1306"/>
                <a:gd name="T2" fmla="*/ 393 w 1306"/>
                <a:gd name="T3" fmla="*/ 111 h 1306"/>
                <a:gd name="T4" fmla="*/ 271 w 1306"/>
                <a:gd name="T5" fmla="*/ 190 h 1306"/>
                <a:gd name="T6" fmla="*/ 172 w 1306"/>
                <a:gd name="T7" fmla="*/ 294 h 1306"/>
                <a:gd name="T8" fmla="*/ 100 w 1306"/>
                <a:gd name="T9" fmla="*/ 419 h 1306"/>
                <a:gd name="T10" fmla="*/ 59 w 1306"/>
                <a:gd name="T11" fmla="*/ 562 h 1306"/>
                <a:gd name="T12" fmla="*/ 55 w 1306"/>
                <a:gd name="T13" fmla="*/ 714 h 1306"/>
                <a:gd name="T14" fmla="*/ 90 w 1306"/>
                <a:gd name="T15" fmla="*/ 860 h 1306"/>
                <a:gd name="T16" fmla="*/ 156 w 1306"/>
                <a:gd name="T17" fmla="*/ 989 h 1306"/>
                <a:gd name="T18" fmla="*/ 249 w 1306"/>
                <a:gd name="T19" fmla="*/ 1097 h 1306"/>
                <a:gd name="T20" fmla="*/ 367 w 1306"/>
                <a:gd name="T21" fmla="*/ 1181 h 1306"/>
                <a:gd name="T22" fmla="*/ 503 w 1306"/>
                <a:gd name="T23" fmla="*/ 1236 h 1306"/>
                <a:gd name="T24" fmla="*/ 654 w 1306"/>
                <a:gd name="T25" fmla="*/ 1254 h 1306"/>
                <a:gd name="T26" fmla="*/ 804 w 1306"/>
                <a:gd name="T27" fmla="*/ 1236 h 1306"/>
                <a:gd name="T28" fmla="*/ 939 w 1306"/>
                <a:gd name="T29" fmla="*/ 1181 h 1306"/>
                <a:gd name="T30" fmla="*/ 1057 w 1306"/>
                <a:gd name="T31" fmla="*/ 1097 h 1306"/>
                <a:gd name="T32" fmla="*/ 1151 w 1306"/>
                <a:gd name="T33" fmla="*/ 989 h 1306"/>
                <a:gd name="T34" fmla="*/ 1217 w 1306"/>
                <a:gd name="T35" fmla="*/ 860 h 1306"/>
                <a:gd name="T36" fmla="*/ 1252 w 1306"/>
                <a:gd name="T37" fmla="*/ 714 h 1306"/>
                <a:gd name="T38" fmla="*/ 1247 w 1306"/>
                <a:gd name="T39" fmla="*/ 562 h 1306"/>
                <a:gd name="T40" fmla="*/ 1207 w 1306"/>
                <a:gd name="T41" fmla="*/ 419 h 1306"/>
                <a:gd name="T42" fmla="*/ 1135 w 1306"/>
                <a:gd name="T43" fmla="*/ 294 h 1306"/>
                <a:gd name="T44" fmla="*/ 1036 w 1306"/>
                <a:gd name="T45" fmla="*/ 190 h 1306"/>
                <a:gd name="T46" fmla="*/ 913 w 1306"/>
                <a:gd name="T47" fmla="*/ 111 h 1306"/>
                <a:gd name="T48" fmla="*/ 775 w 1306"/>
                <a:gd name="T49" fmla="*/ 65 h 1306"/>
                <a:gd name="T50" fmla="*/ 654 w 1306"/>
                <a:gd name="T51" fmla="*/ 1306 h 1306"/>
                <a:gd name="T52" fmla="*/ 490 w 1306"/>
                <a:gd name="T53" fmla="*/ 1286 h 1306"/>
                <a:gd name="T54" fmla="*/ 343 w 1306"/>
                <a:gd name="T55" fmla="*/ 1227 h 1306"/>
                <a:gd name="T56" fmla="*/ 215 w 1306"/>
                <a:gd name="T57" fmla="*/ 1136 h 1306"/>
                <a:gd name="T58" fmla="*/ 113 w 1306"/>
                <a:gd name="T59" fmla="*/ 1018 h 1306"/>
                <a:gd name="T60" fmla="*/ 41 w 1306"/>
                <a:gd name="T61" fmla="*/ 877 h 1306"/>
                <a:gd name="T62" fmla="*/ 3 w 1306"/>
                <a:gd name="T63" fmla="*/ 720 h 1306"/>
                <a:gd name="T64" fmla="*/ 7 w 1306"/>
                <a:gd name="T65" fmla="*/ 555 h 1306"/>
                <a:gd name="T66" fmla="*/ 52 w 1306"/>
                <a:gd name="T67" fmla="*/ 399 h 1306"/>
                <a:gd name="T68" fmla="*/ 130 w 1306"/>
                <a:gd name="T69" fmla="*/ 262 h 1306"/>
                <a:gd name="T70" fmla="*/ 238 w 1306"/>
                <a:gd name="T71" fmla="*/ 150 h 1306"/>
                <a:gd name="T72" fmla="*/ 370 w 1306"/>
                <a:gd name="T73" fmla="*/ 65 h 1306"/>
                <a:gd name="T74" fmla="*/ 522 w 1306"/>
                <a:gd name="T75" fmla="*/ 13 h 1306"/>
                <a:gd name="T76" fmla="*/ 687 w 1306"/>
                <a:gd name="T77" fmla="*/ 2 h 1306"/>
                <a:gd name="T78" fmla="*/ 847 w 1306"/>
                <a:gd name="T79" fmla="*/ 29 h 1306"/>
                <a:gd name="T80" fmla="*/ 992 w 1306"/>
                <a:gd name="T81" fmla="*/ 95 h 1306"/>
                <a:gd name="T82" fmla="*/ 1115 w 1306"/>
                <a:gd name="T83" fmla="*/ 192 h 1306"/>
                <a:gd name="T84" fmla="*/ 1211 w 1306"/>
                <a:gd name="T85" fmla="*/ 314 h 1306"/>
                <a:gd name="T86" fmla="*/ 1278 w 1306"/>
                <a:gd name="T87" fmla="*/ 460 h 1306"/>
                <a:gd name="T88" fmla="*/ 1305 w 1306"/>
                <a:gd name="T89" fmla="*/ 619 h 1306"/>
                <a:gd name="T90" fmla="*/ 1293 w 1306"/>
                <a:gd name="T91" fmla="*/ 785 h 1306"/>
                <a:gd name="T92" fmla="*/ 1242 w 1306"/>
                <a:gd name="T93" fmla="*/ 936 h 1306"/>
                <a:gd name="T94" fmla="*/ 1157 w 1306"/>
                <a:gd name="T95" fmla="*/ 1069 h 1306"/>
                <a:gd name="T96" fmla="*/ 1044 w 1306"/>
                <a:gd name="T97" fmla="*/ 1177 h 1306"/>
                <a:gd name="T98" fmla="*/ 907 w 1306"/>
                <a:gd name="T99" fmla="*/ 1254 h 1306"/>
                <a:gd name="T100" fmla="*/ 753 w 1306"/>
                <a:gd name="T101" fmla="*/ 1299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6" h="1306">
                  <a:moveTo>
                    <a:pt x="654" y="52"/>
                  </a:moveTo>
                  <a:lnTo>
                    <a:pt x="622" y="53"/>
                  </a:lnTo>
                  <a:lnTo>
                    <a:pt x="592" y="55"/>
                  </a:lnTo>
                  <a:lnTo>
                    <a:pt x="562" y="59"/>
                  </a:lnTo>
                  <a:lnTo>
                    <a:pt x="533" y="65"/>
                  </a:lnTo>
                  <a:lnTo>
                    <a:pt x="503" y="71"/>
                  </a:lnTo>
                  <a:lnTo>
                    <a:pt x="475" y="79"/>
                  </a:lnTo>
                  <a:lnTo>
                    <a:pt x="447" y="89"/>
                  </a:lnTo>
                  <a:lnTo>
                    <a:pt x="419" y="100"/>
                  </a:lnTo>
                  <a:lnTo>
                    <a:pt x="393" y="111"/>
                  </a:lnTo>
                  <a:lnTo>
                    <a:pt x="367" y="125"/>
                  </a:lnTo>
                  <a:lnTo>
                    <a:pt x="342" y="140"/>
                  </a:lnTo>
                  <a:lnTo>
                    <a:pt x="317" y="156"/>
                  </a:lnTo>
                  <a:lnTo>
                    <a:pt x="294" y="172"/>
                  </a:lnTo>
                  <a:lnTo>
                    <a:pt x="271" y="190"/>
                  </a:lnTo>
                  <a:lnTo>
                    <a:pt x="249" y="209"/>
                  </a:lnTo>
                  <a:lnTo>
                    <a:pt x="229" y="229"/>
                  </a:lnTo>
                  <a:lnTo>
                    <a:pt x="209" y="249"/>
                  </a:lnTo>
                  <a:lnTo>
                    <a:pt x="190" y="271"/>
                  </a:lnTo>
                  <a:lnTo>
                    <a:pt x="172" y="294"/>
                  </a:lnTo>
                  <a:lnTo>
                    <a:pt x="156" y="317"/>
                  </a:lnTo>
                  <a:lnTo>
                    <a:pt x="140" y="341"/>
                  </a:lnTo>
                  <a:lnTo>
                    <a:pt x="126" y="367"/>
                  </a:lnTo>
                  <a:lnTo>
                    <a:pt x="113" y="393"/>
                  </a:lnTo>
                  <a:lnTo>
                    <a:pt x="100" y="419"/>
                  </a:lnTo>
                  <a:lnTo>
                    <a:pt x="90" y="447"/>
                  </a:lnTo>
                  <a:lnTo>
                    <a:pt x="79" y="475"/>
                  </a:lnTo>
                  <a:lnTo>
                    <a:pt x="71" y="503"/>
                  </a:lnTo>
                  <a:lnTo>
                    <a:pt x="65" y="532"/>
                  </a:lnTo>
                  <a:lnTo>
                    <a:pt x="59" y="562"/>
                  </a:lnTo>
                  <a:lnTo>
                    <a:pt x="55" y="592"/>
                  </a:lnTo>
                  <a:lnTo>
                    <a:pt x="54" y="622"/>
                  </a:lnTo>
                  <a:lnTo>
                    <a:pt x="52" y="652"/>
                  </a:lnTo>
                  <a:lnTo>
                    <a:pt x="54" y="684"/>
                  </a:lnTo>
                  <a:lnTo>
                    <a:pt x="55" y="714"/>
                  </a:lnTo>
                  <a:lnTo>
                    <a:pt x="59" y="745"/>
                  </a:lnTo>
                  <a:lnTo>
                    <a:pt x="65" y="773"/>
                  </a:lnTo>
                  <a:lnTo>
                    <a:pt x="71" y="804"/>
                  </a:lnTo>
                  <a:lnTo>
                    <a:pt x="79" y="831"/>
                  </a:lnTo>
                  <a:lnTo>
                    <a:pt x="90" y="860"/>
                  </a:lnTo>
                  <a:lnTo>
                    <a:pt x="100" y="887"/>
                  </a:lnTo>
                  <a:lnTo>
                    <a:pt x="113" y="913"/>
                  </a:lnTo>
                  <a:lnTo>
                    <a:pt x="126" y="939"/>
                  </a:lnTo>
                  <a:lnTo>
                    <a:pt x="140" y="965"/>
                  </a:lnTo>
                  <a:lnTo>
                    <a:pt x="156" y="989"/>
                  </a:lnTo>
                  <a:lnTo>
                    <a:pt x="172" y="1012"/>
                  </a:lnTo>
                  <a:lnTo>
                    <a:pt x="190" y="1035"/>
                  </a:lnTo>
                  <a:lnTo>
                    <a:pt x="209" y="1057"/>
                  </a:lnTo>
                  <a:lnTo>
                    <a:pt x="229" y="1077"/>
                  </a:lnTo>
                  <a:lnTo>
                    <a:pt x="249" y="1097"/>
                  </a:lnTo>
                  <a:lnTo>
                    <a:pt x="271" y="1116"/>
                  </a:lnTo>
                  <a:lnTo>
                    <a:pt x="294" y="1135"/>
                  </a:lnTo>
                  <a:lnTo>
                    <a:pt x="317" y="1151"/>
                  </a:lnTo>
                  <a:lnTo>
                    <a:pt x="342" y="1167"/>
                  </a:lnTo>
                  <a:lnTo>
                    <a:pt x="367" y="1181"/>
                  </a:lnTo>
                  <a:lnTo>
                    <a:pt x="393" y="1194"/>
                  </a:lnTo>
                  <a:lnTo>
                    <a:pt x="419" y="1207"/>
                  </a:lnTo>
                  <a:lnTo>
                    <a:pt x="447" y="1217"/>
                  </a:lnTo>
                  <a:lnTo>
                    <a:pt x="475" y="1227"/>
                  </a:lnTo>
                  <a:lnTo>
                    <a:pt x="503" y="1236"/>
                  </a:lnTo>
                  <a:lnTo>
                    <a:pt x="533" y="1241"/>
                  </a:lnTo>
                  <a:lnTo>
                    <a:pt x="562" y="1247"/>
                  </a:lnTo>
                  <a:lnTo>
                    <a:pt x="592" y="1251"/>
                  </a:lnTo>
                  <a:lnTo>
                    <a:pt x="622" y="1253"/>
                  </a:lnTo>
                  <a:lnTo>
                    <a:pt x="654" y="1254"/>
                  </a:lnTo>
                  <a:lnTo>
                    <a:pt x="684" y="1253"/>
                  </a:lnTo>
                  <a:lnTo>
                    <a:pt x="715" y="1251"/>
                  </a:lnTo>
                  <a:lnTo>
                    <a:pt x="745" y="1247"/>
                  </a:lnTo>
                  <a:lnTo>
                    <a:pt x="775" y="1241"/>
                  </a:lnTo>
                  <a:lnTo>
                    <a:pt x="804" y="1236"/>
                  </a:lnTo>
                  <a:lnTo>
                    <a:pt x="831" y="1227"/>
                  </a:lnTo>
                  <a:lnTo>
                    <a:pt x="860" y="1217"/>
                  </a:lnTo>
                  <a:lnTo>
                    <a:pt x="887" y="1207"/>
                  </a:lnTo>
                  <a:lnTo>
                    <a:pt x="913" y="1194"/>
                  </a:lnTo>
                  <a:lnTo>
                    <a:pt x="939" y="1181"/>
                  </a:lnTo>
                  <a:lnTo>
                    <a:pt x="965" y="1167"/>
                  </a:lnTo>
                  <a:lnTo>
                    <a:pt x="990" y="1151"/>
                  </a:lnTo>
                  <a:lnTo>
                    <a:pt x="1013" y="1135"/>
                  </a:lnTo>
                  <a:lnTo>
                    <a:pt x="1036" y="1116"/>
                  </a:lnTo>
                  <a:lnTo>
                    <a:pt x="1057" y="1097"/>
                  </a:lnTo>
                  <a:lnTo>
                    <a:pt x="1077" y="1077"/>
                  </a:lnTo>
                  <a:lnTo>
                    <a:pt x="1098" y="1057"/>
                  </a:lnTo>
                  <a:lnTo>
                    <a:pt x="1116" y="1035"/>
                  </a:lnTo>
                  <a:lnTo>
                    <a:pt x="1135" y="1012"/>
                  </a:lnTo>
                  <a:lnTo>
                    <a:pt x="1151" y="989"/>
                  </a:lnTo>
                  <a:lnTo>
                    <a:pt x="1167" y="965"/>
                  </a:lnTo>
                  <a:lnTo>
                    <a:pt x="1181" y="939"/>
                  </a:lnTo>
                  <a:lnTo>
                    <a:pt x="1195" y="913"/>
                  </a:lnTo>
                  <a:lnTo>
                    <a:pt x="1207" y="887"/>
                  </a:lnTo>
                  <a:lnTo>
                    <a:pt x="1217" y="860"/>
                  </a:lnTo>
                  <a:lnTo>
                    <a:pt x="1227" y="831"/>
                  </a:lnTo>
                  <a:lnTo>
                    <a:pt x="1236" y="804"/>
                  </a:lnTo>
                  <a:lnTo>
                    <a:pt x="1242" y="773"/>
                  </a:lnTo>
                  <a:lnTo>
                    <a:pt x="1247" y="745"/>
                  </a:lnTo>
                  <a:lnTo>
                    <a:pt x="1252" y="714"/>
                  </a:lnTo>
                  <a:lnTo>
                    <a:pt x="1253" y="684"/>
                  </a:lnTo>
                  <a:lnTo>
                    <a:pt x="1255" y="652"/>
                  </a:lnTo>
                  <a:lnTo>
                    <a:pt x="1253" y="622"/>
                  </a:lnTo>
                  <a:lnTo>
                    <a:pt x="1252" y="592"/>
                  </a:lnTo>
                  <a:lnTo>
                    <a:pt x="1247" y="562"/>
                  </a:lnTo>
                  <a:lnTo>
                    <a:pt x="1242" y="532"/>
                  </a:lnTo>
                  <a:lnTo>
                    <a:pt x="1236" y="503"/>
                  </a:lnTo>
                  <a:lnTo>
                    <a:pt x="1227" y="475"/>
                  </a:lnTo>
                  <a:lnTo>
                    <a:pt x="1217" y="447"/>
                  </a:lnTo>
                  <a:lnTo>
                    <a:pt x="1207" y="419"/>
                  </a:lnTo>
                  <a:lnTo>
                    <a:pt x="1195" y="393"/>
                  </a:lnTo>
                  <a:lnTo>
                    <a:pt x="1181" y="367"/>
                  </a:lnTo>
                  <a:lnTo>
                    <a:pt x="1167" y="341"/>
                  </a:lnTo>
                  <a:lnTo>
                    <a:pt x="1151" y="317"/>
                  </a:lnTo>
                  <a:lnTo>
                    <a:pt x="1135" y="294"/>
                  </a:lnTo>
                  <a:lnTo>
                    <a:pt x="1116" y="271"/>
                  </a:lnTo>
                  <a:lnTo>
                    <a:pt x="1098" y="249"/>
                  </a:lnTo>
                  <a:lnTo>
                    <a:pt x="1077" y="229"/>
                  </a:lnTo>
                  <a:lnTo>
                    <a:pt x="1057" y="209"/>
                  </a:lnTo>
                  <a:lnTo>
                    <a:pt x="1036" y="190"/>
                  </a:lnTo>
                  <a:lnTo>
                    <a:pt x="1013" y="172"/>
                  </a:lnTo>
                  <a:lnTo>
                    <a:pt x="990" y="156"/>
                  </a:lnTo>
                  <a:lnTo>
                    <a:pt x="965" y="140"/>
                  </a:lnTo>
                  <a:lnTo>
                    <a:pt x="939" y="125"/>
                  </a:lnTo>
                  <a:lnTo>
                    <a:pt x="913" y="111"/>
                  </a:lnTo>
                  <a:lnTo>
                    <a:pt x="887" y="100"/>
                  </a:lnTo>
                  <a:lnTo>
                    <a:pt x="860" y="89"/>
                  </a:lnTo>
                  <a:lnTo>
                    <a:pt x="831" y="79"/>
                  </a:lnTo>
                  <a:lnTo>
                    <a:pt x="804" y="71"/>
                  </a:lnTo>
                  <a:lnTo>
                    <a:pt x="775" y="65"/>
                  </a:lnTo>
                  <a:lnTo>
                    <a:pt x="745" y="59"/>
                  </a:lnTo>
                  <a:lnTo>
                    <a:pt x="715" y="55"/>
                  </a:lnTo>
                  <a:lnTo>
                    <a:pt x="684" y="53"/>
                  </a:lnTo>
                  <a:lnTo>
                    <a:pt x="654" y="52"/>
                  </a:lnTo>
                  <a:close/>
                  <a:moveTo>
                    <a:pt x="654" y="1306"/>
                  </a:moveTo>
                  <a:lnTo>
                    <a:pt x="619" y="1305"/>
                  </a:lnTo>
                  <a:lnTo>
                    <a:pt x="586" y="1303"/>
                  </a:lnTo>
                  <a:lnTo>
                    <a:pt x="555" y="1299"/>
                  </a:lnTo>
                  <a:lnTo>
                    <a:pt x="522" y="1293"/>
                  </a:lnTo>
                  <a:lnTo>
                    <a:pt x="490" y="1286"/>
                  </a:lnTo>
                  <a:lnTo>
                    <a:pt x="460" y="1277"/>
                  </a:lnTo>
                  <a:lnTo>
                    <a:pt x="429" y="1266"/>
                  </a:lnTo>
                  <a:lnTo>
                    <a:pt x="399" y="1254"/>
                  </a:lnTo>
                  <a:lnTo>
                    <a:pt x="370" y="1241"/>
                  </a:lnTo>
                  <a:lnTo>
                    <a:pt x="343" y="1227"/>
                  </a:lnTo>
                  <a:lnTo>
                    <a:pt x="316" y="1211"/>
                  </a:lnTo>
                  <a:lnTo>
                    <a:pt x="288" y="1194"/>
                  </a:lnTo>
                  <a:lnTo>
                    <a:pt x="262" y="1177"/>
                  </a:lnTo>
                  <a:lnTo>
                    <a:pt x="238" y="1156"/>
                  </a:lnTo>
                  <a:lnTo>
                    <a:pt x="215" y="1136"/>
                  </a:lnTo>
                  <a:lnTo>
                    <a:pt x="192" y="1115"/>
                  </a:lnTo>
                  <a:lnTo>
                    <a:pt x="170" y="1092"/>
                  </a:lnTo>
                  <a:lnTo>
                    <a:pt x="150" y="1069"/>
                  </a:lnTo>
                  <a:lnTo>
                    <a:pt x="130" y="1044"/>
                  </a:lnTo>
                  <a:lnTo>
                    <a:pt x="113" y="1018"/>
                  </a:lnTo>
                  <a:lnTo>
                    <a:pt x="95" y="991"/>
                  </a:lnTo>
                  <a:lnTo>
                    <a:pt x="79" y="963"/>
                  </a:lnTo>
                  <a:lnTo>
                    <a:pt x="65" y="936"/>
                  </a:lnTo>
                  <a:lnTo>
                    <a:pt x="52" y="907"/>
                  </a:lnTo>
                  <a:lnTo>
                    <a:pt x="41" y="877"/>
                  </a:lnTo>
                  <a:lnTo>
                    <a:pt x="29" y="847"/>
                  </a:lnTo>
                  <a:lnTo>
                    <a:pt x="20" y="817"/>
                  </a:lnTo>
                  <a:lnTo>
                    <a:pt x="13" y="785"/>
                  </a:lnTo>
                  <a:lnTo>
                    <a:pt x="7" y="752"/>
                  </a:lnTo>
                  <a:lnTo>
                    <a:pt x="3" y="720"/>
                  </a:lnTo>
                  <a:lnTo>
                    <a:pt x="2" y="687"/>
                  </a:lnTo>
                  <a:lnTo>
                    <a:pt x="0" y="652"/>
                  </a:lnTo>
                  <a:lnTo>
                    <a:pt x="2" y="619"/>
                  </a:lnTo>
                  <a:lnTo>
                    <a:pt x="3" y="586"/>
                  </a:lnTo>
                  <a:lnTo>
                    <a:pt x="7" y="555"/>
                  </a:lnTo>
                  <a:lnTo>
                    <a:pt x="13" y="521"/>
                  </a:lnTo>
                  <a:lnTo>
                    <a:pt x="20" y="490"/>
                  </a:lnTo>
                  <a:lnTo>
                    <a:pt x="29" y="460"/>
                  </a:lnTo>
                  <a:lnTo>
                    <a:pt x="41" y="429"/>
                  </a:lnTo>
                  <a:lnTo>
                    <a:pt x="52" y="399"/>
                  </a:lnTo>
                  <a:lnTo>
                    <a:pt x="65" y="370"/>
                  </a:lnTo>
                  <a:lnTo>
                    <a:pt x="79" y="341"/>
                  </a:lnTo>
                  <a:lnTo>
                    <a:pt x="95" y="314"/>
                  </a:lnTo>
                  <a:lnTo>
                    <a:pt x="113" y="288"/>
                  </a:lnTo>
                  <a:lnTo>
                    <a:pt x="130" y="262"/>
                  </a:lnTo>
                  <a:lnTo>
                    <a:pt x="150" y="238"/>
                  </a:lnTo>
                  <a:lnTo>
                    <a:pt x="170" y="215"/>
                  </a:lnTo>
                  <a:lnTo>
                    <a:pt x="192" y="192"/>
                  </a:lnTo>
                  <a:lnTo>
                    <a:pt x="215" y="170"/>
                  </a:lnTo>
                  <a:lnTo>
                    <a:pt x="238" y="150"/>
                  </a:lnTo>
                  <a:lnTo>
                    <a:pt x="262" y="130"/>
                  </a:lnTo>
                  <a:lnTo>
                    <a:pt x="288" y="112"/>
                  </a:lnTo>
                  <a:lnTo>
                    <a:pt x="316" y="95"/>
                  </a:lnTo>
                  <a:lnTo>
                    <a:pt x="343" y="79"/>
                  </a:lnTo>
                  <a:lnTo>
                    <a:pt x="370" y="65"/>
                  </a:lnTo>
                  <a:lnTo>
                    <a:pt x="399" y="52"/>
                  </a:lnTo>
                  <a:lnTo>
                    <a:pt x="429" y="40"/>
                  </a:lnTo>
                  <a:lnTo>
                    <a:pt x="460" y="29"/>
                  </a:lnTo>
                  <a:lnTo>
                    <a:pt x="490" y="20"/>
                  </a:lnTo>
                  <a:lnTo>
                    <a:pt x="522" y="13"/>
                  </a:lnTo>
                  <a:lnTo>
                    <a:pt x="555" y="7"/>
                  </a:lnTo>
                  <a:lnTo>
                    <a:pt x="586" y="3"/>
                  </a:lnTo>
                  <a:lnTo>
                    <a:pt x="619" y="2"/>
                  </a:lnTo>
                  <a:lnTo>
                    <a:pt x="654" y="0"/>
                  </a:lnTo>
                  <a:lnTo>
                    <a:pt x="687" y="2"/>
                  </a:lnTo>
                  <a:lnTo>
                    <a:pt x="720" y="3"/>
                  </a:lnTo>
                  <a:lnTo>
                    <a:pt x="753" y="7"/>
                  </a:lnTo>
                  <a:lnTo>
                    <a:pt x="785" y="13"/>
                  </a:lnTo>
                  <a:lnTo>
                    <a:pt x="817" y="20"/>
                  </a:lnTo>
                  <a:lnTo>
                    <a:pt x="847" y="29"/>
                  </a:lnTo>
                  <a:lnTo>
                    <a:pt x="877" y="40"/>
                  </a:lnTo>
                  <a:lnTo>
                    <a:pt x="907" y="52"/>
                  </a:lnTo>
                  <a:lnTo>
                    <a:pt x="936" y="65"/>
                  </a:lnTo>
                  <a:lnTo>
                    <a:pt x="965" y="79"/>
                  </a:lnTo>
                  <a:lnTo>
                    <a:pt x="992" y="95"/>
                  </a:lnTo>
                  <a:lnTo>
                    <a:pt x="1018" y="112"/>
                  </a:lnTo>
                  <a:lnTo>
                    <a:pt x="1044" y="130"/>
                  </a:lnTo>
                  <a:lnTo>
                    <a:pt x="1069" y="150"/>
                  </a:lnTo>
                  <a:lnTo>
                    <a:pt x="1092" y="170"/>
                  </a:lnTo>
                  <a:lnTo>
                    <a:pt x="1115" y="192"/>
                  </a:lnTo>
                  <a:lnTo>
                    <a:pt x="1136" y="215"/>
                  </a:lnTo>
                  <a:lnTo>
                    <a:pt x="1157" y="238"/>
                  </a:lnTo>
                  <a:lnTo>
                    <a:pt x="1177" y="262"/>
                  </a:lnTo>
                  <a:lnTo>
                    <a:pt x="1194" y="288"/>
                  </a:lnTo>
                  <a:lnTo>
                    <a:pt x="1211" y="314"/>
                  </a:lnTo>
                  <a:lnTo>
                    <a:pt x="1227" y="341"/>
                  </a:lnTo>
                  <a:lnTo>
                    <a:pt x="1242" y="370"/>
                  </a:lnTo>
                  <a:lnTo>
                    <a:pt x="1255" y="399"/>
                  </a:lnTo>
                  <a:lnTo>
                    <a:pt x="1266" y="429"/>
                  </a:lnTo>
                  <a:lnTo>
                    <a:pt x="1278" y="460"/>
                  </a:lnTo>
                  <a:lnTo>
                    <a:pt x="1286" y="490"/>
                  </a:lnTo>
                  <a:lnTo>
                    <a:pt x="1293" y="521"/>
                  </a:lnTo>
                  <a:lnTo>
                    <a:pt x="1299" y="555"/>
                  </a:lnTo>
                  <a:lnTo>
                    <a:pt x="1303" y="586"/>
                  </a:lnTo>
                  <a:lnTo>
                    <a:pt x="1305" y="619"/>
                  </a:lnTo>
                  <a:lnTo>
                    <a:pt x="1306" y="652"/>
                  </a:lnTo>
                  <a:lnTo>
                    <a:pt x="1305" y="687"/>
                  </a:lnTo>
                  <a:lnTo>
                    <a:pt x="1303" y="720"/>
                  </a:lnTo>
                  <a:lnTo>
                    <a:pt x="1299" y="752"/>
                  </a:lnTo>
                  <a:lnTo>
                    <a:pt x="1293" y="785"/>
                  </a:lnTo>
                  <a:lnTo>
                    <a:pt x="1286" y="817"/>
                  </a:lnTo>
                  <a:lnTo>
                    <a:pt x="1278" y="847"/>
                  </a:lnTo>
                  <a:lnTo>
                    <a:pt x="1266" y="877"/>
                  </a:lnTo>
                  <a:lnTo>
                    <a:pt x="1255" y="907"/>
                  </a:lnTo>
                  <a:lnTo>
                    <a:pt x="1242" y="936"/>
                  </a:lnTo>
                  <a:lnTo>
                    <a:pt x="1227" y="963"/>
                  </a:lnTo>
                  <a:lnTo>
                    <a:pt x="1211" y="991"/>
                  </a:lnTo>
                  <a:lnTo>
                    <a:pt x="1194" y="1018"/>
                  </a:lnTo>
                  <a:lnTo>
                    <a:pt x="1177" y="1044"/>
                  </a:lnTo>
                  <a:lnTo>
                    <a:pt x="1157" y="1069"/>
                  </a:lnTo>
                  <a:lnTo>
                    <a:pt x="1136" y="1092"/>
                  </a:lnTo>
                  <a:lnTo>
                    <a:pt x="1115" y="1115"/>
                  </a:lnTo>
                  <a:lnTo>
                    <a:pt x="1092" y="1136"/>
                  </a:lnTo>
                  <a:lnTo>
                    <a:pt x="1069" y="1156"/>
                  </a:lnTo>
                  <a:lnTo>
                    <a:pt x="1044" y="1177"/>
                  </a:lnTo>
                  <a:lnTo>
                    <a:pt x="1018" y="1194"/>
                  </a:lnTo>
                  <a:lnTo>
                    <a:pt x="992" y="1211"/>
                  </a:lnTo>
                  <a:lnTo>
                    <a:pt x="965" y="1227"/>
                  </a:lnTo>
                  <a:lnTo>
                    <a:pt x="936" y="1241"/>
                  </a:lnTo>
                  <a:lnTo>
                    <a:pt x="907" y="1254"/>
                  </a:lnTo>
                  <a:lnTo>
                    <a:pt x="877" y="1266"/>
                  </a:lnTo>
                  <a:lnTo>
                    <a:pt x="847" y="1277"/>
                  </a:lnTo>
                  <a:lnTo>
                    <a:pt x="817" y="1286"/>
                  </a:lnTo>
                  <a:lnTo>
                    <a:pt x="785" y="1293"/>
                  </a:lnTo>
                  <a:lnTo>
                    <a:pt x="753" y="1299"/>
                  </a:lnTo>
                  <a:lnTo>
                    <a:pt x="720" y="1303"/>
                  </a:lnTo>
                  <a:lnTo>
                    <a:pt x="687" y="1305"/>
                  </a:lnTo>
                  <a:lnTo>
                    <a:pt x="654"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208">
              <a:extLst>
                <a:ext uri="{FF2B5EF4-FFF2-40B4-BE49-F238E27FC236}">
                  <a16:creationId xmlns:a16="http://schemas.microsoft.com/office/drawing/2014/main" id="{5EF07AEA-8AC2-4B97-9B31-244675D9D5D2}"/>
                </a:ext>
              </a:extLst>
            </p:cNvPr>
            <p:cNvSpPr>
              <a:spLocks/>
            </p:cNvSpPr>
            <p:nvPr/>
          </p:nvSpPr>
          <p:spPr bwMode="auto">
            <a:xfrm>
              <a:off x="985838" y="4456113"/>
              <a:ext cx="258763" cy="576263"/>
            </a:xfrm>
            <a:custGeom>
              <a:avLst/>
              <a:gdLst>
                <a:gd name="T0" fmla="*/ 38 w 490"/>
                <a:gd name="T1" fmla="*/ 1090 h 1090"/>
                <a:gd name="T2" fmla="*/ 0 w 490"/>
                <a:gd name="T3" fmla="*/ 1053 h 1090"/>
                <a:gd name="T4" fmla="*/ 437 w 490"/>
                <a:gd name="T5" fmla="*/ 616 h 1090"/>
                <a:gd name="T6" fmla="*/ 437 w 490"/>
                <a:gd name="T7" fmla="*/ 0 h 1090"/>
                <a:gd name="T8" fmla="*/ 490 w 490"/>
                <a:gd name="T9" fmla="*/ 0 h 1090"/>
                <a:gd name="T10" fmla="*/ 490 w 490"/>
                <a:gd name="T11" fmla="*/ 638 h 1090"/>
                <a:gd name="T12" fmla="*/ 38 w 490"/>
                <a:gd name="T13" fmla="*/ 1090 h 1090"/>
              </a:gdLst>
              <a:ahLst/>
              <a:cxnLst>
                <a:cxn ang="0">
                  <a:pos x="T0" y="T1"/>
                </a:cxn>
                <a:cxn ang="0">
                  <a:pos x="T2" y="T3"/>
                </a:cxn>
                <a:cxn ang="0">
                  <a:pos x="T4" y="T5"/>
                </a:cxn>
                <a:cxn ang="0">
                  <a:pos x="T6" y="T7"/>
                </a:cxn>
                <a:cxn ang="0">
                  <a:pos x="T8" y="T9"/>
                </a:cxn>
                <a:cxn ang="0">
                  <a:pos x="T10" y="T11"/>
                </a:cxn>
                <a:cxn ang="0">
                  <a:pos x="T12" y="T13"/>
                </a:cxn>
              </a:cxnLst>
              <a:rect l="0" t="0" r="r" b="b"/>
              <a:pathLst>
                <a:path w="490" h="1090">
                  <a:moveTo>
                    <a:pt x="38" y="1090"/>
                  </a:moveTo>
                  <a:lnTo>
                    <a:pt x="0" y="1053"/>
                  </a:lnTo>
                  <a:lnTo>
                    <a:pt x="437" y="616"/>
                  </a:lnTo>
                  <a:lnTo>
                    <a:pt x="437" y="0"/>
                  </a:lnTo>
                  <a:lnTo>
                    <a:pt x="490" y="0"/>
                  </a:lnTo>
                  <a:lnTo>
                    <a:pt x="490" y="638"/>
                  </a:lnTo>
                  <a:lnTo>
                    <a:pt x="38" y="10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Rectangle 209">
              <a:extLst>
                <a:ext uri="{FF2B5EF4-FFF2-40B4-BE49-F238E27FC236}">
                  <a16:creationId xmlns:a16="http://schemas.microsoft.com/office/drawing/2014/main" id="{7C260885-B893-4020-85D6-C8D167F25723}"/>
                </a:ext>
              </a:extLst>
            </p:cNvPr>
            <p:cNvSpPr>
              <a:spLocks noChangeArrowheads="1"/>
            </p:cNvSpPr>
            <p:nvPr/>
          </p:nvSpPr>
          <p:spPr bwMode="auto">
            <a:xfrm>
              <a:off x="898525" y="4773613"/>
              <a:ext cx="333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0" name="Group 20">
            <a:extLst>
              <a:ext uri="{FF2B5EF4-FFF2-40B4-BE49-F238E27FC236}">
                <a16:creationId xmlns:a16="http://schemas.microsoft.com/office/drawing/2014/main" id="{A0BDCACA-F43C-4BD9-BB5C-54BB6E988949}"/>
              </a:ext>
            </a:extLst>
          </p:cNvPr>
          <p:cNvGrpSpPr>
            <a:grpSpLocks noChangeAspect="1"/>
          </p:cNvGrpSpPr>
          <p:nvPr/>
        </p:nvGrpSpPr>
        <p:grpSpPr>
          <a:xfrm>
            <a:off x="4049239" y="5956111"/>
            <a:ext cx="285619" cy="285619"/>
            <a:chOff x="9311674" y="2506555"/>
            <a:chExt cx="287091" cy="287091"/>
          </a:xfrm>
          <a:solidFill>
            <a:schemeClr val="bg2"/>
          </a:solidFill>
          <a:effectLst/>
        </p:grpSpPr>
        <p:sp>
          <p:nvSpPr>
            <p:cNvPr id="1216" name="Freeform 327">
              <a:extLst>
                <a:ext uri="{FF2B5EF4-FFF2-40B4-BE49-F238E27FC236}">
                  <a16:creationId xmlns:a16="http://schemas.microsoft.com/office/drawing/2014/main" id="{4352BA36-CBC0-434A-B931-B4D747F275A1}"/>
                </a:ext>
              </a:extLst>
            </p:cNvPr>
            <p:cNvSpPr>
              <a:spLocks noEditPoints="1"/>
            </p:cNvSpPr>
            <p:nvPr/>
          </p:nvSpPr>
          <p:spPr bwMode="auto">
            <a:xfrm>
              <a:off x="9311674" y="2506555"/>
              <a:ext cx="287091" cy="287091"/>
            </a:xfrm>
            <a:custGeom>
              <a:avLst/>
              <a:gdLst>
                <a:gd name="T0" fmla="*/ 378 w 932"/>
                <a:gd name="T1" fmla="*/ 892 h 932"/>
                <a:gd name="T2" fmla="*/ 277 w 932"/>
                <a:gd name="T3" fmla="*/ 858 h 932"/>
                <a:gd name="T4" fmla="*/ 189 w 932"/>
                <a:gd name="T5" fmla="*/ 802 h 932"/>
                <a:gd name="T6" fmla="*/ 117 w 932"/>
                <a:gd name="T7" fmla="*/ 727 h 932"/>
                <a:gd name="T8" fmla="*/ 65 w 932"/>
                <a:gd name="T9" fmla="*/ 636 h 932"/>
                <a:gd name="T10" fmla="*/ 36 w 932"/>
                <a:gd name="T11" fmla="*/ 532 h 932"/>
                <a:gd name="T12" fmla="*/ 33 w 932"/>
                <a:gd name="T13" fmla="*/ 421 h 932"/>
                <a:gd name="T14" fmla="*/ 57 w 932"/>
                <a:gd name="T15" fmla="*/ 317 h 932"/>
                <a:gd name="T16" fmla="*/ 105 w 932"/>
                <a:gd name="T17" fmla="*/ 224 h 932"/>
                <a:gd name="T18" fmla="*/ 174 w 932"/>
                <a:gd name="T19" fmla="*/ 145 h 932"/>
                <a:gd name="T20" fmla="*/ 258 w 932"/>
                <a:gd name="T21" fmla="*/ 84 h 932"/>
                <a:gd name="T22" fmla="*/ 357 w 932"/>
                <a:gd name="T23" fmla="*/ 45 h 932"/>
                <a:gd name="T24" fmla="*/ 466 w 932"/>
                <a:gd name="T25" fmla="*/ 31 h 932"/>
                <a:gd name="T26" fmla="*/ 575 w 932"/>
                <a:gd name="T27" fmla="*/ 45 h 932"/>
                <a:gd name="T28" fmla="*/ 673 w 932"/>
                <a:gd name="T29" fmla="*/ 84 h 932"/>
                <a:gd name="T30" fmla="*/ 758 w 932"/>
                <a:gd name="T31" fmla="*/ 145 h 932"/>
                <a:gd name="T32" fmla="*/ 826 w 932"/>
                <a:gd name="T33" fmla="*/ 224 h 932"/>
                <a:gd name="T34" fmla="*/ 875 w 932"/>
                <a:gd name="T35" fmla="*/ 317 h 932"/>
                <a:gd name="T36" fmla="*/ 898 w 932"/>
                <a:gd name="T37" fmla="*/ 421 h 932"/>
                <a:gd name="T38" fmla="*/ 896 w 932"/>
                <a:gd name="T39" fmla="*/ 532 h 932"/>
                <a:gd name="T40" fmla="*/ 867 w 932"/>
                <a:gd name="T41" fmla="*/ 636 h 932"/>
                <a:gd name="T42" fmla="*/ 815 w 932"/>
                <a:gd name="T43" fmla="*/ 727 h 932"/>
                <a:gd name="T44" fmla="*/ 743 w 932"/>
                <a:gd name="T45" fmla="*/ 802 h 932"/>
                <a:gd name="T46" fmla="*/ 654 w 932"/>
                <a:gd name="T47" fmla="*/ 858 h 932"/>
                <a:gd name="T48" fmla="*/ 554 w 932"/>
                <a:gd name="T49" fmla="*/ 892 h 932"/>
                <a:gd name="T50" fmla="*/ 466 w 932"/>
                <a:gd name="T51" fmla="*/ 0 h 932"/>
                <a:gd name="T52" fmla="*/ 349 w 932"/>
                <a:gd name="T53" fmla="*/ 15 h 932"/>
                <a:gd name="T54" fmla="*/ 244 w 932"/>
                <a:gd name="T55" fmla="*/ 56 h 932"/>
                <a:gd name="T56" fmla="*/ 153 w 932"/>
                <a:gd name="T57" fmla="*/ 121 h 932"/>
                <a:gd name="T58" fmla="*/ 79 w 932"/>
                <a:gd name="T59" fmla="*/ 206 h 932"/>
                <a:gd name="T60" fmla="*/ 28 w 932"/>
                <a:gd name="T61" fmla="*/ 306 h 932"/>
                <a:gd name="T62" fmla="*/ 2 w 932"/>
                <a:gd name="T63" fmla="*/ 419 h 932"/>
                <a:gd name="T64" fmla="*/ 5 w 932"/>
                <a:gd name="T65" fmla="*/ 537 h 932"/>
                <a:gd name="T66" fmla="*/ 36 w 932"/>
                <a:gd name="T67" fmla="*/ 648 h 932"/>
                <a:gd name="T68" fmla="*/ 93 w 932"/>
                <a:gd name="T69" fmla="*/ 745 h 932"/>
                <a:gd name="T70" fmla="*/ 169 w 932"/>
                <a:gd name="T71" fmla="*/ 826 h 932"/>
                <a:gd name="T72" fmla="*/ 264 w 932"/>
                <a:gd name="T73" fmla="*/ 887 h 932"/>
                <a:gd name="T74" fmla="*/ 372 w 932"/>
                <a:gd name="T75" fmla="*/ 924 h 932"/>
                <a:gd name="T76" fmla="*/ 489 w 932"/>
                <a:gd name="T77" fmla="*/ 932 h 932"/>
                <a:gd name="T78" fmla="*/ 604 w 932"/>
                <a:gd name="T79" fmla="*/ 911 h 932"/>
                <a:gd name="T80" fmla="*/ 707 w 932"/>
                <a:gd name="T81" fmla="*/ 865 h 932"/>
                <a:gd name="T82" fmla="*/ 795 w 932"/>
                <a:gd name="T83" fmla="*/ 796 h 932"/>
                <a:gd name="T84" fmla="*/ 865 w 932"/>
                <a:gd name="T85" fmla="*/ 708 h 932"/>
                <a:gd name="T86" fmla="*/ 912 w 932"/>
                <a:gd name="T87" fmla="*/ 605 h 932"/>
                <a:gd name="T88" fmla="*/ 932 w 932"/>
                <a:gd name="T89" fmla="*/ 490 h 932"/>
                <a:gd name="T90" fmla="*/ 923 w 932"/>
                <a:gd name="T91" fmla="*/ 372 h 932"/>
                <a:gd name="T92" fmla="*/ 886 w 932"/>
                <a:gd name="T93" fmla="*/ 265 h 932"/>
                <a:gd name="T94" fmla="*/ 825 w 932"/>
                <a:gd name="T95" fmla="*/ 170 h 932"/>
                <a:gd name="T96" fmla="*/ 745 w 932"/>
                <a:gd name="T97" fmla="*/ 92 h 932"/>
                <a:gd name="T98" fmla="*/ 647 w 932"/>
                <a:gd name="T99" fmla="*/ 37 h 932"/>
                <a:gd name="T100" fmla="*/ 537 w 932"/>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2" h="932">
                  <a:moveTo>
                    <a:pt x="466" y="901"/>
                  </a:moveTo>
                  <a:lnTo>
                    <a:pt x="444" y="901"/>
                  </a:lnTo>
                  <a:lnTo>
                    <a:pt x="422" y="899"/>
                  </a:lnTo>
                  <a:lnTo>
                    <a:pt x="399" y="897"/>
                  </a:lnTo>
                  <a:lnTo>
                    <a:pt x="378" y="892"/>
                  </a:lnTo>
                  <a:lnTo>
                    <a:pt x="357" y="888"/>
                  </a:lnTo>
                  <a:lnTo>
                    <a:pt x="336" y="881"/>
                  </a:lnTo>
                  <a:lnTo>
                    <a:pt x="316" y="875"/>
                  </a:lnTo>
                  <a:lnTo>
                    <a:pt x="296" y="867"/>
                  </a:lnTo>
                  <a:lnTo>
                    <a:pt x="277" y="858"/>
                  </a:lnTo>
                  <a:lnTo>
                    <a:pt x="258" y="849"/>
                  </a:lnTo>
                  <a:lnTo>
                    <a:pt x="241" y="838"/>
                  </a:lnTo>
                  <a:lnTo>
                    <a:pt x="223" y="827"/>
                  </a:lnTo>
                  <a:lnTo>
                    <a:pt x="206" y="815"/>
                  </a:lnTo>
                  <a:lnTo>
                    <a:pt x="189" y="802"/>
                  </a:lnTo>
                  <a:lnTo>
                    <a:pt x="174" y="788"/>
                  </a:lnTo>
                  <a:lnTo>
                    <a:pt x="158" y="774"/>
                  </a:lnTo>
                  <a:lnTo>
                    <a:pt x="144" y="759"/>
                  </a:lnTo>
                  <a:lnTo>
                    <a:pt x="131" y="742"/>
                  </a:lnTo>
                  <a:lnTo>
                    <a:pt x="117" y="727"/>
                  </a:lnTo>
                  <a:lnTo>
                    <a:pt x="105" y="709"/>
                  </a:lnTo>
                  <a:lnTo>
                    <a:pt x="94" y="691"/>
                  </a:lnTo>
                  <a:lnTo>
                    <a:pt x="83" y="674"/>
                  </a:lnTo>
                  <a:lnTo>
                    <a:pt x="74" y="655"/>
                  </a:lnTo>
                  <a:lnTo>
                    <a:pt x="65" y="636"/>
                  </a:lnTo>
                  <a:lnTo>
                    <a:pt x="57" y="616"/>
                  </a:lnTo>
                  <a:lnTo>
                    <a:pt x="51" y="596"/>
                  </a:lnTo>
                  <a:lnTo>
                    <a:pt x="44" y="575"/>
                  </a:lnTo>
                  <a:lnTo>
                    <a:pt x="40" y="554"/>
                  </a:lnTo>
                  <a:lnTo>
                    <a:pt x="36" y="532"/>
                  </a:lnTo>
                  <a:lnTo>
                    <a:pt x="33" y="510"/>
                  </a:lnTo>
                  <a:lnTo>
                    <a:pt x="32" y="489"/>
                  </a:lnTo>
                  <a:lnTo>
                    <a:pt x="31" y="466"/>
                  </a:lnTo>
                  <a:lnTo>
                    <a:pt x="32" y="444"/>
                  </a:lnTo>
                  <a:lnTo>
                    <a:pt x="33" y="421"/>
                  </a:lnTo>
                  <a:lnTo>
                    <a:pt x="36" y="400"/>
                  </a:lnTo>
                  <a:lnTo>
                    <a:pt x="40" y="379"/>
                  </a:lnTo>
                  <a:lnTo>
                    <a:pt x="44" y="358"/>
                  </a:lnTo>
                  <a:lnTo>
                    <a:pt x="51" y="337"/>
                  </a:lnTo>
                  <a:lnTo>
                    <a:pt x="57" y="317"/>
                  </a:lnTo>
                  <a:lnTo>
                    <a:pt x="65" y="297"/>
                  </a:lnTo>
                  <a:lnTo>
                    <a:pt x="74" y="278"/>
                  </a:lnTo>
                  <a:lnTo>
                    <a:pt x="83" y="259"/>
                  </a:lnTo>
                  <a:lnTo>
                    <a:pt x="94" y="240"/>
                  </a:lnTo>
                  <a:lnTo>
                    <a:pt x="105" y="224"/>
                  </a:lnTo>
                  <a:lnTo>
                    <a:pt x="117" y="206"/>
                  </a:lnTo>
                  <a:lnTo>
                    <a:pt x="131" y="189"/>
                  </a:lnTo>
                  <a:lnTo>
                    <a:pt x="144" y="174"/>
                  </a:lnTo>
                  <a:lnTo>
                    <a:pt x="158" y="159"/>
                  </a:lnTo>
                  <a:lnTo>
                    <a:pt x="174" y="145"/>
                  </a:lnTo>
                  <a:lnTo>
                    <a:pt x="189" y="130"/>
                  </a:lnTo>
                  <a:lnTo>
                    <a:pt x="206" y="118"/>
                  </a:lnTo>
                  <a:lnTo>
                    <a:pt x="223" y="106"/>
                  </a:lnTo>
                  <a:lnTo>
                    <a:pt x="241" y="95"/>
                  </a:lnTo>
                  <a:lnTo>
                    <a:pt x="258" y="84"/>
                  </a:lnTo>
                  <a:lnTo>
                    <a:pt x="277" y="74"/>
                  </a:lnTo>
                  <a:lnTo>
                    <a:pt x="296" y="66"/>
                  </a:lnTo>
                  <a:lnTo>
                    <a:pt x="316" y="58"/>
                  </a:lnTo>
                  <a:lnTo>
                    <a:pt x="336" y="50"/>
                  </a:lnTo>
                  <a:lnTo>
                    <a:pt x="357" y="45"/>
                  </a:lnTo>
                  <a:lnTo>
                    <a:pt x="378" y="40"/>
                  </a:lnTo>
                  <a:lnTo>
                    <a:pt x="399" y="36"/>
                  </a:lnTo>
                  <a:lnTo>
                    <a:pt x="422" y="34"/>
                  </a:lnTo>
                  <a:lnTo>
                    <a:pt x="444" y="31"/>
                  </a:lnTo>
                  <a:lnTo>
                    <a:pt x="466" y="31"/>
                  </a:lnTo>
                  <a:lnTo>
                    <a:pt x="488" y="31"/>
                  </a:lnTo>
                  <a:lnTo>
                    <a:pt x="511" y="34"/>
                  </a:lnTo>
                  <a:lnTo>
                    <a:pt x="532" y="36"/>
                  </a:lnTo>
                  <a:lnTo>
                    <a:pt x="554" y="40"/>
                  </a:lnTo>
                  <a:lnTo>
                    <a:pt x="575" y="45"/>
                  </a:lnTo>
                  <a:lnTo>
                    <a:pt x="595" y="50"/>
                  </a:lnTo>
                  <a:lnTo>
                    <a:pt x="615" y="58"/>
                  </a:lnTo>
                  <a:lnTo>
                    <a:pt x="635" y="66"/>
                  </a:lnTo>
                  <a:lnTo>
                    <a:pt x="654" y="74"/>
                  </a:lnTo>
                  <a:lnTo>
                    <a:pt x="673" y="84"/>
                  </a:lnTo>
                  <a:lnTo>
                    <a:pt x="692" y="95"/>
                  </a:lnTo>
                  <a:lnTo>
                    <a:pt x="709" y="106"/>
                  </a:lnTo>
                  <a:lnTo>
                    <a:pt x="726" y="118"/>
                  </a:lnTo>
                  <a:lnTo>
                    <a:pt x="743" y="130"/>
                  </a:lnTo>
                  <a:lnTo>
                    <a:pt x="758" y="145"/>
                  </a:lnTo>
                  <a:lnTo>
                    <a:pt x="774" y="159"/>
                  </a:lnTo>
                  <a:lnTo>
                    <a:pt x="788" y="174"/>
                  </a:lnTo>
                  <a:lnTo>
                    <a:pt x="802" y="189"/>
                  </a:lnTo>
                  <a:lnTo>
                    <a:pt x="815" y="206"/>
                  </a:lnTo>
                  <a:lnTo>
                    <a:pt x="826" y="224"/>
                  </a:lnTo>
                  <a:lnTo>
                    <a:pt x="838" y="240"/>
                  </a:lnTo>
                  <a:lnTo>
                    <a:pt x="848" y="259"/>
                  </a:lnTo>
                  <a:lnTo>
                    <a:pt x="858" y="278"/>
                  </a:lnTo>
                  <a:lnTo>
                    <a:pt x="867" y="297"/>
                  </a:lnTo>
                  <a:lnTo>
                    <a:pt x="875" y="317"/>
                  </a:lnTo>
                  <a:lnTo>
                    <a:pt x="882" y="337"/>
                  </a:lnTo>
                  <a:lnTo>
                    <a:pt x="887" y="358"/>
                  </a:lnTo>
                  <a:lnTo>
                    <a:pt x="892" y="379"/>
                  </a:lnTo>
                  <a:lnTo>
                    <a:pt x="896" y="400"/>
                  </a:lnTo>
                  <a:lnTo>
                    <a:pt x="898" y="421"/>
                  </a:lnTo>
                  <a:lnTo>
                    <a:pt x="901" y="444"/>
                  </a:lnTo>
                  <a:lnTo>
                    <a:pt x="901" y="466"/>
                  </a:lnTo>
                  <a:lnTo>
                    <a:pt x="901" y="489"/>
                  </a:lnTo>
                  <a:lnTo>
                    <a:pt x="898" y="510"/>
                  </a:lnTo>
                  <a:lnTo>
                    <a:pt x="896" y="532"/>
                  </a:lnTo>
                  <a:lnTo>
                    <a:pt x="892" y="554"/>
                  </a:lnTo>
                  <a:lnTo>
                    <a:pt x="887" y="575"/>
                  </a:lnTo>
                  <a:lnTo>
                    <a:pt x="882" y="596"/>
                  </a:lnTo>
                  <a:lnTo>
                    <a:pt x="875" y="616"/>
                  </a:lnTo>
                  <a:lnTo>
                    <a:pt x="867" y="636"/>
                  </a:lnTo>
                  <a:lnTo>
                    <a:pt x="858" y="655"/>
                  </a:lnTo>
                  <a:lnTo>
                    <a:pt x="848" y="674"/>
                  </a:lnTo>
                  <a:lnTo>
                    <a:pt x="838" y="691"/>
                  </a:lnTo>
                  <a:lnTo>
                    <a:pt x="826" y="709"/>
                  </a:lnTo>
                  <a:lnTo>
                    <a:pt x="815" y="727"/>
                  </a:lnTo>
                  <a:lnTo>
                    <a:pt x="802" y="742"/>
                  </a:lnTo>
                  <a:lnTo>
                    <a:pt x="788" y="759"/>
                  </a:lnTo>
                  <a:lnTo>
                    <a:pt x="774" y="774"/>
                  </a:lnTo>
                  <a:lnTo>
                    <a:pt x="758" y="788"/>
                  </a:lnTo>
                  <a:lnTo>
                    <a:pt x="743" y="802"/>
                  </a:lnTo>
                  <a:lnTo>
                    <a:pt x="726" y="815"/>
                  </a:lnTo>
                  <a:lnTo>
                    <a:pt x="709" y="827"/>
                  </a:lnTo>
                  <a:lnTo>
                    <a:pt x="692" y="838"/>
                  </a:lnTo>
                  <a:lnTo>
                    <a:pt x="673" y="849"/>
                  </a:lnTo>
                  <a:lnTo>
                    <a:pt x="654" y="858"/>
                  </a:lnTo>
                  <a:lnTo>
                    <a:pt x="635" y="867"/>
                  </a:lnTo>
                  <a:lnTo>
                    <a:pt x="615" y="875"/>
                  </a:lnTo>
                  <a:lnTo>
                    <a:pt x="595" y="881"/>
                  </a:lnTo>
                  <a:lnTo>
                    <a:pt x="575" y="888"/>
                  </a:lnTo>
                  <a:lnTo>
                    <a:pt x="554" y="892"/>
                  </a:lnTo>
                  <a:lnTo>
                    <a:pt x="532" y="897"/>
                  </a:lnTo>
                  <a:lnTo>
                    <a:pt x="511" y="899"/>
                  </a:lnTo>
                  <a:lnTo>
                    <a:pt x="488" y="901"/>
                  </a:lnTo>
                  <a:lnTo>
                    <a:pt x="466" y="901"/>
                  </a:lnTo>
                  <a:close/>
                  <a:moveTo>
                    <a:pt x="466" y="0"/>
                  </a:moveTo>
                  <a:lnTo>
                    <a:pt x="442" y="0"/>
                  </a:lnTo>
                  <a:lnTo>
                    <a:pt x="418" y="2"/>
                  </a:lnTo>
                  <a:lnTo>
                    <a:pt x="395" y="6"/>
                  </a:lnTo>
                  <a:lnTo>
                    <a:pt x="372" y="9"/>
                  </a:lnTo>
                  <a:lnTo>
                    <a:pt x="349" y="15"/>
                  </a:lnTo>
                  <a:lnTo>
                    <a:pt x="327" y="21"/>
                  </a:lnTo>
                  <a:lnTo>
                    <a:pt x="306" y="28"/>
                  </a:lnTo>
                  <a:lnTo>
                    <a:pt x="285" y="37"/>
                  </a:lnTo>
                  <a:lnTo>
                    <a:pt x="264" y="46"/>
                  </a:lnTo>
                  <a:lnTo>
                    <a:pt x="244" y="56"/>
                  </a:lnTo>
                  <a:lnTo>
                    <a:pt x="224" y="68"/>
                  </a:lnTo>
                  <a:lnTo>
                    <a:pt x="205" y="79"/>
                  </a:lnTo>
                  <a:lnTo>
                    <a:pt x="187" y="92"/>
                  </a:lnTo>
                  <a:lnTo>
                    <a:pt x="169" y="107"/>
                  </a:lnTo>
                  <a:lnTo>
                    <a:pt x="153" y="121"/>
                  </a:lnTo>
                  <a:lnTo>
                    <a:pt x="136" y="137"/>
                  </a:lnTo>
                  <a:lnTo>
                    <a:pt x="121" y="152"/>
                  </a:lnTo>
                  <a:lnTo>
                    <a:pt x="106" y="170"/>
                  </a:lnTo>
                  <a:lnTo>
                    <a:pt x="93" y="187"/>
                  </a:lnTo>
                  <a:lnTo>
                    <a:pt x="79" y="206"/>
                  </a:lnTo>
                  <a:lnTo>
                    <a:pt x="67" y="225"/>
                  </a:lnTo>
                  <a:lnTo>
                    <a:pt x="56" y="245"/>
                  </a:lnTo>
                  <a:lnTo>
                    <a:pt x="46" y="265"/>
                  </a:lnTo>
                  <a:lnTo>
                    <a:pt x="36" y="285"/>
                  </a:lnTo>
                  <a:lnTo>
                    <a:pt x="28" y="306"/>
                  </a:lnTo>
                  <a:lnTo>
                    <a:pt x="21" y="328"/>
                  </a:lnTo>
                  <a:lnTo>
                    <a:pt x="14" y="350"/>
                  </a:lnTo>
                  <a:lnTo>
                    <a:pt x="10" y="372"/>
                  </a:lnTo>
                  <a:lnTo>
                    <a:pt x="5" y="396"/>
                  </a:lnTo>
                  <a:lnTo>
                    <a:pt x="2" y="419"/>
                  </a:lnTo>
                  <a:lnTo>
                    <a:pt x="1" y="442"/>
                  </a:lnTo>
                  <a:lnTo>
                    <a:pt x="0" y="466"/>
                  </a:lnTo>
                  <a:lnTo>
                    <a:pt x="1" y="490"/>
                  </a:lnTo>
                  <a:lnTo>
                    <a:pt x="2" y="514"/>
                  </a:lnTo>
                  <a:lnTo>
                    <a:pt x="5" y="537"/>
                  </a:lnTo>
                  <a:lnTo>
                    <a:pt x="10" y="560"/>
                  </a:lnTo>
                  <a:lnTo>
                    <a:pt x="14" y="582"/>
                  </a:lnTo>
                  <a:lnTo>
                    <a:pt x="21" y="605"/>
                  </a:lnTo>
                  <a:lnTo>
                    <a:pt x="28" y="627"/>
                  </a:lnTo>
                  <a:lnTo>
                    <a:pt x="36" y="648"/>
                  </a:lnTo>
                  <a:lnTo>
                    <a:pt x="46" y="668"/>
                  </a:lnTo>
                  <a:lnTo>
                    <a:pt x="56" y="688"/>
                  </a:lnTo>
                  <a:lnTo>
                    <a:pt x="67" y="708"/>
                  </a:lnTo>
                  <a:lnTo>
                    <a:pt x="79" y="727"/>
                  </a:lnTo>
                  <a:lnTo>
                    <a:pt x="93" y="745"/>
                  </a:lnTo>
                  <a:lnTo>
                    <a:pt x="106" y="762"/>
                  </a:lnTo>
                  <a:lnTo>
                    <a:pt x="121" y="779"/>
                  </a:lnTo>
                  <a:lnTo>
                    <a:pt x="136" y="796"/>
                  </a:lnTo>
                  <a:lnTo>
                    <a:pt x="153" y="811"/>
                  </a:lnTo>
                  <a:lnTo>
                    <a:pt x="169" y="826"/>
                  </a:lnTo>
                  <a:lnTo>
                    <a:pt x="187" y="840"/>
                  </a:lnTo>
                  <a:lnTo>
                    <a:pt x="205" y="852"/>
                  </a:lnTo>
                  <a:lnTo>
                    <a:pt x="224" y="865"/>
                  </a:lnTo>
                  <a:lnTo>
                    <a:pt x="244" y="876"/>
                  </a:lnTo>
                  <a:lnTo>
                    <a:pt x="264" y="887"/>
                  </a:lnTo>
                  <a:lnTo>
                    <a:pt x="285" y="896"/>
                  </a:lnTo>
                  <a:lnTo>
                    <a:pt x="306" y="905"/>
                  </a:lnTo>
                  <a:lnTo>
                    <a:pt x="327" y="911"/>
                  </a:lnTo>
                  <a:lnTo>
                    <a:pt x="349" y="918"/>
                  </a:lnTo>
                  <a:lnTo>
                    <a:pt x="372" y="924"/>
                  </a:lnTo>
                  <a:lnTo>
                    <a:pt x="395" y="927"/>
                  </a:lnTo>
                  <a:lnTo>
                    <a:pt x="418" y="930"/>
                  </a:lnTo>
                  <a:lnTo>
                    <a:pt x="442" y="932"/>
                  </a:lnTo>
                  <a:lnTo>
                    <a:pt x="466" y="932"/>
                  </a:lnTo>
                  <a:lnTo>
                    <a:pt x="489" y="932"/>
                  </a:lnTo>
                  <a:lnTo>
                    <a:pt x="514" y="930"/>
                  </a:lnTo>
                  <a:lnTo>
                    <a:pt x="537" y="927"/>
                  </a:lnTo>
                  <a:lnTo>
                    <a:pt x="559" y="924"/>
                  </a:lnTo>
                  <a:lnTo>
                    <a:pt x="583" y="918"/>
                  </a:lnTo>
                  <a:lnTo>
                    <a:pt x="604" y="911"/>
                  </a:lnTo>
                  <a:lnTo>
                    <a:pt x="626" y="905"/>
                  </a:lnTo>
                  <a:lnTo>
                    <a:pt x="647" y="896"/>
                  </a:lnTo>
                  <a:lnTo>
                    <a:pt x="668" y="887"/>
                  </a:lnTo>
                  <a:lnTo>
                    <a:pt x="688" y="876"/>
                  </a:lnTo>
                  <a:lnTo>
                    <a:pt x="707" y="865"/>
                  </a:lnTo>
                  <a:lnTo>
                    <a:pt x="726" y="852"/>
                  </a:lnTo>
                  <a:lnTo>
                    <a:pt x="745" y="840"/>
                  </a:lnTo>
                  <a:lnTo>
                    <a:pt x="763" y="826"/>
                  </a:lnTo>
                  <a:lnTo>
                    <a:pt x="779" y="811"/>
                  </a:lnTo>
                  <a:lnTo>
                    <a:pt x="795" y="796"/>
                  </a:lnTo>
                  <a:lnTo>
                    <a:pt x="811" y="779"/>
                  </a:lnTo>
                  <a:lnTo>
                    <a:pt x="825" y="762"/>
                  </a:lnTo>
                  <a:lnTo>
                    <a:pt x="839" y="745"/>
                  </a:lnTo>
                  <a:lnTo>
                    <a:pt x="853" y="727"/>
                  </a:lnTo>
                  <a:lnTo>
                    <a:pt x="865" y="708"/>
                  </a:lnTo>
                  <a:lnTo>
                    <a:pt x="876" y="688"/>
                  </a:lnTo>
                  <a:lnTo>
                    <a:pt x="886" y="668"/>
                  </a:lnTo>
                  <a:lnTo>
                    <a:pt x="895" y="648"/>
                  </a:lnTo>
                  <a:lnTo>
                    <a:pt x="904" y="627"/>
                  </a:lnTo>
                  <a:lnTo>
                    <a:pt x="912" y="605"/>
                  </a:lnTo>
                  <a:lnTo>
                    <a:pt x="917" y="582"/>
                  </a:lnTo>
                  <a:lnTo>
                    <a:pt x="923" y="560"/>
                  </a:lnTo>
                  <a:lnTo>
                    <a:pt x="927" y="537"/>
                  </a:lnTo>
                  <a:lnTo>
                    <a:pt x="929" y="514"/>
                  </a:lnTo>
                  <a:lnTo>
                    <a:pt x="932" y="490"/>
                  </a:lnTo>
                  <a:lnTo>
                    <a:pt x="932" y="466"/>
                  </a:lnTo>
                  <a:lnTo>
                    <a:pt x="932" y="442"/>
                  </a:lnTo>
                  <a:lnTo>
                    <a:pt x="929" y="419"/>
                  </a:lnTo>
                  <a:lnTo>
                    <a:pt x="927" y="396"/>
                  </a:lnTo>
                  <a:lnTo>
                    <a:pt x="923" y="372"/>
                  </a:lnTo>
                  <a:lnTo>
                    <a:pt x="917" y="350"/>
                  </a:lnTo>
                  <a:lnTo>
                    <a:pt x="912" y="328"/>
                  </a:lnTo>
                  <a:lnTo>
                    <a:pt x="904" y="306"/>
                  </a:lnTo>
                  <a:lnTo>
                    <a:pt x="895" y="285"/>
                  </a:lnTo>
                  <a:lnTo>
                    <a:pt x="886" y="265"/>
                  </a:lnTo>
                  <a:lnTo>
                    <a:pt x="876" y="245"/>
                  </a:lnTo>
                  <a:lnTo>
                    <a:pt x="865" y="225"/>
                  </a:lnTo>
                  <a:lnTo>
                    <a:pt x="853" y="206"/>
                  </a:lnTo>
                  <a:lnTo>
                    <a:pt x="839" y="187"/>
                  </a:lnTo>
                  <a:lnTo>
                    <a:pt x="825" y="170"/>
                  </a:lnTo>
                  <a:lnTo>
                    <a:pt x="811" y="152"/>
                  </a:lnTo>
                  <a:lnTo>
                    <a:pt x="795" y="137"/>
                  </a:lnTo>
                  <a:lnTo>
                    <a:pt x="779" y="121"/>
                  </a:lnTo>
                  <a:lnTo>
                    <a:pt x="763" y="107"/>
                  </a:lnTo>
                  <a:lnTo>
                    <a:pt x="745" y="92"/>
                  </a:lnTo>
                  <a:lnTo>
                    <a:pt x="726" y="80"/>
                  </a:lnTo>
                  <a:lnTo>
                    <a:pt x="707" y="68"/>
                  </a:lnTo>
                  <a:lnTo>
                    <a:pt x="688" y="56"/>
                  </a:lnTo>
                  <a:lnTo>
                    <a:pt x="668" y="46"/>
                  </a:lnTo>
                  <a:lnTo>
                    <a:pt x="647" y="37"/>
                  </a:lnTo>
                  <a:lnTo>
                    <a:pt x="626" y="28"/>
                  </a:lnTo>
                  <a:lnTo>
                    <a:pt x="604" y="21"/>
                  </a:lnTo>
                  <a:lnTo>
                    <a:pt x="583" y="15"/>
                  </a:lnTo>
                  <a:lnTo>
                    <a:pt x="559" y="9"/>
                  </a:lnTo>
                  <a:lnTo>
                    <a:pt x="537" y="6"/>
                  </a:lnTo>
                  <a:lnTo>
                    <a:pt x="514" y="2"/>
                  </a:lnTo>
                  <a:lnTo>
                    <a:pt x="489"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7" name="Freeform 328">
              <a:extLst>
                <a:ext uri="{FF2B5EF4-FFF2-40B4-BE49-F238E27FC236}">
                  <a16:creationId xmlns:a16="http://schemas.microsoft.com/office/drawing/2014/main" id="{AA611B13-D1AB-400C-92B8-B70BDE984421}"/>
                </a:ext>
              </a:extLst>
            </p:cNvPr>
            <p:cNvSpPr>
              <a:spLocks noEditPoints="1"/>
            </p:cNvSpPr>
            <p:nvPr/>
          </p:nvSpPr>
          <p:spPr bwMode="auto">
            <a:xfrm>
              <a:off x="9407782" y="2590341"/>
              <a:ext cx="118286" cy="118286"/>
            </a:xfrm>
            <a:custGeom>
              <a:avLst/>
              <a:gdLst>
                <a:gd name="T0" fmla="*/ 31 w 384"/>
                <a:gd name="T1" fmla="*/ 342 h 383"/>
                <a:gd name="T2" fmla="*/ 31 w 384"/>
                <a:gd name="T3" fmla="*/ 40 h 383"/>
                <a:gd name="T4" fmla="*/ 334 w 384"/>
                <a:gd name="T5" fmla="*/ 191 h 383"/>
                <a:gd name="T6" fmla="*/ 31 w 384"/>
                <a:gd name="T7" fmla="*/ 342 h 383"/>
                <a:gd name="T8" fmla="*/ 375 w 384"/>
                <a:gd name="T9" fmla="*/ 177 h 383"/>
                <a:gd name="T10" fmla="*/ 23 w 384"/>
                <a:gd name="T11" fmla="*/ 1 h 383"/>
                <a:gd name="T12" fmla="*/ 19 w 384"/>
                <a:gd name="T13" fmla="*/ 0 h 383"/>
                <a:gd name="T14" fmla="*/ 15 w 384"/>
                <a:gd name="T15" fmla="*/ 0 h 383"/>
                <a:gd name="T16" fmla="*/ 11 w 384"/>
                <a:gd name="T17" fmla="*/ 0 h 383"/>
                <a:gd name="T18" fmla="*/ 8 w 384"/>
                <a:gd name="T19" fmla="*/ 2 h 383"/>
                <a:gd name="T20" fmla="*/ 4 w 384"/>
                <a:gd name="T21" fmla="*/ 4 h 383"/>
                <a:gd name="T22" fmla="*/ 2 w 384"/>
                <a:gd name="T23" fmla="*/ 7 h 383"/>
                <a:gd name="T24" fmla="*/ 1 w 384"/>
                <a:gd name="T25" fmla="*/ 11 h 383"/>
                <a:gd name="T26" fmla="*/ 0 w 384"/>
                <a:gd name="T27" fmla="*/ 15 h 383"/>
                <a:gd name="T28" fmla="*/ 0 w 384"/>
                <a:gd name="T29" fmla="*/ 367 h 383"/>
                <a:gd name="T30" fmla="*/ 1 w 384"/>
                <a:gd name="T31" fmla="*/ 372 h 383"/>
                <a:gd name="T32" fmla="*/ 2 w 384"/>
                <a:gd name="T33" fmla="*/ 375 h 383"/>
                <a:gd name="T34" fmla="*/ 4 w 384"/>
                <a:gd name="T35" fmla="*/ 379 h 383"/>
                <a:gd name="T36" fmla="*/ 8 w 384"/>
                <a:gd name="T37" fmla="*/ 381 h 383"/>
                <a:gd name="T38" fmla="*/ 12 w 384"/>
                <a:gd name="T39" fmla="*/ 383 h 383"/>
                <a:gd name="T40" fmla="*/ 15 w 384"/>
                <a:gd name="T41" fmla="*/ 383 h 383"/>
                <a:gd name="T42" fmla="*/ 20 w 384"/>
                <a:gd name="T43" fmla="*/ 383 h 383"/>
                <a:gd name="T44" fmla="*/ 23 w 384"/>
                <a:gd name="T45" fmla="*/ 382 h 383"/>
                <a:gd name="T46" fmla="*/ 375 w 384"/>
                <a:gd name="T47" fmla="*/ 205 h 383"/>
                <a:gd name="T48" fmla="*/ 379 w 384"/>
                <a:gd name="T49" fmla="*/ 203 h 383"/>
                <a:gd name="T50" fmla="*/ 382 w 384"/>
                <a:gd name="T51" fmla="*/ 200 h 383"/>
                <a:gd name="T52" fmla="*/ 383 w 384"/>
                <a:gd name="T53" fmla="*/ 195 h 383"/>
                <a:gd name="T54" fmla="*/ 384 w 384"/>
                <a:gd name="T55" fmla="*/ 191 h 383"/>
                <a:gd name="T56" fmla="*/ 383 w 384"/>
                <a:gd name="T57" fmla="*/ 187 h 383"/>
                <a:gd name="T58" fmla="*/ 382 w 384"/>
                <a:gd name="T59" fmla="*/ 183 h 383"/>
                <a:gd name="T60" fmla="*/ 379 w 384"/>
                <a:gd name="T61" fmla="*/ 180 h 383"/>
                <a:gd name="T62" fmla="*/ 375 w 384"/>
                <a:gd name="T63" fmla="*/ 17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4" h="383">
                  <a:moveTo>
                    <a:pt x="31" y="342"/>
                  </a:moveTo>
                  <a:lnTo>
                    <a:pt x="31" y="40"/>
                  </a:lnTo>
                  <a:lnTo>
                    <a:pt x="334" y="191"/>
                  </a:lnTo>
                  <a:lnTo>
                    <a:pt x="31" y="342"/>
                  </a:lnTo>
                  <a:close/>
                  <a:moveTo>
                    <a:pt x="375" y="177"/>
                  </a:moveTo>
                  <a:lnTo>
                    <a:pt x="23" y="1"/>
                  </a:lnTo>
                  <a:lnTo>
                    <a:pt x="19" y="0"/>
                  </a:lnTo>
                  <a:lnTo>
                    <a:pt x="15" y="0"/>
                  </a:lnTo>
                  <a:lnTo>
                    <a:pt x="11" y="0"/>
                  </a:lnTo>
                  <a:lnTo>
                    <a:pt x="8" y="2"/>
                  </a:lnTo>
                  <a:lnTo>
                    <a:pt x="4" y="4"/>
                  </a:lnTo>
                  <a:lnTo>
                    <a:pt x="2" y="7"/>
                  </a:lnTo>
                  <a:lnTo>
                    <a:pt x="1" y="11"/>
                  </a:lnTo>
                  <a:lnTo>
                    <a:pt x="0" y="15"/>
                  </a:lnTo>
                  <a:lnTo>
                    <a:pt x="0" y="367"/>
                  </a:lnTo>
                  <a:lnTo>
                    <a:pt x="1" y="372"/>
                  </a:lnTo>
                  <a:lnTo>
                    <a:pt x="2" y="375"/>
                  </a:lnTo>
                  <a:lnTo>
                    <a:pt x="4" y="379"/>
                  </a:lnTo>
                  <a:lnTo>
                    <a:pt x="8" y="381"/>
                  </a:lnTo>
                  <a:lnTo>
                    <a:pt x="12" y="383"/>
                  </a:lnTo>
                  <a:lnTo>
                    <a:pt x="15" y="383"/>
                  </a:lnTo>
                  <a:lnTo>
                    <a:pt x="20" y="383"/>
                  </a:lnTo>
                  <a:lnTo>
                    <a:pt x="23" y="382"/>
                  </a:lnTo>
                  <a:lnTo>
                    <a:pt x="375" y="205"/>
                  </a:lnTo>
                  <a:lnTo>
                    <a:pt x="379" y="203"/>
                  </a:lnTo>
                  <a:lnTo>
                    <a:pt x="382" y="200"/>
                  </a:lnTo>
                  <a:lnTo>
                    <a:pt x="383" y="195"/>
                  </a:lnTo>
                  <a:lnTo>
                    <a:pt x="384" y="191"/>
                  </a:lnTo>
                  <a:lnTo>
                    <a:pt x="383" y="187"/>
                  </a:lnTo>
                  <a:lnTo>
                    <a:pt x="382" y="183"/>
                  </a:lnTo>
                  <a:lnTo>
                    <a:pt x="379" y="180"/>
                  </a:lnTo>
                  <a:lnTo>
                    <a:pt x="375"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61" name="Group 122">
            <a:extLst>
              <a:ext uri="{FF2B5EF4-FFF2-40B4-BE49-F238E27FC236}">
                <a16:creationId xmlns:a16="http://schemas.microsoft.com/office/drawing/2014/main" id="{2F8107FC-15A8-4998-B192-0A649DECFAEF}"/>
              </a:ext>
            </a:extLst>
          </p:cNvPr>
          <p:cNvGrpSpPr>
            <a:grpSpLocks noChangeAspect="1"/>
          </p:cNvGrpSpPr>
          <p:nvPr/>
        </p:nvGrpSpPr>
        <p:grpSpPr>
          <a:xfrm>
            <a:off x="5360346" y="2186361"/>
            <a:ext cx="321321" cy="285619"/>
            <a:chOff x="307975" y="3641725"/>
            <a:chExt cx="285750" cy="279400"/>
          </a:xfrm>
          <a:solidFill>
            <a:schemeClr val="bg2"/>
          </a:solidFill>
          <a:effectLst/>
        </p:grpSpPr>
        <p:sp>
          <p:nvSpPr>
            <p:cNvPr id="562" name="Freeform 213">
              <a:extLst>
                <a:ext uri="{FF2B5EF4-FFF2-40B4-BE49-F238E27FC236}">
                  <a16:creationId xmlns:a16="http://schemas.microsoft.com/office/drawing/2014/main" id="{77747751-12AA-4DA7-8746-3E9843953B91}"/>
                </a:ext>
              </a:extLst>
            </p:cNvPr>
            <p:cNvSpPr>
              <a:spLocks noEditPoints="1"/>
            </p:cNvSpPr>
            <p:nvPr/>
          </p:nvSpPr>
          <p:spPr bwMode="auto">
            <a:xfrm>
              <a:off x="307975" y="3641725"/>
              <a:ext cx="285750" cy="279400"/>
            </a:xfrm>
            <a:custGeom>
              <a:avLst/>
              <a:gdLst>
                <a:gd name="T0" fmla="*/ 803 w 902"/>
                <a:gd name="T1" fmla="*/ 688 h 881"/>
                <a:gd name="T2" fmla="*/ 869 w 902"/>
                <a:gd name="T3" fmla="*/ 850 h 881"/>
                <a:gd name="T4" fmla="*/ 222 w 902"/>
                <a:gd name="T5" fmla="*/ 643 h 881"/>
                <a:gd name="T6" fmla="*/ 82 w 902"/>
                <a:gd name="T7" fmla="*/ 710 h 881"/>
                <a:gd name="T8" fmla="*/ 370 w 902"/>
                <a:gd name="T9" fmla="*/ 439 h 881"/>
                <a:gd name="T10" fmla="*/ 355 w 902"/>
                <a:gd name="T11" fmla="*/ 413 h 881"/>
                <a:gd name="T12" fmla="*/ 329 w 902"/>
                <a:gd name="T13" fmla="*/ 318 h 881"/>
                <a:gd name="T14" fmla="*/ 351 w 902"/>
                <a:gd name="T15" fmla="*/ 216 h 881"/>
                <a:gd name="T16" fmla="*/ 327 w 902"/>
                <a:gd name="T17" fmla="*/ 211 h 881"/>
                <a:gd name="T18" fmla="*/ 305 w 902"/>
                <a:gd name="T19" fmla="*/ 267 h 881"/>
                <a:gd name="T20" fmla="*/ 270 w 902"/>
                <a:gd name="T21" fmla="*/ 287 h 881"/>
                <a:gd name="T22" fmla="*/ 274 w 902"/>
                <a:gd name="T23" fmla="*/ 311 h 881"/>
                <a:gd name="T24" fmla="*/ 317 w 902"/>
                <a:gd name="T25" fmla="*/ 412 h 881"/>
                <a:gd name="T26" fmla="*/ 251 w 902"/>
                <a:gd name="T27" fmla="*/ 471 h 881"/>
                <a:gd name="T28" fmla="*/ 185 w 902"/>
                <a:gd name="T29" fmla="*/ 427 h 881"/>
                <a:gd name="T30" fmla="*/ 228 w 902"/>
                <a:gd name="T31" fmla="*/ 267 h 881"/>
                <a:gd name="T32" fmla="*/ 293 w 902"/>
                <a:gd name="T33" fmla="*/ 52 h 881"/>
                <a:gd name="T34" fmla="*/ 365 w 902"/>
                <a:gd name="T35" fmla="*/ 32 h 881"/>
                <a:gd name="T36" fmla="*/ 459 w 902"/>
                <a:gd name="T37" fmla="*/ 67 h 881"/>
                <a:gd name="T38" fmla="*/ 572 w 902"/>
                <a:gd name="T39" fmla="*/ 31 h 881"/>
                <a:gd name="T40" fmla="*/ 641 w 902"/>
                <a:gd name="T41" fmla="*/ 107 h 881"/>
                <a:gd name="T42" fmla="*/ 693 w 902"/>
                <a:gd name="T43" fmla="*/ 374 h 881"/>
                <a:gd name="T44" fmla="*/ 714 w 902"/>
                <a:gd name="T45" fmla="*/ 455 h 881"/>
                <a:gd name="T46" fmla="*/ 603 w 902"/>
                <a:gd name="T47" fmla="*/ 462 h 881"/>
                <a:gd name="T48" fmla="*/ 601 w 902"/>
                <a:gd name="T49" fmla="*/ 353 h 881"/>
                <a:gd name="T50" fmla="*/ 635 w 902"/>
                <a:gd name="T51" fmla="*/ 303 h 881"/>
                <a:gd name="T52" fmla="*/ 622 w 902"/>
                <a:gd name="T53" fmla="*/ 283 h 881"/>
                <a:gd name="T54" fmla="*/ 584 w 902"/>
                <a:gd name="T55" fmla="*/ 242 h 881"/>
                <a:gd name="T56" fmla="*/ 565 w 902"/>
                <a:gd name="T57" fmla="*/ 207 h 881"/>
                <a:gd name="T58" fmla="*/ 554 w 902"/>
                <a:gd name="T59" fmla="*/ 249 h 881"/>
                <a:gd name="T60" fmla="*/ 567 w 902"/>
                <a:gd name="T61" fmla="*/ 372 h 881"/>
                <a:gd name="T62" fmla="*/ 535 w 902"/>
                <a:gd name="T63" fmla="*/ 418 h 881"/>
                <a:gd name="T64" fmla="*/ 541 w 902"/>
                <a:gd name="T65" fmla="*/ 444 h 881"/>
                <a:gd name="T66" fmla="*/ 588 w 902"/>
                <a:gd name="T67" fmla="*/ 624 h 881"/>
                <a:gd name="T68" fmla="*/ 295 w 902"/>
                <a:gd name="T69" fmla="*/ 632 h 881"/>
                <a:gd name="T70" fmla="*/ 358 w 902"/>
                <a:gd name="T71" fmla="*/ 562 h 881"/>
                <a:gd name="T72" fmla="*/ 658 w 902"/>
                <a:gd name="T73" fmla="*/ 611 h 881"/>
                <a:gd name="T74" fmla="*/ 575 w 902"/>
                <a:gd name="T75" fmla="*/ 566 h 881"/>
                <a:gd name="T76" fmla="*/ 629 w 902"/>
                <a:gd name="T77" fmla="*/ 504 h 881"/>
                <a:gd name="T78" fmla="*/ 717 w 902"/>
                <a:gd name="T79" fmla="*/ 488 h 881"/>
                <a:gd name="T80" fmla="*/ 769 w 902"/>
                <a:gd name="T81" fmla="*/ 431 h 881"/>
                <a:gd name="T82" fmla="*/ 735 w 902"/>
                <a:gd name="T83" fmla="*/ 401 h 881"/>
                <a:gd name="T84" fmla="*/ 689 w 902"/>
                <a:gd name="T85" fmla="*/ 173 h 881"/>
                <a:gd name="T86" fmla="*/ 624 w 902"/>
                <a:gd name="T87" fmla="*/ 25 h 881"/>
                <a:gd name="T88" fmla="*/ 534 w 902"/>
                <a:gd name="T89" fmla="*/ 2 h 881"/>
                <a:gd name="T90" fmla="*/ 394 w 902"/>
                <a:gd name="T91" fmla="*/ 9 h 881"/>
                <a:gd name="T92" fmla="*/ 291 w 902"/>
                <a:gd name="T93" fmla="*/ 14 h 881"/>
                <a:gd name="T94" fmla="*/ 223 w 902"/>
                <a:gd name="T95" fmla="*/ 128 h 881"/>
                <a:gd name="T96" fmla="*/ 173 w 902"/>
                <a:gd name="T97" fmla="*/ 386 h 881"/>
                <a:gd name="T98" fmla="*/ 134 w 902"/>
                <a:gd name="T99" fmla="*/ 424 h 881"/>
                <a:gd name="T100" fmla="*/ 182 w 902"/>
                <a:gd name="T101" fmla="*/ 481 h 881"/>
                <a:gd name="T102" fmla="*/ 293 w 902"/>
                <a:gd name="T103" fmla="*/ 493 h 881"/>
                <a:gd name="T104" fmla="*/ 319 w 902"/>
                <a:gd name="T105" fmla="*/ 581 h 881"/>
                <a:gd name="T106" fmla="*/ 186 w 902"/>
                <a:gd name="T107" fmla="*/ 618 h 881"/>
                <a:gd name="T108" fmla="*/ 62 w 902"/>
                <a:gd name="T109" fmla="*/ 687 h 881"/>
                <a:gd name="T110" fmla="*/ 0 w 902"/>
                <a:gd name="T111" fmla="*/ 867 h 881"/>
                <a:gd name="T112" fmla="*/ 893 w 902"/>
                <a:gd name="T113" fmla="*/ 879 h 881"/>
                <a:gd name="T114" fmla="*/ 881 w 902"/>
                <a:gd name="T115" fmla="*/ 775 h 881"/>
                <a:gd name="T116" fmla="*/ 802 w 902"/>
                <a:gd name="T117" fmla="*/ 645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881">
                  <a:moveTo>
                    <a:pt x="555" y="850"/>
                  </a:moveTo>
                  <a:lnTo>
                    <a:pt x="698" y="645"/>
                  </a:lnTo>
                  <a:lnTo>
                    <a:pt x="721" y="649"/>
                  </a:lnTo>
                  <a:lnTo>
                    <a:pt x="745" y="653"/>
                  </a:lnTo>
                  <a:lnTo>
                    <a:pt x="756" y="656"/>
                  </a:lnTo>
                  <a:lnTo>
                    <a:pt x="765" y="659"/>
                  </a:lnTo>
                  <a:lnTo>
                    <a:pt x="775" y="665"/>
                  </a:lnTo>
                  <a:lnTo>
                    <a:pt x="783" y="670"/>
                  </a:lnTo>
                  <a:lnTo>
                    <a:pt x="793" y="679"/>
                  </a:lnTo>
                  <a:lnTo>
                    <a:pt x="803" y="688"/>
                  </a:lnTo>
                  <a:lnTo>
                    <a:pt x="811" y="699"/>
                  </a:lnTo>
                  <a:lnTo>
                    <a:pt x="819" y="710"/>
                  </a:lnTo>
                  <a:lnTo>
                    <a:pt x="826" y="723"/>
                  </a:lnTo>
                  <a:lnTo>
                    <a:pt x="833" y="734"/>
                  </a:lnTo>
                  <a:lnTo>
                    <a:pt x="839" y="748"/>
                  </a:lnTo>
                  <a:lnTo>
                    <a:pt x="845" y="761"/>
                  </a:lnTo>
                  <a:lnTo>
                    <a:pt x="853" y="787"/>
                  </a:lnTo>
                  <a:lnTo>
                    <a:pt x="861" y="812"/>
                  </a:lnTo>
                  <a:lnTo>
                    <a:pt x="866" y="833"/>
                  </a:lnTo>
                  <a:lnTo>
                    <a:pt x="869" y="850"/>
                  </a:lnTo>
                  <a:lnTo>
                    <a:pt x="555" y="850"/>
                  </a:lnTo>
                  <a:close/>
                  <a:moveTo>
                    <a:pt x="119" y="670"/>
                  </a:moveTo>
                  <a:lnTo>
                    <a:pt x="128" y="664"/>
                  </a:lnTo>
                  <a:lnTo>
                    <a:pt x="140" y="658"/>
                  </a:lnTo>
                  <a:lnTo>
                    <a:pt x="152" y="654"/>
                  </a:lnTo>
                  <a:lnTo>
                    <a:pt x="165" y="651"/>
                  </a:lnTo>
                  <a:lnTo>
                    <a:pt x="193" y="647"/>
                  </a:lnTo>
                  <a:lnTo>
                    <a:pt x="221" y="643"/>
                  </a:lnTo>
                  <a:lnTo>
                    <a:pt x="221" y="643"/>
                  </a:lnTo>
                  <a:lnTo>
                    <a:pt x="222" y="643"/>
                  </a:lnTo>
                  <a:lnTo>
                    <a:pt x="365" y="850"/>
                  </a:lnTo>
                  <a:lnTo>
                    <a:pt x="32" y="850"/>
                  </a:lnTo>
                  <a:lnTo>
                    <a:pt x="36" y="833"/>
                  </a:lnTo>
                  <a:lnTo>
                    <a:pt x="41" y="812"/>
                  </a:lnTo>
                  <a:lnTo>
                    <a:pt x="48" y="787"/>
                  </a:lnTo>
                  <a:lnTo>
                    <a:pt x="58" y="761"/>
                  </a:lnTo>
                  <a:lnTo>
                    <a:pt x="63" y="748"/>
                  </a:lnTo>
                  <a:lnTo>
                    <a:pt x="68" y="734"/>
                  </a:lnTo>
                  <a:lnTo>
                    <a:pt x="76" y="723"/>
                  </a:lnTo>
                  <a:lnTo>
                    <a:pt x="82" y="710"/>
                  </a:lnTo>
                  <a:lnTo>
                    <a:pt x="91" y="699"/>
                  </a:lnTo>
                  <a:lnTo>
                    <a:pt x="99" y="688"/>
                  </a:lnTo>
                  <a:lnTo>
                    <a:pt x="108" y="679"/>
                  </a:lnTo>
                  <a:lnTo>
                    <a:pt x="119" y="670"/>
                  </a:lnTo>
                  <a:close/>
                  <a:moveTo>
                    <a:pt x="361" y="535"/>
                  </a:moveTo>
                  <a:lnTo>
                    <a:pt x="361" y="447"/>
                  </a:lnTo>
                  <a:lnTo>
                    <a:pt x="363" y="445"/>
                  </a:lnTo>
                  <a:lnTo>
                    <a:pt x="365" y="444"/>
                  </a:lnTo>
                  <a:lnTo>
                    <a:pt x="367" y="442"/>
                  </a:lnTo>
                  <a:lnTo>
                    <a:pt x="370" y="439"/>
                  </a:lnTo>
                  <a:lnTo>
                    <a:pt x="371" y="435"/>
                  </a:lnTo>
                  <a:lnTo>
                    <a:pt x="371" y="433"/>
                  </a:lnTo>
                  <a:lnTo>
                    <a:pt x="371" y="430"/>
                  </a:lnTo>
                  <a:lnTo>
                    <a:pt x="370" y="427"/>
                  </a:lnTo>
                  <a:lnTo>
                    <a:pt x="368" y="425"/>
                  </a:lnTo>
                  <a:lnTo>
                    <a:pt x="366" y="422"/>
                  </a:lnTo>
                  <a:lnTo>
                    <a:pt x="364" y="420"/>
                  </a:lnTo>
                  <a:lnTo>
                    <a:pt x="362" y="419"/>
                  </a:lnTo>
                  <a:lnTo>
                    <a:pt x="360" y="417"/>
                  </a:lnTo>
                  <a:lnTo>
                    <a:pt x="355" y="413"/>
                  </a:lnTo>
                  <a:lnTo>
                    <a:pt x="351" y="410"/>
                  </a:lnTo>
                  <a:lnTo>
                    <a:pt x="348" y="405"/>
                  </a:lnTo>
                  <a:lnTo>
                    <a:pt x="345" y="400"/>
                  </a:lnTo>
                  <a:lnTo>
                    <a:pt x="342" y="392"/>
                  </a:lnTo>
                  <a:lnTo>
                    <a:pt x="338" y="384"/>
                  </a:lnTo>
                  <a:lnTo>
                    <a:pt x="335" y="374"/>
                  </a:lnTo>
                  <a:lnTo>
                    <a:pt x="332" y="363"/>
                  </a:lnTo>
                  <a:lnTo>
                    <a:pt x="331" y="351"/>
                  </a:lnTo>
                  <a:lnTo>
                    <a:pt x="330" y="336"/>
                  </a:lnTo>
                  <a:lnTo>
                    <a:pt x="329" y="318"/>
                  </a:lnTo>
                  <a:lnTo>
                    <a:pt x="330" y="300"/>
                  </a:lnTo>
                  <a:lnTo>
                    <a:pt x="333" y="280"/>
                  </a:lnTo>
                  <a:lnTo>
                    <a:pt x="337" y="271"/>
                  </a:lnTo>
                  <a:lnTo>
                    <a:pt x="341" y="264"/>
                  </a:lnTo>
                  <a:lnTo>
                    <a:pt x="345" y="256"/>
                  </a:lnTo>
                  <a:lnTo>
                    <a:pt x="347" y="249"/>
                  </a:lnTo>
                  <a:lnTo>
                    <a:pt x="350" y="234"/>
                  </a:lnTo>
                  <a:lnTo>
                    <a:pt x="352" y="222"/>
                  </a:lnTo>
                  <a:lnTo>
                    <a:pt x="351" y="219"/>
                  </a:lnTo>
                  <a:lnTo>
                    <a:pt x="351" y="216"/>
                  </a:lnTo>
                  <a:lnTo>
                    <a:pt x="349" y="213"/>
                  </a:lnTo>
                  <a:lnTo>
                    <a:pt x="348" y="211"/>
                  </a:lnTo>
                  <a:lnTo>
                    <a:pt x="345" y="209"/>
                  </a:lnTo>
                  <a:lnTo>
                    <a:pt x="343" y="208"/>
                  </a:lnTo>
                  <a:lnTo>
                    <a:pt x="340" y="207"/>
                  </a:lnTo>
                  <a:lnTo>
                    <a:pt x="337" y="207"/>
                  </a:lnTo>
                  <a:lnTo>
                    <a:pt x="334" y="207"/>
                  </a:lnTo>
                  <a:lnTo>
                    <a:pt x="331" y="208"/>
                  </a:lnTo>
                  <a:lnTo>
                    <a:pt x="329" y="209"/>
                  </a:lnTo>
                  <a:lnTo>
                    <a:pt x="327" y="211"/>
                  </a:lnTo>
                  <a:lnTo>
                    <a:pt x="325" y="213"/>
                  </a:lnTo>
                  <a:lnTo>
                    <a:pt x="323" y="216"/>
                  </a:lnTo>
                  <a:lnTo>
                    <a:pt x="322" y="219"/>
                  </a:lnTo>
                  <a:lnTo>
                    <a:pt x="322" y="222"/>
                  </a:lnTo>
                  <a:lnTo>
                    <a:pt x="321" y="231"/>
                  </a:lnTo>
                  <a:lnTo>
                    <a:pt x="317" y="242"/>
                  </a:lnTo>
                  <a:lnTo>
                    <a:pt x="313" y="255"/>
                  </a:lnTo>
                  <a:lnTo>
                    <a:pt x="305" y="267"/>
                  </a:lnTo>
                  <a:lnTo>
                    <a:pt x="305" y="267"/>
                  </a:lnTo>
                  <a:lnTo>
                    <a:pt x="305" y="267"/>
                  </a:lnTo>
                  <a:lnTo>
                    <a:pt x="300" y="273"/>
                  </a:lnTo>
                  <a:lnTo>
                    <a:pt x="293" y="278"/>
                  </a:lnTo>
                  <a:lnTo>
                    <a:pt x="290" y="280"/>
                  </a:lnTo>
                  <a:lnTo>
                    <a:pt x="287" y="281"/>
                  </a:lnTo>
                  <a:lnTo>
                    <a:pt x="284" y="282"/>
                  </a:lnTo>
                  <a:lnTo>
                    <a:pt x="281" y="283"/>
                  </a:lnTo>
                  <a:lnTo>
                    <a:pt x="277" y="283"/>
                  </a:lnTo>
                  <a:lnTo>
                    <a:pt x="274" y="284"/>
                  </a:lnTo>
                  <a:lnTo>
                    <a:pt x="272" y="285"/>
                  </a:lnTo>
                  <a:lnTo>
                    <a:pt x="270" y="287"/>
                  </a:lnTo>
                  <a:lnTo>
                    <a:pt x="268" y="290"/>
                  </a:lnTo>
                  <a:lnTo>
                    <a:pt x="267" y="292"/>
                  </a:lnTo>
                  <a:lnTo>
                    <a:pt x="266" y="295"/>
                  </a:lnTo>
                  <a:lnTo>
                    <a:pt x="266" y="298"/>
                  </a:lnTo>
                  <a:lnTo>
                    <a:pt x="266" y="300"/>
                  </a:lnTo>
                  <a:lnTo>
                    <a:pt x="267" y="303"/>
                  </a:lnTo>
                  <a:lnTo>
                    <a:pt x="268" y="306"/>
                  </a:lnTo>
                  <a:lnTo>
                    <a:pt x="270" y="308"/>
                  </a:lnTo>
                  <a:lnTo>
                    <a:pt x="272" y="310"/>
                  </a:lnTo>
                  <a:lnTo>
                    <a:pt x="274" y="311"/>
                  </a:lnTo>
                  <a:lnTo>
                    <a:pt x="277" y="312"/>
                  </a:lnTo>
                  <a:lnTo>
                    <a:pt x="281" y="313"/>
                  </a:lnTo>
                  <a:lnTo>
                    <a:pt x="290" y="312"/>
                  </a:lnTo>
                  <a:lnTo>
                    <a:pt x="300" y="309"/>
                  </a:lnTo>
                  <a:lnTo>
                    <a:pt x="299" y="332"/>
                  </a:lnTo>
                  <a:lnTo>
                    <a:pt x="301" y="353"/>
                  </a:lnTo>
                  <a:lnTo>
                    <a:pt x="303" y="371"/>
                  </a:lnTo>
                  <a:lnTo>
                    <a:pt x="306" y="386"/>
                  </a:lnTo>
                  <a:lnTo>
                    <a:pt x="312" y="400"/>
                  </a:lnTo>
                  <a:lnTo>
                    <a:pt x="317" y="412"/>
                  </a:lnTo>
                  <a:lnTo>
                    <a:pt x="322" y="420"/>
                  </a:lnTo>
                  <a:lnTo>
                    <a:pt x="328" y="429"/>
                  </a:lnTo>
                  <a:lnTo>
                    <a:pt x="322" y="436"/>
                  </a:lnTo>
                  <a:lnTo>
                    <a:pt x="316" y="444"/>
                  </a:lnTo>
                  <a:lnTo>
                    <a:pt x="308" y="451"/>
                  </a:lnTo>
                  <a:lnTo>
                    <a:pt x="299" y="458"/>
                  </a:lnTo>
                  <a:lnTo>
                    <a:pt x="288" y="463"/>
                  </a:lnTo>
                  <a:lnTo>
                    <a:pt x="276" y="467"/>
                  </a:lnTo>
                  <a:lnTo>
                    <a:pt x="264" y="471"/>
                  </a:lnTo>
                  <a:lnTo>
                    <a:pt x="251" y="471"/>
                  </a:lnTo>
                  <a:lnTo>
                    <a:pt x="243" y="471"/>
                  </a:lnTo>
                  <a:lnTo>
                    <a:pt x="234" y="470"/>
                  </a:lnTo>
                  <a:lnTo>
                    <a:pt x="225" y="467"/>
                  </a:lnTo>
                  <a:lnTo>
                    <a:pt x="215" y="464"/>
                  </a:lnTo>
                  <a:lnTo>
                    <a:pt x="206" y="460"/>
                  </a:lnTo>
                  <a:lnTo>
                    <a:pt x="195" y="455"/>
                  </a:lnTo>
                  <a:lnTo>
                    <a:pt x="184" y="447"/>
                  </a:lnTo>
                  <a:lnTo>
                    <a:pt x="173" y="437"/>
                  </a:lnTo>
                  <a:lnTo>
                    <a:pt x="180" y="432"/>
                  </a:lnTo>
                  <a:lnTo>
                    <a:pt x="185" y="427"/>
                  </a:lnTo>
                  <a:lnTo>
                    <a:pt x="190" y="419"/>
                  </a:lnTo>
                  <a:lnTo>
                    <a:pt x="195" y="412"/>
                  </a:lnTo>
                  <a:lnTo>
                    <a:pt x="199" y="403"/>
                  </a:lnTo>
                  <a:lnTo>
                    <a:pt x="202" y="394"/>
                  </a:lnTo>
                  <a:lnTo>
                    <a:pt x="206" y="384"/>
                  </a:lnTo>
                  <a:lnTo>
                    <a:pt x="209" y="373"/>
                  </a:lnTo>
                  <a:lnTo>
                    <a:pt x="214" y="350"/>
                  </a:lnTo>
                  <a:lnTo>
                    <a:pt x="219" y="323"/>
                  </a:lnTo>
                  <a:lnTo>
                    <a:pt x="224" y="296"/>
                  </a:lnTo>
                  <a:lnTo>
                    <a:pt x="228" y="267"/>
                  </a:lnTo>
                  <a:lnTo>
                    <a:pt x="233" y="225"/>
                  </a:lnTo>
                  <a:lnTo>
                    <a:pt x="241" y="183"/>
                  </a:lnTo>
                  <a:lnTo>
                    <a:pt x="245" y="163"/>
                  </a:lnTo>
                  <a:lnTo>
                    <a:pt x="249" y="143"/>
                  </a:lnTo>
                  <a:lnTo>
                    <a:pt x="255" y="124"/>
                  </a:lnTo>
                  <a:lnTo>
                    <a:pt x="261" y="107"/>
                  </a:lnTo>
                  <a:lnTo>
                    <a:pt x="268" y="90"/>
                  </a:lnTo>
                  <a:lnTo>
                    <a:pt x="275" y="75"/>
                  </a:lnTo>
                  <a:lnTo>
                    <a:pt x="284" y="62"/>
                  </a:lnTo>
                  <a:lnTo>
                    <a:pt x="293" y="52"/>
                  </a:lnTo>
                  <a:lnTo>
                    <a:pt x="299" y="46"/>
                  </a:lnTo>
                  <a:lnTo>
                    <a:pt x="304" y="42"/>
                  </a:lnTo>
                  <a:lnTo>
                    <a:pt x="310" y="39"/>
                  </a:lnTo>
                  <a:lnTo>
                    <a:pt x="316" y="35"/>
                  </a:lnTo>
                  <a:lnTo>
                    <a:pt x="322" y="33"/>
                  </a:lnTo>
                  <a:lnTo>
                    <a:pt x="329" y="31"/>
                  </a:lnTo>
                  <a:lnTo>
                    <a:pt x="336" y="30"/>
                  </a:lnTo>
                  <a:lnTo>
                    <a:pt x="344" y="30"/>
                  </a:lnTo>
                  <a:lnTo>
                    <a:pt x="355" y="30"/>
                  </a:lnTo>
                  <a:lnTo>
                    <a:pt x="365" y="32"/>
                  </a:lnTo>
                  <a:lnTo>
                    <a:pt x="377" y="35"/>
                  </a:lnTo>
                  <a:lnTo>
                    <a:pt x="389" y="39"/>
                  </a:lnTo>
                  <a:lnTo>
                    <a:pt x="402" y="44"/>
                  </a:lnTo>
                  <a:lnTo>
                    <a:pt x="415" y="50"/>
                  </a:lnTo>
                  <a:lnTo>
                    <a:pt x="429" y="58"/>
                  </a:lnTo>
                  <a:lnTo>
                    <a:pt x="442" y="67"/>
                  </a:lnTo>
                  <a:lnTo>
                    <a:pt x="447" y="69"/>
                  </a:lnTo>
                  <a:lnTo>
                    <a:pt x="451" y="69"/>
                  </a:lnTo>
                  <a:lnTo>
                    <a:pt x="455" y="69"/>
                  </a:lnTo>
                  <a:lnTo>
                    <a:pt x="459" y="67"/>
                  </a:lnTo>
                  <a:lnTo>
                    <a:pt x="472" y="58"/>
                  </a:lnTo>
                  <a:lnTo>
                    <a:pt x="486" y="50"/>
                  </a:lnTo>
                  <a:lnTo>
                    <a:pt x="500" y="44"/>
                  </a:lnTo>
                  <a:lnTo>
                    <a:pt x="512" y="39"/>
                  </a:lnTo>
                  <a:lnTo>
                    <a:pt x="525" y="35"/>
                  </a:lnTo>
                  <a:lnTo>
                    <a:pt x="536" y="32"/>
                  </a:lnTo>
                  <a:lnTo>
                    <a:pt x="548" y="30"/>
                  </a:lnTo>
                  <a:lnTo>
                    <a:pt x="557" y="30"/>
                  </a:lnTo>
                  <a:lnTo>
                    <a:pt x="565" y="30"/>
                  </a:lnTo>
                  <a:lnTo>
                    <a:pt x="572" y="31"/>
                  </a:lnTo>
                  <a:lnTo>
                    <a:pt x="579" y="33"/>
                  </a:lnTo>
                  <a:lnTo>
                    <a:pt x="585" y="35"/>
                  </a:lnTo>
                  <a:lnTo>
                    <a:pt x="591" y="39"/>
                  </a:lnTo>
                  <a:lnTo>
                    <a:pt x="598" y="42"/>
                  </a:lnTo>
                  <a:lnTo>
                    <a:pt x="603" y="46"/>
                  </a:lnTo>
                  <a:lnTo>
                    <a:pt x="609" y="52"/>
                  </a:lnTo>
                  <a:lnTo>
                    <a:pt x="618" y="62"/>
                  </a:lnTo>
                  <a:lnTo>
                    <a:pt x="627" y="75"/>
                  </a:lnTo>
                  <a:lnTo>
                    <a:pt x="634" y="90"/>
                  </a:lnTo>
                  <a:lnTo>
                    <a:pt x="641" y="107"/>
                  </a:lnTo>
                  <a:lnTo>
                    <a:pt x="647" y="124"/>
                  </a:lnTo>
                  <a:lnTo>
                    <a:pt x="652" y="143"/>
                  </a:lnTo>
                  <a:lnTo>
                    <a:pt x="657" y="163"/>
                  </a:lnTo>
                  <a:lnTo>
                    <a:pt x="660" y="183"/>
                  </a:lnTo>
                  <a:lnTo>
                    <a:pt x="668" y="225"/>
                  </a:lnTo>
                  <a:lnTo>
                    <a:pt x="674" y="267"/>
                  </a:lnTo>
                  <a:lnTo>
                    <a:pt x="678" y="296"/>
                  </a:lnTo>
                  <a:lnTo>
                    <a:pt x="683" y="324"/>
                  </a:lnTo>
                  <a:lnTo>
                    <a:pt x="687" y="351"/>
                  </a:lnTo>
                  <a:lnTo>
                    <a:pt x="693" y="374"/>
                  </a:lnTo>
                  <a:lnTo>
                    <a:pt x="697" y="386"/>
                  </a:lnTo>
                  <a:lnTo>
                    <a:pt x="700" y="396"/>
                  </a:lnTo>
                  <a:lnTo>
                    <a:pt x="704" y="405"/>
                  </a:lnTo>
                  <a:lnTo>
                    <a:pt x="708" y="414"/>
                  </a:lnTo>
                  <a:lnTo>
                    <a:pt x="713" y="421"/>
                  </a:lnTo>
                  <a:lnTo>
                    <a:pt x="718" y="429"/>
                  </a:lnTo>
                  <a:lnTo>
                    <a:pt x="723" y="434"/>
                  </a:lnTo>
                  <a:lnTo>
                    <a:pt x="730" y="439"/>
                  </a:lnTo>
                  <a:lnTo>
                    <a:pt x="722" y="447"/>
                  </a:lnTo>
                  <a:lnTo>
                    <a:pt x="714" y="455"/>
                  </a:lnTo>
                  <a:lnTo>
                    <a:pt x="704" y="461"/>
                  </a:lnTo>
                  <a:lnTo>
                    <a:pt x="694" y="466"/>
                  </a:lnTo>
                  <a:lnTo>
                    <a:pt x="685" y="471"/>
                  </a:lnTo>
                  <a:lnTo>
                    <a:pt x="674" y="474"/>
                  </a:lnTo>
                  <a:lnTo>
                    <a:pt x="663" y="475"/>
                  </a:lnTo>
                  <a:lnTo>
                    <a:pt x="653" y="476"/>
                  </a:lnTo>
                  <a:lnTo>
                    <a:pt x="639" y="475"/>
                  </a:lnTo>
                  <a:lnTo>
                    <a:pt x="626" y="473"/>
                  </a:lnTo>
                  <a:lnTo>
                    <a:pt x="614" y="469"/>
                  </a:lnTo>
                  <a:lnTo>
                    <a:pt x="603" y="462"/>
                  </a:lnTo>
                  <a:lnTo>
                    <a:pt x="594" y="456"/>
                  </a:lnTo>
                  <a:lnTo>
                    <a:pt x="585" y="447"/>
                  </a:lnTo>
                  <a:lnTo>
                    <a:pt x="579" y="437"/>
                  </a:lnTo>
                  <a:lnTo>
                    <a:pt x="573" y="427"/>
                  </a:lnTo>
                  <a:lnTo>
                    <a:pt x="579" y="419"/>
                  </a:lnTo>
                  <a:lnTo>
                    <a:pt x="585" y="411"/>
                  </a:lnTo>
                  <a:lnTo>
                    <a:pt x="590" y="399"/>
                  </a:lnTo>
                  <a:lnTo>
                    <a:pt x="595" y="386"/>
                  </a:lnTo>
                  <a:lnTo>
                    <a:pt x="598" y="371"/>
                  </a:lnTo>
                  <a:lnTo>
                    <a:pt x="601" y="353"/>
                  </a:lnTo>
                  <a:lnTo>
                    <a:pt x="602" y="332"/>
                  </a:lnTo>
                  <a:lnTo>
                    <a:pt x="602" y="309"/>
                  </a:lnTo>
                  <a:lnTo>
                    <a:pt x="611" y="312"/>
                  </a:lnTo>
                  <a:lnTo>
                    <a:pt x="622" y="313"/>
                  </a:lnTo>
                  <a:lnTo>
                    <a:pt x="625" y="312"/>
                  </a:lnTo>
                  <a:lnTo>
                    <a:pt x="627" y="311"/>
                  </a:lnTo>
                  <a:lnTo>
                    <a:pt x="630" y="310"/>
                  </a:lnTo>
                  <a:lnTo>
                    <a:pt x="632" y="308"/>
                  </a:lnTo>
                  <a:lnTo>
                    <a:pt x="634" y="306"/>
                  </a:lnTo>
                  <a:lnTo>
                    <a:pt x="635" y="303"/>
                  </a:lnTo>
                  <a:lnTo>
                    <a:pt x="637" y="300"/>
                  </a:lnTo>
                  <a:lnTo>
                    <a:pt x="637" y="298"/>
                  </a:lnTo>
                  <a:lnTo>
                    <a:pt x="637" y="295"/>
                  </a:lnTo>
                  <a:lnTo>
                    <a:pt x="635" y="292"/>
                  </a:lnTo>
                  <a:lnTo>
                    <a:pt x="634" y="290"/>
                  </a:lnTo>
                  <a:lnTo>
                    <a:pt x="632" y="287"/>
                  </a:lnTo>
                  <a:lnTo>
                    <a:pt x="630" y="285"/>
                  </a:lnTo>
                  <a:lnTo>
                    <a:pt x="627" y="284"/>
                  </a:lnTo>
                  <a:lnTo>
                    <a:pt x="625" y="283"/>
                  </a:lnTo>
                  <a:lnTo>
                    <a:pt x="622" y="283"/>
                  </a:lnTo>
                  <a:lnTo>
                    <a:pt x="618" y="282"/>
                  </a:lnTo>
                  <a:lnTo>
                    <a:pt x="614" y="281"/>
                  </a:lnTo>
                  <a:lnTo>
                    <a:pt x="611" y="280"/>
                  </a:lnTo>
                  <a:lnTo>
                    <a:pt x="608" y="278"/>
                  </a:lnTo>
                  <a:lnTo>
                    <a:pt x="602" y="273"/>
                  </a:lnTo>
                  <a:lnTo>
                    <a:pt x="597" y="267"/>
                  </a:lnTo>
                  <a:lnTo>
                    <a:pt x="597" y="267"/>
                  </a:lnTo>
                  <a:lnTo>
                    <a:pt x="597" y="267"/>
                  </a:lnTo>
                  <a:lnTo>
                    <a:pt x="589" y="255"/>
                  </a:lnTo>
                  <a:lnTo>
                    <a:pt x="584" y="242"/>
                  </a:lnTo>
                  <a:lnTo>
                    <a:pt x="581" y="231"/>
                  </a:lnTo>
                  <a:lnTo>
                    <a:pt x="580" y="222"/>
                  </a:lnTo>
                  <a:lnTo>
                    <a:pt x="580" y="219"/>
                  </a:lnTo>
                  <a:lnTo>
                    <a:pt x="579" y="216"/>
                  </a:lnTo>
                  <a:lnTo>
                    <a:pt x="576" y="213"/>
                  </a:lnTo>
                  <a:lnTo>
                    <a:pt x="575" y="211"/>
                  </a:lnTo>
                  <a:lnTo>
                    <a:pt x="573" y="209"/>
                  </a:lnTo>
                  <a:lnTo>
                    <a:pt x="570" y="208"/>
                  </a:lnTo>
                  <a:lnTo>
                    <a:pt x="568" y="207"/>
                  </a:lnTo>
                  <a:lnTo>
                    <a:pt x="565" y="207"/>
                  </a:lnTo>
                  <a:lnTo>
                    <a:pt x="561" y="207"/>
                  </a:lnTo>
                  <a:lnTo>
                    <a:pt x="558" y="208"/>
                  </a:lnTo>
                  <a:lnTo>
                    <a:pt x="556" y="209"/>
                  </a:lnTo>
                  <a:lnTo>
                    <a:pt x="554" y="211"/>
                  </a:lnTo>
                  <a:lnTo>
                    <a:pt x="552" y="213"/>
                  </a:lnTo>
                  <a:lnTo>
                    <a:pt x="551" y="216"/>
                  </a:lnTo>
                  <a:lnTo>
                    <a:pt x="550" y="219"/>
                  </a:lnTo>
                  <a:lnTo>
                    <a:pt x="550" y="222"/>
                  </a:lnTo>
                  <a:lnTo>
                    <a:pt x="551" y="234"/>
                  </a:lnTo>
                  <a:lnTo>
                    <a:pt x="554" y="249"/>
                  </a:lnTo>
                  <a:lnTo>
                    <a:pt x="557" y="256"/>
                  </a:lnTo>
                  <a:lnTo>
                    <a:pt x="560" y="264"/>
                  </a:lnTo>
                  <a:lnTo>
                    <a:pt x="565" y="271"/>
                  </a:lnTo>
                  <a:lnTo>
                    <a:pt x="569" y="279"/>
                  </a:lnTo>
                  <a:lnTo>
                    <a:pt x="571" y="299"/>
                  </a:lnTo>
                  <a:lnTo>
                    <a:pt x="572" y="317"/>
                  </a:lnTo>
                  <a:lnTo>
                    <a:pt x="572" y="335"/>
                  </a:lnTo>
                  <a:lnTo>
                    <a:pt x="571" y="348"/>
                  </a:lnTo>
                  <a:lnTo>
                    <a:pt x="569" y="361"/>
                  </a:lnTo>
                  <a:lnTo>
                    <a:pt x="567" y="372"/>
                  </a:lnTo>
                  <a:lnTo>
                    <a:pt x="564" y="382"/>
                  </a:lnTo>
                  <a:lnTo>
                    <a:pt x="560" y="390"/>
                  </a:lnTo>
                  <a:lnTo>
                    <a:pt x="557" y="397"/>
                  </a:lnTo>
                  <a:lnTo>
                    <a:pt x="554" y="402"/>
                  </a:lnTo>
                  <a:lnTo>
                    <a:pt x="551" y="406"/>
                  </a:lnTo>
                  <a:lnTo>
                    <a:pt x="548" y="410"/>
                  </a:lnTo>
                  <a:lnTo>
                    <a:pt x="542" y="414"/>
                  </a:lnTo>
                  <a:lnTo>
                    <a:pt x="540" y="416"/>
                  </a:lnTo>
                  <a:lnTo>
                    <a:pt x="538" y="417"/>
                  </a:lnTo>
                  <a:lnTo>
                    <a:pt x="535" y="418"/>
                  </a:lnTo>
                  <a:lnTo>
                    <a:pt x="534" y="420"/>
                  </a:lnTo>
                  <a:lnTo>
                    <a:pt x="531" y="424"/>
                  </a:lnTo>
                  <a:lnTo>
                    <a:pt x="531" y="426"/>
                  </a:lnTo>
                  <a:lnTo>
                    <a:pt x="530" y="429"/>
                  </a:lnTo>
                  <a:lnTo>
                    <a:pt x="530" y="432"/>
                  </a:lnTo>
                  <a:lnTo>
                    <a:pt x="531" y="434"/>
                  </a:lnTo>
                  <a:lnTo>
                    <a:pt x="533" y="437"/>
                  </a:lnTo>
                  <a:lnTo>
                    <a:pt x="536" y="441"/>
                  </a:lnTo>
                  <a:lnTo>
                    <a:pt x="538" y="443"/>
                  </a:lnTo>
                  <a:lnTo>
                    <a:pt x="541" y="444"/>
                  </a:lnTo>
                  <a:lnTo>
                    <a:pt x="541" y="535"/>
                  </a:lnTo>
                  <a:lnTo>
                    <a:pt x="542" y="550"/>
                  </a:lnTo>
                  <a:lnTo>
                    <a:pt x="543" y="564"/>
                  </a:lnTo>
                  <a:lnTo>
                    <a:pt x="548" y="577"/>
                  </a:lnTo>
                  <a:lnTo>
                    <a:pt x="552" y="588"/>
                  </a:lnTo>
                  <a:lnTo>
                    <a:pt x="557" y="597"/>
                  </a:lnTo>
                  <a:lnTo>
                    <a:pt x="564" y="606"/>
                  </a:lnTo>
                  <a:lnTo>
                    <a:pt x="571" y="613"/>
                  </a:lnTo>
                  <a:lnTo>
                    <a:pt x="580" y="619"/>
                  </a:lnTo>
                  <a:lnTo>
                    <a:pt x="588" y="624"/>
                  </a:lnTo>
                  <a:lnTo>
                    <a:pt x="598" y="628"/>
                  </a:lnTo>
                  <a:lnTo>
                    <a:pt x="609" y="633"/>
                  </a:lnTo>
                  <a:lnTo>
                    <a:pt x="619" y="635"/>
                  </a:lnTo>
                  <a:lnTo>
                    <a:pt x="641" y="639"/>
                  </a:lnTo>
                  <a:lnTo>
                    <a:pt x="663" y="642"/>
                  </a:lnTo>
                  <a:lnTo>
                    <a:pt x="519" y="850"/>
                  </a:lnTo>
                  <a:lnTo>
                    <a:pt x="402" y="850"/>
                  </a:lnTo>
                  <a:lnTo>
                    <a:pt x="256" y="640"/>
                  </a:lnTo>
                  <a:lnTo>
                    <a:pt x="275" y="637"/>
                  </a:lnTo>
                  <a:lnTo>
                    <a:pt x="295" y="632"/>
                  </a:lnTo>
                  <a:lnTo>
                    <a:pt x="304" y="628"/>
                  </a:lnTo>
                  <a:lnTo>
                    <a:pt x="313" y="624"/>
                  </a:lnTo>
                  <a:lnTo>
                    <a:pt x="321" y="620"/>
                  </a:lnTo>
                  <a:lnTo>
                    <a:pt x="329" y="614"/>
                  </a:lnTo>
                  <a:lnTo>
                    <a:pt x="335" y="608"/>
                  </a:lnTo>
                  <a:lnTo>
                    <a:pt x="342" y="600"/>
                  </a:lnTo>
                  <a:lnTo>
                    <a:pt x="347" y="593"/>
                  </a:lnTo>
                  <a:lnTo>
                    <a:pt x="351" y="583"/>
                  </a:lnTo>
                  <a:lnTo>
                    <a:pt x="356" y="574"/>
                  </a:lnTo>
                  <a:lnTo>
                    <a:pt x="358" y="562"/>
                  </a:lnTo>
                  <a:lnTo>
                    <a:pt x="360" y="549"/>
                  </a:lnTo>
                  <a:lnTo>
                    <a:pt x="361" y="535"/>
                  </a:lnTo>
                  <a:close/>
                  <a:moveTo>
                    <a:pt x="802" y="645"/>
                  </a:moveTo>
                  <a:lnTo>
                    <a:pt x="789" y="638"/>
                  </a:lnTo>
                  <a:lnTo>
                    <a:pt x="775" y="632"/>
                  </a:lnTo>
                  <a:lnTo>
                    <a:pt x="761" y="626"/>
                  </a:lnTo>
                  <a:lnTo>
                    <a:pt x="746" y="622"/>
                  </a:lnTo>
                  <a:lnTo>
                    <a:pt x="715" y="618"/>
                  </a:lnTo>
                  <a:lnTo>
                    <a:pt x="684" y="614"/>
                  </a:lnTo>
                  <a:lnTo>
                    <a:pt x="658" y="611"/>
                  </a:lnTo>
                  <a:lnTo>
                    <a:pt x="635" y="608"/>
                  </a:lnTo>
                  <a:lnTo>
                    <a:pt x="626" y="606"/>
                  </a:lnTo>
                  <a:lnTo>
                    <a:pt x="616" y="604"/>
                  </a:lnTo>
                  <a:lnTo>
                    <a:pt x="608" y="600"/>
                  </a:lnTo>
                  <a:lnTo>
                    <a:pt x="600" y="596"/>
                  </a:lnTo>
                  <a:lnTo>
                    <a:pt x="594" y="592"/>
                  </a:lnTo>
                  <a:lnTo>
                    <a:pt x="588" y="586"/>
                  </a:lnTo>
                  <a:lnTo>
                    <a:pt x="583" y="581"/>
                  </a:lnTo>
                  <a:lnTo>
                    <a:pt x="579" y="574"/>
                  </a:lnTo>
                  <a:lnTo>
                    <a:pt x="575" y="566"/>
                  </a:lnTo>
                  <a:lnTo>
                    <a:pt x="573" y="556"/>
                  </a:lnTo>
                  <a:lnTo>
                    <a:pt x="571" y="547"/>
                  </a:lnTo>
                  <a:lnTo>
                    <a:pt x="571" y="535"/>
                  </a:lnTo>
                  <a:lnTo>
                    <a:pt x="571" y="476"/>
                  </a:lnTo>
                  <a:lnTo>
                    <a:pt x="580" y="482"/>
                  </a:lnTo>
                  <a:lnTo>
                    <a:pt x="588" y="488"/>
                  </a:lnTo>
                  <a:lnTo>
                    <a:pt x="598" y="493"/>
                  </a:lnTo>
                  <a:lnTo>
                    <a:pt x="608" y="498"/>
                  </a:lnTo>
                  <a:lnTo>
                    <a:pt x="618" y="502"/>
                  </a:lnTo>
                  <a:lnTo>
                    <a:pt x="629" y="504"/>
                  </a:lnTo>
                  <a:lnTo>
                    <a:pt x="641" y="505"/>
                  </a:lnTo>
                  <a:lnTo>
                    <a:pt x="653" y="506"/>
                  </a:lnTo>
                  <a:lnTo>
                    <a:pt x="661" y="506"/>
                  </a:lnTo>
                  <a:lnTo>
                    <a:pt x="670" y="505"/>
                  </a:lnTo>
                  <a:lnTo>
                    <a:pt x="678" y="504"/>
                  </a:lnTo>
                  <a:lnTo>
                    <a:pt x="686" y="502"/>
                  </a:lnTo>
                  <a:lnTo>
                    <a:pt x="694" y="499"/>
                  </a:lnTo>
                  <a:lnTo>
                    <a:pt x="702" y="496"/>
                  </a:lnTo>
                  <a:lnTo>
                    <a:pt x="711" y="492"/>
                  </a:lnTo>
                  <a:lnTo>
                    <a:pt x="717" y="488"/>
                  </a:lnTo>
                  <a:lnTo>
                    <a:pt x="724" y="484"/>
                  </a:lnTo>
                  <a:lnTo>
                    <a:pt x="732" y="478"/>
                  </a:lnTo>
                  <a:lnTo>
                    <a:pt x="738" y="473"/>
                  </a:lnTo>
                  <a:lnTo>
                    <a:pt x="745" y="467"/>
                  </a:lnTo>
                  <a:lnTo>
                    <a:pt x="751" y="460"/>
                  </a:lnTo>
                  <a:lnTo>
                    <a:pt x="757" y="454"/>
                  </a:lnTo>
                  <a:lnTo>
                    <a:pt x="762" y="446"/>
                  </a:lnTo>
                  <a:lnTo>
                    <a:pt x="767" y="439"/>
                  </a:lnTo>
                  <a:lnTo>
                    <a:pt x="768" y="434"/>
                  </a:lnTo>
                  <a:lnTo>
                    <a:pt x="769" y="431"/>
                  </a:lnTo>
                  <a:lnTo>
                    <a:pt x="768" y="427"/>
                  </a:lnTo>
                  <a:lnTo>
                    <a:pt x="767" y="424"/>
                  </a:lnTo>
                  <a:lnTo>
                    <a:pt x="765" y="419"/>
                  </a:lnTo>
                  <a:lnTo>
                    <a:pt x="762" y="417"/>
                  </a:lnTo>
                  <a:lnTo>
                    <a:pt x="758" y="416"/>
                  </a:lnTo>
                  <a:lnTo>
                    <a:pt x="754" y="415"/>
                  </a:lnTo>
                  <a:lnTo>
                    <a:pt x="749" y="414"/>
                  </a:lnTo>
                  <a:lnTo>
                    <a:pt x="744" y="412"/>
                  </a:lnTo>
                  <a:lnTo>
                    <a:pt x="739" y="407"/>
                  </a:lnTo>
                  <a:lnTo>
                    <a:pt x="735" y="401"/>
                  </a:lnTo>
                  <a:lnTo>
                    <a:pt x="732" y="395"/>
                  </a:lnTo>
                  <a:lnTo>
                    <a:pt x="728" y="386"/>
                  </a:lnTo>
                  <a:lnTo>
                    <a:pt x="724" y="376"/>
                  </a:lnTo>
                  <a:lnTo>
                    <a:pt x="722" y="366"/>
                  </a:lnTo>
                  <a:lnTo>
                    <a:pt x="716" y="342"/>
                  </a:lnTo>
                  <a:lnTo>
                    <a:pt x="712" y="316"/>
                  </a:lnTo>
                  <a:lnTo>
                    <a:pt x="707" y="290"/>
                  </a:lnTo>
                  <a:lnTo>
                    <a:pt x="704" y="263"/>
                  </a:lnTo>
                  <a:lnTo>
                    <a:pt x="697" y="218"/>
                  </a:lnTo>
                  <a:lnTo>
                    <a:pt x="689" y="173"/>
                  </a:lnTo>
                  <a:lnTo>
                    <a:pt x="685" y="150"/>
                  </a:lnTo>
                  <a:lnTo>
                    <a:pt x="678" y="128"/>
                  </a:lnTo>
                  <a:lnTo>
                    <a:pt x="673" y="107"/>
                  </a:lnTo>
                  <a:lnTo>
                    <a:pt x="665" y="87"/>
                  </a:lnTo>
                  <a:lnTo>
                    <a:pt x="657" y="69"/>
                  </a:lnTo>
                  <a:lnTo>
                    <a:pt x="647" y="53"/>
                  </a:lnTo>
                  <a:lnTo>
                    <a:pt x="642" y="44"/>
                  </a:lnTo>
                  <a:lnTo>
                    <a:pt x="637" y="38"/>
                  </a:lnTo>
                  <a:lnTo>
                    <a:pt x="630" y="30"/>
                  </a:lnTo>
                  <a:lnTo>
                    <a:pt x="624" y="25"/>
                  </a:lnTo>
                  <a:lnTo>
                    <a:pt x="617" y="19"/>
                  </a:lnTo>
                  <a:lnTo>
                    <a:pt x="610" y="14"/>
                  </a:lnTo>
                  <a:lnTo>
                    <a:pt x="602" y="10"/>
                  </a:lnTo>
                  <a:lnTo>
                    <a:pt x="595" y="6"/>
                  </a:lnTo>
                  <a:lnTo>
                    <a:pt x="586" y="3"/>
                  </a:lnTo>
                  <a:lnTo>
                    <a:pt x="576" y="1"/>
                  </a:lnTo>
                  <a:lnTo>
                    <a:pt x="568" y="0"/>
                  </a:lnTo>
                  <a:lnTo>
                    <a:pt x="557" y="0"/>
                  </a:lnTo>
                  <a:lnTo>
                    <a:pt x="545" y="0"/>
                  </a:lnTo>
                  <a:lnTo>
                    <a:pt x="534" y="2"/>
                  </a:lnTo>
                  <a:lnTo>
                    <a:pt x="521" y="4"/>
                  </a:lnTo>
                  <a:lnTo>
                    <a:pt x="508" y="9"/>
                  </a:lnTo>
                  <a:lnTo>
                    <a:pt x="494" y="14"/>
                  </a:lnTo>
                  <a:lnTo>
                    <a:pt x="480" y="20"/>
                  </a:lnTo>
                  <a:lnTo>
                    <a:pt x="466" y="28"/>
                  </a:lnTo>
                  <a:lnTo>
                    <a:pt x="451" y="36"/>
                  </a:lnTo>
                  <a:lnTo>
                    <a:pt x="436" y="28"/>
                  </a:lnTo>
                  <a:lnTo>
                    <a:pt x="421" y="20"/>
                  </a:lnTo>
                  <a:lnTo>
                    <a:pt x="407" y="14"/>
                  </a:lnTo>
                  <a:lnTo>
                    <a:pt x="394" y="9"/>
                  </a:lnTo>
                  <a:lnTo>
                    <a:pt x="380" y="5"/>
                  </a:lnTo>
                  <a:lnTo>
                    <a:pt x="368" y="2"/>
                  </a:lnTo>
                  <a:lnTo>
                    <a:pt x="356" y="0"/>
                  </a:lnTo>
                  <a:lnTo>
                    <a:pt x="344" y="0"/>
                  </a:lnTo>
                  <a:lnTo>
                    <a:pt x="334" y="0"/>
                  </a:lnTo>
                  <a:lnTo>
                    <a:pt x="325" y="1"/>
                  </a:lnTo>
                  <a:lnTo>
                    <a:pt x="316" y="3"/>
                  </a:lnTo>
                  <a:lnTo>
                    <a:pt x="307" y="6"/>
                  </a:lnTo>
                  <a:lnTo>
                    <a:pt x="299" y="10"/>
                  </a:lnTo>
                  <a:lnTo>
                    <a:pt x="291" y="14"/>
                  </a:lnTo>
                  <a:lnTo>
                    <a:pt x="285" y="19"/>
                  </a:lnTo>
                  <a:lnTo>
                    <a:pt x="277" y="25"/>
                  </a:lnTo>
                  <a:lnTo>
                    <a:pt x="271" y="30"/>
                  </a:lnTo>
                  <a:lnTo>
                    <a:pt x="266" y="38"/>
                  </a:lnTo>
                  <a:lnTo>
                    <a:pt x="259" y="44"/>
                  </a:lnTo>
                  <a:lnTo>
                    <a:pt x="255" y="53"/>
                  </a:lnTo>
                  <a:lnTo>
                    <a:pt x="245" y="69"/>
                  </a:lnTo>
                  <a:lnTo>
                    <a:pt x="237" y="87"/>
                  </a:lnTo>
                  <a:lnTo>
                    <a:pt x="229" y="107"/>
                  </a:lnTo>
                  <a:lnTo>
                    <a:pt x="223" y="128"/>
                  </a:lnTo>
                  <a:lnTo>
                    <a:pt x="217" y="150"/>
                  </a:lnTo>
                  <a:lnTo>
                    <a:pt x="212" y="173"/>
                  </a:lnTo>
                  <a:lnTo>
                    <a:pt x="204" y="218"/>
                  </a:lnTo>
                  <a:lnTo>
                    <a:pt x="198" y="263"/>
                  </a:lnTo>
                  <a:lnTo>
                    <a:pt x="194" y="290"/>
                  </a:lnTo>
                  <a:lnTo>
                    <a:pt x="189" y="316"/>
                  </a:lnTo>
                  <a:lnTo>
                    <a:pt x="185" y="342"/>
                  </a:lnTo>
                  <a:lnTo>
                    <a:pt x="180" y="366"/>
                  </a:lnTo>
                  <a:lnTo>
                    <a:pt x="177" y="376"/>
                  </a:lnTo>
                  <a:lnTo>
                    <a:pt x="173" y="386"/>
                  </a:lnTo>
                  <a:lnTo>
                    <a:pt x="170" y="395"/>
                  </a:lnTo>
                  <a:lnTo>
                    <a:pt x="166" y="402"/>
                  </a:lnTo>
                  <a:lnTo>
                    <a:pt x="162" y="407"/>
                  </a:lnTo>
                  <a:lnTo>
                    <a:pt x="157" y="412"/>
                  </a:lnTo>
                  <a:lnTo>
                    <a:pt x="153" y="415"/>
                  </a:lnTo>
                  <a:lnTo>
                    <a:pt x="148" y="415"/>
                  </a:lnTo>
                  <a:lnTo>
                    <a:pt x="143" y="416"/>
                  </a:lnTo>
                  <a:lnTo>
                    <a:pt x="139" y="418"/>
                  </a:lnTo>
                  <a:lnTo>
                    <a:pt x="136" y="420"/>
                  </a:lnTo>
                  <a:lnTo>
                    <a:pt x="134" y="424"/>
                  </a:lnTo>
                  <a:lnTo>
                    <a:pt x="133" y="428"/>
                  </a:lnTo>
                  <a:lnTo>
                    <a:pt x="133" y="432"/>
                  </a:lnTo>
                  <a:lnTo>
                    <a:pt x="134" y="436"/>
                  </a:lnTo>
                  <a:lnTo>
                    <a:pt x="136" y="440"/>
                  </a:lnTo>
                  <a:lnTo>
                    <a:pt x="143" y="449"/>
                  </a:lnTo>
                  <a:lnTo>
                    <a:pt x="151" y="457"/>
                  </a:lnTo>
                  <a:lnTo>
                    <a:pt x="158" y="464"/>
                  </a:lnTo>
                  <a:lnTo>
                    <a:pt x="167" y="471"/>
                  </a:lnTo>
                  <a:lnTo>
                    <a:pt x="174" y="476"/>
                  </a:lnTo>
                  <a:lnTo>
                    <a:pt x="182" y="481"/>
                  </a:lnTo>
                  <a:lnTo>
                    <a:pt x="189" y="486"/>
                  </a:lnTo>
                  <a:lnTo>
                    <a:pt x="197" y="490"/>
                  </a:lnTo>
                  <a:lnTo>
                    <a:pt x="212" y="495"/>
                  </a:lnTo>
                  <a:lnTo>
                    <a:pt x="226" y="499"/>
                  </a:lnTo>
                  <a:lnTo>
                    <a:pt x="239" y="501"/>
                  </a:lnTo>
                  <a:lnTo>
                    <a:pt x="251" y="501"/>
                  </a:lnTo>
                  <a:lnTo>
                    <a:pt x="261" y="501"/>
                  </a:lnTo>
                  <a:lnTo>
                    <a:pt x="273" y="500"/>
                  </a:lnTo>
                  <a:lnTo>
                    <a:pt x="284" y="496"/>
                  </a:lnTo>
                  <a:lnTo>
                    <a:pt x="293" y="493"/>
                  </a:lnTo>
                  <a:lnTo>
                    <a:pt x="304" y="489"/>
                  </a:lnTo>
                  <a:lnTo>
                    <a:pt x="314" y="485"/>
                  </a:lnTo>
                  <a:lnTo>
                    <a:pt x="322" y="478"/>
                  </a:lnTo>
                  <a:lnTo>
                    <a:pt x="331" y="473"/>
                  </a:lnTo>
                  <a:lnTo>
                    <a:pt x="331" y="535"/>
                  </a:lnTo>
                  <a:lnTo>
                    <a:pt x="330" y="547"/>
                  </a:lnTo>
                  <a:lnTo>
                    <a:pt x="329" y="556"/>
                  </a:lnTo>
                  <a:lnTo>
                    <a:pt x="327" y="566"/>
                  </a:lnTo>
                  <a:lnTo>
                    <a:pt x="323" y="574"/>
                  </a:lnTo>
                  <a:lnTo>
                    <a:pt x="319" y="581"/>
                  </a:lnTo>
                  <a:lnTo>
                    <a:pt x="314" y="586"/>
                  </a:lnTo>
                  <a:lnTo>
                    <a:pt x="307" y="592"/>
                  </a:lnTo>
                  <a:lnTo>
                    <a:pt x="301" y="596"/>
                  </a:lnTo>
                  <a:lnTo>
                    <a:pt x="293" y="600"/>
                  </a:lnTo>
                  <a:lnTo>
                    <a:pt x="285" y="604"/>
                  </a:lnTo>
                  <a:lnTo>
                    <a:pt x="275" y="606"/>
                  </a:lnTo>
                  <a:lnTo>
                    <a:pt x="266" y="608"/>
                  </a:lnTo>
                  <a:lnTo>
                    <a:pt x="243" y="611"/>
                  </a:lnTo>
                  <a:lnTo>
                    <a:pt x="217" y="614"/>
                  </a:lnTo>
                  <a:lnTo>
                    <a:pt x="186" y="618"/>
                  </a:lnTo>
                  <a:lnTo>
                    <a:pt x="155" y="622"/>
                  </a:lnTo>
                  <a:lnTo>
                    <a:pt x="140" y="626"/>
                  </a:lnTo>
                  <a:lnTo>
                    <a:pt x="126" y="632"/>
                  </a:lnTo>
                  <a:lnTo>
                    <a:pt x="113" y="638"/>
                  </a:lnTo>
                  <a:lnTo>
                    <a:pt x="100" y="645"/>
                  </a:lnTo>
                  <a:lnTo>
                    <a:pt x="93" y="652"/>
                  </a:lnTo>
                  <a:lnTo>
                    <a:pt x="86" y="658"/>
                  </a:lnTo>
                  <a:lnTo>
                    <a:pt x="79" y="665"/>
                  </a:lnTo>
                  <a:lnTo>
                    <a:pt x="74" y="672"/>
                  </a:lnTo>
                  <a:lnTo>
                    <a:pt x="62" y="687"/>
                  </a:lnTo>
                  <a:lnTo>
                    <a:pt x="51" y="704"/>
                  </a:lnTo>
                  <a:lnTo>
                    <a:pt x="41" y="722"/>
                  </a:lnTo>
                  <a:lnTo>
                    <a:pt x="34" y="740"/>
                  </a:lnTo>
                  <a:lnTo>
                    <a:pt x="26" y="757"/>
                  </a:lnTo>
                  <a:lnTo>
                    <a:pt x="20" y="775"/>
                  </a:lnTo>
                  <a:lnTo>
                    <a:pt x="10" y="808"/>
                  </a:lnTo>
                  <a:lnTo>
                    <a:pt x="5" y="835"/>
                  </a:lnTo>
                  <a:lnTo>
                    <a:pt x="1" y="856"/>
                  </a:lnTo>
                  <a:lnTo>
                    <a:pt x="0" y="864"/>
                  </a:lnTo>
                  <a:lnTo>
                    <a:pt x="0" y="867"/>
                  </a:lnTo>
                  <a:lnTo>
                    <a:pt x="1" y="871"/>
                  </a:lnTo>
                  <a:lnTo>
                    <a:pt x="2" y="873"/>
                  </a:lnTo>
                  <a:lnTo>
                    <a:pt x="3" y="876"/>
                  </a:lnTo>
                  <a:lnTo>
                    <a:pt x="6" y="878"/>
                  </a:lnTo>
                  <a:lnTo>
                    <a:pt x="8" y="879"/>
                  </a:lnTo>
                  <a:lnTo>
                    <a:pt x="11" y="880"/>
                  </a:lnTo>
                  <a:lnTo>
                    <a:pt x="15" y="881"/>
                  </a:lnTo>
                  <a:lnTo>
                    <a:pt x="887" y="880"/>
                  </a:lnTo>
                  <a:lnTo>
                    <a:pt x="891" y="880"/>
                  </a:lnTo>
                  <a:lnTo>
                    <a:pt x="893" y="879"/>
                  </a:lnTo>
                  <a:lnTo>
                    <a:pt x="896" y="878"/>
                  </a:lnTo>
                  <a:lnTo>
                    <a:pt x="898" y="876"/>
                  </a:lnTo>
                  <a:lnTo>
                    <a:pt x="900" y="873"/>
                  </a:lnTo>
                  <a:lnTo>
                    <a:pt x="901" y="871"/>
                  </a:lnTo>
                  <a:lnTo>
                    <a:pt x="902" y="867"/>
                  </a:lnTo>
                  <a:lnTo>
                    <a:pt x="901" y="864"/>
                  </a:lnTo>
                  <a:lnTo>
                    <a:pt x="900" y="856"/>
                  </a:lnTo>
                  <a:lnTo>
                    <a:pt x="897" y="835"/>
                  </a:lnTo>
                  <a:lnTo>
                    <a:pt x="891" y="808"/>
                  </a:lnTo>
                  <a:lnTo>
                    <a:pt x="881" y="775"/>
                  </a:lnTo>
                  <a:lnTo>
                    <a:pt x="875" y="757"/>
                  </a:lnTo>
                  <a:lnTo>
                    <a:pt x="868" y="740"/>
                  </a:lnTo>
                  <a:lnTo>
                    <a:pt x="860" y="722"/>
                  </a:lnTo>
                  <a:lnTo>
                    <a:pt x="851" y="704"/>
                  </a:lnTo>
                  <a:lnTo>
                    <a:pt x="840" y="687"/>
                  </a:lnTo>
                  <a:lnTo>
                    <a:pt x="828" y="672"/>
                  </a:lnTo>
                  <a:lnTo>
                    <a:pt x="822" y="665"/>
                  </a:lnTo>
                  <a:lnTo>
                    <a:pt x="816" y="658"/>
                  </a:lnTo>
                  <a:lnTo>
                    <a:pt x="808" y="652"/>
                  </a:lnTo>
                  <a:lnTo>
                    <a:pt x="802" y="6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214">
              <a:extLst>
                <a:ext uri="{FF2B5EF4-FFF2-40B4-BE49-F238E27FC236}">
                  <a16:creationId xmlns:a16="http://schemas.microsoft.com/office/drawing/2014/main" id="{4FCF4C96-F166-4FB2-8EDE-D5F7207E0FDD}"/>
                </a:ext>
              </a:extLst>
            </p:cNvPr>
            <p:cNvSpPr>
              <a:spLocks noEditPoints="1"/>
            </p:cNvSpPr>
            <p:nvPr/>
          </p:nvSpPr>
          <p:spPr bwMode="auto">
            <a:xfrm>
              <a:off x="415925" y="3833813"/>
              <a:ext cx="22225" cy="22225"/>
            </a:xfrm>
            <a:custGeom>
              <a:avLst/>
              <a:gdLst>
                <a:gd name="T0" fmla="*/ 34 w 68"/>
                <a:gd name="T1" fmla="*/ 30 h 68"/>
                <a:gd name="T2" fmla="*/ 35 w 68"/>
                <a:gd name="T3" fmla="*/ 31 h 68"/>
                <a:gd name="T4" fmla="*/ 37 w 68"/>
                <a:gd name="T5" fmla="*/ 31 h 68"/>
                <a:gd name="T6" fmla="*/ 37 w 68"/>
                <a:gd name="T7" fmla="*/ 33 h 68"/>
                <a:gd name="T8" fmla="*/ 38 w 68"/>
                <a:gd name="T9" fmla="*/ 34 h 68"/>
                <a:gd name="T10" fmla="*/ 37 w 68"/>
                <a:gd name="T11" fmla="*/ 35 h 68"/>
                <a:gd name="T12" fmla="*/ 37 w 68"/>
                <a:gd name="T13" fmla="*/ 36 h 68"/>
                <a:gd name="T14" fmla="*/ 35 w 68"/>
                <a:gd name="T15" fmla="*/ 37 h 68"/>
                <a:gd name="T16" fmla="*/ 34 w 68"/>
                <a:gd name="T17" fmla="*/ 37 h 68"/>
                <a:gd name="T18" fmla="*/ 33 w 68"/>
                <a:gd name="T19" fmla="*/ 37 h 68"/>
                <a:gd name="T20" fmla="*/ 31 w 68"/>
                <a:gd name="T21" fmla="*/ 36 h 68"/>
                <a:gd name="T22" fmla="*/ 31 w 68"/>
                <a:gd name="T23" fmla="*/ 35 h 68"/>
                <a:gd name="T24" fmla="*/ 30 w 68"/>
                <a:gd name="T25" fmla="*/ 34 h 68"/>
                <a:gd name="T26" fmla="*/ 31 w 68"/>
                <a:gd name="T27" fmla="*/ 33 h 68"/>
                <a:gd name="T28" fmla="*/ 31 w 68"/>
                <a:gd name="T29" fmla="*/ 31 h 68"/>
                <a:gd name="T30" fmla="*/ 33 w 68"/>
                <a:gd name="T31" fmla="*/ 31 h 68"/>
                <a:gd name="T32" fmla="*/ 34 w 68"/>
                <a:gd name="T33" fmla="*/ 30 h 68"/>
                <a:gd name="T34" fmla="*/ 34 w 68"/>
                <a:gd name="T35" fmla="*/ 68 h 68"/>
                <a:gd name="T36" fmla="*/ 40 w 68"/>
                <a:gd name="T37" fmla="*/ 67 h 68"/>
                <a:gd name="T38" fmla="*/ 47 w 68"/>
                <a:gd name="T39" fmla="*/ 65 h 68"/>
                <a:gd name="T40" fmla="*/ 53 w 68"/>
                <a:gd name="T41" fmla="*/ 62 h 68"/>
                <a:gd name="T42" fmla="*/ 58 w 68"/>
                <a:gd name="T43" fmla="*/ 58 h 68"/>
                <a:gd name="T44" fmla="*/ 62 w 68"/>
                <a:gd name="T45" fmla="*/ 53 h 68"/>
                <a:gd name="T46" fmla="*/ 65 w 68"/>
                <a:gd name="T47" fmla="*/ 47 h 68"/>
                <a:gd name="T48" fmla="*/ 67 w 68"/>
                <a:gd name="T49" fmla="*/ 40 h 68"/>
                <a:gd name="T50" fmla="*/ 68 w 68"/>
                <a:gd name="T51" fmla="*/ 34 h 68"/>
                <a:gd name="T52" fmla="*/ 67 w 68"/>
                <a:gd name="T53" fmla="*/ 28 h 68"/>
                <a:gd name="T54" fmla="*/ 65 w 68"/>
                <a:gd name="T55" fmla="*/ 21 h 68"/>
                <a:gd name="T56" fmla="*/ 62 w 68"/>
                <a:gd name="T57" fmla="*/ 15 h 68"/>
                <a:gd name="T58" fmla="*/ 58 w 68"/>
                <a:gd name="T59" fmla="*/ 10 h 68"/>
                <a:gd name="T60" fmla="*/ 53 w 68"/>
                <a:gd name="T61" fmla="*/ 6 h 68"/>
                <a:gd name="T62" fmla="*/ 47 w 68"/>
                <a:gd name="T63" fmla="*/ 3 h 68"/>
                <a:gd name="T64" fmla="*/ 40 w 68"/>
                <a:gd name="T65" fmla="*/ 1 h 68"/>
                <a:gd name="T66" fmla="*/ 34 w 68"/>
                <a:gd name="T67" fmla="*/ 0 h 68"/>
                <a:gd name="T68" fmla="*/ 27 w 68"/>
                <a:gd name="T69" fmla="*/ 1 h 68"/>
                <a:gd name="T70" fmla="*/ 21 w 68"/>
                <a:gd name="T71" fmla="*/ 3 h 68"/>
                <a:gd name="T72" fmla="*/ 15 w 68"/>
                <a:gd name="T73" fmla="*/ 6 h 68"/>
                <a:gd name="T74" fmla="*/ 10 w 68"/>
                <a:gd name="T75" fmla="*/ 10 h 68"/>
                <a:gd name="T76" fmla="*/ 6 w 68"/>
                <a:gd name="T77" fmla="*/ 15 h 68"/>
                <a:gd name="T78" fmla="*/ 3 w 68"/>
                <a:gd name="T79" fmla="*/ 21 h 68"/>
                <a:gd name="T80" fmla="*/ 1 w 68"/>
                <a:gd name="T81" fmla="*/ 28 h 68"/>
                <a:gd name="T82" fmla="*/ 0 w 68"/>
                <a:gd name="T83" fmla="*/ 34 h 68"/>
                <a:gd name="T84" fmla="*/ 1 w 68"/>
                <a:gd name="T85" fmla="*/ 40 h 68"/>
                <a:gd name="T86" fmla="*/ 3 w 68"/>
                <a:gd name="T87" fmla="*/ 47 h 68"/>
                <a:gd name="T88" fmla="*/ 6 w 68"/>
                <a:gd name="T89" fmla="*/ 53 h 68"/>
                <a:gd name="T90" fmla="*/ 10 w 68"/>
                <a:gd name="T91" fmla="*/ 58 h 68"/>
                <a:gd name="T92" fmla="*/ 15 w 68"/>
                <a:gd name="T93" fmla="*/ 62 h 68"/>
                <a:gd name="T94" fmla="*/ 21 w 68"/>
                <a:gd name="T95" fmla="*/ 65 h 68"/>
                <a:gd name="T96" fmla="*/ 27 w 68"/>
                <a:gd name="T97" fmla="*/ 67 h 68"/>
                <a:gd name="T98" fmla="*/ 34 w 68"/>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 h="68">
                  <a:moveTo>
                    <a:pt x="34" y="30"/>
                  </a:moveTo>
                  <a:lnTo>
                    <a:pt x="35" y="31"/>
                  </a:lnTo>
                  <a:lnTo>
                    <a:pt x="37" y="31"/>
                  </a:lnTo>
                  <a:lnTo>
                    <a:pt x="37" y="33"/>
                  </a:lnTo>
                  <a:lnTo>
                    <a:pt x="38" y="34"/>
                  </a:lnTo>
                  <a:lnTo>
                    <a:pt x="37" y="35"/>
                  </a:lnTo>
                  <a:lnTo>
                    <a:pt x="37" y="36"/>
                  </a:lnTo>
                  <a:lnTo>
                    <a:pt x="35" y="37"/>
                  </a:lnTo>
                  <a:lnTo>
                    <a:pt x="34" y="37"/>
                  </a:lnTo>
                  <a:lnTo>
                    <a:pt x="33" y="37"/>
                  </a:lnTo>
                  <a:lnTo>
                    <a:pt x="31" y="36"/>
                  </a:lnTo>
                  <a:lnTo>
                    <a:pt x="31" y="35"/>
                  </a:lnTo>
                  <a:lnTo>
                    <a:pt x="30" y="34"/>
                  </a:lnTo>
                  <a:lnTo>
                    <a:pt x="31" y="33"/>
                  </a:lnTo>
                  <a:lnTo>
                    <a:pt x="31" y="31"/>
                  </a:lnTo>
                  <a:lnTo>
                    <a:pt x="33" y="31"/>
                  </a:lnTo>
                  <a:lnTo>
                    <a:pt x="34" y="30"/>
                  </a:lnTo>
                  <a:close/>
                  <a:moveTo>
                    <a:pt x="34" y="68"/>
                  </a:moveTo>
                  <a:lnTo>
                    <a:pt x="40" y="67"/>
                  </a:lnTo>
                  <a:lnTo>
                    <a:pt x="47" y="65"/>
                  </a:lnTo>
                  <a:lnTo>
                    <a:pt x="53" y="62"/>
                  </a:lnTo>
                  <a:lnTo>
                    <a:pt x="58" y="58"/>
                  </a:lnTo>
                  <a:lnTo>
                    <a:pt x="62" y="53"/>
                  </a:lnTo>
                  <a:lnTo>
                    <a:pt x="65" y="47"/>
                  </a:lnTo>
                  <a:lnTo>
                    <a:pt x="67" y="40"/>
                  </a:lnTo>
                  <a:lnTo>
                    <a:pt x="68" y="34"/>
                  </a:lnTo>
                  <a:lnTo>
                    <a:pt x="67" y="28"/>
                  </a:lnTo>
                  <a:lnTo>
                    <a:pt x="65" y="21"/>
                  </a:lnTo>
                  <a:lnTo>
                    <a:pt x="62" y="15"/>
                  </a:lnTo>
                  <a:lnTo>
                    <a:pt x="58" y="10"/>
                  </a:lnTo>
                  <a:lnTo>
                    <a:pt x="53" y="6"/>
                  </a:lnTo>
                  <a:lnTo>
                    <a:pt x="47" y="3"/>
                  </a:lnTo>
                  <a:lnTo>
                    <a:pt x="40" y="1"/>
                  </a:lnTo>
                  <a:lnTo>
                    <a:pt x="34" y="0"/>
                  </a:lnTo>
                  <a:lnTo>
                    <a:pt x="27" y="1"/>
                  </a:lnTo>
                  <a:lnTo>
                    <a:pt x="21" y="3"/>
                  </a:lnTo>
                  <a:lnTo>
                    <a:pt x="15" y="6"/>
                  </a:lnTo>
                  <a:lnTo>
                    <a:pt x="10" y="10"/>
                  </a:lnTo>
                  <a:lnTo>
                    <a:pt x="6" y="15"/>
                  </a:lnTo>
                  <a:lnTo>
                    <a:pt x="3" y="21"/>
                  </a:lnTo>
                  <a:lnTo>
                    <a:pt x="1" y="28"/>
                  </a:lnTo>
                  <a:lnTo>
                    <a:pt x="0" y="34"/>
                  </a:lnTo>
                  <a:lnTo>
                    <a:pt x="1" y="40"/>
                  </a:lnTo>
                  <a:lnTo>
                    <a:pt x="3" y="47"/>
                  </a:lnTo>
                  <a:lnTo>
                    <a:pt x="6" y="53"/>
                  </a:lnTo>
                  <a:lnTo>
                    <a:pt x="10" y="58"/>
                  </a:lnTo>
                  <a:lnTo>
                    <a:pt x="15" y="62"/>
                  </a:lnTo>
                  <a:lnTo>
                    <a:pt x="21" y="65"/>
                  </a:lnTo>
                  <a:lnTo>
                    <a:pt x="27" y="67"/>
                  </a:lnTo>
                  <a:lnTo>
                    <a:pt x="3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215">
              <a:extLst>
                <a:ext uri="{FF2B5EF4-FFF2-40B4-BE49-F238E27FC236}">
                  <a16:creationId xmlns:a16="http://schemas.microsoft.com/office/drawing/2014/main" id="{6D3940BC-FA9B-4995-9ABF-F14825C5CF37}"/>
                </a:ext>
              </a:extLst>
            </p:cNvPr>
            <p:cNvSpPr>
              <a:spLocks noEditPoints="1"/>
            </p:cNvSpPr>
            <p:nvPr/>
          </p:nvSpPr>
          <p:spPr bwMode="auto">
            <a:xfrm>
              <a:off x="465138" y="3833813"/>
              <a:ext cx="20638" cy="22225"/>
            </a:xfrm>
            <a:custGeom>
              <a:avLst/>
              <a:gdLst>
                <a:gd name="T0" fmla="*/ 33 w 67"/>
                <a:gd name="T1" fmla="*/ 30 h 68"/>
                <a:gd name="T2" fmla="*/ 35 w 67"/>
                <a:gd name="T3" fmla="*/ 31 h 68"/>
                <a:gd name="T4" fmla="*/ 36 w 67"/>
                <a:gd name="T5" fmla="*/ 31 h 68"/>
                <a:gd name="T6" fmla="*/ 37 w 67"/>
                <a:gd name="T7" fmla="*/ 33 h 68"/>
                <a:gd name="T8" fmla="*/ 37 w 67"/>
                <a:gd name="T9" fmla="*/ 34 h 68"/>
                <a:gd name="T10" fmla="*/ 37 w 67"/>
                <a:gd name="T11" fmla="*/ 35 h 68"/>
                <a:gd name="T12" fmla="*/ 36 w 67"/>
                <a:gd name="T13" fmla="*/ 36 h 68"/>
                <a:gd name="T14" fmla="*/ 35 w 67"/>
                <a:gd name="T15" fmla="*/ 37 h 68"/>
                <a:gd name="T16" fmla="*/ 33 w 67"/>
                <a:gd name="T17" fmla="*/ 37 h 68"/>
                <a:gd name="T18" fmla="*/ 32 w 67"/>
                <a:gd name="T19" fmla="*/ 37 h 68"/>
                <a:gd name="T20" fmla="*/ 31 w 67"/>
                <a:gd name="T21" fmla="*/ 36 h 68"/>
                <a:gd name="T22" fmla="*/ 30 w 67"/>
                <a:gd name="T23" fmla="*/ 35 h 68"/>
                <a:gd name="T24" fmla="*/ 30 w 67"/>
                <a:gd name="T25" fmla="*/ 34 h 68"/>
                <a:gd name="T26" fmla="*/ 30 w 67"/>
                <a:gd name="T27" fmla="*/ 33 h 68"/>
                <a:gd name="T28" fmla="*/ 31 w 67"/>
                <a:gd name="T29" fmla="*/ 31 h 68"/>
                <a:gd name="T30" fmla="*/ 32 w 67"/>
                <a:gd name="T31" fmla="*/ 31 h 68"/>
                <a:gd name="T32" fmla="*/ 33 w 67"/>
                <a:gd name="T33" fmla="*/ 30 h 68"/>
                <a:gd name="T34" fmla="*/ 33 w 67"/>
                <a:gd name="T35" fmla="*/ 68 h 68"/>
                <a:gd name="T36" fmla="*/ 41 w 67"/>
                <a:gd name="T37" fmla="*/ 67 h 68"/>
                <a:gd name="T38" fmla="*/ 47 w 67"/>
                <a:gd name="T39" fmla="*/ 65 h 68"/>
                <a:gd name="T40" fmla="*/ 52 w 67"/>
                <a:gd name="T41" fmla="*/ 62 h 68"/>
                <a:gd name="T42" fmla="*/ 58 w 67"/>
                <a:gd name="T43" fmla="*/ 58 h 68"/>
                <a:gd name="T44" fmla="*/ 62 w 67"/>
                <a:gd name="T45" fmla="*/ 53 h 68"/>
                <a:gd name="T46" fmla="*/ 65 w 67"/>
                <a:gd name="T47" fmla="*/ 47 h 68"/>
                <a:gd name="T48" fmla="*/ 67 w 67"/>
                <a:gd name="T49" fmla="*/ 40 h 68"/>
                <a:gd name="T50" fmla="*/ 67 w 67"/>
                <a:gd name="T51" fmla="*/ 34 h 68"/>
                <a:gd name="T52" fmla="*/ 67 w 67"/>
                <a:gd name="T53" fmla="*/ 28 h 68"/>
                <a:gd name="T54" fmla="*/ 65 w 67"/>
                <a:gd name="T55" fmla="*/ 21 h 68"/>
                <a:gd name="T56" fmla="*/ 62 w 67"/>
                <a:gd name="T57" fmla="*/ 15 h 68"/>
                <a:gd name="T58" fmla="*/ 58 w 67"/>
                <a:gd name="T59" fmla="*/ 10 h 68"/>
                <a:gd name="T60" fmla="*/ 52 w 67"/>
                <a:gd name="T61" fmla="*/ 6 h 68"/>
                <a:gd name="T62" fmla="*/ 47 w 67"/>
                <a:gd name="T63" fmla="*/ 3 h 68"/>
                <a:gd name="T64" fmla="*/ 41 w 67"/>
                <a:gd name="T65" fmla="*/ 1 h 68"/>
                <a:gd name="T66" fmla="*/ 33 w 67"/>
                <a:gd name="T67" fmla="*/ 0 h 68"/>
                <a:gd name="T68" fmla="*/ 27 w 67"/>
                <a:gd name="T69" fmla="*/ 1 h 68"/>
                <a:gd name="T70" fmla="*/ 20 w 67"/>
                <a:gd name="T71" fmla="*/ 3 h 68"/>
                <a:gd name="T72" fmla="*/ 15 w 67"/>
                <a:gd name="T73" fmla="*/ 6 h 68"/>
                <a:gd name="T74" fmla="*/ 10 w 67"/>
                <a:gd name="T75" fmla="*/ 10 h 68"/>
                <a:gd name="T76" fmla="*/ 5 w 67"/>
                <a:gd name="T77" fmla="*/ 15 h 68"/>
                <a:gd name="T78" fmla="*/ 2 w 67"/>
                <a:gd name="T79" fmla="*/ 21 h 68"/>
                <a:gd name="T80" fmla="*/ 0 w 67"/>
                <a:gd name="T81" fmla="*/ 28 h 68"/>
                <a:gd name="T82" fmla="*/ 0 w 67"/>
                <a:gd name="T83" fmla="*/ 34 h 68"/>
                <a:gd name="T84" fmla="*/ 0 w 67"/>
                <a:gd name="T85" fmla="*/ 40 h 68"/>
                <a:gd name="T86" fmla="*/ 2 w 67"/>
                <a:gd name="T87" fmla="*/ 47 h 68"/>
                <a:gd name="T88" fmla="*/ 5 w 67"/>
                <a:gd name="T89" fmla="*/ 53 h 68"/>
                <a:gd name="T90" fmla="*/ 10 w 67"/>
                <a:gd name="T91" fmla="*/ 58 h 68"/>
                <a:gd name="T92" fmla="*/ 15 w 67"/>
                <a:gd name="T93" fmla="*/ 62 h 68"/>
                <a:gd name="T94" fmla="*/ 20 w 67"/>
                <a:gd name="T95" fmla="*/ 65 h 68"/>
                <a:gd name="T96" fmla="*/ 27 w 67"/>
                <a:gd name="T97" fmla="*/ 67 h 68"/>
                <a:gd name="T98" fmla="*/ 33 w 67"/>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68">
                  <a:moveTo>
                    <a:pt x="33" y="30"/>
                  </a:moveTo>
                  <a:lnTo>
                    <a:pt x="35" y="31"/>
                  </a:lnTo>
                  <a:lnTo>
                    <a:pt x="36" y="31"/>
                  </a:lnTo>
                  <a:lnTo>
                    <a:pt x="37" y="33"/>
                  </a:lnTo>
                  <a:lnTo>
                    <a:pt x="37" y="34"/>
                  </a:lnTo>
                  <a:lnTo>
                    <a:pt x="37" y="35"/>
                  </a:lnTo>
                  <a:lnTo>
                    <a:pt x="36" y="36"/>
                  </a:lnTo>
                  <a:lnTo>
                    <a:pt x="35" y="37"/>
                  </a:lnTo>
                  <a:lnTo>
                    <a:pt x="33" y="37"/>
                  </a:lnTo>
                  <a:lnTo>
                    <a:pt x="32" y="37"/>
                  </a:lnTo>
                  <a:lnTo>
                    <a:pt x="31" y="36"/>
                  </a:lnTo>
                  <a:lnTo>
                    <a:pt x="30" y="35"/>
                  </a:lnTo>
                  <a:lnTo>
                    <a:pt x="30" y="34"/>
                  </a:lnTo>
                  <a:lnTo>
                    <a:pt x="30" y="33"/>
                  </a:lnTo>
                  <a:lnTo>
                    <a:pt x="31" y="31"/>
                  </a:lnTo>
                  <a:lnTo>
                    <a:pt x="32" y="31"/>
                  </a:lnTo>
                  <a:lnTo>
                    <a:pt x="33" y="30"/>
                  </a:lnTo>
                  <a:close/>
                  <a:moveTo>
                    <a:pt x="33" y="68"/>
                  </a:moveTo>
                  <a:lnTo>
                    <a:pt x="41" y="67"/>
                  </a:lnTo>
                  <a:lnTo>
                    <a:pt x="47" y="65"/>
                  </a:lnTo>
                  <a:lnTo>
                    <a:pt x="52" y="62"/>
                  </a:lnTo>
                  <a:lnTo>
                    <a:pt x="58" y="58"/>
                  </a:lnTo>
                  <a:lnTo>
                    <a:pt x="62" y="53"/>
                  </a:lnTo>
                  <a:lnTo>
                    <a:pt x="65" y="47"/>
                  </a:lnTo>
                  <a:lnTo>
                    <a:pt x="67" y="40"/>
                  </a:lnTo>
                  <a:lnTo>
                    <a:pt x="67" y="34"/>
                  </a:lnTo>
                  <a:lnTo>
                    <a:pt x="67" y="28"/>
                  </a:lnTo>
                  <a:lnTo>
                    <a:pt x="65" y="21"/>
                  </a:lnTo>
                  <a:lnTo>
                    <a:pt x="62" y="15"/>
                  </a:lnTo>
                  <a:lnTo>
                    <a:pt x="58" y="10"/>
                  </a:lnTo>
                  <a:lnTo>
                    <a:pt x="52" y="6"/>
                  </a:lnTo>
                  <a:lnTo>
                    <a:pt x="47" y="3"/>
                  </a:lnTo>
                  <a:lnTo>
                    <a:pt x="41" y="1"/>
                  </a:lnTo>
                  <a:lnTo>
                    <a:pt x="33" y="0"/>
                  </a:lnTo>
                  <a:lnTo>
                    <a:pt x="27" y="1"/>
                  </a:lnTo>
                  <a:lnTo>
                    <a:pt x="20" y="3"/>
                  </a:lnTo>
                  <a:lnTo>
                    <a:pt x="15" y="6"/>
                  </a:lnTo>
                  <a:lnTo>
                    <a:pt x="10" y="10"/>
                  </a:lnTo>
                  <a:lnTo>
                    <a:pt x="5" y="15"/>
                  </a:lnTo>
                  <a:lnTo>
                    <a:pt x="2" y="21"/>
                  </a:lnTo>
                  <a:lnTo>
                    <a:pt x="0" y="28"/>
                  </a:lnTo>
                  <a:lnTo>
                    <a:pt x="0" y="34"/>
                  </a:lnTo>
                  <a:lnTo>
                    <a:pt x="0" y="40"/>
                  </a:lnTo>
                  <a:lnTo>
                    <a:pt x="2" y="47"/>
                  </a:lnTo>
                  <a:lnTo>
                    <a:pt x="5" y="53"/>
                  </a:lnTo>
                  <a:lnTo>
                    <a:pt x="10" y="58"/>
                  </a:lnTo>
                  <a:lnTo>
                    <a:pt x="15" y="62"/>
                  </a:lnTo>
                  <a:lnTo>
                    <a:pt x="20" y="65"/>
                  </a:lnTo>
                  <a:lnTo>
                    <a:pt x="27" y="67"/>
                  </a:lnTo>
                  <a:lnTo>
                    <a:pt x="33"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216">
              <a:extLst>
                <a:ext uri="{FF2B5EF4-FFF2-40B4-BE49-F238E27FC236}">
                  <a16:creationId xmlns:a16="http://schemas.microsoft.com/office/drawing/2014/main" id="{AB74FF25-4671-4A68-86F6-571A99B4ED3E}"/>
                </a:ext>
              </a:extLst>
            </p:cNvPr>
            <p:cNvSpPr>
              <a:spLocks noEditPoints="1"/>
            </p:cNvSpPr>
            <p:nvPr/>
          </p:nvSpPr>
          <p:spPr bwMode="auto">
            <a:xfrm>
              <a:off x="439738" y="3840163"/>
              <a:ext cx="22225" cy="20638"/>
            </a:xfrm>
            <a:custGeom>
              <a:avLst/>
              <a:gdLst>
                <a:gd name="T0" fmla="*/ 34 w 67"/>
                <a:gd name="T1" fmla="*/ 30 h 68"/>
                <a:gd name="T2" fmla="*/ 35 w 67"/>
                <a:gd name="T3" fmla="*/ 30 h 68"/>
                <a:gd name="T4" fmla="*/ 36 w 67"/>
                <a:gd name="T5" fmla="*/ 31 h 68"/>
                <a:gd name="T6" fmla="*/ 37 w 67"/>
                <a:gd name="T7" fmla="*/ 32 h 68"/>
                <a:gd name="T8" fmla="*/ 37 w 67"/>
                <a:gd name="T9" fmla="*/ 34 h 68"/>
                <a:gd name="T10" fmla="*/ 37 w 67"/>
                <a:gd name="T11" fmla="*/ 35 h 68"/>
                <a:gd name="T12" fmla="*/ 36 w 67"/>
                <a:gd name="T13" fmla="*/ 36 h 68"/>
                <a:gd name="T14" fmla="*/ 35 w 67"/>
                <a:gd name="T15" fmla="*/ 36 h 68"/>
                <a:gd name="T16" fmla="*/ 34 w 67"/>
                <a:gd name="T17" fmla="*/ 38 h 68"/>
                <a:gd name="T18" fmla="*/ 32 w 67"/>
                <a:gd name="T19" fmla="*/ 36 h 68"/>
                <a:gd name="T20" fmla="*/ 31 w 67"/>
                <a:gd name="T21" fmla="*/ 36 h 68"/>
                <a:gd name="T22" fmla="*/ 30 w 67"/>
                <a:gd name="T23" fmla="*/ 35 h 68"/>
                <a:gd name="T24" fmla="*/ 30 w 67"/>
                <a:gd name="T25" fmla="*/ 34 h 68"/>
                <a:gd name="T26" fmla="*/ 30 w 67"/>
                <a:gd name="T27" fmla="*/ 32 h 68"/>
                <a:gd name="T28" fmla="*/ 31 w 67"/>
                <a:gd name="T29" fmla="*/ 31 h 68"/>
                <a:gd name="T30" fmla="*/ 32 w 67"/>
                <a:gd name="T31" fmla="*/ 30 h 68"/>
                <a:gd name="T32" fmla="*/ 34 w 67"/>
                <a:gd name="T33" fmla="*/ 30 h 68"/>
                <a:gd name="T34" fmla="*/ 34 w 67"/>
                <a:gd name="T35" fmla="*/ 68 h 68"/>
                <a:gd name="T36" fmla="*/ 40 w 67"/>
                <a:gd name="T37" fmla="*/ 68 h 68"/>
                <a:gd name="T38" fmla="*/ 47 w 67"/>
                <a:gd name="T39" fmla="*/ 65 h 68"/>
                <a:gd name="T40" fmla="*/ 52 w 67"/>
                <a:gd name="T41" fmla="*/ 62 h 68"/>
                <a:gd name="T42" fmla="*/ 58 w 67"/>
                <a:gd name="T43" fmla="*/ 58 h 68"/>
                <a:gd name="T44" fmla="*/ 62 w 67"/>
                <a:gd name="T45" fmla="*/ 53 h 68"/>
                <a:gd name="T46" fmla="*/ 65 w 67"/>
                <a:gd name="T47" fmla="*/ 47 h 68"/>
                <a:gd name="T48" fmla="*/ 67 w 67"/>
                <a:gd name="T49" fmla="*/ 41 h 68"/>
                <a:gd name="T50" fmla="*/ 67 w 67"/>
                <a:gd name="T51" fmla="*/ 34 h 68"/>
                <a:gd name="T52" fmla="*/ 67 w 67"/>
                <a:gd name="T53" fmla="*/ 27 h 68"/>
                <a:gd name="T54" fmla="*/ 65 w 67"/>
                <a:gd name="T55" fmla="*/ 20 h 68"/>
                <a:gd name="T56" fmla="*/ 62 w 67"/>
                <a:gd name="T57" fmla="*/ 15 h 68"/>
                <a:gd name="T58" fmla="*/ 58 w 67"/>
                <a:gd name="T59" fmla="*/ 10 h 68"/>
                <a:gd name="T60" fmla="*/ 52 w 67"/>
                <a:gd name="T61" fmla="*/ 5 h 68"/>
                <a:gd name="T62" fmla="*/ 47 w 67"/>
                <a:gd name="T63" fmla="*/ 2 h 68"/>
                <a:gd name="T64" fmla="*/ 40 w 67"/>
                <a:gd name="T65" fmla="*/ 1 h 68"/>
                <a:gd name="T66" fmla="*/ 34 w 67"/>
                <a:gd name="T67" fmla="*/ 0 h 68"/>
                <a:gd name="T68" fmla="*/ 27 w 67"/>
                <a:gd name="T69" fmla="*/ 1 h 68"/>
                <a:gd name="T70" fmla="*/ 20 w 67"/>
                <a:gd name="T71" fmla="*/ 2 h 68"/>
                <a:gd name="T72" fmla="*/ 15 w 67"/>
                <a:gd name="T73" fmla="*/ 5 h 68"/>
                <a:gd name="T74" fmla="*/ 9 w 67"/>
                <a:gd name="T75" fmla="*/ 10 h 68"/>
                <a:gd name="T76" fmla="*/ 5 w 67"/>
                <a:gd name="T77" fmla="*/ 15 h 68"/>
                <a:gd name="T78" fmla="*/ 3 w 67"/>
                <a:gd name="T79" fmla="*/ 20 h 68"/>
                <a:gd name="T80" fmla="*/ 1 w 67"/>
                <a:gd name="T81" fmla="*/ 27 h 68"/>
                <a:gd name="T82" fmla="*/ 0 w 67"/>
                <a:gd name="T83" fmla="*/ 34 h 68"/>
                <a:gd name="T84" fmla="*/ 1 w 67"/>
                <a:gd name="T85" fmla="*/ 41 h 68"/>
                <a:gd name="T86" fmla="*/ 3 w 67"/>
                <a:gd name="T87" fmla="*/ 47 h 68"/>
                <a:gd name="T88" fmla="*/ 5 w 67"/>
                <a:gd name="T89" fmla="*/ 53 h 68"/>
                <a:gd name="T90" fmla="*/ 9 w 67"/>
                <a:gd name="T91" fmla="*/ 58 h 68"/>
                <a:gd name="T92" fmla="*/ 15 w 67"/>
                <a:gd name="T93" fmla="*/ 62 h 68"/>
                <a:gd name="T94" fmla="*/ 20 w 67"/>
                <a:gd name="T95" fmla="*/ 65 h 68"/>
                <a:gd name="T96" fmla="*/ 27 w 67"/>
                <a:gd name="T97" fmla="*/ 68 h 68"/>
                <a:gd name="T98" fmla="*/ 34 w 67"/>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68">
                  <a:moveTo>
                    <a:pt x="34" y="30"/>
                  </a:moveTo>
                  <a:lnTo>
                    <a:pt x="35" y="30"/>
                  </a:lnTo>
                  <a:lnTo>
                    <a:pt x="36" y="31"/>
                  </a:lnTo>
                  <a:lnTo>
                    <a:pt x="37" y="32"/>
                  </a:lnTo>
                  <a:lnTo>
                    <a:pt x="37" y="34"/>
                  </a:lnTo>
                  <a:lnTo>
                    <a:pt x="37" y="35"/>
                  </a:lnTo>
                  <a:lnTo>
                    <a:pt x="36" y="36"/>
                  </a:lnTo>
                  <a:lnTo>
                    <a:pt x="35" y="36"/>
                  </a:lnTo>
                  <a:lnTo>
                    <a:pt x="34" y="38"/>
                  </a:lnTo>
                  <a:lnTo>
                    <a:pt x="32" y="36"/>
                  </a:lnTo>
                  <a:lnTo>
                    <a:pt x="31" y="36"/>
                  </a:lnTo>
                  <a:lnTo>
                    <a:pt x="30" y="35"/>
                  </a:lnTo>
                  <a:lnTo>
                    <a:pt x="30" y="34"/>
                  </a:lnTo>
                  <a:lnTo>
                    <a:pt x="30" y="32"/>
                  </a:lnTo>
                  <a:lnTo>
                    <a:pt x="31" y="31"/>
                  </a:lnTo>
                  <a:lnTo>
                    <a:pt x="32" y="30"/>
                  </a:lnTo>
                  <a:lnTo>
                    <a:pt x="34" y="30"/>
                  </a:lnTo>
                  <a:close/>
                  <a:moveTo>
                    <a:pt x="34" y="68"/>
                  </a:moveTo>
                  <a:lnTo>
                    <a:pt x="40" y="68"/>
                  </a:lnTo>
                  <a:lnTo>
                    <a:pt x="47" y="65"/>
                  </a:lnTo>
                  <a:lnTo>
                    <a:pt x="52" y="62"/>
                  </a:lnTo>
                  <a:lnTo>
                    <a:pt x="58" y="58"/>
                  </a:lnTo>
                  <a:lnTo>
                    <a:pt x="62" y="53"/>
                  </a:lnTo>
                  <a:lnTo>
                    <a:pt x="65" y="47"/>
                  </a:lnTo>
                  <a:lnTo>
                    <a:pt x="67" y="41"/>
                  </a:lnTo>
                  <a:lnTo>
                    <a:pt x="67" y="34"/>
                  </a:lnTo>
                  <a:lnTo>
                    <a:pt x="67" y="27"/>
                  </a:lnTo>
                  <a:lnTo>
                    <a:pt x="65" y="20"/>
                  </a:lnTo>
                  <a:lnTo>
                    <a:pt x="62" y="15"/>
                  </a:lnTo>
                  <a:lnTo>
                    <a:pt x="58" y="10"/>
                  </a:lnTo>
                  <a:lnTo>
                    <a:pt x="52" y="5"/>
                  </a:lnTo>
                  <a:lnTo>
                    <a:pt x="47" y="2"/>
                  </a:lnTo>
                  <a:lnTo>
                    <a:pt x="40" y="1"/>
                  </a:lnTo>
                  <a:lnTo>
                    <a:pt x="34" y="0"/>
                  </a:lnTo>
                  <a:lnTo>
                    <a:pt x="27" y="1"/>
                  </a:lnTo>
                  <a:lnTo>
                    <a:pt x="20" y="2"/>
                  </a:lnTo>
                  <a:lnTo>
                    <a:pt x="15" y="5"/>
                  </a:lnTo>
                  <a:lnTo>
                    <a:pt x="9" y="10"/>
                  </a:lnTo>
                  <a:lnTo>
                    <a:pt x="5" y="15"/>
                  </a:lnTo>
                  <a:lnTo>
                    <a:pt x="3" y="20"/>
                  </a:lnTo>
                  <a:lnTo>
                    <a:pt x="1" y="27"/>
                  </a:lnTo>
                  <a:lnTo>
                    <a:pt x="0" y="34"/>
                  </a:lnTo>
                  <a:lnTo>
                    <a:pt x="1" y="41"/>
                  </a:lnTo>
                  <a:lnTo>
                    <a:pt x="3" y="47"/>
                  </a:lnTo>
                  <a:lnTo>
                    <a:pt x="5" y="53"/>
                  </a:lnTo>
                  <a:lnTo>
                    <a:pt x="9" y="58"/>
                  </a:lnTo>
                  <a:lnTo>
                    <a:pt x="15" y="62"/>
                  </a:lnTo>
                  <a:lnTo>
                    <a:pt x="20" y="65"/>
                  </a:lnTo>
                  <a:lnTo>
                    <a:pt x="27" y="68"/>
                  </a:lnTo>
                  <a:lnTo>
                    <a:pt x="3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5" name="Group 29">
            <a:extLst>
              <a:ext uri="{FF2B5EF4-FFF2-40B4-BE49-F238E27FC236}">
                <a16:creationId xmlns:a16="http://schemas.microsoft.com/office/drawing/2014/main" id="{107197D3-598C-4551-A0EA-83B94D7B5D6F}"/>
              </a:ext>
            </a:extLst>
          </p:cNvPr>
          <p:cNvGrpSpPr>
            <a:grpSpLocks noChangeAspect="1"/>
          </p:cNvGrpSpPr>
          <p:nvPr/>
        </p:nvGrpSpPr>
        <p:grpSpPr>
          <a:xfrm>
            <a:off x="5377391" y="2724897"/>
            <a:ext cx="287230" cy="285619"/>
            <a:chOff x="5468938" y="1920875"/>
            <a:chExt cx="282575" cy="280988"/>
          </a:xfrm>
          <a:solidFill>
            <a:schemeClr val="bg2"/>
          </a:solidFill>
          <a:effectLst/>
        </p:grpSpPr>
        <p:sp>
          <p:nvSpPr>
            <p:cNvPr id="696" name="Freeform 30">
              <a:extLst>
                <a:ext uri="{FF2B5EF4-FFF2-40B4-BE49-F238E27FC236}">
                  <a16:creationId xmlns:a16="http://schemas.microsoft.com/office/drawing/2014/main" id="{CCA26580-4825-4007-8B1E-18ABED91C7D7}"/>
                </a:ext>
              </a:extLst>
            </p:cNvPr>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7" name="Freeform 31">
              <a:extLst>
                <a:ext uri="{FF2B5EF4-FFF2-40B4-BE49-F238E27FC236}">
                  <a16:creationId xmlns:a16="http://schemas.microsoft.com/office/drawing/2014/main" id="{8CA3AAA2-EB13-4444-9475-28B56E3E1A02}"/>
                </a:ext>
              </a:extLst>
            </p:cNvPr>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8" name="Freeform 32">
              <a:extLst>
                <a:ext uri="{FF2B5EF4-FFF2-40B4-BE49-F238E27FC236}">
                  <a16:creationId xmlns:a16="http://schemas.microsoft.com/office/drawing/2014/main" id="{C893FA99-9ACC-4B5C-8012-DCE0EC406B6C}"/>
                </a:ext>
              </a:extLst>
            </p:cNvPr>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9" name="Freeform 33">
              <a:extLst>
                <a:ext uri="{FF2B5EF4-FFF2-40B4-BE49-F238E27FC236}">
                  <a16:creationId xmlns:a16="http://schemas.microsoft.com/office/drawing/2014/main" id="{C04C8ABE-8DEE-42DE-8B6E-B68B8163F0FE}"/>
                </a:ext>
              </a:extLst>
            </p:cNvPr>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0" name="Freeform 34">
              <a:extLst>
                <a:ext uri="{FF2B5EF4-FFF2-40B4-BE49-F238E27FC236}">
                  <a16:creationId xmlns:a16="http://schemas.microsoft.com/office/drawing/2014/main" id="{0EEC299B-4467-4B4D-B7AF-0BF7F1586C77}"/>
                </a:ext>
              </a:extLst>
            </p:cNvPr>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24" name="Freeform 25">
            <a:extLst>
              <a:ext uri="{FF2B5EF4-FFF2-40B4-BE49-F238E27FC236}">
                <a16:creationId xmlns:a16="http://schemas.microsoft.com/office/drawing/2014/main" id="{5A23C554-BA96-460A-B681-F6FF5D72F8B1}"/>
              </a:ext>
            </a:extLst>
          </p:cNvPr>
          <p:cNvSpPr>
            <a:spLocks noChangeAspect="1" noEditPoints="1"/>
          </p:cNvSpPr>
          <p:nvPr/>
        </p:nvSpPr>
        <p:spPr bwMode="auto">
          <a:xfrm>
            <a:off x="5406591" y="5417577"/>
            <a:ext cx="228830" cy="285619"/>
          </a:xfrm>
          <a:custGeom>
            <a:avLst/>
            <a:gdLst>
              <a:gd name="T0" fmla="*/ 636 w 681"/>
              <a:gd name="T1" fmla="*/ 604 h 853"/>
              <a:gd name="T2" fmla="*/ 192 w 681"/>
              <a:gd name="T3" fmla="*/ 761 h 853"/>
              <a:gd name="T4" fmla="*/ 61 w 681"/>
              <a:gd name="T5" fmla="*/ 524 h 853"/>
              <a:gd name="T6" fmla="*/ 35 w 681"/>
              <a:gd name="T7" fmla="*/ 475 h 853"/>
              <a:gd name="T8" fmla="*/ 31 w 681"/>
              <a:gd name="T9" fmla="*/ 448 h 853"/>
              <a:gd name="T10" fmla="*/ 51 w 681"/>
              <a:gd name="T11" fmla="*/ 432 h 853"/>
              <a:gd name="T12" fmla="*/ 76 w 681"/>
              <a:gd name="T13" fmla="*/ 437 h 853"/>
              <a:gd name="T14" fmla="*/ 183 w 681"/>
              <a:gd name="T15" fmla="*/ 533 h 853"/>
              <a:gd name="T16" fmla="*/ 193 w 681"/>
              <a:gd name="T17" fmla="*/ 76 h 853"/>
              <a:gd name="T18" fmla="*/ 214 w 681"/>
              <a:gd name="T19" fmla="*/ 39 h 853"/>
              <a:gd name="T20" fmla="*/ 256 w 681"/>
              <a:gd name="T21" fmla="*/ 34 h 853"/>
              <a:gd name="T22" fmla="*/ 284 w 681"/>
              <a:gd name="T23" fmla="*/ 67 h 853"/>
              <a:gd name="T24" fmla="*/ 285 w 681"/>
              <a:gd name="T25" fmla="*/ 353 h 853"/>
              <a:gd name="T26" fmla="*/ 293 w 681"/>
              <a:gd name="T27" fmla="*/ 364 h 853"/>
              <a:gd name="T28" fmla="*/ 308 w 681"/>
              <a:gd name="T29" fmla="*/ 363 h 853"/>
              <a:gd name="T30" fmla="*/ 315 w 681"/>
              <a:gd name="T31" fmla="*/ 350 h 853"/>
              <a:gd name="T32" fmla="*/ 400 w 681"/>
              <a:gd name="T33" fmla="*/ 249 h 853"/>
              <a:gd name="T34" fmla="*/ 406 w 681"/>
              <a:gd name="T35" fmla="*/ 353 h 853"/>
              <a:gd name="T36" fmla="*/ 416 w 681"/>
              <a:gd name="T37" fmla="*/ 364 h 853"/>
              <a:gd name="T38" fmla="*/ 430 w 681"/>
              <a:gd name="T39" fmla="*/ 363 h 853"/>
              <a:gd name="T40" fmla="*/ 437 w 681"/>
              <a:gd name="T41" fmla="*/ 350 h 853"/>
              <a:gd name="T42" fmla="*/ 513 w 681"/>
              <a:gd name="T43" fmla="*/ 281 h 853"/>
              <a:gd name="T44" fmla="*/ 528 w 681"/>
              <a:gd name="T45" fmla="*/ 305 h 853"/>
              <a:gd name="T46" fmla="*/ 533 w 681"/>
              <a:gd name="T47" fmla="*/ 394 h 853"/>
              <a:gd name="T48" fmla="*/ 547 w 681"/>
              <a:gd name="T49" fmla="*/ 399 h 853"/>
              <a:gd name="T50" fmla="*/ 557 w 681"/>
              <a:gd name="T51" fmla="*/ 390 h 853"/>
              <a:gd name="T52" fmla="*/ 599 w 681"/>
              <a:gd name="T53" fmla="*/ 321 h 853"/>
              <a:gd name="T54" fmla="*/ 644 w 681"/>
              <a:gd name="T55" fmla="*/ 349 h 853"/>
              <a:gd name="T56" fmla="*/ 649 w 681"/>
              <a:gd name="T57" fmla="*/ 503 h 853"/>
              <a:gd name="T58" fmla="*/ 540 w 681"/>
              <a:gd name="T59" fmla="*/ 264 h 853"/>
              <a:gd name="T60" fmla="*/ 497 w 681"/>
              <a:gd name="T61" fmla="*/ 244 h 853"/>
              <a:gd name="T62" fmla="*/ 410 w 681"/>
              <a:gd name="T63" fmla="*/ 220 h 853"/>
              <a:gd name="T64" fmla="*/ 315 w 681"/>
              <a:gd name="T65" fmla="*/ 213 h 853"/>
              <a:gd name="T66" fmla="*/ 308 w 681"/>
              <a:gd name="T67" fmla="*/ 47 h 853"/>
              <a:gd name="T68" fmla="*/ 286 w 681"/>
              <a:gd name="T69" fmla="*/ 18 h 853"/>
              <a:gd name="T70" fmla="*/ 254 w 681"/>
              <a:gd name="T71" fmla="*/ 2 h 853"/>
              <a:gd name="T72" fmla="*/ 216 w 681"/>
              <a:gd name="T73" fmla="*/ 4 h 853"/>
              <a:gd name="T74" fmla="*/ 185 w 681"/>
              <a:gd name="T75" fmla="*/ 23 h 853"/>
              <a:gd name="T76" fmla="*/ 166 w 681"/>
              <a:gd name="T77" fmla="*/ 54 h 853"/>
              <a:gd name="T78" fmla="*/ 96 w 681"/>
              <a:gd name="T79" fmla="*/ 416 h 853"/>
              <a:gd name="T80" fmla="*/ 66 w 681"/>
              <a:gd name="T81" fmla="*/ 402 h 853"/>
              <a:gd name="T82" fmla="*/ 23 w 681"/>
              <a:gd name="T83" fmla="*/ 410 h 853"/>
              <a:gd name="T84" fmla="*/ 1 w 681"/>
              <a:gd name="T85" fmla="*/ 444 h 853"/>
              <a:gd name="T86" fmla="*/ 12 w 681"/>
              <a:gd name="T87" fmla="*/ 495 h 853"/>
              <a:gd name="T88" fmla="*/ 126 w 681"/>
              <a:gd name="T89" fmla="*/ 708 h 853"/>
              <a:gd name="T90" fmla="*/ 211 w 681"/>
              <a:gd name="T91" fmla="*/ 847 h 853"/>
              <a:gd name="T92" fmla="*/ 573 w 681"/>
              <a:gd name="T93" fmla="*/ 853 h 853"/>
              <a:gd name="T94" fmla="*/ 664 w 681"/>
              <a:gd name="T95" fmla="*/ 614 h 853"/>
              <a:gd name="T96" fmla="*/ 681 w 681"/>
              <a:gd name="T97" fmla="*/ 366 h 853"/>
              <a:gd name="T98" fmla="*/ 668 w 681"/>
              <a:gd name="T99" fmla="*/ 330 h 853"/>
              <a:gd name="T100" fmla="*/ 636 w 681"/>
              <a:gd name="T101" fmla="*/ 303 h 853"/>
              <a:gd name="T102" fmla="*/ 597 w 681"/>
              <a:gd name="T103" fmla="*/ 29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853">
                <a:moveTo>
                  <a:pt x="649" y="503"/>
                </a:moveTo>
                <a:lnTo>
                  <a:pt x="649" y="528"/>
                </a:lnTo>
                <a:lnTo>
                  <a:pt x="646" y="554"/>
                </a:lnTo>
                <a:lnTo>
                  <a:pt x="642" y="580"/>
                </a:lnTo>
                <a:lnTo>
                  <a:pt x="636" y="604"/>
                </a:lnTo>
                <a:lnTo>
                  <a:pt x="563" y="823"/>
                </a:lnTo>
                <a:lnTo>
                  <a:pt x="231" y="823"/>
                </a:lnTo>
                <a:lnTo>
                  <a:pt x="219" y="805"/>
                </a:lnTo>
                <a:lnTo>
                  <a:pt x="205" y="785"/>
                </a:lnTo>
                <a:lnTo>
                  <a:pt x="192" y="761"/>
                </a:lnTo>
                <a:lnTo>
                  <a:pt x="177" y="735"/>
                </a:lnTo>
                <a:lnTo>
                  <a:pt x="144" y="679"/>
                </a:lnTo>
                <a:lnTo>
                  <a:pt x="113" y="622"/>
                </a:lnTo>
                <a:lnTo>
                  <a:pt x="84" y="568"/>
                </a:lnTo>
                <a:lnTo>
                  <a:pt x="61" y="524"/>
                </a:lnTo>
                <a:lnTo>
                  <a:pt x="45" y="493"/>
                </a:lnTo>
                <a:lnTo>
                  <a:pt x="39" y="481"/>
                </a:lnTo>
                <a:lnTo>
                  <a:pt x="38" y="480"/>
                </a:lnTo>
                <a:lnTo>
                  <a:pt x="37" y="479"/>
                </a:lnTo>
                <a:lnTo>
                  <a:pt x="35" y="475"/>
                </a:lnTo>
                <a:lnTo>
                  <a:pt x="33" y="469"/>
                </a:lnTo>
                <a:lnTo>
                  <a:pt x="31" y="464"/>
                </a:lnTo>
                <a:lnTo>
                  <a:pt x="30" y="459"/>
                </a:lnTo>
                <a:lnTo>
                  <a:pt x="30" y="453"/>
                </a:lnTo>
                <a:lnTo>
                  <a:pt x="31" y="448"/>
                </a:lnTo>
                <a:lnTo>
                  <a:pt x="33" y="444"/>
                </a:lnTo>
                <a:lnTo>
                  <a:pt x="36" y="439"/>
                </a:lnTo>
                <a:lnTo>
                  <a:pt x="40" y="436"/>
                </a:lnTo>
                <a:lnTo>
                  <a:pt x="46" y="433"/>
                </a:lnTo>
                <a:lnTo>
                  <a:pt x="51" y="432"/>
                </a:lnTo>
                <a:lnTo>
                  <a:pt x="56" y="431"/>
                </a:lnTo>
                <a:lnTo>
                  <a:pt x="62" y="432"/>
                </a:lnTo>
                <a:lnTo>
                  <a:pt x="66" y="433"/>
                </a:lnTo>
                <a:lnTo>
                  <a:pt x="71" y="435"/>
                </a:lnTo>
                <a:lnTo>
                  <a:pt x="76" y="437"/>
                </a:lnTo>
                <a:lnTo>
                  <a:pt x="167" y="529"/>
                </a:lnTo>
                <a:lnTo>
                  <a:pt x="170" y="531"/>
                </a:lnTo>
                <a:lnTo>
                  <a:pt x="174" y="534"/>
                </a:lnTo>
                <a:lnTo>
                  <a:pt x="179" y="534"/>
                </a:lnTo>
                <a:lnTo>
                  <a:pt x="183" y="533"/>
                </a:lnTo>
                <a:lnTo>
                  <a:pt x="187" y="529"/>
                </a:lnTo>
                <a:lnTo>
                  <a:pt x="190" y="526"/>
                </a:lnTo>
                <a:lnTo>
                  <a:pt x="193" y="523"/>
                </a:lnTo>
                <a:lnTo>
                  <a:pt x="193" y="519"/>
                </a:lnTo>
                <a:lnTo>
                  <a:pt x="193" y="76"/>
                </a:lnTo>
                <a:lnTo>
                  <a:pt x="194" y="67"/>
                </a:lnTo>
                <a:lnTo>
                  <a:pt x="197" y="60"/>
                </a:lnTo>
                <a:lnTo>
                  <a:pt x="201" y="51"/>
                </a:lnTo>
                <a:lnTo>
                  <a:pt x="207" y="45"/>
                </a:lnTo>
                <a:lnTo>
                  <a:pt x="214" y="39"/>
                </a:lnTo>
                <a:lnTo>
                  <a:pt x="222" y="34"/>
                </a:lnTo>
                <a:lnTo>
                  <a:pt x="230" y="32"/>
                </a:lnTo>
                <a:lnTo>
                  <a:pt x="239" y="31"/>
                </a:lnTo>
                <a:lnTo>
                  <a:pt x="247" y="32"/>
                </a:lnTo>
                <a:lnTo>
                  <a:pt x="256" y="34"/>
                </a:lnTo>
                <a:lnTo>
                  <a:pt x="263" y="39"/>
                </a:lnTo>
                <a:lnTo>
                  <a:pt x="270" y="45"/>
                </a:lnTo>
                <a:lnTo>
                  <a:pt x="276" y="51"/>
                </a:lnTo>
                <a:lnTo>
                  <a:pt x="281" y="60"/>
                </a:lnTo>
                <a:lnTo>
                  <a:pt x="284" y="67"/>
                </a:lnTo>
                <a:lnTo>
                  <a:pt x="284" y="77"/>
                </a:lnTo>
                <a:lnTo>
                  <a:pt x="284" y="213"/>
                </a:lnTo>
                <a:lnTo>
                  <a:pt x="284" y="229"/>
                </a:lnTo>
                <a:lnTo>
                  <a:pt x="284" y="350"/>
                </a:lnTo>
                <a:lnTo>
                  <a:pt x="285" y="353"/>
                </a:lnTo>
                <a:lnTo>
                  <a:pt x="286" y="357"/>
                </a:lnTo>
                <a:lnTo>
                  <a:pt x="287" y="359"/>
                </a:lnTo>
                <a:lnTo>
                  <a:pt x="289" y="361"/>
                </a:lnTo>
                <a:lnTo>
                  <a:pt x="291" y="363"/>
                </a:lnTo>
                <a:lnTo>
                  <a:pt x="293" y="364"/>
                </a:lnTo>
                <a:lnTo>
                  <a:pt x="297" y="365"/>
                </a:lnTo>
                <a:lnTo>
                  <a:pt x="300" y="366"/>
                </a:lnTo>
                <a:lnTo>
                  <a:pt x="303" y="365"/>
                </a:lnTo>
                <a:lnTo>
                  <a:pt x="305" y="364"/>
                </a:lnTo>
                <a:lnTo>
                  <a:pt x="308" y="363"/>
                </a:lnTo>
                <a:lnTo>
                  <a:pt x="311" y="361"/>
                </a:lnTo>
                <a:lnTo>
                  <a:pt x="312" y="359"/>
                </a:lnTo>
                <a:lnTo>
                  <a:pt x="314" y="357"/>
                </a:lnTo>
                <a:lnTo>
                  <a:pt x="315" y="353"/>
                </a:lnTo>
                <a:lnTo>
                  <a:pt x="315" y="350"/>
                </a:lnTo>
                <a:lnTo>
                  <a:pt x="315" y="244"/>
                </a:lnTo>
                <a:lnTo>
                  <a:pt x="376" y="244"/>
                </a:lnTo>
                <a:lnTo>
                  <a:pt x="386" y="245"/>
                </a:lnTo>
                <a:lnTo>
                  <a:pt x="395" y="247"/>
                </a:lnTo>
                <a:lnTo>
                  <a:pt x="400" y="249"/>
                </a:lnTo>
                <a:lnTo>
                  <a:pt x="403" y="253"/>
                </a:lnTo>
                <a:lnTo>
                  <a:pt x="405" y="256"/>
                </a:lnTo>
                <a:lnTo>
                  <a:pt x="406" y="259"/>
                </a:lnTo>
                <a:lnTo>
                  <a:pt x="406" y="350"/>
                </a:lnTo>
                <a:lnTo>
                  <a:pt x="406" y="353"/>
                </a:lnTo>
                <a:lnTo>
                  <a:pt x="407" y="357"/>
                </a:lnTo>
                <a:lnTo>
                  <a:pt x="409" y="359"/>
                </a:lnTo>
                <a:lnTo>
                  <a:pt x="410" y="361"/>
                </a:lnTo>
                <a:lnTo>
                  <a:pt x="412" y="363"/>
                </a:lnTo>
                <a:lnTo>
                  <a:pt x="416" y="364"/>
                </a:lnTo>
                <a:lnTo>
                  <a:pt x="418" y="365"/>
                </a:lnTo>
                <a:lnTo>
                  <a:pt x="421" y="366"/>
                </a:lnTo>
                <a:lnTo>
                  <a:pt x="424" y="365"/>
                </a:lnTo>
                <a:lnTo>
                  <a:pt x="427" y="364"/>
                </a:lnTo>
                <a:lnTo>
                  <a:pt x="430" y="363"/>
                </a:lnTo>
                <a:lnTo>
                  <a:pt x="432" y="361"/>
                </a:lnTo>
                <a:lnTo>
                  <a:pt x="434" y="359"/>
                </a:lnTo>
                <a:lnTo>
                  <a:pt x="435" y="357"/>
                </a:lnTo>
                <a:lnTo>
                  <a:pt x="436" y="353"/>
                </a:lnTo>
                <a:lnTo>
                  <a:pt x="437" y="350"/>
                </a:lnTo>
                <a:lnTo>
                  <a:pt x="437" y="274"/>
                </a:lnTo>
                <a:lnTo>
                  <a:pt x="497" y="274"/>
                </a:lnTo>
                <a:lnTo>
                  <a:pt x="503" y="275"/>
                </a:lnTo>
                <a:lnTo>
                  <a:pt x="508" y="277"/>
                </a:lnTo>
                <a:lnTo>
                  <a:pt x="513" y="281"/>
                </a:lnTo>
                <a:lnTo>
                  <a:pt x="518" y="285"/>
                </a:lnTo>
                <a:lnTo>
                  <a:pt x="522" y="289"/>
                </a:lnTo>
                <a:lnTo>
                  <a:pt x="525" y="294"/>
                </a:lnTo>
                <a:lnTo>
                  <a:pt x="527" y="300"/>
                </a:lnTo>
                <a:lnTo>
                  <a:pt x="528" y="305"/>
                </a:lnTo>
                <a:lnTo>
                  <a:pt x="528" y="383"/>
                </a:lnTo>
                <a:lnTo>
                  <a:pt x="528" y="387"/>
                </a:lnTo>
                <a:lnTo>
                  <a:pt x="529" y="390"/>
                </a:lnTo>
                <a:lnTo>
                  <a:pt x="530" y="392"/>
                </a:lnTo>
                <a:lnTo>
                  <a:pt x="533" y="394"/>
                </a:lnTo>
                <a:lnTo>
                  <a:pt x="535" y="396"/>
                </a:lnTo>
                <a:lnTo>
                  <a:pt x="537" y="397"/>
                </a:lnTo>
                <a:lnTo>
                  <a:pt x="540" y="399"/>
                </a:lnTo>
                <a:lnTo>
                  <a:pt x="543" y="399"/>
                </a:lnTo>
                <a:lnTo>
                  <a:pt x="547" y="399"/>
                </a:lnTo>
                <a:lnTo>
                  <a:pt x="550" y="397"/>
                </a:lnTo>
                <a:lnTo>
                  <a:pt x="552" y="396"/>
                </a:lnTo>
                <a:lnTo>
                  <a:pt x="554" y="394"/>
                </a:lnTo>
                <a:lnTo>
                  <a:pt x="556" y="392"/>
                </a:lnTo>
                <a:lnTo>
                  <a:pt x="557" y="390"/>
                </a:lnTo>
                <a:lnTo>
                  <a:pt x="558" y="387"/>
                </a:lnTo>
                <a:lnTo>
                  <a:pt x="558" y="383"/>
                </a:lnTo>
                <a:lnTo>
                  <a:pt x="558" y="320"/>
                </a:lnTo>
                <a:lnTo>
                  <a:pt x="589" y="320"/>
                </a:lnTo>
                <a:lnTo>
                  <a:pt x="599" y="321"/>
                </a:lnTo>
                <a:lnTo>
                  <a:pt x="609" y="325"/>
                </a:lnTo>
                <a:lnTo>
                  <a:pt x="619" y="329"/>
                </a:lnTo>
                <a:lnTo>
                  <a:pt x="629" y="335"/>
                </a:lnTo>
                <a:lnTo>
                  <a:pt x="638" y="342"/>
                </a:lnTo>
                <a:lnTo>
                  <a:pt x="644" y="349"/>
                </a:lnTo>
                <a:lnTo>
                  <a:pt x="646" y="353"/>
                </a:lnTo>
                <a:lnTo>
                  <a:pt x="648" y="358"/>
                </a:lnTo>
                <a:lnTo>
                  <a:pt x="649" y="362"/>
                </a:lnTo>
                <a:lnTo>
                  <a:pt x="649" y="366"/>
                </a:lnTo>
                <a:lnTo>
                  <a:pt x="649" y="503"/>
                </a:lnTo>
                <a:close/>
                <a:moveTo>
                  <a:pt x="589" y="289"/>
                </a:moveTo>
                <a:lnTo>
                  <a:pt x="556" y="289"/>
                </a:lnTo>
                <a:lnTo>
                  <a:pt x="552" y="281"/>
                </a:lnTo>
                <a:lnTo>
                  <a:pt x="547" y="272"/>
                </a:lnTo>
                <a:lnTo>
                  <a:pt x="540" y="264"/>
                </a:lnTo>
                <a:lnTo>
                  <a:pt x="533" y="258"/>
                </a:lnTo>
                <a:lnTo>
                  <a:pt x="525" y="252"/>
                </a:lnTo>
                <a:lnTo>
                  <a:pt x="515" y="247"/>
                </a:lnTo>
                <a:lnTo>
                  <a:pt x="507" y="245"/>
                </a:lnTo>
                <a:lnTo>
                  <a:pt x="497" y="244"/>
                </a:lnTo>
                <a:lnTo>
                  <a:pt x="434" y="244"/>
                </a:lnTo>
                <a:lnTo>
                  <a:pt x="430" y="237"/>
                </a:lnTo>
                <a:lnTo>
                  <a:pt x="424" y="230"/>
                </a:lnTo>
                <a:lnTo>
                  <a:pt x="418" y="225"/>
                </a:lnTo>
                <a:lnTo>
                  <a:pt x="410" y="220"/>
                </a:lnTo>
                <a:lnTo>
                  <a:pt x="403" y="217"/>
                </a:lnTo>
                <a:lnTo>
                  <a:pt x="394" y="215"/>
                </a:lnTo>
                <a:lnTo>
                  <a:pt x="385" y="214"/>
                </a:lnTo>
                <a:lnTo>
                  <a:pt x="376" y="213"/>
                </a:lnTo>
                <a:lnTo>
                  <a:pt x="315" y="213"/>
                </a:lnTo>
                <a:lnTo>
                  <a:pt x="315" y="76"/>
                </a:lnTo>
                <a:lnTo>
                  <a:pt x="314" y="68"/>
                </a:lnTo>
                <a:lnTo>
                  <a:pt x="313" y="62"/>
                </a:lnTo>
                <a:lnTo>
                  <a:pt x="312" y="54"/>
                </a:lnTo>
                <a:lnTo>
                  <a:pt x="308" y="47"/>
                </a:lnTo>
                <a:lnTo>
                  <a:pt x="305" y="40"/>
                </a:lnTo>
                <a:lnTo>
                  <a:pt x="301" y="34"/>
                </a:lnTo>
                <a:lnTo>
                  <a:pt x="297" y="29"/>
                </a:lnTo>
                <a:lnTo>
                  <a:pt x="292" y="23"/>
                </a:lnTo>
                <a:lnTo>
                  <a:pt x="286" y="18"/>
                </a:lnTo>
                <a:lnTo>
                  <a:pt x="281" y="14"/>
                </a:lnTo>
                <a:lnTo>
                  <a:pt x="274" y="9"/>
                </a:lnTo>
                <a:lnTo>
                  <a:pt x="268" y="6"/>
                </a:lnTo>
                <a:lnTo>
                  <a:pt x="260" y="4"/>
                </a:lnTo>
                <a:lnTo>
                  <a:pt x="254" y="2"/>
                </a:lnTo>
                <a:lnTo>
                  <a:pt x="246" y="1"/>
                </a:lnTo>
                <a:lnTo>
                  <a:pt x="239" y="0"/>
                </a:lnTo>
                <a:lnTo>
                  <a:pt x="231" y="1"/>
                </a:lnTo>
                <a:lnTo>
                  <a:pt x="224" y="2"/>
                </a:lnTo>
                <a:lnTo>
                  <a:pt x="216" y="4"/>
                </a:lnTo>
                <a:lnTo>
                  <a:pt x="210" y="6"/>
                </a:lnTo>
                <a:lnTo>
                  <a:pt x="203" y="9"/>
                </a:lnTo>
                <a:lnTo>
                  <a:pt x="197" y="14"/>
                </a:lnTo>
                <a:lnTo>
                  <a:pt x="190" y="18"/>
                </a:lnTo>
                <a:lnTo>
                  <a:pt x="185" y="23"/>
                </a:lnTo>
                <a:lnTo>
                  <a:pt x="180" y="29"/>
                </a:lnTo>
                <a:lnTo>
                  <a:pt x="175" y="34"/>
                </a:lnTo>
                <a:lnTo>
                  <a:pt x="172" y="40"/>
                </a:lnTo>
                <a:lnTo>
                  <a:pt x="169" y="47"/>
                </a:lnTo>
                <a:lnTo>
                  <a:pt x="166" y="54"/>
                </a:lnTo>
                <a:lnTo>
                  <a:pt x="164" y="62"/>
                </a:lnTo>
                <a:lnTo>
                  <a:pt x="163" y="68"/>
                </a:lnTo>
                <a:lnTo>
                  <a:pt x="163" y="77"/>
                </a:lnTo>
                <a:lnTo>
                  <a:pt x="163" y="481"/>
                </a:lnTo>
                <a:lnTo>
                  <a:pt x="96" y="416"/>
                </a:lnTo>
                <a:lnTo>
                  <a:pt x="92" y="411"/>
                </a:lnTo>
                <a:lnTo>
                  <a:pt x="86" y="408"/>
                </a:lnTo>
                <a:lnTo>
                  <a:pt x="81" y="406"/>
                </a:lnTo>
                <a:lnTo>
                  <a:pt x="77" y="404"/>
                </a:lnTo>
                <a:lnTo>
                  <a:pt x="66" y="402"/>
                </a:lnTo>
                <a:lnTo>
                  <a:pt x="54" y="401"/>
                </a:lnTo>
                <a:lnTo>
                  <a:pt x="44" y="402"/>
                </a:lnTo>
                <a:lnTo>
                  <a:pt x="33" y="405"/>
                </a:lnTo>
                <a:lnTo>
                  <a:pt x="28" y="408"/>
                </a:lnTo>
                <a:lnTo>
                  <a:pt x="23" y="410"/>
                </a:lnTo>
                <a:lnTo>
                  <a:pt x="19" y="414"/>
                </a:lnTo>
                <a:lnTo>
                  <a:pt x="15" y="418"/>
                </a:lnTo>
                <a:lnTo>
                  <a:pt x="8" y="425"/>
                </a:lnTo>
                <a:lnTo>
                  <a:pt x="3" y="434"/>
                </a:lnTo>
                <a:lnTo>
                  <a:pt x="1" y="444"/>
                </a:lnTo>
                <a:lnTo>
                  <a:pt x="0" y="454"/>
                </a:lnTo>
                <a:lnTo>
                  <a:pt x="0" y="464"/>
                </a:lnTo>
                <a:lnTo>
                  <a:pt x="2" y="475"/>
                </a:lnTo>
                <a:lnTo>
                  <a:pt x="6" y="485"/>
                </a:lnTo>
                <a:lnTo>
                  <a:pt x="12" y="495"/>
                </a:lnTo>
                <a:lnTo>
                  <a:pt x="21" y="513"/>
                </a:lnTo>
                <a:lnTo>
                  <a:pt x="39" y="549"/>
                </a:lnTo>
                <a:lnTo>
                  <a:pt x="65" y="596"/>
                </a:lnTo>
                <a:lnTo>
                  <a:pt x="94" y="651"/>
                </a:lnTo>
                <a:lnTo>
                  <a:pt x="126" y="708"/>
                </a:lnTo>
                <a:lnTo>
                  <a:pt x="157" y="763"/>
                </a:lnTo>
                <a:lnTo>
                  <a:pt x="172" y="789"/>
                </a:lnTo>
                <a:lnTo>
                  <a:pt x="187" y="811"/>
                </a:lnTo>
                <a:lnTo>
                  <a:pt x="200" y="831"/>
                </a:lnTo>
                <a:lnTo>
                  <a:pt x="211" y="847"/>
                </a:lnTo>
                <a:lnTo>
                  <a:pt x="214" y="850"/>
                </a:lnTo>
                <a:lnTo>
                  <a:pt x="216" y="852"/>
                </a:lnTo>
                <a:lnTo>
                  <a:pt x="219" y="853"/>
                </a:lnTo>
                <a:lnTo>
                  <a:pt x="224" y="853"/>
                </a:lnTo>
                <a:lnTo>
                  <a:pt x="573" y="853"/>
                </a:lnTo>
                <a:lnTo>
                  <a:pt x="579" y="852"/>
                </a:lnTo>
                <a:lnTo>
                  <a:pt x="583" y="850"/>
                </a:lnTo>
                <a:lnTo>
                  <a:pt x="586" y="847"/>
                </a:lnTo>
                <a:lnTo>
                  <a:pt x="588" y="842"/>
                </a:lnTo>
                <a:lnTo>
                  <a:pt x="664" y="614"/>
                </a:lnTo>
                <a:lnTo>
                  <a:pt x="672" y="586"/>
                </a:lnTo>
                <a:lnTo>
                  <a:pt x="676" y="558"/>
                </a:lnTo>
                <a:lnTo>
                  <a:pt x="680" y="530"/>
                </a:lnTo>
                <a:lnTo>
                  <a:pt x="681" y="503"/>
                </a:lnTo>
                <a:lnTo>
                  <a:pt x="681" y="366"/>
                </a:lnTo>
                <a:lnTo>
                  <a:pt x="680" y="358"/>
                </a:lnTo>
                <a:lnTo>
                  <a:pt x="678" y="351"/>
                </a:lnTo>
                <a:lnTo>
                  <a:pt x="675" y="344"/>
                </a:lnTo>
                <a:lnTo>
                  <a:pt x="672" y="336"/>
                </a:lnTo>
                <a:lnTo>
                  <a:pt x="668" y="330"/>
                </a:lnTo>
                <a:lnTo>
                  <a:pt x="662" y="323"/>
                </a:lnTo>
                <a:lnTo>
                  <a:pt x="656" y="318"/>
                </a:lnTo>
                <a:lnTo>
                  <a:pt x="649" y="313"/>
                </a:lnTo>
                <a:lnTo>
                  <a:pt x="643" y="307"/>
                </a:lnTo>
                <a:lnTo>
                  <a:pt x="636" y="303"/>
                </a:lnTo>
                <a:lnTo>
                  <a:pt x="628" y="299"/>
                </a:lnTo>
                <a:lnTo>
                  <a:pt x="621" y="296"/>
                </a:lnTo>
                <a:lnTo>
                  <a:pt x="612" y="293"/>
                </a:lnTo>
                <a:lnTo>
                  <a:pt x="604" y="291"/>
                </a:lnTo>
                <a:lnTo>
                  <a:pt x="597" y="290"/>
                </a:lnTo>
                <a:lnTo>
                  <a:pt x="589" y="289"/>
                </a:lnTo>
                <a:lnTo>
                  <a:pt x="589" y="289"/>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934" name="Freeform 7">
            <a:extLst>
              <a:ext uri="{FF2B5EF4-FFF2-40B4-BE49-F238E27FC236}">
                <a16:creationId xmlns:a16="http://schemas.microsoft.com/office/drawing/2014/main" id="{F59BC2B6-6EB8-4E3D-A721-33E9FBB01BB8}"/>
              </a:ext>
            </a:extLst>
          </p:cNvPr>
          <p:cNvSpPr>
            <a:spLocks noChangeAspect="1" noEditPoints="1"/>
          </p:cNvSpPr>
          <p:nvPr/>
        </p:nvSpPr>
        <p:spPr bwMode="auto">
          <a:xfrm>
            <a:off x="5390623" y="4879041"/>
            <a:ext cx="260766" cy="285619"/>
          </a:xfrm>
          <a:custGeom>
            <a:avLst/>
            <a:gdLst>
              <a:gd name="T0" fmla="*/ 1041 w 1044"/>
              <a:gd name="T1" fmla="*/ 1015 h 1143"/>
              <a:gd name="T2" fmla="*/ 1044 w 1044"/>
              <a:gd name="T3" fmla="*/ 1006 h 1143"/>
              <a:gd name="T4" fmla="*/ 1044 w 1044"/>
              <a:gd name="T5" fmla="*/ 577 h 1143"/>
              <a:gd name="T6" fmla="*/ 1044 w 1044"/>
              <a:gd name="T7" fmla="*/ 154 h 1143"/>
              <a:gd name="T8" fmla="*/ 956 w 1044"/>
              <a:gd name="T9" fmla="*/ 120 h 1143"/>
              <a:gd name="T10" fmla="*/ 716 w 1044"/>
              <a:gd name="T11" fmla="*/ 131 h 1143"/>
              <a:gd name="T12" fmla="*/ 322 w 1044"/>
              <a:gd name="T13" fmla="*/ 0 h 1143"/>
              <a:gd name="T14" fmla="*/ 137 w 1044"/>
              <a:gd name="T15" fmla="*/ 131 h 1143"/>
              <a:gd name="T16" fmla="*/ 130 w 1044"/>
              <a:gd name="T17" fmla="*/ 131 h 1143"/>
              <a:gd name="T18" fmla="*/ 124 w 1044"/>
              <a:gd name="T19" fmla="*/ 134 h 1143"/>
              <a:gd name="T20" fmla="*/ 7 w 1044"/>
              <a:gd name="T21" fmla="*/ 250 h 1143"/>
              <a:gd name="T22" fmla="*/ 24 w 1044"/>
              <a:gd name="T23" fmla="*/ 1143 h 1143"/>
              <a:gd name="T24" fmla="*/ 1036 w 1044"/>
              <a:gd name="T25" fmla="*/ 1023 h 1143"/>
              <a:gd name="T26" fmla="*/ 996 w 1044"/>
              <a:gd name="T27" fmla="*/ 983 h 1143"/>
              <a:gd name="T28" fmla="*/ 996 w 1044"/>
              <a:gd name="T29" fmla="*/ 803 h 1143"/>
              <a:gd name="T30" fmla="*/ 592 w 1044"/>
              <a:gd name="T31" fmla="*/ 803 h 1143"/>
              <a:gd name="T32" fmla="*/ 592 w 1044"/>
              <a:gd name="T33" fmla="*/ 983 h 1143"/>
              <a:gd name="T34" fmla="*/ 340 w 1044"/>
              <a:gd name="T35" fmla="*/ 983 h 1143"/>
              <a:gd name="T36" fmla="*/ 160 w 1044"/>
              <a:gd name="T37" fmla="*/ 575 h 1143"/>
              <a:gd name="T38" fmla="*/ 160 w 1044"/>
              <a:gd name="T39" fmla="*/ 755 h 1143"/>
              <a:gd name="T40" fmla="*/ 340 w 1044"/>
              <a:gd name="T41" fmla="*/ 343 h 1143"/>
              <a:gd name="T42" fmla="*/ 160 w 1044"/>
              <a:gd name="T43" fmla="*/ 343 h 1143"/>
              <a:gd name="T44" fmla="*/ 592 w 1044"/>
              <a:gd name="T45" fmla="*/ 343 h 1143"/>
              <a:gd name="T46" fmla="*/ 768 w 1044"/>
              <a:gd name="T47" fmla="*/ 755 h 1143"/>
              <a:gd name="T48" fmla="*/ 768 w 1044"/>
              <a:gd name="T49" fmla="*/ 575 h 1143"/>
              <a:gd name="T50" fmla="*/ 544 w 1044"/>
              <a:gd name="T51" fmla="*/ 575 h 1143"/>
              <a:gd name="T52" fmla="*/ 388 w 1044"/>
              <a:gd name="T53" fmla="*/ 575 h 1143"/>
              <a:gd name="T54" fmla="*/ 388 w 1044"/>
              <a:gd name="T55" fmla="*/ 343 h 1143"/>
              <a:gd name="T56" fmla="*/ 388 w 1044"/>
              <a:gd name="T57" fmla="*/ 803 h 1143"/>
              <a:gd name="T58" fmla="*/ 388 w 1044"/>
              <a:gd name="T59" fmla="*/ 983 h 1143"/>
              <a:gd name="T60" fmla="*/ 816 w 1044"/>
              <a:gd name="T61" fmla="*/ 755 h 1143"/>
              <a:gd name="T62" fmla="*/ 996 w 1044"/>
              <a:gd name="T63" fmla="*/ 755 h 1143"/>
              <a:gd name="T64" fmla="*/ 996 w 1044"/>
              <a:gd name="T65" fmla="*/ 343 h 1143"/>
              <a:gd name="T66" fmla="*/ 763 w 1044"/>
              <a:gd name="T67" fmla="*/ 120 h 1143"/>
              <a:gd name="T68" fmla="*/ 907 w 1044"/>
              <a:gd name="T69" fmla="*/ 131 h 1143"/>
              <a:gd name="T70" fmla="*/ 879 w 1044"/>
              <a:gd name="T71" fmla="*/ 179 h 1143"/>
              <a:gd name="T72" fmla="*/ 836 w 1044"/>
              <a:gd name="T73" fmla="*/ 241 h 1143"/>
              <a:gd name="T74" fmla="*/ 996 w 1044"/>
              <a:gd name="T75" fmla="*/ 295 h 1143"/>
              <a:gd name="T76" fmla="*/ 590 w 1044"/>
              <a:gd name="T77" fmla="*/ 295 h 1143"/>
              <a:gd name="T78" fmla="*/ 340 w 1044"/>
              <a:gd name="T79" fmla="*/ 295 h 1143"/>
              <a:gd name="T80" fmla="*/ 365 w 1044"/>
              <a:gd name="T81" fmla="*/ 179 h 1143"/>
              <a:gd name="T82" fmla="*/ 322 w 1044"/>
              <a:gd name="T83" fmla="*/ 241 h 1143"/>
              <a:gd name="T84" fmla="*/ 249 w 1044"/>
              <a:gd name="T85" fmla="*/ 120 h 1143"/>
              <a:gd name="T86" fmla="*/ 394 w 1044"/>
              <a:gd name="T87" fmla="*/ 131 h 1143"/>
              <a:gd name="T88" fmla="*/ 896 w 1044"/>
              <a:gd name="T89" fmla="*/ 1095 h 1143"/>
              <a:gd name="T90" fmla="*/ 112 w 1044"/>
              <a:gd name="T91" fmla="*/ 211 h 1143"/>
              <a:gd name="T92" fmla="*/ 112 w 1044"/>
              <a:gd name="T93" fmla="*/ 577 h 1143"/>
              <a:gd name="T94" fmla="*/ 112 w 1044"/>
              <a:gd name="T95" fmla="*/ 1006 h 1143"/>
              <a:gd name="T96" fmla="*/ 340 w 1044"/>
              <a:gd name="T97" fmla="*/ 1031 h 1143"/>
              <a:gd name="T98" fmla="*/ 590 w 1044"/>
              <a:gd name="T99" fmla="*/ 1031 h 1143"/>
              <a:gd name="T100" fmla="*/ 962 w 1044"/>
              <a:gd name="T101" fmla="*/ 1031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1143">
                <a:moveTo>
                  <a:pt x="1039" y="1019"/>
                </a:moveTo>
                <a:cubicBezTo>
                  <a:pt x="1040" y="1019"/>
                  <a:pt x="1040" y="1018"/>
                  <a:pt x="1040" y="1017"/>
                </a:cubicBezTo>
                <a:cubicBezTo>
                  <a:pt x="1041" y="1017"/>
                  <a:pt x="1041" y="1016"/>
                  <a:pt x="1041" y="1015"/>
                </a:cubicBezTo>
                <a:cubicBezTo>
                  <a:pt x="1042" y="1014"/>
                  <a:pt x="1042" y="1014"/>
                  <a:pt x="1042" y="1013"/>
                </a:cubicBezTo>
                <a:cubicBezTo>
                  <a:pt x="1042" y="1012"/>
                  <a:pt x="1043" y="1011"/>
                  <a:pt x="1043" y="1011"/>
                </a:cubicBezTo>
                <a:cubicBezTo>
                  <a:pt x="1043" y="1009"/>
                  <a:pt x="1044" y="1008"/>
                  <a:pt x="1044" y="1006"/>
                </a:cubicBezTo>
                <a:cubicBezTo>
                  <a:pt x="1044" y="803"/>
                  <a:pt x="1044" y="803"/>
                  <a:pt x="1044" y="803"/>
                </a:cubicBezTo>
                <a:cubicBezTo>
                  <a:pt x="1044" y="780"/>
                  <a:pt x="1044" y="780"/>
                  <a:pt x="1044" y="780"/>
                </a:cubicBezTo>
                <a:cubicBezTo>
                  <a:pt x="1044" y="577"/>
                  <a:pt x="1044" y="577"/>
                  <a:pt x="1044" y="577"/>
                </a:cubicBezTo>
                <a:cubicBezTo>
                  <a:pt x="1044" y="529"/>
                  <a:pt x="1044" y="529"/>
                  <a:pt x="1044" y="529"/>
                </a:cubicBezTo>
                <a:cubicBezTo>
                  <a:pt x="1044" y="297"/>
                  <a:pt x="1044" y="297"/>
                  <a:pt x="1044" y="297"/>
                </a:cubicBezTo>
                <a:cubicBezTo>
                  <a:pt x="1044" y="154"/>
                  <a:pt x="1044" y="154"/>
                  <a:pt x="1044" y="154"/>
                </a:cubicBezTo>
                <a:cubicBezTo>
                  <a:pt x="1044" y="140"/>
                  <a:pt x="1033" y="131"/>
                  <a:pt x="1019" y="131"/>
                </a:cubicBezTo>
                <a:cubicBezTo>
                  <a:pt x="955" y="131"/>
                  <a:pt x="955" y="131"/>
                  <a:pt x="955" y="131"/>
                </a:cubicBezTo>
                <a:cubicBezTo>
                  <a:pt x="956" y="127"/>
                  <a:pt x="956" y="124"/>
                  <a:pt x="956" y="120"/>
                </a:cubicBezTo>
                <a:cubicBezTo>
                  <a:pt x="956" y="54"/>
                  <a:pt x="902" y="0"/>
                  <a:pt x="836" y="0"/>
                </a:cubicBezTo>
                <a:cubicBezTo>
                  <a:pt x="769" y="0"/>
                  <a:pt x="716" y="54"/>
                  <a:pt x="716" y="120"/>
                </a:cubicBezTo>
                <a:cubicBezTo>
                  <a:pt x="716" y="124"/>
                  <a:pt x="716" y="127"/>
                  <a:pt x="716" y="131"/>
                </a:cubicBezTo>
                <a:cubicBezTo>
                  <a:pt x="442" y="131"/>
                  <a:pt x="442" y="131"/>
                  <a:pt x="442" y="131"/>
                </a:cubicBezTo>
                <a:cubicBezTo>
                  <a:pt x="442" y="127"/>
                  <a:pt x="442" y="124"/>
                  <a:pt x="442" y="120"/>
                </a:cubicBezTo>
                <a:cubicBezTo>
                  <a:pt x="442" y="54"/>
                  <a:pt x="388" y="0"/>
                  <a:pt x="322" y="0"/>
                </a:cubicBezTo>
                <a:cubicBezTo>
                  <a:pt x="256" y="0"/>
                  <a:pt x="202" y="54"/>
                  <a:pt x="202" y="120"/>
                </a:cubicBezTo>
                <a:cubicBezTo>
                  <a:pt x="202" y="124"/>
                  <a:pt x="202" y="127"/>
                  <a:pt x="202" y="131"/>
                </a:cubicBezTo>
                <a:cubicBezTo>
                  <a:pt x="137" y="131"/>
                  <a:pt x="137" y="131"/>
                  <a:pt x="137" y="131"/>
                </a:cubicBezTo>
                <a:cubicBezTo>
                  <a:pt x="137" y="131"/>
                  <a:pt x="137" y="130"/>
                  <a:pt x="137" y="130"/>
                </a:cubicBezTo>
                <a:cubicBezTo>
                  <a:pt x="135" y="130"/>
                  <a:pt x="134" y="130"/>
                  <a:pt x="132" y="131"/>
                </a:cubicBezTo>
                <a:cubicBezTo>
                  <a:pt x="132" y="131"/>
                  <a:pt x="131" y="131"/>
                  <a:pt x="130" y="131"/>
                </a:cubicBezTo>
                <a:cubicBezTo>
                  <a:pt x="130" y="131"/>
                  <a:pt x="129" y="131"/>
                  <a:pt x="128" y="132"/>
                </a:cubicBezTo>
                <a:cubicBezTo>
                  <a:pt x="127" y="132"/>
                  <a:pt x="126" y="132"/>
                  <a:pt x="126" y="133"/>
                </a:cubicBezTo>
                <a:cubicBezTo>
                  <a:pt x="125" y="133"/>
                  <a:pt x="124" y="133"/>
                  <a:pt x="124" y="134"/>
                </a:cubicBezTo>
                <a:cubicBezTo>
                  <a:pt x="123" y="135"/>
                  <a:pt x="122" y="136"/>
                  <a:pt x="121" y="137"/>
                </a:cubicBezTo>
                <a:cubicBezTo>
                  <a:pt x="120" y="137"/>
                  <a:pt x="120" y="137"/>
                  <a:pt x="120" y="137"/>
                </a:cubicBezTo>
                <a:cubicBezTo>
                  <a:pt x="7" y="250"/>
                  <a:pt x="7" y="250"/>
                  <a:pt x="7" y="250"/>
                </a:cubicBezTo>
                <a:cubicBezTo>
                  <a:pt x="3" y="255"/>
                  <a:pt x="0" y="261"/>
                  <a:pt x="0" y="267"/>
                </a:cubicBezTo>
                <a:cubicBezTo>
                  <a:pt x="0" y="1119"/>
                  <a:pt x="0" y="1119"/>
                  <a:pt x="0" y="1119"/>
                </a:cubicBezTo>
                <a:cubicBezTo>
                  <a:pt x="0" y="1133"/>
                  <a:pt x="11" y="1143"/>
                  <a:pt x="24" y="1143"/>
                </a:cubicBezTo>
                <a:cubicBezTo>
                  <a:pt x="906" y="1143"/>
                  <a:pt x="906" y="1143"/>
                  <a:pt x="906" y="1143"/>
                </a:cubicBezTo>
                <a:cubicBezTo>
                  <a:pt x="912" y="1143"/>
                  <a:pt x="919" y="1141"/>
                  <a:pt x="923" y="1136"/>
                </a:cubicBezTo>
                <a:cubicBezTo>
                  <a:pt x="1036" y="1023"/>
                  <a:pt x="1036" y="1023"/>
                  <a:pt x="1036" y="1023"/>
                </a:cubicBezTo>
                <a:cubicBezTo>
                  <a:pt x="1036" y="1023"/>
                  <a:pt x="1036" y="1023"/>
                  <a:pt x="1036" y="1023"/>
                </a:cubicBezTo>
                <a:cubicBezTo>
                  <a:pt x="1037" y="1022"/>
                  <a:pt x="1038" y="1021"/>
                  <a:pt x="1039" y="1019"/>
                </a:cubicBezTo>
                <a:close/>
                <a:moveTo>
                  <a:pt x="996" y="983"/>
                </a:moveTo>
                <a:cubicBezTo>
                  <a:pt x="816" y="983"/>
                  <a:pt x="816" y="983"/>
                  <a:pt x="816" y="983"/>
                </a:cubicBezTo>
                <a:cubicBezTo>
                  <a:pt x="816" y="803"/>
                  <a:pt x="816" y="803"/>
                  <a:pt x="816" y="803"/>
                </a:cubicBezTo>
                <a:cubicBezTo>
                  <a:pt x="996" y="803"/>
                  <a:pt x="996" y="803"/>
                  <a:pt x="996" y="803"/>
                </a:cubicBezTo>
                <a:lnTo>
                  <a:pt x="996" y="983"/>
                </a:lnTo>
                <a:close/>
                <a:moveTo>
                  <a:pt x="592" y="983"/>
                </a:moveTo>
                <a:cubicBezTo>
                  <a:pt x="592" y="803"/>
                  <a:pt x="592" y="803"/>
                  <a:pt x="592" y="803"/>
                </a:cubicBezTo>
                <a:cubicBezTo>
                  <a:pt x="768" y="803"/>
                  <a:pt x="768" y="803"/>
                  <a:pt x="768" y="803"/>
                </a:cubicBezTo>
                <a:cubicBezTo>
                  <a:pt x="768" y="983"/>
                  <a:pt x="768" y="983"/>
                  <a:pt x="768" y="983"/>
                </a:cubicBezTo>
                <a:lnTo>
                  <a:pt x="592" y="983"/>
                </a:lnTo>
                <a:close/>
                <a:moveTo>
                  <a:pt x="160" y="803"/>
                </a:moveTo>
                <a:cubicBezTo>
                  <a:pt x="340" y="803"/>
                  <a:pt x="340" y="803"/>
                  <a:pt x="340" y="803"/>
                </a:cubicBezTo>
                <a:cubicBezTo>
                  <a:pt x="340" y="983"/>
                  <a:pt x="340" y="983"/>
                  <a:pt x="340" y="983"/>
                </a:cubicBezTo>
                <a:cubicBezTo>
                  <a:pt x="160" y="983"/>
                  <a:pt x="160" y="983"/>
                  <a:pt x="160" y="983"/>
                </a:cubicBezTo>
                <a:lnTo>
                  <a:pt x="160" y="803"/>
                </a:lnTo>
                <a:close/>
                <a:moveTo>
                  <a:pt x="160" y="575"/>
                </a:moveTo>
                <a:cubicBezTo>
                  <a:pt x="340" y="575"/>
                  <a:pt x="340" y="575"/>
                  <a:pt x="340" y="575"/>
                </a:cubicBezTo>
                <a:cubicBezTo>
                  <a:pt x="340" y="755"/>
                  <a:pt x="340" y="755"/>
                  <a:pt x="340" y="755"/>
                </a:cubicBezTo>
                <a:cubicBezTo>
                  <a:pt x="160" y="755"/>
                  <a:pt x="160" y="755"/>
                  <a:pt x="160" y="755"/>
                </a:cubicBezTo>
                <a:lnTo>
                  <a:pt x="160" y="575"/>
                </a:lnTo>
                <a:close/>
                <a:moveTo>
                  <a:pt x="160" y="343"/>
                </a:moveTo>
                <a:cubicBezTo>
                  <a:pt x="340" y="343"/>
                  <a:pt x="340" y="343"/>
                  <a:pt x="340" y="343"/>
                </a:cubicBezTo>
                <a:cubicBezTo>
                  <a:pt x="340" y="531"/>
                  <a:pt x="340" y="531"/>
                  <a:pt x="340" y="531"/>
                </a:cubicBezTo>
                <a:cubicBezTo>
                  <a:pt x="160" y="531"/>
                  <a:pt x="160" y="531"/>
                  <a:pt x="160" y="531"/>
                </a:cubicBezTo>
                <a:lnTo>
                  <a:pt x="160" y="343"/>
                </a:lnTo>
                <a:close/>
                <a:moveTo>
                  <a:pt x="768" y="531"/>
                </a:moveTo>
                <a:cubicBezTo>
                  <a:pt x="592" y="531"/>
                  <a:pt x="592" y="531"/>
                  <a:pt x="592" y="531"/>
                </a:cubicBezTo>
                <a:cubicBezTo>
                  <a:pt x="592" y="343"/>
                  <a:pt x="592" y="343"/>
                  <a:pt x="592" y="343"/>
                </a:cubicBezTo>
                <a:cubicBezTo>
                  <a:pt x="768" y="343"/>
                  <a:pt x="768" y="343"/>
                  <a:pt x="768" y="343"/>
                </a:cubicBezTo>
                <a:lnTo>
                  <a:pt x="768" y="531"/>
                </a:lnTo>
                <a:close/>
                <a:moveTo>
                  <a:pt x="768" y="755"/>
                </a:moveTo>
                <a:cubicBezTo>
                  <a:pt x="592" y="755"/>
                  <a:pt x="592" y="755"/>
                  <a:pt x="592" y="755"/>
                </a:cubicBezTo>
                <a:cubicBezTo>
                  <a:pt x="592" y="575"/>
                  <a:pt x="592" y="575"/>
                  <a:pt x="592" y="575"/>
                </a:cubicBezTo>
                <a:cubicBezTo>
                  <a:pt x="768" y="575"/>
                  <a:pt x="768" y="575"/>
                  <a:pt x="768" y="575"/>
                </a:cubicBezTo>
                <a:lnTo>
                  <a:pt x="768" y="755"/>
                </a:lnTo>
                <a:close/>
                <a:moveTo>
                  <a:pt x="388" y="575"/>
                </a:moveTo>
                <a:cubicBezTo>
                  <a:pt x="544" y="575"/>
                  <a:pt x="544" y="575"/>
                  <a:pt x="544" y="575"/>
                </a:cubicBezTo>
                <a:cubicBezTo>
                  <a:pt x="544" y="755"/>
                  <a:pt x="544" y="755"/>
                  <a:pt x="544" y="755"/>
                </a:cubicBezTo>
                <a:cubicBezTo>
                  <a:pt x="388" y="755"/>
                  <a:pt x="388" y="755"/>
                  <a:pt x="388" y="755"/>
                </a:cubicBezTo>
                <a:lnTo>
                  <a:pt x="388" y="575"/>
                </a:lnTo>
                <a:close/>
                <a:moveTo>
                  <a:pt x="544" y="531"/>
                </a:moveTo>
                <a:cubicBezTo>
                  <a:pt x="388" y="531"/>
                  <a:pt x="388" y="531"/>
                  <a:pt x="388" y="531"/>
                </a:cubicBezTo>
                <a:cubicBezTo>
                  <a:pt x="388" y="343"/>
                  <a:pt x="388" y="343"/>
                  <a:pt x="388" y="343"/>
                </a:cubicBezTo>
                <a:cubicBezTo>
                  <a:pt x="544" y="343"/>
                  <a:pt x="544" y="343"/>
                  <a:pt x="544" y="343"/>
                </a:cubicBezTo>
                <a:lnTo>
                  <a:pt x="544" y="531"/>
                </a:lnTo>
                <a:close/>
                <a:moveTo>
                  <a:pt x="388" y="803"/>
                </a:moveTo>
                <a:cubicBezTo>
                  <a:pt x="544" y="803"/>
                  <a:pt x="544" y="803"/>
                  <a:pt x="544" y="803"/>
                </a:cubicBezTo>
                <a:cubicBezTo>
                  <a:pt x="544" y="983"/>
                  <a:pt x="544" y="983"/>
                  <a:pt x="544" y="983"/>
                </a:cubicBezTo>
                <a:cubicBezTo>
                  <a:pt x="388" y="983"/>
                  <a:pt x="388" y="983"/>
                  <a:pt x="388" y="983"/>
                </a:cubicBezTo>
                <a:lnTo>
                  <a:pt x="388" y="803"/>
                </a:lnTo>
                <a:close/>
                <a:moveTo>
                  <a:pt x="996" y="755"/>
                </a:moveTo>
                <a:cubicBezTo>
                  <a:pt x="816" y="755"/>
                  <a:pt x="816" y="755"/>
                  <a:pt x="816" y="755"/>
                </a:cubicBezTo>
                <a:cubicBezTo>
                  <a:pt x="816" y="575"/>
                  <a:pt x="816" y="575"/>
                  <a:pt x="816" y="575"/>
                </a:cubicBezTo>
                <a:cubicBezTo>
                  <a:pt x="996" y="575"/>
                  <a:pt x="996" y="575"/>
                  <a:pt x="996" y="575"/>
                </a:cubicBezTo>
                <a:lnTo>
                  <a:pt x="996" y="755"/>
                </a:lnTo>
                <a:close/>
                <a:moveTo>
                  <a:pt x="816" y="531"/>
                </a:moveTo>
                <a:cubicBezTo>
                  <a:pt x="816" y="343"/>
                  <a:pt x="816" y="343"/>
                  <a:pt x="816" y="343"/>
                </a:cubicBezTo>
                <a:cubicBezTo>
                  <a:pt x="996" y="343"/>
                  <a:pt x="996" y="343"/>
                  <a:pt x="996" y="343"/>
                </a:cubicBezTo>
                <a:cubicBezTo>
                  <a:pt x="996" y="531"/>
                  <a:pt x="996" y="531"/>
                  <a:pt x="996" y="531"/>
                </a:cubicBezTo>
                <a:lnTo>
                  <a:pt x="816" y="531"/>
                </a:lnTo>
                <a:close/>
                <a:moveTo>
                  <a:pt x="763" y="120"/>
                </a:moveTo>
                <a:cubicBezTo>
                  <a:pt x="763" y="80"/>
                  <a:pt x="796" y="47"/>
                  <a:pt x="836" y="47"/>
                </a:cubicBezTo>
                <a:cubicBezTo>
                  <a:pt x="876" y="47"/>
                  <a:pt x="908" y="80"/>
                  <a:pt x="908" y="120"/>
                </a:cubicBezTo>
                <a:cubicBezTo>
                  <a:pt x="908" y="124"/>
                  <a:pt x="908" y="127"/>
                  <a:pt x="907" y="131"/>
                </a:cubicBezTo>
                <a:cubicBezTo>
                  <a:pt x="764" y="131"/>
                  <a:pt x="764" y="131"/>
                  <a:pt x="764" y="131"/>
                </a:cubicBezTo>
                <a:cubicBezTo>
                  <a:pt x="764" y="127"/>
                  <a:pt x="763" y="124"/>
                  <a:pt x="763" y="120"/>
                </a:cubicBezTo>
                <a:close/>
                <a:moveTo>
                  <a:pt x="879" y="179"/>
                </a:moveTo>
                <a:cubicBezTo>
                  <a:pt x="867" y="187"/>
                  <a:pt x="852" y="193"/>
                  <a:pt x="836" y="193"/>
                </a:cubicBezTo>
                <a:cubicBezTo>
                  <a:pt x="823" y="193"/>
                  <a:pt x="812" y="203"/>
                  <a:pt x="812" y="216"/>
                </a:cubicBezTo>
                <a:cubicBezTo>
                  <a:pt x="812" y="229"/>
                  <a:pt x="823" y="241"/>
                  <a:pt x="836" y="241"/>
                </a:cubicBezTo>
                <a:cubicBezTo>
                  <a:pt x="881" y="241"/>
                  <a:pt x="921" y="215"/>
                  <a:pt x="941" y="179"/>
                </a:cubicBezTo>
                <a:cubicBezTo>
                  <a:pt x="996" y="179"/>
                  <a:pt x="996" y="179"/>
                  <a:pt x="996" y="179"/>
                </a:cubicBezTo>
                <a:cubicBezTo>
                  <a:pt x="996" y="295"/>
                  <a:pt x="996" y="295"/>
                  <a:pt x="996" y="295"/>
                </a:cubicBezTo>
                <a:cubicBezTo>
                  <a:pt x="817" y="295"/>
                  <a:pt x="817" y="295"/>
                  <a:pt x="817" y="295"/>
                </a:cubicBezTo>
                <a:cubicBezTo>
                  <a:pt x="769" y="295"/>
                  <a:pt x="769" y="295"/>
                  <a:pt x="769" y="295"/>
                </a:cubicBezTo>
                <a:cubicBezTo>
                  <a:pt x="590" y="295"/>
                  <a:pt x="590" y="295"/>
                  <a:pt x="590" y="295"/>
                </a:cubicBezTo>
                <a:cubicBezTo>
                  <a:pt x="542" y="295"/>
                  <a:pt x="542" y="295"/>
                  <a:pt x="542" y="295"/>
                </a:cubicBezTo>
                <a:cubicBezTo>
                  <a:pt x="387" y="295"/>
                  <a:pt x="387" y="295"/>
                  <a:pt x="387" y="295"/>
                </a:cubicBezTo>
                <a:cubicBezTo>
                  <a:pt x="340" y="295"/>
                  <a:pt x="340" y="295"/>
                  <a:pt x="340" y="295"/>
                </a:cubicBezTo>
                <a:cubicBezTo>
                  <a:pt x="160" y="295"/>
                  <a:pt x="160" y="295"/>
                  <a:pt x="160" y="295"/>
                </a:cubicBezTo>
                <a:cubicBezTo>
                  <a:pt x="160" y="179"/>
                  <a:pt x="160" y="179"/>
                  <a:pt x="160" y="179"/>
                </a:cubicBezTo>
                <a:cubicBezTo>
                  <a:pt x="365" y="179"/>
                  <a:pt x="365" y="179"/>
                  <a:pt x="365" y="179"/>
                </a:cubicBezTo>
                <a:cubicBezTo>
                  <a:pt x="353" y="187"/>
                  <a:pt x="338" y="193"/>
                  <a:pt x="322" y="193"/>
                </a:cubicBezTo>
                <a:cubicBezTo>
                  <a:pt x="309" y="193"/>
                  <a:pt x="298" y="203"/>
                  <a:pt x="298" y="216"/>
                </a:cubicBezTo>
                <a:cubicBezTo>
                  <a:pt x="298" y="229"/>
                  <a:pt x="309" y="241"/>
                  <a:pt x="322" y="241"/>
                </a:cubicBezTo>
                <a:cubicBezTo>
                  <a:pt x="367" y="241"/>
                  <a:pt x="407" y="215"/>
                  <a:pt x="427" y="179"/>
                </a:cubicBezTo>
                <a:lnTo>
                  <a:pt x="879" y="179"/>
                </a:lnTo>
                <a:close/>
                <a:moveTo>
                  <a:pt x="249" y="120"/>
                </a:moveTo>
                <a:cubicBezTo>
                  <a:pt x="249" y="80"/>
                  <a:pt x="282" y="47"/>
                  <a:pt x="322" y="47"/>
                </a:cubicBezTo>
                <a:cubicBezTo>
                  <a:pt x="362" y="47"/>
                  <a:pt x="394" y="80"/>
                  <a:pt x="394" y="120"/>
                </a:cubicBezTo>
                <a:cubicBezTo>
                  <a:pt x="394" y="124"/>
                  <a:pt x="394" y="127"/>
                  <a:pt x="394" y="131"/>
                </a:cubicBezTo>
                <a:cubicBezTo>
                  <a:pt x="250" y="131"/>
                  <a:pt x="250" y="131"/>
                  <a:pt x="250" y="131"/>
                </a:cubicBezTo>
                <a:cubicBezTo>
                  <a:pt x="250" y="127"/>
                  <a:pt x="249" y="124"/>
                  <a:pt x="249" y="120"/>
                </a:cubicBezTo>
                <a:close/>
                <a:moveTo>
                  <a:pt x="896" y="1095"/>
                </a:moveTo>
                <a:cubicBezTo>
                  <a:pt x="48" y="1095"/>
                  <a:pt x="48" y="1095"/>
                  <a:pt x="48" y="1095"/>
                </a:cubicBezTo>
                <a:cubicBezTo>
                  <a:pt x="48" y="277"/>
                  <a:pt x="48" y="277"/>
                  <a:pt x="48" y="277"/>
                </a:cubicBezTo>
                <a:cubicBezTo>
                  <a:pt x="112" y="211"/>
                  <a:pt x="112" y="211"/>
                  <a:pt x="112" y="211"/>
                </a:cubicBezTo>
                <a:cubicBezTo>
                  <a:pt x="112" y="297"/>
                  <a:pt x="112" y="297"/>
                  <a:pt x="112" y="297"/>
                </a:cubicBezTo>
                <a:cubicBezTo>
                  <a:pt x="112" y="529"/>
                  <a:pt x="112" y="529"/>
                  <a:pt x="112" y="529"/>
                </a:cubicBezTo>
                <a:cubicBezTo>
                  <a:pt x="112" y="577"/>
                  <a:pt x="112" y="577"/>
                  <a:pt x="112" y="577"/>
                </a:cubicBezTo>
                <a:cubicBezTo>
                  <a:pt x="112" y="756"/>
                  <a:pt x="112" y="756"/>
                  <a:pt x="112" y="756"/>
                </a:cubicBezTo>
                <a:cubicBezTo>
                  <a:pt x="112" y="803"/>
                  <a:pt x="112" y="803"/>
                  <a:pt x="112" y="803"/>
                </a:cubicBezTo>
                <a:cubicBezTo>
                  <a:pt x="112" y="1006"/>
                  <a:pt x="112" y="1006"/>
                  <a:pt x="112" y="1006"/>
                </a:cubicBezTo>
                <a:cubicBezTo>
                  <a:pt x="112" y="1031"/>
                  <a:pt x="112" y="1031"/>
                  <a:pt x="112" y="1031"/>
                </a:cubicBezTo>
                <a:cubicBezTo>
                  <a:pt x="137" y="1031"/>
                  <a:pt x="137" y="1031"/>
                  <a:pt x="137" y="1031"/>
                </a:cubicBezTo>
                <a:cubicBezTo>
                  <a:pt x="340" y="1031"/>
                  <a:pt x="340" y="1031"/>
                  <a:pt x="340" y="1031"/>
                </a:cubicBezTo>
                <a:cubicBezTo>
                  <a:pt x="387" y="1031"/>
                  <a:pt x="387" y="1031"/>
                  <a:pt x="387" y="1031"/>
                </a:cubicBezTo>
                <a:cubicBezTo>
                  <a:pt x="542" y="1031"/>
                  <a:pt x="542" y="1031"/>
                  <a:pt x="542" y="1031"/>
                </a:cubicBezTo>
                <a:cubicBezTo>
                  <a:pt x="590" y="1031"/>
                  <a:pt x="590" y="1031"/>
                  <a:pt x="590" y="1031"/>
                </a:cubicBezTo>
                <a:cubicBezTo>
                  <a:pt x="793" y="1031"/>
                  <a:pt x="793" y="1031"/>
                  <a:pt x="793" y="1031"/>
                </a:cubicBezTo>
                <a:cubicBezTo>
                  <a:pt x="817" y="1031"/>
                  <a:pt x="817" y="1031"/>
                  <a:pt x="817" y="1031"/>
                </a:cubicBezTo>
                <a:cubicBezTo>
                  <a:pt x="962" y="1031"/>
                  <a:pt x="962" y="1031"/>
                  <a:pt x="962" y="1031"/>
                </a:cubicBezTo>
                <a:lnTo>
                  <a:pt x="896" y="109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992" name="Group 12">
            <a:extLst>
              <a:ext uri="{FF2B5EF4-FFF2-40B4-BE49-F238E27FC236}">
                <a16:creationId xmlns:a16="http://schemas.microsoft.com/office/drawing/2014/main" id="{917DDEBC-94BF-4022-A278-B43134945E9B}"/>
              </a:ext>
            </a:extLst>
          </p:cNvPr>
          <p:cNvGrpSpPr>
            <a:grpSpLocks noChangeAspect="1"/>
          </p:cNvGrpSpPr>
          <p:nvPr/>
        </p:nvGrpSpPr>
        <p:grpSpPr>
          <a:xfrm>
            <a:off x="5331429" y="3832895"/>
            <a:ext cx="297046" cy="223767"/>
            <a:chOff x="7718425" y="5818188"/>
            <a:chExt cx="360363" cy="271463"/>
          </a:xfrm>
          <a:solidFill>
            <a:schemeClr val="bg2"/>
          </a:solidFill>
          <a:effectLst/>
        </p:grpSpPr>
        <p:sp>
          <p:nvSpPr>
            <p:cNvPr id="993" name="Freeform 1148">
              <a:extLst>
                <a:ext uri="{FF2B5EF4-FFF2-40B4-BE49-F238E27FC236}">
                  <a16:creationId xmlns:a16="http://schemas.microsoft.com/office/drawing/2014/main" id="{F3F654E4-F85A-4552-A4F0-0113405795E6}"/>
                </a:ext>
              </a:extLst>
            </p:cNvPr>
            <p:cNvSpPr>
              <a:spLocks noEditPoints="1"/>
            </p:cNvSpPr>
            <p:nvPr/>
          </p:nvSpPr>
          <p:spPr bwMode="auto">
            <a:xfrm>
              <a:off x="7718425" y="5818188"/>
              <a:ext cx="360363" cy="271463"/>
            </a:xfrm>
            <a:custGeom>
              <a:avLst/>
              <a:gdLst>
                <a:gd name="T0" fmla="*/ 94 w 96"/>
                <a:gd name="T1" fmla="*/ 72 h 72"/>
                <a:gd name="T2" fmla="*/ 2 w 96"/>
                <a:gd name="T3" fmla="*/ 72 h 72"/>
                <a:gd name="T4" fmla="*/ 0 w 96"/>
                <a:gd name="T5" fmla="*/ 70 h 72"/>
                <a:gd name="T6" fmla="*/ 0 w 96"/>
                <a:gd name="T7" fmla="*/ 2 h 72"/>
                <a:gd name="T8" fmla="*/ 2 w 96"/>
                <a:gd name="T9" fmla="*/ 0 h 72"/>
                <a:gd name="T10" fmla="*/ 94 w 96"/>
                <a:gd name="T11" fmla="*/ 0 h 72"/>
                <a:gd name="T12" fmla="*/ 96 w 96"/>
                <a:gd name="T13" fmla="*/ 2 h 72"/>
                <a:gd name="T14" fmla="*/ 96 w 96"/>
                <a:gd name="T15" fmla="*/ 70 h 72"/>
                <a:gd name="T16" fmla="*/ 94 w 96"/>
                <a:gd name="T17" fmla="*/ 72 h 72"/>
                <a:gd name="T18" fmla="*/ 4 w 96"/>
                <a:gd name="T19" fmla="*/ 68 h 72"/>
                <a:gd name="T20" fmla="*/ 92 w 96"/>
                <a:gd name="T21" fmla="*/ 68 h 72"/>
                <a:gd name="T22" fmla="*/ 92 w 96"/>
                <a:gd name="T23" fmla="*/ 4 h 72"/>
                <a:gd name="T24" fmla="*/ 4 w 96"/>
                <a:gd name="T25" fmla="*/ 4 h 72"/>
                <a:gd name="T26" fmla="*/ 4 w 96"/>
                <a:gd name="T27"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94" y="72"/>
                  </a:moveTo>
                  <a:cubicBezTo>
                    <a:pt x="2" y="72"/>
                    <a:pt x="2" y="72"/>
                    <a:pt x="2" y="72"/>
                  </a:cubicBezTo>
                  <a:cubicBezTo>
                    <a:pt x="1" y="72"/>
                    <a:pt x="0" y="71"/>
                    <a:pt x="0" y="70"/>
                  </a:cubicBezTo>
                  <a:cubicBezTo>
                    <a:pt x="0" y="2"/>
                    <a:pt x="0" y="2"/>
                    <a:pt x="0" y="2"/>
                  </a:cubicBezTo>
                  <a:cubicBezTo>
                    <a:pt x="0" y="1"/>
                    <a:pt x="1" y="0"/>
                    <a:pt x="2" y="0"/>
                  </a:cubicBezTo>
                  <a:cubicBezTo>
                    <a:pt x="94" y="0"/>
                    <a:pt x="94" y="0"/>
                    <a:pt x="94" y="0"/>
                  </a:cubicBezTo>
                  <a:cubicBezTo>
                    <a:pt x="95" y="0"/>
                    <a:pt x="96" y="1"/>
                    <a:pt x="96" y="2"/>
                  </a:cubicBezTo>
                  <a:cubicBezTo>
                    <a:pt x="96" y="70"/>
                    <a:pt x="96" y="70"/>
                    <a:pt x="96" y="70"/>
                  </a:cubicBezTo>
                  <a:cubicBezTo>
                    <a:pt x="96" y="71"/>
                    <a:pt x="95" y="72"/>
                    <a:pt x="94" y="72"/>
                  </a:cubicBezTo>
                  <a:close/>
                  <a:moveTo>
                    <a:pt x="4" y="68"/>
                  </a:moveTo>
                  <a:cubicBezTo>
                    <a:pt x="92" y="68"/>
                    <a:pt x="92" y="68"/>
                    <a:pt x="92" y="68"/>
                  </a:cubicBezTo>
                  <a:cubicBezTo>
                    <a:pt x="92" y="4"/>
                    <a:pt x="92" y="4"/>
                    <a:pt x="92" y="4"/>
                  </a:cubicBezTo>
                  <a:cubicBezTo>
                    <a:pt x="4" y="4"/>
                    <a:pt x="4" y="4"/>
                    <a:pt x="4" y="4"/>
                  </a:cubicBezTo>
                  <a:lnTo>
                    <a:pt x="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4" name="Freeform 1149">
              <a:extLst>
                <a:ext uri="{FF2B5EF4-FFF2-40B4-BE49-F238E27FC236}">
                  <a16:creationId xmlns:a16="http://schemas.microsoft.com/office/drawing/2014/main" id="{8EBE5C33-9C90-47CA-816A-F7629712F4BD}"/>
                </a:ext>
              </a:extLst>
            </p:cNvPr>
            <p:cNvSpPr>
              <a:spLocks noEditPoints="1"/>
            </p:cNvSpPr>
            <p:nvPr/>
          </p:nvSpPr>
          <p:spPr bwMode="auto">
            <a:xfrm>
              <a:off x="7748588" y="5848350"/>
              <a:ext cx="301625" cy="211138"/>
            </a:xfrm>
            <a:custGeom>
              <a:avLst/>
              <a:gdLst>
                <a:gd name="T0" fmla="*/ 78 w 80"/>
                <a:gd name="T1" fmla="*/ 56 h 56"/>
                <a:gd name="T2" fmla="*/ 2 w 80"/>
                <a:gd name="T3" fmla="*/ 56 h 56"/>
                <a:gd name="T4" fmla="*/ 0 w 80"/>
                <a:gd name="T5" fmla="*/ 54 h 56"/>
                <a:gd name="T6" fmla="*/ 0 w 80"/>
                <a:gd name="T7" fmla="*/ 2 h 56"/>
                <a:gd name="T8" fmla="*/ 2 w 80"/>
                <a:gd name="T9" fmla="*/ 0 h 56"/>
                <a:gd name="T10" fmla="*/ 78 w 80"/>
                <a:gd name="T11" fmla="*/ 0 h 56"/>
                <a:gd name="T12" fmla="*/ 80 w 80"/>
                <a:gd name="T13" fmla="*/ 2 h 56"/>
                <a:gd name="T14" fmla="*/ 80 w 80"/>
                <a:gd name="T15" fmla="*/ 54 h 56"/>
                <a:gd name="T16" fmla="*/ 78 w 80"/>
                <a:gd name="T17" fmla="*/ 56 h 56"/>
                <a:gd name="T18" fmla="*/ 4 w 80"/>
                <a:gd name="T19" fmla="*/ 52 h 56"/>
                <a:gd name="T20" fmla="*/ 76 w 80"/>
                <a:gd name="T21" fmla="*/ 52 h 56"/>
                <a:gd name="T22" fmla="*/ 76 w 80"/>
                <a:gd name="T23" fmla="*/ 4 h 56"/>
                <a:gd name="T24" fmla="*/ 4 w 80"/>
                <a:gd name="T25" fmla="*/ 4 h 56"/>
                <a:gd name="T26" fmla="*/ 4 w 80"/>
                <a:gd name="T2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56">
                  <a:moveTo>
                    <a:pt x="78" y="56"/>
                  </a:moveTo>
                  <a:cubicBezTo>
                    <a:pt x="2" y="56"/>
                    <a:pt x="2" y="56"/>
                    <a:pt x="2" y="56"/>
                  </a:cubicBezTo>
                  <a:cubicBezTo>
                    <a:pt x="1" y="56"/>
                    <a:pt x="0" y="55"/>
                    <a:pt x="0" y="54"/>
                  </a:cubicBezTo>
                  <a:cubicBezTo>
                    <a:pt x="0" y="2"/>
                    <a:pt x="0" y="2"/>
                    <a:pt x="0" y="2"/>
                  </a:cubicBezTo>
                  <a:cubicBezTo>
                    <a:pt x="0" y="1"/>
                    <a:pt x="1" y="0"/>
                    <a:pt x="2" y="0"/>
                  </a:cubicBezTo>
                  <a:cubicBezTo>
                    <a:pt x="78" y="0"/>
                    <a:pt x="78" y="0"/>
                    <a:pt x="78" y="0"/>
                  </a:cubicBezTo>
                  <a:cubicBezTo>
                    <a:pt x="79" y="0"/>
                    <a:pt x="80" y="1"/>
                    <a:pt x="80" y="2"/>
                  </a:cubicBezTo>
                  <a:cubicBezTo>
                    <a:pt x="80" y="54"/>
                    <a:pt x="80" y="54"/>
                    <a:pt x="80" y="54"/>
                  </a:cubicBezTo>
                  <a:cubicBezTo>
                    <a:pt x="80" y="55"/>
                    <a:pt x="79" y="56"/>
                    <a:pt x="78" y="56"/>
                  </a:cubicBezTo>
                  <a:close/>
                  <a:moveTo>
                    <a:pt x="4" y="52"/>
                  </a:moveTo>
                  <a:cubicBezTo>
                    <a:pt x="76" y="52"/>
                    <a:pt x="76" y="52"/>
                    <a:pt x="76" y="52"/>
                  </a:cubicBezTo>
                  <a:cubicBezTo>
                    <a:pt x="76" y="4"/>
                    <a:pt x="76" y="4"/>
                    <a:pt x="76" y="4"/>
                  </a:cubicBezTo>
                  <a:cubicBezTo>
                    <a:pt x="4" y="4"/>
                    <a:pt x="4" y="4"/>
                    <a:pt x="4" y="4"/>
                  </a:cubicBezTo>
                  <a:lnTo>
                    <a:pt x="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5" name="Freeform 1150">
              <a:extLst>
                <a:ext uri="{FF2B5EF4-FFF2-40B4-BE49-F238E27FC236}">
                  <a16:creationId xmlns:a16="http://schemas.microsoft.com/office/drawing/2014/main" id="{68EDBE8F-17B7-4DF4-8556-2D528F5EA9EE}"/>
                </a:ext>
              </a:extLst>
            </p:cNvPr>
            <p:cNvSpPr>
              <a:spLocks/>
            </p:cNvSpPr>
            <p:nvPr/>
          </p:nvSpPr>
          <p:spPr bwMode="auto">
            <a:xfrm>
              <a:off x="7794625" y="5983288"/>
              <a:ext cx="14288"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6" name="Freeform 1151">
              <a:extLst>
                <a:ext uri="{FF2B5EF4-FFF2-40B4-BE49-F238E27FC236}">
                  <a16:creationId xmlns:a16="http://schemas.microsoft.com/office/drawing/2014/main" id="{5B1443C3-9CCE-4F0A-B7AC-1B6FA9D76E91}"/>
                </a:ext>
              </a:extLst>
            </p:cNvPr>
            <p:cNvSpPr>
              <a:spLocks/>
            </p:cNvSpPr>
            <p:nvPr/>
          </p:nvSpPr>
          <p:spPr bwMode="auto">
            <a:xfrm>
              <a:off x="7824788" y="5938838"/>
              <a:ext cx="14288" cy="90488"/>
            </a:xfrm>
            <a:custGeom>
              <a:avLst/>
              <a:gdLst>
                <a:gd name="T0" fmla="*/ 2 w 4"/>
                <a:gd name="T1" fmla="*/ 24 h 24"/>
                <a:gd name="T2" fmla="*/ 0 w 4"/>
                <a:gd name="T3" fmla="*/ 22 h 24"/>
                <a:gd name="T4" fmla="*/ 0 w 4"/>
                <a:gd name="T5" fmla="*/ 2 h 24"/>
                <a:gd name="T6" fmla="*/ 2 w 4"/>
                <a:gd name="T7" fmla="*/ 0 h 24"/>
                <a:gd name="T8" fmla="*/ 4 w 4"/>
                <a:gd name="T9" fmla="*/ 2 h 24"/>
                <a:gd name="T10" fmla="*/ 4 w 4"/>
                <a:gd name="T11" fmla="*/ 22 h 24"/>
                <a:gd name="T12" fmla="*/ 2 w 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 h="24">
                  <a:moveTo>
                    <a:pt x="2" y="24"/>
                  </a:moveTo>
                  <a:cubicBezTo>
                    <a:pt x="1" y="24"/>
                    <a:pt x="0" y="23"/>
                    <a:pt x="0" y="22"/>
                  </a:cubicBezTo>
                  <a:cubicBezTo>
                    <a:pt x="0" y="2"/>
                    <a:pt x="0" y="2"/>
                    <a:pt x="0" y="2"/>
                  </a:cubicBezTo>
                  <a:cubicBezTo>
                    <a:pt x="0" y="1"/>
                    <a:pt x="1" y="0"/>
                    <a:pt x="2" y="0"/>
                  </a:cubicBezTo>
                  <a:cubicBezTo>
                    <a:pt x="3" y="0"/>
                    <a:pt x="4" y="1"/>
                    <a:pt x="4" y="2"/>
                  </a:cubicBezTo>
                  <a:cubicBezTo>
                    <a:pt x="4" y="22"/>
                    <a:pt x="4" y="22"/>
                    <a:pt x="4" y="22"/>
                  </a:cubicBezTo>
                  <a:cubicBezTo>
                    <a:pt x="4" y="23"/>
                    <a:pt x="3" y="24"/>
                    <a:pt x="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7" name="Freeform 1152">
              <a:extLst>
                <a:ext uri="{FF2B5EF4-FFF2-40B4-BE49-F238E27FC236}">
                  <a16:creationId xmlns:a16="http://schemas.microsoft.com/office/drawing/2014/main" id="{EAC31EE6-F81D-4240-8135-CBA18130DC6A}"/>
                </a:ext>
              </a:extLst>
            </p:cNvPr>
            <p:cNvSpPr>
              <a:spLocks/>
            </p:cNvSpPr>
            <p:nvPr/>
          </p:nvSpPr>
          <p:spPr bwMode="auto">
            <a:xfrm>
              <a:off x="7853363" y="5969000"/>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8" name="Freeform 1153">
              <a:extLst>
                <a:ext uri="{FF2B5EF4-FFF2-40B4-BE49-F238E27FC236}">
                  <a16:creationId xmlns:a16="http://schemas.microsoft.com/office/drawing/2014/main" id="{AFD46888-5F2D-4C38-AE88-339854DFA617}"/>
                </a:ext>
              </a:extLst>
            </p:cNvPr>
            <p:cNvSpPr>
              <a:spLocks/>
            </p:cNvSpPr>
            <p:nvPr/>
          </p:nvSpPr>
          <p:spPr bwMode="auto">
            <a:xfrm>
              <a:off x="7883525" y="59832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9" name="Freeform 1154">
              <a:extLst>
                <a:ext uri="{FF2B5EF4-FFF2-40B4-BE49-F238E27FC236}">
                  <a16:creationId xmlns:a16="http://schemas.microsoft.com/office/drawing/2014/main" id="{6B98F0B5-6078-4BB4-948E-09F97384C4A4}"/>
                </a:ext>
              </a:extLst>
            </p:cNvPr>
            <p:cNvSpPr>
              <a:spLocks/>
            </p:cNvSpPr>
            <p:nvPr/>
          </p:nvSpPr>
          <p:spPr bwMode="auto">
            <a:xfrm>
              <a:off x="7974013" y="5908675"/>
              <a:ext cx="15875" cy="120650"/>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0" name="Freeform 1155">
              <a:extLst>
                <a:ext uri="{FF2B5EF4-FFF2-40B4-BE49-F238E27FC236}">
                  <a16:creationId xmlns:a16="http://schemas.microsoft.com/office/drawing/2014/main" id="{7C7A3888-36E7-4DBB-BC57-A6CCAAF22329}"/>
                </a:ext>
              </a:extLst>
            </p:cNvPr>
            <p:cNvSpPr>
              <a:spLocks/>
            </p:cNvSpPr>
            <p:nvPr/>
          </p:nvSpPr>
          <p:spPr bwMode="auto">
            <a:xfrm>
              <a:off x="7943850" y="5946775"/>
              <a:ext cx="15875" cy="82550"/>
            </a:xfrm>
            <a:custGeom>
              <a:avLst/>
              <a:gdLst>
                <a:gd name="T0" fmla="*/ 2 w 4"/>
                <a:gd name="T1" fmla="*/ 22 h 22"/>
                <a:gd name="T2" fmla="*/ 0 w 4"/>
                <a:gd name="T3" fmla="*/ 20 h 22"/>
                <a:gd name="T4" fmla="*/ 0 w 4"/>
                <a:gd name="T5" fmla="*/ 2 h 22"/>
                <a:gd name="T6" fmla="*/ 2 w 4"/>
                <a:gd name="T7" fmla="*/ 0 h 22"/>
                <a:gd name="T8" fmla="*/ 4 w 4"/>
                <a:gd name="T9" fmla="*/ 2 h 22"/>
                <a:gd name="T10" fmla="*/ 4 w 4"/>
                <a:gd name="T11" fmla="*/ 20 h 22"/>
                <a:gd name="T12" fmla="*/ 2 w 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 h="22">
                  <a:moveTo>
                    <a:pt x="2" y="22"/>
                  </a:moveTo>
                  <a:cubicBezTo>
                    <a:pt x="1" y="22"/>
                    <a:pt x="0" y="21"/>
                    <a:pt x="0" y="20"/>
                  </a:cubicBezTo>
                  <a:cubicBezTo>
                    <a:pt x="0" y="2"/>
                    <a:pt x="0" y="2"/>
                    <a:pt x="0" y="2"/>
                  </a:cubicBezTo>
                  <a:cubicBezTo>
                    <a:pt x="0" y="1"/>
                    <a:pt x="1" y="0"/>
                    <a:pt x="2" y="0"/>
                  </a:cubicBezTo>
                  <a:cubicBezTo>
                    <a:pt x="3" y="0"/>
                    <a:pt x="4" y="1"/>
                    <a:pt x="4" y="2"/>
                  </a:cubicBezTo>
                  <a:cubicBezTo>
                    <a:pt x="4" y="20"/>
                    <a:pt x="4" y="20"/>
                    <a:pt x="4" y="20"/>
                  </a:cubicBezTo>
                  <a:cubicBezTo>
                    <a:pt x="4" y="21"/>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1" name="Freeform 1156">
              <a:extLst>
                <a:ext uri="{FF2B5EF4-FFF2-40B4-BE49-F238E27FC236}">
                  <a16:creationId xmlns:a16="http://schemas.microsoft.com/office/drawing/2014/main" id="{78E7CBC3-B1EB-43E0-A3A3-35F0B55180E4}"/>
                </a:ext>
              </a:extLst>
            </p:cNvPr>
            <p:cNvSpPr>
              <a:spLocks/>
            </p:cNvSpPr>
            <p:nvPr/>
          </p:nvSpPr>
          <p:spPr bwMode="auto">
            <a:xfrm>
              <a:off x="7913688" y="5878513"/>
              <a:ext cx="15875" cy="150813"/>
            </a:xfrm>
            <a:custGeom>
              <a:avLst/>
              <a:gdLst>
                <a:gd name="T0" fmla="*/ 2 w 4"/>
                <a:gd name="T1" fmla="*/ 40 h 40"/>
                <a:gd name="T2" fmla="*/ 0 w 4"/>
                <a:gd name="T3" fmla="*/ 38 h 40"/>
                <a:gd name="T4" fmla="*/ 0 w 4"/>
                <a:gd name="T5" fmla="*/ 2 h 40"/>
                <a:gd name="T6" fmla="*/ 2 w 4"/>
                <a:gd name="T7" fmla="*/ 0 h 40"/>
                <a:gd name="T8" fmla="*/ 4 w 4"/>
                <a:gd name="T9" fmla="*/ 2 h 40"/>
                <a:gd name="T10" fmla="*/ 4 w 4"/>
                <a:gd name="T11" fmla="*/ 38 h 40"/>
                <a:gd name="T12" fmla="*/ 2 w 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4" h="40">
                  <a:moveTo>
                    <a:pt x="2" y="40"/>
                  </a:moveTo>
                  <a:cubicBezTo>
                    <a:pt x="1" y="40"/>
                    <a:pt x="0" y="39"/>
                    <a:pt x="0" y="38"/>
                  </a:cubicBezTo>
                  <a:cubicBezTo>
                    <a:pt x="0" y="2"/>
                    <a:pt x="0" y="2"/>
                    <a:pt x="0" y="2"/>
                  </a:cubicBezTo>
                  <a:cubicBezTo>
                    <a:pt x="0" y="1"/>
                    <a:pt x="1" y="0"/>
                    <a:pt x="2" y="0"/>
                  </a:cubicBezTo>
                  <a:cubicBezTo>
                    <a:pt x="3" y="0"/>
                    <a:pt x="4" y="1"/>
                    <a:pt x="4" y="2"/>
                  </a:cubicBezTo>
                  <a:cubicBezTo>
                    <a:pt x="4" y="38"/>
                    <a:pt x="4" y="38"/>
                    <a:pt x="4" y="38"/>
                  </a:cubicBezTo>
                  <a:cubicBezTo>
                    <a:pt x="4" y="39"/>
                    <a:pt x="3" y="40"/>
                    <a:pt x="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162" name="Group 18">
            <a:extLst>
              <a:ext uri="{FF2B5EF4-FFF2-40B4-BE49-F238E27FC236}">
                <a16:creationId xmlns:a16="http://schemas.microsoft.com/office/drawing/2014/main" id="{669C6EC4-B717-4DF7-9B23-D9153045B99F}"/>
              </a:ext>
            </a:extLst>
          </p:cNvPr>
          <p:cNvGrpSpPr>
            <a:grpSpLocks noChangeAspect="1"/>
          </p:cNvGrpSpPr>
          <p:nvPr/>
        </p:nvGrpSpPr>
        <p:grpSpPr>
          <a:xfrm>
            <a:off x="5377936" y="5956111"/>
            <a:ext cx="286141" cy="285619"/>
            <a:chOff x="1769427" y="5419470"/>
            <a:chExt cx="504248" cy="503328"/>
          </a:xfrm>
          <a:solidFill>
            <a:schemeClr val="bg2"/>
          </a:solidFill>
          <a:effectLst/>
        </p:grpSpPr>
        <p:sp>
          <p:nvSpPr>
            <p:cNvPr id="1210" name="Freeform 7">
              <a:extLst>
                <a:ext uri="{FF2B5EF4-FFF2-40B4-BE49-F238E27FC236}">
                  <a16:creationId xmlns:a16="http://schemas.microsoft.com/office/drawing/2014/main" id="{A7275A89-E176-458A-868D-745DCB43F444}"/>
                </a:ext>
              </a:extLst>
            </p:cNvPr>
            <p:cNvSpPr>
              <a:spLocks noEditPoints="1"/>
            </p:cNvSpPr>
            <p:nvPr/>
          </p:nvSpPr>
          <p:spPr bwMode="auto">
            <a:xfrm>
              <a:off x="1769427" y="5419470"/>
              <a:ext cx="504248" cy="503328"/>
            </a:xfrm>
            <a:custGeom>
              <a:avLst/>
              <a:gdLst>
                <a:gd name="T0" fmla="*/ 669 w 1642"/>
                <a:gd name="T1" fmla="*/ 76 h 1641"/>
                <a:gd name="T2" fmla="*/ 491 w 1642"/>
                <a:gd name="T3" fmla="*/ 135 h 1641"/>
                <a:gd name="T4" fmla="*/ 337 w 1642"/>
                <a:gd name="T5" fmla="*/ 235 h 1641"/>
                <a:gd name="T6" fmla="*/ 212 w 1642"/>
                <a:gd name="T7" fmla="*/ 366 h 1641"/>
                <a:gd name="T8" fmla="*/ 121 w 1642"/>
                <a:gd name="T9" fmla="*/ 525 h 1641"/>
                <a:gd name="T10" fmla="*/ 70 w 1642"/>
                <a:gd name="T11" fmla="*/ 705 h 1641"/>
                <a:gd name="T12" fmla="*/ 65 w 1642"/>
                <a:gd name="T13" fmla="*/ 898 h 1641"/>
                <a:gd name="T14" fmla="*/ 107 w 1642"/>
                <a:gd name="T15" fmla="*/ 1081 h 1641"/>
                <a:gd name="T16" fmla="*/ 191 w 1642"/>
                <a:gd name="T17" fmla="*/ 1245 h 1641"/>
                <a:gd name="T18" fmla="*/ 310 w 1642"/>
                <a:gd name="T19" fmla="*/ 1383 h 1641"/>
                <a:gd name="T20" fmla="*/ 460 w 1642"/>
                <a:gd name="T21" fmla="*/ 1488 h 1641"/>
                <a:gd name="T22" fmla="*/ 631 w 1642"/>
                <a:gd name="T23" fmla="*/ 1556 h 1641"/>
                <a:gd name="T24" fmla="*/ 821 w 1642"/>
                <a:gd name="T25" fmla="*/ 1581 h 1641"/>
                <a:gd name="T26" fmla="*/ 1011 w 1642"/>
                <a:gd name="T27" fmla="*/ 1556 h 1641"/>
                <a:gd name="T28" fmla="*/ 1183 w 1642"/>
                <a:gd name="T29" fmla="*/ 1488 h 1641"/>
                <a:gd name="T30" fmla="*/ 1331 w 1642"/>
                <a:gd name="T31" fmla="*/ 1383 h 1641"/>
                <a:gd name="T32" fmla="*/ 1451 w 1642"/>
                <a:gd name="T33" fmla="*/ 1245 h 1641"/>
                <a:gd name="T34" fmla="*/ 1534 w 1642"/>
                <a:gd name="T35" fmla="*/ 1081 h 1641"/>
                <a:gd name="T36" fmla="*/ 1577 w 1642"/>
                <a:gd name="T37" fmla="*/ 898 h 1641"/>
                <a:gd name="T38" fmla="*/ 1571 w 1642"/>
                <a:gd name="T39" fmla="*/ 705 h 1641"/>
                <a:gd name="T40" fmla="*/ 1521 w 1642"/>
                <a:gd name="T41" fmla="*/ 525 h 1641"/>
                <a:gd name="T42" fmla="*/ 1430 w 1642"/>
                <a:gd name="T43" fmla="*/ 366 h 1641"/>
                <a:gd name="T44" fmla="*/ 1304 w 1642"/>
                <a:gd name="T45" fmla="*/ 235 h 1641"/>
                <a:gd name="T46" fmla="*/ 1150 w 1642"/>
                <a:gd name="T47" fmla="*/ 135 h 1641"/>
                <a:gd name="T48" fmla="*/ 974 w 1642"/>
                <a:gd name="T49" fmla="*/ 76 h 1641"/>
                <a:gd name="T50" fmla="*/ 821 w 1642"/>
                <a:gd name="T51" fmla="*/ 1641 h 1641"/>
                <a:gd name="T52" fmla="*/ 617 w 1642"/>
                <a:gd name="T53" fmla="*/ 1615 h 1641"/>
                <a:gd name="T54" fmla="*/ 430 w 1642"/>
                <a:gd name="T55" fmla="*/ 1542 h 1641"/>
                <a:gd name="T56" fmla="*/ 270 w 1642"/>
                <a:gd name="T57" fmla="*/ 1428 h 1641"/>
                <a:gd name="T58" fmla="*/ 140 w 1642"/>
                <a:gd name="T59" fmla="*/ 1278 h 1641"/>
                <a:gd name="T60" fmla="*/ 51 w 1642"/>
                <a:gd name="T61" fmla="*/ 1103 h 1641"/>
                <a:gd name="T62" fmla="*/ 5 w 1642"/>
                <a:gd name="T63" fmla="*/ 904 h 1641"/>
                <a:gd name="T64" fmla="*/ 11 w 1642"/>
                <a:gd name="T65" fmla="*/ 695 h 1641"/>
                <a:gd name="T66" fmla="*/ 65 w 1642"/>
                <a:gd name="T67" fmla="*/ 501 h 1641"/>
                <a:gd name="T68" fmla="*/ 163 w 1642"/>
                <a:gd name="T69" fmla="*/ 330 h 1641"/>
                <a:gd name="T70" fmla="*/ 300 w 1642"/>
                <a:gd name="T71" fmla="*/ 187 h 1641"/>
                <a:gd name="T72" fmla="*/ 466 w 1642"/>
                <a:gd name="T73" fmla="*/ 81 h 1641"/>
                <a:gd name="T74" fmla="*/ 656 w 1642"/>
                <a:gd name="T75" fmla="*/ 17 h 1641"/>
                <a:gd name="T76" fmla="*/ 863 w 1642"/>
                <a:gd name="T77" fmla="*/ 1 h 1641"/>
                <a:gd name="T78" fmla="*/ 1065 w 1642"/>
                <a:gd name="T79" fmla="*/ 37 h 1641"/>
                <a:gd name="T80" fmla="*/ 1246 w 1642"/>
                <a:gd name="T81" fmla="*/ 119 h 1641"/>
                <a:gd name="T82" fmla="*/ 1402 w 1642"/>
                <a:gd name="T83" fmla="*/ 240 h 1641"/>
                <a:gd name="T84" fmla="*/ 1523 w 1642"/>
                <a:gd name="T85" fmla="*/ 396 h 1641"/>
                <a:gd name="T86" fmla="*/ 1605 w 1642"/>
                <a:gd name="T87" fmla="*/ 577 h 1641"/>
                <a:gd name="T88" fmla="*/ 1641 w 1642"/>
                <a:gd name="T89" fmla="*/ 779 h 1641"/>
                <a:gd name="T90" fmla="*/ 1625 w 1642"/>
                <a:gd name="T91" fmla="*/ 986 h 1641"/>
                <a:gd name="T92" fmla="*/ 1560 w 1642"/>
                <a:gd name="T93" fmla="*/ 1176 h 1641"/>
                <a:gd name="T94" fmla="*/ 1453 w 1642"/>
                <a:gd name="T95" fmla="*/ 1342 h 1641"/>
                <a:gd name="T96" fmla="*/ 1312 w 1642"/>
                <a:gd name="T97" fmla="*/ 1478 h 1641"/>
                <a:gd name="T98" fmla="*/ 1139 w 1642"/>
                <a:gd name="T99" fmla="*/ 1576 h 1641"/>
                <a:gd name="T100" fmla="*/ 947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9" y="76"/>
                  </a:lnTo>
                  <a:lnTo>
                    <a:pt x="631" y="85"/>
                  </a:lnTo>
                  <a:lnTo>
                    <a:pt x="595" y="95"/>
                  </a:lnTo>
                  <a:lnTo>
                    <a:pt x="561" y="107"/>
                  </a:lnTo>
                  <a:lnTo>
                    <a:pt x="526" y="121"/>
                  </a:lnTo>
                  <a:lnTo>
                    <a:pt x="491" y="135"/>
                  </a:lnTo>
                  <a:lnTo>
                    <a:pt x="460" y="153"/>
                  </a:lnTo>
                  <a:lnTo>
                    <a:pt x="427" y="171"/>
                  </a:lnTo>
                  <a:lnTo>
                    <a:pt x="396" y="190"/>
                  </a:lnTo>
                  <a:lnTo>
                    <a:pt x="366" y="212"/>
                  </a:lnTo>
                  <a:lnTo>
                    <a:pt x="337" y="235"/>
                  </a:lnTo>
                  <a:lnTo>
                    <a:pt x="310" y="258"/>
                  </a:lnTo>
                  <a:lnTo>
                    <a:pt x="284" y="284"/>
                  </a:lnTo>
                  <a:lnTo>
                    <a:pt x="258" y="309"/>
                  </a:lnTo>
                  <a:lnTo>
                    <a:pt x="235" y="337"/>
                  </a:lnTo>
                  <a:lnTo>
                    <a:pt x="212" y="366"/>
                  </a:lnTo>
                  <a:lnTo>
                    <a:pt x="191" y="396"/>
                  </a:lnTo>
                  <a:lnTo>
                    <a:pt x="172" y="428"/>
                  </a:lnTo>
                  <a:lnTo>
                    <a:pt x="153" y="459"/>
                  </a:lnTo>
                  <a:lnTo>
                    <a:pt x="136" y="491"/>
                  </a:lnTo>
                  <a:lnTo>
                    <a:pt x="121" y="525"/>
                  </a:lnTo>
                  <a:lnTo>
                    <a:pt x="107" y="560"/>
                  </a:lnTo>
                  <a:lnTo>
                    <a:pt x="95" y="595"/>
                  </a:lnTo>
                  <a:lnTo>
                    <a:pt x="85" y="630"/>
                  </a:lnTo>
                  <a:lnTo>
                    <a:pt x="77" y="668"/>
                  </a:lnTo>
                  <a:lnTo>
                    <a:pt x="70" y="705"/>
                  </a:lnTo>
                  <a:lnTo>
                    <a:pt x="65" y="743"/>
                  </a:lnTo>
                  <a:lnTo>
                    <a:pt x="62" y="782"/>
                  </a:lnTo>
                  <a:lnTo>
                    <a:pt x="61" y="821"/>
                  </a:lnTo>
                  <a:lnTo>
                    <a:pt x="62" y="859"/>
                  </a:lnTo>
                  <a:lnTo>
                    <a:pt x="65" y="898"/>
                  </a:lnTo>
                  <a:lnTo>
                    <a:pt x="70" y="936"/>
                  </a:lnTo>
                  <a:lnTo>
                    <a:pt x="77" y="973"/>
                  </a:lnTo>
                  <a:lnTo>
                    <a:pt x="85" y="1011"/>
                  </a:lnTo>
                  <a:lnTo>
                    <a:pt x="95" y="1046"/>
                  </a:lnTo>
                  <a:lnTo>
                    <a:pt x="107" y="1081"/>
                  </a:lnTo>
                  <a:lnTo>
                    <a:pt x="121" y="1116"/>
                  </a:lnTo>
                  <a:lnTo>
                    <a:pt x="136" y="1150"/>
                  </a:lnTo>
                  <a:lnTo>
                    <a:pt x="153" y="1182"/>
                  </a:lnTo>
                  <a:lnTo>
                    <a:pt x="172" y="1213"/>
                  </a:lnTo>
                  <a:lnTo>
                    <a:pt x="191" y="1245"/>
                  </a:lnTo>
                  <a:lnTo>
                    <a:pt x="212" y="1275"/>
                  </a:lnTo>
                  <a:lnTo>
                    <a:pt x="235" y="1304"/>
                  </a:lnTo>
                  <a:lnTo>
                    <a:pt x="258" y="1332"/>
                  </a:lnTo>
                  <a:lnTo>
                    <a:pt x="284" y="1357"/>
                  </a:lnTo>
                  <a:lnTo>
                    <a:pt x="310" y="1383"/>
                  </a:lnTo>
                  <a:lnTo>
                    <a:pt x="337" y="1406"/>
                  </a:lnTo>
                  <a:lnTo>
                    <a:pt x="366" y="1429"/>
                  </a:lnTo>
                  <a:lnTo>
                    <a:pt x="396" y="1451"/>
                  </a:lnTo>
                  <a:lnTo>
                    <a:pt x="427" y="1470"/>
                  </a:lnTo>
                  <a:lnTo>
                    <a:pt x="460" y="1488"/>
                  </a:lnTo>
                  <a:lnTo>
                    <a:pt x="491" y="1506"/>
                  </a:lnTo>
                  <a:lnTo>
                    <a:pt x="526" y="1520"/>
                  </a:lnTo>
                  <a:lnTo>
                    <a:pt x="561" y="1534"/>
                  </a:lnTo>
                  <a:lnTo>
                    <a:pt x="595" y="1546"/>
                  </a:lnTo>
                  <a:lnTo>
                    <a:pt x="631" y="1556"/>
                  </a:lnTo>
                  <a:lnTo>
                    <a:pt x="669" y="1565"/>
                  </a:lnTo>
                  <a:lnTo>
                    <a:pt x="706" y="1572"/>
                  </a:lnTo>
                  <a:lnTo>
                    <a:pt x="743" y="1576"/>
                  </a:lnTo>
                  <a:lnTo>
                    <a:pt x="782" y="1579"/>
                  </a:lnTo>
                  <a:lnTo>
                    <a:pt x="821" y="1581"/>
                  </a:lnTo>
                  <a:lnTo>
                    <a:pt x="860" y="1579"/>
                  </a:lnTo>
                  <a:lnTo>
                    <a:pt x="899" y="1576"/>
                  </a:lnTo>
                  <a:lnTo>
                    <a:pt x="936" y="1572"/>
                  </a:lnTo>
                  <a:lnTo>
                    <a:pt x="974" y="1565"/>
                  </a:lnTo>
                  <a:lnTo>
                    <a:pt x="1011" y="1556"/>
                  </a:lnTo>
                  <a:lnTo>
                    <a:pt x="1047" y="1546"/>
                  </a:lnTo>
                  <a:lnTo>
                    <a:pt x="1082" y="1534"/>
                  </a:lnTo>
                  <a:lnTo>
                    <a:pt x="1116" y="1520"/>
                  </a:lnTo>
                  <a:lnTo>
                    <a:pt x="1150" y="1506"/>
                  </a:lnTo>
                  <a:lnTo>
                    <a:pt x="1183" y="1488"/>
                  </a:lnTo>
                  <a:lnTo>
                    <a:pt x="1214" y="1470"/>
                  </a:lnTo>
                  <a:lnTo>
                    <a:pt x="1246" y="1451"/>
                  </a:lnTo>
                  <a:lnTo>
                    <a:pt x="1275" y="1429"/>
                  </a:lnTo>
                  <a:lnTo>
                    <a:pt x="1304" y="1406"/>
                  </a:lnTo>
                  <a:lnTo>
                    <a:pt x="1331" y="1383"/>
                  </a:lnTo>
                  <a:lnTo>
                    <a:pt x="1358" y="1357"/>
                  </a:lnTo>
                  <a:lnTo>
                    <a:pt x="1383" y="1332"/>
                  </a:lnTo>
                  <a:lnTo>
                    <a:pt x="1407" y="1304"/>
                  </a:lnTo>
                  <a:lnTo>
                    <a:pt x="1430" y="1275"/>
                  </a:lnTo>
                  <a:lnTo>
                    <a:pt x="1451" y="1245"/>
                  </a:lnTo>
                  <a:lnTo>
                    <a:pt x="1471" y="1213"/>
                  </a:lnTo>
                  <a:lnTo>
                    <a:pt x="1489" y="1182"/>
                  </a:lnTo>
                  <a:lnTo>
                    <a:pt x="1505" y="1150"/>
                  </a:lnTo>
                  <a:lnTo>
                    <a:pt x="1521" y="1116"/>
                  </a:lnTo>
                  <a:lnTo>
                    <a:pt x="1534" y="1081"/>
                  </a:lnTo>
                  <a:lnTo>
                    <a:pt x="1547" y="1046"/>
                  </a:lnTo>
                  <a:lnTo>
                    <a:pt x="1557" y="1011"/>
                  </a:lnTo>
                  <a:lnTo>
                    <a:pt x="1566" y="973"/>
                  </a:lnTo>
                  <a:lnTo>
                    <a:pt x="1571" y="936"/>
                  </a:lnTo>
                  <a:lnTo>
                    <a:pt x="1577" y="898"/>
                  </a:lnTo>
                  <a:lnTo>
                    <a:pt x="1580" y="859"/>
                  </a:lnTo>
                  <a:lnTo>
                    <a:pt x="1582" y="821"/>
                  </a:lnTo>
                  <a:lnTo>
                    <a:pt x="1580" y="782"/>
                  </a:lnTo>
                  <a:lnTo>
                    <a:pt x="1577" y="743"/>
                  </a:lnTo>
                  <a:lnTo>
                    <a:pt x="1571" y="705"/>
                  </a:lnTo>
                  <a:lnTo>
                    <a:pt x="1566" y="668"/>
                  </a:lnTo>
                  <a:lnTo>
                    <a:pt x="1557" y="630"/>
                  </a:lnTo>
                  <a:lnTo>
                    <a:pt x="1547" y="595"/>
                  </a:lnTo>
                  <a:lnTo>
                    <a:pt x="1534" y="560"/>
                  </a:lnTo>
                  <a:lnTo>
                    <a:pt x="1521" y="525"/>
                  </a:lnTo>
                  <a:lnTo>
                    <a:pt x="1505" y="491"/>
                  </a:lnTo>
                  <a:lnTo>
                    <a:pt x="1489" y="459"/>
                  </a:lnTo>
                  <a:lnTo>
                    <a:pt x="1471" y="428"/>
                  </a:lnTo>
                  <a:lnTo>
                    <a:pt x="1451" y="396"/>
                  </a:lnTo>
                  <a:lnTo>
                    <a:pt x="1430" y="366"/>
                  </a:lnTo>
                  <a:lnTo>
                    <a:pt x="1407" y="337"/>
                  </a:lnTo>
                  <a:lnTo>
                    <a:pt x="1383" y="309"/>
                  </a:lnTo>
                  <a:lnTo>
                    <a:pt x="1358" y="284"/>
                  </a:lnTo>
                  <a:lnTo>
                    <a:pt x="1331" y="258"/>
                  </a:lnTo>
                  <a:lnTo>
                    <a:pt x="1304" y="235"/>
                  </a:lnTo>
                  <a:lnTo>
                    <a:pt x="1275" y="212"/>
                  </a:lnTo>
                  <a:lnTo>
                    <a:pt x="1246" y="190"/>
                  </a:lnTo>
                  <a:lnTo>
                    <a:pt x="1214" y="171"/>
                  </a:lnTo>
                  <a:lnTo>
                    <a:pt x="1183" y="153"/>
                  </a:lnTo>
                  <a:lnTo>
                    <a:pt x="1150" y="135"/>
                  </a:lnTo>
                  <a:lnTo>
                    <a:pt x="1116" y="121"/>
                  </a:lnTo>
                  <a:lnTo>
                    <a:pt x="1082" y="107"/>
                  </a:lnTo>
                  <a:lnTo>
                    <a:pt x="1047" y="95"/>
                  </a:lnTo>
                  <a:lnTo>
                    <a:pt x="1011" y="85"/>
                  </a:lnTo>
                  <a:lnTo>
                    <a:pt x="974" y="76"/>
                  </a:lnTo>
                  <a:lnTo>
                    <a:pt x="936" y="69"/>
                  </a:lnTo>
                  <a:lnTo>
                    <a:pt x="899" y="65"/>
                  </a:lnTo>
                  <a:lnTo>
                    <a:pt x="860" y="62"/>
                  </a:lnTo>
                  <a:lnTo>
                    <a:pt x="821" y="60"/>
                  </a:lnTo>
                  <a:close/>
                  <a:moveTo>
                    <a:pt x="821" y="1641"/>
                  </a:moveTo>
                  <a:lnTo>
                    <a:pt x="779" y="1640"/>
                  </a:lnTo>
                  <a:lnTo>
                    <a:pt x="738" y="1637"/>
                  </a:lnTo>
                  <a:lnTo>
                    <a:pt x="696" y="1631"/>
                  </a:lnTo>
                  <a:lnTo>
                    <a:pt x="656" y="1624"/>
                  </a:lnTo>
                  <a:lnTo>
                    <a:pt x="617" y="1615"/>
                  </a:lnTo>
                  <a:lnTo>
                    <a:pt x="578" y="1604"/>
                  </a:lnTo>
                  <a:lnTo>
                    <a:pt x="539" y="1591"/>
                  </a:lnTo>
                  <a:lnTo>
                    <a:pt x="502" y="1576"/>
                  </a:lnTo>
                  <a:lnTo>
                    <a:pt x="466" y="1560"/>
                  </a:lnTo>
                  <a:lnTo>
                    <a:pt x="430" y="1542"/>
                  </a:lnTo>
                  <a:lnTo>
                    <a:pt x="396" y="1522"/>
                  </a:lnTo>
                  <a:lnTo>
                    <a:pt x="362" y="1501"/>
                  </a:lnTo>
                  <a:lnTo>
                    <a:pt x="330" y="1478"/>
                  </a:lnTo>
                  <a:lnTo>
                    <a:pt x="300" y="1454"/>
                  </a:lnTo>
                  <a:lnTo>
                    <a:pt x="270" y="1428"/>
                  </a:lnTo>
                  <a:lnTo>
                    <a:pt x="241" y="1401"/>
                  </a:lnTo>
                  <a:lnTo>
                    <a:pt x="214" y="1372"/>
                  </a:lnTo>
                  <a:lnTo>
                    <a:pt x="188" y="1342"/>
                  </a:lnTo>
                  <a:lnTo>
                    <a:pt x="163" y="1311"/>
                  </a:lnTo>
                  <a:lnTo>
                    <a:pt x="140" y="1278"/>
                  </a:lnTo>
                  <a:lnTo>
                    <a:pt x="120" y="1245"/>
                  </a:lnTo>
                  <a:lnTo>
                    <a:pt x="100" y="1211"/>
                  </a:lnTo>
                  <a:lnTo>
                    <a:pt x="81" y="1176"/>
                  </a:lnTo>
                  <a:lnTo>
                    <a:pt x="65" y="1140"/>
                  </a:lnTo>
                  <a:lnTo>
                    <a:pt x="51" y="1103"/>
                  </a:lnTo>
                  <a:lnTo>
                    <a:pt x="38" y="1064"/>
                  </a:lnTo>
                  <a:lnTo>
                    <a:pt x="26" y="1025"/>
                  </a:lnTo>
                  <a:lnTo>
                    <a:pt x="18" y="986"/>
                  </a:lnTo>
                  <a:lnTo>
                    <a:pt x="11" y="946"/>
                  </a:lnTo>
                  <a:lnTo>
                    <a:pt x="5" y="904"/>
                  </a:lnTo>
                  <a:lnTo>
                    <a:pt x="2" y="862"/>
                  </a:lnTo>
                  <a:lnTo>
                    <a:pt x="0" y="821"/>
                  </a:lnTo>
                  <a:lnTo>
                    <a:pt x="2" y="779"/>
                  </a:lnTo>
                  <a:lnTo>
                    <a:pt x="5" y="737"/>
                  </a:lnTo>
                  <a:lnTo>
                    <a:pt x="11" y="695"/>
                  </a:lnTo>
                  <a:lnTo>
                    <a:pt x="18" y="655"/>
                  </a:lnTo>
                  <a:lnTo>
                    <a:pt x="26" y="616"/>
                  </a:lnTo>
                  <a:lnTo>
                    <a:pt x="38" y="577"/>
                  </a:lnTo>
                  <a:lnTo>
                    <a:pt x="51" y="538"/>
                  </a:lnTo>
                  <a:lnTo>
                    <a:pt x="65" y="501"/>
                  </a:lnTo>
                  <a:lnTo>
                    <a:pt x="81" y="465"/>
                  </a:lnTo>
                  <a:lnTo>
                    <a:pt x="100" y="430"/>
                  </a:lnTo>
                  <a:lnTo>
                    <a:pt x="120" y="396"/>
                  </a:lnTo>
                  <a:lnTo>
                    <a:pt x="140" y="363"/>
                  </a:lnTo>
                  <a:lnTo>
                    <a:pt x="163" y="330"/>
                  </a:lnTo>
                  <a:lnTo>
                    <a:pt x="188" y="299"/>
                  </a:lnTo>
                  <a:lnTo>
                    <a:pt x="214" y="269"/>
                  </a:lnTo>
                  <a:lnTo>
                    <a:pt x="241" y="240"/>
                  </a:lnTo>
                  <a:lnTo>
                    <a:pt x="270" y="213"/>
                  </a:lnTo>
                  <a:lnTo>
                    <a:pt x="300" y="187"/>
                  </a:lnTo>
                  <a:lnTo>
                    <a:pt x="330" y="163"/>
                  </a:lnTo>
                  <a:lnTo>
                    <a:pt x="362" y="140"/>
                  </a:lnTo>
                  <a:lnTo>
                    <a:pt x="396" y="119"/>
                  </a:lnTo>
                  <a:lnTo>
                    <a:pt x="430" y="99"/>
                  </a:lnTo>
                  <a:lnTo>
                    <a:pt x="466" y="81"/>
                  </a:lnTo>
                  <a:lnTo>
                    <a:pt x="502" y="65"/>
                  </a:lnTo>
                  <a:lnTo>
                    <a:pt x="539" y="50"/>
                  </a:lnTo>
                  <a:lnTo>
                    <a:pt x="578" y="37"/>
                  </a:lnTo>
                  <a:lnTo>
                    <a:pt x="617" y="26"/>
                  </a:lnTo>
                  <a:lnTo>
                    <a:pt x="656" y="17"/>
                  </a:lnTo>
                  <a:lnTo>
                    <a:pt x="696" y="10"/>
                  </a:lnTo>
                  <a:lnTo>
                    <a:pt x="738" y="4"/>
                  </a:lnTo>
                  <a:lnTo>
                    <a:pt x="779" y="1"/>
                  </a:lnTo>
                  <a:lnTo>
                    <a:pt x="821" y="0"/>
                  </a:lnTo>
                  <a:lnTo>
                    <a:pt x="863" y="1"/>
                  </a:lnTo>
                  <a:lnTo>
                    <a:pt x="905" y="4"/>
                  </a:lnTo>
                  <a:lnTo>
                    <a:pt x="947" y="10"/>
                  </a:lnTo>
                  <a:lnTo>
                    <a:pt x="987" y="17"/>
                  </a:lnTo>
                  <a:lnTo>
                    <a:pt x="1026" y="26"/>
                  </a:lnTo>
                  <a:lnTo>
                    <a:pt x="1065" y="37"/>
                  </a:lnTo>
                  <a:lnTo>
                    <a:pt x="1103" y="50"/>
                  </a:lnTo>
                  <a:lnTo>
                    <a:pt x="1139" y="65"/>
                  </a:lnTo>
                  <a:lnTo>
                    <a:pt x="1177" y="81"/>
                  </a:lnTo>
                  <a:lnTo>
                    <a:pt x="1211" y="99"/>
                  </a:lnTo>
                  <a:lnTo>
                    <a:pt x="1246" y="119"/>
                  </a:lnTo>
                  <a:lnTo>
                    <a:pt x="1279" y="140"/>
                  </a:lnTo>
                  <a:lnTo>
                    <a:pt x="1312" y="163"/>
                  </a:lnTo>
                  <a:lnTo>
                    <a:pt x="1343" y="187"/>
                  </a:lnTo>
                  <a:lnTo>
                    <a:pt x="1373" y="213"/>
                  </a:lnTo>
                  <a:lnTo>
                    <a:pt x="1402" y="240"/>
                  </a:lnTo>
                  <a:lnTo>
                    <a:pt x="1429" y="269"/>
                  </a:lnTo>
                  <a:lnTo>
                    <a:pt x="1453" y="299"/>
                  </a:lnTo>
                  <a:lnTo>
                    <a:pt x="1478" y="330"/>
                  </a:lnTo>
                  <a:lnTo>
                    <a:pt x="1501" y="363"/>
                  </a:lnTo>
                  <a:lnTo>
                    <a:pt x="1523" y="396"/>
                  </a:lnTo>
                  <a:lnTo>
                    <a:pt x="1543" y="430"/>
                  </a:lnTo>
                  <a:lnTo>
                    <a:pt x="1560" y="465"/>
                  </a:lnTo>
                  <a:lnTo>
                    <a:pt x="1577" y="501"/>
                  </a:lnTo>
                  <a:lnTo>
                    <a:pt x="1592" y="538"/>
                  </a:lnTo>
                  <a:lnTo>
                    <a:pt x="1605" y="577"/>
                  </a:lnTo>
                  <a:lnTo>
                    <a:pt x="1616" y="616"/>
                  </a:lnTo>
                  <a:lnTo>
                    <a:pt x="1625" y="655"/>
                  </a:lnTo>
                  <a:lnTo>
                    <a:pt x="1632" y="695"/>
                  </a:lnTo>
                  <a:lnTo>
                    <a:pt x="1638" y="737"/>
                  </a:lnTo>
                  <a:lnTo>
                    <a:pt x="1641" y="779"/>
                  </a:lnTo>
                  <a:lnTo>
                    <a:pt x="1642" y="821"/>
                  </a:lnTo>
                  <a:lnTo>
                    <a:pt x="1641" y="862"/>
                  </a:lnTo>
                  <a:lnTo>
                    <a:pt x="1638" y="904"/>
                  </a:lnTo>
                  <a:lnTo>
                    <a:pt x="1632" y="946"/>
                  </a:lnTo>
                  <a:lnTo>
                    <a:pt x="1625" y="986"/>
                  </a:lnTo>
                  <a:lnTo>
                    <a:pt x="1616" y="1025"/>
                  </a:lnTo>
                  <a:lnTo>
                    <a:pt x="1605" y="1064"/>
                  </a:lnTo>
                  <a:lnTo>
                    <a:pt x="1592" y="1103"/>
                  </a:lnTo>
                  <a:lnTo>
                    <a:pt x="1577" y="1140"/>
                  </a:lnTo>
                  <a:lnTo>
                    <a:pt x="1560" y="1176"/>
                  </a:lnTo>
                  <a:lnTo>
                    <a:pt x="1543" y="1211"/>
                  </a:lnTo>
                  <a:lnTo>
                    <a:pt x="1523" y="1245"/>
                  </a:lnTo>
                  <a:lnTo>
                    <a:pt x="1501" y="1278"/>
                  </a:lnTo>
                  <a:lnTo>
                    <a:pt x="1478" y="1311"/>
                  </a:lnTo>
                  <a:lnTo>
                    <a:pt x="1453" y="1342"/>
                  </a:lnTo>
                  <a:lnTo>
                    <a:pt x="1429" y="1372"/>
                  </a:lnTo>
                  <a:lnTo>
                    <a:pt x="1402" y="1401"/>
                  </a:lnTo>
                  <a:lnTo>
                    <a:pt x="1373" y="1428"/>
                  </a:lnTo>
                  <a:lnTo>
                    <a:pt x="1343" y="1454"/>
                  </a:lnTo>
                  <a:lnTo>
                    <a:pt x="1312" y="1478"/>
                  </a:lnTo>
                  <a:lnTo>
                    <a:pt x="1279" y="1501"/>
                  </a:lnTo>
                  <a:lnTo>
                    <a:pt x="1246" y="1522"/>
                  </a:lnTo>
                  <a:lnTo>
                    <a:pt x="1211" y="1542"/>
                  </a:lnTo>
                  <a:lnTo>
                    <a:pt x="1177" y="1560"/>
                  </a:lnTo>
                  <a:lnTo>
                    <a:pt x="1139" y="1576"/>
                  </a:lnTo>
                  <a:lnTo>
                    <a:pt x="1103" y="1591"/>
                  </a:lnTo>
                  <a:lnTo>
                    <a:pt x="1065" y="1604"/>
                  </a:lnTo>
                  <a:lnTo>
                    <a:pt x="1026" y="1615"/>
                  </a:lnTo>
                  <a:lnTo>
                    <a:pt x="987" y="1624"/>
                  </a:lnTo>
                  <a:lnTo>
                    <a:pt x="947" y="1631"/>
                  </a:lnTo>
                  <a:lnTo>
                    <a:pt x="905" y="1637"/>
                  </a:lnTo>
                  <a:lnTo>
                    <a:pt x="863"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1" name="Freeform 8">
              <a:extLst>
                <a:ext uri="{FF2B5EF4-FFF2-40B4-BE49-F238E27FC236}">
                  <a16:creationId xmlns:a16="http://schemas.microsoft.com/office/drawing/2014/main" id="{784356EE-E58C-404E-B938-1CAA5543EAF2}"/>
                </a:ext>
              </a:extLst>
            </p:cNvPr>
            <p:cNvSpPr>
              <a:spLocks noEditPoints="1"/>
            </p:cNvSpPr>
            <p:nvPr/>
          </p:nvSpPr>
          <p:spPr bwMode="auto">
            <a:xfrm>
              <a:off x="1919413" y="5550133"/>
              <a:ext cx="223599" cy="261326"/>
            </a:xfrm>
            <a:custGeom>
              <a:avLst/>
              <a:gdLst>
                <a:gd name="T0" fmla="*/ 61 w 729"/>
                <a:gd name="T1" fmla="*/ 84 h 851"/>
                <a:gd name="T2" fmla="*/ 61 w 729"/>
                <a:gd name="T3" fmla="*/ 767 h 851"/>
                <a:gd name="T4" fmla="*/ 640 w 729"/>
                <a:gd name="T5" fmla="*/ 425 h 851"/>
                <a:gd name="T6" fmla="*/ 61 w 729"/>
                <a:gd name="T7" fmla="*/ 84 h 851"/>
                <a:gd name="T8" fmla="*/ 30 w 729"/>
                <a:gd name="T9" fmla="*/ 851 h 851"/>
                <a:gd name="T10" fmla="*/ 22 w 729"/>
                <a:gd name="T11" fmla="*/ 849 h 851"/>
                <a:gd name="T12" fmla="*/ 15 w 729"/>
                <a:gd name="T13" fmla="*/ 846 h 851"/>
                <a:gd name="T14" fmla="*/ 9 w 729"/>
                <a:gd name="T15" fmla="*/ 842 h 851"/>
                <a:gd name="T16" fmla="*/ 4 w 729"/>
                <a:gd name="T17" fmla="*/ 835 h 851"/>
                <a:gd name="T18" fmla="*/ 0 w 729"/>
                <a:gd name="T19" fmla="*/ 828 h 851"/>
                <a:gd name="T20" fmla="*/ 0 w 729"/>
                <a:gd name="T21" fmla="*/ 821 h 851"/>
                <a:gd name="T22" fmla="*/ 0 w 729"/>
                <a:gd name="T23" fmla="*/ 30 h 851"/>
                <a:gd name="T24" fmla="*/ 0 w 729"/>
                <a:gd name="T25" fmla="*/ 22 h 851"/>
                <a:gd name="T26" fmla="*/ 4 w 729"/>
                <a:gd name="T27" fmla="*/ 14 h 851"/>
                <a:gd name="T28" fmla="*/ 9 w 729"/>
                <a:gd name="T29" fmla="*/ 9 h 851"/>
                <a:gd name="T30" fmla="*/ 15 w 729"/>
                <a:gd name="T31" fmla="*/ 3 h 851"/>
                <a:gd name="T32" fmla="*/ 22 w 729"/>
                <a:gd name="T33" fmla="*/ 0 h 851"/>
                <a:gd name="T34" fmla="*/ 30 w 729"/>
                <a:gd name="T35" fmla="*/ 0 h 851"/>
                <a:gd name="T36" fmla="*/ 38 w 729"/>
                <a:gd name="T37" fmla="*/ 0 h 851"/>
                <a:gd name="T38" fmla="*/ 45 w 729"/>
                <a:gd name="T39" fmla="*/ 3 h 851"/>
                <a:gd name="T40" fmla="*/ 714 w 729"/>
                <a:gd name="T41" fmla="*/ 397 h 851"/>
                <a:gd name="T42" fmla="*/ 720 w 729"/>
                <a:gd name="T43" fmla="*/ 403 h 851"/>
                <a:gd name="T44" fmla="*/ 724 w 729"/>
                <a:gd name="T45" fmla="*/ 409 h 851"/>
                <a:gd name="T46" fmla="*/ 729 w 729"/>
                <a:gd name="T47" fmla="*/ 416 h 851"/>
                <a:gd name="T48" fmla="*/ 729 w 729"/>
                <a:gd name="T49" fmla="*/ 423 h 851"/>
                <a:gd name="T50" fmla="*/ 729 w 729"/>
                <a:gd name="T51" fmla="*/ 432 h 851"/>
                <a:gd name="T52" fmla="*/ 724 w 729"/>
                <a:gd name="T53" fmla="*/ 439 h 851"/>
                <a:gd name="T54" fmla="*/ 720 w 729"/>
                <a:gd name="T55" fmla="*/ 445 h 851"/>
                <a:gd name="T56" fmla="*/ 714 w 729"/>
                <a:gd name="T57" fmla="*/ 451 h 851"/>
                <a:gd name="T58" fmla="*/ 46 w 729"/>
                <a:gd name="T59" fmla="*/ 846 h 851"/>
                <a:gd name="T60" fmla="*/ 38 w 729"/>
                <a:gd name="T61" fmla="*/ 849 h 851"/>
                <a:gd name="T62" fmla="*/ 30 w 729"/>
                <a:gd name="T63"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9" h="851">
                  <a:moveTo>
                    <a:pt x="61" y="84"/>
                  </a:moveTo>
                  <a:lnTo>
                    <a:pt x="61" y="767"/>
                  </a:lnTo>
                  <a:lnTo>
                    <a:pt x="640" y="425"/>
                  </a:lnTo>
                  <a:lnTo>
                    <a:pt x="61" y="84"/>
                  </a:lnTo>
                  <a:close/>
                  <a:moveTo>
                    <a:pt x="30" y="851"/>
                  </a:moveTo>
                  <a:lnTo>
                    <a:pt x="22" y="849"/>
                  </a:lnTo>
                  <a:lnTo>
                    <a:pt x="15" y="846"/>
                  </a:lnTo>
                  <a:lnTo>
                    <a:pt x="9" y="842"/>
                  </a:lnTo>
                  <a:lnTo>
                    <a:pt x="4" y="835"/>
                  </a:lnTo>
                  <a:lnTo>
                    <a:pt x="0" y="828"/>
                  </a:lnTo>
                  <a:lnTo>
                    <a:pt x="0" y="821"/>
                  </a:lnTo>
                  <a:lnTo>
                    <a:pt x="0" y="30"/>
                  </a:lnTo>
                  <a:lnTo>
                    <a:pt x="0" y="22"/>
                  </a:lnTo>
                  <a:lnTo>
                    <a:pt x="4" y="14"/>
                  </a:lnTo>
                  <a:lnTo>
                    <a:pt x="9" y="9"/>
                  </a:lnTo>
                  <a:lnTo>
                    <a:pt x="15" y="3"/>
                  </a:lnTo>
                  <a:lnTo>
                    <a:pt x="22" y="0"/>
                  </a:lnTo>
                  <a:lnTo>
                    <a:pt x="30" y="0"/>
                  </a:lnTo>
                  <a:lnTo>
                    <a:pt x="38" y="0"/>
                  </a:lnTo>
                  <a:lnTo>
                    <a:pt x="45" y="3"/>
                  </a:lnTo>
                  <a:lnTo>
                    <a:pt x="714" y="397"/>
                  </a:lnTo>
                  <a:lnTo>
                    <a:pt x="720" y="403"/>
                  </a:lnTo>
                  <a:lnTo>
                    <a:pt x="724" y="409"/>
                  </a:lnTo>
                  <a:lnTo>
                    <a:pt x="729" y="416"/>
                  </a:lnTo>
                  <a:lnTo>
                    <a:pt x="729" y="423"/>
                  </a:lnTo>
                  <a:lnTo>
                    <a:pt x="729" y="432"/>
                  </a:lnTo>
                  <a:lnTo>
                    <a:pt x="724" y="439"/>
                  </a:lnTo>
                  <a:lnTo>
                    <a:pt x="720" y="445"/>
                  </a:lnTo>
                  <a:lnTo>
                    <a:pt x="714" y="451"/>
                  </a:lnTo>
                  <a:lnTo>
                    <a:pt x="46" y="846"/>
                  </a:lnTo>
                  <a:lnTo>
                    <a:pt x="38"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2" name="Freeform 29">
              <a:extLst>
                <a:ext uri="{FF2B5EF4-FFF2-40B4-BE49-F238E27FC236}">
                  <a16:creationId xmlns:a16="http://schemas.microsoft.com/office/drawing/2014/main" id="{19B03462-C30D-4723-B651-D00CAB44C465}"/>
                </a:ext>
              </a:extLst>
            </p:cNvPr>
            <p:cNvSpPr>
              <a:spLocks/>
            </p:cNvSpPr>
            <p:nvPr/>
          </p:nvSpPr>
          <p:spPr bwMode="auto">
            <a:xfrm>
              <a:off x="2123688" y="5550133"/>
              <a:ext cx="19323" cy="261326"/>
            </a:xfrm>
            <a:custGeom>
              <a:avLst/>
              <a:gdLst>
                <a:gd name="T0" fmla="*/ 31 w 61"/>
                <a:gd name="T1" fmla="*/ 851 h 851"/>
                <a:gd name="T2" fmla="*/ 25 w 61"/>
                <a:gd name="T3" fmla="*/ 849 h 851"/>
                <a:gd name="T4" fmla="*/ 19 w 61"/>
                <a:gd name="T5" fmla="*/ 848 h 851"/>
                <a:gd name="T6" fmla="*/ 13 w 61"/>
                <a:gd name="T7" fmla="*/ 845 h 851"/>
                <a:gd name="T8" fmla="*/ 9 w 61"/>
                <a:gd name="T9" fmla="*/ 841 h 851"/>
                <a:gd name="T10" fmla="*/ 6 w 61"/>
                <a:gd name="T11" fmla="*/ 836 h 851"/>
                <a:gd name="T12" fmla="*/ 3 w 61"/>
                <a:gd name="T13" fmla="*/ 832 h 851"/>
                <a:gd name="T14" fmla="*/ 0 w 61"/>
                <a:gd name="T15" fmla="*/ 826 h 851"/>
                <a:gd name="T16" fmla="*/ 0 w 61"/>
                <a:gd name="T17" fmla="*/ 821 h 851"/>
                <a:gd name="T18" fmla="*/ 0 w 61"/>
                <a:gd name="T19" fmla="*/ 30 h 851"/>
                <a:gd name="T20" fmla="*/ 0 w 61"/>
                <a:gd name="T21" fmla="*/ 23 h 851"/>
                <a:gd name="T22" fmla="*/ 3 w 61"/>
                <a:gd name="T23" fmla="*/ 17 h 851"/>
                <a:gd name="T24" fmla="*/ 6 w 61"/>
                <a:gd name="T25" fmla="*/ 13 h 851"/>
                <a:gd name="T26" fmla="*/ 9 w 61"/>
                <a:gd name="T27" fmla="*/ 9 h 851"/>
                <a:gd name="T28" fmla="*/ 13 w 61"/>
                <a:gd name="T29" fmla="*/ 4 h 851"/>
                <a:gd name="T30" fmla="*/ 19 w 61"/>
                <a:gd name="T31" fmla="*/ 2 h 851"/>
                <a:gd name="T32" fmla="*/ 25 w 61"/>
                <a:gd name="T33" fmla="*/ 0 h 851"/>
                <a:gd name="T34" fmla="*/ 31 w 61"/>
                <a:gd name="T35" fmla="*/ 0 h 851"/>
                <a:gd name="T36" fmla="*/ 36 w 61"/>
                <a:gd name="T37" fmla="*/ 0 h 851"/>
                <a:gd name="T38" fmla="*/ 42 w 61"/>
                <a:gd name="T39" fmla="*/ 2 h 851"/>
                <a:gd name="T40" fmla="*/ 48 w 61"/>
                <a:gd name="T41" fmla="*/ 4 h 851"/>
                <a:gd name="T42" fmla="*/ 52 w 61"/>
                <a:gd name="T43" fmla="*/ 9 h 851"/>
                <a:gd name="T44" fmla="*/ 56 w 61"/>
                <a:gd name="T45" fmla="*/ 13 h 851"/>
                <a:gd name="T46" fmla="*/ 59 w 61"/>
                <a:gd name="T47" fmla="*/ 17 h 851"/>
                <a:gd name="T48" fmla="*/ 61 w 61"/>
                <a:gd name="T49" fmla="*/ 23 h 851"/>
                <a:gd name="T50" fmla="*/ 61 w 61"/>
                <a:gd name="T51" fmla="*/ 30 h 851"/>
                <a:gd name="T52" fmla="*/ 61 w 61"/>
                <a:gd name="T53" fmla="*/ 821 h 851"/>
                <a:gd name="T54" fmla="*/ 61 w 61"/>
                <a:gd name="T55" fmla="*/ 826 h 851"/>
                <a:gd name="T56" fmla="*/ 59 w 61"/>
                <a:gd name="T57" fmla="*/ 832 h 851"/>
                <a:gd name="T58" fmla="*/ 56 w 61"/>
                <a:gd name="T59" fmla="*/ 836 h 851"/>
                <a:gd name="T60" fmla="*/ 52 w 61"/>
                <a:gd name="T61" fmla="*/ 841 h 851"/>
                <a:gd name="T62" fmla="*/ 48 w 61"/>
                <a:gd name="T63" fmla="*/ 845 h 851"/>
                <a:gd name="T64" fmla="*/ 42 w 61"/>
                <a:gd name="T65" fmla="*/ 848 h 851"/>
                <a:gd name="T66" fmla="*/ 36 w 61"/>
                <a:gd name="T67" fmla="*/ 849 h 851"/>
                <a:gd name="T68" fmla="*/ 31 w 61"/>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851">
                  <a:moveTo>
                    <a:pt x="31" y="851"/>
                  </a:moveTo>
                  <a:lnTo>
                    <a:pt x="25" y="849"/>
                  </a:lnTo>
                  <a:lnTo>
                    <a:pt x="19" y="848"/>
                  </a:lnTo>
                  <a:lnTo>
                    <a:pt x="13" y="845"/>
                  </a:lnTo>
                  <a:lnTo>
                    <a:pt x="9" y="841"/>
                  </a:lnTo>
                  <a:lnTo>
                    <a:pt x="6" y="836"/>
                  </a:lnTo>
                  <a:lnTo>
                    <a:pt x="3" y="832"/>
                  </a:lnTo>
                  <a:lnTo>
                    <a:pt x="0" y="826"/>
                  </a:lnTo>
                  <a:lnTo>
                    <a:pt x="0" y="821"/>
                  </a:lnTo>
                  <a:lnTo>
                    <a:pt x="0" y="30"/>
                  </a:lnTo>
                  <a:lnTo>
                    <a:pt x="0" y="23"/>
                  </a:lnTo>
                  <a:lnTo>
                    <a:pt x="3" y="17"/>
                  </a:lnTo>
                  <a:lnTo>
                    <a:pt x="6" y="13"/>
                  </a:lnTo>
                  <a:lnTo>
                    <a:pt x="9" y="9"/>
                  </a:lnTo>
                  <a:lnTo>
                    <a:pt x="13" y="4"/>
                  </a:lnTo>
                  <a:lnTo>
                    <a:pt x="19" y="2"/>
                  </a:lnTo>
                  <a:lnTo>
                    <a:pt x="25" y="0"/>
                  </a:lnTo>
                  <a:lnTo>
                    <a:pt x="31" y="0"/>
                  </a:lnTo>
                  <a:lnTo>
                    <a:pt x="36" y="0"/>
                  </a:lnTo>
                  <a:lnTo>
                    <a:pt x="42" y="2"/>
                  </a:lnTo>
                  <a:lnTo>
                    <a:pt x="48" y="4"/>
                  </a:lnTo>
                  <a:lnTo>
                    <a:pt x="52" y="9"/>
                  </a:lnTo>
                  <a:lnTo>
                    <a:pt x="56" y="13"/>
                  </a:lnTo>
                  <a:lnTo>
                    <a:pt x="59" y="17"/>
                  </a:lnTo>
                  <a:lnTo>
                    <a:pt x="61" y="23"/>
                  </a:lnTo>
                  <a:lnTo>
                    <a:pt x="61" y="30"/>
                  </a:lnTo>
                  <a:lnTo>
                    <a:pt x="61" y="821"/>
                  </a:lnTo>
                  <a:lnTo>
                    <a:pt x="61" y="826"/>
                  </a:lnTo>
                  <a:lnTo>
                    <a:pt x="59" y="832"/>
                  </a:lnTo>
                  <a:lnTo>
                    <a:pt x="56" y="836"/>
                  </a:lnTo>
                  <a:lnTo>
                    <a:pt x="52" y="841"/>
                  </a:lnTo>
                  <a:lnTo>
                    <a:pt x="48" y="845"/>
                  </a:lnTo>
                  <a:lnTo>
                    <a:pt x="42" y="848"/>
                  </a:lnTo>
                  <a:lnTo>
                    <a:pt x="36" y="849"/>
                  </a:lnTo>
                  <a:lnTo>
                    <a:pt x="31"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sp>
        <p:nvSpPr>
          <p:cNvPr id="530" name="Freeform 27">
            <a:extLst>
              <a:ext uri="{FF2B5EF4-FFF2-40B4-BE49-F238E27FC236}">
                <a16:creationId xmlns:a16="http://schemas.microsoft.com/office/drawing/2014/main" id="{EDFCEFE1-2330-4267-A2AD-F4137386DFB4}"/>
              </a:ext>
            </a:extLst>
          </p:cNvPr>
          <p:cNvSpPr>
            <a:spLocks noChangeAspect="1" noEditPoints="1"/>
          </p:cNvSpPr>
          <p:nvPr/>
        </p:nvSpPr>
        <p:spPr bwMode="auto">
          <a:xfrm>
            <a:off x="4894722" y="2217578"/>
            <a:ext cx="311734" cy="223185"/>
          </a:xfrm>
          <a:custGeom>
            <a:avLst/>
            <a:gdLst>
              <a:gd name="T0" fmla="*/ 1691 w 2320"/>
              <a:gd name="T1" fmla="*/ 264 h 1507"/>
              <a:gd name="T2" fmla="*/ 1995 w 2320"/>
              <a:gd name="T3" fmla="*/ 315 h 1507"/>
              <a:gd name="T4" fmla="*/ 1971 w 2320"/>
              <a:gd name="T5" fmla="*/ 504 h 1507"/>
              <a:gd name="T6" fmla="*/ 1813 w 2320"/>
              <a:gd name="T7" fmla="*/ 609 h 1507"/>
              <a:gd name="T8" fmla="*/ 1658 w 2320"/>
              <a:gd name="T9" fmla="*/ 573 h 1507"/>
              <a:gd name="T10" fmla="*/ 1557 w 2320"/>
              <a:gd name="T11" fmla="*/ 437 h 1507"/>
              <a:gd name="T12" fmla="*/ 1880 w 2320"/>
              <a:gd name="T13" fmla="*/ 105 h 1507"/>
              <a:gd name="T14" fmla="*/ 1875 w 2320"/>
              <a:gd name="T15" fmla="*/ 234 h 1507"/>
              <a:gd name="T16" fmla="*/ 1624 w 2320"/>
              <a:gd name="T17" fmla="*/ 191 h 1507"/>
              <a:gd name="T18" fmla="*/ 1688 w 2320"/>
              <a:gd name="T19" fmla="*/ 101 h 1507"/>
              <a:gd name="T20" fmla="*/ 94 w 2320"/>
              <a:gd name="T21" fmla="*/ 909 h 1507"/>
              <a:gd name="T22" fmla="*/ 345 w 2320"/>
              <a:gd name="T23" fmla="*/ 795 h 1507"/>
              <a:gd name="T24" fmla="*/ 479 w 2320"/>
              <a:gd name="T25" fmla="*/ 685 h 1507"/>
              <a:gd name="T26" fmla="*/ 670 w 2320"/>
              <a:gd name="T27" fmla="*/ 755 h 1507"/>
              <a:gd name="T28" fmla="*/ 926 w 2320"/>
              <a:gd name="T29" fmla="*/ 858 h 1507"/>
              <a:gd name="T30" fmla="*/ 302 w 2320"/>
              <a:gd name="T31" fmla="*/ 346 h 1507"/>
              <a:gd name="T32" fmla="*/ 513 w 2320"/>
              <a:gd name="T33" fmla="*/ 305 h 1507"/>
              <a:gd name="T34" fmla="*/ 774 w 2320"/>
              <a:gd name="T35" fmla="*/ 300 h 1507"/>
              <a:gd name="T36" fmla="*/ 749 w 2320"/>
              <a:gd name="T37" fmla="*/ 472 h 1507"/>
              <a:gd name="T38" fmla="*/ 633 w 2320"/>
              <a:gd name="T39" fmla="*/ 590 h 1507"/>
              <a:gd name="T40" fmla="*/ 469 w 2320"/>
              <a:gd name="T41" fmla="*/ 599 h 1507"/>
              <a:gd name="T42" fmla="*/ 343 w 2320"/>
              <a:gd name="T43" fmla="*/ 494 h 1507"/>
              <a:gd name="T44" fmla="*/ 556 w 2320"/>
              <a:gd name="T45" fmla="*/ 81 h 1507"/>
              <a:gd name="T46" fmla="*/ 737 w 2320"/>
              <a:gd name="T47" fmla="*/ 198 h 1507"/>
              <a:gd name="T48" fmla="*/ 561 w 2320"/>
              <a:gd name="T49" fmla="*/ 206 h 1507"/>
              <a:gd name="T50" fmla="*/ 373 w 2320"/>
              <a:gd name="T51" fmla="*/ 158 h 1507"/>
              <a:gd name="T52" fmla="*/ 2054 w 2320"/>
              <a:gd name="T53" fmla="*/ 737 h 1507"/>
              <a:gd name="T54" fmla="*/ 1969 w 2320"/>
              <a:gd name="T55" fmla="*/ 624 h 1507"/>
              <a:gd name="T56" fmla="*/ 2097 w 2320"/>
              <a:gd name="T57" fmla="*/ 346 h 1507"/>
              <a:gd name="T58" fmla="*/ 2025 w 2320"/>
              <a:gd name="T59" fmla="*/ 127 h 1507"/>
              <a:gd name="T60" fmla="*/ 1845 w 2320"/>
              <a:gd name="T61" fmla="*/ 7 h 1507"/>
              <a:gd name="T62" fmla="*/ 1629 w 2320"/>
              <a:gd name="T63" fmla="*/ 43 h 1507"/>
              <a:gd name="T64" fmla="*/ 1488 w 2320"/>
              <a:gd name="T65" fmla="*/ 212 h 1507"/>
              <a:gd name="T66" fmla="*/ 1489 w 2320"/>
              <a:gd name="T67" fmla="*/ 483 h 1507"/>
              <a:gd name="T68" fmla="*/ 1605 w 2320"/>
              <a:gd name="T69" fmla="*/ 687 h 1507"/>
              <a:gd name="T70" fmla="*/ 1343 w 2320"/>
              <a:gd name="T71" fmla="*/ 794 h 1507"/>
              <a:gd name="T72" fmla="*/ 1246 w 2320"/>
              <a:gd name="T73" fmla="*/ 927 h 1507"/>
              <a:gd name="T74" fmla="*/ 1066 w 2320"/>
              <a:gd name="T75" fmla="*/ 892 h 1507"/>
              <a:gd name="T76" fmla="*/ 896 w 2320"/>
              <a:gd name="T77" fmla="*/ 761 h 1507"/>
              <a:gd name="T78" fmla="*/ 696 w 2320"/>
              <a:gd name="T79" fmla="*/ 657 h 1507"/>
              <a:gd name="T80" fmla="*/ 851 w 2320"/>
              <a:gd name="T81" fmla="*/ 416 h 1507"/>
              <a:gd name="T82" fmla="*/ 812 w 2320"/>
              <a:gd name="T83" fmla="*/ 167 h 1507"/>
              <a:gd name="T84" fmla="*/ 649 w 2320"/>
              <a:gd name="T85" fmla="*/ 21 h 1507"/>
              <a:gd name="T86" fmla="*/ 431 w 2320"/>
              <a:gd name="T87" fmla="*/ 21 h 1507"/>
              <a:gd name="T88" fmla="*/ 269 w 2320"/>
              <a:gd name="T89" fmla="*/ 167 h 1507"/>
              <a:gd name="T90" fmla="*/ 230 w 2320"/>
              <a:gd name="T91" fmla="*/ 416 h 1507"/>
              <a:gd name="T92" fmla="*/ 383 w 2320"/>
              <a:gd name="T93" fmla="*/ 657 h 1507"/>
              <a:gd name="T94" fmla="*/ 184 w 2320"/>
              <a:gd name="T95" fmla="*/ 761 h 1507"/>
              <a:gd name="T96" fmla="*/ 15 w 2320"/>
              <a:gd name="T97" fmla="*/ 892 h 1507"/>
              <a:gd name="T98" fmla="*/ 1638 w 2320"/>
              <a:gd name="T99" fmla="*/ 1445 h 1507"/>
              <a:gd name="T100" fmla="*/ 1693 w 2320"/>
              <a:gd name="T101" fmla="*/ 1500 h 1507"/>
              <a:gd name="T102" fmla="*/ 1679 w 2320"/>
              <a:gd name="T103" fmla="*/ 959 h 1507"/>
              <a:gd name="T104" fmla="*/ 1814 w 2320"/>
              <a:gd name="T105" fmla="*/ 1199 h 1507"/>
              <a:gd name="T106" fmla="*/ 1410 w 2320"/>
              <a:gd name="T107" fmla="*/ 851 h 1507"/>
              <a:gd name="T108" fmla="*/ 1659 w 2320"/>
              <a:gd name="T109" fmla="*/ 747 h 1507"/>
              <a:gd name="T110" fmla="*/ 1860 w 2320"/>
              <a:gd name="T111" fmla="*/ 680 h 1507"/>
              <a:gd name="T112" fmla="*/ 1990 w 2320"/>
              <a:gd name="T113" fmla="*/ 800 h 1507"/>
              <a:gd name="T114" fmla="*/ 2232 w 2320"/>
              <a:gd name="T115" fmla="*/ 921 h 1507"/>
              <a:gd name="T116" fmla="*/ 2025 w 2320"/>
              <a:gd name="T117" fmla="*/ 1239 h 1507"/>
              <a:gd name="T118" fmla="*/ 2313 w 2320"/>
              <a:gd name="T119" fmla="*/ 1262 h 1507"/>
              <a:gd name="T120" fmla="*/ 2292 w 2320"/>
              <a:gd name="T121" fmla="*/ 862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0" h="1507">
                <a:moveTo>
                  <a:pt x="1542" y="346"/>
                </a:moveTo>
                <a:lnTo>
                  <a:pt x="1542" y="334"/>
                </a:lnTo>
                <a:lnTo>
                  <a:pt x="1544" y="322"/>
                </a:lnTo>
                <a:lnTo>
                  <a:pt x="1545" y="311"/>
                </a:lnTo>
                <a:lnTo>
                  <a:pt x="1547" y="300"/>
                </a:lnTo>
                <a:lnTo>
                  <a:pt x="1568" y="296"/>
                </a:lnTo>
                <a:lnTo>
                  <a:pt x="1587" y="291"/>
                </a:lnTo>
                <a:lnTo>
                  <a:pt x="1606" y="287"/>
                </a:lnTo>
                <a:lnTo>
                  <a:pt x="1622" y="280"/>
                </a:lnTo>
                <a:lnTo>
                  <a:pt x="1638" y="274"/>
                </a:lnTo>
                <a:lnTo>
                  <a:pt x="1651" y="268"/>
                </a:lnTo>
                <a:lnTo>
                  <a:pt x="1662" y="261"/>
                </a:lnTo>
                <a:lnTo>
                  <a:pt x="1672" y="255"/>
                </a:lnTo>
                <a:lnTo>
                  <a:pt x="1691" y="264"/>
                </a:lnTo>
                <a:lnTo>
                  <a:pt x="1714" y="274"/>
                </a:lnTo>
                <a:lnTo>
                  <a:pt x="1740" y="284"/>
                </a:lnTo>
                <a:lnTo>
                  <a:pt x="1772" y="294"/>
                </a:lnTo>
                <a:lnTo>
                  <a:pt x="1789" y="300"/>
                </a:lnTo>
                <a:lnTo>
                  <a:pt x="1807" y="305"/>
                </a:lnTo>
                <a:lnTo>
                  <a:pt x="1826" y="308"/>
                </a:lnTo>
                <a:lnTo>
                  <a:pt x="1846" y="311"/>
                </a:lnTo>
                <a:lnTo>
                  <a:pt x="1866" y="315"/>
                </a:lnTo>
                <a:lnTo>
                  <a:pt x="1887" y="317"/>
                </a:lnTo>
                <a:lnTo>
                  <a:pt x="1909" y="318"/>
                </a:lnTo>
                <a:lnTo>
                  <a:pt x="1932" y="318"/>
                </a:lnTo>
                <a:lnTo>
                  <a:pt x="1952" y="318"/>
                </a:lnTo>
                <a:lnTo>
                  <a:pt x="1973" y="317"/>
                </a:lnTo>
                <a:lnTo>
                  <a:pt x="1995" y="315"/>
                </a:lnTo>
                <a:lnTo>
                  <a:pt x="2016" y="311"/>
                </a:lnTo>
                <a:lnTo>
                  <a:pt x="2017" y="320"/>
                </a:lnTo>
                <a:lnTo>
                  <a:pt x="2017" y="328"/>
                </a:lnTo>
                <a:lnTo>
                  <a:pt x="2018" y="337"/>
                </a:lnTo>
                <a:lnTo>
                  <a:pt x="2018" y="346"/>
                </a:lnTo>
                <a:lnTo>
                  <a:pt x="2017" y="365"/>
                </a:lnTo>
                <a:lnTo>
                  <a:pt x="2016" y="385"/>
                </a:lnTo>
                <a:lnTo>
                  <a:pt x="2012" y="403"/>
                </a:lnTo>
                <a:lnTo>
                  <a:pt x="2008" y="422"/>
                </a:lnTo>
                <a:lnTo>
                  <a:pt x="2002" y="440"/>
                </a:lnTo>
                <a:lnTo>
                  <a:pt x="1996" y="457"/>
                </a:lnTo>
                <a:lnTo>
                  <a:pt x="1989" y="474"/>
                </a:lnTo>
                <a:lnTo>
                  <a:pt x="1980" y="489"/>
                </a:lnTo>
                <a:lnTo>
                  <a:pt x="1971" y="504"/>
                </a:lnTo>
                <a:lnTo>
                  <a:pt x="1961" y="518"/>
                </a:lnTo>
                <a:lnTo>
                  <a:pt x="1950" y="532"/>
                </a:lnTo>
                <a:lnTo>
                  <a:pt x="1937" y="544"/>
                </a:lnTo>
                <a:lnTo>
                  <a:pt x="1925" y="556"/>
                </a:lnTo>
                <a:lnTo>
                  <a:pt x="1912" y="566"/>
                </a:lnTo>
                <a:lnTo>
                  <a:pt x="1897" y="577"/>
                </a:lnTo>
                <a:lnTo>
                  <a:pt x="1883" y="585"/>
                </a:lnTo>
                <a:lnTo>
                  <a:pt x="1878" y="587"/>
                </a:lnTo>
                <a:lnTo>
                  <a:pt x="1873" y="589"/>
                </a:lnTo>
                <a:lnTo>
                  <a:pt x="1869" y="591"/>
                </a:lnTo>
                <a:lnTo>
                  <a:pt x="1865" y="593"/>
                </a:lnTo>
                <a:lnTo>
                  <a:pt x="1845" y="601"/>
                </a:lnTo>
                <a:lnTo>
                  <a:pt x="1824" y="607"/>
                </a:lnTo>
                <a:lnTo>
                  <a:pt x="1813" y="609"/>
                </a:lnTo>
                <a:lnTo>
                  <a:pt x="1802" y="610"/>
                </a:lnTo>
                <a:lnTo>
                  <a:pt x="1792" y="611"/>
                </a:lnTo>
                <a:lnTo>
                  <a:pt x="1781" y="611"/>
                </a:lnTo>
                <a:lnTo>
                  <a:pt x="1768" y="611"/>
                </a:lnTo>
                <a:lnTo>
                  <a:pt x="1756" y="610"/>
                </a:lnTo>
                <a:lnTo>
                  <a:pt x="1744" y="608"/>
                </a:lnTo>
                <a:lnTo>
                  <a:pt x="1733" y="606"/>
                </a:lnTo>
                <a:lnTo>
                  <a:pt x="1721" y="603"/>
                </a:lnTo>
                <a:lnTo>
                  <a:pt x="1709" y="599"/>
                </a:lnTo>
                <a:lnTo>
                  <a:pt x="1699" y="596"/>
                </a:lnTo>
                <a:lnTo>
                  <a:pt x="1688" y="590"/>
                </a:lnTo>
                <a:lnTo>
                  <a:pt x="1678" y="585"/>
                </a:lnTo>
                <a:lnTo>
                  <a:pt x="1667" y="579"/>
                </a:lnTo>
                <a:lnTo>
                  <a:pt x="1658" y="573"/>
                </a:lnTo>
                <a:lnTo>
                  <a:pt x="1648" y="566"/>
                </a:lnTo>
                <a:lnTo>
                  <a:pt x="1639" y="559"/>
                </a:lnTo>
                <a:lnTo>
                  <a:pt x="1630" y="551"/>
                </a:lnTo>
                <a:lnTo>
                  <a:pt x="1621" y="542"/>
                </a:lnTo>
                <a:lnTo>
                  <a:pt x="1612" y="534"/>
                </a:lnTo>
                <a:lnTo>
                  <a:pt x="1604" y="524"/>
                </a:lnTo>
                <a:lnTo>
                  <a:pt x="1597" y="515"/>
                </a:lnTo>
                <a:lnTo>
                  <a:pt x="1589" y="505"/>
                </a:lnTo>
                <a:lnTo>
                  <a:pt x="1583" y="494"/>
                </a:lnTo>
                <a:lnTo>
                  <a:pt x="1577" y="484"/>
                </a:lnTo>
                <a:lnTo>
                  <a:pt x="1572" y="472"/>
                </a:lnTo>
                <a:lnTo>
                  <a:pt x="1566" y="461"/>
                </a:lnTo>
                <a:lnTo>
                  <a:pt x="1561" y="449"/>
                </a:lnTo>
                <a:lnTo>
                  <a:pt x="1557" y="437"/>
                </a:lnTo>
                <a:lnTo>
                  <a:pt x="1554" y="424"/>
                </a:lnTo>
                <a:lnTo>
                  <a:pt x="1550" y="412"/>
                </a:lnTo>
                <a:lnTo>
                  <a:pt x="1547" y="400"/>
                </a:lnTo>
                <a:lnTo>
                  <a:pt x="1546" y="386"/>
                </a:lnTo>
                <a:lnTo>
                  <a:pt x="1544" y="373"/>
                </a:lnTo>
                <a:lnTo>
                  <a:pt x="1542" y="359"/>
                </a:lnTo>
                <a:lnTo>
                  <a:pt x="1542" y="346"/>
                </a:lnTo>
                <a:close/>
                <a:moveTo>
                  <a:pt x="1781" y="81"/>
                </a:moveTo>
                <a:lnTo>
                  <a:pt x="1798" y="81"/>
                </a:lnTo>
                <a:lnTo>
                  <a:pt x="1815" y="83"/>
                </a:lnTo>
                <a:lnTo>
                  <a:pt x="1832" y="86"/>
                </a:lnTo>
                <a:lnTo>
                  <a:pt x="1849" y="92"/>
                </a:lnTo>
                <a:lnTo>
                  <a:pt x="1865" y="97"/>
                </a:lnTo>
                <a:lnTo>
                  <a:pt x="1880" y="105"/>
                </a:lnTo>
                <a:lnTo>
                  <a:pt x="1895" y="113"/>
                </a:lnTo>
                <a:lnTo>
                  <a:pt x="1909" y="123"/>
                </a:lnTo>
                <a:lnTo>
                  <a:pt x="1923" y="133"/>
                </a:lnTo>
                <a:lnTo>
                  <a:pt x="1935" y="146"/>
                </a:lnTo>
                <a:lnTo>
                  <a:pt x="1948" y="158"/>
                </a:lnTo>
                <a:lnTo>
                  <a:pt x="1959" y="171"/>
                </a:lnTo>
                <a:lnTo>
                  <a:pt x="1970" y="186"/>
                </a:lnTo>
                <a:lnTo>
                  <a:pt x="1979" y="200"/>
                </a:lnTo>
                <a:lnTo>
                  <a:pt x="1988" y="217"/>
                </a:lnTo>
                <a:lnTo>
                  <a:pt x="1996" y="233"/>
                </a:lnTo>
                <a:lnTo>
                  <a:pt x="1963" y="236"/>
                </a:lnTo>
                <a:lnTo>
                  <a:pt x="1932" y="237"/>
                </a:lnTo>
                <a:lnTo>
                  <a:pt x="1903" y="236"/>
                </a:lnTo>
                <a:lnTo>
                  <a:pt x="1875" y="234"/>
                </a:lnTo>
                <a:lnTo>
                  <a:pt x="1848" y="230"/>
                </a:lnTo>
                <a:lnTo>
                  <a:pt x="1823" y="225"/>
                </a:lnTo>
                <a:lnTo>
                  <a:pt x="1800" y="219"/>
                </a:lnTo>
                <a:lnTo>
                  <a:pt x="1779" y="213"/>
                </a:lnTo>
                <a:lnTo>
                  <a:pt x="1760" y="206"/>
                </a:lnTo>
                <a:lnTo>
                  <a:pt x="1742" y="199"/>
                </a:lnTo>
                <a:lnTo>
                  <a:pt x="1727" y="193"/>
                </a:lnTo>
                <a:lnTo>
                  <a:pt x="1715" y="187"/>
                </a:lnTo>
                <a:lnTo>
                  <a:pt x="1698" y="177"/>
                </a:lnTo>
                <a:lnTo>
                  <a:pt x="1691" y="174"/>
                </a:lnTo>
                <a:lnTo>
                  <a:pt x="1664" y="157"/>
                </a:lnTo>
                <a:lnTo>
                  <a:pt x="1641" y="178"/>
                </a:lnTo>
                <a:lnTo>
                  <a:pt x="1636" y="183"/>
                </a:lnTo>
                <a:lnTo>
                  <a:pt x="1624" y="191"/>
                </a:lnTo>
                <a:lnTo>
                  <a:pt x="1614" y="196"/>
                </a:lnTo>
                <a:lnTo>
                  <a:pt x="1603" y="202"/>
                </a:lnTo>
                <a:lnTo>
                  <a:pt x="1591" y="207"/>
                </a:lnTo>
                <a:lnTo>
                  <a:pt x="1575" y="212"/>
                </a:lnTo>
                <a:lnTo>
                  <a:pt x="1584" y="198"/>
                </a:lnTo>
                <a:lnTo>
                  <a:pt x="1593" y="184"/>
                </a:lnTo>
                <a:lnTo>
                  <a:pt x="1602" y="170"/>
                </a:lnTo>
                <a:lnTo>
                  <a:pt x="1613" y="158"/>
                </a:lnTo>
                <a:lnTo>
                  <a:pt x="1623" y="147"/>
                </a:lnTo>
                <a:lnTo>
                  <a:pt x="1635" y="136"/>
                </a:lnTo>
                <a:lnTo>
                  <a:pt x="1648" y="125"/>
                </a:lnTo>
                <a:lnTo>
                  <a:pt x="1660" y="116"/>
                </a:lnTo>
                <a:lnTo>
                  <a:pt x="1673" y="109"/>
                </a:lnTo>
                <a:lnTo>
                  <a:pt x="1688" y="101"/>
                </a:lnTo>
                <a:lnTo>
                  <a:pt x="1702" y="95"/>
                </a:lnTo>
                <a:lnTo>
                  <a:pt x="1717" y="90"/>
                </a:lnTo>
                <a:lnTo>
                  <a:pt x="1733" y="86"/>
                </a:lnTo>
                <a:lnTo>
                  <a:pt x="1748" y="83"/>
                </a:lnTo>
                <a:lnTo>
                  <a:pt x="1764" y="81"/>
                </a:lnTo>
                <a:lnTo>
                  <a:pt x="1781" y="81"/>
                </a:lnTo>
                <a:close/>
                <a:moveTo>
                  <a:pt x="620" y="1199"/>
                </a:moveTo>
                <a:lnTo>
                  <a:pt x="80" y="1199"/>
                </a:lnTo>
                <a:lnTo>
                  <a:pt x="80" y="985"/>
                </a:lnTo>
                <a:lnTo>
                  <a:pt x="81" y="966"/>
                </a:lnTo>
                <a:lnTo>
                  <a:pt x="82" y="949"/>
                </a:lnTo>
                <a:lnTo>
                  <a:pt x="85" y="935"/>
                </a:lnTo>
                <a:lnTo>
                  <a:pt x="89" y="921"/>
                </a:lnTo>
                <a:lnTo>
                  <a:pt x="94" y="909"/>
                </a:lnTo>
                <a:lnTo>
                  <a:pt x="100" y="898"/>
                </a:lnTo>
                <a:lnTo>
                  <a:pt x="108" y="889"/>
                </a:lnTo>
                <a:lnTo>
                  <a:pt x="117" y="880"/>
                </a:lnTo>
                <a:lnTo>
                  <a:pt x="128" y="872"/>
                </a:lnTo>
                <a:lnTo>
                  <a:pt x="140" y="864"/>
                </a:lnTo>
                <a:lnTo>
                  <a:pt x="155" y="858"/>
                </a:lnTo>
                <a:lnTo>
                  <a:pt x="170" y="851"/>
                </a:lnTo>
                <a:lnTo>
                  <a:pt x="207" y="838"/>
                </a:lnTo>
                <a:lnTo>
                  <a:pt x="252" y="825"/>
                </a:lnTo>
                <a:lnTo>
                  <a:pt x="271" y="819"/>
                </a:lnTo>
                <a:lnTo>
                  <a:pt x="290" y="814"/>
                </a:lnTo>
                <a:lnTo>
                  <a:pt x="310" y="807"/>
                </a:lnTo>
                <a:lnTo>
                  <a:pt x="330" y="800"/>
                </a:lnTo>
                <a:lnTo>
                  <a:pt x="345" y="795"/>
                </a:lnTo>
                <a:lnTo>
                  <a:pt x="357" y="789"/>
                </a:lnTo>
                <a:lnTo>
                  <a:pt x="370" y="784"/>
                </a:lnTo>
                <a:lnTo>
                  <a:pt x="381" y="777"/>
                </a:lnTo>
                <a:lnTo>
                  <a:pt x="392" y="770"/>
                </a:lnTo>
                <a:lnTo>
                  <a:pt x="401" y="762"/>
                </a:lnTo>
                <a:lnTo>
                  <a:pt x="410" y="755"/>
                </a:lnTo>
                <a:lnTo>
                  <a:pt x="419" y="747"/>
                </a:lnTo>
                <a:lnTo>
                  <a:pt x="426" y="739"/>
                </a:lnTo>
                <a:lnTo>
                  <a:pt x="432" y="731"/>
                </a:lnTo>
                <a:lnTo>
                  <a:pt x="439" y="722"/>
                </a:lnTo>
                <a:lnTo>
                  <a:pt x="443" y="713"/>
                </a:lnTo>
                <a:lnTo>
                  <a:pt x="452" y="696"/>
                </a:lnTo>
                <a:lnTo>
                  <a:pt x="459" y="680"/>
                </a:lnTo>
                <a:lnTo>
                  <a:pt x="479" y="685"/>
                </a:lnTo>
                <a:lnTo>
                  <a:pt x="499" y="688"/>
                </a:lnTo>
                <a:lnTo>
                  <a:pt x="520" y="691"/>
                </a:lnTo>
                <a:lnTo>
                  <a:pt x="540" y="692"/>
                </a:lnTo>
                <a:lnTo>
                  <a:pt x="561" y="691"/>
                </a:lnTo>
                <a:lnTo>
                  <a:pt x="581" y="688"/>
                </a:lnTo>
                <a:lnTo>
                  <a:pt x="601" y="685"/>
                </a:lnTo>
                <a:lnTo>
                  <a:pt x="620" y="680"/>
                </a:lnTo>
                <a:lnTo>
                  <a:pt x="627" y="696"/>
                </a:lnTo>
                <a:lnTo>
                  <a:pt x="636" y="713"/>
                </a:lnTo>
                <a:lnTo>
                  <a:pt x="642" y="722"/>
                </a:lnTo>
                <a:lnTo>
                  <a:pt x="648" y="731"/>
                </a:lnTo>
                <a:lnTo>
                  <a:pt x="655" y="739"/>
                </a:lnTo>
                <a:lnTo>
                  <a:pt x="662" y="747"/>
                </a:lnTo>
                <a:lnTo>
                  <a:pt x="670" y="755"/>
                </a:lnTo>
                <a:lnTo>
                  <a:pt x="678" y="762"/>
                </a:lnTo>
                <a:lnTo>
                  <a:pt x="689" y="770"/>
                </a:lnTo>
                <a:lnTo>
                  <a:pt x="699" y="777"/>
                </a:lnTo>
                <a:lnTo>
                  <a:pt x="710" y="784"/>
                </a:lnTo>
                <a:lnTo>
                  <a:pt x="722" y="789"/>
                </a:lnTo>
                <a:lnTo>
                  <a:pt x="736" y="795"/>
                </a:lnTo>
                <a:lnTo>
                  <a:pt x="750" y="800"/>
                </a:lnTo>
                <a:lnTo>
                  <a:pt x="770" y="807"/>
                </a:lnTo>
                <a:lnTo>
                  <a:pt x="790" y="814"/>
                </a:lnTo>
                <a:lnTo>
                  <a:pt x="809" y="819"/>
                </a:lnTo>
                <a:lnTo>
                  <a:pt x="828" y="825"/>
                </a:lnTo>
                <a:lnTo>
                  <a:pt x="873" y="838"/>
                </a:lnTo>
                <a:lnTo>
                  <a:pt x="910" y="851"/>
                </a:lnTo>
                <a:lnTo>
                  <a:pt x="926" y="858"/>
                </a:lnTo>
                <a:lnTo>
                  <a:pt x="940" y="864"/>
                </a:lnTo>
                <a:lnTo>
                  <a:pt x="953" y="872"/>
                </a:lnTo>
                <a:lnTo>
                  <a:pt x="963" y="880"/>
                </a:lnTo>
                <a:lnTo>
                  <a:pt x="973" y="889"/>
                </a:lnTo>
                <a:lnTo>
                  <a:pt x="980" y="898"/>
                </a:lnTo>
                <a:lnTo>
                  <a:pt x="986" y="909"/>
                </a:lnTo>
                <a:lnTo>
                  <a:pt x="992" y="921"/>
                </a:lnTo>
                <a:lnTo>
                  <a:pt x="995" y="935"/>
                </a:lnTo>
                <a:lnTo>
                  <a:pt x="997" y="949"/>
                </a:lnTo>
                <a:lnTo>
                  <a:pt x="1000" y="966"/>
                </a:lnTo>
                <a:lnTo>
                  <a:pt x="1000" y="985"/>
                </a:lnTo>
                <a:lnTo>
                  <a:pt x="1000" y="1199"/>
                </a:lnTo>
                <a:lnTo>
                  <a:pt x="620" y="1199"/>
                </a:lnTo>
                <a:close/>
                <a:moveTo>
                  <a:pt x="302" y="346"/>
                </a:moveTo>
                <a:lnTo>
                  <a:pt x="302" y="337"/>
                </a:lnTo>
                <a:lnTo>
                  <a:pt x="304" y="328"/>
                </a:lnTo>
                <a:lnTo>
                  <a:pt x="304" y="320"/>
                </a:lnTo>
                <a:lnTo>
                  <a:pt x="305" y="311"/>
                </a:lnTo>
                <a:lnTo>
                  <a:pt x="326" y="315"/>
                </a:lnTo>
                <a:lnTo>
                  <a:pt x="347" y="317"/>
                </a:lnTo>
                <a:lnTo>
                  <a:pt x="368" y="318"/>
                </a:lnTo>
                <a:lnTo>
                  <a:pt x="389" y="318"/>
                </a:lnTo>
                <a:lnTo>
                  <a:pt x="411" y="318"/>
                </a:lnTo>
                <a:lnTo>
                  <a:pt x="433" y="317"/>
                </a:lnTo>
                <a:lnTo>
                  <a:pt x="455" y="315"/>
                </a:lnTo>
                <a:lnTo>
                  <a:pt x="475" y="311"/>
                </a:lnTo>
                <a:lnTo>
                  <a:pt x="495" y="308"/>
                </a:lnTo>
                <a:lnTo>
                  <a:pt x="513" y="305"/>
                </a:lnTo>
                <a:lnTo>
                  <a:pt x="531" y="300"/>
                </a:lnTo>
                <a:lnTo>
                  <a:pt x="549" y="294"/>
                </a:lnTo>
                <a:lnTo>
                  <a:pt x="580" y="284"/>
                </a:lnTo>
                <a:lnTo>
                  <a:pt x="607" y="274"/>
                </a:lnTo>
                <a:lnTo>
                  <a:pt x="629" y="264"/>
                </a:lnTo>
                <a:lnTo>
                  <a:pt x="648" y="255"/>
                </a:lnTo>
                <a:lnTo>
                  <a:pt x="658" y="261"/>
                </a:lnTo>
                <a:lnTo>
                  <a:pt x="670" y="268"/>
                </a:lnTo>
                <a:lnTo>
                  <a:pt x="683" y="274"/>
                </a:lnTo>
                <a:lnTo>
                  <a:pt x="697" y="280"/>
                </a:lnTo>
                <a:lnTo>
                  <a:pt x="714" y="287"/>
                </a:lnTo>
                <a:lnTo>
                  <a:pt x="733" y="291"/>
                </a:lnTo>
                <a:lnTo>
                  <a:pt x="752" y="296"/>
                </a:lnTo>
                <a:lnTo>
                  <a:pt x="774" y="300"/>
                </a:lnTo>
                <a:lnTo>
                  <a:pt x="776" y="311"/>
                </a:lnTo>
                <a:lnTo>
                  <a:pt x="777" y="322"/>
                </a:lnTo>
                <a:lnTo>
                  <a:pt x="778" y="334"/>
                </a:lnTo>
                <a:lnTo>
                  <a:pt x="778" y="346"/>
                </a:lnTo>
                <a:lnTo>
                  <a:pt x="777" y="359"/>
                </a:lnTo>
                <a:lnTo>
                  <a:pt x="777" y="373"/>
                </a:lnTo>
                <a:lnTo>
                  <a:pt x="775" y="386"/>
                </a:lnTo>
                <a:lnTo>
                  <a:pt x="772" y="400"/>
                </a:lnTo>
                <a:lnTo>
                  <a:pt x="770" y="412"/>
                </a:lnTo>
                <a:lnTo>
                  <a:pt x="767" y="424"/>
                </a:lnTo>
                <a:lnTo>
                  <a:pt x="764" y="437"/>
                </a:lnTo>
                <a:lnTo>
                  <a:pt x="759" y="449"/>
                </a:lnTo>
                <a:lnTo>
                  <a:pt x="755" y="461"/>
                </a:lnTo>
                <a:lnTo>
                  <a:pt x="749" y="472"/>
                </a:lnTo>
                <a:lnTo>
                  <a:pt x="743" y="484"/>
                </a:lnTo>
                <a:lnTo>
                  <a:pt x="737" y="494"/>
                </a:lnTo>
                <a:lnTo>
                  <a:pt x="731" y="505"/>
                </a:lnTo>
                <a:lnTo>
                  <a:pt x="723" y="515"/>
                </a:lnTo>
                <a:lnTo>
                  <a:pt x="717" y="524"/>
                </a:lnTo>
                <a:lnTo>
                  <a:pt x="708" y="534"/>
                </a:lnTo>
                <a:lnTo>
                  <a:pt x="700" y="542"/>
                </a:lnTo>
                <a:lnTo>
                  <a:pt x="691" y="551"/>
                </a:lnTo>
                <a:lnTo>
                  <a:pt x="682" y="559"/>
                </a:lnTo>
                <a:lnTo>
                  <a:pt x="673" y="566"/>
                </a:lnTo>
                <a:lnTo>
                  <a:pt x="663" y="573"/>
                </a:lnTo>
                <a:lnTo>
                  <a:pt x="654" y="579"/>
                </a:lnTo>
                <a:lnTo>
                  <a:pt x="643" y="585"/>
                </a:lnTo>
                <a:lnTo>
                  <a:pt x="633" y="590"/>
                </a:lnTo>
                <a:lnTo>
                  <a:pt x="621" y="596"/>
                </a:lnTo>
                <a:lnTo>
                  <a:pt x="610" y="599"/>
                </a:lnTo>
                <a:lnTo>
                  <a:pt x="599" y="603"/>
                </a:lnTo>
                <a:lnTo>
                  <a:pt x="588" y="606"/>
                </a:lnTo>
                <a:lnTo>
                  <a:pt x="577" y="608"/>
                </a:lnTo>
                <a:lnTo>
                  <a:pt x="564" y="610"/>
                </a:lnTo>
                <a:lnTo>
                  <a:pt x="552" y="611"/>
                </a:lnTo>
                <a:lnTo>
                  <a:pt x="540" y="611"/>
                </a:lnTo>
                <a:lnTo>
                  <a:pt x="527" y="611"/>
                </a:lnTo>
                <a:lnTo>
                  <a:pt x="516" y="610"/>
                </a:lnTo>
                <a:lnTo>
                  <a:pt x="504" y="608"/>
                </a:lnTo>
                <a:lnTo>
                  <a:pt x="493" y="606"/>
                </a:lnTo>
                <a:lnTo>
                  <a:pt x="480" y="603"/>
                </a:lnTo>
                <a:lnTo>
                  <a:pt x="469" y="599"/>
                </a:lnTo>
                <a:lnTo>
                  <a:pt x="458" y="596"/>
                </a:lnTo>
                <a:lnTo>
                  <a:pt x="448" y="590"/>
                </a:lnTo>
                <a:lnTo>
                  <a:pt x="437" y="585"/>
                </a:lnTo>
                <a:lnTo>
                  <a:pt x="427" y="579"/>
                </a:lnTo>
                <a:lnTo>
                  <a:pt x="417" y="573"/>
                </a:lnTo>
                <a:lnTo>
                  <a:pt x="408" y="566"/>
                </a:lnTo>
                <a:lnTo>
                  <a:pt x="398" y="559"/>
                </a:lnTo>
                <a:lnTo>
                  <a:pt x="389" y="551"/>
                </a:lnTo>
                <a:lnTo>
                  <a:pt x="381" y="542"/>
                </a:lnTo>
                <a:lnTo>
                  <a:pt x="372" y="534"/>
                </a:lnTo>
                <a:lnTo>
                  <a:pt x="364" y="524"/>
                </a:lnTo>
                <a:lnTo>
                  <a:pt x="357" y="515"/>
                </a:lnTo>
                <a:lnTo>
                  <a:pt x="349" y="505"/>
                </a:lnTo>
                <a:lnTo>
                  <a:pt x="343" y="494"/>
                </a:lnTo>
                <a:lnTo>
                  <a:pt x="337" y="484"/>
                </a:lnTo>
                <a:lnTo>
                  <a:pt x="332" y="472"/>
                </a:lnTo>
                <a:lnTo>
                  <a:pt x="326" y="461"/>
                </a:lnTo>
                <a:lnTo>
                  <a:pt x="321" y="449"/>
                </a:lnTo>
                <a:lnTo>
                  <a:pt x="317" y="437"/>
                </a:lnTo>
                <a:lnTo>
                  <a:pt x="314" y="424"/>
                </a:lnTo>
                <a:lnTo>
                  <a:pt x="310" y="412"/>
                </a:lnTo>
                <a:lnTo>
                  <a:pt x="307" y="400"/>
                </a:lnTo>
                <a:lnTo>
                  <a:pt x="305" y="386"/>
                </a:lnTo>
                <a:lnTo>
                  <a:pt x="304" y="373"/>
                </a:lnTo>
                <a:lnTo>
                  <a:pt x="302" y="359"/>
                </a:lnTo>
                <a:lnTo>
                  <a:pt x="302" y="346"/>
                </a:lnTo>
                <a:close/>
                <a:moveTo>
                  <a:pt x="540" y="81"/>
                </a:moveTo>
                <a:lnTo>
                  <a:pt x="556" y="81"/>
                </a:lnTo>
                <a:lnTo>
                  <a:pt x="572" y="83"/>
                </a:lnTo>
                <a:lnTo>
                  <a:pt x="588" y="86"/>
                </a:lnTo>
                <a:lnTo>
                  <a:pt x="603" y="90"/>
                </a:lnTo>
                <a:lnTo>
                  <a:pt x="618" y="95"/>
                </a:lnTo>
                <a:lnTo>
                  <a:pt x="633" y="101"/>
                </a:lnTo>
                <a:lnTo>
                  <a:pt x="646" y="109"/>
                </a:lnTo>
                <a:lnTo>
                  <a:pt x="659" y="116"/>
                </a:lnTo>
                <a:lnTo>
                  <a:pt x="673" y="125"/>
                </a:lnTo>
                <a:lnTo>
                  <a:pt x="685" y="136"/>
                </a:lnTo>
                <a:lnTo>
                  <a:pt x="697" y="147"/>
                </a:lnTo>
                <a:lnTo>
                  <a:pt x="708" y="158"/>
                </a:lnTo>
                <a:lnTo>
                  <a:pt x="719" y="170"/>
                </a:lnTo>
                <a:lnTo>
                  <a:pt x="728" y="184"/>
                </a:lnTo>
                <a:lnTo>
                  <a:pt x="737" y="198"/>
                </a:lnTo>
                <a:lnTo>
                  <a:pt x="746" y="212"/>
                </a:lnTo>
                <a:lnTo>
                  <a:pt x="730" y="207"/>
                </a:lnTo>
                <a:lnTo>
                  <a:pt x="717" y="202"/>
                </a:lnTo>
                <a:lnTo>
                  <a:pt x="706" y="196"/>
                </a:lnTo>
                <a:lnTo>
                  <a:pt x="696" y="191"/>
                </a:lnTo>
                <a:lnTo>
                  <a:pt x="684" y="183"/>
                </a:lnTo>
                <a:lnTo>
                  <a:pt x="680" y="179"/>
                </a:lnTo>
                <a:lnTo>
                  <a:pt x="656" y="156"/>
                </a:lnTo>
                <a:lnTo>
                  <a:pt x="629" y="174"/>
                </a:lnTo>
                <a:lnTo>
                  <a:pt x="623" y="177"/>
                </a:lnTo>
                <a:lnTo>
                  <a:pt x="606" y="187"/>
                </a:lnTo>
                <a:lnTo>
                  <a:pt x="593" y="193"/>
                </a:lnTo>
                <a:lnTo>
                  <a:pt x="579" y="199"/>
                </a:lnTo>
                <a:lnTo>
                  <a:pt x="561" y="206"/>
                </a:lnTo>
                <a:lnTo>
                  <a:pt x="542" y="213"/>
                </a:lnTo>
                <a:lnTo>
                  <a:pt x="521" y="219"/>
                </a:lnTo>
                <a:lnTo>
                  <a:pt x="497" y="225"/>
                </a:lnTo>
                <a:lnTo>
                  <a:pt x="473" y="230"/>
                </a:lnTo>
                <a:lnTo>
                  <a:pt x="446" y="234"/>
                </a:lnTo>
                <a:lnTo>
                  <a:pt x="418" y="236"/>
                </a:lnTo>
                <a:lnTo>
                  <a:pt x="389" y="237"/>
                </a:lnTo>
                <a:lnTo>
                  <a:pt x="357" y="236"/>
                </a:lnTo>
                <a:lnTo>
                  <a:pt x="325" y="233"/>
                </a:lnTo>
                <a:lnTo>
                  <a:pt x="333" y="217"/>
                </a:lnTo>
                <a:lnTo>
                  <a:pt x="342" y="200"/>
                </a:lnTo>
                <a:lnTo>
                  <a:pt x="351" y="186"/>
                </a:lnTo>
                <a:lnTo>
                  <a:pt x="362" y="171"/>
                </a:lnTo>
                <a:lnTo>
                  <a:pt x="373" y="158"/>
                </a:lnTo>
                <a:lnTo>
                  <a:pt x="385" y="146"/>
                </a:lnTo>
                <a:lnTo>
                  <a:pt x="398" y="133"/>
                </a:lnTo>
                <a:lnTo>
                  <a:pt x="411" y="123"/>
                </a:lnTo>
                <a:lnTo>
                  <a:pt x="426" y="113"/>
                </a:lnTo>
                <a:lnTo>
                  <a:pt x="440" y="105"/>
                </a:lnTo>
                <a:lnTo>
                  <a:pt x="456" y="97"/>
                </a:lnTo>
                <a:lnTo>
                  <a:pt x="471" y="92"/>
                </a:lnTo>
                <a:lnTo>
                  <a:pt x="488" y="86"/>
                </a:lnTo>
                <a:lnTo>
                  <a:pt x="505" y="83"/>
                </a:lnTo>
                <a:lnTo>
                  <a:pt x="523" y="81"/>
                </a:lnTo>
                <a:lnTo>
                  <a:pt x="540" y="81"/>
                </a:lnTo>
                <a:close/>
                <a:moveTo>
                  <a:pt x="2091" y="748"/>
                </a:moveTo>
                <a:lnTo>
                  <a:pt x="2073" y="742"/>
                </a:lnTo>
                <a:lnTo>
                  <a:pt x="2054" y="737"/>
                </a:lnTo>
                <a:lnTo>
                  <a:pt x="2035" y="731"/>
                </a:lnTo>
                <a:lnTo>
                  <a:pt x="2015" y="724"/>
                </a:lnTo>
                <a:lnTo>
                  <a:pt x="2005" y="721"/>
                </a:lnTo>
                <a:lnTo>
                  <a:pt x="1996" y="716"/>
                </a:lnTo>
                <a:lnTo>
                  <a:pt x="1987" y="712"/>
                </a:lnTo>
                <a:lnTo>
                  <a:pt x="1979" y="708"/>
                </a:lnTo>
                <a:lnTo>
                  <a:pt x="1967" y="697"/>
                </a:lnTo>
                <a:lnTo>
                  <a:pt x="1955" y="687"/>
                </a:lnTo>
                <a:lnTo>
                  <a:pt x="1948" y="677"/>
                </a:lnTo>
                <a:lnTo>
                  <a:pt x="1941" y="667"/>
                </a:lnTo>
                <a:lnTo>
                  <a:pt x="1937" y="657"/>
                </a:lnTo>
                <a:lnTo>
                  <a:pt x="1934" y="648"/>
                </a:lnTo>
                <a:lnTo>
                  <a:pt x="1952" y="636"/>
                </a:lnTo>
                <a:lnTo>
                  <a:pt x="1969" y="624"/>
                </a:lnTo>
                <a:lnTo>
                  <a:pt x="1986" y="609"/>
                </a:lnTo>
                <a:lnTo>
                  <a:pt x="2001" y="594"/>
                </a:lnTo>
                <a:lnTo>
                  <a:pt x="2016" y="578"/>
                </a:lnTo>
                <a:lnTo>
                  <a:pt x="2029" y="561"/>
                </a:lnTo>
                <a:lnTo>
                  <a:pt x="2042" y="542"/>
                </a:lnTo>
                <a:lnTo>
                  <a:pt x="2053" y="523"/>
                </a:lnTo>
                <a:lnTo>
                  <a:pt x="2063" y="504"/>
                </a:lnTo>
                <a:lnTo>
                  <a:pt x="2072" y="483"/>
                </a:lnTo>
                <a:lnTo>
                  <a:pt x="2080" y="461"/>
                </a:lnTo>
                <a:lnTo>
                  <a:pt x="2086" y="440"/>
                </a:lnTo>
                <a:lnTo>
                  <a:pt x="2091" y="416"/>
                </a:lnTo>
                <a:lnTo>
                  <a:pt x="2095" y="394"/>
                </a:lnTo>
                <a:lnTo>
                  <a:pt x="2097" y="369"/>
                </a:lnTo>
                <a:lnTo>
                  <a:pt x="2097" y="346"/>
                </a:lnTo>
                <a:lnTo>
                  <a:pt x="2097" y="328"/>
                </a:lnTo>
                <a:lnTo>
                  <a:pt x="2096" y="310"/>
                </a:lnTo>
                <a:lnTo>
                  <a:pt x="2094" y="293"/>
                </a:lnTo>
                <a:lnTo>
                  <a:pt x="2092" y="277"/>
                </a:lnTo>
                <a:lnTo>
                  <a:pt x="2087" y="260"/>
                </a:lnTo>
                <a:lnTo>
                  <a:pt x="2084" y="243"/>
                </a:lnTo>
                <a:lnTo>
                  <a:pt x="2078" y="227"/>
                </a:lnTo>
                <a:lnTo>
                  <a:pt x="2073" y="212"/>
                </a:lnTo>
                <a:lnTo>
                  <a:pt x="2066" y="196"/>
                </a:lnTo>
                <a:lnTo>
                  <a:pt x="2059" y="181"/>
                </a:lnTo>
                <a:lnTo>
                  <a:pt x="2052" y="167"/>
                </a:lnTo>
                <a:lnTo>
                  <a:pt x="2044" y="152"/>
                </a:lnTo>
                <a:lnTo>
                  <a:pt x="2035" y="139"/>
                </a:lnTo>
                <a:lnTo>
                  <a:pt x="2025" y="127"/>
                </a:lnTo>
                <a:lnTo>
                  <a:pt x="2016" y="113"/>
                </a:lnTo>
                <a:lnTo>
                  <a:pt x="2005" y="102"/>
                </a:lnTo>
                <a:lnTo>
                  <a:pt x="1993" y="90"/>
                </a:lnTo>
                <a:lnTo>
                  <a:pt x="1982" y="80"/>
                </a:lnTo>
                <a:lnTo>
                  <a:pt x="1970" y="69"/>
                </a:lnTo>
                <a:lnTo>
                  <a:pt x="1958" y="59"/>
                </a:lnTo>
                <a:lnTo>
                  <a:pt x="1945" y="50"/>
                </a:lnTo>
                <a:lnTo>
                  <a:pt x="1932" y="43"/>
                </a:lnTo>
                <a:lnTo>
                  <a:pt x="1918" y="35"/>
                </a:lnTo>
                <a:lnTo>
                  <a:pt x="1904" y="28"/>
                </a:lnTo>
                <a:lnTo>
                  <a:pt x="1889" y="21"/>
                </a:lnTo>
                <a:lnTo>
                  <a:pt x="1875" y="16"/>
                </a:lnTo>
                <a:lnTo>
                  <a:pt x="1859" y="11"/>
                </a:lnTo>
                <a:lnTo>
                  <a:pt x="1845" y="7"/>
                </a:lnTo>
                <a:lnTo>
                  <a:pt x="1829" y="5"/>
                </a:lnTo>
                <a:lnTo>
                  <a:pt x="1813" y="2"/>
                </a:lnTo>
                <a:lnTo>
                  <a:pt x="1796" y="1"/>
                </a:lnTo>
                <a:lnTo>
                  <a:pt x="1781" y="0"/>
                </a:lnTo>
                <a:lnTo>
                  <a:pt x="1764" y="1"/>
                </a:lnTo>
                <a:lnTo>
                  <a:pt x="1748" y="2"/>
                </a:lnTo>
                <a:lnTo>
                  <a:pt x="1732" y="5"/>
                </a:lnTo>
                <a:lnTo>
                  <a:pt x="1716" y="7"/>
                </a:lnTo>
                <a:lnTo>
                  <a:pt x="1701" y="11"/>
                </a:lnTo>
                <a:lnTo>
                  <a:pt x="1686" y="16"/>
                </a:lnTo>
                <a:lnTo>
                  <a:pt x="1671" y="21"/>
                </a:lnTo>
                <a:lnTo>
                  <a:pt x="1657" y="28"/>
                </a:lnTo>
                <a:lnTo>
                  <a:pt x="1643" y="35"/>
                </a:lnTo>
                <a:lnTo>
                  <a:pt x="1629" y="43"/>
                </a:lnTo>
                <a:lnTo>
                  <a:pt x="1615" y="50"/>
                </a:lnTo>
                <a:lnTo>
                  <a:pt x="1603" y="59"/>
                </a:lnTo>
                <a:lnTo>
                  <a:pt x="1591" y="69"/>
                </a:lnTo>
                <a:lnTo>
                  <a:pt x="1578" y="80"/>
                </a:lnTo>
                <a:lnTo>
                  <a:pt x="1567" y="90"/>
                </a:lnTo>
                <a:lnTo>
                  <a:pt x="1556" y="102"/>
                </a:lnTo>
                <a:lnTo>
                  <a:pt x="1546" y="113"/>
                </a:lnTo>
                <a:lnTo>
                  <a:pt x="1536" y="127"/>
                </a:lnTo>
                <a:lnTo>
                  <a:pt x="1526" y="139"/>
                </a:lnTo>
                <a:lnTo>
                  <a:pt x="1517" y="152"/>
                </a:lnTo>
                <a:lnTo>
                  <a:pt x="1509" y="167"/>
                </a:lnTo>
                <a:lnTo>
                  <a:pt x="1501" y="181"/>
                </a:lnTo>
                <a:lnTo>
                  <a:pt x="1494" y="196"/>
                </a:lnTo>
                <a:lnTo>
                  <a:pt x="1488" y="212"/>
                </a:lnTo>
                <a:lnTo>
                  <a:pt x="1482" y="227"/>
                </a:lnTo>
                <a:lnTo>
                  <a:pt x="1476" y="243"/>
                </a:lnTo>
                <a:lnTo>
                  <a:pt x="1473" y="260"/>
                </a:lnTo>
                <a:lnTo>
                  <a:pt x="1469" y="277"/>
                </a:lnTo>
                <a:lnTo>
                  <a:pt x="1466" y="293"/>
                </a:lnTo>
                <a:lnTo>
                  <a:pt x="1464" y="310"/>
                </a:lnTo>
                <a:lnTo>
                  <a:pt x="1463" y="328"/>
                </a:lnTo>
                <a:lnTo>
                  <a:pt x="1463" y="346"/>
                </a:lnTo>
                <a:lnTo>
                  <a:pt x="1463" y="369"/>
                </a:lnTo>
                <a:lnTo>
                  <a:pt x="1465" y="394"/>
                </a:lnTo>
                <a:lnTo>
                  <a:pt x="1470" y="416"/>
                </a:lnTo>
                <a:lnTo>
                  <a:pt x="1474" y="440"/>
                </a:lnTo>
                <a:lnTo>
                  <a:pt x="1481" y="461"/>
                </a:lnTo>
                <a:lnTo>
                  <a:pt x="1489" y="483"/>
                </a:lnTo>
                <a:lnTo>
                  <a:pt x="1498" y="504"/>
                </a:lnTo>
                <a:lnTo>
                  <a:pt x="1508" y="523"/>
                </a:lnTo>
                <a:lnTo>
                  <a:pt x="1519" y="542"/>
                </a:lnTo>
                <a:lnTo>
                  <a:pt x="1531" y="561"/>
                </a:lnTo>
                <a:lnTo>
                  <a:pt x="1545" y="578"/>
                </a:lnTo>
                <a:lnTo>
                  <a:pt x="1559" y="594"/>
                </a:lnTo>
                <a:lnTo>
                  <a:pt x="1575" y="609"/>
                </a:lnTo>
                <a:lnTo>
                  <a:pt x="1592" y="624"/>
                </a:lnTo>
                <a:lnTo>
                  <a:pt x="1608" y="636"/>
                </a:lnTo>
                <a:lnTo>
                  <a:pt x="1626" y="648"/>
                </a:lnTo>
                <a:lnTo>
                  <a:pt x="1623" y="657"/>
                </a:lnTo>
                <a:lnTo>
                  <a:pt x="1620" y="667"/>
                </a:lnTo>
                <a:lnTo>
                  <a:pt x="1613" y="677"/>
                </a:lnTo>
                <a:lnTo>
                  <a:pt x="1605" y="687"/>
                </a:lnTo>
                <a:lnTo>
                  <a:pt x="1594" y="697"/>
                </a:lnTo>
                <a:lnTo>
                  <a:pt x="1582" y="708"/>
                </a:lnTo>
                <a:lnTo>
                  <a:pt x="1574" y="712"/>
                </a:lnTo>
                <a:lnTo>
                  <a:pt x="1565" y="716"/>
                </a:lnTo>
                <a:lnTo>
                  <a:pt x="1556" y="721"/>
                </a:lnTo>
                <a:lnTo>
                  <a:pt x="1546" y="724"/>
                </a:lnTo>
                <a:lnTo>
                  <a:pt x="1526" y="731"/>
                </a:lnTo>
                <a:lnTo>
                  <a:pt x="1507" y="737"/>
                </a:lnTo>
                <a:lnTo>
                  <a:pt x="1488" y="742"/>
                </a:lnTo>
                <a:lnTo>
                  <a:pt x="1470" y="748"/>
                </a:lnTo>
                <a:lnTo>
                  <a:pt x="1425" y="761"/>
                </a:lnTo>
                <a:lnTo>
                  <a:pt x="1382" y="777"/>
                </a:lnTo>
                <a:lnTo>
                  <a:pt x="1362" y="785"/>
                </a:lnTo>
                <a:lnTo>
                  <a:pt x="1343" y="794"/>
                </a:lnTo>
                <a:lnTo>
                  <a:pt x="1325" y="805"/>
                </a:lnTo>
                <a:lnTo>
                  <a:pt x="1309" y="816"/>
                </a:lnTo>
                <a:lnTo>
                  <a:pt x="1302" y="823"/>
                </a:lnTo>
                <a:lnTo>
                  <a:pt x="1294" y="830"/>
                </a:lnTo>
                <a:lnTo>
                  <a:pt x="1287" y="837"/>
                </a:lnTo>
                <a:lnTo>
                  <a:pt x="1281" y="845"/>
                </a:lnTo>
                <a:lnTo>
                  <a:pt x="1275" y="853"/>
                </a:lnTo>
                <a:lnTo>
                  <a:pt x="1269" y="862"/>
                </a:lnTo>
                <a:lnTo>
                  <a:pt x="1264" y="871"/>
                </a:lnTo>
                <a:lnTo>
                  <a:pt x="1259" y="881"/>
                </a:lnTo>
                <a:lnTo>
                  <a:pt x="1255" y="892"/>
                </a:lnTo>
                <a:lnTo>
                  <a:pt x="1251" y="903"/>
                </a:lnTo>
                <a:lnTo>
                  <a:pt x="1248" y="915"/>
                </a:lnTo>
                <a:lnTo>
                  <a:pt x="1246" y="927"/>
                </a:lnTo>
                <a:lnTo>
                  <a:pt x="1244" y="940"/>
                </a:lnTo>
                <a:lnTo>
                  <a:pt x="1241" y="955"/>
                </a:lnTo>
                <a:lnTo>
                  <a:pt x="1240" y="969"/>
                </a:lnTo>
                <a:lnTo>
                  <a:pt x="1240" y="985"/>
                </a:lnTo>
                <a:lnTo>
                  <a:pt x="1240" y="1199"/>
                </a:lnTo>
                <a:lnTo>
                  <a:pt x="1080" y="1199"/>
                </a:lnTo>
                <a:lnTo>
                  <a:pt x="1080" y="985"/>
                </a:lnTo>
                <a:lnTo>
                  <a:pt x="1079" y="969"/>
                </a:lnTo>
                <a:lnTo>
                  <a:pt x="1079" y="955"/>
                </a:lnTo>
                <a:lnTo>
                  <a:pt x="1077" y="940"/>
                </a:lnTo>
                <a:lnTo>
                  <a:pt x="1075" y="927"/>
                </a:lnTo>
                <a:lnTo>
                  <a:pt x="1072" y="915"/>
                </a:lnTo>
                <a:lnTo>
                  <a:pt x="1069" y="903"/>
                </a:lnTo>
                <a:lnTo>
                  <a:pt x="1066" y="892"/>
                </a:lnTo>
                <a:lnTo>
                  <a:pt x="1061" y="881"/>
                </a:lnTo>
                <a:lnTo>
                  <a:pt x="1057" y="871"/>
                </a:lnTo>
                <a:lnTo>
                  <a:pt x="1051" y="862"/>
                </a:lnTo>
                <a:lnTo>
                  <a:pt x="1046" y="853"/>
                </a:lnTo>
                <a:lnTo>
                  <a:pt x="1040" y="845"/>
                </a:lnTo>
                <a:lnTo>
                  <a:pt x="1033" y="837"/>
                </a:lnTo>
                <a:lnTo>
                  <a:pt x="1027" y="830"/>
                </a:lnTo>
                <a:lnTo>
                  <a:pt x="1019" y="823"/>
                </a:lnTo>
                <a:lnTo>
                  <a:pt x="1012" y="816"/>
                </a:lnTo>
                <a:lnTo>
                  <a:pt x="995" y="805"/>
                </a:lnTo>
                <a:lnTo>
                  <a:pt x="977" y="794"/>
                </a:lnTo>
                <a:lnTo>
                  <a:pt x="958" y="785"/>
                </a:lnTo>
                <a:lnTo>
                  <a:pt x="938" y="777"/>
                </a:lnTo>
                <a:lnTo>
                  <a:pt x="896" y="761"/>
                </a:lnTo>
                <a:lnTo>
                  <a:pt x="851" y="748"/>
                </a:lnTo>
                <a:lnTo>
                  <a:pt x="833" y="742"/>
                </a:lnTo>
                <a:lnTo>
                  <a:pt x="814" y="737"/>
                </a:lnTo>
                <a:lnTo>
                  <a:pt x="795" y="731"/>
                </a:lnTo>
                <a:lnTo>
                  <a:pt x="775" y="724"/>
                </a:lnTo>
                <a:lnTo>
                  <a:pt x="765" y="721"/>
                </a:lnTo>
                <a:lnTo>
                  <a:pt x="756" y="716"/>
                </a:lnTo>
                <a:lnTo>
                  <a:pt x="747" y="712"/>
                </a:lnTo>
                <a:lnTo>
                  <a:pt x="739" y="708"/>
                </a:lnTo>
                <a:lnTo>
                  <a:pt x="725" y="697"/>
                </a:lnTo>
                <a:lnTo>
                  <a:pt x="715" y="687"/>
                </a:lnTo>
                <a:lnTo>
                  <a:pt x="708" y="677"/>
                </a:lnTo>
                <a:lnTo>
                  <a:pt x="701" y="667"/>
                </a:lnTo>
                <a:lnTo>
                  <a:pt x="696" y="657"/>
                </a:lnTo>
                <a:lnTo>
                  <a:pt x="694" y="648"/>
                </a:lnTo>
                <a:lnTo>
                  <a:pt x="712" y="636"/>
                </a:lnTo>
                <a:lnTo>
                  <a:pt x="729" y="624"/>
                </a:lnTo>
                <a:lnTo>
                  <a:pt x="746" y="609"/>
                </a:lnTo>
                <a:lnTo>
                  <a:pt x="761" y="594"/>
                </a:lnTo>
                <a:lnTo>
                  <a:pt x="775" y="578"/>
                </a:lnTo>
                <a:lnTo>
                  <a:pt x="789" y="561"/>
                </a:lnTo>
                <a:lnTo>
                  <a:pt x="802" y="542"/>
                </a:lnTo>
                <a:lnTo>
                  <a:pt x="813" y="523"/>
                </a:lnTo>
                <a:lnTo>
                  <a:pt x="823" y="504"/>
                </a:lnTo>
                <a:lnTo>
                  <a:pt x="832" y="483"/>
                </a:lnTo>
                <a:lnTo>
                  <a:pt x="840" y="461"/>
                </a:lnTo>
                <a:lnTo>
                  <a:pt x="846" y="440"/>
                </a:lnTo>
                <a:lnTo>
                  <a:pt x="851" y="416"/>
                </a:lnTo>
                <a:lnTo>
                  <a:pt x="855" y="394"/>
                </a:lnTo>
                <a:lnTo>
                  <a:pt x="858" y="369"/>
                </a:lnTo>
                <a:lnTo>
                  <a:pt x="858" y="346"/>
                </a:lnTo>
                <a:lnTo>
                  <a:pt x="858" y="328"/>
                </a:lnTo>
                <a:lnTo>
                  <a:pt x="856" y="310"/>
                </a:lnTo>
                <a:lnTo>
                  <a:pt x="854" y="293"/>
                </a:lnTo>
                <a:lnTo>
                  <a:pt x="851" y="277"/>
                </a:lnTo>
                <a:lnTo>
                  <a:pt x="847" y="260"/>
                </a:lnTo>
                <a:lnTo>
                  <a:pt x="843" y="243"/>
                </a:lnTo>
                <a:lnTo>
                  <a:pt x="838" y="227"/>
                </a:lnTo>
                <a:lnTo>
                  <a:pt x="833" y="212"/>
                </a:lnTo>
                <a:lnTo>
                  <a:pt x="826" y="196"/>
                </a:lnTo>
                <a:lnTo>
                  <a:pt x="819" y="181"/>
                </a:lnTo>
                <a:lnTo>
                  <a:pt x="812" y="167"/>
                </a:lnTo>
                <a:lnTo>
                  <a:pt x="804" y="152"/>
                </a:lnTo>
                <a:lnTo>
                  <a:pt x="795" y="139"/>
                </a:lnTo>
                <a:lnTo>
                  <a:pt x="785" y="127"/>
                </a:lnTo>
                <a:lnTo>
                  <a:pt x="775" y="113"/>
                </a:lnTo>
                <a:lnTo>
                  <a:pt x="765" y="102"/>
                </a:lnTo>
                <a:lnTo>
                  <a:pt x="753" y="90"/>
                </a:lnTo>
                <a:lnTo>
                  <a:pt x="742" y="80"/>
                </a:lnTo>
                <a:lnTo>
                  <a:pt x="730" y="69"/>
                </a:lnTo>
                <a:lnTo>
                  <a:pt x="718" y="59"/>
                </a:lnTo>
                <a:lnTo>
                  <a:pt x="704" y="50"/>
                </a:lnTo>
                <a:lnTo>
                  <a:pt x="692" y="43"/>
                </a:lnTo>
                <a:lnTo>
                  <a:pt x="677" y="35"/>
                </a:lnTo>
                <a:lnTo>
                  <a:pt x="664" y="28"/>
                </a:lnTo>
                <a:lnTo>
                  <a:pt x="649" y="21"/>
                </a:lnTo>
                <a:lnTo>
                  <a:pt x="635" y="16"/>
                </a:lnTo>
                <a:lnTo>
                  <a:pt x="619" y="11"/>
                </a:lnTo>
                <a:lnTo>
                  <a:pt x="605" y="7"/>
                </a:lnTo>
                <a:lnTo>
                  <a:pt x="589" y="5"/>
                </a:lnTo>
                <a:lnTo>
                  <a:pt x="572" y="2"/>
                </a:lnTo>
                <a:lnTo>
                  <a:pt x="556" y="1"/>
                </a:lnTo>
                <a:lnTo>
                  <a:pt x="540" y="0"/>
                </a:lnTo>
                <a:lnTo>
                  <a:pt x="524" y="1"/>
                </a:lnTo>
                <a:lnTo>
                  <a:pt x="507" y="2"/>
                </a:lnTo>
                <a:lnTo>
                  <a:pt x="492" y="5"/>
                </a:lnTo>
                <a:lnTo>
                  <a:pt x="476" y="7"/>
                </a:lnTo>
                <a:lnTo>
                  <a:pt x="461" y="11"/>
                </a:lnTo>
                <a:lnTo>
                  <a:pt x="446" y="16"/>
                </a:lnTo>
                <a:lnTo>
                  <a:pt x="431" y="21"/>
                </a:lnTo>
                <a:lnTo>
                  <a:pt x="417" y="28"/>
                </a:lnTo>
                <a:lnTo>
                  <a:pt x="402" y="35"/>
                </a:lnTo>
                <a:lnTo>
                  <a:pt x="389" y="43"/>
                </a:lnTo>
                <a:lnTo>
                  <a:pt x="375" y="50"/>
                </a:lnTo>
                <a:lnTo>
                  <a:pt x="363" y="59"/>
                </a:lnTo>
                <a:lnTo>
                  <a:pt x="351" y="69"/>
                </a:lnTo>
                <a:lnTo>
                  <a:pt x="338" y="80"/>
                </a:lnTo>
                <a:lnTo>
                  <a:pt x="327" y="90"/>
                </a:lnTo>
                <a:lnTo>
                  <a:pt x="316" y="102"/>
                </a:lnTo>
                <a:lnTo>
                  <a:pt x="305" y="113"/>
                </a:lnTo>
                <a:lnTo>
                  <a:pt x="295" y="127"/>
                </a:lnTo>
                <a:lnTo>
                  <a:pt x="286" y="139"/>
                </a:lnTo>
                <a:lnTo>
                  <a:pt x="277" y="152"/>
                </a:lnTo>
                <a:lnTo>
                  <a:pt x="269" y="167"/>
                </a:lnTo>
                <a:lnTo>
                  <a:pt x="261" y="181"/>
                </a:lnTo>
                <a:lnTo>
                  <a:pt x="254" y="196"/>
                </a:lnTo>
                <a:lnTo>
                  <a:pt x="248" y="212"/>
                </a:lnTo>
                <a:lnTo>
                  <a:pt x="242" y="227"/>
                </a:lnTo>
                <a:lnTo>
                  <a:pt x="236" y="243"/>
                </a:lnTo>
                <a:lnTo>
                  <a:pt x="232" y="260"/>
                </a:lnTo>
                <a:lnTo>
                  <a:pt x="229" y="277"/>
                </a:lnTo>
                <a:lnTo>
                  <a:pt x="226" y="293"/>
                </a:lnTo>
                <a:lnTo>
                  <a:pt x="224" y="310"/>
                </a:lnTo>
                <a:lnTo>
                  <a:pt x="223" y="328"/>
                </a:lnTo>
                <a:lnTo>
                  <a:pt x="223" y="346"/>
                </a:lnTo>
                <a:lnTo>
                  <a:pt x="223" y="369"/>
                </a:lnTo>
                <a:lnTo>
                  <a:pt x="225" y="394"/>
                </a:lnTo>
                <a:lnTo>
                  <a:pt x="230" y="416"/>
                </a:lnTo>
                <a:lnTo>
                  <a:pt x="234" y="440"/>
                </a:lnTo>
                <a:lnTo>
                  <a:pt x="241" y="461"/>
                </a:lnTo>
                <a:lnTo>
                  <a:pt x="249" y="483"/>
                </a:lnTo>
                <a:lnTo>
                  <a:pt x="258" y="504"/>
                </a:lnTo>
                <a:lnTo>
                  <a:pt x="268" y="523"/>
                </a:lnTo>
                <a:lnTo>
                  <a:pt x="279" y="542"/>
                </a:lnTo>
                <a:lnTo>
                  <a:pt x="291" y="561"/>
                </a:lnTo>
                <a:lnTo>
                  <a:pt x="305" y="578"/>
                </a:lnTo>
                <a:lnTo>
                  <a:pt x="319" y="594"/>
                </a:lnTo>
                <a:lnTo>
                  <a:pt x="335" y="609"/>
                </a:lnTo>
                <a:lnTo>
                  <a:pt x="352" y="624"/>
                </a:lnTo>
                <a:lnTo>
                  <a:pt x="368" y="636"/>
                </a:lnTo>
                <a:lnTo>
                  <a:pt x="386" y="648"/>
                </a:lnTo>
                <a:lnTo>
                  <a:pt x="383" y="657"/>
                </a:lnTo>
                <a:lnTo>
                  <a:pt x="379" y="667"/>
                </a:lnTo>
                <a:lnTo>
                  <a:pt x="373" y="677"/>
                </a:lnTo>
                <a:lnTo>
                  <a:pt x="365" y="687"/>
                </a:lnTo>
                <a:lnTo>
                  <a:pt x="354" y="697"/>
                </a:lnTo>
                <a:lnTo>
                  <a:pt x="341" y="708"/>
                </a:lnTo>
                <a:lnTo>
                  <a:pt x="334" y="712"/>
                </a:lnTo>
                <a:lnTo>
                  <a:pt x="325" y="716"/>
                </a:lnTo>
                <a:lnTo>
                  <a:pt x="316" y="721"/>
                </a:lnTo>
                <a:lnTo>
                  <a:pt x="306" y="724"/>
                </a:lnTo>
                <a:lnTo>
                  <a:pt x="286" y="731"/>
                </a:lnTo>
                <a:lnTo>
                  <a:pt x="267" y="737"/>
                </a:lnTo>
                <a:lnTo>
                  <a:pt x="248" y="742"/>
                </a:lnTo>
                <a:lnTo>
                  <a:pt x="230" y="748"/>
                </a:lnTo>
                <a:lnTo>
                  <a:pt x="184" y="761"/>
                </a:lnTo>
                <a:lnTo>
                  <a:pt x="141" y="777"/>
                </a:lnTo>
                <a:lnTo>
                  <a:pt x="122" y="785"/>
                </a:lnTo>
                <a:lnTo>
                  <a:pt x="103" y="794"/>
                </a:lnTo>
                <a:lnTo>
                  <a:pt x="85" y="805"/>
                </a:lnTo>
                <a:lnTo>
                  <a:pt x="69" y="816"/>
                </a:lnTo>
                <a:lnTo>
                  <a:pt x="61" y="823"/>
                </a:lnTo>
                <a:lnTo>
                  <a:pt x="54" y="830"/>
                </a:lnTo>
                <a:lnTo>
                  <a:pt x="47" y="837"/>
                </a:lnTo>
                <a:lnTo>
                  <a:pt x="41" y="845"/>
                </a:lnTo>
                <a:lnTo>
                  <a:pt x="34" y="853"/>
                </a:lnTo>
                <a:lnTo>
                  <a:pt x="28" y="862"/>
                </a:lnTo>
                <a:lnTo>
                  <a:pt x="24" y="871"/>
                </a:lnTo>
                <a:lnTo>
                  <a:pt x="19" y="881"/>
                </a:lnTo>
                <a:lnTo>
                  <a:pt x="15" y="892"/>
                </a:lnTo>
                <a:lnTo>
                  <a:pt x="11" y="903"/>
                </a:lnTo>
                <a:lnTo>
                  <a:pt x="8" y="915"/>
                </a:lnTo>
                <a:lnTo>
                  <a:pt x="5" y="927"/>
                </a:lnTo>
                <a:lnTo>
                  <a:pt x="3" y="940"/>
                </a:lnTo>
                <a:lnTo>
                  <a:pt x="1" y="955"/>
                </a:lnTo>
                <a:lnTo>
                  <a:pt x="0" y="969"/>
                </a:lnTo>
                <a:lnTo>
                  <a:pt x="0" y="985"/>
                </a:lnTo>
                <a:lnTo>
                  <a:pt x="0" y="1280"/>
                </a:lnTo>
                <a:lnTo>
                  <a:pt x="620" y="1280"/>
                </a:lnTo>
                <a:lnTo>
                  <a:pt x="1080" y="1280"/>
                </a:lnTo>
                <a:lnTo>
                  <a:pt x="1240" y="1280"/>
                </a:lnTo>
                <a:lnTo>
                  <a:pt x="1803" y="1280"/>
                </a:lnTo>
                <a:lnTo>
                  <a:pt x="1643" y="1438"/>
                </a:lnTo>
                <a:lnTo>
                  <a:pt x="1638" y="1445"/>
                </a:lnTo>
                <a:lnTo>
                  <a:pt x="1634" y="1452"/>
                </a:lnTo>
                <a:lnTo>
                  <a:pt x="1632" y="1460"/>
                </a:lnTo>
                <a:lnTo>
                  <a:pt x="1631" y="1468"/>
                </a:lnTo>
                <a:lnTo>
                  <a:pt x="1632" y="1474"/>
                </a:lnTo>
                <a:lnTo>
                  <a:pt x="1634" y="1482"/>
                </a:lnTo>
                <a:lnTo>
                  <a:pt x="1638" y="1489"/>
                </a:lnTo>
                <a:lnTo>
                  <a:pt x="1643" y="1496"/>
                </a:lnTo>
                <a:lnTo>
                  <a:pt x="1650" y="1500"/>
                </a:lnTo>
                <a:lnTo>
                  <a:pt x="1657" y="1505"/>
                </a:lnTo>
                <a:lnTo>
                  <a:pt x="1663" y="1507"/>
                </a:lnTo>
                <a:lnTo>
                  <a:pt x="1671" y="1507"/>
                </a:lnTo>
                <a:lnTo>
                  <a:pt x="1679" y="1507"/>
                </a:lnTo>
                <a:lnTo>
                  <a:pt x="1687" y="1505"/>
                </a:lnTo>
                <a:lnTo>
                  <a:pt x="1693" y="1500"/>
                </a:lnTo>
                <a:lnTo>
                  <a:pt x="1699" y="1496"/>
                </a:lnTo>
                <a:lnTo>
                  <a:pt x="1934" y="1262"/>
                </a:lnTo>
                <a:lnTo>
                  <a:pt x="1939" y="1255"/>
                </a:lnTo>
                <a:lnTo>
                  <a:pt x="1942" y="1248"/>
                </a:lnTo>
                <a:lnTo>
                  <a:pt x="1944" y="1241"/>
                </a:lnTo>
                <a:lnTo>
                  <a:pt x="1945" y="1234"/>
                </a:lnTo>
                <a:lnTo>
                  <a:pt x="1944" y="1226"/>
                </a:lnTo>
                <a:lnTo>
                  <a:pt x="1942" y="1218"/>
                </a:lnTo>
                <a:lnTo>
                  <a:pt x="1939" y="1211"/>
                </a:lnTo>
                <a:lnTo>
                  <a:pt x="1934" y="1205"/>
                </a:lnTo>
                <a:lnTo>
                  <a:pt x="1699" y="971"/>
                </a:lnTo>
                <a:lnTo>
                  <a:pt x="1693" y="966"/>
                </a:lnTo>
                <a:lnTo>
                  <a:pt x="1687" y="962"/>
                </a:lnTo>
                <a:lnTo>
                  <a:pt x="1679" y="959"/>
                </a:lnTo>
                <a:lnTo>
                  <a:pt x="1671" y="959"/>
                </a:lnTo>
                <a:lnTo>
                  <a:pt x="1663" y="959"/>
                </a:lnTo>
                <a:lnTo>
                  <a:pt x="1657" y="962"/>
                </a:lnTo>
                <a:lnTo>
                  <a:pt x="1650" y="966"/>
                </a:lnTo>
                <a:lnTo>
                  <a:pt x="1643" y="971"/>
                </a:lnTo>
                <a:lnTo>
                  <a:pt x="1638" y="977"/>
                </a:lnTo>
                <a:lnTo>
                  <a:pt x="1634" y="984"/>
                </a:lnTo>
                <a:lnTo>
                  <a:pt x="1632" y="992"/>
                </a:lnTo>
                <a:lnTo>
                  <a:pt x="1631" y="1000"/>
                </a:lnTo>
                <a:lnTo>
                  <a:pt x="1632" y="1006"/>
                </a:lnTo>
                <a:lnTo>
                  <a:pt x="1634" y="1014"/>
                </a:lnTo>
                <a:lnTo>
                  <a:pt x="1638" y="1021"/>
                </a:lnTo>
                <a:lnTo>
                  <a:pt x="1643" y="1028"/>
                </a:lnTo>
                <a:lnTo>
                  <a:pt x="1814" y="1199"/>
                </a:lnTo>
                <a:lnTo>
                  <a:pt x="1321" y="1199"/>
                </a:lnTo>
                <a:lnTo>
                  <a:pt x="1321" y="985"/>
                </a:lnTo>
                <a:lnTo>
                  <a:pt x="1321" y="966"/>
                </a:lnTo>
                <a:lnTo>
                  <a:pt x="1322" y="949"/>
                </a:lnTo>
                <a:lnTo>
                  <a:pt x="1325" y="935"/>
                </a:lnTo>
                <a:lnTo>
                  <a:pt x="1329" y="921"/>
                </a:lnTo>
                <a:lnTo>
                  <a:pt x="1334" y="909"/>
                </a:lnTo>
                <a:lnTo>
                  <a:pt x="1340" y="898"/>
                </a:lnTo>
                <a:lnTo>
                  <a:pt x="1348" y="889"/>
                </a:lnTo>
                <a:lnTo>
                  <a:pt x="1358" y="880"/>
                </a:lnTo>
                <a:lnTo>
                  <a:pt x="1368" y="872"/>
                </a:lnTo>
                <a:lnTo>
                  <a:pt x="1380" y="864"/>
                </a:lnTo>
                <a:lnTo>
                  <a:pt x="1395" y="858"/>
                </a:lnTo>
                <a:lnTo>
                  <a:pt x="1410" y="851"/>
                </a:lnTo>
                <a:lnTo>
                  <a:pt x="1447" y="838"/>
                </a:lnTo>
                <a:lnTo>
                  <a:pt x="1492" y="825"/>
                </a:lnTo>
                <a:lnTo>
                  <a:pt x="1511" y="819"/>
                </a:lnTo>
                <a:lnTo>
                  <a:pt x="1530" y="814"/>
                </a:lnTo>
                <a:lnTo>
                  <a:pt x="1550" y="807"/>
                </a:lnTo>
                <a:lnTo>
                  <a:pt x="1570" y="800"/>
                </a:lnTo>
                <a:lnTo>
                  <a:pt x="1585" y="795"/>
                </a:lnTo>
                <a:lnTo>
                  <a:pt x="1598" y="789"/>
                </a:lnTo>
                <a:lnTo>
                  <a:pt x="1610" y="784"/>
                </a:lnTo>
                <a:lnTo>
                  <a:pt x="1622" y="777"/>
                </a:lnTo>
                <a:lnTo>
                  <a:pt x="1632" y="770"/>
                </a:lnTo>
                <a:lnTo>
                  <a:pt x="1642" y="762"/>
                </a:lnTo>
                <a:lnTo>
                  <a:pt x="1650" y="755"/>
                </a:lnTo>
                <a:lnTo>
                  <a:pt x="1659" y="747"/>
                </a:lnTo>
                <a:lnTo>
                  <a:pt x="1666" y="739"/>
                </a:lnTo>
                <a:lnTo>
                  <a:pt x="1672" y="731"/>
                </a:lnTo>
                <a:lnTo>
                  <a:pt x="1679" y="722"/>
                </a:lnTo>
                <a:lnTo>
                  <a:pt x="1685" y="713"/>
                </a:lnTo>
                <a:lnTo>
                  <a:pt x="1693" y="696"/>
                </a:lnTo>
                <a:lnTo>
                  <a:pt x="1700" y="680"/>
                </a:lnTo>
                <a:lnTo>
                  <a:pt x="1719" y="685"/>
                </a:lnTo>
                <a:lnTo>
                  <a:pt x="1739" y="688"/>
                </a:lnTo>
                <a:lnTo>
                  <a:pt x="1760" y="691"/>
                </a:lnTo>
                <a:lnTo>
                  <a:pt x="1781" y="692"/>
                </a:lnTo>
                <a:lnTo>
                  <a:pt x="1801" y="691"/>
                </a:lnTo>
                <a:lnTo>
                  <a:pt x="1821" y="688"/>
                </a:lnTo>
                <a:lnTo>
                  <a:pt x="1841" y="685"/>
                </a:lnTo>
                <a:lnTo>
                  <a:pt x="1860" y="680"/>
                </a:lnTo>
                <a:lnTo>
                  <a:pt x="1868" y="696"/>
                </a:lnTo>
                <a:lnTo>
                  <a:pt x="1877" y="713"/>
                </a:lnTo>
                <a:lnTo>
                  <a:pt x="1881" y="722"/>
                </a:lnTo>
                <a:lnTo>
                  <a:pt x="1888" y="731"/>
                </a:lnTo>
                <a:lnTo>
                  <a:pt x="1895" y="739"/>
                </a:lnTo>
                <a:lnTo>
                  <a:pt x="1902" y="747"/>
                </a:lnTo>
                <a:lnTo>
                  <a:pt x="1911" y="755"/>
                </a:lnTo>
                <a:lnTo>
                  <a:pt x="1920" y="762"/>
                </a:lnTo>
                <a:lnTo>
                  <a:pt x="1928" y="770"/>
                </a:lnTo>
                <a:lnTo>
                  <a:pt x="1940" y="777"/>
                </a:lnTo>
                <a:lnTo>
                  <a:pt x="1951" y="784"/>
                </a:lnTo>
                <a:lnTo>
                  <a:pt x="1963" y="789"/>
                </a:lnTo>
                <a:lnTo>
                  <a:pt x="1975" y="795"/>
                </a:lnTo>
                <a:lnTo>
                  <a:pt x="1990" y="800"/>
                </a:lnTo>
                <a:lnTo>
                  <a:pt x="2010" y="807"/>
                </a:lnTo>
                <a:lnTo>
                  <a:pt x="2030" y="814"/>
                </a:lnTo>
                <a:lnTo>
                  <a:pt x="2049" y="819"/>
                </a:lnTo>
                <a:lnTo>
                  <a:pt x="2068" y="825"/>
                </a:lnTo>
                <a:lnTo>
                  <a:pt x="2113" y="838"/>
                </a:lnTo>
                <a:lnTo>
                  <a:pt x="2150" y="851"/>
                </a:lnTo>
                <a:lnTo>
                  <a:pt x="2166" y="858"/>
                </a:lnTo>
                <a:lnTo>
                  <a:pt x="2180" y="864"/>
                </a:lnTo>
                <a:lnTo>
                  <a:pt x="2193" y="872"/>
                </a:lnTo>
                <a:lnTo>
                  <a:pt x="2203" y="880"/>
                </a:lnTo>
                <a:lnTo>
                  <a:pt x="2213" y="889"/>
                </a:lnTo>
                <a:lnTo>
                  <a:pt x="2221" y="898"/>
                </a:lnTo>
                <a:lnTo>
                  <a:pt x="2226" y="909"/>
                </a:lnTo>
                <a:lnTo>
                  <a:pt x="2232" y="921"/>
                </a:lnTo>
                <a:lnTo>
                  <a:pt x="2235" y="935"/>
                </a:lnTo>
                <a:lnTo>
                  <a:pt x="2238" y="949"/>
                </a:lnTo>
                <a:lnTo>
                  <a:pt x="2240" y="966"/>
                </a:lnTo>
                <a:lnTo>
                  <a:pt x="2240" y="985"/>
                </a:lnTo>
                <a:lnTo>
                  <a:pt x="2240" y="1199"/>
                </a:lnTo>
                <a:lnTo>
                  <a:pt x="2065" y="1199"/>
                </a:lnTo>
                <a:lnTo>
                  <a:pt x="2057" y="1200"/>
                </a:lnTo>
                <a:lnTo>
                  <a:pt x="2049" y="1202"/>
                </a:lnTo>
                <a:lnTo>
                  <a:pt x="2043" y="1206"/>
                </a:lnTo>
                <a:lnTo>
                  <a:pt x="2037" y="1211"/>
                </a:lnTo>
                <a:lnTo>
                  <a:pt x="2033" y="1217"/>
                </a:lnTo>
                <a:lnTo>
                  <a:pt x="2028" y="1224"/>
                </a:lnTo>
                <a:lnTo>
                  <a:pt x="2026" y="1231"/>
                </a:lnTo>
                <a:lnTo>
                  <a:pt x="2025" y="1239"/>
                </a:lnTo>
                <a:lnTo>
                  <a:pt x="2026" y="1247"/>
                </a:lnTo>
                <a:lnTo>
                  <a:pt x="2028" y="1255"/>
                </a:lnTo>
                <a:lnTo>
                  <a:pt x="2033" y="1262"/>
                </a:lnTo>
                <a:lnTo>
                  <a:pt x="2037" y="1267"/>
                </a:lnTo>
                <a:lnTo>
                  <a:pt x="2043" y="1272"/>
                </a:lnTo>
                <a:lnTo>
                  <a:pt x="2049" y="1276"/>
                </a:lnTo>
                <a:lnTo>
                  <a:pt x="2057" y="1278"/>
                </a:lnTo>
                <a:lnTo>
                  <a:pt x="2065" y="1280"/>
                </a:lnTo>
                <a:lnTo>
                  <a:pt x="2280" y="1280"/>
                </a:lnTo>
                <a:lnTo>
                  <a:pt x="2288" y="1278"/>
                </a:lnTo>
                <a:lnTo>
                  <a:pt x="2296" y="1276"/>
                </a:lnTo>
                <a:lnTo>
                  <a:pt x="2302" y="1272"/>
                </a:lnTo>
                <a:lnTo>
                  <a:pt x="2308" y="1267"/>
                </a:lnTo>
                <a:lnTo>
                  <a:pt x="2313" y="1262"/>
                </a:lnTo>
                <a:lnTo>
                  <a:pt x="2317" y="1255"/>
                </a:lnTo>
                <a:lnTo>
                  <a:pt x="2319" y="1247"/>
                </a:lnTo>
                <a:lnTo>
                  <a:pt x="2320" y="1239"/>
                </a:lnTo>
                <a:lnTo>
                  <a:pt x="2320" y="985"/>
                </a:lnTo>
                <a:lnTo>
                  <a:pt x="2320" y="969"/>
                </a:lnTo>
                <a:lnTo>
                  <a:pt x="2319" y="955"/>
                </a:lnTo>
                <a:lnTo>
                  <a:pt x="2317" y="940"/>
                </a:lnTo>
                <a:lnTo>
                  <a:pt x="2316" y="927"/>
                </a:lnTo>
                <a:lnTo>
                  <a:pt x="2312" y="915"/>
                </a:lnTo>
                <a:lnTo>
                  <a:pt x="2309" y="903"/>
                </a:lnTo>
                <a:lnTo>
                  <a:pt x="2306" y="892"/>
                </a:lnTo>
                <a:lnTo>
                  <a:pt x="2301" y="881"/>
                </a:lnTo>
                <a:lnTo>
                  <a:pt x="2297" y="871"/>
                </a:lnTo>
                <a:lnTo>
                  <a:pt x="2292" y="862"/>
                </a:lnTo>
                <a:lnTo>
                  <a:pt x="2287" y="853"/>
                </a:lnTo>
                <a:lnTo>
                  <a:pt x="2280" y="845"/>
                </a:lnTo>
                <a:lnTo>
                  <a:pt x="2273" y="837"/>
                </a:lnTo>
                <a:lnTo>
                  <a:pt x="2266" y="830"/>
                </a:lnTo>
                <a:lnTo>
                  <a:pt x="2260" y="823"/>
                </a:lnTo>
                <a:lnTo>
                  <a:pt x="2252" y="816"/>
                </a:lnTo>
                <a:lnTo>
                  <a:pt x="2235" y="805"/>
                </a:lnTo>
                <a:lnTo>
                  <a:pt x="2217" y="794"/>
                </a:lnTo>
                <a:lnTo>
                  <a:pt x="2198" y="785"/>
                </a:lnTo>
                <a:lnTo>
                  <a:pt x="2179" y="777"/>
                </a:lnTo>
                <a:lnTo>
                  <a:pt x="2137" y="761"/>
                </a:lnTo>
                <a:lnTo>
                  <a:pt x="2091" y="74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684" name="Group 93">
            <a:extLst>
              <a:ext uri="{FF2B5EF4-FFF2-40B4-BE49-F238E27FC236}">
                <a16:creationId xmlns:a16="http://schemas.microsoft.com/office/drawing/2014/main" id="{2476D0E0-9C3C-4C63-8C05-8112B7513DF9}"/>
              </a:ext>
            </a:extLst>
          </p:cNvPr>
          <p:cNvGrpSpPr>
            <a:grpSpLocks noChangeAspect="1"/>
          </p:cNvGrpSpPr>
          <p:nvPr/>
        </p:nvGrpSpPr>
        <p:grpSpPr>
          <a:xfrm>
            <a:off x="4931581" y="2724897"/>
            <a:ext cx="238016" cy="285619"/>
            <a:chOff x="2628900" y="2489200"/>
            <a:chExt cx="238125" cy="285750"/>
          </a:xfrm>
          <a:solidFill>
            <a:schemeClr val="bg2"/>
          </a:solidFill>
          <a:effectLst/>
        </p:grpSpPr>
        <p:sp>
          <p:nvSpPr>
            <p:cNvPr id="685" name="Freeform 17">
              <a:extLst>
                <a:ext uri="{FF2B5EF4-FFF2-40B4-BE49-F238E27FC236}">
                  <a16:creationId xmlns:a16="http://schemas.microsoft.com/office/drawing/2014/main" id="{872789C8-8847-46DF-AEAB-DF78C6A3F45D}"/>
                </a:ext>
              </a:extLst>
            </p:cNvPr>
            <p:cNvSpPr>
              <a:spLocks/>
            </p:cNvSpPr>
            <p:nvPr/>
          </p:nvSpPr>
          <p:spPr bwMode="auto">
            <a:xfrm>
              <a:off x="2676525" y="2593975"/>
              <a:ext cx="142875" cy="61913"/>
            </a:xfrm>
            <a:custGeom>
              <a:avLst/>
              <a:gdLst>
                <a:gd name="T0" fmla="*/ 55 w 451"/>
                <a:gd name="T1" fmla="*/ 193 h 195"/>
                <a:gd name="T2" fmla="*/ 58 w 451"/>
                <a:gd name="T3" fmla="*/ 189 h 195"/>
                <a:gd name="T4" fmla="*/ 60 w 451"/>
                <a:gd name="T5" fmla="*/ 183 h 195"/>
                <a:gd name="T6" fmla="*/ 60 w 451"/>
                <a:gd name="T7" fmla="*/ 177 h 195"/>
                <a:gd name="T8" fmla="*/ 53 w 451"/>
                <a:gd name="T9" fmla="*/ 158 h 195"/>
                <a:gd name="T10" fmla="*/ 43 w 451"/>
                <a:gd name="T11" fmla="*/ 122 h 195"/>
                <a:gd name="T12" fmla="*/ 35 w 451"/>
                <a:gd name="T13" fmla="*/ 85 h 195"/>
                <a:gd name="T14" fmla="*/ 32 w 451"/>
                <a:gd name="T15" fmla="*/ 47 h 195"/>
                <a:gd name="T16" fmla="*/ 421 w 451"/>
                <a:gd name="T17" fmla="*/ 30 h 195"/>
                <a:gd name="T18" fmla="*/ 418 w 451"/>
                <a:gd name="T19" fmla="*/ 66 h 195"/>
                <a:gd name="T20" fmla="*/ 413 w 451"/>
                <a:gd name="T21" fmla="*/ 103 h 195"/>
                <a:gd name="T22" fmla="*/ 404 w 451"/>
                <a:gd name="T23" fmla="*/ 141 h 195"/>
                <a:gd name="T24" fmla="*/ 392 w 451"/>
                <a:gd name="T25" fmla="*/ 175 h 195"/>
                <a:gd name="T26" fmla="*/ 391 w 451"/>
                <a:gd name="T27" fmla="*/ 180 h 195"/>
                <a:gd name="T28" fmla="*/ 392 w 451"/>
                <a:gd name="T29" fmla="*/ 186 h 195"/>
                <a:gd name="T30" fmla="*/ 395 w 451"/>
                <a:gd name="T31" fmla="*/ 191 h 195"/>
                <a:gd name="T32" fmla="*/ 401 w 451"/>
                <a:gd name="T33" fmla="*/ 194 h 195"/>
                <a:gd name="T34" fmla="*/ 406 w 451"/>
                <a:gd name="T35" fmla="*/ 195 h 195"/>
                <a:gd name="T36" fmla="*/ 415 w 451"/>
                <a:gd name="T37" fmla="*/ 193 h 195"/>
                <a:gd name="T38" fmla="*/ 420 w 451"/>
                <a:gd name="T39" fmla="*/ 187 h 195"/>
                <a:gd name="T40" fmla="*/ 435 w 451"/>
                <a:gd name="T41" fmla="*/ 144 h 195"/>
                <a:gd name="T42" fmla="*/ 445 w 451"/>
                <a:gd name="T43" fmla="*/ 98 h 195"/>
                <a:gd name="T44" fmla="*/ 450 w 451"/>
                <a:gd name="T45" fmla="*/ 54 h 195"/>
                <a:gd name="T46" fmla="*/ 451 w 451"/>
                <a:gd name="T47" fmla="*/ 15 h 195"/>
                <a:gd name="T48" fmla="*/ 450 w 451"/>
                <a:gd name="T49" fmla="*/ 10 h 195"/>
                <a:gd name="T50" fmla="*/ 447 w 451"/>
                <a:gd name="T51" fmla="*/ 4 h 195"/>
                <a:gd name="T52" fmla="*/ 443 w 451"/>
                <a:gd name="T53" fmla="*/ 1 h 195"/>
                <a:gd name="T54" fmla="*/ 436 w 451"/>
                <a:gd name="T55" fmla="*/ 0 h 195"/>
                <a:gd name="T56" fmla="*/ 13 w 451"/>
                <a:gd name="T57" fmla="*/ 0 h 195"/>
                <a:gd name="T58" fmla="*/ 7 w 451"/>
                <a:gd name="T59" fmla="*/ 2 h 195"/>
                <a:gd name="T60" fmla="*/ 3 w 451"/>
                <a:gd name="T61" fmla="*/ 7 h 195"/>
                <a:gd name="T62" fmla="*/ 1 w 451"/>
                <a:gd name="T63" fmla="*/ 12 h 195"/>
                <a:gd name="T64" fmla="*/ 1 w 451"/>
                <a:gd name="T65" fmla="*/ 33 h 195"/>
                <a:gd name="T66" fmla="*/ 4 w 451"/>
                <a:gd name="T67" fmla="*/ 75 h 195"/>
                <a:gd name="T68" fmla="*/ 12 w 451"/>
                <a:gd name="T69" fmla="*/ 120 h 195"/>
                <a:gd name="T70" fmla="*/ 23 w 451"/>
                <a:gd name="T71" fmla="*/ 165 h 195"/>
                <a:gd name="T72" fmla="*/ 33 w 451"/>
                <a:gd name="T73" fmla="*/ 189 h 195"/>
                <a:gd name="T74" fmla="*/ 37 w 451"/>
                <a:gd name="T75" fmla="*/ 193 h 195"/>
                <a:gd name="T76" fmla="*/ 43 w 451"/>
                <a:gd name="T77" fmla="*/ 195 h 195"/>
                <a:gd name="T78" fmla="*/ 48 w 451"/>
                <a:gd name="T7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195">
                  <a:moveTo>
                    <a:pt x="51" y="194"/>
                  </a:moveTo>
                  <a:lnTo>
                    <a:pt x="55" y="193"/>
                  </a:lnTo>
                  <a:lnTo>
                    <a:pt x="57" y="191"/>
                  </a:lnTo>
                  <a:lnTo>
                    <a:pt x="58" y="189"/>
                  </a:lnTo>
                  <a:lnTo>
                    <a:pt x="60" y="186"/>
                  </a:lnTo>
                  <a:lnTo>
                    <a:pt x="60" y="183"/>
                  </a:lnTo>
                  <a:lnTo>
                    <a:pt x="61" y="180"/>
                  </a:lnTo>
                  <a:lnTo>
                    <a:pt x="60" y="177"/>
                  </a:lnTo>
                  <a:lnTo>
                    <a:pt x="59" y="175"/>
                  </a:lnTo>
                  <a:lnTo>
                    <a:pt x="53" y="158"/>
                  </a:lnTo>
                  <a:lnTo>
                    <a:pt x="47" y="141"/>
                  </a:lnTo>
                  <a:lnTo>
                    <a:pt x="43" y="122"/>
                  </a:lnTo>
                  <a:lnTo>
                    <a:pt x="38" y="103"/>
                  </a:lnTo>
                  <a:lnTo>
                    <a:pt x="35" y="85"/>
                  </a:lnTo>
                  <a:lnTo>
                    <a:pt x="33" y="66"/>
                  </a:lnTo>
                  <a:lnTo>
                    <a:pt x="32" y="47"/>
                  </a:lnTo>
                  <a:lnTo>
                    <a:pt x="31" y="30"/>
                  </a:lnTo>
                  <a:lnTo>
                    <a:pt x="421" y="30"/>
                  </a:lnTo>
                  <a:lnTo>
                    <a:pt x="420" y="47"/>
                  </a:lnTo>
                  <a:lnTo>
                    <a:pt x="418" y="66"/>
                  </a:lnTo>
                  <a:lnTo>
                    <a:pt x="416" y="85"/>
                  </a:lnTo>
                  <a:lnTo>
                    <a:pt x="413" y="103"/>
                  </a:lnTo>
                  <a:lnTo>
                    <a:pt x="409" y="122"/>
                  </a:lnTo>
                  <a:lnTo>
                    <a:pt x="404" y="141"/>
                  </a:lnTo>
                  <a:lnTo>
                    <a:pt x="399" y="158"/>
                  </a:lnTo>
                  <a:lnTo>
                    <a:pt x="392" y="175"/>
                  </a:lnTo>
                  <a:lnTo>
                    <a:pt x="391" y="177"/>
                  </a:lnTo>
                  <a:lnTo>
                    <a:pt x="391" y="180"/>
                  </a:lnTo>
                  <a:lnTo>
                    <a:pt x="391" y="183"/>
                  </a:lnTo>
                  <a:lnTo>
                    <a:pt x="392" y="186"/>
                  </a:lnTo>
                  <a:lnTo>
                    <a:pt x="393" y="189"/>
                  </a:lnTo>
                  <a:lnTo>
                    <a:pt x="395" y="191"/>
                  </a:lnTo>
                  <a:lnTo>
                    <a:pt x="398" y="193"/>
                  </a:lnTo>
                  <a:lnTo>
                    <a:pt x="401" y="194"/>
                  </a:lnTo>
                  <a:lnTo>
                    <a:pt x="403" y="195"/>
                  </a:lnTo>
                  <a:lnTo>
                    <a:pt x="406" y="195"/>
                  </a:lnTo>
                  <a:lnTo>
                    <a:pt x="411" y="195"/>
                  </a:lnTo>
                  <a:lnTo>
                    <a:pt x="415" y="193"/>
                  </a:lnTo>
                  <a:lnTo>
                    <a:pt x="418" y="190"/>
                  </a:lnTo>
                  <a:lnTo>
                    <a:pt x="420" y="187"/>
                  </a:lnTo>
                  <a:lnTo>
                    <a:pt x="429" y="165"/>
                  </a:lnTo>
                  <a:lnTo>
                    <a:pt x="435" y="144"/>
                  </a:lnTo>
                  <a:lnTo>
                    <a:pt x="441" y="120"/>
                  </a:lnTo>
                  <a:lnTo>
                    <a:pt x="445" y="98"/>
                  </a:lnTo>
                  <a:lnTo>
                    <a:pt x="448" y="75"/>
                  </a:lnTo>
                  <a:lnTo>
                    <a:pt x="450" y="54"/>
                  </a:lnTo>
                  <a:lnTo>
                    <a:pt x="451" y="33"/>
                  </a:lnTo>
                  <a:lnTo>
                    <a:pt x="451" y="15"/>
                  </a:lnTo>
                  <a:lnTo>
                    <a:pt x="451" y="12"/>
                  </a:lnTo>
                  <a:lnTo>
                    <a:pt x="450" y="10"/>
                  </a:lnTo>
                  <a:lnTo>
                    <a:pt x="449" y="7"/>
                  </a:lnTo>
                  <a:lnTo>
                    <a:pt x="447" y="4"/>
                  </a:lnTo>
                  <a:lnTo>
                    <a:pt x="445" y="2"/>
                  </a:lnTo>
                  <a:lnTo>
                    <a:pt x="443" y="1"/>
                  </a:lnTo>
                  <a:lnTo>
                    <a:pt x="439" y="0"/>
                  </a:lnTo>
                  <a:lnTo>
                    <a:pt x="436" y="0"/>
                  </a:lnTo>
                  <a:lnTo>
                    <a:pt x="15" y="0"/>
                  </a:lnTo>
                  <a:lnTo>
                    <a:pt x="13" y="0"/>
                  </a:lnTo>
                  <a:lnTo>
                    <a:pt x="10" y="1"/>
                  </a:lnTo>
                  <a:lnTo>
                    <a:pt x="7" y="2"/>
                  </a:lnTo>
                  <a:lnTo>
                    <a:pt x="5" y="4"/>
                  </a:lnTo>
                  <a:lnTo>
                    <a:pt x="3" y="7"/>
                  </a:lnTo>
                  <a:lnTo>
                    <a:pt x="2" y="10"/>
                  </a:lnTo>
                  <a:lnTo>
                    <a:pt x="1" y="12"/>
                  </a:lnTo>
                  <a:lnTo>
                    <a:pt x="0" y="15"/>
                  </a:lnTo>
                  <a:lnTo>
                    <a:pt x="1" y="33"/>
                  </a:lnTo>
                  <a:lnTo>
                    <a:pt x="2" y="54"/>
                  </a:lnTo>
                  <a:lnTo>
                    <a:pt x="4" y="75"/>
                  </a:lnTo>
                  <a:lnTo>
                    <a:pt x="7" y="98"/>
                  </a:lnTo>
                  <a:lnTo>
                    <a:pt x="12" y="120"/>
                  </a:lnTo>
                  <a:lnTo>
                    <a:pt x="17" y="144"/>
                  </a:lnTo>
                  <a:lnTo>
                    <a:pt x="23" y="165"/>
                  </a:lnTo>
                  <a:lnTo>
                    <a:pt x="32" y="187"/>
                  </a:lnTo>
                  <a:lnTo>
                    <a:pt x="33" y="189"/>
                  </a:lnTo>
                  <a:lnTo>
                    <a:pt x="35" y="191"/>
                  </a:lnTo>
                  <a:lnTo>
                    <a:pt x="37" y="193"/>
                  </a:lnTo>
                  <a:lnTo>
                    <a:pt x="40" y="194"/>
                  </a:lnTo>
                  <a:lnTo>
                    <a:pt x="43" y="195"/>
                  </a:lnTo>
                  <a:lnTo>
                    <a:pt x="46" y="195"/>
                  </a:lnTo>
                  <a:lnTo>
                    <a:pt x="48" y="195"/>
                  </a:lnTo>
                  <a:lnTo>
                    <a:pt x="51"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6" name="Freeform 18">
              <a:extLst>
                <a:ext uri="{FF2B5EF4-FFF2-40B4-BE49-F238E27FC236}">
                  <a16:creationId xmlns:a16="http://schemas.microsoft.com/office/drawing/2014/main" id="{CC186976-59EA-445F-AB09-475301C3176E}"/>
                </a:ext>
              </a:extLst>
            </p:cNvPr>
            <p:cNvSpPr>
              <a:spLocks noEditPoints="1"/>
            </p:cNvSpPr>
            <p:nvPr/>
          </p:nvSpPr>
          <p:spPr bwMode="auto">
            <a:xfrm>
              <a:off x="2628900" y="2670175"/>
              <a:ext cx="238125" cy="104775"/>
            </a:xfrm>
            <a:custGeom>
              <a:avLst/>
              <a:gdLst>
                <a:gd name="T0" fmla="*/ 453 w 750"/>
                <a:gd name="T1" fmla="*/ 302 h 332"/>
                <a:gd name="T2" fmla="*/ 299 w 750"/>
                <a:gd name="T3" fmla="*/ 302 h 332"/>
                <a:gd name="T4" fmla="*/ 260 w 750"/>
                <a:gd name="T5" fmla="*/ 30 h 332"/>
                <a:gd name="T6" fmla="*/ 491 w 750"/>
                <a:gd name="T7" fmla="*/ 30 h 332"/>
                <a:gd name="T8" fmla="*/ 453 w 750"/>
                <a:gd name="T9" fmla="*/ 302 h 332"/>
                <a:gd name="T10" fmla="*/ 735 w 750"/>
                <a:gd name="T11" fmla="*/ 0 h 332"/>
                <a:gd name="T12" fmla="*/ 525 w 750"/>
                <a:gd name="T13" fmla="*/ 0 h 332"/>
                <a:gd name="T14" fmla="*/ 225 w 750"/>
                <a:gd name="T15" fmla="*/ 0 h 332"/>
                <a:gd name="T16" fmla="*/ 15 w 750"/>
                <a:gd name="T17" fmla="*/ 0 h 332"/>
                <a:gd name="T18" fmla="*/ 12 w 750"/>
                <a:gd name="T19" fmla="*/ 1 h 332"/>
                <a:gd name="T20" fmla="*/ 9 w 750"/>
                <a:gd name="T21" fmla="*/ 1 h 332"/>
                <a:gd name="T22" fmla="*/ 6 w 750"/>
                <a:gd name="T23" fmla="*/ 3 h 332"/>
                <a:gd name="T24" fmla="*/ 4 w 750"/>
                <a:gd name="T25" fmla="*/ 5 h 332"/>
                <a:gd name="T26" fmla="*/ 3 w 750"/>
                <a:gd name="T27" fmla="*/ 8 h 332"/>
                <a:gd name="T28" fmla="*/ 1 w 750"/>
                <a:gd name="T29" fmla="*/ 10 h 332"/>
                <a:gd name="T30" fmla="*/ 0 w 750"/>
                <a:gd name="T31" fmla="*/ 13 h 332"/>
                <a:gd name="T32" fmla="*/ 0 w 750"/>
                <a:gd name="T33" fmla="*/ 15 h 332"/>
                <a:gd name="T34" fmla="*/ 0 w 750"/>
                <a:gd name="T35" fmla="*/ 19 h 332"/>
                <a:gd name="T36" fmla="*/ 1 w 750"/>
                <a:gd name="T37" fmla="*/ 22 h 332"/>
                <a:gd name="T38" fmla="*/ 3 w 750"/>
                <a:gd name="T39" fmla="*/ 24 h 332"/>
                <a:gd name="T40" fmla="*/ 4 w 750"/>
                <a:gd name="T41" fmla="*/ 26 h 332"/>
                <a:gd name="T42" fmla="*/ 6 w 750"/>
                <a:gd name="T43" fmla="*/ 28 h 332"/>
                <a:gd name="T44" fmla="*/ 9 w 750"/>
                <a:gd name="T45" fmla="*/ 29 h 332"/>
                <a:gd name="T46" fmla="*/ 12 w 750"/>
                <a:gd name="T47" fmla="*/ 30 h 332"/>
                <a:gd name="T48" fmla="*/ 15 w 750"/>
                <a:gd name="T49" fmla="*/ 30 h 332"/>
                <a:gd name="T50" fmla="*/ 229 w 750"/>
                <a:gd name="T51" fmla="*/ 30 h 332"/>
                <a:gd name="T52" fmla="*/ 273 w 750"/>
                <a:gd name="T53" fmla="*/ 332 h 332"/>
                <a:gd name="T54" fmla="*/ 479 w 750"/>
                <a:gd name="T55" fmla="*/ 332 h 332"/>
                <a:gd name="T56" fmla="*/ 521 w 750"/>
                <a:gd name="T57" fmla="*/ 30 h 332"/>
                <a:gd name="T58" fmla="*/ 735 w 750"/>
                <a:gd name="T59" fmla="*/ 30 h 332"/>
                <a:gd name="T60" fmla="*/ 738 w 750"/>
                <a:gd name="T61" fmla="*/ 30 h 332"/>
                <a:gd name="T62" fmla="*/ 742 w 750"/>
                <a:gd name="T63" fmla="*/ 29 h 332"/>
                <a:gd name="T64" fmla="*/ 744 w 750"/>
                <a:gd name="T65" fmla="*/ 28 h 332"/>
                <a:gd name="T66" fmla="*/ 746 w 750"/>
                <a:gd name="T67" fmla="*/ 26 h 332"/>
                <a:gd name="T68" fmla="*/ 748 w 750"/>
                <a:gd name="T69" fmla="*/ 24 h 332"/>
                <a:gd name="T70" fmla="*/ 749 w 750"/>
                <a:gd name="T71" fmla="*/ 22 h 332"/>
                <a:gd name="T72" fmla="*/ 750 w 750"/>
                <a:gd name="T73" fmla="*/ 19 h 332"/>
                <a:gd name="T74" fmla="*/ 750 w 750"/>
                <a:gd name="T75" fmla="*/ 15 h 332"/>
                <a:gd name="T76" fmla="*/ 750 w 750"/>
                <a:gd name="T77" fmla="*/ 13 h 332"/>
                <a:gd name="T78" fmla="*/ 749 w 750"/>
                <a:gd name="T79" fmla="*/ 10 h 332"/>
                <a:gd name="T80" fmla="*/ 748 w 750"/>
                <a:gd name="T81" fmla="*/ 8 h 332"/>
                <a:gd name="T82" fmla="*/ 746 w 750"/>
                <a:gd name="T83" fmla="*/ 5 h 332"/>
                <a:gd name="T84" fmla="*/ 744 w 750"/>
                <a:gd name="T85" fmla="*/ 3 h 332"/>
                <a:gd name="T86" fmla="*/ 742 w 750"/>
                <a:gd name="T87" fmla="*/ 1 h 332"/>
                <a:gd name="T88" fmla="*/ 738 w 750"/>
                <a:gd name="T89" fmla="*/ 1 h 332"/>
                <a:gd name="T90" fmla="*/ 735 w 750"/>
                <a:gd name="T9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332">
                  <a:moveTo>
                    <a:pt x="453" y="302"/>
                  </a:moveTo>
                  <a:lnTo>
                    <a:pt x="299" y="302"/>
                  </a:lnTo>
                  <a:lnTo>
                    <a:pt x="260" y="30"/>
                  </a:lnTo>
                  <a:lnTo>
                    <a:pt x="491" y="30"/>
                  </a:lnTo>
                  <a:lnTo>
                    <a:pt x="453" y="302"/>
                  </a:lnTo>
                  <a:close/>
                  <a:moveTo>
                    <a:pt x="735" y="0"/>
                  </a:moveTo>
                  <a:lnTo>
                    <a:pt x="525" y="0"/>
                  </a:lnTo>
                  <a:lnTo>
                    <a:pt x="225" y="0"/>
                  </a:lnTo>
                  <a:lnTo>
                    <a:pt x="15" y="0"/>
                  </a:lnTo>
                  <a:lnTo>
                    <a:pt x="12" y="1"/>
                  </a:lnTo>
                  <a:lnTo>
                    <a:pt x="9" y="1"/>
                  </a:lnTo>
                  <a:lnTo>
                    <a:pt x="6" y="3"/>
                  </a:lnTo>
                  <a:lnTo>
                    <a:pt x="4" y="5"/>
                  </a:lnTo>
                  <a:lnTo>
                    <a:pt x="3" y="8"/>
                  </a:lnTo>
                  <a:lnTo>
                    <a:pt x="1" y="10"/>
                  </a:lnTo>
                  <a:lnTo>
                    <a:pt x="0" y="13"/>
                  </a:lnTo>
                  <a:lnTo>
                    <a:pt x="0" y="15"/>
                  </a:lnTo>
                  <a:lnTo>
                    <a:pt x="0" y="19"/>
                  </a:lnTo>
                  <a:lnTo>
                    <a:pt x="1" y="22"/>
                  </a:lnTo>
                  <a:lnTo>
                    <a:pt x="3" y="24"/>
                  </a:lnTo>
                  <a:lnTo>
                    <a:pt x="4" y="26"/>
                  </a:lnTo>
                  <a:lnTo>
                    <a:pt x="6" y="28"/>
                  </a:lnTo>
                  <a:lnTo>
                    <a:pt x="9" y="29"/>
                  </a:lnTo>
                  <a:lnTo>
                    <a:pt x="12" y="30"/>
                  </a:lnTo>
                  <a:lnTo>
                    <a:pt x="15" y="30"/>
                  </a:lnTo>
                  <a:lnTo>
                    <a:pt x="229" y="30"/>
                  </a:lnTo>
                  <a:lnTo>
                    <a:pt x="273" y="332"/>
                  </a:lnTo>
                  <a:lnTo>
                    <a:pt x="479" y="332"/>
                  </a:lnTo>
                  <a:lnTo>
                    <a:pt x="521" y="30"/>
                  </a:lnTo>
                  <a:lnTo>
                    <a:pt x="735" y="30"/>
                  </a:lnTo>
                  <a:lnTo>
                    <a:pt x="738" y="30"/>
                  </a:lnTo>
                  <a:lnTo>
                    <a:pt x="742" y="29"/>
                  </a:lnTo>
                  <a:lnTo>
                    <a:pt x="744" y="28"/>
                  </a:lnTo>
                  <a:lnTo>
                    <a:pt x="746" y="26"/>
                  </a:lnTo>
                  <a:lnTo>
                    <a:pt x="748" y="24"/>
                  </a:lnTo>
                  <a:lnTo>
                    <a:pt x="749" y="22"/>
                  </a:lnTo>
                  <a:lnTo>
                    <a:pt x="750" y="19"/>
                  </a:lnTo>
                  <a:lnTo>
                    <a:pt x="750" y="15"/>
                  </a:lnTo>
                  <a:lnTo>
                    <a:pt x="750" y="13"/>
                  </a:lnTo>
                  <a:lnTo>
                    <a:pt x="749" y="10"/>
                  </a:lnTo>
                  <a:lnTo>
                    <a:pt x="748" y="8"/>
                  </a:lnTo>
                  <a:lnTo>
                    <a:pt x="746" y="5"/>
                  </a:lnTo>
                  <a:lnTo>
                    <a:pt x="744" y="3"/>
                  </a:lnTo>
                  <a:lnTo>
                    <a:pt x="742" y="1"/>
                  </a:lnTo>
                  <a:lnTo>
                    <a:pt x="738" y="1"/>
                  </a:lnTo>
                  <a:lnTo>
                    <a:pt x="7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7" name="Freeform 19">
              <a:extLst>
                <a:ext uri="{FF2B5EF4-FFF2-40B4-BE49-F238E27FC236}">
                  <a16:creationId xmlns:a16="http://schemas.microsoft.com/office/drawing/2014/main" id="{45140474-18AC-443C-AE76-4B630EA1AA2E}"/>
                </a:ext>
              </a:extLst>
            </p:cNvPr>
            <p:cNvSpPr>
              <a:spLocks noEditPoints="1"/>
            </p:cNvSpPr>
            <p:nvPr/>
          </p:nvSpPr>
          <p:spPr bwMode="auto">
            <a:xfrm>
              <a:off x="2700338" y="2489200"/>
              <a:ext cx="95250" cy="95250"/>
            </a:xfrm>
            <a:custGeom>
              <a:avLst/>
              <a:gdLst>
                <a:gd name="T0" fmla="*/ 174 w 300"/>
                <a:gd name="T1" fmla="*/ 33 h 301"/>
                <a:gd name="T2" fmla="*/ 207 w 300"/>
                <a:gd name="T3" fmla="*/ 45 h 301"/>
                <a:gd name="T4" fmla="*/ 235 w 300"/>
                <a:gd name="T5" fmla="*/ 65 h 301"/>
                <a:gd name="T6" fmla="*/ 255 w 300"/>
                <a:gd name="T7" fmla="*/ 93 h 301"/>
                <a:gd name="T8" fmla="*/ 268 w 300"/>
                <a:gd name="T9" fmla="*/ 126 h 301"/>
                <a:gd name="T10" fmla="*/ 269 w 300"/>
                <a:gd name="T11" fmla="*/ 163 h 301"/>
                <a:gd name="T12" fmla="*/ 261 w 300"/>
                <a:gd name="T13" fmla="*/ 197 h 301"/>
                <a:gd name="T14" fmla="*/ 242 w 300"/>
                <a:gd name="T15" fmla="*/ 227 h 301"/>
                <a:gd name="T16" fmla="*/ 218 w 300"/>
                <a:gd name="T17" fmla="*/ 251 h 301"/>
                <a:gd name="T18" fmla="*/ 185 w 300"/>
                <a:gd name="T19" fmla="*/ 266 h 301"/>
                <a:gd name="T20" fmla="*/ 150 w 300"/>
                <a:gd name="T21" fmla="*/ 271 h 301"/>
                <a:gd name="T22" fmla="*/ 115 w 300"/>
                <a:gd name="T23" fmla="*/ 266 h 301"/>
                <a:gd name="T24" fmla="*/ 83 w 300"/>
                <a:gd name="T25" fmla="*/ 251 h 301"/>
                <a:gd name="T26" fmla="*/ 57 w 300"/>
                <a:gd name="T27" fmla="*/ 227 h 301"/>
                <a:gd name="T28" fmla="*/ 39 w 300"/>
                <a:gd name="T29" fmla="*/ 197 h 301"/>
                <a:gd name="T30" fmla="*/ 30 w 300"/>
                <a:gd name="T31" fmla="*/ 163 h 301"/>
                <a:gd name="T32" fmla="*/ 32 w 300"/>
                <a:gd name="T33" fmla="*/ 126 h 301"/>
                <a:gd name="T34" fmla="*/ 44 w 300"/>
                <a:gd name="T35" fmla="*/ 93 h 301"/>
                <a:gd name="T36" fmla="*/ 65 w 300"/>
                <a:gd name="T37" fmla="*/ 65 h 301"/>
                <a:gd name="T38" fmla="*/ 92 w 300"/>
                <a:gd name="T39" fmla="*/ 45 h 301"/>
                <a:gd name="T40" fmla="*/ 125 w 300"/>
                <a:gd name="T41" fmla="*/ 33 h 301"/>
                <a:gd name="T42" fmla="*/ 150 w 300"/>
                <a:gd name="T43" fmla="*/ 301 h 301"/>
                <a:gd name="T44" fmla="*/ 195 w 300"/>
                <a:gd name="T45" fmla="*/ 295 h 301"/>
                <a:gd name="T46" fmla="*/ 234 w 300"/>
                <a:gd name="T47" fmla="*/ 275 h 301"/>
                <a:gd name="T48" fmla="*/ 266 w 300"/>
                <a:gd name="T49" fmla="*/ 246 h 301"/>
                <a:gd name="T50" fmla="*/ 288 w 300"/>
                <a:gd name="T51" fmla="*/ 209 h 301"/>
                <a:gd name="T52" fmla="*/ 299 w 300"/>
                <a:gd name="T53" fmla="*/ 166 h 301"/>
                <a:gd name="T54" fmla="*/ 297 w 300"/>
                <a:gd name="T55" fmla="*/ 120 h 301"/>
                <a:gd name="T56" fmla="*/ 282 w 300"/>
                <a:gd name="T57" fmla="*/ 79 h 301"/>
                <a:gd name="T58" fmla="*/ 256 w 300"/>
                <a:gd name="T59" fmla="*/ 44 h 301"/>
                <a:gd name="T60" fmla="*/ 222 w 300"/>
                <a:gd name="T61" fmla="*/ 18 h 301"/>
                <a:gd name="T62" fmla="*/ 180 w 300"/>
                <a:gd name="T63" fmla="*/ 3 h 301"/>
                <a:gd name="T64" fmla="*/ 135 w 300"/>
                <a:gd name="T65" fmla="*/ 1 h 301"/>
                <a:gd name="T66" fmla="*/ 91 w 300"/>
                <a:gd name="T67" fmla="*/ 12 h 301"/>
                <a:gd name="T68" fmla="*/ 55 w 300"/>
                <a:gd name="T69" fmla="*/ 34 h 301"/>
                <a:gd name="T70" fmla="*/ 26 w 300"/>
                <a:gd name="T71" fmla="*/ 66 h 301"/>
                <a:gd name="T72" fmla="*/ 6 w 300"/>
                <a:gd name="T73" fmla="*/ 106 h 301"/>
                <a:gd name="T74" fmla="*/ 0 w 300"/>
                <a:gd name="T75" fmla="*/ 151 h 301"/>
                <a:gd name="T76" fmla="*/ 6 w 300"/>
                <a:gd name="T77" fmla="*/ 195 h 301"/>
                <a:gd name="T78" fmla="*/ 26 w 300"/>
                <a:gd name="T79" fmla="*/ 235 h 301"/>
                <a:gd name="T80" fmla="*/ 55 w 300"/>
                <a:gd name="T81" fmla="*/ 267 h 301"/>
                <a:gd name="T82" fmla="*/ 91 w 300"/>
                <a:gd name="T83" fmla="*/ 289 h 301"/>
                <a:gd name="T84" fmla="*/ 135 w 300"/>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0" h="301">
                  <a:moveTo>
                    <a:pt x="150" y="30"/>
                  </a:moveTo>
                  <a:lnTo>
                    <a:pt x="162" y="31"/>
                  </a:lnTo>
                  <a:lnTo>
                    <a:pt x="174" y="33"/>
                  </a:lnTo>
                  <a:lnTo>
                    <a:pt x="185" y="35"/>
                  </a:lnTo>
                  <a:lnTo>
                    <a:pt x="196" y="40"/>
                  </a:lnTo>
                  <a:lnTo>
                    <a:pt x="207" y="45"/>
                  </a:lnTo>
                  <a:lnTo>
                    <a:pt x="218" y="51"/>
                  </a:lnTo>
                  <a:lnTo>
                    <a:pt x="226" y="58"/>
                  </a:lnTo>
                  <a:lnTo>
                    <a:pt x="235" y="65"/>
                  </a:lnTo>
                  <a:lnTo>
                    <a:pt x="242" y="74"/>
                  </a:lnTo>
                  <a:lnTo>
                    <a:pt x="250" y="83"/>
                  </a:lnTo>
                  <a:lnTo>
                    <a:pt x="255" y="93"/>
                  </a:lnTo>
                  <a:lnTo>
                    <a:pt x="261" y="104"/>
                  </a:lnTo>
                  <a:lnTo>
                    <a:pt x="265" y="115"/>
                  </a:lnTo>
                  <a:lnTo>
                    <a:pt x="268" y="126"/>
                  </a:lnTo>
                  <a:lnTo>
                    <a:pt x="269" y="138"/>
                  </a:lnTo>
                  <a:lnTo>
                    <a:pt x="270" y="151"/>
                  </a:lnTo>
                  <a:lnTo>
                    <a:pt x="269" y="163"/>
                  </a:lnTo>
                  <a:lnTo>
                    <a:pt x="268" y="175"/>
                  </a:lnTo>
                  <a:lnTo>
                    <a:pt x="265" y="186"/>
                  </a:lnTo>
                  <a:lnTo>
                    <a:pt x="261" y="197"/>
                  </a:lnTo>
                  <a:lnTo>
                    <a:pt x="255" y="208"/>
                  </a:lnTo>
                  <a:lnTo>
                    <a:pt x="250" y="217"/>
                  </a:lnTo>
                  <a:lnTo>
                    <a:pt x="242" y="227"/>
                  </a:lnTo>
                  <a:lnTo>
                    <a:pt x="235" y="236"/>
                  </a:lnTo>
                  <a:lnTo>
                    <a:pt x="226" y="243"/>
                  </a:lnTo>
                  <a:lnTo>
                    <a:pt x="218" y="251"/>
                  </a:lnTo>
                  <a:lnTo>
                    <a:pt x="207" y="256"/>
                  </a:lnTo>
                  <a:lnTo>
                    <a:pt x="196" y="261"/>
                  </a:lnTo>
                  <a:lnTo>
                    <a:pt x="185" y="266"/>
                  </a:lnTo>
                  <a:lnTo>
                    <a:pt x="174" y="269"/>
                  </a:lnTo>
                  <a:lnTo>
                    <a:pt x="162" y="270"/>
                  </a:lnTo>
                  <a:lnTo>
                    <a:pt x="150" y="271"/>
                  </a:lnTo>
                  <a:lnTo>
                    <a:pt x="137" y="270"/>
                  </a:lnTo>
                  <a:lnTo>
                    <a:pt x="125" y="269"/>
                  </a:lnTo>
                  <a:lnTo>
                    <a:pt x="115" y="266"/>
                  </a:lnTo>
                  <a:lnTo>
                    <a:pt x="103" y="261"/>
                  </a:lnTo>
                  <a:lnTo>
                    <a:pt x="92" y="256"/>
                  </a:lnTo>
                  <a:lnTo>
                    <a:pt x="83" y="251"/>
                  </a:lnTo>
                  <a:lnTo>
                    <a:pt x="74" y="243"/>
                  </a:lnTo>
                  <a:lnTo>
                    <a:pt x="65" y="236"/>
                  </a:lnTo>
                  <a:lnTo>
                    <a:pt x="57" y="227"/>
                  </a:lnTo>
                  <a:lnTo>
                    <a:pt x="50" y="217"/>
                  </a:lnTo>
                  <a:lnTo>
                    <a:pt x="44" y="208"/>
                  </a:lnTo>
                  <a:lnTo>
                    <a:pt x="39" y="197"/>
                  </a:lnTo>
                  <a:lnTo>
                    <a:pt x="35" y="186"/>
                  </a:lnTo>
                  <a:lnTo>
                    <a:pt x="32" y="175"/>
                  </a:lnTo>
                  <a:lnTo>
                    <a:pt x="30" y="163"/>
                  </a:lnTo>
                  <a:lnTo>
                    <a:pt x="30" y="151"/>
                  </a:lnTo>
                  <a:lnTo>
                    <a:pt x="30" y="138"/>
                  </a:lnTo>
                  <a:lnTo>
                    <a:pt x="32" y="126"/>
                  </a:lnTo>
                  <a:lnTo>
                    <a:pt x="35" y="115"/>
                  </a:lnTo>
                  <a:lnTo>
                    <a:pt x="39" y="104"/>
                  </a:lnTo>
                  <a:lnTo>
                    <a:pt x="44" y="93"/>
                  </a:lnTo>
                  <a:lnTo>
                    <a:pt x="50" y="83"/>
                  </a:lnTo>
                  <a:lnTo>
                    <a:pt x="57" y="74"/>
                  </a:lnTo>
                  <a:lnTo>
                    <a:pt x="65" y="65"/>
                  </a:lnTo>
                  <a:lnTo>
                    <a:pt x="74" y="58"/>
                  </a:lnTo>
                  <a:lnTo>
                    <a:pt x="83" y="51"/>
                  </a:lnTo>
                  <a:lnTo>
                    <a:pt x="92" y="45"/>
                  </a:lnTo>
                  <a:lnTo>
                    <a:pt x="103" y="40"/>
                  </a:lnTo>
                  <a:lnTo>
                    <a:pt x="115" y="35"/>
                  </a:lnTo>
                  <a:lnTo>
                    <a:pt x="125" y="33"/>
                  </a:lnTo>
                  <a:lnTo>
                    <a:pt x="137" y="31"/>
                  </a:lnTo>
                  <a:lnTo>
                    <a:pt x="150" y="30"/>
                  </a:lnTo>
                  <a:close/>
                  <a:moveTo>
                    <a:pt x="150" y="301"/>
                  </a:moveTo>
                  <a:lnTo>
                    <a:pt x="165" y="300"/>
                  </a:lnTo>
                  <a:lnTo>
                    <a:pt x="180" y="298"/>
                  </a:lnTo>
                  <a:lnTo>
                    <a:pt x="195" y="295"/>
                  </a:lnTo>
                  <a:lnTo>
                    <a:pt x="208" y="289"/>
                  </a:lnTo>
                  <a:lnTo>
                    <a:pt x="222" y="283"/>
                  </a:lnTo>
                  <a:lnTo>
                    <a:pt x="234" y="275"/>
                  </a:lnTo>
                  <a:lnTo>
                    <a:pt x="246" y="267"/>
                  </a:lnTo>
                  <a:lnTo>
                    <a:pt x="256" y="257"/>
                  </a:lnTo>
                  <a:lnTo>
                    <a:pt x="266" y="246"/>
                  </a:lnTo>
                  <a:lnTo>
                    <a:pt x="274" y="235"/>
                  </a:lnTo>
                  <a:lnTo>
                    <a:pt x="282" y="222"/>
                  </a:lnTo>
                  <a:lnTo>
                    <a:pt x="288" y="209"/>
                  </a:lnTo>
                  <a:lnTo>
                    <a:pt x="294" y="195"/>
                  </a:lnTo>
                  <a:lnTo>
                    <a:pt x="297" y="181"/>
                  </a:lnTo>
                  <a:lnTo>
                    <a:pt x="299" y="166"/>
                  </a:lnTo>
                  <a:lnTo>
                    <a:pt x="300" y="151"/>
                  </a:lnTo>
                  <a:lnTo>
                    <a:pt x="299" y="135"/>
                  </a:lnTo>
                  <a:lnTo>
                    <a:pt x="297" y="120"/>
                  </a:lnTo>
                  <a:lnTo>
                    <a:pt x="294" y="106"/>
                  </a:lnTo>
                  <a:lnTo>
                    <a:pt x="288" y="92"/>
                  </a:lnTo>
                  <a:lnTo>
                    <a:pt x="282" y="79"/>
                  </a:lnTo>
                  <a:lnTo>
                    <a:pt x="274" y="66"/>
                  </a:lnTo>
                  <a:lnTo>
                    <a:pt x="266" y="55"/>
                  </a:lnTo>
                  <a:lnTo>
                    <a:pt x="256" y="44"/>
                  </a:lnTo>
                  <a:lnTo>
                    <a:pt x="246" y="34"/>
                  </a:lnTo>
                  <a:lnTo>
                    <a:pt x="234" y="26"/>
                  </a:lnTo>
                  <a:lnTo>
                    <a:pt x="222" y="18"/>
                  </a:lnTo>
                  <a:lnTo>
                    <a:pt x="208" y="12"/>
                  </a:lnTo>
                  <a:lnTo>
                    <a:pt x="195" y="7"/>
                  </a:lnTo>
                  <a:lnTo>
                    <a:pt x="180" y="3"/>
                  </a:lnTo>
                  <a:lnTo>
                    <a:pt x="165" y="1"/>
                  </a:lnTo>
                  <a:lnTo>
                    <a:pt x="150" y="0"/>
                  </a:lnTo>
                  <a:lnTo>
                    <a:pt x="135" y="1"/>
                  </a:lnTo>
                  <a:lnTo>
                    <a:pt x="120" y="3"/>
                  </a:lnTo>
                  <a:lnTo>
                    <a:pt x="105" y="7"/>
                  </a:lnTo>
                  <a:lnTo>
                    <a:pt x="91" y="12"/>
                  </a:lnTo>
                  <a:lnTo>
                    <a:pt x="78" y="18"/>
                  </a:lnTo>
                  <a:lnTo>
                    <a:pt x="65" y="26"/>
                  </a:lnTo>
                  <a:lnTo>
                    <a:pt x="55" y="34"/>
                  </a:lnTo>
                  <a:lnTo>
                    <a:pt x="44" y="44"/>
                  </a:lnTo>
                  <a:lnTo>
                    <a:pt x="34" y="55"/>
                  </a:lnTo>
                  <a:lnTo>
                    <a:pt x="26" y="66"/>
                  </a:lnTo>
                  <a:lnTo>
                    <a:pt x="18" y="79"/>
                  </a:lnTo>
                  <a:lnTo>
                    <a:pt x="12" y="92"/>
                  </a:lnTo>
                  <a:lnTo>
                    <a:pt x="6" y="106"/>
                  </a:lnTo>
                  <a:lnTo>
                    <a:pt x="2" y="120"/>
                  </a:lnTo>
                  <a:lnTo>
                    <a:pt x="0" y="135"/>
                  </a:lnTo>
                  <a:lnTo>
                    <a:pt x="0" y="151"/>
                  </a:lnTo>
                  <a:lnTo>
                    <a:pt x="0" y="166"/>
                  </a:lnTo>
                  <a:lnTo>
                    <a:pt x="2" y="181"/>
                  </a:lnTo>
                  <a:lnTo>
                    <a:pt x="6" y="195"/>
                  </a:lnTo>
                  <a:lnTo>
                    <a:pt x="12" y="209"/>
                  </a:lnTo>
                  <a:lnTo>
                    <a:pt x="18" y="222"/>
                  </a:lnTo>
                  <a:lnTo>
                    <a:pt x="26" y="235"/>
                  </a:lnTo>
                  <a:lnTo>
                    <a:pt x="34" y="246"/>
                  </a:lnTo>
                  <a:lnTo>
                    <a:pt x="44" y="257"/>
                  </a:lnTo>
                  <a:lnTo>
                    <a:pt x="55" y="267"/>
                  </a:lnTo>
                  <a:lnTo>
                    <a:pt x="65" y="275"/>
                  </a:lnTo>
                  <a:lnTo>
                    <a:pt x="78" y="283"/>
                  </a:lnTo>
                  <a:lnTo>
                    <a:pt x="91" y="289"/>
                  </a:lnTo>
                  <a:lnTo>
                    <a:pt x="105"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8" name="Freeform 20">
              <a:extLst>
                <a:ext uri="{FF2B5EF4-FFF2-40B4-BE49-F238E27FC236}">
                  <a16:creationId xmlns:a16="http://schemas.microsoft.com/office/drawing/2014/main" id="{877672E8-6427-4EDD-A449-A238ABAE3235}"/>
                </a:ext>
              </a:extLst>
            </p:cNvPr>
            <p:cNvSpPr>
              <a:spLocks/>
            </p:cNvSpPr>
            <p:nvPr/>
          </p:nvSpPr>
          <p:spPr bwMode="auto">
            <a:xfrm>
              <a:off x="2738438" y="2608263"/>
              <a:ext cx="19050" cy="41275"/>
            </a:xfrm>
            <a:custGeom>
              <a:avLst/>
              <a:gdLst>
                <a:gd name="T0" fmla="*/ 0 w 62"/>
                <a:gd name="T1" fmla="*/ 133 h 133"/>
                <a:gd name="T2" fmla="*/ 62 w 62"/>
                <a:gd name="T3" fmla="*/ 133 h 133"/>
                <a:gd name="T4" fmla="*/ 50 w 62"/>
                <a:gd name="T5" fmla="*/ 0 h 133"/>
                <a:gd name="T6" fmla="*/ 13 w 62"/>
                <a:gd name="T7" fmla="*/ 0 h 133"/>
                <a:gd name="T8" fmla="*/ 0 w 62"/>
                <a:gd name="T9" fmla="*/ 133 h 133"/>
              </a:gdLst>
              <a:ahLst/>
              <a:cxnLst>
                <a:cxn ang="0">
                  <a:pos x="T0" y="T1"/>
                </a:cxn>
                <a:cxn ang="0">
                  <a:pos x="T2" y="T3"/>
                </a:cxn>
                <a:cxn ang="0">
                  <a:pos x="T4" y="T5"/>
                </a:cxn>
                <a:cxn ang="0">
                  <a:pos x="T6" y="T7"/>
                </a:cxn>
                <a:cxn ang="0">
                  <a:pos x="T8" y="T9"/>
                </a:cxn>
              </a:cxnLst>
              <a:rect l="0" t="0" r="r" b="b"/>
              <a:pathLst>
                <a:path w="62" h="133">
                  <a:moveTo>
                    <a:pt x="0" y="133"/>
                  </a:moveTo>
                  <a:lnTo>
                    <a:pt x="62" y="133"/>
                  </a:lnTo>
                  <a:lnTo>
                    <a:pt x="50" y="0"/>
                  </a:lnTo>
                  <a:lnTo>
                    <a:pt x="13" y="0"/>
                  </a:lnTo>
                  <a:lnTo>
                    <a:pt x="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15" name="Freeform 22">
            <a:extLst>
              <a:ext uri="{FF2B5EF4-FFF2-40B4-BE49-F238E27FC236}">
                <a16:creationId xmlns:a16="http://schemas.microsoft.com/office/drawing/2014/main" id="{4A2D8EA6-F338-4B9E-AE80-D1F1B8C524E9}"/>
              </a:ext>
            </a:extLst>
          </p:cNvPr>
          <p:cNvSpPr>
            <a:spLocks noChangeAspect="1" noEditPoints="1"/>
          </p:cNvSpPr>
          <p:nvPr/>
        </p:nvSpPr>
        <p:spPr bwMode="auto">
          <a:xfrm>
            <a:off x="4896158" y="5417577"/>
            <a:ext cx="308861" cy="285619"/>
          </a:xfrm>
          <a:custGeom>
            <a:avLst/>
            <a:gdLst>
              <a:gd name="T0" fmla="*/ 466 w 505"/>
              <a:gd name="T1" fmla="*/ 0 h 467"/>
              <a:gd name="T2" fmla="*/ 93 w 505"/>
              <a:gd name="T3" fmla="*/ 0 h 467"/>
              <a:gd name="T4" fmla="*/ 39 w 505"/>
              <a:gd name="T5" fmla="*/ 0 h 467"/>
              <a:gd name="T6" fmla="*/ 30 w 505"/>
              <a:gd name="T7" fmla="*/ 1 h 467"/>
              <a:gd name="T8" fmla="*/ 12 w 505"/>
              <a:gd name="T9" fmla="*/ 12 h 467"/>
              <a:gd name="T10" fmla="*/ 2 w 505"/>
              <a:gd name="T11" fmla="*/ 30 h 467"/>
              <a:gd name="T12" fmla="*/ 2 w 505"/>
              <a:gd name="T13" fmla="*/ 45 h 467"/>
              <a:gd name="T14" fmla="*/ 12 w 505"/>
              <a:gd name="T15" fmla="*/ 64 h 467"/>
              <a:gd name="T16" fmla="*/ 93 w 505"/>
              <a:gd name="T17" fmla="*/ 140 h 467"/>
              <a:gd name="T18" fmla="*/ 100 w 505"/>
              <a:gd name="T19" fmla="*/ 186 h 467"/>
              <a:gd name="T20" fmla="*/ 119 w 505"/>
              <a:gd name="T21" fmla="*/ 227 h 467"/>
              <a:gd name="T22" fmla="*/ 147 w 505"/>
              <a:gd name="T23" fmla="*/ 259 h 467"/>
              <a:gd name="T24" fmla="*/ 185 w 505"/>
              <a:gd name="T25" fmla="*/ 284 h 467"/>
              <a:gd name="T26" fmla="*/ 229 w 505"/>
              <a:gd name="T27" fmla="*/ 298 h 467"/>
              <a:gd name="T28" fmla="*/ 168 w 505"/>
              <a:gd name="T29" fmla="*/ 448 h 467"/>
              <a:gd name="T30" fmla="*/ 337 w 505"/>
              <a:gd name="T31" fmla="*/ 448 h 467"/>
              <a:gd name="T32" fmla="*/ 262 w 505"/>
              <a:gd name="T33" fmla="*/ 299 h 467"/>
              <a:gd name="T34" fmla="*/ 307 w 505"/>
              <a:gd name="T35" fmla="*/ 289 h 467"/>
              <a:gd name="T36" fmla="*/ 345 w 505"/>
              <a:gd name="T37" fmla="*/ 269 h 467"/>
              <a:gd name="T38" fmla="*/ 378 w 505"/>
              <a:gd name="T39" fmla="*/ 238 h 467"/>
              <a:gd name="T40" fmla="*/ 400 w 505"/>
              <a:gd name="T41" fmla="*/ 199 h 467"/>
              <a:gd name="T42" fmla="*/ 412 w 505"/>
              <a:gd name="T43" fmla="*/ 155 h 467"/>
              <a:gd name="T44" fmla="*/ 494 w 505"/>
              <a:gd name="T45" fmla="*/ 64 h 467"/>
              <a:gd name="T46" fmla="*/ 501 w 505"/>
              <a:gd name="T47" fmla="*/ 52 h 467"/>
              <a:gd name="T48" fmla="*/ 505 w 505"/>
              <a:gd name="T49" fmla="*/ 37 h 467"/>
              <a:gd name="T50" fmla="*/ 498 w 505"/>
              <a:gd name="T51" fmla="*/ 17 h 467"/>
              <a:gd name="T52" fmla="*/ 483 w 505"/>
              <a:gd name="T53" fmla="*/ 3 h 467"/>
              <a:gd name="T54" fmla="*/ 467 w 505"/>
              <a:gd name="T55" fmla="*/ 0 h 467"/>
              <a:gd name="T56" fmla="*/ 24 w 505"/>
              <a:gd name="T57" fmla="*/ 50 h 467"/>
              <a:gd name="T58" fmla="*/ 19 w 505"/>
              <a:gd name="T59" fmla="*/ 37 h 467"/>
              <a:gd name="T60" fmla="*/ 30 w 505"/>
              <a:gd name="T61" fmla="*/ 20 h 467"/>
              <a:gd name="T62" fmla="*/ 39 w 505"/>
              <a:gd name="T63" fmla="*/ 18 h 467"/>
              <a:gd name="T64" fmla="*/ 93 w 505"/>
              <a:gd name="T65" fmla="*/ 18 h 467"/>
              <a:gd name="T66" fmla="*/ 393 w 505"/>
              <a:gd name="T67" fmla="*/ 140 h 467"/>
              <a:gd name="T68" fmla="*/ 386 w 505"/>
              <a:gd name="T69" fmla="*/ 183 h 467"/>
              <a:gd name="T70" fmla="*/ 369 w 505"/>
              <a:gd name="T71" fmla="*/ 218 h 467"/>
              <a:gd name="T72" fmla="*/ 342 w 505"/>
              <a:gd name="T73" fmla="*/ 249 h 467"/>
              <a:gd name="T74" fmla="*/ 307 w 505"/>
              <a:gd name="T75" fmla="*/ 269 h 467"/>
              <a:gd name="T76" fmla="*/ 268 w 505"/>
              <a:gd name="T77" fmla="*/ 279 h 467"/>
              <a:gd name="T78" fmla="*/ 239 w 505"/>
              <a:gd name="T79" fmla="*/ 279 h 467"/>
              <a:gd name="T80" fmla="*/ 198 w 505"/>
              <a:gd name="T81" fmla="*/ 269 h 467"/>
              <a:gd name="T82" fmla="*/ 164 w 505"/>
              <a:gd name="T83" fmla="*/ 249 h 467"/>
              <a:gd name="T84" fmla="*/ 135 w 505"/>
              <a:gd name="T85" fmla="*/ 218 h 467"/>
              <a:gd name="T86" fmla="*/ 119 w 505"/>
              <a:gd name="T87" fmla="*/ 183 h 467"/>
              <a:gd name="T88" fmla="*/ 112 w 505"/>
              <a:gd name="T89" fmla="*/ 140 h 467"/>
              <a:gd name="T90" fmla="*/ 393 w 505"/>
              <a:gd name="T91" fmla="*/ 140 h 467"/>
              <a:gd name="T92" fmla="*/ 412 w 505"/>
              <a:gd name="T93" fmla="*/ 18 h 467"/>
              <a:gd name="T94" fmla="*/ 467 w 505"/>
              <a:gd name="T95" fmla="*/ 18 h 467"/>
              <a:gd name="T96" fmla="*/ 469 w 505"/>
              <a:gd name="T97" fmla="*/ 18 h 467"/>
              <a:gd name="T98" fmla="*/ 484 w 505"/>
              <a:gd name="T99" fmla="*/ 30 h 467"/>
              <a:gd name="T100" fmla="*/ 484 w 505"/>
              <a:gd name="T101" fmla="*/ 4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5" h="467">
                <a:moveTo>
                  <a:pt x="467" y="0"/>
                </a:moveTo>
                <a:lnTo>
                  <a:pt x="467" y="0"/>
                </a:lnTo>
                <a:lnTo>
                  <a:pt x="466" y="0"/>
                </a:lnTo>
                <a:lnTo>
                  <a:pt x="412" y="0"/>
                </a:lnTo>
                <a:lnTo>
                  <a:pt x="412" y="0"/>
                </a:lnTo>
                <a:lnTo>
                  <a:pt x="93" y="0"/>
                </a:lnTo>
                <a:lnTo>
                  <a:pt x="93" y="0"/>
                </a:lnTo>
                <a:lnTo>
                  <a:pt x="39" y="0"/>
                </a:lnTo>
                <a:lnTo>
                  <a:pt x="39" y="0"/>
                </a:lnTo>
                <a:lnTo>
                  <a:pt x="37" y="0"/>
                </a:lnTo>
                <a:lnTo>
                  <a:pt x="37" y="0"/>
                </a:lnTo>
                <a:lnTo>
                  <a:pt x="30" y="1"/>
                </a:lnTo>
                <a:lnTo>
                  <a:pt x="24" y="3"/>
                </a:lnTo>
                <a:lnTo>
                  <a:pt x="17" y="6"/>
                </a:lnTo>
                <a:lnTo>
                  <a:pt x="12" y="12"/>
                </a:lnTo>
                <a:lnTo>
                  <a:pt x="7" y="17"/>
                </a:lnTo>
                <a:lnTo>
                  <a:pt x="3" y="23"/>
                </a:lnTo>
                <a:lnTo>
                  <a:pt x="2" y="30"/>
                </a:lnTo>
                <a:lnTo>
                  <a:pt x="0" y="37"/>
                </a:lnTo>
                <a:lnTo>
                  <a:pt x="0" y="37"/>
                </a:lnTo>
                <a:lnTo>
                  <a:pt x="2" y="45"/>
                </a:lnTo>
                <a:lnTo>
                  <a:pt x="3" y="52"/>
                </a:lnTo>
                <a:lnTo>
                  <a:pt x="7" y="59"/>
                </a:lnTo>
                <a:lnTo>
                  <a:pt x="12" y="64"/>
                </a:lnTo>
                <a:lnTo>
                  <a:pt x="93" y="147"/>
                </a:lnTo>
                <a:lnTo>
                  <a:pt x="93" y="140"/>
                </a:lnTo>
                <a:lnTo>
                  <a:pt x="93" y="140"/>
                </a:lnTo>
                <a:lnTo>
                  <a:pt x="95" y="155"/>
                </a:lnTo>
                <a:lnTo>
                  <a:pt x="97" y="171"/>
                </a:lnTo>
                <a:lnTo>
                  <a:pt x="100" y="186"/>
                </a:lnTo>
                <a:lnTo>
                  <a:pt x="105" y="199"/>
                </a:lnTo>
                <a:lnTo>
                  <a:pt x="112" y="213"/>
                </a:lnTo>
                <a:lnTo>
                  <a:pt x="119" y="227"/>
                </a:lnTo>
                <a:lnTo>
                  <a:pt x="127" y="238"/>
                </a:lnTo>
                <a:lnTo>
                  <a:pt x="137" y="249"/>
                </a:lnTo>
                <a:lnTo>
                  <a:pt x="147" y="259"/>
                </a:lnTo>
                <a:lnTo>
                  <a:pt x="159" y="269"/>
                </a:lnTo>
                <a:lnTo>
                  <a:pt x="171" y="277"/>
                </a:lnTo>
                <a:lnTo>
                  <a:pt x="185" y="284"/>
                </a:lnTo>
                <a:lnTo>
                  <a:pt x="198" y="289"/>
                </a:lnTo>
                <a:lnTo>
                  <a:pt x="213" y="294"/>
                </a:lnTo>
                <a:lnTo>
                  <a:pt x="229" y="298"/>
                </a:lnTo>
                <a:lnTo>
                  <a:pt x="244" y="299"/>
                </a:lnTo>
                <a:lnTo>
                  <a:pt x="244" y="448"/>
                </a:lnTo>
                <a:lnTo>
                  <a:pt x="168" y="448"/>
                </a:lnTo>
                <a:lnTo>
                  <a:pt x="168" y="467"/>
                </a:lnTo>
                <a:lnTo>
                  <a:pt x="337" y="467"/>
                </a:lnTo>
                <a:lnTo>
                  <a:pt x="337" y="448"/>
                </a:lnTo>
                <a:lnTo>
                  <a:pt x="262" y="448"/>
                </a:lnTo>
                <a:lnTo>
                  <a:pt x="262" y="299"/>
                </a:lnTo>
                <a:lnTo>
                  <a:pt x="262" y="299"/>
                </a:lnTo>
                <a:lnTo>
                  <a:pt x="278" y="298"/>
                </a:lnTo>
                <a:lnTo>
                  <a:pt x="293" y="294"/>
                </a:lnTo>
                <a:lnTo>
                  <a:pt x="307" y="289"/>
                </a:lnTo>
                <a:lnTo>
                  <a:pt x="320" y="284"/>
                </a:lnTo>
                <a:lnTo>
                  <a:pt x="334" y="277"/>
                </a:lnTo>
                <a:lnTo>
                  <a:pt x="345" y="269"/>
                </a:lnTo>
                <a:lnTo>
                  <a:pt x="357" y="259"/>
                </a:lnTo>
                <a:lnTo>
                  <a:pt x="367" y="249"/>
                </a:lnTo>
                <a:lnTo>
                  <a:pt x="378" y="238"/>
                </a:lnTo>
                <a:lnTo>
                  <a:pt x="386" y="227"/>
                </a:lnTo>
                <a:lnTo>
                  <a:pt x="393" y="213"/>
                </a:lnTo>
                <a:lnTo>
                  <a:pt x="400" y="199"/>
                </a:lnTo>
                <a:lnTo>
                  <a:pt x="405" y="186"/>
                </a:lnTo>
                <a:lnTo>
                  <a:pt x="408" y="171"/>
                </a:lnTo>
                <a:lnTo>
                  <a:pt x="412" y="155"/>
                </a:lnTo>
                <a:lnTo>
                  <a:pt x="412" y="140"/>
                </a:lnTo>
                <a:lnTo>
                  <a:pt x="412" y="147"/>
                </a:lnTo>
                <a:lnTo>
                  <a:pt x="494" y="64"/>
                </a:lnTo>
                <a:lnTo>
                  <a:pt x="494" y="64"/>
                </a:lnTo>
                <a:lnTo>
                  <a:pt x="498" y="59"/>
                </a:lnTo>
                <a:lnTo>
                  <a:pt x="501" y="52"/>
                </a:lnTo>
                <a:lnTo>
                  <a:pt x="505" y="45"/>
                </a:lnTo>
                <a:lnTo>
                  <a:pt x="505" y="37"/>
                </a:lnTo>
                <a:lnTo>
                  <a:pt x="505" y="37"/>
                </a:lnTo>
                <a:lnTo>
                  <a:pt x="505" y="30"/>
                </a:lnTo>
                <a:lnTo>
                  <a:pt x="503" y="23"/>
                </a:lnTo>
                <a:lnTo>
                  <a:pt x="498" y="17"/>
                </a:lnTo>
                <a:lnTo>
                  <a:pt x="494" y="12"/>
                </a:lnTo>
                <a:lnTo>
                  <a:pt x="489" y="6"/>
                </a:lnTo>
                <a:lnTo>
                  <a:pt x="483" y="3"/>
                </a:lnTo>
                <a:lnTo>
                  <a:pt x="476" y="1"/>
                </a:lnTo>
                <a:lnTo>
                  <a:pt x="467" y="0"/>
                </a:lnTo>
                <a:lnTo>
                  <a:pt x="467" y="0"/>
                </a:lnTo>
                <a:close/>
                <a:moveTo>
                  <a:pt x="93" y="120"/>
                </a:moveTo>
                <a:lnTo>
                  <a:pt x="24" y="50"/>
                </a:lnTo>
                <a:lnTo>
                  <a:pt x="24" y="50"/>
                </a:lnTo>
                <a:lnTo>
                  <a:pt x="20" y="44"/>
                </a:lnTo>
                <a:lnTo>
                  <a:pt x="19" y="37"/>
                </a:lnTo>
                <a:lnTo>
                  <a:pt x="19" y="37"/>
                </a:lnTo>
                <a:lnTo>
                  <a:pt x="20" y="30"/>
                </a:lnTo>
                <a:lnTo>
                  <a:pt x="24" y="25"/>
                </a:lnTo>
                <a:lnTo>
                  <a:pt x="30" y="20"/>
                </a:lnTo>
                <a:lnTo>
                  <a:pt x="37" y="18"/>
                </a:lnTo>
                <a:lnTo>
                  <a:pt x="37" y="18"/>
                </a:lnTo>
                <a:lnTo>
                  <a:pt x="39" y="18"/>
                </a:lnTo>
                <a:lnTo>
                  <a:pt x="39" y="18"/>
                </a:lnTo>
                <a:lnTo>
                  <a:pt x="39" y="18"/>
                </a:lnTo>
                <a:lnTo>
                  <a:pt x="93" y="18"/>
                </a:lnTo>
                <a:lnTo>
                  <a:pt x="93" y="120"/>
                </a:lnTo>
                <a:close/>
                <a:moveTo>
                  <a:pt x="393" y="140"/>
                </a:moveTo>
                <a:lnTo>
                  <a:pt x="393" y="140"/>
                </a:lnTo>
                <a:lnTo>
                  <a:pt x="393" y="154"/>
                </a:lnTo>
                <a:lnTo>
                  <a:pt x="389" y="169"/>
                </a:lnTo>
                <a:lnTo>
                  <a:pt x="386" y="183"/>
                </a:lnTo>
                <a:lnTo>
                  <a:pt x="381" y="194"/>
                </a:lnTo>
                <a:lnTo>
                  <a:pt x="376" y="206"/>
                </a:lnTo>
                <a:lnTo>
                  <a:pt x="369" y="218"/>
                </a:lnTo>
                <a:lnTo>
                  <a:pt x="361" y="230"/>
                </a:lnTo>
                <a:lnTo>
                  <a:pt x="352" y="238"/>
                </a:lnTo>
                <a:lnTo>
                  <a:pt x="342" y="249"/>
                </a:lnTo>
                <a:lnTo>
                  <a:pt x="330" y="257"/>
                </a:lnTo>
                <a:lnTo>
                  <a:pt x="320" y="264"/>
                </a:lnTo>
                <a:lnTo>
                  <a:pt x="307" y="269"/>
                </a:lnTo>
                <a:lnTo>
                  <a:pt x="295" y="274"/>
                </a:lnTo>
                <a:lnTo>
                  <a:pt x="281" y="277"/>
                </a:lnTo>
                <a:lnTo>
                  <a:pt x="268" y="279"/>
                </a:lnTo>
                <a:lnTo>
                  <a:pt x="252" y="281"/>
                </a:lnTo>
                <a:lnTo>
                  <a:pt x="252" y="281"/>
                </a:lnTo>
                <a:lnTo>
                  <a:pt x="239" y="279"/>
                </a:lnTo>
                <a:lnTo>
                  <a:pt x="224" y="277"/>
                </a:lnTo>
                <a:lnTo>
                  <a:pt x="212" y="274"/>
                </a:lnTo>
                <a:lnTo>
                  <a:pt x="198" y="269"/>
                </a:lnTo>
                <a:lnTo>
                  <a:pt x="186" y="264"/>
                </a:lnTo>
                <a:lnTo>
                  <a:pt x="174" y="257"/>
                </a:lnTo>
                <a:lnTo>
                  <a:pt x="164" y="249"/>
                </a:lnTo>
                <a:lnTo>
                  <a:pt x="154" y="238"/>
                </a:lnTo>
                <a:lnTo>
                  <a:pt x="144" y="230"/>
                </a:lnTo>
                <a:lnTo>
                  <a:pt x="135" y="218"/>
                </a:lnTo>
                <a:lnTo>
                  <a:pt x="129" y="206"/>
                </a:lnTo>
                <a:lnTo>
                  <a:pt x="124" y="194"/>
                </a:lnTo>
                <a:lnTo>
                  <a:pt x="119" y="183"/>
                </a:lnTo>
                <a:lnTo>
                  <a:pt x="115" y="169"/>
                </a:lnTo>
                <a:lnTo>
                  <a:pt x="113" y="154"/>
                </a:lnTo>
                <a:lnTo>
                  <a:pt x="112" y="140"/>
                </a:lnTo>
                <a:lnTo>
                  <a:pt x="112" y="18"/>
                </a:lnTo>
                <a:lnTo>
                  <a:pt x="393" y="18"/>
                </a:lnTo>
                <a:lnTo>
                  <a:pt x="393" y="140"/>
                </a:lnTo>
                <a:close/>
                <a:moveTo>
                  <a:pt x="481" y="50"/>
                </a:moveTo>
                <a:lnTo>
                  <a:pt x="412" y="120"/>
                </a:lnTo>
                <a:lnTo>
                  <a:pt x="412" y="18"/>
                </a:lnTo>
                <a:lnTo>
                  <a:pt x="466" y="18"/>
                </a:lnTo>
                <a:lnTo>
                  <a:pt x="466" y="18"/>
                </a:lnTo>
                <a:lnTo>
                  <a:pt x="467" y="18"/>
                </a:lnTo>
                <a:lnTo>
                  <a:pt x="467" y="18"/>
                </a:lnTo>
                <a:lnTo>
                  <a:pt x="469" y="18"/>
                </a:lnTo>
                <a:lnTo>
                  <a:pt x="469" y="18"/>
                </a:lnTo>
                <a:lnTo>
                  <a:pt x="476" y="20"/>
                </a:lnTo>
                <a:lnTo>
                  <a:pt x="481" y="25"/>
                </a:lnTo>
                <a:lnTo>
                  <a:pt x="484" y="30"/>
                </a:lnTo>
                <a:lnTo>
                  <a:pt x="486" y="37"/>
                </a:lnTo>
                <a:lnTo>
                  <a:pt x="486" y="37"/>
                </a:lnTo>
                <a:lnTo>
                  <a:pt x="484" y="44"/>
                </a:lnTo>
                <a:lnTo>
                  <a:pt x="481" y="50"/>
                </a:lnTo>
                <a:lnTo>
                  <a:pt x="481" y="5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35" name="Group 25">
            <a:extLst>
              <a:ext uri="{FF2B5EF4-FFF2-40B4-BE49-F238E27FC236}">
                <a16:creationId xmlns:a16="http://schemas.microsoft.com/office/drawing/2014/main" id="{E7EA5409-8142-4B53-ABF1-580BD7BA7338}"/>
              </a:ext>
            </a:extLst>
          </p:cNvPr>
          <p:cNvGrpSpPr>
            <a:grpSpLocks noChangeAspect="1"/>
          </p:cNvGrpSpPr>
          <p:nvPr/>
        </p:nvGrpSpPr>
        <p:grpSpPr>
          <a:xfrm>
            <a:off x="4906521" y="4879041"/>
            <a:ext cx="288136" cy="285619"/>
            <a:chOff x="3368675" y="1055688"/>
            <a:chExt cx="1090613" cy="1081088"/>
          </a:xfrm>
          <a:solidFill>
            <a:schemeClr val="bg2"/>
          </a:solidFill>
          <a:effectLst/>
        </p:grpSpPr>
        <p:sp>
          <p:nvSpPr>
            <p:cNvPr id="936" name="Freeform 6">
              <a:extLst>
                <a:ext uri="{FF2B5EF4-FFF2-40B4-BE49-F238E27FC236}">
                  <a16:creationId xmlns:a16="http://schemas.microsoft.com/office/drawing/2014/main" id="{FD523134-2071-4F62-9E9F-3A04033F025C}"/>
                </a:ext>
              </a:extLst>
            </p:cNvPr>
            <p:cNvSpPr>
              <a:spLocks noEditPoints="1"/>
            </p:cNvSpPr>
            <p:nvPr/>
          </p:nvSpPr>
          <p:spPr bwMode="auto">
            <a:xfrm>
              <a:off x="3368675" y="1055688"/>
              <a:ext cx="1090613" cy="1081088"/>
            </a:xfrm>
            <a:custGeom>
              <a:avLst/>
              <a:gdLst>
                <a:gd name="T0" fmla="*/ 936 w 936"/>
                <a:gd name="T1" fmla="*/ 24 h 928"/>
                <a:gd name="T2" fmla="*/ 912 w 936"/>
                <a:gd name="T3" fmla="*/ 0 h 928"/>
                <a:gd name="T4" fmla="*/ 24 w 936"/>
                <a:gd name="T5" fmla="*/ 0 h 928"/>
                <a:gd name="T6" fmla="*/ 0 w 936"/>
                <a:gd name="T7" fmla="*/ 24 h 928"/>
                <a:gd name="T8" fmla="*/ 0 w 936"/>
                <a:gd name="T9" fmla="*/ 904 h 928"/>
                <a:gd name="T10" fmla="*/ 24 w 936"/>
                <a:gd name="T11" fmla="*/ 928 h 928"/>
                <a:gd name="T12" fmla="*/ 912 w 936"/>
                <a:gd name="T13" fmla="*/ 928 h 928"/>
                <a:gd name="T14" fmla="*/ 936 w 936"/>
                <a:gd name="T15" fmla="*/ 904 h 928"/>
                <a:gd name="T16" fmla="*/ 936 w 936"/>
                <a:gd name="T17" fmla="*/ 24 h 928"/>
                <a:gd name="T18" fmla="*/ 888 w 936"/>
                <a:gd name="T19" fmla="*/ 48 h 928"/>
                <a:gd name="T20" fmla="*/ 888 w 936"/>
                <a:gd name="T21" fmla="*/ 340 h 928"/>
                <a:gd name="T22" fmla="*/ 48 w 936"/>
                <a:gd name="T23" fmla="*/ 340 h 928"/>
                <a:gd name="T24" fmla="*/ 48 w 936"/>
                <a:gd name="T25" fmla="*/ 48 h 928"/>
                <a:gd name="T26" fmla="*/ 888 w 936"/>
                <a:gd name="T27" fmla="*/ 48 h 928"/>
                <a:gd name="T28" fmla="*/ 48 w 936"/>
                <a:gd name="T29" fmla="*/ 880 h 928"/>
                <a:gd name="T30" fmla="*/ 48 w 936"/>
                <a:gd name="T31" fmla="*/ 388 h 928"/>
                <a:gd name="T32" fmla="*/ 888 w 936"/>
                <a:gd name="T33" fmla="*/ 388 h 928"/>
                <a:gd name="T34" fmla="*/ 888 w 936"/>
                <a:gd name="T35" fmla="*/ 880 h 928"/>
                <a:gd name="T36" fmla="*/ 48 w 936"/>
                <a:gd name="T37" fmla="*/ 88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6" h="928">
                  <a:moveTo>
                    <a:pt x="936" y="24"/>
                  </a:moveTo>
                  <a:cubicBezTo>
                    <a:pt x="936" y="11"/>
                    <a:pt x="925" y="0"/>
                    <a:pt x="912" y="0"/>
                  </a:cubicBezTo>
                  <a:cubicBezTo>
                    <a:pt x="24" y="0"/>
                    <a:pt x="24" y="0"/>
                    <a:pt x="24" y="0"/>
                  </a:cubicBezTo>
                  <a:cubicBezTo>
                    <a:pt x="11" y="0"/>
                    <a:pt x="0" y="11"/>
                    <a:pt x="0" y="24"/>
                  </a:cubicBezTo>
                  <a:cubicBezTo>
                    <a:pt x="0" y="904"/>
                    <a:pt x="0" y="904"/>
                    <a:pt x="0" y="904"/>
                  </a:cubicBezTo>
                  <a:cubicBezTo>
                    <a:pt x="0" y="917"/>
                    <a:pt x="11" y="928"/>
                    <a:pt x="24" y="928"/>
                  </a:cubicBezTo>
                  <a:cubicBezTo>
                    <a:pt x="912" y="928"/>
                    <a:pt x="912" y="928"/>
                    <a:pt x="912" y="928"/>
                  </a:cubicBezTo>
                  <a:cubicBezTo>
                    <a:pt x="925" y="928"/>
                    <a:pt x="936" y="917"/>
                    <a:pt x="936" y="904"/>
                  </a:cubicBezTo>
                  <a:lnTo>
                    <a:pt x="936" y="24"/>
                  </a:lnTo>
                  <a:close/>
                  <a:moveTo>
                    <a:pt x="888" y="48"/>
                  </a:moveTo>
                  <a:cubicBezTo>
                    <a:pt x="888" y="340"/>
                    <a:pt x="888" y="340"/>
                    <a:pt x="888" y="340"/>
                  </a:cubicBezTo>
                  <a:cubicBezTo>
                    <a:pt x="48" y="340"/>
                    <a:pt x="48" y="340"/>
                    <a:pt x="48" y="340"/>
                  </a:cubicBezTo>
                  <a:cubicBezTo>
                    <a:pt x="48" y="48"/>
                    <a:pt x="48" y="48"/>
                    <a:pt x="48" y="48"/>
                  </a:cubicBezTo>
                  <a:lnTo>
                    <a:pt x="888" y="48"/>
                  </a:lnTo>
                  <a:close/>
                  <a:moveTo>
                    <a:pt x="48" y="880"/>
                  </a:moveTo>
                  <a:cubicBezTo>
                    <a:pt x="48" y="388"/>
                    <a:pt x="48" y="388"/>
                    <a:pt x="48" y="388"/>
                  </a:cubicBezTo>
                  <a:cubicBezTo>
                    <a:pt x="888" y="388"/>
                    <a:pt x="888" y="388"/>
                    <a:pt x="888" y="388"/>
                  </a:cubicBezTo>
                  <a:cubicBezTo>
                    <a:pt x="888" y="880"/>
                    <a:pt x="888" y="880"/>
                    <a:pt x="888" y="880"/>
                  </a:cubicBezTo>
                  <a:lnTo>
                    <a:pt x="48"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17">
              <a:extLst>
                <a:ext uri="{FF2B5EF4-FFF2-40B4-BE49-F238E27FC236}">
                  <a16:creationId xmlns:a16="http://schemas.microsoft.com/office/drawing/2014/main" id="{B2317A57-FBA4-4ED7-9F53-79AFD02EE3ED}"/>
                </a:ext>
              </a:extLst>
            </p:cNvPr>
            <p:cNvSpPr>
              <a:spLocks/>
            </p:cNvSpPr>
            <p:nvPr/>
          </p:nvSpPr>
          <p:spPr bwMode="auto">
            <a:xfrm>
              <a:off x="3495675" y="1192213"/>
              <a:ext cx="130175" cy="171450"/>
            </a:xfrm>
            <a:custGeom>
              <a:avLst/>
              <a:gdLst>
                <a:gd name="T0" fmla="*/ 0 w 82"/>
                <a:gd name="T1" fmla="*/ 0 h 108"/>
                <a:gd name="T2" fmla="*/ 82 w 82"/>
                <a:gd name="T3" fmla="*/ 0 h 108"/>
                <a:gd name="T4" fmla="*/ 82 w 82"/>
                <a:gd name="T5" fmla="*/ 23 h 108"/>
                <a:gd name="T6" fmla="*/ 34 w 82"/>
                <a:gd name="T7" fmla="*/ 23 h 108"/>
                <a:gd name="T8" fmla="*/ 34 w 82"/>
                <a:gd name="T9" fmla="*/ 42 h 108"/>
                <a:gd name="T10" fmla="*/ 76 w 82"/>
                <a:gd name="T11" fmla="*/ 42 h 108"/>
                <a:gd name="T12" fmla="*/ 76 w 82"/>
                <a:gd name="T13" fmla="*/ 64 h 108"/>
                <a:gd name="T14" fmla="*/ 34 w 82"/>
                <a:gd name="T15" fmla="*/ 64 h 108"/>
                <a:gd name="T16" fmla="*/ 34 w 82"/>
                <a:gd name="T17" fmla="*/ 108 h 108"/>
                <a:gd name="T18" fmla="*/ 0 w 82"/>
                <a:gd name="T19" fmla="*/ 108 h 108"/>
                <a:gd name="T20" fmla="*/ 0 w 82"/>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08">
                  <a:moveTo>
                    <a:pt x="0" y="0"/>
                  </a:moveTo>
                  <a:lnTo>
                    <a:pt x="82" y="0"/>
                  </a:lnTo>
                  <a:lnTo>
                    <a:pt x="82" y="23"/>
                  </a:lnTo>
                  <a:lnTo>
                    <a:pt x="34" y="23"/>
                  </a:lnTo>
                  <a:lnTo>
                    <a:pt x="34" y="42"/>
                  </a:lnTo>
                  <a:lnTo>
                    <a:pt x="76" y="42"/>
                  </a:lnTo>
                  <a:lnTo>
                    <a:pt x="76" y="64"/>
                  </a:lnTo>
                  <a:lnTo>
                    <a:pt x="34" y="64"/>
                  </a:lnTo>
                  <a:lnTo>
                    <a:pt x="34" y="108"/>
                  </a:lnTo>
                  <a:lnTo>
                    <a:pt x="0" y="10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8">
              <a:extLst>
                <a:ext uri="{FF2B5EF4-FFF2-40B4-BE49-F238E27FC236}">
                  <a16:creationId xmlns:a16="http://schemas.microsoft.com/office/drawing/2014/main" id="{6AAA4A6C-BE0F-405C-B0C6-2F4051844E21}"/>
                </a:ext>
              </a:extLst>
            </p:cNvPr>
            <p:cNvSpPr>
              <a:spLocks noEditPoints="1"/>
            </p:cNvSpPr>
            <p:nvPr/>
          </p:nvSpPr>
          <p:spPr bwMode="auto">
            <a:xfrm>
              <a:off x="3656013" y="1192213"/>
              <a:ext cx="169863" cy="171450"/>
            </a:xfrm>
            <a:custGeom>
              <a:avLst/>
              <a:gdLst>
                <a:gd name="T0" fmla="*/ 0 w 145"/>
                <a:gd name="T1" fmla="*/ 148 h 148"/>
                <a:gd name="T2" fmla="*/ 0 w 145"/>
                <a:gd name="T3" fmla="*/ 0 h 148"/>
                <a:gd name="T4" fmla="*/ 76 w 145"/>
                <a:gd name="T5" fmla="*/ 0 h 148"/>
                <a:gd name="T6" fmla="*/ 108 w 145"/>
                <a:gd name="T7" fmla="*/ 4 h 148"/>
                <a:gd name="T8" fmla="*/ 126 w 145"/>
                <a:gd name="T9" fmla="*/ 17 h 148"/>
                <a:gd name="T10" fmla="*/ 133 w 145"/>
                <a:gd name="T11" fmla="*/ 41 h 148"/>
                <a:gd name="T12" fmla="*/ 127 w 145"/>
                <a:gd name="T13" fmla="*/ 62 h 148"/>
                <a:gd name="T14" fmla="*/ 113 w 145"/>
                <a:gd name="T15" fmla="*/ 77 h 148"/>
                <a:gd name="T16" fmla="*/ 97 w 145"/>
                <a:gd name="T17" fmla="*/ 82 h 148"/>
                <a:gd name="T18" fmla="*/ 109 w 145"/>
                <a:gd name="T19" fmla="*/ 88 h 148"/>
                <a:gd name="T20" fmla="*/ 116 w 145"/>
                <a:gd name="T21" fmla="*/ 96 h 148"/>
                <a:gd name="T22" fmla="*/ 123 w 145"/>
                <a:gd name="T23" fmla="*/ 105 h 148"/>
                <a:gd name="T24" fmla="*/ 145 w 145"/>
                <a:gd name="T25" fmla="*/ 148 h 148"/>
                <a:gd name="T26" fmla="*/ 93 w 145"/>
                <a:gd name="T27" fmla="*/ 148 h 148"/>
                <a:gd name="T28" fmla="*/ 69 w 145"/>
                <a:gd name="T29" fmla="*/ 102 h 148"/>
                <a:gd name="T30" fmla="*/ 61 w 145"/>
                <a:gd name="T31" fmla="*/ 91 h 148"/>
                <a:gd name="T32" fmla="*/ 49 w 145"/>
                <a:gd name="T33" fmla="*/ 88 h 148"/>
                <a:gd name="T34" fmla="*/ 45 w 145"/>
                <a:gd name="T35" fmla="*/ 88 h 148"/>
                <a:gd name="T36" fmla="*/ 45 w 145"/>
                <a:gd name="T37" fmla="*/ 148 h 148"/>
                <a:gd name="T38" fmla="*/ 0 w 145"/>
                <a:gd name="T39" fmla="*/ 148 h 148"/>
                <a:gd name="T40" fmla="*/ 45 w 145"/>
                <a:gd name="T41" fmla="*/ 60 h 148"/>
                <a:gd name="T42" fmla="*/ 65 w 145"/>
                <a:gd name="T43" fmla="*/ 60 h 148"/>
                <a:gd name="T44" fmla="*/ 77 w 145"/>
                <a:gd name="T45" fmla="*/ 58 h 148"/>
                <a:gd name="T46" fmla="*/ 84 w 145"/>
                <a:gd name="T47" fmla="*/ 53 h 148"/>
                <a:gd name="T48" fmla="*/ 87 w 145"/>
                <a:gd name="T49" fmla="*/ 45 h 148"/>
                <a:gd name="T50" fmla="*/ 82 w 145"/>
                <a:gd name="T51" fmla="*/ 34 h 148"/>
                <a:gd name="T52" fmla="*/ 65 w 145"/>
                <a:gd name="T53" fmla="*/ 30 h 148"/>
                <a:gd name="T54" fmla="*/ 45 w 145"/>
                <a:gd name="T55" fmla="*/ 30 h 148"/>
                <a:gd name="T56" fmla="*/ 45 w 145"/>
                <a:gd name="T57"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5" h="148">
                  <a:moveTo>
                    <a:pt x="0" y="148"/>
                  </a:moveTo>
                  <a:cubicBezTo>
                    <a:pt x="0" y="0"/>
                    <a:pt x="0" y="0"/>
                    <a:pt x="0" y="0"/>
                  </a:cubicBezTo>
                  <a:cubicBezTo>
                    <a:pt x="76" y="0"/>
                    <a:pt x="76" y="0"/>
                    <a:pt x="76" y="0"/>
                  </a:cubicBezTo>
                  <a:cubicBezTo>
                    <a:pt x="90" y="0"/>
                    <a:pt x="100" y="1"/>
                    <a:pt x="108" y="4"/>
                  </a:cubicBezTo>
                  <a:cubicBezTo>
                    <a:pt x="115" y="6"/>
                    <a:pt x="121" y="11"/>
                    <a:pt x="126" y="17"/>
                  </a:cubicBezTo>
                  <a:cubicBezTo>
                    <a:pt x="130" y="24"/>
                    <a:pt x="133" y="32"/>
                    <a:pt x="133" y="41"/>
                  </a:cubicBezTo>
                  <a:cubicBezTo>
                    <a:pt x="133" y="49"/>
                    <a:pt x="131" y="56"/>
                    <a:pt x="127" y="62"/>
                  </a:cubicBezTo>
                  <a:cubicBezTo>
                    <a:pt x="124" y="68"/>
                    <a:pt x="119" y="73"/>
                    <a:pt x="113" y="77"/>
                  </a:cubicBezTo>
                  <a:cubicBezTo>
                    <a:pt x="109" y="79"/>
                    <a:pt x="104" y="81"/>
                    <a:pt x="97" y="82"/>
                  </a:cubicBezTo>
                  <a:cubicBezTo>
                    <a:pt x="102" y="84"/>
                    <a:pt x="106" y="86"/>
                    <a:pt x="109" y="88"/>
                  </a:cubicBezTo>
                  <a:cubicBezTo>
                    <a:pt x="111" y="89"/>
                    <a:pt x="113" y="92"/>
                    <a:pt x="116" y="96"/>
                  </a:cubicBezTo>
                  <a:cubicBezTo>
                    <a:pt x="119" y="100"/>
                    <a:pt x="122" y="103"/>
                    <a:pt x="123" y="105"/>
                  </a:cubicBezTo>
                  <a:cubicBezTo>
                    <a:pt x="145" y="148"/>
                    <a:pt x="145" y="148"/>
                    <a:pt x="145" y="148"/>
                  </a:cubicBezTo>
                  <a:cubicBezTo>
                    <a:pt x="93" y="148"/>
                    <a:pt x="93" y="148"/>
                    <a:pt x="93" y="148"/>
                  </a:cubicBezTo>
                  <a:cubicBezTo>
                    <a:pt x="69" y="102"/>
                    <a:pt x="69" y="102"/>
                    <a:pt x="69" y="102"/>
                  </a:cubicBezTo>
                  <a:cubicBezTo>
                    <a:pt x="66" y="97"/>
                    <a:pt x="63" y="93"/>
                    <a:pt x="61" y="91"/>
                  </a:cubicBezTo>
                  <a:cubicBezTo>
                    <a:pt x="57" y="89"/>
                    <a:pt x="54" y="88"/>
                    <a:pt x="49" y="88"/>
                  </a:cubicBezTo>
                  <a:cubicBezTo>
                    <a:pt x="45" y="88"/>
                    <a:pt x="45" y="88"/>
                    <a:pt x="45" y="88"/>
                  </a:cubicBezTo>
                  <a:cubicBezTo>
                    <a:pt x="45" y="148"/>
                    <a:pt x="45" y="148"/>
                    <a:pt x="45" y="148"/>
                  </a:cubicBezTo>
                  <a:lnTo>
                    <a:pt x="0" y="148"/>
                  </a:lnTo>
                  <a:close/>
                  <a:moveTo>
                    <a:pt x="45" y="60"/>
                  </a:moveTo>
                  <a:cubicBezTo>
                    <a:pt x="65" y="60"/>
                    <a:pt x="65" y="60"/>
                    <a:pt x="65" y="60"/>
                  </a:cubicBezTo>
                  <a:cubicBezTo>
                    <a:pt x="67" y="60"/>
                    <a:pt x="71" y="59"/>
                    <a:pt x="77" y="58"/>
                  </a:cubicBezTo>
                  <a:cubicBezTo>
                    <a:pt x="80" y="57"/>
                    <a:pt x="82" y="56"/>
                    <a:pt x="84" y="53"/>
                  </a:cubicBezTo>
                  <a:cubicBezTo>
                    <a:pt x="86" y="51"/>
                    <a:pt x="87" y="48"/>
                    <a:pt x="87" y="45"/>
                  </a:cubicBezTo>
                  <a:cubicBezTo>
                    <a:pt x="87" y="40"/>
                    <a:pt x="85" y="36"/>
                    <a:pt x="82" y="34"/>
                  </a:cubicBezTo>
                  <a:cubicBezTo>
                    <a:pt x="79" y="31"/>
                    <a:pt x="74" y="30"/>
                    <a:pt x="65" y="30"/>
                  </a:cubicBezTo>
                  <a:cubicBezTo>
                    <a:pt x="45" y="30"/>
                    <a:pt x="45" y="30"/>
                    <a:pt x="45" y="30"/>
                  </a:cubicBezTo>
                  <a:lnTo>
                    <a:pt x="4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Rectangle 19">
              <a:extLst>
                <a:ext uri="{FF2B5EF4-FFF2-40B4-BE49-F238E27FC236}">
                  <a16:creationId xmlns:a16="http://schemas.microsoft.com/office/drawing/2014/main" id="{6BF96677-EC8E-472A-8FD4-4D2A4814D7C9}"/>
                </a:ext>
              </a:extLst>
            </p:cNvPr>
            <p:cNvSpPr>
              <a:spLocks noChangeArrowheads="1"/>
            </p:cNvSpPr>
            <p:nvPr/>
          </p:nvSpPr>
          <p:spPr bwMode="auto">
            <a:xfrm>
              <a:off x="3843338" y="1192213"/>
              <a:ext cx="53975" cy="171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20">
              <a:extLst>
                <a:ext uri="{FF2B5EF4-FFF2-40B4-BE49-F238E27FC236}">
                  <a16:creationId xmlns:a16="http://schemas.microsoft.com/office/drawing/2014/main" id="{2B875027-4EEA-479A-948D-D51BD54D4B31}"/>
                </a:ext>
              </a:extLst>
            </p:cNvPr>
            <p:cNvSpPr>
              <a:spLocks/>
            </p:cNvSpPr>
            <p:nvPr/>
          </p:nvSpPr>
          <p:spPr bwMode="auto">
            <a:xfrm>
              <a:off x="3624263" y="1630363"/>
              <a:ext cx="271463" cy="328613"/>
            </a:xfrm>
            <a:custGeom>
              <a:avLst/>
              <a:gdLst>
                <a:gd name="T0" fmla="*/ 232 w 232"/>
                <a:gd name="T1" fmla="*/ 283 h 283"/>
                <a:gd name="T2" fmla="*/ 0 w 232"/>
                <a:gd name="T3" fmla="*/ 283 h 283"/>
                <a:gd name="T4" fmla="*/ 24 w 232"/>
                <a:gd name="T5" fmla="*/ 218 h 283"/>
                <a:gd name="T6" fmla="*/ 100 w 232"/>
                <a:gd name="T7" fmla="*/ 147 h 283"/>
                <a:gd name="T8" fmla="*/ 144 w 232"/>
                <a:gd name="T9" fmla="*/ 109 h 283"/>
                <a:gd name="T10" fmla="*/ 153 w 232"/>
                <a:gd name="T11" fmla="*/ 84 h 283"/>
                <a:gd name="T12" fmla="*/ 144 w 232"/>
                <a:gd name="T13" fmla="*/ 62 h 283"/>
                <a:gd name="T14" fmla="*/ 120 w 232"/>
                <a:gd name="T15" fmla="*/ 53 h 283"/>
                <a:gd name="T16" fmla="*/ 96 w 232"/>
                <a:gd name="T17" fmla="*/ 62 h 283"/>
                <a:gd name="T18" fmla="*/ 83 w 232"/>
                <a:gd name="T19" fmla="*/ 95 h 283"/>
                <a:gd name="T20" fmla="*/ 6 w 232"/>
                <a:gd name="T21" fmla="*/ 89 h 283"/>
                <a:gd name="T22" fmla="*/ 22 w 232"/>
                <a:gd name="T23" fmla="*/ 38 h 283"/>
                <a:gd name="T24" fmla="*/ 57 w 232"/>
                <a:gd name="T25" fmla="*/ 10 h 283"/>
                <a:gd name="T26" fmla="*/ 118 w 232"/>
                <a:gd name="T27" fmla="*/ 0 h 283"/>
                <a:gd name="T28" fmla="*/ 181 w 232"/>
                <a:gd name="T29" fmla="*/ 9 h 283"/>
                <a:gd name="T30" fmla="*/ 217 w 232"/>
                <a:gd name="T31" fmla="*/ 38 h 283"/>
                <a:gd name="T32" fmla="*/ 230 w 232"/>
                <a:gd name="T33" fmla="*/ 81 h 283"/>
                <a:gd name="T34" fmla="*/ 215 w 232"/>
                <a:gd name="T35" fmla="*/ 130 h 283"/>
                <a:gd name="T36" fmla="*/ 161 w 232"/>
                <a:gd name="T37" fmla="*/ 181 h 283"/>
                <a:gd name="T38" fmla="*/ 130 w 232"/>
                <a:gd name="T39" fmla="*/ 203 h 283"/>
                <a:gd name="T40" fmla="*/ 111 w 232"/>
                <a:gd name="T41" fmla="*/ 220 h 283"/>
                <a:gd name="T42" fmla="*/ 232 w 232"/>
                <a:gd name="T43" fmla="*/ 220 h 283"/>
                <a:gd name="T44" fmla="*/ 232 w 232"/>
                <a:gd name="T45"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283">
                  <a:moveTo>
                    <a:pt x="232" y="283"/>
                  </a:moveTo>
                  <a:cubicBezTo>
                    <a:pt x="0" y="283"/>
                    <a:pt x="0" y="283"/>
                    <a:pt x="0" y="283"/>
                  </a:cubicBezTo>
                  <a:cubicBezTo>
                    <a:pt x="3" y="260"/>
                    <a:pt x="11" y="239"/>
                    <a:pt x="24" y="218"/>
                  </a:cubicBezTo>
                  <a:cubicBezTo>
                    <a:pt x="38" y="198"/>
                    <a:pt x="63" y="174"/>
                    <a:pt x="100" y="147"/>
                  </a:cubicBezTo>
                  <a:cubicBezTo>
                    <a:pt x="123" y="130"/>
                    <a:pt x="137" y="117"/>
                    <a:pt x="144" y="109"/>
                  </a:cubicBezTo>
                  <a:cubicBezTo>
                    <a:pt x="150" y="100"/>
                    <a:pt x="153" y="92"/>
                    <a:pt x="153" y="84"/>
                  </a:cubicBezTo>
                  <a:cubicBezTo>
                    <a:pt x="153" y="75"/>
                    <a:pt x="150" y="68"/>
                    <a:pt x="144" y="62"/>
                  </a:cubicBezTo>
                  <a:cubicBezTo>
                    <a:pt x="137" y="56"/>
                    <a:pt x="130" y="53"/>
                    <a:pt x="120" y="53"/>
                  </a:cubicBezTo>
                  <a:cubicBezTo>
                    <a:pt x="110" y="53"/>
                    <a:pt x="102" y="56"/>
                    <a:pt x="96" y="62"/>
                  </a:cubicBezTo>
                  <a:cubicBezTo>
                    <a:pt x="90" y="68"/>
                    <a:pt x="85" y="79"/>
                    <a:pt x="83" y="95"/>
                  </a:cubicBezTo>
                  <a:cubicBezTo>
                    <a:pt x="6" y="89"/>
                    <a:pt x="6" y="89"/>
                    <a:pt x="6" y="89"/>
                  </a:cubicBezTo>
                  <a:cubicBezTo>
                    <a:pt x="9" y="67"/>
                    <a:pt x="14" y="50"/>
                    <a:pt x="22" y="38"/>
                  </a:cubicBezTo>
                  <a:cubicBezTo>
                    <a:pt x="31" y="26"/>
                    <a:pt x="42" y="16"/>
                    <a:pt x="57" y="10"/>
                  </a:cubicBezTo>
                  <a:cubicBezTo>
                    <a:pt x="71" y="3"/>
                    <a:pt x="92" y="0"/>
                    <a:pt x="118" y="0"/>
                  </a:cubicBezTo>
                  <a:cubicBezTo>
                    <a:pt x="145" y="0"/>
                    <a:pt x="166" y="3"/>
                    <a:pt x="181" y="9"/>
                  </a:cubicBezTo>
                  <a:cubicBezTo>
                    <a:pt x="197" y="15"/>
                    <a:pt x="209" y="25"/>
                    <a:pt x="217" y="38"/>
                  </a:cubicBezTo>
                  <a:cubicBezTo>
                    <a:pt x="226" y="51"/>
                    <a:pt x="230" y="65"/>
                    <a:pt x="230" y="81"/>
                  </a:cubicBezTo>
                  <a:cubicBezTo>
                    <a:pt x="230" y="98"/>
                    <a:pt x="225" y="114"/>
                    <a:pt x="215" y="130"/>
                  </a:cubicBezTo>
                  <a:cubicBezTo>
                    <a:pt x="205" y="145"/>
                    <a:pt x="187" y="162"/>
                    <a:pt x="161" y="181"/>
                  </a:cubicBezTo>
                  <a:cubicBezTo>
                    <a:pt x="145" y="191"/>
                    <a:pt x="135" y="199"/>
                    <a:pt x="130" y="203"/>
                  </a:cubicBezTo>
                  <a:cubicBezTo>
                    <a:pt x="125" y="207"/>
                    <a:pt x="118" y="213"/>
                    <a:pt x="111" y="220"/>
                  </a:cubicBezTo>
                  <a:cubicBezTo>
                    <a:pt x="232" y="220"/>
                    <a:pt x="232" y="220"/>
                    <a:pt x="232" y="220"/>
                  </a:cubicBezTo>
                  <a:lnTo>
                    <a:pt x="232"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21">
              <a:extLst>
                <a:ext uri="{FF2B5EF4-FFF2-40B4-BE49-F238E27FC236}">
                  <a16:creationId xmlns:a16="http://schemas.microsoft.com/office/drawing/2014/main" id="{0FD1B418-514B-407A-A467-439069E682E5}"/>
                </a:ext>
              </a:extLst>
            </p:cNvPr>
            <p:cNvSpPr>
              <a:spLocks/>
            </p:cNvSpPr>
            <p:nvPr/>
          </p:nvSpPr>
          <p:spPr bwMode="auto">
            <a:xfrm>
              <a:off x="3935413" y="1635125"/>
              <a:ext cx="263525" cy="323850"/>
            </a:xfrm>
            <a:custGeom>
              <a:avLst/>
              <a:gdLst>
                <a:gd name="T0" fmla="*/ 0 w 226"/>
                <a:gd name="T1" fmla="*/ 0 h 278"/>
                <a:gd name="T2" fmla="*/ 226 w 226"/>
                <a:gd name="T3" fmla="*/ 0 h 278"/>
                <a:gd name="T4" fmla="*/ 226 w 226"/>
                <a:gd name="T5" fmla="*/ 52 h 278"/>
                <a:gd name="T6" fmla="*/ 177 w 226"/>
                <a:gd name="T7" fmla="*/ 109 h 278"/>
                <a:gd name="T8" fmla="*/ 139 w 226"/>
                <a:gd name="T9" fmla="*/ 193 h 278"/>
                <a:gd name="T10" fmla="*/ 124 w 226"/>
                <a:gd name="T11" fmla="*/ 278 h 278"/>
                <a:gd name="T12" fmla="*/ 47 w 226"/>
                <a:gd name="T13" fmla="*/ 278 h 278"/>
                <a:gd name="T14" fmla="*/ 76 w 226"/>
                <a:gd name="T15" fmla="*/ 164 h 278"/>
                <a:gd name="T16" fmla="*/ 138 w 226"/>
                <a:gd name="T17" fmla="*/ 65 h 278"/>
                <a:gd name="T18" fmla="*/ 0 w 226"/>
                <a:gd name="T19" fmla="*/ 65 h 278"/>
                <a:gd name="T20" fmla="*/ 0 w 226"/>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278">
                  <a:moveTo>
                    <a:pt x="0" y="0"/>
                  </a:moveTo>
                  <a:cubicBezTo>
                    <a:pt x="226" y="0"/>
                    <a:pt x="226" y="0"/>
                    <a:pt x="226" y="0"/>
                  </a:cubicBezTo>
                  <a:cubicBezTo>
                    <a:pt x="226" y="52"/>
                    <a:pt x="226" y="52"/>
                    <a:pt x="226" y="52"/>
                  </a:cubicBezTo>
                  <a:cubicBezTo>
                    <a:pt x="207" y="70"/>
                    <a:pt x="190" y="89"/>
                    <a:pt x="177" y="109"/>
                  </a:cubicBezTo>
                  <a:cubicBezTo>
                    <a:pt x="161" y="135"/>
                    <a:pt x="149" y="162"/>
                    <a:pt x="139" y="193"/>
                  </a:cubicBezTo>
                  <a:cubicBezTo>
                    <a:pt x="132" y="217"/>
                    <a:pt x="127" y="245"/>
                    <a:pt x="124" y="278"/>
                  </a:cubicBezTo>
                  <a:cubicBezTo>
                    <a:pt x="47" y="278"/>
                    <a:pt x="47" y="278"/>
                    <a:pt x="47" y="278"/>
                  </a:cubicBezTo>
                  <a:cubicBezTo>
                    <a:pt x="53" y="233"/>
                    <a:pt x="63" y="195"/>
                    <a:pt x="76" y="164"/>
                  </a:cubicBezTo>
                  <a:cubicBezTo>
                    <a:pt x="89" y="133"/>
                    <a:pt x="110" y="100"/>
                    <a:pt x="138" y="65"/>
                  </a:cubicBezTo>
                  <a:cubicBezTo>
                    <a:pt x="0" y="65"/>
                    <a:pt x="0" y="65"/>
                    <a:pt x="0" y="65"/>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9" name="Group 60">
            <a:extLst>
              <a:ext uri="{FF2B5EF4-FFF2-40B4-BE49-F238E27FC236}">
                <a16:creationId xmlns:a16="http://schemas.microsoft.com/office/drawing/2014/main" id="{06039E3D-A615-489B-9486-73E4D9FBBFAD}"/>
              </a:ext>
            </a:extLst>
          </p:cNvPr>
          <p:cNvGrpSpPr>
            <a:grpSpLocks noChangeAspect="1"/>
          </p:cNvGrpSpPr>
          <p:nvPr/>
        </p:nvGrpSpPr>
        <p:grpSpPr>
          <a:xfrm>
            <a:off x="4907779" y="3801969"/>
            <a:ext cx="285619" cy="285619"/>
            <a:chOff x="1258888" y="2181225"/>
            <a:chExt cx="371476" cy="371476"/>
          </a:xfrm>
          <a:solidFill>
            <a:schemeClr val="bg2"/>
          </a:solidFill>
        </p:grpSpPr>
        <p:sp>
          <p:nvSpPr>
            <p:cNvPr id="980" name="Freeform 70">
              <a:extLst>
                <a:ext uri="{FF2B5EF4-FFF2-40B4-BE49-F238E27FC236}">
                  <a16:creationId xmlns:a16="http://schemas.microsoft.com/office/drawing/2014/main" id="{60DD6ED5-BDA2-4980-869D-F1B44801B300}"/>
                </a:ext>
              </a:extLst>
            </p:cNvPr>
            <p:cNvSpPr>
              <a:spLocks noEditPoints="1"/>
            </p:cNvSpPr>
            <p:nvPr/>
          </p:nvSpPr>
          <p:spPr bwMode="auto">
            <a:xfrm>
              <a:off x="1460501" y="2181225"/>
              <a:ext cx="169863" cy="169863"/>
            </a:xfrm>
            <a:custGeom>
              <a:avLst/>
              <a:gdLst>
                <a:gd name="T0" fmla="*/ 42 w 44"/>
                <a:gd name="T1" fmla="*/ 44 h 44"/>
                <a:gd name="T2" fmla="*/ 2 w 44"/>
                <a:gd name="T3" fmla="*/ 44 h 44"/>
                <a:gd name="T4" fmla="*/ 0 w 44"/>
                <a:gd name="T5" fmla="*/ 42 h 44"/>
                <a:gd name="T6" fmla="*/ 0 w 44"/>
                <a:gd name="T7" fmla="*/ 2 h 44"/>
                <a:gd name="T8" fmla="*/ 2 w 44"/>
                <a:gd name="T9" fmla="*/ 0 h 44"/>
                <a:gd name="T10" fmla="*/ 44 w 44"/>
                <a:gd name="T11" fmla="*/ 42 h 44"/>
                <a:gd name="T12" fmla="*/ 42 w 44"/>
                <a:gd name="T13" fmla="*/ 44 h 44"/>
                <a:gd name="T14" fmla="*/ 4 w 44"/>
                <a:gd name="T15" fmla="*/ 40 h 44"/>
                <a:gd name="T16" fmla="*/ 40 w 44"/>
                <a:gd name="T17" fmla="*/ 40 h 44"/>
                <a:gd name="T18" fmla="*/ 4 w 44"/>
                <a:gd name="T19" fmla="*/ 4 h 44"/>
                <a:gd name="T20" fmla="*/ 4 w 44"/>
                <a:gd name="T2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42" y="44"/>
                  </a:moveTo>
                  <a:cubicBezTo>
                    <a:pt x="2" y="44"/>
                    <a:pt x="2" y="44"/>
                    <a:pt x="2" y="44"/>
                  </a:cubicBezTo>
                  <a:cubicBezTo>
                    <a:pt x="1" y="44"/>
                    <a:pt x="0" y="43"/>
                    <a:pt x="0" y="42"/>
                  </a:cubicBezTo>
                  <a:cubicBezTo>
                    <a:pt x="0" y="2"/>
                    <a:pt x="0" y="2"/>
                    <a:pt x="0" y="2"/>
                  </a:cubicBezTo>
                  <a:cubicBezTo>
                    <a:pt x="0" y="1"/>
                    <a:pt x="1" y="0"/>
                    <a:pt x="2" y="0"/>
                  </a:cubicBezTo>
                  <a:cubicBezTo>
                    <a:pt x="25" y="0"/>
                    <a:pt x="44" y="19"/>
                    <a:pt x="44" y="42"/>
                  </a:cubicBezTo>
                  <a:cubicBezTo>
                    <a:pt x="44" y="43"/>
                    <a:pt x="43" y="44"/>
                    <a:pt x="42" y="44"/>
                  </a:cubicBezTo>
                  <a:close/>
                  <a:moveTo>
                    <a:pt x="4" y="40"/>
                  </a:moveTo>
                  <a:cubicBezTo>
                    <a:pt x="40" y="40"/>
                    <a:pt x="40" y="40"/>
                    <a:pt x="40" y="40"/>
                  </a:cubicBezTo>
                  <a:cubicBezTo>
                    <a:pt x="39" y="21"/>
                    <a:pt x="23" y="5"/>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1" name="Freeform 71">
              <a:extLst>
                <a:ext uri="{FF2B5EF4-FFF2-40B4-BE49-F238E27FC236}">
                  <a16:creationId xmlns:a16="http://schemas.microsoft.com/office/drawing/2014/main" id="{15DA65AC-3AF9-41DD-8D38-FF274B3BC4DC}"/>
                </a:ext>
              </a:extLst>
            </p:cNvPr>
            <p:cNvSpPr>
              <a:spLocks noEditPoints="1"/>
            </p:cNvSpPr>
            <p:nvPr/>
          </p:nvSpPr>
          <p:spPr bwMode="auto">
            <a:xfrm>
              <a:off x="1460501" y="2366963"/>
              <a:ext cx="169863" cy="123825"/>
            </a:xfrm>
            <a:custGeom>
              <a:avLst/>
              <a:gdLst>
                <a:gd name="T0" fmla="*/ 30 w 44"/>
                <a:gd name="T1" fmla="*/ 32 h 32"/>
                <a:gd name="T2" fmla="*/ 29 w 44"/>
                <a:gd name="T3" fmla="*/ 32 h 32"/>
                <a:gd name="T4" fmla="*/ 1 w 44"/>
                <a:gd name="T5" fmla="*/ 3 h 32"/>
                <a:gd name="T6" fmla="*/ 0 w 44"/>
                <a:gd name="T7" fmla="*/ 1 h 32"/>
                <a:gd name="T8" fmla="*/ 2 w 44"/>
                <a:gd name="T9" fmla="*/ 0 h 32"/>
                <a:gd name="T10" fmla="*/ 42 w 44"/>
                <a:gd name="T11" fmla="*/ 0 h 32"/>
                <a:gd name="T12" fmla="*/ 44 w 44"/>
                <a:gd name="T13" fmla="*/ 2 h 32"/>
                <a:gd name="T14" fmla="*/ 32 w 44"/>
                <a:gd name="T15" fmla="*/ 32 h 32"/>
                <a:gd name="T16" fmla="*/ 30 w 44"/>
                <a:gd name="T17" fmla="*/ 32 h 32"/>
                <a:gd name="T18" fmla="*/ 7 w 44"/>
                <a:gd name="T19" fmla="*/ 4 h 32"/>
                <a:gd name="T20" fmla="*/ 30 w 44"/>
                <a:gd name="T21" fmla="*/ 27 h 32"/>
                <a:gd name="T22" fmla="*/ 40 w 44"/>
                <a:gd name="T23" fmla="*/ 4 h 32"/>
                <a:gd name="T24" fmla="*/ 7 w 44"/>
                <a:gd name="T2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2">
                  <a:moveTo>
                    <a:pt x="30" y="32"/>
                  </a:moveTo>
                  <a:cubicBezTo>
                    <a:pt x="30" y="32"/>
                    <a:pt x="29" y="32"/>
                    <a:pt x="29" y="32"/>
                  </a:cubicBezTo>
                  <a:cubicBezTo>
                    <a:pt x="1" y="3"/>
                    <a:pt x="1" y="3"/>
                    <a:pt x="1" y="3"/>
                  </a:cubicBezTo>
                  <a:cubicBezTo>
                    <a:pt x="0" y="3"/>
                    <a:pt x="0" y="2"/>
                    <a:pt x="0" y="1"/>
                  </a:cubicBezTo>
                  <a:cubicBezTo>
                    <a:pt x="0" y="0"/>
                    <a:pt x="1" y="0"/>
                    <a:pt x="2" y="0"/>
                  </a:cubicBezTo>
                  <a:cubicBezTo>
                    <a:pt x="42" y="0"/>
                    <a:pt x="42" y="0"/>
                    <a:pt x="42" y="0"/>
                  </a:cubicBezTo>
                  <a:cubicBezTo>
                    <a:pt x="43" y="0"/>
                    <a:pt x="44" y="1"/>
                    <a:pt x="44" y="2"/>
                  </a:cubicBezTo>
                  <a:cubicBezTo>
                    <a:pt x="44" y="13"/>
                    <a:pt x="40" y="24"/>
                    <a:pt x="32" y="32"/>
                  </a:cubicBezTo>
                  <a:cubicBezTo>
                    <a:pt x="31" y="32"/>
                    <a:pt x="31" y="32"/>
                    <a:pt x="30" y="32"/>
                  </a:cubicBezTo>
                  <a:close/>
                  <a:moveTo>
                    <a:pt x="7" y="4"/>
                  </a:moveTo>
                  <a:cubicBezTo>
                    <a:pt x="30" y="27"/>
                    <a:pt x="30" y="27"/>
                    <a:pt x="30" y="27"/>
                  </a:cubicBezTo>
                  <a:cubicBezTo>
                    <a:pt x="36" y="21"/>
                    <a:pt x="39" y="13"/>
                    <a:pt x="40"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2" name="Freeform 72">
              <a:extLst>
                <a:ext uri="{FF2B5EF4-FFF2-40B4-BE49-F238E27FC236}">
                  <a16:creationId xmlns:a16="http://schemas.microsoft.com/office/drawing/2014/main" id="{99FE3E53-8B3E-4640-8769-ED5835EEE271}"/>
                </a:ext>
              </a:extLst>
            </p:cNvPr>
            <p:cNvSpPr>
              <a:spLocks noEditPoints="1"/>
            </p:cNvSpPr>
            <p:nvPr/>
          </p:nvSpPr>
          <p:spPr bwMode="auto">
            <a:xfrm>
              <a:off x="1258888" y="2227263"/>
              <a:ext cx="279400" cy="325438"/>
            </a:xfrm>
            <a:custGeom>
              <a:avLst/>
              <a:gdLst>
                <a:gd name="T0" fmla="*/ 42 w 72"/>
                <a:gd name="T1" fmla="*/ 84 h 84"/>
                <a:gd name="T2" fmla="*/ 42 w 72"/>
                <a:gd name="T3" fmla="*/ 84 h 84"/>
                <a:gd name="T4" fmla="*/ 0 w 72"/>
                <a:gd name="T5" fmla="*/ 42 h 84"/>
                <a:gd name="T6" fmla="*/ 42 w 72"/>
                <a:gd name="T7" fmla="*/ 0 h 84"/>
                <a:gd name="T8" fmla="*/ 44 w 72"/>
                <a:gd name="T9" fmla="*/ 2 h 84"/>
                <a:gd name="T10" fmla="*/ 44 w 72"/>
                <a:gd name="T11" fmla="*/ 41 h 84"/>
                <a:gd name="T12" fmla="*/ 72 w 72"/>
                <a:gd name="T13" fmla="*/ 69 h 84"/>
                <a:gd name="T14" fmla="*/ 72 w 72"/>
                <a:gd name="T15" fmla="*/ 72 h 84"/>
                <a:gd name="T16" fmla="*/ 42 w 72"/>
                <a:gd name="T17" fmla="*/ 84 h 84"/>
                <a:gd name="T18" fmla="*/ 40 w 72"/>
                <a:gd name="T19" fmla="*/ 4 h 84"/>
                <a:gd name="T20" fmla="*/ 4 w 72"/>
                <a:gd name="T21" fmla="*/ 42 h 84"/>
                <a:gd name="T22" fmla="*/ 42 w 72"/>
                <a:gd name="T23" fmla="*/ 80 h 84"/>
                <a:gd name="T24" fmla="*/ 67 w 72"/>
                <a:gd name="T25" fmla="*/ 70 h 84"/>
                <a:gd name="T26" fmla="*/ 41 w 72"/>
                <a:gd name="T27" fmla="*/ 43 h 84"/>
                <a:gd name="T28" fmla="*/ 40 w 72"/>
                <a:gd name="T29" fmla="*/ 42 h 84"/>
                <a:gd name="T30" fmla="*/ 40 w 72"/>
                <a:gd name="T31"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4">
                  <a:moveTo>
                    <a:pt x="42" y="84"/>
                  </a:moveTo>
                  <a:cubicBezTo>
                    <a:pt x="42" y="84"/>
                    <a:pt x="42" y="84"/>
                    <a:pt x="42" y="84"/>
                  </a:cubicBezTo>
                  <a:cubicBezTo>
                    <a:pt x="22" y="84"/>
                    <a:pt x="0" y="68"/>
                    <a:pt x="0" y="42"/>
                  </a:cubicBezTo>
                  <a:cubicBezTo>
                    <a:pt x="0" y="19"/>
                    <a:pt x="19" y="0"/>
                    <a:pt x="42" y="0"/>
                  </a:cubicBezTo>
                  <a:cubicBezTo>
                    <a:pt x="43" y="0"/>
                    <a:pt x="44" y="1"/>
                    <a:pt x="44" y="2"/>
                  </a:cubicBezTo>
                  <a:cubicBezTo>
                    <a:pt x="44" y="41"/>
                    <a:pt x="44" y="41"/>
                    <a:pt x="44" y="41"/>
                  </a:cubicBezTo>
                  <a:cubicBezTo>
                    <a:pt x="72" y="69"/>
                    <a:pt x="72" y="69"/>
                    <a:pt x="72" y="69"/>
                  </a:cubicBezTo>
                  <a:cubicBezTo>
                    <a:pt x="72" y="70"/>
                    <a:pt x="72" y="71"/>
                    <a:pt x="72" y="72"/>
                  </a:cubicBezTo>
                  <a:cubicBezTo>
                    <a:pt x="64" y="80"/>
                    <a:pt x="53" y="84"/>
                    <a:pt x="42" y="84"/>
                  </a:cubicBezTo>
                  <a:close/>
                  <a:moveTo>
                    <a:pt x="40" y="4"/>
                  </a:moveTo>
                  <a:cubicBezTo>
                    <a:pt x="20" y="5"/>
                    <a:pt x="4" y="22"/>
                    <a:pt x="4" y="42"/>
                  </a:cubicBezTo>
                  <a:cubicBezTo>
                    <a:pt x="4" y="66"/>
                    <a:pt x="23" y="80"/>
                    <a:pt x="42" y="80"/>
                  </a:cubicBezTo>
                  <a:cubicBezTo>
                    <a:pt x="52" y="80"/>
                    <a:pt x="60" y="77"/>
                    <a:pt x="67" y="70"/>
                  </a:cubicBezTo>
                  <a:cubicBezTo>
                    <a:pt x="41" y="43"/>
                    <a:pt x="41" y="43"/>
                    <a:pt x="41" y="43"/>
                  </a:cubicBezTo>
                  <a:cubicBezTo>
                    <a:pt x="40" y="43"/>
                    <a:pt x="40" y="43"/>
                    <a:pt x="40" y="42"/>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63" name="Group 22">
            <a:extLst>
              <a:ext uri="{FF2B5EF4-FFF2-40B4-BE49-F238E27FC236}">
                <a16:creationId xmlns:a16="http://schemas.microsoft.com/office/drawing/2014/main" id="{A25C038F-AB5B-4F02-A985-5FE5277F02A7}"/>
              </a:ext>
            </a:extLst>
          </p:cNvPr>
          <p:cNvGrpSpPr>
            <a:grpSpLocks noChangeAspect="1"/>
          </p:cNvGrpSpPr>
          <p:nvPr/>
        </p:nvGrpSpPr>
        <p:grpSpPr>
          <a:xfrm>
            <a:off x="4907779" y="5956111"/>
            <a:ext cx="285619" cy="285619"/>
            <a:chOff x="2366611" y="5419470"/>
            <a:chExt cx="503328" cy="503328"/>
          </a:xfrm>
          <a:solidFill>
            <a:schemeClr val="bg2"/>
          </a:solidFill>
          <a:effectLst/>
        </p:grpSpPr>
        <p:sp>
          <p:nvSpPr>
            <p:cNvPr id="1207" name="Freeform 9">
              <a:extLst>
                <a:ext uri="{FF2B5EF4-FFF2-40B4-BE49-F238E27FC236}">
                  <a16:creationId xmlns:a16="http://schemas.microsoft.com/office/drawing/2014/main" id="{DEC88E72-5564-458C-977B-06752A8DF9D5}"/>
                </a:ext>
              </a:extLst>
            </p:cNvPr>
            <p:cNvSpPr>
              <a:spLocks noEditPoints="1"/>
            </p:cNvSpPr>
            <p:nvPr/>
          </p:nvSpPr>
          <p:spPr bwMode="auto">
            <a:xfrm>
              <a:off x="2366611" y="5419470"/>
              <a:ext cx="503328" cy="503328"/>
            </a:xfrm>
            <a:custGeom>
              <a:avLst/>
              <a:gdLst>
                <a:gd name="T0" fmla="*/ 668 w 1641"/>
                <a:gd name="T1" fmla="*/ 76 h 1641"/>
                <a:gd name="T2" fmla="*/ 491 w 1641"/>
                <a:gd name="T3" fmla="*/ 135 h 1641"/>
                <a:gd name="T4" fmla="*/ 337 w 1641"/>
                <a:gd name="T5" fmla="*/ 235 h 1641"/>
                <a:gd name="T6" fmla="*/ 212 w 1641"/>
                <a:gd name="T7" fmla="*/ 366 h 1641"/>
                <a:gd name="T8" fmla="*/ 121 w 1641"/>
                <a:gd name="T9" fmla="*/ 525 h 1641"/>
                <a:gd name="T10" fmla="*/ 69 w 1641"/>
                <a:gd name="T11" fmla="*/ 705 h 1641"/>
                <a:gd name="T12" fmla="*/ 65 w 1641"/>
                <a:gd name="T13" fmla="*/ 898 h 1641"/>
                <a:gd name="T14" fmla="*/ 106 w 1641"/>
                <a:gd name="T15" fmla="*/ 1081 h 1641"/>
                <a:gd name="T16" fmla="*/ 190 w 1641"/>
                <a:gd name="T17" fmla="*/ 1245 h 1641"/>
                <a:gd name="T18" fmla="*/ 309 w 1641"/>
                <a:gd name="T19" fmla="*/ 1383 h 1641"/>
                <a:gd name="T20" fmla="*/ 458 w 1641"/>
                <a:gd name="T21" fmla="*/ 1488 h 1641"/>
                <a:gd name="T22" fmla="*/ 631 w 1641"/>
                <a:gd name="T23" fmla="*/ 1556 h 1641"/>
                <a:gd name="T24" fmla="*/ 821 w 1641"/>
                <a:gd name="T25" fmla="*/ 1581 h 1641"/>
                <a:gd name="T26" fmla="*/ 1009 w 1641"/>
                <a:gd name="T27" fmla="*/ 1556 h 1641"/>
                <a:gd name="T28" fmla="*/ 1182 w 1641"/>
                <a:gd name="T29" fmla="*/ 1488 h 1641"/>
                <a:gd name="T30" fmla="*/ 1330 w 1641"/>
                <a:gd name="T31" fmla="*/ 1383 h 1641"/>
                <a:gd name="T32" fmla="*/ 1450 w 1641"/>
                <a:gd name="T33" fmla="*/ 1245 h 1641"/>
                <a:gd name="T34" fmla="*/ 1533 w 1641"/>
                <a:gd name="T35" fmla="*/ 1081 h 1641"/>
                <a:gd name="T36" fmla="*/ 1577 w 1641"/>
                <a:gd name="T37" fmla="*/ 898 h 1641"/>
                <a:gd name="T38" fmla="*/ 1571 w 1641"/>
                <a:gd name="T39" fmla="*/ 705 h 1641"/>
                <a:gd name="T40" fmla="*/ 1521 w 1641"/>
                <a:gd name="T41" fmla="*/ 525 h 1641"/>
                <a:gd name="T42" fmla="*/ 1428 w 1641"/>
                <a:gd name="T43" fmla="*/ 366 h 1641"/>
                <a:gd name="T44" fmla="*/ 1303 w 1641"/>
                <a:gd name="T45" fmla="*/ 235 h 1641"/>
                <a:gd name="T46" fmla="*/ 1149 w 1641"/>
                <a:gd name="T47" fmla="*/ 135 h 1641"/>
                <a:gd name="T48" fmla="*/ 973 w 1641"/>
                <a:gd name="T49" fmla="*/ 76 h 1641"/>
                <a:gd name="T50" fmla="*/ 821 w 1641"/>
                <a:gd name="T51" fmla="*/ 1641 h 1641"/>
                <a:gd name="T52" fmla="*/ 616 w 1641"/>
                <a:gd name="T53" fmla="*/ 1615 h 1641"/>
                <a:gd name="T54" fmla="*/ 429 w 1641"/>
                <a:gd name="T55" fmla="*/ 1542 h 1641"/>
                <a:gd name="T56" fmla="*/ 269 w 1641"/>
                <a:gd name="T57" fmla="*/ 1428 h 1641"/>
                <a:gd name="T58" fmla="*/ 140 w 1641"/>
                <a:gd name="T59" fmla="*/ 1278 h 1641"/>
                <a:gd name="T60" fmla="*/ 49 w 1641"/>
                <a:gd name="T61" fmla="*/ 1103 h 1641"/>
                <a:gd name="T62" fmla="*/ 4 w 1641"/>
                <a:gd name="T63" fmla="*/ 904 h 1641"/>
                <a:gd name="T64" fmla="*/ 9 w 1641"/>
                <a:gd name="T65" fmla="*/ 695 h 1641"/>
                <a:gd name="T66" fmla="*/ 65 w 1641"/>
                <a:gd name="T67" fmla="*/ 501 h 1641"/>
                <a:gd name="T68" fmla="*/ 163 w 1641"/>
                <a:gd name="T69" fmla="*/ 330 h 1641"/>
                <a:gd name="T70" fmla="*/ 298 w 1641"/>
                <a:gd name="T71" fmla="*/ 187 h 1641"/>
                <a:gd name="T72" fmla="*/ 465 w 1641"/>
                <a:gd name="T73" fmla="*/ 81 h 1641"/>
                <a:gd name="T74" fmla="*/ 655 w 1641"/>
                <a:gd name="T75" fmla="*/ 17 h 1641"/>
                <a:gd name="T76" fmla="*/ 862 w 1641"/>
                <a:gd name="T77" fmla="*/ 1 h 1641"/>
                <a:gd name="T78" fmla="*/ 1064 w 1641"/>
                <a:gd name="T79" fmla="*/ 37 h 1641"/>
                <a:gd name="T80" fmla="*/ 1245 w 1641"/>
                <a:gd name="T81" fmla="*/ 119 h 1641"/>
                <a:gd name="T82" fmla="*/ 1401 w 1641"/>
                <a:gd name="T83" fmla="*/ 240 h 1641"/>
                <a:gd name="T84" fmla="*/ 1522 w 1641"/>
                <a:gd name="T85" fmla="*/ 396 h 1641"/>
                <a:gd name="T86" fmla="*/ 1604 w 1641"/>
                <a:gd name="T87" fmla="*/ 577 h 1641"/>
                <a:gd name="T88" fmla="*/ 1640 w 1641"/>
                <a:gd name="T89" fmla="*/ 779 h 1641"/>
                <a:gd name="T90" fmla="*/ 1624 w 1641"/>
                <a:gd name="T91" fmla="*/ 986 h 1641"/>
                <a:gd name="T92" fmla="*/ 1559 w 1641"/>
                <a:gd name="T93" fmla="*/ 1176 h 1641"/>
                <a:gd name="T94" fmla="*/ 1453 w 1641"/>
                <a:gd name="T95" fmla="*/ 1342 h 1641"/>
                <a:gd name="T96" fmla="*/ 1312 w 1641"/>
                <a:gd name="T97" fmla="*/ 1478 h 1641"/>
                <a:gd name="T98" fmla="*/ 1139 w 1641"/>
                <a:gd name="T99" fmla="*/ 1576 h 1641"/>
                <a:gd name="T100" fmla="*/ 945 w 1641"/>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1" h="1641">
                  <a:moveTo>
                    <a:pt x="821" y="60"/>
                  </a:moveTo>
                  <a:lnTo>
                    <a:pt x="782" y="62"/>
                  </a:lnTo>
                  <a:lnTo>
                    <a:pt x="743" y="65"/>
                  </a:lnTo>
                  <a:lnTo>
                    <a:pt x="705" y="69"/>
                  </a:lnTo>
                  <a:lnTo>
                    <a:pt x="668" y="76"/>
                  </a:lnTo>
                  <a:lnTo>
                    <a:pt x="631" y="85"/>
                  </a:lnTo>
                  <a:lnTo>
                    <a:pt x="595" y="95"/>
                  </a:lnTo>
                  <a:lnTo>
                    <a:pt x="560" y="107"/>
                  </a:lnTo>
                  <a:lnTo>
                    <a:pt x="525" y="121"/>
                  </a:lnTo>
                  <a:lnTo>
                    <a:pt x="491" y="135"/>
                  </a:lnTo>
                  <a:lnTo>
                    <a:pt x="458" y="153"/>
                  </a:lnTo>
                  <a:lnTo>
                    <a:pt x="426" y="171"/>
                  </a:lnTo>
                  <a:lnTo>
                    <a:pt x="396" y="190"/>
                  </a:lnTo>
                  <a:lnTo>
                    <a:pt x="366" y="212"/>
                  </a:lnTo>
                  <a:lnTo>
                    <a:pt x="337" y="235"/>
                  </a:lnTo>
                  <a:lnTo>
                    <a:pt x="309" y="258"/>
                  </a:lnTo>
                  <a:lnTo>
                    <a:pt x="284" y="284"/>
                  </a:lnTo>
                  <a:lnTo>
                    <a:pt x="258" y="309"/>
                  </a:lnTo>
                  <a:lnTo>
                    <a:pt x="235" y="337"/>
                  </a:lnTo>
                  <a:lnTo>
                    <a:pt x="212" y="366"/>
                  </a:lnTo>
                  <a:lnTo>
                    <a:pt x="190" y="396"/>
                  </a:lnTo>
                  <a:lnTo>
                    <a:pt x="171" y="428"/>
                  </a:lnTo>
                  <a:lnTo>
                    <a:pt x="153" y="459"/>
                  </a:lnTo>
                  <a:lnTo>
                    <a:pt x="135" y="491"/>
                  </a:lnTo>
                  <a:lnTo>
                    <a:pt x="121" y="525"/>
                  </a:lnTo>
                  <a:lnTo>
                    <a:pt x="106" y="560"/>
                  </a:lnTo>
                  <a:lnTo>
                    <a:pt x="95" y="595"/>
                  </a:lnTo>
                  <a:lnTo>
                    <a:pt x="85" y="630"/>
                  </a:lnTo>
                  <a:lnTo>
                    <a:pt x="76" y="668"/>
                  </a:lnTo>
                  <a:lnTo>
                    <a:pt x="69" y="705"/>
                  </a:lnTo>
                  <a:lnTo>
                    <a:pt x="65" y="743"/>
                  </a:lnTo>
                  <a:lnTo>
                    <a:pt x="62" y="782"/>
                  </a:lnTo>
                  <a:lnTo>
                    <a:pt x="60" y="821"/>
                  </a:lnTo>
                  <a:lnTo>
                    <a:pt x="62" y="859"/>
                  </a:lnTo>
                  <a:lnTo>
                    <a:pt x="65" y="898"/>
                  </a:lnTo>
                  <a:lnTo>
                    <a:pt x="69" y="936"/>
                  </a:lnTo>
                  <a:lnTo>
                    <a:pt x="76" y="973"/>
                  </a:lnTo>
                  <a:lnTo>
                    <a:pt x="85" y="1011"/>
                  </a:lnTo>
                  <a:lnTo>
                    <a:pt x="95" y="1046"/>
                  </a:lnTo>
                  <a:lnTo>
                    <a:pt x="106" y="1081"/>
                  </a:lnTo>
                  <a:lnTo>
                    <a:pt x="121" y="1116"/>
                  </a:lnTo>
                  <a:lnTo>
                    <a:pt x="135" y="1150"/>
                  </a:lnTo>
                  <a:lnTo>
                    <a:pt x="153" y="1182"/>
                  </a:lnTo>
                  <a:lnTo>
                    <a:pt x="171" y="1213"/>
                  </a:lnTo>
                  <a:lnTo>
                    <a:pt x="190" y="1245"/>
                  </a:lnTo>
                  <a:lnTo>
                    <a:pt x="212" y="1275"/>
                  </a:lnTo>
                  <a:lnTo>
                    <a:pt x="235" y="1304"/>
                  </a:lnTo>
                  <a:lnTo>
                    <a:pt x="258" y="1332"/>
                  </a:lnTo>
                  <a:lnTo>
                    <a:pt x="284" y="1357"/>
                  </a:lnTo>
                  <a:lnTo>
                    <a:pt x="309" y="1383"/>
                  </a:lnTo>
                  <a:lnTo>
                    <a:pt x="337" y="1406"/>
                  </a:lnTo>
                  <a:lnTo>
                    <a:pt x="366" y="1429"/>
                  </a:lnTo>
                  <a:lnTo>
                    <a:pt x="396" y="1451"/>
                  </a:lnTo>
                  <a:lnTo>
                    <a:pt x="426" y="1470"/>
                  </a:lnTo>
                  <a:lnTo>
                    <a:pt x="458" y="1488"/>
                  </a:lnTo>
                  <a:lnTo>
                    <a:pt x="491" y="1506"/>
                  </a:lnTo>
                  <a:lnTo>
                    <a:pt x="525" y="1520"/>
                  </a:lnTo>
                  <a:lnTo>
                    <a:pt x="560" y="1534"/>
                  </a:lnTo>
                  <a:lnTo>
                    <a:pt x="595" y="1546"/>
                  </a:lnTo>
                  <a:lnTo>
                    <a:pt x="631" y="1556"/>
                  </a:lnTo>
                  <a:lnTo>
                    <a:pt x="668" y="1565"/>
                  </a:lnTo>
                  <a:lnTo>
                    <a:pt x="705" y="1572"/>
                  </a:lnTo>
                  <a:lnTo>
                    <a:pt x="743" y="1576"/>
                  </a:lnTo>
                  <a:lnTo>
                    <a:pt x="782" y="1579"/>
                  </a:lnTo>
                  <a:lnTo>
                    <a:pt x="821" y="1581"/>
                  </a:lnTo>
                  <a:lnTo>
                    <a:pt x="860" y="1579"/>
                  </a:lnTo>
                  <a:lnTo>
                    <a:pt x="898" y="1576"/>
                  </a:lnTo>
                  <a:lnTo>
                    <a:pt x="936" y="1572"/>
                  </a:lnTo>
                  <a:lnTo>
                    <a:pt x="973" y="1565"/>
                  </a:lnTo>
                  <a:lnTo>
                    <a:pt x="1009" y="1556"/>
                  </a:lnTo>
                  <a:lnTo>
                    <a:pt x="1047" y="1546"/>
                  </a:lnTo>
                  <a:lnTo>
                    <a:pt x="1081" y="1534"/>
                  </a:lnTo>
                  <a:lnTo>
                    <a:pt x="1116" y="1520"/>
                  </a:lnTo>
                  <a:lnTo>
                    <a:pt x="1149" y="1506"/>
                  </a:lnTo>
                  <a:lnTo>
                    <a:pt x="1182" y="1488"/>
                  </a:lnTo>
                  <a:lnTo>
                    <a:pt x="1214" y="1470"/>
                  </a:lnTo>
                  <a:lnTo>
                    <a:pt x="1245" y="1451"/>
                  </a:lnTo>
                  <a:lnTo>
                    <a:pt x="1274" y="1429"/>
                  </a:lnTo>
                  <a:lnTo>
                    <a:pt x="1303" y="1406"/>
                  </a:lnTo>
                  <a:lnTo>
                    <a:pt x="1330" y="1383"/>
                  </a:lnTo>
                  <a:lnTo>
                    <a:pt x="1358" y="1357"/>
                  </a:lnTo>
                  <a:lnTo>
                    <a:pt x="1382" y="1332"/>
                  </a:lnTo>
                  <a:lnTo>
                    <a:pt x="1407" y="1304"/>
                  </a:lnTo>
                  <a:lnTo>
                    <a:pt x="1428" y="1275"/>
                  </a:lnTo>
                  <a:lnTo>
                    <a:pt x="1450" y="1245"/>
                  </a:lnTo>
                  <a:lnTo>
                    <a:pt x="1470" y="1213"/>
                  </a:lnTo>
                  <a:lnTo>
                    <a:pt x="1489" y="1182"/>
                  </a:lnTo>
                  <a:lnTo>
                    <a:pt x="1505" y="1150"/>
                  </a:lnTo>
                  <a:lnTo>
                    <a:pt x="1521" y="1116"/>
                  </a:lnTo>
                  <a:lnTo>
                    <a:pt x="1533" y="1081"/>
                  </a:lnTo>
                  <a:lnTo>
                    <a:pt x="1546" y="1046"/>
                  </a:lnTo>
                  <a:lnTo>
                    <a:pt x="1557" y="1011"/>
                  </a:lnTo>
                  <a:lnTo>
                    <a:pt x="1565" y="973"/>
                  </a:lnTo>
                  <a:lnTo>
                    <a:pt x="1571" y="936"/>
                  </a:lnTo>
                  <a:lnTo>
                    <a:pt x="1577" y="898"/>
                  </a:lnTo>
                  <a:lnTo>
                    <a:pt x="1580" y="859"/>
                  </a:lnTo>
                  <a:lnTo>
                    <a:pt x="1580" y="821"/>
                  </a:lnTo>
                  <a:lnTo>
                    <a:pt x="1580" y="782"/>
                  </a:lnTo>
                  <a:lnTo>
                    <a:pt x="1577" y="743"/>
                  </a:lnTo>
                  <a:lnTo>
                    <a:pt x="1571" y="705"/>
                  </a:lnTo>
                  <a:lnTo>
                    <a:pt x="1565" y="668"/>
                  </a:lnTo>
                  <a:lnTo>
                    <a:pt x="1557" y="630"/>
                  </a:lnTo>
                  <a:lnTo>
                    <a:pt x="1546" y="595"/>
                  </a:lnTo>
                  <a:lnTo>
                    <a:pt x="1533" y="560"/>
                  </a:lnTo>
                  <a:lnTo>
                    <a:pt x="1521" y="525"/>
                  </a:lnTo>
                  <a:lnTo>
                    <a:pt x="1505" y="491"/>
                  </a:lnTo>
                  <a:lnTo>
                    <a:pt x="1489" y="459"/>
                  </a:lnTo>
                  <a:lnTo>
                    <a:pt x="1470" y="428"/>
                  </a:lnTo>
                  <a:lnTo>
                    <a:pt x="1450" y="396"/>
                  </a:lnTo>
                  <a:lnTo>
                    <a:pt x="1428" y="366"/>
                  </a:lnTo>
                  <a:lnTo>
                    <a:pt x="1407" y="337"/>
                  </a:lnTo>
                  <a:lnTo>
                    <a:pt x="1382" y="309"/>
                  </a:lnTo>
                  <a:lnTo>
                    <a:pt x="1358" y="284"/>
                  </a:lnTo>
                  <a:lnTo>
                    <a:pt x="1330" y="258"/>
                  </a:lnTo>
                  <a:lnTo>
                    <a:pt x="1303" y="235"/>
                  </a:lnTo>
                  <a:lnTo>
                    <a:pt x="1274" y="212"/>
                  </a:lnTo>
                  <a:lnTo>
                    <a:pt x="1245" y="190"/>
                  </a:lnTo>
                  <a:lnTo>
                    <a:pt x="1214" y="171"/>
                  </a:lnTo>
                  <a:lnTo>
                    <a:pt x="1182" y="153"/>
                  </a:lnTo>
                  <a:lnTo>
                    <a:pt x="1149" y="135"/>
                  </a:lnTo>
                  <a:lnTo>
                    <a:pt x="1116" y="121"/>
                  </a:lnTo>
                  <a:lnTo>
                    <a:pt x="1081" y="107"/>
                  </a:lnTo>
                  <a:lnTo>
                    <a:pt x="1047" y="95"/>
                  </a:lnTo>
                  <a:lnTo>
                    <a:pt x="1009" y="85"/>
                  </a:lnTo>
                  <a:lnTo>
                    <a:pt x="973" y="76"/>
                  </a:lnTo>
                  <a:lnTo>
                    <a:pt x="936" y="69"/>
                  </a:lnTo>
                  <a:lnTo>
                    <a:pt x="898" y="65"/>
                  </a:lnTo>
                  <a:lnTo>
                    <a:pt x="860" y="62"/>
                  </a:lnTo>
                  <a:lnTo>
                    <a:pt x="821" y="60"/>
                  </a:lnTo>
                  <a:close/>
                  <a:moveTo>
                    <a:pt x="821" y="1641"/>
                  </a:moveTo>
                  <a:lnTo>
                    <a:pt x="777" y="1640"/>
                  </a:lnTo>
                  <a:lnTo>
                    <a:pt x="737" y="1637"/>
                  </a:lnTo>
                  <a:lnTo>
                    <a:pt x="695" y="1631"/>
                  </a:lnTo>
                  <a:lnTo>
                    <a:pt x="655" y="1624"/>
                  </a:lnTo>
                  <a:lnTo>
                    <a:pt x="616" y="1615"/>
                  </a:lnTo>
                  <a:lnTo>
                    <a:pt x="576" y="1604"/>
                  </a:lnTo>
                  <a:lnTo>
                    <a:pt x="538" y="1591"/>
                  </a:lnTo>
                  <a:lnTo>
                    <a:pt x="501" y="1576"/>
                  </a:lnTo>
                  <a:lnTo>
                    <a:pt x="465" y="1560"/>
                  </a:lnTo>
                  <a:lnTo>
                    <a:pt x="429" y="1542"/>
                  </a:lnTo>
                  <a:lnTo>
                    <a:pt x="394" y="1522"/>
                  </a:lnTo>
                  <a:lnTo>
                    <a:pt x="361" y="1501"/>
                  </a:lnTo>
                  <a:lnTo>
                    <a:pt x="330" y="1478"/>
                  </a:lnTo>
                  <a:lnTo>
                    <a:pt x="298" y="1454"/>
                  </a:lnTo>
                  <a:lnTo>
                    <a:pt x="269" y="1428"/>
                  </a:lnTo>
                  <a:lnTo>
                    <a:pt x="240" y="1401"/>
                  </a:lnTo>
                  <a:lnTo>
                    <a:pt x="213" y="1372"/>
                  </a:lnTo>
                  <a:lnTo>
                    <a:pt x="187" y="1342"/>
                  </a:lnTo>
                  <a:lnTo>
                    <a:pt x="163" y="1311"/>
                  </a:lnTo>
                  <a:lnTo>
                    <a:pt x="140" y="1278"/>
                  </a:lnTo>
                  <a:lnTo>
                    <a:pt x="118" y="1245"/>
                  </a:lnTo>
                  <a:lnTo>
                    <a:pt x="99" y="1211"/>
                  </a:lnTo>
                  <a:lnTo>
                    <a:pt x="81" y="1176"/>
                  </a:lnTo>
                  <a:lnTo>
                    <a:pt x="65" y="1140"/>
                  </a:lnTo>
                  <a:lnTo>
                    <a:pt x="49" y="1103"/>
                  </a:lnTo>
                  <a:lnTo>
                    <a:pt x="37" y="1064"/>
                  </a:lnTo>
                  <a:lnTo>
                    <a:pt x="26" y="1025"/>
                  </a:lnTo>
                  <a:lnTo>
                    <a:pt x="16" y="986"/>
                  </a:lnTo>
                  <a:lnTo>
                    <a:pt x="9" y="946"/>
                  </a:lnTo>
                  <a:lnTo>
                    <a:pt x="4" y="904"/>
                  </a:lnTo>
                  <a:lnTo>
                    <a:pt x="1" y="862"/>
                  </a:lnTo>
                  <a:lnTo>
                    <a:pt x="0" y="821"/>
                  </a:lnTo>
                  <a:lnTo>
                    <a:pt x="1" y="779"/>
                  </a:lnTo>
                  <a:lnTo>
                    <a:pt x="4" y="737"/>
                  </a:lnTo>
                  <a:lnTo>
                    <a:pt x="9" y="695"/>
                  </a:lnTo>
                  <a:lnTo>
                    <a:pt x="16" y="655"/>
                  </a:lnTo>
                  <a:lnTo>
                    <a:pt x="26" y="616"/>
                  </a:lnTo>
                  <a:lnTo>
                    <a:pt x="37" y="577"/>
                  </a:lnTo>
                  <a:lnTo>
                    <a:pt x="49" y="538"/>
                  </a:lnTo>
                  <a:lnTo>
                    <a:pt x="65" y="501"/>
                  </a:lnTo>
                  <a:lnTo>
                    <a:pt x="81" y="465"/>
                  </a:lnTo>
                  <a:lnTo>
                    <a:pt x="99" y="430"/>
                  </a:lnTo>
                  <a:lnTo>
                    <a:pt x="118" y="396"/>
                  </a:lnTo>
                  <a:lnTo>
                    <a:pt x="140" y="363"/>
                  </a:lnTo>
                  <a:lnTo>
                    <a:pt x="163" y="330"/>
                  </a:lnTo>
                  <a:lnTo>
                    <a:pt x="187" y="299"/>
                  </a:lnTo>
                  <a:lnTo>
                    <a:pt x="213" y="269"/>
                  </a:lnTo>
                  <a:lnTo>
                    <a:pt x="240" y="240"/>
                  </a:lnTo>
                  <a:lnTo>
                    <a:pt x="269" y="213"/>
                  </a:lnTo>
                  <a:lnTo>
                    <a:pt x="298" y="187"/>
                  </a:lnTo>
                  <a:lnTo>
                    <a:pt x="330" y="163"/>
                  </a:lnTo>
                  <a:lnTo>
                    <a:pt x="361" y="140"/>
                  </a:lnTo>
                  <a:lnTo>
                    <a:pt x="394" y="119"/>
                  </a:lnTo>
                  <a:lnTo>
                    <a:pt x="429" y="99"/>
                  </a:lnTo>
                  <a:lnTo>
                    <a:pt x="465" y="81"/>
                  </a:lnTo>
                  <a:lnTo>
                    <a:pt x="501" y="65"/>
                  </a:lnTo>
                  <a:lnTo>
                    <a:pt x="538" y="50"/>
                  </a:lnTo>
                  <a:lnTo>
                    <a:pt x="576" y="37"/>
                  </a:lnTo>
                  <a:lnTo>
                    <a:pt x="616" y="26"/>
                  </a:lnTo>
                  <a:lnTo>
                    <a:pt x="655" y="17"/>
                  </a:lnTo>
                  <a:lnTo>
                    <a:pt x="695" y="10"/>
                  </a:lnTo>
                  <a:lnTo>
                    <a:pt x="737" y="4"/>
                  </a:lnTo>
                  <a:lnTo>
                    <a:pt x="777" y="1"/>
                  </a:lnTo>
                  <a:lnTo>
                    <a:pt x="821" y="0"/>
                  </a:lnTo>
                  <a:lnTo>
                    <a:pt x="862" y="1"/>
                  </a:lnTo>
                  <a:lnTo>
                    <a:pt x="904" y="4"/>
                  </a:lnTo>
                  <a:lnTo>
                    <a:pt x="945" y="10"/>
                  </a:lnTo>
                  <a:lnTo>
                    <a:pt x="985" y="17"/>
                  </a:lnTo>
                  <a:lnTo>
                    <a:pt x="1025" y="26"/>
                  </a:lnTo>
                  <a:lnTo>
                    <a:pt x="1064" y="37"/>
                  </a:lnTo>
                  <a:lnTo>
                    <a:pt x="1103" y="50"/>
                  </a:lnTo>
                  <a:lnTo>
                    <a:pt x="1139" y="65"/>
                  </a:lnTo>
                  <a:lnTo>
                    <a:pt x="1176" y="81"/>
                  </a:lnTo>
                  <a:lnTo>
                    <a:pt x="1211" y="99"/>
                  </a:lnTo>
                  <a:lnTo>
                    <a:pt x="1245" y="119"/>
                  </a:lnTo>
                  <a:lnTo>
                    <a:pt x="1279" y="140"/>
                  </a:lnTo>
                  <a:lnTo>
                    <a:pt x="1312" y="163"/>
                  </a:lnTo>
                  <a:lnTo>
                    <a:pt x="1342" y="187"/>
                  </a:lnTo>
                  <a:lnTo>
                    <a:pt x="1372" y="213"/>
                  </a:lnTo>
                  <a:lnTo>
                    <a:pt x="1401" y="240"/>
                  </a:lnTo>
                  <a:lnTo>
                    <a:pt x="1427" y="269"/>
                  </a:lnTo>
                  <a:lnTo>
                    <a:pt x="1453" y="299"/>
                  </a:lnTo>
                  <a:lnTo>
                    <a:pt x="1477" y="330"/>
                  </a:lnTo>
                  <a:lnTo>
                    <a:pt x="1500" y="363"/>
                  </a:lnTo>
                  <a:lnTo>
                    <a:pt x="1522" y="396"/>
                  </a:lnTo>
                  <a:lnTo>
                    <a:pt x="1542" y="430"/>
                  </a:lnTo>
                  <a:lnTo>
                    <a:pt x="1559" y="465"/>
                  </a:lnTo>
                  <a:lnTo>
                    <a:pt x="1577" y="501"/>
                  </a:lnTo>
                  <a:lnTo>
                    <a:pt x="1591" y="538"/>
                  </a:lnTo>
                  <a:lnTo>
                    <a:pt x="1604" y="577"/>
                  </a:lnTo>
                  <a:lnTo>
                    <a:pt x="1616" y="616"/>
                  </a:lnTo>
                  <a:lnTo>
                    <a:pt x="1624" y="655"/>
                  </a:lnTo>
                  <a:lnTo>
                    <a:pt x="1631" y="695"/>
                  </a:lnTo>
                  <a:lnTo>
                    <a:pt x="1637" y="737"/>
                  </a:lnTo>
                  <a:lnTo>
                    <a:pt x="1640" y="779"/>
                  </a:lnTo>
                  <a:lnTo>
                    <a:pt x="1641" y="821"/>
                  </a:lnTo>
                  <a:lnTo>
                    <a:pt x="1640" y="862"/>
                  </a:lnTo>
                  <a:lnTo>
                    <a:pt x="1637" y="904"/>
                  </a:lnTo>
                  <a:lnTo>
                    <a:pt x="1631" y="946"/>
                  </a:lnTo>
                  <a:lnTo>
                    <a:pt x="1624" y="986"/>
                  </a:lnTo>
                  <a:lnTo>
                    <a:pt x="1616" y="1025"/>
                  </a:lnTo>
                  <a:lnTo>
                    <a:pt x="1604" y="1064"/>
                  </a:lnTo>
                  <a:lnTo>
                    <a:pt x="1591" y="1103"/>
                  </a:lnTo>
                  <a:lnTo>
                    <a:pt x="1577" y="1140"/>
                  </a:lnTo>
                  <a:lnTo>
                    <a:pt x="1559" y="1176"/>
                  </a:lnTo>
                  <a:lnTo>
                    <a:pt x="1542" y="1211"/>
                  </a:lnTo>
                  <a:lnTo>
                    <a:pt x="1522" y="1245"/>
                  </a:lnTo>
                  <a:lnTo>
                    <a:pt x="1500" y="1278"/>
                  </a:lnTo>
                  <a:lnTo>
                    <a:pt x="1477" y="1311"/>
                  </a:lnTo>
                  <a:lnTo>
                    <a:pt x="1453" y="1342"/>
                  </a:lnTo>
                  <a:lnTo>
                    <a:pt x="1427" y="1372"/>
                  </a:lnTo>
                  <a:lnTo>
                    <a:pt x="1401" y="1401"/>
                  </a:lnTo>
                  <a:lnTo>
                    <a:pt x="1372" y="1428"/>
                  </a:lnTo>
                  <a:lnTo>
                    <a:pt x="1342" y="1454"/>
                  </a:lnTo>
                  <a:lnTo>
                    <a:pt x="1312" y="1478"/>
                  </a:lnTo>
                  <a:lnTo>
                    <a:pt x="1279" y="1501"/>
                  </a:lnTo>
                  <a:lnTo>
                    <a:pt x="1245" y="1522"/>
                  </a:lnTo>
                  <a:lnTo>
                    <a:pt x="1211" y="1542"/>
                  </a:lnTo>
                  <a:lnTo>
                    <a:pt x="1176" y="1560"/>
                  </a:lnTo>
                  <a:lnTo>
                    <a:pt x="1139" y="1576"/>
                  </a:lnTo>
                  <a:lnTo>
                    <a:pt x="1103" y="1591"/>
                  </a:lnTo>
                  <a:lnTo>
                    <a:pt x="1064" y="1604"/>
                  </a:lnTo>
                  <a:lnTo>
                    <a:pt x="1025" y="1615"/>
                  </a:lnTo>
                  <a:lnTo>
                    <a:pt x="985" y="1624"/>
                  </a:lnTo>
                  <a:lnTo>
                    <a:pt x="945" y="1631"/>
                  </a:lnTo>
                  <a:lnTo>
                    <a:pt x="904" y="1637"/>
                  </a:lnTo>
                  <a:lnTo>
                    <a:pt x="862"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8" name="Freeform 30">
              <a:extLst>
                <a:ext uri="{FF2B5EF4-FFF2-40B4-BE49-F238E27FC236}">
                  <a16:creationId xmlns:a16="http://schemas.microsoft.com/office/drawing/2014/main" id="{514E7A39-C388-44AF-9AD9-5119CFE87681}"/>
                </a:ext>
              </a:extLst>
            </p:cNvPr>
            <p:cNvSpPr>
              <a:spLocks/>
            </p:cNvSpPr>
            <p:nvPr/>
          </p:nvSpPr>
          <p:spPr bwMode="auto">
            <a:xfrm>
              <a:off x="2534080" y="5550133"/>
              <a:ext cx="19323" cy="261326"/>
            </a:xfrm>
            <a:custGeom>
              <a:avLst/>
              <a:gdLst>
                <a:gd name="T0" fmla="*/ 30 w 61"/>
                <a:gd name="T1" fmla="*/ 851 h 851"/>
                <a:gd name="T2" fmla="*/ 25 w 61"/>
                <a:gd name="T3" fmla="*/ 849 h 851"/>
                <a:gd name="T4" fmla="*/ 19 w 61"/>
                <a:gd name="T5" fmla="*/ 848 h 851"/>
                <a:gd name="T6" fmla="*/ 13 w 61"/>
                <a:gd name="T7" fmla="*/ 845 h 851"/>
                <a:gd name="T8" fmla="*/ 9 w 61"/>
                <a:gd name="T9" fmla="*/ 841 h 851"/>
                <a:gd name="T10" fmla="*/ 4 w 61"/>
                <a:gd name="T11" fmla="*/ 836 h 851"/>
                <a:gd name="T12" fmla="*/ 2 w 61"/>
                <a:gd name="T13" fmla="*/ 832 h 851"/>
                <a:gd name="T14" fmla="*/ 0 w 61"/>
                <a:gd name="T15" fmla="*/ 826 h 851"/>
                <a:gd name="T16" fmla="*/ 0 w 61"/>
                <a:gd name="T17" fmla="*/ 821 h 851"/>
                <a:gd name="T18" fmla="*/ 0 w 61"/>
                <a:gd name="T19" fmla="*/ 30 h 851"/>
                <a:gd name="T20" fmla="*/ 0 w 61"/>
                <a:gd name="T21" fmla="*/ 23 h 851"/>
                <a:gd name="T22" fmla="*/ 2 w 61"/>
                <a:gd name="T23" fmla="*/ 17 h 851"/>
                <a:gd name="T24" fmla="*/ 4 w 61"/>
                <a:gd name="T25" fmla="*/ 13 h 851"/>
                <a:gd name="T26" fmla="*/ 9 w 61"/>
                <a:gd name="T27" fmla="*/ 9 h 851"/>
                <a:gd name="T28" fmla="*/ 13 w 61"/>
                <a:gd name="T29" fmla="*/ 4 h 851"/>
                <a:gd name="T30" fmla="*/ 19 w 61"/>
                <a:gd name="T31" fmla="*/ 2 h 851"/>
                <a:gd name="T32" fmla="*/ 25 w 61"/>
                <a:gd name="T33" fmla="*/ 0 h 851"/>
                <a:gd name="T34" fmla="*/ 30 w 61"/>
                <a:gd name="T35" fmla="*/ 0 h 851"/>
                <a:gd name="T36" fmla="*/ 36 w 61"/>
                <a:gd name="T37" fmla="*/ 0 h 851"/>
                <a:gd name="T38" fmla="*/ 42 w 61"/>
                <a:gd name="T39" fmla="*/ 2 h 851"/>
                <a:gd name="T40" fmla="*/ 48 w 61"/>
                <a:gd name="T41" fmla="*/ 4 h 851"/>
                <a:gd name="T42" fmla="*/ 52 w 61"/>
                <a:gd name="T43" fmla="*/ 9 h 851"/>
                <a:gd name="T44" fmla="*/ 55 w 61"/>
                <a:gd name="T45" fmla="*/ 13 h 851"/>
                <a:gd name="T46" fmla="*/ 58 w 61"/>
                <a:gd name="T47" fmla="*/ 17 h 851"/>
                <a:gd name="T48" fmla="*/ 61 w 61"/>
                <a:gd name="T49" fmla="*/ 23 h 851"/>
                <a:gd name="T50" fmla="*/ 61 w 61"/>
                <a:gd name="T51" fmla="*/ 30 h 851"/>
                <a:gd name="T52" fmla="*/ 61 w 61"/>
                <a:gd name="T53" fmla="*/ 821 h 851"/>
                <a:gd name="T54" fmla="*/ 61 w 61"/>
                <a:gd name="T55" fmla="*/ 826 h 851"/>
                <a:gd name="T56" fmla="*/ 58 w 61"/>
                <a:gd name="T57" fmla="*/ 832 h 851"/>
                <a:gd name="T58" fmla="*/ 55 w 61"/>
                <a:gd name="T59" fmla="*/ 836 h 851"/>
                <a:gd name="T60" fmla="*/ 52 w 61"/>
                <a:gd name="T61" fmla="*/ 841 h 851"/>
                <a:gd name="T62" fmla="*/ 48 w 61"/>
                <a:gd name="T63" fmla="*/ 845 h 851"/>
                <a:gd name="T64" fmla="*/ 42 w 61"/>
                <a:gd name="T65" fmla="*/ 848 h 851"/>
                <a:gd name="T66" fmla="*/ 36 w 61"/>
                <a:gd name="T67" fmla="*/ 849 h 851"/>
                <a:gd name="T68" fmla="*/ 30 w 61"/>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851">
                  <a:moveTo>
                    <a:pt x="30" y="851"/>
                  </a:moveTo>
                  <a:lnTo>
                    <a:pt x="25" y="849"/>
                  </a:lnTo>
                  <a:lnTo>
                    <a:pt x="19" y="848"/>
                  </a:lnTo>
                  <a:lnTo>
                    <a:pt x="13" y="845"/>
                  </a:lnTo>
                  <a:lnTo>
                    <a:pt x="9" y="841"/>
                  </a:lnTo>
                  <a:lnTo>
                    <a:pt x="4" y="836"/>
                  </a:lnTo>
                  <a:lnTo>
                    <a:pt x="2" y="832"/>
                  </a:lnTo>
                  <a:lnTo>
                    <a:pt x="0" y="826"/>
                  </a:lnTo>
                  <a:lnTo>
                    <a:pt x="0" y="821"/>
                  </a:lnTo>
                  <a:lnTo>
                    <a:pt x="0" y="30"/>
                  </a:lnTo>
                  <a:lnTo>
                    <a:pt x="0" y="23"/>
                  </a:lnTo>
                  <a:lnTo>
                    <a:pt x="2" y="17"/>
                  </a:lnTo>
                  <a:lnTo>
                    <a:pt x="4" y="13"/>
                  </a:lnTo>
                  <a:lnTo>
                    <a:pt x="9" y="9"/>
                  </a:lnTo>
                  <a:lnTo>
                    <a:pt x="13" y="4"/>
                  </a:lnTo>
                  <a:lnTo>
                    <a:pt x="19" y="2"/>
                  </a:lnTo>
                  <a:lnTo>
                    <a:pt x="25" y="0"/>
                  </a:lnTo>
                  <a:lnTo>
                    <a:pt x="30" y="0"/>
                  </a:lnTo>
                  <a:lnTo>
                    <a:pt x="36" y="0"/>
                  </a:lnTo>
                  <a:lnTo>
                    <a:pt x="42" y="2"/>
                  </a:lnTo>
                  <a:lnTo>
                    <a:pt x="48" y="4"/>
                  </a:lnTo>
                  <a:lnTo>
                    <a:pt x="52" y="9"/>
                  </a:lnTo>
                  <a:lnTo>
                    <a:pt x="55" y="13"/>
                  </a:lnTo>
                  <a:lnTo>
                    <a:pt x="58" y="17"/>
                  </a:lnTo>
                  <a:lnTo>
                    <a:pt x="61" y="23"/>
                  </a:lnTo>
                  <a:lnTo>
                    <a:pt x="61" y="30"/>
                  </a:lnTo>
                  <a:lnTo>
                    <a:pt x="61" y="821"/>
                  </a:lnTo>
                  <a:lnTo>
                    <a:pt x="61" y="826"/>
                  </a:lnTo>
                  <a:lnTo>
                    <a:pt x="58" y="832"/>
                  </a:lnTo>
                  <a:lnTo>
                    <a:pt x="55" y="836"/>
                  </a:lnTo>
                  <a:lnTo>
                    <a:pt x="52" y="841"/>
                  </a:lnTo>
                  <a:lnTo>
                    <a:pt x="48" y="845"/>
                  </a:lnTo>
                  <a:lnTo>
                    <a:pt x="42" y="848"/>
                  </a:lnTo>
                  <a:lnTo>
                    <a:pt x="36"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9" name="Freeform 31">
              <a:extLst>
                <a:ext uri="{FF2B5EF4-FFF2-40B4-BE49-F238E27FC236}">
                  <a16:creationId xmlns:a16="http://schemas.microsoft.com/office/drawing/2014/main" id="{F219006C-AD46-4281-8709-27C196E379DF}"/>
                </a:ext>
              </a:extLst>
            </p:cNvPr>
            <p:cNvSpPr>
              <a:spLocks/>
            </p:cNvSpPr>
            <p:nvPr/>
          </p:nvSpPr>
          <p:spPr bwMode="auto">
            <a:xfrm>
              <a:off x="2684066" y="5550133"/>
              <a:ext cx="18403" cy="261326"/>
            </a:xfrm>
            <a:custGeom>
              <a:avLst/>
              <a:gdLst>
                <a:gd name="T0" fmla="*/ 30 w 60"/>
                <a:gd name="T1" fmla="*/ 851 h 851"/>
                <a:gd name="T2" fmla="*/ 23 w 60"/>
                <a:gd name="T3" fmla="*/ 849 h 851"/>
                <a:gd name="T4" fmla="*/ 17 w 60"/>
                <a:gd name="T5" fmla="*/ 848 h 851"/>
                <a:gd name="T6" fmla="*/ 13 w 60"/>
                <a:gd name="T7" fmla="*/ 845 h 851"/>
                <a:gd name="T8" fmla="*/ 8 w 60"/>
                <a:gd name="T9" fmla="*/ 841 h 851"/>
                <a:gd name="T10" fmla="*/ 4 w 60"/>
                <a:gd name="T11" fmla="*/ 836 h 851"/>
                <a:gd name="T12" fmla="*/ 1 w 60"/>
                <a:gd name="T13" fmla="*/ 832 h 851"/>
                <a:gd name="T14" fmla="*/ 0 w 60"/>
                <a:gd name="T15" fmla="*/ 826 h 851"/>
                <a:gd name="T16" fmla="*/ 0 w 60"/>
                <a:gd name="T17" fmla="*/ 821 h 851"/>
                <a:gd name="T18" fmla="*/ 0 w 60"/>
                <a:gd name="T19" fmla="*/ 30 h 851"/>
                <a:gd name="T20" fmla="*/ 0 w 60"/>
                <a:gd name="T21" fmla="*/ 23 h 851"/>
                <a:gd name="T22" fmla="*/ 1 w 60"/>
                <a:gd name="T23" fmla="*/ 17 h 851"/>
                <a:gd name="T24" fmla="*/ 4 w 60"/>
                <a:gd name="T25" fmla="*/ 13 h 851"/>
                <a:gd name="T26" fmla="*/ 8 w 60"/>
                <a:gd name="T27" fmla="*/ 9 h 851"/>
                <a:gd name="T28" fmla="*/ 13 w 60"/>
                <a:gd name="T29" fmla="*/ 4 h 851"/>
                <a:gd name="T30" fmla="*/ 17 w 60"/>
                <a:gd name="T31" fmla="*/ 2 h 851"/>
                <a:gd name="T32" fmla="*/ 23 w 60"/>
                <a:gd name="T33" fmla="*/ 0 h 851"/>
                <a:gd name="T34" fmla="*/ 30 w 60"/>
                <a:gd name="T35" fmla="*/ 0 h 851"/>
                <a:gd name="T36" fmla="*/ 36 w 60"/>
                <a:gd name="T37" fmla="*/ 0 h 851"/>
                <a:gd name="T38" fmla="*/ 42 w 60"/>
                <a:gd name="T39" fmla="*/ 2 h 851"/>
                <a:gd name="T40" fmla="*/ 46 w 60"/>
                <a:gd name="T41" fmla="*/ 4 h 851"/>
                <a:gd name="T42" fmla="*/ 52 w 60"/>
                <a:gd name="T43" fmla="*/ 9 h 851"/>
                <a:gd name="T44" fmla="*/ 55 w 60"/>
                <a:gd name="T45" fmla="*/ 13 h 851"/>
                <a:gd name="T46" fmla="*/ 57 w 60"/>
                <a:gd name="T47" fmla="*/ 17 h 851"/>
                <a:gd name="T48" fmla="*/ 59 w 60"/>
                <a:gd name="T49" fmla="*/ 23 h 851"/>
                <a:gd name="T50" fmla="*/ 60 w 60"/>
                <a:gd name="T51" fmla="*/ 30 h 851"/>
                <a:gd name="T52" fmla="*/ 60 w 60"/>
                <a:gd name="T53" fmla="*/ 821 h 851"/>
                <a:gd name="T54" fmla="*/ 59 w 60"/>
                <a:gd name="T55" fmla="*/ 826 h 851"/>
                <a:gd name="T56" fmla="*/ 57 w 60"/>
                <a:gd name="T57" fmla="*/ 832 h 851"/>
                <a:gd name="T58" fmla="*/ 55 w 60"/>
                <a:gd name="T59" fmla="*/ 836 h 851"/>
                <a:gd name="T60" fmla="*/ 52 w 60"/>
                <a:gd name="T61" fmla="*/ 841 h 851"/>
                <a:gd name="T62" fmla="*/ 46 w 60"/>
                <a:gd name="T63" fmla="*/ 845 h 851"/>
                <a:gd name="T64" fmla="*/ 42 w 60"/>
                <a:gd name="T65" fmla="*/ 848 h 851"/>
                <a:gd name="T66" fmla="*/ 36 w 60"/>
                <a:gd name="T67" fmla="*/ 849 h 851"/>
                <a:gd name="T68" fmla="*/ 30 w 60"/>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851">
                  <a:moveTo>
                    <a:pt x="30" y="851"/>
                  </a:moveTo>
                  <a:lnTo>
                    <a:pt x="23" y="849"/>
                  </a:lnTo>
                  <a:lnTo>
                    <a:pt x="17" y="848"/>
                  </a:lnTo>
                  <a:lnTo>
                    <a:pt x="13" y="845"/>
                  </a:lnTo>
                  <a:lnTo>
                    <a:pt x="8" y="841"/>
                  </a:lnTo>
                  <a:lnTo>
                    <a:pt x="4" y="836"/>
                  </a:lnTo>
                  <a:lnTo>
                    <a:pt x="1" y="832"/>
                  </a:lnTo>
                  <a:lnTo>
                    <a:pt x="0" y="826"/>
                  </a:lnTo>
                  <a:lnTo>
                    <a:pt x="0" y="821"/>
                  </a:lnTo>
                  <a:lnTo>
                    <a:pt x="0" y="30"/>
                  </a:lnTo>
                  <a:lnTo>
                    <a:pt x="0" y="23"/>
                  </a:lnTo>
                  <a:lnTo>
                    <a:pt x="1" y="17"/>
                  </a:lnTo>
                  <a:lnTo>
                    <a:pt x="4" y="13"/>
                  </a:lnTo>
                  <a:lnTo>
                    <a:pt x="8" y="9"/>
                  </a:lnTo>
                  <a:lnTo>
                    <a:pt x="13" y="4"/>
                  </a:lnTo>
                  <a:lnTo>
                    <a:pt x="17" y="2"/>
                  </a:lnTo>
                  <a:lnTo>
                    <a:pt x="23" y="0"/>
                  </a:lnTo>
                  <a:lnTo>
                    <a:pt x="30" y="0"/>
                  </a:lnTo>
                  <a:lnTo>
                    <a:pt x="36" y="0"/>
                  </a:lnTo>
                  <a:lnTo>
                    <a:pt x="42" y="2"/>
                  </a:lnTo>
                  <a:lnTo>
                    <a:pt x="46" y="4"/>
                  </a:lnTo>
                  <a:lnTo>
                    <a:pt x="52" y="9"/>
                  </a:lnTo>
                  <a:lnTo>
                    <a:pt x="55" y="13"/>
                  </a:lnTo>
                  <a:lnTo>
                    <a:pt x="57" y="17"/>
                  </a:lnTo>
                  <a:lnTo>
                    <a:pt x="59" y="23"/>
                  </a:lnTo>
                  <a:lnTo>
                    <a:pt x="60" y="30"/>
                  </a:lnTo>
                  <a:lnTo>
                    <a:pt x="60" y="821"/>
                  </a:lnTo>
                  <a:lnTo>
                    <a:pt x="59" y="826"/>
                  </a:lnTo>
                  <a:lnTo>
                    <a:pt x="57" y="832"/>
                  </a:lnTo>
                  <a:lnTo>
                    <a:pt x="55" y="836"/>
                  </a:lnTo>
                  <a:lnTo>
                    <a:pt x="52" y="841"/>
                  </a:lnTo>
                  <a:lnTo>
                    <a:pt x="46" y="845"/>
                  </a:lnTo>
                  <a:lnTo>
                    <a:pt x="42" y="848"/>
                  </a:lnTo>
                  <a:lnTo>
                    <a:pt x="36"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72" name="Group 156">
            <a:extLst>
              <a:ext uri="{FF2B5EF4-FFF2-40B4-BE49-F238E27FC236}">
                <a16:creationId xmlns:a16="http://schemas.microsoft.com/office/drawing/2014/main" id="{46C3A5CE-3196-4504-8FF6-712099DEA3F1}"/>
              </a:ext>
            </a:extLst>
          </p:cNvPr>
          <p:cNvGrpSpPr>
            <a:grpSpLocks noChangeAspect="1"/>
          </p:cNvGrpSpPr>
          <p:nvPr/>
        </p:nvGrpSpPr>
        <p:grpSpPr>
          <a:xfrm>
            <a:off x="6635243" y="2186361"/>
            <a:ext cx="290459" cy="285619"/>
            <a:chOff x="2600325" y="3640138"/>
            <a:chExt cx="285750" cy="280988"/>
          </a:xfrm>
          <a:solidFill>
            <a:schemeClr val="bg2"/>
          </a:solidFill>
          <a:effectLst/>
        </p:grpSpPr>
        <p:sp>
          <p:nvSpPr>
            <p:cNvPr id="573" name="Freeform 172">
              <a:extLst>
                <a:ext uri="{FF2B5EF4-FFF2-40B4-BE49-F238E27FC236}">
                  <a16:creationId xmlns:a16="http://schemas.microsoft.com/office/drawing/2014/main" id="{4AACC4D6-BAC2-4FC9-A2EC-4AA5875CF85E}"/>
                </a:ext>
              </a:extLst>
            </p:cNvPr>
            <p:cNvSpPr>
              <a:spLocks noEditPoints="1"/>
            </p:cNvSpPr>
            <p:nvPr/>
          </p:nvSpPr>
          <p:spPr bwMode="auto">
            <a:xfrm>
              <a:off x="2600325" y="3640138"/>
              <a:ext cx="285750" cy="280988"/>
            </a:xfrm>
            <a:custGeom>
              <a:avLst/>
              <a:gdLst>
                <a:gd name="T0" fmla="*/ 579 w 902"/>
                <a:gd name="T1" fmla="*/ 756 h 883"/>
                <a:gd name="T2" fmla="*/ 704 w 902"/>
                <a:gd name="T3" fmla="*/ 640 h 883"/>
                <a:gd name="T4" fmla="*/ 869 w 902"/>
                <a:gd name="T5" fmla="*/ 780 h 883"/>
                <a:gd name="T6" fmla="*/ 78 w 902"/>
                <a:gd name="T7" fmla="*/ 712 h 883"/>
                <a:gd name="T8" fmla="*/ 228 w 902"/>
                <a:gd name="T9" fmla="*/ 691 h 883"/>
                <a:gd name="T10" fmla="*/ 420 w 902"/>
                <a:gd name="T11" fmla="*/ 825 h 883"/>
                <a:gd name="T12" fmla="*/ 378 w 902"/>
                <a:gd name="T13" fmla="*/ 586 h 883"/>
                <a:gd name="T14" fmla="*/ 566 w 902"/>
                <a:gd name="T15" fmla="*/ 581 h 883"/>
                <a:gd name="T16" fmla="*/ 658 w 902"/>
                <a:gd name="T17" fmla="*/ 663 h 883"/>
                <a:gd name="T18" fmla="*/ 461 w 902"/>
                <a:gd name="T19" fmla="*/ 805 h 883"/>
                <a:gd name="T20" fmla="*/ 257 w 902"/>
                <a:gd name="T21" fmla="*/ 676 h 883"/>
                <a:gd name="T22" fmla="*/ 276 w 902"/>
                <a:gd name="T23" fmla="*/ 410 h 883"/>
                <a:gd name="T24" fmla="*/ 234 w 902"/>
                <a:gd name="T25" fmla="*/ 369 h 883"/>
                <a:gd name="T26" fmla="*/ 261 w 902"/>
                <a:gd name="T27" fmla="*/ 315 h 883"/>
                <a:gd name="T28" fmla="*/ 399 w 902"/>
                <a:gd name="T29" fmla="*/ 220 h 883"/>
                <a:gd name="T30" fmla="*/ 485 w 902"/>
                <a:gd name="T31" fmla="*/ 211 h 883"/>
                <a:gd name="T32" fmla="*/ 631 w 902"/>
                <a:gd name="T33" fmla="*/ 312 h 883"/>
                <a:gd name="T34" fmla="*/ 668 w 902"/>
                <a:gd name="T35" fmla="*/ 357 h 883"/>
                <a:gd name="T36" fmla="*/ 631 w 902"/>
                <a:gd name="T37" fmla="*/ 402 h 883"/>
                <a:gd name="T38" fmla="*/ 544 w 902"/>
                <a:gd name="T39" fmla="*/ 537 h 883"/>
                <a:gd name="T40" fmla="*/ 358 w 902"/>
                <a:gd name="T41" fmla="*/ 537 h 883"/>
                <a:gd name="T42" fmla="*/ 156 w 902"/>
                <a:gd name="T43" fmla="*/ 514 h 883"/>
                <a:gd name="T44" fmla="*/ 62 w 902"/>
                <a:gd name="T45" fmla="*/ 472 h 883"/>
                <a:gd name="T46" fmla="*/ 150 w 902"/>
                <a:gd name="T47" fmla="*/ 302 h 883"/>
                <a:gd name="T48" fmla="*/ 237 w 902"/>
                <a:gd name="T49" fmla="*/ 66 h 883"/>
                <a:gd name="T50" fmla="*/ 357 w 902"/>
                <a:gd name="T51" fmla="*/ 34 h 883"/>
                <a:gd name="T52" fmla="*/ 522 w 902"/>
                <a:gd name="T53" fmla="*/ 41 h 883"/>
                <a:gd name="T54" fmla="*/ 643 w 902"/>
                <a:gd name="T55" fmla="*/ 48 h 883"/>
                <a:gd name="T56" fmla="*/ 736 w 902"/>
                <a:gd name="T57" fmla="*/ 234 h 883"/>
                <a:gd name="T58" fmla="*/ 834 w 902"/>
                <a:gd name="T59" fmla="*/ 460 h 883"/>
                <a:gd name="T60" fmla="*/ 768 w 902"/>
                <a:gd name="T61" fmla="*/ 513 h 883"/>
                <a:gd name="T62" fmla="*/ 662 w 902"/>
                <a:gd name="T63" fmla="*/ 467 h 883"/>
                <a:gd name="T64" fmla="*/ 669 w 902"/>
                <a:gd name="T65" fmla="*/ 420 h 883"/>
                <a:gd name="T66" fmla="*/ 681 w 902"/>
                <a:gd name="T67" fmla="*/ 303 h 883"/>
                <a:gd name="T68" fmla="*/ 583 w 902"/>
                <a:gd name="T69" fmla="*/ 207 h 883"/>
                <a:gd name="T70" fmla="*/ 474 w 902"/>
                <a:gd name="T71" fmla="*/ 154 h 883"/>
                <a:gd name="T72" fmla="*/ 429 w 902"/>
                <a:gd name="T73" fmla="*/ 154 h 883"/>
                <a:gd name="T74" fmla="*/ 319 w 902"/>
                <a:gd name="T75" fmla="*/ 207 h 883"/>
                <a:gd name="T76" fmla="*/ 211 w 902"/>
                <a:gd name="T77" fmla="*/ 319 h 883"/>
                <a:gd name="T78" fmla="*/ 243 w 902"/>
                <a:gd name="T79" fmla="*/ 425 h 883"/>
                <a:gd name="T80" fmla="*/ 219 w 902"/>
                <a:gd name="T81" fmla="*/ 490 h 883"/>
                <a:gd name="T82" fmla="*/ 634 w 902"/>
                <a:gd name="T83" fmla="*/ 578 h 883"/>
                <a:gd name="T84" fmla="*/ 649 w 902"/>
                <a:gd name="T85" fmla="*/ 499 h 883"/>
                <a:gd name="T86" fmla="*/ 790 w 902"/>
                <a:gd name="T87" fmla="*/ 540 h 883"/>
                <a:gd name="T88" fmla="*/ 883 w 902"/>
                <a:gd name="T89" fmla="*/ 450 h 883"/>
                <a:gd name="T90" fmla="*/ 820 w 902"/>
                <a:gd name="T91" fmla="*/ 406 h 883"/>
                <a:gd name="T92" fmla="*/ 744 w 902"/>
                <a:gd name="T93" fmla="*/ 150 h 883"/>
                <a:gd name="T94" fmla="*/ 625 w 902"/>
                <a:gd name="T95" fmla="*/ 6 h 883"/>
                <a:gd name="T96" fmla="*/ 480 w 902"/>
                <a:gd name="T97" fmla="*/ 23 h 883"/>
                <a:gd name="T98" fmla="*/ 319 w 902"/>
                <a:gd name="T99" fmla="*/ 0 h 883"/>
                <a:gd name="T100" fmla="*/ 187 w 902"/>
                <a:gd name="T101" fmla="*/ 82 h 883"/>
                <a:gd name="T102" fmla="*/ 104 w 902"/>
                <a:gd name="T103" fmla="*/ 358 h 883"/>
                <a:gd name="T104" fmla="*/ 26 w 902"/>
                <a:gd name="T105" fmla="*/ 438 h 883"/>
                <a:gd name="T106" fmla="*/ 60 w 902"/>
                <a:gd name="T107" fmla="*/ 513 h 883"/>
                <a:gd name="T108" fmla="*/ 177 w 902"/>
                <a:gd name="T109" fmla="*/ 541 h 883"/>
                <a:gd name="T110" fmla="*/ 295 w 902"/>
                <a:gd name="T111" fmla="*/ 518 h 883"/>
                <a:gd name="T112" fmla="*/ 204 w 902"/>
                <a:gd name="T113" fmla="*/ 603 h 883"/>
                <a:gd name="T114" fmla="*/ 16 w 902"/>
                <a:gd name="T115" fmla="*/ 743 h 883"/>
                <a:gd name="T116" fmla="*/ 878 w 902"/>
                <a:gd name="T117" fmla="*/ 726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883">
                  <a:moveTo>
                    <a:pt x="872" y="853"/>
                  </a:moveTo>
                  <a:lnTo>
                    <a:pt x="468" y="853"/>
                  </a:lnTo>
                  <a:lnTo>
                    <a:pt x="470" y="847"/>
                  </a:lnTo>
                  <a:lnTo>
                    <a:pt x="474" y="839"/>
                  </a:lnTo>
                  <a:lnTo>
                    <a:pt x="477" y="833"/>
                  </a:lnTo>
                  <a:lnTo>
                    <a:pt x="482" y="825"/>
                  </a:lnTo>
                  <a:lnTo>
                    <a:pt x="494" y="812"/>
                  </a:lnTo>
                  <a:lnTo>
                    <a:pt x="508" y="801"/>
                  </a:lnTo>
                  <a:lnTo>
                    <a:pt x="523" y="789"/>
                  </a:lnTo>
                  <a:lnTo>
                    <a:pt x="541" y="778"/>
                  </a:lnTo>
                  <a:lnTo>
                    <a:pt x="559" y="767"/>
                  </a:lnTo>
                  <a:lnTo>
                    <a:pt x="579" y="756"/>
                  </a:lnTo>
                  <a:lnTo>
                    <a:pt x="599" y="744"/>
                  </a:lnTo>
                  <a:lnTo>
                    <a:pt x="619" y="732"/>
                  </a:lnTo>
                  <a:lnTo>
                    <a:pt x="640" y="719"/>
                  </a:lnTo>
                  <a:lnTo>
                    <a:pt x="657" y="705"/>
                  </a:lnTo>
                  <a:lnTo>
                    <a:pt x="666" y="699"/>
                  </a:lnTo>
                  <a:lnTo>
                    <a:pt x="673" y="691"/>
                  </a:lnTo>
                  <a:lnTo>
                    <a:pt x="681" y="683"/>
                  </a:lnTo>
                  <a:lnTo>
                    <a:pt x="687" y="675"/>
                  </a:lnTo>
                  <a:lnTo>
                    <a:pt x="692" y="667"/>
                  </a:lnTo>
                  <a:lnTo>
                    <a:pt x="698" y="658"/>
                  </a:lnTo>
                  <a:lnTo>
                    <a:pt x="701" y="650"/>
                  </a:lnTo>
                  <a:lnTo>
                    <a:pt x="704" y="640"/>
                  </a:lnTo>
                  <a:lnTo>
                    <a:pt x="738" y="656"/>
                  </a:lnTo>
                  <a:lnTo>
                    <a:pt x="771" y="673"/>
                  </a:lnTo>
                  <a:lnTo>
                    <a:pt x="786" y="682"/>
                  </a:lnTo>
                  <a:lnTo>
                    <a:pt x="800" y="691"/>
                  </a:lnTo>
                  <a:lnTo>
                    <a:pt x="812" y="701"/>
                  </a:lnTo>
                  <a:lnTo>
                    <a:pt x="824" y="711"/>
                  </a:lnTo>
                  <a:lnTo>
                    <a:pt x="835" y="720"/>
                  </a:lnTo>
                  <a:lnTo>
                    <a:pt x="845" y="731"/>
                  </a:lnTo>
                  <a:lnTo>
                    <a:pt x="852" y="743"/>
                  </a:lnTo>
                  <a:lnTo>
                    <a:pt x="860" y="755"/>
                  </a:lnTo>
                  <a:lnTo>
                    <a:pt x="865" y="767"/>
                  </a:lnTo>
                  <a:lnTo>
                    <a:pt x="869" y="780"/>
                  </a:lnTo>
                  <a:lnTo>
                    <a:pt x="871" y="794"/>
                  </a:lnTo>
                  <a:lnTo>
                    <a:pt x="872" y="808"/>
                  </a:lnTo>
                  <a:lnTo>
                    <a:pt x="872" y="853"/>
                  </a:lnTo>
                  <a:close/>
                  <a:moveTo>
                    <a:pt x="31" y="812"/>
                  </a:moveTo>
                  <a:lnTo>
                    <a:pt x="32" y="797"/>
                  </a:lnTo>
                  <a:lnTo>
                    <a:pt x="34" y="784"/>
                  </a:lnTo>
                  <a:lnTo>
                    <a:pt x="38" y="770"/>
                  </a:lnTo>
                  <a:lnTo>
                    <a:pt x="44" y="757"/>
                  </a:lnTo>
                  <a:lnTo>
                    <a:pt x="50" y="745"/>
                  </a:lnTo>
                  <a:lnTo>
                    <a:pt x="59" y="733"/>
                  </a:lnTo>
                  <a:lnTo>
                    <a:pt x="67" y="722"/>
                  </a:lnTo>
                  <a:lnTo>
                    <a:pt x="78" y="712"/>
                  </a:lnTo>
                  <a:lnTo>
                    <a:pt x="90" y="701"/>
                  </a:lnTo>
                  <a:lnTo>
                    <a:pt x="103" y="691"/>
                  </a:lnTo>
                  <a:lnTo>
                    <a:pt x="117" y="683"/>
                  </a:lnTo>
                  <a:lnTo>
                    <a:pt x="132" y="673"/>
                  </a:lnTo>
                  <a:lnTo>
                    <a:pt x="163" y="656"/>
                  </a:lnTo>
                  <a:lnTo>
                    <a:pt x="198" y="640"/>
                  </a:lnTo>
                  <a:lnTo>
                    <a:pt x="201" y="650"/>
                  </a:lnTo>
                  <a:lnTo>
                    <a:pt x="204" y="658"/>
                  </a:lnTo>
                  <a:lnTo>
                    <a:pt x="210" y="667"/>
                  </a:lnTo>
                  <a:lnTo>
                    <a:pt x="215" y="675"/>
                  </a:lnTo>
                  <a:lnTo>
                    <a:pt x="222" y="684"/>
                  </a:lnTo>
                  <a:lnTo>
                    <a:pt x="228" y="691"/>
                  </a:lnTo>
                  <a:lnTo>
                    <a:pt x="237" y="699"/>
                  </a:lnTo>
                  <a:lnTo>
                    <a:pt x="244" y="705"/>
                  </a:lnTo>
                  <a:lnTo>
                    <a:pt x="262" y="719"/>
                  </a:lnTo>
                  <a:lnTo>
                    <a:pt x="282" y="732"/>
                  </a:lnTo>
                  <a:lnTo>
                    <a:pt x="302" y="744"/>
                  </a:lnTo>
                  <a:lnTo>
                    <a:pt x="323" y="756"/>
                  </a:lnTo>
                  <a:lnTo>
                    <a:pt x="343" y="767"/>
                  </a:lnTo>
                  <a:lnTo>
                    <a:pt x="361" y="778"/>
                  </a:lnTo>
                  <a:lnTo>
                    <a:pt x="378" y="789"/>
                  </a:lnTo>
                  <a:lnTo>
                    <a:pt x="394" y="801"/>
                  </a:lnTo>
                  <a:lnTo>
                    <a:pt x="408" y="814"/>
                  </a:lnTo>
                  <a:lnTo>
                    <a:pt x="420" y="825"/>
                  </a:lnTo>
                  <a:lnTo>
                    <a:pt x="424" y="833"/>
                  </a:lnTo>
                  <a:lnTo>
                    <a:pt x="429" y="839"/>
                  </a:lnTo>
                  <a:lnTo>
                    <a:pt x="432" y="847"/>
                  </a:lnTo>
                  <a:lnTo>
                    <a:pt x="434" y="853"/>
                  </a:lnTo>
                  <a:lnTo>
                    <a:pt x="30" y="853"/>
                  </a:lnTo>
                  <a:lnTo>
                    <a:pt x="31" y="812"/>
                  </a:lnTo>
                  <a:close/>
                  <a:moveTo>
                    <a:pt x="281" y="604"/>
                  </a:moveTo>
                  <a:lnTo>
                    <a:pt x="299" y="597"/>
                  </a:lnTo>
                  <a:lnTo>
                    <a:pt x="318" y="588"/>
                  </a:lnTo>
                  <a:lnTo>
                    <a:pt x="336" y="581"/>
                  </a:lnTo>
                  <a:lnTo>
                    <a:pt x="356" y="572"/>
                  </a:lnTo>
                  <a:lnTo>
                    <a:pt x="378" y="586"/>
                  </a:lnTo>
                  <a:lnTo>
                    <a:pt x="401" y="598"/>
                  </a:lnTo>
                  <a:lnTo>
                    <a:pt x="423" y="609"/>
                  </a:lnTo>
                  <a:lnTo>
                    <a:pt x="446" y="617"/>
                  </a:lnTo>
                  <a:lnTo>
                    <a:pt x="449" y="617"/>
                  </a:lnTo>
                  <a:lnTo>
                    <a:pt x="451" y="618"/>
                  </a:lnTo>
                  <a:lnTo>
                    <a:pt x="453" y="617"/>
                  </a:lnTo>
                  <a:lnTo>
                    <a:pt x="455" y="617"/>
                  </a:lnTo>
                  <a:lnTo>
                    <a:pt x="478" y="609"/>
                  </a:lnTo>
                  <a:lnTo>
                    <a:pt x="501" y="598"/>
                  </a:lnTo>
                  <a:lnTo>
                    <a:pt x="524" y="586"/>
                  </a:lnTo>
                  <a:lnTo>
                    <a:pt x="547" y="572"/>
                  </a:lnTo>
                  <a:lnTo>
                    <a:pt x="566" y="581"/>
                  </a:lnTo>
                  <a:lnTo>
                    <a:pt x="585" y="589"/>
                  </a:lnTo>
                  <a:lnTo>
                    <a:pt x="604" y="597"/>
                  </a:lnTo>
                  <a:lnTo>
                    <a:pt x="624" y="606"/>
                  </a:lnTo>
                  <a:lnTo>
                    <a:pt x="637" y="611"/>
                  </a:lnTo>
                  <a:lnTo>
                    <a:pt x="649" y="616"/>
                  </a:lnTo>
                  <a:lnTo>
                    <a:pt x="662" y="622"/>
                  </a:lnTo>
                  <a:lnTo>
                    <a:pt x="675" y="627"/>
                  </a:lnTo>
                  <a:lnTo>
                    <a:pt x="674" y="635"/>
                  </a:lnTo>
                  <a:lnTo>
                    <a:pt x="671" y="642"/>
                  </a:lnTo>
                  <a:lnTo>
                    <a:pt x="668" y="650"/>
                  </a:lnTo>
                  <a:lnTo>
                    <a:pt x="663" y="657"/>
                  </a:lnTo>
                  <a:lnTo>
                    <a:pt x="658" y="663"/>
                  </a:lnTo>
                  <a:lnTo>
                    <a:pt x="652" y="670"/>
                  </a:lnTo>
                  <a:lnTo>
                    <a:pt x="645" y="676"/>
                  </a:lnTo>
                  <a:lnTo>
                    <a:pt x="638" y="683"/>
                  </a:lnTo>
                  <a:lnTo>
                    <a:pt x="622" y="696"/>
                  </a:lnTo>
                  <a:lnTo>
                    <a:pt x="603" y="706"/>
                  </a:lnTo>
                  <a:lnTo>
                    <a:pt x="584" y="718"/>
                  </a:lnTo>
                  <a:lnTo>
                    <a:pt x="564" y="730"/>
                  </a:lnTo>
                  <a:lnTo>
                    <a:pt x="530" y="749"/>
                  </a:lnTo>
                  <a:lnTo>
                    <a:pt x="499" y="770"/>
                  </a:lnTo>
                  <a:lnTo>
                    <a:pt x="485" y="780"/>
                  </a:lnTo>
                  <a:lnTo>
                    <a:pt x="471" y="792"/>
                  </a:lnTo>
                  <a:lnTo>
                    <a:pt x="461" y="805"/>
                  </a:lnTo>
                  <a:lnTo>
                    <a:pt x="451" y="818"/>
                  </a:lnTo>
                  <a:lnTo>
                    <a:pt x="441" y="805"/>
                  </a:lnTo>
                  <a:lnTo>
                    <a:pt x="430" y="792"/>
                  </a:lnTo>
                  <a:lnTo>
                    <a:pt x="417" y="780"/>
                  </a:lnTo>
                  <a:lnTo>
                    <a:pt x="403" y="770"/>
                  </a:lnTo>
                  <a:lnTo>
                    <a:pt x="372" y="749"/>
                  </a:lnTo>
                  <a:lnTo>
                    <a:pt x="338" y="730"/>
                  </a:lnTo>
                  <a:lnTo>
                    <a:pt x="318" y="718"/>
                  </a:lnTo>
                  <a:lnTo>
                    <a:pt x="299" y="707"/>
                  </a:lnTo>
                  <a:lnTo>
                    <a:pt x="281" y="696"/>
                  </a:lnTo>
                  <a:lnTo>
                    <a:pt x="265" y="683"/>
                  </a:lnTo>
                  <a:lnTo>
                    <a:pt x="257" y="676"/>
                  </a:lnTo>
                  <a:lnTo>
                    <a:pt x="251" y="670"/>
                  </a:lnTo>
                  <a:lnTo>
                    <a:pt x="244" y="663"/>
                  </a:lnTo>
                  <a:lnTo>
                    <a:pt x="239" y="657"/>
                  </a:lnTo>
                  <a:lnTo>
                    <a:pt x="234" y="650"/>
                  </a:lnTo>
                  <a:lnTo>
                    <a:pt x="230" y="642"/>
                  </a:lnTo>
                  <a:lnTo>
                    <a:pt x="228" y="635"/>
                  </a:lnTo>
                  <a:lnTo>
                    <a:pt x="226" y="627"/>
                  </a:lnTo>
                  <a:lnTo>
                    <a:pt x="240" y="622"/>
                  </a:lnTo>
                  <a:lnTo>
                    <a:pt x="253" y="616"/>
                  </a:lnTo>
                  <a:lnTo>
                    <a:pt x="267" y="610"/>
                  </a:lnTo>
                  <a:lnTo>
                    <a:pt x="281" y="604"/>
                  </a:lnTo>
                  <a:close/>
                  <a:moveTo>
                    <a:pt x="276" y="410"/>
                  </a:moveTo>
                  <a:lnTo>
                    <a:pt x="274" y="406"/>
                  </a:lnTo>
                  <a:lnTo>
                    <a:pt x="271" y="402"/>
                  </a:lnTo>
                  <a:lnTo>
                    <a:pt x="267" y="400"/>
                  </a:lnTo>
                  <a:lnTo>
                    <a:pt x="261" y="399"/>
                  </a:lnTo>
                  <a:lnTo>
                    <a:pt x="257" y="398"/>
                  </a:lnTo>
                  <a:lnTo>
                    <a:pt x="254" y="398"/>
                  </a:lnTo>
                  <a:lnTo>
                    <a:pt x="251" y="395"/>
                  </a:lnTo>
                  <a:lnTo>
                    <a:pt x="247" y="394"/>
                  </a:lnTo>
                  <a:lnTo>
                    <a:pt x="243" y="389"/>
                  </a:lnTo>
                  <a:lnTo>
                    <a:pt x="239" y="383"/>
                  </a:lnTo>
                  <a:lnTo>
                    <a:pt x="237" y="376"/>
                  </a:lnTo>
                  <a:lnTo>
                    <a:pt x="234" y="369"/>
                  </a:lnTo>
                  <a:lnTo>
                    <a:pt x="233" y="362"/>
                  </a:lnTo>
                  <a:lnTo>
                    <a:pt x="233" y="357"/>
                  </a:lnTo>
                  <a:lnTo>
                    <a:pt x="233" y="350"/>
                  </a:lnTo>
                  <a:lnTo>
                    <a:pt x="234" y="344"/>
                  </a:lnTo>
                  <a:lnTo>
                    <a:pt x="237" y="336"/>
                  </a:lnTo>
                  <a:lnTo>
                    <a:pt x="239" y="330"/>
                  </a:lnTo>
                  <a:lnTo>
                    <a:pt x="243" y="325"/>
                  </a:lnTo>
                  <a:lnTo>
                    <a:pt x="247" y="319"/>
                  </a:lnTo>
                  <a:lnTo>
                    <a:pt x="251" y="317"/>
                  </a:lnTo>
                  <a:lnTo>
                    <a:pt x="254" y="316"/>
                  </a:lnTo>
                  <a:lnTo>
                    <a:pt x="257" y="315"/>
                  </a:lnTo>
                  <a:lnTo>
                    <a:pt x="261" y="315"/>
                  </a:lnTo>
                  <a:lnTo>
                    <a:pt x="267" y="314"/>
                  </a:lnTo>
                  <a:lnTo>
                    <a:pt x="271" y="312"/>
                  </a:lnTo>
                  <a:lnTo>
                    <a:pt x="274" y="308"/>
                  </a:lnTo>
                  <a:lnTo>
                    <a:pt x="276" y="303"/>
                  </a:lnTo>
                  <a:lnTo>
                    <a:pt x="292" y="239"/>
                  </a:lnTo>
                  <a:lnTo>
                    <a:pt x="313" y="238"/>
                  </a:lnTo>
                  <a:lnTo>
                    <a:pt x="331" y="237"/>
                  </a:lnTo>
                  <a:lnTo>
                    <a:pt x="347" y="234"/>
                  </a:lnTo>
                  <a:lnTo>
                    <a:pt x="362" y="231"/>
                  </a:lnTo>
                  <a:lnTo>
                    <a:pt x="376" y="228"/>
                  </a:lnTo>
                  <a:lnTo>
                    <a:pt x="388" y="224"/>
                  </a:lnTo>
                  <a:lnTo>
                    <a:pt x="399" y="220"/>
                  </a:lnTo>
                  <a:lnTo>
                    <a:pt x="408" y="215"/>
                  </a:lnTo>
                  <a:lnTo>
                    <a:pt x="417" y="211"/>
                  </a:lnTo>
                  <a:lnTo>
                    <a:pt x="423" y="206"/>
                  </a:lnTo>
                  <a:lnTo>
                    <a:pt x="430" y="200"/>
                  </a:lnTo>
                  <a:lnTo>
                    <a:pt x="435" y="195"/>
                  </a:lnTo>
                  <a:lnTo>
                    <a:pt x="445" y="185"/>
                  </a:lnTo>
                  <a:lnTo>
                    <a:pt x="451" y="175"/>
                  </a:lnTo>
                  <a:lnTo>
                    <a:pt x="458" y="185"/>
                  </a:lnTo>
                  <a:lnTo>
                    <a:pt x="466" y="195"/>
                  </a:lnTo>
                  <a:lnTo>
                    <a:pt x="471" y="200"/>
                  </a:lnTo>
                  <a:lnTo>
                    <a:pt x="478" y="206"/>
                  </a:lnTo>
                  <a:lnTo>
                    <a:pt x="485" y="211"/>
                  </a:lnTo>
                  <a:lnTo>
                    <a:pt x="494" y="215"/>
                  </a:lnTo>
                  <a:lnTo>
                    <a:pt x="503" y="220"/>
                  </a:lnTo>
                  <a:lnTo>
                    <a:pt x="513" y="224"/>
                  </a:lnTo>
                  <a:lnTo>
                    <a:pt x="526" y="228"/>
                  </a:lnTo>
                  <a:lnTo>
                    <a:pt x="539" y="231"/>
                  </a:lnTo>
                  <a:lnTo>
                    <a:pt x="554" y="234"/>
                  </a:lnTo>
                  <a:lnTo>
                    <a:pt x="571" y="237"/>
                  </a:lnTo>
                  <a:lnTo>
                    <a:pt x="589" y="238"/>
                  </a:lnTo>
                  <a:lnTo>
                    <a:pt x="610" y="239"/>
                  </a:lnTo>
                  <a:lnTo>
                    <a:pt x="626" y="303"/>
                  </a:lnTo>
                  <a:lnTo>
                    <a:pt x="628" y="308"/>
                  </a:lnTo>
                  <a:lnTo>
                    <a:pt x="631" y="312"/>
                  </a:lnTo>
                  <a:lnTo>
                    <a:pt x="635" y="314"/>
                  </a:lnTo>
                  <a:lnTo>
                    <a:pt x="641" y="315"/>
                  </a:lnTo>
                  <a:lnTo>
                    <a:pt x="644" y="315"/>
                  </a:lnTo>
                  <a:lnTo>
                    <a:pt x="648" y="316"/>
                  </a:lnTo>
                  <a:lnTo>
                    <a:pt x="652" y="317"/>
                  </a:lnTo>
                  <a:lnTo>
                    <a:pt x="654" y="319"/>
                  </a:lnTo>
                  <a:lnTo>
                    <a:pt x="659" y="324"/>
                  </a:lnTo>
                  <a:lnTo>
                    <a:pt x="662" y="330"/>
                  </a:lnTo>
                  <a:lnTo>
                    <a:pt x="666" y="336"/>
                  </a:lnTo>
                  <a:lnTo>
                    <a:pt x="667" y="344"/>
                  </a:lnTo>
                  <a:lnTo>
                    <a:pt x="668" y="350"/>
                  </a:lnTo>
                  <a:lnTo>
                    <a:pt x="668" y="357"/>
                  </a:lnTo>
                  <a:lnTo>
                    <a:pt x="668" y="362"/>
                  </a:lnTo>
                  <a:lnTo>
                    <a:pt x="667" y="369"/>
                  </a:lnTo>
                  <a:lnTo>
                    <a:pt x="666" y="376"/>
                  </a:lnTo>
                  <a:lnTo>
                    <a:pt x="662" y="383"/>
                  </a:lnTo>
                  <a:lnTo>
                    <a:pt x="659" y="389"/>
                  </a:lnTo>
                  <a:lnTo>
                    <a:pt x="654" y="394"/>
                  </a:lnTo>
                  <a:lnTo>
                    <a:pt x="652" y="395"/>
                  </a:lnTo>
                  <a:lnTo>
                    <a:pt x="648" y="398"/>
                  </a:lnTo>
                  <a:lnTo>
                    <a:pt x="644" y="398"/>
                  </a:lnTo>
                  <a:lnTo>
                    <a:pt x="641" y="399"/>
                  </a:lnTo>
                  <a:lnTo>
                    <a:pt x="635" y="400"/>
                  </a:lnTo>
                  <a:lnTo>
                    <a:pt x="631" y="402"/>
                  </a:lnTo>
                  <a:lnTo>
                    <a:pt x="628" y="406"/>
                  </a:lnTo>
                  <a:lnTo>
                    <a:pt x="626" y="412"/>
                  </a:lnTo>
                  <a:lnTo>
                    <a:pt x="624" y="421"/>
                  </a:lnTo>
                  <a:lnTo>
                    <a:pt x="620" y="432"/>
                  </a:lnTo>
                  <a:lnTo>
                    <a:pt x="618" y="442"/>
                  </a:lnTo>
                  <a:lnTo>
                    <a:pt x="614" y="450"/>
                  </a:lnTo>
                  <a:lnTo>
                    <a:pt x="605" y="468"/>
                  </a:lnTo>
                  <a:lnTo>
                    <a:pt x="596" y="484"/>
                  </a:lnTo>
                  <a:lnTo>
                    <a:pt x="584" y="499"/>
                  </a:lnTo>
                  <a:lnTo>
                    <a:pt x="571" y="513"/>
                  </a:lnTo>
                  <a:lnTo>
                    <a:pt x="558" y="525"/>
                  </a:lnTo>
                  <a:lnTo>
                    <a:pt x="544" y="537"/>
                  </a:lnTo>
                  <a:lnTo>
                    <a:pt x="530" y="547"/>
                  </a:lnTo>
                  <a:lnTo>
                    <a:pt x="516" y="555"/>
                  </a:lnTo>
                  <a:lnTo>
                    <a:pt x="503" y="564"/>
                  </a:lnTo>
                  <a:lnTo>
                    <a:pt x="491" y="570"/>
                  </a:lnTo>
                  <a:lnTo>
                    <a:pt x="467" y="581"/>
                  </a:lnTo>
                  <a:lnTo>
                    <a:pt x="451" y="587"/>
                  </a:lnTo>
                  <a:lnTo>
                    <a:pt x="434" y="581"/>
                  </a:lnTo>
                  <a:lnTo>
                    <a:pt x="411" y="570"/>
                  </a:lnTo>
                  <a:lnTo>
                    <a:pt x="399" y="564"/>
                  </a:lnTo>
                  <a:lnTo>
                    <a:pt x="386" y="555"/>
                  </a:lnTo>
                  <a:lnTo>
                    <a:pt x="372" y="547"/>
                  </a:lnTo>
                  <a:lnTo>
                    <a:pt x="358" y="537"/>
                  </a:lnTo>
                  <a:lnTo>
                    <a:pt x="344" y="525"/>
                  </a:lnTo>
                  <a:lnTo>
                    <a:pt x="331" y="513"/>
                  </a:lnTo>
                  <a:lnTo>
                    <a:pt x="318" y="499"/>
                  </a:lnTo>
                  <a:lnTo>
                    <a:pt x="306" y="484"/>
                  </a:lnTo>
                  <a:lnTo>
                    <a:pt x="297" y="468"/>
                  </a:lnTo>
                  <a:lnTo>
                    <a:pt x="288" y="450"/>
                  </a:lnTo>
                  <a:lnTo>
                    <a:pt x="284" y="442"/>
                  </a:lnTo>
                  <a:lnTo>
                    <a:pt x="281" y="432"/>
                  </a:lnTo>
                  <a:lnTo>
                    <a:pt x="278" y="421"/>
                  </a:lnTo>
                  <a:lnTo>
                    <a:pt x="276" y="410"/>
                  </a:lnTo>
                  <a:close/>
                  <a:moveTo>
                    <a:pt x="170" y="512"/>
                  </a:moveTo>
                  <a:lnTo>
                    <a:pt x="156" y="514"/>
                  </a:lnTo>
                  <a:lnTo>
                    <a:pt x="141" y="514"/>
                  </a:lnTo>
                  <a:lnTo>
                    <a:pt x="133" y="513"/>
                  </a:lnTo>
                  <a:lnTo>
                    <a:pt x="125" y="512"/>
                  </a:lnTo>
                  <a:lnTo>
                    <a:pt x="118" y="510"/>
                  </a:lnTo>
                  <a:lnTo>
                    <a:pt x="110" y="508"/>
                  </a:lnTo>
                  <a:lnTo>
                    <a:pt x="103" y="505"/>
                  </a:lnTo>
                  <a:lnTo>
                    <a:pt x="95" y="502"/>
                  </a:lnTo>
                  <a:lnTo>
                    <a:pt x="89" y="497"/>
                  </a:lnTo>
                  <a:lnTo>
                    <a:pt x="81" y="492"/>
                  </a:lnTo>
                  <a:lnTo>
                    <a:pt x="75" y="485"/>
                  </a:lnTo>
                  <a:lnTo>
                    <a:pt x="68" y="479"/>
                  </a:lnTo>
                  <a:lnTo>
                    <a:pt x="62" y="472"/>
                  </a:lnTo>
                  <a:lnTo>
                    <a:pt x="57" y="463"/>
                  </a:lnTo>
                  <a:lnTo>
                    <a:pt x="67" y="460"/>
                  </a:lnTo>
                  <a:lnTo>
                    <a:pt x="77" y="453"/>
                  </a:lnTo>
                  <a:lnTo>
                    <a:pt x="87" y="447"/>
                  </a:lnTo>
                  <a:lnTo>
                    <a:pt x="95" y="438"/>
                  </a:lnTo>
                  <a:lnTo>
                    <a:pt x="103" y="429"/>
                  </a:lnTo>
                  <a:lnTo>
                    <a:pt x="109" y="418"/>
                  </a:lnTo>
                  <a:lnTo>
                    <a:pt x="115" y="406"/>
                  </a:lnTo>
                  <a:lnTo>
                    <a:pt x="122" y="393"/>
                  </a:lnTo>
                  <a:lnTo>
                    <a:pt x="133" y="365"/>
                  </a:lnTo>
                  <a:lnTo>
                    <a:pt x="141" y="335"/>
                  </a:lnTo>
                  <a:lnTo>
                    <a:pt x="150" y="302"/>
                  </a:lnTo>
                  <a:lnTo>
                    <a:pt x="157" y="269"/>
                  </a:lnTo>
                  <a:lnTo>
                    <a:pt x="166" y="234"/>
                  </a:lnTo>
                  <a:lnTo>
                    <a:pt x="174" y="199"/>
                  </a:lnTo>
                  <a:lnTo>
                    <a:pt x="180" y="181"/>
                  </a:lnTo>
                  <a:lnTo>
                    <a:pt x="185" y="165"/>
                  </a:lnTo>
                  <a:lnTo>
                    <a:pt x="191" y="148"/>
                  </a:lnTo>
                  <a:lnTo>
                    <a:pt x="197" y="132"/>
                  </a:lnTo>
                  <a:lnTo>
                    <a:pt x="203" y="117"/>
                  </a:lnTo>
                  <a:lnTo>
                    <a:pt x="211" y="103"/>
                  </a:lnTo>
                  <a:lnTo>
                    <a:pt x="218" y="89"/>
                  </a:lnTo>
                  <a:lnTo>
                    <a:pt x="227" y="77"/>
                  </a:lnTo>
                  <a:lnTo>
                    <a:pt x="237" y="66"/>
                  </a:lnTo>
                  <a:lnTo>
                    <a:pt x="247" y="56"/>
                  </a:lnTo>
                  <a:lnTo>
                    <a:pt x="258" y="48"/>
                  </a:lnTo>
                  <a:lnTo>
                    <a:pt x="271" y="41"/>
                  </a:lnTo>
                  <a:lnTo>
                    <a:pt x="278" y="37"/>
                  </a:lnTo>
                  <a:lnTo>
                    <a:pt x="287" y="35"/>
                  </a:lnTo>
                  <a:lnTo>
                    <a:pt x="296" y="33"/>
                  </a:lnTo>
                  <a:lnTo>
                    <a:pt x="305" y="31"/>
                  </a:lnTo>
                  <a:lnTo>
                    <a:pt x="315" y="31"/>
                  </a:lnTo>
                  <a:lnTo>
                    <a:pt x="325" y="31"/>
                  </a:lnTo>
                  <a:lnTo>
                    <a:pt x="334" y="31"/>
                  </a:lnTo>
                  <a:lnTo>
                    <a:pt x="345" y="32"/>
                  </a:lnTo>
                  <a:lnTo>
                    <a:pt x="357" y="34"/>
                  </a:lnTo>
                  <a:lnTo>
                    <a:pt x="367" y="37"/>
                  </a:lnTo>
                  <a:lnTo>
                    <a:pt x="379" y="41"/>
                  </a:lnTo>
                  <a:lnTo>
                    <a:pt x="391" y="44"/>
                  </a:lnTo>
                  <a:lnTo>
                    <a:pt x="417" y="55"/>
                  </a:lnTo>
                  <a:lnTo>
                    <a:pt x="445" y="66"/>
                  </a:lnTo>
                  <a:lnTo>
                    <a:pt x="448" y="67"/>
                  </a:lnTo>
                  <a:lnTo>
                    <a:pt x="451" y="68"/>
                  </a:lnTo>
                  <a:lnTo>
                    <a:pt x="454" y="67"/>
                  </a:lnTo>
                  <a:lnTo>
                    <a:pt x="458" y="66"/>
                  </a:lnTo>
                  <a:lnTo>
                    <a:pt x="484" y="53"/>
                  </a:lnTo>
                  <a:lnTo>
                    <a:pt x="510" y="44"/>
                  </a:lnTo>
                  <a:lnTo>
                    <a:pt x="522" y="41"/>
                  </a:lnTo>
                  <a:lnTo>
                    <a:pt x="534" y="36"/>
                  </a:lnTo>
                  <a:lnTo>
                    <a:pt x="545" y="34"/>
                  </a:lnTo>
                  <a:lnTo>
                    <a:pt x="556" y="32"/>
                  </a:lnTo>
                  <a:lnTo>
                    <a:pt x="567" y="31"/>
                  </a:lnTo>
                  <a:lnTo>
                    <a:pt x="578" y="31"/>
                  </a:lnTo>
                  <a:lnTo>
                    <a:pt x="587" y="31"/>
                  </a:lnTo>
                  <a:lnTo>
                    <a:pt x="597" y="31"/>
                  </a:lnTo>
                  <a:lnTo>
                    <a:pt x="605" y="33"/>
                  </a:lnTo>
                  <a:lnTo>
                    <a:pt x="615" y="35"/>
                  </a:lnTo>
                  <a:lnTo>
                    <a:pt x="623" y="37"/>
                  </a:lnTo>
                  <a:lnTo>
                    <a:pt x="631" y="41"/>
                  </a:lnTo>
                  <a:lnTo>
                    <a:pt x="643" y="48"/>
                  </a:lnTo>
                  <a:lnTo>
                    <a:pt x="655" y="56"/>
                  </a:lnTo>
                  <a:lnTo>
                    <a:pt x="664" y="66"/>
                  </a:lnTo>
                  <a:lnTo>
                    <a:pt x="674" y="77"/>
                  </a:lnTo>
                  <a:lnTo>
                    <a:pt x="683" y="89"/>
                  </a:lnTo>
                  <a:lnTo>
                    <a:pt x="691" y="103"/>
                  </a:lnTo>
                  <a:lnTo>
                    <a:pt x="699" y="117"/>
                  </a:lnTo>
                  <a:lnTo>
                    <a:pt x="705" y="132"/>
                  </a:lnTo>
                  <a:lnTo>
                    <a:pt x="712" y="148"/>
                  </a:lnTo>
                  <a:lnTo>
                    <a:pt x="717" y="165"/>
                  </a:lnTo>
                  <a:lnTo>
                    <a:pt x="722" y="181"/>
                  </a:lnTo>
                  <a:lnTo>
                    <a:pt x="727" y="199"/>
                  </a:lnTo>
                  <a:lnTo>
                    <a:pt x="736" y="234"/>
                  </a:lnTo>
                  <a:lnTo>
                    <a:pt x="744" y="269"/>
                  </a:lnTo>
                  <a:lnTo>
                    <a:pt x="752" y="302"/>
                  </a:lnTo>
                  <a:lnTo>
                    <a:pt x="760" y="335"/>
                  </a:lnTo>
                  <a:lnTo>
                    <a:pt x="770" y="365"/>
                  </a:lnTo>
                  <a:lnTo>
                    <a:pt x="780" y="393"/>
                  </a:lnTo>
                  <a:lnTo>
                    <a:pt x="786" y="406"/>
                  </a:lnTo>
                  <a:lnTo>
                    <a:pt x="792" y="418"/>
                  </a:lnTo>
                  <a:lnTo>
                    <a:pt x="800" y="429"/>
                  </a:lnTo>
                  <a:lnTo>
                    <a:pt x="807" y="438"/>
                  </a:lnTo>
                  <a:lnTo>
                    <a:pt x="816" y="447"/>
                  </a:lnTo>
                  <a:lnTo>
                    <a:pt x="824" y="453"/>
                  </a:lnTo>
                  <a:lnTo>
                    <a:pt x="834" y="460"/>
                  </a:lnTo>
                  <a:lnTo>
                    <a:pt x="845" y="463"/>
                  </a:lnTo>
                  <a:lnTo>
                    <a:pt x="839" y="472"/>
                  </a:lnTo>
                  <a:lnTo>
                    <a:pt x="834" y="479"/>
                  </a:lnTo>
                  <a:lnTo>
                    <a:pt x="827" y="485"/>
                  </a:lnTo>
                  <a:lnTo>
                    <a:pt x="821" y="492"/>
                  </a:lnTo>
                  <a:lnTo>
                    <a:pt x="813" y="497"/>
                  </a:lnTo>
                  <a:lnTo>
                    <a:pt x="806" y="502"/>
                  </a:lnTo>
                  <a:lnTo>
                    <a:pt x="800" y="505"/>
                  </a:lnTo>
                  <a:lnTo>
                    <a:pt x="792" y="508"/>
                  </a:lnTo>
                  <a:lnTo>
                    <a:pt x="785" y="510"/>
                  </a:lnTo>
                  <a:lnTo>
                    <a:pt x="776" y="512"/>
                  </a:lnTo>
                  <a:lnTo>
                    <a:pt x="768" y="513"/>
                  </a:lnTo>
                  <a:lnTo>
                    <a:pt x="761" y="514"/>
                  </a:lnTo>
                  <a:lnTo>
                    <a:pt x="746" y="514"/>
                  </a:lnTo>
                  <a:lnTo>
                    <a:pt x="732" y="512"/>
                  </a:lnTo>
                  <a:lnTo>
                    <a:pt x="717" y="508"/>
                  </a:lnTo>
                  <a:lnTo>
                    <a:pt x="702" y="502"/>
                  </a:lnTo>
                  <a:lnTo>
                    <a:pt x="696" y="498"/>
                  </a:lnTo>
                  <a:lnTo>
                    <a:pt x="689" y="494"/>
                  </a:lnTo>
                  <a:lnTo>
                    <a:pt x="683" y="490"/>
                  </a:lnTo>
                  <a:lnTo>
                    <a:pt x="677" y="484"/>
                  </a:lnTo>
                  <a:lnTo>
                    <a:pt x="672" y="479"/>
                  </a:lnTo>
                  <a:lnTo>
                    <a:pt x="667" y="474"/>
                  </a:lnTo>
                  <a:lnTo>
                    <a:pt x="662" y="467"/>
                  </a:lnTo>
                  <a:lnTo>
                    <a:pt x="659" y="461"/>
                  </a:lnTo>
                  <a:lnTo>
                    <a:pt x="656" y="454"/>
                  </a:lnTo>
                  <a:lnTo>
                    <a:pt x="654" y="447"/>
                  </a:lnTo>
                  <a:lnTo>
                    <a:pt x="653" y="440"/>
                  </a:lnTo>
                  <a:lnTo>
                    <a:pt x="652" y="432"/>
                  </a:lnTo>
                  <a:lnTo>
                    <a:pt x="652" y="432"/>
                  </a:lnTo>
                  <a:lnTo>
                    <a:pt x="652" y="432"/>
                  </a:lnTo>
                  <a:lnTo>
                    <a:pt x="653" y="430"/>
                  </a:lnTo>
                  <a:lnTo>
                    <a:pt x="653" y="427"/>
                  </a:lnTo>
                  <a:lnTo>
                    <a:pt x="659" y="425"/>
                  </a:lnTo>
                  <a:lnTo>
                    <a:pt x="663" y="423"/>
                  </a:lnTo>
                  <a:lnTo>
                    <a:pt x="669" y="420"/>
                  </a:lnTo>
                  <a:lnTo>
                    <a:pt x="673" y="417"/>
                  </a:lnTo>
                  <a:lnTo>
                    <a:pt x="681" y="409"/>
                  </a:lnTo>
                  <a:lnTo>
                    <a:pt x="687" y="401"/>
                  </a:lnTo>
                  <a:lnTo>
                    <a:pt x="691" y="391"/>
                  </a:lnTo>
                  <a:lnTo>
                    <a:pt x="696" y="379"/>
                  </a:lnTo>
                  <a:lnTo>
                    <a:pt x="698" y="369"/>
                  </a:lnTo>
                  <a:lnTo>
                    <a:pt x="699" y="357"/>
                  </a:lnTo>
                  <a:lnTo>
                    <a:pt x="698" y="345"/>
                  </a:lnTo>
                  <a:lnTo>
                    <a:pt x="696" y="333"/>
                  </a:lnTo>
                  <a:lnTo>
                    <a:pt x="691" y="323"/>
                  </a:lnTo>
                  <a:lnTo>
                    <a:pt x="687" y="312"/>
                  </a:lnTo>
                  <a:lnTo>
                    <a:pt x="681" y="303"/>
                  </a:lnTo>
                  <a:lnTo>
                    <a:pt x="672" y="296"/>
                  </a:lnTo>
                  <a:lnTo>
                    <a:pt x="668" y="293"/>
                  </a:lnTo>
                  <a:lnTo>
                    <a:pt x="663" y="289"/>
                  </a:lnTo>
                  <a:lnTo>
                    <a:pt x="658" y="287"/>
                  </a:lnTo>
                  <a:lnTo>
                    <a:pt x="653" y="286"/>
                  </a:lnTo>
                  <a:lnTo>
                    <a:pt x="637" y="220"/>
                  </a:lnTo>
                  <a:lnTo>
                    <a:pt x="634" y="215"/>
                  </a:lnTo>
                  <a:lnTo>
                    <a:pt x="631" y="212"/>
                  </a:lnTo>
                  <a:lnTo>
                    <a:pt x="627" y="210"/>
                  </a:lnTo>
                  <a:lnTo>
                    <a:pt x="622" y="209"/>
                  </a:lnTo>
                  <a:lnTo>
                    <a:pt x="601" y="208"/>
                  </a:lnTo>
                  <a:lnTo>
                    <a:pt x="583" y="207"/>
                  </a:lnTo>
                  <a:lnTo>
                    <a:pt x="566" y="206"/>
                  </a:lnTo>
                  <a:lnTo>
                    <a:pt x="552" y="204"/>
                  </a:lnTo>
                  <a:lnTo>
                    <a:pt x="539" y="200"/>
                  </a:lnTo>
                  <a:lnTo>
                    <a:pt x="527" y="197"/>
                  </a:lnTo>
                  <a:lnTo>
                    <a:pt x="518" y="194"/>
                  </a:lnTo>
                  <a:lnTo>
                    <a:pt x="509" y="190"/>
                  </a:lnTo>
                  <a:lnTo>
                    <a:pt x="501" y="185"/>
                  </a:lnTo>
                  <a:lnTo>
                    <a:pt x="495" y="181"/>
                  </a:lnTo>
                  <a:lnTo>
                    <a:pt x="491" y="177"/>
                  </a:lnTo>
                  <a:lnTo>
                    <a:pt x="485" y="171"/>
                  </a:lnTo>
                  <a:lnTo>
                    <a:pt x="479" y="163"/>
                  </a:lnTo>
                  <a:lnTo>
                    <a:pt x="474" y="154"/>
                  </a:lnTo>
                  <a:lnTo>
                    <a:pt x="468" y="145"/>
                  </a:lnTo>
                  <a:lnTo>
                    <a:pt x="462" y="137"/>
                  </a:lnTo>
                  <a:lnTo>
                    <a:pt x="460" y="135"/>
                  </a:lnTo>
                  <a:lnTo>
                    <a:pt x="456" y="134"/>
                  </a:lnTo>
                  <a:lnTo>
                    <a:pt x="454" y="133"/>
                  </a:lnTo>
                  <a:lnTo>
                    <a:pt x="451" y="133"/>
                  </a:lnTo>
                  <a:lnTo>
                    <a:pt x="448" y="133"/>
                  </a:lnTo>
                  <a:lnTo>
                    <a:pt x="446" y="134"/>
                  </a:lnTo>
                  <a:lnTo>
                    <a:pt x="443" y="135"/>
                  </a:lnTo>
                  <a:lnTo>
                    <a:pt x="440" y="137"/>
                  </a:lnTo>
                  <a:lnTo>
                    <a:pt x="434" y="145"/>
                  </a:lnTo>
                  <a:lnTo>
                    <a:pt x="429" y="154"/>
                  </a:lnTo>
                  <a:lnTo>
                    <a:pt x="423" y="163"/>
                  </a:lnTo>
                  <a:lnTo>
                    <a:pt x="416" y="171"/>
                  </a:lnTo>
                  <a:lnTo>
                    <a:pt x="411" y="177"/>
                  </a:lnTo>
                  <a:lnTo>
                    <a:pt x="406" y="181"/>
                  </a:lnTo>
                  <a:lnTo>
                    <a:pt x="400" y="185"/>
                  </a:lnTo>
                  <a:lnTo>
                    <a:pt x="393" y="190"/>
                  </a:lnTo>
                  <a:lnTo>
                    <a:pt x="385" y="194"/>
                  </a:lnTo>
                  <a:lnTo>
                    <a:pt x="374" y="197"/>
                  </a:lnTo>
                  <a:lnTo>
                    <a:pt x="363" y="200"/>
                  </a:lnTo>
                  <a:lnTo>
                    <a:pt x="350" y="204"/>
                  </a:lnTo>
                  <a:lnTo>
                    <a:pt x="335" y="206"/>
                  </a:lnTo>
                  <a:lnTo>
                    <a:pt x="319" y="207"/>
                  </a:lnTo>
                  <a:lnTo>
                    <a:pt x="301" y="208"/>
                  </a:lnTo>
                  <a:lnTo>
                    <a:pt x="281" y="209"/>
                  </a:lnTo>
                  <a:lnTo>
                    <a:pt x="275" y="210"/>
                  </a:lnTo>
                  <a:lnTo>
                    <a:pt x="271" y="212"/>
                  </a:lnTo>
                  <a:lnTo>
                    <a:pt x="268" y="215"/>
                  </a:lnTo>
                  <a:lnTo>
                    <a:pt x="266" y="220"/>
                  </a:lnTo>
                  <a:lnTo>
                    <a:pt x="250" y="286"/>
                  </a:lnTo>
                  <a:lnTo>
                    <a:pt x="240" y="289"/>
                  </a:lnTo>
                  <a:lnTo>
                    <a:pt x="231" y="294"/>
                  </a:lnTo>
                  <a:lnTo>
                    <a:pt x="224" y="301"/>
                  </a:lnTo>
                  <a:lnTo>
                    <a:pt x="216" y="309"/>
                  </a:lnTo>
                  <a:lnTo>
                    <a:pt x="211" y="319"/>
                  </a:lnTo>
                  <a:lnTo>
                    <a:pt x="207" y="331"/>
                  </a:lnTo>
                  <a:lnTo>
                    <a:pt x="204" y="343"/>
                  </a:lnTo>
                  <a:lnTo>
                    <a:pt x="203" y="357"/>
                  </a:lnTo>
                  <a:lnTo>
                    <a:pt x="204" y="369"/>
                  </a:lnTo>
                  <a:lnTo>
                    <a:pt x="207" y="379"/>
                  </a:lnTo>
                  <a:lnTo>
                    <a:pt x="210" y="391"/>
                  </a:lnTo>
                  <a:lnTo>
                    <a:pt x="215" y="401"/>
                  </a:lnTo>
                  <a:lnTo>
                    <a:pt x="222" y="409"/>
                  </a:lnTo>
                  <a:lnTo>
                    <a:pt x="229" y="417"/>
                  </a:lnTo>
                  <a:lnTo>
                    <a:pt x="233" y="420"/>
                  </a:lnTo>
                  <a:lnTo>
                    <a:pt x="238" y="423"/>
                  </a:lnTo>
                  <a:lnTo>
                    <a:pt x="243" y="425"/>
                  </a:lnTo>
                  <a:lnTo>
                    <a:pt x="248" y="427"/>
                  </a:lnTo>
                  <a:lnTo>
                    <a:pt x="250" y="430"/>
                  </a:lnTo>
                  <a:lnTo>
                    <a:pt x="251" y="433"/>
                  </a:lnTo>
                  <a:lnTo>
                    <a:pt x="250" y="440"/>
                  </a:lnTo>
                  <a:lnTo>
                    <a:pt x="248" y="448"/>
                  </a:lnTo>
                  <a:lnTo>
                    <a:pt x="246" y="455"/>
                  </a:lnTo>
                  <a:lnTo>
                    <a:pt x="243" y="462"/>
                  </a:lnTo>
                  <a:lnTo>
                    <a:pt x="240" y="468"/>
                  </a:lnTo>
                  <a:lnTo>
                    <a:pt x="236" y="474"/>
                  </a:lnTo>
                  <a:lnTo>
                    <a:pt x="230" y="480"/>
                  </a:lnTo>
                  <a:lnTo>
                    <a:pt x="225" y="485"/>
                  </a:lnTo>
                  <a:lnTo>
                    <a:pt x="219" y="490"/>
                  </a:lnTo>
                  <a:lnTo>
                    <a:pt x="213" y="494"/>
                  </a:lnTo>
                  <a:lnTo>
                    <a:pt x="207" y="498"/>
                  </a:lnTo>
                  <a:lnTo>
                    <a:pt x="199" y="502"/>
                  </a:lnTo>
                  <a:lnTo>
                    <a:pt x="185" y="508"/>
                  </a:lnTo>
                  <a:lnTo>
                    <a:pt x="170" y="512"/>
                  </a:lnTo>
                  <a:close/>
                  <a:moveTo>
                    <a:pt x="698" y="603"/>
                  </a:moveTo>
                  <a:lnTo>
                    <a:pt x="698" y="603"/>
                  </a:lnTo>
                  <a:lnTo>
                    <a:pt x="697" y="603"/>
                  </a:lnTo>
                  <a:lnTo>
                    <a:pt x="682" y="597"/>
                  </a:lnTo>
                  <a:lnTo>
                    <a:pt x="667" y="591"/>
                  </a:lnTo>
                  <a:lnTo>
                    <a:pt x="651" y="584"/>
                  </a:lnTo>
                  <a:lnTo>
                    <a:pt x="634" y="578"/>
                  </a:lnTo>
                  <a:lnTo>
                    <a:pt x="619" y="571"/>
                  </a:lnTo>
                  <a:lnTo>
                    <a:pt x="604" y="565"/>
                  </a:lnTo>
                  <a:lnTo>
                    <a:pt x="589" y="558"/>
                  </a:lnTo>
                  <a:lnTo>
                    <a:pt x="573" y="552"/>
                  </a:lnTo>
                  <a:lnTo>
                    <a:pt x="592" y="536"/>
                  </a:lnTo>
                  <a:lnTo>
                    <a:pt x="608" y="518"/>
                  </a:lnTo>
                  <a:lnTo>
                    <a:pt x="615" y="508"/>
                  </a:lnTo>
                  <a:lnTo>
                    <a:pt x="622" y="498"/>
                  </a:lnTo>
                  <a:lnTo>
                    <a:pt x="628" y="489"/>
                  </a:lnTo>
                  <a:lnTo>
                    <a:pt x="634" y="478"/>
                  </a:lnTo>
                  <a:lnTo>
                    <a:pt x="641" y="490"/>
                  </a:lnTo>
                  <a:lnTo>
                    <a:pt x="649" y="499"/>
                  </a:lnTo>
                  <a:lnTo>
                    <a:pt x="660" y="509"/>
                  </a:lnTo>
                  <a:lnTo>
                    <a:pt x="671" y="518"/>
                  </a:lnTo>
                  <a:lnTo>
                    <a:pt x="683" y="526"/>
                  </a:lnTo>
                  <a:lnTo>
                    <a:pt x="697" y="533"/>
                  </a:lnTo>
                  <a:lnTo>
                    <a:pt x="711" y="538"/>
                  </a:lnTo>
                  <a:lnTo>
                    <a:pt x="726" y="541"/>
                  </a:lnTo>
                  <a:lnTo>
                    <a:pt x="736" y="543"/>
                  </a:lnTo>
                  <a:lnTo>
                    <a:pt x="746" y="544"/>
                  </a:lnTo>
                  <a:lnTo>
                    <a:pt x="757" y="544"/>
                  </a:lnTo>
                  <a:lnTo>
                    <a:pt x="767" y="544"/>
                  </a:lnTo>
                  <a:lnTo>
                    <a:pt x="779" y="542"/>
                  </a:lnTo>
                  <a:lnTo>
                    <a:pt x="790" y="540"/>
                  </a:lnTo>
                  <a:lnTo>
                    <a:pt x="801" y="537"/>
                  </a:lnTo>
                  <a:lnTo>
                    <a:pt x="811" y="533"/>
                  </a:lnTo>
                  <a:lnTo>
                    <a:pt x="822" y="527"/>
                  </a:lnTo>
                  <a:lnTo>
                    <a:pt x="832" y="522"/>
                  </a:lnTo>
                  <a:lnTo>
                    <a:pt x="841" y="514"/>
                  </a:lnTo>
                  <a:lnTo>
                    <a:pt x="851" y="505"/>
                  </a:lnTo>
                  <a:lnTo>
                    <a:pt x="860" y="495"/>
                  </a:lnTo>
                  <a:lnTo>
                    <a:pt x="868" y="484"/>
                  </a:lnTo>
                  <a:lnTo>
                    <a:pt x="876" y="472"/>
                  </a:lnTo>
                  <a:lnTo>
                    <a:pt x="882" y="458"/>
                  </a:lnTo>
                  <a:lnTo>
                    <a:pt x="883" y="453"/>
                  </a:lnTo>
                  <a:lnTo>
                    <a:pt x="883" y="450"/>
                  </a:lnTo>
                  <a:lnTo>
                    <a:pt x="882" y="447"/>
                  </a:lnTo>
                  <a:lnTo>
                    <a:pt x="881" y="443"/>
                  </a:lnTo>
                  <a:lnTo>
                    <a:pt x="878" y="440"/>
                  </a:lnTo>
                  <a:lnTo>
                    <a:pt x="876" y="438"/>
                  </a:lnTo>
                  <a:lnTo>
                    <a:pt x="871" y="437"/>
                  </a:lnTo>
                  <a:lnTo>
                    <a:pt x="868" y="436"/>
                  </a:lnTo>
                  <a:lnTo>
                    <a:pt x="859" y="435"/>
                  </a:lnTo>
                  <a:lnTo>
                    <a:pt x="849" y="433"/>
                  </a:lnTo>
                  <a:lnTo>
                    <a:pt x="841" y="429"/>
                  </a:lnTo>
                  <a:lnTo>
                    <a:pt x="834" y="422"/>
                  </a:lnTo>
                  <a:lnTo>
                    <a:pt x="826" y="415"/>
                  </a:lnTo>
                  <a:lnTo>
                    <a:pt x="820" y="406"/>
                  </a:lnTo>
                  <a:lnTo>
                    <a:pt x="813" y="395"/>
                  </a:lnTo>
                  <a:lnTo>
                    <a:pt x="808" y="384"/>
                  </a:lnTo>
                  <a:lnTo>
                    <a:pt x="804" y="372"/>
                  </a:lnTo>
                  <a:lnTo>
                    <a:pt x="798" y="358"/>
                  </a:lnTo>
                  <a:lnTo>
                    <a:pt x="794" y="344"/>
                  </a:lnTo>
                  <a:lnTo>
                    <a:pt x="790" y="329"/>
                  </a:lnTo>
                  <a:lnTo>
                    <a:pt x="781" y="297"/>
                  </a:lnTo>
                  <a:lnTo>
                    <a:pt x="774" y="261"/>
                  </a:lnTo>
                  <a:lnTo>
                    <a:pt x="764" y="225"/>
                  </a:lnTo>
                  <a:lnTo>
                    <a:pt x="755" y="186"/>
                  </a:lnTo>
                  <a:lnTo>
                    <a:pt x="749" y="168"/>
                  </a:lnTo>
                  <a:lnTo>
                    <a:pt x="744" y="150"/>
                  </a:lnTo>
                  <a:lnTo>
                    <a:pt x="737" y="133"/>
                  </a:lnTo>
                  <a:lnTo>
                    <a:pt x="731" y="115"/>
                  </a:lnTo>
                  <a:lnTo>
                    <a:pt x="722" y="98"/>
                  </a:lnTo>
                  <a:lnTo>
                    <a:pt x="715" y="82"/>
                  </a:lnTo>
                  <a:lnTo>
                    <a:pt x="705" y="68"/>
                  </a:lnTo>
                  <a:lnTo>
                    <a:pt x="696" y="55"/>
                  </a:lnTo>
                  <a:lnTo>
                    <a:pt x="684" y="43"/>
                  </a:lnTo>
                  <a:lnTo>
                    <a:pt x="672" y="31"/>
                  </a:lnTo>
                  <a:lnTo>
                    <a:pt x="659" y="21"/>
                  </a:lnTo>
                  <a:lnTo>
                    <a:pt x="644" y="14"/>
                  </a:lnTo>
                  <a:lnTo>
                    <a:pt x="634" y="9"/>
                  </a:lnTo>
                  <a:lnTo>
                    <a:pt x="625" y="6"/>
                  </a:lnTo>
                  <a:lnTo>
                    <a:pt x="615" y="4"/>
                  </a:lnTo>
                  <a:lnTo>
                    <a:pt x="604" y="2"/>
                  </a:lnTo>
                  <a:lnTo>
                    <a:pt x="594" y="1"/>
                  </a:lnTo>
                  <a:lnTo>
                    <a:pt x="582" y="0"/>
                  </a:lnTo>
                  <a:lnTo>
                    <a:pt x="571" y="1"/>
                  </a:lnTo>
                  <a:lnTo>
                    <a:pt x="558" y="2"/>
                  </a:lnTo>
                  <a:lnTo>
                    <a:pt x="547" y="3"/>
                  </a:lnTo>
                  <a:lnTo>
                    <a:pt x="534" y="6"/>
                  </a:lnTo>
                  <a:lnTo>
                    <a:pt x="521" y="9"/>
                  </a:lnTo>
                  <a:lnTo>
                    <a:pt x="508" y="13"/>
                  </a:lnTo>
                  <a:lnTo>
                    <a:pt x="494" y="18"/>
                  </a:lnTo>
                  <a:lnTo>
                    <a:pt x="480" y="23"/>
                  </a:lnTo>
                  <a:lnTo>
                    <a:pt x="466" y="30"/>
                  </a:lnTo>
                  <a:lnTo>
                    <a:pt x="451" y="36"/>
                  </a:lnTo>
                  <a:lnTo>
                    <a:pt x="436" y="30"/>
                  </a:lnTo>
                  <a:lnTo>
                    <a:pt x="422" y="23"/>
                  </a:lnTo>
                  <a:lnTo>
                    <a:pt x="407" y="18"/>
                  </a:lnTo>
                  <a:lnTo>
                    <a:pt x="394" y="13"/>
                  </a:lnTo>
                  <a:lnTo>
                    <a:pt x="380" y="9"/>
                  </a:lnTo>
                  <a:lnTo>
                    <a:pt x="367" y="6"/>
                  </a:lnTo>
                  <a:lnTo>
                    <a:pt x="356" y="3"/>
                  </a:lnTo>
                  <a:lnTo>
                    <a:pt x="343" y="2"/>
                  </a:lnTo>
                  <a:lnTo>
                    <a:pt x="331" y="1"/>
                  </a:lnTo>
                  <a:lnTo>
                    <a:pt x="319" y="0"/>
                  </a:lnTo>
                  <a:lnTo>
                    <a:pt x="308" y="1"/>
                  </a:lnTo>
                  <a:lnTo>
                    <a:pt x="298" y="2"/>
                  </a:lnTo>
                  <a:lnTo>
                    <a:pt x="287" y="4"/>
                  </a:lnTo>
                  <a:lnTo>
                    <a:pt x="277" y="6"/>
                  </a:lnTo>
                  <a:lnTo>
                    <a:pt x="268" y="9"/>
                  </a:lnTo>
                  <a:lnTo>
                    <a:pt x="258" y="14"/>
                  </a:lnTo>
                  <a:lnTo>
                    <a:pt x="243" y="21"/>
                  </a:lnTo>
                  <a:lnTo>
                    <a:pt x="230" y="31"/>
                  </a:lnTo>
                  <a:lnTo>
                    <a:pt x="217" y="43"/>
                  </a:lnTo>
                  <a:lnTo>
                    <a:pt x="207" y="55"/>
                  </a:lnTo>
                  <a:lnTo>
                    <a:pt x="197" y="68"/>
                  </a:lnTo>
                  <a:lnTo>
                    <a:pt x="187" y="82"/>
                  </a:lnTo>
                  <a:lnTo>
                    <a:pt x="179" y="98"/>
                  </a:lnTo>
                  <a:lnTo>
                    <a:pt x="171" y="115"/>
                  </a:lnTo>
                  <a:lnTo>
                    <a:pt x="165" y="133"/>
                  </a:lnTo>
                  <a:lnTo>
                    <a:pt x="158" y="150"/>
                  </a:lnTo>
                  <a:lnTo>
                    <a:pt x="152" y="168"/>
                  </a:lnTo>
                  <a:lnTo>
                    <a:pt x="147" y="186"/>
                  </a:lnTo>
                  <a:lnTo>
                    <a:pt x="137" y="225"/>
                  </a:lnTo>
                  <a:lnTo>
                    <a:pt x="128" y="261"/>
                  </a:lnTo>
                  <a:lnTo>
                    <a:pt x="121" y="297"/>
                  </a:lnTo>
                  <a:lnTo>
                    <a:pt x="112" y="329"/>
                  </a:lnTo>
                  <a:lnTo>
                    <a:pt x="108" y="344"/>
                  </a:lnTo>
                  <a:lnTo>
                    <a:pt x="104" y="358"/>
                  </a:lnTo>
                  <a:lnTo>
                    <a:pt x="98" y="372"/>
                  </a:lnTo>
                  <a:lnTo>
                    <a:pt x="93" y="384"/>
                  </a:lnTo>
                  <a:lnTo>
                    <a:pt x="88" y="395"/>
                  </a:lnTo>
                  <a:lnTo>
                    <a:pt x="82" y="406"/>
                  </a:lnTo>
                  <a:lnTo>
                    <a:pt x="76" y="415"/>
                  </a:lnTo>
                  <a:lnTo>
                    <a:pt x="68" y="422"/>
                  </a:lnTo>
                  <a:lnTo>
                    <a:pt x="61" y="429"/>
                  </a:lnTo>
                  <a:lnTo>
                    <a:pt x="52" y="433"/>
                  </a:lnTo>
                  <a:lnTo>
                    <a:pt x="44" y="435"/>
                  </a:lnTo>
                  <a:lnTo>
                    <a:pt x="34" y="436"/>
                  </a:lnTo>
                  <a:lnTo>
                    <a:pt x="30" y="436"/>
                  </a:lnTo>
                  <a:lnTo>
                    <a:pt x="26" y="438"/>
                  </a:lnTo>
                  <a:lnTo>
                    <a:pt x="23" y="440"/>
                  </a:lnTo>
                  <a:lnTo>
                    <a:pt x="21" y="443"/>
                  </a:lnTo>
                  <a:lnTo>
                    <a:pt x="19" y="446"/>
                  </a:lnTo>
                  <a:lnTo>
                    <a:pt x="19" y="450"/>
                  </a:lnTo>
                  <a:lnTo>
                    <a:pt x="19" y="453"/>
                  </a:lnTo>
                  <a:lnTo>
                    <a:pt x="20" y="458"/>
                  </a:lnTo>
                  <a:lnTo>
                    <a:pt x="25" y="469"/>
                  </a:lnTo>
                  <a:lnTo>
                    <a:pt x="32" y="479"/>
                  </a:lnTo>
                  <a:lnTo>
                    <a:pt x="38" y="490"/>
                  </a:lnTo>
                  <a:lnTo>
                    <a:pt x="45" y="498"/>
                  </a:lnTo>
                  <a:lnTo>
                    <a:pt x="52" y="506"/>
                  </a:lnTo>
                  <a:lnTo>
                    <a:pt x="60" y="513"/>
                  </a:lnTo>
                  <a:lnTo>
                    <a:pt x="67" y="520"/>
                  </a:lnTo>
                  <a:lnTo>
                    <a:pt x="76" y="525"/>
                  </a:lnTo>
                  <a:lnTo>
                    <a:pt x="84" y="529"/>
                  </a:lnTo>
                  <a:lnTo>
                    <a:pt x="93" y="534"/>
                  </a:lnTo>
                  <a:lnTo>
                    <a:pt x="102" y="537"/>
                  </a:lnTo>
                  <a:lnTo>
                    <a:pt x="110" y="540"/>
                  </a:lnTo>
                  <a:lnTo>
                    <a:pt x="120" y="542"/>
                  </a:lnTo>
                  <a:lnTo>
                    <a:pt x="128" y="543"/>
                  </a:lnTo>
                  <a:lnTo>
                    <a:pt x="137" y="544"/>
                  </a:lnTo>
                  <a:lnTo>
                    <a:pt x="147" y="544"/>
                  </a:lnTo>
                  <a:lnTo>
                    <a:pt x="162" y="543"/>
                  </a:lnTo>
                  <a:lnTo>
                    <a:pt x="177" y="541"/>
                  </a:lnTo>
                  <a:lnTo>
                    <a:pt x="192" y="538"/>
                  </a:lnTo>
                  <a:lnTo>
                    <a:pt x="206" y="533"/>
                  </a:lnTo>
                  <a:lnTo>
                    <a:pt x="218" y="526"/>
                  </a:lnTo>
                  <a:lnTo>
                    <a:pt x="231" y="519"/>
                  </a:lnTo>
                  <a:lnTo>
                    <a:pt x="242" y="510"/>
                  </a:lnTo>
                  <a:lnTo>
                    <a:pt x="252" y="501"/>
                  </a:lnTo>
                  <a:lnTo>
                    <a:pt x="260" y="490"/>
                  </a:lnTo>
                  <a:lnTo>
                    <a:pt x="268" y="479"/>
                  </a:lnTo>
                  <a:lnTo>
                    <a:pt x="274" y="489"/>
                  </a:lnTo>
                  <a:lnTo>
                    <a:pt x="281" y="499"/>
                  </a:lnTo>
                  <a:lnTo>
                    <a:pt x="287" y="509"/>
                  </a:lnTo>
                  <a:lnTo>
                    <a:pt x="295" y="518"/>
                  </a:lnTo>
                  <a:lnTo>
                    <a:pt x="311" y="536"/>
                  </a:lnTo>
                  <a:lnTo>
                    <a:pt x="328" y="552"/>
                  </a:lnTo>
                  <a:lnTo>
                    <a:pt x="313" y="558"/>
                  </a:lnTo>
                  <a:lnTo>
                    <a:pt x="299" y="564"/>
                  </a:lnTo>
                  <a:lnTo>
                    <a:pt x="284" y="570"/>
                  </a:lnTo>
                  <a:lnTo>
                    <a:pt x="269" y="577"/>
                  </a:lnTo>
                  <a:lnTo>
                    <a:pt x="253" y="583"/>
                  </a:lnTo>
                  <a:lnTo>
                    <a:pt x="237" y="591"/>
                  </a:lnTo>
                  <a:lnTo>
                    <a:pt x="221" y="597"/>
                  </a:lnTo>
                  <a:lnTo>
                    <a:pt x="204" y="603"/>
                  </a:lnTo>
                  <a:lnTo>
                    <a:pt x="204" y="603"/>
                  </a:lnTo>
                  <a:lnTo>
                    <a:pt x="204" y="603"/>
                  </a:lnTo>
                  <a:lnTo>
                    <a:pt x="183" y="613"/>
                  </a:lnTo>
                  <a:lnTo>
                    <a:pt x="163" y="623"/>
                  </a:lnTo>
                  <a:lnTo>
                    <a:pt x="142" y="632"/>
                  </a:lnTo>
                  <a:lnTo>
                    <a:pt x="124" y="643"/>
                  </a:lnTo>
                  <a:lnTo>
                    <a:pt x="106" y="653"/>
                  </a:lnTo>
                  <a:lnTo>
                    <a:pt x="89" y="665"/>
                  </a:lnTo>
                  <a:lnTo>
                    <a:pt x="74" y="675"/>
                  </a:lnTo>
                  <a:lnTo>
                    <a:pt x="59" y="687"/>
                  </a:lnTo>
                  <a:lnTo>
                    <a:pt x="46" y="700"/>
                  </a:lnTo>
                  <a:lnTo>
                    <a:pt x="34" y="713"/>
                  </a:lnTo>
                  <a:lnTo>
                    <a:pt x="24" y="728"/>
                  </a:lnTo>
                  <a:lnTo>
                    <a:pt x="16" y="743"/>
                  </a:lnTo>
                  <a:lnTo>
                    <a:pt x="9" y="758"/>
                  </a:lnTo>
                  <a:lnTo>
                    <a:pt x="5" y="775"/>
                  </a:lnTo>
                  <a:lnTo>
                    <a:pt x="2" y="793"/>
                  </a:lnTo>
                  <a:lnTo>
                    <a:pt x="1" y="812"/>
                  </a:lnTo>
                  <a:lnTo>
                    <a:pt x="0" y="883"/>
                  </a:lnTo>
                  <a:lnTo>
                    <a:pt x="902" y="883"/>
                  </a:lnTo>
                  <a:lnTo>
                    <a:pt x="902" y="808"/>
                  </a:lnTo>
                  <a:lnTo>
                    <a:pt x="901" y="790"/>
                  </a:lnTo>
                  <a:lnTo>
                    <a:pt x="898" y="773"/>
                  </a:lnTo>
                  <a:lnTo>
                    <a:pt x="893" y="756"/>
                  </a:lnTo>
                  <a:lnTo>
                    <a:pt x="886" y="741"/>
                  </a:lnTo>
                  <a:lnTo>
                    <a:pt x="878" y="726"/>
                  </a:lnTo>
                  <a:lnTo>
                    <a:pt x="868" y="712"/>
                  </a:lnTo>
                  <a:lnTo>
                    <a:pt x="856" y="699"/>
                  </a:lnTo>
                  <a:lnTo>
                    <a:pt x="842" y="686"/>
                  </a:lnTo>
                  <a:lnTo>
                    <a:pt x="828" y="674"/>
                  </a:lnTo>
                  <a:lnTo>
                    <a:pt x="812" y="663"/>
                  </a:lnTo>
                  <a:lnTo>
                    <a:pt x="796" y="653"/>
                  </a:lnTo>
                  <a:lnTo>
                    <a:pt x="778" y="642"/>
                  </a:lnTo>
                  <a:lnTo>
                    <a:pt x="739" y="623"/>
                  </a:lnTo>
                  <a:lnTo>
                    <a:pt x="698" y="6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73">
              <a:extLst>
                <a:ext uri="{FF2B5EF4-FFF2-40B4-BE49-F238E27FC236}">
                  <a16:creationId xmlns:a16="http://schemas.microsoft.com/office/drawing/2014/main" id="{EE0116E4-EC60-400C-A2E3-3215F6CD7FAC}"/>
                </a:ext>
              </a:extLst>
            </p:cNvPr>
            <p:cNvSpPr>
              <a:spLocks/>
            </p:cNvSpPr>
            <p:nvPr/>
          </p:nvSpPr>
          <p:spPr bwMode="auto">
            <a:xfrm>
              <a:off x="2701925" y="3730625"/>
              <a:ext cx="33338" cy="15875"/>
            </a:xfrm>
            <a:custGeom>
              <a:avLst/>
              <a:gdLst>
                <a:gd name="T0" fmla="*/ 30 w 105"/>
                <a:gd name="T1" fmla="*/ 32 h 48"/>
                <a:gd name="T2" fmla="*/ 38 w 105"/>
                <a:gd name="T3" fmla="*/ 30 h 48"/>
                <a:gd name="T4" fmla="*/ 53 w 105"/>
                <a:gd name="T5" fmla="*/ 30 h 48"/>
                <a:gd name="T6" fmla="*/ 69 w 105"/>
                <a:gd name="T7" fmla="*/ 30 h 48"/>
                <a:gd name="T8" fmla="*/ 75 w 105"/>
                <a:gd name="T9" fmla="*/ 31 h 48"/>
                <a:gd name="T10" fmla="*/ 77 w 105"/>
                <a:gd name="T11" fmla="*/ 36 h 48"/>
                <a:gd name="T12" fmla="*/ 79 w 105"/>
                <a:gd name="T13" fmla="*/ 42 h 48"/>
                <a:gd name="T14" fmla="*/ 83 w 105"/>
                <a:gd name="T15" fmla="*/ 46 h 48"/>
                <a:gd name="T16" fmla="*/ 88 w 105"/>
                <a:gd name="T17" fmla="*/ 48 h 48"/>
                <a:gd name="T18" fmla="*/ 94 w 105"/>
                <a:gd name="T19" fmla="*/ 48 h 48"/>
                <a:gd name="T20" fmla="*/ 99 w 105"/>
                <a:gd name="T21" fmla="*/ 46 h 48"/>
                <a:gd name="T22" fmla="*/ 103 w 105"/>
                <a:gd name="T23" fmla="*/ 42 h 48"/>
                <a:gd name="T24" fmla="*/ 105 w 105"/>
                <a:gd name="T25" fmla="*/ 36 h 48"/>
                <a:gd name="T26" fmla="*/ 105 w 105"/>
                <a:gd name="T27" fmla="*/ 27 h 48"/>
                <a:gd name="T28" fmla="*/ 101 w 105"/>
                <a:gd name="T29" fmla="*/ 14 h 48"/>
                <a:gd name="T30" fmla="*/ 93 w 105"/>
                <a:gd name="T31" fmla="*/ 6 h 48"/>
                <a:gd name="T32" fmla="*/ 84 w 105"/>
                <a:gd name="T33" fmla="*/ 2 h 48"/>
                <a:gd name="T34" fmla="*/ 69 w 105"/>
                <a:gd name="T35" fmla="*/ 0 h 48"/>
                <a:gd name="T36" fmla="*/ 53 w 105"/>
                <a:gd name="T37" fmla="*/ 0 h 48"/>
                <a:gd name="T38" fmla="*/ 37 w 105"/>
                <a:gd name="T39" fmla="*/ 0 h 48"/>
                <a:gd name="T40" fmla="*/ 22 w 105"/>
                <a:gd name="T41" fmla="*/ 2 h 48"/>
                <a:gd name="T42" fmla="*/ 13 w 105"/>
                <a:gd name="T43" fmla="*/ 6 h 48"/>
                <a:gd name="T44" fmla="*/ 5 w 105"/>
                <a:gd name="T45" fmla="*/ 14 h 48"/>
                <a:gd name="T46" fmla="*/ 0 w 105"/>
                <a:gd name="T47" fmla="*/ 27 h 48"/>
                <a:gd name="T48" fmla="*/ 0 w 105"/>
                <a:gd name="T49" fmla="*/ 36 h 48"/>
                <a:gd name="T50" fmla="*/ 3 w 105"/>
                <a:gd name="T51" fmla="*/ 42 h 48"/>
                <a:gd name="T52" fmla="*/ 7 w 105"/>
                <a:gd name="T53" fmla="*/ 46 h 48"/>
                <a:gd name="T54" fmla="*/ 12 w 105"/>
                <a:gd name="T55" fmla="*/ 48 h 48"/>
                <a:gd name="T56" fmla="*/ 19 w 105"/>
                <a:gd name="T57" fmla="*/ 48 h 48"/>
                <a:gd name="T58" fmla="*/ 24 w 105"/>
                <a:gd name="T59" fmla="*/ 46 h 48"/>
                <a:gd name="T60" fmla="*/ 27 w 105"/>
                <a:gd name="T61" fmla="*/ 42 h 48"/>
                <a:gd name="T62" fmla="*/ 29 w 105"/>
                <a:gd name="T6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8">
                  <a:moveTo>
                    <a:pt x="30" y="33"/>
                  </a:moveTo>
                  <a:lnTo>
                    <a:pt x="30" y="32"/>
                  </a:lnTo>
                  <a:lnTo>
                    <a:pt x="30" y="31"/>
                  </a:lnTo>
                  <a:lnTo>
                    <a:pt x="38" y="30"/>
                  </a:lnTo>
                  <a:lnTo>
                    <a:pt x="48" y="30"/>
                  </a:lnTo>
                  <a:lnTo>
                    <a:pt x="53" y="30"/>
                  </a:lnTo>
                  <a:lnTo>
                    <a:pt x="58" y="30"/>
                  </a:lnTo>
                  <a:lnTo>
                    <a:pt x="69" y="30"/>
                  </a:lnTo>
                  <a:lnTo>
                    <a:pt x="75" y="30"/>
                  </a:lnTo>
                  <a:lnTo>
                    <a:pt x="75" y="31"/>
                  </a:lnTo>
                  <a:lnTo>
                    <a:pt x="75" y="33"/>
                  </a:lnTo>
                  <a:lnTo>
                    <a:pt x="77" y="36"/>
                  </a:lnTo>
                  <a:lnTo>
                    <a:pt x="78" y="40"/>
                  </a:lnTo>
                  <a:lnTo>
                    <a:pt x="79" y="42"/>
                  </a:lnTo>
                  <a:lnTo>
                    <a:pt x="81" y="44"/>
                  </a:lnTo>
                  <a:lnTo>
                    <a:pt x="83" y="46"/>
                  </a:lnTo>
                  <a:lnTo>
                    <a:pt x="85" y="47"/>
                  </a:lnTo>
                  <a:lnTo>
                    <a:pt x="88" y="48"/>
                  </a:lnTo>
                  <a:lnTo>
                    <a:pt x="90" y="48"/>
                  </a:lnTo>
                  <a:lnTo>
                    <a:pt x="94" y="48"/>
                  </a:lnTo>
                  <a:lnTo>
                    <a:pt x="97" y="47"/>
                  </a:lnTo>
                  <a:lnTo>
                    <a:pt x="99" y="46"/>
                  </a:lnTo>
                  <a:lnTo>
                    <a:pt x="101" y="44"/>
                  </a:lnTo>
                  <a:lnTo>
                    <a:pt x="103" y="42"/>
                  </a:lnTo>
                  <a:lnTo>
                    <a:pt x="104" y="40"/>
                  </a:lnTo>
                  <a:lnTo>
                    <a:pt x="105" y="36"/>
                  </a:lnTo>
                  <a:lnTo>
                    <a:pt x="105" y="33"/>
                  </a:lnTo>
                  <a:lnTo>
                    <a:pt x="105" y="27"/>
                  </a:lnTo>
                  <a:lnTo>
                    <a:pt x="103" y="20"/>
                  </a:lnTo>
                  <a:lnTo>
                    <a:pt x="101" y="14"/>
                  </a:lnTo>
                  <a:lnTo>
                    <a:pt x="97" y="10"/>
                  </a:lnTo>
                  <a:lnTo>
                    <a:pt x="93" y="6"/>
                  </a:lnTo>
                  <a:lnTo>
                    <a:pt x="88" y="3"/>
                  </a:lnTo>
                  <a:lnTo>
                    <a:pt x="84" y="2"/>
                  </a:lnTo>
                  <a:lnTo>
                    <a:pt x="79" y="1"/>
                  </a:lnTo>
                  <a:lnTo>
                    <a:pt x="69" y="0"/>
                  </a:lnTo>
                  <a:lnTo>
                    <a:pt x="58" y="0"/>
                  </a:lnTo>
                  <a:lnTo>
                    <a:pt x="53" y="0"/>
                  </a:lnTo>
                  <a:lnTo>
                    <a:pt x="49" y="0"/>
                  </a:lnTo>
                  <a:lnTo>
                    <a:pt x="37" y="0"/>
                  </a:lnTo>
                  <a:lnTo>
                    <a:pt x="27" y="1"/>
                  </a:lnTo>
                  <a:lnTo>
                    <a:pt x="22" y="2"/>
                  </a:lnTo>
                  <a:lnTo>
                    <a:pt x="18" y="3"/>
                  </a:lnTo>
                  <a:lnTo>
                    <a:pt x="13" y="6"/>
                  </a:lnTo>
                  <a:lnTo>
                    <a:pt x="9" y="10"/>
                  </a:lnTo>
                  <a:lnTo>
                    <a:pt x="5" y="14"/>
                  </a:lnTo>
                  <a:lnTo>
                    <a:pt x="3" y="20"/>
                  </a:lnTo>
                  <a:lnTo>
                    <a:pt x="0" y="27"/>
                  </a:lnTo>
                  <a:lnTo>
                    <a:pt x="0" y="33"/>
                  </a:lnTo>
                  <a:lnTo>
                    <a:pt x="0" y="36"/>
                  </a:lnTo>
                  <a:lnTo>
                    <a:pt x="1" y="40"/>
                  </a:lnTo>
                  <a:lnTo>
                    <a:pt x="3" y="42"/>
                  </a:lnTo>
                  <a:lnTo>
                    <a:pt x="5" y="44"/>
                  </a:lnTo>
                  <a:lnTo>
                    <a:pt x="7" y="46"/>
                  </a:lnTo>
                  <a:lnTo>
                    <a:pt x="9" y="47"/>
                  </a:lnTo>
                  <a:lnTo>
                    <a:pt x="12" y="48"/>
                  </a:lnTo>
                  <a:lnTo>
                    <a:pt x="15" y="48"/>
                  </a:lnTo>
                  <a:lnTo>
                    <a:pt x="19" y="48"/>
                  </a:lnTo>
                  <a:lnTo>
                    <a:pt x="21" y="47"/>
                  </a:lnTo>
                  <a:lnTo>
                    <a:pt x="24" y="46"/>
                  </a:lnTo>
                  <a:lnTo>
                    <a:pt x="26" y="44"/>
                  </a:lnTo>
                  <a:lnTo>
                    <a:pt x="27" y="42"/>
                  </a:lnTo>
                  <a:lnTo>
                    <a:pt x="29" y="40"/>
                  </a:lnTo>
                  <a:lnTo>
                    <a:pt x="29" y="36"/>
                  </a:ln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74">
              <a:extLst>
                <a:ext uri="{FF2B5EF4-FFF2-40B4-BE49-F238E27FC236}">
                  <a16:creationId xmlns:a16="http://schemas.microsoft.com/office/drawing/2014/main" id="{B3A08B08-638D-4057-A307-39058C297C25}"/>
                </a:ext>
              </a:extLst>
            </p:cNvPr>
            <p:cNvSpPr>
              <a:spLocks/>
            </p:cNvSpPr>
            <p:nvPr/>
          </p:nvSpPr>
          <p:spPr bwMode="auto">
            <a:xfrm>
              <a:off x="2751138" y="3730625"/>
              <a:ext cx="33338" cy="15875"/>
            </a:xfrm>
            <a:custGeom>
              <a:avLst/>
              <a:gdLst>
                <a:gd name="T0" fmla="*/ 18 w 106"/>
                <a:gd name="T1" fmla="*/ 48 h 48"/>
                <a:gd name="T2" fmla="*/ 23 w 106"/>
                <a:gd name="T3" fmla="*/ 46 h 48"/>
                <a:gd name="T4" fmla="*/ 27 w 106"/>
                <a:gd name="T5" fmla="*/ 42 h 48"/>
                <a:gd name="T6" fmla="*/ 30 w 106"/>
                <a:gd name="T7" fmla="*/ 36 h 48"/>
                <a:gd name="T8" fmla="*/ 30 w 106"/>
                <a:gd name="T9" fmla="*/ 32 h 48"/>
                <a:gd name="T10" fmla="*/ 37 w 106"/>
                <a:gd name="T11" fmla="*/ 30 h 48"/>
                <a:gd name="T12" fmla="*/ 53 w 106"/>
                <a:gd name="T13" fmla="*/ 30 h 48"/>
                <a:gd name="T14" fmla="*/ 68 w 106"/>
                <a:gd name="T15" fmla="*/ 30 h 48"/>
                <a:gd name="T16" fmla="*/ 76 w 106"/>
                <a:gd name="T17" fmla="*/ 31 h 48"/>
                <a:gd name="T18" fmla="*/ 76 w 106"/>
                <a:gd name="T19" fmla="*/ 36 h 48"/>
                <a:gd name="T20" fmla="*/ 78 w 106"/>
                <a:gd name="T21" fmla="*/ 42 h 48"/>
                <a:gd name="T22" fmla="*/ 82 w 106"/>
                <a:gd name="T23" fmla="*/ 46 h 48"/>
                <a:gd name="T24" fmla="*/ 88 w 106"/>
                <a:gd name="T25" fmla="*/ 48 h 48"/>
                <a:gd name="T26" fmla="*/ 94 w 106"/>
                <a:gd name="T27" fmla="*/ 48 h 48"/>
                <a:gd name="T28" fmla="*/ 99 w 106"/>
                <a:gd name="T29" fmla="*/ 46 h 48"/>
                <a:gd name="T30" fmla="*/ 104 w 106"/>
                <a:gd name="T31" fmla="*/ 42 h 48"/>
                <a:gd name="T32" fmla="*/ 106 w 106"/>
                <a:gd name="T33" fmla="*/ 36 h 48"/>
                <a:gd name="T34" fmla="*/ 105 w 106"/>
                <a:gd name="T35" fmla="*/ 27 h 48"/>
                <a:gd name="T36" fmla="*/ 100 w 106"/>
                <a:gd name="T37" fmla="*/ 14 h 48"/>
                <a:gd name="T38" fmla="*/ 93 w 106"/>
                <a:gd name="T39" fmla="*/ 6 h 48"/>
                <a:gd name="T40" fmla="*/ 83 w 106"/>
                <a:gd name="T41" fmla="*/ 2 h 48"/>
                <a:gd name="T42" fmla="*/ 68 w 106"/>
                <a:gd name="T43" fmla="*/ 0 h 48"/>
                <a:gd name="T44" fmla="*/ 53 w 106"/>
                <a:gd name="T45" fmla="*/ 0 h 48"/>
                <a:gd name="T46" fmla="*/ 37 w 106"/>
                <a:gd name="T47" fmla="*/ 0 h 48"/>
                <a:gd name="T48" fmla="*/ 22 w 106"/>
                <a:gd name="T49" fmla="*/ 2 h 48"/>
                <a:gd name="T50" fmla="*/ 12 w 106"/>
                <a:gd name="T51" fmla="*/ 6 h 48"/>
                <a:gd name="T52" fmla="*/ 5 w 106"/>
                <a:gd name="T53" fmla="*/ 14 h 48"/>
                <a:gd name="T54" fmla="*/ 1 w 106"/>
                <a:gd name="T55" fmla="*/ 27 h 48"/>
                <a:gd name="T56" fmla="*/ 0 w 106"/>
                <a:gd name="T57" fmla="*/ 36 h 48"/>
                <a:gd name="T58" fmla="*/ 3 w 106"/>
                <a:gd name="T59" fmla="*/ 42 h 48"/>
                <a:gd name="T60" fmla="*/ 6 w 106"/>
                <a:gd name="T61" fmla="*/ 46 h 48"/>
                <a:gd name="T62" fmla="*/ 11 w 106"/>
                <a:gd name="T6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8">
                  <a:moveTo>
                    <a:pt x="15" y="48"/>
                  </a:moveTo>
                  <a:lnTo>
                    <a:pt x="18" y="48"/>
                  </a:lnTo>
                  <a:lnTo>
                    <a:pt x="21" y="47"/>
                  </a:lnTo>
                  <a:lnTo>
                    <a:pt x="23" y="46"/>
                  </a:lnTo>
                  <a:lnTo>
                    <a:pt x="25" y="44"/>
                  </a:lnTo>
                  <a:lnTo>
                    <a:pt x="27" y="42"/>
                  </a:lnTo>
                  <a:lnTo>
                    <a:pt x="29" y="40"/>
                  </a:lnTo>
                  <a:lnTo>
                    <a:pt x="30" y="36"/>
                  </a:lnTo>
                  <a:lnTo>
                    <a:pt x="30" y="33"/>
                  </a:lnTo>
                  <a:lnTo>
                    <a:pt x="30" y="32"/>
                  </a:lnTo>
                  <a:lnTo>
                    <a:pt x="30" y="31"/>
                  </a:lnTo>
                  <a:lnTo>
                    <a:pt x="37" y="30"/>
                  </a:lnTo>
                  <a:lnTo>
                    <a:pt x="48" y="30"/>
                  </a:lnTo>
                  <a:lnTo>
                    <a:pt x="53" y="30"/>
                  </a:lnTo>
                  <a:lnTo>
                    <a:pt x="57" y="30"/>
                  </a:lnTo>
                  <a:lnTo>
                    <a:pt x="68" y="30"/>
                  </a:lnTo>
                  <a:lnTo>
                    <a:pt x="76" y="30"/>
                  </a:lnTo>
                  <a:lnTo>
                    <a:pt x="76" y="31"/>
                  </a:lnTo>
                  <a:lnTo>
                    <a:pt x="76" y="33"/>
                  </a:lnTo>
                  <a:lnTo>
                    <a:pt x="76" y="36"/>
                  </a:lnTo>
                  <a:lnTo>
                    <a:pt x="77" y="40"/>
                  </a:lnTo>
                  <a:lnTo>
                    <a:pt x="78" y="42"/>
                  </a:lnTo>
                  <a:lnTo>
                    <a:pt x="80" y="44"/>
                  </a:lnTo>
                  <a:lnTo>
                    <a:pt x="82" y="46"/>
                  </a:lnTo>
                  <a:lnTo>
                    <a:pt x="84" y="47"/>
                  </a:lnTo>
                  <a:lnTo>
                    <a:pt x="88" y="48"/>
                  </a:lnTo>
                  <a:lnTo>
                    <a:pt x="91" y="48"/>
                  </a:lnTo>
                  <a:lnTo>
                    <a:pt x="94" y="48"/>
                  </a:lnTo>
                  <a:lnTo>
                    <a:pt x="96" y="47"/>
                  </a:lnTo>
                  <a:lnTo>
                    <a:pt x="99" y="46"/>
                  </a:lnTo>
                  <a:lnTo>
                    <a:pt x="101" y="44"/>
                  </a:lnTo>
                  <a:lnTo>
                    <a:pt x="104" y="42"/>
                  </a:lnTo>
                  <a:lnTo>
                    <a:pt x="105" y="40"/>
                  </a:lnTo>
                  <a:lnTo>
                    <a:pt x="106" y="36"/>
                  </a:lnTo>
                  <a:lnTo>
                    <a:pt x="106" y="33"/>
                  </a:lnTo>
                  <a:lnTo>
                    <a:pt x="105" y="27"/>
                  </a:lnTo>
                  <a:lnTo>
                    <a:pt x="104" y="20"/>
                  </a:lnTo>
                  <a:lnTo>
                    <a:pt x="100" y="14"/>
                  </a:lnTo>
                  <a:lnTo>
                    <a:pt x="97" y="10"/>
                  </a:lnTo>
                  <a:lnTo>
                    <a:pt x="93" y="6"/>
                  </a:lnTo>
                  <a:lnTo>
                    <a:pt x="89" y="3"/>
                  </a:lnTo>
                  <a:lnTo>
                    <a:pt x="83" y="2"/>
                  </a:lnTo>
                  <a:lnTo>
                    <a:pt x="79" y="1"/>
                  </a:lnTo>
                  <a:lnTo>
                    <a:pt x="68" y="0"/>
                  </a:lnTo>
                  <a:lnTo>
                    <a:pt x="57" y="0"/>
                  </a:lnTo>
                  <a:lnTo>
                    <a:pt x="53" y="0"/>
                  </a:lnTo>
                  <a:lnTo>
                    <a:pt x="48" y="0"/>
                  </a:lnTo>
                  <a:lnTo>
                    <a:pt x="37" y="0"/>
                  </a:lnTo>
                  <a:lnTo>
                    <a:pt x="26" y="1"/>
                  </a:lnTo>
                  <a:lnTo>
                    <a:pt x="22" y="2"/>
                  </a:lnTo>
                  <a:lnTo>
                    <a:pt x="17" y="3"/>
                  </a:lnTo>
                  <a:lnTo>
                    <a:pt x="12" y="6"/>
                  </a:lnTo>
                  <a:lnTo>
                    <a:pt x="8" y="10"/>
                  </a:lnTo>
                  <a:lnTo>
                    <a:pt x="5" y="14"/>
                  </a:lnTo>
                  <a:lnTo>
                    <a:pt x="2" y="20"/>
                  </a:lnTo>
                  <a:lnTo>
                    <a:pt x="1" y="27"/>
                  </a:lnTo>
                  <a:lnTo>
                    <a:pt x="0" y="33"/>
                  </a:lnTo>
                  <a:lnTo>
                    <a:pt x="0" y="36"/>
                  </a:lnTo>
                  <a:lnTo>
                    <a:pt x="1" y="40"/>
                  </a:lnTo>
                  <a:lnTo>
                    <a:pt x="3" y="42"/>
                  </a:lnTo>
                  <a:lnTo>
                    <a:pt x="4" y="44"/>
                  </a:lnTo>
                  <a:lnTo>
                    <a:pt x="6" y="46"/>
                  </a:lnTo>
                  <a:lnTo>
                    <a:pt x="9" y="47"/>
                  </a:lnTo>
                  <a:lnTo>
                    <a:pt x="11" y="48"/>
                  </a:lnTo>
                  <a:lnTo>
                    <a:pt x="15"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9" name="Group 9">
            <a:extLst>
              <a:ext uri="{FF2B5EF4-FFF2-40B4-BE49-F238E27FC236}">
                <a16:creationId xmlns:a16="http://schemas.microsoft.com/office/drawing/2014/main" id="{617B3C31-75E0-4F89-B603-B250E3CCD9DF}"/>
              </a:ext>
            </a:extLst>
          </p:cNvPr>
          <p:cNvGrpSpPr>
            <a:grpSpLocks noChangeAspect="1"/>
          </p:cNvGrpSpPr>
          <p:nvPr/>
        </p:nvGrpSpPr>
        <p:grpSpPr>
          <a:xfrm>
            <a:off x="6634417" y="2724897"/>
            <a:ext cx="292111" cy="285619"/>
            <a:chOff x="881063" y="3641725"/>
            <a:chExt cx="285750" cy="279400"/>
          </a:xfrm>
          <a:solidFill>
            <a:schemeClr val="bg2"/>
          </a:solidFill>
          <a:effectLst/>
        </p:grpSpPr>
        <p:sp>
          <p:nvSpPr>
            <p:cNvPr id="730" name="Freeform 102">
              <a:extLst>
                <a:ext uri="{FF2B5EF4-FFF2-40B4-BE49-F238E27FC236}">
                  <a16:creationId xmlns:a16="http://schemas.microsoft.com/office/drawing/2014/main" id="{48E16B96-2DAA-4A4E-BCF8-3E2F382A0785}"/>
                </a:ext>
              </a:extLst>
            </p:cNvPr>
            <p:cNvSpPr>
              <a:spLocks noEditPoints="1"/>
            </p:cNvSpPr>
            <p:nvPr/>
          </p:nvSpPr>
          <p:spPr bwMode="auto">
            <a:xfrm>
              <a:off x="881063" y="3641725"/>
              <a:ext cx="285750" cy="279400"/>
            </a:xfrm>
            <a:custGeom>
              <a:avLst/>
              <a:gdLst>
                <a:gd name="T0" fmla="*/ 770 w 903"/>
                <a:gd name="T1" fmla="*/ 681 h 883"/>
                <a:gd name="T2" fmla="*/ 828 w 903"/>
                <a:gd name="T3" fmla="*/ 724 h 883"/>
                <a:gd name="T4" fmla="*/ 851 w 903"/>
                <a:gd name="T5" fmla="*/ 777 h 883"/>
                <a:gd name="T6" fmla="*/ 417 w 903"/>
                <a:gd name="T7" fmla="*/ 852 h 883"/>
                <a:gd name="T8" fmla="*/ 68 w 903"/>
                <a:gd name="T9" fmla="*/ 739 h 883"/>
                <a:gd name="T10" fmla="*/ 110 w 903"/>
                <a:gd name="T11" fmla="*/ 695 h 883"/>
                <a:gd name="T12" fmla="*/ 269 w 903"/>
                <a:gd name="T13" fmla="*/ 626 h 883"/>
                <a:gd name="T14" fmla="*/ 57 w 903"/>
                <a:gd name="T15" fmla="*/ 766 h 883"/>
                <a:gd name="T16" fmla="*/ 298 w 903"/>
                <a:gd name="T17" fmla="*/ 615 h 883"/>
                <a:gd name="T18" fmla="*/ 314 w 903"/>
                <a:gd name="T19" fmla="*/ 350 h 883"/>
                <a:gd name="T20" fmla="*/ 294 w 903"/>
                <a:gd name="T21" fmla="*/ 317 h 883"/>
                <a:gd name="T22" fmla="*/ 298 w 903"/>
                <a:gd name="T23" fmla="*/ 295 h 883"/>
                <a:gd name="T24" fmla="*/ 312 w 903"/>
                <a:gd name="T25" fmla="*/ 288 h 883"/>
                <a:gd name="T26" fmla="*/ 588 w 903"/>
                <a:gd name="T27" fmla="*/ 280 h 883"/>
                <a:gd name="T28" fmla="*/ 597 w 903"/>
                <a:gd name="T29" fmla="*/ 294 h 883"/>
                <a:gd name="T30" fmla="*/ 609 w 903"/>
                <a:gd name="T31" fmla="*/ 300 h 883"/>
                <a:gd name="T32" fmla="*/ 601 w 903"/>
                <a:gd name="T33" fmla="*/ 341 h 883"/>
                <a:gd name="T34" fmla="*/ 587 w 903"/>
                <a:gd name="T35" fmla="*/ 380 h 883"/>
                <a:gd name="T36" fmla="*/ 546 w 903"/>
                <a:gd name="T37" fmla="*/ 466 h 883"/>
                <a:gd name="T38" fmla="*/ 452 w 903"/>
                <a:gd name="T39" fmla="*/ 606 h 883"/>
                <a:gd name="T40" fmla="*/ 357 w 903"/>
                <a:gd name="T41" fmla="*/ 466 h 883"/>
                <a:gd name="T42" fmla="*/ 316 w 903"/>
                <a:gd name="T43" fmla="*/ 379 h 883"/>
                <a:gd name="T44" fmla="*/ 422 w 903"/>
                <a:gd name="T45" fmla="*/ 65 h 883"/>
                <a:gd name="T46" fmla="*/ 508 w 903"/>
                <a:gd name="T47" fmla="*/ 55 h 883"/>
                <a:gd name="T48" fmla="*/ 413 w 903"/>
                <a:gd name="T49" fmla="*/ 675 h 883"/>
                <a:gd name="T50" fmla="*/ 390 w 903"/>
                <a:gd name="T51" fmla="*/ 696 h 883"/>
                <a:gd name="T52" fmla="*/ 513 w 903"/>
                <a:gd name="T53" fmla="*/ 695 h 883"/>
                <a:gd name="T54" fmla="*/ 480 w 903"/>
                <a:gd name="T55" fmla="*/ 626 h 883"/>
                <a:gd name="T56" fmla="*/ 864 w 903"/>
                <a:gd name="T57" fmla="*/ 730 h 883"/>
                <a:gd name="T58" fmla="*/ 817 w 903"/>
                <a:gd name="T59" fmla="*/ 673 h 883"/>
                <a:gd name="T60" fmla="*/ 633 w 903"/>
                <a:gd name="T61" fmla="*/ 594 h 883"/>
                <a:gd name="T62" fmla="*/ 577 w 903"/>
                <a:gd name="T63" fmla="*/ 476 h 883"/>
                <a:gd name="T64" fmla="*/ 613 w 903"/>
                <a:gd name="T65" fmla="*/ 399 h 883"/>
                <a:gd name="T66" fmla="*/ 632 w 903"/>
                <a:gd name="T67" fmla="*/ 348 h 883"/>
                <a:gd name="T68" fmla="*/ 640 w 903"/>
                <a:gd name="T69" fmla="*/ 301 h 883"/>
                <a:gd name="T70" fmla="*/ 622 w 903"/>
                <a:gd name="T71" fmla="*/ 270 h 883"/>
                <a:gd name="T72" fmla="*/ 707 w 903"/>
                <a:gd name="T73" fmla="*/ 249 h 883"/>
                <a:gd name="T74" fmla="*/ 713 w 903"/>
                <a:gd name="T75" fmla="*/ 234 h 883"/>
                <a:gd name="T76" fmla="*/ 701 w 903"/>
                <a:gd name="T77" fmla="*/ 222 h 883"/>
                <a:gd name="T78" fmla="*/ 554 w 903"/>
                <a:gd name="T79" fmla="*/ 2 h 883"/>
                <a:gd name="T80" fmla="*/ 492 w 903"/>
                <a:gd name="T81" fmla="*/ 29 h 883"/>
                <a:gd name="T82" fmla="*/ 430 w 903"/>
                <a:gd name="T83" fmla="*/ 36 h 883"/>
                <a:gd name="T84" fmla="*/ 355 w 903"/>
                <a:gd name="T85" fmla="*/ 0 h 883"/>
                <a:gd name="T86" fmla="*/ 265 w 903"/>
                <a:gd name="T87" fmla="*/ 221 h 883"/>
                <a:gd name="T88" fmla="*/ 192 w 903"/>
                <a:gd name="T89" fmla="*/ 228 h 883"/>
                <a:gd name="T90" fmla="*/ 192 w 903"/>
                <a:gd name="T91" fmla="*/ 244 h 883"/>
                <a:gd name="T92" fmla="*/ 276 w 903"/>
                <a:gd name="T93" fmla="*/ 251 h 883"/>
                <a:gd name="T94" fmla="*/ 284 w 903"/>
                <a:gd name="T95" fmla="*/ 268 h 883"/>
                <a:gd name="T96" fmla="*/ 265 w 903"/>
                <a:gd name="T97" fmla="*/ 294 h 883"/>
                <a:gd name="T98" fmla="*/ 268 w 903"/>
                <a:gd name="T99" fmla="*/ 341 h 883"/>
                <a:gd name="T100" fmla="*/ 287 w 903"/>
                <a:gd name="T101" fmla="*/ 388 h 883"/>
                <a:gd name="T102" fmla="*/ 320 w 903"/>
                <a:gd name="T103" fmla="*/ 467 h 883"/>
                <a:gd name="T104" fmla="*/ 285 w 903"/>
                <a:gd name="T105" fmla="*/ 588 h 883"/>
                <a:gd name="T106" fmla="*/ 100 w 903"/>
                <a:gd name="T107" fmla="*/ 665 h 883"/>
                <a:gd name="T108" fmla="*/ 43 w 903"/>
                <a:gd name="T109" fmla="*/ 719 h 883"/>
                <a:gd name="T110" fmla="*/ 4 w 903"/>
                <a:gd name="T111" fmla="*/ 848 h 883"/>
                <a:gd name="T112" fmla="*/ 7 w 903"/>
                <a:gd name="T113" fmla="*/ 879 h 883"/>
                <a:gd name="T114" fmla="*/ 888 w 903"/>
                <a:gd name="T115" fmla="*/ 882 h 883"/>
                <a:gd name="T116" fmla="*/ 902 w 903"/>
                <a:gd name="T117" fmla="*/ 874 h 883"/>
                <a:gd name="T118" fmla="*/ 886 w 903"/>
                <a:gd name="T119" fmla="*/ 784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3" h="883">
                  <a:moveTo>
                    <a:pt x="566" y="852"/>
                  </a:moveTo>
                  <a:lnTo>
                    <a:pt x="636" y="627"/>
                  </a:lnTo>
                  <a:lnTo>
                    <a:pt x="673" y="641"/>
                  </a:lnTo>
                  <a:lnTo>
                    <a:pt x="709" y="654"/>
                  </a:lnTo>
                  <a:lnTo>
                    <a:pt x="741" y="668"/>
                  </a:lnTo>
                  <a:lnTo>
                    <a:pt x="770" y="681"/>
                  </a:lnTo>
                  <a:lnTo>
                    <a:pt x="783" y="688"/>
                  </a:lnTo>
                  <a:lnTo>
                    <a:pt x="795" y="695"/>
                  </a:lnTo>
                  <a:lnTo>
                    <a:pt x="805" y="702"/>
                  </a:lnTo>
                  <a:lnTo>
                    <a:pt x="814" y="709"/>
                  </a:lnTo>
                  <a:lnTo>
                    <a:pt x="821" y="716"/>
                  </a:lnTo>
                  <a:lnTo>
                    <a:pt x="828" y="724"/>
                  </a:lnTo>
                  <a:lnTo>
                    <a:pt x="832" y="731"/>
                  </a:lnTo>
                  <a:lnTo>
                    <a:pt x="835" y="739"/>
                  </a:lnTo>
                  <a:lnTo>
                    <a:pt x="835" y="741"/>
                  </a:lnTo>
                  <a:lnTo>
                    <a:pt x="836" y="742"/>
                  </a:lnTo>
                  <a:lnTo>
                    <a:pt x="845" y="760"/>
                  </a:lnTo>
                  <a:lnTo>
                    <a:pt x="851" y="777"/>
                  </a:lnTo>
                  <a:lnTo>
                    <a:pt x="858" y="793"/>
                  </a:lnTo>
                  <a:lnTo>
                    <a:pt x="862" y="808"/>
                  </a:lnTo>
                  <a:lnTo>
                    <a:pt x="869" y="833"/>
                  </a:lnTo>
                  <a:lnTo>
                    <a:pt x="872" y="852"/>
                  </a:lnTo>
                  <a:lnTo>
                    <a:pt x="566" y="852"/>
                  </a:lnTo>
                  <a:close/>
                  <a:moveTo>
                    <a:pt x="417" y="852"/>
                  </a:moveTo>
                  <a:lnTo>
                    <a:pt x="452" y="773"/>
                  </a:lnTo>
                  <a:lnTo>
                    <a:pt x="486" y="852"/>
                  </a:lnTo>
                  <a:lnTo>
                    <a:pt x="417" y="852"/>
                  </a:lnTo>
                  <a:close/>
                  <a:moveTo>
                    <a:pt x="67" y="742"/>
                  </a:moveTo>
                  <a:lnTo>
                    <a:pt x="68" y="741"/>
                  </a:lnTo>
                  <a:lnTo>
                    <a:pt x="68" y="739"/>
                  </a:lnTo>
                  <a:lnTo>
                    <a:pt x="71" y="731"/>
                  </a:lnTo>
                  <a:lnTo>
                    <a:pt x="75" y="724"/>
                  </a:lnTo>
                  <a:lnTo>
                    <a:pt x="82" y="716"/>
                  </a:lnTo>
                  <a:lnTo>
                    <a:pt x="89" y="709"/>
                  </a:lnTo>
                  <a:lnTo>
                    <a:pt x="99" y="701"/>
                  </a:lnTo>
                  <a:lnTo>
                    <a:pt x="110" y="695"/>
                  </a:lnTo>
                  <a:lnTo>
                    <a:pt x="121" y="687"/>
                  </a:lnTo>
                  <a:lnTo>
                    <a:pt x="134" y="681"/>
                  </a:lnTo>
                  <a:lnTo>
                    <a:pt x="163" y="667"/>
                  </a:lnTo>
                  <a:lnTo>
                    <a:pt x="196" y="654"/>
                  </a:lnTo>
                  <a:lnTo>
                    <a:pt x="232" y="640"/>
                  </a:lnTo>
                  <a:lnTo>
                    <a:pt x="269" y="626"/>
                  </a:lnTo>
                  <a:lnTo>
                    <a:pt x="337" y="852"/>
                  </a:lnTo>
                  <a:lnTo>
                    <a:pt x="34" y="852"/>
                  </a:lnTo>
                  <a:lnTo>
                    <a:pt x="40" y="826"/>
                  </a:lnTo>
                  <a:lnTo>
                    <a:pt x="48" y="796"/>
                  </a:lnTo>
                  <a:lnTo>
                    <a:pt x="53" y="780"/>
                  </a:lnTo>
                  <a:lnTo>
                    <a:pt x="57" y="766"/>
                  </a:lnTo>
                  <a:lnTo>
                    <a:pt x="62" y="753"/>
                  </a:lnTo>
                  <a:lnTo>
                    <a:pt x="67" y="742"/>
                  </a:lnTo>
                  <a:close/>
                  <a:moveTo>
                    <a:pt x="346" y="598"/>
                  </a:moveTo>
                  <a:lnTo>
                    <a:pt x="423" y="627"/>
                  </a:lnTo>
                  <a:lnTo>
                    <a:pt x="326" y="713"/>
                  </a:lnTo>
                  <a:lnTo>
                    <a:pt x="298" y="615"/>
                  </a:lnTo>
                  <a:lnTo>
                    <a:pt x="310" y="611"/>
                  </a:lnTo>
                  <a:lnTo>
                    <a:pt x="322" y="607"/>
                  </a:lnTo>
                  <a:lnTo>
                    <a:pt x="334" y="602"/>
                  </a:lnTo>
                  <a:lnTo>
                    <a:pt x="346" y="598"/>
                  </a:lnTo>
                  <a:close/>
                  <a:moveTo>
                    <a:pt x="315" y="356"/>
                  </a:moveTo>
                  <a:lnTo>
                    <a:pt x="314" y="350"/>
                  </a:lnTo>
                  <a:lnTo>
                    <a:pt x="311" y="346"/>
                  </a:lnTo>
                  <a:lnTo>
                    <a:pt x="308" y="343"/>
                  </a:lnTo>
                  <a:lnTo>
                    <a:pt x="302" y="341"/>
                  </a:lnTo>
                  <a:lnTo>
                    <a:pt x="298" y="334"/>
                  </a:lnTo>
                  <a:lnTo>
                    <a:pt x="295" y="323"/>
                  </a:lnTo>
                  <a:lnTo>
                    <a:pt x="294" y="317"/>
                  </a:lnTo>
                  <a:lnTo>
                    <a:pt x="293" y="311"/>
                  </a:lnTo>
                  <a:lnTo>
                    <a:pt x="293" y="304"/>
                  </a:lnTo>
                  <a:lnTo>
                    <a:pt x="294" y="300"/>
                  </a:lnTo>
                  <a:lnTo>
                    <a:pt x="295" y="297"/>
                  </a:lnTo>
                  <a:lnTo>
                    <a:pt x="297" y="296"/>
                  </a:lnTo>
                  <a:lnTo>
                    <a:pt x="298" y="295"/>
                  </a:lnTo>
                  <a:lnTo>
                    <a:pt x="300" y="295"/>
                  </a:lnTo>
                  <a:lnTo>
                    <a:pt x="302" y="295"/>
                  </a:lnTo>
                  <a:lnTo>
                    <a:pt x="306" y="294"/>
                  </a:lnTo>
                  <a:lnTo>
                    <a:pt x="308" y="293"/>
                  </a:lnTo>
                  <a:lnTo>
                    <a:pt x="310" y="290"/>
                  </a:lnTo>
                  <a:lnTo>
                    <a:pt x="312" y="288"/>
                  </a:lnTo>
                  <a:lnTo>
                    <a:pt x="313" y="286"/>
                  </a:lnTo>
                  <a:lnTo>
                    <a:pt x="314" y="283"/>
                  </a:lnTo>
                  <a:lnTo>
                    <a:pt x="315" y="280"/>
                  </a:lnTo>
                  <a:lnTo>
                    <a:pt x="315" y="251"/>
                  </a:lnTo>
                  <a:lnTo>
                    <a:pt x="588" y="251"/>
                  </a:lnTo>
                  <a:lnTo>
                    <a:pt x="588" y="280"/>
                  </a:lnTo>
                  <a:lnTo>
                    <a:pt x="589" y="283"/>
                  </a:lnTo>
                  <a:lnTo>
                    <a:pt x="590" y="286"/>
                  </a:lnTo>
                  <a:lnTo>
                    <a:pt x="591" y="288"/>
                  </a:lnTo>
                  <a:lnTo>
                    <a:pt x="593" y="290"/>
                  </a:lnTo>
                  <a:lnTo>
                    <a:pt x="595" y="293"/>
                  </a:lnTo>
                  <a:lnTo>
                    <a:pt x="597" y="294"/>
                  </a:lnTo>
                  <a:lnTo>
                    <a:pt x="601" y="295"/>
                  </a:lnTo>
                  <a:lnTo>
                    <a:pt x="603" y="295"/>
                  </a:lnTo>
                  <a:lnTo>
                    <a:pt x="605" y="295"/>
                  </a:lnTo>
                  <a:lnTo>
                    <a:pt x="606" y="296"/>
                  </a:lnTo>
                  <a:lnTo>
                    <a:pt x="608" y="297"/>
                  </a:lnTo>
                  <a:lnTo>
                    <a:pt x="609" y="300"/>
                  </a:lnTo>
                  <a:lnTo>
                    <a:pt x="610" y="304"/>
                  </a:lnTo>
                  <a:lnTo>
                    <a:pt x="610" y="311"/>
                  </a:lnTo>
                  <a:lnTo>
                    <a:pt x="609" y="317"/>
                  </a:lnTo>
                  <a:lnTo>
                    <a:pt x="608" y="323"/>
                  </a:lnTo>
                  <a:lnTo>
                    <a:pt x="605" y="334"/>
                  </a:lnTo>
                  <a:lnTo>
                    <a:pt x="601" y="341"/>
                  </a:lnTo>
                  <a:lnTo>
                    <a:pt x="595" y="343"/>
                  </a:lnTo>
                  <a:lnTo>
                    <a:pt x="592" y="346"/>
                  </a:lnTo>
                  <a:lnTo>
                    <a:pt x="589" y="350"/>
                  </a:lnTo>
                  <a:lnTo>
                    <a:pt x="588" y="356"/>
                  </a:lnTo>
                  <a:lnTo>
                    <a:pt x="588" y="368"/>
                  </a:lnTo>
                  <a:lnTo>
                    <a:pt x="587" y="380"/>
                  </a:lnTo>
                  <a:lnTo>
                    <a:pt x="584" y="391"/>
                  </a:lnTo>
                  <a:lnTo>
                    <a:pt x="581" y="402"/>
                  </a:lnTo>
                  <a:lnTo>
                    <a:pt x="575" y="420"/>
                  </a:lnTo>
                  <a:lnTo>
                    <a:pt x="567" y="436"/>
                  </a:lnTo>
                  <a:lnTo>
                    <a:pt x="553" y="458"/>
                  </a:lnTo>
                  <a:lnTo>
                    <a:pt x="546" y="466"/>
                  </a:lnTo>
                  <a:lnTo>
                    <a:pt x="545" y="468"/>
                  </a:lnTo>
                  <a:lnTo>
                    <a:pt x="543" y="471"/>
                  </a:lnTo>
                  <a:lnTo>
                    <a:pt x="542" y="474"/>
                  </a:lnTo>
                  <a:lnTo>
                    <a:pt x="542" y="477"/>
                  </a:lnTo>
                  <a:lnTo>
                    <a:pt x="542" y="571"/>
                  </a:lnTo>
                  <a:lnTo>
                    <a:pt x="452" y="606"/>
                  </a:lnTo>
                  <a:lnTo>
                    <a:pt x="361" y="571"/>
                  </a:lnTo>
                  <a:lnTo>
                    <a:pt x="361" y="477"/>
                  </a:lnTo>
                  <a:lnTo>
                    <a:pt x="361" y="474"/>
                  </a:lnTo>
                  <a:lnTo>
                    <a:pt x="360" y="471"/>
                  </a:lnTo>
                  <a:lnTo>
                    <a:pt x="358" y="468"/>
                  </a:lnTo>
                  <a:lnTo>
                    <a:pt x="357" y="466"/>
                  </a:lnTo>
                  <a:lnTo>
                    <a:pt x="350" y="458"/>
                  </a:lnTo>
                  <a:lnTo>
                    <a:pt x="336" y="436"/>
                  </a:lnTo>
                  <a:lnTo>
                    <a:pt x="328" y="420"/>
                  </a:lnTo>
                  <a:lnTo>
                    <a:pt x="322" y="402"/>
                  </a:lnTo>
                  <a:lnTo>
                    <a:pt x="319" y="391"/>
                  </a:lnTo>
                  <a:lnTo>
                    <a:pt x="316" y="379"/>
                  </a:lnTo>
                  <a:lnTo>
                    <a:pt x="315" y="368"/>
                  </a:lnTo>
                  <a:lnTo>
                    <a:pt x="315" y="356"/>
                  </a:lnTo>
                  <a:close/>
                  <a:moveTo>
                    <a:pt x="365" y="36"/>
                  </a:moveTo>
                  <a:lnTo>
                    <a:pt x="395" y="55"/>
                  </a:lnTo>
                  <a:lnTo>
                    <a:pt x="408" y="61"/>
                  </a:lnTo>
                  <a:lnTo>
                    <a:pt x="422" y="65"/>
                  </a:lnTo>
                  <a:lnTo>
                    <a:pt x="437" y="69"/>
                  </a:lnTo>
                  <a:lnTo>
                    <a:pt x="452" y="70"/>
                  </a:lnTo>
                  <a:lnTo>
                    <a:pt x="467" y="69"/>
                  </a:lnTo>
                  <a:lnTo>
                    <a:pt x="482" y="65"/>
                  </a:lnTo>
                  <a:lnTo>
                    <a:pt x="495" y="61"/>
                  </a:lnTo>
                  <a:lnTo>
                    <a:pt x="508" y="55"/>
                  </a:lnTo>
                  <a:lnTo>
                    <a:pt x="538" y="36"/>
                  </a:lnTo>
                  <a:lnTo>
                    <a:pt x="606" y="221"/>
                  </a:lnTo>
                  <a:lnTo>
                    <a:pt x="297" y="221"/>
                  </a:lnTo>
                  <a:lnTo>
                    <a:pt x="365" y="36"/>
                  </a:lnTo>
                  <a:close/>
                  <a:moveTo>
                    <a:pt x="452" y="714"/>
                  </a:moveTo>
                  <a:lnTo>
                    <a:pt x="413" y="675"/>
                  </a:lnTo>
                  <a:lnTo>
                    <a:pt x="452" y="641"/>
                  </a:lnTo>
                  <a:lnTo>
                    <a:pt x="490" y="675"/>
                  </a:lnTo>
                  <a:lnTo>
                    <a:pt x="452" y="714"/>
                  </a:lnTo>
                  <a:close/>
                  <a:moveTo>
                    <a:pt x="368" y="852"/>
                  </a:moveTo>
                  <a:lnTo>
                    <a:pt x="336" y="745"/>
                  </a:lnTo>
                  <a:lnTo>
                    <a:pt x="390" y="696"/>
                  </a:lnTo>
                  <a:lnTo>
                    <a:pt x="433" y="739"/>
                  </a:lnTo>
                  <a:lnTo>
                    <a:pt x="385" y="852"/>
                  </a:lnTo>
                  <a:lnTo>
                    <a:pt x="368" y="852"/>
                  </a:lnTo>
                  <a:close/>
                  <a:moveTo>
                    <a:pt x="518" y="852"/>
                  </a:moveTo>
                  <a:lnTo>
                    <a:pt x="470" y="739"/>
                  </a:lnTo>
                  <a:lnTo>
                    <a:pt x="513" y="695"/>
                  </a:lnTo>
                  <a:lnTo>
                    <a:pt x="568" y="744"/>
                  </a:lnTo>
                  <a:lnTo>
                    <a:pt x="535" y="852"/>
                  </a:lnTo>
                  <a:lnTo>
                    <a:pt x="518" y="852"/>
                  </a:lnTo>
                  <a:close/>
                  <a:moveTo>
                    <a:pt x="608" y="616"/>
                  </a:moveTo>
                  <a:lnTo>
                    <a:pt x="578" y="712"/>
                  </a:lnTo>
                  <a:lnTo>
                    <a:pt x="480" y="626"/>
                  </a:lnTo>
                  <a:lnTo>
                    <a:pt x="557" y="598"/>
                  </a:lnTo>
                  <a:lnTo>
                    <a:pt x="569" y="602"/>
                  </a:lnTo>
                  <a:lnTo>
                    <a:pt x="582" y="608"/>
                  </a:lnTo>
                  <a:lnTo>
                    <a:pt x="595" y="612"/>
                  </a:lnTo>
                  <a:lnTo>
                    <a:pt x="608" y="616"/>
                  </a:lnTo>
                  <a:close/>
                  <a:moveTo>
                    <a:pt x="864" y="730"/>
                  </a:moveTo>
                  <a:lnTo>
                    <a:pt x="860" y="719"/>
                  </a:lnTo>
                  <a:lnTo>
                    <a:pt x="855" y="709"/>
                  </a:lnTo>
                  <a:lnTo>
                    <a:pt x="847" y="699"/>
                  </a:lnTo>
                  <a:lnTo>
                    <a:pt x="839" y="690"/>
                  </a:lnTo>
                  <a:lnTo>
                    <a:pt x="828" y="682"/>
                  </a:lnTo>
                  <a:lnTo>
                    <a:pt x="817" y="673"/>
                  </a:lnTo>
                  <a:lnTo>
                    <a:pt x="803" y="665"/>
                  </a:lnTo>
                  <a:lnTo>
                    <a:pt x="789" y="657"/>
                  </a:lnTo>
                  <a:lnTo>
                    <a:pt x="756" y="641"/>
                  </a:lnTo>
                  <a:lnTo>
                    <a:pt x="720" y="626"/>
                  </a:lnTo>
                  <a:lnTo>
                    <a:pt x="678" y="610"/>
                  </a:lnTo>
                  <a:lnTo>
                    <a:pt x="633" y="594"/>
                  </a:lnTo>
                  <a:lnTo>
                    <a:pt x="618" y="588"/>
                  </a:lnTo>
                  <a:lnTo>
                    <a:pt x="603" y="583"/>
                  </a:lnTo>
                  <a:lnTo>
                    <a:pt x="588" y="578"/>
                  </a:lnTo>
                  <a:lnTo>
                    <a:pt x="572" y="571"/>
                  </a:lnTo>
                  <a:lnTo>
                    <a:pt x="572" y="482"/>
                  </a:lnTo>
                  <a:lnTo>
                    <a:pt x="577" y="476"/>
                  </a:lnTo>
                  <a:lnTo>
                    <a:pt x="583" y="467"/>
                  </a:lnTo>
                  <a:lnTo>
                    <a:pt x="591" y="456"/>
                  </a:lnTo>
                  <a:lnTo>
                    <a:pt x="598" y="443"/>
                  </a:lnTo>
                  <a:lnTo>
                    <a:pt x="605" y="427"/>
                  </a:lnTo>
                  <a:lnTo>
                    <a:pt x="611" y="408"/>
                  </a:lnTo>
                  <a:lnTo>
                    <a:pt x="613" y="399"/>
                  </a:lnTo>
                  <a:lnTo>
                    <a:pt x="616" y="388"/>
                  </a:lnTo>
                  <a:lnTo>
                    <a:pt x="617" y="377"/>
                  </a:lnTo>
                  <a:lnTo>
                    <a:pt x="618" y="365"/>
                  </a:lnTo>
                  <a:lnTo>
                    <a:pt x="623" y="361"/>
                  </a:lnTo>
                  <a:lnTo>
                    <a:pt x="627" y="355"/>
                  </a:lnTo>
                  <a:lnTo>
                    <a:pt x="632" y="348"/>
                  </a:lnTo>
                  <a:lnTo>
                    <a:pt x="635" y="341"/>
                  </a:lnTo>
                  <a:lnTo>
                    <a:pt x="637" y="332"/>
                  </a:lnTo>
                  <a:lnTo>
                    <a:pt x="639" y="325"/>
                  </a:lnTo>
                  <a:lnTo>
                    <a:pt x="640" y="316"/>
                  </a:lnTo>
                  <a:lnTo>
                    <a:pt x="640" y="309"/>
                  </a:lnTo>
                  <a:lnTo>
                    <a:pt x="640" y="301"/>
                  </a:lnTo>
                  <a:lnTo>
                    <a:pt x="638" y="294"/>
                  </a:lnTo>
                  <a:lnTo>
                    <a:pt x="636" y="286"/>
                  </a:lnTo>
                  <a:lnTo>
                    <a:pt x="633" y="281"/>
                  </a:lnTo>
                  <a:lnTo>
                    <a:pt x="630" y="277"/>
                  </a:lnTo>
                  <a:lnTo>
                    <a:pt x="626" y="273"/>
                  </a:lnTo>
                  <a:lnTo>
                    <a:pt x="622" y="270"/>
                  </a:lnTo>
                  <a:lnTo>
                    <a:pt x="619" y="268"/>
                  </a:lnTo>
                  <a:lnTo>
                    <a:pt x="619" y="251"/>
                  </a:lnTo>
                  <a:lnTo>
                    <a:pt x="698" y="251"/>
                  </a:lnTo>
                  <a:lnTo>
                    <a:pt x="701" y="251"/>
                  </a:lnTo>
                  <a:lnTo>
                    <a:pt x="703" y="250"/>
                  </a:lnTo>
                  <a:lnTo>
                    <a:pt x="707" y="249"/>
                  </a:lnTo>
                  <a:lnTo>
                    <a:pt x="709" y="246"/>
                  </a:lnTo>
                  <a:lnTo>
                    <a:pt x="711" y="244"/>
                  </a:lnTo>
                  <a:lnTo>
                    <a:pt x="712" y="242"/>
                  </a:lnTo>
                  <a:lnTo>
                    <a:pt x="713" y="239"/>
                  </a:lnTo>
                  <a:lnTo>
                    <a:pt x="713" y="236"/>
                  </a:lnTo>
                  <a:lnTo>
                    <a:pt x="713" y="234"/>
                  </a:lnTo>
                  <a:lnTo>
                    <a:pt x="712" y="230"/>
                  </a:lnTo>
                  <a:lnTo>
                    <a:pt x="711" y="227"/>
                  </a:lnTo>
                  <a:lnTo>
                    <a:pt x="709" y="225"/>
                  </a:lnTo>
                  <a:lnTo>
                    <a:pt x="707" y="224"/>
                  </a:lnTo>
                  <a:lnTo>
                    <a:pt x="703" y="222"/>
                  </a:lnTo>
                  <a:lnTo>
                    <a:pt x="701" y="222"/>
                  </a:lnTo>
                  <a:lnTo>
                    <a:pt x="698" y="221"/>
                  </a:lnTo>
                  <a:lnTo>
                    <a:pt x="638" y="221"/>
                  </a:lnTo>
                  <a:lnTo>
                    <a:pt x="561" y="10"/>
                  </a:lnTo>
                  <a:lnTo>
                    <a:pt x="559" y="6"/>
                  </a:lnTo>
                  <a:lnTo>
                    <a:pt x="557" y="4"/>
                  </a:lnTo>
                  <a:lnTo>
                    <a:pt x="554" y="2"/>
                  </a:lnTo>
                  <a:lnTo>
                    <a:pt x="551" y="0"/>
                  </a:lnTo>
                  <a:lnTo>
                    <a:pt x="548" y="0"/>
                  </a:lnTo>
                  <a:lnTo>
                    <a:pt x="545" y="0"/>
                  </a:lnTo>
                  <a:lnTo>
                    <a:pt x="542" y="0"/>
                  </a:lnTo>
                  <a:lnTo>
                    <a:pt x="538" y="2"/>
                  </a:lnTo>
                  <a:lnTo>
                    <a:pt x="492" y="29"/>
                  </a:lnTo>
                  <a:lnTo>
                    <a:pt x="484" y="33"/>
                  </a:lnTo>
                  <a:lnTo>
                    <a:pt x="473" y="36"/>
                  </a:lnTo>
                  <a:lnTo>
                    <a:pt x="462" y="38"/>
                  </a:lnTo>
                  <a:lnTo>
                    <a:pt x="452" y="40"/>
                  </a:lnTo>
                  <a:lnTo>
                    <a:pt x="441" y="38"/>
                  </a:lnTo>
                  <a:lnTo>
                    <a:pt x="430" y="36"/>
                  </a:lnTo>
                  <a:lnTo>
                    <a:pt x="419" y="33"/>
                  </a:lnTo>
                  <a:lnTo>
                    <a:pt x="411" y="29"/>
                  </a:lnTo>
                  <a:lnTo>
                    <a:pt x="365" y="2"/>
                  </a:lnTo>
                  <a:lnTo>
                    <a:pt x="361" y="0"/>
                  </a:lnTo>
                  <a:lnTo>
                    <a:pt x="358" y="0"/>
                  </a:lnTo>
                  <a:lnTo>
                    <a:pt x="355" y="0"/>
                  </a:lnTo>
                  <a:lnTo>
                    <a:pt x="352" y="0"/>
                  </a:lnTo>
                  <a:lnTo>
                    <a:pt x="349" y="2"/>
                  </a:lnTo>
                  <a:lnTo>
                    <a:pt x="346" y="4"/>
                  </a:lnTo>
                  <a:lnTo>
                    <a:pt x="344" y="6"/>
                  </a:lnTo>
                  <a:lnTo>
                    <a:pt x="342" y="10"/>
                  </a:lnTo>
                  <a:lnTo>
                    <a:pt x="265" y="221"/>
                  </a:lnTo>
                  <a:lnTo>
                    <a:pt x="205" y="221"/>
                  </a:lnTo>
                  <a:lnTo>
                    <a:pt x="202" y="222"/>
                  </a:lnTo>
                  <a:lnTo>
                    <a:pt x="200" y="222"/>
                  </a:lnTo>
                  <a:lnTo>
                    <a:pt x="196" y="224"/>
                  </a:lnTo>
                  <a:lnTo>
                    <a:pt x="194" y="225"/>
                  </a:lnTo>
                  <a:lnTo>
                    <a:pt x="192" y="228"/>
                  </a:lnTo>
                  <a:lnTo>
                    <a:pt x="191" y="230"/>
                  </a:lnTo>
                  <a:lnTo>
                    <a:pt x="190" y="234"/>
                  </a:lnTo>
                  <a:lnTo>
                    <a:pt x="190" y="236"/>
                  </a:lnTo>
                  <a:lnTo>
                    <a:pt x="190" y="239"/>
                  </a:lnTo>
                  <a:lnTo>
                    <a:pt x="191" y="242"/>
                  </a:lnTo>
                  <a:lnTo>
                    <a:pt x="192" y="244"/>
                  </a:lnTo>
                  <a:lnTo>
                    <a:pt x="194" y="246"/>
                  </a:lnTo>
                  <a:lnTo>
                    <a:pt x="196" y="249"/>
                  </a:lnTo>
                  <a:lnTo>
                    <a:pt x="200" y="250"/>
                  </a:lnTo>
                  <a:lnTo>
                    <a:pt x="202" y="251"/>
                  </a:lnTo>
                  <a:lnTo>
                    <a:pt x="205" y="251"/>
                  </a:lnTo>
                  <a:lnTo>
                    <a:pt x="276" y="251"/>
                  </a:lnTo>
                  <a:lnTo>
                    <a:pt x="276" y="251"/>
                  </a:lnTo>
                  <a:lnTo>
                    <a:pt x="276" y="251"/>
                  </a:lnTo>
                  <a:lnTo>
                    <a:pt x="276" y="251"/>
                  </a:lnTo>
                  <a:lnTo>
                    <a:pt x="276" y="251"/>
                  </a:lnTo>
                  <a:lnTo>
                    <a:pt x="284" y="251"/>
                  </a:lnTo>
                  <a:lnTo>
                    <a:pt x="284" y="268"/>
                  </a:lnTo>
                  <a:lnTo>
                    <a:pt x="281" y="270"/>
                  </a:lnTo>
                  <a:lnTo>
                    <a:pt x="277" y="273"/>
                  </a:lnTo>
                  <a:lnTo>
                    <a:pt x="274" y="277"/>
                  </a:lnTo>
                  <a:lnTo>
                    <a:pt x="270" y="281"/>
                  </a:lnTo>
                  <a:lnTo>
                    <a:pt x="267" y="286"/>
                  </a:lnTo>
                  <a:lnTo>
                    <a:pt x="265" y="294"/>
                  </a:lnTo>
                  <a:lnTo>
                    <a:pt x="263" y="301"/>
                  </a:lnTo>
                  <a:lnTo>
                    <a:pt x="263" y="309"/>
                  </a:lnTo>
                  <a:lnTo>
                    <a:pt x="263" y="316"/>
                  </a:lnTo>
                  <a:lnTo>
                    <a:pt x="264" y="325"/>
                  </a:lnTo>
                  <a:lnTo>
                    <a:pt x="266" y="332"/>
                  </a:lnTo>
                  <a:lnTo>
                    <a:pt x="268" y="341"/>
                  </a:lnTo>
                  <a:lnTo>
                    <a:pt x="271" y="348"/>
                  </a:lnTo>
                  <a:lnTo>
                    <a:pt x="276" y="355"/>
                  </a:lnTo>
                  <a:lnTo>
                    <a:pt x="280" y="361"/>
                  </a:lnTo>
                  <a:lnTo>
                    <a:pt x="285" y="365"/>
                  </a:lnTo>
                  <a:lnTo>
                    <a:pt x="286" y="377"/>
                  </a:lnTo>
                  <a:lnTo>
                    <a:pt x="287" y="388"/>
                  </a:lnTo>
                  <a:lnTo>
                    <a:pt x="290" y="399"/>
                  </a:lnTo>
                  <a:lnTo>
                    <a:pt x="292" y="408"/>
                  </a:lnTo>
                  <a:lnTo>
                    <a:pt x="298" y="427"/>
                  </a:lnTo>
                  <a:lnTo>
                    <a:pt x="305" y="443"/>
                  </a:lnTo>
                  <a:lnTo>
                    <a:pt x="312" y="456"/>
                  </a:lnTo>
                  <a:lnTo>
                    <a:pt x="320" y="467"/>
                  </a:lnTo>
                  <a:lnTo>
                    <a:pt x="326" y="476"/>
                  </a:lnTo>
                  <a:lnTo>
                    <a:pt x="331" y="482"/>
                  </a:lnTo>
                  <a:lnTo>
                    <a:pt x="331" y="571"/>
                  </a:lnTo>
                  <a:lnTo>
                    <a:pt x="315" y="578"/>
                  </a:lnTo>
                  <a:lnTo>
                    <a:pt x="300" y="583"/>
                  </a:lnTo>
                  <a:lnTo>
                    <a:pt x="285" y="588"/>
                  </a:lnTo>
                  <a:lnTo>
                    <a:pt x="270" y="594"/>
                  </a:lnTo>
                  <a:lnTo>
                    <a:pt x="225" y="610"/>
                  </a:lnTo>
                  <a:lnTo>
                    <a:pt x="183" y="626"/>
                  </a:lnTo>
                  <a:lnTo>
                    <a:pt x="147" y="641"/>
                  </a:lnTo>
                  <a:lnTo>
                    <a:pt x="114" y="657"/>
                  </a:lnTo>
                  <a:lnTo>
                    <a:pt x="100" y="665"/>
                  </a:lnTo>
                  <a:lnTo>
                    <a:pt x="86" y="673"/>
                  </a:lnTo>
                  <a:lnTo>
                    <a:pt x="75" y="682"/>
                  </a:lnTo>
                  <a:lnTo>
                    <a:pt x="64" y="690"/>
                  </a:lnTo>
                  <a:lnTo>
                    <a:pt x="56" y="699"/>
                  </a:lnTo>
                  <a:lnTo>
                    <a:pt x="48" y="709"/>
                  </a:lnTo>
                  <a:lnTo>
                    <a:pt x="43" y="719"/>
                  </a:lnTo>
                  <a:lnTo>
                    <a:pt x="39" y="730"/>
                  </a:lnTo>
                  <a:lnTo>
                    <a:pt x="32" y="747"/>
                  </a:lnTo>
                  <a:lnTo>
                    <a:pt x="25" y="768"/>
                  </a:lnTo>
                  <a:lnTo>
                    <a:pt x="18" y="789"/>
                  </a:lnTo>
                  <a:lnTo>
                    <a:pt x="13" y="810"/>
                  </a:lnTo>
                  <a:lnTo>
                    <a:pt x="4" y="848"/>
                  </a:lnTo>
                  <a:lnTo>
                    <a:pt x="0" y="865"/>
                  </a:lnTo>
                  <a:lnTo>
                    <a:pt x="0" y="868"/>
                  </a:lnTo>
                  <a:lnTo>
                    <a:pt x="1" y="872"/>
                  </a:lnTo>
                  <a:lnTo>
                    <a:pt x="2" y="875"/>
                  </a:lnTo>
                  <a:lnTo>
                    <a:pt x="3" y="877"/>
                  </a:lnTo>
                  <a:lnTo>
                    <a:pt x="7" y="879"/>
                  </a:lnTo>
                  <a:lnTo>
                    <a:pt x="9" y="881"/>
                  </a:lnTo>
                  <a:lnTo>
                    <a:pt x="12" y="882"/>
                  </a:lnTo>
                  <a:lnTo>
                    <a:pt x="15" y="883"/>
                  </a:lnTo>
                  <a:lnTo>
                    <a:pt x="395" y="882"/>
                  </a:lnTo>
                  <a:lnTo>
                    <a:pt x="508" y="882"/>
                  </a:lnTo>
                  <a:lnTo>
                    <a:pt x="888" y="882"/>
                  </a:lnTo>
                  <a:lnTo>
                    <a:pt x="891" y="882"/>
                  </a:lnTo>
                  <a:lnTo>
                    <a:pt x="893" y="881"/>
                  </a:lnTo>
                  <a:lnTo>
                    <a:pt x="896" y="880"/>
                  </a:lnTo>
                  <a:lnTo>
                    <a:pt x="899" y="878"/>
                  </a:lnTo>
                  <a:lnTo>
                    <a:pt x="900" y="876"/>
                  </a:lnTo>
                  <a:lnTo>
                    <a:pt x="902" y="874"/>
                  </a:lnTo>
                  <a:lnTo>
                    <a:pt x="903" y="870"/>
                  </a:lnTo>
                  <a:lnTo>
                    <a:pt x="903" y="867"/>
                  </a:lnTo>
                  <a:lnTo>
                    <a:pt x="902" y="857"/>
                  </a:lnTo>
                  <a:lnTo>
                    <a:pt x="898" y="826"/>
                  </a:lnTo>
                  <a:lnTo>
                    <a:pt x="893" y="807"/>
                  </a:lnTo>
                  <a:lnTo>
                    <a:pt x="886" y="784"/>
                  </a:lnTo>
                  <a:lnTo>
                    <a:pt x="876" y="758"/>
                  </a:lnTo>
                  <a:lnTo>
                    <a:pt x="864"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Rectangle 103">
              <a:extLst>
                <a:ext uri="{FF2B5EF4-FFF2-40B4-BE49-F238E27FC236}">
                  <a16:creationId xmlns:a16="http://schemas.microsoft.com/office/drawing/2014/main" id="{16516BAB-CE6F-44BD-9F64-A224E232258A}"/>
                </a:ext>
              </a:extLst>
            </p:cNvPr>
            <p:cNvSpPr>
              <a:spLocks noChangeArrowheads="1"/>
            </p:cNvSpPr>
            <p:nvPr/>
          </p:nvSpPr>
          <p:spPr bwMode="auto">
            <a:xfrm>
              <a:off x="1096963" y="3883025"/>
              <a:ext cx="3016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5" name="Group 44">
            <a:extLst>
              <a:ext uri="{FF2B5EF4-FFF2-40B4-BE49-F238E27FC236}">
                <a16:creationId xmlns:a16="http://schemas.microsoft.com/office/drawing/2014/main" id="{BE8EF13C-9412-4C9A-877A-B37D8E0F65BC}"/>
              </a:ext>
            </a:extLst>
          </p:cNvPr>
          <p:cNvGrpSpPr>
            <a:grpSpLocks noChangeAspect="1"/>
          </p:cNvGrpSpPr>
          <p:nvPr/>
        </p:nvGrpSpPr>
        <p:grpSpPr>
          <a:xfrm>
            <a:off x="1467791" y="4340505"/>
            <a:ext cx="307721" cy="285619"/>
            <a:chOff x="3746500" y="2522538"/>
            <a:chExt cx="287338" cy="266700"/>
          </a:xfrm>
          <a:solidFill>
            <a:schemeClr val="bg2"/>
          </a:solidFill>
        </p:grpSpPr>
        <p:sp>
          <p:nvSpPr>
            <p:cNvPr id="946" name="Freeform 125">
              <a:extLst>
                <a:ext uri="{FF2B5EF4-FFF2-40B4-BE49-F238E27FC236}">
                  <a16:creationId xmlns:a16="http://schemas.microsoft.com/office/drawing/2014/main" id="{2A12DF5F-294E-4665-BC65-52A268BC8A83}"/>
                </a:ext>
              </a:extLst>
            </p:cNvPr>
            <p:cNvSpPr>
              <a:spLocks noEditPoints="1"/>
            </p:cNvSpPr>
            <p:nvPr/>
          </p:nvSpPr>
          <p:spPr bwMode="auto">
            <a:xfrm>
              <a:off x="3746500" y="2522538"/>
              <a:ext cx="287338" cy="266700"/>
            </a:xfrm>
            <a:custGeom>
              <a:avLst/>
              <a:gdLst>
                <a:gd name="T0" fmla="*/ 375 w 901"/>
                <a:gd name="T1" fmla="*/ 705 h 841"/>
                <a:gd name="T2" fmla="*/ 297 w 901"/>
                <a:gd name="T3" fmla="*/ 688 h 841"/>
                <a:gd name="T4" fmla="*/ 161 w 901"/>
                <a:gd name="T5" fmla="*/ 620 h 841"/>
                <a:gd name="T6" fmla="*/ 114 w 901"/>
                <a:gd name="T7" fmla="*/ 573 h 841"/>
                <a:gd name="T8" fmla="*/ 62 w 901"/>
                <a:gd name="T9" fmla="*/ 500 h 841"/>
                <a:gd name="T10" fmla="*/ 35 w 901"/>
                <a:gd name="T11" fmla="*/ 420 h 841"/>
                <a:gd name="T12" fmla="*/ 32 w 901"/>
                <a:gd name="T13" fmla="*/ 335 h 841"/>
                <a:gd name="T14" fmla="*/ 56 w 901"/>
                <a:gd name="T15" fmla="*/ 253 h 841"/>
                <a:gd name="T16" fmla="*/ 102 w 901"/>
                <a:gd name="T17" fmla="*/ 179 h 841"/>
                <a:gd name="T18" fmla="*/ 168 w 901"/>
                <a:gd name="T19" fmla="*/ 117 h 841"/>
                <a:gd name="T20" fmla="*/ 251 w 901"/>
                <a:gd name="T21" fmla="*/ 70 h 841"/>
                <a:gd name="T22" fmla="*/ 346 w 901"/>
                <a:gd name="T23" fmla="*/ 40 h 841"/>
                <a:gd name="T24" fmla="*/ 451 w 901"/>
                <a:gd name="T25" fmla="*/ 30 h 841"/>
                <a:gd name="T26" fmla="*/ 556 w 901"/>
                <a:gd name="T27" fmla="*/ 40 h 841"/>
                <a:gd name="T28" fmla="*/ 651 w 901"/>
                <a:gd name="T29" fmla="*/ 70 h 841"/>
                <a:gd name="T30" fmla="*/ 733 w 901"/>
                <a:gd name="T31" fmla="*/ 117 h 841"/>
                <a:gd name="T32" fmla="*/ 800 w 901"/>
                <a:gd name="T33" fmla="*/ 179 h 841"/>
                <a:gd name="T34" fmla="*/ 846 w 901"/>
                <a:gd name="T35" fmla="*/ 253 h 841"/>
                <a:gd name="T36" fmla="*/ 869 w 901"/>
                <a:gd name="T37" fmla="*/ 335 h 841"/>
                <a:gd name="T38" fmla="*/ 866 w 901"/>
                <a:gd name="T39" fmla="*/ 421 h 841"/>
                <a:gd name="T40" fmla="*/ 838 w 901"/>
                <a:gd name="T41" fmla="*/ 502 h 841"/>
                <a:gd name="T42" fmla="*/ 788 w 901"/>
                <a:gd name="T43" fmla="*/ 573 h 841"/>
                <a:gd name="T44" fmla="*/ 718 w 901"/>
                <a:gd name="T45" fmla="*/ 632 h 841"/>
                <a:gd name="T46" fmla="*/ 633 w 901"/>
                <a:gd name="T47" fmla="*/ 676 h 841"/>
                <a:gd name="T48" fmla="*/ 535 w 901"/>
                <a:gd name="T49" fmla="*/ 703 h 841"/>
                <a:gd name="T50" fmla="*/ 451 w 901"/>
                <a:gd name="T51" fmla="*/ 710 h 841"/>
                <a:gd name="T52" fmla="*/ 360 w 901"/>
                <a:gd name="T53" fmla="*/ 7 h 841"/>
                <a:gd name="T54" fmla="*/ 256 w 901"/>
                <a:gd name="T55" fmla="*/ 36 h 841"/>
                <a:gd name="T56" fmla="*/ 164 w 901"/>
                <a:gd name="T57" fmla="*/ 84 h 841"/>
                <a:gd name="T58" fmla="*/ 90 w 901"/>
                <a:gd name="T59" fmla="*/ 148 h 841"/>
                <a:gd name="T60" fmla="*/ 36 w 901"/>
                <a:gd name="T61" fmla="*/ 225 h 841"/>
                <a:gd name="T62" fmla="*/ 6 w 901"/>
                <a:gd name="T63" fmla="*/ 313 h 841"/>
                <a:gd name="T64" fmla="*/ 2 w 901"/>
                <a:gd name="T65" fmla="*/ 406 h 841"/>
                <a:gd name="T66" fmla="*/ 25 w 901"/>
                <a:gd name="T67" fmla="*/ 493 h 841"/>
                <a:gd name="T68" fmla="*/ 73 w 901"/>
                <a:gd name="T69" fmla="*/ 571 h 841"/>
                <a:gd name="T70" fmla="*/ 31 w 901"/>
                <a:gd name="T71" fmla="*/ 818 h 841"/>
                <a:gd name="T72" fmla="*/ 37 w 901"/>
                <a:gd name="T73" fmla="*/ 838 h 841"/>
                <a:gd name="T74" fmla="*/ 52 w 901"/>
                <a:gd name="T75" fmla="*/ 839 h 841"/>
                <a:gd name="T76" fmla="*/ 374 w 901"/>
                <a:gd name="T77" fmla="*/ 735 h 841"/>
                <a:gd name="T78" fmla="*/ 474 w 901"/>
                <a:gd name="T79" fmla="*/ 739 h 841"/>
                <a:gd name="T80" fmla="*/ 585 w 901"/>
                <a:gd name="T81" fmla="*/ 723 h 841"/>
                <a:gd name="T82" fmla="*/ 684 w 901"/>
                <a:gd name="T83" fmla="*/ 687 h 841"/>
                <a:gd name="T84" fmla="*/ 770 w 901"/>
                <a:gd name="T85" fmla="*/ 631 h 841"/>
                <a:gd name="T86" fmla="*/ 836 w 901"/>
                <a:gd name="T87" fmla="*/ 561 h 841"/>
                <a:gd name="T88" fmla="*/ 881 w 901"/>
                <a:gd name="T89" fmla="*/ 480 h 841"/>
                <a:gd name="T90" fmla="*/ 900 w 901"/>
                <a:gd name="T91" fmla="*/ 389 h 841"/>
                <a:gd name="T92" fmla="*/ 892 w 901"/>
                <a:gd name="T93" fmla="*/ 295 h 841"/>
                <a:gd name="T94" fmla="*/ 856 w 901"/>
                <a:gd name="T95" fmla="*/ 209 h 841"/>
                <a:gd name="T96" fmla="*/ 799 w 901"/>
                <a:gd name="T97" fmla="*/ 134 h 841"/>
                <a:gd name="T98" fmla="*/ 720 w 901"/>
                <a:gd name="T99" fmla="*/ 73 h 841"/>
                <a:gd name="T100" fmla="*/ 626 w 901"/>
                <a:gd name="T101" fmla="*/ 29 h 841"/>
                <a:gd name="T102" fmla="*/ 519 w 901"/>
                <a:gd name="T103" fmla="*/ 4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1" h="841">
                  <a:moveTo>
                    <a:pt x="451" y="710"/>
                  </a:moveTo>
                  <a:lnTo>
                    <a:pt x="432" y="709"/>
                  </a:lnTo>
                  <a:lnTo>
                    <a:pt x="412" y="709"/>
                  </a:lnTo>
                  <a:lnTo>
                    <a:pt x="394" y="707"/>
                  </a:lnTo>
                  <a:lnTo>
                    <a:pt x="375" y="705"/>
                  </a:lnTo>
                  <a:lnTo>
                    <a:pt x="357" y="702"/>
                  </a:lnTo>
                  <a:lnTo>
                    <a:pt x="338" y="697"/>
                  </a:lnTo>
                  <a:lnTo>
                    <a:pt x="320" y="693"/>
                  </a:lnTo>
                  <a:lnTo>
                    <a:pt x="302" y="689"/>
                  </a:lnTo>
                  <a:lnTo>
                    <a:pt x="297" y="688"/>
                  </a:lnTo>
                  <a:lnTo>
                    <a:pt x="291" y="689"/>
                  </a:lnTo>
                  <a:lnTo>
                    <a:pt x="78" y="793"/>
                  </a:lnTo>
                  <a:lnTo>
                    <a:pt x="160" y="630"/>
                  </a:lnTo>
                  <a:lnTo>
                    <a:pt x="161" y="626"/>
                  </a:lnTo>
                  <a:lnTo>
                    <a:pt x="161" y="620"/>
                  </a:lnTo>
                  <a:lnTo>
                    <a:pt x="159" y="616"/>
                  </a:lnTo>
                  <a:lnTo>
                    <a:pt x="156" y="612"/>
                  </a:lnTo>
                  <a:lnTo>
                    <a:pt x="141" y="599"/>
                  </a:lnTo>
                  <a:lnTo>
                    <a:pt x="127" y="586"/>
                  </a:lnTo>
                  <a:lnTo>
                    <a:pt x="114" y="573"/>
                  </a:lnTo>
                  <a:lnTo>
                    <a:pt x="102" y="559"/>
                  </a:lnTo>
                  <a:lnTo>
                    <a:pt x="90" y="545"/>
                  </a:lnTo>
                  <a:lnTo>
                    <a:pt x="81" y="532"/>
                  </a:lnTo>
                  <a:lnTo>
                    <a:pt x="71" y="517"/>
                  </a:lnTo>
                  <a:lnTo>
                    <a:pt x="62" y="500"/>
                  </a:lnTo>
                  <a:lnTo>
                    <a:pt x="55" y="485"/>
                  </a:lnTo>
                  <a:lnTo>
                    <a:pt x="49" y="469"/>
                  </a:lnTo>
                  <a:lnTo>
                    <a:pt x="43" y="453"/>
                  </a:lnTo>
                  <a:lnTo>
                    <a:pt x="39" y="437"/>
                  </a:lnTo>
                  <a:lnTo>
                    <a:pt x="35" y="420"/>
                  </a:lnTo>
                  <a:lnTo>
                    <a:pt x="32" y="404"/>
                  </a:lnTo>
                  <a:lnTo>
                    <a:pt x="30" y="387"/>
                  </a:lnTo>
                  <a:lnTo>
                    <a:pt x="30" y="370"/>
                  </a:lnTo>
                  <a:lnTo>
                    <a:pt x="30" y="352"/>
                  </a:lnTo>
                  <a:lnTo>
                    <a:pt x="32" y="335"/>
                  </a:lnTo>
                  <a:lnTo>
                    <a:pt x="35" y="317"/>
                  </a:lnTo>
                  <a:lnTo>
                    <a:pt x="39" y="301"/>
                  </a:lnTo>
                  <a:lnTo>
                    <a:pt x="43" y="284"/>
                  </a:lnTo>
                  <a:lnTo>
                    <a:pt x="50" y="268"/>
                  </a:lnTo>
                  <a:lnTo>
                    <a:pt x="56" y="253"/>
                  </a:lnTo>
                  <a:lnTo>
                    <a:pt x="63" y="237"/>
                  </a:lnTo>
                  <a:lnTo>
                    <a:pt x="72" y="222"/>
                  </a:lnTo>
                  <a:lnTo>
                    <a:pt x="81" y="207"/>
                  </a:lnTo>
                  <a:lnTo>
                    <a:pt x="91" y="193"/>
                  </a:lnTo>
                  <a:lnTo>
                    <a:pt x="102" y="179"/>
                  </a:lnTo>
                  <a:lnTo>
                    <a:pt x="114" y="167"/>
                  </a:lnTo>
                  <a:lnTo>
                    <a:pt x="127" y="154"/>
                  </a:lnTo>
                  <a:lnTo>
                    <a:pt x="139" y="141"/>
                  </a:lnTo>
                  <a:lnTo>
                    <a:pt x="153" y="129"/>
                  </a:lnTo>
                  <a:lnTo>
                    <a:pt x="168" y="117"/>
                  </a:lnTo>
                  <a:lnTo>
                    <a:pt x="183" y="107"/>
                  </a:lnTo>
                  <a:lnTo>
                    <a:pt x="199" y="97"/>
                  </a:lnTo>
                  <a:lnTo>
                    <a:pt x="215" y="87"/>
                  </a:lnTo>
                  <a:lnTo>
                    <a:pt x="233" y="79"/>
                  </a:lnTo>
                  <a:lnTo>
                    <a:pt x="251" y="70"/>
                  </a:lnTo>
                  <a:lnTo>
                    <a:pt x="269" y="63"/>
                  </a:lnTo>
                  <a:lnTo>
                    <a:pt x="287" y="56"/>
                  </a:lnTo>
                  <a:lnTo>
                    <a:pt x="306" y="50"/>
                  </a:lnTo>
                  <a:lnTo>
                    <a:pt x="326" y="45"/>
                  </a:lnTo>
                  <a:lnTo>
                    <a:pt x="346" y="40"/>
                  </a:lnTo>
                  <a:lnTo>
                    <a:pt x="366" y="36"/>
                  </a:lnTo>
                  <a:lnTo>
                    <a:pt x="387" y="33"/>
                  </a:lnTo>
                  <a:lnTo>
                    <a:pt x="408" y="31"/>
                  </a:lnTo>
                  <a:lnTo>
                    <a:pt x="429" y="30"/>
                  </a:lnTo>
                  <a:lnTo>
                    <a:pt x="451" y="30"/>
                  </a:lnTo>
                  <a:lnTo>
                    <a:pt x="472" y="30"/>
                  </a:lnTo>
                  <a:lnTo>
                    <a:pt x="494" y="31"/>
                  </a:lnTo>
                  <a:lnTo>
                    <a:pt x="515" y="33"/>
                  </a:lnTo>
                  <a:lnTo>
                    <a:pt x="535" y="36"/>
                  </a:lnTo>
                  <a:lnTo>
                    <a:pt x="556" y="40"/>
                  </a:lnTo>
                  <a:lnTo>
                    <a:pt x="576" y="45"/>
                  </a:lnTo>
                  <a:lnTo>
                    <a:pt x="595" y="50"/>
                  </a:lnTo>
                  <a:lnTo>
                    <a:pt x="615" y="56"/>
                  </a:lnTo>
                  <a:lnTo>
                    <a:pt x="633" y="63"/>
                  </a:lnTo>
                  <a:lnTo>
                    <a:pt x="651" y="70"/>
                  </a:lnTo>
                  <a:lnTo>
                    <a:pt x="669" y="79"/>
                  </a:lnTo>
                  <a:lnTo>
                    <a:pt x="685" y="87"/>
                  </a:lnTo>
                  <a:lnTo>
                    <a:pt x="702" y="97"/>
                  </a:lnTo>
                  <a:lnTo>
                    <a:pt x="718" y="107"/>
                  </a:lnTo>
                  <a:lnTo>
                    <a:pt x="733" y="117"/>
                  </a:lnTo>
                  <a:lnTo>
                    <a:pt x="748" y="129"/>
                  </a:lnTo>
                  <a:lnTo>
                    <a:pt x="762" y="141"/>
                  </a:lnTo>
                  <a:lnTo>
                    <a:pt x="775" y="154"/>
                  </a:lnTo>
                  <a:lnTo>
                    <a:pt x="788" y="167"/>
                  </a:lnTo>
                  <a:lnTo>
                    <a:pt x="800" y="179"/>
                  </a:lnTo>
                  <a:lnTo>
                    <a:pt x="810" y="193"/>
                  </a:lnTo>
                  <a:lnTo>
                    <a:pt x="820" y="207"/>
                  </a:lnTo>
                  <a:lnTo>
                    <a:pt x="830" y="222"/>
                  </a:lnTo>
                  <a:lnTo>
                    <a:pt x="838" y="237"/>
                  </a:lnTo>
                  <a:lnTo>
                    <a:pt x="846" y="253"/>
                  </a:lnTo>
                  <a:lnTo>
                    <a:pt x="852" y="268"/>
                  </a:lnTo>
                  <a:lnTo>
                    <a:pt x="858" y="284"/>
                  </a:lnTo>
                  <a:lnTo>
                    <a:pt x="863" y="301"/>
                  </a:lnTo>
                  <a:lnTo>
                    <a:pt x="866" y="317"/>
                  </a:lnTo>
                  <a:lnTo>
                    <a:pt x="869" y="335"/>
                  </a:lnTo>
                  <a:lnTo>
                    <a:pt x="870" y="352"/>
                  </a:lnTo>
                  <a:lnTo>
                    <a:pt x="871" y="370"/>
                  </a:lnTo>
                  <a:lnTo>
                    <a:pt x="870" y="387"/>
                  </a:lnTo>
                  <a:lnTo>
                    <a:pt x="869" y="404"/>
                  </a:lnTo>
                  <a:lnTo>
                    <a:pt x="866" y="421"/>
                  </a:lnTo>
                  <a:lnTo>
                    <a:pt x="863" y="438"/>
                  </a:lnTo>
                  <a:lnTo>
                    <a:pt x="858" y="454"/>
                  </a:lnTo>
                  <a:lnTo>
                    <a:pt x="852" y="471"/>
                  </a:lnTo>
                  <a:lnTo>
                    <a:pt x="846" y="487"/>
                  </a:lnTo>
                  <a:lnTo>
                    <a:pt x="838" y="502"/>
                  </a:lnTo>
                  <a:lnTo>
                    <a:pt x="830" y="518"/>
                  </a:lnTo>
                  <a:lnTo>
                    <a:pt x="820" y="532"/>
                  </a:lnTo>
                  <a:lnTo>
                    <a:pt x="810" y="546"/>
                  </a:lnTo>
                  <a:lnTo>
                    <a:pt x="800" y="559"/>
                  </a:lnTo>
                  <a:lnTo>
                    <a:pt x="788" y="573"/>
                  </a:lnTo>
                  <a:lnTo>
                    <a:pt x="775" y="586"/>
                  </a:lnTo>
                  <a:lnTo>
                    <a:pt x="762" y="599"/>
                  </a:lnTo>
                  <a:lnTo>
                    <a:pt x="748" y="611"/>
                  </a:lnTo>
                  <a:lnTo>
                    <a:pt x="733" y="621"/>
                  </a:lnTo>
                  <a:lnTo>
                    <a:pt x="718" y="632"/>
                  </a:lnTo>
                  <a:lnTo>
                    <a:pt x="702" y="643"/>
                  </a:lnTo>
                  <a:lnTo>
                    <a:pt x="685" y="651"/>
                  </a:lnTo>
                  <a:lnTo>
                    <a:pt x="669" y="661"/>
                  </a:lnTo>
                  <a:lnTo>
                    <a:pt x="651" y="668"/>
                  </a:lnTo>
                  <a:lnTo>
                    <a:pt x="633" y="676"/>
                  </a:lnTo>
                  <a:lnTo>
                    <a:pt x="615" y="683"/>
                  </a:lnTo>
                  <a:lnTo>
                    <a:pt x="595" y="690"/>
                  </a:lnTo>
                  <a:lnTo>
                    <a:pt x="576" y="695"/>
                  </a:lnTo>
                  <a:lnTo>
                    <a:pt x="556" y="700"/>
                  </a:lnTo>
                  <a:lnTo>
                    <a:pt x="535" y="703"/>
                  </a:lnTo>
                  <a:lnTo>
                    <a:pt x="515" y="706"/>
                  </a:lnTo>
                  <a:lnTo>
                    <a:pt x="494" y="708"/>
                  </a:lnTo>
                  <a:lnTo>
                    <a:pt x="472" y="709"/>
                  </a:lnTo>
                  <a:lnTo>
                    <a:pt x="451" y="710"/>
                  </a:lnTo>
                  <a:lnTo>
                    <a:pt x="451" y="710"/>
                  </a:lnTo>
                  <a:close/>
                  <a:moveTo>
                    <a:pt x="451" y="0"/>
                  </a:moveTo>
                  <a:lnTo>
                    <a:pt x="427" y="0"/>
                  </a:lnTo>
                  <a:lnTo>
                    <a:pt x="405" y="1"/>
                  </a:lnTo>
                  <a:lnTo>
                    <a:pt x="382" y="4"/>
                  </a:lnTo>
                  <a:lnTo>
                    <a:pt x="360" y="7"/>
                  </a:lnTo>
                  <a:lnTo>
                    <a:pt x="338" y="11"/>
                  </a:lnTo>
                  <a:lnTo>
                    <a:pt x="317" y="16"/>
                  </a:lnTo>
                  <a:lnTo>
                    <a:pt x="296" y="22"/>
                  </a:lnTo>
                  <a:lnTo>
                    <a:pt x="275" y="29"/>
                  </a:lnTo>
                  <a:lnTo>
                    <a:pt x="256" y="36"/>
                  </a:lnTo>
                  <a:lnTo>
                    <a:pt x="236" y="45"/>
                  </a:lnTo>
                  <a:lnTo>
                    <a:pt x="218" y="53"/>
                  </a:lnTo>
                  <a:lnTo>
                    <a:pt x="199" y="63"/>
                  </a:lnTo>
                  <a:lnTo>
                    <a:pt x="181" y="73"/>
                  </a:lnTo>
                  <a:lnTo>
                    <a:pt x="164" y="84"/>
                  </a:lnTo>
                  <a:lnTo>
                    <a:pt x="148" y="96"/>
                  </a:lnTo>
                  <a:lnTo>
                    <a:pt x="132" y="108"/>
                  </a:lnTo>
                  <a:lnTo>
                    <a:pt x="117" y="121"/>
                  </a:lnTo>
                  <a:lnTo>
                    <a:pt x="103" y="134"/>
                  </a:lnTo>
                  <a:lnTo>
                    <a:pt x="90" y="148"/>
                  </a:lnTo>
                  <a:lnTo>
                    <a:pt x="77" y="162"/>
                  </a:lnTo>
                  <a:lnTo>
                    <a:pt x="66" y="177"/>
                  </a:lnTo>
                  <a:lnTo>
                    <a:pt x="55" y="193"/>
                  </a:lnTo>
                  <a:lnTo>
                    <a:pt x="44" y="209"/>
                  </a:lnTo>
                  <a:lnTo>
                    <a:pt x="36" y="225"/>
                  </a:lnTo>
                  <a:lnTo>
                    <a:pt x="27" y="243"/>
                  </a:lnTo>
                  <a:lnTo>
                    <a:pt x="21" y="260"/>
                  </a:lnTo>
                  <a:lnTo>
                    <a:pt x="14" y="277"/>
                  </a:lnTo>
                  <a:lnTo>
                    <a:pt x="9" y="295"/>
                  </a:lnTo>
                  <a:lnTo>
                    <a:pt x="6" y="313"/>
                  </a:lnTo>
                  <a:lnTo>
                    <a:pt x="2" y="331"/>
                  </a:lnTo>
                  <a:lnTo>
                    <a:pt x="0" y="351"/>
                  </a:lnTo>
                  <a:lnTo>
                    <a:pt x="0" y="370"/>
                  </a:lnTo>
                  <a:lnTo>
                    <a:pt x="0" y="388"/>
                  </a:lnTo>
                  <a:lnTo>
                    <a:pt x="2" y="406"/>
                  </a:lnTo>
                  <a:lnTo>
                    <a:pt x="5" y="423"/>
                  </a:lnTo>
                  <a:lnTo>
                    <a:pt x="9" y="442"/>
                  </a:lnTo>
                  <a:lnTo>
                    <a:pt x="13" y="459"/>
                  </a:lnTo>
                  <a:lnTo>
                    <a:pt x="19" y="476"/>
                  </a:lnTo>
                  <a:lnTo>
                    <a:pt x="25" y="493"/>
                  </a:lnTo>
                  <a:lnTo>
                    <a:pt x="32" y="509"/>
                  </a:lnTo>
                  <a:lnTo>
                    <a:pt x="41" y="525"/>
                  </a:lnTo>
                  <a:lnTo>
                    <a:pt x="51" y="541"/>
                  </a:lnTo>
                  <a:lnTo>
                    <a:pt x="61" y="556"/>
                  </a:lnTo>
                  <a:lnTo>
                    <a:pt x="73" y="571"/>
                  </a:lnTo>
                  <a:lnTo>
                    <a:pt x="85" y="586"/>
                  </a:lnTo>
                  <a:lnTo>
                    <a:pt x="98" y="600"/>
                  </a:lnTo>
                  <a:lnTo>
                    <a:pt x="113" y="614"/>
                  </a:lnTo>
                  <a:lnTo>
                    <a:pt x="127" y="628"/>
                  </a:lnTo>
                  <a:lnTo>
                    <a:pt x="31" y="818"/>
                  </a:lnTo>
                  <a:lnTo>
                    <a:pt x="30" y="824"/>
                  </a:lnTo>
                  <a:lnTo>
                    <a:pt x="30" y="828"/>
                  </a:lnTo>
                  <a:lnTo>
                    <a:pt x="31" y="832"/>
                  </a:lnTo>
                  <a:lnTo>
                    <a:pt x="35" y="835"/>
                  </a:lnTo>
                  <a:lnTo>
                    <a:pt x="37" y="838"/>
                  </a:lnTo>
                  <a:lnTo>
                    <a:pt x="40" y="840"/>
                  </a:lnTo>
                  <a:lnTo>
                    <a:pt x="42" y="840"/>
                  </a:lnTo>
                  <a:lnTo>
                    <a:pt x="45" y="841"/>
                  </a:lnTo>
                  <a:lnTo>
                    <a:pt x="49" y="840"/>
                  </a:lnTo>
                  <a:lnTo>
                    <a:pt x="52" y="839"/>
                  </a:lnTo>
                  <a:lnTo>
                    <a:pt x="300" y="719"/>
                  </a:lnTo>
                  <a:lnTo>
                    <a:pt x="318" y="724"/>
                  </a:lnTo>
                  <a:lnTo>
                    <a:pt x="336" y="728"/>
                  </a:lnTo>
                  <a:lnTo>
                    <a:pt x="355" y="732"/>
                  </a:lnTo>
                  <a:lnTo>
                    <a:pt x="374" y="735"/>
                  </a:lnTo>
                  <a:lnTo>
                    <a:pt x="393" y="737"/>
                  </a:lnTo>
                  <a:lnTo>
                    <a:pt x="412" y="739"/>
                  </a:lnTo>
                  <a:lnTo>
                    <a:pt x="432" y="740"/>
                  </a:lnTo>
                  <a:lnTo>
                    <a:pt x="451" y="740"/>
                  </a:lnTo>
                  <a:lnTo>
                    <a:pt x="474" y="739"/>
                  </a:lnTo>
                  <a:lnTo>
                    <a:pt x="497" y="738"/>
                  </a:lnTo>
                  <a:lnTo>
                    <a:pt x="519" y="736"/>
                  </a:lnTo>
                  <a:lnTo>
                    <a:pt x="542" y="733"/>
                  </a:lnTo>
                  <a:lnTo>
                    <a:pt x="563" y="728"/>
                  </a:lnTo>
                  <a:lnTo>
                    <a:pt x="585" y="723"/>
                  </a:lnTo>
                  <a:lnTo>
                    <a:pt x="606" y="718"/>
                  </a:lnTo>
                  <a:lnTo>
                    <a:pt x="626" y="711"/>
                  </a:lnTo>
                  <a:lnTo>
                    <a:pt x="646" y="704"/>
                  </a:lnTo>
                  <a:lnTo>
                    <a:pt x="665" y="695"/>
                  </a:lnTo>
                  <a:lnTo>
                    <a:pt x="684" y="687"/>
                  </a:lnTo>
                  <a:lnTo>
                    <a:pt x="702" y="677"/>
                  </a:lnTo>
                  <a:lnTo>
                    <a:pt x="720" y="666"/>
                  </a:lnTo>
                  <a:lnTo>
                    <a:pt x="738" y="656"/>
                  </a:lnTo>
                  <a:lnTo>
                    <a:pt x="754" y="644"/>
                  </a:lnTo>
                  <a:lnTo>
                    <a:pt x="770" y="631"/>
                  </a:lnTo>
                  <a:lnTo>
                    <a:pt x="784" y="618"/>
                  </a:lnTo>
                  <a:lnTo>
                    <a:pt x="799" y="605"/>
                  </a:lnTo>
                  <a:lnTo>
                    <a:pt x="811" y="591"/>
                  </a:lnTo>
                  <a:lnTo>
                    <a:pt x="824" y="576"/>
                  </a:lnTo>
                  <a:lnTo>
                    <a:pt x="836" y="561"/>
                  </a:lnTo>
                  <a:lnTo>
                    <a:pt x="847" y="546"/>
                  </a:lnTo>
                  <a:lnTo>
                    <a:pt x="856" y="530"/>
                  </a:lnTo>
                  <a:lnTo>
                    <a:pt x="866" y="513"/>
                  </a:lnTo>
                  <a:lnTo>
                    <a:pt x="873" y="497"/>
                  </a:lnTo>
                  <a:lnTo>
                    <a:pt x="881" y="480"/>
                  </a:lnTo>
                  <a:lnTo>
                    <a:pt x="887" y="462"/>
                  </a:lnTo>
                  <a:lnTo>
                    <a:pt x="892" y="444"/>
                  </a:lnTo>
                  <a:lnTo>
                    <a:pt x="896" y="426"/>
                  </a:lnTo>
                  <a:lnTo>
                    <a:pt x="899" y="407"/>
                  </a:lnTo>
                  <a:lnTo>
                    <a:pt x="900" y="389"/>
                  </a:lnTo>
                  <a:lnTo>
                    <a:pt x="901" y="370"/>
                  </a:lnTo>
                  <a:lnTo>
                    <a:pt x="900" y="351"/>
                  </a:lnTo>
                  <a:lnTo>
                    <a:pt x="899" y="331"/>
                  </a:lnTo>
                  <a:lnTo>
                    <a:pt x="896" y="313"/>
                  </a:lnTo>
                  <a:lnTo>
                    <a:pt x="892" y="295"/>
                  </a:lnTo>
                  <a:lnTo>
                    <a:pt x="887" y="277"/>
                  </a:lnTo>
                  <a:lnTo>
                    <a:pt x="881" y="260"/>
                  </a:lnTo>
                  <a:lnTo>
                    <a:pt x="873" y="243"/>
                  </a:lnTo>
                  <a:lnTo>
                    <a:pt x="866" y="225"/>
                  </a:lnTo>
                  <a:lnTo>
                    <a:pt x="856" y="209"/>
                  </a:lnTo>
                  <a:lnTo>
                    <a:pt x="847" y="193"/>
                  </a:lnTo>
                  <a:lnTo>
                    <a:pt x="836" y="177"/>
                  </a:lnTo>
                  <a:lnTo>
                    <a:pt x="824" y="162"/>
                  </a:lnTo>
                  <a:lnTo>
                    <a:pt x="811" y="148"/>
                  </a:lnTo>
                  <a:lnTo>
                    <a:pt x="799" y="134"/>
                  </a:lnTo>
                  <a:lnTo>
                    <a:pt x="784" y="121"/>
                  </a:lnTo>
                  <a:lnTo>
                    <a:pt x="770" y="108"/>
                  </a:lnTo>
                  <a:lnTo>
                    <a:pt x="754" y="96"/>
                  </a:lnTo>
                  <a:lnTo>
                    <a:pt x="738" y="84"/>
                  </a:lnTo>
                  <a:lnTo>
                    <a:pt x="720" y="73"/>
                  </a:lnTo>
                  <a:lnTo>
                    <a:pt x="702" y="63"/>
                  </a:lnTo>
                  <a:lnTo>
                    <a:pt x="684" y="53"/>
                  </a:lnTo>
                  <a:lnTo>
                    <a:pt x="665" y="45"/>
                  </a:lnTo>
                  <a:lnTo>
                    <a:pt x="646" y="36"/>
                  </a:lnTo>
                  <a:lnTo>
                    <a:pt x="626" y="29"/>
                  </a:lnTo>
                  <a:lnTo>
                    <a:pt x="606" y="22"/>
                  </a:lnTo>
                  <a:lnTo>
                    <a:pt x="585" y="16"/>
                  </a:lnTo>
                  <a:lnTo>
                    <a:pt x="563" y="11"/>
                  </a:lnTo>
                  <a:lnTo>
                    <a:pt x="542" y="7"/>
                  </a:lnTo>
                  <a:lnTo>
                    <a:pt x="519" y="4"/>
                  </a:lnTo>
                  <a:lnTo>
                    <a:pt x="497" y="2"/>
                  </a:lnTo>
                  <a:lnTo>
                    <a:pt x="474" y="0"/>
                  </a:lnTo>
                  <a:lnTo>
                    <a:pt x="451" y="0"/>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7" name="Freeform 126">
              <a:extLst>
                <a:ext uri="{FF2B5EF4-FFF2-40B4-BE49-F238E27FC236}">
                  <a16:creationId xmlns:a16="http://schemas.microsoft.com/office/drawing/2014/main" id="{5D7CACDB-E75E-48BA-A31B-D96E2146779F}"/>
                </a:ext>
              </a:extLst>
            </p:cNvPr>
            <p:cNvSpPr>
              <a:spLocks/>
            </p:cNvSpPr>
            <p:nvPr/>
          </p:nvSpPr>
          <p:spPr bwMode="auto">
            <a:xfrm>
              <a:off x="3886200" y="2684463"/>
              <a:ext cx="19050" cy="19050"/>
            </a:xfrm>
            <a:custGeom>
              <a:avLst/>
              <a:gdLst>
                <a:gd name="T0" fmla="*/ 30 w 60"/>
                <a:gd name="T1" fmla="*/ 0 h 60"/>
                <a:gd name="T2" fmla="*/ 23 w 60"/>
                <a:gd name="T3" fmla="*/ 0 h 60"/>
                <a:gd name="T4" fmla="*/ 18 w 60"/>
                <a:gd name="T5" fmla="*/ 2 h 60"/>
                <a:gd name="T6" fmla="*/ 13 w 60"/>
                <a:gd name="T7" fmla="*/ 5 h 60"/>
                <a:gd name="T8" fmla="*/ 8 w 60"/>
                <a:gd name="T9" fmla="*/ 9 h 60"/>
                <a:gd name="T10" fmla="*/ 5 w 60"/>
                <a:gd name="T11" fmla="*/ 13 h 60"/>
                <a:gd name="T12" fmla="*/ 2 w 60"/>
                <a:gd name="T13" fmla="*/ 18 h 60"/>
                <a:gd name="T14" fmla="*/ 0 w 60"/>
                <a:gd name="T15" fmla="*/ 24 h 60"/>
                <a:gd name="T16" fmla="*/ 0 w 60"/>
                <a:gd name="T17" fmla="*/ 30 h 60"/>
                <a:gd name="T18" fmla="*/ 0 w 60"/>
                <a:gd name="T19" fmla="*/ 36 h 60"/>
                <a:gd name="T20" fmla="*/ 2 w 60"/>
                <a:gd name="T21" fmla="*/ 42 h 60"/>
                <a:gd name="T22" fmla="*/ 5 w 60"/>
                <a:gd name="T23" fmla="*/ 47 h 60"/>
                <a:gd name="T24" fmla="*/ 8 w 60"/>
                <a:gd name="T25" fmla="*/ 51 h 60"/>
                <a:gd name="T26" fmla="*/ 13 w 60"/>
                <a:gd name="T27" fmla="*/ 55 h 60"/>
                <a:gd name="T28" fmla="*/ 18 w 60"/>
                <a:gd name="T29" fmla="*/ 58 h 60"/>
                <a:gd name="T30" fmla="*/ 23 w 60"/>
                <a:gd name="T31" fmla="*/ 59 h 60"/>
                <a:gd name="T32" fmla="*/ 30 w 60"/>
                <a:gd name="T33" fmla="*/ 60 h 60"/>
                <a:gd name="T34" fmla="*/ 36 w 60"/>
                <a:gd name="T35" fmla="*/ 59 h 60"/>
                <a:gd name="T36" fmla="*/ 42 w 60"/>
                <a:gd name="T37" fmla="*/ 58 h 60"/>
                <a:gd name="T38" fmla="*/ 47 w 60"/>
                <a:gd name="T39" fmla="*/ 55 h 60"/>
                <a:gd name="T40" fmla="*/ 51 w 60"/>
                <a:gd name="T41" fmla="*/ 51 h 60"/>
                <a:gd name="T42" fmla="*/ 54 w 60"/>
                <a:gd name="T43" fmla="*/ 47 h 60"/>
                <a:gd name="T44" fmla="*/ 58 w 60"/>
                <a:gd name="T45" fmla="*/ 42 h 60"/>
                <a:gd name="T46" fmla="*/ 59 w 60"/>
                <a:gd name="T47" fmla="*/ 36 h 60"/>
                <a:gd name="T48" fmla="*/ 60 w 60"/>
                <a:gd name="T49" fmla="*/ 30 h 60"/>
                <a:gd name="T50" fmla="*/ 59 w 60"/>
                <a:gd name="T51" fmla="*/ 24 h 60"/>
                <a:gd name="T52" fmla="*/ 58 w 60"/>
                <a:gd name="T53" fmla="*/ 18 h 60"/>
                <a:gd name="T54" fmla="*/ 54 w 60"/>
                <a:gd name="T55" fmla="*/ 13 h 60"/>
                <a:gd name="T56" fmla="*/ 51 w 60"/>
                <a:gd name="T57" fmla="*/ 9 h 60"/>
                <a:gd name="T58" fmla="*/ 47 w 60"/>
                <a:gd name="T59" fmla="*/ 5 h 60"/>
                <a:gd name="T60" fmla="*/ 42 w 60"/>
                <a:gd name="T61" fmla="*/ 2 h 60"/>
                <a:gd name="T62" fmla="*/ 36 w 60"/>
                <a:gd name="T63" fmla="*/ 0 h 60"/>
                <a:gd name="T64" fmla="*/ 30 w 60"/>
                <a:gd name="T65" fmla="*/ 0 h 60"/>
                <a:gd name="T66" fmla="*/ 30 w 60"/>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0"/>
                  </a:moveTo>
                  <a:lnTo>
                    <a:pt x="23" y="0"/>
                  </a:lnTo>
                  <a:lnTo>
                    <a:pt x="18" y="2"/>
                  </a:lnTo>
                  <a:lnTo>
                    <a:pt x="13" y="5"/>
                  </a:lnTo>
                  <a:lnTo>
                    <a:pt x="8" y="9"/>
                  </a:lnTo>
                  <a:lnTo>
                    <a:pt x="5" y="13"/>
                  </a:lnTo>
                  <a:lnTo>
                    <a:pt x="2" y="18"/>
                  </a:lnTo>
                  <a:lnTo>
                    <a:pt x="0" y="24"/>
                  </a:lnTo>
                  <a:lnTo>
                    <a:pt x="0" y="30"/>
                  </a:lnTo>
                  <a:lnTo>
                    <a:pt x="0" y="36"/>
                  </a:lnTo>
                  <a:lnTo>
                    <a:pt x="2" y="42"/>
                  </a:lnTo>
                  <a:lnTo>
                    <a:pt x="5" y="47"/>
                  </a:lnTo>
                  <a:lnTo>
                    <a:pt x="8" y="51"/>
                  </a:lnTo>
                  <a:lnTo>
                    <a:pt x="13" y="55"/>
                  </a:lnTo>
                  <a:lnTo>
                    <a:pt x="18" y="58"/>
                  </a:lnTo>
                  <a:lnTo>
                    <a:pt x="23" y="59"/>
                  </a:lnTo>
                  <a:lnTo>
                    <a:pt x="30" y="60"/>
                  </a:lnTo>
                  <a:lnTo>
                    <a:pt x="36" y="59"/>
                  </a:lnTo>
                  <a:lnTo>
                    <a:pt x="42" y="58"/>
                  </a:lnTo>
                  <a:lnTo>
                    <a:pt x="47" y="55"/>
                  </a:lnTo>
                  <a:lnTo>
                    <a:pt x="51" y="51"/>
                  </a:lnTo>
                  <a:lnTo>
                    <a:pt x="54" y="47"/>
                  </a:lnTo>
                  <a:lnTo>
                    <a:pt x="58" y="42"/>
                  </a:lnTo>
                  <a:lnTo>
                    <a:pt x="59" y="36"/>
                  </a:lnTo>
                  <a:lnTo>
                    <a:pt x="60" y="30"/>
                  </a:lnTo>
                  <a:lnTo>
                    <a:pt x="59" y="24"/>
                  </a:lnTo>
                  <a:lnTo>
                    <a:pt x="58" y="18"/>
                  </a:lnTo>
                  <a:lnTo>
                    <a:pt x="54" y="13"/>
                  </a:lnTo>
                  <a:lnTo>
                    <a:pt x="51" y="9"/>
                  </a:lnTo>
                  <a:lnTo>
                    <a:pt x="47" y="5"/>
                  </a:lnTo>
                  <a:lnTo>
                    <a:pt x="42"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8" name="Freeform 127">
              <a:extLst>
                <a:ext uri="{FF2B5EF4-FFF2-40B4-BE49-F238E27FC236}">
                  <a16:creationId xmlns:a16="http://schemas.microsoft.com/office/drawing/2014/main" id="{731EDCCA-811B-4492-9F45-34EAA06E8B53}"/>
                </a:ext>
              </a:extLst>
            </p:cNvPr>
            <p:cNvSpPr>
              <a:spLocks/>
            </p:cNvSpPr>
            <p:nvPr/>
          </p:nvSpPr>
          <p:spPr bwMode="auto">
            <a:xfrm>
              <a:off x="3856038" y="2576513"/>
              <a:ext cx="80963" cy="98425"/>
            </a:xfrm>
            <a:custGeom>
              <a:avLst/>
              <a:gdLst>
                <a:gd name="T0" fmla="*/ 102 w 257"/>
                <a:gd name="T1" fmla="*/ 3 h 308"/>
                <a:gd name="T2" fmla="*/ 67 w 257"/>
                <a:gd name="T3" fmla="*/ 16 h 308"/>
                <a:gd name="T4" fmla="*/ 38 w 257"/>
                <a:gd name="T5" fmla="*/ 38 h 308"/>
                <a:gd name="T6" fmla="*/ 16 w 257"/>
                <a:gd name="T7" fmla="*/ 68 h 308"/>
                <a:gd name="T8" fmla="*/ 3 w 257"/>
                <a:gd name="T9" fmla="*/ 105 h 308"/>
                <a:gd name="T10" fmla="*/ 1 w 257"/>
                <a:gd name="T11" fmla="*/ 134 h 308"/>
                <a:gd name="T12" fmla="*/ 5 w 257"/>
                <a:gd name="T13" fmla="*/ 141 h 308"/>
                <a:gd name="T14" fmla="*/ 12 w 257"/>
                <a:gd name="T15" fmla="*/ 145 h 308"/>
                <a:gd name="T16" fmla="*/ 21 w 257"/>
                <a:gd name="T17" fmla="*/ 144 h 308"/>
                <a:gd name="T18" fmla="*/ 27 w 257"/>
                <a:gd name="T19" fmla="*/ 139 h 308"/>
                <a:gd name="T20" fmla="*/ 30 w 257"/>
                <a:gd name="T21" fmla="*/ 132 h 308"/>
                <a:gd name="T22" fmla="*/ 35 w 257"/>
                <a:gd name="T23" fmla="*/ 102 h 308"/>
                <a:gd name="T24" fmla="*/ 47 w 257"/>
                <a:gd name="T25" fmla="*/ 75 h 308"/>
                <a:gd name="T26" fmla="*/ 66 w 257"/>
                <a:gd name="T27" fmla="*/ 53 h 308"/>
                <a:gd name="T28" fmla="*/ 91 w 257"/>
                <a:gd name="T29" fmla="*/ 38 h 308"/>
                <a:gd name="T30" fmla="*/ 118 w 257"/>
                <a:gd name="T31" fmla="*/ 31 h 308"/>
                <a:gd name="T32" fmla="*/ 148 w 257"/>
                <a:gd name="T33" fmla="*/ 32 h 308"/>
                <a:gd name="T34" fmla="*/ 176 w 257"/>
                <a:gd name="T35" fmla="*/ 42 h 308"/>
                <a:gd name="T36" fmla="*/ 199 w 257"/>
                <a:gd name="T37" fmla="*/ 59 h 308"/>
                <a:gd name="T38" fmla="*/ 216 w 257"/>
                <a:gd name="T39" fmla="*/ 81 h 308"/>
                <a:gd name="T40" fmla="*/ 225 w 257"/>
                <a:gd name="T41" fmla="*/ 108 h 308"/>
                <a:gd name="T42" fmla="*/ 226 w 257"/>
                <a:gd name="T43" fmla="*/ 137 h 308"/>
                <a:gd name="T44" fmla="*/ 219 w 257"/>
                <a:gd name="T45" fmla="*/ 164 h 308"/>
                <a:gd name="T46" fmla="*/ 204 w 257"/>
                <a:gd name="T47" fmla="*/ 186 h 308"/>
                <a:gd name="T48" fmla="*/ 183 w 257"/>
                <a:gd name="T49" fmla="*/ 203 h 308"/>
                <a:gd name="T50" fmla="*/ 156 w 257"/>
                <a:gd name="T51" fmla="*/ 214 h 308"/>
                <a:gd name="T52" fmla="*/ 125 w 257"/>
                <a:gd name="T53" fmla="*/ 218 h 308"/>
                <a:gd name="T54" fmla="*/ 116 w 257"/>
                <a:gd name="T55" fmla="*/ 220 h 308"/>
                <a:gd name="T56" fmla="*/ 111 w 257"/>
                <a:gd name="T57" fmla="*/ 227 h 308"/>
                <a:gd name="T58" fmla="*/ 110 w 257"/>
                <a:gd name="T59" fmla="*/ 293 h 308"/>
                <a:gd name="T60" fmla="*/ 112 w 257"/>
                <a:gd name="T61" fmla="*/ 302 h 308"/>
                <a:gd name="T62" fmla="*/ 119 w 257"/>
                <a:gd name="T63" fmla="*/ 307 h 308"/>
                <a:gd name="T64" fmla="*/ 128 w 257"/>
                <a:gd name="T65" fmla="*/ 308 h 308"/>
                <a:gd name="T66" fmla="*/ 136 w 257"/>
                <a:gd name="T67" fmla="*/ 304 h 308"/>
                <a:gd name="T68" fmla="*/ 140 w 257"/>
                <a:gd name="T69" fmla="*/ 296 h 308"/>
                <a:gd name="T70" fmla="*/ 153 w 257"/>
                <a:gd name="T71" fmla="*/ 245 h 308"/>
                <a:gd name="T72" fmla="*/ 187 w 257"/>
                <a:gd name="T73" fmla="*/ 234 h 308"/>
                <a:gd name="T74" fmla="*/ 216 w 257"/>
                <a:gd name="T75" fmla="*/ 216 h 308"/>
                <a:gd name="T76" fmla="*/ 238 w 257"/>
                <a:gd name="T77" fmla="*/ 191 h 308"/>
                <a:gd name="T78" fmla="*/ 252 w 257"/>
                <a:gd name="T79" fmla="*/ 162 h 308"/>
                <a:gd name="T80" fmla="*/ 257 w 257"/>
                <a:gd name="T81" fmla="*/ 127 h 308"/>
                <a:gd name="T82" fmla="*/ 251 w 257"/>
                <a:gd name="T83" fmla="*/ 90 h 308"/>
                <a:gd name="T84" fmla="*/ 235 w 257"/>
                <a:gd name="T85" fmla="*/ 57 h 308"/>
                <a:gd name="T86" fmla="*/ 210 w 257"/>
                <a:gd name="T87" fmla="*/ 29 h 308"/>
                <a:gd name="T88" fmla="*/ 178 w 257"/>
                <a:gd name="T89" fmla="*/ 11 h 308"/>
                <a:gd name="T90" fmla="*/ 142 w 257"/>
                <a:gd name="T91" fmla="*/ 1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308">
                  <a:moveTo>
                    <a:pt x="129" y="0"/>
                  </a:moveTo>
                  <a:lnTo>
                    <a:pt x="115" y="1"/>
                  </a:lnTo>
                  <a:lnTo>
                    <a:pt x="102" y="3"/>
                  </a:lnTo>
                  <a:lnTo>
                    <a:pt x="91" y="6"/>
                  </a:lnTo>
                  <a:lnTo>
                    <a:pt x="79" y="11"/>
                  </a:lnTo>
                  <a:lnTo>
                    <a:pt x="67" y="16"/>
                  </a:lnTo>
                  <a:lnTo>
                    <a:pt x="56" y="22"/>
                  </a:lnTo>
                  <a:lnTo>
                    <a:pt x="47" y="30"/>
                  </a:lnTo>
                  <a:lnTo>
                    <a:pt x="38" y="38"/>
                  </a:lnTo>
                  <a:lnTo>
                    <a:pt x="30" y="48"/>
                  </a:lnTo>
                  <a:lnTo>
                    <a:pt x="22" y="58"/>
                  </a:lnTo>
                  <a:lnTo>
                    <a:pt x="16" y="68"/>
                  </a:lnTo>
                  <a:lnTo>
                    <a:pt x="10" y="80"/>
                  </a:lnTo>
                  <a:lnTo>
                    <a:pt x="6" y="92"/>
                  </a:lnTo>
                  <a:lnTo>
                    <a:pt x="3" y="105"/>
                  </a:lnTo>
                  <a:lnTo>
                    <a:pt x="1" y="118"/>
                  </a:lnTo>
                  <a:lnTo>
                    <a:pt x="0" y="132"/>
                  </a:lnTo>
                  <a:lnTo>
                    <a:pt x="1" y="134"/>
                  </a:lnTo>
                  <a:lnTo>
                    <a:pt x="2" y="137"/>
                  </a:lnTo>
                  <a:lnTo>
                    <a:pt x="3" y="139"/>
                  </a:lnTo>
                  <a:lnTo>
                    <a:pt x="5" y="141"/>
                  </a:lnTo>
                  <a:lnTo>
                    <a:pt x="7" y="143"/>
                  </a:lnTo>
                  <a:lnTo>
                    <a:pt x="9" y="144"/>
                  </a:lnTo>
                  <a:lnTo>
                    <a:pt x="12" y="145"/>
                  </a:lnTo>
                  <a:lnTo>
                    <a:pt x="15" y="147"/>
                  </a:lnTo>
                  <a:lnTo>
                    <a:pt x="18" y="145"/>
                  </a:lnTo>
                  <a:lnTo>
                    <a:pt x="21" y="144"/>
                  </a:lnTo>
                  <a:lnTo>
                    <a:pt x="23" y="143"/>
                  </a:lnTo>
                  <a:lnTo>
                    <a:pt x="25" y="141"/>
                  </a:lnTo>
                  <a:lnTo>
                    <a:pt x="27" y="139"/>
                  </a:lnTo>
                  <a:lnTo>
                    <a:pt x="29" y="137"/>
                  </a:lnTo>
                  <a:lnTo>
                    <a:pt x="30" y="134"/>
                  </a:lnTo>
                  <a:lnTo>
                    <a:pt x="30" y="132"/>
                  </a:lnTo>
                  <a:lnTo>
                    <a:pt x="31" y="121"/>
                  </a:lnTo>
                  <a:lnTo>
                    <a:pt x="32" y="111"/>
                  </a:lnTo>
                  <a:lnTo>
                    <a:pt x="35" y="102"/>
                  </a:lnTo>
                  <a:lnTo>
                    <a:pt x="38" y="92"/>
                  </a:lnTo>
                  <a:lnTo>
                    <a:pt x="42" y="83"/>
                  </a:lnTo>
                  <a:lnTo>
                    <a:pt x="47" y="75"/>
                  </a:lnTo>
                  <a:lnTo>
                    <a:pt x="53" y="67"/>
                  </a:lnTo>
                  <a:lnTo>
                    <a:pt x="60" y="60"/>
                  </a:lnTo>
                  <a:lnTo>
                    <a:pt x="66" y="53"/>
                  </a:lnTo>
                  <a:lnTo>
                    <a:pt x="75" y="48"/>
                  </a:lnTo>
                  <a:lnTo>
                    <a:pt x="82" y="43"/>
                  </a:lnTo>
                  <a:lnTo>
                    <a:pt x="91" y="38"/>
                  </a:lnTo>
                  <a:lnTo>
                    <a:pt x="100" y="35"/>
                  </a:lnTo>
                  <a:lnTo>
                    <a:pt x="109" y="32"/>
                  </a:lnTo>
                  <a:lnTo>
                    <a:pt x="118" y="31"/>
                  </a:lnTo>
                  <a:lnTo>
                    <a:pt x="129" y="30"/>
                  </a:lnTo>
                  <a:lnTo>
                    <a:pt x="139" y="31"/>
                  </a:lnTo>
                  <a:lnTo>
                    <a:pt x="148" y="32"/>
                  </a:lnTo>
                  <a:lnTo>
                    <a:pt x="158" y="34"/>
                  </a:lnTo>
                  <a:lnTo>
                    <a:pt x="167" y="37"/>
                  </a:lnTo>
                  <a:lnTo>
                    <a:pt x="176" y="42"/>
                  </a:lnTo>
                  <a:lnTo>
                    <a:pt x="184" y="47"/>
                  </a:lnTo>
                  <a:lnTo>
                    <a:pt x="191" y="52"/>
                  </a:lnTo>
                  <a:lnTo>
                    <a:pt x="199" y="59"/>
                  </a:lnTo>
                  <a:lnTo>
                    <a:pt x="205" y="65"/>
                  </a:lnTo>
                  <a:lnTo>
                    <a:pt x="210" y="73"/>
                  </a:lnTo>
                  <a:lnTo>
                    <a:pt x="216" y="81"/>
                  </a:lnTo>
                  <a:lnTo>
                    <a:pt x="220" y="90"/>
                  </a:lnTo>
                  <a:lnTo>
                    <a:pt x="223" y="98"/>
                  </a:lnTo>
                  <a:lnTo>
                    <a:pt x="225" y="108"/>
                  </a:lnTo>
                  <a:lnTo>
                    <a:pt x="226" y="118"/>
                  </a:lnTo>
                  <a:lnTo>
                    <a:pt x="228" y="127"/>
                  </a:lnTo>
                  <a:lnTo>
                    <a:pt x="226" y="137"/>
                  </a:lnTo>
                  <a:lnTo>
                    <a:pt x="225" y="147"/>
                  </a:lnTo>
                  <a:lnTo>
                    <a:pt x="223" y="155"/>
                  </a:lnTo>
                  <a:lnTo>
                    <a:pt x="219" y="164"/>
                  </a:lnTo>
                  <a:lnTo>
                    <a:pt x="216" y="171"/>
                  </a:lnTo>
                  <a:lnTo>
                    <a:pt x="210" y="179"/>
                  </a:lnTo>
                  <a:lnTo>
                    <a:pt x="204" y="186"/>
                  </a:lnTo>
                  <a:lnTo>
                    <a:pt x="198" y="191"/>
                  </a:lnTo>
                  <a:lnTo>
                    <a:pt x="191" y="198"/>
                  </a:lnTo>
                  <a:lnTo>
                    <a:pt x="183" y="203"/>
                  </a:lnTo>
                  <a:lnTo>
                    <a:pt x="174" y="208"/>
                  </a:lnTo>
                  <a:lnTo>
                    <a:pt x="165" y="211"/>
                  </a:lnTo>
                  <a:lnTo>
                    <a:pt x="156" y="214"/>
                  </a:lnTo>
                  <a:lnTo>
                    <a:pt x="146" y="216"/>
                  </a:lnTo>
                  <a:lnTo>
                    <a:pt x="136" y="217"/>
                  </a:lnTo>
                  <a:lnTo>
                    <a:pt x="125" y="218"/>
                  </a:lnTo>
                  <a:lnTo>
                    <a:pt x="122" y="218"/>
                  </a:lnTo>
                  <a:lnTo>
                    <a:pt x="119" y="219"/>
                  </a:lnTo>
                  <a:lnTo>
                    <a:pt x="116" y="220"/>
                  </a:lnTo>
                  <a:lnTo>
                    <a:pt x="114" y="223"/>
                  </a:lnTo>
                  <a:lnTo>
                    <a:pt x="112" y="225"/>
                  </a:lnTo>
                  <a:lnTo>
                    <a:pt x="111" y="227"/>
                  </a:lnTo>
                  <a:lnTo>
                    <a:pt x="110" y="230"/>
                  </a:lnTo>
                  <a:lnTo>
                    <a:pt x="110" y="233"/>
                  </a:lnTo>
                  <a:lnTo>
                    <a:pt x="110" y="293"/>
                  </a:lnTo>
                  <a:lnTo>
                    <a:pt x="110" y="296"/>
                  </a:lnTo>
                  <a:lnTo>
                    <a:pt x="111" y="299"/>
                  </a:lnTo>
                  <a:lnTo>
                    <a:pt x="112" y="302"/>
                  </a:lnTo>
                  <a:lnTo>
                    <a:pt x="114" y="304"/>
                  </a:lnTo>
                  <a:lnTo>
                    <a:pt x="116" y="305"/>
                  </a:lnTo>
                  <a:lnTo>
                    <a:pt x="119" y="307"/>
                  </a:lnTo>
                  <a:lnTo>
                    <a:pt x="122" y="308"/>
                  </a:lnTo>
                  <a:lnTo>
                    <a:pt x="125" y="308"/>
                  </a:lnTo>
                  <a:lnTo>
                    <a:pt x="128" y="308"/>
                  </a:lnTo>
                  <a:lnTo>
                    <a:pt x="130" y="307"/>
                  </a:lnTo>
                  <a:lnTo>
                    <a:pt x="133" y="305"/>
                  </a:lnTo>
                  <a:lnTo>
                    <a:pt x="136" y="304"/>
                  </a:lnTo>
                  <a:lnTo>
                    <a:pt x="138" y="302"/>
                  </a:lnTo>
                  <a:lnTo>
                    <a:pt x="139" y="299"/>
                  </a:lnTo>
                  <a:lnTo>
                    <a:pt x="140" y="296"/>
                  </a:lnTo>
                  <a:lnTo>
                    <a:pt x="140" y="293"/>
                  </a:lnTo>
                  <a:lnTo>
                    <a:pt x="140" y="247"/>
                  </a:lnTo>
                  <a:lnTo>
                    <a:pt x="153" y="245"/>
                  </a:lnTo>
                  <a:lnTo>
                    <a:pt x="164" y="243"/>
                  </a:lnTo>
                  <a:lnTo>
                    <a:pt x="175" y="239"/>
                  </a:lnTo>
                  <a:lnTo>
                    <a:pt x="187" y="234"/>
                  </a:lnTo>
                  <a:lnTo>
                    <a:pt x="196" y="229"/>
                  </a:lnTo>
                  <a:lnTo>
                    <a:pt x="206" y="223"/>
                  </a:lnTo>
                  <a:lnTo>
                    <a:pt x="216" y="216"/>
                  </a:lnTo>
                  <a:lnTo>
                    <a:pt x="223" y="209"/>
                  </a:lnTo>
                  <a:lnTo>
                    <a:pt x="231" y="200"/>
                  </a:lnTo>
                  <a:lnTo>
                    <a:pt x="238" y="191"/>
                  </a:lnTo>
                  <a:lnTo>
                    <a:pt x="244" y="182"/>
                  </a:lnTo>
                  <a:lnTo>
                    <a:pt x="248" y="172"/>
                  </a:lnTo>
                  <a:lnTo>
                    <a:pt x="252" y="162"/>
                  </a:lnTo>
                  <a:lnTo>
                    <a:pt x="255" y="151"/>
                  </a:lnTo>
                  <a:lnTo>
                    <a:pt x="256" y="139"/>
                  </a:lnTo>
                  <a:lnTo>
                    <a:pt x="257" y="127"/>
                  </a:lnTo>
                  <a:lnTo>
                    <a:pt x="256" y="114"/>
                  </a:lnTo>
                  <a:lnTo>
                    <a:pt x="254" y="102"/>
                  </a:lnTo>
                  <a:lnTo>
                    <a:pt x="251" y="90"/>
                  </a:lnTo>
                  <a:lnTo>
                    <a:pt x="247" y="78"/>
                  </a:lnTo>
                  <a:lnTo>
                    <a:pt x="241" y="67"/>
                  </a:lnTo>
                  <a:lnTo>
                    <a:pt x="235" y="57"/>
                  </a:lnTo>
                  <a:lnTo>
                    <a:pt x="228" y="47"/>
                  </a:lnTo>
                  <a:lnTo>
                    <a:pt x="220" y="37"/>
                  </a:lnTo>
                  <a:lnTo>
                    <a:pt x="210" y="29"/>
                  </a:lnTo>
                  <a:lnTo>
                    <a:pt x="201" y="22"/>
                  </a:lnTo>
                  <a:lnTo>
                    <a:pt x="190" y="16"/>
                  </a:lnTo>
                  <a:lnTo>
                    <a:pt x="178" y="11"/>
                  </a:lnTo>
                  <a:lnTo>
                    <a:pt x="167" y="6"/>
                  </a:lnTo>
                  <a:lnTo>
                    <a:pt x="155" y="3"/>
                  </a:lnTo>
                  <a:lnTo>
                    <a:pt x="142" y="1"/>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22" name="Gruppieren 721">
            <a:extLst>
              <a:ext uri="{FF2B5EF4-FFF2-40B4-BE49-F238E27FC236}">
                <a16:creationId xmlns:a16="http://schemas.microsoft.com/office/drawing/2014/main" id="{E1826CBF-FBD0-4DCD-BAFF-E3B9968EEA21}"/>
              </a:ext>
            </a:extLst>
          </p:cNvPr>
          <p:cNvGrpSpPr>
            <a:grpSpLocks noChangeAspect="1"/>
          </p:cNvGrpSpPr>
          <p:nvPr/>
        </p:nvGrpSpPr>
        <p:grpSpPr>
          <a:xfrm>
            <a:off x="6638885" y="5458859"/>
            <a:ext cx="283177" cy="203054"/>
            <a:chOff x="7858458" y="5559749"/>
            <a:chExt cx="504770" cy="361950"/>
          </a:xfrm>
          <a:solidFill>
            <a:schemeClr val="bg2"/>
          </a:solidFill>
        </p:grpSpPr>
        <p:grpSp>
          <p:nvGrpSpPr>
            <p:cNvPr id="723" name="Group 11">
              <a:extLst>
                <a:ext uri="{FF2B5EF4-FFF2-40B4-BE49-F238E27FC236}">
                  <a16:creationId xmlns:a16="http://schemas.microsoft.com/office/drawing/2014/main" id="{E3A34193-6DCB-455D-BB6C-224A45607E3D}"/>
                </a:ext>
              </a:extLst>
            </p:cNvPr>
            <p:cNvGrpSpPr/>
            <p:nvPr/>
          </p:nvGrpSpPr>
          <p:grpSpPr>
            <a:xfrm>
              <a:off x="7931244" y="5561874"/>
              <a:ext cx="356209" cy="350784"/>
              <a:chOff x="1079500" y="2990850"/>
              <a:chExt cx="938213" cy="923926"/>
            </a:xfrm>
            <a:grpFill/>
            <a:effectLst/>
          </p:grpSpPr>
          <p:sp>
            <p:nvSpPr>
              <p:cNvPr id="726" name="Freeform 12">
                <a:extLst>
                  <a:ext uri="{FF2B5EF4-FFF2-40B4-BE49-F238E27FC236}">
                    <a16:creationId xmlns:a16="http://schemas.microsoft.com/office/drawing/2014/main" id="{BE43253F-14ED-468E-864A-AB0920759F9D}"/>
                  </a:ext>
                </a:extLst>
              </p:cNvPr>
              <p:cNvSpPr>
                <a:spLocks/>
              </p:cNvSpPr>
              <p:nvPr/>
            </p:nvSpPr>
            <p:spPr bwMode="auto">
              <a:xfrm>
                <a:off x="1344613" y="2990850"/>
                <a:ext cx="407988" cy="422275"/>
              </a:xfrm>
              <a:custGeom>
                <a:avLst/>
                <a:gdLst>
                  <a:gd name="T0" fmla="*/ 88 w 104"/>
                  <a:gd name="T1" fmla="*/ 108 h 108"/>
                  <a:gd name="T2" fmla="*/ 91 w 104"/>
                  <a:gd name="T3" fmla="*/ 107 h 108"/>
                  <a:gd name="T4" fmla="*/ 92 w 104"/>
                  <a:gd name="T5" fmla="*/ 102 h 108"/>
                  <a:gd name="T6" fmla="*/ 77 w 104"/>
                  <a:gd name="T7" fmla="*/ 69 h 108"/>
                  <a:gd name="T8" fmla="*/ 103 w 104"/>
                  <a:gd name="T9" fmla="*/ 47 h 108"/>
                  <a:gd name="T10" fmla="*/ 104 w 104"/>
                  <a:gd name="T11" fmla="*/ 43 h 108"/>
                  <a:gd name="T12" fmla="*/ 100 w 104"/>
                  <a:gd name="T13" fmla="*/ 40 h 108"/>
                  <a:gd name="T14" fmla="*/ 67 w 104"/>
                  <a:gd name="T15" fmla="*/ 40 h 108"/>
                  <a:gd name="T16" fmla="*/ 56 w 104"/>
                  <a:gd name="T17" fmla="*/ 3 h 108"/>
                  <a:gd name="T18" fmla="*/ 52 w 104"/>
                  <a:gd name="T19" fmla="*/ 0 h 108"/>
                  <a:gd name="T20" fmla="*/ 48 w 104"/>
                  <a:gd name="T21" fmla="*/ 3 h 108"/>
                  <a:gd name="T22" fmla="*/ 37 w 104"/>
                  <a:gd name="T23" fmla="*/ 40 h 108"/>
                  <a:gd name="T24" fmla="*/ 4 w 104"/>
                  <a:gd name="T25" fmla="*/ 40 h 108"/>
                  <a:gd name="T26" fmla="*/ 0 w 104"/>
                  <a:gd name="T27" fmla="*/ 43 h 108"/>
                  <a:gd name="T28" fmla="*/ 1 w 104"/>
                  <a:gd name="T29" fmla="*/ 47 h 108"/>
                  <a:gd name="T30" fmla="*/ 27 w 104"/>
                  <a:gd name="T31" fmla="*/ 69 h 108"/>
                  <a:gd name="T32" fmla="*/ 12 w 104"/>
                  <a:gd name="T33" fmla="*/ 102 h 108"/>
                  <a:gd name="T34" fmla="*/ 13 w 104"/>
                  <a:gd name="T35" fmla="*/ 107 h 108"/>
                  <a:gd name="T36" fmla="*/ 18 w 104"/>
                  <a:gd name="T37" fmla="*/ 107 h 108"/>
                  <a:gd name="T38" fmla="*/ 52 w 104"/>
                  <a:gd name="T39" fmla="*/ 85 h 108"/>
                  <a:gd name="T40" fmla="*/ 86 w 104"/>
                  <a:gd name="T41" fmla="*/ 107 h 108"/>
                  <a:gd name="T42" fmla="*/ 88 w 104"/>
                  <a:gd name="T4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88" y="108"/>
                    </a:move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ubicBezTo>
                      <a:pt x="103" y="41"/>
                      <a:pt x="102" y="40"/>
                      <a:pt x="100" y="40"/>
                    </a:cubicBez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3">
                <a:extLst>
                  <a:ext uri="{FF2B5EF4-FFF2-40B4-BE49-F238E27FC236}">
                    <a16:creationId xmlns:a16="http://schemas.microsoft.com/office/drawing/2014/main" id="{51930204-BFF8-43B6-A433-007CD7342FD1}"/>
                  </a:ext>
                </a:extLst>
              </p:cNvPr>
              <p:cNvSpPr>
                <a:spLocks/>
              </p:cNvSpPr>
              <p:nvPr/>
            </p:nvSpPr>
            <p:spPr bwMode="auto">
              <a:xfrm>
                <a:off x="1611313" y="3490913"/>
                <a:ext cx="406400" cy="423863"/>
              </a:xfrm>
              <a:custGeom>
                <a:avLst/>
                <a:gdLst>
                  <a:gd name="T0" fmla="*/ 104 w 104"/>
                  <a:gd name="T1" fmla="*/ 43 h 108"/>
                  <a:gd name="T2" fmla="*/ 100 w 104"/>
                  <a:gd name="T3" fmla="*/ 40 h 108"/>
                  <a:gd name="T4" fmla="*/ 67 w 104"/>
                  <a:gd name="T5" fmla="*/ 40 h 108"/>
                  <a:gd name="T6" fmla="*/ 56 w 104"/>
                  <a:gd name="T7" fmla="*/ 3 h 108"/>
                  <a:gd name="T8" fmla="*/ 52 w 104"/>
                  <a:gd name="T9" fmla="*/ 0 h 108"/>
                  <a:gd name="T10" fmla="*/ 48 w 104"/>
                  <a:gd name="T11" fmla="*/ 3 h 108"/>
                  <a:gd name="T12" fmla="*/ 37 w 104"/>
                  <a:gd name="T13" fmla="*/ 40 h 108"/>
                  <a:gd name="T14" fmla="*/ 4 w 104"/>
                  <a:gd name="T15" fmla="*/ 40 h 108"/>
                  <a:gd name="T16" fmla="*/ 0 w 104"/>
                  <a:gd name="T17" fmla="*/ 43 h 108"/>
                  <a:gd name="T18" fmla="*/ 1 w 104"/>
                  <a:gd name="T19" fmla="*/ 47 h 108"/>
                  <a:gd name="T20" fmla="*/ 27 w 104"/>
                  <a:gd name="T21" fmla="*/ 69 h 108"/>
                  <a:gd name="T22" fmla="*/ 12 w 104"/>
                  <a:gd name="T23" fmla="*/ 102 h 108"/>
                  <a:gd name="T24" fmla="*/ 13 w 104"/>
                  <a:gd name="T25" fmla="*/ 107 h 108"/>
                  <a:gd name="T26" fmla="*/ 18 w 104"/>
                  <a:gd name="T27" fmla="*/ 107 h 108"/>
                  <a:gd name="T28" fmla="*/ 52 w 104"/>
                  <a:gd name="T29" fmla="*/ 85 h 108"/>
                  <a:gd name="T30" fmla="*/ 86 w 104"/>
                  <a:gd name="T31" fmla="*/ 107 h 108"/>
                  <a:gd name="T32" fmla="*/ 88 w 104"/>
                  <a:gd name="T33" fmla="*/ 108 h 108"/>
                  <a:gd name="T34" fmla="*/ 91 w 104"/>
                  <a:gd name="T35" fmla="*/ 107 h 108"/>
                  <a:gd name="T36" fmla="*/ 92 w 104"/>
                  <a:gd name="T37" fmla="*/ 102 h 108"/>
                  <a:gd name="T38" fmla="*/ 77 w 104"/>
                  <a:gd name="T39" fmla="*/ 69 h 108"/>
                  <a:gd name="T40" fmla="*/ 103 w 104"/>
                  <a:gd name="T41" fmla="*/ 47 h 108"/>
                  <a:gd name="T42" fmla="*/ 104 w 104"/>
                  <a:gd name="T43" fmla="*/ 4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104" y="43"/>
                    </a:moveTo>
                    <a:cubicBezTo>
                      <a:pt x="103" y="41"/>
                      <a:pt x="102" y="40"/>
                      <a:pt x="100" y="40"/>
                    </a:cubicBez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4">
                <a:extLst>
                  <a:ext uri="{FF2B5EF4-FFF2-40B4-BE49-F238E27FC236}">
                    <a16:creationId xmlns:a16="http://schemas.microsoft.com/office/drawing/2014/main" id="{C08DD7D2-F7F6-424D-9FA0-51A36ADC3821}"/>
                  </a:ext>
                </a:extLst>
              </p:cNvPr>
              <p:cNvSpPr>
                <a:spLocks/>
              </p:cNvSpPr>
              <p:nvPr/>
            </p:nvSpPr>
            <p:spPr bwMode="auto">
              <a:xfrm>
                <a:off x="1079500" y="3490913"/>
                <a:ext cx="406400" cy="423863"/>
              </a:xfrm>
              <a:custGeom>
                <a:avLst/>
                <a:gdLst>
                  <a:gd name="T0" fmla="*/ 100 w 104"/>
                  <a:gd name="T1" fmla="*/ 40 h 108"/>
                  <a:gd name="T2" fmla="*/ 67 w 104"/>
                  <a:gd name="T3" fmla="*/ 40 h 108"/>
                  <a:gd name="T4" fmla="*/ 56 w 104"/>
                  <a:gd name="T5" fmla="*/ 3 h 108"/>
                  <a:gd name="T6" fmla="*/ 52 w 104"/>
                  <a:gd name="T7" fmla="*/ 0 h 108"/>
                  <a:gd name="T8" fmla="*/ 48 w 104"/>
                  <a:gd name="T9" fmla="*/ 3 h 108"/>
                  <a:gd name="T10" fmla="*/ 37 w 104"/>
                  <a:gd name="T11" fmla="*/ 40 h 108"/>
                  <a:gd name="T12" fmla="*/ 4 w 104"/>
                  <a:gd name="T13" fmla="*/ 40 h 108"/>
                  <a:gd name="T14" fmla="*/ 0 w 104"/>
                  <a:gd name="T15" fmla="*/ 43 h 108"/>
                  <a:gd name="T16" fmla="*/ 1 w 104"/>
                  <a:gd name="T17" fmla="*/ 47 h 108"/>
                  <a:gd name="T18" fmla="*/ 27 w 104"/>
                  <a:gd name="T19" fmla="*/ 69 h 108"/>
                  <a:gd name="T20" fmla="*/ 12 w 104"/>
                  <a:gd name="T21" fmla="*/ 102 h 108"/>
                  <a:gd name="T22" fmla="*/ 13 w 104"/>
                  <a:gd name="T23" fmla="*/ 107 h 108"/>
                  <a:gd name="T24" fmla="*/ 18 w 104"/>
                  <a:gd name="T25" fmla="*/ 107 h 108"/>
                  <a:gd name="T26" fmla="*/ 52 w 104"/>
                  <a:gd name="T27" fmla="*/ 85 h 108"/>
                  <a:gd name="T28" fmla="*/ 86 w 104"/>
                  <a:gd name="T29" fmla="*/ 107 h 108"/>
                  <a:gd name="T30" fmla="*/ 88 w 104"/>
                  <a:gd name="T31" fmla="*/ 108 h 108"/>
                  <a:gd name="T32" fmla="*/ 91 w 104"/>
                  <a:gd name="T33" fmla="*/ 107 h 108"/>
                  <a:gd name="T34" fmla="*/ 92 w 104"/>
                  <a:gd name="T35" fmla="*/ 102 h 108"/>
                  <a:gd name="T36" fmla="*/ 77 w 104"/>
                  <a:gd name="T37" fmla="*/ 69 h 108"/>
                  <a:gd name="T38" fmla="*/ 103 w 104"/>
                  <a:gd name="T39" fmla="*/ 47 h 108"/>
                  <a:gd name="T40" fmla="*/ 104 w 104"/>
                  <a:gd name="T41" fmla="*/ 43 h 108"/>
                  <a:gd name="T42" fmla="*/ 100 w 104"/>
                  <a:gd name="T43" fmla="*/ 4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100" y="40"/>
                    </a:move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ubicBezTo>
                      <a:pt x="103" y="41"/>
                      <a:pt x="102" y="40"/>
                      <a:pt x="10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1">
              <a:extLst>
                <a:ext uri="{FF2B5EF4-FFF2-40B4-BE49-F238E27FC236}">
                  <a16:creationId xmlns:a16="http://schemas.microsoft.com/office/drawing/2014/main" id="{2C0102AA-8348-4B94-AAB1-1A946B38BD66}"/>
                </a:ext>
              </a:extLst>
            </p:cNvPr>
            <p:cNvSpPr>
              <a:spLocks/>
            </p:cNvSpPr>
            <p:nvPr/>
          </p:nvSpPr>
          <p:spPr bwMode="auto">
            <a:xfrm>
              <a:off x="7858458" y="5559749"/>
              <a:ext cx="123371" cy="361950"/>
            </a:xfrm>
            <a:custGeom>
              <a:avLst/>
              <a:gdLst>
                <a:gd name="T0" fmla="*/ 75 w 82"/>
                <a:gd name="T1" fmla="*/ 1 h 241"/>
                <a:gd name="T2" fmla="*/ 65 w 82"/>
                <a:gd name="T3" fmla="*/ 7 h 241"/>
                <a:gd name="T4" fmla="*/ 1 w 82"/>
                <a:gd name="T5" fmla="*/ 231 h 241"/>
                <a:gd name="T6" fmla="*/ 7 w 82"/>
                <a:gd name="T7" fmla="*/ 241 h 241"/>
                <a:gd name="T8" fmla="*/ 9 w 82"/>
                <a:gd name="T9" fmla="*/ 241 h 241"/>
                <a:gd name="T10" fmla="*/ 17 w 82"/>
                <a:gd name="T11" fmla="*/ 235 h 241"/>
                <a:gd name="T12" fmla="*/ 81 w 82"/>
                <a:gd name="T13" fmla="*/ 11 h 241"/>
                <a:gd name="T14" fmla="*/ 75 w 82"/>
                <a:gd name="T15" fmla="*/ 1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1">
                  <a:moveTo>
                    <a:pt x="75" y="1"/>
                  </a:moveTo>
                  <a:cubicBezTo>
                    <a:pt x="71" y="0"/>
                    <a:pt x="67" y="3"/>
                    <a:pt x="65" y="7"/>
                  </a:cubicBezTo>
                  <a:cubicBezTo>
                    <a:pt x="1" y="231"/>
                    <a:pt x="1" y="231"/>
                    <a:pt x="1" y="231"/>
                  </a:cubicBezTo>
                  <a:cubicBezTo>
                    <a:pt x="0" y="235"/>
                    <a:pt x="3" y="239"/>
                    <a:pt x="7" y="241"/>
                  </a:cubicBezTo>
                  <a:cubicBezTo>
                    <a:pt x="8" y="241"/>
                    <a:pt x="8" y="241"/>
                    <a:pt x="9" y="241"/>
                  </a:cubicBezTo>
                  <a:cubicBezTo>
                    <a:pt x="12" y="241"/>
                    <a:pt x="16" y="239"/>
                    <a:pt x="17" y="235"/>
                  </a:cubicBezTo>
                  <a:cubicBezTo>
                    <a:pt x="81" y="11"/>
                    <a:pt x="81" y="11"/>
                    <a:pt x="81" y="11"/>
                  </a:cubicBezTo>
                  <a:cubicBezTo>
                    <a:pt x="82" y="7"/>
                    <a:pt x="79" y="3"/>
                    <a:pt x="75" y="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p>
          </p:txBody>
        </p:sp>
        <p:sp>
          <p:nvSpPr>
            <p:cNvPr id="725" name="Freeform 12">
              <a:extLst>
                <a:ext uri="{FF2B5EF4-FFF2-40B4-BE49-F238E27FC236}">
                  <a16:creationId xmlns:a16="http://schemas.microsoft.com/office/drawing/2014/main" id="{2CD370EA-0E5F-4E78-A135-378FB4B892B4}"/>
                </a:ext>
              </a:extLst>
            </p:cNvPr>
            <p:cNvSpPr>
              <a:spLocks/>
            </p:cNvSpPr>
            <p:nvPr/>
          </p:nvSpPr>
          <p:spPr bwMode="auto">
            <a:xfrm>
              <a:off x="8234414" y="5559749"/>
              <a:ext cx="128814" cy="361950"/>
            </a:xfrm>
            <a:custGeom>
              <a:avLst/>
              <a:gdLst>
                <a:gd name="T0" fmla="*/ 85 w 86"/>
                <a:gd name="T1" fmla="*/ 231 h 241"/>
                <a:gd name="T2" fmla="*/ 17 w 86"/>
                <a:gd name="T3" fmla="*/ 7 h 241"/>
                <a:gd name="T4" fmla="*/ 7 w 86"/>
                <a:gd name="T5" fmla="*/ 1 h 241"/>
                <a:gd name="T6" fmla="*/ 1 w 86"/>
                <a:gd name="T7" fmla="*/ 11 h 241"/>
                <a:gd name="T8" fmla="*/ 69 w 86"/>
                <a:gd name="T9" fmla="*/ 235 h 241"/>
                <a:gd name="T10" fmla="*/ 77 w 86"/>
                <a:gd name="T11" fmla="*/ 241 h 241"/>
                <a:gd name="T12" fmla="*/ 79 w 86"/>
                <a:gd name="T13" fmla="*/ 241 h 241"/>
                <a:gd name="T14" fmla="*/ 85 w 86"/>
                <a:gd name="T15" fmla="*/ 231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241">
                  <a:moveTo>
                    <a:pt x="85" y="231"/>
                  </a:moveTo>
                  <a:cubicBezTo>
                    <a:pt x="17" y="7"/>
                    <a:pt x="17" y="7"/>
                    <a:pt x="17" y="7"/>
                  </a:cubicBezTo>
                  <a:cubicBezTo>
                    <a:pt x="15" y="2"/>
                    <a:pt x="11" y="0"/>
                    <a:pt x="7" y="1"/>
                  </a:cubicBezTo>
                  <a:cubicBezTo>
                    <a:pt x="2" y="3"/>
                    <a:pt x="0" y="7"/>
                    <a:pt x="1" y="11"/>
                  </a:cubicBezTo>
                  <a:cubicBezTo>
                    <a:pt x="69" y="235"/>
                    <a:pt x="69" y="235"/>
                    <a:pt x="69" y="235"/>
                  </a:cubicBezTo>
                  <a:cubicBezTo>
                    <a:pt x="70" y="239"/>
                    <a:pt x="74" y="241"/>
                    <a:pt x="77" y="241"/>
                  </a:cubicBezTo>
                  <a:cubicBezTo>
                    <a:pt x="78" y="241"/>
                    <a:pt x="79" y="241"/>
                    <a:pt x="79" y="241"/>
                  </a:cubicBezTo>
                  <a:cubicBezTo>
                    <a:pt x="84" y="239"/>
                    <a:pt x="86" y="235"/>
                    <a:pt x="85" y="23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p>
          </p:txBody>
        </p:sp>
      </p:grpSp>
      <p:grpSp>
        <p:nvGrpSpPr>
          <p:cNvPr id="1133" name="Gruppieren 1132">
            <a:extLst>
              <a:ext uri="{FF2B5EF4-FFF2-40B4-BE49-F238E27FC236}">
                <a16:creationId xmlns:a16="http://schemas.microsoft.com/office/drawing/2014/main" id="{A9AB4756-6D0B-4467-B7AE-F130A5DBB25A}"/>
              </a:ext>
            </a:extLst>
          </p:cNvPr>
          <p:cNvGrpSpPr>
            <a:grpSpLocks noChangeAspect="1"/>
          </p:cNvGrpSpPr>
          <p:nvPr/>
        </p:nvGrpSpPr>
        <p:grpSpPr>
          <a:xfrm flipH="1">
            <a:off x="6637663" y="4916643"/>
            <a:ext cx="285619" cy="210414"/>
            <a:chOff x="1484313" y="25400"/>
            <a:chExt cx="9218613" cy="6791326"/>
          </a:xfrm>
          <a:noFill/>
        </p:grpSpPr>
        <p:sp>
          <p:nvSpPr>
            <p:cNvPr id="1134" name="Freeform 5">
              <a:extLst>
                <a:ext uri="{FF2B5EF4-FFF2-40B4-BE49-F238E27FC236}">
                  <a16:creationId xmlns:a16="http://schemas.microsoft.com/office/drawing/2014/main" id="{428F0DD7-0D52-4A38-A8BB-2864A386A669}"/>
                </a:ext>
              </a:extLst>
            </p:cNvPr>
            <p:cNvSpPr>
              <a:spLocks/>
            </p:cNvSpPr>
            <p:nvPr/>
          </p:nvSpPr>
          <p:spPr bwMode="auto">
            <a:xfrm>
              <a:off x="1484313" y="33338"/>
              <a:ext cx="9218613" cy="6769100"/>
            </a:xfrm>
            <a:custGeom>
              <a:avLst/>
              <a:gdLst>
                <a:gd name="T0" fmla="*/ 4528 w 5807"/>
                <a:gd name="T1" fmla="*/ 0 h 4264"/>
                <a:gd name="T2" fmla="*/ 1252 w 5807"/>
                <a:gd name="T3" fmla="*/ 0 h 4264"/>
                <a:gd name="T4" fmla="*/ 0 w 5807"/>
                <a:gd name="T5" fmla="*/ 1193 h 4264"/>
                <a:gd name="T6" fmla="*/ 2850 w 5807"/>
                <a:gd name="T7" fmla="*/ 4264 h 4264"/>
                <a:gd name="T8" fmla="*/ 5807 w 5807"/>
                <a:gd name="T9" fmla="*/ 1216 h 4264"/>
                <a:gd name="T10" fmla="*/ 4528 w 5807"/>
                <a:gd name="T11" fmla="*/ 0 h 4264"/>
                <a:gd name="T12" fmla="*/ 4528 w 5807"/>
                <a:gd name="T13" fmla="*/ 0 h 4264"/>
              </a:gdLst>
              <a:ahLst/>
              <a:cxnLst>
                <a:cxn ang="0">
                  <a:pos x="T0" y="T1"/>
                </a:cxn>
                <a:cxn ang="0">
                  <a:pos x="T2" y="T3"/>
                </a:cxn>
                <a:cxn ang="0">
                  <a:pos x="T4" y="T5"/>
                </a:cxn>
                <a:cxn ang="0">
                  <a:pos x="T6" y="T7"/>
                </a:cxn>
                <a:cxn ang="0">
                  <a:pos x="T8" y="T9"/>
                </a:cxn>
                <a:cxn ang="0">
                  <a:pos x="T10" y="T11"/>
                </a:cxn>
                <a:cxn ang="0">
                  <a:pos x="T12" y="T13"/>
                </a:cxn>
              </a:cxnLst>
              <a:rect l="0" t="0" r="r" b="b"/>
              <a:pathLst>
                <a:path w="5807" h="4264">
                  <a:moveTo>
                    <a:pt x="4528" y="0"/>
                  </a:moveTo>
                  <a:lnTo>
                    <a:pt x="1252" y="0"/>
                  </a:lnTo>
                  <a:lnTo>
                    <a:pt x="0" y="1193"/>
                  </a:lnTo>
                  <a:lnTo>
                    <a:pt x="2850" y="4264"/>
                  </a:lnTo>
                  <a:lnTo>
                    <a:pt x="5807" y="1216"/>
                  </a:lnTo>
                  <a:lnTo>
                    <a:pt x="4528" y="0"/>
                  </a:lnTo>
                  <a:lnTo>
                    <a:pt x="4528" y="0"/>
                  </a:lnTo>
                  <a:close/>
                </a:path>
              </a:pathLst>
            </a:cu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5" name="Line 6">
              <a:extLst>
                <a:ext uri="{FF2B5EF4-FFF2-40B4-BE49-F238E27FC236}">
                  <a16:creationId xmlns:a16="http://schemas.microsoft.com/office/drawing/2014/main" id="{D7F9A8D5-1512-4B70-8BC7-6D12DB57CE32}"/>
                </a:ext>
              </a:extLst>
            </p:cNvPr>
            <p:cNvSpPr>
              <a:spLocks noChangeShapeType="1"/>
            </p:cNvSpPr>
            <p:nvPr/>
          </p:nvSpPr>
          <p:spPr bwMode="auto">
            <a:xfrm>
              <a:off x="1484313" y="1949450"/>
              <a:ext cx="9174163" cy="3016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6" name="Line 7">
              <a:extLst>
                <a:ext uri="{FF2B5EF4-FFF2-40B4-BE49-F238E27FC236}">
                  <a16:creationId xmlns:a16="http://schemas.microsoft.com/office/drawing/2014/main" id="{4F82E206-CEE9-462C-81CF-0724DD9B4699}"/>
                </a:ext>
              </a:extLst>
            </p:cNvPr>
            <p:cNvSpPr>
              <a:spLocks noChangeShapeType="1"/>
            </p:cNvSpPr>
            <p:nvPr/>
          </p:nvSpPr>
          <p:spPr bwMode="auto">
            <a:xfrm>
              <a:off x="3449638" y="69850"/>
              <a:ext cx="1225550" cy="190976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7" name="Line 8">
              <a:extLst>
                <a:ext uri="{FF2B5EF4-FFF2-40B4-BE49-F238E27FC236}">
                  <a16:creationId xmlns:a16="http://schemas.microsoft.com/office/drawing/2014/main" id="{B2361F08-2BCE-408B-ADDD-F1A3D757743C}"/>
                </a:ext>
              </a:extLst>
            </p:cNvPr>
            <p:cNvSpPr>
              <a:spLocks noChangeShapeType="1"/>
            </p:cNvSpPr>
            <p:nvPr/>
          </p:nvSpPr>
          <p:spPr bwMode="auto">
            <a:xfrm flipV="1">
              <a:off x="4602163" y="85725"/>
              <a:ext cx="1417638" cy="1893888"/>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8" name="Line 9">
              <a:extLst>
                <a:ext uri="{FF2B5EF4-FFF2-40B4-BE49-F238E27FC236}">
                  <a16:creationId xmlns:a16="http://schemas.microsoft.com/office/drawing/2014/main" id="{669635D0-C97D-408E-A9C1-E06E74550946}"/>
                </a:ext>
              </a:extLst>
            </p:cNvPr>
            <p:cNvSpPr>
              <a:spLocks noChangeShapeType="1"/>
            </p:cNvSpPr>
            <p:nvPr/>
          </p:nvSpPr>
          <p:spPr bwMode="auto">
            <a:xfrm>
              <a:off x="5991226" y="69850"/>
              <a:ext cx="1417638" cy="1879600"/>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9" name="Line 10">
              <a:extLst>
                <a:ext uri="{FF2B5EF4-FFF2-40B4-BE49-F238E27FC236}">
                  <a16:creationId xmlns:a16="http://schemas.microsoft.com/office/drawing/2014/main" id="{8DDC4481-404E-4738-968C-EEF49D2F686D}"/>
                </a:ext>
              </a:extLst>
            </p:cNvPr>
            <p:cNvSpPr>
              <a:spLocks noChangeShapeType="1"/>
            </p:cNvSpPr>
            <p:nvPr/>
          </p:nvSpPr>
          <p:spPr bwMode="auto">
            <a:xfrm flipV="1">
              <a:off x="7439026" y="25400"/>
              <a:ext cx="1255713" cy="1968500"/>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0" name="Line 11">
              <a:extLst>
                <a:ext uri="{FF2B5EF4-FFF2-40B4-BE49-F238E27FC236}">
                  <a16:creationId xmlns:a16="http://schemas.microsoft.com/office/drawing/2014/main" id="{932E0950-9D1E-4E0C-A926-7D1684E6CC56}"/>
                </a:ext>
              </a:extLst>
            </p:cNvPr>
            <p:cNvSpPr>
              <a:spLocks noChangeShapeType="1"/>
            </p:cNvSpPr>
            <p:nvPr/>
          </p:nvSpPr>
          <p:spPr bwMode="auto">
            <a:xfrm>
              <a:off x="6019801" y="114300"/>
              <a:ext cx="0" cy="186531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1" name="Line 12">
              <a:extLst>
                <a:ext uri="{FF2B5EF4-FFF2-40B4-BE49-F238E27FC236}">
                  <a16:creationId xmlns:a16="http://schemas.microsoft.com/office/drawing/2014/main" id="{EA7A509F-C8DE-427E-B52B-0459B2EF46E1}"/>
                </a:ext>
              </a:extLst>
            </p:cNvPr>
            <p:cNvSpPr>
              <a:spLocks noChangeShapeType="1"/>
            </p:cNvSpPr>
            <p:nvPr/>
          </p:nvSpPr>
          <p:spPr bwMode="auto">
            <a:xfrm>
              <a:off x="6019801" y="1935163"/>
              <a:ext cx="0" cy="488156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2" name="Line 13">
              <a:extLst>
                <a:ext uri="{FF2B5EF4-FFF2-40B4-BE49-F238E27FC236}">
                  <a16:creationId xmlns:a16="http://schemas.microsoft.com/office/drawing/2014/main" id="{169D7A31-B8F2-42EA-89F7-398C3C1ABF1C}"/>
                </a:ext>
              </a:extLst>
            </p:cNvPr>
            <p:cNvSpPr>
              <a:spLocks noChangeShapeType="1"/>
            </p:cNvSpPr>
            <p:nvPr/>
          </p:nvSpPr>
          <p:spPr bwMode="auto">
            <a:xfrm>
              <a:off x="4632326" y="1949450"/>
              <a:ext cx="1358900" cy="4794250"/>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3" name="Line 14">
              <a:extLst>
                <a:ext uri="{FF2B5EF4-FFF2-40B4-BE49-F238E27FC236}">
                  <a16:creationId xmlns:a16="http://schemas.microsoft.com/office/drawing/2014/main" id="{4703D4D2-6AF4-4B48-9F8B-70A824E61247}"/>
                </a:ext>
              </a:extLst>
            </p:cNvPr>
            <p:cNvSpPr>
              <a:spLocks noChangeShapeType="1"/>
            </p:cNvSpPr>
            <p:nvPr/>
          </p:nvSpPr>
          <p:spPr bwMode="auto">
            <a:xfrm flipH="1">
              <a:off x="6049963" y="1963738"/>
              <a:ext cx="1389063" cy="4794250"/>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4" name="Line 15">
              <a:extLst>
                <a:ext uri="{FF2B5EF4-FFF2-40B4-BE49-F238E27FC236}">
                  <a16:creationId xmlns:a16="http://schemas.microsoft.com/office/drawing/2014/main" id="{4A9DC3BF-A9C1-4DDE-9A73-9E6F8C7BE8FF}"/>
                </a:ext>
              </a:extLst>
            </p:cNvPr>
            <p:cNvSpPr>
              <a:spLocks noChangeShapeType="1"/>
            </p:cNvSpPr>
            <p:nvPr/>
          </p:nvSpPr>
          <p:spPr bwMode="auto">
            <a:xfrm>
              <a:off x="8683626" y="80963"/>
              <a:ext cx="509588" cy="187166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5" name="Line 16">
              <a:extLst>
                <a:ext uri="{FF2B5EF4-FFF2-40B4-BE49-F238E27FC236}">
                  <a16:creationId xmlns:a16="http://schemas.microsoft.com/office/drawing/2014/main" id="{9F6E95B2-F8CB-4A00-BA7A-F502F46A7E54}"/>
                </a:ext>
              </a:extLst>
            </p:cNvPr>
            <p:cNvSpPr>
              <a:spLocks noChangeShapeType="1"/>
            </p:cNvSpPr>
            <p:nvPr/>
          </p:nvSpPr>
          <p:spPr bwMode="auto">
            <a:xfrm flipH="1">
              <a:off x="2903538" y="36513"/>
              <a:ext cx="560388" cy="1887538"/>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6" name="Line 17">
              <a:extLst>
                <a:ext uri="{FF2B5EF4-FFF2-40B4-BE49-F238E27FC236}">
                  <a16:creationId xmlns:a16="http://schemas.microsoft.com/office/drawing/2014/main" id="{D930EB77-2E26-41ED-A556-CEF9FC3FDF31}"/>
                </a:ext>
              </a:extLst>
            </p:cNvPr>
            <p:cNvSpPr>
              <a:spLocks noChangeShapeType="1"/>
            </p:cNvSpPr>
            <p:nvPr/>
          </p:nvSpPr>
          <p:spPr bwMode="auto">
            <a:xfrm>
              <a:off x="2887663" y="1919288"/>
              <a:ext cx="3117850" cy="4824413"/>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7" name="Line 18">
              <a:extLst>
                <a:ext uri="{FF2B5EF4-FFF2-40B4-BE49-F238E27FC236}">
                  <a16:creationId xmlns:a16="http://schemas.microsoft.com/office/drawing/2014/main" id="{D0228162-0EEB-4E89-B809-D90F8CED8963}"/>
                </a:ext>
              </a:extLst>
            </p:cNvPr>
            <p:cNvSpPr>
              <a:spLocks noChangeShapeType="1"/>
            </p:cNvSpPr>
            <p:nvPr/>
          </p:nvSpPr>
          <p:spPr bwMode="auto">
            <a:xfrm flipH="1">
              <a:off x="6005513" y="1935163"/>
              <a:ext cx="3221038" cy="4852988"/>
            </a:xfrm>
            <a:prstGeom prst="line">
              <a:avLst/>
            </a:prstGeom>
            <a:grpFill/>
            <a:ln w="12700"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06" name="Group 45">
            <a:extLst>
              <a:ext uri="{FF2B5EF4-FFF2-40B4-BE49-F238E27FC236}">
                <a16:creationId xmlns:a16="http://schemas.microsoft.com/office/drawing/2014/main" id="{10851A35-D0CF-4FB8-94B5-B80C43539A56}"/>
              </a:ext>
            </a:extLst>
          </p:cNvPr>
          <p:cNvGrpSpPr>
            <a:grpSpLocks noChangeAspect="1"/>
          </p:cNvGrpSpPr>
          <p:nvPr/>
        </p:nvGrpSpPr>
        <p:grpSpPr>
          <a:xfrm>
            <a:off x="6184729" y="3801969"/>
            <a:ext cx="289427" cy="285619"/>
            <a:chOff x="5554663" y="3609975"/>
            <a:chExt cx="361950" cy="357188"/>
          </a:xfrm>
          <a:solidFill>
            <a:schemeClr val="bg2"/>
          </a:solidFill>
          <a:effectLst/>
        </p:grpSpPr>
        <p:sp>
          <p:nvSpPr>
            <p:cNvPr id="1007" name="Freeform 1764">
              <a:extLst>
                <a:ext uri="{FF2B5EF4-FFF2-40B4-BE49-F238E27FC236}">
                  <a16:creationId xmlns:a16="http://schemas.microsoft.com/office/drawing/2014/main" id="{98BDFE2D-D8EE-4523-91FB-5916F0C5D5B1}"/>
                </a:ext>
              </a:extLst>
            </p:cNvPr>
            <p:cNvSpPr>
              <a:spLocks/>
            </p:cNvSpPr>
            <p:nvPr/>
          </p:nvSpPr>
          <p:spPr bwMode="auto">
            <a:xfrm>
              <a:off x="5554663" y="3613150"/>
              <a:ext cx="354013" cy="354013"/>
            </a:xfrm>
            <a:custGeom>
              <a:avLst/>
              <a:gdLst>
                <a:gd name="T0" fmla="*/ 92 w 94"/>
                <a:gd name="T1" fmla="*/ 94 h 94"/>
                <a:gd name="T2" fmla="*/ 2 w 94"/>
                <a:gd name="T3" fmla="*/ 94 h 94"/>
                <a:gd name="T4" fmla="*/ 0 w 94"/>
                <a:gd name="T5" fmla="*/ 92 h 94"/>
                <a:gd name="T6" fmla="*/ 0 w 94"/>
                <a:gd name="T7" fmla="*/ 2 h 94"/>
                <a:gd name="T8" fmla="*/ 2 w 94"/>
                <a:gd name="T9" fmla="*/ 0 h 94"/>
                <a:gd name="T10" fmla="*/ 4 w 94"/>
                <a:gd name="T11" fmla="*/ 2 h 94"/>
                <a:gd name="T12" fmla="*/ 4 w 94"/>
                <a:gd name="T13" fmla="*/ 90 h 94"/>
                <a:gd name="T14" fmla="*/ 92 w 94"/>
                <a:gd name="T15" fmla="*/ 90 h 94"/>
                <a:gd name="T16" fmla="*/ 94 w 94"/>
                <a:gd name="T17" fmla="*/ 92 h 94"/>
                <a:gd name="T18" fmla="*/ 92 w 94"/>
                <a:gd name="T1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92" y="94"/>
                  </a:moveTo>
                  <a:cubicBezTo>
                    <a:pt x="2" y="94"/>
                    <a:pt x="2" y="94"/>
                    <a:pt x="2" y="94"/>
                  </a:cubicBezTo>
                  <a:cubicBezTo>
                    <a:pt x="1" y="94"/>
                    <a:pt x="0" y="93"/>
                    <a:pt x="0" y="92"/>
                  </a:cubicBezTo>
                  <a:cubicBezTo>
                    <a:pt x="0" y="2"/>
                    <a:pt x="0" y="2"/>
                    <a:pt x="0" y="2"/>
                  </a:cubicBezTo>
                  <a:cubicBezTo>
                    <a:pt x="0" y="1"/>
                    <a:pt x="1" y="0"/>
                    <a:pt x="2" y="0"/>
                  </a:cubicBezTo>
                  <a:cubicBezTo>
                    <a:pt x="3" y="0"/>
                    <a:pt x="4" y="1"/>
                    <a:pt x="4" y="2"/>
                  </a:cubicBezTo>
                  <a:cubicBezTo>
                    <a:pt x="4" y="90"/>
                    <a:pt x="4" y="90"/>
                    <a:pt x="4" y="90"/>
                  </a:cubicBezTo>
                  <a:cubicBezTo>
                    <a:pt x="92" y="90"/>
                    <a:pt x="92" y="90"/>
                    <a:pt x="92" y="90"/>
                  </a:cubicBezTo>
                  <a:cubicBezTo>
                    <a:pt x="93" y="90"/>
                    <a:pt x="94" y="91"/>
                    <a:pt x="94" y="92"/>
                  </a:cubicBezTo>
                  <a:cubicBezTo>
                    <a:pt x="94" y="93"/>
                    <a:pt x="93" y="94"/>
                    <a:pt x="92"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8" name="Freeform 1765">
              <a:extLst>
                <a:ext uri="{FF2B5EF4-FFF2-40B4-BE49-F238E27FC236}">
                  <a16:creationId xmlns:a16="http://schemas.microsoft.com/office/drawing/2014/main" id="{D7B54E3D-F65E-43FE-900A-A536076BF306}"/>
                </a:ext>
              </a:extLst>
            </p:cNvPr>
            <p:cNvSpPr>
              <a:spLocks noEditPoints="1"/>
            </p:cNvSpPr>
            <p:nvPr/>
          </p:nvSpPr>
          <p:spPr bwMode="auto">
            <a:xfrm>
              <a:off x="5653088" y="3684588"/>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9" name="Freeform 1766">
              <a:extLst>
                <a:ext uri="{FF2B5EF4-FFF2-40B4-BE49-F238E27FC236}">
                  <a16:creationId xmlns:a16="http://schemas.microsoft.com/office/drawing/2014/main" id="{518CE9E9-322B-46F2-9030-65E46D1B9DD3}"/>
                </a:ext>
              </a:extLst>
            </p:cNvPr>
            <p:cNvSpPr>
              <a:spLocks noEditPoints="1"/>
            </p:cNvSpPr>
            <p:nvPr/>
          </p:nvSpPr>
          <p:spPr bwMode="auto">
            <a:xfrm>
              <a:off x="564197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0" name="Freeform 1767">
              <a:extLst>
                <a:ext uri="{FF2B5EF4-FFF2-40B4-BE49-F238E27FC236}">
                  <a16:creationId xmlns:a16="http://schemas.microsoft.com/office/drawing/2014/main" id="{EB19A230-E4E5-46EB-A688-85BAEC56A604}"/>
                </a:ext>
              </a:extLst>
            </p:cNvPr>
            <p:cNvSpPr>
              <a:spLocks noEditPoints="1"/>
            </p:cNvSpPr>
            <p:nvPr/>
          </p:nvSpPr>
          <p:spPr bwMode="auto">
            <a:xfrm>
              <a:off x="5765800" y="371792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1" name="Freeform 1768">
              <a:extLst>
                <a:ext uri="{FF2B5EF4-FFF2-40B4-BE49-F238E27FC236}">
                  <a16:creationId xmlns:a16="http://schemas.microsoft.com/office/drawing/2014/main" id="{5EC21AA5-3674-4283-A907-94A0D72712F9}"/>
                </a:ext>
              </a:extLst>
            </p:cNvPr>
            <p:cNvSpPr>
              <a:spLocks noEditPoints="1"/>
            </p:cNvSpPr>
            <p:nvPr/>
          </p:nvSpPr>
          <p:spPr bwMode="auto">
            <a:xfrm>
              <a:off x="574992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2" name="Freeform 1769">
              <a:extLst>
                <a:ext uri="{FF2B5EF4-FFF2-40B4-BE49-F238E27FC236}">
                  <a16:creationId xmlns:a16="http://schemas.microsoft.com/office/drawing/2014/main" id="{8862A5BB-118B-4879-9A61-E0A7AF63AFEA}"/>
                </a:ext>
              </a:extLst>
            </p:cNvPr>
            <p:cNvSpPr>
              <a:spLocks noEditPoints="1"/>
            </p:cNvSpPr>
            <p:nvPr/>
          </p:nvSpPr>
          <p:spPr bwMode="auto">
            <a:xfrm>
              <a:off x="5856288" y="3763963"/>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3" name="Freeform 1770">
              <a:extLst>
                <a:ext uri="{FF2B5EF4-FFF2-40B4-BE49-F238E27FC236}">
                  <a16:creationId xmlns:a16="http://schemas.microsoft.com/office/drawing/2014/main" id="{242F0D93-D9F4-4E50-81E9-21B6B91E0806}"/>
                </a:ext>
              </a:extLst>
            </p:cNvPr>
            <p:cNvSpPr>
              <a:spLocks noEditPoints="1"/>
            </p:cNvSpPr>
            <p:nvPr/>
          </p:nvSpPr>
          <p:spPr bwMode="auto">
            <a:xfrm>
              <a:off x="5856288" y="36099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4" name="Freeform 1771">
              <a:extLst>
                <a:ext uri="{FF2B5EF4-FFF2-40B4-BE49-F238E27FC236}">
                  <a16:creationId xmlns:a16="http://schemas.microsoft.com/office/drawing/2014/main" id="{EFCEA4AE-1CD8-420A-8A1D-F49E28A2840A}"/>
                </a:ext>
              </a:extLst>
            </p:cNvPr>
            <p:cNvSpPr>
              <a:spLocks/>
            </p:cNvSpPr>
            <p:nvPr/>
          </p:nvSpPr>
          <p:spPr bwMode="auto">
            <a:xfrm>
              <a:off x="5803900" y="3646488"/>
              <a:ext cx="74613" cy="95250"/>
            </a:xfrm>
            <a:custGeom>
              <a:avLst/>
              <a:gdLst>
                <a:gd name="T0" fmla="*/ 2 w 20"/>
                <a:gd name="T1" fmla="*/ 25 h 25"/>
                <a:gd name="T2" fmla="*/ 1 w 20"/>
                <a:gd name="T3" fmla="*/ 24 h 25"/>
                <a:gd name="T4" fmla="*/ 1 w 20"/>
                <a:gd name="T5" fmla="*/ 21 h 25"/>
                <a:gd name="T6" fmla="*/ 16 w 20"/>
                <a:gd name="T7" fmla="*/ 1 h 25"/>
                <a:gd name="T8" fmla="*/ 19 w 20"/>
                <a:gd name="T9" fmla="*/ 1 h 25"/>
                <a:gd name="T10" fmla="*/ 20 w 20"/>
                <a:gd name="T11" fmla="*/ 4 h 25"/>
                <a:gd name="T12" fmla="*/ 4 w 20"/>
                <a:gd name="T13" fmla="*/ 24 h 25"/>
                <a:gd name="T14" fmla="*/ 2 w 2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2" y="25"/>
                  </a:moveTo>
                  <a:cubicBezTo>
                    <a:pt x="2" y="25"/>
                    <a:pt x="1" y="24"/>
                    <a:pt x="1" y="24"/>
                  </a:cubicBezTo>
                  <a:cubicBezTo>
                    <a:pt x="0" y="23"/>
                    <a:pt x="0" y="22"/>
                    <a:pt x="1" y="21"/>
                  </a:cubicBezTo>
                  <a:cubicBezTo>
                    <a:pt x="16" y="1"/>
                    <a:pt x="16" y="1"/>
                    <a:pt x="16" y="1"/>
                  </a:cubicBezTo>
                  <a:cubicBezTo>
                    <a:pt x="17" y="0"/>
                    <a:pt x="18" y="0"/>
                    <a:pt x="19" y="1"/>
                  </a:cubicBezTo>
                  <a:cubicBezTo>
                    <a:pt x="20" y="2"/>
                    <a:pt x="20" y="3"/>
                    <a:pt x="20" y="4"/>
                  </a:cubicBezTo>
                  <a:cubicBezTo>
                    <a:pt x="4" y="24"/>
                    <a:pt x="4" y="24"/>
                    <a:pt x="4" y="24"/>
                  </a:cubicBezTo>
                  <a:cubicBezTo>
                    <a:pt x="3" y="24"/>
                    <a:pt x="3"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5" name="Freeform 1772">
              <a:extLst>
                <a:ext uri="{FF2B5EF4-FFF2-40B4-BE49-F238E27FC236}">
                  <a16:creationId xmlns:a16="http://schemas.microsoft.com/office/drawing/2014/main" id="{AC225189-1C5D-4FE7-BDB5-ABE9D4BC2119}"/>
                </a:ext>
              </a:extLst>
            </p:cNvPr>
            <p:cNvSpPr>
              <a:spLocks/>
            </p:cNvSpPr>
            <p:nvPr/>
          </p:nvSpPr>
          <p:spPr bwMode="auto">
            <a:xfrm>
              <a:off x="5694363" y="3711575"/>
              <a:ext cx="90488" cy="41275"/>
            </a:xfrm>
            <a:custGeom>
              <a:avLst/>
              <a:gdLst>
                <a:gd name="T0" fmla="*/ 22 w 24"/>
                <a:gd name="T1" fmla="*/ 11 h 11"/>
                <a:gd name="T2" fmla="*/ 21 w 24"/>
                <a:gd name="T3" fmla="*/ 11 h 11"/>
                <a:gd name="T4" fmla="*/ 2 w 24"/>
                <a:gd name="T5" fmla="*/ 4 h 11"/>
                <a:gd name="T6" fmla="*/ 1 w 24"/>
                <a:gd name="T7" fmla="*/ 2 h 11"/>
                <a:gd name="T8" fmla="*/ 3 w 24"/>
                <a:gd name="T9" fmla="*/ 1 h 11"/>
                <a:gd name="T10" fmla="*/ 22 w 24"/>
                <a:gd name="T11" fmla="*/ 7 h 11"/>
                <a:gd name="T12" fmla="*/ 24 w 24"/>
                <a:gd name="T13" fmla="*/ 9 h 11"/>
                <a:gd name="T14" fmla="*/ 22 w 2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1">
                  <a:moveTo>
                    <a:pt x="22" y="11"/>
                  </a:moveTo>
                  <a:cubicBezTo>
                    <a:pt x="21" y="11"/>
                    <a:pt x="21" y="11"/>
                    <a:pt x="21" y="11"/>
                  </a:cubicBezTo>
                  <a:cubicBezTo>
                    <a:pt x="2" y="4"/>
                    <a:pt x="2" y="4"/>
                    <a:pt x="2" y="4"/>
                  </a:cubicBezTo>
                  <a:cubicBezTo>
                    <a:pt x="1" y="4"/>
                    <a:pt x="0" y="3"/>
                    <a:pt x="1" y="2"/>
                  </a:cubicBezTo>
                  <a:cubicBezTo>
                    <a:pt x="1" y="1"/>
                    <a:pt x="2" y="0"/>
                    <a:pt x="3" y="1"/>
                  </a:cubicBezTo>
                  <a:cubicBezTo>
                    <a:pt x="22" y="7"/>
                    <a:pt x="22" y="7"/>
                    <a:pt x="22" y="7"/>
                  </a:cubicBezTo>
                  <a:cubicBezTo>
                    <a:pt x="23" y="7"/>
                    <a:pt x="24" y="8"/>
                    <a:pt x="24" y="9"/>
                  </a:cubicBezTo>
                  <a:cubicBezTo>
                    <a:pt x="23" y="10"/>
                    <a:pt x="23"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6" name="Freeform 1773">
              <a:extLst>
                <a:ext uri="{FF2B5EF4-FFF2-40B4-BE49-F238E27FC236}">
                  <a16:creationId xmlns:a16="http://schemas.microsoft.com/office/drawing/2014/main" id="{29846F2F-C902-402B-A754-6C89908DA916}"/>
                </a:ext>
              </a:extLst>
            </p:cNvPr>
            <p:cNvSpPr>
              <a:spLocks/>
            </p:cNvSpPr>
            <p:nvPr/>
          </p:nvSpPr>
          <p:spPr bwMode="auto">
            <a:xfrm>
              <a:off x="5554663" y="3717925"/>
              <a:ext cx="117475" cy="76200"/>
            </a:xfrm>
            <a:custGeom>
              <a:avLst/>
              <a:gdLst>
                <a:gd name="T0" fmla="*/ 2 w 31"/>
                <a:gd name="T1" fmla="*/ 20 h 20"/>
                <a:gd name="T2" fmla="*/ 0 w 31"/>
                <a:gd name="T3" fmla="*/ 19 h 20"/>
                <a:gd name="T4" fmla="*/ 1 w 31"/>
                <a:gd name="T5" fmla="*/ 16 h 20"/>
                <a:gd name="T6" fmla="*/ 28 w 31"/>
                <a:gd name="T7" fmla="*/ 0 h 20"/>
                <a:gd name="T8" fmla="*/ 31 w 31"/>
                <a:gd name="T9" fmla="*/ 1 h 20"/>
                <a:gd name="T10" fmla="*/ 30 w 31"/>
                <a:gd name="T11" fmla="*/ 4 h 20"/>
                <a:gd name="T12" fmla="*/ 3 w 31"/>
                <a:gd name="T13" fmla="*/ 20 h 20"/>
                <a:gd name="T14" fmla="*/ 2 w 3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2" y="20"/>
                  </a:moveTo>
                  <a:cubicBezTo>
                    <a:pt x="1" y="20"/>
                    <a:pt x="1" y="20"/>
                    <a:pt x="0" y="19"/>
                  </a:cubicBezTo>
                  <a:cubicBezTo>
                    <a:pt x="0" y="18"/>
                    <a:pt x="0" y="17"/>
                    <a:pt x="1" y="16"/>
                  </a:cubicBezTo>
                  <a:cubicBezTo>
                    <a:pt x="28" y="0"/>
                    <a:pt x="28" y="0"/>
                    <a:pt x="28" y="0"/>
                  </a:cubicBezTo>
                  <a:cubicBezTo>
                    <a:pt x="29" y="0"/>
                    <a:pt x="30" y="0"/>
                    <a:pt x="31" y="1"/>
                  </a:cubicBezTo>
                  <a:cubicBezTo>
                    <a:pt x="31" y="2"/>
                    <a:pt x="31" y="3"/>
                    <a:pt x="30" y="4"/>
                  </a:cubicBezTo>
                  <a:cubicBezTo>
                    <a:pt x="3" y="20"/>
                    <a:pt x="3" y="20"/>
                    <a:pt x="3" y="20"/>
                  </a:cubicBezTo>
                  <a:cubicBezTo>
                    <a:pt x="3" y="20"/>
                    <a:pt x="2"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7" name="Freeform 1774">
              <a:extLst>
                <a:ext uri="{FF2B5EF4-FFF2-40B4-BE49-F238E27FC236}">
                  <a16:creationId xmlns:a16="http://schemas.microsoft.com/office/drawing/2014/main" id="{BDBA08A4-1E9F-4AAA-947D-75DBA7463DBC}"/>
                </a:ext>
              </a:extLst>
            </p:cNvPr>
            <p:cNvSpPr>
              <a:spLocks/>
            </p:cNvSpPr>
            <p:nvPr/>
          </p:nvSpPr>
          <p:spPr bwMode="auto">
            <a:xfrm>
              <a:off x="5791200" y="3797300"/>
              <a:ext cx="82550" cy="52388"/>
            </a:xfrm>
            <a:custGeom>
              <a:avLst/>
              <a:gdLst>
                <a:gd name="T0" fmla="*/ 3 w 22"/>
                <a:gd name="T1" fmla="*/ 14 h 14"/>
                <a:gd name="T2" fmla="*/ 1 w 22"/>
                <a:gd name="T3" fmla="*/ 13 h 14"/>
                <a:gd name="T4" fmla="*/ 2 w 22"/>
                <a:gd name="T5" fmla="*/ 11 h 14"/>
                <a:gd name="T6" fmla="*/ 19 w 22"/>
                <a:gd name="T7" fmla="*/ 1 h 14"/>
                <a:gd name="T8" fmla="*/ 22 w 22"/>
                <a:gd name="T9" fmla="*/ 1 h 14"/>
                <a:gd name="T10" fmla="*/ 21 w 22"/>
                <a:gd name="T11" fmla="*/ 4 h 14"/>
                <a:gd name="T12" fmla="*/ 4 w 22"/>
                <a:gd name="T13" fmla="*/ 14 h 14"/>
                <a:gd name="T14" fmla="*/ 3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3" y="14"/>
                  </a:moveTo>
                  <a:cubicBezTo>
                    <a:pt x="2" y="14"/>
                    <a:pt x="1" y="14"/>
                    <a:pt x="1" y="13"/>
                  </a:cubicBezTo>
                  <a:cubicBezTo>
                    <a:pt x="0" y="12"/>
                    <a:pt x="1" y="11"/>
                    <a:pt x="2" y="11"/>
                  </a:cubicBezTo>
                  <a:cubicBezTo>
                    <a:pt x="19" y="1"/>
                    <a:pt x="19" y="1"/>
                    <a:pt x="19" y="1"/>
                  </a:cubicBezTo>
                  <a:cubicBezTo>
                    <a:pt x="20" y="0"/>
                    <a:pt x="21" y="0"/>
                    <a:pt x="22" y="1"/>
                  </a:cubicBezTo>
                  <a:cubicBezTo>
                    <a:pt x="22" y="2"/>
                    <a:pt x="22" y="3"/>
                    <a:pt x="21" y="4"/>
                  </a:cubicBezTo>
                  <a:cubicBezTo>
                    <a:pt x="4" y="14"/>
                    <a:pt x="4" y="14"/>
                    <a:pt x="4" y="14"/>
                  </a:cubicBezTo>
                  <a:cubicBezTo>
                    <a:pt x="3" y="14"/>
                    <a:pt x="3" y="14"/>
                    <a:pt x="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8" name="Freeform 1775">
              <a:extLst>
                <a:ext uri="{FF2B5EF4-FFF2-40B4-BE49-F238E27FC236}">
                  <a16:creationId xmlns:a16="http://schemas.microsoft.com/office/drawing/2014/main" id="{BEE607C5-8775-4E42-B88A-35C0F86E0FE8}"/>
                </a:ext>
              </a:extLst>
            </p:cNvPr>
            <p:cNvSpPr>
              <a:spLocks/>
            </p:cNvSpPr>
            <p:nvPr/>
          </p:nvSpPr>
          <p:spPr bwMode="auto">
            <a:xfrm>
              <a:off x="5686425" y="3846513"/>
              <a:ext cx="79375" cy="14288"/>
            </a:xfrm>
            <a:custGeom>
              <a:avLst/>
              <a:gdLst>
                <a:gd name="T0" fmla="*/ 19 w 21"/>
                <a:gd name="T1" fmla="*/ 4 h 4"/>
                <a:gd name="T2" fmla="*/ 2 w 21"/>
                <a:gd name="T3" fmla="*/ 4 h 4"/>
                <a:gd name="T4" fmla="*/ 0 w 21"/>
                <a:gd name="T5" fmla="*/ 2 h 4"/>
                <a:gd name="T6" fmla="*/ 2 w 21"/>
                <a:gd name="T7" fmla="*/ 0 h 4"/>
                <a:gd name="T8" fmla="*/ 19 w 21"/>
                <a:gd name="T9" fmla="*/ 0 h 4"/>
                <a:gd name="T10" fmla="*/ 21 w 21"/>
                <a:gd name="T11" fmla="*/ 2 h 4"/>
                <a:gd name="T12" fmla="*/ 19 w 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1" h="4">
                  <a:moveTo>
                    <a:pt x="19" y="4"/>
                  </a:moveTo>
                  <a:cubicBezTo>
                    <a:pt x="2" y="4"/>
                    <a:pt x="2" y="4"/>
                    <a:pt x="2" y="4"/>
                  </a:cubicBezTo>
                  <a:cubicBezTo>
                    <a:pt x="1" y="4"/>
                    <a:pt x="0" y="3"/>
                    <a:pt x="0" y="2"/>
                  </a:cubicBezTo>
                  <a:cubicBezTo>
                    <a:pt x="0" y="1"/>
                    <a:pt x="1" y="0"/>
                    <a:pt x="2" y="0"/>
                  </a:cubicBezTo>
                  <a:cubicBezTo>
                    <a:pt x="19" y="0"/>
                    <a:pt x="19" y="0"/>
                    <a:pt x="19" y="0"/>
                  </a:cubicBezTo>
                  <a:cubicBezTo>
                    <a:pt x="21" y="0"/>
                    <a:pt x="21" y="1"/>
                    <a:pt x="21" y="2"/>
                  </a:cubicBezTo>
                  <a:cubicBezTo>
                    <a:pt x="21" y="3"/>
                    <a:pt x="21"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9" name="Freeform 1776">
              <a:extLst>
                <a:ext uri="{FF2B5EF4-FFF2-40B4-BE49-F238E27FC236}">
                  <a16:creationId xmlns:a16="http://schemas.microsoft.com/office/drawing/2014/main" id="{0F4AB9C2-0237-4ABE-9BDE-098D042E8CF7}"/>
                </a:ext>
              </a:extLst>
            </p:cNvPr>
            <p:cNvSpPr>
              <a:spLocks/>
            </p:cNvSpPr>
            <p:nvPr/>
          </p:nvSpPr>
          <p:spPr bwMode="auto">
            <a:xfrm>
              <a:off x="5554663" y="3857625"/>
              <a:ext cx="106363" cy="71438"/>
            </a:xfrm>
            <a:custGeom>
              <a:avLst/>
              <a:gdLst>
                <a:gd name="T0" fmla="*/ 3 w 28"/>
                <a:gd name="T1" fmla="*/ 19 h 19"/>
                <a:gd name="T2" fmla="*/ 1 w 28"/>
                <a:gd name="T3" fmla="*/ 19 h 19"/>
                <a:gd name="T4" fmla="*/ 2 w 28"/>
                <a:gd name="T5" fmla="*/ 16 h 19"/>
                <a:gd name="T6" fmla="*/ 25 w 28"/>
                <a:gd name="T7" fmla="*/ 1 h 19"/>
                <a:gd name="T8" fmla="*/ 27 w 28"/>
                <a:gd name="T9" fmla="*/ 1 h 19"/>
                <a:gd name="T10" fmla="*/ 27 w 28"/>
                <a:gd name="T11" fmla="*/ 4 h 19"/>
                <a:gd name="T12" fmla="*/ 4 w 28"/>
                <a:gd name="T13" fmla="*/ 19 h 19"/>
                <a:gd name="T14" fmla="*/ 3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3" y="19"/>
                  </a:moveTo>
                  <a:cubicBezTo>
                    <a:pt x="2" y="19"/>
                    <a:pt x="1" y="19"/>
                    <a:pt x="1" y="19"/>
                  </a:cubicBezTo>
                  <a:cubicBezTo>
                    <a:pt x="0" y="18"/>
                    <a:pt x="1" y="16"/>
                    <a:pt x="2" y="16"/>
                  </a:cubicBezTo>
                  <a:cubicBezTo>
                    <a:pt x="25" y="1"/>
                    <a:pt x="25" y="1"/>
                    <a:pt x="25" y="1"/>
                  </a:cubicBezTo>
                  <a:cubicBezTo>
                    <a:pt x="26" y="0"/>
                    <a:pt x="27" y="0"/>
                    <a:pt x="27" y="1"/>
                  </a:cubicBezTo>
                  <a:cubicBezTo>
                    <a:pt x="28" y="2"/>
                    <a:pt x="28" y="3"/>
                    <a:pt x="27" y="4"/>
                  </a:cubicBezTo>
                  <a:cubicBezTo>
                    <a:pt x="4" y="19"/>
                    <a:pt x="4" y="19"/>
                    <a:pt x="4" y="19"/>
                  </a:cubicBezTo>
                  <a:cubicBezTo>
                    <a:pt x="3" y="19"/>
                    <a:pt x="3" y="19"/>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164" name="Group 44">
            <a:extLst>
              <a:ext uri="{FF2B5EF4-FFF2-40B4-BE49-F238E27FC236}">
                <a16:creationId xmlns:a16="http://schemas.microsoft.com/office/drawing/2014/main" id="{8A3419FE-9B95-4F07-BDB8-D89F34C1029D}"/>
              </a:ext>
            </a:extLst>
          </p:cNvPr>
          <p:cNvGrpSpPr>
            <a:grpSpLocks noChangeAspect="1"/>
          </p:cNvGrpSpPr>
          <p:nvPr/>
        </p:nvGrpSpPr>
        <p:grpSpPr>
          <a:xfrm>
            <a:off x="6637663" y="5956111"/>
            <a:ext cx="285619" cy="285619"/>
            <a:chOff x="7736664" y="5419470"/>
            <a:chExt cx="503328" cy="503328"/>
          </a:xfrm>
          <a:solidFill>
            <a:schemeClr val="bg2"/>
          </a:solidFill>
          <a:effectLst/>
        </p:grpSpPr>
        <p:sp>
          <p:nvSpPr>
            <p:cNvPr id="1204" name="Freeform 27">
              <a:extLst>
                <a:ext uri="{FF2B5EF4-FFF2-40B4-BE49-F238E27FC236}">
                  <a16:creationId xmlns:a16="http://schemas.microsoft.com/office/drawing/2014/main" id="{884F5929-2636-44EC-AF67-B35AD9DC1F09}"/>
                </a:ext>
              </a:extLst>
            </p:cNvPr>
            <p:cNvSpPr>
              <a:spLocks noEditPoints="1"/>
            </p:cNvSpPr>
            <p:nvPr/>
          </p:nvSpPr>
          <p:spPr bwMode="auto">
            <a:xfrm>
              <a:off x="7736664" y="5419470"/>
              <a:ext cx="503328" cy="503328"/>
            </a:xfrm>
            <a:custGeom>
              <a:avLst/>
              <a:gdLst>
                <a:gd name="T0" fmla="*/ 669 w 1642"/>
                <a:gd name="T1" fmla="*/ 76 h 1641"/>
                <a:gd name="T2" fmla="*/ 491 w 1642"/>
                <a:gd name="T3" fmla="*/ 135 h 1641"/>
                <a:gd name="T4" fmla="*/ 339 w 1642"/>
                <a:gd name="T5" fmla="*/ 235 h 1641"/>
                <a:gd name="T6" fmla="*/ 212 w 1642"/>
                <a:gd name="T7" fmla="*/ 366 h 1641"/>
                <a:gd name="T8" fmla="*/ 121 w 1642"/>
                <a:gd name="T9" fmla="*/ 525 h 1641"/>
                <a:gd name="T10" fmla="*/ 70 w 1642"/>
                <a:gd name="T11" fmla="*/ 705 h 1641"/>
                <a:gd name="T12" fmla="*/ 65 w 1642"/>
                <a:gd name="T13" fmla="*/ 898 h 1641"/>
                <a:gd name="T14" fmla="*/ 107 w 1642"/>
                <a:gd name="T15" fmla="*/ 1081 h 1641"/>
                <a:gd name="T16" fmla="*/ 192 w 1642"/>
                <a:gd name="T17" fmla="*/ 1245 h 1641"/>
                <a:gd name="T18" fmla="*/ 310 w 1642"/>
                <a:gd name="T19" fmla="*/ 1383 h 1641"/>
                <a:gd name="T20" fmla="*/ 460 w 1642"/>
                <a:gd name="T21" fmla="*/ 1488 h 1641"/>
                <a:gd name="T22" fmla="*/ 631 w 1642"/>
                <a:gd name="T23" fmla="*/ 1556 h 1641"/>
                <a:gd name="T24" fmla="*/ 821 w 1642"/>
                <a:gd name="T25" fmla="*/ 1581 h 1641"/>
                <a:gd name="T26" fmla="*/ 1011 w 1642"/>
                <a:gd name="T27" fmla="*/ 1556 h 1641"/>
                <a:gd name="T28" fmla="*/ 1183 w 1642"/>
                <a:gd name="T29" fmla="*/ 1488 h 1641"/>
                <a:gd name="T30" fmla="*/ 1332 w 1642"/>
                <a:gd name="T31" fmla="*/ 1383 h 1641"/>
                <a:gd name="T32" fmla="*/ 1452 w 1642"/>
                <a:gd name="T33" fmla="*/ 1245 h 1641"/>
                <a:gd name="T34" fmla="*/ 1535 w 1642"/>
                <a:gd name="T35" fmla="*/ 1081 h 1641"/>
                <a:gd name="T36" fmla="*/ 1577 w 1642"/>
                <a:gd name="T37" fmla="*/ 898 h 1641"/>
                <a:gd name="T38" fmla="*/ 1573 w 1642"/>
                <a:gd name="T39" fmla="*/ 705 h 1641"/>
                <a:gd name="T40" fmla="*/ 1521 w 1642"/>
                <a:gd name="T41" fmla="*/ 525 h 1641"/>
                <a:gd name="T42" fmla="*/ 1430 w 1642"/>
                <a:gd name="T43" fmla="*/ 366 h 1641"/>
                <a:gd name="T44" fmla="*/ 1305 w 1642"/>
                <a:gd name="T45" fmla="*/ 235 h 1641"/>
                <a:gd name="T46" fmla="*/ 1151 w 1642"/>
                <a:gd name="T47" fmla="*/ 135 h 1641"/>
                <a:gd name="T48" fmla="*/ 974 w 1642"/>
                <a:gd name="T49" fmla="*/ 76 h 1641"/>
                <a:gd name="T50" fmla="*/ 821 w 1642"/>
                <a:gd name="T51" fmla="*/ 1641 h 1641"/>
                <a:gd name="T52" fmla="*/ 617 w 1642"/>
                <a:gd name="T53" fmla="*/ 1615 h 1641"/>
                <a:gd name="T54" fmla="*/ 431 w 1642"/>
                <a:gd name="T55" fmla="*/ 1542 h 1641"/>
                <a:gd name="T56" fmla="*/ 270 w 1642"/>
                <a:gd name="T57" fmla="*/ 1428 h 1641"/>
                <a:gd name="T58" fmla="*/ 142 w 1642"/>
                <a:gd name="T59" fmla="*/ 1278 h 1641"/>
                <a:gd name="T60" fmla="*/ 51 w 1642"/>
                <a:gd name="T61" fmla="*/ 1103 h 1641"/>
                <a:gd name="T62" fmla="*/ 5 w 1642"/>
                <a:gd name="T63" fmla="*/ 904 h 1641"/>
                <a:gd name="T64" fmla="*/ 10 w 1642"/>
                <a:gd name="T65" fmla="*/ 695 h 1641"/>
                <a:gd name="T66" fmla="*/ 65 w 1642"/>
                <a:gd name="T67" fmla="*/ 501 h 1641"/>
                <a:gd name="T68" fmla="*/ 165 w 1642"/>
                <a:gd name="T69" fmla="*/ 330 h 1641"/>
                <a:gd name="T70" fmla="*/ 300 w 1642"/>
                <a:gd name="T71" fmla="*/ 187 h 1641"/>
                <a:gd name="T72" fmla="*/ 466 w 1642"/>
                <a:gd name="T73" fmla="*/ 81 h 1641"/>
                <a:gd name="T74" fmla="*/ 656 w 1642"/>
                <a:gd name="T75" fmla="*/ 17 h 1641"/>
                <a:gd name="T76" fmla="*/ 863 w 1642"/>
                <a:gd name="T77" fmla="*/ 1 h 1641"/>
                <a:gd name="T78" fmla="*/ 1065 w 1642"/>
                <a:gd name="T79" fmla="*/ 37 h 1641"/>
                <a:gd name="T80" fmla="*/ 1246 w 1642"/>
                <a:gd name="T81" fmla="*/ 119 h 1641"/>
                <a:gd name="T82" fmla="*/ 1402 w 1642"/>
                <a:gd name="T83" fmla="*/ 240 h 1641"/>
                <a:gd name="T84" fmla="*/ 1522 w 1642"/>
                <a:gd name="T85" fmla="*/ 396 h 1641"/>
                <a:gd name="T86" fmla="*/ 1605 w 1642"/>
                <a:gd name="T87" fmla="*/ 577 h 1641"/>
                <a:gd name="T88" fmla="*/ 1641 w 1642"/>
                <a:gd name="T89" fmla="*/ 779 h 1641"/>
                <a:gd name="T90" fmla="*/ 1625 w 1642"/>
                <a:gd name="T91" fmla="*/ 986 h 1641"/>
                <a:gd name="T92" fmla="*/ 1561 w 1642"/>
                <a:gd name="T93" fmla="*/ 1176 h 1641"/>
                <a:gd name="T94" fmla="*/ 1455 w 1642"/>
                <a:gd name="T95" fmla="*/ 1342 h 1641"/>
                <a:gd name="T96" fmla="*/ 1312 w 1642"/>
                <a:gd name="T97" fmla="*/ 1478 h 1641"/>
                <a:gd name="T98" fmla="*/ 1141 w 1642"/>
                <a:gd name="T99" fmla="*/ 1576 h 1641"/>
                <a:gd name="T100" fmla="*/ 946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9" y="76"/>
                  </a:lnTo>
                  <a:lnTo>
                    <a:pt x="631" y="85"/>
                  </a:lnTo>
                  <a:lnTo>
                    <a:pt x="595" y="95"/>
                  </a:lnTo>
                  <a:lnTo>
                    <a:pt x="561" y="107"/>
                  </a:lnTo>
                  <a:lnTo>
                    <a:pt x="526" y="121"/>
                  </a:lnTo>
                  <a:lnTo>
                    <a:pt x="491" y="135"/>
                  </a:lnTo>
                  <a:lnTo>
                    <a:pt x="460" y="153"/>
                  </a:lnTo>
                  <a:lnTo>
                    <a:pt x="428" y="171"/>
                  </a:lnTo>
                  <a:lnTo>
                    <a:pt x="396" y="190"/>
                  </a:lnTo>
                  <a:lnTo>
                    <a:pt x="368" y="212"/>
                  </a:lnTo>
                  <a:lnTo>
                    <a:pt x="339" y="235"/>
                  </a:lnTo>
                  <a:lnTo>
                    <a:pt x="310" y="258"/>
                  </a:lnTo>
                  <a:lnTo>
                    <a:pt x="284" y="284"/>
                  </a:lnTo>
                  <a:lnTo>
                    <a:pt x="260" y="309"/>
                  </a:lnTo>
                  <a:lnTo>
                    <a:pt x="235" y="337"/>
                  </a:lnTo>
                  <a:lnTo>
                    <a:pt x="212" y="366"/>
                  </a:lnTo>
                  <a:lnTo>
                    <a:pt x="192" y="396"/>
                  </a:lnTo>
                  <a:lnTo>
                    <a:pt x="172" y="428"/>
                  </a:lnTo>
                  <a:lnTo>
                    <a:pt x="153" y="459"/>
                  </a:lnTo>
                  <a:lnTo>
                    <a:pt x="136" y="491"/>
                  </a:lnTo>
                  <a:lnTo>
                    <a:pt x="121" y="525"/>
                  </a:lnTo>
                  <a:lnTo>
                    <a:pt x="107" y="560"/>
                  </a:lnTo>
                  <a:lnTo>
                    <a:pt x="95" y="595"/>
                  </a:lnTo>
                  <a:lnTo>
                    <a:pt x="85" y="630"/>
                  </a:lnTo>
                  <a:lnTo>
                    <a:pt x="77" y="668"/>
                  </a:lnTo>
                  <a:lnTo>
                    <a:pt x="70" y="705"/>
                  </a:lnTo>
                  <a:lnTo>
                    <a:pt x="65" y="743"/>
                  </a:lnTo>
                  <a:lnTo>
                    <a:pt x="62" y="782"/>
                  </a:lnTo>
                  <a:lnTo>
                    <a:pt x="61" y="821"/>
                  </a:lnTo>
                  <a:lnTo>
                    <a:pt x="62" y="859"/>
                  </a:lnTo>
                  <a:lnTo>
                    <a:pt x="65" y="898"/>
                  </a:lnTo>
                  <a:lnTo>
                    <a:pt x="70" y="936"/>
                  </a:lnTo>
                  <a:lnTo>
                    <a:pt x="77" y="973"/>
                  </a:lnTo>
                  <a:lnTo>
                    <a:pt x="85" y="1011"/>
                  </a:lnTo>
                  <a:lnTo>
                    <a:pt x="95" y="1046"/>
                  </a:lnTo>
                  <a:lnTo>
                    <a:pt x="107" y="1081"/>
                  </a:lnTo>
                  <a:lnTo>
                    <a:pt x="121" y="1116"/>
                  </a:lnTo>
                  <a:lnTo>
                    <a:pt x="136" y="1150"/>
                  </a:lnTo>
                  <a:lnTo>
                    <a:pt x="153" y="1182"/>
                  </a:lnTo>
                  <a:lnTo>
                    <a:pt x="172" y="1213"/>
                  </a:lnTo>
                  <a:lnTo>
                    <a:pt x="192" y="1245"/>
                  </a:lnTo>
                  <a:lnTo>
                    <a:pt x="212" y="1275"/>
                  </a:lnTo>
                  <a:lnTo>
                    <a:pt x="235" y="1304"/>
                  </a:lnTo>
                  <a:lnTo>
                    <a:pt x="260" y="1332"/>
                  </a:lnTo>
                  <a:lnTo>
                    <a:pt x="284" y="1357"/>
                  </a:lnTo>
                  <a:lnTo>
                    <a:pt x="310" y="1383"/>
                  </a:lnTo>
                  <a:lnTo>
                    <a:pt x="339" y="1406"/>
                  </a:lnTo>
                  <a:lnTo>
                    <a:pt x="368" y="1429"/>
                  </a:lnTo>
                  <a:lnTo>
                    <a:pt x="396" y="1451"/>
                  </a:lnTo>
                  <a:lnTo>
                    <a:pt x="428" y="1470"/>
                  </a:lnTo>
                  <a:lnTo>
                    <a:pt x="460" y="1488"/>
                  </a:lnTo>
                  <a:lnTo>
                    <a:pt x="493" y="1506"/>
                  </a:lnTo>
                  <a:lnTo>
                    <a:pt x="526" y="1520"/>
                  </a:lnTo>
                  <a:lnTo>
                    <a:pt x="561" y="1534"/>
                  </a:lnTo>
                  <a:lnTo>
                    <a:pt x="595" y="1546"/>
                  </a:lnTo>
                  <a:lnTo>
                    <a:pt x="631" y="1556"/>
                  </a:lnTo>
                  <a:lnTo>
                    <a:pt x="669" y="1565"/>
                  </a:lnTo>
                  <a:lnTo>
                    <a:pt x="706" y="1572"/>
                  </a:lnTo>
                  <a:lnTo>
                    <a:pt x="743" y="1576"/>
                  </a:lnTo>
                  <a:lnTo>
                    <a:pt x="782" y="1579"/>
                  </a:lnTo>
                  <a:lnTo>
                    <a:pt x="821" y="1581"/>
                  </a:lnTo>
                  <a:lnTo>
                    <a:pt x="860" y="1579"/>
                  </a:lnTo>
                  <a:lnTo>
                    <a:pt x="899" y="1576"/>
                  </a:lnTo>
                  <a:lnTo>
                    <a:pt x="936" y="1572"/>
                  </a:lnTo>
                  <a:lnTo>
                    <a:pt x="974" y="1565"/>
                  </a:lnTo>
                  <a:lnTo>
                    <a:pt x="1011" y="1556"/>
                  </a:lnTo>
                  <a:lnTo>
                    <a:pt x="1047" y="1546"/>
                  </a:lnTo>
                  <a:lnTo>
                    <a:pt x="1082" y="1534"/>
                  </a:lnTo>
                  <a:lnTo>
                    <a:pt x="1116" y="1520"/>
                  </a:lnTo>
                  <a:lnTo>
                    <a:pt x="1151" y="1506"/>
                  </a:lnTo>
                  <a:lnTo>
                    <a:pt x="1183" y="1488"/>
                  </a:lnTo>
                  <a:lnTo>
                    <a:pt x="1216" y="1470"/>
                  </a:lnTo>
                  <a:lnTo>
                    <a:pt x="1246" y="1451"/>
                  </a:lnTo>
                  <a:lnTo>
                    <a:pt x="1276" y="1429"/>
                  </a:lnTo>
                  <a:lnTo>
                    <a:pt x="1305" y="1406"/>
                  </a:lnTo>
                  <a:lnTo>
                    <a:pt x="1332" y="1383"/>
                  </a:lnTo>
                  <a:lnTo>
                    <a:pt x="1358" y="1357"/>
                  </a:lnTo>
                  <a:lnTo>
                    <a:pt x="1384" y="1332"/>
                  </a:lnTo>
                  <a:lnTo>
                    <a:pt x="1407" y="1304"/>
                  </a:lnTo>
                  <a:lnTo>
                    <a:pt x="1430" y="1275"/>
                  </a:lnTo>
                  <a:lnTo>
                    <a:pt x="1452" y="1245"/>
                  </a:lnTo>
                  <a:lnTo>
                    <a:pt x="1471" y="1213"/>
                  </a:lnTo>
                  <a:lnTo>
                    <a:pt x="1489" y="1182"/>
                  </a:lnTo>
                  <a:lnTo>
                    <a:pt x="1507" y="1150"/>
                  </a:lnTo>
                  <a:lnTo>
                    <a:pt x="1521" y="1116"/>
                  </a:lnTo>
                  <a:lnTo>
                    <a:pt x="1535" y="1081"/>
                  </a:lnTo>
                  <a:lnTo>
                    <a:pt x="1547" y="1046"/>
                  </a:lnTo>
                  <a:lnTo>
                    <a:pt x="1557" y="1011"/>
                  </a:lnTo>
                  <a:lnTo>
                    <a:pt x="1566" y="973"/>
                  </a:lnTo>
                  <a:lnTo>
                    <a:pt x="1573" y="936"/>
                  </a:lnTo>
                  <a:lnTo>
                    <a:pt x="1577" y="898"/>
                  </a:lnTo>
                  <a:lnTo>
                    <a:pt x="1580" y="859"/>
                  </a:lnTo>
                  <a:lnTo>
                    <a:pt x="1582" y="821"/>
                  </a:lnTo>
                  <a:lnTo>
                    <a:pt x="1580" y="782"/>
                  </a:lnTo>
                  <a:lnTo>
                    <a:pt x="1577" y="743"/>
                  </a:lnTo>
                  <a:lnTo>
                    <a:pt x="1573" y="705"/>
                  </a:lnTo>
                  <a:lnTo>
                    <a:pt x="1566" y="668"/>
                  </a:lnTo>
                  <a:lnTo>
                    <a:pt x="1557" y="630"/>
                  </a:lnTo>
                  <a:lnTo>
                    <a:pt x="1547" y="595"/>
                  </a:lnTo>
                  <a:lnTo>
                    <a:pt x="1535" y="560"/>
                  </a:lnTo>
                  <a:lnTo>
                    <a:pt x="1521" y="525"/>
                  </a:lnTo>
                  <a:lnTo>
                    <a:pt x="1507" y="491"/>
                  </a:lnTo>
                  <a:lnTo>
                    <a:pt x="1489" y="459"/>
                  </a:lnTo>
                  <a:lnTo>
                    <a:pt x="1471" y="428"/>
                  </a:lnTo>
                  <a:lnTo>
                    <a:pt x="1452" y="396"/>
                  </a:lnTo>
                  <a:lnTo>
                    <a:pt x="1430" y="366"/>
                  </a:lnTo>
                  <a:lnTo>
                    <a:pt x="1407" y="337"/>
                  </a:lnTo>
                  <a:lnTo>
                    <a:pt x="1384" y="309"/>
                  </a:lnTo>
                  <a:lnTo>
                    <a:pt x="1358" y="284"/>
                  </a:lnTo>
                  <a:lnTo>
                    <a:pt x="1332" y="258"/>
                  </a:lnTo>
                  <a:lnTo>
                    <a:pt x="1305" y="235"/>
                  </a:lnTo>
                  <a:lnTo>
                    <a:pt x="1276" y="212"/>
                  </a:lnTo>
                  <a:lnTo>
                    <a:pt x="1246" y="190"/>
                  </a:lnTo>
                  <a:lnTo>
                    <a:pt x="1216" y="171"/>
                  </a:lnTo>
                  <a:lnTo>
                    <a:pt x="1183" y="153"/>
                  </a:lnTo>
                  <a:lnTo>
                    <a:pt x="1151" y="135"/>
                  </a:lnTo>
                  <a:lnTo>
                    <a:pt x="1116" y="121"/>
                  </a:lnTo>
                  <a:lnTo>
                    <a:pt x="1082" y="107"/>
                  </a:lnTo>
                  <a:lnTo>
                    <a:pt x="1047" y="95"/>
                  </a:lnTo>
                  <a:lnTo>
                    <a:pt x="1011" y="85"/>
                  </a:lnTo>
                  <a:lnTo>
                    <a:pt x="974" y="76"/>
                  </a:lnTo>
                  <a:lnTo>
                    <a:pt x="936" y="69"/>
                  </a:lnTo>
                  <a:lnTo>
                    <a:pt x="899" y="65"/>
                  </a:lnTo>
                  <a:lnTo>
                    <a:pt x="860" y="62"/>
                  </a:lnTo>
                  <a:lnTo>
                    <a:pt x="821" y="60"/>
                  </a:lnTo>
                  <a:close/>
                  <a:moveTo>
                    <a:pt x="821" y="1641"/>
                  </a:moveTo>
                  <a:lnTo>
                    <a:pt x="779" y="1640"/>
                  </a:lnTo>
                  <a:lnTo>
                    <a:pt x="738" y="1637"/>
                  </a:lnTo>
                  <a:lnTo>
                    <a:pt x="696" y="1631"/>
                  </a:lnTo>
                  <a:lnTo>
                    <a:pt x="656" y="1624"/>
                  </a:lnTo>
                  <a:lnTo>
                    <a:pt x="617" y="1615"/>
                  </a:lnTo>
                  <a:lnTo>
                    <a:pt x="578" y="1604"/>
                  </a:lnTo>
                  <a:lnTo>
                    <a:pt x="539" y="1591"/>
                  </a:lnTo>
                  <a:lnTo>
                    <a:pt x="502" y="1576"/>
                  </a:lnTo>
                  <a:lnTo>
                    <a:pt x="466" y="1560"/>
                  </a:lnTo>
                  <a:lnTo>
                    <a:pt x="431" y="1542"/>
                  </a:lnTo>
                  <a:lnTo>
                    <a:pt x="396" y="1522"/>
                  </a:lnTo>
                  <a:lnTo>
                    <a:pt x="363" y="1501"/>
                  </a:lnTo>
                  <a:lnTo>
                    <a:pt x="330" y="1478"/>
                  </a:lnTo>
                  <a:lnTo>
                    <a:pt x="300" y="1454"/>
                  </a:lnTo>
                  <a:lnTo>
                    <a:pt x="270" y="1428"/>
                  </a:lnTo>
                  <a:lnTo>
                    <a:pt x="241" y="1401"/>
                  </a:lnTo>
                  <a:lnTo>
                    <a:pt x="214" y="1372"/>
                  </a:lnTo>
                  <a:lnTo>
                    <a:pt x="188" y="1342"/>
                  </a:lnTo>
                  <a:lnTo>
                    <a:pt x="165" y="1311"/>
                  </a:lnTo>
                  <a:lnTo>
                    <a:pt x="142" y="1278"/>
                  </a:lnTo>
                  <a:lnTo>
                    <a:pt x="120" y="1245"/>
                  </a:lnTo>
                  <a:lnTo>
                    <a:pt x="100" y="1211"/>
                  </a:lnTo>
                  <a:lnTo>
                    <a:pt x="81" y="1176"/>
                  </a:lnTo>
                  <a:lnTo>
                    <a:pt x="65" y="1140"/>
                  </a:lnTo>
                  <a:lnTo>
                    <a:pt x="51" y="1103"/>
                  </a:lnTo>
                  <a:lnTo>
                    <a:pt x="38" y="1064"/>
                  </a:lnTo>
                  <a:lnTo>
                    <a:pt x="26" y="1025"/>
                  </a:lnTo>
                  <a:lnTo>
                    <a:pt x="18" y="986"/>
                  </a:lnTo>
                  <a:lnTo>
                    <a:pt x="10" y="946"/>
                  </a:lnTo>
                  <a:lnTo>
                    <a:pt x="5" y="904"/>
                  </a:lnTo>
                  <a:lnTo>
                    <a:pt x="2" y="862"/>
                  </a:lnTo>
                  <a:lnTo>
                    <a:pt x="0" y="821"/>
                  </a:lnTo>
                  <a:lnTo>
                    <a:pt x="2" y="779"/>
                  </a:lnTo>
                  <a:lnTo>
                    <a:pt x="5" y="737"/>
                  </a:lnTo>
                  <a:lnTo>
                    <a:pt x="10" y="695"/>
                  </a:lnTo>
                  <a:lnTo>
                    <a:pt x="18" y="655"/>
                  </a:lnTo>
                  <a:lnTo>
                    <a:pt x="26" y="616"/>
                  </a:lnTo>
                  <a:lnTo>
                    <a:pt x="38" y="577"/>
                  </a:lnTo>
                  <a:lnTo>
                    <a:pt x="51" y="538"/>
                  </a:lnTo>
                  <a:lnTo>
                    <a:pt x="65" y="501"/>
                  </a:lnTo>
                  <a:lnTo>
                    <a:pt x="81" y="465"/>
                  </a:lnTo>
                  <a:lnTo>
                    <a:pt x="100" y="430"/>
                  </a:lnTo>
                  <a:lnTo>
                    <a:pt x="120" y="396"/>
                  </a:lnTo>
                  <a:lnTo>
                    <a:pt x="142" y="363"/>
                  </a:lnTo>
                  <a:lnTo>
                    <a:pt x="165" y="330"/>
                  </a:lnTo>
                  <a:lnTo>
                    <a:pt x="188" y="299"/>
                  </a:lnTo>
                  <a:lnTo>
                    <a:pt x="214" y="269"/>
                  </a:lnTo>
                  <a:lnTo>
                    <a:pt x="241" y="240"/>
                  </a:lnTo>
                  <a:lnTo>
                    <a:pt x="270" y="213"/>
                  </a:lnTo>
                  <a:lnTo>
                    <a:pt x="300" y="187"/>
                  </a:lnTo>
                  <a:lnTo>
                    <a:pt x="330" y="163"/>
                  </a:lnTo>
                  <a:lnTo>
                    <a:pt x="363" y="140"/>
                  </a:lnTo>
                  <a:lnTo>
                    <a:pt x="396" y="119"/>
                  </a:lnTo>
                  <a:lnTo>
                    <a:pt x="431" y="99"/>
                  </a:lnTo>
                  <a:lnTo>
                    <a:pt x="466" y="81"/>
                  </a:lnTo>
                  <a:lnTo>
                    <a:pt x="502" y="65"/>
                  </a:lnTo>
                  <a:lnTo>
                    <a:pt x="539" y="50"/>
                  </a:lnTo>
                  <a:lnTo>
                    <a:pt x="578" y="37"/>
                  </a:lnTo>
                  <a:lnTo>
                    <a:pt x="617" y="26"/>
                  </a:lnTo>
                  <a:lnTo>
                    <a:pt x="656" y="17"/>
                  </a:lnTo>
                  <a:lnTo>
                    <a:pt x="696" y="10"/>
                  </a:lnTo>
                  <a:lnTo>
                    <a:pt x="738" y="4"/>
                  </a:lnTo>
                  <a:lnTo>
                    <a:pt x="779" y="1"/>
                  </a:lnTo>
                  <a:lnTo>
                    <a:pt x="821" y="0"/>
                  </a:lnTo>
                  <a:lnTo>
                    <a:pt x="863" y="1"/>
                  </a:lnTo>
                  <a:lnTo>
                    <a:pt x="905" y="4"/>
                  </a:lnTo>
                  <a:lnTo>
                    <a:pt x="946" y="10"/>
                  </a:lnTo>
                  <a:lnTo>
                    <a:pt x="987" y="17"/>
                  </a:lnTo>
                  <a:lnTo>
                    <a:pt x="1026" y="26"/>
                  </a:lnTo>
                  <a:lnTo>
                    <a:pt x="1065" y="37"/>
                  </a:lnTo>
                  <a:lnTo>
                    <a:pt x="1103" y="50"/>
                  </a:lnTo>
                  <a:lnTo>
                    <a:pt x="1141" y="65"/>
                  </a:lnTo>
                  <a:lnTo>
                    <a:pt x="1177" y="81"/>
                  </a:lnTo>
                  <a:lnTo>
                    <a:pt x="1213" y="99"/>
                  </a:lnTo>
                  <a:lnTo>
                    <a:pt x="1246" y="119"/>
                  </a:lnTo>
                  <a:lnTo>
                    <a:pt x="1281" y="140"/>
                  </a:lnTo>
                  <a:lnTo>
                    <a:pt x="1312" y="163"/>
                  </a:lnTo>
                  <a:lnTo>
                    <a:pt x="1342" y="187"/>
                  </a:lnTo>
                  <a:lnTo>
                    <a:pt x="1373" y="213"/>
                  </a:lnTo>
                  <a:lnTo>
                    <a:pt x="1402" y="240"/>
                  </a:lnTo>
                  <a:lnTo>
                    <a:pt x="1429" y="269"/>
                  </a:lnTo>
                  <a:lnTo>
                    <a:pt x="1455" y="299"/>
                  </a:lnTo>
                  <a:lnTo>
                    <a:pt x="1479" y="330"/>
                  </a:lnTo>
                  <a:lnTo>
                    <a:pt x="1502" y="363"/>
                  </a:lnTo>
                  <a:lnTo>
                    <a:pt x="1522" y="396"/>
                  </a:lnTo>
                  <a:lnTo>
                    <a:pt x="1543" y="430"/>
                  </a:lnTo>
                  <a:lnTo>
                    <a:pt x="1561" y="465"/>
                  </a:lnTo>
                  <a:lnTo>
                    <a:pt x="1577" y="501"/>
                  </a:lnTo>
                  <a:lnTo>
                    <a:pt x="1592" y="538"/>
                  </a:lnTo>
                  <a:lnTo>
                    <a:pt x="1605" y="577"/>
                  </a:lnTo>
                  <a:lnTo>
                    <a:pt x="1616" y="616"/>
                  </a:lnTo>
                  <a:lnTo>
                    <a:pt x="1625" y="655"/>
                  </a:lnTo>
                  <a:lnTo>
                    <a:pt x="1632" y="695"/>
                  </a:lnTo>
                  <a:lnTo>
                    <a:pt x="1638" y="737"/>
                  </a:lnTo>
                  <a:lnTo>
                    <a:pt x="1641" y="779"/>
                  </a:lnTo>
                  <a:lnTo>
                    <a:pt x="1642" y="821"/>
                  </a:lnTo>
                  <a:lnTo>
                    <a:pt x="1641" y="862"/>
                  </a:lnTo>
                  <a:lnTo>
                    <a:pt x="1638" y="904"/>
                  </a:lnTo>
                  <a:lnTo>
                    <a:pt x="1632" y="946"/>
                  </a:lnTo>
                  <a:lnTo>
                    <a:pt x="1625" y="986"/>
                  </a:lnTo>
                  <a:lnTo>
                    <a:pt x="1616" y="1025"/>
                  </a:lnTo>
                  <a:lnTo>
                    <a:pt x="1605" y="1064"/>
                  </a:lnTo>
                  <a:lnTo>
                    <a:pt x="1592" y="1103"/>
                  </a:lnTo>
                  <a:lnTo>
                    <a:pt x="1577" y="1140"/>
                  </a:lnTo>
                  <a:lnTo>
                    <a:pt x="1561" y="1176"/>
                  </a:lnTo>
                  <a:lnTo>
                    <a:pt x="1543" y="1211"/>
                  </a:lnTo>
                  <a:lnTo>
                    <a:pt x="1522" y="1245"/>
                  </a:lnTo>
                  <a:lnTo>
                    <a:pt x="1502" y="1278"/>
                  </a:lnTo>
                  <a:lnTo>
                    <a:pt x="1479" y="1311"/>
                  </a:lnTo>
                  <a:lnTo>
                    <a:pt x="1455" y="1342"/>
                  </a:lnTo>
                  <a:lnTo>
                    <a:pt x="1429" y="1372"/>
                  </a:lnTo>
                  <a:lnTo>
                    <a:pt x="1402" y="1401"/>
                  </a:lnTo>
                  <a:lnTo>
                    <a:pt x="1373" y="1428"/>
                  </a:lnTo>
                  <a:lnTo>
                    <a:pt x="1342" y="1454"/>
                  </a:lnTo>
                  <a:lnTo>
                    <a:pt x="1312" y="1478"/>
                  </a:lnTo>
                  <a:lnTo>
                    <a:pt x="1281" y="1501"/>
                  </a:lnTo>
                  <a:lnTo>
                    <a:pt x="1246" y="1522"/>
                  </a:lnTo>
                  <a:lnTo>
                    <a:pt x="1213" y="1542"/>
                  </a:lnTo>
                  <a:lnTo>
                    <a:pt x="1177" y="1560"/>
                  </a:lnTo>
                  <a:lnTo>
                    <a:pt x="1141" y="1576"/>
                  </a:lnTo>
                  <a:lnTo>
                    <a:pt x="1103" y="1591"/>
                  </a:lnTo>
                  <a:lnTo>
                    <a:pt x="1065" y="1604"/>
                  </a:lnTo>
                  <a:lnTo>
                    <a:pt x="1026" y="1615"/>
                  </a:lnTo>
                  <a:lnTo>
                    <a:pt x="987" y="1624"/>
                  </a:lnTo>
                  <a:lnTo>
                    <a:pt x="946" y="1631"/>
                  </a:lnTo>
                  <a:lnTo>
                    <a:pt x="905" y="1637"/>
                  </a:lnTo>
                  <a:lnTo>
                    <a:pt x="863"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5" name="Freeform 28">
              <a:extLst>
                <a:ext uri="{FF2B5EF4-FFF2-40B4-BE49-F238E27FC236}">
                  <a16:creationId xmlns:a16="http://schemas.microsoft.com/office/drawing/2014/main" id="{2E6BEAB1-9A7F-4D32-A7B8-43BEC53CD910}"/>
                </a:ext>
              </a:extLst>
            </p:cNvPr>
            <p:cNvSpPr>
              <a:spLocks/>
            </p:cNvSpPr>
            <p:nvPr/>
          </p:nvSpPr>
          <p:spPr bwMode="auto">
            <a:xfrm>
              <a:off x="7848004" y="5543692"/>
              <a:ext cx="280649" cy="267767"/>
            </a:xfrm>
            <a:custGeom>
              <a:avLst/>
              <a:gdLst>
                <a:gd name="T0" fmla="*/ 387 w 913"/>
                <a:gd name="T1" fmla="*/ 867 h 873"/>
                <a:gd name="T2" fmla="*/ 299 w 913"/>
                <a:gd name="T3" fmla="*/ 844 h 873"/>
                <a:gd name="T4" fmla="*/ 220 w 913"/>
                <a:gd name="T5" fmla="*/ 807 h 873"/>
                <a:gd name="T6" fmla="*/ 149 w 913"/>
                <a:gd name="T7" fmla="*/ 753 h 873"/>
                <a:gd name="T8" fmla="*/ 90 w 913"/>
                <a:gd name="T9" fmla="*/ 689 h 873"/>
                <a:gd name="T10" fmla="*/ 46 w 913"/>
                <a:gd name="T11" fmla="*/ 614 h 873"/>
                <a:gd name="T12" fmla="*/ 14 w 913"/>
                <a:gd name="T13" fmla="*/ 530 h 873"/>
                <a:gd name="T14" fmla="*/ 1 w 913"/>
                <a:gd name="T15" fmla="*/ 440 h 873"/>
                <a:gd name="T16" fmla="*/ 11 w 913"/>
                <a:gd name="T17" fmla="*/ 319 h 873"/>
                <a:gd name="T18" fmla="*/ 56 w 913"/>
                <a:gd name="T19" fmla="*/ 199 h 873"/>
                <a:gd name="T20" fmla="*/ 132 w 913"/>
                <a:gd name="T21" fmla="*/ 95 h 873"/>
                <a:gd name="T22" fmla="*/ 234 w 913"/>
                <a:gd name="T23" fmla="*/ 18 h 873"/>
                <a:gd name="T24" fmla="*/ 282 w 913"/>
                <a:gd name="T25" fmla="*/ 0 h 873"/>
                <a:gd name="T26" fmla="*/ 302 w 913"/>
                <a:gd name="T27" fmla="*/ 12 h 873"/>
                <a:gd name="T28" fmla="*/ 308 w 913"/>
                <a:gd name="T29" fmla="*/ 35 h 873"/>
                <a:gd name="T30" fmla="*/ 295 w 913"/>
                <a:gd name="T31" fmla="*/ 55 h 873"/>
                <a:gd name="T32" fmla="*/ 217 w 913"/>
                <a:gd name="T33" fmla="*/ 101 h 873"/>
                <a:gd name="T34" fmla="*/ 139 w 913"/>
                <a:gd name="T35" fmla="*/ 180 h 873"/>
                <a:gd name="T36" fmla="*/ 86 w 913"/>
                <a:gd name="T37" fmla="*/ 278 h 873"/>
                <a:gd name="T38" fmla="*/ 62 w 913"/>
                <a:gd name="T39" fmla="*/ 388 h 873"/>
                <a:gd name="T40" fmla="*/ 66 w 913"/>
                <a:gd name="T41" fmla="*/ 477 h 873"/>
                <a:gd name="T42" fmla="*/ 85 w 913"/>
                <a:gd name="T43" fmla="*/ 552 h 873"/>
                <a:gd name="T44" fmla="*/ 118 w 913"/>
                <a:gd name="T45" fmla="*/ 621 h 873"/>
                <a:gd name="T46" fmla="*/ 164 w 913"/>
                <a:gd name="T47" fmla="*/ 681 h 873"/>
                <a:gd name="T48" fmla="*/ 220 w 913"/>
                <a:gd name="T49" fmla="*/ 733 h 873"/>
                <a:gd name="T50" fmla="*/ 285 w 913"/>
                <a:gd name="T51" fmla="*/ 772 h 873"/>
                <a:gd name="T52" fmla="*/ 358 w 913"/>
                <a:gd name="T53" fmla="*/ 799 h 873"/>
                <a:gd name="T54" fmla="*/ 436 w 913"/>
                <a:gd name="T55" fmla="*/ 811 h 873"/>
                <a:gd name="T56" fmla="*/ 517 w 913"/>
                <a:gd name="T57" fmla="*/ 807 h 873"/>
                <a:gd name="T58" fmla="*/ 592 w 913"/>
                <a:gd name="T59" fmla="*/ 788 h 873"/>
                <a:gd name="T60" fmla="*/ 661 w 913"/>
                <a:gd name="T61" fmla="*/ 755 h 873"/>
                <a:gd name="T62" fmla="*/ 721 w 913"/>
                <a:gd name="T63" fmla="*/ 709 h 873"/>
                <a:gd name="T64" fmla="*/ 773 w 913"/>
                <a:gd name="T65" fmla="*/ 653 h 873"/>
                <a:gd name="T66" fmla="*/ 812 w 913"/>
                <a:gd name="T67" fmla="*/ 588 h 873"/>
                <a:gd name="T68" fmla="*/ 839 w 913"/>
                <a:gd name="T69" fmla="*/ 516 h 873"/>
                <a:gd name="T70" fmla="*/ 851 w 913"/>
                <a:gd name="T71" fmla="*/ 437 h 873"/>
                <a:gd name="T72" fmla="*/ 842 w 913"/>
                <a:gd name="T73" fmla="*/ 333 h 873"/>
                <a:gd name="T74" fmla="*/ 806 w 913"/>
                <a:gd name="T75" fmla="*/ 231 h 873"/>
                <a:gd name="T76" fmla="*/ 743 w 913"/>
                <a:gd name="T77" fmla="*/ 143 h 873"/>
                <a:gd name="T78" fmla="*/ 655 w 913"/>
                <a:gd name="T79" fmla="*/ 75 h 873"/>
                <a:gd name="T80" fmla="*/ 617 w 913"/>
                <a:gd name="T81" fmla="*/ 49 h 873"/>
                <a:gd name="T82" fmla="*/ 615 w 913"/>
                <a:gd name="T83" fmla="*/ 26 h 873"/>
                <a:gd name="T84" fmla="*/ 629 w 913"/>
                <a:gd name="T85" fmla="*/ 8 h 873"/>
                <a:gd name="T86" fmla="*/ 652 w 913"/>
                <a:gd name="T87" fmla="*/ 5 h 873"/>
                <a:gd name="T88" fmla="*/ 738 w 913"/>
                <a:gd name="T89" fmla="*/ 58 h 873"/>
                <a:gd name="T90" fmla="*/ 826 w 913"/>
                <a:gd name="T91" fmla="*/ 149 h 873"/>
                <a:gd name="T92" fmla="*/ 885 w 913"/>
                <a:gd name="T93" fmla="*/ 260 h 873"/>
                <a:gd name="T94" fmla="*/ 911 w 913"/>
                <a:gd name="T95" fmla="*/ 383 h 873"/>
                <a:gd name="T96" fmla="*/ 907 w 913"/>
                <a:gd name="T97" fmla="*/ 486 h 873"/>
                <a:gd name="T98" fmla="*/ 884 w 913"/>
                <a:gd name="T99" fmla="*/ 573 h 873"/>
                <a:gd name="T100" fmla="*/ 846 w 913"/>
                <a:gd name="T101" fmla="*/ 653 h 873"/>
                <a:gd name="T102" fmla="*/ 793 w 913"/>
                <a:gd name="T103" fmla="*/ 723 h 873"/>
                <a:gd name="T104" fmla="*/ 728 w 913"/>
                <a:gd name="T105" fmla="*/ 782 h 873"/>
                <a:gd name="T106" fmla="*/ 653 w 913"/>
                <a:gd name="T107" fmla="*/ 827 h 873"/>
                <a:gd name="T108" fmla="*/ 570 w 913"/>
                <a:gd name="T109" fmla="*/ 858 h 873"/>
                <a:gd name="T110" fmla="*/ 479 w 913"/>
                <a:gd name="T111" fmla="*/ 871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3" h="873">
                  <a:moveTo>
                    <a:pt x="456" y="873"/>
                  </a:moveTo>
                  <a:lnTo>
                    <a:pt x="433" y="871"/>
                  </a:lnTo>
                  <a:lnTo>
                    <a:pt x="410" y="870"/>
                  </a:lnTo>
                  <a:lnTo>
                    <a:pt x="387" y="867"/>
                  </a:lnTo>
                  <a:lnTo>
                    <a:pt x="364" y="863"/>
                  </a:lnTo>
                  <a:lnTo>
                    <a:pt x="342" y="858"/>
                  </a:lnTo>
                  <a:lnTo>
                    <a:pt x="321" y="851"/>
                  </a:lnTo>
                  <a:lnTo>
                    <a:pt x="299" y="844"/>
                  </a:lnTo>
                  <a:lnTo>
                    <a:pt x="279" y="837"/>
                  </a:lnTo>
                  <a:lnTo>
                    <a:pt x="259" y="827"/>
                  </a:lnTo>
                  <a:lnTo>
                    <a:pt x="239" y="817"/>
                  </a:lnTo>
                  <a:lnTo>
                    <a:pt x="220" y="807"/>
                  </a:lnTo>
                  <a:lnTo>
                    <a:pt x="201" y="795"/>
                  </a:lnTo>
                  <a:lnTo>
                    <a:pt x="184" y="782"/>
                  </a:lnTo>
                  <a:lnTo>
                    <a:pt x="167" y="768"/>
                  </a:lnTo>
                  <a:lnTo>
                    <a:pt x="149" y="753"/>
                  </a:lnTo>
                  <a:lnTo>
                    <a:pt x="134" y="739"/>
                  </a:lnTo>
                  <a:lnTo>
                    <a:pt x="119" y="723"/>
                  </a:lnTo>
                  <a:lnTo>
                    <a:pt x="105" y="706"/>
                  </a:lnTo>
                  <a:lnTo>
                    <a:pt x="90" y="689"/>
                  </a:lnTo>
                  <a:lnTo>
                    <a:pt x="79" y="671"/>
                  </a:lnTo>
                  <a:lnTo>
                    <a:pt x="66" y="653"/>
                  </a:lnTo>
                  <a:lnTo>
                    <a:pt x="56" y="634"/>
                  </a:lnTo>
                  <a:lnTo>
                    <a:pt x="46" y="614"/>
                  </a:lnTo>
                  <a:lnTo>
                    <a:pt x="36" y="594"/>
                  </a:lnTo>
                  <a:lnTo>
                    <a:pt x="29" y="573"/>
                  </a:lnTo>
                  <a:lnTo>
                    <a:pt x="21" y="552"/>
                  </a:lnTo>
                  <a:lnTo>
                    <a:pt x="14" y="530"/>
                  </a:lnTo>
                  <a:lnTo>
                    <a:pt x="10" y="509"/>
                  </a:lnTo>
                  <a:lnTo>
                    <a:pt x="5" y="486"/>
                  </a:lnTo>
                  <a:lnTo>
                    <a:pt x="3" y="463"/>
                  </a:lnTo>
                  <a:lnTo>
                    <a:pt x="1" y="440"/>
                  </a:lnTo>
                  <a:lnTo>
                    <a:pt x="0" y="417"/>
                  </a:lnTo>
                  <a:lnTo>
                    <a:pt x="1" y="383"/>
                  </a:lnTo>
                  <a:lnTo>
                    <a:pt x="5" y="352"/>
                  </a:lnTo>
                  <a:lnTo>
                    <a:pt x="11" y="319"/>
                  </a:lnTo>
                  <a:lnTo>
                    <a:pt x="18" y="288"/>
                  </a:lnTo>
                  <a:lnTo>
                    <a:pt x="30" y="257"/>
                  </a:lnTo>
                  <a:lnTo>
                    <a:pt x="41" y="228"/>
                  </a:lnTo>
                  <a:lnTo>
                    <a:pt x="56" y="199"/>
                  </a:lnTo>
                  <a:lnTo>
                    <a:pt x="72" y="172"/>
                  </a:lnTo>
                  <a:lnTo>
                    <a:pt x="90" y="144"/>
                  </a:lnTo>
                  <a:lnTo>
                    <a:pt x="111" y="120"/>
                  </a:lnTo>
                  <a:lnTo>
                    <a:pt x="132" y="95"/>
                  </a:lnTo>
                  <a:lnTo>
                    <a:pt x="155" y="74"/>
                  </a:lnTo>
                  <a:lnTo>
                    <a:pt x="181" y="54"/>
                  </a:lnTo>
                  <a:lnTo>
                    <a:pt x="207" y="35"/>
                  </a:lnTo>
                  <a:lnTo>
                    <a:pt x="234" y="18"/>
                  </a:lnTo>
                  <a:lnTo>
                    <a:pt x="265" y="3"/>
                  </a:lnTo>
                  <a:lnTo>
                    <a:pt x="270" y="0"/>
                  </a:lnTo>
                  <a:lnTo>
                    <a:pt x="276" y="0"/>
                  </a:lnTo>
                  <a:lnTo>
                    <a:pt x="282" y="0"/>
                  </a:lnTo>
                  <a:lnTo>
                    <a:pt x="288" y="2"/>
                  </a:lnTo>
                  <a:lnTo>
                    <a:pt x="293" y="5"/>
                  </a:lnTo>
                  <a:lnTo>
                    <a:pt x="298" y="8"/>
                  </a:lnTo>
                  <a:lnTo>
                    <a:pt x="302" y="12"/>
                  </a:lnTo>
                  <a:lnTo>
                    <a:pt x="305" y="18"/>
                  </a:lnTo>
                  <a:lnTo>
                    <a:pt x="306" y="24"/>
                  </a:lnTo>
                  <a:lnTo>
                    <a:pt x="308" y="29"/>
                  </a:lnTo>
                  <a:lnTo>
                    <a:pt x="308" y="35"/>
                  </a:lnTo>
                  <a:lnTo>
                    <a:pt x="306" y="41"/>
                  </a:lnTo>
                  <a:lnTo>
                    <a:pt x="304" y="47"/>
                  </a:lnTo>
                  <a:lnTo>
                    <a:pt x="299" y="51"/>
                  </a:lnTo>
                  <a:lnTo>
                    <a:pt x="295" y="55"/>
                  </a:lnTo>
                  <a:lnTo>
                    <a:pt x="291" y="58"/>
                  </a:lnTo>
                  <a:lnTo>
                    <a:pt x="265" y="71"/>
                  </a:lnTo>
                  <a:lnTo>
                    <a:pt x="240" y="85"/>
                  </a:lnTo>
                  <a:lnTo>
                    <a:pt x="217" y="101"/>
                  </a:lnTo>
                  <a:lnTo>
                    <a:pt x="196" y="120"/>
                  </a:lnTo>
                  <a:lnTo>
                    <a:pt x="175" y="139"/>
                  </a:lnTo>
                  <a:lnTo>
                    <a:pt x="157" y="159"/>
                  </a:lnTo>
                  <a:lnTo>
                    <a:pt x="139" y="180"/>
                  </a:lnTo>
                  <a:lnTo>
                    <a:pt x="124" y="203"/>
                  </a:lnTo>
                  <a:lnTo>
                    <a:pt x="109" y="228"/>
                  </a:lnTo>
                  <a:lnTo>
                    <a:pt x="98" y="252"/>
                  </a:lnTo>
                  <a:lnTo>
                    <a:pt x="86" y="278"/>
                  </a:lnTo>
                  <a:lnTo>
                    <a:pt x="77" y="304"/>
                  </a:lnTo>
                  <a:lnTo>
                    <a:pt x="70" y="332"/>
                  </a:lnTo>
                  <a:lnTo>
                    <a:pt x="66" y="360"/>
                  </a:lnTo>
                  <a:lnTo>
                    <a:pt x="62" y="388"/>
                  </a:lnTo>
                  <a:lnTo>
                    <a:pt x="62" y="417"/>
                  </a:lnTo>
                  <a:lnTo>
                    <a:pt x="62" y="437"/>
                  </a:lnTo>
                  <a:lnTo>
                    <a:pt x="63" y="457"/>
                  </a:lnTo>
                  <a:lnTo>
                    <a:pt x="66" y="477"/>
                  </a:lnTo>
                  <a:lnTo>
                    <a:pt x="69" y="496"/>
                  </a:lnTo>
                  <a:lnTo>
                    <a:pt x="73" y="516"/>
                  </a:lnTo>
                  <a:lnTo>
                    <a:pt x="79" y="535"/>
                  </a:lnTo>
                  <a:lnTo>
                    <a:pt x="85" y="552"/>
                  </a:lnTo>
                  <a:lnTo>
                    <a:pt x="92" y="571"/>
                  </a:lnTo>
                  <a:lnTo>
                    <a:pt x="101" y="588"/>
                  </a:lnTo>
                  <a:lnTo>
                    <a:pt x="109" y="605"/>
                  </a:lnTo>
                  <a:lnTo>
                    <a:pt x="118" y="621"/>
                  </a:lnTo>
                  <a:lnTo>
                    <a:pt x="129" y="637"/>
                  </a:lnTo>
                  <a:lnTo>
                    <a:pt x="139" y="653"/>
                  </a:lnTo>
                  <a:lnTo>
                    <a:pt x="151" y="667"/>
                  </a:lnTo>
                  <a:lnTo>
                    <a:pt x="164" y="681"/>
                  </a:lnTo>
                  <a:lnTo>
                    <a:pt x="177" y="696"/>
                  </a:lnTo>
                  <a:lnTo>
                    <a:pt x="191" y="709"/>
                  </a:lnTo>
                  <a:lnTo>
                    <a:pt x="206" y="722"/>
                  </a:lnTo>
                  <a:lnTo>
                    <a:pt x="220" y="733"/>
                  </a:lnTo>
                  <a:lnTo>
                    <a:pt x="236" y="745"/>
                  </a:lnTo>
                  <a:lnTo>
                    <a:pt x="252" y="755"/>
                  </a:lnTo>
                  <a:lnTo>
                    <a:pt x="268" y="763"/>
                  </a:lnTo>
                  <a:lnTo>
                    <a:pt x="285" y="772"/>
                  </a:lnTo>
                  <a:lnTo>
                    <a:pt x="302" y="781"/>
                  </a:lnTo>
                  <a:lnTo>
                    <a:pt x="321" y="788"/>
                  </a:lnTo>
                  <a:lnTo>
                    <a:pt x="340" y="794"/>
                  </a:lnTo>
                  <a:lnTo>
                    <a:pt x="358" y="799"/>
                  </a:lnTo>
                  <a:lnTo>
                    <a:pt x="377" y="804"/>
                  </a:lnTo>
                  <a:lnTo>
                    <a:pt x="396" y="807"/>
                  </a:lnTo>
                  <a:lnTo>
                    <a:pt x="416" y="809"/>
                  </a:lnTo>
                  <a:lnTo>
                    <a:pt x="436" y="811"/>
                  </a:lnTo>
                  <a:lnTo>
                    <a:pt x="456" y="811"/>
                  </a:lnTo>
                  <a:lnTo>
                    <a:pt x="476" y="811"/>
                  </a:lnTo>
                  <a:lnTo>
                    <a:pt x="497" y="809"/>
                  </a:lnTo>
                  <a:lnTo>
                    <a:pt x="517" y="807"/>
                  </a:lnTo>
                  <a:lnTo>
                    <a:pt x="535" y="804"/>
                  </a:lnTo>
                  <a:lnTo>
                    <a:pt x="556" y="799"/>
                  </a:lnTo>
                  <a:lnTo>
                    <a:pt x="574" y="794"/>
                  </a:lnTo>
                  <a:lnTo>
                    <a:pt x="592" y="788"/>
                  </a:lnTo>
                  <a:lnTo>
                    <a:pt x="610" y="781"/>
                  </a:lnTo>
                  <a:lnTo>
                    <a:pt x="628" y="772"/>
                  </a:lnTo>
                  <a:lnTo>
                    <a:pt x="645" y="763"/>
                  </a:lnTo>
                  <a:lnTo>
                    <a:pt x="661" y="755"/>
                  </a:lnTo>
                  <a:lnTo>
                    <a:pt x="677" y="745"/>
                  </a:lnTo>
                  <a:lnTo>
                    <a:pt x="692" y="733"/>
                  </a:lnTo>
                  <a:lnTo>
                    <a:pt x="708" y="722"/>
                  </a:lnTo>
                  <a:lnTo>
                    <a:pt x="721" y="709"/>
                  </a:lnTo>
                  <a:lnTo>
                    <a:pt x="736" y="696"/>
                  </a:lnTo>
                  <a:lnTo>
                    <a:pt x="749" y="681"/>
                  </a:lnTo>
                  <a:lnTo>
                    <a:pt x="761" y="667"/>
                  </a:lnTo>
                  <a:lnTo>
                    <a:pt x="773" y="653"/>
                  </a:lnTo>
                  <a:lnTo>
                    <a:pt x="785" y="637"/>
                  </a:lnTo>
                  <a:lnTo>
                    <a:pt x="795" y="621"/>
                  </a:lnTo>
                  <a:lnTo>
                    <a:pt x="803" y="605"/>
                  </a:lnTo>
                  <a:lnTo>
                    <a:pt x="812" y="588"/>
                  </a:lnTo>
                  <a:lnTo>
                    <a:pt x="821" y="571"/>
                  </a:lnTo>
                  <a:lnTo>
                    <a:pt x="828" y="552"/>
                  </a:lnTo>
                  <a:lnTo>
                    <a:pt x="833" y="535"/>
                  </a:lnTo>
                  <a:lnTo>
                    <a:pt x="839" y="516"/>
                  </a:lnTo>
                  <a:lnTo>
                    <a:pt x="844" y="496"/>
                  </a:lnTo>
                  <a:lnTo>
                    <a:pt x="846" y="477"/>
                  </a:lnTo>
                  <a:lnTo>
                    <a:pt x="849" y="457"/>
                  </a:lnTo>
                  <a:lnTo>
                    <a:pt x="851" y="437"/>
                  </a:lnTo>
                  <a:lnTo>
                    <a:pt x="851" y="417"/>
                  </a:lnTo>
                  <a:lnTo>
                    <a:pt x="851" y="388"/>
                  </a:lnTo>
                  <a:lnTo>
                    <a:pt x="848" y="360"/>
                  </a:lnTo>
                  <a:lnTo>
                    <a:pt x="842" y="333"/>
                  </a:lnTo>
                  <a:lnTo>
                    <a:pt x="836" y="307"/>
                  </a:lnTo>
                  <a:lnTo>
                    <a:pt x="828" y="280"/>
                  </a:lnTo>
                  <a:lnTo>
                    <a:pt x="818" y="255"/>
                  </a:lnTo>
                  <a:lnTo>
                    <a:pt x="806" y="231"/>
                  </a:lnTo>
                  <a:lnTo>
                    <a:pt x="792" y="208"/>
                  </a:lnTo>
                  <a:lnTo>
                    <a:pt x="777" y="185"/>
                  </a:lnTo>
                  <a:lnTo>
                    <a:pt x="760" y="163"/>
                  </a:lnTo>
                  <a:lnTo>
                    <a:pt x="743" y="143"/>
                  </a:lnTo>
                  <a:lnTo>
                    <a:pt x="723" y="124"/>
                  </a:lnTo>
                  <a:lnTo>
                    <a:pt x="701" y="107"/>
                  </a:lnTo>
                  <a:lnTo>
                    <a:pt x="679" y="90"/>
                  </a:lnTo>
                  <a:lnTo>
                    <a:pt x="655" y="75"/>
                  </a:lnTo>
                  <a:lnTo>
                    <a:pt x="630" y="62"/>
                  </a:lnTo>
                  <a:lnTo>
                    <a:pt x="625" y="58"/>
                  </a:lnTo>
                  <a:lnTo>
                    <a:pt x="620" y="54"/>
                  </a:lnTo>
                  <a:lnTo>
                    <a:pt x="617" y="49"/>
                  </a:lnTo>
                  <a:lnTo>
                    <a:pt x="615" y="44"/>
                  </a:lnTo>
                  <a:lnTo>
                    <a:pt x="613" y="38"/>
                  </a:lnTo>
                  <a:lnTo>
                    <a:pt x="613" y="32"/>
                  </a:lnTo>
                  <a:lnTo>
                    <a:pt x="615" y="26"/>
                  </a:lnTo>
                  <a:lnTo>
                    <a:pt x="616" y="21"/>
                  </a:lnTo>
                  <a:lnTo>
                    <a:pt x="620" y="16"/>
                  </a:lnTo>
                  <a:lnTo>
                    <a:pt x="623" y="12"/>
                  </a:lnTo>
                  <a:lnTo>
                    <a:pt x="629" y="8"/>
                  </a:lnTo>
                  <a:lnTo>
                    <a:pt x="633" y="6"/>
                  </a:lnTo>
                  <a:lnTo>
                    <a:pt x="639" y="5"/>
                  </a:lnTo>
                  <a:lnTo>
                    <a:pt x="645" y="3"/>
                  </a:lnTo>
                  <a:lnTo>
                    <a:pt x="652" y="5"/>
                  </a:lnTo>
                  <a:lnTo>
                    <a:pt x="658" y="8"/>
                  </a:lnTo>
                  <a:lnTo>
                    <a:pt x="687" y="22"/>
                  </a:lnTo>
                  <a:lnTo>
                    <a:pt x="714" y="39"/>
                  </a:lnTo>
                  <a:lnTo>
                    <a:pt x="738" y="58"/>
                  </a:lnTo>
                  <a:lnTo>
                    <a:pt x="763" y="80"/>
                  </a:lnTo>
                  <a:lnTo>
                    <a:pt x="786" y="101"/>
                  </a:lnTo>
                  <a:lnTo>
                    <a:pt x="808" y="124"/>
                  </a:lnTo>
                  <a:lnTo>
                    <a:pt x="826" y="149"/>
                  </a:lnTo>
                  <a:lnTo>
                    <a:pt x="844" y="175"/>
                  </a:lnTo>
                  <a:lnTo>
                    <a:pt x="859" y="202"/>
                  </a:lnTo>
                  <a:lnTo>
                    <a:pt x="872" y="231"/>
                  </a:lnTo>
                  <a:lnTo>
                    <a:pt x="885" y="260"/>
                  </a:lnTo>
                  <a:lnTo>
                    <a:pt x="894" y="290"/>
                  </a:lnTo>
                  <a:lnTo>
                    <a:pt x="903" y="320"/>
                  </a:lnTo>
                  <a:lnTo>
                    <a:pt x="908" y="352"/>
                  </a:lnTo>
                  <a:lnTo>
                    <a:pt x="911" y="383"/>
                  </a:lnTo>
                  <a:lnTo>
                    <a:pt x="913" y="417"/>
                  </a:lnTo>
                  <a:lnTo>
                    <a:pt x="911" y="440"/>
                  </a:lnTo>
                  <a:lnTo>
                    <a:pt x="910" y="463"/>
                  </a:lnTo>
                  <a:lnTo>
                    <a:pt x="907" y="486"/>
                  </a:lnTo>
                  <a:lnTo>
                    <a:pt x="903" y="509"/>
                  </a:lnTo>
                  <a:lnTo>
                    <a:pt x="898" y="530"/>
                  </a:lnTo>
                  <a:lnTo>
                    <a:pt x="891" y="552"/>
                  </a:lnTo>
                  <a:lnTo>
                    <a:pt x="884" y="573"/>
                  </a:lnTo>
                  <a:lnTo>
                    <a:pt x="877" y="594"/>
                  </a:lnTo>
                  <a:lnTo>
                    <a:pt x="867" y="614"/>
                  </a:lnTo>
                  <a:lnTo>
                    <a:pt x="857" y="634"/>
                  </a:lnTo>
                  <a:lnTo>
                    <a:pt x="846" y="653"/>
                  </a:lnTo>
                  <a:lnTo>
                    <a:pt x="835" y="671"/>
                  </a:lnTo>
                  <a:lnTo>
                    <a:pt x="822" y="689"/>
                  </a:lnTo>
                  <a:lnTo>
                    <a:pt x="808" y="706"/>
                  </a:lnTo>
                  <a:lnTo>
                    <a:pt x="793" y="723"/>
                  </a:lnTo>
                  <a:lnTo>
                    <a:pt x="779" y="739"/>
                  </a:lnTo>
                  <a:lnTo>
                    <a:pt x="763" y="753"/>
                  </a:lnTo>
                  <a:lnTo>
                    <a:pt x="746" y="768"/>
                  </a:lnTo>
                  <a:lnTo>
                    <a:pt x="728" y="782"/>
                  </a:lnTo>
                  <a:lnTo>
                    <a:pt x="711" y="795"/>
                  </a:lnTo>
                  <a:lnTo>
                    <a:pt x="692" y="807"/>
                  </a:lnTo>
                  <a:lnTo>
                    <a:pt x="674" y="817"/>
                  </a:lnTo>
                  <a:lnTo>
                    <a:pt x="653" y="827"/>
                  </a:lnTo>
                  <a:lnTo>
                    <a:pt x="633" y="837"/>
                  </a:lnTo>
                  <a:lnTo>
                    <a:pt x="613" y="844"/>
                  </a:lnTo>
                  <a:lnTo>
                    <a:pt x="592" y="851"/>
                  </a:lnTo>
                  <a:lnTo>
                    <a:pt x="570" y="858"/>
                  </a:lnTo>
                  <a:lnTo>
                    <a:pt x="548" y="863"/>
                  </a:lnTo>
                  <a:lnTo>
                    <a:pt x="525" y="867"/>
                  </a:lnTo>
                  <a:lnTo>
                    <a:pt x="502" y="870"/>
                  </a:lnTo>
                  <a:lnTo>
                    <a:pt x="479" y="871"/>
                  </a:lnTo>
                  <a:lnTo>
                    <a:pt x="456" y="873"/>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6" name="Freeform 47">
              <a:extLst>
                <a:ext uri="{FF2B5EF4-FFF2-40B4-BE49-F238E27FC236}">
                  <a16:creationId xmlns:a16="http://schemas.microsoft.com/office/drawing/2014/main" id="{81AA3617-DE4B-48C1-9696-554FD2B08A8D}"/>
                </a:ext>
              </a:extLst>
            </p:cNvPr>
            <p:cNvSpPr>
              <a:spLocks/>
            </p:cNvSpPr>
            <p:nvPr/>
          </p:nvSpPr>
          <p:spPr bwMode="auto">
            <a:xfrm>
              <a:off x="7978667" y="5474680"/>
              <a:ext cx="18403" cy="206116"/>
            </a:xfrm>
            <a:custGeom>
              <a:avLst/>
              <a:gdLst>
                <a:gd name="T0" fmla="*/ 30 w 60"/>
                <a:gd name="T1" fmla="*/ 671 h 671"/>
                <a:gd name="T2" fmla="*/ 24 w 60"/>
                <a:gd name="T3" fmla="*/ 671 h 671"/>
                <a:gd name="T4" fmla="*/ 19 w 60"/>
                <a:gd name="T5" fmla="*/ 668 h 671"/>
                <a:gd name="T6" fmla="*/ 13 w 60"/>
                <a:gd name="T7" fmla="*/ 666 h 671"/>
                <a:gd name="T8" fmla="*/ 9 w 60"/>
                <a:gd name="T9" fmla="*/ 662 h 671"/>
                <a:gd name="T10" fmla="*/ 6 w 60"/>
                <a:gd name="T11" fmla="*/ 658 h 671"/>
                <a:gd name="T12" fmla="*/ 3 w 60"/>
                <a:gd name="T13" fmla="*/ 652 h 671"/>
                <a:gd name="T14" fmla="*/ 0 w 60"/>
                <a:gd name="T15" fmla="*/ 646 h 671"/>
                <a:gd name="T16" fmla="*/ 0 w 60"/>
                <a:gd name="T17" fmla="*/ 641 h 671"/>
                <a:gd name="T18" fmla="*/ 0 w 60"/>
                <a:gd name="T19" fmla="*/ 30 h 671"/>
                <a:gd name="T20" fmla="*/ 0 w 60"/>
                <a:gd name="T21" fmla="*/ 24 h 671"/>
                <a:gd name="T22" fmla="*/ 3 w 60"/>
                <a:gd name="T23" fmla="*/ 19 h 671"/>
                <a:gd name="T24" fmla="*/ 6 w 60"/>
                <a:gd name="T25" fmla="*/ 13 h 671"/>
                <a:gd name="T26" fmla="*/ 9 w 60"/>
                <a:gd name="T27" fmla="*/ 9 h 671"/>
                <a:gd name="T28" fmla="*/ 13 w 60"/>
                <a:gd name="T29" fmla="*/ 6 h 671"/>
                <a:gd name="T30" fmla="*/ 19 w 60"/>
                <a:gd name="T31" fmla="*/ 3 h 671"/>
                <a:gd name="T32" fmla="*/ 24 w 60"/>
                <a:gd name="T33" fmla="*/ 0 h 671"/>
                <a:gd name="T34" fmla="*/ 30 w 60"/>
                <a:gd name="T35" fmla="*/ 0 h 671"/>
                <a:gd name="T36" fmla="*/ 36 w 60"/>
                <a:gd name="T37" fmla="*/ 0 h 671"/>
                <a:gd name="T38" fmla="*/ 42 w 60"/>
                <a:gd name="T39" fmla="*/ 3 h 671"/>
                <a:gd name="T40" fmla="*/ 47 w 60"/>
                <a:gd name="T41" fmla="*/ 6 h 671"/>
                <a:gd name="T42" fmla="*/ 52 w 60"/>
                <a:gd name="T43" fmla="*/ 9 h 671"/>
                <a:gd name="T44" fmla="*/ 56 w 60"/>
                <a:gd name="T45" fmla="*/ 13 h 671"/>
                <a:gd name="T46" fmla="*/ 59 w 60"/>
                <a:gd name="T47" fmla="*/ 19 h 671"/>
                <a:gd name="T48" fmla="*/ 60 w 60"/>
                <a:gd name="T49" fmla="*/ 24 h 671"/>
                <a:gd name="T50" fmla="*/ 60 w 60"/>
                <a:gd name="T51" fmla="*/ 30 h 671"/>
                <a:gd name="T52" fmla="*/ 60 w 60"/>
                <a:gd name="T53" fmla="*/ 641 h 671"/>
                <a:gd name="T54" fmla="*/ 60 w 60"/>
                <a:gd name="T55" fmla="*/ 646 h 671"/>
                <a:gd name="T56" fmla="*/ 59 w 60"/>
                <a:gd name="T57" fmla="*/ 652 h 671"/>
                <a:gd name="T58" fmla="*/ 56 w 60"/>
                <a:gd name="T59" fmla="*/ 658 h 671"/>
                <a:gd name="T60" fmla="*/ 52 w 60"/>
                <a:gd name="T61" fmla="*/ 662 h 671"/>
                <a:gd name="T62" fmla="*/ 47 w 60"/>
                <a:gd name="T63" fmla="*/ 666 h 671"/>
                <a:gd name="T64" fmla="*/ 42 w 60"/>
                <a:gd name="T65" fmla="*/ 668 h 671"/>
                <a:gd name="T66" fmla="*/ 36 w 60"/>
                <a:gd name="T67" fmla="*/ 671 h 671"/>
                <a:gd name="T68" fmla="*/ 30 w 60"/>
                <a:gd name="T6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71">
                  <a:moveTo>
                    <a:pt x="30" y="671"/>
                  </a:moveTo>
                  <a:lnTo>
                    <a:pt x="24" y="671"/>
                  </a:lnTo>
                  <a:lnTo>
                    <a:pt x="19" y="668"/>
                  </a:lnTo>
                  <a:lnTo>
                    <a:pt x="13" y="666"/>
                  </a:lnTo>
                  <a:lnTo>
                    <a:pt x="9" y="662"/>
                  </a:lnTo>
                  <a:lnTo>
                    <a:pt x="6" y="658"/>
                  </a:lnTo>
                  <a:lnTo>
                    <a:pt x="3" y="652"/>
                  </a:lnTo>
                  <a:lnTo>
                    <a:pt x="0" y="646"/>
                  </a:lnTo>
                  <a:lnTo>
                    <a:pt x="0" y="641"/>
                  </a:lnTo>
                  <a:lnTo>
                    <a:pt x="0" y="30"/>
                  </a:lnTo>
                  <a:lnTo>
                    <a:pt x="0" y="24"/>
                  </a:lnTo>
                  <a:lnTo>
                    <a:pt x="3" y="19"/>
                  </a:lnTo>
                  <a:lnTo>
                    <a:pt x="6" y="13"/>
                  </a:lnTo>
                  <a:lnTo>
                    <a:pt x="9" y="9"/>
                  </a:lnTo>
                  <a:lnTo>
                    <a:pt x="13" y="6"/>
                  </a:lnTo>
                  <a:lnTo>
                    <a:pt x="19" y="3"/>
                  </a:lnTo>
                  <a:lnTo>
                    <a:pt x="24" y="0"/>
                  </a:lnTo>
                  <a:lnTo>
                    <a:pt x="30" y="0"/>
                  </a:lnTo>
                  <a:lnTo>
                    <a:pt x="36" y="0"/>
                  </a:lnTo>
                  <a:lnTo>
                    <a:pt x="42" y="3"/>
                  </a:lnTo>
                  <a:lnTo>
                    <a:pt x="47" y="6"/>
                  </a:lnTo>
                  <a:lnTo>
                    <a:pt x="52" y="9"/>
                  </a:lnTo>
                  <a:lnTo>
                    <a:pt x="56" y="13"/>
                  </a:lnTo>
                  <a:lnTo>
                    <a:pt x="59" y="19"/>
                  </a:lnTo>
                  <a:lnTo>
                    <a:pt x="60" y="24"/>
                  </a:lnTo>
                  <a:lnTo>
                    <a:pt x="60" y="30"/>
                  </a:lnTo>
                  <a:lnTo>
                    <a:pt x="60" y="641"/>
                  </a:lnTo>
                  <a:lnTo>
                    <a:pt x="60" y="646"/>
                  </a:lnTo>
                  <a:lnTo>
                    <a:pt x="59" y="652"/>
                  </a:lnTo>
                  <a:lnTo>
                    <a:pt x="56" y="658"/>
                  </a:lnTo>
                  <a:lnTo>
                    <a:pt x="52" y="662"/>
                  </a:lnTo>
                  <a:lnTo>
                    <a:pt x="47" y="666"/>
                  </a:lnTo>
                  <a:lnTo>
                    <a:pt x="42" y="668"/>
                  </a:lnTo>
                  <a:lnTo>
                    <a:pt x="36" y="671"/>
                  </a:lnTo>
                  <a:lnTo>
                    <a:pt x="30" y="67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76" name="Group 160">
            <a:extLst>
              <a:ext uri="{FF2B5EF4-FFF2-40B4-BE49-F238E27FC236}">
                <a16:creationId xmlns:a16="http://schemas.microsoft.com/office/drawing/2014/main" id="{C305CE6F-6029-4DBE-AE4F-DF20802F4196}"/>
              </a:ext>
            </a:extLst>
          </p:cNvPr>
          <p:cNvGrpSpPr>
            <a:grpSpLocks noChangeAspect="1"/>
          </p:cNvGrpSpPr>
          <p:nvPr/>
        </p:nvGrpSpPr>
        <p:grpSpPr>
          <a:xfrm>
            <a:off x="6186633" y="2186361"/>
            <a:ext cx="285619" cy="285619"/>
            <a:chOff x="4319588" y="3635375"/>
            <a:chExt cx="285750" cy="285750"/>
          </a:xfrm>
          <a:solidFill>
            <a:schemeClr val="bg2"/>
          </a:solidFill>
          <a:effectLst/>
        </p:grpSpPr>
        <p:sp>
          <p:nvSpPr>
            <p:cNvPr id="577" name="Freeform 199">
              <a:extLst>
                <a:ext uri="{FF2B5EF4-FFF2-40B4-BE49-F238E27FC236}">
                  <a16:creationId xmlns:a16="http://schemas.microsoft.com/office/drawing/2014/main" id="{FA775287-C6AE-4740-896F-C5698E38E67D}"/>
                </a:ext>
              </a:extLst>
            </p:cNvPr>
            <p:cNvSpPr>
              <a:spLocks/>
            </p:cNvSpPr>
            <p:nvPr/>
          </p:nvSpPr>
          <p:spPr bwMode="auto">
            <a:xfrm>
              <a:off x="4403725" y="3676650"/>
              <a:ext cx="117475" cy="33338"/>
            </a:xfrm>
            <a:custGeom>
              <a:avLst/>
              <a:gdLst>
                <a:gd name="T0" fmla="*/ 372 w 372"/>
                <a:gd name="T1" fmla="*/ 87 h 105"/>
                <a:gd name="T2" fmla="*/ 369 w 372"/>
                <a:gd name="T3" fmla="*/ 82 h 105"/>
                <a:gd name="T4" fmla="*/ 366 w 372"/>
                <a:gd name="T5" fmla="*/ 78 h 105"/>
                <a:gd name="T6" fmla="*/ 360 w 372"/>
                <a:gd name="T7" fmla="*/ 76 h 105"/>
                <a:gd name="T8" fmla="*/ 337 w 372"/>
                <a:gd name="T9" fmla="*/ 75 h 105"/>
                <a:gd name="T10" fmla="*/ 301 w 372"/>
                <a:gd name="T11" fmla="*/ 71 h 105"/>
                <a:gd name="T12" fmla="*/ 275 w 372"/>
                <a:gd name="T13" fmla="*/ 67 h 105"/>
                <a:gd name="T14" fmla="*/ 253 w 372"/>
                <a:gd name="T15" fmla="*/ 60 h 105"/>
                <a:gd name="T16" fmla="*/ 237 w 372"/>
                <a:gd name="T17" fmla="*/ 52 h 105"/>
                <a:gd name="T18" fmla="*/ 225 w 372"/>
                <a:gd name="T19" fmla="*/ 42 h 105"/>
                <a:gd name="T20" fmla="*/ 215 w 372"/>
                <a:gd name="T21" fmla="*/ 28 h 105"/>
                <a:gd name="T22" fmla="*/ 203 w 372"/>
                <a:gd name="T23" fmla="*/ 11 h 105"/>
                <a:gd name="T24" fmla="*/ 194 w 372"/>
                <a:gd name="T25" fmla="*/ 2 h 105"/>
                <a:gd name="T26" fmla="*/ 189 w 372"/>
                <a:gd name="T27" fmla="*/ 0 h 105"/>
                <a:gd name="T28" fmla="*/ 183 w 372"/>
                <a:gd name="T29" fmla="*/ 0 h 105"/>
                <a:gd name="T30" fmla="*/ 178 w 372"/>
                <a:gd name="T31" fmla="*/ 2 h 105"/>
                <a:gd name="T32" fmla="*/ 169 w 372"/>
                <a:gd name="T33" fmla="*/ 11 h 105"/>
                <a:gd name="T34" fmla="*/ 159 w 372"/>
                <a:gd name="T35" fmla="*/ 28 h 105"/>
                <a:gd name="T36" fmla="*/ 147 w 372"/>
                <a:gd name="T37" fmla="*/ 42 h 105"/>
                <a:gd name="T38" fmla="*/ 135 w 372"/>
                <a:gd name="T39" fmla="*/ 51 h 105"/>
                <a:gd name="T40" fmla="*/ 119 w 372"/>
                <a:gd name="T41" fmla="*/ 60 h 105"/>
                <a:gd name="T42" fmla="*/ 99 w 372"/>
                <a:gd name="T43" fmla="*/ 67 h 105"/>
                <a:gd name="T44" fmla="*/ 71 w 372"/>
                <a:gd name="T45" fmla="*/ 71 h 105"/>
                <a:gd name="T46" fmla="*/ 37 w 372"/>
                <a:gd name="T47" fmla="*/ 75 h 105"/>
                <a:gd name="T48" fmla="*/ 13 w 372"/>
                <a:gd name="T49" fmla="*/ 76 h 105"/>
                <a:gd name="T50" fmla="*/ 8 w 372"/>
                <a:gd name="T51" fmla="*/ 78 h 105"/>
                <a:gd name="T52" fmla="*/ 3 w 372"/>
                <a:gd name="T53" fmla="*/ 82 h 105"/>
                <a:gd name="T54" fmla="*/ 1 w 372"/>
                <a:gd name="T55" fmla="*/ 87 h 105"/>
                <a:gd name="T56" fmla="*/ 1 w 372"/>
                <a:gd name="T57" fmla="*/ 93 h 105"/>
                <a:gd name="T58" fmla="*/ 3 w 372"/>
                <a:gd name="T59" fmla="*/ 98 h 105"/>
                <a:gd name="T60" fmla="*/ 8 w 372"/>
                <a:gd name="T61" fmla="*/ 102 h 105"/>
                <a:gd name="T62" fmla="*/ 13 w 372"/>
                <a:gd name="T63" fmla="*/ 105 h 105"/>
                <a:gd name="T64" fmla="*/ 38 w 372"/>
                <a:gd name="T65" fmla="*/ 105 h 105"/>
                <a:gd name="T66" fmla="*/ 76 w 372"/>
                <a:gd name="T67" fmla="*/ 101 h 105"/>
                <a:gd name="T68" fmla="*/ 106 w 372"/>
                <a:gd name="T69" fmla="*/ 96 h 105"/>
                <a:gd name="T70" fmla="*/ 131 w 372"/>
                <a:gd name="T71" fmla="*/ 87 h 105"/>
                <a:gd name="T72" fmla="*/ 150 w 372"/>
                <a:gd name="T73" fmla="*/ 78 h 105"/>
                <a:gd name="T74" fmla="*/ 164 w 372"/>
                <a:gd name="T75" fmla="*/ 67 h 105"/>
                <a:gd name="T76" fmla="*/ 179 w 372"/>
                <a:gd name="T77" fmla="*/ 51 h 105"/>
                <a:gd name="T78" fmla="*/ 193 w 372"/>
                <a:gd name="T79" fmla="*/ 51 h 105"/>
                <a:gd name="T80" fmla="*/ 208 w 372"/>
                <a:gd name="T81" fmla="*/ 67 h 105"/>
                <a:gd name="T82" fmla="*/ 222 w 372"/>
                <a:gd name="T83" fmla="*/ 78 h 105"/>
                <a:gd name="T84" fmla="*/ 241 w 372"/>
                <a:gd name="T85" fmla="*/ 87 h 105"/>
                <a:gd name="T86" fmla="*/ 266 w 372"/>
                <a:gd name="T87" fmla="*/ 96 h 105"/>
                <a:gd name="T88" fmla="*/ 297 w 372"/>
                <a:gd name="T89" fmla="*/ 101 h 105"/>
                <a:gd name="T90" fmla="*/ 335 w 372"/>
                <a:gd name="T91" fmla="*/ 105 h 105"/>
                <a:gd name="T92" fmla="*/ 360 w 372"/>
                <a:gd name="T93" fmla="*/ 105 h 105"/>
                <a:gd name="T94" fmla="*/ 366 w 372"/>
                <a:gd name="T95" fmla="*/ 102 h 105"/>
                <a:gd name="T96" fmla="*/ 369 w 372"/>
                <a:gd name="T97" fmla="*/ 98 h 105"/>
                <a:gd name="T98" fmla="*/ 372 w 372"/>
                <a:gd name="T99"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105">
                  <a:moveTo>
                    <a:pt x="372" y="90"/>
                  </a:moveTo>
                  <a:lnTo>
                    <a:pt x="372" y="87"/>
                  </a:lnTo>
                  <a:lnTo>
                    <a:pt x="371" y="84"/>
                  </a:lnTo>
                  <a:lnTo>
                    <a:pt x="369" y="82"/>
                  </a:lnTo>
                  <a:lnTo>
                    <a:pt x="368" y="80"/>
                  </a:lnTo>
                  <a:lnTo>
                    <a:pt x="366" y="78"/>
                  </a:lnTo>
                  <a:lnTo>
                    <a:pt x="362" y="77"/>
                  </a:lnTo>
                  <a:lnTo>
                    <a:pt x="360" y="76"/>
                  </a:lnTo>
                  <a:lnTo>
                    <a:pt x="357" y="75"/>
                  </a:lnTo>
                  <a:lnTo>
                    <a:pt x="337" y="75"/>
                  </a:lnTo>
                  <a:lnTo>
                    <a:pt x="317" y="74"/>
                  </a:lnTo>
                  <a:lnTo>
                    <a:pt x="301" y="71"/>
                  </a:lnTo>
                  <a:lnTo>
                    <a:pt x="287" y="69"/>
                  </a:lnTo>
                  <a:lnTo>
                    <a:pt x="275" y="67"/>
                  </a:lnTo>
                  <a:lnTo>
                    <a:pt x="263" y="64"/>
                  </a:lnTo>
                  <a:lnTo>
                    <a:pt x="253" y="60"/>
                  </a:lnTo>
                  <a:lnTo>
                    <a:pt x="245" y="55"/>
                  </a:lnTo>
                  <a:lnTo>
                    <a:pt x="237" y="52"/>
                  </a:lnTo>
                  <a:lnTo>
                    <a:pt x="231" y="47"/>
                  </a:lnTo>
                  <a:lnTo>
                    <a:pt x="225" y="42"/>
                  </a:lnTo>
                  <a:lnTo>
                    <a:pt x="221" y="38"/>
                  </a:lnTo>
                  <a:lnTo>
                    <a:pt x="215" y="28"/>
                  </a:lnTo>
                  <a:lnTo>
                    <a:pt x="209" y="20"/>
                  </a:lnTo>
                  <a:lnTo>
                    <a:pt x="203" y="11"/>
                  </a:lnTo>
                  <a:lnTo>
                    <a:pt x="197" y="4"/>
                  </a:lnTo>
                  <a:lnTo>
                    <a:pt x="194" y="2"/>
                  </a:lnTo>
                  <a:lnTo>
                    <a:pt x="192" y="1"/>
                  </a:lnTo>
                  <a:lnTo>
                    <a:pt x="189" y="0"/>
                  </a:lnTo>
                  <a:lnTo>
                    <a:pt x="187" y="0"/>
                  </a:lnTo>
                  <a:lnTo>
                    <a:pt x="183" y="0"/>
                  </a:lnTo>
                  <a:lnTo>
                    <a:pt x="180" y="1"/>
                  </a:lnTo>
                  <a:lnTo>
                    <a:pt x="178" y="2"/>
                  </a:lnTo>
                  <a:lnTo>
                    <a:pt x="176" y="4"/>
                  </a:lnTo>
                  <a:lnTo>
                    <a:pt x="169" y="11"/>
                  </a:lnTo>
                  <a:lnTo>
                    <a:pt x="164" y="20"/>
                  </a:lnTo>
                  <a:lnTo>
                    <a:pt x="159" y="28"/>
                  </a:lnTo>
                  <a:lnTo>
                    <a:pt x="151" y="38"/>
                  </a:lnTo>
                  <a:lnTo>
                    <a:pt x="147" y="42"/>
                  </a:lnTo>
                  <a:lnTo>
                    <a:pt x="142" y="47"/>
                  </a:lnTo>
                  <a:lnTo>
                    <a:pt x="135" y="51"/>
                  </a:lnTo>
                  <a:lnTo>
                    <a:pt x="128" y="55"/>
                  </a:lnTo>
                  <a:lnTo>
                    <a:pt x="119" y="60"/>
                  </a:lnTo>
                  <a:lnTo>
                    <a:pt x="109" y="64"/>
                  </a:lnTo>
                  <a:lnTo>
                    <a:pt x="99" y="67"/>
                  </a:lnTo>
                  <a:lnTo>
                    <a:pt x="86" y="69"/>
                  </a:lnTo>
                  <a:lnTo>
                    <a:pt x="71" y="71"/>
                  </a:lnTo>
                  <a:lnTo>
                    <a:pt x="55" y="74"/>
                  </a:lnTo>
                  <a:lnTo>
                    <a:pt x="37" y="75"/>
                  </a:lnTo>
                  <a:lnTo>
                    <a:pt x="15" y="75"/>
                  </a:lnTo>
                  <a:lnTo>
                    <a:pt x="13" y="76"/>
                  </a:lnTo>
                  <a:lnTo>
                    <a:pt x="10" y="77"/>
                  </a:lnTo>
                  <a:lnTo>
                    <a:pt x="8" y="78"/>
                  </a:lnTo>
                  <a:lnTo>
                    <a:pt x="5" y="80"/>
                  </a:lnTo>
                  <a:lnTo>
                    <a:pt x="3" y="82"/>
                  </a:lnTo>
                  <a:lnTo>
                    <a:pt x="2" y="84"/>
                  </a:lnTo>
                  <a:lnTo>
                    <a:pt x="1" y="87"/>
                  </a:lnTo>
                  <a:lnTo>
                    <a:pt x="0" y="90"/>
                  </a:lnTo>
                  <a:lnTo>
                    <a:pt x="1" y="93"/>
                  </a:lnTo>
                  <a:lnTo>
                    <a:pt x="2" y="96"/>
                  </a:lnTo>
                  <a:lnTo>
                    <a:pt x="3" y="98"/>
                  </a:lnTo>
                  <a:lnTo>
                    <a:pt x="5" y="100"/>
                  </a:lnTo>
                  <a:lnTo>
                    <a:pt x="8" y="102"/>
                  </a:lnTo>
                  <a:lnTo>
                    <a:pt x="10" y="104"/>
                  </a:lnTo>
                  <a:lnTo>
                    <a:pt x="13" y="105"/>
                  </a:lnTo>
                  <a:lnTo>
                    <a:pt x="15" y="105"/>
                  </a:lnTo>
                  <a:lnTo>
                    <a:pt x="38" y="105"/>
                  </a:lnTo>
                  <a:lnTo>
                    <a:pt x="58" y="104"/>
                  </a:lnTo>
                  <a:lnTo>
                    <a:pt x="76" y="101"/>
                  </a:lnTo>
                  <a:lnTo>
                    <a:pt x="92" y="99"/>
                  </a:lnTo>
                  <a:lnTo>
                    <a:pt x="106" y="96"/>
                  </a:lnTo>
                  <a:lnTo>
                    <a:pt x="119" y="92"/>
                  </a:lnTo>
                  <a:lnTo>
                    <a:pt x="131" y="87"/>
                  </a:lnTo>
                  <a:lnTo>
                    <a:pt x="142" y="83"/>
                  </a:lnTo>
                  <a:lnTo>
                    <a:pt x="150" y="78"/>
                  </a:lnTo>
                  <a:lnTo>
                    <a:pt x="158" y="72"/>
                  </a:lnTo>
                  <a:lnTo>
                    <a:pt x="164" y="67"/>
                  </a:lnTo>
                  <a:lnTo>
                    <a:pt x="171" y="62"/>
                  </a:lnTo>
                  <a:lnTo>
                    <a:pt x="179" y="51"/>
                  </a:lnTo>
                  <a:lnTo>
                    <a:pt x="187" y="41"/>
                  </a:lnTo>
                  <a:lnTo>
                    <a:pt x="193" y="51"/>
                  </a:lnTo>
                  <a:lnTo>
                    <a:pt x="203" y="62"/>
                  </a:lnTo>
                  <a:lnTo>
                    <a:pt x="208" y="67"/>
                  </a:lnTo>
                  <a:lnTo>
                    <a:pt x="215" y="72"/>
                  </a:lnTo>
                  <a:lnTo>
                    <a:pt x="222" y="78"/>
                  </a:lnTo>
                  <a:lnTo>
                    <a:pt x="232" y="83"/>
                  </a:lnTo>
                  <a:lnTo>
                    <a:pt x="241" y="87"/>
                  </a:lnTo>
                  <a:lnTo>
                    <a:pt x="253" y="92"/>
                  </a:lnTo>
                  <a:lnTo>
                    <a:pt x="266" y="96"/>
                  </a:lnTo>
                  <a:lnTo>
                    <a:pt x="280" y="99"/>
                  </a:lnTo>
                  <a:lnTo>
                    <a:pt x="297" y="101"/>
                  </a:lnTo>
                  <a:lnTo>
                    <a:pt x="315" y="104"/>
                  </a:lnTo>
                  <a:lnTo>
                    <a:pt x="335" y="105"/>
                  </a:lnTo>
                  <a:lnTo>
                    <a:pt x="357" y="105"/>
                  </a:lnTo>
                  <a:lnTo>
                    <a:pt x="360" y="105"/>
                  </a:lnTo>
                  <a:lnTo>
                    <a:pt x="362" y="104"/>
                  </a:lnTo>
                  <a:lnTo>
                    <a:pt x="366" y="102"/>
                  </a:lnTo>
                  <a:lnTo>
                    <a:pt x="368" y="100"/>
                  </a:lnTo>
                  <a:lnTo>
                    <a:pt x="369" y="98"/>
                  </a:lnTo>
                  <a:lnTo>
                    <a:pt x="371" y="96"/>
                  </a:lnTo>
                  <a:lnTo>
                    <a:pt x="372" y="93"/>
                  </a:lnTo>
                  <a:lnTo>
                    <a:pt x="37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200">
              <a:extLst>
                <a:ext uri="{FF2B5EF4-FFF2-40B4-BE49-F238E27FC236}">
                  <a16:creationId xmlns:a16="http://schemas.microsoft.com/office/drawing/2014/main" id="{F2272EAF-799D-4CFE-A9BB-856B04279E0D}"/>
                </a:ext>
              </a:extLst>
            </p:cNvPr>
            <p:cNvSpPr>
              <a:spLocks noEditPoints="1"/>
            </p:cNvSpPr>
            <p:nvPr/>
          </p:nvSpPr>
          <p:spPr bwMode="auto">
            <a:xfrm>
              <a:off x="4319588" y="3635375"/>
              <a:ext cx="285750" cy="285750"/>
            </a:xfrm>
            <a:custGeom>
              <a:avLst/>
              <a:gdLst>
                <a:gd name="T0" fmla="*/ 37 w 902"/>
                <a:gd name="T1" fmla="*/ 751 h 901"/>
                <a:gd name="T2" fmla="*/ 74 w 902"/>
                <a:gd name="T3" fmla="*/ 691 h 901"/>
                <a:gd name="T4" fmla="*/ 365 w 902"/>
                <a:gd name="T5" fmla="*/ 607 h 901"/>
                <a:gd name="T6" fmla="*/ 452 w 902"/>
                <a:gd name="T7" fmla="*/ 636 h 901"/>
                <a:gd name="T8" fmla="*/ 540 w 902"/>
                <a:gd name="T9" fmla="*/ 607 h 901"/>
                <a:gd name="T10" fmla="*/ 828 w 902"/>
                <a:gd name="T11" fmla="*/ 691 h 901"/>
                <a:gd name="T12" fmla="*/ 865 w 902"/>
                <a:gd name="T13" fmla="*/ 751 h 901"/>
                <a:gd name="T14" fmla="*/ 751 w 902"/>
                <a:gd name="T15" fmla="*/ 354 h 901"/>
                <a:gd name="T16" fmla="*/ 707 w 902"/>
                <a:gd name="T17" fmla="*/ 391 h 901"/>
                <a:gd name="T18" fmla="*/ 738 w 902"/>
                <a:gd name="T19" fmla="*/ 314 h 901"/>
                <a:gd name="T20" fmla="*/ 555 w 902"/>
                <a:gd name="T21" fmla="*/ 568 h 901"/>
                <a:gd name="T22" fmla="*/ 546 w 902"/>
                <a:gd name="T23" fmla="*/ 569 h 901"/>
                <a:gd name="T24" fmla="*/ 504 w 902"/>
                <a:gd name="T25" fmla="*/ 592 h 901"/>
                <a:gd name="T26" fmla="*/ 432 w 902"/>
                <a:gd name="T27" fmla="*/ 604 h 901"/>
                <a:gd name="T28" fmla="*/ 360 w 902"/>
                <a:gd name="T29" fmla="*/ 570 h 901"/>
                <a:gd name="T30" fmla="*/ 291 w 902"/>
                <a:gd name="T31" fmla="*/ 493 h 901"/>
                <a:gd name="T32" fmla="*/ 277 w 902"/>
                <a:gd name="T33" fmla="*/ 417 h 901"/>
                <a:gd name="T34" fmla="*/ 226 w 902"/>
                <a:gd name="T35" fmla="*/ 390 h 901"/>
                <a:gd name="T36" fmla="*/ 222 w 902"/>
                <a:gd name="T37" fmla="*/ 343 h 901"/>
                <a:gd name="T38" fmla="*/ 222 w 902"/>
                <a:gd name="T39" fmla="*/ 167 h 901"/>
                <a:gd name="T40" fmla="*/ 266 w 902"/>
                <a:gd name="T41" fmla="*/ 86 h 901"/>
                <a:gd name="T42" fmla="*/ 336 w 902"/>
                <a:gd name="T43" fmla="*/ 46 h 901"/>
                <a:gd name="T44" fmla="*/ 434 w 902"/>
                <a:gd name="T45" fmla="*/ 30 h 901"/>
                <a:gd name="T46" fmla="*/ 541 w 902"/>
                <a:gd name="T47" fmla="*/ 38 h 901"/>
                <a:gd name="T48" fmla="*/ 619 w 902"/>
                <a:gd name="T49" fmla="*/ 73 h 901"/>
                <a:gd name="T50" fmla="*/ 667 w 902"/>
                <a:gd name="T51" fmla="*/ 128 h 901"/>
                <a:gd name="T52" fmla="*/ 662 w 902"/>
                <a:gd name="T53" fmla="*/ 282 h 901"/>
                <a:gd name="T54" fmla="*/ 663 w 902"/>
                <a:gd name="T55" fmla="*/ 411 h 901"/>
                <a:gd name="T56" fmla="*/ 707 w 902"/>
                <a:gd name="T57" fmla="*/ 421 h 901"/>
                <a:gd name="T58" fmla="*/ 714 w 902"/>
                <a:gd name="T59" fmla="*/ 461 h 901"/>
                <a:gd name="T60" fmla="*/ 667 w 902"/>
                <a:gd name="T61" fmla="*/ 481 h 901"/>
                <a:gd name="T62" fmla="*/ 437 w 902"/>
                <a:gd name="T63" fmla="*/ 466 h 901"/>
                <a:gd name="T64" fmla="*/ 407 w 902"/>
                <a:gd name="T65" fmla="*/ 490 h 901"/>
                <a:gd name="T66" fmla="*/ 425 w 902"/>
                <a:gd name="T67" fmla="*/ 524 h 901"/>
                <a:gd name="T68" fmla="*/ 537 w 902"/>
                <a:gd name="T69" fmla="*/ 511 h 901"/>
                <a:gd name="T70" fmla="*/ 713 w 902"/>
                <a:gd name="T71" fmla="*/ 499 h 901"/>
                <a:gd name="T72" fmla="*/ 749 w 902"/>
                <a:gd name="T73" fmla="*/ 460 h 901"/>
                <a:gd name="T74" fmla="*/ 769 w 902"/>
                <a:gd name="T75" fmla="*/ 386 h 901"/>
                <a:gd name="T76" fmla="*/ 781 w 902"/>
                <a:gd name="T77" fmla="*/ 331 h 901"/>
                <a:gd name="T78" fmla="*/ 754 w 902"/>
                <a:gd name="T79" fmla="*/ 288 h 901"/>
                <a:gd name="T80" fmla="*/ 707 w 902"/>
                <a:gd name="T81" fmla="*/ 270 h 901"/>
                <a:gd name="T82" fmla="*/ 710 w 902"/>
                <a:gd name="T83" fmla="*/ 160 h 901"/>
                <a:gd name="T84" fmla="*/ 676 w 902"/>
                <a:gd name="T85" fmla="*/ 85 h 901"/>
                <a:gd name="T86" fmla="*/ 605 w 902"/>
                <a:gd name="T87" fmla="*/ 29 h 901"/>
                <a:gd name="T88" fmla="*/ 504 w 902"/>
                <a:gd name="T89" fmla="*/ 2 h 901"/>
                <a:gd name="T90" fmla="*/ 383 w 902"/>
                <a:gd name="T91" fmla="*/ 4 h 901"/>
                <a:gd name="T92" fmla="*/ 285 w 902"/>
                <a:gd name="T93" fmla="*/ 35 h 901"/>
                <a:gd name="T94" fmla="*/ 219 w 902"/>
                <a:gd name="T95" fmla="*/ 96 h 901"/>
                <a:gd name="T96" fmla="*/ 190 w 902"/>
                <a:gd name="T97" fmla="*/ 179 h 901"/>
                <a:gd name="T98" fmla="*/ 193 w 902"/>
                <a:gd name="T99" fmla="*/ 332 h 901"/>
                <a:gd name="T100" fmla="*/ 200 w 902"/>
                <a:gd name="T101" fmla="*/ 405 h 901"/>
                <a:gd name="T102" fmla="*/ 248 w 902"/>
                <a:gd name="T103" fmla="*/ 455 h 901"/>
                <a:gd name="T104" fmla="*/ 294 w 902"/>
                <a:gd name="T105" fmla="*/ 550 h 901"/>
                <a:gd name="T106" fmla="*/ 63 w 902"/>
                <a:gd name="T107" fmla="*/ 661 h 901"/>
                <a:gd name="T108" fmla="*/ 12 w 902"/>
                <a:gd name="T109" fmla="*/ 730 h 901"/>
                <a:gd name="T110" fmla="*/ 902 w 902"/>
                <a:gd name="T111" fmla="*/ 901 h 901"/>
                <a:gd name="T112" fmla="*/ 885 w 902"/>
                <a:gd name="T113" fmla="*/ 719 h 901"/>
                <a:gd name="T114" fmla="*/ 828 w 902"/>
                <a:gd name="T115" fmla="*/ 65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1">
                  <a:moveTo>
                    <a:pt x="872" y="871"/>
                  </a:moveTo>
                  <a:lnTo>
                    <a:pt x="30" y="871"/>
                  </a:lnTo>
                  <a:lnTo>
                    <a:pt x="30" y="792"/>
                  </a:lnTo>
                  <a:lnTo>
                    <a:pt x="30" y="781"/>
                  </a:lnTo>
                  <a:lnTo>
                    <a:pt x="31" y="770"/>
                  </a:lnTo>
                  <a:lnTo>
                    <a:pt x="33" y="761"/>
                  </a:lnTo>
                  <a:lnTo>
                    <a:pt x="37" y="751"/>
                  </a:lnTo>
                  <a:lnTo>
                    <a:pt x="40" y="741"/>
                  </a:lnTo>
                  <a:lnTo>
                    <a:pt x="44" y="732"/>
                  </a:lnTo>
                  <a:lnTo>
                    <a:pt x="48" y="723"/>
                  </a:lnTo>
                  <a:lnTo>
                    <a:pt x="55" y="715"/>
                  </a:lnTo>
                  <a:lnTo>
                    <a:pt x="60" y="706"/>
                  </a:lnTo>
                  <a:lnTo>
                    <a:pt x="67" y="699"/>
                  </a:lnTo>
                  <a:lnTo>
                    <a:pt x="74" y="691"/>
                  </a:lnTo>
                  <a:lnTo>
                    <a:pt x="82" y="685"/>
                  </a:lnTo>
                  <a:lnTo>
                    <a:pt x="90" y="678"/>
                  </a:lnTo>
                  <a:lnTo>
                    <a:pt x="99" y="673"/>
                  </a:lnTo>
                  <a:lnTo>
                    <a:pt x="109" y="669"/>
                  </a:lnTo>
                  <a:lnTo>
                    <a:pt x="117" y="664"/>
                  </a:lnTo>
                  <a:lnTo>
                    <a:pt x="351" y="599"/>
                  </a:lnTo>
                  <a:lnTo>
                    <a:pt x="365" y="607"/>
                  </a:lnTo>
                  <a:lnTo>
                    <a:pt x="379" y="615"/>
                  </a:lnTo>
                  <a:lnTo>
                    <a:pt x="393" y="621"/>
                  </a:lnTo>
                  <a:lnTo>
                    <a:pt x="406" y="627"/>
                  </a:lnTo>
                  <a:lnTo>
                    <a:pt x="418" y="631"/>
                  </a:lnTo>
                  <a:lnTo>
                    <a:pt x="430" y="634"/>
                  </a:lnTo>
                  <a:lnTo>
                    <a:pt x="441" y="635"/>
                  </a:lnTo>
                  <a:lnTo>
                    <a:pt x="452" y="636"/>
                  </a:lnTo>
                  <a:lnTo>
                    <a:pt x="461" y="635"/>
                  </a:lnTo>
                  <a:lnTo>
                    <a:pt x="472" y="634"/>
                  </a:lnTo>
                  <a:lnTo>
                    <a:pt x="484" y="631"/>
                  </a:lnTo>
                  <a:lnTo>
                    <a:pt x="497" y="627"/>
                  </a:lnTo>
                  <a:lnTo>
                    <a:pt x="511" y="622"/>
                  </a:lnTo>
                  <a:lnTo>
                    <a:pt x="525" y="615"/>
                  </a:lnTo>
                  <a:lnTo>
                    <a:pt x="540" y="607"/>
                  </a:lnTo>
                  <a:lnTo>
                    <a:pt x="553" y="599"/>
                  </a:lnTo>
                  <a:lnTo>
                    <a:pt x="784" y="664"/>
                  </a:lnTo>
                  <a:lnTo>
                    <a:pt x="794" y="669"/>
                  </a:lnTo>
                  <a:lnTo>
                    <a:pt x="802" y="673"/>
                  </a:lnTo>
                  <a:lnTo>
                    <a:pt x="812" y="678"/>
                  </a:lnTo>
                  <a:lnTo>
                    <a:pt x="819" y="685"/>
                  </a:lnTo>
                  <a:lnTo>
                    <a:pt x="828" y="691"/>
                  </a:lnTo>
                  <a:lnTo>
                    <a:pt x="835" y="699"/>
                  </a:lnTo>
                  <a:lnTo>
                    <a:pt x="842" y="706"/>
                  </a:lnTo>
                  <a:lnTo>
                    <a:pt x="848" y="715"/>
                  </a:lnTo>
                  <a:lnTo>
                    <a:pt x="854" y="723"/>
                  </a:lnTo>
                  <a:lnTo>
                    <a:pt x="858" y="732"/>
                  </a:lnTo>
                  <a:lnTo>
                    <a:pt x="862" y="741"/>
                  </a:lnTo>
                  <a:lnTo>
                    <a:pt x="865" y="751"/>
                  </a:lnTo>
                  <a:lnTo>
                    <a:pt x="869" y="761"/>
                  </a:lnTo>
                  <a:lnTo>
                    <a:pt x="871" y="770"/>
                  </a:lnTo>
                  <a:lnTo>
                    <a:pt x="872" y="781"/>
                  </a:lnTo>
                  <a:lnTo>
                    <a:pt x="872" y="792"/>
                  </a:lnTo>
                  <a:lnTo>
                    <a:pt x="872" y="871"/>
                  </a:lnTo>
                  <a:close/>
                  <a:moveTo>
                    <a:pt x="752" y="345"/>
                  </a:moveTo>
                  <a:lnTo>
                    <a:pt x="751" y="354"/>
                  </a:lnTo>
                  <a:lnTo>
                    <a:pt x="749" y="362"/>
                  </a:lnTo>
                  <a:lnTo>
                    <a:pt x="744" y="369"/>
                  </a:lnTo>
                  <a:lnTo>
                    <a:pt x="738" y="377"/>
                  </a:lnTo>
                  <a:lnTo>
                    <a:pt x="731" y="382"/>
                  </a:lnTo>
                  <a:lnTo>
                    <a:pt x="724" y="387"/>
                  </a:lnTo>
                  <a:lnTo>
                    <a:pt x="715" y="390"/>
                  </a:lnTo>
                  <a:lnTo>
                    <a:pt x="707" y="391"/>
                  </a:lnTo>
                  <a:lnTo>
                    <a:pt x="692" y="391"/>
                  </a:lnTo>
                  <a:lnTo>
                    <a:pt x="692" y="300"/>
                  </a:lnTo>
                  <a:lnTo>
                    <a:pt x="707" y="300"/>
                  </a:lnTo>
                  <a:lnTo>
                    <a:pt x="715" y="301"/>
                  </a:lnTo>
                  <a:lnTo>
                    <a:pt x="724" y="304"/>
                  </a:lnTo>
                  <a:lnTo>
                    <a:pt x="731" y="308"/>
                  </a:lnTo>
                  <a:lnTo>
                    <a:pt x="738" y="314"/>
                  </a:lnTo>
                  <a:lnTo>
                    <a:pt x="744" y="321"/>
                  </a:lnTo>
                  <a:lnTo>
                    <a:pt x="749" y="329"/>
                  </a:lnTo>
                  <a:lnTo>
                    <a:pt x="751" y="336"/>
                  </a:lnTo>
                  <a:lnTo>
                    <a:pt x="752" y="345"/>
                  </a:lnTo>
                  <a:close/>
                  <a:moveTo>
                    <a:pt x="793" y="635"/>
                  </a:moveTo>
                  <a:lnTo>
                    <a:pt x="556" y="568"/>
                  </a:lnTo>
                  <a:lnTo>
                    <a:pt x="555" y="568"/>
                  </a:lnTo>
                  <a:lnTo>
                    <a:pt x="555" y="568"/>
                  </a:lnTo>
                  <a:lnTo>
                    <a:pt x="552" y="568"/>
                  </a:lnTo>
                  <a:lnTo>
                    <a:pt x="551" y="568"/>
                  </a:lnTo>
                  <a:lnTo>
                    <a:pt x="550" y="568"/>
                  </a:lnTo>
                  <a:lnTo>
                    <a:pt x="549" y="568"/>
                  </a:lnTo>
                  <a:lnTo>
                    <a:pt x="547" y="568"/>
                  </a:lnTo>
                  <a:lnTo>
                    <a:pt x="546" y="569"/>
                  </a:lnTo>
                  <a:lnTo>
                    <a:pt x="545" y="569"/>
                  </a:lnTo>
                  <a:lnTo>
                    <a:pt x="543" y="570"/>
                  </a:lnTo>
                  <a:lnTo>
                    <a:pt x="543" y="570"/>
                  </a:lnTo>
                  <a:lnTo>
                    <a:pt x="543" y="570"/>
                  </a:lnTo>
                  <a:lnTo>
                    <a:pt x="530" y="579"/>
                  </a:lnTo>
                  <a:lnTo>
                    <a:pt x="517" y="586"/>
                  </a:lnTo>
                  <a:lnTo>
                    <a:pt x="504" y="592"/>
                  </a:lnTo>
                  <a:lnTo>
                    <a:pt x="492" y="597"/>
                  </a:lnTo>
                  <a:lnTo>
                    <a:pt x="481" y="601"/>
                  </a:lnTo>
                  <a:lnTo>
                    <a:pt x="469" y="604"/>
                  </a:lnTo>
                  <a:lnTo>
                    <a:pt x="459" y="605"/>
                  </a:lnTo>
                  <a:lnTo>
                    <a:pt x="452" y="606"/>
                  </a:lnTo>
                  <a:lnTo>
                    <a:pt x="443" y="605"/>
                  </a:lnTo>
                  <a:lnTo>
                    <a:pt x="432" y="604"/>
                  </a:lnTo>
                  <a:lnTo>
                    <a:pt x="422" y="601"/>
                  </a:lnTo>
                  <a:lnTo>
                    <a:pt x="411" y="597"/>
                  </a:lnTo>
                  <a:lnTo>
                    <a:pt x="399" y="591"/>
                  </a:lnTo>
                  <a:lnTo>
                    <a:pt x="386" y="586"/>
                  </a:lnTo>
                  <a:lnTo>
                    <a:pt x="374" y="579"/>
                  </a:lnTo>
                  <a:lnTo>
                    <a:pt x="362" y="570"/>
                  </a:lnTo>
                  <a:lnTo>
                    <a:pt x="360" y="570"/>
                  </a:lnTo>
                  <a:lnTo>
                    <a:pt x="359" y="569"/>
                  </a:lnTo>
                  <a:lnTo>
                    <a:pt x="343" y="557"/>
                  </a:lnTo>
                  <a:lnTo>
                    <a:pt x="328" y="543"/>
                  </a:lnTo>
                  <a:lnTo>
                    <a:pt x="314" y="528"/>
                  </a:lnTo>
                  <a:lnTo>
                    <a:pt x="302" y="511"/>
                  </a:lnTo>
                  <a:lnTo>
                    <a:pt x="296" y="502"/>
                  </a:lnTo>
                  <a:lnTo>
                    <a:pt x="291" y="493"/>
                  </a:lnTo>
                  <a:lnTo>
                    <a:pt x="288" y="483"/>
                  </a:lnTo>
                  <a:lnTo>
                    <a:pt x="283" y="473"/>
                  </a:lnTo>
                  <a:lnTo>
                    <a:pt x="280" y="464"/>
                  </a:lnTo>
                  <a:lnTo>
                    <a:pt x="278" y="453"/>
                  </a:lnTo>
                  <a:lnTo>
                    <a:pt x="277" y="442"/>
                  </a:lnTo>
                  <a:lnTo>
                    <a:pt x="277" y="432"/>
                  </a:lnTo>
                  <a:lnTo>
                    <a:pt x="277" y="417"/>
                  </a:lnTo>
                  <a:lnTo>
                    <a:pt x="262" y="417"/>
                  </a:lnTo>
                  <a:lnTo>
                    <a:pt x="253" y="416"/>
                  </a:lnTo>
                  <a:lnTo>
                    <a:pt x="246" y="412"/>
                  </a:lnTo>
                  <a:lnTo>
                    <a:pt x="240" y="408"/>
                  </a:lnTo>
                  <a:lnTo>
                    <a:pt x="234" y="403"/>
                  </a:lnTo>
                  <a:lnTo>
                    <a:pt x="230" y="396"/>
                  </a:lnTo>
                  <a:lnTo>
                    <a:pt x="226" y="390"/>
                  </a:lnTo>
                  <a:lnTo>
                    <a:pt x="223" y="382"/>
                  </a:lnTo>
                  <a:lnTo>
                    <a:pt x="221" y="376"/>
                  </a:lnTo>
                  <a:lnTo>
                    <a:pt x="220" y="368"/>
                  </a:lnTo>
                  <a:lnTo>
                    <a:pt x="219" y="361"/>
                  </a:lnTo>
                  <a:lnTo>
                    <a:pt x="219" y="354"/>
                  </a:lnTo>
                  <a:lnTo>
                    <a:pt x="220" y="348"/>
                  </a:lnTo>
                  <a:lnTo>
                    <a:pt x="222" y="343"/>
                  </a:lnTo>
                  <a:lnTo>
                    <a:pt x="224" y="337"/>
                  </a:lnTo>
                  <a:lnTo>
                    <a:pt x="226" y="334"/>
                  </a:lnTo>
                  <a:lnTo>
                    <a:pt x="231" y="331"/>
                  </a:lnTo>
                  <a:lnTo>
                    <a:pt x="240" y="327"/>
                  </a:lnTo>
                  <a:lnTo>
                    <a:pt x="220" y="202"/>
                  </a:lnTo>
                  <a:lnTo>
                    <a:pt x="219" y="193"/>
                  </a:lnTo>
                  <a:lnTo>
                    <a:pt x="222" y="167"/>
                  </a:lnTo>
                  <a:lnTo>
                    <a:pt x="226" y="150"/>
                  </a:lnTo>
                  <a:lnTo>
                    <a:pt x="234" y="131"/>
                  </a:lnTo>
                  <a:lnTo>
                    <a:pt x="238" y="122"/>
                  </a:lnTo>
                  <a:lnTo>
                    <a:pt x="244" y="113"/>
                  </a:lnTo>
                  <a:lnTo>
                    <a:pt x="250" y="104"/>
                  </a:lnTo>
                  <a:lnTo>
                    <a:pt x="259" y="94"/>
                  </a:lnTo>
                  <a:lnTo>
                    <a:pt x="266" y="86"/>
                  </a:lnTo>
                  <a:lnTo>
                    <a:pt x="274" y="79"/>
                  </a:lnTo>
                  <a:lnTo>
                    <a:pt x="283" y="73"/>
                  </a:lnTo>
                  <a:lnTo>
                    <a:pt x="292" y="66"/>
                  </a:lnTo>
                  <a:lnTo>
                    <a:pt x="303" y="61"/>
                  </a:lnTo>
                  <a:lnTo>
                    <a:pt x="313" y="55"/>
                  </a:lnTo>
                  <a:lnTo>
                    <a:pt x="324" y="50"/>
                  </a:lnTo>
                  <a:lnTo>
                    <a:pt x="336" y="46"/>
                  </a:lnTo>
                  <a:lnTo>
                    <a:pt x="349" y="42"/>
                  </a:lnTo>
                  <a:lnTo>
                    <a:pt x="362" y="38"/>
                  </a:lnTo>
                  <a:lnTo>
                    <a:pt x="374" y="36"/>
                  </a:lnTo>
                  <a:lnTo>
                    <a:pt x="388" y="34"/>
                  </a:lnTo>
                  <a:lnTo>
                    <a:pt x="403" y="32"/>
                  </a:lnTo>
                  <a:lnTo>
                    <a:pt x="418" y="31"/>
                  </a:lnTo>
                  <a:lnTo>
                    <a:pt x="434" y="30"/>
                  </a:lnTo>
                  <a:lnTo>
                    <a:pt x="452" y="30"/>
                  </a:lnTo>
                  <a:lnTo>
                    <a:pt x="468" y="30"/>
                  </a:lnTo>
                  <a:lnTo>
                    <a:pt x="484" y="31"/>
                  </a:lnTo>
                  <a:lnTo>
                    <a:pt x="499" y="32"/>
                  </a:lnTo>
                  <a:lnTo>
                    <a:pt x="514" y="34"/>
                  </a:lnTo>
                  <a:lnTo>
                    <a:pt x="528" y="36"/>
                  </a:lnTo>
                  <a:lnTo>
                    <a:pt x="541" y="38"/>
                  </a:lnTo>
                  <a:lnTo>
                    <a:pt x="553" y="41"/>
                  </a:lnTo>
                  <a:lnTo>
                    <a:pt x="566" y="46"/>
                  </a:lnTo>
                  <a:lnTo>
                    <a:pt x="578" y="50"/>
                  </a:lnTo>
                  <a:lnTo>
                    <a:pt x="589" y="54"/>
                  </a:lnTo>
                  <a:lnTo>
                    <a:pt x="600" y="60"/>
                  </a:lnTo>
                  <a:lnTo>
                    <a:pt x="610" y="66"/>
                  </a:lnTo>
                  <a:lnTo>
                    <a:pt x="619" y="73"/>
                  </a:lnTo>
                  <a:lnTo>
                    <a:pt x="629" y="79"/>
                  </a:lnTo>
                  <a:lnTo>
                    <a:pt x="636" y="86"/>
                  </a:lnTo>
                  <a:lnTo>
                    <a:pt x="644" y="94"/>
                  </a:lnTo>
                  <a:lnTo>
                    <a:pt x="651" y="103"/>
                  </a:lnTo>
                  <a:lnTo>
                    <a:pt x="657" y="111"/>
                  </a:lnTo>
                  <a:lnTo>
                    <a:pt x="663" y="120"/>
                  </a:lnTo>
                  <a:lnTo>
                    <a:pt x="667" y="128"/>
                  </a:lnTo>
                  <a:lnTo>
                    <a:pt x="675" y="145"/>
                  </a:lnTo>
                  <a:lnTo>
                    <a:pt x="679" y="161"/>
                  </a:lnTo>
                  <a:lnTo>
                    <a:pt x="681" y="175"/>
                  </a:lnTo>
                  <a:lnTo>
                    <a:pt x="683" y="188"/>
                  </a:lnTo>
                  <a:lnTo>
                    <a:pt x="683" y="197"/>
                  </a:lnTo>
                  <a:lnTo>
                    <a:pt x="683" y="201"/>
                  </a:lnTo>
                  <a:lnTo>
                    <a:pt x="662" y="282"/>
                  </a:lnTo>
                  <a:lnTo>
                    <a:pt x="662" y="283"/>
                  </a:lnTo>
                  <a:lnTo>
                    <a:pt x="662" y="284"/>
                  </a:lnTo>
                  <a:lnTo>
                    <a:pt x="662" y="284"/>
                  </a:lnTo>
                  <a:lnTo>
                    <a:pt x="662" y="285"/>
                  </a:lnTo>
                  <a:lnTo>
                    <a:pt x="662" y="406"/>
                  </a:lnTo>
                  <a:lnTo>
                    <a:pt x="662" y="408"/>
                  </a:lnTo>
                  <a:lnTo>
                    <a:pt x="663" y="411"/>
                  </a:lnTo>
                  <a:lnTo>
                    <a:pt x="664" y="413"/>
                  </a:lnTo>
                  <a:lnTo>
                    <a:pt x="666" y="417"/>
                  </a:lnTo>
                  <a:lnTo>
                    <a:pt x="668" y="418"/>
                  </a:lnTo>
                  <a:lnTo>
                    <a:pt x="671" y="420"/>
                  </a:lnTo>
                  <a:lnTo>
                    <a:pt x="674" y="420"/>
                  </a:lnTo>
                  <a:lnTo>
                    <a:pt x="677" y="421"/>
                  </a:lnTo>
                  <a:lnTo>
                    <a:pt x="707" y="421"/>
                  </a:lnTo>
                  <a:lnTo>
                    <a:pt x="714" y="420"/>
                  </a:lnTo>
                  <a:lnTo>
                    <a:pt x="722" y="419"/>
                  </a:lnTo>
                  <a:lnTo>
                    <a:pt x="722" y="436"/>
                  </a:lnTo>
                  <a:lnTo>
                    <a:pt x="722" y="443"/>
                  </a:lnTo>
                  <a:lnTo>
                    <a:pt x="720" y="450"/>
                  </a:lnTo>
                  <a:lnTo>
                    <a:pt x="718" y="455"/>
                  </a:lnTo>
                  <a:lnTo>
                    <a:pt x="714" y="461"/>
                  </a:lnTo>
                  <a:lnTo>
                    <a:pt x="710" y="465"/>
                  </a:lnTo>
                  <a:lnTo>
                    <a:pt x="706" y="468"/>
                  </a:lnTo>
                  <a:lnTo>
                    <a:pt x="701" y="471"/>
                  </a:lnTo>
                  <a:lnTo>
                    <a:pt x="696" y="473"/>
                  </a:lnTo>
                  <a:lnTo>
                    <a:pt x="685" y="478"/>
                  </a:lnTo>
                  <a:lnTo>
                    <a:pt x="676" y="480"/>
                  </a:lnTo>
                  <a:lnTo>
                    <a:pt x="667" y="481"/>
                  </a:lnTo>
                  <a:lnTo>
                    <a:pt x="660" y="481"/>
                  </a:lnTo>
                  <a:lnTo>
                    <a:pt x="537" y="481"/>
                  </a:lnTo>
                  <a:lnTo>
                    <a:pt x="533" y="475"/>
                  </a:lnTo>
                  <a:lnTo>
                    <a:pt x="527" y="470"/>
                  </a:lnTo>
                  <a:lnTo>
                    <a:pt x="519" y="467"/>
                  </a:lnTo>
                  <a:lnTo>
                    <a:pt x="512" y="466"/>
                  </a:lnTo>
                  <a:lnTo>
                    <a:pt x="437" y="466"/>
                  </a:lnTo>
                  <a:lnTo>
                    <a:pt x="430" y="466"/>
                  </a:lnTo>
                  <a:lnTo>
                    <a:pt x="425" y="468"/>
                  </a:lnTo>
                  <a:lnTo>
                    <a:pt x="419" y="471"/>
                  </a:lnTo>
                  <a:lnTo>
                    <a:pt x="415" y="475"/>
                  </a:lnTo>
                  <a:lnTo>
                    <a:pt x="411" y="479"/>
                  </a:lnTo>
                  <a:lnTo>
                    <a:pt x="409" y="484"/>
                  </a:lnTo>
                  <a:lnTo>
                    <a:pt x="407" y="490"/>
                  </a:lnTo>
                  <a:lnTo>
                    <a:pt x="407" y="496"/>
                  </a:lnTo>
                  <a:lnTo>
                    <a:pt x="407" y="501"/>
                  </a:lnTo>
                  <a:lnTo>
                    <a:pt x="409" y="508"/>
                  </a:lnTo>
                  <a:lnTo>
                    <a:pt x="411" y="512"/>
                  </a:lnTo>
                  <a:lnTo>
                    <a:pt x="415" y="517"/>
                  </a:lnTo>
                  <a:lnTo>
                    <a:pt x="419" y="521"/>
                  </a:lnTo>
                  <a:lnTo>
                    <a:pt x="425" y="524"/>
                  </a:lnTo>
                  <a:lnTo>
                    <a:pt x="430" y="525"/>
                  </a:lnTo>
                  <a:lnTo>
                    <a:pt x="437" y="526"/>
                  </a:lnTo>
                  <a:lnTo>
                    <a:pt x="512" y="526"/>
                  </a:lnTo>
                  <a:lnTo>
                    <a:pt x="519" y="525"/>
                  </a:lnTo>
                  <a:lnTo>
                    <a:pt x="527" y="522"/>
                  </a:lnTo>
                  <a:lnTo>
                    <a:pt x="533" y="516"/>
                  </a:lnTo>
                  <a:lnTo>
                    <a:pt x="537" y="511"/>
                  </a:lnTo>
                  <a:lnTo>
                    <a:pt x="660" y="511"/>
                  </a:lnTo>
                  <a:lnTo>
                    <a:pt x="670" y="510"/>
                  </a:lnTo>
                  <a:lnTo>
                    <a:pt x="680" y="509"/>
                  </a:lnTo>
                  <a:lnTo>
                    <a:pt x="690" y="508"/>
                  </a:lnTo>
                  <a:lnTo>
                    <a:pt x="698" y="506"/>
                  </a:lnTo>
                  <a:lnTo>
                    <a:pt x="706" y="502"/>
                  </a:lnTo>
                  <a:lnTo>
                    <a:pt x="713" y="499"/>
                  </a:lnTo>
                  <a:lnTo>
                    <a:pt x="721" y="495"/>
                  </a:lnTo>
                  <a:lnTo>
                    <a:pt x="727" y="491"/>
                  </a:lnTo>
                  <a:lnTo>
                    <a:pt x="733" y="485"/>
                  </a:lnTo>
                  <a:lnTo>
                    <a:pt x="738" y="480"/>
                  </a:lnTo>
                  <a:lnTo>
                    <a:pt x="742" y="473"/>
                  </a:lnTo>
                  <a:lnTo>
                    <a:pt x="745" y="467"/>
                  </a:lnTo>
                  <a:lnTo>
                    <a:pt x="749" y="460"/>
                  </a:lnTo>
                  <a:lnTo>
                    <a:pt x="751" y="452"/>
                  </a:lnTo>
                  <a:lnTo>
                    <a:pt x="752" y="443"/>
                  </a:lnTo>
                  <a:lnTo>
                    <a:pt x="752" y="436"/>
                  </a:lnTo>
                  <a:lnTo>
                    <a:pt x="752" y="404"/>
                  </a:lnTo>
                  <a:lnTo>
                    <a:pt x="758" y="398"/>
                  </a:lnTo>
                  <a:lnTo>
                    <a:pt x="765" y="392"/>
                  </a:lnTo>
                  <a:lnTo>
                    <a:pt x="769" y="386"/>
                  </a:lnTo>
                  <a:lnTo>
                    <a:pt x="773" y="378"/>
                  </a:lnTo>
                  <a:lnTo>
                    <a:pt x="778" y="371"/>
                  </a:lnTo>
                  <a:lnTo>
                    <a:pt x="780" y="362"/>
                  </a:lnTo>
                  <a:lnTo>
                    <a:pt x="782" y="354"/>
                  </a:lnTo>
                  <a:lnTo>
                    <a:pt x="782" y="346"/>
                  </a:lnTo>
                  <a:lnTo>
                    <a:pt x="782" y="338"/>
                  </a:lnTo>
                  <a:lnTo>
                    <a:pt x="781" y="331"/>
                  </a:lnTo>
                  <a:lnTo>
                    <a:pt x="779" y="323"/>
                  </a:lnTo>
                  <a:lnTo>
                    <a:pt x="776" y="317"/>
                  </a:lnTo>
                  <a:lnTo>
                    <a:pt x="772" y="311"/>
                  </a:lnTo>
                  <a:lnTo>
                    <a:pt x="769" y="304"/>
                  </a:lnTo>
                  <a:lnTo>
                    <a:pt x="765" y="298"/>
                  </a:lnTo>
                  <a:lnTo>
                    <a:pt x="759" y="292"/>
                  </a:lnTo>
                  <a:lnTo>
                    <a:pt x="754" y="288"/>
                  </a:lnTo>
                  <a:lnTo>
                    <a:pt x="749" y="284"/>
                  </a:lnTo>
                  <a:lnTo>
                    <a:pt x="742" y="279"/>
                  </a:lnTo>
                  <a:lnTo>
                    <a:pt x="736" y="276"/>
                  </a:lnTo>
                  <a:lnTo>
                    <a:pt x="728" y="274"/>
                  </a:lnTo>
                  <a:lnTo>
                    <a:pt x="722" y="272"/>
                  </a:lnTo>
                  <a:lnTo>
                    <a:pt x="714" y="271"/>
                  </a:lnTo>
                  <a:lnTo>
                    <a:pt x="707" y="270"/>
                  </a:lnTo>
                  <a:lnTo>
                    <a:pt x="696" y="270"/>
                  </a:lnTo>
                  <a:lnTo>
                    <a:pt x="712" y="208"/>
                  </a:lnTo>
                  <a:lnTo>
                    <a:pt x="713" y="205"/>
                  </a:lnTo>
                  <a:lnTo>
                    <a:pt x="713" y="201"/>
                  </a:lnTo>
                  <a:lnTo>
                    <a:pt x="713" y="192"/>
                  </a:lnTo>
                  <a:lnTo>
                    <a:pt x="712" y="178"/>
                  </a:lnTo>
                  <a:lnTo>
                    <a:pt x="710" y="160"/>
                  </a:lnTo>
                  <a:lnTo>
                    <a:pt x="708" y="151"/>
                  </a:lnTo>
                  <a:lnTo>
                    <a:pt x="705" y="140"/>
                  </a:lnTo>
                  <a:lnTo>
                    <a:pt x="700" y="129"/>
                  </a:lnTo>
                  <a:lnTo>
                    <a:pt x="696" y="119"/>
                  </a:lnTo>
                  <a:lnTo>
                    <a:pt x="691" y="108"/>
                  </a:lnTo>
                  <a:lnTo>
                    <a:pt x="683" y="96"/>
                  </a:lnTo>
                  <a:lnTo>
                    <a:pt x="676" y="85"/>
                  </a:lnTo>
                  <a:lnTo>
                    <a:pt x="666" y="74"/>
                  </a:lnTo>
                  <a:lnTo>
                    <a:pt x="657" y="65"/>
                  </a:lnTo>
                  <a:lnTo>
                    <a:pt x="649" y="56"/>
                  </a:lnTo>
                  <a:lnTo>
                    <a:pt x="638" y="49"/>
                  </a:lnTo>
                  <a:lnTo>
                    <a:pt x="627" y="41"/>
                  </a:lnTo>
                  <a:lnTo>
                    <a:pt x="617" y="35"/>
                  </a:lnTo>
                  <a:lnTo>
                    <a:pt x="605" y="29"/>
                  </a:lnTo>
                  <a:lnTo>
                    <a:pt x="592" y="23"/>
                  </a:lnTo>
                  <a:lnTo>
                    <a:pt x="579" y="18"/>
                  </a:lnTo>
                  <a:lnTo>
                    <a:pt x="565" y="14"/>
                  </a:lnTo>
                  <a:lnTo>
                    <a:pt x="550" y="10"/>
                  </a:lnTo>
                  <a:lnTo>
                    <a:pt x="535" y="7"/>
                  </a:lnTo>
                  <a:lnTo>
                    <a:pt x="520" y="4"/>
                  </a:lnTo>
                  <a:lnTo>
                    <a:pt x="504" y="2"/>
                  </a:lnTo>
                  <a:lnTo>
                    <a:pt x="487" y="1"/>
                  </a:lnTo>
                  <a:lnTo>
                    <a:pt x="469" y="0"/>
                  </a:lnTo>
                  <a:lnTo>
                    <a:pt x="452" y="0"/>
                  </a:lnTo>
                  <a:lnTo>
                    <a:pt x="433" y="0"/>
                  </a:lnTo>
                  <a:lnTo>
                    <a:pt x="415" y="1"/>
                  </a:lnTo>
                  <a:lnTo>
                    <a:pt x="399" y="2"/>
                  </a:lnTo>
                  <a:lnTo>
                    <a:pt x="383" y="4"/>
                  </a:lnTo>
                  <a:lnTo>
                    <a:pt x="367" y="7"/>
                  </a:lnTo>
                  <a:lnTo>
                    <a:pt x="352" y="10"/>
                  </a:lnTo>
                  <a:lnTo>
                    <a:pt x="337" y="14"/>
                  </a:lnTo>
                  <a:lnTo>
                    <a:pt x="324" y="18"/>
                  </a:lnTo>
                  <a:lnTo>
                    <a:pt x="310" y="23"/>
                  </a:lnTo>
                  <a:lnTo>
                    <a:pt x="298" y="29"/>
                  </a:lnTo>
                  <a:lnTo>
                    <a:pt x="285" y="35"/>
                  </a:lnTo>
                  <a:lnTo>
                    <a:pt x="275" y="41"/>
                  </a:lnTo>
                  <a:lnTo>
                    <a:pt x="264" y="49"/>
                  </a:lnTo>
                  <a:lnTo>
                    <a:pt x="254" y="56"/>
                  </a:lnTo>
                  <a:lnTo>
                    <a:pt x="245" y="65"/>
                  </a:lnTo>
                  <a:lnTo>
                    <a:pt x="236" y="74"/>
                  </a:lnTo>
                  <a:lnTo>
                    <a:pt x="226" y="85"/>
                  </a:lnTo>
                  <a:lnTo>
                    <a:pt x="219" y="96"/>
                  </a:lnTo>
                  <a:lnTo>
                    <a:pt x="213" y="108"/>
                  </a:lnTo>
                  <a:lnTo>
                    <a:pt x="206" y="119"/>
                  </a:lnTo>
                  <a:lnTo>
                    <a:pt x="202" y="129"/>
                  </a:lnTo>
                  <a:lnTo>
                    <a:pt x="198" y="141"/>
                  </a:lnTo>
                  <a:lnTo>
                    <a:pt x="195" y="151"/>
                  </a:lnTo>
                  <a:lnTo>
                    <a:pt x="193" y="160"/>
                  </a:lnTo>
                  <a:lnTo>
                    <a:pt x="190" y="179"/>
                  </a:lnTo>
                  <a:lnTo>
                    <a:pt x="189" y="193"/>
                  </a:lnTo>
                  <a:lnTo>
                    <a:pt x="190" y="202"/>
                  </a:lnTo>
                  <a:lnTo>
                    <a:pt x="190" y="207"/>
                  </a:lnTo>
                  <a:lnTo>
                    <a:pt x="207" y="311"/>
                  </a:lnTo>
                  <a:lnTo>
                    <a:pt x="202" y="317"/>
                  </a:lnTo>
                  <a:lnTo>
                    <a:pt x="196" y="324"/>
                  </a:lnTo>
                  <a:lnTo>
                    <a:pt x="193" y="332"/>
                  </a:lnTo>
                  <a:lnTo>
                    <a:pt x="191" y="342"/>
                  </a:lnTo>
                  <a:lnTo>
                    <a:pt x="189" y="350"/>
                  </a:lnTo>
                  <a:lnTo>
                    <a:pt x="189" y="361"/>
                  </a:lnTo>
                  <a:lnTo>
                    <a:pt x="190" y="372"/>
                  </a:lnTo>
                  <a:lnTo>
                    <a:pt x="192" y="382"/>
                  </a:lnTo>
                  <a:lnTo>
                    <a:pt x="195" y="394"/>
                  </a:lnTo>
                  <a:lnTo>
                    <a:pt x="200" y="405"/>
                  </a:lnTo>
                  <a:lnTo>
                    <a:pt x="206" y="416"/>
                  </a:lnTo>
                  <a:lnTo>
                    <a:pt x="213" y="424"/>
                  </a:lnTo>
                  <a:lnTo>
                    <a:pt x="220" y="432"/>
                  </a:lnTo>
                  <a:lnTo>
                    <a:pt x="229" y="437"/>
                  </a:lnTo>
                  <a:lnTo>
                    <a:pt x="237" y="442"/>
                  </a:lnTo>
                  <a:lnTo>
                    <a:pt x="247" y="446"/>
                  </a:lnTo>
                  <a:lnTo>
                    <a:pt x="248" y="455"/>
                  </a:lnTo>
                  <a:lnTo>
                    <a:pt x="250" y="465"/>
                  </a:lnTo>
                  <a:lnTo>
                    <a:pt x="252" y="475"/>
                  </a:lnTo>
                  <a:lnTo>
                    <a:pt x="255" y="483"/>
                  </a:lnTo>
                  <a:lnTo>
                    <a:pt x="262" y="501"/>
                  </a:lnTo>
                  <a:lnTo>
                    <a:pt x="271" y="519"/>
                  </a:lnTo>
                  <a:lnTo>
                    <a:pt x="282" y="535"/>
                  </a:lnTo>
                  <a:lnTo>
                    <a:pt x="294" y="550"/>
                  </a:lnTo>
                  <a:lnTo>
                    <a:pt x="307" y="564"/>
                  </a:lnTo>
                  <a:lnTo>
                    <a:pt x="321" y="576"/>
                  </a:lnTo>
                  <a:lnTo>
                    <a:pt x="109" y="635"/>
                  </a:lnTo>
                  <a:lnTo>
                    <a:pt x="97" y="641"/>
                  </a:lnTo>
                  <a:lnTo>
                    <a:pt x="85" y="646"/>
                  </a:lnTo>
                  <a:lnTo>
                    <a:pt x="74" y="654"/>
                  </a:lnTo>
                  <a:lnTo>
                    <a:pt x="63" y="661"/>
                  </a:lnTo>
                  <a:lnTo>
                    <a:pt x="55" y="669"/>
                  </a:lnTo>
                  <a:lnTo>
                    <a:pt x="45" y="677"/>
                  </a:lnTo>
                  <a:lnTo>
                    <a:pt x="38" y="687"/>
                  </a:lnTo>
                  <a:lnTo>
                    <a:pt x="30" y="698"/>
                  </a:lnTo>
                  <a:lnTo>
                    <a:pt x="23" y="707"/>
                  </a:lnTo>
                  <a:lnTo>
                    <a:pt x="17" y="719"/>
                  </a:lnTo>
                  <a:lnTo>
                    <a:pt x="12" y="730"/>
                  </a:lnTo>
                  <a:lnTo>
                    <a:pt x="8" y="741"/>
                  </a:lnTo>
                  <a:lnTo>
                    <a:pt x="5" y="754"/>
                  </a:lnTo>
                  <a:lnTo>
                    <a:pt x="2" y="766"/>
                  </a:lnTo>
                  <a:lnTo>
                    <a:pt x="0" y="779"/>
                  </a:lnTo>
                  <a:lnTo>
                    <a:pt x="0" y="792"/>
                  </a:lnTo>
                  <a:lnTo>
                    <a:pt x="0" y="901"/>
                  </a:lnTo>
                  <a:lnTo>
                    <a:pt x="902" y="901"/>
                  </a:lnTo>
                  <a:lnTo>
                    <a:pt x="902" y="792"/>
                  </a:lnTo>
                  <a:lnTo>
                    <a:pt x="902" y="779"/>
                  </a:lnTo>
                  <a:lnTo>
                    <a:pt x="901" y="766"/>
                  </a:lnTo>
                  <a:lnTo>
                    <a:pt x="898" y="754"/>
                  </a:lnTo>
                  <a:lnTo>
                    <a:pt x="894" y="741"/>
                  </a:lnTo>
                  <a:lnTo>
                    <a:pt x="890" y="730"/>
                  </a:lnTo>
                  <a:lnTo>
                    <a:pt x="885" y="719"/>
                  </a:lnTo>
                  <a:lnTo>
                    <a:pt x="879" y="707"/>
                  </a:lnTo>
                  <a:lnTo>
                    <a:pt x="872" y="698"/>
                  </a:lnTo>
                  <a:lnTo>
                    <a:pt x="864" y="687"/>
                  </a:lnTo>
                  <a:lnTo>
                    <a:pt x="857" y="677"/>
                  </a:lnTo>
                  <a:lnTo>
                    <a:pt x="847" y="669"/>
                  </a:lnTo>
                  <a:lnTo>
                    <a:pt x="838" y="661"/>
                  </a:lnTo>
                  <a:lnTo>
                    <a:pt x="828" y="654"/>
                  </a:lnTo>
                  <a:lnTo>
                    <a:pt x="816" y="646"/>
                  </a:lnTo>
                  <a:lnTo>
                    <a:pt x="805" y="641"/>
                  </a:lnTo>
                  <a:lnTo>
                    <a:pt x="79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201">
              <a:extLst>
                <a:ext uri="{FF2B5EF4-FFF2-40B4-BE49-F238E27FC236}">
                  <a16:creationId xmlns:a16="http://schemas.microsoft.com/office/drawing/2014/main" id="{D9EFF8BC-58A2-4C87-A569-71AC2849FF76}"/>
                </a:ext>
              </a:extLst>
            </p:cNvPr>
            <p:cNvSpPr>
              <a:spLocks/>
            </p:cNvSpPr>
            <p:nvPr/>
          </p:nvSpPr>
          <p:spPr bwMode="auto">
            <a:xfrm>
              <a:off x="4421188" y="3730625"/>
              <a:ext cx="33338" cy="15875"/>
            </a:xfrm>
            <a:custGeom>
              <a:avLst/>
              <a:gdLst>
                <a:gd name="T0" fmla="*/ 18 w 106"/>
                <a:gd name="T1" fmla="*/ 48 h 49"/>
                <a:gd name="T2" fmla="*/ 23 w 106"/>
                <a:gd name="T3" fmla="*/ 46 h 49"/>
                <a:gd name="T4" fmla="*/ 28 w 106"/>
                <a:gd name="T5" fmla="*/ 42 h 49"/>
                <a:gd name="T6" fmla="*/ 30 w 106"/>
                <a:gd name="T7" fmla="*/ 36 h 49"/>
                <a:gd name="T8" fmla="*/ 31 w 106"/>
                <a:gd name="T9" fmla="*/ 32 h 49"/>
                <a:gd name="T10" fmla="*/ 38 w 106"/>
                <a:gd name="T11" fmla="*/ 30 h 49"/>
                <a:gd name="T12" fmla="*/ 54 w 106"/>
                <a:gd name="T13" fmla="*/ 30 h 49"/>
                <a:gd name="T14" fmla="*/ 69 w 106"/>
                <a:gd name="T15" fmla="*/ 30 h 49"/>
                <a:gd name="T16" fmla="*/ 76 w 106"/>
                <a:gd name="T17" fmla="*/ 31 h 49"/>
                <a:gd name="T18" fmla="*/ 77 w 106"/>
                <a:gd name="T19" fmla="*/ 36 h 49"/>
                <a:gd name="T20" fmla="*/ 79 w 106"/>
                <a:gd name="T21" fmla="*/ 42 h 49"/>
                <a:gd name="T22" fmla="*/ 82 w 106"/>
                <a:gd name="T23" fmla="*/ 46 h 49"/>
                <a:gd name="T24" fmla="*/ 88 w 106"/>
                <a:gd name="T25" fmla="*/ 48 h 49"/>
                <a:gd name="T26" fmla="*/ 94 w 106"/>
                <a:gd name="T27" fmla="*/ 48 h 49"/>
                <a:gd name="T28" fmla="*/ 100 w 106"/>
                <a:gd name="T29" fmla="*/ 46 h 49"/>
                <a:gd name="T30" fmla="*/ 104 w 106"/>
                <a:gd name="T31" fmla="*/ 42 h 49"/>
                <a:gd name="T32" fmla="*/ 106 w 106"/>
                <a:gd name="T33" fmla="*/ 36 h 49"/>
                <a:gd name="T34" fmla="*/ 106 w 106"/>
                <a:gd name="T35" fmla="*/ 27 h 49"/>
                <a:gd name="T36" fmla="*/ 102 w 106"/>
                <a:gd name="T37" fmla="*/ 14 h 49"/>
                <a:gd name="T38" fmla="*/ 93 w 106"/>
                <a:gd name="T39" fmla="*/ 6 h 49"/>
                <a:gd name="T40" fmla="*/ 85 w 106"/>
                <a:gd name="T41" fmla="*/ 2 h 49"/>
                <a:gd name="T42" fmla="*/ 69 w 106"/>
                <a:gd name="T43" fmla="*/ 0 h 49"/>
                <a:gd name="T44" fmla="*/ 54 w 106"/>
                <a:gd name="T45" fmla="*/ 0 h 49"/>
                <a:gd name="T46" fmla="*/ 37 w 106"/>
                <a:gd name="T47" fmla="*/ 0 h 49"/>
                <a:gd name="T48" fmla="*/ 22 w 106"/>
                <a:gd name="T49" fmla="*/ 2 h 49"/>
                <a:gd name="T50" fmla="*/ 14 w 106"/>
                <a:gd name="T51" fmla="*/ 6 h 49"/>
                <a:gd name="T52" fmla="*/ 5 w 106"/>
                <a:gd name="T53" fmla="*/ 14 h 49"/>
                <a:gd name="T54" fmla="*/ 1 w 106"/>
                <a:gd name="T55" fmla="*/ 27 h 49"/>
                <a:gd name="T56" fmla="*/ 1 w 106"/>
                <a:gd name="T57" fmla="*/ 36 h 49"/>
                <a:gd name="T58" fmla="*/ 3 w 106"/>
                <a:gd name="T59" fmla="*/ 42 h 49"/>
                <a:gd name="T60" fmla="*/ 7 w 106"/>
                <a:gd name="T61" fmla="*/ 46 h 49"/>
                <a:gd name="T62" fmla="*/ 13 w 106"/>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16" y="48"/>
                  </a:moveTo>
                  <a:lnTo>
                    <a:pt x="18" y="48"/>
                  </a:lnTo>
                  <a:lnTo>
                    <a:pt x="21" y="47"/>
                  </a:lnTo>
                  <a:lnTo>
                    <a:pt x="23" y="46"/>
                  </a:lnTo>
                  <a:lnTo>
                    <a:pt x="26" y="44"/>
                  </a:lnTo>
                  <a:lnTo>
                    <a:pt x="28" y="42"/>
                  </a:lnTo>
                  <a:lnTo>
                    <a:pt x="29" y="40"/>
                  </a:lnTo>
                  <a:lnTo>
                    <a:pt x="30" y="36"/>
                  </a:lnTo>
                  <a:lnTo>
                    <a:pt x="31" y="34"/>
                  </a:lnTo>
                  <a:lnTo>
                    <a:pt x="31" y="32"/>
                  </a:lnTo>
                  <a:lnTo>
                    <a:pt x="31" y="31"/>
                  </a:lnTo>
                  <a:lnTo>
                    <a:pt x="38" y="30"/>
                  </a:lnTo>
                  <a:lnTo>
                    <a:pt x="48" y="30"/>
                  </a:lnTo>
                  <a:lnTo>
                    <a:pt x="54" y="30"/>
                  </a:lnTo>
                  <a:lnTo>
                    <a:pt x="59" y="30"/>
                  </a:lnTo>
                  <a:lnTo>
                    <a:pt x="69" y="30"/>
                  </a:lnTo>
                  <a:lnTo>
                    <a:pt x="76" y="30"/>
                  </a:lnTo>
                  <a:lnTo>
                    <a:pt x="76" y="31"/>
                  </a:lnTo>
                  <a:lnTo>
                    <a:pt x="76" y="34"/>
                  </a:lnTo>
                  <a:lnTo>
                    <a:pt x="77" y="36"/>
                  </a:lnTo>
                  <a:lnTo>
                    <a:pt x="77" y="40"/>
                  </a:lnTo>
                  <a:lnTo>
                    <a:pt x="79" y="42"/>
                  </a:lnTo>
                  <a:lnTo>
                    <a:pt x="80" y="44"/>
                  </a:lnTo>
                  <a:lnTo>
                    <a:pt x="82" y="46"/>
                  </a:lnTo>
                  <a:lnTo>
                    <a:pt x="86" y="47"/>
                  </a:lnTo>
                  <a:lnTo>
                    <a:pt x="88" y="48"/>
                  </a:lnTo>
                  <a:lnTo>
                    <a:pt x="91" y="49"/>
                  </a:lnTo>
                  <a:lnTo>
                    <a:pt x="94" y="48"/>
                  </a:lnTo>
                  <a:lnTo>
                    <a:pt x="97" y="47"/>
                  </a:lnTo>
                  <a:lnTo>
                    <a:pt x="100" y="46"/>
                  </a:lnTo>
                  <a:lnTo>
                    <a:pt x="102" y="44"/>
                  </a:lnTo>
                  <a:lnTo>
                    <a:pt x="104" y="42"/>
                  </a:lnTo>
                  <a:lnTo>
                    <a:pt x="105" y="40"/>
                  </a:lnTo>
                  <a:lnTo>
                    <a:pt x="106" y="36"/>
                  </a:lnTo>
                  <a:lnTo>
                    <a:pt x="106" y="34"/>
                  </a:lnTo>
                  <a:lnTo>
                    <a:pt x="106" y="27"/>
                  </a:lnTo>
                  <a:lnTo>
                    <a:pt x="104" y="20"/>
                  </a:lnTo>
                  <a:lnTo>
                    <a:pt x="102" y="14"/>
                  </a:lnTo>
                  <a:lnTo>
                    <a:pt x="97" y="10"/>
                  </a:lnTo>
                  <a:lnTo>
                    <a:pt x="93" y="6"/>
                  </a:lnTo>
                  <a:lnTo>
                    <a:pt x="89" y="4"/>
                  </a:lnTo>
                  <a:lnTo>
                    <a:pt x="85" y="2"/>
                  </a:lnTo>
                  <a:lnTo>
                    <a:pt x="79" y="1"/>
                  </a:lnTo>
                  <a:lnTo>
                    <a:pt x="69" y="0"/>
                  </a:lnTo>
                  <a:lnTo>
                    <a:pt x="58" y="0"/>
                  </a:lnTo>
                  <a:lnTo>
                    <a:pt x="54" y="0"/>
                  </a:lnTo>
                  <a:lnTo>
                    <a:pt x="48" y="0"/>
                  </a:lnTo>
                  <a:lnTo>
                    <a:pt x="37" y="0"/>
                  </a:lnTo>
                  <a:lnTo>
                    <a:pt x="28" y="1"/>
                  </a:lnTo>
                  <a:lnTo>
                    <a:pt x="22" y="2"/>
                  </a:lnTo>
                  <a:lnTo>
                    <a:pt x="18" y="4"/>
                  </a:lnTo>
                  <a:lnTo>
                    <a:pt x="14" y="6"/>
                  </a:lnTo>
                  <a:lnTo>
                    <a:pt x="10" y="10"/>
                  </a:lnTo>
                  <a:lnTo>
                    <a:pt x="5" y="14"/>
                  </a:lnTo>
                  <a:lnTo>
                    <a:pt x="3" y="20"/>
                  </a:lnTo>
                  <a:lnTo>
                    <a:pt x="1" y="27"/>
                  </a:lnTo>
                  <a:lnTo>
                    <a:pt x="0" y="34"/>
                  </a:lnTo>
                  <a:lnTo>
                    <a:pt x="1" y="36"/>
                  </a:lnTo>
                  <a:lnTo>
                    <a:pt x="2" y="40"/>
                  </a:lnTo>
                  <a:lnTo>
                    <a:pt x="3" y="42"/>
                  </a:lnTo>
                  <a:lnTo>
                    <a:pt x="5" y="44"/>
                  </a:lnTo>
                  <a:lnTo>
                    <a:pt x="7" y="46"/>
                  </a:lnTo>
                  <a:lnTo>
                    <a:pt x="10" y="47"/>
                  </a:lnTo>
                  <a:lnTo>
                    <a:pt x="13" y="48"/>
                  </a:ln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202">
              <a:extLst>
                <a:ext uri="{FF2B5EF4-FFF2-40B4-BE49-F238E27FC236}">
                  <a16:creationId xmlns:a16="http://schemas.microsoft.com/office/drawing/2014/main" id="{BC1CA53C-F155-438D-8696-DB9BC956C736}"/>
                </a:ext>
              </a:extLst>
            </p:cNvPr>
            <p:cNvSpPr>
              <a:spLocks/>
            </p:cNvSpPr>
            <p:nvPr/>
          </p:nvSpPr>
          <p:spPr bwMode="auto">
            <a:xfrm>
              <a:off x="4468813" y="3730625"/>
              <a:ext cx="34925" cy="15875"/>
            </a:xfrm>
            <a:custGeom>
              <a:avLst/>
              <a:gdLst>
                <a:gd name="T0" fmla="*/ 53 w 106"/>
                <a:gd name="T1" fmla="*/ 0 h 49"/>
                <a:gd name="T2" fmla="*/ 38 w 106"/>
                <a:gd name="T3" fmla="*/ 0 h 49"/>
                <a:gd name="T4" fmla="*/ 22 w 106"/>
                <a:gd name="T5" fmla="*/ 2 h 49"/>
                <a:gd name="T6" fmla="*/ 13 w 106"/>
                <a:gd name="T7" fmla="*/ 6 h 49"/>
                <a:gd name="T8" fmla="*/ 6 w 106"/>
                <a:gd name="T9" fmla="*/ 14 h 49"/>
                <a:gd name="T10" fmla="*/ 1 w 106"/>
                <a:gd name="T11" fmla="*/ 27 h 49"/>
                <a:gd name="T12" fmla="*/ 0 w 106"/>
                <a:gd name="T13" fmla="*/ 36 h 49"/>
                <a:gd name="T14" fmla="*/ 2 w 106"/>
                <a:gd name="T15" fmla="*/ 42 h 49"/>
                <a:gd name="T16" fmla="*/ 7 w 106"/>
                <a:gd name="T17" fmla="*/ 46 h 49"/>
                <a:gd name="T18" fmla="*/ 12 w 106"/>
                <a:gd name="T19" fmla="*/ 48 h 49"/>
                <a:gd name="T20" fmla="*/ 18 w 106"/>
                <a:gd name="T21" fmla="*/ 48 h 49"/>
                <a:gd name="T22" fmla="*/ 24 w 106"/>
                <a:gd name="T23" fmla="*/ 46 h 49"/>
                <a:gd name="T24" fmla="*/ 28 w 106"/>
                <a:gd name="T25" fmla="*/ 42 h 49"/>
                <a:gd name="T26" fmla="*/ 30 w 106"/>
                <a:gd name="T27" fmla="*/ 36 h 49"/>
                <a:gd name="T28" fmla="*/ 30 w 106"/>
                <a:gd name="T29" fmla="*/ 32 h 49"/>
                <a:gd name="T30" fmla="*/ 38 w 106"/>
                <a:gd name="T31" fmla="*/ 30 h 49"/>
                <a:gd name="T32" fmla="*/ 53 w 106"/>
                <a:gd name="T33" fmla="*/ 30 h 49"/>
                <a:gd name="T34" fmla="*/ 69 w 106"/>
                <a:gd name="T35" fmla="*/ 30 h 49"/>
                <a:gd name="T36" fmla="*/ 76 w 106"/>
                <a:gd name="T37" fmla="*/ 31 h 49"/>
                <a:gd name="T38" fmla="*/ 76 w 106"/>
                <a:gd name="T39" fmla="*/ 36 h 49"/>
                <a:gd name="T40" fmla="*/ 78 w 106"/>
                <a:gd name="T41" fmla="*/ 42 h 49"/>
                <a:gd name="T42" fmla="*/ 83 w 106"/>
                <a:gd name="T43" fmla="*/ 46 h 49"/>
                <a:gd name="T44" fmla="*/ 88 w 106"/>
                <a:gd name="T45" fmla="*/ 48 h 49"/>
                <a:gd name="T46" fmla="*/ 94 w 106"/>
                <a:gd name="T47" fmla="*/ 48 h 49"/>
                <a:gd name="T48" fmla="*/ 100 w 106"/>
                <a:gd name="T49" fmla="*/ 46 h 49"/>
                <a:gd name="T50" fmla="*/ 103 w 106"/>
                <a:gd name="T51" fmla="*/ 42 h 49"/>
                <a:gd name="T52" fmla="*/ 105 w 106"/>
                <a:gd name="T53" fmla="*/ 36 h 49"/>
                <a:gd name="T54" fmla="*/ 105 w 106"/>
                <a:gd name="T55" fmla="*/ 27 h 49"/>
                <a:gd name="T56" fmla="*/ 101 w 106"/>
                <a:gd name="T57" fmla="*/ 14 h 49"/>
                <a:gd name="T58" fmla="*/ 93 w 106"/>
                <a:gd name="T59" fmla="*/ 6 h 49"/>
                <a:gd name="T60" fmla="*/ 84 w 106"/>
                <a:gd name="T61" fmla="*/ 2 h 49"/>
                <a:gd name="T62" fmla="*/ 69 w 106"/>
                <a:gd name="T6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58" y="0"/>
                  </a:moveTo>
                  <a:lnTo>
                    <a:pt x="53" y="0"/>
                  </a:lnTo>
                  <a:lnTo>
                    <a:pt x="48" y="0"/>
                  </a:lnTo>
                  <a:lnTo>
                    <a:pt x="38" y="0"/>
                  </a:lnTo>
                  <a:lnTo>
                    <a:pt x="27" y="1"/>
                  </a:lnTo>
                  <a:lnTo>
                    <a:pt x="22" y="2"/>
                  </a:lnTo>
                  <a:lnTo>
                    <a:pt x="17" y="4"/>
                  </a:lnTo>
                  <a:lnTo>
                    <a:pt x="13" y="6"/>
                  </a:lnTo>
                  <a:lnTo>
                    <a:pt x="9" y="10"/>
                  </a:lnTo>
                  <a:lnTo>
                    <a:pt x="6" y="14"/>
                  </a:lnTo>
                  <a:lnTo>
                    <a:pt x="2" y="20"/>
                  </a:lnTo>
                  <a:lnTo>
                    <a:pt x="1" y="27"/>
                  </a:lnTo>
                  <a:lnTo>
                    <a:pt x="0" y="34"/>
                  </a:lnTo>
                  <a:lnTo>
                    <a:pt x="0" y="36"/>
                  </a:lnTo>
                  <a:lnTo>
                    <a:pt x="1" y="40"/>
                  </a:lnTo>
                  <a:lnTo>
                    <a:pt x="2" y="42"/>
                  </a:lnTo>
                  <a:lnTo>
                    <a:pt x="4" y="44"/>
                  </a:lnTo>
                  <a:lnTo>
                    <a:pt x="7" y="46"/>
                  </a:lnTo>
                  <a:lnTo>
                    <a:pt x="10" y="47"/>
                  </a:lnTo>
                  <a:lnTo>
                    <a:pt x="12" y="48"/>
                  </a:lnTo>
                  <a:lnTo>
                    <a:pt x="15" y="49"/>
                  </a:lnTo>
                  <a:lnTo>
                    <a:pt x="18" y="48"/>
                  </a:lnTo>
                  <a:lnTo>
                    <a:pt x="21" y="47"/>
                  </a:lnTo>
                  <a:lnTo>
                    <a:pt x="24" y="46"/>
                  </a:lnTo>
                  <a:lnTo>
                    <a:pt x="26" y="44"/>
                  </a:lnTo>
                  <a:lnTo>
                    <a:pt x="28" y="42"/>
                  </a:lnTo>
                  <a:lnTo>
                    <a:pt x="29" y="40"/>
                  </a:lnTo>
                  <a:lnTo>
                    <a:pt x="30" y="36"/>
                  </a:lnTo>
                  <a:lnTo>
                    <a:pt x="30" y="34"/>
                  </a:lnTo>
                  <a:lnTo>
                    <a:pt x="30" y="32"/>
                  </a:lnTo>
                  <a:lnTo>
                    <a:pt x="30" y="31"/>
                  </a:lnTo>
                  <a:lnTo>
                    <a:pt x="38" y="30"/>
                  </a:lnTo>
                  <a:lnTo>
                    <a:pt x="48" y="30"/>
                  </a:lnTo>
                  <a:lnTo>
                    <a:pt x="53" y="30"/>
                  </a:lnTo>
                  <a:lnTo>
                    <a:pt x="58" y="30"/>
                  </a:lnTo>
                  <a:lnTo>
                    <a:pt x="69" y="30"/>
                  </a:lnTo>
                  <a:lnTo>
                    <a:pt x="75" y="30"/>
                  </a:lnTo>
                  <a:lnTo>
                    <a:pt x="76" y="31"/>
                  </a:lnTo>
                  <a:lnTo>
                    <a:pt x="76" y="34"/>
                  </a:lnTo>
                  <a:lnTo>
                    <a:pt x="76" y="36"/>
                  </a:lnTo>
                  <a:lnTo>
                    <a:pt x="77" y="40"/>
                  </a:lnTo>
                  <a:lnTo>
                    <a:pt x="78" y="42"/>
                  </a:lnTo>
                  <a:lnTo>
                    <a:pt x="81" y="44"/>
                  </a:lnTo>
                  <a:lnTo>
                    <a:pt x="83" y="46"/>
                  </a:lnTo>
                  <a:lnTo>
                    <a:pt x="85" y="47"/>
                  </a:lnTo>
                  <a:lnTo>
                    <a:pt x="88" y="48"/>
                  </a:lnTo>
                  <a:lnTo>
                    <a:pt x="91" y="49"/>
                  </a:lnTo>
                  <a:lnTo>
                    <a:pt x="94" y="48"/>
                  </a:lnTo>
                  <a:lnTo>
                    <a:pt x="97" y="47"/>
                  </a:lnTo>
                  <a:lnTo>
                    <a:pt x="100" y="46"/>
                  </a:lnTo>
                  <a:lnTo>
                    <a:pt x="102" y="44"/>
                  </a:lnTo>
                  <a:lnTo>
                    <a:pt x="103" y="42"/>
                  </a:lnTo>
                  <a:lnTo>
                    <a:pt x="105" y="40"/>
                  </a:lnTo>
                  <a:lnTo>
                    <a:pt x="105" y="36"/>
                  </a:lnTo>
                  <a:lnTo>
                    <a:pt x="106" y="34"/>
                  </a:lnTo>
                  <a:lnTo>
                    <a:pt x="105" y="27"/>
                  </a:lnTo>
                  <a:lnTo>
                    <a:pt x="104" y="20"/>
                  </a:lnTo>
                  <a:lnTo>
                    <a:pt x="101" y="14"/>
                  </a:lnTo>
                  <a:lnTo>
                    <a:pt x="97" y="10"/>
                  </a:lnTo>
                  <a:lnTo>
                    <a:pt x="93" y="6"/>
                  </a:lnTo>
                  <a:lnTo>
                    <a:pt x="89" y="3"/>
                  </a:lnTo>
                  <a:lnTo>
                    <a:pt x="84" y="2"/>
                  </a:lnTo>
                  <a:lnTo>
                    <a:pt x="79" y="1"/>
                  </a:lnTo>
                  <a:lnTo>
                    <a:pt x="69"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9" name="Group 20">
            <a:extLst>
              <a:ext uri="{FF2B5EF4-FFF2-40B4-BE49-F238E27FC236}">
                <a16:creationId xmlns:a16="http://schemas.microsoft.com/office/drawing/2014/main" id="{D3224717-05B0-49D1-A897-C8A176E3F00F}"/>
              </a:ext>
            </a:extLst>
          </p:cNvPr>
          <p:cNvGrpSpPr>
            <a:grpSpLocks noChangeAspect="1"/>
          </p:cNvGrpSpPr>
          <p:nvPr/>
        </p:nvGrpSpPr>
        <p:grpSpPr>
          <a:xfrm>
            <a:off x="6186633" y="2724897"/>
            <a:ext cx="285619" cy="285619"/>
            <a:chOff x="4319588" y="1916113"/>
            <a:chExt cx="285750" cy="285750"/>
          </a:xfrm>
          <a:solidFill>
            <a:schemeClr val="bg2"/>
          </a:solidFill>
          <a:effectLst/>
        </p:grpSpPr>
        <p:sp>
          <p:nvSpPr>
            <p:cNvPr id="710" name="Freeform 7">
              <a:extLst>
                <a:ext uri="{FF2B5EF4-FFF2-40B4-BE49-F238E27FC236}">
                  <a16:creationId xmlns:a16="http://schemas.microsoft.com/office/drawing/2014/main" id="{164A5FAB-B486-47F3-8B8D-EB2F6B606BDA}"/>
                </a:ext>
              </a:extLst>
            </p:cNvPr>
            <p:cNvSpPr>
              <a:spLocks noEditPoints="1"/>
            </p:cNvSpPr>
            <p:nvPr/>
          </p:nvSpPr>
          <p:spPr bwMode="auto">
            <a:xfrm>
              <a:off x="4529138" y="2011363"/>
              <a:ext cx="57150" cy="57150"/>
            </a:xfrm>
            <a:custGeom>
              <a:avLst/>
              <a:gdLst>
                <a:gd name="T0" fmla="*/ 102 w 180"/>
                <a:gd name="T1" fmla="*/ 31 h 180"/>
                <a:gd name="T2" fmla="*/ 119 w 180"/>
                <a:gd name="T3" fmla="*/ 36 h 180"/>
                <a:gd name="T4" fmla="*/ 133 w 180"/>
                <a:gd name="T5" fmla="*/ 47 h 180"/>
                <a:gd name="T6" fmla="*/ 142 w 180"/>
                <a:gd name="T7" fmla="*/ 61 h 180"/>
                <a:gd name="T8" fmla="*/ 149 w 180"/>
                <a:gd name="T9" fmla="*/ 77 h 180"/>
                <a:gd name="T10" fmla="*/ 150 w 180"/>
                <a:gd name="T11" fmla="*/ 95 h 180"/>
                <a:gd name="T12" fmla="*/ 146 w 180"/>
                <a:gd name="T13" fmla="*/ 113 h 180"/>
                <a:gd name="T14" fmla="*/ 136 w 180"/>
                <a:gd name="T15" fmla="*/ 127 h 180"/>
                <a:gd name="T16" fmla="*/ 124 w 180"/>
                <a:gd name="T17" fmla="*/ 139 h 180"/>
                <a:gd name="T18" fmla="*/ 108 w 180"/>
                <a:gd name="T19" fmla="*/ 147 h 180"/>
                <a:gd name="T20" fmla="*/ 90 w 180"/>
                <a:gd name="T21" fmla="*/ 150 h 180"/>
                <a:gd name="T22" fmla="*/ 73 w 180"/>
                <a:gd name="T23" fmla="*/ 147 h 180"/>
                <a:gd name="T24" fmla="*/ 57 w 180"/>
                <a:gd name="T25" fmla="*/ 139 h 180"/>
                <a:gd name="T26" fmla="*/ 44 w 180"/>
                <a:gd name="T27" fmla="*/ 127 h 180"/>
                <a:gd name="T28" fmla="*/ 34 w 180"/>
                <a:gd name="T29" fmla="*/ 113 h 180"/>
                <a:gd name="T30" fmla="*/ 30 w 180"/>
                <a:gd name="T31" fmla="*/ 96 h 180"/>
                <a:gd name="T32" fmla="*/ 31 w 180"/>
                <a:gd name="T33" fmla="*/ 77 h 180"/>
                <a:gd name="T34" fmla="*/ 37 w 180"/>
                <a:gd name="T35" fmla="*/ 61 h 180"/>
                <a:gd name="T36" fmla="*/ 48 w 180"/>
                <a:gd name="T37" fmla="*/ 47 h 180"/>
                <a:gd name="T38" fmla="*/ 61 w 180"/>
                <a:gd name="T39" fmla="*/ 36 h 180"/>
                <a:gd name="T40" fmla="*/ 78 w 180"/>
                <a:gd name="T41" fmla="*/ 31 h 180"/>
                <a:gd name="T42" fmla="*/ 90 w 180"/>
                <a:gd name="T43" fmla="*/ 180 h 180"/>
                <a:gd name="T44" fmla="*/ 117 w 180"/>
                <a:gd name="T45" fmla="*/ 176 h 180"/>
                <a:gd name="T46" fmla="*/ 140 w 180"/>
                <a:gd name="T47" fmla="*/ 165 h 180"/>
                <a:gd name="T48" fmla="*/ 160 w 180"/>
                <a:gd name="T49" fmla="*/ 147 h 180"/>
                <a:gd name="T50" fmla="*/ 173 w 180"/>
                <a:gd name="T51" fmla="*/ 125 h 180"/>
                <a:gd name="T52" fmla="*/ 180 w 180"/>
                <a:gd name="T53" fmla="*/ 98 h 180"/>
                <a:gd name="T54" fmla="*/ 179 w 180"/>
                <a:gd name="T55" fmla="*/ 72 h 180"/>
                <a:gd name="T56" fmla="*/ 169 w 180"/>
                <a:gd name="T57" fmla="*/ 47 h 180"/>
                <a:gd name="T58" fmla="*/ 154 w 180"/>
                <a:gd name="T59" fmla="*/ 25 h 180"/>
                <a:gd name="T60" fmla="*/ 133 w 180"/>
                <a:gd name="T61" fmla="*/ 10 h 180"/>
                <a:gd name="T62" fmla="*/ 108 w 180"/>
                <a:gd name="T63" fmla="*/ 1 h 180"/>
                <a:gd name="T64" fmla="*/ 81 w 180"/>
                <a:gd name="T65" fmla="*/ 0 h 180"/>
                <a:gd name="T66" fmla="*/ 54 w 180"/>
                <a:gd name="T67" fmla="*/ 6 h 180"/>
                <a:gd name="T68" fmla="*/ 33 w 180"/>
                <a:gd name="T69" fmla="*/ 20 h 180"/>
                <a:gd name="T70" fmla="*/ 15 w 180"/>
                <a:gd name="T71" fmla="*/ 39 h 180"/>
                <a:gd name="T72" fmla="*/ 4 w 180"/>
                <a:gd name="T73" fmla="*/ 63 h 180"/>
                <a:gd name="T74" fmla="*/ 0 w 180"/>
                <a:gd name="T75" fmla="*/ 90 h 180"/>
                <a:gd name="T76" fmla="*/ 4 w 180"/>
                <a:gd name="T77" fmla="*/ 117 h 180"/>
                <a:gd name="T78" fmla="*/ 15 w 180"/>
                <a:gd name="T79" fmla="*/ 140 h 180"/>
                <a:gd name="T80" fmla="*/ 33 w 180"/>
                <a:gd name="T81" fmla="*/ 160 h 180"/>
                <a:gd name="T82" fmla="*/ 54 w 180"/>
                <a:gd name="T83" fmla="*/ 172 h 180"/>
                <a:gd name="T84" fmla="*/ 81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6" y="30"/>
                  </a:lnTo>
                  <a:lnTo>
                    <a:pt x="102" y="31"/>
                  </a:lnTo>
                  <a:lnTo>
                    <a:pt x="108" y="32"/>
                  </a:lnTo>
                  <a:lnTo>
                    <a:pt x="113" y="34"/>
                  </a:lnTo>
                  <a:lnTo>
                    <a:pt x="119" y="36"/>
                  </a:lnTo>
                  <a:lnTo>
                    <a:pt x="124" y="39"/>
                  </a:lnTo>
                  <a:lnTo>
                    <a:pt x="128" y="43"/>
                  </a:lnTo>
                  <a:lnTo>
                    <a:pt x="133" y="47"/>
                  </a:lnTo>
                  <a:lnTo>
                    <a:pt x="136" y="51"/>
                  </a:lnTo>
                  <a:lnTo>
                    <a:pt x="140" y="56"/>
                  </a:lnTo>
                  <a:lnTo>
                    <a:pt x="142" y="61"/>
                  </a:lnTo>
                  <a:lnTo>
                    <a:pt x="146" y="66"/>
                  </a:lnTo>
                  <a:lnTo>
                    <a:pt x="148" y="72"/>
                  </a:lnTo>
                  <a:lnTo>
                    <a:pt x="149" y="77"/>
                  </a:lnTo>
                  <a:lnTo>
                    <a:pt x="150" y="83"/>
                  </a:lnTo>
                  <a:lnTo>
                    <a:pt x="150" y="90"/>
                  </a:lnTo>
                  <a:lnTo>
                    <a:pt x="150" y="95"/>
                  </a:lnTo>
                  <a:lnTo>
                    <a:pt x="149" y="102"/>
                  </a:lnTo>
                  <a:lnTo>
                    <a:pt x="148" y="107"/>
                  </a:lnTo>
                  <a:lnTo>
                    <a:pt x="146" y="113"/>
                  </a:lnTo>
                  <a:lnTo>
                    <a:pt x="142" y="118"/>
                  </a:lnTo>
                  <a:lnTo>
                    <a:pt x="140" y="123"/>
                  </a:lnTo>
                  <a:lnTo>
                    <a:pt x="136" y="127"/>
                  </a:lnTo>
                  <a:lnTo>
                    <a:pt x="133" y="132"/>
                  </a:lnTo>
                  <a:lnTo>
                    <a:pt x="128" y="136"/>
                  </a:lnTo>
                  <a:lnTo>
                    <a:pt x="124" y="139"/>
                  </a:lnTo>
                  <a:lnTo>
                    <a:pt x="119" y="142"/>
                  </a:lnTo>
                  <a:lnTo>
                    <a:pt x="113" y="144"/>
                  </a:lnTo>
                  <a:lnTo>
                    <a:pt x="108" y="147"/>
                  </a:lnTo>
                  <a:lnTo>
                    <a:pt x="102" y="149"/>
                  </a:lnTo>
                  <a:lnTo>
                    <a:pt x="96" y="150"/>
                  </a:lnTo>
                  <a:lnTo>
                    <a:pt x="90" y="150"/>
                  </a:lnTo>
                  <a:lnTo>
                    <a:pt x="83" y="150"/>
                  </a:lnTo>
                  <a:lnTo>
                    <a:pt x="78" y="149"/>
                  </a:lnTo>
                  <a:lnTo>
                    <a:pt x="73" y="147"/>
                  </a:lnTo>
                  <a:lnTo>
                    <a:pt x="66" y="144"/>
                  </a:lnTo>
                  <a:lnTo>
                    <a:pt x="61" y="142"/>
                  </a:lnTo>
                  <a:lnTo>
                    <a:pt x="57" y="139"/>
                  </a:lnTo>
                  <a:lnTo>
                    <a:pt x="52" y="136"/>
                  </a:lnTo>
                  <a:lnTo>
                    <a:pt x="48" y="132"/>
                  </a:lnTo>
                  <a:lnTo>
                    <a:pt x="44" y="127"/>
                  </a:lnTo>
                  <a:lnTo>
                    <a:pt x="41" y="123"/>
                  </a:lnTo>
                  <a:lnTo>
                    <a:pt x="37" y="118"/>
                  </a:lnTo>
                  <a:lnTo>
                    <a:pt x="34" y="113"/>
                  </a:lnTo>
                  <a:lnTo>
                    <a:pt x="33" y="107"/>
                  </a:lnTo>
                  <a:lnTo>
                    <a:pt x="31" y="102"/>
                  </a:lnTo>
                  <a:lnTo>
                    <a:pt x="30" y="96"/>
                  </a:lnTo>
                  <a:lnTo>
                    <a:pt x="30" y="90"/>
                  </a:lnTo>
                  <a:lnTo>
                    <a:pt x="30" y="83"/>
                  </a:lnTo>
                  <a:lnTo>
                    <a:pt x="31" y="77"/>
                  </a:lnTo>
                  <a:lnTo>
                    <a:pt x="33" y="72"/>
                  </a:lnTo>
                  <a:lnTo>
                    <a:pt x="34" y="66"/>
                  </a:lnTo>
                  <a:lnTo>
                    <a:pt x="37" y="61"/>
                  </a:lnTo>
                  <a:lnTo>
                    <a:pt x="41" y="56"/>
                  </a:lnTo>
                  <a:lnTo>
                    <a:pt x="44" y="51"/>
                  </a:lnTo>
                  <a:lnTo>
                    <a:pt x="48" y="47"/>
                  </a:lnTo>
                  <a:lnTo>
                    <a:pt x="52" y="43"/>
                  </a:lnTo>
                  <a:lnTo>
                    <a:pt x="57" y="39"/>
                  </a:lnTo>
                  <a:lnTo>
                    <a:pt x="61" y="36"/>
                  </a:lnTo>
                  <a:lnTo>
                    <a:pt x="66" y="34"/>
                  </a:lnTo>
                  <a:lnTo>
                    <a:pt x="73" y="32"/>
                  </a:lnTo>
                  <a:lnTo>
                    <a:pt x="78" y="31"/>
                  </a:lnTo>
                  <a:lnTo>
                    <a:pt x="83" y="30"/>
                  </a:lnTo>
                  <a:lnTo>
                    <a:pt x="90" y="30"/>
                  </a:lnTo>
                  <a:close/>
                  <a:moveTo>
                    <a:pt x="90" y="180"/>
                  </a:moveTo>
                  <a:lnTo>
                    <a:pt x="99" y="180"/>
                  </a:lnTo>
                  <a:lnTo>
                    <a:pt x="108" y="178"/>
                  </a:lnTo>
                  <a:lnTo>
                    <a:pt x="117" y="176"/>
                  </a:lnTo>
                  <a:lnTo>
                    <a:pt x="125" y="172"/>
                  </a:lnTo>
                  <a:lnTo>
                    <a:pt x="133" y="169"/>
                  </a:lnTo>
                  <a:lnTo>
                    <a:pt x="140" y="165"/>
                  </a:lnTo>
                  <a:lnTo>
                    <a:pt x="148" y="160"/>
                  </a:lnTo>
                  <a:lnTo>
                    <a:pt x="154" y="153"/>
                  </a:lnTo>
                  <a:lnTo>
                    <a:pt x="160" y="147"/>
                  </a:lnTo>
                  <a:lnTo>
                    <a:pt x="165" y="140"/>
                  </a:lnTo>
                  <a:lnTo>
                    <a:pt x="169" y="133"/>
                  </a:lnTo>
                  <a:lnTo>
                    <a:pt x="173" y="125"/>
                  </a:lnTo>
                  <a:lnTo>
                    <a:pt x="177" y="117"/>
                  </a:lnTo>
                  <a:lnTo>
                    <a:pt x="179" y="108"/>
                  </a:lnTo>
                  <a:lnTo>
                    <a:pt x="180" y="98"/>
                  </a:lnTo>
                  <a:lnTo>
                    <a:pt x="180" y="90"/>
                  </a:lnTo>
                  <a:lnTo>
                    <a:pt x="180" y="80"/>
                  </a:lnTo>
                  <a:lnTo>
                    <a:pt x="179" y="72"/>
                  </a:lnTo>
                  <a:lnTo>
                    <a:pt x="177" y="63"/>
                  </a:lnTo>
                  <a:lnTo>
                    <a:pt x="173" y="54"/>
                  </a:lnTo>
                  <a:lnTo>
                    <a:pt x="169" y="47"/>
                  </a:lnTo>
                  <a:lnTo>
                    <a:pt x="165" y="39"/>
                  </a:lnTo>
                  <a:lnTo>
                    <a:pt x="160" y="32"/>
                  </a:lnTo>
                  <a:lnTo>
                    <a:pt x="154" y="25"/>
                  </a:lnTo>
                  <a:lnTo>
                    <a:pt x="148" y="20"/>
                  </a:lnTo>
                  <a:lnTo>
                    <a:pt x="140" y="15"/>
                  </a:lnTo>
                  <a:lnTo>
                    <a:pt x="133" y="10"/>
                  </a:lnTo>
                  <a:lnTo>
                    <a:pt x="125" y="6"/>
                  </a:lnTo>
                  <a:lnTo>
                    <a:pt x="117" y="3"/>
                  </a:lnTo>
                  <a:lnTo>
                    <a:pt x="108" y="1"/>
                  </a:lnTo>
                  <a:lnTo>
                    <a:pt x="99" y="0"/>
                  </a:lnTo>
                  <a:lnTo>
                    <a:pt x="90" y="0"/>
                  </a:lnTo>
                  <a:lnTo>
                    <a:pt x="81" y="0"/>
                  </a:lnTo>
                  <a:lnTo>
                    <a:pt x="72" y="1"/>
                  </a:lnTo>
                  <a:lnTo>
                    <a:pt x="63" y="3"/>
                  </a:lnTo>
                  <a:lnTo>
                    <a:pt x="54" y="6"/>
                  </a:lnTo>
                  <a:lnTo>
                    <a:pt x="47" y="10"/>
                  </a:lnTo>
                  <a:lnTo>
                    <a:pt x="39" y="15"/>
                  </a:lnTo>
                  <a:lnTo>
                    <a:pt x="33" y="20"/>
                  </a:lnTo>
                  <a:lnTo>
                    <a:pt x="27" y="25"/>
                  </a:lnTo>
                  <a:lnTo>
                    <a:pt x="20" y="32"/>
                  </a:lnTo>
                  <a:lnTo>
                    <a:pt x="15" y="39"/>
                  </a:lnTo>
                  <a:lnTo>
                    <a:pt x="10" y="47"/>
                  </a:lnTo>
                  <a:lnTo>
                    <a:pt x="7" y="54"/>
                  </a:lnTo>
                  <a:lnTo>
                    <a:pt x="4" y="63"/>
                  </a:lnTo>
                  <a:lnTo>
                    <a:pt x="2" y="72"/>
                  </a:lnTo>
                  <a:lnTo>
                    <a:pt x="0" y="80"/>
                  </a:lnTo>
                  <a:lnTo>
                    <a:pt x="0" y="90"/>
                  </a:lnTo>
                  <a:lnTo>
                    <a:pt x="0" y="98"/>
                  </a:lnTo>
                  <a:lnTo>
                    <a:pt x="2" y="108"/>
                  </a:lnTo>
                  <a:lnTo>
                    <a:pt x="4" y="117"/>
                  </a:lnTo>
                  <a:lnTo>
                    <a:pt x="7" y="125"/>
                  </a:lnTo>
                  <a:lnTo>
                    <a:pt x="10" y="133"/>
                  </a:lnTo>
                  <a:lnTo>
                    <a:pt x="15" y="140"/>
                  </a:lnTo>
                  <a:lnTo>
                    <a:pt x="20" y="147"/>
                  </a:lnTo>
                  <a:lnTo>
                    <a:pt x="27" y="153"/>
                  </a:lnTo>
                  <a:lnTo>
                    <a:pt x="33" y="160"/>
                  </a:lnTo>
                  <a:lnTo>
                    <a:pt x="39" y="165"/>
                  </a:lnTo>
                  <a:lnTo>
                    <a:pt x="47" y="169"/>
                  </a:lnTo>
                  <a:lnTo>
                    <a:pt x="54" y="172"/>
                  </a:lnTo>
                  <a:lnTo>
                    <a:pt x="63" y="176"/>
                  </a:lnTo>
                  <a:lnTo>
                    <a:pt x="72" y="178"/>
                  </a:lnTo>
                  <a:lnTo>
                    <a:pt x="81"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1" name="Freeform 8">
              <a:extLst>
                <a:ext uri="{FF2B5EF4-FFF2-40B4-BE49-F238E27FC236}">
                  <a16:creationId xmlns:a16="http://schemas.microsoft.com/office/drawing/2014/main" id="{41C79D28-2A3E-46AD-9FAE-9ED7D50ECEE3}"/>
                </a:ext>
              </a:extLst>
            </p:cNvPr>
            <p:cNvSpPr>
              <a:spLocks noEditPoints="1"/>
            </p:cNvSpPr>
            <p:nvPr/>
          </p:nvSpPr>
          <p:spPr bwMode="auto">
            <a:xfrm>
              <a:off x="4511675" y="2078038"/>
              <a:ext cx="93663" cy="123825"/>
            </a:xfrm>
            <a:custGeom>
              <a:avLst/>
              <a:gdLst>
                <a:gd name="T0" fmla="*/ 175 w 295"/>
                <a:gd name="T1" fmla="*/ 210 h 391"/>
                <a:gd name="T2" fmla="*/ 115 w 295"/>
                <a:gd name="T3" fmla="*/ 361 h 391"/>
                <a:gd name="T4" fmla="*/ 103 w 295"/>
                <a:gd name="T5" fmla="*/ 208 h 391"/>
                <a:gd name="T6" fmla="*/ 84 w 295"/>
                <a:gd name="T7" fmla="*/ 200 h 391"/>
                <a:gd name="T8" fmla="*/ 68 w 295"/>
                <a:gd name="T9" fmla="*/ 189 h 391"/>
                <a:gd name="T10" fmla="*/ 55 w 295"/>
                <a:gd name="T11" fmla="*/ 173 h 391"/>
                <a:gd name="T12" fmla="*/ 45 w 295"/>
                <a:gd name="T13" fmla="*/ 151 h 391"/>
                <a:gd name="T14" fmla="*/ 39 w 295"/>
                <a:gd name="T15" fmla="*/ 126 h 391"/>
                <a:gd name="T16" fmla="*/ 33 w 295"/>
                <a:gd name="T17" fmla="*/ 99 h 391"/>
                <a:gd name="T18" fmla="*/ 30 w 295"/>
                <a:gd name="T19" fmla="*/ 30 h 391"/>
                <a:gd name="T20" fmla="*/ 264 w 295"/>
                <a:gd name="T21" fmla="*/ 65 h 391"/>
                <a:gd name="T22" fmla="*/ 260 w 295"/>
                <a:gd name="T23" fmla="*/ 112 h 391"/>
                <a:gd name="T24" fmla="*/ 253 w 295"/>
                <a:gd name="T25" fmla="*/ 139 h 391"/>
                <a:gd name="T26" fmla="*/ 245 w 295"/>
                <a:gd name="T27" fmla="*/ 162 h 391"/>
                <a:gd name="T28" fmla="*/ 233 w 295"/>
                <a:gd name="T29" fmla="*/ 181 h 391"/>
                <a:gd name="T30" fmla="*/ 218 w 295"/>
                <a:gd name="T31" fmla="*/ 195 h 391"/>
                <a:gd name="T32" fmla="*/ 198 w 295"/>
                <a:gd name="T33" fmla="*/ 205 h 391"/>
                <a:gd name="T34" fmla="*/ 0 w 295"/>
                <a:gd name="T35" fmla="*/ 0 h 391"/>
                <a:gd name="T36" fmla="*/ 0 w 295"/>
                <a:gd name="T37" fmla="*/ 49 h 391"/>
                <a:gd name="T38" fmla="*/ 3 w 295"/>
                <a:gd name="T39" fmla="*/ 102 h 391"/>
                <a:gd name="T40" fmla="*/ 9 w 295"/>
                <a:gd name="T41" fmla="*/ 134 h 391"/>
                <a:gd name="T42" fmla="*/ 18 w 295"/>
                <a:gd name="T43" fmla="*/ 164 h 391"/>
                <a:gd name="T44" fmla="*/ 30 w 295"/>
                <a:gd name="T45" fmla="*/ 190 h 391"/>
                <a:gd name="T46" fmla="*/ 48 w 295"/>
                <a:gd name="T47" fmla="*/ 211 h 391"/>
                <a:gd name="T48" fmla="*/ 64 w 295"/>
                <a:gd name="T49" fmla="*/ 224 h 391"/>
                <a:gd name="T50" fmla="*/ 77 w 295"/>
                <a:gd name="T51" fmla="*/ 230 h 391"/>
                <a:gd name="T52" fmla="*/ 85 w 295"/>
                <a:gd name="T53" fmla="*/ 391 h 391"/>
                <a:gd name="T54" fmla="*/ 205 w 295"/>
                <a:gd name="T55" fmla="*/ 234 h 391"/>
                <a:gd name="T56" fmla="*/ 220 w 295"/>
                <a:gd name="T57" fmla="*/ 228 h 391"/>
                <a:gd name="T58" fmla="*/ 233 w 295"/>
                <a:gd name="T59" fmla="*/ 221 h 391"/>
                <a:gd name="T60" fmla="*/ 254 w 295"/>
                <a:gd name="T61" fmla="*/ 201 h 391"/>
                <a:gd name="T62" fmla="*/ 270 w 295"/>
                <a:gd name="T63" fmla="*/ 178 h 391"/>
                <a:gd name="T64" fmla="*/ 281 w 295"/>
                <a:gd name="T65" fmla="*/ 149 h 391"/>
                <a:gd name="T66" fmla="*/ 289 w 295"/>
                <a:gd name="T67" fmla="*/ 118 h 391"/>
                <a:gd name="T68" fmla="*/ 293 w 295"/>
                <a:gd name="T69" fmla="*/ 85 h 391"/>
                <a:gd name="T70" fmla="*/ 295 w 295"/>
                <a:gd name="T71" fmla="*/ 15 h 391"/>
                <a:gd name="T72" fmla="*/ 0 w 295"/>
                <a:gd name="T7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5" h="391">
                  <a:moveTo>
                    <a:pt x="187" y="208"/>
                  </a:moveTo>
                  <a:lnTo>
                    <a:pt x="175" y="210"/>
                  </a:lnTo>
                  <a:lnTo>
                    <a:pt x="175" y="361"/>
                  </a:lnTo>
                  <a:lnTo>
                    <a:pt x="115" y="361"/>
                  </a:lnTo>
                  <a:lnTo>
                    <a:pt x="115" y="210"/>
                  </a:lnTo>
                  <a:lnTo>
                    <a:pt x="103" y="208"/>
                  </a:lnTo>
                  <a:lnTo>
                    <a:pt x="92" y="205"/>
                  </a:lnTo>
                  <a:lnTo>
                    <a:pt x="84" y="200"/>
                  </a:lnTo>
                  <a:lnTo>
                    <a:pt x="75" y="195"/>
                  </a:lnTo>
                  <a:lnTo>
                    <a:pt x="68" y="189"/>
                  </a:lnTo>
                  <a:lnTo>
                    <a:pt x="61" y="181"/>
                  </a:lnTo>
                  <a:lnTo>
                    <a:pt x="55" y="173"/>
                  </a:lnTo>
                  <a:lnTo>
                    <a:pt x="49" y="162"/>
                  </a:lnTo>
                  <a:lnTo>
                    <a:pt x="45" y="151"/>
                  </a:lnTo>
                  <a:lnTo>
                    <a:pt x="42" y="139"/>
                  </a:lnTo>
                  <a:lnTo>
                    <a:pt x="39" y="126"/>
                  </a:lnTo>
                  <a:lnTo>
                    <a:pt x="35" y="112"/>
                  </a:lnTo>
                  <a:lnTo>
                    <a:pt x="33" y="99"/>
                  </a:lnTo>
                  <a:lnTo>
                    <a:pt x="31" y="66"/>
                  </a:lnTo>
                  <a:lnTo>
                    <a:pt x="30" y="30"/>
                  </a:lnTo>
                  <a:lnTo>
                    <a:pt x="265" y="30"/>
                  </a:lnTo>
                  <a:lnTo>
                    <a:pt x="264" y="65"/>
                  </a:lnTo>
                  <a:lnTo>
                    <a:pt x="262" y="99"/>
                  </a:lnTo>
                  <a:lnTo>
                    <a:pt x="260" y="112"/>
                  </a:lnTo>
                  <a:lnTo>
                    <a:pt x="256" y="126"/>
                  </a:lnTo>
                  <a:lnTo>
                    <a:pt x="253" y="139"/>
                  </a:lnTo>
                  <a:lnTo>
                    <a:pt x="249" y="151"/>
                  </a:lnTo>
                  <a:lnTo>
                    <a:pt x="245" y="162"/>
                  </a:lnTo>
                  <a:lnTo>
                    <a:pt x="239" y="173"/>
                  </a:lnTo>
                  <a:lnTo>
                    <a:pt x="233" y="181"/>
                  </a:lnTo>
                  <a:lnTo>
                    <a:pt x="225" y="189"/>
                  </a:lnTo>
                  <a:lnTo>
                    <a:pt x="218" y="195"/>
                  </a:lnTo>
                  <a:lnTo>
                    <a:pt x="208" y="200"/>
                  </a:lnTo>
                  <a:lnTo>
                    <a:pt x="198" y="205"/>
                  </a:lnTo>
                  <a:lnTo>
                    <a:pt x="187" y="208"/>
                  </a:lnTo>
                  <a:close/>
                  <a:moveTo>
                    <a:pt x="0" y="0"/>
                  </a:moveTo>
                  <a:lnTo>
                    <a:pt x="0" y="15"/>
                  </a:lnTo>
                  <a:lnTo>
                    <a:pt x="0" y="49"/>
                  </a:lnTo>
                  <a:lnTo>
                    <a:pt x="2" y="85"/>
                  </a:lnTo>
                  <a:lnTo>
                    <a:pt x="3" y="102"/>
                  </a:lnTo>
                  <a:lnTo>
                    <a:pt x="7" y="118"/>
                  </a:lnTo>
                  <a:lnTo>
                    <a:pt x="9" y="134"/>
                  </a:lnTo>
                  <a:lnTo>
                    <a:pt x="13" y="149"/>
                  </a:lnTo>
                  <a:lnTo>
                    <a:pt x="18" y="164"/>
                  </a:lnTo>
                  <a:lnTo>
                    <a:pt x="24" y="177"/>
                  </a:lnTo>
                  <a:lnTo>
                    <a:pt x="30" y="190"/>
                  </a:lnTo>
                  <a:lnTo>
                    <a:pt x="39" y="201"/>
                  </a:lnTo>
                  <a:lnTo>
                    <a:pt x="48" y="211"/>
                  </a:lnTo>
                  <a:lnTo>
                    <a:pt x="59" y="221"/>
                  </a:lnTo>
                  <a:lnTo>
                    <a:pt x="64" y="224"/>
                  </a:lnTo>
                  <a:lnTo>
                    <a:pt x="71" y="228"/>
                  </a:lnTo>
                  <a:lnTo>
                    <a:pt x="77" y="230"/>
                  </a:lnTo>
                  <a:lnTo>
                    <a:pt x="85" y="234"/>
                  </a:lnTo>
                  <a:lnTo>
                    <a:pt x="85" y="391"/>
                  </a:lnTo>
                  <a:lnTo>
                    <a:pt x="205" y="391"/>
                  </a:lnTo>
                  <a:lnTo>
                    <a:pt x="205" y="234"/>
                  </a:lnTo>
                  <a:lnTo>
                    <a:pt x="212" y="231"/>
                  </a:lnTo>
                  <a:lnTo>
                    <a:pt x="220" y="228"/>
                  </a:lnTo>
                  <a:lnTo>
                    <a:pt x="226" y="225"/>
                  </a:lnTo>
                  <a:lnTo>
                    <a:pt x="233" y="221"/>
                  </a:lnTo>
                  <a:lnTo>
                    <a:pt x="245" y="212"/>
                  </a:lnTo>
                  <a:lnTo>
                    <a:pt x="254" y="201"/>
                  </a:lnTo>
                  <a:lnTo>
                    <a:pt x="263" y="191"/>
                  </a:lnTo>
                  <a:lnTo>
                    <a:pt x="270" y="178"/>
                  </a:lnTo>
                  <a:lnTo>
                    <a:pt x="277" y="164"/>
                  </a:lnTo>
                  <a:lnTo>
                    <a:pt x="281" y="149"/>
                  </a:lnTo>
                  <a:lnTo>
                    <a:pt x="285" y="134"/>
                  </a:lnTo>
                  <a:lnTo>
                    <a:pt x="289" y="118"/>
                  </a:lnTo>
                  <a:lnTo>
                    <a:pt x="292" y="102"/>
                  </a:lnTo>
                  <a:lnTo>
                    <a:pt x="293" y="85"/>
                  </a:lnTo>
                  <a:lnTo>
                    <a:pt x="295" y="50"/>
                  </a:lnTo>
                  <a:lnTo>
                    <a:pt x="295" y="15"/>
                  </a:lnTo>
                  <a:lnTo>
                    <a:pt x="29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2" name="Freeform 9">
              <a:extLst>
                <a:ext uri="{FF2B5EF4-FFF2-40B4-BE49-F238E27FC236}">
                  <a16:creationId xmlns:a16="http://schemas.microsoft.com/office/drawing/2014/main" id="{D45A3292-3ABF-4EC8-A0CD-927BB908E3C8}"/>
                </a:ext>
              </a:extLst>
            </p:cNvPr>
            <p:cNvSpPr>
              <a:spLocks noEditPoints="1"/>
            </p:cNvSpPr>
            <p:nvPr/>
          </p:nvSpPr>
          <p:spPr bwMode="auto">
            <a:xfrm>
              <a:off x="4433888" y="1916113"/>
              <a:ext cx="57150" cy="57150"/>
            </a:xfrm>
            <a:custGeom>
              <a:avLst/>
              <a:gdLst>
                <a:gd name="T0" fmla="*/ 103 w 182"/>
                <a:gd name="T1" fmla="*/ 31 h 180"/>
                <a:gd name="T2" fmla="*/ 120 w 182"/>
                <a:gd name="T3" fmla="*/ 37 h 180"/>
                <a:gd name="T4" fmla="*/ 133 w 182"/>
                <a:gd name="T5" fmla="*/ 48 h 180"/>
                <a:gd name="T6" fmla="*/ 144 w 182"/>
                <a:gd name="T7" fmla="*/ 61 h 180"/>
                <a:gd name="T8" fmla="*/ 151 w 182"/>
                <a:gd name="T9" fmla="*/ 78 h 180"/>
                <a:gd name="T10" fmla="*/ 151 w 182"/>
                <a:gd name="T11" fmla="*/ 96 h 180"/>
                <a:gd name="T12" fmla="*/ 146 w 182"/>
                <a:gd name="T13" fmla="*/ 113 h 180"/>
                <a:gd name="T14" fmla="*/ 138 w 182"/>
                <a:gd name="T15" fmla="*/ 128 h 180"/>
                <a:gd name="T16" fmla="*/ 125 w 182"/>
                <a:gd name="T17" fmla="*/ 140 h 180"/>
                <a:gd name="T18" fmla="*/ 109 w 182"/>
                <a:gd name="T19" fmla="*/ 147 h 180"/>
                <a:gd name="T20" fmla="*/ 92 w 182"/>
                <a:gd name="T21" fmla="*/ 150 h 180"/>
                <a:gd name="T22" fmla="*/ 73 w 182"/>
                <a:gd name="T23" fmla="*/ 147 h 180"/>
                <a:gd name="T24" fmla="*/ 57 w 182"/>
                <a:gd name="T25" fmla="*/ 140 h 180"/>
                <a:gd name="T26" fmla="*/ 44 w 182"/>
                <a:gd name="T27" fmla="*/ 128 h 180"/>
                <a:gd name="T28" fmla="*/ 36 w 182"/>
                <a:gd name="T29" fmla="*/ 113 h 180"/>
                <a:gd name="T30" fmla="*/ 32 w 182"/>
                <a:gd name="T31" fmla="*/ 96 h 180"/>
                <a:gd name="T32" fmla="*/ 33 w 182"/>
                <a:gd name="T33" fmla="*/ 78 h 180"/>
                <a:gd name="T34" fmla="*/ 38 w 182"/>
                <a:gd name="T35" fmla="*/ 61 h 180"/>
                <a:gd name="T36" fmla="*/ 49 w 182"/>
                <a:gd name="T37" fmla="*/ 48 h 180"/>
                <a:gd name="T38" fmla="*/ 63 w 182"/>
                <a:gd name="T39" fmla="*/ 37 h 180"/>
                <a:gd name="T40" fmla="*/ 79 w 182"/>
                <a:gd name="T41" fmla="*/ 31 h 180"/>
                <a:gd name="T42" fmla="*/ 92 w 182"/>
                <a:gd name="T43" fmla="*/ 180 h 180"/>
                <a:gd name="T44" fmla="*/ 118 w 182"/>
                <a:gd name="T45" fmla="*/ 176 h 180"/>
                <a:gd name="T46" fmla="*/ 142 w 182"/>
                <a:gd name="T47" fmla="*/ 165 h 180"/>
                <a:gd name="T48" fmla="*/ 161 w 182"/>
                <a:gd name="T49" fmla="*/ 147 h 180"/>
                <a:gd name="T50" fmla="*/ 174 w 182"/>
                <a:gd name="T51" fmla="*/ 125 h 180"/>
                <a:gd name="T52" fmla="*/ 181 w 182"/>
                <a:gd name="T53" fmla="*/ 99 h 180"/>
                <a:gd name="T54" fmla="*/ 180 w 182"/>
                <a:gd name="T55" fmla="*/ 71 h 180"/>
                <a:gd name="T56" fmla="*/ 171 w 182"/>
                <a:gd name="T57" fmla="*/ 47 h 180"/>
                <a:gd name="T58" fmla="*/ 155 w 182"/>
                <a:gd name="T59" fmla="*/ 26 h 180"/>
                <a:gd name="T60" fmla="*/ 135 w 182"/>
                <a:gd name="T61" fmla="*/ 10 h 180"/>
                <a:gd name="T62" fmla="*/ 110 w 182"/>
                <a:gd name="T63" fmla="*/ 2 h 180"/>
                <a:gd name="T64" fmla="*/ 82 w 182"/>
                <a:gd name="T65" fmla="*/ 1 h 180"/>
                <a:gd name="T66" fmla="*/ 56 w 182"/>
                <a:gd name="T67" fmla="*/ 7 h 180"/>
                <a:gd name="T68" fmla="*/ 34 w 182"/>
                <a:gd name="T69" fmla="*/ 20 h 180"/>
                <a:gd name="T70" fmla="*/ 17 w 182"/>
                <a:gd name="T71" fmla="*/ 39 h 180"/>
                <a:gd name="T72" fmla="*/ 5 w 182"/>
                <a:gd name="T73" fmla="*/ 63 h 180"/>
                <a:gd name="T74" fmla="*/ 0 w 182"/>
                <a:gd name="T75" fmla="*/ 90 h 180"/>
                <a:gd name="T76" fmla="*/ 5 w 182"/>
                <a:gd name="T77" fmla="*/ 116 h 180"/>
                <a:gd name="T78" fmla="*/ 17 w 182"/>
                <a:gd name="T79" fmla="*/ 140 h 180"/>
                <a:gd name="T80" fmla="*/ 34 w 182"/>
                <a:gd name="T81" fmla="*/ 159 h 180"/>
                <a:gd name="T82" fmla="*/ 56 w 182"/>
                <a:gd name="T83" fmla="*/ 173 h 180"/>
                <a:gd name="T84" fmla="*/ 82 w 182"/>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 h="180">
                  <a:moveTo>
                    <a:pt x="92" y="30"/>
                  </a:moveTo>
                  <a:lnTo>
                    <a:pt x="97" y="30"/>
                  </a:lnTo>
                  <a:lnTo>
                    <a:pt x="103" y="31"/>
                  </a:lnTo>
                  <a:lnTo>
                    <a:pt x="109" y="33"/>
                  </a:lnTo>
                  <a:lnTo>
                    <a:pt x="114" y="35"/>
                  </a:lnTo>
                  <a:lnTo>
                    <a:pt x="120" y="37"/>
                  </a:lnTo>
                  <a:lnTo>
                    <a:pt x="125" y="40"/>
                  </a:lnTo>
                  <a:lnTo>
                    <a:pt x="129" y="43"/>
                  </a:lnTo>
                  <a:lnTo>
                    <a:pt x="133" y="48"/>
                  </a:lnTo>
                  <a:lnTo>
                    <a:pt x="138" y="52"/>
                  </a:lnTo>
                  <a:lnTo>
                    <a:pt x="141" y="56"/>
                  </a:lnTo>
                  <a:lnTo>
                    <a:pt x="144" y="61"/>
                  </a:lnTo>
                  <a:lnTo>
                    <a:pt x="146" y="66"/>
                  </a:lnTo>
                  <a:lnTo>
                    <a:pt x="148" y="72"/>
                  </a:lnTo>
                  <a:lnTo>
                    <a:pt x="151" y="78"/>
                  </a:lnTo>
                  <a:lnTo>
                    <a:pt x="151" y="84"/>
                  </a:lnTo>
                  <a:lnTo>
                    <a:pt x="152" y="90"/>
                  </a:lnTo>
                  <a:lnTo>
                    <a:pt x="151" y="96"/>
                  </a:lnTo>
                  <a:lnTo>
                    <a:pt x="151" y="102"/>
                  </a:lnTo>
                  <a:lnTo>
                    <a:pt x="148" y="108"/>
                  </a:lnTo>
                  <a:lnTo>
                    <a:pt x="146" y="113"/>
                  </a:lnTo>
                  <a:lnTo>
                    <a:pt x="144" y="119"/>
                  </a:lnTo>
                  <a:lnTo>
                    <a:pt x="141" y="124"/>
                  </a:lnTo>
                  <a:lnTo>
                    <a:pt x="138" y="128"/>
                  </a:lnTo>
                  <a:lnTo>
                    <a:pt x="133" y="132"/>
                  </a:lnTo>
                  <a:lnTo>
                    <a:pt x="129" y="136"/>
                  </a:lnTo>
                  <a:lnTo>
                    <a:pt x="125" y="140"/>
                  </a:lnTo>
                  <a:lnTo>
                    <a:pt x="120" y="143"/>
                  </a:lnTo>
                  <a:lnTo>
                    <a:pt x="114" y="145"/>
                  </a:lnTo>
                  <a:lnTo>
                    <a:pt x="109" y="147"/>
                  </a:lnTo>
                  <a:lnTo>
                    <a:pt x="103" y="149"/>
                  </a:lnTo>
                  <a:lnTo>
                    <a:pt x="97" y="150"/>
                  </a:lnTo>
                  <a:lnTo>
                    <a:pt x="92" y="150"/>
                  </a:lnTo>
                  <a:lnTo>
                    <a:pt x="85" y="150"/>
                  </a:lnTo>
                  <a:lnTo>
                    <a:pt x="79" y="149"/>
                  </a:lnTo>
                  <a:lnTo>
                    <a:pt x="73" y="147"/>
                  </a:lnTo>
                  <a:lnTo>
                    <a:pt x="68" y="145"/>
                  </a:lnTo>
                  <a:lnTo>
                    <a:pt x="63" y="143"/>
                  </a:lnTo>
                  <a:lnTo>
                    <a:pt x="57" y="140"/>
                  </a:lnTo>
                  <a:lnTo>
                    <a:pt x="53" y="136"/>
                  </a:lnTo>
                  <a:lnTo>
                    <a:pt x="49" y="132"/>
                  </a:lnTo>
                  <a:lnTo>
                    <a:pt x="44" y="128"/>
                  </a:lnTo>
                  <a:lnTo>
                    <a:pt x="41" y="124"/>
                  </a:lnTo>
                  <a:lnTo>
                    <a:pt x="38" y="119"/>
                  </a:lnTo>
                  <a:lnTo>
                    <a:pt x="36" y="113"/>
                  </a:lnTo>
                  <a:lnTo>
                    <a:pt x="34" y="108"/>
                  </a:lnTo>
                  <a:lnTo>
                    <a:pt x="33" y="102"/>
                  </a:lnTo>
                  <a:lnTo>
                    <a:pt x="32" y="96"/>
                  </a:lnTo>
                  <a:lnTo>
                    <a:pt x="32" y="90"/>
                  </a:lnTo>
                  <a:lnTo>
                    <a:pt x="32" y="84"/>
                  </a:lnTo>
                  <a:lnTo>
                    <a:pt x="33" y="78"/>
                  </a:lnTo>
                  <a:lnTo>
                    <a:pt x="34" y="72"/>
                  </a:lnTo>
                  <a:lnTo>
                    <a:pt x="36" y="66"/>
                  </a:lnTo>
                  <a:lnTo>
                    <a:pt x="38" y="61"/>
                  </a:lnTo>
                  <a:lnTo>
                    <a:pt x="41" y="56"/>
                  </a:lnTo>
                  <a:lnTo>
                    <a:pt x="44" y="52"/>
                  </a:lnTo>
                  <a:lnTo>
                    <a:pt x="49" y="48"/>
                  </a:lnTo>
                  <a:lnTo>
                    <a:pt x="53" y="43"/>
                  </a:lnTo>
                  <a:lnTo>
                    <a:pt x="57" y="40"/>
                  </a:lnTo>
                  <a:lnTo>
                    <a:pt x="63" y="37"/>
                  </a:lnTo>
                  <a:lnTo>
                    <a:pt x="68" y="35"/>
                  </a:lnTo>
                  <a:lnTo>
                    <a:pt x="73" y="33"/>
                  </a:lnTo>
                  <a:lnTo>
                    <a:pt x="79" y="31"/>
                  </a:lnTo>
                  <a:lnTo>
                    <a:pt x="85" y="30"/>
                  </a:lnTo>
                  <a:lnTo>
                    <a:pt x="92" y="30"/>
                  </a:lnTo>
                  <a:close/>
                  <a:moveTo>
                    <a:pt x="92" y="180"/>
                  </a:moveTo>
                  <a:lnTo>
                    <a:pt x="100" y="180"/>
                  </a:lnTo>
                  <a:lnTo>
                    <a:pt x="110" y="179"/>
                  </a:lnTo>
                  <a:lnTo>
                    <a:pt x="118" y="176"/>
                  </a:lnTo>
                  <a:lnTo>
                    <a:pt x="126" y="173"/>
                  </a:lnTo>
                  <a:lnTo>
                    <a:pt x="135" y="169"/>
                  </a:lnTo>
                  <a:lnTo>
                    <a:pt x="142" y="165"/>
                  </a:lnTo>
                  <a:lnTo>
                    <a:pt x="148" y="159"/>
                  </a:lnTo>
                  <a:lnTo>
                    <a:pt x="155" y="154"/>
                  </a:lnTo>
                  <a:lnTo>
                    <a:pt x="161" y="147"/>
                  </a:lnTo>
                  <a:lnTo>
                    <a:pt x="166" y="140"/>
                  </a:lnTo>
                  <a:lnTo>
                    <a:pt x="171" y="132"/>
                  </a:lnTo>
                  <a:lnTo>
                    <a:pt x="174" y="125"/>
                  </a:lnTo>
                  <a:lnTo>
                    <a:pt x="177" y="116"/>
                  </a:lnTo>
                  <a:lnTo>
                    <a:pt x="180" y="108"/>
                  </a:lnTo>
                  <a:lnTo>
                    <a:pt x="181" y="99"/>
                  </a:lnTo>
                  <a:lnTo>
                    <a:pt x="182" y="90"/>
                  </a:lnTo>
                  <a:lnTo>
                    <a:pt x="181" y="81"/>
                  </a:lnTo>
                  <a:lnTo>
                    <a:pt x="180" y="71"/>
                  </a:lnTo>
                  <a:lnTo>
                    <a:pt x="177" y="63"/>
                  </a:lnTo>
                  <a:lnTo>
                    <a:pt x="174" y="54"/>
                  </a:lnTo>
                  <a:lnTo>
                    <a:pt x="171" y="47"/>
                  </a:lnTo>
                  <a:lnTo>
                    <a:pt x="166" y="39"/>
                  </a:lnTo>
                  <a:lnTo>
                    <a:pt x="161" y="33"/>
                  </a:lnTo>
                  <a:lnTo>
                    <a:pt x="155" y="26"/>
                  </a:lnTo>
                  <a:lnTo>
                    <a:pt x="148" y="20"/>
                  </a:lnTo>
                  <a:lnTo>
                    <a:pt x="142" y="15"/>
                  </a:lnTo>
                  <a:lnTo>
                    <a:pt x="135" y="10"/>
                  </a:lnTo>
                  <a:lnTo>
                    <a:pt x="126" y="7"/>
                  </a:lnTo>
                  <a:lnTo>
                    <a:pt x="118" y="4"/>
                  </a:lnTo>
                  <a:lnTo>
                    <a:pt x="110" y="2"/>
                  </a:lnTo>
                  <a:lnTo>
                    <a:pt x="100" y="1"/>
                  </a:lnTo>
                  <a:lnTo>
                    <a:pt x="92" y="0"/>
                  </a:lnTo>
                  <a:lnTo>
                    <a:pt x="82" y="1"/>
                  </a:lnTo>
                  <a:lnTo>
                    <a:pt x="73" y="2"/>
                  </a:lnTo>
                  <a:lnTo>
                    <a:pt x="65" y="4"/>
                  </a:lnTo>
                  <a:lnTo>
                    <a:pt x="56" y="7"/>
                  </a:lnTo>
                  <a:lnTo>
                    <a:pt x="49" y="10"/>
                  </a:lnTo>
                  <a:lnTo>
                    <a:pt x="41" y="15"/>
                  </a:lnTo>
                  <a:lnTo>
                    <a:pt x="34" y="20"/>
                  </a:lnTo>
                  <a:lnTo>
                    <a:pt x="27" y="26"/>
                  </a:lnTo>
                  <a:lnTo>
                    <a:pt x="22" y="33"/>
                  </a:lnTo>
                  <a:lnTo>
                    <a:pt x="17" y="39"/>
                  </a:lnTo>
                  <a:lnTo>
                    <a:pt x="12" y="47"/>
                  </a:lnTo>
                  <a:lnTo>
                    <a:pt x="8" y="55"/>
                  </a:lnTo>
                  <a:lnTo>
                    <a:pt x="5" y="63"/>
                  </a:lnTo>
                  <a:lnTo>
                    <a:pt x="3" y="71"/>
                  </a:lnTo>
                  <a:lnTo>
                    <a:pt x="2" y="81"/>
                  </a:lnTo>
                  <a:lnTo>
                    <a:pt x="0" y="90"/>
                  </a:lnTo>
                  <a:lnTo>
                    <a:pt x="2" y="99"/>
                  </a:lnTo>
                  <a:lnTo>
                    <a:pt x="3" y="108"/>
                  </a:lnTo>
                  <a:lnTo>
                    <a:pt x="5" y="116"/>
                  </a:lnTo>
                  <a:lnTo>
                    <a:pt x="8" y="125"/>
                  </a:lnTo>
                  <a:lnTo>
                    <a:pt x="12" y="132"/>
                  </a:lnTo>
                  <a:lnTo>
                    <a:pt x="17" y="140"/>
                  </a:lnTo>
                  <a:lnTo>
                    <a:pt x="22" y="147"/>
                  </a:lnTo>
                  <a:lnTo>
                    <a:pt x="27" y="154"/>
                  </a:lnTo>
                  <a:lnTo>
                    <a:pt x="34" y="159"/>
                  </a:lnTo>
                  <a:lnTo>
                    <a:pt x="41" y="165"/>
                  </a:lnTo>
                  <a:lnTo>
                    <a:pt x="49" y="169"/>
                  </a:lnTo>
                  <a:lnTo>
                    <a:pt x="56" y="173"/>
                  </a:lnTo>
                  <a:lnTo>
                    <a:pt x="65" y="176"/>
                  </a:lnTo>
                  <a:lnTo>
                    <a:pt x="73" y="179"/>
                  </a:lnTo>
                  <a:lnTo>
                    <a:pt x="82" y="180"/>
                  </a:lnTo>
                  <a:lnTo>
                    <a:pt x="9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3" name="Freeform 10">
              <a:extLst>
                <a:ext uri="{FF2B5EF4-FFF2-40B4-BE49-F238E27FC236}">
                  <a16:creationId xmlns:a16="http://schemas.microsoft.com/office/drawing/2014/main" id="{422659C9-2B1F-4A92-B9C0-135EB806023D}"/>
                </a:ext>
              </a:extLst>
            </p:cNvPr>
            <p:cNvSpPr>
              <a:spLocks noEditPoints="1"/>
            </p:cNvSpPr>
            <p:nvPr/>
          </p:nvSpPr>
          <p:spPr bwMode="auto">
            <a:xfrm>
              <a:off x="4416425" y="1982788"/>
              <a:ext cx="93663" cy="123825"/>
            </a:xfrm>
            <a:custGeom>
              <a:avLst/>
              <a:gdLst>
                <a:gd name="T0" fmla="*/ 265 w 296"/>
                <a:gd name="T1" fmla="*/ 67 h 391"/>
                <a:gd name="T2" fmla="*/ 259 w 296"/>
                <a:gd name="T3" fmla="*/ 114 h 391"/>
                <a:gd name="T4" fmla="*/ 253 w 296"/>
                <a:gd name="T5" fmla="*/ 142 h 391"/>
                <a:gd name="T6" fmla="*/ 244 w 296"/>
                <a:gd name="T7" fmla="*/ 165 h 391"/>
                <a:gd name="T8" fmla="*/ 232 w 296"/>
                <a:gd name="T9" fmla="*/ 184 h 391"/>
                <a:gd name="T10" fmla="*/ 217 w 296"/>
                <a:gd name="T11" fmla="*/ 198 h 391"/>
                <a:gd name="T12" fmla="*/ 198 w 296"/>
                <a:gd name="T13" fmla="*/ 208 h 391"/>
                <a:gd name="T14" fmla="*/ 176 w 296"/>
                <a:gd name="T15" fmla="*/ 213 h 391"/>
                <a:gd name="T16" fmla="*/ 116 w 296"/>
                <a:gd name="T17" fmla="*/ 361 h 391"/>
                <a:gd name="T18" fmla="*/ 104 w 296"/>
                <a:gd name="T19" fmla="*/ 211 h 391"/>
                <a:gd name="T20" fmla="*/ 83 w 296"/>
                <a:gd name="T21" fmla="*/ 203 h 391"/>
                <a:gd name="T22" fmla="*/ 67 w 296"/>
                <a:gd name="T23" fmla="*/ 192 h 391"/>
                <a:gd name="T24" fmla="*/ 56 w 296"/>
                <a:gd name="T25" fmla="*/ 174 h 391"/>
                <a:gd name="T26" fmla="*/ 46 w 296"/>
                <a:gd name="T27" fmla="*/ 153 h 391"/>
                <a:gd name="T28" fmla="*/ 38 w 296"/>
                <a:gd name="T29" fmla="*/ 127 h 391"/>
                <a:gd name="T30" fmla="*/ 34 w 296"/>
                <a:gd name="T31" fmla="*/ 98 h 391"/>
                <a:gd name="T32" fmla="*/ 30 w 296"/>
                <a:gd name="T33" fmla="*/ 31 h 391"/>
                <a:gd name="T34" fmla="*/ 0 w 296"/>
                <a:gd name="T35" fmla="*/ 15 h 391"/>
                <a:gd name="T36" fmla="*/ 2 w 296"/>
                <a:gd name="T37" fmla="*/ 85 h 391"/>
                <a:gd name="T38" fmla="*/ 6 w 296"/>
                <a:gd name="T39" fmla="*/ 120 h 391"/>
                <a:gd name="T40" fmla="*/ 14 w 296"/>
                <a:gd name="T41" fmla="*/ 152 h 391"/>
                <a:gd name="T42" fmla="*/ 23 w 296"/>
                <a:gd name="T43" fmla="*/ 180 h 391"/>
                <a:gd name="T44" fmla="*/ 38 w 296"/>
                <a:gd name="T45" fmla="*/ 204 h 391"/>
                <a:gd name="T46" fmla="*/ 59 w 296"/>
                <a:gd name="T47" fmla="*/ 224 h 391"/>
                <a:gd name="T48" fmla="*/ 72 w 296"/>
                <a:gd name="T49" fmla="*/ 231 h 391"/>
                <a:gd name="T50" fmla="*/ 86 w 296"/>
                <a:gd name="T51" fmla="*/ 237 h 391"/>
                <a:gd name="T52" fmla="*/ 206 w 296"/>
                <a:gd name="T53" fmla="*/ 391 h 391"/>
                <a:gd name="T54" fmla="*/ 213 w 296"/>
                <a:gd name="T55" fmla="*/ 234 h 391"/>
                <a:gd name="T56" fmla="*/ 227 w 296"/>
                <a:gd name="T57" fmla="*/ 228 h 391"/>
                <a:gd name="T58" fmla="*/ 244 w 296"/>
                <a:gd name="T59" fmla="*/ 215 h 391"/>
                <a:gd name="T60" fmla="*/ 264 w 296"/>
                <a:gd name="T61" fmla="*/ 193 h 391"/>
                <a:gd name="T62" fmla="*/ 276 w 296"/>
                <a:gd name="T63" fmla="*/ 167 h 391"/>
                <a:gd name="T64" fmla="*/ 286 w 296"/>
                <a:gd name="T65" fmla="*/ 136 h 391"/>
                <a:gd name="T66" fmla="*/ 291 w 296"/>
                <a:gd name="T67" fmla="*/ 104 h 391"/>
                <a:gd name="T68" fmla="*/ 295 w 296"/>
                <a:gd name="T69" fmla="*/ 51 h 391"/>
                <a:gd name="T70" fmla="*/ 296 w 296"/>
                <a:gd name="T71" fmla="*/ 0 h 391"/>
                <a:gd name="T72" fmla="*/ 0 w 296"/>
                <a:gd name="T73" fmla="*/ 1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6" h="391">
                  <a:moveTo>
                    <a:pt x="266" y="30"/>
                  </a:moveTo>
                  <a:lnTo>
                    <a:pt x="265" y="67"/>
                  </a:lnTo>
                  <a:lnTo>
                    <a:pt x="261" y="99"/>
                  </a:lnTo>
                  <a:lnTo>
                    <a:pt x="259" y="114"/>
                  </a:lnTo>
                  <a:lnTo>
                    <a:pt x="256" y="128"/>
                  </a:lnTo>
                  <a:lnTo>
                    <a:pt x="253" y="142"/>
                  </a:lnTo>
                  <a:lnTo>
                    <a:pt x="250" y="154"/>
                  </a:lnTo>
                  <a:lnTo>
                    <a:pt x="244" y="165"/>
                  </a:lnTo>
                  <a:lnTo>
                    <a:pt x="239" y="175"/>
                  </a:lnTo>
                  <a:lnTo>
                    <a:pt x="232" y="184"/>
                  </a:lnTo>
                  <a:lnTo>
                    <a:pt x="226" y="192"/>
                  </a:lnTo>
                  <a:lnTo>
                    <a:pt x="217" y="198"/>
                  </a:lnTo>
                  <a:lnTo>
                    <a:pt x="209" y="203"/>
                  </a:lnTo>
                  <a:lnTo>
                    <a:pt x="198" y="208"/>
                  </a:lnTo>
                  <a:lnTo>
                    <a:pt x="187" y="211"/>
                  </a:lnTo>
                  <a:lnTo>
                    <a:pt x="176" y="213"/>
                  </a:lnTo>
                  <a:lnTo>
                    <a:pt x="176" y="361"/>
                  </a:lnTo>
                  <a:lnTo>
                    <a:pt x="116" y="361"/>
                  </a:lnTo>
                  <a:lnTo>
                    <a:pt x="116" y="214"/>
                  </a:lnTo>
                  <a:lnTo>
                    <a:pt x="104" y="211"/>
                  </a:lnTo>
                  <a:lnTo>
                    <a:pt x="93" y="208"/>
                  </a:lnTo>
                  <a:lnTo>
                    <a:pt x="83" y="203"/>
                  </a:lnTo>
                  <a:lnTo>
                    <a:pt x="75" y="198"/>
                  </a:lnTo>
                  <a:lnTo>
                    <a:pt x="67" y="192"/>
                  </a:lnTo>
                  <a:lnTo>
                    <a:pt x="61" y="183"/>
                  </a:lnTo>
                  <a:lnTo>
                    <a:pt x="56" y="174"/>
                  </a:lnTo>
                  <a:lnTo>
                    <a:pt x="50" y="164"/>
                  </a:lnTo>
                  <a:lnTo>
                    <a:pt x="46" y="153"/>
                  </a:lnTo>
                  <a:lnTo>
                    <a:pt x="42" y="141"/>
                  </a:lnTo>
                  <a:lnTo>
                    <a:pt x="38" y="127"/>
                  </a:lnTo>
                  <a:lnTo>
                    <a:pt x="36" y="113"/>
                  </a:lnTo>
                  <a:lnTo>
                    <a:pt x="34" y="98"/>
                  </a:lnTo>
                  <a:lnTo>
                    <a:pt x="31" y="66"/>
                  </a:lnTo>
                  <a:lnTo>
                    <a:pt x="30" y="31"/>
                  </a:lnTo>
                  <a:lnTo>
                    <a:pt x="266" y="30"/>
                  </a:lnTo>
                  <a:close/>
                  <a:moveTo>
                    <a:pt x="0" y="15"/>
                  </a:moveTo>
                  <a:lnTo>
                    <a:pt x="1" y="50"/>
                  </a:lnTo>
                  <a:lnTo>
                    <a:pt x="2" y="85"/>
                  </a:lnTo>
                  <a:lnTo>
                    <a:pt x="4" y="103"/>
                  </a:lnTo>
                  <a:lnTo>
                    <a:pt x="6" y="120"/>
                  </a:lnTo>
                  <a:lnTo>
                    <a:pt x="9" y="136"/>
                  </a:lnTo>
                  <a:lnTo>
                    <a:pt x="14" y="152"/>
                  </a:lnTo>
                  <a:lnTo>
                    <a:pt x="18" y="166"/>
                  </a:lnTo>
                  <a:lnTo>
                    <a:pt x="23" y="180"/>
                  </a:lnTo>
                  <a:lnTo>
                    <a:pt x="31" y="193"/>
                  </a:lnTo>
                  <a:lnTo>
                    <a:pt x="38" y="204"/>
                  </a:lnTo>
                  <a:lnTo>
                    <a:pt x="48" y="215"/>
                  </a:lnTo>
                  <a:lnTo>
                    <a:pt x="59" y="224"/>
                  </a:lnTo>
                  <a:lnTo>
                    <a:pt x="65" y="228"/>
                  </a:lnTo>
                  <a:lnTo>
                    <a:pt x="72" y="231"/>
                  </a:lnTo>
                  <a:lnTo>
                    <a:pt x="78" y="234"/>
                  </a:lnTo>
                  <a:lnTo>
                    <a:pt x="86" y="237"/>
                  </a:lnTo>
                  <a:lnTo>
                    <a:pt x="86" y="391"/>
                  </a:lnTo>
                  <a:lnTo>
                    <a:pt x="206" y="391"/>
                  </a:lnTo>
                  <a:lnTo>
                    <a:pt x="206" y="238"/>
                  </a:lnTo>
                  <a:lnTo>
                    <a:pt x="213" y="234"/>
                  </a:lnTo>
                  <a:lnTo>
                    <a:pt x="220" y="231"/>
                  </a:lnTo>
                  <a:lnTo>
                    <a:pt x="227" y="228"/>
                  </a:lnTo>
                  <a:lnTo>
                    <a:pt x="234" y="224"/>
                  </a:lnTo>
                  <a:lnTo>
                    <a:pt x="244" y="215"/>
                  </a:lnTo>
                  <a:lnTo>
                    <a:pt x="255" y="204"/>
                  </a:lnTo>
                  <a:lnTo>
                    <a:pt x="264" y="193"/>
                  </a:lnTo>
                  <a:lnTo>
                    <a:pt x="270" y="181"/>
                  </a:lnTo>
                  <a:lnTo>
                    <a:pt x="276" y="167"/>
                  </a:lnTo>
                  <a:lnTo>
                    <a:pt x="282" y="152"/>
                  </a:lnTo>
                  <a:lnTo>
                    <a:pt x="286" y="136"/>
                  </a:lnTo>
                  <a:lnTo>
                    <a:pt x="289" y="120"/>
                  </a:lnTo>
                  <a:lnTo>
                    <a:pt x="291" y="104"/>
                  </a:lnTo>
                  <a:lnTo>
                    <a:pt x="294" y="85"/>
                  </a:lnTo>
                  <a:lnTo>
                    <a:pt x="295" y="51"/>
                  </a:lnTo>
                  <a:lnTo>
                    <a:pt x="296" y="15"/>
                  </a:lnTo>
                  <a:lnTo>
                    <a:pt x="296" y="0"/>
                  </a:lnTo>
                  <a:lnTo>
                    <a:pt x="0"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4" name="Freeform 11">
              <a:extLst>
                <a:ext uri="{FF2B5EF4-FFF2-40B4-BE49-F238E27FC236}">
                  <a16:creationId xmlns:a16="http://schemas.microsoft.com/office/drawing/2014/main" id="{40AA6943-1093-459A-B661-DA69501D0A60}"/>
                </a:ext>
              </a:extLst>
            </p:cNvPr>
            <p:cNvSpPr>
              <a:spLocks noEditPoints="1"/>
            </p:cNvSpPr>
            <p:nvPr/>
          </p:nvSpPr>
          <p:spPr bwMode="auto">
            <a:xfrm>
              <a:off x="4338638" y="2011363"/>
              <a:ext cx="57150" cy="57150"/>
            </a:xfrm>
            <a:custGeom>
              <a:avLst/>
              <a:gdLst>
                <a:gd name="T0" fmla="*/ 102 w 180"/>
                <a:gd name="T1" fmla="*/ 31 h 180"/>
                <a:gd name="T2" fmla="*/ 119 w 180"/>
                <a:gd name="T3" fmla="*/ 36 h 180"/>
                <a:gd name="T4" fmla="*/ 133 w 180"/>
                <a:gd name="T5" fmla="*/ 47 h 180"/>
                <a:gd name="T6" fmla="*/ 143 w 180"/>
                <a:gd name="T7" fmla="*/ 61 h 180"/>
                <a:gd name="T8" fmla="*/ 149 w 180"/>
                <a:gd name="T9" fmla="*/ 77 h 180"/>
                <a:gd name="T10" fmla="*/ 150 w 180"/>
                <a:gd name="T11" fmla="*/ 95 h 180"/>
                <a:gd name="T12" fmla="*/ 146 w 180"/>
                <a:gd name="T13" fmla="*/ 113 h 180"/>
                <a:gd name="T14" fmla="*/ 136 w 180"/>
                <a:gd name="T15" fmla="*/ 127 h 180"/>
                <a:gd name="T16" fmla="*/ 124 w 180"/>
                <a:gd name="T17" fmla="*/ 139 h 180"/>
                <a:gd name="T18" fmla="*/ 109 w 180"/>
                <a:gd name="T19" fmla="*/ 147 h 180"/>
                <a:gd name="T20" fmla="*/ 90 w 180"/>
                <a:gd name="T21" fmla="*/ 150 h 180"/>
                <a:gd name="T22" fmla="*/ 72 w 180"/>
                <a:gd name="T23" fmla="*/ 147 h 180"/>
                <a:gd name="T24" fmla="*/ 57 w 180"/>
                <a:gd name="T25" fmla="*/ 139 h 180"/>
                <a:gd name="T26" fmla="*/ 44 w 180"/>
                <a:gd name="T27" fmla="*/ 127 h 180"/>
                <a:gd name="T28" fmla="*/ 35 w 180"/>
                <a:gd name="T29" fmla="*/ 113 h 180"/>
                <a:gd name="T30" fmla="*/ 30 w 180"/>
                <a:gd name="T31" fmla="*/ 96 h 180"/>
                <a:gd name="T32" fmla="*/ 31 w 180"/>
                <a:gd name="T33" fmla="*/ 77 h 180"/>
                <a:gd name="T34" fmla="*/ 38 w 180"/>
                <a:gd name="T35" fmla="*/ 61 h 180"/>
                <a:gd name="T36" fmla="*/ 47 w 180"/>
                <a:gd name="T37" fmla="*/ 47 h 180"/>
                <a:gd name="T38" fmla="*/ 61 w 180"/>
                <a:gd name="T39" fmla="*/ 36 h 180"/>
                <a:gd name="T40" fmla="*/ 79 w 180"/>
                <a:gd name="T41" fmla="*/ 31 h 180"/>
                <a:gd name="T42" fmla="*/ 90 w 180"/>
                <a:gd name="T43" fmla="*/ 180 h 180"/>
                <a:gd name="T44" fmla="*/ 117 w 180"/>
                <a:gd name="T45" fmla="*/ 176 h 180"/>
                <a:gd name="T46" fmla="*/ 141 w 180"/>
                <a:gd name="T47" fmla="*/ 165 h 180"/>
                <a:gd name="T48" fmla="*/ 160 w 180"/>
                <a:gd name="T49" fmla="*/ 147 h 180"/>
                <a:gd name="T50" fmla="*/ 174 w 180"/>
                <a:gd name="T51" fmla="*/ 125 h 180"/>
                <a:gd name="T52" fmla="*/ 180 w 180"/>
                <a:gd name="T53" fmla="*/ 98 h 180"/>
                <a:gd name="T54" fmla="*/ 179 w 180"/>
                <a:gd name="T55" fmla="*/ 72 h 180"/>
                <a:gd name="T56" fmla="*/ 170 w 180"/>
                <a:gd name="T57" fmla="*/ 47 h 180"/>
                <a:gd name="T58" fmla="*/ 155 w 180"/>
                <a:gd name="T59" fmla="*/ 25 h 180"/>
                <a:gd name="T60" fmla="*/ 133 w 180"/>
                <a:gd name="T61" fmla="*/ 10 h 180"/>
                <a:gd name="T62" fmla="*/ 109 w 180"/>
                <a:gd name="T63" fmla="*/ 1 h 180"/>
                <a:gd name="T64" fmla="*/ 82 w 180"/>
                <a:gd name="T65" fmla="*/ 0 h 180"/>
                <a:gd name="T66" fmla="*/ 55 w 180"/>
                <a:gd name="T67" fmla="*/ 6 h 180"/>
                <a:gd name="T68" fmla="*/ 34 w 180"/>
                <a:gd name="T69" fmla="*/ 20 h 180"/>
                <a:gd name="T70" fmla="*/ 15 w 180"/>
                <a:gd name="T71" fmla="*/ 39 h 180"/>
                <a:gd name="T72" fmla="*/ 5 w 180"/>
                <a:gd name="T73" fmla="*/ 63 h 180"/>
                <a:gd name="T74" fmla="*/ 0 w 180"/>
                <a:gd name="T75" fmla="*/ 90 h 180"/>
                <a:gd name="T76" fmla="*/ 5 w 180"/>
                <a:gd name="T77" fmla="*/ 117 h 180"/>
                <a:gd name="T78" fmla="*/ 15 w 180"/>
                <a:gd name="T79" fmla="*/ 140 h 180"/>
                <a:gd name="T80" fmla="*/ 34 w 180"/>
                <a:gd name="T81" fmla="*/ 160 h 180"/>
                <a:gd name="T82" fmla="*/ 55 w 180"/>
                <a:gd name="T83" fmla="*/ 172 h 180"/>
                <a:gd name="T84" fmla="*/ 82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7" y="30"/>
                  </a:lnTo>
                  <a:lnTo>
                    <a:pt x="102" y="31"/>
                  </a:lnTo>
                  <a:lnTo>
                    <a:pt x="109" y="32"/>
                  </a:lnTo>
                  <a:lnTo>
                    <a:pt x="114" y="34"/>
                  </a:lnTo>
                  <a:lnTo>
                    <a:pt x="119" y="36"/>
                  </a:lnTo>
                  <a:lnTo>
                    <a:pt x="124" y="39"/>
                  </a:lnTo>
                  <a:lnTo>
                    <a:pt x="129" y="43"/>
                  </a:lnTo>
                  <a:lnTo>
                    <a:pt x="133" y="47"/>
                  </a:lnTo>
                  <a:lnTo>
                    <a:pt x="136" y="51"/>
                  </a:lnTo>
                  <a:lnTo>
                    <a:pt x="141" y="56"/>
                  </a:lnTo>
                  <a:lnTo>
                    <a:pt x="143" y="61"/>
                  </a:lnTo>
                  <a:lnTo>
                    <a:pt x="146" y="66"/>
                  </a:lnTo>
                  <a:lnTo>
                    <a:pt x="148" y="72"/>
                  </a:lnTo>
                  <a:lnTo>
                    <a:pt x="149" y="77"/>
                  </a:lnTo>
                  <a:lnTo>
                    <a:pt x="150" y="83"/>
                  </a:lnTo>
                  <a:lnTo>
                    <a:pt x="150" y="90"/>
                  </a:lnTo>
                  <a:lnTo>
                    <a:pt x="150" y="95"/>
                  </a:lnTo>
                  <a:lnTo>
                    <a:pt x="149" y="102"/>
                  </a:lnTo>
                  <a:lnTo>
                    <a:pt x="148" y="107"/>
                  </a:lnTo>
                  <a:lnTo>
                    <a:pt x="146" y="113"/>
                  </a:lnTo>
                  <a:lnTo>
                    <a:pt x="143" y="118"/>
                  </a:lnTo>
                  <a:lnTo>
                    <a:pt x="141" y="123"/>
                  </a:lnTo>
                  <a:lnTo>
                    <a:pt x="136" y="127"/>
                  </a:lnTo>
                  <a:lnTo>
                    <a:pt x="133" y="132"/>
                  </a:lnTo>
                  <a:lnTo>
                    <a:pt x="129" y="136"/>
                  </a:lnTo>
                  <a:lnTo>
                    <a:pt x="124" y="139"/>
                  </a:lnTo>
                  <a:lnTo>
                    <a:pt x="119" y="142"/>
                  </a:lnTo>
                  <a:lnTo>
                    <a:pt x="114" y="144"/>
                  </a:lnTo>
                  <a:lnTo>
                    <a:pt x="109" y="147"/>
                  </a:lnTo>
                  <a:lnTo>
                    <a:pt x="102" y="149"/>
                  </a:lnTo>
                  <a:lnTo>
                    <a:pt x="97" y="150"/>
                  </a:lnTo>
                  <a:lnTo>
                    <a:pt x="90" y="150"/>
                  </a:lnTo>
                  <a:lnTo>
                    <a:pt x="84" y="150"/>
                  </a:lnTo>
                  <a:lnTo>
                    <a:pt x="79" y="149"/>
                  </a:lnTo>
                  <a:lnTo>
                    <a:pt x="72" y="147"/>
                  </a:lnTo>
                  <a:lnTo>
                    <a:pt x="67" y="144"/>
                  </a:lnTo>
                  <a:lnTo>
                    <a:pt x="61" y="142"/>
                  </a:lnTo>
                  <a:lnTo>
                    <a:pt x="57" y="139"/>
                  </a:lnTo>
                  <a:lnTo>
                    <a:pt x="52" y="136"/>
                  </a:lnTo>
                  <a:lnTo>
                    <a:pt x="47" y="132"/>
                  </a:lnTo>
                  <a:lnTo>
                    <a:pt x="44" y="127"/>
                  </a:lnTo>
                  <a:lnTo>
                    <a:pt x="41" y="123"/>
                  </a:lnTo>
                  <a:lnTo>
                    <a:pt x="38" y="118"/>
                  </a:lnTo>
                  <a:lnTo>
                    <a:pt x="35" y="113"/>
                  </a:lnTo>
                  <a:lnTo>
                    <a:pt x="34" y="107"/>
                  </a:lnTo>
                  <a:lnTo>
                    <a:pt x="31" y="102"/>
                  </a:lnTo>
                  <a:lnTo>
                    <a:pt x="30" y="96"/>
                  </a:lnTo>
                  <a:lnTo>
                    <a:pt x="30" y="90"/>
                  </a:lnTo>
                  <a:lnTo>
                    <a:pt x="30" y="83"/>
                  </a:lnTo>
                  <a:lnTo>
                    <a:pt x="31" y="77"/>
                  </a:lnTo>
                  <a:lnTo>
                    <a:pt x="34" y="72"/>
                  </a:lnTo>
                  <a:lnTo>
                    <a:pt x="35" y="66"/>
                  </a:lnTo>
                  <a:lnTo>
                    <a:pt x="38" y="61"/>
                  </a:lnTo>
                  <a:lnTo>
                    <a:pt x="41" y="56"/>
                  </a:lnTo>
                  <a:lnTo>
                    <a:pt x="44" y="51"/>
                  </a:lnTo>
                  <a:lnTo>
                    <a:pt x="47" y="47"/>
                  </a:lnTo>
                  <a:lnTo>
                    <a:pt x="52" y="43"/>
                  </a:lnTo>
                  <a:lnTo>
                    <a:pt x="57" y="39"/>
                  </a:lnTo>
                  <a:lnTo>
                    <a:pt x="61" y="36"/>
                  </a:lnTo>
                  <a:lnTo>
                    <a:pt x="67" y="34"/>
                  </a:lnTo>
                  <a:lnTo>
                    <a:pt x="72" y="32"/>
                  </a:lnTo>
                  <a:lnTo>
                    <a:pt x="79" y="31"/>
                  </a:lnTo>
                  <a:lnTo>
                    <a:pt x="84" y="30"/>
                  </a:lnTo>
                  <a:lnTo>
                    <a:pt x="90" y="30"/>
                  </a:lnTo>
                  <a:close/>
                  <a:moveTo>
                    <a:pt x="90" y="180"/>
                  </a:moveTo>
                  <a:lnTo>
                    <a:pt x="100" y="180"/>
                  </a:lnTo>
                  <a:lnTo>
                    <a:pt x="109" y="178"/>
                  </a:lnTo>
                  <a:lnTo>
                    <a:pt x="117" y="176"/>
                  </a:lnTo>
                  <a:lnTo>
                    <a:pt x="126" y="172"/>
                  </a:lnTo>
                  <a:lnTo>
                    <a:pt x="133" y="169"/>
                  </a:lnTo>
                  <a:lnTo>
                    <a:pt x="141" y="165"/>
                  </a:lnTo>
                  <a:lnTo>
                    <a:pt x="148" y="160"/>
                  </a:lnTo>
                  <a:lnTo>
                    <a:pt x="155" y="153"/>
                  </a:lnTo>
                  <a:lnTo>
                    <a:pt x="160" y="147"/>
                  </a:lnTo>
                  <a:lnTo>
                    <a:pt x="165" y="140"/>
                  </a:lnTo>
                  <a:lnTo>
                    <a:pt x="170" y="133"/>
                  </a:lnTo>
                  <a:lnTo>
                    <a:pt x="174" y="125"/>
                  </a:lnTo>
                  <a:lnTo>
                    <a:pt x="176" y="117"/>
                  </a:lnTo>
                  <a:lnTo>
                    <a:pt x="179" y="108"/>
                  </a:lnTo>
                  <a:lnTo>
                    <a:pt x="180" y="98"/>
                  </a:lnTo>
                  <a:lnTo>
                    <a:pt x="180" y="90"/>
                  </a:lnTo>
                  <a:lnTo>
                    <a:pt x="180" y="80"/>
                  </a:lnTo>
                  <a:lnTo>
                    <a:pt x="179" y="72"/>
                  </a:lnTo>
                  <a:lnTo>
                    <a:pt x="176" y="63"/>
                  </a:lnTo>
                  <a:lnTo>
                    <a:pt x="174" y="54"/>
                  </a:lnTo>
                  <a:lnTo>
                    <a:pt x="170" y="47"/>
                  </a:lnTo>
                  <a:lnTo>
                    <a:pt x="165" y="39"/>
                  </a:lnTo>
                  <a:lnTo>
                    <a:pt x="160" y="32"/>
                  </a:lnTo>
                  <a:lnTo>
                    <a:pt x="155" y="25"/>
                  </a:lnTo>
                  <a:lnTo>
                    <a:pt x="148" y="20"/>
                  </a:lnTo>
                  <a:lnTo>
                    <a:pt x="141" y="15"/>
                  </a:lnTo>
                  <a:lnTo>
                    <a:pt x="133" y="10"/>
                  </a:lnTo>
                  <a:lnTo>
                    <a:pt x="126" y="6"/>
                  </a:lnTo>
                  <a:lnTo>
                    <a:pt x="117" y="3"/>
                  </a:lnTo>
                  <a:lnTo>
                    <a:pt x="109" y="1"/>
                  </a:lnTo>
                  <a:lnTo>
                    <a:pt x="100" y="0"/>
                  </a:lnTo>
                  <a:lnTo>
                    <a:pt x="90" y="0"/>
                  </a:lnTo>
                  <a:lnTo>
                    <a:pt x="82" y="0"/>
                  </a:lnTo>
                  <a:lnTo>
                    <a:pt x="72" y="1"/>
                  </a:lnTo>
                  <a:lnTo>
                    <a:pt x="64" y="3"/>
                  </a:lnTo>
                  <a:lnTo>
                    <a:pt x="55" y="6"/>
                  </a:lnTo>
                  <a:lnTo>
                    <a:pt x="47" y="10"/>
                  </a:lnTo>
                  <a:lnTo>
                    <a:pt x="40" y="15"/>
                  </a:lnTo>
                  <a:lnTo>
                    <a:pt x="34" y="20"/>
                  </a:lnTo>
                  <a:lnTo>
                    <a:pt x="27" y="25"/>
                  </a:lnTo>
                  <a:lnTo>
                    <a:pt x="21" y="32"/>
                  </a:lnTo>
                  <a:lnTo>
                    <a:pt x="15" y="39"/>
                  </a:lnTo>
                  <a:lnTo>
                    <a:pt x="11" y="47"/>
                  </a:lnTo>
                  <a:lnTo>
                    <a:pt x="8" y="54"/>
                  </a:lnTo>
                  <a:lnTo>
                    <a:pt x="5" y="63"/>
                  </a:lnTo>
                  <a:lnTo>
                    <a:pt x="2" y="72"/>
                  </a:lnTo>
                  <a:lnTo>
                    <a:pt x="0" y="80"/>
                  </a:lnTo>
                  <a:lnTo>
                    <a:pt x="0" y="90"/>
                  </a:lnTo>
                  <a:lnTo>
                    <a:pt x="0" y="98"/>
                  </a:lnTo>
                  <a:lnTo>
                    <a:pt x="2" y="108"/>
                  </a:lnTo>
                  <a:lnTo>
                    <a:pt x="5" y="117"/>
                  </a:lnTo>
                  <a:lnTo>
                    <a:pt x="8" y="125"/>
                  </a:lnTo>
                  <a:lnTo>
                    <a:pt x="11" y="133"/>
                  </a:lnTo>
                  <a:lnTo>
                    <a:pt x="15" y="140"/>
                  </a:lnTo>
                  <a:lnTo>
                    <a:pt x="21" y="147"/>
                  </a:lnTo>
                  <a:lnTo>
                    <a:pt x="27" y="153"/>
                  </a:lnTo>
                  <a:lnTo>
                    <a:pt x="34" y="160"/>
                  </a:lnTo>
                  <a:lnTo>
                    <a:pt x="40" y="165"/>
                  </a:lnTo>
                  <a:lnTo>
                    <a:pt x="47" y="169"/>
                  </a:lnTo>
                  <a:lnTo>
                    <a:pt x="55" y="172"/>
                  </a:lnTo>
                  <a:lnTo>
                    <a:pt x="64" y="176"/>
                  </a:lnTo>
                  <a:lnTo>
                    <a:pt x="72" y="178"/>
                  </a:lnTo>
                  <a:lnTo>
                    <a:pt x="82"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5" name="Freeform 12">
              <a:extLst>
                <a:ext uri="{FF2B5EF4-FFF2-40B4-BE49-F238E27FC236}">
                  <a16:creationId xmlns:a16="http://schemas.microsoft.com/office/drawing/2014/main" id="{1BBEC5FD-0125-462A-9B0A-6947DCB65DB7}"/>
                </a:ext>
              </a:extLst>
            </p:cNvPr>
            <p:cNvSpPr>
              <a:spLocks noEditPoints="1"/>
            </p:cNvSpPr>
            <p:nvPr/>
          </p:nvSpPr>
          <p:spPr bwMode="auto">
            <a:xfrm>
              <a:off x="4319588" y="2078038"/>
              <a:ext cx="93663" cy="123825"/>
            </a:xfrm>
            <a:custGeom>
              <a:avLst/>
              <a:gdLst>
                <a:gd name="T0" fmla="*/ 265 w 295"/>
                <a:gd name="T1" fmla="*/ 64 h 391"/>
                <a:gd name="T2" fmla="*/ 261 w 295"/>
                <a:gd name="T3" fmla="*/ 111 h 391"/>
                <a:gd name="T4" fmla="*/ 256 w 295"/>
                <a:gd name="T5" fmla="*/ 138 h 391"/>
                <a:gd name="T6" fmla="*/ 249 w 295"/>
                <a:gd name="T7" fmla="*/ 162 h 391"/>
                <a:gd name="T8" fmla="*/ 238 w 295"/>
                <a:gd name="T9" fmla="*/ 182 h 391"/>
                <a:gd name="T10" fmla="*/ 223 w 295"/>
                <a:gd name="T11" fmla="*/ 197 h 391"/>
                <a:gd name="T12" fmla="*/ 204 w 295"/>
                <a:gd name="T13" fmla="*/ 208 h 391"/>
                <a:gd name="T14" fmla="*/ 180 w 295"/>
                <a:gd name="T15" fmla="*/ 213 h 391"/>
                <a:gd name="T16" fmla="*/ 120 w 295"/>
                <a:gd name="T17" fmla="*/ 361 h 391"/>
                <a:gd name="T18" fmla="*/ 109 w 295"/>
                <a:gd name="T19" fmla="*/ 211 h 391"/>
                <a:gd name="T20" fmla="*/ 90 w 295"/>
                <a:gd name="T21" fmla="*/ 205 h 391"/>
                <a:gd name="T22" fmla="*/ 74 w 295"/>
                <a:gd name="T23" fmla="*/ 194 h 391"/>
                <a:gd name="T24" fmla="*/ 61 w 295"/>
                <a:gd name="T25" fmla="*/ 178 h 391"/>
                <a:gd name="T26" fmla="*/ 51 w 295"/>
                <a:gd name="T27" fmla="*/ 159 h 391"/>
                <a:gd name="T28" fmla="*/ 42 w 295"/>
                <a:gd name="T29" fmla="*/ 134 h 391"/>
                <a:gd name="T30" fmla="*/ 36 w 295"/>
                <a:gd name="T31" fmla="*/ 104 h 391"/>
                <a:gd name="T32" fmla="*/ 32 w 295"/>
                <a:gd name="T33" fmla="*/ 70 h 391"/>
                <a:gd name="T34" fmla="*/ 30 w 295"/>
                <a:gd name="T35" fmla="*/ 30 h 391"/>
                <a:gd name="T36" fmla="*/ 0 w 295"/>
                <a:gd name="T37" fmla="*/ 15 h 391"/>
                <a:gd name="T38" fmla="*/ 3 w 295"/>
                <a:gd name="T39" fmla="*/ 84 h 391"/>
                <a:gd name="T40" fmla="*/ 8 w 295"/>
                <a:gd name="T41" fmla="*/ 118 h 391"/>
                <a:gd name="T42" fmla="*/ 15 w 295"/>
                <a:gd name="T43" fmla="*/ 150 h 391"/>
                <a:gd name="T44" fmla="*/ 27 w 295"/>
                <a:gd name="T45" fmla="*/ 179 h 391"/>
                <a:gd name="T46" fmla="*/ 42 w 295"/>
                <a:gd name="T47" fmla="*/ 204 h 391"/>
                <a:gd name="T48" fmla="*/ 63 w 295"/>
                <a:gd name="T49" fmla="*/ 223 h 391"/>
                <a:gd name="T50" fmla="*/ 76 w 295"/>
                <a:gd name="T51" fmla="*/ 230 h 391"/>
                <a:gd name="T52" fmla="*/ 90 w 295"/>
                <a:gd name="T53" fmla="*/ 237 h 391"/>
                <a:gd name="T54" fmla="*/ 210 w 295"/>
                <a:gd name="T55" fmla="*/ 391 h 391"/>
                <a:gd name="T56" fmla="*/ 218 w 295"/>
                <a:gd name="T57" fmla="*/ 235 h 391"/>
                <a:gd name="T58" fmla="*/ 232 w 295"/>
                <a:gd name="T59" fmla="*/ 227 h 391"/>
                <a:gd name="T60" fmla="*/ 245 w 295"/>
                <a:gd name="T61" fmla="*/ 219 h 391"/>
                <a:gd name="T62" fmla="*/ 255 w 295"/>
                <a:gd name="T63" fmla="*/ 209 h 391"/>
                <a:gd name="T64" fmla="*/ 268 w 295"/>
                <a:gd name="T65" fmla="*/ 191 h 391"/>
                <a:gd name="T66" fmla="*/ 280 w 295"/>
                <a:gd name="T67" fmla="*/ 164 h 391"/>
                <a:gd name="T68" fmla="*/ 289 w 295"/>
                <a:gd name="T69" fmla="*/ 133 h 391"/>
                <a:gd name="T70" fmla="*/ 293 w 295"/>
                <a:gd name="T71" fmla="*/ 100 h 391"/>
                <a:gd name="T72" fmla="*/ 295 w 295"/>
                <a:gd name="T73" fmla="*/ 48 h 391"/>
                <a:gd name="T74" fmla="*/ 295 w 295"/>
                <a:gd name="T75" fmla="*/ 0 h 391"/>
                <a:gd name="T76" fmla="*/ 0 w 295"/>
                <a:gd name="T77" fmla="*/ 1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391">
                  <a:moveTo>
                    <a:pt x="265" y="30"/>
                  </a:moveTo>
                  <a:lnTo>
                    <a:pt x="265" y="64"/>
                  </a:lnTo>
                  <a:lnTo>
                    <a:pt x="263" y="96"/>
                  </a:lnTo>
                  <a:lnTo>
                    <a:pt x="261" y="111"/>
                  </a:lnTo>
                  <a:lnTo>
                    <a:pt x="259" y="125"/>
                  </a:lnTo>
                  <a:lnTo>
                    <a:pt x="256" y="138"/>
                  </a:lnTo>
                  <a:lnTo>
                    <a:pt x="253" y="151"/>
                  </a:lnTo>
                  <a:lnTo>
                    <a:pt x="249" y="162"/>
                  </a:lnTo>
                  <a:lnTo>
                    <a:pt x="244" y="173"/>
                  </a:lnTo>
                  <a:lnTo>
                    <a:pt x="238" y="182"/>
                  </a:lnTo>
                  <a:lnTo>
                    <a:pt x="231" y="190"/>
                  </a:lnTo>
                  <a:lnTo>
                    <a:pt x="223" y="197"/>
                  </a:lnTo>
                  <a:lnTo>
                    <a:pt x="214" y="203"/>
                  </a:lnTo>
                  <a:lnTo>
                    <a:pt x="204" y="208"/>
                  </a:lnTo>
                  <a:lnTo>
                    <a:pt x="192" y="211"/>
                  </a:lnTo>
                  <a:lnTo>
                    <a:pt x="180" y="213"/>
                  </a:lnTo>
                  <a:lnTo>
                    <a:pt x="180" y="361"/>
                  </a:lnTo>
                  <a:lnTo>
                    <a:pt x="120" y="361"/>
                  </a:lnTo>
                  <a:lnTo>
                    <a:pt x="120" y="213"/>
                  </a:lnTo>
                  <a:lnTo>
                    <a:pt x="109" y="211"/>
                  </a:lnTo>
                  <a:lnTo>
                    <a:pt x="99" y="208"/>
                  </a:lnTo>
                  <a:lnTo>
                    <a:pt x="90" y="205"/>
                  </a:lnTo>
                  <a:lnTo>
                    <a:pt x="82" y="199"/>
                  </a:lnTo>
                  <a:lnTo>
                    <a:pt x="74" y="194"/>
                  </a:lnTo>
                  <a:lnTo>
                    <a:pt x="68" y="186"/>
                  </a:lnTo>
                  <a:lnTo>
                    <a:pt x="61" y="178"/>
                  </a:lnTo>
                  <a:lnTo>
                    <a:pt x="56" y="169"/>
                  </a:lnTo>
                  <a:lnTo>
                    <a:pt x="51" y="159"/>
                  </a:lnTo>
                  <a:lnTo>
                    <a:pt x="46" y="147"/>
                  </a:lnTo>
                  <a:lnTo>
                    <a:pt x="42" y="134"/>
                  </a:lnTo>
                  <a:lnTo>
                    <a:pt x="39" y="120"/>
                  </a:lnTo>
                  <a:lnTo>
                    <a:pt x="36" y="104"/>
                  </a:lnTo>
                  <a:lnTo>
                    <a:pt x="33" y="88"/>
                  </a:lnTo>
                  <a:lnTo>
                    <a:pt x="32" y="70"/>
                  </a:lnTo>
                  <a:lnTo>
                    <a:pt x="31" y="50"/>
                  </a:lnTo>
                  <a:lnTo>
                    <a:pt x="30" y="30"/>
                  </a:lnTo>
                  <a:lnTo>
                    <a:pt x="265" y="30"/>
                  </a:lnTo>
                  <a:close/>
                  <a:moveTo>
                    <a:pt x="0" y="15"/>
                  </a:moveTo>
                  <a:lnTo>
                    <a:pt x="0" y="49"/>
                  </a:lnTo>
                  <a:lnTo>
                    <a:pt x="3" y="84"/>
                  </a:lnTo>
                  <a:lnTo>
                    <a:pt x="5" y="101"/>
                  </a:lnTo>
                  <a:lnTo>
                    <a:pt x="8" y="118"/>
                  </a:lnTo>
                  <a:lnTo>
                    <a:pt x="11" y="134"/>
                  </a:lnTo>
                  <a:lnTo>
                    <a:pt x="15" y="150"/>
                  </a:lnTo>
                  <a:lnTo>
                    <a:pt x="21" y="164"/>
                  </a:lnTo>
                  <a:lnTo>
                    <a:pt x="27" y="179"/>
                  </a:lnTo>
                  <a:lnTo>
                    <a:pt x="35" y="192"/>
                  </a:lnTo>
                  <a:lnTo>
                    <a:pt x="42" y="204"/>
                  </a:lnTo>
                  <a:lnTo>
                    <a:pt x="53" y="214"/>
                  </a:lnTo>
                  <a:lnTo>
                    <a:pt x="63" y="223"/>
                  </a:lnTo>
                  <a:lnTo>
                    <a:pt x="70" y="227"/>
                  </a:lnTo>
                  <a:lnTo>
                    <a:pt x="76" y="230"/>
                  </a:lnTo>
                  <a:lnTo>
                    <a:pt x="83" y="234"/>
                  </a:lnTo>
                  <a:lnTo>
                    <a:pt x="90" y="237"/>
                  </a:lnTo>
                  <a:lnTo>
                    <a:pt x="90" y="391"/>
                  </a:lnTo>
                  <a:lnTo>
                    <a:pt x="210" y="391"/>
                  </a:lnTo>
                  <a:lnTo>
                    <a:pt x="210" y="237"/>
                  </a:lnTo>
                  <a:lnTo>
                    <a:pt x="218" y="235"/>
                  </a:lnTo>
                  <a:lnTo>
                    <a:pt x="225" y="231"/>
                  </a:lnTo>
                  <a:lnTo>
                    <a:pt x="232" y="227"/>
                  </a:lnTo>
                  <a:lnTo>
                    <a:pt x="238" y="223"/>
                  </a:lnTo>
                  <a:lnTo>
                    <a:pt x="245" y="219"/>
                  </a:lnTo>
                  <a:lnTo>
                    <a:pt x="250" y="214"/>
                  </a:lnTo>
                  <a:lnTo>
                    <a:pt x="255" y="209"/>
                  </a:lnTo>
                  <a:lnTo>
                    <a:pt x="260" y="204"/>
                  </a:lnTo>
                  <a:lnTo>
                    <a:pt x="268" y="191"/>
                  </a:lnTo>
                  <a:lnTo>
                    <a:pt x="275" y="178"/>
                  </a:lnTo>
                  <a:lnTo>
                    <a:pt x="280" y="164"/>
                  </a:lnTo>
                  <a:lnTo>
                    <a:pt x="285" y="149"/>
                  </a:lnTo>
                  <a:lnTo>
                    <a:pt x="289" y="133"/>
                  </a:lnTo>
                  <a:lnTo>
                    <a:pt x="291" y="117"/>
                  </a:lnTo>
                  <a:lnTo>
                    <a:pt x="293" y="100"/>
                  </a:lnTo>
                  <a:lnTo>
                    <a:pt x="294" y="82"/>
                  </a:lnTo>
                  <a:lnTo>
                    <a:pt x="295" y="48"/>
                  </a:lnTo>
                  <a:lnTo>
                    <a:pt x="295" y="15"/>
                  </a:lnTo>
                  <a:lnTo>
                    <a:pt x="295" y="0"/>
                  </a:lnTo>
                  <a:lnTo>
                    <a:pt x="0"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16" name="Group 84">
            <a:extLst>
              <a:ext uri="{FF2B5EF4-FFF2-40B4-BE49-F238E27FC236}">
                <a16:creationId xmlns:a16="http://schemas.microsoft.com/office/drawing/2014/main" id="{C57DA60C-497D-4F3A-B137-CD3648EA7C13}"/>
              </a:ext>
            </a:extLst>
          </p:cNvPr>
          <p:cNvGrpSpPr>
            <a:grpSpLocks noChangeAspect="1"/>
          </p:cNvGrpSpPr>
          <p:nvPr/>
        </p:nvGrpSpPr>
        <p:grpSpPr>
          <a:xfrm>
            <a:off x="6187854" y="5441791"/>
            <a:ext cx="283177" cy="237190"/>
            <a:chOff x="7875588" y="1130300"/>
            <a:chExt cx="371476" cy="311150"/>
          </a:xfrm>
          <a:solidFill>
            <a:schemeClr val="bg2"/>
          </a:solidFill>
          <a:effectLst/>
        </p:grpSpPr>
        <p:sp>
          <p:nvSpPr>
            <p:cNvPr id="717" name="Freeform 85">
              <a:extLst>
                <a:ext uri="{FF2B5EF4-FFF2-40B4-BE49-F238E27FC236}">
                  <a16:creationId xmlns:a16="http://schemas.microsoft.com/office/drawing/2014/main" id="{FD0F7E17-4D39-4B5B-9A01-6DC7E461219D}"/>
                </a:ext>
              </a:extLst>
            </p:cNvPr>
            <p:cNvSpPr>
              <a:spLocks noEditPoints="1"/>
            </p:cNvSpPr>
            <p:nvPr/>
          </p:nvSpPr>
          <p:spPr bwMode="auto">
            <a:xfrm>
              <a:off x="7875588" y="1171575"/>
              <a:ext cx="61913" cy="635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1"/>
                    <a:pt x="6" y="12"/>
                    <a:pt x="8" y="12"/>
                  </a:cubicBezTo>
                  <a:cubicBezTo>
                    <a:pt x="10" y="12"/>
                    <a:pt x="12" y="11"/>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8" name="Freeform 86">
              <a:extLst>
                <a:ext uri="{FF2B5EF4-FFF2-40B4-BE49-F238E27FC236}">
                  <a16:creationId xmlns:a16="http://schemas.microsoft.com/office/drawing/2014/main" id="{F76CD3B4-180A-4342-B709-2ED46A8A2521}"/>
                </a:ext>
              </a:extLst>
            </p:cNvPr>
            <p:cNvSpPr>
              <a:spLocks noEditPoints="1"/>
            </p:cNvSpPr>
            <p:nvPr/>
          </p:nvSpPr>
          <p:spPr bwMode="auto">
            <a:xfrm>
              <a:off x="8185151" y="11763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5"/>
                    <a:pt x="4" y="8"/>
                  </a:cubicBezTo>
                  <a:cubicBezTo>
                    <a:pt x="4" y="10"/>
                    <a:pt x="6" y="12"/>
                    <a:pt x="8" y="12"/>
                  </a:cubicBezTo>
                  <a:cubicBezTo>
                    <a:pt x="10" y="12"/>
                    <a:pt x="12" y="10"/>
                    <a:pt x="12" y="8"/>
                  </a:cubicBezTo>
                  <a:cubicBezTo>
                    <a:pt x="12" y="5"/>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9" name="Freeform 87">
              <a:extLst>
                <a:ext uri="{FF2B5EF4-FFF2-40B4-BE49-F238E27FC236}">
                  <a16:creationId xmlns:a16="http://schemas.microsoft.com/office/drawing/2014/main" id="{3E2C64A8-4CDC-4ADF-84E5-0DA65096F1CB}"/>
                </a:ext>
              </a:extLst>
            </p:cNvPr>
            <p:cNvSpPr>
              <a:spLocks/>
            </p:cNvSpPr>
            <p:nvPr/>
          </p:nvSpPr>
          <p:spPr bwMode="auto">
            <a:xfrm>
              <a:off x="7929563" y="1425575"/>
              <a:ext cx="263525" cy="15875"/>
            </a:xfrm>
            <a:custGeom>
              <a:avLst/>
              <a:gdLst>
                <a:gd name="T0" fmla="*/ 66 w 68"/>
                <a:gd name="T1" fmla="*/ 4 h 4"/>
                <a:gd name="T2" fmla="*/ 2 w 68"/>
                <a:gd name="T3" fmla="*/ 4 h 4"/>
                <a:gd name="T4" fmla="*/ 0 w 68"/>
                <a:gd name="T5" fmla="*/ 2 h 4"/>
                <a:gd name="T6" fmla="*/ 2 w 68"/>
                <a:gd name="T7" fmla="*/ 0 h 4"/>
                <a:gd name="T8" fmla="*/ 66 w 68"/>
                <a:gd name="T9" fmla="*/ 0 h 4"/>
                <a:gd name="T10" fmla="*/ 68 w 68"/>
                <a:gd name="T11" fmla="*/ 2 h 4"/>
                <a:gd name="T12" fmla="*/ 66 w 6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8" h="4">
                  <a:moveTo>
                    <a:pt x="66" y="4"/>
                  </a:moveTo>
                  <a:cubicBezTo>
                    <a:pt x="2" y="4"/>
                    <a:pt x="2" y="4"/>
                    <a:pt x="2" y="4"/>
                  </a:cubicBezTo>
                  <a:cubicBezTo>
                    <a:pt x="1" y="4"/>
                    <a:pt x="0" y="3"/>
                    <a:pt x="0" y="2"/>
                  </a:cubicBezTo>
                  <a:cubicBezTo>
                    <a:pt x="0" y="1"/>
                    <a:pt x="1" y="0"/>
                    <a:pt x="2" y="0"/>
                  </a:cubicBezTo>
                  <a:cubicBezTo>
                    <a:pt x="66" y="0"/>
                    <a:pt x="66" y="0"/>
                    <a:pt x="66" y="0"/>
                  </a:cubicBezTo>
                  <a:cubicBezTo>
                    <a:pt x="67" y="0"/>
                    <a:pt x="68" y="1"/>
                    <a:pt x="68" y="2"/>
                  </a:cubicBezTo>
                  <a:cubicBezTo>
                    <a:pt x="68" y="3"/>
                    <a:pt x="67" y="4"/>
                    <a:pt x="6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0" name="Freeform 88">
              <a:extLst>
                <a:ext uri="{FF2B5EF4-FFF2-40B4-BE49-F238E27FC236}">
                  <a16:creationId xmlns:a16="http://schemas.microsoft.com/office/drawing/2014/main" id="{254B6BF0-435A-4FA5-A3BA-010922E94EEF}"/>
                </a:ext>
              </a:extLst>
            </p:cNvPr>
            <p:cNvSpPr>
              <a:spLocks noEditPoints="1"/>
            </p:cNvSpPr>
            <p:nvPr/>
          </p:nvSpPr>
          <p:spPr bwMode="auto">
            <a:xfrm>
              <a:off x="7899401" y="1192213"/>
              <a:ext cx="323850" cy="217488"/>
            </a:xfrm>
            <a:custGeom>
              <a:avLst/>
              <a:gdLst>
                <a:gd name="T0" fmla="*/ 74 w 84"/>
                <a:gd name="T1" fmla="*/ 56 h 56"/>
                <a:gd name="T2" fmla="*/ 10 w 84"/>
                <a:gd name="T3" fmla="*/ 56 h 56"/>
                <a:gd name="T4" fmla="*/ 8 w 84"/>
                <a:gd name="T5" fmla="*/ 54 h 56"/>
                <a:gd name="T6" fmla="*/ 0 w 84"/>
                <a:gd name="T7" fmla="*/ 10 h 56"/>
                <a:gd name="T8" fmla="*/ 1 w 84"/>
                <a:gd name="T9" fmla="*/ 7 h 56"/>
                <a:gd name="T10" fmla="*/ 4 w 84"/>
                <a:gd name="T11" fmla="*/ 9 h 56"/>
                <a:gd name="T12" fmla="*/ 22 w 84"/>
                <a:gd name="T13" fmla="*/ 28 h 56"/>
                <a:gd name="T14" fmla="*/ 40 w 84"/>
                <a:gd name="T15" fmla="*/ 2 h 56"/>
                <a:gd name="T16" fmla="*/ 42 w 84"/>
                <a:gd name="T17" fmla="*/ 0 h 56"/>
                <a:gd name="T18" fmla="*/ 44 w 84"/>
                <a:gd name="T19" fmla="*/ 2 h 56"/>
                <a:gd name="T20" fmla="*/ 62 w 84"/>
                <a:gd name="T21" fmla="*/ 28 h 56"/>
                <a:gd name="T22" fmla="*/ 80 w 84"/>
                <a:gd name="T23" fmla="*/ 9 h 56"/>
                <a:gd name="T24" fmla="*/ 83 w 84"/>
                <a:gd name="T25" fmla="*/ 8 h 56"/>
                <a:gd name="T26" fmla="*/ 84 w 84"/>
                <a:gd name="T27" fmla="*/ 10 h 56"/>
                <a:gd name="T28" fmla="*/ 76 w 84"/>
                <a:gd name="T29" fmla="*/ 54 h 56"/>
                <a:gd name="T30" fmla="*/ 74 w 84"/>
                <a:gd name="T31" fmla="*/ 56 h 56"/>
                <a:gd name="T32" fmla="*/ 12 w 84"/>
                <a:gd name="T33" fmla="*/ 52 h 56"/>
                <a:gd name="T34" fmla="*/ 72 w 84"/>
                <a:gd name="T35" fmla="*/ 52 h 56"/>
                <a:gd name="T36" fmla="*/ 77 w 84"/>
                <a:gd name="T37" fmla="*/ 24 h 56"/>
                <a:gd name="T38" fmla="*/ 62 w 84"/>
                <a:gd name="T39" fmla="*/ 32 h 56"/>
                <a:gd name="T40" fmla="*/ 42 w 84"/>
                <a:gd name="T41" fmla="*/ 11 h 56"/>
                <a:gd name="T42" fmla="*/ 22 w 84"/>
                <a:gd name="T43" fmla="*/ 32 h 56"/>
                <a:gd name="T44" fmla="*/ 7 w 84"/>
                <a:gd name="T45" fmla="*/ 24 h 56"/>
                <a:gd name="T46" fmla="*/ 12 w 84"/>
                <a:gd name="T4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56">
                  <a:moveTo>
                    <a:pt x="74" y="56"/>
                  </a:moveTo>
                  <a:cubicBezTo>
                    <a:pt x="10" y="56"/>
                    <a:pt x="10" y="56"/>
                    <a:pt x="10" y="56"/>
                  </a:cubicBezTo>
                  <a:cubicBezTo>
                    <a:pt x="9" y="56"/>
                    <a:pt x="8" y="55"/>
                    <a:pt x="8" y="54"/>
                  </a:cubicBezTo>
                  <a:cubicBezTo>
                    <a:pt x="0" y="10"/>
                    <a:pt x="0" y="10"/>
                    <a:pt x="0" y="10"/>
                  </a:cubicBezTo>
                  <a:cubicBezTo>
                    <a:pt x="0" y="9"/>
                    <a:pt x="0" y="8"/>
                    <a:pt x="1" y="7"/>
                  </a:cubicBezTo>
                  <a:cubicBezTo>
                    <a:pt x="2" y="7"/>
                    <a:pt x="4" y="8"/>
                    <a:pt x="4" y="9"/>
                  </a:cubicBezTo>
                  <a:cubicBezTo>
                    <a:pt x="4" y="9"/>
                    <a:pt x="8" y="28"/>
                    <a:pt x="22" y="28"/>
                  </a:cubicBezTo>
                  <a:cubicBezTo>
                    <a:pt x="36" y="28"/>
                    <a:pt x="40" y="2"/>
                    <a:pt x="40" y="2"/>
                  </a:cubicBezTo>
                  <a:cubicBezTo>
                    <a:pt x="40" y="1"/>
                    <a:pt x="41" y="0"/>
                    <a:pt x="42" y="0"/>
                  </a:cubicBezTo>
                  <a:cubicBezTo>
                    <a:pt x="43" y="0"/>
                    <a:pt x="44" y="1"/>
                    <a:pt x="44" y="2"/>
                  </a:cubicBezTo>
                  <a:cubicBezTo>
                    <a:pt x="44" y="2"/>
                    <a:pt x="48" y="28"/>
                    <a:pt x="62" y="28"/>
                  </a:cubicBezTo>
                  <a:cubicBezTo>
                    <a:pt x="76" y="28"/>
                    <a:pt x="80" y="9"/>
                    <a:pt x="80" y="9"/>
                  </a:cubicBezTo>
                  <a:cubicBezTo>
                    <a:pt x="80" y="8"/>
                    <a:pt x="82" y="7"/>
                    <a:pt x="83" y="8"/>
                  </a:cubicBezTo>
                  <a:cubicBezTo>
                    <a:pt x="84" y="8"/>
                    <a:pt x="84" y="9"/>
                    <a:pt x="84" y="10"/>
                  </a:cubicBezTo>
                  <a:cubicBezTo>
                    <a:pt x="76" y="54"/>
                    <a:pt x="76" y="54"/>
                    <a:pt x="76" y="54"/>
                  </a:cubicBezTo>
                  <a:cubicBezTo>
                    <a:pt x="76" y="55"/>
                    <a:pt x="75" y="56"/>
                    <a:pt x="74" y="56"/>
                  </a:cubicBezTo>
                  <a:close/>
                  <a:moveTo>
                    <a:pt x="12" y="52"/>
                  </a:moveTo>
                  <a:cubicBezTo>
                    <a:pt x="72" y="52"/>
                    <a:pt x="72" y="52"/>
                    <a:pt x="72" y="52"/>
                  </a:cubicBezTo>
                  <a:cubicBezTo>
                    <a:pt x="77" y="24"/>
                    <a:pt x="77" y="24"/>
                    <a:pt x="77" y="24"/>
                  </a:cubicBezTo>
                  <a:cubicBezTo>
                    <a:pt x="74" y="28"/>
                    <a:pt x="69" y="32"/>
                    <a:pt x="62" y="32"/>
                  </a:cubicBezTo>
                  <a:cubicBezTo>
                    <a:pt x="50" y="32"/>
                    <a:pt x="45" y="20"/>
                    <a:pt x="42" y="11"/>
                  </a:cubicBezTo>
                  <a:cubicBezTo>
                    <a:pt x="39" y="20"/>
                    <a:pt x="34" y="32"/>
                    <a:pt x="22" y="32"/>
                  </a:cubicBezTo>
                  <a:cubicBezTo>
                    <a:pt x="15" y="32"/>
                    <a:pt x="10" y="28"/>
                    <a:pt x="7" y="24"/>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1" name="Freeform 89">
              <a:extLst>
                <a:ext uri="{FF2B5EF4-FFF2-40B4-BE49-F238E27FC236}">
                  <a16:creationId xmlns:a16="http://schemas.microsoft.com/office/drawing/2014/main" id="{D18345A2-9442-477E-96A6-3C9C7899F44B}"/>
                </a:ext>
              </a:extLst>
            </p:cNvPr>
            <p:cNvSpPr>
              <a:spLocks noEditPoints="1"/>
            </p:cNvSpPr>
            <p:nvPr/>
          </p:nvSpPr>
          <p:spPr bwMode="auto">
            <a:xfrm>
              <a:off x="8023226"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15" name="Group 31">
            <a:extLst>
              <a:ext uri="{FF2B5EF4-FFF2-40B4-BE49-F238E27FC236}">
                <a16:creationId xmlns:a16="http://schemas.microsoft.com/office/drawing/2014/main" id="{96B097B4-2B1A-42B2-94E7-DA466D601CD1}"/>
              </a:ext>
            </a:extLst>
          </p:cNvPr>
          <p:cNvGrpSpPr>
            <a:grpSpLocks noChangeAspect="1"/>
          </p:cNvGrpSpPr>
          <p:nvPr/>
        </p:nvGrpSpPr>
        <p:grpSpPr>
          <a:xfrm>
            <a:off x="6186633" y="4879041"/>
            <a:ext cx="285619" cy="285619"/>
            <a:chOff x="2617143" y="4783732"/>
            <a:chExt cx="285493" cy="285493"/>
          </a:xfrm>
          <a:solidFill>
            <a:schemeClr val="bg2"/>
          </a:solidFill>
          <a:effectLst/>
        </p:grpSpPr>
        <p:sp>
          <p:nvSpPr>
            <p:cNvPr id="1116" name="Freeform 32">
              <a:extLst>
                <a:ext uri="{FF2B5EF4-FFF2-40B4-BE49-F238E27FC236}">
                  <a16:creationId xmlns:a16="http://schemas.microsoft.com/office/drawing/2014/main" id="{225DA289-0E9C-43A0-92E8-A7AB186EB502}"/>
                </a:ext>
              </a:extLst>
            </p:cNvPr>
            <p:cNvSpPr>
              <a:spLocks noEditPoints="1"/>
            </p:cNvSpPr>
            <p:nvPr/>
          </p:nvSpPr>
          <p:spPr bwMode="auto">
            <a:xfrm>
              <a:off x="2617143" y="4783732"/>
              <a:ext cx="285493" cy="285493"/>
            </a:xfrm>
            <a:custGeom>
              <a:avLst/>
              <a:gdLst>
                <a:gd name="T0" fmla="*/ 25 w 763"/>
                <a:gd name="T1" fmla="*/ 255 h 764"/>
                <a:gd name="T2" fmla="*/ 738 w 763"/>
                <a:gd name="T3" fmla="*/ 739 h 764"/>
                <a:gd name="T4" fmla="*/ 127 w 763"/>
                <a:gd name="T5" fmla="*/ 76 h 764"/>
                <a:gd name="T6" fmla="*/ 127 w 763"/>
                <a:gd name="T7" fmla="*/ 145 h 764"/>
                <a:gd name="T8" fmla="*/ 135 w 763"/>
                <a:gd name="T9" fmla="*/ 152 h 764"/>
                <a:gd name="T10" fmla="*/ 241 w 763"/>
                <a:gd name="T11" fmla="*/ 153 h 764"/>
                <a:gd name="T12" fmla="*/ 251 w 763"/>
                <a:gd name="T13" fmla="*/ 149 h 764"/>
                <a:gd name="T14" fmla="*/ 254 w 763"/>
                <a:gd name="T15" fmla="*/ 140 h 764"/>
                <a:gd name="T16" fmla="*/ 508 w 763"/>
                <a:gd name="T17" fmla="*/ 76 h 764"/>
                <a:gd name="T18" fmla="*/ 510 w 763"/>
                <a:gd name="T19" fmla="*/ 145 h 764"/>
                <a:gd name="T20" fmla="*/ 517 w 763"/>
                <a:gd name="T21" fmla="*/ 152 h 764"/>
                <a:gd name="T22" fmla="*/ 623 w 763"/>
                <a:gd name="T23" fmla="*/ 153 h 764"/>
                <a:gd name="T24" fmla="*/ 632 w 763"/>
                <a:gd name="T25" fmla="*/ 149 h 764"/>
                <a:gd name="T26" fmla="*/ 636 w 763"/>
                <a:gd name="T27" fmla="*/ 140 h 764"/>
                <a:gd name="T28" fmla="*/ 738 w 763"/>
                <a:gd name="T29" fmla="*/ 76 h 764"/>
                <a:gd name="T30" fmla="*/ 25 w 763"/>
                <a:gd name="T31" fmla="*/ 229 h 764"/>
                <a:gd name="T32" fmla="*/ 127 w 763"/>
                <a:gd name="T33" fmla="*/ 76 h 764"/>
                <a:gd name="T34" fmla="*/ 228 w 763"/>
                <a:gd name="T35" fmla="*/ 25 h 764"/>
                <a:gd name="T36" fmla="*/ 152 w 763"/>
                <a:gd name="T37" fmla="*/ 127 h 764"/>
                <a:gd name="T38" fmla="*/ 534 w 763"/>
                <a:gd name="T39" fmla="*/ 25 h 764"/>
                <a:gd name="T40" fmla="*/ 610 w 763"/>
                <a:gd name="T41" fmla="*/ 127 h 764"/>
                <a:gd name="T42" fmla="*/ 534 w 763"/>
                <a:gd name="T43" fmla="*/ 25 h 764"/>
                <a:gd name="T44" fmla="*/ 636 w 763"/>
                <a:gd name="T45" fmla="*/ 51 h 764"/>
                <a:gd name="T46" fmla="*/ 635 w 763"/>
                <a:gd name="T47" fmla="*/ 8 h 764"/>
                <a:gd name="T48" fmla="*/ 629 w 763"/>
                <a:gd name="T49" fmla="*/ 1 h 764"/>
                <a:gd name="T50" fmla="*/ 521 w 763"/>
                <a:gd name="T51" fmla="*/ 0 h 764"/>
                <a:gd name="T52" fmla="*/ 513 w 763"/>
                <a:gd name="T53" fmla="*/ 3 h 764"/>
                <a:gd name="T54" fmla="*/ 508 w 763"/>
                <a:gd name="T55" fmla="*/ 13 h 764"/>
                <a:gd name="T56" fmla="*/ 254 w 763"/>
                <a:gd name="T57" fmla="*/ 51 h 764"/>
                <a:gd name="T58" fmla="*/ 253 w 763"/>
                <a:gd name="T59" fmla="*/ 8 h 764"/>
                <a:gd name="T60" fmla="*/ 246 w 763"/>
                <a:gd name="T61" fmla="*/ 1 h 764"/>
                <a:gd name="T62" fmla="*/ 139 w 763"/>
                <a:gd name="T63" fmla="*/ 0 h 764"/>
                <a:gd name="T64" fmla="*/ 131 w 763"/>
                <a:gd name="T65" fmla="*/ 3 h 764"/>
                <a:gd name="T66" fmla="*/ 127 w 763"/>
                <a:gd name="T67" fmla="*/ 13 h 764"/>
                <a:gd name="T68" fmla="*/ 12 w 763"/>
                <a:gd name="T69" fmla="*/ 51 h 764"/>
                <a:gd name="T70" fmla="*/ 3 w 763"/>
                <a:gd name="T71" fmla="*/ 55 h 764"/>
                <a:gd name="T72" fmla="*/ 0 w 763"/>
                <a:gd name="T73" fmla="*/ 64 h 764"/>
                <a:gd name="T74" fmla="*/ 1 w 763"/>
                <a:gd name="T75" fmla="*/ 756 h 764"/>
                <a:gd name="T76" fmla="*/ 7 w 763"/>
                <a:gd name="T77" fmla="*/ 763 h 764"/>
                <a:gd name="T78" fmla="*/ 751 w 763"/>
                <a:gd name="T79" fmla="*/ 764 h 764"/>
                <a:gd name="T80" fmla="*/ 760 w 763"/>
                <a:gd name="T81" fmla="*/ 760 h 764"/>
                <a:gd name="T82" fmla="*/ 763 w 763"/>
                <a:gd name="T83" fmla="*/ 751 h 764"/>
                <a:gd name="T84" fmla="*/ 763 w 763"/>
                <a:gd name="T85" fmla="*/ 59 h 764"/>
                <a:gd name="T86" fmla="*/ 755 w 763"/>
                <a:gd name="T87" fmla="*/ 52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3" h="764">
                  <a:moveTo>
                    <a:pt x="25" y="739"/>
                  </a:moveTo>
                  <a:lnTo>
                    <a:pt x="25" y="255"/>
                  </a:lnTo>
                  <a:lnTo>
                    <a:pt x="738" y="255"/>
                  </a:lnTo>
                  <a:lnTo>
                    <a:pt x="738" y="739"/>
                  </a:lnTo>
                  <a:lnTo>
                    <a:pt x="25" y="739"/>
                  </a:lnTo>
                  <a:close/>
                  <a:moveTo>
                    <a:pt x="127" y="76"/>
                  </a:moveTo>
                  <a:lnTo>
                    <a:pt x="127" y="140"/>
                  </a:lnTo>
                  <a:lnTo>
                    <a:pt x="127" y="145"/>
                  </a:lnTo>
                  <a:lnTo>
                    <a:pt x="131" y="149"/>
                  </a:lnTo>
                  <a:lnTo>
                    <a:pt x="135" y="152"/>
                  </a:lnTo>
                  <a:lnTo>
                    <a:pt x="139" y="153"/>
                  </a:lnTo>
                  <a:lnTo>
                    <a:pt x="241" y="153"/>
                  </a:lnTo>
                  <a:lnTo>
                    <a:pt x="246" y="152"/>
                  </a:lnTo>
                  <a:lnTo>
                    <a:pt x="251" y="149"/>
                  </a:lnTo>
                  <a:lnTo>
                    <a:pt x="253" y="145"/>
                  </a:lnTo>
                  <a:lnTo>
                    <a:pt x="254" y="140"/>
                  </a:lnTo>
                  <a:lnTo>
                    <a:pt x="254" y="76"/>
                  </a:lnTo>
                  <a:lnTo>
                    <a:pt x="508" y="76"/>
                  </a:lnTo>
                  <a:lnTo>
                    <a:pt x="508" y="140"/>
                  </a:lnTo>
                  <a:lnTo>
                    <a:pt x="510" y="145"/>
                  </a:lnTo>
                  <a:lnTo>
                    <a:pt x="513" y="149"/>
                  </a:lnTo>
                  <a:lnTo>
                    <a:pt x="517" y="152"/>
                  </a:lnTo>
                  <a:lnTo>
                    <a:pt x="521" y="153"/>
                  </a:lnTo>
                  <a:lnTo>
                    <a:pt x="623" y="153"/>
                  </a:lnTo>
                  <a:lnTo>
                    <a:pt x="629" y="152"/>
                  </a:lnTo>
                  <a:lnTo>
                    <a:pt x="632" y="149"/>
                  </a:lnTo>
                  <a:lnTo>
                    <a:pt x="635" y="145"/>
                  </a:lnTo>
                  <a:lnTo>
                    <a:pt x="636" y="140"/>
                  </a:lnTo>
                  <a:lnTo>
                    <a:pt x="636" y="76"/>
                  </a:lnTo>
                  <a:lnTo>
                    <a:pt x="738" y="76"/>
                  </a:lnTo>
                  <a:lnTo>
                    <a:pt x="738" y="229"/>
                  </a:lnTo>
                  <a:lnTo>
                    <a:pt x="25" y="229"/>
                  </a:lnTo>
                  <a:lnTo>
                    <a:pt x="25" y="76"/>
                  </a:lnTo>
                  <a:lnTo>
                    <a:pt x="127" y="76"/>
                  </a:lnTo>
                  <a:close/>
                  <a:moveTo>
                    <a:pt x="152" y="25"/>
                  </a:moveTo>
                  <a:lnTo>
                    <a:pt x="228" y="25"/>
                  </a:lnTo>
                  <a:lnTo>
                    <a:pt x="228" y="127"/>
                  </a:lnTo>
                  <a:lnTo>
                    <a:pt x="152" y="127"/>
                  </a:lnTo>
                  <a:lnTo>
                    <a:pt x="152" y="25"/>
                  </a:lnTo>
                  <a:close/>
                  <a:moveTo>
                    <a:pt x="534" y="25"/>
                  </a:moveTo>
                  <a:lnTo>
                    <a:pt x="610" y="25"/>
                  </a:lnTo>
                  <a:lnTo>
                    <a:pt x="610" y="127"/>
                  </a:lnTo>
                  <a:lnTo>
                    <a:pt x="534" y="127"/>
                  </a:lnTo>
                  <a:lnTo>
                    <a:pt x="534" y="25"/>
                  </a:lnTo>
                  <a:close/>
                  <a:moveTo>
                    <a:pt x="751" y="51"/>
                  </a:moveTo>
                  <a:lnTo>
                    <a:pt x="636" y="51"/>
                  </a:lnTo>
                  <a:lnTo>
                    <a:pt x="636" y="13"/>
                  </a:lnTo>
                  <a:lnTo>
                    <a:pt x="635" y="8"/>
                  </a:lnTo>
                  <a:lnTo>
                    <a:pt x="632" y="3"/>
                  </a:lnTo>
                  <a:lnTo>
                    <a:pt x="629" y="1"/>
                  </a:lnTo>
                  <a:lnTo>
                    <a:pt x="623" y="0"/>
                  </a:lnTo>
                  <a:lnTo>
                    <a:pt x="521" y="0"/>
                  </a:lnTo>
                  <a:lnTo>
                    <a:pt x="517" y="1"/>
                  </a:lnTo>
                  <a:lnTo>
                    <a:pt x="513" y="3"/>
                  </a:lnTo>
                  <a:lnTo>
                    <a:pt x="510" y="8"/>
                  </a:lnTo>
                  <a:lnTo>
                    <a:pt x="508" y="13"/>
                  </a:lnTo>
                  <a:lnTo>
                    <a:pt x="508" y="51"/>
                  </a:lnTo>
                  <a:lnTo>
                    <a:pt x="254" y="51"/>
                  </a:lnTo>
                  <a:lnTo>
                    <a:pt x="254" y="13"/>
                  </a:lnTo>
                  <a:lnTo>
                    <a:pt x="253" y="8"/>
                  </a:lnTo>
                  <a:lnTo>
                    <a:pt x="251" y="3"/>
                  </a:lnTo>
                  <a:lnTo>
                    <a:pt x="246" y="1"/>
                  </a:lnTo>
                  <a:lnTo>
                    <a:pt x="241" y="0"/>
                  </a:lnTo>
                  <a:lnTo>
                    <a:pt x="139" y="0"/>
                  </a:lnTo>
                  <a:lnTo>
                    <a:pt x="135" y="1"/>
                  </a:lnTo>
                  <a:lnTo>
                    <a:pt x="131" y="3"/>
                  </a:lnTo>
                  <a:lnTo>
                    <a:pt x="127" y="8"/>
                  </a:lnTo>
                  <a:lnTo>
                    <a:pt x="127" y="13"/>
                  </a:lnTo>
                  <a:lnTo>
                    <a:pt x="127" y="51"/>
                  </a:lnTo>
                  <a:lnTo>
                    <a:pt x="12" y="51"/>
                  </a:lnTo>
                  <a:lnTo>
                    <a:pt x="7" y="52"/>
                  </a:lnTo>
                  <a:lnTo>
                    <a:pt x="3" y="55"/>
                  </a:lnTo>
                  <a:lnTo>
                    <a:pt x="1" y="59"/>
                  </a:lnTo>
                  <a:lnTo>
                    <a:pt x="0" y="64"/>
                  </a:lnTo>
                  <a:lnTo>
                    <a:pt x="0" y="751"/>
                  </a:lnTo>
                  <a:lnTo>
                    <a:pt x="1" y="756"/>
                  </a:lnTo>
                  <a:lnTo>
                    <a:pt x="3" y="760"/>
                  </a:lnTo>
                  <a:lnTo>
                    <a:pt x="7" y="763"/>
                  </a:lnTo>
                  <a:lnTo>
                    <a:pt x="12" y="764"/>
                  </a:lnTo>
                  <a:lnTo>
                    <a:pt x="751" y="764"/>
                  </a:lnTo>
                  <a:lnTo>
                    <a:pt x="755" y="763"/>
                  </a:lnTo>
                  <a:lnTo>
                    <a:pt x="760" y="760"/>
                  </a:lnTo>
                  <a:lnTo>
                    <a:pt x="763" y="756"/>
                  </a:lnTo>
                  <a:lnTo>
                    <a:pt x="763" y="751"/>
                  </a:lnTo>
                  <a:lnTo>
                    <a:pt x="763" y="64"/>
                  </a:lnTo>
                  <a:lnTo>
                    <a:pt x="763" y="59"/>
                  </a:lnTo>
                  <a:lnTo>
                    <a:pt x="760" y="55"/>
                  </a:lnTo>
                  <a:lnTo>
                    <a:pt x="755" y="52"/>
                  </a:lnTo>
                  <a:lnTo>
                    <a:pt x="75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17" name="Freeform 33">
              <a:extLst>
                <a:ext uri="{FF2B5EF4-FFF2-40B4-BE49-F238E27FC236}">
                  <a16:creationId xmlns:a16="http://schemas.microsoft.com/office/drawing/2014/main" id="{586E8FF4-AB6F-46C6-8658-B11E570E0B38}"/>
                </a:ext>
              </a:extLst>
            </p:cNvPr>
            <p:cNvSpPr>
              <a:spLocks noEditPoints="1"/>
            </p:cNvSpPr>
            <p:nvPr/>
          </p:nvSpPr>
          <p:spPr bwMode="auto">
            <a:xfrm>
              <a:off x="2641058" y="4891352"/>
              <a:ext cx="237662" cy="153957"/>
            </a:xfrm>
            <a:custGeom>
              <a:avLst/>
              <a:gdLst>
                <a:gd name="T0" fmla="*/ 318 w 636"/>
                <a:gd name="T1" fmla="*/ 92 h 411"/>
                <a:gd name="T2" fmla="*/ 470 w 636"/>
                <a:gd name="T3" fmla="*/ 322 h 411"/>
                <a:gd name="T4" fmla="*/ 470 w 636"/>
                <a:gd name="T5" fmla="*/ 220 h 411"/>
                <a:gd name="T6" fmla="*/ 140 w 636"/>
                <a:gd name="T7" fmla="*/ 220 h 411"/>
                <a:gd name="T8" fmla="*/ 140 w 636"/>
                <a:gd name="T9" fmla="*/ 322 h 411"/>
                <a:gd name="T10" fmla="*/ 292 w 636"/>
                <a:gd name="T11" fmla="*/ 194 h 411"/>
                <a:gd name="T12" fmla="*/ 623 w 636"/>
                <a:gd name="T13" fmla="*/ 92 h 411"/>
                <a:gd name="T14" fmla="*/ 634 w 636"/>
                <a:gd name="T15" fmla="*/ 85 h 411"/>
                <a:gd name="T16" fmla="*/ 631 w 636"/>
                <a:gd name="T17" fmla="*/ 71 h 411"/>
                <a:gd name="T18" fmla="*/ 496 w 636"/>
                <a:gd name="T19" fmla="*/ 68 h 411"/>
                <a:gd name="T20" fmla="*/ 492 w 636"/>
                <a:gd name="T21" fmla="*/ 4 h 411"/>
                <a:gd name="T22" fmla="*/ 478 w 636"/>
                <a:gd name="T23" fmla="*/ 1 h 411"/>
                <a:gd name="T24" fmla="*/ 470 w 636"/>
                <a:gd name="T25" fmla="*/ 13 h 411"/>
                <a:gd name="T26" fmla="*/ 318 w 636"/>
                <a:gd name="T27" fmla="*/ 13 h 411"/>
                <a:gd name="T28" fmla="*/ 309 w 636"/>
                <a:gd name="T29" fmla="*/ 1 h 411"/>
                <a:gd name="T30" fmla="*/ 295 w 636"/>
                <a:gd name="T31" fmla="*/ 4 h 411"/>
                <a:gd name="T32" fmla="*/ 292 w 636"/>
                <a:gd name="T33" fmla="*/ 68 h 411"/>
                <a:gd name="T34" fmla="*/ 138 w 636"/>
                <a:gd name="T35" fmla="*/ 8 h 411"/>
                <a:gd name="T36" fmla="*/ 127 w 636"/>
                <a:gd name="T37" fmla="*/ 0 h 411"/>
                <a:gd name="T38" fmla="*/ 115 w 636"/>
                <a:gd name="T39" fmla="*/ 8 h 411"/>
                <a:gd name="T40" fmla="*/ 13 w 636"/>
                <a:gd name="T41" fmla="*/ 68 h 411"/>
                <a:gd name="T42" fmla="*/ 1 w 636"/>
                <a:gd name="T43" fmla="*/ 75 h 411"/>
                <a:gd name="T44" fmla="*/ 3 w 636"/>
                <a:gd name="T45" fmla="*/ 89 h 411"/>
                <a:gd name="T46" fmla="*/ 114 w 636"/>
                <a:gd name="T47" fmla="*/ 92 h 411"/>
                <a:gd name="T48" fmla="*/ 7 w 636"/>
                <a:gd name="T49" fmla="*/ 195 h 411"/>
                <a:gd name="T50" fmla="*/ 0 w 636"/>
                <a:gd name="T51" fmla="*/ 207 h 411"/>
                <a:gd name="T52" fmla="*/ 7 w 636"/>
                <a:gd name="T53" fmla="*/ 219 h 411"/>
                <a:gd name="T54" fmla="*/ 114 w 636"/>
                <a:gd name="T55" fmla="*/ 322 h 411"/>
                <a:gd name="T56" fmla="*/ 3 w 636"/>
                <a:gd name="T57" fmla="*/ 326 h 411"/>
                <a:gd name="T58" fmla="*/ 1 w 636"/>
                <a:gd name="T59" fmla="*/ 340 h 411"/>
                <a:gd name="T60" fmla="*/ 13 w 636"/>
                <a:gd name="T61" fmla="*/ 348 h 411"/>
                <a:gd name="T62" fmla="*/ 115 w 636"/>
                <a:gd name="T63" fmla="*/ 403 h 411"/>
                <a:gd name="T64" fmla="*/ 127 w 636"/>
                <a:gd name="T65" fmla="*/ 411 h 411"/>
                <a:gd name="T66" fmla="*/ 138 w 636"/>
                <a:gd name="T67" fmla="*/ 403 h 411"/>
                <a:gd name="T68" fmla="*/ 292 w 636"/>
                <a:gd name="T69" fmla="*/ 348 h 411"/>
                <a:gd name="T70" fmla="*/ 295 w 636"/>
                <a:gd name="T71" fmla="*/ 407 h 411"/>
                <a:gd name="T72" fmla="*/ 309 w 636"/>
                <a:gd name="T73" fmla="*/ 410 h 411"/>
                <a:gd name="T74" fmla="*/ 318 w 636"/>
                <a:gd name="T75" fmla="*/ 398 h 411"/>
                <a:gd name="T76" fmla="*/ 470 w 636"/>
                <a:gd name="T77" fmla="*/ 398 h 411"/>
                <a:gd name="T78" fmla="*/ 478 w 636"/>
                <a:gd name="T79" fmla="*/ 410 h 411"/>
                <a:gd name="T80" fmla="*/ 492 w 636"/>
                <a:gd name="T81" fmla="*/ 407 h 411"/>
                <a:gd name="T82" fmla="*/ 496 w 636"/>
                <a:gd name="T83" fmla="*/ 348 h 411"/>
                <a:gd name="T84" fmla="*/ 631 w 636"/>
                <a:gd name="T85" fmla="*/ 344 h 411"/>
                <a:gd name="T86" fmla="*/ 634 w 636"/>
                <a:gd name="T87" fmla="*/ 330 h 411"/>
                <a:gd name="T88" fmla="*/ 623 w 636"/>
                <a:gd name="T89" fmla="*/ 322 h 411"/>
                <a:gd name="T90" fmla="*/ 623 w 636"/>
                <a:gd name="T91" fmla="*/ 220 h 411"/>
                <a:gd name="T92" fmla="*/ 634 w 636"/>
                <a:gd name="T93" fmla="*/ 213 h 411"/>
                <a:gd name="T94" fmla="*/ 631 w 636"/>
                <a:gd name="T95" fmla="*/ 199 h 411"/>
                <a:gd name="T96" fmla="*/ 496 w 636"/>
                <a:gd name="T97" fmla="*/ 19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6" h="411">
                  <a:moveTo>
                    <a:pt x="470" y="194"/>
                  </a:moveTo>
                  <a:lnTo>
                    <a:pt x="318" y="194"/>
                  </a:lnTo>
                  <a:lnTo>
                    <a:pt x="318" y="92"/>
                  </a:lnTo>
                  <a:lnTo>
                    <a:pt x="470" y="92"/>
                  </a:lnTo>
                  <a:lnTo>
                    <a:pt x="470" y="194"/>
                  </a:lnTo>
                  <a:close/>
                  <a:moveTo>
                    <a:pt x="470" y="322"/>
                  </a:moveTo>
                  <a:lnTo>
                    <a:pt x="318" y="322"/>
                  </a:lnTo>
                  <a:lnTo>
                    <a:pt x="318" y="220"/>
                  </a:lnTo>
                  <a:lnTo>
                    <a:pt x="470" y="220"/>
                  </a:lnTo>
                  <a:lnTo>
                    <a:pt x="470" y="322"/>
                  </a:lnTo>
                  <a:close/>
                  <a:moveTo>
                    <a:pt x="140" y="322"/>
                  </a:moveTo>
                  <a:lnTo>
                    <a:pt x="140" y="220"/>
                  </a:lnTo>
                  <a:lnTo>
                    <a:pt x="292" y="220"/>
                  </a:lnTo>
                  <a:lnTo>
                    <a:pt x="292" y="322"/>
                  </a:lnTo>
                  <a:lnTo>
                    <a:pt x="140" y="322"/>
                  </a:lnTo>
                  <a:close/>
                  <a:moveTo>
                    <a:pt x="140" y="92"/>
                  </a:moveTo>
                  <a:lnTo>
                    <a:pt x="292" y="92"/>
                  </a:lnTo>
                  <a:lnTo>
                    <a:pt x="292" y="194"/>
                  </a:lnTo>
                  <a:lnTo>
                    <a:pt x="140" y="194"/>
                  </a:lnTo>
                  <a:lnTo>
                    <a:pt x="140" y="92"/>
                  </a:lnTo>
                  <a:close/>
                  <a:moveTo>
                    <a:pt x="623" y="92"/>
                  </a:moveTo>
                  <a:lnTo>
                    <a:pt x="627" y="92"/>
                  </a:lnTo>
                  <a:lnTo>
                    <a:pt x="631" y="89"/>
                  </a:lnTo>
                  <a:lnTo>
                    <a:pt x="634" y="85"/>
                  </a:lnTo>
                  <a:lnTo>
                    <a:pt x="636" y="81"/>
                  </a:lnTo>
                  <a:lnTo>
                    <a:pt x="634" y="75"/>
                  </a:lnTo>
                  <a:lnTo>
                    <a:pt x="631" y="71"/>
                  </a:lnTo>
                  <a:lnTo>
                    <a:pt x="627" y="69"/>
                  </a:lnTo>
                  <a:lnTo>
                    <a:pt x="623" y="68"/>
                  </a:lnTo>
                  <a:lnTo>
                    <a:pt x="496" y="68"/>
                  </a:lnTo>
                  <a:lnTo>
                    <a:pt x="496" y="13"/>
                  </a:lnTo>
                  <a:lnTo>
                    <a:pt x="495" y="8"/>
                  </a:lnTo>
                  <a:lnTo>
                    <a:pt x="492" y="4"/>
                  </a:lnTo>
                  <a:lnTo>
                    <a:pt x="487" y="1"/>
                  </a:lnTo>
                  <a:lnTo>
                    <a:pt x="483" y="0"/>
                  </a:lnTo>
                  <a:lnTo>
                    <a:pt x="478" y="1"/>
                  </a:lnTo>
                  <a:lnTo>
                    <a:pt x="473" y="4"/>
                  </a:lnTo>
                  <a:lnTo>
                    <a:pt x="471" y="8"/>
                  </a:lnTo>
                  <a:lnTo>
                    <a:pt x="470" y="13"/>
                  </a:lnTo>
                  <a:lnTo>
                    <a:pt x="470" y="68"/>
                  </a:lnTo>
                  <a:lnTo>
                    <a:pt x="318" y="68"/>
                  </a:lnTo>
                  <a:lnTo>
                    <a:pt x="318" y="13"/>
                  </a:lnTo>
                  <a:lnTo>
                    <a:pt x="317" y="8"/>
                  </a:lnTo>
                  <a:lnTo>
                    <a:pt x="313" y="4"/>
                  </a:lnTo>
                  <a:lnTo>
                    <a:pt x="309" y="1"/>
                  </a:lnTo>
                  <a:lnTo>
                    <a:pt x="305" y="0"/>
                  </a:lnTo>
                  <a:lnTo>
                    <a:pt x="299" y="1"/>
                  </a:lnTo>
                  <a:lnTo>
                    <a:pt x="295" y="4"/>
                  </a:lnTo>
                  <a:lnTo>
                    <a:pt x="293" y="8"/>
                  </a:lnTo>
                  <a:lnTo>
                    <a:pt x="292" y="13"/>
                  </a:lnTo>
                  <a:lnTo>
                    <a:pt x="292" y="68"/>
                  </a:lnTo>
                  <a:lnTo>
                    <a:pt x="140" y="68"/>
                  </a:lnTo>
                  <a:lnTo>
                    <a:pt x="140" y="13"/>
                  </a:lnTo>
                  <a:lnTo>
                    <a:pt x="138" y="8"/>
                  </a:lnTo>
                  <a:lnTo>
                    <a:pt x="135" y="4"/>
                  </a:lnTo>
                  <a:lnTo>
                    <a:pt x="131" y="1"/>
                  </a:lnTo>
                  <a:lnTo>
                    <a:pt x="127" y="0"/>
                  </a:lnTo>
                  <a:lnTo>
                    <a:pt x="121" y="1"/>
                  </a:lnTo>
                  <a:lnTo>
                    <a:pt x="117" y="4"/>
                  </a:lnTo>
                  <a:lnTo>
                    <a:pt x="115" y="8"/>
                  </a:lnTo>
                  <a:lnTo>
                    <a:pt x="114" y="13"/>
                  </a:lnTo>
                  <a:lnTo>
                    <a:pt x="114" y="68"/>
                  </a:lnTo>
                  <a:lnTo>
                    <a:pt x="13" y="68"/>
                  </a:lnTo>
                  <a:lnTo>
                    <a:pt x="7" y="69"/>
                  </a:lnTo>
                  <a:lnTo>
                    <a:pt x="3" y="71"/>
                  </a:lnTo>
                  <a:lnTo>
                    <a:pt x="1" y="75"/>
                  </a:lnTo>
                  <a:lnTo>
                    <a:pt x="0" y="81"/>
                  </a:lnTo>
                  <a:lnTo>
                    <a:pt x="1" y="85"/>
                  </a:lnTo>
                  <a:lnTo>
                    <a:pt x="3" y="89"/>
                  </a:lnTo>
                  <a:lnTo>
                    <a:pt x="7" y="92"/>
                  </a:lnTo>
                  <a:lnTo>
                    <a:pt x="13" y="92"/>
                  </a:lnTo>
                  <a:lnTo>
                    <a:pt x="114" y="92"/>
                  </a:lnTo>
                  <a:lnTo>
                    <a:pt x="114" y="194"/>
                  </a:lnTo>
                  <a:lnTo>
                    <a:pt x="13" y="194"/>
                  </a:lnTo>
                  <a:lnTo>
                    <a:pt x="7" y="195"/>
                  </a:lnTo>
                  <a:lnTo>
                    <a:pt x="3" y="199"/>
                  </a:lnTo>
                  <a:lnTo>
                    <a:pt x="1" y="203"/>
                  </a:lnTo>
                  <a:lnTo>
                    <a:pt x="0" y="207"/>
                  </a:lnTo>
                  <a:lnTo>
                    <a:pt x="1" y="213"/>
                  </a:lnTo>
                  <a:lnTo>
                    <a:pt x="3" y="217"/>
                  </a:lnTo>
                  <a:lnTo>
                    <a:pt x="7" y="219"/>
                  </a:lnTo>
                  <a:lnTo>
                    <a:pt x="13" y="220"/>
                  </a:lnTo>
                  <a:lnTo>
                    <a:pt x="114" y="220"/>
                  </a:lnTo>
                  <a:lnTo>
                    <a:pt x="114" y="322"/>
                  </a:lnTo>
                  <a:lnTo>
                    <a:pt x="13" y="322"/>
                  </a:lnTo>
                  <a:lnTo>
                    <a:pt x="7" y="323"/>
                  </a:lnTo>
                  <a:lnTo>
                    <a:pt x="3" y="326"/>
                  </a:lnTo>
                  <a:lnTo>
                    <a:pt x="1" y="330"/>
                  </a:lnTo>
                  <a:lnTo>
                    <a:pt x="0" y="335"/>
                  </a:lnTo>
                  <a:lnTo>
                    <a:pt x="1" y="340"/>
                  </a:lnTo>
                  <a:lnTo>
                    <a:pt x="3" y="344"/>
                  </a:lnTo>
                  <a:lnTo>
                    <a:pt x="7" y="347"/>
                  </a:lnTo>
                  <a:lnTo>
                    <a:pt x="13" y="348"/>
                  </a:lnTo>
                  <a:lnTo>
                    <a:pt x="114" y="348"/>
                  </a:lnTo>
                  <a:lnTo>
                    <a:pt x="114" y="398"/>
                  </a:lnTo>
                  <a:lnTo>
                    <a:pt x="115" y="403"/>
                  </a:lnTo>
                  <a:lnTo>
                    <a:pt x="117" y="407"/>
                  </a:lnTo>
                  <a:lnTo>
                    <a:pt x="121" y="410"/>
                  </a:lnTo>
                  <a:lnTo>
                    <a:pt x="127" y="411"/>
                  </a:lnTo>
                  <a:lnTo>
                    <a:pt x="131" y="410"/>
                  </a:lnTo>
                  <a:lnTo>
                    <a:pt x="135" y="407"/>
                  </a:lnTo>
                  <a:lnTo>
                    <a:pt x="138" y="403"/>
                  </a:lnTo>
                  <a:lnTo>
                    <a:pt x="140" y="398"/>
                  </a:lnTo>
                  <a:lnTo>
                    <a:pt x="140" y="348"/>
                  </a:lnTo>
                  <a:lnTo>
                    <a:pt x="292" y="348"/>
                  </a:lnTo>
                  <a:lnTo>
                    <a:pt x="292" y="398"/>
                  </a:lnTo>
                  <a:lnTo>
                    <a:pt x="293" y="403"/>
                  </a:lnTo>
                  <a:lnTo>
                    <a:pt x="295" y="407"/>
                  </a:lnTo>
                  <a:lnTo>
                    <a:pt x="299" y="410"/>
                  </a:lnTo>
                  <a:lnTo>
                    <a:pt x="305" y="411"/>
                  </a:lnTo>
                  <a:lnTo>
                    <a:pt x="309" y="410"/>
                  </a:lnTo>
                  <a:lnTo>
                    <a:pt x="313" y="407"/>
                  </a:lnTo>
                  <a:lnTo>
                    <a:pt x="317" y="403"/>
                  </a:lnTo>
                  <a:lnTo>
                    <a:pt x="318" y="398"/>
                  </a:lnTo>
                  <a:lnTo>
                    <a:pt x="318" y="348"/>
                  </a:lnTo>
                  <a:lnTo>
                    <a:pt x="470" y="348"/>
                  </a:lnTo>
                  <a:lnTo>
                    <a:pt x="470" y="398"/>
                  </a:lnTo>
                  <a:lnTo>
                    <a:pt x="471" y="403"/>
                  </a:lnTo>
                  <a:lnTo>
                    <a:pt x="473" y="407"/>
                  </a:lnTo>
                  <a:lnTo>
                    <a:pt x="478" y="410"/>
                  </a:lnTo>
                  <a:lnTo>
                    <a:pt x="483" y="411"/>
                  </a:lnTo>
                  <a:lnTo>
                    <a:pt x="487" y="410"/>
                  </a:lnTo>
                  <a:lnTo>
                    <a:pt x="492" y="407"/>
                  </a:lnTo>
                  <a:lnTo>
                    <a:pt x="495" y="403"/>
                  </a:lnTo>
                  <a:lnTo>
                    <a:pt x="496" y="398"/>
                  </a:lnTo>
                  <a:lnTo>
                    <a:pt x="496" y="348"/>
                  </a:lnTo>
                  <a:lnTo>
                    <a:pt x="623" y="348"/>
                  </a:lnTo>
                  <a:lnTo>
                    <a:pt x="627" y="347"/>
                  </a:lnTo>
                  <a:lnTo>
                    <a:pt x="631" y="344"/>
                  </a:lnTo>
                  <a:lnTo>
                    <a:pt x="634" y="340"/>
                  </a:lnTo>
                  <a:lnTo>
                    <a:pt x="636" y="335"/>
                  </a:lnTo>
                  <a:lnTo>
                    <a:pt x="634" y="330"/>
                  </a:lnTo>
                  <a:lnTo>
                    <a:pt x="631" y="326"/>
                  </a:lnTo>
                  <a:lnTo>
                    <a:pt x="627" y="323"/>
                  </a:lnTo>
                  <a:lnTo>
                    <a:pt x="623" y="322"/>
                  </a:lnTo>
                  <a:lnTo>
                    <a:pt x="496" y="322"/>
                  </a:lnTo>
                  <a:lnTo>
                    <a:pt x="496" y="220"/>
                  </a:lnTo>
                  <a:lnTo>
                    <a:pt x="623" y="220"/>
                  </a:lnTo>
                  <a:lnTo>
                    <a:pt x="627" y="219"/>
                  </a:lnTo>
                  <a:lnTo>
                    <a:pt x="631" y="217"/>
                  </a:lnTo>
                  <a:lnTo>
                    <a:pt x="634" y="213"/>
                  </a:lnTo>
                  <a:lnTo>
                    <a:pt x="636" y="207"/>
                  </a:lnTo>
                  <a:lnTo>
                    <a:pt x="634" y="203"/>
                  </a:lnTo>
                  <a:lnTo>
                    <a:pt x="631" y="199"/>
                  </a:lnTo>
                  <a:lnTo>
                    <a:pt x="627" y="195"/>
                  </a:lnTo>
                  <a:lnTo>
                    <a:pt x="623" y="194"/>
                  </a:lnTo>
                  <a:lnTo>
                    <a:pt x="496" y="194"/>
                  </a:lnTo>
                  <a:lnTo>
                    <a:pt x="496" y="92"/>
                  </a:lnTo>
                  <a:lnTo>
                    <a:pt x="62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65" name="Group 96">
            <a:extLst>
              <a:ext uri="{FF2B5EF4-FFF2-40B4-BE49-F238E27FC236}">
                <a16:creationId xmlns:a16="http://schemas.microsoft.com/office/drawing/2014/main" id="{EE739EFF-D618-4C68-834C-DCB4C678AC4C}"/>
              </a:ext>
            </a:extLst>
          </p:cNvPr>
          <p:cNvGrpSpPr>
            <a:grpSpLocks noChangeAspect="1"/>
          </p:cNvGrpSpPr>
          <p:nvPr/>
        </p:nvGrpSpPr>
        <p:grpSpPr>
          <a:xfrm>
            <a:off x="6186633" y="5956111"/>
            <a:ext cx="285619" cy="285619"/>
            <a:chOff x="4156322" y="5419470"/>
            <a:chExt cx="503328" cy="503328"/>
          </a:xfrm>
          <a:solidFill>
            <a:schemeClr val="bg2"/>
          </a:solidFill>
          <a:effectLst/>
        </p:grpSpPr>
        <p:sp>
          <p:nvSpPr>
            <p:cNvPr id="1201" name="Freeform 13">
              <a:extLst>
                <a:ext uri="{FF2B5EF4-FFF2-40B4-BE49-F238E27FC236}">
                  <a16:creationId xmlns:a16="http://schemas.microsoft.com/office/drawing/2014/main" id="{FD6CAC68-B360-4BFE-BB46-2C6DD6795DD9}"/>
                </a:ext>
              </a:extLst>
            </p:cNvPr>
            <p:cNvSpPr>
              <a:spLocks noEditPoints="1"/>
            </p:cNvSpPr>
            <p:nvPr/>
          </p:nvSpPr>
          <p:spPr bwMode="auto">
            <a:xfrm>
              <a:off x="4156322" y="5419470"/>
              <a:ext cx="503328" cy="503328"/>
            </a:xfrm>
            <a:custGeom>
              <a:avLst/>
              <a:gdLst>
                <a:gd name="T0" fmla="*/ 667 w 1640"/>
                <a:gd name="T1" fmla="*/ 76 h 1641"/>
                <a:gd name="T2" fmla="*/ 491 w 1640"/>
                <a:gd name="T3" fmla="*/ 135 h 1641"/>
                <a:gd name="T4" fmla="*/ 337 w 1640"/>
                <a:gd name="T5" fmla="*/ 235 h 1641"/>
                <a:gd name="T6" fmla="*/ 212 w 1640"/>
                <a:gd name="T7" fmla="*/ 366 h 1641"/>
                <a:gd name="T8" fmla="*/ 120 w 1640"/>
                <a:gd name="T9" fmla="*/ 525 h 1641"/>
                <a:gd name="T10" fmla="*/ 69 w 1640"/>
                <a:gd name="T11" fmla="*/ 705 h 1641"/>
                <a:gd name="T12" fmla="*/ 65 w 1640"/>
                <a:gd name="T13" fmla="*/ 898 h 1641"/>
                <a:gd name="T14" fmla="*/ 107 w 1640"/>
                <a:gd name="T15" fmla="*/ 1081 h 1641"/>
                <a:gd name="T16" fmla="*/ 190 w 1640"/>
                <a:gd name="T17" fmla="*/ 1245 h 1641"/>
                <a:gd name="T18" fmla="*/ 310 w 1640"/>
                <a:gd name="T19" fmla="*/ 1383 h 1641"/>
                <a:gd name="T20" fmla="*/ 458 w 1640"/>
                <a:gd name="T21" fmla="*/ 1488 h 1641"/>
                <a:gd name="T22" fmla="*/ 631 w 1640"/>
                <a:gd name="T23" fmla="*/ 1556 h 1641"/>
                <a:gd name="T24" fmla="*/ 821 w 1640"/>
                <a:gd name="T25" fmla="*/ 1581 h 1641"/>
                <a:gd name="T26" fmla="*/ 1010 w 1640"/>
                <a:gd name="T27" fmla="*/ 1556 h 1641"/>
                <a:gd name="T28" fmla="*/ 1182 w 1640"/>
                <a:gd name="T29" fmla="*/ 1488 h 1641"/>
                <a:gd name="T30" fmla="*/ 1331 w 1640"/>
                <a:gd name="T31" fmla="*/ 1383 h 1641"/>
                <a:gd name="T32" fmla="*/ 1450 w 1640"/>
                <a:gd name="T33" fmla="*/ 1245 h 1641"/>
                <a:gd name="T34" fmla="*/ 1534 w 1640"/>
                <a:gd name="T35" fmla="*/ 1081 h 1641"/>
                <a:gd name="T36" fmla="*/ 1577 w 1640"/>
                <a:gd name="T37" fmla="*/ 898 h 1641"/>
                <a:gd name="T38" fmla="*/ 1571 w 1640"/>
                <a:gd name="T39" fmla="*/ 705 h 1641"/>
                <a:gd name="T40" fmla="*/ 1521 w 1640"/>
                <a:gd name="T41" fmla="*/ 525 h 1641"/>
                <a:gd name="T42" fmla="*/ 1429 w 1640"/>
                <a:gd name="T43" fmla="*/ 366 h 1641"/>
                <a:gd name="T44" fmla="*/ 1303 w 1640"/>
                <a:gd name="T45" fmla="*/ 235 h 1641"/>
                <a:gd name="T46" fmla="*/ 1149 w 1640"/>
                <a:gd name="T47" fmla="*/ 135 h 1641"/>
                <a:gd name="T48" fmla="*/ 974 w 1640"/>
                <a:gd name="T49" fmla="*/ 76 h 1641"/>
                <a:gd name="T50" fmla="*/ 821 w 1640"/>
                <a:gd name="T51" fmla="*/ 1641 h 1641"/>
                <a:gd name="T52" fmla="*/ 615 w 1640"/>
                <a:gd name="T53" fmla="*/ 1615 h 1641"/>
                <a:gd name="T54" fmla="*/ 429 w 1640"/>
                <a:gd name="T55" fmla="*/ 1542 h 1641"/>
                <a:gd name="T56" fmla="*/ 269 w 1640"/>
                <a:gd name="T57" fmla="*/ 1428 h 1641"/>
                <a:gd name="T58" fmla="*/ 140 w 1640"/>
                <a:gd name="T59" fmla="*/ 1278 h 1641"/>
                <a:gd name="T60" fmla="*/ 49 w 1640"/>
                <a:gd name="T61" fmla="*/ 1103 h 1641"/>
                <a:gd name="T62" fmla="*/ 5 w 1640"/>
                <a:gd name="T63" fmla="*/ 904 h 1641"/>
                <a:gd name="T64" fmla="*/ 9 w 1640"/>
                <a:gd name="T65" fmla="*/ 695 h 1641"/>
                <a:gd name="T66" fmla="*/ 64 w 1640"/>
                <a:gd name="T67" fmla="*/ 501 h 1641"/>
                <a:gd name="T68" fmla="*/ 163 w 1640"/>
                <a:gd name="T69" fmla="*/ 330 h 1641"/>
                <a:gd name="T70" fmla="*/ 298 w 1640"/>
                <a:gd name="T71" fmla="*/ 187 h 1641"/>
                <a:gd name="T72" fmla="*/ 465 w 1640"/>
                <a:gd name="T73" fmla="*/ 81 h 1641"/>
                <a:gd name="T74" fmla="*/ 655 w 1640"/>
                <a:gd name="T75" fmla="*/ 17 h 1641"/>
                <a:gd name="T76" fmla="*/ 863 w 1640"/>
                <a:gd name="T77" fmla="*/ 1 h 1641"/>
                <a:gd name="T78" fmla="*/ 1064 w 1640"/>
                <a:gd name="T79" fmla="*/ 37 h 1641"/>
                <a:gd name="T80" fmla="*/ 1246 w 1640"/>
                <a:gd name="T81" fmla="*/ 119 h 1641"/>
                <a:gd name="T82" fmla="*/ 1400 w 1640"/>
                <a:gd name="T83" fmla="*/ 240 h 1641"/>
                <a:gd name="T84" fmla="*/ 1522 w 1640"/>
                <a:gd name="T85" fmla="*/ 396 h 1641"/>
                <a:gd name="T86" fmla="*/ 1604 w 1640"/>
                <a:gd name="T87" fmla="*/ 577 h 1641"/>
                <a:gd name="T88" fmla="*/ 1640 w 1640"/>
                <a:gd name="T89" fmla="*/ 779 h 1641"/>
                <a:gd name="T90" fmla="*/ 1625 w 1640"/>
                <a:gd name="T91" fmla="*/ 986 h 1641"/>
                <a:gd name="T92" fmla="*/ 1560 w 1640"/>
                <a:gd name="T93" fmla="*/ 1176 h 1641"/>
                <a:gd name="T94" fmla="*/ 1453 w 1640"/>
                <a:gd name="T95" fmla="*/ 1342 h 1641"/>
                <a:gd name="T96" fmla="*/ 1311 w 1640"/>
                <a:gd name="T97" fmla="*/ 1478 h 1641"/>
                <a:gd name="T98" fmla="*/ 1139 w 1640"/>
                <a:gd name="T99" fmla="*/ 1576 h 1641"/>
                <a:gd name="T100" fmla="*/ 945 w 1640"/>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0" h="1641">
                  <a:moveTo>
                    <a:pt x="821" y="60"/>
                  </a:moveTo>
                  <a:lnTo>
                    <a:pt x="781" y="62"/>
                  </a:lnTo>
                  <a:lnTo>
                    <a:pt x="743" y="65"/>
                  </a:lnTo>
                  <a:lnTo>
                    <a:pt x="704" y="69"/>
                  </a:lnTo>
                  <a:lnTo>
                    <a:pt x="667" y="76"/>
                  </a:lnTo>
                  <a:lnTo>
                    <a:pt x="631" y="85"/>
                  </a:lnTo>
                  <a:lnTo>
                    <a:pt x="595" y="95"/>
                  </a:lnTo>
                  <a:lnTo>
                    <a:pt x="559" y="107"/>
                  </a:lnTo>
                  <a:lnTo>
                    <a:pt x="524" y="121"/>
                  </a:lnTo>
                  <a:lnTo>
                    <a:pt x="491" y="135"/>
                  </a:lnTo>
                  <a:lnTo>
                    <a:pt x="458" y="153"/>
                  </a:lnTo>
                  <a:lnTo>
                    <a:pt x="426" y="171"/>
                  </a:lnTo>
                  <a:lnTo>
                    <a:pt x="396" y="190"/>
                  </a:lnTo>
                  <a:lnTo>
                    <a:pt x="366" y="212"/>
                  </a:lnTo>
                  <a:lnTo>
                    <a:pt x="337" y="235"/>
                  </a:lnTo>
                  <a:lnTo>
                    <a:pt x="310" y="258"/>
                  </a:lnTo>
                  <a:lnTo>
                    <a:pt x="284" y="284"/>
                  </a:lnTo>
                  <a:lnTo>
                    <a:pt x="258" y="309"/>
                  </a:lnTo>
                  <a:lnTo>
                    <a:pt x="233" y="337"/>
                  </a:lnTo>
                  <a:lnTo>
                    <a:pt x="212" y="366"/>
                  </a:lnTo>
                  <a:lnTo>
                    <a:pt x="190" y="396"/>
                  </a:lnTo>
                  <a:lnTo>
                    <a:pt x="170" y="428"/>
                  </a:lnTo>
                  <a:lnTo>
                    <a:pt x="153" y="459"/>
                  </a:lnTo>
                  <a:lnTo>
                    <a:pt x="136" y="491"/>
                  </a:lnTo>
                  <a:lnTo>
                    <a:pt x="120" y="525"/>
                  </a:lnTo>
                  <a:lnTo>
                    <a:pt x="107" y="560"/>
                  </a:lnTo>
                  <a:lnTo>
                    <a:pt x="95" y="595"/>
                  </a:lnTo>
                  <a:lnTo>
                    <a:pt x="84" y="630"/>
                  </a:lnTo>
                  <a:lnTo>
                    <a:pt x="77" y="668"/>
                  </a:lnTo>
                  <a:lnTo>
                    <a:pt x="69" y="705"/>
                  </a:lnTo>
                  <a:lnTo>
                    <a:pt x="65" y="743"/>
                  </a:lnTo>
                  <a:lnTo>
                    <a:pt x="62" y="782"/>
                  </a:lnTo>
                  <a:lnTo>
                    <a:pt x="61" y="821"/>
                  </a:lnTo>
                  <a:lnTo>
                    <a:pt x="62" y="859"/>
                  </a:lnTo>
                  <a:lnTo>
                    <a:pt x="65" y="898"/>
                  </a:lnTo>
                  <a:lnTo>
                    <a:pt x="69" y="936"/>
                  </a:lnTo>
                  <a:lnTo>
                    <a:pt x="77" y="973"/>
                  </a:lnTo>
                  <a:lnTo>
                    <a:pt x="84" y="1011"/>
                  </a:lnTo>
                  <a:lnTo>
                    <a:pt x="95" y="1046"/>
                  </a:lnTo>
                  <a:lnTo>
                    <a:pt x="107" y="1081"/>
                  </a:lnTo>
                  <a:lnTo>
                    <a:pt x="120" y="1116"/>
                  </a:lnTo>
                  <a:lnTo>
                    <a:pt x="136" y="1150"/>
                  </a:lnTo>
                  <a:lnTo>
                    <a:pt x="153" y="1182"/>
                  </a:lnTo>
                  <a:lnTo>
                    <a:pt x="170" y="1213"/>
                  </a:lnTo>
                  <a:lnTo>
                    <a:pt x="190" y="1245"/>
                  </a:lnTo>
                  <a:lnTo>
                    <a:pt x="212" y="1275"/>
                  </a:lnTo>
                  <a:lnTo>
                    <a:pt x="233" y="1304"/>
                  </a:lnTo>
                  <a:lnTo>
                    <a:pt x="258" y="1332"/>
                  </a:lnTo>
                  <a:lnTo>
                    <a:pt x="284" y="1357"/>
                  </a:lnTo>
                  <a:lnTo>
                    <a:pt x="310" y="1383"/>
                  </a:lnTo>
                  <a:lnTo>
                    <a:pt x="337" y="1406"/>
                  </a:lnTo>
                  <a:lnTo>
                    <a:pt x="366" y="1429"/>
                  </a:lnTo>
                  <a:lnTo>
                    <a:pt x="396" y="1451"/>
                  </a:lnTo>
                  <a:lnTo>
                    <a:pt x="426" y="1470"/>
                  </a:lnTo>
                  <a:lnTo>
                    <a:pt x="458" y="1488"/>
                  </a:lnTo>
                  <a:lnTo>
                    <a:pt x="491" y="1506"/>
                  </a:lnTo>
                  <a:lnTo>
                    <a:pt x="524" y="1520"/>
                  </a:lnTo>
                  <a:lnTo>
                    <a:pt x="559" y="1534"/>
                  </a:lnTo>
                  <a:lnTo>
                    <a:pt x="595" y="1546"/>
                  </a:lnTo>
                  <a:lnTo>
                    <a:pt x="631" y="1556"/>
                  </a:lnTo>
                  <a:lnTo>
                    <a:pt x="667" y="1565"/>
                  </a:lnTo>
                  <a:lnTo>
                    <a:pt x="704" y="1572"/>
                  </a:lnTo>
                  <a:lnTo>
                    <a:pt x="743" y="1576"/>
                  </a:lnTo>
                  <a:lnTo>
                    <a:pt x="781" y="1579"/>
                  </a:lnTo>
                  <a:lnTo>
                    <a:pt x="821" y="1581"/>
                  </a:lnTo>
                  <a:lnTo>
                    <a:pt x="860" y="1579"/>
                  </a:lnTo>
                  <a:lnTo>
                    <a:pt x="897" y="1576"/>
                  </a:lnTo>
                  <a:lnTo>
                    <a:pt x="936" y="1572"/>
                  </a:lnTo>
                  <a:lnTo>
                    <a:pt x="974" y="1565"/>
                  </a:lnTo>
                  <a:lnTo>
                    <a:pt x="1010" y="1556"/>
                  </a:lnTo>
                  <a:lnTo>
                    <a:pt x="1046" y="1546"/>
                  </a:lnTo>
                  <a:lnTo>
                    <a:pt x="1082" y="1534"/>
                  </a:lnTo>
                  <a:lnTo>
                    <a:pt x="1116" y="1520"/>
                  </a:lnTo>
                  <a:lnTo>
                    <a:pt x="1149" y="1506"/>
                  </a:lnTo>
                  <a:lnTo>
                    <a:pt x="1182" y="1488"/>
                  </a:lnTo>
                  <a:lnTo>
                    <a:pt x="1214" y="1470"/>
                  </a:lnTo>
                  <a:lnTo>
                    <a:pt x="1244" y="1451"/>
                  </a:lnTo>
                  <a:lnTo>
                    <a:pt x="1275" y="1429"/>
                  </a:lnTo>
                  <a:lnTo>
                    <a:pt x="1303" y="1406"/>
                  </a:lnTo>
                  <a:lnTo>
                    <a:pt x="1331" y="1383"/>
                  </a:lnTo>
                  <a:lnTo>
                    <a:pt x="1358" y="1357"/>
                  </a:lnTo>
                  <a:lnTo>
                    <a:pt x="1383" y="1332"/>
                  </a:lnTo>
                  <a:lnTo>
                    <a:pt x="1407" y="1304"/>
                  </a:lnTo>
                  <a:lnTo>
                    <a:pt x="1429" y="1275"/>
                  </a:lnTo>
                  <a:lnTo>
                    <a:pt x="1450" y="1245"/>
                  </a:lnTo>
                  <a:lnTo>
                    <a:pt x="1470" y="1213"/>
                  </a:lnTo>
                  <a:lnTo>
                    <a:pt x="1488" y="1182"/>
                  </a:lnTo>
                  <a:lnTo>
                    <a:pt x="1505" y="1150"/>
                  </a:lnTo>
                  <a:lnTo>
                    <a:pt x="1521" y="1116"/>
                  </a:lnTo>
                  <a:lnTo>
                    <a:pt x="1534" y="1081"/>
                  </a:lnTo>
                  <a:lnTo>
                    <a:pt x="1545" y="1046"/>
                  </a:lnTo>
                  <a:lnTo>
                    <a:pt x="1557" y="1011"/>
                  </a:lnTo>
                  <a:lnTo>
                    <a:pt x="1564" y="973"/>
                  </a:lnTo>
                  <a:lnTo>
                    <a:pt x="1571" y="936"/>
                  </a:lnTo>
                  <a:lnTo>
                    <a:pt x="1577" y="898"/>
                  </a:lnTo>
                  <a:lnTo>
                    <a:pt x="1580" y="859"/>
                  </a:lnTo>
                  <a:lnTo>
                    <a:pt x="1580" y="821"/>
                  </a:lnTo>
                  <a:lnTo>
                    <a:pt x="1580" y="782"/>
                  </a:lnTo>
                  <a:lnTo>
                    <a:pt x="1577" y="743"/>
                  </a:lnTo>
                  <a:lnTo>
                    <a:pt x="1571" y="705"/>
                  </a:lnTo>
                  <a:lnTo>
                    <a:pt x="1565" y="668"/>
                  </a:lnTo>
                  <a:lnTo>
                    <a:pt x="1557" y="630"/>
                  </a:lnTo>
                  <a:lnTo>
                    <a:pt x="1545" y="595"/>
                  </a:lnTo>
                  <a:lnTo>
                    <a:pt x="1534" y="560"/>
                  </a:lnTo>
                  <a:lnTo>
                    <a:pt x="1521" y="525"/>
                  </a:lnTo>
                  <a:lnTo>
                    <a:pt x="1505" y="491"/>
                  </a:lnTo>
                  <a:lnTo>
                    <a:pt x="1488" y="459"/>
                  </a:lnTo>
                  <a:lnTo>
                    <a:pt x="1470" y="428"/>
                  </a:lnTo>
                  <a:lnTo>
                    <a:pt x="1450" y="396"/>
                  </a:lnTo>
                  <a:lnTo>
                    <a:pt x="1429" y="366"/>
                  </a:lnTo>
                  <a:lnTo>
                    <a:pt x="1407" y="337"/>
                  </a:lnTo>
                  <a:lnTo>
                    <a:pt x="1383" y="309"/>
                  </a:lnTo>
                  <a:lnTo>
                    <a:pt x="1358" y="284"/>
                  </a:lnTo>
                  <a:lnTo>
                    <a:pt x="1331" y="258"/>
                  </a:lnTo>
                  <a:lnTo>
                    <a:pt x="1303" y="235"/>
                  </a:lnTo>
                  <a:lnTo>
                    <a:pt x="1275" y="212"/>
                  </a:lnTo>
                  <a:lnTo>
                    <a:pt x="1244" y="190"/>
                  </a:lnTo>
                  <a:lnTo>
                    <a:pt x="1214" y="171"/>
                  </a:lnTo>
                  <a:lnTo>
                    <a:pt x="1182" y="153"/>
                  </a:lnTo>
                  <a:lnTo>
                    <a:pt x="1149" y="135"/>
                  </a:lnTo>
                  <a:lnTo>
                    <a:pt x="1116" y="121"/>
                  </a:lnTo>
                  <a:lnTo>
                    <a:pt x="1082" y="107"/>
                  </a:lnTo>
                  <a:lnTo>
                    <a:pt x="1046" y="95"/>
                  </a:lnTo>
                  <a:lnTo>
                    <a:pt x="1010" y="85"/>
                  </a:lnTo>
                  <a:lnTo>
                    <a:pt x="974" y="76"/>
                  </a:lnTo>
                  <a:lnTo>
                    <a:pt x="936" y="69"/>
                  </a:lnTo>
                  <a:lnTo>
                    <a:pt x="897" y="65"/>
                  </a:lnTo>
                  <a:lnTo>
                    <a:pt x="860" y="62"/>
                  </a:lnTo>
                  <a:lnTo>
                    <a:pt x="821" y="60"/>
                  </a:lnTo>
                  <a:close/>
                  <a:moveTo>
                    <a:pt x="821" y="1641"/>
                  </a:moveTo>
                  <a:lnTo>
                    <a:pt x="778" y="1640"/>
                  </a:lnTo>
                  <a:lnTo>
                    <a:pt x="736" y="1637"/>
                  </a:lnTo>
                  <a:lnTo>
                    <a:pt x="696" y="1631"/>
                  </a:lnTo>
                  <a:lnTo>
                    <a:pt x="655" y="1624"/>
                  </a:lnTo>
                  <a:lnTo>
                    <a:pt x="615" y="1615"/>
                  </a:lnTo>
                  <a:lnTo>
                    <a:pt x="576" y="1604"/>
                  </a:lnTo>
                  <a:lnTo>
                    <a:pt x="539" y="1591"/>
                  </a:lnTo>
                  <a:lnTo>
                    <a:pt x="501" y="1576"/>
                  </a:lnTo>
                  <a:lnTo>
                    <a:pt x="465" y="1560"/>
                  </a:lnTo>
                  <a:lnTo>
                    <a:pt x="429" y="1542"/>
                  </a:lnTo>
                  <a:lnTo>
                    <a:pt x="395" y="1522"/>
                  </a:lnTo>
                  <a:lnTo>
                    <a:pt x="362" y="1501"/>
                  </a:lnTo>
                  <a:lnTo>
                    <a:pt x="330" y="1478"/>
                  </a:lnTo>
                  <a:lnTo>
                    <a:pt x="298" y="1454"/>
                  </a:lnTo>
                  <a:lnTo>
                    <a:pt x="269" y="1428"/>
                  </a:lnTo>
                  <a:lnTo>
                    <a:pt x="241" y="1401"/>
                  </a:lnTo>
                  <a:lnTo>
                    <a:pt x="213" y="1372"/>
                  </a:lnTo>
                  <a:lnTo>
                    <a:pt x="187" y="1342"/>
                  </a:lnTo>
                  <a:lnTo>
                    <a:pt x="163" y="1311"/>
                  </a:lnTo>
                  <a:lnTo>
                    <a:pt x="140" y="1278"/>
                  </a:lnTo>
                  <a:lnTo>
                    <a:pt x="118" y="1245"/>
                  </a:lnTo>
                  <a:lnTo>
                    <a:pt x="100" y="1211"/>
                  </a:lnTo>
                  <a:lnTo>
                    <a:pt x="81" y="1176"/>
                  </a:lnTo>
                  <a:lnTo>
                    <a:pt x="64" y="1140"/>
                  </a:lnTo>
                  <a:lnTo>
                    <a:pt x="49" y="1103"/>
                  </a:lnTo>
                  <a:lnTo>
                    <a:pt x="36" y="1064"/>
                  </a:lnTo>
                  <a:lnTo>
                    <a:pt x="26" y="1025"/>
                  </a:lnTo>
                  <a:lnTo>
                    <a:pt x="16" y="986"/>
                  </a:lnTo>
                  <a:lnTo>
                    <a:pt x="9" y="946"/>
                  </a:lnTo>
                  <a:lnTo>
                    <a:pt x="5" y="904"/>
                  </a:lnTo>
                  <a:lnTo>
                    <a:pt x="0" y="862"/>
                  </a:lnTo>
                  <a:lnTo>
                    <a:pt x="0" y="821"/>
                  </a:lnTo>
                  <a:lnTo>
                    <a:pt x="0" y="779"/>
                  </a:lnTo>
                  <a:lnTo>
                    <a:pt x="5" y="737"/>
                  </a:lnTo>
                  <a:lnTo>
                    <a:pt x="9" y="695"/>
                  </a:lnTo>
                  <a:lnTo>
                    <a:pt x="16" y="655"/>
                  </a:lnTo>
                  <a:lnTo>
                    <a:pt x="26" y="616"/>
                  </a:lnTo>
                  <a:lnTo>
                    <a:pt x="36" y="577"/>
                  </a:lnTo>
                  <a:lnTo>
                    <a:pt x="49" y="538"/>
                  </a:lnTo>
                  <a:lnTo>
                    <a:pt x="64" y="501"/>
                  </a:lnTo>
                  <a:lnTo>
                    <a:pt x="81" y="465"/>
                  </a:lnTo>
                  <a:lnTo>
                    <a:pt x="100" y="430"/>
                  </a:lnTo>
                  <a:lnTo>
                    <a:pt x="118" y="396"/>
                  </a:lnTo>
                  <a:lnTo>
                    <a:pt x="140" y="363"/>
                  </a:lnTo>
                  <a:lnTo>
                    <a:pt x="163" y="330"/>
                  </a:lnTo>
                  <a:lnTo>
                    <a:pt x="187" y="299"/>
                  </a:lnTo>
                  <a:lnTo>
                    <a:pt x="213" y="269"/>
                  </a:lnTo>
                  <a:lnTo>
                    <a:pt x="241" y="240"/>
                  </a:lnTo>
                  <a:lnTo>
                    <a:pt x="269" y="213"/>
                  </a:lnTo>
                  <a:lnTo>
                    <a:pt x="298" y="187"/>
                  </a:lnTo>
                  <a:lnTo>
                    <a:pt x="330" y="163"/>
                  </a:lnTo>
                  <a:lnTo>
                    <a:pt x="362" y="140"/>
                  </a:lnTo>
                  <a:lnTo>
                    <a:pt x="395" y="119"/>
                  </a:lnTo>
                  <a:lnTo>
                    <a:pt x="429" y="99"/>
                  </a:lnTo>
                  <a:lnTo>
                    <a:pt x="465" y="81"/>
                  </a:lnTo>
                  <a:lnTo>
                    <a:pt x="501" y="65"/>
                  </a:lnTo>
                  <a:lnTo>
                    <a:pt x="539" y="50"/>
                  </a:lnTo>
                  <a:lnTo>
                    <a:pt x="576" y="37"/>
                  </a:lnTo>
                  <a:lnTo>
                    <a:pt x="615" y="26"/>
                  </a:lnTo>
                  <a:lnTo>
                    <a:pt x="655" y="17"/>
                  </a:lnTo>
                  <a:lnTo>
                    <a:pt x="696" y="10"/>
                  </a:lnTo>
                  <a:lnTo>
                    <a:pt x="736" y="4"/>
                  </a:lnTo>
                  <a:lnTo>
                    <a:pt x="778" y="1"/>
                  </a:lnTo>
                  <a:lnTo>
                    <a:pt x="821" y="0"/>
                  </a:lnTo>
                  <a:lnTo>
                    <a:pt x="863" y="1"/>
                  </a:lnTo>
                  <a:lnTo>
                    <a:pt x="905" y="4"/>
                  </a:lnTo>
                  <a:lnTo>
                    <a:pt x="945" y="10"/>
                  </a:lnTo>
                  <a:lnTo>
                    <a:pt x="985" y="17"/>
                  </a:lnTo>
                  <a:lnTo>
                    <a:pt x="1025" y="26"/>
                  </a:lnTo>
                  <a:lnTo>
                    <a:pt x="1064" y="37"/>
                  </a:lnTo>
                  <a:lnTo>
                    <a:pt x="1102" y="50"/>
                  </a:lnTo>
                  <a:lnTo>
                    <a:pt x="1139" y="65"/>
                  </a:lnTo>
                  <a:lnTo>
                    <a:pt x="1175" y="81"/>
                  </a:lnTo>
                  <a:lnTo>
                    <a:pt x="1211" y="99"/>
                  </a:lnTo>
                  <a:lnTo>
                    <a:pt x="1246" y="119"/>
                  </a:lnTo>
                  <a:lnTo>
                    <a:pt x="1279" y="140"/>
                  </a:lnTo>
                  <a:lnTo>
                    <a:pt x="1311" y="163"/>
                  </a:lnTo>
                  <a:lnTo>
                    <a:pt x="1342" y="187"/>
                  </a:lnTo>
                  <a:lnTo>
                    <a:pt x="1373" y="213"/>
                  </a:lnTo>
                  <a:lnTo>
                    <a:pt x="1400" y="240"/>
                  </a:lnTo>
                  <a:lnTo>
                    <a:pt x="1427" y="269"/>
                  </a:lnTo>
                  <a:lnTo>
                    <a:pt x="1453" y="299"/>
                  </a:lnTo>
                  <a:lnTo>
                    <a:pt x="1478" y="330"/>
                  </a:lnTo>
                  <a:lnTo>
                    <a:pt x="1501" y="363"/>
                  </a:lnTo>
                  <a:lnTo>
                    <a:pt x="1522" y="396"/>
                  </a:lnTo>
                  <a:lnTo>
                    <a:pt x="1542" y="430"/>
                  </a:lnTo>
                  <a:lnTo>
                    <a:pt x="1560" y="465"/>
                  </a:lnTo>
                  <a:lnTo>
                    <a:pt x="1577" y="501"/>
                  </a:lnTo>
                  <a:lnTo>
                    <a:pt x="1591" y="538"/>
                  </a:lnTo>
                  <a:lnTo>
                    <a:pt x="1604" y="577"/>
                  </a:lnTo>
                  <a:lnTo>
                    <a:pt x="1614" y="616"/>
                  </a:lnTo>
                  <a:lnTo>
                    <a:pt x="1625" y="655"/>
                  </a:lnTo>
                  <a:lnTo>
                    <a:pt x="1632" y="695"/>
                  </a:lnTo>
                  <a:lnTo>
                    <a:pt x="1637" y="737"/>
                  </a:lnTo>
                  <a:lnTo>
                    <a:pt x="1640" y="779"/>
                  </a:lnTo>
                  <a:lnTo>
                    <a:pt x="1640" y="821"/>
                  </a:lnTo>
                  <a:lnTo>
                    <a:pt x="1640" y="862"/>
                  </a:lnTo>
                  <a:lnTo>
                    <a:pt x="1637" y="904"/>
                  </a:lnTo>
                  <a:lnTo>
                    <a:pt x="1632" y="946"/>
                  </a:lnTo>
                  <a:lnTo>
                    <a:pt x="1625" y="986"/>
                  </a:lnTo>
                  <a:lnTo>
                    <a:pt x="1614" y="1025"/>
                  </a:lnTo>
                  <a:lnTo>
                    <a:pt x="1604" y="1064"/>
                  </a:lnTo>
                  <a:lnTo>
                    <a:pt x="1591" y="1103"/>
                  </a:lnTo>
                  <a:lnTo>
                    <a:pt x="1577" y="1140"/>
                  </a:lnTo>
                  <a:lnTo>
                    <a:pt x="1560" y="1176"/>
                  </a:lnTo>
                  <a:lnTo>
                    <a:pt x="1542" y="1211"/>
                  </a:lnTo>
                  <a:lnTo>
                    <a:pt x="1522" y="1245"/>
                  </a:lnTo>
                  <a:lnTo>
                    <a:pt x="1501" y="1278"/>
                  </a:lnTo>
                  <a:lnTo>
                    <a:pt x="1478" y="1311"/>
                  </a:lnTo>
                  <a:lnTo>
                    <a:pt x="1453" y="1342"/>
                  </a:lnTo>
                  <a:lnTo>
                    <a:pt x="1427" y="1372"/>
                  </a:lnTo>
                  <a:lnTo>
                    <a:pt x="1400" y="1401"/>
                  </a:lnTo>
                  <a:lnTo>
                    <a:pt x="1373" y="1428"/>
                  </a:lnTo>
                  <a:lnTo>
                    <a:pt x="1342" y="1454"/>
                  </a:lnTo>
                  <a:lnTo>
                    <a:pt x="1311" y="1478"/>
                  </a:lnTo>
                  <a:lnTo>
                    <a:pt x="1279" y="1501"/>
                  </a:lnTo>
                  <a:lnTo>
                    <a:pt x="1246" y="1522"/>
                  </a:lnTo>
                  <a:lnTo>
                    <a:pt x="1211" y="1542"/>
                  </a:lnTo>
                  <a:lnTo>
                    <a:pt x="1175" y="1560"/>
                  </a:lnTo>
                  <a:lnTo>
                    <a:pt x="1139" y="1576"/>
                  </a:lnTo>
                  <a:lnTo>
                    <a:pt x="1102" y="1591"/>
                  </a:lnTo>
                  <a:lnTo>
                    <a:pt x="1064" y="1604"/>
                  </a:lnTo>
                  <a:lnTo>
                    <a:pt x="1025" y="1615"/>
                  </a:lnTo>
                  <a:lnTo>
                    <a:pt x="985" y="1624"/>
                  </a:lnTo>
                  <a:lnTo>
                    <a:pt x="945" y="1631"/>
                  </a:lnTo>
                  <a:lnTo>
                    <a:pt x="905" y="1637"/>
                  </a:lnTo>
                  <a:lnTo>
                    <a:pt x="863" y="1640"/>
                  </a:lnTo>
                  <a:lnTo>
                    <a:pt x="821"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2" name="Freeform 14">
              <a:extLst>
                <a:ext uri="{FF2B5EF4-FFF2-40B4-BE49-F238E27FC236}">
                  <a16:creationId xmlns:a16="http://schemas.microsoft.com/office/drawing/2014/main" id="{DA0886CD-0F3C-47B5-AF2B-C1483969994B}"/>
                </a:ext>
              </a:extLst>
            </p:cNvPr>
            <p:cNvSpPr>
              <a:spLocks noEditPoints="1"/>
            </p:cNvSpPr>
            <p:nvPr/>
          </p:nvSpPr>
          <p:spPr bwMode="auto">
            <a:xfrm>
              <a:off x="4250178" y="5568536"/>
              <a:ext cx="185872" cy="223599"/>
            </a:xfrm>
            <a:custGeom>
              <a:avLst/>
              <a:gdLst>
                <a:gd name="T0" fmla="*/ 61 w 608"/>
                <a:gd name="T1" fmla="*/ 83 h 728"/>
                <a:gd name="T2" fmla="*/ 61 w 608"/>
                <a:gd name="T3" fmla="*/ 643 h 728"/>
                <a:gd name="T4" fmla="*/ 518 w 608"/>
                <a:gd name="T5" fmla="*/ 352 h 728"/>
                <a:gd name="T6" fmla="*/ 61 w 608"/>
                <a:gd name="T7" fmla="*/ 83 h 728"/>
                <a:gd name="T8" fmla="*/ 30 w 608"/>
                <a:gd name="T9" fmla="*/ 728 h 728"/>
                <a:gd name="T10" fmla="*/ 23 w 608"/>
                <a:gd name="T11" fmla="*/ 728 h 728"/>
                <a:gd name="T12" fmla="*/ 16 w 608"/>
                <a:gd name="T13" fmla="*/ 725 h 728"/>
                <a:gd name="T14" fmla="*/ 9 w 608"/>
                <a:gd name="T15" fmla="*/ 719 h 728"/>
                <a:gd name="T16" fmla="*/ 4 w 608"/>
                <a:gd name="T17" fmla="*/ 714 h 728"/>
                <a:gd name="T18" fmla="*/ 0 w 608"/>
                <a:gd name="T19" fmla="*/ 706 h 728"/>
                <a:gd name="T20" fmla="*/ 0 w 608"/>
                <a:gd name="T21" fmla="*/ 698 h 728"/>
                <a:gd name="T22" fmla="*/ 0 w 608"/>
                <a:gd name="T23" fmla="*/ 30 h 728"/>
                <a:gd name="T24" fmla="*/ 0 w 608"/>
                <a:gd name="T25" fmla="*/ 21 h 728"/>
                <a:gd name="T26" fmla="*/ 4 w 608"/>
                <a:gd name="T27" fmla="*/ 14 h 728"/>
                <a:gd name="T28" fmla="*/ 9 w 608"/>
                <a:gd name="T29" fmla="*/ 8 h 728"/>
                <a:gd name="T30" fmla="*/ 14 w 608"/>
                <a:gd name="T31" fmla="*/ 4 h 728"/>
                <a:gd name="T32" fmla="*/ 22 w 608"/>
                <a:gd name="T33" fmla="*/ 0 h 728"/>
                <a:gd name="T34" fmla="*/ 30 w 608"/>
                <a:gd name="T35" fmla="*/ 0 h 728"/>
                <a:gd name="T36" fmla="*/ 37 w 608"/>
                <a:gd name="T37" fmla="*/ 1 h 728"/>
                <a:gd name="T38" fmla="*/ 46 w 608"/>
                <a:gd name="T39" fmla="*/ 4 h 728"/>
                <a:gd name="T40" fmla="*/ 592 w 608"/>
                <a:gd name="T41" fmla="*/ 325 h 728"/>
                <a:gd name="T42" fmla="*/ 599 w 608"/>
                <a:gd name="T43" fmla="*/ 331 h 728"/>
                <a:gd name="T44" fmla="*/ 603 w 608"/>
                <a:gd name="T45" fmla="*/ 336 h 728"/>
                <a:gd name="T46" fmla="*/ 606 w 608"/>
                <a:gd name="T47" fmla="*/ 344 h 728"/>
                <a:gd name="T48" fmla="*/ 608 w 608"/>
                <a:gd name="T49" fmla="*/ 351 h 728"/>
                <a:gd name="T50" fmla="*/ 606 w 608"/>
                <a:gd name="T51" fmla="*/ 359 h 728"/>
                <a:gd name="T52" fmla="*/ 603 w 608"/>
                <a:gd name="T53" fmla="*/ 367 h 728"/>
                <a:gd name="T54" fmla="*/ 599 w 608"/>
                <a:gd name="T55" fmla="*/ 372 h 728"/>
                <a:gd name="T56" fmla="*/ 593 w 608"/>
                <a:gd name="T57" fmla="*/ 377 h 728"/>
                <a:gd name="T58" fmla="*/ 46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18" y="352"/>
                  </a:lnTo>
                  <a:lnTo>
                    <a:pt x="61" y="83"/>
                  </a:lnTo>
                  <a:close/>
                  <a:moveTo>
                    <a:pt x="30" y="728"/>
                  </a:moveTo>
                  <a:lnTo>
                    <a:pt x="23" y="728"/>
                  </a:lnTo>
                  <a:lnTo>
                    <a:pt x="16" y="725"/>
                  </a:lnTo>
                  <a:lnTo>
                    <a:pt x="9" y="719"/>
                  </a:lnTo>
                  <a:lnTo>
                    <a:pt x="4" y="714"/>
                  </a:lnTo>
                  <a:lnTo>
                    <a:pt x="0" y="706"/>
                  </a:lnTo>
                  <a:lnTo>
                    <a:pt x="0" y="698"/>
                  </a:lnTo>
                  <a:lnTo>
                    <a:pt x="0" y="30"/>
                  </a:lnTo>
                  <a:lnTo>
                    <a:pt x="0" y="21"/>
                  </a:lnTo>
                  <a:lnTo>
                    <a:pt x="4" y="14"/>
                  </a:lnTo>
                  <a:lnTo>
                    <a:pt x="9" y="8"/>
                  </a:lnTo>
                  <a:lnTo>
                    <a:pt x="14" y="4"/>
                  </a:lnTo>
                  <a:lnTo>
                    <a:pt x="22" y="0"/>
                  </a:lnTo>
                  <a:lnTo>
                    <a:pt x="30" y="0"/>
                  </a:lnTo>
                  <a:lnTo>
                    <a:pt x="37" y="1"/>
                  </a:lnTo>
                  <a:lnTo>
                    <a:pt x="46" y="4"/>
                  </a:lnTo>
                  <a:lnTo>
                    <a:pt x="592" y="325"/>
                  </a:lnTo>
                  <a:lnTo>
                    <a:pt x="599" y="331"/>
                  </a:lnTo>
                  <a:lnTo>
                    <a:pt x="603" y="336"/>
                  </a:lnTo>
                  <a:lnTo>
                    <a:pt x="606" y="344"/>
                  </a:lnTo>
                  <a:lnTo>
                    <a:pt x="608" y="351"/>
                  </a:lnTo>
                  <a:lnTo>
                    <a:pt x="606" y="359"/>
                  </a:lnTo>
                  <a:lnTo>
                    <a:pt x="603" y="367"/>
                  </a:lnTo>
                  <a:lnTo>
                    <a:pt x="599" y="372"/>
                  </a:lnTo>
                  <a:lnTo>
                    <a:pt x="593" y="377"/>
                  </a:lnTo>
                  <a:lnTo>
                    <a:pt x="46"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3" name="Freeform 15">
              <a:extLst>
                <a:ext uri="{FF2B5EF4-FFF2-40B4-BE49-F238E27FC236}">
                  <a16:creationId xmlns:a16="http://schemas.microsoft.com/office/drawing/2014/main" id="{B904F3CD-0160-4A62-8E10-04C321BA2A1B}"/>
                </a:ext>
              </a:extLst>
            </p:cNvPr>
            <p:cNvSpPr>
              <a:spLocks noEditPoints="1"/>
            </p:cNvSpPr>
            <p:nvPr/>
          </p:nvSpPr>
          <p:spPr bwMode="auto">
            <a:xfrm>
              <a:off x="4417647" y="5568536"/>
              <a:ext cx="186792" cy="223599"/>
            </a:xfrm>
            <a:custGeom>
              <a:avLst/>
              <a:gdLst>
                <a:gd name="T0" fmla="*/ 61 w 608"/>
                <a:gd name="T1" fmla="*/ 83 h 728"/>
                <a:gd name="T2" fmla="*/ 61 w 608"/>
                <a:gd name="T3" fmla="*/ 643 h 728"/>
                <a:gd name="T4" fmla="*/ 519 w 608"/>
                <a:gd name="T5" fmla="*/ 352 h 728"/>
                <a:gd name="T6" fmla="*/ 61 w 608"/>
                <a:gd name="T7" fmla="*/ 83 h 728"/>
                <a:gd name="T8" fmla="*/ 30 w 608"/>
                <a:gd name="T9" fmla="*/ 728 h 728"/>
                <a:gd name="T10" fmla="*/ 23 w 608"/>
                <a:gd name="T11" fmla="*/ 728 h 728"/>
                <a:gd name="T12" fmla="*/ 16 w 608"/>
                <a:gd name="T13" fmla="*/ 725 h 728"/>
                <a:gd name="T14" fmla="*/ 9 w 608"/>
                <a:gd name="T15" fmla="*/ 719 h 728"/>
                <a:gd name="T16" fmla="*/ 5 w 608"/>
                <a:gd name="T17" fmla="*/ 714 h 728"/>
                <a:gd name="T18" fmla="*/ 0 w 608"/>
                <a:gd name="T19" fmla="*/ 706 h 728"/>
                <a:gd name="T20" fmla="*/ 0 w 608"/>
                <a:gd name="T21" fmla="*/ 698 h 728"/>
                <a:gd name="T22" fmla="*/ 0 w 608"/>
                <a:gd name="T23" fmla="*/ 30 h 728"/>
                <a:gd name="T24" fmla="*/ 0 w 608"/>
                <a:gd name="T25" fmla="*/ 21 h 728"/>
                <a:gd name="T26" fmla="*/ 3 w 608"/>
                <a:gd name="T27" fmla="*/ 14 h 728"/>
                <a:gd name="T28" fmla="*/ 9 w 608"/>
                <a:gd name="T29" fmla="*/ 8 h 728"/>
                <a:gd name="T30" fmla="*/ 15 w 608"/>
                <a:gd name="T31" fmla="*/ 4 h 728"/>
                <a:gd name="T32" fmla="*/ 22 w 608"/>
                <a:gd name="T33" fmla="*/ 0 h 728"/>
                <a:gd name="T34" fmla="*/ 30 w 608"/>
                <a:gd name="T35" fmla="*/ 0 h 728"/>
                <a:gd name="T36" fmla="*/ 38 w 608"/>
                <a:gd name="T37" fmla="*/ 1 h 728"/>
                <a:gd name="T38" fmla="*/ 45 w 608"/>
                <a:gd name="T39" fmla="*/ 4 h 728"/>
                <a:gd name="T40" fmla="*/ 592 w 608"/>
                <a:gd name="T41" fmla="*/ 325 h 728"/>
                <a:gd name="T42" fmla="*/ 599 w 608"/>
                <a:gd name="T43" fmla="*/ 331 h 728"/>
                <a:gd name="T44" fmla="*/ 604 w 608"/>
                <a:gd name="T45" fmla="*/ 336 h 728"/>
                <a:gd name="T46" fmla="*/ 606 w 608"/>
                <a:gd name="T47" fmla="*/ 344 h 728"/>
                <a:gd name="T48" fmla="*/ 608 w 608"/>
                <a:gd name="T49" fmla="*/ 351 h 728"/>
                <a:gd name="T50" fmla="*/ 606 w 608"/>
                <a:gd name="T51" fmla="*/ 359 h 728"/>
                <a:gd name="T52" fmla="*/ 604 w 608"/>
                <a:gd name="T53" fmla="*/ 367 h 728"/>
                <a:gd name="T54" fmla="*/ 599 w 608"/>
                <a:gd name="T55" fmla="*/ 372 h 728"/>
                <a:gd name="T56" fmla="*/ 594 w 608"/>
                <a:gd name="T57" fmla="*/ 377 h 728"/>
                <a:gd name="T58" fmla="*/ 46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19" y="352"/>
                  </a:lnTo>
                  <a:lnTo>
                    <a:pt x="61" y="83"/>
                  </a:lnTo>
                  <a:close/>
                  <a:moveTo>
                    <a:pt x="30" y="728"/>
                  </a:moveTo>
                  <a:lnTo>
                    <a:pt x="23" y="728"/>
                  </a:lnTo>
                  <a:lnTo>
                    <a:pt x="16" y="725"/>
                  </a:lnTo>
                  <a:lnTo>
                    <a:pt x="9" y="719"/>
                  </a:lnTo>
                  <a:lnTo>
                    <a:pt x="5" y="714"/>
                  </a:lnTo>
                  <a:lnTo>
                    <a:pt x="0" y="706"/>
                  </a:lnTo>
                  <a:lnTo>
                    <a:pt x="0" y="698"/>
                  </a:lnTo>
                  <a:lnTo>
                    <a:pt x="0" y="30"/>
                  </a:lnTo>
                  <a:lnTo>
                    <a:pt x="0" y="21"/>
                  </a:lnTo>
                  <a:lnTo>
                    <a:pt x="3" y="14"/>
                  </a:lnTo>
                  <a:lnTo>
                    <a:pt x="9" y="8"/>
                  </a:lnTo>
                  <a:lnTo>
                    <a:pt x="15" y="4"/>
                  </a:lnTo>
                  <a:lnTo>
                    <a:pt x="22" y="0"/>
                  </a:lnTo>
                  <a:lnTo>
                    <a:pt x="30" y="0"/>
                  </a:lnTo>
                  <a:lnTo>
                    <a:pt x="38" y="1"/>
                  </a:lnTo>
                  <a:lnTo>
                    <a:pt x="45" y="4"/>
                  </a:lnTo>
                  <a:lnTo>
                    <a:pt x="592" y="325"/>
                  </a:lnTo>
                  <a:lnTo>
                    <a:pt x="599" y="331"/>
                  </a:lnTo>
                  <a:lnTo>
                    <a:pt x="604" y="336"/>
                  </a:lnTo>
                  <a:lnTo>
                    <a:pt x="606" y="344"/>
                  </a:lnTo>
                  <a:lnTo>
                    <a:pt x="608" y="351"/>
                  </a:lnTo>
                  <a:lnTo>
                    <a:pt x="606" y="359"/>
                  </a:lnTo>
                  <a:lnTo>
                    <a:pt x="604" y="367"/>
                  </a:lnTo>
                  <a:lnTo>
                    <a:pt x="599" y="372"/>
                  </a:lnTo>
                  <a:lnTo>
                    <a:pt x="594" y="377"/>
                  </a:lnTo>
                  <a:lnTo>
                    <a:pt x="46"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566" name="Freeform 86">
            <a:extLst>
              <a:ext uri="{FF2B5EF4-FFF2-40B4-BE49-F238E27FC236}">
                <a16:creationId xmlns:a16="http://schemas.microsoft.com/office/drawing/2014/main" id="{86BE7E44-A87A-4F15-B3F0-74B235C4D620}"/>
              </a:ext>
            </a:extLst>
          </p:cNvPr>
          <p:cNvSpPr>
            <a:spLocks noChangeAspect="1" noEditPoints="1"/>
          </p:cNvSpPr>
          <p:nvPr/>
        </p:nvSpPr>
        <p:spPr bwMode="auto">
          <a:xfrm>
            <a:off x="5791954" y="2186361"/>
            <a:ext cx="285619" cy="285619"/>
          </a:xfrm>
          <a:custGeom>
            <a:avLst/>
            <a:gdLst>
              <a:gd name="T0" fmla="*/ 502 w 902"/>
              <a:gd name="T1" fmla="*/ 753 h 902"/>
              <a:gd name="T2" fmla="*/ 525 w 902"/>
              <a:gd name="T3" fmla="*/ 687 h 902"/>
              <a:gd name="T4" fmla="*/ 695 w 902"/>
              <a:gd name="T5" fmla="*/ 751 h 902"/>
              <a:gd name="T6" fmla="*/ 750 w 902"/>
              <a:gd name="T7" fmla="*/ 665 h 902"/>
              <a:gd name="T8" fmla="*/ 849 w 902"/>
              <a:gd name="T9" fmla="*/ 739 h 902"/>
              <a:gd name="T10" fmla="*/ 553 w 902"/>
              <a:gd name="T11" fmla="*/ 871 h 902"/>
              <a:gd name="T12" fmla="*/ 424 w 902"/>
              <a:gd name="T13" fmla="*/ 768 h 902"/>
              <a:gd name="T14" fmla="*/ 472 w 902"/>
              <a:gd name="T15" fmla="*/ 763 h 902"/>
              <a:gd name="T16" fmla="*/ 451 w 902"/>
              <a:gd name="T17" fmla="*/ 871 h 902"/>
              <a:gd name="T18" fmla="*/ 183 w 902"/>
              <a:gd name="T19" fmla="*/ 655 h 902"/>
              <a:gd name="T20" fmla="*/ 211 w 902"/>
              <a:gd name="T21" fmla="*/ 757 h 902"/>
              <a:gd name="T22" fmla="*/ 379 w 902"/>
              <a:gd name="T23" fmla="*/ 696 h 902"/>
              <a:gd name="T24" fmla="*/ 392 w 902"/>
              <a:gd name="T25" fmla="*/ 761 h 902"/>
              <a:gd name="T26" fmla="*/ 32 w 902"/>
              <a:gd name="T27" fmla="*/ 857 h 902"/>
              <a:gd name="T28" fmla="*/ 68 w 902"/>
              <a:gd name="T29" fmla="*/ 722 h 902"/>
              <a:gd name="T30" fmla="*/ 359 w 902"/>
              <a:gd name="T31" fmla="*/ 614 h 902"/>
              <a:gd name="T32" fmla="*/ 287 w 902"/>
              <a:gd name="T33" fmla="*/ 621 h 902"/>
              <a:gd name="T34" fmla="*/ 313 w 902"/>
              <a:gd name="T35" fmla="*/ 344 h 902"/>
              <a:gd name="T36" fmla="*/ 296 w 902"/>
              <a:gd name="T37" fmla="*/ 290 h 902"/>
              <a:gd name="T38" fmla="*/ 317 w 902"/>
              <a:gd name="T39" fmla="*/ 259 h 902"/>
              <a:gd name="T40" fmla="*/ 293 w 902"/>
              <a:gd name="T41" fmla="*/ 121 h 902"/>
              <a:gd name="T42" fmla="*/ 328 w 902"/>
              <a:gd name="T43" fmla="*/ 85 h 902"/>
              <a:gd name="T44" fmla="*/ 363 w 902"/>
              <a:gd name="T45" fmla="*/ 60 h 902"/>
              <a:gd name="T46" fmla="*/ 487 w 902"/>
              <a:gd name="T47" fmla="*/ 30 h 902"/>
              <a:gd name="T48" fmla="*/ 604 w 902"/>
              <a:gd name="T49" fmla="*/ 60 h 902"/>
              <a:gd name="T50" fmla="*/ 629 w 902"/>
              <a:gd name="T51" fmla="*/ 126 h 902"/>
              <a:gd name="T52" fmla="*/ 590 w 902"/>
              <a:gd name="T53" fmla="*/ 263 h 902"/>
              <a:gd name="T54" fmla="*/ 611 w 902"/>
              <a:gd name="T55" fmla="*/ 297 h 902"/>
              <a:gd name="T56" fmla="*/ 590 w 902"/>
              <a:gd name="T57" fmla="*/ 348 h 902"/>
              <a:gd name="T58" fmla="*/ 569 w 902"/>
              <a:gd name="T59" fmla="*/ 428 h 902"/>
              <a:gd name="T60" fmla="*/ 541 w 902"/>
              <a:gd name="T61" fmla="*/ 556 h 902"/>
              <a:gd name="T62" fmla="*/ 407 w 902"/>
              <a:gd name="T63" fmla="*/ 598 h 902"/>
              <a:gd name="T64" fmla="*/ 358 w 902"/>
              <a:gd name="T65" fmla="*/ 456 h 902"/>
              <a:gd name="T66" fmla="*/ 316 w 902"/>
              <a:gd name="T67" fmla="*/ 353 h 902"/>
              <a:gd name="T68" fmla="*/ 406 w 902"/>
              <a:gd name="T69" fmla="*/ 676 h 902"/>
              <a:gd name="T70" fmla="*/ 476 w 902"/>
              <a:gd name="T71" fmla="*/ 714 h 902"/>
              <a:gd name="T72" fmla="*/ 527 w 902"/>
              <a:gd name="T73" fmla="*/ 621 h 902"/>
              <a:gd name="T74" fmla="*/ 571 w 902"/>
              <a:gd name="T75" fmla="*/ 586 h 902"/>
              <a:gd name="T76" fmla="*/ 628 w 902"/>
              <a:gd name="T77" fmla="*/ 640 h 902"/>
              <a:gd name="T78" fmla="*/ 741 w 902"/>
              <a:gd name="T79" fmla="*/ 629 h 902"/>
              <a:gd name="T80" fmla="*/ 593 w 902"/>
              <a:gd name="T81" fmla="*/ 551 h 902"/>
              <a:gd name="T82" fmla="*/ 599 w 902"/>
              <a:gd name="T83" fmla="*/ 436 h 902"/>
              <a:gd name="T84" fmla="*/ 635 w 902"/>
              <a:gd name="T85" fmla="*/ 339 h 902"/>
              <a:gd name="T86" fmla="*/ 623 w 902"/>
              <a:gd name="T87" fmla="*/ 253 h 902"/>
              <a:gd name="T88" fmla="*/ 660 w 902"/>
              <a:gd name="T89" fmla="*/ 116 h 902"/>
              <a:gd name="T90" fmla="*/ 617 w 902"/>
              <a:gd name="T91" fmla="*/ 32 h 902"/>
              <a:gd name="T92" fmla="*/ 501 w 902"/>
              <a:gd name="T93" fmla="*/ 0 h 902"/>
              <a:gd name="T94" fmla="*/ 371 w 902"/>
              <a:gd name="T95" fmla="*/ 19 h 902"/>
              <a:gd name="T96" fmla="*/ 306 w 902"/>
              <a:gd name="T97" fmla="*/ 60 h 902"/>
              <a:gd name="T98" fmla="*/ 263 w 902"/>
              <a:gd name="T99" fmla="*/ 119 h 902"/>
              <a:gd name="T100" fmla="*/ 284 w 902"/>
              <a:gd name="T101" fmla="*/ 248 h 902"/>
              <a:gd name="T102" fmla="*/ 268 w 902"/>
              <a:gd name="T103" fmla="*/ 329 h 902"/>
              <a:gd name="T104" fmla="*/ 298 w 902"/>
              <a:gd name="T105" fmla="*/ 421 h 902"/>
              <a:gd name="T106" fmla="*/ 313 w 902"/>
              <a:gd name="T107" fmla="*/ 551 h 902"/>
              <a:gd name="T108" fmla="*/ 168 w 902"/>
              <a:gd name="T109" fmla="*/ 628 h 902"/>
              <a:gd name="T110" fmla="*/ 36 w 902"/>
              <a:gd name="T111" fmla="*/ 718 h 902"/>
              <a:gd name="T112" fmla="*/ 0 w 902"/>
              <a:gd name="T113" fmla="*/ 886 h 902"/>
              <a:gd name="T114" fmla="*/ 351 w 902"/>
              <a:gd name="T115" fmla="*/ 901 h 902"/>
              <a:gd name="T116" fmla="*/ 901 w 902"/>
              <a:gd name="T117" fmla="*/ 893 h 902"/>
              <a:gd name="T118" fmla="*/ 891 w 902"/>
              <a:gd name="T119" fmla="*/ 77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553" y="871"/>
                </a:moveTo>
                <a:lnTo>
                  <a:pt x="550" y="858"/>
                </a:lnTo>
                <a:lnTo>
                  <a:pt x="545" y="842"/>
                </a:lnTo>
                <a:lnTo>
                  <a:pt x="539" y="824"/>
                </a:lnTo>
                <a:lnTo>
                  <a:pt x="533" y="806"/>
                </a:lnTo>
                <a:lnTo>
                  <a:pt x="524" y="788"/>
                </a:lnTo>
                <a:lnTo>
                  <a:pt x="514" y="769"/>
                </a:lnTo>
                <a:lnTo>
                  <a:pt x="509" y="761"/>
                </a:lnTo>
                <a:lnTo>
                  <a:pt x="502" y="753"/>
                </a:lnTo>
                <a:lnTo>
                  <a:pt x="497" y="746"/>
                </a:lnTo>
                <a:lnTo>
                  <a:pt x="491" y="739"/>
                </a:lnTo>
                <a:lnTo>
                  <a:pt x="498" y="734"/>
                </a:lnTo>
                <a:lnTo>
                  <a:pt x="505" y="728"/>
                </a:lnTo>
                <a:lnTo>
                  <a:pt x="511" y="721"/>
                </a:lnTo>
                <a:lnTo>
                  <a:pt x="516" y="713"/>
                </a:lnTo>
                <a:lnTo>
                  <a:pt x="521" y="705"/>
                </a:lnTo>
                <a:lnTo>
                  <a:pt x="523" y="696"/>
                </a:lnTo>
                <a:lnTo>
                  <a:pt x="525" y="687"/>
                </a:lnTo>
                <a:lnTo>
                  <a:pt x="526" y="678"/>
                </a:lnTo>
                <a:lnTo>
                  <a:pt x="673" y="765"/>
                </a:lnTo>
                <a:lnTo>
                  <a:pt x="676" y="766"/>
                </a:lnTo>
                <a:lnTo>
                  <a:pt x="680" y="767"/>
                </a:lnTo>
                <a:lnTo>
                  <a:pt x="685" y="766"/>
                </a:lnTo>
                <a:lnTo>
                  <a:pt x="690" y="764"/>
                </a:lnTo>
                <a:lnTo>
                  <a:pt x="693" y="760"/>
                </a:lnTo>
                <a:lnTo>
                  <a:pt x="694" y="757"/>
                </a:lnTo>
                <a:lnTo>
                  <a:pt x="695" y="751"/>
                </a:lnTo>
                <a:lnTo>
                  <a:pt x="694" y="747"/>
                </a:lnTo>
                <a:lnTo>
                  <a:pt x="656" y="630"/>
                </a:lnTo>
                <a:lnTo>
                  <a:pt x="656" y="629"/>
                </a:lnTo>
                <a:lnTo>
                  <a:pt x="655" y="628"/>
                </a:lnTo>
                <a:lnTo>
                  <a:pt x="663" y="631"/>
                </a:lnTo>
                <a:lnTo>
                  <a:pt x="671" y="634"/>
                </a:lnTo>
                <a:lnTo>
                  <a:pt x="698" y="645"/>
                </a:lnTo>
                <a:lnTo>
                  <a:pt x="724" y="655"/>
                </a:lnTo>
                <a:lnTo>
                  <a:pt x="750" y="665"/>
                </a:lnTo>
                <a:lnTo>
                  <a:pt x="774" y="676"/>
                </a:lnTo>
                <a:lnTo>
                  <a:pt x="796" y="688"/>
                </a:lnTo>
                <a:lnTo>
                  <a:pt x="814" y="699"/>
                </a:lnTo>
                <a:lnTo>
                  <a:pt x="822" y="705"/>
                </a:lnTo>
                <a:lnTo>
                  <a:pt x="828" y="710"/>
                </a:lnTo>
                <a:lnTo>
                  <a:pt x="835" y="716"/>
                </a:lnTo>
                <a:lnTo>
                  <a:pt x="839" y="722"/>
                </a:lnTo>
                <a:lnTo>
                  <a:pt x="845" y="731"/>
                </a:lnTo>
                <a:lnTo>
                  <a:pt x="849" y="739"/>
                </a:lnTo>
                <a:lnTo>
                  <a:pt x="852" y="748"/>
                </a:lnTo>
                <a:lnTo>
                  <a:pt x="856" y="759"/>
                </a:lnTo>
                <a:lnTo>
                  <a:pt x="862" y="779"/>
                </a:lnTo>
                <a:lnTo>
                  <a:pt x="866" y="800"/>
                </a:lnTo>
                <a:lnTo>
                  <a:pt x="869" y="821"/>
                </a:lnTo>
                <a:lnTo>
                  <a:pt x="870" y="840"/>
                </a:lnTo>
                <a:lnTo>
                  <a:pt x="871" y="857"/>
                </a:lnTo>
                <a:lnTo>
                  <a:pt x="872" y="871"/>
                </a:lnTo>
                <a:lnTo>
                  <a:pt x="553" y="871"/>
                </a:lnTo>
                <a:close/>
                <a:moveTo>
                  <a:pt x="451" y="871"/>
                </a:moveTo>
                <a:lnTo>
                  <a:pt x="372" y="871"/>
                </a:lnTo>
                <a:lnTo>
                  <a:pt x="379" y="851"/>
                </a:lnTo>
                <a:lnTo>
                  <a:pt x="389" y="829"/>
                </a:lnTo>
                <a:lnTo>
                  <a:pt x="397" y="809"/>
                </a:lnTo>
                <a:lnTo>
                  <a:pt x="408" y="791"/>
                </a:lnTo>
                <a:lnTo>
                  <a:pt x="413" y="782"/>
                </a:lnTo>
                <a:lnTo>
                  <a:pt x="419" y="775"/>
                </a:lnTo>
                <a:lnTo>
                  <a:pt x="424" y="768"/>
                </a:lnTo>
                <a:lnTo>
                  <a:pt x="430" y="763"/>
                </a:lnTo>
                <a:lnTo>
                  <a:pt x="435" y="758"/>
                </a:lnTo>
                <a:lnTo>
                  <a:pt x="440" y="754"/>
                </a:lnTo>
                <a:lnTo>
                  <a:pt x="446" y="752"/>
                </a:lnTo>
                <a:lnTo>
                  <a:pt x="451" y="751"/>
                </a:lnTo>
                <a:lnTo>
                  <a:pt x="456" y="752"/>
                </a:lnTo>
                <a:lnTo>
                  <a:pt x="462" y="754"/>
                </a:lnTo>
                <a:lnTo>
                  <a:pt x="467" y="758"/>
                </a:lnTo>
                <a:lnTo>
                  <a:pt x="472" y="763"/>
                </a:lnTo>
                <a:lnTo>
                  <a:pt x="477" y="768"/>
                </a:lnTo>
                <a:lnTo>
                  <a:pt x="482" y="775"/>
                </a:lnTo>
                <a:lnTo>
                  <a:pt x="486" y="782"/>
                </a:lnTo>
                <a:lnTo>
                  <a:pt x="492" y="791"/>
                </a:lnTo>
                <a:lnTo>
                  <a:pt x="500" y="809"/>
                </a:lnTo>
                <a:lnTo>
                  <a:pt x="509" y="829"/>
                </a:lnTo>
                <a:lnTo>
                  <a:pt x="516" y="851"/>
                </a:lnTo>
                <a:lnTo>
                  <a:pt x="522" y="871"/>
                </a:lnTo>
                <a:lnTo>
                  <a:pt x="451" y="871"/>
                </a:lnTo>
                <a:close/>
                <a:moveTo>
                  <a:pt x="68" y="722"/>
                </a:moveTo>
                <a:lnTo>
                  <a:pt x="73" y="716"/>
                </a:lnTo>
                <a:lnTo>
                  <a:pt x="78" y="710"/>
                </a:lnTo>
                <a:lnTo>
                  <a:pt x="85" y="704"/>
                </a:lnTo>
                <a:lnTo>
                  <a:pt x="93" y="699"/>
                </a:lnTo>
                <a:lnTo>
                  <a:pt x="112" y="687"/>
                </a:lnTo>
                <a:lnTo>
                  <a:pt x="134" y="676"/>
                </a:lnTo>
                <a:lnTo>
                  <a:pt x="157" y="665"/>
                </a:lnTo>
                <a:lnTo>
                  <a:pt x="183" y="655"/>
                </a:lnTo>
                <a:lnTo>
                  <a:pt x="210" y="644"/>
                </a:lnTo>
                <a:lnTo>
                  <a:pt x="237" y="633"/>
                </a:lnTo>
                <a:lnTo>
                  <a:pt x="244" y="631"/>
                </a:lnTo>
                <a:lnTo>
                  <a:pt x="252" y="628"/>
                </a:lnTo>
                <a:lnTo>
                  <a:pt x="251" y="629"/>
                </a:lnTo>
                <a:lnTo>
                  <a:pt x="251" y="630"/>
                </a:lnTo>
                <a:lnTo>
                  <a:pt x="211" y="747"/>
                </a:lnTo>
                <a:lnTo>
                  <a:pt x="210" y="751"/>
                </a:lnTo>
                <a:lnTo>
                  <a:pt x="211" y="757"/>
                </a:lnTo>
                <a:lnTo>
                  <a:pt x="213" y="760"/>
                </a:lnTo>
                <a:lnTo>
                  <a:pt x="216" y="764"/>
                </a:lnTo>
                <a:lnTo>
                  <a:pt x="221" y="766"/>
                </a:lnTo>
                <a:lnTo>
                  <a:pt x="225" y="767"/>
                </a:lnTo>
                <a:lnTo>
                  <a:pt x="229" y="766"/>
                </a:lnTo>
                <a:lnTo>
                  <a:pt x="233" y="765"/>
                </a:lnTo>
                <a:lnTo>
                  <a:pt x="376" y="678"/>
                </a:lnTo>
                <a:lnTo>
                  <a:pt x="377" y="688"/>
                </a:lnTo>
                <a:lnTo>
                  <a:pt x="379" y="696"/>
                </a:lnTo>
                <a:lnTo>
                  <a:pt x="382" y="705"/>
                </a:lnTo>
                <a:lnTo>
                  <a:pt x="387" y="713"/>
                </a:lnTo>
                <a:lnTo>
                  <a:pt x="392" y="720"/>
                </a:lnTo>
                <a:lnTo>
                  <a:pt x="397" y="728"/>
                </a:lnTo>
                <a:lnTo>
                  <a:pt x="404" y="734"/>
                </a:lnTo>
                <a:lnTo>
                  <a:pt x="411" y="739"/>
                </a:lnTo>
                <a:lnTo>
                  <a:pt x="405" y="746"/>
                </a:lnTo>
                <a:lnTo>
                  <a:pt x="398" y="752"/>
                </a:lnTo>
                <a:lnTo>
                  <a:pt x="392" y="761"/>
                </a:lnTo>
                <a:lnTo>
                  <a:pt x="387" y="769"/>
                </a:lnTo>
                <a:lnTo>
                  <a:pt x="376" y="788"/>
                </a:lnTo>
                <a:lnTo>
                  <a:pt x="366" y="806"/>
                </a:lnTo>
                <a:lnTo>
                  <a:pt x="358" y="825"/>
                </a:lnTo>
                <a:lnTo>
                  <a:pt x="350" y="842"/>
                </a:lnTo>
                <a:lnTo>
                  <a:pt x="345" y="858"/>
                </a:lnTo>
                <a:lnTo>
                  <a:pt x="341" y="871"/>
                </a:lnTo>
                <a:lnTo>
                  <a:pt x="31" y="871"/>
                </a:lnTo>
                <a:lnTo>
                  <a:pt x="32" y="857"/>
                </a:lnTo>
                <a:lnTo>
                  <a:pt x="34" y="840"/>
                </a:lnTo>
                <a:lnTo>
                  <a:pt x="36" y="821"/>
                </a:lnTo>
                <a:lnTo>
                  <a:pt x="40" y="800"/>
                </a:lnTo>
                <a:lnTo>
                  <a:pt x="45" y="779"/>
                </a:lnTo>
                <a:lnTo>
                  <a:pt x="51" y="759"/>
                </a:lnTo>
                <a:lnTo>
                  <a:pt x="54" y="748"/>
                </a:lnTo>
                <a:lnTo>
                  <a:pt x="59" y="739"/>
                </a:lnTo>
                <a:lnTo>
                  <a:pt x="63" y="731"/>
                </a:lnTo>
                <a:lnTo>
                  <a:pt x="68" y="722"/>
                </a:lnTo>
                <a:close/>
                <a:moveTo>
                  <a:pt x="331" y="574"/>
                </a:moveTo>
                <a:lnTo>
                  <a:pt x="331" y="586"/>
                </a:lnTo>
                <a:lnTo>
                  <a:pt x="331" y="589"/>
                </a:lnTo>
                <a:lnTo>
                  <a:pt x="332" y="591"/>
                </a:lnTo>
                <a:lnTo>
                  <a:pt x="333" y="595"/>
                </a:lnTo>
                <a:lnTo>
                  <a:pt x="335" y="597"/>
                </a:lnTo>
                <a:lnTo>
                  <a:pt x="343" y="603"/>
                </a:lnTo>
                <a:lnTo>
                  <a:pt x="350" y="609"/>
                </a:lnTo>
                <a:lnTo>
                  <a:pt x="359" y="614"/>
                </a:lnTo>
                <a:lnTo>
                  <a:pt x="367" y="618"/>
                </a:lnTo>
                <a:lnTo>
                  <a:pt x="376" y="621"/>
                </a:lnTo>
                <a:lnTo>
                  <a:pt x="385" y="625"/>
                </a:lnTo>
                <a:lnTo>
                  <a:pt x="393" y="627"/>
                </a:lnTo>
                <a:lnTo>
                  <a:pt x="402" y="628"/>
                </a:lnTo>
                <a:lnTo>
                  <a:pt x="253" y="718"/>
                </a:lnTo>
                <a:lnTo>
                  <a:pt x="278" y="640"/>
                </a:lnTo>
                <a:lnTo>
                  <a:pt x="283" y="631"/>
                </a:lnTo>
                <a:lnTo>
                  <a:pt x="287" y="621"/>
                </a:lnTo>
                <a:lnTo>
                  <a:pt x="292" y="613"/>
                </a:lnTo>
                <a:lnTo>
                  <a:pt x="300" y="604"/>
                </a:lnTo>
                <a:lnTo>
                  <a:pt x="307" y="596"/>
                </a:lnTo>
                <a:lnTo>
                  <a:pt x="315" y="588"/>
                </a:lnTo>
                <a:lnTo>
                  <a:pt x="322" y="581"/>
                </a:lnTo>
                <a:lnTo>
                  <a:pt x="331" y="574"/>
                </a:lnTo>
                <a:close/>
                <a:moveTo>
                  <a:pt x="316" y="353"/>
                </a:moveTo>
                <a:lnTo>
                  <a:pt x="315" y="348"/>
                </a:lnTo>
                <a:lnTo>
                  <a:pt x="313" y="344"/>
                </a:lnTo>
                <a:lnTo>
                  <a:pt x="308" y="341"/>
                </a:lnTo>
                <a:lnTo>
                  <a:pt x="303" y="338"/>
                </a:lnTo>
                <a:lnTo>
                  <a:pt x="300" y="333"/>
                </a:lnTo>
                <a:lnTo>
                  <a:pt x="297" y="323"/>
                </a:lnTo>
                <a:lnTo>
                  <a:pt x="296" y="318"/>
                </a:lnTo>
                <a:lnTo>
                  <a:pt x="294" y="312"/>
                </a:lnTo>
                <a:lnTo>
                  <a:pt x="294" y="305"/>
                </a:lnTo>
                <a:lnTo>
                  <a:pt x="294" y="298"/>
                </a:lnTo>
                <a:lnTo>
                  <a:pt x="296" y="290"/>
                </a:lnTo>
                <a:lnTo>
                  <a:pt x="299" y="284"/>
                </a:lnTo>
                <a:lnTo>
                  <a:pt x="300" y="280"/>
                </a:lnTo>
                <a:lnTo>
                  <a:pt x="302" y="277"/>
                </a:lnTo>
                <a:lnTo>
                  <a:pt x="305" y="274"/>
                </a:lnTo>
                <a:lnTo>
                  <a:pt x="308" y="272"/>
                </a:lnTo>
                <a:lnTo>
                  <a:pt x="312" y="270"/>
                </a:lnTo>
                <a:lnTo>
                  <a:pt x="315" y="267"/>
                </a:lnTo>
                <a:lnTo>
                  <a:pt x="316" y="263"/>
                </a:lnTo>
                <a:lnTo>
                  <a:pt x="317" y="259"/>
                </a:lnTo>
                <a:lnTo>
                  <a:pt x="316" y="250"/>
                </a:lnTo>
                <a:lnTo>
                  <a:pt x="311" y="234"/>
                </a:lnTo>
                <a:lnTo>
                  <a:pt x="307" y="222"/>
                </a:lnTo>
                <a:lnTo>
                  <a:pt x="302" y="204"/>
                </a:lnTo>
                <a:lnTo>
                  <a:pt x="298" y="186"/>
                </a:lnTo>
                <a:lnTo>
                  <a:pt x="294" y="167"/>
                </a:lnTo>
                <a:lnTo>
                  <a:pt x="292" y="148"/>
                </a:lnTo>
                <a:lnTo>
                  <a:pt x="292" y="129"/>
                </a:lnTo>
                <a:lnTo>
                  <a:pt x="293" y="121"/>
                </a:lnTo>
                <a:lnTo>
                  <a:pt x="296" y="112"/>
                </a:lnTo>
                <a:lnTo>
                  <a:pt x="298" y="106"/>
                </a:lnTo>
                <a:lnTo>
                  <a:pt x="302" y="99"/>
                </a:lnTo>
                <a:lnTo>
                  <a:pt x="305" y="96"/>
                </a:lnTo>
                <a:lnTo>
                  <a:pt x="308" y="93"/>
                </a:lnTo>
                <a:lnTo>
                  <a:pt x="313" y="90"/>
                </a:lnTo>
                <a:lnTo>
                  <a:pt x="317" y="88"/>
                </a:lnTo>
                <a:lnTo>
                  <a:pt x="322" y="86"/>
                </a:lnTo>
                <a:lnTo>
                  <a:pt x="328" y="85"/>
                </a:lnTo>
                <a:lnTo>
                  <a:pt x="333" y="84"/>
                </a:lnTo>
                <a:lnTo>
                  <a:pt x="340" y="84"/>
                </a:lnTo>
                <a:lnTo>
                  <a:pt x="345" y="83"/>
                </a:lnTo>
                <a:lnTo>
                  <a:pt x="349" y="81"/>
                </a:lnTo>
                <a:lnTo>
                  <a:pt x="352" y="78"/>
                </a:lnTo>
                <a:lnTo>
                  <a:pt x="355" y="73"/>
                </a:lnTo>
                <a:lnTo>
                  <a:pt x="356" y="68"/>
                </a:lnTo>
                <a:lnTo>
                  <a:pt x="359" y="64"/>
                </a:lnTo>
                <a:lnTo>
                  <a:pt x="363" y="60"/>
                </a:lnTo>
                <a:lnTo>
                  <a:pt x="368" y="55"/>
                </a:lnTo>
                <a:lnTo>
                  <a:pt x="374" y="51"/>
                </a:lnTo>
                <a:lnTo>
                  <a:pt x="381" y="48"/>
                </a:lnTo>
                <a:lnTo>
                  <a:pt x="389" y="44"/>
                </a:lnTo>
                <a:lnTo>
                  <a:pt x="397" y="41"/>
                </a:lnTo>
                <a:lnTo>
                  <a:pt x="417" y="36"/>
                </a:lnTo>
                <a:lnTo>
                  <a:pt x="439" y="32"/>
                </a:lnTo>
                <a:lnTo>
                  <a:pt x="463" y="30"/>
                </a:lnTo>
                <a:lnTo>
                  <a:pt x="487" y="30"/>
                </a:lnTo>
                <a:lnTo>
                  <a:pt x="511" y="31"/>
                </a:lnTo>
                <a:lnTo>
                  <a:pt x="535" y="34"/>
                </a:lnTo>
                <a:lnTo>
                  <a:pt x="546" y="36"/>
                </a:lnTo>
                <a:lnTo>
                  <a:pt x="557" y="39"/>
                </a:lnTo>
                <a:lnTo>
                  <a:pt x="568" y="42"/>
                </a:lnTo>
                <a:lnTo>
                  <a:pt x="579" y="46"/>
                </a:lnTo>
                <a:lnTo>
                  <a:pt x="588" y="50"/>
                </a:lnTo>
                <a:lnTo>
                  <a:pt x="597" y="54"/>
                </a:lnTo>
                <a:lnTo>
                  <a:pt x="604" y="60"/>
                </a:lnTo>
                <a:lnTo>
                  <a:pt x="612" y="65"/>
                </a:lnTo>
                <a:lnTo>
                  <a:pt x="617" y="70"/>
                </a:lnTo>
                <a:lnTo>
                  <a:pt x="623" y="77"/>
                </a:lnTo>
                <a:lnTo>
                  <a:pt x="626" y="84"/>
                </a:lnTo>
                <a:lnTo>
                  <a:pt x="628" y="91"/>
                </a:lnTo>
                <a:lnTo>
                  <a:pt x="629" y="99"/>
                </a:lnTo>
                <a:lnTo>
                  <a:pt x="630" y="108"/>
                </a:lnTo>
                <a:lnTo>
                  <a:pt x="630" y="118"/>
                </a:lnTo>
                <a:lnTo>
                  <a:pt x="629" y="126"/>
                </a:lnTo>
                <a:lnTo>
                  <a:pt x="626" y="145"/>
                </a:lnTo>
                <a:lnTo>
                  <a:pt x="622" y="165"/>
                </a:lnTo>
                <a:lnTo>
                  <a:pt x="611" y="200"/>
                </a:lnTo>
                <a:lnTo>
                  <a:pt x="599" y="230"/>
                </a:lnTo>
                <a:lnTo>
                  <a:pt x="595" y="241"/>
                </a:lnTo>
                <a:lnTo>
                  <a:pt x="591" y="249"/>
                </a:lnTo>
                <a:lnTo>
                  <a:pt x="590" y="255"/>
                </a:lnTo>
                <a:lnTo>
                  <a:pt x="589" y="259"/>
                </a:lnTo>
                <a:lnTo>
                  <a:pt x="590" y="263"/>
                </a:lnTo>
                <a:lnTo>
                  <a:pt x="591" y="267"/>
                </a:lnTo>
                <a:lnTo>
                  <a:pt x="595" y="270"/>
                </a:lnTo>
                <a:lnTo>
                  <a:pt x="598" y="272"/>
                </a:lnTo>
                <a:lnTo>
                  <a:pt x="601" y="274"/>
                </a:lnTo>
                <a:lnTo>
                  <a:pt x="604" y="277"/>
                </a:lnTo>
                <a:lnTo>
                  <a:pt x="606" y="279"/>
                </a:lnTo>
                <a:lnTo>
                  <a:pt x="608" y="283"/>
                </a:lnTo>
                <a:lnTo>
                  <a:pt x="610" y="290"/>
                </a:lnTo>
                <a:lnTo>
                  <a:pt x="611" y="297"/>
                </a:lnTo>
                <a:lnTo>
                  <a:pt x="612" y="304"/>
                </a:lnTo>
                <a:lnTo>
                  <a:pt x="611" y="311"/>
                </a:lnTo>
                <a:lnTo>
                  <a:pt x="610" y="318"/>
                </a:lnTo>
                <a:lnTo>
                  <a:pt x="609" y="323"/>
                </a:lnTo>
                <a:lnTo>
                  <a:pt x="605" y="333"/>
                </a:lnTo>
                <a:lnTo>
                  <a:pt x="601" y="338"/>
                </a:lnTo>
                <a:lnTo>
                  <a:pt x="597" y="341"/>
                </a:lnTo>
                <a:lnTo>
                  <a:pt x="593" y="344"/>
                </a:lnTo>
                <a:lnTo>
                  <a:pt x="590" y="348"/>
                </a:lnTo>
                <a:lnTo>
                  <a:pt x="589" y="353"/>
                </a:lnTo>
                <a:lnTo>
                  <a:pt x="588" y="366"/>
                </a:lnTo>
                <a:lnTo>
                  <a:pt x="587" y="377"/>
                </a:lnTo>
                <a:lnTo>
                  <a:pt x="585" y="388"/>
                </a:lnTo>
                <a:lnTo>
                  <a:pt x="583" y="397"/>
                </a:lnTo>
                <a:lnTo>
                  <a:pt x="580" y="406"/>
                </a:lnTo>
                <a:lnTo>
                  <a:pt x="576" y="415"/>
                </a:lnTo>
                <a:lnTo>
                  <a:pt x="573" y="422"/>
                </a:lnTo>
                <a:lnTo>
                  <a:pt x="569" y="428"/>
                </a:lnTo>
                <a:lnTo>
                  <a:pt x="561" y="439"/>
                </a:lnTo>
                <a:lnTo>
                  <a:pt x="555" y="447"/>
                </a:lnTo>
                <a:lnTo>
                  <a:pt x="550" y="452"/>
                </a:lnTo>
                <a:lnTo>
                  <a:pt x="548" y="454"/>
                </a:lnTo>
                <a:lnTo>
                  <a:pt x="545" y="456"/>
                </a:lnTo>
                <a:lnTo>
                  <a:pt x="543" y="458"/>
                </a:lnTo>
                <a:lnTo>
                  <a:pt x="542" y="463"/>
                </a:lnTo>
                <a:lnTo>
                  <a:pt x="541" y="466"/>
                </a:lnTo>
                <a:lnTo>
                  <a:pt x="541" y="556"/>
                </a:lnTo>
                <a:lnTo>
                  <a:pt x="541" y="580"/>
                </a:lnTo>
                <a:lnTo>
                  <a:pt x="531" y="586"/>
                </a:lnTo>
                <a:lnTo>
                  <a:pt x="520" y="591"/>
                </a:lnTo>
                <a:lnTo>
                  <a:pt x="508" y="596"/>
                </a:lnTo>
                <a:lnTo>
                  <a:pt x="496" y="598"/>
                </a:lnTo>
                <a:lnTo>
                  <a:pt x="472" y="601"/>
                </a:lnTo>
                <a:lnTo>
                  <a:pt x="451" y="601"/>
                </a:lnTo>
                <a:lnTo>
                  <a:pt x="431" y="601"/>
                </a:lnTo>
                <a:lnTo>
                  <a:pt x="407" y="598"/>
                </a:lnTo>
                <a:lnTo>
                  <a:pt x="394" y="596"/>
                </a:lnTo>
                <a:lnTo>
                  <a:pt x="382" y="591"/>
                </a:lnTo>
                <a:lnTo>
                  <a:pt x="372" y="586"/>
                </a:lnTo>
                <a:lnTo>
                  <a:pt x="361" y="580"/>
                </a:lnTo>
                <a:lnTo>
                  <a:pt x="361" y="556"/>
                </a:lnTo>
                <a:lnTo>
                  <a:pt x="361" y="466"/>
                </a:lnTo>
                <a:lnTo>
                  <a:pt x="361" y="463"/>
                </a:lnTo>
                <a:lnTo>
                  <a:pt x="360" y="460"/>
                </a:lnTo>
                <a:lnTo>
                  <a:pt x="358" y="456"/>
                </a:lnTo>
                <a:lnTo>
                  <a:pt x="356" y="454"/>
                </a:lnTo>
                <a:lnTo>
                  <a:pt x="349" y="448"/>
                </a:lnTo>
                <a:lnTo>
                  <a:pt x="335" y="430"/>
                </a:lnTo>
                <a:lnTo>
                  <a:pt x="328" y="416"/>
                </a:lnTo>
                <a:lnTo>
                  <a:pt x="322" y="397"/>
                </a:lnTo>
                <a:lnTo>
                  <a:pt x="319" y="388"/>
                </a:lnTo>
                <a:lnTo>
                  <a:pt x="317" y="377"/>
                </a:lnTo>
                <a:lnTo>
                  <a:pt x="316" y="366"/>
                </a:lnTo>
                <a:lnTo>
                  <a:pt x="316" y="353"/>
                </a:lnTo>
                <a:close/>
                <a:moveTo>
                  <a:pt x="451" y="721"/>
                </a:moveTo>
                <a:lnTo>
                  <a:pt x="442" y="720"/>
                </a:lnTo>
                <a:lnTo>
                  <a:pt x="435" y="718"/>
                </a:lnTo>
                <a:lnTo>
                  <a:pt x="426" y="714"/>
                </a:lnTo>
                <a:lnTo>
                  <a:pt x="420" y="707"/>
                </a:lnTo>
                <a:lnTo>
                  <a:pt x="415" y="701"/>
                </a:lnTo>
                <a:lnTo>
                  <a:pt x="410" y="693"/>
                </a:lnTo>
                <a:lnTo>
                  <a:pt x="407" y="685"/>
                </a:lnTo>
                <a:lnTo>
                  <a:pt x="406" y="676"/>
                </a:lnTo>
                <a:lnTo>
                  <a:pt x="406" y="661"/>
                </a:lnTo>
                <a:lnTo>
                  <a:pt x="451" y="633"/>
                </a:lnTo>
                <a:lnTo>
                  <a:pt x="496" y="660"/>
                </a:lnTo>
                <a:lnTo>
                  <a:pt x="496" y="676"/>
                </a:lnTo>
                <a:lnTo>
                  <a:pt x="495" y="685"/>
                </a:lnTo>
                <a:lnTo>
                  <a:pt x="493" y="693"/>
                </a:lnTo>
                <a:lnTo>
                  <a:pt x="489" y="701"/>
                </a:lnTo>
                <a:lnTo>
                  <a:pt x="482" y="707"/>
                </a:lnTo>
                <a:lnTo>
                  <a:pt x="476" y="714"/>
                </a:lnTo>
                <a:lnTo>
                  <a:pt x="468" y="718"/>
                </a:lnTo>
                <a:lnTo>
                  <a:pt x="460" y="720"/>
                </a:lnTo>
                <a:lnTo>
                  <a:pt x="451" y="721"/>
                </a:lnTo>
                <a:close/>
                <a:moveTo>
                  <a:pt x="628" y="640"/>
                </a:moveTo>
                <a:lnTo>
                  <a:pt x="654" y="718"/>
                </a:lnTo>
                <a:lnTo>
                  <a:pt x="500" y="628"/>
                </a:lnTo>
                <a:lnTo>
                  <a:pt x="510" y="626"/>
                </a:lnTo>
                <a:lnTo>
                  <a:pt x="519" y="624"/>
                </a:lnTo>
                <a:lnTo>
                  <a:pt x="527" y="621"/>
                </a:lnTo>
                <a:lnTo>
                  <a:pt x="536" y="618"/>
                </a:lnTo>
                <a:lnTo>
                  <a:pt x="544" y="614"/>
                </a:lnTo>
                <a:lnTo>
                  <a:pt x="552" y="609"/>
                </a:lnTo>
                <a:lnTo>
                  <a:pt x="560" y="603"/>
                </a:lnTo>
                <a:lnTo>
                  <a:pt x="567" y="597"/>
                </a:lnTo>
                <a:lnTo>
                  <a:pt x="569" y="595"/>
                </a:lnTo>
                <a:lnTo>
                  <a:pt x="570" y="591"/>
                </a:lnTo>
                <a:lnTo>
                  <a:pt x="571" y="589"/>
                </a:lnTo>
                <a:lnTo>
                  <a:pt x="571" y="586"/>
                </a:lnTo>
                <a:lnTo>
                  <a:pt x="571" y="573"/>
                </a:lnTo>
                <a:lnTo>
                  <a:pt x="581" y="580"/>
                </a:lnTo>
                <a:lnTo>
                  <a:pt x="589" y="586"/>
                </a:lnTo>
                <a:lnTo>
                  <a:pt x="597" y="595"/>
                </a:lnTo>
                <a:lnTo>
                  <a:pt x="605" y="603"/>
                </a:lnTo>
                <a:lnTo>
                  <a:pt x="613" y="612"/>
                </a:lnTo>
                <a:lnTo>
                  <a:pt x="618" y="621"/>
                </a:lnTo>
                <a:lnTo>
                  <a:pt x="624" y="631"/>
                </a:lnTo>
                <a:lnTo>
                  <a:pt x="628" y="640"/>
                </a:lnTo>
                <a:close/>
                <a:moveTo>
                  <a:pt x="865" y="705"/>
                </a:moveTo>
                <a:lnTo>
                  <a:pt x="858" y="699"/>
                </a:lnTo>
                <a:lnTo>
                  <a:pt x="852" y="691"/>
                </a:lnTo>
                <a:lnTo>
                  <a:pt x="845" y="684"/>
                </a:lnTo>
                <a:lnTo>
                  <a:pt x="836" y="677"/>
                </a:lnTo>
                <a:lnTo>
                  <a:pt x="816" y="664"/>
                </a:lnTo>
                <a:lnTo>
                  <a:pt x="793" y="653"/>
                </a:lnTo>
                <a:lnTo>
                  <a:pt x="767" y="641"/>
                </a:lnTo>
                <a:lnTo>
                  <a:pt x="741" y="629"/>
                </a:lnTo>
                <a:lnTo>
                  <a:pt x="712" y="617"/>
                </a:lnTo>
                <a:lnTo>
                  <a:pt x="682" y="606"/>
                </a:lnTo>
                <a:lnTo>
                  <a:pt x="669" y="601"/>
                </a:lnTo>
                <a:lnTo>
                  <a:pt x="656" y="597"/>
                </a:lnTo>
                <a:lnTo>
                  <a:pt x="643" y="591"/>
                </a:lnTo>
                <a:lnTo>
                  <a:pt x="630" y="586"/>
                </a:lnTo>
                <a:lnTo>
                  <a:pt x="618" y="573"/>
                </a:lnTo>
                <a:lnTo>
                  <a:pt x="605" y="561"/>
                </a:lnTo>
                <a:lnTo>
                  <a:pt x="593" y="551"/>
                </a:lnTo>
                <a:lnTo>
                  <a:pt x="579" y="543"/>
                </a:lnTo>
                <a:lnTo>
                  <a:pt x="575" y="542"/>
                </a:lnTo>
                <a:lnTo>
                  <a:pt x="572" y="541"/>
                </a:lnTo>
                <a:lnTo>
                  <a:pt x="571" y="541"/>
                </a:lnTo>
                <a:lnTo>
                  <a:pt x="571" y="472"/>
                </a:lnTo>
                <a:lnTo>
                  <a:pt x="578" y="467"/>
                </a:lnTo>
                <a:lnTo>
                  <a:pt x="584" y="458"/>
                </a:lnTo>
                <a:lnTo>
                  <a:pt x="591" y="449"/>
                </a:lnTo>
                <a:lnTo>
                  <a:pt x="599" y="436"/>
                </a:lnTo>
                <a:lnTo>
                  <a:pt x="606" y="421"/>
                </a:lnTo>
                <a:lnTo>
                  <a:pt x="612" y="404"/>
                </a:lnTo>
                <a:lnTo>
                  <a:pt x="615" y="395"/>
                </a:lnTo>
                <a:lnTo>
                  <a:pt x="616" y="384"/>
                </a:lnTo>
                <a:lnTo>
                  <a:pt x="618" y="375"/>
                </a:lnTo>
                <a:lnTo>
                  <a:pt x="619" y="363"/>
                </a:lnTo>
                <a:lnTo>
                  <a:pt x="625" y="358"/>
                </a:lnTo>
                <a:lnTo>
                  <a:pt x="630" y="349"/>
                </a:lnTo>
                <a:lnTo>
                  <a:pt x="635" y="339"/>
                </a:lnTo>
                <a:lnTo>
                  <a:pt x="639" y="328"/>
                </a:lnTo>
                <a:lnTo>
                  <a:pt x="641" y="318"/>
                </a:lnTo>
                <a:lnTo>
                  <a:pt x="642" y="308"/>
                </a:lnTo>
                <a:lnTo>
                  <a:pt x="642" y="298"/>
                </a:lnTo>
                <a:lnTo>
                  <a:pt x="641" y="288"/>
                </a:lnTo>
                <a:lnTo>
                  <a:pt x="638" y="278"/>
                </a:lnTo>
                <a:lnTo>
                  <a:pt x="634" y="269"/>
                </a:lnTo>
                <a:lnTo>
                  <a:pt x="629" y="260"/>
                </a:lnTo>
                <a:lnTo>
                  <a:pt x="623" y="253"/>
                </a:lnTo>
                <a:lnTo>
                  <a:pt x="625" y="247"/>
                </a:lnTo>
                <a:lnTo>
                  <a:pt x="627" y="242"/>
                </a:lnTo>
                <a:lnTo>
                  <a:pt x="632" y="227"/>
                </a:lnTo>
                <a:lnTo>
                  <a:pt x="639" y="209"/>
                </a:lnTo>
                <a:lnTo>
                  <a:pt x="646" y="189"/>
                </a:lnTo>
                <a:lnTo>
                  <a:pt x="652" y="169"/>
                </a:lnTo>
                <a:lnTo>
                  <a:pt x="657" y="148"/>
                </a:lnTo>
                <a:lnTo>
                  <a:pt x="659" y="126"/>
                </a:lnTo>
                <a:lnTo>
                  <a:pt x="660" y="116"/>
                </a:lnTo>
                <a:lnTo>
                  <a:pt x="660" y="106"/>
                </a:lnTo>
                <a:lnTo>
                  <a:pt x="659" y="95"/>
                </a:lnTo>
                <a:lnTo>
                  <a:pt x="658" y="85"/>
                </a:lnTo>
                <a:lnTo>
                  <a:pt x="655" y="75"/>
                </a:lnTo>
                <a:lnTo>
                  <a:pt x="649" y="64"/>
                </a:lnTo>
                <a:lnTo>
                  <a:pt x="644" y="55"/>
                </a:lnTo>
                <a:lnTo>
                  <a:pt x="637" y="47"/>
                </a:lnTo>
                <a:lnTo>
                  <a:pt x="627" y="39"/>
                </a:lnTo>
                <a:lnTo>
                  <a:pt x="617" y="32"/>
                </a:lnTo>
                <a:lnTo>
                  <a:pt x="606" y="25"/>
                </a:lnTo>
                <a:lnTo>
                  <a:pt x="595" y="20"/>
                </a:lnTo>
                <a:lnTo>
                  <a:pt x="583" y="16"/>
                </a:lnTo>
                <a:lnTo>
                  <a:pt x="570" y="11"/>
                </a:lnTo>
                <a:lnTo>
                  <a:pt x="556" y="8"/>
                </a:lnTo>
                <a:lnTo>
                  <a:pt x="543" y="5"/>
                </a:lnTo>
                <a:lnTo>
                  <a:pt x="529" y="3"/>
                </a:lnTo>
                <a:lnTo>
                  <a:pt x="515" y="1"/>
                </a:lnTo>
                <a:lnTo>
                  <a:pt x="501" y="0"/>
                </a:lnTo>
                <a:lnTo>
                  <a:pt x="489" y="0"/>
                </a:lnTo>
                <a:lnTo>
                  <a:pt x="463" y="0"/>
                </a:lnTo>
                <a:lnTo>
                  <a:pt x="438" y="2"/>
                </a:lnTo>
                <a:lnTo>
                  <a:pt x="426" y="4"/>
                </a:lnTo>
                <a:lnTo>
                  <a:pt x="415" y="6"/>
                </a:lnTo>
                <a:lnTo>
                  <a:pt x="403" y="8"/>
                </a:lnTo>
                <a:lnTo>
                  <a:pt x="391" y="11"/>
                </a:lnTo>
                <a:lnTo>
                  <a:pt x="381" y="15"/>
                </a:lnTo>
                <a:lnTo>
                  <a:pt x="371" y="19"/>
                </a:lnTo>
                <a:lnTo>
                  <a:pt x="362" y="24"/>
                </a:lnTo>
                <a:lnTo>
                  <a:pt x="353" y="29"/>
                </a:lnTo>
                <a:lnTo>
                  <a:pt x="346" y="35"/>
                </a:lnTo>
                <a:lnTo>
                  <a:pt x="340" y="40"/>
                </a:lnTo>
                <a:lnTo>
                  <a:pt x="334" y="48"/>
                </a:lnTo>
                <a:lnTo>
                  <a:pt x="329" y="54"/>
                </a:lnTo>
                <a:lnTo>
                  <a:pt x="321" y="55"/>
                </a:lnTo>
                <a:lnTo>
                  <a:pt x="314" y="57"/>
                </a:lnTo>
                <a:lnTo>
                  <a:pt x="306" y="60"/>
                </a:lnTo>
                <a:lnTo>
                  <a:pt x="300" y="63"/>
                </a:lnTo>
                <a:lnTo>
                  <a:pt x="293" y="66"/>
                </a:lnTo>
                <a:lnTo>
                  <a:pt x="288" y="70"/>
                </a:lnTo>
                <a:lnTo>
                  <a:pt x="283" y="76"/>
                </a:lnTo>
                <a:lnTo>
                  <a:pt x="277" y="81"/>
                </a:lnTo>
                <a:lnTo>
                  <a:pt x="272" y="90"/>
                </a:lnTo>
                <a:lnTo>
                  <a:pt x="269" y="99"/>
                </a:lnTo>
                <a:lnTo>
                  <a:pt x="266" y="109"/>
                </a:lnTo>
                <a:lnTo>
                  <a:pt x="263" y="119"/>
                </a:lnTo>
                <a:lnTo>
                  <a:pt x="262" y="129"/>
                </a:lnTo>
                <a:lnTo>
                  <a:pt x="262" y="140"/>
                </a:lnTo>
                <a:lnTo>
                  <a:pt x="262" y="152"/>
                </a:lnTo>
                <a:lnTo>
                  <a:pt x="263" y="163"/>
                </a:lnTo>
                <a:lnTo>
                  <a:pt x="267" y="185"/>
                </a:lnTo>
                <a:lnTo>
                  <a:pt x="272" y="207"/>
                </a:lnTo>
                <a:lnTo>
                  <a:pt x="277" y="226"/>
                </a:lnTo>
                <a:lnTo>
                  <a:pt x="283" y="244"/>
                </a:lnTo>
                <a:lnTo>
                  <a:pt x="284" y="248"/>
                </a:lnTo>
                <a:lnTo>
                  <a:pt x="285" y="253"/>
                </a:lnTo>
                <a:lnTo>
                  <a:pt x="278" y="259"/>
                </a:lnTo>
                <a:lnTo>
                  <a:pt x="273" y="268"/>
                </a:lnTo>
                <a:lnTo>
                  <a:pt x="269" y="277"/>
                </a:lnTo>
                <a:lnTo>
                  <a:pt x="267" y="287"/>
                </a:lnTo>
                <a:lnTo>
                  <a:pt x="264" y="298"/>
                </a:lnTo>
                <a:lnTo>
                  <a:pt x="264" y="308"/>
                </a:lnTo>
                <a:lnTo>
                  <a:pt x="266" y="319"/>
                </a:lnTo>
                <a:lnTo>
                  <a:pt x="268" y="329"/>
                </a:lnTo>
                <a:lnTo>
                  <a:pt x="271" y="341"/>
                </a:lnTo>
                <a:lnTo>
                  <a:pt x="275" y="350"/>
                </a:lnTo>
                <a:lnTo>
                  <a:pt x="281" y="358"/>
                </a:lnTo>
                <a:lnTo>
                  <a:pt x="286" y="363"/>
                </a:lnTo>
                <a:lnTo>
                  <a:pt x="287" y="375"/>
                </a:lnTo>
                <a:lnTo>
                  <a:pt x="288" y="384"/>
                </a:lnTo>
                <a:lnTo>
                  <a:pt x="290" y="395"/>
                </a:lnTo>
                <a:lnTo>
                  <a:pt x="292" y="404"/>
                </a:lnTo>
                <a:lnTo>
                  <a:pt x="298" y="421"/>
                </a:lnTo>
                <a:lnTo>
                  <a:pt x="305" y="436"/>
                </a:lnTo>
                <a:lnTo>
                  <a:pt x="312" y="448"/>
                </a:lnTo>
                <a:lnTo>
                  <a:pt x="319" y="458"/>
                </a:lnTo>
                <a:lnTo>
                  <a:pt x="326" y="466"/>
                </a:lnTo>
                <a:lnTo>
                  <a:pt x="331" y="472"/>
                </a:lnTo>
                <a:lnTo>
                  <a:pt x="331" y="542"/>
                </a:lnTo>
                <a:lnTo>
                  <a:pt x="329" y="542"/>
                </a:lnTo>
                <a:lnTo>
                  <a:pt x="327" y="543"/>
                </a:lnTo>
                <a:lnTo>
                  <a:pt x="313" y="551"/>
                </a:lnTo>
                <a:lnTo>
                  <a:pt x="300" y="561"/>
                </a:lnTo>
                <a:lnTo>
                  <a:pt x="287" y="573"/>
                </a:lnTo>
                <a:lnTo>
                  <a:pt x="275" y="586"/>
                </a:lnTo>
                <a:lnTo>
                  <a:pt x="263" y="591"/>
                </a:lnTo>
                <a:lnTo>
                  <a:pt x="251" y="596"/>
                </a:lnTo>
                <a:lnTo>
                  <a:pt x="239" y="601"/>
                </a:lnTo>
                <a:lnTo>
                  <a:pt x="226" y="605"/>
                </a:lnTo>
                <a:lnTo>
                  <a:pt x="197" y="617"/>
                </a:lnTo>
                <a:lnTo>
                  <a:pt x="168" y="628"/>
                </a:lnTo>
                <a:lnTo>
                  <a:pt x="140" y="640"/>
                </a:lnTo>
                <a:lnTo>
                  <a:pt x="114" y="651"/>
                </a:lnTo>
                <a:lnTo>
                  <a:pt x="92" y="664"/>
                </a:lnTo>
                <a:lnTo>
                  <a:pt x="71" y="677"/>
                </a:lnTo>
                <a:lnTo>
                  <a:pt x="63" y="684"/>
                </a:lnTo>
                <a:lnTo>
                  <a:pt x="55" y="691"/>
                </a:lnTo>
                <a:lnTo>
                  <a:pt x="49" y="699"/>
                </a:lnTo>
                <a:lnTo>
                  <a:pt x="43" y="705"/>
                </a:lnTo>
                <a:lnTo>
                  <a:pt x="36" y="718"/>
                </a:lnTo>
                <a:lnTo>
                  <a:pt x="30" y="731"/>
                </a:lnTo>
                <a:lnTo>
                  <a:pt x="24" y="744"/>
                </a:lnTo>
                <a:lnTo>
                  <a:pt x="19" y="759"/>
                </a:lnTo>
                <a:lnTo>
                  <a:pt x="11" y="788"/>
                </a:lnTo>
                <a:lnTo>
                  <a:pt x="6" y="817"/>
                </a:lnTo>
                <a:lnTo>
                  <a:pt x="3" y="843"/>
                </a:lnTo>
                <a:lnTo>
                  <a:pt x="1" y="865"/>
                </a:lnTo>
                <a:lnTo>
                  <a:pt x="1" y="880"/>
                </a:lnTo>
                <a:lnTo>
                  <a:pt x="0" y="886"/>
                </a:lnTo>
                <a:lnTo>
                  <a:pt x="1" y="889"/>
                </a:lnTo>
                <a:lnTo>
                  <a:pt x="1" y="893"/>
                </a:lnTo>
                <a:lnTo>
                  <a:pt x="3" y="895"/>
                </a:lnTo>
                <a:lnTo>
                  <a:pt x="4" y="897"/>
                </a:lnTo>
                <a:lnTo>
                  <a:pt x="7" y="899"/>
                </a:lnTo>
                <a:lnTo>
                  <a:pt x="9" y="900"/>
                </a:lnTo>
                <a:lnTo>
                  <a:pt x="12" y="901"/>
                </a:lnTo>
                <a:lnTo>
                  <a:pt x="15" y="902"/>
                </a:lnTo>
                <a:lnTo>
                  <a:pt x="351" y="901"/>
                </a:lnTo>
                <a:lnTo>
                  <a:pt x="451" y="901"/>
                </a:lnTo>
                <a:lnTo>
                  <a:pt x="541" y="901"/>
                </a:lnTo>
                <a:lnTo>
                  <a:pt x="887" y="901"/>
                </a:lnTo>
                <a:lnTo>
                  <a:pt x="891" y="901"/>
                </a:lnTo>
                <a:lnTo>
                  <a:pt x="893" y="900"/>
                </a:lnTo>
                <a:lnTo>
                  <a:pt x="896" y="899"/>
                </a:lnTo>
                <a:lnTo>
                  <a:pt x="898" y="897"/>
                </a:lnTo>
                <a:lnTo>
                  <a:pt x="900" y="895"/>
                </a:lnTo>
                <a:lnTo>
                  <a:pt x="901" y="893"/>
                </a:lnTo>
                <a:lnTo>
                  <a:pt x="902" y="891"/>
                </a:lnTo>
                <a:lnTo>
                  <a:pt x="902" y="887"/>
                </a:lnTo>
                <a:lnTo>
                  <a:pt x="902" y="880"/>
                </a:lnTo>
                <a:lnTo>
                  <a:pt x="902" y="865"/>
                </a:lnTo>
                <a:lnTo>
                  <a:pt x="901" y="843"/>
                </a:lnTo>
                <a:lnTo>
                  <a:pt x="898" y="817"/>
                </a:lnTo>
                <a:lnTo>
                  <a:pt x="897" y="803"/>
                </a:lnTo>
                <a:lnTo>
                  <a:pt x="894" y="788"/>
                </a:lnTo>
                <a:lnTo>
                  <a:pt x="891" y="774"/>
                </a:lnTo>
                <a:lnTo>
                  <a:pt x="887" y="759"/>
                </a:lnTo>
                <a:lnTo>
                  <a:pt x="883" y="745"/>
                </a:lnTo>
                <a:lnTo>
                  <a:pt x="878" y="731"/>
                </a:lnTo>
                <a:lnTo>
                  <a:pt x="871" y="718"/>
                </a:lnTo>
                <a:lnTo>
                  <a:pt x="865" y="70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704" name="Group 57">
            <a:extLst>
              <a:ext uri="{FF2B5EF4-FFF2-40B4-BE49-F238E27FC236}">
                <a16:creationId xmlns:a16="http://schemas.microsoft.com/office/drawing/2014/main" id="{A9D4E058-BAB0-4719-8D75-30DAFE19DDC7}"/>
              </a:ext>
            </a:extLst>
          </p:cNvPr>
          <p:cNvGrpSpPr>
            <a:grpSpLocks noChangeAspect="1"/>
          </p:cNvGrpSpPr>
          <p:nvPr/>
        </p:nvGrpSpPr>
        <p:grpSpPr>
          <a:xfrm>
            <a:off x="5806157" y="2724897"/>
            <a:ext cx="257214" cy="285619"/>
            <a:chOff x="7586663" y="792163"/>
            <a:chExt cx="258763" cy="287338"/>
          </a:xfrm>
          <a:solidFill>
            <a:schemeClr val="bg2"/>
          </a:solidFill>
          <a:effectLst/>
        </p:grpSpPr>
        <p:sp>
          <p:nvSpPr>
            <p:cNvPr id="705" name="Freeform 231">
              <a:extLst>
                <a:ext uri="{FF2B5EF4-FFF2-40B4-BE49-F238E27FC236}">
                  <a16:creationId xmlns:a16="http://schemas.microsoft.com/office/drawing/2014/main" id="{C8BD857F-A3AC-46AD-99FF-0D2CDEA4ED3B}"/>
                </a:ext>
              </a:extLst>
            </p:cNvPr>
            <p:cNvSpPr>
              <a:spLocks noEditPoints="1"/>
            </p:cNvSpPr>
            <p:nvPr/>
          </p:nvSpPr>
          <p:spPr bwMode="auto">
            <a:xfrm>
              <a:off x="7586663" y="792163"/>
              <a:ext cx="258763" cy="287338"/>
            </a:xfrm>
            <a:custGeom>
              <a:avLst/>
              <a:gdLst>
                <a:gd name="T0" fmla="*/ 778 w 815"/>
                <a:gd name="T1" fmla="*/ 515 h 905"/>
                <a:gd name="T2" fmla="*/ 747 w 815"/>
                <a:gd name="T3" fmla="*/ 596 h 905"/>
                <a:gd name="T4" fmla="*/ 699 w 815"/>
                <a:gd name="T5" fmla="*/ 668 h 905"/>
                <a:gd name="T6" fmla="*/ 640 w 815"/>
                <a:gd name="T7" fmla="*/ 734 h 905"/>
                <a:gd name="T8" fmla="*/ 574 w 815"/>
                <a:gd name="T9" fmla="*/ 789 h 905"/>
                <a:gd name="T10" fmla="*/ 469 w 815"/>
                <a:gd name="T11" fmla="*/ 855 h 905"/>
                <a:gd name="T12" fmla="*/ 415 w 815"/>
                <a:gd name="T13" fmla="*/ 874 h 905"/>
                <a:gd name="T14" fmla="*/ 382 w 815"/>
                <a:gd name="T15" fmla="*/ 870 h 905"/>
                <a:gd name="T16" fmla="*/ 288 w 815"/>
                <a:gd name="T17" fmla="*/ 823 h 905"/>
                <a:gd name="T18" fmla="*/ 208 w 815"/>
                <a:gd name="T19" fmla="*/ 763 h 905"/>
                <a:gd name="T20" fmla="*/ 146 w 815"/>
                <a:gd name="T21" fmla="*/ 703 h 905"/>
                <a:gd name="T22" fmla="*/ 91 w 815"/>
                <a:gd name="T23" fmla="*/ 633 h 905"/>
                <a:gd name="T24" fmla="*/ 51 w 815"/>
                <a:gd name="T25" fmla="*/ 556 h 905"/>
                <a:gd name="T26" fmla="*/ 32 w 815"/>
                <a:gd name="T27" fmla="*/ 474 h 905"/>
                <a:gd name="T28" fmla="*/ 63 w 815"/>
                <a:gd name="T29" fmla="*/ 59 h 905"/>
                <a:gd name="T30" fmla="*/ 146 w 815"/>
                <a:gd name="T31" fmla="*/ 81 h 905"/>
                <a:gd name="T32" fmla="*/ 300 w 815"/>
                <a:gd name="T33" fmla="*/ 99 h 905"/>
                <a:gd name="T34" fmla="*/ 514 w 815"/>
                <a:gd name="T35" fmla="*/ 99 h 905"/>
                <a:gd name="T36" fmla="*/ 670 w 815"/>
                <a:gd name="T37" fmla="*/ 81 h 905"/>
                <a:gd name="T38" fmla="*/ 753 w 815"/>
                <a:gd name="T39" fmla="*/ 59 h 905"/>
                <a:gd name="T40" fmla="*/ 806 w 815"/>
                <a:gd name="T41" fmla="*/ 1 h 905"/>
                <a:gd name="T42" fmla="*/ 790 w 815"/>
                <a:gd name="T43" fmla="*/ 5 h 905"/>
                <a:gd name="T44" fmla="*/ 739 w 815"/>
                <a:gd name="T45" fmla="*/ 31 h 905"/>
                <a:gd name="T46" fmla="*/ 654 w 815"/>
                <a:gd name="T47" fmla="*/ 53 h 905"/>
                <a:gd name="T48" fmla="*/ 540 w 815"/>
                <a:gd name="T49" fmla="*/ 67 h 905"/>
                <a:gd name="T50" fmla="*/ 407 w 815"/>
                <a:gd name="T51" fmla="*/ 72 h 905"/>
                <a:gd name="T52" fmla="*/ 275 w 815"/>
                <a:gd name="T53" fmla="*/ 68 h 905"/>
                <a:gd name="T54" fmla="*/ 161 w 815"/>
                <a:gd name="T55" fmla="*/ 54 h 905"/>
                <a:gd name="T56" fmla="*/ 76 w 815"/>
                <a:gd name="T57" fmla="*/ 33 h 905"/>
                <a:gd name="T58" fmla="*/ 26 w 815"/>
                <a:gd name="T59" fmla="*/ 5 h 905"/>
                <a:gd name="T60" fmla="*/ 10 w 815"/>
                <a:gd name="T61" fmla="*/ 1 h 905"/>
                <a:gd name="T62" fmla="*/ 0 w 815"/>
                <a:gd name="T63" fmla="*/ 15 h 905"/>
                <a:gd name="T64" fmla="*/ 9 w 815"/>
                <a:gd name="T65" fmla="*/ 523 h 905"/>
                <a:gd name="T66" fmla="*/ 41 w 815"/>
                <a:gd name="T67" fmla="*/ 610 h 905"/>
                <a:gd name="T68" fmla="*/ 93 w 815"/>
                <a:gd name="T69" fmla="*/ 689 h 905"/>
                <a:gd name="T70" fmla="*/ 157 w 815"/>
                <a:gd name="T71" fmla="*/ 758 h 905"/>
                <a:gd name="T72" fmla="*/ 225 w 815"/>
                <a:gd name="T73" fmla="*/ 816 h 905"/>
                <a:gd name="T74" fmla="*/ 294 w 815"/>
                <a:gd name="T75" fmla="*/ 861 h 905"/>
                <a:gd name="T76" fmla="*/ 354 w 815"/>
                <a:gd name="T77" fmla="*/ 891 h 905"/>
                <a:gd name="T78" fmla="*/ 400 w 815"/>
                <a:gd name="T79" fmla="*/ 904 h 905"/>
                <a:gd name="T80" fmla="*/ 437 w 815"/>
                <a:gd name="T81" fmla="*/ 900 h 905"/>
                <a:gd name="T82" fmla="*/ 491 w 815"/>
                <a:gd name="T83" fmla="*/ 878 h 905"/>
                <a:gd name="T84" fmla="*/ 556 w 815"/>
                <a:gd name="T85" fmla="*/ 841 h 905"/>
                <a:gd name="T86" fmla="*/ 625 w 815"/>
                <a:gd name="T87" fmla="*/ 789 h 905"/>
                <a:gd name="T88" fmla="*/ 692 w 815"/>
                <a:gd name="T89" fmla="*/ 725 h 905"/>
                <a:gd name="T90" fmla="*/ 751 w 815"/>
                <a:gd name="T91" fmla="*/ 650 h 905"/>
                <a:gd name="T92" fmla="*/ 794 w 815"/>
                <a:gd name="T93" fmla="*/ 567 h 905"/>
                <a:gd name="T94" fmla="*/ 814 w 815"/>
                <a:gd name="T95" fmla="*/ 476 h 905"/>
                <a:gd name="T96" fmla="*/ 813 w 815"/>
                <a:gd name="T97" fmla="*/ 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5" h="905">
                  <a:moveTo>
                    <a:pt x="785" y="452"/>
                  </a:moveTo>
                  <a:lnTo>
                    <a:pt x="784" y="474"/>
                  </a:lnTo>
                  <a:lnTo>
                    <a:pt x="782" y="495"/>
                  </a:lnTo>
                  <a:lnTo>
                    <a:pt x="778" y="515"/>
                  </a:lnTo>
                  <a:lnTo>
                    <a:pt x="771" y="536"/>
                  </a:lnTo>
                  <a:lnTo>
                    <a:pt x="765" y="556"/>
                  </a:lnTo>
                  <a:lnTo>
                    <a:pt x="756" y="576"/>
                  </a:lnTo>
                  <a:lnTo>
                    <a:pt x="747" y="596"/>
                  </a:lnTo>
                  <a:lnTo>
                    <a:pt x="736" y="615"/>
                  </a:lnTo>
                  <a:lnTo>
                    <a:pt x="724" y="633"/>
                  </a:lnTo>
                  <a:lnTo>
                    <a:pt x="712" y="651"/>
                  </a:lnTo>
                  <a:lnTo>
                    <a:pt x="699" y="668"/>
                  </a:lnTo>
                  <a:lnTo>
                    <a:pt x="685" y="686"/>
                  </a:lnTo>
                  <a:lnTo>
                    <a:pt x="670" y="703"/>
                  </a:lnTo>
                  <a:lnTo>
                    <a:pt x="655" y="719"/>
                  </a:lnTo>
                  <a:lnTo>
                    <a:pt x="640" y="734"/>
                  </a:lnTo>
                  <a:lnTo>
                    <a:pt x="624" y="749"/>
                  </a:lnTo>
                  <a:lnTo>
                    <a:pt x="607" y="763"/>
                  </a:lnTo>
                  <a:lnTo>
                    <a:pt x="591" y="777"/>
                  </a:lnTo>
                  <a:lnTo>
                    <a:pt x="574" y="789"/>
                  </a:lnTo>
                  <a:lnTo>
                    <a:pt x="558" y="801"/>
                  </a:lnTo>
                  <a:lnTo>
                    <a:pt x="527" y="823"/>
                  </a:lnTo>
                  <a:lnTo>
                    <a:pt x="497" y="841"/>
                  </a:lnTo>
                  <a:lnTo>
                    <a:pt x="469" y="855"/>
                  </a:lnTo>
                  <a:lnTo>
                    <a:pt x="445" y="865"/>
                  </a:lnTo>
                  <a:lnTo>
                    <a:pt x="434" y="870"/>
                  </a:lnTo>
                  <a:lnTo>
                    <a:pt x="423" y="873"/>
                  </a:lnTo>
                  <a:lnTo>
                    <a:pt x="415" y="874"/>
                  </a:lnTo>
                  <a:lnTo>
                    <a:pt x="407" y="875"/>
                  </a:lnTo>
                  <a:lnTo>
                    <a:pt x="401" y="874"/>
                  </a:lnTo>
                  <a:lnTo>
                    <a:pt x="392" y="873"/>
                  </a:lnTo>
                  <a:lnTo>
                    <a:pt x="382" y="870"/>
                  </a:lnTo>
                  <a:lnTo>
                    <a:pt x="371" y="865"/>
                  </a:lnTo>
                  <a:lnTo>
                    <a:pt x="346" y="855"/>
                  </a:lnTo>
                  <a:lnTo>
                    <a:pt x="318" y="841"/>
                  </a:lnTo>
                  <a:lnTo>
                    <a:pt x="288" y="823"/>
                  </a:lnTo>
                  <a:lnTo>
                    <a:pt x="257" y="801"/>
                  </a:lnTo>
                  <a:lnTo>
                    <a:pt x="241" y="789"/>
                  </a:lnTo>
                  <a:lnTo>
                    <a:pt x="224" y="777"/>
                  </a:lnTo>
                  <a:lnTo>
                    <a:pt x="208" y="763"/>
                  </a:lnTo>
                  <a:lnTo>
                    <a:pt x="192" y="749"/>
                  </a:lnTo>
                  <a:lnTo>
                    <a:pt x="176" y="734"/>
                  </a:lnTo>
                  <a:lnTo>
                    <a:pt x="161" y="719"/>
                  </a:lnTo>
                  <a:lnTo>
                    <a:pt x="146" y="703"/>
                  </a:lnTo>
                  <a:lnTo>
                    <a:pt x="131" y="686"/>
                  </a:lnTo>
                  <a:lnTo>
                    <a:pt x="117" y="668"/>
                  </a:lnTo>
                  <a:lnTo>
                    <a:pt x="103" y="651"/>
                  </a:lnTo>
                  <a:lnTo>
                    <a:pt x="91" y="633"/>
                  </a:lnTo>
                  <a:lnTo>
                    <a:pt x="80" y="615"/>
                  </a:lnTo>
                  <a:lnTo>
                    <a:pt x="69" y="596"/>
                  </a:lnTo>
                  <a:lnTo>
                    <a:pt x="59" y="576"/>
                  </a:lnTo>
                  <a:lnTo>
                    <a:pt x="51" y="556"/>
                  </a:lnTo>
                  <a:lnTo>
                    <a:pt x="44" y="536"/>
                  </a:lnTo>
                  <a:lnTo>
                    <a:pt x="38" y="515"/>
                  </a:lnTo>
                  <a:lnTo>
                    <a:pt x="34" y="495"/>
                  </a:lnTo>
                  <a:lnTo>
                    <a:pt x="32" y="474"/>
                  </a:lnTo>
                  <a:lnTo>
                    <a:pt x="30" y="452"/>
                  </a:lnTo>
                  <a:lnTo>
                    <a:pt x="30" y="45"/>
                  </a:lnTo>
                  <a:lnTo>
                    <a:pt x="45" y="53"/>
                  </a:lnTo>
                  <a:lnTo>
                    <a:pt x="63" y="59"/>
                  </a:lnTo>
                  <a:lnTo>
                    <a:pt x="82" y="66"/>
                  </a:lnTo>
                  <a:lnTo>
                    <a:pt x="102" y="71"/>
                  </a:lnTo>
                  <a:lnTo>
                    <a:pt x="124" y="76"/>
                  </a:lnTo>
                  <a:lnTo>
                    <a:pt x="146" y="81"/>
                  </a:lnTo>
                  <a:lnTo>
                    <a:pt x="171" y="85"/>
                  </a:lnTo>
                  <a:lnTo>
                    <a:pt x="195" y="89"/>
                  </a:lnTo>
                  <a:lnTo>
                    <a:pt x="247" y="95"/>
                  </a:lnTo>
                  <a:lnTo>
                    <a:pt x="300" y="99"/>
                  </a:lnTo>
                  <a:lnTo>
                    <a:pt x="355" y="102"/>
                  </a:lnTo>
                  <a:lnTo>
                    <a:pt x="407" y="102"/>
                  </a:lnTo>
                  <a:lnTo>
                    <a:pt x="461" y="102"/>
                  </a:lnTo>
                  <a:lnTo>
                    <a:pt x="514" y="99"/>
                  </a:lnTo>
                  <a:lnTo>
                    <a:pt x="568" y="95"/>
                  </a:lnTo>
                  <a:lnTo>
                    <a:pt x="620" y="89"/>
                  </a:lnTo>
                  <a:lnTo>
                    <a:pt x="645" y="85"/>
                  </a:lnTo>
                  <a:lnTo>
                    <a:pt x="670" y="81"/>
                  </a:lnTo>
                  <a:lnTo>
                    <a:pt x="692" y="76"/>
                  </a:lnTo>
                  <a:lnTo>
                    <a:pt x="713" y="71"/>
                  </a:lnTo>
                  <a:lnTo>
                    <a:pt x="734" y="66"/>
                  </a:lnTo>
                  <a:lnTo>
                    <a:pt x="753" y="59"/>
                  </a:lnTo>
                  <a:lnTo>
                    <a:pt x="770" y="53"/>
                  </a:lnTo>
                  <a:lnTo>
                    <a:pt x="785" y="45"/>
                  </a:lnTo>
                  <a:lnTo>
                    <a:pt x="785" y="452"/>
                  </a:lnTo>
                  <a:close/>
                  <a:moveTo>
                    <a:pt x="806" y="1"/>
                  </a:moveTo>
                  <a:lnTo>
                    <a:pt x="801" y="0"/>
                  </a:lnTo>
                  <a:lnTo>
                    <a:pt x="797" y="0"/>
                  </a:lnTo>
                  <a:lnTo>
                    <a:pt x="793" y="1"/>
                  </a:lnTo>
                  <a:lnTo>
                    <a:pt x="790" y="5"/>
                  </a:lnTo>
                  <a:lnTo>
                    <a:pt x="781" y="11"/>
                  </a:lnTo>
                  <a:lnTo>
                    <a:pt x="769" y="19"/>
                  </a:lnTo>
                  <a:lnTo>
                    <a:pt x="755" y="25"/>
                  </a:lnTo>
                  <a:lnTo>
                    <a:pt x="739" y="31"/>
                  </a:lnTo>
                  <a:lnTo>
                    <a:pt x="721" y="38"/>
                  </a:lnTo>
                  <a:lnTo>
                    <a:pt x="701" y="43"/>
                  </a:lnTo>
                  <a:lnTo>
                    <a:pt x="677" y="49"/>
                  </a:lnTo>
                  <a:lnTo>
                    <a:pt x="654" y="53"/>
                  </a:lnTo>
                  <a:lnTo>
                    <a:pt x="627" y="57"/>
                  </a:lnTo>
                  <a:lnTo>
                    <a:pt x="600" y="61"/>
                  </a:lnTo>
                  <a:lnTo>
                    <a:pt x="570" y="65"/>
                  </a:lnTo>
                  <a:lnTo>
                    <a:pt x="540" y="67"/>
                  </a:lnTo>
                  <a:lnTo>
                    <a:pt x="508" y="69"/>
                  </a:lnTo>
                  <a:lnTo>
                    <a:pt x="476" y="71"/>
                  </a:lnTo>
                  <a:lnTo>
                    <a:pt x="442" y="72"/>
                  </a:lnTo>
                  <a:lnTo>
                    <a:pt x="407" y="72"/>
                  </a:lnTo>
                  <a:lnTo>
                    <a:pt x="373" y="72"/>
                  </a:lnTo>
                  <a:lnTo>
                    <a:pt x="339" y="71"/>
                  </a:lnTo>
                  <a:lnTo>
                    <a:pt x="306" y="70"/>
                  </a:lnTo>
                  <a:lnTo>
                    <a:pt x="275" y="68"/>
                  </a:lnTo>
                  <a:lnTo>
                    <a:pt x="243" y="65"/>
                  </a:lnTo>
                  <a:lnTo>
                    <a:pt x="215" y="61"/>
                  </a:lnTo>
                  <a:lnTo>
                    <a:pt x="188" y="58"/>
                  </a:lnTo>
                  <a:lnTo>
                    <a:pt x="161" y="54"/>
                  </a:lnTo>
                  <a:lnTo>
                    <a:pt x="137" y="49"/>
                  </a:lnTo>
                  <a:lnTo>
                    <a:pt x="115" y="43"/>
                  </a:lnTo>
                  <a:lnTo>
                    <a:pt x="95" y="38"/>
                  </a:lnTo>
                  <a:lnTo>
                    <a:pt x="76" y="33"/>
                  </a:lnTo>
                  <a:lnTo>
                    <a:pt x="60" y="26"/>
                  </a:lnTo>
                  <a:lnTo>
                    <a:pt x="46" y="19"/>
                  </a:lnTo>
                  <a:lnTo>
                    <a:pt x="35" y="12"/>
                  </a:lnTo>
                  <a:lnTo>
                    <a:pt x="26" y="5"/>
                  </a:lnTo>
                  <a:lnTo>
                    <a:pt x="23" y="1"/>
                  </a:lnTo>
                  <a:lnTo>
                    <a:pt x="19" y="0"/>
                  </a:lnTo>
                  <a:lnTo>
                    <a:pt x="14" y="0"/>
                  </a:lnTo>
                  <a:lnTo>
                    <a:pt x="10" y="1"/>
                  </a:lnTo>
                  <a:lnTo>
                    <a:pt x="6" y="4"/>
                  </a:lnTo>
                  <a:lnTo>
                    <a:pt x="3" y="7"/>
                  </a:lnTo>
                  <a:lnTo>
                    <a:pt x="2" y="11"/>
                  </a:lnTo>
                  <a:lnTo>
                    <a:pt x="0" y="15"/>
                  </a:lnTo>
                  <a:lnTo>
                    <a:pt x="0" y="452"/>
                  </a:lnTo>
                  <a:lnTo>
                    <a:pt x="2" y="476"/>
                  </a:lnTo>
                  <a:lnTo>
                    <a:pt x="5" y="499"/>
                  </a:lnTo>
                  <a:lnTo>
                    <a:pt x="9" y="523"/>
                  </a:lnTo>
                  <a:lnTo>
                    <a:pt x="14" y="545"/>
                  </a:lnTo>
                  <a:lnTo>
                    <a:pt x="22" y="567"/>
                  </a:lnTo>
                  <a:lnTo>
                    <a:pt x="32" y="589"/>
                  </a:lnTo>
                  <a:lnTo>
                    <a:pt x="41" y="610"/>
                  </a:lnTo>
                  <a:lnTo>
                    <a:pt x="53" y="631"/>
                  </a:lnTo>
                  <a:lnTo>
                    <a:pt x="65" y="650"/>
                  </a:lnTo>
                  <a:lnTo>
                    <a:pt x="79" y="671"/>
                  </a:lnTo>
                  <a:lnTo>
                    <a:pt x="93" y="689"/>
                  </a:lnTo>
                  <a:lnTo>
                    <a:pt x="108" y="707"/>
                  </a:lnTo>
                  <a:lnTo>
                    <a:pt x="124" y="725"/>
                  </a:lnTo>
                  <a:lnTo>
                    <a:pt x="140" y="742"/>
                  </a:lnTo>
                  <a:lnTo>
                    <a:pt x="157" y="758"/>
                  </a:lnTo>
                  <a:lnTo>
                    <a:pt x="173" y="774"/>
                  </a:lnTo>
                  <a:lnTo>
                    <a:pt x="191" y="789"/>
                  </a:lnTo>
                  <a:lnTo>
                    <a:pt x="208" y="803"/>
                  </a:lnTo>
                  <a:lnTo>
                    <a:pt x="225" y="816"/>
                  </a:lnTo>
                  <a:lnTo>
                    <a:pt x="242" y="829"/>
                  </a:lnTo>
                  <a:lnTo>
                    <a:pt x="260" y="841"/>
                  </a:lnTo>
                  <a:lnTo>
                    <a:pt x="277" y="852"/>
                  </a:lnTo>
                  <a:lnTo>
                    <a:pt x="294" y="861"/>
                  </a:lnTo>
                  <a:lnTo>
                    <a:pt x="310" y="870"/>
                  </a:lnTo>
                  <a:lnTo>
                    <a:pt x="325" y="878"/>
                  </a:lnTo>
                  <a:lnTo>
                    <a:pt x="340" y="885"/>
                  </a:lnTo>
                  <a:lnTo>
                    <a:pt x="354" y="891"/>
                  </a:lnTo>
                  <a:lnTo>
                    <a:pt x="367" y="895"/>
                  </a:lnTo>
                  <a:lnTo>
                    <a:pt x="378" y="900"/>
                  </a:lnTo>
                  <a:lnTo>
                    <a:pt x="390" y="903"/>
                  </a:lnTo>
                  <a:lnTo>
                    <a:pt x="400" y="904"/>
                  </a:lnTo>
                  <a:lnTo>
                    <a:pt x="407" y="905"/>
                  </a:lnTo>
                  <a:lnTo>
                    <a:pt x="416" y="904"/>
                  </a:lnTo>
                  <a:lnTo>
                    <a:pt x="425" y="903"/>
                  </a:lnTo>
                  <a:lnTo>
                    <a:pt x="437" y="900"/>
                  </a:lnTo>
                  <a:lnTo>
                    <a:pt x="449" y="895"/>
                  </a:lnTo>
                  <a:lnTo>
                    <a:pt x="462" y="891"/>
                  </a:lnTo>
                  <a:lnTo>
                    <a:pt x="476" y="885"/>
                  </a:lnTo>
                  <a:lnTo>
                    <a:pt x="491" y="878"/>
                  </a:lnTo>
                  <a:lnTo>
                    <a:pt x="506" y="870"/>
                  </a:lnTo>
                  <a:lnTo>
                    <a:pt x="522" y="861"/>
                  </a:lnTo>
                  <a:lnTo>
                    <a:pt x="539" y="852"/>
                  </a:lnTo>
                  <a:lnTo>
                    <a:pt x="556" y="841"/>
                  </a:lnTo>
                  <a:lnTo>
                    <a:pt x="573" y="829"/>
                  </a:lnTo>
                  <a:lnTo>
                    <a:pt x="590" y="816"/>
                  </a:lnTo>
                  <a:lnTo>
                    <a:pt x="607" y="803"/>
                  </a:lnTo>
                  <a:lnTo>
                    <a:pt x="625" y="789"/>
                  </a:lnTo>
                  <a:lnTo>
                    <a:pt x="643" y="774"/>
                  </a:lnTo>
                  <a:lnTo>
                    <a:pt x="659" y="758"/>
                  </a:lnTo>
                  <a:lnTo>
                    <a:pt x="676" y="742"/>
                  </a:lnTo>
                  <a:lnTo>
                    <a:pt x="692" y="725"/>
                  </a:lnTo>
                  <a:lnTo>
                    <a:pt x="708" y="707"/>
                  </a:lnTo>
                  <a:lnTo>
                    <a:pt x="723" y="689"/>
                  </a:lnTo>
                  <a:lnTo>
                    <a:pt x="737" y="671"/>
                  </a:lnTo>
                  <a:lnTo>
                    <a:pt x="751" y="650"/>
                  </a:lnTo>
                  <a:lnTo>
                    <a:pt x="763" y="631"/>
                  </a:lnTo>
                  <a:lnTo>
                    <a:pt x="775" y="610"/>
                  </a:lnTo>
                  <a:lnTo>
                    <a:pt x="784" y="589"/>
                  </a:lnTo>
                  <a:lnTo>
                    <a:pt x="794" y="567"/>
                  </a:lnTo>
                  <a:lnTo>
                    <a:pt x="801" y="545"/>
                  </a:lnTo>
                  <a:lnTo>
                    <a:pt x="807" y="523"/>
                  </a:lnTo>
                  <a:lnTo>
                    <a:pt x="811" y="499"/>
                  </a:lnTo>
                  <a:lnTo>
                    <a:pt x="814" y="476"/>
                  </a:lnTo>
                  <a:lnTo>
                    <a:pt x="815" y="452"/>
                  </a:lnTo>
                  <a:lnTo>
                    <a:pt x="815" y="15"/>
                  </a:lnTo>
                  <a:lnTo>
                    <a:pt x="814" y="11"/>
                  </a:lnTo>
                  <a:lnTo>
                    <a:pt x="813" y="7"/>
                  </a:lnTo>
                  <a:lnTo>
                    <a:pt x="810" y="4"/>
                  </a:lnTo>
                  <a:lnTo>
                    <a:pt x="80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6" name="Freeform 232">
              <a:extLst>
                <a:ext uri="{FF2B5EF4-FFF2-40B4-BE49-F238E27FC236}">
                  <a16:creationId xmlns:a16="http://schemas.microsoft.com/office/drawing/2014/main" id="{FC798CBA-D264-44F4-AC3E-760F50B96075}"/>
                </a:ext>
              </a:extLst>
            </p:cNvPr>
            <p:cNvSpPr>
              <a:spLocks/>
            </p:cNvSpPr>
            <p:nvPr/>
          </p:nvSpPr>
          <p:spPr bwMode="auto">
            <a:xfrm>
              <a:off x="7662863" y="954088"/>
              <a:ext cx="104775" cy="58738"/>
            </a:xfrm>
            <a:custGeom>
              <a:avLst/>
              <a:gdLst>
                <a:gd name="T0" fmla="*/ 0 w 331"/>
                <a:gd name="T1" fmla="*/ 169 h 182"/>
                <a:gd name="T2" fmla="*/ 3 w 331"/>
                <a:gd name="T3" fmla="*/ 176 h 182"/>
                <a:gd name="T4" fmla="*/ 7 w 331"/>
                <a:gd name="T5" fmla="*/ 179 h 182"/>
                <a:gd name="T6" fmla="*/ 12 w 331"/>
                <a:gd name="T7" fmla="*/ 181 h 182"/>
                <a:gd name="T8" fmla="*/ 18 w 331"/>
                <a:gd name="T9" fmla="*/ 181 h 182"/>
                <a:gd name="T10" fmla="*/ 23 w 331"/>
                <a:gd name="T11" fmla="*/ 179 h 182"/>
                <a:gd name="T12" fmla="*/ 27 w 331"/>
                <a:gd name="T13" fmla="*/ 176 h 182"/>
                <a:gd name="T14" fmla="*/ 29 w 331"/>
                <a:gd name="T15" fmla="*/ 169 h 182"/>
                <a:gd name="T16" fmla="*/ 30 w 331"/>
                <a:gd name="T17" fmla="*/ 153 h 182"/>
                <a:gd name="T18" fmla="*/ 36 w 331"/>
                <a:gd name="T19" fmla="*/ 127 h 182"/>
                <a:gd name="T20" fmla="*/ 46 w 331"/>
                <a:gd name="T21" fmla="*/ 102 h 182"/>
                <a:gd name="T22" fmla="*/ 61 w 331"/>
                <a:gd name="T23" fmla="*/ 80 h 182"/>
                <a:gd name="T24" fmla="*/ 80 w 331"/>
                <a:gd name="T25" fmla="*/ 62 h 182"/>
                <a:gd name="T26" fmla="*/ 101 w 331"/>
                <a:gd name="T27" fmla="*/ 47 h 182"/>
                <a:gd name="T28" fmla="*/ 126 w 331"/>
                <a:gd name="T29" fmla="*/ 37 h 182"/>
                <a:gd name="T30" fmla="*/ 152 w 331"/>
                <a:gd name="T31" fmla="*/ 31 h 182"/>
                <a:gd name="T32" fmla="*/ 179 w 331"/>
                <a:gd name="T33" fmla="*/ 31 h 182"/>
                <a:gd name="T34" fmla="*/ 206 w 331"/>
                <a:gd name="T35" fmla="*/ 37 h 182"/>
                <a:gd name="T36" fmla="*/ 231 w 331"/>
                <a:gd name="T37" fmla="*/ 47 h 182"/>
                <a:gd name="T38" fmla="*/ 252 w 331"/>
                <a:gd name="T39" fmla="*/ 62 h 182"/>
                <a:gd name="T40" fmla="*/ 270 w 331"/>
                <a:gd name="T41" fmla="*/ 80 h 182"/>
                <a:gd name="T42" fmla="*/ 285 w 331"/>
                <a:gd name="T43" fmla="*/ 102 h 182"/>
                <a:gd name="T44" fmla="*/ 296 w 331"/>
                <a:gd name="T45" fmla="*/ 127 h 182"/>
                <a:gd name="T46" fmla="*/ 301 w 331"/>
                <a:gd name="T47" fmla="*/ 153 h 182"/>
                <a:gd name="T48" fmla="*/ 302 w 331"/>
                <a:gd name="T49" fmla="*/ 169 h 182"/>
                <a:gd name="T50" fmla="*/ 304 w 331"/>
                <a:gd name="T51" fmla="*/ 176 h 182"/>
                <a:gd name="T52" fmla="*/ 309 w 331"/>
                <a:gd name="T53" fmla="*/ 179 h 182"/>
                <a:gd name="T54" fmla="*/ 314 w 331"/>
                <a:gd name="T55" fmla="*/ 181 h 182"/>
                <a:gd name="T56" fmla="*/ 319 w 331"/>
                <a:gd name="T57" fmla="*/ 181 h 182"/>
                <a:gd name="T58" fmla="*/ 325 w 331"/>
                <a:gd name="T59" fmla="*/ 179 h 182"/>
                <a:gd name="T60" fmla="*/ 329 w 331"/>
                <a:gd name="T61" fmla="*/ 176 h 182"/>
                <a:gd name="T62" fmla="*/ 331 w 331"/>
                <a:gd name="T63" fmla="*/ 169 h 182"/>
                <a:gd name="T64" fmla="*/ 331 w 331"/>
                <a:gd name="T65" fmla="*/ 150 h 182"/>
                <a:gd name="T66" fmla="*/ 324 w 331"/>
                <a:gd name="T67" fmla="*/ 118 h 182"/>
                <a:gd name="T68" fmla="*/ 312 w 331"/>
                <a:gd name="T69" fmla="*/ 88 h 182"/>
                <a:gd name="T70" fmla="*/ 294 w 331"/>
                <a:gd name="T71" fmla="*/ 61 h 182"/>
                <a:gd name="T72" fmla="*/ 271 w 331"/>
                <a:gd name="T73" fmla="*/ 39 h 182"/>
                <a:gd name="T74" fmla="*/ 245 w 331"/>
                <a:gd name="T75" fmla="*/ 21 h 182"/>
                <a:gd name="T76" fmla="*/ 216 w 331"/>
                <a:gd name="T77" fmla="*/ 9 h 182"/>
                <a:gd name="T78" fmla="*/ 182 w 331"/>
                <a:gd name="T79" fmla="*/ 1 h 182"/>
                <a:gd name="T80" fmla="*/ 149 w 331"/>
                <a:gd name="T81" fmla="*/ 1 h 182"/>
                <a:gd name="T82" fmla="*/ 116 w 331"/>
                <a:gd name="T83" fmla="*/ 9 h 182"/>
                <a:gd name="T84" fmla="*/ 87 w 331"/>
                <a:gd name="T85" fmla="*/ 21 h 182"/>
                <a:gd name="T86" fmla="*/ 60 w 331"/>
                <a:gd name="T87" fmla="*/ 39 h 182"/>
                <a:gd name="T88" fmla="*/ 38 w 331"/>
                <a:gd name="T89" fmla="*/ 61 h 182"/>
                <a:gd name="T90" fmla="*/ 20 w 331"/>
                <a:gd name="T91" fmla="*/ 88 h 182"/>
                <a:gd name="T92" fmla="*/ 8 w 331"/>
                <a:gd name="T93" fmla="*/ 118 h 182"/>
                <a:gd name="T94" fmla="*/ 0 w 331"/>
                <a:gd name="T95" fmla="*/ 15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182">
                  <a:moveTo>
                    <a:pt x="0" y="166"/>
                  </a:moveTo>
                  <a:lnTo>
                    <a:pt x="0" y="169"/>
                  </a:lnTo>
                  <a:lnTo>
                    <a:pt x="1" y="173"/>
                  </a:lnTo>
                  <a:lnTo>
                    <a:pt x="3" y="176"/>
                  </a:lnTo>
                  <a:lnTo>
                    <a:pt x="5" y="178"/>
                  </a:lnTo>
                  <a:lnTo>
                    <a:pt x="7" y="179"/>
                  </a:lnTo>
                  <a:lnTo>
                    <a:pt x="9" y="181"/>
                  </a:lnTo>
                  <a:lnTo>
                    <a:pt x="12" y="181"/>
                  </a:lnTo>
                  <a:lnTo>
                    <a:pt x="15" y="182"/>
                  </a:lnTo>
                  <a:lnTo>
                    <a:pt x="18" y="181"/>
                  </a:lnTo>
                  <a:lnTo>
                    <a:pt x="21" y="181"/>
                  </a:lnTo>
                  <a:lnTo>
                    <a:pt x="23" y="179"/>
                  </a:lnTo>
                  <a:lnTo>
                    <a:pt x="26" y="178"/>
                  </a:lnTo>
                  <a:lnTo>
                    <a:pt x="27" y="176"/>
                  </a:lnTo>
                  <a:lnTo>
                    <a:pt x="29" y="173"/>
                  </a:lnTo>
                  <a:lnTo>
                    <a:pt x="29" y="169"/>
                  </a:lnTo>
                  <a:lnTo>
                    <a:pt x="30" y="166"/>
                  </a:lnTo>
                  <a:lnTo>
                    <a:pt x="30" y="153"/>
                  </a:lnTo>
                  <a:lnTo>
                    <a:pt x="33" y="139"/>
                  </a:lnTo>
                  <a:lnTo>
                    <a:pt x="36" y="127"/>
                  </a:lnTo>
                  <a:lnTo>
                    <a:pt x="41" y="115"/>
                  </a:lnTo>
                  <a:lnTo>
                    <a:pt x="46" y="102"/>
                  </a:lnTo>
                  <a:lnTo>
                    <a:pt x="53" y="91"/>
                  </a:lnTo>
                  <a:lnTo>
                    <a:pt x="61" y="80"/>
                  </a:lnTo>
                  <a:lnTo>
                    <a:pt x="70" y="71"/>
                  </a:lnTo>
                  <a:lnTo>
                    <a:pt x="80" y="62"/>
                  </a:lnTo>
                  <a:lnTo>
                    <a:pt x="90" y="55"/>
                  </a:lnTo>
                  <a:lnTo>
                    <a:pt x="101" y="47"/>
                  </a:lnTo>
                  <a:lnTo>
                    <a:pt x="113" y="42"/>
                  </a:lnTo>
                  <a:lnTo>
                    <a:pt x="126" y="37"/>
                  </a:lnTo>
                  <a:lnTo>
                    <a:pt x="139" y="33"/>
                  </a:lnTo>
                  <a:lnTo>
                    <a:pt x="152" y="31"/>
                  </a:lnTo>
                  <a:lnTo>
                    <a:pt x="165" y="31"/>
                  </a:lnTo>
                  <a:lnTo>
                    <a:pt x="179" y="31"/>
                  </a:lnTo>
                  <a:lnTo>
                    <a:pt x="193" y="33"/>
                  </a:lnTo>
                  <a:lnTo>
                    <a:pt x="206" y="37"/>
                  </a:lnTo>
                  <a:lnTo>
                    <a:pt x="219" y="42"/>
                  </a:lnTo>
                  <a:lnTo>
                    <a:pt x="231" y="47"/>
                  </a:lnTo>
                  <a:lnTo>
                    <a:pt x="241" y="55"/>
                  </a:lnTo>
                  <a:lnTo>
                    <a:pt x="252" y="62"/>
                  </a:lnTo>
                  <a:lnTo>
                    <a:pt x="262" y="71"/>
                  </a:lnTo>
                  <a:lnTo>
                    <a:pt x="270" y="80"/>
                  </a:lnTo>
                  <a:lnTo>
                    <a:pt x="279" y="91"/>
                  </a:lnTo>
                  <a:lnTo>
                    <a:pt x="285" y="102"/>
                  </a:lnTo>
                  <a:lnTo>
                    <a:pt x="291" y="115"/>
                  </a:lnTo>
                  <a:lnTo>
                    <a:pt x="296" y="127"/>
                  </a:lnTo>
                  <a:lnTo>
                    <a:pt x="299" y="139"/>
                  </a:lnTo>
                  <a:lnTo>
                    <a:pt x="301" y="153"/>
                  </a:lnTo>
                  <a:lnTo>
                    <a:pt x="301" y="166"/>
                  </a:lnTo>
                  <a:lnTo>
                    <a:pt x="302" y="169"/>
                  </a:lnTo>
                  <a:lnTo>
                    <a:pt x="302" y="173"/>
                  </a:lnTo>
                  <a:lnTo>
                    <a:pt x="304" y="176"/>
                  </a:lnTo>
                  <a:lnTo>
                    <a:pt x="306" y="178"/>
                  </a:lnTo>
                  <a:lnTo>
                    <a:pt x="309" y="179"/>
                  </a:lnTo>
                  <a:lnTo>
                    <a:pt x="311" y="181"/>
                  </a:lnTo>
                  <a:lnTo>
                    <a:pt x="314" y="181"/>
                  </a:lnTo>
                  <a:lnTo>
                    <a:pt x="316" y="182"/>
                  </a:lnTo>
                  <a:lnTo>
                    <a:pt x="319" y="181"/>
                  </a:lnTo>
                  <a:lnTo>
                    <a:pt x="323" y="181"/>
                  </a:lnTo>
                  <a:lnTo>
                    <a:pt x="325" y="179"/>
                  </a:lnTo>
                  <a:lnTo>
                    <a:pt x="327" y="178"/>
                  </a:lnTo>
                  <a:lnTo>
                    <a:pt x="329" y="176"/>
                  </a:lnTo>
                  <a:lnTo>
                    <a:pt x="330" y="173"/>
                  </a:lnTo>
                  <a:lnTo>
                    <a:pt x="331" y="169"/>
                  </a:lnTo>
                  <a:lnTo>
                    <a:pt x="331" y="166"/>
                  </a:lnTo>
                  <a:lnTo>
                    <a:pt x="331" y="150"/>
                  </a:lnTo>
                  <a:lnTo>
                    <a:pt x="328" y="134"/>
                  </a:lnTo>
                  <a:lnTo>
                    <a:pt x="324" y="118"/>
                  </a:lnTo>
                  <a:lnTo>
                    <a:pt x="318" y="103"/>
                  </a:lnTo>
                  <a:lnTo>
                    <a:pt x="312" y="88"/>
                  </a:lnTo>
                  <a:lnTo>
                    <a:pt x="303" y="74"/>
                  </a:lnTo>
                  <a:lnTo>
                    <a:pt x="294" y="61"/>
                  </a:lnTo>
                  <a:lnTo>
                    <a:pt x="283" y="49"/>
                  </a:lnTo>
                  <a:lnTo>
                    <a:pt x="271" y="39"/>
                  </a:lnTo>
                  <a:lnTo>
                    <a:pt x="258" y="29"/>
                  </a:lnTo>
                  <a:lnTo>
                    <a:pt x="245" y="21"/>
                  </a:lnTo>
                  <a:lnTo>
                    <a:pt x="231" y="14"/>
                  </a:lnTo>
                  <a:lnTo>
                    <a:pt x="216" y="9"/>
                  </a:lnTo>
                  <a:lnTo>
                    <a:pt x="200" y="4"/>
                  </a:lnTo>
                  <a:lnTo>
                    <a:pt x="182" y="1"/>
                  </a:lnTo>
                  <a:lnTo>
                    <a:pt x="165" y="0"/>
                  </a:lnTo>
                  <a:lnTo>
                    <a:pt x="149" y="1"/>
                  </a:lnTo>
                  <a:lnTo>
                    <a:pt x="132" y="4"/>
                  </a:lnTo>
                  <a:lnTo>
                    <a:pt x="116" y="9"/>
                  </a:lnTo>
                  <a:lnTo>
                    <a:pt x="101" y="14"/>
                  </a:lnTo>
                  <a:lnTo>
                    <a:pt x="87" y="21"/>
                  </a:lnTo>
                  <a:lnTo>
                    <a:pt x="73" y="29"/>
                  </a:lnTo>
                  <a:lnTo>
                    <a:pt x="60" y="39"/>
                  </a:lnTo>
                  <a:lnTo>
                    <a:pt x="49" y="49"/>
                  </a:lnTo>
                  <a:lnTo>
                    <a:pt x="38" y="61"/>
                  </a:lnTo>
                  <a:lnTo>
                    <a:pt x="28" y="74"/>
                  </a:lnTo>
                  <a:lnTo>
                    <a:pt x="20" y="88"/>
                  </a:lnTo>
                  <a:lnTo>
                    <a:pt x="13" y="103"/>
                  </a:lnTo>
                  <a:lnTo>
                    <a:pt x="8" y="118"/>
                  </a:lnTo>
                  <a:lnTo>
                    <a:pt x="4" y="134"/>
                  </a:lnTo>
                  <a:lnTo>
                    <a:pt x="0" y="150"/>
                  </a:lnTo>
                  <a:lnTo>
                    <a:pt x="0"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7" name="Freeform 233">
              <a:extLst>
                <a:ext uri="{FF2B5EF4-FFF2-40B4-BE49-F238E27FC236}">
                  <a16:creationId xmlns:a16="http://schemas.microsoft.com/office/drawing/2014/main" id="{C7AB37E5-7108-46E8-BC90-1FD08D592B6A}"/>
                </a:ext>
              </a:extLst>
            </p:cNvPr>
            <p:cNvSpPr>
              <a:spLocks/>
            </p:cNvSpPr>
            <p:nvPr/>
          </p:nvSpPr>
          <p:spPr bwMode="auto">
            <a:xfrm>
              <a:off x="7624763" y="873125"/>
              <a:ext cx="57150" cy="33338"/>
            </a:xfrm>
            <a:custGeom>
              <a:avLst/>
              <a:gdLst>
                <a:gd name="T0" fmla="*/ 181 w 181"/>
                <a:gd name="T1" fmla="*/ 12 h 106"/>
                <a:gd name="T2" fmla="*/ 178 w 181"/>
                <a:gd name="T3" fmla="*/ 8 h 106"/>
                <a:gd name="T4" fmla="*/ 175 w 181"/>
                <a:gd name="T5" fmla="*/ 4 h 106"/>
                <a:gd name="T6" fmla="*/ 170 w 181"/>
                <a:gd name="T7" fmla="*/ 0 h 106"/>
                <a:gd name="T8" fmla="*/ 163 w 181"/>
                <a:gd name="T9" fmla="*/ 0 h 106"/>
                <a:gd name="T10" fmla="*/ 158 w 181"/>
                <a:gd name="T11" fmla="*/ 4 h 106"/>
                <a:gd name="T12" fmla="*/ 154 w 181"/>
                <a:gd name="T13" fmla="*/ 8 h 106"/>
                <a:gd name="T14" fmla="*/ 151 w 181"/>
                <a:gd name="T15" fmla="*/ 12 h 106"/>
                <a:gd name="T16" fmla="*/ 150 w 181"/>
                <a:gd name="T17" fmla="*/ 22 h 106"/>
                <a:gd name="T18" fmla="*/ 148 w 181"/>
                <a:gd name="T19" fmla="*/ 33 h 106"/>
                <a:gd name="T20" fmla="*/ 144 w 181"/>
                <a:gd name="T21" fmla="*/ 44 h 106"/>
                <a:gd name="T22" fmla="*/ 137 w 181"/>
                <a:gd name="T23" fmla="*/ 54 h 106"/>
                <a:gd name="T24" fmla="*/ 129 w 181"/>
                <a:gd name="T25" fmla="*/ 62 h 106"/>
                <a:gd name="T26" fmla="*/ 119 w 181"/>
                <a:gd name="T27" fmla="*/ 69 h 106"/>
                <a:gd name="T28" fmla="*/ 109 w 181"/>
                <a:gd name="T29" fmla="*/ 73 h 106"/>
                <a:gd name="T30" fmla="*/ 97 w 181"/>
                <a:gd name="T31" fmla="*/ 75 h 106"/>
                <a:gd name="T32" fmla="*/ 85 w 181"/>
                <a:gd name="T33" fmla="*/ 75 h 106"/>
                <a:gd name="T34" fmla="*/ 73 w 181"/>
                <a:gd name="T35" fmla="*/ 73 h 106"/>
                <a:gd name="T36" fmla="*/ 61 w 181"/>
                <a:gd name="T37" fmla="*/ 69 h 106"/>
                <a:gd name="T38" fmla="*/ 52 w 181"/>
                <a:gd name="T39" fmla="*/ 62 h 106"/>
                <a:gd name="T40" fmla="*/ 44 w 181"/>
                <a:gd name="T41" fmla="*/ 54 h 106"/>
                <a:gd name="T42" fmla="*/ 38 w 181"/>
                <a:gd name="T43" fmla="*/ 44 h 106"/>
                <a:gd name="T44" fmla="*/ 34 w 181"/>
                <a:gd name="T45" fmla="*/ 33 h 106"/>
                <a:gd name="T46" fmla="*/ 30 w 181"/>
                <a:gd name="T47" fmla="*/ 22 h 106"/>
                <a:gd name="T48" fmla="*/ 30 w 181"/>
                <a:gd name="T49" fmla="*/ 12 h 106"/>
                <a:gd name="T50" fmla="*/ 28 w 181"/>
                <a:gd name="T51" fmla="*/ 8 h 106"/>
                <a:gd name="T52" fmla="*/ 24 w 181"/>
                <a:gd name="T53" fmla="*/ 4 h 106"/>
                <a:gd name="T54" fmla="*/ 19 w 181"/>
                <a:gd name="T55" fmla="*/ 0 h 106"/>
                <a:gd name="T56" fmla="*/ 12 w 181"/>
                <a:gd name="T57" fmla="*/ 0 h 106"/>
                <a:gd name="T58" fmla="*/ 7 w 181"/>
                <a:gd name="T59" fmla="*/ 4 h 106"/>
                <a:gd name="T60" fmla="*/ 3 w 181"/>
                <a:gd name="T61" fmla="*/ 8 h 106"/>
                <a:gd name="T62" fmla="*/ 0 w 181"/>
                <a:gd name="T63" fmla="*/ 12 h 106"/>
                <a:gd name="T64" fmla="*/ 0 w 181"/>
                <a:gd name="T65" fmla="*/ 25 h 106"/>
                <a:gd name="T66" fmla="*/ 5 w 181"/>
                <a:gd name="T67" fmla="*/ 42 h 106"/>
                <a:gd name="T68" fmla="*/ 11 w 181"/>
                <a:gd name="T69" fmla="*/ 58 h 106"/>
                <a:gd name="T70" fmla="*/ 21 w 181"/>
                <a:gd name="T71" fmla="*/ 73 h 106"/>
                <a:gd name="T72" fmla="*/ 34 w 181"/>
                <a:gd name="T73" fmla="*/ 85 h 106"/>
                <a:gd name="T74" fmla="*/ 48 w 181"/>
                <a:gd name="T75" fmla="*/ 95 h 106"/>
                <a:gd name="T76" fmla="*/ 64 w 181"/>
                <a:gd name="T77" fmla="*/ 102 h 106"/>
                <a:gd name="T78" fmla="*/ 82 w 181"/>
                <a:gd name="T79" fmla="*/ 105 h 106"/>
                <a:gd name="T80" fmla="*/ 100 w 181"/>
                <a:gd name="T81" fmla="*/ 105 h 106"/>
                <a:gd name="T82" fmla="*/ 117 w 181"/>
                <a:gd name="T83" fmla="*/ 102 h 106"/>
                <a:gd name="T84" fmla="*/ 134 w 181"/>
                <a:gd name="T85" fmla="*/ 95 h 106"/>
                <a:gd name="T86" fmla="*/ 148 w 181"/>
                <a:gd name="T87" fmla="*/ 85 h 106"/>
                <a:gd name="T88" fmla="*/ 161 w 181"/>
                <a:gd name="T89" fmla="*/ 73 h 106"/>
                <a:gd name="T90" fmla="*/ 171 w 181"/>
                <a:gd name="T91" fmla="*/ 58 h 106"/>
                <a:gd name="T92" fmla="*/ 177 w 181"/>
                <a:gd name="T93" fmla="*/ 42 h 106"/>
                <a:gd name="T94" fmla="*/ 180 w 181"/>
                <a:gd name="T95" fmla="*/ 2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6">
                  <a:moveTo>
                    <a:pt x="181" y="15"/>
                  </a:moveTo>
                  <a:lnTo>
                    <a:pt x="181" y="12"/>
                  </a:lnTo>
                  <a:lnTo>
                    <a:pt x="180" y="10"/>
                  </a:lnTo>
                  <a:lnTo>
                    <a:pt x="178" y="8"/>
                  </a:lnTo>
                  <a:lnTo>
                    <a:pt x="177" y="5"/>
                  </a:lnTo>
                  <a:lnTo>
                    <a:pt x="175" y="4"/>
                  </a:lnTo>
                  <a:lnTo>
                    <a:pt x="172" y="1"/>
                  </a:lnTo>
                  <a:lnTo>
                    <a:pt x="170" y="0"/>
                  </a:lnTo>
                  <a:lnTo>
                    <a:pt x="166" y="0"/>
                  </a:lnTo>
                  <a:lnTo>
                    <a:pt x="163" y="0"/>
                  </a:lnTo>
                  <a:lnTo>
                    <a:pt x="160" y="1"/>
                  </a:lnTo>
                  <a:lnTo>
                    <a:pt x="158" y="4"/>
                  </a:lnTo>
                  <a:lnTo>
                    <a:pt x="156" y="5"/>
                  </a:lnTo>
                  <a:lnTo>
                    <a:pt x="154" y="8"/>
                  </a:lnTo>
                  <a:lnTo>
                    <a:pt x="152" y="10"/>
                  </a:lnTo>
                  <a:lnTo>
                    <a:pt x="151" y="12"/>
                  </a:lnTo>
                  <a:lnTo>
                    <a:pt x="151" y="15"/>
                  </a:lnTo>
                  <a:lnTo>
                    <a:pt x="150" y="22"/>
                  </a:lnTo>
                  <a:lnTo>
                    <a:pt x="150" y="27"/>
                  </a:lnTo>
                  <a:lnTo>
                    <a:pt x="148" y="33"/>
                  </a:lnTo>
                  <a:lnTo>
                    <a:pt x="146" y="39"/>
                  </a:lnTo>
                  <a:lnTo>
                    <a:pt x="144" y="44"/>
                  </a:lnTo>
                  <a:lnTo>
                    <a:pt x="141" y="50"/>
                  </a:lnTo>
                  <a:lnTo>
                    <a:pt x="137" y="54"/>
                  </a:lnTo>
                  <a:lnTo>
                    <a:pt x="133" y="58"/>
                  </a:lnTo>
                  <a:lnTo>
                    <a:pt x="129" y="62"/>
                  </a:lnTo>
                  <a:lnTo>
                    <a:pt x="125" y="66"/>
                  </a:lnTo>
                  <a:lnTo>
                    <a:pt x="119" y="69"/>
                  </a:lnTo>
                  <a:lnTo>
                    <a:pt x="114" y="71"/>
                  </a:lnTo>
                  <a:lnTo>
                    <a:pt x="109" y="73"/>
                  </a:lnTo>
                  <a:lnTo>
                    <a:pt x="103" y="74"/>
                  </a:lnTo>
                  <a:lnTo>
                    <a:pt x="97" y="75"/>
                  </a:lnTo>
                  <a:lnTo>
                    <a:pt x="90" y="75"/>
                  </a:lnTo>
                  <a:lnTo>
                    <a:pt x="85" y="75"/>
                  </a:lnTo>
                  <a:lnTo>
                    <a:pt x="79" y="74"/>
                  </a:lnTo>
                  <a:lnTo>
                    <a:pt x="73" y="73"/>
                  </a:lnTo>
                  <a:lnTo>
                    <a:pt x="67" y="71"/>
                  </a:lnTo>
                  <a:lnTo>
                    <a:pt x="61" y="69"/>
                  </a:lnTo>
                  <a:lnTo>
                    <a:pt x="57" y="66"/>
                  </a:lnTo>
                  <a:lnTo>
                    <a:pt x="52" y="62"/>
                  </a:lnTo>
                  <a:lnTo>
                    <a:pt x="48" y="58"/>
                  </a:lnTo>
                  <a:lnTo>
                    <a:pt x="44" y="54"/>
                  </a:lnTo>
                  <a:lnTo>
                    <a:pt x="41" y="50"/>
                  </a:lnTo>
                  <a:lnTo>
                    <a:pt x="38" y="44"/>
                  </a:lnTo>
                  <a:lnTo>
                    <a:pt x="35" y="39"/>
                  </a:lnTo>
                  <a:lnTo>
                    <a:pt x="34" y="33"/>
                  </a:lnTo>
                  <a:lnTo>
                    <a:pt x="31" y="27"/>
                  </a:lnTo>
                  <a:lnTo>
                    <a:pt x="30" y="22"/>
                  </a:lnTo>
                  <a:lnTo>
                    <a:pt x="30" y="15"/>
                  </a:lnTo>
                  <a:lnTo>
                    <a:pt x="30" y="12"/>
                  </a:lnTo>
                  <a:lnTo>
                    <a:pt x="29" y="10"/>
                  </a:lnTo>
                  <a:lnTo>
                    <a:pt x="28" y="8"/>
                  </a:lnTo>
                  <a:lnTo>
                    <a:pt x="26" y="5"/>
                  </a:lnTo>
                  <a:lnTo>
                    <a:pt x="24" y="4"/>
                  </a:lnTo>
                  <a:lnTo>
                    <a:pt x="21" y="1"/>
                  </a:lnTo>
                  <a:lnTo>
                    <a:pt x="19" y="0"/>
                  </a:lnTo>
                  <a:lnTo>
                    <a:pt x="15" y="0"/>
                  </a:lnTo>
                  <a:lnTo>
                    <a:pt x="12" y="0"/>
                  </a:lnTo>
                  <a:lnTo>
                    <a:pt x="9" y="1"/>
                  </a:lnTo>
                  <a:lnTo>
                    <a:pt x="7" y="4"/>
                  </a:lnTo>
                  <a:lnTo>
                    <a:pt x="5" y="5"/>
                  </a:lnTo>
                  <a:lnTo>
                    <a:pt x="3" y="8"/>
                  </a:lnTo>
                  <a:lnTo>
                    <a:pt x="2" y="10"/>
                  </a:lnTo>
                  <a:lnTo>
                    <a:pt x="0" y="12"/>
                  </a:lnTo>
                  <a:lnTo>
                    <a:pt x="0" y="15"/>
                  </a:lnTo>
                  <a:lnTo>
                    <a:pt x="0" y="25"/>
                  </a:lnTo>
                  <a:lnTo>
                    <a:pt x="3" y="33"/>
                  </a:lnTo>
                  <a:lnTo>
                    <a:pt x="5" y="42"/>
                  </a:lnTo>
                  <a:lnTo>
                    <a:pt x="7" y="51"/>
                  </a:lnTo>
                  <a:lnTo>
                    <a:pt x="11" y="58"/>
                  </a:lnTo>
                  <a:lnTo>
                    <a:pt x="15" y="66"/>
                  </a:lnTo>
                  <a:lnTo>
                    <a:pt x="21" y="73"/>
                  </a:lnTo>
                  <a:lnTo>
                    <a:pt x="27" y="80"/>
                  </a:lnTo>
                  <a:lnTo>
                    <a:pt x="34" y="85"/>
                  </a:lnTo>
                  <a:lnTo>
                    <a:pt x="40" y="90"/>
                  </a:lnTo>
                  <a:lnTo>
                    <a:pt x="48" y="95"/>
                  </a:lnTo>
                  <a:lnTo>
                    <a:pt x="55" y="99"/>
                  </a:lnTo>
                  <a:lnTo>
                    <a:pt x="64" y="102"/>
                  </a:lnTo>
                  <a:lnTo>
                    <a:pt x="72" y="104"/>
                  </a:lnTo>
                  <a:lnTo>
                    <a:pt x="82" y="105"/>
                  </a:lnTo>
                  <a:lnTo>
                    <a:pt x="90" y="106"/>
                  </a:lnTo>
                  <a:lnTo>
                    <a:pt x="100" y="105"/>
                  </a:lnTo>
                  <a:lnTo>
                    <a:pt x="109" y="104"/>
                  </a:lnTo>
                  <a:lnTo>
                    <a:pt x="117" y="102"/>
                  </a:lnTo>
                  <a:lnTo>
                    <a:pt x="126" y="99"/>
                  </a:lnTo>
                  <a:lnTo>
                    <a:pt x="134" y="95"/>
                  </a:lnTo>
                  <a:lnTo>
                    <a:pt x="142" y="90"/>
                  </a:lnTo>
                  <a:lnTo>
                    <a:pt x="148" y="85"/>
                  </a:lnTo>
                  <a:lnTo>
                    <a:pt x="155" y="80"/>
                  </a:lnTo>
                  <a:lnTo>
                    <a:pt x="161" y="73"/>
                  </a:lnTo>
                  <a:lnTo>
                    <a:pt x="165" y="66"/>
                  </a:lnTo>
                  <a:lnTo>
                    <a:pt x="171" y="58"/>
                  </a:lnTo>
                  <a:lnTo>
                    <a:pt x="174" y="51"/>
                  </a:lnTo>
                  <a:lnTo>
                    <a:pt x="177" y="42"/>
                  </a:lnTo>
                  <a:lnTo>
                    <a:pt x="179" y="33"/>
                  </a:lnTo>
                  <a:lnTo>
                    <a:pt x="180" y="25"/>
                  </a:lnTo>
                  <a:lnTo>
                    <a:pt x="18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8" name="Freeform 234">
              <a:extLst>
                <a:ext uri="{FF2B5EF4-FFF2-40B4-BE49-F238E27FC236}">
                  <a16:creationId xmlns:a16="http://schemas.microsoft.com/office/drawing/2014/main" id="{C13415CC-C898-404B-B2C8-50079545C410}"/>
                </a:ext>
              </a:extLst>
            </p:cNvPr>
            <p:cNvSpPr>
              <a:spLocks/>
            </p:cNvSpPr>
            <p:nvPr/>
          </p:nvSpPr>
          <p:spPr bwMode="auto">
            <a:xfrm>
              <a:off x="7748588" y="873125"/>
              <a:ext cx="58738" cy="33338"/>
            </a:xfrm>
            <a:custGeom>
              <a:avLst/>
              <a:gdLst>
                <a:gd name="T0" fmla="*/ 100 w 181"/>
                <a:gd name="T1" fmla="*/ 105 h 106"/>
                <a:gd name="T2" fmla="*/ 118 w 181"/>
                <a:gd name="T3" fmla="*/ 102 h 106"/>
                <a:gd name="T4" fmla="*/ 134 w 181"/>
                <a:gd name="T5" fmla="*/ 95 h 106"/>
                <a:gd name="T6" fmla="*/ 148 w 181"/>
                <a:gd name="T7" fmla="*/ 85 h 106"/>
                <a:gd name="T8" fmla="*/ 161 w 181"/>
                <a:gd name="T9" fmla="*/ 73 h 106"/>
                <a:gd name="T10" fmla="*/ 171 w 181"/>
                <a:gd name="T11" fmla="*/ 58 h 106"/>
                <a:gd name="T12" fmla="*/ 177 w 181"/>
                <a:gd name="T13" fmla="*/ 42 h 106"/>
                <a:gd name="T14" fmla="*/ 181 w 181"/>
                <a:gd name="T15" fmla="*/ 25 h 106"/>
                <a:gd name="T16" fmla="*/ 181 w 181"/>
                <a:gd name="T17" fmla="*/ 12 h 106"/>
                <a:gd name="T18" fmla="*/ 179 w 181"/>
                <a:gd name="T19" fmla="*/ 8 h 106"/>
                <a:gd name="T20" fmla="*/ 175 w 181"/>
                <a:gd name="T21" fmla="*/ 4 h 106"/>
                <a:gd name="T22" fmla="*/ 169 w 181"/>
                <a:gd name="T23" fmla="*/ 0 h 106"/>
                <a:gd name="T24" fmla="*/ 163 w 181"/>
                <a:gd name="T25" fmla="*/ 0 h 106"/>
                <a:gd name="T26" fmla="*/ 158 w 181"/>
                <a:gd name="T27" fmla="*/ 4 h 106"/>
                <a:gd name="T28" fmla="*/ 153 w 181"/>
                <a:gd name="T29" fmla="*/ 8 h 106"/>
                <a:gd name="T30" fmla="*/ 151 w 181"/>
                <a:gd name="T31" fmla="*/ 12 h 106"/>
                <a:gd name="T32" fmla="*/ 151 w 181"/>
                <a:gd name="T33" fmla="*/ 22 h 106"/>
                <a:gd name="T34" fmla="*/ 148 w 181"/>
                <a:gd name="T35" fmla="*/ 33 h 106"/>
                <a:gd name="T36" fmla="*/ 144 w 181"/>
                <a:gd name="T37" fmla="*/ 44 h 106"/>
                <a:gd name="T38" fmla="*/ 137 w 181"/>
                <a:gd name="T39" fmla="*/ 54 h 106"/>
                <a:gd name="T40" fmla="*/ 130 w 181"/>
                <a:gd name="T41" fmla="*/ 62 h 106"/>
                <a:gd name="T42" fmla="*/ 120 w 181"/>
                <a:gd name="T43" fmla="*/ 69 h 106"/>
                <a:gd name="T44" fmla="*/ 108 w 181"/>
                <a:gd name="T45" fmla="*/ 73 h 106"/>
                <a:gd name="T46" fmla="*/ 97 w 181"/>
                <a:gd name="T47" fmla="*/ 75 h 106"/>
                <a:gd name="T48" fmla="*/ 85 w 181"/>
                <a:gd name="T49" fmla="*/ 75 h 106"/>
                <a:gd name="T50" fmla="*/ 73 w 181"/>
                <a:gd name="T51" fmla="*/ 73 h 106"/>
                <a:gd name="T52" fmla="*/ 62 w 181"/>
                <a:gd name="T53" fmla="*/ 69 h 106"/>
                <a:gd name="T54" fmla="*/ 53 w 181"/>
                <a:gd name="T55" fmla="*/ 62 h 106"/>
                <a:gd name="T56" fmla="*/ 44 w 181"/>
                <a:gd name="T57" fmla="*/ 54 h 106"/>
                <a:gd name="T58" fmla="*/ 38 w 181"/>
                <a:gd name="T59" fmla="*/ 44 h 106"/>
                <a:gd name="T60" fmla="*/ 33 w 181"/>
                <a:gd name="T61" fmla="*/ 33 h 106"/>
                <a:gd name="T62" fmla="*/ 31 w 181"/>
                <a:gd name="T63" fmla="*/ 22 h 106"/>
                <a:gd name="T64" fmla="*/ 30 w 181"/>
                <a:gd name="T65" fmla="*/ 12 h 106"/>
                <a:gd name="T66" fmla="*/ 28 w 181"/>
                <a:gd name="T67" fmla="*/ 8 h 106"/>
                <a:gd name="T68" fmla="*/ 24 w 181"/>
                <a:gd name="T69" fmla="*/ 4 h 106"/>
                <a:gd name="T70" fmla="*/ 18 w 181"/>
                <a:gd name="T71" fmla="*/ 0 h 106"/>
                <a:gd name="T72" fmla="*/ 12 w 181"/>
                <a:gd name="T73" fmla="*/ 0 h 106"/>
                <a:gd name="T74" fmla="*/ 7 w 181"/>
                <a:gd name="T75" fmla="*/ 4 h 106"/>
                <a:gd name="T76" fmla="*/ 3 w 181"/>
                <a:gd name="T77" fmla="*/ 8 h 106"/>
                <a:gd name="T78" fmla="*/ 0 w 181"/>
                <a:gd name="T79" fmla="*/ 12 h 106"/>
                <a:gd name="T80" fmla="*/ 1 w 181"/>
                <a:gd name="T81" fmla="*/ 25 h 106"/>
                <a:gd name="T82" fmla="*/ 5 w 181"/>
                <a:gd name="T83" fmla="*/ 42 h 106"/>
                <a:gd name="T84" fmla="*/ 11 w 181"/>
                <a:gd name="T85" fmla="*/ 58 h 106"/>
                <a:gd name="T86" fmla="*/ 21 w 181"/>
                <a:gd name="T87" fmla="*/ 73 h 106"/>
                <a:gd name="T88" fmla="*/ 33 w 181"/>
                <a:gd name="T89" fmla="*/ 85 h 106"/>
                <a:gd name="T90" fmla="*/ 47 w 181"/>
                <a:gd name="T91" fmla="*/ 95 h 106"/>
                <a:gd name="T92" fmla="*/ 65 w 181"/>
                <a:gd name="T93" fmla="*/ 102 h 106"/>
                <a:gd name="T94" fmla="*/ 82 w 181"/>
                <a:gd name="T95"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6">
                  <a:moveTo>
                    <a:pt x="91" y="106"/>
                  </a:moveTo>
                  <a:lnTo>
                    <a:pt x="100" y="105"/>
                  </a:lnTo>
                  <a:lnTo>
                    <a:pt x="109" y="104"/>
                  </a:lnTo>
                  <a:lnTo>
                    <a:pt x="118" y="102"/>
                  </a:lnTo>
                  <a:lnTo>
                    <a:pt x="127" y="99"/>
                  </a:lnTo>
                  <a:lnTo>
                    <a:pt x="134" y="95"/>
                  </a:lnTo>
                  <a:lnTo>
                    <a:pt x="142" y="90"/>
                  </a:lnTo>
                  <a:lnTo>
                    <a:pt x="148" y="85"/>
                  </a:lnTo>
                  <a:lnTo>
                    <a:pt x="154" y="80"/>
                  </a:lnTo>
                  <a:lnTo>
                    <a:pt x="161" y="73"/>
                  </a:lnTo>
                  <a:lnTo>
                    <a:pt x="166" y="66"/>
                  </a:lnTo>
                  <a:lnTo>
                    <a:pt x="171" y="58"/>
                  </a:lnTo>
                  <a:lnTo>
                    <a:pt x="175" y="51"/>
                  </a:lnTo>
                  <a:lnTo>
                    <a:pt x="177" y="42"/>
                  </a:lnTo>
                  <a:lnTo>
                    <a:pt x="179" y="33"/>
                  </a:lnTo>
                  <a:lnTo>
                    <a:pt x="181" y="25"/>
                  </a:lnTo>
                  <a:lnTo>
                    <a:pt x="181" y="15"/>
                  </a:lnTo>
                  <a:lnTo>
                    <a:pt x="181" y="12"/>
                  </a:lnTo>
                  <a:lnTo>
                    <a:pt x="180" y="10"/>
                  </a:lnTo>
                  <a:lnTo>
                    <a:pt x="179" y="8"/>
                  </a:lnTo>
                  <a:lnTo>
                    <a:pt x="177" y="5"/>
                  </a:lnTo>
                  <a:lnTo>
                    <a:pt x="175" y="4"/>
                  </a:lnTo>
                  <a:lnTo>
                    <a:pt x="173" y="1"/>
                  </a:lnTo>
                  <a:lnTo>
                    <a:pt x="169" y="0"/>
                  </a:lnTo>
                  <a:lnTo>
                    <a:pt x="166" y="0"/>
                  </a:lnTo>
                  <a:lnTo>
                    <a:pt x="163" y="0"/>
                  </a:lnTo>
                  <a:lnTo>
                    <a:pt x="161" y="1"/>
                  </a:lnTo>
                  <a:lnTo>
                    <a:pt x="158" y="4"/>
                  </a:lnTo>
                  <a:lnTo>
                    <a:pt x="156" y="5"/>
                  </a:lnTo>
                  <a:lnTo>
                    <a:pt x="153" y="8"/>
                  </a:lnTo>
                  <a:lnTo>
                    <a:pt x="152" y="10"/>
                  </a:lnTo>
                  <a:lnTo>
                    <a:pt x="151" y="12"/>
                  </a:lnTo>
                  <a:lnTo>
                    <a:pt x="151" y="15"/>
                  </a:lnTo>
                  <a:lnTo>
                    <a:pt x="151" y="22"/>
                  </a:lnTo>
                  <a:lnTo>
                    <a:pt x="150" y="27"/>
                  </a:lnTo>
                  <a:lnTo>
                    <a:pt x="148" y="33"/>
                  </a:lnTo>
                  <a:lnTo>
                    <a:pt x="147" y="39"/>
                  </a:lnTo>
                  <a:lnTo>
                    <a:pt x="144" y="44"/>
                  </a:lnTo>
                  <a:lnTo>
                    <a:pt x="141" y="50"/>
                  </a:lnTo>
                  <a:lnTo>
                    <a:pt x="137" y="54"/>
                  </a:lnTo>
                  <a:lnTo>
                    <a:pt x="134" y="58"/>
                  </a:lnTo>
                  <a:lnTo>
                    <a:pt x="130" y="62"/>
                  </a:lnTo>
                  <a:lnTo>
                    <a:pt x="124" y="66"/>
                  </a:lnTo>
                  <a:lnTo>
                    <a:pt x="120" y="69"/>
                  </a:lnTo>
                  <a:lnTo>
                    <a:pt x="115" y="71"/>
                  </a:lnTo>
                  <a:lnTo>
                    <a:pt x="108" y="73"/>
                  </a:lnTo>
                  <a:lnTo>
                    <a:pt x="103" y="74"/>
                  </a:lnTo>
                  <a:lnTo>
                    <a:pt x="97" y="75"/>
                  </a:lnTo>
                  <a:lnTo>
                    <a:pt x="91" y="75"/>
                  </a:lnTo>
                  <a:lnTo>
                    <a:pt x="85" y="75"/>
                  </a:lnTo>
                  <a:lnTo>
                    <a:pt x="78" y="74"/>
                  </a:lnTo>
                  <a:lnTo>
                    <a:pt x="73" y="73"/>
                  </a:lnTo>
                  <a:lnTo>
                    <a:pt x="68" y="71"/>
                  </a:lnTo>
                  <a:lnTo>
                    <a:pt x="62" y="69"/>
                  </a:lnTo>
                  <a:lnTo>
                    <a:pt x="57" y="66"/>
                  </a:lnTo>
                  <a:lnTo>
                    <a:pt x="53" y="62"/>
                  </a:lnTo>
                  <a:lnTo>
                    <a:pt x="48" y="58"/>
                  </a:lnTo>
                  <a:lnTo>
                    <a:pt x="44" y="54"/>
                  </a:lnTo>
                  <a:lnTo>
                    <a:pt x="41" y="50"/>
                  </a:lnTo>
                  <a:lnTo>
                    <a:pt x="38" y="44"/>
                  </a:lnTo>
                  <a:lnTo>
                    <a:pt x="36" y="39"/>
                  </a:lnTo>
                  <a:lnTo>
                    <a:pt x="33" y="33"/>
                  </a:lnTo>
                  <a:lnTo>
                    <a:pt x="31" y="27"/>
                  </a:lnTo>
                  <a:lnTo>
                    <a:pt x="31" y="22"/>
                  </a:lnTo>
                  <a:lnTo>
                    <a:pt x="30" y="15"/>
                  </a:lnTo>
                  <a:lnTo>
                    <a:pt x="30" y="12"/>
                  </a:lnTo>
                  <a:lnTo>
                    <a:pt x="29" y="10"/>
                  </a:lnTo>
                  <a:lnTo>
                    <a:pt x="28" y="8"/>
                  </a:lnTo>
                  <a:lnTo>
                    <a:pt x="26" y="5"/>
                  </a:lnTo>
                  <a:lnTo>
                    <a:pt x="24" y="4"/>
                  </a:lnTo>
                  <a:lnTo>
                    <a:pt x="22" y="1"/>
                  </a:lnTo>
                  <a:lnTo>
                    <a:pt x="18" y="0"/>
                  </a:lnTo>
                  <a:lnTo>
                    <a:pt x="15" y="0"/>
                  </a:lnTo>
                  <a:lnTo>
                    <a:pt x="12" y="0"/>
                  </a:lnTo>
                  <a:lnTo>
                    <a:pt x="10" y="1"/>
                  </a:lnTo>
                  <a:lnTo>
                    <a:pt x="7" y="4"/>
                  </a:lnTo>
                  <a:lnTo>
                    <a:pt x="5" y="5"/>
                  </a:lnTo>
                  <a:lnTo>
                    <a:pt x="3" y="8"/>
                  </a:lnTo>
                  <a:lnTo>
                    <a:pt x="1" y="10"/>
                  </a:lnTo>
                  <a:lnTo>
                    <a:pt x="0" y="12"/>
                  </a:lnTo>
                  <a:lnTo>
                    <a:pt x="0" y="15"/>
                  </a:lnTo>
                  <a:lnTo>
                    <a:pt x="1" y="25"/>
                  </a:lnTo>
                  <a:lnTo>
                    <a:pt x="2" y="33"/>
                  </a:lnTo>
                  <a:lnTo>
                    <a:pt x="5" y="42"/>
                  </a:lnTo>
                  <a:lnTo>
                    <a:pt x="8" y="51"/>
                  </a:lnTo>
                  <a:lnTo>
                    <a:pt x="11" y="58"/>
                  </a:lnTo>
                  <a:lnTo>
                    <a:pt x="16" y="66"/>
                  </a:lnTo>
                  <a:lnTo>
                    <a:pt x="21" y="73"/>
                  </a:lnTo>
                  <a:lnTo>
                    <a:pt x="27" y="80"/>
                  </a:lnTo>
                  <a:lnTo>
                    <a:pt x="33" y="85"/>
                  </a:lnTo>
                  <a:lnTo>
                    <a:pt x="40" y="90"/>
                  </a:lnTo>
                  <a:lnTo>
                    <a:pt x="47" y="95"/>
                  </a:lnTo>
                  <a:lnTo>
                    <a:pt x="56" y="99"/>
                  </a:lnTo>
                  <a:lnTo>
                    <a:pt x="65" y="102"/>
                  </a:lnTo>
                  <a:lnTo>
                    <a:pt x="73" y="104"/>
                  </a:lnTo>
                  <a:lnTo>
                    <a:pt x="82" y="105"/>
                  </a:lnTo>
                  <a:lnTo>
                    <a:pt x="9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01" name="Group 17">
            <a:extLst>
              <a:ext uri="{FF2B5EF4-FFF2-40B4-BE49-F238E27FC236}">
                <a16:creationId xmlns:a16="http://schemas.microsoft.com/office/drawing/2014/main" id="{79089FE0-DCE9-440B-9AA0-BDE954AEC3BA}"/>
              </a:ext>
            </a:extLst>
          </p:cNvPr>
          <p:cNvGrpSpPr>
            <a:grpSpLocks noChangeAspect="1"/>
          </p:cNvGrpSpPr>
          <p:nvPr/>
        </p:nvGrpSpPr>
        <p:grpSpPr>
          <a:xfrm>
            <a:off x="5791954" y="5417577"/>
            <a:ext cx="285620" cy="285619"/>
            <a:chOff x="8755063" y="3059113"/>
            <a:chExt cx="284163" cy="284162"/>
          </a:xfrm>
          <a:solidFill>
            <a:schemeClr val="bg2"/>
          </a:solidFill>
          <a:effectLst/>
        </p:grpSpPr>
        <p:sp>
          <p:nvSpPr>
            <p:cNvPr id="702" name="Freeform 303">
              <a:extLst>
                <a:ext uri="{FF2B5EF4-FFF2-40B4-BE49-F238E27FC236}">
                  <a16:creationId xmlns:a16="http://schemas.microsoft.com/office/drawing/2014/main" id="{92CB235C-3927-44BB-895D-0579C80CFD80}"/>
                </a:ext>
              </a:extLst>
            </p:cNvPr>
            <p:cNvSpPr>
              <a:spLocks noEditPoints="1"/>
            </p:cNvSpPr>
            <p:nvPr/>
          </p:nvSpPr>
          <p:spPr bwMode="auto">
            <a:xfrm>
              <a:off x="8829675" y="3136900"/>
              <a:ext cx="133350" cy="130175"/>
            </a:xfrm>
            <a:custGeom>
              <a:avLst/>
              <a:gdLst>
                <a:gd name="T0" fmla="*/ 272 w 419"/>
                <a:gd name="T1" fmla="*/ 240 h 412"/>
                <a:gd name="T2" fmla="*/ 269 w 419"/>
                <a:gd name="T3" fmla="*/ 249 h 412"/>
                <a:gd name="T4" fmla="*/ 309 w 419"/>
                <a:gd name="T5" fmla="*/ 351 h 412"/>
                <a:gd name="T6" fmla="*/ 214 w 419"/>
                <a:gd name="T7" fmla="*/ 278 h 412"/>
                <a:gd name="T8" fmla="*/ 205 w 419"/>
                <a:gd name="T9" fmla="*/ 278 h 412"/>
                <a:gd name="T10" fmla="*/ 109 w 419"/>
                <a:gd name="T11" fmla="*/ 351 h 412"/>
                <a:gd name="T12" fmla="*/ 149 w 419"/>
                <a:gd name="T13" fmla="*/ 249 h 412"/>
                <a:gd name="T14" fmla="*/ 147 w 419"/>
                <a:gd name="T15" fmla="*/ 240 h 412"/>
                <a:gd name="T16" fmla="*/ 59 w 419"/>
                <a:gd name="T17" fmla="*/ 174 h 412"/>
                <a:gd name="T18" fmla="*/ 153 w 419"/>
                <a:gd name="T19" fmla="*/ 173 h 412"/>
                <a:gd name="T20" fmla="*/ 161 w 419"/>
                <a:gd name="T21" fmla="*/ 169 h 412"/>
                <a:gd name="T22" fmla="*/ 209 w 419"/>
                <a:gd name="T23" fmla="*/ 54 h 412"/>
                <a:gd name="T24" fmla="*/ 257 w 419"/>
                <a:gd name="T25" fmla="*/ 168 h 412"/>
                <a:gd name="T26" fmla="*/ 265 w 419"/>
                <a:gd name="T27" fmla="*/ 173 h 412"/>
                <a:gd name="T28" fmla="*/ 359 w 419"/>
                <a:gd name="T29" fmla="*/ 174 h 412"/>
                <a:gd name="T30" fmla="*/ 404 w 419"/>
                <a:gd name="T31" fmla="*/ 144 h 412"/>
                <a:gd name="T32" fmla="*/ 223 w 419"/>
                <a:gd name="T33" fmla="*/ 9 h 412"/>
                <a:gd name="T34" fmla="*/ 218 w 419"/>
                <a:gd name="T35" fmla="*/ 3 h 412"/>
                <a:gd name="T36" fmla="*/ 209 w 419"/>
                <a:gd name="T37" fmla="*/ 0 h 412"/>
                <a:gd name="T38" fmla="*/ 209 w 419"/>
                <a:gd name="T39" fmla="*/ 0 h 412"/>
                <a:gd name="T40" fmla="*/ 201 w 419"/>
                <a:gd name="T41" fmla="*/ 3 h 412"/>
                <a:gd name="T42" fmla="*/ 196 w 419"/>
                <a:gd name="T43" fmla="*/ 9 h 412"/>
                <a:gd name="T44" fmla="*/ 14 w 419"/>
                <a:gd name="T45" fmla="*/ 144 h 412"/>
                <a:gd name="T46" fmla="*/ 6 w 419"/>
                <a:gd name="T47" fmla="*/ 146 h 412"/>
                <a:gd name="T48" fmla="*/ 0 w 419"/>
                <a:gd name="T49" fmla="*/ 154 h 412"/>
                <a:gd name="T50" fmla="*/ 0 w 419"/>
                <a:gd name="T51" fmla="*/ 163 h 412"/>
                <a:gd name="T52" fmla="*/ 6 w 419"/>
                <a:gd name="T53" fmla="*/ 171 h 412"/>
                <a:gd name="T54" fmla="*/ 60 w 419"/>
                <a:gd name="T55" fmla="*/ 392 h 412"/>
                <a:gd name="T56" fmla="*/ 60 w 419"/>
                <a:gd name="T57" fmla="*/ 402 h 412"/>
                <a:gd name="T58" fmla="*/ 66 w 419"/>
                <a:gd name="T59" fmla="*/ 410 h 412"/>
                <a:gd name="T60" fmla="*/ 74 w 419"/>
                <a:gd name="T61" fmla="*/ 412 h 412"/>
                <a:gd name="T62" fmla="*/ 84 w 419"/>
                <a:gd name="T63" fmla="*/ 409 h 412"/>
                <a:gd name="T64" fmla="*/ 334 w 419"/>
                <a:gd name="T65" fmla="*/ 409 h 412"/>
                <a:gd name="T66" fmla="*/ 344 w 419"/>
                <a:gd name="T67" fmla="*/ 412 h 412"/>
                <a:gd name="T68" fmla="*/ 352 w 419"/>
                <a:gd name="T69" fmla="*/ 410 h 412"/>
                <a:gd name="T70" fmla="*/ 359 w 419"/>
                <a:gd name="T71" fmla="*/ 402 h 412"/>
                <a:gd name="T72" fmla="*/ 358 w 419"/>
                <a:gd name="T73" fmla="*/ 392 h 412"/>
                <a:gd name="T74" fmla="*/ 412 w 419"/>
                <a:gd name="T75" fmla="*/ 171 h 412"/>
                <a:gd name="T76" fmla="*/ 417 w 419"/>
                <a:gd name="T77" fmla="*/ 163 h 412"/>
                <a:gd name="T78" fmla="*/ 417 w 419"/>
                <a:gd name="T79" fmla="*/ 154 h 412"/>
                <a:gd name="T80" fmla="*/ 412 w 419"/>
                <a:gd name="T81" fmla="*/ 146 h 412"/>
                <a:gd name="T82" fmla="*/ 404 w 419"/>
                <a:gd name="T83" fmla="*/ 144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412">
                  <a:moveTo>
                    <a:pt x="275" y="236"/>
                  </a:moveTo>
                  <a:lnTo>
                    <a:pt x="272" y="240"/>
                  </a:lnTo>
                  <a:lnTo>
                    <a:pt x="270" y="245"/>
                  </a:lnTo>
                  <a:lnTo>
                    <a:pt x="269" y="249"/>
                  </a:lnTo>
                  <a:lnTo>
                    <a:pt x="270" y="254"/>
                  </a:lnTo>
                  <a:lnTo>
                    <a:pt x="309" y="351"/>
                  </a:lnTo>
                  <a:lnTo>
                    <a:pt x="219" y="280"/>
                  </a:lnTo>
                  <a:lnTo>
                    <a:pt x="214" y="278"/>
                  </a:lnTo>
                  <a:lnTo>
                    <a:pt x="209" y="277"/>
                  </a:lnTo>
                  <a:lnTo>
                    <a:pt x="205" y="278"/>
                  </a:lnTo>
                  <a:lnTo>
                    <a:pt x="200" y="280"/>
                  </a:lnTo>
                  <a:lnTo>
                    <a:pt x="109" y="351"/>
                  </a:lnTo>
                  <a:lnTo>
                    <a:pt x="148" y="254"/>
                  </a:lnTo>
                  <a:lnTo>
                    <a:pt x="149" y="249"/>
                  </a:lnTo>
                  <a:lnTo>
                    <a:pt x="149" y="245"/>
                  </a:lnTo>
                  <a:lnTo>
                    <a:pt x="147" y="240"/>
                  </a:lnTo>
                  <a:lnTo>
                    <a:pt x="144" y="236"/>
                  </a:lnTo>
                  <a:lnTo>
                    <a:pt x="59" y="174"/>
                  </a:lnTo>
                  <a:lnTo>
                    <a:pt x="149" y="174"/>
                  </a:lnTo>
                  <a:lnTo>
                    <a:pt x="153" y="173"/>
                  </a:lnTo>
                  <a:lnTo>
                    <a:pt x="158" y="171"/>
                  </a:lnTo>
                  <a:lnTo>
                    <a:pt x="161" y="169"/>
                  </a:lnTo>
                  <a:lnTo>
                    <a:pt x="163" y="164"/>
                  </a:lnTo>
                  <a:lnTo>
                    <a:pt x="209" y="54"/>
                  </a:lnTo>
                  <a:lnTo>
                    <a:pt x="255" y="164"/>
                  </a:lnTo>
                  <a:lnTo>
                    <a:pt x="257" y="168"/>
                  </a:lnTo>
                  <a:lnTo>
                    <a:pt x="260" y="171"/>
                  </a:lnTo>
                  <a:lnTo>
                    <a:pt x="265" y="173"/>
                  </a:lnTo>
                  <a:lnTo>
                    <a:pt x="269" y="174"/>
                  </a:lnTo>
                  <a:lnTo>
                    <a:pt x="359" y="174"/>
                  </a:lnTo>
                  <a:lnTo>
                    <a:pt x="275" y="236"/>
                  </a:lnTo>
                  <a:close/>
                  <a:moveTo>
                    <a:pt x="404" y="144"/>
                  </a:moveTo>
                  <a:lnTo>
                    <a:pt x="278" y="144"/>
                  </a:lnTo>
                  <a:lnTo>
                    <a:pt x="223" y="9"/>
                  </a:lnTo>
                  <a:lnTo>
                    <a:pt x="221" y="5"/>
                  </a:lnTo>
                  <a:lnTo>
                    <a:pt x="218" y="3"/>
                  </a:lnTo>
                  <a:lnTo>
                    <a:pt x="214" y="1"/>
                  </a:lnTo>
                  <a:lnTo>
                    <a:pt x="209" y="0"/>
                  </a:lnTo>
                  <a:lnTo>
                    <a:pt x="209" y="0"/>
                  </a:lnTo>
                  <a:lnTo>
                    <a:pt x="209" y="0"/>
                  </a:lnTo>
                  <a:lnTo>
                    <a:pt x="205" y="1"/>
                  </a:lnTo>
                  <a:lnTo>
                    <a:pt x="201" y="3"/>
                  </a:lnTo>
                  <a:lnTo>
                    <a:pt x="198" y="5"/>
                  </a:lnTo>
                  <a:lnTo>
                    <a:pt x="196" y="9"/>
                  </a:lnTo>
                  <a:lnTo>
                    <a:pt x="139" y="144"/>
                  </a:lnTo>
                  <a:lnTo>
                    <a:pt x="14" y="144"/>
                  </a:lnTo>
                  <a:lnTo>
                    <a:pt x="10" y="144"/>
                  </a:lnTo>
                  <a:lnTo>
                    <a:pt x="6" y="146"/>
                  </a:lnTo>
                  <a:lnTo>
                    <a:pt x="3" y="149"/>
                  </a:lnTo>
                  <a:lnTo>
                    <a:pt x="0" y="154"/>
                  </a:lnTo>
                  <a:lnTo>
                    <a:pt x="0" y="158"/>
                  </a:lnTo>
                  <a:lnTo>
                    <a:pt x="0" y="163"/>
                  </a:lnTo>
                  <a:lnTo>
                    <a:pt x="3" y="168"/>
                  </a:lnTo>
                  <a:lnTo>
                    <a:pt x="6" y="171"/>
                  </a:lnTo>
                  <a:lnTo>
                    <a:pt x="116" y="253"/>
                  </a:lnTo>
                  <a:lnTo>
                    <a:pt x="60" y="392"/>
                  </a:lnTo>
                  <a:lnTo>
                    <a:pt x="59" y="397"/>
                  </a:lnTo>
                  <a:lnTo>
                    <a:pt x="60" y="402"/>
                  </a:lnTo>
                  <a:lnTo>
                    <a:pt x="62" y="406"/>
                  </a:lnTo>
                  <a:lnTo>
                    <a:pt x="66" y="410"/>
                  </a:lnTo>
                  <a:lnTo>
                    <a:pt x="70" y="412"/>
                  </a:lnTo>
                  <a:lnTo>
                    <a:pt x="74" y="412"/>
                  </a:lnTo>
                  <a:lnTo>
                    <a:pt x="80" y="412"/>
                  </a:lnTo>
                  <a:lnTo>
                    <a:pt x="84" y="409"/>
                  </a:lnTo>
                  <a:lnTo>
                    <a:pt x="209" y="311"/>
                  </a:lnTo>
                  <a:lnTo>
                    <a:pt x="334" y="409"/>
                  </a:lnTo>
                  <a:lnTo>
                    <a:pt x="338" y="411"/>
                  </a:lnTo>
                  <a:lnTo>
                    <a:pt x="344" y="412"/>
                  </a:lnTo>
                  <a:lnTo>
                    <a:pt x="348" y="412"/>
                  </a:lnTo>
                  <a:lnTo>
                    <a:pt x="352" y="410"/>
                  </a:lnTo>
                  <a:lnTo>
                    <a:pt x="357" y="406"/>
                  </a:lnTo>
                  <a:lnTo>
                    <a:pt x="359" y="402"/>
                  </a:lnTo>
                  <a:lnTo>
                    <a:pt x="359" y="397"/>
                  </a:lnTo>
                  <a:lnTo>
                    <a:pt x="358" y="392"/>
                  </a:lnTo>
                  <a:lnTo>
                    <a:pt x="302" y="253"/>
                  </a:lnTo>
                  <a:lnTo>
                    <a:pt x="412" y="171"/>
                  </a:lnTo>
                  <a:lnTo>
                    <a:pt x="415" y="168"/>
                  </a:lnTo>
                  <a:lnTo>
                    <a:pt x="417" y="163"/>
                  </a:lnTo>
                  <a:lnTo>
                    <a:pt x="419" y="159"/>
                  </a:lnTo>
                  <a:lnTo>
                    <a:pt x="417" y="154"/>
                  </a:lnTo>
                  <a:lnTo>
                    <a:pt x="415" y="149"/>
                  </a:lnTo>
                  <a:lnTo>
                    <a:pt x="412" y="146"/>
                  </a:lnTo>
                  <a:lnTo>
                    <a:pt x="408" y="144"/>
                  </a:lnTo>
                  <a:lnTo>
                    <a:pt x="404" y="144"/>
                  </a:lnTo>
                  <a:lnTo>
                    <a:pt x="40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304">
              <a:extLst>
                <a:ext uri="{FF2B5EF4-FFF2-40B4-BE49-F238E27FC236}">
                  <a16:creationId xmlns:a16="http://schemas.microsoft.com/office/drawing/2014/main" id="{08B214EA-9CCB-472A-A3C0-CFD19F27F8C7}"/>
                </a:ext>
              </a:extLst>
            </p:cNvPr>
            <p:cNvSpPr>
              <a:spLocks noEditPoints="1"/>
            </p:cNvSpPr>
            <p:nvPr/>
          </p:nvSpPr>
          <p:spPr bwMode="auto">
            <a:xfrm>
              <a:off x="8755063" y="3059113"/>
              <a:ext cx="284163" cy="284162"/>
            </a:xfrm>
            <a:custGeom>
              <a:avLst/>
              <a:gdLst>
                <a:gd name="T0" fmla="*/ 785 w 897"/>
                <a:gd name="T1" fmla="*/ 525 h 897"/>
                <a:gd name="T2" fmla="*/ 730 w 897"/>
                <a:gd name="T3" fmla="*/ 642 h 897"/>
                <a:gd name="T4" fmla="*/ 638 w 897"/>
                <a:gd name="T5" fmla="*/ 732 h 897"/>
                <a:gd name="T6" fmla="*/ 520 w 897"/>
                <a:gd name="T7" fmla="*/ 784 h 897"/>
                <a:gd name="T8" fmla="*/ 390 w 897"/>
                <a:gd name="T9" fmla="*/ 789 h 897"/>
                <a:gd name="T10" fmla="*/ 375 w 897"/>
                <a:gd name="T11" fmla="*/ 784 h 897"/>
                <a:gd name="T12" fmla="*/ 259 w 897"/>
                <a:gd name="T13" fmla="*/ 732 h 897"/>
                <a:gd name="T14" fmla="*/ 166 w 897"/>
                <a:gd name="T15" fmla="*/ 642 h 897"/>
                <a:gd name="T16" fmla="*/ 111 w 897"/>
                <a:gd name="T17" fmla="*/ 525 h 897"/>
                <a:gd name="T18" fmla="*/ 38 w 897"/>
                <a:gd name="T19" fmla="*/ 448 h 897"/>
                <a:gd name="T20" fmla="*/ 111 w 897"/>
                <a:gd name="T21" fmla="*/ 372 h 897"/>
                <a:gd name="T22" fmla="*/ 166 w 897"/>
                <a:gd name="T23" fmla="*/ 254 h 897"/>
                <a:gd name="T24" fmla="*/ 259 w 897"/>
                <a:gd name="T25" fmla="*/ 164 h 897"/>
                <a:gd name="T26" fmla="*/ 376 w 897"/>
                <a:gd name="T27" fmla="*/ 113 h 897"/>
                <a:gd name="T28" fmla="*/ 507 w 897"/>
                <a:gd name="T29" fmla="*/ 108 h 897"/>
                <a:gd name="T30" fmla="*/ 605 w 897"/>
                <a:gd name="T31" fmla="*/ 69 h 897"/>
                <a:gd name="T32" fmla="*/ 648 w 897"/>
                <a:gd name="T33" fmla="*/ 167 h 897"/>
                <a:gd name="T34" fmla="*/ 736 w 897"/>
                <a:gd name="T35" fmla="*/ 262 h 897"/>
                <a:gd name="T36" fmla="*/ 784 w 897"/>
                <a:gd name="T37" fmla="*/ 382 h 897"/>
                <a:gd name="T38" fmla="*/ 897 w 897"/>
                <a:gd name="T39" fmla="*/ 448 h 897"/>
                <a:gd name="T40" fmla="*/ 817 w 897"/>
                <a:gd name="T41" fmla="*/ 375 h 897"/>
                <a:gd name="T42" fmla="*/ 863 w 897"/>
                <a:gd name="T43" fmla="*/ 277 h 897"/>
                <a:gd name="T44" fmla="*/ 761 w 897"/>
                <a:gd name="T45" fmla="*/ 239 h 897"/>
                <a:gd name="T46" fmla="*/ 766 w 897"/>
                <a:gd name="T47" fmla="*/ 131 h 897"/>
                <a:gd name="T48" fmla="*/ 658 w 897"/>
                <a:gd name="T49" fmla="*/ 136 h 897"/>
                <a:gd name="T50" fmla="*/ 620 w 897"/>
                <a:gd name="T51" fmla="*/ 34 h 897"/>
                <a:gd name="T52" fmla="*/ 522 w 897"/>
                <a:gd name="T53" fmla="*/ 80 h 897"/>
                <a:gd name="T54" fmla="*/ 448 w 897"/>
                <a:gd name="T55" fmla="*/ 0 h 897"/>
                <a:gd name="T56" fmla="*/ 375 w 897"/>
                <a:gd name="T57" fmla="*/ 80 h 897"/>
                <a:gd name="T58" fmla="*/ 277 w 897"/>
                <a:gd name="T59" fmla="*/ 34 h 897"/>
                <a:gd name="T60" fmla="*/ 239 w 897"/>
                <a:gd name="T61" fmla="*/ 136 h 897"/>
                <a:gd name="T62" fmla="*/ 131 w 897"/>
                <a:gd name="T63" fmla="*/ 131 h 897"/>
                <a:gd name="T64" fmla="*/ 136 w 897"/>
                <a:gd name="T65" fmla="*/ 239 h 897"/>
                <a:gd name="T66" fmla="*/ 34 w 897"/>
                <a:gd name="T67" fmla="*/ 277 h 897"/>
                <a:gd name="T68" fmla="*/ 79 w 897"/>
                <a:gd name="T69" fmla="*/ 375 h 897"/>
                <a:gd name="T70" fmla="*/ 0 w 897"/>
                <a:gd name="T71" fmla="*/ 449 h 897"/>
                <a:gd name="T72" fmla="*/ 79 w 897"/>
                <a:gd name="T73" fmla="*/ 522 h 897"/>
                <a:gd name="T74" fmla="*/ 34 w 897"/>
                <a:gd name="T75" fmla="*/ 620 h 897"/>
                <a:gd name="T76" fmla="*/ 136 w 897"/>
                <a:gd name="T77" fmla="*/ 657 h 897"/>
                <a:gd name="T78" fmla="*/ 131 w 897"/>
                <a:gd name="T79" fmla="*/ 765 h 897"/>
                <a:gd name="T80" fmla="*/ 239 w 897"/>
                <a:gd name="T81" fmla="*/ 761 h 897"/>
                <a:gd name="T82" fmla="*/ 277 w 897"/>
                <a:gd name="T83" fmla="*/ 863 h 897"/>
                <a:gd name="T84" fmla="*/ 375 w 897"/>
                <a:gd name="T85" fmla="*/ 817 h 897"/>
                <a:gd name="T86" fmla="*/ 448 w 897"/>
                <a:gd name="T87" fmla="*/ 897 h 897"/>
                <a:gd name="T88" fmla="*/ 522 w 897"/>
                <a:gd name="T89" fmla="*/ 817 h 897"/>
                <a:gd name="T90" fmla="*/ 620 w 897"/>
                <a:gd name="T91" fmla="*/ 863 h 897"/>
                <a:gd name="T92" fmla="*/ 658 w 897"/>
                <a:gd name="T93" fmla="*/ 761 h 897"/>
                <a:gd name="T94" fmla="*/ 766 w 897"/>
                <a:gd name="T95" fmla="*/ 765 h 897"/>
                <a:gd name="T96" fmla="*/ 761 w 897"/>
                <a:gd name="T97" fmla="*/ 657 h 897"/>
                <a:gd name="T98" fmla="*/ 863 w 897"/>
                <a:gd name="T99" fmla="*/ 620 h 897"/>
                <a:gd name="T100" fmla="*/ 817 w 897"/>
                <a:gd name="T101" fmla="*/ 522 h 897"/>
                <a:gd name="T102" fmla="*/ 897 w 897"/>
                <a:gd name="T103" fmla="*/ 4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7" h="897">
                  <a:moveTo>
                    <a:pt x="789" y="507"/>
                  </a:moveTo>
                  <a:lnTo>
                    <a:pt x="785" y="511"/>
                  </a:lnTo>
                  <a:lnTo>
                    <a:pt x="784" y="515"/>
                  </a:lnTo>
                  <a:lnTo>
                    <a:pt x="784" y="521"/>
                  </a:lnTo>
                  <a:lnTo>
                    <a:pt x="785" y="525"/>
                  </a:lnTo>
                  <a:lnTo>
                    <a:pt x="828" y="605"/>
                  </a:lnTo>
                  <a:lnTo>
                    <a:pt x="741" y="633"/>
                  </a:lnTo>
                  <a:lnTo>
                    <a:pt x="736" y="635"/>
                  </a:lnTo>
                  <a:lnTo>
                    <a:pt x="732" y="638"/>
                  </a:lnTo>
                  <a:lnTo>
                    <a:pt x="730" y="642"/>
                  </a:lnTo>
                  <a:lnTo>
                    <a:pt x="730" y="648"/>
                  </a:lnTo>
                  <a:lnTo>
                    <a:pt x="738" y="739"/>
                  </a:lnTo>
                  <a:lnTo>
                    <a:pt x="648" y="730"/>
                  </a:lnTo>
                  <a:lnTo>
                    <a:pt x="643" y="730"/>
                  </a:lnTo>
                  <a:lnTo>
                    <a:pt x="638" y="732"/>
                  </a:lnTo>
                  <a:lnTo>
                    <a:pt x="634" y="737"/>
                  </a:lnTo>
                  <a:lnTo>
                    <a:pt x="632" y="741"/>
                  </a:lnTo>
                  <a:lnTo>
                    <a:pt x="605" y="827"/>
                  </a:lnTo>
                  <a:lnTo>
                    <a:pt x="525" y="785"/>
                  </a:lnTo>
                  <a:lnTo>
                    <a:pt x="520" y="784"/>
                  </a:lnTo>
                  <a:lnTo>
                    <a:pt x="515" y="784"/>
                  </a:lnTo>
                  <a:lnTo>
                    <a:pt x="510" y="786"/>
                  </a:lnTo>
                  <a:lnTo>
                    <a:pt x="507" y="789"/>
                  </a:lnTo>
                  <a:lnTo>
                    <a:pt x="448" y="858"/>
                  </a:lnTo>
                  <a:lnTo>
                    <a:pt x="390" y="789"/>
                  </a:lnTo>
                  <a:lnTo>
                    <a:pt x="388" y="787"/>
                  </a:lnTo>
                  <a:lnTo>
                    <a:pt x="385" y="785"/>
                  </a:lnTo>
                  <a:lnTo>
                    <a:pt x="382" y="784"/>
                  </a:lnTo>
                  <a:lnTo>
                    <a:pt x="378" y="784"/>
                  </a:lnTo>
                  <a:lnTo>
                    <a:pt x="375" y="784"/>
                  </a:lnTo>
                  <a:lnTo>
                    <a:pt x="372" y="785"/>
                  </a:lnTo>
                  <a:lnTo>
                    <a:pt x="291" y="827"/>
                  </a:lnTo>
                  <a:lnTo>
                    <a:pt x="264" y="741"/>
                  </a:lnTo>
                  <a:lnTo>
                    <a:pt x="262" y="737"/>
                  </a:lnTo>
                  <a:lnTo>
                    <a:pt x="259" y="732"/>
                  </a:lnTo>
                  <a:lnTo>
                    <a:pt x="253" y="731"/>
                  </a:lnTo>
                  <a:lnTo>
                    <a:pt x="249" y="730"/>
                  </a:lnTo>
                  <a:lnTo>
                    <a:pt x="158" y="739"/>
                  </a:lnTo>
                  <a:lnTo>
                    <a:pt x="167" y="648"/>
                  </a:lnTo>
                  <a:lnTo>
                    <a:pt x="166" y="642"/>
                  </a:lnTo>
                  <a:lnTo>
                    <a:pt x="163" y="638"/>
                  </a:lnTo>
                  <a:lnTo>
                    <a:pt x="160" y="635"/>
                  </a:lnTo>
                  <a:lnTo>
                    <a:pt x="156" y="633"/>
                  </a:lnTo>
                  <a:lnTo>
                    <a:pt x="69" y="605"/>
                  </a:lnTo>
                  <a:lnTo>
                    <a:pt x="111" y="525"/>
                  </a:lnTo>
                  <a:lnTo>
                    <a:pt x="113" y="521"/>
                  </a:lnTo>
                  <a:lnTo>
                    <a:pt x="113" y="515"/>
                  </a:lnTo>
                  <a:lnTo>
                    <a:pt x="111" y="511"/>
                  </a:lnTo>
                  <a:lnTo>
                    <a:pt x="108" y="507"/>
                  </a:lnTo>
                  <a:lnTo>
                    <a:pt x="38" y="448"/>
                  </a:lnTo>
                  <a:lnTo>
                    <a:pt x="108" y="390"/>
                  </a:lnTo>
                  <a:lnTo>
                    <a:pt x="111" y="386"/>
                  </a:lnTo>
                  <a:lnTo>
                    <a:pt x="113" y="382"/>
                  </a:lnTo>
                  <a:lnTo>
                    <a:pt x="113" y="377"/>
                  </a:lnTo>
                  <a:lnTo>
                    <a:pt x="111" y="372"/>
                  </a:lnTo>
                  <a:lnTo>
                    <a:pt x="69" y="292"/>
                  </a:lnTo>
                  <a:lnTo>
                    <a:pt x="156" y="264"/>
                  </a:lnTo>
                  <a:lnTo>
                    <a:pt x="160" y="262"/>
                  </a:lnTo>
                  <a:lnTo>
                    <a:pt x="163" y="259"/>
                  </a:lnTo>
                  <a:lnTo>
                    <a:pt x="166" y="254"/>
                  </a:lnTo>
                  <a:lnTo>
                    <a:pt x="167" y="249"/>
                  </a:lnTo>
                  <a:lnTo>
                    <a:pt x="158" y="158"/>
                  </a:lnTo>
                  <a:lnTo>
                    <a:pt x="249" y="167"/>
                  </a:lnTo>
                  <a:lnTo>
                    <a:pt x="253" y="167"/>
                  </a:lnTo>
                  <a:lnTo>
                    <a:pt x="259" y="164"/>
                  </a:lnTo>
                  <a:lnTo>
                    <a:pt x="262" y="160"/>
                  </a:lnTo>
                  <a:lnTo>
                    <a:pt x="264" y="156"/>
                  </a:lnTo>
                  <a:lnTo>
                    <a:pt x="291" y="69"/>
                  </a:lnTo>
                  <a:lnTo>
                    <a:pt x="372" y="112"/>
                  </a:lnTo>
                  <a:lnTo>
                    <a:pt x="376" y="113"/>
                  </a:lnTo>
                  <a:lnTo>
                    <a:pt x="382" y="113"/>
                  </a:lnTo>
                  <a:lnTo>
                    <a:pt x="386" y="111"/>
                  </a:lnTo>
                  <a:lnTo>
                    <a:pt x="390" y="108"/>
                  </a:lnTo>
                  <a:lnTo>
                    <a:pt x="448" y="38"/>
                  </a:lnTo>
                  <a:lnTo>
                    <a:pt x="507" y="108"/>
                  </a:lnTo>
                  <a:lnTo>
                    <a:pt x="510" y="111"/>
                  </a:lnTo>
                  <a:lnTo>
                    <a:pt x="515" y="113"/>
                  </a:lnTo>
                  <a:lnTo>
                    <a:pt x="520" y="113"/>
                  </a:lnTo>
                  <a:lnTo>
                    <a:pt x="525" y="112"/>
                  </a:lnTo>
                  <a:lnTo>
                    <a:pt x="605" y="69"/>
                  </a:lnTo>
                  <a:lnTo>
                    <a:pt x="632" y="156"/>
                  </a:lnTo>
                  <a:lnTo>
                    <a:pt x="634" y="160"/>
                  </a:lnTo>
                  <a:lnTo>
                    <a:pt x="638" y="164"/>
                  </a:lnTo>
                  <a:lnTo>
                    <a:pt x="643" y="167"/>
                  </a:lnTo>
                  <a:lnTo>
                    <a:pt x="648" y="167"/>
                  </a:lnTo>
                  <a:lnTo>
                    <a:pt x="738" y="158"/>
                  </a:lnTo>
                  <a:lnTo>
                    <a:pt x="730" y="249"/>
                  </a:lnTo>
                  <a:lnTo>
                    <a:pt x="730" y="254"/>
                  </a:lnTo>
                  <a:lnTo>
                    <a:pt x="732" y="259"/>
                  </a:lnTo>
                  <a:lnTo>
                    <a:pt x="736" y="262"/>
                  </a:lnTo>
                  <a:lnTo>
                    <a:pt x="741" y="264"/>
                  </a:lnTo>
                  <a:lnTo>
                    <a:pt x="828" y="292"/>
                  </a:lnTo>
                  <a:lnTo>
                    <a:pt x="785" y="372"/>
                  </a:lnTo>
                  <a:lnTo>
                    <a:pt x="784" y="376"/>
                  </a:lnTo>
                  <a:lnTo>
                    <a:pt x="784" y="382"/>
                  </a:lnTo>
                  <a:lnTo>
                    <a:pt x="785" y="387"/>
                  </a:lnTo>
                  <a:lnTo>
                    <a:pt x="789" y="390"/>
                  </a:lnTo>
                  <a:lnTo>
                    <a:pt x="859" y="448"/>
                  </a:lnTo>
                  <a:lnTo>
                    <a:pt x="789" y="507"/>
                  </a:lnTo>
                  <a:close/>
                  <a:moveTo>
                    <a:pt x="897" y="448"/>
                  </a:moveTo>
                  <a:lnTo>
                    <a:pt x="896" y="445"/>
                  </a:lnTo>
                  <a:lnTo>
                    <a:pt x="895" y="442"/>
                  </a:lnTo>
                  <a:lnTo>
                    <a:pt x="894" y="439"/>
                  </a:lnTo>
                  <a:lnTo>
                    <a:pt x="892" y="437"/>
                  </a:lnTo>
                  <a:lnTo>
                    <a:pt x="817" y="375"/>
                  </a:lnTo>
                  <a:lnTo>
                    <a:pt x="862" y="290"/>
                  </a:lnTo>
                  <a:lnTo>
                    <a:pt x="863" y="286"/>
                  </a:lnTo>
                  <a:lnTo>
                    <a:pt x="864" y="283"/>
                  </a:lnTo>
                  <a:lnTo>
                    <a:pt x="864" y="280"/>
                  </a:lnTo>
                  <a:lnTo>
                    <a:pt x="863" y="277"/>
                  </a:lnTo>
                  <a:lnTo>
                    <a:pt x="861" y="273"/>
                  </a:lnTo>
                  <a:lnTo>
                    <a:pt x="859" y="271"/>
                  </a:lnTo>
                  <a:lnTo>
                    <a:pt x="856" y="269"/>
                  </a:lnTo>
                  <a:lnTo>
                    <a:pt x="853" y="268"/>
                  </a:lnTo>
                  <a:lnTo>
                    <a:pt x="761" y="239"/>
                  </a:lnTo>
                  <a:lnTo>
                    <a:pt x="770" y="143"/>
                  </a:lnTo>
                  <a:lnTo>
                    <a:pt x="770" y="140"/>
                  </a:lnTo>
                  <a:lnTo>
                    <a:pt x="769" y="137"/>
                  </a:lnTo>
                  <a:lnTo>
                    <a:pt x="768" y="133"/>
                  </a:lnTo>
                  <a:lnTo>
                    <a:pt x="766" y="131"/>
                  </a:lnTo>
                  <a:lnTo>
                    <a:pt x="762" y="129"/>
                  </a:lnTo>
                  <a:lnTo>
                    <a:pt x="760" y="128"/>
                  </a:lnTo>
                  <a:lnTo>
                    <a:pt x="757" y="127"/>
                  </a:lnTo>
                  <a:lnTo>
                    <a:pt x="754" y="127"/>
                  </a:lnTo>
                  <a:lnTo>
                    <a:pt x="658" y="136"/>
                  </a:lnTo>
                  <a:lnTo>
                    <a:pt x="629" y="44"/>
                  </a:lnTo>
                  <a:lnTo>
                    <a:pt x="627" y="40"/>
                  </a:lnTo>
                  <a:lnTo>
                    <a:pt x="625" y="38"/>
                  </a:lnTo>
                  <a:lnTo>
                    <a:pt x="622" y="36"/>
                  </a:lnTo>
                  <a:lnTo>
                    <a:pt x="620" y="34"/>
                  </a:lnTo>
                  <a:lnTo>
                    <a:pt x="617" y="33"/>
                  </a:lnTo>
                  <a:lnTo>
                    <a:pt x="614" y="33"/>
                  </a:lnTo>
                  <a:lnTo>
                    <a:pt x="610" y="33"/>
                  </a:lnTo>
                  <a:lnTo>
                    <a:pt x="607" y="35"/>
                  </a:lnTo>
                  <a:lnTo>
                    <a:pt x="522" y="80"/>
                  </a:lnTo>
                  <a:lnTo>
                    <a:pt x="460" y="5"/>
                  </a:lnTo>
                  <a:lnTo>
                    <a:pt x="458" y="3"/>
                  </a:lnTo>
                  <a:lnTo>
                    <a:pt x="454" y="2"/>
                  </a:lnTo>
                  <a:lnTo>
                    <a:pt x="451" y="1"/>
                  </a:lnTo>
                  <a:lnTo>
                    <a:pt x="448" y="0"/>
                  </a:lnTo>
                  <a:lnTo>
                    <a:pt x="445" y="1"/>
                  </a:lnTo>
                  <a:lnTo>
                    <a:pt x="442" y="2"/>
                  </a:lnTo>
                  <a:lnTo>
                    <a:pt x="439" y="3"/>
                  </a:lnTo>
                  <a:lnTo>
                    <a:pt x="436" y="5"/>
                  </a:lnTo>
                  <a:lnTo>
                    <a:pt x="375" y="80"/>
                  </a:lnTo>
                  <a:lnTo>
                    <a:pt x="290" y="35"/>
                  </a:lnTo>
                  <a:lnTo>
                    <a:pt x="286" y="33"/>
                  </a:lnTo>
                  <a:lnTo>
                    <a:pt x="283" y="33"/>
                  </a:lnTo>
                  <a:lnTo>
                    <a:pt x="280" y="33"/>
                  </a:lnTo>
                  <a:lnTo>
                    <a:pt x="277" y="34"/>
                  </a:lnTo>
                  <a:lnTo>
                    <a:pt x="274" y="36"/>
                  </a:lnTo>
                  <a:lnTo>
                    <a:pt x="271" y="38"/>
                  </a:lnTo>
                  <a:lnTo>
                    <a:pt x="269" y="40"/>
                  </a:lnTo>
                  <a:lnTo>
                    <a:pt x="268" y="44"/>
                  </a:lnTo>
                  <a:lnTo>
                    <a:pt x="239" y="136"/>
                  </a:lnTo>
                  <a:lnTo>
                    <a:pt x="143" y="127"/>
                  </a:lnTo>
                  <a:lnTo>
                    <a:pt x="140" y="127"/>
                  </a:lnTo>
                  <a:lnTo>
                    <a:pt x="137" y="128"/>
                  </a:lnTo>
                  <a:lnTo>
                    <a:pt x="134" y="129"/>
                  </a:lnTo>
                  <a:lnTo>
                    <a:pt x="131" y="131"/>
                  </a:lnTo>
                  <a:lnTo>
                    <a:pt x="129" y="133"/>
                  </a:lnTo>
                  <a:lnTo>
                    <a:pt x="127" y="137"/>
                  </a:lnTo>
                  <a:lnTo>
                    <a:pt x="127" y="140"/>
                  </a:lnTo>
                  <a:lnTo>
                    <a:pt x="127" y="143"/>
                  </a:lnTo>
                  <a:lnTo>
                    <a:pt x="136" y="239"/>
                  </a:lnTo>
                  <a:lnTo>
                    <a:pt x="44" y="268"/>
                  </a:lnTo>
                  <a:lnTo>
                    <a:pt x="41" y="269"/>
                  </a:lnTo>
                  <a:lnTo>
                    <a:pt x="37" y="271"/>
                  </a:lnTo>
                  <a:lnTo>
                    <a:pt x="35" y="273"/>
                  </a:lnTo>
                  <a:lnTo>
                    <a:pt x="34" y="277"/>
                  </a:lnTo>
                  <a:lnTo>
                    <a:pt x="33" y="280"/>
                  </a:lnTo>
                  <a:lnTo>
                    <a:pt x="33" y="283"/>
                  </a:lnTo>
                  <a:lnTo>
                    <a:pt x="33" y="286"/>
                  </a:lnTo>
                  <a:lnTo>
                    <a:pt x="34" y="290"/>
                  </a:lnTo>
                  <a:lnTo>
                    <a:pt x="79" y="375"/>
                  </a:lnTo>
                  <a:lnTo>
                    <a:pt x="5" y="437"/>
                  </a:lnTo>
                  <a:lnTo>
                    <a:pt x="3" y="439"/>
                  </a:lnTo>
                  <a:lnTo>
                    <a:pt x="1" y="442"/>
                  </a:lnTo>
                  <a:lnTo>
                    <a:pt x="0" y="445"/>
                  </a:lnTo>
                  <a:lnTo>
                    <a:pt x="0" y="449"/>
                  </a:lnTo>
                  <a:lnTo>
                    <a:pt x="0" y="452"/>
                  </a:lnTo>
                  <a:lnTo>
                    <a:pt x="1" y="454"/>
                  </a:lnTo>
                  <a:lnTo>
                    <a:pt x="3" y="457"/>
                  </a:lnTo>
                  <a:lnTo>
                    <a:pt x="5" y="460"/>
                  </a:lnTo>
                  <a:lnTo>
                    <a:pt x="79" y="522"/>
                  </a:lnTo>
                  <a:lnTo>
                    <a:pt x="34" y="607"/>
                  </a:lnTo>
                  <a:lnTo>
                    <a:pt x="33" y="610"/>
                  </a:lnTo>
                  <a:lnTo>
                    <a:pt x="33" y="614"/>
                  </a:lnTo>
                  <a:lnTo>
                    <a:pt x="33" y="617"/>
                  </a:lnTo>
                  <a:lnTo>
                    <a:pt x="34" y="620"/>
                  </a:lnTo>
                  <a:lnTo>
                    <a:pt x="35" y="623"/>
                  </a:lnTo>
                  <a:lnTo>
                    <a:pt x="37" y="625"/>
                  </a:lnTo>
                  <a:lnTo>
                    <a:pt x="41" y="627"/>
                  </a:lnTo>
                  <a:lnTo>
                    <a:pt x="44" y="629"/>
                  </a:lnTo>
                  <a:lnTo>
                    <a:pt x="136" y="657"/>
                  </a:lnTo>
                  <a:lnTo>
                    <a:pt x="127" y="754"/>
                  </a:lnTo>
                  <a:lnTo>
                    <a:pt x="127" y="757"/>
                  </a:lnTo>
                  <a:lnTo>
                    <a:pt x="127" y="760"/>
                  </a:lnTo>
                  <a:lnTo>
                    <a:pt x="129" y="763"/>
                  </a:lnTo>
                  <a:lnTo>
                    <a:pt x="131" y="765"/>
                  </a:lnTo>
                  <a:lnTo>
                    <a:pt x="134" y="768"/>
                  </a:lnTo>
                  <a:lnTo>
                    <a:pt x="137" y="769"/>
                  </a:lnTo>
                  <a:lnTo>
                    <a:pt x="140" y="770"/>
                  </a:lnTo>
                  <a:lnTo>
                    <a:pt x="143" y="770"/>
                  </a:lnTo>
                  <a:lnTo>
                    <a:pt x="239" y="761"/>
                  </a:lnTo>
                  <a:lnTo>
                    <a:pt x="268" y="853"/>
                  </a:lnTo>
                  <a:lnTo>
                    <a:pt x="269" y="856"/>
                  </a:lnTo>
                  <a:lnTo>
                    <a:pt x="271" y="860"/>
                  </a:lnTo>
                  <a:lnTo>
                    <a:pt x="274" y="862"/>
                  </a:lnTo>
                  <a:lnTo>
                    <a:pt x="277" y="863"/>
                  </a:lnTo>
                  <a:lnTo>
                    <a:pt x="280" y="864"/>
                  </a:lnTo>
                  <a:lnTo>
                    <a:pt x="283" y="864"/>
                  </a:lnTo>
                  <a:lnTo>
                    <a:pt x="286" y="864"/>
                  </a:lnTo>
                  <a:lnTo>
                    <a:pt x="290" y="863"/>
                  </a:lnTo>
                  <a:lnTo>
                    <a:pt x="375" y="817"/>
                  </a:lnTo>
                  <a:lnTo>
                    <a:pt x="436" y="892"/>
                  </a:lnTo>
                  <a:lnTo>
                    <a:pt x="439" y="894"/>
                  </a:lnTo>
                  <a:lnTo>
                    <a:pt x="442" y="896"/>
                  </a:lnTo>
                  <a:lnTo>
                    <a:pt x="445" y="897"/>
                  </a:lnTo>
                  <a:lnTo>
                    <a:pt x="448" y="897"/>
                  </a:lnTo>
                  <a:lnTo>
                    <a:pt x="451" y="897"/>
                  </a:lnTo>
                  <a:lnTo>
                    <a:pt x="454" y="896"/>
                  </a:lnTo>
                  <a:lnTo>
                    <a:pt x="458" y="894"/>
                  </a:lnTo>
                  <a:lnTo>
                    <a:pt x="460" y="892"/>
                  </a:lnTo>
                  <a:lnTo>
                    <a:pt x="522" y="817"/>
                  </a:lnTo>
                  <a:lnTo>
                    <a:pt x="607" y="863"/>
                  </a:lnTo>
                  <a:lnTo>
                    <a:pt x="610" y="864"/>
                  </a:lnTo>
                  <a:lnTo>
                    <a:pt x="614" y="864"/>
                  </a:lnTo>
                  <a:lnTo>
                    <a:pt x="617" y="864"/>
                  </a:lnTo>
                  <a:lnTo>
                    <a:pt x="620" y="863"/>
                  </a:lnTo>
                  <a:lnTo>
                    <a:pt x="622" y="862"/>
                  </a:lnTo>
                  <a:lnTo>
                    <a:pt x="625" y="860"/>
                  </a:lnTo>
                  <a:lnTo>
                    <a:pt x="627" y="856"/>
                  </a:lnTo>
                  <a:lnTo>
                    <a:pt x="629" y="853"/>
                  </a:lnTo>
                  <a:lnTo>
                    <a:pt x="658" y="761"/>
                  </a:lnTo>
                  <a:lnTo>
                    <a:pt x="754" y="770"/>
                  </a:lnTo>
                  <a:lnTo>
                    <a:pt x="757" y="770"/>
                  </a:lnTo>
                  <a:lnTo>
                    <a:pt x="760" y="769"/>
                  </a:lnTo>
                  <a:lnTo>
                    <a:pt x="762" y="768"/>
                  </a:lnTo>
                  <a:lnTo>
                    <a:pt x="766" y="765"/>
                  </a:lnTo>
                  <a:lnTo>
                    <a:pt x="768" y="763"/>
                  </a:lnTo>
                  <a:lnTo>
                    <a:pt x="769" y="760"/>
                  </a:lnTo>
                  <a:lnTo>
                    <a:pt x="770" y="757"/>
                  </a:lnTo>
                  <a:lnTo>
                    <a:pt x="770" y="754"/>
                  </a:lnTo>
                  <a:lnTo>
                    <a:pt x="761" y="657"/>
                  </a:lnTo>
                  <a:lnTo>
                    <a:pt x="853" y="629"/>
                  </a:lnTo>
                  <a:lnTo>
                    <a:pt x="856" y="627"/>
                  </a:lnTo>
                  <a:lnTo>
                    <a:pt x="859" y="625"/>
                  </a:lnTo>
                  <a:lnTo>
                    <a:pt x="861" y="623"/>
                  </a:lnTo>
                  <a:lnTo>
                    <a:pt x="863" y="620"/>
                  </a:lnTo>
                  <a:lnTo>
                    <a:pt x="864" y="617"/>
                  </a:lnTo>
                  <a:lnTo>
                    <a:pt x="864" y="614"/>
                  </a:lnTo>
                  <a:lnTo>
                    <a:pt x="863" y="610"/>
                  </a:lnTo>
                  <a:lnTo>
                    <a:pt x="862" y="607"/>
                  </a:lnTo>
                  <a:lnTo>
                    <a:pt x="817" y="522"/>
                  </a:lnTo>
                  <a:lnTo>
                    <a:pt x="892" y="460"/>
                  </a:lnTo>
                  <a:lnTo>
                    <a:pt x="894" y="457"/>
                  </a:lnTo>
                  <a:lnTo>
                    <a:pt x="895" y="454"/>
                  </a:lnTo>
                  <a:lnTo>
                    <a:pt x="896" y="452"/>
                  </a:lnTo>
                  <a:lnTo>
                    <a:pt x="897" y="449"/>
                  </a:lnTo>
                  <a:lnTo>
                    <a:pt x="897"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0" name="Group 31">
            <a:extLst>
              <a:ext uri="{FF2B5EF4-FFF2-40B4-BE49-F238E27FC236}">
                <a16:creationId xmlns:a16="http://schemas.microsoft.com/office/drawing/2014/main" id="{01594949-8CC6-48B0-8273-E74BF2DA116A}"/>
              </a:ext>
            </a:extLst>
          </p:cNvPr>
          <p:cNvGrpSpPr>
            <a:grpSpLocks noChangeAspect="1"/>
          </p:cNvGrpSpPr>
          <p:nvPr/>
        </p:nvGrpSpPr>
        <p:grpSpPr>
          <a:xfrm>
            <a:off x="5791954" y="4879041"/>
            <a:ext cx="285619" cy="285619"/>
            <a:chOff x="3973513" y="4452938"/>
            <a:chExt cx="303213" cy="303213"/>
          </a:xfrm>
          <a:solidFill>
            <a:schemeClr val="bg2"/>
          </a:solidFill>
          <a:effectLst/>
        </p:grpSpPr>
        <p:sp>
          <p:nvSpPr>
            <p:cNvPr id="1021" name="Freeform 142">
              <a:extLst>
                <a:ext uri="{FF2B5EF4-FFF2-40B4-BE49-F238E27FC236}">
                  <a16:creationId xmlns:a16="http://schemas.microsoft.com/office/drawing/2014/main" id="{D94D3E13-9A26-4698-806A-1CF6808689AB}"/>
                </a:ext>
              </a:extLst>
            </p:cNvPr>
            <p:cNvSpPr>
              <a:spLocks/>
            </p:cNvSpPr>
            <p:nvPr/>
          </p:nvSpPr>
          <p:spPr bwMode="auto">
            <a:xfrm>
              <a:off x="4114801" y="4573588"/>
              <a:ext cx="47625" cy="80963"/>
            </a:xfrm>
            <a:custGeom>
              <a:avLst/>
              <a:gdLst>
                <a:gd name="T0" fmla="*/ 25 w 119"/>
                <a:gd name="T1" fmla="*/ 88 h 203"/>
                <a:gd name="T2" fmla="*/ 25 w 119"/>
                <a:gd name="T3" fmla="*/ 13 h 203"/>
                <a:gd name="T4" fmla="*/ 24 w 119"/>
                <a:gd name="T5" fmla="*/ 8 h 203"/>
                <a:gd name="T6" fmla="*/ 21 w 119"/>
                <a:gd name="T7" fmla="*/ 4 h 203"/>
                <a:gd name="T8" fmla="*/ 18 w 119"/>
                <a:gd name="T9" fmla="*/ 1 h 203"/>
                <a:gd name="T10" fmla="*/ 12 w 119"/>
                <a:gd name="T11" fmla="*/ 0 h 203"/>
                <a:gd name="T12" fmla="*/ 7 w 119"/>
                <a:gd name="T13" fmla="*/ 1 h 203"/>
                <a:gd name="T14" fmla="*/ 4 w 119"/>
                <a:gd name="T15" fmla="*/ 4 h 203"/>
                <a:gd name="T16" fmla="*/ 1 w 119"/>
                <a:gd name="T17" fmla="*/ 8 h 203"/>
                <a:gd name="T18" fmla="*/ 0 w 119"/>
                <a:gd name="T19" fmla="*/ 13 h 203"/>
                <a:gd name="T20" fmla="*/ 0 w 119"/>
                <a:gd name="T21" fmla="*/ 94 h 203"/>
                <a:gd name="T22" fmla="*/ 1 w 119"/>
                <a:gd name="T23" fmla="*/ 98 h 203"/>
                <a:gd name="T24" fmla="*/ 4 w 119"/>
                <a:gd name="T25" fmla="*/ 102 h 203"/>
                <a:gd name="T26" fmla="*/ 96 w 119"/>
                <a:gd name="T27" fmla="*/ 199 h 203"/>
                <a:gd name="T28" fmla="*/ 101 w 119"/>
                <a:gd name="T29" fmla="*/ 202 h 203"/>
                <a:gd name="T30" fmla="*/ 106 w 119"/>
                <a:gd name="T31" fmla="*/ 203 h 203"/>
                <a:gd name="T32" fmla="*/ 110 w 119"/>
                <a:gd name="T33" fmla="*/ 202 h 203"/>
                <a:gd name="T34" fmla="*/ 114 w 119"/>
                <a:gd name="T35" fmla="*/ 199 h 203"/>
                <a:gd name="T36" fmla="*/ 118 w 119"/>
                <a:gd name="T37" fmla="*/ 195 h 203"/>
                <a:gd name="T38" fmla="*/ 119 w 119"/>
                <a:gd name="T39" fmla="*/ 190 h 203"/>
                <a:gd name="T40" fmla="*/ 118 w 119"/>
                <a:gd name="T41" fmla="*/ 186 h 203"/>
                <a:gd name="T42" fmla="*/ 114 w 119"/>
                <a:gd name="T43" fmla="*/ 182 h 203"/>
                <a:gd name="T44" fmla="*/ 25 w 119"/>
                <a:gd name="T45" fmla="*/ 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25" y="88"/>
                  </a:moveTo>
                  <a:lnTo>
                    <a:pt x="25" y="13"/>
                  </a:lnTo>
                  <a:lnTo>
                    <a:pt x="24" y="8"/>
                  </a:lnTo>
                  <a:lnTo>
                    <a:pt x="21" y="4"/>
                  </a:lnTo>
                  <a:lnTo>
                    <a:pt x="18" y="1"/>
                  </a:lnTo>
                  <a:lnTo>
                    <a:pt x="12" y="0"/>
                  </a:lnTo>
                  <a:lnTo>
                    <a:pt x="7" y="1"/>
                  </a:lnTo>
                  <a:lnTo>
                    <a:pt x="4" y="4"/>
                  </a:lnTo>
                  <a:lnTo>
                    <a:pt x="1" y="8"/>
                  </a:lnTo>
                  <a:lnTo>
                    <a:pt x="0" y="13"/>
                  </a:lnTo>
                  <a:lnTo>
                    <a:pt x="0" y="94"/>
                  </a:lnTo>
                  <a:lnTo>
                    <a:pt x="1" y="98"/>
                  </a:lnTo>
                  <a:lnTo>
                    <a:pt x="4" y="102"/>
                  </a:lnTo>
                  <a:lnTo>
                    <a:pt x="96" y="199"/>
                  </a:lnTo>
                  <a:lnTo>
                    <a:pt x="101" y="202"/>
                  </a:lnTo>
                  <a:lnTo>
                    <a:pt x="106" y="203"/>
                  </a:lnTo>
                  <a:lnTo>
                    <a:pt x="110" y="202"/>
                  </a:lnTo>
                  <a:lnTo>
                    <a:pt x="114" y="199"/>
                  </a:lnTo>
                  <a:lnTo>
                    <a:pt x="118" y="195"/>
                  </a:lnTo>
                  <a:lnTo>
                    <a:pt x="119" y="190"/>
                  </a:lnTo>
                  <a:lnTo>
                    <a:pt x="118" y="186"/>
                  </a:lnTo>
                  <a:lnTo>
                    <a:pt x="114" y="182"/>
                  </a:lnTo>
                  <a:lnTo>
                    <a:pt x="25" y="88"/>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2" name="Freeform 143">
              <a:extLst>
                <a:ext uri="{FF2B5EF4-FFF2-40B4-BE49-F238E27FC236}">
                  <a16:creationId xmlns:a16="http://schemas.microsoft.com/office/drawing/2014/main" id="{9B48C6FB-6871-40DB-9670-ECC5CC67326E}"/>
                </a:ext>
              </a:extLst>
            </p:cNvPr>
            <p:cNvSpPr>
              <a:spLocks noEditPoints="1"/>
            </p:cNvSpPr>
            <p:nvPr/>
          </p:nvSpPr>
          <p:spPr bwMode="auto">
            <a:xfrm>
              <a:off x="3973513" y="4452938"/>
              <a:ext cx="303213" cy="303213"/>
            </a:xfrm>
            <a:custGeom>
              <a:avLst/>
              <a:gdLst>
                <a:gd name="T0" fmla="*/ 733 w 765"/>
                <a:gd name="T1" fmla="*/ 141 h 764"/>
                <a:gd name="T2" fmla="*/ 566 w 765"/>
                <a:gd name="T3" fmla="*/ 254 h 764"/>
                <a:gd name="T4" fmla="*/ 510 w 765"/>
                <a:gd name="T5" fmla="*/ 199 h 764"/>
                <a:gd name="T6" fmla="*/ 670 w 765"/>
                <a:gd name="T7" fmla="*/ 203 h 764"/>
                <a:gd name="T8" fmla="*/ 347 w 765"/>
                <a:gd name="T9" fmla="*/ 610 h 764"/>
                <a:gd name="T10" fmla="*/ 286 w 765"/>
                <a:gd name="T11" fmla="*/ 594 h 764"/>
                <a:gd name="T12" fmla="*/ 217 w 765"/>
                <a:gd name="T13" fmla="*/ 548 h 764"/>
                <a:gd name="T14" fmla="*/ 170 w 765"/>
                <a:gd name="T15" fmla="*/ 479 h 764"/>
                <a:gd name="T16" fmla="*/ 154 w 765"/>
                <a:gd name="T17" fmla="*/ 417 h 764"/>
                <a:gd name="T18" fmla="*/ 154 w 765"/>
                <a:gd name="T19" fmla="*/ 373 h 764"/>
                <a:gd name="T20" fmla="*/ 170 w 765"/>
                <a:gd name="T21" fmla="*/ 311 h 764"/>
                <a:gd name="T22" fmla="*/ 217 w 765"/>
                <a:gd name="T23" fmla="*/ 242 h 764"/>
                <a:gd name="T24" fmla="*/ 286 w 765"/>
                <a:gd name="T25" fmla="*/ 196 h 764"/>
                <a:gd name="T26" fmla="*/ 347 w 765"/>
                <a:gd name="T27" fmla="*/ 180 h 764"/>
                <a:gd name="T28" fmla="*/ 392 w 765"/>
                <a:gd name="T29" fmla="*/ 180 h 764"/>
                <a:gd name="T30" fmla="*/ 453 w 765"/>
                <a:gd name="T31" fmla="*/ 196 h 764"/>
                <a:gd name="T32" fmla="*/ 523 w 765"/>
                <a:gd name="T33" fmla="*/ 242 h 764"/>
                <a:gd name="T34" fmla="*/ 569 w 765"/>
                <a:gd name="T35" fmla="*/ 311 h 764"/>
                <a:gd name="T36" fmla="*/ 585 w 765"/>
                <a:gd name="T37" fmla="*/ 373 h 764"/>
                <a:gd name="T38" fmla="*/ 585 w 765"/>
                <a:gd name="T39" fmla="*/ 417 h 764"/>
                <a:gd name="T40" fmla="*/ 569 w 765"/>
                <a:gd name="T41" fmla="*/ 479 h 764"/>
                <a:gd name="T42" fmla="*/ 523 w 765"/>
                <a:gd name="T43" fmla="*/ 548 h 764"/>
                <a:gd name="T44" fmla="*/ 453 w 765"/>
                <a:gd name="T45" fmla="*/ 594 h 764"/>
                <a:gd name="T46" fmla="*/ 392 w 765"/>
                <a:gd name="T47" fmla="*/ 610 h 764"/>
                <a:gd name="T48" fmla="*/ 26 w 765"/>
                <a:gd name="T49" fmla="*/ 738 h 764"/>
                <a:gd name="T50" fmla="*/ 173 w 765"/>
                <a:gd name="T51" fmla="*/ 536 h 764"/>
                <a:gd name="T52" fmla="*/ 229 w 765"/>
                <a:gd name="T53" fmla="*/ 591 h 764"/>
                <a:gd name="T54" fmla="*/ 624 w 765"/>
                <a:gd name="T55" fmla="*/ 31 h 764"/>
                <a:gd name="T56" fmla="*/ 624 w 765"/>
                <a:gd name="T57" fmla="*/ 31 h 764"/>
                <a:gd name="T58" fmla="*/ 634 w 765"/>
                <a:gd name="T59" fmla="*/ 3 h 764"/>
                <a:gd name="T60" fmla="*/ 624 w 765"/>
                <a:gd name="T61" fmla="*/ 0 h 764"/>
                <a:gd name="T62" fmla="*/ 451 w 765"/>
                <a:gd name="T63" fmla="*/ 168 h 764"/>
                <a:gd name="T64" fmla="*/ 369 w 765"/>
                <a:gd name="T65" fmla="*/ 153 h 764"/>
                <a:gd name="T66" fmla="*/ 321 w 765"/>
                <a:gd name="T67" fmla="*/ 158 h 764"/>
                <a:gd name="T68" fmla="*/ 275 w 765"/>
                <a:gd name="T69" fmla="*/ 172 h 764"/>
                <a:gd name="T70" fmla="*/ 234 w 765"/>
                <a:gd name="T71" fmla="*/ 195 h 764"/>
                <a:gd name="T72" fmla="*/ 199 w 765"/>
                <a:gd name="T73" fmla="*/ 224 h 764"/>
                <a:gd name="T74" fmla="*/ 169 w 765"/>
                <a:gd name="T75" fmla="*/ 260 h 764"/>
                <a:gd name="T76" fmla="*/ 146 w 765"/>
                <a:gd name="T77" fmla="*/ 301 h 764"/>
                <a:gd name="T78" fmla="*/ 132 w 765"/>
                <a:gd name="T79" fmla="*/ 346 h 764"/>
                <a:gd name="T80" fmla="*/ 128 w 765"/>
                <a:gd name="T81" fmla="*/ 394 h 764"/>
                <a:gd name="T82" fmla="*/ 142 w 765"/>
                <a:gd name="T83" fmla="*/ 477 h 764"/>
                <a:gd name="T84" fmla="*/ 0 w 765"/>
                <a:gd name="T85" fmla="*/ 751 h 764"/>
                <a:gd name="T86" fmla="*/ 13 w 765"/>
                <a:gd name="T87" fmla="*/ 764 h 764"/>
                <a:gd name="T88" fmla="*/ 288 w 765"/>
                <a:gd name="T89" fmla="*/ 623 h 764"/>
                <a:gd name="T90" fmla="*/ 369 w 765"/>
                <a:gd name="T91" fmla="*/ 637 h 764"/>
                <a:gd name="T92" fmla="*/ 418 w 765"/>
                <a:gd name="T93" fmla="*/ 632 h 764"/>
                <a:gd name="T94" fmla="*/ 464 w 765"/>
                <a:gd name="T95" fmla="*/ 618 h 764"/>
                <a:gd name="T96" fmla="*/ 505 w 765"/>
                <a:gd name="T97" fmla="*/ 595 h 764"/>
                <a:gd name="T98" fmla="*/ 540 w 765"/>
                <a:gd name="T99" fmla="*/ 566 h 764"/>
                <a:gd name="T100" fmla="*/ 570 w 765"/>
                <a:gd name="T101" fmla="*/ 530 h 764"/>
                <a:gd name="T102" fmla="*/ 593 w 765"/>
                <a:gd name="T103" fmla="*/ 489 h 764"/>
                <a:gd name="T104" fmla="*/ 607 w 765"/>
                <a:gd name="T105" fmla="*/ 444 h 764"/>
                <a:gd name="T106" fmla="*/ 611 w 765"/>
                <a:gd name="T107" fmla="*/ 394 h 764"/>
                <a:gd name="T108" fmla="*/ 597 w 765"/>
                <a:gd name="T109" fmla="*/ 313 h 764"/>
                <a:gd name="T110" fmla="*/ 760 w 765"/>
                <a:gd name="T111" fmla="*/ 151 h 764"/>
                <a:gd name="T112" fmla="*/ 765 w 765"/>
                <a:gd name="T113" fmla="*/ 1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764">
                  <a:moveTo>
                    <a:pt x="688" y="186"/>
                  </a:moveTo>
                  <a:lnTo>
                    <a:pt x="642" y="140"/>
                  </a:lnTo>
                  <a:lnTo>
                    <a:pt x="687" y="96"/>
                  </a:lnTo>
                  <a:lnTo>
                    <a:pt x="733" y="141"/>
                  </a:lnTo>
                  <a:lnTo>
                    <a:pt x="688" y="186"/>
                  </a:lnTo>
                  <a:close/>
                  <a:moveTo>
                    <a:pt x="586" y="288"/>
                  </a:moveTo>
                  <a:lnTo>
                    <a:pt x="577" y="271"/>
                  </a:lnTo>
                  <a:lnTo>
                    <a:pt x="566" y="254"/>
                  </a:lnTo>
                  <a:lnTo>
                    <a:pt x="554" y="239"/>
                  </a:lnTo>
                  <a:lnTo>
                    <a:pt x="540" y="225"/>
                  </a:lnTo>
                  <a:lnTo>
                    <a:pt x="526" y="211"/>
                  </a:lnTo>
                  <a:lnTo>
                    <a:pt x="510" y="199"/>
                  </a:lnTo>
                  <a:lnTo>
                    <a:pt x="494" y="188"/>
                  </a:lnTo>
                  <a:lnTo>
                    <a:pt x="477" y="178"/>
                  </a:lnTo>
                  <a:lnTo>
                    <a:pt x="561" y="96"/>
                  </a:lnTo>
                  <a:lnTo>
                    <a:pt x="670" y="203"/>
                  </a:lnTo>
                  <a:lnTo>
                    <a:pt x="586" y="288"/>
                  </a:lnTo>
                  <a:close/>
                  <a:moveTo>
                    <a:pt x="369" y="611"/>
                  </a:moveTo>
                  <a:lnTo>
                    <a:pt x="359" y="611"/>
                  </a:lnTo>
                  <a:lnTo>
                    <a:pt x="347" y="610"/>
                  </a:lnTo>
                  <a:lnTo>
                    <a:pt x="336" y="609"/>
                  </a:lnTo>
                  <a:lnTo>
                    <a:pt x="325" y="607"/>
                  </a:lnTo>
                  <a:lnTo>
                    <a:pt x="305" y="602"/>
                  </a:lnTo>
                  <a:lnTo>
                    <a:pt x="286" y="594"/>
                  </a:lnTo>
                  <a:lnTo>
                    <a:pt x="266" y="585"/>
                  </a:lnTo>
                  <a:lnTo>
                    <a:pt x="248" y="574"/>
                  </a:lnTo>
                  <a:lnTo>
                    <a:pt x="232" y="562"/>
                  </a:lnTo>
                  <a:lnTo>
                    <a:pt x="217" y="548"/>
                  </a:lnTo>
                  <a:lnTo>
                    <a:pt x="203" y="533"/>
                  </a:lnTo>
                  <a:lnTo>
                    <a:pt x="190" y="516"/>
                  </a:lnTo>
                  <a:lnTo>
                    <a:pt x="179" y="497"/>
                  </a:lnTo>
                  <a:lnTo>
                    <a:pt x="170" y="479"/>
                  </a:lnTo>
                  <a:lnTo>
                    <a:pt x="163" y="459"/>
                  </a:lnTo>
                  <a:lnTo>
                    <a:pt x="158" y="438"/>
                  </a:lnTo>
                  <a:lnTo>
                    <a:pt x="156" y="428"/>
                  </a:lnTo>
                  <a:lnTo>
                    <a:pt x="154" y="417"/>
                  </a:lnTo>
                  <a:lnTo>
                    <a:pt x="154" y="406"/>
                  </a:lnTo>
                  <a:lnTo>
                    <a:pt x="153" y="394"/>
                  </a:lnTo>
                  <a:lnTo>
                    <a:pt x="154" y="384"/>
                  </a:lnTo>
                  <a:lnTo>
                    <a:pt x="154" y="373"/>
                  </a:lnTo>
                  <a:lnTo>
                    <a:pt x="156" y="362"/>
                  </a:lnTo>
                  <a:lnTo>
                    <a:pt x="158" y="351"/>
                  </a:lnTo>
                  <a:lnTo>
                    <a:pt x="163" y="331"/>
                  </a:lnTo>
                  <a:lnTo>
                    <a:pt x="170" y="311"/>
                  </a:lnTo>
                  <a:lnTo>
                    <a:pt x="179" y="292"/>
                  </a:lnTo>
                  <a:lnTo>
                    <a:pt x="190" y="274"/>
                  </a:lnTo>
                  <a:lnTo>
                    <a:pt x="203" y="257"/>
                  </a:lnTo>
                  <a:lnTo>
                    <a:pt x="217" y="242"/>
                  </a:lnTo>
                  <a:lnTo>
                    <a:pt x="232" y="228"/>
                  </a:lnTo>
                  <a:lnTo>
                    <a:pt x="248" y="215"/>
                  </a:lnTo>
                  <a:lnTo>
                    <a:pt x="266" y="204"/>
                  </a:lnTo>
                  <a:lnTo>
                    <a:pt x="286" y="196"/>
                  </a:lnTo>
                  <a:lnTo>
                    <a:pt x="305" y="188"/>
                  </a:lnTo>
                  <a:lnTo>
                    <a:pt x="325" y="183"/>
                  </a:lnTo>
                  <a:lnTo>
                    <a:pt x="336" y="181"/>
                  </a:lnTo>
                  <a:lnTo>
                    <a:pt x="347" y="180"/>
                  </a:lnTo>
                  <a:lnTo>
                    <a:pt x="359" y="178"/>
                  </a:lnTo>
                  <a:lnTo>
                    <a:pt x="369" y="178"/>
                  </a:lnTo>
                  <a:lnTo>
                    <a:pt x="380" y="178"/>
                  </a:lnTo>
                  <a:lnTo>
                    <a:pt x="392" y="180"/>
                  </a:lnTo>
                  <a:lnTo>
                    <a:pt x="403" y="181"/>
                  </a:lnTo>
                  <a:lnTo>
                    <a:pt x="413" y="183"/>
                  </a:lnTo>
                  <a:lnTo>
                    <a:pt x="434" y="188"/>
                  </a:lnTo>
                  <a:lnTo>
                    <a:pt x="453" y="196"/>
                  </a:lnTo>
                  <a:lnTo>
                    <a:pt x="473" y="204"/>
                  </a:lnTo>
                  <a:lnTo>
                    <a:pt x="491" y="215"/>
                  </a:lnTo>
                  <a:lnTo>
                    <a:pt x="507" y="228"/>
                  </a:lnTo>
                  <a:lnTo>
                    <a:pt x="523" y="242"/>
                  </a:lnTo>
                  <a:lnTo>
                    <a:pt x="537" y="257"/>
                  </a:lnTo>
                  <a:lnTo>
                    <a:pt x="549" y="274"/>
                  </a:lnTo>
                  <a:lnTo>
                    <a:pt x="560" y="292"/>
                  </a:lnTo>
                  <a:lnTo>
                    <a:pt x="569" y="311"/>
                  </a:lnTo>
                  <a:lnTo>
                    <a:pt x="577" y="331"/>
                  </a:lnTo>
                  <a:lnTo>
                    <a:pt x="582" y="351"/>
                  </a:lnTo>
                  <a:lnTo>
                    <a:pt x="583" y="362"/>
                  </a:lnTo>
                  <a:lnTo>
                    <a:pt x="585" y="373"/>
                  </a:lnTo>
                  <a:lnTo>
                    <a:pt x="585" y="384"/>
                  </a:lnTo>
                  <a:lnTo>
                    <a:pt x="586" y="394"/>
                  </a:lnTo>
                  <a:lnTo>
                    <a:pt x="585" y="406"/>
                  </a:lnTo>
                  <a:lnTo>
                    <a:pt x="585" y="417"/>
                  </a:lnTo>
                  <a:lnTo>
                    <a:pt x="583" y="428"/>
                  </a:lnTo>
                  <a:lnTo>
                    <a:pt x="582" y="438"/>
                  </a:lnTo>
                  <a:lnTo>
                    <a:pt x="577" y="459"/>
                  </a:lnTo>
                  <a:lnTo>
                    <a:pt x="569" y="479"/>
                  </a:lnTo>
                  <a:lnTo>
                    <a:pt x="560" y="497"/>
                  </a:lnTo>
                  <a:lnTo>
                    <a:pt x="549" y="516"/>
                  </a:lnTo>
                  <a:lnTo>
                    <a:pt x="537" y="533"/>
                  </a:lnTo>
                  <a:lnTo>
                    <a:pt x="523" y="548"/>
                  </a:lnTo>
                  <a:lnTo>
                    <a:pt x="507" y="562"/>
                  </a:lnTo>
                  <a:lnTo>
                    <a:pt x="491" y="574"/>
                  </a:lnTo>
                  <a:lnTo>
                    <a:pt x="473" y="585"/>
                  </a:lnTo>
                  <a:lnTo>
                    <a:pt x="453" y="594"/>
                  </a:lnTo>
                  <a:lnTo>
                    <a:pt x="434" y="602"/>
                  </a:lnTo>
                  <a:lnTo>
                    <a:pt x="413" y="607"/>
                  </a:lnTo>
                  <a:lnTo>
                    <a:pt x="403" y="609"/>
                  </a:lnTo>
                  <a:lnTo>
                    <a:pt x="392" y="610"/>
                  </a:lnTo>
                  <a:lnTo>
                    <a:pt x="380" y="611"/>
                  </a:lnTo>
                  <a:lnTo>
                    <a:pt x="369" y="611"/>
                  </a:lnTo>
                  <a:close/>
                  <a:moveTo>
                    <a:pt x="136" y="738"/>
                  </a:moveTo>
                  <a:lnTo>
                    <a:pt x="26" y="738"/>
                  </a:lnTo>
                  <a:lnTo>
                    <a:pt x="26" y="628"/>
                  </a:lnTo>
                  <a:lnTo>
                    <a:pt x="153" y="503"/>
                  </a:lnTo>
                  <a:lnTo>
                    <a:pt x="162" y="520"/>
                  </a:lnTo>
                  <a:lnTo>
                    <a:pt x="173" y="536"/>
                  </a:lnTo>
                  <a:lnTo>
                    <a:pt x="186" y="552"/>
                  </a:lnTo>
                  <a:lnTo>
                    <a:pt x="199" y="566"/>
                  </a:lnTo>
                  <a:lnTo>
                    <a:pt x="213" y="579"/>
                  </a:lnTo>
                  <a:lnTo>
                    <a:pt x="229" y="591"/>
                  </a:lnTo>
                  <a:lnTo>
                    <a:pt x="245" y="602"/>
                  </a:lnTo>
                  <a:lnTo>
                    <a:pt x="262" y="611"/>
                  </a:lnTo>
                  <a:lnTo>
                    <a:pt x="136" y="738"/>
                  </a:lnTo>
                  <a:close/>
                  <a:moveTo>
                    <a:pt x="624" y="31"/>
                  </a:moveTo>
                  <a:lnTo>
                    <a:pt x="670" y="78"/>
                  </a:lnTo>
                  <a:lnTo>
                    <a:pt x="624" y="122"/>
                  </a:lnTo>
                  <a:lnTo>
                    <a:pt x="579" y="76"/>
                  </a:lnTo>
                  <a:lnTo>
                    <a:pt x="624" y="31"/>
                  </a:lnTo>
                  <a:close/>
                  <a:moveTo>
                    <a:pt x="765" y="141"/>
                  </a:moveTo>
                  <a:lnTo>
                    <a:pt x="764" y="137"/>
                  </a:lnTo>
                  <a:lnTo>
                    <a:pt x="760" y="132"/>
                  </a:lnTo>
                  <a:lnTo>
                    <a:pt x="634" y="3"/>
                  </a:lnTo>
                  <a:lnTo>
                    <a:pt x="629" y="1"/>
                  </a:lnTo>
                  <a:lnTo>
                    <a:pt x="624" y="0"/>
                  </a:lnTo>
                  <a:lnTo>
                    <a:pt x="624" y="0"/>
                  </a:lnTo>
                  <a:lnTo>
                    <a:pt x="624" y="0"/>
                  </a:lnTo>
                  <a:lnTo>
                    <a:pt x="620" y="1"/>
                  </a:lnTo>
                  <a:lnTo>
                    <a:pt x="615" y="3"/>
                  </a:lnTo>
                  <a:lnTo>
                    <a:pt x="552" y="67"/>
                  </a:lnTo>
                  <a:lnTo>
                    <a:pt x="451" y="168"/>
                  </a:lnTo>
                  <a:lnTo>
                    <a:pt x="432" y="161"/>
                  </a:lnTo>
                  <a:lnTo>
                    <a:pt x="411" y="157"/>
                  </a:lnTo>
                  <a:lnTo>
                    <a:pt x="391" y="154"/>
                  </a:lnTo>
                  <a:lnTo>
                    <a:pt x="369" y="153"/>
                  </a:lnTo>
                  <a:lnTo>
                    <a:pt x="357" y="153"/>
                  </a:lnTo>
                  <a:lnTo>
                    <a:pt x="345" y="154"/>
                  </a:lnTo>
                  <a:lnTo>
                    <a:pt x="333" y="156"/>
                  </a:lnTo>
                  <a:lnTo>
                    <a:pt x="321" y="158"/>
                  </a:lnTo>
                  <a:lnTo>
                    <a:pt x="309" y="160"/>
                  </a:lnTo>
                  <a:lnTo>
                    <a:pt x="298" y="163"/>
                  </a:lnTo>
                  <a:lnTo>
                    <a:pt x="287" y="168"/>
                  </a:lnTo>
                  <a:lnTo>
                    <a:pt x="275" y="172"/>
                  </a:lnTo>
                  <a:lnTo>
                    <a:pt x="264" y="176"/>
                  </a:lnTo>
                  <a:lnTo>
                    <a:pt x="255" y="182"/>
                  </a:lnTo>
                  <a:lnTo>
                    <a:pt x="244" y="188"/>
                  </a:lnTo>
                  <a:lnTo>
                    <a:pt x="234" y="195"/>
                  </a:lnTo>
                  <a:lnTo>
                    <a:pt x="225" y="201"/>
                  </a:lnTo>
                  <a:lnTo>
                    <a:pt x="216" y="209"/>
                  </a:lnTo>
                  <a:lnTo>
                    <a:pt x="207" y="216"/>
                  </a:lnTo>
                  <a:lnTo>
                    <a:pt x="199" y="224"/>
                  </a:lnTo>
                  <a:lnTo>
                    <a:pt x="190" y="232"/>
                  </a:lnTo>
                  <a:lnTo>
                    <a:pt x="183" y="241"/>
                  </a:lnTo>
                  <a:lnTo>
                    <a:pt x="176" y="250"/>
                  </a:lnTo>
                  <a:lnTo>
                    <a:pt x="169" y="260"/>
                  </a:lnTo>
                  <a:lnTo>
                    <a:pt x="162" y="270"/>
                  </a:lnTo>
                  <a:lnTo>
                    <a:pt x="157" y="279"/>
                  </a:lnTo>
                  <a:lnTo>
                    <a:pt x="152" y="290"/>
                  </a:lnTo>
                  <a:lnTo>
                    <a:pt x="146" y="301"/>
                  </a:lnTo>
                  <a:lnTo>
                    <a:pt x="142" y="312"/>
                  </a:lnTo>
                  <a:lnTo>
                    <a:pt x="139" y="323"/>
                  </a:lnTo>
                  <a:lnTo>
                    <a:pt x="135" y="334"/>
                  </a:lnTo>
                  <a:lnTo>
                    <a:pt x="132" y="346"/>
                  </a:lnTo>
                  <a:lnTo>
                    <a:pt x="130" y="358"/>
                  </a:lnTo>
                  <a:lnTo>
                    <a:pt x="129" y="370"/>
                  </a:lnTo>
                  <a:lnTo>
                    <a:pt x="128" y="383"/>
                  </a:lnTo>
                  <a:lnTo>
                    <a:pt x="128" y="394"/>
                  </a:lnTo>
                  <a:lnTo>
                    <a:pt x="129" y="416"/>
                  </a:lnTo>
                  <a:lnTo>
                    <a:pt x="131" y="437"/>
                  </a:lnTo>
                  <a:lnTo>
                    <a:pt x="136" y="458"/>
                  </a:lnTo>
                  <a:lnTo>
                    <a:pt x="142" y="477"/>
                  </a:lnTo>
                  <a:lnTo>
                    <a:pt x="4" y="613"/>
                  </a:lnTo>
                  <a:lnTo>
                    <a:pt x="1" y="619"/>
                  </a:lnTo>
                  <a:lnTo>
                    <a:pt x="0" y="624"/>
                  </a:lnTo>
                  <a:lnTo>
                    <a:pt x="0" y="751"/>
                  </a:lnTo>
                  <a:lnTo>
                    <a:pt x="1" y="756"/>
                  </a:lnTo>
                  <a:lnTo>
                    <a:pt x="4" y="760"/>
                  </a:lnTo>
                  <a:lnTo>
                    <a:pt x="8" y="763"/>
                  </a:lnTo>
                  <a:lnTo>
                    <a:pt x="13" y="764"/>
                  </a:lnTo>
                  <a:lnTo>
                    <a:pt x="142" y="764"/>
                  </a:lnTo>
                  <a:lnTo>
                    <a:pt x="146" y="763"/>
                  </a:lnTo>
                  <a:lnTo>
                    <a:pt x="150" y="760"/>
                  </a:lnTo>
                  <a:lnTo>
                    <a:pt x="288" y="623"/>
                  </a:lnTo>
                  <a:lnTo>
                    <a:pt x="307" y="628"/>
                  </a:lnTo>
                  <a:lnTo>
                    <a:pt x="328" y="633"/>
                  </a:lnTo>
                  <a:lnTo>
                    <a:pt x="348" y="636"/>
                  </a:lnTo>
                  <a:lnTo>
                    <a:pt x="369" y="637"/>
                  </a:lnTo>
                  <a:lnTo>
                    <a:pt x="382" y="636"/>
                  </a:lnTo>
                  <a:lnTo>
                    <a:pt x="394" y="635"/>
                  </a:lnTo>
                  <a:lnTo>
                    <a:pt x="406" y="634"/>
                  </a:lnTo>
                  <a:lnTo>
                    <a:pt x="418" y="632"/>
                  </a:lnTo>
                  <a:lnTo>
                    <a:pt x="430" y="628"/>
                  </a:lnTo>
                  <a:lnTo>
                    <a:pt x="441" y="625"/>
                  </a:lnTo>
                  <a:lnTo>
                    <a:pt x="452" y="622"/>
                  </a:lnTo>
                  <a:lnTo>
                    <a:pt x="464" y="618"/>
                  </a:lnTo>
                  <a:lnTo>
                    <a:pt x="475" y="612"/>
                  </a:lnTo>
                  <a:lnTo>
                    <a:pt x="484" y="607"/>
                  </a:lnTo>
                  <a:lnTo>
                    <a:pt x="495" y="602"/>
                  </a:lnTo>
                  <a:lnTo>
                    <a:pt x="505" y="595"/>
                  </a:lnTo>
                  <a:lnTo>
                    <a:pt x="514" y="589"/>
                  </a:lnTo>
                  <a:lnTo>
                    <a:pt x="523" y="581"/>
                  </a:lnTo>
                  <a:lnTo>
                    <a:pt x="532" y="574"/>
                  </a:lnTo>
                  <a:lnTo>
                    <a:pt x="540" y="566"/>
                  </a:lnTo>
                  <a:lnTo>
                    <a:pt x="549" y="558"/>
                  </a:lnTo>
                  <a:lnTo>
                    <a:pt x="556" y="549"/>
                  </a:lnTo>
                  <a:lnTo>
                    <a:pt x="564" y="539"/>
                  </a:lnTo>
                  <a:lnTo>
                    <a:pt x="570" y="530"/>
                  </a:lnTo>
                  <a:lnTo>
                    <a:pt x="577" y="520"/>
                  </a:lnTo>
                  <a:lnTo>
                    <a:pt x="582" y="510"/>
                  </a:lnTo>
                  <a:lnTo>
                    <a:pt x="587" y="500"/>
                  </a:lnTo>
                  <a:lnTo>
                    <a:pt x="593" y="489"/>
                  </a:lnTo>
                  <a:lnTo>
                    <a:pt x="597" y="478"/>
                  </a:lnTo>
                  <a:lnTo>
                    <a:pt x="600" y="466"/>
                  </a:lnTo>
                  <a:lnTo>
                    <a:pt x="604" y="456"/>
                  </a:lnTo>
                  <a:lnTo>
                    <a:pt x="607" y="444"/>
                  </a:lnTo>
                  <a:lnTo>
                    <a:pt x="609" y="432"/>
                  </a:lnTo>
                  <a:lnTo>
                    <a:pt x="610" y="419"/>
                  </a:lnTo>
                  <a:lnTo>
                    <a:pt x="611" y="407"/>
                  </a:lnTo>
                  <a:lnTo>
                    <a:pt x="611" y="394"/>
                  </a:lnTo>
                  <a:lnTo>
                    <a:pt x="610" y="374"/>
                  </a:lnTo>
                  <a:lnTo>
                    <a:pt x="608" y="352"/>
                  </a:lnTo>
                  <a:lnTo>
                    <a:pt x="604" y="333"/>
                  </a:lnTo>
                  <a:lnTo>
                    <a:pt x="597" y="313"/>
                  </a:lnTo>
                  <a:lnTo>
                    <a:pt x="697" y="213"/>
                  </a:lnTo>
                  <a:lnTo>
                    <a:pt x="697" y="213"/>
                  </a:lnTo>
                  <a:lnTo>
                    <a:pt x="697" y="213"/>
                  </a:lnTo>
                  <a:lnTo>
                    <a:pt x="760" y="151"/>
                  </a:lnTo>
                  <a:lnTo>
                    <a:pt x="762" y="148"/>
                  </a:lnTo>
                  <a:lnTo>
                    <a:pt x="764" y="146"/>
                  </a:lnTo>
                  <a:lnTo>
                    <a:pt x="764" y="144"/>
                  </a:lnTo>
                  <a:lnTo>
                    <a:pt x="765" y="14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23" name="Freeform 144">
              <a:extLst>
                <a:ext uri="{FF2B5EF4-FFF2-40B4-BE49-F238E27FC236}">
                  <a16:creationId xmlns:a16="http://schemas.microsoft.com/office/drawing/2014/main" id="{B8CAC928-44AE-4770-9B0C-2C2A07BEC735}"/>
                </a:ext>
              </a:extLst>
            </p:cNvPr>
            <p:cNvSpPr>
              <a:spLocks/>
            </p:cNvSpPr>
            <p:nvPr/>
          </p:nvSpPr>
          <p:spPr bwMode="auto">
            <a:xfrm>
              <a:off x="4010026" y="4706938"/>
              <a:ext cx="12700" cy="12700"/>
            </a:xfrm>
            <a:custGeom>
              <a:avLst/>
              <a:gdLst>
                <a:gd name="T0" fmla="*/ 16 w 32"/>
                <a:gd name="T1" fmla="*/ 0 h 32"/>
                <a:gd name="T2" fmla="*/ 12 w 32"/>
                <a:gd name="T3" fmla="*/ 0 h 32"/>
                <a:gd name="T4" fmla="*/ 9 w 32"/>
                <a:gd name="T5" fmla="*/ 1 h 32"/>
                <a:gd name="T6" fmla="*/ 6 w 32"/>
                <a:gd name="T7" fmla="*/ 3 h 32"/>
                <a:gd name="T8" fmla="*/ 4 w 32"/>
                <a:gd name="T9" fmla="*/ 5 h 32"/>
                <a:gd name="T10" fmla="*/ 2 w 32"/>
                <a:gd name="T11" fmla="*/ 8 h 32"/>
                <a:gd name="T12" fmla="*/ 1 w 32"/>
                <a:gd name="T13" fmla="*/ 10 h 32"/>
                <a:gd name="T14" fmla="*/ 0 w 32"/>
                <a:gd name="T15" fmla="*/ 13 h 32"/>
                <a:gd name="T16" fmla="*/ 0 w 32"/>
                <a:gd name="T17" fmla="*/ 16 h 32"/>
                <a:gd name="T18" fmla="*/ 0 w 32"/>
                <a:gd name="T19" fmla="*/ 19 h 32"/>
                <a:gd name="T20" fmla="*/ 1 w 32"/>
                <a:gd name="T21" fmla="*/ 23 h 32"/>
                <a:gd name="T22" fmla="*/ 2 w 32"/>
                <a:gd name="T23" fmla="*/ 26 h 32"/>
                <a:gd name="T24" fmla="*/ 4 w 32"/>
                <a:gd name="T25" fmla="*/ 28 h 32"/>
                <a:gd name="T26" fmla="*/ 6 w 32"/>
                <a:gd name="T27" fmla="*/ 29 h 32"/>
                <a:gd name="T28" fmla="*/ 9 w 32"/>
                <a:gd name="T29" fmla="*/ 31 h 32"/>
                <a:gd name="T30" fmla="*/ 12 w 32"/>
                <a:gd name="T31" fmla="*/ 31 h 32"/>
                <a:gd name="T32" fmla="*/ 16 w 32"/>
                <a:gd name="T33" fmla="*/ 32 h 32"/>
                <a:gd name="T34" fmla="*/ 19 w 32"/>
                <a:gd name="T35" fmla="*/ 31 h 32"/>
                <a:gd name="T36" fmla="*/ 22 w 32"/>
                <a:gd name="T37" fmla="*/ 31 h 32"/>
                <a:gd name="T38" fmla="*/ 24 w 32"/>
                <a:gd name="T39" fmla="*/ 29 h 32"/>
                <a:gd name="T40" fmla="*/ 26 w 32"/>
                <a:gd name="T41" fmla="*/ 28 h 32"/>
                <a:gd name="T42" fmla="*/ 29 w 32"/>
                <a:gd name="T43" fmla="*/ 26 h 32"/>
                <a:gd name="T44" fmla="*/ 30 w 32"/>
                <a:gd name="T45" fmla="*/ 23 h 32"/>
                <a:gd name="T46" fmla="*/ 31 w 32"/>
                <a:gd name="T47" fmla="*/ 19 h 32"/>
                <a:gd name="T48" fmla="*/ 32 w 32"/>
                <a:gd name="T49" fmla="*/ 16 h 32"/>
                <a:gd name="T50" fmla="*/ 31 w 32"/>
                <a:gd name="T51" fmla="*/ 13 h 32"/>
                <a:gd name="T52" fmla="*/ 30 w 32"/>
                <a:gd name="T53" fmla="*/ 10 h 32"/>
                <a:gd name="T54" fmla="*/ 29 w 32"/>
                <a:gd name="T55" fmla="*/ 8 h 32"/>
                <a:gd name="T56" fmla="*/ 26 w 32"/>
                <a:gd name="T57" fmla="*/ 5 h 32"/>
                <a:gd name="T58" fmla="*/ 24 w 32"/>
                <a:gd name="T59" fmla="*/ 3 h 32"/>
                <a:gd name="T60" fmla="*/ 22 w 32"/>
                <a:gd name="T61" fmla="*/ 1 h 32"/>
                <a:gd name="T62" fmla="*/ 19 w 32"/>
                <a:gd name="T63" fmla="*/ 0 h 32"/>
                <a:gd name="T64" fmla="*/ 16 w 32"/>
                <a:gd name="T6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2">
                  <a:moveTo>
                    <a:pt x="16" y="0"/>
                  </a:moveTo>
                  <a:lnTo>
                    <a:pt x="12" y="0"/>
                  </a:lnTo>
                  <a:lnTo>
                    <a:pt x="9" y="1"/>
                  </a:lnTo>
                  <a:lnTo>
                    <a:pt x="6" y="3"/>
                  </a:lnTo>
                  <a:lnTo>
                    <a:pt x="4" y="5"/>
                  </a:lnTo>
                  <a:lnTo>
                    <a:pt x="2" y="8"/>
                  </a:lnTo>
                  <a:lnTo>
                    <a:pt x="1" y="10"/>
                  </a:lnTo>
                  <a:lnTo>
                    <a:pt x="0" y="13"/>
                  </a:lnTo>
                  <a:lnTo>
                    <a:pt x="0" y="16"/>
                  </a:lnTo>
                  <a:lnTo>
                    <a:pt x="0" y="19"/>
                  </a:lnTo>
                  <a:lnTo>
                    <a:pt x="1" y="23"/>
                  </a:lnTo>
                  <a:lnTo>
                    <a:pt x="2" y="26"/>
                  </a:lnTo>
                  <a:lnTo>
                    <a:pt x="4" y="28"/>
                  </a:lnTo>
                  <a:lnTo>
                    <a:pt x="6" y="29"/>
                  </a:lnTo>
                  <a:lnTo>
                    <a:pt x="9" y="31"/>
                  </a:lnTo>
                  <a:lnTo>
                    <a:pt x="12" y="31"/>
                  </a:lnTo>
                  <a:lnTo>
                    <a:pt x="16" y="32"/>
                  </a:lnTo>
                  <a:lnTo>
                    <a:pt x="19" y="31"/>
                  </a:lnTo>
                  <a:lnTo>
                    <a:pt x="22" y="31"/>
                  </a:lnTo>
                  <a:lnTo>
                    <a:pt x="24" y="29"/>
                  </a:lnTo>
                  <a:lnTo>
                    <a:pt x="26" y="28"/>
                  </a:lnTo>
                  <a:lnTo>
                    <a:pt x="29" y="26"/>
                  </a:lnTo>
                  <a:lnTo>
                    <a:pt x="30" y="23"/>
                  </a:lnTo>
                  <a:lnTo>
                    <a:pt x="31" y="19"/>
                  </a:lnTo>
                  <a:lnTo>
                    <a:pt x="32" y="16"/>
                  </a:lnTo>
                  <a:lnTo>
                    <a:pt x="31" y="13"/>
                  </a:lnTo>
                  <a:lnTo>
                    <a:pt x="30" y="10"/>
                  </a:lnTo>
                  <a:lnTo>
                    <a:pt x="29" y="8"/>
                  </a:lnTo>
                  <a:lnTo>
                    <a:pt x="26" y="5"/>
                  </a:lnTo>
                  <a:lnTo>
                    <a:pt x="24" y="3"/>
                  </a:lnTo>
                  <a:lnTo>
                    <a:pt x="22" y="1"/>
                  </a:lnTo>
                  <a:lnTo>
                    <a:pt x="19" y="0"/>
                  </a:lnTo>
                  <a:lnTo>
                    <a:pt x="16"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4" name="Freeform 145">
              <a:extLst>
                <a:ext uri="{FF2B5EF4-FFF2-40B4-BE49-F238E27FC236}">
                  <a16:creationId xmlns:a16="http://schemas.microsoft.com/office/drawing/2014/main" id="{5F334065-1401-44F4-ABB9-2421AE826DCA}"/>
                </a:ext>
              </a:extLst>
            </p:cNvPr>
            <p:cNvSpPr>
              <a:spLocks/>
            </p:cNvSpPr>
            <p:nvPr/>
          </p:nvSpPr>
          <p:spPr bwMode="auto">
            <a:xfrm>
              <a:off x="4029076" y="4686301"/>
              <a:ext cx="14288" cy="14288"/>
            </a:xfrm>
            <a:custGeom>
              <a:avLst/>
              <a:gdLst>
                <a:gd name="T0" fmla="*/ 16 w 32"/>
                <a:gd name="T1" fmla="*/ 0 h 33"/>
                <a:gd name="T2" fmla="*/ 13 w 32"/>
                <a:gd name="T3" fmla="*/ 0 h 33"/>
                <a:gd name="T4" fmla="*/ 10 w 32"/>
                <a:gd name="T5" fmla="*/ 1 h 33"/>
                <a:gd name="T6" fmla="*/ 6 w 32"/>
                <a:gd name="T7" fmla="*/ 3 h 33"/>
                <a:gd name="T8" fmla="*/ 4 w 32"/>
                <a:gd name="T9" fmla="*/ 4 h 33"/>
                <a:gd name="T10" fmla="*/ 2 w 32"/>
                <a:gd name="T11" fmla="*/ 7 h 33"/>
                <a:gd name="T12" fmla="*/ 1 w 32"/>
                <a:gd name="T13" fmla="*/ 9 h 33"/>
                <a:gd name="T14" fmla="*/ 0 w 32"/>
                <a:gd name="T15" fmla="*/ 13 h 33"/>
                <a:gd name="T16" fmla="*/ 0 w 32"/>
                <a:gd name="T17" fmla="*/ 16 h 33"/>
                <a:gd name="T18" fmla="*/ 0 w 32"/>
                <a:gd name="T19" fmla="*/ 19 h 33"/>
                <a:gd name="T20" fmla="*/ 1 w 32"/>
                <a:gd name="T21" fmla="*/ 22 h 33"/>
                <a:gd name="T22" fmla="*/ 2 w 32"/>
                <a:gd name="T23" fmla="*/ 26 h 33"/>
                <a:gd name="T24" fmla="*/ 4 w 32"/>
                <a:gd name="T25" fmla="*/ 28 h 33"/>
                <a:gd name="T26" fmla="*/ 6 w 32"/>
                <a:gd name="T27" fmla="*/ 30 h 33"/>
                <a:gd name="T28" fmla="*/ 10 w 32"/>
                <a:gd name="T29" fmla="*/ 31 h 33"/>
                <a:gd name="T30" fmla="*/ 13 w 32"/>
                <a:gd name="T31" fmla="*/ 32 h 33"/>
                <a:gd name="T32" fmla="*/ 16 w 32"/>
                <a:gd name="T33" fmla="*/ 33 h 33"/>
                <a:gd name="T34" fmla="*/ 19 w 32"/>
                <a:gd name="T35" fmla="*/ 32 h 33"/>
                <a:gd name="T36" fmla="*/ 21 w 32"/>
                <a:gd name="T37" fmla="*/ 31 h 33"/>
                <a:gd name="T38" fmla="*/ 25 w 32"/>
                <a:gd name="T39" fmla="*/ 30 h 33"/>
                <a:gd name="T40" fmla="*/ 27 w 32"/>
                <a:gd name="T41" fmla="*/ 28 h 33"/>
                <a:gd name="T42" fmla="*/ 29 w 32"/>
                <a:gd name="T43" fmla="*/ 26 h 33"/>
                <a:gd name="T44" fmla="*/ 30 w 32"/>
                <a:gd name="T45" fmla="*/ 22 h 33"/>
                <a:gd name="T46" fmla="*/ 31 w 32"/>
                <a:gd name="T47" fmla="*/ 19 h 33"/>
                <a:gd name="T48" fmla="*/ 32 w 32"/>
                <a:gd name="T49" fmla="*/ 16 h 33"/>
                <a:gd name="T50" fmla="*/ 31 w 32"/>
                <a:gd name="T51" fmla="*/ 13 h 33"/>
                <a:gd name="T52" fmla="*/ 30 w 32"/>
                <a:gd name="T53" fmla="*/ 9 h 33"/>
                <a:gd name="T54" fmla="*/ 29 w 32"/>
                <a:gd name="T55" fmla="*/ 7 h 33"/>
                <a:gd name="T56" fmla="*/ 27 w 32"/>
                <a:gd name="T57" fmla="*/ 4 h 33"/>
                <a:gd name="T58" fmla="*/ 25 w 32"/>
                <a:gd name="T59" fmla="*/ 3 h 33"/>
                <a:gd name="T60" fmla="*/ 21 w 32"/>
                <a:gd name="T61" fmla="*/ 1 h 33"/>
                <a:gd name="T62" fmla="*/ 19 w 32"/>
                <a:gd name="T63" fmla="*/ 0 h 33"/>
                <a:gd name="T64" fmla="*/ 16 w 32"/>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3">
                  <a:moveTo>
                    <a:pt x="16" y="0"/>
                  </a:moveTo>
                  <a:lnTo>
                    <a:pt x="13" y="0"/>
                  </a:lnTo>
                  <a:lnTo>
                    <a:pt x="10" y="1"/>
                  </a:lnTo>
                  <a:lnTo>
                    <a:pt x="6" y="3"/>
                  </a:lnTo>
                  <a:lnTo>
                    <a:pt x="4" y="4"/>
                  </a:lnTo>
                  <a:lnTo>
                    <a:pt x="2" y="7"/>
                  </a:lnTo>
                  <a:lnTo>
                    <a:pt x="1" y="9"/>
                  </a:lnTo>
                  <a:lnTo>
                    <a:pt x="0" y="13"/>
                  </a:lnTo>
                  <a:lnTo>
                    <a:pt x="0" y="16"/>
                  </a:lnTo>
                  <a:lnTo>
                    <a:pt x="0" y="19"/>
                  </a:lnTo>
                  <a:lnTo>
                    <a:pt x="1" y="22"/>
                  </a:lnTo>
                  <a:lnTo>
                    <a:pt x="2" y="26"/>
                  </a:lnTo>
                  <a:lnTo>
                    <a:pt x="4" y="28"/>
                  </a:lnTo>
                  <a:lnTo>
                    <a:pt x="6" y="30"/>
                  </a:lnTo>
                  <a:lnTo>
                    <a:pt x="10" y="31"/>
                  </a:lnTo>
                  <a:lnTo>
                    <a:pt x="13" y="32"/>
                  </a:lnTo>
                  <a:lnTo>
                    <a:pt x="16" y="33"/>
                  </a:lnTo>
                  <a:lnTo>
                    <a:pt x="19" y="32"/>
                  </a:lnTo>
                  <a:lnTo>
                    <a:pt x="21" y="31"/>
                  </a:lnTo>
                  <a:lnTo>
                    <a:pt x="25" y="30"/>
                  </a:lnTo>
                  <a:lnTo>
                    <a:pt x="27" y="28"/>
                  </a:lnTo>
                  <a:lnTo>
                    <a:pt x="29" y="26"/>
                  </a:lnTo>
                  <a:lnTo>
                    <a:pt x="30" y="22"/>
                  </a:lnTo>
                  <a:lnTo>
                    <a:pt x="31" y="19"/>
                  </a:lnTo>
                  <a:lnTo>
                    <a:pt x="32" y="16"/>
                  </a:lnTo>
                  <a:lnTo>
                    <a:pt x="31" y="13"/>
                  </a:lnTo>
                  <a:lnTo>
                    <a:pt x="30" y="9"/>
                  </a:lnTo>
                  <a:lnTo>
                    <a:pt x="29" y="7"/>
                  </a:lnTo>
                  <a:lnTo>
                    <a:pt x="27" y="4"/>
                  </a:lnTo>
                  <a:lnTo>
                    <a:pt x="25" y="3"/>
                  </a:lnTo>
                  <a:lnTo>
                    <a:pt x="21" y="1"/>
                  </a:lnTo>
                  <a:lnTo>
                    <a:pt x="19" y="0"/>
                  </a:lnTo>
                  <a:lnTo>
                    <a:pt x="16"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66" name="Group 102">
            <a:extLst>
              <a:ext uri="{FF2B5EF4-FFF2-40B4-BE49-F238E27FC236}">
                <a16:creationId xmlns:a16="http://schemas.microsoft.com/office/drawing/2014/main" id="{7042B60C-CDF4-447C-AF35-59B1C48AA9C2}"/>
              </a:ext>
            </a:extLst>
          </p:cNvPr>
          <p:cNvGrpSpPr>
            <a:grpSpLocks noChangeAspect="1"/>
          </p:cNvGrpSpPr>
          <p:nvPr/>
        </p:nvGrpSpPr>
        <p:grpSpPr>
          <a:xfrm>
            <a:off x="5791954" y="5956111"/>
            <a:ext cx="285619" cy="285619"/>
            <a:chOff x="4753506" y="5419470"/>
            <a:chExt cx="503328" cy="503328"/>
          </a:xfrm>
          <a:solidFill>
            <a:schemeClr val="bg2"/>
          </a:solidFill>
          <a:effectLst/>
        </p:grpSpPr>
        <p:sp>
          <p:nvSpPr>
            <p:cNvPr id="1198" name="Freeform 16">
              <a:extLst>
                <a:ext uri="{FF2B5EF4-FFF2-40B4-BE49-F238E27FC236}">
                  <a16:creationId xmlns:a16="http://schemas.microsoft.com/office/drawing/2014/main" id="{9FDBBCC7-FDFD-4595-AEF5-A74007CDE1D8}"/>
                </a:ext>
              </a:extLst>
            </p:cNvPr>
            <p:cNvSpPr>
              <a:spLocks noEditPoints="1"/>
            </p:cNvSpPr>
            <p:nvPr/>
          </p:nvSpPr>
          <p:spPr bwMode="auto">
            <a:xfrm>
              <a:off x="4977105" y="5568536"/>
              <a:ext cx="185872" cy="223599"/>
            </a:xfrm>
            <a:custGeom>
              <a:avLst/>
              <a:gdLst>
                <a:gd name="T0" fmla="*/ 90 w 608"/>
                <a:gd name="T1" fmla="*/ 352 h 728"/>
                <a:gd name="T2" fmla="*/ 547 w 608"/>
                <a:gd name="T3" fmla="*/ 643 h 728"/>
                <a:gd name="T4" fmla="*/ 547 w 608"/>
                <a:gd name="T5" fmla="*/ 83 h 728"/>
                <a:gd name="T6" fmla="*/ 90 w 608"/>
                <a:gd name="T7" fmla="*/ 352 h 728"/>
                <a:gd name="T8" fmla="*/ 578 w 608"/>
                <a:gd name="T9" fmla="*/ 728 h 728"/>
                <a:gd name="T10" fmla="*/ 569 w 608"/>
                <a:gd name="T11" fmla="*/ 728 h 728"/>
                <a:gd name="T12" fmla="*/ 562 w 608"/>
                <a:gd name="T13" fmla="*/ 724 h 728"/>
                <a:gd name="T14" fmla="*/ 15 w 608"/>
                <a:gd name="T15" fmla="*/ 377 h 728"/>
                <a:gd name="T16" fmla="*/ 9 w 608"/>
                <a:gd name="T17" fmla="*/ 372 h 728"/>
                <a:gd name="T18" fmla="*/ 5 w 608"/>
                <a:gd name="T19" fmla="*/ 367 h 728"/>
                <a:gd name="T20" fmla="*/ 2 w 608"/>
                <a:gd name="T21" fmla="*/ 359 h 728"/>
                <a:gd name="T22" fmla="*/ 0 w 608"/>
                <a:gd name="T23" fmla="*/ 351 h 728"/>
                <a:gd name="T24" fmla="*/ 2 w 608"/>
                <a:gd name="T25" fmla="*/ 344 h 728"/>
                <a:gd name="T26" fmla="*/ 5 w 608"/>
                <a:gd name="T27" fmla="*/ 336 h 728"/>
                <a:gd name="T28" fmla="*/ 9 w 608"/>
                <a:gd name="T29" fmla="*/ 331 h 728"/>
                <a:gd name="T30" fmla="*/ 16 w 608"/>
                <a:gd name="T31" fmla="*/ 325 h 728"/>
                <a:gd name="T32" fmla="*/ 562 w 608"/>
                <a:gd name="T33" fmla="*/ 4 h 728"/>
                <a:gd name="T34" fmla="*/ 571 w 608"/>
                <a:gd name="T35" fmla="*/ 1 h 728"/>
                <a:gd name="T36" fmla="*/ 578 w 608"/>
                <a:gd name="T37" fmla="*/ 0 h 728"/>
                <a:gd name="T38" fmla="*/ 586 w 608"/>
                <a:gd name="T39" fmla="*/ 0 h 728"/>
                <a:gd name="T40" fmla="*/ 594 w 608"/>
                <a:gd name="T41" fmla="*/ 4 h 728"/>
                <a:gd name="T42" fmla="*/ 599 w 608"/>
                <a:gd name="T43" fmla="*/ 8 h 728"/>
                <a:gd name="T44" fmla="*/ 604 w 608"/>
                <a:gd name="T45" fmla="*/ 14 h 728"/>
                <a:gd name="T46" fmla="*/ 608 w 608"/>
                <a:gd name="T47" fmla="*/ 21 h 728"/>
                <a:gd name="T48" fmla="*/ 608 w 608"/>
                <a:gd name="T49" fmla="*/ 30 h 728"/>
                <a:gd name="T50" fmla="*/ 608 w 608"/>
                <a:gd name="T51" fmla="*/ 698 h 728"/>
                <a:gd name="T52" fmla="*/ 608 w 608"/>
                <a:gd name="T53" fmla="*/ 706 h 728"/>
                <a:gd name="T54" fmla="*/ 604 w 608"/>
                <a:gd name="T55" fmla="*/ 714 h 728"/>
                <a:gd name="T56" fmla="*/ 599 w 608"/>
                <a:gd name="T57" fmla="*/ 719 h 728"/>
                <a:gd name="T58" fmla="*/ 592 w 608"/>
                <a:gd name="T59" fmla="*/ 725 h 728"/>
                <a:gd name="T60" fmla="*/ 585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90" y="352"/>
                  </a:moveTo>
                  <a:lnTo>
                    <a:pt x="547" y="643"/>
                  </a:lnTo>
                  <a:lnTo>
                    <a:pt x="547" y="83"/>
                  </a:lnTo>
                  <a:lnTo>
                    <a:pt x="90" y="352"/>
                  </a:lnTo>
                  <a:close/>
                  <a:moveTo>
                    <a:pt x="578" y="728"/>
                  </a:moveTo>
                  <a:lnTo>
                    <a:pt x="569" y="728"/>
                  </a:lnTo>
                  <a:lnTo>
                    <a:pt x="562" y="724"/>
                  </a:lnTo>
                  <a:lnTo>
                    <a:pt x="15" y="377"/>
                  </a:lnTo>
                  <a:lnTo>
                    <a:pt x="9" y="372"/>
                  </a:lnTo>
                  <a:lnTo>
                    <a:pt x="5" y="367"/>
                  </a:lnTo>
                  <a:lnTo>
                    <a:pt x="2" y="359"/>
                  </a:lnTo>
                  <a:lnTo>
                    <a:pt x="0" y="351"/>
                  </a:lnTo>
                  <a:lnTo>
                    <a:pt x="2" y="344"/>
                  </a:lnTo>
                  <a:lnTo>
                    <a:pt x="5" y="336"/>
                  </a:lnTo>
                  <a:lnTo>
                    <a:pt x="9" y="331"/>
                  </a:lnTo>
                  <a:lnTo>
                    <a:pt x="16" y="325"/>
                  </a:lnTo>
                  <a:lnTo>
                    <a:pt x="562" y="4"/>
                  </a:lnTo>
                  <a:lnTo>
                    <a:pt x="571" y="1"/>
                  </a:lnTo>
                  <a:lnTo>
                    <a:pt x="578" y="0"/>
                  </a:lnTo>
                  <a:lnTo>
                    <a:pt x="586" y="0"/>
                  </a:lnTo>
                  <a:lnTo>
                    <a:pt x="594" y="4"/>
                  </a:lnTo>
                  <a:lnTo>
                    <a:pt x="599" y="8"/>
                  </a:lnTo>
                  <a:lnTo>
                    <a:pt x="604" y="14"/>
                  </a:lnTo>
                  <a:lnTo>
                    <a:pt x="608" y="21"/>
                  </a:lnTo>
                  <a:lnTo>
                    <a:pt x="608" y="30"/>
                  </a:lnTo>
                  <a:lnTo>
                    <a:pt x="608" y="698"/>
                  </a:lnTo>
                  <a:lnTo>
                    <a:pt x="608" y="706"/>
                  </a:lnTo>
                  <a:lnTo>
                    <a:pt x="604" y="714"/>
                  </a:lnTo>
                  <a:lnTo>
                    <a:pt x="599" y="719"/>
                  </a:lnTo>
                  <a:lnTo>
                    <a:pt x="592" y="725"/>
                  </a:lnTo>
                  <a:lnTo>
                    <a:pt x="585"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9" name="Freeform 17">
              <a:extLst>
                <a:ext uri="{FF2B5EF4-FFF2-40B4-BE49-F238E27FC236}">
                  <a16:creationId xmlns:a16="http://schemas.microsoft.com/office/drawing/2014/main" id="{221B116C-685D-43D7-8F70-7246AAEAF7E1}"/>
                </a:ext>
              </a:extLst>
            </p:cNvPr>
            <p:cNvSpPr>
              <a:spLocks noEditPoints="1"/>
            </p:cNvSpPr>
            <p:nvPr/>
          </p:nvSpPr>
          <p:spPr bwMode="auto">
            <a:xfrm>
              <a:off x="4808715" y="5568536"/>
              <a:ext cx="186792" cy="223599"/>
            </a:xfrm>
            <a:custGeom>
              <a:avLst/>
              <a:gdLst>
                <a:gd name="T0" fmla="*/ 89 w 608"/>
                <a:gd name="T1" fmla="*/ 352 h 728"/>
                <a:gd name="T2" fmla="*/ 547 w 608"/>
                <a:gd name="T3" fmla="*/ 643 h 728"/>
                <a:gd name="T4" fmla="*/ 547 w 608"/>
                <a:gd name="T5" fmla="*/ 83 h 728"/>
                <a:gd name="T6" fmla="*/ 89 w 608"/>
                <a:gd name="T7" fmla="*/ 352 h 728"/>
                <a:gd name="T8" fmla="*/ 578 w 608"/>
                <a:gd name="T9" fmla="*/ 728 h 728"/>
                <a:gd name="T10" fmla="*/ 569 w 608"/>
                <a:gd name="T11" fmla="*/ 728 h 728"/>
                <a:gd name="T12" fmla="*/ 562 w 608"/>
                <a:gd name="T13" fmla="*/ 724 h 728"/>
                <a:gd name="T14" fmla="*/ 14 w 608"/>
                <a:gd name="T15" fmla="*/ 377 h 728"/>
                <a:gd name="T16" fmla="*/ 9 w 608"/>
                <a:gd name="T17" fmla="*/ 372 h 728"/>
                <a:gd name="T18" fmla="*/ 4 w 608"/>
                <a:gd name="T19" fmla="*/ 367 h 728"/>
                <a:gd name="T20" fmla="*/ 2 w 608"/>
                <a:gd name="T21" fmla="*/ 359 h 728"/>
                <a:gd name="T22" fmla="*/ 0 w 608"/>
                <a:gd name="T23" fmla="*/ 351 h 728"/>
                <a:gd name="T24" fmla="*/ 2 w 608"/>
                <a:gd name="T25" fmla="*/ 344 h 728"/>
                <a:gd name="T26" fmla="*/ 4 w 608"/>
                <a:gd name="T27" fmla="*/ 336 h 728"/>
                <a:gd name="T28" fmla="*/ 9 w 608"/>
                <a:gd name="T29" fmla="*/ 331 h 728"/>
                <a:gd name="T30" fmla="*/ 16 w 608"/>
                <a:gd name="T31" fmla="*/ 325 h 728"/>
                <a:gd name="T32" fmla="*/ 563 w 608"/>
                <a:gd name="T33" fmla="*/ 4 h 728"/>
                <a:gd name="T34" fmla="*/ 570 w 608"/>
                <a:gd name="T35" fmla="*/ 1 h 728"/>
                <a:gd name="T36" fmla="*/ 578 w 608"/>
                <a:gd name="T37" fmla="*/ 0 h 728"/>
                <a:gd name="T38" fmla="*/ 586 w 608"/>
                <a:gd name="T39" fmla="*/ 0 h 728"/>
                <a:gd name="T40" fmla="*/ 593 w 608"/>
                <a:gd name="T41" fmla="*/ 4 h 728"/>
                <a:gd name="T42" fmla="*/ 599 w 608"/>
                <a:gd name="T43" fmla="*/ 8 h 728"/>
                <a:gd name="T44" fmla="*/ 605 w 608"/>
                <a:gd name="T45" fmla="*/ 14 h 728"/>
                <a:gd name="T46" fmla="*/ 608 w 608"/>
                <a:gd name="T47" fmla="*/ 21 h 728"/>
                <a:gd name="T48" fmla="*/ 608 w 608"/>
                <a:gd name="T49" fmla="*/ 30 h 728"/>
                <a:gd name="T50" fmla="*/ 608 w 608"/>
                <a:gd name="T51" fmla="*/ 698 h 728"/>
                <a:gd name="T52" fmla="*/ 608 w 608"/>
                <a:gd name="T53" fmla="*/ 706 h 728"/>
                <a:gd name="T54" fmla="*/ 603 w 608"/>
                <a:gd name="T55" fmla="*/ 714 h 728"/>
                <a:gd name="T56" fmla="*/ 599 w 608"/>
                <a:gd name="T57" fmla="*/ 719 h 728"/>
                <a:gd name="T58" fmla="*/ 592 w 608"/>
                <a:gd name="T59" fmla="*/ 725 h 728"/>
                <a:gd name="T60" fmla="*/ 585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89" y="352"/>
                  </a:moveTo>
                  <a:lnTo>
                    <a:pt x="547" y="643"/>
                  </a:lnTo>
                  <a:lnTo>
                    <a:pt x="547" y="83"/>
                  </a:lnTo>
                  <a:lnTo>
                    <a:pt x="89" y="352"/>
                  </a:lnTo>
                  <a:close/>
                  <a:moveTo>
                    <a:pt x="578" y="728"/>
                  </a:moveTo>
                  <a:lnTo>
                    <a:pt x="569" y="728"/>
                  </a:lnTo>
                  <a:lnTo>
                    <a:pt x="562" y="724"/>
                  </a:lnTo>
                  <a:lnTo>
                    <a:pt x="14" y="377"/>
                  </a:lnTo>
                  <a:lnTo>
                    <a:pt x="9" y="372"/>
                  </a:lnTo>
                  <a:lnTo>
                    <a:pt x="4" y="367"/>
                  </a:lnTo>
                  <a:lnTo>
                    <a:pt x="2" y="359"/>
                  </a:lnTo>
                  <a:lnTo>
                    <a:pt x="0" y="351"/>
                  </a:lnTo>
                  <a:lnTo>
                    <a:pt x="2" y="344"/>
                  </a:lnTo>
                  <a:lnTo>
                    <a:pt x="4" y="336"/>
                  </a:lnTo>
                  <a:lnTo>
                    <a:pt x="9" y="331"/>
                  </a:lnTo>
                  <a:lnTo>
                    <a:pt x="16" y="325"/>
                  </a:lnTo>
                  <a:lnTo>
                    <a:pt x="563" y="4"/>
                  </a:lnTo>
                  <a:lnTo>
                    <a:pt x="570" y="1"/>
                  </a:lnTo>
                  <a:lnTo>
                    <a:pt x="578" y="0"/>
                  </a:lnTo>
                  <a:lnTo>
                    <a:pt x="586" y="0"/>
                  </a:lnTo>
                  <a:lnTo>
                    <a:pt x="593" y="4"/>
                  </a:lnTo>
                  <a:lnTo>
                    <a:pt x="599" y="8"/>
                  </a:lnTo>
                  <a:lnTo>
                    <a:pt x="605" y="14"/>
                  </a:lnTo>
                  <a:lnTo>
                    <a:pt x="608" y="21"/>
                  </a:lnTo>
                  <a:lnTo>
                    <a:pt x="608" y="30"/>
                  </a:lnTo>
                  <a:lnTo>
                    <a:pt x="608" y="698"/>
                  </a:lnTo>
                  <a:lnTo>
                    <a:pt x="608" y="706"/>
                  </a:lnTo>
                  <a:lnTo>
                    <a:pt x="603" y="714"/>
                  </a:lnTo>
                  <a:lnTo>
                    <a:pt x="599" y="719"/>
                  </a:lnTo>
                  <a:lnTo>
                    <a:pt x="592" y="725"/>
                  </a:lnTo>
                  <a:lnTo>
                    <a:pt x="585"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0" name="Freeform 18">
              <a:extLst>
                <a:ext uri="{FF2B5EF4-FFF2-40B4-BE49-F238E27FC236}">
                  <a16:creationId xmlns:a16="http://schemas.microsoft.com/office/drawing/2014/main" id="{16ADC0C5-5E45-4A86-8095-5EDF8C0C2D81}"/>
                </a:ext>
              </a:extLst>
            </p:cNvPr>
            <p:cNvSpPr>
              <a:spLocks noEditPoints="1"/>
            </p:cNvSpPr>
            <p:nvPr/>
          </p:nvSpPr>
          <p:spPr bwMode="auto">
            <a:xfrm>
              <a:off x="4753506" y="5419470"/>
              <a:ext cx="503328" cy="503328"/>
            </a:xfrm>
            <a:custGeom>
              <a:avLst/>
              <a:gdLst>
                <a:gd name="T0" fmla="*/ 666 w 1640"/>
                <a:gd name="T1" fmla="*/ 76 h 1641"/>
                <a:gd name="T2" fmla="*/ 491 w 1640"/>
                <a:gd name="T3" fmla="*/ 135 h 1641"/>
                <a:gd name="T4" fmla="*/ 337 w 1640"/>
                <a:gd name="T5" fmla="*/ 235 h 1641"/>
                <a:gd name="T6" fmla="*/ 211 w 1640"/>
                <a:gd name="T7" fmla="*/ 366 h 1641"/>
                <a:gd name="T8" fmla="*/ 119 w 1640"/>
                <a:gd name="T9" fmla="*/ 525 h 1641"/>
                <a:gd name="T10" fmla="*/ 69 w 1640"/>
                <a:gd name="T11" fmla="*/ 705 h 1641"/>
                <a:gd name="T12" fmla="*/ 63 w 1640"/>
                <a:gd name="T13" fmla="*/ 898 h 1641"/>
                <a:gd name="T14" fmla="*/ 106 w 1640"/>
                <a:gd name="T15" fmla="*/ 1081 h 1641"/>
                <a:gd name="T16" fmla="*/ 190 w 1640"/>
                <a:gd name="T17" fmla="*/ 1245 h 1641"/>
                <a:gd name="T18" fmla="*/ 309 w 1640"/>
                <a:gd name="T19" fmla="*/ 1383 h 1641"/>
                <a:gd name="T20" fmla="*/ 458 w 1640"/>
                <a:gd name="T21" fmla="*/ 1488 h 1641"/>
                <a:gd name="T22" fmla="*/ 630 w 1640"/>
                <a:gd name="T23" fmla="*/ 1556 h 1641"/>
                <a:gd name="T24" fmla="*/ 819 w 1640"/>
                <a:gd name="T25" fmla="*/ 1581 h 1641"/>
                <a:gd name="T26" fmla="*/ 1009 w 1640"/>
                <a:gd name="T27" fmla="*/ 1556 h 1641"/>
                <a:gd name="T28" fmla="*/ 1182 w 1640"/>
                <a:gd name="T29" fmla="*/ 1488 h 1641"/>
                <a:gd name="T30" fmla="*/ 1330 w 1640"/>
                <a:gd name="T31" fmla="*/ 1383 h 1641"/>
                <a:gd name="T32" fmla="*/ 1450 w 1640"/>
                <a:gd name="T33" fmla="*/ 1245 h 1641"/>
                <a:gd name="T34" fmla="*/ 1533 w 1640"/>
                <a:gd name="T35" fmla="*/ 1081 h 1641"/>
                <a:gd name="T36" fmla="*/ 1575 w 1640"/>
                <a:gd name="T37" fmla="*/ 898 h 1641"/>
                <a:gd name="T38" fmla="*/ 1571 w 1640"/>
                <a:gd name="T39" fmla="*/ 705 h 1641"/>
                <a:gd name="T40" fmla="*/ 1520 w 1640"/>
                <a:gd name="T41" fmla="*/ 525 h 1641"/>
                <a:gd name="T42" fmla="*/ 1428 w 1640"/>
                <a:gd name="T43" fmla="*/ 366 h 1641"/>
                <a:gd name="T44" fmla="*/ 1303 w 1640"/>
                <a:gd name="T45" fmla="*/ 235 h 1641"/>
                <a:gd name="T46" fmla="*/ 1149 w 1640"/>
                <a:gd name="T47" fmla="*/ 135 h 1641"/>
                <a:gd name="T48" fmla="*/ 973 w 1640"/>
                <a:gd name="T49" fmla="*/ 76 h 1641"/>
                <a:gd name="T50" fmla="*/ 819 w 1640"/>
                <a:gd name="T51" fmla="*/ 1641 h 1641"/>
                <a:gd name="T52" fmla="*/ 615 w 1640"/>
                <a:gd name="T53" fmla="*/ 1615 h 1641"/>
                <a:gd name="T54" fmla="*/ 429 w 1640"/>
                <a:gd name="T55" fmla="*/ 1542 h 1641"/>
                <a:gd name="T56" fmla="*/ 267 w 1640"/>
                <a:gd name="T57" fmla="*/ 1428 h 1641"/>
                <a:gd name="T58" fmla="*/ 139 w 1640"/>
                <a:gd name="T59" fmla="*/ 1278 h 1641"/>
                <a:gd name="T60" fmla="*/ 49 w 1640"/>
                <a:gd name="T61" fmla="*/ 1103 h 1641"/>
                <a:gd name="T62" fmla="*/ 3 w 1640"/>
                <a:gd name="T63" fmla="*/ 904 h 1641"/>
                <a:gd name="T64" fmla="*/ 8 w 1640"/>
                <a:gd name="T65" fmla="*/ 695 h 1641"/>
                <a:gd name="T66" fmla="*/ 63 w 1640"/>
                <a:gd name="T67" fmla="*/ 501 h 1641"/>
                <a:gd name="T68" fmla="*/ 162 w 1640"/>
                <a:gd name="T69" fmla="*/ 330 h 1641"/>
                <a:gd name="T70" fmla="*/ 298 w 1640"/>
                <a:gd name="T71" fmla="*/ 187 h 1641"/>
                <a:gd name="T72" fmla="*/ 465 w 1640"/>
                <a:gd name="T73" fmla="*/ 81 h 1641"/>
                <a:gd name="T74" fmla="*/ 655 w 1640"/>
                <a:gd name="T75" fmla="*/ 17 h 1641"/>
                <a:gd name="T76" fmla="*/ 862 w 1640"/>
                <a:gd name="T77" fmla="*/ 1 h 1641"/>
                <a:gd name="T78" fmla="*/ 1064 w 1640"/>
                <a:gd name="T79" fmla="*/ 37 h 1641"/>
                <a:gd name="T80" fmla="*/ 1245 w 1640"/>
                <a:gd name="T81" fmla="*/ 119 h 1641"/>
                <a:gd name="T82" fmla="*/ 1399 w 1640"/>
                <a:gd name="T83" fmla="*/ 240 h 1641"/>
                <a:gd name="T84" fmla="*/ 1522 w 1640"/>
                <a:gd name="T85" fmla="*/ 396 h 1641"/>
                <a:gd name="T86" fmla="*/ 1604 w 1640"/>
                <a:gd name="T87" fmla="*/ 577 h 1641"/>
                <a:gd name="T88" fmla="*/ 1640 w 1640"/>
                <a:gd name="T89" fmla="*/ 779 h 1641"/>
                <a:gd name="T90" fmla="*/ 1624 w 1640"/>
                <a:gd name="T91" fmla="*/ 986 h 1641"/>
                <a:gd name="T92" fmla="*/ 1559 w 1640"/>
                <a:gd name="T93" fmla="*/ 1176 h 1641"/>
                <a:gd name="T94" fmla="*/ 1453 w 1640"/>
                <a:gd name="T95" fmla="*/ 1342 h 1641"/>
                <a:gd name="T96" fmla="*/ 1310 w 1640"/>
                <a:gd name="T97" fmla="*/ 1478 h 1641"/>
                <a:gd name="T98" fmla="*/ 1139 w 1640"/>
                <a:gd name="T99" fmla="*/ 1576 h 1641"/>
                <a:gd name="T100" fmla="*/ 944 w 1640"/>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0" h="1641">
                  <a:moveTo>
                    <a:pt x="819" y="60"/>
                  </a:moveTo>
                  <a:lnTo>
                    <a:pt x="780" y="62"/>
                  </a:lnTo>
                  <a:lnTo>
                    <a:pt x="743" y="65"/>
                  </a:lnTo>
                  <a:lnTo>
                    <a:pt x="704" y="69"/>
                  </a:lnTo>
                  <a:lnTo>
                    <a:pt x="666" y="76"/>
                  </a:lnTo>
                  <a:lnTo>
                    <a:pt x="630" y="85"/>
                  </a:lnTo>
                  <a:lnTo>
                    <a:pt x="594" y="95"/>
                  </a:lnTo>
                  <a:lnTo>
                    <a:pt x="558" y="107"/>
                  </a:lnTo>
                  <a:lnTo>
                    <a:pt x="524" y="121"/>
                  </a:lnTo>
                  <a:lnTo>
                    <a:pt x="491" y="135"/>
                  </a:lnTo>
                  <a:lnTo>
                    <a:pt x="458" y="153"/>
                  </a:lnTo>
                  <a:lnTo>
                    <a:pt x="426" y="171"/>
                  </a:lnTo>
                  <a:lnTo>
                    <a:pt x="396" y="190"/>
                  </a:lnTo>
                  <a:lnTo>
                    <a:pt x="365" y="212"/>
                  </a:lnTo>
                  <a:lnTo>
                    <a:pt x="337" y="235"/>
                  </a:lnTo>
                  <a:lnTo>
                    <a:pt x="309" y="258"/>
                  </a:lnTo>
                  <a:lnTo>
                    <a:pt x="282" y="284"/>
                  </a:lnTo>
                  <a:lnTo>
                    <a:pt x="257" y="309"/>
                  </a:lnTo>
                  <a:lnTo>
                    <a:pt x="233" y="337"/>
                  </a:lnTo>
                  <a:lnTo>
                    <a:pt x="211" y="366"/>
                  </a:lnTo>
                  <a:lnTo>
                    <a:pt x="190" y="396"/>
                  </a:lnTo>
                  <a:lnTo>
                    <a:pt x="170" y="428"/>
                  </a:lnTo>
                  <a:lnTo>
                    <a:pt x="152" y="459"/>
                  </a:lnTo>
                  <a:lnTo>
                    <a:pt x="135" y="491"/>
                  </a:lnTo>
                  <a:lnTo>
                    <a:pt x="119" y="525"/>
                  </a:lnTo>
                  <a:lnTo>
                    <a:pt x="106" y="560"/>
                  </a:lnTo>
                  <a:lnTo>
                    <a:pt x="95" y="595"/>
                  </a:lnTo>
                  <a:lnTo>
                    <a:pt x="83" y="630"/>
                  </a:lnTo>
                  <a:lnTo>
                    <a:pt x="75" y="668"/>
                  </a:lnTo>
                  <a:lnTo>
                    <a:pt x="69" y="705"/>
                  </a:lnTo>
                  <a:lnTo>
                    <a:pt x="63" y="743"/>
                  </a:lnTo>
                  <a:lnTo>
                    <a:pt x="60" y="782"/>
                  </a:lnTo>
                  <a:lnTo>
                    <a:pt x="60" y="821"/>
                  </a:lnTo>
                  <a:lnTo>
                    <a:pt x="60" y="859"/>
                  </a:lnTo>
                  <a:lnTo>
                    <a:pt x="63" y="898"/>
                  </a:lnTo>
                  <a:lnTo>
                    <a:pt x="69" y="936"/>
                  </a:lnTo>
                  <a:lnTo>
                    <a:pt x="75" y="973"/>
                  </a:lnTo>
                  <a:lnTo>
                    <a:pt x="83" y="1011"/>
                  </a:lnTo>
                  <a:lnTo>
                    <a:pt x="95" y="1046"/>
                  </a:lnTo>
                  <a:lnTo>
                    <a:pt x="106" y="1081"/>
                  </a:lnTo>
                  <a:lnTo>
                    <a:pt x="119" y="1116"/>
                  </a:lnTo>
                  <a:lnTo>
                    <a:pt x="135" y="1150"/>
                  </a:lnTo>
                  <a:lnTo>
                    <a:pt x="152" y="1182"/>
                  </a:lnTo>
                  <a:lnTo>
                    <a:pt x="170" y="1213"/>
                  </a:lnTo>
                  <a:lnTo>
                    <a:pt x="190" y="1245"/>
                  </a:lnTo>
                  <a:lnTo>
                    <a:pt x="211" y="1275"/>
                  </a:lnTo>
                  <a:lnTo>
                    <a:pt x="233" y="1304"/>
                  </a:lnTo>
                  <a:lnTo>
                    <a:pt x="257" y="1332"/>
                  </a:lnTo>
                  <a:lnTo>
                    <a:pt x="282" y="1357"/>
                  </a:lnTo>
                  <a:lnTo>
                    <a:pt x="309" y="1383"/>
                  </a:lnTo>
                  <a:lnTo>
                    <a:pt x="337" y="1406"/>
                  </a:lnTo>
                  <a:lnTo>
                    <a:pt x="365" y="1429"/>
                  </a:lnTo>
                  <a:lnTo>
                    <a:pt x="396" y="1451"/>
                  </a:lnTo>
                  <a:lnTo>
                    <a:pt x="426" y="1470"/>
                  </a:lnTo>
                  <a:lnTo>
                    <a:pt x="458" y="1488"/>
                  </a:lnTo>
                  <a:lnTo>
                    <a:pt x="491" y="1506"/>
                  </a:lnTo>
                  <a:lnTo>
                    <a:pt x="524" y="1520"/>
                  </a:lnTo>
                  <a:lnTo>
                    <a:pt x="558" y="1534"/>
                  </a:lnTo>
                  <a:lnTo>
                    <a:pt x="594" y="1546"/>
                  </a:lnTo>
                  <a:lnTo>
                    <a:pt x="630" y="1556"/>
                  </a:lnTo>
                  <a:lnTo>
                    <a:pt x="666" y="1565"/>
                  </a:lnTo>
                  <a:lnTo>
                    <a:pt x="704" y="1572"/>
                  </a:lnTo>
                  <a:lnTo>
                    <a:pt x="743" y="1576"/>
                  </a:lnTo>
                  <a:lnTo>
                    <a:pt x="780" y="1579"/>
                  </a:lnTo>
                  <a:lnTo>
                    <a:pt x="819" y="1581"/>
                  </a:lnTo>
                  <a:lnTo>
                    <a:pt x="859" y="1579"/>
                  </a:lnTo>
                  <a:lnTo>
                    <a:pt x="897" y="1576"/>
                  </a:lnTo>
                  <a:lnTo>
                    <a:pt x="936" y="1572"/>
                  </a:lnTo>
                  <a:lnTo>
                    <a:pt x="973" y="1565"/>
                  </a:lnTo>
                  <a:lnTo>
                    <a:pt x="1009" y="1556"/>
                  </a:lnTo>
                  <a:lnTo>
                    <a:pt x="1045" y="1546"/>
                  </a:lnTo>
                  <a:lnTo>
                    <a:pt x="1081" y="1534"/>
                  </a:lnTo>
                  <a:lnTo>
                    <a:pt x="1116" y="1520"/>
                  </a:lnTo>
                  <a:lnTo>
                    <a:pt x="1149" y="1506"/>
                  </a:lnTo>
                  <a:lnTo>
                    <a:pt x="1182" y="1488"/>
                  </a:lnTo>
                  <a:lnTo>
                    <a:pt x="1214" y="1470"/>
                  </a:lnTo>
                  <a:lnTo>
                    <a:pt x="1244" y="1451"/>
                  </a:lnTo>
                  <a:lnTo>
                    <a:pt x="1274" y="1429"/>
                  </a:lnTo>
                  <a:lnTo>
                    <a:pt x="1303" y="1406"/>
                  </a:lnTo>
                  <a:lnTo>
                    <a:pt x="1330" y="1383"/>
                  </a:lnTo>
                  <a:lnTo>
                    <a:pt x="1356" y="1357"/>
                  </a:lnTo>
                  <a:lnTo>
                    <a:pt x="1382" y="1332"/>
                  </a:lnTo>
                  <a:lnTo>
                    <a:pt x="1407" y="1304"/>
                  </a:lnTo>
                  <a:lnTo>
                    <a:pt x="1428" y="1275"/>
                  </a:lnTo>
                  <a:lnTo>
                    <a:pt x="1450" y="1245"/>
                  </a:lnTo>
                  <a:lnTo>
                    <a:pt x="1470" y="1213"/>
                  </a:lnTo>
                  <a:lnTo>
                    <a:pt x="1487" y="1182"/>
                  </a:lnTo>
                  <a:lnTo>
                    <a:pt x="1504" y="1150"/>
                  </a:lnTo>
                  <a:lnTo>
                    <a:pt x="1520" y="1116"/>
                  </a:lnTo>
                  <a:lnTo>
                    <a:pt x="1533" y="1081"/>
                  </a:lnTo>
                  <a:lnTo>
                    <a:pt x="1545" y="1046"/>
                  </a:lnTo>
                  <a:lnTo>
                    <a:pt x="1556" y="1011"/>
                  </a:lnTo>
                  <a:lnTo>
                    <a:pt x="1563" y="973"/>
                  </a:lnTo>
                  <a:lnTo>
                    <a:pt x="1571" y="936"/>
                  </a:lnTo>
                  <a:lnTo>
                    <a:pt x="1575" y="898"/>
                  </a:lnTo>
                  <a:lnTo>
                    <a:pt x="1578" y="859"/>
                  </a:lnTo>
                  <a:lnTo>
                    <a:pt x="1579" y="821"/>
                  </a:lnTo>
                  <a:lnTo>
                    <a:pt x="1578" y="782"/>
                  </a:lnTo>
                  <a:lnTo>
                    <a:pt x="1575" y="743"/>
                  </a:lnTo>
                  <a:lnTo>
                    <a:pt x="1571" y="705"/>
                  </a:lnTo>
                  <a:lnTo>
                    <a:pt x="1563" y="668"/>
                  </a:lnTo>
                  <a:lnTo>
                    <a:pt x="1556" y="630"/>
                  </a:lnTo>
                  <a:lnTo>
                    <a:pt x="1545" y="595"/>
                  </a:lnTo>
                  <a:lnTo>
                    <a:pt x="1533" y="560"/>
                  </a:lnTo>
                  <a:lnTo>
                    <a:pt x="1520" y="525"/>
                  </a:lnTo>
                  <a:lnTo>
                    <a:pt x="1504" y="491"/>
                  </a:lnTo>
                  <a:lnTo>
                    <a:pt x="1487" y="459"/>
                  </a:lnTo>
                  <a:lnTo>
                    <a:pt x="1470" y="428"/>
                  </a:lnTo>
                  <a:lnTo>
                    <a:pt x="1450" y="396"/>
                  </a:lnTo>
                  <a:lnTo>
                    <a:pt x="1428" y="366"/>
                  </a:lnTo>
                  <a:lnTo>
                    <a:pt x="1407" y="337"/>
                  </a:lnTo>
                  <a:lnTo>
                    <a:pt x="1382" y="309"/>
                  </a:lnTo>
                  <a:lnTo>
                    <a:pt x="1356" y="284"/>
                  </a:lnTo>
                  <a:lnTo>
                    <a:pt x="1330" y="258"/>
                  </a:lnTo>
                  <a:lnTo>
                    <a:pt x="1303" y="235"/>
                  </a:lnTo>
                  <a:lnTo>
                    <a:pt x="1274" y="212"/>
                  </a:lnTo>
                  <a:lnTo>
                    <a:pt x="1244" y="190"/>
                  </a:lnTo>
                  <a:lnTo>
                    <a:pt x="1214" y="171"/>
                  </a:lnTo>
                  <a:lnTo>
                    <a:pt x="1182" y="153"/>
                  </a:lnTo>
                  <a:lnTo>
                    <a:pt x="1149" y="135"/>
                  </a:lnTo>
                  <a:lnTo>
                    <a:pt x="1116" y="121"/>
                  </a:lnTo>
                  <a:lnTo>
                    <a:pt x="1081" y="107"/>
                  </a:lnTo>
                  <a:lnTo>
                    <a:pt x="1045" y="95"/>
                  </a:lnTo>
                  <a:lnTo>
                    <a:pt x="1009" y="85"/>
                  </a:lnTo>
                  <a:lnTo>
                    <a:pt x="973" y="76"/>
                  </a:lnTo>
                  <a:lnTo>
                    <a:pt x="936" y="69"/>
                  </a:lnTo>
                  <a:lnTo>
                    <a:pt x="897" y="65"/>
                  </a:lnTo>
                  <a:lnTo>
                    <a:pt x="859" y="62"/>
                  </a:lnTo>
                  <a:lnTo>
                    <a:pt x="819" y="60"/>
                  </a:lnTo>
                  <a:close/>
                  <a:moveTo>
                    <a:pt x="819" y="1641"/>
                  </a:moveTo>
                  <a:lnTo>
                    <a:pt x="777" y="1640"/>
                  </a:lnTo>
                  <a:lnTo>
                    <a:pt x="735" y="1637"/>
                  </a:lnTo>
                  <a:lnTo>
                    <a:pt x="695" y="1631"/>
                  </a:lnTo>
                  <a:lnTo>
                    <a:pt x="655" y="1624"/>
                  </a:lnTo>
                  <a:lnTo>
                    <a:pt x="615" y="1615"/>
                  </a:lnTo>
                  <a:lnTo>
                    <a:pt x="576" y="1604"/>
                  </a:lnTo>
                  <a:lnTo>
                    <a:pt x="538" y="1591"/>
                  </a:lnTo>
                  <a:lnTo>
                    <a:pt x="501" y="1576"/>
                  </a:lnTo>
                  <a:lnTo>
                    <a:pt x="465" y="1560"/>
                  </a:lnTo>
                  <a:lnTo>
                    <a:pt x="429" y="1542"/>
                  </a:lnTo>
                  <a:lnTo>
                    <a:pt x="394" y="1522"/>
                  </a:lnTo>
                  <a:lnTo>
                    <a:pt x="361" y="1501"/>
                  </a:lnTo>
                  <a:lnTo>
                    <a:pt x="329" y="1478"/>
                  </a:lnTo>
                  <a:lnTo>
                    <a:pt x="298" y="1454"/>
                  </a:lnTo>
                  <a:lnTo>
                    <a:pt x="267" y="1428"/>
                  </a:lnTo>
                  <a:lnTo>
                    <a:pt x="240" y="1401"/>
                  </a:lnTo>
                  <a:lnTo>
                    <a:pt x="213" y="1372"/>
                  </a:lnTo>
                  <a:lnTo>
                    <a:pt x="187" y="1342"/>
                  </a:lnTo>
                  <a:lnTo>
                    <a:pt x="162" y="1311"/>
                  </a:lnTo>
                  <a:lnTo>
                    <a:pt x="139" y="1278"/>
                  </a:lnTo>
                  <a:lnTo>
                    <a:pt x="118" y="1245"/>
                  </a:lnTo>
                  <a:lnTo>
                    <a:pt x="98" y="1211"/>
                  </a:lnTo>
                  <a:lnTo>
                    <a:pt x="80" y="1176"/>
                  </a:lnTo>
                  <a:lnTo>
                    <a:pt x="63" y="1140"/>
                  </a:lnTo>
                  <a:lnTo>
                    <a:pt x="49" y="1103"/>
                  </a:lnTo>
                  <a:lnTo>
                    <a:pt x="36" y="1064"/>
                  </a:lnTo>
                  <a:lnTo>
                    <a:pt x="26" y="1025"/>
                  </a:lnTo>
                  <a:lnTo>
                    <a:pt x="15" y="986"/>
                  </a:lnTo>
                  <a:lnTo>
                    <a:pt x="8" y="946"/>
                  </a:lnTo>
                  <a:lnTo>
                    <a:pt x="3" y="904"/>
                  </a:lnTo>
                  <a:lnTo>
                    <a:pt x="0" y="862"/>
                  </a:lnTo>
                  <a:lnTo>
                    <a:pt x="0" y="821"/>
                  </a:lnTo>
                  <a:lnTo>
                    <a:pt x="0" y="779"/>
                  </a:lnTo>
                  <a:lnTo>
                    <a:pt x="3" y="737"/>
                  </a:lnTo>
                  <a:lnTo>
                    <a:pt x="8" y="695"/>
                  </a:lnTo>
                  <a:lnTo>
                    <a:pt x="15" y="655"/>
                  </a:lnTo>
                  <a:lnTo>
                    <a:pt x="26" y="616"/>
                  </a:lnTo>
                  <a:lnTo>
                    <a:pt x="36" y="577"/>
                  </a:lnTo>
                  <a:lnTo>
                    <a:pt x="49" y="538"/>
                  </a:lnTo>
                  <a:lnTo>
                    <a:pt x="63" y="501"/>
                  </a:lnTo>
                  <a:lnTo>
                    <a:pt x="80" y="465"/>
                  </a:lnTo>
                  <a:lnTo>
                    <a:pt x="98" y="430"/>
                  </a:lnTo>
                  <a:lnTo>
                    <a:pt x="118" y="396"/>
                  </a:lnTo>
                  <a:lnTo>
                    <a:pt x="139" y="363"/>
                  </a:lnTo>
                  <a:lnTo>
                    <a:pt x="162" y="330"/>
                  </a:lnTo>
                  <a:lnTo>
                    <a:pt x="187" y="299"/>
                  </a:lnTo>
                  <a:lnTo>
                    <a:pt x="213" y="269"/>
                  </a:lnTo>
                  <a:lnTo>
                    <a:pt x="240" y="240"/>
                  </a:lnTo>
                  <a:lnTo>
                    <a:pt x="267" y="213"/>
                  </a:lnTo>
                  <a:lnTo>
                    <a:pt x="298" y="187"/>
                  </a:lnTo>
                  <a:lnTo>
                    <a:pt x="329" y="163"/>
                  </a:lnTo>
                  <a:lnTo>
                    <a:pt x="361" y="140"/>
                  </a:lnTo>
                  <a:lnTo>
                    <a:pt x="394" y="119"/>
                  </a:lnTo>
                  <a:lnTo>
                    <a:pt x="429" y="99"/>
                  </a:lnTo>
                  <a:lnTo>
                    <a:pt x="465" y="81"/>
                  </a:lnTo>
                  <a:lnTo>
                    <a:pt x="501" y="65"/>
                  </a:lnTo>
                  <a:lnTo>
                    <a:pt x="538" y="50"/>
                  </a:lnTo>
                  <a:lnTo>
                    <a:pt x="576" y="37"/>
                  </a:lnTo>
                  <a:lnTo>
                    <a:pt x="615" y="26"/>
                  </a:lnTo>
                  <a:lnTo>
                    <a:pt x="655" y="17"/>
                  </a:lnTo>
                  <a:lnTo>
                    <a:pt x="695" y="10"/>
                  </a:lnTo>
                  <a:lnTo>
                    <a:pt x="735" y="4"/>
                  </a:lnTo>
                  <a:lnTo>
                    <a:pt x="777" y="1"/>
                  </a:lnTo>
                  <a:lnTo>
                    <a:pt x="819" y="0"/>
                  </a:lnTo>
                  <a:lnTo>
                    <a:pt x="862" y="1"/>
                  </a:lnTo>
                  <a:lnTo>
                    <a:pt x="904" y="4"/>
                  </a:lnTo>
                  <a:lnTo>
                    <a:pt x="944" y="10"/>
                  </a:lnTo>
                  <a:lnTo>
                    <a:pt x="985" y="17"/>
                  </a:lnTo>
                  <a:lnTo>
                    <a:pt x="1025" y="26"/>
                  </a:lnTo>
                  <a:lnTo>
                    <a:pt x="1064" y="37"/>
                  </a:lnTo>
                  <a:lnTo>
                    <a:pt x="1101" y="50"/>
                  </a:lnTo>
                  <a:lnTo>
                    <a:pt x="1139" y="65"/>
                  </a:lnTo>
                  <a:lnTo>
                    <a:pt x="1175" y="81"/>
                  </a:lnTo>
                  <a:lnTo>
                    <a:pt x="1211" y="99"/>
                  </a:lnTo>
                  <a:lnTo>
                    <a:pt x="1245" y="119"/>
                  </a:lnTo>
                  <a:lnTo>
                    <a:pt x="1278" y="140"/>
                  </a:lnTo>
                  <a:lnTo>
                    <a:pt x="1310" y="163"/>
                  </a:lnTo>
                  <a:lnTo>
                    <a:pt x="1342" y="187"/>
                  </a:lnTo>
                  <a:lnTo>
                    <a:pt x="1371" y="213"/>
                  </a:lnTo>
                  <a:lnTo>
                    <a:pt x="1399" y="240"/>
                  </a:lnTo>
                  <a:lnTo>
                    <a:pt x="1427" y="269"/>
                  </a:lnTo>
                  <a:lnTo>
                    <a:pt x="1453" y="299"/>
                  </a:lnTo>
                  <a:lnTo>
                    <a:pt x="1477" y="330"/>
                  </a:lnTo>
                  <a:lnTo>
                    <a:pt x="1500" y="363"/>
                  </a:lnTo>
                  <a:lnTo>
                    <a:pt x="1522" y="396"/>
                  </a:lnTo>
                  <a:lnTo>
                    <a:pt x="1540" y="430"/>
                  </a:lnTo>
                  <a:lnTo>
                    <a:pt x="1559" y="465"/>
                  </a:lnTo>
                  <a:lnTo>
                    <a:pt x="1576" y="501"/>
                  </a:lnTo>
                  <a:lnTo>
                    <a:pt x="1591" y="538"/>
                  </a:lnTo>
                  <a:lnTo>
                    <a:pt x="1604" y="577"/>
                  </a:lnTo>
                  <a:lnTo>
                    <a:pt x="1614" y="616"/>
                  </a:lnTo>
                  <a:lnTo>
                    <a:pt x="1624" y="655"/>
                  </a:lnTo>
                  <a:lnTo>
                    <a:pt x="1631" y="695"/>
                  </a:lnTo>
                  <a:lnTo>
                    <a:pt x="1635" y="737"/>
                  </a:lnTo>
                  <a:lnTo>
                    <a:pt x="1640" y="779"/>
                  </a:lnTo>
                  <a:lnTo>
                    <a:pt x="1640" y="821"/>
                  </a:lnTo>
                  <a:lnTo>
                    <a:pt x="1640" y="862"/>
                  </a:lnTo>
                  <a:lnTo>
                    <a:pt x="1635" y="904"/>
                  </a:lnTo>
                  <a:lnTo>
                    <a:pt x="1631" y="946"/>
                  </a:lnTo>
                  <a:lnTo>
                    <a:pt x="1624" y="986"/>
                  </a:lnTo>
                  <a:lnTo>
                    <a:pt x="1614" y="1025"/>
                  </a:lnTo>
                  <a:lnTo>
                    <a:pt x="1604" y="1064"/>
                  </a:lnTo>
                  <a:lnTo>
                    <a:pt x="1591" y="1103"/>
                  </a:lnTo>
                  <a:lnTo>
                    <a:pt x="1576" y="1140"/>
                  </a:lnTo>
                  <a:lnTo>
                    <a:pt x="1559" y="1176"/>
                  </a:lnTo>
                  <a:lnTo>
                    <a:pt x="1540" y="1211"/>
                  </a:lnTo>
                  <a:lnTo>
                    <a:pt x="1522" y="1245"/>
                  </a:lnTo>
                  <a:lnTo>
                    <a:pt x="1500" y="1278"/>
                  </a:lnTo>
                  <a:lnTo>
                    <a:pt x="1477" y="1311"/>
                  </a:lnTo>
                  <a:lnTo>
                    <a:pt x="1453" y="1342"/>
                  </a:lnTo>
                  <a:lnTo>
                    <a:pt x="1427" y="1372"/>
                  </a:lnTo>
                  <a:lnTo>
                    <a:pt x="1399" y="1401"/>
                  </a:lnTo>
                  <a:lnTo>
                    <a:pt x="1371" y="1428"/>
                  </a:lnTo>
                  <a:lnTo>
                    <a:pt x="1342" y="1454"/>
                  </a:lnTo>
                  <a:lnTo>
                    <a:pt x="1310" y="1478"/>
                  </a:lnTo>
                  <a:lnTo>
                    <a:pt x="1278" y="1501"/>
                  </a:lnTo>
                  <a:lnTo>
                    <a:pt x="1245" y="1522"/>
                  </a:lnTo>
                  <a:lnTo>
                    <a:pt x="1211" y="1542"/>
                  </a:lnTo>
                  <a:lnTo>
                    <a:pt x="1175" y="1560"/>
                  </a:lnTo>
                  <a:lnTo>
                    <a:pt x="1139" y="1576"/>
                  </a:lnTo>
                  <a:lnTo>
                    <a:pt x="1101" y="1591"/>
                  </a:lnTo>
                  <a:lnTo>
                    <a:pt x="1064" y="1604"/>
                  </a:lnTo>
                  <a:lnTo>
                    <a:pt x="1025" y="1615"/>
                  </a:lnTo>
                  <a:lnTo>
                    <a:pt x="985" y="1624"/>
                  </a:lnTo>
                  <a:lnTo>
                    <a:pt x="944" y="1631"/>
                  </a:lnTo>
                  <a:lnTo>
                    <a:pt x="904" y="1637"/>
                  </a:lnTo>
                  <a:lnTo>
                    <a:pt x="862" y="1640"/>
                  </a:lnTo>
                  <a:lnTo>
                    <a:pt x="819"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67" name="Group 151">
            <a:extLst>
              <a:ext uri="{FF2B5EF4-FFF2-40B4-BE49-F238E27FC236}">
                <a16:creationId xmlns:a16="http://schemas.microsoft.com/office/drawing/2014/main" id="{B8A7B585-1249-49F3-AEE9-6831483C13E5}"/>
              </a:ext>
            </a:extLst>
          </p:cNvPr>
          <p:cNvGrpSpPr>
            <a:grpSpLocks noChangeAspect="1"/>
          </p:cNvGrpSpPr>
          <p:nvPr/>
        </p:nvGrpSpPr>
        <p:grpSpPr>
          <a:xfrm>
            <a:off x="7069561" y="2186361"/>
            <a:ext cx="287207" cy="285619"/>
            <a:chOff x="5464175" y="3635375"/>
            <a:chExt cx="287338" cy="285750"/>
          </a:xfrm>
          <a:solidFill>
            <a:schemeClr val="bg2"/>
          </a:solidFill>
          <a:effectLst/>
        </p:grpSpPr>
        <p:sp>
          <p:nvSpPr>
            <p:cNvPr id="568" name="Freeform 144">
              <a:extLst>
                <a:ext uri="{FF2B5EF4-FFF2-40B4-BE49-F238E27FC236}">
                  <a16:creationId xmlns:a16="http://schemas.microsoft.com/office/drawing/2014/main" id="{3FB2D04D-8A53-4F78-8961-827C19221993}"/>
                </a:ext>
              </a:extLst>
            </p:cNvPr>
            <p:cNvSpPr>
              <a:spLocks noEditPoints="1"/>
            </p:cNvSpPr>
            <p:nvPr/>
          </p:nvSpPr>
          <p:spPr bwMode="auto">
            <a:xfrm>
              <a:off x="5464175" y="3635375"/>
              <a:ext cx="287338" cy="285750"/>
            </a:xfrm>
            <a:custGeom>
              <a:avLst/>
              <a:gdLst>
                <a:gd name="T0" fmla="*/ 506 w 903"/>
                <a:gd name="T1" fmla="*/ 693 h 901"/>
                <a:gd name="T2" fmla="*/ 551 w 903"/>
                <a:gd name="T3" fmla="*/ 600 h 901"/>
                <a:gd name="T4" fmla="*/ 842 w 903"/>
                <a:gd name="T5" fmla="*/ 707 h 901"/>
                <a:gd name="T6" fmla="*/ 873 w 903"/>
                <a:gd name="T7" fmla="*/ 785 h 901"/>
                <a:gd name="T8" fmla="*/ 31 w 903"/>
                <a:gd name="T9" fmla="*/ 785 h 901"/>
                <a:gd name="T10" fmla="*/ 61 w 903"/>
                <a:gd name="T11" fmla="*/ 707 h 901"/>
                <a:gd name="T12" fmla="*/ 353 w 903"/>
                <a:gd name="T13" fmla="*/ 600 h 901"/>
                <a:gd name="T14" fmla="*/ 397 w 903"/>
                <a:gd name="T15" fmla="*/ 693 h 901"/>
                <a:gd name="T16" fmla="*/ 30 w 903"/>
                <a:gd name="T17" fmla="*/ 796 h 901"/>
                <a:gd name="T18" fmla="*/ 423 w 903"/>
                <a:gd name="T19" fmla="*/ 671 h 901"/>
                <a:gd name="T20" fmla="*/ 482 w 903"/>
                <a:gd name="T21" fmla="*/ 671 h 901"/>
                <a:gd name="T22" fmla="*/ 277 w 903"/>
                <a:gd name="T23" fmla="*/ 432 h 901"/>
                <a:gd name="T24" fmla="*/ 262 w 903"/>
                <a:gd name="T25" fmla="*/ 417 h 901"/>
                <a:gd name="T26" fmla="*/ 236 w 903"/>
                <a:gd name="T27" fmla="*/ 388 h 901"/>
                <a:gd name="T28" fmla="*/ 249 w 903"/>
                <a:gd name="T29" fmla="*/ 337 h 901"/>
                <a:gd name="T30" fmla="*/ 277 w 903"/>
                <a:gd name="T31" fmla="*/ 321 h 901"/>
                <a:gd name="T32" fmla="*/ 400 w 903"/>
                <a:gd name="T33" fmla="*/ 219 h 901"/>
                <a:gd name="T34" fmla="*/ 458 w 903"/>
                <a:gd name="T35" fmla="*/ 184 h 901"/>
                <a:gd name="T36" fmla="*/ 527 w 903"/>
                <a:gd name="T37" fmla="*/ 227 h 901"/>
                <a:gd name="T38" fmla="*/ 632 w 903"/>
                <a:gd name="T39" fmla="*/ 330 h 901"/>
                <a:gd name="T40" fmla="*/ 664 w 903"/>
                <a:gd name="T41" fmla="*/ 348 h 901"/>
                <a:gd name="T42" fmla="*/ 664 w 903"/>
                <a:gd name="T43" fmla="*/ 402 h 901"/>
                <a:gd name="T44" fmla="*/ 636 w 903"/>
                <a:gd name="T45" fmla="*/ 418 h 901"/>
                <a:gd name="T46" fmla="*/ 624 w 903"/>
                <a:gd name="T47" fmla="*/ 453 h 901"/>
                <a:gd name="T48" fmla="*/ 588 w 903"/>
                <a:gd name="T49" fmla="*/ 528 h 901"/>
                <a:gd name="T50" fmla="*/ 516 w 903"/>
                <a:gd name="T51" fmla="*/ 586 h 901"/>
                <a:gd name="T52" fmla="*/ 433 w 903"/>
                <a:gd name="T53" fmla="*/ 604 h 901"/>
                <a:gd name="T54" fmla="*/ 362 w 903"/>
                <a:gd name="T55" fmla="*/ 570 h 901"/>
                <a:gd name="T56" fmla="*/ 292 w 903"/>
                <a:gd name="T57" fmla="*/ 494 h 901"/>
                <a:gd name="T58" fmla="*/ 266 w 903"/>
                <a:gd name="T59" fmla="*/ 86 h 901"/>
                <a:gd name="T60" fmla="*/ 349 w 903"/>
                <a:gd name="T61" fmla="*/ 42 h 901"/>
                <a:gd name="T62" fmla="*/ 468 w 903"/>
                <a:gd name="T63" fmla="*/ 30 h 901"/>
                <a:gd name="T64" fmla="*/ 578 w 903"/>
                <a:gd name="T65" fmla="*/ 50 h 901"/>
                <a:gd name="T66" fmla="*/ 652 w 903"/>
                <a:gd name="T67" fmla="*/ 104 h 901"/>
                <a:gd name="T68" fmla="*/ 668 w 903"/>
                <a:gd name="T69" fmla="*/ 311 h 901"/>
                <a:gd name="T70" fmla="*/ 602 w 903"/>
                <a:gd name="T71" fmla="*/ 208 h 901"/>
                <a:gd name="T72" fmla="*/ 503 w 903"/>
                <a:gd name="T73" fmla="*/ 185 h 901"/>
                <a:gd name="T74" fmla="*/ 460 w 903"/>
                <a:gd name="T75" fmla="*/ 135 h 901"/>
                <a:gd name="T76" fmla="*/ 434 w 903"/>
                <a:gd name="T77" fmla="*/ 144 h 901"/>
                <a:gd name="T78" fmla="*/ 385 w 903"/>
                <a:gd name="T79" fmla="*/ 193 h 901"/>
                <a:gd name="T80" fmla="*/ 276 w 903"/>
                <a:gd name="T81" fmla="*/ 209 h 901"/>
                <a:gd name="T82" fmla="*/ 220 w 903"/>
                <a:gd name="T83" fmla="*/ 193 h 901"/>
                <a:gd name="T84" fmla="*/ 794 w 903"/>
                <a:gd name="T85" fmla="*/ 635 h 901"/>
                <a:gd name="T86" fmla="*/ 651 w 903"/>
                <a:gd name="T87" fmla="*/ 475 h 901"/>
                <a:gd name="T88" fmla="*/ 682 w 903"/>
                <a:gd name="T89" fmla="*/ 427 h 901"/>
                <a:gd name="T90" fmla="*/ 696 w 903"/>
                <a:gd name="T91" fmla="*/ 352 h 901"/>
                <a:gd name="T92" fmla="*/ 705 w 903"/>
                <a:gd name="T93" fmla="*/ 140 h 901"/>
                <a:gd name="T94" fmla="*/ 649 w 903"/>
                <a:gd name="T95" fmla="*/ 56 h 901"/>
                <a:gd name="T96" fmla="*/ 551 w 903"/>
                <a:gd name="T97" fmla="*/ 10 h 901"/>
                <a:gd name="T98" fmla="*/ 416 w 903"/>
                <a:gd name="T99" fmla="*/ 1 h 901"/>
                <a:gd name="T100" fmla="*/ 298 w 903"/>
                <a:gd name="T101" fmla="*/ 29 h 901"/>
                <a:gd name="T102" fmla="*/ 219 w 903"/>
                <a:gd name="T103" fmla="*/ 96 h 901"/>
                <a:gd name="T104" fmla="*/ 190 w 903"/>
                <a:gd name="T105" fmla="*/ 193 h 901"/>
                <a:gd name="T106" fmla="*/ 205 w 903"/>
                <a:gd name="T107" fmla="*/ 387 h 901"/>
                <a:gd name="T108" fmla="*/ 243 w 903"/>
                <a:gd name="T109" fmla="*/ 443 h 901"/>
                <a:gd name="T110" fmla="*/ 283 w 903"/>
                <a:gd name="T111" fmla="*/ 536 h 901"/>
                <a:gd name="T112" fmla="*/ 65 w 903"/>
                <a:gd name="T113" fmla="*/ 661 h 901"/>
                <a:gd name="T114" fmla="*/ 9 w 903"/>
                <a:gd name="T115" fmla="*/ 745 h 901"/>
                <a:gd name="T116" fmla="*/ 903 w 903"/>
                <a:gd name="T117" fmla="*/ 901 h 901"/>
                <a:gd name="T118" fmla="*/ 879 w 903"/>
                <a:gd name="T119" fmla="*/ 709 h 901"/>
                <a:gd name="T120" fmla="*/ 805 w 903"/>
                <a:gd name="T121" fmla="*/ 64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1">
                  <a:moveTo>
                    <a:pt x="873" y="871"/>
                  </a:moveTo>
                  <a:lnTo>
                    <a:pt x="574" y="871"/>
                  </a:lnTo>
                  <a:lnTo>
                    <a:pt x="476" y="726"/>
                  </a:lnTo>
                  <a:lnTo>
                    <a:pt x="485" y="722"/>
                  </a:lnTo>
                  <a:lnTo>
                    <a:pt x="491" y="717"/>
                  </a:lnTo>
                  <a:lnTo>
                    <a:pt x="498" y="710"/>
                  </a:lnTo>
                  <a:lnTo>
                    <a:pt x="503" y="702"/>
                  </a:lnTo>
                  <a:lnTo>
                    <a:pt x="506" y="693"/>
                  </a:lnTo>
                  <a:lnTo>
                    <a:pt x="510" y="684"/>
                  </a:lnTo>
                  <a:lnTo>
                    <a:pt x="512" y="673"/>
                  </a:lnTo>
                  <a:lnTo>
                    <a:pt x="512" y="661"/>
                  </a:lnTo>
                  <a:lnTo>
                    <a:pt x="512" y="620"/>
                  </a:lnTo>
                  <a:lnTo>
                    <a:pt x="521" y="616"/>
                  </a:lnTo>
                  <a:lnTo>
                    <a:pt x="531" y="611"/>
                  </a:lnTo>
                  <a:lnTo>
                    <a:pt x="542" y="605"/>
                  </a:lnTo>
                  <a:lnTo>
                    <a:pt x="551" y="600"/>
                  </a:lnTo>
                  <a:lnTo>
                    <a:pt x="784" y="664"/>
                  </a:lnTo>
                  <a:lnTo>
                    <a:pt x="794" y="669"/>
                  </a:lnTo>
                  <a:lnTo>
                    <a:pt x="803" y="673"/>
                  </a:lnTo>
                  <a:lnTo>
                    <a:pt x="812" y="678"/>
                  </a:lnTo>
                  <a:lnTo>
                    <a:pt x="820" y="685"/>
                  </a:lnTo>
                  <a:lnTo>
                    <a:pt x="828" y="691"/>
                  </a:lnTo>
                  <a:lnTo>
                    <a:pt x="835" y="699"/>
                  </a:lnTo>
                  <a:lnTo>
                    <a:pt x="842" y="707"/>
                  </a:lnTo>
                  <a:lnTo>
                    <a:pt x="848" y="716"/>
                  </a:lnTo>
                  <a:lnTo>
                    <a:pt x="854" y="724"/>
                  </a:lnTo>
                  <a:lnTo>
                    <a:pt x="859" y="734"/>
                  </a:lnTo>
                  <a:lnTo>
                    <a:pt x="863" y="744"/>
                  </a:lnTo>
                  <a:lnTo>
                    <a:pt x="867" y="754"/>
                  </a:lnTo>
                  <a:lnTo>
                    <a:pt x="869" y="764"/>
                  </a:lnTo>
                  <a:lnTo>
                    <a:pt x="871" y="775"/>
                  </a:lnTo>
                  <a:lnTo>
                    <a:pt x="873" y="785"/>
                  </a:lnTo>
                  <a:lnTo>
                    <a:pt x="873" y="796"/>
                  </a:lnTo>
                  <a:lnTo>
                    <a:pt x="873" y="871"/>
                  </a:lnTo>
                  <a:close/>
                  <a:moveTo>
                    <a:pt x="366" y="871"/>
                  </a:moveTo>
                  <a:lnTo>
                    <a:pt x="452" y="744"/>
                  </a:lnTo>
                  <a:lnTo>
                    <a:pt x="537" y="871"/>
                  </a:lnTo>
                  <a:lnTo>
                    <a:pt x="366" y="871"/>
                  </a:lnTo>
                  <a:close/>
                  <a:moveTo>
                    <a:pt x="30" y="796"/>
                  </a:moveTo>
                  <a:lnTo>
                    <a:pt x="31" y="785"/>
                  </a:lnTo>
                  <a:lnTo>
                    <a:pt x="32" y="775"/>
                  </a:lnTo>
                  <a:lnTo>
                    <a:pt x="35" y="764"/>
                  </a:lnTo>
                  <a:lnTo>
                    <a:pt x="37" y="754"/>
                  </a:lnTo>
                  <a:lnTo>
                    <a:pt x="41" y="744"/>
                  </a:lnTo>
                  <a:lnTo>
                    <a:pt x="45" y="734"/>
                  </a:lnTo>
                  <a:lnTo>
                    <a:pt x="50" y="724"/>
                  </a:lnTo>
                  <a:lnTo>
                    <a:pt x="55" y="716"/>
                  </a:lnTo>
                  <a:lnTo>
                    <a:pt x="61" y="707"/>
                  </a:lnTo>
                  <a:lnTo>
                    <a:pt x="68" y="700"/>
                  </a:lnTo>
                  <a:lnTo>
                    <a:pt x="75" y="692"/>
                  </a:lnTo>
                  <a:lnTo>
                    <a:pt x="83" y="685"/>
                  </a:lnTo>
                  <a:lnTo>
                    <a:pt x="91" y="678"/>
                  </a:lnTo>
                  <a:lnTo>
                    <a:pt x="100" y="673"/>
                  </a:lnTo>
                  <a:lnTo>
                    <a:pt x="109" y="669"/>
                  </a:lnTo>
                  <a:lnTo>
                    <a:pt x="118" y="664"/>
                  </a:lnTo>
                  <a:lnTo>
                    <a:pt x="353" y="600"/>
                  </a:lnTo>
                  <a:lnTo>
                    <a:pt x="363" y="606"/>
                  </a:lnTo>
                  <a:lnTo>
                    <a:pt x="372" y="612"/>
                  </a:lnTo>
                  <a:lnTo>
                    <a:pt x="382" y="616"/>
                  </a:lnTo>
                  <a:lnTo>
                    <a:pt x="392" y="620"/>
                  </a:lnTo>
                  <a:lnTo>
                    <a:pt x="392" y="661"/>
                  </a:lnTo>
                  <a:lnTo>
                    <a:pt x="393" y="673"/>
                  </a:lnTo>
                  <a:lnTo>
                    <a:pt x="394" y="684"/>
                  </a:lnTo>
                  <a:lnTo>
                    <a:pt x="397" y="693"/>
                  </a:lnTo>
                  <a:lnTo>
                    <a:pt x="401" y="702"/>
                  </a:lnTo>
                  <a:lnTo>
                    <a:pt x="406" y="710"/>
                  </a:lnTo>
                  <a:lnTo>
                    <a:pt x="412" y="717"/>
                  </a:lnTo>
                  <a:lnTo>
                    <a:pt x="419" y="722"/>
                  </a:lnTo>
                  <a:lnTo>
                    <a:pt x="427" y="726"/>
                  </a:lnTo>
                  <a:lnTo>
                    <a:pt x="330" y="871"/>
                  </a:lnTo>
                  <a:lnTo>
                    <a:pt x="30" y="871"/>
                  </a:lnTo>
                  <a:lnTo>
                    <a:pt x="30" y="796"/>
                  </a:lnTo>
                  <a:close/>
                  <a:moveTo>
                    <a:pt x="452" y="701"/>
                  </a:moveTo>
                  <a:lnTo>
                    <a:pt x="445" y="701"/>
                  </a:lnTo>
                  <a:lnTo>
                    <a:pt x="439" y="699"/>
                  </a:lnTo>
                  <a:lnTo>
                    <a:pt x="433" y="695"/>
                  </a:lnTo>
                  <a:lnTo>
                    <a:pt x="429" y="691"/>
                  </a:lnTo>
                  <a:lnTo>
                    <a:pt x="426" y="686"/>
                  </a:lnTo>
                  <a:lnTo>
                    <a:pt x="424" y="678"/>
                  </a:lnTo>
                  <a:lnTo>
                    <a:pt x="423" y="671"/>
                  </a:lnTo>
                  <a:lnTo>
                    <a:pt x="422" y="661"/>
                  </a:lnTo>
                  <a:lnTo>
                    <a:pt x="422" y="631"/>
                  </a:lnTo>
                  <a:lnTo>
                    <a:pt x="438" y="635"/>
                  </a:lnTo>
                  <a:lnTo>
                    <a:pt x="452" y="636"/>
                  </a:lnTo>
                  <a:lnTo>
                    <a:pt x="466" y="635"/>
                  </a:lnTo>
                  <a:lnTo>
                    <a:pt x="482" y="631"/>
                  </a:lnTo>
                  <a:lnTo>
                    <a:pt x="482" y="661"/>
                  </a:lnTo>
                  <a:lnTo>
                    <a:pt x="482" y="671"/>
                  </a:lnTo>
                  <a:lnTo>
                    <a:pt x="479" y="678"/>
                  </a:lnTo>
                  <a:lnTo>
                    <a:pt x="477" y="686"/>
                  </a:lnTo>
                  <a:lnTo>
                    <a:pt x="474" y="691"/>
                  </a:lnTo>
                  <a:lnTo>
                    <a:pt x="470" y="695"/>
                  </a:lnTo>
                  <a:lnTo>
                    <a:pt x="464" y="699"/>
                  </a:lnTo>
                  <a:lnTo>
                    <a:pt x="459" y="701"/>
                  </a:lnTo>
                  <a:lnTo>
                    <a:pt x="452" y="701"/>
                  </a:lnTo>
                  <a:close/>
                  <a:moveTo>
                    <a:pt x="277" y="432"/>
                  </a:moveTo>
                  <a:lnTo>
                    <a:pt x="277" y="428"/>
                  </a:lnTo>
                  <a:lnTo>
                    <a:pt x="276" y="426"/>
                  </a:lnTo>
                  <a:lnTo>
                    <a:pt x="275" y="423"/>
                  </a:lnTo>
                  <a:lnTo>
                    <a:pt x="273" y="421"/>
                  </a:lnTo>
                  <a:lnTo>
                    <a:pt x="270" y="419"/>
                  </a:lnTo>
                  <a:lnTo>
                    <a:pt x="268" y="418"/>
                  </a:lnTo>
                  <a:lnTo>
                    <a:pt x="265" y="417"/>
                  </a:lnTo>
                  <a:lnTo>
                    <a:pt x="262" y="417"/>
                  </a:lnTo>
                  <a:lnTo>
                    <a:pt x="259" y="417"/>
                  </a:lnTo>
                  <a:lnTo>
                    <a:pt x="254" y="416"/>
                  </a:lnTo>
                  <a:lnTo>
                    <a:pt x="251" y="415"/>
                  </a:lnTo>
                  <a:lnTo>
                    <a:pt x="249" y="412"/>
                  </a:lnTo>
                  <a:lnTo>
                    <a:pt x="244" y="407"/>
                  </a:lnTo>
                  <a:lnTo>
                    <a:pt x="240" y="402"/>
                  </a:lnTo>
                  <a:lnTo>
                    <a:pt x="237" y="394"/>
                  </a:lnTo>
                  <a:lnTo>
                    <a:pt x="236" y="388"/>
                  </a:lnTo>
                  <a:lnTo>
                    <a:pt x="235" y="380"/>
                  </a:lnTo>
                  <a:lnTo>
                    <a:pt x="234" y="375"/>
                  </a:lnTo>
                  <a:lnTo>
                    <a:pt x="235" y="368"/>
                  </a:lnTo>
                  <a:lnTo>
                    <a:pt x="236" y="362"/>
                  </a:lnTo>
                  <a:lnTo>
                    <a:pt x="237" y="356"/>
                  </a:lnTo>
                  <a:lnTo>
                    <a:pt x="240" y="348"/>
                  </a:lnTo>
                  <a:lnTo>
                    <a:pt x="244" y="343"/>
                  </a:lnTo>
                  <a:lnTo>
                    <a:pt x="249" y="337"/>
                  </a:lnTo>
                  <a:lnTo>
                    <a:pt x="251" y="335"/>
                  </a:lnTo>
                  <a:lnTo>
                    <a:pt x="254" y="334"/>
                  </a:lnTo>
                  <a:lnTo>
                    <a:pt x="259" y="333"/>
                  </a:lnTo>
                  <a:lnTo>
                    <a:pt x="262" y="333"/>
                  </a:lnTo>
                  <a:lnTo>
                    <a:pt x="267" y="332"/>
                  </a:lnTo>
                  <a:lnTo>
                    <a:pt x="271" y="330"/>
                  </a:lnTo>
                  <a:lnTo>
                    <a:pt x="275" y="326"/>
                  </a:lnTo>
                  <a:lnTo>
                    <a:pt x="277" y="321"/>
                  </a:lnTo>
                  <a:lnTo>
                    <a:pt x="293" y="238"/>
                  </a:lnTo>
                  <a:lnTo>
                    <a:pt x="313" y="238"/>
                  </a:lnTo>
                  <a:lnTo>
                    <a:pt x="333" y="235"/>
                  </a:lnTo>
                  <a:lnTo>
                    <a:pt x="349" y="233"/>
                  </a:lnTo>
                  <a:lnTo>
                    <a:pt x="364" y="230"/>
                  </a:lnTo>
                  <a:lnTo>
                    <a:pt x="378" y="227"/>
                  </a:lnTo>
                  <a:lnTo>
                    <a:pt x="389" y="224"/>
                  </a:lnTo>
                  <a:lnTo>
                    <a:pt x="400" y="219"/>
                  </a:lnTo>
                  <a:lnTo>
                    <a:pt x="409" y="215"/>
                  </a:lnTo>
                  <a:lnTo>
                    <a:pt x="417" y="210"/>
                  </a:lnTo>
                  <a:lnTo>
                    <a:pt x="425" y="204"/>
                  </a:lnTo>
                  <a:lnTo>
                    <a:pt x="431" y="200"/>
                  </a:lnTo>
                  <a:lnTo>
                    <a:pt x="437" y="195"/>
                  </a:lnTo>
                  <a:lnTo>
                    <a:pt x="445" y="184"/>
                  </a:lnTo>
                  <a:lnTo>
                    <a:pt x="452" y="174"/>
                  </a:lnTo>
                  <a:lnTo>
                    <a:pt x="458" y="184"/>
                  </a:lnTo>
                  <a:lnTo>
                    <a:pt x="468" y="195"/>
                  </a:lnTo>
                  <a:lnTo>
                    <a:pt x="473" y="200"/>
                  </a:lnTo>
                  <a:lnTo>
                    <a:pt x="478" y="204"/>
                  </a:lnTo>
                  <a:lnTo>
                    <a:pt x="486" y="210"/>
                  </a:lnTo>
                  <a:lnTo>
                    <a:pt x="494" y="215"/>
                  </a:lnTo>
                  <a:lnTo>
                    <a:pt x="504" y="219"/>
                  </a:lnTo>
                  <a:lnTo>
                    <a:pt x="515" y="224"/>
                  </a:lnTo>
                  <a:lnTo>
                    <a:pt x="527" y="227"/>
                  </a:lnTo>
                  <a:lnTo>
                    <a:pt x="540" y="230"/>
                  </a:lnTo>
                  <a:lnTo>
                    <a:pt x="555" y="233"/>
                  </a:lnTo>
                  <a:lnTo>
                    <a:pt x="572" y="235"/>
                  </a:lnTo>
                  <a:lnTo>
                    <a:pt x="590" y="238"/>
                  </a:lnTo>
                  <a:lnTo>
                    <a:pt x="610" y="238"/>
                  </a:lnTo>
                  <a:lnTo>
                    <a:pt x="626" y="321"/>
                  </a:lnTo>
                  <a:lnTo>
                    <a:pt x="629" y="326"/>
                  </a:lnTo>
                  <a:lnTo>
                    <a:pt x="632" y="330"/>
                  </a:lnTo>
                  <a:lnTo>
                    <a:pt x="636" y="332"/>
                  </a:lnTo>
                  <a:lnTo>
                    <a:pt x="641" y="333"/>
                  </a:lnTo>
                  <a:lnTo>
                    <a:pt x="646" y="333"/>
                  </a:lnTo>
                  <a:lnTo>
                    <a:pt x="649" y="334"/>
                  </a:lnTo>
                  <a:lnTo>
                    <a:pt x="652" y="335"/>
                  </a:lnTo>
                  <a:lnTo>
                    <a:pt x="655" y="337"/>
                  </a:lnTo>
                  <a:lnTo>
                    <a:pt x="660" y="343"/>
                  </a:lnTo>
                  <a:lnTo>
                    <a:pt x="664" y="348"/>
                  </a:lnTo>
                  <a:lnTo>
                    <a:pt x="666" y="356"/>
                  </a:lnTo>
                  <a:lnTo>
                    <a:pt x="668" y="362"/>
                  </a:lnTo>
                  <a:lnTo>
                    <a:pt x="668" y="368"/>
                  </a:lnTo>
                  <a:lnTo>
                    <a:pt x="669" y="375"/>
                  </a:lnTo>
                  <a:lnTo>
                    <a:pt x="668" y="380"/>
                  </a:lnTo>
                  <a:lnTo>
                    <a:pt x="668" y="388"/>
                  </a:lnTo>
                  <a:lnTo>
                    <a:pt x="666" y="394"/>
                  </a:lnTo>
                  <a:lnTo>
                    <a:pt x="664" y="402"/>
                  </a:lnTo>
                  <a:lnTo>
                    <a:pt x="660" y="407"/>
                  </a:lnTo>
                  <a:lnTo>
                    <a:pt x="655" y="412"/>
                  </a:lnTo>
                  <a:lnTo>
                    <a:pt x="652" y="415"/>
                  </a:lnTo>
                  <a:lnTo>
                    <a:pt x="649" y="416"/>
                  </a:lnTo>
                  <a:lnTo>
                    <a:pt x="646" y="417"/>
                  </a:lnTo>
                  <a:lnTo>
                    <a:pt x="641" y="417"/>
                  </a:lnTo>
                  <a:lnTo>
                    <a:pt x="638" y="417"/>
                  </a:lnTo>
                  <a:lnTo>
                    <a:pt x="636" y="418"/>
                  </a:lnTo>
                  <a:lnTo>
                    <a:pt x="633" y="419"/>
                  </a:lnTo>
                  <a:lnTo>
                    <a:pt x="631" y="421"/>
                  </a:lnTo>
                  <a:lnTo>
                    <a:pt x="629" y="423"/>
                  </a:lnTo>
                  <a:lnTo>
                    <a:pt x="627" y="426"/>
                  </a:lnTo>
                  <a:lnTo>
                    <a:pt x="626" y="428"/>
                  </a:lnTo>
                  <a:lnTo>
                    <a:pt x="626" y="432"/>
                  </a:lnTo>
                  <a:lnTo>
                    <a:pt x="626" y="442"/>
                  </a:lnTo>
                  <a:lnTo>
                    <a:pt x="624" y="453"/>
                  </a:lnTo>
                  <a:lnTo>
                    <a:pt x="622" y="464"/>
                  </a:lnTo>
                  <a:lnTo>
                    <a:pt x="620" y="475"/>
                  </a:lnTo>
                  <a:lnTo>
                    <a:pt x="616" y="484"/>
                  </a:lnTo>
                  <a:lnTo>
                    <a:pt x="611" y="494"/>
                  </a:lnTo>
                  <a:lnTo>
                    <a:pt x="606" y="502"/>
                  </a:lnTo>
                  <a:lnTo>
                    <a:pt x="601" y="512"/>
                  </a:lnTo>
                  <a:lnTo>
                    <a:pt x="595" y="521"/>
                  </a:lnTo>
                  <a:lnTo>
                    <a:pt x="588" y="528"/>
                  </a:lnTo>
                  <a:lnTo>
                    <a:pt x="581" y="537"/>
                  </a:lnTo>
                  <a:lnTo>
                    <a:pt x="574" y="544"/>
                  </a:lnTo>
                  <a:lnTo>
                    <a:pt x="559" y="558"/>
                  </a:lnTo>
                  <a:lnTo>
                    <a:pt x="543" y="570"/>
                  </a:lnTo>
                  <a:lnTo>
                    <a:pt x="542" y="571"/>
                  </a:lnTo>
                  <a:lnTo>
                    <a:pt x="541" y="571"/>
                  </a:lnTo>
                  <a:lnTo>
                    <a:pt x="528" y="580"/>
                  </a:lnTo>
                  <a:lnTo>
                    <a:pt x="516" y="586"/>
                  </a:lnTo>
                  <a:lnTo>
                    <a:pt x="503" y="592"/>
                  </a:lnTo>
                  <a:lnTo>
                    <a:pt x="491" y="597"/>
                  </a:lnTo>
                  <a:lnTo>
                    <a:pt x="481" y="601"/>
                  </a:lnTo>
                  <a:lnTo>
                    <a:pt x="470" y="604"/>
                  </a:lnTo>
                  <a:lnTo>
                    <a:pt x="460" y="605"/>
                  </a:lnTo>
                  <a:lnTo>
                    <a:pt x="452" y="606"/>
                  </a:lnTo>
                  <a:lnTo>
                    <a:pt x="443" y="605"/>
                  </a:lnTo>
                  <a:lnTo>
                    <a:pt x="433" y="604"/>
                  </a:lnTo>
                  <a:lnTo>
                    <a:pt x="424" y="601"/>
                  </a:lnTo>
                  <a:lnTo>
                    <a:pt x="412" y="597"/>
                  </a:lnTo>
                  <a:lnTo>
                    <a:pt x="400" y="592"/>
                  </a:lnTo>
                  <a:lnTo>
                    <a:pt x="388" y="586"/>
                  </a:lnTo>
                  <a:lnTo>
                    <a:pt x="377" y="580"/>
                  </a:lnTo>
                  <a:lnTo>
                    <a:pt x="364" y="572"/>
                  </a:lnTo>
                  <a:lnTo>
                    <a:pt x="363" y="571"/>
                  </a:lnTo>
                  <a:lnTo>
                    <a:pt x="362" y="570"/>
                  </a:lnTo>
                  <a:lnTo>
                    <a:pt x="345" y="558"/>
                  </a:lnTo>
                  <a:lnTo>
                    <a:pt x="330" y="544"/>
                  </a:lnTo>
                  <a:lnTo>
                    <a:pt x="323" y="537"/>
                  </a:lnTo>
                  <a:lnTo>
                    <a:pt x="315" y="529"/>
                  </a:lnTo>
                  <a:lnTo>
                    <a:pt x="309" y="521"/>
                  </a:lnTo>
                  <a:lnTo>
                    <a:pt x="303" y="512"/>
                  </a:lnTo>
                  <a:lnTo>
                    <a:pt x="297" y="503"/>
                  </a:lnTo>
                  <a:lnTo>
                    <a:pt x="292" y="494"/>
                  </a:lnTo>
                  <a:lnTo>
                    <a:pt x="288" y="484"/>
                  </a:lnTo>
                  <a:lnTo>
                    <a:pt x="284" y="475"/>
                  </a:lnTo>
                  <a:lnTo>
                    <a:pt x="281" y="464"/>
                  </a:lnTo>
                  <a:lnTo>
                    <a:pt x="279" y="453"/>
                  </a:lnTo>
                  <a:lnTo>
                    <a:pt x="278" y="442"/>
                  </a:lnTo>
                  <a:lnTo>
                    <a:pt x="277" y="432"/>
                  </a:lnTo>
                  <a:close/>
                  <a:moveTo>
                    <a:pt x="259" y="94"/>
                  </a:moveTo>
                  <a:lnTo>
                    <a:pt x="266" y="86"/>
                  </a:lnTo>
                  <a:lnTo>
                    <a:pt x="275" y="79"/>
                  </a:lnTo>
                  <a:lnTo>
                    <a:pt x="283" y="73"/>
                  </a:lnTo>
                  <a:lnTo>
                    <a:pt x="293" y="66"/>
                  </a:lnTo>
                  <a:lnTo>
                    <a:pt x="303" y="61"/>
                  </a:lnTo>
                  <a:lnTo>
                    <a:pt x="313" y="55"/>
                  </a:lnTo>
                  <a:lnTo>
                    <a:pt x="325" y="50"/>
                  </a:lnTo>
                  <a:lnTo>
                    <a:pt x="337" y="46"/>
                  </a:lnTo>
                  <a:lnTo>
                    <a:pt x="349" y="42"/>
                  </a:lnTo>
                  <a:lnTo>
                    <a:pt x="362" y="38"/>
                  </a:lnTo>
                  <a:lnTo>
                    <a:pt x="375" y="36"/>
                  </a:lnTo>
                  <a:lnTo>
                    <a:pt x="389" y="34"/>
                  </a:lnTo>
                  <a:lnTo>
                    <a:pt x="404" y="32"/>
                  </a:lnTo>
                  <a:lnTo>
                    <a:pt x="419" y="31"/>
                  </a:lnTo>
                  <a:lnTo>
                    <a:pt x="436" y="30"/>
                  </a:lnTo>
                  <a:lnTo>
                    <a:pt x="452" y="30"/>
                  </a:lnTo>
                  <a:lnTo>
                    <a:pt x="468" y="30"/>
                  </a:lnTo>
                  <a:lnTo>
                    <a:pt x="484" y="31"/>
                  </a:lnTo>
                  <a:lnTo>
                    <a:pt x="499" y="32"/>
                  </a:lnTo>
                  <a:lnTo>
                    <a:pt x="514" y="34"/>
                  </a:lnTo>
                  <a:lnTo>
                    <a:pt x="528" y="36"/>
                  </a:lnTo>
                  <a:lnTo>
                    <a:pt x="542" y="38"/>
                  </a:lnTo>
                  <a:lnTo>
                    <a:pt x="555" y="41"/>
                  </a:lnTo>
                  <a:lnTo>
                    <a:pt x="566" y="46"/>
                  </a:lnTo>
                  <a:lnTo>
                    <a:pt x="578" y="50"/>
                  </a:lnTo>
                  <a:lnTo>
                    <a:pt x="590" y="54"/>
                  </a:lnTo>
                  <a:lnTo>
                    <a:pt x="601" y="60"/>
                  </a:lnTo>
                  <a:lnTo>
                    <a:pt x="610" y="66"/>
                  </a:lnTo>
                  <a:lnTo>
                    <a:pt x="620" y="73"/>
                  </a:lnTo>
                  <a:lnTo>
                    <a:pt x="629" y="79"/>
                  </a:lnTo>
                  <a:lnTo>
                    <a:pt x="637" y="86"/>
                  </a:lnTo>
                  <a:lnTo>
                    <a:pt x="645" y="94"/>
                  </a:lnTo>
                  <a:lnTo>
                    <a:pt x="652" y="104"/>
                  </a:lnTo>
                  <a:lnTo>
                    <a:pt x="659" y="112"/>
                  </a:lnTo>
                  <a:lnTo>
                    <a:pt x="664" y="122"/>
                  </a:lnTo>
                  <a:lnTo>
                    <a:pt x="669" y="131"/>
                  </a:lnTo>
                  <a:lnTo>
                    <a:pt x="676" y="150"/>
                  </a:lnTo>
                  <a:lnTo>
                    <a:pt x="680" y="166"/>
                  </a:lnTo>
                  <a:lnTo>
                    <a:pt x="683" y="192"/>
                  </a:lnTo>
                  <a:lnTo>
                    <a:pt x="683" y="202"/>
                  </a:lnTo>
                  <a:lnTo>
                    <a:pt x="668" y="311"/>
                  </a:lnTo>
                  <a:lnTo>
                    <a:pt x="662" y="307"/>
                  </a:lnTo>
                  <a:lnTo>
                    <a:pt x="654" y="304"/>
                  </a:lnTo>
                  <a:lnTo>
                    <a:pt x="637" y="220"/>
                  </a:lnTo>
                  <a:lnTo>
                    <a:pt x="635" y="215"/>
                  </a:lnTo>
                  <a:lnTo>
                    <a:pt x="632" y="212"/>
                  </a:lnTo>
                  <a:lnTo>
                    <a:pt x="627" y="209"/>
                  </a:lnTo>
                  <a:lnTo>
                    <a:pt x="622" y="208"/>
                  </a:lnTo>
                  <a:lnTo>
                    <a:pt x="602" y="208"/>
                  </a:lnTo>
                  <a:lnTo>
                    <a:pt x="583" y="207"/>
                  </a:lnTo>
                  <a:lnTo>
                    <a:pt x="567" y="204"/>
                  </a:lnTo>
                  <a:lnTo>
                    <a:pt x="552" y="202"/>
                  </a:lnTo>
                  <a:lnTo>
                    <a:pt x="540" y="200"/>
                  </a:lnTo>
                  <a:lnTo>
                    <a:pt x="529" y="197"/>
                  </a:lnTo>
                  <a:lnTo>
                    <a:pt x="518" y="193"/>
                  </a:lnTo>
                  <a:lnTo>
                    <a:pt x="510" y="188"/>
                  </a:lnTo>
                  <a:lnTo>
                    <a:pt x="503" y="185"/>
                  </a:lnTo>
                  <a:lnTo>
                    <a:pt x="497" y="180"/>
                  </a:lnTo>
                  <a:lnTo>
                    <a:pt x="491" y="175"/>
                  </a:lnTo>
                  <a:lnTo>
                    <a:pt x="487" y="171"/>
                  </a:lnTo>
                  <a:lnTo>
                    <a:pt x="479" y="161"/>
                  </a:lnTo>
                  <a:lnTo>
                    <a:pt x="474" y="153"/>
                  </a:lnTo>
                  <a:lnTo>
                    <a:pt x="469" y="144"/>
                  </a:lnTo>
                  <a:lnTo>
                    <a:pt x="462" y="137"/>
                  </a:lnTo>
                  <a:lnTo>
                    <a:pt x="460" y="135"/>
                  </a:lnTo>
                  <a:lnTo>
                    <a:pt x="458" y="134"/>
                  </a:lnTo>
                  <a:lnTo>
                    <a:pt x="455" y="133"/>
                  </a:lnTo>
                  <a:lnTo>
                    <a:pt x="452" y="133"/>
                  </a:lnTo>
                  <a:lnTo>
                    <a:pt x="448" y="133"/>
                  </a:lnTo>
                  <a:lnTo>
                    <a:pt x="446" y="134"/>
                  </a:lnTo>
                  <a:lnTo>
                    <a:pt x="443" y="135"/>
                  </a:lnTo>
                  <a:lnTo>
                    <a:pt x="441" y="137"/>
                  </a:lnTo>
                  <a:lnTo>
                    <a:pt x="434" y="144"/>
                  </a:lnTo>
                  <a:lnTo>
                    <a:pt x="429" y="153"/>
                  </a:lnTo>
                  <a:lnTo>
                    <a:pt x="424" y="161"/>
                  </a:lnTo>
                  <a:lnTo>
                    <a:pt x="417" y="171"/>
                  </a:lnTo>
                  <a:lnTo>
                    <a:pt x="412" y="175"/>
                  </a:lnTo>
                  <a:lnTo>
                    <a:pt x="408" y="180"/>
                  </a:lnTo>
                  <a:lnTo>
                    <a:pt x="401" y="184"/>
                  </a:lnTo>
                  <a:lnTo>
                    <a:pt x="394" y="188"/>
                  </a:lnTo>
                  <a:lnTo>
                    <a:pt x="385" y="193"/>
                  </a:lnTo>
                  <a:lnTo>
                    <a:pt x="375" y="197"/>
                  </a:lnTo>
                  <a:lnTo>
                    <a:pt x="364" y="200"/>
                  </a:lnTo>
                  <a:lnTo>
                    <a:pt x="351" y="202"/>
                  </a:lnTo>
                  <a:lnTo>
                    <a:pt x="337" y="204"/>
                  </a:lnTo>
                  <a:lnTo>
                    <a:pt x="320" y="207"/>
                  </a:lnTo>
                  <a:lnTo>
                    <a:pt x="302" y="208"/>
                  </a:lnTo>
                  <a:lnTo>
                    <a:pt x="281" y="208"/>
                  </a:lnTo>
                  <a:lnTo>
                    <a:pt x="276" y="209"/>
                  </a:lnTo>
                  <a:lnTo>
                    <a:pt x="271" y="212"/>
                  </a:lnTo>
                  <a:lnTo>
                    <a:pt x="268" y="215"/>
                  </a:lnTo>
                  <a:lnTo>
                    <a:pt x="266" y="220"/>
                  </a:lnTo>
                  <a:lnTo>
                    <a:pt x="250" y="304"/>
                  </a:lnTo>
                  <a:lnTo>
                    <a:pt x="241" y="307"/>
                  </a:lnTo>
                  <a:lnTo>
                    <a:pt x="235" y="311"/>
                  </a:lnTo>
                  <a:lnTo>
                    <a:pt x="220" y="202"/>
                  </a:lnTo>
                  <a:lnTo>
                    <a:pt x="220" y="193"/>
                  </a:lnTo>
                  <a:lnTo>
                    <a:pt x="223" y="167"/>
                  </a:lnTo>
                  <a:lnTo>
                    <a:pt x="228" y="150"/>
                  </a:lnTo>
                  <a:lnTo>
                    <a:pt x="234" y="131"/>
                  </a:lnTo>
                  <a:lnTo>
                    <a:pt x="239" y="122"/>
                  </a:lnTo>
                  <a:lnTo>
                    <a:pt x="245" y="113"/>
                  </a:lnTo>
                  <a:lnTo>
                    <a:pt x="251" y="104"/>
                  </a:lnTo>
                  <a:lnTo>
                    <a:pt x="259" y="94"/>
                  </a:lnTo>
                  <a:close/>
                  <a:moveTo>
                    <a:pt x="794" y="635"/>
                  </a:moveTo>
                  <a:lnTo>
                    <a:pt x="581" y="576"/>
                  </a:lnTo>
                  <a:lnTo>
                    <a:pt x="595" y="564"/>
                  </a:lnTo>
                  <a:lnTo>
                    <a:pt x="609" y="550"/>
                  </a:lnTo>
                  <a:lnTo>
                    <a:pt x="621" y="535"/>
                  </a:lnTo>
                  <a:lnTo>
                    <a:pt x="632" y="519"/>
                  </a:lnTo>
                  <a:lnTo>
                    <a:pt x="640" y="501"/>
                  </a:lnTo>
                  <a:lnTo>
                    <a:pt x="648" y="484"/>
                  </a:lnTo>
                  <a:lnTo>
                    <a:pt x="651" y="475"/>
                  </a:lnTo>
                  <a:lnTo>
                    <a:pt x="653" y="465"/>
                  </a:lnTo>
                  <a:lnTo>
                    <a:pt x="654" y="455"/>
                  </a:lnTo>
                  <a:lnTo>
                    <a:pt x="656" y="445"/>
                  </a:lnTo>
                  <a:lnTo>
                    <a:pt x="661" y="443"/>
                  </a:lnTo>
                  <a:lnTo>
                    <a:pt x="666" y="440"/>
                  </a:lnTo>
                  <a:lnTo>
                    <a:pt x="670" y="438"/>
                  </a:lnTo>
                  <a:lnTo>
                    <a:pt x="675" y="435"/>
                  </a:lnTo>
                  <a:lnTo>
                    <a:pt x="682" y="427"/>
                  </a:lnTo>
                  <a:lnTo>
                    <a:pt x="689" y="419"/>
                  </a:lnTo>
                  <a:lnTo>
                    <a:pt x="693" y="408"/>
                  </a:lnTo>
                  <a:lnTo>
                    <a:pt x="696" y="397"/>
                  </a:lnTo>
                  <a:lnTo>
                    <a:pt x="698" y="387"/>
                  </a:lnTo>
                  <a:lnTo>
                    <a:pt x="699" y="375"/>
                  </a:lnTo>
                  <a:lnTo>
                    <a:pt x="699" y="367"/>
                  </a:lnTo>
                  <a:lnTo>
                    <a:pt x="698" y="360"/>
                  </a:lnTo>
                  <a:lnTo>
                    <a:pt x="696" y="352"/>
                  </a:lnTo>
                  <a:lnTo>
                    <a:pt x="694" y="345"/>
                  </a:lnTo>
                  <a:lnTo>
                    <a:pt x="713" y="205"/>
                  </a:lnTo>
                  <a:lnTo>
                    <a:pt x="713" y="201"/>
                  </a:lnTo>
                  <a:lnTo>
                    <a:pt x="713" y="192"/>
                  </a:lnTo>
                  <a:lnTo>
                    <a:pt x="713" y="178"/>
                  </a:lnTo>
                  <a:lnTo>
                    <a:pt x="710" y="160"/>
                  </a:lnTo>
                  <a:lnTo>
                    <a:pt x="708" y="151"/>
                  </a:lnTo>
                  <a:lnTo>
                    <a:pt x="705" y="140"/>
                  </a:lnTo>
                  <a:lnTo>
                    <a:pt x="701" y="129"/>
                  </a:lnTo>
                  <a:lnTo>
                    <a:pt x="697" y="119"/>
                  </a:lnTo>
                  <a:lnTo>
                    <a:pt x="691" y="108"/>
                  </a:lnTo>
                  <a:lnTo>
                    <a:pt x="684" y="96"/>
                  </a:lnTo>
                  <a:lnTo>
                    <a:pt x="677" y="85"/>
                  </a:lnTo>
                  <a:lnTo>
                    <a:pt x="667" y="74"/>
                  </a:lnTo>
                  <a:lnTo>
                    <a:pt x="659" y="65"/>
                  </a:lnTo>
                  <a:lnTo>
                    <a:pt x="649" y="56"/>
                  </a:lnTo>
                  <a:lnTo>
                    <a:pt x="639" y="49"/>
                  </a:lnTo>
                  <a:lnTo>
                    <a:pt x="629" y="41"/>
                  </a:lnTo>
                  <a:lnTo>
                    <a:pt x="617" y="35"/>
                  </a:lnTo>
                  <a:lnTo>
                    <a:pt x="605" y="29"/>
                  </a:lnTo>
                  <a:lnTo>
                    <a:pt x="593" y="23"/>
                  </a:lnTo>
                  <a:lnTo>
                    <a:pt x="579" y="18"/>
                  </a:lnTo>
                  <a:lnTo>
                    <a:pt x="565" y="14"/>
                  </a:lnTo>
                  <a:lnTo>
                    <a:pt x="551" y="10"/>
                  </a:lnTo>
                  <a:lnTo>
                    <a:pt x="536" y="7"/>
                  </a:lnTo>
                  <a:lnTo>
                    <a:pt x="520" y="4"/>
                  </a:lnTo>
                  <a:lnTo>
                    <a:pt x="504" y="2"/>
                  </a:lnTo>
                  <a:lnTo>
                    <a:pt x="487" y="1"/>
                  </a:lnTo>
                  <a:lnTo>
                    <a:pt x="470" y="0"/>
                  </a:lnTo>
                  <a:lnTo>
                    <a:pt x="452" y="0"/>
                  </a:lnTo>
                  <a:lnTo>
                    <a:pt x="433" y="0"/>
                  </a:lnTo>
                  <a:lnTo>
                    <a:pt x="416" y="1"/>
                  </a:lnTo>
                  <a:lnTo>
                    <a:pt x="399" y="2"/>
                  </a:lnTo>
                  <a:lnTo>
                    <a:pt x="383" y="4"/>
                  </a:lnTo>
                  <a:lnTo>
                    <a:pt x="367" y="7"/>
                  </a:lnTo>
                  <a:lnTo>
                    <a:pt x="352" y="10"/>
                  </a:lnTo>
                  <a:lnTo>
                    <a:pt x="338" y="14"/>
                  </a:lnTo>
                  <a:lnTo>
                    <a:pt x="324" y="18"/>
                  </a:lnTo>
                  <a:lnTo>
                    <a:pt x="311" y="23"/>
                  </a:lnTo>
                  <a:lnTo>
                    <a:pt x="298" y="29"/>
                  </a:lnTo>
                  <a:lnTo>
                    <a:pt x="286" y="35"/>
                  </a:lnTo>
                  <a:lnTo>
                    <a:pt x="275" y="41"/>
                  </a:lnTo>
                  <a:lnTo>
                    <a:pt x="265" y="49"/>
                  </a:lnTo>
                  <a:lnTo>
                    <a:pt x="254" y="56"/>
                  </a:lnTo>
                  <a:lnTo>
                    <a:pt x="245" y="65"/>
                  </a:lnTo>
                  <a:lnTo>
                    <a:pt x="236" y="74"/>
                  </a:lnTo>
                  <a:lnTo>
                    <a:pt x="228" y="85"/>
                  </a:lnTo>
                  <a:lnTo>
                    <a:pt x="219" y="96"/>
                  </a:lnTo>
                  <a:lnTo>
                    <a:pt x="213" y="108"/>
                  </a:lnTo>
                  <a:lnTo>
                    <a:pt x="207" y="119"/>
                  </a:lnTo>
                  <a:lnTo>
                    <a:pt x="202" y="129"/>
                  </a:lnTo>
                  <a:lnTo>
                    <a:pt x="199" y="140"/>
                  </a:lnTo>
                  <a:lnTo>
                    <a:pt x="195" y="151"/>
                  </a:lnTo>
                  <a:lnTo>
                    <a:pt x="193" y="160"/>
                  </a:lnTo>
                  <a:lnTo>
                    <a:pt x="191" y="179"/>
                  </a:lnTo>
                  <a:lnTo>
                    <a:pt x="190" y="193"/>
                  </a:lnTo>
                  <a:lnTo>
                    <a:pt x="190" y="202"/>
                  </a:lnTo>
                  <a:lnTo>
                    <a:pt x="190" y="207"/>
                  </a:lnTo>
                  <a:lnTo>
                    <a:pt x="209" y="345"/>
                  </a:lnTo>
                  <a:lnTo>
                    <a:pt x="207" y="352"/>
                  </a:lnTo>
                  <a:lnTo>
                    <a:pt x="206" y="360"/>
                  </a:lnTo>
                  <a:lnTo>
                    <a:pt x="205" y="367"/>
                  </a:lnTo>
                  <a:lnTo>
                    <a:pt x="204" y="375"/>
                  </a:lnTo>
                  <a:lnTo>
                    <a:pt x="205" y="387"/>
                  </a:lnTo>
                  <a:lnTo>
                    <a:pt x="207" y="397"/>
                  </a:lnTo>
                  <a:lnTo>
                    <a:pt x="210" y="408"/>
                  </a:lnTo>
                  <a:lnTo>
                    <a:pt x="216" y="419"/>
                  </a:lnTo>
                  <a:lnTo>
                    <a:pt x="221" y="427"/>
                  </a:lnTo>
                  <a:lnTo>
                    <a:pt x="229" y="435"/>
                  </a:lnTo>
                  <a:lnTo>
                    <a:pt x="233" y="438"/>
                  </a:lnTo>
                  <a:lnTo>
                    <a:pt x="237" y="440"/>
                  </a:lnTo>
                  <a:lnTo>
                    <a:pt x="243" y="443"/>
                  </a:lnTo>
                  <a:lnTo>
                    <a:pt x="248" y="445"/>
                  </a:lnTo>
                  <a:lnTo>
                    <a:pt x="249" y="455"/>
                  </a:lnTo>
                  <a:lnTo>
                    <a:pt x="251" y="465"/>
                  </a:lnTo>
                  <a:lnTo>
                    <a:pt x="253" y="475"/>
                  </a:lnTo>
                  <a:lnTo>
                    <a:pt x="255" y="484"/>
                  </a:lnTo>
                  <a:lnTo>
                    <a:pt x="263" y="502"/>
                  </a:lnTo>
                  <a:lnTo>
                    <a:pt x="273" y="520"/>
                  </a:lnTo>
                  <a:lnTo>
                    <a:pt x="283" y="536"/>
                  </a:lnTo>
                  <a:lnTo>
                    <a:pt x="295" y="551"/>
                  </a:lnTo>
                  <a:lnTo>
                    <a:pt x="308" y="565"/>
                  </a:lnTo>
                  <a:lnTo>
                    <a:pt x="323" y="577"/>
                  </a:lnTo>
                  <a:lnTo>
                    <a:pt x="109" y="635"/>
                  </a:lnTo>
                  <a:lnTo>
                    <a:pt x="97" y="641"/>
                  </a:lnTo>
                  <a:lnTo>
                    <a:pt x="86" y="646"/>
                  </a:lnTo>
                  <a:lnTo>
                    <a:pt x="75" y="654"/>
                  </a:lnTo>
                  <a:lnTo>
                    <a:pt x="65" y="661"/>
                  </a:lnTo>
                  <a:lnTo>
                    <a:pt x="56" y="670"/>
                  </a:lnTo>
                  <a:lnTo>
                    <a:pt x="46" y="678"/>
                  </a:lnTo>
                  <a:lnTo>
                    <a:pt x="39" y="688"/>
                  </a:lnTo>
                  <a:lnTo>
                    <a:pt x="31" y="699"/>
                  </a:lnTo>
                  <a:lnTo>
                    <a:pt x="24" y="709"/>
                  </a:lnTo>
                  <a:lnTo>
                    <a:pt x="18" y="721"/>
                  </a:lnTo>
                  <a:lnTo>
                    <a:pt x="13" y="733"/>
                  </a:lnTo>
                  <a:lnTo>
                    <a:pt x="9" y="745"/>
                  </a:lnTo>
                  <a:lnTo>
                    <a:pt x="6" y="758"/>
                  </a:lnTo>
                  <a:lnTo>
                    <a:pt x="2" y="770"/>
                  </a:lnTo>
                  <a:lnTo>
                    <a:pt x="1" y="783"/>
                  </a:lnTo>
                  <a:lnTo>
                    <a:pt x="0" y="796"/>
                  </a:lnTo>
                  <a:lnTo>
                    <a:pt x="0" y="901"/>
                  </a:lnTo>
                  <a:lnTo>
                    <a:pt x="338" y="901"/>
                  </a:lnTo>
                  <a:lnTo>
                    <a:pt x="565" y="901"/>
                  </a:lnTo>
                  <a:lnTo>
                    <a:pt x="903" y="901"/>
                  </a:lnTo>
                  <a:lnTo>
                    <a:pt x="903" y="796"/>
                  </a:lnTo>
                  <a:lnTo>
                    <a:pt x="903" y="783"/>
                  </a:lnTo>
                  <a:lnTo>
                    <a:pt x="901" y="770"/>
                  </a:lnTo>
                  <a:lnTo>
                    <a:pt x="899" y="758"/>
                  </a:lnTo>
                  <a:lnTo>
                    <a:pt x="895" y="745"/>
                  </a:lnTo>
                  <a:lnTo>
                    <a:pt x="891" y="733"/>
                  </a:lnTo>
                  <a:lnTo>
                    <a:pt x="886" y="721"/>
                  </a:lnTo>
                  <a:lnTo>
                    <a:pt x="879" y="709"/>
                  </a:lnTo>
                  <a:lnTo>
                    <a:pt x="873" y="699"/>
                  </a:lnTo>
                  <a:lnTo>
                    <a:pt x="865" y="688"/>
                  </a:lnTo>
                  <a:lnTo>
                    <a:pt x="857" y="678"/>
                  </a:lnTo>
                  <a:lnTo>
                    <a:pt x="847" y="670"/>
                  </a:lnTo>
                  <a:lnTo>
                    <a:pt x="838" y="661"/>
                  </a:lnTo>
                  <a:lnTo>
                    <a:pt x="828" y="654"/>
                  </a:lnTo>
                  <a:lnTo>
                    <a:pt x="817" y="646"/>
                  </a:lnTo>
                  <a:lnTo>
                    <a:pt x="805" y="641"/>
                  </a:lnTo>
                  <a:lnTo>
                    <a:pt x="794"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45">
              <a:extLst>
                <a:ext uri="{FF2B5EF4-FFF2-40B4-BE49-F238E27FC236}">
                  <a16:creationId xmlns:a16="http://schemas.microsoft.com/office/drawing/2014/main" id="{429C6E97-894E-4E4B-9E64-FF63BC13D4FD}"/>
                </a:ext>
              </a:extLst>
            </p:cNvPr>
            <p:cNvSpPr>
              <a:spLocks/>
            </p:cNvSpPr>
            <p:nvPr/>
          </p:nvSpPr>
          <p:spPr bwMode="auto">
            <a:xfrm>
              <a:off x="5567363" y="3736975"/>
              <a:ext cx="33338" cy="15875"/>
            </a:xfrm>
            <a:custGeom>
              <a:avLst/>
              <a:gdLst>
                <a:gd name="T0" fmla="*/ 30 w 106"/>
                <a:gd name="T1" fmla="*/ 31 h 49"/>
                <a:gd name="T2" fmla="*/ 37 w 106"/>
                <a:gd name="T3" fmla="*/ 30 h 49"/>
                <a:gd name="T4" fmla="*/ 52 w 106"/>
                <a:gd name="T5" fmla="*/ 30 h 49"/>
                <a:gd name="T6" fmla="*/ 69 w 106"/>
                <a:gd name="T7" fmla="*/ 30 h 49"/>
                <a:gd name="T8" fmla="*/ 76 w 106"/>
                <a:gd name="T9" fmla="*/ 31 h 49"/>
                <a:gd name="T10" fmla="*/ 76 w 106"/>
                <a:gd name="T11" fmla="*/ 37 h 49"/>
                <a:gd name="T12" fmla="*/ 78 w 106"/>
                <a:gd name="T13" fmla="*/ 42 h 49"/>
                <a:gd name="T14" fmla="*/ 83 w 106"/>
                <a:gd name="T15" fmla="*/ 46 h 49"/>
                <a:gd name="T16" fmla="*/ 88 w 106"/>
                <a:gd name="T17" fmla="*/ 49 h 49"/>
                <a:gd name="T18" fmla="*/ 94 w 106"/>
                <a:gd name="T19" fmla="*/ 49 h 49"/>
                <a:gd name="T20" fmla="*/ 100 w 106"/>
                <a:gd name="T21" fmla="*/ 46 h 49"/>
                <a:gd name="T22" fmla="*/ 103 w 106"/>
                <a:gd name="T23" fmla="*/ 42 h 49"/>
                <a:gd name="T24" fmla="*/ 106 w 106"/>
                <a:gd name="T25" fmla="*/ 37 h 49"/>
                <a:gd name="T26" fmla="*/ 105 w 106"/>
                <a:gd name="T27" fmla="*/ 27 h 49"/>
                <a:gd name="T28" fmla="*/ 101 w 106"/>
                <a:gd name="T29" fmla="*/ 14 h 49"/>
                <a:gd name="T30" fmla="*/ 93 w 106"/>
                <a:gd name="T31" fmla="*/ 7 h 49"/>
                <a:gd name="T32" fmla="*/ 84 w 106"/>
                <a:gd name="T33" fmla="*/ 2 h 49"/>
                <a:gd name="T34" fmla="*/ 69 w 106"/>
                <a:gd name="T35" fmla="*/ 0 h 49"/>
                <a:gd name="T36" fmla="*/ 52 w 106"/>
                <a:gd name="T37" fmla="*/ 0 h 49"/>
                <a:gd name="T38" fmla="*/ 37 w 106"/>
                <a:gd name="T39" fmla="*/ 0 h 49"/>
                <a:gd name="T40" fmla="*/ 22 w 106"/>
                <a:gd name="T41" fmla="*/ 2 h 49"/>
                <a:gd name="T42" fmla="*/ 13 w 106"/>
                <a:gd name="T43" fmla="*/ 7 h 49"/>
                <a:gd name="T44" fmla="*/ 5 w 106"/>
                <a:gd name="T45" fmla="*/ 14 h 49"/>
                <a:gd name="T46" fmla="*/ 0 w 106"/>
                <a:gd name="T47" fmla="*/ 27 h 49"/>
                <a:gd name="T48" fmla="*/ 0 w 106"/>
                <a:gd name="T49" fmla="*/ 37 h 49"/>
                <a:gd name="T50" fmla="*/ 2 w 106"/>
                <a:gd name="T51" fmla="*/ 42 h 49"/>
                <a:gd name="T52" fmla="*/ 6 w 106"/>
                <a:gd name="T53" fmla="*/ 46 h 49"/>
                <a:gd name="T54" fmla="*/ 12 w 106"/>
                <a:gd name="T55" fmla="*/ 49 h 49"/>
                <a:gd name="T56" fmla="*/ 18 w 106"/>
                <a:gd name="T57" fmla="*/ 49 h 49"/>
                <a:gd name="T58" fmla="*/ 24 w 106"/>
                <a:gd name="T59" fmla="*/ 46 h 49"/>
                <a:gd name="T60" fmla="*/ 28 w 106"/>
                <a:gd name="T61" fmla="*/ 42 h 49"/>
                <a:gd name="T62" fmla="*/ 30 w 106"/>
                <a:gd name="T63"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30" y="34"/>
                  </a:moveTo>
                  <a:lnTo>
                    <a:pt x="30" y="31"/>
                  </a:lnTo>
                  <a:lnTo>
                    <a:pt x="30" y="31"/>
                  </a:lnTo>
                  <a:lnTo>
                    <a:pt x="37" y="30"/>
                  </a:lnTo>
                  <a:lnTo>
                    <a:pt x="48" y="30"/>
                  </a:lnTo>
                  <a:lnTo>
                    <a:pt x="52" y="30"/>
                  </a:lnTo>
                  <a:lnTo>
                    <a:pt x="58" y="29"/>
                  </a:lnTo>
                  <a:lnTo>
                    <a:pt x="69" y="30"/>
                  </a:lnTo>
                  <a:lnTo>
                    <a:pt x="75" y="30"/>
                  </a:lnTo>
                  <a:lnTo>
                    <a:pt x="76" y="31"/>
                  </a:lnTo>
                  <a:lnTo>
                    <a:pt x="76" y="34"/>
                  </a:lnTo>
                  <a:lnTo>
                    <a:pt x="76" y="37"/>
                  </a:lnTo>
                  <a:lnTo>
                    <a:pt x="77" y="40"/>
                  </a:lnTo>
                  <a:lnTo>
                    <a:pt x="78" y="42"/>
                  </a:lnTo>
                  <a:lnTo>
                    <a:pt x="80" y="44"/>
                  </a:lnTo>
                  <a:lnTo>
                    <a:pt x="83" y="46"/>
                  </a:lnTo>
                  <a:lnTo>
                    <a:pt x="85" y="47"/>
                  </a:lnTo>
                  <a:lnTo>
                    <a:pt x="88" y="49"/>
                  </a:lnTo>
                  <a:lnTo>
                    <a:pt x="91" y="49"/>
                  </a:lnTo>
                  <a:lnTo>
                    <a:pt x="94" y="49"/>
                  </a:lnTo>
                  <a:lnTo>
                    <a:pt x="96" y="47"/>
                  </a:lnTo>
                  <a:lnTo>
                    <a:pt x="100" y="46"/>
                  </a:lnTo>
                  <a:lnTo>
                    <a:pt x="102" y="44"/>
                  </a:lnTo>
                  <a:lnTo>
                    <a:pt x="103" y="42"/>
                  </a:lnTo>
                  <a:lnTo>
                    <a:pt x="105" y="40"/>
                  </a:lnTo>
                  <a:lnTo>
                    <a:pt x="106" y="37"/>
                  </a:lnTo>
                  <a:lnTo>
                    <a:pt x="106" y="34"/>
                  </a:lnTo>
                  <a:lnTo>
                    <a:pt x="105" y="27"/>
                  </a:lnTo>
                  <a:lnTo>
                    <a:pt x="104" y="20"/>
                  </a:lnTo>
                  <a:lnTo>
                    <a:pt x="101" y="14"/>
                  </a:lnTo>
                  <a:lnTo>
                    <a:pt x="98" y="10"/>
                  </a:lnTo>
                  <a:lnTo>
                    <a:pt x="93" y="7"/>
                  </a:lnTo>
                  <a:lnTo>
                    <a:pt x="89" y="4"/>
                  </a:lnTo>
                  <a:lnTo>
                    <a:pt x="84" y="2"/>
                  </a:lnTo>
                  <a:lnTo>
                    <a:pt x="79" y="1"/>
                  </a:lnTo>
                  <a:lnTo>
                    <a:pt x="69" y="0"/>
                  </a:lnTo>
                  <a:lnTo>
                    <a:pt x="58" y="0"/>
                  </a:lnTo>
                  <a:lnTo>
                    <a:pt x="52" y="0"/>
                  </a:lnTo>
                  <a:lnTo>
                    <a:pt x="48" y="0"/>
                  </a:lnTo>
                  <a:lnTo>
                    <a:pt x="37" y="0"/>
                  </a:lnTo>
                  <a:lnTo>
                    <a:pt x="27" y="1"/>
                  </a:lnTo>
                  <a:lnTo>
                    <a:pt x="22" y="2"/>
                  </a:lnTo>
                  <a:lnTo>
                    <a:pt x="17" y="4"/>
                  </a:lnTo>
                  <a:lnTo>
                    <a:pt x="13" y="7"/>
                  </a:lnTo>
                  <a:lnTo>
                    <a:pt x="9" y="10"/>
                  </a:lnTo>
                  <a:lnTo>
                    <a:pt x="5" y="14"/>
                  </a:lnTo>
                  <a:lnTo>
                    <a:pt x="2" y="20"/>
                  </a:lnTo>
                  <a:lnTo>
                    <a:pt x="0" y="27"/>
                  </a:lnTo>
                  <a:lnTo>
                    <a:pt x="0" y="34"/>
                  </a:lnTo>
                  <a:lnTo>
                    <a:pt x="0" y="37"/>
                  </a:lnTo>
                  <a:lnTo>
                    <a:pt x="1" y="40"/>
                  </a:lnTo>
                  <a:lnTo>
                    <a:pt x="2" y="42"/>
                  </a:lnTo>
                  <a:lnTo>
                    <a:pt x="4" y="44"/>
                  </a:lnTo>
                  <a:lnTo>
                    <a:pt x="6" y="46"/>
                  </a:lnTo>
                  <a:lnTo>
                    <a:pt x="10" y="47"/>
                  </a:lnTo>
                  <a:lnTo>
                    <a:pt x="12" y="49"/>
                  </a:lnTo>
                  <a:lnTo>
                    <a:pt x="15" y="49"/>
                  </a:lnTo>
                  <a:lnTo>
                    <a:pt x="18" y="49"/>
                  </a:lnTo>
                  <a:lnTo>
                    <a:pt x="21" y="47"/>
                  </a:lnTo>
                  <a:lnTo>
                    <a:pt x="24" y="46"/>
                  </a:lnTo>
                  <a:lnTo>
                    <a:pt x="26" y="44"/>
                  </a:lnTo>
                  <a:lnTo>
                    <a:pt x="28" y="42"/>
                  </a:lnTo>
                  <a:lnTo>
                    <a:pt x="29" y="40"/>
                  </a:lnTo>
                  <a:lnTo>
                    <a:pt x="30" y="37"/>
                  </a:lnTo>
                  <a:lnTo>
                    <a:pt x="3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46">
              <a:extLst>
                <a:ext uri="{FF2B5EF4-FFF2-40B4-BE49-F238E27FC236}">
                  <a16:creationId xmlns:a16="http://schemas.microsoft.com/office/drawing/2014/main" id="{9427BC51-4F47-45A4-AC93-CF7AAF2BABB5}"/>
                </a:ext>
              </a:extLst>
            </p:cNvPr>
            <p:cNvSpPr>
              <a:spLocks/>
            </p:cNvSpPr>
            <p:nvPr/>
          </p:nvSpPr>
          <p:spPr bwMode="auto">
            <a:xfrm>
              <a:off x="5614988" y="3736975"/>
              <a:ext cx="33338" cy="15875"/>
            </a:xfrm>
            <a:custGeom>
              <a:avLst/>
              <a:gdLst>
                <a:gd name="T0" fmla="*/ 17 w 105"/>
                <a:gd name="T1" fmla="*/ 49 h 49"/>
                <a:gd name="T2" fmla="*/ 23 w 105"/>
                <a:gd name="T3" fmla="*/ 46 h 49"/>
                <a:gd name="T4" fmla="*/ 27 w 105"/>
                <a:gd name="T5" fmla="*/ 42 h 49"/>
                <a:gd name="T6" fmla="*/ 29 w 105"/>
                <a:gd name="T7" fmla="*/ 37 h 49"/>
                <a:gd name="T8" fmla="*/ 30 w 105"/>
                <a:gd name="T9" fmla="*/ 31 h 49"/>
                <a:gd name="T10" fmla="*/ 38 w 105"/>
                <a:gd name="T11" fmla="*/ 30 h 49"/>
                <a:gd name="T12" fmla="*/ 53 w 105"/>
                <a:gd name="T13" fmla="*/ 30 h 49"/>
                <a:gd name="T14" fmla="*/ 68 w 105"/>
                <a:gd name="T15" fmla="*/ 30 h 49"/>
                <a:gd name="T16" fmla="*/ 75 w 105"/>
                <a:gd name="T17" fmla="*/ 31 h 49"/>
                <a:gd name="T18" fmla="*/ 75 w 105"/>
                <a:gd name="T19" fmla="*/ 37 h 49"/>
                <a:gd name="T20" fmla="*/ 78 w 105"/>
                <a:gd name="T21" fmla="*/ 42 h 49"/>
                <a:gd name="T22" fmla="*/ 82 w 105"/>
                <a:gd name="T23" fmla="*/ 46 h 49"/>
                <a:gd name="T24" fmla="*/ 87 w 105"/>
                <a:gd name="T25" fmla="*/ 49 h 49"/>
                <a:gd name="T26" fmla="*/ 93 w 105"/>
                <a:gd name="T27" fmla="*/ 49 h 49"/>
                <a:gd name="T28" fmla="*/ 99 w 105"/>
                <a:gd name="T29" fmla="*/ 46 h 49"/>
                <a:gd name="T30" fmla="*/ 103 w 105"/>
                <a:gd name="T31" fmla="*/ 42 h 49"/>
                <a:gd name="T32" fmla="*/ 105 w 105"/>
                <a:gd name="T33" fmla="*/ 37 h 49"/>
                <a:gd name="T34" fmla="*/ 105 w 105"/>
                <a:gd name="T35" fmla="*/ 27 h 49"/>
                <a:gd name="T36" fmla="*/ 101 w 105"/>
                <a:gd name="T37" fmla="*/ 14 h 49"/>
                <a:gd name="T38" fmla="*/ 92 w 105"/>
                <a:gd name="T39" fmla="*/ 7 h 49"/>
                <a:gd name="T40" fmla="*/ 84 w 105"/>
                <a:gd name="T41" fmla="*/ 2 h 49"/>
                <a:gd name="T42" fmla="*/ 69 w 105"/>
                <a:gd name="T43" fmla="*/ 0 h 49"/>
                <a:gd name="T44" fmla="*/ 53 w 105"/>
                <a:gd name="T45" fmla="*/ 0 h 49"/>
                <a:gd name="T46" fmla="*/ 37 w 105"/>
                <a:gd name="T47" fmla="*/ 0 h 49"/>
                <a:gd name="T48" fmla="*/ 22 w 105"/>
                <a:gd name="T49" fmla="*/ 2 h 49"/>
                <a:gd name="T50" fmla="*/ 13 w 105"/>
                <a:gd name="T51" fmla="*/ 7 h 49"/>
                <a:gd name="T52" fmla="*/ 4 w 105"/>
                <a:gd name="T53" fmla="*/ 14 h 49"/>
                <a:gd name="T54" fmla="*/ 0 w 105"/>
                <a:gd name="T55" fmla="*/ 27 h 49"/>
                <a:gd name="T56" fmla="*/ 0 w 105"/>
                <a:gd name="T57" fmla="*/ 37 h 49"/>
                <a:gd name="T58" fmla="*/ 2 w 105"/>
                <a:gd name="T59" fmla="*/ 42 h 49"/>
                <a:gd name="T60" fmla="*/ 7 w 105"/>
                <a:gd name="T61" fmla="*/ 46 h 49"/>
                <a:gd name="T62" fmla="*/ 12 w 105"/>
                <a:gd name="T6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9">
                  <a:moveTo>
                    <a:pt x="15" y="49"/>
                  </a:moveTo>
                  <a:lnTo>
                    <a:pt x="17" y="49"/>
                  </a:lnTo>
                  <a:lnTo>
                    <a:pt x="21" y="47"/>
                  </a:lnTo>
                  <a:lnTo>
                    <a:pt x="23" y="46"/>
                  </a:lnTo>
                  <a:lnTo>
                    <a:pt x="25" y="44"/>
                  </a:lnTo>
                  <a:lnTo>
                    <a:pt x="27" y="42"/>
                  </a:lnTo>
                  <a:lnTo>
                    <a:pt x="28" y="40"/>
                  </a:lnTo>
                  <a:lnTo>
                    <a:pt x="29" y="37"/>
                  </a:lnTo>
                  <a:lnTo>
                    <a:pt x="30" y="34"/>
                  </a:lnTo>
                  <a:lnTo>
                    <a:pt x="30" y="31"/>
                  </a:lnTo>
                  <a:lnTo>
                    <a:pt x="30" y="31"/>
                  </a:lnTo>
                  <a:lnTo>
                    <a:pt x="38" y="30"/>
                  </a:lnTo>
                  <a:lnTo>
                    <a:pt x="47" y="30"/>
                  </a:lnTo>
                  <a:lnTo>
                    <a:pt x="53" y="30"/>
                  </a:lnTo>
                  <a:lnTo>
                    <a:pt x="58" y="29"/>
                  </a:lnTo>
                  <a:lnTo>
                    <a:pt x="68" y="30"/>
                  </a:lnTo>
                  <a:lnTo>
                    <a:pt x="75" y="30"/>
                  </a:lnTo>
                  <a:lnTo>
                    <a:pt x="75" y="31"/>
                  </a:lnTo>
                  <a:lnTo>
                    <a:pt x="75" y="34"/>
                  </a:lnTo>
                  <a:lnTo>
                    <a:pt x="75" y="37"/>
                  </a:lnTo>
                  <a:lnTo>
                    <a:pt x="76" y="40"/>
                  </a:lnTo>
                  <a:lnTo>
                    <a:pt x="78" y="42"/>
                  </a:lnTo>
                  <a:lnTo>
                    <a:pt x="80" y="44"/>
                  </a:lnTo>
                  <a:lnTo>
                    <a:pt x="82" y="46"/>
                  </a:lnTo>
                  <a:lnTo>
                    <a:pt x="85" y="47"/>
                  </a:lnTo>
                  <a:lnTo>
                    <a:pt x="87" y="49"/>
                  </a:lnTo>
                  <a:lnTo>
                    <a:pt x="90" y="49"/>
                  </a:lnTo>
                  <a:lnTo>
                    <a:pt x="93" y="49"/>
                  </a:lnTo>
                  <a:lnTo>
                    <a:pt x="97" y="47"/>
                  </a:lnTo>
                  <a:lnTo>
                    <a:pt x="99" y="46"/>
                  </a:lnTo>
                  <a:lnTo>
                    <a:pt x="101" y="44"/>
                  </a:lnTo>
                  <a:lnTo>
                    <a:pt x="103" y="42"/>
                  </a:lnTo>
                  <a:lnTo>
                    <a:pt x="104" y="40"/>
                  </a:lnTo>
                  <a:lnTo>
                    <a:pt x="105" y="37"/>
                  </a:lnTo>
                  <a:lnTo>
                    <a:pt x="105" y="34"/>
                  </a:lnTo>
                  <a:lnTo>
                    <a:pt x="105" y="27"/>
                  </a:lnTo>
                  <a:lnTo>
                    <a:pt x="103" y="20"/>
                  </a:lnTo>
                  <a:lnTo>
                    <a:pt x="101" y="14"/>
                  </a:lnTo>
                  <a:lnTo>
                    <a:pt x="97" y="10"/>
                  </a:lnTo>
                  <a:lnTo>
                    <a:pt x="92" y="7"/>
                  </a:lnTo>
                  <a:lnTo>
                    <a:pt x="88" y="4"/>
                  </a:lnTo>
                  <a:lnTo>
                    <a:pt x="84" y="2"/>
                  </a:lnTo>
                  <a:lnTo>
                    <a:pt x="78" y="1"/>
                  </a:lnTo>
                  <a:lnTo>
                    <a:pt x="69" y="0"/>
                  </a:lnTo>
                  <a:lnTo>
                    <a:pt x="58" y="0"/>
                  </a:lnTo>
                  <a:lnTo>
                    <a:pt x="53" y="0"/>
                  </a:lnTo>
                  <a:lnTo>
                    <a:pt x="47" y="0"/>
                  </a:lnTo>
                  <a:lnTo>
                    <a:pt x="37" y="0"/>
                  </a:lnTo>
                  <a:lnTo>
                    <a:pt x="27" y="1"/>
                  </a:lnTo>
                  <a:lnTo>
                    <a:pt x="22" y="2"/>
                  </a:lnTo>
                  <a:lnTo>
                    <a:pt x="17" y="4"/>
                  </a:lnTo>
                  <a:lnTo>
                    <a:pt x="13" y="7"/>
                  </a:lnTo>
                  <a:lnTo>
                    <a:pt x="9" y="10"/>
                  </a:lnTo>
                  <a:lnTo>
                    <a:pt x="4" y="14"/>
                  </a:lnTo>
                  <a:lnTo>
                    <a:pt x="2" y="20"/>
                  </a:lnTo>
                  <a:lnTo>
                    <a:pt x="0" y="27"/>
                  </a:lnTo>
                  <a:lnTo>
                    <a:pt x="0" y="34"/>
                  </a:lnTo>
                  <a:lnTo>
                    <a:pt x="0" y="37"/>
                  </a:lnTo>
                  <a:lnTo>
                    <a:pt x="1" y="40"/>
                  </a:lnTo>
                  <a:lnTo>
                    <a:pt x="2" y="42"/>
                  </a:lnTo>
                  <a:lnTo>
                    <a:pt x="4" y="44"/>
                  </a:lnTo>
                  <a:lnTo>
                    <a:pt x="7" y="46"/>
                  </a:lnTo>
                  <a:lnTo>
                    <a:pt x="9" y="47"/>
                  </a:lnTo>
                  <a:lnTo>
                    <a:pt x="12" y="49"/>
                  </a:lnTo>
                  <a:lnTo>
                    <a:pt x="1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Rectangle 147">
              <a:extLst>
                <a:ext uri="{FF2B5EF4-FFF2-40B4-BE49-F238E27FC236}">
                  <a16:creationId xmlns:a16="http://schemas.microsoft.com/office/drawing/2014/main" id="{7F757D83-B370-4000-B58E-1E8EE2D34786}"/>
                </a:ext>
              </a:extLst>
            </p:cNvPr>
            <p:cNvSpPr>
              <a:spLocks noChangeArrowheads="1"/>
            </p:cNvSpPr>
            <p:nvPr/>
          </p:nvSpPr>
          <p:spPr bwMode="auto">
            <a:xfrm>
              <a:off x="5675313" y="3873500"/>
              <a:ext cx="38100"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5" name="Group 156">
            <a:extLst>
              <a:ext uri="{FF2B5EF4-FFF2-40B4-BE49-F238E27FC236}">
                <a16:creationId xmlns:a16="http://schemas.microsoft.com/office/drawing/2014/main" id="{474281AC-73EB-45EE-B523-A83A461010FE}"/>
              </a:ext>
            </a:extLst>
          </p:cNvPr>
          <p:cNvGrpSpPr>
            <a:grpSpLocks noChangeAspect="1"/>
          </p:cNvGrpSpPr>
          <p:nvPr/>
        </p:nvGrpSpPr>
        <p:grpSpPr>
          <a:xfrm>
            <a:off x="7070355" y="2724897"/>
            <a:ext cx="285619" cy="285619"/>
            <a:chOff x="9386888" y="1023938"/>
            <a:chExt cx="371475" cy="371475"/>
          </a:xfrm>
          <a:solidFill>
            <a:schemeClr val="bg2"/>
          </a:solidFill>
        </p:grpSpPr>
        <p:sp>
          <p:nvSpPr>
            <p:cNvPr id="1026" name="Freeform 21">
              <a:extLst>
                <a:ext uri="{FF2B5EF4-FFF2-40B4-BE49-F238E27FC236}">
                  <a16:creationId xmlns:a16="http://schemas.microsoft.com/office/drawing/2014/main" id="{A5116F3C-A9B7-46F6-9B3C-45B0890B3D19}"/>
                </a:ext>
              </a:extLst>
            </p:cNvPr>
            <p:cNvSpPr>
              <a:spLocks/>
            </p:cNvSpPr>
            <p:nvPr/>
          </p:nvSpPr>
          <p:spPr bwMode="auto">
            <a:xfrm>
              <a:off x="9542463" y="1023938"/>
              <a:ext cx="215900" cy="247650"/>
            </a:xfrm>
            <a:custGeom>
              <a:avLst/>
              <a:gdLst>
                <a:gd name="T0" fmla="*/ 22 w 56"/>
                <a:gd name="T1" fmla="*/ 64 h 64"/>
                <a:gd name="T2" fmla="*/ 21 w 56"/>
                <a:gd name="T3" fmla="*/ 64 h 64"/>
                <a:gd name="T4" fmla="*/ 20 w 56"/>
                <a:gd name="T5" fmla="*/ 62 h 64"/>
                <a:gd name="T6" fmla="*/ 20 w 56"/>
                <a:gd name="T7" fmla="*/ 59 h 64"/>
                <a:gd name="T8" fmla="*/ 20 w 56"/>
                <a:gd name="T9" fmla="*/ 51 h 64"/>
                <a:gd name="T10" fmla="*/ 15 w 56"/>
                <a:gd name="T11" fmla="*/ 50 h 64"/>
                <a:gd name="T12" fmla="*/ 17 w 56"/>
                <a:gd name="T13" fmla="*/ 46 h 64"/>
                <a:gd name="T14" fmla="*/ 22 w 56"/>
                <a:gd name="T15" fmla="*/ 48 h 64"/>
                <a:gd name="T16" fmla="*/ 24 w 56"/>
                <a:gd name="T17" fmla="*/ 50 h 64"/>
                <a:gd name="T18" fmla="*/ 24 w 56"/>
                <a:gd name="T19" fmla="*/ 58 h 64"/>
                <a:gd name="T20" fmla="*/ 31 w 56"/>
                <a:gd name="T21" fmla="*/ 52 h 64"/>
                <a:gd name="T22" fmla="*/ 37 w 56"/>
                <a:gd name="T23" fmla="*/ 47 h 64"/>
                <a:gd name="T24" fmla="*/ 37 w 56"/>
                <a:gd name="T25" fmla="*/ 46 h 64"/>
                <a:gd name="T26" fmla="*/ 52 w 56"/>
                <a:gd name="T27" fmla="*/ 26 h 64"/>
                <a:gd name="T28" fmla="*/ 28 w 56"/>
                <a:gd name="T29" fmla="*/ 4 h 64"/>
                <a:gd name="T30" fmla="*/ 4 w 56"/>
                <a:gd name="T31" fmla="*/ 26 h 64"/>
                <a:gd name="T32" fmla="*/ 0 w 56"/>
                <a:gd name="T33" fmla="*/ 26 h 64"/>
                <a:gd name="T34" fmla="*/ 28 w 56"/>
                <a:gd name="T35" fmla="*/ 0 h 64"/>
                <a:gd name="T36" fmla="*/ 56 w 56"/>
                <a:gd name="T37" fmla="*/ 26 h 64"/>
                <a:gd name="T38" fmla="*/ 39 w 56"/>
                <a:gd name="T39" fmla="*/ 50 h 64"/>
                <a:gd name="T40" fmla="*/ 33 w 56"/>
                <a:gd name="T41" fmla="*/ 55 h 64"/>
                <a:gd name="T42" fmla="*/ 23 w 56"/>
                <a:gd name="T43" fmla="*/ 63 h 64"/>
                <a:gd name="T44" fmla="*/ 22 w 56"/>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64">
                  <a:moveTo>
                    <a:pt x="22" y="64"/>
                  </a:moveTo>
                  <a:cubicBezTo>
                    <a:pt x="22" y="64"/>
                    <a:pt x="21" y="64"/>
                    <a:pt x="21" y="64"/>
                  </a:cubicBezTo>
                  <a:cubicBezTo>
                    <a:pt x="20" y="64"/>
                    <a:pt x="20" y="63"/>
                    <a:pt x="20" y="62"/>
                  </a:cubicBezTo>
                  <a:cubicBezTo>
                    <a:pt x="20" y="59"/>
                    <a:pt x="20" y="59"/>
                    <a:pt x="20" y="59"/>
                  </a:cubicBezTo>
                  <a:cubicBezTo>
                    <a:pt x="20" y="57"/>
                    <a:pt x="20" y="54"/>
                    <a:pt x="20" y="51"/>
                  </a:cubicBezTo>
                  <a:cubicBezTo>
                    <a:pt x="18" y="51"/>
                    <a:pt x="17" y="51"/>
                    <a:pt x="15" y="50"/>
                  </a:cubicBezTo>
                  <a:cubicBezTo>
                    <a:pt x="17" y="46"/>
                    <a:pt x="17" y="46"/>
                    <a:pt x="17" y="46"/>
                  </a:cubicBezTo>
                  <a:cubicBezTo>
                    <a:pt x="18" y="47"/>
                    <a:pt x="20" y="47"/>
                    <a:pt x="22" y="48"/>
                  </a:cubicBezTo>
                  <a:cubicBezTo>
                    <a:pt x="23" y="48"/>
                    <a:pt x="24" y="49"/>
                    <a:pt x="24" y="50"/>
                  </a:cubicBezTo>
                  <a:cubicBezTo>
                    <a:pt x="24" y="51"/>
                    <a:pt x="24" y="55"/>
                    <a:pt x="24" y="58"/>
                  </a:cubicBezTo>
                  <a:cubicBezTo>
                    <a:pt x="26" y="56"/>
                    <a:pt x="28" y="54"/>
                    <a:pt x="31" y="52"/>
                  </a:cubicBezTo>
                  <a:cubicBezTo>
                    <a:pt x="33" y="50"/>
                    <a:pt x="36" y="47"/>
                    <a:pt x="37" y="47"/>
                  </a:cubicBezTo>
                  <a:cubicBezTo>
                    <a:pt x="37" y="47"/>
                    <a:pt x="37" y="46"/>
                    <a:pt x="37" y="46"/>
                  </a:cubicBezTo>
                  <a:cubicBezTo>
                    <a:pt x="46" y="43"/>
                    <a:pt x="52" y="35"/>
                    <a:pt x="52" y="26"/>
                  </a:cubicBezTo>
                  <a:cubicBezTo>
                    <a:pt x="52" y="14"/>
                    <a:pt x="41" y="4"/>
                    <a:pt x="28" y="4"/>
                  </a:cubicBezTo>
                  <a:cubicBezTo>
                    <a:pt x="15" y="4"/>
                    <a:pt x="4" y="14"/>
                    <a:pt x="4" y="26"/>
                  </a:cubicBezTo>
                  <a:cubicBezTo>
                    <a:pt x="0" y="26"/>
                    <a:pt x="0" y="26"/>
                    <a:pt x="0" y="26"/>
                  </a:cubicBezTo>
                  <a:cubicBezTo>
                    <a:pt x="0" y="12"/>
                    <a:pt x="13" y="0"/>
                    <a:pt x="28" y="0"/>
                  </a:cubicBezTo>
                  <a:cubicBezTo>
                    <a:pt x="43" y="0"/>
                    <a:pt x="56" y="12"/>
                    <a:pt x="56" y="26"/>
                  </a:cubicBezTo>
                  <a:cubicBezTo>
                    <a:pt x="56" y="36"/>
                    <a:pt x="49" y="46"/>
                    <a:pt x="39" y="50"/>
                  </a:cubicBezTo>
                  <a:cubicBezTo>
                    <a:pt x="38" y="51"/>
                    <a:pt x="36" y="53"/>
                    <a:pt x="33" y="55"/>
                  </a:cubicBezTo>
                  <a:cubicBezTo>
                    <a:pt x="29" y="58"/>
                    <a:pt x="25" y="62"/>
                    <a:pt x="23" y="63"/>
                  </a:cubicBezTo>
                  <a:cubicBezTo>
                    <a:pt x="23" y="64"/>
                    <a:pt x="23" y="64"/>
                    <a:pt x="2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7" name="Freeform 22">
              <a:extLst>
                <a:ext uri="{FF2B5EF4-FFF2-40B4-BE49-F238E27FC236}">
                  <a16:creationId xmlns:a16="http://schemas.microsoft.com/office/drawing/2014/main" id="{EC6446FE-5963-42C4-85BB-CB9E437F11B5}"/>
                </a:ext>
              </a:extLst>
            </p:cNvPr>
            <p:cNvSpPr>
              <a:spLocks/>
            </p:cNvSpPr>
            <p:nvPr/>
          </p:nvSpPr>
          <p:spPr bwMode="auto">
            <a:xfrm>
              <a:off x="9680576" y="1117601"/>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8" name="Freeform 23">
              <a:extLst>
                <a:ext uri="{FF2B5EF4-FFF2-40B4-BE49-F238E27FC236}">
                  <a16:creationId xmlns:a16="http://schemas.microsoft.com/office/drawing/2014/main" id="{952E2600-9348-4310-9AF6-AF90ACCF380D}"/>
                </a:ext>
              </a:extLst>
            </p:cNvPr>
            <p:cNvSpPr>
              <a:spLocks/>
            </p:cNvSpPr>
            <p:nvPr/>
          </p:nvSpPr>
          <p:spPr bwMode="auto">
            <a:xfrm>
              <a:off x="9642476" y="1117601"/>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9" name="Freeform 24">
              <a:extLst>
                <a:ext uri="{FF2B5EF4-FFF2-40B4-BE49-F238E27FC236}">
                  <a16:creationId xmlns:a16="http://schemas.microsoft.com/office/drawing/2014/main" id="{0143B9AB-CFE1-45B4-961E-D82A0C842C70}"/>
                </a:ext>
              </a:extLst>
            </p:cNvPr>
            <p:cNvSpPr>
              <a:spLocks/>
            </p:cNvSpPr>
            <p:nvPr/>
          </p:nvSpPr>
          <p:spPr bwMode="auto">
            <a:xfrm>
              <a:off x="9604376" y="1117601"/>
              <a:ext cx="14288" cy="14288"/>
            </a:xfrm>
            <a:custGeom>
              <a:avLst/>
              <a:gdLst>
                <a:gd name="T0" fmla="*/ 9 w 9"/>
                <a:gd name="T1" fmla="*/ 0 h 9"/>
                <a:gd name="T2" fmla="*/ 0 w 9"/>
                <a:gd name="T3" fmla="*/ 0 h 9"/>
                <a:gd name="T4" fmla="*/ 0 w 9"/>
                <a:gd name="T5" fmla="*/ 9 h 9"/>
                <a:gd name="T6" fmla="*/ 9 w 9"/>
                <a:gd name="T7" fmla="*/ 9 h 9"/>
                <a:gd name="T8" fmla="*/ 9 w 9"/>
                <a:gd name="T9" fmla="*/ 0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0" y="0"/>
                  </a:lnTo>
                  <a:lnTo>
                    <a:pt x="0" y="9"/>
                  </a:lnTo>
                  <a:lnTo>
                    <a:pt x="9" y="9"/>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0" name="Freeform 25">
              <a:extLst>
                <a:ext uri="{FF2B5EF4-FFF2-40B4-BE49-F238E27FC236}">
                  <a16:creationId xmlns:a16="http://schemas.microsoft.com/office/drawing/2014/main" id="{07AC4BFD-0163-4966-B82F-26DEB0F3933A}"/>
                </a:ext>
              </a:extLst>
            </p:cNvPr>
            <p:cNvSpPr>
              <a:spLocks noEditPoints="1"/>
            </p:cNvSpPr>
            <p:nvPr/>
          </p:nvSpPr>
          <p:spPr bwMode="auto">
            <a:xfrm>
              <a:off x="9386888" y="1131888"/>
              <a:ext cx="247650" cy="263525"/>
            </a:xfrm>
            <a:custGeom>
              <a:avLst/>
              <a:gdLst>
                <a:gd name="T0" fmla="*/ 62 w 64"/>
                <a:gd name="T1" fmla="*/ 68 h 68"/>
                <a:gd name="T2" fmla="*/ 2 w 64"/>
                <a:gd name="T3" fmla="*/ 68 h 68"/>
                <a:gd name="T4" fmla="*/ 0 w 64"/>
                <a:gd name="T5" fmla="*/ 66 h 68"/>
                <a:gd name="T6" fmla="*/ 0 w 64"/>
                <a:gd name="T7" fmla="*/ 56 h 68"/>
                <a:gd name="T8" fmla="*/ 22 w 64"/>
                <a:gd name="T9" fmla="*/ 43 h 68"/>
                <a:gd name="T10" fmla="*/ 22 w 64"/>
                <a:gd name="T11" fmla="*/ 37 h 68"/>
                <a:gd name="T12" fmla="*/ 18 w 64"/>
                <a:gd name="T13" fmla="*/ 27 h 68"/>
                <a:gd name="T14" fmla="*/ 15 w 64"/>
                <a:gd name="T15" fmla="*/ 21 h 68"/>
                <a:gd name="T16" fmla="*/ 16 w 64"/>
                <a:gd name="T17" fmla="*/ 18 h 68"/>
                <a:gd name="T18" fmla="*/ 17 w 64"/>
                <a:gd name="T19" fmla="*/ 17 h 68"/>
                <a:gd name="T20" fmla="*/ 16 w 64"/>
                <a:gd name="T21" fmla="*/ 8 h 68"/>
                <a:gd name="T22" fmla="*/ 21 w 64"/>
                <a:gd name="T23" fmla="*/ 6 h 68"/>
                <a:gd name="T24" fmla="*/ 34 w 64"/>
                <a:gd name="T25" fmla="*/ 0 h 68"/>
                <a:gd name="T26" fmla="*/ 48 w 64"/>
                <a:gd name="T27" fmla="*/ 8 h 68"/>
                <a:gd name="T28" fmla="*/ 47 w 64"/>
                <a:gd name="T29" fmla="*/ 17 h 68"/>
                <a:gd name="T30" fmla="*/ 48 w 64"/>
                <a:gd name="T31" fmla="*/ 18 h 68"/>
                <a:gd name="T32" fmla="*/ 49 w 64"/>
                <a:gd name="T33" fmla="*/ 21 h 68"/>
                <a:gd name="T34" fmla="*/ 46 w 64"/>
                <a:gd name="T35" fmla="*/ 27 h 68"/>
                <a:gd name="T36" fmla="*/ 42 w 64"/>
                <a:gd name="T37" fmla="*/ 37 h 68"/>
                <a:gd name="T38" fmla="*/ 42 w 64"/>
                <a:gd name="T39" fmla="*/ 43 h 68"/>
                <a:gd name="T40" fmla="*/ 64 w 64"/>
                <a:gd name="T41" fmla="*/ 56 h 68"/>
                <a:gd name="T42" fmla="*/ 64 w 64"/>
                <a:gd name="T43" fmla="*/ 66 h 68"/>
                <a:gd name="T44" fmla="*/ 62 w 64"/>
                <a:gd name="T45" fmla="*/ 68 h 68"/>
                <a:gd name="T46" fmla="*/ 4 w 64"/>
                <a:gd name="T47" fmla="*/ 64 h 68"/>
                <a:gd name="T48" fmla="*/ 60 w 64"/>
                <a:gd name="T49" fmla="*/ 64 h 68"/>
                <a:gd name="T50" fmla="*/ 60 w 64"/>
                <a:gd name="T51" fmla="*/ 56 h 68"/>
                <a:gd name="T52" fmla="*/ 39 w 64"/>
                <a:gd name="T53" fmla="*/ 46 h 68"/>
                <a:gd name="T54" fmla="*/ 38 w 64"/>
                <a:gd name="T55" fmla="*/ 44 h 68"/>
                <a:gd name="T56" fmla="*/ 38 w 64"/>
                <a:gd name="T57" fmla="*/ 36 h 68"/>
                <a:gd name="T58" fmla="*/ 39 w 64"/>
                <a:gd name="T59" fmla="*/ 34 h 68"/>
                <a:gd name="T60" fmla="*/ 39 w 64"/>
                <a:gd name="T61" fmla="*/ 34 h 68"/>
                <a:gd name="T62" fmla="*/ 42 w 64"/>
                <a:gd name="T63" fmla="*/ 26 h 68"/>
                <a:gd name="T64" fmla="*/ 44 w 64"/>
                <a:gd name="T65" fmla="*/ 24 h 68"/>
                <a:gd name="T66" fmla="*/ 45 w 64"/>
                <a:gd name="T67" fmla="*/ 21 h 68"/>
                <a:gd name="T68" fmla="*/ 44 w 64"/>
                <a:gd name="T69" fmla="*/ 20 h 68"/>
                <a:gd name="T70" fmla="*/ 42 w 64"/>
                <a:gd name="T71" fmla="*/ 18 h 68"/>
                <a:gd name="T72" fmla="*/ 43 w 64"/>
                <a:gd name="T73" fmla="*/ 16 h 68"/>
                <a:gd name="T74" fmla="*/ 44 w 64"/>
                <a:gd name="T75" fmla="*/ 8 h 68"/>
                <a:gd name="T76" fmla="*/ 34 w 64"/>
                <a:gd name="T77" fmla="*/ 4 h 68"/>
                <a:gd name="T78" fmla="*/ 24 w 64"/>
                <a:gd name="T79" fmla="*/ 8 h 68"/>
                <a:gd name="T80" fmla="*/ 22 w 64"/>
                <a:gd name="T81" fmla="*/ 10 h 68"/>
                <a:gd name="T82" fmla="*/ 20 w 64"/>
                <a:gd name="T83" fmla="*/ 10 h 68"/>
                <a:gd name="T84" fmla="*/ 21 w 64"/>
                <a:gd name="T85" fmla="*/ 16 h 68"/>
                <a:gd name="T86" fmla="*/ 22 w 64"/>
                <a:gd name="T87" fmla="*/ 18 h 68"/>
                <a:gd name="T88" fmla="*/ 20 w 64"/>
                <a:gd name="T89" fmla="*/ 20 h 68"/>
                <a:gd name="T90" fmla="*/ 20 w 64"/>
                <a:gd name="T91" fmla="*/ 20 h 68"/>
                <a:gd name="T92" fmla="*/ 20 w 64"/>
                <a:gd name="T93" fmla="*/ 24 h 68"/>
                <a:gd name="T94" fmla="*/ 22 w 64"/>
                <a:gd name="T95" fmla="*/ 26 h 68"/>
                <a:gd name="T96" fmla="*/ 25 w 64"/>
                <a:gd name="T97" fmla="*/ 34 h 68"/>
                <a:gd name="T98" fmla="*/ 26 w 64"/>
                <a:gd name="T99" fmla="*/ 36 h 68"/>
                <a:gd name="T100" fmla="*/ 26 w 64"/>
                <a:gd name="T101" fmla="*/ 44 h 68"/>
                <a:gd name="T102" fmla="*/ 25 w 64"/>
                <a:gd name="T103" fmla="*/ 46 h 68"/>
                <a:gd name="T104" fmla="*/ 4 w 64"/>
                <a:gd name="T105" fmla="*/ 56 h 68"/>
                <a:gd name="T106" fmla="*/ 4 w 64"/>
                <a:gd name="T10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68">
                  <a:moveTo>
                    <a:pt x="62" y="68"/>
                  </a:moveTo>
                  <a:cubicBezTo>
                    <a:pt x="2" y="68"/>
                    <a:pt x="2" y="68"/>
                    <a:pt x="2" y="68"/>
                  </a:cubicBezTo>
                  <a:cubicBezTo>
                    <a:pt x="1" y="68"/>
                    <a:pt x="0" y="67"/>
                    <a:pt x="0" y="66"/>
                  </a:cubicBezTo>
                  <a:cubicBezTo>
                    <a:pt x="0" y="56"/>
                    <a:pt x="0" y="56"/>
                    <a:pt x="0" y="56"/>
                  </a:cubicBezTo>
                  <a:cubicBezTo>
                    <a:pt x="0" y="52"/>
                    <a:pt x="14" y="46"/>
                    <a:pt x="22" y="43"/>
                  </a:cubicBezTo>
                  <a:cubicBezTo>
                    <a:pt x="22" y="37"/>
                    <a:pt x="22" y="37"/>
                    <a:pt x="22" y="37"/>
                  </a:cubicBezTo>
                  <a:cubicBezTo>
                    <a:pt x="21" y="36"/>
                    <a:pt x="18" y="33"/>
                    <a:pt x="18" y="27"/>
                  </a:cubicBezTo>
                  <a:cubicBezTo>
                    <a:pt x="16" y="26"/>
                    <a:pt x="15" y="24"/>
                    <a:pt x="15" y="21"/>
                  </a:cubicBezTo>
                  <a:cubicBezTo>
                    <a:pt x="15" y="20"/>
                    <a:pt x="16" y="19"/>
                    <a:pt x="16" y="18"/>
                  </a:cubicBezTo>
                  <a:cubicBezTo>
                    <a:pt x="17" y="18"/>
                    <a:pt x="17" y="17"/>
                    <a:pt x="17" y="17"/>
                  </a:cubicBezTo>
                  <a:cubicBezTo>
                    <a:pt x="16" y="14"/>
                    <a:pt x="15" y="10"/>
                    <a:pt x="16" y="8"/>
                  </a:cubicBezTo>
                  <a:cubicBezTo>
                    <a:pt x="17" y="7"/>
                    <a:pt x="18" y="6"/>
                    <a:pt x="21" y="6"/>
                  </a:cubicBezTo>
                  <a:cubicBezTo>
                    <a:pt x="23" y="2"/>
                    <a:pt x="29" y="0"/>
                    <a:pt x="34" y="0"/>
                  </a:cubicBezTo>
                  <a:cubicBezTo>
                    <a:pt x="40" y="0"/>
                    <a:pt x="47" y="2"/>
                    <a:pt x="48" y="8"/>
                  </a:cubicBezTo>
                  <a:cubicBezTo>
                    <a:pt x="49" y="11"/>
                    <a:pt x="48" y="15"/>
                    <a:pt x="47" y="17"/>
                  </a:cubicBezTo>
                  <a:cubicBezTo>
                    <a:pt x="47" y="17"/>
                    <a:pt x="47" y="18"/>
                    <a:pt x="48" y="18"/>
                  </a:cubicBezTo>
                  <a:cubicBezTo>
                    <a:pt x="48" y="19"/>
                    <a:pt x="49" y="20"/>
                    <a:pt x="49" y="21"/>
                  </a:cubicBezTo>
                  <a:cubicBezTo>
                    <a:pt x="49" y="24"/>
                    <a:pt x="48" y="26"/>
                    <a:pt x="46" y="27"/>
                  </a:cubicBezTo>
                  <a:cubicBezTo>
                    <a:pt x="46" y="33"/>
                    <a:pt x="43" y="36"/>
                    <a:pt x="42" y="37"/>
                  </a:cubicBezTo>
                  <a:cubicBezTo>
                    <a:pt x="42" y="43"/>
                    <a:pt x="42" y="43"/>
                    <a:pt x="42" y="43"/>
                  </a:cubicBezTo>
                  <a:cubicBezTo>
                    <a:pt x="50" y="46"/>
                    <a:pt x="64" y="52"/>
                    <a:pt x="64" y="56"/>
                  </a:cubicBezTo>
                  <a:cubicBezTo>
                    <a:pt x="64" y="66"/>
                    <a:pt x="64" y="66"/>
                    <a:pt x="64" y="66"/>
                  </a:cubicBezTo>
                  <a:cubicBezTo>
                    <a:pt x="64" y="67"/>
                    <a:pt x="63" y="68"/>
                    <a:pt x="62" y="68"/>
                  </a:cubicBezTo>
                  <a:close/>
                  <a:moveTo>
                    <a:pt x="4" y="64"/>
                  </a:moveTo>
                  <a:cubicBezTo>
                    <a:pt x="60" y="64"/>
                    <a:pt x="60" y="64"/>
                    <a:pt x="60" y="64"/>
                  </a:cubicBezTo>
                  <a:cubicBezTo>
                    <a:pt x="60" y="56"/>
                    <a:pt x="60" y="56"/>
                    <a:pt x="60" y="56"/>
                  </a:cubicBezTo>
                  <a:cubicBezTo>
                    <a:pt x="58" y="55"/>
                    <a:pt x="50" y="50"/>
                    <a:pt x="39" y="46"/>
                  </a:cubicBezTo>
                  <a:cubicBezTo>
                    <a:pt x="38" y="46"/>
                    <a:pt x="38" y="45"/>
                    <a:pt x="38" y="44"/>
                  </a:cubicBezTo>
                  <a:cubicBezTo>
                    <a:pt x="38" y="36"/>
                    <a:pt x="38" y="36"/>
                    <a:pt x="38" y="36"/>
                  </a:cubicBezTo>
                  <a:cubicBezTo>
                    <a:pt x="38" y="35"/>
                    <a:pt x="39" y="34"/>
                    <a:pt x="39" y="34"/>
                  </a:cubicBezTo>
                  <a:cubicBezTo>
                    <a:pt x="39" y="34"/>
                    <a:pt x="39" y="34"/>
                    <a:pt x="39" y="34"/>
                  </a:cubicBezTo>
                  <a:cubicBezTo>
                    <a:pt x="39" y="34"/>
                    <a:pt x="42" y="33"/>
                    <a:pt x="42" y="26"/>
                  </a:cubicBezTo>
                  <a:cubicBezTo>
                    <a:pt x="42" y="25"/>
                    <a:pt x="43" y="24"/>
                    <a:pt x="44" y="24"/>
                  </a:cubicBezTo>
                  <a:cubicBezTo>
                    <a:pt x="44" y="24"/>
                    <a:pt x="45" y="23"/>
                    <a:pt x="45" y="21"/>
                  </a:cubicBezTo>
                  <a:cubicBezTo>
                    <a:pt x="45" y="20"/>
                    <a:pt x="44" y="20"/>
                    <a:pt x="44" y="20"/>
                  </a:cubicBezTo>
                  <a:cubicBezTo>
                    <a:pt x="43" y="20"/>
                    <a:pt x="42" y="19"/>
                    <a:pt x="42" y="18"/>
                  </a:cubicBezTo>
                  <a:cubicBezTo>
                    <a:pt x="42" y="17"/>
                    <a:pt x="42" y="17"/>
                    <a:pt x="43" y="16"/>
                  </a:cubicBezTo>
                  <a:cubicBezTo>
                    <a:pt x="44" y="14"/>
                    <a:pt x="45" y="11"/>
                    <a:pt x="44" y="8"/>
                  </a:cubicBezTo>
                  <a:cubicBezTo>
                    <a:pt x="43" y="6"/>
                    <a:pt x="39" y="4"/>
                    <a:pt x="34" y="4"/>
                  </a:cubicBezTo>
                  <a:cubicBezTo>
                    <a:pt x="29" y="4"/>
                    <a:pt x="25" y="6"/>
                    <a:pt x="24" y="8"/>
                  </a:cubicBezTo>
                  <a:cubicBezTo>
                    <a:pt x="24" y="10"/>
                    <a:pt x="23" y="10"/>
                    <a:pt x="22" y="10"/>
                  </a:cubicBezTo>
                  <a:cubicBezTo>
                    <a:pt x="20" y="10"/>
                    <a:pt x="20" y="10"/>
                    <a:pt x="20" y="10"/>
                  </a:cubicBezTo>
                  <a:cubicBezTo>
                    <a:pt x="19" y="10"/>
                    <a:pt x="20" y="12"/>
                    <a:pt x="21" y="16"/>
                  </a:cubicBezTo>
                  <a:cubicBezTo>
                    <a:pt x="22" y="17"/>
                    <a:pt x="22" y="17"/>
                    <a:pt x="22" y="18"/>
                  </a:cubicBezTo>
                  <a:cubicBezTo>
                    <a:pt x="22" y="19"/>
                    <a:pt x="21" y="20"/>
                    <a:pt x="20" y="20"/>
                  </a:cubicBezTo>
                  <a:cubicBezTo>
                    <a:pt x="20" y="20"/>
                    <a:pt x="20" y="20"/>
                    <a:pt x="20" y="20"/>
                  </a:cubicBezTo>
                  <a:cubicBezTo>
                    <a:pt x="19" y="22"/>
                    <a:pt x="20" y="24"/>
                    <a:pt x="20" y="24"/>
                  </a:cubicBezTo>
                  <a:cubicBezTo>
                    <a:pt x="21" y="24"/>
                    <a:pt x="22" y="25"/>
                    <a:pt x="22" y="26"/>
                  </a:cubicBezTo>
                  <a:cubicBezTo>
                    <a:pt x="22" y="33"/>
                    <a:pt x="25" y="34"/>
                    <a:pt x="25" y="34"/>
                  </a:cubicBezTo>
                  <a:cubicBezTo>
                    <a:pt x="25" y="34"/>
                    <a:pt x="26" y="35"/>
                    <a:pt x="26" y="36"/>
                  </a:cubicBezTo>
                  <a:cubicBezTo>
                    <a:pt x="26" y="44"/>
                    <a:pt x="26" y="44"/>
                    <a:pt x="26" y="44"/>
                  </a:cubicBezTo>
                  <a:cubicBezTo>
                    <a:pt x="26" y="45"/>
                    <a:pt x="26" y="46"/>
                    <a:pt x="25" y="46"/>
                  </a:cubicBezTo>
                  <a:cubicBezTo>
                    <a:pt x="14" y="50"/>
                    <a:pt x="6" y="55"/>
                    <a:pt x="4" y="56"/>
                  </a:cubicBezTo>
                  <a:lnTo>
                    <a:pt x="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39" name="Group 93">
            <a:extLst>
              <a:ext uri="{FF2B5EF4-FFF2-40B4-BE49-F238E27FC236}">
                <a16:creationId xmlns:a16="http://schemas.microsoft.com/office/drawing/2014/main" id="{3627D5FC-1AA2-4561-93C1-A23A40B654F3}"/>
              </a:ext>
            </a:extLst>
          </p:cNvPr>
          <p:cNvGrpSpPr>
            <a:grpSpLocks noChangeAspect="1"/>
          </p:cNvGrpSpPr>
          <p:nvPr/>
        </p:nvGrpSpPr>
        <p:grpSpPr>
          <a:xfrm>
            <a:off x="7061003" y="5417577"/>
            <a:ext cx="304323" cy="285619"/>
            <a:chOff x="7615238" y="1366838"/>
            <a:chExt cx="284163" cy="266699"/>
          </a:xfrm>
          <a:solidFill>
            <a:schemeClr val="bg2"/>
          </a:solidFill>
          <a:effectLst/>
        </p:grpSpPr>
        <p:sp>
          <p:nvSpPr>
            <p:cNvPr id="740" name="Freeform 319">
              <a:extLst>
                <a:ext uri="{FF2B5EF4-FFF2-40B4-BE49-F238E27FC236}">
                  <a16:creationId xmlns:a16="http://schemas.microsoft.com/office/drawing/2014/main" id="{49AB8199-F420-40BB-9A02-95D75D4CD9A1}"/>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320">
              <a:extLst>
                <a:ext uri="{FF2B5EF4-FFF2-40B4-BE49-F238E27FC236}">
                  <a16:creationId xmlns:a16="http://schemas.microsoft.com/office/drawing/2014/main" id="{08FB3A23-D043-4408-925C-FB19B0C972EF}"/>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321">
              <a:extLst>
                <a:ext uri="{FF2B5EF4-FFF2-40B4-BE49-F238E27FC236}">
                  <a16:creationId xmlns:a16="http://schemas.microsoft.com/office/drawing/2014/main" id="{998FBA2A-B9E6-4C91-AD81-31A052961B7D}"/>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4" name="Group 32">
            <a:extLst>
              <a:ext uri="{FF2B5EF4-FFF2-40B4-BE49-F238E27FC236}">
                <a16:creationId xmlns:a16="http://schemas.microsoft.com/office/drawing/2014/main" id="{0890646F-1FD6-45EA-9A01-CF41085E49B9}"/>
              </a:ext>
            </a:extLst>
          </p:cNvPr>
          <p:cNvGrpSpPr>
            <a:grpSpLocks noChangeAspect="1"/>
          </p:cNvGrpSpPr>
          <p:nvPr/>
        </p:nvGrpSpPr>
        <p:grpSpPr>
          <a:xfrm>
            <a:off x="7070355" y="4879041"/>
            <a:ext cx="285619" cy="285619"/>
            <a:chOff x="4319588" y="1954213"/>
            <a:chExt cx="276225" cy="276225"/>
          </a:xfrm>
          <a:solidFill>
            <a:schemeClr val="bg2"/>
          </a:solidFill>
          <a:effectLst/>
        </p:grpSpPr>
        <p:sp>
          <p:nvSpPr>
            <p:cNvPr id="1085" name="Freeform 140">
              <a:extLst>
                <a:ext uri="{FF2B5EF4-FFF2-40B4-BE49-F238E27FC236}">
                  <a16:creationId xmlns:a16="http://schemas.microsoft.com/office/drawing/2014/main" id="{966A5288-A0E0-4ABD-AE1A-D7B187D4B038}"/>
                </a:ext>
              </a:extLst>
            </p:cNvPr>
            <p:cNvSpPr>
              <a:spLocks noEditPoints="1"/>
            </p:cNvSpPr>
            <p:nvPr/>
          </p:nvSpPr>
          <p:spPr bwMode="auto">
            <a:xfrm>
              <a:off x="4319588" y="1954213"/>
              <a:ext cx="276225" cy="276225"/>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41">
              <a:extLst>
                <a:ext uri="{FF2B5EF4-FFF2-40B4-BE49-F238E27FC236}">
                  <a16:creationId xmlns:a16="http://schemas.microsoft.com/office/drawing/2014/main" id="{3FCF41D8-65DF-4456-A505-27DC842A435F}"/>
                </a:ext>
              </a:extLst>
            </p:cNvPr>
            <p:cNvSpPr>
              <a:spLocks/>
            </p:cNvSpPr>
            <p:nvPr/>
          </p:nvSpPr>
          <p:spPr bwMode="auto">
            <a:xfrm>
              <a:off x="4400550" y="2035175"/>
              <a:ext cx="114300" cy="114300"/>
            </a:xfrm>
            <a:custGeom>
              <a:avLst/>
              <a:gdLst>
                <a:gd name="T0" fmla="*/ 5 w 361"/>
                <a:gd name="T1" fmla="*/ 335 h 361"/>
                <a:gd name="T2" fmla="*/ 1 w 361"/>
                <a:gd name="T3" fmla="*/ 341 h 361"/>
                <a:gd name="T4" fmla="*/ 0 w 361"/>
                <a:gd name="T5" fmla="*/ 346 h 361"/>
                <a:gd name="T6" fmla="*/ 1 w 361"/>
                <a:gd name="T7" fmla="*/ 351 h 361"/>
                <a:gd name="T8" fmla="*/ 5 w 361"/>
                <a:gd name="T9" fmla="*/ 357 h 361"/>
                <a:gd name="T10" fmla="*/ 10 w 361"/>
                <a:gd name="T11" fmla="*/ 360 h 361"/>
                <a:gd name="T12" fmla="*/ 15 w 361"/>
                <a:gd name="T13" fmla="*/ 361 h 361"/>
                <a:gd name="T14" fmla="*/ 21 w 361"/>
                <a:gd name="T15" fmla="*/ 360 h 361"/>
                <a:gd name="T16" fmla="*/ 26 w 361"/>
                <a:gd name="T17" fmla="*/ 357 h 361"/>
                <a:gd name="T18" fmla="*/ 336 w 361"/>
                <a:gd name="T19" fmla="*/ 357 h 361"/>
                <a:gd name="T20" fmla="*/ 340 w 361"/>
                <a:gd name="T21" fmla="*/ 360 h 361"/>
                <a:gd name="T22" fmla="*/ 346 w 361"/>
                <a:gd name="T23" fmla="*/ 361 h 361"/>
                <a:gd name="T24" fmla="*/ 352 w 361"/>
                <a:gd name="T25" fmla="*/ 360 h 361"/>
                <a:gd name="T26" fmla="*/ 357 w 361"/>
                <a:gd name="T27" fmla="*/ 357 h 361"/>
                <a:gd name="T28" fmla="*/ 360 w 361"/>
                <a:gd name="T29" fmla="*/ 353 h 361"/>
                <a:gd name="T30" fmla="*/ 361 w 361"/>
                <a:gd name="T31" fmla="*/ 347 h 361"/>
                <a:gd name="T32" fmla="*/ 360 w 361"/>
                <a:gd name="T33" fmla="*/ 341 h 361"/>
                <a:gd name="T34" fmla="*/ 357 w 361"/>
                <a:gd name="T35" fmla="*/ 335 h 361"/>
                <a:gd name="T36" fmla="*/ 357 w 361"/>
                <a:gd name="T37" fmla="*/ 25 h 361"/>
                <a:gd name="T38" fmla="*/ 360 w 361"/>
                <a:gd name="T39" fmla="*/ 21 h 361"/>
                <a:gd name="T40" fmla="*/ 361 w 361"/>
                <a:gd name="T41" fmla="*/ 16 h 361"/>
                <a:gd name="T42" fmla="*/ 360 w 361"/>
                <a:gd name="T43" fmla="*/ 9 h 361"/>
                <a:gd name="T44" fmla="*/ 357 w 361"/>
                <a:gd name="T45" fmla="*/ 5 h 361"/>
                <a:gd name="T46" fmla="*/ 352 w 361"/>
                <a:gd name="T47" fmla="*/ 1 h 361"/>
                <a:gd name="T48" fmla="*/ 346 w 361"/>
                <a:gd name="T49" fmla="*/ 0 h 361"/>
                <a:gd name="T50" fmla="*/ 340 w 361"/>
                <a:gd name="T51" fmla="*/ 1 h 361"/>
                <a:gd name="T52" fmla="*/ 336 w 361"/>
                <a:gd name="T53" fmla="*/ 5 h 361"/>
                <a:gd name="T54" fmla="*/ 26 w 361"/>
                <a:gd name="T55" fmla="*/ 5 h 361"/>
                <a:gd name="T56" fmla="*/ 20 w 361"/>
                <a:gd name="T57" fmla="*/ 1 h 361"/>
                <a:gd name="T58" fmla="*/ 15 w 361"/>
                <a:gd name="T59" fmla="*/ 0 h 361"/>
                <a:gd name="T60" fmla="*/ 10 w 361"/>
                <a:gd name="T61" fmla="*/ 1 h 361"/>
                <a:gd name="T62" fmla="*/ 4 w 361"/>
                <a:gd name="T63" fmla="*/ 5 h 361"/>
                <a:gd name="T64" fmla="*/ 1 w 361"/>
                <a:gd name="T65" fmla="*/ 9 h 361"/>
                <a:gd name="T66" fmla="*/ 0 w 361"/>
                <a:gd name="T67" fmla="*/ 16 h 361"/>
                <a:gd name="T68" fmla="*/ 1 w 361"/>
                <a:gd name="T69" fmla="*/ 21 h 361"/>
                <a:gd name="T70" fmla="*/ 4 w 361"/>
                <a:gd name="T71" fmla="*/ 2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61">
                  <a:moveTo>
                    <a:pt x="159" y="181"/>
                  </a:moveTo>
                  <a:lnTo>
                    <a:pt x="5" y="335"/>
                  </a:lnTo>
                  <a:lnTo>
                    <a:pt x="3" y="339"/>
                  </a:lnTo>
                  <a:lnTo>
                    <a:pt x="1" y="341"/>
                  </a:lnTo>
                  <a:lnTo>
                    <a:pt x="1" y="344"/>
                  </a:lnTo>
                  <a:lnTo>
                    <a:pt x="0" y="346"/>
                  </a:lnTo>
                  <a:lnTo>
                    <a:pt x="1" y="349"/>
                  </a:lnTo>
                  <a:lnTo>
                    <a:pt x="1" y="351"/>
                  </a:lnTo>
                  <a:lnTo>
                    <a:pt x="3" y="355"/>
                  </a:lnTo>
                  <a:lnTo>
                    <a:pt x="5" y="357"/>
                  </a:lnTo>
                  <a:lnTo>
                    <a:pt x="8" y="359"/>
                  </a:lnTo>
                  <a:lnTo>
                    <a:pt x="10" y="360"/>
                  </a:lnTo>
                  <a:lnTo>
                    <a:pt x="13" y="361"/>
                  </a:lnTo>
                  <a:lnTo>
                    <a:pt x="15" y="361"/>
                  </a:lnTo>
                  <a:lnTo>
                    <a:pt x="18" y="361"/>
                  </a:lnTo>
                  <a:lnTo>
                    <a:pt x="21" y="360"/>
                  </a:lnTo>
                  <a:lnTo>
                    <a:pt x="24" y="359"/>
                  </a:lnTo>
                  <a:lnTo>
                    <a:pt x="26" y="357"/>
                  </a:lnTo>
                  <a:lnTo>
                    <a:pt x="180" y="203"/>
                  </a:lnTo>
                  <a:lnTo>
                    <a:pt x="336" y="357"/>
                  </a:lnTo>
                  <a:lnTo>
                    <a:pt x="338" y="359"/>
                  </a:lnTo>
                  <a:lnTo>
                    <a:pt x="340" y="360"/>
                  </a:lnTo>
                  <a:lnTo>
                    <a:pt x="343" y="361"/>
                  </a:lnTo>
                  <a:lnTo>
                    <a:pt x="346" y="361"/>
                  </a:lnTo>
                  <a:lnTo>
                    <a:pt x="349" y="361"/>
                  </a:lnTo>
                  <a:lnTo>
                    <a:pt x="352" y="360"/>
                  </a:lnTo>
                  <a:lnTo>
                    <a:pt x="354" y="359"/>
                  </a:lnTo>
                  <a:lnTo>
                    <a:pt x="357" y="357"/>
                  </a:lnTo>
                  <a:lnTo>
                    <a:pt x="358" y="355"/>
                  </a:lnTo>
                  <a:lnTo>
                    <a:pt x="360" y="353"/>
                  </a:lnTo>
                  <a:lnTo>
                    <a:pt x="360" y="349"/>
                  </a:lnTo>
                  <a:lnTo>
                    <a:pt x="361" y="347"/>
                  </a:lnTo>
                  <a:lnTo>
                    <a:pt x="360" y="344"/>
                  </a:lnTo>
                  <a:lnTo>
                    <a:pt x="360" y="341"/>
                  </a:lnTo>
                  <a:lnTo>
                    <a:pt x="358" y="339"/>
                  </a:lnTo>
                  <a:lnTo>
                    <a:pt x="357" y="335"/>
                  </a:lnTo>
                  <a:lnTo>
                    <a:pt x="202" y="181"/>
                  </a:lnTo>
                  <a:lnTo>
                    <a:pt x="357" y="25"/>
                  </a:lnTo>
                  <a:lnTo>
                    <a:pt x="358" y="23"/>
                  </a:lnTo>
                  <a:lnTo>
                    <a:pt x="360" y="21"/>
                  </a:lnTo>
                  <a:lnTo>
                    <a:pt x="360" y="19"/>
                  </a:lnTo>
                  <a:lnTo>
                    <a:pt x="361" y="16"/>
                  </a:lnTo>
                  <a:lnTo>
                    <a:pt x="360" y="13"/>
                  </a:lnTo>
                  <a:lnTo>
                    <a:pt x="360" y="9"/>
                  </a:lnTo>
                  <a:lnTo>
                    <a:pt x="358" y="7"/>
                  </a:lnTo>
                  <a:lnTo>
                    <a:pt x="357" y="5"/>
                  </a:lnTo>
                  <a:lnTo>
                    <a:pt x="354" y="3"/>
                  </a:lnTo>
                  <a:lnTo>
                    <a:pt x="352" y="1"/>
                  </a:lnTo>
                  <a:lnTo>
                    <a:pt x="349" y="1"/>
                  </a:lnTo>
                  <a:lnTo>
                    <a:pt x="346" y="0"/>
                  </a:lnTo>
                  <a:lnTo>
                    <a:pt x="343" y="1"/>
                  </a:lnTo>
                  <a:lnTo>
                    <a:pt x="340" y="1"/>
                  </a:lnTo>
                  <a:lnTo>
                    <a:pt x="338" y="3"/>
                  </a:lnTo>
                  <a:lnTo>
                    <a:pt x="336" y="5"/>
                  </a:lnTo>
                  <a:lnTo>
                    <a:pt x="180" y="159"/>
                  </a:lnTo>
                  <a:lnTo>
                    <a:pt x="26" y="5"/>
                  </a:lnTo>
                  <a:lnTo>
                    <a:pt x="24" y="3"/>
                  </a:lnTo>
                  <a:lnTo>
                    <a:pt x="20" y="1"/>
                  </a:lnTo>
                  <a:lnTo>
                    <a:pt x="18" y="1"/>
                  </a:lnTo>
                  <a:lnTo>
                    <a:pt x="15" y="0"/>
                  </a:lnTo>
                  <a:lnTo>
                    <a:pt x="12" y="1"/>
                  </a:lnTo>
                  <a:lnTo>
                    <a:pt x="10" y="1"/>
                  </a:lnTo>
                  <a:lnTo>
                    <a:pt x="6" y="3"/>
                  </a:lnTo>
                  <a:lnTo>
                    <a:pt x="4" y="5"/>
                  </a:lnTo>
                  <a:lnTo>
                    <a:pt x="2" y="7"/>
                  </a:lnTo>
                  <a:lnTo>
                    <a:pt x="1" y="9"/>
                  </a:lnTo>
                  <a:lnTo>
                    <a:pt x="0" y="13"/>
                  </a:lnTo>
                  <a:lnTo>
                    <a:pt x="0" y="16"/>
                  </a:lnTo>
                  <a:lnTo>
                    <a:pt x="0" y="19"/>
                  </a:lnTo>
                  <a:lnTo>
                    <a:pt x="1" y="21"/>
                  </a:lnTo>
                  <a:lnTo>
                    <a:pt x="2" y="23"/>
                  </a:lnTo>
                  <a:lnTo>
                    <a:pt x="4" y="25"/>
                  </a:lnTo>
                  <a:lnTo>
                    <a:pt x="15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8" name="Gruppieren 1147">
            <a:extLst>
              <a:ext uri="{FF2B5EF4-FFF2-40B4-BE49-F238E27FC236}">
                <a16:creationId xmlns:a16="http://schemas.microsoft.com/office/drawing/2014/main" id="{090128AB-014F-4149-BE3E-F2EEE54A5D64}"/>
              </a:ext>
            </a:extLst>
          </p:cNvPr>
          <p:cNvGrpSpPr>
            <a:grpSpLocks noChangeAspect="1"/>
          </p:cNvGrpSpPr>
          <p:nvPr/>
        </p:nvGrpSpPr>
        <p:grpSpPr>
          <a:xfrm>
            <a:off x="5791954" y="3801969"/>
            <a:ext cx="285620" cy="285619"/>
            <a:chOff x="8413750" y="3436938"/>
            <a:chExt cx="360363" cy="360362"/>
          </a:xfrm>
          <a:solidFill>
            <a:schemeClr val="bg2"/>
          </a:solidFill>
        </p:grpSpPr>
        <p:sp>
          <p:nvSpPr>
            <p:cNvPr id="1149" name="Freeform 5">
              <a:extLst>
                <a:ext uri="{FF2B5EF4-FFF2-40B4-BE49-F238E27FC236}">
                  <a16:creationId xmlns:a16="http://schemas.microsoft.com/office/drawing/2014/main" id="{3BE9C88B-1AFF-49D2-B14C-7D5352EC55A7}"/>
                </a:ext>
              </a:extLst>
            </p:cNvPr>
            <p:cNvSpPr>
              <a:spLocks noEditPoints="1"/>
            </p:cNvSpPr>
            <p:nvPr/>
          </p:nvSpPr>
          <p:spPr bwMode="auto">
            <a:xfrm>
              <a:off x="8413750" y="3436938"/>
              <a:ext cx="360363" cy="360362"/>
            </a:xfrm>
            <a:custGeom>
              <a:avLst/>
              <a:gdLst>
                <a:gd name="T0" fmla="*/ 1936 w 2048"/>
                <a:gd name="T1" fmla="*/ 0 h 2048"/>
                <a:gd name="T2" fmla="*/ 112 w 2048"/>
                <a:gd name="T3" fmla="*/ 0 h 2048"/>
                <a:gd name="T4" fmla="*/ 0 w 2048"/>
                <a:gd name="T5" fmla="*/ 112 h 2048"/>
                <a:gd name="T6" fmla="*/ 0 w 2048"/>
                <a:gd name="T7" fmla="*/ 1936 h 2048"/>
                <a:gd name="T8" fmla="*/ 112 w 2048"/>
                <a:gd name="T9" fmla="*/ 2048 h 2048"/>
                <a:gd name="T10" fmla="*/ 1936 w 2048"/>
                <a:gd name="T11" fmla="*/ 2048 h 2048"/>
                <a:gd name="T12" fmla="*/ 2048 w 2048"/>
                <a:gd name="T13" fmla="*/ 1936 h 2048"/>
                <a:gd name="T14" fmla="*/ 2048 w 2048"/>
                <a:gd name="T15" fmla="*/ 112 h 2048"/>
                <a:gd name="T16" fmla="*/ 1936 w 2048"/>
                <a:gd name="T17" fmla="*/ 0 h 2048"/>
                <a:gd name="T18" fmla="*/ 1977 w 2048"/>
                <a:gd name="T19" fmla="*/ 1936 h 2048"/>
                <a:gd name="T20" fmla="*/ 1936 w 2048"/>
                <a:gd name="T21" fmla="*/ 1977 h 2048"/>
                <a:gd name="T22" fmla="*/ 112 w 2048"/>
                <a:gd name="T23" fmla="*/ 1977 h 2048"/>
                <a:gd name="T24" fmla="*/ 71 w 2048"/>
                <a:gd name="T25" fmla="*/ 1936 h 2048"/>
                <a:gd name="T26" fmla="*/ 71 w 2048"/>
                <a:gd name="T27" fmla="*/ 112 h 2048"/>
                <a:gd name="T28" fmla="*/ 112 w 2048"/>
                <a:gd name="T29" fmla="*/ 71 h 2048"/>
                <a:gd name="T30" fmla="*/ 1936 w 2048"/>
                <a:gd name="T31" fmla="*/ 71 h 2048"/>
                <a:gd name="T32" fmla="*/ 1977 w 2048"/>
                <a:gd name="T33" fmla="*/ 112 h 2048"/>
                <a:gd name="T34" fmla="*/ 1977 w 2048"/>
                <a:gd name="T35" fmla="*/ 193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2048">
                  <a:moveTo>
                    <a:pt x="1936" y="0"/>
                  </a:moveTo>
                  <a:cubicBezTo>
                    <a:pt x="112" y="0"/>
                    <a:pt x="112" y="0"/>
                    <a:pt x="112" y="0"/>
                  </a:cubicBezTo>
                  <a:cubicBezTo>
                    <a:pt x="50" y="0"/>
                    <a:pt x="0" y="50"/>
                    <a:pt x="0" y="112"/>
                  </a:cubicBezTo>
                  <a:cubicBezTo>
                    <a:pt x="0" y="1936"/>
                    <a:pt x="0" y="1936"/>
                    <a:pt x="0" y="1936"/>
                  </a:cubicBezTo>
                  <a:cubicBezTo>
                    <a:pt x="0" y="1998"/>
                    <a:pt x="50" y="2048"/>
                    <a:pt x="112" y="2048"/>
                  </a:cubicBezTo>
                  <a:cubicBezTo>
                    <a:pt x="1936" y="2048"/>
                    <a:pt x="1936" y="2048"/>
                    <a:pt x="1936" y="2048"/>
                  </a:cubicBezTo>
                  <a:cubicBezTo>
                    <a:pt x="1998" y="2048"/>
                    <a:pt x="2048" y="1998"/>
                    <a:pt x="2048" y="1936"/>
                  </a:cubicBezTo>
                  <a:cubicBezTo>
                    <a:pt x="2048" y="112"/>
                    <a:pt x="2048" y="112"/>
                    <a:pt x="2048" y="112"/>
                  </a:cubicBezTo>
                  <a:cubicBezTo>
                    <a:pt x="2048" y="50"/>
                    <a:pt x="1998" y="0"/>
                    <a:pt x="1936" y="0"/>
                  </a:cubicBezTo>
                  <a:close/>
                  <a:moveTo>
                    <a:pt x="1977" y="1936"/>
                  </a:moveTo>
                  <a:cubicBezTo>
                    <a:pt x="1977" y="1959"/>
                    <a:pt x="1959" y="1977"/>
                    <a:pt x="1936" y="1977"/>
                  </a:cubicBezTo>
                  <a:cubicBezTo>
                    <a:pt x="112" y="1977"/>
                    <a:pt x="112" y="1977"/>
                    <a:pt x="112" y="1977"/>
                  </a:cubicBezTo>
                  <a:cubicBezTo>
                    <a:pt x="89" y="1977"/>
                    <a:pt x="71" y="1959"/>
                    <a:pt x="71" y="1936"/>
                  </a:cubicBezTo>
                  <a:cubicBezTo>
                    <a:pt x="71" y="112"/>
                    <a:pt x="71" y="112"/>
                    <a:pt x="71" y="112"/>
                  </a:cubicBezTo>
                  <a:cubicBezTo>
                    <a:pt x="71" y="89"/>
                    <a:pt x="89" y="71"/>
                    <a:pt x="112" y="71"/>
                  </a:cubicBezTo>
                  <a:cubicBezTo>
                    <a:pt x="1936" y="71"/>
                    <a:pt x="1936" y="71"/>
                    <a:pt x="1936" y="71"/>
                  </a:cubicBezTo>
                  <a:cubicBezTo>
                    <a:pt x="1959" y="71"/>
                    <a:pt x="1977" y="89"/>
                    <a:pt x="1977" y="112"/>
                  </a:cubicBezTo>
                  <a:cubicBezTo>
                    <a:pt x="1977" y="1936"/>
                    <a:pt x="1977" y="1936"/>
                    <a:pt x="1977" y="1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6">
              <a:extLst>
                <a:ext uri="{FF2B5EF4-FFF2-40B4-BE49-F238E27FC236}">
                  <a16:creationId xmlns:a16="http://schemas.microsoft.com/office/drawing/2014/main" id="{0B869CB4-830F-4F01-A39C-B2552052D345}"/>
                </a:ext>
              </a:extLst>
            </p:cNvPr>
            <p:cNvSpPr>
              <a:spLocks/>
            </p:cNvSpPr>
            <p:nvPr/>
          </p:nvSpPr>
          <p:spPr bwMode="auto">
            <a:xfrm>
              <a:off x="8550275" y="3476625"/>
              <a:ext cx="184150" cy="203200"/>
            </a:xfrm>
            <a:custGeom>
              <a:avLst/>
              <a:gdLst>
                <a:gd name="T0" fmla="*/ 1036 w 1049"/>
                <a:gd name="T1" fmla="*/ 13 h 1153"/>
                <a:gd name="T2" fmla="*/ 1001 w 1049"/>
                <a:gd name="T3" fmla="*/ 4 h 1153"/>
                <a:gd name="T4" fmla="*/ 507 w 1049"/>
                <a:gd name="T5" fmla="*/ 156 h 1153"/>
                <a:gd name="T6" fmla="*/ 483 w 1049"/>
                <a:gd name="T7" fmla="*/ 181 h 1153"/>
                <a:gd name="T8" fmla="*/ 492 w 1049"/>
                <a:gd name="T9" fmla="*/ 215 h 1153"/>
                <a:gd name="T10" fmla="*/ 584 w 1049"/>
                <a:gd name="T11" fmla="*/ 307 h 1153"/>
                <a:gd name="T12" fmla="*/ 545 w 1049"/>
                <a:gd name="T13" fmla="*/ 346 h 1153"/>
                <a:gd name="T14" fmla="*/ 545 w 1049"/>
                <a:gd name="T15" fmla="*/ 396 h 1153"/>
                <a:gd name="T16" fmla="*/ 595 w 1049"/>
                <a:gd name="T17" fmla="*/ 396 h 1153"/>
                <a:gd name="T18" fmla="*/ 660 w 1049"/>
                <a:gd name="T19" fmla="*/ 332 h 1153"/>
                <a:gd name="T20" fmla="*/ 670 w 1049"/>
                <a:gd name="T21" fmla="*/ 307 h 1153"/>
                <a:gd name="T22" fmla="*/ 660 w 1049"/>
                <a:gd name="T23" fmla="*/ 282 h 1153"/>
                <a:gd name="T24" fmla="*/ 584 w 1049"/>
                <a:gd name="T25" fmla="*/ 206 h 1153"/>
                <a:gd name="T26" fmla="*/ 957 w 1049"/>
                <a:gd name="T27" fmla="*/ 92 h 1153"/>
                <a:gd name="T28" fmla="*/ 843 w 1049"/>
                <a:gd name="T29" fmla="*/ 465 h 1153"/>
                <a:gd name="T30" fmla="*/ 767 w 1049"/>
                <a:gd name="T31" fmla="*/ 389 h 1153"/>
                <a:gd name="T32" fmla="*/ 717 w 1049"/>
                <a:gd name="T33" fmla="*/ 389 h 1153"/>
                <a:gd name="T34" fmla="*/ 13 w 1049"/>
                <a:gd name="T35" fmla="*/ 1093 h 1153"/>
                <a:gd name="T36" fmla="*/ 13 w 1049"/>
                <a:gd name="T37" fmla="*/ 1143 h 1153"/>
                <a:gd name="T38" fmla="*/ 39 w 1049"/>
                <a:gd name="T39" fmla="*/ 1153 h 1153"/>
                <a:gd name="T40" fmla="*/ 64 w 1049"/>
                <a:gd name="T41" fmla="*/ 1143 h 1153"/>
                <a:gd name="T42" fmla="*/ 742 w 1049"/>
                <a:gd name="T43" fmla="*/ 465 h 1153"/>
                <a:gd name="T44" fmla="*/ 834 w 1049"/>
                <a:gd name="T45" fmla="*/ 557 h 1153"/>
                <a:gd name="T46" fmla="*/ 868 w 1049"/>
                <a:gd name="T47" fmla="*/ 566 h 1153"/>
                <a:gd name="T48" fmla="*/ 893 w 1049"/>
                <a:gd name="T49" fmla="*/ 542 h 1153"/>
                <a:gd name="T50" fmla="*/ 1045 w 1049"/>
                <a:gd name="T51" fmla="*/ 48 h 1153"/>
                <a:gd name="T52" fmla="*/ 1036 w 1049"/>
                <a:gd name="T53" fmla="*/ 1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49" h="1153">
                  <a:moveTo>
                    <a:pt x="1036" y="13"/>
                  </a:moveTo>
                  <a:cubicBezTo>
                    <a:pt x="1027" y="3"/>
                    <a:pt x="1013" y="0"/>
                    <a:pt x="1001" y="4"/>
                  </a:cubicBezTo>
                  <a:cubicBezTo>
                    <a:pt x="507" y="156"/>
                    <a:pt x="507" y="156"/>
                    <a:pt x="507" y="156"/>
                  </a:cubicBezTo>
                  <a:cubicBezTo>
                    <a:pt x="495" y="159"/>
                    <a:pt x="486" y="169"/>
                    <a:pt x="483" y="181"/>
                  </a:cubicBezTo>
                  <a:cubicBezTo>
                    <a:pt x="480" y="193"/>
                    <a:pt x="483" y="206"/>
                    <a:pt x="492" y="215"/>
                  </a:cubicBezTo>
                  <a:cubicBezTo>
                    <a:pt x="584" y="307"/>
                    <a:pt x="584" y="307"/>
                    <a:pt x="584" y="307"/>
                  </a:cubicBezTo>
                  <a:cubicBezTo>
                    <a:pt x="545" y="346"/>
                    <a:pt x="545" y="346"/>
                    <a:pt x="545" y="346"/>
                  </a:cubicBezTo>
                  <a:cubicBezTo>
                    <a:pt x="531" y="360"/>
                    <a:pt x="531" y="383"/>
                    <a:pt x="545" y="396"/>
                  </a:cubicBezTo>
                  <a:cubicBezTo>
                    <a:pt x="559" y="410"/>
                    <a:pt x="582" y="410"/>
                    <a:pt x="595" y="396"/>
                  </a:cubicBezTo>
                  <a:cubicBezTo>
                    <a:pt x="660" y="332"/>
                    <a:pt x="660" y="332"/>
                    <a:pt x="660" y="332"/>
                  </a:cubicBezTo>
                  <a:cubicBezTo>
                    <a:pt x="666" y="326"/>
                    <a:pt x="670" y="317"/>
                    <a:pt x="670" y="307"/>
                  </a:cubicBezTo>
                  <a:cubicBezTo>
                    <a:pt x="670" y="298"/>
                    <a:pt x="666" y="289"/>
                    <a:pt x="660" y="282"/>
                  </a:cubicBezTo>
                  <a:cubicBezTo>
                    <a:pt x="584" y="206"/>
                    <a:pt x="584" y="206"/>
                    <a:pt x="584" y="206"/>
                  </a:cubicBezTo>
                  <a:cubicBezTo>
                    <a:pt x="957" y="92"/>
                    <a:pt x="957" y="92"/>
                    <a:pt x="957" y="92"/>
                  </a:cubicBezTo>
                  <a:cubicBezTo>
                    <a:pt x="843" y="465"/>
                    <a:pt x="843" y="465"/>
                    <a:pt x="843" y="465"/>
                  </a:cubicBezTo>
                  <a:cubicBezTo>
                    <a:pt x="767" y="389"/>
                    <a:pt x="767" y="389"/>
                    <a:pt x="767" y="389"/>
                  </a:cubicBezTo>
                  <a:cubicBezTo>
                    <a:pt x="753" y="375"/>
                    <a:pt x="731" y="375"/>
                    <a:pt x="717" y="389"/>
                  </a:cubicBezTo>
                  <a:cubicBezTo>
                    <a:pt x="13" y="1093"/>
                    <a:pt x="13" y="1093"/>
                    <a:pt x="13" y="1093"/>
                  </a:cubicBezTo>
                  <a:cubicBezTo>
                    <a:pt x="0" y="1107"/>
                    <a:pt x="0" y="1129"/>
                    <a:pt x="13" y="1143"/>
                  </a:cubicBezTo>
                  <a:cubicBezTo>
                    <a:pt x="20" y="1150"/>
                    <a:pt x="30" y="1153"/>
                    <a:pt x="39" y="1153"/>
                  </a:cubicBezTo>
                  <a:cubicBezTo>
                    <a:pt x="48" y="1153"/>
                    <a:pt x="57" y="1150"/>
                    <a:pt x="64" y="1143"/>
                  </a:cubicBezTo>
                  <a:cubicBezTo>
                    <a:pt x="742" y="465"/>
                    <a:pt x="742" y="465"/>
                    <a:pt x="742" y="465"/>
                  </a:cubicBezTo>
                  <a:cubicBezTo>
                    <a:pt x="834" y="557"/>
                    <a:pt x="834" y="557"/>
                    <a:pt x="834" y="557"/>
                  </a:cubicBezTo>
                  <a:cubicBezTo>
                    <a:pt x="843" y="566"/>
                    <a:pt x="856" y="570"/>
                    <a:pt x="868" y="566"/>
                  </a:cubicBezTo>
                  <a:cubicBezTo>
                    <a:pt x="880" y="563"/>
                    <a:pt x="890" y="554"/>
                    <a:pt x="893" y="542"/>
                  </a:cubicBezTo>
                  <a:cubicBezTo>
                    <a:pt x="1045" y="48"/>
                    <a:pt x="1045" y="48"/>
                    <a:pt x="1045" y="48"/>
                  </a:cubicBezTo>
                  <a:cubicBezTo>
                    <a:pt x="1049" y="36"/>
                    <a:pt x="1046" y="22"/>
                    <a:pt x="103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7">
              <a:extLst>
                <a:ext uri="{FF2B5EF4-FFF2-40B4-BE49-F238E27FC236}">
                  <a16:creationId xmlns:a16="http://schemas.microsoft.com/office/drawing/2014/main" id="{4F321BBC-0DD3-4A6A-93EE-3C3ADE3B4FFA}"/>
                </a:ext>
              </a:extLst>
            </p:cNvPr>
            <p:cNvSpPr>
              <a:spLocks/>
            </p:cNvSpPr>
            <p:nvPr/>
          </p:nvSpPr>
          <p:spPr bwMode="auto">
            <a:xfrm>
              <a:off x="8453438" y="3552825"/>
              <a:ext cx="185738" cy="204787"/>
            </a:xfrm>
            <a:custGeom>
              <a:avLst/>
              <a:gdLst>
                <a:gd name="T0" fmla="*/ 282 w 1053"/>
                <a:gd name="T1" fmla="*/ 772 h 1159"/>
                <a:gd name="T2" fmla="*/ 332 w 1053"/>
                <a:gd name="T3" fmla="*/ 772 h 1159"/>
                <a:gd name="T4" fmla="*/ 1039 w 1053"/>
                <a:gd name="T5" fmla="*/ 65 h 1159"/>
                <a:gd name="T6" fmla="*/ 1039 w 1053"/>
                <a:gd name="T7" fmla="*/ 14 h 1159"/>
                <a:gd name="T8" fmla="*/ 989 w 1053"/>
                <a:gd name="T9" fmla="*/ 14 h 1159"/>
                <a:gd name="T10" fmla="*/ 307 w 1053"/>
                <a:gd name="T11" fmla="*/ 696 h 1159"/>
                <a:gd name="T12" fmla="*/ 215 w 1053"/>
                <a:gd name="T13" fmla="*/ 604 h 1159"/>
                <a:gd name="T14" fmla="*/ 181 w 1053"/>
                <a:gd name="T15" fmla="*/ 595 h 1159"/>
                <a:gd name="T16" fmla="*/ 156 w 1053"/>
                <a:gd name="T17" fmla="*/ 619 h 1159"/>
                <a:gd name="T18" fmla="*/ 4 w 1053"/>
                <a:gd name="T19" fmla="*/ 1113 h 1159"/>
                <a:gd name="T20" fmla="*/ 13 w 1053"/>
                <a:gd name="T21" fmla="*/ 1148 h 1159"/>
                <a:gd name="T22" fmla="*/ 38 w 1053"/>
                <a:gd name="T23" fmla="*/ 1159 h 1159"/>
                <a:gd name="T24" fmla="*/ 48 w 1053"/>
                <a:gd name="T25" fmla="*/ 1157 h 1159"/>
                <a:gd name="T26" fmla="*/ 542 w 1053"/>
                <a:gd name="T27" fmla="*/ 1005 h 1159"/>
                <a:gd name="T28" fmla="*/ 566 w 1053"/>
                <a:gd name="T29" fmla="*/ 980 h 1159"/>
                <a:gd name="T30" fmla="*/ 557 w 1053"/>
                <a:gd name="T31" fmla="*/ 946 h 1159"/>
                <a:gd name="T32" fmla="*/ 465 w 1053"/>
                <a:gd name="T33" fmla="*/ 854 h 1159"/>
                <a:gd name="T34" fmla="*/ 508 w 1053"/>
                <a:gd name="T35" fmla="*/ 811 h 1159"/>
                <a:gd name="T36" fmla="*/ 508 w 1053"/>
                <a:gd name="T37" fmla="*/ 761 h 1159"/>
                <a:gd name="T38" fmla="*/ 457 w 1053"/>
                <a:gd name="T39" fmla="*/ 761 h 1159"/>
                <a:gd name="T40" fmla="*/ 389 w 1053"/>
                <a:gd name="T41" fmla="*/ 829 h 1159"/>
                <a:gd name="T42" fmla="*/ 389 w 1053"/>
                <a:gd name="T43" fmla="*/ 879 h 1159"/>
                <a:gd name="T44" fmla="*/ 465 w 1053"/>
                <a:gd name="T45" fmla="*/ 955 h 1159"/>
                <a:gd name="T46" fmla="*/ 92 w 1053"/>
                <a:gd name="T47" fmla="*/ 1069 h 1159"/>
                <a:gd name="T48" fmla="*/ 206 w 1053"/>
                <a:gd name="T49" fmla="*/ 696 h 1159"/>
                <a:gd name="T50" fmla="*/ 282 w 1053"/>
                <a:gd name="T51" fmla="*/ 772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3" h="1159">
                  <a:moveTo>
                    <a:pt x="282" y="772"/>
                  </a:moveTo>
                  <a:cubicBezTo>
                    <a:pt x="296" y="786"/>
                    <a:pt x="318" y="786"/>
                    <a:pt x="332" y="772"/>
                  </a:cubicBezTo>
                  <a:cubicBezTo>
                    <a:pt x="1039" y="65"/>
                    <a:pt x="1039" y="65"/>
                    <a:pt x="1039" y="65"/>
                  </a:cubicBezTo>
                  <a:cubicBezTo>
                    <a:pt x="1053" y="51"/>
                    <a:pt x="1053" y="28"/>
                    <a:pt x="1039" y="14"/>
                  </a:cubicBezTo>
                  <a:cubicBezTo>
                    <a:pt x="1025" y="0"/>
                    <a:pt x="1003" y="0"/>
                    <a:pt x="989" y="14"/>
                  </a:cubicBezTo>
                  <a:cubicBezTo>
                    <a:pt x="307" y="696"/>
                    <a:pt x="307" y="696"/>
                    <a:pt x="307" y="696"/>
                  </a:cubicBezTo>
                  <a:cubicBezTo>
                    <a:pt x="215" y="604"/>
                    <a:pt x="215" y="604"/>
                    <a:pt x="215" y="604"/>
                  </a:cubicBezTo>
                  <a:cubicBezTo>
                    <a:pt x="206" y="595"/>
                    <a:pt x="193" y="591"/>
                    <a:pt x="181" y="595"/>
                  </a:cubicBezTo>
                  <a:cubicBezTo>
                    <a:pt x="169" y="598"/>
                    <a:pt x="159" y="607"/>
                    <a:pt x="156" y="619"/>
                  </a:cubicBezTo>
                  <a:cubicBezTo>
                    <a:pt x="4" y="1113"/>
                    <a:pt x="4" y="1113"/>
                    <a:pt x="4" y="1113"/>
                  </a:cubicBezTo>
                  <a:cubicBezTo>
                    <a:pt x="0" y="1125"/>
                    <a:pt x="3" y="1139"/>
                    <a:pt x="13" y="1148"/>
                  </a:cubicBezTo>
                  <a:cubicBezTo>
                    <a:pt x="19" y="1155"/>
                    <a:pt x="28" y="1159"/>
                    <a:pt x="38" y="1159"/>
                  </a:cubicBezTo>
                  <a:cubicBezTo>
                    <a:pt x="41" y="1159"/>
                    <a:pt x="45" y="1158"/>
                    <a:pt x="48" y="1157"/>
                  </a:cubicBezTo>
                  <a:cubicBezTo>
                    <a:pt x="542" y="1005"/>
                    <a:pt x="542" y="1005"/>
                    <a:pt x="542" y="1005"/>
                  </a:cubicBezTo>
                  <a:cubicBezTo>
                    <a:pt x="554" y="1002"/>
                    <a:pt x="563" y="992"/>
                    <a:pt x="566" y="980"/>
                  </a:cubicBezTo>
                  <a:cubicBezTo>
                    <a:pt x="570" y="968"/>
                    <a:pt x="566" y="955"/>
                    <a:pt x="557" y="946"/>
                  </a:cubicBezTo>
                  <a:cubicBezTo>
                    <a:pt x="465" y="854"/>
                    <a:pt x="465" y="854"/>
                    <a:pt x="465" y="854"/>
                  </a:cubicBezTo>
                  <a:cubicBezTo>
                    <a:pt x="508" y="811"/>
                    <a:pt x="508" y="811"/>
                    <a:pt x="508" y="811"/>
                  </a:cubicBezTo>
                  <a:cubicBezTo>
                    <a:pt x="521" y="797"/>
                    <a:pt x="521" y="775"/>
                    <a:pt x="508" y="761"/>
                  </a:cubicBezTo>
                  <a:cubicBezTo>
                    <a:pt x="494" y="747"/>
                    <a:pt x="471" y="747"/>
                    <a:pt x="457" y="761"/>
                  </a:cubicBezTo>
                  <a:cubicBezTo>
                    <a:pt x="389" y="829"/>
                    <a:pt x="389" y="829"/>
                    <a:pt x="389" y="829"/>
                  </a:cubicBezTo>
                  <a:cubicBezTo>
                    <a:pt x="375" y="843"/>
                    <a:pt x="375" y="865"/>
                    <a:pt x="389" y="879"/>
                  </a:cubicBezTo>
                  <a:cubicBezTo>
                    <a:pt x="465" y="955"/>
                    <a:pt x="465" y="955"/>
                    <a:pt x="465" y="955"/>
                  </a:cubicBezTo>
                  <a:cubicBezTo>
                    <a:pt x="92" y="1069"/>
                    <a:pt x="92" y="1069"/>
                    <a:pt x="92" y="1069"/>
                  </a:cubicBezTo>
                  <a:cubicBezTo>
                    <a:pt x="206" y="696"/>
                    <a:pt x="206" y="696"/>
                    <a:pt x="206" y="696"/>
                  </a:cubicBezTo>
                  <a:lnTo>
                    <a:pt x="282" y="7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7" name="Group 114">
            <a:extLst>
              <a:ext uri="{FF2B5EF4-FFF2-40B4-BE49-F238E27FC236}">
                <a16:creationId xmlns:a16="http://schemas.microsoft.com/office/drawing/2014/main" id="{91AC1399-FC7B-4075-92ED-358B58997E35}"/>
              </a:ext>
            </a:extLst>
          </p:cNvPr>
          <p:cNvGrpSpPr>
            <a:grpSpLocks noChangeAspect="1"/>
          </p:cNvGrpSpPr>
          <p:nvPr/>
        </p:nvGrpSpPr>
        <p:grpSpPr>
          <a:xfrm>
            <a:off x="7070355" y="5956111"/>
            <a:ext cx="285619" cy="285619"/>
            <a:chOff x="5349769" y="5419470"/>
            <a:chExt cx="503328" cy="503328"/>
          </a:xfrm>
          <a:solidFill>
            <a:schemeClr val="bg2"/>
          </a:solidFill>
          <a:effectLst/>
        </p:grpSpPr>
        <p:sp>
          <p:nvSpPr>
            <p:cNvPr id="1194" name="Freeform 19">
              <a:extLst>
                <a:ext uri="{FF2B5EF4-FFF2-40B4-BE49-F238E27FC236}">
                  <a16:creationId xmlns:a16="http://schemas.microsoft.com/office/drawing/2014/main" id="{354CE9CC-9AE9-47DF-A767-F9C9B52021CD}"/>
                </a:ext>
              </a:extLst>
            </p:cNvPr>
            <p:cNvSpPr>
              <a:spLocks noEditPoints="1"/>
            </p:cNvSpPr>
            <p:nvPr/>
          </p:nvSpPr>
          <p:spPr bwMode="auto">
            <a:xfrm>
              <a:off x="5349769" y="5419470"/>
              <a:ext cx="503328" cy="503328"/>
            </a:xfrm>
            <a:custGeom>
              <a:avLst/>
              <a:gdLst>
                <a:gd name="T0" fmla="*/ 668 w 1641"/>
                <a:gd name="T1" fmla="*/ 76 h 1641"/>
                <a:gd name="T2" fmla="*/ 492 w 1641"/>
                <a:gd name="T3" fmla="*/ 135 h 1641"/>
                <a:gd name="T4" fmla="*/ 338 w 1641"/>
                <a:gd name="T5" fmla="*/ 235 h 1641"/>
                <a:gd name="T6" fmla="*/ 213 w 1641"/>
                <a:gd name="T7" fmla="*/ 366 h 1641"/>
                <a:gd name="T8" fmla="*/ 121 w 1641"/>
                <a:gd name="T9" fmla="*/ 525 h 1641"/>
                <a:gd name="T10" fmla="*/ 70 w 1641"/>
                <a:gd name="T11" fmla="*/ 705 h 1641"/>
                <a:gd name="T12" fmla="*/ 64 w 1641"/>
                <a:gd name="T13" fmla="*/ 898 h 1641"/>
                <a:gd name="T14" fmla="*/ 108 w 1641"/>
                <a:gd name="T15" fmla="*/ 1081 h 1641"/>
                <a:gd name="T16" fmla="*/ 191 w 1641"/>
                <a:gd name="T17" fmla="*/ 1245 h 1641"/>
                <a:gd name="T18" fmla="*/ 311 w 1641"/>
                <a:gd name="T19" fmla="*/ 1383 h 1641"/>
                <a:gd name="T20" fmla="*/ 459 w 1641"/>
                <a:gd name="T21" fmla="*/ 1488 h 1641"/>
                <a:gd name="T22" fmla="*/ 632 w 1641"/>
                <a:gd name="T23" fmla="*/ 1556 h 1641"/>
                <a:gd name="T24" fmla="*/ 820 w 1641"/>
                <a:gd name="T25" fmla="*/ 1581 h 1641"/>
                <a:gd name="T26" fmla="*/ 1011 w 1641"/>
                <a:gd name="T27" fmla="*/ 1556 h 1641"/>
                <a:gd name="T28" fmla="*/ 1183 w 1641"/>
                <a:gd name="T29" fmla="*/ 1488 h 1641"/>
                <a:gd name="T30" fmla="*/ 1332 w 1641"/>
                <a:gd name="T31" fmla="*/ 1383 h 1641"/>
                <a:gd name="T32" fmla="*/ 1451 w 1641"/>
                <a:gd name="T33" fmla="*/ 1245 h 1641"/>
                <a:gd name="T34" fmla="*/ 1535 w 1641"/>
                <a:gd name="T35" fmla="*/ 1081 h 1641"/>
                <a:gd name="T36" fmla="*/ 1576 w 1641"/>
                <a:gd name="T37" fmla="*/ 898 h 1641"/>
                <a:gd name="T38" fmla="*/ 1572 w 1641"/>
                <a:gd name="T39" fmla="*/ 705 h 1641"/>
                <a:gd name="T40" fmla="*/ 1522 w 1641"/>
                <a:gd name="T41" fmla="*/ 525 h 1641"/>
                <a:gd name="T42" fmla="*/ 1430 w 1641"/>
                <a:gd name="T43" fmla="*/ 366 h 1641"/>
                <a:gd name="T44" fmla="*/ 1304 w 1641"/>
                <a:gd name="T45" fmla="*/ 235 h 1641"/>
                <a:gd name="T46" fmla="*/ 1150 w 1641"/>
                <a:gd name="T47" fmla="*/ 135 h 1641"/>
                <a:gd name="T48" fmla="*/ 975 w 1641"/>
                <a:gd name="T49" fmla="*/ 76 h 1641"/>
                <a:gd name="T50" fmla="*/ 820 w 1641"/>
                <a:gd name="T51" fmla="*/ 1641 h 1641"/>
                <a:gd name="T52" fmla="*/ 616 w 1641"/>
                <a:gd name="T53" fmla="*/ 1615 h 1641"/>
                <a:gd name="T54" fmla="*/ 430 w 1641"/>
                <a:gd name="T55" fmla="*/ 1542 h 1641"/>
                <a:gd name="T56" fmla="*/ 269 w 1641"/>
                <a:gd name="T57" fmla="*/ 1428 h 1641"/>
                <a:gd name="T58" fmla="*/ 141 w 1641"/>
                <a:gd name="T59" fmla="*/ 1278 h 1641"/>
                <a:gd name="T60" fmla="*/ 50 w 1641"/>
                <a:gd name="T61" fmla="*/ 1103 h 1641"/>
                <a:gd name="T62" fmla="*/ 4 w 1641"/>
                <a:gd name="T63" fmla="*/ 904 h 1641"/>
                <a:gd name="T64" fmla="*/ 10 w 1641"/>
                <a:gd name="T65" fmla="*/ 695 h 1641"/>
                <a:gd name="T66" fmla="*/ 64 w 1641"/>
                <a:gd name="T67" fmla="*/ 501 h 1641"/>
                <a:gd name="T68" fmla="*/ 164 w 1641"/>
                <a:gd name="T69" fmla="*/ 330 h 1641"/>
                <a:gd name="T70" fmla="*/ 299 w 1641"/>
                <a:gd name="T71" fmla="*/ 187 h 1641"/>
                <a:gd name="T72" fmla="*/ 466 w 1641"/>
                <a:gd name="T73" fmla="*/ 81 h 1641"/>
                <a:gd name="T74" fmla="*/ 656 w 1641"/>
                <a:gd name="T75" fmla="*/ 17 h 1641"/>
                <a:gd name="T76" fmla="*/ 864 w 1641"/>
                <a:gd name="T77" fmla="*/ 1 h 1641"/>
                <a:gd name="T78" fmla="*/ 1065 w 1641"/>
                <a:gd name="T79" fmla="*/ 37 h 1641"/>
                <a:gd name="T80" fmla="*/ 1247 w 1641"/>
                <a:gd name="T81" fmla="*/ 119 h 1641"/>
                <a:gd name="T82" fmla="*/ 1401 w 1641"/>
                <a:gd name="T83" fmla="*/ 240 h 1641"/>
                <a:gd name="T84" fmla="*/ 1523 w 1641"/>
                <a:gd name="T85" fmla="*/ 396 h 1641"/>
                <a:gd name="T86" fmla="*/ 1605 w 1641"/>
                <a:gd name="T87" fmla="*/ 577 h 1641"/>
                <a:gd name="T88" fmla="*/ 1641 w 1641"/>
                <a:gd name="T89" fmla="*/ 779 h 1641"/>
                <a:gd name="T90" fmla="*/ 1625 w 1641"/>
                <a:gd name="T91" fmla="*/ 986 h 1641"/>
                <a:gd name="T92" fmla="*/ 1561 w 1641"/>
                <a:gd name="T93" fmla="*/ 1176 h 1641"/>
                <a:gd name="T94" fmla="*/ 1454 w 1641"/>
                <a:gd name="T95" fmla="*/ 1342 h 1641"/>
                <a:gd name="T96" fmla="*/ 1311 w 1641"/>
                <a:gd name="T97" fmla="*/ 1478 h 1641"/>
                <a:gd name="T98" fmla="*/ 1140 w 1641"/>
                <a:gd name="T99" fmla="*/ 1576 h 1641"/>
                <a:gd name="T100" fmla="*/ 946 w 1641"/>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1" h="1641">
                  <a:moveTo>
                    <a:pt x="820" y="60"/>
                  </a:moveTo>
                  <a:lnTo>
                    <a:pt x="782" y="62"/>
                  </a:lnTo>
                  <a:lnTo>
                    <a:pt x="744" y="65"/>
                  </a:lnTo>
                  <a:lnTo>
                    <a:pt x="705" y="69"/>
                  </a:lnTo>
                  <a:lnTo>
                    <a:pt x="668" y="76"/>
                  </a:lnTo>
                  <a:lnTo>
                    <a:pt x="632" y="85"/>
                  </a:lnTo>
                  <a:lnTo>
                    <a:pt x="596" y="95"/>
                  </a:lnTo>
                  <a:lnTo>
                    <a:pt x="560" y="107"/>
                  </a:lnTo>
                  <a:lnTo>
                    <a:pt x="525" y="121"/>
                  </a:lnTo>
                  <a:lnTo>
                    <a:pt x="492" y="135"/>
                  </a:lnTo>
                  <a:lnTo>
                    <a:pt x="459" y="153"/>
                  </a:lnTo>
                  <a:lnTo>
                    <a:pt x="427" y="171"/>
                  </a:lnTo>
                  <a:lnTo>
                    <a:pt x="397" y="190"/>
                  </a:lnTo>
                  <a:lnTo>
                    <a:pt x="367" y="212"/>
                  </a:lnTo>
                  <a:lnTo>
                    <a:pt x="338" y="235"/>
                  </a:lnTo>
                  <a:lnTo>
                    <a:pt x="311" y="258"/>
                  </a:lnTo>
                  <a:lnTo>
                    <a:pt x="283" y="284"/>
                  </a:lnTo>
                  <a:lnTo>
                    <a:pt x="259" y="309"/>
                  </a:lnTo>
                  <a:lnTo>
                    <a:pt x="234" y="337"/>
                  </a:lnTo>
                  <a:lnTo>
                    <a:pt x="213" y="366"/>
                  </a:lnTo>
                  <a:lnTo>
                    <a:pt x="191" y="396"/>
                  </a:lnTo>
                  <a:lnTo>
                    <a:pt x="171" y="428"/>
                  </a:lnTo>
                  <a:lnTo>
                    <a:pt x="152" y="459"/>
                  </a:lnTo>
                  <a:lnTo>
                    <a:pt x="136" y="491"/>
                  </a:lnTo>
                  <a:lnTo>
                    <a:pt x="121" y="525"/>
                  </a:lnTo>
                  <a:lnTo>
                    <a:pt x="108" y="560"/>
                  </a:lnTo>
                  <a:lnTo>
                    <a:pt x="95" y="595"/>
                  </a:lnTo>
                  <a:lnTo>
                    <a:pt x="85" y="630"/>
                  </a:lnTo>
                  <a:lnTo>
                    <a:pt x="76" y="668"/>
                  </a:lnTo>
                  <a:lnTo>
                    <a:pt x="70" y="705"/>
                  </a:lnTo>
                  <a:lnTo>
                    <a:pt x="64" y="743"/>
                  </a:lnTo>
                  <a:lnTo>
                    <a:pt x="62" y="782"/>
                  </a:lnTo>
                  <a:lnTo>
                    <a:pt x="62" y="821"/>
                  </a:lnTo>
                  <a:lnTo>
                    <a:pt x="62" y="859"/>
                  </a:lnTo>
                  <a:lnTo>
                    <a:pt x="64" y="898"/>
                  </a:lnTo>
                  <a:lnTo>
                    <a:pt x="70" y="936"/>
                  </a:lnTo>
                  <a:lnTo>
                    <a:pt x="76" y="973"/>
                  </a:lnTo>
                  <a:lnTo>
                    <a:pt x="85" y="1011"/>
                  </a:lnTo>
                  <a:lnTo>
                    <a:pt x="95" y="1046"/>
                  </a:lnTo>
                  <a:lnTo>
                    <a:pt x="108" y="1081"/>
                  </a:lnTo>
                  <a:lnTo>
                    <a:pt x="121" y="1116"/>
                  </a:lnTo>
                  <a:lnTo>
                    <a:pt x="136" y="1150"/>
                  </a:lnTo>
                  <a:lnTo>
                    <a:pt x="152" y="1182"/>
                  </a:lnTo>
                  <a:lnTo>
                    <a:pt x="171" y="1213"/>
                  </a:lnTo>
                  <a:lnTo>
                    <a:pt x="191" y="1245"/>
                  </a:lnTo>
                  <a:lnTo>
                    <a:pt x="213" y="1275"/>
                  </a:lnTo>
                  <a:lnTo>
                    <a:pt x="234" y="1304"/>
                  </a:lnTo>
                  <a:lnTo>
                    <a:pt x="259" y="1332"/>
                  </a:lnTo>
                  <a:lnTo>
                    <a:pt x="283" y="1357"/>
                  </a:lnTo>
                  <a:lnTo>
                    <a:pt x="311" y="1383"/>
                  </a:lnTo>
                  <a:lnTo>
                    <a:pt x="338" y="1406"/>
                  </a:lnTo>
                  <a:lnTo>
                    <a:pt x="367" y="1429"/>
                  </a:lnTo>
                  <a:lnTo>
                    <a:pt x="397" y="1451"/>
                  </a:lnTo>
                  <a:lnTo>
                    <a:pt x="427" y="1470"/>
                  </a:lnTo>
                  <a:lnTo>
                    <a:pt x="459" y="1488"/>
                  </a:lnTo>
                  <a:lnTo>
                    <a:pt x="492" y="1506"/>
                  </a:lnTo>
                  <a:lnTo>
                    <a:pt x="525" y="1520"/>
                  </a:lnTo>
                  <a:lnTo>
                    <a:pt x="560" y="1534"/>
                  </a:lnTo>
                  <a:lnTo>
                    <a:pt x="596" y="1546"/>
                  </a:lnTo>
                  <a:lnTo>
                    <a:pt x="632" y="1556"/>
                  </a:lnTo>
                  <a:lnTo>
                    <a:pt x="668" y="1565"/>
                  </a:lnTo>
                  <a:lnTo>
                    <a:pt x="705" y="1572"/>
                  </a:lnTo>
                  <a:lnTo>
                    <a:pt x="744" y="1576"/>
                  </a:lnTo>
                  <a:lnTo>
                    <a:pt x="782" y="1579"/>
                  </a:lnTo>
                  <a:lnTo>
                    <a:pt x="820" y="1581"/>
                  </a:lnTo>
                  <a:lnTo>
                    <a:pt x="861" y="1579"/>
                  </a:lnTo>
                  <a:lnTo>
                    <a:pt x="898" y="1576"/>
                  </a:lnTo>
                  <a:lnTo>
                    <a:pt x="937" y="1572"/>
                  </a:lnTo>
                  <a:lnTo>
                    <a:pt x="975" y="1565"/>
                  </a:lnTo>
                  <a:lnTo>
                    <a:pt x="1011" y="1556"/>
                  </a:lnTo>
                  <a:lnTo>
                    <a:pt x="1047" y="1546"/>
                  </a:lnTo>
                  <a:lnTo>
                    <a:pt x="1083" y="1534"/>
                  </a:lnTo>
                  <a:lnTo>
                    <a:pt x="1117" y="1520"/>
                  </a:lnTo>
                  <a:lnTo>
                    <a:pt x="1150" y="1506"/>
                  </a:lnTo>
                  <a:lnTo>
                    <a:pt x="1183" y="1488"/>
                  </a:lnTo>
                  <a:lnTo>
                    <a:pt x="1215" y="1470"/>
                  </a:lnTo>
                  <a:lnTo>
                    <a:pt x="1245" y="1451"/>
                  </a:lnTo>
                  <a:lnTo>
                    <a:pt x="1275" y="1429"/>
                  </a:lnTo>
                  <a:lnTo>
                    <a:pt x="1304" y="1406"/>
                  </a:lnTo>
                  <a:lnTo>
                    <a:pt x="1332" y="1383"/>
                  </a:lnTo>
                  <a:lnTo>
                    <a:pt x="1358" y="1357"/>
                  </a:lnTo>
                  <a:lnTo>
                    <a:pt x="1383" y="1332"/>
                  </a:lnTo>
                  <a:lnTo>
                    <a:pt x="1407" y="1304"/>
                  </a:lnTo>
                  <a:lnTo>
                    <a:pt x="1430" y="1275"/>
                  </a:lnTo>
                  <a:lnTo>
                    <a:pt x="1451" y="1245"/>
                  </a:lnTo>
                  <a:lnTo>
                    <a:pt x="1471" y="1213"/>
                  </a:lnTo>
                  <a:lnTo>
                    <a:pt x="1489" y="1182"/>
                  </a:lnTo>
                  <a:lnTo>
                    <a:pt x="1506" y="1150"/>
                  </a:lnTo>
                  <a:lnTo>
                    <a:pt x="1522" y="1116"/>
                  </a:lnTo>
                  <a:lnTo>
                    <a:pt x="1535" y="1081"/>
                  </a:lnTo>
                  <a:lnTo>
                    <a:pt x="1546" y="1046"/>
                  </a:lnTo>
                  <a:lnTo>
                    <a:pt x="1556" y="1011"/>
                  </a:lnTo>
                  <a:lnTo>
                    <a:pt x="1565" y="973"/>
                  </a:lnTo>
                  <a:lnTo>
                    <a:pt x="1572" y="936"/>
                  </a:lnTo>
                  <a:lnTo>
                    <a:pt x="1576" y="898"/>
                  </a:lnTo>
                  <a:lnTo>
                    <a:pt x="1579" y="859"/>
                  </a:lnTo>
                  <a:lnTo>
                    <a:pt x="1581" y="821"/>
                  </a:lnTo>
                  <a:lnTo>
                    <a:pt x="1579" y="782"/>
                  </a:lnTo>
                  <a:lnTo>
                    <a:pt x="1576" y="743"/>
                  </a:lnTo>
                  <a:lnTo>
                    <a:pt x="1572" y="705"/>
                  </a:lnTo>
                  <a:lnTo>
                    <a:pt x="1565" y="668"/>
                  </a:lnTo>
                  <a:lnTo>
                    <a:pt x="1556" y="630"/>
                  </a:lnTo>
                  <a:lnTo>
                    <a:pt x="1546" y="595"/>
                  </a:lnTo>
                  <a:lnTo>
                    <a:pt x="1535" y="560"/>
                  </a:lnTo>
                  <a:lnTo>
                    <a:pt x="1522" y="525"/>
                  </a:lnTo>
                  <a:lnTo>
                    <a:pt x="1506" y="491"/>
                  </a:lnTo>
                  <a:lnTo>
                    <a:pt x="1489" y="459"/>
                  </a:lnTo>
                  <a:lnTo>
                    <a:pt x="1471" y="428"/>
                  </a:lnTo>
                  <a:lnTo>
                    <a:pt x="1451" y="396"/>
                  </a:lnTo>
                  <a:lnTo>
                    <a:pt x="1430" y="366"/>
                  </a:lnTo>
                  <a:lnTo>
                    <a:pt x="1407" y="337"/>
                  </a:lnTo>
                  <a:lnTo>
                    <a:pt x="1383" y="309"/>
                  </a:lnTo>
                  <a:lnTo>
                    <a:pt x="1358" y="284"/>
                  </a:lnTo>
                  <a:lnTo>
                    <a:pt x="1332" y="258"/>
                  </a:lnTo>
                  <a:lnTo>
                    <a:pt x="1304" y="235"/>
                  </a:lnTo>
                  <a:lnTo>
                    <a:pt x="1275" y="212"/>
                  </a:lnTo>
                  <a:lnTo>
                    <a:pt x="1245" y="190"/>
                  </a:lnTo>
                  <a:lnTo>
                    <a:pt x="1215" y="171"/>
                  </a:lnTo>
                  <a:lnTo>
                    <a:pt x="1183" y="153"/>
                  </a:lnTo>
                  <a:lnTo>
                    <a:pt x="1150" y="135"/>
                  </a:lnTo>
                  <a:lnTo>
                    <a:pt x="1117" y="121"/>
                  </a:lnTo>
                  <a:lnTo>
                    <a:pt x="1083" y="107"/>
                  </a:lnTo>
                  <a:lnTo>
                    <a:pt x="1047" y="95"/>
                  </a:lnTo>
                  <a:lnTo>
                    <a:pt x="1011" y="85"/>
                  </a:lnTo>
                  <a:lnTo>
                    <a:pt x="975" y="76"/>
                  </a:lnTo>
                  <a:lnTo>
                    <a:pt x="937" y="69"/>
                  </a:lnTo>
                  <a:lnTo>
                    <a:pt x="898" y="65"/>
                  </a:lnTo>
                  <a:lnTo>
                    <a:pt x="861" y="62"/>
                  </a:lnTo>
                  <a:lnTo>
                    <a:pt x="820" y="60"/>
                  </a:lnTo>
                  <a:close/>
                  <a:moveTo>
                    <a:pt x="820" y="1641"/>
                  </a:moveTo>
                  <a:lnTo>
                    <a:pt x="779" y="1640"/>
                  </a:lnTo>
                  <a:lnTo>
                    <a:pt x="737" y="1637"/>
                  </a:lnTo>
                  <a:lnTo>
                    <a:pt x="697" y="1631"/>
                  </a:lnTo>
                  <a:lnTo>
                    <a:pt x="656" y="1624"/>
                  </a:lnTo>
                  <a:lnTo>
                    <a:pt x="616" y="1615"/>
                  </a:lnTo>
                  <a:lnTo>
                    <a:pt x="577" y="1604"/>
                  </a:lnTo>
                  <a:lnTo>
                    <a:pt x="540" y="1591"/>
                  </a:lnTo>
                  <a:lnTo>
                    <a:pt x="502" y="1576"/>
                  </a:lnTo>
                  <a:lnTo>
                    <a:pt x="466" y="1560"/>
                  </a:lnTo>
                  <a:lnTo>
                    <a:pt x="430" y="1542"/>
                  </a:lnTo>
                  <a:lnTo>
                    <a:pt x="396" y="1522"/>
                  </a:lnTo>
                  <a:lnTo>
                    <a:pt x="363" y="1501"/>
                  </a:lnTo>
                  <a:lnTo>
                    <a:pt x="331" y="1478"/>
                  </a:lnTo>
                  <a:lnTo>
                    <a:pt x="299" y="1454"/>
                  </a:lnTo>
                  <a:lnTo>
                    <a:pt x="269" y="1428"/>
                  </a:lnTo>
                  <a:lnTo>
                    <a:pt x="242" y="1401"/>
                  </a:lnTo>
                  <a:lnTo>
                    <a:pt x="214" y="1372"/>
                  </a:lnTo>
                  <a:lnTo>
                    <a:pt x="188" y="1342"/>
                  </a:lnTo>
                  <a:lnTo>
                    <a:pt x="164" y="1311"/>
                  </a:lnTo>
                  <a:lnTo>
                    <a:pt x="141" y="1278"/>
                  </a:lnTo>
                  <a:lnTo>
                    <a:pt x="119" y="1245"/>
                  </a:lnTo>
                  <a:lnTo>
                    <a:pt x="99" y="1211"/>
                  </a:lnTo>
                  <a:lnTo>
                    <a:pt x="82" y="1176"/>
                  </a:lnTo>
                  <a:lnTo>
                    <a:pt x="64" y="1140"/>
                  </a:lnTo>
                  <a:lnTo>
                    <a:pt x="50" y="1103"/>
                  </a:lnTo>
                  <a:lnTo>
                    <a:pt x="37" y="1064"/>
                  </a:lnTo>
                  <a:lnTo>
                    <a:pt x="26" y="1025"/>
                  </a:lnTo>
                  <a:lnTo>
                    <a:pt x="17" y="986"/>
                  </a:lnTo>
                  <a:lnTo>
                    <a:pt x="10" y="946"/>
                  </a:lnTo>
                  <a:lnTo>
                    <a:pt x="4" y="904"/>
                  </a:lnTo>
                  <a:lnTo>
                    <a:pt x="1" y="862"/>
                  </a:lnTo>
                  <a:lnTo>
                    <a:pt x="0" y="821"/>
                  </a:lnTo>
                  <a:lnTo>
                    <a:pt x="1" y="779"/>
                  </a:lnTo>
                  <a:lnTo>
                    <a:pt x="4" y="737"/>
                  </a:lnTo>
                  <a:lnTo>
                    <a:pt x="10" y="695"/>
                  </a:lnTo>
                  <a:lnTo>
                    <a:pt x="17" y="655"/>
                  </a:lnTo>
                  <a:lnTo>
                    <a:pt x="26" y="616"/>
                  </a:lnTo>
                  <a:lnTo>
                    <a:pt x="37" y="577"/>
                  </a:lnTo>
                  <a:lnTo>
                    <a:pt x="50" y="538"/>
                  </a:lnTo>
                  <a:lnTo>
                    <a:pt x="64" y="501"/>
                  </a:lnTo>
                  <a:lnTo>
                    <a:pt x="82" y="465"/>
                  </a:lnTo>
                  <a:lnTo>
                    <a:pt x="99" y="430"/>
                  </a:lnTo>
                  <a:lnTo>
                    <a:pt x="119" y="396"/>
                  </a:lnTo>
                  <a:lnTo>
                    <a:pt x="141" y="363"/>
                  </a:lnTo>
                  <a:lnTo>
                    <a:pt x="164" y="330"/>
                  </a:lnTo>
                  <a:lnTo>
                    <a:pt x="188" y="299"/>
                  </a:lnTo>
                  <a:lnTo>
                    <a:pt x="214" y="269"/>
                  </a:lnTo>
                  <a:lnTo>
                    <a:pt x="242" y="240"/>
                  </a:lnTo>
                  <a:lnTo>
                    <a:pt x="269" y="213"/>
                  </a:lnTo>
                  <a:lnTo>
                    <a:pt x="299" y="187"/>
                  </a:lnTo>
                  <a:lnTo>
                    <a:pt x="331" y="163"/>
                  </a:lnTo>
                  <a:lnTo>
                    <a:pt x="363" y="140"/>
                  </a:lnTo>
                  <a:lnTo>
                    <a:pt x="396" y="119"/>
                  </a:lnTo>
                  <a:lnTo>
                    <a:pt x="430" y="99"/>
                  </a:lnTo>
                  <a:lnTo>
                    <a:pt x="466" y="81"/>
                  </a:lnTo>
                  <a:lnTo>
                    <a:pt x="502" y="65"/>
                  </a:lnTo>
                  <a:lnTo>
                    <a:pt x="540" y="50"/>
                  </a:lnTo>
                  <a:lnTo>
                    <a:pt x="577" y="37"/>
                  </a:lnTo>
                  <a:lnTo>
                    <a:pt x="616" y="26"/>
                  </a:lnTo>
                  <a:lnTo>
                    <a:pt x="656" y="17"/>
                  </a:lnTo>
                  <a:lnTo>
                    <a:pt x="697" y="10"/>
                  </a:lnTo>
                  <a:lnTo>
                    <a:pt x="737" y="4"/>
                  </a:lnTo>
                  <a:lnTo>
                    <a:pt x="779" y="1"/>
                  </a:lnTo>
                  <a:lnTo>
                    <a:pt x="820" y="0"/>
                  </a:lnTo>
                  <a:lnTo>
                    <a:pt x="864" y="1"/>
                  </a:lnTo>
                  <a:lnTo>
                    <a:pt x="905" y="4"/>
                  </a:lnTo>
                  <a:lnTo>
                    <a:pt x="946" y="10"/>
                  </a:lnTo>
                  <a:lnTo>
                    <a:pt x="986" y="17"/>
                  </a:lnTo>
                  <a:lnTo>
                    <a:pt x="1026" y="26"/>
                  </a:lnTo>
                  <a:lnTo>
                    <a:pt x="1065" y="37"/>
                  </a:lnTo>
                  <a:lnTo>
                    <a:pt x="1103" y="50"/>
                  </a:lnTo>
                  <a:lnTo>
                    <a:pt x="1140" y="65"/>
                  </a:lnTo>
                  <a:lnTo>
                    <a:pt x="1176" y="81"/>
                  </a:lnTo>
                  <a:lnTo>
                    <a:pt x="1212" y="99"/>
                  </a:lnTo>
                  <a:lnTo>
                    <a:pt x="1247" y="119"/>
                  </a:lnTo>
                  <a:lnTo>
                    <a:pt x="1280" y="140"/>
                  </a:lnTo>
                  <a:lnTo>
                    <a:pt x="1311" y="163"/>
                  </a:lnTo>
                  <a:lnTo>
                    <a:pt x="1343" y="187"/>
                  </a:lnTo>
                  <a:lnTo>
                    <a:pt x="1372" y="213"/>
                  </a:lnTo>
                  <a:lnTo>
                    <a:pt x="1401" y="240"/>
                  </a:lnTo>
                  <a:lnTo>
                    <a:pt x="1428" y="269"/>
                  </a:lnTo>
                  <a:lnTo>
                    <a:pt x="1454" y="299"/>
                  </a:lnTo>
                  <a:lnTo>
                    <a:pt x="1479" y="330"/>
                  </a:lnTo>
                  <a:lnTo>
                    <a:pt x="1502" y="363"/>
                  </a:lnTo>
                  <a:lnTo>
                    <a:pt x="1523" y="396"/>
                  </a:lnTo>
                  <a:lnTo>
                    <a:pt x="1542" y="430"/>
                  </a:lnTo>
                  <a:lnTo>
                    <a:pt x="1561" y="465"/>
                  </a:lnTo>
                  <a:lnTo>
                    <a:pt x="1576" y="501"/>
                  </a:lnTo>
                  <a:lnTo>
                    <a:pt x="1592" y="538"/>
                  </a:lnTo>
                  <a:lnTo>
                    <a:pt x="1605" y="577"/>
                  </a:lnTo>
                  <a:lnTo>
                    <a:pt x="1615" y="616"/>
                  </a:lnTo>
                  <a:lnTo>
                    <a:pt x="1625" y="655"/>
                  </a:lnTo>
                  <a:lnTo>
                    <a:pt x="1633" y="695"/>
                  </a:lnTo>
                  <a:lnTo>
                    <a:pt x="1637" y="737"/>
                  </a:lnTo>
                  <a:lnTo>
                    <a:pt x="1641" y="779"/>
                  </a:lnTo>
                  <a:lnTo>
                    <a:pt x="1641" y="821"/>
                  </a:lnTo>
                  <a:lnTo>
                    <a:pt x="1641" y="862"/>
                  </a:lnTo>
                  <a:lnTo>
                    <a:pt x="1637" y="904"/>
                  </a:lnTo>
                  <a:lnTo>
                    <a:pt x="1633" y="946"/>
                  </a:lnTo>
                  <a:lnTo>
                    <a:pt x="1625" y="986"/>
                  </a:lnTo>
                  <a:lnTo>
                    <a:pt x="1615" y="1025"/>
                  </a:lnTo>
                  <a:lnTo>
                    <a:pt x="1605" y="1064"/>
                  </a:lnTo>
                  <a:lnTo>
                    <a:pt x="1592" y="1103"/>
                  </a:lnTo>
                  <a:lnTo>
                    <a:pt x="1576" y="1140"/>
                  </a:lnTo>
                  <a:lnTo>
                    <a:pt x="1561" y="1176"/>
                  </a:lnTo>
                  <a:lnTo>
                    <a:pt x="1542" y="1211"/>
                  </a:lnTo>
                  <a:lnTo>
                    <a:pt x="1523" y="1245"/>
                  </a:lnTo>
                  <a:lnTo>
                    <a:pt x="1502" y="1278"/>
                  </a:lnTo>
                  <a:lnTo>
                    <a:pt x="1479" y="1311"/>
                  </a:lnTo>
                  <a:lnTo>
                    <a:pt x="1454" y="1342"/>
                  </a:lnTo>
                  <a:lnTo>
                    <a:pt x="1428" y="1372"/>
                  </a:lnTo>
                  <a:lnTo>
                    <a:pt x="1401" y="1401"/>
                  </a:lnTo>
                  <a:lnTo>
                    <a:pt x="1372" y="1428"/>
                  </a:lnTo>
                  <a:lnTo>
                    <a:pt x="1343" y="1454"/>
                  </a:lnTo>
                  <a:lnTo>
                    <a:pt x="1311" y="1478"/>
                  </a:lnTo>
                  <a:lnTo>
                    <a:pt x="1280" y="1501"/>
                  </a:lnTo>
                  <a:lnTo>
                    <a:pt x="1247" y="1522"/>
                  </a:lnTo>
                  <a:lnTo>
                    <a:pt x="1212" y="1542"/>
                  </a:lnTo>
                  <a:lnTo>
                    <a:pt x="1176" y="1560"/>
                  </a:lnTo>
                  <a:lnTo>
                    <a:pt x="1140" y="1576"/>
                  </a:lnTo>
                  <a:lnTo>
                    <a:pt x="1103" y="1591"/>
                  </a:lnTo>
                  <a:lnTo>
                    <a:pt x="1065" y="1604"/>
                  </a:lnTo>
                  <a:lnTo>
                    <a:pt x="1026" y="1615"/>
                  </a:lnTo>
                  <a:lnTo>
                    <a:pt x="986" y="1624"/>
                  </a:lnTo>
                  <a:lnTo>
                    <a:pt x="946" y="1631"/>
                  </a:lnTo>
                  <a:lnTo>
                    <a:pt x="905" y="1637"/>
                  </a:lnTo>
                  <a:lnTo>
                    <a:pt x="864" y="1640"/>
                  </a:lnTo>
                  <a:lnTo>
                    <a:pt x="820"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5" name="Freeform 20">
              <a:extLst>
                <a:ext uri="{FF2B5EF4-FFF2-40B4-BE49-F238E27FC236}">
                  <a16:creationId xmlns:a16="http://schemas.microsoft.com/office/drawing/2014/main" id="{F32B364E-2B04-4604-9E16-2B7FA9A48148}"/>
                </a:ext>
              </a:extLst>
            </p:cNvPr>
            <p:cNvSpPr>
              <a:spLocks noEditPoints="1"/>
            </p:cNvSpPr>
            <p:nvPr/>
          </p:nvSpPr>
          <p:spPr bwMode="auto">
            <a:xfrm>
              <a:off x="5424302" y="5568536"/>
              <a:ext cx="186792" cy="223599"/>
            </a:xfrm>
            <a:custGeom>
              <a:avLst/>
              <a:gdLst>
                <a:gd name="T0" fmla="*/ 62 w 608"/>
                <a:gd name="T1" fmla="*/ 83 h 728"/>
                <a:gd name="T2" fmla="*/ 62 w 608"/>
                <a:gd name="T3" fmla="*/ 643 h 728"/>
                <a:gd name="T4" fmla="*/ 520 w 608"/>
                <a:gd name="T5" fmla="*/ 352 h 728"/>
                <a:gd name="T6" fmla="*/ 62 w 608"/>
                <a:gd name="T7" fmla="*/ 83 h 728"/>
                <a:gd name="T8" fmla="*/ 30 w 608"/>
                <a:gd name="T9" fmla="*/ 728 h 728"/>
                <a:gd name="T10" fmla="*/ 23 w 608"/>
                <a:gd name="T11" fmla="*/ 728 h 728"/>
                <a:gd name="T12" fmla="*/ 16 w 608"/>
                <a:gd name="T13" fmla="*/ 725 h 728"/>
                <a:gd name="T14" fmla="*/ 10 w 608"/>
                <a:gd name="T15" fmla="*/ 719 h 728"/>
                <a:gd name="T16" fmla="*/ 4 w 608"/>
                <a:gd name="T17" fmla="*/ 714 h 728"/>
                <a:gd name="T18" fmla="*/ 1 w 608"/>
                <a:gd name="T19" fmla="*/ 706 h 728"/>
                <a:gd name="T20" fmla="*/ 0 w 608"/>
                <a:gd name="T21" fmla="*/ 698 h 728"/>
                <a:gd name="T22" fmla="*/ 0 w 608"/>
                <a:gd name="T23" fmla="*/ 30 h 728"/>
                <a:gd name="T24" fmla="*/ 1 w 608"/>
                <a:gd name="T25" fmla="*/ 21 h 728"/>
                <a:gd name="T26" fmla="*/ 4 w 608"/>
                <a:gd name="T27" fmla="*/ 14 h 728"/>
                <a:gd name="T28" fmla="*/ 10 w 608"/>
                <a:gd name="T29" fmla="*/ 8 h 728"/>
                <a:gd name="T30" fmla="*/ 16 w 608"/>
                <a:gd name="T31" fmla="*/ 4 h 728"/>
                <a:gd name="T32" fmla="*/ 23 w 608"/>
                <a:gd name="T33" fmla="*/ 0 h 728"/>
                <a:gd name="T34" fmla="*/ 32 w 608"/>
                <a:gd name="T35" fmla="*/ 0 h 728"/>
                <a:gd name="T36" fmla="*/ 39 w 608"/>
                <a:gd name="T37" fmla="*/ 1 h 728"/>
                <a:gd name="T38" fmla="*/ 46 w 608"/>
                <a:gd name="T39" fmla="*/ 4 h 728"/>
                <a:gd name="T40" fmla="*/ 593 w 608"/>
                <a:gd name="T41" fmla="*/ 325 h 728"/>
                <a:gd name="T42" fmla="*/ 599 w 608"/>
                <a:gd name="T43" fmla="*/ 331 h 728"/>
                <a:gd name="T44" fmla="*/ 605 w 608"/>
                <a:gd name="T45" fmla="*/ 336 h 728"/>
                <a:gd name="T46" fmla="*/ 608 w 608"/>
                <a:gd name="T47" fmla="*/ 344 h 728"/>
                <a:gd name="T48" fmla="*/ 608 w 608"/>
                <a:gd name="T49" fmla="*/ 351 h 728"/>
                <a:gd name="T50" fmla="*/ 608 w 608"/>
                <a:gd name="T51" fmla="*/ 359 h 728"/>
                <a:gd name="T52" fmla="*/ 605 w 608"/>
                <a:gd name="T53" fmla="*/ 367 h 728"/>
                <a:gd name="T54" fmla="*/ 600 w 608"/>
                <a:gd name="T55" fmla="*/ 372 h 728"/>
                <a:gd name="T56" fmla="*/ 595 w 608"/>
                <a:gd name="T57" fmla="*/ 377 h 728"/>
                <a:gd name="T58" fmla="*/ 48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2" y="83"/>
                  </a:moveTo>
                  <a:lnTo>
                    <a:pt x="62" y="643"/>
                  </a:lnTo>
                  <a:lnTo>
                    <a:pt x="520" y="352"/>
                  </a:lnTo>
                  <a:lnTo>
                    <a:pt x="62" y="83"/>
                  </a:lnTo>
                  <a:close/>
                  <a:moveTo>
                    <a:pt x="30" y="728"/>
                  </a:moveTo>
                  <a:lnTo>
                    <a:pt x="23" y="728"/>
                  </a:lnTo>
                  <a:lnTo>
                    <a:pt x="16" y="725"/>
                  </a:lnTo>
                  <a:lnTo>
                    <a:pt x="10" y="719"/>
                  </a:lnTo>
                  <a:lnTo>
                    <a:pt x="4" y="714"/>
                  </a:lnTo>
                  <a:lnTo>
                    <a:pt x="1" y="706"/>
                  </a:lnTo>
                  <a:lnTo>
                    <a:pt x="0" y="698"/>
                  </a:lnTo>
                  <a:lnTo>
                    <a:pt x="0" y="30"/>
                  </a:lnTo>
                  <a:lnTo>
                    <a:pt x="1" y="21"/>
                  </a:lnTo>
                  <a:lnTo>
                    <a:pt x="4" y="14"/>
                  </a:lnTo>
                  <a:lnTo>
                    <a:pt x="10" y="8"/>
                  </a:lnTo>
                  <a:lnTo>
                    <a:pt x="16" y="4"/>
                  </a:lnTo>
                  <a:lnTo>
                    <a:pt x="23" y="0"/>
                  </a:lnTo>
                  <a:lnTo>
                    <a:pt x="32" y="0"/>
                  </a:lnTo>
                  <a:lnTo>
                    <a:pt x="39" y="1"/>
                  </a:lnTo>
                  <a:lnTo>
                    <a:pt x="46" y="4"/>
                  </a:lnTo>
                  <a:lnTo>
                    <a:pt x="593" y="325"/>
                  </a:lnTo>
                  <a:lnTo>
                    <a:pt x="599" y="331"/>
                  </a:lnTo>
                  <a:lnTo>
                    <a:pt x="605" y="336"/>
                  </a:lnTo>
                  <a:lnTo>
                    <a:pt x="608" y="344"/>
                  </a:lnTo>
                  <a:lnTo>
                    <a:pt x="608" y="351"/>
                  </a:lnTo>
                  <a:lnTo>
                    <a:pt x="608" y="359"/>
                  </a:lnTo>
                  <a:lnTo>
                    <a:pt x="605" y="367"/>
                  </a:lnTo>
                  <a:lnTo>
                    <a:pt x="600" y="372"/>
                  </a:lnTo>
                  <a:lnTo>
                    <a:pt x="595" y="377"/>
                  </a:lnTo>
                  <a:lnTo>
                    <a:pt x="48"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6" name="Freeform 21">
              <a:extLst>
                <a:ext uri="{FF2B5EF4-FFF2-40B4-BE49-F238E27FC236}">
                  <a16:creationId xmlns:a16="http://schemas.microsoft.com/office/drawing/2014/main" id="{F2975339-2087-4220-8A48-292BED8CE6E0}"/>
                </a:ext>
              </a:extLst>
            </p:cNvPr>
            <p:cNvSpPr>
              <a:spLocks noEditPoints="1"/>
            </p:cNvSpPr>
            <p:nvPr/>
          </p:nvSpPr>
          <p:spPr bwMode="auto">
            <a:xfrm>
              <a:off x="5591771" y="5568536"/>
              <a:ext cx="186792" cy="223599"/>
            </a:xfrm>
            <a:custGeom>
              <a:avLst/>
              <a:gdLst>
                <a:gd name="T0" fmla="*/ 61 w 608"/>
                <a:gd name="T1" fmla="*/ 83 h 728"/>
                <a:gd name="T2" fmla="*/ 61 w 608"/>
                <a:gd name="T3" fmla="*/ 643 h 728"/>
                <a:gd name="T4" fmla="*/ 520 w 608"/>
                <a:gd name="T5" fmla="*/ 352 h 728"/>
                <a:gd name="T6" fmla="*/ 61 w 608"/>
                <a:gd name="T7" fmla="*/ 83 h 728"/>
                <a:gd name="T8" fmla="*/ 30 w 608"/>
                <a:gd name="T9" fmla="*/ 728 h 728"/>
                <a:gd name="T10" fmla="*/ 23 w 608"/>
                <a:gd name="T11" fmla="*/ 728 h 728"/>
                <a:gd name="T12" fmla="*/ 16 w 608"/>
                <a:gd name="T13" fmla="*/ 725 h 728"/>
                <a:gd name="T14" fmla="*/ 10 w 608"/>
                <a:gd name="T15" fmla="*/ 719 h 728"/>
                <a:gd name="T16" fmla="*/ 5 w 608"/>
                <a:gd name="T17" fmla="*/ 714 h 728"/>
                <a:gd name="T18" fmla="*/ 2 w 608"/>
                <a:gd name="T19" fmla="*/ 706 h 728"/>
                <a:gd name="T20" fmla="*/ 0 w 608"/>
                <a:gd name="T21" fmla="*/ 698 h 728"/>
                <a:gd name="T22" fmla="*/ 0 w 608"/>
                <a:gd name="T23" fmla="*/ 30 h 728"/>
                <a:gd name="T24" fmla="*/ 2 w 608"/>
                <a:gd name="T25" fmla="*/ 21 h 728"/>
                <a:gd name="T26" fmla="*/ 5 w 608"/>
                <a:gd name="T27" fmla="*/ 14 h 728"/>
                <a:gd name="T28" fmla="*/ 9 w 608"/>
                <a:gd name="T29" fmla="*/ 8 h 728"/>
                <a:gd name="T30" fmla="*/ 16 w 608"/>
                <a:gd name="T31" fmla="*/ 4 h 728"/>
                <a:gd name="T32" fmla="*/ 23 w 608"/>
                <a:gd name="T33" fmla="*/ 0 h 728"/>
                <a:gd name="T34" fmla="*/ 32 w 608"/>
                <a:gd name="T35" fmla="*/ 0 h 728"/>
                <a:gd name="T36" fmla="*/ 39 w 608"/>
                <a:gd name="T37" fmla="*/ 1 h 728"/>
                <a:gd name="T38" fmla="*/ 46 w 608"/>
                <a:gd name="T39" fmla="*/ 4 h 728"/>
                <a:gd name="T40" fmla="*/ 593 w 608"/>
                <a:gd name="T41" fmla="*/ 325 h 728"/>
                <a:gd name="T42" fmla="*/ 599 w 608"/>
                <a:gd name="T43" fmla="*/ 331 h 728"/>
                <a:gd name="T44" fmla="*/ 605 w 608"/>
                <a:gd name="T45" fmla="*/ 336 h 728"/>
                <a:gd name="T46" fmla="*/ 608 w 608"/>
                <a:gd name="T47" fmla="*/ 344 h 728"/>
                <a:gd name="T48" fmla="*/ 608 w 608"/>
                <a:gd name="T49" fmla="*/ 351 h 728"/>
                <a:gd name="T50" fmla="*/ 608 w 608"/>
                <a:gd name="T51" fmla="*/ 359 h 728"/>
                <a:gd name="T52" fmla="*/ 605 w 608"/>
                <a:gd name="T53" fmla="*/ 367 h 728"/>
                <a:gd name="T54" fmla="*/ 601 w 608"/>
                <a:gd name="T55" fmla="*/ 372 h 728"/>
                <a:gd name="T56" fmla="*/ 595 w 608"/>
                <a:gd name="T57" fmla="*/ 377 h 728"/>
                <a:gd name="T58" fmla="*/ 48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20" y="352"/>
                  </a:lnTo>
                  <a:lnTo>
                    <a:pt x="61" y="83"/>
                  </a:lnTo>
                  <a:close/>
                  <a:moveTo>
                    <a:pt x="30" y="728"/>
                  </a:moveTo>
                  <a:lnTo>
                    <a:pt x="23" y="728"/>
                  </a:lnTo>
                  <a:lnTo>
                    <a:pt x="16" y="725"/>
                  </a:lnTo>
                  <a:lnTo>
                    <a:pt x="10" y="719"/>
                  </a:lnTo>
                  <a:lnTo>
                    <a:pt x="5" y="714"/>
                  </a:lnTo>
                  <a:lnTo>
                    <a:pt x="2" y="706"/>
                  </a:lnTo>
                  <a:lnTo>
                    <a:pt x="0" y="698"/>
                  </a:lnTo>
                  <a:lnTo>
                    <a:pt x="0" y="30"/>
                  </a:lnTo>
                  <a:lnTo>
                    <a:pt x="2" y="21"/>
                  </a:lnTo>
                  <a:lnTo>
                    <a:pt x="5" y="14"/>
                  </a:lnTo>
                  <a:lnTo>
                    <a:pt x="9" y="8"/>
                  </a:lnTo>
                  <a:lnTo>
                    <a:pt x="16" y="4"/>
                  </a:lnTo>
                  <a:lnTo>
                    <a:pt x="23" y="0"/>
                  </a:lnTo>
                  <a:lnTo>
                    <a:pt x="32" y="0"/>
                  </a:lnTo>
                  <a:lnTo>
                    <a:pt x="39" y="1"/>
                  </a:lnTo>
                  <a:lnTo>
                    <a:pt x="46" y="4"/>
                  </a:lnTo>
                  <a:lnTo>
                    <a:pt x="593" y="325"/>
                  </a:lnTo>
                  <a:lnTo>
                    <a:pt x="599" y="331"/>
                  </a:lnTo>
                  <a:lnTo>
                    <a:pt x="605" y="336"/>
                  </a:lnTo>
                  <a:lnTo>
                    <a:pt x="608" y="344"/>
                  </a:lnTo>
                  <a:lnTo>
                    <a:pt x="608" y="351"/>
                  </a:lnTo>
                  <a:lnTo>
                    <a:pt x="608" y="359"/>
                  </a:lnTo>
                  <a:lnTo>
                    <a:pt x="605" y="367"/>
                  </a:lnTo>
                  <a:lnTo>
                    <a:pt x="601" y="372"/>
                  </a:lnTo>
                  <a:lnTo>
                    <a:pt x="595" y="377"/>
                  </a:lnTo>
                  <a:lnTo>
                    <a:pt x="48"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7" name="Freeform 33">
              <a:extLst>
                <a:ext uri="{FF2B5EF4-FFF2-40B4-BE49-F238E27FC236}">
                  <a16:creationId xmlns:a16="http://schemas.microsoft.com/office/drawing/2014/main" id="{81E3945D-2E6E-43A4-A893-6CFE8837F144}"/>
                </a:ext>
              </a:extLst>
            </p:cNvPr>
            <p:cNvSpPr>
              <a:spLocks/>
            </p:cNvSpPr>
            <p:nvPr/>
          </p:nvSpPr>
          <p:spPr bwMode="auto">
            <a:xfrm>
              <a:off x="5760161" y="5568536"/>
              <a:ext cx="18403" cy="223599"/>
            </a:xfrm>
            <a:custGeom>
              <a:avLst/>
              <a:gdLst>
                <a:gd name="T0" fmla="*/ 31 w 61"/>
                <a:gd name="T1" fmla="*/ 728 h 728"/>
                <a:gd name="T2" fmla="*/ 25 w 61"/>
                <a:gd name="T3" fmla="*/ 728 h 728"/>
                <a:gd name="T4" fmla="*/ 19 w 61"/>
                <a:gd name="T5" fmla="*/ 726 h 728"/>
                <a:gd name="T6" fmla="*/ 15 w 61"/>
                <a:gd name="T7" fmla="*/ 724 h 728"/>
                <a:gd name="T8" fmla="*/ 9 w 61"/>
                <a:gd name="T9" fmla="*/ 719 h 728"/>
                <a:gd name="T10" fmla="*/ 6 w 61"/>
                <a:gd name="T11" fmla="*/ 715 h 728"/>
                <a:gd name="T12" fmla="*/ 3 w 61"/>
                <a:gd name="T13" fmla="*/ 711 h 728"/>
                <a:gd name="T14" fmla="*/ 2 w 61"/>
                <a:gd name="T15" fmla="*/ 705 h 728"/>
                <a:gd name="T16" fmla="*/ 0 w 61"/>
                <a:gd name="T17" fmla="*/ 698 h 728"/>
                <a:gd name="T18" fmla="*/ 0 w 61"/>
                <a:gd name="T19" fmla="*/ 30 h 728"/>
                <a:gd name="T20" fmla="*/ 2 w 61"/>
                <a:gd name="T21" fmla="*/ 24 h 728"/>
                <a:gd name="T22" fmla="*/ 3 w 61"/>
                <a:gd name="T23" fmla="*/ 18 h 728"/>
                <a:gd name="T24" fmla="*/ 6 w 61"/>
                <a:gd name="T25" fmla="*/ 12 h 728"/>
                <a:gd name="T26" fmla="*/ 9 w 61"/>
                <a:gd name="T27" fmla="*/ 8 h 728"/>
                <a:gd name="T28" fmla="*/ 15 w 61"/>
                <a:gd name="T29" fmla="*/ 4 h 728"/>
                <a:gd name="T30" fmla="*/ 19 w 61"/>
                <a:gd name="T31" fmla="*/ 1 h 728"/>
                <a:gd name="T32" fmla="*/ 25 w 61"/>
                <a:gd name="T33" fmla="*/ 0 h 728"/>
                <a:gd name="T34" fmla="*/ 31 w 61"/>
                <a:gd name="T35" fmla="*/ 0 h 728"/>
                <a:gd name="T36" fmla="*/ 38 w 61"/>
                <a:gd name="T37" fmla="*/ 0 h 728"/>
                <a:gd name="T38" fmla="*/ 44 w 61"/>
                <a:gd name="T39" fmla="*/ 1 h 728"/>
                <a:gd name="T40" fmla="*/ 48 w 61"/>
                <a:gd name="T41" fmla="*/ 4 h 728"/>
                <a:gd name="T42" fmla="*/ 52 w 61"/>
                <a:gd name="T43" fmla="*/ 8 h 728"/>
                <a:gd name="T44" fmla="*/ 57 w 61"/>
                <a:gd name="T45" fmla="*/ 12 h 728"/>
                <a:gd name="T46" fmla="*/ 59 w 61"/>
                <a:gd name="T47" fmla="*/ 18 h 728"/>
                <a:gd name="T48" fmla="*/ 61 w 61"/>
                <a:gd name="T49" fmla="*/ 24 h 728"/>
                <a:gd name="T50" fmla="*/ 61 w 61"/>
                <a:gd name="T51" fmla="*/ 30 h 728"/>
                <a:gd name="T52" fmla="*/ 61 w 61"/>
                <a:gd name="T53" fmla="*/ 698 h 728"/>
                <a:gd name="T54" fmla="*/ 61 w 61"/>
                <a:gd name="T55" fmla="*/ 705 h 728"/>
                <a:gd name="T56" fmla="*/ 59 w 61"/>
                <a:gd name="T57" fmla="*/ 711 h 728"/>
                <a:gd name="T58" fmla="*/ 57 w 61"/>
                <a:gd name="T59" fmla="*/ 715 h 728"/>
                <a:gd name="T60" fmla="*/ 52 w 61"/>
                <a:gd name="T61" fmla="*/ 719 h 728"/>
                <a:gd name="T62" fmla="*/ 48 w 61"/>
                <a:gd name="T63" fmla="*/ 724 h 728"/>
                <a:gd name="T64" fmla="*/ 44 w 61"/>
                <a:gd name="T65" fmla="*/ 726 h 728"/>
                <a:gd name="T66" fmla="*/ 38 w 61"/>
                <a:gd name="T67" fmla="*/ 728 h 728"/>
                <a:gd name="T68" fmla="*/ 31 w 61"/>
                <a:gd name="T6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728">
                  <a:moveTo>
                    <a:pt x="31" y="728"/>
                  </a:moveTo>
                  <a:lnTo>
                    <a:pt x="25" y="728"/>
                  </a:lnTo>
                  <a:lnTo>
                    <a:pt x="19" y="726"/>
                  </a:lnTo>
                  <a:lnTo>
                    <a:pt x="15" y="724"/>
                  </a:lnTo>
                  <a:lnTo>
                    <a:pt x="9" y="719"/>
                  </a:lnTo>
                  <a:lnTo>
                    <a:pt x="6" y="715"/>
                  </a:lnTo>
                  <a:lnTo>
                    <a:pt x="3" y="711"/>
                  </a:lnTo>
                  <a:lnTo>
                    <a:pt x="2" y="705"/>
                  </a:lnTo>
                  <a:lnTo>
                    <a:pt x="0" y="698"/>
                  </a:lnTo>
                  <a:lnTo>
                    <a:pt x="0" y="30"/>
                  </a:lnTo>
                  <a:lnTo>
                    <a:pt x="2" y="24"/>
                  </a:lnTo>
                  <a:lnTo>
                    <a:pt x="3" y="18"/>
                  </a:lnTo>
                  <a:lnTo>
                    <a:pt x="6" y="12"/>
                  </a:lnTo>
                  <a:lnTo>
                    <a:pt x="9" y="8"/>
                  </a:lnTo>
                  <a:lnTo>
                    <a:pt x="15" y="4"/>
                  </a:lnTo>
                  <a:lnTo>
                    <a:pt x="19" y="1"/>
                  </a:lnTo>
                  <a:lnTo>
                    <a:pt x="25" y="0"/>
                  </a:lnTo>
                  <a:lnTo>
                    <a:pt x="31" y="0"/>
                  </a:lnTo>
                  <a:lnTo>
                    <a:pt x="38" y="0"/>
                  </a:lnTo>
                  <a:lnTo>
                    <a:pt x="44" y="1"/>
                  </a:lnTo>
                  <a:lnTo>
                    <a:pt x="48" y="4"/>
                  </a:lnTo>
                  <a:lnTo>
                    <a:pt x="52" y="8"/>
                  </a:lnTo>
                  <a:lnTo>
                    <a:pt x="57" y="12"/>
                  </a:lnTo>
                  <a:lnTo>
                    <a:pt x="59" y="18"/>
                  </a:lnTo>
                  <a:lnTo>
                    <a:pt x="61" y="24"/>
                  </a:lnTo>
                  <a:lnTo>
                    <a:pt x="61" y="30"/>
                  </a:lnTo>
                  <a:lnTo>
                    <a:pt x="61" y="698"/>
                  </a:lnTo>
                  <a:lnTo>
                    <a:pt x="61" y="705"/>
                  </a:lnTo>
                  <a:lnTo>
                    <a:pt x="59" y="711"/>
                  </a:lnTo>
                  <a:lnTo>
                    <a:pt x="57" y="715"/>
                  </a:lnTo>
                  <a:lnTo>
                    <a:pt x="52" y="719"/>
                  </a:lnTo>
                  <a:lnTo>
                    <a:pt x="48" y="724"/>
                  </a:lnTo>
                  <a:lnTo>
                    <a:pt x="44" y="726"/>
                  </a:lnTo>
                  <a:lnTo>
                    <a:pt x="38" y="728"/>
                  </a:lnTo>
                  <a:lnTo>
                    <a:pt x="31"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89" name="Group 24">
            <a:extLst>
              <a:ext uri="{FF2B5EF4-FFF2-40B4-BE49-F238E27FC236}">
                <a16:creationId xmlns:a16="http://schemas.microsoft.com/office/drawing/2014/main" id="{1F3FAA08-CCD4-49A8-B75F-A1CD0B5174AA}"/>
              </a:ext>
            </a:extLst>
          </p:cNvPr>
          <p:cNvGrpSpPr>
            <a:grpSpLocks noChangeAspect="1"/>
          </p:cNvGrpSpPr>
          <p:nvPr/>
        </p:nvGrpSpPr>
        <p:grpSpPr>
          <a:xfrm>
            <a:off x="7543430" y="2186361"/>
            <a:ext cx="142555" cy="285619"/>
            <a:chOff x="1323975" y="1652588"/>
            <a:chExt cx="446088" cy="893763"/>
          </a:xfrm>
          <a:solidFill>
            <a:schemeClr val="bg2"/>
          </a:solidFill>
          <a:effectLst/>
        </p:grpSpPr>
        <p:sp>
          <p:nvSpPr>
            <p:cNvPr id="590" name="Freeform 7">
              <a:extLst>
                <a:ext uri="{FF2B5EF4-FFF2-40B4-BE49-F238E27FC236}">
                  <a16:creationId xmlns:a16="http://schemas.microsoft.com/office/drawing/2014/main" id="{7612E7C4-696D-4F3D-BB93-AB81412A2382}"/>
                </a:ext>
              </a:extLst>
            </p:cNvPr>
            <p:cNvSpPr>
              <a:spLocks noEditPoints="1"/>
            </p:cNvSpPr>
            <p:nvPr/>
          </p:nvSpPr>
          <p:spPr bwMode="auto">
            <a:xfrm>
              <a:off x="1400175" y="1652588"/>
              <a:ext cx="293688" cy="296863"/>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10 h 78"/>
                <a:gd name="T12" fmla="*/ 9 w 78"/>
                <a:gd name="T13" fmla="*/ 39 h 78"/>
                <a:gd name="T14" fmla="*/ 39 w 78"/>
                <a:gd name="T15" fmla="*/ 69 h 78"/>
                <a:gd name="T16" fmla="*/ 68 w 78"/>
                <a:gd name="T17" fmla="*/ 39 h 78"/>
                <a:gd name="T18" fmla="*/ 39 w 78"/>
                <a:gd name="T19"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8"/>
                    <a:pt x="17" y="0"/>
                    <a:pt x="39" y="0"/>
                  </a:cubicBezTo>
                  <a:cubicBezTo>
                    <a:pt x="60" y="0"/>
                    <a:pt x="78" y="18"/>
                    <a:pt x="78" y="39"/>
                  </a:cubicBezTo>
                  <a:cubicBezTo>
                    <a:pt x="78" y="61"/>
                    <a:pt x="60" y="78"/>
                    <a:pt x="39" y="78"/>
                  </a:cubicBezTo>
                  <a:close/>
                  <a:moveTo>
                    <a:pt x="39" y="10"/>
                  </a:moveTo>
                  <a:cubicBezTo>
                    <a:pt x="23" y="10"/>
                    <a:pt x="9" y="23"/>
                    <a:pt x="9" y="39"/>
                  </a:cubicBezTo>
                  <a:cubicBezTo>
                    <a:pt x="9" y="55"/>
                    <a:pt x="23" y="69"/>
                    <a:pt x="39" y="69"/>
                  </a:cubicBezTo>
                  <a:cubicBezTo>
                    <a:pt x="55" y="69"/>
                    <a:pt x="68" y="55"/>
                    <a:pt x="68" y="39"/>
                  </a:cubicBezTo>
                  <a:cubicBezTo>
                    <a:pt x="68" y="23"/>
                    <a:pt x="55" y="10"/>
                    <a:pt x="3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8">
              <a:extLst>
                <a:ext uri="{FF2B5EF4-FFF2-40B4-BE49-F238E27FC236}">
                  <a16:creationId xmlns:a16="http://schemas.microsoft.com/office/drawing/2014/main" id="{45B93E05-CD7B-401D-BC5E-FFA8781AC30F}"/>
                </a:ext>
              </a:extLst>
            </p:cNvPr>
            <p:cNvSpPr>
              <a:spLocks noEditPoints="1"/>
            </p:cNvSpPr>
            <p:nvPr/>
          </p:nvSpPr>
          <p:spPr bwMode="auto">
            <a:xfrm>
              <a:off x="1323975" y="1968501"/>
              <a:ext cx="446088" cy="577850"/>
            </a:xfrm>
            <a:custGeom>
              <a:avLst/>
              <a:gdLst>
                <a:gd name="T0" fmla="*/ 78 w 118"/>
                <a:gd name="T1" fmla="*/ 152 h 152"/>
                <a:gd name="T2" fmla="*/ 39 w 118"/>
                <a:gd name="T3" fmla="*/ 152 h 152"/>
                <a:gd name="T4" fmla="*/ 34 w 118"/>
                <a:gd name="T5" fmla="*/ 147 h 152"/>
                <a:gd name="T6" fmla="*/ 34 w 118"/>
                <a:gd name="T7" fmla="*/ 103 h 152"/>
                <a:gd name="T8" fmla="*/ 5 w 118"/>
                <a:gd name="T9" fmla="*/ 103 h 152"/>
                <a:gd name="T10" fmla="*/ 0 w 118"/>
                <a:gd name="T11" fmla="*/ 98 h 152"/>
                <a:gd name="T12" fmla="*/ 59 w 118"/>
                <a:gd name="T13" fmla="*/ 0 h 152"/>
                <a:gd name="T14" fmla="*/ 118 w 118"/>
                <a:gd name="T15" fmla="*/ 98 h 152"/>
                <a:gd name="T16" fmla="*/ 113 w 118"/>
                <a:gd name="T17" fmla="*/ 103 h 152"/>
                <a:gd name="T18" fmla="*/ 83 w 118"/>
                <a:gd name="T19" fmla="*/ 103 h 152"/>
                <a:gd name="T20" fmla="*/ 83 w 118"/>
                <a:gd name="T21" fmla="*/ 147 h 152"/>
                <a:gd name="T22" fmla="*/ 78 w 118"/>
                <a:gd name="T23" fmla="*/ 152 h 152"/>
                <a:gd name="T24" fmla="*/ 44 w 118"/>
                <a:gd name="T25" fmla="*/ 142 h 152"/>
                <a:gd name="T26" fmla="*/ 73 w 118"/>
                <a:gd name="T27" fmla="*/ 142 h 152"/>
                <a:gd name="T28" fmla="*/ 73 w 118"/>
                <a:gd name="T29" fmla="*/ 98 h 152"/>
                <a:gd name="T30" fmla="*/ 78 w 118"/>
                <a:gd name="T31" fmla="*/ 93 h 152"/>
                <a:gd name="T32" fmla="*/ 108 w 118"/>
                <a:gd name="T33" fmla="*/ 93 h 152"/>
                <a:gd name="T34" fmla="*/ 59 w 118"/>
                <a:gd name="T35" fmla="*/ 10 h 152"/>
                <a:gd name="T36" fmla="*/ 10 w 118"/>
                <a:gd name="T37" fmla="*/ 93 h 152"/>
                <a:gd name="T38" fmla="*/ 39 w 118"/>
                <a:gd name="T39" fmla="*/ 93 h 152"/>
                <a:gd name="T40" fmla="*/ 44 w 118"/>
                <a:gd name="T41" fmla="*/ 98 h 152"/>
                <a:gd name="T42" fmla="*/ 44 w 118"/>
                <a:gd name="T43"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52">
                  <a:moveTo>
                    <a:pt x="78" y="152"/>
                  </a:moveTo>
                  <a:cubicBezTo>
                    <a:pt x="39" y="152"/>
                    <a:pt x="39" y="152"/>
                    <a:pt x="39" y="152"/>
                  </a:cubicBezTo>
                  <a:cubicBezTo>
                    <a:pt x="36" y="152"/>
                    <a:pt x="34" y="150"/>
                    <a:pt x="34" y="147"/>
                  </a:cubicBezTo>
                  <a:cubicBezTo>
                    <a:pt x="34" y="103"/>
                    <a:pt x="34" y="103"/>
                    <a:pt x="34" y="103"/>
                  </a:cubicBezTo>
                  <a:cubicBezTo>
                    <a:pt x="5" y="103"/>
                    <a:pt x="5" y="103"/>
                    <a:pt x="5" y="103"/>
                  </a:cubicBezTo>
                  <a:cubicBezTo>
                    <a:pt x="2" y="103"/>
                    <a:pt x="0" y="101"/>
                    <a:pt x="0" y="98"/>
                  </a:cubicBezTo>
                  <a:cubicBezTo>
                    <a:pt x="0" y="45"/>
                    <a:pt x="27" y="0"/>
                    <a:pt x="59" y="0"/>
                  </a:cubicBezTo>
                  <a:cubicBezTo>
                    <a:pt x="91" y="0"/>
                    <a:pt x="118" y="45"/>
                    <a:pt x="118" y="98"/>
                  </a:cubicBezTo>
                  <a:cubicBezTo>
                    <a:pt x="118" y="101"/>
                    <a:pt x="115" y="103"/>
                    <a:pt x="113" y="103"/>
                  </a:cubicBezTo>
                  <a:cubicBezTo>
                    <a:pt x="83" y="103"/>
                    <a:pt x="83" y="103"/>
                    <a:pt x="83" y="103"/>
                  </a:cubicBezTo>
                  <a:cubicBezTo>
                    <a:pt x="83" y="147"/>
                    <a:pt x="83" y="147"/>
                    <a:pt x="83" y="147"/>
                  </a:cubicBezTo>
                  <a:cubicBezTo>
                    <a:pt x="83" y="150"/>
                    <a:pt x="81" y="152"/>
                    <a:pt x="78" y="152"/>
                  </a:cubicBezTo>
                  <a:close/>
                  <a:moveTo>
                    <a:pt x="44" y="142"/>
                  </a:moveTo>
                  <a:cubicBezTo>
                    <a:pt x="73" y="142"/>
                    <a:pt x="73" y="142"/>
                    <a:pt x="73" y="142"/>
                  </a:cubicBezTo>
                  <a:cubicBezTo>
                    <a:pt x="73" y="98"/>
                    <a:pt x="73" y="98"/>
                    <a:pt x="73" y="98"/>
                  </a:cubicBezTo>
                  <a:cubicBezTo>
                    <a:pt x="73" y="96"/>
                    <a:pt x="76" y="93"/>
                    <a:pt x="78" y="93"/>
                  </a:cubicBezTo>
                  <a:cubicBezTo>
                    <a:pt x="108" y="93"/>
                    <a:pt x="108" y="93"/>
                    <a:pt x="108" y="93"/>
                  </a:cubicBezTo>
                  <a:cubicBezTo>
                    <a:pt x="106" y="48"/>
                    <a:pt x="84" y="10"/>
                    <a:pt x="59" y="10"/>
                  </a:cubicBezTo>
                  <a:cubicBezTo>
                    <a:pt x="34" y="10"/>
                    <a:pt x="11" y="48"/>
                    <a:pt x="10" y="93"/>
                  </a:cubicBezTo>
                  <a:cubicBezTo>
                    <a:pt x="39" y="93"/>
                    <a:pt x="39" y="93"/>
                    <a:pt x="39" y="93"/>
                  </a:cubicBezTo>
                  <a:cubicBezTo>
                    <a:pt x="42" y="93"/>
                    <a:pt x="44" y="96"/>
                    <a:pt x="44" y="98"/>
                  </a:cubicBezTo>
                  <a:lnTo>
                    <a:pt x="4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9" name="Group 37">
            <a:extLst>
              <a:ext uri="{FF2B5EF4-FFF2-40B4-BE49-F238E27FC236}">
                <a16:creationId xmlns:a16="http://schemas.microsoft.com/office/drawing/2014/main" id="{57381697-A74D-4F37-A4F4-C7760F5EB137}"/>
              </a:ext>
            </a:extLst>
          </p:cNvPr>
          <p:cNvGrpSpPr>
            <a:grpSpLocks noChangeAspect="1"/>
          </p:cNvGrpSpPr>
          <p:nvPr/>
        </p:nvGrpSpPr>
        <p:grpSpPr>
          <a:xfrm>
            <a:off x="7471899" y="2724897"/>
            <a:ext cx="285619" cy="285619"/>
            <a:chOff x="307975" y="4208463"/>
            <a:chExt cx="285750" cy="285750"/>
          </a:xfrm>
          <a:solidFill>
            <a:schemeClr val="bg2"/>
          </a:solidFill>
          <a:effectLst/>
        </p:grpSpPr>
        <p:sp>
          <p:nvSpPr>
            <p:cNvPr id="800" name="Freeform 156">
              <a:extLst>
                <a:ext uri="{FF2B5EF4-FFF2-40B4-BE49-F238E27FC236}">
                  <a16:creationId xmlns:a16="http://schemas.microsoft.com/office/drawing/2014/main" id="{BC6953C7-3FE2-4D58-892F-2355F9960AEC}"/>
                </a:ext>
              </a:extLst>
            </p:cNvPr>
            <p:cNvSpPr>
              <a:spLocks noEditPoints="1"/>
            </p:cNvSpPr>
            <p:nvPr/>
          </p:nvSpPr>
          <p:spPr bwMode="auto">
            <a:xfrm>
              <a:off x="307975" y="4208463"/>
              <a:ext cx="285750" cy="285750"/>
            </a:xfrm>
            <a:custGeom>
              <a:avLst/>
              <a:gdLst>
                <a:gd name="T0" fmla="*/ 36 w 902"/>
                <a:gd name="T1" fmla="*/ 751 h 903"/>
                <a:gd name="T2" fmla="*/ 74 w 902"/>
                <a:gd name="T3" fmla="*/ 691 h 903"/>
                <a:gd name="T4" fmla="*/ 451 w 902"/>
                <a:gd name="T5" fmla="*/ 833 h 903"/>
                <a:gd name="T6" fmla="*/ 827 w 902"/>
                <a:gd name="T7" fmla="*/ 691 h 903"/>
                <a:gd name="T8" fmla="*/ 866 w 902"/>
                <a:gd name="T9" fmla="*/ 751 h 903"/>
                <a:gd name="T10" fmla="*/ 461 w 902"/>
                <a:gd name="T11" fmla="*/ 637 h 903"/>
                <a:gd name="T12" fmla="*/ 550 w 902"/>
                <a:gd name="T13" fmla="*/ 600 h 903"/>
                <a:gd name="T14" fmla="*/ 392 w 902"/>
                <a:gd name="T15" fmla="*/ 622 h 903"/>
                <a:gd name="T16" fmla="*/ 276 w 902"/>
                <a:gd name="T17" fmla="*/ 429 h 903"/>
                <a:gd name="T18" fmla="*/ 261 w 902"/>
                <a:gd name="T19" fmla="*/ 417 h 903"/>
                <a:gd name="T20" fmla="*/ 234 w 902"/>
                <a:gd name="T21" fmla="*/ 394 h 903"/>
                <a:gd name="T22" fmla="*/ 238 w 902"/>
                <a:gd name="T23" fmla="*/ 341 h 903"/>
                <a:gd name="T24" fmla="*/ 263 w 902"/>
                <a:gd name="T25" fmla="*/ 328 h 903"/>
                <a:gd name="T26" fmla="*/ 283 w 902"/>
                <a:gd name="T27" fmla="*/ 263 h 903"/>
                <a:gd name="T28" fmla="*/ 418 w 902"/>
                <a:gd name="T29" fmla="*/ 300 h 903"/>
                <a:gd name="T30" fmla="*/ 539 w 902"/>
                <a:gd name="T31" fmla="*/ 292 h 903"/>
                <a:gd name="T32" fmla="*/ 631 w 902"/>
                <a:gd name="T33" fmla="*/ 319 h 903"/>
                <a:gd name="T34" fmla="*/ 646 w 902"/>
                <a:gd name="T35" fmla="*/ 331 h 903"/>
                <a:gd name="T36" fmla="*/ 671 w 902"/>
                <a:gd name="T37" fmla="*/ 361 h 903"/>
                <a:gd name="T38" fmla="*/ 654 w 902"/>
                <a:gd name="T39" fmla="*/ 413 h 903"/>
                <a:gd name="T40" fmla="*/ 632 w 902"/>
                <a:gd name="T41" fmla="*/ 420 h 903"/>
                <a:gd name="T42" fmla="*/ 624 w 902"/>
                <a:gd name="T43" fmla="*/ 455 h 903"/>
                <a:gd name="T44" fmla="*/ 594 w 902"/>
                <a:gd name="T45" fmla="*/ 521 h 903"/>
                <a:gd name="T46" fmla="*/ 537 w 902"/>
                <a:gd name="T47" fmla="*/ 574 h 903"/>
                <a:gd name="T48" fmla="*/ 459 w 902"/>
                <a:gd name="T49" fmla="*/ 607 h 903"/>
                <a:gd name="T50" fmla="*/ 387 w 902"/>
                <a:gd name="T51" fmla="*/ 586 h 903"/>
                <a:gd name="T52" fmla="*/ 321 w 902"/>
                <a:gd name="T53" fmla="*/ 537 h 903"/>
                <a:gd name="T54" fmla="*/ 283 w 902"/>
                <a:gd name="T55" fmla="*/ 475 h 903"/>
                <a:gd name="T56" fmla="*/ 451 w 902"/>
                <a:gd name="T57" fmla="*/ 182 h 903"/>
                <a:gd name="T58" fmla="*/ 595 w 902"/>
                <a:gd name="T59" fmla="*/ 241 h 903"/>
                <a:gd name="T60" fmla="*/ 487 w 902"/>
                <a:gd name="T61" fmla="*/ 269 h 903"/>
                <a:gd name="T62" fmla="*/ 365 w 902"/>
                <a:gd name="T63" fmla="*/ 262 h 903"/>
                <a:gd name="T64" fmla="*/ 270 w 902"/>
                <a:gd name="T65" fmla="*/ 219 h 903"/>
                <a:gd name="T66" fmla="*/ 451 w 902"/>
                <a:gd name="T67" fmla="*/ 30 h 903"/>
                <a:gd name="T68" fmla="*/ 656 w 902"/>
                <a:gd name="T69" fmla="*/ 598 h 903"/>
                <a:gd name="T70" fmla="*/ 640 w 902"/>
                <a:gd name="T71" fmla="*/ 503 h 903"/>
                <a:gd name="T72" fmla="*/ 665 w 902"/>
                <a:gd name="T73" fmla="*/ 441 h 903"/>
                <a:gd name="T74" fmla="*/ 701 w 902"/>
                <a:gd name="T75" fmla="*/ 382 h 903"/>
                <a:gd name="T76" fmla="*/ 676 w 902"/>
                <a:gd name="T77" fmla="*/ 311 h 903"/>
                <a:gd name="T78" fmla="*/ 898 w 902"/>
                <a:gd name="T79" fmla="*/ 101 h 903"/>
                <a:gd name="T80" fmla="*/ 453 w 902"/>
                <a:gd name="T81" fmla="*/ 0 h 903"/>
                <a:gd name="T82" fmla="*/ 0 w 902"/>
                <a:gd name="T83" fmla="*/ 91 h 903"/>
                <a:gd name="T84" fmla="*/ 45 w 902"/>
                <a:gd name="T85" fmla="*/ 494 h 903"/>
                <a:gd name="T86" fmla="*/ 56 w 902"/>
                <a:gd name="T87" fmla="*/ 511 h 903"/>
                <a:gd name="T88" fmla="*/ 179 w 902"/>
                <a:gd name="T89" fmla="*/ 503 h 903"/>
                <a:gd name="T90" fmla="*/ 240 w 902"/>
                <a:gd name="T91" fmla="*/ 226 h 903"/>
                <a:gd name="T92" fmla="*/ 203 w 902"/>
                <a:gd name="T93" fmla="*/ 345 h 903"/>
                <a:gd name="T94" fmla="*/ 218 w 902"/>
                <a:gd name="T95" fmla="*/ 427 h 903"/>
                <a:gd name="T96" fmla="*/ 249 w 902"/>
                <a:gd name="T97" fmla="*/ 465 h 903"/>
                <a:gd name="T98" fmla="*/ 307 w 902"/>
                <a:gd name="T99" fmla="*/ 565 h 903"/>
                <a:gd name="T100" fmla="*/ 54 w 902"/>
                <a:gd name="T101" fmla="*/ 670 h 903"/>
                <a:gd name="T102" fmla="*/ 7 w 902"/>
                <a:gd name="T103" fmla="*/ 743 h 903"/>
                <a:gd name="T104" fmla="*/ 902 w 902"/>
                <a:gd name="T105" fmla="*/ 792 h 903"/>
                <a:gd name="T106" fmla="*/ 879 w 902"/>
                <a:gd name="T107" fmla="*/ 709 h 903"/>
                <a:gd name="T108" fmla="*/ 817 w 902"/>
                <a:gd name="T109" fmla="*/ 64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2" h="903">
                  <a:moveTo>
                    <a:pt x="872" y="873"/>
                  </a:moveTo>
                  <a:lnTo>
                    <a:pt x="30" y="873"/>
                  </a:lnTo>
                  <a:lnTo>
                    <a:pt x="30" y="792"/>
                  </a:lnTo>
                  <a:lnTo>
                    <a:pt x="30" y="782"/>
                  </a:lnTo>
                  <a:lnTo>
                    <a:pt x="32" y="772"/>
                  </a:lnTo>
                  <a:lnTo>
                    <a:pt x="33" y="761"/>
                  </a:lnTo>
                  <a:lnTo>
                    <a:pt x="36" y="751"/>
                  </a:lnTo>
                  <a:lnTo>
                    <a:pt x="39" y="742"/>
                  </a:lnTo>
                  <a:lnTo>
                    <a:pt x="44" y="732"/>
                  </a:lnTo>
                  <a:lnTo>
                    <a:pt x="49" y="724"/>
                  </a:lnTo>
                  <a:lnTo>
                    <a:pt x="54" y="715"/>
                  </a:lnTo>
                  <a:lnTo>
                    <a:pt x="60" y="706"/>
                  </a:lnTo>
                  <a:lnTo>
                    <a:pt x="66" y="699"/>
                  </a:lnTo>
                  <a:lnTo>
                    <a:pt x="74" y="691"/>
                  </a:lnTo>
                  <a:lnTo>
                    <a:pt x="81" y="685"/>
                  </a:lnTo>
                  <a:lnTo>
                    <a:pt x="90" y="680"/>
                  </a:lnTo>
                  <a:lnTo>
                    <a:pt x="98" y="673"/>
                  </a:lnTo>
                  <a:lnTo>
                    <a:pt x="108" y="669"/>
                  </a:lnTo>
                  <a:lnTo>
                    <a:pt x="118" y="665"/>
                  </a:lnTo>
                  <a:lnTo>
                    <a:pt x="246" y="629"/>
                  </a:lnTo>
                  <a:lnTo>
                    <a:pt x="451" y="833"/>
                  </a:lnTo>
                  <a:lnTo>
                    <a:pt x="656" y="629"/>
                  </a:lnTo>
                  <a:lnTo>
                    <a:pt x="783" y="665"/>
                  </a:lnTo>
                  <a:lnTo>
                    <a:pt x="793" y="669"/>
                  </a:lnTo>
                  <a:lnTo>
                    <a:pt x="803" y="673"/>
                  </a:lnTo>
                  <a:lnTo>
                    <a:pt x="811" y="679"/>
                  </a:lnTo>
                  <a:lnTo>
                    <a:pt x="820" y="685"/>
                  </a:lnTo>
                  <a:lnTo>
                    <a:pt x="827" y="691"/>
                  </a:lnTo>
                  <a:lnTo>
                    <a:pt x="835" y="699"/>
                  </a:lnTo>
                  <a:lnTo>
                    <a:pt x="841" y="706"/>
                  </a:lnTo>
                  <a:lnTo>
                    <a:pt x="848" y="715"/>
                  </a:lnTo>
                  <a:lnTo>
                    <a:pt x="853" y="724"/>
                  </a:lnTo>
                  <a:lnTo>
                    <a:pt x="857" y="732"/>
                  </a:lnTo>
                  <a:lnTo>
                    <a:pt x="862" y="742"/>
                  </a:lnTo>
                  <a:lnTo>
                    <a:pt x="866" y="751"/>
                  </a:lnTo>
                  <a:lnTo>
                    <a:pt x="868" y="761"/>
                  </a:lnTo>
                  <a:lnTo>
                    <a:pt x="870" y="772"/>
                  </a:lnTo>
                  <a:lnTo>
                    <a:pt x="871" y="782"/>
                  </a:lnTo>
                  <a:lnTo>
                    <a:pt x="872" y="792"/>
                  </a:lnTo>
                  <a:lnTo>
                    <a:pt x="872" y="873"/>
                  </a:lnTo>
                  <a:close/>
                  <a:moveTo>
                    <a:pt x="451" y="637"/>
                  </a:moveTo>
                  <a:lnTo>
                    <a:pt x="461" y="637"/>
                  </a:lnTo>
                  <a:lnTo>
                    <a:pt x="471" y="635"/>
                  </a:lnTo>
                  <a:lnTo>
                    <a:pt x="483" y="631"/>
                  </a:lnTo>
                  <a:lnTo>
                    <a:pt x="496" y="627"/>
                  </a:lnTo>
                  <a:lnTo>
                    <a:pt x="509" y="622"/>
                  </a:lnTo>
                  <a:lnTo>
                    <a:pt x="523" y="616"/>
                  </a:lnTo>
                  <a:lnTo>
                    <a:pt x="536" y="609"/>
                  </a:lnTo>
                  <a:lnTo>
                    <a:pt x="550" y="600"/>
                  </a:lnTo>
                  <a:lnTo>
                    <a:pt x="622" y="620"/>
                  </a:lnTo>
                  <a:lnTo>
                    <a:pt x="451" y="790"/>
                  </a:lnTo>
                  <a:lnTo>
                    <a:pt x="279" y="620"/>
                  </a:lnTo>
                  <a:lnTo>
                    <a:pt x="351" y="600"/>
                  </a:lnTo>
                  <a:lnTo>
                    <a:pt x="365" y="609"/>
                  </a:lnTo>
                  <a:lnTo>
                    <a:pt x="379" y="615"/>
                  </a:lnTo>
                  <a:lnTo>
                    <a:pt x="392" y="622"/>
                  </a:lnTo>
                  <a:lnTo>
                    <a:pt x="406" y="627"/>
                  </a:lnTo>
                  <a:lnTo>
                    <a:pt x="418" y="631"/>
                  </a:lnTo>
                  <a:lnTo>
                    <a:pt x="430" y="635"/>
                  </a:lnTo>
                  <a:lnTo>
                    <a:pt x="441" y="637"/>
                  </a:lnTo>
                  <a:lnTo>
                    <a:pt x="451" y="637"/>
                  </a:lnTo>
                  <a:close/>
                  <a:moveTo>
                    <a:pt x="276" y="432"/>
                  </a:moveTo>
                  <a:lnTo>
                    <a:pt x="276" y="429"/>
                  </a:lnTo>
                  <a:lnTo>
                    <a:pt x="275" y="427"/>
                  </a:lnTo>
                  <a:lnTo>
                    <a:pt x="274" y="423"/>
                  </a:lnTo>
                  <a:lnTo>
                    <a:pt x="272" y="421"/>
                  </a:lnTo>
                  <a:lnTo>
                    <a:pt x="270" y="420"/>
                  </a:lnTo>
                  <a:lnTo>
                    <a:pt x="267" y="418"/>
                  </a:lnTo>
                  <a:lnTo>
                    <a:pt x="264" y="418"/>
                  </a:lnTo>
                  <a:lnTo>
                    <a:pt x="261" y="417"/>
                  </a:lnTo>
                  <a:lnTo>
                    <a:pt x="257" y="417"/>
                  </a:lnTo>
                  <a:lnTo>
                    <a:pt x="254" y="416"/>
                  </a:lnTo>
                  <a:lnTo>
                    <a:pt x="251" y="415"/>
                  </a:lnTo>
                  <a:lnTo>
                    <a:pt x="248" y="413"/>
                  </a:lnTo>
                  <a:lnTo>
                    <a:pt x="243" y="408"/>
                  </a:lnTo>
                  <a:lnTo>
                    <a:pt x="239" y="402"/>
                  </a:lnTo>
                  <a:lnTo>
                    <a:pt x="234" y="394"/>
                  </a:lnTo>
                  <a:lnTo>
                    <a:pt x="232" y="387"/>
                  </a:lnTo>
                  <a:lnTo>
                    <a:pt x="231" y="378"/>
                  </a:lnTo>
                  <a:lnTo>
                    <a:pt x="230" y="370"/>
                  </a:lnTo>
                  <a:lnTo>
                    <a:pt x="231" y="361"/>
                  </a:lnTo>
                  <a:lnTo>
                    <a:pt x="232" y="354"/>
                  </a:lnTo>
                  <a:lnTo>
                    <a:pt x="234" y="346"/>
                  </a:lnTo>
                  <a:lnTo>
                    <a:pt x="238" y="341"/>
                  </a:lnTo>
                  <a:lnTo>
                    <a:pt x="241" y="337"/>
                  </a:lnTo>
                  <a:lnTo>
                    <a:pt x="245" y="333"/>
                  </a:lnTo>
                  <a:lnTo>
                    <a:pt x="249" y="331"/>
                  </a:lnTo>
                  <a:lnTo>
                    <a:pt x="255" y="331"/>
                  </a:lnTo>
                  <a:lnTo>
                    <a:pt x="258" y="330"/>
                  </a:lnTo>
                  <a:lnTo>
                    <a:pt x="261" y="330"/>
                  </a:lnTo>
                  <a:lnTo>
                    <a:pt x="263" y="328"/>
                  </a:lnTo>
                  <a:lnTo>
                    <a:pt x="266" y="327"/>
                  </a:lnTo>
                  <a:lnTo>
                    <a:pt x="268" y="325"/>
                  </a:lnTo>
                  <a:lnTo>
                    <a:pt x="269" y="322"/>
                  </a:lnTo>
                  <a:lnTo>
                    <a:pt x="270" y="319"/>
                  </a:lnTo>
                  <a:lnTo>
                    <a:pt x="270" y="316"/>
                  </a:lnTo>
                  <a:lnTo>
                    <a:pt x="270" y="255"/>
                  </a:lnTo>
                  <a:lnTo>
                    <a:pt x="283" y="263"/>
                  </a:lnTo>
                  <a:lnTo>
                    <a:pt x="299" y="270"/>
                  </a:lnTo>
                  <a:lnTo>
                    <a:pt x="317" y="278"/>
                  </a:lnTo>
                  <a:lnTo>
                    <a:pt x="338" y="285"/>
                  </a:lnTo>
                  <a:lnTo>
                    <a:pt x="362" y="292"/>
                  </a:lnTo>
                  <a:lnTo>
                    <a:pt x="389" y="297"/>
                  </a:lnTo>
                  <a:lnTo>
                    <a:pt x="403" y="298"/>
                  </a:lnTo>
                  <a:lnTo>
                    <a:pt x="418" y="300"/>
                  </a:lnTo>
                  <a:lnTo>
                    <a:pt x="434" y="300"/>
                  </a:lnTo>
                  <a:lnTo>
                    <a:pt x="451" y="301"/>
                  </a:lnTo>
                  <a:lnTo>
                    <a:pt x="467" y="300"/>
                  </a:lnTo>
                  <a:lnTo>
                    <a:pt x="483" y="300"/>
                  </a:lnTo>
                  <a:lnTo>
                    <a:pt x="498" y="298"/>
                  </a:lnTo>
                  <a:lnTo>
                    <a:pt x="513" y="297"/>
                  </a:lnTo>
                  <a:lnTo>
                    <a:pt x="539" y="292"/>
                  </a:lnTo>
                  <a:lnTo>
                    <a:pt x="564" y="285"/>
                  </a:lnTo>
                  <a:lnTo>
                    <a:pt x="584" y="278"/>
                  </a:lnTo>
                  <a:lnTo>
                    <a:pt x="602" y="270"/>
                  </a:lnTo>
                  <a:lnTo>
                    <a:pt x="618" y="263"/>
                  </a:lnTo>
                  <a:lnTo>
                    <a:pt x="631" y="255"/>
                  </a:lnTo>
                  <a:lnTo>
                    <a:pt x="631" y="316"/>
                  </a:lnTo>
                  <a:lnTo>
                    <a:pt x="631" y="319"/>
                  </a:lnTo>
                  <a:lnTo>
                    <a:pt x="632" y="322"/>
                  </a:lnTo>
                  <a:lnTo>
                    <a:pt x="633" y="325"/>
                  </a:lnTo>
                  <a:lnTo>
                    <a:pt x="635" y="327"/>
                  </a:lnTo>
                  <a:lnTo>
                    <a:pt x="638" y="328"/>
                  </a:lnTo>
                  <a:lnTo>
                    <a:pt x="641" y="330"/>
                  </a:lnTo>
                  <a:lnTo>
                    <a:pt x="643" y="330"/>
                  </a:lnTo>
                  <a:lnTo>
                    <a:pt x="646" y="331"/>
                  </a:lnTo>
                  <a:lnTo>
                    <a:pt x="652" y="331"/>
                  </a:lnTo>
                  <a:lnTo>
                    <a:pt x="656" y="333"/>
                  </a:lnTo>
                  <a:lnTo>
                    <a:pt x="660" y="337"/>
                  </a:lnTo>
                  <a:lnTo>
                    <a:pt x="663" y="341"/>
                  </a:lnTo>
                  <a:lnTo>
                    <a:pt x="667" y="346"/>
                  </a:lnTo>
                  <a:lnTo>
                    <a:pt x="669" y="354"/>
                  </a:lnTo>
                  <a:lnTo>
                    <a:pt x="671" y="361"/>
                  </a:lnTo>
                  <a:lnTo>
                    <a:pt x="671" y="370"/>
                  </a:lnTo>
                  <a:lnTo>
                    <a:pt x="671" y="378"/>
                  </a:lnTo>
                  <a:lnTo>
                    <a:pt x="669" y="387"/>
                  </a:lnTo>
                  <a:lnTo>
                    <a:pt x="667" y="394"/>
                  </a:lnTo>
                  <a:lnTo>
                    <a:pt x="663" y="402"/>
                  </a:lnTo>
                  <a:lnTo>
                    <a:pt x="659" y="408"/>
                  </a:lnTo>
                  <a:lnTo>
                    <a:pt x="654" y="413"/>
                  </a:lnTo>
                  <a:lnTo>
                    <a:pt x="650" y="415"/>
                  </a:lnTo>
                  <a:lnTo>
                    <a:pt x="647" y="416"/>
                  </a:lnTo>
                  <a:lnTo>
                    <a:pt x="644" y="417"/>
                  </a:lnTo>
                  <a:lnTo>
                    <a:pt x="641" y="417"/>
                  </a:lnTo>
                  <a:lnTo>
                    <a:pt x="638" y="418"/>
                  </a:lnTo>
                  <a:lnTo>
                    <a:pt x="634" y="418"/>
                  </a:lnTo>
                  <a:lnTo>
                    <a:pt x="632" y="420"/>
                  </a:lnTo>
                  <a:lnTo>
                    <a:pt x="630" y="421"/>
                  </a:lnTo>
                  <a:lnTo>
                    <a:pt x="628" y="423"/>
                  </a:lnTo>
                  <a:lnTo>
                    <a:pt x="627" y="427"/>
                  </a:lnTo>
                  <a:lnTo>
                    <a:pt x="626" y="429"/>
                  </a:lnTo>
                  <a:lnTo>
                    <a:pt x="626" y="432"/>
                  </a:lnTo>
                  <a:lnTo>
                    <a:pt x="625" y="444"/>
                  </a:lnTo>
                  <a:lnTo>
                    <a:pt x="624" y="455"/>
                  </a:lnTo>
                  <a:lnTo>
                    <a:pt x="622" y="464"/>
                  </a:lnTo>
                  <a:lnTo>
                    <a:pt x="618" y="475"/>
                  </a:lnTo>
                  <a:lnTo>
                    <a:pt x="615" y="485"/>
                  </a:lnTo>
                  <a:lnTo>
                    <a:pt x="611" y="494"/>
                  </a:lnTo>
                  <a:lnTo>
                    <a:pt x="605" y="503"/>
                  </a:lnTo>
                  <a:lnTo>
                    <a:pt x="600" y="512"/>
                  </a:lnTo>
                  <a:lnTo>
                    <a:pt x="594" y="521"/>
                  </a:lnTo>
                  <a:lnTo>
                    <a:pt x="587" y="528"/>
                  </a:lnTo>
                  <a:lnTo>
                    <a:pt x="581" y="536"/>
                  </a:lnTo>
                  <a:lnTo>
                    <a:pt x="573" y="544"/>
                  </a:lnTo>
                  <a:lnTo>
                    <a:pt x="558" y="557"/>
                  </a:lnTo>
                  <a:lnTo>
                    <a:pt x="542" y="570"/>
                  </a:lnTo>
                  <a:lnTo>
                    <a:pt x="539" y="571"/>
                  </a:lnTo>
                  <a:lnTo>
                    <a:pt x="537" y="574"/>
                  </a:lnTo>
                  <a:lnTo>
                    <a:pt x="524" y="581"/>
                  </a:lnTo>
                  <a:lnTo>
                    <a:pt x="512" y="587"/>
                  </a:lnTo>
                  <a:lnTo>
                    <a:pt x="500" y="594"/>
                  </a:lnTo>
                  <a:lnTo>
                    <a:pt x="490" y="598"/>
                  </a:lnTo>
                  <a:lnTo>
                    <a:pt x="479" y="602"/>
                  </a:lnTo>
                  <a:lnTo>
                    <a:pt x="468" y="605"/>
                  </a:lnTo>
                  <a:lnTo>
                    <a:pt x="459" y="607"/>
                  </a:lnTo>
                  <a:lnTo>
                    <a:pt x="451" y="607"/>
                  </a:lnTo>
                  <a:lnTo>
                    <a:pt x="442" y="607"/>
                  </a:lnTo>
                  <a:lnTo>
                    <a:pt x="433" y="605"/>
                  </a:lnTo>
                  <a:lnTo>
                    <a:pt x="422" y="601"/>
                  </a:lnTo>
                  <a:lnTo>
                    <a:pt x="410" y="598"/>
                  </a:lnTo>
                  <a:lnTo>
                    <a:pt x="399" y="593"/>
                  </a:lnTo>
                  <a:lnTo>
                    <a:pt x="387" y="586"/>
                  </a:lnTo>
                  <a:lnTo>
                    <a:pt x="375" y="580"/>
                  </a:lnTo>
                  <a:lnTo>
                    <a:pt x="362" y="571"/>
                  </a:lnTo>
                  <a:lnTo>
                    <a:pt x="361" y="571"/>
                  </a:lnTo>
                  <a:lnTo>
                    <a:pt x="360" y="570"/>
                  </a:lnTo>
                  <a:lnTo>
                    <a:pt x="344" y="559"/>
                  </a:lnTo>
                  <a:lnTo>
                    <a:pt x="329" y="545"/>
                  </a:lnTo>
                  <a:lnTo>
                    <a:pt x="321" y="537"/>
                  </a:lnTo>
                  <a:lnTo>
                    <a:pt x="314" y="530"/>
                  </a:lnTo>
                  <a:lnTo>
                    <a:pt x="307" y="521"/>
                  </a:lnTo>
                  <a:lnTo>
                    <a:pt x="302" y="512"/>
                  </a:lnTo>
                  <a:lnTo>
                    <a:pt x="297" y="504"/>
                  </a:lnTo>
                  <a:lnTo>
                    <a:pt x="291" y="494"/>
                  </a:lnTo>
                  <a:lnTo>
                    <a:pt x="287" y="485"/>
                  </a:lnTo>
                  <a:lnTo>
                    <a:pt x="283" y="475"/>
                  </a:lnTo>
                  <a:lnTo>
                    <a:pt x="281" y="464"/>
                  </a:lnTo>
                  <a:lnTo>
                    <a:pt x="278" y="455"/>
                  </a:lnTo>
                  <a:lnTo>
                    <a:pt x="276" y="444"/>
                  </a:lnTo>
                  <a:lnTo>
                    <a:pt x="276" y="432"/>
                  </a:lnTo>
                  <a:close/>
                  <a:moveTo>
                    <a:pt x="448" y="181"/>
                  </a:moveTo>
                  <a:lnTo>
                    <a:pt x="450" y="182"/>
                  </a:lnTo>
                  <a:lnTo>
                    <a:pt x="451" y="182"/>
                  </a:lnTo>
                  <a:lnTo>
                    <a:pt x="452" y="182"/>
                  </a:lnTo>
                  <a:lnTo>
                    <a:pt x="453" y="181"/>
                  </a:lnTo>
                  <a:lnTo>
                    <a:pt x="631" y="151"/>
                  </a:lnTo>
                  <a:lnTo>
                    <a:pt x="631" y="219"/>
                  </a:lnTo>
                  <a:lnTo>
                    <a:pt x="623" y="224"/>
                  </a:lnTo>
                  <a:lnTo>
                    <a:pt x="611" y="233"/>
                  </a:lnTo>
                  <a:lnTo>
                    <a:pt x="595" y="241"/>
                  </a:lnTo>
                  <a:lnTo>
                    <a:pt x="574" y="250"/>
                  </a:lnTo>
                  <a:lnTo>
                    <a:pt x="563" y="254"/>
                  </a:lnTo>
                  <a:lnTo>
                    <a:pt x="550" y="257"/>
                  </a:lnTo>
                  <a:lnTo>
                    <a:pt x="536" y="262"/>
                  </a:lnTo>
                  <a:lnTo>
                    <a:pt x="521" y="265"/>
                  </a:lnTo>
                  <a:lnTo>
                    <a:pt x="505" y="267"/>
                  </a:lnTo>
                  <a:lnTo>
                    <a:pt x="487" y="269"/>
                  </a:lnTo>
                  <a:lnTo>
                    <a:pt x="470" y="270"/>
                  </a:lnTo>
                  <a:lnTo>
                    <a:pt x="451" y="271"/>
                  </a:lnTo>
                  <a:lnTo>
                    <a:pt x="432" y="270"/>
                  </a:lnTo>
                  <a:lnTo>
                    <a:pt x="414" y="269"/>
                  </a:lnTo>
                  <a:lnTo>
                    <a:pt x="396" y="267"/>
                  </a:lnTo>
                  <a:lnTo>
                    <a:pt x="380" y="265"/>
                  </a:lnTo>
                  <a:lnTo>
                    <a:pt x="365" y="262"/>
                  </a:lnTo>
                  <a:lnTo>
                    <a:pt x="351" y="257"/>
                  </a:lnTo>
                  <a:lnTo>
                    <a:pt x="340" y="254"/>
                  </a:lnTo>
                  <a:lnTo>
                    <a:pt x="328" y="250"/>
                  </a:lnTo>
                  <a:lnTo>
                    <a:pt x="307" y="241"/>
                  </a:lnTo>
                  <a:lnTo>
                    <a:pt x="290" y="233"/>
                  </a:lnTo>
                  <a:lnTo>
                    <a:pt x="278" y="224"/>
                  </a:lnTo>
                  <a:lnTo>
                    <a:pt x="270" y="219"/>
                  </a:lnTo>
                  <a:lnTo>
                    <a:pt x="270" y="151"/>
                  </a:lnTo>
                  <a:lnTo>
                    <a:pt x="448" y="181"/>
                  </a:lnTo>
                  <a:close/>
                  <a:moveTo>
                    <a:pt x="451" y="30"/>
                  </a:moveTo>
                  <a:lnTo>
                    <a:pt x="800" y="91"/>
                  </a:lnTo>
                  <a:lnTo>
                    <a:pt x="451" y="151"/>
                  </a:lnTo>
                  <a:lnTo>
                    <a:pt x="103" y="91"/>
                  </a:lnTo>
                  <a:lnTo>
                    <a:pt x="451" y="30"/>
                  </a:lnTo>
                  <a:close/>
                  <a:moveTo>
                    <a:pt x="78" y="481"/>
                  </a:moveTo>
                  <a:lnTo>
                    <a:pt x="107" y="315"/>
                  </a:lnTo>
                  <a:lnTo>
                    <a:pt x="147" y="481"/>
                  </a:lnTo>
                  <a:lnTo>
                    <a:pt x="78" y="481"/>
                  </a:lnTo>
                  <a:close/>
                  <a:moveTo>
                    <a:pt x="792" y="636"/>
                  </a:moveTo>
                  <a:lnTo>
                    <a:pt x="657" y="599"/>
                  </a:lnTo>
                  <a:lnTo>
                    <a:pt x="656" y="598"/>
                  </a:lnTo>
                  <a:lnTo>
                    <a:pt x="655" y="598"/>
                  </a:lnTo>
                  <a:lnTo>
                    <a:pt x="581" y="578"/>
                  </a:lnTo>
                  <a:lnTo>
                    <a:pt x="595" y="565"/>
                  </a:lnTo>
                  <a:lnTo>
                    <a:pt x="608" y="551"/>
                  </a:lnTo>
                  <a:lnTo>
                    <a:pt x="619" y="536"/>
                  </a:lnTo>
                  <a:lnTo>
                    <a:pt x="630" y="520"/>
                  </a:lnTo>
                  <a:lnTo>
                    <a:pt x="640" y="503"/>
                  </a:lnTo>
                  <a:lnTo>
                    <a:pt x="647" y="485"/>
                  </a:lnTo>
                  <a:lnTo>
                    <a:pt x="649" y="475"/>
                  </a:lnTo>
                  <a:lnTo>
                    <a:pt x="652" y="465"/>
                  </a:lnTo>
                  <a:lnTo>
                    <a:pt x="654" y="456"/>
                  </a:lnTo>
                  <a:lnTo>
                    <a:pt x="655" y="445"/>
                  </a:lnTo>
                  <a:lnTo>
                    <a:pt x="660" y="444"/>
                  </a:lnTo>
                  <a:lnTo>
                    <a:pt x="665" y="441"/>
                  </a:lnTo>
                  <a:lnTo>
                    <a:pt x="671" y="438"/>
                  </a:lnTo>
                  <a:lnTo>
                    <a:pt x="675" y="434"/>
                  </a:lnTo>
                  <a:lnTo>
                    <a:pt x="683" y="427"/>
                  </a:lnTo>
                  <a:lnTo>
                    <a:pt x="689" y="417"/>
                  </a:lnTo>
                  <a:lnTo>
                    <a:pt x="694" y="405"/>
                  </a:lnTo>
                  <a:lnTo>
                    <a:pt x="698" y="394"/>
                  </a:lnTo>
                  <a:lnTo>
                    <a:pt x="701" y="382"/>
                  </a:lnTo>
                  <a:lnTo>
                    <a:pt x="701" y="370"/>
                  </a:lnTo>
                  <a:lnTo>
                    <a:pt x="701" y="357"/>
                  </a:lnTo>
                  <a:lnTo>
                    <a:pt x="698" y="345"/>
                  </a:lnTo>
                  <a:lnTo>
                    <a:pt x="694" y="333"/>
                  </a:lnTo>
                  <a:lnTo>
                    <a:pt x="689" y="324"/>
                  </a:lnTo>
                  <a:lnTo>
                    <a:pt x="684" y="317"/>
                  </a:lnTo>
                  <a:lnTo>
                    <a:pt x="676" y="311"/>
                  </a:lnTo>
                  <a:lnTo>
                    <a:pt x="670" y="307"/>
                  </a:lnTo>
                  <a:lnTo>
                    <a:pt x="661" y="303"/>
                  </a:lnTo>
                  <a:lnTo>
                    <a:pt x="661" y="226"/>
                  </a:lnTo>
                  <a:lnTo>
                    <a:pt x="661" y="146"/>
                  </a:lnTo>
                  <a:lnTo>
                    <a:pt x="890" y="106"/>
                  </a:lnTo>
                  <a:lnTo>
                    <a:pt x="895" y="104"/>
                  </a:lnTo>
                  <a:lnTo>
                    <a:pt x="898" y="101"/>
                  </a:lnTo>
                  <a:lnTo>
                    <a:pt x="901" y="96"/>
                  </a:lnTo>
                  <a:lnTo>
                    <a:pt x="902" y="91"/>
                  </a:lnTo>
                  <a:lnTo>
                    <a:pt x="901" y="86"/>
                  </a:lnTo>
                  <a:lnTo>
                    <a:pt x="898" y="81"/>
                  </a:lnTo>
                  <a:lnTo>
                    <a:pt x="895" y="78"/>
                  </a:lnTo>
                  <a:lnTo>
                    <a:pt x="890" y="76"/>
                  </a:lnTo>
                  <a:lnTo>
                    <a:pt x="453" y="0"/>
                  </a:lnTo>
                  <a:lnTo>
                    <a:pt x="451" y="0"/>
                  </a:lnTo>
                  <a:lnTo>
                    <a:pt x="448" y="0"/>
                  </a:lnTo>
                  <a:lnTo>
                    <a:pt x="13" y="76"/>
                  </a:lnTo>
                  <a:lnTo>
                    <a:pt x="7" y="78"/>
                  </a:lnTo>
                  <a:lnTo>
                    <a:pt x="3" y="81"/>
                  </a:lnTo>
                  <a:lnTo>
                    <a:pt x="1" y="86"/>
                  </a:lnTo>
                  <a:lnTo>
                    <a:pt x="0" y="91"/>
                  </a:lnTo>
                  <a:lnTo>
                    <a:pt x="1" y="96"/>
                  </a:lnTo>
                  <a:lnTo>
                    <a:pt x="3" y="101"/>
                  </a:lnTo>
                  <a:lnTo>
                    <a:pt x="7" y="104"/>
                  </a:lnTo>
                  <a:lnTo>
                    <a:pt x="13" y="106"/>
                  </a:lnTo>
                  <a:lnTo>
                    <a:pt x="90" y="119"/>
                  </a:lnTo>
                  <a:lnTo>
                    <a:pt x="90" y="239"/>
                  </a:lnTo>
                  <a:lnTo>
                    <a:pt x="45" y="494"/>
                  </a:lnTo>
                  <a:lnTo>
                    <a:pt x="45" y="497"/>
                  </a:lnTo>
                  <a:lnTo>
                    <a:pt x="45" y="501"/>
                  </a:lnTo>
                  <a:lnTo>
                    <a:pt x="47" y="503"/>
                  </a:lnTo>
                  <a:lnTo>
                    <a:pt x="48" y="506"/>
                  </a:lnTo>
                  <a:lnTo>
                    <a:pt x="51" y="508"/>
                  </a:lnTo>
                  <a:lnTo>
                    <a:pt x="53" y="510"/>
                  </a:lnTo>
                  <a:lnTo>
                    <a:pt x="56" y="511"/>
                  </a:lnTo>
                  <a:lnTo>
                    <a:pt x="60" y="511"/>
                  </a:lnTo>
                  <a:lnTo>
                    <a:pt x="165" y="511"/>
                  </a:lnTo>
                  <a:lnTo>
                    <a:pt x="168" y="511"/>
                  </a:lnTo>
                  <a:lnTo>
                    <a:pt x="171" y="510"/>
                  </a:lnTo>
                  <a:lnTo>
                    <a:pt x="174" y="508"/>
                  </a:lnTo>
                  <a:lnTo>
                    <a:pt x="177" y="506"/>
                  </a:lnTo>
                  <a:lnTo>
                    <a:pt x="179" y="503"/>
                  </a:lnTo>
                  <a:lnTo>
                    <a:pt x="180" y="500"/>
                  </a:lnTo>
                  <a:lnTo>
                    <a:pt x="180" y="496"/>
                  </a:lnTo>
                  <a:lnTo>
                    <a:pt x="180" y="493"/>
                  </a:lnTo>
                  <a:lnTo>
                    <a:pt x="120" y="239"/>
                  </a:lnTo>
                  <a:lnTo>
                    <a:pt x="120" y="124"/>
                  </a:lnTo>
                  <a:lnTo>
                    <a:pt x="240" y="146"/>
                  </a:lnTo>
                  <a:lnTo>
                    <a:pt x="240" y="226"/>
                  </a:lnTo>
                  <a:lnTo>
                    <a:pt x="240" y="303"/>
                  </a:lnTo>
                  <a:lnTo>
                    <a:pt x="232" y="307"/>
                  </a:lnTo>
                  <a:lnTo>
                    <a:pt x="225" y="311"/>
                  </a:lnTo>
                  <a:lnTo>
                    <a:pt x="218" y="317"/>
                  </a:lnTo>
                  <a:lnTo>
                    <a:pt x="213" y="324"/>
                  </a:lnTo>
                  <a:lnTo>
                    <a:pt x="208" y="333"/>
                  </a:lnTo>
                  <a:lnTo>
                    <a:pt x="203" y="345"/>
                  </a:lnTo>
                  <a:lnTo>
                    <a:pt x="201" y="357"/>
                  </a:lnTo>
                  <a:lnTo>
                    <a:pt x="200" y="370"/>
                  </a:lnTo>
                  <a:lnTo>
                    <a:pt x="201" y="382"/>
                  </a:lnTo>
                  <a:lnTo>
                    <a:pt x="203" y="394"/>
                  </a:lnTo>
                  <a:lnTo>
                    <a:pt x="207" y="405"/>
                  </a:lnTo>
                  <a:lnTo>
                    <a:pt x="212" y="417"/>
                  </a:lnTo>
                  <a:lnTo>
                    <a:pt x="218" y="427"/>
                  </a:lnTo>
                  <a:lnTo>
                    <a:pt x="227" y="434"/>
                  </a:lnTo>
                  <a:lnTo>
                    <a:pt x="231" y="438"/>
                  </a:lnTo>
                  <a:lnTo>
                    <a:pt x="236" y="441"/>
                  </a:lnTo>
                  <a:lnTo>
                    <a:pt x="241" y="444"/>
                  </a:lnTo>
                  <a:lnTo>
                    <a:pt x="246" y="445"/>
                  </a:lnTo>
                  <a:lnTo>
                    <a:pt x="247" y="456"/>
                  </a:lnTo>
                  <a:lnTo>
                    <a:pt x="249" y="465"/>
                  </a:lnTo>
                  <a:lnTo>
                    <a:pt x="252" y="475"/>
                  </a:lnTo>
                  <a:lnTo>
                    <a:pt x="255" y="485"/>
                  </a:lnTo>
                  <a:lnTo>
                    <a:pt x="262" y="503"/>
                  </a:lnTo>
                  <a:lnTo>
                    <a:pt x="271" y="520"/>
                  </a:lnTo>
                  <a:lnTo>
                    <a:pt x="282" y="536"/>
                  </a:lnTo>
                  <a:lnTo>
                    <a:pt x="293" y="551"/>
                  </a:lnTo>
                  <a:lnTo>
                    <a:pt x="307" y="565"/>
                  </a:lnTo>
                  <a:lnTo>
                    <a:pt x="321" y="578"/>
                  </a:lnTo>
                  <a:lnTo>
                    <a:pt x="108" y="637"/>
                  </a:lnTo>
                  <a:lnTo>
                    <a:pt x="96" y="641"/>
                  </a:lnTo>
                  <a:lnTo>
                    <a:pt x="84" y="647"/>
                  </a:lnTo>
                  <a:lnTo>
                    <a:pt x="74" y="654"/>
                  </a:lnTo>
                  <a:lnTo>
                    <a:pt x="64" y="661"/>
                  </a:lnTo>
                  <a:lnTo>
                    <a:pt x="54" y="670"/>
                  </a:lnTo>
                  <a:lnTo>
                    <a:pt x="45" y="679"/>
                  </a:lnTo>
                  <a:lnTo>
                    <a:pt x="37" y="688"/>
                  </a:lnTo>
                  <a:lnTo>
                    <a:pt x="30" y="698"/>
                  </a:lnTo>
                  <a:lnTo>
                    <a:pt x="22" y="709"/>
                  </a:lnTo>
                  <a:lnTo>
                    <a:pt x="17" y="719"/>
                  </a:lnTo>
                  <a:lnTo>
                    <a:pt x="11" y="731"/>
                  </a:lnTo>
                  <a:lnTo>
                    <a:pt x="7" y="743"/>
                  </a:lnTo>
                  <a:lnTo>
                    <a:pt x="4" y="755"/>
                  </a:lnTo>
                  <a:lnTo>
                    <a:pt x="2" y="767"/>
                  </a:lnTo>
                  <a:lnTo>
                    <a:pt x="0" y="779"/>
                  </a:lnTo>
                  <a:lnTo>
                    <a:pt x="0" y="792"/>
                  </a:lnTo>
                  <a:lnTo>
                    <a:pt x="0" y="903"/>
                  </a:lnTo>
                  <a:lnTo>
                    <a:pt x="902" y="903"/>
                  </a:lnTo>
                  <a:lnTo>
                    <a:pt x="902" y="792"/>
                  </a:lnTo>
                  <a:lnTo>
                    <a:pt x="901" y="779"/>
                  </a:lnTo>
                  <a:lnTo>
                    <a:pt x="900" y="767"/>
                  </a:lnTo>
                  <a:lnTo>
                    <a:pt x="897" y="755"/>
                  </a:lnTo>
                  <a:lnTo>
                    <a:pt x="894" y="742"/>
                  </a:lnTo>
                  <a:lnTo>
                    <a:pt x="890" y="730"/>
                  </a:lnTo>
                  <a:lnTo>
                    <a:pt x="884" y="719"/>
                  </a:lnTo>
                  <a:lnTo>
                    <a:pt x="879" y="709"/>
                  </a:lnTo>
                  <a:lnTo>
                    <a:pt x="872" y="698"/>
                  </a:lnTo>
                  <a:lnTo>
                    <a:pt x="865" y="687"/>
                  </a:lnTo>
                  <a:lnTo>
                    <a:pt x="856" y="679"/>
                  </a:lnTo>
                  <a:lnTo>
                    <a:pt x="847" y="669"/>
                  </a:lnTo>
                  <a:lnTo>
                    <a:pt x="837" y="661"/>
                  </a:lnTo>
                  <a:lnTo>
                    <a:pt x="827" y="654"/>
                  </a:lnTo>
                  <a:lnTo>
                    <a:pt x="817" y="647"/>
                  </a:lnTo>
                  <a:lnTo>
                    <a:pt x="805" y="641"/>
                  </a:lnTo>
                  <a:lnTo>
                    <a:pt x="792" y="6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801" name="Freeform 157">
              <a:extLst>
                <a:ext uri="{FF2B5EF4-FFF2-40B4-BE49-F238E27FC236}">
                  <a16:creationId xmlns:a16="http://schemas.microsoft.com/office/drawing/2014/main" id="{8DF22B95-6E2B-4D6D-BB1D-27FE4FEF1E2D}"/>
                </a:ext>
              </a:extLst>
            </p:cNvPr>
            <p:cNvSpPr>
              <a:spLocks/>
            </p:cNvSpPr>
            <p:nvPr/>
          </p:nvSpPr>
          <p:spPr bwMode="auto">
            <a:xfrm>
              <a:off x="409575" y="4310063"/>
              <a:ext cx="33338" cy="15875"/>
            </a:xfrm>
            <a:custGeom>
              <a:avLst/>
              <a:gdLst>
                <a:gd name="T0" fmla="*/ 30 w 105"/>
                <a:gd name="T1" fmla="*/ 32 h 49"/>
                <a:gd name="T2" fmla="*/ 38 w 105"/>
                <a:gd name="T3" fmla="*/ 30 h 49"/>
                <a:gd name="T4" fmla="*/ 53 w 105"/>
                <a:gd name="T5" fmla="*/ 30 h 49"/>
                <a:gd name="T6" fmla="*/ 68 w 105"/>
                <a:gd name="T7" fmla="*/ 30 h 49"/>
                <a:gd name="T8" fmla="*/ 75 w 105"/>
                <a:gd name="T9" fmla="*/ 31 h 49"/>
                <a:gd name="T10" fmla="*/ 77 w 105"/>
                <a:gd name="T11" fmla="*/ 36 h 49"/>
                <a:gd name="T12" fmla="*/ 79 w 105"/>
                <a:gd name="T13" fmla="*/ 41 h 49"/>
                <a:gd name="T14" fmla="*/ 83 w 105"/>
                <a:gd name="T15" fmla="*/ 46 h 49"/>
                <a:gd name="T16" fmla="*/ 88 w 105"/>
                <a:gd name="T17" fmla="*/ 48 h 49"/>
                <a:gd name="T18" fmla="*/ 94 w 105"/>
                <a:gd name="T19" fmla="*/ 48 h 49"/>
                <a:gd name="T20" fmla="*/ 99 w 105"/>
                <a:gd name="T21" fmla="*/ 46 h 49"/>
                <a:gd name="T22" fmla="*/ 103 w 105"/>
                <a:gd name="T23" fmla="*/ 41 h 49"/>
                <a:gd name="T24" fmla="*/ 105 w 105"/>
                <a:gd name="T25" fmla="*/ 36 h 49"/>
                <a:gd name="T26" fmla="*/ 105 w 105"/>
                <a:gd name="T27" fmla="*/ 26 h 49"/>
                <a:gd name="T28" fmla="*/ 101 w 105"/>
                <a:gd name="T29" fmla="*/ 15 h 49"/>
                <a:gd name="T30" fmla="*/ 93 w 105"/>
                <a:gd name="T31" fmla="*/ 6 h 49"/>
                <a:gd name="T32" fmla="*/ 84 w 105"/>
                <a:gd name="T33" fmla="*/ 2 h 49"/>
                <a:gd name="T34" fmla="*/ 69 w 105"/>
                <a:gd name="T35" fmla="*/ 0 h 49"/>
                <a:gd name="T36" fmla="*/ 53 w 105"/>
                <a:gd name="T37" fmla="*/ 0 h 49"/>
                <a:gd name="T38" fmla="*/ 37 w 105"/>
                <a:gd name="T39" fmla="*/ 0 h 49"/>
                <a:gd name="T40" fmla="*/ 22 w 105"/>
                <a:gd name="T41" fmla="*/ 2 h 49"/>
                <a:gd name="T42" fmla="*/ 13 w 105"/>
                <a:gd name="T43" fmla="*/ 6 h 49"/>
                <a:gd name="T44" fmla="*/ 5 w 105"/>
                <a:gd name="T45" fmla="*/ 14 h 49"/>
                <a:gd name="T46" fmla="*/ 0 w 105"/>
                <a:gd name="T47" fmla="*/ 26 h 49"/>
                <a:gd name="T48" fmla="*/ 0 w 105"/>
                <a:gd name="T49" fmla="*/ 36 h 49"/>
                <a:gd name="T50" fmla="*/ 3 w 105"/>
                <a:gd name="T51" fmla="*/ 41 h 49"/>
                <a:gd name="T52" fmla="*/ 7 w 105"/>
                <a:gd name="T53" fmla="*/ 46 h 49"/>
                <a:gd name="T54" fmla="*/ 12 w 105"/>
                <a:gd name="T55" fmla="*/ 48 h 49"/>
                <a:gd name="T56" fmla="*/ 18 w 105"/>
                <a:gd name="T57" fmla="*/ 48 h 49"/>
                <a:gd name="T58" fmla="*/ 23 w 105"/>
                <a:gd name="T59" fmla="*/ 46 h 49"/>
                <a:gd name="T60" fmla="*/ 27 w 105"/>
                <a:gd name="T61" fmla="*/ 41 h 49"/>
                <a:gd name="T62" fmla="*/ 29 w 105"/>
                <a:gd name="T63"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9">
                  <a:moveTo>
                    <a:pt x="30" y="34"/>
                  </a:moveTo>
                  <a:lnTo>
                    <a:pt x="30" y="32"/>
                  </a:lnTo>
                  <a:lnTo>
                    <a:pt x="30" y="31"/>
                  </a:lnTo>
                  <a:lnTo>
                    <a:pt x="38" y="30"/>
                  </a:lnTo>
                  <a:lnTo>
                    <a:pt x="48" y="30"/>
                  </a:lnTo>
                  <a:lnTo>
                    <a:pt x="53" y="30"/>
                  </a:lnTo>
                  <a:lnTo>
                    <a:pt x="58" y="30"/>
                  </a:lnTo>
                  <a:lnTo>
                    <a:pt x="68" y="30"/>
                  </a:lnTo>
                  <a:lnTo>
                    <a:pt x="75" y="30"/>
                  </a:lnTo>
                  <a:lnTo>
                    <a:pt x="75" y="31"/>
                  </a:lnTo>
                  <a:lnTo>
                    <a:pt x="75" y="34"/>
                  </a:lnTo>
                  <a:lnTo>
                    <a:pt x="77" y="36"/>
                  </a:lnTo>
                  <a:lnTo>
                    <a:pt x="77" y="39"/>
                  </a:lnTo>
                  <a:lnTo>
                    <a:pt x="79" y="41"/>
                  </a:lnTo>
                  <a:lnTo>
                    <a:pt x="80" y="44"/>
                  </a:lnTo>
                  <a:lnTo>
                    <a:pt x="83" y="46"/>
                  </a:lnTo>
                  <a:lnTo>
                    <a:pt x="85" y="48"/>
                  </a:lnTo>
                  <a:lnTo>
                    <a:pt x="88" y="48"/>
                  </a:lnTo>
                  <a:lnTo>
                    <a:pt x="90" y="49"/>
                  </a:lnTo>
                  <a:lnTo>
                    <a:pt x="94" y="48"/>
                  </a:lnTo>
                  <a:lnTo>
                    <a:pt x="97" y="47"/>
                  </a:lnTo>
                  <a:lnTo>
                    <a:pt x="99" y="46"/>
                  </a:lnTo>
                  <a:lnTo>
                    <a:pt x="101" y="44"/>
                  </a:lnTo>
                  <a:lnTo>
                    <a:pt x="103" y="41"/>
                  </a:lnTo>
                  <a:lnTo>
                    <a:pt x="104" y="39"/>
                  </a:lnTo>
                  <a:lnTo>
                    <a:pt x="105" y="36"/>
                  </a:lnTo>
                  <a:lnTo>
                    <a:pt x="105" y="34"/>
                  </a:lnTo>
                  <a:lnTo>
                    <a:pt x="105" y="26"/>
                  </a:lnTo>
                  <a:lnTo>
                    <a:pt x="103" y="20"/>
                  </a:lnTo>
                  <a:lnTo>
                    <a:pt x="101" y="15"/>
                  </a:lnTo>
                  <a:lnTo>
                    <a:pt x="97" y="9"/>
                  </a:lnTo>
                  <a:lnTo>
                    <a:pt x="93" y="6"/>
                  </a:lnTo>
                  <a:lnTo>
                    <a:pt x="88" y="4"/>
                  </a:lnTo>
                  <a:lnTo>
                    <a:pt x="84" y="2"/>
                  </a:lnTo>
                  <a:lnTo>
                    <a:pt x="79" y="1"/>
                  </a:lnTo>
                  <a:lnTo>
                    <a:pt x="69" y="0"/>
                  </a:lnTo>
                  <a:lnTo>
                    <a:pt x="58" y="0"/>
                  </a:lnTo>
                  <a:lnTo>
                    <a:pt x="53" y="0"/>
                  </a:lnTo>
                  <a:lnTo>
                    <a:pt x="48" y="0"/>
                  </a:lnTo>
                  <a:lnTo>
                    <a:pt x="37" y="0"/>
                  </a:lnTo>
                  <a:lnTo>
                    <a:pt x="27" y="1"/>
                  </a:lnTo>
                  <a:lnTo>
                    <a:pt x="22" y="2"/>
                  </a:lnTo>
                  <a:lnTo>
                    <a:pt x="18" y="4"/>
                  </a:lnTo>
                  <a:lnTo>
                    <a:pt x="13" y="6"/>
                  </a:lnTo>
                  <a:lnTo>
                    <a:pt x="9" y="9"/>
                  </a:lnTo>
                  <a:lnTo>
                    <a:pt x="5" y="14"/>
                  </a:lnTo>
                  <a:lnTo>
                    <a:pt x="3" y="20"/>
                  </a:lnTo>
                  <a:lnTo>
                    <a:pt x="0" y="26"/>
                  </a:lnTo>
                  <a:lnTo>
                    <a:pt x="0" y="34"/>
                  </a:lnTo>
                  <a:lnTo>
                    <a:pt x="0" y="36"/>
                  </a:lnTo>
                  <a:lnTo>
                    <a:pt x="1" y="39"/>
                  </a:lnTo>
                  <a:lnTo>
                    <a:pt x="3" y="41"/>
                  </a:lnTo>
                  <a:lnTo>
                    <a:pt x="5" y="44"/>
                  </a:lnTo>
                  <a:lnTo>
                    <a:pt x="7" y="46"/>
                  </a:lnTo>
                  <a:lnTo>
                    <a:pt x="9" y="48"/>
                  </a:lnTo>
                  <a:lnTo>
                    <a:pt x="12" y="48"/>
                  </a:lnTo>
                  <a:lnTo>
                    <a:pt x="15" y="49"/>
                  </a:lnTo>
                  <a:lnTo>
                    <a:pt x="18" y="48"/>
                  </a:lnTo>
                  <a:lnTo>
                    <a:pt x="21" y="47"/>
                  </a:lnTo>
                  <a:lnTo>
                    <a:pt x="23" y="46"/>
                  </a:lnTo>
                  <a:lnTo>
                    <a:pt x="26" y="44"/>
                  </a:lnTo>
                  <a:lnTo>
                    <a:pt x="27" y="41"/>
                  </a:lnTo>
                  <a:lnTo>
                    <a:pt x="29" y="39"/>
                  </a:lnTo>
                  <a:lnTo>
                    <a:pt x="29" y="36"/>
                  </a:lnTo>
                  <a:lnTo>
                    <a:pt x="3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802" name="Freeform 158">
              <a:extLst>
                <a:ext uri="{FF2B5EF4-FFF2-40B4-BE49-F238E27FC236}">
                  <a16:creationId xmlns:a16="http://schemas.microsoft.com/office/drawing/2014/main" id="{B92DF5FD-ABA0-4EE0-8203-23713945ED27}"/>
                </a:ext>
              </a:extLst>
            </p:cNvPr>
            <p:cNvSpPr>
              <a:spLocks/>
            </p:cNvSpPr>
            <p:nvPr/>
          </p:nvSpPr>
          <p:spPr bwMode="auto">
            <a:xfrm>
              <a:off x="458788" y="4310063"/>
              <a:ext cx="33338" cy="15875"/>
            </a:xfrm>
            <a:custGeom>
              <a:avLst/>
              <a:gdLst>
                <a:gd name="T0" fmla="*/ 18 w 106"/>
                <a:gd name="T1" fmla="*/ 48 h 49"/>
                <a:gd name="T2" fmla="*/ 23 w 106"/>
                <a:gd name="T3" fmla="*/ 46 h 49"/>
                <a:gd name="T4" fmla="*/ 27 w 106"/>
                <a:gd name="T5" fmla="*/ 41 h 49"/>
                <a:gd name="T6" fmla="*/ 30 w 106"/>
                <a:gd name="T7" fmla="*/ 36 h 49"/>
                <a:gd name="T8" fmla="*/ 30 w 106"/>
                <a:gd name="T9" fmla="*/ 32 h 49"/>
                <a:gd name="T10" fmla="*/ 37 w 106"/>
                <a:gd name="T11" fmla="*/ 30 h 49"/>
                <a:gd name="T12" fmla="*/ 52 w 106"/>
                <a:gd name="T13" fmla="*/ 30 h 49"/>
                <a:gd name="T14" fmla="*/ 68 w 106"/>
                <a:gd name="T15" fmla="*/ 30 h 49"/>
                <a:gd name="T16" fmla="*/ 76 w 106"/>
                <a:gd name="T17" fmla="*/ 31 h 49"/>
                <a:gd name="T18" fmla="*/ 76 w 106"/>
                <a:gd name="T19" fmla="*/ 36 h 49"/>
                <a:gd name="T20" fmla="*/ 78 w 106"/>
                <a:gd name="T21" fmla="*/ 41 h 49"/>
                <a:gd name="T22" fmla="*/ 82 w 106"/>
                <a:gd name="T23" fmla="*/ 46 h 49"/>
                <a:gd name="T24" fmla="*/ 87 w 106"/>
                <a:gd name="T25" fmla="*/ 48 h 49"/>
                <a:gd name="T26" fmla="*/ 94 w 106"/>
                <a:gd name="T27" fmla="*/ 48 h 49"/>
                <a:gd name="T28" fmla="*/ 99 w 106"/>
                <a:gd name="T29" fmla="*/ 46 h 49"/>
                <a:gd name="T30" fmla="*/ 102 w 106"/>
                <a:gd name="T31" fmla="*/ 41 h 49"/>
                <a:gd name="T32" fmla="*/ 106 w 106"/>
                <a:gd name="T33" fmla="*/ 36 h 49"/>
                <a:gd name="T34" fmla="*/ 105 w 106"/>
                <a:gd name="T35" fmla="*/ 26 h 49"/>
                <a:gd name="T36" fmla="*/ 100 w 106"/>
                <a:gd name="T37" fmla="*/ 15 h 49"/>
                <a:gd name="T38" fmla="*/ 93 w 106"/>
                <a:gd name="T39" fmla="*/ 6 h 49"/>
                <a:gd name="T40" fmla="*/ 83 w 106"/>
                <a:gd name="T41" fmla="*/ 2 h 49"/>
                <a:gd name="T42" fmla="*/ 68 w 106"/>
                <a:gd name="T43" fmla="*/ 0 h 49"/>
                <a:gd name="T44" fmla="*/ 52 w 106"/>
                <a:gd name="T45" fmla="*/ 0 h 49"/>
                <a:gd name="T46" fmla="*/ 37 w 106"/>
                <a:gd name="T47" fmla="*/ 0 h 49"/>
                <a:gd name="T48" fmla="*/ 22 w 106"/>
                <a:gd name="T49" fmla="*/ 2 h 49"/>
                <a:gd name="T50" fmla="*/ 12 w 106"/>
                <a:gd name="T51" fmla="*/ 6 h 49"/>
                <a:gd name="T52" fmla="*/ 5 w 106"/>
                <a:gd name="T53" fmla="*/ 14 h 49"/>
                <a:gd name="T54" fmla="*/ 1 w 106"/>
                <a:gd name="T55" fmla="*/ 26 h 49"/>
                <a:gd name="T56" fmla="*/ 0 w 106"/>
                <a:gd name="T57" fmla="*/ 36 h 49"/>
                <a:gd name="T58" fmla="*/ 2 w 106"/>
                <a:gd name="T59" fmla="*/ 41 h 49"/>
                <a:gd name="T60" fmla="*/ 6 w 106"/>
                <a:gd name="T61" fmla="*/ 46 h 49"/>
                <a:gd name="T62" fmla="*/ 11 w 106"/>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15" y="49"/>
                  </a:moveTo>
                  <a:lnTo>
                    <a:pt x="18" y="48"/>
                  </a:lnTo>
                  <a:lnTo>
                    <a:pt x="21" y="47"/>
                  </a:lnTo>
                  <a:lnTo>
                    <a:pt x="23" y="46"/>
                  </a:lnTo>
                  <a:lnTo>
                    <a:pt x="25" y="44"/>
                  </a:lnTo>
                  <a:lnTo>
                    <a:pt x="27" y="41"/>
                  </a:lnTo>
                  <a:lnTo>
                    <a:pt x="29" y="39"/>
                  </a:lnTo>
                  <a:lnTo>
                    <a:pt x="30" y="36"/>
                  </a:lnTo>
                  <a:lnTo>
                    <a:pt x="30" y="34"/>
                  </a:lnTo>
                  <a:lnTo>
                    <a:pt x="30" y="32"/>
                  </a:lnTo>
                  <a:lnTo>
                    <a:pt x="30" y="31"/>
                  </a:lnTo>
                  <a:lnTo>
                    <a:pt x="37" y="30"/>
                  </a:lnTo>
                  <a:lnTo>
                    <a:pt x="48" y="30"/>
                  </a:lnTo>
                  <a:lnTo>
                    <a:pt x="52" y="30"/>
                  </a:lnTo>
                  <a:lnTo>
                    <a:pt x="57" y="30"/>
                  </a:lnTo>
                  <a:lnTo>
                    <a:pt x="68" y="30"/>
                  </a:lnTo>
                  <a:lnTo>
                    <a:pt x="75" y="30"/>
                  </a:lnTo>
                  <a:lnTo>
                    <a:pt x="76" y="31"/>
                  </a:lnTo>
                  <a:lnTo>
                    <a:pt x="76" y="34"/>
                  </a:lnTo>
                  <a:lnTo>
                    <a:pt x="76" y="36"/>
                  </a:lnTo>
                  <a:lnTo>
                    <a:pt x="77" y="39"/>
                  </a:lnTo>
                  <a:lnTo>
                    <a:pt x="78" y="41"/>
                  </a:lnTo>
                  <a:lnTo>
                    <a:pt x="80" y="44"/>
                  </a:lnTo>
                  <a:lnTo>
                    <a:pt x="82" y="46"/>
                  </a:lnTo>
                  <a:lnTo>
                    <a:pt x="84" y="48"/>
                  </a:lnTo>
                  <a:lnTo>
                    <a:pt x="87" y="48"/>
                  </a:lnTo>
                  <a:lnTo>
                    <a:pt x="91" y="49"/>
                  </a:lnTo>
                  <a:lnTo>
                    <a:pt x="94" y="48"/>
                  </a:lnTo>
                  <a:lnTo>
                    <a:pt x="96" y="47"/>
                  </a:lnTo>
                  <a:lnTo>
                    <a:pt x="99" y="46"/>
                  </a:lnTo>
                  <a:lnTo>
                    <a:pt x="101" y="44"/>
                  </a:lnTo>
                  <a:lnTo>
                    <a:pt x="102" y="41"/>
                  </a:lnTo>
                  <a:lnTo>
                    <a:pt x="105" y="39"/>
                  </a:lnTo>
                  <a:lnTo>
                    <a:pt x="106" y="36"/>
                  </a:lnTo>
                  <a:lnTo>
                    <a:pt x="106" y="34"/>
                  </a:lnTo>
                  <a:lnTo>
                    <a:pt x="105" y="26"/>
                  </a:lnTo>
                  <a:lnTo>
                    <a:pt x="104" y="20"/>
                  </a:lnTo>
                  <a:lnTo>
                    <a:pt x="100" y="15"/>
                  </a:lnTo>
                  <a:lnTo>
                    <a:pt x="97" y="9"/>
                  </a:lnTo>
                  <a:lnTo>
                    <a:pt x="93" y="6"/>
                  </a:lnTo>
                  <a:lnTo>
                    <a:pt x="89" y="4"/>
                  </a:lnTo>
                  <a:lnTo>
                    <a:pt x="83" y="2"/>
                  </a:lnTo>
                  <a:lnTo>
                    <a:pt x="79" y="1"/>
                  </a:lnTo>
                  <a:lnTo>
                    <a:pt x="68" y="0"/>
                  </a:lnTo>
                  <a:lnTo>
                    <a:pt x="57" y="0"/>
                  </a:lnTo>
                  <a:lnTo>
                    <a:pt x="52" y="0"/>
                  </a:lnTo>
                  <a:lnTo>
                    <a:pt x="48" y="0"/>
                  </a:lnTo>
                  <a:lnTo>
                    <a:pt x="37" y="0"/>
                  </a:lnTo>
                  <a:lnTo>
                    <a:pt x="26" y="1"/>
                  </a:lnTo>
                  <a:lnTo>
                    <a:pt x="22" y="2"/>
                  </a:lnTo>
                  <a:lnTo>
                    <a:pt x="17" y="4"/>
                  </a:lnTo>
                  <a:lnTo>
                    <a:pt x="12" y="6"/>
                  </a:lnTo>
                  <a:lnTo>
                    <a:pt x="8" y="9"/>
                  </a:lnTo>
                  <a:lnTo>
                    <a:pt x="5" y="14"/>
                  </a:lnTo>
                  <a:lnTo>
                    <a:pt x="2" y="20"/>
                  </a:lnTo>
                  <a:lnTo>
                    <a:pt x="1" y="26"/>
                  </a:lnTo>
                  <a:lnTo>
                    <a:pt x="0" y="34"/>
                  </a:lnTo>
                  <a:lnTo>
                    <a:pt x="0" y="36"/>
                  </a:lnTo>
                  <a:lnTo>
                    <a:pt x="1" y="39"/>
                  </a:lnTo>
                  <a:lnTo>
                    <a:pt x="2" y="41"/>
                  </a:lnTo>
                  <a:lnTo>
                    <a:pt x="4" y="44"/>
                  </a:lnTo>
                  <a:lnTo>
                    <a:pt x="6" y="46"/>
                  </a:lnTo>
                  <a:lnTo>
                    <a:pt x="9" y="47"/>
                  </a:lnTo>
                  <a:lnTo>
                    <a:pt x="11" y="48"/>
                  </a:lnTo>
                  <a:lnTo>
                    <a:pt x="1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803" name="Freeform 54">
            <a:extLst>
              <a:ext uri="{FF2B5EF4-FFF2-40B4-BE49-F238E27FC236}">
                <a16:creationId xmlns:a16="http://schemas.microsoft.com/office/drawing/2014/main" id="{CE1C6A50-0D26-4892-88DE-BAD929E123CA}"/>
              </a:ext>
            </a:extLst>
          </p:cNvPr>
          <p:cNvSpPr>
            <a:spLocks noChangeAspect="1" noEditPoints="1"/>
          </p:cNvSpPr>
          <p:nvPr/>
        </p:nvSpPr>
        <p:spPr bwMode="auto">
          <a:xfrm>
            <a:off x="2711058" y="4340505"/>
            <a:ext cx="336021" cy="285619"/>
          </a:xfrm>
          <a:custGeom>
            <a:avLst/>
            <a:gdLst>
              <a:gd name="T0" fmla="*/ 346 w 901"/>
              <a:gd name="T1" fmla="*/ 717 h 766"/>
              <a:gd name="T2" fmla="*/ 332 w 901"/>
              <a:gd name="T3" fmla="*/ 585 h 766"/>
              <a:gd name="T4" fmla="*/ 245 w 901"/>
              <a:gd name="T5" fmla="*/ 578 h 766"/>
              <a:gd name="T6" fmla="*/ 183 w 901"/>
              <a:gd name="T7" fmla="*/ 556 h 766"/>
              <a:gd name="T8" fmla="*/ 128 w 901"/>
              <a:gd name="T9" fmla="*/ 521 h 766"/>
              <a:gd name="T10" fmla="*/ 83 w 901"/>
              <a:gd name="T11" fmla="*/ 475 h 766"/>
              <a:gd name="T12" fmla="*/ 51 w 901"/>
              <a:gd name="T13" fmla="*/ 418 h 766"/>
              <a:gd name="T14" fmla="*/ 33 w 901"/>
              <a:gd name="T15" fmla="*/ 355 h 766"/>
              <a:gd name="T16" fmla="*/ 32 w 901"/>
              <a:gd name="T17" fmla="*/ 285 h 766"/>
              <a:gd name="T18" fmla="*/ 47 w 901"/>
              <a:gd name="T19" fmla="*/ 218 h 766"/>
              <a:gd name="T20" fmla="*/ 78 w 901"/>
              <a:gd name="T21" fmla="*/ 157 h 766"/>
              <a:gd name="T22" fmla="*/ 121 w 901"/>
              <a:gd name="T23" fmla="*/ 106 h 766"/>
              <a:gd name="T24" fmla="*/ 174 w 901"/>
              <a:gd name="T25" fmla="*/ 65 h 766"/>
              <a:gd name="T26" fmla="*/ 235 w 901"/>
              <a:gd name="T27" fmla="*/ 39 h 766"/>
              <a:gd name="T28" fmla="*/ 301 w 901"/>
              <a:gd name="T29" fmla="*/ 30 h 766"/>
              <a:gd name="T30" fmla="*/ 654 w 901"/>
              <a:gd name="T31" fmla="*/ 36 h 766"/>
              <a:gd name="T32" fmla="*/ 716 w 901"/>
              <a:gd name="T33" fmla="*/ 59 h 766"/>
              <a:gd name="T34" fmla="*/ 770 w 901"/>
              <a:gd name="T35" fmla="*/ 96 h 766"/>
              <a:gd name="T36" fmla="*/ 816 w 901"/>
              <a:gd name="T37" fmla="*/ 146 h 766"/>
              <a:gd name="T38" fmla="*/ 850 w 901"/>
              <a:gd name="T39" fmla="*/ 205 h 766"/>
              <a:gd name="T40" fmla="*/ 868 w 901"/>
              <a:gd name="T41" fmla="*/ 271 h 766"/>
              <a:gd name="T42" fmla="*/ 870 w 901"/>
              <a:gd name="T43" fmla="*/ 341 h 766"/>
              <a:gd name="T44" fmla="*/ 855 w 901"/>
              <a:gd name="T45" fmla="*/ 406 h 766"/>
              <a:gd name="T46" fmla="*/ 825 w 901"/>
              <a:gd name="T47" fmla="*/ 464 h 766"/>
              <a:gd name="T48" fmla="*/ 782 w 901"/>
              <a:gd name="T49" fmla="*/ 513 h 766"/>
              <a:gd name="T50" fmla="*/ 729 w 901"/>
              <a:gd name="T51" fmla="*/ 552 h 766"/>
              <a:gd name="T52" fmla="*/ 668 w 901"/>
              <a:gd name="T53" fmla="*/ 576 h 766"/>
              <a:gd name="T54" fmla="*/ 601 w 901"/>
              <a:gd name="T55" fmla="*/ 585 h 766"/>
              <a:gd name="T56" fmla="*/ 271 w 901"/>
              <a:gd name="T57" fmla="*/ 2 h 766"/>
              <a:gd name="T58" fmla="*/ 200 w 901"/>
              <a:gd name="T59" fmla="*/ 19 h 766"/>
              <a:gd name="T60" fmla="*/ 136 w 901"/>
              <a:gd name="T61" fmla="*/ 55 h 766"/>
              <a:gd name="T62" fmla="*/ 80 w 901"/>
              <a:gd name="T63" fmla="*/ 105 h 766"/>
              <a:gd name="T64" fmla="*/ 37 w 901"/>
              <a:gd name="T65" fmla="*/ 167 h 766"/>
              <a:gd name="T66" fmla="*/ 11 w 901"/>
              <a:gd name="T67" fmla="*/ 237 h 766"/>
              <a:gd name="T68" fmla="*/ 0 w 901"/>
              <a:gd name="T69" fmla="*/ 313 h 766"/>
              <a:gd name="T70" fmla="*/ 10 w 901"/>
              <a:gd name="T71" fmla="*/ 388 h 766"/>
              <a:gd name="T72" fmla="*/ 36 w 901"/>
              <a:gd name="T73" fmla="*/ 456 h 766"/>
              <a:gd name="T74" fmla="*/ 78 w 901"/>
              <a:gd name="T75" fmla="*/ 514 h 766"/>
              <a:gd name="T76" fmla="*/ 132 w 901"/>
              <a:gd name="T77" fmla="*/ 561 h 766"/>
              <a:gd name="T78" fmla="*/ 196 w 901"/>
              <a:gd name="T79" fmla="*/ 595 h 766"/>
              <a:gd name="T80" fmla="*/ 267 w 901"/>
              <a:gd name="T81" fmla="*/ 611 h 766"/>
              <a:gd name="T82" fmla="*/ 316 w 901"/>
              <a:gd name="T83" fmla="*/ 614 h 766"/>
              <a:gd name="T84" fmla="*/ 324 w 901"/>
              <a:gd name="T85" fmla="*/ 764 h 766"/>
              <a:gd name="T86" fmla="*/ 502 w 901"/>
              <a:gd name="T87" fmla="*/ 615 h 766"/>
              <a:gd name="T88" fmla="*/ 660 w 901"/>
              <a:gd name="T89" fmla="*/ 610 h 766"/>
              <a:gd name="T90" fmla="*/ 730 w 901"/>
              <a:gd name="T91" fmla="*/ 585 h 766"/>
              <a:gd name="T92" fmla="*/ 791 w 901"/>
              <a:gd name="T93" fmla="*/ 545 h 766"/>
              <a:gd name="T94" fmla="*/ 841 w 901"/>
              <a:gd name="T95" fmla="*/ 493 h 766"/>
              <a:gd name="T96" fmla="*/ 877 w 901"/>
              <a:gd name="T97" fmla="*/ 430 h 766"/>
              <a:gd name="T98" fmla="*/ 898 w 901"/>
              <a:gd name="T99" fmla="*/ 359 h 766"/>
              <a:gd name="T100" fmla="*/ 900 w 901"/>
              <a:gd name="T101" fmla="*/ 282 h 766"/>
              <a:gd name="T102" fmla="*/ 883 w 901"/>
              <a:gd name="T103" fmla="*/ 208 h 766"/>
              <a:gd name="T104" fmla="*/ 849 w 901"/>
              <a:gd name="T105" fmla="*/ 141 h 766"/>
              <a:gd name="T106" fmla="*/ 800 w 901"/>
              <a:gd name="T107" fmla="*/ 83 h 766"/>
              <a:gd name="T108" fmla="*/ 742 w 901"/>
              <a:gd name="T109" fmla="*/ 39 h 766"/>
              <a:gd name="T110" fmla="*/ 674 w 901"/>
              <a:gd name="T111" fmla="*/ 10 h 766"/>
              <a:gd name="T112" fmla="*/ 601 w 901"/>
              <a:gd name="T113"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1" h="766">
                <a:moveTo>
                  <a:pt x="601" y="585"/>
                </a:moveTo>
                <a:lnTo>
                  <a:pt x="496" y="585"/>
                </a:lnTo>
                <a:lnTo>
                  <a:pt x="490" y="586"/>
                </a:lnTo>
                <a:lnTo>
                  <a:pt x="486" y="589"/>
                </a:lnTo>
                <a:lnTo>
                  <a:pt x="346" y="717"/>
                </a:lnTo>
                <a:lnTo>
                  <a:pt x="346" y="600"/>
                </a:lnTo>
                <a:lnTo>
                  <a:pt x="345" y="595"/>
                </a:lnTo>
                <a:lnTo>
                  <a:pt x="341" y="590"/>
                </a:lnTo>
                <a:lnTo>
                  <a:pt x="337" y="587"/>
                </a:lnTo>
                <a:lnTo>
                  <a:pt x="332" y="585"/>
                </a:lnTo>
                <a:lnTo>
                  <a:pt x="300" y="583"/>
                </a:lnTo>
                <a:lnTo>
                  <a:pt x="286" y="582"/>
                </a:lnTo>
                <a:lnTo>
                  <a:pt x="272" y="581"/>
                </a:lnTo>
                <a:lnTo>
                  <a:pt x="259" y="580"/>
                </a:lnTo>
                <a:lnTo>
                  <a:pt x="245" y="578"/>
                </a:lnTo>
                <a:lnTo>
                  <a:pt x="232" y="574"/>
                </a:lnTo>
                <a:lnTo>
                  <a:pt x="219" y="570"/>
                </a:lnTo>
                <a:lnTo>
                  <a:pt x="207" y="566"/>
                </a:lnTo>
                <a:lnTo>
                  <a:pt x="195" y="561"/>
                </a:lnTo>
                <a:lnTo>
                  <a:pt x="183" y="556"/>
                </a:lnTo>
                <a:lnTo>
                  <a:pt x="171" y="550"/>
                </a:lnTo>
                <a:lnTo>
                  <a:pt x="160" y="543"/>
                </a:lnTo>
                <a:lnTo>
                  <a:pt x="149" y="537"/>
                </a:lnTo>
                <a:lnTo>
                  <a:pt x="138" y="529"/>
                </a:lnTo>
                <a:lnTo>
                  <a:pt x="128" y="521"/>
                </a:lnTo>
                <a:lnTo>
                  <a:pt x="119" y="512"/>
                </a:lnTo>
                <a:lnTo>
                  <a:pt x="109" y="504"/>
                </a:lnTo>
                <a:lnTo>
                  <a:pt x="101" y="494"/>
                </a:lnTo>
                <a:lnTo>
                  <a:pt x="92" y="484"/>
                </a:lnTo>
                <a:lnTo>
                  <a:pt x="83" y="475"/>
                </a:lnTo>
                <a:lnTo>
                  <a:pt x="76" y="464"/>
                </a:lnTo>
                <a:lnTo>
                  <a:pt x="70" y="453"/>
                </a:lnTo>
                <a:lnTo>
                  <a:pt x="63" y="442"/>
                </a:lnTo>
                <a:lnTo>
                  <a:pt x="57" y="430"/>
                </a:lnTo>
                <a:lnTo>
                  <a:pt x="51" y="418"/>
                </a:lnTo>
                <a:lnTo>
                  <a:pt x="47" y="406"/>
                </a:lnTo>
                <a:lnTo>
                  <a:pt x="43" y="393"/>
                </a:lnTo>
                <a:lnTo>
                  <a:pt x="39" y="381"/>
                </a:lnTo>
                <a:lnTo>
                  <a:pt x="36" y="368"/>
                </a:lnTo>
                <a:lnTo>
                  <a:pt x="33" y="355"/>
                </a:lnTo>
                <a:lnTo>
                  <a:pt x="32" y="341"/>
                </a:lnTo>
                <a:lnTo>
                  <a:pt x="31" y="327"/>
                </a:lnTo>
                <a:lnTo>
                  <a:pt x="30" y="313"/>
                </a:lnTo>
                <a:lnTo>
                  <a:pt x="31" y="299"/>
                </a:lnTo>
                <a:lnTo>
                  <a:pt x="32" y="285"/>
                </a:lnTo>
                <a:lnTo>
                  <a:pt x="33" y="271"/>
                </a:lnTo>
                <a:lnTo>
                  <a:pt x="36" y="258"/>
                </a:lnTo>
                <a:lnTo>
                  <a:pt x="40" y="245"/>
                </a:lnTo>
                <a:lnTo>
                  <a:pt x="43" y="231"/>
                </a:lnTo>
                <a:lnTo>
                  <a:pt x="47" y="218"/>
                </a:lnTo>
                <a:lnTo>
                  <a:pt x="52" y="205"/>
                </a:lnTo>
                <a:lnTo>
                  <a:pt x="58" y="193"/>
                </a:lnTo>
                <a:lnTo>
                  <a:pt x="64" y="181"/>
                </a:lnTo>
                <a:lnTo>
                  <a:pt x="71" y="169"/>
                </a:lnTo>
                <a:lnTo>
                  <a:pt x="78" y="157"/>
                </a:lnTo>
                <a:lnTo>
                  <a:pt x="86" y="146"/>
                </a:lnTo>
                <a:lnTo>
                  <a:pt x="94" y="136"/>
                </a:lnTo>
                <a:lnTo>
                  <a:pt x="103" y="125"/>
                </a:lnTo>
                <a:lnTo>
                  <a:pt x="111" y="115"/>
                </a:lnTo>
                <a:lnTo>
                  <a:pt x="121" y="106"/>
                </a:lnTo>
                <a:lnTo>
                  <a:pt x="131" y="96"/>
                </a:lnTo>
                <a:lnTo>
                  <a:pt x="141" y="87"/>
                </a:lnTo>
                <a:lnTo>
                  <a:pt x="152" y="80"/>
                </a:lnTo>
                <a:lnTo>
                  <a:pt x="163" y="72"/>
                </a:lnTo>
                <a:lnTo>
                  <a:pt x="174" y="65"/>
                </a:lnTo>
                <a:lnTo>
                  <a:pt x="186" y="59"/>
                </a:lnTo>
                <a:lnTo>
                  <a:pt x="198" y="53"/>
                </a:lnTo>
                <a:lnTo>
                  <a:pt x="210" y="48"/>
                </a:lnTo>
                <a:lnTo>
                  <a:pt x="223" y="42"/>
                </a:lnTo>
                <a:lnTo>
                  <a:pt x="235" y="39"/>
                </a:lnTo>
                <a:lnTo>
                  <a:pt x="248" y="36"/>
                </a:lnTo>
                <a:lnTo>
                  <a:pt x="261" y="33"/>
                </a:lnTo>
                <a:lnTo>
                  <a:pt x="274" y="31"/>
                </a:lnTo>
                <a:lnTo>
                  <a:pt x="287" y="30"/>
                </a:lnTo>
                <a:lnTo>
                  <a:pt x="301" y="30"/>
                </a:lnTo>
                <a:lnTo>
                  <a:pt x="601" y="30"/>
                </a:lnTo>
                <a:lnTo>
                  <a:pt x="614" y="30"/>
                </a:lnTo>
                <a:lnTo>
                  <a:pt x="628" y="31"/>
                </a:lnTo>
                <a:lnTo>
                  <a:pt x="641" y="33"/>
                </a:lnTo>
                <a:lnTo>
                  <a:pt x="654" y="36"/>
                </a:lnTo>
                <a:lnTo>
                  <a:pt x="667" y="39"/>
                </a:lnTo>
                <a:lnTo>
                  <a:pt x="679" y="42"/>
                </a:lnTo>
                <a:lnTo>
                  <a:pt x="692" y="48"/>
                </a:lnTo>
                <a:lnTo>
                  <a:pt x="704" y="53"/>
                </a:lnTo>
                <a:lnTo>
                  <a:pt x="716" y="59"/>
                </a:lnTo>
                <a:lnTo>
                  <a:pt x="728" y="65"/>
                </a:lnTo>
                <a:lnTo>
                  <a:pt x="739" y="72"/>
                </a:lnTo>
                <a:lnTo>
                  <a:pt x="750" y="80"/>
                </a:lnTo>
                <a:lnTo>
                  <a:pt x="761" y="87"/>
                </a:lnTo>
                <a:lnTo>
                  <a:pt x="770" y="96"/>
                </a:lnTo>
                <a:lnTo>
                  <a:pt x="781" y="106"/>
                </a:lnTo>
                <a:lnTo>
                  <a:pt x="791" y="115"/>
                </a:lnTo>
                <a:lnTo>
                  <a:pt x="799" y="125"/>
                </a:lnTo>
                <a:lnTo>
                  <a:pt x="808" y="136"/>
                </a:lnTo>
                <a:lnTo>
                  <a:pt x="816" y="146"/>
                </a:lnTo>
                <a:lnTo>
                  <a:pt x="824" y="157"/>
                </a:lnTo>
                <a:lnTo>
                  <a:pt x="831" y="169"/>
                </a:lnTo>
                <a:lnTo>
                  <a:pt x="838" y="181"/>
                </a:lnTo>
                <a:lnTo>
                  <a:pt x="844" y="193"/>
                </a:lnTo>
                <a:lnTo>
                  <a:pt x="850" y="205"/>
                </a:lnTo>
                <a:lnTo>
                  <a:pt x="854" y="218"/>
                </a:lnTo>
                <a:lnTo>
                  <a:pt x="859" y="231"/>
                </a:lnTo>
                <a:lnTo>
                  <a:pt x="862" y="245"/>
                </a:lnTo>
                <a:lnTo>
                  <a:pt x="866" y="258"/>
                </a:lnTo>
                <a:lnTo>
                  <a:pt x="868" y="271"/>
                </a:lnTo>
                <a:lnTo>
                  <a:pt x="870" y="285"/>
                </a:lnTo>
                <a:lnTo>
                  <a:pt x="871" y="299"/>
                </a:lnTo>
                <a:lnTo>
                  <a:pt x="871" y="313"/>
                </a:lnTo>
                <a:lnTo>
                  <a:pt x="871" y="327"/>
                </a:lnTo>
                <a:lnTo>
                  <a:pt x="870" y="341"/>
                </a:lnTo>
                <a:lnTo>
                  <a:pt x="868" y="355"/>
                </a:lnTo>
                <a:lnTo>
                  <a:pt x="866" y="368"/>
                </a:lnTo>
                <a:lnTo>
                  <a:pt x="862" y="381"/>
                </a:lnTo>
                <a:lnTo>
                  <a:pt x="859" y="393"/>
                </a:lnTo>
                <a:lnTo>
                  <a:pt x="855" y="406"/>
                </a:lnTo>
                <a:lnTo>
                  <a:pt x="850" y="418"/>
                </a:lnTo>
                <a:lnTo>
                  <a:pt x="844" y="430"/>
                </a:lnTo>
                <a:lnTo>
                  <a:pt x="838" y="442"/>
                </a:lnTo>
                <a:lnTo>
                  <a:pt x="831" y="453"/>
                </a:lnTo>
                <a:lnTo>
                  <a:pt x="825" y="464"/>
                </a:lnTo>
                <a:lnTo>
                  <a:pt x="816" y="475"/>
                </a:lnTo>
                <a:lnTo>
                  <a:pt x="809" y="485"/>
                </a:lnTo>
                <a:lnTo>
                  <a:pt x="800" y="495"/>
                </a:lnTo>
                <a:lnTo>
                  <a:pt x="791" y="505"/>
                </a:lnTo>
                <a:lnTo>
                  <a:pt x="782" y="513"/>
                </a:lnTo>
                <a:lnTo>
                  <a:pt x="771" y="523"/>
                </a:lnTo>
                <a:lnTo>
                  <a:pt x="762" y="530"/>
                </a:lnTo>
                <a:lnTo>
                  <a:pt x="751" y="538"/>
                </a:lnTo>
                <a:lnTo>
                  <a:pt x="740" y="545"/>
                </a:lnTo>
                <a:lnTo>
                  <a:pt x="729" y="552"/>
                </a:lnTo>
                <a:lnTo>
                  <a:pt x="717" y="558"/>
                </a:lnTo>
                <a:lnTo>
                  <a:pt x="705" y="564"/>
                </a:lnTo>
                <a:lnTo>
                  <a:pt x="693" y="569"/>
                </a:lnTo>
                <a:lnTo>
                  <a:pt x="681" y="573"/>
                </a:lnTo>
                <a:lnTo>
                  <a:pt x="668" y="576"/>
                </a:lnTo>
                <a:lnTo>
                  <a:pt x="655" y="580"/>
                </a:lnTo>
                <a:lnTo>
                  <a:pt x="642" y="582"/>
                </a:lnTo>
                <a:lnTo>
                  <a:pt x="628" y="584"/>
                </a:lnTo>
                <a:lnTo>
                  <a:pt x="615" y="585"/>
                </a:lnTo>
                <a:lnTo>
                  <a:pt x="601" y="585"/>
                </a:lnTo>
                <a:lnTo>
                  <a:pt x="601" y="585"/>
                </a:lnTo>
                <a:close/>
                <a:moveTo>
                  <a:pt x="601" y="0"/>
                </a:moveTo>
                <a:lnTo>
                  <a:pt x="301" y="0"/>
                </a:lnTo>
                <a:lnTo>
                  <a:pt x="286" y="0"/>
                </a:lnTo>
                <a:lnTo>
                  <a:pt x="271" y="2"/>
                </a:lnTo>
                <a:lnTo>
                  <a:pt x="257" y="3"/>
                </a:lnTo>
                <a:lnTo>
                  <a:pt x="242" y="6"/>
                </a:lnTo>
                <a:lnTo>
                  <a:pt x="228" y="10"/>
                </a:lnTo>
                <a:lnTo>
                  <a:pt x="214" y="15"/>
                </a:lnTo>
                <a:lnTo>
                  <a:pt x="200" y="19"/>
                </a:lnTo>
                <a:lnTo>
                  <a:pt x="186" y="25"/>
                </a:lnTo>
                <a:lnTo>
                  <a:pt x="173" y="32"/>
                </a:lnTo>
                <a:lnTo>
                  <a:pt x="160" y="39"/>
                </a:lnTo>
                <a:lnTo>
                  <a:pt x="148" y="47"/>
                </a:lnTo>
                <a:lnTo>
                  <a:pt x="136" y="55"/>
                </a:lnTo>
                <a:lnTo>
                  <a:pt x="123" y="64"/>
                </a:lnTo>
                <a:lnTo>
                  <a:pt x="112" y="73"/>
                </a:lnTo>
                <a:lnTo>
                  <a:pt x="102" y="83"/>
                </a:lnTo>
                <a:lnTo>
                  <a:pt x="91" y="94"/>
                </a:lnTo>
                <a:lnTo>
                  <a:pt x="80" y="105"/>
                </a:lnTo>
                <a:lnTo>
                  <a:pt x="71" y="116"/>
                </a:lnTo>
                <a:lnTo>
                  <a:pt x="62" y="128"/>
                </a:lnTo>
                <a:lnTo>
                  <a:pt x="53" y="141"/>
                </a:lnTo>
                <a:lnTo>
                  <a:pt x="45" y="154"/>
                </a:lnTo>
                <a:lnTo>
                  <a:pt x="37" y="167"/>
                </a:lnTo>
                <a:lnTo>
                  <a:pt x="31" y="181"/>
                </a:lnTo>
                <a:lnTo>
                  <a:pt x="25" y="194"/>
                </a:lnTo>
                <a:lnTo>
                  <a:pt x="19" y="208"/>
                </a:lnTo>
                <a:lnTo>
                  <a:pt x="14" y="222"/>
                </a:lnTo>
                <a:lnTo>
                  <a:pt x="11" y="237"/>
                </a:lnTo>
                <a:lnTo>
                  <a:pt x="6" y="252"/>
                </a:lnTo>
                <a:lnTo>
                  <a:pt x="4" y="267"/>
                </a:lnTo>
                <a:lnTo>
                  <a:pt x="2" y="282"/>
                </a:lnTo>
                <a:lnTo>
                  <a:pt x="1" y="298"/>
                </a:lnTo>
                <a:lnTo>
                  <a:pt x="0" y="313"/>
                </a:lnTo>
                <a:lnTo>
                  <a:pt x="1" y="329"/>
                </a:lnTo>
                <a:lnTo>
                  <a:pt x="2" y="344"/>
                </a:lnTo>
                <a:lnTo>
                  <a:pt x="4" y="359"/>
                </a:lnTo>
                <a:lnTo>
                  <a:pt x="6" y="374"/>
                </a:lnTo>
                <a:lnTo>
                  <a:pt x="10" y="388"/>
                </a:lnTo>
                <a:lnTo>
                  <a:pt x="14" y="402"/>
                </a:lnTo>
                <a:lnTo>
                  <a:pt x="18" y="416"/>
                </a:lnTo>
                <a:lnTo>
                  <a:pt x="24" y="430"/>
                </a:lnTo>
                <a:lnTo>
                  <a:pt x="30" y="443"/>
                </a:lnTo>
                <a:lnTo>
                  <a:pt x="36" y="456"/>
                </a:lnTo>
                <a:lnTo>
                  <a:pt x="44" y="468"/>
                </a:lnTo>
                <a:lnTo>
                  <a:pt x="51" y="481"/>
                </a:lnTo>
                <a:lnTo>
                  <a:pt x="60" y="492"/>
                </a:lnTo>
                <a:lnTo>
                  <a:pt x="68" y="504"/>
                </a:lnTo>
                <a:lnTo>
                  <a:pt x="78" y="514"/>
                </a:lnTo>
                <a:lnTo>
                  <a:pt x="88" y="525"/>
                </a:lnTo>
                <a:lnTo>
                  <a:pt x="98" y="535"/>
                </a:lnTo>
                <a:lnTo>
                  <a:pt x="109" y="544"/>
                </a:lnTo>
                <a:lnTo>
                  <a:pt x="120" y="553"/>
                </a:lnTo>
                <a:lnTo>
                  <a:pt x="132" y="561"/>
                </a:lnTo>
                <a:lnTo>
                  <a:pt x="144" y="569"/>
                </a:lnTo>
                <a:lnTo>
                  <a:pt x="156" y="576"/>
                </a:lnTo>
                <a:lnTo>
                  <a:pt x="169" y="583"/>
                </a:lnTo>
                <a:lnTo>
                  <a:pt x="183" y="589"/>
                </a:lnTo>
                <a:lnTo>
                  <a:pt x="196" y="595"/>
                </a:lnTo>
                <a:lnTo>
                  <a:pt x="210" y="599"/>
                </a:lnTo>
                <a:lnTo>
                  <a:pt x="224" y="603"/>
                </a:lnTo>
                <a:lnTo>
                  <a:pt x="239" y="606"/>
                </a:lnTo>
                <a:lnTo>
                  <a:pt x="253" y="610"/>
                </a:lnTo>
                <a:lnTo>
                  <a:pt x="267" y="611"/>
                </a:lnTo>
                <a:lnTo>
                  <a:pt x="282" y="613"/>
                </a:lnTo>
                <a:lnTo>
                  <a:pt x="299" y="613"/>
                </a:lnTo>
                <a:lnTo>
                  <a:pt x="299" y="613"/>
                </a:lnTo>
                <a:lnTo>
                  <a:pt x="299" y="613"/>
                </a:lnTo>
                <a:lnTo>
                  <a:pt x="316" y="614"/>
                </a:lnTo>
                <a:lnTo>
                  <a:pt x="316" y="751"/>
                </a:lnTo>
                <a:lnTo>
                  <a:pt x="317" y="755"/>
                </a:lnTo>
                <a:lnTo>
                  <a:pt x="318" y="758"/>
                </a:lnTo>
                <a:lnTo>
                  <a:pt x="321" y="762"/>
                </a:lnTo>
                <a:lnTo>
                  <a:pt x="324" y="764"/>
                </a:lnTo>
                <a:lnTo>
                  <a:pt x="327" y="765"/>
                </a:lnTo>
                <a:lnTo>
                  <a:pt x="331" y="766"/>
                </a:lnTo>
                <a:lnTo>
                  <a:pt x="336" y="765"/>
                </a:lnTo>
                <a:lnTo>
                  <a:pt x="341" y="762"/>
                </a:lnTo>
                <a:lnTo>
                  <a:pt x="502" y="615"/>
                </a:lnTo>
                <a:lnTo>
                  <a:pt x="601" y="615"/>
                </a:lnTo>
                <a:lnTo>
                  <a:pt x="616" y="615"/>
                </a:lnTo>
                <a:lnTo>
                  <a:pt x="631" y="614"/>
                </a:lnTo>
                <a:lnTo>
                  <a:pt x="646" y="612"/>
                </a:lnTo>
                <a:lnTo>
                  <a:pt x="660" y="610"/>
                </a:lnTo>
                <a:lnTo>
                  <a:pt x="675" y="605"/>
                </a:lnTo>
                <a:lnTo>
                  <a:pt x="689" y="601"/>
                </a:lnTo>
                <a:lnTo>
                  <a:pt x="703" y="597"/>
                </a:lnTo>
                <a:lnTo>
                  <a:pt x="717" y="591"/>
                </a:lnTo>
                <a:lnTo>
                  <a:pt x="730" y="585"/>
                </a:lnTo>
                <a:lnTo>
                  <a:pt x="743" y="579"/>
                </a:lnTo>
                <a:lnTo>
                  <a:pt x="755" y="571"/>
                </a:lnTo>
                <a:lnTo>
                  <a:pt x="767" y="563"/>
                </a:lnTo>
                <a:lnTo>
                  <a:pt x="779" y="555"/>
                </a:lnTo>
                <a:lnTo>
                  <a:pt x="791" y="545"/>
                </a:lnTo>
                <a:lnTo>
                  <a:pt x="801" y="536"/>
                </a:lnTo>
                <a:lnTo>
                  <a:pt x="812" y="526"/>
                </a:lnTo>
                <a:lnTo>
                  <a:pt x="823" y="515"/>
                </a:lnTo>
                <a:lnTo>
                  <a:pt x="831" y="505"/>
                </a:lnTo>
                <a:lnTo>
                  <a:pt x="841" y="493"/>
                </a:lnTo>
                <a:lnTo>
                  <a:pt x="850" y="481"/>
                </a:lnTo>
                <a:lnTo>
                  <a:pt x="857" y="468"/>
                </a:lnTo>
                <a:lnTo>
                  <a:pt x="865" y="457"/>
                </a:lnTo>
                <a:lnTo>
                  <a:pt x="871" y="443"/>
                </a:lnTo>
                <a:lnTo>
                  <a:pt x="877" y="430"/>
                </a:lnTo>
                <a:lnTo>
                  <a:pt x="883" y="416"/>
                </a:lnTo>
                <a:lnTo>
                  <a:pt x="888" y="402"/>
                </a:lnTo>
                <a:lnTo>
                  <a:pt x="891" y="388"/>
                </a:lnTo>
                <a:lnTo>
                  <a:pt x="896" y="373"/>
                </a:lnTo>
                <a:lnTo>
                  <a:pt x="898" y="359"/>
                </a:lnTo>
                <a:lnTo>
                  <a:pt x="900" y="344"/>
                </a:lnTo>
                <a:lnTo>
                  <a:pt x="901" y="329"/>
                </a:lnTo>
                <a:lnTo>
                  <a:pt x="901" y="313"/>
                </a:lnTo>
                <a:lnTo>
                  <a:pt x="901" y="298"/>
                </a:lnTo>
                <a:lnTo>
                  <a:pt x="900" y="282"/>
                </a:lnTo>
                <a:lnTo>
                  <a:pt x="898" y="267"/>
                </a:lnTo>
                <a:lnTo>
                  <a:pt x="896" y="252"/>
                </a:lnTo>
                <a:lnTo>
                  <a:pt x="891" y="237"/>
                </a:lnTo>
                <a:lnTo>
                  <a:pt x="887" y="222"/>
                </a:lnTo>
                <a:lnTo>
                  <a:pt x="883" y="208"/>
                </a:lnTo>
                <a:lnTo>
                  <a:pt x="877" y="194"/>
                </a:lnTo>
                <a:lnTo>
                  <a:pt x="871" y="181"/>
                </a:lnTo>
                <a:lnTo>
                  <a:pt x="863" y="167"/>
                </a:lnTo>
                <a:lnTo>
                  <a:pt x="857" y="154"/>
                </a:lnTo>
                <a:lnTo>
                  <a:pt x="849" y="141"/>
                </a:lnTo>
                <a:lnTo>
                  <a:pt x="840" y="128"/>
                </a:lnTo>
                <a:lnTo>
                  <a:pt x="831" y="116"/>
                </a:lnTo>
                <a:lnTo>
                  <a:pt x="822" y="105"/>
                </a:lnTo>
                <a:lnTo>
                  <a:pt x="811" y="94"/>
                </a:lnTo>
                <a:lnTo>
                  <a:pt x="800" y="83"/>
                </a:lnTo>
                <a:lnTo>
                  <a:pt x="790" y="73"/>
                </a:lnTo>
                <a:lnTo>
                  <a:pt x="778" y="64"/>
                </a:lnTo>
                <a:lnTo>
                  <a:pt x="766" y="55"/>
                </a:lnTo>
                <a:lnTo>
                  <a:pt x="754" y="47"/>
                </a:lnTo>
                <a:lnTo>
                  <a:pt x="742" y="39"/>
                </a:lnTo>
                <a:lnTo>
                  <a:pt x="729" y="32"/>
                </a:lnTo>
                <a:lnTo>
                  <a:pt x="716" y="25"/>
                </a:lnTo>
                <a:lnTo>
                  <a:pt x="702" y="19"/>
                </a:lnTo>
                <a:lnTo>
                  <a:pt x="688" y="15"/>
                </a:lnTo>
                <a:lnTo>
                  <a:pt x="674" y="10"/>
                </a:lnTo>
                <a:lnTo>
                  <a:pt x="660" y="6"/>
                </a:lnTo>
                <a:lnTo>
                  <a:pt x="645" y="4"/>
                </a:lnTo>
                <a:lnTo>
                  <a:pt x="631" y="2"/>
                </a:lnTo>
                <a:lnTo>
                  <a:pt x="616" y="0"/>
                </a:lnTo>
                <a:lnTo>
                  <a:pt x="601" y="0"/>
                </a:lnTo>
                <a:lnTo>
                  <a:pt x="601"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812" name="Group 109">
            <a:extLst>
              <a:ext uri="{FF2B5EF4-FFF2-40B4-BE49-F238E27FC236}">
                <a16:creationId xmlns:a16="http://schemas.microsoft.com/office/drawing/2014/main" id="{7E00AB9D-8194-432D-B1EA-6CA4DF5AA094}"/>
              </a:ext>
            </a:extLst>
          </p:cNvPr>
          <p:cNvGrpSpPr>
            <a:grpSpLocks noChangeAspect="1"/>
          </p:cNvGrpSpPr>
          <p:nvPr/>
        </p:nvGrpSpPr>
        <p:grpSpPr>
          <a:xfrm>
            <a:off x="7471899" y="5417577"/>
            <a:ext cx="285619" cy="285619"/>
            <a:chOff x="0" y="3556001"/>
            <a:chExt cx="692150" cy="692150"/>
          </a:xfrm>
          <a:solidFill>
            <a:schemeClr val="bg2"/>
          </a:solidFill>
          <a:effectLst/>
        </p:grpSpPr>
        <p:sp>
          <p:nvSpPr>
            <p:cNvPr id="813" name="Freeform 152">
              <a:extLst>
                <a:ext uri="{FF2B5EF4-FFF2-40B4-BE49-F238E27FC236}">
                  <a16:creationId xmlns:a16="http://schemas.microsoft.com/office/drawing/2014/main" id="{1FAE346E-133E-4F01-A576-6EAECC986B43}"/>
                </a:ext>
              </a:extLst>
            </p:cNvPr>
            <p:cNvSpPr>
              <a:spLocks noEditPoints="1"/>
            </p:cNvSpPr>
            <p:nvPr/>
          </p:nvSpPr>
          <p:spPr bwMode="auto">
            <a:xfrm>
              <a:off x="0" y="3556001"/>
              <a:ext cx="692150" cy="692150"/>
            </a:xfrm>
            <a:custGeom>
              <a:avLst/>
              <a:gdLst>
                <a:gd name="T0" fmla="*/ 557 w 1309"/>
                <a:gd name="T1" fmla="*/ 1155 h 1309"/>
                <a:gd name="T2" fmla="*/ 744 w 1309"/>
                <a:gd name="T3" fmla="*/ 1158 h 1309"/>
                <a:gd name="T4" fmla="*/ 926 w 1309"/>
                <a:gd name="T5" fmla="*/ 1092 h 1309"/>
                <a:gd name="T6" fmla="*/ 946 w 1309"/>
                <a:gd name="T7" fmla="*/ 1075 h 1309"/>
                <a:gd name="T8" fmla="*/ 1077 w 1309"/>
                <a:gd name="T9" fmla="*/ 941 h 1309"/>
                <a:gd name="T10" fmla="*/ 1158 w 1309"/>
                <a:gd name="T11" fmla="*/ 768 h 1309"/>
                <a:gd name="T12" fmla="*/ 1246 w 1309"/>
                <a:gd name="T13" fmla="*/ 654 h 1309"/>
                <a:gd name="T14" fmla="*/ 1159 w 1309"/>
                <a:gd name="T15" fmla="*/ 542 h 1309"/>
                <a:gd name="T16" fmla="*/ 1083 w 1309"/>
                <a:gd name="T17" fmla="*/ 373 h 1309"/>
                <a:gd name="T18" fmla="*/ 959 w 1309"/>
                <a:gd name="T19" fmla="*/ 237 h 1309"/>
                <a:gd name="T20" fmla="*/ 929 w 1309"/>
                <a:gd name="T21" fmla="*/ 221 h 1309"/>
                <a:gd name="T22" fmla="*/ 762 w 1309"/>
                <a:gd name="T23" fmla="*/ 153 h 1309"/>
                <a:gd name="T24" fmla="*/ 575 w 1309"/>
                <a:gd name="T25" fmla="*/ 143 h 1309"/>
                <a:gd name="T26" fmla="*/ 533 w 1309"/>
                <a:gd name="T27" fmla="*/ 152 h 1309"/>
                <a:gd name="T28" fmla="*/ 370 w 1309"/>
                <a:gd name="T29" fmla="*/ 228 h 1309"/>
                <a:gd name="T30" fmla="*/ 236 w 1309"/>
                <a:gd name="T31" fmla="*/ 350 h 1309"/>
                <a:gd name="T32" fmla="*/ 219 w 1309"/>
                <a:gd name="T33" fmla="*/ 384 h 1309"/>
                <a:gd name="T34" fmla="*/ 153 w 1309"/>
                <a:gd name="T35" fmla="*/ 555 h 1309"/>
                <a:gd name="T36" fmla="*/ 150 w 1309"/>
                <a:gd name="T37" fmla="*/ 743 h 1309"/>
                <a:gd name="T38" fmla="*/ 213 w 1309"/>
                <a:gd name="T39" fmla="*/ 919 h 1309"/>
                <a:gd name="T40" fmla="*/ 235 w 1309"/>
                <a:gd name="T41" fmla="*/ 948 h 1309"/>
                <a:gd name="T42" fmla="*/ 369 w 1309"/>
                <a:gd name="T43" fmla="*/ 1078 h 1309"/>
                <a:gd name="T44" fmla="*/ 428 w 1309"/>
                <a:gd name="T45" fmla="*/ 1201 h 1309"/>
                <a:gd name="T46" fmla="*/ 649 w 1309"/>
                <a:gd name="T47" fmla="*/ 1309 h 1309"/>
                <a:gd name="T48" fmla="*/ 423 w 1309"/>
                <a:gd name="T49" fmla="*/ 1259 h 1309"/>
                <a:gd name="T50" fmla="*/ 399 w 1309"/>
                <a:gd name="T51" fmla="*/ 1256 h 1309"/>
                <a:gd name="T52" fmla="*/ 210 w 1309"/>
                <a:gd name="T53" fmla="*/ 1125 h 1309"/>
                <a:gd name="T54" fmla="*/ 189 w 1309"/>
                <a:gd name="T55" fmla="*/ 1114 h 1309"/>
                <a:gd name="T56" fmla="*/ 60 w 1309"/>
                <a:gd name="T57" fmla="*/ 911 h 1309"/>
                <a:gd name="T58" fmla="*/ 45 w 1309"/>
                <a:gd name="T59" fmla="*/ 892 h 1309"/>
                <a:gd name="T60" fmla="*/ 7 w 1309"/>
                <a:gd name="T61" fmla="*/ 673 h 1309"/>
                <a:gd name="T62" fmla="*/ 0 w 1309"/>
                <a:gd name="T63" fmla="*/ 650 h 1309"/>
                <a:gd name="T64" fmla="*/ 48 w 1309"/>
                <a:gd name="T65" fmla="*/ 431 h 1309"/>
                <a:gd name="T66" fmla="*/ 50 w 1309"/>
                <a:gd name="T67" fmla="*/ 405 h 1309"/>
                <a:gd name="T68" fmla="*/ 184 w 1309"/>
                <a:gd name="T69" fmla="*/ 343 h 1309"/>
                <a:gd name="T70" fmla="*/ 189 w 1309"/>
                <a:gd name="T71" fmla="*/ 196 h 1309"/>
                <a:gd name="T72" fmla="*/ 210 w 1309"/>
                <a:gd name="T73" fmla="*/ 185 h 1309"/>
                <a:gd name="T74" fmla="*/ 399 w 1309"/>
                <a:gd name="T75" fmla="*/ 52 h 1309"/>
                <a:gd name="T76" fmla="*/ 423 w 1309"/>
                <a:gd name="T77" fmla="*/ 49 h 1309"/>
                <a:gd name="T78" fmla="*/ 649 w 1309"/>
                <a:gd name="T79" fmla="*/ 0 h 1309"/>
                <a:gd name="T80" fmla="*/ 672 w 1309"/>
                <a:gd name="T81" fmla="*/ 8 h 1309"/>
                <a:gd name="T82" fmla="*/ 901 w 1309"/>
                <a:gd name="T83" fmla="*/ 49 h 1309"/>
                <a:gd name="T84" fmla="*/ 920 w 1309"/>
                <a:gd name="T85" fmla="*/ 64 h 1309"/>
                <a:gd name="T86" fmla="*/ 1113 w 1309"/>
                <a:gd name="T87" fmla="*/ 189 h 1309"/>
                <a:gd name="T88" fmla="*/ 1125 w 1309"/>
                <a:gd name="T89" fmla="*/ 211 h 1309"/>
                <a:gd name="T90" fmla="*/ 1254 w 1309"/>
                <a:gd name="T91" fmla="*/ 401 h 1309"/>
                <a:gd name="T92" fmla="*/ 1264 w 1309"/>
                <a:gd name="T93" fmla="*/ 424 h 1309"/>
                <a:gd name="T94" fmla="*/ 1305 w 1309"/>
                <a:gd name="T95" fmla="*/ 640 h 1309"/>
                <a:gd name="T96" fmla="*/ 1308 w 1309"/>
                <a:gd name="T97" fmla="*/ 664 h 1309"/>
                <a:gd name="T98" fmla="*/ 1263 w 1309"/>
                <a:gd name="T99" fmla="*/ 885 h 1309"/>
                <a:gd name="T100" fmla="*/ 1257 w 1309"/>
                <a:gd name="T101" fmla="*/ 908 h 1309"/>
                <a:gd name="T102" fmla="*/ 1125 w 1309"/>
                <a:gd name="T103" fmla="*/ 1105 h 1309"/>
                <a:gd name="T104" fmla="*/ 1109 w 1309"/>
                <a:gd name="T105" fmla="*/ 1124 h 1309"/>
                <a:gd name="T106" fmla="*/ 917 w 1309"/>
                <a:gd name="T107" fmla="*/ 1250 h 1309"/>
                <a:gd name="T108" fmla="*/ 896 w 1309"/>
                <a:gd name="T109" fmla="*/ 1262 h 1309"/>
                <a:gd name="T110" fmla="*/ 670 w 1309"/>
                <a:gd name="T111" fmla="*/ 1305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9" h="1309">
                  <a:moveTo>
                    <a:pt x="547" y="1154"/>
                  </a:moveTo>
                  <a:lnTo>
                    <a:pt x="550" y="1154"/>
                  </a:lnTo>
                  <a:lnTo>
                    <a:pt x="552" y="1154"/>
                  </a:lnTo>
                  <a:lnTo>
                    <a:pt x="554" y="1155"/>
                  </a:lnTo>
                  <a:lnTo>
                    <a:pt x="557" y="1155"/>
                  </a:lnTo>
                  <a:lnTo>
                    <a:pt x="564" y="1158"/>
                  </a:lnTo>
                  <a:lnTo>
                    <a:pt x="570" y="1163"/>
                  </a:lnTo>
                  <a:lnTo>
                    <a:pt x="655" y="1246"/>
                  </a:lnTo>
                  <a:lnTo>
                    <a:pt x="739" y="1163"/>
                  </a:lnTo>
                  <a:lnTo>
                    <a:pt x="744" y="1158"/>
                  </a:lnTo>
                  <a:lnTo>
                    <a:pt x="752" y="1155"/>
                  </a:lnTo>
                  <a:lnTo>
                    <a:pt x="762" y="1154"/>
                  </a:lnTo>
                  <a:lnTo>
                    <a:pt x="772" y="1155"/>
                  </a:lnTo>
                  <a:lnTo>
                    <a:pt x="881" y="1201"/>
                  </a:lnTo>
                  <a:lnTo>
                    <a:pt x="926" y="1092"/>
                  </a:lnTo>
                  <a:lnTo>
                    <a:pt x="930" y="1085"/>
                  </a:lnTo>
                  <a:lnTo>
                    <a:pt x="936" y="1080"/>
                  </a:lnTo>
                  <a:lnTo>
                    <a:pt x="937" y="1079"/>
                  </a:lnTo>
                  <a:lnTo>
                    <a:pt x="939" y="1079"/>
                  </a:lnTo>
                  <a:lnTo>
                    <a:pt x="946" y="1075"/>
                  </a:lnTo>
                  <a:lnTo>
                    <a:pt x="955" y="1073"/>
                  </a:lnTo>
                  <a:lnTo>
                    <a:pt x="1073" y="1073"/>
                  </a:lnTo>
                  <a:lnTo>
                    <a:pt x="1073" y="955"/>
                  </a:lnTo>
                  <a:lnTo>
                    <a:pt x="1074" y="948"/>
                  </a:lnTo>
                  <a:lnTo>
                    <a:pt x="1077" y="941"/>
                  </a:lnTo>
                  <a:lnTo>
                    <a:pt x="1083" y="934"/>
                  </a:lnTo>
                  <a:lnTo>
                    <a:pt x="1089" y="926"/>
                  </a:lnTo>
                  <a:lnTo>
                    <a:pt x="1096" y="922"/>
                  </a:lnTo>
                  <a:lnTo>
                    <a:pt x="1204" y="876"/>
                  </a:lnTo>
                  <a:lnTo>
                    <a:pt x="1158" y="768"/>
                  </a:lnTo>
                  <a:lnTo>
                    <a:pt x="1156" y="761"/>
                  </a:lnTo>
                  <a:lnTo>
                    <a:pt x="1156" y="754"/>
                  </a:lnTo>
                  <a:lnTo>
                    <a:pt x="1159" y="745"/>
                  </a:lnTo>
                  <a:lnTo>
                    <a:pt x="1164" y="738"/>
                  </a:lnTo>
                  <a:lnTo>
                    <a:pt x="1246" y="654"/>
                  </a:lnTo>
                  <a:lnTo>
                    <a:pt x="1165" y="574"/>
                  </a:lnTo>
                  <a:lnTo>
                    <a:pt x="1159" y="566"/>
                  </a:lnTo>
                  <a:lnTo>
                    <a:pt x="1158" y="559"/>
                  </a:lnTo>
                  <a:lnTo>
                    <a:pt x="1156" y="551"/>
                  </a:lnTo>
                  <a:lnTo>
                    <a:pt x="1159" y="542"/>
                  </a:lnTo>
                  <a:lnTo>
                    <a:pt x="1204" y="437"/>
                  </a:lnTo>
                  <a:lnTo>
                    <a:pt x="1099" y="391"/>
                  </a:lnTo>
                  <a:lnTo>
                    <a:pt x="1093" y="386"/>
                  </a:lnTo>
                  <a:lnTo>
                    <a:pt x="1087" y="381"/>
                  </a:lnTo>
                  <a:lnTo>
                    <a:pt x="1083" y="373"/>
                  </a:lnTo>
                  <a:lnTo>
                    <a:pt x="1077" y="366"/>
                  </a:lnTo>
                  <a:lnTo>
                    <a:pt x="1074" y="359"/>
                  </a:lnTo>
                  <a:lnTo>
                    <a:pt x="1073" y="350"/>
                  </a:lnTo>
                  <a:lnTo>
                    <a:pt x="1073" y="237"/>
                  </a:lnTo>
                  <a:lnTo>
                    <a:pt x="959" y="237"/>
                  </a:lnTo>
                  <a:lnTo>
                    <a:pt x="952" y="235"/>
                  </a:lnTo>
                  <a:lnTo>
                    <a:pt x="945" y="232"/>
                  </a:lnTo>
                  <a:lnTo>
                    <a:pt x="939" y="228"/>
                  </a:lnTo>
                  <a:lnTo>
                    <a:pt x="935" y="225"/>
                  </a:lnTo>
                  <a:lnTo>
                    <a:pt x="929" y="221"/>
                  </a:lnTo>
                  <a:lnTo>
                    <a:pt x="926" y="214"/>
                  </a:lnTo>
                  <a:lnTo>
                    <a:pt x="881" y="108"/>
                  </a:lnTo>
                  <a:lnTo>
                    <a:pt x="776" y="152"/>
                  </a:lnTo>
                  <a:lnTo>
                    <a:pt x="769" y="153"/>
                  </a:lnTo>
                  <a:lnTo>
                    <a:pt x="762" y="153"/>
                  </a:lnTo>
                  <a:lnTo>
                    <a:pt x="750" y="150"/>
                  </a:lnTo>
                  <a:lnTo>
                    <a:pt x="742" y="149"/>
                  </a:lnTo>
                  <a:lnTo>
                    <a:pt x="734" y="143"/>
                  </a:lnTo>
                  <a:lnTo>
                    <a:pt x="655" y="64"/>
                  </a:lnTo>
                  <a:lnTo>
                    <a:pt x="575" y="143"/>
                  </a:lnTo>
                  <a:lnTo>
                    <a:pt x="567" y="149"/>
                  </a:lnTo>
                  <a:lnTo>
                    <a:pt x="560" y="150"/>
                  </a:lnTo>
                  <a:lnTo>
                    <a:pt x="549" y="153"/>
                  </a:lnTo>
                  <a:lnTo>
                    <a:pt x="540" y="153"/>
                  </a:lnTo>
                  <a:lnTo>
                    <a:pt x="533" y="152"/>
                  </a:lnTo>
                  <a:lnTo>
                    <a:pt x="428" y="108"/>
                  </a:lnTo>
                  <a:lnTo>
                    <a:pt x="384" y="214"/>
                  </a:lnTo>
                  <a:lnTo>
                    <a:pt x="380" y="221"/>
                  </a:lnTo>
                  <a:lnTo>
                    <a:pt x="374" y="225"/>
                  </a:lnTo>
                  <a:lnTo>
                    <a:pt x="370" y="228"/>
                  </a:lnTo>
                  <a:lnTo>
                    <a:pt x="366" y="232"/>
                  </a:lnTo>
                  <a:lnTo>
                    <a:pt x="359" y="235"/>
                  </a:lnTo>
                  <a:lnTo>
                    <a:pt x="350" y="237"/>
                  </a:lnTo>
                  <a:lnTo>
                    <a:pt x="236" y="237"/>
                  </a:lnTo>
                  <a:lnTo>
                    <a:pt x="236" y="350"/>
                  </a:lnTo>
                  <a:lnTo>
                    <a:pt x="235" y="359"/>
                  </a:lnTo>
                  <a:lnTo>
                    <a:pt x="232" y="366"/>
                  </a:lnTo>
                  <a:lnTo>
                    <a:pt x="228" y="372"/>
                  </a:lnTo>
                  <a:lnTo>
                    <a:pt x="225" y="376"/>
                  </a:lnTo>
                  <a:lnTo>
                    <a:pt x="219" y="384"/>
                  </a:lnTo>
                  <a:lnTo>
                    <a:pt x="212" y="389"/>
                  </a:lnTo>
                  <a:lnTo>
                    <a:pt x="105" y="434"/>
                  </a:lnTo>
                  <a:lnTo>
                    <a:pt x="151" y="540"/>
                  </a:lnTo>
                  <a:lnTo>
                    <a:pt x="153" y="548"/>
                  </a:lnTo>
                  <a:lnTo>
                    <a:pt x="153" y="555"/>
                  </a:lnTo>
                  <a:lnTo>
                    <a:pt x="150" y="565"/>
                  </a:lnTo>
                  <a:lnTo>
                    <a:pt x="145" y="574"/>
                  </a:lnTo>
                  <a:lnTo>
                    <a:pt x="63" y="654"/>
                  </a:lnTo>
                  <a:lnTo>
                    <a:pt x="145" y="738"/>
                  </a:lnTo>
                  <a:lnTo>
                    <a:pt x="150" y="743"/>
                  </a:lnTo>
                  <a:lnTo>
                    <a:pt x="153" y="751"/>
                  </a:lnTo>
                  <a:lnTo>
                    <a:pt x="153" y="759"/>
                  </a:lnTo>
                  <a:lnTo>
                    <a:pt x="151" y="767"/>
                  </a:lnTo>
                  <a:lnTo>
                    <a:pt x="105" y="873"/>
                  </a:lnTo>
                  <a:lnTo>
                    <a:pt x="213" y="919"/>
                  </a:lnTo>
                  <a:lnTo>
                    <a:pt x="219" y="923"/>
                  </a:lnTo>
                  <a:lnTo>
                    <a:pt x="225" y="929"/>
                  </a:lnTo>
                  <a:lnTo>
                    <a:pt x="229" y="936"/>
                  </a:lnTo>
                  <a:lnTo>
                    <a:pt x="232" y="941"/>
                  </a:lnTo>
                  <a:lnTo>
                    <a:pt x="235" y="948"/>
                  </a:lnTo>
                  <a:lnTo>
                    <a:pt x="236" y="955"/>
                  </a:lnTo>
                  <a:lnTo>
                    <a:pt x="236" y="1073"/>
                  </a:lnTo>
                  <a:lnTo>
                    <a:pt x="354" y="1073"/>
                  </a:lnTo>
                  <a:lnTo>
                    <a:pt x="361" y="1075"/>
                  </a:lnTo>
                  <a:lnTo>
                    <a:pt x="369" y="1078"/>
                  </a:lnTo>
                  <a:lnTo>
                    <a:pt x="370" y="1079"/>
                  </a:lnTo>
                  <a:lnTo>
                    <a:pt x="373" y="1080"/>
                  </a:lnTo>
                  <a:lnTo>
                    <a:pt x="379" y="1085"/>
                  </a:lnTo>
                  <a:lnTo>
                    <a:pt x="383" y="1092"/>
                  </a:lnTo>
                  <a:lnTo>
                    <a:pt x="428" y="1201"/>
                  </a:lnTo>
                  <a:lnTo>
                    <a:pt x="537" y="1155"/>
                  </a:lnTo>
                  <a:lnTo>
                    <a:pt x="541" y="1154"/>
                  </a:lnTo>
                  <a:lnTo>
                    <a:pt x="547" y="1154"/>
                  </a:lnTo>
                  <a:close/>
                  <a:moveTo>
                    <a:pt x="655" y="1309"/>
                  </a:moveTo>
                  <a:lnTo>
                    <a:pt x="649" y="1309"/>
                  </a:lnTo>
                  <a:lnTo>
                    <a:pt x="645" y="1308"/>
                  </a:lnTo>
                  <a:lnTo>
                    <a:pt x="641" y="1305"/>
                  </a:lnTo>
                  <a:lnTo>
                    <a:pt x="636" y="1302"/>
                  </a:lnTo>
                  <a:lnTo>
                    <a:pt x="544" y="1210"/>
                  </a:lnTo>
                  <a:lnTo>
                    <a:pt x="423" y="1259"/>
                  </a:lnTo>
                  <a:lnTo>
                    <a:pt x="419" y="1260"/>
                  </a:lnTo>
                  <a:lnTo>
                    <a:pt x="413" y="1262"/>
                  </a:lnTo>
                  <a:lnTo>
                    <a:pt x="409" y="1260"/>
                  </a:lnTo>
                  <a:lnTo>
                    <a:pt x="403" y="1259"/>
                  </a:lnTo>
                  <a:lnTo>
                    <a:pt x="399" y="1256"/>
                  </a:lnTo>
                  <a:lnTo>
                    <a:pt x="395" y="1253"/>
                  </a:lnTo>
                  <a:lnTo>
                    <a:pt x="392" y="1249"/>
                  </a:lnTo>
                  <a:lnTo>
                    <a:pt x="389" y="1245"/>
                  </a:lnTo>
                  <a:lnTo>
                    <a:pt x="340" y="1125"/>
                  </a:lnTo>
                  <a:lnTo>
                    <a:pt x="210" y="1125"/>
                  </a:lnTo>
                  <a:lnTo>
                    <a:pt x="204" y="1125"/>
                  </a:lnTo>
                  <a:lnTo>
                    <a:pt x="200" y="1124"/>
                  </a:lnTo>
                  <a:lnTo>
                    <a:pt x="196" y="1121"/>
                  </a:lnTo>
                  <a:lnTo>
                    <a:pt x="192" y="1118"/>
                  </a:lnTo>
                  <a:lnTo>
                    <a:pt x="189" y="1114"/>
                  </a:lnTo>
                  <a:lnTo>
                    <a:pt x="186" y="1109"/>
                  </a:lnTo>
                  <a:lnTo>
                    <a:pt x="184" y="1105"/>
                  </a:lnTo>
                  <a:lnTo>
                    <a:pt x="184" y="1099"/>
                  </a:lnTo>
                  <a:lnTo>
                    <a:pt x="184" y="964"/>
                  </a:lnTo>
                  <a:lnTo>
                    <a:pt x="60" y="911"/>
                  </a:lnTo>
                  <a:lnTo>
                    <a:pt x="56" y="908"/>
                  </a:lnTo>
                  <a:lnTo>
                    <a:pt x="52" y="905"/>
                  </a:lnTo>
                  <a:lnTo>
                    <a:pt x="49" y="900"/>
                  </a:lnTo>
                  <a:lnTo>
                    <a:pt x="46" y="896"/>
                  </a:lnTo>
                  <a:lnTo>
                    <a:pt x="45" y="892"/>
                  </a:lnTo>
                  <a:lnTo>
                    <a:pt x="45" y="886"/>
                  </a:lnTo>
                  <a:lnTo>
                    <a:pt x="45" y="882"/>
                  </a:lnTo>
                  <a:lnTo>
                    <a:pt x="46" y="876"/>
                  </a:lnTo>
                  <a:lnTo>
                    <a:pt x="96" y="762"/>
                  </a:lnTo>
                  <a:lnTo>
                    <a:pt x="7" y="673"/>
                  </a:lnTo>
                  <a:lnTo>
                    <a:pt x="4" y="669"/>
                  </a:lnTo>
                  <a:lnTo>
                    <a:pt x="1" y="664"/>
                  </a:lnTo>
                  <a:lnTo>
                    <a:pt x="0" y="660"/>
                  </a:lnTo>
                  <a:lnTo>
                    <a:pt x="0" y="654"/>
                  </a:lnTo>
                  <a:lnTo>
                    <a:pt x="0" y="650"/>
                  </a:lnTo>
                  <a:lnTo>
                    <a:pt x="1" y="646"/>
                  </a:lnTo>
                  <a:lnTo>
                    <a:pt x="4" y="640"/>
                  </a:lnTo>
                  <a:lnTo>
                    <a:pt x="7" y="637"/>
                  </a:lnTo>
                  <a:lnTo>
                    <a:pt x="96" y="546"/>
                  </a:lnTo>
                  <a:lnTo>
                    <a:pt x="48" y="431"/>
                  </a:lnTo>
                  <a:lnTo>
                    <a:pt x="46" y="425"/>
                  </a:lnTo>
                  <a:lnTo>
                    <a:pt x="46" y="421"/>
                  </a:lnTo>
                  <a:lnTo>
                    <a:pt x="46" y="415"/>
                  </a:lnTo>
                  <a:lnTo>
                    <a:pt x="48" y="411"/>
                  </a:lnTo>
                  <a:lnTo>
                    <a:pt x="50" y="405"/>
                  </a:lnTo>
                  <a:lnTo>
                    <a:pt x="53" y="402"/>
                  </a:lnTo>
                  <a:lnTo>
                    <a:pt x="56" y="398"/>
                  </a:lnTo>
                  <a:lnTo>
                    <a:pt x="62" y="396"/>
                  </a:lnTo>
                  <a:lnTo>
                    <a:pt x="183" y="345"/>
                  </a:lnTo>
                  <a:lnTo>
                    <a:pt x="184" y="343"/>
                  </a:lnTo>
                  <a:lnTo>
                    <a:pt x="184" y="343"/>
                  </a:lnTo>
                  <a:lnTo>
                    <a:pt x="184" y="211"/>
                  </a:lnTo>
                  <a:lnTo>
                    <a:pt x="184" y="205"/>
                  </a:lnTo>
                  <a:lnTo>
                    <a:pt x="186" y="201"/>
                  </a:lnTo>
                  <a:lnTo>
                    <a:pt x="189" y="196"/>
                  </a:lnTo>
                  <a:lnTo>
                    <a:pt x="192" y="192"/>
                  </a:lnTo>
                  <a:lnTo>
                    <a:pt x="196" y="189"/>
                  </a:lnTo>
                  <a:lnTo>
                    <a:pt x="200" y="186"/>
                  </a:lnTo>
                  <a:lnTo>
                    <a:pt x="204" y="185"/>
                  </a:lnTo>
                  <a:lnTo>
                    <a:pt x="210" y="185"/>
                  </a:lnTo>
                  <a:lnTo>
                    <a:pt x="340" y="185"/>
                  </a:lnTo>
                  <a:lnTo>
                    <a:pt x="390" y="64"/>
                  </a:lnTo>
                  <a:lnTo>
                    <a:pt x="392" y="60"/>
                  </a:lnTo>
                  <a:lnTo>
                    <a:pt x="396" y="55"/>
                  </a:lnTo>
                  <a:lnTo>
                    <a:pt x="399" y="52"/>
                  </a:lnTo>
                  <a:lnTo>
                    <a:pt x="403" y="49"/>
                  </a:lnTo>
                  <a:lnTo>
                    <a:pt x="409" y="48"/>
                  </a:lnTo>
                  <a:lnTo>
                    <a:pt x="413" y="48"/>
                  </a:lnTo>
                  <a:lnTo>
                    <a:pt x="419" y="48"/>
                  </a:lnTo>
                  <a:lnTo>
                    <a:pt x="423" y="49"/>
                  </a:lnTo>
                  <a:lnTo>
                    <a:pt x="544" y="100"/>
                  </a:lnTo>
                  <a:lnTo>
                    <a:pt x="636" y="8"/>
                  </a:lnTo>
                  <a:lnTo>
                    <a:pt x="641" y="5"/>
                  </a:lnTo>
                  <a:lnTo>
                    <a:pt x="645" y="2"/>
                  </a:lnTo>
                  <a:lnTo>
                    <a:pt x="649" y="0"/>
                  </a:lnTo>
                  <a:lnTo>
                    <a:pt x="655" y="0"/>
                  </a:lnTo>
                  <a:lnTo>
                    <a:pt x="660" y="0"/>
                  </a:lnTo>
                  <a:lnTo>
                    <a:pt x="664" y="2"/>
                  </a:lnTo>
                  <a:lnTo>
                    <a:pt x="670" y="5"/>
                  </a:lnTo>
                  <a:lnTo>
                    <a:pt x="672" y="8"/>
                  </a:lnTo>
                  <a:lnTo>
                    <a:pt x="766" y="100"/>
                  </a:lnTo>
                  <a:lnTo>
                    <a:pt x="886" y="51"/>
                  </a:lnTo>
                  <a:lnTo>
                    <a:pt x="891" y="48"/>
                  </a:lnTo>
                  <a:lnTo>
                    <a:pt x="896" y="48"/>
                  </a:lnTo>
                  <a:lnTo>
                    <a:pt x="901" y="49"/>
                  </a:lnTo>
                  <a:lnTo>
                    <a:pt x="906" y="51"/>
                  </a:lnTo>
                  <a:lnTo>
                    <a:pt x="910" y="52"/>
                  </a:lnTo>
                  <a:lnTo>
                    <a:pt x="914" y="55"/>
                  </a:lnTo>
                  <a:lnTo>
                    <a:pt x="917" y="60"/>
                  </a:lnTo>
                  <a:lnTo>
                    <a:pt x="920" y="64"/>
                  </a:lnTo>
                  <a:lnTo>
                    <a:pt x="969" y="185"/>
                  </a:lnTo>
                  <a:lnTo>
                    <a:pt x="1099" y="185"/>
                  </a:lnTo>
                  <a:lnTo>
                    <a:pt x="1104" y="185"/>
                  </a:lnTo>
                  <a:lnTo>
                    <a:pt x="1109" y="186"/>
                  </a:lnTo>
                  <a:lnTo>
                    <a:pt x="1113" y="189"/>
                  </a:lnTo>
                  <a:lnTo>
                    <a:pt x="1117" y="192"/>
                  </a:lnTo>
                  <a:lnTo>
                    <a:pt x="1120" y="196"/>
                  </a:lnTo>
                  <a:lnTo>
                    <a:pt x="1123" y="201"/>
                  </a:lnTo>
                  <a:lnTo>
                    <a:pt x="1125" y="205"/>
                  </a:lnTo>
                  <a:lnTo>
                    <a:pt x="1125" y="211"/>
                  </a:lnTo>
                  <a:lnTo>
                    <a:pt x="1125" y="343"/>
                  </a:lnTo>
                  <a:lnTo>
                    <a:pt x="1126" y="345"/>
                  </a:lnTo>
                  <a:lnTo>
                    <a:pt x="1128" y="346"/>
                  </a:lnTo>
                  <a:lnTo>
                    <a:pt x="1248" y="399"/>
                  </a:lnTo>
                  <a:lnTo>
                    <a:pt x="1254" y="401"/>
                  </a:lnTo>
                  <a:lnTo>
                    <a:pt x="1257" y="405"/>
                  </a:lnTo>
                  <a:lnTo>
                    <a:pt x="1261" y="408"/>
                  </a:lnTo>
                  <a:lnTo>
                    <a:pt x="1263" y="414"/>
                  </a:lnTo>
                  <a:lnTo>
                    <a:pt x="1264" y="418"/>
                  </a:lnTo>
                  <a:lnTo>
                    <a:pt x="1264" y="424"/>
                  </a:lnTo>
                  <a:lnTo>
                    <a:pt x="1264" y="428"/>
                  </a:lnTo>
                  <a:lnTo>
                    <a:pt x="1263" y="432"/>
                  </a:lnTo>
                  <a:lnTo>
                    <a:pt x="1214" y="548"/>
                  </a:lnTo>
                  <a:lnTo>
                    <a:pt x="1302" y="637"/>
                  </a:lnTo>
                  <a:lnTo>
                    <a:pt x="1305" y="640"/>
                  </a:lnTo>
                  <a:lnTo>
                    <a:pt x="1308" y="646"/>
                  </a:lnTo>
                  <a:lnTo>
                    <a:pt x="1309" y="650"/>
                  </a:lnTo>
                  <a:lnTo>
                    <a:pt x="1309" y="654"/>
                  </a:lnTo>
                  <a:lnTo>
                    <a:pt x="1309" y="660"/>
                  </a:lnTo>
                  <a:lnTo>
                    <a:pt x="1308" y="664"/>
                  </a:lnTo>
                  <a:lnTo>
                    <a:pt x="1305" y="669"/>
                  </a:lnTo>
                  <a:lnTo>
                    <a:pt x="1302" y="673"/>
                  </a:lnTo>
                  <a:lnTo>
                    <a:pt x="1212" y="762"/>
                  </a:lnTo>
                  <a:lnTo>
                    <a:pt x="1261" y="879"/>
                  </a:lnTo>
                  <a:lnTo>
                    <a:pt x="1263" y="885"/>
                  </a:lnTo>
                  <a:lnTo>
                    <a:pt x="1264" y="889"/>
                  </a:lnTo>
                  <a:lnTo>
                    <a:pt x="1263" y="895"/>
                  </a:lnTo>
                  <a:lnTo>
                    <a:pt x="1261" y="899"/>
                  </a:lnTo>
                  <a:lnTo>
                    <a:pt x="1260" y="903"/>
                  </a:lnTo>
                  <a:lnTo>
                    <a:pt x="1257" y="908"/>
                  </a:lnTo>
                  <a:lnTo>
                    <a:pt x="1253" y="911"/>
                  </a:lnTo>
                  <a:lnTo>
                    <a:pt x="1248" y="913"/>
                  </a:lnTo>
                  <a:lnTo>
                    <a:pt x="1125" y="965"/>
                  </a:lnTo>
                  <a:lnTo>
                    <a:pt x="1125" y="1099"/>
                  </a:lnTo>
                  <a:lnTo>
                    <a:pt x="1125" y="1105"/>
                  </a:lnTo>
                  <a:lnTo>
                    <a:pt x="1123" y="1109"/>
                  </a:lnTo>
                  <a:lnTo>
                    <a:pt x="1120" y="1114"/>
                  </a:lnTo>
                  <a:lnTo>
                    <a:pt x="1117" y="1118"/>
                  </a:lnTo>
                  <a:lnTo>
                    <a:pt x="1113" y="1121"/>
                  </a:lnTo>
                  <a:lnTo>
                    <a:pt x="1109" y="1124"/>
                  </a:lnTo>
                  <a:lnTo>
                    <a:pt x="1104" y="1125"/>
                  </a:lnTo>
                  <a:lnTo>
                    <a:pt x="1099" y="1125"/>
                  </a:lnTo>
                  <a:lnTo>
                    <a:pt x="969" y="1125"/>
                  </a:lnTo>
                  <a:lnTo>
                    <a:pt x="920" y="1245"/>
                  </a:lnTo>
                  <a:lnTo>
                    <a:pt x="917" y="1250"/>
                  </a:lnTo>
                  <a:lnTo>
                    <a:pt x="914" y="1253"/>
                  </a:lnTo>
                  <a:lnTo>
                    <a:pt x="910" y="1258"/>
                  </a:lnTo>
                  <a:lnTo>
                    <a:pt x="906" y="1259"/>
                  </a:lnTo>
                  <a:lnTo>
                    <a:pt x="900" y="1260"/>
                  </a:lnTo>
                  <a:lnTo>
                    <a:pt x="896" y="1262"/>
                  </a:lnTo>
                  <a:lnTo>
                    <a:pt x="890" y="1260"/>
                  </a:lnTo>
                  <a:lnTo>
                    <a:pt x="886" y="1259"/>
                  </a:lnTo>
                  <a:lnTo>
                    <a:pt x="765" y="1210"/>
                  </a:lnTo>
                  <a:lnTo>
                    <a:pt x="672" y="1302"/>
                  </a:lnTo>
                  <a:lnTo>
                    <a:pt x="670" y="1305"/>
                  </a:lnTo>
                  <a:lnTo>
                    <a:pt x="664" y="1308"/>
                  </a:lnTo>
                  <a:lnTo>
                    <a:pt x="660" y="1309"/>
                  </a:lnTo>
                  <a:lnTo>
                    <a:pt x="655" y="1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53">
              <a:extLst>
                <a:ext uri="{FF2B5EF4-FFF2-40B4-BE49-F238E27FC236}">
                  <a16:creationId xmlns:a16="http://schemas.microsoft.com/office/drawing/2014/main" id="{683CFF44-D051-422F-BA15-38A5D572C6E8}"/>
                </a:ext>
              </a:extLst>
            </p:cNvPr>
            <p:cNvSpPr>
              <a:spLocks noEditPoints="1"/>
            </p:cNvSpPr>
            <p:nvPr/>
          </p:nvSpPr>
          <p:spPr bwMode="auto">
            <a:xfrm>
              <a:off x="111125" y="3665538"/>
              <a:ext cx="471488" cy="471488"/>
            </a:xfrm>
            <a:custGeom>
              <a:avLst/>
              <a:gdLst>
                <a:gd name="T0" fmla="*/ 367 w 891"/>
                <a:gd name="T1" fmla="*/ 60 h 891"/>
                <a:gd name="T2" fmla="*/ 275 w 891"/>
                <a:gd name="T3" fmla="*/ 91 h 891"/>
                <a:gd name="T4" fmla="*/ 196 w 891"/>
                <a:gd name="T5" fmla="*/ 142 h 891"/>
                <a:gd name="T6" fmla="*/ 131 w 891"/>
                <a:gd name="T7" fmla="*/ 210 h 891"/>
                <a:gd name="T8" fmla="*/ 83 w 891"/>
                <a:gd name="T9" fmla="*/ 292 h 891"/>
                <a:gd name="T10" fmla="*/ 56 w 891"/>
                <a:gd name="T11" fmla="*/ 386 h 891"/>
                <a:gd name="T12" fmla="*/ 55 w 891"/>
                <a:gd name="T13" fmla="*/ 485 h 891"/>
                <a:gd name="T14" fmla="*/ 76 w 891"/>
                <a:gd name="T15" fmla="*/ 580 h 891"/>
                <a:gd name="T16" fmla="*/ 119 w 891"/>
                <a:gd name="T17" fmla="*/ 665 h 891"/>
                <a:gd name="T18" fmla="*/ 181 w 891"/>
                <a:gd name="T19" fmla="*/ 737 h 891"/>
                <a:gd name="T20" fmla="*/ 258 w 891"/>
                <a:gd name="T21" fmla="*/ 792 h 891"/>
                <a:gd name="T22" fmla="*/ 347 w 891"/>
                <a:gd name="T23" fmla="*/ 826 h 891"/>
                <a:gd name="T24" fmla="*/ 446 w 891"/>
                <a:gd name="T25" fmla="*/ 839 h 891"/>
                <a:gd name="T26" fmla="*/ 544 w 891"/>
                <a:gd name="T27" fmla="*/ 826 h 891"/>
                <a:gd name="T28" fmla="*/ 633 w 891"/>
                <a:gd name="T29" fmla="*/ 792 h 891"/>
                <a:gd name="T30" fmla="*/ 710 w 891"/>
                <a:gd name="T31" fmla="*/ 737 h 891"/>
                <a:gd name="T32" fmla="*/ 772 w 891"/>
                <a:gd name="T33" fmla="*/ 665 h 891"/>
                <a:gd name="T34" fmla="*/ 815 w 891"/>
                <a:gd name="T35" fmla="*/ 580 h 891"/>
                <a:gd name="T36" fmla="*/ 838 w 891"/>
                <a:gd name="T37" fmla="*/ 485 h 891"/>
                <a:gd name="T38" fmla="*/ 835 w 891"/>
                <a:gd name="T39" fmla="*/ 386 h 891"/>
                <a:gd name="T40" fmla="*/ 808 w 891"/>
                <a:gd name="T41" fmla="*/ 292 h 891"/>
                <a:gd name="T42" fmla="*/ 762 w 891"/>
                <a:gd name="T43" fmla="*/ 210 h 891"/>
                <a:gd name="T44" fmla="*/ 695 w 891"/>
                <a:gd name="T45" fmla="*/ 142 h 891"/>
                <a:gd name="T46" fmla="*/ 616 w 891"/>
                <a:gd name="T47" fmla="*/ 91 h 891"/>
                <a:gd name="T48" fmla="*/ 525 w 891"/>
                <a:gd name="T49" fmla="*/ 60 h 891"/>
                <a:gd name="T50" fmla="*/ 446 w 891"/>
                <a:gd name="T51" fmla="*/ 891 h 891"/>
                <a:gd name="T52" fmla="*/ 334 w 891"/>
                <a:gd name="T53" fmla="*/ 877 h 891"/>
                <a:gd name="T54" fmla="*/ 233 w 891"/>
                <a:gd name="T55" fmla="*/ 838 h 891"/>
                <a:gd name="T56" fmla="*/ 147 w 891"/>
                <a:gd name="T57" fmla="*/ 775 h 891"/>
                <a:gd name="T58" fmla="*/ 76 w 891"/>
                <a:gd name="T59" fmla="*/ 694 h 891"/>
                <a:gd name="T60" fmla="*/ 27 w 891"/>
                <a:gd name="T61" fmla="*/ 599 h 891"/>
                <a:gd name="T62" fmla="*/ 3 w 891"/>
                <a:gd name="T63" fmla="*/ 491 h 891"/>
                <a:gd name="T64" fmla="*/ 6 w 891"/>
                <a:gd name="T65" fmla="*/ 377 h 891"/>
                <a:gd name="T66" fmla="*/ 34 w 891"/>
                <a:gd name="T67" fmla="*/ 272 h 891"/>
                <a:gd name="T68" fmla="*/ 89 w 891"/>
                <a:gd name="T69" fmla="*/ 178 h 891"/>
                <a:gd name="T70" fmla="*/ 163 w 891"/>
                <a:gd name="T71" fmla="*/ 102 h 891"/>
                <a:gd name="T72" fmla="*/ 253 w 891"/>
                <a:gd name="T73" fmla="*/ 43 h 891"/>
                <a:gd name="T74" fmla="*/ 355 w 891"/>
                <a:gd name="T75" fmla="*/ 8 h 891"/>
                <a:gd name="T76" fmla="*/ 469 w 891"/>
                <a:gd name="T77" fmla="*/ 0 h 891"/>
                <a:gd name="T78" fmla="*/ 579 w 891"/>
                <a:gd name="T79" fmla="*/ 20 h 891"/>
                <a:gd name="T80" fmla="*/ 677 w 891"/>
                <a:gd name="T81" fmla="*/ 65 h 891"/>
                <a:gd name="T82" fmla="*/ 760 w 891"/>
                <a:gd name="T83" fmla="*/ 131 h 891"/>
                <a:gd name="T84" fmla="*/ 826 w 891"/>
                <a:gd name="T85" fmla="*/ 214 h 891"/>
                <a:gd name="T86" fmla="*/ 871 w 891"/>
                <a:gd name="T87" fmla="*/ 312 h 891"/>
                <a:gd name="T88" fmla="*/ 891 w 891"/>
                <a:gd name="T89" fmla="*/ 422 h 891"/>
                <a:gd name="T90" fmla="*/ 883 w 891"/>
                <a:gd name="T91" fmla="*/ 535 h 891"/>
                <a:gd name="T92" fmla="*/ 848 w 891"/>
                <a:gd name="T93" fmla="*/ 638 h 891"/>
                <a:gd name="T94" fmla="*/ 789 w 891"/>
                <a:gd name="T95" fmla="*/ 728 h 891"/>
                <a:gd name="T96" fmla="*/ 713 w 891"/>
                <a:gd name="T97" fmla="*/ 802 h 891"/>
                <a:gd name="T98" fmla="*/ 619 w 891"/>
                <a:gd name="T99" fmla="*/ 857 h 891"/>
                <a:gd name="T100" fmla="*/ 514 w 891"/>
                <a:gd name="T101" fmla="*/ 88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1" h="891">
                  <a:moveTo>
                    <a:pt x="446" y="52"/>
                  </a:moveTo>
                  <a:lnTo>
                    <a:pt x="426" y="52"/>
                  </a:lnTo>
                  <a:lnTo>
                    <a:pt x="406" y="55"/>
                  </a:lnTo>
                  <a:lnTo>
                    <a:pt x="386" y="56"/>
                  </a:lnTo>
                  <a:lnTo>
                    <a:pt x="367" y="60"/>
                  </a:lnTo>
                  <a:lnTo>
                    <a:pt x="347" y="65"/>
                  </a:lnTo>
                  <a:lnTo>
                    <a:pt x="328" y="69"/>
                  </a:lnTo>
                  <a:lnTo>
                    <a:pt x="311" y="76"/>
                  </a:lnTo>
                  <a:lnTo>
                    <a:pt x="292" y="83"/>
                  </a:lnTo>
                  <a:lnTo>
                    <a:pt x="275" y="91"/>
                  </a:lnTo>
                  <a:lnTo>
                    <a:pt x="258" y="99"/>
                  </a:lnTo>
                  <a:lnTo>
                    <a:pt x="242" y="109"/>
                  </a:lnTo>
                  <a:lnTo>
                    <a:pt x="226" y="119"/>
                  </a:lnTo>
                  <a:lnTo>
                    <a:pt x="210" y="129"/>
                  </a:lnTo>
                  <a:lnTo>
                    <a:pt x="196" y="142"/>
                  </a:lnTo>
                  <a:lnTo>
                    <a:pt x="181" y="154"/>
                  </a:lnTo>
                  <a:lnTo>
                    <a:pt x="167" y="167"/>
                  </a:lnTo>
                  <a:lnTo>
                    <a:pt x="154" y="181"/>
                  </a:lnTo>
                  <a:lnTo>
                    <a:pt x="142" y="196"/>
                  </a:lnTo>
                  <a:lnTo>
                    <a:pt x="131" y="210"/>
                  </a:lnTo>
                  <a:lnTo>
                    <a:pt x="119" y="226"/>
                  </a:lnTo>
                  <a:lnTo>
                    <a:pt x="109" y="242"/>
                  </a:lnTo>
                  <a:lnTo>
                    <a:pt x="99" y="258"/>
                  </a:lnTo>
                  <a:lnTo>
                    <a:pt x="91" y="275"/>
                  </a:lnTo>
                  <a:lnTo>
                    <a:pt x="83" y="292"/>
                  </a:lnTo>
                  <a:lnTo>
                    <a:pt x="76" y="311"/>
                  </a:lnTo>
                  <a:lnTo>
                    <a:pt x="70" y="328"/>
                  </a:lnTo>
                  <a:lnTo>
                    <a:pt x="65" y="347"/>
                  </a:lnTo>
                  <a:lnTo>
                    <a:pt x="60" y="366"/>
                  </a:lnTo>
                  <a:lnTo>
                    <a:pt x="56" y="386"/>
                  </a:lnTo>
                  <a:lnTo>
                    <a:pt x="55" y="404"/>
                  </a:lnTo>
                  <a:lnTo>
                    <a:pt x="53" y="425"/>
                  </a:lnTo>
                  <a:lnTo>
                    <a:pt x="52" y="445"/>
                  </a:lnTo>
                  <a:lnTo>
                    <a:pt x="53" y="465"/>
                  </a:lnTo>
                  <a:lnTo>
                    <a:pt x="55" y="485"/>
                  </a:lnTo>
                  <a:lnTo>
                    <a:pt x="56" y="505"/>
                  </a:lnTo>
                  <a:lnTo>
                    <a:pt x="60" y="524"/>
                  </a:lnTo>
                  <a:lnTo>
                    <a:pt x="65" y="544"/>
                  </a:lnTo>
                  <a:lnTo>
                    <a:pt x="70" y="563"/>
                  </a:lnTo>
                  <a:lnTo>
                    <a:pt x="76" y="580"/>
                  </a:lnTo>
                  <a:lnTo>
                    <a:pt x="83" y="599"/>
                  </a:lnTo>
                  <a:lnTo>
                    <a:pt x="91" y="616"/>
                  </a:lnTo>
                  <a:lnTo>
                    <a:pt x="99" y="633"/>
                  </a:lnTo>
                  <a:lnTo>
                    <a:pt x="109" y="649"/>
                  </a:lnTo>
                  <a:lnTo>
                    <a:pt x="119" y="665"/>
                  </a:lnTo>
                  <a:lnTo>
                    <a:pt x="131" y="681"/>
                  </a:lnTo>
                  <a:lnTo>
                    <a:pt x="142" y="695"/>
                  </a:lnTo>
                  <a:lnTo>
                    <a:pt x="154" y="710"/>
                  </a:lnTo>
                  <a:lnTo>
                    <a:pt x="167" y="724"/>
                  </a:lnTo>
                  <a:lnTo>
                    <a:pt x="181" y="737"/>
                  </a:lnTo>
                  <a:lnTo>
                    <a:pt x="196" y="749"/>
                  </a:lnTo>
                  <a:lnTo>
                    <a:pt x="210" y="760"/>
                  </a:lnTo>
                  <a:lnTo>
                    <a:pt x="226" y="772"/>
                  </a:lnTo>
                  <a:lnTo>
                    <a:pt x="242" y="782"/>
                  </a:lnTo>
                  <a:lnTo>
                    <a:pt x="258" y="792"/>
                  </a:lnTo>
                  <a:lnTo>
                    <a:pt x="275" y="800"/>
                  </a:lnTo>
                  <a:lnTo>
                    <a:pt x="292" y="808"/>
                  </a:lnTo>
                  <a:lnTo>
                    <a:pt x="311" y="815"/>
                  </a:lnTo>
                  <a:lnTo>
                    <a:pt x="328" y="821"/>
                  </a:lnTo>
                  <a:lnTo>
                    <a:pt x="347" y="826"/>
                  </a:lnTo>
                  <a:lnTo>
                    <a:pt x="367" y="831"/>
                  </a:lnTo>
                  <a:lnTo>
                    <a:pt x="386" y="835"/>
                  </a:lnTo>
                  <a:lnTo>
                    <a:pt x="406" y="836"/>
                  </a:lnTo>
                  <a:lnTo>
                    <a:pt x="426" y="838"/>
                  </a:lnTo>
                  <a:lnTo>
                    <a:pt x="446" y="839"/>
                  </a:lnTo>
                  <a:lnTo>
                    <a:pt x="466" y="838"/>
                  </a:lnTo>
                  <a:lnTo>
                    <a:pt x="487" y="836"/>
                  </a:lnTo>
                  <a:lnTo>
                    <a:pt x="505" y="835"/>
                  </a:lnTo>
                  <a:lnTo>
                    <a:pt x="525" y="831"/>
                  </a:lnTo>
                  <a:lnTo>
                    <a:pt x="544" y="826"/>
                  </a:lnTo>
                  <a:lnTo>
                    <a:pt x="563" y="821"/>
                  </a:lnTo>
                  <a:lnTo>
                    <a:pt x="580" y="815"/>
                  </a:lnTo>
                  <a:lnTo>
                    <a:pt x="599" y="808"/>
                  </a:lnTo>
                  <a:lnTo>
                    <a:pt x="616" y="800"/>
                  </a:lnTo>
                  <a:lnTo>
                    <a:pt x="633" y="792"/>
                  </a:lnTo>
                  <a:lnTo>
                    <a:pt x="649" y="782"/>
                  </a:lnTo>
                  <a:lnTo>
                    <a:pt x="665" y="772"/>
                  </a:lnTo>
                  <a:lnTo>
                    <a:pt x="681" y="760"/>
                  </a:lnTo>
                  <a:lnTo>
                    <a:pt x="695" y="749"/>
                  </a:lnTo>
                  <a:lnTo>
                    <a:pt x="710" y="737"/>
                  </a:lnTo>
                  <a:lnTo>
                    <a:pt x="724" y="724"/>
                  </a:lnTo>
                  <a:lnTo>
                    <a:pt x="737" y="710"/>
                  </a:lnTo>
                  <a:lnTo>
                    <a:pt x="749" y="695"/>
                  </a:lnTo>
                  <a:lnTo>
                    <a:pt x="762" y="681"/>
                  </a:lnTo>
                  <a:lnTo>
                    <a:pt x="772" y="665"/>
                  </a:lnTo>
                  <a:lnTo>
                    <a:pt x="782" y="649"/>
                  </a:lnTo>
                  <a:lnTo>
                    <a:pt x="792" y="633"/>
                  </a:lnTo>
                  <a:lnTo>
                    <a:pt x="800" y="616"/>
                  </a:lnTo>
                  <a:lnTo>
                    <a:pt x="808" y="599"/>
                  </a:lnTo>
                  <a:lnTo>
                    <a:pt x="815" y="580"/>
                  </a:lnTo>
                  <a:lnTo>
                    <a:pt x="822" y="563"/>
                  </a:lnTo>
                  <a:lnTo>
                    <a:pt x="826" y="544"/>
                  </a:lnTo>
                  <a:lnTo>
                    <a:pt x="831" y="524"/>
                  </a:lnTo>
                  <a:lnTo>
                    <a:pt x="835" y="505"/>
                  </a:lnTo>
                  <a:lnTo>
                    <a:pt x="838" y="485"/>
                  </a:lnTo>
                  <a:lnTo>
                    <a:pt x="839" y="465"/>
                  </a:lnTo>
                  <a:lnTo>
                    <a:pt x="839" y="445"/>
                  </a:lnTo>
                  <a:lnTo>
                    <a:pt x="839" y="425"/>
                  </a:lnTo>
                  <a:lnTo>
                    <a:pt x="838" y="404"/>
                  </a:lnTo>
                  <a:lnTo>
                    <a:pt x="835" y="386"/>
                  </a:lnTo>
                  <a:lnTo>
                    <a:pt x="831" y="366"/>
                  </a:lnTo>
                  <a:lnTo>
                    <a:pt x="826" y="347"/>
                  </a:lnTo>
                  <a:lnTo>
                    <a:pt x="822" y="328"/>
                  </a:lnTo>
                  <a:lnTo>
                    <a:pt x="815" y="311"/>
                  </a:lnTo>
                  <a:lnTo>
                    <a:pt x="808" y="292"/>
                  </a:lnTo>
                  <a:lnTo>
                    <a:pt x="800" y="275"/>
                  </a:lnTo>
                  <a:lnTo>
                    <a:pt x="792" y="258"/>
                  </a:lnTo>
                  <a:lnTo>
                    <a:pt x="782" y="242"/>
                  </a:lnTo>
                  <a:lnTo>
                    <a:pt x="772" y="226"/>
                  </a:lnTo>
                  <a:lnTo>
                    <a:pt x="762" y="210"/>
                  </a:lnTo>
                  <a:lnTo>
                    <a:pt x="749" y="196"/>
                  </a:lnTo>
                  <a:lnTo>
                    <a:pt x="737" y="181"/>
                  </a:lnTo>
                  <a:lnTo>
                    <a:pt x="724" y="167"/>
                  </a:lnTo>
                  <a:lnTo>
                    <a:pt x="710" y="154"/>
                  </a:lnTo>
                  <a:lnTo>
                    <a:pt x="695" y="142"/>
                  </a:lnTo>
                  <a:lnTo>
                    <a:pt x="681" y="129"/>
                  </a:lnTo>
                  <a:lnTo>
                    <a:pt x="665" y="119"/>
                  </a:lnTo>
                  <a:lnTo>
                    <a:pt x="649" y="109"/>
                  </a:lnTo>
                  <a:lnTo>
                    <a:pt x="633" y="99"/>
                  </a:lnTo>
                  <a:lnTo>
                    <a:pt x="616" y="91"/>
                  </a:lnTo>
                  <a:lnTo>
                    <a:pt x="599" y="83"/>
                  </a:lnTo>
                  <a:lnTo>
                    <a:pt x="580" y="76"/>
                  </a:lnTo>
                  <a:lnTo>
                    <a:pt x="563" y="69"/>
                  </a:lnTo>
                  <a:lnTo>
                    <a:pt x="544" y="65"/>
                  </a:lnTo>
                  <a:lnTo>
                    <a:pt x="525" y="60"/>
                  </a:lnTo>
                  <a:lnTo>
                    <a:pt x="505" y="56"/>
                  </a:lnTo>
                  <a:lnTo>
                    <a:pt x="487" y="55"/>
                  </a:lnTo>
                  <a:lnTo>
                    <a:pt x="466" y="52"/>
                  </a:lnTo>
                  <a:lnTo>
                    <a:pt x="446" y="52"/>
                  </a:lnTo>
                  <a:close/>
                  <a:moveTo>
                    <a:pt x="446" y="891"/>
                  </a:moveTo>
                  <a:lnTo>
                    <a:pt x="423" y="891"/>
                  </a:lnTo>
                  <a:lnTo>
                    <a:pt x="400" y="888"/>
                  </a:lnTo>
                  <a:lnTo>
                    <a:pt x="379" y="885"/>
                  </a:lnTo>
                  <a:lnTo>
                    <a:pt x="355" y="883"/>
                  </a:lnTo>
                  <a:lnTo>
                    <a:pt x="334" y="877"/>
                  </a:lnTo>
                  <a:lnTo>
                    <a:pt x="314" y="871"/>
                  </a:lnTo>
                  <a:lnTo>
                    <a:pt x="292" y="864"/>
                  </a:lnTo>
                  <a:lnTo>
                    <a:pt x="272" y="857"/>
                  </a:lnTo>
                  <a:lnTo>
                    <a:pt x="253" y="847"/>
                  </a:lnTo>
                  <a:lnTo>
                    <a:pt x="233" y="838"/>
                  </a:lnTo>
                  <a:lnTo>
                    <a:pt x="214" y="826"/>
                  </a:lnTo>
                  <a:lnTo>
                    <a:pt x="197" y="815"/>
                  </a:lnTo>
                  <a:lnTo>
                    <a:pt x="180" y="802"/>
                  </a:lnTo>
                  <a:lnTo>
                    <a:pt x="163" y="789"/>
                  </a:lnTo>
                  <a:lnTo>
                    <a:pt x="147" y="775"/>
                  </a:lnTo>
                  <a:lnTo>
                    <a:pt x="131" y="760"/>
                  </a:lnTo>
                  <a:lnTo>
                    <a:pt x="116" y="744"/>
                  </a:lnTo>
                  <a:lnTo>
                    <a:pt x="102" y="728"/>
                  </a:lnTo>
                  <a:lnTo>
                    <a:pt x="89" y="713"/>
                  </a:lnTo>
                  <a:lnTo>
                    <a:pt x="76" y="694"/>
                  </a:lnTo>
                  <a:lnTo>
                    <a:pt x="65" y="677"/>
                  </a:lnTo>
                  <a:lnTo>
                    <a:pt x="53" y="658"/>
                  </a:lnTo>
                  <a:lnTo>
                    <a:pt x="44" y="638"/>
                  </a:lnTo>
                  <a:lnTo>
                    <a:pt x="34" y="619"/>
                  </a:lnTo>
                  <a:lnTo>
                    <a:pt x="27" y="599"/>
                  </a:lnTo>
                  <a:lnTo>
                    <a:pt x="20" y="577"/>
                  </a:lnTo>
                  <a:lnTo>
                    <a:pt x="14" y="557"/>
                  </a:lnTo>
                  <a:lnTo>
                    <a:pt x="8" y="535"/>
                  </a:lnTo>
                  <a:lnTo>
                    <a:pt x="6" y="512"/>
                  </a:lnTo>
                  <a:lnTo>
                    <a:pt x="3" y="491"/>
                  </a:lnTo>
                  <a:lnTo>
                    <a:pt x="0" y="468"/>
                  </a:lnTo>
                  <a:lnTo>
                    <a:pt x="0" y="445"/>
                  </a:lnTo>
                  <a:lnTo>
                    <a:pt x="0" y="422"/>
                  </a:lnTo>
                  <a:lnTo>
                    <a:pt x="3" y="400"/>
                  </a:lnTo>
                  <a:lnTo>
                    <a:pt x="6" y="377"/>
                  </a:lnTo>
                  <a:lnTo>
                    <a:pt x="8" y="356"/>
                  </a:lnTo>
                  <a:lnTo>
                    <a:pt x="14" y="334"/>
                  </a:lnTo>
                  <a:lnTo>
                    <a:pt x="20" y="312"/>
                  </a:lnTo>
                  <a:lnTo>
                    <a:pt x="27" y="292"/>
                  </a:lnTo>
                  <a:lnTo>
                    <a:pt x="34" y="272"/>
                  </a:lnTo>
                  <a:lnTo>
                    <a:pt x="44" y="252"/>
                  </a:lnTo>
                  <a:lnTo>
                    <a:pt x="53" y="233"/>
                  </a:lnTo>
                  <a:lnTo>
                    <a:pt x="65" y="214"/>
                  </a:lnTo>
                  <a:lnTo>
                    <a:pt x="76" y="196"/>
                  </a:lnTo>
                  <a:lnTo>
                    <a:pt x="89" y="178"/>
                  </a:lnTo>
                  <a:lnTo>
                    <a:pt x="102" y="163"/>
                  </a:lnTo>
                  <a:lnTo>
                    <a:pt x="116" y="145"/>
                  </a:lnTo>
                  <a:lnTo>
                    <a:pt x="131" y="131"/>
                  </a:lnTo>
                  <a:lnTo>
                    <a:pt x="147" y="115"/>
                  </a:lnTo>
                  <a:lnTo>
                    <a:pt x="163" y="102"/>
                  </a:lnTo>
                  <a:lnTo>
                    <a:pt x="180" y="88"/>
                  </a:lnTo>
                  <a:lnTo>
                    <a:pt x="197" y="76"/>
                  </a:lnTo>
                  <a:lnTo>
                    <a:pt x="214" y="65"/>
                  </a:lnTo>
                  <a:lnTo>
                    <a:pt x="233" y="53"/>
                  </a:lnTo>
                  <a:lnTo>
                    <a:pt x="253" y="43"/>
                  </a:lnTo>
                  <a:lnTo>
                    <a:pt x="272" y="34"/>
                  </a:lnTo>
                  <a:lnTo>
                    <a:pt x="292" y="27"/>
                  </a:lnTo>
                  <a:lnTo>
                    <a:pt x="314" y="20"/>
                  </a:lnTo>
                  <a:lnTo>
                    <a:pt x="334" y="14"/>
                  </a:lnTo>
                  <a:lnTo>
                    <a:pt x="355" y="8"/>
                  </a:lnTo>
                  <a:lnTo>
                    <a:pt x="379" y="4"/>
                  </a:lnTo>
                  <a:lnTo>
                    <a:pt x="400" y="1"/>
                  </a:lnTo>
                  <a:lnTo>
                    <a:pt x="423" y="0"/>
                  </a:lnTo>
                  <a:lnTo>
                    <a:pt x="446" y="0"/>
                  </a:lnTo>
                  <a:lnTo>
                    <a:pt x="469" y="0"/>
                  </a:lnTo>
                  <a:lnTo>
                    <a:pt x="491" y="1"/>
                  </a:lnTo>
                  <a:lnTo>
                    <a:pt x="514" y="4"/>
                  </a:lnTo>
                  <a:lnTo>
                    <a:pt x="535" y="8"/>
                  </a:lnTo>
                  <a:lnTo>
                    <a:pt x="557" y="14"/>
                  </a:lnTo>
                  <a:lnTo>
                    <a:pt x="579" y="20"/>
                  </a:lnTo>
                  <a:lnTo>
                    <a:pt x="599" y="27"/>
                  </a:lnTo>
                  <a:lnTo>
                    <a:pt x="619" y="34"/>
                  </a:lnTo>
                  <a:lnTo>
                    <a:pt x="639" y="43"/>
                  </a:lnTo>
                  <a:lnTo>
                    <a:pt x="658" y="53"/>
                  </a:lnTo>
                  <a:lnTo>
                    <a:pt x="677" y="65"/>
                  </a:lnTo>
                  <a:lnTo>
                    <a:pt x="695" y="76"/>
                  </a:lnTo>
                  <a:lnTo>
                    <a:pt x="713" y="88"/>
                  </a:lnTo>
                  <a:lnTo>
                    <a:pt x="728" y="102"/>
                  </a:lnTo>
                  <a:lnTo>
                    <a:pt x="746" y="115"/>
                  </a:lnTo>
                  <a:lnTo>
                    <a:pt x="760" y="131"/>
                  </a:lnTo>
                  <a:lnTo>
                    <a:pt x="776" y="145"/>
                  </a:lnTo>
                  <a:lnTo>
                    <a:pt x="789" y="163"/>
                  </a:lnTo>
                  <a:lnTo>
                    <a:pt x="803" y="178"/>
                  </a:lnTo>
                  <a:lnTo>
                    <a:pt x="815" y="196"/>
                  </a:lnTo>
                  <a:lnTo>
                    <a:pt x="826" y="214"/>
                  </a:lnTo>
                  <a:lnTo>
                    <a:pt x="838" y="233"/>
                  </a:lnTo>
                  <a:lnTo>
                    <a:pt x="848" y="252"/>
                  </a:lnTo>
                  <a:lnTo>
                    <a:pt x="857" y="272"/>
                  </a:lnTo>
                  <a:lnTo>
                    <a:pt x="864" y="292"/>
                  </a:lnTo>
                  <a:lnTo>
                    <a:pt x="871" y="312"/>
                  </a:lnTo>
                  <a:lnTo>
                    <a:pt x="877" y="334"/>
                  </a:lnTo>
                  <a:lnTo>
                    <a:pt x="883" y="356"/>
                  </a:lnTo>
                  <a:lnTo>
                    <a:pt x="887" y="377"/>
                  </a:lnTo>
                  <a:lnTo>
                    <a:pt x="890" y="400"/>
                  </a:lnTo>
                  <a:lnTo>
                    <a:pt x="891" y="422"/>
                  </a:lnTo>
                  <a:lnTo>
                    <a:pt x="891" y="445"/>
                  </a:lnTo>
                  <a:lnTo>
                    <a:pt x="891" y="468"/>
                  </a:lnTo>
                  <a:lnTo>
                    <a:pt x="890" y="491"/>
                  </a:lnTo>
                  <a:lnTo>
                    <a:pt x="887" y="512"/>
                  </a:lnTo>
                  <a:lnTo>
                    <a:pt x="883" y="535"/>
                  </a:lnTo>
                  <a:lnTo>
                    <a:pt x="877" y="557"/>
                  </a:lnTo>
                  <a:lnTo>
                    <a:pt x="871" y="577"/>
                  </a:lnTo>
                  <a:lnTo>
                    <a:pt x="864" y="599"/>
                  </a:lnTo>
                  <a:lnTo>
                    <a:pt x="857" y="619"/>
                  </a:lnTo>
                  <a:lnTo>
                    <a:pt x="848" y="638"/>
                  </a:lnTo>
                  <a:lnTo>
                    <a:pt x="838" y="658"/>
                  </a:lnTo>
                  <a:lnTo>
                    <a:pt x="826" y="677"/>
                  </a:lnTo>
                  <a:lnTo>
                    <a:pt x="815" y="694"/>
                  </a:lnTo>
                  <a:lnTo>
                    <a:pt x="803" y="713"/>
                  </a:lnTo>
                  <a:lnTo>
                    <a:pt x="789" y="728"/>
                  </a:lnTo>
                  <a:lnTo>
                    <a:pt x="776" y="744"/>
                  </a:lnTo>
                  <a:lnTo>
                    <a:pt x="760" y="760"/>
                  </a:lnTo>
                  <a:lnTo>
                    <a:pt x="746" y="775"/>
                  </a:lnTo>
                  <a:lnTo>
                    <a:pt x="728" y="789"/>
                  </a:lnTo>
                  <a:lnTo>
                    <a:pt x="713" y="802"/>
                  </a:lnTo>
                  <a:lnTo>
                    <a:pt x="695" y="815"/>
                  </a:lnTo>
                  <a:lnTo>
                    <a:pt x="677" y="826"/>
                  </a:lnTo>
                  <a:lnTo>
                    <a:pt x="658" y="838"/>
                  </a:lnTo>
                  <a:lnTo>
                    <a:pt x="639" y="847"/>
                  </a:lnTo>
                  <a:lnTo>
                    <a:pt x="619" y="857"/>
                  </a:lnTo>
                  <a:lnTo>
                    <a:pt x="599" y="864"/>
                  </a:lnTo>
                  <a:lnTo>
                    <a:pt x="579" y="871"/>
                  </a:lnTo>
                  <a:lnTo>
                    <a:pt x="557" y="877"/>
                  </a:lnTo>
                  <a:lnTo>
                    <a:pt x="535" y="883"/>
                  </a:lnTo>
                  <a:lnTo>
                    <a:pt x="514" y="885"/>
                  </a:lnTo>
                  <a:lnTo>
                    <a:pt x="491" y="888"/>
                  </a:lnTo>
                  <a:lnTo>
                    <a:pt x="469" y="891"/>
                  </a:lnTo>
                  <a:lnTo>
                    <a:pt x="446"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84">
              <a:extLst>
                <a:ext uri="{FF2B5EF4-FFF2-40B4-BE49-F238E27FC236}">
                  <a16:creationId xmlns:a16="http://schemas.microsoft.com/office/drawing/2014/main" id="{C78D2D4A-5EFD-47E4-B555-B79CA872C3A9}"/>
                </a:ext>
              </a:extLst>
            </p:cNvPr>
            <p:cNvSpPr>
              <a:spLocks noEditPoints="1"/>
            </p:cNvSpPr>
            <p:nvPr/>
          </p:nvSpPr>
          <p:spPr bwMode="auto">
            <a:xfrm>
              <a:off x="193675" y="3752851"/>
              <a:ext cx="298450" cy="282575"/>
            </a:xfrm>
            <a:custGeom>
              <a:avLst/>
              <a:gdLst>
                <a:gd name="T0" fmla="*/ 288 w 562"/>
                <a:gd name="T1" fmla="*/ 401 h 535"/>
                <a:gd name="T2" fmla="*/ 405 w 562"/>
                <a:gd name="T3" fmla="*/ 462 h 535"/>
                <a:gd name="T4" fmla="*/ 383 w 562"/>
                <a:gd name="T5" fmla="*/ 332 h 535"/>
                <a:gd name="T6" fmla="*/ 386 w 562"/>
                <a:gd name="T7" fmla="*/ 319 h 535"/>
                <a:gd name="T8" fmla="*/ 480 w 562"/>
                <a:gd name="T9" fmla="*/ 227 h 535"/>
                <a:gd name="T10" fmla="*/ 350 w 562"/>
                <a:gd name="T11" fmla="*/ 208 h 535"/>
                <a:gd name="T12" fmla="*/ 340 w 562"/>
                <a:gd name="T13" fmla="*/ 201 h 535"/>
                <a:gd name="T14" fmla="*/ 281 w 562"/>
                <a:gd name="T15" fmla="*/ 83 h 535"/>
                <a:gd name="T16" fmla="*/ 222 w 562"/>
                <a:gd name="T17" fmla="*/ 201 h 535"/>
                <a:gd name="T18" fmla="*/ 212 w 562"/>
                <a:gd name="T19" fmla="*/ 208 h 535"/>
                <a:gd name="T20" fmla="*/ 82 w 562"/>
                <a:gd name="T21" fmla="*/ 227 h 535"/>
                <a:gd name="T22" fmla="*/ 176 w 562"/>
                <a:gd name="T23" fmla="*/ 319 h 535"/>
                <a:gd name="T24" fmla="*/ 180 w 562"/>
                <a:gd name="T25" fmla="*/ 332 h 535"/>
                <a:gd name="T26" fmla="*/ 159 w 562"/>
                <a:gd name="T27" fmla="*/ 462 h 535"/>
                <a:gd name="T28" fmla="*/ 275 w 562"/>
                <a:gd name="T29" fmla="*/ 401 h 535"/>
                <a:gd name="T30" fmla="*/ 439 w 562"/>
                <a:gd name="T31" fmla="*/ 535 h 535"/>
                <a:gd name="T32" fmla="*/ 426 w 562"/>
                <a:gd name="T33" fmla="*/ 532 h 535"/>
                <a:gd name="T34" fmla="*/ 136 w 562"/>
                <a:gd name="T35" fmla="*/ 532 h 535"/>
                <a:gd name="T36" fmla="*/ 123 w 562"/>
                <a:gd name="T37" fmla="*/ 535 h 535"/>
                <a:gd name="T38" fmla="*/ 108 w 562"/>
                <a:gd name="T39" fmla="*/ 531 h 535"/>
                <a:gd name="T40" fmla="*/ 100 w 562"/>
                <a:gd name="T41" fmla="*/ 519 h 535"/>
                <a:gd name="T42" fmla="*/ 98 w 562"/>
                <a:gd name="T43" fmla="*/ 505 h 535"/>
                <a:gd name="T44" fmla="*/ 9 w 562"/>
                <a:gd name="T45" fmla="*/ 228 h 535"/>
                <a:gd name="T46" fmla="*/ 2 w 562"/>
                <a:gd name="T47" fmla="*/ 216 h 535"/>
                <a:gd name="T48" fmla="*/ 2 w 562"/>
                <a:gd name="T49" fmla="*/ 201 h 535"/>
                <a:gd name="T50" fmla="*/ 10 w 562"/>
                <a:gd name="T51" fmla="*/ 190 h 535"/>
                <a:gd name="T52" fmla="*/ 23 w 562"/>
                <a:gd name="T53" fmla="*/ 184 h 535"/>
                <a:gd name="T54" fmla="*/ 258 w 562"/>
                <a:gd name="T55" fmla="*/ 13 h 535"/>
                <a:gd name="T56" fmla="*/ 268 w 562"/>
                <a:gd name="T57" fmla="*/ 2 h 535"/>
                <a:gd name="T58" fmla="*/ 281 w 562"/>
                <a:gd name="T59" fmla="*/ 0 h 535"/>
                <a:gd name="T60" fmla="*/ 295 w 562"/>
                <a:gd name="T61" fmla="*/ 2 h 535"/>
                <a:gd name="T62" fmla="*/ 305 w 562"/>
                <a:gd name="T63" fmla="*/ 13 h 535"/>
                <a:gd name="T64" fmla="*/ 540 w 562"/>
                <a:gd name="T65" fmla="*/ 184 h 535"/>
                <a:gd name="T66" fmla="*/ 553 w 562"/>
                <a:gd name="T67" fmla="*/ 190 h 535"/>
                <a:gd name="T68" fmla="*/ 562 w 562"/>
                <a:gd name="T69" fmla="*/ 201 h 535"/>
                <a:gd name="T70" fmla="*/ 562 w 562"/>
                <a:gd name="T71" fmla="*/ 216 h 535"/>
                <a:gd name="T72" fmla="*/ 555 w 562"/>
                <a:gd name="T73" fmla="*/ 228 h 535"/>
                <a:gd name="T74" fmla="*/ 465 w 562"/>
                <a:gd name="T75" fmla="*/ 505 h 535"/>
                <a:gd name="T76" fmla="*/ 462 w 562"/>
                <a:gd name="T77" fmla="*/ 519 h 535"/>
                <a:gd name="T78" fmla="*/ 454 w 562"/>
                <a:gd name="T79" fmla="*/ 531 h 535"/>
                <a:gd name="T80" fmla="*/ 439 w 562"/>
                <a:gd name="T81"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2" h="535">
                  <a:moveTo>
                    <a:pt x="281" y="400"/>
                  </a:moveTo>
                  <a:lnTo>
                    <a:pt x="288" y="401"/>
                  </a:lnTo>
                  <a:lnTo>
                    <a:pt x="294" y="403"/>
                  </a:lnTo>
                  <a:lnTo>
                    <a:pt x="405" y="462"/>
                  </a:lnTo>
                  <a:lnTo>
                    <a:pt x="383" y="338"/>
                  </a:lnTo>
                  <a:lnTo>
                    <a:pt x="383" y="332"/>
                  </a:lnTo>
                  <a:lnTo>
                    <a:pt x="385" y="325"/>
                  </a:lnTo>
                  <a:lnTo>
                    <a:pt x="386" y="319"/>
                  </a:lnTo>
                  <a:lnTo>
                    <a:pt x="390" y="315"/>
                  </a:lnTo>
                  <a:lnTo>
                    <a:pt x="480" y="227"/>
                  </a:lnTo>
                  <a:lnTo>
                    <a:pt x="356" y="210"/>
                  </a:lnTo>
                  <a:lnTo>
                    <a:pt x="350" y="208"/>
                  </a:lnTo>
                  <a:lnTo>
                    <a:pt x="344" y="205"/>
                  </a:lnTo>
                  <a:lnTo>
                    <a:pt x="340" y="201"/>
                  </a:lnTo>
                  <a:lnTo>
                    <a:pt x="337" y="195"/>
                  </a:lnTo>
                  <a:lnTo>
                    <a:pt x="281" y="83"/>
                  </a:lnTo>
                  <a:lnTo>
                    <a:pt x="226" y="195"/>
                  </a:lnTo>
                  <a:lnTo>
                    <a:pt x="222" y="201"/>
                  </a:lnTo>
                  <a:lnTo>
                    <a:pt x="218" y="205"/>
                  </a:lnTo>
                  <a:lnTo>
                    <a:pt x="212" y="208"/>
                  </a:lnTo>
                  <a:lnTo>
                    <a:pt x="206" y="210"/>
                  </a:lnTo>
                  <a:lnTo>
                    <a:pt x="82" y="227"/>
                  </a:lnTo>
                  <a:lnTo>
                    <a:pt x="172" y="315"/>
                  </a:lnTo>
                  <a:lnTo>
                    <a:pt x="176" y="319"/>
                  </a:lnTo>
                  <a:lnTo>
                    <a:pt x="179" y="325"/>
                  </a:lnTo>
                  <a:lnTo>
                    <a:pt x="180" y="332"/>
                  </a:lnTo>
                  <a:lnTo>
                    <a:pt x="180" y="338"/>
                  </a:lnTo>
                  <a:lnTo>
                    <a:pt x="159" y="462"/>
                  </a:lnTo>
                  <a:lnTo>
                    <a:pt x="269" y="403"/>
                  </a:lnTo>
                  <a:lnTo>
                    <a:pt x="275" y="401"/>
                  </a:lnTo>
                  <a:lnTo>
                    <a:pt x="281" y="400"/>
                  </a:lnTo>
                  <a:close/>
                  <a:moveTo>
                    <a:pt x="439" y="535"/>
                  </a:moveTo>
                  <a:lnTo>
                    <a:pt x="432" y="534"/>
                  </a:lnTo>
                  <a:lnTo>
                    <a:pt x="426" y="532"/>
                  </a:lnTo>
                  <a:lnTo>
                    <a:pt x="281" y="456"/>
                  </a:lnTo>
                  <a:lnTo>
                    <a:pt x="136" y="532"/>
                  </a:lnTo>
                  <a:lnTo>
                    <a:pt x="130" y="535"/>
                  </a:lnTo>
                  <a:lnTo>
                    <a:pt x="123" y="535"/>
                  </a:lnTo>
                  <a:lnTo>
                    <a:pt x="115" y="534"/>
                  </a:lnTo>
                  <a:lnTo>
                    <a:pt x="108" y="531"/>
                  </a:lnTo>
                  <a:lnTo>
                    <a:pt x="104" y="525"/>
                  </a:lnTo>
                  <a:lnTo>
                    <a:pt x="100" y="519"/>
                  </a:lnTo>
                  <a:lnTo>
                    <a:pt x="98" y="512"/>
                  </a:lnTo>
                  <a:lnTo>
                    <a:pt x="98" y="505"/>
                  </a:lnTo>
                  <a:lnTo>
                    <a:pt x="125" y="342"/>
                  </a:lnTo>
                  <a:lnTo>
                    <a:pt x="9" y="228"/>
                  </a:lnTo>
                  <a:lnTo>
                    <a:pt x="3" y="223"/>
                  </a:lnTo>
                  <a:lnTo>
                    <a:pt x="2" y="216"/>
                  </a:lnTo>
                  <a:lnTo>
                    <a:pt x="0" y="208"/>
                  </a:lnTo>
                  <a:lnTo>
                    <a:pt x="2" y="201"/>
                  </a:lnTo>
                  <a:lnTo>
                    <a:pt x="5" y="195"/>
                  </a:lnTo>
                  <a:lnTo>
                    <a:pt x="10" y="190"/>
                  </a:lnTo>
                  <a:lnTo>
                    <a:pt x="16" y="185"/>
                  </a:lnTo>
                  <a:lnTo>
                    <a:pt x="23" y="184"/>
                  </a:lnTo>
                  <a:lnTo>
                    <a:pt x="186" y="159"/>
                  </a:lnTo>
                  <a:lnTo>
                    <a:pt x="258" y="13"/>
                  </a:lnTo>
                  <a:lnTo>
                    <a:pt x="262" y="7"/>
                  </a:lnTo>
                  <a:lnTo>
                    <a:pt x="268" y="2"/>
                  </a:lnTo>
                  <a:lnTo>
                    <a:pt x="274" y="0"/>
                  </a:lnTo>
                  <a:lnTo>
                    <a:pt x="281" y="0"/>
                  </a:lnTo>
                  <a:lnTo>
                    <a:pt x="288" y="0"/>
                  </a:lnTo>
                  <a:lnTo>
                    <a:pt x="295" y="2"/>
                  </a:lnTo>
                  <a:lnTo>
                    <a:pt x="301" y="7"/>
                  </a:lnTo>
                  <a:lnTo>
                    <a:pt x="305" y="13"/>
                  </a:lnTo>
                  <a:lnTo>
                    <a:pt x="377" y="159"/>
                  </a:lnTo>
                  <a:lnTo>
                    <a:pt x="540" y="184"/>
                  </a:lnTo>
                  <a:lnTo>
                    <a:pt x="547" y="185"/>
                  </a:lnTo>
                  <a:lnTo>
                    <a:pt x="553" y="190"/>
                  </a:lnTo>
                  <a:lnTo>
                    <a:pt x="557" y="195"/>
                  </a:lnTo>
                  <a:lnTo>
                    <a:pt x="562" y="201"/>
                  </a:lnTo>
                  <a:lnTo>
                    <a:pt x="562" y="208"/>
                  </a:lnTo>
                  <a:lnTo>
                    <a:pt x="562" y="216"/>
                  </a:lnTo>
                  <a:lnTo>
                    <a:pt x="559" y="223"/>
                  </a:lnTo>
                  <a:lnTo>
                    <a:pt x="555" y="228"/>
                  </a:lnTo>
                  <a:lnTo>
                    <a:pt x="437" y="342"/>
                  </a:lnTo>
                  <a:lnTo>
                    <a:pt x="465" y="505"/>
                  </a:lnTo>
                  <a:lnTo>
                    <a:pt x="465" y="512"/>
                  </a:lnTo>
                  <a:lnTo>
                    <a:pt x="462" y="519"/>
                  </a:lnTo>
                  <a:lnTo>
                    <a:pt x="460" y="525"/>
                  </a:lnTo>
                  <a:lnTo>
                    <a:pt x="454" y="531"/>
                  </a:lnTo>
                  <a:lnTo>
                    <a:pt x="447" y="534"/>
                  </a:lnTo>
                  <a:lnTo>
                    <a:pt x="439"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7" name="Gruppieren 1086">
            <a:extLst>
              <a:ext uri="{FF2B5EF4-FFF2-40B4-BE49-F238E27FC236}">
                <a16:creationId xmlns:a16="http://schemas.microsoft.com/office/drawing/2014/main" id="{9BC1718C-140E-4C95-9EE6-50B72220C8C5}"/>
              </a:ext>
            </a:extLst>
          </p:cNvPr>
          <p:cNvGrpSpPr>
            <a:grpSpLocks noChangeAspect="1"/>
          </p:cNvGrpSpPr>
          <p:nvPr/>
        </p:nvGrpSpPr>
        <p:grpSpPr>
          <a:xfrm>
            <a:off x="7471899" y="4879041"/>
            <a:ext cx="285619" cy="285619"/>
            <a:chOff x="7689088" y="-187487"/>
            <a:chExt cx="360000" cy="360000"/>
          </a:xfrm>
          <a:solidFill>
            <a:schemeClr val="bg2"/>
          </a:solidFill>
        </p:grpSpPr>
        <p:sp>
          <p:nvSpPr>
            <p:cNvPr id="1088" name="Freeform 140">
              <a:extLst>
                <a:ext uri="{FF2B5EF4-FFF2-40B4-BE49-F238E27FC236}">
                  <a16:creationId xmlns:a16="http://schemas.microsoft.com/office/drawing/2014/main" id="{BDCB768C-3780-4DB1-8A25-F441E0B3093F}"/>
                </a:ext>
              </a:extLst>
            </p:cNvPr>
            <p:cNvSpPr>
              <a:spLocks noEditPoints="1"/>
            </p:cNvSpPr>
            <p:nvPr/>
          </p:nvSpPr>
          <p:spPr bwMode="auto">
            <a:xfrm>
              <a:off x="7689088" y="-187487"/>
              <a:ext cx="360000" cy="360000"/>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grpSp>
          <p:nvGrpSpPr>
            <p:cNvPr id="1089" name="Gruppieren 1088">
              <a:extLst>
                <a:ext uri="{FF2B5EF4-FFF2-40B4-BE49-F238E27FC236}">
                  <a16:creationId xmlns:a16="http://schemas.microsoft.com/office/drawing/2014/main" id="{F173B5AE-C23C-4C05-A0F6-6AD15D3DDE4E}"/>
                </a:ext>
              </a:extLst>
            </p:cNvPr>
            <p:cNvGrpSpPr/>
            <p:nvPr/>
          </p:nvGrpSpPr>
          <p:grpSpPr>
            <a:xfrm>
              <a:off x="7853017" y="-101505"/>
              <a:ext cx="32143" cy="188036"/>
              <a:chOff x="10794645" y="6402509"/>
              <a:chExt cx="32143" cy="188036"/>
            </a:xfrm>
            <a:grpFill/>
          </p:grpSpPr>
          <p:sp>
            <p:nvSpPr>
              <p:cNvPr id="1090" name="Freeform 27">
                <a:extLst>
                  <a:ext uri="{FF2B5EF4-FFF2-40B4-BE49-F238E27FC236}">
                    <a16:creationId xmlns:a16="http://schemas.microsoft.com/office/drawing/2014/main" id="{94CBF775-AB48-472E-BC9C-9A669CB55EFB}"/>
                  </a:ext>
                </a:extLst>
              </p:cNvPr>
              <p:cNvSpPr>
                <a:spLocks/>
              </p:cNvSpPr>
              <p:nvPr/>
            </p:nvSpPr>
            <p:spPr bwMode="auto">
              <a:xfrm>
                <a:off x="10802681" y="6402509"/>
                <a:ext cx="16071" cy="125357"/>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solidFill>
                    <a:prstClr val="black"/>
                  </a:solidFill>
                </a:endParaRPr>
              </a:p>
            </p:txBody>
          </p:sp>
          <p:sp>
            <p:nvSpPr>
              <p:cNvPr id="1091" name="Oval 28">
                <a:extLst>
                  <a:ext uri="{FF2B5EF4-FFF2-40B4-BE49-F238E27FC236}">
                    <a16:creationId xmlns:a16="http://schemas.microsoft.com/office/drawing/2014/main" id="{9F25F4B5-28F6-4EB5-9A65-B8B6621A2F93}"/>
                  </a:ext>
                </a:extLst>
              </p:cNvPr>
              <p:cNvSpPr>
                <a:spLocks noChangeArrowheads="1"/>
              </p:cNvSpPr>
              <p:nvPr/>
            </p:nvSpPr>
            <p:spPr bwMode="auto">
              <a:xfrm>
                <a:off x="10794645" y="6560009"/>
                <a:ext cx="32143" cy="30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solidFill>
                    <a:prstClr val="black"/>
                  </a:solidFill>
                </a:endParaRPr>
              </a:p>
            </p:txBody>
          </p:sp>
        </p:grpSp>
      </p:grpSp>
      <p:grpSp>
        <p:nvGrpSpPr>
          <p:cNvPr id="1168" name="Group 121">
            <a:extLst>
              <a:ext uri="{FF2B5EF4-FFF2-40B4-BE49-F238E27FC236}">
                <a16:creationId xmlns:a16="http://schemas.microsoft.com/office/drawing/2014/main" id="{DBE10FA2-C23F-47B3-9CA7-B72E245309FE}"/>
              </a:ext>
            </a:extLst>
          </p:cNvPr>
          <p:cNvGrpSpPr>
            <a:grpSpLocks noChangeAspect="1"/>
          </p:cNvGrpSpPr>
          <p:nvPr/>
        </p:nvGrpSpPr>
        <p:grpSpPr>
          <a:xfrm>
            <a:off x="7471638" y="5956111"/>
            <a:ext cx="286141" cy="285619"/>
            <a:chOff x="5946033" y="5419470"/>
            <a:chExt cx="504248" cy="503328"/>
          </a:xfrm>
          <a:solidFill>
            <a:schemeClr val="bg2"/>
          </a:solidFill>
          <a:effectLst/>
        </p:grpSpPr>
        <p:sp>
          <p:nvSpPr>
            <p:cNvPr id="1190" name="Freeform 22">
              <a:extLst>
                <a:ext uri="{FF2B5EF4-FFF2-40B4-BE49-F238E27FC236}">
                  <a16:creationId xmlns:a16="http://schemas.microsoft.com/office/drawing/2014/main" id="{CAEEDBF8-7A09-40A5-AA16-2CD228C80338}"/>
                </a:ext>
              </a:extLst>
            </p:cNvPr>
            <p:cNvSpPr>
              <a:spLocks noEditPoints="1"/>
            </p:cNvSpPr>
            <p:nvPr/>
          </p:nvSpPr>
          <p:spPr bwMode="auto">
            <a:xfrm>
              <a:off x="6188955" y="5568536"/>
              <a:ext cx="185872" cy="223599"/>
            </a:xfrm>
            <a:custGeom>
              <a:avLst/>
              <a:gdLst>
                <a:gd name="T0" fmla="*/ 89 w 607"/>
                <a:gd name="T1" fmla="*/ 352 h 728"/>
                <a:gd name="T2" fmla="*/ 547 w 607"/>
                <a:gd name="T3" fmla="*/ 643 h 728"/>
                <a:gd name="T4" fmla="*/ 547 w 607"/>
                <a:gd name="T5" fmla="*/ 83 h 728"/>
                <a:gd name="T6" fmla="*/ 89 w 607"/>
                <a:gd name="T7" fmla="*/ 352 h 728"/>
                <a:gd name="T8" fmla="*/ 577 w 607"/>
                <a:gd name="T9" fmla="*/ 728 h 728"/>
                <a:gd name="T10" fmla="*/ 568 w 607"/>
                <a:gd name="T11" fmla="*/ 728 h 728"/>
                <a:gd name="T12" fmla="*/ 561 w 607"/>
                <a:gd name="T13" fmla="*/ 724 h 728"/>
                <a:gd name="T14" fmla="*/ 14 w 607"/>
                <a:gd name="T15" fmla="*/ 377 h 728"/>
                <a:gd name="T16" fmla="*/ 8 w 607"/>
                <a:gd name="T17" fmla="*/ 372 h 728"/>
                <a:gd name="T18" fmla="*/ 4 w 607"/>
                <a:gd name="T19" fmla="*/ 367 h 728"/>
                <a:gd name="T20" fmla="*/ 1 w 607"/>
                <a:gd name="T21" fmla="*/ 359 h 728"/>
                <a:gd name="T22" fmla="*/ 0 w 607"/>
                <a:gd name="T23" fmla="*/ 351 h 728"/>
                <a:gd name="T24" fmla="*/ 1 w 607"/>
                <a:gd name="T25" fmla="*/ 344 h 728"/>
                <a:gd name="T26" fmla="*/ 4 w 607"/>
                <a:gd name="T27" fmla="*/ 336 h 728"/>
                <a:gd name="T28" fmla="*/ 8 w 607"/>
                <a:gd name="T29" fmla="*/ 331 h 728"/>
                <a:gd name="T30" fmla="*/ 15 w 607"/>
                <a:gd name="T31" fmla="*/ 325 h 728"/>
                <a:gd name="T32" fmla="*/ 563 w 607"/>
                <a:gd name="T33" fmla="*/ 4 h 728"/>
                <a:gd name="T34" fmla="*/ 570 w 607"/>
                <a:gd name="T35" fmla="*/ 1 h 728"/>
                <a:gd name="T36" fmla="*/ 577 w 607"/>
                <a:gd name="T37" fmla="*/ 0 h 728"/>
                <a:gd name="T38" fmla="*/ 586 w 607"/>
                <a:gd name="T39" fmla="*/ 0 h 728"/>
                <a:gd name="T40" fmla="*/ 593 w 607"/>
                <a:gd name="T41" fmla="*/ 4 h 728"/>
                <a:gd name="T42" fmla="*/ 599 w 607"/>
                <a:gd name="T43" fmla="*/ 8 h 728"/>
                <a:gd name="T44" fmla="*/ 604 w 607"/>
                <a:gd name="T45" fmla="*/ 14 h 728"/>
                <a:gd name="T46" fmla="*/ 607 w 607"/>
                <a:gd name="T47" fmla="*/ 21 h 728"/>
                <a:gd name="T48" fmla="*/ 607 w 607"/>
                <a:gd name="T49" fmla="*/ 30 h 728"/>
                <a:gd name="T50" fmla="*/ 607 w 607"/>
                <a:gd name="T51" fmla="*/ 698 h 728"/>
                <a:gd name="T52" fmla="*/ 607 w 607"/>
                <a:gd name="T53" fmla="*/ 706 h 728"/>
                <a:gd name="T54" fmla="*/ 603 w 607"/>
                <a:gd name="T55" fmla="*/ 714 h 728"/>
                <a:gd name="T56" fmla="*/ 599 w 607"/>
                <a:gd name="T57" fmla="*/ 719 h 728"/>
                <a:gd name="T58" fmla="*/ 591 w 607"/>
                <a:gd name="T59" fmla="*/ 725 h 728"/>
                <a:gd name="T60" fmla="*/ 584 w 607"/>
                <a:gd name="T61" fmla="*/ 728 h 728"/>
                <a:gd name="T62" fmla="*/ 577 w 607"/>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7" h="728">
                  <a:moveTo>
                    <a:pt x="89" y="352"/>
                  </a:moveTo>
                  <a:lnTo>
                    <a:pt x="547" y="643"/>
                  </a:lnTo>
                  <a:lnTo>
                    <a:pt x="547" y="83"/>
                  </a:lnTo>
                  <a:lnTo>
                    <a:pt x="89" y="352"/>
                  </a:lnTo>
                  <a:close/>
                  <a:moveTo>
                    <a:pt x="577" y="728"/>
                  </a:moveTo>
                  <a:lnTo>
                    <a:pt x="568" y="728"/>
                  </a:lnTo>
                  <a:lnTo>
                    <a:pt x="561" y="724"/>
                  </a:lnTo>
                  <a:lnTo>
                    <a:pt x="14" y="377"/>
                  </a:lnTo>
                  <a:lnTo>
                    <a:pt x="8" y="372"/>
                  </a:lnTo>
                  <a:lnTo>
                    <a:pt x="4" y="367"/>
                  </a:lnTo>
                  <a:lnTo>
                    <a:pt x="1" y="359"/>
                  </a:lnTo>
                  <a:lnTo>
                    <a:pt x="0" y="351"/>
                  </a:lnTo>
                  <a:lnTo>
                    <a:pt x="1" y="344"/>
                  </a:lnTo>
                  <a:lnTo>
                    <a:pt x="4" y="336"/>
                  </a:lnTo>
                  <a:lnTo>
                    <a:pt x="8" y="331"/>
                  </a:lnTo>
                  <a:lnTo>
                    <a:pt x="15" y="325"/>
                  </a:lnTo>
                  <a:lnTo>
                    <a:pt x="563" y="4"/>
                  </a:lnTo>
                  <a:lnTo>
                    <a:pt x="570" y="1"/>
                  </a:lnTo>
                  <a:lnTo>
                    <a:pt x="577" y="0"/>
                  </a:lnTo>
                  <a:lnTo>
                    <a:pt x="586" y="0"/>
                  </a:lnTo>
                  <a:lnTo>
                    <a:pt x="593" y="4"/>
                  </a:lnTo>
                  <a:lnTo>
                    <a:pt x="599" y="8"/>
                  </a:lnTo>
                  <a:lnTo>
                    <a:pt x="604" y="14"/>
                  </a:lnTo>
                  <a:lnTo>
                    <a:pt x="607" y="21"/>
                  </a:lnTo>
                  <a:lnTo>
                    <a:pt x="607" y="30"/>
                  </a:lnTo>
                  <a:lnTo>
                    <a:pt x="607" y="698"/>
                  </a:lnTo>
                  <a:lnTo>
                    <a:pt x="607" y="706"/>
                  </a:lnTo>
                  <a:lnTo>
                    <a:pt x="603" y="714"/>
                  </a:lnTo>
                  <a:lnTo>
                    <a:pt x="599" y="719"/>
                  </a:lnTo>
                  <a:lnTo>
                    <a:pt x="591" y="725"/>
                  </a:lnTo>
                  <a:lnTo>
                    <a:pt x="584" y="728"/>
                  </a:lnTo>
                  <a:lnTo>
                    <a:pt x="577"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1" name="Freeform 23">
              <a:extLst>
                <a:ext uri="{FF2B5EF4-FFF2-40B4-BE49-F238E27FC236}">
                  <a16:creationId xmlns:a16="http://schemas.microsoft.com/office/drawing/2014/main" id="{24495E2D-8876-434B-A49F-080A76CF0012}"/>
                </a:ext>
              </a:extLst>
            </p:cNvPr>
            <p:cNvSpPr>
              <a:spLocks noEditPoints="1"/>
            </p:cNvSpPr>
            <p:nvPr/>
          </p:nvSpPr>
          <p:spPr bwMode="auto">
            <a:xfrm>
              <a:off x="6020566" y="5568536"/>
              <a:ext cx="186792" cy="223599"/>
            </a:xfrm>
            <a:custGeom>
              <a:avLst/>
              <a:gdLst>
                <a:gd name="T0" fmla="*/ 90 w 608"/>
                <a:gd name="T1" fmla="*/ 352 h 728"/>
                <a:gd name="T2" fmla="*/ 548 w 608"/>
                <a:gd name="T3" fmla="*/ 643 h 728"/>
                <a:gd name="T4" fmla="*/ 548 w 608"/>
                <a:gd name="T5" fmla="*/ 83 h 728"/>
                <a:gd name="T6" fmla="*/ 90 w 608"/>
                <a:gd name="T7" fmla="*/ 352 h 728"/>
                <a:gd name="T8" fmla="*/ 578 w 608"/>
                <a:gd name="T9" fmla="*/ 728 h 728"/>
                <a:gd name="T10" fmla="*/ 569 w 608"/>
                <a:gd name="T11" fmla="*/ 728 h 728"/>
                <a:gd name="T12" fmla="*/ 562 w 608"/>
                <a:gd name="T13" fmla="*/ 724 h 728"/>
                <a:gd name="T14" fmla="*/ 15 w 608"/>
                <a:gd name="T15" fmla="*/ 377 h 728"/>
                <a:gd name="T16" fmla="*/ 9 w 608"/>
                <a:gd name="T17" fmla="*/ 372 h 728"/>
                <a:gd name="T18" fmla="*/ 5 w 608"/>
                <a:gd name="T19" fmla="*/ 367 h 728"/>
                <a:gd name="T20" fmla="*/ 2 w 608"/>
                <a:gd name="T21" fmla="*/ 359 h 728"/>
                <a:gd name="T22" fmla="*/ 0 w 608"/>
                <a:gd name="T23" fmla="*/ 351 h 728"/>
                <a:gd name="T24" fmla="*/ 2 w 608"/>
                <a:gd name="T25" fmla="*/ 344 h 728"/>
                <a:gd name="T26" fmla="*/ 5 w 608"/>
                <a:gd name="T27" fmla="*/ 336 h 728"/>
                <a:gd name="T28" fmla="*/ 9 w 608"/>
                <a:gd name="T29" fmla="*/ 331 h 728"/>
                <a:gd name="T30" fmla="*/ 16 w 608"/>
                <a:gd name="T31" fmla="*/ 325 h 728"/>
                <a:gd name="T32" fmla="*/ 563 w 608"/>
                <a:gd name="T33" fmla="*/ 4 h 728"/>
                <a:gd name="T34" fmla="*/ 571 w 608"/>
                <a:gd name="T35" fmla="*/ 1 h 728"/>
                <a:gd name="T36" fmla="*/ 578 w 608"/>
                <a:gd name="T37" fmla="*/ 0 h 728"/>
                <a:gd name="T38" fmla="*/ 587 w 608"/>
                <a:gd name="T39" fmla="*/ 0 h 728"/>
                <a:gd name="T40" fmla="*/ 594 w 608"/>
                <a:gd name="T41" fmla="*/ 4 h 728"/>
                <a:gd name="T42" fmla="*/ 599 w 608"/>
                <a:gd name="T43" fmla="*/ 8 h 728"/>
                <a:gd name="T44" fmla="*/ 605 w 608"/>
                <a:gd name="T45" fmla="*/ 14 h 728"/>
                <a:gd name="T46" fmla="*/ 608 w 608"/>
                <a:gd name="T47" fmla="*/ 21 h 728"/>
                <a:gd name="T48" fmla="*/ 608 w 608"/>
                <a:gd name="T49" fmla="*/ 30 h 728"/>
                <a:gd name="T50" fmla="*/ 608 w 608"/>
                <a:gd name="T51" fmla="*/ 698 h 728"/>
                <a:gd name="T52" fmla="*/ 608 w 608"/>
                <a:gd name="T53" fmla="*/ 706 h 728"/>
                <a:gd name="T54" fmla="*/ 604 w 608"/>
                <a:gd name="T55" fmla="*/ 714 h 728"/>
                <a:gd name="T56" fmla="*/ 599 w 608"/>
                <a:gd name="T57" fmla="*/ 719 h 728"/>
                <a:gd name="T58" fmla="*/ 592 w 608"/>
                <a:gd name="T59" fmla="*/ 725 h 728"/>
                <a:gd name="T60" fmla="*/ 587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90" y="352"/>
                  </a:moveTo>
                  <a:lnTo>
                    <a:pt x="548" y="643"/>
                  </a:lnTo>
                  <a:lnTo>
                    <a:pt x="548" y="83"/>
                  </a:lnTo>
                  <a:lnTo>
                    <a:pt x="90" y="352"/>
                  </a:lnTo>
                  <a:close/>
                  <a:moveTo>
                    <a:pt x="578" y="728"/>
                  </a:moveTo>
                  <a:lnTo>
                    <a:pt x="569" y="728"/>
                  </a:lnTo>
                  <a:lnTo>
                    <a:pt x="562" y="724"/>
                  </a:lnTo>
                  <a:lnTo>
                    <a:pt x="15" y="377"/>
                  </a:lnTo>
                  <a:lnTo>
                    <a:pt x="9" y="372"/>
                  </a:lnTo>
                  <a:lnTo>
                    <a:pt x="5" y="367"/>
                  </a:lnTo>
                  <a:lnTo>
                    <a:pt x="2" y="359"/>
                  </a:lnTo>
                  <a:lnTo>
                    <a:pt x="0" y="351"/>
                  </a:lnTo>
                  <a:lnTo>
                    <a:pt x="2" y="344"/>
                  </a:lnTo>
                  <a:lnTo>
                    <a:pt x="5" y="336"/>
                  </a:lnTo>
                  <a:lnTo>
                    <a:pt x="9" y="331"/>
                  </a:lnTo>
                  <a:lnTo>
                    <a:pt x="16" y="325"/>
                  </a:lnTo>
                  <a:lnTo>
                    <a:pt x="563" y="4"/>
                  </a:lnTo>
                  <a:lnTo>
                    <a:pt x="571" y="1"/>
                  </a:lnTo>
                  <a:lnTo>
                    <a:pt x="578" y="0"/>
                  </a:lnTo>
                  <a:lnTo>
                    <a:pt x="587" y="0"/>
                  </a:lnTo>
                  <a:lnTo>
                    <a:pt x="594" y="4"/>
                  </a:lnTo>
                  <a:lnTo>
                    <a:pt x="599" y="8"/>
                  </a:lnTo>
                  <a:lnTo>
                    <a:pt x="605" y="14"/>
                  </a:lnTo>
                  <a:lnTo>
                    <a:pt x="608" y="21"/>
                  </a:lnTo>
                  <a:lnTo>
                    <a:pt x="608" y="30"/>
                  </a:lnTo>
                  <a:lnTo>
                    <a:pt x="608" y="698"/>
                  </a:lnTo>
                  <a:lnTo>
                    <a:pt x="608" y="706"/>
                  </a:lnTo>
                  <a:lnTo>
                    <a:pt x="604" y="714"/>
                  </a:lnTo>
                  <a:lnTo>
                    <a:pt x="599" y="719"/>
                  </a:lnTo>
                  <a:lnTo>
                    <a:pt x="592" y="725"/>
                  </a:lnTo>
                  <a:lnTo>
                    <a:pt x="587"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2" name="Freeform 24">
              <a:extLst>
                <a:ext uri="{FF2B5EF4-FFF2-40B4-BE49-F238E27FC236}">
                  <a16:creationId xmlns:a16="http://schemas.microsoft.com/office/drawing/2014/main" id="{5B51B6A3-2719-40FE-BD61-EF50A3367B31}"/>
                </a:ext>
              </a:extLst>
            </p:cNvPr>
            <p:cNvSpPr>
              <a:spLocks noEditPoints="1"/>
            </p:cNvSpPr>
            <p:nvPr/>
          </p:nvSpPr>
          <p:spPr bwMode="auto">
            <a:xfrm>
              <a:off x="5946033" y="5419470"/>
              <a:ext cx="504248" cy="503328"/>
            </a:xfrm>
            <a:custGeom>
              <a:avLst/>
              <a:gdLst>
                <a:gd name="T0" fmla="*/ 668 w 1642"/>
                <a:gd name="T1" fmla="*/ 76 h 1641"/>
                <a:gd name="T2" fmla="*/ 493 w 1642"/>
                <a:gd name="T3" fmla="*/ 135 h 1641"/>
                <a:gd name="T4" fmla="*/ 338 w 1642"/>
                <a:gd name="T5" fmla="*/ 235 h 1641"/>
                <a:gd name="T6" fmla="*/ 213 w 1642"/>
                <a:gd name="T7" fmla="*/ 366 h 1641"/>
                <a:gd name="T8" fmla="*/ 121 w 1642"/>
                <a:gd name="T9" fmla="*/ 525 h 1641"/>
                <a:gd name="T10" fmla="*/ 71 w 1642"/>
                <a:gd name="T11" fmla="*/ 705 h 1641"/>
                <a:gd name="T12" fmla="*/ 65 w 1642"/>
                <a:gd name="T13" fmla="*/ 898 h 1641"/>
                <a:gd name="T14" fmla="*/ 108 w 1642"/>
                <a:gd name="T15" fmla="*/ 1081 h 1641"/>
                <a:gd name="T16" fmla="*/ 192 w 1642"/>
                <a:gd name="T17" fmla="*/ 1245 h 1641"/>
                <a:gd name="T18" fmla="*/ 311 w 1642"/>
                <a:gd name="T19" fmla="*/ 1383 h 1641"/>
                <a:gd name="T20" fmla="*/ 459 w 1642"/>
                <a:gd name="T21" fmla="*/ 1488 h 1641"/>
                <a:gd name="T22" fmla="*/ 632 w 1642"/>
                <a:gd name="T23" fmla="*/ 1556 h 1641"/>
                <a:gd name="T24" fmla="*/ 821 w 1642"/>
                <a:gd name="T25" fmla="*/ 1581 h 1641"/>
                <a:gd name="T26" fmla="*/ 1011 w 1642"/>
                <a:gd name="T27" fmla="*/ 1556 h 1641"/>
                <a:gd name="T28" fmla="*/ 1184 w 1642"/>
                <a:gd name="T29" fmla="*/ 1488 h 1641"/>
                <a:gd name="T30" fmla="*/ 1332 w 1642"/>
                <a:gd name="T31" fmla="*/ 1383 h 1641"/>
                <a:gd name="T32" fmla="*/ 1452 w 1642"/>
                <a:gd name="T33" fmla="*/ 1245 h 1641"/>
                <a:gd name="T34" fmla="*/ 1535 w 1642"/>
                <a:gd name="T35" fmla="*/ 1081 h 1641"/>
                <a:gd name="T36" fmla="*/ 1577 w 1642"/>
                <a:gd name="T37" fmla="*/ 898 h 1641"/>
                <a:gd name="T38" fmla="*/ 1573 w 1642"/>
                <a:gd name="T39" fmla="*/ 705 h 1641"/>
                <a:gd name="T40" fmla="*/ 1521 w 1642"/>
                <a:gd name="T41" fmla="*/ 525 h 1641"/>
                <a:gd name="T42" fmla="*/ 1430 w 1642"/>
                <a:gd name="T43" fmla="*/ 366 h 1641"/>
                <a:gd name="T44" fmla="*/ 1305 w 1642"/>
                <a:gd name="T45" fmla="*/ 235 h 1641"/>
                <a:gd name="T46" fmla="*/ 1151 w 1642"/>
                <a:gd name="T47" fmla="*/ 135 h 1641"/>
                <a:gd name="T48" fmla="*/ 975 w 1642"/>
                <a:gd name="T49" fmla="*/ 76 h 1641"/>
                <a:gd name="T50" fmla="*/ 821 w 1642"/>
                <a:gd name="T51" fmla="*/ 1641 h 1641"/>
                <a:gd name="T52" fmla="*/ 616 w 1642"/>
                <a:gd name="T53" fmla="*/ 1615 h 1641"/>
                <a:gd name="T54" fmla="*/ 431 w 1642"/>
                <a:gd name="T55" fmla="*/ 1542 h 1641"/>
                <a:gd name="T56" fmla="*/ 269 w 1642"/>
                <a:gd name="T57" fmla="*/ 1428 h 1641"/>
                <a:gd name="T58" fmla="*/ 141 w 1642"/>
                <a:gd name="T59" fmla="*/ 1278 h 1641"/>
                <a:gd name="T60" fmla="*/ 50 w 1642"/>
                <a:gd name="T61" fmla="*/ 1103 h 1641"/>
                <a:gd name="T62" fmla="*/ 4 w 1642"/>
                <a:gd name="T63" fmla="*/ 904 h 1641"/>
                <a:gd name="T64" fmla="*/ 10 w 1642"/>
                <a:gd name="T65" fmla="*/ 695 h 1641"/>
                <a:gd name="T66" fmla="*/ 65 w 1642"/>
                <a:gd name="T67" fmla="*/ 501 h 1641"/>
                <a:gd name="T68" fmla="*/ 164 w 1642"/>
                <a:gd name="T69" fmla="*/ 330 h 1641"/>
                <a:gd name="T70" fmla="*/ 300 w 1642"/>
                <a:gd name="T71" fmla="*/ 187 h 1641"/>
                <a:gd name="T72" fmla="*/ 465 w 1642"/>
                <a:gd name="T73" fmla="*/ 81 h 1641"/>
                <a:gd name="T74" fmla="*/ 657 w 1642"/>
                <a:gd name="T75" fmla="*/ 17 h 1641"/>
                <a:gd name="T76" fmla="*/ 864 w 1642"/>
                <a:gd name="T77" fmla="*/ 1 h 1641"/>
                <a:gd name="T78" fmla="*/ 1066 w 1642"/>
                <a:gd name="T79" fmla="*/ 37 h 1641"/>
                <a:gd name="T80" fmla="*/ 1247 w 1642"/>
                <a:gd name="T81" fmla="*/ 119 h 1641"/>
                <a:gd name="T82" fmla="*/ 1401 w 1642"/>
                <a:gd name="T83" fmla="*/ 240 h 1641"/>
                <a:gd name="T84" fmla="*/ 1524 w 1642"/>
                <a:gd name="T85" fmla="*/ 396 h 1641"/>
                <a:gd name="T86" fmla="*/ 1606 w 1642"/>
                <a:gd name="T87" fmla="*/ 577 h 1641"/>
                <a:gd name="T88" fmla="*/ 1640 w 1642"/>
                <a:gd name="T89" fmla="*/ 779 h 1641"/>
                <a:gd name="T90" fmla="*/ 1626 w 1642"/>
                <a:gd name="T91" fmla="*/ 986 h 1641"/>
                <a:gd name="T92" fmla="*/ 1561 w 1642"/>
                <a:gd name="T93" fmla="*/ 1176 h 1641"/>
                <a:gd name="T94" fmla="*/ 1454 w 1642"/>
                <a:gd name="T95" fmla="*/ 1342 h 1641"/>
                <a:gd name="T96" fmla="*/ 1312 w 1642"/>
                <a:gd name="T97" fmla="*/ 1478 h 1641"/>
                <a:gd name="T98" fmla="*/ 1141 w 1642"/>
                <a:gd name="T99" fmla="*/ 1576 h 1641"/>
                <a:gd name="T100" fmla="*/ 946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8" y="76"/>
                  </a:lnTo>
                  <a:lnTo>
                    <a:pt x="632" y="85"/>
                  </a:lnTo>
                  <a:lnTo>
                    <a:pt x="596" y="95"/>
                  </a:lnTo>
                  <a:lnTo>
                    <a:pt x="560" y="107"/>
                  </a:lnTo>
                  <a:lnTo>
                    <a:pt x="526" y="121"/>
                  </a:lnTo>
                  <a:lnTo>
                    <a:pt x="493" y="135"/>
                  </a:lnTo>
                  <a:lnTo>
                    <a:pt x="459" y="153"/>
                  </a:lnTo>
                  <a:lnTo>
                    <a:pt x="428" y="171"/>
                  </a:lnTo>
                  <a:lnTo>
                    <a:pt x="396" y="190"/>
                  </a:lnTo>
                  <a:lnTo>
                    <a:pt x="367" y="212"/>
                  </a:lnTo>
                  <a:lnTo>
                    <a:pt x="338" y="235"/>
                  </a:lnTo>
                  <a:lnTo>
                    <a:pt x="311" y="258"/>
                  </a:lnTo>
                  <a:lnTo>
                    <a:pt x="284" y="284"/>
                  </a:lnTo>
                  <a:lnTo>
                    <a:pt x="259" y="309"/>
                  </a:lnTo>
                  <a:lnTo>
                    <a:pt x="235" y="337"/>
                  </a:lnTo>
                  <a:lnTo>
                    <a:pt x="213" y="366"/>
                  </a:lnTo>
                  <a:lnTo>
                    <a:pt x="192" y="396"/>
                  </a:lnTo>
                  <a:lnTo>
                    <a:pt x="171" y="428"/>
                  </a:lnTo>
                  <a:lnTo>
                    <a:pt x="153" y="459"/>
                  </a:lnTo>
                  <a:lnTo>
                    <a:pt x="137" y="491"/>
                  </a:lnTo>
                  <a:lnTo>
                    <a:pt x="121" y="525"/>
                  </a:lnTo>
                  <a:lnTo>
                    <a:pt x="108" y="560"/>
                  </a:lnTo>
                  <a:lnTo>
                    <a:pt x="95" y="595"/>
                  </a:lnTo>
                  <a:lnTo>
                    <a:pt x="85" y="630"/>
                  </a:lnTo>
                  <a:lnTo>
                    <a:pt x="76" y="668"/>
                  </a:lnTo>
                  <a:lnTo>
                    <a:pt x="71" y="705"/>
                  </a:lnTo>
                  <a:lnTo>
                    <a:pt x="65" y="743"/>
                  </a:lnTo>
                  <a:lnTo>
                    <a:pt x="62" y="782"/>
                  </a:lnTo>
                  <a:lnTo>
                    <a:pt x="62" y="821"/>
                  </a:lnTo>
                  <a:lnTo>
                    <a:pt x="62" y="859"/>
                  </a:lnTo>
                  <a:lnTo>
                    <a:pt x="65" y="898"/>
                  </a:lnTo>
                  <a:lnTo>
                    <a:pt x="71" y="936"/>
                  </a:lnTo>
                  <a:lnTo>
                    <a:pt x="76" y="973"/>
                  </a:lnTo>
                  <a:lnTo>
                    <a:pt x="85" y="1011"/>
                  </a:lnTo>
                  <a:lnTo>
                    <a:pt x="95" y="1046"/>
                  </a:lnTo>
                  <a:lnTo>
                    <a:pt x="108" y="1081"/>
                  </a:lnTo>
                  <a:lnTo>
                    <a:pt x="121" y="1116"/>
                  </a:lnTo>
                  <a:lnTo>
                    <a:pt x="137" y="1150"/>
                  </a:lnTo>
                  <a:lnTo>
                    <a:pt x="153" y="1182"/>
                  </a:lnTo>
                  <a:lnTo>
                    <a:pt x="171" y="1213"/>
                  </a:lnTo>
                  <a:lnTo>
                    <a:pt x="192" y="1245"/>
                  </a:lnTo>
                  <a:lnTo>
                    <a:pt x="213" y="1275"/>
                  </a:lnTo>
                  <a:lnTo>
                    <a:pt x="235" y="1304"/>
                  </a:lnTo>
                  <a:lnTo>
                    <a:pt x="259" y="1332"/>
                  </a:lnTo>
                  <a:lnTo>
                    <a:pt x="284" y="1357"/>
                  </a:lnTo>
                  <a:lnTo>
                    <a:pt x="311" y="1383"/>
                  </a:lnTo>
                  <a:lnTo>
                    <a:pt x="338" y="1406"/>
                  </a:lnTo>
                  <a:lnTo>
                    <a:pt x="367" y="1429"/>
                  </a:lnTo>
                  <a:lnTo>
                    <a:pt x="396" y="1451"/>
                  </a:lnTo>
                  <a:lnTo>
                    <a:pt x="428" y="1470"/>
                  </a:lnTo>
                  <a:lnTo>
                    <a:pt x="459" y="1488"/>
                  </a:lnTo>
                  <a:lnTo>
                    <a:pt x="493" y="1506"/>
                  </a:lnTo>
                  <a:lnTo>
                    <a:pt x="526" y="1520"/>
                  </a:lnTo>
                  <a:lnTo>
                    <a:pt x="560" y="1534"/>
                  </a:lnTo>
                  <a:lnTo>
                    <a:pt x="596" y="1546"/>
                  </a:lnTo>
                  <a:lnTo>
                    <a:pt x="632" y="1556"/>
                  </a:lnTo>
                  <a:lnTo>
                    <a:pt x="668" y="1565"/>
                  </a:lnTo>
                  <a:lnTo>
                    <a:pt x="706" y="1572"/>
                  </a:lnTo>
                  <a:lnTo>
                    <a:pt x="743" y="1576"/>
                  </a:lnTo>
                  <a:lnTo>
                    <a:pt x="782" y="1579"/>
                  </a:lnTo>
                  <a:lnTo>
                    <a:pt x="821" y="1581"/>
                  </a:lnTo>
                  <a:lnTo>
                    <a:pt x="860" y="1579"/>
                  </a:lnTo>
                  <a:lnTo>
                    <a:pt x="899" y="1576"/>
                  </a:lnTo>
                  <a:lnTo>
                    <a:pt x="938" y="1572"/>
                  </a:lnTo>
                  <a:lnTo>
                    <a:pt x="975" y="1565"/>
                  </a:lnTo>
                  <a:lnTo>
                    <a:pt x="1011" y="1556"/>
                  </a:lnTo>
                  <a:lnTo>
                    <a:pt x="1047" y="1546"/>
                  </a:lnTo>
                  <a:lnTo>
                    <a:pt x="1083" y="1534"/>
                  </a:lnTo>
                  <a:lnTo>
                    <a:pt x="1118" y="1520"/>
                  </a:lnTo>
                  <a:lnTo>
                    <a:pt x="1151" y="1506"/>
                  </a:lnTo>
                  <a:lnTo>
                    <a:pt x="1184" y="1488"/>
                  </a:lnTo>
                  <a:lnTo>
                    <a:pt x="1215" y="1470"/>
                  </a:lnTo>
                  <a:lnTo>
                    <a:pt x="1246" y="1451"/>
                  </a:lnTo>
                  <a:lnTo>
                    <a:pt x="1276" y="1429"/>
                  </a:lnTo>
                  <a:lnTo>
                    <a:pt x="1305" y="1406"/>
                  </a:lnTo>
                  <a:lnTo>
                    <a:pt x="1332" y="1383"/>
                  </a:lnTo>
                  <a:lnTo>
                    <a:pt x="1358" y="1357"/>
                  </a:lnTo>
                  <a:lnTo>
                    <a:pt x="1384" y="1332"/>
                  </a:lnTo>
                  <a:lnTo>
                    <a:pt x="1407" y="1304"/>
                  </a:lnTo>
                  <a:lnTo>
                    <a:pt x="1430" y="1275"/>
                  </a:lnTo>
                  <a:lnTo>
                    <a:pt x="1452" y="1245"/>
                  </a:lnTo>
                  <a:lnTo>
                    <a:pt x="1472" y="1213"/>
                  </a:lnTo>
                  <a:lnTo>
                    <a:pt x="1489" y="1182"/>
                  </a:lnTo>
                  <a:lnTo>
                    <a:pt x="1506" y="1150"/>
                  </a:lnTo>
                  <a:lnTo>
                    <a:pt x="1521" y="1116"/>
                  </a:lnTo>
                  <a:lnTo>
                    <a:pt x="1535" y="1081"/>
                  </a:lnTo>
                  <a:lnTo>
                    <a:pt x="1547" y="1046"/>
                  </a:lnTo>
                  <a:lnTo>
                    <a:pt x="1557" y="1011"/>
                  </a:lnTo>
                  <a:lnTo>
                    <a:pt x="1565" y="973"/>
                  </a:lnTo>
                  <a:lnTo>
                    <a:pt x="1573" y="936"/>
                  </a:lnTo>
                  <a:lnTo>
                    <a:pt x="1577" y="898"/>
                  </a:lnTo>
                  <a:lnTo>
                    <a:pt x="1580" y="859"/>
                  </a:lnTo>
                  <a:lnTo>
                    <a:pt x="1581" y="821"/>
                  </a:lnTo>
                  <a:lnTo>
                    <a:pt x="1580" y="782"/>
                  </a:lnTo>
                  <a:lnTo>
                    <a:pt x="1577" y="743"/>
                  </a:lnTo>
                  <a:lnTo>
                    <a:pt x="1573" y="705"/>
                  </a:lnTo>
                  <a:lnTo>
                    <a:pt x="1565" y="668"/>
                  </a:lnTo>
                  <a:lnTo>
                    <a:pt x="1557" y="630"/>
                  </a:lnTo>
                  <a:lnTo>
                    <a:pt x="1547" y="595"/>
                  </a:lnTo>
                  <a:lnTo>
                    <a:pt x="1535" y="560"/>
                  </a:lnTo>
                  <a:lnTo>
                    <a:pt x="1521" y="525"/>
                  </a:lnTo>
                  <a:lnTo>
                    <a:pt x="1506" y="491"/>
                  </a:lnTo>
                  <a:lnTo>
                    <a:pt x="1489" y="459"/>
                  </a:lnTo>
                  <a:lnTo>
                    <a:pt x="1472" y="428"/>
                  </a:lnTo>
                  <a:lnTo>
                    <a:pt x="1452" y="396"/>
                  </a:lnTo>
                  <a:lnTo>
                    <a:pt x="1430" y="366"/>
                  </a:lnTo>
                  <a:lnTo>
                    <a:pt x="1407" y="337"/>
                  </a:lnTo>
                  <a:lnTo>
                    <a:pt x="1384" y="309"/>
                  </a:lnTo>
                  <a:lnTo>
                    <a:pt x="1358" y="284"/>
                  </a:lnTo>
                  <a:lnTo>
                    <a:pt x="1332" y="258"/>
                  </a:lnTo>
                  <a:lnTo>
                    <a:pt x="1305" y="235"/>
                  </a:lnTo>
                  <a:lnTo>
                    <a:pt x="1276" y="212"/>
                  </a:lnTo>
                  <a:lnTo>
                    <a:pt x="1246" y="190"/>
                  </a:lnTo>
                  <a:lnTo>
                    <a:pt x="1215" y="171"/>
                  </a:lnTo>
                  <a:lnTo>
                    <a:pt x="1184" y="153"/>
                  </a:lnTo>
                  <a:lnTo>
                    <a:pt x="1151" y="135"/>
                  </a:lnTo>
                  <a:lnTo>
                    <a:pt x="1118" y="121"/>
                  </a:lnTo>
                  <a:lnTo>
                    <a:pt x="1083" y="107"/>
                  </a:lnTo>
                  <a:lnTo>
                    <a:pt x="1047" y="95"/>
                  </a:lnTo>
                  <a:lnTo>
                    <a:pt x="1011" y="85"/>
                  </a:lnTo>
                  <a:lnTo>
                    <a:pt x="975" y="76"/>
                  </a:lnTo>
                  <a:lnTo>
                    <a:pt x="938" y="69"/>
                  </a:lnTo>
                  <a:lnTo>
                    <a:pt x="899" y="65"/>
                  </a:lnTo>
                  <a:lnTo>
                    <a:pt x="860" y="62"/>
                  </a:lnTo>
                  <a:lnTo>
                    <a:pt x="821" y="60"/>
                  </a:lnTo>
                  <a:close/>
                  <a:moveTo>
                    <a:pt x="821" y="1641"/>
                  </a:moveTo>
                  <a:lnTo>
                    <a:pt x="779" y="1640"/>
                  </a:lnTo>
                  <a:lnTo>
                    <a:pt x="737" y="1637"/>
                  </a:lnTo>
                  <a:lnTo>
                    <a:pt x="697" y="1631"/>
                  </a:lnTo>
                  <a:lnTo>
                    <a:pt x="657" y="1624"/>
                  </a:lnTo>
                  <a:lnTo>
                    <a:pt x="616" y="1615"/>
                  </a:lnTo>
                  <a:lnTo>
                    <a:pt x="578" y="1604"/>
                  </a:lnTo>
                  <a:lnTo>
                    <a:pt x="540" y="1591"/>
                  </a:lnTo>
                  <a:lnTo>
                    <a:pt x="503" y="1576"/>
                  </a:lnTo>
                  <a:lnTo>
                    <a:pt x="465" y="1560"/>
                  </a:lnTo>
                  <a:lnTo>
                    <a:pt x="431" y="1542"/>
                  </a:lnTo>
                  <a:lnTo>
                    <a:pt x="396" y="1522"/>
                  </a:lnTo>
                  <a:lnTo>
                    <a:pt x="363" y="1501"/>
                  </a:lnTo>
                  <a:lnTo>
                    <a:pt x="331" y="1478"/>
                  </a:lnTo>
                  <a:lnTo>
                    <a:pt x="300" y="1454"/>
                  </a:lnTo>
                  <a:lnTo>
                    <a:pt x="269" y="1428"/>
                  </a:lnTo>
                  <a:lnTo>
                    <a:pt x="242" y="1401"/>
                  </a:lnTo>
                  <a:lnTo>
                    <a:pt x="215" y="1372"/>
                  </a:lnTo>
                  <a:lnTo>
                    <a:pt x="189" y="1342"/>
                  </a:lnTo>
                  <a:lnTo>
                    <a:pt x="164" y="1311"/>
                  </a:lnTo>
                  <a:lnTo>
                    <a:pt x="141" y="1278"/>
                  </a:lnTo>
                  <a:lnTo>
                    <a:pt x="120" y="1245"/>
                  </a:lnTo>
                  <a:lnTo>
                    <a:pt x="99" y="1211"/>
                  </a:lnTo>
                  <a:lnTo>
                    <a:pt x="82" y="1176"/>
                  </a:lnTo>
                  <a:lnTo>
                    <a:pt x="65" y="1140"/>
                  </a:lnTo>
                  <a:lnTo>
                    <a:pt x="50" y="1103"/>
                  </a:lnTo>
                  <a:lnTo>
                    <a:pt x="38" y="1064"/>
                  </a:lnTo>
                  <a:lnTo>
                    <a:pt x="26" y="1025"/>
                  </a:lnTo>
                  <a:lnTo>
                    <a:pt x="17" y="986"/>
                  </a:lnTo>
                  <a:lnTo>
                    <a:pt x="10" y="946"/>
                  </a:lnTo>
                  <a:lnTo>
                    <a:pt x="4" y="904"/>
                  </a:lnTo>
                  <a:lnTo>
                    <a:pt x="2" y="862"/>
                  </a:lnTo>
                  <a:lnTo>
                    <a:pt x="0" y="821"/>
                  </a:lnTo>
                  <a:lnTo>
                    <a:pt x="2" y="779"/>
                  </a:lnTo>
                  <a:lnTo>
                    <a:pt x="4" y="737"/>
                  </a:lnTo>
                  <a:lnTo>
                    <a:pt x="10" y="695"/>
                  </a:lnTo>
                  <a:lnTo>
                    <a:pt x="17" y="655"/>
                  </a:lnTo>
                  <a:lnTo>
                    <a:pt x="26" y="616"/>
                  </a:lnTo>
                  <a:lnTo>
                    <a:pt x="38" y="577"/>
                  </a:lnTo>
                  <a:lnTo>
                    <a:pt x="50" y="538"/>
                  </a:lnTo>
                  <a:lnTo>
                    <a:pt x="65" y="501"/>
                  </a:lnTo>
                  <a:lnTo>
                    <a:pt x="82" y="465"/>
                  </a:lnTo>
                  <a:lnTo>
                    <a:pt x="99" y="430"/>
                  </a:lnTo>
                  <a:lnTo>
                    <a:pt x="120" y="396"/>
                  </a:lnTo>
                  <a:lnTo>
                    <a:pt x="141" y="363"/>
                  </a:lnTo>
                  <a:lnTo>
                    <a:pt x="164" y="330"/>
                  </a:lnTo>
                  <a:lnTo>
                    <a:pt x="189" y="299"/>
                  </a:lnTo>
                  <a:lnTo>
                    <a:pt x="215" y="269"/>
                  </a:lnTo>
                  <a:lnTo>
                    <a:pt x="242" y="240"/>
                  </a:lnTo>
                  <a:lnTo>
                    <a:pt x="269" y="213"/>
                  </a:lnTo>
                  <a:lnTo>
                    <a:pt x="300" y="187"/>
                  </a:lnTo>
                  <a:lnTo>
                    <a:pt x="331" y="163"/>
                  </a:lnTo>
                  <a:lnTo>
                    <a:pt x="363" y="140"/>
                  </a:lnTo>
                  <a:lnTo>
                    <a:pt x="396" y="119"/>
                  </a:lnTo>
                  <a:lnTo>
                    <a:pt x="431" y="99"/>
                  </a:lnTo>
                  <a:lnTo>
                    <a:pt x="465" y="81"/>
                  </a:lnTo>
                  <a:lnTo>
                    <a:pt x="503" y="65"/>
                  </a:lnTo>
                  <a:lnTo>
                    <a:pt x="540" y="50"/>
                  </a:lnTo>
                  <a:lnTo>
                    <a:pt x="578" y="37"/>
                  </a:lnTo>
                  <a:lnTo>
                    <a:pt x="616" y="26"/>
                  </a:lnTo>
                  <a:lnTo>
                    <a:pt x="657" y="17"/>
                  </a:lnTo>
                  <a:lnTo>
                    <a:pt x="697" y="10"/>
                  </a:lnTo>
                  <a:lnTo>
                    <a:pt x="737" y="4"/>
                  </a:lnTo>
                  <a:lnTo>
                    <a:pt x="779" y="1"/>
                  </a:lnTo>
                  <a:lnTo>
                    <a:pt x="821" y="0"/>
                  </a:lnTo>
                  <a:lnTo>
                    <a:pt x="864" y="1"/>
                  </a:lnTo>
                  <a:lnTo>
                    <a:pt x="904" y="4"/>
                  </a:lnTo>
                  <a:lnTo>
                    <a:pt x="946" y="10"/>
                  </a:lnTo>
                  <a:lnTo>
                    <a:pt x="986" y="17"/>
                  </a:lnTo>
                  <a:lnTo>
                    <a:pt x="1027" y="26"/>
                  </a:lnTo>
                  <a:lnTo>
                    <a:pt x="1066" y="37"/>
                  </a:lnTo>
                  <a:lnTo>
                    <a:pt x="1103" y="50"/>
                  </a:lnTo>
                  <a:lnTo>
                    <a:pt x="1141" y="65"/>
                  </a:lnTo>
                  <a:lnTo>
                    <a:pt x="1177" y="81"/>
                  </a:lnTo>
                  <a:lnTo>
                    <a:pt x="1213" y="99"/>
                  </a:lnTo>
                  <a:lnTo>
                    <a:pt x="1247" y="119"/>
                  </a:lnTo>
                  <a:lnTo>
                    <a:pt x="1280" y="140"/>
                  </a:lnTo>
                  <a:lnTo>
                    <a:pt x="1312" y="163"/>
                  </a:lnTo>
                  <a:lnTo>
                    <a:pt x="1344" y="187"/>
                  </a:lnTo>
                  <a:lnTo>
                    <a:pt x="1372" y="213"/>
                  </a:lnTo>
                  <a:lnTo>
                    <a:pt x="1401" y="240"/>
                  </a:lnTo>
                  <a:lnTo>
                    <a:pt x="1429" y="269"/>
                  </a:lnTo>
                  <a:lnTo>
                    <a:pt x="1454" y="299"/>
                  </a:lnTo>
                  <a:lnTo>
                    <a:pt x="1479" y="330"/>
                  </a:lnTo>
                  <a:lnTo>
                    <a:pt x="1502" y="363"/>
                  </a:lnTo>
                  <a:lnTo>
                    <a:pt x="1524" y="396"/>
                  </a:lnTo>
                  <a:lnTo>
                    <a:pt x="1542" y="430"/>
                  </a:lnTo>
                  <a:lnTo>
                    <a:pt x="1561" y="465"/>
                  </a:lnTo>
                  <a:lnTo>
                    <a:pt x="1577" y="501"/>
                  </a:lnTo>
                  <a:lnTo>
                    <a:pt x="1593" y="538"/>
                  </a:lnTo>
                  <a:lnTo>
                    <a:pt x="1606" y="577"/>
                  </a:lnTo>
                  <a:lnTo>
                    <a:pt x="1616" y="616"/>
                  </a:lnTo>
                  <a:lnTo>
                    <a:pt x="1626" y="655"/>
                  </a:lnTo>
                  <a:lnTo>
                    <a:pt x="1633" y="695"/>
                  </a:lnTo>
                  <a:lnTo>
                    <a:pt x="1637" y="737"/>
                  </a:lnTo>
                  <a:lnTo>
                    <a:pt x="1640" y="779"/>
                  </a:lnTo>
                  <a:lnTo>
                    <a:pt x="1642" y="821"/>
                  </a:lnTo>
                  <a:lnTo>
                    <a:pt x="1640" y="862"/>
                  </a:lnTo>
                  <a:lnTo>
                    <a:pt x="1637" y="904"/>
                  </a:lnTo>
                  <a:lnTo>
                    <a:pt x="1633" y="946"/>
                  </a:lnTo>
                  <a:lnTo>
                    <a:pt x="1626" y="986"/>
                  </a:lnTo>
                  <a:lnTo>
                    <a:pt x="1616" y="1025"/>
                  </a:lnTo>
                  <a:lnTo>
                    <a:pt x="1606" y="1064"/>
                  </a:lnTo>
                  <a:lnTo>
                    <a:pt x="1593" y="1103"/>
                  </a:lnTo>
                  <a:lnTo>
                    <a:pt x="1577" y="1140"/>
                  </a:lnTo>
                  <a:lnTo>
                    <a:pt x="1561" y="1176"/>
                  </a:lnTo>
                  <a:lnTo>
                    <a:pt x="1542" y="1211"/>
                  </a:lnTo>
                  <a:lnTo>
                    <a:pt x="1524" y="1245"/>
                  </a:lnTo>
                  <a:lnTo>
                    <a:pt x="1502" y="1278"/>
                  </a:lnTo>
                  <a:lnTo>
                    <a:pt x="1479" y="1311"/>
                  </a:lnTo>
                  <a:lnTo>
                    <a:pt x="1454" y="1342"/>
                  </a:lnTo>
                  <a:lnTo>
                    <a:pt x="1429" y="1372"/>
                  </a:lnTo>
                  <a:lnTo>
                    <a:pt x="1401" y="1401"/>
                  </a:lnTo>
                  <a:lnTo>
                    <a:pt x="1372" y="1428"/>
                  </a:lnTo>
                  <a:lnTo>
                    <a:pt x="1344" y="1454"/>
                  </a:lnTo>
                  <a:lnTo>
                    <a:pt x="1312" y="1478"/>
                  </a:lnTo>
                  <a:lnTo>
                    <a:pt x="1280" y="1501"/>
                  </a:lnTo>
                  <a:lnTo>
                    <a:pt x="1247" y="1522"/>
                  </a:lnTo>
                  <a:lnTo>
                    <a:pt x="1213" y="1542"/>
                  </a:lnTo>
                  <a:lnTo>
                    <a:pt x="1177" y="1560"/>
                  </a:lnTo>
                  <a:lnTo>
                    <a:pt x="1141" y="1576"/>
                  </a:lnTo>
                  <a:lnTo>
                    <a:pt x="1103" y="1591"/>
                  </a:lnTo>
                  <a:lnTo>
                    <a:pt x="1066" y="1604"/>
                  </a:lnTo>
                  <a:lnTo>
                    <a:pt x="1027" y="1615"/>
                  </a:lnTo>
                  <a:lnTo>
                    <a:pt x="986" y="1624"/>
                  </a:lnTo>
                  <a:lnTo>
                    <a:pt x="946" y="1631"/>
                  </a:lnTo>
                  <a:lnTo>
                    <a:pt x="904" y="1637"/>
                  </a:lnTo>
                  <a:lnTo>
                    <a:pt x="864" y="1640"/>
                  </a:lnTo>
                  <a:lnTo>
                    <a:pt x="821"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3" name="Freeform 34">
              <a:extLst>
                <a:ext uri="{FF2B5EF4-FFF2-40B4-BE49-F238E27FC236}">
                  <a16:creationId xmlns:a16="http://schemas.microsoft.com/office/drawing/2014/main" id="{714B401E-256A-435B-B567-E17F3FC4B3FB}"/>
                </a:ext>
              </a:extLst>
            </p:cNvPr>
            <p:cNvSpPr>
              <a:spLocks/>
            </p:cNvSpPr>
            <p:nvPr/>
          </p:nvSpPr>
          <p:spPr bwMode="auto">
            <a:xfrm>
              <a:off x="6020566" y="5568536"/>
              <a:ext cx="19323" cy="223599"/>
            </a:xfrm>
            <a:custGeom>
              <a:avLst/>
              <a:gdLst>
                <a:gd name="T0" fmla="*/ 31 w 61"/>
                <a:gd name="T1" fmla="*/ 728 h 728"/>
                <a:gd name="T2" fmla="*/ 25 w 61"/>
                <a:gd name="T3" fmla="*/ 728 h 728"/>
                <a:gd name="T4" fmla="*/ 19 w 61"/>
                <a:gd name="T5" fmla="*/ 726 h 728"/>
                <a:gd name="T6" fmla="*/ 15 w 61"/>
                <a:gd name="T7" fmla="*/ 724 h 728"/>
                <a:gd name="T8" fmla="*/ 9 w 61"/>
                <a:gd name="T9" fmla="*/ 719 h 728"/>
                <a:gd name="T10" fmla="*/ 6 w 61"/>
                <a:gd name="T11" fmla="*/ 715 h 728"/>
                <a:gd name="T12" fmla="*/ 3 w 61"/>
                <a:gd name="T13" fmla="*/ 711 h 728"/>
                <a:gd name="T14" fmla="*/ 2 w 61"/>
                <a:gd name="T15" fmla="*/ 705 h 728"/>
                <a:gd name="T16" fmla="*/ 0 w 61"/>
                <a:gd name="T17" fmla="*/ 698 h 728"/>
                <a:gd name="T18" fmla="*/ 0 w 61"/>
                <a:gd name="T19" fmla="*/ 30 h 728"/>
                <a:gd name="T20" fmla="*/ 2 w 61"/>
                <a:gd name="T21" fmla="*/ 24 h 728"/>
                <a:gd name="T22" fmla="*/ 3 w 61"/>
                <a:gd name="T23" fmla="*/ 18 h 728"/>
                <a:gd name="T24" fmla="*/ 6 w 61"/>
                <a:gd name="T25" fmla="*/ 12 h 728"/>
                <a:gd name="T26" fmla="*/ 9 w 61"/>
                <a:gd name="T27" fmla="*/ 8 h 728"/>
                <a:gd name="T28" fmla="*/ 15 w 61"/>
                <a:gd name="T29" fmla="*/ 4 h 728"/>
                <a:gd name="T30" fmla="*/ 19 w 61"/>
                <a:gd name="T31" fmla="*/ 1 h 728"/>
                <a:gd name="T32" fmla="*/ 25 w 61"/>
                <a:gd name="T33" fmla="*/ 0 h 728"/>
                <a:gd name="T34" fmla="*/ 31 w 61"/>
                <a:gd name="T35" fmla="*/ 0 h 728"/>
                <a:gd name="T36" fmla="*/ 38 w 61"/>
                <a:gd name="T37" fmla="*/ 0 h 728"/>
                <a:gd name="T38" fmla="*/ 44 w 61"/>
                <a:gd name="T39" fmla="*/ 1 h 728"/>
                <a:gd name="T40" fmla="*/ 48 w 61"/>
                <a:gd name="T41" fmla="*/ 4 h 728"/>
                <a:gd name="T42" fmla="*/ 52 w 61"/>
                <a:gd name="T43" fmla="*/ 8 h 728"/>
                <a:gd name="T44" fmla="*/ 57 w 61"/>
                <a:gd name="T45" fmla="*/ 12 h 728"/>
                <a:gd name="T46" fmla="*/ 59 w 61"/>
                <a:gd name="T47" fmla="*/ 18 h 728"/>
                <a:gd name="T48" fmla="*/ 61 w 61"/>
                <a:gd name="T49" fmla="*/ 24 h 728"/>
                <a:gd name="T50" fmla="*/ 61 w 61"/>
                <a:gd name="T51" fmla="*/ 30 h 728"/>
                <a:gd name="T52" fmla="*/ 61 w 61"/>
                <a:gd name="T53" fmla="*/ 698 h 728"/>
                <a:gd name="T54" fmla="*/ 61 w 61"/>
                <a:gd name="T55" fmla="*/ 705 h 728"/>
                <a:gd name="T56" fmla="*/ 59 w 61"/>
                <a:gd name="T57" fmla="*/ 711 h 728"/>
                <a:gd name="T58" fmla="*/ 57 w 61"/>
                <a:gd name="T59" fmla="*/ 715 h 728"/>
                <a:gd name="T60" fmla="*/ 52 w 61"/>
                <a:gd name="T61" fmla="*/ 719 h 728"/>
                <a:gd name="T62" fmla="*/ 48 w 61"/>
                <a:gd name="T63" fmla="*/ 724 h 728"/>
                <a:gd name="T64" fmla="*/ 44 w 61"/>
                <a:gd name="T65" fmla="*/ 726 h 728"/>
                <a:gd name="T66" fmla="*/ 38 w 61"/>
                <a:gd name="T67" fmla="*/ 728 h 728"/>
                <a:gd name="T68" fmla="*/ 31 w 61"/>
                <a:gd name="T6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728">
                  <a:moveTo>
                    <a:pt x="31" y="728"/>
                  </a:moveTo>
                  <a:lnTo>
                    <a:pt x="25" y="728"/>
                  </a:lnTo>
                  <a:lnTo>
                    <a:pt x="19" y="726"/>
                  </a:lnTo>
                  <a:lnTo>
                    <a:pt x="15" y="724"/>
                  </a:lnTo>
                  <a:lnTo>
                    <a:pt x="9" y="719"/>
                  </a:lnTo>
                  <a:lnTo>
                    <a:pt x="6" y="715"/>
                  </a:lnTo>
                  <a:lnTo>
                    <a:pt x="3" y="711"/>
                  </a:lnTo>
                  <a:lnTo>
                    <a:pt x="2" y="705"/>
                  </a:lnTo>
                  <a:lnTo>
                    <a:pt x="0" y="698"/>
                  </a:lnTo>
                  <a:lnTo>
                    <a:pt x="0" y="30"/>
                  </a:lnTo>
                  <a:lnTo>
                    <a:pt x="2" y="24"/>
                  </a:lnTo>
                  <a:lnTo>
                    <a:pt x="3" y="18"/>
                  </a:lnTo>
                  <a:lnTo>
                    <a:pt x="6" y="12"/>
                  </a:lnTo>
                  <a:lnTo>
                    <a:pt x="9" y="8"/>
                  </a:lnTo>
                  <a:lnTo>
                    <a:pt x="15" y="4"/>
                  </a:lnTo>
                  <a:lnTo>
                    <a:pt x="19" y="1"/>
                  </a:lnTo>
                  <a:lnTo>
                    <a:pt x="25" y="0"/>
                  </a:lnTo>
                  <a:lnTo>
                    <a:pt x="31" y="0"/>
                  </a:lnTo>
                  <a:lnTo>
                    <a:pt x="38" y="0"/>
                  </a:lnTo>
                  <a:lnTo>
                    <a:pt x="44" y="1"/>
                  </a:lnTo>
                  <a:lnTo>
                    <a:pt x="48" y="4"/>
                  </a:lnTo>
                  <a:lnTo>
                    <a:pt x="52" y="8"/>
                  </a:lnTo>
                  <a:lnTo>
                    <a:pt x="57" y="12"/>
                  </a:lnTo>
                  <a:lnTo>
                    <a:pt x="59" y="18"/>
                  </a:lnTo>
                  <a:lnTo>
                    <a:pt x="61" y="24"/>
                  </a:lnTo>
                  <a:lnTo>
                    <a:pt x="61" y="30"/>
                  </a:lnTo>
                  <a:lnTo>
                    <a:pt x="61" y="698"/>
                  </a:lnTo>
                  <a:lnTo>
                    <a:pt x="61" y="705"/>
                  </a:lnTo>
                  <a:lnTo>
                    <a:pt x="59" y="711"/>
                  </a:lnTo>
                  <a:lnTo>
                    <a:pt x="57" y="715"/>
                  </a:lnTo>
                  <a:lnTo>
                    <a:pt x="52" y="719"/>
                  </a:lnTo>
                  <a:lnTo>
                    <a:pt x="48" y="724"/>
                  </a:lnTo>
                  <a:lnTo>
                    <a:pt x="44" y="726"/>
                  </a:lnTo>
                  <a:lnTo>
                    <a:pt x="38" y="728"/>
                  </a:lnTo>
                  <a:lnTo>
                    <a:pt x="31"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92" name="Group 23">
            <a:extLst>
              <a:ext uri="{FF2B5EF4-FFF2-40B4-BE49-F238E27FC236}">
                <a16:creationId xmlns:a16="http://schemas.microsoft.com/office/drawing/2014/main" id="{313D4C36-B05B-43C6-8EEB-3640E213A4FE}"/>
              </a:ext>
            </a:extLst>
          </p:cNvPr>
          <p:cNvGrpSpPr>
            <a:grpSpLocks noChangeAspect="1"/>
          </p:cNvGrpSpPr>
          <p:nvPr/>
        </p:nvGrpSpPr>
        <p:grpSpPr>
          <a:xfrm>
            <a:off x="7948556" y="2186361"/>
            <a:ext cx="142049" cy="285619"/>
            <a:chOff x="3097213" y="1652588"/>
            <a:chExt cx="444500" cy="893763"/>
          </a:xfrm>
          <a:solidFill>
            <a:schemeClr val="bg2"/>
          </a:solidFill>
          <a:effectLst/>
        </p:grpSpPr>
        <p:sp>
          <p:nvSpPr>
            <p:cNvPr id="593" name="Freeform 5">
              <a:extLst>
                <a:ext uri="{FF2B5EF4-FFF2-40B4-BE49-F238E27FC236}">
                  <a16:creationId xmlns:a16="http://schemas.microsoft.com/office/drawing/2014/main" id="{40521FE5-9981-4D17-830E-738AE3764EEA}"/>
                </a:ext>
              </a:extLst>
            </p:cNvPr>
            <p:cNvSpPr>
              <a:spLocks noEditPoints="1"/>
            </p:cNvSpPr>
            <p:nvPr/>
          </p:nvSpPr>
          <p:spPr bwMode="auto">
            <a:xfrm>
              <a:off x="3173413" y="1652588"/>
              <a:ext cx="293688" cy="296863"/>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10 h 78"/>
                <a:gd name="T12" fmla="*/ 10 w 78"/>
                <a:gd name="T13" fmla="*/ 39 h 78"/>
                <a:gd name="T14" fmla="*/ 39 w 78"/>
                <a:gd name="T15" fmla="*/ 69 h 78"/>
                <a:gd name="T16" fmla="*/ 69 w 78"/>
                <a:gd name="T17" fmla="*/ 39 h 78"/>
                <a:gd name="T18" fmla="*/ 39 w 78"/>
                <a:gd name="T19"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8" y="78"/>
                    <a:pt x="0" y="61"/>
                    <a:pt x="0" y="39"/>
                  </a:cubicBezTo>
                  <a:cubicBezTo>
                    <a:pt x="0" y="18"/>
                    <a:pt x="18" y="0"/>
                    <a:pt x="39" y="0"/>
                  </a:cubicBezTo>
                  <a:cubicBezTo>
                    <a:pt x="61" y="0"/>
                    <a:pt x="78" y="18"/>
                    <a:pt x="78" y="39"/>
                  </a:cubicBezTo>
                  <a:cubicBezTo>
                    <a:pt x="78" y="61"/>
                    <a:pt x="61" y="78"/>
                    <a:pt x="39" y="78"/>
                  </a:cubicBezTo>
                  <a:close/>
                  <a:moveTo>
                    <a:pt x="39" y="10"/>
                  </a:moveTo>
                  <a:cubicBezTo>
                    <a:pt x="23" y="10"/>
                    <a:pt x="10" y="23"/>
                    <a:pt x="10" y="39"/>
                  </a:cubicBezTo>
                  <a:cubicBezTo>
                    <a:pt x="10" y="55"/>
                    <a:pt x="23" y="69"/>
                    <a:pt x="39" y="69"/>
                  </a:cubicBezTo>
                  <a:cubicBezTo>
                    <a:pt x="55" y="69"/>
                    <a:pt x="69" y="55"/>
                    <a:pt x="69" y="39"/>
                  </a:cubicBezTo>
                  <a:cubicBezTo>
                    <a:pt x="69" y="23"/>
                    <a:pt x="55" y="10"/>
                    <a:pt x="3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6">
              <a:extLst>
                <a:ext uri="{FF2B5EF4-FFF2-40B4-BE49-F238E27FC236}">
                  <a16:creationId xmlns:a16="http://schemas.microsoft.com/office/drawing/2014/main" id="{33508DF8-FA26-49EC-A290-11F18E8962AA}"/>
                </a:ext>
              </a:extLst>
            </p:cNvPr>
            <p:cNvSpPr>
              <a:spLocks noEditPoints="1"/>
            </p:cNvSpPr>
            <p:nvPr/>
          </p:nvSpPr>
          <p:spPr bwMode="auto">
            <a:xfrm>
              <a:off x="3097213" y="1987551"/>
              <a:ext cx="444500" cy="558800"/>
            </a:xfrm>
            <a:custGeom>
              <a:avLst/>
              <a:gdLst>
                <a:gd name="T0" fmla="*/ 79 w 118"/>
                <a:gd name="T1" fmla="*/ 147 h 147"/>
                <a:gd name="T2" fmla="*/ 40 w 118"/>
                <a:gd name="T3" fmla="*/ 147 h 147"/>
                <a:gd name="T4" fmla="*/ 35 w 118"/>
                <a:gd name="T5" fmla="*/ 142 h 147"/>
                <a:gd name="T6" fmla="*/ 35 w 118"/>
                <a:gd name="T7" fmla="*/ 81 h 147"/>
                <a:gd name="T8" fmla="*/ 0 w 118"/>
                <a:gd name="T9" fmla="*/ 5 h 147"/>
                <a:gd name="T10" fmla="*/ 5 w 118"/>
                <a:gd name="T11" fmla="*/ 0 h 147"/>
                <a:gd name="T12" fmla="*/ 113 w 118"/>
                <a:gd name="T13" fmla="*/ 0 h 147"/>
                <a:gd name="T14" fmla="*/ 118 w 118"/>
                <a:gd name="T15" fmla="*/ 5 h 147"/>
                <a:gd name="T16" fmla="*/ 84 w 118"/>
                <a:gd name="T17" fmla="*/ 81 h 147"/>
                <a:gd name="T18" fmla="*/ 84 w 118"/>
                <a:gd name="T19" fmla="*/ 142 h 147"/>
                <a:gd name="T20" fmla="*/ 79 w 118"/>
                <a:gd name="T21" fmla="*/ 147 h 147"/>
                <a:gd name="T22" fmla="*/ 44 w 118"/>
                <a:gd name="T23" fmla="*/ 137 h 147"/>
                <a:gd name="T24" fmla="*/ 74 w 118"/>
                <a:gd name="T25" fmla="*/ 137 h 147"/>
                <a:gd name="T26" fmla="*/ 74 w 118"/>
                <a:gd name="T27" fmla="*/ 79 h 147"/>
                <a:gd name="T28" fmla="*/ 76 w 118"/>
                <a:gd name="T29" fmla="*/ 74 h 147"/>
                <a:gd name="T30" fmla="*/ 108 w 118"/>
                <a:gd name="T31" fmla="*/ 10 h 147"/>
                <a:gd name="T32" fmla="*/ 10 w 118"/>
                <a:gd name="T33" fmla="*/ 10 h 147"/>
                <a:gd name="T34" fmla="*/ 42 w 118"/>
                <a:gd name="T35" fmla="*/ 74 h 147"/>
                <a:gd name="T36" fmla="*/ 44 w 118"/>
                <a:gd name="T37" fmla="*/ 79 h 147"/>
                <a:gd name="T38" fmla="*/ 44 w 118"/>
                <a:gd name="T3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7">
                  <a:moveTo>
                    <a:pt x="79" y="147"/>
                  </a:moveTo>
                  <a:cubicBezTo>
                    <a:pt x="40" y="147"/>
                    <a:pt x="40" y="147"/>
                    <a:pt x="40" y="147"/>
                  </a:cubicBezTo>
                  <a:cubicBezTo>
                    <a:pt x="37" y="147"/>
                    <a:pt x="35" y="145"/>
                    <a:pt x="35" y="142"/>
                  </a:cubicBezTo>
                  <a:cubicBezTo>
                    <a:pt x="35" y="81"/>
                    <a:pt x="35" y="81"/>
                    <a:pt x="35" y="81"/>
                  </a:cubicBezTo>
                  <a:cubicBezTo>
                    <a:pt x="21" y="73"/>
                    <a:pt x="0" y="52"/>
                    <a:pt x="0" y="5"/>
                  </a:cubicBezTo>
                  <a:cubicBezTo>
                    <a:pt x="0" y="2"/>
                    <a:pt x="3" y="0"/>
                    <a:pt x="5" y="0"/>
                  </a:cubicBezTo>
                  <a:cubicBezTo>
                    <a:pt x="113" y="0"/>
                    <a:pt x="113" y="0"/>
                    <a:pt x="113" y="0"/>
                  </a:cubicBezTo>
                  <a:cubicBezTo>
                    <a:pt x="116" y="0"/>
                    <a:pt x="118" y="2"/>
                    <a:pt x="118" y="5"/>
                  </a:cubicBezTo>
                  <a:cubicBezTo>
                    <a:pt x="118" y="52"/>
                    <a:pt x="98" y="73"/>
                    <a:pt x="84" y="81"/>
                  </a:cubicBezTo>
                  <a:cubicBezTo>
                    <a:pt x="84" y="142"/>
                    <a:pt x="84" y="142"/>
                    <a:pt x="84" y="142"/>
                  </a:cubicBezTo>
                  <a:cubicBezTo>
                    <a:pt x="84" y="145"/>
                    <a:pt x="82" y="147"/>
                    <a:pt x="79" y="147"/>
                  </a:cubicBezTo>
                  <a:close/>
                  <a:moveTo>
                    <a:pt x="44" y="137"/>
                  </a:moveTo>
                  <a:cubicBezTo>
                    <a:pt x="74" y="137"/>
                    <a:pt x="74" y="137"/>
                    <a:pt x="74" y="137"/>
                  </a:cubicBezTo>
                  <a:cubicBezTo>
                    <a:pt x="74" y="79"/>
                    <a:pt x="74" y="79"/>
                    <a:pt x="74" y="79"/>
                  </a:cubicBezTo>
                  <a:cubicBezTo>
                    <a:pt x="74" y="77"/>
                    <a:pt x="75" y="75"/>
                    <a:pt x="76" y="74"/>
                  </a:cubicBezTo>
                  <a:cubicBezTo>
                    <a:pt x="96" y="64"/>
                    <a:pt x="107" y="41"/>
                    <a:pt x="108" y="10"/>
                  </a:cubicBezTo>
                  <a:cubicBezTo>
                    <a:pt x="10" y="10"/>
                    <a:pt x="10" y="10"/>
                    <a:pt x="10" y="10"/>
                  </a:cubicBezTo>
                  <a:cubicBezTo>
                    <a:pt x="11" y="41"/>
                    <a:pt x="22" y="64"/>
                    <a:pt x="42" y="74"/>
                  </a:cubicBezTo>
                  <a:cubicBezTo>
                    <a:pt x="44" y="75"/>
                    <a:pt x="44" y="77"/>
                    <a:pt x="44" y="79"/>
                  </a:cubicBezTo>
                  <a:lnTo>
                    <a:pt x="44"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3" name="Group 92">
            <a:extLst>
              <a:ext uri="{FF2B5EF4-FFF2-40B4-BE49-F238E27FC236}">
                <a16:creationId xmlns:a16="http://schemas.microsoft.com/office/drawing/2014/main" id="{297FFB03-847D-4517-8674-2B858BE39EA1}"/>
              </a:ext>
            </a:extLst>
          </p:cNvPr>
          <p:cNvGrpSpPr>
            <a:grpSpLocks noChangeAspect="1"/>
          </p:cNvGrpSpPr>
          <p:nvPr/>
        </p:nvGrpSpPr>
        <p:grpSpPr>
          <a:xfrm>
            <a:off x="279932" y="2724897"/>
            <a:ext cx="305183" cy="285619"/>
            <a:chOff x="-504825" y="3754438"/>
            <a:chExt cx="371475" cy="347662"/>
          </a:xfrm>
          <a:solidFill>
            <a:schemeClr val="bg2"/>
          </a:solidFill>
        </p:grpSpPr>
        <p:sp>
          <p:nvSpPr>
            <p:cNvPr id="964" name="Freeform 23">
              <a:extLst>
                <a:ext uri="{FF2B5EF4-FFF2-40B4-BE49-F238E27FC236}">
                  <a16:creationId xmlns:a16="http://schemas.microsoft.com/office/drawing/2014/main" id="{F5D68BD6-9E6D-4CDB-B477-59B7C0531E2C}"/>
                </a:ext>
              </a:extLst>
            </p:cNvPr>
            <p:cNvSpPr>
              <a:spLocks/>
            </p:cNvSpPr>
            <p:nvPr/>
          </p:nvSpPr>
          <p:spPr bwMode="auto">
            <a:xfrm>
              <a:off x="-357188" y="3889375"/>
              <a:ext cx="53975" cy="61913"/>
            </a:xfrm>
            <a:custGeom>
              <a:avLst/>
              <a:gdLst>
                <a:gd name="T0" fmla="*/ 12 w 14"/>
                <a:gd name="T1" fmla="*/ 16 h 16"/>
                <a:gd name="T2" fmla="*/ 11 w 14"/>
                <a:gd name="T3" fmla="*/ 16 h 16"/>
                <a:gd name="T4" fmla="*/ 1 w 14"/>
                <a:gd name="T5" fmla="*/ 12 h 16"/>
                <a:gd name="T6" fmla="*/ 0 w 14"/>
                <a:gd name="T7" fmla="*/ 10 h 16"/>
                <a:gd name="T8" fmla="*/ 0 w 14"/>
                <a:gd name="T9" fmla="*/ 2 h 16"/>
                <a:gd name="T10" fmla="*/ 2 w 14"/>
                <a:gd name="T11" fmla="*/ 0 h 16"/>
                <a:gd name="T12" fmla="*/ 4 w 14"/>
                <a:gd name="T13" fmla="*/ 2 h 16"/>
                <a:gd name="T14" fmla="*/ 4 w 14"/>
                <a:gd name="T15" fmla="*/ 9 h 16"/>
                <a:gd name="T16" fmla="*/ 13 w 14"/>
                <a:gd name="T17" fmla="*/ 12 h 16"/>
                <a:gd name="T18" fmla="*/ 14 w 14"/>
                <a:gd name="T19" fmla="*/ 15 h 16"/>
                <a:gd name="T20" fmla="*/ 12 w 1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2" y="16"/>
                  </a:moveTo>
                  <a:cubicBezTo>
                    <a:pt x="12" y="16"/>
                    <a:pt x="12" y="16"/>
                    <a:pt x="11" y="16"/>
                  </a:cubicBezTo>
                  <a:cubicBezTo>
                    <a:pt x="1" y="12"/>
                    <a:pt x="1" y="12"/>
                    <a:pt x="1" y="12"/>
                  </a:cubicBezTo>
                  <a:cubicBezTo>
                    <a:pt x="1" y="12"/>
                    <a:pt x="0" y="11"/>
                    <a:pt x="0" y="10"/>
                  </a:cubicBezTo>
                  <a:cubicBezTo>
                    <a:pt x="0" y="2"/>
                    <a:pt x="0" y="2"/>
                    <a:pt x="0" y="2"/>
                  </a:cubicBezTo>
                  <a:cubicBezTo>
                    <a:pt x="0" y="1"/>
                    <a:pt x="1" y="0"/>
                    <a:pt x="2" y="0"/>
                  </a:cubicBezTo>
                  <a:cubicBezTo>
                    <a:pt x="3" y="0"/>
                    <a:pt x="4" y="1"/>
                    <a:pt x="4" y="2"/>
                  </a:cubicBezTo>
                  <a:cubicBezTo>
                    <a:pt x="4" y="9"/>
                    <a:pt x="4" y="9"/>
                    <a:pt x="4" y="9"/>
                  </a:cubicBezTo>
                  <a:cubicBezTo>
                    <a:pt x="13" y="12"/>
                    <a:pt x="13" y="12"/>
                    <a:pt x="13" y="12"/>
                  </a:cubicBezTo>
                  <a:cubicBezTo>
                    <a:pt x="14" y="13"/>
                    <a:pt x="14" y="14"/>
                    <a:pt x="14" y="15"/>
                  </a:cubicBezTo>
                  <a:cubicBezTo>
                    <a:pt x="14" y="16"/>
                    <a:pt x="13"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5" name="Freeform 24">
              <a:extLst>
                <a:ext uri="{FF2B5EF4-FFF2-40B4-BE49-F238E27FC236}">
                  <a16:creationId xmlns:a16="http://schemas.microsoft.com/office/drawing/2014/main" id="{DBD018F5-5A42-42D1-A717-0A202E46D947}"/>
                </a:ext>
              </a:extLst>
            </p:cNvPr>
            <p:cNvSpPr>
              <a:spLocks/>
            </p:cNvSpPr>
            <p:nvPr/>
          </p:nvSpPr>
          <p:spPr bwMode="auto">
            <a:xfrm>
              <a:off x="-504825" y="3889375"/>
              <a:ext cx="201613" cy="128588"/>
            </a:xfrm>
            <a:custGeom>
              <a:avLst/>
              <a:gdLst>
                <a:gd name="T0" fmla="*/ 50 w 52"/>
                <a:gd name="T1" fmla="*/ 33 h 33"/>
                <a:gd name="T2" fmla="*/ 2 w 52"/>
                <a:gd name="T3" fmla="*/ 33 h 33"/>
                <a:gd name="T4" fmla="*/ 0 w 52"/>
                <a:gd name="T5" fmla="*/ 31 h 33"/>
                <a:gd name="T6" fmla="*/ 0 w 52"/>
                <a:gd name="T7" fmla="*/ 25 h 33"/>
                <a:gd name="T8" fmla="*/ 8 w 52"/>
                <a:gd name="T9" fmla="*/ 14 h 33"/>
                <a:gd name="T10" fmla="*/ 22 w 52"/>
                <a:gd name="T11" fmla="*/ 9 h 33"/>
                <a:gd name="T12" fmla="*/ 22 w 52"/>
                <a:gd name="T13" fmla="*/ 2 h 33"/>
                <a:gd name="T14" fmla="*/ 24 w 52"/>
                <a:gd name="T15" fmla="*/ 0 h 33"/>
                <a:gd name="T16" fmla="*/ 26 w 52"/>
                <a:gd name="T17" fmla="*/ 2 h 33"/>
                <a:gd name="T18" fmla="*/ 26 w 52"/>
                <a:gd name="T19" fmla="*/ 10 h 33"/>
                <a:gd name="T20" fmla="*/ 25 w 52"/>
                <a:gd name="T21" fmla="*/ 12 h 33"/>
                <a:gd name="T22" fmla="*/ 9 w 52"/>
                <a:gd name="T23" fmla="*/ 18 h 33"/>
                <a:gd name="T24" fmla="*/ 4 w 52"/>
                <a:gd name="T25" fmla="*/ 25 h 33"/>
                <a:gd name="T26" fmla="*/ 4 w 52"/>
                <a:gd name="T27" fmla="*/ 29 h 33"/>
                <a:gd name="T28" fmla="*/ 50 w 52"/>
                <a:gd name="T29" fmla="*/ 29 h 33"/>
                <a:gd name="T30" fmla="*/ 52 w 52"/>
                <a:gd name="T31" fmla="*/ 31 h 33"/>
                <a:gd name="T32" fmla="*/ 50 w 52"/>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33">
                  <a:moveTo>
                    <a:pt x="50" y="33"/>
                  </a:moveTo>
                  <a:cubicBezTo>
                    <a:pt x="2" y="33"/>
                    <a:pt x="2" y="33"/>
                    <a:pt x="2" y="33"/>
                  </a:cubicBezTo>
                  <a:cubicBezTo>
                    <a:pt x="1" y="33"/>
                    <a:pt x="0" y="32"/>
                    <a:pt x="0" y="31"/>
                  </a:cubicBezTo>
                  <a:cubicBezTo>
                    <a:pt x="0" y="25"/>
                    <a:pt x="0" y="25"/>
                    <a:pt x="0" y="25"/>
                  </a:cubicBezTo>
                  <a:cubicBezTo>
                    <a:pt x="0" y="20"/>
                    <a:pt x="3" y="16"/>
                    <a:pt x="8" y="14"/>
                  </a:cubicBezTo>
                  <a:cubicBezTo>
                    <a:pt x="22" y="9"/>
                    <a:pt x="22" y="9"/>
                    <a:pt x="22" y="9"/>
                  </a:cubicBezTo>
                  <a:cubicBezTo>
                    <a:pt x="22" y="2"/>
                    <a:pt x="22" y="2"/>
                    <a:pt x="22" y="2"/>
                  </a:cubicBezTo>
                  <a:cubicBezTo>
                    <a:pt x="22" y="1"/>
                    <a:pt x="23" y="0"/>
                    <a:pt x="24" y="0"/>
                  </a:cubicBezTo>
                  <a:cubicBezTo>
                    <a:pt x="25" y="0"/>
                    <a:pt x="26" y="1"/>
                    <a:pt x="26" y="2"/>
                  </a:cubicBezTo>
                  <a:cubicBezTo>
                    <a:pt x="26" y="10"/>
                    <a:pt x="26" y="10"/>
                    <a:pt x="26" y="10"/>
                  </a:cubicBezTo>
                  <a:cubicBezTo>
                    <a:pt x="26" y="11"/>
                    <a:pt x="25" y="12"/>
                    <a:pt x="25" y="12"/>
                  </a:cubicBezTo>
                  <a:cubicBezTo>
                    <a:pt x="9" y="18"/>
                    <a:pt x="9" y="18"/>
                    <a:pt x="9" y="18"/>
                  </a:cubicBezTo>
                  <a:cubicBezTo>
                    <a:pt x="6" y="19"/>
                    <a:pt x="4" y="22"/>
                    <a:pt x="4" y="25"/>
                  </a:cubicBezTo>
                  <a:cubicBezTo>
                    <a:pt x="4" y="29"/>
                    <a:pt x="4" y="29"/>
                    <a:pt x="4" y="29"/>
                  </a:cubicBezTo>
                  <a:cubicBezTo>
                    <a:pt x="50" y="29"/>
                    <a:pt x="50" y="29"/>
                    <a:pt x="50" y="29"/>
                  </a:cubicBezTo>
                  <a:cubicBezTo>
                    <a:pt x="51" y="29"/>
                    <a:pt x="52" y="30"/>
                    <a:pt x="52" y="31"/>
                  </a:cubicBezTo>
                  <a:cubicBezTo>
                    <a:pt x="52" y="32"/>
                    <a:pt x="51" y="33"/>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6" name="Freeform 25">
              <a:extLst>
                <a:ext uri="{FF2B5EF4-FFF2-40B4-BE49-F238E27FC236}">
                  <a16:creationId xmlns:a16="http://schemas.microsoft.com/office/drawing/2014/main" id="{FC7A42F5-C4E0-48ED-BC59-1073F292CE5B}"/>
                </a:ext>
              </a:extLst>
            </p:cNvPr>
            <p:cNvSpPr>
              <a:spLocks noEditPoints="1"/>
            </p:cNvSpPr>
            <p:nvPr/>
          </p:nvSpPr>
          <p:spPr bwMode="auto">
            <a:xfrm>
              <a:off x="-450850" y="3754438"/>
              <a:ext cx="139700" cy="161925"/>
            </a:xfrm>
            <a:custGeom>
              <a:avLst/>
              <a:gdLst>
                <a:gd name="T0" fmla="*/ 18 w 36"/>
                <a:gd name="T1" fmla="*/ 42 h 42"/>
                <a:gd name="T2" fmla="*/ 0 w 36"/>
                <a:gd name="T3" fmla="*/ 21 h 42"/>
                <a:gd name="T4" fmla="*/ 18 w 36"/>
                <a:gd name="T5" fmla="*/ 0 h 42"/>
                <a:gd name="T6" fmla="*/ 36 w 36"/>
                <a:gd name="T7" fmla="*/ 21 h 42"/>
                <a:gd name="T8" fmla="*/ 18 w 36"/>
                <a:gd name="T9" fmla="*/ 42 h 42"/>
                <a:gd name="T10" fmla="*/ 18 w 36"/>
                <a:gd name="T11" fmla="*/ 4 h 42"/>
                <a:gd name="T12" fmla="*/ 4 w 36"/>
                <a:gd name="T13" fmla="*/ 21 h 42"/>
                <a:gd name="T14" fmla="*/ 18 w 36"/>
                <a:gd name="T15" fmla="*/ 38 h 42"/>
                <a:gd name="T16" fmla="*/ 32 w 36"/>
                <a:gd name="T17" fmla="*/ 21 h 42"/>
                <a:gd name="T18" fmla="*/ 18 w 36"/>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2">
                  <a:moveTo>
                    <a:pt x="18" y="42"/>
                  </a:moveTo>
                  <a:cubicBezTo>
                    <a:pt x="8" y="42"/>
                    <a:pt x="0" y="33"/>
                    <a:pt x="0" y="21"/>
                  </a:cubicBezTo>
                  <a:cubicBezTo>
                    <a:pt x="0" y="9"/>
                    <a:pt x="8" y="0"/>
                    <a:pt x="18" y="0"/>
                  </a:cubicBezTo>
                  <a:cubicBezTo>
                    <a:pt x="28" y="0"/>
                    <a:pt x="36" y="9"/>
                    <a:pt x="36" y="21"/>
                  </a:cubicBezTo>
                  <a:cubicBezTo>
                    <a:pt x="36" y="33"/>
                    <a:pt x="28" y="42"/>
                    <a:pt x="18" y="42"/>
                  </a:cubicBezTo>
                  <a:close/>
                  <a:moveTo>
                    <a:pt x="18" y="4"/>
                  </a:moveTo>
                  <a:cubicBezTo>
                    <a:pt x="10" y="4"/>
                    <a:pt x="4" y="12"/>
                    <a:pt x="4" y="21"/>
                  </a:cubicBezTo>
                  <a:cubicBezTo>
                    <a:pt x="4" y="30"/>
                    <a:pt x="10" y="38"/>
                    <a:pt x="18" y="38"/>
                  </a:cubicBezTo>
                  <a:cubicBezTo>
                    <a:pt x="26" y="38"/>
                    <a:pt x="32" y="30"/>
                    <a:pt x="32" y="21"/>
                  </a:cubicBezTo>
                  <a:cubicBezTo>
                    <a:pt x="32" y="12"/>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7" name="Freeform 26">
              <a:extLst>
                <a:ext uri="{FF2B5EF4-FFF2-40B4-BE49-F238E27FC236}">
                  <a16:creationId xmlns:a16="http://schemas.microsoft.com/office/drawing/2014/main" id="{B3CC0597-79DC-4489-9FDD-CC4E2D09154F}"/>
                </a:ext>
              </a:extLst>
            </p:cNvPr>
            <p:cNvSpPr>
              <a:spLocks/>
            </p:cNvSpPr>
            <p:nvPr/>
          </p:nvSpPr>
          <p:spPr bwMode="auto">
            <a:xfrm>
              <a:off x="-450850" y="3795713"/>
              <a:ext cx="139700" cy="42863"/>
            </a:xfrm>
            <a:custGeom>
              <a:avLst/>
              <a:gdLst>
                <a:gd name="T0" fmla="*/ 30 w 36"/>
                <a:gd name="T1" fmla="*/ 11 h 11"/>
                <a:gd name="T2" fmla="*/ 20 w 36"/>
                <a:gd name="T3" fmla="*/ 6 h 11"/>
                <a:gd name="T4" fmla="*/ 8 w 36"/>
                <a:gd name="T5" fmla="*/ 10 h 11"/>
                <a:gd name="T6" fmla="*/ 1 w 36"/>
                <a:gd name="T7" fmla="*/ 9 h 11"/>
                <a:gd name="T8" fmla="*/ 1 w 36"/>
                <a:gd name="T9" fmla="*/ 6 h 11"/>
                <a:gd name="T10" fmla="*/ 3 w 36"/>
                <a:gd name="T11" fmla="*/ 5 h 11"/>
                <a:gd name="T12" fmla="*/ 8 w 36"/>
                <a:gd name="T13" fmla="*/ 6 h 11"/>
                <a:gd name="T14" fmla="*/ 19 w 36"/>
                <a:gd name="T15" fmla="*/ 1 h 11"/>
                <a:gd name="T16" fmla="*/ 20 w 36"/>
                <a:gd name="T17" fmla="*/ 0 h 11"/>
                <a:gd name="T18" fmla="*/ 22 w 36"/>
                <a:gd name="T19" fmla="*/ 1 h 11"/>
                <a:gd name="T20" fmla="*/ 32 w 36"/>
                <a:gd name="T21" fmla="*/ 6 h 11"/>
                <a:gd name="T22" fmla="*/ 33 w 36"/>
                <a:gd name="T23" fmla="*/ 6 h 11"/>
                <a:gd name="T24" fmla="*/ 33 w 36"/>
                <a:gd name="T25" fmla="*/ 6 h 11"/>
                <a:gd name="T26" fmla="*/ 36 w 36"/>
                <a:gd name="T27" fmla="*/ 8 h 11"/>
                <a:gd name="T28" fmla="*/ 34 w 36"/>
                <a:gd name="T29" fmla="*/ 10 h 11"/>
                <a:gd name="T30" fmla="*/ 33 w 36"/>
                <a:gd name="T31" fmla="*/ 10 h 11"/>
                <a:gd name="T32" fmla="*/ 33 w 36"/>
                <a:gd name="T33" fmla="*/ 10 h 11"/>
                <a:gd name="T34" fmla="*/ 30 w 36"/>
                <a:gd name="T3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11">
                  <a:moveTo>
                    <a:pt x="30" y="11"/>
                  </a:moveTo>
                  <a:cubicBezTo>
                    <a:pt x="26" y="11"/>
                    <a:pt x="23" y="9"/>
                    <a:pt x="20" y="6"/>
                  </a:cubicBezTo>
                  <a:cubicBezTo>
                    <a:pt x="17" y="8"/>
                    <a:pt x="13" y="10"/>
                    <a:pt x="8" y="10"/>
                  </a:cubicBezTo>
                  <a:cubicBezTo>
                    <a:pt x="6" y="10"/>
                    <a:pt x="4" y="10"/>
                    <a:pt x="1" y="9"/>
                  </a:cubicBezTo>
                  <a:cubicBezTo>
                    <a:pt x="0" y="8"/>
                    <a:pt x="0" y="7"/>
                    <a:pt x="1" y="6"/>
                  </a:cubicBezTo>
                  <a:cubicBezTo>
                    <a:pt x="1" y="5"/>
                    <a:pt x="2" y="5"/>
                    <a:pt x="3" y="5"/>
                  </a:cubicBezTo>
                  <a:cubicBezTo>
                    <a:pt x="5" y="6"/>
                    <a:pt x="7" y="6"/>
                    <a:pt x="8" y="6"/>
                  </a:cubicBezTo>
                  <a:cubicBezTo>
                    <a:pt x="12" y="6"/>
                    <a:pt x="17" y="4"/>
                    <a:pt x="19" y="1"/>
                  </a:cubicBezTo>
                  <a:cubicBezTo>
                    <a:pt x="19" y="1"/>
                    <a:pt x="20" y="0"/>
                    <a:pt x="20" y="0"/>
                  </a:cubicBezTo>
                  <a:cubicBezTo>
                    <a:pt x="21" y="0"/>
                    <a:pt x="22" y="1"/>
                    <a:pt x="22" y="1"/>
                  </a:cubicBezTo>
                  <a:cubicBezTo>
                    <a:pt x="25" y="6"/>
                    <a:pt x="27" y="7"/>
                    <a:pt x="32" y="6"/>
                  </a:cubicBezTo>
                  <a:cubicBezTo>
                    <a:pt x="32" y="6"/>
                    <a:pt x="33" y="6"/>
                    <a:pt x="33" y="6"/>
                  </a:cubicBezTo>
                  <a:cubicBezTo>
                    <a:pt x="33" y="6"/>
                    <a:pt x="33" y="6"/>
                    <a:pt x="33" y="6"/>
                  </a:cubicBezTo>
                  <a:cubicBezTo>
                    <a:pt x="34" y="6"/>
                    <a:pt x="35" y="7"/>
                    <a:pt x="36" y="8"/>
                  </a:cubicBezTo>
                  <a:cubicBezTo>
                    <a:pt x="36" y="9"/>
                    <a:pt x="35" y="10"/>
                    <a:pt x="34" y="10"/>
                  </a:cubicBezTo>
                  <a:cubicBezTo>
                    <a:pt x="34" y="10"/>
                    <a:pt x="33" y="10"/>
                    <a:pt x="33" y="10"/>
                  </a:cubicBezTo>
                  <a:cubicBezTo>
                    <a:pt x="33" y="10"/>
                    <a:pt x="33" y="10"/>
                    <a:pt x="33" y="10"/>
                  </a:cubicBezTo>
                  <a:cubicBezTo>
                    <a:pt x="31" y="11"/>
                    <a:pt x="30" y="11"/>
                    <a:pt x="3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8" name="Freeform 27">
              <a:extLst>
                <a:ext uri="{FF2B5EF4-FFF2-40B4-BE49-F238E27FC236}">
                  <a16:creationId xmlns:a16="http://schemas.microsoft.com/office/drawing/2014/main" id="{198DEF2A-8B6B-499C-9047-50B4CC48F215}"/>
                </a:ext>
              </a:extLst>
            </p:cNvPr>
            <p:cNvSpPr>
              <a:spLocks/>
            </p:cNvSpPr>
            <p:nvPr/>
          </p:nvSpPr>
          <p:spPr bwMode="auto">
            <a:xfrm>
              <a:off x="-287338" y="3754438"/>
              <a:ext cx="76200" cy="161925"/>
            </a:xfrm>
            <a:custGeom>
              <a:avLst/>
              <a:gdLst>
                <a:gd name="T0" fmla="*/ 2 w 20"/>
                <a:gd name="T1" fmla="*/ 42 h 42"/>
                <a:gd name="T2" fmla="*/ 0 w 20"/>
                <a:gd name="T3" fmla="*/ 40 h 42"/>
                <a:gd name="T4" fmla="*/ 2 w 20"/>
                <a:gd name="T5" fmla="*/ 38 h 42"/>
                <a:gd name="T6" fmla="*/ 16 w 20"/>
                <a:gd name="T7" fmla="*/ 21 h 42"/>
                <a:gd name="T8" fmla="*/ 2 w 20"/>
                <a:gd name="T9" fmla="*/ 4 h 42"/>
                <a:gd name="T10" fmla="*/ 0 w 20"/>
                <a:gd name="T11" fmla="*/ 2 h 42"/>
                <a:gd name="T12" fmla="*/ 2 w 20"/>
                <a:gd name="T13" fmla="*/ 0 h 42"/>
                <a:gd name="T14" fmla="*/ 20 w 20"/>
                <a:gd name="T15" fmla="*/ 21 h 42"/>
                <a:gd name="T16" fmla="*/ 2 w 20"/>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2">
                  <a:moveTo>
                    <a:pt x="2" y="42"/>
                  </a:moveTo>
                  <a:cubicBezTo>
                    <a:pt x="1" y="42"/>
                    <a:pt x="0" y="41"/>
                    <a:pt x="0" y="40"/>
                  </a:cubicBezTo>
                  <a:cubicBezTo>
                    <a:pt x="0" y="39"/>
                    <a:pt x="1" y="38"/>
                    <a:pt x="2" y="38"/>
                  </a:cubicBezTo>
                  <a:cubicBezTo>
                    <a:pt x="10" y="38"/>
                    <a:pt x="16" y="30"/>
                    <a:pt x="16" y="21"/>
                  </a:cubicBezTo>
                  <a:cubicBezTo>
                    <a:pt x="16" y="12"/>
                    <a:pt x="10" y="4"/>
                    <a:pt x="2" y="4"/>
                  </a:cubicBezTo>
                  <a:cubicBezTo>
                    <a:pt x="1" y="4"/>
                    <a:pt x="0" y="3"/>
                    <a:pt x="0" y="2"/>
                  </a:cubicBezTo>
                  <a:cubicBezTo>
                    <a:pt x="0" y="1"/>
                    <a:pt x="1" y="0"/>
                    <a:pt x="2" y="0"/>
                  </a:cubicBezTo>
                  <a:cubicBezTo>
                    <a:pt x="12" y="0"/>
                    <a:pt x="20" y="9"/>
                    <a:pt x="20" y="21"/>
                  </a:cubicBezTo>
                  <a:cubicBezTo>
                    <a:pt x="20" y="33"/>
                    <a:pt x="12" y="42"/>
                    <a:pt x="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9" name="Freeform 28">
              <a:extLst>
                <a:ext uri="{FF2B5EF4-FFF2-40B4-BE49-F238E27FC236}">
                  <a16:creationId xmlns:a16="http://schemas.microsoft.com/office/drawing/2014/main" id="{52B51D10-A380-40E3-9755-D19E7ADA429E}"/>
                </a:ext>
              </a:extLst>
            </p:cNvPr>
            <p:cNvSpPr>
              <a:spLocks/>
            </p:cNvSpPr>
            <p:nvPr/>
          </p:nvSpPr>
          <p:spPr bwMode="auto">
            <a:xfrm>
              <a:off x="-280988" y="3795713"/>
              <a:ext cx="69850" cy="42863"/>
            </a:xfrm>
            <a:custGeom>
              <a:avLst/>
              <a:gdLst>
                <a:gd name="T0" fmla="*/ 12 w 18"/>
                <a:gd name="T1" fmla="*/ 11 h 11"/>
                <a:gd name="T2" fmla="*/ 1 w 18"/>
                <a:gd name="T3" fmla="*/ 3 h 11"/>
                <a:gd name="T4" fmla="*/ 1 w 18"/>
                <a:gd name="T5" fmla="*/ 1 h 11"/>
                <a:gd name="T6" fmla="*/ 4 w 18"/>
                <a:gd name="T7" fmla="*/ 1 h 11"/>
                <a:gd name="T8" fmla="*/ 14 w 18"/>
                <a:gd name="T9" fmla="*/ 6 h 11"/>
                <a:gd name="T10" fmla="*/ 15 w 18"/>
                <a:gd name="T11" fmla="*/ 6 h 11"/>
                <a:gd name="T12" fmla="*/ 15 w 18"/>
                <a:gd name="T13" fmla="*/ 6 h 11"/>
                <a:gd name="T14" fmla="*/ 18 w 18"/>
                <a:gd name="T15" fmla="*/ 8 h 11"/>
                <a:gd name="T16" fmla="*/ 16 w 18"/>
                <a:gd name="T17" fmla="*/ 10 h 11"/>
                <a:gd name="T18" fmla="*/ 15 w 18"/>
                <a:gd name="T19" fmla="*/ 10 h 11"/>
                <a:gd name="T20" fmla="*/ 15 w 18"/>
                <a:gd name="T21" fmla="*/ 10 h 11"/>
                <a:gd name="T22" fmla="*/ 12 w 18"/>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
                  <a:moveTo>
                    <a:pt x="12" y="11"/>
                  </a:moveTo>
                  <a:cubicBezTo>
                    <a:pt x="7" y="11"/>
                    <a:pt x="4" y="8"/>
                    <a:pt x="1" y="3"/>
                  </a:cubicBezTo>
                  <a:cubicBezTo>
                    <a:pt x="0" y="2"/>
                    <a:pt x="0" y="1"/>
                    <a:pt x="1" y="1"/>
                  </a:cubicBezTo>
                  <a:cubicBezTo>
                    <a:pt x="2" y="0"/>
                    <a:pt x="4" y="0"/>
                    <a:pt x="4" y="1"/>
                  </a:cubicBezTo>
                  <a:cubicBezTo>
                    <a:pt x="7" y="6"/>
                    <a:pt x="9" y="7"/>
                    <a:pt x="14" y="6"/>
                  </a:cubicBezTo>
                  <a:cubicBezTo>
                    <a:pt x="14" y="6"/>
                    <a:pt x="15" y="6"/>
                    <a:pt x="15" y="6"/>
                  </a:cubicBezTo>
                  <a:cubicBezTo>
                    <a:pt x="15" y="6"/>
                    <a:pt x="15" y="6"/>
                    <a:pt x="15" y="6"/>
                  </a:cubicBezTo>
                  <a:cubicBezTo>
                    <a:pt x="16" y="6"/>
                    <a:pt x="17" y="7"/>
                    <a:pt x="18" y="8"/>
                  </a:cubicBezTo>
                  <a:cubicBezTo>
                    <a:pt x="18" y="9"/>
                    <a:pt x="17" y="10"/>
                    <a:pt x="16" y="10"/>
                  </a:cubicBezTo>
                  <a:cubicBezTo>
                    <a:pt x="16" y="10"/>
                    <a:pt x="15" y="10"/>
                    <a:pt x="15" y="10"/>
                  </a:cubicBezTo>
                  <a:cubicBezTo>
                    <a:pt x="15" y="10"/>
                    <a:pt x="15" y="10"/>
                    <a:pt x="15" y="10"/>
                  </a:cubicBezTo>
                  <a:cubicBezTo>
                    <a:pt x="13"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0" name="Freeform 29">
              <a:extLst>
                <a:ext uri="{FF2B5EF4-FFF2-40B4-BE49-F238E27FC236}">
                  <a16:creationId xmlns:a16="http://schemas.microsoft.com/office/drawing/2014/main" id="{4D54669B-8EC9-4CAD-A939-404C0F4F1495}"/>
                </a:ext>
              </a:extLst>
            </p:cNvPr>
            <p:cNvSpPr>
              <a:spLocks/>
            </p:cNvSpPr>
            <p:nvPr/>
          </p:nvSpPr>
          <p:spPr bwMode="auto">
            <a:xfrm>
              <a:off x="-257175" y="3889375"/>
              <a:ext cx="15875" cy="50800"/>
            </a:xfrm>
            <a:custGeom>
              <a:avLst/>
              <a:gdLst>
                <a:gd name="T0" fmla="*/ 2 w 4"/>
                <a:gd name="T1" fmla="*/ 13 h 13"/>
                <a:gd name="T2" fmla="*/ 0 w 4"/>
                <a:gd name="T3" fmla="*/ 11 h 13"/>
                <a:gd name="T4" fmla="*/ 0 w 4"/>
                <a:gd name="T5" fmla="*/ 2 h 13"/>
                <a:gd name="T6" fmla="*/ 2 w 4"/>
                <a:gd name="T7" fmla="*/ 0 h 13"/>
                <a:gd name="T8" fmla="*/ 4 w 4"/>
                <a:gd name="T9" fmla="*/ 2 h 13"/>
                <a:gd name="T10" fmla="*/ 4 w 4"/>
                <a:gd name="T11" fmla="*/ 11 h 13"/>
                <a:gd name="T12" fmla="*/ 2 w 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2" y="13"/>
                  </a:moveTo>
                  <a:cubicBezTo>
                    <a:pt x="1" y="13"/>
                    <a:pt x="0" y="12"/>
                    <a:pt x="0" y="11"/>
                  </a:cubicBezTo>
                  <a:cubicBezTo>
                    <a:pt x="0" y="2"/>
                    <a:pt x="0" y="2"/>
                    <a:pt x="0" y="2"/>
                  </a:cubicBezTo>
                  <a:cubicBezTo>
                    <a:pt x="0" y="1"/>
                    <a:pt x="1" y="0"/>
                    <a:pt x="2" y="0"/>
                  </a:cubicBezTo>
                  <a:cubicBezTo>
                    <a:pt x="3" y="0"/>
                    <a:pt x="4" y="1"/>
                    <a:pt x="4" y="2"/>
                  </a:cubicBezTo>
                  <a:cubicBezTo>
                    <a:pt x="4" y="11"/>
                    <a:pt x="4" y="11"/>
                    <a:pt x="4" y="11"/>
                  </a:cubicBezTo>
                  <a:cubicBezTo>
                    <a:pt x="4" y="12"/>
                    <a:pt x="3"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1" name="Freeform 30">
              <a:extLst>
                <a:ext uri="{FF2B5EF4-FFF2-40B4-BE49-F238E27FC236}">
                  <a16:creationId xmlns:a16="http://schemas.microsoft.com/office/drawing/2014/main" id="{48D8BE56-7E89-4845-ADB1-46DA8CF106FD}"/>
                </a:ext>
              </a:extLst>
            </p:cNvPr>
            <p:cNvSpPr>
              <a:spLocks noEditPoints="1"/>
            </p:cNvSpPr>
            <p:nvPr/>
          </p:nvSpPr>
          <p:spPr bwMode="auto">
            <a:xfrm>
              <a:off x="-287338" y="3956050"/>
              <a:ext cx="153988" cy="146050"/>
            </a:xfrm>
            <a:custGeom>
              <a:avLst/>
              <a:gdLst>
                <a:gd name="T0" fmla="*/ 14 w 40"/>
                <a:gd name="T1" fmla="*/ 38 h 38"/>
                <a:gd name="T2" fmla="*/ 13 w 40"/>
                <a:gd name="T3" fmla="*/ 38 h 38"/>
                <a:gd name="T4" fmla="*/ 12 w 40"/>
                <a:gd name="T5" fmla="*/ 36 h 38"/>
                <a:gd name="T6" fmla="*/ 12 w 40"/>
                <a:gd name="T7" fmla="*/ 28 h 38"/>
                <a:gd name="T8" fmla="*/ 2 w 40"/>
                <a:gd name="T9" fmla="*/ 28 h 38"/>
                <a:gd name="T10" fmla="*/ 0 w 40"/>
                <a:gd name="T11" fmla="*/ 26 h 38"/>
                <a:gd name="T12" fmla="*/ 0 w 40"/>
                <a:gd name="T13" fmla="*/ 2 h 38"/>
                <a:gd name="T14" fmla="*/ 2 w 40"/>
                <a:gd name="T15" fmla="*/ 0 h 38"/>
                <a:gd name="T16" fmla="*/ 38 w 40"/>
                <a:gd name="T17" fmla="*/ 0 h 38"/>
                <a:gd name="T18" fmla="*/ 40 w 40"/>
                <a:gd name="T19" fmla="*/ 2 h 38"/>
                <a:gd name="T20" fmla="*/ 40 w 40"/>
                <a:gd name="T21" fmla="*/ 26 h 38"/>
                <a:gd name="T22" fmla="*/ 38 w 40"/>
                <a:gd name="T23" fmla="*/ 28 h 38"/>
                <a:gd name="T24" fmla="*/ 25 w 40"/>
                <a:gd name="T25" fmla="*/ 28 h 38"/>
                <a:gd name="T26" fmla="*/ 15 w 40"/>
                <a:gd name="T27" fmla="*/ 37 h 38"/>
                <a:gd name="T28" fmla="*/ 14 w 40"/>
                <a:gd name="T29" fmla="*/ 38 h 38"/>
                <a:gd name="T30" fmla="*/ 4 w 40"/>
                <a:gd name="T31" fmla="*/ 24 h 38"/>
                <a:gd name="T32" fmla="*/ 14 w 40"/>
                <a:gd name="T33" fmla="*/ 24 h 38"/>
                <a:gd name="T34" fmla="*/ 16 w 40"/>
                <a:gd name="T35" fmla="*/ 26 h 38"/>
                <a:gd name="T36" fmla="*/ 16 w 40"/>
                <a:gd name="T37" fmla="*/ 31 h 38"/>
                <a:gd name="T38" fmla="*/ 23 w 40"/>
                <a:gd name="T39" fmla="*/ 25 h 38"/>
                <a:gd name="T40" fmla="*/ 24 w 40"/>
                <a:gd name="T41" fmla="*/ 24 h 38"/>
                <a:gd name="T42" fmla="*/ 36 w 40"/>
                <a:gd name="T43" fmla="*/ 24 h 38"/>
                <a:gd name="T44" fmla="*/ 36 w 40"/>
                <a:gd name="T45" fmla="*/ 4 h 38"/>
                <a:gd name="T46" fmla="*/ 4 w 40"/>
                <a:gd name="T47" fmla="*/ 4 h 38"/>
                <a:gd name="T48" fmla="*/ 4 w 40"/>
                <a:gd name="T4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38">
                  <a:moveTo>
                    <a:pt x="14" y="38"/>
                  </a:moveTo>
                  <a:cubicBezTo>
                    <a:pt x="14" y="38"/>
                    <a:pt x="13" y="38"/>
                    <a:pt x="13" y="38"/>
                  </a:cubicBezTo>
                  <a:cubicBezTo>
                    <a:pt x="12" y="38"/>
                    <a:pt x="12" y="37"/>
                    <a:pt x="12" y="36"/>
                  </a:cubicBezTo>
                  <a:cubicBezTo>
                    <a:pt x="12" y="28"/>
                    <a:pt x="12" y="28"/>
                    <a:pt x="12" y="28"/>
                  </a:cubicBezTo>
                  <a:cubicBezTo>
                    <a:pt x="2" y="28"/>
                    <a:pt x="2" y="28"/>
                    <a:pt x="2" y="28"/>
                  </a:cubicBezTo>
                  <a:cubicBezTo>
                    <a:pt x="1" y="28"/>
                    <a:pt x="0" y="27"/>
                    <a:pt x="0" y="26"/>
                  </a:cubicBezTo>
                  <a:cubicBezTo>
                    <a:pt x="0" y="2"/>
                    <a:pt x="0" y="2"/>
                    <a:pt x="0" y="2"/>
                  </a:cubicBezTo>
                  <a:cubicBezTo>
                    <a:pt x="0" y="1"/>
                    <a:pt x="1" y="0"/>
                    <a:pt x="2" y="0"/>
                  </a:cubicBezTo>
                  <a:cubicBezTo>
                    <a:pt x="38" y="0"/>
                    <a:pt x="38" y="0"/>
                    <a:pt x="38" y="0"/>
                  </a:cubicBezTo>
                  <a:cubicBezTo>
                    <a:pt x="39" y="0"/>
                    <a:pt x="40" y="1"/>
                    <a:pt x="40" y="2"/>
                  </a:cubicBezTo>
                  <a:cubicBezTo>
                    <a:pt x="40" y="26"/>
                    <a:pt x="40" y="26"/>
                    <a:pt x="40" y="26"/>
                  </a:cubicBezTo>
                  <a:cubicBezTo>
                    <a:pt x="40" y="27"/>
                    <a:pt x="39" y="28"/>
                    <a:pt x="38" y="28"/>
                  </a:cubicBezTo>
                  <a:cubicBezTo>
                    <a:pt x="25" y="28"/>
                    <a:pt x="25" y="28"/>
                    <a:pt x="25" y="28"/>
                  </a:cubicBezTo>
                  <a:cubicBezTo>
                    <a:pt x="15" y="37"/>
                    <a:pt x="15" y="37"/>
                    <a:pt x="15" y="37"/>
                  </a:cubicBezTo>
                  <a:cubicBezTo>
                    <a:pt x="15" y="38"/>
                    <a:pt x="15" y="38"/>
                    <a:pt x="14" y="38"/>
                  </a:cubicBezTo>
                  <a:close/>
                  <a:moveTo>
                    <a:pt x="4" y="24"/>
                  </a:moveTo>
                  <a:cubicBezTo>
                    <a:pt x="14" y="24"/>
                    <a:pt x="14" y="24"/>
                    <a:pt x="14" y="24"/>
                  </a:cubicBezTo>
                  <a:cubicBezTo>
                    <a:pt x="15" y="24"/>
                    <a:pt x="16" y="25"/>
                    <a:pt x="16" y="26"/>
                  </a:cubicBezTo>
                  <a:cubicBezTo>
                    <a:pt x="16" y="31"/>
                    <a:pt x="16" y="31"/>
                    <a:pt x="16" y="31"/>
                  </a:cubicBezTo>
                  <a:cubicBezTo>
                    <a:pt x="23" y="25"/>
                    <a:pt x="23" y="25"/>
                    <a:pt x="23" y="25"/>
                  </a:cubicBezTo>
                  <a:cubicBezTo>
                    <a:pt x="23" y="24"/>
                    <a:pt x="23" y="24"/>
                    <a:pt x="24" y="24"/>
                  </a:cubicBezTo>
                  <a:cubicBezTo>
                    <a:pt x="36" y="24"/>
                    <a:pt x="36" y="24"/>
                    <a:pt x="36" y="24"/>
                  </a:cubicBezTo>
                  <a:cubicBezTo>
                    <a:pt x="36" y="4"/>
                    <a:pt x="36" y="4"/>
                    <a:pt x="36" y="4"/>
                  </a:cubicBezTo>
                  <a:cubicBezTo>
                    <a:pt x="4" y="4"/>
                    <a:pt x="4" y="4"/>
                    <a:pt x="4" y="4"/>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2" name="Freeform 31">
              <a:extLst>
                <a:ext uri="{FF2B5EF4-FFF2-40B4-BE49-F238E27FC236}">
                  <a16:creationId xmlns:a16="http://schemas.microsoft.com/office/drawing/2014/main" id="{26DD9205-4171-421B-8427-70A2271EDB94}"/>
                </a:ext>
              </a:extLst>
            </p:cNvPr>
            <p:cNvSpPr>
              <a:spLocks/>
            </p:cNvSpPr>
            <p:nvPr/>
          </p:nvSpPr>
          <p:spPr bwMode="auto">
            <a:xfrm>
              <a:off x="-257175" y="3986213"/>
              <a:ext cx="93663" cy="15875"/>
            </a:xfrm>
            <a:custGeom>
              <a:avLst/>
              <a:gdLst>
                <a:gd name="T0" fmla="*/ 22 w 24"/>
                <a:gd name="T1" fmla="*/ 4 h 4"/>
                <a:gd name="T2" fmla="*/ 2 w 24"/>
                <a:gd name="T3" fmla="*/ 4 h 4"/>
                <a:gd name="T4" fmla="*/ 0 w 24"/>
                <a:gd name="T5" fmla="*/ 2 h 4"/>
                <a:gd name="T6" fmla="*/ 2 w 24"/>
                <a:gd name="T7" fmla="*/ 0 h 4"/>
                <a:gd name="T8" fmla="*/ 22 w 24"/>
                <a:gd name="T9" fmla="*/ 0 h 4"/>
                <a:gd name="T10" fmla="*/ 24 w 24"/>
                <a:gd name="T11" fmla="*/ 2 h 4"/>
                <a:gd name="T12" fmla="*/ 2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4"/>
                  </a:moveTo>
                  <a:cubicBezTo>
                    <a:pt x="2" y="4"/>
                    <a:pt x="2" y="4"/>
                    <a:pt x="2" y="4"/>
                  </a:cubicBezTo>
                  <a:cubicBezTo>
                    <a:pt x="1" y="4"/>
                    <a:pt x="0" y="3"/>
                    <a:pt x="0" y="2"/>
                  </a:cubicBezTo>
                  <a:cubicBezTo>
                    <a:pt x="0" y="1"/>
                    <a:pt x="1" y="0"/>
                    <a:pt x="2" y="0"/>
                  </a:cubicBezTo>
                  <a:cubicBezTo>
                    <a:pt x="22" y="0"/>
                    <a:pt x="22" y="0"/>
                    <a:pt x="22" y="0"/>
                  </a:cubicBezTo>
                  <a:cubicBezTo>
                    <a:pt x="23" y="0"/>
                    <a:pt x="24" y="1"/>
                    <a:pt x="24" y="2"/>
                  </a:cubicBezTo>
                  <a:cubicBezTo>
                    <a:pt x="24" y="3"/>
                    <a:pt x="23"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3" name="Freeform 32">
              <a:extLst>
                <a:ext uri="{FF2B5EF4-FFF2-40B4-BE49-F238E27FC236}">
                  <a16:creationId xmlns:a16="http://schemas.microsoft.com/office/drawing/2014/main" id="{1C756F9F-D3E6-424F-B0C0-3712DF1446FA}"/>
                </a:ext>
              </a:extLst>
            </p:cNvPr>
            <p:cNvSpPr>
              <a:spLocks/>
            </p:cNvSpPr>
            <p:nvPr/>
          </p:nvSpPr>
          <p:spPr bwMode="auto">
            <a:xfrm>
              <a:off x="-257175" y="4017963"/>
              <a:ext cx="69850" cy="14288"/>
            </a:xfrm>
            <a:custGeom>
              <a:avLst/>
              <a:gdLst>
                <a:gd name="T0" fmla="*/ 16 w 18"/>
                <a:gd name="T1" fmla="*/ 4 h 4"/>
                <a:gd name="T2" fmla="*/ 2 w 18"/>
                <a:gd name="T3" fmla="*/ 4 h 4"/>
                <a:gd name="T4" fmla="*/ 0 w 18"/>
                <a:gd name="T5" fmla="*/ 2 h 4"/>
                <a:gd name="T6" fmla="*/ 2 w 18"/>
                <a:gd name="T7" fmla="*/ 0 h 4"/>
                <a:gd name="T8" fmla="*/ 16 w 18"/>
                <a:gd name="T9" fmla="*/ 0 h 4"/>
                <a:gd name="T10" fmla="*/ 18 w 18"/>
                <a:gd name="T11" fmla="*/ 2 h 4"/>
                <a:gd name="T12" fmla="*/ 16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6" y="4"/>
                  </a:moveTo>
                  <a:cubicBezTo>
                    <a:pt x="2" y="4"/>
                    <a:pt x="2" y="4"/>
                    <a:pt x="2" y="4"/>
                  </a:cubicBezTo>
                  <a:cubicBezTo>
                    <a:pt x="1" y="4"/>
                    <a:pt x="0" y="3"/>
                    <a:pt x="0" y="2"/>
                  </a:cubicBezTo>
                  <a:cubicBezTo>
                    <a:pt x="0" y="1"/>
                    <a:pt x="1" y="0"/>
                    <a:pt x="2" y="0"/>
                  </a:cubicBezTo>
                  <a:cubicBezTo>
                    <a:pt x="16" y="0"/>
                    <a:pt x="16" y="0"/>
                    <a:pt x="16" y="0"/>
                  </a:cubicBezTo>
                  <a:cubicBezTo>
                    <a:pt x="17" y="0"/>
                    <a:pt x="18" y="1"/>
                    <a:pt x="18" y="2"/>
                  </a:cubicBezTo>
                  <a:cubicBezTo>
                    <a:pt x="18" y="3"/>
                    <a:pt x="17"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78" name="Group 6">
            <a:extLst>
              <a:ext uri="{FF2B5EF4-FFF2-40B4-BE49-F238E27FC236}">
                <a16:creationId xmlns:a16="http://schemas.microsoft.com/office/drawing/2014/main" id="{3177E350-AA53-41D5-8D86-07F92D260AB3}"/>
              </a:ext>
            </a:extLst>
          </p:cNvPr>
          <p:cNvGrpSpPr>
            <a:grpSpLocks noChangeAspect="1"/>
          </p:cNvGrpSpPr>
          <p:nvPr/>
        </p:nvGrpSpPr>
        <p:grpSpPr>
          <a:xfrm>
            <a:off x="6173952" y="4340505"/>
            <a:ext cx="310982" cy="285619"/>
            <a:chOff x="895350" y="922338"/>
            <a:chExt cx="895351" cy="822326"/>
          </a:xfrm>
          <a:solidFill>
            <a:schemeClr val="bg2"/>
          </a:solidFill>
        </p:grpSpPr>
        <p:sp>
          <p:nvSpPr>
            <p:cNvPr id="1079" name="Freeform 5">
              <a:extLst>
                <a:ext uri="{FF2B5EF4-FFF2-40B4-BE49-F238E27FC236}">
                  <a16:creationId xmlns:a16="http://schemas.microsoft.com/office/drawing/2014/main" id="{D3B9E902-9267-4436-A2A7-A1353D10E76B}"/>
                </a:ext>
              </a:extLst>
            </p:cNvPr>
            <p:cNvSpPr>
              <a:spLocks noEditPoints="1"/>
            </p:cNvSpPr>
            <p:nvPr/>
          </p:nvSpPr>
          <p:spPr bwMode="auto">
            <a:xfrm>
              <a:off x="895350" y="922338"/>
              <a:ext cx="741363" cy="633413"/>
            </a:xfrm>
            <a:custGeom>
              <a:avLst/>
              <a:gdLst>
                <a:gd name="T0" fmla="*/ 3688 w 3688"/>
                <a:gd name="T1" fmla="*/ 1552 h 3151"/>
                <a:gd name="T2" fmla="*/ 3688 w 3688"/>
                <a:gd name="T3" fmla="*/ 151 h 3151"/>
                <a:gd name="T4" fmla="*/ 3539 w 3688"/>
                <a:gd name="T5" fmla="*/ 0 h 3151"/>
                <a:gd name="T6" fmla="*/ 157 w 3688"/>
                <a:gd name="T7" fmla="*/ 0 h 3151"/>
                <a:gd name="T8" fmla="*/ 0 w 3688"/>
                <a:gd name="T9" fmla="*/ 151 h 3151"/>
                <a:gd name="T10" fmla="*/ 0 w 3688"/>
                <a:gd name="T11" fmla="*/ 2287 h 3151"/>
                <a:gd name="T12" fmla="*/ 157 w 3688"/>
                <a:gd name="T13" fmla="*/ 2444 h 3151"/>
                <a:gd name="T14" fmla="*/ 536 w 3688"/>
                <a:gd name="T15" fmla="*/ 2444 h 3151"/>
                <a:gd name="T16" fmla="*/ 536 w 3688"/>
                <a:gd name="T17" fmla="*/ 2998 h 3151"/>
                <a:gd name="T18" fmla="*/ 632 w 3688"/>
                <a:gd name="T19" fmla="*/ 3140 h 3151"/>
                <a:gd name="T20" fmla="*/ 691 w 3688"/>
                <a:gd name="T21" fmla="*/ 3151 h 3151"/>
                <a:gd name="T22" fmla="*/ 799 w 3688"/>
                <a:gd name="T23" fmla="*/ 3109 h 3151"/>
                <a:gd name="T24" fmla="*/ 1466 w 3688"/>
                <a:gd name="T25" fmla="*/ 2444 h 3151"/>
                <a:gd name="T26" fmla="*/ 1908 w 3688"/>
                <a:gd name="T27" fmla="*/ 2444 h 3151"/>
                <a:gd name="T28" fmla="*/ 1908 w 3688"/>
                <a:gd name="T29" fmla="*/ 1575 h 3151"/>
                <a:gd name="T30" fmla="*/ 1937 w 3688"/>
                <a:gd name="T31" fmla="*/ 1552 h 3151"/>
                <a:gd name="T32" fmla="*/ 3688 w 3688"/>
                <a:gd name="T33" fmla="*/ 1552 h 3151"/>
                <a:gd name="T34" fmla="*/ 691 w 3688"/>
                <a:gd name="T35" fmla="*/ 3024 h 3151"/>
                <a:gd name="T36" fmla="*/ 680 w 3688"/>
                <a:gd name="T37" fmla="*/ 3022 h 3151"/>
                <a:gd name="T38" fmla="*/ 664 w 3688"/>
                <a:gd name="T39" fmla="*/ 2998 h 3151"/>
                <a:gd name="T40" fmla="*/ 664 w 3688"/>
                <a:gd name="T41" fmla="*/ 2316 h 3151"/>
                <a:gd name="T42" fmla="*/ 157 w 3688"/>
                <a:gd name="T43" fmla="*/ 2316 h 3151"/>
                <a:gd name="T44" fmla="*/ 128 w 3688"/>
                <a:gd name="T45" fmla="*/ 2287 h 3151"/>
                <a:gd name="T46" fmla="*/ 128 w 3688"/>
                <a:gd name="T47" fmla="*/ 151 h 3151"/>
                <a:gd name="T48" fmla="*/ 157 w 3688"/>
                <a:gd name="T49" fmla="*/ 128 h 3151"/>
                <a:gd name="T50" fmla="*/ 3539 w 3688"/>
                <a:gd name="T51" fmla="*/ 128 h 3151"/>
                <a:gd name="T52" fmla="*/ 3560 w 3688"/>
                <a:gd name="T53" fmla="*/ 151 h 3151"/>
                <a:gd name="T54" fmla="*/ 3560 w 3688"/>
                <a:gd name="T55" fmla="*/ 1424 h 3151"/>
                <a:gd name="T56" fmla="*/ 1937 w 3688"/>
                <a:gd name="T57" fmla="*/ 1424 h 3151"/>
                <a:gd name="T58" fmla="*/ 1780 w 3688"/>
                <a:gd name="T59" fmla="*/ 1575 h 3151"/>
                <a:gd name="T60" fmla="*/ 1780 w 3688"/>
                <a:gd name="T61" fmla="*/ 2316 h 3151"/>
                <a:gd name="T62" fmla="*/ 1413 w 3688"/>
                <a:gd name="T63" fmla="*/ 2316 h 3151"/>
                <a:gd name="T64" fmla="*/ 709 w 3688"/>
                <a:gd name="T65" fmla="*/ 3018 h 3151"/>
                <a:gd name="T66" fmla="*/ 691 w 3688"/>
                <a:gd name="T67" fmla="*/ 3024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8" h="3151">
                  <a:moveTo>
                    <a:pt x="3688" y="1552"/>
                  </a:moveTo>
                  <a:cubicBezTo>
                    <a:pt x="3688" y="151"/>
                    <a:pt x="3688" y="151"/>
                    <a:pt x="3688" y="151"/>
                  </a:cubicBezTo>
                  <a:cubicBezTo>
                    <a:pt x="3688" y="66"/>
                    <a:pt x="3622" y="0"/>
                    <a:pt x="3539" y="0"/>
                  </a:cubicBezTo>
                  <a:cubicBezTo>
                    <a:pt x="157" y="0"/>
                    <a:pt x="157" y="0"/>
                    <a:pt x="157" y="0"/>
                  </a:cubicBezTo>
                  <a:cubicBezTo>
                    <a:pt x="70" y="0"/>
                    <a:pt x="0" y="68"/>
                    <a:pt x="0" y="151"/>
                  </a:cubicBezTo>
                  <a:cubicBezTo>
                    <a:pt x="0" y="2287"/>
                    <a:pt x="0" y="2287"/>
                    <a:pt x="0" y="2287"/>
                  </a:cubicBezTo>
                  <a:cubicBezTo>
                    <a:pt x="0" y="2370"/>
                    <a:pt x="73" y="2444"/>
                    <a:pt x="157" y="2444"/>
                  </a:cubicBezTo>
                  <a:cubicBezTo>
                    <a:pt x="536" y="2444"/>
                    <a:pt x="536" y="2444"/>
                    <a:pt x="536" y="2444"/>
                  </a:cubicBezTo>
                  <a:cubicBezTo>
                    <a:pt x="536" y="2998"/>
                    <a:pt x="536" y="2998"/>
                    <a:pt x="536" y="2998"/>
                  </a:cubicBezTo>
                  <a:cubicBezTo>
                    <a:pt x="536" y="3060"/>
                    <a:pt x="574" y="3116"/>
                    <a:pt x="632" y="3140"/>
                  </a:cubicBezTo>
                  <a:cubicBezTo>
                    <a:pt x="650" y="3147"/>
                    <a:pt x="671" y="3151"/>
                    <a:pt x="691" y="3151"/>
                  </a:cubicBezTo>
                  <a:cubicBezTo>
                    <a:pt x="734" y="3151"/>
                    <a:pt x="771" y="3137"/>
                    <a:pt x="799" y="3109"/>
                  </a:cubicBezTo>
                  <a:cubicBezTo>
                    <a:pt x="1466" y="2444"/>
                    <a:pt x="1466" y="2444"/>
                    <a:pt x="1466" y="2444"/>
                  </a:cubicBezTo>
                  <a:cubicBezTo>
                    <a:pt x="1908" y="2444"/>
                    <a:pt x="1908" y="2444"/>
                    <a:pt x="1908" y="2444"/>
                  </a:cubicBezTo>
                  <a:cubicBezTo>
                    <a:pt x="1908" y="1575"/>
                    <a:pt x="1908" y="1575"/>
                    <a:pt x="1908" y="1575"/>
                  </a:cubicBezTo>
                  <a:cubicBezTo>
                    <a:pt x="1908" y="1561"/>
                    <a:pt x="1923" y="1552"/>
                    <a:pt x="1937" y="1552"/>
                  </a:cubicBezTo>
                  <a:lnTo>
                    <a:pt x="3688" y="1552"/>
                  </a:lnTo>
                  <a:close/>
                  <a:moveTo>
                    <a:pt x="691" y="3024"/>
                  </a:moveTo>
                  <a:cubicBezTo>
                    <a:pt x="688" y="3024"/>
                    <a:pt x="684" y="3023"/>
                    <a:pt x="680" y="3022"/>
                  </a:cubicBezTo>
                  <a:cubicBezTo>
                    <a:pt x="671" y="3018"/>
                    <a:pt x="664" y="3008"/>
                    <a:pt x="664" y="2998"/>
                  </a:cubicBezTo>
                  <a:cubicBezTo>
                    <a:pt x="664" y="2316"/>
                    <a:pt x="664" y="2316"/>
                    <a:pt x="664" y="2316"/>
                  </a:cubicBezTo>
                  <a:cubicBezTo>
                    <a:pt x="157" y="2316"/>
                    <a:pt x="157" y="2316"/>
                    <a:pt x="157" y="2316"/>
                  </a:cubicBezTo>
                  <a:cubicBezTo>
                    <a:pt x="143" y="2316"/>
                    <a:pt x="128" y="2300"/>
                    <a:pt x="128" y="2287"/>
                  </a:cubicBezTo>
                  <a:cubicBezTo>
                    <a:pt x="128" y="151"/>
                    <a:pt x="128" y="151"/>
                    <a:pt x="128" y="151"/>
                  </a:cubicBezTo>
                  <a:cubicBezTo>
                    <a:pt x="128" y="137"/>
                    <a:pt x="143" y="128"/>
                    <a:pt x="157" y="128"/>
                  </a:cubicBezTo>
                  <a:cubicBezTo>
                    <a:pt x="3539" y="128"/>
                    <a:pt x="3539" y="128"/>
                    <a:pt x="3539" y="128"/>
                  </a:cubicBezTo>
                  <a:cubicBezTo>
                    <a:pt x="3552" y="128"/>
                    <a:pt x="3560" y="137"/>
                    <a:pt x="3560" y="151"/>
                  </a:cubicBezTo>
                  <a:cubicBezTo>
                    <a:pt x="3560" y="1424"/>
                    <a:pt x="3560" y="1424"/>
                    <a:pt x="3560" y="1424"/>
                  </a:cubicBezTo>
                  <a:cubicBezTo>
                    <a:pt x="1937" y="1424"/>
                    <a:pt x="1937" y="1424"/>
                    <a:pt x="1937" y="1424"/>
                  </a:cubicBezTo>
                  <a:cubicBezTo>
                    <a:pt x="1850" y="1424"/>
                    <a:pt x="1780" y="1492"/>
                    <a:pt x="1780" y="1575"/>
                  </a:cubicBezTo>
                  <a:cubicBezTo>
                    <a:pt x="1780" y="2316"/>
                    <a:pt x="1780" y="2316"/>
                    <a:pt x="1780" y="2316"/>
                  </a:cubicBezTo>
                  <a:cubicBezTo>
                    <a:pt x="1413" y="2316"/>
                    <a:pt x="1413" y="2316"/>
                    <a:pt x="1413" y="2316"/>
                  </a:cubicBezTo>
                  <a:cubicBezTo>
                    <a:pt x="709" y="3018"/>
                    <a:pt x="709" y="3018"/>
                    <a:pt x="709" y="3018"/>
                  </a:cubicBezTo>
                  <a:cubicBezTo>
                    <a:pt x="705" y="3022"/>
                    <a:pt x="699" y="3024"/>
                    <a:pt x="691" y="30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6">
              <a:extLst>
                <a:ext uri="{FF2B5EF4-FFF2-40B4-BE49-F238E27FC236}">
                  <a16:creationId xmlns:a16="http://schemas.microsoft.com/office/drawing/2014/main" id="{C786CB82-C1EF-4DB2-BAEA-74E766D87982}"/>
                </a:ext>
              </a:extLst>
            </p:cNvPr>
            <p:cNvSpPr>
              <a:spLocks noEditPoints="1"/>
            </p:cNvSpPr>
            <p:nvPr/>
          </p:nvSpPr>
          <p:spPr bwMode="auto">
            <a:xfrm>
              <a:off x="1300163" y="1254126"/>
              <a:ext cx="490538" cy="490538"/>
            </a:xfrm>
            <a:custGeom>
              <a:avLst/>
              <a:gdLst>
                <a:gd name="T0" fmla="*/ 2295 w 2444"/>
                <a:gd name="T1" fmla="*/ 0 h 2440"/>
                <a:gd name="T2" fmla="*/ 159 w 2444"/>
                <a:gd name="T3" fmla="*/ 0 h 2440"/>
                <a:gd name="T4" fmla="*/ 0 w 2444"/>
                <a:gd name="T5" fmla="*/ 151 h 2440"/>
                <a:gd name="T6" fmla="*/ 0 w 2444"/>
                <a:gd name="T7" fmla="*/ 1574 h 2440"/>
                <a:gd name="T8" fmla="*/ 159 w 2444"/>
                <a:gd name="T9" fmla="*/ 1732 h 2440"/>
                <a:gd name="T10" fmla="*/ 1080 w 2444"/>
                <a:gd name="T11" fmla="*/ 1732 h 2440"/>
                <a:gd name="T12" fmla="*/ 1087 w 2444"/>
                <a:gd name="T13" fmla="*/ 1737 h 2440"/>
                <a:gd name="T14" fmla="*/ 1837 w 2444"/>
                <a:gd name="T15" fmla="*/ 2402 h 2440"/>
                <a:gd name="T16" fmla="*/ 1939 w 2444"/>
                <a:gd name="T17" fmla="*/ 2440 h 2440"/>
                <a:gd name="T18" fmla="*/ 1999 w 2444"/>
                <a:gd name="T19" fmla="*/ 2426 h 2440"/>
                <a:gd name="T20" fmla="*/ 2088 w 2444"/>
                <a:gd name="T21" fmla="*/ 2286 h 2440"/>
                <a:gd name="T22" fmla="*/ 2088 w 2444"/>
                <a:gd name="T23" fmla="*/ 1732 h 2440"/>
                <a:gd name="T24" fmla="*/ 2295 w 2444"/>
                <a:gd name="T25" fmla="*/ 1732 h 2440"/>
                <a:gd name="T26" fmla="*/ 2444 w 2444"/>
                <a:gd name="T27" fmla="*/ 1574 h 2440"/>
                <a:gd name="T28" fmla="*/ 2444 w 2444"/>
                <a:gd name="T29" fmla="*/ 151 h 2440"/>
                <a:gd name="T30" fmla="*/ 2295 w 2444"/>
                <a:gd name="T31" fmla="*/ 0 h 2440"/>
                <a:gd name="T32" fmla="*/ 128 w 2444"/>
                <a:gd name="T33" fmla="*/ 151 h 2440"/>
                <a:gd name="T34" fmla="*/ 131 w 2444"/>
                <a:gd name="T35" fmla="*/ 131 h 2440"/>
                <a:gd name="T36" fmla="*/ 159 w 2444"/>
                <a:gd name="T37" fmla="*/ 128 h 2440"/>
                <a:gd name="T38" fmla="*/ 2295 w 2444"/>
                <a:gd name="T39" fmla="*/ 128 h 2440"/>
                <a:gd name="T40" fmla="*/ 2316 w 2444"/>
                <a:gd name="T41" fmla="*/ 151 h 2440"/>
                <a:gd name="T42" fmla="*/ 2316 w 2444"/>
                <a:gd name="T43" fmla="*/ 1574 h 2440"/>
                <a:gd name="T44" fmla="*/ 2295 w 2444"/>
                <a:gd name="T45" fmla="*/ 1604 h 2440"/>
                <a:gd name="T46" fmla="*/ 1960 w 2444"/>
                <a:gd name="T47" fmla="*/ 1604 h 2440"/>
                <a:gd name="T48" fmla="*/ 1960 w 2444"/>
                <a:gd name="T49" fmla="*/ 2286 h 2440"/>
                <a:gd name="T50" fmla="*/ 1948 w 2444"/>
                <a:gd name="T51" fmla="*/ 2309 h 2440"/>
                <a:gd name="T52" fmla="*/ 1921 w 2444"/>
                <a:gd name="T53" fmla="*/ 2305 h 2440"/>
                <a:gd name="T54" fmla="*/ 1171 w 2444"/>
                <a:gd name="T55" fmla="*/ 1640 h 2440"/>
                <a:gd name="T56" fmla="*/ 1128 w 2444"/>
                <a:gd name="T57" fmla="*/ 1604 h 2440"/>
                <a:gd name="T58" fmla="*/ 159 w 2444"/>
                <a:gd name="T59" fmla="*/ 1604 h 2440"/>
                <a:gd name="T60" fmla="*/ 128 w 2444"/>
                <a:gd name="T61" fmla="*/ 1574 h 2440"/>
                <a:gd name="T62" fmla="*/ 128 w 2444"/>
                <a:gd name="T63" fmla="*/ 151 h 2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4" h="2440">
                  <a:moveTo>
                    <a:pt x="2295" y="0"/>
                  </a:moveTo>
                  <a:cubicBezTo>
                    <a:pt x="159" y="0"/>
                    <a:pt x="159" y="0"/>
                    <a:pt x="159" y="0"/>
                  </a:cubicBezTo>
                  <a:cubicBezTo>
                    <a:pt x="58" y="0"/>
                    <a:pt x="0" y="55"/>
                    <a:pt x="0" y="151"/>
                  </a:cubicBezTo>
                  <a:cubicBezTo>
                    <a:pt x="0" y="1574"/>
                    <a:pt x="0" y="1574"/>
                    <a:pt x="0" y="1574"/>
                  </a:cubicBezTo>
                  <a:cubicBezTo>
                    <a:pt x="0" y="1658"/>
                    <a:pt x="74" y="1732"/>
                    <a:pt x="159" y="1732"/>
                  </a:cubicBezTo>
                  <a:cubicBezTo>
                    <a:pt x="1080" y="1732"/>
                    <a:pt x="1080" y="1732"/>
                    <a:pt x="1080" y="1732"/>
                  </a:cubicBezTo>
                  <a:cubicBezTo>
                    <a:pt x="1087" y="1737"/>
                    <a:pt x="1087" y="1737"/>
                    <a:pt x="1087" y="1737"/>
                  </a:cubicBezTo>
                  <a:cubicBezTo>
                    <a:pt x="1837" y="2402"/>
                    <a:pt x="1837" y="2402"/>
                    <a:pt x="1837" y="2402"/>
                  </a:cubicBezTo>
                  <a:cubicBezTo>
                    <a:pt x="1865" y="2427"/>
                    <a:pt x="1901" y="2440"/>
                    <a:pt x="1939" y="2440"/>
                  </a:cubicBezTo>
                  <a:cubicBezTo>
                    <a:pt x="1959" y="2440"/>
                    <a:pt x="1978" y="2436"/>
                    <a:pt x="1999" y="2426"/>
                  </a:cubicBezTo>
                  <a:cubicBezTo>
                    <a:pt x="2053" y="2402"/>
                    <a:pt x="2088" y="2347"/>
                    <a:pt x="2088" y="2286"/>
                  </a:cubicBezTo>
                  <a:cubicBezTo>
                    <a:pt x="2088" y="1732"/>
                    <a:pt x="2088" y="1732"/>
                    <a:pt x="2088" y="1732"/>
                  </a:cubicBezTo>
                  <a:cubicBezTo>
                    <a:pt x="2295" y="1732"/>
                    <a:pt x="2295" y="1732"/>
                    <a:pt x="2295" y="1732"/>
                  </a:cubicBezTo>
                  <a:cubicBezTo>
                    <a:pt x="2377" y="1732"/>
                    <a:pt x="2444" y="1661"/>
                    <a:pt x="2444" y="1574"/>
                  </a:cubicBezTo>
                  <a:cubicBezTo>
                    <a:pt x="2444" y="151"/>
                    <a:pt x="2444" y="151"/>
                    <a:pt x="2444" y="151"/>
                  </a:cubicBezTo>
                  <a:cubicBezTo>
                    <a:pt x="2444" y="66"/>
                    <a:pt x="2378" y="0"/>
                    <a:pt x="2295" y="0"/>
                  </a:cubicBezTo>
                  <a:close/>
                  <a:moveTo>
                    <a:pt x="128" y="151"/>
                  </a:moveTo>
                  <a:cubicBezTo>
                    <a:pt x="128" y="136"/>
                    <a:pt x="130" y="132"/>
                    <a:pt x="131" y="131"/>
                  </a:cubicBezTo>
                  <a:cubicBezTo>
                    <a:pt x="135" y="128"/>
                    <a:pt x="148" y="128"/>
                    <a:pt x="159" y="128"/>
                  </a:cubicBezTo>
                  <a:cubicBezTo>
                    <a:pt x="2295" y="128"/>
                    <a:pt x="2295" y="128"/>
                    <a:pt x="2295" y="128"/>
                  </a:cubicBezTo>
                  <a:cubicBezTo>
                    <a:pt x="2308" y="128"/>
                    <a:pt x="2316" y="136"/>
                    <a:pt x="2316" y="151"/>
                  </a:cubicBezTo>
                  <a:cubicBezTo>
                    <a:pt x="2316" y="1574"/>
                    <a:pt x="2316" y="1574"/>
                    <a:pt x="2316" y="1574"/>
                  </a:cubicBezTo>
                  <a:cubicBezTo>
                    <a:pt x="2316" y="1589"/>
                    <a:pt x="2307" y="1604"/>
                    <a:pt x="2295" y="1604"/>
                  </a:cubicBezTo>
                  <a:cubicBezTo>
                    <a:pt x="1960" y="1604"/>
                    <a:pt x="1960" y="1604"/>
                    <a:pt x="1960" y="1604"/>
                  </a:cubicBezTo>
                  <a:cubicBezTo>
                    <a:pt x="1960" y="2286"/>
                    <a:pt x="1960" y="2286"/>
                    <a:pt x="1960" y="2286"/>
                  </a:cubicBezTo>
                  <a:cubicBezTo>
                    <a:pt x="1960" y="2292"/>
                    <a:pt x="1959" y="2304"/>
                    <a:pt x="1948" y="2309"/>
                  </a:cubicBezTo>
                  <a:cubicBezTo>
                    <a:pt x="1939" y="2313"/>
                    <a:pt x="1928" y="2311"/>
                    <a:pt x="1921" y="2305"/>
                  </a:cubicBezTo>
                  <a:cubicBezTo>
                    <a:pt x="1171" y="1640"/>
                    <a:pt x="1171" y="1640"/>
                    <a:pt x="1171" y="1640"/>
                  </a:cubicBezTo>
                  <a:cubicBezTo>
                    <a:pt x="1128" y="1604"/>
                    <a:pt x="1128" y="1604"/>
                    <a:pt x="1128" y="1604"/>
                  </a:cubicBezTo>
                  <a:cubicBezTo>
                    <a:pt x="159" y="1604"/>
                    <a:pt x="159" y="1604"/>
                    <a:pt x="159" y="1604"/>
                  </a:cubicBezTo>
                  <a:cubicBezTo>
                    <a:pt x="145" y="1604"/>
                    <a:pt x="128" y="1588"/>
                    <a:pt x="128" y="1574"/>
                  </a:cubicBezTo>
                  <a:lnTo>
                    <a:pt x="128"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5" name="Group 45">
            <a:extLst>
              <a:ext uri="{FF2B5EF4-FFF2-40B4-BE49-F238E27FC236}">
                <a16:creationId xmlns:a16="http://schemas.microsoft.com/office/drawing/2014/main" id="{F58FA457-11ED-4AD7-B0EE-FC1B58B48EF0}"/>
              </a:ext>
            </a:extLst>
          </p:cNvPr>
          <p:cNvGrpSpPr>
            <a:grpSpLocks noChangeAspect="1"/>
          </p:cNvGrpSpPr>
          <p:nvPr/>
        </p:nvGrpSpPr>
        <p:grpSpPr>
          <a:xfrm>
            <a:off x="7899907" y="5417577"/>
            <a:ext cx="239346" cy="285619"/>
            <a:chOff x="7073900" y="3059113"/>
            <a:chExt cx="238125" cy="284162"/>
          </a:xfrm>
          <a:solidFill>
            <a:schemeClr val="bg2"/>
          </a:solidFill>
          <a:effectLst/>
        </p:grpSpPr>
        <p:sp>
          <p:nvSpPr>
            <p:cNvPr id="876" name="Freeform 291">
              <a:extLst>
                <a:ext uri="{FF2B5EF4-FFF2-40B4-BE49-F238E27FC236}">
                  <a16:creationId xmlns:a16="http://schemas.microsoft.com/office/drawing/2014/main" id="{1BAFD45E-56B2-4B45-BF58-2702CA5BADE0}"/>
                </a:ext>
              </a:extLst>
            </p:cNvPr>
            <p:cNvSpPr>
              <a:spLocks noEditPoints="1"/>
            </p:cNvSpPr>
            <p:nvPr/>
          </p:nvSpPr>
          <p:spPr bwMode="auto">
            <a:xfrm>
              <a:off x="7112000" y="3105150"/>
              <a:ext cx="161925" cy="176212"/>
            </a:xfrm>
            <a:custGeom>
              <a:avLst/>
              <a:gdLst>
                <a:gd name="T0" fmla="*/ 317 w 508"/>
                <a:gd name="T1" fmla="*/ 205 h 553"/>
                <a:gd name="T2" fmla="*/ 324 w 508"/>
                <a:gd name="T3" fmla="*/ 209 h 553"/>
                <a:gd name="T4" fmla="*/ 460 w 508"/>
                <a:gd name="T5" fmla="*/ 210 h 553"/>
                <a:gd name="T6" fmla="*/ 353 w 508"/>
                <a:gd name="T7" fmla="*/ 330 h 553"/>
                <a:gd name="T8" fmla="*/ 352 w 508"/>
                <a:gd name="T9" fmla="*/ 337 h 553"/>
                <a:gd name="T10" fmla="*/ 394 w 508"/>
                <a:gd name="T11" fmla="*/ 502 h 553"/>
                <a:gd name="T12" fmla="*/ 259 w 508"/>
                <a:gd name="T13" fmla="*/ 405 h 553"/>
                <a:gd name="T14" fmla="*/ 249 w 508"/>
                <a:gd name="T15" fmla="*/ 405 h 553"/>
                <a:gd name="T16" fmla="*/ 115 w 508"/>
                <a:gd name="T17" fmla="*/ 502 h 553"/>
                <a:gd name="T18" fmla="*/ 155 w 508"/>
                <a:gd name="T19" fmla="*/ 337 h 553"/>
                <a:gd name="T20" fmla="*/ 153 w 508"/>
                <a:gd name="T21" fmla="*/ 330 h 553"/>
                <a:gd name="T22" fmla="*/ 48 w 508"/>
                <a:gd name="T23" fmla="*/ 210 h 553"/>
                <a:gd name="T24" fmla="*/ 184 w 508"/>
                <a:gd name="T25" fmla="*/ 209 h 553"/>
                <a:gd name="T26" fmla="*/ 191 w 508"/>
                <a:gd name="T27" fmla="*/ 205 h 553"/>
                <a:gd name="T28" fmla="*/ 254 w 508"/>
                <a:gd name="T29" fmla="*/ 54 h 553"/>
                <a:gd name="T30" fmla="*/ 240 w 508"/>
                <a:gd name="T31" fmla="*/ 9 h 553"/>
                <a:gd name="T32" fmla="*/ 15 w 508"/>
                <a:gd name="T33" fmla="*/ 180 h 553"/>
                <a:gd name="T34" fmla="*/ 7 w 508"/>
                <a:gd name="T35" fmla="*/ 182 h 553"/>
                <a:gd name="T36" fmla="*/ 1 w 508"/>
                <a:gd name="T37" fmla="*/ 189 h 553"/>
                <a:gd name="T38" fmla="*/ 0 w 508"/>
                <a:gd name="T39" fmla="*/ 197 h 553"/>
                <a:gd name="T40" fmla="*/ 4 w 508"/>
                <a:gd name="T41" fmla="*/ 205 h 553"/>
                <a:gd name="T42" fmla="*/ 75 w 508"/>
                <a:gd name="T43" fmla="*/ 535 h 553"/>
                <a:gd name="T44" fmla="*/ 76 w 508"/>
                <a:gd name="T45" fmla="*/ 544 h 553"/>
                <a:gd name="T46" fmla="*/ 82 w 508"/>
                <a:gd name="T47" fmla="*/ 551 h 553"/>
                <a:gd name="T48" fmla="*/ 90 w 508"/>
                <a:gd name="T49" fmla="*/ 553 h 553"/>
                <a:gd name="T50" fmla="*/ 99 w 508"/>
                <a:gd name="T51" fmla="*/ 551 h 553"/>
                <a:gd name="T52" fmla="*/ 410 w 508"/>
                <a:gd name="T53" fmla="*/ 551 h 553"/>
                <a:gd name="T54" fmla="*/ 418 w 508"/>
                <a:gd name="T55" fmla="*/ 553 h 553"/>
                <a:gd name="T56" fmla="*/ 427 w 508"/>
                <a:gd name="T57" fmla="*/ 551 h 553"/>
                <a:gd name="T58" fmla="*/ 432 w 508"/>
                <a:gd name="T59" fmla="*/ 544 h 553"/>
                <a:gd name="T60" fmla="*/ 433 w 508"/>
                <a:gd name="T61" fmla="*/ 535 h 553"/>
                <a:gd name="T62" fmla="*/ 504 w 508"/>
                <a:gd name="T63" fmla="*/ 205 h 553"/>
                <a:gd name="T64" fmla="*/ 508 w 508"/>
                <a:gd name="T65" fmla="*/ 197 h 553"/>
                <a:gd name="T66" fmla="*/ 507 w 508"/>
                <a:gd name="T67" fmla="*/ 189 h 553"/>
                <a:gd name="T68" fmla="*/ 502 w 508"/>
                <a:gd name="T69" fmla="*/ 182 h 553"/>
                <a:gd name="T70" fmla="*/ 493 w 508"/>
                <a:gd name="T71" fmla="*/ 180 h 553"/>
                <a:gd name="T72" fmla="*/ 268 w 508"/>
                <a:gd name="T73" fmla="*/ 9 h 553"/>
                <a:gd name="T74" fmla="*/ 262 w 508"/>
                <a:gd name="T75" fmla="*/ 3 h 553"/>
                <a:gd name="T76" fmla="*/ 254 w 508"/>
                <a:gd name="T77" fmla="*/ 0 h 553"/>
                <a:gd name="T78" fmla="*/ 246 w 508"/>
                <a:gd name="T79" fmla="*/ 3 h 553"/>
                <a:gd name="T80" fmla="*/ 240 w 508"/>
                <a:gd name="T81" fmla="*/ 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8" h="553">
                  <a:moveTo>
                    <a:pt x="315" y="200"/>
                  </a:moveTo>
                  <a:lnTo>
                    <a:pt x="317" y="205"/>
                  </a:lnTo>
                  <a:lnTo>
                    <a:pt x="321" y="207"/>
                  </a:lnTo>
                  <a:lnTo>
                    <a:pt x="324" y="209"/>
                  </a:lnTo>
                  <a:lnTo>
                    <a:pt x="329" y="210"/>
                  </a:lnTo>
                  <a:lnTo>
                    <a:pt x="460" y="210"/>
                  </a:lnTo>
                  <a:lnTo>
                    <a:pt x="355" y="327"/>
                  </a:lnTo>
                  <a:lnTo>
                    <a:pt x="353" y="330"/>
                  </a:lnTo>
                  <a:lnTo>
                    <a:pt x="352" y="333"/>
                  </a:lnTo>
                  <a:lnTo>
                    <a:pt x="352" y="337"/>
                  </a:lnTo>
                  <a:lnTo>
                    <a:pt x="352" y="341"/>
                  </a:lnTo>
                  <a:lnTo>
                    <a:pt x="394" y="502"/>
                  </a:lnTo>
                  <a:lnTo>
                    <a:pt x="263" y="407"/>
                  </a:lnTo>
                  <a:lnTo>
                    <a:pt x="259" y="405"/>
                  </a:lnTo>
                  <a:lnTo>
                    <a:pt x="254" y="404"/>
                  </a:lnTo>
                  <a:lnTo>
                    <a:pt x="249" y="405"/>
                  </a:lnTo>
                  <a:lnTo>
                    <a:pt x="245" y="407"/>
                  </a:lnTo>
                  <a:lnTo>
                    <a:pt x="115" y="502"/>
                  </a:lnTo>
                  <a:lnTo>
                    <a:pt x="155" y="341"/>
                  </a:lnTo>
                  <a:lnTo>
                    <a:pt x="155" y="337"/>
                  </a:lnTo>
                  <a:lnTo>
                    <a:pt x="155" y="334"/>
                  </a:lnTo>
                  <a:lnTo>
                    <a:pt x="153" y="330"/>
                  </a:lnTo>
                  <a:lnTo>
                    <a:pt x="151" y="328"/>
                  </a:lnTo>
                  <a:lnTo>
                    <a:pt x="48" y="210"/>
                  </a:lnTo>
                  <a:lnTo>
                    <a:pt x="179" y="210"/>
                  </a:lnTo>
                  <a:lnTo>
                    <a:pt x="184" y="209"/>
                  </a:lnTo>
                  <a:lnTo>
                    <a:pt x="187" y="207"/>
                  </a:lnTo>
                  <a:lnTo>
                    <a:pt x="191" y="205"/>
                  </a:lnTo>
                  <a:lnTo>
                    <a:pt x="193" y="200"/>
                  </a:lnTo>
                  <a:lnTo>
                    <a:pt x="254" y="54"/>
                  </a:lnTo>
                  <a:lnTo>
                    <a:pt x="315" y="200"/>
                  </a:lnTo>
                  <a:close/>
                  <a:moveTo>
                    <a:pt x="240" y="9"/>
                  </a:moveTo>
                  <a:lnTo>
                    <a:pt x="169" y="180"/>
                  </a:lnTo>
                  <a:lnTo>
                    <a:pt x="15" y="180"/>
                  </a:lnTo>
                  <a:lnTo>
                    <a:pt x="11" y="180"/>
                  </a:lnTo>
                  <a:lnTo>
                    <a:pt x="7" y="182"/>
                  </a:lnTo>
                  <a:lnTo>
                    <a:pt x="4" y="185"/>
                  </a:lnTo>
                  <a:lnTo>
                    <a:pt x="1" y="189"/>
                  </a:lnTo>
                  <a:lnTo>
                    <a:pt x="0" y="193"/>
                  </a:lnTo>
                  <a:lnTo>
                    <a:pt x="0" y="197"/>
                  </a:lnTo>
                  <a:lnTo>
                    <a:pt x="1" y="201"/>
                  </a:lnTo>
                  <a:lnTo>
                    <a:pt x="4" y="205"/>
                  </a:lnTo>
                  <a:lnTo>
                    <a:pt x="124" y="341"/>
                  </a:lnTo>
                  <a:lnTo>
                    <a:pt x="75" y="535"/>
                  </a:lnTo>
                  <a:lnTo>
                    <a:pt x="75" y="539"/>
                  </a:lnTo>
                  <a:lnTo>
                    <a:pt x="76" y="544"/>
                  </a:lnTo>
                  <a:lnTo>
                    <a:pt x="78" y="548"/>
                  </a:lnTo>
                  <a:lnTo>
                    <a:pt x="82" y="551"/>
                  </a:lnTo>
                  <a:lnTo>
                    <a:pt x="86" y="553"/>
                  </a:lnTo>
                  <a:lnTo>
                    <a:pt x="90" y="553"/>
                  </a:lnTo>
                  <a:lnTo>
                    <a:pt x="94" y="553"/>
                  </a:lnTo>
                  <a:lnTo>
                    <a:pt x="99" y="551"/>
                  </a:lnTo>
                  <a:lnTo>
                    <a:pt x="254" y="438"/>
                  </a:lnTo>
                  <a:lnTo>
                    <a:pt x="410" y="551"/>
                  </a:lnTo>
                  <a:lnTo>
                    <a:pt x="414" y="553"/>
                  </a:lnTo>
                  <a:lnTo>
                    <a:pt x="418" y="553"/>
                  </a:lnTo>
                  <a:lnTo>
                    <a:pt x="423" y="553"/>
                  </a:lnTo>
                  <a:lnTo>
                    <a:pt x="427" y="551"/>
                  </a:lnTo>
                  <a:lnTo>
                    <a:pt x="430" y="548"/>
                  </a:lnTo>
                  <a:lnTo>
                    <a:pt x="432" y="544"/>
                  </a:lnTo>
                  <a:lnTo>
                    <a:pt x="433" y="539"/>
                  </a:lnTo>
                  <a:lnTo>
                    <a:pt x="433" y="535"/>
                  </a:lnTo>
                  <a:lnTo>
                    <a:pt x="383" y="341"/>
                  </a:lnTo>
                  <a:lnTo>
                    <a:pt x="504" y="205"/>
                  </a:lnTo>
                  <a:lnTo>
                    <a:pt x="507" y="201"/>
                  </a:lnTo>
                  <a:lnTo>
                    <a:pt x="508" y="197"/>
                  </a:lnTo>
                  <a:lnTo>
                    <a:pt x="508" y="193"/>
                  </a:lnTo>
                  <a:lnTo>
                    <a:pt x="507" y="189"/>
                  </a:lnTo>
                  <a:lnTo>
                    <a:pt x="505" y="185"/>
                  </a:lnTo>
                  <a:lnTo>
                    <a:pt x="502" y="182"/>
                  </a:lnTo>
                  <a:lnTo>
                    <a:pt x="498" y="180"/>
                  </a:lnTo>
                  <a:lnTo>
                    <a:pt x="493" y="180"/>
                  </a:lnTo>
                  <a:lnTo>
                    <a:pt x="339" y="180"/>
                  </a:lnTo>
                  <a:lnTo>
                    <a:pt x="268" y="9"/>
                  </a:lnTo>
                  <a:lnTo>
                    <a:pt x="266" y="6"/>
                  </a:lnTo>
                  <a:lnTo>
                    <a:pt x="262" y="3"/>
                  </a:lnTo>
                  <a:lnTo>
                    <a:pt x="258" y="2"/>
                  </a:lnTo>
                  <a:lnTo>
                    <a:pt x="254" y="0"/>
                  </a:lnTo>
                  <a:lnTo>
                    <a:pt x="249" y="2"/>
                  </a:lnTo>
                  <a:lnTo>
                    <a:pt x="246" y="3"/>
                  </a:lnTo>
                  <a:lnTo>
                    <a:pt x="243" y="6"/>
                  </a:lnTo>
                  <a:lnTo>
                    <a:pt x="24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877" name="Freeform 292">
              <a:extLst>
                <a:ext uri="{FF2B5EF4-FFF2-40B4-BE49-F238E27FC236}">
                  <a16:creationId xmlns:a16="http://schemas.microsoft.com/office/drawing/2014/main" id="{75881E0A-86AD-4F88-9971-979D47C4363D}"/>
                </a:ext>
              </a:extLst>
            </p:cNvPr>
            <p:cNvSpPr>
              <a:spLocks noEditPoints="1"/>
            </p:cNvSpPr>
            <p:nvPr/>
          </p:nvSpPr>
          <p:spPr bwMode="auto">
            <a:xfrm>
              <a:off x="7073900" y="3059113"/>
              <a:ext cx="238125" cy="265112"/>
            </a:xfrm>
            <a:custGeom>
              <a:avLst/>
              <a:gdLst>
                <a:gd name="T0" fmla="*/ 717 w 747"/>
                <a:gd name="T1" fmla="*/ 807 h 837"/>
                <a:gd name="T2" fmla="*/ 29 w 747"/>
                <a:gd name="T3" fmla="*/ 807 h 837"/>
                <a:gd name="T4" fmla="*/ 29 w 747"/>
                <a:gd name="T5" fmla="*/ 218 h 837"/>
                <a:gd name="T6" fmla="*/ 373 w 747"/>
                <a:gd name="T7" fmla="*/ 32 h 837"/>
                <a:gd name="T8" fmla="*/ 717 w 747"/>
                <a:gd name="T9" fmla="*/ 218 h 837"/>
                <a:gd name="T10" fmla="*/ 717 w 747"/>
                <a:gd name="T11" fmla="*/ 807 h 837"/>
                <a:gd name="T12" fmla="*/ 740 w 747"/>
                <a:gd name="T13" fmla="*/ 196 h 837"/>
                <a:gd name="T14" fmla="*/ 379 w 747"/>
                <a:gd name="T15" fmla="*/ 2 h 837"/>
                <a:gd name="T16" fmla="*/ 376 w 747"/>
                <a:gd name="T17" fmla="*/ 1 h 837"/>
                <a:gd name="T18" fmla="*/ 373 w 747"/>
                <a:gd name="T19" fmla="*/ 0 h 837"/>
                <a:gd name="T20" fmla="*/ 368 w 747"/>
                <a:gd name="T21" fmla="*/ 1 h 837"/>
                <a:gd name="T22" fmla="*/ 365 w 747"/>
                <a:gd name="T23" fmla="*/ 2 h 837"/>
                <a:gd name="T24" fmla="*/ 7 w 747"/>
                <a:gd name="T25" fmla="*/ 196 h 837"/>
                <a:gd name="T26" fmla="*/ 4 w 747"/>
                <a:gd name="T27" fmla="*/ 199 h 837"/>
                <a:gd name="T28" fmla="*/ 2 w 747"/>
                <a:gd name="T29" fmla="*/ 202 h 837"/>
                <a:gd name="T30" fmla="*/ 0 w 747"/>
                <a:gd name="T31" fmla="*/ 205 h 837"/>
                <a:gd name="T32" fmla="*/ 0 w 747"/>
                <a:gd name="T33" fmla="*/ 209 h 837"/>
                <a:gd name="T34" fmla="*/ 0 w 747"/>
                <a:gd name="T35" fmla="*/ 822 h 837"/>
                <a:gd name="T36" fmla="*/ 0 w 747"/>
                <a:gd name="T37" fmla="*/ 825 h 837"/>
                <a:gd name="T38" fmla="*/ 1 w 747"/>
                <a:gd name="T39" fmla="*/ 827 h 837"/>
                <a:gd name="T40" fmla="*/ 2 w 747"/>
                <a:gd name="T41" fmla="*/ 831 h 837"/>
                <a:gd name="T42" fmla="*/ 4 w 747"/>
                <a:gd name="T43" fmla="*/ 833 h 837"/>
                <a:gd name="T44" fmla="*/ 6 w 747"/>
                <a:gd name="T45" fmla="*/ 835 h 837"/>
                <a:gd name="T46" fmla="*/ 8 w 747"/>
                <a:gd name="T47" fmla="*/ 836 h 837"/>
                <a:gd name="T48" fmla="*/ 11 w 747"/>
                <a:gd name="T49" fmla="*/ 837 h 837"/>
                <a:gd name="T50" fmla="*/ 15 w 747"/>
                <a:gd name="T51" fmla="*/ 837 h 837"/>
                <a:gd name="T52" fmla="*/ 732 w 747"/>
                <a:gd name="T53" fmla="*/ 837 h 837"/>
                <a:gd name="T54" fmla="*/ 735 w 747"/>
                <a:gd name="T55" fmla="*/ 837 h 837"/>
                <a:gd name="T56" fmla="*/ 737 w 747"/>
                <a:gd name="T57" fmla="*/ 836 h 837"/>
                <a:gd name="T58" fmla="*/ 741 w 747"/>
                <a:gd name="T59" fmla="*/ 835 h 837"/>
                <a:gd name="T60" fmla="*/ 743 w 747"/>
                <a:gd name="T61" fmla="*/ 833 h 837"/>
                <a:gd name="T62" fmla="*/ 744 w 747"/>
                <a:gd name="T63" fmla="*/ 831 h 837"/>
                <a:gd name="T64" fmla="*/ 746 w 747"/>
                <a:gd name="T65" fmla="*/ 829 h 837"/>
                <a:gd name="T66" fmla="*/ 747 w 747"/>
                <a:gd name="T67" fmla="*/ 825 h 837"/>
                <a:gd name="T68" fmla="*/ 747 w 747"/>
                <a:gd name="T69" fmla="*/ 822 h 837"/>
                <a:gd name="T70" fmla="*/ 747 w 747"/>
                <a:gd name="T71" fmla="*/ 209 h 837"/>
                <a:gd name="T72" fmla="*/ 746 w 747"/>
                <a:gd name="T73" fmla="*/ 205 h 837"/>
                <a:gd name="T74" fmla="*/ 745 w 747"/>
                <a:gd name="T75" fmla="*/ 202 h 837"/>
                <a:gd name="T76" fmla="*/ 743 w 747"/>
                <a:gd name="T77" fmla="*/ 199 h 837"/>
                <a:gd name="T78" fmla="*/ 740 w 747"/>
                <a:gd name="T79" fmla="*/ 19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7" h="837">
                  <a:moveTo>
                    <a:pt x="717" y="807"/>
                  </a:moveTo>
                  <a:lnTo>
                    <a:pt x="29" y="807"/>
                  </a:lnTo>
                  <a:lnTo>
                    <a:pt x="29" y="218"/>
                  </a:lnTo>
                  <a:lnTo>
                    <a:pt x="373" y="32"/>
                  </a:lnTo>
                  <a:lnTo>
                    <a:pt x="717" y="218"/>
                  </a:lnTo>
                  <a:lnTo>
                    <a:pt x="717" y="807"/>
                  </a:lnTo>
                  <a:close/>
                  <a:moveTo>
                    <a:pt x="740" y="196"/>
                  </a:moveTo>
                  <a:lnTo>
                    <a:pt x="379" y="2"/>
                  </a:lnTo>
                  <a:lnTo>
                    <a:pt x="376" y="1"/>
                  </a:lnTo>
                  <a:lnTo>
                    <a:pt x="373" y="0"/>
                  </a:lnTo>
                  <a:lnTo>
                    <a:pt x="368" y="1"/>
                  </a:lnTo>
                  <a:lnTo>
                    <a:pt x="365" y="2"/>
                  </a:lnTo>
                  <a:lnTo>
                    <a:pt x="7" y="196"/>
                  </a:lnTo>
                  <a:lnTo>
                    <a:pt x="4" y="199"/>
                  </a:lnTo>
                  <a:lnTo>
                    <a:pt x="2" y="202"/>
                  </a:lnTo>
                  <a:lnTo>
                    <a:pt x="0" y="205"/>
                  </a:lnTo>
                  <a:lnTo>
                    <a:pt x="0" y="209"/>
                  </a:lnTo>
                  <a:lnTo>
                    <a:pt x="0" y="822"/>
                  </a:lnTo>
                  <a:lnTo>
                    <a:pt x="0" y="825"/>
                  </a:lnTo>
                  <a:lnTo>
                    <a:pt x="1" y="827"/>
                  </a:lnTo>
                  <a:lnTo>
                    <a:pt x="2" y="831"/>
                  </a:lnTo>
                  <a:lnTo>
                    <a:pt x="4" y="833"/>
                  </a:lnTo>
                  <a:lnTo>
                    <a:pt x="6" y="835"/>
                  </a:lnTo>
                  <a:lnTo>
                    <a:pt x="8" y="836"/>
                  </a:lnTo>
                  <a:lnTo>
                    <a:pt x="11" y="837"/>
                  </a:lnTo>
                  <a:lnTo>
                    <a:pt x="15" y="837"/>
                  </a:lnTo>
                  <a:lnTo>
                    <a:pt x="732" y="837"/>
                  </a:lnTo>
                  <a:lnTo>
                    <a:pt x="735" y="837"/>
                  </a:lnTo>
                  <a:lnTo>
                    <a:pt x="737" y="836"/>
                  </a:lnTo>
                  <a:lnTo>
                    <a:pt x="741" y="835"/>
                  </a:lnTo>
                  <a:lnTo>
                    <a:pt x="743" y="833"/>
                  </a:lnTo>
                  <a:lnTo>
                    <a:pt x="744" y="831"/>
                  </a:lnTo>
                  <a:lnTo>
                    <a:pt x="746" y="829"/>
                  </a:lnTo>
                  <a:lnTo>
                    <a:pt x="747" y="825"/>
                  </a:lnTo>
                  <a:lnTo>
                    <a:pt x="747" y="822"/>
                  </a:lnTo>
                  <a:lnTo>
                    <a:pt x="747" y="209"/>
                  </a:lnTo>
                  <a:lnTo>
                    <a:pt x="746" y="205"/>
                  </a:lnTo>
                  <a:lnTo>
                    <a:pt x="745" y="202"/>
                  </a:lnTo>
                  <a:lnTo>
                    <a:pt x="743" y="199"/>
                  </a:lnTo>
                  <a:lnTo>
                    <a:pt x="74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878" name="Freeform 293">
              <a:extLst>
                <a:ext uri="{FF2B5EF4-FFF2-40B4-BE49-F238E27FC236}">
                  <a16:creationId xmlns:a16="http://schemas.microsoft.com/office/drawing/2014/main" id="{68BF59B3-E060-4D3D-8AB7-DF0F6F65135F}"/>
                </a:ext>
              </a:extLst>
            </p:cNvPr>
            <p:cNvSpPr>
              <a:spLocks/>
            </p:cNvSpPr>
            <p:nvPr/>
          </p:nvSpPr>
          <p:spPr bwMode="auto">
            <a:xfrm>
              <a:off x="7073900" y="3333750"/>
              <a:ext cx="236538" cy="9525"/>
            </a:xfrm>
            <a:custGeom>
              <a:avLst/>
              <a:gdLst>
                <a:gd name="T0" fmla="*/ 731 w 746"/>
                <a:gd name="T1" fmla="*/ 0 h 30"/>
                <a:gd name="T2" fmla="*/ 15 w 746"/>
                <a:gd name="T3" fmla="*/ 0 h 30"/>
                <a:gd name="T4" fmla="*/ 11 w 746"/>
                <a:gd name="T5" fmla="*/ 0 h 30"/>
                <a:gd name="T6" fmla="*/ 8 w 746"/>
                <a:gd name="T7" fmla="*/ 1 h 30"/>
                <a:gd name="T8" fmla="*/ 6 w 746"/>
                <a:gd name="T9" fmla="*/ 2 h 30"/>
                <a:gd name="T10" fmla="*/ 4 w 746"/>
                <a:gd name="T11" fmla="*/ 4 h 30"/>
                <a:gd name="T12" fmla="*/ 2 w 746"/>
                <a:gd name="T13" fmla="*/ 6 h 30"/>
                <a:gd name="T14" fmla="*/ 1 w 746"/>
                <a:gd name="T15" fmla="*/ 10 h 30"/>
                <a:gd name="T16" fmla="*/ 0 w 746"/>
                <a:gd name="T17" fmla="*/ 12 h 30"/>
                <a:gd name="T18" fmla="*/ 0 w 746"/>
                <a:gd name="T19" fmla="*/ 15 h 30"/>
                <a:gd name="T20" fmla="*/ 0 w 746"/>
                <a:gd name="T21" fmla="*/ 18 h 30"/>
                <a:gd name="T22" fmla="*/ 1 w 746"/>
                <a:gd name="T23" fmla="*/ 20 h 30"/>
                <a:gd name="T24" fmla="*/ 2 w 746"/>
                <a:gd name="T25" fmla="*/ 24 h 30"/>
                <a:gd name="T26" fmla="*/ 4 w 746"/>
                <a:gd name="T27" fmla="*/ 26 h 30"/>
                <a:gd name="T28" fmla="*/ 6 w 746"/>
                <a:gd name="T29" fmla="*/ 28 h 30"/>
                <a:gd name="T30" fmla="*/ 8 w 746"/>
                <a:gd name="T31" fmla="*/ 29 h 30"/>
                <a:gd name="T32" fmla="*/ 11 w 746"/>
                <a:gd name="T33" fmla="*/ 30 h 30"/>
                <a:gd name="T34" fmla="*/ 15 w 746"/>
                <a:gd name="T35" fmla="*/ 30 h 30"/>
                <a:gd name="T36" fmla="*/ 731 w 746"/>
                <a:gd name="T37" fmla="*/ 30 h 30"/>
                <a:gd name="T38" fmla="*/ 733 w 746"/>
                <a:gd name="T39" fmla="*/ 30 h 30"/>
                <a:gd name="T40" fmla="*/ 736 w 746"/>
                <a:gd name="T41" fmla="*/ 29 h 30"/>
                <a:gd name="T42" fmla="*/ 738 w 746"/>
                <a:gd name="T43" fmla="*/ 28 h 30"/>
                <a:gd name="T44" fmla="*/ 742 w 746"/>
                <a:gd name="T45" fmla="*/ 26 h 30"/>
                <a:gd name="T46" fmla="*/ 743 w 746"/>
                <a:gd name="T47" fmla="*/ 24 h 30"/>
                <a:gd name="T48" fmla="*/ 745 w 746"/>
                <a:gd name="T49" fmla="*/ 20 h 30"/>
                <a:gd name="T50" fmla="*/ 745 w 746"/>
                <a:gd name="T51" fmla="*/ 18 h 30"/>
                <a:gd name="T52" fmla="*/ 746 w 746"/>
                <a:gd name="T53" fmla="*/ 15 h 30"/>
                <a:gd name="T54" fmla="*/ 745 w 746"/>
                <a:gd name="T55" fmla="*/ 12 h 30"/>
                <a:gd name="T56" fmla="*/ 745 w 746"/>
                <a:gd name="T57" fmla="*/ 10 h 30"/>
                <a:gd name="T58" fmla="*/ 743 w 746"/>
                <a:gd name="T59" fmla="*/ 6 h 30"/>
                <a:gd name="T60" fmla="*/ 742 w 746"/>
                <a:gd name="T61" fmla="*/ 4 h 30"/>
                <a:gd name="T62" fmla="*/ 738 w 746"/>
                <a:gd name="T63" fmla="*/ 2 h 30"/>
                <a:gd name="T64" fmla="*/ 736 w 746"/>
                <a:gd name="T65" fmla="*/ 1 h 30"/>
                <a:gd name="T66" fmla="*/ 733 w 746"/>
                <a:gd name="T67" fmla="*/ 0 h 30"/>
                <a:gd name="T68" fmla="*/ 731 w 746"/>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6" h="30">
                  <a:moveTo>
                    <a:pt x="731" y="0"/>
                  </a:moveTo>
                  <a:lnTo>
                    <a:pt x="15" y="0"/>
                  </a:lnTo>
                  <a:lnTo>
                    <a:pt x="11"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1" y="30"/>
                  </a:lnTo>
                  <a:lnTo>
                    <a:pt x="15" y="30"/>
                  </a:lnTo>
                  <a:lnTo>
                    <a:pt x="731" y="30"/>
                  </a:lnTo>
                  <a:lnTo>
                    <a:pt x="733" y="30"/>
                  </a:lnTo>
                  <a:lnTo>
                    <a:pt x="736" y="29"/>
                  </a:lnTo>
                  <a:lnTo>
                    <a:pt x="738" y="28"/>
                  </a:lnTo>
                  <a:lnTo>
                    <a:pt x="742" y="26"/>
                  </a:lnTo>
                  <a:lnTo>
                    <a:pt x="743" y="24"/>
                  </a:lnTo>
                  <a:lnTo>
                    <a:pt x="745" y="20"/>
                  </a:lnTo>
                  <a:lnTo>
                    <a:pt x="745" y="18"/>
                  </a:lnTo>
                  <a:lnTo>
                    <a:pt x="746" y="15"/>
                  </a:lnTo>
                  <a:lnTo>
                    <a:pt x="745" y="12"/>
                  </a:lnTo>
                  <a:lnTo>
                    <a:pt x="745" y="10"/>
                  </a:lnTo>
                  <a:lnTo>
                    <a:pt x="743" y="6"/>
                  </a:lnTo>
                  <a:lnTo>
                    <a:pt x="742" y="4"/>
                  </a:lnTo>
                  <a:lnTo>
                    <a:pt x="738" y="2"/>
                  </a:lnTo>
                  <a:lnTo>
                    <a:pt x="736" y="1"/>
                  </a:lnTo>
                  <a:lnTo>
                    <a:pt x="733" y="0"/>
                  </a:lnTo>
                  <a:lnTo>
                    <a:pt x="7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081" name="Group 35">
            <a:extLst>
              <a:ext uri="{FF2B5EF4-FFF2-40B4-BE49-F238E27FC236}">
                <a16:creationId xmlns:a16="http://schemas.microsoft.com/office/drawing/2014/main" id="{E384BA1E-6CD0-4A99-BA11-4A2F2558AC22}"/>
              </a:ext>
            </a:extLst>
          </p:cNvPr>
          <p:cNvGrpSpPr>
            <a:grpSpLocks noChangeAspect="1"/>
          </p:cNvGrpSpPr>
          <p:nvPr/>
        </p:nvGrpSpPr>
        <p:grpSpPr>
          <a:xfrm>
            <a:off x="7874280" y="4879041"/>
            <a:ext cx="290600" cy="285619"/>
            <a:chOff x="941388" y="844551"/>
            <a:chExt cx="277813" cy="273052"/>
          </a:xfrm>
          <a:solidFill>
            <a:schemeClr val="bg2"/>
          </a:solidFill>
          <a:effectLst/>
        </p:grpSpPr>
        <p:sp>
          <p:nvSpPr>
            <p:cNvPr id="1082" name="Freeform 6">
              <a:extLst>
                <a:ext uri="{FF2B5EF4-FFF2-40B4-BE49-F238E27FC236}">
                  <a16:creationId xmlns:a16="http://schemas.microsoft.com/office/drawing/2014/main" id="{DA6AE3BC-1863-4569-97ED-D9F33FB664D7}"/>
                </a:ext>
              </a:extLst>
            </p:cNvPr>
            <p:cNvSpPr>
              <a:spLocks/>
            </p:cNvSpPr>
            <p:nvPr/>
          </p:nvSpPr>
          <p:spPr bwMode="auto">
            <a:xfrm>
              <a:off x="987426" y="844551"/>
              <a:ext cx="231775" cy="206375"/>
            </a:xfrm>
            <a:custGeom>
              <a:avLst/>
              <a:gdLst>
                <a:gd name="T0" fmla="*/ 582 w 586"/>
                <a:gd name="T1" fmla="*/ 3 h 522"/>
                <a:gd name="T2" fmla="*/ 580 w 586"/>
                <a:gd name="T3" fmla="*/ 1 h 522"/>
                <a:gd name="T4" fmla="*/ 576 w 586"/>
                <a:gd name="T5" fmla="*/ 0 h 522"/>
                <a:gd name="T6" fmla="*/ 574 w 586"/>
                <a:gd name="T7" fmla="*/ 0 h 522"/>
                <a:gd name="T8" fmla="*/ 572 w 586"/>
                <a:gd name="T9" fmla="*/ 0 h 522"/>
                <a:gd name="T10" fmla="*/ 567 w 586"/>
                <a:gd name="T11" fmla="*/ 1 h 522"/>
                <a:gd name="T12" fmla="*/ 564 w 586"/>
                <a:gd name="T13" fmla="*/ 4 h 522"/>
                <a:gd name="T14" fmla="*/ 165 w 586"/>
                <a:gd name="T15" fmla="*/ 491 h 522"/>
                <a:gd name="T16" fmla="*/ 22 w 586"/>
                <a:gd name="T17" fmla="*/ 347 h 522"/>
                <a:gd name="T18" fmla="*/ 18 w 586"/>
                <a:gd name="T19" fmla="*/ 343 h 522"/>
                <a:gd name="T20" fmla="*/ 13 w 586"/>
                <a:gd name="T21" fmla="*/ 343 h 522"/>
                <a:gd name="T22" fmla="*/ 9 w 586"/>
                <a:gd name="T23" fmla="*/ 343 h 522"/>
                <a:gd name="T24" fmla="*/ 4 w 586"/>
                <a:gd name="T25" fmla="*/ 347 h 522"/>
                <a:gd name="T26" fmla="*/ 1 w 586"/>
                <a:gd name="T27" fmla="*/ 351 h 522"/>
                <a:gd name="T28" fmla="*/ 0 w 586"/>
                <a:gd name="T29" fmla="*/ 356 h 522"/>
                <a:gd name="T30" fmla="*/ 1 w 586"/>
                <a:gd name="T31" fmla="*/ 361 h 522"/>
                <a:gd name="T32" fmla="*/ 4 w 586"/>
                <a:gd name="T33" fmla="*/ 365 h 522"/>
                <a:gd name="T34" fmla="*/ 157 w 586"/>
                <a:gd name="T35" fmla="*/ 517 h 522"/>
                <a:gd name="T36" fmla="*/ 161 w 586"/>
                <a:gd name="T37" fmla="*/ 521 h 522"/>
                <a:gd name="T38" fmla="*/ 166 w 586"/>
                <a:gd name="T39" fmla="*/ 522 h 522"/>
                <a:gd name="T40" fmla="*/ 166 w 586"/>
                <a:gd name="T41" fmla="*/ 522 h 522"/>
                <a:gd name="T42" fmla="*/ 166 w 586"/>
                <a:gd name="T43" fmla="*/ 522 h 522"/>
                <a:gd name="T44" fmla="*/ 172 w 586"/>
                <a:gd name="T45" fmla="*/ 521 h 522"/>
                <a:gd name="T46" fmla="*/ 176 w 586"/>
                <a:gd name="T47" fmla="*/ 517 h 522"/>
                <a:gd name="T48" fmla="*/ 583 w 586"/>
                <a:gd name="T49" fmla="*/ 21 h 522"/>
                <a:gd name="T50" fmla="*/ 585 w 586"/>
                <a:gd name="T51" fmla="*/ 16 h 522"/>
                <a:gd name="T52" fmla="*/ 586 w 586"/>
                <a:gd name="T53" fmla="*/ 11 h 522"/>
                <a:gd name="T54" fmla="*/ 585 w 586"/>
                <a:gd name="T55" fmla="*/ 6 h 522"/>
                <a:gd name="T56" fmla="*/ 582 w 586"/>
                <a:gd name="T57" fmla="*/ 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6" h="522">
                  <a:moveTo>
                    <a:pt x="582" y="3"/>
                  </a:moveTo>
                  <a:lnTo>
                    <a:pt x="580" y="1"/>
                  </a:lnTo>
                  <a:lnTo>
                    <a:pt x="576" y="0"/>
                  </a:lnTo>
                  <a:lnTo>
                    <a:pt x="574" y="0"/>
                  </a:lnTo>
                  <a:lnTo>
                    <a:pt x="572" y="0"/>
                  </a:lnTo>
                  <a:lnTo>
                    <a:pt x="567" y="1"/>
                  </a:lnTo>
                  <a:lnTo>
                    <a:pt x="564" y="4"/>
                  </a:lnTo>
                  <a:lnTo>
                    <a:pt x="165" y="491"/>
                  </a:lnTo>
                  <a:lnTo>
                    <a:pt x="22" y="347"/>
                  </a:lnTo>
                  <a:lnTo>
                    <a:pt x="18" y="343"/>
                  </a:lnTo>
                  <a:lnTo>
                    <a:pt x="13" y="343"/>
                  </a:lnTo>
                  <a:lnTo>
                    <a:pt x="9" y="343"/>
                  </a:lnTo>
                  <a:lnTo>
                    <a:pt x="4" y="347"/>
                  </a:lnTo>
                  <a:lnTo>
                    <a:pt x="1" y="351"/>
                  </a:lnTo>
                  <a:lnTo>
                    <a:pt x="0" y="356"/>
                  </a:lnTo>
                  <a:lnTo>
                    <a:pt x="1" y="361"/>
                  </a:lnTo>
                  <a:lnTo>
                    <a:pt x="4" y="365"/>
                  </a:lnTo>
                  <a:lnTo>
                    <a:pt x="157" y="517"/>
                  </a:lnTo>
                  <a:lnTo>
                    <a:pt x="161" y="521"/>
                  </a:lnTo>
                  <a:lnTo>
                    <a:pt x="166" y="522"/>
                  </a:lnTo>
                  <a:lnTo>
                    <a:pt x="166" y="522"/>
                  </a:lnTo>
                  <a:lnTo>
                    <a:pt x="166" y="522"/>
                  </a:lnTo>
                  <a:lnTo>
                    <a:pt x="172" y="521"/>
                  </a:lnTo>
                  <a:lnTo>
                    <a:pt x="176" y="517"/>
                  </a:lnTo>
                  <a:lnTo>
                    <a:pt x="583" y="21"/>
                  </a:lnTo>
                  <a:lnTo>
                    <a:pt x="585" y="16"/>
                  </a:lnTo>
                  <a:lnTo>
                    <a:pt x="586" y="11"/>
                  </a:lnTo>
                  <a:lnTo>
                    <a:pt x="585" y="6"/>
                  </a:lnTo>
                  <a:lnTo>
                    <a:pt x="5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sp>
          <p:nvSpPr>
            <p:cNvPr id="1083" name="Freeform 7">
              <a:extLst>
                <a:ext uri="{FF2B5EF4-FFF2-40B4-BE49-F238E27FC236}">
                  <a16:creationId xmlns:a16="http://schemas.microsoft.com/office/drawing/2014/main" id="{2D687FC7-F381-4737-A61D-F5AA85702E34}"/>
                </a:ext>
              </a:extLst>
            </p:cNvPr>
            <p:cNvSpPr>
              <a:spLocks/>
            </p:cNvSpPr>
            <p:nvPr/>
          </p:nvSpPr>
          <p:spPr bwMode="auto">
            <a:xfrm>
              <a:off x="941388" y="844553"/>
              <a:ext cx="273050" cy="273050"/>
            </a:xfrm>
            <a:custGeom>
              <a:avLst/>
              <a:gdLst>
                <a:gd name="T0" fmla="*/ 598 w 611"/>
                <a:gd name="T1" fmla="*/ 233 h 611"/>
                <a:gd name="T2" fmla="*/ 593 w 611"/>
                <a:gd name="T3" fmla="*/ 233 h 611"/>
                <a:gd name="T4" fmla="*/ 590 w 611"/>
                <a:gd name="T5" fmla="*/ 236 h 611"/>
                <a:gd name="T6" fmla="*/ 586 w 611"/>
                <a:gd name="T7" fmla="*/ 241 h 611"/>
                <a:gd name="T8" fmla="*/ 585 w 611"/>
                <a:gd name="T9" fmla="*/ 245 h 611"/>
                <a:gd name="T10" fmla="*/ 585 w 611"/>
                <a:gd name="T11" fmla="*/ 585 h 611"/>
                <a:gd name="T12" fmla="*/ 25 w 611"/>
                <a:gd name="T13" fmla="*/ 585 h 611"/>
                <a:gd name="T14" fmla="*/ 25 w 611"/>
                <a:gd name="T15" fmla="*/ 25 h 611"/>
                <a:gd name="T16" fmla="*/ 430 w 611"/>
                <a:gd name="T17" fmla="*/ 25 h 611"/>
                <a:gd name="T18" fmla="*/ 435 w 611"/>
                <a:gd name="T19" fmla="*/ 24 h 611"/>
                <a:gd name="T20" fmla="*/ 439 w 611"/>
                <a:gd name="T21" fmla="*/ 22 h 611"/>
                <a:gd name="T22" fmla="*/ 441 w 611"/>
                <a:gd name="T23" fmla="*/ 17 h 611"/>
                <a:gd name="T24" fmla="*/ 442 w 611"/>
                <a:gd name="T25" fmla="*/ 12 h 611"/>
                <a:gd name="T26" fmla="*/ 441 w 611"/>
                <a:gd name="T27" fmla="*/ 8 h 611"/>
                <a:gd name="T28" fmla="*/ 439 w 611"/>
                <a:gd name="T29" fmla="*/ 3 h 611"/>
                <a:gd name="T30" fmla="*/ 435 w 611"/>
                <a:gd name="T31" fmla="*/ 1 h 611"/>
                <a:gd name="T32" fmla="*/ 430 w 611"/>
                <a:gd name="T33" fmla="*/ 0 h 611"/>
                <a:gd name="T34" fmla="*/ 12 w 611"/>
                <a:gd name="T35" fmla="*/ 0 h 611"/>
                <a:gd name="T36" fmla="*/ 8 w 611"/>
                <a:gd name="T37" fmla="*/ 1 h 611"/>
                <a:gd name="T38" fmla="*/ 3 w 611"/>
                <a:gd name="T39" fmla="*/ 3 h 611"/>
                <a:gd name="T40" fmla="*/ 1 w 611"/>
                <a:gd name="T41" fmla="*/ 8 h 611"/>
                <a:gd name="T42" fmla="*/ 0 w 611"/>
                <a:gd name="T43" fmla="*/ 12 h 611"/>
                <a:gd name="T44" fmla="*/ 0 w 611"/>
                <a:gd name="T45" fmla="*/ 598 h 611"/>
                <a:gd name="T46" fmla="*/ 1 w 611"/>
                <a:gd name="T47" fmla="*/ 603 h 611"/>
                <a:gd name="T48" fmla="*/ 3 w 611"/>
                <a:gd name="T49" fmla="*/ 608 h 611"/>
                <a:gd name="T50" fmla="*/ 8 w 611"/>
                <a:gd name="T51" fmla="*/ 610 h 611"/>
                <a:gd name="T52" fmla="*/ 12 w 611"/>
                <a:gd name="T53" fmla="*/ 611 h 611"/>
                <a:gd name="T54" fmla="*/ 598 w 611"/>
                <a:gd name="T55" fmla="*/ 611 h 611"/>
                <a:gd name="T56" fmla="*/ 604 w 611"/>
                <a:gd name="T57" fmla="*/ 610 h 611"/>
                <a:gd name="T58" fmla="*/ 607 w 611"/>
                <a:gd name="T59" fmla="*/ 608 h 611"/>
                <a:gd name="T60" fmla="*/ 610 w 611"/>
                <a:gd name="T61" fmla="*/ 603 h 611"/>
                <a:gd name="T62" fmla="*/ 611 w 611"/>
                <a:gd name="T63" fmla="*/ 598 h 611"/>
                <a:gd name="T64" fmla="*/ 611 w 611"/>
                <a:gd name="T65" fmla="*/ 245 h 611"/>
                <a:gd name="T66" fmla="*/ 610 w 611"/>
                <a:gd name="T67" fmla="*/ 241 h 611"/>
                <a:gd name="T68" fmla="*/ 607 w 611"/>
                <a:gd name="T69" fmla="*/ 236 h 611"/>
                <a:gd name="T70" fmla="*/ 604 w 611"/>
                <a:gd name="T71" fmla="*/ 233 h 611"/>
                <a:gd name="T72" fmla="*/ 598 w 611"/>
                <a:gd name="T73" fmla="*/ 23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1" h="611">
                  <a:moveTo>
                    <a:pt x="598" y="233"/>
                  </a:moveTo>
                  <a:lnTo>
                    <a:pt x="593" y="233"/>
                  </a:lnTo>
                  <a:lnTo>
                    <a:pt x="590" y="236"/>
                  </a:lnTo>
                  <a:lnTo>
                    <a:pt x="586" y="241"/>
                  </a:lnTo>
                  <a:lnTo>
                    <a:pt x="585" y="245"/>
                  </a:lnTo>
                  <a:lnTo>
                    <a:pt x="585" y="585"/>
                  </a:lnTo>
                  <a:lnTo>
                    <a:pt x="25" y="585"/>
                  </a:lnTo>
                  <a:lnTo>
                    <a:pt x="25" y="25"/>
                  </a:lnTo>
                  <a:lnTo>
                    <a:pt x="430" y="25"/>
                  </a:lnTo>
                  <a:lnTo>
                    <a:pt x="435" y="24"/>
                  </a:lnTo>
                  <a:lnTo>
                    <a:pt x="439" y="22"/>
                  </a:lnTo>
                  <a:lnTo>
                    <a:pt x="441" y="17"/>
                  </a:lnTo>
                  <a:lnTo>
                    <a:pt x="442" y="12"/>
                  </a:lnTo>
                  <a:lnTo>
                    <a:pt x="441" y="8"/>
                  </a:lnTo>
                  <a:lnTo>
                    <a:pt x="439" y="3"/>
                  </a:lnTo>
                  <a:lnTo>
                    <a:pt x="435" y="1"/>
                  </a:lnTo>
                  <a:lnTo>
                    <a:pt x="430" y="0"/>
                  </a:lnTo>
                  <a:lnTo>
                    <a:pt x="12" y="0"/>
                  </a:lnTo>
                  <a:lnTo>
                    <a:pt x="8" y="1"/>
                  </a:lnTo>
                  <a:lnTo>
                    <a:pt x="3" y="3"/>
                  </a:lnTo>
                  <a:lnTo>
                    <a:pt x="1" y="8"/>
                  </a:lnTo>
                  <a:lnTo>
                    <a:pt x="0" y="12"/>
                  </a:lnTo>
                  <a:lnTo>
                    <a:pt x="0" y="598"/>
                  </a:lnTo>
                  <a:lnTo>
                    <a:pt x="1" y="603"/>
                  </a:lnTo>
                  <a:lnTo>
                    <a:pt x="3" y="608"/>
                  </a:lnTo>
                  <a:lnTo>
                    <a:pt x="8" y="610"/>
                  </a:lnTo>
                  <a:lnTo>
                    <a:pt x="12" y="611"/>
                  </a:lnTo>
                  <a:lnTo>
                    <a:pt x="598" y="611"/>
                  </a:lnTo>
                  <a:lnTo>
                    <a:pt x="604" y="610"/>
                  </a:lnTo>
                  <a:lnTo>
                    <a:pt x="607" y="608"/>
                  </a:lnTo>
                  <a:lnTo>
                    <a:pt x="610" y="603"/>
                  </a:lnTo>
                  <a:lnTo>
                    <a:pt x="611" y="598"/>
                  </a:lnTo>
                  <a:lnTo>
                    <a:pt x="611" y="245"/>
                  </a:lnTo>
                  <a:lnTo>
                    <a:pt x="610" y="241"/>
                  </a:lnTo>
                  <a:lnTo>
                    <a:pt x="607" y="236"/>
                  </a:lnTo>
                  <a:lnTo>
                    <a:pt x="604" y="233"/>
                  </a:lnTo>
                  <a:lnTo>
                    <a:pt x="598"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grpSp>
      <p:sp>
        <p:nvSpPr>
          <p:cNvPr id="962" name="Freeform 251">
            <a:extLst>
              <a:ext uri="{FF2B5EF4-FFF2-40B4-BE49-F238E27FC236}">
                <a16:creationId xmlns:a16="http://schemas.microsoft.com/office/drawing/2014/main" id="{CBC625B8-5469-4517-9765-6D2FD23B651F}"/>
              </a:ext>
            </a:extLst>
          </p:cNvPr>
          <p:cNvSpPr>
            <a:spLocks noChangeAspect="1" noEditPoints="1"/>
          </p:cNvSpPr>
          <p:nvPr/>
        </p:nvSpPr>
        <p:spPr bwMode="auto">
          <a:xfrm>
            <a:off x="8256442" y="5417577"/>
            <a:ext cx="383668" cy="285619"/>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1" name="Group 32">
            <a:extLst>
              <a:ext uri="{FF2B5EF4-FFF2-40B4-BE49-F238E27FC236}">
                <a16:creationId xmlns:a16="http://schemas.microsoft.com/office/drawing/2014/main" id="{82C619F3-4306-4E21-A63F-E33091B0AA46}"/>
              </a:ext>
            </a:extLst>
          </p:cNvPr>
          <p:cNvGrpSpPr>
            <a:grpSpLocks noChangeAspect="1"/>
          </p:cNvGrpSpPr>
          <p:nvPr/>
        </p:nvGrpSpPr>
        <p:grpSpPr>
          <a:xfrm>
            <a:off x="8283496" y="4879041"/>
            <a:ext cx="329560" cy="285619"/>
            <a:chOff x="3175000" y="1968501"/>
            <a:chExt cx="285750" cy="247650"/>
          </a:xfrm>
          <a:solidFill>
            <a:schemeClr val="bg2"/>
          </a:solidFill>
          <a:effectLst/>
        </p:grpSpPr>
        <p:sp>
          <p:nvSpPr>
            <p:cNvPr id="1112" name="Freeform 202">
              <a:extLst>
                <a:ext uri="{FF2B5EF4-FFF2-40B4-BE49-F238E27FC236}">
                  <a16:creationId xmlns:a16="http://schemas.microsoft.com/office/drawing/2014/main" id="{DBAE7C3B-8F84-4707-8AFF-A859C45665B2}"/>
                </a:ext>
              </a:extLst>
            </p:cNvPr>
            <p:cNvSpPr>
              <a:spLocks noEditPoints="1"/>
            </p:cNvSpPr>
            <p:nvPr/>
          </p:nvSpPr>
          <p:spPr bwMode="auto">
            <a:xfrm>
              <a:off x="3175000" y="1968501"/>
              <a:ext cx="285750" cy="247650"/>
            </a:xfrm>
            <a:custGeom>
              <a:avLst/>
              <a:gdLst>
                <a:gd name="T0" fmla="*/ 432 w 901"/>
                <a:gd name="T1" fmla="*/ 600 h 781"/>
                <a:gd name="T2" fmla="*/ 426 w 901"/>
                <a:gd name="T3" fmla="*/ 601 h 781"/>
                <a:gd name="T4" fmla="*/ 421 w 901"/>
                <a:gd name="T5" fmla="*/ 604 h 781"/>
                <a:gd name="T6" fmla="*/ 300 w 901"/>
                <a:gd name="T7" fmla="*/ 615 h 781"/>
                <a:gd name="T8" fmla="*/ 299 w 901"/>
                <a:gd name="T9" fmla="*/ 609 h 781"/>
                <a:gd name="T10" fmla="*/ 296 w 901"/>
                <a:gd name="T11" fmla="*/ 604 h 781"/>
                <a:gd name="T12" fmla="*/ 292 w 901"/>
                <a:gd name="T13" fmla="*/ 601 h 781"/>
                <a:gd name="T14" fmla="*/ 285 w 901"/>
                <a:gd name="T15" fmla="*/ 600 h 781"/>
                <a:gd name="T16" fmla="*/ 30 w 901"/>
                <a:gd name="T17" fmla="*/ 29 h 781"/>
                <a:gd name="T18" fmla="*/ 871 w 901"/>
                <a:gd name="T19" fmla="*/ 600 h 781"/>
                <a:gd name="T20" fmla="*/ 15 w 901"/>
                <a:gd name="T21" fmla="*/ 0 h 781"/>
                <a:gd name="T22" fmla="*/ 9 w 901"/>
                <a:gd name="T23" fmla="*/ 1 h 781"/>
                <a:gd name="T24" fmla="*/ 5 w 901"/>
                <a:gd name="T25" fmla="*/ 4 h 781"/>
                <a:gd name="T26" fmla="*/ 2 w 901"/>
                <a:gd name="T27" fmla="*/ 8 h 781"/>
                <a:gd name="T28" fmla="*/ 0 w 901"/>
                <a:gd name="T29" fmla="*/ 14 h 781"/>
                <a:gd name="T30" fmla="*/ 0 w 901"/>
                <a:gd name="T31" fmla="*/ 618 h 781"/>
                <a:gd name="T32" fmla="*/ 3 w 901"/>
                <a:gd name="T33" fmla="*/ 623 h 781"/>
                <a:gd name="T34" fmla="*/ 7 w 901"/>
                <a:gd name="T35" fmla="*/ 628 h 781"/>
                <a:gd name="T36" fmla="*/ 12 w 901"/>
                <a:gd name="T37" fmla="*/ 630 h 781"/>
                <a:gd name="T38" fmla="*/ 270 w 901"/>
                <a:gd name="T39" fmla="*/ 630 h 781"/>
                <a:gd name="T40" fmla="*/ 271 w 901"/>
                <a:gd name="T41" fmla="*/ 770 h 781"/>
                <a:gd name="T42" fmla="*/ 277 w 901"/>
                <a:gd name="T43" fmla="*/ 776 h 781"/>
                <a:gd name="T44" fmla="*/ 283 w 901"/>
                <a:gd name="T45" fmla="*/ 780 h 781"/>
                <a:gd name="T46" fmla="*/ 288 w 901"/>
                <a:gd name="T47" fmla="*/ 780 h 781"/>
                <a:gd name="T48" fmla="*/ 294 w 901"/>
                <a:gd name="T49" fmla="*/ 777 h 781"/>
                <a:gd name="T50" fmla="*/ 438 w 901"/>
                <a:gd name="T51" fmla="*/ 630 h 781"/>
                <a:gd name="T52" fmla="*/ 890 w 901"/>
                <a:gd name="T53" fmla="*/ 630 h 781"/>
                <a:gd name="T54" fmla="*/ 895 w 901"/>
                <a:gd name="T55" fmla="*/ 628 h 781"/>
                <a:gd name="T56" fmla="*/ 898 w 901"/>
                <a:gd name="T57" fmla="*/ 623 h 781"/>
                <a:gd name="T58" fmla="*/ 901 w 901"/>
                <a:gd name="T59" fmla="*/ 618 h 781"/>
                <a:gd name="T60" fmla="*/ 901 w 901"/>
                <a:gd name="T61" fmla="*/ 14 h 781"/>
                <a:gd name="T62" fmla="*/ 900 w 901"/>
                <a:gd name="T63" fmla="*/ 8 h 781"/>
                <a:gd name="T64" fmla="*/ 897 w 901"/>
                <a:gd name="T65" fmla="*/ 4 h 781"/>
                <a:gd name="T66" fmla="*/ 892 w 901"/>
                <a:gd name="T67" fmla="*/ 1 h 781"/>
                <a:gd name="T68" fmla="*/ 886 w 901"/>
                <a:gd name="T69"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1" h="781">
                  <a:moveTo>
                    <a:pt x="871" y="600"/>
                  </a:moveTo>
                  <a:lnTo>
                    <a:pt x="432" y="600"/>
                  </a:lnTo>
                  <a:lnTo>
                    <a:pt x="428" y="600"/>
                  </a:lnTo>
                  <a:lnTo>
                    <a:pt x="426" y="601"/>
                  </a:lnTo>
                  <a:lnTo>
                    <a:pt x="423" y="603"/>
                  </a:lnTo>
                  <a:lnTo>
                    <a:pt x="421" y="604"/>
                  </a:lnTo>
                  <a:lnTo>
                    <a:pt x="300" y="728"/>
                  </a:lnTo>
                  <a:lnTo>
                    <a:pt x="300" y="615"/>
                  </a:lnTo>
                  <a:lnTo>
                    <a:pt x="300" y="612"/>
                  </a:lnTo>
                  <a:lnTo>
                    <a:pt x="299" y="609"/>
                  </a:lnTo>
                  <a:lnTo>
                    <a:pt x="298" y="606"/>
                  </a:lnTo>
                  <a:lnTo>
                    <a:pt x="296" y="604"/>
                  </a:lnTo>
                  <a:lnTo>
                    <a:pt x="294" y="603"/>
                  </a:lnTo>
                  <a:lnTo>
                    <a:pt x="292" y="601"/>
                  </a:lnTo>
                  <a:lnTo>
                    <a:pt x="288" y="600"/>
                  </a:lnTo>
                  <a:lnTo>
                    <a:pt x="285" y="600"/>
                  </a:lnTo>
                  <a:lnTo>
                    <a:pt x="30" y="600"/>
                  </a:lnTo>
                  <a:lnTo>
                    <a:pt x="30" y="29"/>
                  </a:lnTo>
                  <a:lnTo>
                    <a:pt x="871" y="29"/>
                  </a:lnTo>
                  <a:lnTo>
                    <a:pt x="871" y="600"/>
                  </a:lnTo>
                  <a:close/>
                  <a:moveTo>
                    <a:pt x="886" y="0"/>
                  </a:moveTo>
                  <a:lnTo>
                    <a:pt x="15" y="0"/>
                  </a:lnTo>
                  <a:lnTo>
                    <a:pt x="12" y="0"/>
                  </a:lnTo>
                  <a:lnTo>
                    <a:pt x="9" y="1"/>
                  </a:lnTo>
                  <a:lnTo>
                    <a:pt x="7" y="2"/>
                  </a:lnTo>
                  <a:lnTo>
                    <a:pt x="5" y="4"/>
                  </a:lnTo>
                  <a:lnTo>
                    <a:pt x="3" y="6"/>
                  </a:lnTo>
                  <a:lnTo>
                    <a:pt x="2" y="8"/>
                  </a:lnTo>
                  <a:lnTo>
                    <a:pt x="0" y="11"/>
                  </a:lnTo>
                  <a:lnTo>
                    <a:pt x="0" y="14"/>
                  </a:lnTo>
                  <a:lnTo>
                    <a:pt x="0" y="615"/>
                  </a:lnTo>
                  <a:lnTo>
                    <a:pt x="0" y="618"/>
                  </a:lnTo>
                  <a:lnTo>
                    <a:pt x="2" y="621"/>
                  </a:lnTo>
                  <a:lnTo>
                    <a:pt x="3" y="623"/>
                  </a:lnTo>
                  <a:lnTo>
                    <a:pt x="5" y="626"/>
                  </a:lnTo>
                  <a:lnTo>
                    <a:pt x="7" y="628"/>
                  </a:lnTo>
                  <a:lnTo>
                    <a:pt x="9" y="629"/>
                  </a:lnTo>
                  <a:lnTo>
                    <a:pt x="12" y="630"/>
                  </a:lnTo>
                  <a:lnTo>
                    <a:pt x="15" y="630"/>
                  </a:lnTo>
                  <a:lnTo>
                    <a:pt x="270" y="630"/>
                  </a:lnTo>
                  <a:lnTo>
                    <a:pt x="270" y="765"/>
                  </a:lnTo>
                  <a:lnTo>
                    <a:pt x="271" y="770"/>
                  </a:lnTo>
                  <a:lnTo>
                    <a:pt x="273" y="773"/>
                  </a:lnTo>
                  <a:lnTo>
                    <a:pt x="277" y="776"/>
                  </a:lnTo>
                  <a:lnTo>
                    <a:pt x="280" y="779"/>
                  </a:lnTo>
                  <a:lnTo>
                    <a:pt x="283" y="780"/>
                  </a:lnTo>
                  <a:lnTo>
                    <a:pt x="285" y="781"/>
                  </a:lnTo>
                  <a:lnTo>
                    <a:pt x="288" y="780"/>
                  </a:lnTo>
                  <a:lnTo>
                    <a:pt x="292" y="779"/>
                  </a:lnTo>
                  <a:lnTo>
                    <a:pt x="294" y="777"/>
                  </a:lnTo>
                  <a:lnTo>
                    <a:pt x="296" y="775"/>
                  </a:lnTo>
                  <a:lnTo>
                    <a:pt x="438" y="630"/>
                  </a:lnTo>
                  <a:lnTo>
                    <a:pt x="886" y="630"/>
                  </a:lnTo>
                  <a:lnTo>
                    <a:pt x="890" y="630"/>
                  </a:lnTo>
                  <a:lnTo>
                    <a:pt x="892" y="629"/>
                  </a:lnTo>
                  <a:lnTo>
                    <a:pt x="895" y="628"/>
                  </a:lnTo>
                  <a:lnTo>
                    <a:pt x="897" y="626"/>
                  </a:lnTo>
                  <a:lnTo>
                    <a:pt x="898" y="623"/>
                  </a:lnTo>
                  <a:lnTo>
                    <a:pt x="900" y="621"/>
                  </a:lnTo>
                  <a:lnTo>
                    <a:pt x="901" y="618"/>
                  </a:lnTo>
                  <a:lnTo>
                    <a:pt x="901" y="615"/>
                  </a:lnTo>
                  <a:lnTo>
                    <a:pt x="901" y="14"/>
                  </a:lnTo>
                  <a:lnTo>
                    <a:pt x="901" y="11"/>
                  </a:lnTo>
                  <a:lnTo>
                    <a:pt x="900" y="8"/>
                  </a:lnTo>
                  <a:lnTo>
                    <a:pt x="898" y="6"/>
                  </a:lnTo>
                  <a:lnTo>
                    <a:pt x="897" y="4"/>
                  </a:lnTo>
                  <a:lnTo>
                    <a:pt x="895" y="2"/>
                  </a:lnTo>
                  <a:lnTo>
                    <a:pt x="892" y="1"/>
                  </a:lnTo>
                  <a:lnTo>
                    <a:pt x="890" y="0"/>
                  </a:lnTo>
                  <a:lnTo>
                    <a:pt x="886"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13" name="Freeform 203">
              <a:extLst>
                <a:ext uri="{FF2B5EF4-FFF2-40B4-BE49-F238E27FC236}">
                  <a16:creationId xmlns:a16="http://schemas.microsoft.com/office/drawing/2014/main" id="{1F13FEFC-DA02-4914-B5E5-EDB83D0F6A74}"/>
                </a:ext>
              </a:extLst>
            </p:cNvPr>
            <p:cNvSpPr>
              <a:spLocks/>
            </p:cNvSpPr>
            <p:nvPr/>
          </p:nvSpPr>
          <p:spPr bwMode="auto">
            <a:xfrm>
              <a:off x="3308350" y="2006601"/>
              <a:ext cx="9525" cy="80963"/>
            </a:xfrm>
            <a:custGeom>
              <a:avLst/>
              <a:gdLst>
                <a:gd name="T0" fmla="*/ 15 w 30"/>
                <a:gd name="T1" fmla="*/ 256 h 256"/>
                <a:gd name="T2" fmla="*/ 18 w 30"/>
                <a:gd name="T3" fmla="*/ 255 h 256"/>
                <a:gd name="T4" fmla="*/ 20 w 30"/>
                <a:gd name="T5" fmla="*/ 254 h 256"/>
                <a:gd name="T6" fmla="*/ 24 w 30"/>
                <a:gd name="T7" fmla="*/ 253 h 256"/>
                <a:gd name="T8" fmla="*/ 26 w 30"/>
                <a:gd name="T9" fmla="*/ 251 h 256"/>
                <a:gd name="T10" fmla="*/ 27 w 30"/>
                <a:gd name="T11" fmla="*/ 249 h 256"/>
                <a:gd name="T12" fmla="*/ 29 w 30"/>
                <a:gd name="T13" fmla="*/ 246 h 256"/>
                <a:gd name="T14" fmla="*/ 29 w 30"/>
                <a:gd name="T15" fmla="*/ 243 h 256"/>
                <a:gd name="T16" fmla="*/ 30 w 30"/>
                <a:gd name="T17" fmla="*/ 241 h 256"/>
                <a:gd name="T18" fmla="*/ 30 w 30"/>
                <a:gd name="T19" fmla="*/ 15 h 256"/>
                <a:gd name="T20" fmla="*/ 30 w 30"/>
                <a:gd name="T21" fmla="*/ 12 h 256"/>
                <a:gd name="T22" fmla="*/ 29 w 30"/>
                <a:gd name="T23" fmla="*/ 10 h 256"/>
                <a:gd name="T24" fmla="*/ 27 w 30"/>
                <a:gd name="T25" fmla="*/ 7 h 256"/>
                <a:gd name="T26" fmla="*/ 26 w 30"/>
                <a:gd name="T27" fmla="*/ 5 h 256"/>
                <a:gd name="T28" fmla="*/ 24 w 30"/>
                <a:gd name="T29" fmla="*/ 3 h 256"/>
                <a:gd name="T30" fmla="*/ 20 w 30"/>
                <a:gd name="T31" fmla="*/ 1 h 256"/>
                <a:gd name="T32" fmla="*/ 18 w 30"/>
                <a:gd name="T33" fmla="*/ 0 h 256"/>
                <a:gd name="T34" fmla="*/ 15 w 30"/>
                <a:gd name="T35" fmla="*/ 0 h 256"/>
                <a:gd name="T36" fmla="*/ 12 w 30"/>
                <a:gd name="T37" fmla="*/ 0 h 256"/>
                <a:gd name="T38" fmla="*/ 9 w 30"/>
                <a:gd name="T39" fmla="*/ 1 h 256"/>
                <a:gd name="T40" fmla="*/ 6 w 30"/>
                <a:gd name="T41" fmla="*/ 3 h 256"/>
                <a:gd name="T42" fmla="*/ 4 w 30"/>
                <a:gd name="T43" fmla="*/ 5 h 256"/>
                <a:gd name="T44" fmla="*/ 2 w 30"/>
                <a:gd name="T45" fmla="*/ 7 h 256"/>
                <a:gd name="T46" fmla="*/ 1 w 30"/>
                <a:gd name="T47" fmla="*/ 10 h 256"/>
                <a:gd name="T48" fmla="*/ 0 w 30"/>
                <a:gd name="T49" fmla="*/ 12 h 256"/>
                <a:gd name="T50" fmla="*/ 0 w 30"/>
                <a:gd name="T51" fmla="*/ 15 h 256"/>
                <a:gd name="T52" fmla="*/ 0 w 30"/>
                <a:gd name="T53" fmla="*/ 241 h 256"/>
                <a:gd name="T54" fmla="*/ 0 w 30"/>
                <a:gd name="T55" fmla="*/ 243 h 256"/>
                <a:gd name="T56" fmla="*/ 1 w 30"/>
                <a:gd name="T57" fmla="*/ 246 h 256"/>
                <a:gd name="T58" fmla="*/ 2 w 30"/>
                <a:gd name="T59" fmla="*/ 249 h 256"/>
                <a:gd name="T60" fmla="*/ 4 w 30"/>
                <a:gd name="T61" fmla="*/ 251 h 256"/>
                <a:gd name="T62" fmla="*/ 6 w 30"/>
                <a:gd name="T63" fmla="*/ 253 h 256"/>
                <a:gd name="T64" fmla="*/ 9 w 30"/>
                <a:gd name="T65" fmla="*/ 255 h 256"/>
                <a:gd name="T66" fmla="*/ 12 w 30"/>
                <a:gd name="T67" fmla="*/ 255 h 256"/>
                <a:gd name="T68" fmla="*/ 15 w 30"/>
                <a:gd name="T69" fmla="*/ 256 h 256"/>
                <a:gd name="T70" fmla="*/ 15 w 30"/>
                <a:gd name="T7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56">
                  <a:moveTo>
                    <a:pt x="15" y="256"/>
                  </a:moveTo>
                  <a:lnTo>
                    <a:pt x="18" y="255"/>
                  </a:lnTo>
                  <a:lnTo>
                    <a:pt x="20" y="254"/>
                  </a:lnTo>
                  <a:lnTo>
                    <a:pt x="24" y="253"/>
                  </a:lnTo>
                  <a:lnTo>
                    <a:pt x="26" y="251"/>
                  </a:lnTo>
                  <a:lnTo>
                    <a:pt x="27" y="249"/>
                  </a:lnTo>
                  <a:lnTo>
                    <a:pt x="29" y="246"/>
                  </a:lnTo>
                  <a:lnTo>
                    <a:pt x="29" y="243"/>
                  </a:lnTo>
                  <a:lnTo>
                    <a:pt x="30" y="241"/>
                  </a:lnTo>
                  <a:lnTo>
                    <a:pt x="30" y="15"/>
                  </a:lnTo>
                  <a:lnTo>
                    <a:pt x="30" y="12"/>
                  </a:lnTo>
                  <a:lnTo>
                    <a:pt x="29" y="10"/>
                  </a:lnTo>
                  <a:lnTo>
                    <a:pt x="27" y="7"/>
                  </a:lnTo>
                  <a:lnTo>
                    <a:pt x="26" y="5"/>
                  </a:lnTo>
                  <a:lnTo>
                    <a:pt x="24" y="3"/>
                  </a:lnTo>
                  <a:lnTo>
                    <a:pt x="20" y="1"/>
                  </a:lnTo>
                  <a:lnTo>
                    <a:pt x="18" y="0"/>
                  </a:lnTo>
                  <a:lnTo>
                    <a:pt x="15" y="0"/>
                  </a:lnTo>
                  <a:lnTo>
                    <a:pt x="12" y="0"/>
                  </a:lnTo>
                  <a:lnTo>
                    <a:pt x="9" y="1"/>
                  </a:lnTo>
                  <a:lnTo>
                    <a:pt x="6" y="3"/>
                  </a:lnTo>
                  <a:lnTo>
                    <a:pt x="4" y="5"/>
                  </a:lnTo>
                  <a:lnTo>
                    <a:pt x="2" y="7"/>
                  </a:lnTo>
                  <a:lnTo>
                    <a:pt x="1" y="10"/>
                  </a:lnTo>
                  <a:lnTo>
                    <a:pt x="0" y="12"/>
                  </a:lnTo>
                  <a:lnTo>
                    <a:pt x="0" y="15"/>
                  </a:lnTo>
                  <a:lnTo>
                    <a:pt x="0" y="241"/>
                  </a:lnTo>
                  <a:lnTo>
                    <a:pt x="0" y="243"/>
                  </a:lnTo>
                  <a:lnTo>
                    <a:pt x="1" y="246"/>
                  </a:lnTo>
                  <a:lnTo>
                    <a:pt x="2" y="249"/>
                  </a:lnTo>
                  <a:lnTo>
                    <a:pt x="4" y="251"/>
                  </a:lnTo>
                  <a:lnTo>
                    <a:pt x="6" y="253"/>
                  </a:lnTo>
                  <a:lnTo>
                    <a:pt x="9" y="255"/>
                  </a:lnTo>
                  <a:lnTo>
                    <a:pt x="12" y="255"/>
                  </a:lnTo>
                  <a:lnTo>
                    <a:pt x="15" y="256"/>
                  </a:lnTo>
                  <a:lnTo>
                    <a:pt x="15"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14" name="Freeform 204">
              <a:extLst>
                <a:ext uri="{FF2B5EF4-FFF2-40B4-BE49-F238E27FC236}">
                  <a16:creationId xmlns:a16="http://schemas.microsoft.com/office/drawing/2014/main" id="{D95C32CD-FF96-4BF1-8393-544F8B44872D}"/>
                </a:ext>
              </a:extLst>
            </p:cNvPr>
            <p:cNvSpPr>
              <a:spLocks/>
            </p:cNvSpPr>
            <p:nvPr/>
          </p:nvSpPr>
          <p:spPr bwMode="auto">
            <a:xfrm>
              <a:off x="3303588" y="2097088"/>
              <a:ext cx="19050" cy="19050"/>
            </a:xfrm>
            <a:custGeom>
              <a:avLst/>
              <a:gdLst>
                <a:gd name="T0" fmla="*/ 30 w 60"/>
                <a:gd name="T1" fmla="*/ 60 h 60"/>
                <a:gd name="T2" fmla="*/ 35 w 60"/>
                <a:gd name="T3" fmla="*/ 59 h 60"/>
                <a:gd name="T4" fmla="*/ 42 w 60"/>
                <a:gd name="T5" fmla="*/ 58 h 60"/>
                <a:gd name="T6" fmla="*/ 46 w 60"/>
                <a:gd name="T7" fmla="*/ 55 h 60"/>
                <a:gd name="T8" fmla="*/ 51 w 60"/>
                <a:gd name="T9" fmla="*/ 51 h 60"/>
                <a:gd name="T10" fmla="*/ 55 w 60"/>
                <a:gd name="T11" fmla="*/ 46 h 60"/>
                <a:gd name="T12" fmla="*/ 58 w 60"/>
                <a:gd name="T13" fmla="*/ 42 h 60"/>
                <a:gd name="T14" fmla="*/ 59 w 60"/>
                <a:gd name="T15" fmla="*/ 35 h 60"/>
                <a:gd name="T16" fmla="*/ 60 w 60"/>
                <a:gd name="T17" fmla="*/ 30 h 60"/>
                <a:gd name="T18" fmla="*/ 59 w 60"/>
                <a:gd name="T19" fmla="*/ 24 h 60"/>
                <a:gd name="T20" fmla="*/ 58 w 60"/>
                <a:gd name="T21" fmla="*/ 18 h 60"/>
                <a:gd name="T22" fmla="*/ 55 w 60"/>
                <a:gd name="T23" fmla="*/ 13 h 60"/>
                <a:gd name="T24" fmla="*/ 51 w 60"/>
                <a:gd name="T25" fmla="*/ 9 h 60"/>
                <a:gd name="T26" fmla="*/ 46 w 60"/>
                <a:gd name="T27" fmla="*/ 4 h 60"/>
                <a:gd name="T28" fmla="*/ 42 w 60"/>
                <a:gd name="T29" fmla="*/ 2 h 60"/>
                <a:gd name="T30" fmla="*/ 35 w 60"/>
                <a:gd name="T31" fmla="*/ 0 h 60"/>
                <a:gd name="T32" fmla="*/ 30 w 60"/>
                <a:gd name="T33" fmla="*/ 0 h 60"/>
                <a:gd name="T34" fmla="*/ 24 w 60"/>
                <a:gd name="T35" fmla="*/ 0 h 60"/>
                <a:gd name="T36" fmla="*/ 18 w 60"/>
                <a:gd name="T37" fmla="*/ 2 h 60"/>
                <a:gd name="T38" fmla="*/ 13 w 60"/>
                <a:gd name="T39" fmla="*/ 4 h 60"/>
                <a:gd name="T40" fmla="*/ 9 w 60"/>
                <a:gd name="T41" fmla="*/ 9 h 60"/>
                <a:gd name="T42" fmla="*/ 4 w 60"/>
                <a:gd name="T43" fmla="*/ 13 h 60"/>
                <a:gd name="T44" fmla="*/ 2 w 60"/>
                <a:gd name="T45" fmla="*/ 18 h 60"/>
                <a:gd name="T46" fmla="*/ 0 w 60"/>
                <a:gd name="T47" fmla="*/ 24 h 60"/>
                <a:gd name="T48" fmla="*/ 0 w 60"/>
                <a:gd name="T49" fmla="*/ 30 h 60"/>
                <a:gd name="T50" fmla="*/ 0 w 60"/>
                <a:gd name="T51" fmla="*/ 35 h 60"/>
                <a:gd name="T52" fmla="*/ 2 w 60"/>
                <a:gd name="T53" fmla="*/ 42 h 60"/>
                <a:gd name="T54" fmla="*/ 4 w 60"/>
                <a:gd name="T55" fmla="*/ 46 h 60"/>
                <a:gd name="T56" fmla="*/ 9 w 60"/>
                <a:gd name="T57" fmla="*/ 51 h 60"/>
                <a:gd name="T58" fmla="*/ 13 w 60"/>
                <a:gd name="T59" fmla="*/ 55 h 60"/>
                <a:gd name="T60" fmla="*/ 18 w 60"/>
                <a:gd name="T61" fmla="*/ 58 h 60"/>
                <a:gd name="T62" fmla="*/ 24 w 60"/>
                <a:gd name="T63" fmla="*/ 59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5" y="59"/>
                  </a:lnTo>
                  <a:lnTo>
                    <a:pt x="42" y="58"/>
                  </a:lnTo>
                  <a:lnTo>
                    <a:pt x="46" y="55"/>
                  </a:lnTo>
                  <a:lnTo>
                    <a:pt x="51" y="51"/>
                  </a:lnTo>
                  <a:lnTo>
                    <a:pt x="55" y="46"/>
                  </a:lnTo>
                  <a:lnTo>
                    <a:pt x="58" y="42"/>
                  </a:lnTo>
                  <a:lnTo>
                    <a:pt x="59" y="35"/>
                  </a:lnTo>
                  <a:lnTo>
                    <a:pt x="60" y="30"/>
                  </a:lnTo>
                  <a:lnTo>
                    <a:pt x="59" y="24"/>
                  </a:lnTo>
                  <a:lnTo>
                    <a:pt x="58" y="18"/>
                  </a:lnTo>
                  <a:lnTo>
                    <a:pt x="55" y="13"/>
                  </a:lnTo>
                  <a:lnTo>
                    <a:pt x="51" y="9"/>
                  </a:lnTo>
                  <a:lnTo>
                    <a:pt x="46" y="4"/>
                  </a:lnTo>
                  <a:lnTo>
                    <a:pt x="42" y="2"/>
                  </a:lnTo>
                  <a:lnTo>
                    <a:pt x="35" y="0"/>
                  </a:lnTo>
                  <a:lnTo>
                    <a:pt x="30" y="0"/>
                  </a:lnTo>
                  <a:lnTo>
                    <a:pt x="24" y="0"/>
                  </a:lnTo>
                  <a:lnTo>
                    <a:pt x="18" y="2"/>
                  </a:lnTo>
                  <a:lnTo>
                    <a:pt x="13" y="4"/>
                  </a:lnTo>
                  <a:lnTo>
                    <a:pt x="9" y="9"/>
                  </a:lnTo>
                  <a:lnTo>
                    <a:pt x="4" y="13"/>
                  </a:lnTo>
                  <a:lnTo>
                    <a:pt x="2" y="18"/>
                  </a:lnTo>
                  <a:lnTo>
                    <a:pt x="0" y="24"/>
                  </a:lnTo>
                  <a:lnTo>
                    <a:pt x="0" y="30"/>
                  </a:lnTo>
                  <a:lnTo>
                    <a:pt x="0" y="35"/>
                  </a:lnTo>
                  <a:lnTo>
                    <a:pt x="2" y="42"/>
                  </a:lnTo>
                  <a:lnTo>
                    <a:pt x="4" y="46"/>
                  </a:lnTo>
                  <a:lnTo>
                    <a:pt x="9" y="51"/>
                  </a:lnTo>
                  <a:lnTo>
                    <a:pt x="13" y="55"/>
                  </a:lnTo>
                  <a:lnTo>
                    <a:pt x="18" y="58"/>
                  </a:lnTo>
                  <a:lnTo>
                    <a:pt x="24" y="59"/>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170" name="Freeform 45">
            <a:extLst>
              <a:ext uri="{FF2B5EF4-FFF2-40B4-BE49-F238E27FC236}">
                <a16:creationId xmlns:a16="http://schemas.microsoft.com/office/drawing/2014/main" id="{A2314723-C7E3-4A15-BD84-4DEF3D482401}"/>
              </a:ext>
            </a:extLst>
          </p:cNvPr>
          <p:cNvSpPr>
            <a:spLocks noChangeAspect="1" noEditPoints="1"/>
          </p:cNvSpPr>
          <p:nvPr/>
        </p:nvSpPr>
        <p:spPr bwMode="auto">
          <a:xfrm>
            <a:off x="7852494" y="5956111"/>
            <a:ext cx="334174" cy="285619"/>
          </a:xfrm>
          <a:custGeom>
            <a:avLst/>
            <a:gdLst>
              <a:gd name="T0" fmla="*/ 30 w 96"/>
              <a:gd name="T1" fmla="*/ 82 h 82"/>
              <a:gd name="T2" fmla="*/ 29 w 96"/>
              <a:gd name="T3" fmla="*/ 81 h 82"/>
              <a:gd name="T4" fmla="*/ 1 w 96"/>
              <a:gd name="T5" fmla="*/ 53 h 82"/>
              <a:gd name="T6" fmla="*/ 1 w 96"/>
              <a:gd name="T7" fmla="*/ 51 h 82"/>
              <a:gd name="T8" fmla="*/ 15 w 96"/>
              <a:gd name="T9" fmla="*/ 37 h 82"/>
              <a:gd name="T10" fmla="*/ 17 w 96"/>
              <a:gd name="T11" fmla="*/ 37 h 82"/>
              <a:gd name="T12" fmla="*/ 30 w 96"/>
              <a:gd name="T13" fmla="*/ 49 h 82"/>
              <a:gd name="T14" fmla="*/ 79 w 96"/>
              <a:gd name="T15" fmla="*/ 1 h 82"/>
              <a:gd name="T16" fmla="*/ 81 w 96"/>
              <a:gd name="T17" fmla="*/ 1 h 82"/>
              <a:gd name="T18" fmla="*/ 95 w 96"/>
              <a:gd name="T19" fmla="*/ 15 h 82"/>
              <a:gd name="T20" fmla="*/ 95 w 96"/>
              <a:gd name="T21" fmla="*/ 17 h 82"/>
              <a:gd name="T22" fmla="*/ 31 w 96"/>
              <a:gd name="T23" fmla="*/ 81 h 82"/>
              <a:gd name="T24" fmla="*/ 30 w 96"/>
              <a:gd name="T25" fmla="*/ 82 h 82"/>
              <a:gd name="T26" fmla="*/ 5 w 96"/>
              <a:gd name="T27" fmla="*/ 52 h 82"/>
              <a:gd name="T28" fmla="*/ 30 w 96"/>
              <a:gd name="T29" fmla="*/ 77 h 82"/>
              <a:gd name="T30" fmla="*/ 91 w 96"/>
              <a:gd name="T31" fmla="*/ 16 h 82"/>
              <a:gd name="T32" fmla="*/ 80 w 96"/>
              <a:gd name="T33" fmla="*/ 5 h 82"/>
              <a:gd name="T34" fmla="*/ 31 w 96"/>
              <a:gd name="T35" fmla="*/ 53 h 82"/>
              <a:gd name="T36" fmla="*/ 29 w 96"/>
              <a:gd name="T37" fmla="*/ 53 h 82"/>
              <a:gd name="T38" fmla="*/ 16 w 96"/>
              <a:gd name="T39" fmla="*/ 41 h 82"/>
              <a:gd name="T40" fmla="*/ 5 w 96"/>
              <a:gd name="T41" fmla="*/ 5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82">
                <a:moveTo>
                  <a:pt x="30" y="82"/>
                </a:moveTo>
                <a:cubicBezTo>
                  <a:pt x="29" y="82"/>
                  <a:pt x="29" y="82"/>
                  <a:pt x="29" y="81"/>
                </a:cubicBezTo>
                <a:cubicBezTo>
                  <a:pt x="1" y="53"/>
                  <a:pt x="1" y="53"/>
                  <a:pt x="1" y="53"/>
                </a:cubicBezTo>
                <a:cubicBezTo>
                  <a:pt x="0" y="53"/>
                  <a:pt x="0" y="51"/>
                  <a:pt x="1" y="51"/>
                </a:cubicBezTo>
                <a:cubicBezTo>
                  <a:pt x="15" y="37"/>
                  <a:pt x="15" y="37"/>
                  <a:pt x="15" y="37"/>
                </a:cubicBezTo>
                <a:cubicBezTo>
                  <a:pt x="15" y="36"/>
                  <a:pt x="17" y="36"/>
                  <a:pt x="17" y="37"/>
                </a:cubicBezTo>
                <a:cubicBezTo>
                  <a:pt x="30" y="49"/>
                  <a:pt x="30" y="49"/>
                  <a:pt x="30" y="49"/>
                </a:cubicBezTo>
                <a:cubicBezTo>
                  <a:pt x="79" y="1"/>
                  <a:pt x="79" y="1"/>
                  <a:pt x="79" y="1"/>
                </a:cubicBezTo>
                <a:cubicBezTo>
                  <a:pt x="79" y="0"/>
                  <a:pt x="81" y="0"/>
                  <a:pt x="81" y="1"/>
                </a:cubicBezTo>
                <a:cubicBezTo>
                  <a:pt x="95" y="15"/>
                  <a:pt x="95" y="15"/>
                  <a:pt x="95" y="15"/>
                </a:cubicBezTo>
                <a:cubicBezTo>
                  <a:pt x="96" y="15"/>
                  <a:pt x="96" y="17"/>
                  <a:pt x="95" y="17"/>
                </a:cubicBezTo>
                <a:cubicBezTo>
                  <a:pt x="31" y="81"/>
                  <a:pt x="31" y="81"/>
                  <a:pt x="31" y="81"/>
                </a:cubicBezTo>
                <a:cubicBezTo>
                  <a:pt x="31" y="82"/>
                  <a:pt x="31" y="82"/>
                  <a:pt x="30" y="82"/>
                </a:cubicBezTo>
                <a:close/>
                <a:moveTo>
                  <a:pt x="5" y="52"/>
                </a:moveTo>
                <a:cubicBezTo>
                  <a:pt x="30" y="77"/>
                  <a:pt x="30" y="77"/>
                  <a:pt x="30" y="77"/>
                </a:cubicBezTo>
                <a:cubicBezTo>
                  <a:pt x="91" y="16"/>
                  <a:pt x="91" y="16"/>
                  <a:pt x="91" y="16"/>
                </a:cubicBezTo>
                <a:cubicBezTo>
                  <a:pt x="80" y="5"/>
                  <a:pt x="80" y="5"/>
                  <a:pt x="80" y="5"/>
                </a:cubicBezTo>
                <a:cubicBezTo>
                  <a:pt x="31" y="53"/>
                  <a:pt x="31" y="53"/>
                  <a:pt x="31" y="53"/>
                </a:cubicBezTo>
                <a:cubicBezTo>
                  <a:pt x="31" y="54"/>
                  <a:pt x="29" y="54"/>
                  <a:pt x="29" y="53"/>
                </a:cubicBezTo>
                <a:cubicBezTo>
                  <a:pt x="16" y="41"/>
                  <a:pt x="16" y="41"/>
                  <a:pt x="16" y="41"/>
                </a:cubicBezTo>
                <a:lnTo>
                  <a:pt x="5" y="5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974" name="Group 5126">
            <a:extLst>
              <a:ext uri="{FF2B5EF4-FFF2-40B4-BE49-F238E27FC236}">
                <a16:creationId xmlns:a16="http://schemas.microsoft.com/office/drawing/2014/main" id="{DA829463-D4B2-4B72-9C18-5A9A618BD07C}"/>
              </a:ext>
            </a:extLst>
          </p:cNvPr>
          <p:cNvGrpSpPr>
            <a:grpSpLocks noChangeAspect="1"/>
          </p:cNvGrpSpPr>
          <p:nvPr/>
        </p:nvGrpSpPr>
        <p:grpSpPr>
          <a:xfrm>
            <a:off x="8721481" y="5417577"/>
            <a:ext cx="285619" cy="285619"/>
            <a:chOff x="-384175" y="5110163"/>
            <a:chExt cx="371475" cy="371475"/>
          </a:xfrm>
          <a:solidFill>
            <a:schemeClr val="bg2"/>
          </a:solidFill>
        </p:grpSpPr>
        <p:sp>
          <p:nvSpPr>
            <p:cNvPr id="975" name="Freeform 36">
              <a:extLst>
                <a:ext uri="{FF2B5EF4-FFF2-40B4-BE49-F238E27FC236}">
                  <a16:creationId xmlns:a16="http://schemas.microsoft.com/office/drawing/2014/main" id="{8472F5A2-E52D-4CE8-A5D2-B9280E7CCAB8}"/>
                </a:ext>
              </a:extLst>
            </p:cNvPr>
            <p:cNvSpPr>
              <a:spLocks noEditPoints="1"/>
            </p:cNvSpPr>
            <p:nvPr/>
          </p:nvSpPr>
          <p:spPr bwMode="auto">
            <a:xfrm>
              <a:off x="-384175" y="5357813"/>
              <a:ext cx="77788" cy="123825"/>
            </a:xfrm>
            <a:custGeom>
              <a:avLst/>
              <a:gdLst>
                <a:gd name="T0" fmla="*/ 18 w 20"/>
                <a:gd name="T1" fmla="*/ 32 h 32"/>
                <a:gd name="T2" fmla="*/ 2 w 20"/>
                <a:gd name="T3" fmla="*/ 32 h 32"/>
                <a:gd name="T4" fmla="*/ 0 w 20"/>
                <a:gd name="T5" fmla="*/ 30 h 32"/>
                <a:gd name="T6" fmla="*/ 0 w 20"/>
                <a:gd name="T7" fmla="*/ 2 h 32"/>
                <a:gd name="T8" fmla="*/ 2 w 20"/>
                <a:gd name="T9" fmla="*/ 0 h 32"/>
                <a:gd name="T10" fmla="*/ 18 w 20"/>
                <a:gd name="T11" fmla="*/ 0 h 32"/>
                <a:gd name="T12" fmla="*/ 20 w 20"/>
                <a:gd name="T13" fmla="*/ 2 h 32"/>
                <a:gd name="T14" fmla="*/ 20 w 20"/>
                <a:gd name="T15" fmla="*/ 30 h 32"/>
                <a:gd name="T16" fmla="*/ 18 w 20"/>
                <a:gd name="T17" fmla="*/ 32 h 32"/>
                <a:gd name="T18" fmla="*/ 4 w 20"/>
                <a:gd name="T19" fmla="*/ 28 h 32"/>
                <a:gd name="T20" fmla="*/ 16 w 20"/>
                <a:gd name="T21" fmla="*/ 28 h 32"/>
                <a:gd name="T22" fmla="*/ 16 w 20"/>
                <a:gd name="T23" fmla="*/ 4 h 32"/>
                <a:gd name="T24" fmla="*/ 4 w 20"/>
                <a:gd name="T25" fmla="*/ 4 h 32"/>
                <a:gd name="T26" fmla="*/ 4 w 20"/>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8" y="32"/>
                  </a:moveTo>
                  <a:cubicBezTo>
                    <a:pt x="2" y="32"/>
                    <a:pt x="2" y="32"/>
                    <a:pt x="2" y="32"/>
                  </a:cubicBezTo>
                  <a:cubicBezTo>
                    <a:pt x="1" y="32"/>
                    <a:pt x="0" y="31"/>
                    <a:pt x="0" y="30"/>
                  </a:cubicBezTo>
                  <a:cubicBezTo>
                    <a:pt x="0" y="2"/>
                    <a:pt x="0" y="2"/>
                    <a:pt x="0" y="2"/>
                  </a:cubicBezTo>
                  <a:cubicBezTo>
                    <a:pt x="0" y="1"/>
                    <a:pt x="1" y="0"/>
                    <a:pt x="2" y="0"/>
                  </a:cubicBezTo>
                  <a:cubicBezTo>
                    <a:pt x="18" y="0"/>
                    <a:pt x="18" y="0"/>
                    <a:pt x="18" y="0"/>
                  </a:cubicBezTo>
                  <a:cubicBezTo>
                    <a:pt x="19" y="0"/>
                    <a:pt x="20" y="1"/>
                    <a:pt x="20" y="2"/>
                  </a:cubicBezTo>
                  <a:cubicBezTo>
                    <a:pt x="20" y="30"/>
                    <a:pt x="20" y="30"/>
                    <a:pt x="20" y="30"/>
                  </a:cubicBezTo>
                  <a:cubicBezTo>
                    <a:pt x="20" y="31"/>
                    <a:pt x="19" y="32"/>
                    <a:pt x="18" y="32"/>
                  </a:cubicBezTo>
                  <a:close/>
                  <a:moveTo>
                    <a:pt x="4" y="28"/>
                  </a:moveTo>
                  <a:cubicBezTo>
                    <a:pt x="16" y="28"/>
                    <a:pt x="16" y="28"/>
                    <a:pt x="16" y="28"/>
                  </a:cubicBezTo>
                  <a:cubicBezTo>
                    <a:pt x="16" y="4"/>
                    <a:pt x="16" y="4"/>
                    <a:pt x="16"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6" name="Freeform 37">
              <a:extLst>
                <a:ext uri="{FF2B5EF4-FFF2-40B4-BE49-F238E27FC236}">
                  <a16:creationId xmlns:a16="http://schemas.microsoft.com/office/drawing/2014/main" id="{1D210DEA-9F4B-4404-B738-B34B695E75F0}"/>
                </a:ext>
              </a:extLst>
            </p:cNvPr>
            <p:cNvSpPr>
              <a:spLocks/>
            </p:cNvSpPr>
            <p:nvPr/>
          </p:nvSpPr>
          <p:spPr bwMode="auto">
            <a:xfrm>
              <a:off x="-322263" y="5403851"/>
              <a:ext cx="279400" cy="61913"/>
            </a:xfrm>
            <a:custGeom>
              <a:avLst/>
              <a:gdLst>
                <a:gd name="T0" fmla="*/ 70 w 72"/>
                <a:gd name="T1" fmla="*/ 16 h 16"/>
                <a:gd name="T2" fmla="*/ 2 w 72"/>
                <a:gd name="T3" fmla="*/ 16 h 16"/>
                <a:gd name="T4" fmla="*/ 0 w 72"/>
                <a:gd name="T5" fmla="*/ 14 h 16"/>
                <a:gd name="T6" fmla="*/ 2 w 72"/>
                <a:gd name="T7" fmla="*/ 12 h 16"/>
                <a:gd name="T8" fmla="*/ 67 w 72"/>
                <a:gd name="T9" fmla="*/ 12 h 16"/>
                <a:gd name="T10" fmla="*/ 40 w 72"/>
                <a:gd name="T11" fmla="*/ 4 h 16"/>
                <a:gd name="T12" fmla="*/ 12 w 72"/>
                <a:gd name="T13" fmla="*/ 4 h 16"/>
                <a:gd name="T14" fmla="*/ 10 w 72"/>
                <a:gd name="T15" fmla="*/ 2 h 16"/>
                <a:gd name="T16" fmla="*/ 12 w 72"/>
                <a:gd name="T17" fmla="*/ 0 h 16"/>
                <a:gd name="T18" fmla="*/ 40 w 72"/>
                <a:gd name="T19" fmla="*/ 0 h 16"/>
                <a:gd name="T20" fmla="*/ 72 w 72"/>
                <a:gd name="T21" fmla="*/ 14 h 16"/>
                <a:gd name="T22" fmla="*/ 70 w 72"/>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6">
                  <a:moveTo>
                    <a:pt x="70" y="16"/>
                  </a:moveTo>
                  <a:cubicBezTo>
                    <a:pt x="2" y="16"/>
                    <a:pt x="2" y="16"/>
                    <a:pt x="2" y="16"/>
                  </a:cubicBezTo>
                  <a:cubicBezTo>
                    <a:pt x="1" y="16"/>
                    <a:pt x="0" y="15"/>
                    <a:pt x="0" y="14"/>
                  </a:cubicBezTo>
                  <a:cubicBezTo>
                    <a:pt x="0" y="13"/>
                    <a:pt x="1" y="12"/>
                    <a:pt x="2" y="12"/>
                  </a:cubicBezTo>
                  <a:cubicBezTo>
                    <a:pt x="67" y="12"/>
                    <a:pt x="67" y="12"/>
                    <a:pt x="67" y="12"/>
                  </a:cubicBezTo>
                  <a:cubicBezTo>
                    <a:pt x="64" y="8"/>
                    <a:pt x="53" y="4"/>
                    <a:pt x="40" y="4"/>
                  </a:cubicBezTo>
                  <a:cubicBezTo>
                    <a:pt x="12" y="4"/>
                    <a:pt x="12" y="4"/>
                    <a:pt x="12" y="4"/>
                  </a:cubicBezTo>
                  <a:cubicBezTo>
                    <a:pt x="11" y="4"/>
                    <a:pt x="10" y="3"/>
                    <a:pt x="10" y="2"/>
                  </a:cubicBezTo>
                  <a:cubicBezTo>
                    <a:pt x="10" y="1"/>
                    <a:pt x="11" y="0"/>
                    <a:pt x="12" y="0"/>
                  </a:cubicBezTo>
                  <a:cubicBezTo>
                    <a:pt x="40" y="0"/>
                    <a:pt x="40" y="0"/>
                    <a:pt x="40" y="0"/>
                  </a:cubicBezTo>
                  <a:cubicBezTo>
                    <a:pt x="55" y="0"/>
                    <a:pt x="72" y="6"/>
                    <a:pt x="72" y="14"/>
                  </a:cubicBezTo>
                  <a:cubicBezTo>
                    <a:pt x="72" y="15"/>
                    <a:pt x="71" y="16"/>
                    <a:pt x="7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7" name="Freeform 38">
              <a:extLst>
                <a:ext uri="{FF2B5EF4-FFF2-40B4-BE49-F238E27FC236}">
                  <a16:creationId xmlns:a16="http://schemas.microsoft.com/office/drawing/2014/main" id="{EFF2ACDA-0F63-46C7-90C0-5335354E88F3}"/>
                </a:ext>
              </a:extLst>
            </p:cNvPr>
            <p:cNvSpPr>
              <a:spLocks/>
            </p:cNvSpPr>
            <p:nvPr/>
          </p:nvSpPr>
          <p:spPr bwMode="auto">
            <a:xfrm>
              <a:off x="-314325" y="5373688"/>
              <a:ext cx="119063" cy="42863"/>
            </a:xfrm>
            <a:custGeom>
              <a:avLst/>
              <a:gdLst>
                <a:gd name="T0" fmla="*/ 29 w 31"/>
                <a:gd name="T1" fmla="*/ 11 h 11"/>
                <a:gd name="T2" fmla="*/ 28 w 31"/>
                <a:gd name="T3" fmla="*/ 11 h 11"/>
                <a:gd name="T4" fmla="*/ 14 w 31"/>
                <a:gd name="T5" fmla="*/ 4 h 11"/>
                <a:gd name="T6" fmla="*/ 0 w 31"/>
                <a:gd name="T7" fmla="*/ 4 h 11"/>
                <a:gd name="T8" fmla="*/ 0 w 31"/>
                <a:gd name="T9" fmla="*/ 0 h 11"/>
                <a:gd name="T10" fmla="*/ 14 w 31"/>
                <a:gd name="T11" fmla="*/ 0 h 11"/>
                <a:gd name="T12" fmla="*/ 31 w 31"/>
                <a:gd name="T13" fmla="*/ 8 h 11"/>
                <a:gd name="T14" fmla="*/ 31 w 31"/>
                <a:gd name="T15" fmla="*/ 9 h 11"/>
                <a:gd name="T16" fmla="*/ 29 w 3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
                  <a:moveTo>
                    <a:pt x="29" y="11"/>
                  </a:moveTo>
                  <a:cubicBezTo>
                    <a:pt x="28" y="11"/>
                    <a:pt x="28" y="11"/>
                    <a:pt x="28" y="11"/>
                  </a:cubicBezTo>
                  <a:cubicBezTo>
                    <a:pt x="26" y="8"/>
                    <a:pt x="22" y="4"/>
                    <a:pt x="14" y="4"/>
                  </a:cubicBezTo>
                  <a:cubicBezTo>
                    <a:pt x="0" y="4"/>
                    <a:pt x="0" y="4"/>
                    <a:pt x="0" y="4"/>
                  </a:cubicBezTo>
                  <a:cubicBezTo>
                    <a:pt x="0" y="0"/>
                    <a:pt x="0" y="0"/>
                    <a:pt x="0" y="0"/>
                  </a:cubicBezTo>
                  <a:cubicBezTo>
                    <a:pt x="14" y="0"/>
                    <a:pt x="14" y="0"/>
                    <a:pt x="14" y="0"/>
                  </a:cubicBezTo>
                  <a:cubicBezTo>
                    <a:pt x="23" y="0"/>
                    <a:pt x="28" y="5"/>
                    <a:pt x="31" y="8"/>
                  </a:cubicBezTo>
                  <a:cubicBezTo>
                    <a:pt x="31" y="9"/>
                    <a:pt x="31" y="9"/>
                    <a:pt x="31" y="9"/>
                  </a:cubicBezTo>
                  <a:lnTo>
                    <a:pt x="2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8" name="Freeform 39">
              <a:extLst>
                <a:ext uri="{FF2B5EF4-FFF2-40B4-BE49-F238E27FC236}">
                  <a16:creationId xmlns:a16="http://schemas.microsoft.com/office/drawing/2014/main" id="{E7723D8A-E701-4253-A84F-D183921F599F}"/>
                </a:ext>
              </a:extLst>
            </p:cNvPr>
            <p:cNvSpPr>
              <a:spLocks noEditPoints="1"/>
            </p:cNvSpPr>
            <p:nvPr/>
          </p:nvSpPr>
          <p:spPr bwMode="auto">
            <a:xfrm>
              <a:off x="-244475" y="5110163"/>
              <a:ext cx="231775" cy="231775"/>
            </a:xfrm>
            <a:custGeom>
              <a:avLst/>
              <a:gdLst>
                <a:gd name="T0" fmla="*/ 48 w 60"/>
                <a:gd name="T1" fmla="*/ 60 h 60"/>
                <a:gd name="T2" fmla="*/ 47 w 60"/>
                <a:gd name="T3" fmla="*/ 60 h 60"/>
                <a:gd name="T4" fmla="*/ 30 w 60"/>
                <a:gd name="T5" fmla="*/ 47 h 60"/>
                <a:gd name="T6" fmla="*/ 13 w 60"/>
                <a:gd name="T7" fmla="*/ 60 h 60"/>
                <a:gd name="T8" fmla="*/ 11 w 60"/>
                <a:gd name="T9" fmla="*/ 60 h 60"/>
                <a:gd name="T10" fmla="*/ 10 w 60"/>
                <a:gd name="T11" fmla="*/ 57 h 60"/>
                <a:gd name="T12" fmla="*/ 16 w 60"/>
                <a:gd name="T13" fmla="*/ 37 h 60"/>
                <a:gd name="T14" fmla="*/ 1 w 60"/>
                <a:gd name="T15" fmla="*/ 24 h 60"/>
                <a:gd name="T16" fmla="*/ 0 w 60"/>
                <a:gd name="T17" fmla="*/ 21 h 60"/>
                <a:gd name="T18" fmla="*/ 2 w 60"/>
                <a:gd name="T19" fmla="*/ 20 h 60"/>
                <a:gd name="T20" fmla="*/ 21 w 60"/>
                <a:gd name="T21" fmla="*/ 20 h 60"/>
                <a:gd name="T22" fmla="*/ 28 w 60"/>
                <a:gd name="T23" fmla="*/ 1 h 60"/>
                <a:gd name="T24" fmla="*/ 32 w 60"/>
                <a:gd name="T25" fmla="*/ 1 h 60"/>
                <a:gd name="T26" fmla="*/ 39 w 60"/>
                <a:gd name="T27" fmla="*/ 20 h 60"/>
                <a:gd name="T28" fmla="*/ 58 w 60"/>
                <a:gd name="T29" fmla="*/ 20 h 60"/>
                <a:gd name="T30" fmla="*/ 60 w 60"/>
                <a:gd name="T31" fmla="*/ 21 h 60"/>
                <a:gd name="T32" fmla="*/ 59 w 60"/>
                <a:gd name="T33" fmla="*/ 24 h 60"/>
                <a:gd name="T34" fmla="*/ 44 w 60"/>
                <a:gd name="T35" fmla="*/ 37 h 60"/>
                <a:gd name="T36" fmla="*/ 50 w 60"/>
                <a:gd name="T37" fmla="*/ 57 h 60"/>
                <a:gd name="T38" fmla="*/ 49 w 60"/>
                <a:gd name="T39" fmla="*/ 60 h 60"/>
                <a:gd name="T40" fmla="*/ 48 w 60"/>
                <a:gd name="T41" fmla="*/ 60 h 60"/>
                <a:gd name="T42" fmla="*/ 30 w 60"/>
                <a:gd name="T43" fmla="*/ 42 h 60"/>
                <a:gd name="T44" fmla="*/ 31 w 60"/>
                <a:gd name="T45" fmla="*/ 42 h 60"/>
                <a:gd name="T46" fmla="*/ 44 w 60"/>
                <a:gd name="T47" fmla="*/ 53 h 60"/>
                <a:gd name="T48" fmla="*/ 40 w 60"/>
                <a:gd name="T49" fmla="*/ 37 h 60"/>
                <a:gd name="T50" fmla="*/ 41 w 60"/>
                <a:gd name="T51" fmla="*/ 34 h 60"/>
                <a:gd name="T52" fmla="*/ 53 w 60"/>
                <a:gd name="T53" fmla="*/ 24 h 60"/>
                <a:gd name="T54" fmla="*/ 38 w 60"/>
                <a:gd name="T55" fmla="*/ 24 h 60"/>
                <a:gd name="T56" fmla="*/ 36 w 60"/>
                <a:gd name="T57" fmla="*/ 23 h 60"/>
                <a:gd name="T58" fmla="*/ 30 w 60"/>
                <a:gd name="T59" fmla="*/ 7 h 60"/>
                <a:gd name="T60" fmla="*/ 24 w 60"/>
                <a:gd name="T61" fmla="*/ 23 h 60"/>
                <a:gd name="T62" fmla="*/ 22 w 60"/>
                <a:gd name="T63" fmla="*/ 24 h 60"/>
                <a:gd name="T64" fmla="*/ 7 w 60"/>
                <a:gd name="T65" fmla="*/ 24 h 60"/>
                <a:gd name="T66" fmla="*/ 19 w 60"/>
                <a:gd name="T67" fmla="*/ 34 h 60"/>
                <a:gd name="T68" fmla="*/ 20 w 60"/>
                <a:gd name="T69" fmla="*/ 37 h 60"/>
                <a:gd name="T70" fmla="*/ 16 w 60"/>
                <a:gd name="T71" fmla="*/ 53 h 60"/>
                <a:gd name="T72" fmla="*/ 29 w 60"/>
                <a:gd name="T73" fmla="*/ 42 h 60"/>
                <a:gd name="T74" fmla="*/ 30 w 60"/>
                <a:gd name="T7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48" y="60"/>
                  </a:moveTo>
                  <a:cubicBezTo>
                    <a:pt x="48" y="60"/>
                    <a:pt x="47" y="60"/>
                    <a:pt x="47" y="60"/>
                  </a:cubicBezTo>
                  <a:cubicBezTo>
                    <a:pt x="30" y="47"/>
                    <a:pt x="30" y="47"/>
                    <a:pt x="30" y="47"/>
                  </a:cubicBezTo>
                  <a:cubicBezTo>
                    <a:pt x="13" y="60"/>
                    <a:pt x="13" y="60"/>
                    <a:pt x="13" y="60"/>
                  </a:cubicBezTo>
                  <a:cubicBezTo>
                    <a:pt x="13" y="60"/>
                    <a:pt x="12" y="60"/>
                    <a:pt x="11" y="60"/>
                  </a:cubicBezTo>
                  <a:cubicBezTo>
                    <a:pt x="10" y="59"/>
                    <a:pt x="10" y="58"/>
                    <a:pt x="10" y="57"/>
                  </a:cubicBezTo>
                  <a:cubicBezTo>
                    <a:pt x="16" y="37"/>
                    <a:pt x="16" y="37"/>
                    <a:pt x="16" y="37"/>
                  </a:cubicBezTo>
                  <a:cubicBezTo>
                    <a:pt x="1" y="24"/>
                    <a:pt x="1" y="24"/>
                    <a:pt x="1" y="24"/>
                  </a:cubicBezTo>
                  <a:cubicBezTo>
                    <a:pt x="0" y="23"/>
                    <a:pt x="0" y="22"/>
                    <a:pt x="0" y="21"/>
                  </a:cubicBezTo>
                  <a:cubicBezTo>
                    <a:pt x="0" y="21"/>
                    <a:pt x="1" y="20"/>
                    <a:pt x="2" y="20"/>
                  </a:cubicBezTo>
                  <a:cubicBezTo>
                    <a:pt x="21" y="20"/>
                    <a:pt x="21" y="20"/>
                    <a:pt x="21" y="20"/>
                  </a:cubicBezTo>
                  <a:cubicBezTo>
                    <a:pt x="28" y="1"/>
                    <a:pt x="28" y="1"/>
                    <a:pt x="28" y="1"/>
                  </a:cubicBezTo>
                  <a:cubicBezTo>
                    <a:pt x="29" y="0"/>
                    <a:pt x="31" y="0"/>
                    <a:pt x="32" y="1"/>
                  </a:cubicBezTo>
                  <a:cubicBezTo>
                    <a:pt x="39" y="20"/>
                    <a:pt x="39" y="20"/>
                    <a:pt x="39" y="20"/>
                  </a:cubicBezTo>
                  <a:cubicBezTo>
                    <a:pt x="58" y="20"/>
                    <a:pt x="58" y="20"/>
                    <a:pt x="58" y="20"/>
                  </a:cubicBezTo>
                  <a:cubicBezTo>
                    <a:pt x="59" y="20"/>
                    <a:pt x="60" y="21"/>
                    <a:pt x="60" y="21"/>
                  </a:cubicBezTo>
                  <a:cubicBezTo>
                    <a:pt x="60" y="22"/>
                    <a:pt x="60" y="23"/>
                    <a:pt x="59" y="24"/>
                  </a:cubicBezTo>
                  <a:cubicBezTo>
                    <a:pt x="44" y="37"/>
                    <a:pt x="44" y="37"/>
                    <a:pt x="44" y="37"/>
                  </a:cubicBezTo>
                  <a:cubicBezTo>
                    <a:pt x="50" y="57"/>
                    <a:pt x="50" y="57"/>
                    <a:pt x="50" y="57"/>
                  </a:cubicBezTo>
                  <a:cubicBezTo>
                    <a:pt x="50" y="58"/>
                    <a:pt x="50" y="59"/>
                    <a:pt x="49" y="60"/>
                  </a:cubicBezTo>
                  <a:cubicBezTo>
                    <a:pt x="49" y="60"/>
                    <a:pt x="48" y="60"/>
                    <a:pt x="48" y="60"/>
                  </a:cubicBezTo>
                  <a:close/>
                  <a:moveTo>
                    <a:pt x="30" y="42"/>
                  </a:moveTo>
                  <a:cubicBezTo>
                    <a:pt x="30" y="42"/>
                    <a:pt x="31" y="42"/>
                    <a:pt x="31" y="42"/>
                  </a:cubicBezTo>
                  <a:cubicBezTo>
                    <a:pt x="44" y="53"/>
                    <a:pt x="44" y="53"/>
                    <a:pt x="44" y="53"/>
                  </a:cubicBezTo>
                  <a:cubicBezTo>
                    <a:pt x="40" y="37"/>
                    <a:pt x="40" y="37"/>
                    <a:pt x="40" y="37"/>
                  </a:cubicBezTo>
                  <a:cubicBezTo>
                    <a:pt x="40" y="36"/>
                    <a:pt x="40" y="35"/>
                    <a:pt x="41" y="34"/>
                  </a:cubicBezTo>
                  <a:cubicBezTo>
                    <a:pt x="53" y="24"/>
                    <a:pt x="53" y="24"/>
                    <a:pt x="53" y="24"/>
                  </a:cubicBezTo>
                  <a:cubicBezTo>
                    <a:pt x="38" y="24"/>
                    <a:pt x="38" y="24"/>
                    <a:pt x="38" y="24"/>
                  </a:cubicBezTo>
                  <a:cubicBezTo>
                    <a:pt x="37" y="24"/>
                    <a:pt x="36" y="24"/>
                    <a:pt x="36" y="23"/>
                  </a:cubicBezTo>
                  <a:cubicBezTo>
                    <a:pt x="30" y="7"/>
                    <a:pt x="30" y="7"/>
                    <a:pt x="30" y="7"/>
                  </a:cubicBezTo>
                  <a:cubicBezTo>
                    <a:pt x="24" y="23"/>
                    <a:pt x="24" y="23"/>
                    <a:pt x="24" y="23"/>
                  </a:cubicBezTo>
                  <a:cubicBezTo>
                    <a:pt x="24" y="24"/>
                    <a:pt x="23" y="24"/>
                    <a:pt x="22" y="24"/>
                  </a:cubicBezTo>
                  <a:cubicBezTo>
                    <a:pt x="7" y="24"/>
                    <a:pt x="7" y="24"/>
                    <a:pt x="7" y="24"/>
                  </a:cubicBezTo>
                  <a:cubicBezTo>
                    <a:pt x="19" y="34"/>
                    <a:pt x="19" y="34"/>
                    <a:pt x="19" y="34"/>
                  </a:cubicBezTo>
                  <a:cubicBezTo>
                    <a:pt x="20" y="35"/>
                    <a:pt x="20" y="36"/>
                    <a:pt x="20" y="37"/>
                  </a:cubicBezTo>
                  <a:cubicBezTo>
                    <a:pt x="16" y="53"/>
                    <a:pt x="16" y="53"/>
                    <a:pt x="16" y="53"/>
                  </a:cubicBezTo>
                  <a:cubicBezTo>
                    <a:pt x="29" y="42"/>
                    <a:pt x="29" y="42"/>
                    <a:pt x="29" y="42"/>
                  </a:cubicBezTo>
                  <a:cubicBezTo>
                    <a:pt x="29" y="42"/>
                    <a:pt x="30" y="42"/>
                    <a:pt x="3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71" name="Group 184">
            <a:extLst>
              <a:ext uri="{FF2B5EF4-FFF2-40B4-BE49-F238E27FC236}">
                <a16:creationId xmlns:a16="http://schemas.microsoft.com/office/drawing/2014/main" id="{A8EF98B8-D416-4BFC-9423-EC6F846A399A}"/>
              </a:ext>
            </a:extLst>
          </p:cNvPr>
          <p:cNvGrpSpPr>
            <a:grpSpLocks noChangeAspect="1"/>
          </p:cNvGrpSpPr>
          <p:nvPr/>
        </p:nvGrpSpPr>
        <p:grpSpPr>
          <a:xfrm>
            <a:off x="8305467" y="5956111"/>
            <a:ext cx="285619" cy="285619"/>
            <a:chOff x="9840913" y="3627438"/>
            <a:chExt cx="355600" cy="355600"/>
          </a:xfrm>
          <a:solidFill>
            <a:schemeClr val="bg2"/>
          </a:solidFill>
        </p:grpSpPr>
        <p:sp>
          <p:nvSpPr>
            <p:cNvPr id="1185" name="Freeform 26">
              <a:extLst>
                <a:ext uri="{FF2B5EF4-FFF2-40B4-BE49-F238E27FC236}">
                  <a16:creationId xmlns:a16="http://schemas.microsoft.com/office/drawing/2014/main" id="{12B5237D-68EA-4D9C-B0DE-2F89151612D8}"/>
                </a:ext>
              </a:extLst>
            </p:cNvPr>
            <p:cNvSpPr>
              <a:spLocks noEditPoints="1"/>
            </p:cNvSpPr>
            <p:nvPr/>
          </p:nvSpPr>
          <p:spPr bwMode="auto">
            <a:xfrm>
              <a:off x="9840913" y="3627438"/>
              <a:ext cx="355600" cy="355600"/>
            </a:xfrm>
            <a:custGeom>
              <a:avLst/>
              <a:gdLst>
                <a:gd name="T0" fmla="*/ 45 w 92"/>
                <a:gd name="T1" fmla="*/ 92 h 92"/>
                <a:gd name="T2" fmla="*/ 0 w 92"/>
                <a:gd name="T3" fmla="*/ 47 h 92"/>
                <a:gd name="T4" fmla="*/ 13 w 92"/>
                <a:gd name="T5" fmla="*/ 14 h 92"/>
                <a:gd name="T6" fmla="*/ 46 w 92"/>
                <a:gd name="T7" fmla="*/ 0 h 92"/>
                <a:gd name="T8" fmla="*/ 47 w 92"/>
                <a:gd name="T9" fmla="*/ 0 h 92"/>
                <a:gd name="T10" fmla="*/ 92 w 92"/>
                <a:gd name="T11" fmla="*/ 45 h 92"/>
                <a:gd name="T12" fmla="*/ 46 w 92"/>
                <a:gd name="T13" fmla="*/ 92 h 92"/>
                <a:gd name="T14" fmla="*/ 45 w 92"/>
                <a:gd name="T15" fmla="*/ 92 h 92"/>
                <a:gd name="T16" fmla="*/ 47 w 92"/>
                <a:gd name="T17" fmla="*/ 4 h 92"/>
                <a:gd name="T18" fmla="*/ 46 w 92"/>
                <a:gd name="T19" fmla="*/ 4 h 92"/>
                <a:gd name="T20" fmla="*/ 16 w 92"/>
                <a:gd name="T21" fmla="*/ 17 h 92"/>
                <a:gd name="T22" fmla="*/ 4 w 92"/>
                <a:gd name="T23" fmla="*/ 47 h 92"/>
                <a:gd name="T24" fmla="*/ 45 w 92"/>
                <a:gd name="T25" fmla="*/ 88 h 92"/>
                <a:gd name="T26" fmla="*/ 46 w 92"/>
                <a:gd name="T27" fmla="*/ 88 h 92"/>
                <a:gd name="T28" fmla="*/ 88 w 92"/>
                <a:gd name="T29" fmla="*/ 45 h 92"/>
                <a:gd name="T30" fmla="*/ 47 w 92"/>
                <a:gd name="T31"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2">
                  <a:moveTo>
                    <a:pt x="45" y="92"/>
                  </a:moveTo>
                  <a:cubicBezTo>
                    <a:pt x="20" y="92"/>
                    <a:pt x="0" y="72"/>
                    <a:pt x="0" y="47"/>
                  </a:cubicBezTo>
                  <a:cubicBezTo>
                    <a:pt x="0" y="35"/>
                    <a:pt x="5" y="23"/>
                    <a:pt x="13" y="14"/>
                  </a:cubicBezTo>
                  <a:cubicBezTo>
                    <a:pt x="22" y="5"/>
                    <a:pt x="34" y="0"/>
                    <a:pt x="46" y="0"/>
                  </a:cubicBezTo>
                  <a:cubicBezTo>
                    <a:pt x="47" y="0"/>
                    <a:pt x="47" y="0"/>
                    <a:pt x="47" y="0"/>
                  </a:cubicBezTo>
                  <a:cubicBezTo>
                    <a:pt x="72" y="0"/>
                    <a:pt x="92" y="20"/>
                    <a:pt x="92" y="45"/>
                  </a:cubicBezTo>
                  <a:cubicBezTo>
                    <a:pt x="92" y="71"/>
                    <a:pt x="72" y="92"/>
                    <a:pt x="46" y="92"/>
                  </a:cubicBezTo>
                  <a:lnTo>
                    <a:pt x="45" y="92"/>
                  </a:lnTo>
                  <a:close/>
                  <a:moveTo>
                    <a:pt x="47" y="4"/>
                  </a:moveTo>
                  <a:cubicBezTo>
                    <a:pt x="46" y="4"/>
                    <a:pt x="46" y="4"/>
                    <a:pt x="46" y="4"/>
                  </a:cubicBezTo>
                  <a:cubicBezTo>
                    <a:pt x="35" y="4"/>
                    <a:pt x="24" y="9"/>
                    <a:pt x="16" y="17"/>
                  </a:cubicBezTo>
                  <a:cubicBezTo>
                    <a:pt x="8" y="25"/>
                    <a:pt x="4" y="36"/>
                    <a:pt x="4" y="47"/>
                  </a:cubicBezTo>
                  <a:cubicBezTo>
                    <a:pt x="4" y="70"/>
                    <a:pt x="23" y="88"/>
                    <a:pt x="45" y="88"/>
                  </a:cubicBezTo>
                  <a:cubicBezTo>
                    <a:pt x="46" y="88"/>
                    <a:pt x="46" y="88"/>
                    <a:pt x="46" y="88"/>
                  </a:cubicBezTo>
                  <a:cubicBezTo>
                    <a:pt x="70" y="88"/>
                    <a:pt x="88" y="68"/>
                    <a:pt x="88" y="45"/>
                  </a:cubicBezTo>
                  <a:cubicBezTo>
                    <a:pt x="88" y="22"/>
                    <a:pt x="69" y="4"/>
                    <a:pt x="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6" name="Freeform 27">
              <a:extLst>
                <a:ext uri="{FF2B5EF4-FFF2-40B4-BE49-F238E27FC236}">
                  <a16:creationId xmlns:a16="http://schemas.microsoft.com/office/drawing/2014/main" id="{C5FC7787-8CFF-410F-85CA-95146F2BAC91}"/>
                </a:ext>
              </a:extLst>
            </p:cNvPr>
            <p:cNvSpPr>
              <a:spLocks/>
            </p:cNvSpPr>
            <p:nvPr/>
          </p:nvSpPr>
          <p:spPr bwMode="auto">
            <a:xfrm>
              <a:off x="10010776" y="3711575"/>
              <a:ext cx="15875" cy="123825"/>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7" name="Oval 28">
              <a:extLst>
                <a:ext uri="{FF2B5EF4-FFF2-40B4-BE49-F238E27FC236}">
                  <a16:creationId xmlns:a16="http://schemas.microsoft.com/office/drawing/2014/main" id="{06209E3D-F3B0-4D11-807B-2441CFF65251}"/>
                </a:ext>
              </a:extLst>
            </p:cNvPr>
            <p:cNvSpPr>
              <a:spLocks noChangeArrowheads="1"/>
            </p:cNvSpPr>
            <p:nvPr/>
          </p:nvSpPr>
          <p:spPr bwMode="auto">
            <a:xfrm>
              <a:off x="10002838" y="3867150"/>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20" name="Freeform 57">
            <a:extLst>
              <a:ext uri="{FF2B5EF4-FFF2-40B4-BE49-F238E27FC236}">
                <a16:creationId xmlns:a16="http://schemas.microsoft.com/office/drawing/2014/main" id="{7747F338-B9AC-4865-8A7B-8FA69D1D9ADE}"/>
              </a:ext>
            </a:extLst>
          </p:cNvPr>
          <p:cNvSpPr>
            <a:spLocks noChangeAspect="1" noEditPoints="1"/>
          </p:cNvSpPr>
          <p:nvPr/>
        </p:nvSpPr>
        <p:spPr bwMode="auto">
          <a:xfrm>
            <a:off x="3660755" y="2186361"/>
            <a:ext cx="285619" cy="285619"/>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61" name="Group 40">
            <a:extLst>
              <a:ext uri="{FF2B5EF4-FFF2-40B4-BE49-F238E27FC236}">
                <a16:creationId xmlns:a16="http://schemas.microsoft.com/office/drawing/2014/main" id="{58E379AE-B473-41FF-9B63-29ACDD55DBD4}"/>
              </a:ext>
            </a:extLst>
          </p:cNvPr>
          <p:cNvGrpSpPr>
            <a:grpSpLocks noChangeAspect="1"/>
          </p:cNvGrpSpPr>
          <p:nvPr/>
        </p:nvGrpSpPr>
        <p:grpSpPr>
          <a:xfrm>
            <a:off x="3685976" y="2724897"/>
            <a:ext cx="235177" cy="285619"/>
            <a:chOff x="7140575" y="903288"/>
            <a:chExt cx="569913" cy="692151"/>
          </a:xfrm>
          <a:solidFill>
            <a:schemeClr val="bg2"/>
          </a:solidFill>
          <a:effectLst/>
        </p:grpSpPr>
        <p:sp>
          <p:nvSpPr>
            <p:cNvPr id="662" name="Freeform 59">
              <a:extLst>
                <a:ext uri="{FF2B5EF4-FFF2-40B4-BE49-F238E27FC236}">
                  <a16:creationId xmlns:a16="http://schemas.microsoft.com/office/drawing/2014/main" id="{163C7DDB-6CC0-48CC-B056-2681DD78D770}"/>
                </a:ext>
              </a:extLst>
            </p:cNvPr>
            <p:cNvSpPr>
              <a:spLocks/>
            </p:cNvSpPr>
            <p:nvPr/>
          </p:nvSpPr>
          <p:spPr bwMode="auto">
            <a:xfrm>
              <a:off x="7272338" y="993776"/>
              <a:ext cx="304800" cy="66675"/>
            </a:xfrm>
            <a:custGeom>
              <a:avLst/>
              <a:gdLst>
                <a:gd name="T0" fmla="*/ 135 w 576"/>
                <a:gd name="T1" fmla="*/ 126 h 126"/>
                <a:gd name="T2" fmla="*/ 104 w 576"/>
                <a:gd name="T3" fmla="*/ 124 h 126"/>
                <a:gd name="T4" fmla="*/ 70 w 576"/>
                <a:gd name="T5" fmla="*/ 121 h 126"/>
                <a:gd name="T6" fmla="*/ 34 w 576"/>
                <a:gd name="T7" fmla="*/ 117 h 126"/>
                <a:gd name="T8" fmla="*/ 0 w 576"/>
                <a:gd name="T9" fmla="*/ 108 h 126"/>
                <a:gd name="T10" fmla="*/ 11 w 576"/>
                <a:gd name="T11" fmla="*/ 58 h 126"/>
                <a:gd name="T12" fmla="*/ 32 w 576"/>
                <a:gd name="T13" fmla="*/ 62 h 126"/>
                <a:gd name="T14" fmla="*/ 52 w 576"/>
                <a:gd name="T15" fmla="*/ 67 h 126"/>
                <a:gd name="T16" fmla="*/ 70 w 576"/>
                <a:gd name="T17" fmla="*/ 69 h 126"/>
                <a:gd name="T18" fmla="*/ 89 w 576"/>
                <a:gd name="T19" fmla="*/ 71 h 126"/>
                <a:gd name="T20" fmla="*/ 127 w 576"/>
                <a:gd name="T21" fmla="*/ 72 h 126"/>
                <a:gd name="T22" fmla="*/ 161 w 576"/>
                <a:gd name="T23" fmla="*/ 72 h 126"/>
                <a:gd name="T24" fmla="*/ 194 w 576"/>
                <a:gd name="T25" fmla="*/ 69 h 126"/>
                <a:gd name="T26" fmla="*/ 226 w 576"/>
                <a:gd name="T27" fmla="*/ 65 h 126"/>
                <a:gd name="T28" fmla="*/ 255 w 576"/>
                <a:gd name="T29" fmla="*/ 59 h 126"/>
                <a:gd name="T30" fmla="*/ 281 w 576"/>
                <a:gd name="T31" fmla="*/ 52 h 126"/>
                <a:gd name="T32" fmla="*/ 305 w 576"/>
                <a:gd name="T33" fmla="*/ 44 h 126"/>
                <a:gd name="T34" fmla="*/ 327 w 576"/>
                <a:gd name="T35" fmla="*/ 36 h 126"/>
                <a:gd name="T36" fmla="*/ 346 w 576"/>
                <a:gd name="T37" fmla="*/ 28 h 126"/>
                <a:gd name="T38" fmla="*/ 360 w 576"/>
                <a:gd name="T39" fmla="*/ 20 h 126"/>
                <a:gd name="T40" fmla="*/ 383 w 576"/>
                <a:gd name="T41" fmla="*/ 9 h 126"/>
                <a:gd name="T42" fmla="*/ 390 w 576"/>
                <a:gd name="T43" fmla="*/ 5 h 126"/>
                <a:gd name="T44" fmla="*/ 394 w 576"/>
                <a:gd name="T45" fmla="*/ 2 h 126"/>
                <a:gd name="T46" fmla="*/ 399 w 576"/>
                <a:gd name="T47" fmla="*/ 0 h 126"/>
                <a:gd name="T48" fmla="*/ 403 w 576"/>
                <a:gd name="T49" fmla="*/ 0 h 126"/>
                <a:gd name="T50" fmla="*/ 407 w 576"/>
                <a:gd name="T51" fmla="*/ 0 h 126"/>
                <a:gd name="T52" fmla="*/ 412 w 576"/>
                <a:gd name="T53" fmla="*/ 0 h 126"/>
                <a:gd name="T54" fmla="*/ 416 w 576"/>
                <a:gd name="T55" fmla="*/ 3 h 126"/>
                <a:gd name="T56" fmla="*/ 419 w 576"/>
                <a:gd name="T57" fmla="*/ 5 h 126"/>
                <a:gd name="T58" fmla="*/ 423 w 576"/>
                <a:gd name="T59" fmla="*/ 8 h 126"/>
                <a:gd name="T60" fmla="*/ 426 w 576"/>
                <a:gd name="T61" fmla="*/ 10 h 126"/>
                <a:gd name="T62" fmla="*/ 433 w 576"/>
                <a:gd name="T63" fmla="*/ 16 h 126"/>
                <a:gd name="T64" fmla="*/ 446 w 576"/>
                <a:gd name="T65" fmla="*/ 25 h 126"/>
                <a:gd name="T66" fmla="*/ 462 w 576"/>
                <a:gd name="T67" fmla="*/ 33 h 126"/>
                <a:gd name="T68" fmla="*/ 484 w 576"/>
                <a:gd name="T69" fmla="*/ 42 h 126"/>
                <a:gd name="T70" fmla="*/ 510 w 576"/>
                <a:gd name="T71" fmla="*/ 49 h 126"/>
                <a:gd name="T72" fmla="*/ 524 w 576"/>
                <a:gd name="T73" fmla="*/ 52 h 126"/>
                <a:gd name="T74" fmla="*/ 540 w 576"/>
                <a:gd name="T75" fmla="*/ 55 h 126"/>
                <a:gd name="T76" fmla="*/ 557 w 576"/>
                <a:gd name="T77" fmla="*/ 56 h 126"/>
                <a:gd name="T78" fmla="*/ 576 w 576"/>
                <a:gd name="T79" fmla="*/ 56 h 126"/>
                <a:gd name="T80" fmla="*/ 576 w 576"/>
                <a:gd name="T81" fmla="*/ 110 h 126"/>
                <a:gd name="T82" fmla="*/ 544 w 576"/>
                <a:gd name="T83" fmla="*/ 108 h 126"/>
                <a:gd name="T84" fmla="*/ 514 w 576"/>
                <a:gd name="T85" fmla="*/ 104 h 126"/>
                <a:gd name="T86" fmla="*/ 488 w 576"/>
                <a:gd name="T87" fmla="*/ 98 h 126"/>
                <a:gd name="T88" fmla="*/ 465 w 576"/>
                <a:gd name="T89" fmla="*/ 91 h 126"/>
                <a:gd name="T90" fmla="*/ 445 w 576"/>
                <a:gd name="T91" fmla="*/ 82 h 126"/>
                <a:gd name="T92" fmla="*/ 428 w 576"/>
                <a:gd name="T93" fmla="*/ 74 h 126"/>
                <a:gd name="T94" fmla="*/ 413 w 576"/>
                <a:gd name="T95" fmla="*/ 65 h 126"/>
                <a:gd name="T96" fmla="*/ 403 w 576"/>
                <a:gd name="T97" fmla="*/ 58 h 126"/>
                <a:gd name="T98" fmla="*/ 386 w 576"/>
                <a:gd name="T99" fmla="*/ 67 h 126"/>
                <a:gd name="T100" fmla="*/ 363 w 576"/>
                <a:gd name="T101" fmla="*/ 78 h 126"/>
                <a:gd name="T102" fmla="*/ 335 w 576"/>
                <a:gd name="T103" fmla="*/ 88 h 126"/>
                <a:gd name="T104" fmla="*/ 304 w 576"/>
                <a:gd name="T105" fmla="*/ 100 h 126"/>
                <a:gd name="T106" fmla="*/ 268 w 576"/>
                <a:gd name="T107" fmla="*/ 110 h 126"/>
                <a:gd name="T108" fmla="*/ 227 w 576"/>
                <a:gd name="T109" fmla="*/ 118 h 126"/>
                <a:gd name="T110" fmla="*/ 206 w 576"/>
                <a:gd name="T111" fmla="*/ 121 h 126"/>
                <a:gd name="T112" fmla="*/ 183 w 576"/>
                <a:gd name="T113" fmla="*/ 123 h 126"/>
                <a:gd name="T114" fmla="*/ 160 w 576"/>
                <a:gd name="T115" fmla="*/ 124 h 126"/>
                <a:gd name="T116" fmla="*/ 135 w 576"/>
                <a:gd name="T1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126">
                  <a:moveTo>
                    <a:pt x="135" y="126"/>
                  </a:moveTo>
                  <a:lnTo>
                    <a:pt x="104" y="124"/>
                  </a:lnTo>
                  <a:lnTo>
                    <a:pt x="70" y="121"/>
                  </a:lnTo>
                  <a:lnTo>
                    <a:pt x="34" y="117"/>
                  </a:lnTo>
                  <a:lnTo>
                    <a:pt x="0" y="108"/>
                  </a:lnTo>
                  <a:lnTo>
                    <a:pt x="11" y="58"/>
                  </a:lnTo>
                  <a:lnTo>
                    <a:pt x="32" y="62"/>
                  </a:lnTo>
                  <a:lnTo>
                    <a:pt x="52" y="67"/>
                  </a:lnTo>
                  <a:lnTo>
                    <a:pt x="70" y="69"/>
                  </a:lnTo>
                  <a:lnTo>
                    <a:pt x="89" y="71"/>
                  </a:lnTo>
                  <a:lnTo>
                    <a:pt x="127" y="72"/>
                  </a:lnTo>
                  <a:lnTo>
                    <a:pt x="161" y="72"/>
                  </a:lnTo>
                  <a:lnTo>
                    <a:pt x="194" y="69"/>
                  </a:lnTo>
                  <a:lnTo>
                    <a:pt x="226" y="65"/>
                  </a:lnTo>
                  <a:lnTo>
                    <a:pt x="255" y="59"/>
                  </a:lnTo>
                  <a:lnTo>
                    <a:pt x="281" y="52"/>
                  </a:lnTo>
                  <a:lnTo>
                    <a:pt x="305" y="44"/>
                  </a:lnTo>
                  <a:lnTo>
                    <a:pt x="327" y="36"/>
                  </a:lnTo>
                  <a:lnTo>
                    <a:pt x="346" y="28"/>
                  </a:lnTo>
                  <a:lnTo>
                    <a:pt x="360" y="20"/>
                  </a:lnTo>
                  <a:lnTo>
                    <a:pt x="383" y="9"/>
                  </a:lnTo>
                  <a:lnTo>
                    <a:pt x="390" y="5"/>
                  </a:lnTo>
                  <a:lnTo>
                    <a:pt x="394" y="2"/>
                  </a:lnTo>
                  <a:lnTo>
                    <a:pt x="399" y="0"/>
                  </a:lnTo>
                  <a:lnTo>
                    <a:pt x="403" y="0"/>
                  </a:lnTo>
                  <a:lnTo>
                    <a:pt x="407" y="0"/>
                  </a:lnTo>
                  <a:lnTo>
                    <a:pt x="412" y="0"/>
                  </a:lnTo>
                  <a:lnTo>
                    <a:pt x="416" y="3"/>
                  </a:lnTo>
                  <a:lnTo>
                    <a:pt x="419" y="5"/>
                  </a:lnTo>
                  <a:lnTo>
                    <a:pt x="423" y="8"/>
                  </a:lnTo>
                  <a:lnTo>
                    <a:pt x="426" y="10"/>
                  </a:lnTo>
                  <a:lnTo>
                    <a:pt x="433" y="16"/>
                  </a:lnTo>
                  <a:lnTo>
                    <a:pt x="446" y="25"/>
                  </a:lnTo>
                  <a:lnTo>
                    <a:pt x="462" y="33"/>
                  </a:lnTo>
                  <a:lnTo>
                    <a:pt x="484" y="42"/>
                  </a:lnTo>
                  <a:lnTo>
                    <a:pt x="510" y="49"/>
                  </a:lnTo>
                  <a:lnTo>
                    <a:pt x="524" y="52"/>
                  </a:lnTo>
                  <a:lnTo>
                    <a:pt x="540" y="55"/>
                  </a:lnTo>
                  <a:lnTo>
                    <a:pt x="557" y="56"/>
                  </a:lnTo>
                  <a:lnTo>
                    <a:pt x="576" y="56"/>
                  </a:lnTo>
                  <a:lnTo>
                    <a:pt x="576" y="110"/>
                  </a:lnTo>
                  <a:lnTo>
                    <a:pt x="544" y="108"/>
                  </a:lnTo>
                  <a:lnTo>
                    <a:pt x="514" y="104"/>
                  </a:lnTo>
                  <a:lnTo>
                    <a:pt x="488" y="98"/>
                  </a:lnTo>
                  <a:lnTo>
                    <a:pt x="465" y="91"/>
                  </a:lnTo>
                  <a:lnTo>
                    <a:pt x="445" y="82"/>
                  </a:lnTo>
                  <a:lnTo>
                    <a:pt x="428" y="74"/>
                  </a:lnTo>
                  <a:lnTo>
                    <a:pt x="413" y="65"/>
                  </a:lnTo>
                  <a:lnTo>
                    <a:pt x="403" y="58"/>
                  </a:lnTo>
                  <a:lnTo>
                    <a:pt x="386" y="67"/>
                  </a:lnTo>
                  <a:lnTo>
                    <a:pt x="363" y="78"/>
                  </a:lnTo>
                  <a:lnTo>
                    <a:pt x="335" y="88"/>
                  </a:lnTo>
                  <a:lnTo>
                    <a:pt x="304" y="100"/>
                  </a:lnTo>
                  <a:lnTo>
                    <a:pt x="268" y="110"/>
                  </a:lnTo>
                  <a:lnTo>
                    <a:pt x="227" y="118"/>
                  </a:lnTo>
                  <a:lnTo>
                    <a:pt x="206" y="121"/>
                  </a:lnTo>
                  <a:lnTo>
                    <a:pt x="183" y="123"/>
                  </a:lnTo>
                  <a:lnTo>
                    <a:pt x="160" y="124"/>
                  </a:lnTo>
                  <a:lnTo>
                    <a:pt x="135"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60">
              <a:extLst>
                <a:ext uri="{FF2B5EF4-FFF2-40B4-BE49-F238E27FC236}">
                  <a16:creationId xmlns:a16="http://schemas.microsoft.com/office/drawing/2014/main" id="{C3BF7EA4-E5A9-43EF-B29C-D0C8569CFD69}"/>
                </a:ext>
              </a:extLst>
            </p:cNvPr>
            <p:cNvSpPr>
              <a:spLocks noEditPoints="1"/>
            </p:cNvSpPr>
            <p:nvPr/>
          </p:nvSpPr>
          <p:spPr bwMode="auto">
            <a:xfrm>
              <a:off x="7261225" y="903288"/>
              <a:ext cx="328613" cy="360363"/>
            </a:xfrm>
            <a:custGeom>
              <a:avLst/>
              <a:gdLst>
                <a:gd name="T0" fmla="*/ 272 w 622"/>
                <a:gd name="T1" fmla="*/ 56 h 680"/>
                <a:gd name="T2" fmla="*/ 187 w 622"/>
                <a:gd name="T3" fmla="*/ 86 h 680"/>
                <a:gd name="T4" fmla="*/ 111 w 622"/>
                <a:gd name="T5" fmla="*/ 157 h 680"/>
                <a:gd name="T6" fmla="*/ 63 w 622"/>
                <a:gd name="T7" fmla="*/ 255 h 680"/>
                <a:gd name="T8" fmla="*/ 53 w 622"/>
                <a:gd name="T9" fmla="*/ 369 h 680"/>
                <a:gd name="T10" fmla="*/ 83 w 622"/>
                <a:gd name="T11" fmla="*/ 477 h 680"/>
                <a:gd name="T12" fmla="*/ 147 w 622"/>
                <a:gd name="T13" fmla="*/ 562 h 680"/>
                <a:gd name="T14" fmla="*/ 234 w 622"/>
                <a:gd name="T15" fmla="*/ 613 h 680"/>
                <a:gd name="T16" fmla="*/ 298 w 622"/>
                <a:gd name="T17" fmla="*/ 626 h 680"/>
                <a:gd name="T18" fmla="*/ 350 w 622"/>
                <a:gd name="T19" fmla="*/ 623 h 680"/>
                <a:gd name="T20" fmla="*/ 435 w 622"/>
                <a:gd name="T21" fmla="*/ 592 h 680"/>
                <a:gd name="T22" fmla="*/ 511 w 622"/>
                <a:gd name="T23" fmla="*/ 523 h 680"/>
                <a:gd name="T24" fmla="*/ 558 w 622"/>
                <a:gd name="T25" fmla="*/ 425 h 680"/>
                <a:gd name="T26" fmla="*/ 569 w 622"/>
                <a:gd name="T27" fmla="*/ 311 h 680"/>
                <a:gd name="T28" fmla="*/ 538 w 622"/>
                <a:gd name="T29" fmla="*/ 203 h 680"/>
                <a:gd name="T30" fmla="*/ 475 w 622"/>
                <a:gd name="T31" fmla="*/ 118 h 680"/>
                <a:gd name="T32" fmla="*/ 387 w 622"/>
                <a:gd name="T33" fmla="*/ 65 h 680"/>
                <a:gd name="T34" fmla="*/ 324 w 622"/>
                <a:gd name="T35" fmla="*/ 53 h 680"/>
                <a:gd name="T36" fmla="*/ 279 w 622"/>
                <a:gd name="T37" fmla="*/ 678 h 680"/>
                <a:gd name="T38" fmla="*/ 219 w 622"/>
                <a:gd name="T39" fmla="*/ 664 h 680"/>
                <a:gd name="T40" fmla="*/ 162 w 622"/>
                <a:gd name="T41" fmla="*/ 638 h 680"/>
                <a:gd name="T42" fmla="*/ 114 w 622"/>
                <a:gd name="T43" fmla="*/ 602 h 680"/>
                <a:gd name="T44" fmla="*/ 70 w 622"/>
                <a:gd name="T45" fmla="*/ 556 h 680"/>
                <a:gd name="T46" fmla="*/ 37 w 622"/>
                <a:gd name="T47" fmla="*/ 501 h 680"/>
                <a:gd name="T48" fmla="*/ 14 w 622"/>
                <a:gd name="T49" fmla="*/ 441 h 680"/>
                <a:gd name="T50" fmla="*/ 1 w 622"/>
                <a:gd name="T51" fmla="*/ 374 h 680"/>
                <a:gd name="T52" fmla="*/ 1 w 622"/>
                <a:gd name="T53" fmla="*/ 305 h 680"/>
                <a:gd name="T54" fmla="*/ 14 w 622"/>
                <a:gd name="T55" fmla="*/ 239 h 680"/>
                <a:gd name="T56" fmla="*/ 37 w 622"/>
                <a:gd name="T57" fmla="*/ 179 h 680"/>
                <a:gd name="T58" fmla="*/ 70 w 622"/>
                <a:gd name="T59" fmla="*/ 124 h 680"/>
                <a:gd name="T60" fmla="*/ 114 w 622"/>
                <a:gd name="T61" fmla="*/ 78 h 680"/>
                <a:gd name="T62" fmla="*/ 162 w 622"/>
                <a:gd name="T63" fmla="*/ 42 h 680"/>
                <a:gd name="T64" fmla="*/ 219 w 622"/>
                <a:gd name="T65" fmla="*/ 16 h 680"/>
                <a:gd name="T66" fmla="*/ 279 w 622"/>
                <a:gd name="T67" fmla="*/ 1 h 680"/>
                <a:gd name="T68" fmla="*/ 342 w 622"/>
                <a:gd name="T69" fmla="*/ 1 h 680"/>
                <a:gd name="T70" fmla="*/ 403 w 622"/>
                <a:gd name="T71" fmla="*/ 16 h 680"/>
                <a:gd name="T72" fmla="*/ 459 w 622"/>
                <a:gd name="T73" fmla="*/ 42 h 680"/>
                <a:gd name="T74" fmla="*/ 508 w 622"/>
                <a:gd name="T75" fmla="*/ 78 h 680"/>
                <a:gd name="T76" fmla="*/ 551 w 622"/>
                <a:gd name="T77" fmla="*/ 124 h 680"/>
                <a:gd name="T78" fmla="*/ 584 w 622"/>
                <a:gd name="T79" fmla="*/ 179 h 680"/>
                <a:gd name="T80" fmla="*/ 607 w 622"/>
                <a:gd name="T81" fmla="*/ 239 h 680"/>
                <a:gd name="T82" fmla="*/ 620 w 622"/>
                <a:gd name="T83" fmla="*/ 305 h 680"/>
                <a:gd name="T84" fmla="*/ 620 w 622"/>
                <a:gd name="T85" fmla="*/ 374 h 680"/>
                <a:gd name="T86" fmla="*/ 607 w 622"/>
                <a:gd name="T87" fmla="*/ 441 h 680"/>
                <a:gd name="T88" fmla="*/ 584 w 622"/>
                <a:gd name="T89" fmla="*/ 501 h 680"/>
                <a:gd name="T90" fmla="*/ 551 w 622"/>
                <a:gd name="T91" fmla="*/ 556 h 680"/>
                <a:gd name="T92" fmla="*/ 508 w 622"/>
                <a:gd name="T93" fmla="*/ 602 h 680"/>
                <a:gd name="T94" fmla="*/ 459 w 622"/>
                <a:gd name="T95" fmla="*/ 638 h 680"/>
                <a:gd name="T96" fmla="*/ 403 w 622"/>
                <a:gd name="T97" fmla="*/ 664 h 680"/>
                <a:gd name="T98" fmla="*/ 342 w 622"/>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2" h="680">
                  <a:moveTo>
                    <a:pt x="311" y="52"/>
                  </a:moveTo>
                  <a:lnTo>
                    <a:pt x="298" y="53"/>
                  </a:lnTo>
                  <a:lnTo>
                    <a:pt x="285" y="53"/>
                  </a:lnTo>
                  <a:lnTo>
                    <a:pt x="272" y="56"/>
                  </a:lnTo>
                  <a:lnTo>
                    <a:pt x="259" y="58"/>
                  </a:lnTo>
                  <a:lnTo>
                    <a:pt x="234" y="65"/>
                  </a:lnTo>
                  <a:lnTo>
                    <a:pt x="210" y="75"/>
                  </a:lnTo>
                  <a:lnTo>
                    <a:pt x="187" y="86"/>
                  </a:lnTo>
                  <a:lnTo>
                    <a:pt x="167" y="101"/>
                  </a:lnTo>
                  <a:lnTo>
                    <a:pt x="147" y="118"/>
                  </a:lnTo>
                  <a:lnTo>
                    <a:pt x="128" y="137"/>
                  </a:lnTo>
                  <a:lnTo>
                    <a:pt x="111" y="157"/>
                  </a:lnTo>
                  <a:lnTo>
                    <a:pt x="96" y="179"/>
                  </a:lnTo>
                  <a:lnTo>
                    <a:pt x="83" y="203"/>
                  </a:lnTo>
                  <a:lnTo>
                    <a:pt x="72" y="227"/>
                  </a:lnTo>
                  <a:lnTo>
                    <a:pt x="63" y="255"/>
                  </a:lnTo>
                  <a:lnTo>
                    <a:pt x="57" y="282"/>
                  </a:lnTo>
                  <a:lnTo>
                    <a:pt x="53" y="311"/>
                  </a:lnTo>
                  <a:lnTo>
                    <a:pt x="52" y="340"/>
                  </a:lnTo>
                  <a:lnTo>
                    <a:pt x="53" y="369"/>
                  </a:lnTo>
                  <a:lnTo>
                    <a:pt x="57" y="397"/>
                  </a:lnTo>
                  <a:lnTo>
                    <a:pt x="63" y="425"/>
                  </a:lnTo>
                  <a:lnTo>
                    <a:pt x="72" y="452"/>
                  </a:lnTo>
                  <a:lnTo>
                    <a:pt x="83" y="477"/>
                  </a:lnTo>
                  <a:lnTo>
                    <a:pt x="96" y="500"/>
                  </a:lnTo>
                  <a:lnTo>
                    <a:pt x="111" y="523"/>
                  </a:lnTo>
                  <a:lnTo>
                    <a:pt x="128" y="543"/>
                  </a:lnTo>
                  <a:lnTo>
                    <a:pt x="147" y="562"/>
                  </a:lnTo>
                  <a:lnTo>
                    <a:pt x="167" y="577"/>
                  </a:lnTo>
                  <a:lnTo>
                    <a:pt x="187" y="592"/>
                  </a:lnTo>
                  <a:lnTo>
                    <a:pt x="210" y="605"/>
                  </a:lnTo>
                  <a:lnTo>
                    <a:pt x="234" y="613"/>
                  </a:lnTo>
                  <a:lnTo>
                    <a:pt x="259" y="621"/>
                  </a:lnTo>
                  <a:lnTo>
                    <a:pt x="272" y="623"/>
                  </a:lnTo>
                  <a:lnTo>
                    <a:pt x="285" y="625"/>
                  </a:lnTo>
                  <a:lnTo>
                    <a:pt x="298" y="626"/>
                  </a:lnTo>
                  <a:lnTo>
                    <a:pt x="311" y="626"/>
                  </a:lnTo>
                  <a:lnTo>
                    <a:pt x="324" y="626"/>
                  </a:lnTo>
                  <a:lnTo>
                    <a:pt x="337" y="625"/>
                  </a:lnTo>
                  <a:lnTo>
                    <a:pt x="350" y="623"/>
                  </a:lnTo>
                  <a:lnTo>
                    <a:pt x="363" y="621"/>
                  </a:lnTo>
                  <a:lnTo>
                    <a:pt x="387" y="613"/>
                  </a:lnTo>
                  <a:lnTo>
                    <a:pt x="412" y="605"/>
                  </a:lnTo>
                  <a:lnTo>
                    <a:pt x="435" y="592"/>
                  </a:lnTo>
                  <a:lnTo>
                    <a:pt x="455" y="577"/>
                  </a:lnTo>
                  <a:lnTo>
                    <a:pt x="475" y="562"/>
                  </a:lnTo>
                  <a:lnTo>
                    <a:pt x="494" y="543"/>
                  </a:lnTo>
                  <a:lnTo>
                    <a:pt x="511" y="523"/>
                  </a:lnTo>
                  <a:lnTo>
                    <a:pt x="525" y="500"/>
                  </a:lnTo>
                  <a:lnTo>
                    <a:pt x="538" y="477"/>
                  </a:lnTo>
                  <a:lnTo>
                    <a:pt x="550" y="452"/>
                  </a:lnTo>
                  <a:lnTo>
                    <a:pt x="558" y="425"/>
                  </a:lnTo>
                  <a:lnTo>
                    <a:pt x="564" y="397"/>
                  </a:lnTo>
                  <a:lnTo>
                    <a:pt x="569" y="369"/>
                  </a:lnTo>
                  <a:lnTo>
                    <a:pt x="570" y="340"/>
                  </a:lnTo>
                  <a:lnTo>
                    <a:pt x="569" y="311"/>
                  </a:lnTo>
                  <a:lnTo>
                    <a:pt x="564" y="282"/>
                  </a:lnTo>
                  <a:lnTo>
                    <a:pt x="558" y="255"/>
                  </a:lnTo>
                  <a:lnTo>
                    <a:pt x="550" y="227"/>
                  </a:lnTo>
                  <a:lnTo>
                    <a:pt x="538" y="203"/>
                  </a:lnTo>
                  <a:lnTo>
                    <a:pt x="525" y="179"/>
                  </a:lnTo>
                  <a:lnTo>
                    <a:pt x="511" y="157"/>
                  </a:lnTo>
                  <a:lnTo>
                    <a:pt x="494" y="137"/>
                  </a:lnTo>
                  <a:lnTo>
                    <a:pt x="475" y="118"/>
                  </a:lnTo>
                  <a:lnTo>
                    <a:pt x="455" y="101"/>
                  </a:lnTo>
                  <a:lnTo>
                    <a:pt x="435" y="86"/>
                  </a:lnTo>
                  <a:lnTo>
                    <a:pt x="412" y="75"/>
                  </a:lnTo>
                  <a:lnTo>
                    <a:pt x="387" y="65"/>
                  </a:lnTo>
                  <a:lnTo>
                    <a:pt x="363" y="58"/>
                  </a:lnTo>
                  <a:lnTo>
                    <a:pt x="350" y="56"/>
                  </a:lnTo>
                  <a:lnTo>
                    <a:pt x="337" y="53"/>
                  </a:lnTo>
                  <a:lnTo>
                    <a:pt x="324" y="53"/>
                  </a:lnTo>
                  <a:lnTo>
                    <a:pt x="311" y="52"/>
                  </a:lnTo>
                  <a:close/>
                  <a:moveTo>
                    <a:pt x="311" y="680"/>
                  </a:moveTo>
                  <a:lnTo>
                    <a:pt x="295" y="678"/>
                  </a:lnTo>
                  <a:lnTo>
                    <a:pt x="279" y="678"/>
                  </a:lnTo>
                  <a:lnTo>
                    <a:pt x="263" y="675"/>
                  </a:lnTo>
                  <a:lnTo>
                    <a:pt x="247" y="672"/>
                  </a:lnTo>
                  <a:lnTo>
                    <a:pt x="233" y="668"/>
                  </a:lnTo>
                  <a:lnTo>
                    <a:pt x="219" y="664"/>
                  </a:lnTo>
                  <a:lnTo>
                    <a:pt x="204" y="658"/>
                  </a:lnTo>
                  <a:lnTo>
                    <a:pt x="190" y="652"/>
                  </a:lnTo>
                  <a:lnTo>
                    <a:pt x="175" y="645"/>
                  </a:lnTo>
                  <a:lnTo>
                    <a:pt x="162" y="638"/>
                  </a:lnTo>
                  <a:lnTo>
                    <a:pt x="150" y="631"/>
                  </a:lnTo>
                  <a:lnTo>
                    <a:pt x="137" y="621"/>
                  </a:lnTo>
                  <a:lnTo>
                    <a:pt x="125" y="612"/>
                  </a:lnTo>
                  <a:lnTo>
                    <a:pt x="114" y="602"/>
                  </a:lnTo>
                  <a:lnTo>
                    <a:pt x="102" y="590"/>
                  </a:lnTo>
                  <a:lnTo>
                    <a:pt x="90" y="580"/>
                  </a:lnTo>
                  <a:lnTo>
                    <a:pt x="80" y="567"/>
                  </a:lnTo>
                  <a:lnTo>
                    <a:pt x="70" y="556"/>
                  </a:lnTo>
                  <a:lnTo>
                    <a:pt x="62" y="543"/>
                  </a:lnTo>
                  <a:lnTo>
                    <a:pt x="53" y="530"/>
                  </a:lnTo>
                  <a:lnTo>
                    <a:pt x="44" y="515"/>
                  </a:lnTo>
                  <a:lnTo>
                    <a:pt x="37" y="501"/>
                  </a:lnTo>
                  <a:lnTo>
                    <a:pt x="30" y="487"/>
                  </a:lnTo>
                  <a:lnTo>
                    <a:pt x="24" y="472"/>
                  </a:lnTo>
                  <a:lnTo>
                    <a:pt x="18" y="456"/>
                  </a:lnTo>
                  <a:lnTo>
                    <a:pt x="14" y="441"/>
                  </a:lnTo>
                  <a:lnTo>
                    <a:pt x="10" y="425"/>
                  </a:lnTo>
                  <a:lnTo>
                    <a:pt x="6" y="407"/>
                  </a:lnTo>
                  <a:lnTo>
                    <a:pt x="3" y="392"/>
                  </a:lnTo>
                  <a:lnTo>
                    <a:pt x="1" y="374"/>
                  </a:lnTo>
                  <a:lnTo>
                    <a:pt x="0" y="357"/>
                  </a:lnTo>
                  <a:lnTo>
                    <a:pt x="0" y="340"/>
                  </a:lnTo>
                  <a:lnTo>
                    <a:pt x="0" y="323"/>
                  </a:lnTo>
                  <a:lnTo>
                    <a:pt x="1" y="305"/>
                  </a:lnTo>
                  <a:lnTo>
                    <a:pt x="3" y="288"/>
                  </a:lnTo>
                  <a:lnTo>
                    <a:pt x="6" y="271"/>
                  </a:lnTo>
                  <a:lnTo>
                    <a:pt x="10" y="255"/>
                  </a:lnTo>
                  <a:lnTo>
                    <a:pt x="14" y="239"/>
                  </a:lnTo>
                  <a:lnTo>
                    <a:pt x="18" y="223"/>
                  </a:lnTo>
                  <a:lnTo>
                    <a:pt x="24" y="207"/>
                  </a:lnTo>
                  <a:lnTo>
                    <a:pt x="30" y="193"/>
                  </a:lnTo>
                  <a:lnTo>
                    <a:pt x="37" y="179"/>
                  </a:lnTo>
                  <a:lnTo>
                    <a:pt x="44" y="164"/>
                  </a:lnTo>
                  <a:lnTo>
                    <a:pt x="53" y="150"/>
                  </a:lnTo>
                  <a:lnTo>
                    <a:pt x="62" y="137"/>
                  </a:lnTo>
                  <a:lnTo>
                    <a:pt x="70" y="124"/>
                  </a:lnTo>
                  <a:lnTo>
                    <a:pt x="80" y="111"/>
                  </a:lnTo>
                  <a:lnTo>
                    <a:pt x="90" y="99"/>
                  </a:lnTo>
                  <a:lnTo>
                    <a:pt x="102" y="88"/>
                  </a:lnTo>
                  <a:lnTo>
                    <a:pt x="114" y="78"/>
                  </a:lnTo>
                  <a:lnTo>
                    <a:pt x="125" y="68"/>
                  </a:lnTo>
                  <a:lnTo>
                    <a:pt x="137" y="58"/>
                  </a:lnTo>
                  <a:lnTo>
                    <a:pt x="150" y="49"/>
                  </a:lnTo>
                  <a:lnTo>
                    <a:pt x="162" y="42"/>
                  </a:lnTo>
                  <a:lnTo>
                    <a:pt x="175" y="33"/>
                  </a:lnTo>
                  <a:lnTo>
                    <a:pt x="190" y="27"/>
                  </a:lnTo>
                  <a:lnTo>
                    <a:pt x="204" y="20"/>
                  </a:lnTo>
                  <a:lnTo>
                    <a:pt x="219" y="16"/>
                  </a:lnTo>
                  <a:lnTo>
                    <a:pt x="233" y="11"/>
                  </a:lnTo>
                  <a:lnTo>
                    <a:pt x="247" y="7"/>
                  </a:lnTo>
                  <a:lnTo>
                    <a:pt x="263" y="4"/>
                  </a:lnTo>
                  <a:lnTo>
                    <a:pt x="279" y="1"/>
                  </a:lnTo>
                  <a:lnTo>
                    <a:pt x="295" y="0"/>
                  </a:lnTo>
                  <a:lnTo>
                    <a:pt x="311" y="0"/>
                  </a:lnTo>
                  <a:lnTo>
                    <a:pt x="327" y="0"/>
                  </a:lnTo>
                  <a:lnTo>
                    <a:pt x="342" y="1"/>
                  </a:lnTo>
                  <a:lnTo>
                    <a:pt x="358" y="4"/>
                  </a:lnTo>
                  <a:lnTo>
                    <a:pt x="373" y="7"/>
                  </a:lnTo>
                  <a:lnTo>
                    <a:pt x="389" y="11"/>
                  </a:lnTo>
                  <a:lnTo>
                    <a:pt x="403" y="16"/>
                  </a:lnTo>
                  <a:lnTo>
                    <a:pt x="417" y="20"/>
                  </a:lnTo>
                  <a:lnTo>
                    <a:pt x="432" y="27"/>
                  </a:lnTo>
                  <a:lnTo>
                    <a:pt x="446" y="33"/>
                  </a:lnTo>
                  <a:lnTo>
                    <a:pt x="459" y="42"/>
                  </a:lnTo>
                  <a:lnTo>
                    <a:pt x="472" y="49"/>
                  </a:lnTo>
                  <a:lnTo>
                    <a:pt x="485" y="58"/>
                  </a:lnTo>
                  <a:lnTo>
                    <a:pt x="497" y="68"/>
                  </a:lnTo>
                  <a:lnTo>
                    <a:pt x="508" y="78"/>
                  </a:lnTo>
                  <a:lnTo>
                    <a:pt x="520" y="88"/>
                  </a:lnTo>
                  <a:lnTo>
                    <a:pt x="531" y="99"/>
                  </a:lnTo>
                  <a:lnTo>
                    <a:pt x="541" y="111"/>
                  </a:lnTo>
                  <a:lnTo>
                    <a:pt x="551" y="124"/>
                  </a:lnTo>
                  <a:lnTo>
                    <a:pt x="560" y="137"/>
                  </a:lnTo>
                  <a:lnTo>
                    <a:pt x="569" y="150"/>
                  </a:lnTo>
                  <a:lnTo>
                    <a:pt x="577" y="164"/>
                  </a:lnTo>
                  <a:lnTo>
                    <a:pt x="584" y="179"/>
                  </a:lnTo>
                  <a:lnTo>
                    <a:pt x="592" y="193"/>
                  </a:lnTo>
                  <a:lnTo>
                    <a:pt x="597" y="207"/>
                  </a:lnTo>
                  <a:lnTo>
                    <a:pt x="603" y="223"/>
                  </a:lnTo>
                  <a:lnTo>
                    <a:pt x="607" y="239"/>
                  </a:lnTo>
                  <a:lnTo>
                    <a:pt x="612" y="255"/>
                  </a:lnTo>
                  <a:lnTo>
                    <a:pt x="616" y="271"/>
                  </a:lnTo>
                  <a:lnTo>
                    <a:pt x="618" y="288"/>
                  </a:lnTo>
                  <a:lnTo>
                    <a:pt x="620" y="305"/>
                  </a:lnTo>
                  <a:lnTo>
                    <a:pt x="622" y="323"/>
                  </a:lnTo>
                  <a:lnTo>
                    <a:pt x="622" y="340"/>
                  </a:lnTo>
                  <a:lnTo>
                    <a:pt x="622" y="357"/>
                  </a:lnTo>
                  <a:lnTo>
                    <a:pt x="620" y="374"/>
                  </a:lnTo>
                  <a:lnTo>
                    <a:pt x="618" y="392"/>
                  </a:lnTo>
                  <a:lnTo>
                    <a:pt x="616" y="407"/>
                  </a:lnTo>
                  <a:lnTo>
                    <a:pt x="612" y="425"/>
                  </a:lnTo>
                  <a:lnTo>
                    <a:pt x="607" y="441"/>
                  </a:lnTo>
                  <a:lnTo>
                    <a:pt x="603" y="456"/>
                  </a:lnTo>
                  <a:lnTo>
                    <a:pt x="597" y="472"/>
                  </a:lnTo>
                  <a:lnTo>
                    <a:pt x="592" y="487"/>
                  </a:lnTo>
                  <a:lnTo>
                    <a:pt x="584" y="501"/>
                  </a:lnTo>
                  <a:lnTo>
                    <a:pt x="577" y="515"/>
                  </a:lnTo>
                  <a:lnTo>
                    <a:pt x="569" y="530"/>
                  </a:lnTo>
                  <a:lnTo>
                    <a:pt x="560" y="543"/>
                  </a:lnTo>
                  <a:lnTo>
                    <a:pt x="551" y="556"/>
                  </a:lnTo>
                  <a:lnTo>
                    <a:pt x="541" y="567"/>
                  </a:lnTo>
                  <a:lnTo>
                    <a:pt x="531" y="580"/>
                  </a:lnTo>
                  <a:lnTo>
                    <a:pt x="520" y="590"/>
                  </a:lnTo>
                  <a:lnTo>
                    <a:pt x="508" y="602"/>
                  </a:lnTo>
                  <a:lnTo>
                    <a:pt x="497" y="612"/>
                  </a:lnTo>
                  <a:lnTo>
                    <a:pt x="485" y="621"/>
                  </a:lnTo>
                  <a:lnTo>
                    <a:pt x="472" y="631"/>
                  </a:lnTo>
                  <a:lnTo>
                    <a:pt x="459" y="638"/>
                  </a:lnTo>
                  <a:lnTo>
                    <a:pt x="446" y="645"/>
                  </a:lnTo>
                  <a:lnTo>
                    <a:pt x="432" y="652"/>
                  </a:lnTo>
                  <a:lnTo>
                    <a:pt x="417" y="658"/>
                  </a:lnTo>
                  <a:lnTo>
                    <a:pt x="403" y="664"/>
                  </a:lnTo>
                  <a:lnTo>
                    <a:pt x="389" y="668"/>
                  </a:lnTo>
                  <a:lnTo>
                    <a:pt x="373" y="672"/>
                  </a:lnTo>
                  <a:lnTo>
                    <a:pt x="358" y="675"/>
                  </a:lnTo>
                  <a:lnTo>
                    <a:pt x="342" y="678"/>
                  </a:lnTo>
                  <a:lnTo>
                    <a:pt x="327"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61">
              <a:extLst>
                <a:ext uri="{FF2B5EF4-FFF2-40B4-BE49-F238E27FC236}">
                  <a16:creationId xmlns:a16="http://schemas.microsoft.com/office/drawing/2014/main" id="{16A25255-D48A-4B47-8A1A-5087DB86033E}"/>
                </a:ext>
              </a:extLst>
            </p:cNvPr>
            <p:cNvSpPr>
              <a:spLocks/>
            </p:cNvSpPr>
            <p:nvPr/>
          </p:nvSpPr>
          <p:spPr bwMode="auto">
            <a:xfrm>
              <a:off x="7140575" y="1235076"/>
              <a:ext cx="569913" cy="360363"/>
            </a:xfrm>
            <a:custGeom>
              <a:avLst/>
              <a:gdLst>
                <a:gd name="T0" fmla="*/ 0 w 1077"/>
                <a:gd name="T1" fmla="*/ 370 h 681"/>
                <a:gd name="T2" fmla="*/ 10 w 1077"/>
                <a:gd name="T3" fmla="*/ 292 h 681"/>
                <a:gd name="T4" fmla="*/ 38 w 1077"/>
                <a:gd name="T5" fmla="*/ 236 h 681"/>
                <a:gd name="T6" fmla="*/ 81 w 1077"/>
                <a:gd name="T7" fmla="*/ 197 h 681"/>
                <a:gd name="T8" fmla="*/ 136 w 1077"/>
                <a:gd name="T9" fmla="*/ 170 h 681"/>
                <a:gd name="T10" fmla="*/ 242 w 1077"/>
                <a:gd name="T11" fmla="*/ 137 h 681"/>
                <a:gd name="T12" fmla="*/ 303 w 1077"/>
                <a:gd name="T13" fmla="*/ 118 h 681"/>
                <a:gd name="T14" fmla="*/ 349 w 1077"/>
                <a:gd name="T15" fmla="*/ 95 h 681"/>
                <a:gd name="T16" fmla="*/ 376 w 1077"/>
                <a:gd name="T17" fmla="*/ 68 h 681"/>
                <a:gd name="T18" fmla="*/ 395 w 1077"/>
                <a:gd name="T19" fmla="*/ 32 h 681"/>
                <a:gd name="T20" fmla="*/ 399 w 1077"/>
                <a:gd name="T21" fmla="*/ 3 h 681"/>
                <a:gd name="T22" fmla="*/ 447 w 1077"/>
                <a:gd name="T23" fmla="*/ 37 h 681"/>
                <a:gd name="T24" fmla="*/ 434 w 1077"/>
                <a:gd name="T25" fmla="*/ 73 h 681"/>
                <a:gd name="T26" fmla="*/ 411 w 1077"/>
                <a:gd name="T27" fmla="*/ 109 h 681"/>
                <a:gd name="T28" fmla="*/ 373 w 1077"/>
                <a:gd name="T29" fmla="*/ 141 h 681"/>
                <a:gd name="T30" fmla="*/ 318 w 1077"/>
                <a:gd name="T31" fmla="*/ 167 h 681"/>
                <a:gd name="T32" fmla="*/ 258 w 1077"/>
                <a:gd name="T33" fmla="*/ 186 h 681"/>
                <a:gd name="T34" fmla="*/ 157 w 1077"/>
                <a:gd name="T35" fmla="*/ 217 h 681"/>
                <a:gd name="T36" fmla="*/ 111 w 1077"/>
                <a:gd name="T37" fmla="*/ 239 h 681"/>
                <a:gd name="T38" fmla="*/ 78 w 1077"/>
                <a:gd name="T39" fmla="*/ 269 h 681"/>
                <a:gd name="T40" fmla="*/ 58 w 1077"/>
                <a:gd name="T41" fmla="*/ 311 h 681"/>
                <a:gd name="T42" fmla="*/ 52 w 1077"/>
                <a:gd name="T43" fmla="*/ 370 h 681"/>
                <a:gd name="T44" fmla="*/ 1026 w 1077"/>
                <a:gd name="T45" fmla="*/ 370 h 681"/>
                <a:gd name="T46" fmla="*/ 1018 w 1077"/>
                <a:gd name="T47" fmla="*/ 311 h 681"/>
                <a:gd name="T48" fmla="*/ 1000 w 1077"/>
                <a:gd name="T49" fmla="*/ 269 h 681"/>
                <a:gd name="T50" fmla="*/ 966 w 1077"/>
                <a:gd name="T51" fmla="*/ 239 h 681"/>
                <a:gd name="T52" fmla="*/ 920 w 1077"/>
                <a:gd name="T53" fmla="*/ 217 h 681"/>
                <a:gd name="T54" fmla="*/ 820 w 1077"/>
                <a:gd name="T55" fmla="*/ 186 h 681"/>
                <a:gd name="T56" fmla="*/ 759 w 1077"/>
                <a:gd name="T57" fmla="*/ 167 h 681"/>
                <a:gd name="T58" fmla="*/ 704 w 1077"/>
                <a:gd name="T59" fmla="*/ 141 h 681"/>
                <a:gd name="T60" fmla="*/ 667 w 1077"/>
                <a:gd name="T61" fmla="*/ 109 h 681"/>
                <a:gd name="T62" fmla="*/ 644 w 1077"/>
                <a:gd name="T63" fmla="*/ 73 h 681"/>
                <a:gd name="T64" fmla="*/ 631 w 1077"/>
                <a:gd name="T65" fmla="*/ 37 h 681"/>
                <a:gd name="T66" fmla="*/ 627 w 1077"/>
                <a:gd name="T67" fmla="*/ 7 h 681"/>
                <a:gd name="T68" fmla="*/ 678 w 1077"/>
                <a:gd name="T69" fmla="*/ 7 h 681"/>
                <a:gd name="T70" fmla="*/ 690 w 1077"/>
                <a:gd name="T71" fmla="*/ 49 h 681"/>
                <a:gd name="T72" fmla="*/ 709 w 1077"/>
                <a:gd name="T73" fmla="*/ 76 h 681"/>
                <a:gd name="T74" fmla="*/ 742 w 1077"/>
                <a:gd name="T75" fmla="*/ 104 h 681"/>
                <a:gd name="T76" fmla="*/ 795 w 1077"/>
                <a:gd name="T77" fmla="*/ 124 h 681"/>
                <a:gd name="T78" fmla="*/ 854 w 1077"/>
                <a:gd name="T79" fmla="*/ 141 h 681"/>
                <a:gd name="T80" fmla="*/ 961 w 1077"/>
                <a:gd name="T81" fmla="*/ 178 h 681"/>
                <a:gd name="T82" fmla="*/ 1013 w 1077"/>
                <a:gd name="T83" fmla="*/ 209 h 681"/>
                <a:gd name="T84" fmla="*/ 1051 w 1077"/>
                <a:gd name="T85" fmla="*/ 252 h 681"/>
                <a:gd name="T86" fmla="*/ 1073 w 1077"/>
                <a:gd name="T87" fmla="*/ 315 h 681"/>
                <a:gd name="T88" fmla="*/ 1077 w 1077"/>
                <a:gd name="T89" fmla="*/ 68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7" h="681">
                  <a:moveTo>
                    <a:pt x="1077" y="681"/>
                  </a:moveTo>
                  <a:lnTo>
                    <a:pt x="0" y="681"/>
                  </a:lnTo>
                  <a:lnTo>
                    <a:pt x="0" y="370"/>
                  </a:lnTo>
                  <a:lnTo>
                    <a:pt x="0" y="341"/>
                  </a:lnTo>
                  <a:lnTo>
                    <a:pt x="5" y="315"/>
                  </a:lnTo>
                  <a:lnTo>
                    <a:pt x="10" y="292"/>
                  </a:lnTo>
                  <a:lnTo>
                    <a:pt x="18" y="271"/>
                  </a:lnTo>
                  <a:lnTo>
                    <a:pt x="26" y="252"/>
                  </a:lnTo>
                  <a:lnTo>
                    <a:pt x="38" y="236"/>
                  </a:lnTo>
                  <a:lnTo>
                    <a:pt x="51" y="222"/>
                  </a:lnTo>
                  <a:lnTo>
                    <a:pt x="65" y="209"/>
                  </a:lnTo>
                  <a:lnTo>
                    <a:pt x="81" y="197"/>
                  </a:lnTo>
                  <a:lnTo>
                    <a:pt x="98" y="187"/>
                  </a:lnTo>
                  <a:lnTo>
                    <a:pt x="117" y="178"/>
                  </a:lnTo>
                  <a:lnTo>
                    <a:pt x="136" y="170"/>
                  </a:lnTo>
                  <a:lnTo>
                    <a:pt x="179" y="155"/>
                  </a:lnTo>
                  <a:lnTo>
                    <a:pt x="223" y="141"/>
                  </a:lnTo>
                  <a:lnTo>
                    <a:pt x="242" y="137"/>
                  </a:lnTo>
                  <a:lnTo>
                    <a:pt x="262" y="129"/>
                  </a:lnTo>
                  <a:lnTo>
                    <a:pt x="282" y="124"/>
                  </a:lnTo>
                  <a:lnTo>
                    <a:pt x="303" y="118"/>
                  </a:lnTo>
                  <a:lnTo>
                    <a:pt x="320" y="111"/>
                  </a:lnTo>
                  <a:lnTo>
                    <a:pt x="336" y="104"/>
                  </a:lnTo>
                  <a:lnTo>
                    <a:pt x="349" y="95"/>
                  </a:lnTo>
                  <a:lnTo>
                    <a:pt x="359" y="86"/>
                  </a:lnTo>
                  <a:lnTo>
                    <a:pt x="369" y="76"/>
                  </a:lnTo>
                  <a:lnTo>
                    <a:pt x="376" y="68"/>
                  </a:lnTo>
                  <a:lnTo>
                    <a:pt x="383" y="58"/>
                  </a:lnTo>
                  <a:lnTo>
                    <a:pt x="388" y="49"/>
                  </a:lnTo>
                  <a:lnTo>
                    <a:pt x="395" y="32"/>
                  </a:lnTo>
                  <a:lnTo>
                    <a:pt x="398" y="17"/>
                  </a:lnTo>
                  <a:lnTo>
                    <a:pt x="399" y="7"/>
                  </a:lnTo>
                  <a:lnTo>
                    <a:pt x="399" y="3"/>
                  </a:lnTo>
                  <a:lnTo>
                    <a:pt x="451" y="0"/>
                  </a:lnTo>
                  <a:lnTo>
                    <a:pt x="451" y="17"/>
                  </a:lnTo>
                  <a:lnTo>
                    <a:pt x="447" y="37"/>
                  </a:lnTo>
                  <a:lnTo>
                    <a:pt x="444" y="49"/>
                  </a:lnTo>
                  <a:lnTo>
                    <a:pt x="439" y="60"/>
                  </a:lnTo>
                  <a:lnTo>
                    <a:pt x="434" y="73"/>
                  </a:lnTo>
                  <a:lnTo>
                    <a:pt x="428" y="85"/>
                  </a:lnTo>
                  <a:lnTo>
                    <a:pt x="419" y="96"/>
                  </a:lnTo>
                  <a:lnTo>
                    <a:pt x="411" y="109"/>
                  </a:lnTo>
                  <a:lnTo>
                    <a:pt x="399" y="119"/>
                  </a:lnTo>
                  <a:lnTo>
                    <a:pt x="386" y="131"/>
                  </a:lnTo>
                  <a:lnTo>
                    <a:pt x="373" y="141"/>
                  </a:lnTo>
                  <a:lnTo>
                    <a:pt x="356" y="151"/>
                  </a:lnTo>
                  <a:lnTo>
                    <a:pt x="339" y="160"/>
                  </a:lnTo>
                  <a:lnTo>
                    <a:pt x="318" y="167"/>
                  </a:lnTo>
                  <a:lnTo>
                    <a:pt x="298" y="174"/>
                  </a:lnTo>
                  <a:lnTo>
                    <a:pt x="278" y="180"/>
                  </a:lnTo>
                  <a:lnTo>
                    <a:pt x="258" y="186"/>
                  </a:lnTo>
                  <a:lnTo>
                    <a:pt x="239" y="191"/>
                  </a:lnTo>
                  <a:lnTo>
                    <a:pt x="195" y="204"/>
                  </a:lnTo>
                  <a:lnTo>
                    <a:pt x="157" y="217"/>
                  </a:lnTo>
                  <a:lnTo>
                    <a:pt x="140" y="225"/>
                  </a:lnTo>
                  <a:lnTo>
                    <a:pt x="126" y="232"/>
                  </a:lnTo>
                  <a:lnTo>
                    <a:pt x="111" y="239"/>
                  </a:lnTo>
                  <a:lnTo>
                    <a:pt x="98" y="249"/>
                  </a:lnTo>
                  <a:lnTo>
                    <a:pt x="88" y="258"/>
                  </a:lnTo>
                  <a:lnTo>
                    <a:pt x="78" y="269"/>
                  </a:lnTo>
                  <a:lnTo>
                    <a:pt x="71" y="281"/>
                  </a:lnTo>
                  <a:lnTo>
                    <a:pt x="64" y="295"/>
                  </a:lnTo>
                  <a:lnTo>
                    <a:pt x="58" y="311"/>
                  </a:lnTo>
                  <a:lnTo>
                    <a:pt x="55" y="328"/>
                  </a:lnTo>
                  <a:lnTo>
                    <a:pt x="52" y="348"/>
                  </a:lnTo>
                  <a:lnTo>
                    <a:pt x="52" y="370"/>
                  </a:lnTo>
                  <a:lnTo>
                    <a:pt x="52" y="629"/>
                  </a:lnTo>
                  <a:lnTo>
                    <a:pt x="1026" y="629"/>
                  </a:lnTo>
                  <a:lnTo>
                    <a:pt x="1026" y="370"/>
                  </a:lnTo>
                  <a:lnTo>
                    <a:pt x="1026" y="348"/>
                  </a:lnTo>
                  <a:lnTo>
                    <a:pt x="1023" y="328"/>
                  </a:lnTo>
                  <a:lnTo>
                    <a:pt x="1018" y="311"/>
                  </a:lnTo>
                  <a:lnTo>
                    <a:pt x="1014" y="295"/>
                  </a:lnTo>
                  <a:lnTo>
                    <a:pt x="1007" y="281"/>
                  </a:lnTo>
                  <a:lnTo>
                    <a:pt x="1000" y="269"/>
                  </a:lnTo>
                  <a:lnTo>
                    <a:pt x="990" y="258"/>
                  </a:lnTo>
                  <a:lnTo>
                    <a:pt x="979" y="249"/>
                  </a:lnTo>
                  <a:lnTo>
                    <a:pt x="966" y="239"/>
                  </a:lnTo>
                  <a:lnTo>
                    <a:pt x="952" y="232"/>
                  </a:lnTo>
                  <a:lnTo>
                    <a:pt x="938" y="225"/>
                  </a:lnTo>
                  <a:lnTo>
                    <a:pt x="920" y="217"/>
                  </a:lnTo>
                  <a:lnTo>
                    <a:pt x="883" y="204"/>
                  </a:lnTo>
                  <a:lnTo>
                    <a:pt x="838" y="191"/>
                  </a:lnTo>
                  <a:lnTo>
                    <a:pt x="820" y="186"/>
                  </a:lnTo>
                  <a:lnTo>
                    <a:pt x="799" y="180"/>
                  </a:lnTo>
                  <a:lnTo>
                    <a:pt x="779" y="174"/>
                  </a:lnTo>
                  <a:lnTo>
                    <a:pt x="759" y="167"/>
                  </a:lnTo>
                  <a:lnTo>
                    <a:pt x="739" y="160"/>
                  </a:lnTo>
                  <a:lnTo>
                    <a:pt x="720" y="151"/>
                  </a:lnTo>
                  <a:lnTo>
                    <a:pt x="704" y="141"/>
                  </a:lnTo>
                  <a:lnTo>
                    <a:pt x="690" y="131"/>
                  </a:lnTo>
                  <a:lnTo>
                    <a:pt x="678" y="119"/>
                  </a:lnTo>
                  <a:lnTo>
                    <a:pt x="667" y="109"/>
                  </a:lnTo>
                  <a:lnTo>
                    <a:pt x="658" y="96"/>
                  </a:lnTo>
                  <a:lnTo>
                    <a:pt x="650" y="85"/>
                  </a:lnTo>
                  <a:lnTo>
                    <a:pt x="644" y="73"/>
                  </a:lnTo>
                  <a:lnTo>
                    <a:pt x="638" y="60"/>
                  </a:lnTo>
                  <a:lnTo>
                    <a:pt x="634" y="49"/>
                  </a:lnTo>
                  <a:lnTo>
                    <a:pt x="631" y="37"/>
                  </a:lnTo>
                  <a:lnTo>
                    <a:pt x="628" y="27"/>
                  </a:lnTo>
                  <a:lnTo>
                    <a:pt x="627" y="17"/>
                  </a:lnTo>
                  <a:lnTo>
                    <a:pt x="627" y="7"/>
                  </a:lnTo>
                  <a:lnTo>
                    <a:pt x="627" y="0"/>
                  </a:lnTo>
                  <a:lnTo>
                    <a:pt x="678" y="3"/>
                  </a:lnTo>
                  <a:lnTo>
                    <a:pt x="678" y="7"/>
                  </a:lnTo>
                  <a:lnTo>
                    <a:pt x="680" y="17"/>
                  </a:lnTo>
                  <a:lnTo>
                    <a:pt x="683" y="32"/>
                  </a:lnTo>
                  <a:lnTo>
                    <a:pt x="690" y="49"/>
                  </a:lnTo>
                  <a:lnTo>
                    <a:pt x="694" y="58"/>
                  </a:lnTo>
                  <a:lnTo>
                    <a:pt x="702" y="68"/>
                  </a:lnTo>
                  <a:lnTo>
                    <a:pt x="709" y="76"/>
                  </a:lnTo>
                  <a:lnTo>
                    <a:pt x="719" y="86"/>
                  </a:lnTo>
                  <a:lnTo>
                    <a:pt x="729" y="95"/>
                  </a:lnTo>
                  <a:lnTo>
                    <a:pt x="742" y="104"/>
                  </a:lnTo>
                  <a:lnTo>
                    <a:pt x="758" y="111"/>
                  </a:lnTo>
                  <a:lnTo>
                    <a:pt x="775" y="118"/>
                  </a:lnTo>
                  <a:lnTo>
                    <a:pt x="795" y="124"/>
                  </a:lnTo>
                  <a:lnTo>
                    <a:pt x="815" y="129"/>
                  </a:lnTo>
                  <a:lnTo>
                    <a:pt x="835" y="137"/>
                  </a:lnTo>
                  <a:lnTo>
                    <a:pt x="854" y="141"/>
                  </a:lnTo>
                  <a:lnTo>
                    <a:pt x="899" y="155"/>
                  </a:lnTo>
                  <a:lnTo>
                    <a:pt x="942" y="170"/>
                  </a:lnTo>
                  <a:lnTo>
                    <a:pt x="961" y="178"/>
                  </a:lnTo>
                  <a:lnTo>
                    <a:pt x="979" y="187"/>
                  </a:lnTo>
                  <a:lnTo>
                    <a:pt x="997" y="197"/>
                  </a:lnTo>
                  <a:lnTo>
                    <a:pt x="1013" y="209"/>
                  </a:lnTo>
                  <a:lnTo>
                    <a:pt x="1027" y="222"/>
                  </a:lnTo>
                  <a:lnTo>
                    <a:pt x="1040" y="236"/>
                  </a:lnTo>
                  <a:lnTo>
                    <a:pt x="1051" y="252"/>
                  </a:lnTo>
                  <a:lnTo>
                    <a:pt x="1060" y="271"/>
                  </a:lnTo>
                  <a:lnTo>
                    <a:pt x="1067" y="292"/>
                  </a:lnTo>
                  <a:lnTo>
                    <a:pt x="1073" y="315"/>
                  </a:lnTo>
                  <a:lnTo>
                    <a:pt x="1077" y="341"/>
                  </a:lnTo>
                  <a:lnTo>
                    <a:pt x="1077" y="370"/>
                  </a:lnTo>
                  <a:lnTo>
                    <a:pt x="1077"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32">
              <a:extLst>
                <a:ext uri="{FF2B5EF4-FFF2-40B4-BE49-F238E27FC236}">
                  <a16:creationId xmlns:a16="http://schemas.microsoft.com/office/drawing/2014/main" id="{CE9F1F29-02A7-4FE1-9415-8C40173F7336}"/>
                </a:ext>
              </a:extLst>
            </p:cNvPr>
            <p:cNvSpPr>
              <a:spLocks/>
            </p:cNvSpPr>
            <p:nvPr/>
          </p:nvSpPr>
          <p:spPr bwMode="auto">
            <a:xfrm>
              <a:off x="7334250" y="1268413"/>
              <a:ext cx="184150" cy="106363"/>
            </a:xfrm>
            <a:custGeom>
              <a:avLst/>
              <a:gdLst>
                <a:gd name="T0" fmla="*/ 174 w 348"/>
                <a:gd name="T1" fmla="*/ 200 h 200"/>
                <a:gd name="T2" fmla="*/ 168 w 348"/>
                <a:gd name="T3" fmla="*/ 200 h 200"/>
                <a:gd name="T4" fmla="*/ 164 w 348"/>
                <a:gd name="T5" fmla="*/ 198 h 200"/>
                <a:gd name="T6" fmla="*/ 159 w 348"/>
                <a:gd name="T7" fmla="*/ 196 h 200"/>
                <a:gd name="T8" fmla="*/ 155 w 348"/>
                <a:gd name="T9" fmla="*/ 193 h 200"/>
                <a:gd name="T10" fmla="*/ 7 w 348"/>
                <a:gd name="T11" fmla="*/ 44 h 200"/>
                <a:gd name="T12" fmla="*/ 4 w 348"/>
                <a:gd name="T13" fmla="*/ 40 h 200"/>
                <a:gd name="T14" fmla="*/ 1 w 348"/>
                <a:gd name="T15" fmla="*/ 36 h 200"/>
                <a:gd name="T16" fmla="*/ 0 w 348"/>
                <a:gd name="T17" fmla="*/ 31 h 200"/>
                <a:gd name="T18" fmla="*/ 0 w 348"/>
                <a:gd name="T19" fmla="*/ 26 h 200"/>
                <a:gd name="T20" fmla="*/ 0 w 348"/>
                <a:gd name="T21" fmla="*/ 21 h 200"/>
                <a:gd name="T22" fmla="*/ 1 w 348"/>
                <a:gd name="T23" fmla="*/ 16 h 200"/>
                <a:gd name="T24" fmla="*/ 4 w 348"/>
                <a:gd name="T25" fmla="*/ 11 h 200"/>
                <a:gd name="T26" fmla="*/ 7 w 348"/>
                <a:gd name="T27" fmla="*/ 7 h 200"/>
                <a:gd name="T28" fmla="*/ 11 w 348"/>
                <a:gd name="T29" fmla="*/ 4 h 200"/>
                <a:gd name="T30" fmla="*/ 15 w 348"/>
                <a:gd name="T31" fmla="*/ 1 h 200"/>
                <a:gd name="T32" fmla="*/ 20 w 348"/>
                <a:gd name="T33" fmla="*/ 0 h 200"/>
                <a:gd name="T34" fmla="*/ 25 w 348"/>
                <a:gd name="T35" fmla="*/ 0 h 200"/>
                <a:gd name="T36" fmla="*/ 30 w 348"/>
                <a:gd name="T37" fmla="*/ 0 h 200"/>
                <a:gd name="T38" fmla="*/ 36 w 348"/>
                <a:gd name="T39" fmla="*/ 1 h 200"/>
                <a:gd name="T40" fmla="*/ 40 w 348"/>
                <a:gd name="T41" fmla="*/ 4 h 200"/>
                <a:gd name="T42" fmla="*/ 44 w 348"/>
                <a:gd name="T43" fmla="*/ 7 h 200"/>
                <a:gd name="T44" fmla="*/ 174 w 348"/>
                <a:gd name="T45" fmla="*/ 138 h 200"/>
                <a:gd name="T46" fmla="*/ 303 w 348"/>
                <a:gd name="T47" fmla="*/ 8 h 200"/>
                <a:gd name="T48" fmla="*/ 308 w 348"/>
                <a:gd name="T49" fmla="*/ 4 h 200"/>
                <a:gd name="T50" fmla="*/ 312 w 348"/>
                <a:gd name="T51" fmla="*/ 3 h 200"/>
                <a:gd name="T52" fmla="*/ 316 w 348"/>
                <a:gd name="T53" fmla="*/ 1 h 200"/>
                <a:gd name="T54" fmla="*/ 322 w 348"/>
                <a:gd name="T55" fmla="*/ 0 h 200"/>
                <a:gd name="T56" fmla="*/ 326 w 348"/>
                <a:gd name="T57" fmla="*/ 1 h 200"/>
                <a:gd name="T58" fmla="*/ 331 w 348"/>
                <a:gd name="T59" fmla="*/ 3 h 200"/>
                <a:gd name="T60" fmla="*/ 337 w 348"/>
                <a:gd name="T61" fmla="*/ 4 h 200"/>
                <a:gd name="T62" fmla="*/ 341 w 348"/>
                <a:gd name="T63" fmla="*/ 8 h 200"/>
                <a:gd name="T64" fmla="*/ 344 w 348"/>
                <a:gd name="T65" fmla="*/ 13 h 200"/>
                <a:gd name="T66" fmla="*/ 345 w 348"/>
                <a:gd name="T67" fmla="*/ 17 h 200"/>
                <a:gd name="T68" fmla="*/ 347 w 348"/>
                <a:gd name="T69" fmla="*/ 21 h 200"/>
                <a:gd name="T70" fmla="*/ 348 w 348"/>
                <a:gd name="T71" fmla="*/ 27 h 200"/>
                <a:gd name="T72" fmla="*/ 347 w 348"/>
                <a:gd name="T73" fmla="*/ 31 h 200"/>
                <a:gd name="T74" fmla="*/ 345 w 348"/>
                <a:gd name="T75" fmla="*/ 36 h 200"/>
                <a:gd name="T76" fmla="*/ 344 w 348"/>
                <a:gd name="T77" fmla="*/ 40 h 200"/>
                <a:gd name="T78" fmla="*/ 341 w 348"/>
                <a:gd name="T79" fmla="*/ 44 h 200"/>
                <a:gd name="T80" fmla="*/ 193 w 348"/>
                <a:gd name="T81" fmla="*/ 193 h 200"/>
                <a:gd name="T82" fmla="*/ 188 w 348"/>
                <a:gd name="T83" fmla="*/ 196 h 200"/>
                <a:gd name="T84" fmla="*/ 184 w 348"/>
                <a:gd name="T85" fmla="*/ 198 h 200"/>
                <a:gd name="T86" fmla="*/ 180 w 348"/>
                <a:gd name="T87" fmla="*/ 200 h 200"/>
                <a:gd name="T88" fmla="*/ 174 w 348"/>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8" h="200">
                  <a:moveTo>
                    <a:pt x="174" y="200"/>
                  </a:moveTo>
                  <a:lnTo>
                    <a:pt x="168" y="200"/>
                  </a:lnTo>
                  <a:lnTo>
                    <a:pt x="164" y="198"/>
                  </a:lnTo>
                  <a:lnTo>
                    <a:pt x="159" y="196"/>
                  </a:lnTo>
                  <a:lnTo>
                    <a:pt x="155" y="193"/>
                  </a:lnTo>
                  <a:lnTo>
                    <a:pt x="7" y="44"/>
                  </a:lnTo>
                  <a:lnTo>
                    <a:pt x="4" y="40"/>
                  </a:lnTo>
                  <a:lnTo>
                    <a:pt x="1" y="36"/>
                  </a:lnTo>
                  <a:lnTo>
                    <a:pt x="0" y="31"/>
                  </a:lnTo>
                  <a:lnTo>
                    <a:pt x="0" y="26"/>
                  </a:lnTo>
                  <a:lnTo>
                    <a:pt x="0" y="21"/>
                  </a:lnTo>
                  <a:lnTo>
                    <a:pt x="1" y="16"/>
                  </a:lnTo>
                  <a:lnTo>
                    <a:pt x="4" y="11"/>
                  </a:lnTo>
                  <a:lnTo>
                    <a:pt x="7" y="7"/>
                  </a:lnTo>
                  <a:lnTo>
                    <a:pt x="11" y="4"/>
                  </a:lnTo>
                  <a:lnTo>
                    <a:pt x="15" y="1"/>
                  </a:lnTo>
                  <a:lnTo>
                    <a:pt x="20" y="0"/>
                  </a:lnTo>
                  <a:lnTo>
                    <a:pt x="25" y="0"/>
                  </a:lnTo>
                  <a:lnTo>
                    <a:pt x="30" y="0"/>
                  </a:lnTo>
                  <a:lnTo>
                    <a:pt x="36" y="1"/>
                  </a:lnTo>
                  <a:lnTo>
                    <a:pt x="40" y="4"/>
                  </a:lnTo>
                  <a:lnTo>
                    <a:pt x="44" y="7"/>
                  </a:lnTo>
                  <a:lnTo>
                    <a:pt x="174" y="138"/>
                  </a:lnTo>
                  <a:lnTo>
                    <a:pt x="303" y="8"/>
                  </a:lnTo>
                  <a:lnTo>
                    <a:pt x="308" y="4"/>
                  </a:lnTo>
                  <a:lnTo>
                    <a:pt x="312" y="3"/>
                  </a:lnTo>
                  <a:lnTo>
                    <a:pt x="316" y="1"/>
                  </a:lnTo>
                  <a:lnTo>
                    <a:pt x="322" y="0"/>
                  </a:lnTo>
                  <a:lnTo>
                    <a:pt x="326" y="1"/>
                  </a:lnTo>
                  <a:lnTo>
                    <a:pt x="331" y="3"/>
                  </a:lnTo>
                  <a:lnTo>
                    <a:pt x="337" y="4"/>
                  </a:lnTo>
                  <a:lnTo>
                    <a:pt x="341" y="8"/>
                  </a:lnTo>
                  <a:lnTo>
                    <a:pt x="344" y="13"/>
                  </a:lnTo>
                  <a:lnTo>
                    <a:pt x="345" y="17"/>
                  </a:lnTo>
                  <a:lnTo>
                    <a:pt x="347" y="21"/>
                  </a:lnTo>
                  <a:lnTo>
                    <a:pt x="348" y="27"/>
                  </a:lnTo>
                  <a:lnTo>
                    <a:pt x="347" y="31"/>
                  </a:lnTo>
                  <a:lnTo>
                    <a:pt x="345" y="36"/>
                  </a:lnTo>
                  <a:lnTo>
                    <a:pt x="344" y="40"/>
                  </a:lnTo>
                  <a:lnTo>
                    <a:pt x="341" y="44"/>
                  </a:lnTo>
                  <a:lnTo>
                    <a:pt x="193" y="193"/>
                  </a:lnTo>
                  <a:lnTo>
                    <a:pt x="188" y="196"/>
                  </a:lnTo>
                  <a:lnTo>
                    <a:pt x="184" y="198"/>
                  </a:lnTo>
                  <a:lnTo>
                    <a:pt x="180" y="200"/>
                  </a:lnTo>
                  <a:lnTo>
                    <a:pt x="174"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33">
              <a:extLst>
                <a:ext uri="{FF2B5EF4-FFF2-40B4-BE49-F238E27FC236}">
                  <a16:creationId xmlns:a16="http://schemas.microsoft.com/office/drawing/2014/main" id="{1F77BA51-7436-485B-A8E0-3A0044D0CD42}"/>
                </a:ext>
              </a:extLst>
            </p:cNvPr>
            <p:cNvSpPr>
              <a:spLocks/>
            </p:cNvSpPr>
            <p:nvPr/>
          </p:nvSpPr>
          <p:spPr bwMode="auto">
            <a:xfrm>
              <a:off x="7348538" y="1336676"/>
              <a:ext cx="68263" cy="258763"/>
            </a:xfrm>
            <a:custGeom>
              <a:avLst/>
              <a:gdLst>
                <a:gd name="T0" fmla="*/ 26 w 129"/>
                <a:gd name="T1" fmla="*/ 488 h 488"/>
                <a:gd name="T2" fmla="*/ 23 w 129"/>
                <a:gd name="T3" fmla="*/ 488 h 488"/>
                <a:gd name="T4" fmla="*/ 21 w 129"/>
                <a:gd name="T5" fmla="*/ 488 h 488"/>
                <a:gd name="T6" fmla="*/ 15 w 129"/>
                <a:gd name="T7" fmla="*/ 485 h 488"/>
                <a:gd name="T8" fmla="*/ 10 w 129"/>
                <a:gd name="T9" fmla="*/ 484 h 488"/>
                <a:gd name="T10" fmla="*/ 8 w 129"/>
                <a:gd name="T11" fmla="*/ 479 h 488"/>
                <a:gd name="T12" fmla="*/ 3 w 129"/>
                <a:gd name="T13" fmla="*/ 476 h 488"/>
                <a:gd name="T14" fmla="*/ 2 w 129"/>
                <a:gd name="T15" fmla="*/ 471 h 488"/>
                <a:gd name="T16" fmla="*/ 0 w 129"/>
                <a:gd name="T17" fmla="*/ 466 h 488"/>
                <a:gd name="T18" fmla="*/ 0 w 129"/>
                <a:gd name="T19" fmla="*/ 462 h 488"/>
                <a:gd name="T20" fmla="*/ 0 w 129"/>
                <a:gd name="T21" fmla="*/ 456 h 488"/>
                <a:gd name="T22" fmla="*/ 74 w 129"/>
                <a:gd name="T23" fmla="*/ 138 h 488"/>
                <a:gd name="T24" fmla="*/ 25 w 129"/>
                <a:gd name="T25" fmla="*/ 89 h 488"/>
                <a:gd name="T26" fmla="*/ 22 w 129"/>
                <a:gd name="T27" fmla="*/ 85 h 488"/>
                <a:gd name="T28" fmla="*/ 19 w 129"/>
                <a:gd name="T29" fmla="*/ 80 h 488"/>
                <a:gd name="T30" fmla="*/ 18 w 129"/>
                <a:gd name="T31" fmla="*/ 75 h 488"/>
                <a:gd name="T32" fmla="*/ 18 w 129"/>
                <a:gd name="T33" fmla="*/ 70 h 488"/>
                <a:gd name="T34" fmla="*/ 18 w 129"/>
                <a:gd name="T35" fmla="*/ 65 h 488"/>
                <a:gd name="T36" fmla="*/ 19 w 129"/>
                <a:gd name="T37" fmla="*/ 60 h 488"/>
                <a:gd name="T38" fmla="*/ 22 w 129"/>
                <a:gd name="T39" fmla="*/ 56 h 488"/>
                <a:gd name="T40" fmla="*/ 25 w 129"/>
                <a:gd name="T41" fmla="*/ 52 h 488"/>
                <a:gd name="T42" fmla="*/ 68 w 129"/>
                <a:gd name="T43" fmla="*/ 8 h 488"/>
                <a:gd name="T44" fmla="*/ 72 w 129"/>
                <a:gd name="T45" fmla="*/ 4 h 488"/>
                <a:gd name="T46" fmla="*/ 77 w 129"/>
                <a:gd name="T47" fmla="*/ 3 h 488"/>
                <a:gd name="T48" fmla="*/ 82 w 129"/>
                <a:gd name="T49" fmla="*/ 1 h 488"/>
                <a:gd name="T50" fmla="*/ 87 w 129"/>
                <a:gd name="T51" fmla="*/ 0 h 488"/>
                <a:gd name="T52" fmla="*/ 93 w 129"/>
                <a:gd name="T53" fmla="*/ 1 h 488"/>
                <a:gd name="T54" fmla="*/ 97 w 129"/>
                <a:gd name="T55" fmla="*/ 3 h 488"/>
                <a:gd name="T56" fmla="*/ 101 w 129"/>
                <a:gd name="T57" fmla="*/ 4 h 488"/>
                <a:gd name="T58" fmla="*/ 105 w 129"/>
                <a:gd name="T59" fmla="*/ 8 h 488"/>
                <a:gd name="T60" fmla="*/ 108 w 129"/>
                <a:gd name="T61" fmla="*/ 13 h 488"/>
                <a:gd name="T62" fmla="*/ 111 w 129"/>
                <a:gd name="T63" fmla="*/ 17 h 488"/>
                <a:gd name="T64" fmla="*/ 113 w 129"/>
                <a:gd name="T65" fmla="*/ 21 h 488"/>
                <a:gd name="T66" fmla="*/ 113 w 129"/>
                <a:gd name="T67" fmla="*/ 27 h 488"/>
                <a:gd name="T68" fmla="*/ 113 w 129"/>
                <a:gd name="T69" fmla="*/ 32 h 488"/>
                <a:gd name="T70" fmla="*/ 111 w 129"/>
                <a:gd name="T71" fmla="*/ 36 h 488"/>
                <a:gd name="T72" fmla="*/ 108 w 129"/>
                <a:gd name="T73" fmla="*/ 42 h 488"/>
                <a:gd name="T74" fmla="*/ 105 w 129"/>
                <a:gd name="T75" fmla="*/ 44 h 488"/>
                <a:gd name="T76" fmla="*/ 81 w 129"/>
                <a:gd name="T77" fmla="*/ 70 h 488"/>
                <a:gd name="T78" fmla="*/ 121 w 129"/>
                <a:gd name="T79" fmla="*/ 111 h 488"/>
                <a:gd name="T80" fmla="*/ 126 w 129"/>
                <a:gd name="T81" fmla="*/ 116 h 488"/>
                <a:gd name="T82" fmla="*/ 129 w 129"/>
                <a:gd name="T83" fmla="*/ 122 h 488"/>
                <a:gd name="T84" fmla="*/ 129 w 129"/>
                <a:gd name="T85" fmla="*/ 129 h 488"/>
                <a:gd name="T86" fmla="*/ 129 w 129"/>
                <a:gd name="T87" fmla="*/ 135 h 488"/>
                <a:gd name="T88" fmla="*/ 51 w 129"/>
                <a:gd name="T89" fmla="*/ 468 h 488"/>
                <a:gd name="T90" fmla="*/ 51 w 129"/>
                <a:gd name="T91" fmla="*/ 472 h 488"/>
                <a:gd name="T92" fmla="*/ 48 w 129"/>
                <a:gd name="T93" fmla="*/ 476 h 488"/>
                <a:gd name="T94" fmla="*/ 45 w 129"/>
                <a:gd name="T95" fmla="*/ 479 h 488"/>
                <a:gd name="T96" fmla="*/ 42 w 129"/>
                <a:gd name="T97" fmla="*/ 482 h 488"/>
                <a:gd name="T98" fmla="*/ 35 w 129"/>
                <a:gd name="T99" fmla="*/ 487 h 488"/>
                <a:gd name="T100" fmla="*/ 26 w 129"/>
                <a:gd name="T101"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9" h="488">
                  <a:moveTo>
                    <a:pt x="26" y="488"/>
                  </a:moveTo>
                  <a:lnTo>
                    <a:pt x="23" y="488"/>
                  </a:lnTo>
                  <a:lnTo>
                    <a:pt x="21" y="488"/>
                  </a:lnTo>
                  <a:lnTo>
                    <a:pt x="15" y="485"/>
                  </a:lnTo>
                  <a:lnTo>
                    <a:pt x="10" y="484"/>
                  </a:lnTo>
                  <a:lnTo>
                    <a:pt x="8" y="479"/>
                  </a:lnTo>
                  <a:lnTo>
                    <a:pt x="3" y="476"/>
                  </a:lnTo>
                  <a:lnTo>
                    <a:pt x="2" y="471"/>
                  </a:lnTo>
                  <a:lnTo>
                    <a:pt x="0" y="466"/>
                  </a:lnTo>
                  <a:lnTo>
                    <a:pt x="0" y="462"/>
                  </a:lnTo>
                  <a:lnTo>
                    <a:pt x="0" y="456"/>
                  </a:lnTo>
                  <a:lnTo>
                    <a:pt x="74" y="138"/>
                  </a:lnTo>
                  <a:lnTo>
                    <a:pt x="25" y="89"/>
                  </a:lnTo>
                  <a:lnTo>
                    <a:pt x="22" y="85"/>
                  </a:lnTo>
                  <a:lnTo>
                    <a:pt x="19" y="80"/>
                  </a:lnTo>
                  <a:lnTo>
                    <a:pt x="18" y="75"/>
                  </a:lnTo>
                  <a:lnTo>
                    <a:pt x="18" y="70"/>
                  </a:lnTo>
                  <a:lnTo>
                    <a:pt x="18" y="65"/>
                  </a:lnTo>
                  <a:lnTo>
                    <a:pt x="19" y="60"/>
                  </a:lnTo>
                  <a:lnTo>
                    <a:pt x="22" y="56"/>
                  </a:lnTo>
                  <a:lnTo>
                    <a:pt x="25" y="52"/>
                  </a:lnTo>
                  <a:lnTo>
                    <a:pt x="68" y="8"/>
                  </a:lnTo>
                  <a:lnTo>
                    <a:pt x="72" y="4"/>
                  </a:lnTo>
                  <a:lnTo>
                    <a:pt x="77" y="3"/>
                  </a:lnTo>
                  <a:lnTo>
                    <a:pt x="82" y="1"/>
                  </a:lnTo>
                  <a:lnTo>
                    <a:pt x="87" y="0"/>
                  </a:lnTo>
                  <a:lnTo>
                    <a:pt x="93" y="1"/>
                  </a:lnTo>
                  <a:lnTo>
                    <a:pt x="97" y="3"/>
                  </a:lnTo>
                  <a:lnTo>
                    <a:pt x="101" y="4"/>
                  </a:lnTo>
                  <a:lnTo>
                    <a:pt x="105" y="8"/>
                  </a:lnTo>
                  <a:lnTo>
                    <a:pt x="108" y="13"/>
                  </a:lnTo>
                  <a:lnTo>
                    <a:pt x="111" y="17"/>
                  </a:lnTo>
                  <a:lnTo>
                    <a:pt x="113" y="21"/>
                  </a:lnTo>
                  <a:lnTo>
                    <a:pt x="113" y="27"/>
                  </a:lnTo>
                  <a:lnTo>
                    <a:pt x="113" y="32"/>
                  </a:lnTo>
                  <a:lnTo>
                    <a:pt x="111" y="36"/>
                  </a:lnTo>
                  <a:lnTo>
                    <a:pt x="108" y="42"/>
                  </a:lnTo>
                  <a:lnTo>
                    <a:pt x="105" y="44"/>
                  </a:lnTo>
                  <a:lnTo>
                    <a:pt x="81" y="70"/>
                  </a:lnTo>
                  <a:lnTo>
                    <a:pt x="121" y="111"/>
                  </a:lnTo>
                  <a:lnTo>
                    <a:pt x="126" y="116"/>
                  </a:lnTo>
                  <a:lnTo>
                    <a:pt x="129" y="122"/>
                  </a:lnTo>
                  <a:lnTo>
                    <a:pt x="129" y="129"/>
                  </a:lnTo>
                  <a:lnTo>
                    <a:pt x="129" y="135"/>
                  </a:lnTo>
                  <a:lnTo>
                    <a:pt x="51" y="468"/>
                  </a:lnTo>
                  <a:lnTo>
                    <a:pt x="51" y="472"/>
                  </a:lnTo>
                  <a:lnTo>
                    <a:pt x="48" y="476"/>
                  </a:lnTo>
                  <a:lnTo>
                    <a:pt x="45" y="479"/>
                  </a:lnTo>
                  <a:lnTo>
                    <a:pt x="42" y="482"/>
                  </a:lnTo>
                  <a:lnTo>
                    <a:pt x="35" y="487"/>
                  </a:lnTo>
                  <a:lnTo>
                    <a:pt x="26"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34">
              <a:extLst>
                <a:ext uri="{FF2B5EF4-FFF2-40B4-BE49-F238E27FC236}">
                  <a16:creationId xmlns:a16="http://schemas.microsoft.com/office/drawing/2014/main" id="{29B9F2C6-A3B6-4A15-BD9F-EB25F37F36FD}"/>
                </a:ext>
              </a:extLst>
            </p:cNvPr>
            <p:cNvSpPr>
              <a:spLocks/>
            </p:cNvSpPr>
            <p:nvPr/>
          </p:nvSpPr>
          <p:spPr bwMode="auto">
            <a:xfrm>
              <a:off x="7435850" y="1336676"/>
              <a:ext cx="69850" cy="258763"/>
            </a:xfrm>
            <a:custGeom>
              <a:avLst/>
              <a:gdLst>
                <a:gd name="T0" fmla="*/ 104 w 130"/>
                <a:gd name="T1" fmla="*/ 488 h 488"/>
                <a:gd name="T2" fmla="*/ 95 w 130"/>
                <a:gd name="T3" fmla="*/ 487 h 488"/>
                <a:gd name="T4" fmla="*/ 88 w 130"/>
                <a:gd name="T5" fmla="*/ 482 h 488"/>
                <a:gd name="T6" fmla="*/ 83 w 130"/>
                <a:gd name="T7" fmla="*/ 479 h 488"/>
                <a:gd name="T8" fmla="*/ 82 w 130"/>
                <a:gd name="T9" fmla="*/ 476 h 488"/>
                <a:gd name="T10" fmla="*/ 79 w 130"/>
                <a:gd name="T11" fmla="*/ 472 h 488"/>
                <a:gd name="T12" fmla="*/ 78 w 130"/>
                <a:gd name="T13" fmla="*/ 468 h 488"/>
                <a:gd name="T14" fmla="*/ 1 w 130"/>
                <a:gd name="T15" fmla="*/ 135 h 488"/>
                <a:gd name="T16" fmla="*/ 0 w 130"/>
                <a:gd name="T17" fmla="*/ 129 h 488"/>
                <a:gd name="T18" fmla="*/ 1 w 130"/>
                <a:gd name="T19" fmla="*/ 122 h 488"/>
                <a:gd name="T20" fmla="*/ 4 w 130"/>
                <a:gd name="T21" fmla="*/ 116 h 488"/>
                <a:gd name="T22" fmla="*/ 7 w 130"/>
                <a:gd name="T23" fmla="*/ 111 h 488"/>
                <a:gd name="T24" fmla="*/ 49 w 130"/>
                <a:gd name="T25" fmla="*/ 70 h 488"/>
                <a:gd name="T26" fmla="*/ 24 w 130"/>
                <a:gd name="T27" fmla="*/ 44 h 488"/>
                <a:gd name="T28" fmla="*/ 20 w 130"/>
                <a:gd name="T29" fmla="*/ 42 h 488"/>
                <a:gd name="T30" fmla="*/ 19 w 130"/>
                <a:gd name="T31" fmla="*/ 36 h 488"/>
                <a:gd name="T32" fmla="*/ 17 w 130"/>
                <a:gd name="T33" fmla="*/ 32 h 488"/>
                <a:gd name="T34" fmla="*/ 16 w 130"/>
                <a:gd name="T35" fmla="*/ 27 h 488"/>
                <a:gd name="T36" fmla="*/ 17 w 130"/>
                <a:gd name="T37" fmla="*/ 21 h 488"/>
                <a:gd name="T38" fmla="*/ 19 w 130"/>
                <a:gd name="T39" fmla="*/ 17 h 488"/>
                <a:gd name="T40" fmla="*/ 20 w 130"/>
                <a:gd name="T41" fmla="*/ 13 h 488"/>
                <a:gd name="T42" fmla="*/ 24 w 130"/>
                <a:gd name="T43" fmla="*/ 8 h 488"/>
                <a:gd name="T44" fmla="*/ 27 w 130"/>
                <a:gd name="T45" fmla="*/ 4 h 488"/>
                <a:gd name="T46" fmla="*/ 33 w 130"/>
                <a:gd name="T47" fmla="*/ 3 h 488"/>
                <a:gd name="T48" fmla="*/ 37 w 130"/>
                <a:gd name="T49" fmla="*/ 1 h 488"/>
                <a:gd name="T50" fmla="*/ 42 w 130"/>
                <a:gd name="T51" fmla="*/ 0 h 488"/>
                <a:gd name="T52" fmla="*/ 47 w 130"/>
                <a:gd name="T53" fmla="*/ 1 h 488"/>
                <a:gd name="T54" fmla="*/ 52 w 130"/>
                <a:gd name="T55" fmla="*/ 3 h 488"/>
                <a:gd name="T56" fmla="*/ 56 w 130"/>
                <a:gd name="T57" fmla="*/ 4 h 488"/>
                <a:gd name="T58" fmla="*/ 60 w 130"/>
                <a:gd name="T59" fmla="*/ 8 h 488"/>
                <a:gd name="T60" fmla="*/ 104 w 130"/>
                <a:gd name="T61" fmla="*/ 52 h 488"/>
                <a:gd name="T62" fmla="*/ 108 w 130"/>
                <a:gd name="T63" fmla="*/ 56 h 488"/>
                <a:gd name="T64" fmla="*/ 109 w 130"/>
                <a:gd name="T65" fmla="*/ 60 h 488"/>
                <a:gd name="T66" fmla="*/ 111 w 130"/>
                <a:gd name="T67" fmla="*/ 65 h 488"/>
                <a:gd name="T68" fmla="*/ 112 w 130"/>
                <a:gd name="T69" fmla="*/ 70 h 488"/>
                <a:gd name="T70" fmla="*/ 111 w 130"/>
                <a:gd name="T71" fmla="*/ 75 h 488"/>
                <a:gd name="T72" fmla="*/ 109 w 130"/>
                <a:gd name="T73" fmla="*/ 80 h 488"/>
                <a:gd name="T74" fmla="*/ 108 w 130"/>
                <a:gd name="T75" fmla="*/ 85 h 488"/>
                <a:gd name="T76" fmla="*/ 104 w 130"/>
                <a:gd name="T77" fmla="*/ 89 h 488"/>
                <a:gd name="T78" fmla="*/ 55 w 130"/>
                <a:gd name="T79" fmla="*/ 138 h 488"/>
                <a:gd name="T80" fmla="*/ 128 w 130"/>
                <a:gd name="T81" fmla="*/ 456 h 488"/>
                <a:gd name="T82" fmla="*/ 130 w 130"/>
                <a:gd name="T83" fmla="*/ 462 h 488"/>
                <a:gd name="T84" fmla="*/ 130 w 130"/>
                <a:gd name="T85" fmla="*/ 466 h 488"/>
                <a:gd name="T86" fmla="*/ 128 w 130"/>
                <a:gd name="T87" fmla="*/ 471 h 488"/>
                <a:gd name="T88" fmla="*/ 125 w 130"/>
                <a:gd name="T89" fmla="*/ 476 h 488"/>
                <a:gd name="T90" fmla="*/ 122 w 130"/>
                <a:gd name="T91" fmla="*/ 479 h 488"/>
                <a:gd name="T92" fmla="*/ 118 w 130"/>
                <a:gd name="T93" fmla="*/ 484 h 488"/>
                <a:gd name="T94" fmla="*/ 114 w 130"/>
                <a:gd name="T95" fmla="*/ 485 h 488"/>
                <a:gd name="T96" fmla="*/ 109 w 130"/>
                <a:gd name="T97" fmla="*/ 488 h 488"/>
                <a:gd name="T98" fmla="*/ 107 w 130"/>
                <a:gd name="T99" fmla="*/ 488 h 488"/>
                <a:gd name="T100" fmla="*/ 104 w 130"/>
                <a:gd name="T101"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 h="488">
                  <a:moveTo>
                    <a:pt x="104" y="488"/>
                  </a:moveTo>
                  <a:lnTo>
                    <a:pt x="95" y="487"/>
                  </a:lnTo>
                  <a:lnTo>
                    <a:pt x="88" y="482"/>
                  </a:lnTo>
                  <a:lnTo>
                    <a:pt x="83" y="479"/>
                  </a:lnTo>
                  <a:lnTo>
                    <a:pt x="82" y="476"/>
                  </a:lnTo>
                  <a:lnTo>
                    <a:pt x="79" y="472"/>
                  </a:lnTo>
                  <a:lnTo>
                    <a:pt x="78" y="468"/>
                  </a:lnTo>
                  <a:lnTo>
                    <a:pt x="1" y="135"/>
                  </a:lnTo>
                  <a:lnTo>
                    <a:pt x="0" y="129"/>
                  </a:lnTo>
                  <a:lnTo>
                    <a:pt x="1" y="122"/>
                  </a:lnTo>
                  <a:lnTo>
                    <a:pt x="4" y="116"/>
                  </a:lnTo>
                  <a:lnTo>
                    <a:pt x="7" y="111"/>
                  </a:lnTo>
                  <a:lnTo>
                    <a:pt x="49" y="70"/>
                  </a:lnTo>
                  <a:lnTo>
                    <a:pt x="24" y="44"/>
                  </a:lnTo>
                  <a:lnTo>
                    <a:pt x="20" y="42"/>
                  </a:lnTo>
                  <a:lnTo>
                    <a:pt x="19" y="36"/>
                  </a:lnTo>
                  <a:lnTo>
                    <a:pt x="17" y="32"/>
                  </a:lnTo>
                  <a:lnTo>
                    <a:pt x="16" y="27"/>
                  </a:lnTo>
                  <a:lnTo>
                    <a:pt x="17" y="21"/>
                  </a:lnTo>
                  <a:lnTo>
                    <a:pt x="19" y="17"/>
                  </a:lnTo>
                  <a:lnTo>
                    <a:pt x="20" y="13"/>
                  </a:lnTo>
                  <a:lnTo>
                    <a:pt x="24" y="8"/>
                  </a:lnTo>
                  <a:lnTo>
                    <a:pt x="27" y="4"/>
                  </a:lnTo>
                  <a:lnTo>
                    <a:pt x="33" y="3"/>
                  </a:lnTo>
                  <a:lnTo>
                    <a:pt x="37" y="1"/>
                  </a:lnTo>
                  <a:lnTo>
                    <a:pt x="42" y="0"/>
                  </a:lnTo>
                  <a:lnTo>
                    <a:pt x="47" y="1"/>
                  </a:lnTo>
                  <a:lnTo>
                    <a:pt x="52" y="3"/>
                  </a:lnTo>
                  <a:lnTo>
                    <a:pt x="56" y="4"/>
                  </a:lnTo>
                  <a:lnTo>
                    <a:pt x="60" y="8"/>
                  </a:lnTo>
                  <a:lnTo>
                    <a:pt x="104" y="52"/>
                  </a:lnTo>
                  <a:lnTo>
                    <a:pt x="108" y="56"/>
                  </a:lnTo>
                  <a:lnTo>
                    <a:pt x="109" y="60"/>
                  </a:lnTo>
                  <a:lnTo>
                    <a:pt x="111" y="65"/>
                  </a:lnTo>
                  <a:lnTo>
                    <a:pt x="112" y="70"/>
                  </a:lnTo>
                  <a:lnTo>
                    <a:pt x="111" y="75"/>
                  </a:lnTo>
                  <a:lnTo>
                    <a:pt x="109" y="80"/>
                  </a:lnTo>
                  <a:lnTo>
                    <a:pt x="108" y="85"/>
                  </a:lnTo>
                  <a:lnTo>
                    <a:pt x="104" y="89"/>
                  </a:lnTo>
                  <a:lnTo>
                    <a:pt x="55" y="138"/>
                  </a:lnTo>
                  <a:lnTo>
                    <a:pt x="128" y="456"/>
                  </a:lnTo>
                  <a:lnTo>
                    <a:pt x="130" y="462"/>
                  </a:lnTo>
                  <a:lnTo>
                    <a:pt x="130" y="466"/>
                  </a:lnTo>
                  <a:lnTo>
                    <a:pt x="128" y="471"/>
                  </a:lnTo>
                  <a:lnTo>
                    <a:pt x="125" y="476"/>
                  </a:lnTo>
                  <a:lnTo>
                    <a:pt x="122" y="479"/>
                  </a:lnTo>
                  <a:lnTo>
                    <a:pt x="118" y="484"/>
                  </a:lnTo>
                  <a:lnTo>
                    <a:pt x="114" y="485"/>
                  </a:lnTo>
                  <a:lnTo>
                    <a:pt x="109" y="488"/>
                  </a:lnTo>
                  <a:lnTo>
                    <a:pt x="107" y="488"/>
                  </a:lnTo>
                  <a:lnTo>
                    <a:pt x="104"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35">
              <a:extLst>
                <a:ext uri="{FF2B5EF4-FFF2-40B4-BE49-F238E27FC236}">
                  <a16:creationId xmlns:a16="http://schemas.microsoft.com/office/drawing/2014/main" id="{6373D45B-8BAF-4B72-BB87-0466C0D1677F}"/>
                </a:ext>
              </a:extLst>
            </p:cNvPr>
            <p:cNvSpPr>
              <a:spLocks/>
            </p:cNvSpPr>
            <p:nvPr/>
          </p:nvSpPr>
          <p:spPr bwMode="auto">
            <a:xfrm>
              <a:off x="7389813" y="1393826"/>
              <a:ext cx="74613" cy="28575"/>
            </a:xfrm>
            <a:custGeom>
              <a:avLst/>
              <a:gdLst>
                <a:gd name="T0" fmla="*/ 115 w 141"/>
                <a:gd name="T1" fmla="*/ 52 h 52"/>
                <a:gd name="T2" fmla="*/ 26 w 141"/>
                <a:gd name="T3" fmla="*/ 52 h 52"/>
                <a:gd name="T4" fmla="*/ 21 w 141"/>
                <a:gd name="T5" fmla="*/ 52 h 52"/>
                <a:gd name="T6" fmla="*/ 16 w 141"/>
                <a:gd name="T7" fmla="*/ 51 h 52"/>
                <a:gd name="T8" fmla="*/ 11 w 141"/>
                <a:gd name="T9" fmla="*/ 48 h 52"/>
                <a:gd name="T10" fmla="*/ 7 w 141"/>
                <a:gd name="T11" fmla="*/ 45 h 52"/>
                <a:gd name="T12" fmla="*/ 4 w 141"/>
                <a:gd name="T13" fmla="*/ 41 h 52"/>
                <a:gd name="T14" fmla="*/ 3 w 141"/>
                <a:gd name="T15" fmla="*/ 36 h 52"/>
                <a:gd name="T16" fmla="*/ 1 w 141"/>
                <a:gd name="T17" fmla="*/ 32 h 52"/>
                <a:gd name="T18" fmla="*/ 0 w 141"/>
                <a:gd name="T19" fmla="*/ 26 h 52"/>
                <a:gd name="T20" fmla="*/ 1 w 141"/>
                <a:gd name="T21" fmla="*/ 20 h 52"/>
                <a:gd name="T22" fmla="*/ 3 w 141"/>
                <a:gd name="T23" fmla="*/ 16 h 52"/>
                <a:gd name="T24" fmla="*/ 4 w 141"/>
                <a:gd name="T25" fmla="*/ 12 h 52"/>
                <a:gd name="T26" fmla="*/ 7 w 141"/>
                <a:gd name="T27" fmla="*/ 7 h 52"/>
                <a:gd name="T28" fmla="*/ 11 w 141"/>
                <a:gd name="T29" fmla="*/ 5 h 52"/>
                <a:gd name="T30" fmla="*/ 16 w 141"/>
                <a:gd name="T31" fmla="*/ 2 h 52"/>
                <a:gd name="T32" fmla="*/ 21 w 141"/>
                <a:gd name="T33" fmla="*/ 0 h 52"/>
                <a:gd name="T34" fmla="*/ 26 w 141"/>
                <a:gd name="T35" fmla="*/ 0 h 52"/>
                <a:gd name="T36" fmla="*/ 115 w 141"/>
                <a:gd name="T37" fmla="*/ 0 h 52"/>
                <a:gd name="T38" fmla="*/ 121 w 141"/>
                <a:gd name="T39" fmla="*/ 0 h 52"/>
                <a:gd name="T40" fmla="*/ 125 w 141"/>
                <a:gd name="T41" fmla="*/ 2 h 52"/>
                <a:gd name="T42" fmla="*/ 129 w 141"/>
                <a:gd name="T43" fmla="*/ 5 h 52"/>
                <a:gd name="T44" fmla="*/ 134 w 141"/>
                <a:gd name="T45" fmla="*/ 7 h 52"/>
                <a:gd name="T46" fmla="*/ 136 w 141"/>
                <a:gd name="T47" fmla="*/ 12 h 52"/>
                <a:gd name="T48" fmla="*/ 139 w 141"/>
                <a:gd name="T49" fmla="*/ 16 h 52"/>
                <a:gd name="T50" fmla="*/ 141 w 141"/>
                <a:gd name="T51" fmla="*/ 20 h 52"/>
                <a:gd name="T52" fmla="*/ 141 w 141"/>
                <a:gd name="T53" fmla="*/ 26 h 52"/>
                <a:gd name="T54" fmla="*/ 141 w 141"/>
                <a:gd name="T55" fmla="*/ 32 h 52"/>
                <a:gd name="T56" fmla="*/ 139 w 141"/>
                <a:gd name="T57" fmla="*/ 36 h 52"/>
                <a:gd name="T58" fmla="*/ 136 w 141"/>
                <a:gd name="T59" fmla="*/ 41 h 52"/>
                <a:gd name="T60" fmla="*/ 134 w 141"/>
                <a:gd name="T61" fmla="*/ 45 h 52"/>
                <a:gd name="T62" fmla="*/ 129 w 141"/>
                <a:gd name="T63" fmla="*/ 48 h 52"/>
                <a:gd name="T64" fmla="*/ 125 w 141"/>
                <a:gd name="T65" fmla="*/ 51 h 52"/>
                <a:gd name="T66" fmla="*/ 121 w 141"/>
                <a:gd name="T67" fmla="*/ 52 h 52"/>
                <a:gd name="T68" fmla="*/ 115 w 14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52">
                  <a:moveTo>
                    <a:pt x="115" y="52"/>
                  </a:moveTo>
                  <a:lnTo>
                    <a:pt x="26" y="52"/>
                  </a:lnTo>
                  <a:lnTo>
                    <a:pt x="21" y="52"/>
                  </a:lnTo>
                  <a:lnTo>
                    <a:pt x="16" y="51"/>
                  </a:lnTo>
                  <a:lnTo>
                    <a:pt x="11" y="48"/>
                  </a:lnTo>
                  <a:lnTo>
                    <a:pt x="7" y="45"/>
                  </a:lnTo>
                  <a:lnTo>
                    <a:pt x="4" y="41"/>
                  </a:lnTo>
                  <a:lnTo>
                    <a:pt x="3" y="36"/>
                  </a:lnTo>
                  <a:lnTo>
                    <a:pt x="1" y="32"/>
                  </a:lnTo>
                  <a:lnTo>
                    <a:pt x="0" y="26"/>
                  </a:lnTo>
                  <a:lnTo>
                    <a:pt x="1" y="20"/>
                  </a:lnTo>
                  <a:lnTo>
                    <a:pt x="3" y="16"/>
                  </a:lnTo>
                  <a:lnTo>
                    <a:pt x="4" y="12"/>
                  </a:lnTo>
                  <a:lnTo>
                    <a:pt x="7" y="7"/>
                  </a:lnTo>
                  <a:lnTo>
                    <a:pt x="11" y="5"/>
                  </a:lnTo>
                  <a:lnTo>
                    <a:pt x="16" y="2"/>
                  </a:lnTo>
                  <a:lnTo>
                    <a:pt x="21" y="0"/>
                  </a:lnTo>
                  <a:lnTo>
                    <a:pt x="26" y="0"/>
                  </a:lnTo>
                  <a:lnTo>
                    <a:pt x="115" y="0"/>
                  </a:lnTo>
                  <a:lnTo>
                    <a:pt x="121" y="0"/>
                  </a:lnTo>
                  <a:lnTo>
                    <a:pt x="125" y="2"/>
                  </a:lnTo>
                  <a:lnTo>
                    <a:pt x="129" y="5"/>
                  </a:lnTo>
                  <a:lnTo>
                    <a:pt x="134" y="7"/>
                  </a:lnTo>
                  <a:lnTo>
                    <a:pt x="136" y="12"/>
                  </a:lnTo>
                  <a:lnTo>
                    <a:pt x="139" y="16"/>
                  </a:lnTo>
                  <a:lnTo>
                    <a:pt x="141" y="20"/>
                  </a:lnTo>
                  <a:lnTo>
                    <a:pt x="141" y="26"/>
                  </a:lnTo>
                  <a:lnTo>
                    <a:pt x="141" y="32"/>
                  </a:lnTo>
                  <a:lnTo>
                    <a:pt x="139" y="36"/>
                  </a:lnTo>
                  <a:lnTo>
                    <a:pt x="136" y="41"/>
                  </a:lnTo>
                  <a:lnTo>
                    <a:pt x="134" y="45"/>
                  </a:lnTo>
                  <a:lnTo>
                    <a:pt x="129" y="48"/>
                  </a:lnTo>
                  <a:lnTo>
                    <a:pt x="125" y="51"/>
                  </a:lnTo>
                  <a:lnTo>
                    <a:pt x="121" y="52"/>
                  </a:lnTo>
                  <a:lnTo>
                    <a:pt x="11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36">
              <a:extLst>
                <a:ext uri="{FF2B5EF4-FFF2-40B4-BE49-F238E27FC236}">
                  <a16:creationId xmlns:a16="http://schemas.microsoft.com/office/drawing/2014/main" id="{815995A0-ECAA-41C1-9EDC-A635936CFF9D}"/>
                </a:ext>
              </a:extLst>
            </p:cNvPr>
            <p:cNvSpPr>
              <a:spLocks/>
            </p:cNvSpPr>
            <p:nvPr/>
          </p:nvSpPr>
          <p:spPr bwMode="auto">
            <a:xfrm>
              <a:off x="7518400" y="1428751"/>
              <a:ext cx="119063" cy="26988"/>
            </a:xfrm>
            <a:custGeom>
              <a:avLst/>
              <a:gdLst>
                <a:gd name="T0" fmla="*/ 196 w 224"/>
                <a:gd name="T1" fmla="*/ 51 h 51"/>
                <a:gd name="T2" fmla="*/ 28 w 224"/>
                <a:gd name="T3" fmla="*/ 51 h 51"/>
                <a:gd name="T4" fmla="*/ 22 w 224"/>
                <a:gd name="T5" fmla="*/ 51 h 51"/>
                <a:gd name="T6" fmla="*/ 16 w 224"/>
                <a:gd name="T7" fmla="*/ 50 h 51"/>
                <a:gd name="T8" fmla="*/ 12 w 224"/>
                <a:gd name="T9" fmla="*/ 47 h 51"/>
                <a:gd name="T10" fmla="*/ 9 w 224"/>
                <a:gd name="T11" fmla="*/ 44 h 51"/>
                <a:gd name="T12" fmla="*/ 5 w 224"/>
                <a:gd name="T13" fmla="*/ 40 h 51"/>
                <a:gd name="T14" fmla="*/ 3 w 224"/>
                <a:gd name="T15" fmla="*/ 36 h 51"/>
                <a:gd name="T16" fmla="*/ 2 w 224"/>
                <a:gd name="T17" fmla="*/ 31 h 51"/>
                <a:gd name="T18" fmla="*/ 0 w 224"/>
                <a:gd name="T19" fmla="*/ 26 h 51"/>
                <a:gd name="T20" fmla="*/ 2 w 224"/>
                <a:gd name="T21" fmla="*/ 20 h 51"/>
                <a:gd name="T22" fmla="*/ 3 w 224"/>
                <a:gd name="T23" fmla="*/ 15 h 51"/>
                <a:gd name="T24" fmla="*/ 5 w 224"/>
                <a:gd name="T25" fmla="*/ 11 h 51"/>
                <a:gd name="T26" fmla="*/ 9 w 224"/>
                <a:gd name="T27" fmla="*/ 7 h 51"/>
                <a:gd name="T28" fmla="*/ 12 w 224"/>
                <a:gd name="T29" fmla="*/ 4 h 51"/>
                <a:gd name="T30" fmla="*/ 16 w 224"/>
                <a:gd name="T31" fmla="*/ 1 h 51"/>
                <a:gd name="T32" fmla="*/ 22 w 224"/>
                <a:gd name="T33" fmla="*/ 0 h 51"/>
                <a:gd name="T34" fmla="*/ 28 w 224"/>
                <a:gd name="T35" fmla="*/ 0 h 51"/>
                <a:gd name="T36" fmla="*/ 196 w 224"/>
                <a:gd name="T37" fmla="*/ 0 h 51"/>
                <a:gd name="T38" fmla="*/ 202 w 224"/>
                <a:gd name="T39" fmla="*/ 0 h 51"/>
                <a:gd name="T40" fmla="*/ 208 w 224"/>
                <a:gd name="T41" fmla="*/ 1 h 51"/>
                <a:gd name="T42" fmla="*/ 212 w 224"/>
                <a:gd name="T43" fmla="*/ 4 h 51"/>
                <a:gd name="T44" fmla="*/ 215 w 224"/>
                <a:gd name="T45" fmla="*/ 7 h 51"/>
                <a:gd name="T46" fmla="*/ 218 w 224"/>
                <a:gd name="T47" fmla="*/ 11 h 51"/>
                <a:gd name="T48" fmla="*/ 221 w 224"/>
                <a:gd name="T49" fmla="*/ 15 h 51"/>
                <a:gd name="T50" fmla="*/ 222 w 224"/>
                <a:gd name="T51" fmla="*/ 20 h 51"/>
                <a:gd name="T52" fmla="*/ 224 w 224"/>
                <a:gd name="T53" fmla="*/ 26 h 51"/>
                <a:gd name="T54" fmla="*/ 222 w 224"/>
                <a:gd name="T55" fmla="*/ 31 h 51"/>
                <a:gd name="T56" fmla="*/ 221 w 224"/>
                <a:gd name="T57" fmla="*/ 36 h 51"/>
                <a:gd name="T58" fmla="*/ 218 w 224"/>
                <a:gd name="T59" fmla="*/ 40 h 51"/>
                <a:gd name="T60" fmla="*/ 215 w 224"/>
                <a:gd name="T61" fmla="*/ 44 h 51"/>
                <a:gd name="T62" fmla="*/ 212 w 224"/>
                <a:gd name="T63" fmla="*/ 47 h 51"/>
                <a:gd name="T64" fmla="*/ 208 w 224"/>
                <a:gd name="T65" fmla="*/ 50 h 51"/>
                <a:gd name="T66" fmla="*/ 202 w 224"/>
                <a:gd name="T67" fmla="*/ 51 h 51"/>
                <a:gd name="T68" fmla="*/ 196 w 22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51">
                  <a:moveTo>
                    <a:pt x="196" y="51"/>
                  </a:moveTo>
                  <a:lnTo>
                    <a:pt x="28" y="51"/>
                  </a:lnTo>
                  <a:lnTo>
                    <a:pt x="22" y="51"/>
                  </a:lnTo>
                  <a:lnTo>
                    <a:pt x="16" y="50"/>
                  </a:lnTo>
                  <a:lnTo>
                    <a:pt x="12" y="47"/>
                  </a:lnTo>
                  <a:lnTo>
                    <a:pt x="9" y="44"/>
                  </a:lnTo>
                  <a:lnTo>
                    <a:pt x="5" y="40"/>
                  </a:lnTo>
                  <a:lnTo>
                    <a:pt x="3" y="36"/>
                  </a:lnTo>
                  <a:lnTo>
                    <a:pt x="2" y="31"/>
                  </a:lnTo>
                  <a:lnTo>
                    <a:pt x="0" y="26"/>
                  </a:lnTo>
                  <a:lnTo>
                    <a:pt x="2" y="20"/>
                  </a:lnTo>
                  <a:lnTo>
                    <a:pt x="3" y="15"/>
                  </a:lnTo>
                  <a:lnTo>
                    <a:pt x="5" y="11"/>
                  </a:lnTo>
                  <a:lnTo>
                    <a:pt x="9" y="7"/>
                  </a:lnTo>
                  <a:lnTo>
                    <a:pt x="12" y="4"/>
                  </a:lnTo>
                  <a:lnTo>
                    <a:pt x="16" y="1"/>
                  </a:lnTo>
                  <a:lnTo>
                    <a:pt x="22" y="0"/>
                  </a:lnTo>
                  <a:lnTo>
                    <a:pt x="28" y="0"/>
                  </a:lnTo>
                  <a:lnTo>
                    <a:pt x="196" y="0"/>
                  </a:lnTo>
                  <a:lnTo>
                    <a:pt x="202" y="0"/>
                  </a:lnTo>
                  <a:lnTo>
                    <a:pt x="208" y="1"/>
                  </a:lnTo>
                  <a:lnTo>
                    <a:pt x="212" y="4"/>
                  </a:lnTo>
                  <a:lnTo>
                    <a:pt x="215" y="7"/>
                  </a:lnTo>
                  <a:lnTo>
                    <a:pt x="218" y="11"/>
                  </a:lnTo>
                  <a:lnTo>
                    <a:pt x="221" y="15"/>
                  </a:lnTo>
                  <a:lnTo>
                    <a:pt x="222" y="20"/>
                  </a:lnTo>
                  <a:lnTo>
                    <a:pt x="224" y="26"/>
                  </a:lnTo>
                  <a:lnTo>
                    <a:pt x="222" y="31"/>
                  </a:lnTo>
                  <a:lnTo>
                    <a:pt x="221" y="36"/>
                  </a:lnTo>
                  <a:lnTo>
                    <a:pt x="218" y="40"/>
                  </a:lnTo>
                  <a:lnTo>
                    <a:pt x="215" y="44"/>
                  </a:lnTo>
                  <a:lnTo>
                    <a:pt x="212" y="47"/>
                  </a:lnTo>
                  <a:lnTo>
                    <a:pt x="208" y="50"/>
                  </a:lnTo>
                  <a:lnTo>
                    <a:pt x="202" y="51"/>
                  </a:lnTo>
                  <a:lnTo>
                    <a:pt x="19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3" name="Group 38">
            <a:extLst>
              <a:ext uri="{FF2B5EF4-FFF2-40B4-BE49-F238E27FC236}">
                <a16:creationId xmlns:a16="http://schemas.microsoft.com/office/drawing/2014/main" id="{65F80A8C-14BF-435F-A0C8-3CBCDEF85A35}"/>
              </a:ext>
            </a:extLst>
          </p:cNvPr>
          <p:cNvGrpSpPr>
            <a:grpSpLocks noChangeAspect="1"/>
          </p:cNvGrpSpPr>
          <p:nvPr/>
        </p:nvGrpSpPr>
        <p:grpSpPr>
          <a:xfrm>
            <a:off x="3660755" y="4340505"/>
            <a:ext cx="285619" cy="285619"/>
            <a:chOff x="4319588" y="3074988"/>
            <a:chExt cx="285750" cy="285750"/>
          </a:xfrm>
          <a:solidFill>
            <a:schemeClr val="bg2"/>
          </a:solidFill>
          <a:effectLst/>
        </p:grpSpPr>
        <p:sp>
          <p:nvSpPr>
            <p:cNvPr id="744" name="Freeform 50">
              <a:extLst>
                <a:ext uri="{FF2B5EF4-FFF2-40B4-BE49-F238E27FC236}">
                  <a16:creationId xmlns:a16="http://schemas.microsoft.com/office/drawing/2014/main" id="{99733BB4-E302-40F0-A0C5-E07C8EB20C03}"/>
                </a:ext>
              </a:extLst>
            </p:cNvPr>
            <p:cNvSpPr>
              <a:spLocks/>
            </p:cNvSpPr>
            <p:nvPr/>
          </p:nvSpPr>
          <p:spPr bwMode="auto">
            <a:xfrm>
              <a:off x="4319588" y="3074988"/>
              <a:ext cx="261938" cy="238125"/>
            </a:xfrm>
            <a:custGeom>
              <a:avLst/>
              <a:gdLst>
                <a:gd name="T0" fmla="*/ 465 w 825"/>
                <a:gd name="T1" fmla="*/ 33 h 750"/>
                <a:gd name="T2" fmla="*/ 538 w 825"/>
                <a:gd name="T3" fmla="*/ 48 h 750"/>
                <a:gd name="T4" fmla="*/ 606 w 825"/>
                <a:gd name="T5" fmla="*/ 75 h 750"/>
                <a:gd name="T6" fmla="*/ 666 w 825"/>
                <a:gd name="T7" fmla="*/ 110 h 750"/>
                <a:gd name="T8" fmla="*/ 717 w 825"/>
                <a:gd name="T9" fmla="*/ 154 h 750"/>
                <a:gd name="T10" fmla="*/ 757 w 825"/>
                <a:gd name="T11" fmla="*/ 204 h 750"/>
                <a:gd name="T12" fmla="*/ 783 w 825"/>
                <a:gd name="T13" fmla="*/ 261 h 750"/>
                <a:gd name="T14" fmla="*/ 795 w 825"/>
                <a:gd name="T15" fmla="*/ 321 h 750"/>
                <a:gd name="T16" fmla="*/ 792 w 825"/>
                <a:gd name="T17" fmla="*/ 378 h 750"/>
                <a:gd name="T18" fmla="*/ 824 w 825"/>
                <a:gd name="T19" fmla="*/ 367 h 750"/>
                <a:gd name="T20" fmla="*/ 823 w 825"/>
                <a:gd name="T21" fmla="*/ 303 h 750"/>
                <a:gd name="T22" fmla="*/ 806 w 825"/>
                <a:gd name="T23" fmla="*/ 237 h 750"/>
                <a:gd name="T24" fmla="*/ 774 w 825"/>
                <a:gd name="T25" fmla="*/ 177 h 750"/>
                <a:gd name="T26" fmla="*/ 728 w 825"/>
                <a:gd name="T27" fmla="*/ 124 h 750"/>
                <a:gd name="T28" fmla="*/ 671 w 825"/>
                <a:gd name="T29" fmla="*/ 78 h 750"/>
                <a:gd name="T30" fmla="*/ 604 w 825"/>
                <a:gd name="T31" fmla="*/ 40 h 750"/>
                <a:gd name="T32" fmla="*/ 529 w 825"/>
                <a:gd name="T33" fmla="*/ 15 h 750"/>
                <a:gd name="T34" fmla="*/ 447 w 825"/>
                <a:gd name="T35" fmla="*/ 1 h 750"/>
                <a:gd name="T36" fmla="*/ 364 w 825"/>
                <a:gd name="T37" fmla="*/ 1 h 750"/>
                <a:gd name="T38" fmla="*/ 285 w 825"/>
                <a:gd name="T39" fmla="*/ 15 h 750"/>
                <a:gd name="T40" fmla="*/ 213 w 825"/>
                <a:gd name="T41" fmla="*/ 40 h 750"/>
                <a:gd name="T42" fmla="*/ 148 w 825"/>
                <a:gd name="T43" fmla="*/ 77 h 750"/>
                <a:gd name="T44" fmla="*/ 93 w 825"/>
                <a:gd name="T45" fmla="*/ 122 h 750"/>
                <a:gd name="T46" fmla="*/ 49 w 825"/>
                <a:gd name="T47" fmla="*/ 176 h 750"/>
                <a:gd name="T48" fmla="*/ 18 w 825"/>
                <a:gd name="T49" fmla="*/ 236 h 750"/>
                <a:gd name="T50" fmla="*/ 2 w 825"/>
                <a:gd name="T51" fmla="*/ 302 h 750"/>
                <a:gd name="T52" fmla="*/ 2 w 825"/>
                <a:gd name="T53" fmla="*/ 370 h 750"/>
                <a:gd name="T54" fmla="*/ 16 w 825"/>
                <a:gd name="T55" fmla="*/ 433 h 750"/>
                <a:gd name="T56" fmla="*/ 44 w 825"/>
                <a:gd name="T57" fmla="*/ 491 h 750"/>
                <a:gd name="T58" fmla="*/ 85 w 825"/>
                <a:gd name="T59" fmla="*/ 543 h 750"/>
                <a:gd name="T60" fmla="*/ 30 w 825"/>
                <a:gd name="T61" fmla="*/ 733 h 750"/>
                <a:gd name="T62" fmla="*/ 37 w 825"/>
                <a:gd name="T63" fmla="*/ 748 h 750"/>
                <a:gd name="T64" fmla="*/ 48 w 825"/>
                <a:gd name="T65" fmla="*/ 750 h 750"/>
                <a:gd name="T66" fmla="*/ 319 w 825"/>
                <a:gd name="T67" fmla="*/ 669 h 750"/>
                <a:gd name="T68" fmla="*/ 350 w 825"/>
                <a:gd name="T69" fmla="*/ 643 h 750"/>
                <a:gd name="T70" fmla="*/ 260 w 825"/>
                <a:gd name="T71" fmla="*/ 625 h 750"/>
                <a:gd name="T72" fmla="*/ 144 w 825"/>
                <a:gd name="T73" fmla="*/ 565 h 750"/>
                <a:gd name="T74" fmla="*/ 125 w 825"/>
                <a:gd name="T75" fmla="*/ 541 h 750"/>
                <a:gd name="T76" fmla="*/ 82 w 825"/>
                <a:gd name="T77" fmla="*/ 494 h 750"/>
                <a:gd name="T78" fmla="*/ 52 w 825"/>
                <a:gd name="T79" fmla="*/ 441 h 750"/>
                <a:gd name="T80" fmla="*/ 34 w 825"/>
                <a:gd name="T81" fmla="*/ 383 h 750"/>
                <a:gd name="T82" fmla="*/ 31 w 825"/>
                <a:gd name="T83" fmla="*/ 321 h 750"/>
                <a:gd name="T84" fmla="*/ 42 w 825"/>
                <a:gd name="T85" fmla="*/ 260 h 750"/>
                <a:gd name="T86" fmla="*/ 68 w 825"/>
                <a:gd name="T87" fmla="*/ 203 h 750"/>
                <a:gd name="T88" fmla="*/ 105 w 825"/>
                <a:gd name="T89" fmla="*/ 153 h 750"/>
                <a:gd name="T90" fmla="*/ 153 w 825"/>
                <a:gd name="T91" fmla="*/ 109 h 750"/>
                <a:gd name="T92" fmla="*/ 211 w 825"/>
                <a:gd name="T93" fmla="*/ 74 h 750"/>
                <a:gd name="T94" fmla="*/ 276 w 825"/>
                <a:gd name="T95" fmla="*/ 48 h 750"/>
                <a:gd name="T96" fmla="*/ 349 w 825"/>
                <a:gd name="T97" fmla="*/ 33 h 750"/>
                <a:gd name="T98" fmla="*/ 406 w 825"/>
                <a:gd name="T99" fmla="*/ 3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5" h="750">
                  <a:moveTo>
                    <a:pt x="406" y="30"/>
                  </a:moveTo>
                  <a:lnTo>
                    <a:pt x="425" y="30"/>
                  </a:lnTo>
                  <a:lnTo>
                    <a:pt x="445" y="31"/>
                  </a:lnTo>
                  <a:lnTo>
                    <a:pt x="465" y="33"/>
                  </a:lnTo>
                  <a:lnTo>
                    <a:pt x="483" y="36"/>
                  </a:lnTo>
                  <a:lnTo>
                    <a:pt x="502" y="39"/>
                  </a:lnTo>
                  <a:lnTo>
                    <a:pt x="520" y="44"/>
                  </a:lnTo>
                  <a:lnTo>
                    <a:pt x="538" y="48"/>
                  </a:lnTo>
                  <a:lnTo>
                    <a:pt x="556" y="54"/>
                  </a:lnTo>
                  <a:lnTo>
                    <a:pt x="573" y="61"/>
                  </a:lnTo>
                  <a:lnTo>
                    <a:pt x="590" y="67"/>
                  </a:lnTo>
                  <a:lnTo>
                    <a:pt x="606" y="75"/>
                  </a:lnTo>
                  <a:lnTo>
                    <a:pt x="622" y="82"/>
                  </a:lnTo>
                  <a:lnTo>
                    <a:pt x="637" y="92"/>
                  </a:lnTo>
                  <a:lnTo>
                    <a:pt x="652" y="100"/>
                  </a:lnTo>
                  <a:lnTo>
                    <a:pt x="666" y="110"/>
                  </a:lnTo>
                  <a:lnTo>
                    <a:pt x="680" y="121"/>
                  </a:lnTo>
                  <a:lnTo>
                    <a:pt x="693" y="131"/>
                  </a:lnTo>
                  <a:lnTo>
                    <a:pt x="705" y="142"/>
                  </a:lnTo>
                  <a:lnTo>
                    <a:pt x="717" y="154"/>
                  </a:lnTo>
                  <a:lnTo>
                    <a:pt x="728" y="166"/>
                  </a:lnTo>
                  <a:lnTo>
                    <a:pt x="739" y="179"/>
                  </a:lnTo>
                  <a:lnTo>
                    <a:pt x="748" y="191"/>
                  </a:lnTo>
                  <a:lnTo>
                    <a:pt x="757" y="204"/>
                  </a:lnTo>
                  <a:lnTo>
                    <a:pt x="764" y="218"/>
                  </a:lnTo>
                  <a:lnTo>
                    <a:pt x="772" y="232"/>
                  </a:lnTo>
                  <a:lnTo>
                    <a:pt x="778" y="246"/>
                  </a:lnTo>
                  <a:lnTo>
                    <a:pt x="783" y="261"/>
                  </a:lnTo>
                  <a:lnTo>
                    <a:pt x="788" y="276"/>
                  </a:lnTo>
                  <a:lnTo>
                    <a:pt x="791" y="291"/>
                  </a:lnTo>
                  <a:lnTo>
                    <a:pt x="793" y="306"/>
                  </a:lnTo>
                  <a:lnTo>
                    <a:pt x="795" y="321"/>
                  </a:lnTo>
                  <a:lnTo>
                    <a:pt x="795" y="337"/>
                  </a:lnTo>
                  <a:lnTo>
                    <a:pt x="795" y="350"/>
                  </a:lnTo>
                  <a:lnTo>
                    <a:pt x="794" y="364"/>
                  </a:lnTo>
                  <a:lnTo>
                    <a:pt x="792" y="378"/>
                  </a:lnTo>
                  <a:lnTo>
                    <a:pt x="790" y="391"/>
                  </a:lnTo>
                  <a:lnTo>
                    <a:pt x="819" y="398"/>
                  </a:lnTo>
                  <a:lnTo>
                    <a:pt x="822" y="383"/>
                  </a:lnTo>
                  <a:lnTo>
                    <a:pt x="824" y="367"/>
                  </a:lnTo>
                  <a:lnTo>
                    <a:pt x="825" y="352"/>
                  </a:lnTo>
                  <a:lnTo>
                    <a:pt x="825" y="337"/>
                  </a:lnTo>
                  <a:lnTo>
                    <a:pt x="825" y="320"/>
                  </a:lnTo>
                  <a:lnTo>
                    <a:pt x="823" y="303"/>
                  </a:lnTo>
                  <a:lnTo>
                    <a:pt x="821" y="286"/>
                  </a:lnTo>
                  <a:lnTo>
                    <a:pt x="817" y="269"/>
                  </a:lnTo>
                  <a:lnTo>
                    <a:pt x="812" y="253"/>
                  </a:lnTo>
                  <a:lnTo>
                    <a:pt x="806" y="237"/>
                  </a:lnTo>
                  <a:lnTo>
                    <a:pt x="800" y="222"/>
                  </a:lnTo>
                  <a:lnTo>
                    <a:pt x="792" y="206"/>
                  </a:lnTo>
                  <a:lnTo>
                    <a:pt x="783" y="191"/>
                  </a:lnTo>
                  <a:lnTo>
                    <a:pt x="774" y="177"/>
                  </a:lnTo>
                  <a:lnTo>
                    <a:pt x="764" y="164"/>
                  </a:lnTo>
                  <a:lnTo>
                    <a:pt x="752" y="150"/>
                  </a:lnTo>
                  <a:lnTo>
                    <a:pt x="741" y="137"/>
                  </a:lnTo>
                  <a:lnTo>
                    <a:pt x="728" y="124"/>
                  </a:lnTo>
                  <a:lnTo>
                    <a:pt x="715" y="111"/>
                  </a:lnTo>
                  <a:lnTo>
                    <a:pt x="701" y="99"/>
                  </a:lnTo>
                  <a:lnTo>
                    <a:pt x="686" y="89"/>
                  </a:lnTo>
                  <a:lnTo>
                    <a:pt x="671" y="78"/>
                  </a:lnTo>
                  <a:lnTo>
                    <a:pt x="655" y="67"/>
                  </a:lnTo>
                  <a:lnTo>
                    <a:pt x="639" y="58"/>
                  </a:lnTo>
                  <a:lnTo>
                    <a:pt x="622" y="49"/>
                  </a:lnTo>
                  <a:lnTo>
                    <a:pt x="604" y="40"/>
                  </a:lnTo>
                  <a:lnTo>
                    <a:pt x="586" y="33"/>
                  </a:lnTo>
                  <a:lnTo>
                    <a:pt x="567" y="27"/>
                  </a:lnTo>
                  <a:lnTo>
                    <a:pt x="548" y="20"/>
                  </a:lnTo>
                  <a:lnTo>
                    <a:pt x="529" y="15"/>
                  </a:lnTo>
                  <a:lnTo>
                    <a:pt x="510" y="11"/>
                  </a:lnTo>
                  <a:lnTo>
                    <a:pt x="489" y="6"/>
                  </a:lnTo>
                  <a:lnTo>
                    <a:pt x="469" y="3"/>
                  </a:lnTo>
                  <a:lnTo>
                    <a:pt x="447" y="1"/>
                  </a:lnTo>
                  <a:lnTo>
                    <a:pt x="427" y="0"/>
                  </a:lnTo>
                  <a:lnTo>
                    <a:pt x="406" y="0"/>
                  </a:lnTo>
                  <a:lnTo>
                    <a:pt x="385" y="0"/>
                  </a:lnTo>
                  <a:lnTo>
                    <a:pt x="364" y="1"/>
                  </a:lnTo>
                  <a:lnTo>
                    <a:pt x="344" y="3"/>
                  </a:lnTo>
                  <a:lnTo>
                    <a:pt x="324" y="6"/>
                  </a:lnTo>
                  <a:lnTo>
                    <a:pt x="304" y="11"/>
                  </a:lnTo>
                  <a:lnTo>
                    <a:pt x="285" y="15"/>
                  </a:lnTo>
                  <a:lnTo>
                    <a:pt x="267" y="20"/>
                  </a:lnTo>
                  <a:lnTo>
                    <a:pt x="248" y="25"/>
                  </a:lnTo>
                  <a:lnTo>
                    <a:pt x="230" y="33"/>
                  </a:lnTo>
                  <a:lnTo>
                    <a:pt x="213" y="40"/>
                  </a:lnTo>
                  <a:lnTo>
                    <a:pt x="196" y="48"/>
                  </a:lnTo>
                  <a:lnTo>
                    <a:pt x="179" y="58"/>
                  </a:lnTo>
                  <a:lnTo>
                    <a:pt x="163" y="66"/>
                  </a:lnTo>
                  <a:lnTo>
                    <a:pt x="148" y="77"/>
                  </a:lnTo>
                  <a:lnTo>
                    <a:pt x="133" y="88"/>
                  </a:lnTo>
                  <a:lnTo>
                    <a:pt x="119" y="98"/>
                  </a:lnTo>
                  <a:lnTo>
                    <a:pt x="106" y="110"/>
                  </a:lnTo>
                  <a:lnTo>
                    <a:pt x="93" y="122"/>
                  </a:lnTo>
                  <a:lnTo>
                    <a:pt x="80" y="135"/>
                  </a:lnTo>
                  <a:lnTo>
                    <a:pt x="70" y="149"/>
                  </a:lnTo>
                  <a:lnTo>
                    <a:pt x="59" y="161"/>
                  </a:lnTo>
                  <a:lnTo>
                    <a:pt x="49" y="176"/>
                  </a:lnTo>
                  <a:lnTo>
                    <a:pt x="40" y="190"/>
                  </a:lnTo>
                  <a:lnTo>
                    <a:pt x="32" y="205"/>
                  </a:lnTo>
                  <a:lnTo>
                    <a:pt x="25" y="220"/>
                  </a:lnTo>
                  <a:lnTo>
                    <a:pt x="18" y="236"/>
                  </a:lnTo>
                  <a:lnTo>
                    <a:pt x="13" y="252"/>
                  </a:lnTo>
                  <a:lnTo>
                    <a:pt x="9" y="268"/>
                  </a:lnTo>
                  <a:lnTo>
                    <a:pt x="5" y="286"/>
                  </a:lnTo>
                  <a:lnTo>
                    <a:pt x="2" y="302"/>
                  </a:lnTo>
                  <a:lnTo>
                    <a:pt x="1" y="319"/>
                  </a:lnTo>
                  <a:lnTo>
                    <a:pt x="0" y="337"/>
                  </a:lnTo>
                  <a:lnTo>
                    <a:pt x="0" y="353"/>
                  </a:lnTo>
                  <a:lnTo>
                    <a:pt x="2" y="370"/>
                  </a:lnTo>
                  <a:lnTo>
                    <a:pt x="5" y="386"/>
                  </a:lnTo>
                  <a:lnTo>
                    <a:pt x="8" y="402"/>
                  </a:lnTo>
                  <a:lnTo>
                    <a:pt x="11" y="417"/>
                  </a:lnTo>
                  <a:lnTo>
                    <a:pt x="16" y="433"/>
                  </a:lnTo>
                  <a:lnTo>
                    <a:pt x="22" y="448"/>
                  </a:lnTo>
                  <a:lnTo>
                    <a:pt x="28" y="463"/>
                  </a:lnTo>
                  <a:lnTo>
                    <a:pt x="36" y="477"/>
                  </a:lnTo>
                  <a:lnTo>
                    <a:pt x="44" y="491"/>
                  </a:lnTo>
                  <a:lnTo>
                    <a:pt x="53" y="505"/>
                  </a:lnTo>
                  <a:lnTo>
                    <a:pt x="62" y="518"/>
                  </a:lnTo>
                  <a:lnTo>
                    <a:pt x="73" y="532"/>
                  </a:lnTo>
                  <a:lnTo>
                    <a:pt x="85" y="543"/>
                  </a:lnTo>
                  <a:lnTo>
                    <a:pt x="98" y="556"/>
                  </a:lnTo>
                  <a:lnTo>
                    <a:pt x="110" y="568"/>
                  </a:lnTo>
                  <a:lnTo>
                    <a:pt x="32" y="729"/>
                  </a:lnTo>
                  <a:lnTo>
                    <a:pt x="30" y="733"/>
                  </a:lnTo>
                  <a:lnTo>
                    <a:pt x="30" y="738"/>
                  </a:lnTo>
                  <a:lnTo>
                    <a:pt x="32" y="742"/>
                  </a:lnTo>
                  <a:lnTo>
                    <a:pt x="34" y="746"/>
                  </a:lnTo>
                  <a:lnTo>
                    <a:pt x="37" y="748"/>
                  </a:lnTo>
                  <a:lnTo>
                    <a:pt x="40" y="749"/>
                  </a:lnTo>
                  <a:lnTo>
                    <a:pt x="42" y="750"/>
                  </a:lnTo>
                  <a:lnTo>
                    <a:pt x="45" y="750"/>
                  </a:lnTo>
                  <a:lnTo>
                    <a:pt x="48" y="750"/>
                  </a:lnTo>
                  <a:lnTo>
                    <a:pt x="52" y="749"/>
                  </a:lnTo>
                  <a:lnTo>
                    <a:pt x="262" y="656"/>
                  </a:lnTo>
                  <a:lnTo>
                    <a:pt x="290" y="662"/>
                  </a:lnTo>
                  <a:lnTo>
                    <a:pt x="319" y="669"/>
                  </a:lnTo>
                  <a:lnTo>
                    <a:pt x="348" y="673"/>
                  </a:lnTo>
                  <a:lnTo>
                    <a:pt x="375" y="675"/>
                  </a:lnTo>
                  <a:lnTo>
                    <a:pt x="377" y="645"/>
                  </a:lnTo>
                  <a:lnTo>
                    <a:pt x="350" y="643"/>
                  </a:lnTo>
                  <a:lnTo>
                    <a:pt x="321" y="639"/>
                  </a:lnTo>
                  <a:lnTo>
                    <a:pt x="293" y="632"/>
                  </a:lnTo>
                  <a:lnTo>
                    <a:pt x="266" y="625"/>
                  </a:lnTo>
                  <a:lnTo>
                    <a:pt x="260" y="625"/>
                  </a:lnTo>
                  <a:lnTo>
                    <a:pt x="255" y="626"/>
                  </a:lnTo>
                  <a:lnTo>
                    <a:pt x="77" y="705"/>
                  </a:lnTo>
                  <a:lnTo>
                    <a:pt x="143" y="570"/>
                  </a:lnTo>
                  <a:lnTo>
                    <a:pt x="144" y="565"/>
                  </a:lnTo>
                  <a:lnTo>
                    <a:pt x="144" y="561"/>
                  </a:lnTo>
                  <a:lnTo>
                    <a:pt x="141" y="555"/>
                  </a:lnTo>
                  <a:lnTo>
                    <a:pt x="138" y="552"/>
                  </a:lnTo>
                  <a:lnTo>
                    <a:pt x="125" y="541"/>
                  </a:lnTo>
                  <a:lnTo>
                    <a:pt x="114" y="530"/>
                  </a:lnTo>
                  <a:lnTo>
                    <a:pt x="102" y="518"/>
                  </a:lnTo>
                  <a:lnTo>
                    <a:pt x="91" y="506"/>
                  </a:lnTo>
                  <a:lnTo>
                    <a:pt x="82" y="494"/>
                  </a:lnTo>
                  <a:lnTo>
                    <a:pt x="73" y="481"/>
                  </a:lnTo>
                  <a:lnTo>
                    <a:pt x="66" y="469"/>
                  </a:lnTo>
                  <a:lnTo>
                    <a:pt x="58" y="455"/>
                  </a:lnTo>
                  <a:lnTo>
                    <a:pt x="52" y="441"/>
                  </a:lnTo>
                  <a:lnTo>
                    <a:pt x="46" y="427"/>
                  </a:lnTo>
                  <a:lnTo>
                    <a:pt x="41" y="413"/>
                  </a:lnTo>
                  <a:lnTo>
                    <a:pt x="38" y="398"/>
                  </a:lnTo>
                  <a:lnTo>
                    <a:pt x="34" y="383"/>
                  </a:lnTo>
                  <a:lnTo>
                    <a:pt x="32" y="368"/>
                  </a:lnTo>
                  <a:lnTo>
                    <a:pt x="31" y="352"/>
                  </a:lnTo>
                  <a:lnTo>
                    <a:pt x="30" y="337"/>
                  </a:lnTo>
                  <a:lnTo>
                    <a:pt x="31" y="321"/>
                  </a:lnTo>
                  <a:lnTo>
                    <a:pt x="32" y="305"/>
                  </a:lnTo>
                  <a:lnTo>
                    <a:pt x="34" y="290"/>
                  </a:lnTo>
                  <a:lnTo>
                    <a:pt x="38" y="275"/>
                  </a:lnTo>
                  <a:lnTo>
                    <a:pt x="42" y="260"/>
                  </a:lnTo>
                  <a:lnTo>
                    <a:pt x="47" y="245"/>
                  </a:lnTo>
                  <a:lnTo>
                    <a:pt x="53" y="231"/>
                  </a:lnTo>
                  <a:lnTo>
                    <a:pt x="60" y="217"/>
                  </a:lnTo>
                  <a:lnTo>
                    <a:pt x="68" y="203"/>
                  </a:lnTo>
                  <a:lnTo>
                    <a:pt x="76" y="190"/>
                  </a:lnTo>
                  <a:lnTo>
                    <a:pt x="85" y="177"/>
                  </a:lnTo>
                  <a:lnTo>
                    <a:pt x="94" y="165"/>
                  </a:lnTo>
                  <a:lnTo>
                    <a:pt x="105" y="153"/>
                  </a:lnTo>
                  <a:lnTo>
                    <a:pt x="116" y="141"/>
                  </a:lnTo>
                  <a:lnTo>
                    <a:pt x="128" y="130"/>
                  </a:lnTo>
                  <a:lnTo>
                    <a:pt x="140" y="120"/>
                  </a:lnTo>
                  <a:lnTo>
                    <a:pt x="153" y="109"/>
                  </a:lnTo>
                  <a:lnTo>
                    <a:pt x="167" y="99"/>
                  </a:lnTo>
                  <a:lnTo>
                    <a:pt x="181" y="91"/>
                  </a:lnTo>
                  <a:lnTo>
                    <a:pt x="196" y="82"/>
                  </a:lnTo>
                  <a:lnTo>
                    <a:pt x="211" y="74"/>
                  </a:lnTo>
                  <a:lnTo>
                    <a:pt x="227" y="66"/>
                  </a:lnTo>
                  <a:lnTo>
                    <a:pt x="243" y="60"/>
                  </a:lnTo>
                  <a:lnTo>
                    <a:pt x="260" y="53"/>
                  </a:lnTo>
                  <a:lnTo>
                    <a:pt x="276" y="48"/>
                  </a:lnTo>
                  <a:lnTo>
                    <a:pt x="294" y="44"/>
                  </a:lnTo>
                  <a:lnTo>
                    <a:pt x="312" y="39"/>
                  </a:lnTo>
                  <a:lnTo>
                    <a:pt x="330" y="36"/>
                  </a:lnTo>
                  <a:lnTo>
                    <a:pt x="349" y="33"/>
                  </a:lnTo>
                  <a:lnTo>
                    <a:pt x="367" y="31"/>
                  </a:lnTo>
                  <a:lnTo>
                    <a:pt x="387" y="30"/>
                  </a:lnTo>
                  <a:lnTo>
                    <a:pt x="406" y="30"/>
                  </a:lnTo>
                  <a:lnTo>
                    <a:pt x="4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745" name="Freeform 51">
              <a:extLst>
                <a:ext uri="{FF2B5EF4-FFF2-40B4-BE49-F238E27FC236}">
                  <a16:creationId xmlns:a16="http://schemas.microsoft.com/office/drawing/2014/main" id="{655A03C7-52AE-4A38-96B0-297427780A85}"/>
                </a:ext>
              </a:extLst>
            </p:cNvPr>
            <p:cNvSpPr>
              <a:spLocks noEditPoints="1"/>
            </p:cNvSpPr>
            <p:nvPr/>
          </p:nvSpPr>
          <p:spPr bwMode="auto">
            <a:xfrm>
              <a:off x="4462463" y="3217863"/>
              <a:ext cx="142875" cy="142875"/>
            </a:xfrm>
            <a:custGeom>
              <a:avLst/>
              <a:gdLst>
                <a:gd name="T0" fmla="*/ 309 w 450"/>
                <a:gd name="T1" fmla="*/ 257 h 451"/>
                <a:gd name="T2" fmla="*/ 307 w 450"/>
                <a:gd name="T3" fmla="*/ 266 h 451"/>
                <a:gd name="T4" fmla="*/ 347 w 450"/>
                <a:gd name="T5" fmla="*/ 397 h 451"/>
                <a:gd name="T6" fmla="*/ 232 w 450"/>
                <a:gd name="T7" fmla="*/ 317 h 451"/>
                <a:gd name="T8" fmla="*/ 222 w 450"/>
                <a:gd name="T9" fmla="*/ 317 h 451"/>
                <a:gd name="T10" fmla="*/ 103 w 450"/>
                <a:gd name="T11" fmla="*/ 397 h 451"/>
                <a:gd name="T12" fmla="*/ 147 w 450"/>
                <a:gd name="T13" fmla="*/ 266 h 451"/>
                <a:gd name="T14" fmla="*/ 145 w 450"/>
                <a:gd name="T15" fmla="*/ 257 h 451"/>
                <a:gd name="T16" fmla="*/ 55 w 450"/>
                <a:gd name="T17" fmla="*/ 180 h 451"/>
                <a:gd name="T18" fmla="*/ 154 w 450"/>
                <a:gd name="T19" fmla="*/ 180 h 451"/>
                <a:gd name="T20" fmla="*/ 161 w 450"/>
                <a:gd name="T21" fmla="*/ 176 h 451"/>
                <a:gd name="T22" fmla="*/ 225 w 450"/>
                <a:gd name="T23" fmla="*/ 48 h 451"/>
                <a:gd name="T24" fmla="*/ 289 w 450"/>
                <a:gd name="T25" fmla="*/ 176 h 451"/>
                <a:gd name="T26" fmla="*/ 296 w 450"/>
                <a:gd name="T27" fmla="*/ 180 h 451"/>
                <a:gd name="T28" fmla="*/ 396 w 450"/>
                <a:gd name="T29" fmla="*/ 180 h 451"/>
                <a:gd name="T30" fmla="*/ 449 w 450"/>
                <a:gd name="T31" fmla="*/ 160 h 451"/>
                <a:gd name="T32" fmla="*/ 444 w 450"/>
                <a:gd name="T33" fmla="*/ 153 h 451"/>
                <a:gd name="T34" fmla="*/ 435 w 450"/>
                <a:gd name="T35" fmla="*/ 150 h 451"/>
                <a:gd name="T36" fmla="*/ 238 w 450"/>
                <a:gd name="T37" fmla="*/ 8 h 451"/>
                <a:gd name="T38" fmla="*/ 233 w 450"/>
                <a:gd name="T39" fmla="*/ 2 h 451"/>
                <a:gd name="T40" fmla="*/ 225 w 450"/>
                <a:gd name="T41" fmla="*/ 0 h 451"/>
                <a:gd name="T42" fmla="*/ 217 w 450"/>
                <a:gd name="T43" fmla="*/ 2 h 451"/>
                <a:gd name="T44" fmla="*/ 212 w 450"/>
                <a:gd name="T45" fmla="*/ 8 h 451"/>
                <a:gd name="T46" fmla="*/ 15 w 450"/>
                <a:gd name="T47" fmla="*/ 150 h 451"/>
                <a:gd name="T48" fmla="*/ 6 w 450"/>
                <a:gd name="T49" fmla="*/ 153 h 451"/>
                <a:gd name="T50" fmla="*/ 1 w 450"/>
                <a:gd name="T51" fmla="*/ 160 h 451"/>
                <a:gd name="T52" fmla="*/ 1 w 450"/>
                <a:gd name="T53" fmla="*/ 169 h 451"/>
                <a:gd name="T54" fmla="*/ 5 w 450"/>
                <a:gd name="T55" fmla="*/ 177 h 451"/>
                <a:gd name="T56" fmla="*/ 62 w 450"/>
                <a:gd name="T57" fmla="*/ 431 h 451"/>
                <a:gd name="T58" fmla="*/ 61 w 450"/>
                <a:gd name="T59" fmla="*/ 440 h 451"/>
                <a:gd name="T60" fmla="*/ 66 w 450"/>
                <a:gd name="T61" fmla="*/ 448 h 451"/>
                <a:gd name="T62" fmla="*/ 76 w 450"/>
                <a:gd name="T63" fmla="*/ 451 h 451"/>
                <a:gd name="T64" fmla="*/ 84 w 450"/>
                <a:gd name="T65" fmla="*/ 448 h 451"/>
                <a:gd name="T66" fmla="*/ 367 w 450"/>
                <a:gd name="T67" fmla="*/ 448 h 451"/>
                <a:gd name="T68" fmla="*/ 375 w 450"/>
                <a:gd name="T69" fmla="*/ 451 h 451"/>
                <a:gd name="T70" fmla="*/ 384 w 450"/>
                <a:gd name="T71" fmla="*/ 448 h 451"/>
                <a:gd name="T72" fmla="*/ 389 w 450"/>
                <a:gd name="T73" fmla="*/ 440 h 451"/>
                <a:gd name="T74" fmla="*/ 389 w 450"/>
                <a:gd name="T75" fmla="*/ 432 h 451"/>
                <a:gd name="T76" fmla="*/ 445 w 450"/>
                <a:gd name="T77" fmla="*/ 177 h 451"/>
                <a:gd name="T78" fmla="*/ 450 w 450"/>
                <a:gd name="T79" fmla="*/ 168 h 451"/>
                <a:gd name="T80" fmla="*/ 449 w 450"/>
                <a:gd name="T81" fmla="*/ 16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451">
                  <a:moveTo>
                    <a:pt x="312" y="254"/>
                  </a:moveTo>
                  <a:lnTo>
                    <a:pt x="309" y="257"/>
                  </a:lnTo>
                  <a:lnTo>
                    <a:pt x="307" y="261"/>
                  </a:lnTo>
                  <a:lnTo>
                    <a:pt x="307" y="266"/>
                  </a:lnTo>
                  <a:lnTo>
                    <a:pt x="308" y="270"/>
                  </a:lnTo>
                  <a:lnTo>
                    <a:pt x="347" y="397"/>
                  </a:lnTo>
                  <a:lnTo>
                    <a:pt x="235" y="319"/>
                  </a:lnTo>
                  <a:lnTo>
                    <a:pt x="232" y="317"/>
                  </a:lnTo>
                  <a:lnTo>
                    <a:pt x="227" y="316"/>
                  </a:lnTo>
                  <a:lnTo>
                    <a:pt x="222" y="317"/>
                  </a:lnTo>
                  <a:lnTo>
                    <a:pt x="218" y="319"/>
                  </a:lnTo>
                  <a:lnTo>
                    <a:pt x="103" y="397"/>
                  </a:lnTo>
                  <a:lnTo>
                    <a:pt x="146" y="270"/>
                  </a:lnTo>
                  <a:lnTo>
                    <a:pt x="147" y="266"/>
                  </a:lnTo>
                  <a:lnTo>
                    <a:pt x="146" y="261"/>
                  </a:lnTo>
                  <a:lnTo>
                    <a:pt x="145" y="257"/>
                  </a:lnTo>
                  <a:lnTo>
                    <a:pt x="142" y="254"/>
                  </a:lnTo>
                  <a:lnTo>
                    <a:pt x="55" y="180"/>
                  </a:lnTo>
                  <a:lnTo>
                    <a:pt x="150" y="180"/>
                  </a:lnTo>
                  <a:lnTo>
                    <a:pt x="154" y="180"/>
                  </a:lnTo>
                  <a:lnTo>
                    <a:pt x="158" y="178"/>
                  </a:lnTo>
                  <a:lnTo>
                    <a:pt x="161" y="176"/>
                  </a:lnTo>
                  <a:lnTo>
                    <a:pt x="163" y="172"/>
                  </a:lnTo>
                  <a:lnTo>
                    <a:pt x="225" y="48"/>
                  </a:lnTo>
                  <a:lnTo>
                    <a:pt x="286" y="172"/>
                  </a:lnTo>
                  <a:lnTo>
                    <a:pt x="289" y="176"/>
                  </a:lnTo>
                  <a:lnTo>
                    <a:pt x="292" y="178"/>
                  </a:lnTo>
                  <a:lnTo>
                    <a:pt x="296" y="180"/>
                  </a:lnTo>
                  <a:lnTo>
                    <a:pt x="300" y="180"/>
                  </a:lnTo>
                  <a:lnTo>
                    <a:pt x="396" y="180"/>
                  </a:lnTo>
                  <a:lnTo>
                    <a:pt x="312" y="254"/>
                  </a:lnTo>
                  <a:close/>
                  <a:moveTo>
                    <a:pt x="449" y="160"/>
                  </a:moveTo>
                  <a:lnTo>
                    <a:pt x="447" y="155"/>
                  </a:lnTo>
                  <a:lnTo>
                    <a:pt x="444" y="153"/>
                  </a:lnTo>
                  <a:lnTo>
                    <a:pt x="439" y="151"/>
                  </a:lnTo>
                  <a:lnTo>
                    <a:pt x="435" y="150"/>
                  </a:lnTo>
                  <a:lnTo>
                    <a:pt x="309" y="150"/>
                  </a:lnTo>
                  <a:lnTo>
                    <a:pt x="238" y="8"/>
                  </a:lnTo>
                  <a:lnTo>
                    <a:pt x="236" y="5"/>
                  </a:lnTo>
                  <a:lnTo>
                    <a:pt x="233" y="2"/>
                  </a:lnTo>
                  <a:lnTo>
                    <a:pt x="229" y="1"/>
                  </a:lnTo>
                  <a:lnTo>
                    <a:pt x="225" y="0"/>
                  </a:lnTo>
                  <a:lnTo>
                    <a:pt x="221" y="1"/>
                  </a:lnTo>
                  <a:lnTo>
                    <a:pt x="217" y="2"/>
                  </a:lnTo>
                  <a:lnTo>
                    <a:pt x="214" y="5"/>
                  </a:lnTo>
                  <a:lnTo>
                    <a:pt x="212" y="8"/>
                  </a:lnTo>
                  <a:lnTo>
                    <a:pt x="141" y="150"/>
                  </a:lnTo>
                  <a:lnTo>
                    <a:pt x="15" y="150"/>
                  </a:lnTo>
                  <a:lnTo>
                    <a:pt x="10" y="151"/>
                  </a:lnTo>
                  <a:lnTo>
                    <a:pt x="6" y="153"/>
                  </a:lnTo>
                  <a:lnTo>
                    <a:pt x="3" y="155"/>
                  </a:lnTo>
                  <a:lnTo>
                    <a:pt x="1" y="160"/>
                  </a:lnTo>
                  <a:lnTo>
                    <a:pt x="0" y="164"/>
                  </a:lnTo>
                  <a:lnTo>
                    <a:pt x="1" y="169"/>
                  </a:lnTo>
                  <a:lnTo>
                    <a:pt x="2" y="174"/>
                  </a:lnTo>
                  <a:lnTo>
                    <a:pt x="5" y="177"/>
                  </a:lnTo>
                  <a:lnTo>
                    <a:pt x="115" y="270"/>
                  </a:lnTo>
                  <a:lnTo>
                    <a:pt x="62" y="431"/>
                  </a:lnTo>
                  <a:lnTo>
                    <a:pt x="61" y="436"/>
                  </a:lnTo>
                  <a:lnTo>
                    <a:pt x="61" y="440"/>
                  </a:lnTo>
                  <a:lnTo>
                    <a:pt x="63" y="444"/>
                  </a:lnTo>
                  <a:lnTo>
                    <a:pt x="66" y="448"/>
                  </a:lnTo>
                  <a:lnTo>
                    <a:pt x="70" y="450"/>
                  </a:lnTo>
                  <a:lnTo>
                    <a:pt x="76" y="451"/>
                  </a:lnTo>
                  <a:lnTo>
                    <a:pt x="80" y="450"/>
                  </a:lnTo>
                  <a:lnTo>
                    <a:pt x="84" y="448"/>
                  </a:lnTo>
                  <a:lnTo>
                    <a:pt x="227" y="350"/>
                  </a:lnTo>
                  <a:lnTo>
                    <a:pt x="367" y="448"/>
                  </a:lnTo>
                  <a:lnTo>
                    <a:pt x="371" y="450"/>
                  </a:lnTo>
                  <a:lnTo>
                    <a:pt x="375" y="451"/>
                  </a:lnTo>
                  <a:lnTo>
                    <a:pt x="380" y="450"/>
                  </a:lnTo>
                  <a:lnTo>
                    <a:pt x="384" y="448"/>
                  </a:lnTo>
                  <a:lnTo>
                    <a:pt x="387" y="444"/>
                  </a:lnTo>
                  <a:lnTo>
                    <a:pt x="389" y="440"/>
                  </a:lnTo>
                  <a:lnTo>
                    <a:pt x="390" y="436"/>
                  </a:lnTo>
                  <a:lnTo>
                    <a:pt x="389" y="432"/>
                  </a:lnTo>
                  <a:lnTo>
                    <a:pt x="339" y="270"/>
                  </a:lnTo>
                  <a:lnTo>
                    <a:pt x="445" y="177"/>
                  </a:lnTo>
                  <a:lnTo>
                    <a:pt x="448" y="173"/>
                  </a:lnTo>
                  <a:lnTo>
                    <a:pt x="450" y="168"/>
                  </a:lnTo>
                  <a:lnTo>
                    <a:pt x="450" y="164"/>
                  </a:lnTo>
                  <a:lnTo>
                    <a:pt x="44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grpSp>
        <p:nvGrpSpPr>
          <p:cNvPr id="581" name="Group 143">
            <a:extLst>
              <a:ext uri="{FF2B5EF4-FFF2-40B4-BE49-F238E27FC236}">
                <a16:creationId xmlns:a16="http://schemas.microsoft.com/office/drawing/2014/main" id="{695C4F88-F6E8-4A45-90DA-516AF381382B}"/>
              </a:ext>
            </a:extLst>
          </p:cNvPr>
          <p:cNvGrpSpPr>
            <a:grpSpLocks noChangeAspect="1"/>
          </p:cNvGrpSpPr>
          <p:nvPr/>
        </p:nvGrpSpPr>
        <p:grpSpPr>
          <a:xfrm>
            <a:off x="3642789" y="5417577"/>
            <a:ext cx="321550" cy="285619"/>
            <a:chOff x="7615238" y="793750"/>
            <a:chExt cx="284163" cy="252412"/>
          </a:xfrm>
          <a:solidFill>
            <a:schemeClr val="bg2"/>
          </a:solidFill>
          <a:effectLst/>
        </p:grpSpPr>
        <p:sp>
          <p:nvSpPr>
            <p:cNvPr id="582" name="Freeform 299">
              <a:extLst>
                <a:ext uri="{FF2B5EF4-FFF2-40B4-BE49-F238E27FC236}">
                  <a16:creationId xmlns:a16="http://schemas.microsoft.com/office/drawing/2014/main" id="{B02A3D25-EA53-439A-BD34-26FA2FCB0E1A}"/>
                </a:ext>
              </a:extLst>
            </p:cNvPr>
            <p:cNvSpPr>
              <a:spLocks noEditPoints="1"/>
            </p:cNvSpPr>
            <p:nvPr/>
          </p:nvSpPr>
          <p:spPr bwMode="auto">
            <a:xfrm>
              <a:off x="7615238" y="793750"/>
              <a:ext cx="284163" cy="252412"/>
            </a:xfrm>
            <a:custGeom>
              <a:avLst/>
              <a:gdLst>
                <a:gd name="T0" fmla="*/ 763 w 896"/>
                <a:gd name="T1" fmla="*/ 426 h 793"/>
                <a:gd name="T2" fmla="*/ 765 w 896"/>
                <a:gd name="T3" fmla="*/ 445 h 793"/>
                <a:gd name="T4" fmla="*/ 809 w 896"/>
                <a:gd name="T5" fmla="*/ 457 h 793"/>
                <a:gd name="T6" fmla="*/ 836 w 896"/>
                <a:gd name="T7" fmla="*/ 494 h 793"/>
                <a:gd name="T8" fmla="*/ 801 w 896"/>
                <a:gd name="T9" fmla="*/ 538 h 793"/>
                <a:gd name="T10" fmla="*/ 735 w 896"/>
                <a:gd name="T11" fmla="*/ 546 h 793"/>
                <a:gd name="T12" fmla="*/ 737 w 896"/>
                <a:gd name="T13" fmla="*/ 564 h 793"/>
                <a:gd name="T14" fmla="*/ 768 w 896"/>
                <a:gd name="T15" fmla="*/ 571 h 793"/>
                <a:gd name="T16" fmla="*/ 791 w 896"/>
                <a:gd name="T17" fmla="*/ 602 h 793"/>
                <a:gd name="T18" fmla="*/ 781 w 896"/>
                <a:gd name="T19" fmla="*/ 636 h 793"/>
                <a:gd name="T20" fmla="*/ 699 w 896"/>
                <a:gd name="T21" fmla="*/ 644 h 793"/>
                <a:gd name="T22" fmla="*/ 688 w 896"/>
                <a:gd name="T23" fmla="*/ 658 h 793"/>
                <a:gd name="T24" fmla="*/ 699 w 896"/>
                <a:gd name="T25" fmla="*/ 673 h 793"/>
                <a:gd name="T26" fmla="*/ 741 w 896"/>
                <a:gd name="T27" fmla="*/ 687 h 793"/>
                <a:gd name="T28" fmla="*/ 743 w 896"/>
                <a:gd name="T29" fmla="*/ 723 h 793"/>
                <a:gd name="T30" fmla="*/ 442 w 896"/>
                <a:gd name="T31" fmla="*/ 733 h 793"/>
                <a:gd name="T32" fmla="*/ 273 w 896"/>
                <a:gd name="T33" fmla="*/ 702 h 793"/>
                <a:gd name="T34" fmla="*/ 246 w 896"/>
                <a:gd name="T35" fmla="*/ 392 h 793"/>
                <a:gd name="T36" fmla="*/ 348 w 896"/>
                <a:gd name="T37" fmla="*/ 316 h 793"/>
                <a:gd name="T38" fmla="*/ 425 w 896"/>
                <a:gd name="T39" fmla="*/ 208 h 793"/>
                <a:gd name="T40" fmla="*/ 460 w 896"/>
                <a:gd name="T41" fmla="*/ 107 h 793"/>
                <a:gd name="T42" fmla="*/ 472 w 896"/>
                <a:gd name="T43" fmla="*/ 40 h 793"/>
                <a:gd name="T44" fmla="*/ 513 w 896"/>
                <a:gd name="T45" fmla="*/ 39 h 793"/>
                <a:gd name="T46" fmla="*/ 550 w 896"/>
                <a:gd name="T47" fmla="*/ 118 h 793"/>
                <a:gd name="T48" fmla="*/ 516 w 896"/>
                <a:gd name="T49" fmla="*/ 276 h 793"/>
                <a:gd name="T50" fmla="*/ 516 w 896"/>
                <a:gd name="T51" fmla="*/ 313 h 793"/>
                <a:gd name="T52" fmla="*/ 853 w 896"/>
                <a:gd name="T53" fmla="*/ 329 h 793"/>
                <a:gd name="T54" fmla="*/ 861 w 896"/>
                <a:gd name="T55" fmla="*/ 389 h 793"/>
                <a:gd name="T56" fmla="*/ 833 w 896"/>
                <a:gd name="T57" fmla="*/ 417 h 793"/>
                <a:gd name="T58" fmla="*/ 179 w 896"/>
                <a:gd name="T59" fmla="*/ 345 h 793"/>
                <a:gd name="T60" fmla="*/ 893 w 896"/>
                <a:gd name="T61" fmla="*/ 337 h 793"/>
                <a:gd name="T62" fmla="*/ 863 w 896"/>
                <a:gd name="T63" fmla="*/ 298 h 793"/>
                <a:gd name="T64" fmla="*/ 544 w 896"/>
                <a:gd name="T65" fmla="*/ 285 h 793"/>
                <a:gd name="T66" fmla="*/ 580 w 896"/>
                <a:gd name="T67" fmla="*/ 123 h 793"/>
                <a:gd name="T68" fmla="*/ 555 w 896"/>
                <a:gd name="T69" fmla="*/ 40 h 793"/>
                <a:gd name="T70" fmla="*/ 513 w 896"/>
                <a:gd name="T71" fmla="*/ 5 h 793"/>
                <a:gd name="T72" fmla="*/ 470 w 896"/>
                <a:gd name="T73" fmla="*/ 6 h 793"/>
                <a:gd name="T74" fmla="*/ 441 w 896"/>
                <a:gd name="T75" fmla="*/ 35 h 793"/>
                <a:gd name="T76" fmla="*/ 432 w 896"/>
                <a:gd name="T77" fmla="*/ 91 h 793"/>
                <a:gd name="T78" fmla="*/ 398 w 896"/>
                <a:gd name="T79" fmla="*/ 194 h 793"/>
                <a:gd name="T80" fmla="*/ 280 w 896"/>
                <a:gd name="T81" fmla="*/ 337 h 793"/>
                <a:gd name="T82" fmla="*/ 209 w 896"/>
                <a:gd name="T83" fmla="*/ 330 h 793"/>
                <a:gd name="T84" fmla="*/ 197 w 896"/>
                <a:gd name="T85" fmla="*/ 315 h 793"/>
                <a:gd name="T86" fmla="*/ 2 w 896"/>
                <a:gd name="T87" fmla="*/ 321 h 793"/>
                <a:gd name="T88" fmla="*/ 2 w 896"/>
                <a:gd name="T89" fmla="*/ 786 h 793"/>
                <a:gd name="T90" fmla="*/ 197 w 896"/>
                <a:gd name="T91" fmla="*/ 793 h 793"/>
                <a:gd name="T92" fmla="*/ 209 w 896"/>
                <a:gd name="T93" fmla="*/ 778 h 793"/>
                <a:gd name="T94" fmla="*/ 383 w 896"/>
                <a:gd name="T95" fmla="*/ 758 h 793"/>
                <a:gd name="T96" fmla="*/ 743 w 896"/>
                <a:gd name="T97" fmla="*/ 760 h 793"/>
                <a:gd name="T98" fmla="*/ 771 w 896"/>
                <a:gd name="T99" fmla="*/ 735 h 793"/>
                <a:gd name="T100" fmla="*/ 768 w 896"/>
                <a:gd name="T101" fmla="*/ 672 h 793"/>
                <a:gd name="T102" fmla="*/ 821 w 896"/>
                <a:gd name="T103" fmla="*/ 625 h 793"/>
                <a:gd name="T104" fmla="*/ 831 w 896"/>
                <a:gd name="T105" fmla="*/ 556 h 793"/>
                <a:gd name="T106" fmla="*/ 866 w 896"/>
                <a:gd name="T107" fmla="*/ 501 h 793"/>
                <a:gd name="T108" fmla="*/ 853 w 896"/>
                <a:gd name="T109" fmla="*/ 456 h 793"/>
                <a:gd name="T110" fmla="*/ 872 w 896"/>
                <a:gd name="T111" fmla="*/ 427 h 793"/>
                <a:gd name="T112" fmla="*/ 896 w 896"/>
                <a:gd name="T113" fmla="*/ 36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6" h="793">
                  <a:moveTo>
                    <a:pt x="821" y="420"/>
                  </a:moveTo>
                  <a:lnTo>
                    <a:pt x="774" y="420"/>
                  </a:lnTo>
                  <a:lnTo>
                    <a:pt x="772" y="420"/>
                  </a:lnTo>
                  <a:lnTo>
                    <a:pt x="769" y="421"/>
                  </a:lnTo>
                  <a:lnTo>
                    <a:pt x="767" y="422"/>
                  </a:lnTo>
                  <a:lnTo>
                    <a:pt x="765" y="424"/>
                  </a:lnTo>
                  <a:lnTo>
                    <a:pt x="763" y="426"/>
                  </a:lnTo>
                  <a:lnTo>
                    <a:pt x="762" y="428"/>
                  </a:lnTo>
                  <a:lnTo>
                    <a:pt x="760" y="431"/>
                  </a:lnTo>
                  <a:lnTo>
                    <a:pt x="760" y="435"/>
                  </a:lnTo>
                  <a:lnTo>
                    <a:pt x="760" y="437"/>
                  </a:lnTo>
                  <a:lnTo>
                    <a:pt x="762" y="440"/>
                  </a:lnTo>
                  <a:lnTo>
                    <a:pt x="763" y="442"/>
                  </a:lnTo>
                  <a:lnTo>
                    <a:pt x="765" y="445"/>
                  </a:lnTo>
                  <a:lnTo>
                    <a:pt x="767" y="446"/>
                  </a:lnTo>
                  <a:lnTo>
                    <a:pt x="769" y="448"/>
                  </a:lnTo>
                  <a:lnTo>
                    <a:pt x="772" y="448"/>
                  </a:lnTo>
                  <a:lnTo>
                    <a:pt x="774" y="450"/>
                  </a:lnTo>
                  <a:lnTo>
                    <a:pt x="787" y="451"/>
                  </a:lnTo>
                  <a:lnTo>
                    <a:pt x="798" y="453"/>
                  </a:lnTo>
                  <a:lnTo>
                    <a:pt x="809" y="457"/>
                  </a:lnTo>
                  <a:lnTo>
                    <a:pt x="818" y="463"/>
                  </a:lnTo>
                  <a:lnTo>
                    <a:pt x="826" y="470"/>
                  </a:lnTo>
                  <a:lnTo>
                    <a:pt x="832" y="477"/>
                  </a:lnTo>
                  <a:lnTo>
                    <a:pt x="834" y="482"/>
                  </a:lnTo>
                  <a:lnTo>
                    <a:pt x="835" y="486"/>
                  </a:lnTo>
                  <a:lnTo>
                    <a:pt x="836" y="490"/>
                  </a:lnTo>
                  <a:lnTo>
                    <a:pt x="836" y="494"/>
                  </a:lnTo>
                  <a:lnTo>
                    <a:pt x="836" y="503"/>
                  </a:lnTo>
                  <a:lnTo>
                    <a:pt x="833" y="510"/>
                  </a:lnTo>
                  <a:lnTo>
                    <a:pt x="829" y="518"/>
                  </a:lnTo>
                  <a:lnTo>
                    <a:pt x="824" y="525"/>
                  </a:lnTo>
                  <a:lnTo>
                    <a:pt x="816" y="531"/>
                  </a:lnTo>
                  <a:lnTo>
                    <a:pt x="809" y="535"/>
                  </a:lnTo>
                  <a:lnTo>
                    <a:pt x="801" y="538"/>
                  </a:lnTo>
                  <a:lnTo>
                    <a:pt x="793" y="539"/>
                  </a:lnTo>
                  <a:lnTo>
                    <a:pt x="748" y="539"/>
                  </a:lnTo>
                  <a:lnTo>
                    <a:pt x="744" y="539"/>
                  </a:lnTo>
                  <a:lnTo>
                    <a:pt x="741" y="540"/>
                  </a:lnTo>
                  <a:lnTo>
                    <a:pt x="739" y="542"/>
                  </a:lnTo>
                  <a:lnTo>
                    <a:pt x="737" y="544"/>
                  </a:lnTo>
                  <a:lnTo>
                    <a:pt x="735" y="546"/>
                  </a:lnTo>
                  <a:lnTo>
                    <a:pt x="734" y="548"/>
                  </a:lnTo>
                  <a:lnTo>
                    <a:pt x="733" y="551"/>
                  </a:lnTo>
                  <a:lnTo>
                    <a:pt x="733" y="554"/>
                  </a:lnTo>
                  <a:lnTo>
                    <a:pt x="733" y="556"/>
                  </a:lnTo>
                  <a:lnTo>
                    <a:pt x="734" y="560"/>
                  </a:lnTo>
                  <a:lnTo>
                    <a:pt x="735" y="562"/>
                  </a:lnTo>
                  <a:lnTo>
                    <a:pt x="737" y="564"/>
                  </a:lnTo>
                  <a:lnTo>
                    <a:pt x="739" y="566"/>
                  </a:lnTo>
                  <a:lnTo>
                    <a:pt x="741" y="567"/>
                  </a:lnTo>
                  <a:lnTo>
                    <a:pt x="744" y="568"/>
                  </a:lnTo>
                  <a:lnTo>
                    <a:pt x="748" y="569"/>
                  </a:lnTo>
                  <a:lnTo>
                    <a:pt x="755" y="569"/>
                  </a:lnTo>
                  <a:lnTo>
                    <a:pt x="762" y="570"/>
                  </a:lnTo>
                  <a:lnTo>
                    <a:pt x="768" y="571"/>
                  </a:lnTo>
                  <a:lnTo>
                    <a:pt x="773" y="575"/>
                  </a:lnTo>
                  <a:lnTo>
                    <a:pt x="778" y="577"/>
                  </a:lnTo>
                  <a:lnTo>
                    <a:pt x="781" y="580"/>
                  </a:lnTo>
                  <a:lnTo>
                    <a:pt x="784" y="583"/>
                  </a:lnTo>
                  <a:lnTo>
                    <a:pt x="786" y="587"/>
                  </a:lnTo>
                  <a:lnTo>
                    <a:pt x="789" y="595"/>
                  </a:lnTo>
                  <a:lnTo>
                    <a:pt x="791" y="602"/>
                  </a:lnTo>
                  <a:lnTo>
                    <a:pt x="791" y="609"/>
                  </a:lnTo>
                  <a:lnTo>
                    <a:pt x="793" y="613"/>
                  </a:lnTo>
                  <a:lnTo>
                    <a:pt x="791" y="619"/>
                  </a:lnTo>
                  <a:lnTo>
                    <a:pt x="790" y="623"/>
                  </a:lnTo>
                  <a:lnTo>
                    <a:pt x="789" y="627"/>
                  </a:lnTo>
                  <a:lnTo>
                    <a:pt x="786" y="630"/>
                  </a:lnTo>
                  <a:lnTo>
                    <a:pt x="781" y="636"/>
                  </a:lnTo>
                  <a:lnTo>
                    <a:pt x="773" y="639"/>
                  </a:lnTo>
                  <a:lnTo>
                    <a:pt x="766" y="641"/>
                  </a:lnTo>
                  <a:lnTo>
                    <a:pt x="758" y="643"/>
                  </a:lnTo>
                  <a:lnTo>
                    <a:pt x="752" y="643"/>
                  </a:lnTo>
                  <a:lnTo>
                    <a:pt x="748" y="643"/>
                  </a:lnTo>
                  <a:lnTo>
                    <a:pt x="703" y="643"/>
                  </a:lnTo>
                  <a:lnTo>
                    <a:pt x="699" y="644"/>
                  </a:lnTo>
                  <a:lnTo>
                    <a:pt x="696" y="645"/>
                  </a:lnTo>
                  <a:lnTo>
                    <a:pt x="694" y="646"/>
                  </a:lnTo>
                  <a:lnTo>
                    <a:pt x="692" y="648"/>
                  </a:lnTo>
                  <a:lnTo>
                    <a:pt x="690" y="651"/>
                  </a:lnTo>
                  <a:lnTo>
                    <a:pt x="689" y="653"/>
                  </a:lnTo>
                  <a:lnTo>
                    <a:pt x="688" y="656"/>
                  </a:lnTo>
                  <a:lnTo>
                    <a:pt x="688" y="658"/>
                  </a:lnTo>
                  <a:lnTo>
                    <a:pt x="688" y="661"/>
                  </a:lnTo>
                  <a:lnTo>
                    <a:pt x="689" y="664"/>
                  </a:lnTo>
                  <a:lnTo>
                    <a:pt x="690" y="667"/>
                  </a:lnTo>
                  <a:lnTo>
                    <a:pt x="692" y="669"/>
                  </a:lnTo>
                  <a:lnTo>
                    <a:pt x="694" y="671"/>
                  </a:lnTo>
                  <a:lnTo>
                    <a:pt x="696" y="672"/>
                  </a:lnTo>
                  <a:lnTo>
                    <a:pt x="699" y="673"/>
                  </a:lnTo>
                  <a:lnTo>
                    <a:pt x="703" y="673"/>
                  </a:lnTo>
                  <a:lnTo>
                    <a:pt x="707" y="674"/>
                  </a:lnTo>
                  <a:lnTo>
                    <a:pt x="713" y="674"/>
                  </a:lnTo>
                  <a:lnTo>
                    <a:pt x="721" y="675"/>
                  </a:lnTo>
                  <a:lnTo>
                    <a:pt x="728" y="678"/>
                  </a:lnTo>
                  <a:lnTo>
                    <a:pt x="736" y="682"/>
                  </a:lnTo>
                  <a:lnTo>
                    <a:pt x="741" y="687"/>
                  </a:lnTo>
                  <a:lnTo>
                    <a:pt x="744" y="690"/>
                  </a:lnTo>
                  <a:lnTo>
                    <a:pt x="745" y="694"/>
                  </a:lnTo>
                  <a:lnTo>
                    <a:pt x="747" y="699"/>
                  </a:lnTo>
                  <a:lnTo>
                    <a:pt x="748" y="703"/>
                  </a:lnTo>
                  <a:lnTo>
                    <a:pt x="747" y="712"/>
                  </a:lnTo>
                  <a:lnTo>
                    <a:pt x="745" y="718"/>
                  </a:lnTo>
                  <a:lnTo>
                    <a:pt x="743" y="723"/>
                  </a:lnTo>
                  <a:lnTo>
                    <a:pt x="741" y="727"/>
                  </a:lnTo>
                  <a:lnTo>
                    <a:pt x="737" y="730"/>
                  </a:lnTo>
                  <a:lnTo>
                    <a:pt x="732" y="732"/>
                  </a:lnTo>
                  <a:lnTo>
                    <a:pt x="725" y="733"/>
                  </a:lnTo>
                  <a:lnTo>
                    <a:pt x="718" y="733"/>
                  </a:lnTo>
                  <a:lnTo>
                    <a:pt x="463" y="733"/>
                  </a:lnTo>
                  <a:lnTo>
                    <a:pt x="442" y="733"/>
                  </a:lnTo>
                  <a:lnTo>
                    <a:pt x="421" y="732"/>
                  </a:lnTo>
                  <a:lnTo>
                    <a:pt x="403" y="730"/>
                  </a:lnTo>
                  <a:lnTo>
                    <a:pt x="386" y="728"/>
                  </a:lnTo>
                  <a:lnTo>
                    <a:pt x="354" y="721"/>
                  </a:lnTo>
                  <a:lnTo>
                    <a:pt x="322" y="714"/>
                  </a:lnTo>
                  <a:lnTo>
                    <a:pt x="298" y="708"/>
                  </a:lnTo>
                  <a:lnTo>
                    <a:pt x="273" y="702"/>
                  </a:lnTo>
                  <a:lnTo>
                    <a:pt x="243" y="697"/>
                  </a:lnTo>
                  <a:lnTo>
                    <a:pt x="209" y="690"/>
                  </a:lnTo>
                  <a:lnTo>
                    <a:pt x="209" y="404"/>
                  </a:lnTo>
                  <a:lnTo>
                    <a:pt x="218" y="401"/>
                  </a:lnTo>
                  <a:lnTo>
                    <a:pt x="227" y="399"/>
                  </a:lnTo>
                  <a:lnTo>
                    <a:pt x="236" y="396"/>
                  </a:lnTo>
                  <a:lnTo>
                    <a:pt x="246" y="392"/>
                  </a:lnTo>
                  <a:lnTo>
                    <a:pt x="257" y="386"/>
                  </a:lnTo>
                  <a:lnTo>
                    <a:pt x="266" y="381"/>
                  </a:lnTo>
                  <a:lnTo>
                    <a:pt x="276" y="376"/>
                  </a:lnTo>
                  <a:lnTo>
                    <a:pt x="287" y="368"/>
                  </a:lnTo>
                  <a:lnTo>
                    <a:pt x="307" y="353"/>
                  </a:lnTo>
                  <a:lnTo>
                    <a:pt x="327" y="335"/>
                  </a:lnTo>
                  <a:lnTo>
                    <a:pt x="348" y="316"/>
                  </a:lnTo>
                  <a:lnTo>
                    <a:pt x="367" y="293"/>
                  </a:lnTo>
                  <a:lnTo>
                    <a:pt x="379" y="279"/>
                  </a:lnTo>
                  <a:lnTo>
                    <a:pt x="389" y="266"/>
                  </a:lnTo>
                  <a:lnTo>
                    <a:pt x="399" y="252"/>
                  </a:lnTo>
                  <a:lnTo>
                    <a:pt x="408" y="237"/>
                  </a:lnTo>
                  <a:lnTo>
                    <a:pt x="416" y="223"/>
                  </a:lnTo>
                  <a:lnTo>
                    <a:pt x="425" y="208"/>
                  </a:lnTo>
                  <a:lnTo>
                    <a:pt x="431" y="194"/>
                  </a:lnTo>
                  <a:lnTo>
                    <a:pt x="439" y="179"/>
                  </a:lnTo>
                  <a:lnTo>
                    <a:pt x="444" y="164"/>
                  </a:lnTo>
                  <a:lnTo>
                    <a:pt x="449" y="150"/>
                  </a:lnTo>
                  <a:lnTo>
                    <a:pt x="454" y="135"/>
                  </a:lnTo>
                  <a:lnTo>
                    <a:pt x="457" y="121"/>
                  </a:lnTo>
                  <a:lnTo>
                    <a:pt x="460" y="107"/>
                  </a:lnTo>
                  <a:lnTo>
                    <a:pt x="461" y="92"/>
                  </a:lnTo>
                  <a:lnTo>
                    <a:pt x="463" y="78"/>
                  </a:lnTo>
                  <a:lnTo>
                    <a:pt x="463" y="66"/>
                  </a:lnTo>
                  <a:lnTo>
                    <a:pt x="464" y="58"/>
                  </a:lnTo>
                  <a:lnTo>
                    <a:pt x="465" y="52"/>
                  </a:lnTo>
                  <a:lnTo>
                    <a:pt x="467" y="45"/>
                  </a:lnTo>
                  <a:lnTo>
                    <a:pt x="472" y="40"/>
                  </a:lnTo>
                  <a:lnTo>
                    <a:pt x="476" y="37"/>
                  </a:lnTo>
                  <a:lnTo>
                    <a:pt x="480" y="34"/>
                  </a:lnTo>
                  <a:lnTo>
                    <a:pt x="487" y="31"/>
                  </a:lnTo>
                  <a:lnTo>
                    <a:pt x="492" y="30"/>
                  </a:lnTo>
                  <a:lnTo>
                    <a:pt x="500" y="31"/>
                  </a:lnTo>
                  <a:lnTo>
                    <a:pt x="506" y="34"/>
                  </a:lnTo>
                  <a:lnTo>
                    <a:pt x="513" y="39"/>
                  </a:lnTo>
                  <a:lnTo>
                    <a:pt x="521" y="45"/>
                  </a:lnTo>
                  <a:lnTo>
                    <a:pt x="528" y="54"/>
                  </a:lnTo>
                  <a:lnTo>
                    <a:pt x="535" y="66"/>
                  </a:lnTo>
                  <a:lnTo>
                    <a:pt x="541" y="79"/>
                  </a:lnTo>
                  <a:lnTo>
                    <a:pt x="547" y="97"/>
                  </a:lnTo>
                  <a:lnTo>
                    <a:pt x="549" y="106"/>
                  </a:lnTo>
                  <a:lnTo>
                    <a:pt x="550" y="118"/>
                  </a:lnTo>
                  <a:lnTo>
                    <a:pt x="550" y="130"/>
                  </a:lnTo>
                  <a:lnTo>
                    <a:pt x="549" y="144"/>
                  </a:lnTo>
                  <a:lnTo>
                    <a:pt x="546" y="171"/>
                  </a:lnTo>
                  <a:lnTo>
                    <a:pt x="539" y="200"/>
                  </a:lnTo>
                  <a:lnTo>
                    <a:pt x="532" y="228"/>
                  </a:lnTo>
                  <a:lnTo>
                    <a:pt x="523" y="255"/>
                  </a:lnTo>
                  <a:lnTo>
                    <a:pt x="516" y="276"/>
                  </a:lnTo>
                  <a:lnTo>
                    <a:pt x="509" y="294"/>
                  </a:lnTo>
                  <a:lnTo>
                    <a:pt x="508" y="298"/>
                  </a:lnTo>
                  <a:lnTo>
                    <a:pt x="508" y="301"/>
                  </a:lnTo>
                  <a:lnTo>
                    <a:pt x="509" y="305"/>
                  </a:lnTo>
                  <a:lnTo>
                    <a:pt x="510" y="308"/>
                  </a:lnTo>
                  <a:lnTo>
                    <a:pt x="513" y="310"/>
                  </a:lnTo>
                  <a:lnTo>
                    <a:pt x="516" y="313"/>
                  </a:lnTo>
                  <a:lnTo>
                    <a:pt x="519" y="314"/>
                  </a:lnTo>
                  <a:lnTo>
                    <a:pt x="523" y="315"/>
                  </a:lnTo>
                  <a:lnTo>
                    <a:pt x="821" y="315"/>
                  </a:lnTo>
                  <a:lnTo>
                    <a:pt x="830" y="316"/>
                  </a:lnTo>
                  <a:lnTo>
                    <a:pt x="839" y="318"/>
                  </a:lnTo>
                  <a:lnTo>
                    <a:pt x="846" y="322"/>
                  </a:lnTo>
                  <a:lnTo>
                    <a:pt x="853" y="329"/>
                  </a:lnTo>
                  <a:lnTo>
                    <a:pt x="859" y="335"/>
                  </a:lnTo>
                  <a:lnTo>
                    <a:pt x="863" y="343"/>
                  </a:lnTo>
                  <a:lnTo>
                    <a:pt x="866" y="351"/>
                  </a:lnTo>
                  <a:lnTo>
                    <a:pt x="866" y="360"/>
                  </a:lnTo>
                  <a:lnTo>
                    <a:pt x="866" y="369"/>
                  </a:lnTo>
                  <a:lnTo>
                    <a:pt x="864" y="379"/>
                  </a:lnTo>
                  <a:lnTo>
                    <a:pt x="861" y="389"/>
                  </a:lnTo>
                  <a:lnTo>
                    <a:pt x="856" y="398"/>
                  </a:lnTo>
                  <a:lnTo>
                    <a:pt x="852" y="402"/>
                  </a:lnTo>
                  <a:lnTo>
                    <a:pt x="849" y="407"/>
                  </a:lnTo>
                  <a:lnTo>
                    <a:pt x="846" y="410"/>
                  </a:lnTo>
                  <a:lnTo>
                    <a:pt x="842" y="413"/>
                  </a:lnTo>
                  <a:lnTo>
                    <a:pt x="837" y="415"/>
                  </a:lnTo>
                  <a:lnTo>
                    <a:pt x="833" y="417"/>
                  </a:lnTo>
                  <a:lnTo>
                    <a:pt x="828" y="419"/>
                  </a:lnTo>
                  <a:lnTo>
                    <a:pt x="821" y="420"/>
                  </a:lnTo>
                  <a:lnTo>
                    <a:pt x="821" y="420"/>
                  </a:lnTo>
                  <a:close/>
                  <a:moveTo>
                    <a:pt x="179" y="763"/>
                  </a:moveTo>
                  <a:lnTo>
                    <a:pt x="30" y="763"/>
                  </a:lnTo>
                  <a:lnTo>
                    <a:pt x="30" y="344"/>
                  </a:lnTo>
                  <a:lnTo>
                    <a:pt x="179" y="345"/>
                  </a:lnTo>
                  <a:lnTo>
                    <a:pt x="179" y="390"/>
                  </a:lnTo>
                  <a:lnTo>
                    <a:pt x="179" y="703"/>
                  </a:lnTo>
                  <a:lnTo>
                    <a:pt x="179" y="763"/>
                  </a:lnTo>
                  <a:close/>
                  <a:moveTo>
                    <a:pt x="896" y="360"/>
                  </a:moveTo>
                  <a:lnTo>
                    <a:pt x="896" y="352"/>
                  </a:lnTo>
                  <a:lnTo>
                    <a:pt x="895" y="345"/>
                  </a:lnTo>
                  <a:lnTo>
                    <a:pt x="893" y="337"/>
                  </a:lnTo>
                  <a:lnTo>
                    <a:pt x="891" y="331"/>
                  </a:lnTo>
                  <a:lnTo>
                    <a:pt x="888" y="324"/>
                  </a:lnTo>
                  <a:lnTo>
                    <a:pt x="883" y="318"/>
                  </a:lnTo>
                  <a:lnTo>
                    <a:pt x="879" y="313"/>
                  </a:lnTo>
                  <a:lnTo>
                    <a:pt x="874" y="307"/>
                  </a:lnTo>
                  <a:lnTo>
                    <a:pt x="868" y="302"/>
                  </a:lnTo>
                  <a:lnTo>
                    <a:pt x="863" y="298"/>
                  </a:lnTo>
                  <a:lnTo>
                    <a:pt x="857" y="294"/>
                  </a:lnTo>
                  <a:lnTo>
                    <a:pt x="850" y="291"/>
                  </a:lnTo>
                  <a:lnTo>
                    <a:pt x="844" y="288"/>
                  </a:lnTo>
                  <a:lnTo>
                    <a:pt x="836" y="286"/>
                  </a:lnTo>
                  <a:lnTo>
                    <a:pt x="829" y="285"/>
                  </a:lnTo>
                  <a:lnTo>
                    <a:pt x="821" y="285"/>
                  </a:lnTo>
                  <a:lnTo>
                    <a:pt x="544" y="285"/>
                  </a:lnTo>
                  <a:lnTo>
                    <a:pt x="551" y="267"/>
                  </a:lnTo>
                  <a:lnTo>
                    <a:pt x="558" y="244"/>
                  </a:lnTo>
                  <a:lnTo>
                    <a:pt x="566" y="219"/>
                  </a:lnTo>
                  <a:lnTo>
                    <a:pt x="572" y="192"/>
                  </a:lnTo>
                  <a:lnTo>
                    <a:pt x="577" y="164"/>
                  </a:lnTo>
                  <a:lnTo>
                    <a:pt x="580" y="136"/>
                  </a:lnTo>
                  <a:lnTo>
                    <a:pt x="580" y="123"/>
                  </a:lnTo>
                  <a:lnTo>
                    <a:pt x="580" y="111"/>
                  </a:lnTo>
                  <a:lnTo>
                    <a:pt x="578" y="99"/>
                  </a:lnTo>
                  <a:lnTo>
                    <a:pt x="575" y="88"/>
                  </a:lnTo>
                  <a:lnTo>
                    <a:pt x="571" y="74"/>
                  </a:lnTo>
                  <a:lnTo>
                    <a:pt x="566" y="61"/>
                  </a:lnTo>
                  <a:lnTo>
                    <a:pt x="560" y="50"/>
                  </a:lnTo>
                  <a:lnTo>
                    <a:pt x="555" y="40"/>
                  </a:lnTo>
                  <a:lnTo>
                    <a:pt x="549" y="31"/>
                  </a:lnTo>
                  <a:lnTo>
                    <a:pt x="543" y="25"/>
                  </a:lnTo>
                  <a:lnTo>
                    <a:pt x="537" y="19"/>
                  </a:lnTo>
                  <a:lnTo>
                    <a:pt x="531" y="14"/>
                  </a:lnTo>
                  <a:lnTo>
                    <a:pt x="524" y="10"/>
                  </a:lnTo>
                  <a:lnTo>
                    <a:pt x="519" y="7"/>
                  </a:lnTo>
                  <a:lnTo>
                    <a:pt x="513" y="5"/>
                  </a:lnTo>
                  <a:lnTo>
                    <a:pt x="508" y="2"/>
                  </a:lnTo>
                  <a:lnTo>
                    <a:pt x="498" y="1"/>
                  </a:lnTo>
                  <a:lnTo>
                    <a:pt x="492" y="0"/>
                  </a:lnTo>
                  <a:lnTo>
                    <a:pt x="486" y="1"/>
                  </a:lnTo>
                  <a:lnTo>
                    <a:pt x="480" y="1"/>
                  </a:lnTo>
                  <a:lnTo>
                    <a:pt x="475" y="4"/>
                  </a:lnTo>
                  <a:lnTo>
                    <a:pt x="470" y="6"/>
                  </a:lnTo>
                  <a:lnTo>
                    <a:pt x="464" y="8"/>
                  </a:lnTo>
                  <a:lnTo>
                    <a:pt x="459" y="11"/>
                  </a:lnTo>
                  <a:lnTo>
                    <a:pt x="455" y="15"/>
                  </a:lnTo>
                  <a:lnTo>
                    <a:pt x="450" y="20"/>
                  </a:lnTo>
                  <a:lnTo>
                    <a:pt x="446" y="24"/>
                  </a:lnTo>
                  <a:lnTo>
                    <a:pt x="443" y="29"/>
                  </a:lnTo>
                  <a:lnTo>
                    <a:pt x="441" y="35"/>
                  </a:lnTo>
                  <a:lnTo>
                    <a:pt x="437" y="40"/>
                  </a:lnTo>
                  <a:lnTo>
                    <a:pt x="435" y="46"/>
                  </a:lnTo>
                  <a:lnTo>
                    <a:pt x="434" y="52"/>
                  </a:lnTo>
                  <a:lnTo>
                    <a:pt x="433" y="58"/>
                  </a:lnTo>
                  <a:lnTo>
                    <a:pt x="433" y="66"/>
                  </a:lnTo>
                  <a:lnTo>
                    <a:pt x="433" y="78"/>
                  </a:lnTo>
                  <a:lnTo>
                    <a:pt x="432" y="91"/>
                  </a:lnTo>
                  <a:lnTo>
                    <a:pt x="430" y="104"/>
                  </a:lnTo>
                  <a:lnTo>
                    <a:pt x="427" y="117"/>
                  </a:lnTo>
                  <a:lnTo>
                    <a:pt x="424" y="130"/>
                  </a:lnTo>
                  <a:lnTo>
                    <a:pt x="420" y="143"/>
                  </a:lnTo>
                  <a:lnTo>
                    <a:pt x="415" y="155"/>
                  </a:lnTo>
                  <a:lnTo>
                    <a:pt x="410" y="168"/>
                  </a:lnTo>
                  <a:lnTo>
                    <a:pt x="398" y="194"/>
                  </a:lnTo>
                  <a:lnTo>
                    <a:pt x="385" y="219"/>
                  </a:lnTo>
                  <a:lnTo>
                    <a:pt x="370" y="242"/>
                  </a:lnTo>
                  <a:lnTo>
                    <a:pt x="353" y="265"/>
                  </a:lnTo>
                  <a:lnTo>
                    <a:pt x="336" y="285"/>
                  </a:lnTo>
                  <a:lnTo>
                    <a:pt x="318" y="304"/>
                  </a:lnTo>
                  <a:lnTo>
                    <a:pt x="298" y="321"/>
                  </a:lnTo>
                  <a:lnTo>
                    <a:pt x="280" y="337"/>
                  </a:lnTo>
                  <a:lnTo>
                    <a:pt x="261" y="350"/>
                  </a:lnTo>
                  <a:lnTo>
                    <a:pt x="243" y="361"/>
                  </a:lnTo>
                  <a:lnTo>
                    <a:pt x="234" y="365"/>
                  </a:lnTo>
                  <a:lnTo>
                    <a:pt x="226" y="368"/>
                  </a:lnTo>
                  <a:lnTo>
                    <a:pt x="217" y="370"/>
                  </a:lnTo>
                  <a:lnTo>
                    <a:pt x="209" y="373"/>
                  </a:lnTo>
                  <a:lnTo>
                    <a:pt x="209" y="330"/>
                  </a:lnTo>
                  <a:lnTo>
                    <a:pt x="209" y="327"/>
                  </a:lnTo>
                  <a:lnTo>
                    <a:pt x="208" y="323"/>
                  </a:lnTo>
                  <a:lnTo>
                    <a:pt x="207" y="321"/>
                  </a:lnTo>
                  <a:lnTo>
                    <a:pt x="204" y="319"/>
                  </a:lnTo>
                  <a:lnTo>
                    <a:pt x="202" y="317"/>
                  </a:lnTo>
                  <a:lnTo>
                    <a:pt x="200" y="316"/>
                  </a:lnTo>
                  <a:lnTo>
                    <a:pt x="197" y="315"/>
                  </a:lnTo>
                  <a:lnTo>
                    <a:pt x="194" y="315"/>
                  </a:lnTo>
                  <a:lnTo>
                    <a:pt x="15" y="314"/>
                  </a:lnTo>
                  <a:lnTo>
                    <a:pt x="12" y="315"/>
                  </a:lnTo>
                  <a:lnTo>
                    <a:pt x="9" y="315"/>
                  </a:lnTo>
                  <a:lnTo>
                    <a:pt x="7" y="317"/>
                  </a:lnTo>
                  <a:lnTo>
                    <a:pt x="4" y="319"/>
                  </a:lnTo>
                  <a:lnTo>
                    <a:pt x="2" y="321"/>
                  </a:lnTo>
                  <a:lnTo>
                    <a:pt x="1" y="323"/>
                  </a:lnTo>
                  <a:lnTo>
                    <a:pt x="0" y="327"/>
                  </a:lnTo>
                  <a:lnTo>
                    <a:pt x="0" y="329"/>
                  </a:lnTo>
                  <a:lnTo>
                    <a:pt x="0" y="778"/>
                  </a:lnTo>
                  <a:lnTo>
                    <a:pt x="0" y="781"/>
                  </a:lnTo>
                  <a:lnTo>
                    <a:pt x="1" y="784"/>
                  </a:lnTo>
                  <a:lnTo>
                    <a:pt x="2" y="786"/>
                  </a:lnTo>
                  <a:lnTo>
                    <a:pt x="4" y="789"/>
                  </a:lnTo>
                  <a:lnTo>
                    <a:pt x="7" y="791"/>
                  </a:lnTo>
                  <a:lnTo>
                    <a:pt x="9" y="792"/>
                  </a:lnTo>
                  <a:lnTo>
                    <a:pt x="12" y="793"/>
                  </a:lnTo>
                  <a:lnTo>
                    <a:pt x="15" y="793"/>
                  </a:lnTo>
                  <a:lnTo>
                    <a:pt x="194" y="793"/>
                  </a:lnTo>
                  <a:lnTo>
                    <a:pt x="197" y="793"/>
                  </a:lnTo>
                  <a:lnTo>
                    <a:pt x="200" y="792"/>
                  </a:lnTo>
                  <a:lnTo>
                    <a:pt x="202" y="791"/>
                  </a:lnTo>
                  <a:lnTo>
                    <a:pt x="204" y="789"/>
                  </a:lnTo>
                  <a:lnTo>
                    <a:pt x="207" y="786"/>
                  </a:lnTo>
                  <a:lnTo>
                    <a:pt x="208" y="784"/>
                  </a:lnTo>
                  <a:lnTo>
                    <a:pt x="209" y="781"/>
                  </a:lnTo>
                  <a:lnTo>
                    <a:pt x="209" y="778"/>
                  </a:lnTo>
                  <a:lnTo>
                    <a:pt x="209" y="721"/>
                  </a:lnTo>
                  <a:lnTo>
                    <a:pt x="241" y="727"/>
                  </a:lnTo>
                  <a:lnTo>
                    <a:pt x="269" y="732"/>
                  </a:lnTo>
                  <a:lnTo>
                    <a:pt x="293" y="737"/>
                  </a:lnTo>
                  <a:lnTo>
                    <a:pt x="316" y="743"/>
                  </a:lnTo>
                  <a:lnTo>
                    <a:pt x="349" y="751"/>
                  </a:lnTo>
                  <a:lnTo>
                    <a:pt x="383" y="758"/>
                  </a:lnTo>
                  <a:lnTo>
                    <a:pt x="400" y="760"/>
                  </a:lnTo>
                  <a:lnTo>
                    <a:pt x="419" y="762"/>
                  </a:lnTo>
                  <a:lnTo>
                    <a:pt x="441" y="763"/>
                  </a:lnTo>
                  <a:lnTo>
                    <a:pt x="463" y="763"/>
                  </a:lnTo>
                  <a:lnTo>
                    <a:pt x="718" y="763"/>
                  </a:lnTo>
                  <a:lnTo>
                    <a:pt x="732" y="762"/>
                  </a:lnTo>
                  <a:lnTo>
                    <a:pt x="743" y="760"/>
                  </a:lnTo>
                  <a:lnTo>
                    <a:pt x="749" y="758"/>
                  </a:lnTo>
                  <a:lnTo>
                    <a:pt x="754" y="754"/>
                  </a:lnTo>
                  <a:lnTo>
                    <a:pt x="758" y="752"/>
                  </a:lnTo>
                  <a:lnTo>
                    <a:pt x="763" y="748"/>
                  </a:lnTo>
                  <a:lnTo>
                    <a:pt x="766" y="745"/>
                  </a:lnTo>
                  <a:lnTo>
                    <a:pt x="769" y="739"/>
                  </a:lnTo>
                  <a:lnTo>
                    <a:pt x="771" y="735"/>
                  </a:lnTo>
                  <a:lnTo>
                    <a:pt x="773" y="730"/>
                  </a:lnTo>
                  <a:lnTo>
                    <a:pt x="776" y="717"/>
                  </a:lnTo>
                  <a:lnTo>
                    <a:pt x="778" y="703"/>
                  </a:lnTo>
                  <a:lnTo>
                    <a:pt x="776" y="694"/>
                  </a:lnTo>
                  <a:lnTo>
                    <a:pt x="774" y="686"/>
                  </a:lnTo>
                  <a:lnTo>
                    <a:pt x="771" y="678"/>
                  </a:lnTo>
                  <a:lnTo>
                    <a:pt x="768" y="672"/>
                  </a:lnTo>
                  <a:lnTo>
                    <a:pt x="780" y="669"/>
                  </a:lnTo>
                  <a:lnTo>
                    <a:pt x="790" y="664"/>
                  </a:lnTo>
                  <a:lnTo>
                    <a:pt x="799" y="658"/>
                  </a:lnTo>
                  <a:lnTo>
                    <a:pt x="808" y="652"/>
                  </a:lnTo>
                  <a:lnTo>
                    <a:pt x="814" y="643"/>
                  </a:lnTo>
                  <a:lnTo>
                    <a:pt x="818" y="635"/>
                  </a:lnTo>
                  <a:lnTo>
                    <a:pt x="821" y="625"/>
                  </a:lnTo>
                  <a:lnTo>
                    <a:pt x="821" y="613"/>
                  </a:lnTo>
                  <a:lnTo>
                    <a:pt x="821" y="600"/>
                  </a:lnTo>
                  <a:lnTo>
                    <a:pt x="818" y="587"/>
                  </a:lnTo>
                  <a:lnTo>
                    <a:pt x="815" y="577"/>
                  </a:lnTo>
                  <a:lnTo>
                    <a:pt x="809" y="567"/>
                  </a:lnTo>
                  <a:lnTo>
                    <a:pt x="820" y="563"/>
                  </a:lnTo>
                  <a:lnTo>
                    <a:pt x="831" y="556"/>
                  </a:lnTo>
                  <a:lnTo>
                    <a:pt x="842" y="549"/>
                  </a:lnTo>
                  <a:lnTo>
                    <a:pt x="850" y="540"/>
                  </a:lnTo>
                  <a:lnTo>
                    <a:pt x="857" y="530"/>
                  </a:lnTo>
                  <a:lnTo>
                    <a:pt x="862" y="519"/>
                  </a:lnTo>
                  <a:lnTo>
                    <a:pt x="864" y="513"/>
                  </a:lnTo>
                  <a:lnTo>
                    <a:pt x="865" y="506"/>
                  </a:lnTo>
                  <a:lnTo>
                    <a:pt x="866" y="501"/>
                  </a:lnTo>
                  <a:lnTo>
                    <a:pt x="866" y="494"/>
                  </a:lnTo>
                  <a:lnTo>
                    <a:pt x="866" y="487"/>
                  </a:lnTo>
                  <a:lnTo>
                    <a:pt x="865" y="481"/>
                  </a:lnTo>
                  <a:lnTo>
                    <a:pt x="863" y="474"/>
                  </a:lnTo>
                  <a:lnTo>
                    <a:pt x="861" y="468"/>
                  </a:lnTo>
                  <a:lnTo>
                    <a:pt x="858" y="462"/>
                  </a:lnTo>
                  <a:lnTo>
                    <a:pt x="853" y="456"/>
                  </a:lnTo>
                  <a:lnTo>
                    <a:pt x="849" y="451"/>
                  </a:lnTo>
                  <a:lnTo>
                    <a:pt x="844" y="445"/>
                  </a:lnTo>
                  <a:lnTo>
                    <a:pt x="850" y="443"/>
                  </a:lnTo>
                  <a:lnTo>
                    <a:pt x="857" y="440"/>
                  </a:lnTo>
                  <a:lnTo>
                    <a:pt x="862" y="436"/>
                  </a:lnTo>
                  <a:lnTo>
                    <a:pt x="867" y="431"/>
                  </a:lnTo>
                  <a:lnTo>
                    <a:pt x="872" y="427"/>
                  </a:lnTo>
                  <a:lnTo>
                    <a:pt x="876" y="422"/>
                  </a:lnTo>
                  <a:lnTo>
                    <a:pt x="880" y="415"/>
                  </a:lnTo>
                  <a:lnTo>
                    <a:pt x="883" y="410"/>
                  </a:lnTo>
                  <a:lnTo>
                    <a:pt x="890" y="397"/>
                  </a:lnTo>
                  <a:lnTo>
                    <a:pt x="893" y="384"/>
                  </a:lnTo>
                  <a:lnTo>
                    <a:pt x="896" y="371"/>
                  </a:lnTo>
                  <a:lnTo>
                    <a:pt x="896"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300">
              <a:extLst>
                <a:ext uri="{FF2B5EF4-FFF2-40B4-BE49-F238E27FC236}">
                  <a16:creationId xmlns:a16="http://schemas.microsoft.com/office/drawing/2014/main" id="{369001BC-BC4D-4BC8-A7AE-1DB13424B430}"/>
                </a:ext>
              </a:extLst>
            </p:cNvPr>
            <p:cNvSpPr>
              <a:spLocks/>
            </p:cNvSpPr>
            <p:nvPr/>
          </p:nvSpPr>
          <p:spPr bwMode="auto">
            <a:xfrm>
              <a:off x="7650163" y="1011238"/>
              <a:ext cx="11113" cy="12700"/>
            </a:xfrm>
            <a:custGeom>
              <a:avLst/>
              <a:gdLst>
                <a:gd name="T0" fmla="*/ 18 w 38"/>
                <a:gd name="T1" fmla="*/ 0 h 38"/>
                <a:gd name="T2" fmla="*/ 15 w 38"/>
                <a:gd name="T3" fmla="*/ 1 h 38"/>
                <a:gd name="T4" fmla="*/ 11 w 38"/>
                <a:gd name="T5" fmla="*/ 2 h 38"/>
                <a:gd name="T6" fmla="*/ 8 w 38"/>
                <a:gd name="T7" fmla="*/ 3 h 38"/>
                <a:gd name="T8" fmla="*/ 6 w 38"/>
                <a:gd name="T9" fmla="*/ 6 h 38"/>
                <a:gd name="T10" fmla="*/ 3 w 38"/>
                <a:gd name="T11" fmla="*/ 9 h 38"/>
                <a:gd name="T12" fmla="*/ 1 w 38"/>
                <a:gd name="T13" fmla="*/ 12 h 38"/>
                <a:gd name="T14" fmla="*/ 0 w 38"/>
                <a:gd name="T15" fmla="*/ 15 h 38"/>
                <a:gd name="T16" fmla="*/ 0 w 38"/>
                <a:gd name="T17" fmla="*/ 19 h 38"/>
                <a:gd name="T18" fmla="*/ 0 w 38"/>
                <a:gd name="T19" fmla="*/ 23 h 38"/>
                <a:gd name="T20" fmla="*/ 1 w 38"/>
                <a:gd name="T21" fmla="*/ 27 h 38"/>
                <a:gd name="T22" fmla="*/ 3 w 38"/>
                <a:gd name="T23" fmla="*/ 30 h 38"/>
                <a:gd name="T24" fmla="*/ 6 w 38"/>
                <a:gd name="T25" fmla="*/ 32 h 38"/>
                <a:gd name="T26" fmla="*/ 8 w 38"/>
                <a:gd name="T27" fmla="*/ 35 h 38"/>
                <a:gd name="T28" fmla="*/ 11 w 38"/>
                <a:gd name="T29" fmla="*/ 36 h 38"/>
                <a:gd name="T30" fmla="*/ 15 w 38"/>
                <a:gd name="T31" fmla="*/ 37 h 38"/>
                <a:gd name="T32" fmla="*/ 18 w 38"/>
                <a:gd name="T33" fmla="*/ 38 h 38"/>
                <a:gd name="T34" fmla="*/ 23 w 38"/>
                <a:gd name="T35" fmla="*/ 37 h 38"/>
                <a:gd name="T36" fmla="*/ 26 w 38"/>
                <a:gd name="T37" fmla="*/ 36 h 38"/>
                <a:gd name="T38" fmla="*/ 29 w 38"/>
                <a:gd name="T39" fmla="*/ 35 h 38"/>
                <a:gd name="T40" fmla="*/ 32 w 38"/>
                <a:gd name="T41" fmla="*/ 32 h 38"/>
                <a:gd name="T42" fmla="*/ 34 w 38"/>
                <a:gd name="T43" fmla="*/ 30 h 38"/>
                <a:gd name="T44" fmla="*/ 37 w 38"/>
                <a:gd name="T45" fmla="*/ 27 h 38"/>
                <a:gd name="T46" fmla="*/ 38 w 38"/>
                <a:gd name="T47" fmla="*/ 23 h 38"/>
                <a:gd name="T48" fmla="*/ 38 w 38"/>
                <a:gd name="T49" fmla="*/ 19 h 38"/>
                <a:gd name="T50" fmla="*/ 38 w 38"/>
                <a:gd name="T51" fmla="*/ 15 h 38"/>
                <a:gd name="T52" fmla="*/ 37 w 38"/>
                <a:gd name="T53" fmla="*/ 12 h 38"/>
                <a:gd name="T54" fmla="*/ 34 w 38"/>
                <a:gd name="T55" fmla="*/ 9 h 38"/>
                <a:gd name="T56" fmla="*/ 32 w 38"/>
                <a:gd name="T57" fmla="*/ 6 h 38"/>
                <a:gd name="T58" fmla="*/ 29 w 38"/>
                <a:gd name="T59" fmla="*/ 3 h 38"/>
                <a:gd name="T60" fmla="*/ 26 w 38"/>
                <a:gd name="T61" fmla="*/ 2 h 38"/>
                <a:gd name="T62" fmla="*/ 23 w 38"/>
                <a:gd name="T63" fmla="*/ 1 h 38"/>
                <a:gd name="T64" fmla="*/ 18 w 38"/>
                <a:gd name="T65" fmla="*/ 0 h 38"/>
                <a:gd name="T66" fmla="*/ 18 w 38"/>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8">
                  <a:moveTo>
                    <a:pt x="18" y="0"/>
                  </a:moveTo>
                  <a:lnTo>
                    <a:pt x="15" y="1"/>
                  </a:lnTo>
                  <a:lnTo>
                    <a:pt x="11" y="2"/>
                  </a:lnTo>
                  <a:lnTo>
                    <a:pt x="8" y="3"/>
                  </a:lnTo>
                  <a:lnTo>
                    <a:pt x="6" y="6"/>
                  </a:lnTo>
                  <a:lnTo>
                    <a:pt x="3" y="9"/>
                  </a:lnTo>
                  <a:lnTo>
                    <a:pt x="1" y="12"/>
                  </a:lnTo>
                  <a:lnTo>
                    <a:pt x="0" y="15"/>
                  </a:lnTo>
                  <a:lnTo>
                    <a:pt x="0" y="19"/>
                  </a:lnTo>
                  <a:lnTo>
                    <a:pt x="0" y="23"/>
                  </a:lnTo>
                  <a:lnTo>
                    <a:pt x="1" y="27"/>
                  </a:lnTo>
                  <a:lnTo>
                    <a:pt x="3" y="30"/>
                  </a:lnTo>
                  <a:lnTo>
                    <a:pt x="6" y="32"/>
                  </a:lnTo>
                  <a:lnTo>
                    <a:pt x="8" y="35"/>
                  </a:lnTo>
                  <a:lnTo>
                    <a:pt x="11" y="36"/>
                  </a:lnTo>
                  <a:lnTo>
                    <a:pt x="15" y="37"/>
                  </a:lnTo>
                  <a:lnTo>
                    <a:pt x="18" y="38"/>
                  </a:lnTo>
                  <a:lnTo>
                    <a:pt x="23" y="37"/>
                  </a:lnTo>
                  <a:lnTo>
                    <a:pt x="26" y="36"/>
                  </a:lnTo>
                  <a:lnTo>
                    <a:pt x="29" y="35"/>
                  </a:lnTo>
                  <a:lnTo>
                    <a:pt x="32" y="32"/>
                  </a:lnTo>
                  <a:lnTo>
                    <a:pt x="34" y="30"/>
                  </a:lnTo>
                  <a:lnTo>
                    <a:pt x="37" y="27"/>
                  </a:lnTo>
                  <a:lnTo>
                    <a:pt x="38" y="23"/>
                  </a:lnTo>
                  <a:lnTo>
                    <a:pt x="38" y="19"/>
                  </a:lnTo>
                  <a:lnTo>
                    <a:pt x="38" y="15"/>
                  </a:lnTo>
                  <a:lnTo>
                    <a:pt x="37" y="12"/>
                  </a:lnTo>
                  <a:lnTo>
                    <a:pt x="34" y="9"/>
                  </a:lnTo>
                  <a:lnTo>
                    <a:pt x="32" y="6"/>
                  </a:lnTo>
                  <a:lnTo>
                    <a:pt x="29" y="3"/>
                  </a:lnTo>
                  <a:lnTo>
                    <a:pt x="26" y="2"/>
                  </a:lnTo>
                  <a:lnTo>
                    <a:pt x="23"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0" name="Group 10">
            <a:extLst>
              <a:ext uri="{FF2B5EF4-FFF2-40B4-BE49-F238E27FC236}">
                <a16:creationId xmlns:a16="http://schemas.microsoft.com/office/drawing/2014/main" id="{B739ECD7-900B-4B76-B011-F391A325C6AF}"/>
              </a:ext>
            </a:extLst>
          </p:cNvPr>
          <p:cNvGrpSpPr>
            <a:grpSpLocks noChangeAspect="1"/>
          </p:cNvGrpSpPr>
          <p:nvPr/>
        </p:nvGrpSpPr>
        <p:grpSpPr>
          <a:xfrm>
            <a:off x="3665732" y="3263433"/>
            <a:ext cx="275664" cy="285619"/>
            <a:chOff x="3009369" y="2439528"/>
            <a:chExt cx="664188" cy="688174"/>
          </a:xfrm>
          <a:solidFill>
            <a:schemeClr val="bg2"/>
          </a:solidFill>
          <a:effectLst/>
        </p:grpSpPr>
        <p:sp>
          <p:nvSpPr>
            <p:cNvPr id="761" name="Freeform 35">
              <a:extLst>
                <a:ext uri="{FF2B5EF4-FFF2-40B4-BE49-F238E27FC236}">
                  <a16:creationId xmlns:a16="http://schemas.microsoft.com/office/drawing/2014/main" id="{871610A8-2D36-41DD-B317-FFF48EDC65D6}"/>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2" name="Freeform 37">
              <a:extLst>
                <a:ext uri="{FF2B5EF4-FFF2-40B4-BE49-F238E27FC236}">
                  <a16:creationId xmlns:a16="http://schemas.microsoft.com/office/drawing/2014/main" id="{7ADF54AF-626F-47AE-9E96-02B5657F9B44}"/>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3" name="Freeform 38">
              <a:extLst>
                <a:ext uri="{FF2B5EF4-FFF2-40B4-BE49-F238E27FC236}">
                  <a16:creationId xmlns:a16="http://schemas.microsoft.com/office/drawing/2014/main" id="{07EAF1E1-E274-4C2E-B8AA-F3C0C9EBACB9}"/>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4" name="Freeform 39">
              <a:extLst>
                <a:ext uri="{FF2B5EF4-FFF2-40B4-BE49-F238E27FC236}">
                  <a16:creationId xmlns:a16="http://schemas.microsoft.com/office/drawing/2014/main" id="{021632FA-1AB4-466C-9098-D2032D3F2DC5}"/>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5" name="Freeform 40">
              <a:extLst>
                <a:ext uri="{FF2B5EF4-FFF2-40B4-BE49-F238E27FC236}">
                  <a16:creationId xmlns:a16="http://schemas.microsoft.com/office/drawing/2014/main" id="{C2072ACE-AF90-462D-A3D6-2A2115D2262F}"/>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6" name="Freeform 41">
              <a:extLst>
                <a:ext uri="{FF2B5EF4-FFF2-40B4-BE49-F238E27FC236}">
                  <a16:creationId xmlns:a16="http://schemas.microsoft.com/office/drawing/2014/main" id="{954DF04B-3B07-4CC4-9B38-65047867A94C}"/>
                </a:ext>
              </a:extLst>
            </p:cNvPr>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7" name="Freeform 42">
              <a:extLst>
                <a:ext uri="{FF2B5EF4-FFF2-40B4-BE49-F238E27FC236}">
                  <a16:creationId xmlns:a16="http://schemas.microsoft.com/office/drawing/2014/main" id="{6289E485-A3BC-4920-80A7-79E645106B3B}"/>
                </a:ext>
              </a:extLst>
            </p:cNvPr>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8" name="Freeform 44">
              <a:extLst>
                <a:ext uri="{FF2B5EF4-FFF2-40B4-BE49-F238E27FC236}">
                  <a16:creationId xmlns:a16="http://schemas.microsoft.com/office/drawing/2014/main" id="{F198631B-5004-4F41-B05B-D67254610246}"/>
                </a:ext>
              </a:extLst>
            </p:cNvPr>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9" name="Freeform 45">
              <a:extLst>
                <a:ext uri="{FF2B5EF4-FFF2-40B4-BE49-F238E27FC236}">
                  <a16:creationId xmlns:a16="http://schemas.microsoft.com/office/drawing/2014/main" id="{9D6ABE69-71F5-438B-894A-057D6D11A3D3}"/>
                </a:ext>
              </a:extLst>
            </p:cNvPr>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0" name="Freeform 47">
              <a:extLst>
                <a:ext uri="{FF2B5EF4-FFF2-40B4-BE49-F238E27FC236}">
                  <a16:creationId xmlns:a16="http://schemas.microsoft.com/office/drawing/2014/main" id="{79601181-B824-447A-80A7-08A93054659F}"/>
                </a:ext>
              </a:extLst>
            </p:cNvPr>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1" name="Freeform 48">
              <a:extLst>
                <a:ext uri="{FF2B5EF4-FFF2-40B4-BE49-F238E27FC236}">
                  <a16:creationId xmlns:a16="http://schemas.microsoft.com/office/drawing/2014/main" id="{361B150F-41B8-4B36-8DE4-A683FDDF582D}"/>
                </a:ext>
              </a:extLst>
            </p:cNvPr>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2" name="Freeform 49">
              <a:extLst>
                <a:ext uri="{FF2B5EF4-FFF2-40B4-BE49-F238E27FC236}">
                  <a16:creationId xmlns:a16="http://schemas.microsoft.com/office/drawing/2014/main" id="{2399C339-B224-45A0-B7A0-48D0C9EBF26C}"/>
                </a:ext>
              </a:extLst>
            </p:cNvPr>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grpSp>
      <p:grpSp>
        <p:nvGrpSpPr>
          <p:cNvPr id="879" name="Group 101">
            <a:extLst>
              <a:ext uri="{FF2B5EF4-FFF2-40B4-BE49-F238E27FC236}">
                <a16:creationId xmlns:a16="http://schemas.microsoft.com/office/drawing/2014/main" id="{BD54A3EA-4836-4F18-B57B-6A57BA288ECF}"/>
              </a:ext>
            </a:extLst>
          </p:cNvPr>
          <p:cNvGrpSpPr>
            <a:grpSpLocks noChangeAspect="1"/>
          </p:cNvGrpSpPr>
          <p:nvPr/>
        </p:nvGrpSpPr>
        <p:grpSpPr>
          <a:xfrm>
            <a:off x="3660753" y="4879041"/>
            <a:ext cx="285622" cy="285619"/>
            <a:chOff x="904186" y="4783724"/>
            <a:chExt cx="285494" cy="285491"/>
          </a:xfrm>
          <a:solidFill>
            <a:schemeClr val="bg2"/>
          </a:solidFill>
          <a:effectLst/>
        </p:grpSpPr>
        <p:sp>
          <p:nvSpPr>
            <p:cNvPr id="880" name="Freeform 124">
              <a:extLst>
                <a:ext uri="{FF2B5EF4-FFF2-40B4-BE49-F238E27FC236}">
                  <a16:creationId xmlns:a16="http://schemas.microsoft.com/office/drawing/2014/main" id="{652B4DE7-E261-47BB-9495-5714061FDD8F}"/>
                </a:ext>
              </a:extLst>
            </p:cNvPr>
            <p:cNvSpPr>
              <a:spLocks noEditPoints="1"/>
            </p:cNvSpPr>
            <p:nvPr/>
          </p:nvSpPr>
          <p:spPr bwMode="auto">
            <a:xfrm>
              <a:off x="940058" y="4855469"/>
              <a:ext cx="213746" cy="213746"/>
            </a:xfrm>
            <a:custGeom>
              <a:avLst/>
              <a:gdLst>
                <a:gd name="T0" fmla="*/ 82 w 571"/>
                <a:gd name="T1" fmla="*/ 456 h 572"/>
                <a:gd name="T2" fmla="*/ 94 w 571"/>
                <a:gd name="T3" fmla="*/ 428 h 572"/>
                <a:gd name="T4" fmla="*/ 96 w 571"/>
                <a:gd name="T5" fmla="*/ 251 h 572"/>
                <a:gd name="T6" fmla="*/ 112 w 571"/>
                <a:gd name="T7" fmla="*/ 197 h 572"/>
                <a:gd name="T8" fmla="*/ 141 w 571"/>
                <a:gd name="T9" fmla="*/ 153 h 572"/>
                <a:gd name="T10" fmla="*/ 184 w 571"/>
                <a:gd name="T11" fmla="*/ 119 h 572"/>
                <a:gd name="T12" fmla="*/ 215 w 571"/>
                <a:gd name="T13" fmla="*/ 100 h 572"/>
                <a:gd name="T14" fmla="*/ 220 w 571"/>
                <a:gd name="T15" fmla="*/ 80 h 572"/>
                <a:gd name="T16" fmla="*/ 229 w 571"/>
                <a:gd name="T17" fmla="*/ 55 h 572"/>
                <a:gd name="T18" fmla="*/ 248 w 571"/>
                <a:gd name="T19" fmla="*/ 37 h 572"/>
                <a:gd name="T20" fmla="*/ 272 w 571"/>
                <a:gd name="T21" fmla="*/ 27 h 572"/>
                <a:gd name="T22" fmla="*/ 299 w 571"/>
                <a:gd name="T23" fmla="*/ 27 h 572"/>
                <a:gd name="T24" fmla="*/ 324 w 571"/>
                <a:gd name="T25" fmla="*/ 37 h 572"/>
                <a:gd name="T26" fmla="*/ 342 w 571"/>
                <a:gd name="T27" fmla="*/ 55 h 572"/>
                <a:gd name="T28" fmla="*/ 352 w 571"/>
                <a:gd name="T29" fmla="*/ 80 h 572"/>
                <a:gd name="T30" fmla="*/ 355 w 571"/>
                <a:gd name="T31" fmla="*/ 100 h 572"/>
                <a:gd name="T32" fmla="*/ 387 w 571"/>
                <a:gd name="T33" fmla="*/ 119 h 572"/>
                <a:gd name="T34" fmla="*/ 429 w 571"/>
                <a:gd name="T35" fmla="*/ 153 h 572"/>
                <a:gd name="T36" fmla="*/ 459 w 571"/>
                <a:gd name="T37" fmla="*/ 197 h 572"/>
                <a:gd name="T38" fmla="*/ 474 w 571"/>
                <a:gd name="T39" fmla="*/ 251 h 572"/>
                <a:gd name="T40" fmla="*/ 477 w 571"/>
                <a:gd name="T41" fmla="*/ 428 h 572"/>
                <a:gd name="T42" fmla="*/ 489 w 571"/>
                <a:gd name="T43" fmla="*/ 456 h 572"/>
                <a:gd name="T44" fmla="*/ 66 w 571"/>
                <a:gd name="T45" fmla="*/ 470 h 572"/>
                <a:gd name="T46" fmla="*/ 257 w 571"/>
                <a:gd name="T47" fmla="*/ 537 h 572"/>
                <a:gd name="T48" fmla="*/ 236 w 571"/>
                <a:gd name="T49" fmla="*/ 506 h 572"/>
                <a:gd name="T50" fmla="*/ 332 w 571"/>
                <a:gd name="T51" fmla="*/ 516 h 572"/>
                <a:gd name="T52" fmla="*/ 306 w 571"/>
                <a:gd name="T53" fmla="*/ 543 h 572"/>
                <a:gd name="T54" fmla="*/ 550 w 571"/>
                <a:gd name="T55" fmla="*/ 466 h 572"/>
                <a:gd name="T56" fmla="*/ 512 w 571"/>
                <a:gd name="T57" fmla="*/ 443 h 572"/>
                <a:gd name="T58" fmla="*/ 502 w 571"/>
                <a:gd name="T59" fmla="*/ 423 h 572"/>
                <a:gd name="T60" fmla="*/ 500 w 571"/>
                <a:gd name="T61" fmla="*/ 247 h 572"/>
                <a:gd name="T62" fmla="*/ 484 w 571"/>
                <a:gd name="T63" fmla="*/ 189 h 572"/>
                <a:gd name="T64" fmla="*/ 452 w 571"/>
                <a:gd name="T65" fmla="*/ 140 h 572"/>
                <a:gd name="T66" fmla="*/ 406 w 571"/>
                <a:gd name="T67" fmla="*/ 100 h 572"/>
                <a:gd name="T68" fmla="*/ 375 w 571"/>
                <a:gd name="T69" fmla="*/ 68 h 572"/>
                <a:gd name="T70" fmla="*/ 359 w 571"/>
                <a:gd name="T71" fmla="*/ 37 h 572"/>
                <a:gd name="T72" fmla="*/ 335 w 571"/>
                <a:gd name="T73" fmla="*/ 14 h 572"/>
                <a:gd name="T74" fmla="*/ 304 w 571"/>
                <a:gd name="T75" fmla="*/ 1 h 572"/>
                <a:gd name="T76" fmla="*/ 268 w 571"/>
                <a:gd name="T77" fmla="*/ 1 h 572"/>
                <a:gd name="T78" fmla="*/ 236 w 571"/>
                <a:gd name="T79" fmla="*/ 14 h 572"/>
                <a:gd name="T80" fmla="*/ 211 w 571"/>
                <a:gd name="T81" fmla="*/ 37 h 572"/>
                <a:gd name="T82" fmla="*/ 196 w 571"/>
                <a:gd name="T83" fmla="*/ 68 h 572"/>
                <a:gd name="T84" fmla="*/ 165 w 571"/>
                <a:gd name="T85" fmla="*/ 100 h 572"/>
                <a:gd name="T86" fmla="*/ 120 w 571"/>
                <a:gd name="T87" fmla="*/ 140 h 572"/>
                <a:gd name="T88" fmla="*/ 88 w 571"/>
                <a:gd name="T89" fmla="*/ 189 h 572"/>
                <a:gd name="T90" fmla="*/ 72 w 571"/>
                <a:gd name="T91" fmla="*/ 247 h 572"/>
                <a:gd name="T92" fmla="*/ 68 w 571"/>
                <a:gd name="T93" fmla="*/ 423 h 572"/>
                <a:gd name="T94" fmla="*/ 59 w 571"/>
                <a:gd name="T95" fmla="*/ 443 h 572"/>
                <a:gd name="T96" fmla="*/ 20 w 571"/>
                <a:gd name="T97" fmla="*/ 466 h 572"/>
                <a:gd name="T98" fmla="*/ 0 w 571"/>
                <a:gd name="T99" fmla="*/ 481 h 572"/>
                <a:gd name="T100" fmla="*/ 8 w 571"/>
                <a:gd name="T101" fmla="*/ 494 h 572"/>
                <a:gd name="T102" fmla="*/ 210 w 571"/>
                <a:gd name="T103" fmla="*/ 510 h 572"/>
                <a:gd name="T104" fmla="*/ 222 w 571"/>
                <a:gd name="T105" fmla="*/ 538 h 572"/>
                <a:gd name="T106" fmla="*/ 243 w 571"/>
                <a:gd name="T107" fmla="*/ 559 h 572"/>
                <a:gd name="T108" fmla="*/ 270 w 571"/>
                <a:gd name="T109" fmla="*/ 571 h 572"/>
                <a:gd name="T110" fmla="*/ 301 w 571"/>
                <a:gd name="T111" fmla="*/ 571 h 572"/>
                <a:gd name="T112" fmla="*/ 328 w 571"/>
                <a:gd name="T113" fmla="*/ 559 h 572"/>
                <a:gd name="T114" fmla="*/ 349 w 571"/>
                <a:gd name="T115" fmla="*/ 538 h 572"/>
                <a:gd name="T116" fmla="*/ 360 w 571"/>
                <a:gd name="T117" fmla="*/ 510 h 572"/>
                <a:gd name="T118" fmla="*/ 563 w 571"/>
                <a:gd name="T119" fmla="*/ 494 h 572"/>
                <a:gd name="T120" fmla="*/ 571 w 571"/>
                <a:gd name="T121" fmla="*/ 48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72">
                  <a:moveTo>
                    <a:pt x="66" y="470"/>
                  </a:moveTo>
                  <a:lnTo>
                    <a:pt x="72" y="465"/>
                  </a:lnTo>
                  <a:lnTo>
                    <a:pt x="77" y="461"/>
                  </a:lnTo>
                  <a:lnTo>
                    <a:pt x="82" y="456"/>
                  </a:lnTo>
                  <a:lnTo>
                    <a:pt x="87" y="449"/>
                  </a:lnTo>
                  <a:lnTo>
                    <a:pt x="90" y="443"/>
                  </a:lnTo>
                  <a:lnTo>
                    <a:pt x="92" y="435"/>
                  </a:lnTo>
                  <a:lnTo>
                    <a:pt x="94" y="428"/>
                  </a:lnTo>
                  <a:lnTo>
                    <a:pt x="94" y="419"/>
                  </a:lnTo>
                  <a:lnTo>
                    <a:pt x="94" y="278"/>
                  </a:lnTo>
                  <a:lnTo>
                    <a:pt x="95" y="265"/>
                  </a:lnTo>
                  <a:lnTo>
                    <a:pt x="96" y="251"/>
                  </a:lnTo>
                  <a:lnTo>
                    <a:pt x="100" y="237"/>
                  </a:lnTo>
                  <a:lnTo>
                    <a:pt x="103" y="223"/>
                  </a:lnTo>
                  <a:lnTo>
                    <a:pt x="107" y="210"/>
                  </a:lnTo>
                  <a:lnTo>
                    <a:pt x="112" y="197"/>
                  </a:lnTo>
                  <a:lnTo>
                    <a:pt x="119" y="185"/>
                  </a:lnTo>
                  <a:lnTo>
                    <a:pt x="125" y="174"/>
                  </a:lnTo>
                  <a:lnTo>
                    <a:pt x="133" y="163"/>
                  </a:lnTo>
                  <a:lnTo>
                    <a:pt x="141" y="153"/>
                  </a:lnTo>
                  <a:lnTo>
                    <a:pt x="151" y="143"/>
                  </a:lnTo>
                  <a:lnTo>
                    <a:pt x="162" y="135"/>
                  </a:lnTo>
                  <a:lnTo>
                    <a:pt x="173" y="126"/>
                  </a:lnTo>
                  <a:lnTo>
                    <a:pt x="184" y="119"/>
                  </a:lnTo>
                  <a:lnTo>
                    <a:pt x="197" y="112"/>
                  </a:lnTo>
                  <a:lnTo>
                    <a:pt x="210" y="106"/>
                  </a:lnTo>
                  <a:lnTo>
                    <a:pt x="213" y="103"/>
                  </a:lnTo>
                  <a:lnTo>
                    <a:pt x="215" y="100"/>
                  </a:lnTo>
                  <a:lnTo>
                    <a:pt x="218" y="97"/>
                  </a:lnTo>
                  <a:lnTo>
                    <a:pt x="218" y="93"/>
                  </a:lnTo>
                  <a:lnTo>
                    <a:pt x="219" y="86"/>
                  </a:lnTo>
                  <a:lnTo>
                    <a:pt x="220" y="80"/>
                  </a:lnTo>
                  <a:lnTo>
                    <a:pt x="221" y="73"/>
                  </a:lnTo>
                  <a:lnTo>
                    <a:pt x="223" y="67"/>
                  </a:lnTo>
                  <a:lnTo>
                    <a:pt x="226" y="62"/>
                  </a:lnTo>
                  <a:lnTo>
                    <a:pt x="229" y="55"/>
                  </a:lnTo>
                  <a:lnTo>
                    <a:pt x="234" y="50"/>
                  </a:lnTo>
                  <a:lnTo>
                    <a:pt x="238" y="45"/>
                  </a:lnTo>
                  <a:lnTo>
                    <a:pt x="242" y="41"/>
                  </a:lnTo>
                  <a:lnTo>
                    <a:pt x="248" y="37"/>
                  </a:lnTo>
                  <a:lnTo>
                    <a:pt x="253" y="34"/>
                  </a:lnTo>
                  <a:lnTo>
                    <a:pt x="259" y="30"/>
                  </a:lnTo>
                  <a:lnTo>
                    <a:pt x="266" y="28"/>
                  </a:lnTo>
                  <a:lnTo>
                    <a:pt x="272" y="27"/>
                  </a:lnTo>
                  <a:lnTo>
                    <a:pt x="279" y="26"/>
                  </a:lnTo>
                  <a:lnTo>
                    <a:pt x="285" y="25"/>
                  </a:lnTo>
                  <a:lnTo>
                    <a:pt x="293" y="26"/>
                  </a:lnTo>
                  <a:lnTo>
                    <a:pt x="299" y="27"/>
                  </a:lnTo>
                  <a:lnTo>
                    <a:pt x="306" y="28"/>
                  </a:lnTo>
                  <a:lnTo>
                    <a:pt x="312" y="30"/>
                  </a:lnTo>
                  <a:lnTo>
                    <a:pt x="317" y="34"/>
                  </a:lnTo>
                  <a:lnTo>
                    <a:pt x="324" y="37"/>
                  </a:lnTo>
                  <a:lnTo>
                    <a:pt x="328" y="41"/>
                  </a:lnTo>
                  <a:lnTo>
                    <a:pt x="334" y="45"/>
                  </a:lnTo>
                  <a:lnTo>
                    <a:pt x="338" y="50"/>
                  </a:lnTo>
                  <a:lnTo>
                    <a:pt x="342" y="55"/>
                  </a:lnTo>
                  <a:lnTo>
                    <a:pt x="345" y="62"/>
                  </a:lnTo>
                  <a:lnTo>
                    <a:pt x="348" y="67"/>
                  </a:lnTo>
                  <a:lnTo>
                    <a:pt x="350" y="73"/>
                  </a:lnTo>
                  <a:lnTo>
                    <a:pt x="352" y="80"/>
                  </a:lnTo>
                  <a:lnTo>
                    <a:pt x="353" y="86"/>
                  </a:lnTo>
                  <a:lnTo>
                    <a:pt x="353" y="93"/>
                  </a:lnTo>
                  <a:lnTo>
                    <a:pt x="354" y="97"/>
                  </a:lnTo>
                  <a:lnTo>
                    <a:pt x="355" y="100"/>
                  </a:lnTo>
                  <a:lnTo>
                    <a:pt x="358" y="103"/>
                  </a:lnTo>
                  <a:lnTo>
                    <a:pt x="361" y="106"/>
                  </a:lnTo>
                  <a:lnTo>
                    <a:pt x="374" y="112"/>
                  </a:lnTo>
                  <a:lnTo>
                    <a:pt x="387" y="119"/>
                  </a:lnTo>
                  <a:lnTo>
                    <a:pt x="399" y="126"/>
                  </a:lnTo>
                  <a:lnTo>
                    <a:pt x="410" y="135"/>
                  </a:lnTo>
                  <a:lnTo>
                    <a:pt x="419" y="143"/>
                  </a:lnTo>
                  <a:lnTo>
                    <a:pt x="429" y="153"/>
                  </a:lnTo>
                  <a:lnTo>
                    <a:pt x="438" y="163"/>
                  </a:lnTo>
                  <a:lnTo>
                    <a:pt x="446" y="174"/>
                  </a:lnTo>
                  <a:lnTo>
                    <a:pt x="453" y="185"/>
                  </a:lnTo>
                  <a:lnTo>
                    <a:pt x="459" y="197"/>
                  </a:lnTo>
                  <a:lnTo>
                    <a:pt x="465" y="210"/>
                  </a:lnTo>
                  <a:lnTo>
                    <a:pt x="469" y="223"/>
                  </a:lnTo>
                  <a:lnTo>
                    <a:pt x="472" y="237"/>
                  </a:lnTo>
                  <a:lnTo>
                    <a:pt x="474" y="251"/>
                  </a:lnTo>
                  <a:lnTo>
                    <a:pt x="476" y="265"/>
                  </a:lnTo>
                  <a:lnTo>
                    <a:pt x="476" y="278"/>
                  </a:lnTo>
                  <a:lnTo>
                    <a:pt x="476" y="419"/>
                  </a:lnTo>
                  <a:lnTo>
                    <a:pt x="477" y="428"/>
                  </a:lnTo>
                  <a:lnTo>
                    <a:pt x="479" y="435"/>
                  </a:lnTo>
                  <a:lnTo>
                    <a:pt x="482" y="443"/>
                  </a:lnTo>
                  <a:lnTo>
                    <a:pt x="485" y="449"/>
                  </a:lnTo>
                  <a:lnTo>
                    <a:pt x="489" y="456"/>
                  </a:lnTo>
                  <a:lnTo>
                    <a:pt x="494" y="461"/>
                  </a:lnTo>
                  <a:lnTo>
                    <a:pt x="499" y="465"/>
                  </a:lnTo>
                  <a:lnTo>
                    <a:pt x="505" y="470"/>
                  </a:lnTo>
                  <a:lnTo>
                    <a:pt x="66" y="470"/>
                  </a:lnTo>
                  <a:close/>
                  <a:moveTo>
                    <a:pt x="285" y="547"/>
                  </a:moveTo>
                  <a:lnTo>
                    <a:pt x="276" y="546"/>
                  </a:lnTo>
                  <a:lnTo>
                    <a:pt x="266" y="543"/>
                  </a:lnTo>
                  <a:lnTo>
                    <a:pt x="257" y="537"/>
                  </a:lnTo>
                  <a:lnTo>
                    <a:pt x="250" y="532"/>
                  </a:lnTo>
                  <a:lnTo>
                    <a:pt x="243" y="524"/>
                  </a:lnTo>
                  <a:lnTo>
                    <a:pt x="239" y="516"/>
                  </a:lnTo>
                  <a:lnTo>
                    <a:pt x="236" y="506"/>
                  </a:lnTo>
                  <a:lnTo>
                    <a:pt x="235" y="495"/>
                  </a:lnTo>
                  <a:lnTo>
                    <a:pt x="337" y="495"/>
                  </a:lnTo>
                  <a:lnTo>
                    <a:pt x="336" y="506"/>
                  </a:lnTo>
                  <a:lnTo>
                    <a:pt x="332" y="516"/>
                  </a:lnTo>
                  <a:lnTo>
                    <a:pt x="328" y="524"/>
                  </a:lnTo>
                  <a:lnTo>
                    <a:pt x="322" y="532"/>
                  </a:lnTo>
                  <a:lnTo>
                    <a:pt x="314" y="537"/>
                  </a:lnTo>
                  <a:lnTo>
                    <a:pt x="306" y="543"/>
                  </a:lnTo>
                  <a:lnTo>
                    <a:pt x="296" y="546"/>
                  </a:lnTo>
                  <a:lnTo>
                    <a:pt x="285" y="547"/>
                  </a:lnTo>
                  <a:close/>
                  <a:moveTo>
                    <a:pt x="563" y="472"/>
                  </a:moveTo>
                  <a:lnTo>
                    <a:pt x="550" y="466"/>
                  </a:lnTo>
                  <a:lnTo>
                    <a:pt x="539" y="461"/>
                  </a:lnTo>
                  <a:lnTo>
                    <a:pt x="529" y="456"/>
                  </a:lnTo>
                  <a:lnTo>
                    <a:pt x="519" y="449"/>
                  </a:lnTo>
                  <a:lnTo>
                    <a:pt x="512" y="443"/>
                  </a:lnTo>
                  <a:lnTo>
                    <a:pt x="506" y="436"/>
                  </a:lnTo>
                  <a:lnTo>
                    <a:pt x="504" y="432"/>
                  </a:lnTo>
                  <a:lnTo>
                    <a:pt x="503" y="428"/>
                  </a:lnTo>
                  <a:lnTo>
                    <a:pt x="502" y="423"/>
                  </a:lnTo>
                  <a:lnTo>
                    <a:pt x="502" y="419"/>
                  </a:lnTo>
                  <a:lnTo>
                    <a:pt x="502" y="278"/>
                  </a:lnTo>
                  <a:lnTo>
                    <a:pt x="501" y="263"/>
                  </a:lnTo>
                  <a:lnTo>
                    <a:pt x="500" y="247"/>
                  </a:lnTo>
                  <a:lnTo>
                    <a:pt x="498" y="232"/>
                  </a:lnTo>
                  <a:lnTo>
                    <a:pt x="494" y="217"/>
                  </a:lnTo>
                  <a:lnTo>
                    <a:pt x="489" y="203"/>
                  </a:lnTo>
                  <a:lnTo>
                    <a:pt x="484" y="189"/>
                  </a:lnTo>
                  <a:lnTo>
                    <a:pt x="476" y="175"/>
                  </a:lnTo>
                  <a:lnTo>
                    <a:pt x="469" y="164"/>
                  </a:lnTo>
                  <a:lnTo>
                    <a:pt x="461" y="151"/>
                  </a:lnTo>
                  <a:lnTo>
                    <a:pt x="452" y="140"/>
                  </a:lnTo>
                  <a:lnTo>
                    <a:pt x="441" y="129"/>
                  </a:lnTo>
                  <a:lnTo>
                    <a:pt x="430" y="119"/>
                  </a:lnTo>
                  <a:lnTo>
                    <a:pt x="418" y="109"/>
                  </a:lnTo>
                  <a:lnTo>
                    <a:pt x="406" y="100"/>
                  </a:lnTo>
                  <a:lnTo>
                    <a:pt x="393" y="93"/>
                  </a:lnTo>
                  <a:lnTo>
                    <a:pt x="379" y="85"/>
                  </a:lnTo>
                  <a:lnTo>
                    <a:pt x="378" y="77"/>
                  </a:lnTo>
                  <a:lnTo>
                    <a:pt x="375" y="68"/>
                  </a:lnTo>
                  <a:lnTo>
                    <a:pt x="372" y="59"/>
                  </a:lnTo>
                  <a:lnTo>
                    <a:pt x="369" y="52"/>
                  </a:lnTo>
                  <a:lnTo>
                    <a:pt x="365" y="44"/>
                  </a:lnTo>
                  <a:lnTo>
                    <a:pt x="359" y="37"/>
                  </a:lnTo>
                  <a:lnTo>
                    <a:pt x="354" y="30"/>
                  </a:lnTo>
                  <a:lnTo>
                    <a:pt x="349" y="25"/>
                  </a:lnTo>
                  <a:lnTo>
                    <a:pt x="342" y="20"/>
                  </a:lnTo>
                  <a:lnTo>
                    <a:pt x="335" y="14"/>
                  </a:lnTo>
                  <a:lnTo>
                    <a:pt x="328" y="10"/>
                  </a:lnTo>
                  <a:lnTo>
                    <a:pt x="320" y="7"/>
                  </a:lnTo>
                  <a:lnTo>
                    <a:pt x="312" y="4"/>
                  </a:lnTo>
                  <a:lnTo>
                    <a:pt x="304" y="1"/>
                  </a:lnTo>
                  <a:lnTo>
                    <a:pt x="295" y="0"/>
                  </a:lnTo>
                  <a:lnTo>
                    <a:pt x="285" y="0"/>
                  </a:lnTo>
                  <a:lnTo>
                    <a:pt x="277" y="0"/>
                  </a:lnTo>
                  <a:lnTo>
                    <a:pt x="268" y="1"/>
                  </a:lnTo>
                  <a:lnTo>
                    <a:pt x="259" y="4"/>
                  </a:lnTo>
                  <a:lnTo>
                    <a:pt x="251" y="7"/>
                  </a:lnTo>
                  <a:lnTo>
                    <a:pt x="243" y="10"/>
                  </a:lnTo>
                  <a:lnTo>
                    <a:pt x="236" y="14"/>
                  </a:lnTo>
                  <a:lnTo>
                    <a:pt x="229" y="20"/>
                  </a:lnTo>
                  <a:lnTo>
                    <a:pt x="223" y="25"/>
                  </a:lnTo>
                  <a:lnTo>
                    <a:pt x="217" y="30"/>
                  </a:lnTo>
                  <a:lnTo>
                    <a:pt x="211" y="37"/>
                  </a:lnTo>
                  <a:lnTo>
                    <a:pt x="207" y="44"/>
                  </a:lnTo>
                  <a:lnTo>
                    <a:pt x="203" y="52"/>
                  </a:lnTo>
                  <a:lnTo>
                    <a:pt x="199" y="59"/>
                  </a:lnTo>
                  <a:lnTo>
                    <a:pt x="196" y="68"/>
                  </a:lnTo>
                  <a:lnTo>
                    <a:pt x="194" y="77"/>
                  </a:lnTo>
                  <a:lnTo>
                    <a:pt x="193" y="85"/>
                  </a:lnTo>
                  <a:lnTo>
                    <a:pt x="179" y="93"/>
                  </a:lnTo>
                  <a:lnTo>
                    <a:pt x="165" y="100"/>
                  </a:lnTo>
                  <a:lnTo>
                    <a:pt x="153" y="109"/>
                  </a:lnTo>
                  <a:lnTo>
                    <a:pt x="141" y="119"/>
                  </a:lnTo>
                  <a:lnTo>
                    <a:pt x="130" y="129"/>
                  </a:lnTo>
                  <a:lnTo>
                    <a:pt x="120" y="140"/>
                  </a:lnTo>
                  <a:lnTo>
                    <a:pt x="110" y="151"/>
                  </a:lnTo>
                  <a:lnTo>
                    <a:pt x="102" y="164"/>
                  </a:lnTo>
                  <a:lnTo>
                    <a:pt x="94" y="175"/>
                  </a:lnTo>
                  <a:lnTo>
                    <a:pt x="88" y="189"/>
                  </a:lnTo>
                  <a:lnTo>
                    <a:pt x="82" y="203"/>
                  </a:lnTo>
                  <a:lnTo>
                    <a:pt x="78" y="217"/>
                  </a:lnTo>
                  <a:lnTo>
                    <a:pt x="74" y="232"/>
                  </a:lnTo>
                  <a:lnTo>
                    <a:pt x="72" y="247"/>
                  </a:lnTo>
                  <a:lnTo>
                    <a:pt x="69" y="263"/>
                  </a:lnTo>
                  <a:lnTo>
                    <a:pt x="69" y="278"/>
                  </a:lnTo>
                  <a:lnTo>
                    <a:pt x="69" y="419"/>
                  </a:lnTo>
                  <a:lnTo>
                    <a:pt x="68" y="423"/>
                  </a:lnTo>
                  <a:lnTo>
                    <a:pt x="68" y="428"/>
                  </a:lnTo>
                  <a:lnTo>
                    <a:pt x="66" y="432"/>
                  </a:lnTo>
                  <a:lnTo>
                    <a:pt x="64" y="436"/>
                  </a:lnTo>
                  <a:lnTo>
                    <a:pt x="59" y="443"/>
                  </a:lnTo>
                  <a:lnTo>
                    <a:pt x="51" y="449"/>
                  </a:lnTo>
                  <a:lnTo>
                    <a:pt x="43" y="456"/>
                  </a:lnTo>
                  <a:lnTo>
                    <a:pt x="32" y="461"/>
                  </a:lnTo>
                  <a:lnTo>
                    <a:pt x="20" y="466"/>
                  </a:lnTo>
                  <a:lnTo>
                    <a:pt x="8" y="472"/>
                  </a:lnTo>
                  <a:lnTo>
                    <a:pt x="4" y="474"/>
                  </a:lnTo>
                  <a:lnTo>
                    <a:pt x="2" y="477"/>
                  </a:lnTo>
                  <a:lnTo>
                    <a:pt x="0" y="481"/>
                  </a:lnTo>
                  <a:lnTo>
                    <a:pt x="1" y="486"/>
                  </a:lnTo>
                  <a:lnTo>
                    <a:pt x="2" y="490"/>
                  </a:lnTo>
                  <a:lnTo>
                    <a:pt x="5" y="493"/>
                  </a:lnTo>
                  <a:lnTo>
                    <a:pt x="8" y="494"/>
                  </a:lnTo>
                  <a:lnTo>
                    <a:pt x="13" y="495"/>
                  </a:lnTo>
                  <a:lnTo>
                    <a:pt x="209" y="495"/>
                  </a:lnTo>
                  <a:lnTo>
                    <a:pt x="209" y="503"/>
                  </a:lnTo>
                  <a:lnTo>
                    <a:pt x="210" y="510"/>
                  </a:lnTo>
                  <a:lnTo>
                    <a:pt x="212" y="518"/>
                  </a:lnTo>
                  <a:lnTo>
                    <a:pt x="215" y="525"/>
                  </a:lnTo>
                  <a:lnTo>
                    <a:pt x="219" y="532"/>
                  </a:lnTo>
                  <a:lnTo>
                    <a:pt x="222" y="538"/>
                  </a:lnTo>
                  <a:lnTo>
                    <a:pt x="226" y="544"/>
                  </a:lnTo>
                  <a:lnTo>
                    <a:pt x="232" y="549"/>
                  </a:lnTo>
                  <a:lnTo>
                    <a:pt x="237" y="554"/>
                  </a:lnTo>
                  <a:lnTo>
                    <a:pt x="243" y="559"/>
                  </a:lnTo>
                  <a:lnTo>
                    <a:pt x="250" y="563"/>
                  </a:lnTo>
                  <a:lnTo>
                    <a:pt x="256" y="566"/>
                  </a:lnTo>
                  <a:lnTo>
                    <a:pt x="263" y="568"/>
                  </a:lnTo>
                  <a:lnTo>
                    <a:pt x="270" y="571"/>
                  </a:lnTo>
                  <a:lnTo>
                    <a:pt x="278" y="572"/>
                  </a:lnTo>
                  <a:lnTo>
                    <a:pt x="285" y="572"/>
                  </a:lnTo>
                  <a:lnTo>
                    <a:pt x="294" y="572"/>
                  </a:lnTo>
                  <a:lnTo>
                    <a:pt x="301" y="571"/>
                  </a:lnTo>
                  <a:lnTo>
                    <a:pt x="308" y="568"/>
                  </a:lnTo>
                  <a:lnTo>
                    <a:pt x="315" y="566"/>
                  </a:lnTo>
                  <a:lnTo>
                    <a:pt x="322" y="563"/>
                  </a:lnTo>
                  <a:lnTo>
                    <a:pt x="328" y="559"/>
                  </a:lnTo>
                  <a:lnTo>
                    <a:pt x="335" y="554"/>
                  </a:lnTo>
                  <a:lnTo>
                    <a:pt x="340" y="549"/>
                  </a:lnTo>
                  <a:lnTo>
                    <a:pt x="344" y="544"/>
                  </a:lnTo>
                  <a:lnTo>
                    <a:pt x="349" y="538"/>
                  </a:lnTo>
                  <a:lnTo>
                    <a:pt x="353" y="532"/>
                  </a:lnTo>
                  <a:lnTo>
                    <a:pt x="356" y="525"/>
                  </a:lnTo>
                  <a:lnTo>
                    <a:pt x="359" y="518"/>
                  </a:lnTo>
                  <a:lnTo>
                    <a:pt x="360" y="510"/>
                  </a:lnTo>
                  <a:lnTo>
                    <a:pt x="363" y="503"/>
                  </a:lnTo>
                  <a:lnTo>
                    <a:pt x="363" y="495"/>
                  </a:lnTo>
                  <a:lnTo>
                    <a:pt x="559" y="495"/>
                  </a:lnTo>
                  <a:lnTo>
                    <a:pt x="563" y="494"/>
                  </a:lnTo>
                  <a:lnTo>
                    <a:pt x="567" y="493"/>
                  </a:lnTo>
                  <a:lnTo>
                    <a:pt x="569" y="490"/>
                  </a:lnTo>
                  <a:lnTo>
                    <a:pt x="571" y="486"/>
                  </a:lnTo>
                  <a:lnTo>
                    <a:pt x="571" y="481"/>
                  </a:lnTo>
                  <a:lnTo>
                    <a:pt x="570" y="477"/>
                  </a:lnTo>
                  <a:lnTo>
                    <a:pt x="567" y="474"/>
                  </a:lnTo>
                  <a:lnTo>
                    <a:pt x="563"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1" name="Freeform 125">
              <a:extLst>
                <a:ext uri="{FF2B5EF4-FFF2-40B4-BE49-F238E27FC236}">
                  <a16:creationId xmlns:a16="http://schemas.microsoft.com/office/drawing/2014/main" id="{C3BAF413-E4F8-4E38-B0EF-1EFB09FDFD10}"/>
                </a:ext>
              </a:extLst>
            </p:cNvPr>
            <p:cNvSpPr>
              <a:spLocks/>
            </p:cNvSpPr>
            <p:nvPr/>
          </p:nvSpPr>
          <p:spPr bwMode="auto">
            <a:xfrm>
              <a:off x="940058" y="4819595"/>
              <a:ext cx="76232" cy="74736"/>
            </a:xfrm>
            <a:custGeom>
              <a:avLst/>
              <a:gdLst>
                <a:gd name="T0" fmla="*/ 13 w 203"/>
                <a:gd name="T1" fmla="*/ 201 h 201"/>
                <a:gd name="T2" fmla="*/ 18 w 203"/>
                <a:gd name="T3" fmla="*/ 200 h 201"/>
                <a:gd name="T4" fmla="*/ 22 w 203"/>
                <a:gd name="T5" fmla="*/ 197 h 201"/>
                <a:gd name="T6" fmla="*/ 24 w 203"/>
                <a:gd name="T7" fmla="*/ 193 h 201"/>
                <a:gd name="T8" fmla="*/ 25 w 203"/>
                <a:gd name="T9" fmla="*/ 188 h 201"/>
                <a:gd name="T10" fmla="*/ 27 w 203"/>
                <a:gd name="T11" fmla="*/ 172 h 201"/>
                <a:gd name="T12" fmla="*/ 29 w 203"/>
                <a:gd name="T13" fmla="*/ 156 h 201"/>
                <a:gd name="T14" fmla="*/ 33 w 203"/>
                <a:gd name="T15" fmla="*/ 139 h 201"/>
                <a:gd name="T16" fmla="*/ 38 w 203"/>
                <a:gd name="T17" fmla="*/ 124 h 201"/>
                <a:gd name="T18" fmla="*/ 45 w 203"/>
                <a:gd name="T19" fmla="*/ 110 h 201"/>
                <a:gd name="T20" fmla="*/ 53 w 203"/>
                <a:gd name="T21" fmla="*/ 96 h 201"/>
                <a:gd name="T22" fmla="*/ 63 w 203"/>
                <a:gd name="T23" fmla="*/ 85 h 201"/>
                <a:gd name="T24" fmla="*/ 74 w 203"/>
                <a:gd name="T25" fmla="*/ 73 h 201"/>
                <a:gd name="T26" fmla="*/ 86 w 203"/>
                <a:gd name="T27" fmla="*/ 62 h 201"/>
                <a:gd name="T28" fmla="*/ 97 w 203"/>
                <a:gd name="T29" fmla="*/ 52 h 201"/>
                <a:gd name="T30" fmla="*/ 111 w 203"/>
                <a:gd name="T31" fmla="*/ 45 h 201"/>
                <a:gd name="T32" fmla="*/ 125 w 203"/>
                <a:gd name="T33" fmla="*/ 37 h 201"/>
                <a:gd name="T34" fmla="*/ 140 w 203"/>
                <a:gd name="T35" fmla="*/ 32 h 201"/>
                <a:gd name="T36" fmla="*/ 156 w 203"/>
                <a:gd name="T37" fmla="*/ 29 h 201"/>
                <a:gd name="T38" fmla="*/ 173 w 203"/>
                <a:gd name="T39" fmla="*/ 26 h 201"/>
                <a:gd name="T40" fmla="*/ 190 w 203"/>
                <a:gd name="T41" fmla="*/ 26 h 201"/>
                <a:gd name="T42" fmla="*/ 194 w 203"/>
                <a:gd name="T43" fmla="*/ 25 h 201"/>
                <a:gd name="T44" fmla="*/ 198 w 203"/>
                <a:gd name="T45" fmla="*/ 21 h 201"/>
                <a:gd name="T46" fmla="*/ 202 w 203"/>
                <a:gd name="T47" fmla="*/ 17 h 201"/>
                <a:gd name="T48" fmla="*/ 203 w 203"/>
                <a:gd name="T49" fmla="*/ 13 h 201"/>
                <a:gd name="T50" fmla="*/ 202 w 203"/>
                <a:gd name="T51" fmla="*/ 7 h 201"/>
                <a:gd name="T52" fmla="*/ 198 w 203"/>
                <a:gd name="T53" fmla="*/ 3 h 201"/>
                <a:gd name="T54" fmla="*/ 194 w 203"/>
                <a:gd name="T55" fmla="*/ 1 h 201"/>
                <a:gd name="T56" fmla="*/ 190 w 203"/>
                <a:gd name="T57" fmla="*/ 0 h 201"/>
                <a:gd name="T58" fmla="*/ 170 w 203"/>
                <a:gd name="T59" fmla="*/ 1 h 201"/>
                <a:gd name="T60" fmla="*/ 151 w 203"/>
                <a:gd name="T61" fmla="*/ 3 h 201"/>
                <a:gd name="T62" fmla="*/ 133 w 203"/>
                <a:gd name="T63" fmla="*/ 8 h 201"/>
                <a:gd name="T64" fmla="*/ 116 w 203"/>
                <a:gd name="T65" fmla="*/ 15 h 201"/>
                <a:gd name="T66" fmla="*/ 100 w 203"/>
                <a:gd name="T67" fmla="*/ 22 h 201"/>
                <a:gd name="T68" fmla="*/ 83 w 203"/>
                <a:gd name="T69" fmla="*/ 32 h 201"/>
                <a:gd name="T70" fmla="*/ 69 w 203"/>
                <a:gd name="T71" fmla="*/ 43 h 201"/>
                <a:gd name="T72" fmla="*/ 55 w 203"/>
                <a:gd name="T73" fmla="*/ 55 h 201"/>
                <a:gd name="T74" fmla="*/ 44 w 203"/>
                <a:gd name="T75" fmla="*/ 69 h 201"/>
                <a:gd name="T76" fmla="*/ 32 w 203"/>
                <a:gd name="T77" fmla="*/ 83 h 201"/>
                <a:gd name="T78" fmla="*/ 23 w 203"/>
                <a:gd name="T79" fmla="*/ 99 h 201"/>
                <a:gd name="T80" fmla="*/ 15 w 203"/>
                <a:gd name="T81" fmla="*/ 115 h 201"/>
                <a:gd name="T82" fmla="*/ 8 w 203"/>
                <a:gd name="T83" fmla="*/ 132 h 201"/>
                <a:gd name="T84" fmla="*/ 4 w 203"/>
                <a:gd name="T85" fmla="*/ 150 h 201"/>
                <a:gd name="T86" fmla="*/ 1 w 203"/>
                <a:gd name="T87" fmla="*/ 168 h 201"/>
                <a:gd name="T88" fmla="*/ 0 w 203"/>
                <a:gd name="T89" fmla="*/ 188 h 201"/>
                <a:gd name="T90" fmla="*/ 1 w 203"/>
                <a:gd name="T91" fmla="*/ 193 h 201"/>
                <a:gd name="T92" fmla="*/ 4 w 203"/>
                <a:gd name="T93" fmla="*/ 197 h 201"/>
                <a:gd name="T94" fmla="*/ 8 w 203"/>
                <a:gd name="T95" fmla="*/ 200 h 201"/>
                <a:gd name="T96" fmla="*/ 13 w 203"/>
                <a:gd name="T9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3" h="201">
                  <a:moveTo>
                    <a:pt x="13" y="201"/>
                  </a:moveTo>
                  <a:lnTo>
                    <a:pt x="18" y="200"/>
                  </a:lnTo>
                  <a:lnTo>
                    <a:pt x="22" y="197"/>
                  </a:lnTo>
                  <a:lnTo>
                    <a:pt x="24" y="193"/>
                  </a:lnTo>
                  <a:lnTo>
                    <a:pt x="25" y="188"/>
                  </a:lnTo>
                  <a:lnTo>
                    <a:pt x="27" y="172"/>
                  </a:lnTo>
                  <a:lnTo>
                    <a:pt x="29" y="156"/>
                  </a:lnTo>
                  <a:lnTo>
                    <a:pt x="33" y="139"/>
                  </a:lnTo>
                  <a:lnTo>
                    <a:pt x="38" y="124"/>
                  </a:lnTo>
                  <a:lnTo>
                    <a:pt x="45" y="110"/>
                  </a:lnTo>
                  <a:lnTo>
                    <a:pt x="53" y="96"/>
                  </a:lnTo>
                  <a:lnTo>
                    <a:pt x="63" y="85"/>
                  </a:lnTo>
                  <a:lnTo>
                    <a:pt x="74" y="73"/>
                  </a:lnTo>
                  <a:lnTo>
                    <a:pt x="86" y="62"/>
                  </a:lnTo>
                  <a:lnTo>
                    <a:pt x="97" y="52"/>
                  </a:lnTo>
                  <a:lnTo>
                    <a:pt x="111" y="45"/>
                  </a:lnTo>
                  <a:lnTo>
                    <a:pt x="125" y="37"/>
                  </a:lnTo>
                  <a:lnTo>
                    <a:pt x="140" y="32"/>
                  </a:lnTo>
                  <a:lnTo>
                    <a:pt x="156" y="29"/>
                  </a:lnTo>
                  <a:lnTo>
                    <a:pt x="173" y="26"/>
                  </a:lnTo>
                  <a:lnTo>
                    <a:pt x="190" y="26"/>
                  </a:lnTo>
                  <a:lnTo>
                    <a:pt x="194" y="25"/>
                  </a:lnTo>
                  <a:lnTo>
                    <a:pt x="198" y="21"/>
                  </a:lnTo>
                  <a:lnTo>
                    <a:pt x="202" y="17"/>
                  </a:lnTo>
                  <a:lnTo>
                    <a:pt x="203" y="13"/>
                  </a:lnTo>
                  <a:lnTo>
                    <a:pt x="202" y="7"/>
                  </a:lnTo>
                  <a:lnTo>
                    <a:pt x="198" y="3"/>
                  </a:lnTo>
                  <a:lnTo>
                    <a:pt x="194" y="1"/>
                  </a:lnTo>
                  <a:lnTo>
                    <a:pt x="190" y="0"/>
                  </a:lnTo>
                  <a:lnTo>
                    <a:pt x="170" y="1"/>
                  </a:lnTo>
                  <a:lnTo>
                    <a:pt x="151" y="3"/>
                  </a:lnTo>
                  <a:lnTo>
                    <a:pt x="133" y="8"/>
                  </a:lnTo>
                  <a:lnTo>
                    <a:pt x="116" y="15"/>
                  </a:lnTo>
                  <a:lnTo>
                    <a:pt x="100" y="22"/>
                  </a:lnTo>
                  <a:lnTo>
                    <a:pt x="83" y="32"/>
                  </a:lnTo>
                  <a:lnTo>
                    <a:pt x="69" y="43"/>
                  </a:lnTo>
                  <a:lnTo>
                    <a:pt x="55" y="55"/>
                  </a:lnTo>
                  <a:lnTo>
                    <a:pt x="44" y="69"/>
                  </a:lnTo>
                  <a:lnTo>
                    <a:pt x="32" y="83"/>
                  </a:lnTo>
                  <a:lnTo>
                    <a:pt x="23" y="99"/>
                  </a:lnTo>
                  <a:lnTo>
                    <a:pt x="15" y="115"/>
                  </a:lnTo>
                  <a:lnTo>
                    <a:pt x="8" y="132"/>
                  </a:lnTo>
                  <a:lnTo>
                    <a:pt x="4" y="150"/>
                  </a:lnTo>
                  <a:lnTo>
                    <a:pt x="1" y="168"/>
                  </a:lnTo>
                  <a:lnTo>
                    <a:pt x="0" y="188"/>
                  </a:lnTo>
                  <a:lnTo>
                    <a:pt x="1" y="193"/>
                  </a:lnTo>
                  <a:lnTo>
                    <a:pt x="4" y="197"/>
                  </a:lnTo>
                  <a:lnTo>
                    <a:pt x="8" y="200"/>
                  </a:lnTo>
                  <a:lnTo>
                    <a:pt x="13"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2" name="Freeform 126">
              <a:extLst>
                <a:ext uri="{FF2B5EF4-FFF2-40B4-BE49-F238E27FC236}">
                  <a16:creationId xmlns:a16="http://schemas.microsoft.com/office/drawing/2014/main" id="{FD94BC08-6B43-453F-8B30-0DBC97EBC676}"/>
                </a:ext>
              </a:extLst>
            </p:cNvPr>
            <p:cNvSpPr>
              <a:spLocks/>
            </p:cNvSpPr>
            <p:nvPr/>
          </p:nvSpPr>
          <p:spPr bwMode="auto">
            <a:xfrm>
              <a:off x="904186" y="4783724"/>
              <a:ext cx="112105" cy="110610"/>
            </a:xfrm>
            <a:custGeom>
              <a:avLst/>
              <a:gdLst>
                <a:gd name="T0" fmla="*/ 290 w 299"/>
                <a:gd name="T1" fmla="*/ 24 h 298"/>
                <a:gd name="T2" fmla="*/ 298 w 299"/>
                <a:gd name="T3" fmla="*/ 17 h 298"/>
                <a:gd name="T4" fmla="*/ 298 w 299"/>
                <a:gd name="T5" fmla="*/ 8 h 298"/>
                <a:gd name="T6" fmla="*/ 290 w 299"/>
                <a:gd name="T7" fmla="*/ 1 h 298"/>
                <a:gd name="T8" fmla="*/ 271 w 299"/>
                <a:gd name="T9" fmla="*/ 0 h 298"/>
                <a:gd name="T10" fmla="*/ 242 w 299"/>
                <a:gd name="T11" fmla="*/ 3 h 298"/>
                <a:gd name="T12" fmla="*/ 214 w 299"/>
                <a:gd name="T13" fmla="*/ 9 h 298"/>
                <a:gd name="T14" fmla="*/ 187 w 299"/>
                <a:gd name="T15" fmla="*/ 17 h 298"/>
                <a:gd name="T16" fmla="*/ 161 w 299"/>
                <a:gd name="T17" fmla="*/ 28 h 298"/>
                <a:gd name="T18" fmla="*/ 138 w 299"/>
                <a:gd name="T19" fmla="*/ 41 h 298"/>
                <a:gd name="T20" fmla="*/ 115 w 299"/>
                <a:gd name="T21" fmla="*/ 57 h 298"/>
                <a:gd name="T22" fmla="*/ 94 w 299"/>
                <a:gd name="T23" fmla="*/ 74 h 298"/>
                <a:gd name="T24" fmla="*/ 74 w 299"/>
                <a:gd name="T25" fmla="*/ 94 h 298"/>
                <a:gd name="T26" fmla="*/ 57 w 299"/>
                <a:gd name="T27" fmla="*/ 115 h 298"/>
                <a:gd name="T28" fmla="*/ 41 w 299"/>
                <a:gd name="T29" fmla="*/ 138 h 298"/>
                <a:gd name="T30" fmla="*/ 28 w 299"/>
                <a:gd name="T31" fmla="*/ 162 h 298"/>
                <a:gd name="T32" fmla="*/ 17 w 299"/>
                <a:gd name="T33" fmla="*/ 187 h 298"/>
                <a:gd name="T34" fmla="*/ 9 w 299"/>
                <a:gd name="T35" fmla="*/ 214 h 298"/>
                <a:gd name="T36" fmla="*/ 3 w 299"/>
                <a:gd name="T37" fmla="*/ 242 h 298"/>
                <a:gd name="T38" fmla="*/ 0 w 299"/>
                <a:gd name="T39" fmla="*/ 271 h 298"/>
                <a:gd name="T40" fmla="*/ 1 w 299"/>
                <a:gd name="T41" fmla="*/ 290 h 298"/>
                <a:gd name="T42" fmla="*/ 8 w 299"/>
                <a:gd name="T43" fmla="*/ 297 h 298"/>
                <a:gd name="T44" fmla="*/ 17 w 299"/>
                <a:gd name="T45" fmla="*/ 297 h 298"/>
                <a:gd name="T46" fmla="*/ 24 w 299"/>
                <a:gd name="T47" fmla="*/ 290 h 298"/>
                <a:gd name="T48" fmla="*/ 26 w 299"/>
                <a:gd name="T49" fmla="*/ 272 h 298"/>
                <a:gd name="T50" fmla="*/ 28 w 299"/>
                <a:gd name="T51" fmla="*/ 246 h 298"/>
                <a:gd name="T52" fmla="*/ 33 w 299"/>
                <a:gd name="T53" fmla="*/ 220 h 298"/>
                <a:gd name="T54" fmla="*/ 41 w 299"/>
                <a:gd name="T55" fmla="*/ 196 h 298"/>
                <a:gd name="T56" fmla="*/ 51 w 299"/>
                <a:gd name="T57" fmla="*/ 173 h 298"/>
                <a:gd name="T58" fmla="*/ 62 w 299"/>
                <a:gd name="T59" fmla="*/ 151 h 298"/>
                <a:gd name="T60" fmla="*/ 77 w 299"/>
                <a:gd name="T61" fmla="*/ 130 h 298"/>
                <a:gd name="T62" fmla="*/ 92 w 299"/>
                <a:gd name="T63" fmla="*/ 111 h 298"/>
                <a:gd name="T64" fmla="*/ 111 w 299"/>
                <a:gd name="T65" fmla="*/ 94 h 298"/>
                <a:gd name="T66" fmla="*/ 130 w 299"/>
                <a:gd name="T67" fmla="*/ 78 h 298"/>
                <a:gd name="T68" fmla="*/ 150 w 299"/>
                <a:gd name="T69" fmla="*/ 64 h 298"/>
                <a:gd name="T70" fmla="*/ 173 w 299"/>
                <a:gd name="T71" fmla="*/ 51 h 298"/>
                <a:gd name="T72" fmla="*/ 196 w 299"/>
                <a:gd name="T73" fmla="*/ 41 h 298"/>
                <a:gd name="T74" fmla="*/ 220 w 299"/>
                <a:gd name="T75" fmla="*/ 33 h 298"/>
                <a:gd name="T76" fmla="*/ 246 w 299"/>
                <a:gd name="T77" fmla="*/ 28 h 298"/>
                <a:gd name="T78" fmla="*/ 272 w 299"/>
                <a:gd name="T79" fmla="*/ 2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298">
                  <a:moveTo>
                    <a:pt x="286" y="25"/>
                  </a:moveTo>
                  <a:lnTo>
                    <a:pt x="290" y="24"/>
                  </a:lnTo>
                  <a:lnTo>
                    <a:pt x="294" y="22"/>
                  </a:lnTo>
                  <a:lnTo>
                    <a:pt x="298" y="17"/>
                  </a:lnTo>
                  <a:lnTo>
                    <a:pt x="299" y="13"/>
                  </a:lnTo>
                  <a:lnTo>
                    <a:pt x="298" y="8"/>
                  </a:lnTo>
                  <a:lnTo>
                    <a:pt x="294" y="3"/>
                  </a:lnTo>
                  <a:lnTo>
                    <a:pt x="290" y="1"/>
                  </a:lnTo>
                  <a:lnTo>
                    <a:pt x="286" y="0"/>
                  </a:lnTo>
                  <a:lnTo>
                    <a:pt x="271" y="0"/>
                  </a:lnTo>
                  <a:lnTo>
                    <a:pt x="256" y="1"/>
                  </a:lnTo>
                  <a:lnTo>
                    <a:pt x="242" y="3"/>
                  </a:lnTo>
                  <a:lnTo>
                    <a:pt x="228" y="6"/>
                  </a:lnTo>
                  <a:lnTo>
                    <a:pt x="214" y="9"/>
                  </a:lnTo>
                  <a:lnTo>
                    <a:pt x="201" y="13"/>
                  </a:lnTo>
                  <a:lnTo>
                    <a:pt x="187" y="17"/>
                  </a:lnTo>
                  <a:lnTo>
                    <a:pt x="174" y="23"/>
                  </a:lnTo>
                  <a:lnTo>
                    <a:pt x="161" y="28"/>
                  </a:lnTo>
                  <a:lnTo>
                    <a:pt x="149" y="35"/>
                  </a:lnTo>
                  <a:lnTo>
                    <a:pt x="138" y="41"/>
                  </a:lnTo>
                  <a:lnTo>
                    <a:pt x="126" y="49"/>
                  </a:lnTo>
                  <a:lnTo>
                    <a:pt x="115" y="57"/>
                  </a:lnTo>
                  <a:lnTo>
                    <a:pt x="104" y="66"/>
                  </a:lnTo>
                  <a:lnTo>
                    <a:pt x="94" y="74"/>
                  </a:lnTo>
                  <a:lnTo>
                    <a:pt x="84" y="84"/>
                  </a:lnTo>
                  <a:lnTo>
                    <a:pt x="74" y="94"/>
                  </a:lnTo>
                  <a:lnTo>
                    <a:pt x="65" y="104"/>
                  </a:lnTo>
                  <a:lnTo>
                    <a:pt x="57" y="115"/>
                  </a:lnTo>
                  <a:lnTo>
                    <a:pt x="48" y="126"/>
                  </a:lnTo>
                  <a:lnTo>
                    <a:pt x="41" y="138"/>
                  </a:lnTo>
                  <a:lnTo>
                    <a:pt x="34" y="149"/>
                  </a:lnTo>
                  <a:lnTo>
                    <a:pt x="28" y="162"/>
                  </a:lnTo>
                  <a:lnTo>
                    <a:pt x="23" y="174"/>
                  </a:lnTo>
                  <a:lnTo>
                    <a:pt x="17" y="187"/>
                  </a:lnTo>
                  <a:lnTo>
                    <a:pt x="13" y="201"/>
                  </a:lnTo>
                  <a:lnTo>
                    <a:pt x="9" y="214"/>
                  </a:lnTo>
                  <a:lnTo>
                    <a:pt x="5" y="228"/>
                  </a:lnTo>
                  <a:lnTo>
                    <a:pt x="3" y="242"/>
                  </a:lnTo>
                  <a:lnTo>
                    <a:pt x="1" y="256"/>
                  </a:lnTo>
                  <a:lnTo>
                    <a:pt x="0" y="271"/>
                  </a:lnTo>
                  <a:lnTo>
                    <a:pt x="0" y="285"/>
                  </a:lnTo>
                  <a:lnTo>
                    <a:pt x="1" y="290"/>
                  </a:lnTo>
                  <a:lnTo>
                    <a:pt x="3" y="294"/>
                  </a:lnTo>
                  <a:lnTo>
                    <a:pt x="8" y="297"/>
                  </a:lnTo>
                  <a:lnTo>
                    <a:pt x="12" y="298"/>
                  </a:lnTo>
                  <a:lnTo>
                    <a:pt x="17" y="297"/>
                  </a:lnTo>
                  <a:lnTo>
                    <a:pt x="22" y="294"/>
                  </a:lnTo>
                  <a:lnTo>
                    <a:pt x="24" y="290"/>
                  </a:lnTo>
                  <a:lnTo>
                    <a:pt x="25" y="285"/>
                  </a:lnTo>
                  <a:lnTo>
                    <a:pt x="26" y="272"/>
                  </a:lnTo>
                  <a:lnTo>
                    <a:pt x="27" y="259"/>
                  </a:lnTo>
                  <a:lnTo>
                    <a:pt x="28" y="246"/>
                  </a:lnTo>
                  <a:lnTo>
                    <a:pt x="30" y="233"/>
                  </a:lnTo>
                  <a:lnTo>
                    <a:pt x="33" y="220"/>
                  </a:lnTo>
                  <a:lnTo>
                    <a:pt x="37" y="208"/>
                  </a:lnTo>
                  <a:lnTo>
                    <a:pt x="41" y="196"/>
                  </a:lnTo>
                  <a:lnTo>
                    <a:pt x="45" y="185"/>
                  </a:lnTo>
                  <a:lnTo>
                    <a:pt x="51" y="173"/>
                  </a:lnTo>
                  <a:lnTo>
                    <a:pt x="57" y="161"/>
                  </a:lnTo>
                  <a:lnTo>
                    <a:pt x="62" y="151"/>
                  </a:lnTo>
                  <a:lnTo>
                    <a:pt x="70" y="140"/>
                  </a:lnTo>
                  <a:lnTo>
                    <a:pt x="77" y="130"/>
                  </a:lnTo>
                  <a:lnTo>
                    <a:pt x="85" y="120"/>
                  </a:lnTo>
                  <a:lnTo>
                    <a:pt x="92" y="111"/>
                  </a:lnTo>
                  <a:lnTo>
                    <a:pt x="101" y="102"/>
                  </a:lnTo>
                  <a:lnTo>
                    <a:pt x="111" y="94"/>
                  </a:lnTo>
                  <a:lnTo>
                    <a:pt x="120" y="85"/>
                  </a:lnTo>
                  <a:lnTo>
                    <a:pt x="130" y="78"/>
                  </a:lnTo>
                  <a:lnTo>
                    <a:pt x="140" y="70"/>
                  </a:lnTo>
                  <a:lnTo>
                    <a:pt x="150" y="64"/>
                  </a:lnTo>
                  <a:lnTo>
                    <a:pt x="161" y="57"/>
                  </a:lnTo>
                  <a:lnTo>
                    <a:pt x="173" y="51"/>
                  </a:lnTo>
                  <a:lnTo>
                    <a:pt x="184" y="46"/>
                  </a:lnTo>
                  <a:lnTo>
                    <a:pt x="196" y="41"/>
                  </a:lnTo>
                  <a:lnTo>
                    <a:pt x="208" y="37"/>
                  </a:lnTo>
                  <a:lnTo>
                    <a:pt x="220" y="33"/>
                  </a:lnTo>
                  <a:lnTo>
                    <a:pt x="233" y="30"/>
                  </a:lnTo>
                  <a:lnTo>
                    <a:pt x="246" y="28"/>
                  </a:lnTo>
                  <a:lnTo>
                    <a:pt x="259" y="27"/>
                  </a:lnTo>
                  <a:lnTo>
                    <a:pt x="272" y="26"/>
                  </a:lnTo>
                  <a:lnTo>
                    <a:pt x="28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3" name="Freeform 127">
              <a:extLst>
                <a:ext uri="{FF2B5EF4-FFF2-40B4-BE49-F238E27FC236}">
                  <a16:creationId xmlns:a16="http://schemas.microsoft.com/office/drawing/2014/main" id="{FC8B49C0-DED0-4622-87A1-31F547B41C28}"/>
                </a:ext>
              </a:extLst>
            </p:cNvPr>
            <p:cNvSpPr>
              <a:spLocks/>
            </p:cNvSpPr>
            <p:nvPr/>
          </p:nvSpPr>
          <p:spPr bwMode="auto">
            <a:xfrm>
              <a:off x="1079068" y="4819597"/>
              <a:ext cx="74736" cy="74736"/>
            </a:xfrm>
            <a:custGeom>
              <a:avLst/>
              <a:gdLst>
                <a:gd name="T0" fmla="*/ 13 w 202"/>
                <a:gd name="T1" fmla="*/ 0 h 201"/>
                <a:gd name="T2" fmla="*/ 8 w 202"/>
                <a:gd name="T3" fmla="*/ 1 h 201"/>
                <a:gd name="T4" fmla="*/ 4 w 202"/>
                <a:gd name="T5" fmla="*/ 3 h 201"/>
                <a:gd name="T6" fmla="*/ 1 w 202"/>
                <a:gd name="T7" fmla="*/ 7 h 201"/>
                <a:gd name="T8" fmla="*/ 0 w 202"/>
                <a:gd name="T9" fmla="*/ 13 h 201"/>
                <a:gd name="T10" fmla="*/ 1 w 202"/>
                <a:gd name="T11" fmla="*/ 17 h 201"/>
                <a:gd name="T12" fmla="*/ 4 w 202"/>
                <a:gd name="T13" fmla="*/ 21 h 201"/>
                <a:gd name="T14" fmla="*/ 8 w 202"/>
                <a:gd name="T15" fmla="*/ 25 h 201"/>
                <a:gd name="T16" fmla="*/ 13 w 202"/>
                <a:gd name="T17" fmla="*/ 26 h 201"/>
                <a:gd name="T18" fmla="*/ 30 w 202"/>
                <a:gd name="T19" fmla="*/ 26 h 201"/>
                <a:gd name="T20" fmla="*/ 46 w 202"/>
                <a:gd name="T21" fmla="*/ 29 h 201"/>
                <a:gd name="T22" fmla="*/ 61 w 202"/>
                <a:gd name="T23" fmla="*/ 32 h 201"/>
                <a:gd name="T24" fmla="*/ 76 w 202"/>
                <a:gd name="T25" fmla="*/ 37 h 201"/>
                <a:gd name="T26" fmla="*/ 91 w 202"/>
                <a:gd name="T27" fmla="*/ 45 h 201"/>
                <a:gd name="T28" fmla="*/ 104 w 202"/>
                <a:gd name="T29" fmla="*/ 52 h 201"/>
                <a:gd name="T30" fmla="*/ 117 w 202"/>
                <a:gd name="T31" fmla="*/ 62 h 201"/>
                <a:gd name="T32" fmla="*/ 129 w 202"/>
                <a:gd name="T33" fmla="*/ 73 h 201"/>
                <a:gd name="T34" fmla="*/ 140 w 202"/>
                <a:gd name="T35" fmla="*/ 85 h 201"/>
                <a:gd name="T36" fmla="*/ 149 w 202"/>
                <a:gd name="T37" fmla="*/ 96 h 201"/>
                <a:gd name="T38" fmla="*/ 157 w 202"/>
                <a:gd name="T39" fmla="*/ 110 h 201"/>
                <a:gd name="T40" fmla="*/ 164 w 202"/>
                <a:gd name="T41" fmla="*/ 124 h 201"/>
                <a:gd name="T42" fmla="*/ 170 w 202"/>
                <a:gd name="T43" fmla="*/ 139 h 201"/>
                <a:gd name="T44" fmla="*/ 174 w 202"/>
                <a:gd name="T45" fmla="*/ 156 h 201"/>
                <a:gd name="T46" fmla="*/ 176 w 202"/>
                <a:gd name="T47" fmla="*/ 172 h 201"/>
                <a:gd name="T48" fmla="*/ 177 w 202"/>
                <a:gd name="T49" fmla="*/ 188 h 201"/>
                <a:gd name="T50" fmla="*/ 178 w 202"/>
                <a:gd name="T51" fmla="*/ 193 h 201"/>
                <a:gd name="T52" fmla="*/ 180 w 202"/>
                <a:gd name="T53" fmla="*/ 197 h 201"/>
                <a:gd name="T54" fmla="*/ 185 w 202"/>
                <a:gd name="T55" fmla="*/ 200 h 201"/>
                <a:gd name="T56" fmla="*/ 190 w 202"/>
                <a:gd name="T57" fmla="*/ 201 h 201"/>
                <a:gd name="T58" fmla="*/ 194 w 202"/>
                <a:gd name="T59" fmla="*/ 200 h 201"/>
                <a:gd name="T60" fmla="*/ 199 w 202"/>
                <a:gd name="T61" fmla="*/ 197 h 201"/>
                <a:gd name="T62" fmla="*/ 202 w 202"/>
                <a:gd name="T63" fmla="*/ 193 h 201"/>
                <a:gd name="T64" fmla="*/ 202 w 202"/>
                <a:gd name="T65" fmla="*/ 188 h 201"/>
                <a:gd name="T66" fmla="*/ 202 w 202"/>
                <a:gd name="T67" fmla="*/ 168 h 201"/>
                <a:gd name="T68" fmla="*/ 199 w 202"/>
                <a:gd name="T69" fmla="*/ 150 h 201"/>
                <a:gd name="T70" fmla="*/ 193 w 202"/>
                <a:gd name="T71" fmla="*/ 132 h 201"/>
                <a:gd name="T72" fmla="*/ 188 w 202"/>
                <a:gd name="T73" fmla="*/ 115 h 201"/>
                <a:gd name="T74" fmla="*/ 179 w 202"/>
                <a:gd name="T75" fmla="*/ 99 h 201"/>
                <a:gd name="T76" fmla="*/ 170 w 202"/>
                <a:gd name="T77" fmla="*/ 83 h 201"/>
                <a:gd name="T78" fmla="*/ 159 w 202"/>
                <a:gd name="T79" fmla="*/ 69 h 201"/>
                <a:gd name="T80" fmla="*/ 147 w 202"/>
                <a:gd name="T81" fmla="*/ 55 h 201"/>
                <a:gd name="T82" fmla="*/ 133 w 202"/>
                <a:gd name="T83" fmla="*/ 43 h 201"/>
                <a:gd name="T84" fmla="*/ 119 w 202"/>
                <a:gd name="T85" fmla="*/ 32 h 201"/>
                <a:gd name="T86" fmla="*/ 103 w 202"/>
                <a:gd name="T87" fmla="*/ 22 h 201"/>
                <a:gd name="T88" fmla="*/ 87 w 202"/>
                <a:gd name="T89" fmla="*/ 15 h 201"/>
                <a:gd name="T90" fmla="*/ 69 w 202"/>
                <a:gd name="T91" fmla="*/ 8 h 201"/>
                <a:gd name="T92" fmla="*/ 52 w 202"/>
                <a:gd name="T93" fmla="*/ 3 h 201"/>
                <a:gd name="T94" fmla="*/ 32 w 202"/>
                <a:gd name="T95" fmla="*/ 1 h 201"/>
                <a:gd name="T96" fmla="*/ 13 w 202"/>
                <a:gd name="T9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1">
                  <a:moveTo>
                    <a:pt x="13" y="0"/>
                  </a:moveTo>
                  <a:lnTo>
                    <a:pt x="8" y="1"/>
                  </a:lnTo>
                  <a:lnTo>
                    <a:pt x="4" y="3"/>
                  </a:lnTo>
                  <a:lnTo>
                    <a:pt x="1" y="7"/>
                  </a:lnTo>
                  <a:lnTo>
                    <a:pt x="0" y="13"/>
                  </a:lnTo>
                  <a:lnTo>
                    <a:pt x="1" y="17"/>
                  </a:lnTo>
                  <a:lnTo>
                    <a:pt x="4" y="21"/>
                  </a:lnTo>
                  <a:lnTo>
                    <a:pt x="8" y="25"/>
                  </a:lnTo>
                  <a:lnTo>
                    <a:pt x="13" y="26"/>
                  </a:lnTo>
                  <a:lnTo>
                    <a:pt x="30" y="26"/>
                  </a:lnTo>
                  <a:lnTo>
                    <a:pt x="46" y="29"/>
                  </a:lnTo>
                  <a:lnTo>
                    <a:pt x="61" y="32"/>
                  </a:lnTo>
                  <a:lnTo>
                    <a:pt x="76" y="37"/>
                  </a:lnTo>
                  <a:lnTo>
                    <a:pt x="91" y="45"/>
                  </a:lnTo>
                  <a:lnTo>
                    <a:pt x="104" y="52"/>
                  </a:lnTo>
                  <a:lnTo>
                    <a:pt x="117" y="62"/>
                  </a:lnTo>
                  <a:lnTo>
                    <a:pt x="129" y="73"/>
                  </a:lnTo>
                  <a:lnTo>
                    <a:pt x="140" y="85"/>
                  </a:lnTo>
                  <a:lnTo>
                    <a:pt x="149" y="96"/>
                  </a:lnTo>
                  <a:lnTo>
                    <a:pt x="157" y="110"/>
                  </a:lnTo>
                  <a:lnTo>
                    <a:pt x="164" y="124"/>
                  </a:lnTo>
                  <a:lnTo>
                    <a:pt x="170" y="139"/>
                  </a:lnTo>
                  <a:lnTo>
                    <a:pt x="174" y="156"/>
                  </a:lnTo>
                  <a:lnTo>
                    <a:pt x="176" y="172"/>
                  </a:lnTo>
                  <a:lnTo>
                    <a:pt x="177" y="188"/>
                  </a:lnTo>
                  <a:lnTo>
                    <a:pt x="178" y="193"/>
                  </a:lnTo>
                  <a:lnTo>
                    <a:pt x="180" y="197"/>
                  </a:lnTo>
                  <a:lnTo>
                    <a:pt x="185" y="200"/>
                  </a:lnTo>
                  <a:lnTo>
                    <a:pt x="190" y="201"/>
                  </a:lnTo>
                  <a:lnTo>
                    <a:pt x="194" y="200"/>
                  </a:lnTo>
                  <a:lnTo>
                    <a:pt x="199" y="197"/>
                  </a:lnTo>
                  <a:lnTo>
                    <a:pt x="202" y="193"/>
                  </a:lnTo>
                  <a:lnTo>
                    <a:pt x="202" y="188"/>
                  </a:lnTo>
                  <a:lnTo>
                    <a:pt x="202" y="168"/>
                  </a:lnTo>
                  <a:lnTo>
                    <a:pt x="199" y="150"/>
                  </a:lnTo>
                  <a:lnTo>
                    <a:pt x="193" y="132"/>
                  </a:lnTo>
                  <a:lnTo>
                    <a:pt x="188" y="115"/>
                  </a:lnTo>
                  <a:lnTo>
                    <a:pt x="179" y="99"/>
                  </a:lnTo>
                  <a:lnTo>
                    <a:pt x="170" y="83"/>
                  </a:lnTo>
                  <a:lnTo>
                    <a:pt x="159" y="69"/>
                  </a:lnTo>
                  <a:lnTo>
                    <a:pt x="147" y="55"/>
                  </a:lnTo>
                  <a:lnTo>
                    <a:pt x="133" y="43"/>
                  </a:lnTo>
                  <a:lnTo>
                    <a:pt x="119" y="32"/>
                  </a:lnTo>
                  <a:lnTo>
                    <a:pt x="103" y="22"/>
                  </a:lnTo>
                  <a:lnTo>
                    <a:pt x="87" y="15"/>
                  </a:lnTo>
                  <a:lnTo>
                    <a:pt x="69" y="8"/>
                  </a:lnTo>
                  <a:lnTo>
                    <a:pt x="52" y="3"/>
                  </a:lnTo>
                  <a:lnTo>
                    <a:pt x="32" y="1"/>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4" name="Freeform 128">
              <a:extLst>
                <a:ext uri="{FF2B5EF4-FFF2-40B4-BE49-F238E27FC236}">
                  <a16:creationId xmlns:a16="http://schemas.microsoft.com/office/drawing/2014/main" id="{BDF033DD-78D5-40AD-BB7A-D4B348B1CC8E}"/>
                </a:ext>
              </a:extLst>
            </p:cNvPr>
            <p:cNvSpPr>
              <a:spLocks/>
            </p:cNvSpPr>
            <p:nvPr/>
          </p:nvSpPr>
          <p:spPr bwMode="auto">
            <a:xfrm>
              <a:off x="1079070" y="4783732"/>
              <a:ext cx="110610" cy="110610"/>
            </a:xfrm>
            <a:custGeom>
              <a:avLst/>
              <a:gdLst>
                <a:gd name="T0" fmla="*/ 8 w 298"/>
                <a:gd name="T1" fmla="*/ 1 h 298"/>
                <a:gd name="T2" fmla="*/ 1 w 298"/>
                <a:gd name="T3" fmla="*/ 8 h 298"/>
                <a:gd name="T4" fmla="*/ 1 w 298"/>
                <a:gd name="T5" fmla="*/ 17 h 298"/>
                <a:gd name="T6" fmla="*/ 8 w 298"/>
                <a:gd name="T7" fmla="*/ 24 h 298"/>
                <a:gd name="T8" fmla="*/ 27 w 298"/>
                <a:gd name="T9" fmla="*/ 26 h 298"/>
                <a:gd name="T10" fmla="*/ 53 w 298"/>
                <a:gd name="T11" fmla="*/ 28 h 298"/>
                <a:gd name="T12" fmla="*/ 78 w 298"/>
                <a:gd name="T13" fmla="*/ 33 h 298"/>
                <a:gd name="T14" fmla="*/ 102 w 298"/>
                <a:gd name="T15" fmla="*/ 41 h 298"/>
                <a:gd name="T16" fmla="*/ 126 w 298"/>
                <a:gd name="T17" fmla="*/ 51 h 298"/>
                <a:gd name="T18" fmla="*/ 148 w 298"/>
                <a:gd name="T19" fmla="*/ 64 h 298"/>
                <a:gd name="T20" fmla="*/ 169 w 298"/>
                <a:gd name="T21" fmla="*/ 78 h 298"/>
                <a:gd name="T22" fmla="*/ 188 w 298"/>
                <a:gd name="T23" fmla="*/ 94 h 298"/>
                <a:gd name="T24" fmla="*/ 205 w 298"/>
                <a:gd name="T25" fmla="*/ 111 h 298"/>
                <a:gd name="T26" fmla="*/ 221 w 298"/>
                <a:gd name="T27" fmla="*/ 130 h 298"/>
                <a:gd name="T28" fmla="*/ 235 w 298"/>
                <a:gd name="T29" fmla="*/ 151 h 298"/>
                <a:gd name="T30" fmla="*/ 248 w 298"/>
                <a:gd name="T31" fmla="*/ 173 h 298"/>
                <a:gd name="T32" fmla="*/ 258 w 298"/>
                <a:gd name="T33" fmla="*/ 196 h 298"/>
                <a:gd name="T34" fmla="*/ 265 w 298"/>
                <a:gd name="T35" fmla="*/ 220 h 298"/>
                <a:gd name="T36" fmla="*/ 271 w 298"/>
                <a:gd name="T37" fmla="*/ 246 h 298"/>
                <a:gd name="T38" fmla="*/ 273 w 298"/>
                <a:gd name="T39" fmla="*/ 272 h 298"/>
                <a:gd name="T40" fmla="*/ 274 w 298"/>
                <a:gd name="T41" fmla="*/ 290 h 298"/>
                <a:gd name="T42" fmla="*/ 281 w 298"/>
                <a:gd name="T43" fmla="*/ 297 h 298"/>
                <a:gd name="T44" fmla="*/ 291 w 298"/>
                <a:gd name="T45" fmla="*/ 297 h 298"/>
                <a:gd name="T46" fmla="*/ 297 w 298"/>
                <a:gd name="T47" fmla="*/ 290 h 298"/>
                <a:gd name="T48" fmla="*/ 298 w 298"/>
                <a:gd name="T49" fmla="*/ 271 h 298"/>
                <a:gd name="T50" fmla="*/ 295 w 298"/>
                <a:gd name="T51" fmla="*/ 242 h 298"/>
                <a:gd name="T52" fmla="*/ 290 w 298"/>
                <a:gd name="T53" fmla="*/ 214 h 298"/>
                <a:gd name="T54" fmla="*/ 281 w 298"/>
                <a:gd name="T55" fmla="*/ 187 h 298"/>
                <a:gd name="T56" fmla="*/ 271 w 298"/>
                <a:gd name="T57" fmla="*/ 162 h 298"/>
                <a:gd name="T58" fmla="*/ 258 w 298"/>
                <a:gd name="T59" fmla="*/ 138 h 298"/>
                <a:gd name="T60" fmla="*/ 242 w 298"/>
                <a:gd name="T61" fmla="*/ 115 h 298"/>
                <a:gd name="T62" fmla="*/ 224 w 298"/>
                <a:gd name="T63" fmla="*/ 94 h 298"/>
                <a:gd name="T64" fmla="*/ 205 w 298"/>
                <a:gd name="T65" fmla="*/ 74 h 298"/>
                <a:gd name="T66" fmla="*/ 184 w 298"/>
                <a:gd name="T67" fmla="*/ 57 h 298"/>
                <a:gd name="T68" fmla="*/ 161 w 298"/>
                <a:gd name="T69" fmla="*/ 41 h 298"/>
                <a:gd name="T70" fmla="*/ 136 w 298"/>
                <a:gd name="T71" fmla="*/ 28 h 298"/>
                <a:gd name="T72" fmla="*/ 111 w 298"/>
                <a:gd name="T73" fmla="*/ 17 h 298"/>
                <a:gd name="T74" fmla="*/ 85 w 298"/>
                <a:gd name="T75" fmla="*/ 9 h 298"/>
                <a:gd name="T76" fmla="*/ 57 w 298"/>
                <a:gd name="T77" fmla="*/ 3 h 298"/>
                <a:gd name="T78" fmla="*/ 28 w 298"/>
                <a:gd name="T7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8" h="298">
                  <a:moveTo>
                    <a:pt x="13" y="0"/>
                  </a:moveTo>
                  <a:lnTo>
                    <a:pt x="8" y="1"/>
                  </a:lnTo>
                  <a:lnTo>
                    <a:pt x="4" y="3"/>
                  </a:lnTo>
                  <a:lnTo>
                    <a:pt x="1" y="8"/>
                  </a:lnTo>
                  <a:lnTo>
                    <a:pt x="0" y="13"/>
                  </a:lnTo>
                  <a:lnTo>
                    <a:pt x="1" y="17"/>
                  </a:lnTo>
                  <a:lnTo>
                    <a:pt x="4" y="22"/>
                  </a:lnTo>
                  <a:lnTo>
                    <a:pt x="8" y="24"/>
                  </a:lnTo>
                  <a:lnTo>
                    <a:pt x="13" y="25"/>
                  </a:lnTo>
                  <a:lnTo>
                    <a:pt x="27" y="26"/>
                  </a:lnTo>
                  <a:lnTo>
                    <a:pt x="40" y="27"/>
                  </a:lnTo>
                  <a:lnTo>
                    <a:pt x="53" y="28"/>
                  </a:lnTo>
                  <a:lnTo>
                    <a:pt x="65" y="30"/>
                  </a:lnTo>
                  <a:lnTo>
                    <a:pt x="78" y="33"/>
                  </a:lnTo>
                  <a:lnTo>
                    <a:pt x="90" y="37"/>
                  </a:lnTo>
                  <a:lnTo>
                    <a:pt x="102" y="41"/>
                  </a:lnTo>
                  <a:lnTo>
                    <a:pt x="114" y="46"/>
                  </a:lnTo>
                  <a:lnTo>
                    <a:pt x="126" y="51"/>
                  </a:lnTo>
                  <a:lnTo>
                    <a:pt x="137" y="57"/>
                  </a:lnTo>
                  <a:lnTo>
                    <a:pt x="148" y="64"/>
                  </a:lnTo>
                  <a:lnTo>
                    <a:pt x="159" y="70"/>
                  </a:lnTo>
                  <a:lnTo>
                    <a:pt x="169" y="78"/>
                  </a:lnTo>
                  <a:lnTo>
                    <a:pt x="178" y="85"/>
                  </a:lnTo>
                  <a:lnTo>
                    <a:pt x="188" y="94"/>
                  </a:lnTo>
                  <a:lnTo>
                    <a:pt x="196" y="102"/>
                  </a:lnTo>
                  <a:lnTo>
                    <a:pt x="205" y="111"/>
                  </a:lnTo>
                  <a:lnTo>
                    <a:pt x="214" y="120"/>
                  </a:lnTo>
                  <a:lnTo>
                    <a:pt x="221" y="130"/>
                  </a:lnTo>
                  <a:lnTo>
                    <a:pt x="229" y="140"/>
                  </a:lnTo>
                  <a:lnTo>
                    <a:pt x="235" y="151"/>
                  </a:lnTo>
                  <a:lnTo>
                    <a:pt x="242" y="161"/>
                  </a:lnTo>
                  <a:lnTo>
                    <a:pt x="248" y="173"/>
                  </a:lnTo>
                  <a:lnTo>
                    <a:pt x="252" y="185"/>
                  </a:lnTo>
                  <a:lnTo>
                    <a:pt x="258" y="196"/>
                  </a:lnTo>
                  <a:lnTo>
                    <a:pt x="262" y="208"/>
                  </a:lnTo>
                  <a:lnTo>
                    <a:pt x="265" y="220"/>
                  </a:lnTo>
                  <a:lnTo>
                    <a:pt x="268" y="233"/>
                  </a:lnTo>
                  <a:lnTo>
                    <a:pt x="271" y="246"/>
                  </a:lnTo>
                  <a:lnTo>
                    <a:pt x="272" y="259"/>
                  </a:lnTo>
                  <a:lnTo>
                    <a:pt x="273" y="272"/>
                  </a:lnTo>
                  <a:lnTo>
                    <a:pt x="273" y="285"/>
                  </a:lnTo>
                  <a:lnTo>
                    <a:pt x="274" y="290"/>
                  </a:lnTo>
                  <a:lnTo>
                    <a:pt x="277" y="294"/>
                  </a:lnTo>
                  <a:lnTo>
                    <a:pt x="281" y="297"/>
                  </a:lnTo>
                  <a:lnTo>
                    <a:pt x="286" y="298"/>
                  </a:lnTo>
                  <a:lnTo>
                    <a:pt x="291" y="297"/>
                  </a:lnTo>
                  <a:lnTo>
                    <a:pt x="295" y="294"/>
                  </a:lnTo>
                  <a:lnTo>
                    <a:pt x="297" y="290"/>
                  </a:lnTo>
                  <a:lnTo>
                    <a:pt x="298" y="285"/>
                  </a:lnTo>
                  <a:lnTo>
                    <a:pt x="298" y="271"/>
                  </a:lnTo>
                  <a:lnTo>
                    <a:pt x="297" y="256"/>
                  </a:lnTo>
                  <a:lnTo>
                    <a:pt x="295" y="242"/>
                  </a:lnTo>
                  <a:lnTo>
                    <a:pt x="293" y="228"/>
                  </a:lnTo>
                  <a:lnTo>
                    <a:pt x="290" y="214"/>
                  </a:lnTo>
                  <a:lnTo>
                    <a:pt x="286" y="201"/>
                  </a:lnTo>
                  <a:lnTo>
                    <a:pt x="281" y="187"/>
                  </a:lnTo>
                  <a:lnTo>
                    <a:pt x="276" y="174"/>
                  </a:lnTo>
                  <a:lnTo>
                    <a:pt x="271" y="162"/>
                  </a:lnTo>
                  <a:lnTo>
                    <a:pt x="264" y="149"/>
                  </a:lnTo>
                  <a:lnTo>
                    <a:pt x="258" y="138"/>
                  </a:lnTo>
                  <a:lnTo>
                    <a:pt x="250" y="126"/>
                  </a:lnTo>
                  <a:lnTo>
                    <a:pt x="242" y="115"/>
                  </a:lnTo>
                  <a:lnTo>
                    <a:pt x="233" y="104"/>
                  </a:lnTo>
                  <a:lnTo>
                    <a:pt x="224" y="94"/>
                  </a:lnTo>
                  <a:lnTo>
                    <a:pt x="215" y="84"/>
                  </a:lnTo>
                  <a:lnTo>
                    <a:pt x="205" y="74"/>
                  </a:lnTo>
                  <a:lnTo>
                    <a:pt x="194" y="66"/>
                  </a:lnTo>
                  <a:lnTo>
                    <a:pt x="184" y="57"/>
                  </a:lnTo>
                  <a:lnTo>
                    <a:pt x="173" y="49"/>
                  </a:lnTo>
                  <a:lnTo>
                    <a:pt x="161" y="41"/>
                  </a:lnTo>
                  <a:lnTo>
                    <a:pt x="149" y="35"/>
                  </a:lnTo>
                  <a:lnTo>
                    <a:pt x="136" y="28"/>
                  </a:lnTo>
                  <a:lnTo>
                    <a:pt x="125" y="23"/>
                  </a:lnTo>
                  <a:lnTo>
                    <a:pt x="111" y="17"/>
                  </a:lnTo>
                  <a:lnTo>
                    <a:pt x="98" y="13"/>
                  </a:lnTo>
                  <a:lnTo>
                    <a:pt x="85" y="9"/>
                  </a:lnTo>
                  <a:lnTo>
                    <a:pt x="71" y="6"/>
                  </a:lnTo>
                  <a:lnTo>
                    <a:pt x="57" y="3"/>
                  </a:lnTo>
                  <a:lnTo>
                    <a:pt x="42" y="1"/>
                  </a:lnTo>
                  <a:lnTo>
                    <a:pt x="28"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804" name="Group 40">
            <a:extLst>
              <a:ext uri="{FF2B5EF4-FFF2-40B4-BE49-F238E27FC236}">
                <a16:creationId xmlns:a16="http://schemas.microsoft.com/office/drawing/2014/main" id="{B7714746-045A-40AC-9403-1966042B1B1A}"/>
              </a:ext>
            </a:extLst>
          </p:cNvPr>
          <p:cNvGrpSpPr>
            <a:grpSpLocks noChangeAspect="1"/>
          </p:cNvGrpSpPr>
          <p:nvPr/>
        </p:nvGrpSpPr>
        <p:grpSpPr>
          <a:xfrm>
            <a:off x="3639260" y="3801969"/>
            <a:ext cx="328608" cy="285619"/>
            <a:chOff x="3540125" y="4483101"/>
            <a:chExt cx="715963" cy="622300"/>
          </a:xfrm>
          <a:solidFill>
            <a:schemeClr val="bg2"/>
          </a:solidFill>
          <a:effectLst/>
        </p:grpSpPr>
        <p:sp>
          <p:nvSpPr>
            <p:cNvPr id="805" name="Freeform 213">
              <a:extLst>
                <a:ext uri="{FF2B5EF4-FFF2-40B4-BE49-F238E27FC236}">
                  <a16:creationId xmlns:a16="http://schemas.microsoft.com/office/drawing/2014/main" id="{03ABD534-0065-4E2F-888F-A1D39FBC71F0}"/>
                </a:ext>
              </a:extLst>
            </p:cNvPr>
            <p:cNvSpPr>
              <a:spLocks/>
            </p:cNvSpPr>
            <p:nvPr/>
          </p:nvSpPr>
          <p:spPr bwMode="auto">
            <a:xfrm>
              <a:off x="3540125" y="4483101"/>
              <a:ext cx="676275" cy="622300"/>
            </a:xfrm>
            <a:custGeom>
              <a:avLst/>
              <a:gdLst>
                <a:gd name="T0" fmla="*/ 1280 w 1280"/>
                <a:gd name="T1" fmla="*/ 1176 h 1176"/>
                <a:gd name="T2" fmla="*/ 0 w 1280"/>
                <a:gd name="T3" fmla="*/ 1176 h 1176"/>
                <a:gd name="T4" fmla="*/ 0 w 1280"/>
                <a:gd name="T5" fmla="*/ 0 h 1176"/>
                <a:gd name="T6" fmla="*/ 52 w 1280"/>
                <a:gd name="T7" fmla="*/ 0 h 1176"/>
                <a:gd name="T8" fmla="*/ 52 w 1280"/>
                <a:gd name="T9" fmla="*/ 1123 h 1176"/>
                <a:gd name="T10" fmla="*/ 1280 w 1280"/>
                <a:gd name="T11" fmla="*/ 1123 h 1176"/>
                <a:gd name="T12" fmla="*/ 1280 w 1280"/>
                <a:gd name="T13" fmla="*/ 1176 h 1176"/>
              </a:gdLst>
              <a:ahLst/>
              <a:cxnLst>
                <a:cxn ang="0">
                  <a:pos x="T0" y="T1"/>
                </a:cxn>
                <a:cxn ang="0">
                  <a:pos x="T2" y="T3"/>
                </a:cxn>
                <a:cxn ang="0">
                  <a:pos x="T4" y="T5"/>
                </a:cxn>
                <a:cxn ang="0">
                  <a:pos x="T6" y="T7"/>
                </a:cxn>
                <a:cxn ang="0">
                  <a:pos x="T8" y="T9"/>
                </a:cxn>
                <a:cxn ang="0">
                  <a:pos x="T10" y="T11"/>
                </a:cxn>
                <a:cxn ang="0">
                  <a:pos x="T12" y="T13"/>
                </a:cxn>
              </a:cxnLst>
              <a:rect l="0" t="0" r="r" b="b"/>
              <a:pathLst>
                <a:path w="1280" h="1176">
                  <a:moveTo>
                    <a:pt x="1280" y="1176"/>
                  </a:moveTo>
                  <a:lnTo>
                    <a:pt x="0" y="1176"/>
                  </a:lnTo>
                  <a:lnTo>
                    <a:pt x="0" y="0"/>
                  </a:lnTo>
                  <a:lnTo>
                    <a:pt x="52" y="0"/>
                  </a:lnTo>
                  <a:lnTo>
                    <a:pt x="52" y="1123"/>
                  </a:lnTo>
                  <a:lnTo>
                    <a:pt x="1280" y="1123"/>
                  </a:lnTo>
                  <a:lnTo>
                    <a:pt x="1280" y="1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228">
              <a:extLst>
                <a:ext uri="{FF2B5EF4-FFF2-40B4-BE49-F238E27FC236}">
                  <a16:creationId xmlns:a16="http://schemas.microsoft.com/office/drawing/2014/main" id="{5A41F013-A5E3-47DE-9AD8-E1DCD09D725C}"/>
                </a:ext>
              </a:extLst>
            </p:cNvPr>
            <p:cNvSpPr>
              <a:spLocks/>
            </p:cNvSpPr>
            <p:nvPr/>
          </p:nvSpPr>
          <p:spPr bwMode="auto">
            <a:xfrm>
              <a:off x="3549650" y="4560888"/>
              <a:ext cx="706438" cy="354013"/>
            </a:xfrm>
            <a:custGeom>
              <a:avLst/>
              <a:gdLst>
                <a:gd name="T0" fmla="*/ 539 w 1335"/>
                <a:gd name="T1" fmla="*/ 671 h 671"/>
                <a:gd name="T2" fmla="*/ 265 w 1335"/>
                <a:gd name="T3" fmla="*/ 562 h 671"/>
                <a:gd name="T4" fmla="*/ 11 w 1335"/>
                <a:gd name="T5" fmla="*/ 612 h 671"/>
                <a:gd name="T6" fmla="*/ 0 w 1335"/>
                <a:gd name="T7" fmla="*/ 562 h 671"/>
                <a:gd name="T8" fmla="*/ 269 w 1335"/>
                <a:gd name="T9" fmla="*/ 507 h 671"/>
                <a:gd name="T10" fmla="*/ 517 w 1335"/>
                <a:gd name="T11" fmla="*/ 607 h 671"/>
                <a:gd name="T12" fmla="*/ 782 w 1335"/>
                <a:gd name="T13" fmla="*/ 185 h 671"/>
                <a:gd name="T14" fmla="*/ 1093 w 1335"/>
                <a:gd name="T15" fmla="*/ 392 h 671"/>
                <a:gd name="T16" fmla="*/ 1289 w 1335"/>
                <a:gd name="T17" fmla="*/ 0 h 671"/>
                <a:gd name="T18" fmla="*/ 1335 w 1335"/>
                <a:gd name="T19" fmla="*/ 23 h 671"/>
                <a:gd name="T20" fmla="*/ 1113 w 1335"/>
                <a:gd name="T21" fmla="*/ 468 h 671"/>
                <a:gd name="T22" fmla="*/ 798 w 1335"/>
                <a:gd name="T23" fmla="*/ 258 h 671"/>
                <a:gd name="T24" fmla="*/ 539 w 1335"/>
                <a:gd name="T25"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5" h="671">
                  <a:moveTo>
                    <a:pt x="539" y="671"/>
                  </a:moveTo>
                  <a:lnTo>
                    <a:pt x="265" y="562"/>
                  </a:lnTo>
                  <a:lnTo>
                    <a:pt x="11" y="612"/>
                  </a:lnTo>
                  <a:lnTo>
                    <a:pt x="0" y="562"/>
                  </a:lnTo>
                  <a:lnTo>
                    <a:pt x="269" y="507"/>
                  </a:lnTo>
                  <a:lnTo>
                    <a:pt x="517" y="607"/>
                  </a:lnTo>
                  <a:lnTo>
                    <a:pt x="782" y="185"/>
                  </a:lnTo>
                  <a:lnTo>
                    <a:pt x="1093" y="392"/>
                  </a:lnTo>
                  <a:lnTo>
                    <a:pt x="1289" y="0"/>
                  </a:lnTo>
                  <a:lnTo>
                    <a:pt x="1335" y="23"/>
                  </a:lnTo>
                  <a:lnTo>
                    <a:pt x="1113" y="468"/>
                  </a:lnTo>
                  <a:lnTo>
                    <a:pt x="798" y="258"/>
                  </a:lnTo>
                  <a:lnTo>
                    <a:pt x="539" y="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229">
              <a:extLst>
                <a:ext uri="{FF2B5EF4-FFF2-40B4-BE49-F238E27FC236}">
                  <a16:creationId xmlns:a16="http://schemas.microsoft.com/office/drawing/2014/main" id="{391D6F67-4711-49C5-B92E-7E616CCC942B}"/>
                </a:ext>
              </a:extLst>
            </p:cNvPr>
            <p:cNvSpPr>
              <a:spLocks/>
            </p:cNvSpPr>
            <p:nvPr/>
          </p:nvSpPr>
          <p:spPr bwMode="auto">
            <a:xfrm>
              <a:off x="3546475" y="4660901"/>
              <a:ext cx="698500" cy="169863"/>
            </a:xfrm>
            <a:custGeom>
              <a:avLst/>
              <a:gdLst>
                <a:gd name="T0" fmla="*/ 803 w 1319"/>
                <a:gd name="T1" fmla="*/ 321 h 321"/>
                <a:gd name="T2" fmla="*/ 524 w 1319"/>
                <a:gd name="T3" fmla="*/ 265 h 321"/>
                <a:gd name="T4" fmla="*/ 272 w 1319"/>
                <a:gd name="T5" fmla="*/ 63 h 321"/>
                <a:gd name="T6" fmla="*/ 26 w 1319"/>
                <a:gd name="T7" fmla="*/ 212 h 321"/>
                <a:gd name="T8" fmla="*/ 0 w 1319"/>
                <a:gd name="T9" fmla="*/ 167 h 321"/>
                <a:gd name="T10" fmla="*/ 276 w 1319"/>
                <a:gd name="T11" fmla="*/ 0 h 321"/>
                <a:gd name="T12" fmla="*/ 547 w 1319"/>
                <a:gd name="T13" fmla="*/ 217 h 321"/>
                <a:gd name="T14" fmla="*/ 789 w 1319"/>
                <a:gd name="T15" fmla="*/ 265 h 321"/>
                <a:gd name="T16" fmla="*/ 1100 w 1319"/>
                <a:gd name="T17" fmla="*/ 6 h 321"/>
                <a:gd name="T18" fmla="*/ 1319 w 1319"/>
                <a:gd name="T19" fmla="*/ 6 h 321"/>
                <a:gd name="T20" fmla="*/ 1319 w 1319"/>
                <a:gd name="T21" fmla="*/ 58 h 321"/>
                <a:gd name="T22" fmla="*/ 1119 w 1319"/>
                <a:gd name="T23" fmla="*/ 58 h 321"/>
                <a:gd name="T24" fmla="*/ 803 w 1319"/>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9" h="321">
                  <a:moveTo>
                    <a:pt x="803" y="321"/>
                  </a:moveTo>
                  <a:lnTo>
                    <a:pt x="524" y="265"/>
                  </a:lnTo>
                  <a:lnTo>
                    <a:pt x="272" y="63"/>
                  </a:lnTo>
                  <a:lnTo>
                    <a:pt x="26" y="212"/>
                  </a:lnTo>
                  <a:lnTo>
                    <a:pt x="0" y="167"/>
                  </a:lnTo>
                  <a:lnTo>
                    <a:pt x="276" y="0"/>
                  </a:lnTo>
                  <a:lnTo>
                    <a:pt x="547" y="217"/>
                  </a:lnTo>
                  <a:lnTo>
                    <a:pt x="789" y="265"/>
                  </a:lnTo>
                  <a:lnTo>
                    <a:pt x="1100" y="6"/>
                  </a:lnTo>
                  <a:lnTo>
                    <a:pt x="1319" y="6"/>
                  </a:lnTo>
                  <a:lnTo>
                    <a:pt x="1319" y="58"/>
                  </a:lnTo>
                  <a:lnTo>
                    <a:pt x="1119" y="58"/>
                  </a:lnTo>
                  <a:lnTo>
                    <a:pt x="803"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1" name="Group 24">
            <a:extLst>
              <a:ext uri="{FF2B5EF4-FFF2-40B4-BE49-F238E27FC236}">
                <a16:creationId xmlns:a16="http://schemas.microsoft.com/office/drawing/2014/main" id="{4B695691-17CB-42D5-99D2-F7BA07544C6E}"/>
              </a:ext>
            </a:extLst>
          </p:cNvPr>
          <p:cNvGrpSpPr>
            <a:grpSpLocks noChangeAspect="1"/>
          </p:cNvGrpSpPr>
          <p:nvPr/>
        </p:nvGrpSpPr>
        <p:grpSpPr>
          <a:xfrm>
            <a:off x="3660755" y="5956111"/>
            <a:ext cx="285619" cy="285619"/>
            <a:chOff x="7587897" y="2506555"/>
            <a:chExt cx="287091" cy="287091"/>
          </a:xfrm>
          <a:solidFill>
            <a:schemeClr val="bg2"/>
          </a:solidFill>
          <a:effectLst/>
        </p:grpSpPr>
        <p:sp>
          <p:nvSpPr>
            <p:cNvPr id="1213" name="Freeform 331">
              <a:extLst>
                <a:ext uri="{FF2B5EF4-FFF2-40B4-BE49-F238E27FC236}">
                  <a16:creationId xmlns:a16="http://schemas.microsoft.com/office/drawing/2014/main" id="{6B5C108A-7DCC-484C-8A00-4BA174AC94D3}"/>
                </a:ext>
              </a:extLst>
            </p:cNvPr>
            <p:cNvSpPr>
              <a:spLocks noEditPoints="1"/>
            </p:cNvSpPr>
            <p:nvPr/>
          </p:nvSpPr>
          <p:spPr bwMode="auto">
            <a:xfrm>
              <a:off x="7587897" y="2506555"/>
              <a:ext cx="287091" cy="287091"/>
            </a:xfrm>
            <a:custGeom>
              <a:avLst/>
              <a:gdLst>
                <a:gd name="T0" fmla="*/ 378 w 933"/>
                <a:gd name="T1" fmla="*/ 892 h 932"/>
                <a:gd name="T2" fmla="*/ 277 w 933"/>
                <a:gd name="T3" fmla="*/ 858 h 932"/>
                <a:gd name="T4" fmla="*/ 189 w 933"/>
                <a:gd name="T5" fmla="*/ 802 h 932"/>
                <a:gd name="T6" fmla="*/ 117 w 933"/>
                <a:gd name="T7" fmla="*/ 727 h 932"/>
                <a:gd name="T8" fmla="*/ 65 w 933"/>
                <a:gd name="T9" fmla="*/ 636 h 932"/>
                <a:gd name="T10" fmla="*/ 36 w 933"/>
                <a:gd name="T11" fmla="*/ 532 h 932"/>
                <a:gd name="T12" fmla="*/ 33 w 933"/>
                <a:gd name="T13" fmla="*/ 421 h 932"/>
                <a:gd name="T14" fmla="*/ 57 w 933"/>
                <a:gd name="T15" fmla="*/ 317 h 932"/>
                <a:gd name="T16" fmla="*/ 105 w 933"/>
                <a:gd name="T17" fmla="*/ 224 h 932"/>
                <a:gd name="T18" fmla="*/ 174 w 933"/>
                <a:gd name="T19" fmla="*/ 145 h 932"/>
                <a:gd name="T20" fmla="*/ 258 w 933"/>
                <a:gd name="T21" fmla="*/ 84 h 932"/>
                <a:gd name="T22" fmla="*/ 357 w 933"/>
                <a:gd name="T23" fmla="*/ 45 h 932"/>
                <a:gd name="T24" fmla="*/ 466 w 933"/>
                <a:gd name="T25" fmla="*/ 31 h 932"/>
                <a:gd name="T26" fmla="*/ 575 w 933"/>
                <a:gd name="T27" fmla="*/ 45 h 932"/>
                <a:gd name="T28" fmla="*/ 673 w 933"/>
                <a:gd name="T29" fmla="*/ 84 h 932"/>
                <a:gd name="T30" fmla="*/ 758 w 933"/>
                <a:gd name="T31" fmla="*/ 145 h 932"/>
                <a:gd name="T32" fmla="*/ 827 w 933"/>
                <a:gd name="T33" fmla="*/ 224 h 932"/>
                <a:gd name="T34" fmla="*/ 875 w 933"/>
                <a:gd name="T35" fmla="*/ 317 h 932"/>
                <a:gd name="T36" fmla="*/ 899 w 933"/>
                <a:gd name="T37" fmla="*/ 421 h 932"/>
                <a:gd name="T38" fmla="*/ 896 w 933"/>
                <a:gd name="T39" fmla="*/ 532 h 932"/>
                <a:gd name="T40" fmla="*/ 867 w 933"/>
                <a:gd name="T41" fmla="*/ 636 h 932"/>
                <a:gd name="T42" fmla="*/ 815 w 933"/>
                <a:gd name="T43" fmla="*/ 727 h 932"/>
                <a:gd name="T44" fmla="*/ 743 w 933"/>
                <a:gd name="T45" fmla="*/ 802 h 932"/>
                <a:gd name="T46" fmla="*/ 655 w 933"/>
                <a:gd name="T47" fmla="*/ 858 h 932"/>
                <a:gd name="T48" fmla="*/ 554 w 933"/>
                <a:gd name="T49" fmla="*/ 892 h 932"/>
                <a:gd name="T50" fmla="*/ 466 w 933"/>
                <a:gd name="T51" fmla="*/ 0 h 932"/>
                <a:gd name="T52" fmla="*/ 349 w 933"/>
                <a:gd name="T53" fmla="*/ 15 h 932"/>
                <a:gd name="T54" fmla="*/ 244 w 933"/>
                <a:gd name="T55" fmla="*/ 56 h 932"/>
                <a:gd name="T56" fmla="*/ 153 w 933"/>
                <a:gd name="T57" fmla="*/ 121 h 932"/>
                <a:gd name="T58" fmla="*/ 80 w 933"/>
                <a:gd name="T59" fmla="*/ 206 h 932"/>
                <a:gd name="T60" fmla="*/ 28 w 933"/>
                <a:gd name="T61" fmla="*/ 306 h 932"/>
                <a:gd name="T62" fmla="*/ 2 w 933"/>
                <a:gd name="T63" fmla="*/ 419 h 932"/>
                <a:gd name="T64" fmla="*/ 5 w 933"/>
                <a:gd name="T65" fmla="*/ 537 h 932"/>
                <a:gd name="T66" fmla="*/ 36 w 933"/>
                <a:gd name="T67" fmla="*/ 648 h 932"/>
                <a:gd name="T68" fmla="*/ 93 w 933"/>
                <a:gd name="T69" fmla="*/ 745 h 932"/>
                <a:gd name="T70" fmla="*/ 169 w 933"/>
                <a:gd name="T71" fmla="*/ 826 h 932"/>
                <a:gd name="T72" fmla="*/ 264 w 933"/>
                <a:gd name="T73" fmla="*/ 887 h 932"/>
                <a:gd name="T74" fmla="*/ 372 w 933"/>
                <a:gd name="T75" fmla="*/ 924 h 932"/>
                <a:gd name="T76" fmla="*/ 489 w 933"/>
                <a:gd name="T77" fmla="*/ 932 h 932"/>
                <a:gd name="T78" fmla="*/ 605 w 933"/>
                <a:gd name="T79" fmla="*/ 911 h 932"/>
                <a:gd name="T80" fmla="*/ 707 w 933"/>
                <a:gd name="T81" fmla="*/ 865 h 932"/>
                <a:gd name="T82" fmla="*/ 795 w 933"/>
                <a:gd name="T83" fmla="*/ 796 h 932"/>
                <a:gd name="T84" fmla="*/ 865 w 933"/>
                <a:gd name="T85" fmla="*/ 708 h 932"/>
                <a:gd name="T86" fmla="*/ 912 w 933"/>
                <a:gd name="T87" fmla="*/ 605 h 932"/>
                <a:gd name="T88" fmla="*/ 932 w 933"/>
                <a:gd name="T89" fmla="*/ 490 h 932"/>
                <a:gd name="T90" fmla="*/ 923 w 933"/>
                <a:gd name="T91" fmla="*/ 372 h 932"/>
                <a:gd name="T92" fmla="*/ 886 w 933"/>
                <a:gd name="T93" fmla="*/ 265 h 932"/>
                <a:gd name="T94" fmla="*/ 826 w 933"/>
                <a:gd name="T95" fmla="*/ 170 h 932"/>
                <a:gd name="T96" fmla="*/ 745 w 933"/>
                <a:gd name="T97" fmla="*/ 92 h 932"/>
                <a:gd name="T98" fmla="*/ 647 w 933"/>
                <a:gd name="T99" fmla="*/ 37 h 932"/>
                <a:gd name="T100" fmla="*/ 537 w 933"/>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3" h="932">
                  <a:moveTo>
                    <a:pt x="466" y="901"/>
                  </a:moveTo>
                  <a:lnTo>
                    <a:pt x="444" y="901"/>
                  </a:lnTo>
                  <a:lnTo>
                    <a:pt x="422" y="899"/>
                  </a:lnTo>
                  <a:lnTo>
                    <a:pt x="399" y="897"/>
                  </a:lnTo>
                  <a:lnTo>
                    <a:pt x="378" y="892"/>
                  </a:lnTo>
                  <a:lnTo>
                    <a:pt x="357" y="888"/>
                  </a:lnTo>
                  <a:lnTo>
                    <a:pt x="337" y="881"/>
                  </a:lnTo>
                  <a:lnTo>
                    <a:pt x="316" y="875"/>
                  </a:lnTo>
                  <a:lnTo>
                    <a:pt x="297" y="867"/>
                  </a:lnTo>
                  <a:lnTo>
                    <a:pt x="277" y="858"/>
                  </a:lnTo>
                  <a:lnTo>
                    <a:pt x="258" y="849"/>
                  </a:lnTo>
                  <a:lnTo>
                    <a:pt x="241" y="838"/>
                  </a:lnTo>
                  <a:lnTo>
                    <a:pt x="223" y="827"/>
                  </a:lnTo>
                  <a:lnTo>
                    <a:pt x="206" y="815"/>
                  </a:lnTo>
                  <a:lnTo>
                    <a:pt x="189" y="802"/>
                  </a:lnTo>
                  <a:lnTo>
                    <a:pt x="174" y="788"/>
                  </a:lnTo>
                  <a:lnTo>
                    <a:pt x="158" y="774"/>
                  </a:lnTo>
                  <a:lnTo>
                    <a:pt x="144" y="759"/>
                  </a:lnTo>
                  <a:lnTo>
                    <a:pt x="131" y="742"/>
                  </a:lnTo>
                  <a:lnTo>
                    <a:pt x="117" y="727"/>
                  </a:lnTo>
                  <a:lnTo>
                    <a:pt x="105" y="709"/>
                  </a:lnTo>
                  <a:lnTo>
                    <a:pt x="94" y="691"/>
                  </a:lnTo>
                  <a:lnTo>
                    <a:pt x="84" y="674"/>
                  </a:lnTo>
                  <a:lnTo>
                    <a:pt x="74" y="655"/>
                  </a:lnTo>
                  <a:lnTo>
                    <a:pt x="65" y="636"/>
                  </a:lnTo>
                  <a:lnTo>
                    <a:pt x="57" y="616"/>
                  </a:lnTo>
                  <a:lnTo>
                    <a:pt x="51" y="596"/>
                  </a:lnTo>
                  <a:lnTo>
                    <a:pt x="45" y="575"/>
                  </a:lnTo>
                  <a:lnTo>
                    <a:pt x="40" y="554"/>
                  </a:lnTo>
                  <a:lnTo>
                    <a:pt x="36" y="532"/>
                  </a:lnTo>
                  <a:lnTo>
                    <a:pt x="33" y="510"/>
                  </a:lnTo>
                  <a:lnTo>
                    <a:pt x="32" y="489"/>
                  </a:lnTo>
                  <a:lnTo>
                    <a:pt x="31" y="466"/>
                  </a:lnTo>
                  <a:lnTo>
                    <a:pt x="32" y="444"/>
                  </a:lnTo>
                  <a:lnTo>
                    <a:pt x="33" y="421"/>
                  </a:lnTo>
                  <a:lnTo>
                    <a:pt x="36" y="400"/>
                  </a:lnTo>
                  <a:lnTo>
                    <a:pt x="40" y="379"/>
                  </a:lnTo>
                  <a:lnTo>
                    <a:pt x="45" y="358"/>
                  </a:lnTo>
                  <a:lnTo>
                    <a:pt x="51" y="337"/>
                  </a:lnTo>
                  <a:lnTo>
                    <a:pt x="57" y="317"/>
                  </a:lnTo>
                  <a:lnTo>
                    <a:pt x="65" y="297"/>
                  </a:lnTo>
                  <a:lnTo>
                    <a:pt x="74" y="278"/>
                  </a:lnTo>
                  <a:lnTo>
                    <a:pt x="84" y="259"/>
                  </a:lnTo>
                  <a:lnTo>
                    <a:pt x="94" y="240"/>
                  </a:lnTo>
                  <a:lnTo>
                    <a:pt x="105" y="224"/>
                  </a:lnTo>
                  <a:lnTo>
                    <a:pt x="117" y="206"/>
                  </a:lnTo>
                  <a:lnTo>
                    <a:pt x="131" y="189"/>
                  </a:lnTo>
                  <a:lnTo>
                    <a:pt x="144" y="174"/>
                  </a:lnTo>
                  <a:lnTo>
                    <a:pt x="158" y="159"/>
                  </a:lnTo>
                  <a:lnTo>
                    <a:pt x="174" y="145"/>
                  </a:lnTo>
                  <a:lnTo>
                    <a:pt x="189" y="130"/>
                  </a:lnTo>
                  <a:lnTo>
                    <a:pt x="206" y="118"/>
                  </a:lnTo>
                  <a:lnTo>
                    <a:pt x="223" y="106"/>
                  </a:lnTo>
                  <a:lnTo>
                    <a:pt x="241" y="95"/>
                  </a:lnTo>
                  <a:lnTo>
                    <a:pt x="258" y="84"/>
                  </a:lnTo>
                  <a:lnTo>
                    <a:pt x="277" y="74"/>
                  </a:lnTo>
                  <a:lnTo>
                    <a:pt x="297" y="66"/>
                  </a:lnTo>
                  <a:lnTo>
                    <a:pt x="316" y="58"/>
                  </a:lnTo>
                  <a:lnTo>
                    <a:pt x="337" y="50"/>
                  </a:lnTo>
                  <a:lnTo>
                    <a:pt x="357" y="45"/>
                  </a:lnTo>
                  <a:lnTo>
                    <a:pt x="378" y="40"/>
                  </a:lnTo>
                  <a:lnTo>
                    <a:pt x="399" y="36"/>
                  </a:lnTo>
                  <a:lnTo>
                    <a:pt x="422" y="34"/>
                  </a:lnTo>
                  <a:lnTo>
                    <a:pt x="444" y="31"/>
                  </a:lnTo>
                  <a:lnTo>
                    <a:pt x="466" y="31"/>
                  </a:lnTo>
                  <a:lnTo>
                    <a:pt x="488" y="31"/>
                  </a:lnTo>
                  <a:lnTo>
                    <a:pt x="511" y="34"/>
                  </a:lnTo>
                  <a:lnTo>
                    <a:pt x="532" y="36"/>
                  </a:lnTo>
                  <a:lnTo>
                    <a:pt x="554" y="40"/>
                  </a:lnTo>
                  <a:lnTo>
                    <a:pt x="575" y="45"/>
                  </a:lnTo>
                  <a:lnTo>
                    <a:pt x="595" y="50"/>
                  </a:lnTo>
                  <a:lnTo>
                    <a:pt x="615" y="58"/>
                  </a:lnTo>
                  <a:lnTo>
                    <a:pt x="635" y="66"/>
                  </a:lnTo>
                  <a:lnTo>
                    <a:pt x="655" y="74"/>
                  </a:lnTo>
                  <a:lnTo>
                    <a:pt x="673" y="84"/>
                  </a:lnTo>
                  <a:lnTo>
                    <a:pt x="692" y="95"/>
                  </a:lnTo>
                  <a:lnTo>
                    <a:pt x="709" y="106"/>
                  </a:lnTo>
                  <a:lnTo>
                    <a:pt x="726" y="118"/>
                  </a:lnTo>
                  <a:lnTo>
                    <a:pt x="743" y="130"/>
                  </a:lnTo>
                  <a:lnTo>
                    <a:pt x="758" y="145"/>
                  </a:lnTo>
                  <a:lnTo>
                    <a:pt x="774" y="159"/>
                  </a:lnTo>
                  <a:lnTo>
                    <a:pt x="788" y="174"/>
                  </a:lnTo>
                  <a:lnTo>
                    <a:pt x="802" y="189"/>
                  </a:lnTo>
                  <a:lnTo>
                    <a:pt x="815" y="206"/>
                  </a:lnTo>
                  <a:lnTo>
                    <a:pt x="827" y="224"/>
                  </a:lnTo>
                  <a:lnTo>
                    <a:pt x="838" y="240"/>
                  </a:lnTo>
                  <a:lnTo>
                    <a:pt x="848" y="259"/>
                  </a:lnTo>
                  <a:lnTo>
                    <a:pt x="858" y="278"/>
                  </a:lnTo>
                  <a:lnTo>
                    <a:pt x="867" y="297"/>
                  </a:lnTo>
                  <a:lnTo>
                    <a:pt x="875" y="317"/>
                  </a:lnTo>
                  <a:lnTo>
                    <a:pt x="882" y="337"/>
                  </a:lnTo>
                  <a:lnTo>
                    <a:pt x="887" y="358"/>
                  </a:lnTo>
                  <a:lnTo>
                    <a:pt x="893" y="379"/>
                  </a:lnTo>
                  <a:lnTo>
                    <a:pt x="896" y="400"/>
                  </a:lnTo>
                  <a:lnTo>
                    <a:pt x="899" y="421"/>
                  </a:lnTo>
                  <a:lnTo>
                    <a:pt x="901" y="444"/>
                  </a:lnTo>
                  <a:lnTo>
                    <a:pt x="902" y="466"/>
                  </a:lnTo>
                  <a:lnTo>
                    <a:pt x="901" y="489"/>
                  </a:lnTo>
                  <a:lnTo>
                    <a:pt x="899" y="510"/>
                  </a:lnTo>
                  <a:lnTo>
                    <a:pt x="896" y="532"/>
                  </a:lnTo>
                  <a:lnTo>
                    <a:pt x="893" y="554"/>
                  </a:lnTo>
                  <a:lnTo>
                    <a:pt x="887" y="575"/>
                  </a:lnTo>
                  <a:lnTo>
                    <a:pt x="882" y="596"/>
                  </a:lnTo>
                  <a:lnTo>
                    <a:pt x="875" y="616"/>
                  </a:lnTo>
                  <a:lnTo>
                    <a:pt x="867" y="636"/>
                  </a:lnTo>
                  <a:lnTo>
                    <a:pt x="858" y="655"/>
                  </a:lnTo>
                  <a:lnTo>
                    <a:pt x="848" y="674"/>
                  </a:lnTo>
                  <a:lnTo>
                    <a:pt x="838" y="691"/>
                  </a:lnTo>
                  <a:lnTo>
                    <a:pt x="827" y="709"/>
                  </a:lnTo>
                  <a:lnTo>
                    <a:pt x="815" y="727"/>
                  </a:lnTo>
                  <a:lnTo>
                    <a:pt x="802" y="742"/>
                  </a:lnTo>
                  <a:lnTo>
                    <a:pt x="788" y="759"/>
                  </a:lnTo>
                  <a:lnTo>
                    <a:pt x="774" y="774"/>
                  </a:lnTo>
                  <a:lnTo>
                    <a:pt x="758" y="788"/>
                  </a:lnTo>
                  <a:lnTo>
                    <a:pt x="743" y="802"/>
                  </a:lnTo>
                  <a:lnTo>
                    <a:pt x="726" y="815"/>
                  </a:lnTo>
                  <a:lnTo>
                    <a:pt x="709" y="827"/>
                  </a:lnTo>
                  <a:lnTo>
                    <a:pt x="692" y="838"/>
                  </a:lnTo>
                  <a:lnTo>
                    <a:pt x="673" y="849"/>
                  </a:lnTo>
                  <a:lnTo>
                    <a:pt x="655" y="858"/>
                  </a:lnTo>
                  <a:lnTo>
                    <a:pt x="635" y="867"/>
                  </a:lnTo>
                  <a:lnTo>
                    <a:pt x="615" y="875"/>
                  </a:lnTo>
                  <a:lnTo>
                    <a:pt x="595" y="881"/>
                  </a:lnTo>
                  <a:lnTo>
                    <a:pt x="575" y="888"/>
                  </a:lnTo>
                  <a:lnTo>
                    <a:pt x="554" y="892"/>
                  </a:lnTo>
                  <a:lnTo>
                    <a:pt x="532" y="897"/>
                  </a:lnTo>
                  <a:lnTo>
                    <a:pt x="511" y="899"/>
                  </a:lnTo>
                  <a:lnTo>
                    <a:pt x="488" y="901"/>
                  </a:lnTo>
                  <a:lnTo>
                    <a:pt x="466" y="901"/>
                  </a:lnTo>
                  <a:close/>
                  <a:moveTo>
                    <a:pt x="466" y="0"/>
                  </a:moveTo>
                  <a:lnTo>
                    <a:pt x="442" y="0"/>
                  </a:lnTo>
                  <a:lnTo>
                    <a:pt x="418" y="2"/>
                  </a:lnTo>
                  <a:lnTo>
                    <a:pt x="395" y="6"/>
                  </a:lnTo>
                  <a:lnTo>
                    <a:pt x="372" y="9"/>
                  </a:lnTo>
                  <a:lnTo>
                    <a:pt x="349" y="15"/>
                  </a:lnTo>
                  <a:lnTo>
                    <a:pt x="327" y="21"/>
                  </a:lnTo>
                  <a:lnTo>
                    <a:pt x="306" y="28"/>
                  </a:lnTo>
                  <a:lnTo>
                    <a:pt x="285" y="37"/>
                  </a:lnTo>
                  <a:lnTo>
                    <a:pt x="264" y="46"/>
                  </a:lnTo>
                  <a:lnTo>
                    <a:pt x="244" y="56"/>
                  </a:lnTo>
                  <a:lnTo>
                    <a:pt x="224" y="68"/>
                  </a:lnTo>
                  <a:lnTo>
                    <a:pt x="205" y="79"/>
                  </a:lnTo>
                  <a:lnTo>
                    <a:pt x="187" y="92"/>
                  </a:lnTo>
                  <a:lnTo>
                    <a:pt x="169" y="107"/>
                  </a:lnTo>
                  <a:lnTo>
                    <a:pt x="153" y="121"/>
                  </a:lnTo>
                  <a:lnTo>
                    <a:pt x="136" y="137"/>
                  </a:lnTo>
                  <a:lnTo>
                    <a:pt x="121" y="152"/>
                  </a:lnTo>
                  <a:lnTo>
                    <a:pt x="106" y="170"/>
                  </a:lnTo>
                  <a:lnTo>
                    <a:pt x="93" y="187"/>
                  </a:lnTo>
                  <a:lnTo>
                    <a:pt x="80" y="206"/>
                  </a:lnTo>
                  <a:lnTo>
                    <a:pt x="67" y="225"/>
                  </a:lnTo>
                  <a:lnTo>
                    <a:pt x="56" y="245"/>
                  </a:lnTo>
                  <a:lnTo>
                    <a:pt x="46" y="265"/>
                  </a:lnTo>
                  <a:lnTo>
                    <a:pt x="36" y="285"/>
                  </a:lnTo>
                  <a:lnTo>
                    <a:pt x="28" y="306"/>
                  </a:lnTo>
                  <a:lnTo>
                    <a:pt x="21" y="328"/>
                  </a:lnTo>
                  <a:lnTo>
                    <a:pt x="14" y="350"/>
                  </a:lnTo>
                  <a:lnTo>
                    <a:pt x="10" y="372"/>
                  </a:lnTo>
                  <a:lnTo>
                    <a:pt x="5" y="396"/>
                  </a:lnTo>
                  <a:lnTo>
                    <a:pt x="2" y="419"/>
                  </a:lnTo>
                  <a:lnTo>
                    <a:pt x="1" y="442"/>
                  </a:lnTo>
                  <a:lnTo>
                    <a:pt x="0" y="466"/>
                  </a:lnTo>
                  <a:lnTo>
                    <a:pt x="1" y="490"/>
                  </a:lnTo>
                  <a:lnTo>
                    <a:pt x="2" y="514"/>
                  </a:lnTo>
                  <a:lnTo>
                    <a:pt x="5" y="537"/>
                  </a:lnTo>
                  <a:lnTo>
                    <a:pt x="10" y="560"/>
                  </a:lnTo>
                  <a:lnTo>
                    <a:pt x="14" y="582"/>
                  </a:lnTo>
                  <a:lnTo>
                    <a:pt x="21" y="605"/>
                  </a:lnTo>
                  <a:lnTo>
                    <a:pt x="28" y="627"/>
                  </a:lnTo>
                  <a:lnTo>
                    <a:pt x="36" y="648"/>
                  </a:lnTo>
                  <a:lnTo>
                    <a:pt x="46" y="668"/>
                  </a:lnTo>
                  <a:lnTo>
                    <a:pt x="56" y="688"/>
                  </a:lnTo>
                  <a:lnTo>
                    <a:pt x="67" y="708"/>
                  </a:lnTo>
                  <a:lnTo>
                    <a:pt x="80" y="727"/>
                  </a:lnTo>
                  <a:lnTo>
                    <a:pt x="93" y="745"/>
                  </a:lnTo>
                  <a:lnTo>
                    <a:pt x="106" y="762"/>
                  </a:lnTo>
                  <a:lnTo>
                    <a:pt x="121" y="779"/>
                  </a:lnTo>
                  <a:lnTo>
                    <a:pt x="136" y="796"/>
                  </a:lnTo>
                  <a:lnTo>
                    <a:pt x="153" y="811"/>
                  </a:lnTo>
                  <a:lnTo>
                    <a:pt x="169" y="826"/>
                  </a:lnTo>
                  <a:lnTo>
                    <a:pt x="187" y="840"/>
                  </a:lnTo>
                  <a:lnTo>
                    <a:pt x="205" y="852"/>
                  </a:lnTo>
                  <a:lnTo>
                    <a:pt x="224" y="865"/>
                  </a:lnTo>
                  <a:lnTo>
                    <a:pt x="244" y="876"/>
                  </a:lnTo>
                  <a:lnTo>
                    <a:pt x="264" y="887"/>
                  </a:lnTo>
                  <a:lnTo>
                    <a:pt x="285" y="896"/>
                  </a:lnTo>
                  <a:lnTo>
                    <a:pt x="306" y="905"/>
                  </a:lnTo>
                  <a:lnTo>
                    <a:pt x="327" y="911"/>
                  </a:lnTo>
                  <a:lnTo>
                    <a:pt x="349" y="918"/>
                  </a:lnTo>
                  <a:lnTo>
                    <a:pt x="372" y="924"/>
                  </a:lnTo>
                  <a:lnTo>
                    <a:pt x="395" y="927"/>
                  </a:lnTo>
                  <a:lnTo>
                    <a:pt x="418" y="930"/>
                  </a:lnTo>
                  <a:lnTo>
                    <a:pt x="442" y="932"/>
                  </a:lnTo>
                  <a:lnTo>
                    <a:pt x="466" y="932"/>
                  </a:lnTo>
                  <a:lnTo>
                    <a:pt x="489" y="932"/>
                  </a:lnTo>
                  <a:lnTo>
                    <a:pt x="514" y="930"/>
                  </a:lnTo>
                  <a:lnTo>
                    <a:pt x="537" y="927"/>
                  </a:lnTo>
                  <a:lnTo>
                    <a:pt x="559" y="924"/>
                  </a:lnTo>
                  <a:lnTo>
                    <a:pt x="583" y="918"/>
                  </a:lnTo>
                  <a:lnTo>
                    <a:pt x="605" y="911"/>
                  </a:lnTo>
                  <a:lnTo>
                    <a:pt x="626" y="905"/>
                  </a:lnTo>
                  <a:lnTo>
                    <a:pt x="647" y="896"/>
                  </a:lnTo>
                  <a:lnTo>
                    <a:pt x="668" y="887"/>
                  </a:lnTo>
                  <a:lnTo>
                    <a:pt x="688" y="876"/>
                  </a:lnTo>
                  <a:lnTo>
                    <a:pt x="707" y="865"/>
                  </a:lnTo>
                  <a:lnTo>
                    <a:pt x="726" y="852"/>
                  </a:lnTo>
                  <a:lnTo>
                    <a:pt x="745" y="840"/>
                  </a:lnTo>
                  <a:lnTo>
                    <a:pt x="763" y="826"/>
                  </a:lnTo>
                  <a:lnTo>
                    <a:pt x="779" y="811"/>
                  </a:lnTo>
                  <a:lnTo>
                    <a:pt x="795" y="796"/>
                  </a:lnTo>
                  <a:lnTo>
                    <a:pt x="811" y="779"/>
                  </a:lnTo>
                  <a:lnTo>
                    <a:pt x="826" y="762"/>
                  </a:lnTo>
                  <a:lnTo>
                    <a:pt x="839" y="745"/>
                  </a:lnTo>
                  <a:lnTo>
                    <a:pt x="853" y="727"/>
                  </a:lnTo>
                  <a:lnTo>
                    <a:pt x="865" y="708"/>
                  </a:lnTo>
                  <a:lnTo>
                    <a:pt x="876" y="688"/>
                  </a:lnTo>
                  <a:lnTo>
                    <a:pt x="886" y="668"/>
                  </a:lnTo>
                  <a:lnTo>
                    <a:pt x="896" y="648"/>
                  </a:lnTo>
                  <a:lnTo>
                    <a:pt x="904" y="627"/>
                  </a:lnTo>
                  <a:lnTo>
                    <a:pt x="912" y="605"/>
                  </a:lnTo>
                  <a:lnTo>
                    <a:pt x="917" y="582"/>
                  </a:lnTo>
                  <a:lnTo>
                    <a:pt x="923" y="560"/>
                  </a:lnTo>
                  <a:lnTo>
                    <a:pt x="927" y="537"/>
                  </a:lnTo>
                  <a:lnTo>
                    <a:pt x="929" y="514"/>
                  </a:lnTo>
                  <a:lnTo>
                    <a:pt x="932" y="490"/>
                  </a:lnTo>
                  <a:lnTo>
                    <a:pt x="933" y="466"/>
                  </a:lnTo>
                  <a:lnTo>
                    <a:pt x="932" y="442"/>
                  </a:lnTo>
                  <a:lnTo>
                    <a:pt x="929" y="419"/>
                  </a:lnTo>
                  <a:lnTo>
                    <a:pt x="927" y="396"/>
                  </a:lnTo>
                  <a:lnTo>
                    <a:pt x="923" y="372"/>
                  </a:lnTo>
                  <a:lnTo>
                    <a:pt x="917" y="350"/>
                  </a:lnTo>
                  <a:lnTo>
                    <a:pt x="912" y="328"/>
                  </a:lnTo>
                  <a:lnTo>
                    <a:pt x="904" y="306"/>
                  </a:lnTo>
                  <a:lnTo>
                    <a:pt x="896" y="285"/>
                  </a:lnTo>
                  <a:lnTo>
                    <a:pt x="886" y="265"/>
                  </a:lnTo>
                  <a:lnTo>
                    <a:pt x="876" y="245"/>
                  </a:lnTo>
                  <a:lnTo>
                    <a:pt x="865" y="225"/>
                  </a:lnTo>
                  <a:lnTo>
                    <a:pt x="853" y="206"/>
                  </a:lnTo>
                  <a:lnTo>
                    <a:pt x="839" y="187"/>
                  </a:lnTo>
                  <a:lnTo>
                    <a:pt x="826" y="170"/>
                  </a:lnTo>
                  <a:lnTo>
                    <a:pt x="811" y="152"/>
                  </a:lnTo>
                  <a:lnTo>
                    <a:pt x="795" y="137"/>
                  </a:lnTo>
                  <a:lnTo>
                    <a:pt x="779" y="121"/>
                  </a:lnTo>
                  <a:lnTo>
                    <a:pt x="763" y="107"/>
                  </a:lnTo>
                  <a:lnTo>
                    <a:pt x="745" y="92"/>
                  </a:lnTo>
                  <a:lnTo>
                    <a:pt x="726" y="80"/>
                  </a:lnTo>
                  <a:lnTo>
                    <a:pt x="707" y="68"/>
                  </a:lnTo>
                  <a:lnTo>
                    <a:pt x="688" y="56"/>
                  </a:lnTo>
                  <a:lnTo>
                    <a:pt x="668" y="46"/>
                  </a:lnTo>
                  <a:lnTo>
                    <a:pt x="647" y="37"/>
                  </a:lnTo>
                  <a:lnTo>
                    <a:pt x="626" y="28"/>
                  </a:lnTo>
                  <a:lnTo>
                    <a:pt x="605" y="21"/>
                  </a:lnTo>
                  <a:lnTo>
                    <a:pt x="583" y="15"/>
                  </a:lnTo>
                  <a:lnTo>
                    <a:pt x="559" y="9"/>
                  </a:lnTo>
                  <a:lnTo>
                    <a:pt x="537" y="6"/>
                  </a:lnTo>
                  <a:lnTo>
                    <a:pt x="514" y="2"/>
                  </a:lnTo>
                  <a:lnTo>
                    <a:pt x="489"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4" name="Freeform 332">
              <a:extLst>
                <a:ext uri="{FF2B5EF4-FFF2-40B4-BE49-F238E27FC236}">
                  <a16:creationId xmlns:a16="http://schemas.microsoft.com/office/drawing/2014/main" id="{B439F536-088A-4449-B60C-729B948BBE62}"/>
                </a:ext>
              </a:extLst>
            </p:cNvPr>
            <p:cNvSpPr>
              <a:spLocks noEditPoints="1"/>
            </p:cNvSpPr>
            <p:nvPr/>
          </p:nvSpPr>
          <p:spPr bwMode="auto">
            <a:xfrm>
              <a:off x="7684004" y="2591573"/>
              <a:ext cx="38197" cy="124447"/>
            </a:xfrm>
            <a:custGeom>
              <a:avLst/>
              <a:gdLst>
                <a:gd name="T0" fmla="*/ 93 w 124"/>
                <a:gd name="T1" fmla="*/ 373 h 405"/>
                <a:gd name="T2" fmla="*/ 31 w 124"/>
                <a:gd name="T3" fmla="*/ 373 h 405"/>
                <a:gd name="T4" fmla="*/ 31 w 124"/>
                <a:gd name="T5" fmla="*/ 32 h 405"/>
                <a:gd name="T6" fmla="*/ 93 w 124"/>
                <a:gd name="T7" fmla="*/ 32 h 405"/>
                <a:gd name="T8" fmla="*/ 93 w 124"/>
                <a:gd name="T9" fmla="*/ 373 h 405"/>
                <a:gd name="T10" fmla="*/ 108 w 124"/>
                <a:gd name="T11" fmla="*/ 0 h 405"/>
                <a:gd name="T12" fmla="*/ 15 w 124"/>
                <a:gd name="T13" fmla="*/ 0 h 405"/>
                <a:gd name="T14" fmla="*/ 12 w 124"/>
                <a:gd name="T15" fmla="*/ 1 h 405"/>
                <a:gd name="T16" fmla="*/ 10 w 124"/>
                <a:gd name="T17" fmla="*/ 2 h 405"/>
                <a:gd name="T18" fmla="*/ 6 w 124"/>
                <a:gd name="T19" fmla="*/ 3 h 405"/>
                <a:gd name="T20" fmla="*/ 4 w 124"/>
                <a:gd name="T21" fmla="*/ 6 h 405"/>
                <a:gd name="T22" fmla="*/ 2 w 124"/>
                <a:gd name="T23" fmla="*/ 8 h 405"/>
                <a:gd name="T24" fmla="*/ 1 w 124"/>
                <a:gd name="T25" fmla="*/ 10 h 405"/>
                <a:gd name="T26" fmla="*/ 0 w 124"/>
                <a:gd name="T27" fmla="*/ 13 h 405"/>
                <a:gd name="T28" fmla="*/ 0 w 124"/>
                <a:gd name="T29" fmla="*/ 17 h 405"/>
                <a:gd name="T30" fmla="*/ 0 w 124"/>
                <a:gd name="T31" fmla="*/ 389 h 405"/>
                <a:gd name="T32" fmla="*/ 0 w 124"/>
                <a:gd name="T33" fmla="*/ 392 h 405"/>
                <a:gd name="T34" fmla="*/ 1 w 124"/>
                <a:gd name="T35" fmla="*/ 396 h 405"/>
                <a:gd name="T36" fmla="*/ 2 w 124"/>
                <a:gd name="T37" fmla="*/ 398 h 405"/>
                <a:gd name="T38" fmla="*/ 4 w 124"/>
                <a:gd name="T39" fmla="*/ 400 h 405"/>
                <a:gd name="T40" fmla="*/ 6 w 124"/>
                <a:gd name="T41" fmla="*/ 402 h 405"/>
                <a:gd name="T42" fmla="*/ 10 w 124"/>
                <a:gd name="T43" fmla="*/ 403 h 405"/>
                <a:gd name="T44" fmla="*/ 12 w 124"/>
                <a:gd name="T45" fmla="*/ 405 h 405"/>
                <a:gd name="T46" fmla="*/ 15 w 124"/>
                <a:gd name="T47" fmla="*/ 405 h 405"/>
                <a:gd name="T48" fmla="*/ 108 w 124"/>
                <a:gd name="T49" fmla="*/ 405 h 405"/>
                <a:gd name="T50" fmla="*/ 112 w 124"/>
                <a:gd name="T51" fmla="*/ 405 h 405"/>
                <a:gd name="T52" fmla="*/ 114 w 124"/>
                <a:gd name="T53" fmla="*/ 403 h 405"/>
                <a:gd name="T54" fmla="*/ 117 w 124"/>
                <a:gd name="T55" fmla="*/ 402 h 405"/>
                <a:gd name="T56" fmla="*/ 120 w 124"/>
                <a:gd name="T57" fmla="*/ 400 h 405"/>
                <a:gd name="T58" fmla="*/ 122 w 124"/>
                <a:gd name="T59" fmla="*/ 398 h 405"/>
                <a:gd name="T60" fmla="*/ 123 w 124"/>
                <a:gd name="T61" fmla="*/ 396 h 405"/>
                <a:gd name="T62" fmla="*/ 124 w 124"/>
                <a:gd name="T63" fmla="*/ 392 h 405"/>
                <a:gd name="T64" fmla="*/ 124 w 124"/>
                <a:gd name="T65" fmla="*/ 389 h 405"/>
                <a:gd name="T66" fmla="*/ 124 w 124"/>
                <a:gd name="T67" fmla="*/ 17 h 405"/>
                <a:gd name="T68" fmla="*/ 124 w 124"/>
                <a:gd name="T69" fmla="*/ 13 h 405"/>
                <a:gd name="T70" fmla="*/ 123 w 124"/>
                <a:gd name="T71" fmla="*/ 10 h 405"/>
                <a:gd name="T72" fmla="*/ 122 w 124"/>
                <a:gd name="T73" fmla="*/ 8 h 405"/>
                <a:gd name="T74" fmla="*/ 120 w 124"/>
                <a:gd name="T75" fmla="*/ 6 h 405"/>
                <a:gd name="T76" fmla="*/ 117 w 124"/>
                <a:gd name="T77" fmla="*/ 3 h 405"/>
                <a:gd name="T78" fmla="*/ 114 w 124"/>
                <a:gd name="T79" fmla="*/ 2 h 405"/>
                <a:gd name="T80" fmla="*/ 112 w 124"/>
                <a:gd name="T81" fmla="*/ 1 h 405"/>
                <a:gd name="T82" fmla="*/ 108 w 124"/>
                <a:gd name="T83"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 h="405">
                  <a:moveTo>
                    <a:pt x="93" y="373"/>
                  </a:moveTo>
                  <a:lnTo>
                    <a:pt x="31" y="373"/>
                  </a:lnTo>
                  <a:lnTo>
                    <a:pt x="31" y="32"/>
                  </a:lnTo>
                  <a:lnTo>
                    <a:pt x="93" y="32"/>
                  </a:lnTo>
                  <a:lnTo>
                    <a:pt x="93" y="373"/>
                  </a:lnTo>
                  <a:close/>
                  <a:moveTo>
                    <a:pt x="108" y="0"/>
                  </a:moveTo>
                  <a:lnTo>
                    <a:pt x="15" y="0"/>
                  </a:lnTo>
                  <a:lnTo>
                    <a:pt x="12" y="1"/>
                  </a:lnTo>
                  <a:lnTo>
                    <a:pt x="10" y="2"/>
                  </a:lnTo>
                  <a:lnTo>
                    <a:pt x="6" y="3"/>
                  </a:lnTo>
                  <a:lnTo>
                    <a:pt x="4" y="6"/>
                  </a:lnTo>
                  <a:lnTo>
                    <a:pt x="2" y="8"/>
                  </a:lnTo>
                  <a:lnTo>
                    <a:pt x="1" y="10"/>
                  </a:lnTo>
                  <a:lnTo>
                    <a:pt x="0" y="13"/>
                  </a:lnTo>
                  <a:lnTo>
                    <a:pt x="0" y="17"/>
                  </a:lnTo>
                  <a:lnTo>
                    <a:pt x="0" y="389"/>
                  </a:lnTo>
                  <a:lnTo>
                    <a:pt x="0" y="392"/>
                  </a:lnTo>
                  <a:lnTo>
                    <a:pt x="1" y="396"/>
                  </a:lnTo>
                  <a:lnTo>
                    <a:pt x="2" y="398"/>
                  </a:lnTo>
                  <a:lnTo>
                    <a:pt x="4" y="400"/>
                  </a:lnTo>
                  <a:lnTo>
                    <a:pt x="6" y="402"/>
                  </a:lnTo>
                  <a:lnTo>
                    <a:pt x="10" y="403"/>
                  </a:lnTo>
                  <a:lnTo>
                    <a:pt x="12" y="405"/>
                  </a:lnTo>
                  <a:lnTo>
                    <a:pt x="15" y="405"/>
                  </a:lnTo>
                  <a:lnTo>
                    <a:pt x="108" y="405"/>
                  </a:lnTo>
                  <a:lnTo>
                    <a:pt x="112" y="405"/>
                  </a:lnTo>
                  <a:lnTo>
                    <a:pt x="114" y="403"/>
                  </a:lnTo>
                  <a:lnTo>
                    <a:pt x="117" y="402"/>
                  </a:lnTo>
                  <a:lnTo>
                    <a:pt x="120" y="400"/>
                  </a:lnTo>
                  <a:lnTo>
                    <a:pt x="122" y="398"/>
                  </a:lnTo>
                  <a:lnTo>
                    <a:pt x="123" y="396"/>
                  </a:lnTo>
                  <a:lnTo>
                    <a:pt x="124" y="392"/>
                  </a:lnTo>
                  <a:lnTo>
                    <a:pt x="124" y="389"/>
                  </a:lnTo>
                  <a:lnTo>
                    <a:pt x="124" y="17"/>
                  </a:lnTo>
                  <a:lnTo>
                    <a:pt x="124" y="13"/>
                  </a:lnTo>
                  <a:lnTo>
                    <a:pt x="123" y="10"/>
                  </a:lnTo>
                  <a:lnTo>
                    <a:pt x="122" y="8"/>
                  </a:lnTo>
                  <a:lnTo>
                    <a:pt x="120" y="6"/>
                  </a:lnTo>
                  <a:lnTo>
                    <a:pt x="117" y="3"/>
                  </a:lnTo>
                  <a:lnTo>
                    <a:pt x="114" y="2"/>
                  </a:lnTo>
                  <a:lnTo>
                    <a:pt x="112" y="1"/>
                  </a:lnTo>
                  <a:lnTo>
                    <a:pt x="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5" name="Freeform 333">
              <a:extLst>
                <a:ext uri="{FF2B5EF4-FFF2-40B4-BE49-F238E27FC236}">
                  <a16:creationId xmlns:a16="http://schemas.microsoft.com/office/drawing/2014/main" id="{24624C56-8178-423A-BB8B-97E6E897AE6F}"/>
                </a:ext>
              </a:extLst>
            </p:cNvPr>
            <p:cNvSpPr>
              <a:spLocks noEditPoints="1"/>
            </p:cNvSpPr>
            <p:nvPr/>
          </p:nvSpPr>
          <p:spPr bwMode="auto">
            <a:xfrm>
              <a:off x="7741915" y="2591573"/>
              <a:ext cx="38197" cy="124447"/>
            </a:xfrm>
            <a:custGeom>
              <a:avLst/>
              <a:gdLst>
                <a:gd name="T0" fmla="*/ 94 w 125"/>
                <a:gd name="T1" fmla="*/ 373 h 405"/>
                <a:gd name="T2" fmla="*/ 31 w 125"/>
                <a:gd name="T3" fmla="*/ 373 h 405"/>
                <a:gd name="T4" fmla="*/ 31 w 125"/>
                <a:gd name="T5" fmla="*/ 32 h 405"/>
                <a:gd name="T6" fmla="*/ 94 w 125"/>
                <a:gd name="T7" fmla="*/ 32 h 405"/>
                <a:gd name="T8" fmla="*/ 94 w 125"/>
                <a:gd name="T9" fmla="*/ 373 h 405"/>
                <a:gd name="T10" fmla="*/ 109 w 125"/>
                <a:gd name="T11" fmla="*/ 0 h 405"/>
                <a:gd name="T12" fmla="*/ 16 w 125"/>
                <a:gd name="T13" fmla="*/ 0 h 405"/>
                <a:gd name="T14" fmla="*/ 12 w 125"/>
                <a:gd name="T15" fmla="*/ 1 h 405"/>
                <a:gd name="T16" fmla="*/ 9 w 125"/>
                <a:gd name="T17" fmla="*/ 2 h 405"/>
                <a:gd name="T18" fmla="*/ 7 w 125"/>
                <a:gd name="T19" fmla="*/ 3 h 405"/>
                <a:gd name="T20" fmla="*/ 5 w 125"/>
                <a:gd name="T21" fmla="*/ 6 h 405"/>
                <a:gd name="T22" fmla="*/ 2 w 125"/>
                <a:gd name="T23" fmla="*/ 8 h 405"/>
                <a:gd name="T24" fmla="*/ 1 w 125"/>
                <a:gd name="T25" fmla="*/ 10 h 405"/>
                <a:gd name="T26" fmla="*/ 0 w 125"/>
                <a:gd name="T27" fmla="*/ 13 h 405"/>
                <a:gd name="T28" fmla="*/ 0 w 125"/>
                <a:gd name="T29" fmla="*/ 17 h 405"/>
                <a:gd name="T30" fmla="*/ 0 w 125"/>
                <a:gd name="T31" fmla="*/ 389 h 405"/>
                <a:gd name="T32" fmla="*/ 0 w 125"/>
                <a:gd name="T33" fmla="*/ 392 h 405"/>
                <a:gd name="T34" fmla="*/ 1 w 125"/>
                <a:gd name="T35" fmla="*/ 396 h 405"/>
                <a:gd name="T36" fmla="*/ 2 w 125"/>
                <a:gd name="T37" fmla="*/ 398 h 405"/>
                <a:gd name="T38" fmla="*/ 5 w 125"/>
                <a:gd name="T39" fmla="*/ 400 h 405"/>
                <a:gd name="T40" fmla="*/ 7 w 125"/>
                <a:gd name="T41" fmla="*/ 402 h 405"/>
                <a:gd name="T42" fmla="*/ 9 w 125"/>
                <a:gd name="T43" fmla="*/ 403 h 405"/>
                <a:gd name="T44" fmla="*/ 12 w 125"/>
                <a:gd name="T45" fmla="*/ 405 h 405"/>
                <a:gd name="T46" fmla="*/ 16 w 125"/>
                <a:gd name="T47" fmla="*/ 405 h 405"/>
                <a:gd name="T48" fmla="*/ 109 w 125"/>
                <a:gd name="T49" fmla="*/ 405 h 405"/>
                <a:gd name="T50" fmla="*/ 112 w 125"/>
                <a:gd name="T51" fmla="*/ 405 h 405"/>
                <a:gd name="T52" fmla="*/ 115 w 125"/>
                <a:gd name="T53" fmla="*/ 403 h 405"/>
                <a:gd name="T54" fmla="*/ 118 w 125"/>
                <a:gd name="T55" fmla="*/ 402 h 405"/>
                <a:gd name="T56" fmla="*/ 120 w 125"/>
                <a:gd name="T57" fmla="*/ 400 h 405"/>
                <a:gd name="T58" fmla="*/ 121 w 125"/>
                <a:gd name="T59" fmla="*/ 398 h 405"/>
                <a:gd name="T60" fmla="*/ 124 w 125"/>
                <a:gd name="T61" fmla="*/ 396 h 405"/>
                <a:gd name="T62" fmla="*/ 124 w 125"/>
                <a:gd name="T63" fmla="*/ 392 h 405"/>
                <a:gd name="T64" fmla="*/ 125 w 125"/>
                <a:gd name="T65" fmla="*/ 389 h 405"/>
                <a:gd name="T66" fmla="*/ 125 w 125"/>
                <a:gd name="T67" fmla="*/ 17 h 405"/>
                <a:gd name="T68" fmla="*/ 124 w 125"/>
                <a:gd name="T69" fmla="*/ 13 h 405"/>
                <a:gd name="T70" fmla="*/ 124 w 125"/>
                <a:gd name="T71" fmla="*/ 10 h 405"/>
                <a:gd name="T72" fmla="*/ 121 w 125"/>
                <a:gd name="T73" fmla="*/ 8 h 405"/>
                <a:gd name="T74" fmla="*/ 120 w 125"/>
                <a:gd name="T75" fmla="*/ 6 h 405"/>
                <a:gd name="T76" fmla="*/ 118 w 125"/>
                <a:gd name="T77" fmla="*/ 3 h 405"/>
                <a:gd name="T78" fmla="*/ 115 w 125"/>
                <a:gd name="T79" fmla="*/ 2 h 405"/>
                <a:gd name="T80" fmla="*/ 112 w 125"/>
                <a:gd name="T81" fmla="*/ 1 h 405"/>
                <a:gd name="T82" fmla="*/ 109 w 125"/>
                <a:gd name="T83"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405">
                  <a:moveTo>
                    <a:pt x="94" y="373"/>
                  </a:moveTo>
                  <a:lnTo>
                    <a:pt x="31" y="373"/>
                  </a:lnTo>
                  <a:lnTo>
                    <a:pt x="31" y="32"/>
                  </a:lnTo>
                  <a:lnTo>
                    <a:pt x="94" y="32"/>
                  </a:lnTo>
                  <a:lnTo>
                    <a:pt x="94" y="373"/>
                  </a:lnTo>
                  <a:close/>
                  <a:moveTo>
                    <a:pt x="109" y="0"/>
                  </a:moveTo>
                  <a:lnTo>
                    <a:pt x="16" y="0"/>
                  </a:lnTo>
                  <a:lnTo>
                    <a:pt x="12" y="1"/>
                  </a:lnTo>
                  <a:lnTo>
                    <a:pt x="9" y="2"/>
                  </a:lnTo>
                  <a:lnTo>
                    <a:pt x="7" y="3"/>
                  </a:lnTo>
                  <a:lnTo>
                    <a:pt x="5" y="6"/>
                  </a:lnTo>
                  <a:lnTo>
                    <a:pt x="2" y="8"/>
                  </a:lnTo>
                  <a:lnTo>
                    <a:pt x="1" y="10"/>
                  </a:lnTo>
                  <a:lnTo>
                    <a:pt x="0" y="13"/>
                  </a:lnTo>
                  <a:lnTo>
                    <a:pt x="0" y="17"/>
                  </a:lnTo>
                  <a:lnTo>
                    <a:pt x="0" y="389"/>
                  </a:lnTo>
                  <a:lnTo>
                    <a:pt x="0" y="392"/>
                  </a:lnTo>
                  <a:lnTo>
                    <a:pt x="1" y="396"/>
                  </a:lnTo>
                  <a:lnTo>
                    <a:pt x="2" y="398"/>
                  </a:lnTo>
                  <a:lnTo>
                    <a:pt x="5" y="400"/>
                  </a:lnTo>
                  <a:lnTo>
                    <a:pt x="7" y="402"/>
                  </a:lnTo>
                  <a:lnTo>
                    <a:pt x="9" y="403"/>
                  </a:lnTo>
                  <a:lnTo>
                    <a:pt x="12" y="405"/>
                  </a:lnTo>
                  <a:lnTo>
                    <a:pt x="16" y="405"/>
                  </a:lnTo>
                  <a:lnTo>
                    <a:pt x="109" y="405"/>
                  </a:lnTo>
                  <a:lnTo>
                    <a:pt x="112" y="405"/>
                  </a:lnTo>
                  <a:lnTo>
                    <a:pt x="115" y="403"/>
                  </a:lnTo>
                  <a:lnTo>
                    <a:pt x="118" y="402"/>
                  </a:lnTo>
                  <a:lnTo>
                    <a:pt x="120" y="400"/>
                  </a:lnTo>
                  <a:lnTo>
                    <a:pt x="121" y="398"/>
                  </a:lnTo>
                  <a:lnTo>
                    <a:pt x="124" y="396"/>
                  </a:lnTo>
                  <a:lnTo>
                    <a:pt x="124" y="392"/>
                  </a:lnTo>
                  <a:lnTo>
                    <a:pt x="125" y="389"/>
                  </a:lnTo>
                  <a:lnTo>
                    <a:pt x="125" y="17"/>
                  </a:lnTo>
                  <a:lnTo>
                    <a:pt x="124" y="13"/>
                  </a:lnTo>
                  <a:lnTo>
                    <a:pt x="124" y="10"/>
                  </a:lnTo>
                  <a:lnTo>
                    <a:pt x="121" y="8"/>
                  </a:lnTo>
                  <a:lnTo>
                    <a:pt x="120" y="6"/>
                  </a:lnTo>
                  <a:lnTo>
                    <a:pt x="118" y="3"/>
                  </a:lnTo>
                  <a:lnTo>
                    <a:pt x="115" y="2"/>
                  </a:lnTo>
                  <a:lnTo>
                    <a:pt x="112" y="1"/>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406" name="Group 95">
            <a:extLst>
              <a:ext uri="{FF2B5EF4-FFF2-40B4-BE49-F238E27FC236}">
                <a16:creationId xmlns:a16="http://schemas.microsoft.com/office/drawing/2014/main" id="{17026993-D6A2-4FED-9B46-434C6B6810E6}"/>
              </a:ext>
            </a:extLst>
          </p:cNvPr>
          <p:cNvGrpSpPr>
            <a:grpSpLocks noChangeAspect="1"/>
          </p:cNvGrpSpPr>
          <p:nvPr/>
        </p:nvGrpSpPr>
        <p:grpSpPr>
          <a:xfrm>
            <a:off x="1095372" y="2186361"/>
            <a:ext cx="247853" cy="285619"/>
            <a:chOff x="4489450" y="903288"/>
            <a:chExt cx="571500" cy="692151"/>
          </a:xfrm>
          <a:solidFill>
            <a:schemeClr val="bg2"/>
          </a:solidFill>
          <a:effectLst/>
        </p:grpSpPr>
        <p:sp>
          <p:nvSpPr>
            <p:cNvPr id="407" name="Freeform 9">
              <a:extLst>
                <a:ext uri="{FF2B5EF4-FFF2-40B4-BE49-F238E27FC236}">
                  <a16:creationId xmlns:a16="http://schemas.microsoft.com/office/drawing/2014/main" id="{5C9CDEEF-23B1-4CFD-9FC6-E8BCECDEC20E}"/>
                </a:ext>
              </a:extLst>
            </p:cNvPr>
            <p:cNvSpPr>
              <a:spLocks noEditPoints="1"/>
            </p:cNvSpPr>
            <p:nvPr/>
          </p:nvSpPr>
          <p:spPr bwMode="auto">
            <a:xfrm>
              <a:off x="4610100" y="903288"/>
              <a:ext cx="330200" cy="360363"/>
            </a:xfrm>
            <a:custGeom>
              <a:avLst/>
              <a:gdLst>
                <a:gd name="T0" fmla="*/ 271 w 623"/>
                <a:gd name="T1" fmla="*/ 56 h 680"/>
                <a:gd name="T2" fmla="*/ 188 w 623"/>
                <a:gd name="T3" fmla="*/ 86 h 680"/>
                <a:gd name="T4" fmla="*/ 111 w 623"/>
                <a:gd name="T5" fmla="*/ 157 h 680"/>
                <a:gd name="T6" fmla="*/ 64 w 623"/>
                <a:gd name="T7" fmla="*/ 255 h 680"/>
                <a:gd name="T8" fmla="*/ 54 w 623"/>
                <a:gd name="T9" fmla="*/ 369 h 680"/>
                <a:gd name="T10" fmla="*/ 84 w 623"/>
                <a:gd name="T11" fmla="*/ 477 h 680"/>
                <a:gd name="T12" fmla="*/ 146 w 623"/>
                <a:gd name="T13" fmla="*/ 562 h 680"/>
                <a:gd name="T14" fmla="*/ 234 w 623"/>
                <a:gd name="T15" fmla="*/ 613 h 680"/>
                <a:gd name="T16" fmla="*/ 297 w 623"/>
                <a:gd name="T17" fmla="*/ 626 h 680"/>
                <a:gd name="T18" fmla="*/ 350 w 623"/>
                <a:gd name="T19" fmla="*/ 623 h 680"/>
                <a:gd name="T20" fmla="*/ 434 w 623"/>
                <a:gd name="T21" fmla="*/ 592 h 680"/>
                <a:gd name="T22" fmla="*/ 510 w 623"/>
                <a:gd name="T23" fmla="*/ 523 h 680"/>
                <a:gd name="T24" fmla="*/ 558 w 623"/>
                <a:gd name="T25" fmla="*/ 425 h 680"/>
                <a:gd name="T26" fmla="*/ 568 w 623"/>
                <a:gd name="T27" fmla="*/ 311 h 680"/>
                <a:gd name="T28" fmla="*/ 539 w 623"/>
                <a:gd name="T29" fmla="*/ 203 h 680"/>
                <a:gd name="T30" fmla="*/ 476 w 623"/>
                <a:gd name="T31" fmla="*/ 118 h 680"/>
                <a:gd name="T32" fmla="*/ 388 w 623"/>
                <a:gd name="T33" fmla="*/ 65 h 680"/>
                <a:gd name="T34" fmla="*/ 324 w 623"/>
                <a:gd name="T35" fmla="*/ 53 h 680"/>
                <a:gd name="T36" fmla="*/ 280 w 623"/>
                <a:gd name="T37" fmla="*/ 678 h 680"/>
                <a:gd name="T38" fmla="*/ 218 w 623"/>
                <a:gd name="T39" fmla="*/ 664 h 680"/>
                <a:gd name="T40" fmla="*/ 163 w 623"/>
                <a:gd name="T41" fmla="*/ 638 h 680"/>
                <a:gd name="T42" fmla="*/ 113 w 623"/>
                <a:gd name="T43" fmla="*/ 602 h 680"/>
                <a:gd name="T44" fmla="*/ 71 w 623"/>
                <a:gd name="T45" fmla="*/ 556 h 680"/>
                <a:gd name="T46" fmla="*/ 38 w 623"/>
                <a:gd name="T47" fmla="*/ 501 h 680"/>
                <a:gd name="T48" fmla="*/ 13 w 623"/>
                <a:gd name="T49" fmla="*/ 441 h 680"/>
                <a:gd name="T50" fmla="*/ 2 w 623"/>
                <a:gd name="T51" fmla="*/ 374 h 680"/>
                <a:gd name="T52" fmla="*/ 2 w 623"/>
                <a:gd name="T53" fmla="*/ 305 h 680"/>
                <a:gd name="T54" fmla="*/ 13 w 623"/>
                <a:gd name="T55" fmla="*/ 239 h 680"/>
                <a:gd name="T56" fmla="*/ 38 w 623"/>
                <a:gd name="T57" fmla="*/ 179 h 680"/>
                <a:gd name="T58" fmla="*/ 71 w 623"/>
                <a:gd name="T59" fmla="*/ 124 h 680"/>
                <a:gd name="T60" fmla="*/ 113 w 623"/>
                <a:gd name="T61" fmla="*/ 78 h 680"/>
                <a:gd name="T62" fmla="*/ 163 w 623"/>
                <a:gd name="T63" fmla="*/ 42 h 680"/>
                <a:gd name="T64" fmla="*/ 218 w 623"/>
                <a:gd name="T65" fmla="*/ 16 h 680"/>
                <a:gd name="T66" fmla="*/ 280 w 623"/>
                <a:gd name="T67" fmla="*/ 1 h 680"/>
                <a:gd name="T68" fmla="*/ 343 w 623"/>
                <a:gd name="T69" fmla="*/ 1 h 680"/>
                <a:gd name="T70" fmla="*/ 404 w 623"/>
                <a:gd name="T71" fmla="*/ 16 h 680"/>
                <a:gd name="T72" fmla="*/ 458 w 623"/>
                <a:gd name="T73" fmla="*/ 42 h 680"/>
                <a:gd name="T74" fmla="*/ 509 w 623"/>
                <a:gd name="T75" fmla="*/ 78 h 680"/>
                <a:gd name="T76" fmla="*/ 551 w 623"/>
                <a:gd name="T77" fmla="*/ 124 h 680"/>
                <a:gd name="T78" fmla="*/ 585 w 623"/>
                <a:gd name="T79" fmla="*/ 179 h 680"/>
                <a:gd name="T80" fmla="*/ 608 w 623"/>
                <a:gd name="T81" fmla="*/ 239 h 680"/>
                <a:gd name="T82" fmla="*/ 621 w 623"/>
                <a:gd name="T83" fmla="*/ 305 h 680"/>
                <a:gd name="T84" fmla="*/ 621 w 623"/>
                <a:gd name="T85" fmla="*/ 374 h 680"/>
                <a:gd name="T86" fmla="*/ 608 w 623"/>
                <a:gd name="T87" fmla="*/ 441 h 680"/>
                <a:gd name="T88" fmla="*/ 585 w 623"/>
                <a:gd name="T89" fmla="*/ 501 h 680"/>
                <a:gd name="T90" fmla="*/ 551 w 623"/>
                <a:gd name="T91" fmla="*/ 556 h 680"/>
                <a:gd name="T92" fmla="*/ 509 w 623"/>
                <a:gd name="T93" fmla="*/ 602 h 680"/>
                <a:gd name="T94" fmla="*/ 458 w 623"/>
                <a:gd name="T95" fmla="*/ 638 h 680"/>
                <a:gd name="T96" fmla="*/ 404 w 623"/>
                <a:gd name="T97" fmla="*/ 664 h 680"/>
                <a:gd name="T98" fmla="*/ 343 w 623"/>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3" h="680">
                  <a:moveTo>
                    <a:pt x="311" y="52"/>
                  </a:moveTo>
                  <a:lnTo>
                    <a:pt x="297" y="53"/>
                  </a:lnTo>
                  <a:lnTo>
                    <a:pt x="284" y="53"/>
                  </a:lnTo>
                  <a:lnTo>
                    <a:pt x="271" y="56"/>
                  </a:lnTo>
                  <a:lnTo>
                    <a:pt x="258" y="58"/>
                  </a:lnTo>
                  <a:lnTo>
                    <a:pt x="234" y="65"/>
                  </a:lnTo>
                  <a:lnTo>
                    <a:pt x="211" y="75"/>
                  </a:lnTo>
                  <a:lnTo>
                    <a:pt x="188" y="86"/>
                  </a:lnTo>
                  <a:lnTo>
                    <a:pt x="166" y="101"/>
                  </a:lnTo>
                  <a:lnTo>
                    <a:pt x="146" y="118"/>
                  </a:lnTo>
                  <a:lnTo>
                    <a:pt x="129" y="137"/>
                  </a:lnTo>
                  <a:lnTo>
                    <a:pt x="111" y="157"/>
                  </a:lnTo>
                  <a:lnTo>
                    <a:pt x="97" y="179"/>
                  </a:lnTo>
                  <a:lnTo>
                    <a:pt x="84" y="203"/>
                  </a:lnTo>
                  <a:lnTo>
                    <a:pt x="72" y="227"/>
                  </a:lnTo>
                  <a:lnTo>
                    <a:pt x="64" y="255"/>
                  </a:lnTo>
                  <a:lnTo>
                    <a:pt x="58" y="282"/>
                  </a:lnTo>
                  <a:lnTo>
                    <a:pt x="54" y="311"/>
                  </a:lnTo>
                  <a:lnTo>
                    <a:pt x="52" y="340"/>
                  </a:lnTo>
                  <a:lnTo>
                    <a:pt x="54" y="369"/>
                  </a:lnTo>
                  <a:lnTo>
                    <a:pt x="58" y="397"/>
                  </a:lnTo>
                  <a:lnTo>
                    <a:pt x="64" y="425"/>
                  </a:lnTo>
                  <a:lnTo>
                    <a:pt x="72" y="452"/>
                  </a:lnTo>
                  <a:lnTo>
                    <a:pt x="84" y="477"/>
                  </a:lnTo>
                  <a:lnTo>
                    <a:pt x="97" y="500"/>
                  </a:lnTo>
                  <a:lnTo>
                    <a:pt x="111" y="523"/>
                  </a:lnTo>
                  <a:lnTo>
                    <a:pt x="129" y="543"/>
                  </a:lnTo>
                  <a:lnTo>
                    <a:pt x="146" y="562"/>
                  </a:lnTo>
                  <a:lnTo>
                    <a:pt x="166" y="577"/>
                  </a:lnTo>
                  <a:lnTo>
                    <a:pt x="188" y="592"/>
                  </a:lnTo>
                  <a:lnTo>
                    <a:pt x="211" y="605"/>
                  </a:lnTo>
                  <a:lnTo>
                    <a:pt x="234" y="613"/>
                  </a:lnTo>
                  <a:lnTo>
                    <a:pt x="258" y="621"/>
                  </a:lnTo>
                  <a:lnTo>
                    <a:pt x="271" y="623"/>
                  </a:lnTo>
                  <a:lnTo>
                    <a:pt x="284" y="625"/>
                  </a:lnTo>
                  <a:lnTo>
                    <a:pt x="297" y="626"/>
                  </a:lnTo>
                  <a:lnTo>
                    <a:pt x="311" y="626"/>
                  </a:lnTo>
                  <a:lnTo>
                    <a:pt x="324" y="626"/>
                  </a:lnTo>
                  <a:lnTo>
                    <a:pt x="337" y="625"/>
                  </a:lnTo>
                  <a:lnTo>
                    <a:pt x="350" y="623"/>
                  </a:lnTo>
                  <a:lnTo>
                    <a:pt x="363" y="621"/>
                  </a:lnTo>
                  <a:lnTo>
                    <a:pt x="388" y="613"/>
                  </a:lnTo>
                  <a:lnTo>
                    <a:pt x="412" y="605"/>
                  </a:lnTo>
                  <a:lnTo>
                    <a:pt x="434" y="592"/>
                  </a:lnTo>
                  <a:lnTo>
                    <a:pt x="455" y="577"/>
                  </a:lnTo>
                  <a:lnTo>
                    <a:pt x="476" y="562"/>
                  </a:lnTo>
                  <a:lnTo>
                    <a:pt x="494" y="543"/>
                  </a:lnTo>
                  <a:lnTo>
                    <a:pt x="510" y="523"/>
                  </a:lnTo>
                  <a:lnTo>
                    <a:pt x="526" y="500"/>
                  </a:lnTo>
                  <a:lnTo>
                    <a:pt x="539" y="477"/>
                  </a:lnTo>
                  <a:lnTo>
                    <a:pt x="549" y="452"/>
                  </a:lnTo>
                  <a:lnTo>
                    <a:pt x="558" y="425"/>
                  </a:lnTo>
                  <a:lnTo>
                    <a:pt x="565" y="397"/>
                  </a:lnTo>
                  <a:lnTo>
                    <a:pt x="568" y="369"/>
                  </a:lnTo>
                  <a:lnTo>
                    <a:pt x="569" y="340"/>
                  </a:lnTo>
                  <a:lnTo>
                    <a:pt x="568" y="311"/>
                  </a:lnTo>
                  <a:lnTo>
                    <a:pt x="565" y="282"/>
                  </a:lnTo>
                  <a:lnTo>
                    <a:pt x="558" y="255"/>
                  </a:lnTo>
                  <a:lnTo>
                    <a:pt x="549" y="227"/>
                  </a:lnTo>
                  <a:lnTo>
                    <a:pt x="539" y="203"/>
                  </a:lnTo>
                  <a:lnTo>
                    <a:pt x="526" y="179"/>
                  </a:lnTo>
                  <a:lnTo>
                    <a:pt x="510" y="157"/>
                  </a:lnTo>
                  <a:lnTo>
                    <a:pt x="494" y="137"/>
                  </a:lnTo>
                  <a:lnTo>
                    <a:pt x="476" y="118"/>
                  </a:lnTo>
                  <a:lnTo>
                    <a:pt x="455" y="101"/>
                  </a:lnTo>
                  <a:lnTo>
                    <a:pt x="434" y="86"/>
                  </a:lnTo>
                  <a:lnTo>
                    <a:pt x="412" y="75"/>
                  </a:lnTo>
                  <a:lnTo>
                    <a:pt x="388" y="65"/>
                  </a:lnTo>
                  <a:lnTo>
                    <a:pt x="363" y="58"/>
                  </a:lnTo>
                  <a:lnTo>
                    <a:pt x="350" y="56"/>
                  </a:lnTo>
                  <a:lnTo>
                    <a:pt x="337" y="53"/>
                  </a:lnTo>
                  <a:lnTo>
                    <a:pt x="324" y="53"/>
                  </a:lnTo>
                  <a:lnTo>
                    <a:pt x="311" y="52"/>
                  </a:lnTo>
                  <a:close/>
                  <a:moveTo>
                    <a:pt x="311" y="680"/>
                  </a:moveTo>
                  <a:lnTo>
                    <a:pt x="296" y="678"/>
                  </a:lnTo>
                  <a:lnTo>
                    <a:pt x="280" y="678"/>
                  </a:lnTo>
                  <a:lnTo>
                    <a:pt x="264" y="675"/>
                  </a:lnTo>
                  <a:lnTo>
                    <a:pt x="248" y="672"/>
                  </a:lnTo>
                  <a:lnTo>
                    <a:pt x="234" y="668"/>
                  </a:lnTo>
                  <a:lnTo>
                    <a:pt x="218" y="664"/>
                  </a:lnTo>
                  <a:lnTo>
                    <a:pt x="203" y="658"/>
                  </a:lnTo>
                  <a:lnTo>
                    <a:pt x="191" y="652"/>
                  </a:lnTo>
                  <a:lnTo>
                    <a:pt x="176" y="645"/>
                  </a:lnTo>
                  <a:lnTo>
                    <a:pt x="163" y="638"/>
                  </a:lnTo>
                  <a:lnTo>
                    <a:pt x="150" y="631"/>
                  </a:lnTo>
                  <a:lnTo>
                    <a:pt x="137" y="621"/>
                  </a:lnTo>
                  <a:lnTo>
                    <a:pt x="124" y="612"/>
                  </a:lnTo>
                  <a:lnTo>
                    <a:pt x="113" y="602"/>
                  </a:lnTo>
                  <a:lnTo>
                    <a:pt x="101" y="590"/>
                  </a:lnTo>
                  <a:lnTo>
                    <a:pt x="91" y="580"/>
                  </a:lnTo>
                  <a:lnTo>
                    <a:pt x="81" y="567"/>
                  </a:lnTo>
                  <a:lnTo>
                    <a:pt x="71" y="556"/>
                  </a:lnTo>
                  <a:lnTo>
                    <a:pt x="62" y="543"/>
                  </a:lnTo>
                  <a:lnTo>
                    <a:pt x="54" y="530"/>
                  </a:lnTo>
                  <a:lnTo>
                    <a:pt x="45" y="515"/>
                  </a:lnTo>
                  <a:lnTo>
                    <a:pt x="38" y="501"/>
                  </a:lnTo>
                  <a:lnTo>
                    <a:pt x="31" y="487"/>
                  </a:lnTo>
                  <a:lnTo>
                    <a:pt x="25" y="472"/>
                  </a:lnTo>
                  <a:lnTo>
                    <a:pt x="19" y="456"/>
                  </a:lnTo>
                  <a:lnTo>
                    <a:pt x="13" y="441"/>
                  </a:lnTo>
                  <a:lnTo>
                    <a:pt x="9" y="425"/>
                  </a:lnTo>
                  <a:lnTo>
                    <a:pt x="6" y="407"/>
                  </a:lnTo>
                  <a:lnTo>
                    <a:pt x="3" y="392"/>
                  </a:lnTo>
                  <a:lnTo>
                    <a:pt x="2" y="374"/>
                  </a:lnTo>
                  <a:lnTo>
                    <a:pt x="0" y="357"/>
                  </a:lnTo>
                  <a:lnTo>
                    <a:pt x="0" y="340"/>
                  </a:lnTo>
                  <a:lnTo>
                    <a:pt x="0" y="323"/>
                  </a:lnTo>
                  <a:lnTo>
                    <a:pt x="2" y="305"/>
                  </a:lnTo>
                  <a:lnTo>
                    <a:pt x="3" y="288"/>
                  </a:lnTo>
                  <a:lnTo>
                    <a:pt x="6" y="271"/>
                  </a:lnTo>
                  <a:lnTo>
                    <a:pt x="9" y="255"/>
                  </a:lnTo>
                  <a:lnTo>
                    <a:pt x="13" y="239"/>
                  </a:lnTo>
                  <a:lnTo>
                    <a:pt x="19" y="223"/>
                  </a:lnTo>
                  <a:lnTo>
                    <a:pt x="25" y="207"/>
                  </a:lnTo>
                  <a:lnTo>
                    <a:pt x="31" y="193"/>
                  </a:lnTo>
                  <a:lnTo>
                    <a:pt x="38" y="179"/>
                  </a:lnTo>
                  <a:lnTo>
                    <a:pt x="45" y="164"/>
                  </a:lnTo>
                  <a:lnTo>
                    <a:pt x="54" y="150"/>
                  </a:lnTo>
                  <a:lnTo>
                    <a:pt x="62" y="137"/>
                  </a:lnTo>
                  <a:lnTo>
                    <a:pt x="71" y="124"/>
                  </a:lnTo>
                  <a:lnTo>
                    <a:pt x="81" y="111"/>
                  </a:lnTo>
                  <a:lnTo>
                    <a:pt x="91" y="99"/>
                  </a:lnTo>
                  <a:lnTo>
                    <a:pt x="101" y="88"/>
                  </a:lnTo>
                  <a:lnTo>
                    <a:pt x="113" y="78"/>
                  </a:lnTo>
                  <a:lnTo>
                    <a:pt x="124" y="68"/>
                  </a:lnTo>
                  <a:lnTo>
                    <a:pt x="137" y="58"/>
                  </a:lnTo>
                  <a:lnTo>
                    <a:pt x="150" y="49"/>
                  </a:lnTo>
                  <a:lnTo>
                    <a:pt x="163" y="42"/>
                  </a:lnTo>
                  <a:lnTo>
                    <a:pt x="176" y="33"/>
                  </a:lnTo>
                  <a:lnTo>
                    <a:pt x="191" y="27"/>
                  </a:lnTo>
                  <a:lnTo>
                    <a:pt x="203" y="20"/>
                  </a:lnTo>
                  <a:lnTo>
                    <a:pt x="218" y="16"/>
                  </a:lnTo>
                  <a:lnTo>
                    <a:pt x="234" y="11"/>
                  </a:lnTo>
                  <a:lnTo>
                    <a:pt x="248" y="7"/>
                  </a:lnTo>
                  <a:lnTo>
                    <a:pt x="264" y="4"/>
                  </a:lnTo>
                  <a:lnTo>
                    <a:pt x="280" y="1"/>
                  </a:lnTo>
                  <a:lnTo>
                    <a:pt x="296" y="0"/>
                  </a:lnTo>
                  <a:lnTo>
                    <a:pt x="311" y="0"/>
                  </a:lnTo>
                  <a:lnTo>
                    <a:pt x="327" y="0"/>
                  </a:lnTo>
                  <a:lnTo>
                    <a:pt x="343" y="1"/>
                  </a:lnTo>
                  <a:lnTo>
                    <a:pt x="358" y="4"/>
                  </a:lnTo>
                  <a:lnTo>
                    <a:pt x="373" y="7"/>
                  </a:lnTo>
                  <a:lnTo>
                    <a:pt x="389" y="11"/>
                  </a:lnTo>
                  <a:lnTo>
                    <a:pt x="404" y="16"/>
                  </a:lnTo>
                  <a:lnTo>
                    <a:pt x="418" y="20"/>
                  </a:lnTo>
                  <a:lnTo>
                    <a:pt x="432" y="27"/>
                  </a:lnTo>
                  <a:lnTo>
                    <a:pt x="445" y="33"/>
                  </a:lnTo>
                  <a:lnTo>
                    <a:pt x="458" y="42"/>
                  </a:lnTo>
                  <a:lnTo>
                    <a:pt x="473" y="49"/>
                  </a:lnTo>
                  <a:lnTo>
                    <a:pt x="484" y="58"/>
                  </a:lnTo>
                  <a:lnTo>
                    <a:pt x="497" y="68"/>
                  </a:lnTo>
                  <a:lnTo>
                    <a:pt x="509" y="78"/>
                  </a:lnTo>
                  <a:lnTo>
                    <a:pt x="520" y="88"/>
                  </a:lnTo>
                  <a:lnTo>
                    <a:pt x="530" y="99"/>
                  </a:lnTo>
                  <a:lnTo>
                    <a:pt x="540" y="111"/>
                  </a:lnTo>
                  <a:lnTo>
                    <a:pt x="551" y="124"/>
                  </a:lnTo>
                  <a:lnTo>
                    <a:pt x="561" y="137"/>
                  </a:lnTo>
                  <a:lnTo>
                    <a:pt x="569" y="150"/>
                  </a:lnTo>
                  <a:lnTo>
                    <a:pt x="576" y="164"/>
                  </a:lnTo>
                  <a:lnTo>
                    <a:pt x="585" y="179"/>
                  </a:lnTo>
                  <a:lnTo>
                    <a:pt x="591" y="193"/>
                  </a:lnTo>
                  <a:lnTo>
                    <a:pt x="598" y="207"/>
                  </a:lnTo>
                  <a:lnTo>
                    <a:pt x="602" y="223"/>
                  </a:lnTo>
                  <a:lnTo>
                    <a:pt x="608" y="239"/>
                  </a:lnTo>
                  <a:lnTo>
                    <a:pt x="612" y="255"/>
                  </a:lnTo>
                  <a:lnTo>
                    <a:pt x="615" y="271"/>
                  </a:lnTo>
                  <a:lnTo>
                    <a:pt x="618" y="288"/>
                  </a:lnTo>
                  <a:lnTo>
                    <a:pt x="621" y="305"/>
                  </a:lnTo>
                  <a:lnTo>
                    <a:pt x="621" y="323"/>
                  </a:lnTo>
                  <a:lnTo>
                    <a:pt x="623" y="340"/>
                  </a:lnTo>
                  <a:lnTo>
                    <a:pt x="621" y="357"/>
                  </a:lnTo>
                  <a:lnTo>
                    <a:pt x="621" y="374"/>
                  </a:lnTo>
                  <a:lnTo>
                    <a:pt x="618" y="392"/>
                  </a:lnTo>
                  <a:lnTo>
                    <a:pt x="615" y="407"/>
                  </a:lnTo>
                  <a:lnTo>
                    <a:pt x="612" y="425"/>
                  </a:lnTo>
                  <a:lnTo>
                    <a:pt x="608" y="441"/>
                  </a:lnTo>
                  <a:lnTo>
                    <a:pt x="602" y="456"/>
                  </a:lnTo>
                  <a:lnTo>
                    <a:pt x="598" y="472"/>
                  </a:lnTo>
                  <a:lnTo>
                    <a:pt x="591" y="487"/>
                  </a:lnTo>
                  <a:lnTo>
                    <a:pt x="585" y="501"/>
                  </a:lnTo>
                  <a:lnTo>
                    <a:pt x="576" y="515"/>
                  </a:lnTo>
                  <a:lnTo>
                    <a:pt x="569" y="530"/>
                  </a:lnTo>
                  <a:lnTo>
                    <a:pt x="561" y="543"/>
                  </a:lnTo>
                  <a:lnTo>
                    <a:pt x="551" y="556"/>
                  </a:lnTo>
                  <a:lnTo>
                    <a:pt x="540" y="567"/>
                  </a:lnTo>
                  <a:lnTo>
                    <a:pt x="530" y="580"/>
                  </a:lnTo>
                  <a:lnTo>
                    <a:pt x="520" y="590"/>
                  </a:lnTo>
                  <a:lnTo>
                    <a:pt x="509" y="602"/>
                  </a:lnTo>
                  <a:lnTo>
                    <a:pt x="497" y="612"/>
                  </a:lnTo>
                  <a:lnTo>
                    <a:pt x="484" y="621"/>
                  </a:lnTo>
                  <a:lnTo>
                    <a:pt x="473" y="631"/>
                  </a:lnTo>
                  <a:lnTo>
                    <a:pt x="458" y="638"/>
                  </a:lnTo>
                  <a:lnTo>
                    <a:pt x="445" y="645"/>
                  </a:lnTo>
                  <a:lnTo>
                    <a:pt x="432" y="652"/>
                  </a:lnTo>
                  <a:lnTo>
                    <a:pt x="418" y="658"/>
                  </a:lnTo>
                  <a:lnTo>
                    <a:pt x="404" y="664"/>
                  </a:lnTo>
                  <a:lnTo>
                    <a:pt x="389" y="668"/>
                  </a:lnTo>
                  <a:lnTo>
                    <a:pt x="373" y="672"/>
                  </a:lnTo>
                  <a:lnTo>
                    <a:pt x="358" y="675"/>
                  </a:lnTo>
                  <a:lnTo>
                    <a:pt x="343" y="678"/>
                  </a:lnTo>
                  <a:lnTo>
                    <a:pt x="327"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a:extLst>
                <a:ext uri="{FF2B5EF4-FFF2-40B4-BE49-F238E27FC236}">
                  <a16:creationId xmlns:a16="http://schemas.microsoft.com/office/drawing/2014/main" id="{CE9EB6B8-9599-4215-87B0-BD86DA3AAB86}"/>
                </a:ext>
              </a:extLst>
            </p:cNvPr>
            <p:cNvSpPr>
              <a:spLocks/>
            </p:cNvSpPr>
            <p:nvPr/>
          </p:nvSpPr>
          <p:spPr bwMode="auto">
            <a:xfrm>
              <a:off x="4489450" y="1235076"/>
              <a:ext cx="571500" cy="360363"/>
            </a:xfrm>
            <a:custGeom>
              <a:avLst/>
              <a:gdLst>
                <a:gd name="T0" fmla="*/ 0 w 1079"/>
                <a:gd name="T1" fmla="*/ 370 h 681"/>
                <a:gd name="T2" fmla="*/ 11 w 1079"/>
                <a:gd name="T3" fmla="*/ 292 h 681"/>
                <a:gd name="T4" fmla="*/ 39 w 1079"/>
                <a:gd name="T5" fmla="*/ 236 h 681"/>
                <a:gd name="T6" fmla="*/ 83 w 1079"/>
                <a:gd name="T7" fmla="*/ 197 h 681"/>
                <a:gd name="T8" fmla="*/ 137 w 1079"/>
                <a:gd name="T9" fmla="*/ 170 h 681"/>
                <a:gd name="T10" fmla="*/ 244 w 1079"/>
                <a:gd name="T11" fmla="*/ 137 h 681"/>
                <a:gd name="T12" fmla="*/ 304 w 1079"/>
                <a:gd name="T13" fmla="*/ 118 h 681"/>
                <a:gd name="T14" fmla="*/ 350 w 1079"/>
                <a:gd name="T15" fmla="*/ 95 h 681"/>
                <a:gd name="T16" fmla="*/ 378 w 1079"/>
                <a:gd name="T17" fmla="*/ 66 h 681"/>
                <a:gd name="T18" fmla="*/ 396 w 1079"/>
                <a:gd name="T19" fmla="*/ 30 h 681"/>
                <a:gd name="T20" fmla="*/ 399 w 1079"/>
                <a:gd name="T21" fmla="*/ 3 h 681"/>
                <a:gd name="T22" fmla="*/ 448 w 1079"/>
                <a:gd name="T23" fmla="*/ 37 h 681"/>
                <a:gd name="T24" fmla="*/ 435 w 1079"/>
                <a:gd name="T25" fmla="*/ 73 h 681"/>
                <a:gd name="T26" fmla="*/ 411 w 1079"/>
                <a:gd name="T27" fmla="*/ 109 h 681"/>
                <a:gd name="T28" fmla="*/ 373 w 1079"/>
                <a:gd name="T29" fmla="*/ 141 h 681"/>
                <a:gd name="T30" fmla="*/ 320 w 1079"/>
                <a:gd name="T31" fmla="*/ 167 h 681"/>
                <a:gd name="T32" fmla="*/ 260 w 1079"/>
                <a:gd name="T33" fmla="*/ 186 h 681"/>
                <a:gd name="T34" fmla="*/ 159 w 1079"/>
                <a:gd name="T35" fmla="*/ 217 h 681"/>
                <a:gd name="T36" fmla="*/ 113 w 1079"/>
                <a:gd name="T37" fmla="*/ 239 h 681"/>
                <a:gd name="T38" fmla="*/ 80 w 1079"/>
                <a:gd name="T39" fmla="*/ 269 h 681"/>
                <a:gd name="T40" fmla="*/ 60 w 1079"/>
                <a:gd name="T41" fmla="*/ 311 h 681"/>
                <a:gd name="T42" fmla="*/ 54 w 1079"/>
                <a:gd name="T43" fmla="*/ 370 h 681"/>
                <a:gd name="T44" fmla="*/ 1027 w 1079"/>
                <a:gd name="T45" fmla="*/ 370 h 681"/>
                <a:gd name="T46" fmla="*/ 1020 w 1079"/>
                <a:gd name="T47" fmla="*/ 311 h 681"/>
                <a:gd name="T48" fmla="*/ 1000 w 1079"/>
                <a:gd name="T49" fmla="*/ 269 h 681"/>
                <a:gd name="T50" fmla="*/ 968 w 1079"/>
                <a:gd name="T51" fmla="*/ 239 h 681"/>
                <a:gd name="T52" fmla="*/ 922 w 1079"/>
                <a:gd name="T53" fmla="*/ 217 h 681"/>
                <a:gd name="T54" fmla="*/ 821 w 1079"/>
                <a:gd name="T55" fmla="*/ 186 h 681"/>
                <a:gd name="T56" fmla="*/ 759 w 1079"/>
                <a:gd name="T57" fmla="*/ 167 h 681"/>
                <a:gd name="T58" fmla="*/ 706 w 1079"/>
                <a:gd name="T59" fmla="*/ 141 h 681"/>
                <a:gd name="T60" fmla="*/ 669 w 1079"/>
                <a:gd name="T61" fmla="*/ 109 h 681"/>
                <a:gd name="T62" fmla="*/ 644 w 1079"/>
                <a:gd name="T63" fmla="*/ 73 h 681"/>
                <a:gd name="T64" fmla="*/ 631 w 1079"/>
                <a:gd name="T65" fmla="*/ 37 h 681"/>
                <a:gd name="T66" fmla="*/ 680 w 1079"/>
                <a:gd name="T67" fmla="*/ 3 h 681"/>
                <a:gd name="T68" fmla="*/ 684 w 1079"/>
                <a:gd name="T69" fmla="*/ 32 h 681"/>
                <a:gd name="T70" fmla="*/ 702 w 1079"/>
                <a:gd name="T71" fmla="*/ 68 h 681"/>
                <a:gd name="T72" fmla="*/ 731 w 1079"/>
                <a:gd name="T73" fmla="*/ 95 h 681"/>
                <a:gd name="T74" fmla="*/ 777 w 1079"/>
                <a:gd name="T75" fmla="*/ 118 h 681"/>
                <a:gd name="T76" fmla="*/ 836 w 1079"/>
                <a:gd name="T77" fmla="*/ 137 h 681"/>
                <a:gd name="T78" fmla="*/ 942 w 1079"/>
                <a:gd name="T79" fmla="*/ 170 h 681"/>
                <a:gd name="T80" fmla="*/ 998 w 1079"/>
                <a:gd name="T81" fmla="*/ 197 h 681"/>
                <a:gd name="T82" fmla="*/ 1042 w 1079"/>
                <a:gd name="T83" fmla="*/ 236 h 681"/>
                <a:gd name="T84" fmla="*/ 1069 w 1079"/>
                <a:gd name="T85" fmla="*/ 292 h 681"/>
                <a:gd name="T86" fmla="*/ 1079 w 1079"/>
                <a:gd name="T87" fmla="*/ 3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9" h="681">
                  <a:moveTo>
                    <a:pt x="1079" y="681"/>
                  </a:moveTo>
                  <a:lnTo>
                    <a:pt x="0" y="681"/>
                  </a:lnTo>
                  <a:lnTo>
                    <a:pt x="0" y="370"/>
                  </a:lnTo>
                  <a:lnTo>
                    <a:pt x="2" y="341"/>
                  </a:lnTo>
                  <a:lnTo>
                    <a:pt x="5" y="315"/>
                  </a:lnTo>
                  <a:lnTo>
                    <a:pt x="11" y="292"/>
                  </a:lnTo>
                  <a:lnTo>
                    <a:pt x="18" y="271"/>
                  </a:lnTo>
                  <a:lnTo>
                    <a:pt x="28" y="252"/>
                  </a:lnTo>
                  <a:lnTo>
                    <a:pt x="39" y="236"/>
                  </a:lnTo>
                  <a:lnTo>
                    <a:pt x="52" y="222"/>
                  </a:lnTo>
                  <a:lnTo>
                    <a:pt x="67" y="209"/>
                  </a:lnTo>
                  <a:lnTo>
                    <a:pt x="83" y="197"/>
                  </a:lnTo>
                  <a:lnTo>
                    <a:pt x="100" y="187"/>
                  </a:lnTo>
                  <a:lnTo>
                    <a:pt x="117" y="178"/>
                  </a:lnTo>
                  <a:lnTo>
                    <a:pt x="137" y="170"/>
                  </a:lnTo>
                  <a:lnTo>
                    <a:pt x="179" y="155"/>
                  </a:lnTo>
                  <a:lnTo>
                    <a:pt x="225" y="141"/>
                  </a:lnTo>
                  <a:lnTo>
                    <a:pt x="244" y="137"/>
                  </a:lnTo>
                  <a:lnTo>
                    <a:pt x="263" y="129"/>
                  </a:lnTo>
                  <a:lnTo>
                    <a:pt x="283" y="124"/>
                  </a:lnTo>
                  <a:lnTo>
                    <a:pt x="304" y="118"/>
                  </a:lnTo>
                  <a:lnTo>
                    <a:pt x="322" y="111"/>
                  </a:lnTo>
                  <a:lnTo>
                    <a:pt x="336" y="102"/>
                  </a:lnTo>
                  <a:lnTo>
                    <a:pt x="350" y="95"/>
                  </a:lnTo>
                  <a:lnTo>
                    <a:pt x="360" y="85"/>
                  </a:lnTo>
                  <a:lnTo>
                    <a:pt x="371" y="76"/>
                  </a:lnTo>
                  <a:lnTo>
                    <a:pt x="378" y="66"/>
                  </a:lnTo>
                  <a:lnTo>
                    <a:pt x="385" y="58"/>
                  </a:lnTo>
                  <a:lnTo>
                    <a:pt x="389" y="47"/>
                  </a:lnTo>
                  <a:lnTo>
                    <a:pt x="396" y="30"/>
                  </a:lnTo>
                  <a:lnTo>
                    <a:pt x="399" y="16"/>
                  </a:lnTo>
                  <a:lnTo>
                    <a:pt x="399" y="7"/>
                  </a:lnTo>
                  <a:lnTo>
                    <a:pt x="399" y="3"/>
                  </a:lnTo>
                  <a:lnTo>
                    <a:pt x="453" y="0"/>
                  </a:lnTo>
                  <a:lnTo>
                    <a:pt x="451" y="17"/>
                  </a:lnTo>
                  <a:lnTo>
                    <a:pt x="448" y="37"/>
                  </a:lnTo>
                  <a:lnTo>
                    <a:pt x="445" y="49"/>
                  </a:lnTo>
                  <a:lnTo>
                    <a:pt x="441" y="60"/>
                  </a:lnTo>
                  <a:lnTo>
                    <a:pt x="435" y="73"/>
                  </a:lnTo>
                  <a:lnTo>
                    <a:pt x="428" y="85"/>
                  </a:lnTo>
                  <a:lnTo>
                    <a:pt x="421" y="96"/>
                  </a:lnTo>
                  <a:lnTo>
                    <a:pt x="411" y="109"/>
                  </a:lnTo>
                  <a:lnTo>
                    <a:pt x="401" y="119"/>
                  </a:lnTo>
                  <a:lnTo>
                    <a:pt x="388" y="131"/>
                  </a:lnTo>
                  <a:lnTo>
                    <a:pt x="373" y="141"/>
                  </a:lnTo>
                  <a:lnTo>
                    <a:pt x="358" y="151"/>
                  </a:lnTo>
                  <a:lnTo>
                    <a:pt x="340" y="160"/>
                  </a:lnTo>
                  <a:lnTo>
                    <a:pt x="320" y="167"/>
                  </a:lnTo>
                  <a:lnTo>
                    <a:pt x="299" y="174"/>
                  </a:lnTo>
                  <a:lnTo>
                    <a:pt x="278" y="180"/>
                  </a:lnTo>
                  <a:lnTo>
                    <a:pt x="260" y="186"/>
                  </a:lnTo>
                  <a:lnTo>
                    <a:pt x="240" y="191"/>
                  </a:lnTo>
                  <a:lnTo>
                    <a:pt x="196" y="204"/>
                  </a:lnTo>
                  <a:lnTo>
                    <a:pt x="159" y="217"/>
                  </a:lnTo>
                  <a:lnTo>
                    <a:pt x="142" y="225"/>
                  </a:lnTo>
                  <a:lnTo>
                    <a:pt x="126" y="232"/>
                  </a:lnTo>
                  <a:lnTo>
                    <a:pt x="113" y="239"/>
                  </a:lnTo>
                  <a:lnTo>
                    <a:pt x="100" y="249"/>
                  </a:lnTo>
                  <a:lnTo>
                    <a:pt x="88" y="258"/>
                  </a:lnTo>
                  <a:lnTo>
                    <a:pt x="80" y="269"/>
                  </a:lnTo>
                  <a:lnTo>
                    <a:pt x="71" y="281"/>
                  </a:lnTo>
                  <a:lnTo>
                    <a:pt x="65" y="295"/>
                  </a:lnTo>
                  <a:lnTo>
                    <a:pt x="60" y="311"/>
                  </a:lnTo>
                  <a:lnTo>
                    <a:pt x="57" y="328"/>
                  </a:lnTo>
                  <a:lnTo>
                    <a:pt x="54" y="348"/>
                  </a:lnTo>
                  <a:lnTo>
                    <a:pt x="54" y="370"/>
                  </a:lnTo>
                  <a:lnTo>
                    <a:pt x="54" y="629"/>
                  </a:lnTo>
                  <a:lnTo>
                    <a:pt x="1027" y="629"/>
                  </a:lnTo>
                  <a:lnTo>
                    <a:pt x="1027" y="370"/>
                  </a:lnTo>
                  <a:lnTo>
                    <a:pt x="1026" y="348"/>
                  </a:lnTo>
                  <a:lnTo>
                    <a:pt x="1024" y="328"/>
                  </a:lnTo>
                  <a:lnTo>
                    <a:pt x="1020" y="311"/>
                  </a:lnTo>
                  <a:lnTo>
                    <a:pt x="1016" y="295"/>
                  </a:lnTo>
                  <a:lnTo>
                    <a:pt x="1008" y="281"/>
                  </a:lnTo>
                  <a:lnTo>
                    <a:pt x="1000" y="269"/>
                  </a:lnTo>
                  <a:lnTo>
                    <a:pt x="991" y="258"/>
                  </a:lnTo>
                  <a:lnTo>
                    <a:pt x="980" y="249"/>
                  </a:lnTo>
                  <a:lnTo>
                    <a:pt x="968" y="239"/>
                  </a:lnTo>
                  <a:lnTo>
                    <a:pt x="954" y="232"/>
                  </a:lnTo>
                  <a:lnTo>
                    <a:pt x="938" y="225"/>
                  </a:lnTo>
                  <a:lnTo>
                    <a:pt x="922" y="217"/>
                  </a:lnTo>
                  <a:lnTo>
                    <a:pt x="883" y="204"/>
                  </a:lnTo>
                  <a:lnTo>
                    <a:pt x="840" y="191"/>
                  </a:lnTo>
                  <a:lnTo>
                    <a:pt x="821" y="186"/>
                  </a:lnTo>
                  <a:lnTo>
                    <a:pt x="801" y="180"/>
                  </a:lnTo>
                  <a:lnTo>
                    <a:pt x="781" y="174"/>
                  </a:lnTo>
                  <a:lnTo>
                    <a:pt x="759" y="167"/>
                  </a:lnTo>
                  <a:lnTo>
                    <a:pt x="739" y="160"/>
                  </a:lnTo>
                  <a:lnTo>
                    <a:pt x="722" y="151"/>
                  </a:lnTo>
                  <a:lnTo>
                    <a:pt x="706" y="141"/>
                  </a:lnTo>
                  <a:lnTo>
                    <a:pt x="692" y="131"/>
                  </a:lnTo>
                  <a:lnTo>
                    <a:pt x="679" y="119"/>
                  </a:lnTo>
                  <a:lnTo>
                    <a:pt x="669" y="109"/>
                  </a:lnTo>
                  <a:lnTo>
                    <a:pt x="659" y="96"/>
                  </a:lnTo>
                  <a:lnTo>
                    <a:pt x="651" y="85"/>
                  </a:lnTo>
                  <a:lnTo>
                    <a:pt x="644" y="73"/>
                  </a:lnTo>
                  <a:lnTo>
                    <a:pt x="638" y="60"/>
                  </a:lnTo>
                  <a:lnTo>
                    <a:pt x="636" y="49"/>
                  </a:lnTo>
                  <a:lnTo>
                    <a:pt x="631" y="37"/>
                  </a:lnTo>
                  <a:lnTo>
                    <a:pt x="628" y="17"/>
                  </a:lnTo>
                  <a:lnTo>
                    <a:pt x="628" y="0"/>
                  </a:lnTo>
                  <a:lnTo>
                    <a:pt x="680" y="3"/>
                  </a:lnTo>
                  <a:lnTo>
                    <a:pt x="680" y="7"/>
                  </a:lnTo>
                  <a:lnTo>
                    <a:pt x="682" y="17"/>
                  </a:lnTo>
                  <a:lnTo>
                    <a:pt x="684" y="32"/>
                  </a:lnTo>
                  <a:lnTo>
                    <a:pt x="690" y="49"/>
                  </a:lnTo>
                  <a:lnTo>
                    <a:pt x="696" y="58"/>
                  </a:lnTo>
                  <a:lnTo>
                    <a:pt x="702" y="68"/>
                  </a:lnTo>
                  <a:lnTo>
                    <a:pt x="710" y="76"/>
                  </a:lnTo>
                  <a:lnTo>
                    <a:pt x="719" y="86"/>
                  </a:lnTo>
                  <a:lnTo>
                    <a:pt x="731" y="95"/>
                  </a:lnTo>
                  <a:lnTo>
                    <a:pt x="744" y="104"/>
                  </a:lnTo>
                  <a:lnTo>
                    <a:pt x="759" y="111"/>
                  </a:lnTo>
                  <a:lnTo>
                    <a:pt x="777" y="118"/>
                  </a:lnTo>
                  <a:lnTo>
                    <a:pt x="797" y="124"/>
                  </a:lnTo>
                  <a:lnTo>
                    <a:pt x="817" y="129"/>
                  </a:lnTo>
                  <a:lnTo>
                    <a:pt x="836" y="137"/>
                  </a:lnTo>
                  <a:lnTo>
                    <a:pt x="854" y="141"/>
                  </a:lnTo>
                  <a:lnTo>
                    <a:pt x="900" y="155"/>
                  </a:lnTo>
                  <a:lnTo>
                    <a:pt x="942" y="170"/>
                  </a:lnTo>
                  <a:lnTo>
                    <a:pt x="962" y="178"/>
                  </a:lnTo>
                  <a:lnTo>
                    <a:pt x="981" y="187"/>
                  </a:lnTo>
                  <a:lnTo>
                    <a:pt x="998" y="197"/>
                  </a:lnTo>
                  <a:lnTo>
                    <a:pt x="1014" y="209"/>
                  </a:lnTo>
                  <a:lnTo>
                    <a:pt x="1029" y="222"/>
                  </a:lnTo>
                  <a:lnTo>
                    <a:pt x="1042" y="236"/>
                  </a:lnTo>
                  <a:lnTo>
                    <a:pt x="1052" y="252"/>
                  </a:lnTo>
                  <a:lnTo>
                    <a:pt x="1062" y="271"/>
                  </a:lnTo>
                  <a:lnTo>
                    <a:pt x="1069" y="292"/>
                  </a:lnTo>
                  <a:lnTo>
                    <a:pt x="1075" y="315"/>
                  </a:lnTo>
                  <a:lnTo>
                    <a:pt x="1078" y="341"/>
                  </a:lnTo>
                  <a:lnTo>
                    <a:pt x="1079" y="370"/>
                  </a:lnTo>
                  <a:lnTo>
                    <a:pt x="1079"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55">
              <a:extLst>
                <a:ext uri="{FF2B5EF4-FFF2-40B4-BE49-F238E27FC236}">
                  <a16:creationId xmlns:a16="http://schemas.microsoft.com/office/drawing/2014/main" id="{F8449AC3-4731-4B57-8BEB-7A886B07E472}"/>
                </a:ext>
              </a:extLst>
            </p:cNvPr>
            <p:cNvSpPr>
              <a:spLocks noEditPoints="1"/>
            </p:cNvSpPr>
            <p:nvPr/>
          </p:nvSpPr>
          <p:spPr bwMode="auto">
            <a:xfrm>
              <a:off x="4667250" y="1111251"/>
              <a:ext cx="217488" cy="98425"/>
            </a:xfrm>
            <a:custGeom>
              <a:avLst/>
              <a:gdLst>
                <a:gd name="T0" fmla="*/ 79 w 411"/>
                <a:gd name="T1" fmla="*/ 70 h 187"/>
                <a:gd name="T2" fmla="*/ 109 w 411"/>
                <a:gd name="T3" fmla="*/ 100 h 187"/>
                <a:gd name="T4" fmla="*/ 144 w 411"/>
                <a:gd name="T5" fmla="*/ 122 h 187"/>
                <a:gd name="T6" fmla="*/ 184 w 411"/>
                <a:gd name="T7" fmla="*/ 134 h 187"/>
                <a:gd name="T8" fmla="*/ 226 w 411"/>
                <a:gd name="T9" fmla="*/ 134 h 187"/>
                <a:gd name="T10" fmla="*/ 266 w 411"/>
                <a:gd name="T11" fmla="*/ 122 h 187"/>
                <a:gd name="T12" fmla="*/ 301 w 411"/>
                <a:gd name="T13" fmla="*/ 100 h 187"/>
                <a:gd name="T14" fmla="*/ 331 w 411"/>
                <a:gd name="T15" fmla="*/ 70 h 187"/>
                <a:gd name="T16" fmla="*/ 66 w 411"/>
                <a:gd name="T17" fmla="*/ 51 h 187"/>
                <a:gd name="T18" fmla="*/ 188 w 411"/>
                <a:gd name="T19" fmla="*/ 185 h 187"/>
                <a:gd name="T20" fmla="*/ 155 w 411"/>
                <a:gd name="T21" fmla="*/ 181 h 187"/>
                <a:gd name="T22" fmla="*/ 123 w 411"/>
                <a:gd name="T23" fmla="*/ 170 h 187"/>
                <a:gd name="T24" fmla="*/ 95 w 411"/>
                <a:gd name="T25" fmla="*/ 155 h 187"/>
                <a:gd name="T26" fmla="*/ 69 w 411"/>
                <a:gd name="T27" fmla="*/ 135 h 187"/>
                <a:gd name="T28" fmla="*/ 44 w 411"/>
                <a:gd name="T29" fmla="*/ 111 h 187"/>
                <a:gd name="T30" fmla="*/ 24 w 411"/>
                <a:gd name="T31" fmla="*/ 83 h 187"/>
                <a:gd name="T32" fmla="*/ 7 w 411"/>
                <a:gd name="T33" fmla="*/ 51 h 187"/>
                <a:gd name="T34" fmla="*/ 0 w 411"/>
                <a:gd name="T35" fmla="*/ 28 h 187"/>
                <a:gd name="T36" fmla="*/ 1 w 411"/>
                <a:gd name="T37" fmla="*/ 17 h 187"/>
                <a:gd name="T38" fmla="*/ 8 w 411"/>
                <a:gd name="T39" fmla="*/ 7 h 187"/>
                <a:gd name="T40" fmla="*/ 18 w 411"/>
                <a:gd name="T41" fmla="*/ 1 h 187"/>
                <a:gd name="T42" fmla="*/ 384 w 411"/>
                <a:gd name="T43" fmla="*/ 0 h 187"/>
                <a:gd name="T44" fmla="*/ 397 w 411"/>
                <a:gd name="T45" fmla="*/ 3 h 187"/>
                <a:gd name="T46" fmla="*/ 406 w 411"/>
                <a:gd name="T47" fmla="*/ 11 h 187"/>
                <a:gd name="T48" fmla="*/ 410 w 411"/>
                <a:gd name="T49" fmla="*/ 23 h 187"/>
                <a:gd name="T50" fmla="*/ 410 w 411"/>
                <a:gd name="T51" fmla="*/ 34 h 187"/>
                <a:gd name="T52" fmla="*/ 394 w 411"/>
                <a:gd name="T53" fmla="*/ 67 h 187"/>
                <a:gd name="T54" fmla="*/ 377 w 411"/>
                <a:gd name="T55" fmla="*/ 98 h 187"/>
                <a:gd name="T56" fmla="*/ 354 w 411"/>
                <a:gd name="T57" fmla="*/ 123 h 187"/>
                <a:gd name="T58" fmla="*/ 329 w 411"/>
                <a:gd name="T59" fmla="*/ 145 h 187"/>
                <a:gd name="T60" fmla="*/ 301 w 411"/>
                <a:gd name="T61" fmla="*/ 162 h 187"/>
                <a:gd name="T62" fmla="*/ 270 w 411"/>
                <a:gd name="T63" fmla="*/ 175 h 187"/>
                <a:gd name="T64" fmla="*/ 239 w 411"/>
                <a:gd name="T65" fmla="*/ 184 h 187"/>
                <a:gd name="T66" fmla="*/ 205 w 411"/>
                <a:gd name="T6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1" h="187">
                  <a:moveTo>
                    <a:pt x="66" y="51"/>
                  </a:moveTo>
                  <a:lnTo>
                    <a:pt x="79" y="70"/>
                  </a:lnTo>
                  <a:lnTo>
                    <a:pt x="93" y="86"/>
                  </a:lnTo>
                  <a:lnTo>
                    <a:pt x="109" y="100"/>
                  </a:lnTo>
                  <a:lnTo>
                    <a:pt x="126" y="112"/>
                  </a:lnTo>
                  <a:lnTo>
                    <a:pt x="144" y="122"/>
                  </a:lnTo>
                  <a:lnTo>
                    <a:pt x="164" y="129"/>
                  </a:lnTo>
                  <a:lnTo>
                    <a:pt x="184" y="134"/>
                  </a:lnTo>
                  <a:lnTo>
                    <a:pt x="205" y="135"/>
                  </a:lnTo>
                  <a:lnTo>
                    <a:pt x="226" y="134"/>
                  </a:lnTo>
                  <a:lnTo>
                    <a:pt x="246" y="129"/>
                  </a:lnTo>
                  <a:lnTo>
                    <a:pt x="266" y="122"/>
                  </a:lnTo>
                  <a:lnTo>
                    <a:pt x="285" y="112"/>
                  </a:lnTo>
                  <a:lnTo>
                    <a:pt x="301" y="100"/>
                  </a:lnTo>
                  <a:lnTo>
                    <a:pt x="316" y="86"/>
                  </a:lnTo>
                  <a:lnTo>
                    <a:pt x="331" y="70"/>
                  </a:lnTo>
                  <a:lnTo>
                    <a:pt x="344" y="51"/>
                  </a:lnTo>
                  <a:lnTo>
                    <a:pt x="66" y="51"/>
                  </a:lnTo>
                  <a:close/>
                  <a:moveTo>
                    <a:pt x="205" y="187"/>
                  </a:moveTo>
                  <a:lnTo>
                    <a:pt x="188" y="185"/>
                  </a:lnTo>
                  <a:lnTo>
                    <a:pt x="171" y="184"/>
                  </a:lnTo>
                  <a:lnTo>
                    <a:pt x="155" y="181"/>
                  </a:lnTo>
                  <a:lnTo>
                    <a:pt x="139" y="175"/>
                  </a:lnTo>
                  <a:lnTo>
                    <a:pt x="123" y="170"/>
                  </a:lnTo>
                  <a:lnTo>
                    <a:pt x="109" y="162"/>
                  </a:lnTo>
                  <a:lnTo>
                    <a:pt x="95" y="155"/>
                  </a:lnTo>
                  <a:lnTo>
                    <a:pt x="82" y="145"/>
                  </a:lnTo>
                  <a:lnTo>
                    <a:pt x="69" y="135"/>
                  </a:lnTo>
                  <a:lnTo>
                    <a:pt x="56" y="123"/>
                  </a:lnTo>
                  <a:lnTo>
                    <a:pt x="44" y="111"/>
                  </a:lnTo>
                  <a:lnTo>
                    <a:pt x="34" y="98"/>
                  </a:lnTo>
                  <a:lnTo>
                    <a:pt x="24" y="83"/>
                  </a:lnTo>
                  <a:lnTo>
                    <a:pt x="15" y="67"/>
                  </a:lnTo>
                  <a:lnTo>
                    <a:pt x="7" y="51"/>
                  </a:lnTo>
                  <a:lnTo>
                    <a:pt x="1" y="34"/>
                  </a:lnTo>
                  <a:lnTo>
                    <a:pt x="0" y="28"/>
                  </a:lnTo>
                  <a:lnTo>
                    <a:pt x="0" y="23"/>
                  </a:lnTo>
                  <a:lnTo>
                    <a:pt x="1" y="17"/>
                  </a:lnTo>
                  <a:lnTo>
                    <a:pt x="4" y="11"/>
                  </a:lnTo>
                  <a:lnTo>
                    <a:pt x="8" y="7"/>
                  </a:lnTo>
                  <a:lnTo>
                    <a:pt x="13" y="3"/>
                  </a:lnTo>
                  <a:lnTo>
                    <a:pt x="18" y="1"/>
                  </a:lnTo>
                  <a:lnTo>
                    <a:pt x="25" y="0"/>
                  </a:lnTo>
                  <a:lnTo>
                    <a:pt x="384" y="0"/>
                  </a:lnTo>
                  <a:lnTo>
                    <a:pt x="391" y="1"/>
                  </a:lnTo>
                  <a:lnTo>
                    <a:pt x="397" y="3"/>
                  </a:lnTo>
                  <a:lnTo>
                    <a:pt x="401" y="7"/>
                  </a:lnTo>
                  <a:lnTo>
                    <a:pt x="406" y="11"/>
                  </a:lnTo>
                  <a:lnTo>
                    <a:pt x="409" y="17"/>
                  </a:lnTo>
                  <a:lnTo>
                    <a:pt x="410" y="23"/>
                  </a:lnTo>
                  <a:lnTo>
                    <a:pt x="411" y="28"/>
                  </a:lnTo>
                  <a:lnTo>
                    <a:pt x="410" y="34"/>
                  </a:lnTo>
                  <a:lnTo>
                    <a:pt x="403" y="51"/>
                  </a:lnTo>
                  <a:lnTo>
                    <a:pt x="394" y="67"/>
                  </a:lnTo>
                  <a:lnTo>
                    <a:pt x="385" y="83"/>
                  </a:lnTo>
                  <a:lnTo>
                    <a:pt x="377" y="98"/>
                  </a:lnTo>
                  <a:lnTo>
                    <a:pt x="365" y="111"/>
                  </a:lnTo>
                  <a:lnTo>
                    <a:pt x="354" y="123"/>
                  </a:lnTo>
                  <a:lnTo>
                    <a:pt x="342" y="135"/>
                  </a:lnTo>
                  <a:lnTo>
                    <a:pt x="329" y="145"/>
                  </a:lnTo>
                  <a:lnTo>
                    <a:pt x="315" y="155"/>
                  </a:lnTo>
                  <a:lnTo>
                    <a:pt x="301" y="162"/>
                  </a:lnTo>
                  <a:lnTo>
                    <a:pt x="286" y="170"/>
                  </a:lnTo>
                  <a:lnTo>
                    <a:pt x="270" y="175"/>
                  </a:lnTo>
                  <a:lnTo>
                    <a:pt x="254" y="181"/>
                  </a:lnTo>
                  <a:lnTo>
                    <a:pt x="239" y="184"/>
                  </a:lnTo>
                  <a:lnTo>
                    <a:pt x="221" y="185"/>
                  </a:lnTo>
                  <a:lnTo>
                    <a:pt x="205"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9" name="Group 14">
            <a:extLst>
              <a:ext uri="{FF2B5EF4-FFF2-40B4-BE49-F238E27FC236}">
                <a16:creationId xmlns:a16="http://schemas.microsoft.com/office/drawing/2014/main" id="{775E9173-E724-4039-A18C-724812962FD4}"/>
              </a:ext>
            </a:extLst>
          </p:cNvPr>
          <p:cNvGrpSpPr>
            <a:grpSpLocks noChangeAspect="1"/>
          </p:cNvGrpSpPr>
          <p:nvPr/>
        </p:nvGrpSpPr>
        <p:grpSpPr>
          <a:xfrm>
            <a:off x="1077279" y="2724897"/>
            <a:ext cx="284040" cy="285619"/>
            <a:chOff x="5464175" y="3646488"/>
            <a:chExt cx="285750" cy="287338"/>
          </a:xfrm>
          <a:solidFill>
            <a:schemeClr val="bg2"/>
          </a:solidFill>
          <a:effectLst/>
        </p:grpSpPr>
        <p:sp>
          <p:nvSpPr>
            <p:cNvPr id="640" name="Freeform 25">
              <a:extLst>
                <a:ext uri="{FF2B5EF4-FFF2-40B4-BE49-F238E27FC236}">
                  <a16:creationId xmlns:a16="http://schemas.microsoft.com/office/drawing/2014/main" id="{CB143F1E-3F21-4110-A3C3-0BCC8A2067CF}"/>
                </a:ext>
              </a:extLst>
            </p:cNvPr>
            <p:cNvSpPr>
              <a:spLocks noEditPoints="1"/>
            </p:cNvSpPr>
            <p:nvPr/>
          </p:nvSpPr>
          <p:spPr bwMode="auto">
            <a:xfrm>
              <a:off x="5464175" y="3646488"/>
              <a:ext cx="285750" cy="287338"/>
            </a:xfrm>
            <a:custGeom>
              <a:avLst/>
              <a:gdLst>
                <a:gd name="T0" fmla="*/ 366 w 901"/>
                <a:gd name="T1" fmla="*/ 862 h 901"/>
                <a:gd name="T2" fmla="*/ 269 w 901"/>
                <a:gd name="T3" fmla="*/ 829 h 901"/>
                <a:gd name="T4" fmla="*/ 184 w 901"/>
                <a:gd name="T5" fmla="*/ 775 h 901"/>
                <a:gd name="T6" fmla="*/ 114 w 901"/>
                <a:gd name="T7" fmla="*/ 702 h 901"/>
                <a:gd name="T8" fmla="*/ 63 w 901"/>
                <a:gd name="T9" fmla="*/ 614 h 901"/>
                <a:gd name="T10" fmla="*/ 35 w 901"/>
                <a:gd name="T11" fmla="*/ 515 h 901"/>
                <a:gd name="T12" fmla="*/ 32 w 901"/>
                <a:gd name="T13" fmla="*/ 408 h 901"/>
                <a:gd name="T14" fmla="*/ 56 w 901"/>
                <a:gd name="T15" fmla="*/ 306 h 901"/>
                <a:gd name="T16" fmla="*/ 103 w 901"/>
                <a:gd name="T17" fmla="*/ 215 h 901"/>
                <a:gd name="T18" fmla="*/ 168 w 901"/>
                <a:gd name="T19" fmla="*/ 139 h 901"/>
                <a:gd name="T20" fmla="*/ 250 w 901"/>
                <a:gd name="T21" fmla="*/ 80 h 901"/>
                <a:gd name="T22" fmla="*/ 346 w 901"/>
                <a:gd name="T23" fmla="*/ 43 h 901"/>
                <a:gd name="T24" fmla="*/ 450 w 901"/>
                <a:gd name="T25" fmla="*/ 30 h 901"/>
                <a:gd name="T26" fmla="*/ 555 w 901"/>
                <a:gd name="T27" fmla="*/ 43 h 901"/>
                <a:gd name="T28" fmla="*/ 652 w 901"/>
                <a:gd name="T29" fmla="*/ 80 h 901"/>
                <a:gd name="T30" fmla="*/ 733 w 901"/>
                <a:gd name="T31" fmla="*/ 139 h 901"/>
                <a:gd name="T32" fmla="*/ 799 w 901"/>
                <a:gd name="T33" fmla="*/ 215 h 901"/>
                <a:gd name="T34" fmla="*/ 845 w 901"/>
                <a:gd name="T35" fmla="*/ 306 h 901"/>
                <a:gd name="T36" fmla="*/ 869 w 901"/>
                <a:gd name="T37" fmla="*/ 408 h 901"/>
                <a:gd name="T38" fmla="*/ 867 w 901"/>
                <a:gd name="T39" fmla="*/ 515 h 901"/>
                <a:gd name="T40" fmla="*/ 838 w 901"/>
                <a:gd name="T41" fmla="*/ 614 h 901"/>
                <a:gd name="T42" fmla="*/ 788 w 901"/>
                <a:gd name="T43" fmla="*/ 702 h 901"/>
                <a:gd name="T44" fmla="*/ 718 w 901"/>
                <a:gd name="T45" fmla="*/ 775 h 901"/>
                <a:gd name="T46" fmla="*/ 633 w 901"/>
                <a:gd name="T47" fmla="*/ 829 h 901"/>
                <a:gd name="T48" fmla="*/ 536 w 901"/>
                <a:gd name="T49" fmla="*/ 862 h 901"/>
                <a:gd name="T50" fmla="*/ 450 w 901"/>
                <a:gd name="T51" fmla="*/ 0 h 901"/>
                <a:gd name="T52" fmla="*/ 338 w 901"/>
                <a:gd name="T53" fmla="*/ 14 h 901"/>
                <a:gd name="T54" fmla="*/ 236 w 901"/>
                <a:gd name="T55" fmla="*/ 54 h 901"/>
                <a:gd name="T56" fmla="*/ 148 w 901"/>
                <a:gd name="T57" fmla="*/ 117 h 901"/>
                <a:gd name="T58" fmla="*/ 77 w 901"/>
                <a:gd name="T59" fmla="*/ 199 h 901"/>
                <a:gd name="T60" fmla="*/ 28 w 901"/>
                <a:gd name="T61" fmla="*/ 295 h 901"/>
                <a:gd name="T62" fmla="*/ 3 w 901"/>
                <a:gd name="T63" fmla="*/ 404 h 901"/>
                <a:gd name="T64" fmla="*/ 5 w 901"/>
                <a:gd name="T65" fmla="*/ 519 h 901"/>
                <a:gd name="T66" fmla="*/ 36 w 901"/>
                <a:gd name="T67" fmla="*/ 626 h 901"/>
                <a:gd name="T68" fmla="*/ 90 w 901"/>
                <a:gd name="T69" fmla="*/ 720 h 901"/>
                <a:gd name="T70" fmla="*/ 165 w 901"/>
                <a:gd name="T71" fmla="*/ 798 h 901"/>
                <a:gd name="T72" fmla="*/ 256 w 901"/>
                <a:gd name="T73" fmla="*/ 856 h 901"/>
                <a:gd name="T74" fmla="*/ 361 w 901"/>
                <a:gd name="T75" fmla="*/ 891 h 901"/>
                <a:gd name="T76" fmla="*/ 474 w 901"/>
                <a:gd name="T77" fmla="*/ 900 h 901"/>
                <a:gd name="T78" fmla="*/ 584 w 901"/>
                <a:gd name="T79" fmla="*/ 881 h 901"/>
                <a:gd name="T80" fmla="*/ 685 w 901"/>
                <a:gd name="T81" fmla="*/ 836 h 901"/>
                <a:gd name="T82" fmla="*/ 769 w 901"/>
                <a:gd name="T83" fmla="*/ 768 h 901"/>
                <a:gd name="T84" fmla="*/ 836 w 901"/>
                <a:gd name="T85" fmla="*/ 684 h 901"/>
                <a:gd name="T86" fmla="*/ 881 w 901"/>
                <a:gd name="T87" fmla="*/ 584 h 901"/>
                <a:gd name="T88" fmla="*/ 901 w 901"/>
                <a:gd name="T89" fmla="*/ 474 h 901"/>
                <a:gd name="T90" fmla="*/ 892 w 901"/>
                <a:gd name="T91" fmla="*/ 359 h 901"/>
                <a:gd name="T92" fmla="*/ 857 w 901"/>
                <a:gd name="T93" fmla="*/ 255 h 901"/>
                <a:gd name="T94" fmla="*/ 798 w 901"/>
                <a:gd name="T95" fmla="*/ 164 h 901"/>
                <a:gd name="T96" fmla="*/ 720 w 901"/>
                <a:gd name="T97" fmla="*/ 90 h 901"/>
                <a:gd name="T98" fmla="*/ 626 w 901"/>
                <a:gd name="T99" fmla="*/ 35 h 901"/>
                <a:gd name="T100" fmla="*/ 519 w 901"/>
                <a:gd name="T101" fmla="*/ 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7" y="866"/>
                  </a:lnTo>
                  <a:lnTo>
                    <a:pt x="366" y="862"/>
                  </a:lnTo>
                  <a:lnTo>
                    <a:pt x="346" y="857"/>
                  </a:lnTo>
                  <a:lnTo>
                    <a:pt x="326" y="852"/>
                  </a:lnTo>
                  <a:lnTo>
                    <a:pt x="306" y="845"/>
                  </a:lnTo>
                  <a:lnTo>
                    <a:pt x="288" y="838"/>
                  </a:lnTo>
                  <a:lnTo>
                    <a:pt x="269" y="829"/>
                  </a:lnTo>
                  <a:lnTo>
                    <a:pt x="250" y="820"/>
                  </a:lnTo>
                  <a:lnTo>
                    <a:pt x="233" y="810"/>
                  </a:lnTo>
                  <a:lnTo>
                    <a:pt x="216" y="799"/>
                  </a:lnTo>
                  <a:lnTo>
                    <a:pt x="199" y="787"/>
                  </a:lnTo>
                  <a:lnTo>
                    <a:pt x="184" y="775"/>
                  </a:lnTo>
                  <a:lnTo>
                    <a:pt x="168" y="762"/>
                  </a:lnTo>
                  <a:lnTo>
                    <a:pt x="154" y="748"/>
                  </a:lnTo>
                  <a:lnTo>
                    <a:pt x="140" y="733"/>
                  </a:lnTo>
                  <a:lnTo>
                    <a:pt x="126" y="718"/>
                  </a:lnTo>
                  <a:lnTo>
                    <a:pt x="114" y="702"/>
                  </a:lnTo>
                  <a:lnTo>
                    <a:pt x="103" y="685"/>
                  </a:lnTo>
                  <a:lnTo>
                    <a:pt x="91" y="668"/>
                  </a:lnTo>
                  <a:lnTo>
                    <a:pt x="81" y="651"/>
                  </a:lnTo>
                  <a:lnTo>
                    <a:pt x="72" y="632"/>
                  </a:lnTo>
                  <a:lnTo>
                    <a:pt x="63" y="614"/>
                  </a:lnTo>
                  <a:lnTo>
                    <a:pt x="56" y="595"/>
                  </a:lnTo>
                  <a:lnTo>
                    <a:pt x="49" y="576"/>
                  </a:lnTo>
                  <a:lnTo>
                    <a:pt x="44" y="555"/>
                  </a:lnTo>
                  <a:lnTo>
                    <a:pt x="39" y="535"/>
                  </a:lnTo>
                  <a:lnTo>
                    <a:pt x="35" y="515"/>
                  </a:lnTo>
                  <a:lnTo>
                    <a:pt x="32" y="493"/>
                  </a:lnTo>
                  <a:lnTo>
                    <a:pt x="31" y="472"/>
                  </a:lnTo>
                  <a:lnTo>
                    <a:pt x="30" y="450"/>
                  </a:lnTo>
                  <a:lnTo>
                    <a:pt x="31" y="429"/>
                  </a:lnTo>
                  <a:lnTo>
                    <a:pt x="32" y="408"/>
                  </a:lnTo>
                  <a:lnTo>
                    <a:pt x="35" y="386"/>
                  </a:lnTo>
                  <a:lnTo>
                    <a:pt x="39" y="366"/>
                  </a:lnTo>
                  <a:lnTo>
                    <a:pt x="44" y="346"/>
                  </a:lnTo>
                  <a:lnTo>
                    <a:pt x="49" y="325"/>
                  </a:lnTo>
                  <a:lnTo>
                    <a:pt x="56" y="306"/>
                  </a:lnTo>
                  <a:lnTo>
                    <a:pt x="63" y="287"/>
                  </a:lnTo>
                  <a:lnTo>
                    <a:pt x="72" y="268"/>
                  </a:lnTo>
                  <a:lnTo>
                    <a:pt x="81" y="250"/>
                  </a:lnTo>
                  <a:lnTo>
                    <a:pt x="91" y="232"/>
                  </a:lnTo>
                  <a:lnTo>
                    <a:pt x="103" y="215"/>
                  </a:lnTo>
                  <a:lnTo>
                    <a:pt x="114" y="199"/>
                  </a:lnTo>
                  <a:lnTo>
                    <a:pt x="126" y="183"/>
                  </a:lnTo>
                  <a:lnTo>
                    <a:pt x="140" y="168"/>
                  </a:lnTo>
                  <a:lnTo>
                    <a:pt x="154" y="153"/>
                  </a:lnTo>
                  <a:lnTo>
                    <a:pt x="168" y="139"/>
                  </a:lnTo>
                  <a:lnTo>
                    <a:pt x="184" y="126"/>
                  </a:lnTo>
                  <a:lnTo>
                    <a:pt x="199" y="113"/>
                  </a:lnTo>
                  <a:lnTo>
                    <a:pt x="216" y="102"/>
                  </a:lnTo>
                  <a:lnTo>
                    <a:pt x="233" y="91"/>
                  </a:lnTo>
                  <a:lnTo>
                    <a:pt x="250" y="80"/>
                  </a:lnTo>
                  <a:lnTo>
                    <a:pt x="269" y="72"/>
                  </a:lnTo>
                  <a:lnTo>
                    <a:pt x="288" y="63"/>
                  </a:lnTo>
                  <a:lnTo>
                    <a:pt x="306" y="56"/>
                  </a:lnTo>
                  <a:lnTo>
                    <a:pt x="326" y="49"/>
                  </a:lnTo>
                  <a:lnTo>
                    <a:pt x="346" y="43"/>
                  </a:lnTo>
                  <a:lnTo>
                    <a:pt x="366" y="38"/>
                  </a:lnTo>
                  <a:lnTo>
                    <a:pt x="387" y="34"/>
                  </a:lnTo>
                  <a:lnTo>
                    <a:pt x="408" y="32"/>
                  </a:lnTo>
                  <a:lnTo>
                    <a:pt x="429" y="30"/>
                  </a:lnTo>
                  <a:lnTo>
                    <a:pt x="450" y="30"/>
                  </a:lnTo>
                  <a:lnTo>
                    <a:pt x="473" y="30"/>
                  </a:lnTo>
                  <a:lnTo>
                    <a:pt x="494" y="32"/>
                  </a:lnTo>
                  <a:lnTo>
                    <a:pt x="515" y="34"/>
                  </a:lnTo>
                  <a:lnTo>
                    <a:pt x="535" y="38"/>
                  </a:lnTo>
                  <a:lnTo>
                    <a:pt x="555" y="43"/>
                  </a:lnTo>
                  <a:lnTo>
                    <a:pt x="576" y="49"/>
                  </a:lnTo>
                  <a:lnTo>
                    <a:pt x="595" y="56"/>
                  </a:lnTo>
                  <a:lnTo>
                    <a:pt x="614" y="63"/>
                  </a:lnTo>
                  <a:lnTo>
                    <a:pt x="633" y="72"/>
                  </a:lnTo>
                  <a:lnTo>
                    <a:pt x="652" y="80"/>
                  </a:lnTo>
                  <a:lnTo>
                    <a:pt x="669" y="91"/>
                  </a:lnTo>
                  <a:lnTo>
                    <a:pt x="686" y="102"/>
                  </a:lnTo>
                  <a:lnTo>
                    <a:pt x="702" y="113"/>
                  </a:lnTo>
                  <a:lnTo>
                    <a:pt x="718" y="126"/>
                  </a:lnTo>
                  <a:lnTo>
                    <a:pt x="733" y="139"/>
                  </a:lnTo>
                  <a:lnTo>
                    <a:pt x="748" y="153"/>
                  </a:lnTo>
                  <a:lnTo>
                    <a:pt x="762" y="168"/>
                  </a:lnTo>
                  <a:lnTo>
                    <a:pt x="776" y="183"/>
                  </a:lnTo>
                  <a:lnTo>
                    <a:pt x="788" y="199"/>
                  </a:lnTo>
                  <a:lnTo>
                    <a:pt x="799" y="215"/>
                  </a:lnTo>
                  <a:lnTo>
                    <a:pt x="810" y="232"/>
                  </a:lnTo>
                  <a:lnTo>
                    <a:pt x="821" y="250"/>
                  </a:lnTo>
                  <a:lnTo>
                    <a:pt x="830" y="268"/>
                  </a:lnTo>
                  <a:lnTo>
                    <a:pt x="838" y="287"/>
                  </a:lnTo>
                  <a:lnTo>
                    <a:pt x="845" y="306"/>
                  </a:lnTo>
                  <a:lnTo>
                    <a:pt x="853" y="325"/>
                  </a:lnTo>
                  <a:lnTo>
                    <a:pt x="858" y="346"/>
                  </a:lnTo>
                  <a:lnTo>
                    <a:pt x="862" y="366"/>
                  </a:lnTo>
                  <a:lnTo>
                    <a:pt x="867" y="386"/>
                  </a:lnTo>
                  <a:lnTo>
                    <a:pt x="869" y="408"/>
                  </a:lnTo>
                  <a:lnTo>
                    <a:pt x="871" y="429"/>
                  </a:lnTo>
                  <a:lnTo>
                    <a:pt x="871" y="450"/>
                  </a:lnTo>
                  <a:lnTo>
                    <a:pt x="871" y="472"/>
                  </a:lnTo>
                  <a:lnTo>
                    <a:pt x="869" y="493"/>
                  </a:lnTo>
                  <a:lnTo>
                    <a:pt x="867" y="515"/>
                  </a:lnTo>
                  <a:lnTo>
                    <a:pt x="862" y="535"/>
                  </a:lnTo>
                  <a:lnTo>
                    <a:pt x="858" y="555"/>
                  </a:lnTo>
                  <a:lnTo>
                    <a:pt x="853" y="576"/>
                  </a:lnTo>
                  <a:lnTo>
                    <a:pt x="845" y="595"/>
                  </a:lnTo>
                  <a:lnTo>
                    <a:pt x="838" y="614"/>
                  </a:lnTo>
                  <a:lnTo>
                    <a:pt x="830" y="632"/>
                  </a:lnTo>
                  <a:lnTo>
                    <a:pt x="821" y="651"/>
                  </a:lnTo>
                  <a:lnTo>
                    <a:pt x="810" y="668"/>
                  </a:lnTo>
                  <a:lnTo>
                    <a:pt x="799" y="685"/>
                  </a:lnTo>
                  <a:lnTo>
                    <a:pt x="788" y="702"/>
                  </a:lnTo>
                  <a:lnTo>
                    <a:pt x="776" y="718"/>
                  </a:lnTo>
                  <a:lnTo>
                    <a:pt x="762" y="733"/>
                  </a:lnTo>
                  <a:lnTo>
                    <a:pt x="748" y="748"/>
                  </a:lnTo>
                  <a:lnTo>
                    <a:pt x="733" y="762"/>
                  </a:lnTo>
                  <a:lnTo>
                    <a:pt x="718" y="775"/>
                  </a:lnTo>
                  <a:lnTo>
                    <a:pt x="702" y="787"/>
                  </a:lnTo>
                  <a:lnTo>
                    <a:pt x="686" y="799"/>
                  </a:lnTo>
                  <a:lnTo>
                    <a:pt x="669" y="810"/>
                  </a:lnTo>
                  <a:lnTo>
                    <a:pt x="652" y="820"/>
                  </a:lnTo>
                  <a:lnTo>
                    <a:pt x="633" y="829"/>
                  </a:lnTo>
                  <a:lnTo>
                    <a:pt x="614" y="838"/>
                  </a:lnTo>
                  <a:lnTo>
                    <a:pt x="595" y="845"/>
                  </a:lnTo>
                  <a:lnTo>
                    <a:pt x="576" y="852"/>
                  </a:lnTo>
                  <a:lnTo>
                    <a:pt x="555" y="857"/>
                  </a:lnTo>
                  <a:lnTo>
                    <a:pt x="536" y="862"/>
                  </a:lnTo>
                  <a:lnTo>
                    <a:pt x="515" y="866"/>
                  </a:lnTo>
                  <a:lnTo>
                    <a:pt x="494" y="869"/>
                  </a:lnTo>
                  <a:lnTo>
                    <a:pt x="473" y="870"/>
                  </a:lnTo>
                  <a:lnTo>
                    <a:pt x="450" y="871"/>
                  </a:lnTo>
                  <a:close/>
                  <a:moveTo>
                    <a:pt x="450" y="0"/>
                  </a:moveTo>
                  <a:lnTo>
                    <a:pt x="428" y="0"/>
                  </a:lnTo>
                  <a:lnTo>
                    <a:pt x="404" y="2"/>
                  </a:lnTo>
                  <a:lnTo>
                    <a:pt x="382" y="5"/>
                  </a:lnTo>
                  <a:lnTo>
                    <a:pt x="361" y="8"/>
                  </a:lnTo>
                  <a:lnTo>
                    <a:pt x="338" y="14"/>
                  </a:lnTo>
                  <a:lnTo>
                    <a:pt x="317" y="20"/>
                  </a:lnTo>
                  <a:lnTo>
                    <a:pt x="296" y="27"/>
                  </a:lnTo>
                  <a:lnTo>
                    <a:pt x="276" y="35"/>
                  </a:lnTo>
                  <a:lnTo>
                    <a:pt x="256" y="44"/>
                  </a:lnTo>
                  <a:lnTo>
                    <a:pt x="236" y="54"/>
                  </a:lnTo>
                  <a:lnTo>
                    <a:pt x="217" y="65"/>
                  </a:lnTo>
                  <a:lnTo>
                    <a:pt x="199" y="77"/>
                  </a:lnTo>
                  <a:lnTo>
                    <a:pt x="182" y="90"/>
                  </a:lnTo>
                  <a:lnTo>
                    <a:pt x="165" y="103"/>
                  </a:lnTo>
                  <a:lnTo>
                    <a:pt x="148" y="117"/>
                  </a:lnTo>
                  <a:lnTo>
                    <a:pt x="133" y="132"/>
                  </a:lnTo>
                  <a:lnTo>
                    <a:pt x="118" y="148"/>
                  </a:lnTo>
                  <a:lnTo>
                    <a:pt x="104" y="164"/>
                  </a:lnTo>
                  <a:lnTo>
                    <a:pt x="90" y="181"/>
                  </a:lnTo>
                  <a:lnTo>
                    <a:pt x="77" y="199"/>
                  </a:lnTo>
                  <a:lnTo>
                    <a:pt x="65" y="217"/>
                  </a:lnTo>
                  <a:lnTo>
                    <a:pt x="55" y="235"/>
                  </a:lnTo>
                  <a:lnTo>
                    <a:pt x="45" y="255"/>
                  </a:lnTo>
                  <a:lnTo>
                    <a:pt x="36" y="275"/>
                  </a:lnTo>
                  <a:lnTo>
                    <a:pt x="28" y="295"/>
                  </a:lnTo>
                  <a:lnTo>
                    <a:pt x="20" y="317"/>
                  </a:lnTo>
                  <a:lnTo>
                    <a:pt x="15" y="338"/>
                  </a:lnTo>
                  <a:lnTo>
                    <a:pt x="10" y="359"/>
                  </a:lnTo>
                  <a:lnTo>
                    <a:pt x="5" y="382"/>
                  </a:lnTo>
                  <a:lnTo>
                    <a:pt x="3" y="404"/>
                  </a:lnTo>
                  <a:lnTo>
                    <a:pt x="1" y="427"/>
                  </a:lnTo>
                  <a:lnTo>
                    <a:pt x="0" y="450"/>
                  </a:lnTo>
                  <a:lnTo>
                    <a:pt x="1" y="474"/>
                  </a:lnTo>
                  <a:lnTo>
                    <a:pt x="3" y="496"/>
                  </a:lnTo>
                  <a:lnTo>
                    <a:pt x="5" y="519"/>
                  </a:lnTo>
                  <a:lnTo>
                    <a:pt x="10" y="541"/>
                  </a:lnTo>
                  <a:lnTo>
                    <a:pt x="15" y="563"/>
                  </a:lnTo>
                  <a:lnTo>
                    <a:pt x="20" y="584"/>
                  </a:lnTo>
                  <a:lnTo>
                    <a:pt x="28" y="605"/>
                  </a:lnTo>
                  <a:lnTo>
                    <a:pt x="36" y="626"/>
                  </a:lnTo>
                  <a:lnTo>
                    <a:pt x="45" y="645"/>
                  </a:lnTo>
                  <a:lnTo>
                    <a:pt x="55" y="664"/>
                  </a:lnTo>
                  <a:lnTo>
                    <a:pt x="65" y="684"/>
                  </a:lnTo>
                  <a:lnTo>
                    <a:pt x="77" y="702"/>
                  </a:lnTo>
                  <a:lnTo>
                    <a:pt x="90" y="720"/>
                  </a:lnTo>
                  <a:lnTo>
                    <a:pt x="104" y="737"/>
                  </a:lnTo>
                  <a:lnTo>
                    <a:pt x="118" y="753"/>
                  </a:lnTo>
                  <a:lnTo>
                    <a:pt x="133" y="768"/>
                  </a:lnTo>
                  <a:lnTo>
                    <a:pt x="148" y="783"/>
                  </a:lnTo>
                  <a:lnTo>
                    <a:pt x="165" y="798"/>
                  </a:lnTo>
                  <a:lnTo>
                    <a:pt x="182" y="811"/>
                  </a:lnTo>
                  <a:lnTo>
                    <a:pt x="199" y="824"/>
                  </a:lnTo>
                  <a:lnTo>
                    <a:pt x="217" y="836"/>
                  </a:lnTo>
                  <a:lnTo>
                    <a:pt x="236" y="846"/>
                  </a:lnTo>
                  <a:lnTo>
                    <a:pt x="256" y="856"/>
                  </a:lnTo>
                  <a:lnTo>
                    <a:pt x="276" y="866"/>
                  </a:lnTo>
                  <a:lnTo>
                    <a:pt x="296" y="873"/>
                  </a:lnTo>
                  <a:lnTo>
                    <a:pt x="317" y="881"/>
                  </a:lnTo>
                  <a:lnTo>
                    <a:pt x="338" y="887"/>
                  </a:lnTo>
                  <a:lnTo>
                    <a:pt x="361" y="891"/>
                  </a:lnTo>
                  <a:lnTo>
                    <a:pt x="382" y="896"/>
                  </a:lnTo>
                  <a:lnTo>
                    <a:pt x="404" y="899"/>
                  </a:lnTo>
                  <a:lnTo>
                    <a:pt x="428" y="900"/>
                  </a:lnTo>
                  <a:lnTo>
                    <a:pt x="450" y="901"/>
                  </a:lnTo>
                  <a:lnTo>
                    <a:pt x="474" y="900"/>
                  </a:lnTo>
                  <a:lnTo>
                    <a:pt x="496" y="899"/>
                  </a:lnTo>
                  <a:lnTo>
                    <a:pt x="519" y="896"/>
                  </a:lnTo>
                  <a:lnTo>
                    <a:pt x="541" y="891"/>
                  </a:lnTo>
                  <a:lnTo>
                    <a:pt x="563" y="887"/>
                  </a:lnTo>
                  <a:lnTo>
                    <a:pt x="584" y="881"/>
                  </a:lnTo>
                  <a:lnTo>
                    <a:pt x="606" y="873"/>
                  </a:lnTo>
                  <a:lnTo>
                    <a:pt x="626" y="866"/>
                  </a:lnTo>
                  <a:lnTo>
                    <a:pt x="646" y="856"/>
                  </a:lnTo>
                  <a:lnTo>
                    <a:pt x="666" y="846"/>
                  </a:lnTo>
                  <a:lnTo>
                    <a:pt x="685" y="836"/>
                  </a:lnTo>
                  <a:lnTo>
                    <a:pt x="703" y="824"/>
                  </a:lnTo>
                  <a:lnTo>
                    <a:pt x="720" y="811"/>
                  </a:lnTo>
                  <a:lnTo>
                    <a:pt x="737" y="798"/>
                  </a:lnTo>
                  <a:lnTo>
                    <a:pt x="753" y="783"/>
                  </a:lnTo>
                  <a:lnTo>
                    <a:pt x="769" y="768"/>
                  </a:lnTo>
                  <a:lnTo>
                    <a:pt x="784" y="753"/>
                  </a:lnTo>
                  <a:lnTo>
                    <a:pt x="798" y="736"/>
                  </a:lnTo>
                  <a:lnTo>
                    <a:pt x="812" y="720"/>
                  </a:lnTo>
                  <a:lnTo>
                    <a:pt x="824" y="702"/>
                  </a:lnTo>
                  <a:lnTo>
                    <a:pt x="836" y="684"/>
                  </a:lnTo>
                  <a:lnTo>
                    <a:pt x="847" y="664"/>
                  </a:lnTo>
                  <a:lnTo>
                    <a:pt x="857" y="645"/>
                  </a:lnTo>
                  <a:lnTo>
                    <a:pt x="866" y="626"/>
                  </a:lnTo>
                  <a:lnTo>
                    <a:pt x="874" y="605"/>
                  </a:lnTo>
                  <a:lnTo>
                    <a:pt x="881" y="584"/>
                  </a:lnTo>
                  <a:lnTo>
                    <a:pt x="887" y="563"/>
                  </a:lnTo>
                  <a:lnTo>
                    <a:pt x="892" y="541"/>
                  </a:lnTo>
                  <a:lnTo>
                    <a:pt x="897" y="519"/>
                  </a:lnTo>
                  <a:lnTo>
                    <a:pt x="899" y="496"/>
                  </a:lnTo>
                  <a:lnTo>
                    <a:pt x="901" y="474"/>
                  </a:lnTo>
                  <a:lnTo>
                    <a:pt x="901" y="450"/>
                  </a:lnTo>
                  <a:lnTo>
                    <a:pt x="901" y="427"/>
                  </a:lnTo>
                  <a:lnTo>
                    <a:pt x="899" y="404"/>
                  </a:lnTo>
                  <a:lnTo>
                    <a:pt x="897" y="382"/>
                  </a:lnTo>
                  <a:lnTo>
                    <a:pt x="892" y="359"/>
                  </a:lnTo>
                  <a:lnTo>
                    <a:pt x="887" y="338"/>
                  </a:lnTo>
                  <a:lnTo>
                    <a:pt x="881" y="317"/>
                  </a:lnTo>
                  <a:lnTo>
                    <a:pt x="874" y="295"/>
                  </a:lnTo>
                  <a:lnTo>
                    <a:pt x="866" y="275"/>
                  </a:lnTo>
                  <a:lnTo>
                    <a:pt x="857" y="255"/>
                  </a:lnTo>
                  <a:lnTo>
                    <a:pt x="847" y="235"/>
                  </a:lnTo>
                  <a:lnTo>
                    <a:pt x="836" y="217"/>
                  </a:lnTo>
                  <a:lnTo>
                    <a:pt x="824" y="199"/>
                  </a:lnTo>
                  <a:lnTo>
                    <a:pt x="812" y="181"/>
                  </a:lnTo>
                  <a:lnTo>
                    <a:pt x="798" y="164"/>
                  </a:lnTo>
                  <a:lnTo>
                    <a:pt x="784" y="148"/>
                  </a:lnTo>
                  <a:lnTo>
                    <a:pt x="769" y="132"/>
                  </a:lnTo>
                  <a:lnTo>
                    <a:pt x="753" y="117"/>
                  </a:lnTo>
                  <a:lnTo>
                    <a:pt x="737" y="103"/>
                  </a:lnTo>
                  <a:lnTo>
                    <a:pt x="720" y="90"/>
                  </a:lnTo>
                  <a:lnTo>
                    <a:pt x="703" y="77"/>
                  </a:lnTo>
                  <a:lnTo>
                    <a:pt x="685" y="65"/>
                  </a:lnTo>
                  <a:lnTo>
                    <a:pt x="666" y="54"/>
                  </a:lnTo>
                  <a:lnTo>
                    <a:pt x="646" y="44"/>
                  </a:lnTo>
                  <a:lnTo>
                    <a:pt x="626" y="35"/>
                  </a:lnTo>
                  <a:lnTo>
                    <a:pt x="606" y="27"/>
                  </a:lnTo>
                  <a:lnTo>
                    <a:pt x="584" y="20"/>
                  </a:lnTo>
                  <a:lnTo>
                    <a:pt x="563" y="14"/>
                  </a:lnTo>
                  <a:lnTo>
                    <a:pt x="541" y="8"/>
                  </a:lnTo>
                  <a:lnTo>
                    <a:pt x="519" y="5"/>
                  </a:lnTo>
                  <a:lnTo>
                    <a:pt x="496" y="2"/>
                  </a:lnTo>
                  <a:lnTo>
                    <a:pt x="474"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7">
              <a:extLst>
                <a:ext uri="{FF2B5EF4-FFF2-40B4-BE49-F238E27FC236}">
                  <a16:creationId xmlns:a16="http://schemas.microsoft.com/office/drawing/2014/main" id="{B9628102-C4E9-4695-B2E4-5738371039C0}"/>
                </a:ext>
              </a:extLst>
            </p:cNvPr>
            <p:cNvSpPr>
              <a:spLocks/>
            </p:cNvSpPr>
            <p:nvPr/>
          </p:nvSpPr>
          <p:spPr bwMode="auto">
            <a:xfrm>
              <a:off x="5630863" y="3736976"/>
              <a:ext cx="61913" cy="33338"/>
            </a:xfrm>
            <a:custGeom>
              <a:avLst/>
              <a:gdLst>
                <a:gd name="T0" fmla="*/ 104 w 195"/>
                <a:gd name="T1" fmla="*/ 104 h 104"/>
                <a:gd name="T2" fmla="*/ 122 w 195"/>
                <a:gd name="T3" fmla="*/ 101 h 104"/>
                <a:gd name="T4" fmla="*/ 140 w 195"/>
                <a:gd name="T5" fmla="*/ 95 h 104"/>
                <a:gd name="T6" fmla="*/ 156 w 195"/>
                <a:gd name="T7" fmla="*/ 85 h 104"/>
                <a:gd name="T8" fmla="*/ 169 w 195"/>
                <a:gd name="T9" fmla="*/ 73 h 104"/>
                <a:gd name="T10" fmla="*/ 181 w 195"/>
                <a:gd name="T11" fmla="*/ 59 h 104"/>
                <a:gd name="T12" fmla="*/ 190 w 195"/>
                <a:gd name="T13" fmla="*/ 43 h 104"/>
                <a:gd name="T14" fmla="*/ 194 w 195"/>
                <a:gd name="T15" fmla="*/ 25 h 104"/>
                <a:gd name="T16" fmla="*/ 195 w 195"/>
                <a:gd name="T17" fmla="*/ 12 h 104"/>
                <a:gd name="T18" fmla="*/ 193 w 195"/>
                <a:gd name="T19" fmla="*/ 7 h 104"/>
                <a:gd name="T20" fmla="*/ 189 w 195"/>
                <a:gd name="T21" fmla="*/ 3 h 104"/>
                <a:gd name="T22" fmla="*/ 183 w 195"/>
                <a:gd name="T23" fmla="*/ 1 h 104"/>
                <a:gd name="T24" fmla="*/ 177 w 195"/>
                <a:gd name="T25" fmla="*/ 1 h 104"/>
                <a:gd name="T26" fmla="*/ 172 w 195"/>
                <a:gd name="T27" fmla="*/ 3 h 104"/>
                <a:gd name="T28" fmla="*/ 167 w 195"/>
                <a:gd name="T29" fmla="*/ 7 h 104"/>
                <a:gd name="T30" fmla="*/ 165 w 195"/>
                <a:gd name="T31" fmla="*/ 12 h 104"/>
                <a:gd name="T32" fmla="*/ 165 w 195"/>
                <a:gd name="T33" fmla="*/ 21 h 104"/>
                <a:gd name="T34" fmla="*/ 162 w 195"/>
                <a:gd name="T35" fmla="*/ 33 h 104"/>
                <a:gd name="T36" fmla="*/ 156 w 195"/>
                <a:gd name="T37" fmla="*/ 43 h 104"/>
                <a:gd name="T38" fmla="*/ 147 w 195"/>
                <a:gd name="T39" fmla="*/ 53 h 104"/>
                <a:gd name="T40" fmla="*/ 132 w 195"/>
                <a:gd name="T41" fmla="*/ 65 h 104"/>
                <a:gd name="T42" fmla="*/ 114 w 195"/>
                <a:gd name="T43" fmla="*/ 72 h 104"/>
                <a:gd name="T44" fmla="*/ 101 w 195"/>
                <a:gd name="T45" fmla="*/ 74 h 104"/>
                <a:gd name="T46" fmla="*/ 89 w 195"/>
                <a:gd name="T47" fmla="*/ 74 h 104"/>
                <a:gd name="T48" fmla="*/ 76 w 195"/>
                <a:gd name="T49" fmla="*/ 71 h 104"/>
                <a:gd name="T50" fmla="*/ 65 w 195"/>
                <a:gd name="T51" fmla="*/ 67 h 104"/>
                <a:gd name="T52" fmla="*/ 54 w 195"/>
                <a:gd name="T53" fmla="*/ 61 h 104"/>
                <a:gd name="T54" fmla="*/ 45 w 195"/>
                <a:gd name="T55" fmla="*/ 53 h 104"/>
                <a:gd name="T56" fmla="*/ 38 w 195"/>
                <a:gd name="T57" fmla="*/ 43 h 104"/>
                <a:gd name="T58" fmla="*/ 33 w 195"/>
                <a:gd name="T59" fmla="*/ 33 h 104"/>
                <a:gd name="T60" fmla="*/ 30 w 195"/>
                <a:gd name="T61" fmla="*/ 21 h 104"/>
                <a:gd name="T62" fmla="*/ 29 w 195"/>
                <a:gd name="T63" fmla="*/ 12 h 104"/>
                <a:gd name="T64" fmla="*/ 27 w 195"/>
                <a:gd name="T65" fmla="*/ 7 h 104"/>
                <a:gd name="T66" fmla="*/ 23 w 195"/>
                <a:gd name="T67" fmla="*/ 3 h 104"/>
                <a:gd name="T68" fmla="*/ 18 w 195"/>
                <a:gd name="T69" fmla="*/ 1 h 104"/>
                <a:gd name="T70" fmla="*/ 12 w 195"/>
                <a:gd name="T71" fmla="*/ 1 h 104"/>
                <a:gd name="T72" fmla="*/ 7 w 195"/>
                <a:gd name="T73" fmla="*/ 3 h 104"/>
                <a:gd name="T74" fmla="*/ 3 w 195"/>
                <a:gd name="T75" fmla="*/ 7 h 104"/>
                <a:gd name="T76" fmla="*/ 0 w 195"/>
                <a:gd name="T77" fmla="*/ 12 h 104"/>
                <a:gd name="T78" fmla="*/ 0 w 195"/>
                <a:gd name="T79" fmla="*/ 24 h 104"/>
                <a:gd name="T80" fmla="*/ 5 w 195"/>
                <a:gd name="T81" fmla="*/ 41 h 104"/>
                <a:gd name="T82" fmla="*/ 12 w 195"/>
                <a:gd name="T83" fmla="*/ 57 h 104"/>
                <a:gd name="T84" fmla="*/ 22 w 195"/>
                <a:gd name="T85" fmla="*/ 71 h 104"/>
                <a:gd name="T86" fmla="*/ 35 w 195"/>
                <a:gd name="T87" fmla="*/ 84 h 104"/>
                <a:gd name="T88" fmla="*/ 51 w 195"/>
                <a:gd name="T89" fmla="*/ 94 h 104"/>
                <a:gd name="T90" fmla="*/ 68 w 195"/>
                <a:gd name="T91" fmla="*/ 100 h 104"/>
                <a:gd name="T92" fmla="*/ 86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6" y="104"/>
                  </a:moveTo>
                  <a:lnTo>
                    <a:pt x="104" y="104"/>
                  </a:lnTo>
                  <a:lnTo>
                    <a:pt x="113" y="102"/>
                  </a:lnTo>
                  <a:lnTo>
                    <a:pt x="122" y="101"/>
                  </a:lnTo>
                  <a:lnTo>
                    <a:pt x="131" y="98"/>
                  </a:lnTo>
                  <a:lnTo>
                    <a:pt x="140" y="95"/>
                  </a:lnTo>
                  <a:lnTo>
                    <a:pt x="148" y="90"/>
                  </a:lnTo>
                  <a:lnTo>
                    <a:pt x="156" y="85"/>
                  </a:lnTo>
                  <a:lnTo>
                    <a:pt x="163" y="80"/>
                  </a:lnTo>
                  <a:lnTo>
                    <a:pt x="169" y="73"/>
                  </a:lnTo>
                  <a:lnTo>
                    <a:pt x="176" y="67"/>
                  </a:lnTo>
                  <a:lnTo>
                    <a:pt x="181" y="59"/>
                  </a:lnTo>
                  <a:lnTo>
                    <a:pt x="187" y="51"/>
                  </a:lnTo>
                  <a:lnTo>
                    <a:pt x="190" y="43"/>
                  </a:lnTo>
                  <a:lnTo>
                    <a:pt x="193" y="34"/>
                  </a:lnTo>
                  <a:lnTo>
                    <a:pt x="194" y="25"/>
                  </a:lnTo>
                  <a:lnTo>
                    <a:pt x="195" y="16"/>
                  </a:lnTo>
                  <a:lnTo>
                    <a:pt x="195" y="12"/>
                  </a:lnTo>
                  <a:lnTo>
                    <a:pt x="194" y="9"/>
                  </a:lnTo>
                  <a:lnTo>
                    <a:pt x="193" y="7"/>
                  </a:lnTo>
                  <a:lnTo>
                    <a:pt x="191" y="5"/>
                  </a:lnTo>
                  <a:lnTo>
                    <a:pt x="189" y="3"/>
                  </a:lnTo>
                  <a:lnTo>
                    <a:pt x="186" y="2"/>
                  </a:lnTo>
                  <a:lnTo>
                    <a:pt x="183" y="1"/>
                  </a:lnTo>
                  <a:lnTo>
                    <a:pt x="180" y="0"/>
                  </a:lnTo>
                  <a:lnTo>
                    <a:pt x="177" y="1"/>
                  </a:lnTo>
                  <a:lnTo>
                    <a:pt x="175" y="2"/>
                  </a:lnTo>
                  <a:lnTo>
                    <a:pt x="172" y="3"/>
                  </a:lnTo>
                  <a:lnTo>
                    <a:pt x="169" y="5"/>
                  </a:lnTo>
                  <a:lnTo>
                    <a:pt x="167" y="7"/>
                  </a:lnTo>
                  <a:lnTo>
                    <a:pt x="166" y="9"/>
                  </a:lnTo>
                  <a:lnTo>
                    <a:pt x="165" y="12"/>
                  </a:lnTo>
                  <a:lnTo>
                    <a:pt x="165" y="16"/>
                  </a:lnTo>
                  <a:lnTo>
                    <a:pt x="165" y="21"/>
                  </a:lnTo>
                  <a:lnTo>
                    <a:pt x="163" y="27"/>
                  </a:lnTo>
                  <a:lnTo>
                    <a:pt x="162" y="33"/>
                  </a:lnTo>
                  <a:lnTo>
                    <a:pt x="159" y="39"/>
                  </a:lnTo>
                  <a:lnTo>
                    <a:pt x="156" y="43"/>
                  </a:lnTo>
                  <a:lnTo>
                    <a:pt x="151" y="49"/>
                  </a:lnTo>
                  <a:lnTo>
                    <a:pt x="147" y="53"/>
                  </a:lnTo>
                  <a:lnTo>
                    <a:pt x="143" y="57"/>
                  </a:lnTo>
                  <a:lnTo>
                    <a:pt x="132" y="65"/>
                  </a:lnTo>
                  <a:lnTo>
                    <a:pt x="120" y="70"/>
                  </a:lnTo>
                  <a:lnTo>
                    <a:pt x="114" y="72"/>
                  </a:lnTo>
                  <a:lnTo>
                    <a:pt x="107" y="73"/>
                  </a:lnTo>
                  <a:lnTo>
                    <a:pt x="101" y="74"/>
                  </a:lnTo>
                  <a:lnTo>
                    <a:pt x="96" y="74"/>
                  </a:lnTo>
                  <a:lnTo>
                    <a:pt x="89" y="74"/>
                  </a:lnTo>
                  <a:lnTo>
                    <a:pt x="83" y="73"/>
                  </a:lnTo>
                  <a:lnTo>
                    <a:pt x="76" y="71"/>
                  </a:lnTo>
                  <a:lnTo>
                    <a:pt x="70" y="70"/>
                  </a:lnTo>
                  <a:lnTo>
                    <a:pt x="65" y="67"/>
                  </a:lnTo>
                  <a:lnTo>
                    <a:pt x="59" y="64"/>
                  </a:lnTo>
                  <a:lnTo>
                    <a:pt x="54" y="61"/>
                  </a:lnTo>
                  <a:lnTo>
                    <a:pt x="50" y="57"/>
                  </a:lnTo>
                  <a:lnTo>
                    <a:pt x="45" y="53"/>
                  </a:lnTo>
                  <a:lnTo>
                    <a:pt x="41" y="48"/>
                  </a:lnTo>
                  <a:lnTo>
                    <a:pt x="38" y="43"/>
                  </a:lnTo>
                  <a:lnTo>
                    <a:pt x="36" y="38"/>
                  </a:lnTo>
                  <a:lnTo>
                    <a:pt x="33" y="33"/>
                  </a:lnTo>
                  <a:lnTo>
                    <a:pt x="31" y="27"/>
                  </a:lnTo>
                  <a:lnTo>
                    <a:pt x="30" y="21"/>
                  </a:lnTo>
                  <a:lnTo>
                    <a:pt x="30" y="16"/>
                  </a:lnTo>
                  <a:lnTo>
                    <a:pt x="29" y="12"/>
                  </a:lnTo>
                  <a:lnTo>
                    <a:pt x="29" y="9"/>
                  </a:lnTo>
                  <a:lnTo>
                    <a:pt x="27" y="7"/>
                  </a:lnTo>
                  <a:lnTo>
                    <a:pt x="26" y="5"/>
                  </a:lnTo>
                  <a:lnTo>
                    <a:pt x="23" y="3"/>
                  </a:lnTo>
                  <a:lnTo>
                    <a:pt x="21" y="2"/>
                  </a:lnTo>
                  <a:lnTo>
                    <a:pt x="18" y="1"/>
                  </a:lnTo>
                  <a:lnTo>
                    <a:pt x="15" y="0"/>
                  </a:lnTo>
                  <a:lnTo>
                    <a:pt x="12" y="1"/>
                  </a:lnTo>
                  <a:lnTo>
                    <a:pt x="9" y="2"/>
                  </a:lnTo>
                  <a:lnTo>
                    <a:pt x="7" y="3"/>
                  </a:lnTo>
                  <a:lnTo>
                    <a:pt x="5" y="5"/>
                  </a:lnTo>
                  <a:lnTo>
                    <a:pt x="3" y="7"/>
                  </a:lnTo>
                  <a:lnTo>
                    <a:pt x="2" y="9"/>
                  </a:lnTo>
                  <a:lnTo>
                    <a:pt x="0" y="12"/>
                  </a:lnTo>
                  <a:lnTo>
                    <a:pt x="0" y="16"/>
                  </a:lnTo>
                  <a:lnTo>
                    <a:pt x="0" y="24"/>
                  </a:lnTo>
                  <a:lnTo>
                    <a:pt x="2" y="33"/>
                  </a:lnTo>
                  <a:lnTo>
                    <a:pt x="5" y="41"/>
                  </a:lnTo>
                  <a:lnTo>
                    <a:pt x="8" y="50"/>
                  </a:lnTo>
                  <a:lnTo>
                    <a:pt x="12" y="57"/>
                  </a:lnTo>
                  <a:lnTo>
                    <a:pt x="16" y="65"/>
                  </a:lnTo>
                  <a:lnTo>
                    <a:pt x="22" y="71"/>
                  </a:lnTo>
                  <a:lnTo>
                    <a:pt x="28" y="78"/>
                  </a:lnTo>
                  <a:lnTo>
                    <a:pt x="35" y="84"/>
                  </a:lnTo>
                  <a:lnTo>
                    <a:pt x="42" y="89"/>
                  </a:lnTo>
                  <a:lnTo>
                    <a:pt x="51" y="94"/>
                  </a:lnTo>
                  <a:lnTo>
                    <a:pt x="58" y="97"/>
                  </a:lnTo>
                  <a:lnTo>
                    <a:pt x="68" y="100"/>
                  </a:lnTo>
                  <a:lnTo>
                    <a:pt x="76" y="102"/>
                  </a:lnTo>
                  <a:lnTo>
                    <a:pt x="86" y="104"/>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28">
              <a:extLst>
                <a:ext uri="{FF2B5EF4-FFF2-40B4-BE49-F238E27FC236}">
                  <a16:creationId xmlns:a16="http://schemas.microsoft.com/office/drawing/2014/main" id="{DB0662F3-6F28-45F6-A9B6-88DE23A99B53}"/>
                </a:ext>
              </a:extLst>
            </p:cNvPr>
            <p:cNvSpPr>
              <a:spLocks/>
            </p:cNvSpPr>
            <p:nvPr/>
          </p:nvSpPr>
          <p:spPr bwMode="auto">
            <a:xfrm>
              <a:off x="5521325" y="3736976"/>
              <a:ext cx="61913" cy="33338"/>
            </a:xfrm>
            <a:custGeom>
              <a:avLst/>
              <a:gdLst>
                <a:gd name="T0" fmla="*/ 109 w 195"/>
                <a:gd name="T1" fmla="*/ 104 h 104"/>
                <a:gd name="T2" fmla="*/ 127 w 195"/>
                <a:gd name="T3" fmla="*/ 100 h 104"/>
                <a:gd name="T4" fmla="*/ 144 w 195"/>
                <a:gd name="T5" fmla="*/ 94 h 104"/>
                <a:gd name="T6" fmla="*/ 159 w 195"/>
                <a:gd name="T7" fmla="*/ 84 h 104"/>
                <a:gd name="T8" fmla="*/ 173 w 195"/>
                <a:gd name="T9" fmla="*/ 71 h 104"/>
                <a:gd name="T10" fmla="*/ 183 w 195"/>
                <a:gd name="T11" fmla="*/ 57 h 104"/>
                <a:gd name="T12" fmla="*/ 190 w 195"/>
                <a:gd name="T13" fmla="*/ 41 h 104"/>
                <a:gd name="T14" fmla="*/ 195 w 195"/>
                <a:gd name="T15" fmla="*/ 24 h 104"/>
                <a:gd name="T16" fmla="*/ 195 w 195"/>
                <a:gd name="T17" fmla="*/ 12 h 104"/>
                <a:gd name="T18" fmla="*/ 192 w 195"/>
                <a:gd name="T19" fmla="*/ 7 h 104"/>
                <a:gd name="T20" fmla="*/ 188 w 195"/>
                <a:gd name="T21" fmla="*/ 3 h 104"/>
                <a:gd name="T22" fmla="*/ 183 w 195"/>
                <a:gd name="T23" fmla="*/ 1 h 104"/>
                <a:gd name="T24" fmla="*/ 176 w 195"/>
                <a:gd name="T25" fmla="*/ 1 h 104"/>
                <a:gd name="T26" fmla="*/ 171 w 195"/>
                <a:gd name="T27" fmla="*/ 3 h 104"/>
                <a:gd name="T28" fmla="*/ 168 w 195"/>
                <a:gd name="T29" fmla="*/ 7 h 104"/>
                <a:gd name="T30" fmla="*/ 165 w 195"/>
                <a:gd name="T31" fmla="*/ 12 h 104"/>
                <a:gd name="T32" fmla="*/ 165 w 195"/>
                <a:gd name="T33" fmla="*/ 21 h 104"/>
                <a:gd name="T34" fmla="*/ 161 w 195"/>
                <a:gd name="T35" fmla="*/ 33 h 104"/>
                <a:gd name="T36" fmla="*/ 157 w 195"/>
                <a:gd name="T37" fmla="*/ 43 h 104"/>
                <a:gd name="T38" fmla="*/ 150 w 195"/>
                <a:gd name="T39" fmla="*/ 52 h 104"/>
                <a:gd name="T40" fmla="*/ 141 w 195"/>
                <a:gd name="T41" fmla="*/ 61 h 104"/>
                <a:gd name="T42" fmla="*/ 130 w 195"/>
                <a:gd name="T43" fmla="*/ 67 h 104"/>
                <a:gd name="T44" fmla="*/ 119 w 195"/>
                <a:gd name="T45" fmla="*/ 71 h 104"/>
                <a:gd name="T46" fmla="*/ 106 w 195"/>
                <a:gd name="T47" fmla="*/ 74 h 104"/>
                <a:gd name="T48" fmla="*/ 93 w 195"/>
                <a:gd name="T49" fmla="*/ 74 h 104"/>
                <a:gd name="T50" fmla="*/ 81 w 195"/>
                <a:gd name="T51" fmla="*/ 72 h 104"/>
                <a:gd name="T52" fmla="*/ 63 w 195"/>
                <a:gd name="T53" fmla="*/ 65 h 104"/>
                <a:gd name="T54" fmla="*/ 47 w 195"/>
                <a:gd name="T55" fmla="*/ 53 h 104"/>
                <a:gd name="T56" fmla="*/ 39 w 195"/>
                <a:gd name="T57" fmla="*/ 43 h 104"/>
                <a:gd name="T58" fmla="*/ 33 w 195"/>
                <a:gd name="T59" fmla="*/ 33 h 104"/>
                <a:gd name="T60" fmla="*/ 30 w 195"/>
                <a:gd name="T61" fmla="*/ 21 h 104"/>
                <a:gd name="T62" fmla="*/ 30 w 195"/>
                <a:gd name="T63" fmla="*/ 12 h 104"/>
                <a:gd name="T64" fmla="*/ 27 w 195"/>
                <a:gd name="T65" fmla="*/ 7 h 104"/>
                <a:gd name="T66" fmla="*/ 23 w 195"/>
                <a:gd name="T67" fmla="*/ 3 h 104"/>
                <a:gd name="T68" fmla="*/ 18 w 195"/>
                <a:gd name="T69" fmla="*/ 1 h 104"/>
                <a:gd name="T70" fmla="*/ 12 w 195"/>
                <a:gd name="T71" fmla="*/ 1 h 104"/>
                <a:gd name="T72" fmla="*/ 6 w 195"/>
                <a:gd name="T73" fmla="*/ 3 h 104"/>
                <a:gd name="T74" fmla="*/ 2 w 195"/>
                <a:gd name="T75" fmla="*/ 7 h 104"/>
                <a:gd name="T76" fmla="*/ 0 w 195"/>
                <a:gd name="T77" fmla="*/ 12 h 104"/>
                <a:gd name="T78" fmla="*/ 0 w 195"/>
                <a:gd name="T79" fmla="*/ 25 h 104"/>
                <a:gd name="T80" fmla="*/ 5 w 195"/>
                <a:gd name="T81" fmla="*/ 43 h 104"/>
                <a:gd name="T82" fmla="*/ 14 w 195"/>
                <a:gd name="T83" fmla="*/ 59 h 104"/>
                <a:gd name="T84" fmla="*/ 26 w 195"/>
                <a:gd name="T85" fmla="*/ 73 h 104"/>
                <a:gd name="T86" fmla="*/ 39 w 195"/>
                <a:gd name="T87" fmla="*/ 85 h 104"/>
                <a:gd name="T88" fmla="*/ 55 w 195"/>
                <a:gd name="T89" fmla="*/ 95 h 104"/>
                <a:gd name="T90" fmla="*/ 73 w 195"/>
                <a:gd name="T91" fmla="*/ 101 h 104"/>
                <a:gd name="T92" fmla="*/ 91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9" y="104"/>
                  </a:moveTo>
                  <a:lnTo>
                    <a:pt x="109" y="104"/>
                  </a:lnTo>
                  <a:lnTo>
                    <a:pt x="119" y="102"/>
                  </a:lnTo>
                  <a:lnTo>
                    <a:pt x="127" y="100"/>
                  </a:lnTo>
                  <a:lnTo>
                    <a:pt x="136" y="97"/>
                  </a:lnTo>
                  <a:lnTo>
                    <a:pt x="144" y="94"/>
                  </a:lnTo>
                  <a:lnTo>
                    <a:pt x="153" y="89"/>
                  </a:lnTo>
                  <a:lnTo>
                    <a:pt x="159" y="84"/>
                  </a:lnTo>
                  <a:lnTo>
                    <a:pt x="167" y="78"/>
                  </a:lnTo>
                  <a:lnTo>
                    <a:pt x="173" y="71"/>
                  </a:lnTo>
                  <a:lnTo>
                    <a:pt x="179" y="65"/>
                  </a:lnTo>
                  <a:lnTo>
                    <a:pt x="183" y="57"/>
                  </a:lnTo>
                  <a:lnTo>
                    <a:pt x="187" y="50"/>
                  </a:lnTo>
                  <a:lnTo>
                    <a:pt x="190" y="41"/>
                  </a:lnTo>
                  <a:lnTo>
                    <a:pt x="192" y="33"/>
                  </a:lnTo>
                  <a:lnTo>
                    <a:pt x="195" y="24"/>
                  </a:lnTo>
                  <a:lnTo>
                    <a:pt x="195" y="16"/>
                  </a:lnTo>
                  <a:lnTo>
                    <a:pt x="195" y="12"/>
                  </a:lnTo>
                  <a:lnTo>
                    <a:pt x="193" y="9"/>
                  </a:lnTo>
                  <a:lnTo>
                    <a:pt x="192" y="7"/>
                  </a:lnTo>
                  <a:lnTo>
                    <a:pt x="190" y="5"/>
                  </a:lnTo>
                  <a:lnTo>
                    <a:pt x="188" y="3"/>
                  </a:lnTo>
                  <a:lnTo>
                    <a:pt x="186" y="2"/>
                  </a:lnTo>
                  <a:lnTo>
                    <a:pt x="183" y="1"/>
                  </a:lnTo>
                  <a:lnTo>
                    <a:pt x="180" y="0"/>
                  </a:lnTo>
                  <a:lnTo>
                    <a:pt x="176" y="1"/>
                  </a:lnTo>
                  <a:lnTo>
                    <a:pt x="174" y="2"/>
                  </a:lnTo>
                  <a:lnTo>
                    <a:pt x="171" y="3"/>
                  </a:lnTo>
                  <a:lnTo>
                    <a:pt x="169" y="5"/>
                  </a:lnTo>
                  <a:lnTo>
                    <a:pt x="168" y="7"/>
                  </a:lnTo>
                  <a:lnTo>
                    <a:pt x="166" y="9"/>
                  </a:lnTo>
                  <a:lnTo>
                    <a:pt x="165" y="12"/>
                  </a:lnTo>
                  <a:lnTo>
                    <a:pt x="165" y="16"/>
                  </a:lnTo>
                  <a:lnTo>
                    <a:pt x="165" y="21"/>
                  </a:lnTo>
                  <a:lnTo>
                    <a:pt x="164" y="26"/>
                  </a:lnTo>
                  <a:lnTo>
                    <a:pt x="161" y="33"/>
                  </a:lnTo>
                  <a:lnTo>
                    <a:pt x="159" y="38"/>
                  </a:lnTo>
                  <a:lnTo>
                    <a:pt x="157" y="43"/>
                  </a:lnTo>
                  <a:lnTo>
                    <a:pt x="154" y="48"/>
                  </a:lnTo>
                  <a:lnTo>
                    <a:pt x="150" y="52"/>
                  </a:lnTo>
                  <a:lnTo>
                    <a:pt x="145" y="56"/>
                  </a:lnTo>
                  <a:lnTo>
                    <a:pt x="141" y="61"/>
                  </a:lnTo>
                  <a:lnTo>
                    <a:pt x="136" y="64"/>
                  </a:lnTo>
                  <a:lnTo>
                    <a:pt x="130" y="67"/>
                  </a:lnTo>
                  <a:lnTo>
                    <a:pt x="125" y="70"/>
                  </a:lnTo>
                  <a:lnTo>
                    <a:pt x="119" y="71"/>
                  </a:lnTo>
                  <a:lnTo>
                    <a:pt x="112" y="73"/>
                  </a:lnTo>
                  <a:lnTo>
                    <a:pt x="106" y="74"/>
                  </a:lnTo>
                  <a:lnTo>
                    <a:pt x="99" y="74"/>
                  </a:lnTo>
                  <a:lnTo>
                    <a:pt x="93" y="74"/>
                  </a:lnTo>
                  <a:lnTo>
                    <a:pt x="86" y="73"/>
                  </a:lnTo>
                  <a:lnTo>
                    <a:pt x="81" y="72"/>
                  </a:lnTo>
                  <a:lnTo>
                    <a:pt x="75" y="70"/>
                  </a:lnTo>
                  <a:lnTo>
                    <a:pt x="63" y="65"/>
                  </a:lnTo>
                  <a:lnTo>
                    <a:pt x="52" y="57"/>
                  </a:lnTo>
                  <a:lnTo>
                    <a:pt x="47" y="53"/>
                  </a:lnTo>
                  <a:lnTo>
                    <a:pt x="43" y="49"/>
                  </a:lnTo>
                  <a:lnTo>
                    <a:pt x="39" y="43"/>
                  </a:lnTo>
                  <a:lnTo>
                    <a:pt x="36" y="39"/>
                  </a:lnTo>
                  <a:lnTo>
                    <a:pt x="33" y="33"/>
                  </a:lnTo>
                  <a:lnTo>
                    <a:pt x="31" y="27"/>
                  </a:lnTo>
                  <a:lnTo>
                    <a:pt x="30" y="21"/>
                  </a:lnTo>
                  <a:lnTo>
                    <a:pt x="30" y="16"/>
                  </a:lnTo>
                  <a:lnTo>
                    <a:pt x="30" y="12"/>
                  </a:lnTo>
                  <a:lnTo>
                    <a:pt x="29" y="9"/>
                  </a:lnTo>
                  <a:lnTo>
                    <a:pt x="27" y="7"/>
                  </a:lnTo>
                  <a:lnTo>
                    <a:pt x="26" y="5"/>
                  </a:lnTo>
                  <a:lnTo>
                    <a:pt x="23" y="3"/>
                  </a:lnTo>
                  <a:lnTo>
                    <a:pt x="20" y="2"/>
                  </a:lnTo>
                  <a:lnTo>
                    <a:pt x="18" y="1"/>
                  </a:lnTo>
                  <a:lnTo>
                    <a:pt x="15" y="0"/>
                  </a:lnTo>
                  <a:lnTo>
                    <a:pt x="12" y="1"/>
                  </a:lnTo>
                  <a:lnTo>
                    <a:pt x="8" y="2"/>
                  </a:lnTo>
                  <a:lnTo>
                    <a:pt x="6" y="3"/>
                  </a:lnTo>
                  <a:lnTo>
                    <a:pt x="4" y="5"/>
                  </a:lnTo>
                  <a:lnTo>
                    <a:pt x="2" y="7"/>
                  </a:lnTo>
                  <a:lnTo>
                    <a:pt x="1" y="9"/>
                  </a:lnTo>
                  <a:lnTo>
                    <a:pt x="0" y="12"/>
                  </a:lnTo>
                  <a:lnTo>
                    <a:pt x="0" y="16"/>
                  </a:lnTo>
                  <a:lnTo>
                    <a:pt x="0" y="25"/>
                  </a:lnTo>
                  <a:lnTo>
                    <a:pt x="2" y="34"/>
                  </a:lnTo>
                  <a:lnTo>
                    <a:pt x="5" y="43"/>
                  </a:lnTo>
                  <a:lnTo>
                    <a:pt x="8" y="51"/>
                  </a:lnTo>
                  <a:lnTo>
                    <a:pt x="14" y="59"/>
                  </a:lnTo>
                  <a:lnTo>
                    <a:pt x="19" y="67"/>
                  </a:lnTo>
                  <a:lnTo>
                    <a:pt x="26" y="73"/>
                  </a:lnTo>
                  <a:lnTo>
                    <a:pt x="32" y="80"/>
                  </a:lnTo>
                  <a:lnTo>
                    <a:pt x="39" y="85"/>
                  </a:lnTo>
                  <a:lnTo>
                    <a:pt x="47" y="90"/>
                  </a:lnTo>
                  <a:lnTo>
                    <a:pt x="55" y="95"/>
                  </a:lnTo>
                  <a:lnTo>
                    <a:pt x="64" y="98"/>
                  </a:lnTo>
                  <a:lnTo>
                    <a:pt x="73" y="101"/>
                  </a:lnTo>
                  <a:lnTo>
                    <a:pt x="81" y="102"/>
                  </a:lnTo>
                  <a:lnTo>
                    <a:pt x="91" y="104"/>
                  </a:lnTo>
                  <a:lnTo>
                    <a:pt x="99"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0" name="Group 56">
            <a:extLst>
              <a:ext uri="{FF2B5EF4-FFF2-40B4-BE49-F238E27FC236}">
                <a16:creationId xmlns:a16="http://schemas.microsoft.com/office/drawing/2014/main" id="{6A8174EF-4171-44D5-82A2-0F6E05C8A114}"/>
              </a:ext>
            </a:extLst>
          </p:cNvPr>
          <p:cNvGrpSpPr>
            <a:grpSpLocks noChangeAspect="1"/>
          </p:cNvGrpSpPr>
          <p:nvPr/>
        </p:nvGrpSpPr>
        <p:grpSpPr>
          <a:xfrm>
            <a:off x="1082592" y="1647825"/>
            <a:ext cx="273414" cy="285619"/>
            <a:chOff x="5765800" y="1577975"/>
            <a:chExt cx="355600" cy="371475"/>
          </a:xfrm>
          <a:solidFill>
            <a:schemeClr val="bg2"/>
          </a:solidFill>
          <a:effectLst/>
        </p:grpSpPr>
        <p:sp>
          <p:nvSpPr>
            <p:cNvPr id="1061" name="Freeform 32">
              <a:extLst>
                <a:ext uri="{FF2B5EF4-FFF2-40B4-BE49-F238E27FC236}">
                  <a16:creationId xmlns:a16="http://schemas.microsoft.com/office/drawing/2014/main" id="{843FB808-8E92-4A17-BD7A-A82223F9437D}"/>
                </a:ext>
              </a:extLst>
            </p:cNvPr>
            <p:cNvSpPr>
              <a:spLocks noEditPoints="1"/>
            </p:cNvSpPr>
            <p:nvPr/>
          </p:nvSpPr>
          <p:spPr bwMode="auto">
            <a:xfrm>
              <a:off x="5892800" y="1577975"/>
              <a:ext cx="101600" cy="100013"/>
            </a:xfrm>
            <a:custGeom>
              <a:avLst/>
              <a:gdLst>
                <a:gd name="T0" fmla="*/ 13 w 26"/>
                <a:gd name="T1" fmla="*/ 26 h 26"/>
                <a:gd name="T2" fmla="*/ 0 w 26"/>
                <a:gd name="T3" fmla="*/ 13 h 26"/>
                <a:gd name="T4" fmla="*/ 13 w 26"/>
                <a:gd name="T5" fmla="*/ 0 h 26"/>
                <a:gd name="T6" fmla="*/ 26 w 26"/>
                <a:gd name="T7" fmla="*/ 13 h 26"/>
                <a:gd name="T8" fmla="*/ 13 w 26"/>
                <a:gd name="T9" fmla="*/ 26 h 26"/>
                <a:gd name="T10" fmla="*/ 13 w 26"/>
                <a:gd name="T11" fmla="*/ 4 h 26"/>
                <a:gd name="T12" fmla="*/ 4 w 26"/>
                <a:gd name="T13" fmla="*/ 13 h 26"/>
                <a:gd name="T14" fmla="*/ 13 w 26"/>
                <a:gd name="T15" fmla="*/ 22 h 26"/>
                <a:gd name="T16" fmla="*/ 22 w 26"/>
                <a:gd name="T17" fmla="*/ 13 h 26"/>
                <a:gd name="T18" fmla="*/ 13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26"/>
                  </a:moveTo>
                  <a:cubicBezTo>
                    <a:pt x="6" y="26"/>
                    <a:pt x="0" y="20"/>
                    <a:pt x="0" y="13"/>
                  </a:cubicBezTo>
                  <a:cubicBezTo>
                    <a:pt x="0" y="6"/>
                    <a:pt x="6" y="0"/>
                    <a:pt x="13" y="0"/>
                  </a:cubicBezTo>
                  <a:cubicBezTo>
                    <a:pt x="20" y="0"/>
                    <a:pt x="26" y="6"/>
                    <a:pt x="26" y="13"/>
                  </a:cubicBezTo>
                  <a:cubicBezTo>
                    <a:pt x="26" y="20"/>
                    <a:pt x="20" y="26"/>
                    <a:pt x="13" y="26"/>
                  </a:cubicBezTo>
                  <a:close/>
                  <a:moveTo>
                    <a:pt x="13" y="4"/>
                  </a:moveTo>
                  <a:cubicBezTo>
                    <a:pt x="8" y="4"/>
                    <a:pt x="4" y="8"/>
                    <a:pt x="4" y="13"/>
                  </a:cubicBezTo>
                  <a:cubicBezTo>
                    <a:pt x="4" y="18"/>
                    <a:pt x="8" y="22"/>
                    <a:pt x="13" y="22"/>
                  </a:cubicBezTo>
                  <a:cubicBezTo>
                    <a:pt x="18" y="22"/>
                    <a:pt x="22" y="18"/>
                    <a:pt x="22" y="13"/>
                  </a:cubicBezTo>
                  <a:cubicBezTo>
                    <a:pt x="22" y="8"/>
                    <a:pt x="18" y="4"/>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2" name="Freeform 33">
              <a:extLst>
                <a:ext uri="{FF2B5EF4-FFF2-40B4-BE49-F238E27FC236}">
                  <a16:creationId xmlns:a16="http://schemas.microsoft.com/office/drawing/2014/main" id="{4C26EB51-8E06-484B-8010-907939F4A971}"/>
                </a:ext>
              </a:extLst>
            </p:cNvPr>
            <p:cNvSpPr>
              <a:spLocks noEditPoints="1"/>
            </p:cNvSpPr>
            <p:nvPr/>
          </p:nvSpPr>
          <p:spPr bwMode="auto">
            <a:xfrm>
              <a:off x="5865813" y="1663700"/>
              <a:ext cx="155575" cy="84138"/>
            </a:xfrm>
            <a:custGeom>
              <a:avLst/>
              <a:gdLst>
                <a:gd name="T0" fmla="*/ 38 w 40"/>
                <a:gd name="T1" fmla="*/ 22 h 22"/>
                <a:gd name="T2" fmla="*/ 38 w 40"/>
                <a:gd name="T3" fmla="*/ 22 h 22"/>
                <a:gd name="T4" fmla="*/ 2 w 40"/>
                <a:gd name="T5" fmla="*/ 22 h 22"/>
                <a:gd name="T6" fmla="*/ 0 w 40"/>
                <a:gd name="T7" fmla="*/ 20 h 22"/>
                <a:gd name="T8" fmla="*/ 20 w 40"/>
                <a:gd name="T9" fmla="*/ 0 h 22"/>
                <a:gd name="T10" fmla="*/ 40 w 40"/>
                <a:gd name="T11" fmla="*/ 19 h 22"/>
                <a:gd name="T12" fmla="*/ 40 w 40"/>
                <a:gd name="T13" fmla="*/ 20 h 22"/>
                <a:gd name="T14" fmla="*/ 38 w 40"/>
                <a:gd name="T15" fmla="*/ 22 h 22"/>
                <a:gd name="T16" fmla="*/ 4 w 40"/>
                <a:gd name="T17" fmla="*/ 18 h 22"/>
                <a:gd name="T18" fmla="*/ 36 w 40"/>
                <a:gd name="T19" fmla="*/ 18 h 22"/>
                <a:gd name="T20" fmla="*/ 20 w 40"/>
                <a:gd name="T21" fmla="*/ 4 h 22"/>
                <a:gd name="T22" fmla="*/ 4 w 40"/>
                <a:gd name="T23"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2">
                  <a:moveTo>
                    <a:pt x="38" y="22"/>
                  </a:moveTo>
                  <a:cubicBezTo>
                    <a:pt x="38" y="22"/>
                    <a:pt x="38" y="22"/>
                    <a:pt x="38" y="22"/>
                  </a:cubicBezTo>
                  <a:cubicBezTo>
                    <a:pt x="2" y="22"/>
                    <a:pt x="2" y="22"/>
                    <a:pt x="2" y="22"/>
                  </a:cubicBezTo>
                  <a:cubicBezTo>
                    <a:pt x="1" y="22"/>
                    <a:pt x="0" y="21"/>
                    <a:pt x="0" y="20"/>
                  </a:cubicBezTo>
                  <a:cubicBezTo>
                    <a:pt x="0" y="9"/>
                    <a:pt x="9" y="0"/>
                    <a:pt x="20" y="0"/>
                  </a:cubicBezTo>
                  <a:cubicBezTo>
                    <a:pt x="31" y="0"/>
                    <a:pt x="39" y="9"/>
                    <a:pt x="40" y="19"/>
                  </a:cubicBezTo>
                  <a:cubicBezTo>
                    <a:pt x="40" y="20"/>
                    <a:pt x="40" y="20"/>
                    <a:pt x="40" y="20"/>
                  </a:cubicBezTo>
                  <a:cubicBezTo>
                    <a:pt x="40" y="21"/>
                    <a:pt x="39" y="22"/>
                    <a:pt x="38" y="22"/>
                  </a:cubicBezTo>
                  <a:close/>
                  <a:moveTo>
                    <a:pt x="4" y="18"/>
                  </a:moveTo>
                  <a:cubicBezTo>
                    <a:pt x="36" y="18"/>
                    <a:pt x="36" y="18"/>
                    <a:pt x="36" y="18"/>
                  </a:cubicBezTo>
                  <a:cubicBezTo>
                    <a:pt x="35" y="10"/>
                    <a:pt x="28" y="4"/>
                    <a:pt x="20" y="4"/>
                  </a:cubicBezTo>
                  <a:cubicBezTo>
                    <a:pt x="12" y="4"/>
                    <a:pt x="5" y="10"/>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3" name="Freeform 34">
              <a:extLst>
                <a:ext uri="{FF2B5EF4-FFF2-40B4-BE49-F238E27FC236}">
                  <a16:creationId xmlns:a16="http://schemas.microsoft.com/office/drawing/2014/main" id="{F4921FBB-6ADF-4CFB-AD9E-CF587B1D7B3D}"/>
                </a:ext>
              </a:extLst>
            </p:cNvPr>
            <p:cNvSpPr>
              <a:spLocks noEditPoints="1"/>
            </p:cNvSpPr>
            <p:nvPr/>
          </p:nvSpPr>
          <p:spPr bwMode="auto">
            <a:xfrm>
              <a:off x="5788025"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4" name="Freeform 35">
              <a:extLst>
                <a:ext uri="{FF2B5EF4-FFF2-40B4-BE49-F238E27FC236}">
                  <a16:creationId xmlns:a16="http://schemas.microsoft.com/office/drawing/2014/main" id="{58C6027A-2865-4883-8279-232742FA22B3}"/>
                </a:ext>
              </a:extLst>
            </p:cNvPr>
            <p:cNvSpPr>
              <a:spLocks noEditPoints="1"/>
            </p:cNvSpPr>
            <p:nvPr/>
          </p:nvSpPr>
          <p:spPr bwMode="auto">
            <a:xfrm>
              <a:off x="5765800"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5" name="Freeform 36">
              <a:extLst>
                <a:ext uri="{FF2B5EF4-FFF2-40B4-BE49-F238E27FC236}">
                  <a16:creationId xmlns:a16="http://schemas.microsoft.com/office/drawing/2014/main" id="{F0421F7E-4352-4F10-B384-BF2984F911F2}"/>
                </a:ext>
              </a:extLst>
            </p:cNvPr>
            <p:cNvSpPr>
              <a:spLocks noEditPoints="1"/>
            </p:cNvSpPr>
            <p:nvPr/>
          </p:nvSpPr>
          <p:spPr bwMode="auto">
            <a:xfrm>
              <a:off x="6021388"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6" name="Freeform 37">
              <a:extLst>
                <a:ext uri="{FF2B5EF4-FFF2-40B4-BE49-F238E27FC236}">
                  <a16:creationId xmlns:a16="http://schemas.microsoft.com/office/drawing/2014/main" id="{5AC085FF-C714-452B-9512-72095B40448E}"/>
                </a:ext>
              </a:extLst>
            </p:cNvPr>
            <p:cNvSpPr>
              <a:spLocks noEditPoints="1"/>
            </p:cNvSpPr>
            <p:nvPr/>
          </p:nvSpPr>
          <p:spPr bwMode="auto">
            <a:xfrm>
              <a:off x="5997575"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7" name="Freeform 38">
              <a:extLst>
                <a:ext uri="{FF2B5EF4-FFF2-40B4-BE49-F238E27FC236}">
                  <a16:creationId xmlns:a16="http://schemas.microsoft.com/office/drawing/2014/main" id="{7C046EA7-1E26-4DD9-8043-7ECE0231DEA9}"/>
                </a:ext>
              </a:extLst>
            </p:cNvPr>
            <p:cNvSpPr>
              <a:spLocks noEditPoints="1"/>
            </p:cNvSpPr>
            <p:nvPr/>
          </p:nvSpPr>
          <p:spPr bwMode="auto">
            <a:xfrm>
              <a:off x="6021388"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8" name="Freeform 39">
              <a:extLst>
                <a:ext uri="{FF2B5EF4-FFF2-40B4-BE49-F238E27FC236}">
                  <a16:creationId xmlns:a16="http://schemas.microsoft.com/office/drawing/2014/main" id="{311DCEE8-537E-4D55-A082-D4293B5E8D4A}"/>
                </a:ext>
              </a:extLst>
            </p:cNvPr>
            <p:cNvSpPr>
              <a:spLocks noEditPoints="1"/>
            </p:cNvSpPr>
            <p:nvPr/>
          </p:nvSpPr>
          <p:spPr bwMode="auto">
            <a:xfrm>
              <a:off x="5997575"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9" name="Freeform 40">
              <a:extLst>
                <a:ext uri="{FF2B5EF4-FFF2-40B4-BE49-F238E27FC236}">
                  <a16:creationId xmlns:a16="http://schemas.microsoft.com/office/drawing/2014/main" id="{3C0BF5D7-DB2F-4D9D-9524-E01D3BBCF5E3}"/>
                </a:ext>
              </a:extLst>
            </p:cNvPr>
            <p:cNvSpPr>
              <a:spLocks noEditPoints="1"/>
            </p:cNvSpPr>
            <p:nvPr/>
          </p:nvSpPr>
          <p:spPr bwMode="auto">
            <a:xfrm>
              <a:off x="5905500" y="1817688"/>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6" y="0"/>
                    <a:pt x="20" y="4"/>
                    <a:pt x="20" y="10"/>
                  </a:cubicBezTo>
                  <a:cubicBezTo>
                    <a:pt x="20" y="15"/>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0" name="Freeform 41">
              <a:extLst>
                <a:ext uri="{FF2B5EF4-FFF2-40B4-BE49-F238E27FC236}">
                  <a16:creationId xmlns:a16="http://schemas.microsoft.com/office/drawing/2014/main" id="{97984D8C-C49A-4093-9A50-D16937F5F6B0}"/>
                </a:ext>
              </a:extLst>
            </p:cNvPr>
            <p:cNvSpPr>
              <a:spLocks noEditPoints="1"/>
            </p:cNvSpPr>
            <p:nvPr/>
          </p:nvSpPr>
          <p:spPr bwMode="auto">
            <a:xfrm>
              <a:off x="5881688"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1" name="Freeform 42">
              <a:extLst>
                <a:ext uri="{FF2B5EF4-FFF2-40B4-BE49-F238E27FC236}">
                  <a16:creationId xmlns:a16="http://schemas.microsoft.com/office/drawing/2014/main" id="{6426F2FB-51FF-4FF6-81B5-62320E209BA8}"/>
                </a:ext>
              </a:extLst>
            </p:cNvPr>
            <p:cNvSpPr>
              <a:spLocks/>
            </p:cNvSpPr>
            <p:nvPr/>
          </p:nvSpPr>
          <p:spPr bwMode="auto">
            <a:xfrm>
              <a:off x="5819775" y="1763713"/>
              <a:ext cx="247650" cy="31750"/>
            </a:xfrm>
            <a:custGeom>
              <a:avLst/>
              <a:gdLst>
                <a:gd name="T0" fmla="*/ 62 w 64"/>
                <a:gd name="T1" fmla="*/ 8 h 8"/>
                <a:gd name="T2" fmla="*/ 60 w 64"/>
                <a:gd name="T3" fmla="*/ 6 h 8"/>
                <a:gd name="T4" fmla="*/ 60 w 64"/>
                <a:gd name="T5" fmla="*/ 4 h 8"/>
                <a:gd name="T6" fmla="*/ 4 w 64"/>
                <a:gd name="T7" fmla="*/ 4 h 8"/>
                <a:gd name="T8" fmla="*/ 4 w 64"/>
                <a:gd name="T9" fmla="*/ 6 h 8"/>
                <a:gd name="T10" fmla="*/ 2 w 64"/>
                <a:gd name="T11" fmla="*/ 8 h 8"/>
                <a:gd name="T12" fmla="*/ 0 w 64"/>
                <a:gd name="T13" fmla="*/ 6 h 8"/>
                <a:gd name="T14" fmla="*/ 0 w 64"/>
                <a:gd name="T15" fmla="*/ 2 h 8"/>
                <a:gd name="T16" fmla="*/ 2 w 64"/>
                <a:gd name="T17" fmla="*/ 0 h 8"/>
                <a:gd name="T18" fmla="*/ 62 w 64"/>
                <a:gd name="T19" fmla="*/ 0 h 8"/>
                <a:gd name="T20" fmla="*/ 64 w 64"/>
                <a:gd name="T21" fmla="*/ 2 h 8"/>
                <a:gd name="T22" fmla="*/ 64 w 64"/>
                <a:gd name="T23" fmla="*/ 6 h 8"/>
                <a:gd name="T24" fmla="*/ 62 w 64"/>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8">
                  <a:moveTo>
                    <a:pt x="62" y="8"/>
                  </a:moveTo>
                  <a:cubicBezTo>
                    <a:pt x="61" y="8"/>
                    <a:pt x="60" y="7"/>
                    <a:pt x="60" y="6"/>
                  </a:cubicBezTo>
                  <a:cubicBezTo>
                    <a:pt x="60" y="4"/>
                    <a:pt x="60" y="4"/>
                    <a:pt x="60"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62" y="0"/>
                    <a:pt x="62" y="0"/>
                    <a:pt x="62" y="0"/>
                  </a:cubicBezTo>
                  <a:cubicBezTo>
                    <a:pt x="63" y="0"/>
                    <a:pt x="64" y="1"/>
                    <a:pt x="64" y="2"/>
                  </a:cubicBezTo>
                  <a:cubicBezTo>
                    <a:pt x="64" y="6"/>
                    <a:pt x="64" y="6"/>
                    <a:pt x="64" y="6"/>
                  </a:cubicBezTo>
                  <a:cubicBezTo>
                    <a:pt x="64" y="7"/>
                    <a:pt x="63" y="8"/>
                    <a:pt x="6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2" name="Freeform 43">
              <a:extLst>
                <a:ext uri="{FF2B5EF4-FFF2-40B4-BE49-F238E27FC236}">
                  <a16:creationId xmlns:a16="http://schemas.microsoft.com/office/drawing/2014/main" id="{04532E59-BB8B-4F17-9FC9-D33CC420FDE1}"/>
                </a:ext>
              </a:extLst>
            </p:cNvPr>
            <p:cNvSpPr>
              <a:spLocks/>
            </p:cNvSpPr>
            <p:nvPr/>
          </p:nvSpPr>
          <p:spPr bwMode="auto">
            <a:xfrm>
              <a:off x="5935663" y="1733550"/>
              <a:ext cx="15875" cy="61913"/>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21" name="Group 84">
            <a:extLst>
              <a:ext uri="{FF2B5EF4-FFF2-40B4-BE49-F238E27FC236}">
                <a16:creationId xmlns:a16="http://schemas.microsoft.com/office/drawing/2014/main" id="{6D408CA8-F480-429E-8EE2-44ADD532C690}"/>
              </a:ext>
            </a:extLst>
          </p:cNvPr>
          <p:cNvGrpSpPr>
            <a:grpSpLocks noChangeAspect="1"/>
          </p:cNvGrpSpPr>
          <p:nvPr/>
        </p:nvGrpSpPr>
        <p:grpSpPr>
          <a:xfrm>
            <a:off x="1060622" y="4340505"/>
            <a:ext cx="317354" cy="285619"/>
            <a:chOff x="5464175" y="1958976"/>
            <a:chExt cx="285750" cy="257175"/>
          </a:xfrm>
          <a:solidFill>
            <a:schemeClr val="bg2"/>
          </a:solidFill>
          <a:effectLst/>
        </p:grpSpPr>
        <p:sp>
          <p:nvSpPr>
            <p:cNvPr id="522" name="Freeform 52">
              <a:extLst>
                <a:ext uri="{FF2B5EF4-FFF2-40B4-BE49-F238E27FC236}">
                  <a16:creationId xmlns:a16="http://schemas.microsoft.com/office/drawing/2014/main" id="{E1596A9A-E930-4DD9-B737-1D55AA8603EF}"/>
                </a:ext>
              </a:extLst>
            </p:cNvPr>
            <p:cNvSpPr>
              <a:spLocks noEditPoints="1"/>
            </p:cNvSpPr>
            <p:nvPr/>
          </p:nvSpPr>
          <p:spPr bwMode="auto">
            <a:xfrm>
              <a:off x="5464175" y="1958976"/>
              <a:ext cx="228600" cy="195263"/>
            </a:xfrm>
            <a:custGeom>
              <a:avLst/>
              <a:gdLst>
                <a:gd name="T0" fmla="*/ 369 w 721"/>
                <a:gd name="T1" fmla="*/ 421 h 615"/>
                <a:gd name="T2" fmla="*/ 241 w 721"/>
                <a:gd name="T3" fmla="*/ 561 h 615"/>
                <a:gd name="T4" fmla="*/ 240 w 721"/>
                <a:gd name="T5" fmla="*/ 429 h 615"/>
                <a:gd name="T6" fmla="*/ 234 w 721"/>
                <a:gd name="T7" fmla="*/ 422 h 615"/>
                <a:gd name="T8" fmla="*/ 226 w 721"/>
                <a:gd name="T9" fmla="*/ 420 h 615"/>
                <a:gd name="T10" fmla="*/ 138 w 721"/>
                <a:gd name="T11" fmla="*/ 417 h 615"/>
                <a:gd name="T12" fmla="*/ 100 w 721"/>
                <a:gd name="T13" fmla="*/ 406 h 615"/>
                <a:gd name="T14" fmla="*/ 68 w 721"/>
                <a:gd name="T15" fmla="*/ 386 h 615"/>
                <a:gd name="T16" fmla="*/ 46 w 721"/>
                <a:gd name="T17" fmla="*/ 359 h 615"/>
                <a:gd name="T18" fmla="*/ 33 w 721"/>
                <a:gd name="T19" fmla="*/ 325 h 615"/>
                <a:gd name="T20" fmla="*/ 30 w 721"/>
                <a:gd name="T21" fmla="*/ 164 h 615"/>
                <a:gd name="T22" fmla="*/ 36 w 721"/>
                <a:gd name="T23" fmla="*/ 124 h 615"/>
                <a:gd name="T24" fmla="*/ 53 w 721"/>
                <a:gd name="T25" fmla="*/ 88 h 615"/>
                <a:gd name="T26" fmla="*/ 79 w 721"/>
                <a:gd name="T27" fmla="*/ 59 h 615"/>
                <a:gd name="T28" fmla="*/ 112 w 721"/>
                <a:gd name="T29" fmla="*/ 40 h 615"/>
                <a:gd name="T30" fmla="*/ 152 w 721"/>
                <a:gd name="T31" fmla="*/ 30 h 615"/>
                <a:gd name="T32" fmla="*/ 556 w 721"/>
                <a:gd name="T33" fmla="*/ 30 h 615"/>
                <a:gd name="T34" fmla="*/ 598 w 721"/>
                <a:gd name="T35" fmla="*/ 40 h 615"/>
                <a:gd name="T36" fmla="*/ 636 w 721"/>
                <a:gd name="T37" fmla="*/ 61 h 615"/>
                <a:gd name="T38" fmla="*/ 664 w 721"/>
                <a:gd name="T39" fmla="*/ 89 h 615"/>
                <a:gd name="T40" fmla="*/ 684 w 721"/>
                <a:gd name="T41" fmla="*/ 125 h 615"/>
                <a:gd name="T42" fmla="*/ 691 w 721"/>
                <a:gd name="T43" fmla="*/ 164 h 615"/>
                <a:gd name="T44" fmla="*/ 688 w 721"/>
                <a:gd name="T45" fmla="*/ 311 h 615"/>
                <a:gd name="T46" fmla="*/ 672 w 721"/>
                <a:gd name="T47" fmla="*/ 347 h 615"/>
                <a:gd name="T48" fmla="*/ 646 w 721"/>
                <a:gd name="T49" fmla="*/ 379 h 615"/>
                <a:gd name="T50" fmla="*/ 611 w 721"/>
                <a:gd name="T51" fmla="*/ 403 h 615"/>
                <a:gd name="T52" fmla="*/ 570 w 721"/>
                <a:gd name="T53" fmla="*/ 417 h 615"/>
                <a:gd name="T54" fmla="*/ 376 w 721"/>
                <a:gd name="T55" fmla="*/ 420 h 615"/>
                <a:gd name="T56" fmla="*/ 720 w 721"/>
                <a:gd name="T57" fmla="*/ 148 h 615"/>
                <a:gd name="T58" fmla="*/ 706 w 721"/>
                <a:gd name="T59" fmla="*/ 101 h 615"/>
                <a:gd name="T60" fmla="*/ 678 w 721"/>
                <a:gd name="T61" fmla="*/ 61 h 615"/>
                <a:gd name="T62" fmla="*/ 640 w 721"/>
                <a:gd name="T63" fmla="*/ 28 h 615"/>
                <a:gd name="T64" fmla="*/ 593 w 721"/>
                <a:gd name="T65" fmla="*/ 7 h 615"/>
                <a:gd name="T66" fmla="*/ 541 w 721"/>
                <a:gd name="T67" fmla="*/ 0 h 615"/>
                <a:gd name="T68" fmla="*/ 132 w 721"/>
                <a:gd name="T69" fmla="*/ 3 h 615"/>
                <a:gd name="T70" fmla="*/ 87 w 721"/>
                <a:gd name="T71" fmla="*/ 19 h 615"/>
                <a:gd name="T72" fmla="*/ 48 w 721"/>
                <a:gd name="T73" fmla="*/ 47 h 615"/>
                <a:gd name="T74" fmla="*/ 20 w 721"/>
                <a:gd name="T75" fmla="*/ 85 h 615"/>
                <a:gd name="T76" fmla="*/ 3 w 721"/>
                <a:gd name="T77" fmla="*/ 131 h 615"/>
                <a:gd name="T78" fmla="*/ 0 w 721"/>
                <a:gd name="T79" fmla="*/ 299 h 615"/>
                <a:gd name="T80" fmla="*/ 7 w 721"/>
                <a:gd name="T81" fmla="*/ 345 h 615"/>
                <a:gd name="T82" fmla="*/ 28 w 721"/>
                <a:gd name="T83" fmla="*/ 385 h 615"/>
                <a:gd name="T84" fmla="*/ 59 w 721"/>
                <a:gd name="T85" fmla="*/ 417 h 615"/>
                <a:gd name="T86" fmla="*/ 101 w 721"/>
                <a:gd name="T87" fmla="*/ 438 h 615"/>
                <a:gd name="T88" fmla="*/ 149 w 721"/>
                <a:gd name="T89" fmla="*/ 449 h 615"/>
                <a:gd name="T90" fmla="*/ 211 w 721"/>
                <a:gd name="T91" fmla="*/ 600 h 615"/>
                <a:gd name="T92" fmla="*/ 216 w 721"/>
                <a:gd name="T93" fmla="*/ 612 h 615"/>
                <a:gd name="T94" fmla="*/ 226 w 721"/>
                <a:gd name="T95" fmla="*/ 615 h 615"/>
                <a:gd name="T96" fmla="*/ 234 w 721"/>
                <a:gd name="T97" fmla="*/ 612 h 615"/>
                <a:gd name="T98" fmla="*/ 541 w 721"/>
                <a:gd name="T99" fmla="*/ 450 h 615"/>
                <a:gd name="T100" fmla="*/ 593 w 721"/>
                <a:gd name="T101" fmla="*/ 442 h 615"/>
                <a:gd name="T102" fmla="*/ 640 w 721"/>
                <a:gd name="T103" fmla="*/ 420 h 615"/>
                <a:gd name="T104" fmla="*/ 678 w 721"/>
                <a:gd name="T105" fmla="*/ 388 h 615"/>
                <a:gd name="T106" fmla="*/ 706 w 721"/>
                <a:gd name="T107" fmla="*/ 347 h 615"/>
                <a:gd name="T108" fmla="*/ 720 w 721"/>
                <a:gd name="T109" fmla="*/ 301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1" h="615">
                  <a:moveTo>
                    <a:pt x="376" y="420"/>
                  </a:moveTo>
                  <a:lnTo>
                    <a:pt x="372" y="420"/>
                  </a:lnTo>
                  <a:lnTo>
                    <a:pt x="369" y="421"/>
                  </a:lnTo>
                  <a:lnTo>
                    <a:pt x="366" y="422"/>
                  </a:lnTo>
                  <a:lnTo>
                    <a:pt x="364" y="424"/>
                  </a:lnTo>
                  <a:lnTo>
                    <a:pt x="241" y="561"/>
                  </a:lnTo>
                  <a:lnTo>
                    <a:pt x="241" y="435"/>
                  </a:lnTo>
                  <a:lnTo>
                    <a:pt x="241" y="432"/>
                  </a:lnTo>
                  <a:lnTo>
                    <a:pt x="240" y="429"/>
                  </a:lnTo>
                  <a:lnTo>
                    <a:pt x="239" y="427"/>
                  </a:lnTo>
                  <a:lnTo>
                    <a:pt x="236" y="424"/>
                  </a:lnTo>
                  <a:lnTo>
                    <a:pt x="234" y="422"/>
                  </a:lnTo>
                  <a:lnTo>
                    <a:pt x="231" y="421"/>
                  </a:lnTo>
                  <a:lnTo>
                    <a:pt x="229" y="420"/>
                  </a:lnTo>
                  <a:lnTo>
                    <a:pt x="226" y="420"/>
                  </a:lnTo>
                  <a:lnTo>
                    <a:pt x="167" y="420"/>
                  </a:lnTo>
                  <a:lnTo>
                    <a:pt x="152" y="419"/>
                  </a:lnTo>
                  <a:lnTo>
                    <a:pt x="138" y="417"/>
                  </a:lnTo>
                  <a:lnTo>
                    <a:pt x="124" y="415"/>
                  </a:lnTo>
                  <a:lnTo>
                    <a:pt x="111" y="410"/>
                  </a:lnTo>
                  <a:lnTo>
                    <a:pt x="100" y="406"/>
                  </a:lnTo>
                  <a:lnTo>
                    <a:pt x="89" y="401"/>
                  </a:lnTo>
                  <a:lnTo>
                    <a:pt x="78" y="393"/>
                  </a:lnTo>
                  <a:lnTo>
                    <a:pt x="68" y="386"/>
                  </a:lnTo>
                  <a:lnTo>
                    <a:pt x="60" y="377"/>
                  </a:lnTo>
                  <a:lnTo>
                    <a:pt x="52" y="369"/>
                  </a:lnTo>
                  <a:lnTo>
                    <a:pt x="46" y="359"/>
                  </a:lnTo>
                  <a:lnTo>
                    <a:pt x="41" y="348"/>
                  </a:lnTo>
                  <a:lnTo>
                    <a:pt x="36" y="337"/>
                  </a:lnTo>
                  <a:lnTo>
                    <a:pt x="33" y="325"/>
                  </a:lnTo>
                  <a:lnTo>
                    <a:pt x="31" y="313"/>
                  </a:lnTo>
                  <a:lnTo>
                    <a:pt x="30" y="299"/>
                  </a:lnTo>
                  <a:lnTo>
                    <a:pt x="30" y="164"/>
                  </a:lnTo>
                  <a:lnTo>
                    <a:pt x="31" y="150"/>
                  </a:lnTo>
                  <a:lnTo>
                    <a:pt x="33" y="137"/>
                  </a:lnTo>
                  <a:lnTo>
                    <a:pt x="36" y="124"/>
                  </a:lnTo>
                  <a:lnTo>
                    <a:pt x="41" y="111"/>
                  </a:lnTo>
                  <a:lnTo>
                    <a:pt x="46" y="99"/>
                  </a:lnTo>
                  <a:lnTo>
                    <a:pt x="53" y="88"/>
                  </a:lnTo>
                  <a:lnTo>
                    <a:pt x="61" y="78"/>
                  </a:lnTo>
                  <a:lnTo>
                    <a:pt x="70" y="68"/>
                  </a:lnTo>
                  <a:lnTo>
                    <a:pt x="79" y="59"/>
                  </a:lnTo>
                  <a:lnTo>
                    <a:pt x="90" y="52"/>
                  </a:lnTo>
                  <a:lnTo>
                    <a:pt x="101" y="46"/>
                  </a:lnTo>
                  <a:lnTo>
                    <a:pt x="112" y="40"/>
                  </a:lnTo>
                  <a:lnTo>
                    <a:pt x="125" y="35"/>
                  </a:lnTo>
                  <a:lnTo>
                    <a:pt x="138" y="32"/>
                  </a:lnTo>
                  <a:lnTo>
                    <a:pt x="152" y="30"/>
                  </a:lnTo>
                  <a:lnTo>
                    <a:pt x="166" y="30"/>
                  </a:lnTo>
                  <a:lnTo>
                    <a:pt x="541" y="30"/>
                  </a:lnTo>
                  <a:lnTo>
                    <a:pt x="556" y="30"/>
                  </a:lnTo>
                  <a:lnTo>
                    <a:pt x="570" y="32"/>
                  </a:lnTo>
                  <a:lnTo>
                    <a:pt x="584" y="36"/>
                  </a:lnTo>
                  <a:lnTo>
                    <a:pt x="598" y="40"/>
                  </a:lnTo>
                  <a:lnTo>
                    <a:pt x="611" y="46"/>
                  </a:lnTo>
                  <a:lnTo>
                    <a:pt x="624" y="53"/>
                  </a:lnTo>
                  <a:lnTo>
                    <a:pt x="636" y="61"/>
                  </a:lnTo>
                  <a:lnTo>
                    <a:pt x="646" y="70"/>
                  </a:lnTo>
                  <a:lnTo>
                    <a:pt x="656" y="80"/>
                  </a:lnTo>
                  <a:lnTo>
                    <a:pt x="664" y="89"/>
                  </a:lnTo>
                  <a:lnTo>
                    <a:pt x="672" y="101"/>
                  </a:lnTo>
                  <a:lnTo>
                    <a:pt x="679" y="113"/>
                  </a:lnTo>
                  <a:lnTo>
                    <a:pt x="684" y="125"/>
                  </a:lnTo>
                  <a:lnTo>
                    <a:pt x="688" y="138"/>
                  </a:lnTo>
                  <a:lnTo>
                    <a:pt x="690" y="152"/>
                  </a:lnTo>
                  <a:lnTo>
                    <a:pt x="691" y="164"/>
                  </a:lnTo>
                  <a:lnTo>
                    <a:pt x="691" y="284"/>
                  </a:lnTo>
                  <a:lnTo>
                    <a:pt x="690" y="298"/>
                  </a:lnTo>
                  <a:lnTo>
                    <a:pt x="688" y="311"/>
                  </a:lnTo>
                  <a:lnTo>
                    <a:pt x="684" y="324"/>
                  </a:lnTo>
                  <a:lnTo>
                    <a:pt x="679" y="336"/>
                  </a:lnTo>
                  <a:lnTo>
                    <a:pt x="672" y="347"/>
                  </a:lnTo>
                  <a:lnTo>
                    <a:pt x="664" y="359"/>
                  </a:lnTo>
                  <a:lnTo>
                    <a:pt x="656" y="370"/>
                  </a:lnTo>
                  <a:lnTo>
                    <a:pt x="646" y="379"/>
                  </a:lnTo>
                  <a:lnTo>
                    <a:pt x="636" y="388"/>
                  </a:lnTo>
                  <a:lnTo>
                    <a:pt x="624" y="395"/>
                  </a:lnTo>
                  <a:lnTo>
                    <a:pt x="611" y="403"/>
                  </a:lnTo>
                  <a:lnTo>
                    <a:pt x="598" y="408"/>
                  </a:lnTo>
                  <a:lnTo>
                    <a:pt x="584" y="414"/>
                  </a:lnTo>
                  <a:lnTo>
                    <a:pt x="570" y="417"/>
                  </a:lnTo>
                  <a:lnTo>
                    <a:pt x="556" y="419"/>
                  </a:lnTo>
                  <a:lnTo>
                    <a:pt x="541" y="420"/>
                  </a:lnTo>
                  <a:lnTo>
                    <a:pt x="376" y="420"/>
                  </a:lnTo>
                  <a:close/>
                  <a:moveTo>
                    <a:pt x="721" y="284"/>
                  </a:moveTo>
                  <a:lnTo>
                    <a:pt x="721" y="164"/>
                  </a:lnTo>
                  <a:lnTo>
                    <a:pt x="720" y="148"/>
                  </a:lnTo>
                  <a:lnTo>
                    <a:pt x="717" y="132"/>
                  </a:lnTo>
                  <a:lnTo>
                    <a:pt x="713" y="116"/>
                  </a:lnTo>
                  <a:lnTo>
                    <a:pt x="706" y="101"/>
                  </a:lnTo>
                  <a:lnTo>
                    <a:pt x="699" y="87"/>
                  </a:lnTo>
                  <a:lnTo>
                    <a:pt x="689" y="73"/>
                  </a:lnTo>
                  <a:lnTo>
                    <a:pt x="678" y="61"/>
                  </a:lnTo>
                  <a:lnTo>
                    <a:pt x="667" y="49"/>
                  </a:lnTo>
                  <a:lnTo>
                    <a:pt x="654" y="38"/>
                  </a:lnTo>
                  <a:lnTo>
                    <a:pt x="640" y="28"/>
                  </a:lnTo>
                  <a:lnTo>
                    <a:pt x="625" y="20"/>
                  </a:lnTo>
                  <a:lnTo>
                    <a:pt x="610" y="12"/>
                  </a:lnTo>
                  <a:lnTo>
                    <a:pt x="593" y="7"/>
                  </a:lnTo>
                  <a:lnTo>
                    <a:pt x="577" y="3"/>
                  </a:lnTo>
                  <a:lnTo>
                    <a:pt x="559" y="1"/>
                  </a:lnTo>
                  <a:lnTo>
                    <a:pt x="541" y="0"/>
                  </a:lnTo>
                  <a:lnTo>
                    <a:pt x="166" y="0"/>
                  </a:lnTo>
                  <a:lnTo>
                    <a:pt x="149" y="0"/>
                  </a:lnTo>
                  <a:lnTo>
                    <a:pt x="132" y="3"/>
                  </a:lnTo>
                  <a:lnTo>
                    <a:pt x="116" y="6"/>
                  </a:lnTo>
                  <a:lnTo>
                    <a:pt x="101" y="12"/>
                  </a:lnTo>
                  <a:lnTo>
                    <a:pt x="87" y="19"/>
                  </a:lnTo>
                  <a:lnTo>
                    <a:pt x="73" y="27"/>
                  </a:lnTo>
                  <a:lnTo>
                    <a:pt x="60" y="36"/>
                  </a:lnTo>
                  <a:lnTo>
                    <a:pt x="48" y="47"/>
                  </a:lnTo>
                  <a:lnTo>
                    <a:pt x="37" y="58"/>
                  </a:lnTo>
                  <a:lnTo>
                    <a:pt x="28" y="71"/>
                  </a:lnTo>
                  <a:lnTo>
                    <a:pt x="20" y="85"/>
                  </a:lnTo>
                  <a:lnTo>
                    <a:pt x="13" y="99"/>
                  </a:lnTo>
                  <a:lnTo>
                    <a:pt x="7" y="115"/>
                  </a:lnTo>
                  <a:lnTo>
                    <a:pt x="3" y="131"/>
                  </a:lnTo>
                  <a:lnTo>
                    <a:pt x="1" y="147"/>
                  </a:lnTo>
                  <a:lnTo>
                    <a:pt x="0" y="164"/>
                  </a:lnTo>
                  <a:lnTo>
                    <a:pt x="0" y="299"/>
                  </a:lnTo>
                  <a:lnTo>
                    <a:pt x="1" y="315"/>
                  </a:lnTo>
                  <a:lnTo>
                    <a:pt x="3" y="331"/>
                  </a:lnTo>
                  <a:lnTo>
                    <a:pt x="7" y="345"/>
                  </a:lnTo>
                  <a:lnTo>
                    <a:pt x="13" y="360"/>
                  </a:lnTo>
                  <a:lnTo>
                    <a:pt x="19" y="373"/>
                  </a:lnTo>
                  <a:lnTo>
                    <a:pt x="28" y="385"/>
                  </a:lnTo>
                  <a:lnTo>
                    <a:pt x="37" y="397"/>
                  </a:lnTo>
                  <a:lnTo>
                    <a:pt x="47" y="407"/>
                  </a:lnTo>
                  <a:lnTo>
                    <a:pt x="59" y="417"/>
                  </a:lnTo>
                  <a:lnTo>
                    <a:pt x="72" y="425"/>
                  </a:lnTo>
                  <a:lnTo>
                    <a:pt x="86" y="433"/>
                  </a:lnTo>
                  <a:lnTo>
                    <a:pt x="101" y="438"/>
                  </a:lnTo>
                  <a:lnTo>
                    <a:pt x="116" y="444"/>
                  </a:lnTo>
                  <a:lnTo>
                    <a:pt x="132" y="447"/>
                  </a:lnTo>
                  <a:lnTo>
                    <a:pt x="149" y="449"/>
                  </a:lnTo>
                  <a:lnTo>
                    <a:pt x="167" y="450"/>
                  </a:lnTo>
                  <a:lnTo>
                    <a:pt x="211" y="450"/>
                  </a:lnTo>
                  <a:lnTo>
                    <a:pt x="211" y="600"/>
                  </a:lnTo>
                  <a:lnTo>
                    <a:pt x="211" y="604"/>
                  </a:lnTo>
                  <a:lnTo>
                    <a:pt x="213" y="608"/>
                  </a:lnTo>
                  <a:lnTo>
                    <a:pt x="216" y="612"/>
                  </a:lnTo>
                  <a:lnTo>
                    <a:pt x="220" y="614"/>
                  </a:lnTo>
                  <a:lnTo>
                    <a:pt x="223" y="615"/>
                  </a:lnTo>
                  <a:lnTo>
                    <a:pt x="226" y="615"/>
                  </a:lnTo>
                  <a:lnTo>
                    <a:pt x="229" y="615"/>
                  </a:lnTo>
                  <a:lnTo>
                    <a:pt x="232" y="614"/>
                  </a:lnTo>
                  <a:lnTo>
                    <a:pt x="234" y="612"/>
                  </a:lnTo>
                  <a:lnTo>
                    <a:pt x="236" y="610"/>
                  </a:lnTo>
                  <a:lnTo>
                    <a:pt x="382" y="450"/>
                  </a:lnTo>
                  <a:lnTo>
                    <a:pt x="541" y="450"/>
                  </a:lnTo>
                  <a:lnTo>
                    <a:pt x="559" y="449"/>
                  </a:lnTo>
                  <a:lnTo>
                    <a:pt x="577" y="446"/>
                  </a:lnTo>
                  <a:lnTo>
                    <a:pt x="593" y="442"/>
                  </a:lnTo>
                  <a:lnTo>
                    <a:pt x="610" y="436"/>
                  </a:lnTo>
                  <a:lnTo>
                    <a:pt x="625" y="429"/>
                  </a:lnTo>
                  <a:lnTo>
                    <a:pt x="640" y="420"/>
                  </a:lnTo>
                  <a:lnTo>
                    <a:pt x="654" y="410"/>
                  </a:lnTo>
                  <a:lnTo>
                    <a:pt x="667" y="400"/>
                  </a:lnTo>
                  <a:lnTo>
                    <a:pt x="678" y="388"/>
                  </a:lnTo>
                  <a:lnTo>
                    <a:pt x="689" y="375"/>
                  </a:lnTo>
                  <a:lnTo>
                    <a:pt x="699" y="362"/>
                  </a:lnTo>
                  <a:lnTo>
                    <a:pt x="706" y="347"/>
                  </a:lnTo>
                  <a:lnTo>
                    <a:pt x="713" y="332"/>
                  </a:lnTo>
                  <a:lnTo>
                    <a:pt x="717" y="317"/>
                  </a:lnTo>
                  <a:lnTo>
                    <a:pt x="720" y="301"/>
                  </a:lnTo>
                  <a:lnTo>
                    <a:pt x="721" y="284"/>
                  </a:lnTo>
                  <a:lnTo>
                    <a:pt x="721"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23" name="Freeform 53">
              <a:extLst>
                <a:ext uri="{FF2B5EF4-FFF2-40B4-BE49-F238E27FC236}">
                  <a16:creationId xmlns:a16="http://schemas.microsoft.com/office/drawing/2014/main" id="{E9092C57-4C0E-4542-9F07-C6E56A5F8245}"/>
                </a:ext>
              </a:extLst>
            </p:cNvPr>
            <p:cNvSpPr>
              <a:spLocks/>
            </p:cNvSpPr>
            <p:nvPr/>
          </p:nvSpPr>
          <p:spPr bwMode="auto">
            <a:xfrm>
              <a:off x="5597525" y="2087563"/>
              <a:ext cx="152400" cy="128588"/>
            </a:xfrm>
            <a:custGeom>
              <a:avLst/>
              <a:gdLst>
                <a:gd name="T0" fmla="*/ 479 w 481"/>
                <a:gd name="T1" fmla="*/ 84 h 406"/>
                <a:gd name="T2" fmla="*/ 468 w 481"/>
                <a:gd name="T3" fmla="*/ 55 h 406"/>
                <a:gd name="T4" fmla="*/ 450 w 481"/>
                <a:gd name="T5" fmla="*/ 30 h 406"/>
                <a:gd name="T6" fmla="*/ 426 w 481"/>
                <a:gd name="T7" fmla="*/ 12 h 406"/>
                <a:gd name="T8" fmla="*/ 396 w 481"/>
                <a:gd name="T9" fmla="*/ 2 h 406"/>
                <a:gd name="T10" fmla="*/ 372 w 481"/>
                <a:gd name="T11" fmla="*/ 0 h 406"/>
                <a:gd name="T12" fmla="*/ 364 w 481"/>
                <a:gd name="T13" fmla="*/ 4 h 406"/>
                <a:gd name="T14" fmla="*/ 360 w 481"/>
                <a:gd name="T15" fmla="*/ 12 h 406"/>
                <a:gd name="T16" fmla="*/ 361 w 481"/>
                <a:gd name="T17" fmla="*/ 20 h 406"/>
                <a:gd name="T18" fmla="*/ 367 w 481"/>
                <a:gd name="T19" fmla="*/ 27 h 406"/>
                <a:gd name="T20" fmla="*/ 375 w 481"/>
                <a:gd name="T21" fmla="*/ 30 h 406"/>
                <a:gd name="T22" fmla="*/ 399 w 481"/>
                <a:gd name="T23" fmla="*/ 33 h 406"/>
                <a:gd name="T24" fmla="*/ 418 w 481"/>
                <a:gd name="T25" fmla="*/ 42 h 406"/>
                <a:gd name="T26" fmla="*/ 434 w 481"/>
                <a:gd name="T27" fmla="*/ 57 h 406"/>
                <a:gd name="T28" fmla="*/ 445 w 481"/>
                <a:gd name="T29" fmla="*/ 75 h 406"/>
                <a:gd name="T30" fmla="*/ 450 w 481"/>
                <a:gd name="T31" fmla="*/ 98 h 406"/>
                <a:gd name="T32" fmla="*/ 451 w 481"/>
                <a:gd name="T33" fmla="*/ 183 h 406"/>
                <a:gd name="T34" fmla="*/ 445 w 481"/>
                <a:gd name="T35" fmla="*/ 206 h 406"/>
                <a:gd name="T36" fmla="*/ 433 w 481"/>
                <a:gd name="T37" fmla="*/ 226 h 406"/>
                <a:gd name="T38" fmla="*/ 416 w 481"/>
                <a:gd name="T39" fmla="*/ 242 h 406"/>
                <a:gd name="T40" fmla="*/ 394 w 481"/>
                <a:gd name="T41" fmla="*/ 252 h 406"/>
                <a:gd name="T42" fmla="*/ 371 w 481"/>
                <a:gd name="T43" fmla="*/ 255 h 406"/>
                <a:gd name="T44" fmla="*/ 310 w 481"/>
                <a:gd name="T45" fmla="*/ 256 h 406"/>
                <a:gd name="T46" fmla="*/ 302 w 481"/>
                <a:gd name="T47" fmla="*/ 261 h 406"/>
                <a:gd name="T48" fmla="*/ 300 w 481"/>
                <a:gd name="T49" fmla="*/ 270 h 406"/>
                <a:gd name="T50" fmla="*/ 204 w 481"/>
                <a:gd name="T51" fmla="*/ 257 h 406"/>
                <a:gd name="T52" fmla="*/ 195 w 481"/>
                <a:gd name="T53" fmla="*/ 255 h 406"/>
                <a:gd name="T54" fmla="*/ 89 w 481"/>
                <a:gd name="T55" fmla="*/ 254 h 406"/>
                <a:gd name="T56" fmla="*/ 68 w 481"/>
                <a:gd name="T57" fmla="*/ 246 h 406"/>
                <a:gd name="T58" fmla="*/ 51 w 481"/>
                <a:gd name="T59" fmla="*/ 234 h 406"/>
                <a:gd name="T60" fmla="*/ 38 w 481"/>
                <a:gd name="T61" fmla="*/ 217 h 406"/>
                <a:gd name="T62" fmla="*/ 32 w 481"/>
                <a:gd name="T63" fmla="*/ 196 h 406"/>
                <a:gd name="T64" fmla="*/ 29 w 481"/>
                <a:gd name="T65" fmla="*/ 177 h 406"/>
                <a:gd name="T66" fmla="*/ 25 w 481"/>
                <a:gd name="T67" fmla="*/ 169 h 406"/>
                <a:gd name="T68" fmla="*/ 18 w 481"/>
                <a:gd name="T69" fmla="*/ 165 h 406"/>
                <a:gd name="T70" fmla="*/ 9 w 481"/>
                <a:gd name="T71" fmla="*/ 166 h 406"/>
                <a:gd name="T72" fmla="*/ 3 w 481"/>
                <a:gd name="T73" fmla="*/ 171 h 406"/>
                <a:gd name="T74" fmla="*/ 0 w 481"/>
                <a:gd name="T75" fmla="*/ 180 h 406"/>
                <a:gd name="T76" fmla="*/ 5 w 481"/>
                <a:gd name="T77" fmla="*/ 212 h 406"/>
                <a:gd name="T78" fmla="*/ 17 w 481"/>
                <a:gd name="T79" fmla="*/ 240 h 406"/>
                <a:gd name="T80" fmla="*/ 37 w 481"/>
                <a:gd name="T81" fmla="*/ 262 h 406"/>
                <a:gd name="T82" fmla="*/ 63 w 481"/>
                <a:gd name="T83" fmla="*/ 277 h 406"/>
                <a:gd name="T84" fmla="*/ 94 w 481"/>
                <a:gd name="T85" fmla="*/ 285 h 406"/>
                <a:gd name="T86" fmla="*/ 304 w 481"/>
                <a:gd name="T87" fmla="*/ 400 h 406"/>
                <a:gd name="T88" fmla="*/ 312 w 481"/>
                <a:gd name="T89" fmla="*/ 405 h 406"/>
                <a:gd name="T90" fmla="*/ 321 w 481"/>
                <a:gd name="T91" fmla="*/ 404 h 406"/>
                <a:gd name="T92" fmla="*/ 329 w 481"/>
                <a:gd name="T93" fmla="*/ 395 h 406"/>
                <a:gd name="T94" fmla="*/ 371 w 481"/>
                <a:gd name="T95" fmla="*/ 285 h 406"/>
                <a:gd name="T96" fmla="*/ 403 w 481"/>
                <a:gd name="T97" fmla="*/ 280 h 406"/>
                <a:gd name="T98" fmla="*/ 433 w 481"/>
                <a:gd name="T99" fmla="*/ 267 h 406"/>
                <a:gd name="T100" fmla="*/ 456 w 481"/>
                <a:gd name="T101" fmla="*/ 244 h 406"/>
                <a:gd name="T102" fmla="*/ 472 w 481"/>
                <a:gd name="T103" fmla="*/ 216 h 406"/>
                <a:gd name="T104" fmla="*/ 481 w 481"/>
                <a:gd name="T105"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1" h="406">
                  <a:moveTo>
                    <a:pt x="480" y="105"/>
                  </a:moveTo>
                  <a:lnTo>
                    <a:pt x="480" y="94"/>
                  </a:lnTo>
                  <a:lnTo>
                    <a:pt x="479" y="84"/>
                  </a:lnTo>
                  <a:lnTo>
                    <a:pt x="476" y="73"/>
                  </a:lnTo>
                  <a:lnTo>
                    <a:pt x="472" y="63"/>
                  </a:lnTo>
                  <a:lnTo>
                    <a:pt x="468" y="55"/>
                  </a:lnTo>
                  <a:lnTo>
                    <a:pt x="463" y="45"/>
                  </a:lnTo>
                  <a:lnTo>
                    <a:pt x="457" y="38"/>
                  </a:lnTo>
                  <a:lnTo>
                    <a:pt x="450" y="30"/>
                  </a:lnTo>
                  <a:lnTo>
                    <a:pt x="442" y="24"/>
                  </a:lnTo>
                  <a:lnTo>
                    <a:pt x="435" y="17"/>
                  </a:lnTo>
                  <a:lnTo>
                    <a:pt x="426" y="12"/>
                  </a:lnTo>
                  <a:lnTo>
                    <a:pt x="417" y="8"/>
                  </a:lnTo>
                  <a:lnTo>
                    <a:pt x="407" y="4"/>
                  </a:lnTo>
                  <a:lnTo>
                    <a:pt x="396" y="2"/>
                  </a:lnTo>
                  <a:lnTo>
                    <a:pt x="387" y="0"/>
                  </a:lnTo>
                  <a:lnTo>
                    <a:pt x="375" y="0"/>
                  </a:lnTo>
                  <a:lnTo>
                    <a:pt x="372" y="0"/>
                  </a:lnTo>
                  <a:lnTo>
                    <a:pt x="370" y="1"/>
                  </a:lnTo>
                  <a:lnTo>
                    <a:pt x="367" y="2"/>
                  </a:lnTo>
                  <a:lnTo>
                    <a:pt x="364" y="4"/>
                  </a:lnTo>
                  <a:lnTo>
                    <a:pt x="363" y="7"/>
                  </a:lnTo>
                  <a:lnTo>
                    <a:pt x="361" y="9"/>
                  </a:lnTo>
                  <a:lnTo>
                    <a:pt x="360" y="12"/>
                  </a:lnTo>
                  <a:lnTo>
                    <a:pt x="360" y="15"/>
                  </a:lnTo>
                  <a:lnTo>
                    <a:pt x="360" y="17"/>
                  </a:lnTo>
                  <a:lnTo>
                    <a:pt x="361" y="20"/>
                  </a:lnTo>
                  <a:lnTo>
                    <a:pt x="363" y="23"/>
                  </a:lnTo>
                  <a:lnTo>
                    <a:pt x="364" y="26"/>
                  </a:lnTo>
                  <a:lnTo>
                    <a:pt x="367" y="27"/>
                  </a:lnTo>
                  <a:lnTo>
                    <a:pt x="370" y="29"/>
                  </a:lnTo>
                  <a:lnTo>
                    <a:pt x="372" y="29"/>
                  </a:lnTo>
                  <a:lnTo>
                    <a:pt x="375" y="30"/>
                  </a:lnTo>
                  <a:lnTo>
                    <a:pt x="384" y="30"/>
                  </a:lnTo>
                  <a:lnTo>
                    <a:pt x="391" y="31"/>
                  </a:lnTo>
                  <a:lnTo>
                    <a:pt x="399" y="33"/>
                  </a:lnTo>
                  <a:lnTo>
                    <a:pt x="405" y="35"/>
                  </a:lnTo>
                  <a:lnTo>
                    <a:pt x="413" y="39"/>
                  </a:lnTo>
                  <a:lnTo>
                    <a:pt x="418" y="42"/>
                  </a:lnTo>
                  <a:lnTo>
                    <a:pt x="424" y="46"/>
                  </a:lnTo>
                  <a:lnTo>
                    <a:pt x="430" y="51"/>
                  </a:lnTo>
                  <a:lnTo>
                    <a:pt x="434" y="57"/>
                  </a:lnTo>
                  <a:lnTo>
                    <a:pt x="438" y="62"/>
                  </a:lnTo>
                  <a:lnTo>
                    <a:pt x="441" y="69"/>
                  </a:lnTo>
                  <a:lnTo>
                    <a:pt x="445" y="75"/>
                  </a:lnTo>
                  <a:lnTo>
                    <a:pt x="447" y="83"/>
                  </a:lnTo>
                  <a:lnTo>
                    <a:pt x="449" y="90"/>
                  </a:lnTo>
                  <a:lnTo>
                    <a:pt x="450" y="98"/>
                  </a:lnTo>
                  <a:lnTo>
                    <a:pt x="450" y="106"/>
                  </a:lnTo>
                  <a:lnTo>
                    <a:pt x="451" y="175"/>
                  </a:lnTo>
                  <a:lnTo>
                    <a:pt x="451" y="183"/>
                  </a:lnTo>
                  <a:lnTo>
                    <a:pt x="450" y="191"/>
                  </a:lnTo>
                  <a:lnTo>
                    <a:pt x="448" y="198"/>
                  </a:lnTo>
                  <a:lnTo>
                    <a:pt x="445" y="206"/>
                  </a:lnTo>
                  <a:lnTo>
                    <a:pt x="441" y="212"/>
                  </a:lnTo>
                  <a:lnTo>
                    <a:pt x="438" y="219"/>
                  </a:lnTo>
                  <a:lnTo>
                    <a:pt x="433" y="226"/>
                  </a:lnTo>
                  <a:lnTo>
                    <a:pt x="428" y="231"/>
                  </a:lnTo>
                  <a:lnTo>
                    <a:pt x="422" y="237"/>
                  </a:lnTo>
                  <a:lnTo>
                    <a:pt x="416" y="242"/>
                  </a:lnTo>
                  <a:lnTo>
                    <a:pt x="409" y="245"/>
                  </a:lnTo>
                  <a:lnTo>
                    <a:pt x="402" y="249"/>
                  </a:lnTo>
                  <a:lnTo>
                    <a:pt x="394" y="252"/>
                  </a:lnTo>
                  <a:lnTo>
                    <a:pt x="387" y="254"/>
                  </a:lnTo>
                  <a:lnTo>
                    <a:pt x="379" y="255"/>
                  </a:lnTo>
                  <a:lnTo>
                    <a:pt x="371" y="255"/>
                  </a:lnTo>
                  <a:lnTo>
                    <a:pt x="315" y="255"/>
                  </a:lnTo>
                  <a:lnTo>
                    <a:pt x="312" y="255"/>
                  </a:lnTo>
                  <a:lnTo>
                    <a:pt x="310" y="256"/>
                  </a:lnTo>
                  <a:lnTo>
                    <a:pt x="307" y="258"/>
                  </a:lnTo>
                  <a:lnTo>
                    <a:pt x="304" y="259"/>
                  </a:lnTo>
                  <a:lnTo>
                    <a:pt x="302" y="261"/>
                  </a:lnTo>
                  <a:lnTo>
                    <a:pt x="301" y="264"/>
                  </a:lnTo>
                  <a:lnTo>
                    <a:pt x="300" y="267"/>
                  </a:lnTo>
                  <a:lnTo>
                    <a:pt x="300" y="270"/>
                  </a:lnTo>
                  <a:lnTo>
                    <a:pt x="300" y="353"/>
                  </a:lnTo>
                  <a:lnTo>
                    <a:pt x="206" y="259"/>
                  </a:lnTo>
                  <a:lnTo>
                    <a:pt x="204" y="257"/>
                  </a:lnTo>
                  <a:lnTo>
                    <a:pt x="201" y="256"/>
                  </a:lnTo>
                  <a:lnTo>
                    <a:pt x="199" y="255"/>
                  </a:lnTo>
                  <a:lnTo>
                    <a:pt x="195" y="255"/>
                  </a:lnTo>
                  <a:lnTo>
                    <a:pt x="105" y="255"/>
                  </a:lnTo>
                  <a:lnTo>
                    <a:pt x="97" y="255"/>
                  </a:lnTo>
                  <a:lnTo>
                    <a:pt x="89" y="254"/>
                  </a:lnTo>
                  <a:lnTo>
                    <a:pt x="82" y="252"/>
                  </a:lnTo>
                  <a:lnTo>
                    <a:pt x="74" y="249"/>
                  </a:lnTo>
                  <a:lnTo>
                    <a:pt x="68" y="246"/>
                  </a:lnTo>
                  <a:lnTo>
                    <a:pt x="62" y="243"/>
                  </a:lnTo>
                  <a:lnTo>
                    <a:pt x="56" y="239"/>
                  </a:lnTo>
                  <a:lnTo>
                    <a:pt x="51" y="234"/>
                  </a:lnTo>
                  <a:lnTo>
                    <a:pt x="47" y="229"/>
                  </a:lnTo>
                  <a:lnTo>
                    <a:pt x="42" y="223"/>
                  </a:lnTo>
                  <a:lnTo>
                    <a:pt x="38" y="217"/>
                  </a:lnTo>
                  <a:lnTo>
                    <a:pt x="36" y="210"/>
                  </a:lnTo>
                  <a:lnTo>
                    <a:pt x="33" y="203"/>
                  </a:lnTo>
                  <a:lnTo>
                    <a:pt x="32" y="196"/>
                  </a:lnTo>
                  <a:lnTo>
                    <a:pt x="31" y="188"/>
                  </a:lnTo>
                  <a:lnTo>
                    <a:pt x="29" y="180"/>
                  </a:lnTo>
                  <a:lnTo>
                    <a:pt x="29" y="177"/>
                  </a:lnTo>
                  <a:lnTo>
                    <a:pt x="28" y="175"/>
                  </a:lnTo>
                  <a:lnTo>
                    <a:pt x="27" y="171"/>
                  </a:lnTo>
                  <a:lnTo>
                    <a:pt x="25" y="169"/>
                  </a:lnTo>
                  <a:lnTo>
                    <a:pt x="23" y="167"/>
                  </a:lnTo>
                  <a:lnTo>
                    <a:pt x="21" y="166"/>
                  </a:lnTo>
                  <a:lnTo>
                    <a:pt x="18" y="165"/>
                  </a:lnTo>
                  <a:lnTo>
                    <a:pt x="14" y="165"/>
                  </a:lnTo>
                  <a:lnTo>
                    <a:pt x="12" y="165"/>
                  </a:lnTo>
                  <a:lnTo>
                    <a:pt x="9" y="166"/>
                  </a:lnTo>
                  <a:lnTo>
                    <a:pt x="7" y="167"/>
                  </a:lnTo>
                  <a:lnTo>
                    <a:pt x="4" y="169"/>
                  </a:lnTo>
                  <a:lnTo>
                    <a:pt x="3" y="171"/>
                  </a:lnTo>
                  <a:lnTo>
                    <a:pt x="1" y="175"/>
                  </a:lnTo>
                  <a:lnTo>
                    <a:pt x="1" y="177"/>
                  </a:lnTo>
                  <a:lnTo>
                    <a:pt x="0" y="180"/>
                  </a:lnTo>
                  <a:lnTo>
                    <a:pt x="1" y="191"/>
                  </a:lnTo>
                  <a:lnTo>
                    <a:pt x="2" y="202"/>
                  </a:lnTo>
                  <a:lnTo>
                    <a:pt x="5" y="212"/>
                  </a:lnTo>
                  <a:lnTo>
                    <a:pt x="8" y="222"/>
                  </a:lnTo>
                  <a:lnTo>
                    <a:pt x="12" y="231"/>
                  </a:lnTo>
                  <a:lnTo>
                    <a:pt x="17" y="240"/>
                  </a:lnTo>
                  <a:lnTo>
                    <a:pt x="23" y="248"/>
                  </a:lnTo>
                  <a:lnTo>
                    <a:pt x="29" y="255"/>
                  </a:lnTo>
                  <a:lnTo>
                    <a:pt x="37" y="262"/>
                  </a:lnTo>
                  <a:lnTo>
                    <a:pt x="44" y="268"/>
                  </a:lnTo>
                  <a:lnTo>
                    <a:pt x="54" y="273"/>
                  </a:lnTo>
                  <a:lnTo>
                    <a:pt x="63" y="277"/>
                  </a:lnTo>
                  <a:lnTo>
                    <a:pt x="72" y="280"/>
                  </a:lnTo>
                  <a:lnTo>
                    <a:pt x="83" y="283"/>
                  </a:lnTo>
                  <a:lnTo>
                    <a:pt x="94" y="285"/>
                  </a:lnTo>
                  <a:lnTo>
                    <a:pt x="105" y="285"/>
                  </a:lnTo>
                  <a:lnTo>
                    <a:pt x="189" y="285"/>
                  </a:lnTo>
                  <a:lnTo>
                    <a:pt x="304" y="400"/>
                  </a:lnTo>
                  <a:lnTo>
                    <a:pt x="307" y="402"/>
                  </a:lnTo>
                  <a:lnTo>
                    <a:pt x="310" y="404"/>
                  </a:lnTo>
                  <a:lnTo>
                    <a:pt x="312" y="405"/>
                  </a:lnTo>
                  <a:lnTo>
                    <a:pt x="315" y="406"/>
                  </a:lnTo>
                  <a:lnTo>
                    <a:pt x="318" y="405"/>
                  </a:lnTo>
                  <a:lnTo>
                    <a:pt x="321" y="404"/>
                  </a:lnTo>
                  <a:lnTo>
                    <a:pt x="325" y="401"/>
                  </a:lnTo>
                  <a:lnTo>
                    <a:pt x="328" y="398"/>
                  </a:lnTo>
                  <a:lnTo>
                    <a:pt x="329" y="395"/>
                  </a:lnTo>
                  <a:lnTo>
                    <a:pt x="330" y="391"/>
                  </a:lnTo>
                  <a:lnTo>
                    <a:pt x="330" y="285"/>
                  </a:lnTo>
                  <a:lnTo>
                    <a:pt x="371" y="285"/>
                  </a:lnTo>
                  <a:lnTo>
                    <a:pt x="383" y="285"/>
                  </a:lnTo>
                  <a:lnTo>
                    <a:pt x="393" y="283"/>
                  </a:lnTo>
                  <a:lnTo>
                    <a:pt x="403" y="280"/>
                  </a:lnTo>
                  <a:lnTo>
                    <a:pt x="414" y="276"/>
                  </a:lnTo>
                  <a:lnTo>
                    <a:pt x="423" y="272"/>
                  </a:lnTo>
                  <a:lnTo>
                    <a:pt x="433" y="267"/>
                  </a:lnTo>
                  <a:lnTo>
                    <a:pt x="441" y="260"/>
                  </a:lnTo>
                  <a:lnTo>
                    <a:pt x="449" y="253"/>
                  </a:lnTo>
                  <a:lnTo>
                    <a:pt x="456" y="244"/>
                  </a:lnTo>
                  <a:lnTo>
                    <a:pt x="463" y="236"/>
                  </a:lnTo>
                  <a:lnTo>
                    <a:pt x="468" y="226"/>
                  </a:lnTo>
                  <a:lnTo>
                    <a:pt x="472" y="216"/>
                  </a:lnTo>
                  <a:lnTo>
                    <a:pt x="477" y="207"/>
                  </a:lnTo>
                  <a:lnTo>
                    <a:pt x="479" y="196"/>
                  </a:lnTo>
                  <a:lnTo>
                    <a:pt x="481" y="185"/>
                  </a:lnTo>
                  <a:lnTo>
                    <a:pt x="481" y="175"/>
                  </a:lnTo>
                  <a:lnTo>
                    <a:pt x="48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474" name="Group 41">
            <a:extLst>
              <a:ext uri="{FF2B5EF4-FFF2-40B4-BE49-F238E27FC236}">
                <a16:creationId xmlns:a16="http://schemas.microsoft.com/office/drawing/2014/main" id="{209E9794-7A5F-4E4C-B77E-2114FE9FD0F0}"/>
              </a:ext>
            </a:extLst>
          </p:cNvPr>
          <p:cNvGrpSpPr>
            <a:grpSpLocks noChangeAspect="1"/>
          </p:cNvGrpSpPr>
          <p:nvPr/>
        </p:nvGrpSpPr>
        <p:grpSpPr>
          <a:xfrm>
            <a:off x="1076489" y="3263433"/>
            <a:ext cx="285619" cy="285619"/>
            <a:chOff x="11045825" y="2247900"/>
            <a:chExt cx="258763" cy="258763"/>
          </a:xfrm>
          <a:solidFill>
            <a:schemeClr val="bg2"/>
          </a:solidFill>
          <a:effectLst/>
        </p:grpSpPr>
        <p:sp>
          <p:nvSpPr>
            <p:cNvPr id="475" name="Freeform 207">
              <a:extLst>
                <a:ext uri="{FF2B5EF4-FFF2-40B4-BE49-F238E27FC236}">
                  <a16:creationId xmlns:a16="http://schemas.microsoft.com/office/drawing/2014/main" id="{A238F488-C9F3-4DEF-9EF8-690C63F7F0E4}"/>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6" name="Freeform 208">
              <a:extLst>
                <a:ext uri="{FF2B5EF4-FFF2-40B4-BE49-F238E27FC236}">
                  <a16:creationId xmlns:a16="http://schemas.microsoft.com/office/drawing/2014/main" id="{068ADDDD-E5B5-438B-BC4E-DFB5AAC9EB72}"/>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7" name="Freeform 209">
              <a:extLst>
                <a:ext uri="{FF2B5EF4-FFF2-40B4-BE49-F238E27FC236}">
                  <a16:creationId xmlns:a16="http://schemas.microsoft.com/office/drawing/2014/main" id="{16D09035-3779-4211-8254-C0A50A18364D}"/>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8" name="Freeform 210">
              <a:extLst>
                <a:ext uri="{FF2B5EF4-FFF2-40B4-BE49-F238E27FC236}">
                  <a16:creationId xmlns:a16="http://schemas.microsoft.com/office/drawing/2014/main" id="{A4203021-0EC6-452A-AF6F-6D3B8A88CE9A}"/>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9" name="Freeform 211">
              <a:extLst>
                <a:ext uri="{FF2B5EF4-FFF2-40B4-BE49-F238E27FC236}">
                  <a16:creationId xmlns:a16="http://schemas.microsoft.com/office/drawing/2014/main" id="{40D0F1CD-5C79-4275-A72B-4CFFFCAD8A71}"/>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0" name="Freeform 212">
              <a:extLst>
                <a:ext uri="{FF2B5EF4-FFF2-40B4-BE49-F238E27FC236}">
                  <a16:creationId xmlns:a16="http://schemas.microsoft.com/office/drawing/2014/main" id="{AF2DB3C1-8096-4473-A0EC-1C97C1AA30F6}"/>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1" name="Freeform 213">
              <a:extLst>
                <a:ext uri="{FF2B5EF4-FFF2-40B4-BE49-F238E27FC236}">
                  <a16:creationId xmlns:a16="http://schemas.microsoft.com/office/drawing/2014/main" id="{9DD2A48A-99B1-491F-8B0C-0527D1163634}"/>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2" name="Freeform 214">
              <a:extLst>
                <a:ext uri="{FF2B5EF4-FFF2-40B4-BE49-F238E27FC236}">
                  <a16:creationId xmlns:a16="http://schemas.microsoft.com/office/drawing/2014/main" id="{11154C86-5FCD-41DF-8FFE-FE0744376CCD}"/>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694" name="Freeform 146">
            <a:extLst>
              <a:ext uri="{FF2B5EF4-FFF2-40B4-BE49-F238E27FC236}">
                <a16:creationId xmlns:a16="http://schemas.microsoft.com/office/drawing/2014/main" id="{5FCDBE8E-3415-491F-A6E8-199AAB237CB7}"/>
              </a:ext>
            </a:extLst>
          </p:cNvPr>
          <p:cNvSpPr>
            <a:spLocks noChangeAspect="1" noEditPoints="1"/>
          </p:cNvSpPr>
          <p:nvPr/>
        </p:nvSpPr>
        <p:spPr bwMode="auto">
          <a:xfrm>
            <a:off x="1114623" y="4879041"/>
            <a:ext cx="209353" cy="285619"/>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450" name="Group 52">
            <a:extLst>
              <a:ext uri="{FF2B5EF4-FFF2-40B4-BE49-F238E27FC236}">
                <a16:creationId xmlns:a16="http://schemas.microsoft.com/office/drawing/2014/main" id="{298A32A1-FBEF-4D27-AEA5-6961599092A0}"/>
              </a:ext>
            </a:extLst>
          </p:cNvPr>
          <p:cNvGrpSpPr>
            <a:grpSpLocks noChangeAspect="1"/>
          </p:cNvGrpSpPr>
          <p:nvPr/>
        </p:nvGrpSpPr>
        <p:grpSpPr>
          <a:xfrm>
            <a:off x="1077279" y="3801969"/>
            <a:ext cx="284040" cy="285619"/>
            <a:chOff x="10455275" y="2498725"/>
            <a:chExt cx="285750" cy="287338"/>
          </a:xfrm>
          <a:solidFill>
            <a:schemeClr val="bg2"/>
          </a:solidFill>
          <a:effectLst/>
        </p:grpSpPr>
        <p:sp>
          <p:nvSpPr>
            <p:cNvPr id="451" name="Freeform 214">
              <a:extLst>
                <a:ext uri="{FF2B5EF4-FFF2-40B4-BE49-F238E27FC236}">
                  <a16:creationId xmlns:a16="http://schemas.microsoft.com/office/drawing/2014/main" id="{CD4C05B8-C790-44B7-B3EF-08C392A3AA82}"/>
                </a:ext>
              </a:extLst>
            </p:cNvPr>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15">
              <a:extLst>
                <a:ext uri="{FF2B5EF4-FFF2-40B4-BE49-F238E27FC236}">
                  <a16:creationId xmlns:a16="http://schemas.microsoft.com/office/drawing/2014/main" id="{DD5301C8-F1F6-41E5-B708-6653114B0234}"/>
                </a:ext>
              </a:extLst>
            </p:cNvPr>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3" name="Gruppieren 1172">
            <a:extLst>
              <a:ext uri="{FF2B5EF4-FFF2-40B4-BE49-F238E27FC236}">
                <a16:creationId xmlns:a16="http://schemas.microsoft.com/office/drawing/2014/main" id="{DB8F306E-8524-4770-B0CB-29B72D66E2BD}"/>
              </a:ext>
            </a:extLst>
          </p:cNvPr>
          <p:cNvGrpSpPr>
            <a:grpSpLocks noChangeAspect="1"/>
          </p:cNvGrpSpPr>
          <p:nvPr/>
        </p:nvGrpSpPr>
        <p:grpSpPr>
          <a:xfrm>
            <a:off x="1076489" y="5956111"/>
            <a:ext cx="285619" cy="285619"/>
            <a:chOff x="1194088" y="6317331"/>
            <a:chExt cx="360000" cy="360000"/>
          </a:xfrm>
          <a:solidFill>
            <a:schemeClr val="bg2"/>
          </a:solidFill>
        </p:grpSpPr>
        <p:sp>
          <p:nvSpPr>
            <p:cNvPr id="1180" name="Freeform 115">
              <a:extLst>
                <a:ext uri="{FF2B5EF4-FFF2-40B4-BE49-F238E27FC236}">
                  <a16:creationId xmlns:a16="http://schemas.microsoft.com/office/drawing/2014/main" id="{E35B7F87-40E7-4C0A-A1A8-050EC0439A0D}"/>
                </a:ext>
              </a:extLst>
            </p:cNvPr>
            <p:cNvSpPr>
              <a:spLocks/>
            </p:cNvSpPr>
            <p:nvPr/>
          </p:nvSpPr>
          <p:spPr bwMode="auto">
            <a:xfrm>
              <a:off x="1289381" y="6423213"/>
              <a:ext cx="180001" cy="137648"/>
            </a:xfrm>
            <a:custGeom>
              <a:avLst/>
              <a:gdLst>
                <a:gd name="T0" fmla="*/ 228 w 255"/>
                <a:gd name="T1" fmla="*/ 5 h 195"/>
                <a:gd name="T2" fmla="*/ 104 w 255"/>
                <a:gd name="T3" fmla="*/ 157 h 195"/>
                <a:gd name="T4" fmla="*/ 25 w 255"/>
                <a:gd name="T5" fmla="*/ 79 h 195"/>
                <a:gd name="T6" fmla="*/ 23 w 255"/>
                <a:gd name="T7" fmla="*/ 77 h 195"/>
                <a:gd name="T8" fmla="*/ 20 w 255"/>
                <a:gd name="T9" fmla="*/ 76 h 195"/>
                <a:gd name="T10" fmla="*/ 17 w 255"/>
                <a:gd name="T11" fmla="*/ 75 h 195"/>
                <a:gd name="T12" fmla="*/ 15 w 255"/>
                <a:gd name="T13" fmla="*/ 75 h 195"/>
                <a:gd name="T14" fmla="*/ 11 w 255"/>
                <a:gd name="T15" fmla="*/ 75 h 195"/>
                <a:gd name="T16" fmla="*/ 8 w 255"/>
                <a:gd name="T17" fmla="*/ 76 h 195"/>
                <a:gd name="T18" fmla="*/ 6 w 255"/>
                <a:gd name="T19" fmla="*/ 77 h 195"/>
                <a:gd name="T20" fmla="*/ 4 w 255"/>
                <a:gd name="T21" fmla="*/ 79 h 195"/>
                <a:gd name="T22" fmla="*/ 2 w 255"/>
                <a:gd name="T23" fmla="*/ 81 h 195"/>
                <a:gd name="T24" fmla="*/ 1 w 255"/>
                <a:gd name="T25" fmla="*/ 84 h 195"/>
                <a:gd name="T26" fmla="*/ 0 w 255"/>
                <a:gd name="T27" fmla="*/ 86 h 195"/>
                <a:gd name="T28" fmla="*/ 0 w 255"/>
                <a:gd name="T29" fmla="*/ 90 h 195"/>
                <a:gd name="T30" fmla="*/ 0 w 255"/>
                <a:gd name="T31" fmla="*/ 93 h 195"/>
                <a:gd name="T32" fmla="*/ 1 w 255"/>
                <a:gd name="T33" fmla="*/ 95 h 195"/>
                <a:gd name="T34" fmla="*/ 2 w 255"/>
                <a:gd name="T35" fmla="*/ 98 h 195"/>
                <a:gd name="T36" fmla="*/ 4 w 255"/>
                <a:gd name="T37" fmla="*/ 100 h 195"/>
                <a:gd name="T38" fmla="*/ 94 w 255"/>
                <a:gd name="T39" fmla="*/ 190 h 195"/>
                <a:gd name="T40" fmla="*/ 96 w 255"/>
                <a:gd name="T41" fmla="*/ 192 h 195"/>
                <a:gd name="T42" fmla="*/ 99 w 255"/>
                <a:gd name="T43" fmla="*/ 194 h 195"/>
                <a:gd name="T44" fmla="*/ 101 w 255"/>
                <a:gd name="T45" fmla="*/ 195 h 195"/>
                <a:gd name="T46" fmla="*/ 105 w 255"/>
                <a:gd name="T47" fmla="*/ 195 h 195"/>
                <a:gd name="T48" fmla="*/ 105 w 255"/>
                <a:gd name="T49" fmla="*/ 195 h 195"/>
                <a:gd name="T50" fmla="*/ 106 w 255"/>
                <a:gd name="T51" fmla="*/ 195 h 195"/>
                <a:gd name="T52" fmla="*/ 108 w 255"/>
                <a:gd name="T53" fmla="*/ 195 h 195"/>
                <a:gd name="T54" fmla="*/ 111 w 255"/>
                <a:gd name="T55" fmla="*/ 194 h 195"/>
                <a:gd name="T56" fmla="*/ 114 w 255"/>
                <a:gd name="T57" fmla="*/ 191 h 195"/>
                <a:gd name="T58" fmla="*/ 117 w 255"/>
                <a:gd name="T59" fmla="*/ 189 h 195"/>
                <a:gd name="T60" fmla="*/ 252 w 255"/>
                <a:gd name="T61" fmla="*/ 24 h 195"/>
                <a:gd name="T62" fmla="*/ 253 w 255"/>
                <a:gd name="T63" fmla="*/ 21 h 195"/>
                <a:gd name="T64" fmla="*/ 255 w 255"/>
                <a:gd name="T65" fmla="*/ 19 h 195"/>
                <a:gd name="T66" fmla="*/ 255 w 255"/>
                <a:gd name="T67" fmla="*/ 16 h 195"/>
                <a:gd name="T68" fmla="*/ 255 w 255"/>
                <a:gd name="T69" fmla="*/ 12 h 195"/>
                <a:gd name="T70" fmla="*/ 255 w 255"/>
                <a:gd name="T71" fmla="*/ 10 h 195"/>
                <a:gd name="T72" fmla="*/ 253 w 255"/>
                <a:gd name="T73" fmla="*/ 7 h 195"/>
                <a:gd name="T74" fmla="*/ 252 w 255"/>
                <a:gd name="T75" fmla="*/ 5 h 195"/>
                <a:gd name="T76" fmla="*/ 250 w 255"/>
                <a:gd name="T77" fmla="*/ 3 h 195"/>
                <a:gd name="T78" fmla="*/ 247 w 255"/>
                <a:gd name="T79" fmla="*/ 1 h 195"/>
                <a:gd name="T80" fmla="*/ 244 w 255"/>
                <a:gd name="T81" fmla="*/ 0 h 195"/>
                <a:gd name="T82" fmla="*/ 241 w 255"/>
                <a:gd name="T83" fmla="*/ 0 h 195"/>
                <a:gd name="T84" fmla="*/ 239 w 255"/>
                <a:gd name="T85" fmla="*/ 0 h 195"/>
                <a:gd name="T86" fmla="*/ 236 w 255"/>
                <a:gd name="T87" fmla="*/ 0 h 195"/>
                <a:gd name="T88" fmla="*/ 233 w 255"/>
                <a:gd name="T89" fmla="*/ 1 h 195"/>
                <a:gd name="T90" fmla="*/ 230 w 255"/>
                <a:gd name="T91" fmla="*/ 3 h 195"/>
                <a:gd name="T92" fmla="*/ 228 w 255"/>
                <a:gd name="T93" fmla="*/ 5 h 195"/>
                <a:gd name="T94" fmla="*/ 228 w 255"/>
                <a:gd name="T95"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5" h="195">
                  <a:moveTo>
                    <a:pt x="228" y="5"/>
                  </a:moveTo>
                  <a:lnTo>
                    <a:pt x="104" y="157"/>
                  </a:lnTo>
                  <a:lnTo>
                    <a:pt x="25" y="79"/>
                  </a:lnTo>
                  <a:lnTo>
                    <a:pt x="23" y="77"/>
                  </a:lnTo>
                  <a:lnTo>
                    <a:pt x="20" y="76"/>
                  </a:lnTo>
                  <a:lnTo>
                    <a:pt x="17" y="75"/>
                  </a:lnTo>
                  <a:lnTo>
                    <a:pt x="15" y="75"/>
                  </a:lnTo>
                  <a:lnTo>
                    <a:pt x="11" y="75"/>
                  </a:lnTo>
                  <a:lnTo>
                    <a:pt x="8" y="76"/>
                  </a:lnTo>
                  <a:lnTo>
                    <a:pt x="6" y="77"/>
                  </a:lnTo>
                  <a:lnTo>
                    <a:pt x="4" y="79"/>
                  </a:lnTo>
                  <a:lnTo>
                    <a:pt x="2" y="81"/>
                  </a:lnTo>
                  <a:lnTo>
                    <a:pt x="1" y="84"/>
                  </a:lnTo>
                  <a:lnTo>
                    <a:pt x="0" y="86"/>
                  </a:lnTo>
                  <a:lnTo>
                    <a:pt x="0" y="90"/>
                  </a:lnTo>
                  <a:lnTo>
                    <a:pt x="0" y="93"/>
                  </a:lnTo>
                  <a:lnTo>
                    <a:pt x="1" y="95"/>
                  </a:lnTo>
                  <a:lnTo>
                    <a:pt x="2" y="98"/>
                  </a:lnTo>
                  <a:lnTo>
                    <a:pt x="4" y="100"/>
                  </a:lnTo>
                  <a:lnTo>
                    <a:pt x="94" y="190"/>
                  </a:lnTo>
                  <a:lnTo>
                    <a:pt x="96" y="192"/>
                  </a:lnTo>
                  <a:lnTo>
                    <a:pt x="99" y="194"/>
                  </a:lnTo>
                  <a:lnTo>
                    <a:pt x="101" y="195"/>
                  </a:lnTo>
                  <a:lnTo>
                    <a:pt x="105" y="195"/>
                  </a:lnTo>
                  <a:lnTo>
                    <a:pt x="105" y="195"/>
                  </a:lnTo>
                  <a:lnTo>
                    <a:pt x="106" y="195"/>
                  </a:lnTo>
                  <a:lnTo>
                    <a:pt x="108" y="195"/>
                  </a:lnTo>
                  <a:lnTo>
                    <a:pt x="111" y="194"/>
                  </a:lnTo>
                  <a:lnTo>
                    <a:pt x="114" y="191"/>
                  </a:lnTo>
                  <a:lnTo>
                    <a:pt x="117" y="189"/>
                  </a:lnTo>
                  <a:lnTo>
                    <a:pt x="252" y="24"/>
                  </a:lnTo>
                  <a:lnTo>
                    <a:pt x="253" y="21"/>
                  </a:lnTo>
                  <a:lnTo>
                    <a:pt x="255" y="19"/>
                  </a:lnTo>
                  <a:lnTo>
                    <a:pt x="255" y="16"/>
                  </a:lnTo>
                  <a:lnTo>
                    <a:pt x="255" y="12"/>
                  </a:lnTo>
                  <a:lnTo>
                    <a:pt x="255" y="10"/>
                  </a:lnTo>
                  <a:lnTo>
                    <a:pt x="253" y="7"/>
                  </a:lnTo>
                  <a:lnTo>
                    <a:pt x="252" y="5"/>
                  </a:lnTo>
                  <a:lnTo>
                    <a:pt x="250" y="3"/>
                  </a:lnTo>
                  <a:lnTo>
                    <a:pt x="247" y="1"/>
                  </a:lnTo>
                  <a:lnTo>
                    <a:pt x="244" y="0"/>
                  </a:lnTo>
                  <a:lnTo>
                    <a:pt x="241" y="0"/>
                  </a:lnTo>
                  <a:lnTo>
                    <a:pt x="239" y="0"/>
                  </a:lnTo>
                  <a:lnTo>
                    <a:pt x="236" y="0"/>
                  </a:lnTo>
                  <a:lnTo>
                    <a:pt x="233" y="1"/>
                  </a:lnTo>
                  <a:lnTo>
                    <a:pt x="230" y="3"/>
                  </a:lnTo>
                  <a:lnTo>
                    <a:pt x="228" y="5"/>
                  </a:lnTo>
                  <a:lnTo>
                    <a:pt x="22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26">
              <a:extLst>
                <a:ext uri="{FF2B5EF4-FFF2-40B4-BE49-F238E27FC236}">
                  <a16:creationId xmlns:a16="http://schemas.microsoft.com/office/drawing/2014/main" id="{75AAD765-42F8-4B2C-B6FD-8CC0E74E6104}"/>
                </a:ext>
              </a:extLst>
            </p:cNvPr>
            <p:cNvSpPr>
              <a:spLocks noEditPoints="1"/>
            </p:cNvSpPr>
            <p:nvPr/>
          </p:nvSpPr>
          <p:spPr bwMode="auto">
            <a:xfrm>
              <a:off x="1194088" y="6317331"/>
              <a:ext cx="360000" cy="360000"/>
            </a:xfrm>
            <a:custGeom>
              <a:avLst/>
              <a:gdLst>
                <a:gd name="T0" fmla="*/ 45 w 92"/>
                <a:gd name="T1" fmla="*/ 92 h 92"/>
                <a:gd name="T2" fmla="*/ 0 w 92"/>
                <a:gd name="T3" fmla="*/ 47 h 92"/>
                <a:gd name="T4" fmla="*/ 13 w 92"/>
                <a:gd name="T5" fmla="*/ 14 h 92"/>
                <a:gd name="T6" fmla="*/ 46 w 92"/>
                <a:gd name="T7" fmla="*/ 0 h 92"/>
                <a:gd name="T8" fmla="*/ 47 w 92"/>
                <a:gd name="T9" fmla="*/ 0 h 92"/>
                <a:gd name="T10" fmla="*/ 92 w 92"/>
                <a:gd name="T11" fmla="*/ 45 h 92"/>
                <a:gd name="T12" fmla="*/ 46 w 92"/>
                <a:gd name="T13" fmla="*/ 92 h 92"/>
                <a:gd name="T14" fmla="*/ 45 w 92"/>
                <a:gd name="T15" fmla="*/ 92 h 92"/>
                <a:gd name="T16" fmla="*/ 47 w 92"/>
                <a:gd name="T17" fmla="*/ 4 h 92"/>
                <a:gd name="T18" fmla="*/ 46 w 92"/>
                <a:gd name="T19" fmla="*/ 4 h 92"/>
                <a:gd name="T20" fmla="*/ 16 w 92"/>
                <a:gd name="T21" fmla="*/ 17 h 92"/>
                <a:gd name="T22" fmla="*/ 4 w 92"/>
                <a:gd name="T23" fmla="*/ 47 h 92"/>
                <a:gd name="T24" fmla="*/ 45 w 92"/>
                <a:gd name="T25" fmla="*/ 88 h 92"/>
                <a:gd name="T26" fmla="*/ 46 w 92"/>
                <a:gd name="T27" fmla="*/ 88 h 92"/>
                <a:gd name="T28" fmla="*/ 88 w 92"/>
                <a:gd name="T29" fmla="*/ 45 h 92"/>
                <a:gd name="T30" fmla="*/ 47 w 92"/>
                <a:gd name="T31"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2">
                  <a:moveTo>
                    <a:pt x="45" y="92"/>
                  </a:moveTo>
                  <a:cubicBezTo>
                    <a:pt x="20" y="92"/>
                    <a:pt x="0" y="72"/>
                    <a:pt x="0" y="47"/>
                  </a:cubicBezTo>
                  <a:cubicBezTo>
                    <a:pt x="0" y="35"/>
                    <a:pt x="5" y="23"/>
                    <a:pt x="13" y="14"/>
                  </a:cubicBezTo>
                  <a:cubicBezTo>
                    <a:pt x="22" y="5"/>
                    <a:pt x="34" y="0"/>
                    <a:pt x="46" y="0"/>
                  </a:cubicBezTo>
                  <a:cubicBezTo>
                    <a:pt x="47" y="0"/>
                    <a:pt x="47" y="0"/>
                    <a:pt x="47" y="0"/>
                  </a:cubicBezTo>
                  <a:cubicBezTo>
                    <a:pt x="72" y="0"/>
                    <a:pt x="92" y="20"/>
                    <a:pt x="92" y="45"/>
                  </a:cubicBezTo>
                  <a:cubicBezTo>
                    <a:pt x="92" y="71"/>
                    <a:pt x="72" y="92"/>
                    <a:pt x="46" y="92"/>
                  </a:cubicBezTo>
                  <a:lnTo>
                    <a:pt x="45" y="92"/>
                  </a:lnTo>
                  <a:close/>
                  <a:moveTo>
                    <a:pt x="47" y="4"/>
                  </a:moveTo>
                  <a:cubicBezTo>
                    <a:pt x="46" y="4"/>
                    <a:pt x="46" y="4"/>
                    <a:pt x="46" y="4"/>
                  </a:cubicBezTo>
                  <a:cubicBezTo>
                    <a:pt x="35" y="4"/>
                    <a:pt x="24" y="9"/>
                    <a:pt x="16" y="17"/>
                  </a:cubicBezTo>
                  <a:cubicBezTo>
                    <a:pt x="8" y="25"/>
                    <a:pt x="4" y="36"/>
                    <a:pt x="4" y="47"/>
                  </a:cubicBezTo>
                  <a:cubicBezTo>
                    <a:pt x="4" y="70"/>
                    <a:pt x="23" y="88"/>
                    <a:pt x="45" y="88"/>
                  </a:cubicBezTo>
                  <a:cubicBezTo>
                    <a:pt x="46" y="88"/>
                    <a:pt x="46" y="88"/>
                    <a:pt x="46" y="88"/>
                  </a:cubicBezTo>
                  <a:cubicBezTo>
                    <a:pt x="70" y="88"/>
                    <a:pt x="88" y="68"/>
                    <a:pt x="88" y="45"/>
                  </a:cubicBezTo>
                  <a:cubicBezTo>
                    <a:pt x="88" y="22"/>
                    <a:pt x="69" y="4"/>
                    <a:pt x="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22" name="Group 121">
            <a:extLst>
              <a:ext uri="{FF2B5EF4-FFF2-40B4-BE49-F238E27FC236}">
                <a16:creationId xmlns:a16="http://schemas.microsoft.com/office/drawing/2014/main" id="{0CC36DE6-7A7F-4C44-8FC9-9F346B8DD973}"/>
              </a:ext>
            </a:extLst>
          </p:cNvPr>
          <p:cNvGrpSpPr>
            <a:grpSpLocks noChangeAspect="1"/>
          </p:cNvGrpSpPr>
          <p:nvPr/>
        </p:nvGrpSpPr>
        <p:grpSpPr>
          <a:xfrm>
            <a:off x="1867819" y="2186361"/>
            <a:ext cx="337756" cy="285619"/>
            <a:chOff x="3486150" y="877888"/>
            <a:chExt cx="801688" cy="719138"/>
          </a:xfrm>
          <a:solidFill>
            <a:schemeClr val="bg2"/>
          </a:solidFill>
          <a:effectLst/>
        </p:grpSpPr>
        <p:sp>
          <p:nvSpPr>
            <p:cNvPr id="423" name="Freeform 36">
              <a:extLst>
                <a:ext uri="{FF2B5EF4-FFF2-40B4-BE49-F238E27FC236}">
                  <a16:creationId xmlns:a16="http://schemas.microsoft.com/office/drawing/2014/main" id="{6CD5992F-4DBC-4906-8278-698EF02C9690}"/>
                </a:ext>
              </a:extLst>
            </p:cNvPr>
            <p:cNvSpPr>
              <a:spLocks noEditPoints="1"/>
            </p:cNvSpPr>
            <p:nvPr/>
          </p:nvSpPr>
          <p:spPr bwMode="auto">
            <a:xfrm>
              <a:off x="3562350" y="1146176"/>
              <a:ext cx="220663" cy="238125"/>
            </a:xfrm>
            <a:custGeom>
              <a:avLst/>
              <a:gdLst>
                <a:gd name="T0" fmla="*/ 177 w 416"/>
                <a:gd name="T1" fmla="*/ 56 h 451"/>
                <a:gd name="T2" fmla="*/ 134 w 416"/>
                <a:gd name="T3" fmla="*/ 73 h 451"/>
                <a:gd name="T4" fmla="*/ 98 w 416"/>
                <a:gd name="T5" fmla="*/ 104 h 451"/>
                <a:gd name="T6" fmla="*/ 72 w 416"/>
                <a:gd name="T7" fmla="*/ 142 h 451"/>
                <a:gd name="T8" fmla="*/ 56 w 416"/>
                <a:gd name="T9" fmla="*/ 191 h 451"/>
                <a:gd name="T10" fmla="*/ 53 w 416"/>
                <a:gd name="T11" fmla="*/ 243 h 451"/>
                <a:gd name="T12" fmla="*/ 65 w 416"/>
                <a:gd name="T13" fmla="*/ 294 h 451"/>
                <a:gd name="T14" fmla="*/ 88 w 416"/>
                <a:gd name="T15" fmla="*/ 335 h 451"/>
                <a:gd name="T16" fmla="*/ 121 w 416"/>
                <a:gd name="T17" fmla="*/ 370 h 451"/>
                <a:gd name="T18" fmla="*/ 161 w 416"/>
                <a:gd name="T19" fmla="*/ 392 h 451"/>
                <a:gd name="T20" fmla="*/ 209 w 416"/>
                <a:gd name="T21" fmla="*/ 399 h 451"/>
                <a:gd name="T22" fmla="*/ 255 w 416"/>
                <a:gd name="T23" fmla="*/ 392 h 451"/>
                <a:gd name="T24" fmla="*/ 295 w 416"/>
                <a:gd name="T25" fmla="*/ 370 h 451"/>
                <a:gd name="T26" fmla="*/ 328 w 416"/>
                <a:gd name="T27" fmla="*/ 335 h 451"/>
                <a:gd name="T28" fmla="*/ 351 w 416"/>
                <a:gd name="T29" fmla="*/ 294 h 451"/>
                <a:gd name="T30" fmla="*/ 363 w 416"/>
                <a:gd name="T31" fmla="*/ 243 h 451"/>
                <a:gd name="T32" fmla="*/ 360 w 416"/>
                <a:gd name="T33" fmla="*/ 191 h 451"/>
                <a:gd name="T34" fmla="*/ 344 w 416"/>
                <a:gd name="T35" fmla="*/ 142 h 451"/>
                <a:gd name="T36" fmla="*/ 318 w 416"/>
                <a:gd name="T37" fmla="*/ 104 h 451"/>
                <a:gd name="T38" fmla="*/ 282 w 416"/>
                <a:gd name="T39" fmla="*/ 73 h 451"/>
                <a:gd name="T40" fmla="*/ 239 w 416"/>
                <a:gd name="T41" fmla="*/ 56 h 451"/>
                <a:gd name="T42" fmla="*/ 209 w 416"/>
                <a:gd name="T43" fmla="*/ 451 h 451"/>
                <a:gd name="T44" fmla="*/ 147 w 416"/>
                <a:gd name="T45" fmla="*/ 440 h 451"/>
                <a:gd name="T46" fmla="*/ 92 w 416"/>
                <a:gd name="T47" fmla="*/ 413 h 451"/>
                <a:gd name="T48" fmla="*/ 48 w 416"/>
                <a:gd name="T49" fmla="*/ 368 h 451"/>
                <a:gd name="T50" fmla="*/ 17 w 416"/>
                <a:gd name="T51" fmla="*/ 314 h 451"/>
                <a:gd name="T52" fmla="*/ 1 w 416"/>
                <a:gd name="T53" fmla="*/ 249 h 451"/>
                <a:gd name="T54" fmla="*/ 4 w 416"/>
                <a:gd name="T55" fmla="*/ 180 h 451"/>
                <a:gd name="T56" fmla="*/ 26 w 416"/>
                <a:gd name="T57" fmla="*/ 118 h 451"/>
                <a:gd name="T58" fmla="*/ 62 w 416"/>
                <a:gd name="T59" fmla="*/ 66 h 451"/>
                <a:gd name="T60" fmla="*/ 109 w 416"/>
                <a:gd name="T61" fmla="*/ 27 h 451"/>
                <a:gd name="T62" fmla="*/ 167 w 416"/>
                <a:gd name="T63" fmla="*/ 4 h 451"/>
                <a:gd name="T64" fmla="*/ 229 w 416"/>
                <a:gd name="T65" fmla="*/ 1 h 451"/>
                <a:gd name="T66" fmla="*/ 289 w 416"/>
                <a:gd name="T67" fmla="*/ 17 h 451"/>
                <a:gd name="T68" fmla="*/ 340 w 416"/>
                <a:gd name="T69" fmla="*/ 52 h 451"/>
                <a:gd name="T70" fmla="*/ 380 w 416"/>
                <a:gd name="T71" fmla="*/ 99 h 451"/>
                <a:gd name="T72" fmla="*/ 406 w 416"/>
                <a:gd name="T73" fmla="*/ 158 h 451"/>
                <a:gd name="T74" fmla="*/ 416 w 416"/>
                <a:gd name="T75" fmla="*/ 226 h 451"/>
                <a:gd name="T76" fmla="*/ 406 w 416"/>
                <a:gd name="T77" fmla="*/ 292 h 451"/>
                <a:gd name="T78" fmla="*/ 380 w 416"/>
                <a:gd name="T79" fmla="*/ 351 h 451"/>
                <a:gd name="T80" fmla="*/ 340 w 416"/>
                <a:gd name="T81" fmla="*/ 400 h 451"/>
                <a:gd name="T82" fmla="*/ 289 w 416"/>
                <a:gd name="T83" fmla="*/ 433 h 451"/>
                <a:gd name="T84" fmla="*/ 229 w 416"/>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1">
                  <a:moveTo>
                    <a:pt x="209" y="52"/>
                  </a:moveTo>
                  <a:lnTo>
                    <a:pt x="193" y="53"/>
                  </a:lnTo>
                  <a:lnTo>
                    <a:pt x="177" y="56"/>
                  </a:lnTo>
                  <a:lnTo>
                    <a:pt x="161" y="60"/>
                  </a:lnTo>
                  <a:lnTo>
                    <a:pt x="148" y="66"/>
                  </a:lnTo>
                  <a:lnTo>
                    <a:pt x="134" y="73"/>
                  </a:lnTo>
                  <a:lnTo>
                    <a:pt x="121" y="82"/>
                  </a:lnTo>
                  <a:lnTo>
                    <a:pt x="109" y="92"/>
                  </a:lnTo>
                  <a:lnTo>
                    <a:pt x="98" y="104"/>
                  </a:lnTo>
                  <a:lnTo>
                    <a:pt x="88" y="115"/>
                  </a:lnTo>
                  <a:lnTo>
                    <a:pt x="79" y="128"/>
                  </a:lnTo>
                  <a:lnTo>
                    <a:pt x="72" y="142"/>
                  </a:lnTo>
                  <a:lnTo>
                    <a:pt x="65" y="158"/>
                  </a:lnTo>
                  <a:lnTo>
                    <a:pt x="60" y="174"/>
                  </a:lnTo>
                  <a:lnTo>
                    <a:pt x="56" y="191"/>
                  </a:lnTo>
                  <a:lnTo>
                    <a:pt x="53" y="207"/>
                  </a:lnTo>
                  <a:lnTo>
                    <a:pt x="53" y="226"/>
                  </a:lnTo>
                  <a:lnTo>
                    <a:pt x="53" y="243"/>
                  </a:lnTo>
                  <a:lnTo>
                    <a:pt x="56" y="260"/>
                  </a:lnTo>
                  <a:lnTo>
                    <a:pt x="60" y="278"/>
                  </a:lnTo>
                  <a:lnTo>
                    <a:pt x="65" y="294"/>
                  </a:lnTo>
                  <a:lnTo>
                    <a:pt x="72" y="308"/>
                  </a:lnTo>
                  <a:lnTo>
                    <a:pt x="79" y="322"/>
                  </a:lnTo>
                  <a:lnTo>
                    <a:pt x="88" y="335"/>
                  </a:lnTo>
                  <a:lnTo>
                    <a:pt x="98" y="348"/>
                  </a:lnTo>
                  <a:lnTo>
                    <a:pt x="109" y="360"/>
                  </a:lnTo>
                  <a:lnTo>
                    <a:pt x="121" y="370"/>
                  </a:lnTo>
                  <a:lnTo>
                    <a:pt x="134" y="379"/>
                  </a:lnTo>
                  <a:lnTo>
                    <a:pt x="148" y="386"/>
                  </a:lnTo>
                  <a:lnTo>
                    <a:pt x="161" y="392"/>
                  </a:lnTo>
                  <a:lnTo>
                    <a:pt x="177" y="396"/>
                  </a:lnTo>
                  <a:lnTo>
                    <a:pt x="193" y="399"/>
                  </a:lnTo>
                  <a:lnTo>
                    <a:pt x="209" y="399"/>
                  </a:lnTo>
                  <a:lnTo>
                    <a:pt x="225" y="399"/>
                  </a:lnTo>
                  <a:lnTo>
                    <a:pt x="239" y="396"/>
                  </a:lnTo>
                  <a:lnTo>
                    <a:pt x="255" y="392"/>
                  </a:lnTo>
                  <a:lnTo>
                    <a:pt x="268" y="386"/>
                  </a:lnTo>
                  <a:lnTo>
                    <a:pt x="282" y="379"/>
                  </a:lnTo>
                  <a:lnTo>
                    <a:pt x="295" y="370"/>
                  </a:lnTo>
                  <a:lnTo>
                    <a:pt x="307" y="360"/>
                  </a:lnTo>
                  <a:lnTo>
                    <a:pt x="318" y="348"/>
                  </a:lnTo>
                  <a:lnTo>
                    <a:pt x="328" y="335"/>
                  </a:lnTo>
                  <a:lnTo>
                    <a:pt x="337" y="322"/>
                  </a:lnTo>
                  <a:lnTo>
                    <a:pt x="344" y="308"/>
                  </a:lnTo>
                  <a:lnTo>
                    <a:pt x="351" y="294"/>
                  </a:lnTo>
                  <a:lnTo>
                    <a:pt x="357" y="278"/>
                  </a:lnTo>
                  <a:lnTo>
                    <a:pt x="360" y="260"/>
                  </a:lnTo>
                  <a:lnTo>
                    <a:pt x="363" y="243"/>
                  </a:lnTo>
                  <a:lnTo>
                    <a:pt x="363" y="226"/>
                  </a:lnTo>
                  <a:lnTo>
                    <a:pt x="363" y="207"/>
                  </a:lnTo>
                  <a:lnTo>
                    <a:pt x="360" y="191"/>
                  </a:lnTo>
                  <a:lnTo>
                    <a:pt x="357" y="174"/>
                  </a:lnTo>
                  <a:lnTo>
                    <a:pt x="351" y="158"/>
                  </a:lnTo>
                  <a:lnTo>
                    <a:pt x="344" y="142"/>
                  </a:lnTo>
                  <a:lnTo>
                    <a:pt x="337" y="128"/>
                  </a:lnTo>
                  <a:lnTo>
                    <a:pt x="328" y="115"/>
                  </a:lnTo>
                  <a:lnTo>
                    <a:pt x="318" y="104"/>
                  </a:lnTo>
                  <a:lnTo>
                    <a:pt x="307" y="92"/>
                  </a:lnTo>
                  <a:lnTo>
                    <a:pt x="295" y="82"/>
                  </a:lnTo>
                  <a:lnTo>
                    <a:pt x="282" y="73"/>
                  </a:lnTo>
                  <a:lnTo>
                    <a:pt x="268" y="66"/>
                  </a:lnTo>
                  <a:lnTo>
                    <a:pt x="255" y="60"/>
                  </a:lnTo>
                  <a:lnTo>
                    <a:pt x="239" y="56"/>
                  </a:lnTo>
                  <a:lnTo>
                    <a:pt x="225" y="53"/>
                  </a:lnTo>
                  <a:lnTo>
                    <a:pt x="209" y="52"/>
                  </a:lnTo>
                  <a:close/>
                  <a:moveTo>
                    <a:pt x="209" y="451"/>
                  </a:moveTo>
                  <a:lnTo>
                    <a:pt x="187" y="451"/>
                  </a:lnTo>
                  <a:lnTo>
                    <a:pt x="167" y="446"/>
                  </a:lnTo>
                  <a:lnTo>
                    <a:pt x="147" y="440"/>
                  </a:lnTo>
                  <a:lnTo>
                    <a:pt x="127" y="433"/>
                  </a:lnTo>
                  <a:lnTo>
                    <a:pt x="109" y="425"/>
                  </a:lnTo>
                  <a:lnTo>
                    <a:pt x="92" y="413"/>
                  </a:lnTo>
                  <a:lnTo>
                    <a:pt x="76" y="400"/>
                  </a:lnTo>
                  <a:lnTo>
                    <a:pt x="62" y="386"/>
                  </a:lnTo>
                  <a:lnTo>
                    <a:pt x="48" y="368"/>
                  </a:lnTo>
                  <a:lnTo>
                    <a:pt x="36" y="351"/>
                  </a:lnTo>
                  <a:lnTo>
                    <a:pt x="26" y="332"/>
                  </a:lnTo>
                  <a:lnTo>
                    <a:pt x="17" y="314"/>
                  </a:lnTo>
                  <a:lnTo>
                    <a:pt x="10" y="292"/>
                  </a:lnTo>
                  <a:lnTo>
                    <a:pt x="4" y="271"/>
                  </a:lnTo>
                  <a:lnTo>
                    <a:pt x="1" y="249"/>
                  </a:lnTo>
                  <a:lnTo>
                    <a:pt x="0" y="226"/>
                  </a:lnTo>
                  <a:lnTo>
                    <a:pt x="1" y="203"/>
                  </a:lnTo>
                  <a:lnTo>
                    <a:pt x="4" y="180"/>
                  </a:lnTo>
                  <a:lnTo>
                    <a:pt x="10" y="158"/>
                  </a:lnTo>
                  <a:lnTo>
                    <a:pt x="17" y="138"/>
                  </a:lnTo>
                  <a:lnTo>
                    <a:pt x="26" y="118"/>
                  </a:lnTo>
                  <a:lnTo>
                    <a:pt x="36" y="99"/>
                  </a:lnTo>
                  <a:lnTo>
                    <a:pt x="48" y="82"/>
                  </a:lnTo>
                  <a:lnTo>
                    <a:pt x="62" y="66"/>
                  </a:lnTo>
                  <a:lnTo>
                    <a:pt x="76" y="52"/>
                  </a:lnTo>
                  <a:lnTo>
                    <a:pt x="92" y="39"/>
                  </a:lnTo>
                  <a:lnTo>
                    <a:pt x="109" y="27"/>
                  </a:lnTo>
                  <a:lnTo>
                    <a:pt x="127" y="17"/>
                  </a:lnTo>
                  <a:lnTo>
                    <a:pt x="147" y="10"/>
                  </a:lnTo>
                  <a:lnTo>
                    <a:pt x="167" y="4"/>
                  </a:lnTo>
                  <a:lnTo>
                    <a:pt x="187" y="1"/>
                  </a:lnTo>
                  <a:lnTo>
                    <a:pt x="209" y="0"/>
                  </a:lnTo>
                  <a:lnTo>
                    <a:pt x="229" y="1"/>
                  </a:lnTo>
                  <a:lnTo>
                    <a:pt x="251" y="4"/>
                  </a:lnTo>
                  <a:lnTo>
                    <a:pt x="269" y="10"/>
                  </a:lnTo>
                  <a:lnTo>
                    <a:pt x="289" y="17"/>
                  </a:lnTo>
                  <a:lnTo>
                    <a:pt x="307" y="27"/>
                  </a:lnTo>
                  <a:lnTo>
                    <a:pt x="324" y="39"/>
                  </a:lnTo>
                  <a:lnTo>
                    <a:pt x="340" y="52"/>
                  </a:lnTo>
                  <a:lnTo>
                    <a:pt x="354" y="66"/>
                  </a:lnTo>
                  <a:lnTo>
                    <a:pt x="369" y="82"/>
                  </a:lnTo>
                  <a:lnTo>
                    <a:pt x="380" y="99"/>
                  </a:lnTo>
                  <a:lnTo>
                    <a:pt x="390" y="118"/>
                  </a:lnTo>
                  <a:lnTo>
                    <a:pt x="399" y="138"/>
                  </a:lnTo>
                  <a:lnTo>
                    <a:pt x="406" y="158"/>
                  </a:lnTo>
                  <a:lnTo>
                    <a:pt x="412" y="180"/>
                  </a:lnTo>
                  <a:lnTo>
                    <a:pt x="415" y="203"/>
                  </a:lnTo>
                  <a:lnTo>
                    <a:pt x="416" y="226"/>
                  </a:lnTo>
                  <a:lnTo>
                    <a:pt x="415" y="249"/>
                  </a:lnTo>
                  <a:lnTo>
                    <a:pt x="412" y="271"/>
                  </a:lnTo>
                  <a:lnTo>
                    <a:pt x="406" y="292"/>
                  </a:lnTo>
                  <a:lnTo>
                    <a:pt x="399" y="314"/>
                  </a:lnTo>
                  <a:lnTo>
                    <a:pt x="390" y="332"/>
                  </a:lnTo>
                  <a:lnTo>
                    <a:pt x="380" y="351"/>
                  </a:lnTo>
                  <a:lnTo>
                    <a:pt x="369" y="368"/>
                  </a:lnTo>
                  <a:lnTo>
                    <a:pt x="354" y="386"/>
                  </a:lnTo>
                  <a:lnTo>
                    <a:pt x="340" y="400"/>
                  </a:lnTo>
                  <a:lnTo>
                    <a:pt x="324" y="413"/>
                  </a:lnTo>
                  <a:lnTo>
                    <a:pt x="307" y="425"/>
                  </a:lnTo>
                  <a:lnTo>
                    <a:pt x="289" y="433"/>
                  </a:lnTo>
                  <a:lnTo>
                    <a:pt x="269" y="440"/>
                  </a:lnTo>
                  <a:lnTo>
                    <a:pt x="251" y="446"/>
                  </a:lnTo>
                  <a:lnTo>
                    <a:pt x="229" y="451"/>
                  </a:lnTo>
                  <a:lnTo>
                    <a:pt x="209"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37">
              <a:extLst>
                <a:ext uri="{FF2B5EF4-FFF2-40B4-BE49-F238E27FC236}">
                  <a16:creationId xmlns:a16="http://schemas.microsoft.com/office/drawing/2014/main" id="{C244E352-9A6F-4BE8-A92E-60ABCD867C15}"/>
                </a:ext>
              </a:extLst>
            </p:cNvPr>
            <p:cNvSpPr>
              <a:spLocks/>
            </p:cNvSpPr>
            <p:nvPr/>
          </p:nvSpPr>
          <p:spPr bwMode="auto">
            <a:xfrm>
              <a:off x="3486150" y="1360488"/>
              <a:ext cx="373063" cy="236538"/>
            </a:xfrm>
            <a:custGeom>
              <a:avLst/>
              <a:gdLst>
                <a:gd name="T0" fmla="*/ 0 w 704"/>
                <a:gd name="T1" fmla="*/ 445 h 445"/>
                <a:gd name="T2" fmla="*/ 0 w 704"/>
                <a:gd name="T3" fmla="*/ 217 h 445"/>
                <a:gd name="T4" fmla="*/ 6 w 704"/>
                <a:gd name="T5" fmla="*/ 183 h 445"/>
                <a:gd name="T6" fmla="*/ 19 w 704"/>
                <a:gd name="T7" fmla="*/ 157 h 445"/>
                <a:gd name="T8" fmla="*/ 35 w 704"/>
                <a:gd name="T9" fmla="*/ 135 h 445"/>
                <a:gd name="T10" fmla="*/ 55 w 704"/>
                <a:gd name="T11" fmla="*/ 119 h 445"/>
                <a:gd name="T12" fmla="*/ 79 w 704"/>
                <a:gd name="T13" fmla="*/ 106 h 445"/>
                <a:gd name="T14" fmla="*/ 120 w 704"/>
                <a:gd name="T15" fmla="*/ 91 h 445"/>
                <a:gd name="T16" fmla="*/ 161 w 704"/>
                <a:gd name="T17" fmla="*/ 79 h 445"/>
                <a:gd name="T18" fmla="*/ 186 w 704"/>
                <a:gd name="T19" fmla="*/ 70 h 445"/>
                <a:gd name="T20" fmla="*/ 209 w 704"/>
                <a:gd name="T21" fmla="*/ 63 h 445"/>
                <a:gd name="T22" fmla="*/ 225 w 704"/>
                <a:gd name="T23" fmla="*/ 55 h 445"/>
                <a:gd name="T24" fmla="*/ 240 w 704"/>
                <a:gd name="T25" fmla="*/ 39 h 445"/>
                <a:gd name="T26" fmla="*/ 253 w 704"/>
                <a:gd name="T27" fmla="*/ 10 h 445"/>
                <a:gd name="T28" fmla="*/ 305 w 704"/>
                <a:gd name="T29" fmla="*/ 0 h 445"/>
                <a:gd name="T30" fmla="*/ 302 w 704"/>
                <a:gd name="T31" fmla="*/ 26 h 445"/>
                <a:gd name="T32" fmla="*/ 289 w 704"/>
                <a:gd name="T33" fmla="*/ 59 h 445"/>
                <a:gd name="T34" fmla="*/ 278 w 704"/>
                <a:gd name="T35" fmla="*/ 76 h 445"/>
                <a:gd name="T36" fmla="*/ 262 w 704"/>
                <a:gd name="T37" fmla="*/ 92 h 445"/>
                <a:gd name="T38" fmla="*/ 240 w 704"/>
                <a:gd name="T39" fmla="*/ 105 h 445"/>
                <a:gd name="T40" fmla="*/ 215 w 704"/>
                <a:gd name="T41" fmla="*/ 117 h 445"/>
                <a:gd name="T42" fmla="*/ 189 w 704"/>
                <a:gd name="T43" fmla="*/ 125 h 445"/>
                <a:gd name="T44" fmla="*/ 164 w 704"/>
                <a:gd name="T45" fmla="*/ 132 h 445"/>
                <a:gd name="T46" fmla="*/ 111 w 704"/>
                <a:gd name="T47" fmla="*/ 150 h 445"/>
                <a:gd name="T48" fmla="*/ 91 w 704"/>
                <a:gd name="T49" fmla="*/ 158 h 445"/>
                <a:gd name="T50" fmla="*/ 76 w 704"/>
                <a:gd name="T51" fmla="*/ 168 h 445"/>
                <a:gd name="T52" fmla="*/ 65 w 704"/>
                <a:gd name="T53" fmla="*/ 180 h 445"/>
                <a:gd name="T54" fmla="*/ 58 w 704"/>
                <a:gd name="T55" fmla="*/ 196 h 445"/>
                <a:gd name="T56" fmla="*/ 53 w 704"/>
                <a:gd name="T57" fmla="*/ 213 h 445"/>
                <a:gd name="T58" fmla="*/ 52 w 704"/>
                <a:gd name="T59" fmla="*/ 236 h 445"/>
                <a:gd name="T60" fmla="*/ 652 w 704"/>
                <a:gd name="T61" fmla="*/ 392 h 445"/>
                <a:gd name="T62" fmla="*/ 652 w 704"/>
                <a:gd name="T63" fmla="*/ 225 h 445"/>
                <a:gd name="T64" fmla="*/ 649 w 704"/>
                <a:gd name="T65" fmla="*/ 204 h 445"/>
                <a:gd name="T66" fmla="*/ 644 w 704"/>
                <a:gd name="T67" fmla="*/ 187 h 445"/>
                <a:gd name="T68" fmla="*/ 635 w 704"/>
                <a:gd name="T69" fmla="*/ 174 h 445"/>
                <a:gd name="T70" fmla="*/ 621 w 704"/>
                <a:gd name="T71" fmla="*/ 163 h 445"/>
                <a:gd name="T72" fmla="*/ 605 w 704"/>
                <a:gd name="T73" fmla="*/ 154 h 445"/>
                <a:gd name="T74" fmla="*/ 570 w 704"/>
                <a:gd name="T75" fmla="*/ 141 h 445"/>
                <a:gd name="T76" fmla="*/ 528 w 704"/>
                <a:gd name="T77" fmla="*/ 128 h 445"/>
                <a:gd name="T78" fmla="*/ 503 w 704"/>
                <a:gd name="T79" fmla="*/ 121 h 445"/>
                <a:gd name="T80" fmla="*/ 475 w 704"/>
                <a:gd name="T81" fmla="*/ 111 h 445"/>
                <a:gd name="T82" fmla="*/ 452 w 704"/>
                <a:gd name="T83" fmla="*/ 99 h 445"/>
                <a:gd name="T84" fmla="*/ 433 w 704"/>
                <a:gd name="T85" fmla="*/ 83 h 445"/>
                <a:gd name="T86" fmla="*/ 420 w 704"/>
                <a:gd name="T87" fmla="*/ 68 h 445"/>
                <a:gd name="T88" fmla="*/ 406 w 704"/>
                <a:gd name="T89" fmla="*/ 43 h 445"/>
                <a:gd name="T90" fmla="*/ 399 w 704"/>
                <a:gd name="T91" fmla="*/ 11 h 445"/>
                <a:gd name="T92" fmla="*/ 451 w 704"/>
                <a:gd name="T93" fmla="*/ 3 h 445"/>
                <a:gd name="T94" fmla="*/ 452 w 704"/>
                <a:gd name="T95" fmla="*/ 11 h 445"/>
                <a:gd name="T96" fmla="*/ 458 w 704"/>
                <a:gd name="T97" fmla="*/ 30 h 445"/>
                <a:gd name="T98" fmla="*/ 474 w 704"/>
                <a:gd name="T99" fmla="*/ 50 h 445"/>
                <a:gd name="T100" fmla="*/ 487 w 704"/>
                <a:gd name="T101" fmla="*/ 59 h 445"/>
                <a:gd name="T102" fmla="*/ 505 w 704"/>
                <a:gd name="T103" fmla="*/ 68 h 445"/>
                <a:gd name="T104" fmla="*/ 531 w 704"/>
                <a:gd name="T105" fmla="*/ 75 h 445"/>
                <a:gd name="T106" fmla="*/ 556 w 704"/>
                <a:gd name="T107" fmla="*/ 82 h 445"/>
                <a:gd name="T108" fmla="*/ 612 w 704"/>
                <a:gd name="T109" fmla="*/ 101 h 445"/>
                <a:gd name="T110" fmla="*/ 638 w 704"/>
                <a:gd name="T111" fmla="*/ 112 h 445"/>
                <a:gd name="T112" fmla="*/ 660 w 704"/>
                <a:gd name="T113" fmla="*/ 127 h 445"/>
                <a:gd name="T114" fmla="*/ 678 w 704"/>
                <a:gd name="T115" fmla="*/ 145 h 445"/>
                <a:gd name="T116" fmla="*/ 693 w 704"/>
                <a:gd name="T117" fmla="*/ 170 h 445"/>
                <a:gd name="T118" fmla="*/ 701 w 704"/>
                <a:gd name="T119" fmla="*/ 200 h 445"/>
                <a:gd name="T120" fmla="*/ 704 w 704"/>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5">
                  <a:moveTo>
                    <a:pt x="704" y="445"/>
                  </a:moveTo>
                  <a:lnTo>
                    <a:pt x="0" y="445"/>
                  </a:lnTo>
                  <a:lnTo>
                    <a:pt x="0" y="236"/>
                  </a:lnTo>
                  <a:lnTo>
                    <a:pt x="0" y="217"/>
                  </a:lnTo>
                  <a:lnTo>
                    <a:pt x="3" y="200"/>
                  </a:lnTo>
                  <a:lnTo>
                    <a:pt x="6" y="183"/>
                  </a:lnTo>
                  <a:lnTo>
                    <a:pt x="12" y="170"/>
                  </a:lnTo>
                  <a:lnTo>
                    <a:pt x="19" y="157"/>
                  </a:lnTo>
                  <a:lnTo>
                    <a:pt x="26" y="145"/>
                  </a:lnTo>
                  <a:lnTo>
                    <a:pt x="35" y="135"/>
                  </a:lnTo>
                  <a:lnTo>
                    <a:pt x="45" y="127"/>
                  </a:lnTo>
                  <a:lnTo>
                    <a:pt x="55" y="119"/>
                  </a:lnTo>
                  <a:lnTo>
                    <a:pt x="66" y="112"/>
                  </a:lnTo>
                  <a:lnTo>
                    <a:pt x="79" y="106"/>
                  </a:lnTo>
                  <a:lnTo>
                    <a:pt x="92" y="101"/>
                  </a:lnTo>
                  <a:lnTo>
                    <a:pt x="120" y="91"/>
                  </a:lnTo>
                  <a:lnTo>
                    <a:pt x="150" y="82"/>
                  </a:lnTo>
                  <a:lnTo>
                    <a:pt x="161" y="79"/>
                  </a:lnTo>
                  <a:lnTo>
                    <a:pt x="173" y="75"/>
                  </a:lnTo>
                  <a:lnTo>
                    <a:pt x="186" y="70"/>
                  </a:lnTo>
                  <a:lnTo>
                    <a:pt x="199" y="68"/>
                  </a:lnTo>
                  <a:lnTo>
                    <a:pt x="209" y="63"/>
                  </a:lnTo>
                  <a:lnTo>
                    <a:pt x="217" y="59"/>
                  </a:lnTo>
                  <a:lnTo>
                    <a:pt x="225" y="55"/>
                  </a:lnTo>
                  <a:lnTo>
                    <a:pt x="232" y="49"/>
                  </a:lnTo>
                  <a:lnTo>
                    <a:pt x="240" y="39"/>
                  </a:lnTo>
                  <a:lnTo>
                    <a:pt x="248" y="27"/>
                  </a:lnTo>
                  <a:lnTo>
                    <a:pt x="253" y="10"/>
                  </a:lnTo>
                  <a:lnTo>
                    <a:pt x="253" y="3"/>
                  </a:lnTo>
                  <a:lnTo>
                    <a:pt x="305" y="0"/>
                  </a:lnTo>
                  <a:lnTo>
                    <a:pt x="305" y="11"/>
                  </a:lnTo>
                  <a:lnTo>
                    <a:pt x="302" y="26"/>
                  </a:lnTo>
                  <a:lnTo>
                    <a:pt x="298" y="43"/>
                  </a:lnTo>
                  <a:lnTo>
                    <a:pt x="289" y="59"/>
                  </a:lnTo>
                  <a:lnTo>
                    <a:pt x="284" y="68"/>
                  </a:lnTo>
                  <a:lnTo>
                    <a:pt x="278" y="76"/>
                  </a:lnTo>
                  <a:lnTo>
                    <a:pt x="271" y="83"/>
                  </a:lnTo>
                  <a:lnTo>
                    <a:pt x="262" y="92"/>
                  </a:lnTo>
                  <a:lnTo>
                    <a:pt x="252" y="99"/>
                  </a:lnTo>
                  <a:lnTo>
                    <a:pt x="240" y="105"/>
                  </a:lnTo>
                  <a:lnTo>
                    <a:pt x="229" y="111"/>
                  </a:lnTo>
                  <a:lnTo>
                    <a:pt x="215" y="117"/>
                  </a:lnTo>
                  <a:lnTo>
                    <a:pt x="202" y="121"/>
                  </a:lnTo>
                  <a:lnTo>
                    <a:pt x="189" y="125"/>
                  </a:lnTo>
                  <a:lnTo>
                    <a:pt x="176" y="128"/>
                  </a:lnTo>
                  <a:lnTo>
                    <a:pt x="164" y="132"/>
                  </a:lnTo>
                  <a:lnTo>
                    <a:pt x="134" y="141"/>
                  </a:lnTo>
                  <a:lnTo>
                    <a:pt x="111" y="150"/>
                  </a:lnTo>
                  <a:lnTo>
                    <a:pt x="101" y="154"/>
                  </a:lnTo>
                  <a:lnTo>
                    <a:pt x="91" y="158"/>
                  </a:lnTo>
                  <a:lnTo>
                    <a:pt x="84" y="163"/>
                  </a:lnTo>
                  <a:lnTo>
                    <a:pt x="76" y="168"/>
                  </a:lnTo>
                  <a:lnTo>
                    <a:pt x="69" y="174"/>
                  </a:lnTo>
                  <a:lnTo>
                    <a:pt x="65" y="180"/>
                  </a:lnTo>
                  <a:lnTo>
                    <a:pt x="60" y="187"/>
                  </a:lnTo>
                  <a:lnTo>
                    <a:pt x="58" y="196"/>
                  </a:lnTo>
                  <a:lnTo>
                    <a:pt x="55" y="204"/>
                  </a:lnTo>
                  <a:lnTo>
                    <a:pt x="53" y="213"/>
                  </a:lnTo>
                  <a:lnTo>
                    <a:pt x="52" y="225"/>
                  </a:lnTo>
                  <a:lnTo>
                    <a:pt x="52" y="236"/>
                  </a:lnTo>
                  <a:lnTo>
                    <a:pt x="52" y="392"/>
                  </a:lnTo>
                  <a:lnTo>
                    <a:pt x="652" y="392"/>
                  </a:lnTo>
                  <a:lnTo>
                    <a:pt x="652" y="236"/>
                  </a:lnTo>
                  <a:lnTo>
                    <a:pt x="652" y="225"/>
                  </a:lnTo>
                  <a:lnTo>
                    <a:pt x="651" y="213"/>
                  </a:lnTo>
                  <a:lnTo>
                    <a:pt x="649" y="204"/>
                  </a:lnTo>
                  <a:lnTo>
                    <a:pt x="647" y="196"/>
                  </a:lnTo>
                  <a:lnTo>
                    <a:pt x="644" y="187"/>
                  </a:lnTo>
                  <a:lnTo>
                    <a:pt x="639" y="180"/>
                  </a:lnTo>
                  <a:lnTo>
                    <a:pt x="635" y="174"/>
                  </a:lnTo>
                  <a:lnTo>
                    <a:pt x="628" y="168"/>
                  </a:lnTo>
                  <a:lnTo>
                    <a:pt x="621" y="163"/>
                  </a:lnTo>
                  <a:lnTo>
                    <a:pt x="613" y="158"/>
                  </a:lnTo>
                  <a:lnTo>
                    <a:pt x="605" y="154"/>
                  </a:lnTo>
                  <a:lnTo>
                    <a:pt x="593" y="150"/>
                  </a:lnTo>
                  <a:lnTo>
                    <a:pt x="570" y="141"/>
                  </a:lnTo>
                  <a:lnTo>
                    <a:pt x="540" y="132"/>
                  </a:lnTo>
                  <a:lnTo>
                    <a:pt x="528" y="128"/>
                  </a:lnTo>
                  <a:lnTo>
                    <a:pt x="516" y="125"/>
                  </a:lnTo>
                  <a:lnTo>
                    <a:pt x="503" y="121"/>
                  </a:lnTo>
                  <a:lnTo>
                    <a:pt x="490" y="117"/>
                  </a:lnTo>
                  <a:lnTo>
                    <a:pt x="475" y="111"/>
                  </a:lnTo>
                  <a:lnTo>
                    <a:pt x="464" y="105"/>
                  </a:lnTo>
                  <a:lnTo>
                    <a:pt x="452" y="99"/>
                  </a:lnTo>
                  <a:lnTo>
                    <a:pt x="442" y="92"/>
                  </a:lnTo>
                  <a:lnTo>
                    <a:pt x="433" y="83"/>
                  </a:lnTo>
                  <a:lnTo>
                    <a:pt x="426" y="76"/>
                  </a:lnTo>
                  <a:lnTo>
                    <a:pt x="420" y="68"/>
                  </a:lnTo>
                  <a:lnTo>
                    <a:pt x="415" y="59"/>
                  </a:lnTo>
                  <a:lnTo>
                    <a:pt x="406" y="43"/>
                  </a:lnTo>
                  <a:lnTo>
                    <a:pt x="402" y="26"/>
                  </a:lnTo>
                  <a:lnTo>
                    <a:pt x="399" y="11"/>
                  </a:lnTo>
                  <a:lnTo>
                    <a:pt x="399" y="0"/>
                  </a:lnTo>
                  <a:lnTo>
                    <a:pt x="451" y="3"/>
                  </a:lnTo>
                  <a:lnTo>
                    <a:pt x="451" y="6"/>
                  </a:lnTo>
                  <a:lnTo>
                    <a:pt x="452" y="11"/>
                  </a:lnTo>
                  <a:lnTo>
                    <a:pt x="454" y="20"/>
                  </a:lnTo>
                  <a:lnTo>
                    <a:pt x="458" y="30"/>
                  </a:lnTo>
                  <a:lnTo>
                    <a:pt x="464" y="40"/>
                  </a:lnTo>
                  <a:lnTo>
                    <a:pt x="474" y="50"/>
                  </a:lnTo>
                  <a:lnTo>
                    <a:pt x="480" y="55"/>
                  </a:lnTo>
                  <a:lnTo>
                    <a:pt x="487" y="59"/>
                  </a:lnTo>
                  <a:lnTo>
                    <a:pt x="495" y="63"/>
                  </a:lnTo>
                  <a:lnTo>
                    <a:pt x="505" y="68"/>
                  </a:lnTo>
                  <a:lnTo>
                    <a:pt x="518" y="70"/>
                  </a:lnTo>
                  <a:lnTo>
                    <a:pt x="531" y="75"/>
                  </a:lnTo>
                  <a:lnTo>
                    <a:pt x="543" y="79"/>
                  </a:lnTo>
                  <a:lnTo>
                    <a:pt x="556" y="82"/>
                  </a:lnTo>
                  <a:lnTo>
                    <a:pt x="585" y="91"/>
                  </a:lnTo>
                  <a:lnTo>
                    <a:pt x="612" y="101"/>
                  </a:lnTo>
                  <a:lnTo>
                    <a:pt x="625" y="106"/>
                  </a:lnTo>
                  <a:lnTo>
                    <a:pt x="638" y="112"/>
                  </a:lnTo>
                  <a:lnTo>
                    <a:pt x="649" y="119"/>
                  </a:lnTo>
                  <a:lnTo>
                    <a:pt x="660" y="127"/>
                  </a:lnTo>
                  <a:lnTo>
                    <a:pt x="670" y="135"/>
                  </a:lnTo>
                  <a:lnTo>
                    <a:pt x="678" y="145"/>
                  </a:lnTo>
                  <a:lnTo>
                    <a:pt x="687" y="157"/>
                  </a:lnTo>
                  <a:lnTo>
                    <a:pt x="693" y="170"/>
                  </a:lnTo>
                  <a:lnTo>
                    <a:pt x="698" y="183"/>
                  </a:lnTo>
                  <a:lnTo>
                    <a:pt x="701" y="200"/>
                  </a:lnTo>
                  <a:lnTo>
                    <a:pt x="704" y="217"/>
                  </a:lnTo>
                  <a:lnTo>
                    <a:pt x="704" y="236"/>
                  </a:lnTo>
                  <a:lnTo>
                    <a:pt x="704"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38">
              <a:extLst>
                <a:ext uri="{FF2B5EF4-FFF2-40B4-BE49-F238E27FC236}">
                  <a16:creationId xmlns:a16="http://schemas.microsoft.com/office/drawing/2014/main" id="{C4DAE264-A208-4707-A1DB-D878BDBB556F}"/>
                </a:ext>
              </a:extLst>
            </p:cNvPr>
            <p:cNvSpPr>
              <a:spLocks/>
            </p:cNvSpPr>
            <p:nvPr/>
          </p:nvSpPr>
          <p:spPr bwMode="auto">
            <a:xfrm>
              <a:off x="3573463" y="1200151"/>
              <a:ext cx="195263" cy="55563"/>
            </a:xfrm>
            <a:custGeom>
              <a:avLst/>
              <a:gdLst>
                <a:gd name="T0" fmla="*/ 89 w 370"/>
                <a:gd name="T1" fmla="*/ 106 h 106"/>
                <a:gd name="T2" fmla="*/ 68 w 370"/>
                <a:gd name="T3" fmla="*/ 106 h 106"/>
                <a:gd name="T4" fmla="*/ 46 w 370"/>
                <a:gd name="T5" fmla="*/ 103 h 106"/>
                <a:gd name="T6" fmla="*/ 23 w 370"/>
                <a:gd name="T7" fmla="*/ 100 h 106"/>
                <a:gd name="T8" fmla="*/ 0 w 370"/>
                <a:gd name="T9" fmla="*/ 96 h 106"/>
                <a:gd name="T10" fmla="*/ 13 w 370"/>
                <a:gd name="T11" fmla="*/ 44 h 106"/>
                <a:gd name="T12" fmla="*/ 38 w 370"/>
                <a:gd name="T13" fmla="*/ 50 h 106"/>
                <a:gd name="T14" fmla="*/ 61 w 370"/>
                <a:gd name="T15" fmla="*/ 53 h 106"/>
                <a:gd name="T16" fmla="*/ 84 w 370"/>
                <a:gd name="T17" fmla="*/ 54 h 106"/>
                <a:gd name="T18" fmla="*/ 105 w 370"/>
                <a:gd name="T19" fmla="*/ 54 h 106"/>
                <a:gd name="T20" fmla="*/ 125 w 370"/>
                <a:gd name="T21" fmla="*/ 52 h 106"/>
                <a:gd name="T22" fmla="*/ 144 w 370"/>
                <a:gd name="T23" fmla="*/ 49 h 106"/>
                <a:gd name="T24" fmla="*/ 163 w 370"/>
                <a:gd name="T25" fmla="*/ 46 h 106"/>
                <a:gd name="T26" fmla="*/ 179 w 370"/>
                <a:gd name="T27" fmla="*/ 41 h 106"/>
                <a:gd name="T28" fmla="*/ 208 w 370"/>
                <a:gd name="T29" fmla="*/ 31 h 106"/>
                <a:gd name="T30" fmla="*/ 228 w 370"/>
                <a:gd name="T31" fmla="*/ 23 h 106"/>
                <a:gd name="T32" fmla="*/ 241 w 370"/>
                <a:gd name="T33" fmla="*/ 16 h 106"/>
                <a:gd name="T34" fmla="*/ 246 w 370"/>
                <a:gd name="T35" fmla="*/ 13 h 106"/>
                <a:gd name="T36" fmla="*/ 264 w 370"/>
                <a:gd name="T37" fmla="*/ 0 h 106"/>
                <a:gd name="T38" fmla="*/ 280 w 370"/>
                <a:gd name="T39" fmla="*/ 16 h 106"/>
                <a:gd name="T40" fmla="*/ 285 w 370"/>
                <a:gd name="T41" fmla="*/ 20 h 106"/>
                <a:gd name="T42" fmla="*/ 303 w 370"/>
                <a:gd name="T43" fmla="*/ 30 h 106"/>
                <a:gd name="T44" fmla="*/ 316 w 370"/>
                <a:gd name="T45" fmla="*/ 36 h 106"/>
                <a:gd name="T46" fmla="*/ 330 w 370"/>
                <a:gd name="T47" fmla="*/ 40 h 106"/>
                <a:gd name="T48" fmla="*/ 349 w 370"/>
                <a:gd name="T49" fmla="*/ 43 h 106"/>
                <a:gd name="T50" fmla="*/ 369 w 370"/>
                <a:gd name="T51" fmla="*/ 44 h 106"/>
                <a:gd name="T52" fmla="*/ 370 w 370"/>
                <a:gd name="T53" fmla="*/ 96 h 106"/>
                <a:gd name="T54" fmla="*/ 350 w 370"/>
                <a:gd name="T55" fmla="*/ 96 h 106"/>
                <a:gd name="T56" fmla="*/ 333 w 370"/>
                <a:gd name="T57" fmla="*/ 93 h 106"/>
                <a:gd name="T58" fmla="*/ 316 w 370"/>
                <a:gd name="T59" fmla="*/ 90 h 106"/>
                <a:gd name="T60" fmla="*/ 301 w 370"/>
                <a:gd name="T61" fmla="*/ 86 h 106"/>
                <a:gd name="T62" fmla="*/ 288 w 370"/>
                <a:gd name="T63" fmla="*/ 80 h 106"/>
                <a:gd name="T64" fmla="*/ 277 w 370"/>
                <a:gd name="T65" fmla="*/ 76 h 106"/>
                <a:gd name="T66" fmla="*/ 267 w 370"/>
                <a:gd name="T67" fmla="*/ 70 h 106"/>
                <a:gd name="T68" fmla="*/ 259 w 370"/>
                <a:gd name="T69" fmla="*/ 66 h 106"/>
                <a:gd name="T70" fmla="*/ 246 w 370"/>
                <a:gd name="T71" fmla="*/ 72 h 106"/>
                <a:gd name="T72" fmla="*/ 232 w 370"/>
                <a:gd name="T73" fmla="*/ 77 h 106"/>
                <a:gd name="T74" fmla="*/ 213 w 370"/>
                <a:gd name="T75" fmla="*/ 85 h 106"/>
                <a:gd name="T76" fmla="*/ 193 w 370"/>
                <a:gd name="T77" fmla="*/ 92 h 106"/>
                <a:gd name="T78" fmla="*/ 170 w 370"/>
                <a:gd name="T79" fmla="*/ 98 h 106"/>
                <a:gd name="T80" fmla="*/ 146 w 370"/>
                <a:gd name="T81" fmla="*/ 102 h 106"/>
                <a:gd name="T82" fmla="*/ 118 w 370"/>
                <a:gd name="T83" fmla="*/ 105 h 106"/>
                <a:gd name="T84" fmla="*/ 89 w 370"/>
                <a:gd name="T8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6">
                  <a:moveTo>
                    <a:pt x="89" y="106"/>
                  </a:moveTo>
                  <a:lnTo>
                    <a:pt x="68" y="106"/>
                  </a:lnTo>
                  <a:lnTo>
                    <a:pt x="46" y="103"/>
                  </a:lnTo>
                  <a:lnTo>
                    <a:pt x="23" y="100"/>
                  </a:lnTo>
                  <a:lnTo>
                    <a:pt x="0" y="96"/>
                  </a:lnTo>
                  <a:lnTo>
                    <a:pt x="13" y="44"/>
                  </a:lnTo>
                  <a:lnTo>
                    <a:pt x="38" y="50"/>
                  </a:lnTo>
                  <a:lnTo>
                    <a:pt x="61" y="53"/>
                  </a:lnTo>
                  <a:lnTo>
                    <a:pt x="84" y="54"/>
                  </a:lnTo>
                  <a:lnTo>
                    <a:pt x="105" y="54"/>
                  </a:lnTo>
                  <a:lnTo>
                    <a:pt x="125" y="52"/>
                  </a:lnTo>
                  <a:lnTo>
                    <a:pt x="144" y="49"/>
                  </a:lnTo>
                  <a:lnTo>
                    <a:pt x="163" y="46"/>
                  </a:lnTo>
                  <a:lnTo>
                    <a:pt x="179" y="41"/>
                  </a:lnTo>
                  <a:lnTo>
                    <a:pt x="208" y="31"/>
                  </a:lnTo>
                  <a:lnTo>
                    <a:pt x="228" y="23"/>
                  </a:lnTo>
                  <a:lnTo>
                    <a:pt x="241" y="16"/>
                  </a:lnTo>
                  <a:lnTo>
                    <a:pt x="246" y="13"/>
                  </a:lnTo>
                  <a:lnTo>
                    <a:pt x="264" y="0"/>
                  </a:lnTo>
                  <a:lnTo>
                    <a:pt x="280" y="16"/>
                  </a:lnTo>
                  <a:lnTo>
                    <a:pt x="285" y="20"/>
                  </a:lnTo>
                  <a:lnTo>
                    <a:pt x="303" y="30"/>
                  </a:lnTo>
                  <a:lnTo>
                    <a:pt x="316" y="36"/>
                  </a:lnTo>
                  <a:lnTo>
                    <a:pt x="330" y="40"/>
                  </a:lnTo>
                  <a:lnTo>
                    <a:pt x="349" y="43"/>
                  </a:lnTo>
                  <a:lnTo>
                    <a:pt x="369" y="44"/>
                  </a:lnTo>
                  <a:lnTo>
                    <a:pt x="370" y="96"/>
                  </a:lnTo>
                  <a:lnTo>
                    <a:pt x="350" y="96"/>
                  </a:lnTo>
                  <a:lnTo>
                    <a:pt x="333" y="93"/>
                  </a:lnTo>
                  <a:lnTo>
                    <a:pt x="316" y="90"/>
                  </a:lnTo>
                  <a:lnTo>
                    <a:pt x="301" y="86"/>
                  </a:lnTo>
                  <a:lnTo>
                    <a:pt x="288" y="80"/>
                  </a:lnTo>
                  <a:lnTo>
                    <a:pt x="277" y="76"/>
                  </a:lnTo>
                  <a:lnTo>
                    <a:pt x="267" y="70"/>
                  </a:lnTo>
                  <a:lnTo>
                    <a:pt x="259" y="66"/>
                  </a:lnTo>
                  <a:lnTo>
                    <a:pt x="246" y="72"/>
                  </a:lnTo>
                  <a:lnTo>
                    <a:pt x="232" y="77"/>
                  </a:lnTo>
                  <a:lnTo>
                    <a:pt x="213" y="85"/>
                  </a:lnTo>
                  <a:lnTo>
                    <a:pt x="193" y="92"/>
                  </a:lnTo>
                  <a:lnTo>
                    <a:pt x="170" y="98"/>
                  </a:lnTo>
                  <a:lnTo>
                    <a:pt x="146" y="102"/>
                  </a:lnTo>
                  <a:lnTo>
                    <a:pt x="118" y="105"/>
                  </a:lnTo>
                  <a:lnTo>
                    <a:pt x="89"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39">
              <a:extLst>
                <a:ext uri="{FF2B5EF4-FFF2-40B4-BE49-F238E27FC236}">
                  <a16:creationId xmlns:a16="http://schemas.microsoft.com/office/drawing/2014/main" id="{9BD92CCA-52F3-493C-8684-A3C8C8277071}"/>
                </a:ext>
              </a:extLst>
            </p:cNvPr>
            <p:cNvSpPr>
              <a:spLocks noEditPoints="1"/>
            </p:cNvSpPr>
            <p:nvPr/>
          </p:nvSpPr>
          <p:spPr bwMode="auto">
            <a:xfrm>
              <a:off x="3990975" y="1146176"/>
              <a:ext cx="219075" cy="238125"/>
            </a:xfrm>
            <a:custGeom>
              <a:avLst/>
              <a:gdLst>
                <a:gd name="T0" fmla="*/ 175 w 414"/>
                <a:gd name="T1" fmla="*/ 56 h 451"/>
                <a:gd name="T2" fmla="*/ 134 w 414"/>
                <a:gd name="T3" fmla="*/ 73 h 451"/>
                <a:gd name="T4" fmla="*/ 98 w 414"/>
                <a:gd name="T5" fmla="*/ 104 h 451"/>
                <a:gd name="T6" fmla="*/ 70 w 414"/>
                <a:gd name="T7" fmla="*/ 142 h 451"/>
                <a:gd name="T8" fmla="*/ 56 w 414"/>
                <a:gd name="T9" fmla="*/ 191 h 451"/>
                <a:gd name="T10" fmla="*/ 53 w 414"/>
                <a:gd name="T11" fmla="*/ 243 h 451"/>
                <a:gd name="T12" fmla="*/ 65 w 414"/>
                <a:gd name="T13" fmla="*/ 294 h 451"/>
                <a:gd name="T14" fmla="*/ 88 w 414"/>
                <a:gd name="T15" fmla="*/ 335 h 451"/>
                <a:gd name="T16" fmla="*/ 121 w 414"/>
                <a:gd name="T17" fmla="*/ 370 h 451"/>
                <a:gd name="T18" fmla="*/ 161 w 414"/>
                <a:gd name="T19" fmla="*/ 392 h 451"/>
                <a:gd name="T20" fmla="*/ 207 w 414"/>
                <a:gd name="T21" fmla="*/ 399 h 451"/>
                <a:gd name="T22" fmla="*/ 253 w 414"/>
                <a:gd name="T23" fmla="*/ 392 h 451"/>
                <a:gd name="T24" fmla="*/ 293 w 414"/>
                <a:gd name="T25" fmla="*/ 370 h 451"/>
                <a:gd name="T26" fmla="*/ 327 w 414"/>
                <a:gd name="T27" fmla="*/ 335 h 451"/>
                <a:gd name="T28" fmla="*/ 350 w 414"/>
                <a:gd name="T29" fmla="*/ 294 h 451"/>
                <a:gd name="T30" fmla="*/ 361 w 414"/>
                <a:gd name="T31" fmla="*/ 243 h 451"/>
                <a:gd name="T32" fmla="*/ 360 w 414"/>
                <a:gd name="T33" fmla="*/ 191 h 451"/>
                <a:gd name="T34" fmla="*/ 344 w 414"/>
                <a:gd name="T35" fmla="*/ 142 h 451"/>
                <a:gd name="T36" fmla="*/ 317 w 414"/>
                <a:gd name="T37" fmla="*/ 104 h 451"/>
                <a:gd name="T38" fmla="*/ 281 w 414"/>
                <a:gd name="T39" fmla="*/ 73 h 451"/>
                <a:gd name="T40" fmla="*/ 239 w 414"/>
                <a:gd name="T41" fmla="*/ 56 h 451"/>
                <a:gd name="T42" fmla="*/ 207 w 414"/>
                <a:gd name="T43" fmla="*/ 451 h 451"/>
                <a:gd name="T44" fmla="*/ 145 w 414"/>
                <a:gd name="T45" fmla="*/ 440 h 451"/>
                <a:gd name="T46" fmla="*/ 92 w 414"/>
                <a:gd name="T47" fmla="*/ 413 h 451"/>
                <a:gd name="T48" fmla="*/ 47 w 414"/>
                <a:gd name="T49" fmla="*/ 368 h 451"/>
                <a:gd name="T50" fmla="*/ 16 w 414"/>
                <a:gd name="T51" fmla="*/ 314 h 451"/>
                <a:gd name="T52" fmla="*/ 1 w 414"/>
                <a:gd name="T53" fmla="*/ 249 h 451"/>
                <a:gd name="T54" fmla="*/ 4 w 414"/>
                <a:gd name="T55" fmla="*/ 180 h 451"/>
                <a:gd name="T56" fmla="*/ 24 w 414"/>
                <a:gd name="T57" fmla="*/ 118 h 451"/>
                <a:gd name="T58" fmla="*/ 60 w 414"/>
                <a:gd name="T59" fmla="*/ 66 h 451"/>
                <a:gd name="T60" fmla="*/ 109 w 414"/>
                <a:gd name="T61" fmla="*/ 27 h 451"/>
                <a:gd name="T62" fmla="*/ 165 w 414"/>
                <a:gd name="T63" fmla="*/ 4 h 451"/>
                <a:gd name="T64" fmla="*/ 229 w 414"/>
                <a:gd name="T65" fmla="*/ 1 h 451"/>
                <a:gd name="T66" fmla="*/ 288 w 414"/>
                <a:gd name="T67" fmla="*/ 17 h 451"/>
                <a:gd name="T68" fmla="*/ 340 w 414"/>
                <a:gd name="T69" fmla="*/ 52 h 451"/>
                <a:gd name="T70" fmla="*/ 380 w 414"/>
                <a:gd name="T71" fmla="*/ 99 h 451"/>
                <a:gd name="T72" fmla="*/ 406 w 414"/>
                <a:gd name="T73" fmla="*/ 158 h 451"/>
                <a:gd name="T74" fmla="*/ 414 w 414"/>
                <a:gd name="T75" fmla="*/ 226 h 451"/>
                <a:gd name="T76" fmla="*/ 406 w 414"/>
                <a:gd name="T77" fmla="*/ 292 h 451"/>
                <a:gd name="T78" fmla="*/ 380 w 414"/>
                <a:gd name="T79" fmla="*/ 351 h 451"/>
                <a:gd name="T80" fmla="*/ 340 w 414"/>
                <a:gd name="T81" fmla="*/ 400 h 451"/>
                <a:gd name="T82" fmla="*/ 288 w 414"/>
                <a:gd name="T83" fmla="*/ 433 h 451"/>
                <a:gd name="T84" fmla="*/ 229 w 414"/>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4" h="451">
                  <a:moveTo>
                    <a:pt x="207" y="52"/>
                  </a:moveTo>
                  <a:lnTo>
                    <a:pt x="191" y="53"/>
                  </a:lnTo>
                  <a:lnTo>
                    <a:pt x="175" y="56"/>
                  </a:lnTo>
                  <a:lnTo>
                    <a:pt x="161" y="60"/>
                  </a:lnTo>
                  <a:lnTo>
                    <a:pt x="147" y="66"/>
                  </a:lnTo>
                  <a:lnTo>
                    <a:pt x="134" y="73"/>
                  </a:lnTo>
                  <a:lnTo>
                    <a:pt x="121" y="82"/>
                  </a:lnTo>
                  <a:lnTo>
                    <a:pt x="109" y="92"/>
                  </a:lnTo>
                  <a:lnTo>
                    <a:pt x="98" y="104"/>
                  </a:lnTo>
                  <a:lnTo>
                    <a:pt x="88" y="115"/>
                  </a:lnTo>
                  <a:lnTo>
                    <a:pt x="79" y="128"/>
                  </a:lnTo>
                  <a:lnTo>
                    <a:pt x="70" y="142"/>
                  </a:lnTo>
                  <a:lnTo>
                    <a:pt x="65" y="158"/>
                  </a:lnTo>
                  <a:lnTo>
                    <a:pt x="59" y="174"/>
                  </a:lnTo>
                  <a:lnTo>
                    <a:pt x="56" y="191"/>
                  </a:lnTo>
                  <a:lnTo>
                    <a:pt x="53" y="207"/>
                  </a:lnTo>
                  <a:lnTo>
                    <a:pt x="52" y="226"/>
                  </a:lnTo>
                  <a:lnTo>
                    <a:pt x="53" y="243"/>
                  </a:lnTo>
                  <a:lnTo>
                    <a:pt x="56" y="260"/>
                  </a:lnTo>
                  <a:lnTo>
                    <a:pt x="59" y="278"/>
                  </a:lnTo>
                  <a:lnTo>
                    <a:pt x="65" y="294"/>
                  </a:lnTo>
                  <a:lnTo>
                    <a:pt x="70" y="308"/>
                  </a:lnTo>
                  <a:lnTo>
                    <a:pt x="79" y="322"/>
                  </a:lnTo>
                  <a:lnTo>
                    <a:pt x="88" y="335"/>
                  </a:lnTo>
                  <a:lnTo>
                    <a:pt x="98" y="348"/>
                  </a:lnTo>
                  <a:lnTo>
                    <a:pt x="109" y="360"/>
                  </a:lnTo>
                  <a:lnTo>
                    <a:pt x="121" y="370"/>
                  </a:lnTo>
                  <a:lnTo>
                    <a:pt x="134" y="379"/>
                  </a:lnTo>
                  <a:lnTo>
                    <a:pt x="147" y="386"/>
                  </a:lnTo>
                  <a:lnTo>
                    <a:pt x="161" y="392"/>
                  </a:lnTo>
                  <a:lnTo>
                    <a:pt x="175" y="396"/>
                  </a:lnTo>
                  <a:lnTo>
                    <a:pt x="191" y="399"/>
                  </a:lnTo>
                  <a:lnTo>
                    <a:pt x="207" y="399"/>
                  </a:lnTo>
                  <a:lnTo>
                    <a:pt x="223" y="399"/>
                  </a:lnTo>
                  <a:lnTo>
                    <a:pt x="239" y="396"/>
                  </a:lnTo>
                  <a:lnTo>
                    <a:pt x="253" y="392"/>
                  </a:lnTo>
                  <a:lnTo>
                    <a:pt x="268" y="386"/>
                  </a:lnTo>
                  <a:lnTo>
                    <a:pt x="281" y="379"/>
                  </a:lnTo>
                  <a:lnTo>
                    <a:pt x="293" y="370"/>
                  </a:lnTo>
                  <a:lnTo>
                    <a:pt x="306" y="360"/>
                  </a:lnTo>
                  <a:lnTo>
                    <a:pt x="317" y="348"/>
                  </a:lnTo>
                  <a:lnTo>
                    <a:pt x="327" y="335"/>
                  </a:lnTo>
                  <a:lnTo>
                    <a:pt x="337" y="322"/>
                  </a:lnTo>
                  <a:lnTo>
                    <a:pt x="344" y="308"/>
                  </a:lnTo>
                  <a:lnTo>
                    <a:pt x="350" y="294"/>
                  </a:lnTo>
                  <a:lnTo>
                    <a:pt x="355" y="278"/>
                  </a:lnTo>
                  <a:lnTo>
                    <a:pt x="360" y="260"/>
                  </a:lnTo>
                  <a:lnTo>
                    <a:pt x="361" y="243"/>
                  </a:lnTo>
                  <a:lnTo>
                    <a:pt x="363" y="226"/>
                  </a:lnTo>
                  <a:lnTo>
                    <a:pt x="361" y="207"/>
                  </a:lnTo>
                  <a:lnTo>
                    <a:pt x="360" y="191"/>
                  </a:lnTo>
                  <a:lnTo>
                    <a:pt x="355" y="174"/>
                  </a:lnTo>
                  <a:lnTo>
                    <a:pt x="350" y="158"/>
                  </a:lnTo>
                  <a:lnTo>
                    <a:pt x="344" y="142"/>
                  </a:lnTo>
                  <a:lnTo>
                    <a:pt x="337" y="128"/>
                  </a:lnTo>
                  <a:lnTo>
                    <a:pt x="327" y="115"/>
                  </a:lnTo>
                  <a:lnTo>
                    <a:pt x="317" y="104"/>
                  </a:lnTo>
                  <a:lnTo>
                    <a:pt x="306" y="92"/>
                  </a:lnTo>
                  <a:lnTo>
                    <a:pt x="293" y="82"/>
                  </a:lnTo>
                  <a:lnTo>
                    <a:pt x="281" y="73"/>
                  </a:lnTo>
                  <a:lnTo>
                    <a:pt x="268" y="66"/>
                  </a:lnTo>
                  <a:lnTo>
                    <a:pt x="253" y="60"/>
                  </a:lnTo>
                  <a:lnTo>
                    <a:pt x="239" y="56"/>
                  </a:lnTo>
                  <a:lnTo>
                    <a:pt x="223" y="53"/>
                  </a:lnTo>
                  <a:lnTo>
                    <a:pt x="207" y="52"/>
                  </a:lnTo>
                  <a:close/>
                  <a:moveTo>
                    <a:pt x="207" y="451"/>
                  </a:moveTo>
                  <a:lnTo>
                    <a:pt x="185" y="451"/>
                  </a:lnTo>
                  <a:lnTo>
                    <a:pt x="165" y="446"/>
                  </a:lnTo>
                  <a:lnTo>
                    <a:pt x="145" y="440"/>
                  </a:lnTo>
                  <a:lnTo>
                    <a:pt x="126" y="433"/>
                  </a:lnTo>
                  <a:lnTo>
                    <a:pt x="109" y="425"/>
                  </a:lnTo>
                  <a:lnTo>
                    <a:pt x="92" y="413"/>
                  </a:lnTo>
                  <a:lnTo>
                    <a:pt x="76" y="400"/>
                  </a:lnTo>
                  <a:lnTo>
                    <a:pt x="60" y="386"/>
                  </a:lnTo>
                  <a:lnTo>
                    <a:pt x="47" y="368"/>
                  </a:lnTo>
                  <a:lnTo>
                    <a:pt x="36" y="351"/>
                  </a:lnTo>
                  <a:lnTo>
                    <a:pt x="24" y="332"/>
                  </a:lnTo>
                  <a:lnTo>
                    <a:pt x="16" y="314"/>
                  </a:lnTo>
                  <a:lnTo>
                    <a:pt x="10" y="292"/>
                  </a:lnTo>
                  <a:lnTo>
                    <a:pt x="4" y="271"/>
                  </a:lnTo>
                  <a:lnTo>
                    <a:pt x="1" y="249"/>
                  </a:lnTo>
                  <a:lnTo>
                    <a:pt x="0" y="226"/>
                  </a:lnTo>
                  <a:lnTo>
                    <a:pt x="1" y="203"/>
                  </a:lnTo>
                  <a:lnTo>
                    <a:pt x="4" y="180"/>
                  </a:lnTo>
                  <a:lnTo>
                    <a:pt x="10" y="158"/>
                  </a:lnTo>
                  <a:lnTo>
                    <a:pt x="16" y="138"/>
                  </a:lnTo>
                  <a:lnTo>
                    <a:pt x="24" y="118"/>
                  </a:lnTo>
                  <a:lnTo>
                    <a:pt x="36" y="99"/>
                  </a:lnTo>
                  <a:lnTo>
                    <a:pt x="47" y="82"/>
                  </a:lnTo>
                  <a:lnTo>
                    <a:pt x="60" y="66"/>
                  </a:lnTo>
                  <a:lnTo>
                    <a:pt x="76" y="52"/>
                  </a:lnTo>
                  <a:lnTo>
                    <a:pt x="92" y="39"/>
                  </a:lnTo>
                  <a:lnTo>
                    <a:pt x="109" y="27"/>
                  </a:lnTo>
                  <a:lnTo>
                    <a:pt x="126" y="17"/>
                  </a:lnTo>
                  <a:lnTo>
                    <a:pt x="145" y="10"/>
                  </a:lnTo>
                  <a:lnTo>
                    <a:pt x="165" y="4"/>
                  </a:lnTo>
                  <a:lnTo>
                    <a:pt x="185" y="1"/>
                  </a:lnTo>
                  <a:lnTo>
                    <a:pt x="207" y="0"/>
                  </a:lnTo>
                  <a:lnTo>
                    <a:pt x="229" y="1"/>
                  </a:lnTo>
                  <a:lnTo>
                    <a:pt x="249" y="4"/>
                  </a:lnTo>
                  <a:lnTo>
                    <a:pt x="269" y="10"/>
                  </a:lnTo>
                  <a:lnTo>
                    <a:pt x="288" y="17"/>
                  </a:lnTo>
                  <a:lnTo>
                    <a:pt x="306" y="27"/>
                  </a:lnTo>
                  <a:lnTo>
                    <a:pt x="324" y="39"/>
                  </a:lnTo>
                  <a:lnTo>
                    <a:pt x="340" y="52"/>
                  </a:lnTo>
                  <a:lnTo>
                    <a:pt x="354" y="66"/>
                  </a:lnTo>
                  <a:lnTo>
                    <a:pt x="367" y="82"/>
                  </a:lnTo>
                  <a:lnTo>
                    <a:pt x="380" y="99"/>
                  </a:lnTo>
                  <a:lnTo>
                    <a:pt x="390" y="118"/>
                  </a:lnTo>
                  <a:lnTo>
                    <a:pt x="399" y="138"/>
                  </a:lnTo>
                  <a:lnTo>
                    <a:pt x="406" y="158"/>
                  </a:lnTo>
                  <a:lnTo>
                    <a:pt x="410" y="180"/>
                  </a:lnTo>
                  <a:lnTo>
                    <a:pt x="413" y="203"/>
                  </a:lnTo>
                  <a:lnTo>
                    <a:pt x="414" y="226"/>
                  </a:lnTo>
                  <a:lnTo>
                    <a:pt x="413" y="249"/>
                  </a:lnTo>
                  <a:lnTo>
                    <a:pt x="410" y="271"/>
                  </a:lnTo>
                  <a:lnTo>
                    <a:pt x="406" y="292"/>
                  </a:lnTo>
                  <a:lnTo>
                    <a:pt x="399" y="314"/>
                  </a:lnTo>
                  <a:lnTo>
                    <a:pt x="390" y="332"/>
                  </a:lnTo>
                  <a:lnTo>
                    <a:pt x="380" y="351"/>
                  </a:lnTo>
                  <a:lnTo>
                    <a:pt x="367" y="368"/>
                  </a:lnTo>
                  <a:lnTo>
                    <a:pt x="354" y="386"/>
                  </a:lnTo>
                  <a:lnTo>
                    <a:pt x="340" y="400"/>
                  </a:lnTo>
                  <a:lnTo>
                    <a:pt x="324" y="413"/>
                  </a:lnTo>
                  <a:lnTo>
                    <a:pt x="306" y="425"/>
                  </a:lnTo>
                  <a:lnTo>
                    <a:pt x="288" y="433"/>
                  </a:lnTo>
                  <a:lnTo>
                    <a:pt x="269" y="440"/>
                  </a:lnTo>
                  <a:lnTo>
                    <a:pt x="249" y="446"/>
                  </a:lnTo>
                  <a:lnTo>
                    <a:pt x="229" y="451"/>
                  </a:lnTo>
                  <a:lnTo>
                    <a:pt x="207"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0">
              <a:extLst>
                <a:ext uri="{FF2B5EF4-FFF2-40B4-BE49-F238E27FC236}">
                  <a16:creationId xmlns:a16="http://schemas.microsoft.com/office/drawing/2014/main" id="{7CF5D8B3-6D60-4E07-AFBF-EA22E5E7EB61}"/>
                </a:ext>
              </a:extLst>
            </p:cNvPr>
            <p:cNvSpPr>
              <a:spLocks/>
            </p:cNvSpPr>
            <p:nvPr/>
          </p:nvSpPr>
          <p:spPr bwMode="auto">
            <a:xfrm>
              <a:off x="3914775" y="1360488"/>
              <a:ext cx="373063" cy="236538"/>
            </a:xfrm>
            <a:custGeom>
              <a:avLst/>
              <a:gdLst>
                <a:gd name="T0" fmla="*/ 0 w 706"/>
                <a:gd name="T1" fmla="*/ 445 h 445"/>
                <a:gd name="T2" fmla="*/ 2 w 706"/>
                <a:gd name="T3" fmla="*/ 217 h 445"/>
                <a:gd name="T4" fmla="*/ 7 w 706"/>
                <a:gd name="T5" fmla="*/ 183 h 445"/>
                <a:gd name="T6" fmla="*/ 19 w 706"/>
                <a:gd name="T7" fmla="*/ 157 h 445"/>
                <a:gd name="T8" fmla="*/ 36 w 706"/>
                <a:gd name="T9" fmla="*/ 135 h 445"/>
                <a:gd name="T10" fmla="*/ 56 w 706"/>
                <a:gd name="T11" fmla="*/ 119 h 445"/>
                <a:gd name="T12" fmla="*/ 79 w 706"/>
                <a:gd name="T13" fmla="*/ 106 h 445"/>
                <a:gd name="T14" fmla="*/ 121 w 706"/>
                <a:gd name="T15" fmla="*/ 91 h 445"/>
                <a:gd name="T16" fmla="*/ 162 w 706"/>
                <a:gd name="T17" fmla="*/ 79 h 445"/>
                <a:gd name="T18" fmla="*/ 187 w 706"/>
                <a:gd name="T19" fmla="*/ 70 h 445"/>
                <a:gd name="T20" fmla="*/ 211 w 706"/>
                <a:gd name="T21" fmla="*/ 63 h 445"/>
                <a:gd name="T22" fmla="*/ 226 w 706"/>
                <a:gd name="T23" fmla="*/ 55 h 445"/>
                <a:gd name="T24" fmla="*/ 242 w 706"/>
                <a:gd name="T25" fmla="*/ 39 h 445"/>
                <a:gd name="T26" fmla="*/ 254 w 706"/>
                <a:gd name="T27" fmla="*/ 10 h 445"/>
                <a:gd name="T28" fmla="*/ 307 w 706"/>
                <a:gd name="T29" fmla="*/ 0 h 445"/>
                <a:gd name="T30" fmla="*/ 304 w 706"/>
                <a:gd name="T31" fmla="*/ 26 h 445"/>
                <a:gd name="T32" fmla="*/ 291 w 706"/>
                <a:gd name="T33" fmla="*/ 59 h 445"/>
                <a:gd name="T34" fmla="*/ 280 w 706"/>
                <a:gd name="T35" fmla="*/ 76 h 445"/>
                <a:gd name="T36" fmla="*/ 262 w 706"/>
                <a:gd name="T37" fmla="*/ 92 h 445"/>
                <a:gd name="T38" fmla="*/ 242 w 706"/>
                <a:gd name="T39" fmla="*/ 105 h 445"/>
                <a:gd name="T40" fmla="*/ 216 w 706"/>
                <a:gd name="T41" fmla="*/ 117 h 445"/>
                <a:gd name="T42" fmla="*/ 190 w 706"/>
                <a:gd name="T43" fmla="*/ 125 h 445"/>
                <a:gd name="T44" fmla="*/ 164 w 706"/>
                <a:gd name="T45" fmla="*/ 132 h 445"/>
                <a:gd name="T46" fmla="*/ 111 w 706"/>
                <a:gd name="T47" fmla="*/ 150 h 445"/>
                <a:gd name="T48" fmla="*/ 92 w 706"/>
                <a:gd name="T49" fmla="*/ 158 h 445"/>
                <a:gd name="T50" fmla="*/ 77 w 706"/>
                <a:gd name="T51" fmla="*/ 168 h 445"/>
                <a:gd name="T52" fmla="*/ 67 w 706"/>
                <a:gd name="T53" fmla="*/ 180 h 445"/>
                <a:gd name="T54" fmla="*/ 58 w 706"/>
                <a:gd name="T55" fmla="*/ 196 h 445"/>
                <a:gd name="T56" fmla="*/ 54 w 706"/>
                <a:gd name="T57" fmla="*/ 213 h 445"/>
                <a:gd name="T58" fmla="*/ 54 w 706"/>
                <a:gd name="T59" fmla="*/ 236 h 445"/>
                <a:gd name="T60" fmla="*/ 654 w 706"/>
                <a:gd name="T61" fmla="*/ 392 h 445"/>
                <a:gd name="T62" fmla="*/ 654 w 706"/>
                <a:gd name="T63" fmla="*/ 225 h 445"/>
                <a:gd name="T64" fmla="*/ 651 w 706"/>
                <a:gd name="T65" fmla="*/ 204 h 445"/>
                <a:gd name="T66" fmla="*/ 645 w 706"/>
                <a:gd name="T67" fmla="*/ 187 h 445"/>
                <a:gd name="T68" fmla="*/ 635 w 706"/>
                <a:gd name="T69" fmla="*/ 174 h 445"/>
                <a:gd name="T70" fmla="*/ 622 w 706"/>
                <a:gd name="T71" fmla="*/ 163 h 445"/>
                <a:gd name="T72" fmla="*/ 605 w 706"/>
                <a:gd name="T73" fmla="*/ 154 h 445"/>
                <a:gd name="T74" fmla="*/ 571 w 706"/>
                <a:gd name="T75" fmla="*/ 141 h 445"/>
                <a:gd name="T76" fmla="*/ 529 w 706"/>
                <a:gd name="T77" fmla="*/ 128 h 445"/>
                <a:gd name="T78" fmla="*/ 503 w 706"/>
                <a:gd name="T79" fmla="*/ 121 h 445"/>
                <a:gd name="T80" fmla="*/ 477 w 706"/>
                <a:gd name="T81" fmla="*/ 111 h 445"/>
                <a:gd name="T82" fmla="*/ 454 w 706"/>
                <a:gd name="T83" fmla="*/ 99 h 445"/>
                <a:gd name="T84" fmla="*/ 435 w 706"/>
                <a:gd name="T85" fmla="*/ 83 h 445"/>
                <a:gd name="T86" fmla="*/ 421 w 706"/>
                <a:gd name="T87" fmla="*/ 68 h 445"/>
                <a:gd name="T88" fmla="*/ 408 w 706"/>
                <a:gd name="T89" fmla="*/ 43 h 445"/>
                <a:gd name="T90" fmla="*/ 401 w 706"/>
                <a:gd name="T91" fmla="*/ 11 h 445"/>
                <a:gd name="T92" fmla="*/ 452 w 706"/>
                <a:gd name="T93" fmla="*/ 3 h 445"/>
                <a:gd name="T94" fmla="*/ 452 w 706"/>
                <a:gd name="T95" fmla="*/ 11 h 445"/>
                <a:gd name="T96" fmla="*/ 458 w 706"/>
                <a:gd name="T97" fmla="*/ 30 h 445"/>
                <a:gd name="T98" fmla="*/ 475 w 706"/>
                <a:gd name="T99" fmla="*/ 50 h 445"/>
                <a:gd name="T100" fmla="*/ 488 w 706"/>
                <a:gd name="T101" fmla="*/ 59 h 445"/>
                <a:gd name="T102" fmla="*/ 507 w 706"/>
                <a:gd name="T103" fmla="*/ 68 h 445"/>
                <a:gd name="T104" fmla="*/ 532 w 706"/>
                <a:gd name="T105" fmla="*/ 75 h 445"/>
                <a:gd name="T106" fmla="*/ 556 w 706"/>
                <a:gd name="T107" fmla="*/ 82 h 445"/>
                <a:gd name="T108" fmla="*/ 614 w 706"/>
                <a:gd name="T109" fmla="*/ 101 h 445"/>
                <a:gd name="T110" fmla="*/ 638 w 706"/>
                <a:gd name="T111" fmla="*/ 112 h 445"/>
                <a:gd name="T112" fmla="*/ 661 w 706"/>
                <a:gd name="T113" fmla="*/ 127 h 445"/>
                <a:gd name="T114" fmla="*/ 680 w 706"/>
                <a:gd name="T115" fmla="*/ 145 h 445"/>
                <a:gd name="T116" fmla="*/ 694 w 706"/>
                <a:gd name="T117" fmla="*/ 170 h 445"/>
                <a:gd name="T118" fmla="*/ 703 w 706"/>
                <a:gd name="T119" fmla="*/ 200 h 445"/>
                <a:gd name="T120" fmla="*/ 706 w 706"/>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445">
                  <a:moveTo>
                    <a:pt x="706" y="445"/>
                  </a:moveTo>
                  <a:lnTo>
                    <a:pt x="0" y="445"/>
                  </a:lnTo>
                  <a:lnTo>
                    <a:pt x="0" y="236"/>
                  </a:lnTo>
                  <a:lnTo>
                    <a:pt x="2" y="217"/>
                  </a:lnTo>
                  <a:lnTo>
                    <a:pt x="3" y="200"/>
                  </a:lnTo>
                  <a:lnTo>
                    <a:pt x="7" y="183"/>
                  </a:lnTo>
                  <a:lnTo>
                    <a:pt x="13" y="170"/>
                  </a:lnTo>
                  <a:lnTo>
                    <a:pt x="19" y="157"/>
                  </a:lnTo>
                  <a:lnTo>
                    <a:pt x="26" y="145"/>
                  </a:lnTo>
                  <a:lnTo>
                    <a:pt x="36" y="135"/>
                  </a:lnTo>
                  <a:lnTo>
                    <a:pt x="45" y="127"/>
                  </a:lnTo>
                  <a:lnTo>
                    <a:pt x="56" y="119"/>
                  </a:lnTo>
                  <a:lnTo>
                    <a:pt x="68" y="112"/>
                  </a:lnTo>
                  <a:lnTo>
                    <a:pt x="79" y="106"/>
                  </a:lnTo>
                  <a:lnTo>
                    <a:pt x="92" y="101"/>
                  </a:lnTo>
                  <a:lnTo>
                    <a:pt x="121" y="91"/>
                  </a:lnTo>
                  <a:lnTo>
                    <a:pt x="150" y="82"/>
                  </a:lnTo>
                  <a:lnTo>
                    <a:pt x="162" y="79"/>
                  </a:lnTo>
                  <a:lnTo>
                    <a:pt x="175" y="75"/>
                  </a:lnTo>
                  <a:lnTo>
                    <a:pt x="187" y="70"/>
                  </a:lnTo>
                  <a:lnTo>
                    <a:pt x="200" y="68"/>
                  </a:lnTo>
                  <a:lnTo>
                    <a:pt x="211" y="63"/>
                  </a:lnTo>
                  <a:lnTo>
                    <a:pt x="219" y="59"/>
                  </a:lnTo>
                  <a:lnTo>
                    <a:pt x="226" y="55"/>
                  </a:lnTo>
                  <a:lnTo>
                    <a:pt x="232" y="49"/>
                  </a:lnTo>
                  <a:lnTo>
                    <a:pt x="242" y="39"/>
                  </a:lnTo>
                  <a:lnTo>
                    <a:pt x="249" y="27"/>
                  </a:lnTo>
                  <a:lnTo>
                    <a:pt x="254" y="10"/>
                  </a:lnTo>
                  <a:lnTo>
                    <a:pt x="255" y="3"/>
                  </a:lnTo>
                  <a:lnTo>
                    <a:pt x="307" y="0"/>
                  </a:lnTo>
                  <a:lnTo>
                    <a:pt x="307" y="11"/>
                  </a:lnTo>
                  <a:lnTo>
                    <a:pt x="304" y="26"/>
                  </a:lnTo>
                  <a:lnTo>
                    <a:pt x="300" y="43"/>
                  </a:lnTo>
                  <a:lnTo>
                    <a:pt x="291" y="59"/>
                  </a:lnTo>
                  <a:lnTo>
                    <a:pt x="285" y="68"/>
                  </a:lnTo>
                  <a:lnTo>
                    <a:pt x="280" y="76"/>
                  </a:lnTo>
                  <a:lnTo>
                    <a:pt x="271" y="83"/>
                  </a:lnTo>
                  <a:lnTo>
                    <a:pt x="262" y="92"/>
                  </a:lnTo>
                  <a:lnTo>
                    <a:pt x="254" y="99"/>
                  </a:lnTo>
                  <a:lnTo>
                    <a:pt x="242" y="105"/>
                  </a:lnTo>
                  <a:lnTo>
                    <a:pt x="231" y="111"/>
                  </a:lnTo>
                  <a:lnTo>
                    <a:pt x="216" y="117"/>
                  </a:lnTo>
                  <a:lnTo>
                    <a:pt x="203" y="121"/>
                  </a:lnTo>
                  <a:lnTo>
                    <a:pt x="190" y="125"/>
                  </a:lnTo>
                  <a:lnTo>
                    <a:pt x="177" y="128"/>
                  </a:lnTo>
                  <a:lnTo>
                    <a:pt x="164" y="132"/>
                  </a:lnTo>
                  <a:lnTo>
                    <a:pt x="136" y="141"/>
                  </a:lnTo>
                  <a:lnTo>
                    <a:pt x="111" y="150"/>
                  </a:lnTo>
                  <a:lnTo>
                    <a:pt x="101" y="154"/>
                  </a:lnTo>
                  <a:lnTo>
                    <a:pt x="92" y="158"/>
                  </a:lnTo>
                  <a:lnTo>
                    <a:pt x="84" y="163"/>
                  </a:lnTo>
                  <a:lnTo>
                    <a:pt x="77" y="168"/>
                  </a:lnTo>
                  <a:lnTo>
                    <a:pt x="71" y="174"/>
                  </a:lnTo>
                  <a:lnTo>
                    <a:pt x="67" y="180"/>
                  </a:lnTo>
                  <a:lnTo>
                    <a:pt x="62" y="187"/>
                  </a:lnTo>
                  <a:lnTo>
                    <a:pt x="58" y="196"/>
                  </a:lnTo>
                  <a:lnTo>
                    <a:pt x="56" y="204"/>
                  </a:lnTo>
                  <a:lnTo>
                    <a:pt x="54" y="213"/>
                  </a:lnTo>
                  <a:lnTo>
                    <a:pt x="54" y="225"/>
                  </a:lnTo>
                  <a:lnTo>
                    <a:pt x="54" y="236"/>
                  </a:lnTo>
                  <a:lnTo>
                    <a:pt x="54" y="392"/>
                  </a:lnTo>
                  <a:lnTo>
                    <a:pt x="654" y="392"/>
                  </a:lnTo>
                  <a:lnTo>
                    <a:pt x="654" y="236"/>
                  </a:lnTo>
                  <a:lnTo>
                    <a:pt x="654" y="225"/>
                  </a:lnTo>
                  <a:lnTo>
                    <a:pt x="653" y="213"/>
                  </a:lnTo>
                  <a:lnTo>
                    <a:pt x="651" y="204"/>
                  </a:lnTo>
                  <a:lnTo>
                    <a:pt x="648" y="196"/>
                  </a:lnTo>
                  <a:lnTo>
                    <a:pt x="645" y="187"/>
                  </a:lnTo>
                  <a:lnTo>
                    <a:pt x="641" y="180"/>
                  </a:lnTo>
                  <a:lnTo>
                    <a:pt x="635" y="174"/>
                  </a:lnTo>
                  <a:lnTo>
                    <a:pt x="630" y="168"/>
                  </a:lnTo>
                  <a:lnTo>
                    <a:pt x="622" y="163"/>
                  </a:lnTo>
                  <a:lnTo>
                    <a:pt x="614" y="158"/>
                  </a:lnTo>
                  <a:lnTo>
                    <a:pt x="605" y="154"/>
                  </a:lnTo>
                  <a:lnTo>
                    <a:pt x="595" y="150"/>
                  </a:lnTo>
                  <a:lnTo>
                    <a:pt x="571" y="141"/>
                  </a:lnTo>
                  <a:lnTo>
                    <a:pt x="542" y="132"/>
                  </a:lnTo>
                  <a:lnTo>
                    <a:pt x="529" y="128"/>
                  </a:lnTo>
                  <a:lnTo>
                    <a:pt x="517" y="125"/>
                  </a:lnTo>
                  <a:lnTo>
                    <a:pt x="503" y="121"/>
                  </a:lnTo>
                  <a:lnTo>
                    <a:pt x="490" y="117"/>
                  </a:lnTo>
                  <a:lnTo>
                    <a:pt x="477" y="111"/>
                  </a:lnTo>
                  <a:lnTo>
                    <a:pt x="464" y="105"/>
                  </a:lnTo>
                  <a:lnTo>
                    <a:pt x="454" y="99"/>
                  </a:lnTo>
                  <a:lnTo>
                    <a:pt x="444" y="92"/>
                  </a:lnTo>
                  <a:lnTo>
                    <a:pt x="435" y="83"/>
                  </a:lnTo>
                  <a:lnTo>
                    <a:pt x="428" y="76"/>
                  </a:lnTo>
                  <a:lnTo>
                    <a:pt x="421" y="68"/>
                  </a:lnTo>
                  <a:lnTo>
                    <a:pt x="415" y="59"/>
                  </a:lnTo>
                  <a:lnTo>
                    <a:pt x="408" y="43"/>
                  </a:lnTo>
                  <a:lnTo>
                    <a:pt x="402" y="26"/>
                  </a:lnTo>
                  <a:lnTo>
                    <a:pt x="401" y="11"/>
                  </a:lnTo>
                  <a:lnTo>
                    <a:pt x="399" y="0"/>
                  </a:lnTo>
                  <a:lnTo>
                    <a:pt x="452" y="3"/>
                  </a:lnTo>
                  <a:lnTo>
                    <a:pt x="452" y="6"/>
                  </a:lnTo>
                  <a:lnTo>
                    <a:pt x="452" y="11"/>
                  </a:lnTo>
                  <a:lnTo>
                    <a:pt x="455" y="20"/>
                  </a:lnTo>
                  <a:lnTo>
                    <a:pt x="458" y="30"/>
                  </a:lnTo>
                  <a:lnTo>
                    <a:pt x="465" y="40"/>
                  </a:lnTo>
                  <a:lnTo>
                    <a:pt x="475" y="50"/>
                  </a:lnTo>
                  <a:lnTo>
                    <a:pt x="481" y="55"/>
                  </a:lnTo>
                  <a:lnTo>
                    <a:pt x="488" y="59"/>
                  </a:lnTo>
                  <a:lnTo>
                    <a:pt x="497" y="63"/>
                  </a:lnTo>
                  <a:lnTo>
                    <a:pt x="507" y="68"/>
                  </a:lnTo>
                  <a:lnTo>
                    <a:pt x="520" y="70"/>
                  </a:lnTo>
                  <a:lnTo>
                    <a:pt x="532" y="75"/>
                  </a:lnTo>
                  <a:lnTo>
                    <a:pt x="545" y="79"/>
                  </a:lnTo>
                  <a:lnTo>
                    <a:pt x="556" y="82"/>
                  </a:lnTo>
                  <a:lnTo>
                    <a:pt x="586" y="91"/>
                  </a:lnTo>
                  <a:lnTo>
                    <a:pt x="614" y="101"/>
                  </a:lnTo>
                  <a:lnTo>
                    <a:pt x="627" y="106"/>
                  </a:lnTo>
                  <a:lnTo>
                    <a:pt x="638" y="112"/>
                  </a:lnTo>
                  <a:lnTo>
                    <a:pt x="651" y="119"/>
                  </a:lnTo>
                  <a:lnTo>
                    <a:pt x="661" y="127"/>
                  </a:lnTo>
                  <a:lnTo>
                    <a:pt x="671" y="135"/>
                  </a:lnTo>
                  <a:lnTo>
                    <a:pt x="680" y="145"/>
                  </a:lnTo>
                  <a:lnTo>
                    <a:pt x="687" y="157"/>
                  </a:lnTo>
                  <a:lnTo>
                    <a:pt x="694" y="170"/>
                  </a:lnTo>
                  <a:lnTo>
                    <a:pt x="699" y="183"/>
                  </a:lnTo>
                  <a:lnTo>
                    <a:pt x="703" y="200"/>
                  </a:lnTo>
                  <a:lnTo>
                    <a:pt x="704" y="217"/>
                  </a:lnTo>
                  <a:lnTo>
                    <a:pt x="706" y="236"/>
                  </a:lnTo>
                  <a:lnTo>
                    <a:pt x="706"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1">
              <a:extLst>
                <a:ext uri="{FF2B5EF4-FFF2-40B4-BE49-F238E27FC236}">
                  <a16:creationId xmlns:a16="http://schemas.microsoft.com/office/drawing/2014/main" id="{E8B86664-1149-4A61-8916-84F1156D6452}"/>
                </a:ext>
              </a:extLst>
            </p:cNvPr>
            <p:cNvSpPr>
              <a:spLocks/>
            </p:cNvSpPr>
            <p:nvPr/>
          </p:nvSpPr>
          <p:spPr bwMode="auto">
            <a:xfrm>
              <a:off x="4005263" y="1200151"/>
              <a:ext cx="195263" cy="55563"/>
            </a:xfrm>
            <a:custGeom>
              <a:avLst/>
              <a:gdLst>
                <a:gd name="T0" fmla="*/ 280 w 370"/>
                <a:gd name="T1" fmla="*/ 105 h 105"/>
                <a:gd name="T2" fmla="*/ 252 w 370"/>
                <a:gd name="T3" fmla="*/ 104 h 105"/>
                <a:gd name="T4" fmla="*/ 224 w 370"/>
                <a:gd name="T5" fmla="*/ 101 h 105"/>
                <a:gd name="T6" fmla="*/ 198 w 370"/>
                <a:gd name="T7" fmla="*/ 97 h 105"/>
                <a:gd name="T8" fmla="*/ 175 w 370"/>
                <a:gd name="T9" fmla="*/ 91 h 105"/>
                <a:gd name="T10" fmla="*/ 155 w 370"/>
                <a:gd name="T11" fmla="*/ 84 h 105"/>
                <a:gd name="T12" fmla="*/ 138 w 370"/>
                <a:gd name="T13" fmla="*/ 76 h 105"/>
                <a:gd name="T14" fmla="*/ 122 w 370"/>
                <a:gd name="T15" fmla="*/ 71 h 105"/>
                <a:gd name="T16" fmla="*/ 111 w 370"/>
                <a:gd name="T17" fmla="*/ 65 h 105"/>
                <a:gd name="T18" fmla="*/ 102 w 370"/>
                <a:gd name="T19" fmla="*/ 69 h 105"/>
                <a:gd name="T20" fmla="*/ 93 w 370"/>
                <a:gd name="T21" fmla="*/ 75 h 105"/>
                <a:gd name="T22" fmla="*/ 82 w 370"/>
                <a:gd name="T23" fmla="*/ 79 h 105"/>
                <a:gd name="T24" fmla="*/ 69 w 370"/>
                <a:gd name="T25" fmla="*/ 85 h 105"/>
                <a:gd name="T26" fmla="*/ 53 w 370"/>
                <a:gd name="T27" fmla="*/ 89 h 105"/>
                <a:gd name="T28" fmla="*/ 37 w 370"/>
                <a:gd name="T29" fmla="*/ 92 h 105"/>
                <a:gd name="T30" fmla="*/ 20 w 370"/>
                <a:gd name="T31" fmla="*/ 95 h 105"/>
                <a:gd name="T32" fmla="*/ 0 w 370"/>
                <a:gd name="T33" fmla="*/ 95 h 105"/>
                <a:gd name="T34" fmla="*/ 0 w 370"/>
                <a:gd name="T35" fmla="*/ 43 h 105"/>
                <a:gd name="T36" fmla="*/ 21 w 370"/>
                <a:gd name="T37" fmla="*/ 42 h 105"/>
                <a:gd name="T38" fmla="*/ 39 w 370"/>
                <a:gd name="T39" fmla="*/ 39 h 105"/>
                <a:gd name="T40" fmla="*/ 54 w 370"/>
                <a:gd name="T41" fmla="*/ 35 h 105"/>
                <a:gd name="T42" fmla="*/ 67 w 370"/>
                <a:gd name="T43" fmla="*/ 29 h 105"/>
                <a:gd name="T44" fmla="*/ 85 w 370"/>
                <a:gd name="T45" fmla="*/ 19 h 105"/>
                <a:gd name="T46" fmla="*/ 90 w 370"/>
                <a:gd name="T47" fmla="*/ 15 h 105"/>
                <a:gd name="T48" fmla="*/ 106 w 370"/>
                <a:gd name="T49" fmla="*/ 0 h 105"/>
                <a:gd name="T50" fmla="*/ 123 w 370"/>
                <a:gd name="T51" fmla="*/ 12 h 105"/>
                <a:gd name="T52" fmla="*/ 128 w 370"/>
                <a:gd name="T53" fmla="*/ 15 h 105"/>
                <a:gd name="T54" fmla="*/ 142 w 370"/>
                <a:gd name="T55" fmla="*/ 22 h 105"/>
                <a:gd name="T56" fmla="*/ 162 w 370"/>
                <a:gd name="T57" fmla="*/ 30 h 105"/>
                <a:gd name="T58" fmla="*/ 191 w 370"/>
                <a:gd name="T59" fmla="*/ 40 h 105"/>
                <a:gd name="T60" fmla="*/ 207 w 370"/>
                <a:gd name="T61" fmla="*/ 45 h 105"/>
                <a:gd name="T62" fmla="*/ 226 w 370"/>
                <a:gd name="T63" fmla="*/ 48 h 105"/>
                <a:gd name="T64" fmla="*/ 244 w 370"/>
                <a:gd name="T65" fmla="*/ 51 h 105"/>
                <a:gd name="T66" fmla="*/ 265 w 370"/>
                <a:gd name="T67" fmla="*/ 53 h 105"/>
                <a:gd name="T68" fmla="*/ 286 w 370"/>
                <a:gd name="T69" fmla="*/ 53 h 105"/>
                <a:gd name="T70" fmla="*/ 309 w 370"/>
                <a:gd name="T71" fmla="*/ 52 h 105"/>
                <a:gd name="T72" fmla="*/ 332 w 370"/>
                <a:gd name="T73" fmla="*/ 49 h 105"/>
                <a:gd name="T74" fmla="*/ 357 w 370"/>
                <a:gd name="T75" fmla="*/ 43 h 105"/>
                <a:gd name="T76" fmla="*/ 370 w 370"/>
                <a:gd name="T77" fmla="*/ 95 h 105"/>
                <a:gd name="T78" fmla="*/ 345 w 370"/>
                <a:gd name="T79" fmla="*/ 99 h 105"/>
                <a:gd name="T80" fmla="*/ 324 w 370"/>
                <a:gd name="T81" fmla="*/ 102 h 105"/>
                <a:gd name="T82" fmla="*/ 301 w 370"/>
                <a:gd name="T83" fmla="*/ 105 h 105"/>
                <a:gd name="T84" fmla="*/ 280 w 370"/>
                <a:gd name="T8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5">
                  <a:moveTo>
                    <a:pt x="280" y="105"/>
                  </a:moveTo>
                  <a:lnTo>
                    <a:pt x="252" y="104"/>
                  </a:lnTo>
                  <a:lnTo>
                    <a:pt x="224" y="101"/>
                  </a:lnTo>
                  <a:lnTo>
                    <a:pt x="198" y="97"/>
                  </a:lnTo>
                  <a:lnTo>
                    <a:pt x="175" y="91"/>
                  </a:lnTo>
                  <a:lnTo>
                    <a:pt x="155" y="84"/>
                  </a:lnTo>
                  <a:lnTo>
                    <a:pt x="138" y="76"/>
                  </a:lnTo>
                  <a:lnTo>
                    <a:pt x="122" y="71"/>
                  </a:lnTo>
                  <a:lnTo>
                    <a:pt x="111" y="65"/>
                  </a:lnTo>
                  <a:lnTo>
                    <a:pt x="102" y="69"/>
                  </a:lnTo>
                  <a:lnTo>
                    <a:pt x="93" y="75"/>
                  </a:lnTo>
                  <a:lnTo>
                    <a:pt x="82" y="79"/>
                  </a:lnTo>
                  <a:lnTo>
                    <a:pt x="69" y="85"/>
                  </a:lnTo>
                  <a:lnTo>
                    <a:pt x="53" y="89"/>
                  </a:lnTo>
                  <a:lnTo>
                    <a:pt x="37" y="92"/>
                  </a:lnTo>
                  <a:lnTo>
                    <a:pt x="20" y="95"/>
                  </a:lnTo>
                  <a:lnTo>
                    <a:pt x="0" y="95"/>
                  </a:lnTo>
                  <a:lnTo>
                    <a:pt x="0" y="43"/>
                  </a:lnTo>
                  <a:lnTo>
                    <a:pt x="21" y="42"/>
                  </a:lnTo>
                  <a:lnTo>
                    <a:pt x="39" y="39"/>
                  </a:lnTo>
                  <a:lnTo>
                    <a:pt x="54" y="35"/>
                  </a:lnTo>
                  <a:lnTo>
                    <a:pt x="67" y="29"/>
                  </a:lnTo>
                  <a:lnTo>
                    <a:pt x="85" y="19"/>
                  </a:lnTo>
                  <a:lnTo>
                    <a:pt x="90" y="15"/>
                  </a:lnTo>
                  <a:lnTo>
                    <a:pt x="106" y="0"/>
                  </a:lnTo>
                  <a:lnTo>
                    <a:pt x="123" y="12"/>
                  </a:lnTo>
                  <a:lnTo>
                    <a:pt x="128" y="15"/>
                  </a:lnTo>
                  <a:lnTo>
                    <a:pt x="142" y="22"/>
                  </a:lnTo>
                  <a:lnTo>
                    <a:pt x="162" y="30"/>
                  </a:lnTo>
                  <a:lnTo>
                    <a:pt x="191" y="40"/>
                  </a:lnTo>
                  <a:lnTo>
                    <a:pt x="207" y="45"/>
                  </a:lnTo>
                  <a:lnTo>
                    <a:pt x="226" y="48"/>
                  </a:lnTo>
                  <a:lnTo>
                    <a:pt x="244" y="51"/>
                  </a:lnTo>
                  <a:lnTo>
                    <a:pt x="265" y="53"/>
                  </a:lnTo>
                  <a:lnTo>
                    <a:pt x="286" y="53"/>
                  </a:lnTo>
                  <a:lnTo>
                    <a:pt x="309" y="52"/>
                  </a:lnTo>
                  <a:lnTo>
                    <a:pt x="332" y="49"/>
                  </a:lnTo>
                  <a:lnTo>
                    <a:pt x="357" y="43"/>
                  </a:lnTo>
                  <a:lnTo>
                    <a:pt x="370" y="95"/>
                  </a:lnTo>
                  <a:lnTo>
                    <a:pt x="345" y="99"/>
                  </a:lnTo>
                  <a:lnTo>
                    <a:pt x="324" y="102"/>
                  </a:lnTo>
                  <a:lnTo>
                    <a:pt x="301" y="105"/>
                  </a:lnTo>
                  <a:lnTo>
                    <a:pt x="28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51">
              <a:extLst>
                <a:ext uri="{FF2B5EF4-FFF2-40B4-BE49-F238E27FC236}">
                  <a16:creationId xmlns:a16="http://schemas.microsoft.com/office/drawing/2014/main" id="{2C9E1F3B-E7FD-47BE-93B6-021F849D0D1D}"/>
                </a:ext>
              </a:extLst>
            </p:cNvPr>
            <p:cNvSpPr>
              <a:spLocks noChangeArrowheads="1"/>
            </p:cNvSpPr>
            <p:nvPr/>
          </p:nvSpPr>
          <p:spPr bwMode="auto">
            <a:xfrm>
              <a:off x="3773488" y="1011238"/>
              <a:ext cx="4381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52">
              <a:extLst>
                <a:ext uri="{FF2B5EF4-FFF2-40B4-BE49-F238E27FC236}">
                  <a16:creationId xmlns:a16="http://schemas.microsoft.com/office/drawing/2014/main" id="{7A6C0BCE-3613-46D7-B19A-1FDE6CCFB450}"/>
                </a:ext>
              </a:extLst>
            </p:cNvPr>
            <p:cNvSpPr>
              <a:spLocks/>
            </p:cNvSpPr>
            <p:nvPr/>
          </p:nvSpPr>
          <p:spPr bwMode="auto">
            <a:xfrm>
              <a:off x="4127500" y="936626"/>
              <a:ext cx="103188" cy="177800"/>
            </a:xfrm>
            <a:custGeom>
              <a:avLst/>
              <a:gdLst>
                <a:gd name="T0" fmla="*/ 38 w 195"/>
                <a:gd name="T1" fmla="*/ 336 h 336"/>
                <a:gd name="T2" fmla="*/ 0 w 195"/>
                <a:gd name="T3" fmla="*/ 298 h 336"/>
                <a:gd name="T4" fmla="*/ 132 w 195"/>
                <a:gd name="T5" fmla="*/ 167 h 336"/>
                <a:gd name="T6" fmla="*/ 0 w 195"/>
                <a:gd name="T7" fmla="*/ 38 h 336"/>
                <a:gd name="T8" fmla="*/ 38 w 195"/>
                <a:gd name="T9" fmla="*/ 0 h 336"/>
                <a:gd name="T10" fmla="*/ 186 w 195"/>
                <a:gd name="T11" fmla="*/ 150 h 336"/>
                <a:gd name="T12" fmla="*/ 191 w 195"/>
                <a:gd name="T13" fmla="*/ 153 h 336"/>
                <a:gd name="T14" fmla="*/ 192 w 195"/>
                <a:gd name="T15" fmla="*/ 159 h 336"/>
                <a:gd name="T16" fmla="*/ 193 w 195"/>
                <a:gd name="T17" fmla="*/ 163 h 336"/>
                <a:gd name="T18" fmla="*/ 195 w 195"/>
                <a:gd name="T19" fmla="*/ 167 h 336"/>
                <a:gd name="T20" fmla="*/ 193 w 195"/>
                <a:gd name="T21" fmla="*/ 173 h 336"/>
                <a:gd name="T22" fmla="*/ 192 w 195"/>
                <a:gd name="T23" fmla="*/ 177 h 336"/>
                <a:gd name="T24" fmla="*/ 191 w 195"/>
                <a:gd name="T25" fmla="*/ 182 h 336"/>
                <a:gd name="T26" fmla="*/ 186 w 195"/>
                <a:gd name="T27" fmla="*/ 186 h 336"/>
                <a:gd name="T28" fmla="*/ 38 w 195"/>
                <a:gd name="T29"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336">
                  <a:moveTo>
                    <a:pt x="38" y="336"/>
                  </a:moveTo>
                  <a:lnTo>
                    <a:pt x="0" y="298"/>
                  </a:lnTo>
                  <a:lnTo>
                    <a:pt x="132" y="167"/>
                  </a:lnTo>
                  <a:lnTo>
                    <a:pt x="0" y="38"/>
                  </a:lnTo>
                  <a:lnTo>
                    <a:pt x="38" y="0"/>
                  </a:lnTo>
                  <a:lnTo>
                    <a:pt x="186" y="150"/>
                  </a:lnTo>
                  <a:lnTo>
                    <a:pt x="191" y="153"/>
                  </a:lnTo>
                  <a:lnTo>
                    <a:pt x="192" y="159"/>
                  </a:lnTo>
                  <a:lnTo>
                    <a:pt x="193" y="163"/>
                  </a:lnTo>
                  <a:lnTo>
                    <a:pt x="195" y="167"/>
                  </a:lnTo>
                  <a:lnTo>
                    <a:pt x="193" y="173"/>
                  </a:lnTo>
                  <a:lnTo>
                    <a:pt x="192" y="177"/>
                  </a:lnTo>
                  <a:lnTo>
                    <a:pt x="191" y="182"/>
                  </a:lnTo>
                  <a:lnTo>
                    <a:pt x="186" y="186"/>
                  </a:lnTo>
                  <a:lnTo>
                    <a:pt x="38"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53">
              <a:extLst>
                <a:ext uri="{FF2B5EF4-FFF2-40B4-BE49-F238E27FC236}">
                  <a16:creationId xmlns:a16="http://schemas.microsoft.com/office/drawing/2014/main" id="{44378AA7-5863-48F3-9470-118264621DCE}"/>
                </a:ext>
              </a:extLst>
            </p:cNvPr>
            <p:cNvSpPr>
              <a:spLocks noChangeArrowheads="1"/>
            </p:cNvSpPr>
            <p:nvPr/>
          </p:nvSpPr>
          <p:spPr bwMode="auto">
            <a:xfrm>
              <a:off x="3560763" y="954088"/>
              <a:ext cx="431800"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54">
              <a:extLst>
                <a:ext uri="{FF2B5EF4-FFF2-40B4-BE49-F238E27FC236}">
                  <a16:creationId xmlns:a16="http://schemas.microsoft.com/office/drawing/2014/main" id="{499BF38C-BC66-4994-B270-C2469A731C80}"/>
                </a:ext>
              </a:extLst>
            </p:cNvPr>
            <p:cNvSpPr>
              <a:spLocks/>
            </p:cNvSpPr>
            <p:nvPr/>
          </p:nvSpPr>
          <p:spPr bwMode="auto">
            <a:xfrm>
              <a:off x="3541713" y="877888"/>
              <a:ext cx="101600" cy="177800"/>
            </a:xfrm>
            <a:custGeom>
              <a:avLst/>
              <a:gdLst>
                <a:gd name="T0" fmla="*/ 157 w 193"/>
                <a:gd name="T1" fmla="*/ 335 h 335"/>
                <a:gd name="T2" fmla="*/ 7 w 193"/>
                <a:gd name="T3" fmla="*/ 186 h 335"/>
                <a:gd name="T4" fmla="*/ 4 w 193"/>
                <a:gd name="T5" fmla="*/ 182 h 335"/>
                <a:gd name="T6" fmla="*/ 2 w 193"/>
                <a:gd name="T7" fmla="*/ 178 h 335"/>
                <a:gd name="T8" fmla="*/ 0 w 193"/>
                <a:gd name="T9" fmla="*/ 173 h 335"/>
                <a:gd name="T10" fmla="*/ 0 w 193"/>
                <a:gd name="T11" fmla="*/ 167 h 335"/>
                <a:gd name="T12" fmla="*/ 0 w 193"/>
                <a:gd name="T13" fmla="*/ 163 h 335"/>
                <a:gd name="T14" fmla="*/ 2 w 193"/>
                <a:gd name="T15" fmla="*/ 157 h 335"/>
                <a:gd name="T16" fmla="*/ 4 w 193"/>
                <a:gd name="T17" fmla="*/ 153 h 335"/>
                <a:gd name="T18" fmla="*/ 7 w 193"/>
                <a:gd name="T19" fmla="*/ 149 h 335"/>
                <a:gd name="T20" fmla="*/ 157 w 193"/>
                <a:gd name="T21" fmla="*/ 0 h 335"/>
                <a:gd name="T22" fmla="*/ 193 w 193"/>
                <a:gd name="T23" fmla="*/ 38 h 335"/>
                <a:gd name="T24" fmla="*/ 63 w 193"/>
                <a:gd name="T25" fmla="*/ 167 h 335"/>
                <a:gd name="T26" fmla="*/ 193 w 193"/>
                <a:gd name="T27" fmla="*/ 299 h 335"/>
                <a:gd name="T28" fmla="*/ 157 w 193"/>
                <a:gd name="T29"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3" h="335">
                  <a:moveTo>
                    <a:pt x="157" y="335"/>
                  </a:moveTo>
                  <a:lnTo>
                    <a:pt x="7" y="186"/>
                  </a:lnTo>
                  <a:lnTo>
                    <a:pt x="4" y="182"/>
                  </a:lnTo>
                  <a:lnTo>
                    <a:pt x="2" y="178"/>
                  </a:lnTo>
                  <a:lnTo>
                    <a:pt x="0" y="173"/>
                  </a:lnTo>
                  <a:lnTo>
                    <a:pt x="0" y="167"/>
                  </a:lnTo>
                  <a:lnTo>
                    <a:pt x="0" y="163"/>
                  </a:lnTo>
                  <a:lnTo>
                    <a:pt x="2" y="157"/>
                  </a:lnTo>
                  <a:lnTo>
                    <a:pt x="4" y="153"/>
                  </a:lnTo>
                  <a:lnTo>
                    <a:pt x="7" y="149"/>
                  </a:lnTo>
                  <a:lnTo>
                    <a:pt x="157" y="0"/>
                  </a:lnTo>
                  <a:lnTo>
                    <a:pt x="193" y="38"/>
                  </a:lnTo>
                  <a:lnTo>
                    <a:pt x="63" y="167"/>
                  </a:lnTo>
                  <a:lnTo>
                    <a:pt x="193" y="299"/>
                  </a:lnTo>
                  <a:lnTo>
                    <a:pt x="157"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4" name="Group 9">
            <a:extLst>
              <a:ext uri="{FF2B5EF4-FFF2-40B4-BE49-F238E27FC236}">
                <a16:creationId xmlns:a16="http://schemas.microsoft.com/office/drawing/2014/main" id="{97351C7C-781E-438A-AC24-7A2E2682487B}"/>
              </a:ext>
            </a:extLst>
          </p:cNvPr>
          <p:cNvGrpSpPr>
            <a:grpSpLocks noChangeAspect="1"/>
          </p:cNvGrpSpPr>
          <p:nvPr/>
        </p:nvGrpSpPr>
        <p:grpSpPr>
          <a:xfrm>
            <a:off x="1894677" y="2724897"/>
            <a:ext cx="284040" cy="285619"/>
            <a:chOff x="5464175" y="3646488"/>
            <a:chExt cx="285750" cy="287338"/>
          </a:xfrm>
          <a:solidFill>
            <a:schemeClr val="bg2"/>
          </a:solidFill>
          <a:effectLst/>
        </p:grpSpPr>
        <p:sp>
          <p:nvSpPr>
            <p:cNvPr id="635" name="Freeform 25">
              <a:extLst>
                <a:ext uri="{FF2B5EF4-FFF2-40B4-BE49-F238E27FC236}">
                  <a16:creationId xmlns:a16="http://schemas.microsoft.com/office/drawing/2014/main" id="{8B33DE0B-391B-4A43-B5C3-4BF22D10C426}"/>
                </a:ext>
              </a:extLst>
            </p:cNvPr>
            <p:cNvSpPr>
              <a:spLocks noEditPoints="1"/>
            </p:cNvSpPr>
            <p:nvPr/>
          </p:nvSpPr>
          <p:spPr bwMode="auto">
            <a:xfrm>
              <a:off x="5464175" y="3646488"/>
              <a:ext cx="285750" cy="287338"/>
            </a:xfrm>
            <a:custGeom>
              <a:avLst/>
              <a:gdLst>
                <a:gd name="T0" fmla="*/ 366 w 901"/>
                <a:gd name="T1" fmla="*/ 862 h 901"/>
                <a:gd name="T2" fmla="*/ 269 w 901"/>
                <a:gd name="T3" fmla="*/ 829 h 901"/>
                <a:gd name="T4" fmla="*/ 184 w 901"/>
                <a:gd name="T5" fmla="*/ 775 h 901"/>
                <a:gd name="T6" fmla="*/ 114 w 901"/>
                <a:gd name="T7" fmla="*/ 702 h 901"/>
                <a:gd name="T8" fmla="*/ 63 w 901"/>
                <a:gd name="T9" fmla="*/ 614 h 901"/>
                <a:gd name="T10" fmla="*/ 35 w 901"/>
                <a:gd name="T11" fmla="*/ 515 h 901"/>
                <a:gd name="T12" fmla="*/ 32 w 901"/>
                <a:gd name="T13" fmla="*/ 408 h 901"/>
                <a:gd name="T14" fmla="*/ 56 w 901"/>
                <a:gd name="T15" fmla="*/ 306 h 901"/>
                <a:gd name="T16" fmla="*/ 103 w 901"/>
                <a:gd name="T17" fmla="*/ 215 h 901"/>
                <a:gd name="T18" fmla="*/ 168 w 901"/>
                <a:gd name="T19" fmla="*/ 139 h 901"/>
                <a:gd name="T20" fmla="*/ 250 w 901"/>
                <a:gd name="T21" fmla="*/ 80 h 901"/>
                <a:gd name="T22" fmla="*/ 346 w 901"/>
                <a:gd name="T23" fmla="*/ 43 h 901"/>
                <a:gd name="T24" fmla="*/ 450 w 901"/>
                <a:gd name="T25" fmla="*/ 30 h 901"/>
                <a:gd name="T26" fmla="*/ 555 w 901"/>
                <a:gd name="T27" fmla="*/ 43 h 901"/>
                <a:gd name="T28" fmla="*/ 652 w 901"/>
                <a:gd name="T29" fmla="*/ 80 h 901"/>
                <a:gd name="T30" fmla="*/ 733 w 901"/>
                <a:gd name="T31" fmla="*/ 139 h 901"/>
                <a:gd name="T32" fmla="*/ 799 w 901"/>
                <a:gd name="T33" fmla="*/ 215 h 901"/>
                <a:gd name="T34" fmla="*/ 845 w 901"/>
                <a:gd name="T35" fmla="*/ 306 h 901"/>
                <a:gd name="T36" fmla="*/ 869 w 901"/>
                <a:gd name="T37" fmla="*/ 408 h 901"/>
                <a:gd name="T38" fmla="*/ 867 w 901"/>
                <a:gd name="T39" fmla="*/ 515 h 901"/>
                <a:gd name="T40" fmla="*/ 838 w 901"/>
                <a:gd name="T41" fmla="*/ 614 h 901"/>
                <a:gd name="T42" fmla="*/ 788 w 901"/>
                <a:gd name="T43" fmla="*/ 702 h 901"/>
                <a:gd name="T44" fmla="*/ 718 w 901"/>
                <a:gd name="T45" fmla="*/ 775 h 901"/>
                <a:gd name="T46" fmla="*/ 633 w 901"/>
                <a:gd name="T47" fmla="*/ 829 h 901"/>
                <a:gd name="T48" fmla="*/ 536 w 901"/>
                <a:gd name="T49" fmla="*/ 862 h 901"/>
                <a:gd name="T50" fmla="*/ 450 w 901"/>
                <a:gd name="T51" fmla="*/ 0 h 901"/>
                <a:gd name="T52" fmla="*/ 338 w 901"/>
                <a:gd name="T53" fmla="*/ 14 h 901"/>
                <a:gd name="T54" fmla="*/ 236 w 901"/>
                <a:gd name="T55" fmla="*/ 54 h 901"/>
                <a:gd name="T56" fmla="*/ 148 w 901"/>
                <a:gd name="T57" fmla="*/ 117 h 901"/>
                <a:gd name="T58" fmla="*/ 77 w 901"/>
                <a:gd name="T59" fmla="*/ 199 h 901"/>
                <a:gd name="T60" fmla="*/ 28 w 901"/>
                <a:gd name="T61" fmla="*/ 295 h 901"/>
                <a:gd name="T62" fmla="*/ 3 w 901"/>
                <a:gd name="T63" fmla="*/ 404 h 901"/>
                <a:gd name="T64" fmla="*/ 5 w 901"/>
                <a:gd name="T65" fmla="*/ 519 h 901"/>
                <a:gd name="T66" fmla="*/ 36 w 901"/>
                <a:gd name="T67" fmla="*/ 626 h 901"/>
                <a:gd name="T68" fmla="*/ 90 w 901"/>
                <a:gd name="T69" fmla="*/ 720 h 901"/>
                <a:gd name="T70" fmla="*/ 165 w 901"/>
                <a:gd name="T71" fmla="*/ 798 h 901"/>
                <a:gd name="T72" fmla="*/ 256 w 901"/>
                <a:gd name="T73" fmla="*/ 856 h 901"/>
                <a:gd name="T74" fmla="*/ 361 w 901"/>
                <a:gd name="T75" fmla="*/ 891 h 901"/>
                <a:gd name="T76" fmla="*/ 474 w 901"/>
                <a:gd name="T77" fmla="*/ 900 h 901"/>
                <a:gd name="T78" fmla="*/ 584 w 901"/>
                <a:gd name="T79" fmla="*/ 881 h 901"/>
                <a:gd name="T80" fmla="*/ 685 w 901"/>
                <a:gd name="T81" fmla="*/ 836 h 901"/>
                <a:gd name="T82" fmla="*/ 769 w 901"/>
                <a:gd name="T83" fmla="*/ 768 h 901"/>
                <a:gd name="T84" fmla="*/ 836 w 901"/>
                <a:gd name="T85" fmla="*/ 684 h 901"/>
                <a:gd name="T86" fmla="*/ 881 w 901"/>
                <a:gd name="T87" fmla="*/ 584 h 901"/>
                <a:gd name="T88" fmla="*/ 901 w 901"/>
                <a:gd name="T89" fmla="*/ 474 h 901"/>
                <a:gd name="T90" fmla="*/ 892 w 901"/>
                <a:gd name="T91" fmla="*/ 359 h 901"/>
                <a:gd name="T92" fmla="*/ 857 w 901"/>
                <a:gd name="T93" fmla="*/ 255 h 901"/>
                <a:gd name="T94" fmla="*/ 798 w 901"/>
                <a:gd name="T95" fmla="*/ 164 h 901"/>
                <a:gd name="T96" fmla="*/ 720 w 901"/>
                <a:gd name="T97" fmla="*/ 90 h 901"/>
                <a:gd name="T98" fmla="*/ 626 w 901"/>
                <a:gd name="T99" fmla="*/ 35 h 901"/>
                <a:gd name="T100" fmla="*/ 519 w 901"/>
                <a:gd name="T101" fmla="*/ 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7" y="866"/>
                  </a:lnTo>
                  <a:lnTo>
                    <a:pt x="366" y="862"/>
                  </a:lnTo>
                  <a:lnTo>
                    <a:pt x="346" y="857"/>
                  </a:lnTo>
                  <a:lnTo>
                    <a:pt x="326" y="852"/>
                  </a:lnTo>
                  <a:lnTo>
                    <a:pt x="306" y="845"/>
                  </a:lnTo>
                  <a:lnTo>
                    <a:pt x="288" y="838"/>
                  </a:lnTo>
                  <a:lnTo>
                    <a:pt x="269" y="829"/>
                  </a:lnTo>
                  <a:lnTo>
                    <a:pt x="250" y="820"/>
                  </a:lnTo>
                  <a:lnTo>
                    <a:pt x="233" y="810"/>
                  </a:lnTo>
                  <a:lnTo>
                    <a:pt x="216" y="799"/>
                  </a:lnTo>
                  <a:lnTo>
                    <a:pt x="199" y="787"/>
                  </a:lnTo>
                  <a:lnTo>
                    <a:pt x="184" y="775"/>
                  </a:lnTo>
                  <a:lnTo>
                    <a:pt x="168" y="762"/>
                  </a:lnTo>
                  <a:lnTo>
                    <a:pt x="154" y="748"/>
                  </a:lnTo>
                  <a:lnTo>
                    <a:pt x="140" y="733"/>
                  </a:lnTo>
                  <a:lnTo>
                    <a:pt x="126" y="718"/>
                  </a:lnTo>
                  <a:lnTo>
                    <a:pt x="114" y="702"/>
                  </a:lnTo>
                  <a:lnTo>
                    <a:pt x="103" y="685"/>
                  </a:lnTo>
                  <a:lnTo>
                    <a:pt x="91" y="668"/>
                  </a:lnTo>
                  <a:lnTo>
                    <a:pt x="81" y="651"/>
                  </a:lnTo>
                  <a:lnTo>
                    <a:pt x="72" y="632"/>
                  </a:lnTo>
                  <a:lnTo>
                    <a:pt x="63" y="614"/>
                  </a:lnTo>
                  <a:lnTo>
                    <a:pt x="56" y="595"/>
                  </a:lnTo>
                  <a:lnTo>
                    <a:pt x="49" y="576"/>
                  </a:lnTo>
                  <a:lnTo>
                    <a:pt x="44" y="555"/>
                  </a:lnTo>
                  <a:lnTo>
                    <a:pt x="39" y="535"/>
                  </a:lnTo>
                  <a:lnTo>
                    <a:pt x="35" y="515"/>
                  </a:lnTo>
                  <a:lnTo>
                    <a:pt x="32" y="493"/>
                  </a:lnTo>
                  <a:lnTo>
                    <a:pt x="31" y="472"/>
                  </a:lnTo>
                  <a:lnTo>
                    <a:pt x="30" y="450"/>
                  </a:lnTo>
                  <a:lnTo>
                    <a:pt x="31" y="429"/>
                  </a:lnTo>
                  <a:lnTo>
                    <a:pt x="32" y="408"/>
                  </a:lnTo>
                  <a:lnTo>
                    <a:pt x="35" y="386"/>
                  </a:lnTo>
                  <a:lnTo>
                    <a:pt x="39" y="366"/>
                  </a:lnTo>
                  <a:lnTo>
                    <a:pt x="44" y="346"/>
                  </a:lnTo>
                  <a:lnTo>
                    <a:pt x="49" y="325"/>
                  </a:lnTo>
                  <a:lnTo>
                    <a:pt x="56" y="306"/>
                  </a:lnTo>
                  <a:lnTo>
                    <a:pt x="63" y="287"/>
                  </a:lnTo>
                  <a:lnTo>
                    <a:pt x="72" y="268"/>
                  </a:lnTo>
                  <a:lnTo>
                    <a:pt x="81" y="250"/>
                  </a:lnTo>
                  <a:lnTo>
                    <a:pt x="91" y="232"/>
                  </a:lnTo>
                  <a:lnTo>
                    <a:pt x="103" y="215"/>
                  </a:lnTo>
                  <a:lnTo>
                    <a:pt x="114" y="199"/>
                  </a:lnTo>
                  <a:lnTo>
                    <a:pt x="126" y="183"/>
                  </a:lnTo>
                  <a:lnTo>
                    <a:pt x="140" y="168"/>
                  </a:lnTo>
                  <a:lnTo>
                    <a:pt x="154" y="153"/>
                  </a:lnTo>
                  <a:lnTo>
                    <a:pt x="168" y="139"/>
                  </a:lnTo>
                  <a:lnTo>
                    <a:pt x="184" y="126"/>
                  </a:lnTo>
                  <a:lnTo>
                    <a:pt x="199" y="113"/>
                  </a:lnTo>
                  <a:lnTo>
                    <a:pt x="216" y="102"/>
                  </a:lnTo>
                  <a:lnTo>
                    <a:pt x="233" y="91"/>
                  </a:lnTo>
                  <a:lnTo>
                    <a:pt x="250" y="80"/>
                  </a:lnTo>
                  <a:lnTo>
                    <a:pt x="269" y="72"/>
                  </a:lnTo>
                  <a:lnTo>
                    <a:pt x="288" y="63"/>
                  </a:lnTo>
                  <a:lnTo>
                    <a:pt x="306" y="56"/>
                  </a:lnTo>
                  <a:lnTo>
                    <a:pt x="326" y="49"/>
                  </a:lnTo>
                  <a:lnTo>
                    <a:pt x="346" y="43"/>
                  </a:lnTo>
                  <a:lnTo>
                    <a:pt x="366" y="38"/>
                  </a:lnTo>
                  <a:lnTo>
                    <a:pt x="387" y="34"/>
                  </a:lnTo>
                  <a:lnTo>
                    <a:pt x="408" y="32"/>
                  </a:lnTo>
                  <a:lnTo>
                    <a:pt x="429" y="30"/>
                  </a:lnTo>
                  <a:lnTo>
                    <a:pt x="450" y="30"/>
                  </a:lnTo>
                  <a:lnTo>
                    <a:pt x="473" y="30"/>
                  </a:lnTo>
                  <a:lnTo>
                    <a:pt x="494" y="32"/>
                  </a:lnTo>
                  <a:lnTo>
                    <a:pt x="515" y="34"/>
                  </a:lnTo>
                  <a:lnTo>
                    <a:pt x="535" y="38"/>
                  </a:lnTo>
                  <a:lnTo>
                    <a:pt x="555" y="43"/>
                  </a:lnTo>
                  <a:lnTo>
                    <a:pt x="576" y="49"/>
                  </a:lnTo>
                  <a:lnTo>
                    <a:pt x="595" y="56"/>
                  </a:lnTo>
                  <a:lnTo>
                    <a:pt x="614" y="63"/>
                  </a:lnTo>
                  <a:lnTo>
                    <a:pt x="633" y="72"/>
                  </a:lnTo>
                  <a:lnTo>
                    <a:pt x="652" y="80"/>
                  </a:lnTo>
                  <a:lnTo>
                    <a:pt x="669" y="91"/>
                  </a:lnTo>
                  <a:lnTo>
                    <a:pt x="686" y="102"/>
                  </a:lnTo>
                  <a:lnTo>
                    <a:pt x="702" y="113"/>
                  </a:lnTo>
                  <a:lnTo>
                    <a:pt x="718" y="126"/>
                  </a:lnTo>
                  <a:lnTo>
                    <a:pt x="733" y="139"/>
                  </a:lnTo>
                  <a:lnTo>
                    <a:pt x="748" y="153"/>
                  </a:lnTo>
                  <a:lnTo>
                    <a:pt x="762" y="168"/>
                  </a:lnTo>
                  <a:lnTo>
                    <a:pt x="776" y="183"/>
                  </a:lnTo>
                  <a:lnTo>
                    <a:pt x="788" y="199"/>
                  </a:lnTo>
                  <a:lnTo>
                    <a:pt x="799" y="215"/>
                  </a:lnTo>
                  <a:lnTo>
                    <a:pt x="810" y="232"/>
                  </a:lnTo>
                  <a:lnTo>
                    <a:pt x="821" y="250"/>
                  </a:lnTo>
                  <a:lnTo>
                    <a:pt x="830" y="268"/>
                  </a:lnTo>
                  <a:lnTo>
                    <a:pt x="838" y="287"/>
                  </a:lnTo>
                  <a:lnTo>
                    <a:pt x="845" y="306"/>
                  </a:lnTo>
                  <a:lnTo>
                    <a:pt x="853" y="325"/>
                  </a:lnTo>
                  <a:lnTo>
                    <a:pt x="858" y="346"/>
                  </a:lnTo>
                  <a:lnTo>
                    <a:pt x="862" y="366"/>
                  </a:lnTo>
                  <a:lnTo>
                    <a:pt x="867" y="386"/>
                  </a:lnTo>
                  <a:lnTo>
                    <a:pt x="869" y="408"/>
                  </a:lnTo>
                  <a:lnTo>
                    <a:pt x="871" y="429"/>
                  </a:lnTo>
                  <a:lnTo>
                    <a:pt x="871" y="450"/>
                  </a:lnTo>
                  <a:lnTo>
                    <a:pt x="871" y="472"/>
                  </a:lnTo>
                  <a:lnTo>
                    <a:pt x="869" y="493"/>
                  </a:lnTo>
                  <a:lnTo>
                    <a:pt x="867" y="515"/>
                  </a:lnTo>
                  <a:lnTo>
                    <a:pt x="862" y="535"/>
                  </a:lnTo>
                  <a:lnTo>
                    <a:pt x="858" y="555"/>
                  </a:lnTo>
                  <a:lnTo>
                    <a:pt x="853" y="576"/>
                  </a:lnTo>
                  <a:lnTo>
                    <a:pt x="845" y="595"/>
                  </a:lnTo>
                  <a:lnTo>
                    <a:pt x="838" y="614"/>
                  </a:lnTo>
                  <a:lnTo>
                    <a:pt x="830" y="632"/>
                  </a:lnTo>
                  <a:lnTo>
                    <a:pt x="821" y="651"/>
                  </a:lnTo>
                  <a:lnTo>
                    <a:pt x="810" y="668"/>
                  </a:lnTo>
                  <a:lnTo>
                    <a:pt x="799" y="685"/>
                  </a:lnTo>
                  <a:lnTo>
                    <a:pt x="788" y="702"/>
                  </a:lnTo>
                  <a:lnTo>
                    <a:pt x="776" y="718"/>
                  </a:lnTo>
                  <a:lnTo>
                    <a:pt x="762" y="733"/>
                  </a:lnTo>
                  <a:lnTo>
                    <a:pt x="748" y="748"/>
                  </a:lnTo>
                  <a:lnTo>
                    <a:pt x="733" y="762"/>
                  </a:lnTo>
                  <a:lnTo>
                    <a:pt x="718" y="775"/>
                  </a:lnTo>
                  <a:lnTo>
                    <a:pt x="702" y="787"/>
                  </a:lnTo>
                  <a:lnTo>
                    <a:pt x="686" y="799"/>
                  </a:lnTo>
                  <a:lnTo>
                    <a:pt x="669" y="810"/>
                  </a:lnTo>
                  <a:lnTo>
                    <a:pt x="652" y="820"/>
                  </a:lnTo>
                  <a:lnTo>
                    <a:pt x="633" y="829"/>
                  </a:lnTo>
                  <a:lnTo>
                    <a:pt x="614" y="838"/>
                  </a:lnTo>
                  <a:lnTo>
                    <a:pt x="595" y="845"/>
                  </a:lnTo>
                  <a:lnTo>
                    <a:pt x="576" y="852"/>
                  </a:lnTo>
                  <a:lnTo>
                    <a:pt x="555" y="857"/>
                  </a:lnTo>
                  <a:lnTo>
                    <a:pt x="536" y="862"/>
                  </a:lnTo>
                  <a:lnTo>
                    <a:pt x="515" y="866"/>
                  </a:lnTo>
                  <a:lnTo>
                    <a:pt x="494" y="869"/>
                  </a:lnTo>
                  <a:lnTo>
                    <a:pt x="473" y="870"/>
                  </a:lnTo>
                  <a:lnTo>
                    <a:pt x="450" y="871"/>
                  </a:lnTo>
                  <a:close/>
                  <a:moveTo>
                    <a:pt x="450" y="0"/>
                  </a:moveTo>
                  <a:lnTo>
                    <a:pt x="428" y="0"/>
                  </a:lnTo>
                  <a:lnTo>
                    <a:pt x="404" y="2"/>
                  </a:lnTo>
                  <a:lnTo>
                    <a:pt x="382" y="5"/>
                  </a:lnTo>
                  <a:lnTo>
                    <a:pt x="361" y="8"/>
                  </a:lnTo>
                  <a:lnTo>
                    <a:pt x="338" y="14"/>
                  </a:lnTo>
                  <a:lnTo>
                    <a:pt x="317" y="20"/>
                  </a:lnTo>
                  <a:lnTo>
                    <a:pt x="296" y="27"/>
                  </a:lnTo>
                  <a:lnTo>
                    <a:pt x="276" y="35"/>
                  </a:lnTo>
                  <a:lnTo>
                    <a:pt x="256" y="44"/>
                  </a:lnTo>
                  <a:lnTo>
                    <a:pt x="236" y="54"/>
                  </a:lnTo>
                  <a:lnTo>
                    <a:pt x="217" y="65"/>
                  </a:lnTo>
                  <a:lnTo>
                    <a:pt x="199" y="77"/>
                  </a:lnTo>
                  <a:lnTo>
                    <a:pt x="182" y="90"/>
                  </a:lnTo>
                  <a:lnTo>
                    <a:pt x="165" y="103"/>
                  </a:lnTo>
                  <a:lnTo>
                    <a:pt x="148" y="117"/>
                  </a:lnTo>
                  <a:lnTo>
                    <a:pt x="133" y="132"/>
                  </a:lnTo>
                  <a:lnTo>
                    <a:pt x="118" y="148"/>
                  </a:lnTo>
                  <a:lnTo>
                    <a:pt x="104" y="164"/>
                  </a:lnTo>
                  <a:lnTo>
                    <a:pt x="90" y="181"/>
                  </a:lnTo>
                  <a:lnTo>
                    <a:pt x="77" y="199"/>
                  </a:lnTo>
                  <a:lnTo>
                    <a:pt x="65" y="217"/>
                  </a:lnTo>
                  <a:lnTo>
                    <a:pt x="55" y="235"/>
                  </a:lnTo>
                  <a:lnTo>
                    <a:pt x="45" y="255"/>
                  </a:lnTo>
                  <a:lnTo>
                    <a:pt x="36" y="275"/>
                  </a:lnTo>
                  <a:lnTo>
                    <a:pt x="28" y="295"/>
                  </a:lnTo>
                  <a:lnTo>
                    <a:pt x="20" y="317"/>
                  </a:lnTo>
                  <a:lnTo>
                    <a:pt x="15" y="338"/>
                  </a:lnTo>
                  <a:lnTo>
                    <a:pt x="10" y="359"/>
                  </a:lnTo>
                  <a:lnTo>
                    <a:pt x="5" y="382"/>
                  </a:lnTo>
                  <a:lnTo>
                    <a:pt x="3" y="404"/>
                  </a:lnTo>
                  <a:lnTo>
                    <a:pt x="1" y="427"/>
                  </a:lnTo>
                  <a:lnTo>
                    <a:pt x="0" y="450"/>
                  </a:lnTo>
                  <a:lnTo>
                    <a:pt x="1" y="474"/>
                  </a:lnTo>
                  <a:lnTo>
                    <a:pt x="3" y="496"/>
                  </a:lnTo>
                  <a:lnTo>
                    <a:pt x="5" y="519"/>
                  </a:lnTo>
                  <a:lnTo>
                    <a:pt x="10" y="541"/>
                  </a:lnTo>
                  <a:lnTo>
                    <a:pt x="15" y="563"/>
                  </a:lnTo>
                  <a:lnTo>
                    <a:pt x="20" y="584"/>
                  </a:lnTo>
                  <a:lnTo>
                    <a:pt x="28" y="605"/>
                  </a:lnTo>
                  <a:lnTo>
                    <a:pt x="36" y="626"/>
                  </a:lnTo>
                  <a:lnTo>
                    <a:pt x="45" y="645"/>
                  </a:lnTo>
                  <a:lnTo>
                    <a:pt x="55" y="664"/>
                  </a:lnTo>
                  <a:lnTo>
                    <a:pt x="65" y="684"/>
                  </a:lnTo>
                  <a:lnTo>
                    <a:pt x="77" y="702"/>
                  </a:lnTo>
                  <a:lnTo>
                    <a:pt x="90" y="720"/>
                  </a:lnTo>
                  <a:lnTo>
                    <a:pt x="104" y="737"/>
                  </a:lnTo>
                  <a:lnTo>
                    <a:pt x="118" y="753"/>
                  </a:lnTo>
                  <a:lnTo>
                    <a:pt x="133" y="768"/>
                  </a:lnTo>
                  <a:lnTo>
                    <a:pt x="148" y="783"/>
                  </a:lnTo>
                  <a:lnTo>
                    <a:pt x="165" y="798"/>
                  </a:lnTo>
                  <a:lnTo>
                    <a:pt x="182" y="811"/>
                  </a:lnTo>
                  <a:lnTo>
                    <a:pt x="199" y="824"/>
                  </a:lnTo>
                  <a:lnTo>
                    <a:pt x="217" y="836"/>
                  </a:lnTo>
                  <a:lnTo>
                    <a:pt x="236" y="846"/>
                  </a:lnTo>
                  <a:lnTo>
                    <a:pt x="256" y="856"/>
                  </a:lnTo>
                  <a:lnTo>
                    <a:pt x="276" y="866"/>
                  </a:lnTo>
                  <a:lnTo>
                    <a:pt x="296" y="873"/>
                  </a:lnTo>
                  <a:lnTo>
                    <a:pt x="317" y="881"/>
                  </a:lnTo>
                  <a:lnTo>
                    <a:pt x="338" y="887"/>
                  </a:lnTo>
                  <a:lnTo>
                    <a:pt x="361" y="891"/>
                  </a:lnTo>
                  <a:lnTo>
                    <a:pt x="382" y="896"/>
                  </a:lnTo>
                  <a:lnTo>
                    <a:pt x="404" y="899"/>
                  </a:lnTo>
                  <a:lnTo>
                    <a:pt x="428" y="900"/>
                  </a:lnTo>
                  <a:lnTo>
                    <a:pt x="450" y="901"/>
                  </a:lnTo>
                  <a:lnTo>
                    <a:pt x="474" y="900"/>
                  </a:lnTo>
                  <a:lnTo>
                    <a:pt x="496" y="899"/>
                  </a:lnTo>
                  <a:lnTo>
                    <a:pt x="519" y="896"/>
                  </a:lnTo>
                  <a:lnTo>
                    <a:pt x="541" y="891"/>
                  </a:lnTo>
                  <a:lnTo>
                    <a:pt x="563" y="887"/>
                  </a:lnTo>
                  <a:lnTo>
                    <a:pt x="584" y="881"/>
                  </a:lnTo>
                  <a:lnTo>
                    <a:pt x="606" y="873"/>
                  </a:lnTo>
                  <a:lnTo>
                    <a:pt x="626" y="866"/>
                  </a:lnTo>
                  <a:lnTo>
                    <a:pt x="646" y="856"/>
                  </a:lnTo>
                  <a:lnTo>
                    <a:pt x="666" y="846"/>
                  </a:lnTo>
                  <a:lnTo>
                    <a:pt x="685" y="836"/>
                  </a:lnTo>
                  <a:lnTo>
                    <a:pt x="703" y="824"/>
                  </a:lnTo>
                  <a:lnTo>
                    <a:pt x="720" y="811"/>
                  </a:lnTo>
                  <a:lnTo>
                    <a:pt x="737" y="798"/>
                  </a:lnTo>
                  <a:lnTo>
                    <a:pt x="753" y="783"/>
                  </a:lnTo>
                  <a:lnTo>
                    <a:pt x="769" y="768"/>
                  </a:lnTo>
                  <a:lnTo>
                    <a:pt x="784" y="753"/>
                  </a:lnTo>
                  <a:lnTo>
                    <a:pt x="798" y="736"/>
                  </a:lnTo>
                  <a:lnTo>
                    <a:pt x="812" y="720"/>
                  </a:lnTo>
                  <a:lnTo>
                    <a:pt x="824" y="702"/>
                  </a:lnTo>
                  <a:lnTo>
                    <a:pt x="836" y="684"/>
                  </a:lnTo>
                  <a:lnTo>
                    <a:pt x="847" y="664"/>
                  </a:lnTo>
                  <a:lnTo>
                    <a:pt x="857" y="645"/>
                  </a:lnTo>
                  <a:lnTo>
                    <a:pt x="866" y="626"/>
                  </a:lnTo>
                  <a:lnTo>
                    <a:pt x="874" y="605"/>
                  </a:lnTo>
                  <a:lnTo>
                    <a:pt x="881" y="584"/>
                  </a:lnTo>
                  <a:lnTo>
                    <a:pt x="887" y="563"/>
                  </a:lnTo>
                  <a:lnTo>
                    <a:pt x="892" y="541"/>
                  </a:lnTo>
                  <a:lnTo>
                    <a:pt x="897" y="519"/>
                  </a:lnTo>
                  <a:lnTo>
                    <a:pt x="899" y="496"/>
                  </a:lnTo>
                  <a:lnTo>
                    <a:pt x="901" y="474"/>
                  </a:lnTo>
                  <a:lnTo>
                    <a:pt x="901" y="450"/>
                  </a:lnTo>
                  <a:lnTo>
                    <a:pt x="901" y="427"/>
                  </a:lnTo>
                  <a:lnTo>
                    <a:pt x="899" y="404"/>
                  </a:lnTo>
                  <a:lnTo>
                    <a:pt x="897" y="382"/>
                  </a:lnTo>
                  <a:lnTo>
                    <a:pt x="892" y="359"/>
                  </a:lnTo>
                  <a:lnTo>
                    <a:pt x="887" y="338"/>
                  </a:lnTo>
                  <a:lnTo>
                    <a:pt x="881" y="317"/>
                  </a:lnTo>
                  <a:lnTo>
                    <a:pt x="874" y="295"/>
                  </a:lnTo>
                  <a:lnTo>
                    <a:pt x="866" y="275"/>
                  </a:lnTo>
                  <a:lnTo>
                    <a:pt x="857" y="255"/>
                  </a:lnTo>
                  <a:lnTo>
                    <a:pt x="847" y="235"/>
                  </a:lnTo>
                  <a:lnTo>
                    <a:pt x="836" y="217"/>
                  </a:lnTo>
                  <a:lnTo>
                    <a:pt x="824" y="199"/>
                  </a:lnTo>
                  <a:lnTo>
                    <a:pt x="812" y="181"/>
                  </a:lnTo>
                  <a:lnTo>
                    <a:pt x="798" y="164"/>
                  </a:lnTo>
                  <a:lnTo>
                    <a:pt x="784" y="148"/>
                  </a:lnTo>
                  <a:lnTo>
                    <a:pt x="769" y="132"/>
                  </a:lnTo>
                  <a:lnTo>
                    <a:pt x="753" y="117"/>
                  </a:lnTo>
                  <a:lnTo>
                    <a:pt x="737" y="103"/>
                  </a:lnTo>
                  <a:lnTo>
                    <a:pt x="720" y="90"/>
                  </a:lnTo>
                  <a:lnTo>
                    <a:pt x="703" y="77"/>
                  </a:lnTo>
                  <a:lnTo>
                    <a:pt x="685" y="65"/>
                  </a:lnTo>
                  <a:lnTo>
                    <a:pt x="666" y="54"/>
                  </a:lnTo>
                  <a:lnTo>
                    <a:pt x="646" y="44"/>
                  </a:lnTo>
                  <a:lnTo>
                    <a:pt x="626" y="35"/>
                  </a:lnTo>
                  <a:lnTo>
                    <a:pt x="606" y="27"/>
                  </a:lnTo>
                  <a:lnTo>
                    <a:pt x="584" y="20"/>
                  </a:lnTo>
                  <a:lnTo>
                    <a:pt x="563" y="14"/>
                  </a:lnTo>
                  <a:lnTo>
                    <a:pt x="541" y="8"/>
                  </a:lnTo>
                  <a:lnTo>
                    <a:pt x="519" y="5"/>
                  </a:lnTo>
                  <a:lnTo>
                    <a:pt x="496" y="2"/>
                  </a:lnTo>
                  <a:lnTo>
                    <a:pt x="474"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26">
              <a:extLst>
                <a:ext uri="{FF2B5EF4-FFF2-40B4-BE49-F238E27FC236}">
                  <a16:creationId xmlns:a16="http://schemas.microsoft.com/office/drawing/2014/main" id="{5DA992C8-B1FA-4F39-8B5C-831C71A5702E}"/>
                </a:ext>
              </a:extLst>
            </p:cNvPr>
            <p:cNvSpPr>
              <a:spLocks/>
            </p:cNvSpPr>
            <p:nvPr/>
          </p:nvSpPr>
          <p:spPr bwMode="auto">
            <a:xfrm>
              <a:off x="5511800" y="3794126"/>
              <a:ext cx="190500" cy="103188"/>
            </a:xfrm>
            <a:custGeom>
              <a:avLst/>
              <a:gdLst>
                <a:gd name="T0" fmla="*/ 580 w 600"/>
                <a:gd name="T1" fmla="*/ 1 h 322"/>
                <a:gd name="T2" fmla="*/ 572 w 600"/>
                <a:gd name="T3" fmla="*/ 7 h 322"/>
                <a:gd name="T4" fmla="*/ 570 w 600"/>
                <a:gd name="T5" fmla="*/ 15 h 322"/>
                <a:gd name="T6" fmla="*/ 567 w 600"/>
                <a:gd name="T7" fmla="*/ 57 h 322"/>
                <a:gd name="T8" fmla="*/ 557 w 600"/>
                <a:gd name="T9" fmla="*/ 97 h 322"/>
                <a:gd name="T10" fmla="*/ 543 w 600"/>
                <a:gd name="T11" fmla="*/ 134 h 322"/>
                <a:gd name="T12" fmla="*/ 523 w 600"/>
                <a:gd name="T13" fmla="*/ 168 h 322"/>
                <a:gd name="T14" fmla="*/ 500 w 600"/>
                <a:gd name="T15" fmla="*/ 200 h 322"/>
                <a:gd name="T16" fmla="*/ 471 w 600"/>
                <a:gd name="T17" fmla="*/ 228 h 322"/>
                <a:gd name="T18" fmla="*/ 439 w 600"/>
                <a:gd name="T19" fmla="*/ 252 h 322"/>
                <a:gd name="T20" fmla="*/ 404 w 600"/>
                <a:gd name="T21" fmla="*/ 270 h 322"/>
                <a:gd name="T22" fmla="*/ 367 w 600"/>
                <a:gd name="T23" fmla="*/ 283 h 322"/>
                <a:gd name="T24" fmla="*/ 327 w 600"/>
                <a:gd name="T25" fmla="*/ 290 h 322"/>
                <a:gd name="T26" fmla="*/ 287 w 600"/>
                <a:gd name="T27" fmla="*/ 291 h 322"/>
                <a:gd name="T28" fmla="*/ 246 w 600"/>
                <a:gd name="T29" fmla="*/ 286 h 322"/>
                <a:gd name="T30" fmla="*/ 209 w 600"/>
                <a:gd name="T31" fmla="*/ 275 h 322"/>
                <a:gd name="T32" fmla="*/ 172 w 600"/>
                <a:gd name="T33" fmla="*/ 258 h 322"/>
                <a:gd name="T34" fmla="*/ 139 w 600"/>
                <a:gd name="T35" fmla="*/ 236 h 322"/>
                <a:gd name="T36" fmla="*/ 110 w 600"/>
                <a:gd name="T37" fmla="*/ 210 h 322"/>
                <a:gd name="T38" fmla="*/ 84 w 600"/>
                <a:gd name="T39" fmla="*/ 180 h 322"/>
                <a:gd name="T40" fmla="*/ 63 w 600"/>
                <a:gd name="T41" fmla="*/ 146 h 322"/>
                <a:gd name="T42" fmla="*/ 46 w 600"/>
                <a:gd name="T43" fmla="*/ 110 h 322"/>
                <a:gd name="T44" fmla="*/ 35 w 600"/>
                <a:gd name="T45" fmla="*/ 70 h 322"/>
                <a:gd name="T46" fmla="*/ 30 w 600"/>
                <a:gd name="T47" fmla="*/ 29 h 322"/>
                <a:gd name="T48" fmla="*/ 29 w 600"/>
                <a:gd name="T49" fmla="*/ 9 h 322"/>
                <a:gd name="T50" fmla="*/ 23 w 600"/>
                <a:gd name="T51" fmla="*/ 3 h 322"/>
                <a:gd name="T52" fmla="*/ 15 w 600"/>
                <a:gd name="T53" fmla="*/ 0 h 322"/>
                <a:gd name="T54" fmla="*/ 6 w 600"/>
                <a:gd name="T55" fmla="*/ 3 h 322"/>
                <a:gd name="T56" fmla="*/ 1 w 600"/>
                <a:gd name="T57" fmla="*/ 9 h 322"/>
                <a:gd name="T58" fmla="*/ 0 w 600"/>
                <a:gd name="T59" fmla="*/ 30 h 322"/>
                <a:gd name="T60" fmla="*/ 6 w 600"/>
                <a:gd name="T61" fmla="*/ 76 h 322"/>
                <a:gd name="T62" fmla="*/ 18 w 600"/>
                <a:gd name="T63" fmla="*/ 119 h 322"/>
                <a:gd name="T64" fmla="*/ 36 w 600"/>
                <a:gd name="T65" fmla="*/ 160 h 322"/>
                <a:gd name="T66" fmla="*/ 60 w 600"/>
                <a:gd name="T67" fmla="*/ 197 h 322"/>
                <a:gd name="T68" fmla="*/ 89 w 600"/>
                <a:gd name="T69" fmla="*/ 232 h 322"/>
                <a:gd name="T70" fmla="*/ 122 w 600"/>
                <a:gd name="T71" fmla="*/ 260 h 322"/>
                <a:gd name="T72" fmla="*/ 158 w 600"/>
                <a:gd name="T73" fmla="*/ 284 h 322"/>
                <a:gd name="T74" fmla="*/ 198 w 600"/>
                <a:gd name="T75" fmla="*/ 303 h 322"/>
                <a:gd name="T76" fmla="*/ 241 w 600"/>
                <a:gd name="T77" fmla="*/ 316 h 322"/>
                <a:gd name="T78" fmla="*/ 284 w 600"/>
                <a:gd name="T79" fmla="*/ 321 h 322"/>
                <a:gd name="T80" fmla="*/ 330 w 600"/>
                <a:gd name="T81" fmla="*/ 320 h 322"/>
                <a:gd name="T82" fmla="*/ 374 w 600"/>
                <a:gd name="T83" fmla="*/ 312 h 322"/>
                <a:gd name="T84" fmla="*/ 415 w 600"/>
                <a:gd name="T85" fmla="*/ 298 h 322"/>
                <a:gd name="T86" fmla="*/ 455 w 600"/>
                <a:gd name="T87" fmla="*/ 276 h 322"/>
                <a:gd name="T88" fmla="*/ 490 w 600"/>
                <a:gd name="T89" fmla="*/ 251 h 322"/>
                <a:gd name="T90" fmla="*/ 521 w 600"/>
                <a:gd name="T91" fmla="*/ 221 h 322"/>
                <a:gd name="T92" fmla="*/ 548 w 600"/>
                <a:gd name="T93" fmla="*/ 186 h 322"/>
                <a:gd name="T94" fmla="*/ 570 w 600"/>
                <a:gd name="T95" fmla="*/ 147 h 322"/>
                <a:gd name="T96" fmla="*/ 586 w 600"/>
                <a:gd name="T97" fmla="*/ 105 h 322"/>
                <a:gd name="T98" fmla="*/ 597 w 600"/>
                <a:gd name="T99" fmla="*/ 61 h 322"/>
                <a:gd name="T100" fmla="*/ 600 w 600"/>
                <a:gd name="T101" fmla="*/ 15 h 322"/>
                <a:gd name="T102" fmla="*/ 598 w 600"/>
                <a:gd name="T103" fmla="*/ 7 h 322"/>
                <a:gd name="T104" fmla="*/ 592 w 600"/>
                <a:gd name="T105" fmla="*/ 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0" h="322">
                  <a:moveTo>
                    <a:pt x="585" y="0"/>
                  </a:moveTo>
                  <a:lnTo>
                    <a:pt x="582" y="0"/>
                  </a:lnTo>
                  <a:lnTo>
                    <a:pt x="580" y="1"/>
                  </a:lnTo>
                  <a:lnTo>
                    <a:pt x="577" y="3"/>
                  </a:lnTo>
                  <a:lnTo>
                    <a:pt x="574" y="5"/>
                  </a:lnTo>
                  <a:lnTo>
                    <a:pt x="572" y="7"/>
                  </a:lnTo>
                  <a:lnTo>
                    <a:pt x="571" y="9"/>
                  </a:lnTo>
                  <a:lnTo>
                    <a:pt x="570" y="12"/>
                  </a:lnTo>
                  <a:lnTo>
                    <a:pt x="570" y="15"/>
                  </a:lnTo>
                  <a:lnTo>
                    <a:pt x="570" y="29"/>
                  </a:lnTo>
                  <a:lnTo>
                    <a:pt x="569" y="43"/>
                  </a:lnTo>
                  <a:lnTo>
                    <a:pt x="567" y="57"/>
                  </a:lnTo>
                  <a:lnTo>
                    <a:pt x="565" y="70"/>
                  </a:lnTo>
                  <a:lnTo>
                    <a:pt x="562" y="84"/>
                  </a:lnTo>
                  <a:lnTo>
                    <a:pt x="557" y="97"/>
                  </a:lnTo>
                  <a:lnTo>
                    <a:pt x="553" y="110"/>
                  </a:lnTo>
                  <a:lnTo>
                    <a:pt x="549" y="121"/>
                  </a:lnTo>
                  <a:lnTo>
                    <a:pt x="543" y="134"/>
                  </a:lnTo>
                  <a:lnTo>
                    <a:pt x="537" y="146"/>
                  </a:lnTo>
                  <a:lnTo>
                    <a:pt x="531" y="158"/>
                  </a:lnTo>
                  <a:lnTo>
                    <a:pt x="523" y="168"/>
                  </a:lnTo>
                  <a:lnTo>
                    <a:pt x="516" y="180"/>
                  </a:lnTo>
                  <a:lnTo>
                    <a:pt x="508" y="190"/>
                  </a:lnTo>
                  <a:lnTo>
                    <a:pt x="500" y="200"/>
                  </a:lnTo>
                  <a:lnTo>
                    <a:pt x="490" y="210"/>
                  </a:lnTo>
                  <a:lnTo>
                    <a:pt x="480" y="219"/>
                  </a:lnTo>
                  <a:lnTo>
                    <a:pt x="471" y="228"/>
                  </a:lnTo>
                  <a:lnTo>
                    <a:pt x="460" y="236"/>
                  </a:lnTo>
                  <a:lnTo>
                    <a:pt x="450" y="244"/>
                  </a:lnTo>
                  <a:lnTo>
                    <a:pt x="439" y="252"/>
                  </a:lnTo>
                  <a:lnTo>
                    <a:pt x="428" y="258"/>
                  </a:lnTo>
                  <a:lnTo>
                    <a:pt x="416" y="265"/>
                  </a:lnTo>
                  <a:lnTo>
                    <a:pt x="404" y="270"/>
                  </a:lnTo>
                  <a:lnTo>
                    <a:pt x="391" y="275"/>
                  </a:lnTo>
                  <a:lnTo>
                    <a:pt x="380" y="280"/>
                  </a:lnTo>
                  <a:lnTo>
                    <a:pt x="367" y="283"/>
                  </a:lnTo>
                  <a:lnTo>
                    <a:pt x="354" y="286"/>
                  </a:lnTo>
                  <a:lnTo>
                    <a:pt x="340" y="289"/>
                  </a:lnTo>
                  <a:lnTo>
                    <a:pt x="327" y="290"/>
                  </a:lnTo>
                  <a:lnTo>
                    <a:pt x="313" y="291"/>
                  </a:lnTo>
                  <a:lnTo>
                    <a:pt x="299" y="293"/>
                  </a:lnTo>
                  <a:lnTo>
                    <a:pt x="287" y="291"/>
                  </a:lnTo>
                  <a:lnTo>
                    <a:pt x="273" y="290"/>
                  </a:lnTo>
                  <a:lnTo>
                    <a:pt x="260" y="289"/>
                  </a:lnTo>
                  <a:lnTo>
                    <a:pt x="246" y="286"/>
                  </a:lnTo>
                  <a:lnTo>
                    <a:pt x="233" y="283"/>
                  </a:lnTo>
                  <a:lnTo>
                    <a:pt x="220" y="280"/>
                  </a:lnTo>
                  <a:lnTo>
                    <a:pt x="209" y="275"/>
                  </a:lnTo>
                  <a:lnTo>
                    <a:pt x="196" y="270"/>
                  </a:lnTo>
                  <a:lnTo>
                    <a:pt x="184" y="265"/>
                  </a:lnTo>
                  <a:lnTo>
                    <a:pt x="172" y="258"/>
                  </a:lnTo>
                  <a:lnTo>
                    <a:pt x="161" y="252"/>
                  </a:lnTo>
                  <a:lnTo>
                    <a:pt x="150" y="244"/>
                  </a:lnTo>
                  <a:lnTo>
                    <a:pt x="139" y="236"/>
                  </a:lnTo>
                  <a:lnTo>
                    <a:pt x="129" y="228"/>
                  </a:lnTo>
                  <a:lnTo>
                    <a:pt x="120" y="219"/>
                  </a:lnTo>
                  <a:lnTo>
                    <a:pt x="110" y="210"/>
                  </a:lnTo>
                  <a:lnTo>
                    <a:pt x="100" y="200"/>
                  </a:lnTo>
                  <a:lnTo>
                    <a:pt x="92" y="190"/>
                  </a:lnTo>
                  <a:lnTo>
                    <a:pt x="84" y="180"/>
                  </a:lnTo>
                  <a:lnTo>
                    <a:pt x="77" y="168"/>
                  </a:lnTo>
                  <a:lnTo>
                    <a:pt x="69" y="158"/>
                  </a:lnTo>
                  <a:lnTo>
                    <a:pt x="63" y="146"/>
                  </a:lnTo>
                  <a:lnTo>
                    <a:pt x="57" y="134"/>
                  </a:lnTo>
                  <a:lnTo>
                    <a:pt x="51" y="121"/>
                  </a:lnTo>
                  <a:lnTo>
                    <a:pt x="46" y="110"/>
                  </a:lnTo>
                  <a:lnTo>
                    <a:pt x="42" y="97"/>
                  </a:lnTo>
                  <a:lnTo>
                    <a:pt x="38" y="84"/>
                  </a:lnTo>
                  <a:lnTo>
                    <a:pt x="35" y="70"/>
                  </a:lnTo>
                  <a:lnTo>
                    <a:pt x="33" y="57"/>
                  </a:lnTo>
                  <a:lnTo>
                    <a:pt x="31" y="43"/>
                  </a:lnTo>
                  <a:lnTo>
                    <a:pt x="30" y="29"/>
                  </a:lnTo>
                  <a:lnTo>
                    <a:pt x="30" y="15"/>
                  </a:lnTo>
                  <a:lnTo>
                    <a:pt x="29" y="12"/>
                  </a:lnTo>
                  <a:lnTo>
                    <a:pt x="29" y="9"/>
                  </a:lnTo>
                  <a:lnTo>
                    <a:pt x="27" y="7"/>
                  </a:lnTo>
                  <a:lnTo>
                    <a:pt x="26" y="5"/>
                  </a:lnTo>
                  <a:lnTo>
                    <a:pt x="23" y="3"/>
                  </a:lnTo>
                  <a:lnTo>
                    <a:pt x="20" y="1"/>
                  </a:lnTo>
                  <a:lnTo>
                    <a:pt x="18" y="0"/>
                  </a:lnTo>
                  <a:lnTo>
                    <a:pt x="15" y="0"/>
                  </a:lnTo>
                  <a:lnTo>
                    <a:pt x="12" y="0"/>
                  </a:lnTo>
                  <a:lnTo>
                    <a:pt x="8" y="1"/>
                  </a:lnTo>
                  <a:lnTo>
                    <a:pt x="6" y="3"/>
                  </a:lnTo>
                  <a:lnTo>
                    <a:pt x="4" y="5"/>
                  </a:lnTo>
                  <a:lnTo>
                    <a:pt x="2" y="7"/>
                  </a:lnTo>
                  <a:lnTo>
                    <a:pt x="1" y="9"/>
                  </a:lnTo>
                  <a:lnTo>
                    <a:pt x="0" y="12"/>
                  </a:lnTo>
                  <a:lnTo>
                    <a:pt x="0" y="15"/>
                  </a:lnTo>
                  <a:lnTo>
                    <a:pt x="0" y="30"/>
                  </a:lnTo>
                  <a:lnTo>
                    <a:pt x="1" y="46"/>
                  </a:lnTo>
                  <a:lnTo>
                    <a:pt x="3" y="61"/>
                  </a:lnTo>
                  <a:lnTo>
                    <a:pt x="6" y="76"/>
                  </a:lnTo>
                  <a:lnTo>
                    <a:pt x="9" y="91"/>
                  </a:lnTo>
                  <a:lnTo>
                    <a:pt x="14" y="105"/>
                  </a:lnTo>
                  <a:lnTo>
                    <a:pt x="18" y="119"/>
                  </a:lnTo>
                  <a:lnTo>
                    <a:pt x="23" y="133"/>
                  </a:lnTo>
                  <a:lnTo>
                    <a:pt x="30" y="147"/>
                  </a:lnTo>
                  <a:lnTo>
                    <a:pt x="36" y="160"/>
                  </a:lnTo>
                  <a:lnTo>
                    <a:pt x="44" y="173"/>
                  </a:lnTo>
                  <a:lnTo>
                    <a:pt x="51" y="186"/>
                  </a:lnTo>
                  <a:lnTo>
                    <a:pt x="60" y="197"/>
                  </a:lnTo>
                  <a:lnTo>
                    <a:pt x="69" y="209"/>
                  </a:lnTo>
                  <a:lnTo>
                    <a:pt x="79" y="221"/>
                  </a:lnTo>
                  <a:lnTo>
                    <a:pt x="89" y="232"/>
                  </a:lnTo>
                  <a:lnTo>
                    <a:pt x="99" y="241"/>
                  </a:lnTo>
                  <a:lnTo>
                    <a:pt x="110" y="251"/>
                  </a:lnTo>
                  <a:lnTo>
                    <a:pt x="122" y="260"/>
                  </a:lnTo>
                  <a:lnTo>
                    <a:pt x="134" y="269"/>
                  </a:lnTo>
                  <a:lnTo>
                    <a:pt x="145" y="276"/>
                  </a:lnTo>
                  <a:lnTo>
                    <a:pt x="158" y="284"/>
                  </a:lnTo>
                  <a:lnTo>
                    <a:pt x="171" y="291"/>
                  </a:lnTo>
                  <a:lnTo>
                    <a:pt x="184" y="298"/>
                  </a:lnTo>
                  <a:lnTo>
                    <a:pt x="198" y="303"/>
                  </a:lnTo>
                  <a:lnTo>
                    <a:pt x="212" y="309"/>
                  </a:lnTo>
                  <a:lnTo>
                    <a:pt x="226" y="312"/>
                  </a:lnTo>
                  <a:lnTo>
                    <a:pt x="241" y="316"/>
                  </a:lnTo>
                  <a:lnTo>
                    <a:pt x="255" y="318"/>
                  </a:lnTo>
                  <a:lnTo>
                    <a:pt x="270" y="320"/>
                  </a:lnTo>
                  <a:lnTo>
                    <a:pt x="284" y="321"/>
                  </a:lnTo>
                  <a:lnTo>
                    <a:pt x="299" y="322"/>
                  </a:lnTo>
                  <a:lnTo>
                    <a:pt x="316" y="321"/>
                  </a:lnTo>
                  <a:lnTo>
                    <a:pt x="330" y="320"/>
                  </a:lnTo>
                  <a:lnTo>
                    <a:pt x="344" y="318"/>
                  </a:lnTo>
                  <a:lnTo>
                    <a:pt x="359" y="316"/>
                  </a:lnTo>
                  <a:lnTo>
                    <a:pt x="374" y="312"/>
                  </a:lnTo>
                  <a:lnTo>
                    <a:pt x="388" y="308"/>
                  </a:lnTo>
                  <a:lnTo>
                    <a:pt x="402" y="303"/>
                  </a:lnTo>
                  <a:lnTo>
                    <a:pt x="415" y="298"/>
                  </a:lnTo>
                  <a:lnTo>
                    <a:pt x="429" y="291"/>
                  </a:lnTo>
                  <a:lnTo>
                    <a:pt x="442" y="284"/>
                  </a:lnTo>
                  <a:lnTo>
                    <a:pt x="455" y="276"/>
                  </a:lnTo>
                  <a:lnTo>
                    <a:pt x="466" y="269"/>
                  </a:lnTo>
                  <a:lnTo>
                    <a:pt x="478" y="260"/>
                  </a:lnTo>
                  <a:lnTo>
                    <a:pt x="490" y="251"/>
                  </a:lnTo>
                  <a:lnTo>
                    <a:pt x="501" y="241"/>
                  </a:lnTo>
                  <a:lnTo>
                    <a:pt x="511" y="232"/>
                  </a:lnTo>
                  <a:lnTo>
                    <a:pt x="521" y="221"/>
                  </a:lnTo>
                  <a:lnTo>
                    <a:pt x="531" y="209"/>
                  </a:lnTo>
                  <a:lnTo>
                    <a:pt x="539" y="197"/>
                  </a:lnTo>
                  <a:lnTo>
                    <a:pt x="548" y="186"/>
                  </a:lnTo>
                  <a:lnTo>
                    <a:pt x="556" y="173"/>
                  </a:lnTo>
                  <a:lnTo>
                    <a:pt x="564" y="160"/>
                  </a:lnTo>
                  <a:lnTo>
                    <a:pt x="570" y="147"/>
                  </a:lnTo>
                  <a:lnTo>
                    <a:pt x="577" y="133"/>
                  </a:lnTo>
                  <a:lnTo>
                    <a:pt x="582" y="119"/>
                  </a:lnTo>
                  <a:lnTo>
                    <a:pt x="586" y="105"/>
                  </a:lnTo>
                  <a:lnTo>
                    <a:pt x="591" y="91"/>
                  </a:lnTo>
                  <a:lnTo>
                    <a:pt x="594" y="76"/>
                  </a:lnTo>
                  <a:lnTo>
                    <a:pt x="597" y="61"/>
                  </a:lnTo>
                  <a:lnTo>
                    <a:pt x="599" y="46"/>
                  </a:lnTo>
                  <a:lnTo>
                    <a:pt x="600" y="30"/>
                  </a:lnTo>
                  <a:lnTo>
                    <a:pt x="600" y="15"/>
                  </a:lnTo>
                  <a:lnTo>
                    <a:pt x="600" y="12"/>
                  </a:lnTo>
                  <a:lnTo>
                    <a:pt x="599" y="9"/>
                  </a:lnTo>
                  <a:lnTo>
                    <a:pt x="598" y="7"/>
                  </a:lnTo>
                  <a:lnTo>
                    <a:pt x="596" y="5"/>
                  </a:lnTo>
                  <a:lnTo>
                    <a:pt x="594" y="3"/>
                  </a:lnTo>
                  <a:lnTo>
                    <a:pt x="592" y="1"/>
                  </a:lnTo>
                  <a:lnTo>
                    <a:pt x="588" y="0"/>
                  </a:ln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27">
              <a:extLst>
                <a:ext uri="{FF2B5EF4-FFF2-40B4-BE49-F238E27FC236}">
                  <a16:creationId xmlns:a16="http://schemas.microsoft.com/office/drawing/2014/main" id="{58BF8D2B-4E9D-41ED-A3E6-F25578FC5D55}"/>
                </a:ext>
              </a:extLst>
            </p:cNvPr>
            <p:cNvSpPr>
              <a:spLocks/>
            </p:cNvSpPr>
            <p:nvPr/>
          </p:nvSpPr>
          <p:spPr bwMode="auto">
            <a:xfrm>
              <a:off x="5630863" y="3736976"/>
              <a:ext cx="61913" cy="33338"/>
            </a:xfrm>
            <a:custGeom>
              <a:avLst/>
              <a:gdLst>
                <a:gd name="T0" fmla="*/ 104 w 195"/>
                <a:gd name="T1" fmla="*/ 104 h 104"/>
                <a:gd name="T2" fmla="*/ 122 w 195"/>
                <a:gd name="T3" fmla="*/ 101 h 104"/>
                <a:gd name="T4" fmla="*/ 140 w 195"/>
                <a:gd name="T5" fmla="*/ 95 h 104"/>
                <a:gd name="T6" fmla="*/ 156 w 195"/>
                <a:gd name="T7" fmla="*/ 85 h 104"/>
                <a:gd name="T8" fmla="*/ 169 w 195"/>
                <a:gd name="T9" fmla="*/ 73 h 104"/>
                <a:gd name="T10" fmla="*/ 181 w 195"/>
                <a:gd name="T11" fmla="*/ 59 h 104"/>
                <a:gd name="T12" fmla="*/ 190 w 195"/>
                <a:gd name="T13" fmla="*/ 43 h 104"/>
                <a:gd name="T14" fmla="*/ 194 w 195"/>
                <a:gd name="T15" fmla="*/ 25 h 104"/>
                <a:gd name="T16" fmla="*/ 195 w 195"/>
                <a:gd name="T17" fmla="*/ 12 h 104"/>
                <a:gd name="T18" fmla="*/ 193 w 195"/>
                <a:gd name="T19" fmla="*/ 7 h 104"/>
                <a:gd name="T20" fmla="*/ 189 w 195"/>
                <a:gd name="T21" fmla="*/ 3 h 104"/>
                <a:gd name="T22" fmla="*/ 183 w 195"/>
                <a:gd name="T23" fmla="*/ 1 h 104"/>
                <a:gd name="T24" fmla="*/ 177 w 195"/>
                <a:gd name="T25" fmla="*/ 1 h 104"/>
                <a:gd name="T26" fmla="*/ 172 w 195"/>
                <a:gd name="T27" fmla="*/ 3 h 104"/>
                <a:gd name="T28" fmla="*/ 167 w 195"/>
                <a:gd name="T29" fmla="*/ 7 h 104"/>
                <a:gd name="T30" fmla="*/ 165 w 195"/>
                <a:gd name="T31" fmla="*/ 12 h 104"/>
                <a:gd name="T32" fmla="*/ 165 w 195"/>
                <a:gd name="T33" fmla="*/ 21 h 104"/>
                <a:gd name="T34" fmla="*/ 162 w 195"/>
                <a:gd name="T35" fmla="*/ 33 h 104"/>
                <a:gd name="T36" fmla="*/ 156 w 195"/>
                <a:gd name="T37" fmla="*/ 43 h 104"/>
                <a:gd name="T38" fmla="*/ 147 w 195"/>
                <a:gd name="T39" fmla="*/ 53 h 104"/>
                <a:gd name="T40" fmla="*/ 132 w 195"/>
                <a:gd name="T41" fmla="*/ 65 h 104"/>
                <a:gd name="T42" fmla="*/ 114 w 195"/>
                <a:gd name="T43" fmla="*/ 72 h 104"/>
                <a:gd name="T44" fmla="*/ 101 w 195"/>
                <a:gd name="T45" fmla="*/ 74 h 104"/>
                <a:gd name="T46" fmla="*/ 89 w 195"/>
                <a:gd name="T47" fmla="*/ 74 h 104"/>
                <a:gd name="T48" fmla="*/ 76 w 195"/>
                <a:gd name="T49" fmla="*/ 71 h 104"/>
                <a:gd name="T50" fmla="*/ 65 w 195"/>
                <a:gd name="T51" fmla="*/ 67 h 104"/>
                <a:gd name="T52" fmla="*/ 54 w 195"/>
                <a:gd name="T53" fmla="*/ 61 h 104"/>
                <a:gd name="T54" fmla="*/ 45 w 195"/>
                <a:gd name="T55" fmla="*/ 53 h 104"/>
                <a:gd name="T56" fmla="*/ 38 w 195"/>
                <a:gd name="T57" fmla="*/ 43 h 104"/>
                <a:gd name="T58" fmla="*/ 33 w 195"/>
                <a:gd name="T59" fmla="*/ 33 h 104"/>
                <a:gd name="T60" fmla="*/ 30 w 195"/>
                <a:gd name="T61" fmla="*/ 21 h 104"/>
                <a:gd name="T62" fmla="*/ 29 w 195"/>
                <a:gd name="T63" fmla="*/ 12 h 104"/>
                <a:gd name="T64" fmla="*/ 27 w 195"/>
                <a:gd name="T65" fmla="*/ 7 h 104"/>
                <a:gd name="T66" fmla="*/ 23 w 195"/>
                <a:gd name="T67" fmla="*/ 3 h 104"/>
                <a:gd name="T68" fmla="*/ 18 w 195"/>
                <a:gd name="T69" fmla="*/ 1 h 104"/>
                <a:gd name="T70" fmla="*/ 12 w 195"/>
                <a:gd name="T71" fmla="*/ 1 h 104"/>
                <a:gd name="T72" fmla="*/ 7 w 195"/>
                <a:gd name="T73" fmla="*/ 3 h 104"/>
                <a:gd name="T74" fmla="*/ 3 w 195"/>
                <a:gd name="T75" fmla="*/ 7 h 104"/>
                <a:gd name="T76" fmla="*/ 0 w 195"/>
                <a:gd name="T77" fmla="*/ 12 h 104"/>
                <a:gd name="T78" fmla="*/ 0 w 195"/>
                <a:gd name="T79" fmla="*/ 24 h 104"/>
                <a:gd name="T80" fmla="*/ 5 w 195"/>
                <a:gd name="T81" fmla="*/ 41 h 104"/>
                <a:gd name="T82" fmla="*/ 12 w 195"/>
                <a:gd name="T83" fmla="*/ 57 h 104"/>
                <a:gd name="T84" fmla="*/ 22 w 195"/>
                <a:gd name="T85" fmla="*/ 71 h 104"/>
                <a:gd name="T86" fmla="*/ 35 w 195"/>
                <a:gd name="T87" fmla="*/ 84 h 104"/>
                <a:gd name="T88" fmla="*/ 51 w 195"/>
                <a:gd name="T89" fmla="*/ 94 h 104"/>
                <a:gd name="T90" fmla="*/ 68 w 195"/>
                <a:gd name="T91" fmla="*/ 100 h 104"/>
                <a:gd name="T92" fmla="*/ 86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6" y="104"/>
                  </a:moveTo>
                  <a:lnTo>
                    <a:pt x="104" y="104"/>
                  </a:lnTo>
                  <a:lnTo>
                    <a:pt x="113" y="102"/>
                  </a:lnTo>
                  <a:lnTo>
                    <a:pt x="122" y="101"/>
                  </a:lnTo>
                  <a:lnTo>
                    <a:pt x="131" y="98"/>
                  </a:lnTo>
                  <a:lnTo>
                    <a:pt x="140" y="95"/>
                  </a:lnTo>
                  <a:lnTo>
                    <a:pt x="148" y="90"/>
                  </a:lnTo>
                  <a:lnTo>
                    <a:pt x="156" y="85"/>
                  </a:lnTo>
                  <a:lnTo>
                    <a:pt x="163" y="80"/>
                  </a:lnTo>
                  <a:lnTo>
                    <a:pt x="169" y="73"/>
                  </a:lnTo>
                  <a:lnTo>
                    <a:pt x="176" y="67"/>
                  </a:lnTo>
                  <a:lnTo>
                    <a:pt x="181" y="59"/>
                  </a:lnTo>
                  <a:lnTo>
                    <a:pt x="187" y="51"/>
                  </a:lnTo>
                  <a:lnTo>
                    <a:pt x="190" y="43"/>
                  </a:lnTo>
                  <a:lnTo>
                    <a:pt x="193" y="34"/>
                  </a:lnTo>
                  <a:lnTo>
                    <a:pt x="194" y="25"/>
                  </a:lnTo>
                  <a:lnTo>
                    <a:pt x="195" y="16"/>
                  </a:lnTo>
                  <a:lnTo>
                    <a:pt x="195" y="12"/>
                  </a:lnTo>
                  <a:lnTo>
                    <a:pt x="194" y="9"/>
                  </a:lnTo>
                  <a:lnTo>
                    <a:pt x="193" y="7"/>
                  </a:lnTo>
                  <a:lnTo>
                    <a:pt x="191" y="5"/>
                  </a:lnTo>
                  <a:lnTo>
                    <a:pt x="189" y="3"/>
                  </a:lnTo>
                  <a:lnTo>
                    <a:pt x="186" y="2"/>
                  </a:lnTo>
                  <a:lnTo>
                    <a:pt x="183" y="1"/>
                  </a:lnTo>
                  <a:lnTo>
                    <a:pt x="180" y="0"/>
                  </a:lnTo>
                  <a:lnTo>
                    <a:pt x="177" y="1"/>
                  </a:lnTo>
                  <a:lnTo>
                    <a:pt x="175" y="2"/>
                  </a:lnTo>
                  <a:lnTo>
                    <a:pt x="172" y="3"/>
                  </a:lnTo>
                  <a:lnTo>
                    <a:pt x="169" y="5"/>
                  </a:lnTo>
                  <a:lnTo>
                    <a:pt x="167" y="7"/>
                  </a:lnTo>
                  <a:lnTo>
                    <a:pt x="166" y="9"/>
                  </a:lnTo>
                  <a:lnTo>
                    <a:pt x="165" y="12"/>
                  </a:lnTo>
                  <a:lnTo>
                    <a:pt x="165" y="16"/>
                  </a:lnTo>
                  <a:lnTo>
                    <a:pt x="165" y="21"/>
                  </a:lnTo>
                  <a:lnTo>
                    <a:pt x="163" y="27"/>
                  </a:lnTo>
                  <a:lnTo>
                    <a:pt x="162" y="33"/>
                  </a:lnTo>
                  <a:lnTo>
                    <a:pt x="159" y="39"/>
                  </a:lnTo>
                  <a:lnTo>
                    <a:pt x="156" y="43"/>
                  </a:lnTo>
                  <a:lnTo>
                    <a:pt x="151" y="49"/>
                  </a:lnTo>
                  <a:lnTo>
                    <a:pt x="147" y="53"/>
                  </a:lnTo>
                  <a:lnTo>
                    <a:pt x="143" y="57"/>
                  </a:lnTo>
                  <a:lnTo>
                    <a:pt x="132" y="65"/>
                  </a:lnTo>
                  <a:lnTo>
                    <a:pt x="120" y="70"/>
                  </a:lnTo>
                  <a:lnTo>
                    <a:pt x="114" y="72"/>
                  </a:lnTo>
                  <a:lnTo>
                    <a:pt x="107" y="73"/>
                  </a:lnTo>
                  <a:lnTo>
                    <a:pt x="101" y="74"/>
                  </a:lnTo>
                  <a:lnTo>
                    <a:pt x="96" y="74"/>
                  </a:lnTo>
                  <a:lnTo>
                    <a:pt x="89" y="74"/>
                  </a:lnTo>
                  <a:lnTo>
                    <a:pt x="83" y="73"/>
                  </a:lnTo>
                  <a:lnTo>
                    <a:pt x="76" y="71"/>
                  </a:lnTo>
                  <a:lnTo>
                    <a:pt x="70" y="70"/>
                  </a:lnTo>
                  <a:lnTo>
                    <a:pt x="65" y="67"/>
                  </a:lnTo>
                  <a:lnTo>
                    <a:pt x="59" y="64"/>
                  </a:lnTo>
                  <a:lnTo>
                    <a:pt x="54" y="61"/>
                  </a:lnTo>
                  <a:lnTo>
                    <a:pt x="50" y="57"/>
                  </a:lnTo>
                  <a:lnTo>
                    <a:pt x="45" y="53"/>
                  </a:lnTo>
                  <a:lnTo>
                    <a:pt x="41" y="48"/>
                  </a:lnTo>
                  <a:lnTo>
                    <a:pt x="38" y="43"/>
                  </a:lnTo>
                  <a:lnTo>
                    <a:pt x="36" y="38"/>
                  </a:lnTo>
                  <a:lnTo>
                    <a:pt x="33" y="33"/>
                  </a:lnTo>
                  <a:lnTo>
                    <a:pt x="31" y="27"/>
                  </a:lnTo>
                  <a:lnTo>
                    <a:pt x="30" y="21"/>
                  </a:lnTo>
                  <a:lnTo>
                    <a:pt x="30" y="16"/>
                  </a:lnTo>
                  <a:lnTo>
                    <a:pt x="29" y="12"/>
                  </a:lnTo>
                  <a:lnTo>
                    <a:pt x="29" y="9"/>
                  </a:lnTo>
                  <a:lnTo>
                    <a:pt x="27" y="7"/>
                  </a:lnTo>
                  <a:lnTo>
                    <a:pt x="26" y="5"/>
                  </a:lnTo>
                  <a:lnTo>
                    <a:pt x="23" y="3"/>
                  </a:lnTo>
                  <a:lnTo>
                    <a:pt x="21" y="2"/>
                  </a:lnTo>
                  <a:lnTo>
                    <a:pt x="18" y="1"/>
                  </a:lnTo>
                  <a:lnTo>
                    <a:pt x="15" y="0"/>
                  </a:lnTo>
                  <a:lnTo>
                    <a:pt x="12" y="1"/>
                  </a:lnTo>
                  <a:lnTo>
                    <a:pt x="9" y="2"/>
                  </a:lnTo>
                  <a:lnTo>
                    <a:pt x="7" y="3"/>
                  </a:lnTo>
                  <a:lnTo>
                    <a:pt x="5" y="5"/>
                  </a:lnTo>
                  <a:lnTo>
                    <a:pt x="3" y="7"/>
                  </a:lnTo>
                  <a:lnTo>
                    <a:pt x="2" y="9"/>
                  </a:lnTo>
                  <a:lnTo>
                    <a:pt x="0" y="12"/>
                  </a:lnTo>
                  <a:lnTo>
                    <a:pt x="0" y="16"/>
                  </a:lnTo>
                  <a:lnTo>
                    <a:pt x="0" y="24"/>
                  </a:lnTo>
                  <a:lnTo>
                    <a:pt x="2" y="33"/>
                  </a:lnTo>
                  <a:lnTo>
                    <a:pt x="5" y="41"/>
                  </a:lnTo>
                  <a:lnTo>
                    <a:pt x="8" y="50"/>
                  </a:lnTo>
                  <a:lnTo>
                    <a:pt x="12" y="57"/>
                  </a:lnTo>
                  <a:lnTo>
                    <a:pt x="16" y="65"/>
                  </a:lnTo>
                  <a:lnTo>
                    <a:pt x="22" y="71"/>
                  </a:lnTo>
                  <a:lnTo>
                    <a:pt x="28" y="78"/>
                  </a:lnTo>
                  <a:lnTo>
                    <a:pt x="35" y="84"/>
                  </a:lnTo>
                  <a:lnTo>
                    <a:pt x="42" y="89"/>
                  </a:lnTo>
                  <a:lnTo>
                    <a:pt x="51" y="94"/>
                  </a:lnTo>
                  <a:lnTo>
                    <a:pt x="58" y="97"/>
                  </a:lnTo>
                  <a:lnTo>
                    <a:pt x="68" y="100"/>
                  </a:lnTo>
                  <a:lnTo>
                    <a:pt x="76" y="102"/>
                  </a:lnTo>
                  <a:lnTo>
                    <a:pt x="86" y="104"/>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28">
              <a:extLst>
                <a:ext uri="{FF2B5EF4-FFF2-40B4-BE49-F238E27FC236}">
                  <a16:creationId xmlns:a16="http://schemas.microsoft.com/office/drawing/2014/main" id="{BBCD80EB-5E46-44F3-90E7-FDCD32D4C528}"/>
                </a:ext>
              </a:extLst>
            </p:cNvPr>
            <p:cNvSpPr>
              <a:spLocks/>
            </p:cNvSpPr>
            <p:nvPr/>
          </p:nvSpPr>
          <p:spPr bwMode="auto">
            <a:xfrm>
              <a:off x="5521325" y="3736976"/>
              <a:ext cx="61913" cy="33338"/>
            </a:xfrm>
            <a:custGeom>
              <a:avLst/>
              <a:gdLst>
                <a:gd name="T0" fmla="*/ 109 w 195"/>
                <a:gd name="T1" fmla="*/ 104 h 104"/>
                <a:gd name="T2" fmla="*/ 127 w 195"/>
                <a:gd name="T3" fmla="*/ 100 h 104"/>
                <a:gd name="T4" fmla="*/ 144 w 195"/>
                <a:gd name="T5" fmla="*/ 94 h 104"/>
                <a:gd name="T6" fmla="*/ 159 w 195"/>
                <a:gd name="T7" fmla="*/ 84 h 104"/>
                <a:gd name="T8" fmla="*/ 173 w 195"/>
                <a:gd name="T9" fmla="*/ 71 h 104"/>
                <a:gd name="T10" fmla="*/ 183 w 195"/>
                <a:gd name="T11" fmla="*/ 57 h 104"/>
                <a:gd name="T12" fmla="*/ 190 w 195"/>
                <a:gd name="T13" fmla="*/ 41 h 104"/>
                <a:gd name="T14" fmla="*/ 195 w 195"/>
                <a:gd name="T15" fmla="*/ 24 h 104"/>
                <a:gd name="T16" fmla="*/ 195 w 195"/>
                <a:gd name="T17" fmla="*/ 12 h 104"/>
                <a:gd name="T18" fmla="*/ 192 w 195"/>
                <a:gd name="T19" fmla="*/ 7 h 104"/>
                <a:gd name="T20" fmla="*/ 188 w 195"/>
                <a:gd name="T21" fmla="*/ 3 h 104"/>
                <a:gd name="T22" fmla="*/ 183 w 195"/>
                <a:gd name="T23" fmla="*/ 1 h 104"/>
                <a:gd name="T24" fmla="*/ 176 w 195"/>
                <a:gd name="T25" fmla="*/ 1 h 104"/>
                <a:gd name="T26" fmla="*/ 171 w 195"/>
                <a:gd name="T27" fmla="*/ 3 h 104"/>
                <a:gd name="T28" fmla="*/ 168 w 195"/>
                <a:gd name="T29" fmla="*/ 7 h 104"/>
                <a:gd name="T30" fmla="*/ 165 w 195"/>
                <a:gd name="T31" fmla="*/ 12 h 104"/>
                <a:gd name="T32" fmla="*/ 165 w 195"/>
                <a:gd name="T33" fmla="*/ 21 h 104"/>
                <a:gd name="T34" fmla="*/ 161 w 195"/>
                <a:gd name="T35" fmla="*/ 33 h 104"/>
                <a:gd name="T36" fmla="*/ 157 w 195"/>
                <a:gd name="T37" fmla="*/ 43 h 104"/>
                <a:gd name="T38" fmla="*/ 150 w 195"/>
                <a:gd name="T39" fmla="*/ 52 h 104"/>
                <a:gd name="T40" fmla="*/ 141 w 195"/>
                <a:gd name="T41" fmla="*/ 61 h 104"/>
                <a:gd name="T42" fmla="*/ 130 w 195"/>
                <a:gd name="T43" fmla="*/ 67 h 104"/>
                <a:gd name="T44" fmla="*/ 119 w 195"/>
                <a:gd name="T45" fmla="*/ 71 h 104"/>
                <a:gd name="T46" fmla="*/ 106 w 195"/>
                <a:gd name="T47" fmla="*/ 74 h 104"/>
                <a:gd name="T48" fmla="*/ 93 w 195"/>
                <a:gd name="T49" fmla="*/ 74 h 104"/>
                <a:gd name="T50" fmla="*/ 81 w 195"/>
                <a:gd name="T51" fmla="*/ 72 h 104"/>
                <a:gd name="T52" fmla="*/ 63 w 195"/>
                <a:gd name="T53" fmla="*/ 65 h 104"/>
                <a:gd name="T54" fmla="*/ 47 w 195"/>
                <a:gd name="T55" fmla="*/ 53 h 104"/>
                <a:gd name="T56" fmla="*/ 39 w 195"/>
                <a:gd name="T57" fmla="*/ 43 h 104"/>
                <a:gd name="T58" fmla="*/ 33 w 195"/>
                <a:gd name="T59" fmla="*/ 33 h 104"/>
                <a:gd name="T60" fmla="*/ 30 w 195"/>
                <a:gd name="T61" fmla="*/ 21 h 104"/>
                <a:gd name="T62" fmla="*/ 30 w 195"/>
                <a:gd name="T63" fmla="*/ 12 h 104"/>
                <a:gd name="T64" fmla="*/ 27 w 195"/>
                <a:gd name="T65" fmla="*/ 7 h 104"/>
                <a:gd name="T66" fmla="*/ 23 w 195"/>
                <a:gd name="T67" fmla="*/ 3 h 104"/>
                <a:gd name="T68" fmla="*/ 18 w 195"/>
                <a:gd name="T69" fmla="*/ 1 h 104"/>
                <a:gd name="T70" fmla="*/ 12 w 195"/>
                <a:gd name="T71" fmla="*/ 1 h 104"/>
                <a:gd name="T72" fmla="*/ 6 w 195"/>
                <a:gd name="T73" fmla="*/ 3 h 104"/>
                <a:gd name="T74" fmla="*/ 2 w 195"/>
                <a:gd name="T75" fmla="*/ 7 h 104"/>
                <a:gd name="T76" fmla="*/ 0 w 195"/>
                <a:gd name="T77" fmla="*/ 12 h 104"/>
                <a:gd name="T78" fmla="*/ 0 w 195"/>
                <a:gd name="T79" fmla="*/ 25 h 104"/>
                <a:gd name="T80" fmla="*/ 5 w 195"/>
                <a:gd name="T81" fmla="*/ 43 h 104"/>
                <a:gd name="T82" fmla="*/ 14 w 195"/>
                <a:gd name="T83" fmla="*/ 59 h 104"/>
                <a:gd name="T84" fmla="*/ 26 w 195"/>
                <a:gd name="T85" fmla="*/ 73 h 104"/>
                <a:gd name="T86" fmla="*/ 39 w 195"/>
                <a:gd name="T87" fmla="*/ 85 h 104"/>
                <a:gd name="T88" fmla="*/ 55 w 195"/>
                <a:gd name="T89" fmla="*/ 95 h 104"/>
                <a:gd name="T90" fmla="*/ 73 w 195"/>
                <a:gd name="T91" fmla="*/ 101 h 104"/>
                <a:gd name="T92" fmla="*/ 91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9" y="104"/>
                  </a:moveTo>
                  <a:lnTo>
                    <a:pt x="109" y="104"/>
                  </a:lnTo>
                  <a:lnTo>
                    <a:pt x="119" y="102"/>
                  </a:lnTo>
                  <a:lnTo>
                    <a:pt x="127" y="100"/>
                  </a:lnTo>
                  <a:lnTo>
                    <a:pt x="136" y="97"/>
                  </a:lnTo>
                  <a:lnTo>
                    <a:pt x="144" y="94"/>
                  </a:lnTo>
                  <a:lnTo>
                    <a:pt x="153" y="89"/>
                  </a:lnTo>
                  <a:lnTo>
                    <a:pt x="159" y="84"/>
                  </a:lnTo>
                  <a:lnTo>
                    <a:pt x="167" y="78"/>
                  </a:lnTo>
                  <a:lnTo>
                    <a:pt x="173" y="71"/>
                  </a:lnTo>
                  <a:lnTo>
                    <a:pt x="179" y="65"/>
                  </a:lnTo>
                  <a:lnTo>
                    <a:pt x="183" y="57"/>
                  </a:lnTo>
                  <a:lnTo>
                    <a:pt x="187" y="50"/>
                  </a:lnTo>
                  <a:lnTo>
                    <a:pt x="190" y="41"/>
                  </a:lnTo>
                  <a:lnTo>
                    <a:pt x="192" y="33"/>
                  </a:lnTo>
                  <a:lnTo>
                    <a:pt x="195" y="24"/>
                  </a:lnTo>
                  <a:lnTo>
                    <a:pt x="195" y="16"/>
                  </a:lnTo>
                  <a:lnTo>
                    <a:pt x="195" y="12"/>
                  </a:lnTo>
                  <a:lnTo>
                    <a:pt x="193" y="9"/>
                  </a:lnTo>
                  <a:lnTo>
                    <a:pt x="192" y="7"/>
                  </a:lnTo>
                  <a:lnTo>
                    <a:pt x="190" y="5"/>
                  </a:lnTo>
                  <a:lnTo>
                    <a:pt x="188" y="3"/>
                  </a:lnTo>
                  <a:lnTo>
                    <a:pt x="186" y="2"/>
                  </a:lnTo>
                  <a:lnTo>
                    <a:pt x="183" y="1"/>
                  </a:lnTo>
                  <a:lnTo>
                    <a:pt x="180" y="0"/>
                  </a:lnTo>
                  <a:lnTo>
                    <a:pt x="176" y="1"/>
                  </a:lnTo>
                  <a:lnTo>
                    <a:pt x="174" y="2"/>
                  </a:lnTo>
                  <a:lnTo>
                    <a:pt x="171" y="3"/>
                  </a:lnTo>
                  <a:lnTo>
                    <a:pt x="169" y="5"/>
                  </a:lnTo>
                  <a:lnTo>
                    <a:pt x="168" y="7"/>
                  </a:lnTo>
                  <a:lnTo>
                    <a:pt x="166" y="9"/>
                  </a:lnTo>
                  <a:lnTo>
                    <a:pt x="165" y="12"/>
                  </a:lnTo>
                  <a:lnTo>
                    <a:pt x="165" y="16"/>
                  </a:lnTo>
                  <a:lnTo>
                    <a:pt x="165" y="21"/>
                  </a:lnTo>
                  <a:lnTo>
                    <a:pt x="164" y="26"/>
                  </a:lnTo>
                  <a:lnTo>
                    <a:pt x="161" y="33"/>
                  </a:lnTo>
                  <a:lnTo>
                    <a:pt x="159" y="38"/>
                  </a:lnTo>
                  <a:lnTo>
                    <a:pt x="157" y="43"/>
                  </a:lnTo>
                  <a:lnTo>
                    <a:pt x="154" y="48"/>
                  </a:lnTo>
                  <a:lnTo>
                    <a:pt x="150" y="52"/>
                  </a:lnTo>
                  <a:lnTo>
                    <a:pt x="145" y="56"/>
                  </a:lnTo>
                  <a:lnTo>
                    <a:pt x="141" y="61"/>
                  </a:lnTo>
                  <a:lnTo>
                    <a:pt x="136" y="64"/>
                  </a:lnTo>
                  <a:lnTo>
                    <a:pt x="130" y="67"/>
                  </a:lnTo>
                  <a:lnTo>
                    <a:pt x="125" y="70"/>
                  </a:lnTo>
                  <a:lnTo>
                    <a:pt x="119" y="71"/>
                  </a:lnTo>
                  <a:lnTo>
                    <a:pt x="112" y="73"/>
                  </a:lnTo>
                  <a:lnTo>
                    <a:pt x="106" y="74"/>
                  </a:lnTo>
                  <a:lnTo>
                    <a:pt x="99" y="74"/>
                  </a:lnTo>
                  <a:lnTo>
                    <a:pt x="93" y="74"/>
                  </a:lnTo>
                  <a:lnTo>
                    <a:pt x="86" y="73"/>
                  </a:lnTo>
                  <a:lnTo>
                    <a:pt x="81" y="72"/>
                  </a:lnTo>
                  <a:lnTo>
                    <a:pt x="75" y="70"/>
                  </a:lnTo>
                  <a:lnTo>
                    <a:pt x="63" y="65"/>
                  </a:lnTo>
                  <a:lnTo>
                    <a:pt x="52" y="57"/>
                  </a:lnTo>
                  <a:lnTo>
                    <a:pt x="47" y="53"/>
                  </a:lnTo>
                  <a:lnTo>
                    <a:pt x="43" y="49"/>
                  </a:lnTo>
                  <a:lnTo>
                    <a:pt x="39" y="43"/>
                  </a:lnTo>
                  <a:lnTo>
                    <a:pt x="36" y="39"/>
                  </a:lnTo>
                  <a:lnTo>
                    <a:pt x="33" y="33"/>
                  </a:lnTo>
                  <a:lnTo>
                    <a:pt x="31" y="27"/>
                  </a:lnTo>
                  <a:lnTo>
                    <a:pt x="30" y="21"/>
                  </a:lnTo>
                  <a:lnTo>
                    <a:pt x="30" y="16"/>
                  </a:lnTo>
                  <a:lnTo>
                    <a:pt x="30" y="12"/>
                  </a:lnTo>
                  <a:lnTo>
                    <a:pt x="29" y="9"/>
                  </a:lnTo>
                  <a:lnTo>
                    <a:pt x="27" y="7"/>
                  </a:lnTo>
                  <a:lnTo>
                    <a:pt x="26" y="5"/>
                  </a:lnTo>
                  <a:lnTo>
                    <a:pt x="23" y="3"/>
                  </a:lnTo>
                  <a:lnTo>
                    <a:pt x="20" y="2"/>
                  </a:lnTo>
                  <a:lnTo>
                    <a:pt x="18" y="1"/>
                  </a:lnTo>
                  <a:lnTo>
                    <a:pt x="15" y="0"/>
                  </a:lnTo>
                  <a:lnTo>
                    <a:pt x="12" y="1"/>
                  </a:lnTo>
                  <a:lnTo>
                    <a:pt x="8" y="2"/>
                  </a:lnTo>
                  <a:lnTo>
                    <a:pt x="6" y="3"/>
                  </a:lnTo>
                  <a:lnTo>
                    <a:pt x="4" y="5"/>
                  </a:lnTo>
                  <a:lnTo>
                    <a:pt x="2" y="7"/>
                  </a:lnTo>
                  <a:lnTo>
                    <a:pt x="1" y="9"/>
                  </a:lnTo>
                  <a:lnTo>
                    <a:pt x="0" y="12"/>
                  </a:lnTo>
                  <a:lnTo>
                    <a:pt x="0" y="16"/>
                  </a:lnTo>
                  <a:lnTo>
                    <a:pt x="0" y="25"/>
                  </a:lnTo>
                  <a:lnTo>
                    <a:pt x="2" y="34"/>
                  </a:lnTo>
                  <a:lnTo>
                    <a:pt x="5" y="43"/>
                  </a:lnTo>
                  <a:lnTo>
                    <a:pt x="8" y="51"/>
                  </a:lnTo>
                  <a:lnTo>
                    <a:pt x="14" y="59"/>
                  </a:lnTo>
                  <a:lnTo>
                    <a:pt x="19" y="67"/>
                  </a:lnTo>
                  <a:lnTo>
                    <a:pt x="26" y="73"/>
                  </a:lnTo>
                  <a:lnTo>
                    <a:pt x="32" y="80"/>
                  </a:lnTo>
                  <a:lnTo>
                    <a:pt x="39" y="85"/>
                  </a:lnTo>
                  <a:lnTo>
                    <a:pt x="47" y="90"/>
                  </a:lnTo>
                  <a:lnTo>
                    <a:pt x="55" y="95"/>
                  </a:lnTo>
                  <a:lnTo>
                    <a:pt x="64" y="98"/>
                  </a:lnTo>
                  <a:lnTo>
                    <a:pt x="73" y="101"/>
                  </a:lnTo>
                  <a:lnTo>
                    <a:pt x="81" y="102"/>
                  </a:lnTo>
                  <a:lnTo>
                    <a:pt x="91" y="104"/>
                  </a:lnTo>
                  <a:lnTo>
                    <a:pt x="99"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4" name="Group 56">
            <a:extLst>
              <a:ext uri="{FF2B5EF4-FFF2-40B4-BE49-F238E27FC236}">
                <a16:creationId xmlns:a16="http://schemas.microsoft.com/office/drawing/2014/main" id="{89DBCB7F-FFB4-4324-A35F-E02DE51E8C59}"/>
              </a:ext>
            </a:extLst>
          </p:cNvPr>
          <p:cNvGrpSpPr>
            <a:grpSpLocks noChangeAspect="1"/>
          </p:cNvGrpSpPr>
          <p:nvPr/>
        </p:nvGrpSpPr>
        <p:grpSpPr>
          <a:xfrm>
            <a:off x="1865326" y="4340505"/>
            <a:ext cx="342742" cy="285619"/>
            <a:chOff x="314325" y="1406525"/>
            <a:chExt cx="285750" cy="238125"/>
          </a:xfrm>
          <a:solidFill>
            <a:schemeClr val="bg2"/>
          </a:solidFill>
          <a:effectLst/>
        </p:grpSpPr>
        <p:sp>
          <p:nvSpPr>
            <p:cNvPr id="925" name="Freeform 222">
              <a:extLst>
                <a:ext uri="{FF2B5EF4-FFF2-40B4-BE49-F238E27FC236}">
                  <a16:creationId xmlns:a16="http://schemas.microsoft.com/office/drawing/2014/main" id="{243E7B56-9E5E-40AF-9DC7-D9E01D7ACEFE}"/>
                </a:ext>
              </a:extLst>
            </p:cNvPr>
            <p:cNvSpPr>
              <a:spLocks noEditPoints="1"/>
            </p:cNvSpPr>
            <p:nvPr/>
          </p:nvSpPr>
          <p:spPr bwMode="auto">
            <a:xfrm>
              <a:off x="314325" y="1406525"/>
              <a:ext cx="285750" cy="238125"/>
            </a:xfrm>
            <a:custGeom>
              <a:avLst/>
              <a:gdLst>
                <a:gd name="T0" fmla="*/ 421 w 901"/>
                <a:gd name="T1" fmla="*/ 571 h 751"/>
                <a:gd name="T2" fmla="*/ 411 w 901"/>
                <a:gd name="T3" fmla="*/ 575 h 751"/>
                <a:gd name="T4" fmla="*/ 271 w 901"/>
                <a:gd name="T5" fmla="*/ 586 h 751"/>
                <a:gd name="T6" fmla="*/ 270 w 901"/>
                <a:gd name="T7" fmla="*/ 580 h 751"/>
                <a:gd name="T8" fmla="*/ 266 w 901"/>
                <a:gd name="T9" fmla="*/ 575 h 751"/>
                <a:gd name="T10" fmla="*/ 261 w 901"/>
                <a:gd name="T11" fmla="*/ 572 h 751"/>
                <a:gd name="T12" fmla="*/ 256 w 901"/>
                <a:gd name="T13" fmla="*/ 571 h 751"/>
                <a:gd name="T14" fmla="*/ 30 w 901"/>
                <a:gd name="T15" fmla="*/ 30 h 751"/>
                <a:gd name="T16" fmla="*/ 871 w 901"/>
                <a:gd name="T17" fmla="*/ 571 h 751"/>
                <a:gd name="T18" fmla="*/ 15 w 901"/>
                <a:gd name="T19" fmla="*/ 0 h 751"/>
                <a:gd name="T20" fmla="*/ 10 w 901"/>
                <a:gd name="T21" fmla="*/ 1 h 751"/>
                <a:gd name="T22" fmla="*/ 4 w 901"/>
                <a:gd name="T23" fmla="*/ 5 h 751"/>
                <a:gd name="T24" fmla="*/ 1 w 901"/>
                <a:gd name="T25" fmla="*/ 9 h 751"/>
                <a:gd name="T26" fmla="*/ 0 w 901"/>
                <a:gd name="T27" fmla="*/ 15 h 751"/>
                <a:gd name="T28" fmla="*/ 0 w 901"/>
                <a:gd name="T29" fmla="*/ 589 h 751"/>
                <a:gd name="T30" fmla="*/ 2 w 901"/>
                <a:gd name="T31" fmla="*/ 594 h 751"/>
                <a:gd name="T32" fmla="*/ 6 w 901"/>
                <a:gd name="T33" fmla="*/ 599 h 751"/>
                <a:gd name="T34" fmla="*/ 12 w 901"/>
                <a:gd name="T35" fmla="*/ 601 h 751"/>
                <a:gd name="T36" fmla="*/ 241 w 901"/>
                <a:gd name="T37" fmla="*/ 601 h 751"/>
                <a:gd name="T38" fmla="*/ 241 w 901"/>
                <a:gd name="T39" fmla="*/ 740 h 751"/>
                <a:gd name="T40" fmla="*/ 245 w 901"/>
                <a:gd name="T41" fmla="*/ 747 h 751"/>
                <a:gd name="T42" fmla="*/ 253 w 901"/>
                <a:gd name="T43" fmla="*/ 751 h 751"/>
                <a:gd name="T44" fmla="*/ 261 w 901"/>
                <a:gd name="T45" fmla="*/ 751 h 751"/>
                <a:gd name="T46" fmla="*/ 426 w 901"/>
                <a:gd name="T47" fmla="*/ 601 h 751"/>
                <a:gd name="T48" fmla="*/ 889 w 901"/>
                <a:gd name="T49" fmla="*/ 601 h 751"/>
                <a:gd name="T50" fmla="*/ 895 w 901"/>
                <a:gd name="T51" fmla="*/ 599 h 751"/>
                <a:gd name="T52" fmla="*/ 899 w 901"/>
                <a:gd name="T53" fmla="*/ 594 h 751"/>
                <a:gd name="T54" fmla="*/ 901 w 901"/>
                <a:gd name="T55" fmla="*/ 589 h 751"/>
                <a:gd name="T56" fmla="*/ 901 w 901"/>
                <a:gd name="T57" fmla="*/ 15 h 751"/>
                <a:gd name="T58" fmla="*/ 900 w 901"/>
                <a:gd name="T59" fmla="*/ 9 h 751"/>
                <a:gd name="T60" fmla="*/ 897 w 901"/>
                <a:gd name="T61" fmla="*/ 5 h 751"/>
                <a:gd name="T62" fmla="*/ 892 w 901"/>
                <a:gd name="T63" fmla="*/ 1 h 751"/>
                <a:gd name="T64" fmla="*/ 886 w 901"/>
                <a:gd name="T6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1" h="751">
                  <a:moveTo>
                    <a:pt x="871" y="571"/>
                  </a:moveTo>
                  <a:lnTo>
                    <a:pt x="421" y="571"/>
                  </a:lnTo>
                  <a:lnTo>
                    <a:pt x="415" y="572"/>
                  </a:lnTo>
                  <a:lnTo>
                    <a:pt x="411" y="575"/>
                  </a:lnTo>
                  <a:lnTo>
                    <a:pt x="271" y="702"/>
                  </a:lnTo>
                  <a:lnTo>
                    <a:pt x="271" y="586"/>
                  </a:lnTo>
                  <a:lnTo>
                    <a:pt x="270" y="583"/>
                  </a:lnTo>
                  <a:lnTo>
                    <a:pt x="270" y="580"/>
                  </a:lnTo>
                  <a:lnTo>
                    <a:pt x="268" y="577"/>
                  </a:lnTo>
                  <a:lnTo>
                    <a:pt x="266" y="575"/>
                  </a:lnTo>
                  <a:lnTo>
                    <a:pt x="263" y="573"/>
                  </a:lnTo>
                  <a:lnTo>
                    <a:pt x="261" y="572"/>
                  </a:lnTo>
                  <a:lnTo>
                    <a:pt x="258" y="571"/>
                  </a:lnTo>
                  <a:lnTo>
                    <a:pt x="256" y="571"/>
                  </a:lnTo>
                  <a:lnTo>
                    <a:pt x="30" y="571"/>
                  </a:lnTo>
                  <a:lnTo>
                    <a:pt x="30" y="30"/>
                  </a:lnTo>
                  <a:lnTo>
                    <a:pt x="871" y="30"/>
                  </a:lnTo>
                  <a:lnTo>
                    <a:pt x="871" y="571"/>
                  </a:lnTo>
                  <a:close/>
                  <a:moveTo>
                    <a:pt x="886" y="0"/>
                  </a:moveTo>
                  <a:lnTo>
                    <a:pt x="15" y="0"/>
                  </a:lnTo>
                  <a:lnTo>
                    <a:pt x="12" y="0"/>
                  </a:lnTo>
                  <a:lnTo>
                    <a:pt x="10" y="1"/>
                  </a:lnTo>
                  <a:lnTo>
                    <a:pt x="6" y="3"/>
                  </a:lnTo>
                  <a:lnTo>
                    <a:pt x="4" y="5"/>
                  </a:lnTo>
                  <a:lnTo>
                    <a:pt x="2" y="7"/>
                  </a:lnTo>
                  <a:lnTo>
                    <a:pt x="1" y="9"/>
                  </a:lnTo>
                  <a:lnTo>
                    <a:pt x="0" y="12"/>
                  </a:lnTo>
                  <a:lnTo>
                    <a:pt x="0" y="15"/>
                  </a:lnTo>
                  <a:lnTo>
                    <a:pt x="0" y="586"/>
                  </a:lnTo>
                  <a:lnTo>
                    <a:pt x="0" y="589"/>
                  </a:lnTo>
                  <a:lnTo>
                    <a:pt x="1" y="592"/>
                  </a:lnTo>
                  <a:lnTo>
                    <a:pt x="2" y="594"/>
                  </a:lnTo>
                  <a:lnTo>
                    <a:pt x="4" y="596"/>
                  </a:lnTo>
                  <a:lnTo>
                    <a:pt x="6" y="599"/>
                  </a:lnTo>
                  <a:lnTo>
                    <a:pt x="10" y="600"/>
                  </a:lnTo>
                  <a:lnTo>
                    <a:pt x="12" y="601"/>
                  </a:lnTo>
                  <a:lnTo>
                    <a:pt x="15" y="601"/>
                  </a:lnTo>
                  <a:lnTo>
                    <a:pt x="241" y="601"/>
                  </a:lnTo>
                  <a:lnTo>
                    <a:pt x="241" y="736"/>
                  </a:lnTo>
                  <a:lnTo>
                    <a:pt x="241" y="740"/>
                  </a:lnTo>
                  <a:lnTo>
                    <a:pt x="243" y="744"/>
                  </a:lnTo>
                  <a:lnTo>
                    <a:pt x="245" y="747"/>
                  </a:lnTo>
                  <a:lnTo>
                    <a:pt x="249" y="749"/>
                  </a:lnTo>
                  <a:lnTo>
                    <a:pt x="253" y="751"/>
                  </a:lnTo>
                  <a:lnTo>
                    <a:pt x="256" y="751"/>
                  </a:lnTo>
                  <a:lnTo>
                    <a:pt x="261" y="751"/>
                  </a:lnTo>
                  <a:lnTo>
                    <a:pt x="265" y="747"/>
                  </a:lnTo>
                  <a:lnTo>
                    <a:pt x="426" y="601"/>
                  </a:lnTo>
                  <a:lnTo>
                    <a:pt x="886" y="601"/>
                  </a:lnTo>
                  <a:lnTo>
                    <a:pt x="889" y="601"/>
                  </a:lnTo>
                  <a:lnTo>
                    <a:pt x="892" y="600"/>
                  </a:lnTo>
                  <a:lnTo>
                    <a:pt x="895" y="599"/>
                  </a:lnTo>
                  <a:lnTo>
                    <a:pt x="897" y="596"/>
                  </a:lnTo>
                  <a:lnTo>
                    <a:pt x="899" y="594"/>
                  </a:lnTo>
                  <a:lnTo>
                    <a:pt x="900" y="592"/>
                  </a:lnTo>
                  <a:lnTo>
                    <a:pt x="901" y="589"/>
                  </a:lnTo>
                  <a:lnTo>
                    <a:pt x="901" y="586"/>
                  </a:lnTo>
                  <a:lnTo>
                    <a:pt x="901" y="15"/>
                  </a:lnTo>
                  <a:lnTo>
                    <a:pt x="901" y="12"/>
                  </a:lnTo>
                  <a:lnTo>
                    <a:pt x="900" y="9"/>
                  </a:lnTo>
                  <a:lnTo>
                    <a:pt x="899" y="7"/>
                  </a:lnTo>
                  <a:lnTo>
                    <a:pt x="897" y="5"/>
                  </a:lnTo>
                  <a:lnTo>
                    <a:pt x="895" y="3"/>
                  </a:lnTo>
                  <a:lnTo>
                    <a:pt x="892" y="1"/>
                  </a:lnTo>
                  <a:lnTo>
                    <a:pt x="889" y="0"/>
                  </a:lnTo>
                  <a:lnTo>
                    <a:pt x="886"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6" name="Freeform 223">
              <a:extLst>
                <a:ext uri="{FF2B5EF4-FFF2-40B4-BE49-F238E27FC236}">
                  <a16:creationId xmlns:a16="http://schemas.microsoft.com/office/drawing/2014/main" id="{DD425D84-515E-4F2D-8F16-32E23835B795}"/>
                </a:ext>
              </a:extLst>
            </p:cNvPr>
            <p:cNvSpPr>
              <a:spLocks/>
            </p:cNvSpPr>
            <p:nvPr/>
          </p:nvSpPr>
          <p:spPr bwMode="auto">
            <a:xfrm>
              <a:off x="422275" y="1431925"/>
              <a:ext cx="82550" cy="93663"/>
            </a:xfrm>
            <a:custGeom>
              <a:avLst/>
              <a:gdLst>
                <a:gd name="T0" fmla="*/ 21 w 257"/>
                <a:gd name="T1" fmla="*/ 142 h 295"/>
                <a:gd name="T2" fmla="*/ 27 w 257"/>
                <a:gd name="T3" fmla="*/ 137 h 295"/>
                <a:gd name="T4" fmla="*/ 30 w 257"/>
                <a:gd name="T5" fmla="*/ 128 h 295"/>
                <a:gd name="T6" fmla="*/ 35 w 257"/>
                <a:gd name="T7" fmla="*/ 99 h 295"/>
                <a:gd name="T8" fmla="*/ 46 w 257"/>
                <a:gd name="T9" fmla="*/ 74 h 295"/>
                <a:gd name="T10" fmla="*/ 66 w 257"/>
                <a:gd name="T11" fmla="*/ 52 h 295"/>
                <a:gd name="T12" fmla="*/ 90 w 257"/>
                <a:gd name="T13" fmla="*/ 37 h 295"/>
                <a:gd name="T14" fmla="*/ 118 w 257"/>
                <a:gd name="T15" fmla="*/ 30 h 295"/>
                <a:gd name="T16" fmla="*/ 148 w 257"/>
                <a:gd name="T17" fmla="*/ 32 h 295"/>
                <a:gd name="T18" fmla="*/ 176 w 257"/>
                <a:gd name="T19" fmla="*/ 42 h 295"/>
                <a:gd name="T20" fmla="*/ 198 w 257"/>
                <a:gd name="T21" fmla="*/ 59 h 295"/>
                <a:gd name="T22" fmla="*/ 215 w 257"/>
                <a:gd name="T23" fmla="*/ 81 h 295"/>
                <a:gd name="T24" fmla="*/ 225 w 257"/>
                <a:gd name="T25" fmla="*/ 108 h 295"/>
                <a:gd name="T26" fmla="*/ 226 w 257"/>
                <a:gd name="T27" fmla="*/ 138 h 295"/>
                <a:gd name="T28" fmla="*/ 220 w 257"/>
                <a:gd name="T29" fmla="*/ 167 h 295"/>
                <a:gd name="T30" fmla="*/ 205 w 257"/>
                <a:gd name="T31" fmla="*/ 191 h 295"/>
                <a:gd name="T32" fmla="*/ 183 w 257"/>
                <a:gd name="T33" fmla="*/ 210 h 295"/>
                <a:gd name="T34" fmla="*/ 158 w 257"/>
                <a:gd name="T35" fmla="*/ 222 h 295"/>
                <a:gd name="T36" fmla="*/ 129 w 257"/>
                <a:gd name="T37" fmla="*/ 227 h 295"/>
                <a:gd name="T38" fmla="*/ 120 w 257"/>
                <a:gd name="T39" fmla="*/ 229 h 295"/>
                <a:gd name="T40" fmla="*/ 115 w 257"/>
                <a:gd name="T41" fmla="*/ 236 h 295"/>
                <a:gd name="T42" fmla="*/ 114 w 257"/>
                <a:gd name="T43" fmla="*/ 280 h 295"/>
                <a:gd name="T44" fmla="*/ 116 w 257"/>
                <a:gd name="T45" fmla="*/ 288 h 295"/>
                <a:gd name="T46" fmla="*/ 122 w 257"/>
                <a:gd name="T47" fmla="*/ 294 h 295"/>
                <a:gd name="T48" fmla="*/ 132 w 257"/>
                <a:gd name="T49" fmla="*/ 294 h 295"/>
                <a:gd name="T50" fmla="*/ 139 w 257"/>
                <a:gd name="T51" fmla="*/ 291 h 295"/>
                <a:gd name="T52" fmla="*/ 143 w 257"/>
                <a:gd name="T53" fmla="*/ 282 h 295"/>
                <a:gd name="T54" fmla="*/ 155 w 257"/>
                <a:gd name="T55" fmla="*/ 255 h 295"/>
                <a:gd name="T56" fmla="*/ 189 w 257"/>
                <a:gd name="T57" fmla="*/ 242 h 295"/>
                <a:gd name="T58" fmla="*/ 216 w 257"/>
                <a:gd name="T59" fmla="*/ 222 h 295"/>
                <a:gd name="T60" fmla="*/ 238 w 257"/>
                <a:gd name="T61" fmla="*/ 196 h 295"/>
                <a:gd name="T62" fmla="*/ 252 w 257"/>
                <a:gd name="T63" fmla="*/ 164 h 295"/>
                <a:gd name="T64" fmla="*/ 257 w 257"/>
                <a:gd name="T65" fmla="*/ 128 h 295"/>
                <a:gd name="T66" fmla="*/ 252 w 257"/>
                <a:gd name="T67" fmla="*/ 90 h 295"/>
                <a:gd name="T68" fmla="*/ 235 w 257"/>
                <a:gd name="T69" fmla="*/ 57 h 295"/>
                <a:gd name="T70" fmla="*/ 210 w 257"/>
                <a:gd name="T71" fmla="*/ 29 h 295"/>
                <a:gd name="T72" fmla="*/ 178 w 257"/>
                <a:gd name="T73" fmla="*/ 9 h 295"/>
                <a:gd name="T74" fmla="*/ 142 w 257"/>
                <a:gd name="T75" fmla="*/ 0 h 295"/>
                <a:gd name="T76" fmla="*/ 103 w 257"/>
                <a:gd name="T77" fmla="*/ 2 h 295"/>
                <a:gd name="T78" fmla="*/ 67 w 257"/>
                <a:gd name="T79" fmla="*/ 15 h 295"/>
                <a:gd name="T80" fmla="*/ 38 w 257"/>
                <a:gd name="T81" fmla="*/ 37 h 295"/>
                <a:gd name="T82" fmla="*/ 15 w 257"/>
                <a:gd name="T83" fmla="*/ 67 h 295"/>
                <a:gd name="T84" fmla="*/ 2 w 257"/>
                <a:gd name="T85" fmla="*/ 103 h 295"/>
                <a:gd name="T86" fmla="*/ 0 w 257"/>
                <a:gd name="T87" fmla="*/ 131 h 295"/>
                <a:gd name="T88" fmla="*/ 5 w 257"/>
                <a:gd name="T89" fmla="*/ 139 h 295"/>
                <a:gd name="T90" fmla="*/ 12 w 257"/>
                <a:gd name="T91" fmla="*/ 14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295">
                  <a:moveTo>
                    <a:pt x="15" y="143"/>
                  </a:moveTo>
                  <a:lnTo>
                    <a:pt x="17" y="143"/>
                  </a:lnTo>
                  <a:lnTo>
                    <a:pt x="21" y="142"/>
                  </a:lnTo>
                  <a:lnTo>
                    <a:pt x="23" y="141"/>
                  </a:lnTo>
                  <a:lnTo>
                    <a:pt x="25" y="139"/>
                  </a:lnTo>
                  <a:lnTo>
                    <a:pt x="27" y="137"/>
                  </a:lnTo>
                  <a:lnTo>
                    <a:pt x="28" y="134"/>
                  </a:lnTo>
                  <a:lnTo>
                    <a:pt x="29" y="131"/>
                  </a:lnTo>
                  <a:lnTo>
                    <a:pt x="30" y="128"/>
                  </a:lnTo>
                  <a:lnTo>
                    <a:pt x="30" y="119"/>
                  </a:lnTo>
                  <a:lnTo>
                    <a:pt x="31" y="108"/>
                  </a:lnTo>
                  <a:lnTo>
                    <a:pt x="35" y="99"/>
                  </a:lnTo>
                  <a:lnTo>
                    <a:pt x="38" y="90"/>
                  </a:lnTo>
                  <a:lnTo>
                    <a:pt x="42" y="81"/>
                  </a:lnTo>
                  <a:lnTo>
                    <a:pt x="46" y="74"/>
                  </a:lnTo>
                  <a:lnTo>
                    <a:pt x="53" y="65"/>
                  </a:lnTo>
                  <a:lnTo>
                    <a:pt x="59" y="59"/>
                  </a:lnTo>
                  <a:lnTo>
                    <a:pt x="66" y="52"/>
                  </a:lnTo>
                  <a:lnTo>
                    <a:pt x="73" y="47"/>
                  </a:lnTo>
                  <a:lnTo>
                    <a:pt x="82" y="42"/>
                  </a:lnTo>
                  <a:lnTo>
                    <a:pt x="90" y="37"/>
                  </a:lnTo>
                  <a:lnTo>
                    <a:pt x="99" y="34"/>
                  </a:lnTo>
                  <a:lnTo>
                    <a:pt x="108" y="32"/>
                  </a:lnTo>
                  <a:lnTo>
                    <a:pt x="118" y="30"/>
                  </a:lnTo>
                  <a:lnTo>
                    <a:pt x="129" y="30"/>
                  </a:lnTo>
                  <a:lnTo>
                    <a:pt x="138" y="30"/>
                  </a:lnTo>
                  <a:lnTo>
                    <a:pt x="148" y="32"/>
                  </a:lnTo>
                  <a:lnTo>
                    <a:pt x="158" y="34"/>
                  </a:lnTo>
                  <a:lnTo>
                    <a:pt x="167" y="37"/>
                  </a:lnTo>
                  <a:lnTo>
                    <a:pt x="176" y="42"/>
                  </a:lnTo>
                  <a:lnTo>
                    <a:pt x="183" y="47"/>
                  </a:lnTo>
                  <a:lnTo>
                    <a:pt x="191" y="52"/>
                  </a:lnTo>
                  <a:lnTo>
                    <a:pt x="198" y="59"/>
                  </a:lnTo>
                  <a:lnTo>
                    <a:pt x="205" y="65"/>
                  </a:lnTo>
                  <a:lnTo>
                    <a:pt x="210" y="74"/>
                  </a:lnTo>
                  <a:lnTo>
                    <a:pt x="215" y="81"/>
                  </a:lnTo>
                  <a:lnTo>
                    <a:pt x="220" y="90"/>
                  </a:lnTo>
                  <a:lnTo>
                    <a:pt x="223" y="99"/>
                  </a:lnTo>
                  <a:lnTo>
                    <a:pt x="225" y="108"/>
                  </a:lnTo>
                  <a:lnTo>
                    <a:pt x="226" y="119"/>
                  </a:lnTo>
                  <a:lnTo>
                    <a:pt x="227" y="128"/>
                  </a:lnTo>
                  <a:lnTo>
                    <a:pt x="226" y="138"/>
                  </a:lnTo>
                  <a:lnTo>
                    <a:pt x="225" y="149"/>
                  </a:lnTo>
                  <a:lnTo>
                    <a:pt x="223" y="157"/>
                  </a:lnTo>
                  <a:lnTo>
                    <a:pt x="220" y="167"/>
                  </a:lnTo>
                  <a:lnTo>
                    <a:pt x="215" y="175"/>
                  </a:lnTo>
                  <a:lnTo>
                    <a:pt x="210" y="183"/>
                  </a:lnTo>
                  <a:lnTo>
                    <a:pt x="205" y="191"/>
                  </a:lnTo>
                  <a:lnTo>
                    <a:pt x="198" y="198"/>
                  </a:lnTo>
                  <a:lnTo>
                    <a:pt x="191" y="204"/>
                  </a:lnTo>
                  <a:lnTo>
                    <a:pt x="183" y="210"/>
                  </a:lnTo>
                  <a:lnTo>
                    <a:pt x="176" y="215"/>
                  </a:lnTo>
                  <a:lnTo>
                    <a:pt x="167" y="219"/>
                  </a:lnTo>
                  <a:lnTo>
                    <a:pt x="158" y="222"/>
                  </a:lnTo>
                  <a:lnTo>
                    <a:pt x="148" y="225"/>
                  </a:lnTo>
                  <a:lnTo>
                    <a:pt x="138" y="227"/>
                  </a:lnTo>
                  <a:lnTo>
                    <a:pt x="129" y="227"/>
                  </a:lnTo>
                  <a:lnTo>
                    <a:pt x="126" y="227"/>
                  </a:lnTo>
                  <a:lnTo>
                    <a:pt x="122" y="228"/>
                  </a:lnTo>
                  <a:lnTo>
                    <a:pt x="120" y="229"/>
                  </a:lnTo>
                  <a:lnTo>
                    <a:pt x="118" y="231"/>
                  </a:lnTo>
                  <a:lnTo>
                    <a:pt x="116" y="233"/>
                  </a:lnTo>
                  <a:lnTo>
                    <a:pt x="115" y="236"/>
                  </a:lnTo>
                  <a:lnTo>
                    <a:pt x="114" y="239"/>
                  </a:lnTo>
                  <a:lnTo>
                    <a:pt x="114" y="242"/>
                  </a:lnTo>
                  <a:lnTo>
                    <a:pt x="114" y="280"/>
                  </a:lnTo>
                  <a:lnTo>
                    <a:pt x="114" y="282"/>
                  </a:lnTo>
                  <a:lnTo>
                    <a:pt x="115" y="286"/>
                  </a:lnTo>
                  <a:lnTo>
                    <a:pt x="116" y="288"/>
                  </a:lnTo>
                  <a:lnTo>
                    <a:pt x="118" y="291"/>
                  </a:lnTo>
                  <a:lnTo>
                    <a:pt x="120" y="292"/>
                  </a:lnTo>
                  <a:lnTo>
                    <a:pt x="122" y="294"/>
                  </a:lnTo>
                  <a:lnTo>
                    <a:pt x="126" y="294"/>
                  </a:lnTo>
                  <a:lnTo>
                    <a:pt x="129" y="295"/>
                  </a:lnTo>
                  <a:lnTo>
                    <a:pt x="132" y="294"/>
                  </a:lnTo>
                  <a:lnTo>
                    <a:pt x="134" y="294"/>
                  </a:lnTo>
                  <a:lnTo>
                    <a:pt x="137" y="292"/>
                  </a:lnTo>
                  <a:lnTo>
                    <a:pt x="139" y="291"/>
                  </a:lnTo>
                  <a:lnTo>
                    <a:pt x="141" y="288"/>
                  </a:lnTo>
                  <a:lnTo>
                    <a:pt x="143" y="286"/>
                  </a:lnTo>
                  <a:lnTo>
                    <a:pt x="143" y="282"/>
                  </a:lnTo>
                  <a:lnTo>
                    <a:pt x="144" y="280"/>
                  </a:lnTo>
                  <a:lnTo>
                    <a:pt x="144" y="256"/>
                  </a:lnTo>
                  <a:lnTo>
                    <a:pt x="155" y="255"/>
                  </a:lnTo>
                  <a:lnTo>
                    <a:pt x="166" y="251"/>
                  </a:lnTo>
                  <a:lnTo>
                    <a:pt x="178" y="247"/>
                  </a:lnTo>
                  <a:lnTo>
                    <a:pt x="189" y="242"/>
                  </a:lnTo>
                  <a:lnTo>
                    <a:pt x="198" y="236"/>
                  </a:lnTo>
                  <a:lnTo>
                    <a:pt x="208" y="230"/>
                  </a:lnTo>
                  <a:lnTo>
                    <a:pt x="216" y="222"/>
                  </a:lnTo>
                  <a:lnTo>
                    <a:pt x="224" y="214"/>
                  </a:lnTo>
                  <a:lnTo>
                    <a:pt x="231" y="205"/>
                  </a:lnTo>
                  <a:lnTo>
                    <a:pt x="238" y="196"/>
                  </a:lnTo>
                  <a:lnTo>
                    <a:pt x="243" y="186"/>
                  </a:lnTo>
                  <a:lnTo>
                    <a:pt x="249" y="175"/>
                  </a:lnTo>
                  <a:lnTo>
                    <a:pt x="252" y="164"/>
                  </a:lnTo>
                  <a:lnTo>
                    <a:pt x="255" y="153"/>
                  </a:lnTo>
                  <a:lnTo>
                    <a:pt x="256" y="140"/>
                  </a:lnTo>
                  <a:lnTo>
                    <a:pt x="257" y="128"/>
                  </a:lnTo>
                  <a:lnTo>
                    <a:pt x="256" y="115"/>
                  </a:lnTo>
                  <a:lnTo>
                    <a:pt x="254" y="103"/>
                  </a:lnTo>
                  <a:lnTo>
                    <a:pt x="252" y="90"/>
                  </a:lnTo>
                  <a:lnTo>
                    <a:pt x="246" y="78"/>
                  </a:lnTo>
                  <a:lnTo>
                    <a:pt x="241" y="67"/>
                  </a:lnTo>
                  <a:lnTo>
                    <a:pt x="235" y="57"/>
                  </a:lnTo>
                  <a:lnTo>
                    <a:pt x="227" y="47"/>
                  </a:lnTo>
                  <a:lnTo>
                    <a:pt x="220" y="37"/>
                  </a:lnTo>
                  <a:lnTo>
                    <a:pt x="210" y="29"/>
                  </a:lnTo>
                  <a:lnTo>
                    <a:pt x="200" y="21"/>
                  </a:lnTo>
                  <a:lnTo>
                    <a:pt x="190" y="15"/>
                  </a:lnTo>
                  <a:lnTo>
                    <a:pt x="178" y="9"/>
                  </a:lnTo>
                  <a:lnTo>
                    <a:pt x="166" y="5"/>
                  </a:lnTo>
                  <a:lnTo>
                    <a:pt x="154" y="2"/>
                  </a:lnTo>
                  <a:lnTo>
                    <a:pt x="142" y="0"/>
                  </a:lnTo>
                  <a:lnTo>
                    <a:pt x="129" y="0"/>
                  </a:lnTo>
                  <a:lnTo>
                    <a:pt x="115" y="0"/>
                  </a:lnTo>
                  <a:lnTo>
                    <a:pt x="103" y="2"/>
                  </a:lnTo>
                  <a:lnTo>
                    <a:pt x="90" y="5"/>
                  </a:lnTo>
                  <a:lnTo>
                    <a:pt x="78" y="9"/>
                  </a:lnTo>
                  <a:lnTo>
                    <a:pt x="67" y="15"/>
                  </a:lnTo>
                  <a:lnTo>
                    <a:pt x="57" y="21"/>
                  </a:lnTo>
                  <a:lnTo>
                    <a:pt x="46" y="29"/>
                  </a:lnTo>
                  <a:lnTo>
                    <a:pt x="38" y="37"/>
                  </a:lnTo>
                  <a:lnTo>
                    <a:pt x="29" y="47"/>
                  </a:lnTo>
                  <a:lnTo>
                    <a:pt x="22" y="57"/>
                  </a:lnTo>
                  <a:lnTo>
                    <a:pt x="15" y="67"/>
                  </a:lnTo>
                  <a:lnTo>
                    <a:pt x="10" y="78"/>
                  </a:lnTo>
                  <a:lnTo>
                    <a:pt x="6" y="90"/>
                  </a:lnTo>
                  <a:lnTo>
                    <a:pt x="2" y="103"/>
                  </a:lnTo>
                  <a:lnTo>
                    <a:pt x="0" y="115"/>
                  </a:lnTo>
                  <a:lnTo>
                    <a:pt x="0" y="128"/>
                  </a:lnTo>
                  <a:lnTo>
                    <a:pt x="0" y="131"/>
                  </a:lnTo>
                  <a:lnTo>
                    <a:pt x="1" y="134"/>
                  </a:lnTo>
                  <a:lnTo>
                    <a:pt x="2" y="137"/>
                  </a:lnTo>
                  <a:lnTo>
                    <a:pt x="5" y="139"/>
                  </a:lnTo>
                  <a:lnTo>
                    <a:pt x="7" y="141"/>
                  </a:lnTo>
                  <a:lnTo>
                    <a:pt x="9" y="142"/>
                  </a:lnTo>
                  <a:lnTo>
                    <a:pt x="12" y="143"/>
                  </a:lnTo>
                  <a:lnTo>
                    <a:pt x="15" y="143"/>
                  </a:lnTo>
                  <a:lnTo>
                    <a:pt x="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7" name="Freeform 224">
              <a:extLst>
                <a:ext uri="{FF2B5EF4-FFF2-40B4-BE49-F238E27FC236}">
                  <a16:creationId xmlns:a16="http://schemas.microsoft.com/office/drawing/2014/main" id="{7CA7DA9D-5834-4C2B-B7B3-8A1417B8AAB6}"/>
                </a:ext>
              </a:extLst>
            </p:cNvPr>
            <p:cNvSpPr>
              <a:spLocks noEditPoints="1"/>
            </p:cNvSpPr>
            <p:nvPr/>
          </p:nvSpPr>
          <p:spPr bwMode="auto">
            <a:xfrm>
              <a:off x="450850" y="1539875"/>
              <a:ext cx="23813" cy="23813"/>
            </a:xfrm>
            <a:custGeom>
              <a:avLst/>
              <a:gdLst>
                <a:gd name="T0" fmla="*/ 39 w 76"/>
                <a:gd name="T1" fmla="*/ 45 h 75"/>
                <a:gd name="T2" fmla="*/ 36 w 76"/>
                <a:gd name="T3" fmla="*/ 45 h 75"/>
                <a:gd name="T4" fmla="*/ 33 w 76"/>
                <a:gd name="T5" fmla="*/ 43 h 75"/>
                <a:gd name="T6" fmla="*/ 31 w 76"/>
                <a:gd name="T7" fmla="*/ 41 h 75"/>
                <a:gd name="T8" fmla="*/ 30 w 76"/>
                <a:gd name="T9" fmla="*/ 37 h 75"/>
                <a:gd name="T10" fmla="*/ 31 w 76"/>
                <a:gd name="T11" fmla="*/ 34 h 75"/>
                <a:gd name="T12" fmla="*/ 33 w 76"/>
                <a:gd name="T13" fmla="*/ 32 h 75"/>
                <a:gd name="T14" fmla="*/ 36 w 76"/>
                <a:gd name="T15" fmla="*/ 30 h 75"/>
                <a:gd name="T16" fmla="*/ 39 w 76"/>
                <a:gd name="T17" fmla="*/ 30 h 75"/>
                <a:gd name="T18" fmla="*/ 42 w 76"/>
                <a:gd name="T19" fmla="*/ 30 h 75"/>
                <a:gd name="T20" fmla="*/ 44 w 76"/>
                <a:gd name="T21" fmla="*/ 32 h 75"/>
                <a:gd name="T22" fmla="*/ 45 w 76"/>
                <a:gd name="T23" fmla="*/ 34 h 75"/>
                <a:gd name="T24" fmla="*/ 46 w 76"/>
                <a:gd name="T25" fmla="*/ 37 h 75"/>
                <a:gd name="T26" fmla="*/ 45 w 76"/>
                <a:gd name="T27" fmla="*/ 41 h 75"/>
                <a:gd name="T28" fmla="*/ 44 w 76"/>
                <a:gd name="T29" fmla="*/ 43 h 75"/>
                <a:gd name="T30" fmla="*/ 42 w 76"/>
                <a:gd name="T31" fmla="*/ 45 h 75"/>
                <a:gd name="T32" fmla="*/ 39 w 76"/>
                <a:gd name="T33" fmla="*/ 45 h 75"/>
                <a:gd name="T34" fmla="*/ 39 w 76"/>
                <a:gd name="T35" fmla="*/ 45 h 75"/>
                <a:gd name="T36" fmla="*/ 39 w 76"/>
                <a:gd name="T37" fmla="*/ 0 h 75"/>
                <a:gd name="T38" fmla="*/ 31 w 76"/>
                <a:gd name="T39" fmla="*/ 0 h 75"/>
                <a:gd name="T40" fmla="*/ 24 w 76"/>
                <a:gd name="T41" fmla="*/ 2 h 75"/>
                <a:gd name="T42" fmla="*/ 17 w 76"/>
                <a:gd name="T43" fmla="*/ 6 h 75"/>
                <a:gd name="T44" fmla="*/ 12 w 76"/>
                <a:gd name="T45" fmla="*/ 11 h 75"/>
                <a:gd name="T46" fmla="*/ 7 w 76"/>
                <a:gd name="T47" fmla="*/ 16 h 75"/>
                <a:gd name="T48" fmla="*/ 3 w 76"/>
                <a:gd name="T49" fmla="*/ 22 h 75"/>
                <a:gd name="T50" fmla="*/ 1 w 76"/>
                <a:gd name="T51" fmla="*/ 30 h 75"/>
                <a:gd name="T52" fmla="*/ 0 w 76"/>
                <a:gd name="T53" fmla="*/ 37 h 75"/>
                <a:gd name="T54" fmla="*/ 1 w 76"/>
                <a:gd name="T55" fmla="*/ 45 h 75"/>
                <a:gd name="T56" fmla="*/ 3 w 76"/>
                <a:gd name="T57" fmla="*/ 52 h 75"/>
                <a:gd name="T58" fmla="*/ 7 w 76"/>
                <a:gd name="T59" fmla="*/ 59 h 75"/>
                <a:gd name="T60" fmla="*/ 12 w 76"/>
                <a:gd name="T61" fmla="*/ 64 h 75"/>
                <a:gd name="T62" fmla="*/ 17 w 76"/>
                <a:gd name="T63" fmla="*/ 68 h 75"/>
                <a:gd name="T64" fmla="*/ 24 w 76"/>
                <a:gd name="T65" fmla="*/ 73 h 75"/>
                <a:gd name="T66" fmla="*/ 31 w 76"/>
                <a:gd name="T67" fmla="*/ 75 h 75"/>
                <a:gd name="T68" fmla="*/ 39 w 76"/>
                <a:gd name="T69" fmla="*/ 75 h 75"/>
                <a:gd name="T70" fmla="*/ 46 w 76"/>
                <a:gd name="T71" fmla="*/ 75 h 75"/>
                <a:gd name="T72" fmla="*/ 53 w 76"/>
                <a:gd name="T73" fmla="*/ 73 h 75"/>
                <a:gd name="T74" fmla="*/ 60 w 76"/>
                <a:gd name="T75" fmla="*/ 68 h 75"/>
                <a:gd name="T76" fmla="*/ 65 w 76"/>
                <a:gd name="T77" fmla="*/ 64 h 75"/>
                <a:gd name="T78" fmla="*/ 70 w 76"/>
                <a:gd name="T79" fmla="*/ 59 h 75"/>
                <a:gd name="T80" fmla="*/ 73 w 76"/>
                <a:gd name="T81" fmla="*/ 52 h 75"/>
                <a:gd name="T82" fmla="*/ 75 w 76"/>
                <a:gd name="T83" fmla="*/ 45 h 75"/>
                <a:gd name="T84" fmla="*/ 76 w 76"/>
                <a:gd name="T85" fmla="*/ 37 h 75"/>
                <a:gd name="T86" fmla="*/ 75 w 76"/>
                <a:gd name="T87" fmla="*/ 30 h 75"/>
                <a:gd name="T88" fmla="*/ 73 w 76"/>
                <a:gd name="T89" fmla="*/ 22 h 75"/>
                <a:gd name="T90" fmla="*/ 70 w 76"/>
                <a:gd name="T91" fmla="*/ 16 h 75"/>
                <a:gd name="T92" fmla="*/ 65 w 76"/>
                <a:gd name="T93" fmla="*/ 11 h 75"/>
                <a:gd name="T94" fmla="*/ 60 w 76"/>
                <a:gd name="T95" fmla="*/ 6 h 75"/>
                <a:gd name="T96" fmla="*/ 53 w 76"/>
                <a:gd name="T97" fmla="*/ 2 h 75"/>
                <a:gd name="T98" fmla="*/ 46 w 76"/>
                <a:gd name="T99" fmla="*/ 0 h 75"/>
                <a:gd name="T100" fmla="*/ 39 w 76"/>
                <a:gd name="T101" fmla="*/ 0 h 75"/>
                <a:gd name="T102" fmla="*/ 39 w 76"/>
                <a:gd name="T10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75">
                  <a:moveTo>
                    <a:pt x="39" y="45"/>
                  </a:moveTo>
                  <a:lnTo>
                    <a:pt x="36" y="45"/>
                  </a:lnTo>
                  <a:lnTo>
                    <a:pt x="33" y="43"/>
                  </a:lnTo>
                  <a:lnTo>
                    <a:pt x="31" y="41"/>
                  </a:lnTo>
                  <a:lnTo>
                    <a:pt x="30" y="37"/>
                  </a:lnTo>
                  <a:lnTo>
                    <a:pt x="31" y="34"/>
                  </a:lnTo>
                  <a:lnTo>
                    <a:pt x="33" y="32"/>
                  </a:lnTo>
                  <a:lnTo>
                    <a:pt x="36" y="30"/>
                  </a:lnTo>
                  <a:lnTo>
                    <a:pt x="39" y="30"/>
                  </a:lnTo>
                  <a:lnTo>
                    <a:pt x="42" y="30"/>
                  </a:lnTo>
                  <a:lnTo>
                    <a:pt x="44" y="32"/>
                  </a:lnTo>
                  <a:lnTo>
                    <a:pt x="45" y="34"/>
                  </a:lnTo>
                  <a:lnTo>
                    <a:pt x="46" y="37"/>
                  </a:lnTo>
                  <a:lnTo>
                    <a:pt x="45" y="41"/>
                  </a:lnTo>
                  <a:lnTo>
                    <a:pt x="44" y="43"/>
                  </a:lnTo>
                  <a:lnTo>
                    <a:pt x="42" y="45"/>
                  </a:lnTo>
                  <a:lnTo>
                    <a:pt x="39" y="45"/>
                  </a:lnTo>
                  <a:lnTo>
                    <a:pt x="39" y="45"/>
                  </a:lnTo>
                  <a:close/>
                  <a:moveTo>
                    <a:pt x="39" y="0"/>
                  </a:moveTo>
                  <a:lnTo>
                    <a:pt x="31" y="0"/>
                  </a:lnTo>
                  <a:lnTo>
                    <a:pt x="24" y="2"/>
                  </a:lnTo>
                  <a:lnTo>
                    <a:pt x="17" y="6"/>
                  </a:lnTo>
                  <a:lnTo>
                    <a:pt x="12" y="11"/>
                  </a:lnTo>
                  <a:lnTo>
                    <a:pt x="7" y="16"/>
                  </a:lnTo>
                  <a:lnTo>
                    <a:pt x="3" y="22"/>
                  </a:lnTo>
                  <a:lnTo>
                    <a:pt x="1" y="30"/>
                  </a:lnTo>
                  <a:lnTo>
                    <a:pt x="0" y="37"/>
                  </a:lnTo>
                  <a:lnTo>
                    <a:pt x="1" y="45"/>
                  </a:lnTo>
                  <a:lnTo>
                    <a:pt x="3" y="52"/>
                  </a:lnTo>
                  <a:lnTo>
                    <a:pt x="7" y="59"/>
                  </a:lnTo>
                  <a:lnTo>
                    <a:pt x="12" y="64"/>
                  </a:lnTo>
                  <a:lnTo>
                    <a:pt x="17" y="68"/>
                  </a:lnTo>
                  <a:lnTo>
                    <a:pt x="24" y="73"/>
                  </a:lnTo>
                  <a:lnTo>
                    <a:pt x="31" y="75"/>
                  </a:lnTo>
                  <a:lnTo>
                    <a:pt x="39" y="75"/>
                  </a:lnTo>
                  <a:lnTo>
                    <a:pt x="46" y="75"/>
                  </a:lnTo>
                  <a:lnTo>
                    <a:pt x="53" y="73"/>
                  </a:lnTo>
                  <a:lnTo>
                    <a:pt x="60" y="68"/>
                  </a:lnTo>
                  <a:lnTo>
                    <a:pt x="65" y="64"/>
                  </a:lnTo>
                  <a:lnTo>
                    <a:pt x="70" y="59"/>
                  </a:lnTo>
                  <a:lnTo>
                    <a:pt x="73" y="52"/>
                  </a:lnTo>
                  <a:lnTo>
                    <a:pt x="75" y="45"/>
                  </a:lnTo>
                  <a:lnTo>
                    <a:pt x="76" y="37"/>
                  </a:lnTo>
                  <a:lnTo>
                    <a:pt x="75" y="30"/>
                  </a:lnTo>
                  <a:lnTo>
                    <a:pt x="73" y="22"/>
                  </a:lnTo>
                  <a:lnTo>
                    <a:pt x="70" y="16"/>
                  </a:lnTo>
                  <a:lnTo>
                    <a:pt x="65" y="11"/>
                  </a:lnTo>
                  <a:lnTo>
                    <a:pt x="60" y="6"/>
                  </a:lnTo>
                  <a:lnTo>
                    <a:pt x="53" y="2"/>
                  </a:lnTo>
                  <a:lnTo>
                    <a:pt x="46" y="0"/>
                  </a:lnTo>
                  <a:lnTo>
                    <a:pt x="39" y="0"/>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sp>
        <p:nvSpPr>
          <p:cNvPr id="1073" name="Freeform 5">
            <a:extLst>
              <a:ext uri="{FF2B5EF4-FFF2-40B4-BE49-F238E27FC236}">
                <a16:creationId xmlns:a16="http://schemas.microsoft.com/office/drawing/2014/main" id="{2B4FFF51-831C-4291-A924-E723FD771015}"/>
              </a:ext>
            </a:extLst>
          </p:cNvPr>
          <p:cNvSpPr>
            <a:spLocks noChangeAspect="1" noEditPoints="1"/>
          </p:cNvSpPr>
          <p:nvPr/>
        </p:nvSpPr>
        <p:spPr bwMode="auto">
          <a:xfrm>
            <a:off x="1900235" y="5417577"/>
            <a:ext cx="272925" cy="285619"/>
          </a:xfrm>
          <a:custGeom>
            <a:avLst/>
            <a:gdLst>
              <a:gd name="T0" fmla="*/ 44 w 88"/>
              <a:gd name="T1" fmla="*/ 92 h 92"/>
              <a:gd name="T2" fmla="*/ 43 w 88"/>
              <a:gd name="T3" fmla="*/ 91 h 92"/>
              <a:gd name="T4" fmla="*/ 0 w 88"/>
              <a:gd name="T5" fmla="*/ 29 h 92"/>
              <a:gd name="T6" fmla="*/ 23 w 88"/>
              <a:gd name="T7" fmla="*/ 0 h 92"/>
              <a:gd name="T8" fmla="*/ 44 w 88"/>
              <a:gd name="T9" fmla="*/ 16 h 92"/>
              <a:gd name="T10" fmla="*/ 66 w 88"/>
              <a:gd name="T11" fmla="*/ 0 h 92"/>
              <a:gd name="T12" fmla="*/ 88 w 88"/>
              <a:gd name="T13" fmla="*/ 26 h 92"/>
              <a:gd name="T14" fmla="*/ 45 w 88"/>
              <a:gd name="T15" fmla="*/ 91 h 92"/>
              <a:gd name="T16" fmla="*/ 44 w 88"/>
              <a:gd name="T17" fmla="*/ 92 h 92"/>
              <a:gd name="T18" fmla="*/ 23 w 88"/>
              <a:gd name="T19" fmla="*/ 4 h 92"/>
              <a:gd name="T20" fmla="*/ 4 w 88"/>
              <a:gd name="T21" fmla="*/ 29 h 92"/>
              <a:gd name="T22" fmla="*/ 44 w 88"/>
              <a:gd name="T23" fmla="*/ 87 h 92"/>
              <a:gd name="T24" fmla="*/ 84 w 88"/>
              <a:gd name="T25" fmla="*/ 26 h 92"/>
              <a:gd name="T26" fmla="*/ 66 w 88"/>
              <a:gd name="T27" fmla="*/ 4 h 92"/>
              <a:gd name="T28" fmla="*/ 46 w 88"/>
              <a:gd name="T29" fmla="*/ 24 h 92"/>
              <a:gd name="T30" fmla="*/ 44 w 88"/>
              <a:gd name="T31" fmla="*/ 26 h 92"/>
              <a:gd name="T32" fmla="*/ 42 w 88"/>
              <a:gd name="T33" fmla="*/ 24 h 92"/>
              <a:gd name="T34" fmla="*/ 23 w 88"/>
              <a:gd name="T35"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2">
                <a:moveTo>
                  <a:pt x="44" y="92"/>
                </a:moveTo>
                <a:cubicBezTo>
                  <a:pt x="44" y="92"/>
                  <a:pt x="43" y="91"/>
                  <a:pt x="43" y="91"/>
                </a:cubicBezTo>
                <a:cubicBezTo>
                  <a:pt x="41" y="90"/>
                  <a:pt x="0" y="62"/>
                  <a:pt x="0" y="29"/>
                </a:cubicBezTo>
                <a:cubicBezTo>
                  <a:pt x="0" y="10"/>
                  <a:pt x="12" y="0"/>
                  <a:pt x="23" y="0"/>
                </a:cubicBezTo>
                <a:cubicBezTo>
                  <a:pt x="31" y="0"/>
                  <a:pt x="40" y="5"/>
                  <a:pt x="44" y="16"/>
                </a:cubicBezTo>
                <a:cubicBezTo>
                  <a:pt x="48" y="5"/>
                  <a:pt x="57" y="0"/>
                  <a:pt x="66" y="0"/>
                </a:cubicBezTo>
                <a:cubicBezTo>
                  <a:pt x="77" y="0"/>
                  <a:pt x="88" y="9"/>
                  <a:pt x="88" y="26"/>
                </a:cubicBezTo>
                <a:cubicBezTo>
                  <a:pt x="88" y="58"/>
                  <a:pt x="47" y="90"/>
                  <a:pt x="45" y="91"/>
                </a:cubicBezTo>
                <a:cubicBezTo>
                  <a:pt x="45" y="91"/>
                  <a:pt x="44" y="92"/>
                  <a:pt x="44" y="92"/>
                </a:cubicBezTo>
                <a:close/>
                <a:moveTo>
                  <a:pt x="23" y="4"/>
                </a:moveTo>
                <a:cubicBezTo>
                  <a:pt x="14" y="4"/>
                  <a:pt x="4" y="12"/>
                  <a:pt x="4" y="29"/>
                </a:cubicBezTo>
                <a:cubicBezTo>
                  <a:pt x="4" y="57"/>
                  <a:pt x="37" y="82"/>
                  <a:pt x="44" y="87"/>
                </a:cubicBezTo>
                <a:cubicBezTo>
                  <a:pt x="51" y="82"/>
                  <a:pt x="84" y="53"/>
                  <a:pt x="84" y="26"/>
                </a:cubicBezTo>
                <a:cubicBezTo>
                  <a:pt x="84" y="11"/>
                  <a:pt x="74" y="4"/>
                  <a:pt x="66" y="4"/>
                </a:cubicBezTo>
                <a:cubicBezTo>
                  <a:pt x="58" y="4"/>
                  <a:pt x="48" y="9"/>
                  <a:pt x="46" y="24"/>
                </a:cubicBezTo>
                <a:cubicBezTo>
                  <a:pt x="46" y="25"/>
                  <a:pt x="45" y="26"/>
                  <a:pt x="44" y="26"/>
                </a:cubicBezTo>
                <a:cubicBezTo>
                  <a:pt x="43" y="26"/>
                  <a:pt x="42" y="25"/>
                  <a:pt x="42" y="24"/>
                </a:cubicBezTo>
                <a:cubicBezTo>
                  <a:pt x="40" y="9"/>
                  <a:pt x="30" y="4"/>
                  <a:pt x="23" y="4"/>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489" name="Group 15">
            <a:extLst>
              <a:ext uri="{FF2B5EF4-FFF2-40B4-BE49-F238E27FC236}">
                <a16:creationId xmlns:a16="http://schemas.microsoft.com/office/drawing/2014/main" id="{42704C4E-7A4F-42EF-A744-32ED4632B312}"/>
              </a:ext>
            </a:extLst>
          </p:cNvPr>
          <p:cNvGrpSpPr>
            <a:grpSpLocks noChangeAspect="1"/>
          </p:cNvGrpSpPr>
          <p:nvPr/>
        </p:nvGrpSpPr>
        <p:grpSpPr>
          <a:xfrm>
            <a:off x="1898865" y="3263433"/>
            <a:ext cx="275664" cy="285619"/>
            <a:chOff x="3009369" y="2439528"/>
            <a:chExt cx="664188" cy="688174"/>
          </a:xfrm>
          <a:solidFill>
            <a:schemeClr val="bg2"/>
          </a:solidFill>
          <a:effectLst/>
        </p:grpSpPr>
        <p:sp>
          <p:nvSpPr>
            <p:cNvPr id="490" name="Freeform 77">
              <a:extLst>
                <a:ext uri="{FF2B5EF4-FFF2-40B4-BE49-F238E27FC236}">
                  <a16:creationId xmlns:a16="http://schemas.microsoft.com/office/drawing/2014/main" id="{9C46F9A2-F64F-458A-804E-28C64A4DFDEA}"/>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78">
              <a:extLst>
                <a:ext uri="{FF2B5EF4-FFF2-40B4-BE49-F238E27FC236}">
                  <a16:creationId xmlns:a16="http://schemas.microsoft.com/office/drawing/2014/main" id="{01D6B8A9-CE53-4547-8F46-B9DB396E77E5}"/>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79">
              <a:extLst>
                <a:ext uri="{FF2B5EF4-FFF2-40B4-BE49-F238E27FC236}">
                  <a16:creationId xmlns:a16="http://schemas.microsoft.com/office/drawing/2014/main" id="{41900AFB-7EA3-4D4C-B2FF-325B7911D6AD}"/>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80">
              <a:extLst>
                <a:ext uri="{FF2B5EF4-FFF2-40B4-BE49-F238E27FC236}">
                  <a16:creationId xmlns:a16="http://schemas.microsoft.com/office/drawing/2014/main" id="{7FC0E402-A562-460A-A563-1DE409B161C5}"/>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81">
              <a:extLst>
                <a:ext uri="{FF2B5EF4-FFF2-40B4-BE49-F238E27FC236}">
                  <a16:creationId xmlns:a16="http://schemas.microsoft.com/office/drawing/2014/main" id="{5333AF5A-8CDA-4D86-B8E4-92ED1DB64F65}"/>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82">
              <a:extLst>
                <a:ext uri="{FF2B5EF4-FFF2-40B4-BE49-F238E27FC236}">
                  <a16:creationId xmlns:a16="http://schemas.microsoft.com/office/drawing/2014/main" id="{F5AA5961-288B-43DA-97D1-24522A9D7376}"/>
                </a:ext>
              </a:extLst>
            </p:cNvPr>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3">
              <a:extLst>
                <a:ext uri="{FF2B5EF4-FFF2-40B4-BE49-F238E27FC236}">
                  <a16:creationId xmlns:a16="http://schemas.microsoft.com/office/drawing/2014/main" id="{79D33AD8-1BEF-4998-8353-698DA20861D2}"/>
                </a:ext>
              </a:extLst>
            </p:cNvPr>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84">
              <a:extLst>
                <a:ext uri="{FF2B5EF4-FFF2-40B4-BE49-F238E27FC236}">
                  <a16:creationId xmlns:a16="http://schemas.microsoft.com/office/drawing/2014/main" id="{F3E33242-BA4C-4A83-849C-E9A1369E0466}"/>
                </a:ext>
              </a:extLst>
            </p:cNvPr>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85">
              <a:extLst>
                <a:ext uri="{FF2B5EF4-FFF2-40B4-BE49-F238E27FC236}">
                  <a16:creationId xmlns:a16="http://schemas.microsoft.com/office/drawing/2014/main" id="{4FF1418E-443E-4CA3-A615-0712EBEED888}"/>
                </a:ext>
              </a:extLst>
            </p:cNvPr>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86">
              <a:extLst>
                <a:ext uri="{FF2B5EF4-FFF2-40B4-BE49-F238E27FC236}">
                  <a16:creationId xmlns:a16="http://schemas.microsoft.com/office/drawing/2014/main" id="{03320649-5C9F-4D2A-A53C-D04390A47E38}"/>
                </a:ext>
              </a:extLst>
            </p:cNvPr>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87">
              <a:extLst>
                <a:ext uri="{FF2B5EF4-FFF2-40B4-BE49-F238E27FC236}">
                  <a16:creationId xmlns:a16="http://schemas.microsoft.com/office/drawing/2014/main" id="{4703EDE0-DFE0-49D6-9CB6-8081D7EBEFF0}"/>
                </a:ext>
              </a:extLst>
            </p:cNvPr>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88">
              <a:extLst>
                <a:ext uri="{FF2B5EF4-FFF2-40B4-BE49-F238E27FC236}">
                  <a16:creationId xmlns:a16="http://schemas.microsoft.com/office/drawing/2014/main" id="{B8A1DB18-67B0-4C2F-9EB1-1E6B92DAC6A0}"/>
                </a:ext>
              </a:extLst>
            </p:cNvPr>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3" name="Group 42">
            <a:extLst>
              <a:ext uri="{FF2B5EF4-FFF2-40B4-BE49-F238E27FC236}">
                <a16:creationId xmlns:a16="http://schemas.microsoft.com/office/drawing/2014/main" id="{F457E988-3336-4443-853E-FA1C6B500C25}"/>
              </a:ext>
            </a:extLst>
          </p:cNvPr>
          <p:cNvGrpSpPr>
            <a:grpSpLocks noChangeAspect="1"/>
          </p:cNvGrpSpPr>
          <p:nvPr/>
        </p:nvGrpSpPr>
        <p:grpSpPr>
          <a:xfrm>
            <a:off x="1929777" y="4879041"/>
            <a:ext cx="213841" cy="285619"/>
            <a:chOff x="938566" y="5354717"/>
            <a:chExt cx="213747" cy="285493"/>
          </a:xfrm>
          <a:solidFill>
            <a:schemeClr val="bg2"/>
          </a:solidFill>
          <a:effectLst/>
        </p:grpSpPr>
        <p:sp>
          <p:nvSpPr>
            <p:cNvPr id="774" name="Freeform 189">
              <a:extLst>
                <a:ext uri="{FF2B5EF4-FFF2-40B4-BE49-F238E27FC236}">
                  <a16:creationId xmlns:a16="http://schemas.microsoft.com/office/drawing/2014/main" id="{D896E047-D82F-44EB-AAAF-DA71020DB02E}"/>
                </a:ext>
              </a:extLst>
            </p:cNvPr>
            <p:cNvSpPr>
              <a:spLocks/>
            </p:cNvSpPr>
            <p:nvPr/>
          </p:nvSpPr>
          <p:spPr bwMode="auto">
            <a:xfrm>
              <a:off x="938566" y="5507179"/>
              <a:ext cx="32884" cy="8968"/>
            </a:xfrm>
            <a:custGeom>
              <a:avLst/>
              <a:gdLst>
                <a:gd name="T0" fmla="*/ 89 w 89"/>
                <a:gd name="T1" fmla="*/ 13 h 26"/>
                <a:gd name="T2" fmla="*/ 88 w 89"/>
                <a:gd name="T3" fmla="*/ 9 h 26"/>
                <a:gd name="T4" fmla="*/ 85 w 89"/>
                <a:gd name="T5" fmla="*/ 4 h 26"/>
                <a:gd name="T6" fmla="*/ 81 w 89"/>
                <a:gd name="T7" fmla="*/ 1 h 26"/>
                <a:gd name="T8" fmla="*/ 76 w 89"/>
                <a:gd name="T9" fmla="*/ 0 h 26"/>
                <a:gd name="T10" fmla="*/ 12 w 89"/>
                <a:gd name="T11" fmla="*/ 0 h 26"/>
                <a:gd name="T12" fmla="*/ 8 w 89"/>
                <a:gd name="T13" fmla="*/ 1 h 26"/>
                <a:gd name="T14" fmla="*/ 3 w 89"/>
                <a:gd name="T15" fmla="*/ 4 h 26"/>
                <a:gd name="T16" fmla="*/ 1 w 89"/>
                <a:gd name="T17" fmla="*/ 9 h 26"/>
                <a:gd name="T18" fmla="*/ 0 w 89"/>
                <a:gd name="T19" fmla="*/ 13 h 26"/>
                <a:gd name="T20" fmla="*/ 1 w 89"/>
                <a:gd name="T21" fmla="*/ 18 h 26"/>
                <a:gd name="T22" fmla="*/ 3 w 89"/>
                <a:gd name="T23" fmla="*/ 23 h 26"/>
                <a:gd name="T24" fmla="*/ 8 w 89"/>
                <a:gd name="T25" fmla="*/ 25 h 26"/>
                <a:gd name="T26" fmla="*/ 12 w 89"/>
                <a:gd name="T27" fmla="*/ 26 h 26"/>
                <a:gd name="T28" fmla="*/ 76 w 89"/>
                <a:gd name="T29" fmla="*/ 26 h 26"/>
                <a:gd name="T30" fmla="*/ 81 w 89"/>
                <a:gd name="T31" fmla="*/ 25 h 26"/>
                <a:gd name="T32" fmla="*/ 85 w 89"/>
                <a:gd name="T33" fmla="*/ 23 h 26"/>
                <a:gd name="T34" fmla="*/ 88 w 89"/>
                <a:gd name="T35" fmla="*/ 18 h 26"/>
                <a:gd name="T36" fmla="*/ 89 w 89"/>
                <a:gd name="T3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89" y="13"/>
                  </a:moveTo>
                  <a:lnTo>
                    <a:pt x="88" y="9"/>
                  </a:lnTo>
                  <a:lnTo>
                    <a:pt x="85" y="4"/>
                  </a:lnTo>
                  <a:lnTo>
                    <a:pt x="81" y="1"/>
                  </a:lnTo>
                  <a:lnTo>
                    <a:pt x="76" y="0"/>
                  </a:lnTo>
                  <a:lnTo>
                    <a:pt x="12" y="0"/>
                  </a:lnTo>
                  <a:lnTo>
                    <a:pt x="8" y="1"/>
                  </a:lnTo>
                  <a:lnTo>
                    <a:pt x="3" y="4"/>
                  </a:lnTo>
                  <a:lnTo>
                    <a:pt x="1" y="9"/>
                  </a:lnTo>
                  <a:lnTo>
                    <a:pt x="0" y="13"/>
                  </a:lnTo>
                  <a:lnTo>
                    <a:pt x="1" y="18"/>
                  </a:lnTo>
                  <a:lnTo>
                    <a:pt x="3" y="23"/>
                  </a:lnTo>
                  <a:lnTo>
                    <a:pt x="8" y="25"/>
                  </a:lnTo>
                  <a:lnTo>
                    <a:pt x="12" y="26"/>
                  </a:lnTo>
                  <a:lnTo>
                    <a:pt x="76" y="26"/>
                  </a:lnTo>
                  <a:lnTo>
                    <a:pt x="81" y="25"/>
                  </a:lnTo>
                  <a:lnTo>
                    <a:pt x="85" y="23"/>
                  </a:lnTo>
                  <a:lnTo>
                    <a:pt x="88" y="18"/>
                  </a:lnTo>
                  <a:lnTo>
                    <a:pt x="8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5" name="Freeform 190">
              <a:extLst>
                <a:ext uri="{FF2B5EF4-FFF2-40B4-BE49-F238E27FC236}">
                  <a16:creationId xmlns:a16="http://schemas.microsoft.com/office/drawing/2014/main" id="{377B3FC0-997A-4C6C-9951-0DC6CD03C6FE}"/>
                </a:ext>
              </a:extLst>
            </p:cNvPr>
            <p:cNvSpPr>
              <a:spLocks/>
            </p:cNvSpPr>
            <p:nvPr/>
          </p:nvSpPr>
          <p:spPr bwMode="auto">
            <a:xfrm>
              <a:off x="962481" y="5450380"/>
              <a:ext cx="28400" cy="26905"/>
            </a:xfrm>
            <a:custGeom>
              <a:avLst/>
              <a:gdLst>
                <a:gd name="T0" fmla="*/ 21 w 74"/>
                <a:gd name="T1" fmla="*/ 4 h 74"/>
                <a:gd name="T2" fmla="*/ 17 w 74"/>
                <a:gd name="T3" fmla="*/ 1 h 74"/>
                <a:gd name="T4" fmla="*/ 13 w 74"/>
                <a:gd name="T5" fmla="*/ 0 h 74"/>
                <a:gd name="T6" fmla="*/ 7 w 74"/>
                <a:gd name="T7" fmla="*/ 1 h 74"/>
                <a:gd name="T8" fmla="*/ 3 w 74"/>
                <a:gd name="T9" fmla="*/ 4 h 74"/>
                <a:gd name="T10" fmla="*/ 1 w 74"/>
                <a:gd name="T11" fmla="*/ 8 h 74"/>
                <a:gd name="T12" fmla="*/ 0 w 74"/>
                <a:gd name="T13" fmla="*/ 13 h 74"/>
                <a:gd name="T14" fmla="*/ 1 w 74"/>
                <a:gd name="T15" fmla="*/ 18 h 74"/>
                <a:gd name="T16" fmla="*/ 3 w 74"/>
                <a:gd name="T17" fmla="*/ 21 h 74"/>
                <a:gd name="T18" fmla="*/ 51 w 74"/>
                <a:gd name="T19" fmla="*/ 71 h 74"/>
                <a:gd name="T20" fmla="*/ 56 w 74"/>
                <a:gd name="T21" fmla="*/ 73 h 74"/>
                <a:gd name="T22" fmla="*/ 61 w 74"/>
                <a:gd name="T23" fmla="*/ 74 h 74"/>
                <a:gd name="T24" fmla="*/ 65 w 74"/>
                <a:gd name="T25" fmla="*/ 73 h 74"/>
                <a:gd name="T26" fmla="*/ 70 w 74"/>
                <a:gd name="T27" fmla="*/ 71 h 74"/>
                <a:gd name="T28" fmla="*/ 73 w 74"/>
                <a:gd name="T29" fmla="*/ 66 h 74"/>
                <a:gd name="T30" fmla="*/ 74 w 74"/>
                <a:gd name="T31" fmla="*/ 61 h 74"/>
                <a:gd name="T32" fmla="*/ 73 w 74"/>
                <a:gd name="T33" fmla="*/ 57 h 74"/>
                <a:gd name="T34" fmla="*/ 70 w 74"/>
                <a:gd name="T35" fmla="*/ 52 h 74"/>
                <a:gd name="T36" fmla="*/ 21 w 74"/>
                <a:gd name="T3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4">
                  <a:moveTo>
                    <a:pt x="21" y="4"/>
                  </a:moveTo>
                  <a:lnTo>
                    <a:pt x="17" y="1"/>
                  </a:lnTo>
                  <a:lnTo>
                    <a:pt x="13" y="0"/>
                  </a:lnTo>
                  <a:lnTo>
                    <a:pt x="7" y="1"/>
                  </a:lnTo>
                  <a:lnTo>
                    <a:pt x="3" y="4"/>
                  </a:lnTo>
                  <a:lnTo>
                    <a:pt x="1" y="8"/>
                  </a:lnTo>
                  <a:lnTo>
                    <a:pt x="0" y="13"/>
                  </a:lnTo>
                  <a:lnTo>
                    <a:pt x="1" y="18"/>
                  </a:lnTo>
                  <a:lnTo>
                    <a:pt x="3" y="21"/>
                  </a:lnTo>
                  <a:lnTo>
                    <a:pt x="51" y="71"/>
                  </a:lnTo>
                  <a:lnTo>
                    <a:pt x="56" y="73"/>
                  </a:lnTo>
                  <a:lnTo>
                    <a:pt x="61" y="74"/>
                  </a:lnTo>
                  <a:lnTo>
                    <a:pt x="65" y="73"/>
                  </a:lnTo>
                  <a:lnTo>
                    <a:pt x="70" y="71"/>
                  </a:lnTo>
                  <a:lnTo>
                    <a:pt x="73" y="66"/>
                  </a:lnTo>
                  <a:lnTo>
                    <a:pt x="74" y="61"/>
                  </a:lnTo>
                  <a:lnTo>
                    <a:pt x="73" y="57"/>
                  </a:lnTo>
                  <a:lnTo>
                    <a:pt x="70" y="52"/>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6" name="Freeform 191">
              <a:extLst>
                <a:ext uri="{FF2B5EF4-FFF2-40B4-BE49-F238E27FC236}">
                  <a16:creationId xmlns:a16="http://schemas.microsoft.com/office/drawing/2014/main" id="{002C88F6-55CC-4E86-9C0F-0079CB6A100F}"/>
                </a:ext>
              </a:extLst>
            </p:cNvPr>
            <p:cNvSpPr>
              <a:spLocks/>
            </p:cNvSpPr>
            <p:nvPr/>
          </p:nvSpPr>
          <p:spPr bwMode="auto">
            <a:xfrm>
              <a:off x="962481" y="5552021"/>
              <a:ext cx="28400" cy="28400"/>
            </a:xfrm>
            <a:custGeom>
              <a:avLst/>
              <a:gdLst>
                <a:gd name="T0" fmla="*/ 51 w 74"/>
                <a:gd name="T1" fmla="*/ 5 h 75"/>
                <a:gd name="T2" fmla="*/ 3 w 74"/>
                <a:gd name="T3" fmla="*/ 53 h 75"/>
                <a:gd name="T4" fmla="*/ 1 w 74"/>
                <a:gd name="T5" fmla="*/ 57 h 75"/>
                <a:gd name="T6" fmla="*/ 0 w 74"/>
                <a:gd name="T7" fmla="*/ 62 h 75"/>
                <a:gd name="T8" fmla="*/ 1 w 74"/>
                <a:gd name="T9" fmla="*/ 66 h 75"/>
                <a:gd name="T10" fmla="*/ 3 w 74"/>
                <a:gd name="T11" fmla="*/ 70 h 75"/>
                <a:gd name="T12" fmla="*/ 7 w 74"/>
                <a:gd name="T13" fmla="*/ 74 h 75"/>
                <a:gd name="T14" fmla="*/ 13 w 74"/>
                <a:gd name="T15" fmla="*/ 75 h 75"/>
                <a:gd name="T16" fmla="*/ 17 w 74"/>
                <a:gd name="T17" fmla="*/ 74 h 75"/>
                <a:gd name="T18" fmla="*/ 21 w 74"/>
                <a:gd name="T19" fmla="*/ 70 h 75"/>
                <a:gd name="T20" fmla="*/ 70 w 74"/>
                <a:gd name="T21" fmla="*/ 23 h 75"/>
                <a:gd name="T22" fmla="*/ 73 w 74"/>
                <a:gd name="T23" fmla="*/ 19 h 75"/>
                <a:gd name="T24" fmla="*/ 74 w 74"/>
                <a:gd name="T25" fmla="*/ 14 h 75"/>
                <a:gd name="T26" fmla="*/ 73 w 74"/>
                <a:gd name="T27" fmla="*/ 9 h 75"/>
                <a:gd name="T28" fmla="*/ 70 w 74"/>
                <a:gd name="T29" fmla="*/ 5 h 75"/>
                <a:gd name="T30" fmla="*/ 65 w 74"/>
                <a:gd name="T31" fmla="*/ 2 h 75"/>
                <a:gd name="T32" fmla="*/ 61 w 74"/>
                <a:gd name="T33" fmla="*/ 0 h 75"/>
                <a:gd name="T34" fmla="*/ 56 w 74"/>
                <a:gd name="T35" fmla="*/ 2 h 75"/>
                <a:gd name="T36" fmla="*/ 51 w 74"/>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5">
                  <a:moveTo>
                    <a:pt x="51" y="5"/>
                  </a:moveTo>
                  <a:lnTo>
                    <a:pt x="3" y="53"/>
                  </a:lnTo>
                  <a:lnTo>
                    <a:pt x="1" y="57"/>
                  </a:lnTo>
                  <a:lnTo>
                    <a:pt x="0" y="62"/>
                  </a:lnTo>
                  <a:lnTo>
                    <a:pt x="1" y="66"/>
                  </a:lnTo>
                  <a:lnTo>
                    <a:pt x="3" y="70"/>
                  </a:lnTo>
                  <a:lnTo>
                    <a:pt x="7" y="74"/>
                  </a:lnTo>
                  <a:lnTo>
                    <a:pt x="13" y="75"/>
                  </a:lnTo>
                  <a:lnTo>
                    <a:pt x="17" y="74"/>
                  </a:lnTo>
                  <a:lnTo>
                    <a:pt x="21" y="70"/>
                  </a:lnTo>
                  <a:lnTo>
                    <a:pt x="70" y="23"/>
                  </a:lnTo>
                  <a:lnTo>
                    <a:pt x="73" y="19"/>
                  </a:lnTo>
                  <a:lnTo>
                    <a:pt x="74" y="14"/>
                  </a:lnTo>
                  <a:lnTo>
                    <a:pt x="73" y="9"/>
                  </a:lnTo>
                  <a:lnTo>
                    <a:pt x="70" y="5"/>
                  </a:lnTo>
                  <a:lnTo>
                    <a:pt x="65" y="2"/>
                  </a:lnTo>
                  <a:lnTo>
                    <a:pt x="61" y="0"/>
                  </a:lnTo>
                  <a:lnTo>
                    <a:pt x="56" y="2"/>
                  </a:lnTo>
                  <a:lnTo>
                    <a:pt x="5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7" name="Freeform 192">
              <a:extLst>
                <a:ext uri="{FF2B5EF4-FFF2-40B4-BE49-F238E27FC236}">
                  <a16:creationId xmlns:a16="http://schemas.microsoft.com/office/drawing/2014/main" id="{2AECB54A-99B0-4B0E-9EE8-92797D4C6DD2}"/>
                </a:ext>
              </a:extLst>
            </p:cNvPr>
            <p:cNvSpPr>
              <a:spLocks/>
            </p:cNvSpPr>
            <p:nvPr/>
          </p:nvSpPr>
          <p:spPr bwMode="auto">
            <a:xfrm>
              <a:off x="1080564" y="5507179"/>
              <a:ext cx="32884" cy="8968"/>
            </a:xfrm>
            <a:custGeom>
              <a:avLst/>
              <a:gdLst>
                <a:gd name="T0" fmla="*/ 78 w 89"/>
                <a:gd name="T1" fmla="*/ 0 h 26"/>
                <a:gd name="T2" fmla="*/ 13 w 89"/>
                <a:gd name="T3" fmla="*/ 0 h 26"/>
                <a:gd name="T4" fmla="*/ 9 w 89"/>
                <a:gd name="T5" fmla="*/ 1 h 26"/>
                <a:gd name="T6" fmla="*/ 5 w 89"/>
                <a:gd name="T7" fmla="*/ 4 h 26"/>
                <a:gd name="T8" fmla="*/ 1 w 89"/>
                <a:gd name="T9" fmla="*/ 9 h 26"/>
                <a:gd name="T10" fmla="*/ 0 w 89"/>
                <a:gd name="T11" fmla="*/ 13 h 26"/>
                <a:gd name="T12" fmla="*/ 1 w 89"/>
                <a:gd name="T13" fmla="*/ 18 h 26"/>
                <a:gd name="T14" fmla="*/ 5 w 89"/>
                <a:gd name="T15" fmla="*/ 23 h 26"/>
                <a:gd name="T16" fmla="*/ 9 w 89"/>
                <a:gd name="T17" fmla="*/ 25 h 26"/>
                <a:gd name="T18" fmla="*/ 13 w 89"/>
                <a:gd name="T19" fmla="*/ 26 h 26"/>
                <a:gd name="T20" fmla="*/ 78 w 89"/>
                <a:gd name="T21" fmla="*/ 26 h 26"/>
                <a:gd name="T22" fmla="*/ 82 w 89"/>
                <a:gd name="T23" fmla="*/ 25 h 26"/>
                <a:gd name="T24" fmla="*/ 86 w 89"/>
                <a:gd name="T25" fmla="*/ 23 h 26"/>
                <a:gd name="T26" fmla="*/ 88 w 89"/>
                <a:gd name="T27" fmla="*/ 18 h 26"/>
                <a:gd name="T28" fmla="*/ 89 w 89"/>
                <a:gd name="T29" fmla="*/ 13 h 26"/>
                <a:gd name="T30" fmla="*/ 88 w 89"/>
                <a:gd name="T31" fmla="*/ 9 h 26"/>
                <a:gd name="T32" fmla="*/ 86 w 89"/>
                <a:gd name="T33" fmla="*/ 4 h 26"/>
                <a:gd name="T34" fmla="*/ 82 w 89"/>
                <a:gd name="T35" fmla="*/ 1 h 26"/>
                <a:gd name="T36" fmla="*/ 78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8" y="0"/>
                  </a:moveTo>
                  <a:lnTo>
                    <a:pt x="13" y="0"/>
                  </a:lnTo>
                  <a:lnTo>
                    <a:pt x="9" y="1"/>
                  </a:lnTo>
                  <a:lnTo>
                    <a:pt x="5" y="4"/>
                  </a:lnTo>
                  <a:lnTo>
                    <a:pt x="1" y="9"/>
                  </a:lnTo>
                  <a:lnTo>
                    <a:pt x="0" y="13"/>
                  </a:lnTo>
                  <a:lnTo>
                    <a:pt x="1" y="18"/>
                  </a:lnTo>
                  <a:lnTo>
                    <a:pt x="5" y="23"/>
                  </a:lnTo>
                  <a:lnTo>
                    <a:pt x="9" y="25"/>
                  </a:lnTo>
                  <a:lnTo>
                    <a:pt x="13" y="26"/>
                  </a:lnTo>
                  <a:lnTo>
                    <a:pt x="78" y="26"/>
                  </a:lnTo>
                  <a:lnTo>
                    <a:pt x="82" y="25"/>
                  </a:lnTo>
                  <a:lnTo>
                    <a:pt x="86" y="23"/>
                  </a:lnTo>
                  <a:lnTo>
                    <a:pt x="88" y="18"/>
                  </a:lnTo>
                  <a:lnTo>
                    <a:pt x="89" y="13"/>
                  </a:lnTo>
                  <a:lnTo>
                    <a:pt x="88" y="9"/>
                  </a:lnTo>
                  <a:lnTo>
                    <a:pt x="86" y="4"/>
                  </a:lnTo>
                  <a:lnTo>
                    <a:pt x="82" y="1"/>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8" name="Freeform 193">
              <a:extLst>
                <a:ext uri="{FF2B5EF4-FFF2-40B4-BE49-F238E27FC236}">
                  <a16:creationId xmlns:a16="http://schemas.microsoft.com/office/drawing/2014/main" id="{4B7EC7DC-6AC1-43F4-B97F-B1B5C9BDE979}"/>
                </a:ext>
              </a:extLst>
            </p:cNvPr>
            <p:cNvSpPr>
              <a:spLocks/>
            </p:cNvSpPr>
            <p:nvPr/>
          </p:nvSpPr>
          <p:spPr bwMode="auto">
            <a:xfrm>
              <a:off x="1064123" y="5552021"/>
              <a:ext cx="28400" cy="28400"/>
            </a:xfrm>
            <a:custGeom>
              <a:avLst/>
              <a:gdLst>
                <a:gd name="T0" fmla="*/ 22 w 75"/>
                <a:gd name="T1" fmla="*/ 5 h 75"/>
                <a:gd name="T2" fmla="*/ 19 w 75"/>
                <a:gd name="T3" fmla="*/ 2 h 75"/>
                <a:gd name="T4" fmla="*/ 13 w 75"/>
                <a:gd name="T5" fmla="*/ 0 h 75"/>
                <a:gd name="T6" fmla="*/ 9 w 75"/>
                <a:gd name="T7" fmla="*/ 2 h 75"/>
                <a:gd name="T8" fmla="*/ 5 w 75"/>
                <a:gd name="T9" fmla="*/ 5 h 75"/>
                <a:gd name="T10" fmla="*/ 2 w 75"/>
                <a:gd name="T11" fmla="*/ 9 h 75"/>
                <a:gd name="T12" fmla="*/ 0 w 75"/>
                <a:gd name="T13" fmla="*/ 14 h 75"/>
                <a:gd name="T14" fmla="*/ 2 w 75"/>
                <a:gd name="T15" fmla="*/ 19 h 75"/>
                <a:gd name="T16" fmla="*/ 5 w 75"/>
                <a:gd name="T17" fmla="*/ 23 h 75"/>
                <a:gd name="T18" fmla="*/ 53 w 75"/>
                <a:gd name="T19" fmla="*/ 70 h 75"/>
                <a:gd name="T20" fmla="*/ 56 w 75"/>
                <a:gd name="T21" fmla="*/ 74 h 75"/>
                <a:gd name="T22" fmla="*/ 62 w 75"/>
                <a:gd name="T23" fmla="*/ 75 h 75"/>
                <a:gd name="T24" fmla="*/ 66 w 75"/>
                <a:gd name="T25" fmla="*/ 74 h 75"/>
                <a:gd name="T26" fmla="*/ 70 w 75"/>
                <a:gd name="T27" fmla="*/ 70 h 75"/>
                <a:gd name="T28" fmla="*/ 74 w 75"/>
                <a:gd name="T29" fmla="*/ 66 h 75"/>
                <a:gd name="T30" fmla="*/ 75 w 75"/>
                <a:gd name="T31" fmla="*/ 62 h 75"/>
                <a:gd name="T32" fmla="*/ 74 w 75"/>
                <a:gd name="T33" fmla="*/ 57 h 75"/>
                <a:gd name="T34" fmla="*/ 70 w 75"/>
                <a:gd name="T35" fmla="*/ 53 h 75"/>
                <a:gd name="T36" fmla="*/ 22 w 75"/>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5">
                  <a:moveTo>
                    <a:pt x="22" y="5"/>
                  </a:moveTo>
                  <a:lnTo>
                    <a:pt x="19" y="2"/>
                  </a:lnTo>
                  <a:lnTo>
                    <a:pt x="13" y="0"/>
                  </a:lnTo>
                  <a:lnTo>
                    <a:pt x="9" y="2"/>
                  </a:lnTo>
                  <a:lnTo>
                    <a:pt x="5" y="5"/>
                  </a:lnTo>
                  <a:lnTo>
                    <a:pt x="2" y="9"/>
                  </a:lnTo>
                  <a:lnTo>
                    <a:pt x="0" y="14"/>
                  </a:lnTo>
                  <a:lnTo>
                    <a:pt x="2" y="19"/>
                  </a:lnTo>
                  <a:lnTo>
                    <a:pt x="5" y="23"/>
                  </a:lnTo>
                  <a:lnTo>
                    <a:pt x="53" y="70"/>
                  </a:lnTo>
                  <a:lnTo>
                    <a:pt x="56" y="74"/>
                  </a:lnTo>
                  <a:lnTo>
                    <a:pt x="62" y="75"/>
                  </a:lnTo>
                  <a:lnTo>
                    <a:pt x="66" y="74"/>
                  </a:lnTo>
                  <a:lnTo>
                    <a:pt x="70" y="70"/>
                  </a:lnTo>
                  <a:lnTo>
                    <a:pt x="74" y="66"/>
                  </a:lnTo>
                  <a:lnTo>
                    <a:pt x="75" y="62"/>
                  </a:lnTo>
                  <a:lnTo>
                    <a:pt x="74" y="57"/>
                  </a:lnTo>
                  <a:lnTo>
                    <a:pt x="70" y="53"/>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9" name="Freeform 194">
              <a:extLst>
                <a:ext uri="{FF2B5EF4-FFF2-40B4-BE49-F238E27FC236}">
                  <a16:creationId xmlns:a16="http://schemas.microsoft.com/office/drawing/2014/main" id="{B57EC661-185E-4EB9-9B6F-D1E1B3D07D9A}"/>
                </a:ext>
              </a:extLst>
            </p:cNvPr>
            <p:cNvSpPr>
              <a:spLocks/>
            </p:cNvSpPr>
            <p:nvPr/>
          </p:nvSpPr>
          <p:spPr bwMode="auto">
            <a:xfrm>
              <a:off x="1064123" y="5450380"/>
              <a:ext cx="28400" cy="26905"/>
            </a:xfrm>
            <a:custGeom>
              <a:avLst/>
              <a:gdLst>
                <a:gd name="T0" fmla="*/ 13 w 75"/>
                <a:gd name="T1" fmla="*/ 74 h 74"/>
                <a:gd name="T2" fmla="*/ 19 w 75"/>
                <a:gd name="T3" fmla="*/ 73 h 74"/>
                <a:gd name="T4" fmla="*/ 22 w 75"/>
                <a:gd name="T5" fmla="*/ 71 h 74"/>
                <a:gd name="T6" fmla="*/ 70 w 75"/>
                <a:gd name="T7" fmla="*/ 21 h 74"/>
                <a:gd name="T8" fmla="*/ 74 w 75"/>
                <a:gd name="T9" fmla="*/ 18 h 74"/>
                <a:gd name="T10" fmla="*/ 75 w 75"/>
                <a:gd name="T11" fmla="*/ 13 h 74"/>
                <a:gd name="T12" fmla="*/ 74 w 75"/>
                <a:gd name="T13" fmla="*/ 8 h 74"/>
                <a:gd name="T14" fmla="*/ 70 w 75"/>
                <a:gd name="T15" fmla="*/ 4 h 74"/>
                <a:gd name="T16" fmla="*/ 66 w 75"/>
                <a:gd name="T17" fmla="*/ 1 h 74"/>
                <a:gd name="T18" fmla="*/ 62 w 75"/>
                <a:gd name="T19" fmla="*/ 0 h 74"/>
                <a:gd name="T20" fmla="*/ 56 w 75"/>
                <a:gd name="T21" fmla="*/ 1 h 74"/>
                <a:gd name="T22" fmla="*/ 53 w 75"/>
                <a:gd name="T23" fmla="*/ 4 h 74"/>
                <a:gd name="T24" fmla="*/ 5 w 75"/>
                <a:gd name="T25" fmla="*/ 52 h 74"/>
                <a:gd name="T26" fmla="*/ 2 w 75"/>
                <a:gd name="T27" fmla="*/ 57 h 74"/>
                <a:gd name="T28" fmla="*/ 0 w 75"/>
                <a:gd name="T29" fmla="*/ 61 h 74"/>
                <a:gd name="T30" fmla="*/ 2 w 75"/>
                <a:gd name="T31" fmla="*/ 66 h 74"/>
                <a:gd name="T32" fmla="*/ 5 w 75"/>
                <a:gd name="T33" fmla="*/ 71 h 74"/>
                <a:gd name="T34" fmla="*/ 9 w 75"/>
                <a:gd name="T35" fmla="*/ 73 h 74"/>
                <a:gd name="T36" fmla="*/ 13 w 75"/>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4">
                  <a:moveTo>
                    <a:pt x="13" y="74"/>
                  </a:moveTo>
                  <a:lnTo>
                    <a:pt x="19" y="73"/>
                  </a:lnTo>
                  <a:lnTo>
                    <a:pt x="22" y="71"/>
                  </a:lnTo>
                  <a:lnTo>
                    <a:pt x="70" y="21"/>
                  </a:lnTo>
                  <a:lnTo>
                    <a:pt x="74" y="18"/>
                  </a:lnTo>
                  <a:lnTo>
                    <a:pt x="75" y="13"/>
                  </a:lnTo>
                  <a:lnTo>
                    <a:pt x="74" y="8"/>
                  </a:lnTo>
                  <a:lnTo>
                    <a:pt x="70" y="4"/>
                  </a:lnTo>
                  <a:lnTo>
                    <a:pt x="66" y="1"/>
                  </a:lnTo>
                  <a:lnTo>
                    <a:pt x="62" y="0"/>
                  </a:lnTo>
                  <a:lnTo>
                    <a:pt x="56" y="1"/>
                  </a:lnTo>
                  <a:lnTo>
                    <a:pt x="53" y="4"/>
                  </a:lnTo>
                  <a:lnTo>
                    <a:pt x="5" y="52"/>
                  </a:lnTo>
                  <a:lnTo>
                    <a:pt x="2" y="57"/>
                  </a:lnTo>
                  <a:lnTo>
                    <a:pt x="0" y="61"/>
                  </a:lnTo>
                  <a:lnTo>
                    <a:pt x="2" y="66"/>
                  </a:lnTo>
                  <a:lnTo>
                    <a:pt x="5" y="71"/>
                  </a:lnTo>
                  <a:lnTo>
                    <a:pt x="9"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0" name="Freeform 195">
              <a:extLst>
                <a:ext uri="{FF2B5EF4-FFF2-40B4-BE49-F238E27FC236}">
                  <a16:creationId xmlns:a16="http://schemas.microsoft.com/office/drawing/2014/main" id="{4368EADD-08DA-46A8-A209-D412C28737AD}"/>
                </a:ext>
              </a:extLst>
            </p:cNvPr>
            <p:cNvSpPr>
              <a:spLocks noEditPoints="1"/>
            </p:cNvSpPr>
            <p:nvPr/>
          </p:nvSpPr>
          <p:spPr bwMode="auto">
            <a:xfrm>
              <a:off x="1004335" y="5354717"/>
              <a:ext cx="147978" cy="285493"/>
            </a:xfrm>
            <a:custGeom>
              <a:avLst/>
              <a:gdLst>
                <a:gd name="T0" fmla="*/ 80 w 396"/>
                <a:gd name="T1" fmla="*/ 124 h 764"/>
                <a:gd name="T2" fmla="*/ 126 w 396"/>
                <a:gd name="T3" fmla="*/ 130 h 764"/>
                <a:gd name="T4" fmla="*/ 171 w 396"/>
                <a:gd name="T5" fmla="*/ 144 h 764"/>
                <a:gd name="T6" fmla="*/ 212 w 396"/>
                <a:gd name="T7" fmla="*/ 162 h 764"/>
                <a:gd name="T8" fmla="*/ 248 w 396"/>
                <a:gd name="T9" fmla="*/ 187 h 764"/>
                <a:gd name="T10" fmla="*/ 282 w 396"/>
                <a:gd name="T11" fmla="*/ 216 h 764"/>
                <a:gd name="T12" fmla="*/ 311 w 396"/>
                <a:gd name="T13" fmla="*/ 248 h 764"/>
                <a:gd name="T14" fmla="*/ 334 w 396"/>
                <a:gd name="T15" fmla="*/ 286 h 764"/>
                <a:gd name="T16" fmla="*/ 353 w 396"/>
                <a:gd name="T17" fmla="*/ 325 h 764"/>
                <a:gd name="T18" fmla="*/ 364 w 396"/>
                <a:gd name="T19" fmla="*/ 370 h 764"/>
                <a:gd name="T20" fmla="*/ 370 w 396"/>
                <a:gd name="T21" fmla="*/ 415 h 764"/>
                <a:gd name="T22" fmla="*/ 369 w 396"/>
                <a:gd name="T23" fmla="*/ 462 h 764"/>
                <a:gd name="T24" fmla="*/ 361 w 396"/>
                <a:gd name="T25" fmla="*/ 507 h 764"/>
                <a:gd name="T26" fmla="*/ 347 w 396"/>
                <a:gd name="T27" fmla="*/ 549 h 764"/>
                <a:gd name="T28" fmla="*/ 327 w 396"/>
                <a:gd name="T29" fmla="*/ 589 h 764"/>
                <a:gd name="T30" fmla="*/ 301 w 396"/>
                <a:gd name="T31" fmla="*/ 624 h 764"/>
                <a:gd name="T32" fmla="*/ 271 w 396"/>
                <a:gd name="T33" fmla="*/ 655 h 764"/>
                <a:gd name="T34" fmla="*/ 237 w 396"/>
                <a:gd name="T35" fmla="*/ 683 h 764"/>
                <a:gd name="T36" fmla="*/ 198 w 396"/>
                <a:gd name="T37" fmla="*/ 706 h 764"/>
                <a:gd name="T38" fmla="*/ 156 w 396"/>
                <a:gd name="T39" fmla="*/ 722 h 764"/>
                <a:gd name="T40" fmla="*/ 111 w 396"/>
                <a:gd name="T41" fmla="*/ 734 h 764"/>
                <a:gd name="T42" fmla="*/ 64 w 396"/>
                <a:gd name="T43" fmla="*/ 739 h 764"/>
                <a:gd name="T44" fmla="*/ 358 w 396"/>
                <a:gd name="T45" fmla="*/ 167 h 764"/>
                <a:gd name="T46" fmla="*/ 372 w 396"/>
                <a:gd name="T47" fmla="*/ 170 h 764"/>
                <a:gd name="T48" fmla="*/ 379 w 396"/>
                <a:gd name="T49" fmla="*/ 158 h 764"/>
                <a:gd name="T50" fmla="*/ 328 w 396"/>
                <a:gd name="T51" fmla="*/ 100 h 764"/>
                <a:gd name="T52" fmla="*/ 314 w 396"/>
                <a:gd name="T53" fmla="*/ 98 h 764"/>
                <a:gd name="T54" fmla="*/ 306 w 396"/>
                <a:gd name="T55" fmla="*/ 110 h 764"/>
                <a:gd name="T56" fmla="*/ 325 w 396"/>
                <a:gd name="T57" fmla="*/ 133 h 764"/>
                <a:gd name="T58" fmla="*/ 257 w 396"/>
                <a:gd name="T59" fmla="*/ 161 h 764"/>
                <a:gd name="T60" fmla="*/ 221 w 396"/>
                <a:gd name="T61" fmla="*/ 139 h 764"/>
                <a:gd name="T62" fmla="*/ 182 w 396"/>
                <a:gd name="T63" fmla="*/ 120 h 764"/>
                <a:gd name="T64" fmla="*/ 139 w 396"/>
                <a:gd name="T65" fmla="*/ 108 h 764"/>
                <a:gd name="T66" fmla="*/ 95 w 396"/>
                <a:gd name="T67" fmla="*/ 99 h 764"/>
                <a:gd name="T68" fmla="*/ 64 w 396"/>
                <a:gd name="T69" fmla="*/ 25 h 764"/>
                <a:gd name="T70" fmla="*/ 98 w 396"/>
                <a:gd name="T71" fmla="*/ 22 h 764"/>
                <a:gd name="T72" fmla="*/ 101 w 396"/>
                <a:gd name="T73" fmla="*/ 8 h 764"/>
                <a:gd name="T74" fmla="*/ 90 w 396"/>
                <a:gd name="T75" fmla="*/ 0 h 764"/>
                <a:gd name="T76" fmla="*/ 4 w 396"/>
                <a:gd name="T77" fmla="*/ 3 h 764"/>
                <a:gd name="T78" fmla="*/ 2 w 396"/>
                <a:gd name="T79" fmla="*/ 17 h 764"/>
                <a:gd name="T80" fmla="*/ 13 w 396"/>
                <a:gd name="T81" fmla="*/ 25 h 764"/>
                <a:gd name="T82" fmla="*/ 38 w 396"/>
                <a:gd name="T83" fmla="*/ 751 h 764"/>
                <a:gd name="T84" fmla="*/ 46 w 396"/>
                <a:gd name="T85" fmla="*/ 763 h 764"/>
                <a:gd name="T86" fmla="*/ 86 w 396"/>
                <a:gd name="T87" fmla="*/ 763 h 764"/>
                <a:gd name="T88" fmla="*/ 138 w 396"/>
                <a:gd name="T89" fmla="*/ 754 h 764"/>
                <a:gd name="T90" fmla="*/ 186 w 396"/>
                <a:gd name="T91" fmla="*/ 738 h 764"/>
                <a:gd name="T92" fmla="*/ 231 w 396"/>
                <a:gd name="T93" fmla="*/ 716 h 764"/>
                <a:gd name="T94" fmla="*/ 272 w 396"/>
                <a:gd name="T95" fmla="*/ 688 h 764"/>
                <a:gd name="T96" fmla="*/ 308 w 396"/>
                <a:gd name="T97" fmla="*/ 656 h 764"/>
                <a:gd name="T98" fmla="*/ 338 w 396"/>
                <a:gd name="T99" fmla="*/ 619 h 764"/>
                <a:gd name="T100" fmla="*/ 362 w 396"/>
                <a:gd name="T101" fmla="*/ 576 h 764"/>
                <a:gd name="T102" fmla="*/ 381 w 396"/>
                <a:gd name="T103" fmla="*/ 531 h 764"/>
                <a:gd name="T104" fmla="*/ 392 w 396"/>
                <a:gd name="T105" fmla="*/ 482 h 764"/>
                <a:gd name="T106" fmla="*/ 396 w 396"/>
                <a:gd name="T107" fmla="*/ 431 h 764"/>
                <a:gd name="T108" fmla="*/ 392 w 396"/>
                <a:gd name="T109" fmla="*/ 380 h 764"/>
                <a:gd name="T110" fmla="*/ 381 w 396"/>
                <a:gd name="T111" fmla="*/ 332 h 764"/>
                <a:gd name="T112" fmla="*/ 363 w 396"/>
                <a:gd name="T113" fmla="*/ 287 h 764"/>
                <a:gd name="T114" fmla="*/ 340 w 396"/>
                <a:gd name="T115" fmla="*/ 245 h 764"/>
                <a:gd name="T116" fmla="*/ 310 w 396"/>
                <a:gd name="T117" fmla="*/ 20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 h="764">
                  <a:moveTo>
                    <a:pt x="64" y="739"/>
                  </a:moveTo>
                  <a:lnTo>
                    <a:pt x="64" y="123"/>
                  </a:lnTo>
                  <a:lnTo>
                    <a:pt x="80" y="124"/>
                  </a:lnTo>
                  <a:lnTo>
                    <a:pt x="96" y="125"/>
                  </a:lnTo>
                  <a:lnTo>
                    <a:pt x="111" y="127"/>
                  </a:lnTo>
                  <a:lnTo>
                    <a:pt x="126" y="130"/>
                  </a:lnTo>
                  <a:lnTo>
                    <a:pt x="141" y="134"/>
                  </a:lnTo>
                  <a:lnTo>
                    <a:pt x="156" y="139"/>
                  </a:lnTo>
                  <a:lnTo>
                    <a:pt x="171" y="144"/>
                  </a:lnTo>
                  <a:lnTo>
                    <a:pt x="185" y="149"/>
                  </a:lnTo>
                  <a:lnTo>
                    <a:pt x="198" y="156"/>
                  </a:lnTo>
                  <a:lnTo>
                    <a:pt x="212" y="162"/>
                  </a:lnTo>
                  <a:lnTo>
                    <a:pt x="225" y="170"/>
                  </a:lnTo>
                  <a:lnTo>
                    <a:pt x="237" y="178"/>
                  </a:lnTo>
                  <a:lnTo>
                    <a:pt x="248" y="187"/>
                  </a:lnTo>
                  <a:lnTo>
                    <a:pt x="260" y="196"/>
                  </a:lnTo>
                  <a:lnTo>
                    <a:pt x="271" y="205"/>
                  </a:lnTo>
                  <a:lnTo>
                    <a:pt x="282" y="216"/>
                  </a:lnTo>
                  <a:lnTo>
                    <a:pt x="292" y="226"/>
                  </a:lnTo>
                  <a:lnTo>
                    <a:pt x="301" y="237"/>
                  </a:lnTo>
                  <a:lnTo>
                    <a:pt x="311" y="248"/>
                  </a:lnTo>
                  <a:lnTo>
                    <a:pt x="319" y="261"/>
                  </a:lnTo>
                  <a:lnTo>
                    <a:pt x="327" y="273"/>
                  </a:lnTo>
                  <a:lnTo>
                    <a:pt x="334" y="286"/>
                  </a:lnTo>
                  <a:lnTo>
                    <a:pt x="341" y="299"/>
                  </a:lnTo>
                  <a:lnTo>
                    <a:pt x="347" y="313"/>
                  </a:lnTo>
                  <a:lnTo>
                    <a:pt x="353" y="325"/>
                  </a:lnTo>
                  <a:lnTo>
                    <a:pt x="357" y="339"/>
                  </a:lnTo>
                  <a:lnTo>
                    <a:pt x="361" y="354"/>
                  </a:lnTo>
                  <a:lnTo>
                    <a:pt x="364" y="370"/>
                  </a:lnTo>
                  <a:lnTo>
                    <a:pt x="367" y="383"/>
                  </a:lnTo>
                  <a:lnTo>
                    <a:pt x="369" y="400"/>
                  </a:lnTo>
                  <a:lnTo>
                    <a:pt x="370" y="415"/>
                  </a:lnTo>
                  <a:lnTo>
                    <a:pt x="371" y="431"/>
                  </a:lnTo>
                  <a:lnTo>
                    <a:pt x="370" y="446"/>
                  </a:lnTo>
                  <a:lnTo>
                    <a:pt x="369" y="462"/>
                  </a:lnTo>
                  <a:lnTo>
                    <a:pt x="367" y="477"/>
                  </a:lnTo>
                  <a:lnTo>
                    <a:pt x="364" y="492"/>
                  </a:lnTo>
                  <a:lnTo>
                    <a:pt x="361" y="507"/>
                  </a:lnTo>
                  <a:lnTo>
                    <a:pt x="357" y="521"/>
                  </a:lnTo>
                  <a:lnTo>
                    <a:pt x="353" y="535"/>
                  </a:lnTo>
                  <a:lnTo>
                    <a:pt x="347" y="549"/>
                  </a:lnTo>
                  <a:lnTo>
                    <a:pt x="341" y="563"/>
                  </a:lnTo>
                  <a:lnTo>
                    <a:pt x="334" y="576"/>
                  </a:lnTo>
                  <a:lnTo>
                    <a:pt x="327" y="589"/>
                  </a:lnTo>
                  <a:lnTo>
                    <a:pt x="319" y="600"/>
                  </a:lnTo>
                  <a:lnTo>
                    <a:pt x="311" y="612"/>
                  </a:lnTo>
                  <a:lnTo>
                    <a:pt x="301" y="624"/>
                  </a:lnTo>
                  <a:lnTo>
                    <a:pt x="292" y="635"/>
                  </a:lnTo>
                  <a:lnTo>
                    <a:pt x="282" y="645"/>
                  </a:lnTo>
                  <a:lnTo>
                    <a:pt x="271" y="655"/>
                  </a:lnTo>
                  <a:lnTo>
                    <a:pt x="260" y="665"/>
                  </a:lnTo>
                  <a:lnTo>
                    <a:pt x="248" y="674"/>
                  </a:lnTo>
                  <a:lnTo>
                    <a:pt x="237" y="683"/>
                  </a:lnTo>
                  <a:lnTo>
                    <a:pt x="225" y="691"/>
                  </a:lnTo>
                  <a:lnTo>
                    <a:pt x="212" y="698"/>
                  </a:lnTo>
                  <a:lnTo>
                    <a:pt x="198" y="706"/>
                  </a:lnTo>
                  <a:lnTo>
                    <a:pt x="185" y="711"/>
                  </a:lnTo>
                  <a:lnTo>
                    <a:pt x="171" y="717"/>
                  </a:lnTo>
                  <a:lnTo>
                    <a:pt x="156" y="722"/>
                  </a:lnTo>
                  <a:lnTo>
                    <a:pt x="141" y="727"/>
                  </a:lnTo>
                  <a:lnTo>
                    <a:pt x="126" y="730"/>
                  </a:lnTo>
                  <a:lnTo>
                    <a:pt x="111" y="734"/>
                  </a:lnTo>
                  <a:lnTo>
                    <a:pt x="96" y="736"/>
                  </a:lnTo>
                  <a:lnTo>
                    <a:pt x="80" y="738"/>
                  </a:lnTo>
                  <a:lnTo>
                    <a:pt x="64" y="739"/>
                  </a:lnTo>
                  <a:close/>
                  <a:moveTo>
                    <a:pt x="299" y="196"/>
                  </a:moveTo>
                  <a:lnTo>
                    <a:pt x="343" y="152"/>
                  </a:lnTo>
                  <a:lnTo>
                    <a:pt x="358" y="167"/>
                  </a:lnTo>
                  <a:lnTo>
                    <a:pt x="362" y="170"/>
                  </a:lnTo>
                  <a:lnTo>
                    <a:pt x="367" y="171"/>
                  </a:lnTo>
                  <a:lnTo>
                    <a:pt x="372" y="170"/>
                  </a:lnTo>
                  <a:lnTo>
                    <a:pt x="376" y="167"/>
                  </a:lnTo>
                  <a:lnTo>
                    <a:pt x="378" y="162"/>
                  </a:lnTo>
                  <a:lnTo>
                    <a:pt x="379" y="158"/>
                  </a:lnTo>
                  <a:lnTo>
                    <a:pt x="378" y="153"/>
                  </a:lnTo>
                  <a:lnTo>
                    <a:pt x="376" y="149"/>
                  </a:lnTo>
                  <a:lnTo>
                    <a:pt x="328" y="100"/>
                  </a:lnTo>
                  <a:lnTo>
                    <a:pt x="324" y="98"/>
                  </a:lnTo>
                  <a:lnTo>
                    <a:pt x="319" y="97"/>
                  </a:lnTo>
                  <a:lnTo>
                    <a:pt x="314" y="98"/>
                  </a:lnTo>
                  <a:lnTo>
                    <a:pt x="310" y="100"/>
                  </a:lnTo>
                  <a:lnTo>
                    <a:pt x="308" y="104"/>
                  </a:lnTo>
                  <a:lnTo>
                    <a:pt x="306" y="110"/>
                  </a:lnTo>
                  <a:lnTo>
                    <a:pt x="308" y="114"/>
                  </a:lnTo>
                  <a:lnTo>
                    <a:pt x="310" y="118"/>
                  </a:lnTo>
                  <a:lnTo>
                    <a:pt x="325" y="133"/>
                  </a:lnTo>
                  <a:lnTo>
                    <a:pt x="280" y="179"/>
                  </a:lnTo>
                  <a:lnTo>
                    <a:pt x="269" y="171"/>
                  </a:lnTo>
                  <a:lnTo>
                    <a:pt x="257" y="161"/>
                  </a:lnTo>
                  <a:lnTo>
                    <a:pt x="245" y="154"/>
                  </a:lnTo>
                  <a:lnTo>
                    <a:pt x="233" y="146"/>
                  </a:lnTo>
                  <a:lnTo>
                    <a:pt x="221" y="139"/>
                  </a:lnTo>
                  <a:lnTo>
                    <a:pt x="208" y="132"/>
                  </a:lnTo>
                  <a:lnTo>
                    <a:pt x="195" y="126"/>
                  </a:lnTo>
                  <a:lnTo>
                    <a:pt x="182" y="120"/>
                  </a:lnTo>
                  <a:lnTo>
                    <a:pt x="168" y="115"/>
                  </a:lnTo>
                  <a:lnTo>
                    <a:pt x="154" y="111"/>
                  </a:lnTo>
                  <a:lnTo>
                    <a:pt x="139" y="108"/>
                  </a:lnTo>
                  <a:lnTo>
                    <a:pt x="125" y="103"/>
                  </a:lnTo>
                  <a:lnTo>
                    <a:pt x="110" y="101"/>
                  </a:lnTo>
                  <a:lnTo>
                    <a:pt x="95" y="99"/>
                  </a:lnTo>
                  <a:lnTo>
                    <a:pt x="79" y="98"/>
                  </a:lnTo>
                  <a:lnTo>
                    <a:pt x="64" y="97"/>
                  </a:lnTo>
                  <a:lnTo>
                    <a:pt x="64" y="25"/>
                  </a:lnTo>
                  <a:lnTo>
                    <a:pt x="90" y="25"/>
                  </a:lnTo>
                  <a:lnTo>
                    <a:pt x="94" y="25"/>
                  </a:lnTo>
                  <a:lnTo>
                    <a:pt x="98" y="22"/>
                  </a:lnTo>
                  <a:lnTo>
                    <a:pt x="101" y="17"/>
                  </a:lnTo>
                  <a:lnTo>
                    <a:pt x="102" y="13"/>
                  </a:lnTo>
                  <a:lnTo>
                    <a:pt x="101" y="8"/>
                  </a:lnTo>
                  <a:lnTo>
                    <a:pt x="98" y="3"/>
                  </a:lnTo>
                  <a:lnTo>
                    <a:pt x="94" y="1"/>
                  </a:lnTo>
                  <a:lnTo>
                    <a:pt x="90" y="0"/>
                  </a:lnTo>
                  <a:lnTo>
                    <a:pt x="13" y="0"/>
                  </a:lnTo>
                  <a:lnTo>
                    <a:pt x="8" y="1"/>
                  </a:lnTo>
                  <a:lnTo>
                    <a:pt x="4" y="3"/>
                  </a:lnTo>
                  <a:lnTo>
                    <a:pt x="2" y="8"/>
                  </a:lnTo>
                  <a:lnTo>
                    <a:pt x="0" y="13"/>
                  </a:lnTo>
                  <a:lnTo>
                    <a:pt x="2" y="17"/>
                  </a:lnTo>
                  <a:lnTo>
                    <a:pt x="4" y="22"/>
                  </a:lnTo>
                  <a:lnTo>
                    <a:pt x="8" y="25"/>
                  </a:lnTo>
                  <a:lnTo>
                    <a:pt x="13" y="25"/>
                  </a:lnTo>
                  <a:lnTo>
                    <a:pt x="38" y="25"/>
                  </a:lnTo>
                  <a:lnTo>
                    <a:pt x="38" y="110"/>
                  </a:lnTo>
                  <a:lnTo>
                    <a:pt x="38" y="751"/>
                  </a:lnTo>
                  <a:lnTo>
                    <a:pt x="39" y="756"/>
                  </a:lnTo>
                  <a:lnTo>
                    <a:pt x="42" y="760"/>
                  </a:lnTo>
                  <a:lnTo>
                    <a:pt x="46" y="763"/>
                  </a:lnTo>
                  <a:lnTo>
                    <a:pt x="51" y="764"/>
                  </a:lnTo>
                  <a:lnTo>
                    <a:pt x="69" y="764"/>
                  </a:lnTo>
                  <a:lnTo>
                    <a:pt x="86" y="763"/>
                  </a:lnTo>
                  <a:lnTo>
                    <a:pt x="105" y="760"/>
                  </a:lnTo>
                  <a:lnTo>
                    <a:pt x="122" y="757"/>
                  </a:lnTo>
                  <a:lnTo>
                    <a:pt x="138" y="754"/>
                  </a:lnTo>
                  <a:lnTo>
                    <a:pt x="155" y="750"/>
                  </a:lnTo>
                  <a:lnTo>
                    <a:pt x="171" y="744"/>
                  </a:lnTo>
                  <a:lnTo>
                    <a:pt x="186" y="738"/>
                  </a:lnTo>
                  <a:lnTo>
                    <a:pt x="202" y="731"/>
                  </a:lnTo>
                  <a:lnTo>
                    <a:pt x="216" y="724"/>
                  </a:lnTo>
                  <a:lnTo>
                    <a:pt x="231" y="716"/>
                  </a:lnTo>
                  <a:lnTo>
                    <a:pt x="245" y="708"/>
                  </a:lnTo>
                  <a:lnTo>
                    <a:pt x="258" y="698"/>
                  </a:lnTo>
                  <a:lnTo>
                    <a:pt x="272" y="688"/>
                  </a:lnTo>
                  <a:lnTo>
                    <a:pt x="284" y="679"/>
                  </a:lnTo>
                  <a:lnTo>
                    <a:pt x="296" y="667"/>
                  </a:lnTo>
                  <a:lnTo>
                    <a:pt x="308" y="656"/>
                  </a:lnTo>
                  <a:lnTo>
                    <a:pt x="318" y="643"/>
                  </a:lnTo>
                  <a:lnTo>
                    <a:pt x="328" y="632"/>
                  </a:lnTo>
                  <a:lnTo>
                    <a:pt x="338" y="619"/>
                  </a:lnTo>
                  <a:lnTo>
                    <a:pt x="346" y="605"/>
                  </a:lnTo>
                  <a:lnTo>
                    <a:pt x="355" y="591"/>
                  </a:lnTo>
                  <a:lnTo>
                    <a:pt x="362" y="576"/>
                  </a:lnTo>
                  <a:lnTo>
                    <a:pt x="369" y="562"/>
                  </a:lnTo>
                  <a:lnTo>
                    <a:pt x="375" y="547"/>
                  </a:lnTo>
                  <a:lnTo>
                    <a:pt x="381" y="531"/>
                  </a:lnTo>
                  <a:lnTo>
                    <a:pt x="385" y="514"/>
                  </a:lnTo>
                  <a:lnTo>
                    <a:pt x="389" y="498"/>
                  </a:lnTo>
                  <a:lnTo>
                    <a:pt x="392" y="482"/>
                  </a:lnTo>
                  <a:lnTo>
                    <a:pt x="394" y="465"/>
                  </a:lnTo>
                  <a:lnTo>
                    <a:pt x="396" y="448"/>
                  </a:lnTo>
                  <a:lnTo>
                    <a:pt x="396" y="431"/>
                  </a:lnTo>
                  <a:lnTo>
                    <a:pt x="396" y="414"/>
                  </a:lnTo>
                  <a:lnTo>
                    <a:pt x="394" y="396"/>
                  </a:lnTo>
                  <a:lnTo>
                    <a:pt x="392" y="380"/>
                  </a:lnTo>
                  <a:lnTo>
                    <a:pt x="389" y="363"/>
                  </a:lnTo>
                  <a:lnTo>
                    <a:pt x="386" y="347"/>
                  </a:lnTo>
                  <a:lnTo>
                    <a:pt x="381" y="332"/>
                  </a:lnTo>
                  <a:lnTo>
                    <a:pt x="376" y="316"/>
                  </a:lnTo>
                  <a:lnTo>
                    <a:pt x="370" y="301"/>
                  </a:lnTo>
                  <a:lnTo>
                    <a:pt x="363" y="287"/>
                  </a:lnTo>
                  <a:lnTo>
                    <a:pt x="356" y="272"/>
                  </a:lnTo>
                  <a:lnTo>
                    <a:pt x="348" y="259"/>
                  </a:lnTo>
                  <a:lnTo>
                    <a:pt x="340" y="245"/>
                  </a:lnTo>
                  <a:lnTo>
                    <a:pt x="330" y="232"/>
                  </a:lnTo>
                  <a:lnTo>
                    <a:pt x="320" y="219"/>
                  </a:lnTo>
                  <a:lnTo>
                    <a:pt x="310" y="207"/>
                  </a:lnTo>
                  <a:lnTo>
                    <a:pt x="299"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13" name="Freeform 21">
            <a:extLst>
              <a:ext uri="{FF2B5EF4-FFF2-40B4-BE49-F238E27FC236}">
                <a16:creationId xmlns:a16="http://schemas.microsoft.com/office/drawing/2014/main" id="{E92C7666-8100-4647-8B6B-63E8AB3DADCA}"/>
              </a:ext>
            </a:extLst>
          </p:cNvPr>
          <p:cNvSpPr>
            <a:spLocks noChangeAspect="1" noEditPoints="1"/>
          </p:cNvSpPr>
          <p:nvPr/>
        </p:nvSpPr>
        <p:spPr bwMode="auto">
          <a:xfrm>
            <a:off x="1893567" y="3801969"/>
            <a:ext cx="286260" cy="285619"/>
          </a:xfrm>
          <a:custGeom>
            <a:avLst/>
            <a:gdLst>
              <a:gd name="T0" fmla="*/ 0 w 447"/>
              <a:gd name="T1" fmla="*/ 0 h 446"/>
              <a:gd name="T2" fmla="*/ 0 w 447"/>
              <a:gd name="T3" fmla="*/ 446 h 446"/>
              <a:gd name="T4" fmla="*/ 447 w 447"/>
              <a:gd name="T5" fmla="*/ 446 h 446"/>
              <a:gd name="T6" fmla="*/ 447 w 447"/>
              <a:gd name="T7" fmla="*/ 0 h 446"/>
              <a:gd name="T8" fmla="*/ 0 w 447"/>
              <a:gd name="T9" fmla="*/ 0 h 446"/>
              <a:gd name="T10" fmla="*/ 428 w 447"/>
              <a:gd name="T11" fmla="*/ 19 h 446"/>
              <a:gd name="T12" fmla="*/ 428 w 447"/>
              <a:gd name="T13" fmla="*/ 99 h 446"/>
              <a:gd name="T14" fmla="*/ 306 w 447"/>
              <a:gd name="T15" fmla="*/ 274 h 446"/>
              <a:gd name="T16" fmla="*/ 221 w 447"/>
              <a:gd name="T17" fmla="*/ 208 h 446"/>
              <a:gd name="T18" fmla="*/ 129 w 447"/>
              <a:gd name="T19" fmla="*/ 339 h 446"/>
              <a:gd name="T20" fmla="*/ 73 w 447"/>
              <a:gd name="T21" fmla="*/ 303 h 446"/>
              <a:gd name="T22" fmla="*/ 19 w 447"/>
              <a:gd name="T23" fmla="*/ 366 h 446"/>
              <a:gd name="T24" fmla="*/ 19 w 447"/>
              <a:gd name="T25" fmla="*/ 19 h 446"/>
              <a:gd name="T26" fmla="*/ 428 w 447"/>
              <a:gd name="T27" fmla="*/ 19 h 446"/>
              <a:gd name="T28" fmla="*/ 19 w 447"/>
              <a:gd name="T29" fmla="*/ 427 h 446"/>
              <a:gd name="T30" fmla="*/ 19 w 447"/>
              <a:gd name="T31" fmla="*/ 393 h 446"/>
              <a:gd name="T32" fmla="*/ 76 w 447"/>
              <a:gd name="T33" fmla="*/ 327 h 446"/>
              <a:gd name="T34" fmla="*/ 132 w 447"/>
              <a:gd name="T35" fmla="*/ 364 h 446"/>
              <a:gd name="T36" fmla="*/ 226 w 447"/>
              <a:gd name="T37" fmla="*/ 235 h 446"/>
              <a:gd name="T38" fmla="*/ 309 w 447"/>
              <a:gd name="T39" fmla="*/ 302 h 446"/>
              <a:gd name="T40" fmla="*/ 428 w 447"/>
              <a:gd name="T41" fmla="*/ 131 h 446"/>
              <a:gd name="T42" fmla="*/ 428 w 447"/>
              <a:gd name="T43" fmla="*/ 427 h 446"/>
              <a:gd name="T44" fmla="*/ 19 w 447"/>
              <a:gd name="T45" fmla="*/ 427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7" h="446">
                <a:moveTo>
                  <a:pt x="0" y="0"/>
                </a:moveTo>
                <a:lnTo>
                  <a:pt x="0" y="446"/>
                </a:lnTo>
                <a:lnTo>
                  <a:pt x="447" y="446"/>
                </a:lnTo>
                <a:lnTo>
                  <a:pt x="447" y="0"/>
                </a:lnTo>
                <a:lnTo>
                  <a:pt x="0" y="0"/>
                </a:lnTo>
                <a:close/>
                <a:moveTo>
                  <a:pt x="428" y="19"/>
                </a:moveTo>
                <a:lnTo>
                  <a:pt x="428" y="99"/>
                </a:lnTo>
                <a:lnTo>
                  <a:pt x="306" y="274"/>
                </a:lnTo>
                <a:lnTo>
                  <a:pt x="221" y="208"/>
                </a:lnTo>
                <a:lnTo>
                  <a:pt x="129" y="339"/>
                </a:lnTo>
                <a:lnTo>
                  <a:pt x="73" y="303"/>
                </a:lnTo>
                <a:lnTo>
                  <a:pt x="19" y="366"/>
                </a:lnTo>
                <a:lnTo>
                  <a:pt x="19" y="19"/>
                </a:lnTo>
                <a:lnTo>
                  <a:pt x="428" y="19"/>
                </a:lnTo>
                <a:close/>
                <a:moveTo>
                  <a:pt x="19" y="427"/>
                </a:moveTo>
                <a:lnTo>
                  <a:pt x="19" y="393"/>
                </a:lnTo>
                <a:lnTo>
                  <a:pt x="76" y="327"/>
                </a:lnTo>
                <a:lnTo>
                  <a:pt x="132" y="364"/>
                </a:lnTo>
                <a:lnTo>
                  <a:pt x="226" y="235"/>
                </a:lnTo>
                <a:lnTo>
                  <a:pt x="309" y="302"/>
                </a:lnTo>
                <a:lnTo>
                  <a:pt x="428" y="131"/>
                </a:lnTo>
                <a:lnTo>
                  <a:pt x="428" y="427"/>
                </a:lnTo>
                <a:lnTo>
                  <a:pt x="19" y="427"/>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74" name="Gruppieren 1173">
            <a:extLst>
              <a:ext uri="{FF2B5EF4-FFF2-40B4-BE49-F238E27FC236}">
                <a16:creationId xmlns:a16="http://schemas.microsoft.com/office/drawing/2014/main" id="{F0A65961-7D7B-476D-B121-24C334F01BE0}"/>
              </a:ext>
            </a:extLst>
          </p:cNvPr>
          <p:cNvGrpSpPr>
            <a:grpSpLocks noChangeAspect="1"/>
          </p:cNvGrpSpPr>
          <p:nvPr/>
        </p:nvGrpSpPr>
        <p:grpSpPr>
          <a:xfrm>
            <a:off x="1892910" y="5956111"/>
            <a:ext cx="287575" cy="285619"/>
            <a:chOff x="7391031" y="2480423"/>
            <a:chExt cx="362463" cy="359997"/>
          </a:xfrm>
          <a:solidFill>
            <a:schemeClr val="bg2"/>
          </a:solidFill>
        </p:grpSpPr>
        <p:sp>
          <p:nvSpPr>
            <p:cNvPr id="1178" name="Freeform 6">
              <a:extLst>
                <a:ext uri="{FF2B5EF4-FFF2-40B4-BE49-F238E27FC236}">
                  <a16:creationId xmlns:a16="http://schemas.microsoft.com/office/drawing/2014/main" id="{F95226A1-522C-4D88-9086-E030EF0EF662}"/>
                </a:ext>
              </a:extLst>
            </p:cNvPr>
            <p:cNvSpPr>
              <a:spLocks/>
            </p:cNvSpPr>
            <p:nvPr/>
          </p:nvSpPr>
          <p:spPr bwMode="auto">
            <a:xfrm>
              <a:off x="7447912" y="2480423"/>
              <a:ext cx="305582" cy="272093"/>
            </a:xfrm>
            <a:custGeom>
              <a:avLst/>
              <a:gdLst>
                <a:gd name="T0" fmla="*/ 582 w 586"/>
                <a:gd name="T1" fmla="*/ 3 h 522"/>
                <a:gd name="T2" fmla="*/ 580 w 586"/>
                <a:gd name="T3" fmla="*/ 1 h 522"/>
                <a:gd name="T4" fmla="*/ 576 w 586"/>
                <a:gd name="T5" fmla="*/ 0 h 522"/>
                <a:gd name="T6" fmla="*/ 574 w 586"/>
                <a:gd name="T7" fmla="*/ 0 h 522"/>
                <a:gd name="T8" fmla="*/ 572 w 586"/>
                <a:gd name="T9" fmla="*/ 0 h 522"/>
                <a:gd name="T10" fmla="*/ 567 w 586"/>
                <a:gd name="T11" fmla="*/ 1 h 522"/>
                <a:gd name="T12" fmla="*/ 564 w 586"/>
                <a:gd name="T13" fmla="*/ 4 h 522"/>
                <a:gd name="T14" fmla="*/ 165 w 586"/>
                <a:gd name="T15" fmla="*/ 491 h 522"/>
                <a:gd name="T16" fmla="*/ 22 w 586"/>
                <a:gd name="T17" fmla="*/ 347 h 522"/>
                <a:gd name="T18" fmla="*/ 18 w 586"/>
                <a:gd name="T19" fmla="*/ 343 h 522"/>
                <a:gd name="T20" fmla="*/ 13 w 586"/>
                <a:gd name="T21" fmla="*/ 343 h 522"/>
                <a:gd name="T22" fmla="*/ 9 w 586"/>
                <a:gd name="T23" fmla="*/ 343 h 522"/>
                <a:gd name="T24" fmla="*/ 4 w 586"/>
                <a:gd name="T25" fmla="*/ 347 h 522"/>
                <a:gd name="T26" fmla="*/ 1 w 586"/>
                <a:gd name="T27" fmla="*/ 351 h 522"/>
                <a:gd name="T28" fmla="*/ 0 w 586"/>
                <a:gd name="T29" fmla="*/ 356 h 522"/>
                <a:gd name="T30" fmla="*/ 1 w 586"/>
                <a:gd name="T31" fmla="*/ 361 h 522"/>
                <a:gd name="T32" fmla="*/ 4 w 586"/>
                <a:gd name="T33" fmla="*/ 365 h 522"/>
                <a:gd name="T34" fmla="*/ 157 w 586"/>
                <a:gd name="T35" fmla="*/ 517 h 522"/>
                <a:gd name="T36" fmla="*/ 161 w 586"/>
                <a:gd name="T37" fmla="*/ 521 h 522"/>
                <a:gd name="T38" fmla="*/ 166 w 586"/>
                <a:gd name="T39" fmla="*/ 522 h 522"/>
                <a:gd name="T40" fmla="*/ 166 w 586"/>
                <a:gd name="T41" fmla="*/ 522 h 522"/>
                <a:gd name="T42" fmla="*/ 166 w 586"/>
                <a:gd name="T43" fmla="*/ 522 h 522"/>
                <a:gd name="T44" fmla="*/ 172 w 586"/>
                <a:gd name="T45" fmla="*/ 521 h 522"/>
                <a:gd name="T46" fmla="*/ 176 w 586"/>
                <a:gd name="T47" fmla="*/ 517 h 522"/>
                <a:gd name="T48" fmla="*/ 583 w 586"/>
                <a:gd name="T49" fmla="*/ 21 h 522"/>
                <a:gd name="T50" fmla="*/ 585 w 586"/>
                <a:gd name="T51" fmla="*/ 16 h 522"/>
                <a:gd name="T52" fmla="*/ 586 w 586"/>
                <a:gd name="T53" fmla="*/ 11 h 522"/>
                <a:gd name="T54" fmla="*/ 585 w 586"/>
                <a:gd name="T55" fmla="*/ 6 h 522"/>
                <a:gd name="T56" fmla="*/ 582 w 586"/>
                <a:gd name="T57" fmla="*/ 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6" h="522">
                  <a:moveTo>
                    <a:pt x="582" y="3"/>
                  </a:moveTo>
                  <a:lnTo>
                    <a:pt x="580" y="1"/>
                  </a:lnTo>
                  <a:lnTo>
                    <a:pt x="576" y="0"/>
                  </a:lnTo>
                  <a:lnTo>
                    <a:pt x="574" y="0"/>
                  </a:lnTo>
                  <a:lnTo>
                    <a:pt x="572" y="0"/>
                  </a:lnTo>
                  <a:lnTo>
                    <a:pt x="567" y="1"/>
                  </a:lnTo>
                  <a:lnTo>
                    <a:pt x="564" y="4"/>
                  </a:lnTo>
                  <a:lnTo>
                    <a:pt x="165" y="491"/>
                  </a:lnTo>
                  <a:lnTo>
                    <a:pt x="22" y="347"/>
                  </a:lnTo>
                  <a:lnTo>
                    <a:pt x="18" y="343"/>
                  </a:lnTo>
                  <a:lnTo>
                    <a:pt x="13" y="343"/>
                  </a:lnTo>
                  <a:lnTo>
                    <a:pt x="9" y="343"/>
                  </a:lnTo>
                  <a:lnTo>
                    <a:pt x="4" y="347"/>
                  </a:lnTo>
                  <a:lnTo>
                    <a:pt x="1" y="351"/>
                  </a:lnTo>
                  <a:lnTo>
                    <a:pt x="0" y="356"/>
                  </a:lnTo>
                  <a:lnTo>
                    <a:pt x="1" y="361"/>
                  </a:lnTo>
                  <a:lnTo>
                    <a:pt x="4" y="365"/>
                  </a:lnTo>
                  <a:lnTo>
                    <a:pt x="157" y="517"/>
                  </a:lnTo>
                  <a:lnTo>
                    <a:pt x="161" y="521"/>
                  </a:lnTo>
                  <a:lnTo>
                    <a:pt x="166" y="522"/>
                  </a:lnTo>
                  <a:lnTo>
                    <a:pt x="166" y="522"/>
                  </a:lnTo>
                  <a:lnTo>
                    <a:pt x="166" y="522"/>
                  </a:lnTo>
                  <a:lnTo>
                    <a:pt x="172" y="521"/>
                  </a:lnTo>
                  <a:lnTo>
                    <a:pt x="176" y="517"/>
                  </a:lnTo>
                  <a:lnTo>
                    <a:pt x="583" y="21"/>
                  </a:lnTo>
                  <a:lnTo>
                    <a:pt x="585" y="16"/>
                  </a:lnTo>
                  <a:lnTo>
                    <a:pt x="586" y="11"/>
                  </a:lnTo>
                  <a:lnTo>
                    <a:pt x="585" y="6"/>
                  </a:lnTo>
                  <a:lnTo>
                    <a:pt x="5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7">
              <a:extLst>
                <a:ext uri="{FF2B5EF4-FFF2-40B4-BE49-F238E27FC236}">
                  <a16:creationId xmlns:a16="http://schemas.microsoft.com/office/drawing/2014/main" id="{E1F60F28-E86F-44DA-8B62-18CFAD912764}"/>
                </a:ext>
              </a:extLst>
            </p:cNvPr>
            <p:cNvSpPr>
              <a:spLocks/>
            </p:cNvSpPr>
            <p:nvPr/>
          </p:nvSpPr>
          <p:spPr bwMode="auto">
            <a:xfrm>
              <a:off x="7391031" y="2480423"/>
              <a:ext cx="362463" cy="359997"/>
            </a:xfrm>
            <a:custGeom>
              <a:avLst/>
              <a:gdLst>
                <a:gd name="T0" fmla="*/ 598 w 611"/>
                <a:gd name="T1" fmla="*/ 233 h 611"/>
                <a:gd name="T2" fmla="*/ 593 w 611"/>
                <a:gd name="T3" fmla="*/ 233 h 611"/>
                <a:gd name="T4" fmla="*/ 590 w 611"/>
                <a:gd name="T5" fmla="*/ 236 h 611"/>
                <a:gd name="T6" fmla="*/ 586 w 611"/>
                <a:gd name="T7" fmla="*/ 241 h 611"/>
                <a:gd name="T8" fmla="*/ 585 w 611"/>
                <a:gd name="T9" fmla="*/ 245 h 611"/>
                <a:gd name="T10" fmla="*/ 585 w 611"/>
                <a:gd name="T11" fmla="*/ 585 h 611"/>
                <a:gd name="T12" fmla="*/ 25 w 611"/>
                <a:gd name="T13" fmla="*/ 585 h 611"/>
                <a:gd name="T14" fmla="*/ 25 w 611"/>
                <a:gd name="T15" fmla="*/ 25 h 611"/>
                <a:gd name="T16" fmla="*/ 430 w 611"/>
                <a:gd name="T17" fmla="*/ 25 h 611"/>
                <a:gd name="T18" fmla="*/ 435 w 611"/>
                <a:gd name="T19" fmla="*/ 24 h 611"/>
                <a:gd name="T20" fmla="*/ 439 w 611"/>
                <a:gd name="T21" fmla="*/ 22 h 611"/>
                <a:gd name="T22" fmla="*/ 441 w 611"/>
                <a:gd name="T23" fmla="*/ 17 h 611"/>
                <a:gd name="T24" fmla="*/ 442 w 611"/>
                <a:gd name="T25" fmla="*/ 12 h 611"/>
                <a:gd name="T26" fmla="*/ 441 w 611"/>
                <a:gd name="T27" fmla="*/ 8 h 611"/>
                <a:gd name="T28" fmla="*/ 439 w 611"/>
                <a:gd name="T29" fmla="*/ 3 h 611"/>
                <a:gd name="T30" fmla="*/ 435 w 611"/>
                <a:gd name="T31" fmla="*/ 1 h 611"/>
                <a:gd name="T32" fmla="*/ 430 w 611"/>
                <a:gd name="T33" fmla="*/ 0 h 611"/>
                <a:gd name="T34" fmla="*/ 12 w 611"/>
                <a:gd name="T35" fmla="*/ 0 h 611"/>
                <a:gd name="T36" fmla="*/ 8 w 611"/>
                <a:gd name="T37" fmla="*/ 1 h 611"/>
                <a:gd name="T38" fmla="*/ 3 w 611"/>
                <a:gd name="T39" fmla="*/ 3 h 611"/>
                <a:gd name="T40" fmla="*/ 1 w 611"/>
                <a:gd name="T41" fmla="*/ 8 h 611"/>
                <a:gd name="T42" fmla="*/ 0 w 611"/>
                <a:gd name="T43" fmla="*/ 12 h 611"/>
                <a:gd name="T44" fmla="*/ 0 w 611"/>
                <a:gd name="T45" fmla="*/ 598 h 611"/>
                <a:gd name="T46" fmla="*/ 1 w 611"/>
                <a:gd name="T47" fmla="*/ 603 h 611"/>
                <a:gd name="T48" fmla="*/ 3 w 611"/>
                <a:gd name="T49" fmla="*/ 608 h 611"/>
                <a:gd name="T50" fmla="*/ 8 w 611"/>
                <a:gd name="T51" fmla="*/ 610 h 611"/>
                <a:gd name="T52" fmla="*/ 12 w 611"/>
                <a:gd name="T53" fmla="*/ 611 h 611"/>
                <a:gd name="T54" fmla="*/ 598 w 611"/>
                <a:gd name="T55" fmla="*/ 611 h 611"/>
                <a:gd name="T56" fmla="*/ 604 w 611"/>
                <a:gd name="T57" fmla="*/ 610 h 611"/>
                <a:gd name="T58" fmla="*/ 607 w 611"/>
                <a:gd name="T59" fmla="*/ 608 h 611"/>
                <a:gd name="T60" fmla="*/ 610 w 611"/>
                <a:gd name="T61" fmla="*/ 603 h 611"/>
                <a:gd name="T62" fmla="*/ 611 w 611"/>
                <a:gd name="T63" fmla="*/ 598 h 611"/>
                <a:gd name="T64" fmla="*/ 611 w 611"/>
                <a:gd name="T65" fmla="*/ 245 h 611"/>
                <a:gd name="T66" fmla="*/ 610 w 611"/>
                <a:gd name="T67" fmla="*/ 241 h 611"/>
                <a:gd name="T68" fmla="*/ 607 w 611"/>
                <a:gd name="T69" fmla="*/ 236 h 611"/>
                <a:gd name="T70" fmla="*/ 604 w 611"/>
                <a:gd name="T71" fmla="*/ 233 h 611"/>
                <a:gd name="T72" fmla="*/ 598 w 611"/>
                <a:gd name="T73" fmla="*/ 23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1" h="611">
                  <a:moveTo>
                    <a:pt x="598" y="233"/>
                  </a:moveTo>
                  <a:lnTo>
                    <a:pt x="593" y="233"/>
                  </a:lnTo>
                  <a:lnTo>
                    <a:pt x="590" y="236"/>
                  </a:lnTo>
                  <a:lnTo>
                    <a:pt x="586" y="241"/>
                  </a:lnTo>
                  <a:lnTo>
                    <a:pt x="585" y="245"/>
                  </a:lnTo>
                  <a:lnTo>
                    <a:pt x="585" y="585"/>
                  </a:lnTo>
                  <a:lnTo>
                    <a:pt x="25" y="585"/>
                  </a:lnTo>
                  <a:lnTo>
                    <a:pt x="25" y="25"/>
                  </a:lnTo>
                  <a:lnTo>
                    <a:pt x="430" y="25"/>
                  </a:lnTo>
                  <a:lnTo>
                    <a:pt x="435" y="24"/>
                  </a:lnTo>
                  <a:lnTo>
                    <a:pt x="439" y="22"/>
                  </a:lnTo>
                  <a:lnTo>
                    <a:pt x="441" y="17"/>
                  </a:lnTo>
                  <a:lnTo>
                    <a:pt x="442" y="12"/>
                  </a:lnTo>
                  <a:lnTo>
                    <a:pt x="441" y="8"/>
                  </a:lnTo>
                  <a:lnTo>
                    <a:pt x="439" y="3"/>
                  </a:lnTo>
                  <a:lnTo>
                    <a:pt x="435" y="1"/>
                  </a:lnTo>
                  <a:lnTo>
                    <a:pt x="430" y="0"/>
                  </a:lnTo>
                  <a:lnTo>
                    <a:pt x="12" y="0"/>
                  </a:lnTo>
                  <a:lnTo>
                    <a:pt x="8" y="1"/>
                  </a:lnTo>
                  <a:lnTo>
                    <a:pt x="3" y="3"/>
                  </a:lnTo>
                  <a:lnTo>
                    <a:pt x="1" y="8"/>
                  </a:lnTo>
                  <a:lnTo>
                    <a:pt x="0" y="12"/>
                  </a:lnTo>
                  <a:lnTo>
                    <a:pt x="0" y="598"/>
                  </a:lnTo>
                  <a:lnTo>
                    <a:pt x="1" y="603"/>
                  </a:lnTo>
                  <a:lnTo>
                    <a:pt x="3" y="608"/>
                  </a:lnTo>
                  <a:lnTo>
                    <a:pt x="8" y="610"/>
                  </a:lnTo>
                  <a:lnTo>
                    <a:pt x="12" y="611"/>
                  </a:lnTo>
                  <a:lnTo>
                    <a:pt x="598" y="611"/>
                  </a:lnTo>
                  <a:lnTo>
                    <a:pt x="604" y="610"/>
                  </a:lnTo>
                  <a:lnTo>
                    <a:pt x="607" y="608"/>
                  </a:lnTo>
                  <a:lnTo>
                    <a:pt x="610" y="603"/>
                  </a:lnTo>
                  <a:lnTo>
                    <a:pt x="611" y="598"/>
                  </a:lnTo>
                  <a:lnTo>
                    <a:pt x="611" y="245"/>
                  </a:lnTo>
                  <a:lnTo>
                    <a:pt x="610" y="241"/>
                  </a:lnTo>
                  <a:lnTo>
                    <a:pt x="607" y="236"/>
                  </a:lnTo>
                  <a:lnTo>
                    <a:pt x="604" y="233"/>
                  </a:lnTo>
                  <a:lnTo>
                    <a:pt x="598"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0" name="Group 43">
            <a:extLst>
              <a:ext uri="{FF2B5EF4-FFF2-40B4-BE49-F238E27FC236}">
                <a16:creationId xmlns:a16="http://schemas.microsoft.com/office/drawing/2014/main" id="{34B5AC36-BF2A-44F4-8173-88FC60C0BB98}"/>
              </a:ext>
            </a:extLst>
          </p:cNvPr>
          <p:cNvGrpSpPr>
            <a:grpSpLocks noChangeAspect="1"/>
          </p:cNvGrpSpPr>
          <p:nvPr/>
        </p:nvGrpSpPr>
        <p:grpSpPr>
          <a:xfrm>
            <a:off x="2736259" y="2186361"/>
            <a:ext cx="285618" cy="285619"/>
            <a:chOff x="1458913" y="785813"/>
            <a:chExt cx="285750" cy="285751"/>
          </a:xfrm>
          <a:solidFill>
            <a:schemeClr val="bg2"/>
          </a:solidFill>
          <a:effectLst/>
        </p:grpSpPr>
        <p:sp>
          <p:nvSpPr>
            <p:cNvPr id="461" name="Freeform 186">
              <a:extLst>
                <a:ext uri="{FF2B5EF4-FFF2-40B4-BE49-F238E27FC236}">
                  <a16:creationId xmlns:a16="http://schemas.microsoft.com/office/drawing/2014/main" id="{4BA9D21F-9EEA-4047-97B8-C18C5ED5300D}"/>
                </a:ext>
              </a:extLst>
            </p:cNvPr>
            <p:cNvSpPr>
              <a:spLocks noEditPoints="1"/>
            </p:cNvSpPr>
            <p:nvPr/>
          </p:nvSpPr>
          <p:spPr bwMode="auto">
            <a:xfrm>
              <a:off x="1641475" y="944563"/>
              <a:ext cx="46038" cy="46038"/>
            </a:xfrm>
            <a:custGeom>
              <a:avLst/>
              <a:gdLst>
                <a:gd name="T0" fmla="*/ 65 w 145"/>
                <a:gd name="T1" fmla="*/ 114 h 145"/>
                <a:gd name="T2" fmla="*/ 50 w 145"/>
                <a:gd name="T3" fmla="*/ 107 h 145"/>
                <a:gd name="T4" fmla="*/ 38 w 145"/>
                <a:gd name="T5" fmla="*/ 96 h 145"/>
                <a:gd name="T6" fmla="*/ 32 w 145"/>
                <a:gd name="T7" fmla="*/ 81 h 145"/>
                <a:gd name="T8" fmla="*/ 32 w 145"/>
                <a:gd name="T9" fmla="*/ 63 h 145"/>
                <a:gd name="T10" fmla="*/ 38 w 145"/>
                <a:gd name="T11" fmla="*/ 48 h 145"/>
                <a:gd name="T12" fmla="*/ 50 w 145"/>
                <a:gd name="T13" fmla="*/ 38 h 145"/>
                <a:gd name="T14" fmla="*/ 65 w 145"/>
                <a:gd name="T15" fmla="*/ 31 h 145"/>
                <a:gd name="T16" fmla="*/ 82 w 145"/>
                <a:gd name="T17" fmla="*/ 31 h 145"/>
                <a:gd name="T18" fmla="*/ 97 w 145"/>
                <a:gd name="T19" fmla="*/ 38 h 145"/>
                <a:gd name="T20" fmla="*/ 109 w 145"/>
                <a:gd name="T21" fmla="*/ 48 h 145"/>
                <a:gd name="T22" fmla="*/ 114 w 145"/>
                <a:gd name="T23" fmla="*/ 63 h 145"/>
                <a:gd name="T24" fmla="*/ 114 w 145"/>
                <a:gd name="T25" fmla="*/ 81 h 145"/>
                <a:gd name="T26" fmla="*/ 109 w 145"/>
                <a:gd name="T27" fmla="*/ 96 h 145"/>
                <a:gd name="T28" fmla="*/ 97 w 145"/>
                <a:gd name="T29" fmla="*/ 107 h 145"/>
                <a:gd name="T30" fmla="*/ 82 w 145"/>
                <a:gd name="T31" fmla="*/ 114 h 145"/>
                <a:gd name="T32" fmla="*/ 73 w 145"/>
                <a:gd name="T33" fmla="*/ 115 h 145"/>
                <a:gd name="T34" fmla="*/ 66 w 145"/>
                <a:gd name="T35" fmla="*/ 0 h 145"/>
                <a:gd name="T36" fmla="*/ 52 w 145"/>
                <a:gd name="T37" fmla="*/ 4 h 145"/>
                <a:gd name="T38" fmla="*/ 39 w 145"/>
                <a:gd name="T39" fmla="*/ 9 h 145"/>
                <a:gd name="T40" fmla="*/ 27 w 145"/>
                <a:gd name="T41" fmla="*/ 16 h 145"/>
                <a:gd name="T42" fmla="*/ 18 w 145"/>
                <a:gd name="T43" fmla="*/ 26 h 145"/>
                <a:gd name="T44" fmla="*/ 10 w 145"/>
                <a:gd name="T45" fmla="*/ 38 h 145"/>
                <a:gd name="T46" fmla="*/ 5 w 145"/>
                <a:gd name="T47" fmla="*/ 51 h 145"/>
                <a:gd name="T48" fmla="*/ 2 w 145"/>
                <a:gd name="T49" fmla="*/ 65 h 145"/>
                <a:gd name="T50" fmla="*/ 2 w 145"/>
                <a:gd name="T51" fmla="*/ 80 h 145"/>
                <a:gd name="T52" fmla="*/ 5 w 145"/>
                <a:gd name="T53" fmla="*/ 93 h 145"/>
                <a:gd name="T54" fmla="*/ 10 w 145"/>
                <a:gd name="T55" fmla="*/ 106 h 145"/>
                <a:gd name="T56" fmla="*/ 18 w 145"/>
                <a:gd name="T57" fmla="*/ 118 h 145"/>
                <a:gd name="T58" fmla="*/ 27 w 145"/>
                <a:gd name="T59" fmla="*/ 128 h 145"/>
                <a:gd name="T60" fmla="*/ 39 w 145"/>
                <a:gd name="T61" fmla="*/ 136 h 145"/>
                <a:gd name="T62" fmla="*/ 52 w 145"/>
                <a:gd name="T63" fmla="*/ 142 h 145"/>
                <a:gd name="T64" fmla="*/ 66 w 145"/>
                <a:gd name="T65" fmla="*/ 144 h 145"/>
                <a:gd name="T66" fmla="*/ 81 w 145"/>
                <a:gd name="T67" fmla="*/ 144 h 145"/>
                <a:gd name="T68" fmla="*/ 95 w 145"/>
                <a:gd name="T69" fmla="*/ 142 h 145"/>
                <a:gd name="T70" fmla="*/ 107 w 145"/>
                <a:gd name="T71" fmla="*/ 136 h 145"/>
                <a:gd name="T72" fmla="*/ 119 w 145"/>
                <a:gd name="T73" fmla="*/ 128 h 145"/>
                <a:gd name="T74" fmla="*/ 129 w 145"/>
                <a:gd name="T75" fmla="*/ 118 h 145"/>
                <a:gd name="T76" fmla="*/ 136 w 145"/>
                <a:gd name="T77" fmla="*/ 106 h 145"/>
                <a:gd name="T78" fmla="*/ 142 w 145"/>
                <a:gd name="T79" fmla="*/ 93 h 145"/>
                <a:gd name="T80" fmla="*/ 145 w 145"/>
                <a:gd name="T81" fmla="*/ 80 h 145"/>
                <a:gd name="T82" fmla="*/ 145 w 145"/>
                <a:gd name="T83" fmla="*/ 65 h 145"/>
                <a:gd name="T84" fmla="*/ 142 w 145"/>
                <a:gd name="T85" fmla="*/ 51 h 145"/>
                <a:gd name="T86" fmla="*/ 136 w 145"/>
                <a:gd name="T87" fmla="*/ 38 h 145"/>
                <a:gd name="T88" fmla="*/ 129 w 145"/>
                <a:gd name="T89" fmla="*/ 26 h 145"/>
                <a:gd name="T90" fmla="*/ 119 w 145"/>
                <a:gd name="T91" fmla="*/ 16 h 145"/>
                <a:gd name="T92" fmla="*/ 107 w 145"/>
                <a:gd name="T93" fmla="*/ 9 h 145"/>
                <a:gd name="T94" fmla="*/ 95 w 145"/>
                <a:gd name="T95" fmla="*/ 4 h 145"/>
                <a:gd name="T96" fmla="*/ 81 w 145"/>
                <a:gd name="T9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145">
                  <a:moveTo>
                    <a:pt x="73" y="115"/>
                  </a:moveTo>
                  <a:lnTo>
                    <a:pt x="65" y="114"/>
                  </a:lnTo>
                  <a:lnTo>
                    <a:pt x="57" y="112"/>
                  </a:lnTo>
                  <a:lnTo>
                    <a:pt x="50" y="107"/>
                  </a:lnTo>
                  <a:lnTo>
                    <a:pt x="43" y="102"/>
                  </a:lnTo>
                  <a:lnTo>
                    <a:pt x="38" y="96"/>
                  </a:lnTo>
                  <a:lnTo>
                    <a:pt x="35" y="89"/>
                  </a:lnTo>
                  <a:lnTo>
                    <a:pt x="32" y="81"/>
                  </a:lnTo>
                  <a:lnTo>
                    <a:pt x="32" y="72"/>
                  </a:lnTo>
                  <a:lnTo>
                    <a:pt x="32" y="63"/>
                  </a:lnTo>
                  <a:lnTo>
                    <a:pt x="35" y="56"/>
                  </a:lnTo>
                  <a:lnTo>
                    <a:pt x="38" y="48"/>
                  </a:lnTo>
                  <a:lnTo>
                    <a:pt x="43" y="42"/>
                  </a:lnTo>
                  <a:lnTo>
                    <a:pt x="50" y="38"/>
                  </a:lnTo>
                  <a:lnTo>
                    <a:pt x="57" y="33"/>
                  </a:lnTo>
                  <a:lnTo>
                    <a:pt x="65" y="31"/>
                  </a:lnTo>
                  <a:lnTo>
                    <a:pt x="73" y="30"/>
                  </a:lnTo>
                  <a:lnTo>
                    <a:pt x="82" y="31"/>
                  </a:lnTo>
                  <a:lnTo>
                    <a:pt x="89" y="33"/>
                  </a:lnTo>
                  <a:lnTo>
                    <a:pt x="97" y="38"/>
                  </a:lnTo>
                  <a:lnTo>
                    <a:pt x="103" y="42"/>
                  </a:lnTo>
                  <a:lnTo>
                    <a:pt x="109" y="48"/>
                  </a:lnTo>
                  <a:lnTo>
                    <a:pt x="112" y="56"/>
                  </a:lnTo>
                  <a:lnTo>
                    <a:pt x="114" y="63"/>
                  </a:lnTo>
                  <a:lnTo>
                    <a:pt x="115" y="72"/>
                  </a:lnTo>
                  <a:lnTo>
                    <a:pt x="114" y="81"/>
                  </a:lnTo>
                  <a:lnTo>
                    <a:pt x="112" y="89"/>
                  </a:lnTo>
                  <a:lnTo>
                    <a:pt x="109" y="96"/>
                  </a:lnTo>
                  <a:lnTo>
                    <a:pt x="103" y="102"/>
                  </a:lnTo>
                  <a:lnTo>
                    <a:pt x="97" y="107"/>
                  </a:lnTo>
                  <a:lnTo>
                    <a:pt x="89" y="112"/>
                  </a:lnTo>
                  <a:lnTo>
                    <a:pt x="82" y="114"/>
                  </a:lnTo>
                  <a:lnTo>
                    <a:pt x="73" y="115"/>
                  </a:lnTo>
                  <a:lnTo>
                    <a:pt x="73" y="115"/>
                  </a:lnTo>
                  <a:close/>
                  <a:moveTo>
                    <a:pt x="73" y="0"/>
                  </a:moveTo>
                  <a:lnTo>
                    <a:pt x="66" y="0"/>
                  </a:lnTo>
                  <a:lnTo>
                    <a:pt x="58" y="1"/>
                  </a:lnTo>
                  <a:lnTo>
                    <a:pt x="52" y="4"/>
                  </a:lnTo>
                  <a:lnTo>
                    <a:pt x="45" y="6"/>
                  </a:lnTo>
                  <a:lnTo>
                    <a:pt x="39" y="9"/>
                  </a:lnTo>
                  <a:lnTo>
                    <a:pt x="33" y="12"/>
                  </a:lnTo>
                  <a:lnTo>
                    <a:pt x="27" y="16"/>
                  </a:lnTo>
                  <a:lnTo>
                    <a:pt x="22" y="22"/>
                  </a:lnTo>
                  <a:lnTo>
                    <a:pt x="18" y="26"/>
                  </a:lnTo>
                  <a:lnTo>
                    <a:pt x="13" y="32"/>
                  </a:lnTo>
                  <a:lnTo>
                    <a:pt x="10" y="38"/>
                  </a:lnTo>
                  <a:lnTo>
                    <a:pt x="7" y="44"/>
                  </a:lnTo>
                  <a:lnTo>
                    <a:pt x="5" y="51"/>
                  </a:lnTo>
                  <a:lnTo>
                    <a:pt x="3" y="58"/>
                  </a:lnTo>
                  <a:lnTo>
                    <a:pt x="2" y="65"/>
                  </a:lnTo>
                  <a:lnTo>
                    <a:pt x="0" y="72"/>
                  </a:lnTo>
                  <a:lnTo>
                    <a:pt x="2" y="80"/>
                  </a:lnTo>
                  <a:lnTo>
                    <a:pt x="3" y="87"/>
                  </a:lnTo>
                  <a:lnTo>
                    <a:pt x="5" y="93"/>
                  </a:lnTo>
                  <a:lnTo>
                    <a:pt x="7" y="100"/>
                  </a:lnTo>
                  <a:lnTo>
                    <a:pt x="10" y="106"/>
                  </a:lnTo>
                  <a:lnTo>
                    <a:pt x="13" y="113"/>
                  </a:lnTo>
                  <a:lnTo>
                    <a:pt x="18" y="118"/>
                  </a:lnTo>
                  <a:lnTo>
                    <a:pt x="22" y="123"/>
                  </a:lnTo>
                  <a:lnTo>
                    <a:pt x="27" y="128"/>
                  </a:lnTo>
                  <a:lnTo>
                    <a:pt x="33" y="132"/>
                  </a:lnTo>
                  <a:lnTo>
                    <a:pt x="39" y="136"/>
                  </a:lnTo>
                  <a:lnTo>
                    <a:pt x="45" y="138"/>
                  </a:lnTo>
                  <a:lnTo>
                    <a:pt x="52" y="142"/>
                  </a:lnTo>
                  <a:lnTo>
                    <a:pt x="58" y="143"/>
                  </a:lnTo>
                  <a:lnTo>
                    <a:pt x="66" y="144"/>
                  </a:lnTo>
                  <a:lnTo>
                    <a:pt x="73" y="145"/>
                  </a:lnTo>
                  <a:lnTo>
                    <a:pt x="81" y="144"/>
                  </a:lnTo>
                  <a:lnTo>
                    <a:pt x="87" y="143"/>
                  </a:lnTo>
                  <a:lnTo>
                    <a:pt x="95" y="142"/>
                  </a:lnTo>
                  <a:lnTo>
                    <a:pt x="101" y="138"/>
                  </a:lnTo>
                  <a:lnTo>
                    <a:pt x="107" y="136"/>
                  </a:lnTo>
                  <a:lnTo>
                    <a:pt x="114" y="132"/>
                  </a:lnTo>
                  <a:lnTo>
                    <a:pt x="119" y="128"/>
                  </a:lnTo>
                  <a:lnTo>
                    <a:pt x="125" y="123"/>
                  </a:lnTo>
                  <a:lnTo>
                    <a:pt x="129" y="118"/>
                  </a:lnTo>
                  <a:lnTo>
                    <a:pt x="133" y="113"/>
                  </a:lnTo>
                  <a:lnTo>
                    <a:pt x="136" y="106"/>
                  </a:lnTo>
                  <a:lnTo>
                    <a:pt x="140" y="100"/>
                  </a:lnTo>
                  <a:lnTo>
                    <a:pt x="142" y="93"/>
                  </a:lnTo>
                  <a:lnTo>
                    <a:pt x="144" y="87"/>
                  </a:lnTo>
                  <a:lnTo>
                    <a:pt x="145" y="80"/>
                  </a:lnTo>
                  <a:lnTo>
                    <a:pt x="145" y="72"/>
                  </a:lnTo>
                  <a:lnTo>
                    <a:pt x="145" y="65"/>
                  </a:lnTo>
                  <a:lnTo>
                    <a:pt x="144" y="58"/>
                  </a:lnTo>
                  <a:lnTo>
                    <a:pt x="142" y="51"/>
                  </a:lnTo>
                  <a:lnTo>
                    <a:pt x="140" y="44"/>
                  </a:lnTo>
                  <a:lnTo>
                    <a:pt x="136" y="38"/>
                  </a:lnTo>
                  <a:lnTo>
                    <a:pt x="133" y="32"/>
                  </a:lnTo>
                  <a:lnTo>
                    <a:pt x="129" y="26"/>
                  </a:lnTo>
                  <a:lnTo>
                    <a:pt x="125" y="22"/>
                  </a:lnTo>
                  <a:lnTo>
                    <a:pt x="119" y="16"/>
                  </a:lnTo>
                  <a:lnTo>
                    <a:pt x="114" y="12"/>
                  </a:lnTo>
                  <a:lnTo>
                    <a:pt x="107" y="9"/>
                  </a:lnTo>
                  <a:lnTo>
                    <a:pt x="101" y="6"/>
                  </a:lnTo>
                  <a:lnTo>
                    <a:pt x="95" y="4"/>
                  </a:lnTo>
                  <a:lnTo>
                    <a:pt x="87" y="1"/>
                  </a:lnTo>
                  <a:lnTo>
                    <a:pt x="81" y="0"/>
                  </a:lnTo>
                  <a:lnTo>
                    <a:pt x="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2" name="Freeform 187">
              <a:extLst>
                <a:ext uri="{FF2B5EF4-FFF2-40B4-BE49-F238E27FC236}">
                  <a16:creationId xmlns:a16="http://schemas.microsoft.com/office/drawing/2014/main" id="{5E09C198-7160-40FC-A792-83B2D7177051}"/>
                </a:ext>
              </a:extLst>
            </p:cNvPr>
            <p:cNvSpPr>
              <a:spLocks noEditPoints="1"/>
            </p:cNvSpPr>
            <p:nvPr/>
          </p:nvSpPr>
          <p:spPr bwMode="auto">
            <a:xfrm>
              <a:off x="1608138" y="971551"/>
              <a:ext cx="23813" cy="23813"/>
            </a:xfrm>
            <a:custGeom>
              <a:avLst/>
              <a:gdLst>
                <a:gd name="T0" fmla="*/ 38 w 76"/>
                <a:gd name="T1" fmla="*/ 30 h 76"/>
                <a:gd name="T2" fmla="*/ 41 w 76"/>
                <a:gd name="T3" fmla="*/ 31 h 76"/>
                <a:gd name="T4" fmla="*/ 43 w 76"/>
                <a:gd name="T5" fmla="*/ 32 h 76"/>
                <a:gd name="T6" fmla="*/ 45 w 76"/>
                <a:gd name="T7" fmla="*/ 35 h 76"/>
                <a:gd name="T8" fmla="*/ 47 w 76"/>
                <a:gd name="T9" fmla="*/ 38 h 76"/>
                <a:gd name="T10" fmla="*/ 45 w 76"/>
                <a:gd name="T11" fmla="*/ 40 h 76"/>
                <a:gd name="T12" fmla="*/ 43 w 76"/>
                <a:gd name="T13" fmla="*/ 44 h 76"/>
                <a:gd name="T14" fmla="*/ 41 w 76"/>
                <a:gd name="T15" fmla="*/ 45 h 76"/>
                <a:gd name="T16" fmla="*/ 38 w 76"/>
                <a:gd name="T17" fmla="*/ 46 h 76"/>
                <a:gd name="T18" fmla="*/ 35 w 76"/>
                <a:gd name="T19" fmla="*/ 45 h 76"/>
                <a:gd name="T20" fmla="*/ 33 w 76"/>
                <a:gd name="T21" fmla="*/ 44 h 76"/>
                <a:gd name="T22" fmla="*/ 30 w 76"/>
                <a:gd name="T23" fmla="*/ 40 h 76"/>
                <a:gd name="T24" fmla="*/ 30 w 76"/>
                <a:gd name="T25" fmla="*/ 38 h 76"/>
                <a:gd name="T26" fmla="*/ 30 w 76"/>
                <a:gd name="T27" fmla="*/ 35 h 76"/>
                <a:gd name="T28" fmla="*/ 33 w 76"/>
                <a:gd name="T29" fmla="*/ 32 h 76"/>
                <a:gd name="T30" fmla="*/ 35 w 76"/>
                <a:gd name="T31" fmla="*/ 31 h 76"/>
                <a:gd name="T32" fmla="*/ 38 w 76"/>
                <a:gd name="T33" fmla="*/ 30 h 76"/>
                <a:gd name="T34" fmla="*/ 38 w 76"/>
                <a:gd name="T35" fmla="*/ 30 h 76"/>
                <a:gd name="T36" fmla="*/ 38 w 76"/>
                <a:gd name="T37" fmla="*/ 76 h 76"/>
                <a:gd name="T38" fmla="*/ 45 w 76"/>
                <a:gd name="T39" fmla="*/ 75 h 76"/>
                <a:gd name="T40" fmla="*/ 53 w 76"/>
                <a:gd name="T41" fmla="*/ 72 h 76"/>
                <a:gd name="T42" fmla="*/ 59 w 76"/>
                <a:gd name="T43" fmla="*/ 69 h 76"/>
                <a:gd name="T44" fmla="*/ 65 w 76"/>
                <a:gd name="T45" fmla="*/ 65 h 76"/>
                <a:gd name="T46" fmla="*/ 70 w 76"/>
                <a:gd name="T47" fmla="*/ 59 h 76"/>
                <a:gd name="T48" fmla="*/ 73 w 76"/>
                <a:gd name="T49" fmla="*/ 52 h 76"/>
                <a:gd name="T50" fmla="*/ 75 w 76"/>
                <a:gd name="T51" fmla="*/ 46 h 76"/>
                <a:gd name="T52" fmla="*/ 76 w 76"/>
                <a:gd name="T53" fmla="*/ 38 h 76"/>
                <a:gd name="T54" fmla="*/ 75 w 76"/>
                <a:gd name="T55" fmla="*/ 30 h 76"/>
                <a:gd name="T56" fmla="*/ 73 w 76"/>
                <a:gd name="T57" fmla="*/ 23 h 76"/>
                <a:gd name="T58" fmla="*/ 70 w 76"/>
                <a:gd name="T59" fmla="*/ 17 h 76"/>
                <a:gd name="T60" fmla="*/ 65 w 76"/>
                <a:gd name="T61" fmla="*/ 11 h 76"/>
                <a:gd name="T62" fmla="*/ 59 w 76"/>
                <a:gd name="T63" fmla="*/ 6 h 76"/>
                <a:gd name="T64" fmla="*/ 53 w 76"/>
                <a:gd name="T65" fmla="*/ 3 h 76"/>
                <a:gd name="T66" fmla="*/ 45 w 76"/>
                <a:gd name="T67" fmla="*/ 1 h 76"/>
                <a:gd name="T68" fmla="*/ 38 w 76"/>
                <a:gd name="T69" fmla="*/ 0 h 76"/>
                <a:gd name="T70" fmla="*/ 30 w 76"/>
                <a:gd name="T71" fmla="*/ 1 h 76"/>
                <a:gd name="T72" fmla="*/ 23 w 76"/>
                <a:gd name="T73" fmla="*/ 3 h 76"/>
                <a:gd name="T74" fmla="*/ 17 w 76"/>
                <a:gd name="T75" fmla="*/ 6 h 76"/>
                <a:gd name="T76" fmla="*/ 11 w 76"/>
                <a:gd name="T77" fmla="*/ 11 h 76"/>
                <a:gd name="T78" fmla="*/ 7 w 76"/>
                <a:gd name="T79" fmla="*/ 17 h 76"/>
                <a:gd name="T80" fmla="*/ 4 w 76"/>
                <a:gd name="T81" fmla="*/ 23 h 76"/>
                <a:gd name="T82" fmla="*/ 2 w 76"/>
                <a:gd name="T83" fmla="*/ 30 h 76"/>
                <a:gd name="T84" fmla="*/ 0 w 76"/>
                <a:gd name="T85" fmla="*/ 38 h 76"/>
                <a:gd name="T86" fmla="*/ 2 w 76"/>
                <a:gd name="T87" fmla="*/ 46 h 76"/>
                <a:gd name="T88" fmla="*/ 4 w 76"/>
                <a:gd name="T89" fmla="*/ 52 h 76"/>
                <a:gd name="T90" fmla="*/ 7 w 76"/>
                <a:gd name="T91" fmla="*/ 59 h 76"/>
                <a:gd name="T92" fmla="*/ 11 w 76"/>
                <a:gd name="T93" fmla="*/ 65 h 76"/>
                <a:gd name="T94" fmla="*/ 17 w 76"/>
                <a:gd name="T95" fmla="*/ 69 h 76"/>
                <a:gd name="T96" fmla="*/ 23 w 76"/>
                <a:gd name="T97" fmla="*/ 72 h 76"/>
                <a:gd name="T98" fmla="*/ 30 w 76"/>
                <a:gd name="T99" fmla="*/ 75 h 76"/>
                <a:gd name="T100" fmla="*/ 38 w 76"/>
                <a:gd name="T101" fmla="*/ 76 h 76"/>
                <a:gd name="T102" fmla="*/ 38 w 76"/>
                <a:gd name="T10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76">
                  <a:moveTo>
                    <a:pt x="38" y="30"/>
                  </a:moveTo>
                  <a:lnTo>
                    <a:pt x="41" y="31"/>
                  </a:lnTo>
                  <a:lnTo>
                    <a:pt x="43" y="32"/>
                  </a:lnTo>
                  <a:lnTo>
                    <a:pt x="45" y="35"/>
                  </a:lnTo>
                  <a:lnTo>
                    <a:pt x="47" y="38"/>
                  </a:lnTo>
                  <a:lnTo>
                    <a:pt x="45" y="40"/>
                  </a:lnTo>
                  <a:lnTo>
                    <a:pt x="43" y="44"/>
                  </a:lnTo>
                  <a:lnTo>
                    <a:pt x="41" y="45"/>
                  </a:lnTo>
                  <a:lnTo>
                    <a:pt x="38" y="46"/>
                  </a:lnTo>
                  <a:lnTo>
                    <a:pt x="35" y="45"/>
                  </a:lnTo>
                  <a:lnTo>
                    <a:pt x="33" y="44"/>
                  </a:lnTo>
                  <a:lnTo>
                    <a:pt x="30" y="40"/>
                  </a:lnTo>
                  <a:lnTo>
                    <a:pt x="30" y="38"/>
                  </a:lnTo>
                  <a:lnTo>
                    <a:pt x="30" y="35"/>
                  </a:lnTo>
                  <a:lnTo>
                    <a:pt x="33" y="32"/>
                  </a:lnTo>
                  <a:lnTo>
                    <a:pt x="35" y="31"/>
                  </a:lnTo>
                  <a:lnTo>
                    <a:pt x="38" y="30"/>
                  </a:lnTo>
                  <a:lnTo>
                    <a:pt x="38" y="30"/>
                  </a:lnTo>
                  <a:close/>
                  <a:moveTo>
                    <a:pt x="38" y="76"/>
                  </a:moveTo>
                  <a:lnTo>
                    <a:pt x="45" y="75"/>
                  </a:lnTo>
                  <a:lnTo>
                    <a:pt x="53" y="72"/>
                  </a:lnTo>
                  <a:lnTo>
                    <a:pt x="59" y="69"/>
                  </a:lnTo>
                  <a:lnTo>
                    <a:pt x="65" y="65"/>
                  </a:lnTo>
                  <a:lnTo>
                    <a:pt x="70" y="59"/>
                  </a:lnTo>
                  <a:lnTo>
                    <a:pt x="73" y="52"/>
                  </a:lnTo>
                  <a:lnTo>
                    <a:pt x="75" y="46"/>
                  </a:lnTo>
                  <a:lnTo>
                    <a:pt x="76" y="38"/>
                  </a:lnTo>
                  <a:lnTo>
                    <a:pt x="75" y="30"/>
                  </a:lnTo>
                  <a:lnTo>
                    <a:pt x="73" y="23"/>
                  </a:lnTo>
                  <a:lnTo>
                    <a:pt x="70" y="17"/>
                  </a:lnTo>
                  <a:lnTo>
                    <a:pt x="65" y="11"/>
                  </a:lnTo>
                  <a:lnTo>
                    <a:pt x="59" y="6"/>
                  </a:lnTo>
                  <a:lnTo>
                    <a:pt x="53" y="3"/>
                  </a:lnTo>
                  <a:lnTo>
                    <a:pt x="45" y="1"/>
                  </a:lnTo>
                  <a:lnTo>
                    <a:pt x="38" y="0"/>
                  </a:lnTo>
                  <a:lnTo>
                    <a:pt x="30" y="1"/>
                  </a:lnTo>
                  <a:lnTo>
                    <a:pt x="23" y="3"/>
                  </a:lnTo>
                  <a:lnTo>
                    <a:pt x="17" y="6"/>
                  </a:lnTo>
                  <a:lnTo>
                    <a:pt x="11" y="11"/>
                  </a:lnTo>
                  <a:lnTo>
                    <a:pt x="7" y="17"/>
                  </a:lnTo>
                  <a:lnTo>
                    <a:pt x="4" y="23"/>
                  </a:lnTo>
                  <a:lnTo>
                    <a:pt x="2" y="30"/>
                  </a:lnTo>
                  <a:lnTo>
                    <a:pt x="0" y="38"/>
                  </a:lnTo>
                  <a:lnTo>
                    <a:pt x="2" y="46"/>
                  </a:lnTo>
                  <a:lnTo>
                    <a:pt x="4" y="52"/>
                  </a:lnTo>
                  <a:lnTo>
                    <a:pt x="7" y="59"/>
                  </a:lnTo>
                  <a:lnTo>
                    <a:pt x="11" y="65"/>
                  </a:lnTo>
                  <a:lnTo>
                    <a:pt x="17" y="69"/>
                  </a:lnTo>
                  <a:lnTo>
                    <a:pt x="23" y="72"/>
                  </a:lnTo>
                  <a:lnTo>
                    <a:pt x="30" y="75"/>
                  </a:lnTo>
                  <a:lnTo>
                    <a:pt x="38" y="76"/>
                  </a:lnTo>
                  <a:lnTo>
                    <a:pt x="3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3" name="Freeform 188">
              <a:extLst>
                <a:ext uri="{FF2B5EF4-FFF2-40B4-BE49-F238E27FC236}">
                  <a16:creationId xmlns:a16="http://schemas.microsoft.com/office/drawing/2014/main" id="{56C8724E-5DFA-48F1-8772-9C785B6772E6}"/>
                </a:ext>
              </a:extLst>
            </p:cNvPr>
            <p:cNvSpPr>
              <a:spLocks noEditPoints="1"/>
            </p:cNvSpPr>
            <p:nvPr/>
          </p:nvSpPr>
          <p:spPr bwMode="auto">
            <a:xfrm>
              <a:off x="1608138" y="844551"/>
              <a:ext cx="23813" cy="23813"/>
            </a:xfrm>
            <a:custGeom>
              <a:avLst/>
              <a:gdLst>
                <a:gd name="T0" fmla="*/ 38 w 76"/>
                <a:gd name="T1" fmla="*/ 30 h 75"/>
                <a:gd name="T2" fmla="*/ 41 w 76"/>
                <a:gd name="T3" fmla="*/ 30 h 75"/>
                <a:gd name="T4" fmla="*/ 43 w 76"/>
                <a:gd name="T5" fmla="*/ 32 h 75"/>
                <a:gd name="T6" fmla="*/ 45 w 76"/>
                <a:gd name="T7" fmla="*/ 34 h 75"/>
                <a:gd name="T8" fmla="*/ 47 w 76"/>
                <a:gd name="T9" fmla="*/ 37 h 75"/>
                <a:gd name="T10" fmla="*/ 45 w 76"/>
                <a:gd name="T11" fmla="*/ 40 h 75"/>
                <a:gd name="T12" fmla="*/ 43 w 76"/>
                <a:gd name="T13" fmla="*/ 42 h 75"/>
                <a:gd name="T14" fmla="*/ 41 w 76"/>
                <a:gd name="T15" fmla="*/ 45 h 75"/>
                <a:gd name="T16" fmla="*/ 38 w 76"/>
                <a:gd name="T17" fmla="*/ 45 h 75"/>
                <a:gd name="T18" fmla="*/ 35 w 76"/>
                <a:gd name="T19" fmla="*/ 45 h 75"/>
                <a:gd name="T20" fmla="*/ 33 w 76"/>
                <a:gd name="T21" fmla="*/ 42 h 75"/>
                <a:gd name="T22" fmla="*/ 30 w 76"/>
                <a:gd name="T23" fmla="*/ 40 h 75"/>
                <a:gd name="T24" fmla="*/ 30 w 76"/>
                <a:gd name="T25" fmla="*/ 37 h 75"/>
                <a:gd name="T26" fmla="*/ 30 w 76"/>
                <a:gd name="T27" fmla="*/ 34 h 75"/>
                <a:gd name="T28" fmla="*/ 33 w 76"/>
                <a:gd name="T29" fmla="*/ 32 h 75"/>
                <a:gd name="T30" fmla="*/ 35 w 76"/>
                <a:gd name="T31" fmla="*/ 30 h 75"/>
                <a:gd name="T32" fmla="*/ 38 w 76"/>
                <a:gd name="T33" fmla="*/ 30 h 75"/>
                <a:gd name="T34" fmla="*/ 38 w 76"/>
                <a:gd name="T35" fmla="*/ 30 h 75"/>
                <a:gd name="T36" fmla="*/ 38 w 76"/>
                <a:gd name="T37" fmla="*/ 75 h 75"/>
                <a:gd name="T38" fmla="*/ 45 w 76"/>
                <a:gd name="T39" fmla="*/ 75 h 75"/>
                <a:gd name="T40" fmla="*/ 53 w 76"/>
                <a:gd name="T41" fmla="*/ 72 h 75"/>
                <a:gd name="T42" fmla="*/ 59 w 76"/>
                <a:gd name="T43" fmla="*/ 68 h 75"/>
                <a:gd name="T44" fmla="*/ 65 w 76"/>
                <a:gd name="T45" fmla="*/ 64 h 75"/>
                <a:gd name="T46" fmla="*/ 70 w 76"/>
                <a:gd name="T47" fmla="*/ 58 h 75"/>
                <a:gd name="T48" fmla="*/ 73 w 76"/>
                <a:gd name="T49" fmla="*/ 52 h 75"/>
                <a:gd name="T50" fmla="*/ 75 w 76"/>
                <a:gd name="T51" fmla="*/ 45 h 75"/>
                <a:gd name="T52" fmla="*/ 76 w 76"/>
                <a:gd name="T53" fmla="*/ 37 h 75"/>
                <a:gd name="T54" fmla="*/ 75 w 76"/>
                <a:gd name="T55" fmla="*/ 30 h 75"/>
                <a:gd name="T56" fmla="*/ 73 w 76"/>
                <a:gd name="T57" fmla="*/ 22 h 75"/>
                <a:gd name="T58" fmla="*/ 70 w 76"/>
                <a:gd name="T59" fmla="*/ 16 h 75"/>
                <a:gd name="T60" fmla="*/ 65 w 76"/>
                <a:gd name="T61" fmla="*/ 10 h 75"/>
                <a:gd name="T62" fmla="*/ 59 w 76"/>
                <a:gd name="T63" fmla="*/ 6 h 75"/>
                <a:gd name="T64" fmla="*/ 53 w 76"/>
                <a:gd name="T65" fmla="*/ 2 h 75"/>
                <a:gd name="T66" fmla="*/ 45 w 76"/>
                <a:gd name="T67" fmla="*/ 0 h 75"/>
                <a:gd name="T68" fmla="*/ 38 w 76"/>
                <a:gd name="T69" fmla="*/ 0 h 75"/>
                <a:gd name="T70" fmla="*/ 30 w 76"/>
                <a:gd name="T71" fmla="*/ 0 h 75"/>
                <a:gd name="T72" fmla="*/ 23 w 76"/>
                <a:gd name="T73" fmla="*/ 2 h 75"/>
                <a:gd name="T74" fmla="*/ 17 w 76"/>
                <a:gd name="T75" fmla="*/ 6 h 75"/>
                <a:gd name="T76" fmla="*/ 11 w 76"/>
                <a:gd name="T77" fmla="*/ 10 h 75"/>
                <a:gd name="T78" fmla="*/ 7 w 76"/>
                <a:gd name="T79" fmla="*/ 16 h 75"/>
                <a:gd name="T80" fmla="*/ 4 w 76"/>
                <a:gd name="T81" fmla="*/ 22 h 75"/>
                <a:gd name="T82" fmla="*/ 2 w 76"/>
                <a:gd name="T83" fmla="*/ 30 h 75"/>
                <a:gd name="T84" fmla="*/ 0 w 76"/>
                <a:gd name="T85" fmla="*/ 37 h 75"/>
                <a:gd name="T86" fmla="*/ 2 w 76"/>
                <a:gd name="T87" fmla="*/ 45 h 75"/>
                <a:gd name="T88" fmla="*/ 4 w 76"/>
                <a:gd name="T89" fmla="*/ 52 h 75"/>
                <a:gd name="T90" fmla="*/ 7 w 76"/>
                <a:gd name="T91" fmla="*/ 58 h 75"/>
                <a:gd name="T92" fmla="*/ 11 w 76"/>
                <a:gd name="T93" fmla="*/ 64 h 75"/>
                <a:gd name="T94" fmla="*/ 17 w 76"/>
                <a:gd name="T95" fmla="*/ 68 h 75"/>
                <a:gd name="T96" fmla="*/ 23 w 76"/>
                <a:gd name="T97" fmla="*/ 72 h 75"/>
                <a:gd name="T98" fmla="*/ 30 w 76"/>
                <a:gd name="T99" fmla="*/ 75 h 75"/>
                <a:gd name="T100" fmla="*/ 38 w 76"/>
                <a:gd name="T10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75">
                  <a:moveTo>
                    <a:pt x="38" y="30"/>
                  </a:moveTo>
                  <a:lnTo>
                    <a:pt x="41" y="30"/>
                  </a:lnTo>
                  <a:lnTo>
                    <a:pt x="43" y="32"/>
                  </a:lnTo>
                  <a:lnTo>
                    <a:pt x="45" y="34"/>
                  </a:lnTo>
                  <a:lnTo>
                    <a:pt x="47" y="37"/>
                  </a:lnTo>
                  <a:lnTo>
                    <a:pt x="45" y="40"/>
                  </a:lnTo>
                  <a:lnTo>
                    <a:pt x="43" y="42"/>
                  </a:lnTo>
                  <a:lnTo>
                    <a:pt x="41" y="45"/>
                  </a:lnTo>
                  <a:lnTo>
                    <a:pt x="38" y="45"/>
                  </a:lnTo>
                  <a:lnTo>
                    <a:pt x="35" y="45"/>
                  </a:lnTo>
                  <a:lnTo>
                    <a:pt x="33" y="42"/>
                  </a:lnTo>
                  <a:lnTo>
                    <a:pt x="30" y="40"/>
                  </a:lnTo>
                  <a:lnTo>
                    <a:pt x="30" y="37"/>
                  </a:lnTo>
                  <a:lnTo>
                    <a:pt x="30" y="34"/>
                  </a:lnTo>
                  <a:lnTo>
                    <a:pt x="33" y="32"/>
                  </a:lnTo>
                  <a:lnTo>
                    <a:pt x="35" y="30"/>
                  </a:lnTo>
                  <a:lnTo>
                    <a:pt x="38" y="30"/>
                  </a:lnTo>
                  <a:lnTo>
                    <a:pt x="38" y="30"/>
                  </a:lnTo>
                  <a:close/>
                  <a:moveTo>
                    <a:pt x="38" y="75"/>
                  </a:moveTo>
                  <a:lnTo>
                    <a:pt x="45" y="75"/>
                  </a:lnTo>
                  <a:lnTo>
                    <a:pt x="53" y="72"/>
                  </a:lnTo>
                  <a:lnTo>
                    <a:pt x="59" y="68"/>
                  </a:lnTo>
                  <a:lnTo>
                    <a:pt x="65" y="64"/>
                  </a:lnTo>
                  <a:lnTo>
                    <a:pt x="70" y="58"/>
                  </a:lnTo>
                  <a:lnTo>
                    <a:pt x="73" y="52"/>
                  </a:lnTo>
                  <a:lnTo>
                    <a:pt x="75" y="45"/>
                  </a:lnTo>
                  <a:lnTo>
                    <a:pt x="76" y="37"/>
                  </a:lnTo>
                  <a:lnTo>
                    <a:pt x="75" y="30"/>
                  </a:lnTo>
                  <a:lnTo>
                    <a:pt x="73" y="22"/>
                  </a:lnTo>
                  <a:lnTo>
                    <a:pt x="70" y="16"/>
                  </a:lnTo>
                  <a:lnTo>
                    <a:pt x="65" y="10"/>
                  </a:lnTo>
                  <a:lnTo>
                    <a:pt x="59" y="6"/>
                  </a:lnTo>
                  <a:lnTo>
                    <a:pt x="53" y="2"/>
                  </a:lnTo>
                  <a:lnTo>
                    <a:pt x="45" y="0"/>
                  </a:lnTo>
                  <a:lnTo>
                    <a:pt x="38" y="0"/>
                  </a:lnTo>
                  <a:lnTo>
                    <a:pt x="30" y="0"/>
                  </a:lnTo>
                  <a:lnTo>
                    <a:pt x="23" y="2"/>
                  </a:lnTo>
                  <a:lnTo>
                    <a:pt x="17" y="6"/>
                  </a:lnTo>
                  <a:lnTo>
                    <a:pt x="11" y="10"/>
                  </a:lnTo>
                  <a:lnTo>
                    <a:pt x="7" y="16"/>
                  </a:lnTo>
                  <a:lnTo>
                    <a:pt x="4" y="22"/>
                  </a:lnTo>
                  <a:lnTo>
                    <a:pt x="2" y="30"/>
                  </a:lnTo>
                  <a:lnTo>
                    <a:pt x="0" y="37"/>
                  </a:lnTo>
                  <a:lnTo>
                    <a:pt x="2" y="45"/>
                  </a:lnTo>
                  <a:lnTo>
                    <a:pt x="4" y="52"/>
                  </a:lnTo>
                  <a:lnTo>
                    <a:pt x="7" y="58"/>
                  </a:lnTo>
                  <a:lnTo>
                    <a:pt x="11" y="64"/>
                  </a:lnTo>
                  <a:lnTo>
                    <a:pt x="17" y="68"/>
                  </a:lnTo>
                  <a:lnTo>
                    <a:pt x="23" y="72"/>
                  </a:lnTo>
                  <a:lnTo>
                    <a:pt x="30"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4" name="Freeform 189">
              <a:extLst>
                <a:ext uri="{FF2B5EF4-FFF2-40B4-BE49-F238E27FC236}">
                  <a16:creationId xmlns:a16="http://schemas.microsoft.com/office/drawing/2014/main" id="{E7042651-DBE0-4E7E-9C3E-320CB450258B}"/>
                </a:ext>
              </a:extLst>
            </p:cNvPr>
            <p:cNvSpPr>
              <a:spLocks noEditPoints="1"/>
            </p:cNvSpPr>
            <p:nvPr/>
          </p:nvSpPr>
          <p:spPr bwMode="auto">
            <a:xfrm>
              <a:off x="1643063" y="844551"/>
              <a:ext cx="25400" cy="23813"/>
            </a:xfrm>
            <a:custGeom>
              <a:avLst/>
              <a:gdLst>
                <a:gd name="T0" fmla="*/ 30 w 76"/>
                <a:gd name="T1" fmla="*/ 37 h 75"/>
                <a:gd name="T2" fmla="*/ 31 w 76"/>
                <a:gd name="T3" fmla="*/ 34 h 75"/>
                <a:gd name="T4" fmla="*/ 32 w 76"/>
                <a:gd name="T5" fmla="*/ 32 h 75"/>
                <a:gd name="T6" fmla="*/ 35 w 76"/>
                <a:gd name="T7" fmla="*/ 30 h 75"/>
                <a:gd name="T8" fmla="*/ 37 w 76"/>
                <a:gd name="T9" fmla="*/ 30 h 75"/>
                <a:gd name="T10" fmla="*/ 41 w 76"/>
                <a:gd name="T11" fmla="*/ 30 h 75"/>
                <a:gd name="T12" fmla="*/ 44 w 76"/>
                <a:gd name="T13" fmla="*/ 32 h 75"/>
                <a:gd name="T14" fmla="*/ 45 w 76"/>
                <a:gd name="T15" fmla="*/ 34 h 75"/>
                <a:gd name="T16" fmla="*/ 46 w 76"/>
                <a:gd name="T17" fmla="*/ 37 h 75"/>
                <a:gd name="T18" fmla="*/ 45 w 76"/>
                <a:gd name="T19" fmla="*/ 40 h 75"/>
                <a:gd name="T20" fmla="*/ 44 w 76"/>
                <a:gd name="T21" fmla="*/ 42 h 75"/>
                <a:gd name="T22" fmla="*/ 41 w 76"/>
                <a:gd name="T23" fmla="*/ 45 h 75"/>
                <a:gd name="T24" fmla="*/ 37 w 76"/>
                <a:gd name="T25" fmla="*/ 45 h 75"/>
                <a:gd name="T26" fmla="*/ 35 w 76"/>
                <a:gd name="T27" fmla="*/ 45 h 75"/>
                <a:gd name="T28" fmla="*/ 32 w 76"/>
                <a:gd name="T29" fmla="*/ 42 h 75"/>
                <a:gd name="T30" fmla="*/ 31 w 76"/>
                <a:gd name="T31" fmla="*/ 40 h 75"/>
                <a:gd name="T32" fmla="*/ 30 w 76"/>
                <a:gd name="T33" fmla="*/ 37 h 75"/>
                <a:gd name="T34" fmla="*/ 76 w 76"/>
                <a:gd name="T35" fmla="*/ 37 h 75"/>
                <a:gd name="T36" fmla="*/ 75 w 76"/>
                <a:gd name="T37" fmla="*/ 30 h 75"/>
                <a:gd name="T38" fmla="*/ 73 w 76"/>
                <a:gd name="T39" fmla="*/ 22 h 75"/>
                <a:gd name="T40" fmla="*/ 69 w 76"/>
                <a:gd name="T41" fmla="*/ 16 h 75"/>
                <a:gd name="T42" fmla="*/ 64 w 76"/>
                <a:gd name="T43" fmla="*/ 10 h 75"/>
                <a:gd name="T44" fmla="*/ 59 w 76"/>
                <a:gd name="T45" fmla="*/ 6 h 75"/>
                <a:gd name="T46" fmla="*/ 52 w 76"/>
                <a:gd name="T47" fmla="*/ 2 h 75"/>
                <a:gd name="T48" fmla="*/ 45 w 76"/>
                <a:gd name="T49" fmla="*/ 0 h 75"/>
                <a:gd name="T50" fmla="*/ 37 w 76"/>
                <a:gd name="T51" fmla="*/ 0 h 75"/>
                <a:gd name="T52" fmla="*/ 30 w 76"/>
                <a:gd name="T53" fmla="*/ 0 h 75"/>
                <a:gd name="T54" fmla="*/ 23 w 76"/>
                <a:gd name="T55" fmla="*/ 2 h 75"/>
                <a:gd name="T56" fmla="*/ 17 w 76"/>
                <a:gd name="T57" fmla="*/ 6 h 75"/>
                <a:gd name="T58" fmla="*/ 11 w 76"/>
                <a:gd name="T59" fmla="*/ 10 h 75"/>
                <a:gd name="T60" fmla="*/ 6 w 76"/>
                <a:gd name="T61" fmla="*/ 16 h 75"/>
                <a:gd name="T62" fmla="*/ 3 w 76"/>
                <a:gd name="T63" fmla="*/ 22 h 75"/>
                <a:gd name="T64" fmla="*/ 1 w 76"/>
                <a:gd name="T65" fmla="*/ 30 h 75"/>
                <a:gd name="T66" fmla="*/ 0 w 76"/>
                <a:gd name="T67" fmla="*/ 37 h 75"/>
                <a:gd name="T68" fmla="*/ 1 w 76"/>
                <a:gd name="T69" fmla="*/ 45 h 75"/>
                <a:gd name="T70" fmla="*/ 3 w 76"/>
                <a:gd name="T71" fmla="*/ 52 h 75"/>
                <a:gd name="T72" fmla="*/ 6 w 76"/>
                <a:gd name="T73" fmla="*/ 58 h 75"/>
                <a:gd name="T74" fmla="*/ 11 w 76"/>
                <a:gd name="T75" fmla="*/ 64 h 75"/>
                <a:gd name="T76" fmla="*/ 17 w 76"/>
                <a:gd name="T77" fmla="*/ 68 h 75"/>
                <a:gd name="T78" fmla="*/ 23 w 76"/>
                <a:gd name="T79" fmla="*/ 72 h 75"/>
                <a:gd name="T80" fmla="*/ 30 w 76"/>
                <a:gd name="T81" fmla="*/ 75 h 75"/>
                <a:gd name="T82" fmla="*/ 37 w 76"/>
                <a:gd name="T83" fmla="*/ 75 h 75"/>
                <a:gd name="T84" fmla="*/ 45 w 76"/>
                <a:gd name="T85" fmla="*/ 75 h 75"/>
                <a:gd name="T86" fmla="*/ 52 w 76"/>
                <a:gd name="T87" fmla="*/ 72 h 75"/>
                <a:gd name="T88" fmla="*/ 59 w 76"/>
                <a:gd name="T89" fmla="*/ 68 h 75"/>
                <a:gd name="T90" fmla="*/ 64 w 76"/>
                <a:gd name="T91" fmla="*/ 64 h 75"/>
                <a:gd name="T92" fmla="*/ 69 w 76"/>
                <a:gd name="T93" fmla="*/ 58 h 75"/>
                <a:gd name="T94" fmla="*/ 73 w 76"/>
                <a:gd name="T95" fmla="*/ 52 h 75"/>
                <a:gd name="T96" fmla="*/ 75 w 76"/>
                <a:gd name="T97" fmla="*/ 45 h 75"/>
                <a:gd name="T98" fmla="*/ 76 w 76"/>
                <a:gd name="T9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75">
                  <a:moveTo>
                    <a:pt x="30" y="37"/>
                  </a:moveTo>
                  <a:lnTo>
                    <a:pt x="31" y="34"/>
                  </a:lnTo>
                  <a:lnTo>
                    <a:pt x="32" y="32"/>
                  </a:lnTo>
                  <a:lnTo>
                    <a:pt x="35" y="30"/>
                  </a:lnTo>
                  <a:lnTo>
                    <a:pt x="37" y="30"/>
                  </a:lnTo>
                  <a:lnTo>
                    <a:pt x="41" y="30"/>
                  </a:lnTo>
                  <a:lnTo>
                    <a:pt x="44" y="32"/>
                  </a:lnTo>
                  <a:lnTo>
                    <a:pt x="45" y="34"/>
                  </a:lnTo>
                  <a:lnTo>
                    <a:pt x="46" y="37"/>
                  </a:lnTo>
                  <a:lnTo>
                    <a:pt x="45" y="40"/>
                  </a:lnTo>
                  <a:lnTo>
                    <a:pt x="44" y="42"/>
                  </a:lnTo>
                  <a:lnTo>
                    <a:pt x="41" y="45"/>
                  </a:lnTo>
                  <a:lnTo>
                    <a:pt x="37" y="45"/>
                  </a:lnTo>
                  <a:lnTo>
                    <a:pt x="35" y="45"/>
                  </a:lnTo>
                  <a:lnTo>
                    <a:pt x="32" y="42"/>
                  </a:lnTo>
                  <a:lnTo>
                    <a:pt x="31" y="40"/>
                  </a:lnTo>
                  <a:lnTo>
                    <a:pt x="30" y="37"/>
                  </a:lnTo>
                  <a:close/>
                  <a:moveTo>
                    <a:pt x="76" y="37"/>
                  </a:moveTo>
                  <a:lnTo>
                    <a:pt x="75" y="30"/>
                  </a:lnTo>
                  <a:lnTo>
                    <a:pt x="73" y="22"/>
                  </a:lnTo>
                  <a:lnTo>
                    <a:pt x="69" y="16"/>
                  </a:lnTo>
                  <a:lnTo>
                    <a:pt x="64" y="10"/>
                  </a:lnTo>
                  <a:lnTo>
                    <a:pt x="59" y="6"/>
                  </a:lnTo>
                  <a:lnTo>
                    <a:pt x="52" y="2"/>
                  </a:lnTo>
                  <a:lnTo>
                    <a:pt x="45" y="0"/>
                  </a:lnTo>
                  <a:lnTo>
                    <a:pt x="37" y="0"/>
                  </a:lnTo>
                  <a:lnTo>
                    <a:pt x="30" y="0"/>
                  </a:lnTo>
                  <a:lnTo>
                    <a:pt x="23" y="2"/>
                  </a:lnTo>
                  <a:lnTo>
                    <a:pt x="17" y="6"/>
                  </a:lnTo>
                  <a:lnTo>
                    <a:pt x="11" y="10"/>
                  </a:lnTo>
                  <a:lnTo>
                    <a:pt x="6" y="16"/>
                  </a:lnTo>
                  <a:lnTo>
                    <a:pt x="3" y="22"/>
                  </a:lnTo>
                  <a:lnTo>
                    <a:pt x="1" y="30"/>
                  </a:lnTo>
                  <a:lnTo>
                    <a:pt x="0" y="37"/>
                  </a:lnTo>
                  <a:lnTo>
                    <a:pt x="1" y="45"/>
                  </a:lnTo>
                  <a:lnTo>
                    <a:pt x="3" y="52"/>
                  </a:lnTo>
                  <a:lnTo>
                    <a:pt x="6" y="58"/>
                  </a:lnTo>
                  <a:lnTo>
                    <a:pt x="11" y="64"/>
                  </a:lnTo>
                  <a:lnTo>
                    <a:pt x="17" y="68"/>
                  </a:lnTo>
                  <a:lnTo>
                    <a:pt x="23" y="72"/>
                  </a:lnTo>
                  <a:lnTo>
                    <a:pt x="30" y="75"/>
                  </a:lnTo>
                  <a:lnTo>
                    <a:pt x="37" y="75"/>
                  </a:lnTo>
                  <a:lnTo>
                    <a:pt x="45" y="75"/>
                  </a:lnTo>
                  <a:lnTo>
                    <a:pt x="52" y="72"/>
                  </a:lnTo>
                  <a:lnTo>
                    <a:pt x="59" y="68"/>
                  </a:lnTo>
                  <a:lnTo>
                    <a:pt x="64" y="64"/>
                  </a:lnTo>
                  <a:lnTo>
                    <a:pt x="69" y="58"/>
                  </a:lnTo>
                  <a:lnTo>
                    <a:pt x="73" y="52"/>
                  </a:lnTo>
                  <a:lnTo>
                    <a:pt x="75" y="45"/>
                  </a:lnTo>
                  <a:lnTo>
                    <a:pt x="7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5" name="Freeform 190">
              <a:extLst>
                <a:ext uri="{FF2B5EF4-FFF2-40B4-BE49-F238E27FC236}">
                  <a16:creationId xmlns:a16="http://schemas.microsoft.com/office/drawing/2014/main" id="{D6016306-C2EC-442F-98A2-F4798CAB68CA}"/>
                </a:ext>
              </a:extLst>
            </p:cNvPr>
            <p:cNvSpPr>
              <a:spLocks noEditPoints="1"/>
            </p:cNvSpPr>
            <p:nvPr/>
          </p:nvSpPr>
          <p:spPr bwMode="auto">
            <a:xfrm>
              <a:off x="1679575" y="844551"/>
              <a:ext cx="23813" cy="23813"/>
            </a:xfrm>
            <a:custGeom>
              <a:avLst/>
              <a:gdLst>
                <a:gd name="T0" fmla="*/ 30 w 76"/>
                <a:gd name="T1" fmla="*/ 37 h 75"/>
                <a:gd name="T2" fmla="*/ 31 w 76"/>
                <a:gd name="T3" fmla="*/ 34 h 75"/>
                <a:gd name="T4" fmla="*/ 32 w 76"/>
                <a:gd name="T5" fmla="*/ 32 h 75"/>
                <a:gd name="T6" fmla="*/ 36 w 76"/>
                <a:gd name="T7" fmla="*/ 30 h 75"/>
                <a:gd name="T8" fmla="*/ 39 w 76"/>
                <a:gd name="T9" fmla="*/ 30 h 75"/>
                <a:gd name="T10" fmla="*/ 41 w 76"/>
                <a:gd name="T11" fmla="*/ 30 h 75"/>
                <a:gd name="T12" fmla="*/ 44 w 76"/>
                <a:gd name="T13" fmla="*/ 32 h 75"/>
                <a:gd name="T14" fmla="*/ 45 w 76"/>
                <a:gd name="T15" fmla="*/ 34 h 75"/>
                <a:gd name="T16" fmla="*/ 46 w 76"/>
                <a:gd name="T17" fmla="*/ 37 h 75"/>
                <a:gd name="T18" fmla="*/ 45 w 76"/>
                <a:gd name="T19" fmla="*/ 40 h 75"/>
                <a:gd name="T20" fmla="*/ 44 w 76"/>
                <a:gd name="T21" fmla="*/ 42 h 75"/>
                <a:gd name="T22" fmla="*/ 41 w 76"/>
                <a:gd name="T23" fmla="*/ 45 h 75"/>
                <a:gd name="T24" fmla="*/ 39 w 76"/>
                <a:gd name="T25" fmla="*/ 45 h 75"/>
                <a:gd name="T26" fmla="*/ 36 w 76"/>
                <a:gd name="T27" fmla="*/ 45 h 75"/>
                <a:gd name="T28" fmla="*/ 32 w 76"/>
                <a:gd name="T29" fmla="*/ 42 h 75"/>
                <a:gd name="T30" fmla="*/ 31 w 76"/>
                <a:gd name="T31" fmla="*/ 40 h 75"/>
                <a:gd name="T32" fmla="*/ 30 w 76"/>
                <a:gd name="T33" fmla="*/ 37 h 75"/>
                <a:gd name="T34" fmla="*/ 76 w 76"/>
                <a:gd name="T35" fmla="*/ 37 h 75"/>
                <a:gd name="T36" fmla="*/ 75 w 76"/>
                <a:gd name="T37" fmla="*/ 30 h 75"/>
                <a:gd name="T38" fmla="*/ 73 w 76"/>
                <a:gd name="T39" fmla="*/ 22 h 75"/>
                <a:gd name="T40" fmla="*/ 70 w 76"/>
                <a:gd name="T41" fmla="*/ 16 h 75"/>
                <a:gd name="T42" fmla="*/ 66 w 76"/>
                <a:gd name="T43" fmla="*/ 10 h 75"/>
                <a:gd name="T44" fmla="*/ 59 w 76"/>
                <a:gd name="T45" fmla="*/ 6 h 75"/>
                <a:gd name="T46" fmla="*/ 53 w 76"/>
                <a:gd name="T47" fmla="*/ 2 h 75"/>
                <a:gd name="T48" fmla="*/ 46 w 76"/>
                <a:gd name="T49" fmla="*/ 0 h 75"/>
                <a:gd name="T50" fmla="*/ 39 w 76"/>
                <a:gd name="T51" fmla="*/ 0 h 75"/>
                <a:gd name="T52" fmla="*/ 30 w 76"/>
                <a:gd name="T53" fmla="*/ 0 h 75"/>
                <a:gd name="T54" fmla="*/ 24 w 76"/>
                <a:gd name="T55" fmla="*/ 2 h 75"/>
                <a:gd name="T56" fmla="*/ 17 w 76"/>
                <a:gd name="T57" fmla="*/ 6 h 75"/>
                <a:gd name="T58" fmla="*/ 12 w 76"/>
                <a:gd name="T59" fmla="*/ 10 h 75"/>
                <a:gd name="T60" fmla="*/ 7 w 76"/>
                <a:gd name="T61" fmla="*/ 16 h 75"/>
                <a:gd name="T62" fmla="*/ 4 w 76"/>
                <a:gd name="T63" fmla="*/ 22 h 75"/>
                <a:gd name="T64" fmla="*/ 1 w 76"/>
                <a:gd name="T65" fmla="*/ 30 h 75"/>
                <a:gd name="T66" fmla="*/ 0 w 76"/>
                <a:gd name="T67" fmla="*/ 37 h 75"/>
                <a:gd name="T68" fmla="*/ 1 w 76"/>
                <a:gd name="T69" fmla="*/ 45 h 75"/>
                <a:gd name="T70" fmla="*/ 4 w 76"/>
                <a:gd name="T71" fmla="*/ 52 h 75"/>
                <a:gd name="T72" fmla="*/ 7 w 76"/>
                <a:gd name="T73" fmla="*/ 58 h 75"/>
                <a:gd name="T74" fmla="*/ 12 w 76"/>
                <a:gd name="T75" fmla="*/ 64 h 75"/>
                <a:gd name="T76" fmla="*/ 17 w 76"/>
                <a:gd name="T77" fmla="*/ 68 h 75"/>
                <a:gd name="T78" fmla="*/ 24 w 76"/>
                <a:gd name="T79" fmla="*/ 72 h 75"/>
                <a:gd name="T80" fmla="*/ 30 w 76"/>
                <a:gd name="T81" fmla="*/ 75 h 75"/>
                <a:gd name="T82" fmla="*/ 39 w 76"/>
                <a:gd name="T83" fmla="*/ 75 h 75"/>
                <a:gd name="T84" fmla="*/ 46 w 76"/>
                <a:gd name="T85" fmla="*/ 75 h 75"/>
                <a:gd name="T86" fmla="*/ 53 w 76"/>
                <a:gd name="T87" fmla="*/ 72 h 75"/>
                <a:gd name="T88" fmla="*/ 59 w 76"/>
                <a:gd name="T89" fmla="*/ 68 h 75"/>
                <a:gd name="T90" fmla="*/ 66 w 76"/>
                <a:gd name="T91" fmla="*/ 64 h 75"/>
                <a:gd name="T92" fmla="*/ 70 w 76"/>
                <a:gd name="T93" fmla="*/ 58 h 75"/>
                <a:gd name="T94" fmla="*/ 73 w 76"/>
                <a:gd name="T95" fmla="*/ 52 h 75"/>
                <a:gd name="T96" fmla="*/ 75 w 76"/>
                <a:gd name="T97" fmla="*/ 45 h 75"/>
                <a:gd name="T98" fmla="*/ 76 w 76"/>
                <a:gd name="T9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75">
                  <a:moveTo>
                    <a:pt x="30" y="37"/>
                  </a:moveTo>
                  <a:lnTo>
                    <a:pt x="31" y="34"/>
                  </a:lnTo>
                  <a:lnTo>
                    <a:pt x="32" y="32"/>
                  </a:lnTo>
                  <a:lnTo>
                    <a:pt x="36" y="30"/>
                  </a:lnTo>
                  <a:lnTo>
                    <a:pt x="39" y="30"/>
                  </a:lnTo>
                  <a:lnTo>
                    <a:pt x="41" y="30"/>
                  </a:lnTo>
                  <a:lnTo>
                    <a:pt x="44" y="32"/>
                  </a:lnTo>
                  <a:lnTo>
                    <a:pt x="45" y="34"/>
                  </a:lnTo>
                  <a:lnTo>
                    <a:pt x="46" y="37"/>
                  </a:lnTo>
                  <a:lnTo>
                    <a:pt x="45" y="40"/>
                  </a:lnTo>
                  <a:lnTo>
                    <a:pt x="44" y="42"/>
                  </a:lnTo>
                  <a:lnTo>
                    <a:pt x="41" y="45"/>
                  </a:lnTo>
                  <a:lnTo>
                    <a:pt x="39" y="45"/>
                  </a:lnTo>
                  <a:lnTo>
                    <a:pt x="36" y="45"/>
                  </a:lnTo>
                  <a:lnTo>
                    <a:pt x="32" y="42"/>
                  </a:lnTo>
                  <a:lnTo>
                    <a:pt x="31" y="40"/>
                  </a:lnTo>
                  <a:lnTo>
                    <a:pt x="30" y="37"/>
                  </a:lnTo>
                  <a:close/>
                  <a:moveTo>
                    <a:pt x="76" y="37"/>
                  </a:moveTo>
                  <a:lnTo>
                    <a:pt x="75" y="30"/>
                  </a:lnTo>
                  <a:lnTo>
                    <a:pt x="73" y="22"/>
                  </a:lnTo>
                  <a:lnTo>
                    <a:pt x="70" y="16"/>
                  </a:lnTo>
                  <a:lnTo>
                    <a:pt x="66" y="10"/>
                  </a:lnTo>
                  <a:lnTo>
                    <a:pt x="59" y="6"/>
                  </a:lnTo>
                  <a:lnTo>
                    <a:pt x="53" y="2"/>
                  </a:lnTo>
                  <a:lnTo>
                    <a:pt x="46" y="0"/>
                  </a:lnTo>
                  <a:lnTo>
                    <a:pt x="39" y="0"/>
                  </a:lnTo>
                  <a:lnTo>
                    <a:pt x="30" y="0"/>
                  </a:lnTo>
                  <a:lnTo>
                    <a:pt x="24" y="2"/>
                  </a:lnTo>
                  <a:lnTo>
                    <a:pt x="17" y="6"/>
                  </a:lnTo>
                  <a:lnTo>
                    <a:pt x="12" y="10"/>
                  </a:lnTo>
                  <a:lnTo>
                    <a:pt x="7" y="16"/>
                  </a:lnTo>
                  <a:lnTo>
                    <a:pt x="4" y="22"/>
                  </a:lnTo>
                  <a:lnTo>
                    <a:pt x="1" y="30"/>
                  </a:lnTo>
                  <a:lnTo>
                    <a:pt x="0" y="37"/>
                  </a:lnTo>
                  <a:lnTo>
                    <a:pt x="1" y="45"/>
                  </a:lnTo>
                  <a:lnTo>
                    <a:pt x="4" y="52"/>
                  </a:lnTo>
                  <a:lnTo>
                    <a:pt x="7" y="58"/>
                  </a:lnTo>
                  <a:lnTo>
                    <a:pt x="12" y="64"/>
                  </a:lnTo>
                  <a:lnTo>
                    <a:pt x="17" y="68"/>
                  </a:lnTo>
                  <a:lnTo>
                    <a:pt x="24" y="72"/>
                  </a:lnTo>
                  <a:lnTo>
                    <a:pt x="30" y="75"/>
                  </a:lnTo>
                  <a:lnTo>
                    <a:pt x="39" y="75"/>
                  </a:lnTo>
                  <a:lnTo>
                    <a:pt x="46" y="75"/>
                  </a:lnTo>
                  <a:lnTo>
                    <a:pt x="53" y="72"/>
                  </a:lnTo>
                  <a:lnTo>
                    <a:pt x="59" y="68"/>
                  </a:lnTo>
                  <a:lnTo>
                    <a:pt x="66" y="64"/>
                  </a:lnTo>
                  <a:lnTo>
                    <a:pt x="70" y="58"/>
                  </a:lnTo>
                  <a:lnTo>
                    <a:pt x="73" y="52"/>
                  </a:lnTo>
                  <a:lnTo>
                    <a:pt x="75" y="45"/>
                  </a:lnTo>
                  <a:lnTo>
                    <a:pt x="7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6" name="Freeform 191">
              <a:extLst>
                <a:ext uri="{FF2B5EF4-FFF2-40B4-BE49-F238E27FC236}">
                  <a16:creationId xmlns:a16="http://schemas.microsoft.com/office/drawing/2014/main" id="{4BD36EB4-6E4C-4195-B3C8-5D3F7CFD1273}"/>
                </a:ext>
              </a:extLst>
            </p:cNvPr>
            <p:cNvSpPr>
              <a:spLocks/>
            </p:cNvSpPr>
            <p:nvPr/>
          </p:nvSpPr>
          <p:spPr bwMode="auto">
            <a:xfrm>
              <a:off x="1555750" y="785813"/>
              <a:ext cx="188913" cy="147638"/>
            </a:xfrm>
            <a:custGeom>
              <a:avLst/>
              <a:gdLst>
                <a:gd name="T0" fmla="*/ 348 w 593"/>
                <a:gd name="T1" fmla="*/ 4 h 466"/>
                <a:gd name="T2" fmla="*/ 298 w 593"/>
                <a:gd name="T3" fmla="*/ 22 h 466"/>
                <a:gd name="T4" fmla="*/ 252 w 593"/>
                <a:gd name="T5" fmla="*/ 55 h 466"/>
                <a:gd name="T6" fmla="*/ 197 w 593"/>
                <a:gd name="T7" fmla="*/ 40 h 466"/>
                <a:gd name="T8" fmla="*/ 140 w 593"/>
                <a:gd name="T9" fmla="*/ 44 h 466"/>
                <a:gd name="T10" fmla="*/ 94 w 593"/>
                <a:gd name="T11" fmla="*/ 61 h 466"/>
                <a:gd name="T12" fmla="*/ 67 w 593"/>
                <a:gd name="T13" fmla="*/ 79 h 466"/>
                <a:gd name="T14" fmla="*/ 44 w 593"/>
                <a:gd name="T15" fmla="*/ 100 h 466"/>
                <a:gd name="T16" fmla="*/ 25 w 593"/>
                <a:gd name="T17" fmla="*/ 125 h 466"/>
                <a:gd name="T18" fmla="*/ 10 w 593"/>
                <a:gd name="T19" fmla="*/ 151 h 466"/>
                <a:gd name="T20" fmla="*/ 0 w 593"/>
                <a:gd name="T21" fmla="*/ 181 h 466"/>
                <a:gd name="T22" fmla="*/ 42 w 593"/>
                <a:gd name="T23" fmla="*/ 156 h 466"/>
                <a:gd name="T24" fmla="*/ 73 w 593"/>
                <a:gd name="T25" fmla="*/ 114 h 466"/>
                <a:gd name="T26" fmla="*/ 117 w 593"/>
                <a:gd name="T27" fmla="*/ 84 h 466"/>
                <a:gd name="T28" fmla="*/ 166 w 593"/>
                <a:gd name="T29" fmla="*/ 70 h 466"/>
                <a:gd name="T30" fmla="*/ 216 w 593"/>
                <a:gd name="T31" fmla="*/ 74 h 466"/>
                <a:gd name="T32" fmla="*/ 259 w 593"/>
                <a:gd name="T33" fmla="*/ 90 h 466"/>
                <a:gd name="T34" fmla="*/ 293 w 593"/>
                <a:gd name="T35" fmla="*/ 59 h 466"/>
                <a:gd name="T36" fmla="*/ 336 w 593"/>
                <a:gd name="T37" fmla="*/ 38 h 466"/>
                <a:gd name="T38" fmla="*/ 385 w 593"/>
                <a:gd name="T39" fmla="*/ 30 h 466"/>
                <a:gd name="T40" fmla="*/ 445 w 593"/>
                <a:gd name="T41" fmla="*/ 40 h 466"/>
                <a:gd name="T42" fmla="*/ 492 w 593"/>
                <a:gd name="T43" fmla="*/ 65 h 466"/>
                <a:gd name="T44" fmla="*/ 529 w 593"/>
                <a:gd name="T45" fmla="*/ 101 h 466"/>
                <a:gd name="T46" fmla="*/ 552 w 593"/>
                <a:gd name="T47" fmla="*/ 146 h 466"/>
                <a:gd name="T48" fmla="*/ 563 w 593"/>
                <a:gd name="T49" fmla="*/ 196 h 466"/>
                <a:gd name="T50" fmla="*/ 561 w 593"/>
                <a:gd name="T51" fmla="*/ 245 h 466"/>
                <a:gd name="T52" fmla="*/ 546 w 593"/>
                <a:gd name="T53" fmla="*/ 290 h 466"/>
                <a:gd name="T54" fmla="*/ 521 w 593"/>
                <a:gd name="T55" fmla="*/ 328 h 466"/>
                <a:gd name="T56" fmla="*/ 479 w 593"/>
                <a:gd name="T57" fmla="*/ 359 h 466"/>
                <a:gd name="T58" fmla="*/ 428 w 593"/>
                <a:gd name="T59" fmla="*/ 376 h 466"/>
                <a:gd name="T60" fmla="*/ 381 w 593"/>
                <a:gd name="T61" fmla="*/ 379 h 466"/>
                <a:gd name="T62" fmla="*/ 362 w 593"/>
                <a:gd name="T63" fmla="*/ 404 h 466"/>
                <a:gd name="T64" fmla="*/ 331 w 593"/>
                <a:gd name="T65" fmla="*/ 426 h 466"/>
                <a:gd name="T66" fmla="*/ 307 w 593"/>
                <a:gd name="T67" fmla="*/ 435 h 466"/>
                <a:gd name="T68" fmla="*/ 281 w 593"/>
                <a:gd name="T69" fmla="*/ 435 h 466"/>
                <a:gd name="T70" fmla="*/ 246 w 593"/>
                <a:gd name="T71" fmla="*/ 423 h 466"/>
                <a:gd name="T72" fmla="*/ 219 w 593"/>
                <a:gd name="T73" fmla="*/ 399 h 466"/>
                <a:gd name="T74" fmla="*/ 189 w 593"/>
                <a:gd name="T75" fmla="*/ 408 h 466"/>
                <a:gd name="T76" fmla="*/ 204 w 593"/>
                <a:gd name="T77" fmla="*/ 428 h 466"/>
                <a:gd name="T78" fmla="*/ 222 w 593"/>
                <a:gd name="T79" fmla="*/ 445 h 466"/>
                <a:gd name="T80" fmla="*/ 245 w 593"/>
                <a:gd name="T81" fmla="*/ 456 h 466"/>
                <a:gd name="T82" fmla="*/ 268 w 593"/>
                <a:gd name="T83" fmla="*/ 464 h 466"/>
                <a:gd name="T84" fmla="*/ 294 w 593"/>
                <a:gd name="T85" fmla="*/ 466 h 466"/>
                <a:gd name="T86" fmla="*/ 336 w 593"/>
                <a:gd name="T87" fmla="*/ 457 h 466"/>
                <a:gd name="T88" fmla="*/ 374 w 593"/>
                <a:gd name="T89" fmla="*/ 434 h 466"/>
                <a:gd name="T90" fmla="*/ 418 w 593"/>
                <a:gd name="T91" fmla="*/ 408 h 466"/>
                <a:gd name="T92" fmla="*/ 479 w 593"/>
                <a:gd name="T93" fmla="*/ 392 h 466"/>
                <a:gd name="T94" fmla="*/ 521 w 593"/>
                <a:gd name="T95" fmla="*/ 369 h 466"/>
                <a:gd name="T96" fmla="*/ 542 w 593"/>
                <a:gd name="T97" fmla="*/ 348 h 466"/>
                <a:gd name="T98" fmla="*/ 573 w 593"/>
                <a:gd name="T99" fmla="*/ 303 h 466"/>
                <a:gd name="T100" fmla="*/ 589 w 593"/>
                <a:gd name="T101" fmla="*/ 251 h 466"/>
                <a:gd name="T102" fmla="*/ 593 w 593"/>
                <a:gd name="T103" fmla="*/ 193 h 466"/>
                <a:gd name="T104" fmla="*/ 580 w 593"/>
                <a:gd name="T105" fmla="*/ 136 h 466"/>
                <a:gd name="T106" fmla="*/ 552 w 593"/>
                <a:gd name="T107" fmla="*/ 84 h 466"/>
                <a:gd name="T108" fmla="*/ 510 w 593"/>
                <a:gd name="T109" fmla="*/ 41 h 466"/>
                <a:gd name="T110" fmla="*/ 484 w 593"/>
                <a:gd name="T111" fmla="*/ 24 h 466"/>
                <a:gd name="T112" fmla="*/ 455 w 593"/>
                <a:gd name="T113" fmla="*/ 11 h 466"/>
                <a:gd name="T114" fmla="*/ 422 w 593"/>
                <a:gd name="T115" fmla="*/ 4 h 466"/>
                <a:gd name="T116" fmla="*/ 385 w 593"/>
                <a:gd name="T11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3" h="466">
                  <a:moveTo>
                    <a:pt x="385" y="0"/>
                  </a:moveTo>
                  <a:lnTo>
                    <a:pt x="366" y="2"/>
                  </a:lnTo>
                  <a:lnTo>
                    <a:pt x="348" y="4"/>
                  </a:lnTo>
                  <a:lnTo>
                    <a:pt x="331" y="8"/>
                  </a:lnTo>
                  <a:lnTo>
                    <a:pt x="315" y="14"/>
                  </a:lnTo>
                  <a:lnTo>
                    <a:pt x="298" y="22"/>
                  </a:lnTo>
                  <a:lnTo>
                    <a:pt x="282" y="30"/>
                  </a:lnTo>
                  <a:lnTo>
                    <a:pt x="267" y="42"/>
                  </a:lnTo>
                  <a:lnTo>
                    <a:pt x="252" y="55"/>
                  </a:lnTo>
                  <a:lnTo>
                    <a:pt x="234" y="48"/>
                  </a:lnTo>
                  <a:lnTo>
                    <a:pt x="216" y="43"/>
                  </a:lnTo>
                  <a:lnTo>
                    <a:pt x="197" y="40"/>
                  </a:lnTo>
                  <a:lnTo>
                    <a:pt x="179" y="40"/>
                  </a:lnTo>
                  <a:lnTo>
                    <a:pt x="159" y="41"/>
                  </a:lnTo>
                  <a:lnTo>
                    <a:pt x="140" y="44"/>
                  </a:lnTo>
                  <a:lnTo>
                    <a:pt x="122" y="50"/>
                  </a:lnTo>
                  <a:lnTo>
                    <a:pt x="104" y="57"/>
                  </a:lnTo>
                  <a:lnTo>
                    <a:pt x="94" y="61"/>
                  </a:lnTo>
                  <a:lnTo>
                    <a:pt x="84" y="67"/>
                  </a:lnTo>
                  <a:lnTo>
                    <a:pt x="76" y="72"/>
                  </a:lnTo>
                  <a:lnTo>
                    <a:pt x="67" y="79"/>
                  </a:lnTo>
                  <a:lnTo>
                    <a:pt x="59" y="85"/>
                  </a:lnTo>
                  <a:lnTo>
                    <a:pt x="51" y="92"/>
                  </a:lnTo>
                  <a:lnTo>
                    <a:pt x="44" y="100"/>
                  </a:lnTo>
                  <a:lnTo>
                    <a:pt x="37" y="107"/>
                  </a:lnTo>
                  <a:lnTo>
                    <a:pt x="31" y="116"/>
                  </a:lnTo>
                  <a:lnTo>
                    <a:pt x="25" y="125"/>
                  </a:lnTo>
                  <a:lnTo>
                    <a:pt x="19" y="133"/>
                  </a:lnTo>
                  <a:lnTo>
                    <a:pt x="14" y="143"/>
                  </a:lnTo>
                  <a:lnTo>
                    <a:pt x="10" y="151"/>
                  </a:lnTo>
                  <a:lnTo>
                    <a:pt x="6" y="161"/>
                  </a:lnTo>
                  <a:lnTo>
                    <a:pt x="3" y="172"/>
                  </a:lnTo>
                  <a:lnTo>
                    <a:pt x="0" y="181"/>
                  </a:lnTo>
                  <a:lnTo>
                    <a:pt x="29" y="189"/>
                  </a:lnTo>
                  <a:lnTo>
                    <a:pt x="34" y="172"/>
                  </a:lnTo>
                  <a:lnTo>
                    <a:pt x="42" y="156"/>
                  </a:lnTo>
                  <a:lnTo>
                    <a:pt x="50" y="141"/>
                  </a:lnTo>
                  <a:lnTo>
                    <a:pt x="61" y="127"/>
                  </a:lnTo>
                  <a:lnTo>
                    <a:pt x="73" y="114"/>
                  </a:lnTo>
                  <a:lnTo>
                    <a:pt x="86" y="102"/>
                  </a:lnTo>
                  <a:lnTo>
                    <a:pt x="101" y="92"/>
                  </a:lnTo>
                  <a:lnTo>
                    <a:pt x="117" y="84"/>
                  </a:lnTo>
                  <a:lnTo>
                    <a:pt x="133" y="77"/>
                  </a:lnTo>
                  <a:lnTo>
                    <a:pt x="150" y="73"/>
                  </a:lnTo>
                  <a:lnTo>
                    <a:pt x="166" y="70"/>
                  </a:lnTo>
                  <a:lnTo>
                    <a:pt x="183" y="70"/>
                  </a:lnTo>
                  <a:lnTo>
                    <a:pt x="200" y="71"/>
                  </a:lnTo>
                  <a:lnTo>
                    <a:pt x="216" y="74"/>
                  </a:lnTo>
                  <a:lnTo>
                    <a:pt x="233" y="79"/>
                  </a:lnTo>
                  <a:lnTo>
                    <a:pt x="249" y="86"/>
                  </a:lnTo>
                  <a:lnTo>
                    <a:pt x="259" y="90"/>
                  </a:lnTo>
                  <a:lnTo>
                    <a:pt x="266" y="83"/>
                  </a:lnTo>
                  <a:lnTo>
                    <a:pt x="280" y="70"/>
                  </a:lnTo>
                  <a:lnTo>
                    <a:pt x="293" y="59"/>
                  </a:lnTo>
                  <a:lnTo>
                    <a:pt x="307" y="51"/>
                  </a:lnTo>
                  <a:lnTo>
                    <a:pt x="321" y="43"/>
                  </a:lnTo>
                  <a:lnTo>
                    <a:pt x="336" y="38"/>
                  </a:lnTo>
                  <a:lnTo>
                    <a:pt x="352" y="34"/>
                  </a:lnTo>
                  <a:lnTo>
                    <a:pt x="368" y="31"/>
                  </a:lnTo>
                  <a:lnTo>
                    <a:pt x="385" y="30"/>
                  </a:lnTo>
                  <a:lnTo>
                    <a:pt x="407" y="31"/>
                  </a:lnTo>
                  <a:lnTo>
                    <a:pt x="426" y="35"/>
                  </a:lnTo>
                  <a:lnTo>
                    <a:pt x="445" y="40"/>
                  </a:lnTo>
                  <a:lnTo>
                    <a:pt x="462" y="46"/>
                  </a:lnTo>
                  <a:lnTo>
                    <a:pt x="478" y="55"/>
                  </a:lnTo>
                  <a:lnTo>
                    <a:pt x="492" y="65"/>
                  </a:lnTo>
                  <a:lnTo>
                    <a:pt x="506" y="75"/>
                  </a:lnTo>
                  <a:lnTo>
                    <a:pt x="518" y="88"/>
                  </a:lnTo>
                  <a:lnTo>
                    <a:pt x="529" y="101"/>
                  </a:lnTo>
                  <a:lnTo>
                    <a:pt x="537" y="115"/>
                  </a:lnTo>
                  <a:lnTo>
                    <a:pt x="546" y="130"/>
                  </a:lnTo>
                  <a:lnTo>
                    <a:pt x="552" y="146"/>
                  </a:lnTo>
                  <a:lnTo>
                    <a:pt x="556" y="162"/>
                  </a:lnTo>
                  <a:lnTo>
                    <a:pt x="561" y="179"/>
                  </a:lnTo>
                  <a:lnTo>
                    <a:pt x="563" y="196"/>
                  </a:lnTo>
                  <a:lnTo>
                    <a:pt x="563" y="212"/>
                  </a:lnTo>
                  <a:lnTo>
                    <a:pt x="563" y="229"/>
                  </a:lnTo>
                  <a:lnTo>
                    <a:pt x="561" y="245"/>
                  </a:lnTo>
                  <a:lnTo>
                    <a:pt x="556" y="260"/>
                  </a:lnTo>
                  <a:lnTo>
                    <a:pt x="552" y="275"/>
                  </a:lnTo>
                  <a:lnTo>
                    <a:pt x="546" y="290"/>
                  </a:lnTo>
                  <a:lnTo>
                    <a:pt x="539" y="303"/>
                  </a:lnTo>
                  <a:lnTo>
                    <a:pt x="531" y="316"/>
                  </a:lnTo>
                  <a:lnTo>
                    <a:pt x="521" y="328"/>
                  </a:lnTo>
                  <a:lnTo>
                    <a:pt x="508" y="340"/>
                  </a:lnTo>
                  <a:lnTo>
                    <a:pt x="494" y="350"/>
                  </a:lnTo>
                  <a:lnTo>
                    <a:pt x="479" y="359"/>
                  </a:lnTo>
                  <a:lnTo>
                    <a:pt x="463" y="366"/>
                  </a:lnTo>
                  <a:lnTo>
                    <a:pt x="446" y="372"/>
                  </a:lnTo>
                  <a:lnTo>
                    <a:pt x="428" y="376"/>
                  </a:lnTo>
                  <a:lnTo>
                    <a:pt x="409" y="378"/>
                  </a:lnTo>
                  <a:lnTo>
                    <a:pt x="388" y="379"/>
                  </a:lnTo>
                  <a:lnTo>
                    <a:pt x="381" y="379"/>
                  </a:lnTo>
                  <a:lnTo>
                    <a:pt x="377" y="386"/>
                  </a:lnTo>
                  <a:lnTo>
                    <a:pt x="369" y="395"/>
                  </a:lnTo>
                  <a:lnTo>
                    <a:pt x="362" y="404"/>
                  </a:lnTo>
                  <a:lnTo>
                    <a:pt x="352" y="412"/>
                  </a:lnTo>
                  <a:lnTo>
                    <a:pt x="342" y="420"/>
                  </a:lnTo>
                  <a:lnTo>
                    <a:pt x="331" y="426"/>
                  </a:lnTo>
                  <a:lnTo>
                    <a:pt x="319" y="432"/>
                  </a:lnTo>
                  <a:lnTo>
                    <a:pt x="313" y="434"/>
                  </a:lnTo>
                  <a:lnTo>
                    <a:pt x="307" y="435"/>
                  </a:lnTo>
                  <a:lnTo>
                    <a:pt x="301" y="436"/>
                  </a:lnTo>
                  <a:lnTo>
                    <a:pt x="294" y="436"/>
                  </a:lnTo>
                  <a:lnTo>
                    <a:pt x="281" y="435"/>
                  </a:lnTo>
                  <a:lnTo>
                    <a:pt x="268" y="433"/>
                  </a:lnTo>
                  <a:lnTo>
                    <a:pt x="257" y="428"/>
                  </a:lnTo>
                  <a:lnTo>
                    <a:pt x="246" y="423"/>
                  </a:lnTo>
                  <a:lnTo>
                    <a:pt x="235" y="417"/>
                  </a:lnTo>
                  <a:lnTo>
                    <a:pt x="227" y="408"/>
                  </a:lnTo>
                  <a:lnTo>
                    <a:pt x="219" y="399"/>
                  </a:lnTo>
                  <a:lnTo>
                    <a:pt x="213" y="388"/>
                  </a:lnTo>
                  <a:lnTo>
                    <a:pt x="186" y="401"/>
                  </a:lnTo>
                  <a:lnTo>
                    <a:pt x="189" y="408"/>
                  </a:lnTo>
                  <a:lnTo>
                    <a:pt x="195" y="416"/>
                  </a:lnTo>
                  <a:lnTo>
                    <a:pt x="199" y="422"/>
                  </a:lnTo>
                  <a:lnTo>
                    <a:pt x="204" y="428"/>
                  </a:lnTo>
                  <a:lnTo>
                    <a:pt x="211" y="434"/>
                  </a:lnTo>
                  <a:lnTo>
                    <a:pt x="216" y="439"/>
                  </a:lnTo>
                  <a:lnTo>
                    <a:pt x="222" y="445"/>
                  </a:lnTo>
                  <a:lnTo>
                    <a:pt x="230" y="449"/>
                  </a:lnTo>
                  <a:lnTo>
                    <a:pt x="237" y="453"/>
                  </a:lnTo>
                  <a:lnTo>
                    <a:pt x="245" y="456"/>
                  </a:lnTo>
                  <a:lnTo>
                    <a:pt x="252" y="460"/>
                  </a:lnTo>
                  <a:lnTo>
                    <a:pt x="260" y="462"/>
                  </a:lnTo>
                  <a:lnTo>
                    <a:pt x="268" y="464"/>
                  </a:lnTo>
                  <a:lnTo>
                    <a:pt x="277" y="465"/>
                  </a:lnTo>
                  <a:lnTo>
                    <a:pt x="286" y="466"/>
                  </a:lnTo>
                  <a:lnTo>
                    <a:pt x="294" y="466"/>
                  </a:lnTo>
                  <a:lnTo>
                    <a:pt x="308" y="465"/>
                  </a:lnTo>
                  <a:lnTo>
                    <a:pt x="322" y="463"/>
                  </a:lnTo>
                  <a:lnTo>
                    <a:pt x="336" y="457"/>
                  </a:lnTo>
                  <a:lnTo>
                    <a:pt x="349" y="451"/>
                  </a:lnTo>
                  <a:lnTo>
                    <a:pt x="362" y="443"/>
                  </a:lnTo>
                  <a:lnTo>
                    <a:pt x="374" y="434"/>
                  </a:lnTo>
                  <a:lnTo>
                    <a:pt x="386" y="422"/>
                  </a:lnTo>
                  <a:lnTo>
                    <a:pt x="396" y="409"/>
                  </a:lnTo>
                  <a:lnTo>
                    <a:pt x="418" y="408"/>
                  </a:lnTo>
                  <a:lnTo>
                    <a:pt x="440" y="405"/>
                  </a:lnTo>
                  <a:lnTo>
                    <a:pt x="460" y="400"/>
                  </a:lnTo>
                  <a:lnTo>
                    <a:pt x="479" y="392"/>
                  </a:lnTo>
                  <a:lnTo>
                    <a:pt x="496" y="384"/>
                  </a:lnTo>
                  <a:lnTo>
                    <a:pt x="514" y="374"/>
                  </a:lnTo>
                  <a:lnTo>
                    <a:pt x="521" y="369"/>
                  </a:lnTo>
                  <a:lnTo>
                    <a:pt x="529" y="362"/>
                  </a:lnTo>
                  <a:lnTo>
                    <a:pt x="536" y="356"/>
                  </a:lnTo>
                  <a:lnTo>
                    <a:pt x="542" y="348"/>
                  </a:lnTo>
                  <a:lnTo>
                    <a:pt x="554" y="334"/>
                  </a:lnTo>
                  <a:lnTo>
                    <a:pt x="564" y="319"/>
                  </a:lnTo>
                  <a:lnTo>
                    <a:pt x="573" y="303"/>
                  </a:lnTo>
                  <a:lnTo>
                    <a:pt x="580" y="287"/>
                  </a:lnTo>
                  <a:lnTo>
                    <a:pt x="585" y="269"/>
                  </a:lnTo>
                  <a:lnTo>
                    <a:pt x="589" y="251"/>
                  </a:lnTo>
                  <a:lnTo>
                    <a:pt x="593" y="233"/>
                  </a:lnTo>
                  <a:lnTo>
                    <a:pt x="593" y="212"/>
                  </a:lnTo>
                  <a:lnTo>
                    <a:pt x="593" y="193"/>
                  </a:lnTo>
                  <a:lnTo>
                    <a:pt x="589" y="174"/>
                  </a:lnTo>
                  <a:lnTo>
                    <a:pt x="585" y="155"/>
                  </a:lnTo>
                  <a:lnTo>
                    <a:pt x="580" y="136"/>
                  </a:lnTo>
                  <a:lnTo>
                    <a:pt x="572" y="118"/>
                  </a:lnTo>
                  <a:lnTo>
                    <a:pt x="563" y="101"/>
                  </a:lnTo>
                  <a:lnTo>
                    <a:pt x="552" y="84"/>
                  </a:lnTo>
                  <a:lnTo>
                    <a:pt x="539" y="68"/>
                  </a:lnTo>
                  <a:lnTo>
                    <a:pt x="525" y="54"/>
                  </a:lnTo>
                  <a:lnTo>
                    <a:pt x="510" y="41"/>
                  </a:lnTo>
                  <a:lnTo>
                    <a:pt x="502" y="35"/>
                  </a:lnTo>
                  <a:lnTo>
                    <a:pt x="493" y="29"/>
                  </a:lnTo>
                  <a:lnTo>
                    <a:pt x="484" y="24"/>
                  </a:lnTo>
                  <a:lnTo>
                    <a:pt x="474" y="20"/>
                  </a:lnTo>
                  <a:lnTo>
                    <a:pt x="464" y="15"/>
                  </a:lnTo>
                  <a:lnTo>
                    <a:pt x="455" y="11"/>
                  </a:lnTo>
                  <a:lnTo>
                    <a:pt x="444" y="8"/>
                  </a:lnTo>
                  <a:lnTo>
                    <a:pt x="432" y="6"/>
                  </a:lnTo>
                  <a:lnTo>
                    <a:pt x="422" y="4"/>
                  </a:lnTo>
                  <a:lnTo>
                    <a:pt x="410" y="2"/>
                  </a:lnTo>
                  <a:lnTo>
                    <a:pt x="397" y="2"/>
                  </a:lnTo>
                  <a:lnTo>
                    <a:pt x="3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7" name="Freeform 192">
              <a:extLst>
                <a:ext uri="{FF2B5EF4-FFF2-40B4-BE49-F238E27FC236}">
                  <a16:creationId xmlns:a16="http://schemas.microsoft.com/office/drawing/2014/main" id="{B0E44CAE-FDCF-41A0-B19C-14763CDE80F4}"/>
                </a:ext>
              </a:extLst>
            </p:cNvPr>
            <p:cNvSpPr>
              <a:spLocks noEditPoints="1"/>
            </p:cNvSpPr>
            <p:nvPr/>
          </p:nvSpPr>
          <p:spPr bwMode="auto">
            <a:xfrm>
              <a:off x="1458913" y="869951"/>
              <a:ext cx="190500" cy="201613"/>
            </a:xfrm>
            <a:custGeom>
              <a:avLst/>
              <a:gdLst>
                <a:gd name="T0" fmla="*/ 53 w 601"/>
                <a:gd name="T1" fmla="*/ 513 h 635"/>
                <a:gd name="T2" fmla="*/ 196 w 601"/>
                <a:gd name="T3" fmla="*/ 439 h 635"/>
                <a:gd name="T4" fmla="*/ 241 w 601"/>
                <a:gd name="T5" fmla="*/ 411 h 635"/>
                <a:gd name="T6" fmla="*/ 230 w 601"/>
                <a:gd name="T7" fmla="*/ 321 h 635"/>
                <a:gd name="T8" fmla="*/ 209 w 601"/>
                <a:gd name="T9" fmla="*/ 296 h 635"/>
                <a:gd name="T10" fmla="*/ 201 w 601"/>
                <a:gd name="T11" fmla="*/ 242 h 635"/>
                <a:gd name="T12" fmla="*/ 195 w 601"/>
                <a:gd name="T13" fmla="*/ 230 h 635"/>
                <a:gd name="T14" fmla="*/ 183 w 601"/>
                <a:gd name="T15" fmla="*/ 223 h 635"/>
                <a:gd name="T16" fmla="*/ 176 w 601"/>
                <a:gd name="T17" fmla="*/ 198 h 635"/>
                <a:gd name="T18" fmla="*/ 186 w 601"/>
                <a:gd name="T19" fmla="*/ 182 h 635"/>
                <a:gd name="T20" fmla="*/ 198 w 601"/>
                <a:gd name="T21" fmla="*/ 174 h 635"/>
                <a:gd name="T22" fmla="*/ 193 w 601"/>
                <a:gd name="T23" fmla="*/ 144 h 635"/>
                <a:gd name="T24" fmla="*/ 178 w 601"/>
                <a:gd name="T25" fmla="*/ 92 h 635"/>
                <a:gd name="T26" fmla="*/ 201 w 601"/>
                <a:gd name="T27" fmla="*/ 87 h 635"/>
                <a:gd name="T28" fmla="*/ 218 w 601"/>
                <a:gd name="T29" fmla="*/ 78 h 635"/>
                <a:gd name="T30" fmla="*/ 232 w 601"/>
                <a:gd name="T31" fmla="*/ 55 h 635"/>
                <a:gd name="T32" fmla="*/ 270 w 601"/>
                <a:gd name="T33" fmla="*/ 36 h 635"/>
                <a:gd name="T34" fmla="*/ 351 w 601"/>
                <a:gd name="T35" fmla="*/ 33 h 635"/>
                <a:gd name="T36" fmla="*/ 399 w 601"/>
                <a:gd name="T37" fmla="*/ 51 h 635"/>
                <a:gd name="T38" fmla="*/ 417 w 601"/>
                <a:gd name="T39" fmla="*/ 76 h 635"/>
                <a:gd name="T40" fmla="*/ 411 w 601"/>
                <a:gd name="T41" fmla="*/ 134 h 635"/>
                <a:gd name="T42" fmla="*/ 400 w 601"/>
                <a:gd name="T43" fmla="*/ 172 h 635"/>
                <a:gd name="T44" fmla="*/ 411 w 601"/>
                <a:gd name="T45" fmla="*/ 181 h 635"/>
                <a:gd name="T46" fmla="*/ 421 w 601"/>
                <a:gd name="T47" fmla="*/ 191 h 635"/>
                <a:gd name="T48" fmla="*/ 416 w 601"/>
                <a:gd name="T49" fmla="*/ 223 h 635"/>
                <a:gd name="T50" fmla="*/ 402 w 601"/>
                <a:gd name="T51" fmla="*/ 231 h 635"/>
                <a:gd name="T52" fmla="*/ 398 w 601"/>
                <a:gd name="T53" fmla="*/ 255 h 635"/>
                <a:gd name="T54" fmla="*/ 384 w 601"/>
                <a:gd name="T55" fmla="*/ 307 h 635"/>
                <a:gd name="T56" fmla="*/ 361 w 601"/>
                <a:gd name="T57" fmla="*/ 330 h 635"/>
                <a:gd name="T58" fmla="*/ 366 w 601"/>
                <a:gd name="T59" fmla="*/ 423 h 635"/>
                <a:gd name="T60" fmla="*/ 503 w 601"/>
                <a:gd name="T61" fmla="*/ 488 h 635"/>
                <a:gd name="T62" fmla="*/ 571 w 601"/>
                <a:gd name="T63" fmla="*/ 606 h 635"/>
                <a:gd name="T64" fmla="*/ 390 w 601"/>
                <a:gd name="T65" fmla="*/ 400 h 635"/>
                <a:gd name="T66" fmla="*/ 413 w 601"/>
                <a:gd name="T67" fmla="*/ 317 h 635"/>
                <a:gd name="T68" fmla="*/ 433 w 601"/>
                <a:gd name="T69" fmla="*/ 249 h 635"/>
                <a:gd name="T70" fmla="*/ 450 w 601"/>
                <a:gd name="T71" fmla="*/ 215 h 635"/>
                <a:gd name="T72" fmla="*/ 448 w 601"/>
                <a:gd name="T73" fmla="*/ 174 h 635"/>
                <a:gd name="T74" fmla="*/ 447 w 601"/>
                <a:gd name="T75" fmla="*/ 119 h 635"/>
                <a:gd name="T76" fmla="*/ 444 w 601"/>
                <a:gd name="T77" fmla="*/ 59 h 635"/>
                <a:gd name="T78" fmla="*/ 414 w 601"/>
                <a:gd name="T79" fmla="*/ 24 h 635"/>
                <a:gd name="T80" fmla="*/ 368 w 601"/>
                <a:gd name="T81" fmla="*/ 5 h 635"/>
                <a:gd name="T82" fmla="*/ 282 w 601"/>
                <a:gd name="T83" fmla="*/ 3 h 635"/>
                <a:gd name="T84" fmla="*/ 222 w 601"/>
                <a:gd name="T85" fmla="*/ 24 h 635"/>
                <a:gd name="T86" fmla="*/ 195 w 601"/>
                <a:gd name="T87" fmla="*/ 55 h 635"/>
                <a:gd name="T88" fmla="*/ 163 w 601"/>
                <a:gd name="T89" fmla="*/ 62 h 635"/>
                <a:gd name="T90" fmla="*/ 151 w 601"/>
                <a:gd name="T91" fmla="*/ 80 h 635"/>
                <a:gd name="T92" fmla="*/ 157 w 601"/>
                <a:gd name="T93" fmla="*/ 136 h 635"/>
                <a:gd name="T94" fmla="*/ 154 w 601"/>
                <a:gd name="T95" fmla="*/ 168 h 635"/>
                <a:gd name="T96" fmla="*/ 146 w 601"/>
                <a:gd name="T97" fmla="*/ 207 h 635"/>
                <a:gd name="T98" fmla="*/ 160 w 601"/>
                <a:gd name="T99" fmla="*/ 244 h 635"/>
                <a:gd name="T100" fmla="*/ 181 w 601"/>
                <a:gd name="T101" fmla="*/ 305 h 635"/>
                <a:gd name="T102" fmla="*/ 211 w 601"/>
                <a:gd name="T103" fmla="*/ 344 h 635"/>
                <a:gd name="T104" fmla="*/ 77 w 601"/>
                <a:gd name="T105" fmla="*/ 464 h 635"/>
                <a:gd name="T106" fmla="*/ 4 w 601"/>
                <a:gd name="T107" fmla="*/ 518 h 635"/>
                <a:gd name="T108" fmla="*/ 1 w 601"/>
                <a:gd name="T109" fmla="*/ 624 h 635"/>
                <a:gd name="T110" fmla="*/ 9 w 601"/>
                <a:gd name="T111" fmla="*/ 634 h 635"/>
                <a:gd name="T112" fmla="*/ 591 w 601"/>
                <a:gd name="T113" fmla="*/ 634 h 635"/>
                <a:gd name="T114" fmla="*/ 600 w 601"/>
                <a:gd name="T115" fmla="*/ 624 h 635"/>
                <a:gd name="T116" fmla="*/ 597 w 601"/>
                <a:gd name="T117" fmla="*/ 518 h 635"/>
                <a:gd name="T118" fmla="*/ 523 w 601"/>
                <a:gd name="T119" fmla="*/ 46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1" h="635">
                  <a:moveTo>
                    <a:pt x="571" y="606"/>
                  </a:moveTo>
                  <a:lnTo>
                    <a:pt x="30" y="606"/>
                  </a:lnTo>
                  <a:lnTo>
                    <a:pt x="30" y="533"/>
                  </a:lnTo>
                  <a:lnTo>
                    <a:pt x="38" y="525"/>
                  </a:lnTo>
                  <a:lnTo>
                    <a:pt x="53" y="513"/>
                  </a:lnTo>
                  <a:lnTo>
                    <a:pt x="75" y="501"/>
                  </a:lnTo>
                  <a:lnTo>
                    <a:pt x="100" y="486"/>
                  </a:lnTo>
                  <a:lnTo>
                    <a:pt x="129" y="470"/>
                  </a:lnTo>
                  <a:lnTo>
                    <a:pt x="161" y="454"/>
                  </a:lnTo>
                  <a:lnTo>
                    <a:pt x="196" y="439"/>
                  </a:lnTo>
                  <a:lnTo>
                    <a:pt x="231" y="425"/>
                  </a:lnTo>
                  <a:lnTo>
                    <a:pt x="234" y="423"/>
                  </a:lnTo>
                  <a:lnTo>
                    <a:pt x="237" y="419"/>
                  </a:lnTo>
                  <a:lnTo>
                    <a:pt x="239" y="415"/>
                  </a:lnTo>
                  <a:lnTo>
                    <a:pt x="241" y="411"/>
                  </a:lnTo>
                  <a:lnTo>
                    <a:pt x="241" y="336"/>
                  </a:lnTo>
                  <a:lnTo>
                    <a:pt x="239" y="330"/>
                  </a:lnTo>
                  <a:lnTo>
                    <a:pt x="237" y="326"/>
                  </a:lnTo>
                  <a:lnTo>
                    <a:pt x="234" y="323"/>
                  </a:lnTo>
                  <a:lnTo>
                    <a:pt x="230" y="321"/>
                  </a:lnTo>
                  <a:lnTo>
                    <a:pt x="229" y="321"/>
                  </a:lnTo>
                  <a:lnTo>
                    <a:pt x="224" y="318"/>
                  </a:lnTo>
                  <a:lnTo>
                    <a:pt x="220" y="313"/>
                  </a:lnTo>
                  <a:lnTo>
                    <a:pt x="215" y="307"/>
                  </a:lnTo>
                  <a:lnTo>
                    <a:pt x="209" y="296"/>
                  </a:lnTo>
                  <a:lnTo>
                    <a:pt x="205" y="282"/>
                  </a:lnTo>
                  <a:lnTo>
                    <a:pt x="203" y="274"/>
                  </a:lnTo>
                  <a:lnTo>
                    <a:pt x="202" y="265"/>
                  </a:lnTo>
                  <a:lnTo>
                    <a:pt x="201" y="255"/>
                  </a:lnTo>
                  <a:lnTo>
                    <a:pt x="201" y="242"/>
                  </a:lnTo>
                  <a:lnTo>
                    <a:pt x="200" y="240"/>
                  </a:lnTo>
                  <a:lnTo>
                    <a:pt x="200" y="236"/>
                  </a:lnTo>
                  <a:lnTo>
                    <a:pt x="198" y="234"/>
                  </a:lnTo>
                  <a:lnTo>
                    <a:pt x="197" y="231"/>
                  </a:lnTo>
                  <a:lnTo>
                    <a:pt x="195" y="230"/>
                  </a:lnTo>
                  <a:lnTo>
                    <a:pt x="191" y="228"/>
                  </a:lnTo>
                  <a:lnTo>
                    <a:pt x="189" y="228"/>
                  </a:lnTo>
                  <a:lnTo>
                    <a:pt x="186" y="227"/>
                  </a:lnTo>
                  <a:lnTo>
                    <a:pt x="184" y="226"/>
                  </a:lnTo>
                  <a:lnTo>
                    <a:pt x="183" y="223"/>
                  </a:lnTo>
                  <a:lnTo>
                    <a:pt x="181" y="219"/>
                  </a:lnTo>
                  <a:lnTo>
                    <a:pt x="178" y="215"/>
                  </a:lnTo>
                  <a:lnTo>
                    <a:pt x="177" y="210"/>
                  </a:lnTo>
                  <a:lnTo>
                    <a:pt x="176" y="204"/>
                  </a:lnTo>
                  <a:lnTo>
                    <a:pt x="176" y="198"/>
                  </a:lnTo>
                  <a:lnTo>
                    <a:pt x="177" y="191"/>
                  </a:lnTo>
                  <a:lnTo>
                    <a:pt x="178" y="186"/>
                  </a:lnTo>
                  <a:lnTo>
                    <a:pt x="182" y="183"/>
                  </a:lnTo>
                  <a:lnTo>
                    <a:pt x="184" y="182"/>
                  </a:lnTo>
                  <a:lnTo>
                    <a:pt x="186" y="182"/>
                  </a:lnTo>
                  <a:lnTo>
                    <a:pt x="188" y="181"/>
                  </a:lnTo>
                  <a:lnTo>
                    <a:pt x="191" y="181"/>
                  </a:lnTo>
                  <a:lnTo>
                    <a:pt x="193" y="179"/>
                  </a:lnTo>
                  <a:lnTo>
                    <a:pt x="197" y="176"/>
                  </a:lnTo>
                  <a:lnTo>
                    <a:pt x="198" y="174"/>
                  </a:lnTo>
                  <a:lnTo>
                    <a:pt x="200" y="172"/>
                  </a:lnTo>
                  <a:lnTo>
                    <a:pt x="200" y="169"/>
                  </a:lnTo>
                  <a:lnTo>
                    <a:pt x="201" y="167"/>
                  </a:lnTo>
                  <a:lnTo>
                    <a:pt x="199" y="158"/>
                  </a:lnTo>
                  <a:lnTo>
                    <a:pt x="193" y="144"/>
                  </a:lnTo>
                  <a:lnTo>
                    <a:pt x="188" y="133"/>
                  </a:lnTo>
                  <a:lnTo>
                    <a:pt x="183" y="115"/>
                  </a:lnTo>
                  <a:lnTo>
                    <a:pt x="180" y="107"/>
                  </a:lnTo>
                  <a:lnTo>
                    <a:pt x="178" y="98"/>
                  </a:lnTo>
                  <a:lnTo>
                    <a:pt x="178" y="92"/>
                  </a:lnTo>
                  <a:lnTo>
                    <a:pt x="180" y="88"/>
                  </a:lnTo>
                  <a:lnTo>
                    <a:pt x="184" y="85"/>
                  </a:lnTo>
                  <a:lnTo>
                    <a:pt x="189" y="84"/>
                  </a:lnTo>
                  <a:lnTo>
                    <a:pt x="195" y="85"/>
                  </a:lnTo>
                  <a:lnTo>
                    <a:pt x="201" y="87"/>
                  </a:lnTo>
                  <a:lnTo>
                    <a:pt x="207" y="87"/>
                  </a:lnTo>
                  <a:lnTo>
                    <a:pt x="213" y="84"/>
                  </a:lnTo>
                  <a:lnTo>
                    <a:pt x="215" y="82"/>
                  </a:lnTo>
                  <a:lnTo>
                    <a:pt x="217" y="80"/>
                  </a:lnTo>
                  <a:lnTo>
                    <a:pt x="218" y="78"/>
                  </a:lnTo>
                  <a:lnTo>
                    <a:pt x="219" y="76"/>
                  </a:lnTo>
                  <a:lnTo>
                    <a:pt x="221" y="69"/>
                  </a:lnTo>
                  <a:lnTo>
                    <a:pt x="223" y="64"/>
                  </a:lnTo>
                  <a:lnTo>
                    <a:pt x="228" y="60"/>
                  </a:lnTo>
                  <a:lnTo>
                    <a:pt x="232" y="55"/>
                  </a:lnTo>
                  <a:lnTo>
                    <a:pt x="237" y="51"/>
                  </a:lnTo>
                  <a:lnTo>
                    <a:pt x="243" y="47"/>
                  </a:lnTo>
                  <a:lnTo>
                    <a:pt x="249" y="44"/>
                  </a:lnTo>
                  <a:lnTo>
                    <a:pt x="255" y="40"/>
                  </a:lnTo>
                  <a:lnTo>
                    <a:pt x="270" y="36"/>
                  </a:lnTo>
                  <a:lnTo>
                    <a:pt x="285" y="33"/>
                  </a:lnTo>
                  <a:lnTo>
                    <a:pt x="302" y="31"/>
                  </a:lnTo>
                  <a:lnTo>
                    <a:pt x="318" y="30"/>
                  </a:lnTo>
                  <a:lnTo>
                    <a:pt x="334" y="31"/>
                  </a:lnTo>
                  <a:lnTo>
                    <a:pt x="351" y="33"/>
                  </a:lnTo>
                  <a:lnTo>
                    <a:pt x="366" y="36"/>
                  </a:lnTo>
                  <a:lnTo>
                    <a:pt x="381" y="40"/>
                  </a:lnTo>
                  <a:lnTo>
                    <a:pt x="387" y="44"/>
                  </a:lnTo>
                  <a:lnTo>
                    <a:pt x="394" y="47"/>
                  </a:lnTo>
                  <a:lnTo>
                    <a:pt x="399" y="51"/>
                  </a:lnTo>
                  <a:lnTo>
                    <a:pt x="404" y="55"/>
                  </a:lnTo>
                  <a:lnTo>
                    <a:pt x="409" y="60"/>
                  </a:lnTo>
                  <a:lnTo>
                    <a:pt x="413" y="64"/>
                  </a:lnTo>
                  <a:lnTo>
                    <a:pt x="415" y="69"/>
                  </a:lnTo>
                  <a:lnTo>
                    <a:pt x="417" y="76"/>
                  </a:lnTo>
                  <a:lnTo>
                    <a:pt x="419" y="87"/>
                  </a:lnTo>
                  <a:lnTo>
                    <a:pt x="419" y="96"/>
                  </a:lnTo>
                  <a:lnTo>
                    <a:pt x="418" y="107"/>
                  </a:lnTo>
                  <a:lnTo>
                    <a:pt x="416" y="116"/>
                  </a:lnTo>
                  <a:lnTo>
                    <a:pt x="411" y="134"/>
                  </a:lnTo>
                  <a:lnTo>
                    <a:pt x="404" y="149"/>
                  </a:lnTo>
                  <a:lnTo>
                    <a:pt x="400" y="158"/>
                  </a:lnTo>
                  <a:lnTo>
                    <a:pt x="399" y="167"/>
                  </a:lnTo>
                  <a:lnTo>
                    <a:pt x="399" y="169"/>
                  </a:lnTo>
                  <a:lnTo>
                    <a:pt x="400" y="172"/>
                  </a:lnTo>
                  <a:lnTo>
                    <a:pt x="401" y="174"/>
                  </a:lnTo>
                  <a:lnTo>
                    <a:pt x="403" y="177"/>
                  </a:lnTo>
                  <a:lnTo>
                    <a:pt x="405" y="179"/>
                  </a:lnTo>
                  <a:lnTo>
                    <a:pt x="409" y="181"/>
                  </a:lnTo>
                  <a:lnTo>
                    <a:pt x="411" y="181"/>
                  </a:lnTo>
                  <a:lnTo>
                    <a:pt x="414" y="182"/>
                  </a:lnTo>
                  <a:lnTo>
                    <a:pt x="416" y="182"/>
                  </a:lnTo>
                  <a:lnTo>
                    <a:pt x="418" y="183"/>
                  </a:lnTo>
                  <a:lnTo>
                    <a:pt x="420" y="185"/>
                  </a:lnTo>
                  <a:lnTo>
                    <a:pt x="421" y="191"/>
                  </a:lnTo>
                  <a:lnTo>
                    <a:pt x="422" y="198"/>
                  </a:lnTo>
                  <a:lnTo>
                    <a:pt x="422" y="203"/>
                  </a:lnTo>
                  <a:lnTo>
                    <a:pt x="421" y="210"/>
                  </a:lnTo>
                  <a:lnTo>
                    <a:pt x="419" y="215"/>
                  </a:lnTo>
                  <a:lnTo>
                    <a:pt x="416" y="223"/>
                  </a:lnTo>
                  <a:lnTo>
                    <a:pt x="413" y="227"/>
                  </a:lnTo>
                  <a:lnTo>
                    <a:pt x="410" y="228"/>
                  </a:lnTo>
                  <a:lnTo>
                    <a:pt x="406" y="228"/>
                  </a:lnTo>
                  <a:lnTo>
                    <a:pt x="404" y="230"/>
                  </a:lnTo>
                  <a:lnTo>
                    <a:pt x="402" y="231"/>
                  </a:lnTo>
                  <a:lnTo>
                    <a:pt x="400" y="234"/>
                  </a:lnTo>
                  <a:lnTo>
                    <a:pt x="399" y="236"/>
                  </a:lnTo>
                  <a:lnTo>
                    <a:pt x="398" y="240"/>
                  </a:lnTo>
                  <a:lnTo>
                    <a:pt x="398" y="242"/>
                  </a:lnTo>
                  <a:lnTo>
                    <a:pt x="398" y="255"/>
                  </a:lnTo>
                  <a:lnTo>
                    <a:pt x="397" y="265"/>
                  </a:lnTo>
                  <a:lnTo>
                    <a:pt x="396" y="274"/>
                  </a:lnTo>
                  <a:lnTo>
                    <a:pt x="394" y="282"/>
                  </a:lnTo>
                  <a:lnTo>
                    <a:pt x="389" y="296"/>
                  </a:lnTo>
                  <a:lnTo>
                    <a:pt x="384" y="307"/>
                  </a:lnTo>
                  <a:lnTo>
                    <a:pt x="375" y="319"/>
                  </a:lnTo>
                  <a:lnTo>
                    <a:pt x="371" y="321"/>
                  </a:lnTo>
                  <a:lnTo>
                    <a:pt x="367" y="323"/>
                  </a:lnTo>
                  <a:lnTo>
                    <a:pt x="364" y="326"/>
                  </a:lnTo>
                  <a:lnTo>
                    <a:pt x="361" y="330"/>
                  </a:lnTo>
                  <a:lnTo>
                    <a:pt x="360" y="336"/>
                  </a:lnTo>
                  <a:lnTo>
                    <a:pt x="360" y="411"/>
                  </a:lnTo>
                  <a:lnTo>
                    <a:pt x="361" y="415"/>
                  </a:lnTo>
                  <a:lnTo>
                    <a:pt x="364" y="419"/>
                  </a:lnTo>
                  <a:lnTo>
                    <a:pt x="366" y="423"/>
                  </a:lnTo>
                  <a:lnTo>
                    <a:pt x="370" y="425"/>
                  </a:lnTo>
                  <a:lnTo>
                    <a:pt x="406" y="440"/>
                  </a:lnTo>
                  <a:lnTo>
                    <a:pt x="441" y="456"/>
                  </a:lnTo>
                  <a:lnTo>
                    <a:pt x="474" y="472"/>
                  </a:lnTo>
                  <a:lnTo>
                    <a:pt x="503" y="488"/>
                  </a:lnTo>
                  <a:lnTo>
                    <a:pt x="528" y="502"/>
                  </a:lnTo>
                  <a:lnTo>
                    <a:pt x="549" y="515"/>
                  </a:lnTo>
                  <a:lnTo>
                    <a:pt x="563" y="525"/>
                  </a:lnTo>
                  <a:lnTo>
                    <a:pt x="571" y="533"/>
                  </a:lnTo>
                  <a:lnTo>
                    <a:pt x="571" y="606"/>
                  </a:lnTo>
                  <a:close/>
                  <a:moveTo>
                    <a:pt x="523" y="464"/>
                  </a:moveTo>
                  <a:lnTo>
                    <a:pt x="492" y="448"/>
                  </a:lnTo>
                  <a:lnTo>
                    <a:pt x="459" y="431"/>
                  </a:lnTo>
                  <a:lnTo>
                    <a:pt x="425" y="415"/>
                  </a:lnTo>
                  <a:lnTo>
                    <a:pt x="390" y="400"/>
                  </a:lnTo>
                  <a:lnTo>
                    <a:pt x="390" y="344"/>
                  </a:lnTo>
                  <a:lnTo>
                    <a:pt x="396" y="340"/>
                  </a:lnTo>
                  <a:lnTo>
                    <a:pt x="402" y="334"/>
                  </a:lnTo>
                  <a:lnTo>
                    <a:pt x="407" y="326"/>
                  </a:lnTo>
                  <a:lnTo>
                    <a:pt x="413" y="317"/>
                  </a:lnTo>
                  <a:lnTo>
                    <a:pt x="418" y="305"/>
                  </a:lnTo>
                  <a:lnTo>
                    <a:pt x="422" y="291"/>
                  </a:lnTo>
                  <a:lnTo>
                    <a:pt x="426" y="274"/>
                  </a:lnTo>
                  <a:lnTo>
                    <a:pt x="428" y="253"/>
                  </a:lnTo>
                  <a:lnTo>
                    <a:pt x="433" y="249"/>
                  </a:lnTo>
                  <a:lnTo>
                    <a:pt x="438" y="244"/>
                  </a:lnTo>
                  <a:lnTo>
                    <a:pt x="443" y="237"/>
                  </a:lnTo>
                  <a:lnTo>
                    <a:pt x="446" y="231"/>
                  </a:lnTo>
                  <a:lnTo>
                    <a:pt x="448" y="223"/>
                  </a:lnTo>
                  <a:lnTo>
                    <a:pt x="450" y="215"/>
                  </a:lnTo>
                  <a:lnTo>
                    <a:pt x="451" y="207"/>
                  </a:lnTo>
                  <a:lnTo>
                    <a:pt x="452" y="199"/>
                  </a:lnTo>
                  <a:lnTo>
                    <a:pt x="451" y="190"/>
                  </a:lnTo>
                  <a:lnTo>
                    <a:pt x="450" y="182"/>
                  </a:lnTo>
                  <a:lnTo>
                    <a:pt x="448" y="174"/>
                  </a:lnTo>
                  <a:lnTo>
                    <a:pt x="445" y="168"/>
                  </a:lnTo>
                  <a:lnTo>
                    <a:pt x="440" y="161"/>
                  </a:lnTo>
                  <a:lnTo>
                    <a:pt x="433" y="157"/>
                  </a:lnTo>
                  <a:lnTo>
                    <a:pt x="441" y="140"/>
                  </a:lnTo>
                  <a:lnTo>
                    <a:pt x="447" y="119"/>
                  </a:lnTo>
                  <a:lnTo>
                    <a:pt x="448" y="107"/>
                  </a:lnTo>
                  <a:lnTo>
                    <a:pt x="449" y="95"/>
                  </a:lnTo>
                  <a:lnTo>
                    <a:pt x="449" y="81"/>
                  </a:lnTo>
                  <a:lnTo>
                    <a:pt x="446" y="68"/>
                  </a:lnTo>
                  <a:lnTo>
                    <a:pt x="444" y="59"/>
                  </a:lnTo>
                  <a:lnTo>
                    <a:pt x="440" y="50"/>
                  </a:lnTo>
                  <a:lnTo>
                    <a:pt x="434" y="43"/>
                  </a:lnTo>
                  <a:lnTo>
                    <a:pt x="428" y="36"/>
                  </a:lnTo>
                  <a:lnTo>
                    <a:pt x="421" y="30"/>
                  </a:lnTo>
                  <a:lnTo>
                    <a:pt x="414" y="24"/>
                  </a:lnTo>
                  <a:lnTo>
                    <a:pt x="405" y="19"/>
                  </a:lnTo>
                  <a:lnTo>
                    <a:pt x="397" y="15"/>
                  </a:lnTo>
                  <a:lnTo>
                    <a:pt x="387" y="12"/>
                  </a:lnTo>
                  <a:lnTo>
                    <a:pt x="377" y="8"/>
                  </a:lnTo>
                  <a:lnTo>
                    <a:pt x="368" y="5"/>
                  </a:lnTo>
                  <a:lnTo>
                    <a:pt x="358" y="3"/>
                  </a:lnTo>
                  <a:lnTo>
                    <a:pt x="338" y="1"/>
                  </a:lnTo>
                  <a:lnTo>
                    <a:pt x="318" y="0"/>
                  </a:lnTo>
                  <a:lnTo>
                    <a:pt x="300" y="1"/>
                  </a:lnTo>
                  <a:lnTo>
                    <a:pt x="282" y="3"/>
                  </a:lnTo>
                  <a:lnTo>
                    <a:pt x="264" y="6"/>
                  </a:lnTo>
                  <a:lnTo>
                    <a:pt x="246" y="13"/>
                  </a:lnTo>
                  <a:lnTo>
                    <a:pt x="237" y="16"/>
                  </a:lnTo>
                  <a:lnTo>
                    <a:pt x="230" y="20"/>
                  </a:lnTo>
                  <a:lnTo>
                    <a:pt x="222" y="24"/>
                  </a:lnTo>
                  <a:lnTo>
                    <a:pt x="216" y="30"/>
                  </a:lnTo>
                  <a:lnTo>
                    <a:pt x="209" y="35"/>
                  </a:lnTo>
                  <a:lnTo>
                    <a:pt x="203" y="42"/>
                  </a:lnTo>
                  <a:lnTo>
                    <a:pt x="199" y="48"/>
                  </a:lnTo>
                  <a:lnTo>
                    <a:pt x="195" y="55"/>
                  </a:lnTo>
                  <a:lnTo>
                    <a:pt x="186" y="54"/>
                  </a:lnTo>
                  <a:lnTo>
                    <a:pt x="180" y="55"/>
                  </a:lnTo>
                  <a:lnTo>
                    <a:pt x="173" y="57"/>
                  </a:lnTo>
                  <a:lnTo>
                    <a:pt x="168" y="59"/>
                  </a:lnTo>
                  <a:lnTo>
                    <a:pt x="163" y="62"/>
                  </a:lnTo>
                  <a:lnTo>
                    <a:pt x="160" y="65"/>
                  </a:lnTo>
                  <a:lnTo>
                    <a:pt x="157" y="67"/>
                  </a:lnTo>
                  <a:lnTo>
                    <a:pt x="155" y="70"/>
                  </a:lnTo>
                  <a:lnTo>
                    <a:pt x="152" y="75"/>
                  </a:lnTo>
                  <a:lnTo>
                    <a:pt x="151" y="80"/>
                  </a:lnTo>
                  <a:lnTo>
                    <a:pt x="150" y="85"/>
                  </a:lnTo>
                  <a:lnTo>
                    <a:pt x="148" y="91"/>
                  </a:lnTo>
                  <a:lnTo>
                    <a:pt x="148" y="101"/>
                  </a:lnTo>
                  <a:lnTo>
                    <a:pt x="151" y="113"/>
                  </a:lnTo>
                  <a:lnTo>
                    <a:pt x="157" y="136"/>
                  </a:lnTo>
                  <a:lnTo>
                    <a:pt x="166" y="156"/>
                  </a:lnTo>
                  <a:lnTo>
                    <a:pt x="166" y="156"/>
                  </a:lnTo>
                  <a:lnTo>
                    <a:pt x="166" y="157"/>
                  </a:lnTo>
                  <a:lnTo>
                    <a:pt x="159" y="161"/>
                  </a:lnTo>
                  <a:lnTo>
                    <a:pt x="154" y="168"/>
                  </a:lnTo>
                  <a:lnTo>
                    <a:pt x="151" y="175"/>
                  </a:lnTo>
                  <a:lnTo>
                    <a:pt x="148" y="182"/>
                  </a:lnTo>
                  <a:lnTo>
                    <a:pt x="146" y="190"/>
                  </a:lnTo>
                  <a:lnTo>
                    <a:pt x="146" y="199"/>
                  </a:lnTo>
                  <a:lnTo>
                    <a:pt x="146" y="207"/>
                  </a:lnTo>
                  <a:lnTo>
                    <a:pt x="147" y="216"/>
                  </a:lnTo>
                  <a:lnTo>
                    <a:pt x="150" y="223"/>
                  </a:lnTo>
                  <a:lnTo>
                    <a:pt x="153" y="231"/>
                  </a:lnTo>
                  <a:lnTo>
                    <a:pt x="156" y="238"/>
                  </a:lnTo>
                  <a:lnTo>
                    <a:pt x="160" y="244"/>
                  </a:lnTo>
                  <a:lnTo>
                    <a:pt x="166" y="249"/>
                  </a:lnTo>
                  <a:lnTo>
                    <a:pt x="171" y="253"/>
                  </a:lnTo>
                  <a:lnTo>
                    <a:pt x="173" y="274"/>
                  </a:lnTo>
                  <a:lnTo>
                    <a:pt x="176" y="291"/>
                  </a:lnTo>
                  <a:lnTo>
                    <a:pt x="181" y="305"/>
                  </a:lnTo>
                  <a:lnTo>
                    <a:pt x="186" y="317"/>
                  </a:lnTo>
                  <a:lnTo>
                    <a:pt x="192" y="326"/>
                  </a:lnTo>
                  <a:lnTo>
                    <a:pt x="199" y="334"/>
                  </a:lnTo>
                  <a:lnTo>
                    <a:pt x="205" y="340"/>
                  </a:lnTo>
                  <a:lnTo>
                    <a:pt x="211" y="344"/>
                  </a:lnTo>
                  <a:lnTo>
                    <a:pt x="211" y="400"/>
                  </a:lnTo>
                  <a:lnTo>
                    <a:pt x="177" y="414"/>
                  </a:lnTo>
                  <a:lnTo>
                    <a:pt x="143" y="430"/>
                  </a:lnTo>
                  <a:lnTo>
                    <a:pt x="109" y="447"/>
                  </a:lnTo>
                  <a:lnTo>
                    <a:pt x="77" y="464"/>
                  </a:lnTo>
                  <a:lnTo>
                    <a:pt x="51" y="479"/>
                  </a:lnTo>
                  <a:lnTo>
                    <a:pt x="33" y="492"/>
                  </a:lnTo>
                  <a:lnTo>
                    <a:pt x="19" y="503"/>
                  </a:lnTo>
                  <a:lnTo>
                    <a:pt x="9" y="511"/>
                  </a:lnTo>
                  <a:lnTo>
                    <a:pt x="4" y="518"/>
                  </a:lnTo>
                  <a:lnTo>
                    <a:pt x="1" y="523"/>
                  </a:lnTo>
                  <a:lnTo>
                    <a:pt x="0" y="527"/>
                  </a:lnTo>
                  <a:lnTo>
                    <a:pt x="0" y="531"/>
                  </a:lnTo>
                  <a:lnTo>
                    <a:pt x="0" y="620"/>
                  </a:lnTo>
                  <a:lnTo>
                    <a:pt x="1" y="624"/>
                  </a:lnTo>
                  <a:lnTo>
                    <a:pt x="1" y="627"/>
                  </a:lnTo>
                  <a:lnTo>
                    <a:pt x="3" y="629"/>
                  </a:lnTo>
                  <a:lnTo>
                    <a:pt x="4" y="631"/>
                  </a:lnTo>
                  <a:lnTo>
                    <a:pt x="6" y="633"/>
                  </a:lnTo>
                  <a:lnTo>
                    <a:pt x="9" y="634"/>
                  </a:lnTo>
                  <a:lnTo>
                    <a:pt x="13" y="635"/>
                  </a:lnTo>
                  <a:lnTo>
                    <a:pt x="15" y="635"/>
                  </a:lnTo>
                  <a:lnTo>
                    <a:pt x="586" y="635"/>
                  </a:lnTo>
                  <a:lnTo>
                    <a:pt x="588" y="635"/>
                  </a:lnTo>
                  <a:lnTo>
                    <a:pt x="591" y="634"/>
                  </a:lnTo>
                  <a:lnTo>
                    <a:pt x="594" y="633"/>
                  </a:lnTo>
                  <a:lnTo>
                    <a:pt x="597" y="631"/>
                  </a:lnTo>
                  <a:lnTo>
                    <a:pt x="598" y="629"/>
                  </a:lnTo>
                  <a:lnTo>
                    <a:pt x="600" y="627"/>
                  </a:lnTo>
                  <a:lnTo>
                    <a:pt x="600" y="624"/>
                  </a:lnTo>
                  <a:lnTo>
                    <a:pt x="601" y="620"/>
                  </a:lnTo>
                  <a:lnTo>
                    <a:pt x="601" y="531"/>
                  </a:lnTo>
                  <a:lnTo>
                    <a:pt x="601" y="527"/>
                  </a:lnTo>
                  <a:lnTo>
                    <a:pt x="600" y="523"/>
                  </a:lnTo>
                  <a:lnTo>
                    <a:pt x="597" y="518"/>
                  </a:lnTo>
                  <a:lnTo>
                    <a:pt x="591" y="510"/>
                  </a:lnTo>
                  <a:lnTo>
                    <a:pt x="582" y="503"/>
                  </a:lnTo>
                  <a:lnTo>
                    <a:pt x="568" y="492"/>
                  </a:lnTo>
                  <a:lnTo>
                    <a:pt x="549" y="479"/>
                  </a:lnTo>
                  <a:lnTo>
                    <a:pt x="523"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43" name="Group 19">
            <a:extLst>
              <a:ext uri="{FF2B5EF4-FFF2-40B4-BE49-F238E27FC236}">
                <a16:creationId xmlns:a16="http://schemas.microsoft.com/office/drawing/2014/main" id="{7C3E5DC4-9EAD-410B-9736-6BB80FEACBBF}"/>
              </a:ext>
            </a:extLst>
          </p:cNvPr>
          <p:cNvGrpSpPr>
            <a:grpSpLocks noChangeAspect="1"/>
          </p:cNvGrpSpPr>
          <p:nvPr/>
        </p:nvGrpSpPr>
        <p:grpSpPr>
          <a:xfrm>
            <a:off x="2736259" y="2724897"/>
            <a:ext cx="285619" cy="285619"/>
            <a:chOff x="887413" y="4219576"/>
            <a:chExt cx="285750" cy="285750"/>
          </a:xfrm>
          <a:solidFill>
            <a:schemeClr val="bg2"/>
          </a:solidFill>
          <a:effectLst/>
        </p:grpSpPr>
        <p:sp>
          <p:nvSpPr>
            <p:cNvPr id="644" name="Freeform 21">
              <a:extLst>
                <a:ext uri="{FF2B5EF4-FFF2-40B4-BE49-F238E27FC236}">
                  <a16:creationId xmlns:a16="http://schemas.microsoft.com/office/drawing/2014/main" id="{E1923C27-B1B1-4672-BF73-04097D1ED0E0}"/>
                </a:ext>
              </a:extLst>
            </p:cNvPr>
            <p:cNvSpPr>
              <a:spLocks noEditPoints="1"/>
            </p:cNvSpPr>
            <p:nvPr/>
          </p:nvSpPr>
          <p:spPr bwMode="auto">
            <a:xfrm>
              <a:off x="887413" y="4219576"/>
              <a:ext cx="285750" cy="285750"/>
            </a:xfrm>
            <a:custGeom>
              <a:avLst/>
              <a:gdLst>
                <a:gd name="T0" fmla="*/ 366 w 901"/>
                <a:gd name="T1" fmla="*/ 862 h 901"/>
                <a:gd name="T2" fmla="*/ 269 w 901"/>
                <a:gd name="T3" fmla="*/ 829 h 901"/>
                <a:gd name="T4" fmla="*/ 183 w 901"/>
                <a:gd name="T5" fmla="*/ 775 h 901"/>
                <a:gd name="T6" fmla="*/ 113 w 901"/>
                <a:gd name="T7" fmla="*/ 702 h 901"/>
                <a:gd name="T8" fmla="*/ 63 w 901"/>
                <a:gd name="T9" fmla="*/ 614 h 901"/>
                <a:gd name="T10" fmla="*/ 34 w 901"/>
                <a:gd name="T11" fmla="*/ 515 h 901"/>
                <a:gd name="T12" fmla="*/ 32 w 901"/>
                <a:gd name="T13" fmla="*/ 408 h 901"/>
                <a:gd name="T14" fmla="*/ 56 w 901"/>
                <a:gd name="T15" fmla="*/ 306 h 901"/>
                <a:gd name="T16" fmla="*/ 102 w 901"/>
                <a:gd name="T17" fmla="*/ 215 h 901"/>
                <a:gd name="T18" fmla="*/ 168 w 901"/>
                <a:gd name="T19" fmla="*/ 139 h 901"/>
                <a:gd name="T20" fmla="*/ 250 w 901"/>
                <a:gd name="T21" fmla="*/ 81 h 901"/>
                <a:gd name="T22" fmla="*/ 346 w 901"/>
                <a:gd name="T23" fmla="*/ 43 h 901"/>
                <a:gd name="T24" fmla="*/ 450 w 901"/>
                <a:gd name="T25" fmla="*/ 30 h 901"/>
                <a:gd name="T26" fmla="*/ 555 w 901"/>
                <a:gd name="T27" fmla="*/ 43 h 901"/>
                <a:gd name="T28" fmla="*/ 651 w 901"/>
                <a:gd name="T29" fmla="*/ 80 h 901"/>
                <a:gd name="T30" fmla="*/ 733 w 901"/>
                <a:gd name="T31" fmla="*/ 139 h 901"/>
                <a:gd name="T32" fmla="*/ 799 w 901"/>
                <a:gd name="T33" fmla="*/ 215 h 901"/>
                <a:gd name="T34" fmla="*/ 845 w 901"/>
                <a:gd name="T35" fmla="*/ 306 h 901"/>
                <a:gd name="T36" fmla="*/ 869 w 901"/>
                <a:gd name="T37" fmla="*/ 408 h 901"/>
                <a:gd name="T38" fmla="*/ 866 w 901"/>
                <a:gd name="T39" fmla="*/ 515 h 901"/>
                <a:gd name="T40" fmla="*/ 838 w 901"/>
                <a:gd name="T41" fmla="*/ 614 h 901"/>
                <a:gd name="T42" fmla="*/ 787 w 901"/>
                <a:gd name="T43" fmla="*/ 702 h 901"/>
                <a:gd name="T44" fmla="*/ 718 w 901"/>
                <a:gd name="T45" fmla="*/ 775 h 901"/>
                <a:gd name="T46" fmla="*/ 632 w 901"/>
                <a:gd name="T47" fmla="*/ 829 h 901"/>
                <a:gd name="T48" fmla="*/ 535 w 901"/>
                <a:gd name="T49" fmla="*/ 862 h 901"/>
                <a:gd name="T50" fmla="*/ 450 w 901"/>
                <a:gd name="T51" fmla="*/ 871 h 901"/>
                <a:gd name="T52" fmla="*/ 359 w 901"/>
                <a:gd name="T53" fmla="*/ 9 h 901"/>
                <a:gd name="T54" fmla="*/ 255 w 901"/>
                <a:gd name="T55" fmla="*/ 45 h 901"/>
                <a:gd name="T56" fmla="*/ 164 w 901"/>
                <a:gd name="T57" fmla="*/ 103 h 901"/>
                <a:gd name="T58" fmla="*/ 90 w 901"/>
                <a:gd name="T59" fmla="*/ 181 h 901"/>
                <a:gd name="T60" fmla="*/ 35 w 901"/>
                <a:gd name="T61" fmla="*/ 275 h 901"/>
                <a:gd name="T62" fmla="*/ 5 w 901"/>
                <a:gd name="T63" fmla="*/ 382 h 901"/>
                <a:gd name="T64" fmla="*/ 2 w 901"/>
                <a:gd name="T65" fmla="*/ 496 h 901"/>
                <a:gd name="T66" fmla="*/ 27 w 901"/>
                <a:gd name="T67" fmla="*/ 606 h 901"/>
                <a:gd name="T68" fmla="*/ 77 w 901"/>
                <a:gd name="T69" fmla="*/ 702 h 901"/>
                <a:gd name="T70" fmla="*/ 148 w 901"/>
                <a:gd name="T71" fmla="*/ 783 h 901"/>
                <a:gd name="T72" fmla="*/ 235 w 901"/>
                <a:gd name="T73" fmla="*/ 846 h 901"/>
                <a:gd name="T74" fmla="*/ 338 w 901"/>
                <a:gd name="T75" fmla="*/ 887 h 901"/>
                <a:gd name="T76" fmla="*/ 450 w 901"/>
                <a:gd name="T77" fmla="*/ 901 h 901"/>
                <a:gd name="T78" fmla="*/ 563 w 901"/>
                <a:gd name="T79" fmla="*/ 887 h 901"/>
                <a:gd name="T80" fmla="*/ 664 w 901"/>
                <a:gd name="T81" fmla="*/ 846 h 901"/>
                <a:gd name="T82" fmla="*/ 753 w 901"/>
                <a:gd name="T83" fmla="*/ 783 h 901"/>
                <a:gd name="T84" fmla="*/ 824 w 901"/>
                <a:gd name="T85" fmla="*/ 702 h 901"/>
                <a:gd name="T86" fmla="*/ 873 w 901"/>
                <a:gd name="T87" fmla="*/ 606 h 901"/>
                <a:gd name="T88" fmla="*/ 899 w 901"/>
                <a:gd name="T89" fmla="*/ 496 h 901"/>
                <a:gd name="T90" fmla="*/ 896 w 901"/>
                <a:gd name="T91" fmla="*/ 382 h 901"/>
                <a:gd name="T92" fmla="*/ 866 w 901"/>
                <a:gd name="T93" fmla="*/ 275 h 901"/>
                <a:gd name="T94" fmla="*/ 811 w 901"/>
                <a:gd name="T95" fmla="*/ 181 h 901"/>
                <a:gd name="T96" fmla="*/ 736 w 901"/>
                <a:gd name="T97" fmla="*/ 103 h 901"/>
                <a:gd name="T98" fmla="*/ 645 w 901"/>
                <a:gd name="T99" fmla="*/ 44 h 901"/>
                <a:gd name="T100" fmla="*/ 541 w 901"/>
                <a:gd name="T101" fmla="*/ 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6" y="866"/>
                  </a:lnTo>
                  <a:lnTo>
                    <a:pt x="366" y="862"/>
                  </a:lnTo>
                  <a:lnTo>
                    <a:pt x="346" y="857"/>
                  </a:lnTo>
                  <a:lnTo>
                    <a:pt x="325" y="852"/>
                  </a:lnTo>
                  <a:lnTo>
                    <a:pt x="306" y="845"/>
                  </a:lnTo>
                  <a:lnTo>
                    <a:pt x="287" y="838"/>
                  </a:lnTo>
                  <a:lnTo>
                    <a:pt x="269" y="829"/>
                  </a:lnTo>
                  <a:lnTo>
                    <a:pt x="250" y="820"/>
                  </a:lnTo>
                  <a:lnTo>
                    <a:pt x="232" y="810"/>
                  </a:lnTo>
                  <a:lnTo>
                    <a:pt x="215" y="799"/>
                  </a:lnTo>
                  <a:lnTo>
                    <a:pt x="199" y="788"/>
                  </a:lnTo>
                  <a:lnTo>
                    <a:pt x="183" y="775"/>
                  </a:lnTo>
                  <a:lnTo>
                    <a:pt x="168" y="762"/>
                  </a:lnTo>
                  <a:lnTo>
                    <a:pt x="153" y="748"/>
                  </a:lnTo>
                  <a:lnTo>
                    <a:pt x="139" y="733"/>
                  </a:lnTo>
                  <a:lnTo>
                    <a:pt x="126" y="718"/>
                  </a:lnTo>
                  <a:lnTo>
                    <a:pt x="113" y="702"/>
                  </a:lnTo>
                  <a:lnTo>
                    <a:pt x="102" y="686"/>
                  </a:lnTo>
                  <a:lnTo>
                    <a:pt x="91" y="669"/>
                  </a:lnTo>
                  <a:lnTo>
                    <a:pt x="80" y="651"/>
                  </a:lnTo>
                  <a:lnTo>
                    <a:pt x="72" y="632"/>
                  </a:lnTo>
                  <a:lnTo>
                    <a:pt x="63" y="614"/>
                  </a:lnTo>
                  <a:lnTo>
                    <a:pt x="56" y="595"/>
                  </a:lnTo>
                  <a:lnTo>
                    <a:pt x="49" y="576"/>
                  </a:lnTo>
                  <a:lnTo>
                    <a:pt x="43" y="555"/>
                  </a:lnTo>
                  <a:lnTo>
                    <a:pt x="38" y="535"/>
                  </a:lnTo>
                  <a:lnTo>
                    <a:pt x="34" y="515"/>
                  </a:lnTo>
                  <a:lnTo>
                    <a:pt x="32" y="493"/>
                  </a:lnTo>
                  <a:lnTo>
                    <a:pt x="30" y="472"/>
                  </a:lnTo>
                  <a:lnTo>
                    <a:pt x="30" y="450"/>
                  </a:lnTo>
                  <a:lnTo>
                    <a:pt x="30" y="429"/>
                  </a:lnTo>
                  <a:lnTo>
                    <a:pt x="32" y="408"/>
                  </a:lnTo>
                  <a:lnTo>
                    <a:pt x="34" y="386"/>
                  </a:lnTo>
                  <a:lnTo>
                    <a:pt x="38" y="366"/>
                  </a:lnTo>
                  <a:lnTo>
                    <a:pt x="43" y="346"/>
                  </a:lnTo>
                  <a:lnTo>
                    <a:pt x="49" y="325"/>
                  </a:lnTo>
                  <a:lnTo>
                    <a:pt x="56" y="306"/>
                  </a:lnTo>
                  <a:lnTo>
                    <a:pt x="63" y="287"/>
                  </a:lnTo>
                  <a:lnTo>
                    <a:pt x="72" y="269"/>
                  </a:lnTo>
                  <a:lnTo>
                    <a:pt x="80" y="250"/>
                  </a:lnTo>
                  <a:lnTo>
                    <a:pt x="91" y="232"/>
                  </a:lnTo>
                  <a:lnTo>
                    <a:pt x="102" y="215"/>
                  </a:lnTo>
                  <a:lnTo>
                    <a:pt x="113" y="199"/>
                  </a:lnTo>
                  <a:lnTo>
                    <a:pt x="126" y="183"/>
                  </a:lnTo>
                  <a:lnTo>
                    <a:pt x="139" y="168"/>
                  </a:lnTo>
                  <a:lnTo>
                    <a:pt x="153" y="153"/>
                  </a:lnTo>
                  <a:lnTo>
                    <a:pt x="168" y="139"/>
                  </a:lnTo>
                  <a:lnTo>
                    <a:pt x="183" y="126"/>
                  </a:lnTo>
                  <a:lnTo>
                    <a:pt x="199" y="113"/>
                  </a:lnTo>
                  <a:lnTo>
                    <a:pt x="215" y="102"/>
                  </a:lnTo>
                  <a:lnTo>
                    <a:pt x="232" y="91"/>
                  </a:lnTo>
                  <a:lnTo>
                    <a:pt x="250" y="81"/>
                  </a:lnTo>
                  <a:lnTo>
                    <a:pt x="269" y="72"/>
                  </a:lnTo>
                  <a:lnTo>
                    <a:pt x="287" y="63"/>
                  </a:lnTo>
                  <a:lnTo>
                    <a:pt x="306" y="56"/>
                  </a:lnTo>
                  <a:lnTo>
                    <a:pt x="325" y="49"/>
                  </a:lnTo>
                  <a:lnTo>
                    <a:pt x="346" y="43"/>
                  </a:lnTo>
                  <a:lnTo>
                    <a:pt x="366" y="38"/>
                  </a:lnTo>
                  <a:lnTo>
                    <a:pt x="386" y="35"/>
                  </a:lnTo>
                  <a:lnTo>
                    <a:pt x="408" y="32"/>
                  </a:lnTo>
                  <a:lnTo>
                    <a:pt x="429" y="31"/>
                  </a:lnTo>
                  <a:lnTo>
                    <a:pt x="450" y="30"/>
                  </a:lnTo>
                  <a:lnTo>
                    <a:pt x="472" y="31"/>
                  </a:lnTo>
                  <a:lnTo>
                    <a:pt x="493" y="32"/>
                  </a:lnTo>
                  <a:lnTo>
                    <a:pt x="515" y="35"/>
                  </a:lnTo>
                  <a:lnTo>
                    <a:pt x="535" y="38"/>
                  </a:lnTo>
                  <a:lnTo>
                    <a:pt x="555" y="43"/>
                  </a:lnTo>
                  <a:lnTo>
                    <a:pt x="576" y="49"/>
                  </a:lnTo>
                  <a:lnTo>
                    <a:pt x="595" y="56"/>
                  </a:lnTo>
                  <a:lnTo>
                    <a:pt x="614" y="63"/>
                  </a:lnTo>
                  <a:lnTo>
                    <a:pt x="632" y="72"/>
                  </a:lnTo>
                  <a:lnTo>
                    <a:pt x="651" y="80"/>
                  </a:lnTo>
                  <a:lnTo>
                    <a:pt x="668" y="91"/>
                  </a:lnTo>
                  <a:lnTo>
                    <a:pt x="685" y="102"/>
                  </a:lnTo>
                  <a:lnTo>
                    <a:pt x="702" y="113"/>
                  </a:lnTo>
                  <a:lnTo>
                    <a:pt x="718" y="126"/>
                  </a:lnTo>
                  <a:lnTo>
                    <a:pt x="733" y="139"/>
                  </a:lnTo>
                  <a:lnTo>
                    <a:pt x="748" y="153"/>
                  </a:lnTo>
                  <a:lnTo>
                    <a:pt x="762" y="168"/>
                  </a:lnTo>
                  <a:lnTo>
                    <a:pt x="775" y="183"/>
                  </a:lnTo>
                  <a:lnTo>
                    <a:pt x="787" y="199"/>
                  </a:lnTo>
                  <a:lnTo>
                    <a:pt x="799" y="215"/>
                  </a:lnTo>
                  <a:lnTo>
                    <a:pt x="810" y="232"/>
                  </a:lnTo>
                  <a:lnTo>
                    <a:pt x="820" y="250"/>
                  </a:lnTo>
                  <a:lnTo>
                    <a:pt x="829" y="269"/>
                  </a:lnTo>
                  <a:lnTo>
                    <a:pt x="838" y="287"/>
                  </a:lnTo>
                  <a:lnTo>
                    <a:pt x="845" y="306"/>
                  </a:lnTo>
                  <a:lnTo>
                    <a:pt x="852" y="325"/>
                  </a:lnTo>
                  <a:lnTo>
                    <a:pt x="857" y="346"/>
                  </a:lnTo>
                  <a:lnTo>
                    <a:pt x="862" y="366"/>
                  </a:lnTo>
                  <a:lnTo>
                    <a:pt x="866" y="386"/>
                  </a:lnTo>
                  <a:lnTo>
                    <a:pt x="869" y="408"/>
                  </a:lnTo>
                  <a:lnTo>
                    <a:pt x="870" y="429"/>
                  </a:lnTo>
                  <a:lnTo>
                    <a:pt x="871" y="450"/>
                  </a:lnTo>
                  <a:lnTo>
                    <a:pt x="870" y="472"/>
                  </a:lnTo>
                  <a:lnTo>
                    <a:pt x="869" y="493"/>
                  </a:lnTo>
                  <a:lnTo>
                    <a:pt x="866" y="515"/>
                  </a:lnTo>
                  <a:lnTo>
                    <a:pt x="862" y="535"/>
                  </a:lnTo>
                  <a:lnTo>
                    <a:pt x="857" y="555"/>
                  </a:lnTo>
                  <a:lnTo>
                    <a:pt x="852" y="576"/>
                  </a:lnTo>
                  <a:lnTo>
                    <a:pt x="845" y="595"/>
                  </a:lnTo>
                  <a:lnTo>
                    <a:pt x="838" y="614"/>
                  </a:lnTo>
                  <a:lnTo>
                    <a:pt x="829" y="632"/>
                  </a:lnTo>
                  <a:lnTo>
                    <a:pt x="820" y="651"/>
                  </a:lnTo>
                  <a:lnTo>
                    <a:pt x="810" y="669"/>
                  </a:lnTo>
                  <a:lnTo>
                    <a:pt x="799" y="686"/>
                  </a:lnTo>
                  <a:lnTo>
                    <a:pt x="787" y="702"/>
                  </a:lnTo>
                  <a:lnTo>
                    <a:pt x="775" y="718"/>
                  </a:lnTo>
                  <a:lnTo>
                    <a:pt x="762" y="733"/>
                  </a:lnTo>
                  <a:lnTo>
                    <a:pt x="748" y="748"/>
                  </a:lnTo>
                  <a:lnTo>
                    <a:pt x="733" y="762"/>
                  </a:lnTo>
                  <a:lnTo>
                    <a:pt x="718" y="775"/>
                  </a:lnTo>
                  <a:lnTo>
                    <a:pt x="702" y="788"/>
                  </a:lnTo>
                  <a:lnTo>
                    <a:pt x="685" y="799"/>
                  </a:lnTo>
                  <a:lnTo>
                    <a:pt x="668" y="810"/>
                  </a:lnTo>
                  <a:lnTo>
                    <a:pt x="651" y="820"/>
                  </a:lnTo>
                  <a:lnTo>
                    <a:pt x="632" y="829"/>
                  </a:lnTo>
                  <a:lnTo>
                    <a:pt x="614" y="838"/>
                  </a:lnTo>
                  <a:lnTo>
                    <a:pt x="595" y="845"/>
                  </a:lnTo>
                  <a:lnTo>
                    <a:pt x="576" y="852"/>
                  </a:lnTo>
                  <a:lnTo>
                    <a:pt x="555" y="858"/>
                  </a:lnTo>
                  <a:lnTo>
                    <a:pt x="535" y="862"/>
                  </a:lnTo>
                  <a:lnTo>
                    <a:pt x="515" y="866"/>
                  </a:lnTo>
                  <a:lnTo>
                    <a:pt x="493" y="869"/>
                  </a:lnTo>
                  <a:lnTo>
                    <a:pt x="472" y="870"/>
                  </a:lnTo>
                  <a:lnTo>
                    <a:pt x="450" y="871"/>
                  </a:lnTo>
                  <a:lnTo>
                    <a:pt x="450" y="871"/>
                  </a:lnTo>
                  <a:close/>
                  <a:moveTo>
                    <a:pt x="450" y="0"/>
                  </a:moveTo>
                  <a:lnTo>
                    <a:pt x="427" y="0"/>
                  </a:lnTo>
                  <a:lnTo>
                    <a:pt x="404" y="2"/>
                  </a:lnTo>
                  <a:lnTo>
                    <a:pt x="382" y="5"/>
                  </a:lnTo>
                  <a:lnTo>
                    <a:pt x="359" y="9"/>
                  </a:lnTo>
                  <a:lnTo>
                    <a:pt x="338" y="14"/>
                  </a:lnTo>
                  <a:lnTo>
                    <a:pt x="317" y="20"/>
                  </a:lnTo>
                  <a:lnTo>
                    <a:pt x="295" y="28"/>
                  </a:lnTo>
                  <a:lnTo>
                    <a:pt x="275" y="35"/>
                  </a:lnTo>
                  <a:lnTo>
                    <a:pt x="255" y="45"/>
                  </a:lnTo>
                  <a:lnTo>
                    <a:pt x="235" y="55"/>
                  </a:lnTo>
                  <a:lnTo>
                    <a:pt x="217" y="65"/>
                  </a:lnTo>
                  <a:lnTo>
                    <a:pt x="199" y="77"/>
                  </a:lnTo>
                  <a:lnTo>
                    <a:pt x="181" y="90"/>
                  </a:lnTo>
                  <a:lnTo>
                    <a:pt x="164" y="103"/>
                  </a:lnTo>
                  <a:lnTo>
                    <a:pt x="148" y="117"/>
                  </a:lnTo>
                  <a:lnTo>
                    <a:pt x="132" y="132"/>
                  </a:lnTo>
                  <a:lnTo>
                    <a:pt x="117" y="148"/>
                  </a:lnTo>
                  <a:lnTo>
                    <a:pt x="103" y="164"/>
                  </a:lnTo>
                  <a:lnTo>
                    <a:pt x="90" y="181"/>
                  </a:lnTo>
                  <a:lnTo>
                    <a:pt x="77" y="199"/>
                  </a:lnTo>
                  <a:lnTo>
                    <a:pt x="65" y="217"/>
                  </a:lnTo>
                  <a:lnTo>
                    <a:pt x="55" y="235"/>
                  </a:lnTo>
                  <a:lnTo>
                    <a:pt x="44" y="256"/>
                  </a:lnTo>
                  <a:lnTo>
                    <a:pt x="35" y="275"/>
                  </a:lnTo>
                  <a:lnTo>
                    <a:pt x="27" y="295"/>
                  </a:lnTo>
                  <a:lnTo>
                    <a:pt x="20" y="317"/>
                  </a:lnTo>
                  <a:lnTo>
                    <a:pt x="14" y="338"/>
                  </a:lnTo>
                  <a:lnTo>
                    <a:pt x="9" y="360"/>
                  </a:lnTo>
                  <a:lnTo>
                    <a:pt x="5" y="382"/>
                  </a:lnTo>
                  <a:lnTo>
                    <a:pt x="2" y="404"/>
                  </a:lnTo>
                  <a:lnTo>
                    <a:pt x="0" y="427"/>
                  </a:lnTo>
                  <a:lnTo>
                    <a:pt x="0" y="450"/>
                  </a:lnTo>
                  <a:lnTo>
                    <a:pt x="0" y="474"/>
                  </a:lnTo>
                  <a:lnTo>
                    <a:pt x="2" y="496"/>
                  </a:lnTo>
                  <a:lnTo>
                    <a:pt x="5" y="519"/>
                  </a:lnTo>
                  <a:lnTo>
                    <a:pt x="9" y="541"/>
                  </a:lnTo>
                  <a:lnTo>
                    <a:pt x="14" y="563"/>
                  </a:lnTo>
                  <a:lnTo>
                    <a:pt x="20" y="584"/>
                  </a:lnTo>
                  <a:lnTo>
                    <a:pt x="27" y="606"/>
                  </a:lnTo>
                  <a:lnTo>
                    <a:pt x="35" y="626"/>
                  </a:lnTo>
                  <a:lnTo>
                    <a:pt x="44" y="645"/>
                  </a:lnTo>
                  <a:lnTo>
                    <a:pt x="55" y="665"/>
                  </a:lnTo>
                  <a:lnTo>
                    <a:pt x="65" y="684"/>
                  </a:lnTo>
                  <a:lnTo>
                    <a:pt x="77" y="702"/>
                  </a:lnTo>
                  <a:lnTo>
                    <a:pt x="90" y="720"/>
                  </a:lnTo>
                  <a:lnTo>
                    <a:pt x="103" y="737"/>
                  </a:lnTo>
                  <a:lnTo>
                    <a:pt x="117" y="753"/>
                  </a:lnTo>
                  <a:lnTo>
                    <a:pt x="132" y="769"/>
                  </a:lnTo>
                  <a:lnTo>
                    <a:pt x="148" y="783"/>
                  </a:lnTo>
                  <a:lnTo>
                    <a:pt x="164" y="798"/>
                  </a:lnTo>
                  <a:lnTo>
                    <a:pt x="181" y="811"/>
                  </a:lnTo>
                  <a:lnTo>
                    <a:pt x="199" y="824"/>
                  </a:lnTo>
                  <a:lnTo>
                    <a:pt x="217" y="836"/>
                  </a:lnTo>
                  <a:lnTo>
                    <a:pt x="235" y="846"/>
                  </a:lnTo>
                  <a:lnTo>
                    <a:pt x="255" y="856"/>
                  </a:lnTo>
                  <a:lnTo>
                    <a:pt x="275" y="866"/>
                  </a:lnTo>
                  <a:lnTo>
                    <a:pt x="295" y="873"/>
                  </a:lnTo>
                  <a:lnTo>
                    <a:pt x="317" y="881"/>
                  </a:lnTo>
                  <a:lnTo>
                    <a:pt x="338" y="887"/>
                  </a:lnTo>
                  <a:lnTo>
                    <a:pt x="359" y="891"/>
                  </a:lnTo>
                  <a:lnTo>
                    <a:pt x="382" y="896"/>
                  </a:lnTo>
                  <a:lnTo>
                    <a:pt x="404" y="899"/>
                  </a:lnTo>
                  <a:lnTo>
                    <a:pt x="427" y="900"/>
                  </a:lnTo>
                  <a:lnTo>
                    <a:pt x="450" y="901"/>
                  </a:lnTo>
                  <a:lnTo>
                    <a:pt x="473" y="900"/>
                  </a:lnTo>
                  <a:lnTo>
                    <a:pt x="496" y="899"/>
                  </a:lnTo>
                  <a:lnTo>
                    <a:pt x="519" y="896"/>
                  </a:lnTo>
                  <a:lnTo>
                    <a:pt x="541" y="891"/>
                  </a:lnTo>
                  <a:lnTo>
                    <a:pt x="563" y="887"/>
                  </a:lnTo>
                  <a:lnTo>
                    <a:pt x="584" y="881"/>
                  </a:lnTo>
                  <a:lnTo>
                    <a:pt x="605" y="873"/>
                  </a:lnTo>
                  <a:lnTo>
                    <a:pt x="626" y="866"/>
                  </a:lnTo>
                  <a:lnTo>
                    <a:pt x="645" y="856"/>
                  </a:lnTo>
                  <a:lnTo>
                    <a:pt x="664" y="846"/>
                  </a:lnTo>
                  <a:lnTo>
                    <a:pt x="684" y="836"/>
                  </a:lnTo>
                  <a:lnTo>
                    <a:pt x="702" y="824"/>
                  </a:lnTo>
                  <a:lnTo>
                    <a:pt x="720" y="811"/>
                  </a:lnTo>
                  <a:lnTo>
                    <a:pt x="736" y="798"/>
                  </a:lnTo>
                  <a:lnTo>
                    <a:pt x="753" y="783"/>
                  </a:lnTo>
                  <a:lnTo>
                    <a:pt x="768" y="768"/>
                  </a:lnTo>
                  <a:lnTo>
                    <a:pt x="783" y="753"/>
                  </a:lnTo>
                  <a:lnTo>
                    <a:pt x="798" y="737"/>
                  </a:lnTo>
                  <a:lnTo>
                    <a:pt x="811" y="720"/>
                  </a:lnTo>
                  <a:lnTo>
                    <a:pt x="824" y="702"/>
                  </a:lnTo>
                  <a:lnTo>
                    <a:pt x="836" y="684"/>
                  </a:lnTo>
                  <a:lnTo>
                    <a:pt x="846" y="665"/>
                  </a:lnTo>
                  <a:lnTo>
                    <a:pt x="856" y="645"/>
                  </a:lnTo>
                  <a:lnTo>
                    <a:pt x="866" y="626"/>
                  </a:lnTo>
                  <a:lnTo>
                    <a:pt x="873" y="606"/>
                  </a:lnTo>
                  <a:lnTo>
                    <a:pt x="881" y="584"/>
                  </a:lnTo>
                  <a:lnTo>
                    <a:pt x="887" y="563"/>
                  </a:lnTo>
                  <a:lnTo>
                    <a:pt x="891" y="541"/>
                  </a:lnTo>
                  <a:lnTo>
                    <a:pt x="896" y="519"/>
                  </a:lnTo>
                  <a:lnTo>
                    <a:pt x="899" y="496"/>
                  </a:lnTo>
                  <a:lnTo>
                    <a:pt x="900" y="474"/>
                  </a:lnTo>
                  <a:lnTo>
                    <a:pt x="901" y="450"/>
                  </a:lnTo>
                  <a:lnTo>
                    <a:pt x="900" y="427"/>
                  </a:lnTo>
                  <a:lnTo>
                    <a:pt x="899" y="404"/>
                  </a:lnTo>
                  <a:lnTo>
                    <a:pt x="896" y="382"/>
                  </a:lnTo>
                  <a:lnTo>
                    <a:pt x="891" y="360"/>
                  </a:lnTo>
                  <a:lnTo>
                    <a:pt x="887" y="338"/>
                  </a:lnTo>
                  <a:lnTo>
                    <a:pt x="881" y="317"/>
                  </a:lnTo>
                  <a:lnTo>
                    <a:pt x="873" y="295"/>
                  </a:lnTo>
                  <a:lnTo>
                    <a:pt x="866" y="275"/>
                  </a:lnTo>
                  <a:lnTo>
                    <a:pt x="856" y="256"/>
                  </a:lnTo>
                  <a:lnTo>
                    <a:pt x="846" y="235"/>
                  </a:lnTo>
                  <a:lnTo>
                    <a:pt x="836" y="217"/>
                  </a:lnTo>
                  <a:lnTo>
                    <a:pt x="824" y="199"/>
                  </a:lnTo>
                  <a:lnTo>
                    <a:pt x="811" y="181"/>
                  </a:lnTo>
                  <a:lnTo>
                    <a:pt x="798" y="164"/>
                  </a:lnTo>
                  <a:lnTo>
                    <a:pt x="783" y="148"/>
                  </a:lnTo>
                  <a:lnTo>
                    <a:pt x="768" y="132"/>
                  </a:lnTo>
                  <a:lnTo>
                    <a:pt x="753" y="117"/>
                  </a:lnTo>
                  <a:lnTo>
                    <a:pt x="736" y="103"/>
                  </a:lnTo>
                  <a:lnTo>
                    <a:pt x="720" y="90"/>
                  </a:lnTo>
                  <a:lnTo>
                    <a:pt x="702" y="77"/>
                  </a:lnTo>
                  <a:lnTo>
                    <a:pt x="684" y="65"/>
                  </a:lnTo>
                  <a:lnTo>
                    <a:pt x="664" y="55"/>
                  </a:lnTo>
                  <a:lnTo>
                    <a:pt x="645" y="44"/>
                  </a:lnTo>
                  <a:lnTo>
                    <a:pt x="626" y="35"/>
                  </a:lnTo>
                  <a:lnTo>
                    <a:pt x="605" y="28"/>
                  </a:lnTo>
                  <a:lnTo>
                    <a:pt x="584" y="20"/>
                  </a:lnTo>
                  <a:lnTo>
                    <a:pt x="563" y="14"/>
                  </a:lnTo>
                  <a:lnTo>
                    <a:pt x="541" y="9"/>
                  </a:lnTo>
                  <a:lnTo>
                    <a:pt x="519" y="5"/>
                  </a:lnTo>
                  <a:lnTo>
                    <a:pt x="496" y="2"/>
                  </a:lnTo>
                  <a:lnTo>
                    <a:pt x="473"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22">
              <a:extLst>
                <a:ext uri="{FF2B5EF4-FFF2-40B4-BE49-F238E27FC236}">
                  <a16:creationId xmlns:a16="http://schemas.microsoft.com/office/drawing/2014/main" id="{838338EE-D978-42F2-82DD-67FC298C2193}"/>
                </a:ext>
              </a:extLst>
            </p:cNvPr>
            <p:cNvSpPr>
              <a:spLocks noEditPoints="1"/>
            </p:cNvSpPr>
            <p:nvPr/>
          </p:nvSpPr>
          <p:spPr bwMode="auto">
            <a:xfrm>
              <a:off x="935038" y="4371976"/>
              <a:ext cx="188913" cy="96838"/>
            </a:xfrm>
            <a:custGeom>
              <a:avLst/>
              <a:gdLst>
                <a:gd name="T0" fmla="*/ 273 w 598"/>
                <a:gd name="T1" fmla="*/ 275 h 308"/>
                <a:gd name="T2" fmla="*/ 235 w 598"/>
                <a:gd name="T3" fmla="*/ 269 h 308"/>
                <a:gd name="T4" fmla="*/ 199 w 598"/>
                <a:gd name="T5" fmla="*/ 257 h 308"/>
                <a:gd name="T6" fmla="*/ 166 w 598"/>
                <a:gd name="T7" fmla="*/ 241 h 308"/>
                <a:gd name="T8" fmla="*/ 135 w 598"/>
                <a:gd name="T9" fmla="*/ 221 h 308"/>
                <a:gd name="T10" fmla="*/ 107 w 598"/>
                <a:gd name="T11" fmla="*/ 196 h 308"/>
                <a:gd name="T12" fmla="*/ 82 w 598"/>
                <a:gd name="T13" fmla="*/ 168 h 308"/>
                <a:gd name="T14" fmla="*/ 62 w 598"/>
                <a:gd name="T15" fmla="*/ 137 h 308"/>
                <a:gd name="T16" fmla="*/ 47 w 598"/>
                <a:gd name="T17" fmla="*/ 103 h 308"/>
                <a:gd name="T18" fmla="*/ 36 w 598"/>
                <a:gd name="T19" fmla="*/ 68 h 308"/>
                <a:gd name="T20" fmla="*/ 31 w 598"/>
                <a:gd name="T21" fmla="*/ 30 h 308"/>
                <a:gd name="T22" fmla="*/ 565 w 598"/>
                <a:gd name="T23" fmla="*/ 56 h 308"/>
                <a:gd name="T24" fmla="*/ 556 w 598"/>
                <a:gd name="T25" fmla="*/ 91 h 308"/>
                <a:gd name="T26" fmla="*/ 542 w 598"/>
                <a:gd name="T27" fmla="*/ 126 h 308"/>
                <a:gd name="T28" fmla="*/ 523 w 598"/>
                <a:gd name="T29" fmla="*/ 158 h 308"/>
                <a:gd name="T30" fmla="*/ 501 w 598"/>
                <a:gd name="T31" fmla="*/ 187 h 308"/>
                <a:gd name="T32" fmla="*/ 474 w 598"/>
                <a:gd name="T33" fmla="*/ 212 h 308"/>
                <a:gd name="T34" fmla="*/ 444 w 598"/>
                <a:gd name="T35" fmla="*/ 235 h 308"/>
                <a:gd name="T36" fmla="*/ 411 w 598"/>
                <a:gd name="T37" fmla="*/ 253 h 308"/>
                <a:gd name="T38" fmla="*/ 375 w 598"/>
                <a:gd name="T39" fmla="*/ 266 h 308"/>
                <a:gd name="T40" fmla="*/ 338 w 598"/>
                <a:gd name="T41" fmla="*/ 274 h 308"/>
                <a:gd name="T42" fmla="*/ 299 w 598"/>
                <a:gd name="T43" fmla="*/ 278 h 308"/>
                <a:gd name="T44" fmla="*/ 15 w 598"/>
                <a:gd name="T45" fmla="*/ 0 h 308"/>
                <a:gd name="T46" fmla="*/ 7 w 598"/>
                <a:gd name="T47" fmla="*/ 3 h 308"/>
                <a:gd name="T48" fmla="*/ 1 w 598"/>
                <a:gd name="T49" fmla="*/ 10 h 308"/>
                <a:gd name="T50" fmla="*/ 1 w 598"/>
                <a:gd name="T51" fmla="*/ 30 h 308"/>
                <a:gd name="T52" fmla="*/ 6 w 598"/>
                <a:gd name="T53" fmla="*/ 74 h 308"/>
                <a:gd name="T54" fmla="*/ 18 w 598"/>
                <a:gd name="T55" fmla="*/ 116 h 308"/>
                <a:gd name="T56" fmla="*/ 36 w 598"/>
                <a:gd name="T57" fmla="*/ 155 h 308"/>
                <a:gd name="T58" fmla="*/ 60 w 598"/>
                <a:gd name="T59" fmla="*/ 190 h 308"/>
                <a:gd name="T60" fmla="*/ 88 w 598"/>
                <a:gd name="T61" fmla="*/ 222 h 308"/>
                <a:gd name="T62" fmla="*/ 121 w 598"/>
                <a:gd name="T63" fmla="*/ 249 h 308"/>
                <a:gd name="T64" fmla="*/ 157 w 598"/>
                <a:gd name="T65" fmla="*/ 272 h 308"/>
                <a:gd name="T66" fmla="*/ 197 w 598"/>
                <a:gd name="T67" fmla="*/ 289 h 308"/>
                <a:gd name="T68" fmla="*/ 240 w 598"/>
                <a:gd name="T69" fmla="*/ 301 h 308"/>
                <a:gd name="T70" fmla="*/ 283 w 598"/>
                <a:gd name="T71" fmla="*/ 306 h 308"/>
                <a:gd name="T72" fmla="*/ 329 w 598"/>
                <a:gd name="T73" fmla="*/ 305 h 308"/>
                <a:gd name="T74" fmla="*/ 374 w 598"/>
                <a:gd name="T75" fmla="*/ 298 h 308"/>
                <a:gd name="T76" fmla="*/ 415 w 598"/>
                <a:gd name="T77" fmla="*/ 284 h 308"/>
                <a:gd name="T78" fmla="*/ 455 w 598"/>
                <a:gd name="T79" fmla="*/ 265 h 308"/>
                <a:gd name="T80" fmla="*/ 489 w 598"/>
                <a:gd name="T81" fmla="*/ 240 h 308"/>
                <a:gd name="T82" fmla="*/ 521 w 598"/>
                <a:gd name="T83" fmla="*/ 211 h 308"/>
                <a:gd name="T84" fmla="*/ 547 w 598"/>
                <a:gd name="T85" fmla="*/ 178 h 308"/>
                <a:gd name="T86" fmla="*/ 569 w 598"/>
                <a:gd name="T87" fmla="*/ 142 h 308"/>
                <a:gd name="T88" fmla="*/ 585 w 598"/>
                <a:gd name="T89" fmla="*/ 102 h 308"/>
                <a:gd name="T90" fmla="*/ 595 w 598"/>
                <a:gd name="T91" fmla="*/ 60 h 308"/>
                <a:gd name="T92" fmla="*/ 598 w 598"/>
                <a:gd name="T93" fmla="*/ 15 h 308"/>
                <a:gd name="T94" fmla="*/ 596 w 598"/>
                <a:gd name="T95" fmla="*/ 7 h 308"/>
                <a:gd name="T96" fmla="*/ 589 w 598"/>
                <a:gd name="T97" fmla="*/ 2 h 308"/>
                <a:gd name="T98" fmla="*/ 583 w 598"/>
                <a:gd name="T9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8" h="308">
                  <a:moveTo>
                    <a:pt x="299" y="278"/>
                  </a:moveTo>
                  <a:lnTo>
                    <a:pt x="287" y="277"/>
                  </a:lnTo>
                  <a:lnTo>
                    <a:pt x="273" y="275"/>
                  </a:lnTo>
                  <a:lnTo>
                    <a:pt x="260" y="274"/>
                  </a:lnTo>
                  <a:lnTo>
                    <a:pt x="248" y="272"/>
                  </a:lnTo>
                  <a:lnTo>
                    <a:pt x="235" y="269"/>
                  </a:lnTo>
                  <a:lnTo>
                    <a:pt x="222" y="266"/>
                  </a:lnTo>
                  <a:lnTo>
                    <a:pt x="211" y="263"/>
                  </a:lnTo>
                  <a:lnTo>
                    <a:pt x="199" y="257"/>
                  </a:lnTo>
                  <a:lnTo>
                    <a:pt x="187" y="253"/>
                  </a:lnTo>
                  <a:lnTo>
                    <a:pt x="176" y="248"/>
                  </a:lnTo>
                  <a:lnTo>
                    <a:pt x="166" y="241"/>
                  </a:lnTo>
                  <a:lnTo>
                    <a:pt x="155" y="235"/>
                  </a:lnTo>
                  <a:lnTo>
                    <a:pt x="144" y="228"/>
                  </a:lnTo>
                  <a:lnTo>
                    <a:pt x="135" y="221"/>
                  </a:lnTo>
                  <a:lnTo>
                    <a:pt x="125" y="212"/>
                  </a:lnTo>
                  <a:lnTo>
                    <a:pt x="115" y="205"/>
                  </a:lnTo>
                  <a:lnTo>
                    <a:pt x="107" y="196"/>
                  </a:lnTo>
                  <a:lnTo>
                    <a:pt x="98" y="187"/>
                  </a:lnTo>
                  <a:lnTo>
                    <a:pt x="90" y="178"/>
                  </a:lnTo>
                  <a:lnTo>
                    <a:pt x="82" y="168"/>
                  </a:lnTo>
                  <a:lnTo>
                    <a:pt x="75" y="158"/>
                  </a:lnTo>
                  <a:lnTo>
                    <a:pt x="68" y="148"/>
                  </a:lnTo>
                  <a:lnTo>
                    <a:pt x="62" y="137"/>
                  </a:lnTo>
                  <a:lnTo>
                    <a:pt x="57" y="126"/>
                  </a:lnTo>
                  <a:lnTo>
                    <a:pt x="51" y="115"/>
                  </a:lnTo>
                  <a:lnTo>
                    <a:pt x="47" y="103"/>
                  </a:lnTo>
                  <a:lnTo>
                    <a:pt x="43" y="91"/>
                  </a:lnTo>
                  <a:lnTo>
                    <a:pt x="38" y="80"/>
                  </a:lnTo>
                  <a:lnTo>
                    <a:pt x="36" y="68"/>
                  </a:lnTo>
                  <a:lnTo>
                    <a:pt x="33" y="56"/>
                  </a:lnTo>
                  <a:lnTo>
                    <a:pt x="32" y="43"/>
                  </a:lnTo>
                  <a:lnTo>
                    <a:pt x="31" y="30"/>
                  </a:lnTo>
                  <a:lnTo>
                    <a:pt x="568" y="30"/>
                  </a:lnTo>
                  <a:lnTo>
                    <a:pt x="567" y="43"/>
                  </a:lnTo>
                  <a:lnTo>
                    <a:pt x="565" y="56"/>
                  </a:lnTo>
                  <a:lnTo>
                    <a:pt x="563" y="68"/>
                  </a:lnTo>
                  <a:lnTo>
                    <a:pt x="559" y="80"/>
                  </a:lnTo>
                  <a:lnTo>
                    <a:pt x="556" y="91"/>
                  </a:lnTo>
                  <a:lnTo>
                    <a:pt x="552" y="103"/>
                  </a:lnTo>
                  <a:lnTo>
                    <a:pt x="548" y="115"/>
                  </a:lnTo>
                  <a:lnTo>
                    <a:pt x="542" y="126"/>
                  </a:lnTo>
                  <a:lnTo>
                    <a:pt x="536" y="137"/>
                  </a:lnTo>
                  <a:lnTo>
                    <a:pt x="531" y="148"/>
                  </a:lnTo>
                  <a:lnTo>
                    <a:pt x="523" y="158"/>
                  </a:lnTo>
                  <a:lnTo>
                    <a:pt x="517" y="168"/>
                  </a:lnTo>
                  <a:lnTo>
                    <a:pt x="508" y="178"/>
                  </a:lnTo>
                  <a:lnTo>
                    <a:pt x="501" y="187"/>
                  </a:lnTo>
                  <a:lnTo>
                    <a:pt x="492" y="196"/>
                  </a:lnTo>
                  <a:lnTo>
                    <a:pt x="483" y="205"/>
                  </a:lnTo>
                  <a:lnTo>
                    <a:pt x="474" y="212"/>
                  </a:lnTo>
                  <a:lnTo>
                    <a:pt x="464" y="221"/>
                  </a:lnTo>
                  <a:lnTo>
                    <a:pt x="455" y="228"/>
                  </a:lnTo>
                  <a:lnTo>
                    <a:pt x="444" y="235"/>
                  </a:lnTo>
                  <a:lnTo>
                    <a:pt x="433" y="241"/>
                  </a:lnTo>
                  <a:lnTo>
                    <a:pt x="422" y="248"/>
                  </a:lnTo>
                  <a:lnTo>
                    <a:pt x="411" y="253"/>
                  </a:lnTo>
                  <a:lnTo>
                    <a:pt x="399" y="257"/>
                  </a:lnTo>
                  <a:lnTo>
                    <a:pt x="387" y="263"/>
                  </a:lnTo>
                  <a:lnTo>
                    <a:pt x="375" y="266"/>
                  </a:lnTo>
                  <a:lnTo>
                    <a:pt x="364" y="269"/>
                  </a:lnTo>
                  <a:lnTo>
                    <a:pt x="351" y="272"/>
                  </a:lnTo>
                  <a:lnTo>
                    <a:pt x="338" y="274"/>
                  </a:lnTo>
                  <a:lnTo>
                    <a:pt x="325" y="277"/>
                  </a:lnTo>
                  <a:lnTo>
                    <a:pt x="312" y="277"/>
                  </a:lnTo>
                  <a:lnTo>
                    <a:pt x="299" y="278"/>
                  </a:lnTo>
                  <a:lnTo>
                    <a:pt x="299" y="278"/>
                  </a:lnTo>
                  <a:close/>
                  <a:moveTo>
                    <a:pt x="583" y="0"/>
                  </a:moveTo>
                  <a:lnTo>
                    <a:pt x="15" y="0"/>
                  </a:lnTo>
                  <a:lnTo>
                    <a:pt x="13" y="0"/>
                  </a:lnTo>
                  <a:lnTo>
                    <a:pt x="9" y="2"/>
                  </a:lnTo>
                  <a:lnTo>
                    <a:pt x="7" y="3"/>
                  </a:lnTo>
                  <a:lnTo>
                    <a:pt x="4" y="5"/>
                  </a:lnTo>
                  <a:lnTo>
                    <a:pt x="3" y="7"/>
                  </a:lnTo>
                  <a:lnTo>
                    <a:pt x="1" y="10"/>
                  </a:lnTo>
                  <a:lnTo>
                    <a:pt x="1" y="12"/>
                  </a:lnTo>
                  <a:lnTo>
                    <a:pt x="0" y="15"/>
                  </a:lnTo>
                  <a:lnTo>
                    <a:pt x="1" y="30"/>
                  </a:lnTo>
                  <a:lnTo>
                    <a:pt x="2" y="45"/>
                  </a:lnTo>
                  <a:lnTo>
                    <a:pt x="4" y="60"/>
                  </a:lnTo>
                  <a:lnTo>
                    <a:pt x="6" y="74"/>
                  </a:lnTo>
                  <a:lnTo>
                    <a:pt x="9" y="88"/>
                  </a:lnTo>
                  <a:lnTo>
                    <a:pt x="14" y="102"/>
                  </a:lnTo>
                  <a:lnTo>
                    <a:pt x="18" y="116"/>
                  </a:lnTo>
                  <a:lnTo>
                    <a:pt x="23" y="129"/>
                  </a:lnTo>
                  <a:lnTo>
                    <a:pt x="30" y="142"/>
                  </a:lnTo>
                  <a:lnTo>
                    <a:pt x="36" y="155"/>
                  </a:lnTo>
                  <a:lnTo>
                    <a:pt x="44" y="166"/>
                  </a:lnTo>
                  <a:lnTo>
                    <a:pt x="51" y="178"/>
                  </a:lnTo>
                  <a:lnTo>
                    <a:pt x="60" y="190"/>
                  </a:lnTo>
                  <a:lnTo>
                    <a:pt x="68" y="201"/>
                  </a:lnTo>
                  <a:lnTo>
                    <a:pt x="78" y="211"/>
                  </a:lnTo>
                  <a:lnTo>
                    <a:pt x="88" y="222"/>
                  </a:lnTo>
                  <a:lnTo>
                    <a:pt x="98" y="232"/>
                  </a:lnTo>
                  <a:lnTo>
                    <a:pt x="109" y="240"/>
                  </a:lnTo>
                  <a:lnTo>
                    <a:pt x="121" y="249"/>
                  </a:lnTo>
                  <a:lnTo>
                    <a:pt x="133" y="257"/>
                  </a:lnTo>
                  <a:lnTo>
                    <a:pt x="144" y="265"/>
                  </a:lnTo>
                  <a:lnTo>
                    <a:pt x="157" y="272"/>
                  </a:lnTo>
                  <a:lnTo>
                    <a:pt x="170" y="279"/>
                  </a:lnTo>
                  <a:lnTo>
                    <a:pt x="183" y="284"/>
                  </a:lnTo>
                  <a:lnTo>
                    <a:pt x="197" y="289"/>
                  </a:lnTo>
                  <a:lnTo>
                    <a:pt x="211" y="294"/>
                  </a:lnTo>
                  <a:lnTo>
                    <a:pt x="225" y="298"/>
                  </a:lnTo>
                  <a:lnTo>
                    <a:pt x="240" y="301"/>
                  </a:lnTo>
                  <a:lnTo>
                    <a:pt x="253" y="304"/>
                  </a:lnTo>
                  <a:lnTo>
                    <a:pt x="268" y="305"/>
                  </a:lnTo>
                  <a:lnTo>
                    <a:pt x="283" y="306"/>
                  </a:lnTo>
                  <a:lnTo>
                    <a:pt x="299" y="308"/>
                  </a:lnTo>
                  <a:lnTo>
                    <a:pt x="314" y="306"/>
                  </a:lnTo>
                  <a:lnTo>
                    <a:pt x="329" y="305"/>
                  </a:lnTo>
                  <a:lnTo>
                    <a:pt x="344" y="304"/>
                  </a:lnTo>
                  <a:lnTo>
                    <a:pt x="359" y="301"/>
                  </a:lnTo>
                  <a:lnTo>
                    <a:pt x="374" y="298"/>
                  </a:lnTo>
                  <a:lnTo>
                    <a:pt x="388" y="294"/>
                  </a:lnTo>
                  <a:lnTo>
                    <a:pt x="402" y="289"/>
                  </a:lnTo>
                  <a:lnTo>
                    <a:pt x="415" y="284"/>
                  </a:lnTo>
                  <a:lnTo>
                    <a:pt x="429" y="279"/>
                  </a:lnTo>
                  <a:lnTo>
                    <a:pt x="442" y="272"/>
                  </a:lnTo>
                  <a:lnTo>
                    <a:pt x="455" y="265"/>
                  </a:lnTo>
                  <a:lnTo>
                    <a:pt x="466" y="257"/>
                  </a:lnTo>
                  <a:lnTo>
                    <a:pt x="478" y="249"/>
                  </a:lnTo>
                  <a:lnTo>
                    <a:pt x="489" y="240"/>
                  </a:lnTo>
                  <a:lnTo>
                    <a:pt x="501" y="232"/>
                  </a:lnTo>
                  <a:lnTo>
                    <a:pt x="510" y="222"/>
                  </a:lnTo>
                  <a:lnTo>
                    <a:pt x="521" y="211"/>
                  </a:lnTo>
                  <a:lnTo>
                    <a:pt x="529" y="201"/>
                  </a:lnTo>
                  <a:lnTo>
                    <a:pt x="539" y="190"/>
                  </a:lnTo>
                  <a:lnTo>
                    <a:pt x="547" y="178"/>
                  </a:lnTo>
                  <a:lnTo>
                    <a:pt x="555" y="166"/>
                  </a:lnTo>
                  <a:lnTo>
                    <a:pt x="562" y="155"/>
                  </a:lnTo>
                  <a:lnTo>
                    <a:pt x="569" y="142"/>
                  </a:lnTo>
                  <a:lnTo>
                    <a:pt x="574" y="129"/>
                  </a:lnTo>
                  <a:lnTo>
                    <a:pt x="580" y="116"/>
                  </a:lnTo>
                  <a:lnTo>
                    <a:pt x="585" y="102"/>
                  </a:lnTo>
                  <a:lnTo>
                    <a:pt x="588" y="88"/>
                  </a:lnTo>
                  <a:lnTo>
                    <a:pt x="593" y="74"/>
                  </a:lnTo>
                  <a:lnTo>
                    <a:pt x="595" y="60"/>
                  </a:lnTo>
                  <a:lnTo>
                    <a:pt x="597" y="45"/>
                  </a:lnTo>
                  <a:lnTo>
                    <a:pt x="598" y="30"/>
                  </a:lnTo>
                  <a:lnTo>
                    <a:pt x="598" y="15"/>
                  </a:lnTo>
                  <a:lnTo>
                    <a:pt x="598" y="12"/>
                  </a:lnTo>
                  <a:lnTo>
                    <a:pt x="597" y="10"/>
                  </a:lnTo>
                  <a:lnTo>
                    <a:pt x="596" y="7"/>
                  </a:lnTo>
                  <a:lnTo>
                    <a:pt x="594" y="5"/>
                  </a:lnTo>
                  <a:lnTo>
                    <a:pt x="592" y="3"/>
                  </a:lnTo>
                  <a:lnTo>
                    <a:pt x="589" y="2"/>
                  </a:lnTo>
                  <a:lnTo>
                    <a:pt x="586" y="0"/>
                  </a:lnTo>
                  <a:lnTo>
                    <a:pt x="583" y="0"/>
                  </a:lnTo>
                  <a:lnTo>
                    <a:pt x="5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23">
              <a:extLst>
                <a:ext uri="{FF2B5EF4-FFF2-40B4-BE49-F238E27FC236}">
                  <a16:creationId xmlns:a16="http://schemas.microsoft.com/office/drawing/2014/main" id="{EBFFD713-82B5-441F-8DB5-34FAD57B0D43}"/>
                </a:ext>
              </a:extLst>
            </p:cNvPr>
            <p:cNvSpPr>
              <a:spLocks/>
            </p:cNvSpPr>
            <p:nvPr/>
          </p:nvSpPr>
          <p:spPr bwMode="auto">
            <a:xfrm>
              <a:off x="944563" y="4310063"/>
              <a:ext cx="55563" cy="33338"/>
            </a:xfrm>
            <a:custGeom>
              <a:avLst/>
              <a:gdLst>
                <a:gd name="T0" fmla="*/ 17 w 179"/>
                <a:gd name="T1" fmla="*/ 105 h 105"/>
                <a:gd name="T2" fmla="*/ 22 w 179"/>
                <a:gd name="T3" fmla="*/ 101 h 105"/>
                <a:gd name="T4" fmla="*/ 26 w 179"/>
                <a:gd name="T5" fmla="*/ 98 h 105"/>
                <a:gd name="T6" fmla="*/ 29 w 179"/>
                <a:gd name="T7" fmla="*/ 93 h 105"/>
                <a:gd name="T8" fmla="*/ 30 w 179"/>
                <a:gd name="T9" fmla="*/ 83 h 105"/>
                <a:gd name="T10" fmla="*/ 32 w 179"/>
                <a:gd name="T11" fmla="*/ 71 h 105"/>
                <a:gd name="T12" fmla="*/ 36 w 179"/>
                <a:gd name="T13" fmla="*/ 61 h 105"/>
                <a:gd name="T14" fmla="*/ 43 w 179"/>
                <a:gd name="T15" fmla="*/ 51 h 105"/>
                <a:gd name="T16" fmla="*/ 51 w 179"/>
                <a:gd name="T17" fmla="*/ 42 h 105"/>
                <a:gd name="T18" fmla="*/ 61 w 179"/>
                <a:gd name="T19" fmla="*/ 36 h 105"/>
                <a:gd name="T20" fmla="*/ 71 w 179"/>
                <a:gd name="T21" fmla="*/ 32 h 105"/>
                <a:gd name="T22" fmla="*/ 83 w 179"/>
                <a:gd name="T23" fmla="*/ 30 h 105"/>
                <a:gd name="T24" fmla="*/ 96 w 179"/>
                <a:gd name="T25" fmla="*/ 30 h 105"/>
                <a:gd name="T26" fmla="*/ 108 w 179"/>
                <a:gd name="T27" fmla="*/ 32 h 105"/>
                <a:gd name="T28" fmla="*/ 118 w 179"/>
                <a:gd name="T29" fmla="*/ 36 h 105"/>
                <a:gd name="T30" fmla="*/ 128 w 179"/>
                <a:gd name="T31" fmla="*/ 42 h 105"/>
                <a:gd name="T32" fmla="*/ 136 w 179"/>
                <a:gd name="T33" fmla="*/ 51 h 105"/>
                <a:gd name="T34" fmla="*/ 142 w 179"/>
                <a:gd name="T35" fmla="*/ 61 h 105"/>
                <a:gd name="T36" fmla="*/ 146 w 179"/>
                <a:gd name="T37" fmla="*/ 71 h 105"/>
                <a:gd name="T38" fmla="*/ 150 w 179"/>
                <a:gd name="T39" fmla="*/ 83 h 105"/>
                <a:gd name="T40" fmla="*/ 150 w 179"/>
                <a:gd name="T41" fmla="*/ 93 h 105"/>
                <a:gd name="T42" fmla="*/ 152 w 179"/>
                <a:gd name="T43" fmla="*/ 98 h 105"/>
                <a:gd name="T44" fmla="*/ 156 w 179"/>
                <a:gd name="T45" fmla="*/ 101 h 105"/>
                <a:gd name="T46" fmla="*/ 161 w 179"/>
                <a:gd name="T47" fmla="*/ 105 h 105"/>
                <a:gd name="T48" fmla="*/ 168 w 179"/>
                <a:gd name="T49" fmla="*/ 105 h 105"/>
                <a:gd name="T50" fmla="*/ 173 w 179"/>
                <a:gd name="T51" fmla="*/ 101 h 105"/>
                <a:gd name="T52" fmla="*/ 177 w 179"/>
                <a:gd name="T53" fmla="*/ 98 h 105"/>
                <a:gd name="T54" fmla="*/ 179 w 179"/>
                <a:gd name="T55" fmla="*/ 93 h 105"/>
                <a:gd name="T56" fmla="*/ 179 w 179"/>
                <a:gd name="T57" fmla="*/ 80 h 105"/>
                <a:gd name="T58" fmla="*/ 175 w 179"/>
                <a:gd name="T59" fmla="*/ 62 h 105"/>
                <a:gd name="T60" fmla="*/ 169 w 179"/>
                <a:gd name="T61" fmla="*/ 46 h 105"/>
                <a:gd name="T62" fmla="*/ 159 w 179"/>
                <a:gd name="T63" fmla="*/ 32 h 105"/>
                <a:gd name="T64" fmla="*/ 147 w 179"/>
                <a:gd name="T65" fmla="*/ 20 h 105"/>
                <a:gd name="T66" fmla="*/ 132 w 179"/>
                <a:gd name="T67" fmla="*/ 10 h 105"/>
                <a:gd name="T68" fmla="*/ 116 w 179"/>
                <a:gd name="T69" fmla="*/ 3 h 105"/>
                <a:gd name="T70" fmla="*/ 98 w 179"/>
                <a:gd name="T71" fmla="*/ 0 h 105"/>
                <a:gd name="T72" fmla="*/ 80 w 179"/>
                <a:gd name="T73" fmla="*/ 0 h 105"/>
                <a:gd name="T74" fmla="*/ 62 w 179"/>
                <a:gd name="T75" fmla="*/ 3 h 105"/>
                <a:gd name="T76" fmla="*/ 46 w 179"/>
                <a:gd name="T77" fmla="*/ 10 h 105"/>
                <a:gd name="T78" fmla="*/ 32 w 179"/>
                <a:gd name="T79" fmla="*/ 20 h 105"/>
                <a:gd name="T80" fmla="*/ 20 w 179"/>
                <a:gd name="T81" fmla="*/ 32 h 105"/>
                <a:gd name="T82" fmla="*/ 10 w 179"/>
                <a:gd name="T83" fmla="*/ 46 h 105"/>
                <a:gd name="T84" fmla="*/ 3 w 179"/>
                <a:gd name="T85" fmla="*/ 62 h 105"/>
                <a:gd name="T86" fmla="*/ 0 w 179"/>
                <a:gd name="T87" fmla="*/ 80 h 105"/>
                <a:gd name="T88" fmla="*/ 0 w 179"/>
                <a:gd name="T89" fmla="*/ 93 h 105"/>
                <a:gd name="T90" fmla="*/ 2 w 179"/>
                <a:gd name="T91" fmla="*/ 98 h 105"/>
                <a:gd name="T92" fmla="*/ 6 w 179"/>
                <a:gd name="T93" fmla="*/ 101 h 105"/>
                <a:gd name="T94" fmla="*/ 11 w 179"/>
                <a:gd name="T9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9" h="105">
                  <a:moveTo>
                    <a:pt x="15" y="105"/>
                  </a:moveTo>
                  <a:lnTo>
                    <a:pt x="17" y="105"/>
                  </a:lnTo>
                  <a:lnTo>
                    <a:pt x="20" y="103"/>
                  </a:lnTo>
                  <a:lnTo>
                    <a:pt x="22" y="101"/>
                  </a:lnTo>
                  <a:lnTo>
                    <a:pt x="25" y="100"/>
                  </a:lnTo>
                  <a:lnTo>
                    <a:pt x="26" y="98"/>
                  </a:lnTo>
                  <a:lnTo>
                    <a:pt x="29" y="95"/>
                  </a:lnTo>
                  <a:lnTo>
                    <a:pt x="29" y="93"/>
                  </a:lnTo>
                  <a:lnTo>
                    <a:pt x="30" y="90"/>
                  </a:lnTo>
                  <a:lnTo>
                    <a:pt x="30" y="83"/>
                  </a:lnTo>
                  <a:lnTo>
                    <a:pt x="31" y="77"/>
                  </a:lnTo>
                  <a:lnTo>
                    <a:pt x="32" y="71"/>
                  </a:lnTo>
                  <a:lnTo>
                    <a:pt x="34" y="66"/>
                  </a:lnTo>
                  <a:lnTo>
                    <a:pt x="36" y="61"/>
                  </a:lnTo>
                  <a:lnTo>
                    <a:pt x="39" y="55"/>
                  </a:lnTo>
                  <a:lnTo>
                    <a:pt x="43" y="51"/>
                  </a:lnTo>
                  <a:lnTo>
                    <a:pt x="47" y="47"/>
                  </a:lnTo>
                  <a:lnTo>
                    <a:pt x="51" y="42"/>
                  </a:lnTo>
                  <a:lnTo>
                    <a:pt x="55" y="39"/>
                  </a:lnTo>
                  <a:lnTo>
                    <a:pt x="61" y="36"/>
                  </a:lnTo>
                  <a:lnTo>
                    <a:pt x="66" y="34"/>
                  </a:lnTo>
                  <a:lnTo>
                    <a:pt x="71" y="32"/>
                  </a:lnTo>
                  <a:lnTo>
                    <a:pt x="77" y="31"/>
                  </a:lnTo>
                  <a:lnTo>
                    <a:pt x="83" y="30"/>
                  </a:lnTo>
                  <a:lnTo>
                    <a:pt x="90" y="30"/>
                  </a:lnTo>
                  <a:lnTo>
                    <a:pt x="96" y="30"/>
                  </a:lnTo>
                  <a:lnTo>
                    <a:pt x="101" y="31"/>
                  </a:lnTo>
                  <a:lnTo>
                    <a:pt x="108" y="32"/>
                  </a:lnTo>
                  <a:lnTo>
                    <a:pt x="113" y="34"/>
                  </a:lnTo>
                  <a:lnTo>
                    <a:pt x="118" y="36"/>
                  </a:lnTo>
                  <a:lnTo>
                    <a:pt x="123" y="39"/>
                  </a:lnTo>
                  <a:lnTo>
                    <a:pt x="128" y="42"/>
                  </a:lnTo>
                  <a:lnTo>
                    <a:pt x="132" y="47"/>
                  </a:lnTo>
                  <a:lnTo>
                    <a:pt x="136" y="51"/>
                  </a:lnTo>
                  <a:lnTo>
                    <a:pt x="139" y="55"/>
                  </a:lnTo>
                  <a:lnTo>
                    <a:pt x="142" y="61"/>
                  </a:lnTo>
                  <a:lnTo>
                    <a:pt x="145" y="66"/>
                  </a:lnTo>
                  <a:lnTo>
                    <a:pt x="146" y="71"/>
                  </a:lnTo>
                  <a:lnTo>
                    <a:pt x="148" y="77"/>
                  </a:lnTo>
                  <a:lnTo>
                    <a:pt x="150" y="83"/>
                  </a:lnTo>
                  <a:lnTo>
                    <a:pt x="150" y="90"/>
                  </a:lnTo>
                  <a:lnTo>
                    <a:pt x="150" y="93"/>
                  </a:lnTo>
                  <a:lnTo>
                    <a:pt x="151" y="95"/>
                  </a:lnTo>
                  <a:lnTo>
                    <a:pt x="152" y="98"/>
                  </a:lnTo>
                  <a:lnTo>
                    <a:pt x="154" y="100"/>
                  </a:lnTo>
                  <a:lnTo>
                    <a:pt x="156" y="101"/>
                  </a:lnTo>
                  <a:lnTo>
                    <a:pt x="158" y="103"/>
                  </a:lnTo>
                  <a:lnTo>
                    <a:pt x="161" y="105"/>
                  </a:lnTo>
                  <a:lnTo>
                    <a:pt x="164" y="105"/>
                  </a:lnTo>
                  <a:lnTo>
                    <a:pt x="168" y="105"/>
                  </a:lnTo>
                  <a:lnTo>
                    <a:pt x="170" y="103"/>
                  </a:lnTo>
                  <a:lnTo>
                    <a:pt x="173" y="101"/>
                  </a:lnTo>
                  <a:lnTo>
                    <a:pt x="175" y="100"/>
                  </a:lnTo>
                  <a:lnTo>
                    <a:pt x="177" y="98"/>
                  </a:lnTo>
                  <a:lnTo>
                    <a:pt x="178" y="95"/>
                  </a:lnTo>
                  <a:lnTo>
                    <a:pt x="179" y="93"/>
                  </a:lnTo>
                  <a:lnTo>
                    <a:pt x="179" y="90"/>
                  </a:lnTo>
                  <a:lnTo>
                    <a:pt x="179" y="80"/>
                  </a:lnTo>
                  <a:lnTo>
                    <a:pt x="177" y="71"/>
                  </a:lnTo>
                  <a:lnTo>
                    <a:pt x="175" y="62"/>
                  </a:lnTo>
                  <a:lnTo>
                    <a:pt x="172" y="54"/>
                  </a:lnTo>
                  <a:lnTo>
                    <a:pt x="169" y="46"/>
                  </a:lnTo>
                  <a:lnTo>
                    <a:pt x="164" y="38"/>
                  </a:lnTo>
                  <a:lnTo>
                    <a:pt x="159" y="32"/>
                  </a:lnTo>
                  <a:lnTo>
                    <a:pt x="154" y="25"/>
                  </a:lnTo>
                  <a:lnTo>
                    <a:pt x="147" y="20"/>
                  </a:lnTo>
                  <a:lnTo>
                    <a:pt x="140" y="15"/>
                  </a:lnTo>
                  <a:lnTo>
                    <a:pt x="132" y="10"/>
                  </a:lnTo>
                  <a:lnTo>
                    <a:pt x="125" y="6"/>
                  </a:lnTo>
                  <a:lnTo>
                    <a:pt x="116" y="3"/>
                  </a:lnTo>
                  <a:lnTo>
                    <a:pt x="108" y="1"/>
                  </a:lnTo>
                  <a:lnTo>
                    <a:pt x="98" y="0"/>
                  </a:lnTo>
                  <a:lnTo>
                    <a:pt x="90" y="0"/>
                  </a:lnTo>
                  <a:lnTo>
                    <a:pt x="80" y="0"/>
                  </a:lnTo>
                  <a:lnTo>
                    <a:pt x="71" y="1"/>
                  </a:lnTo>
                  <a:lnTo>
                    <a:pt x="62" y="3"/>
                  </a:lnTo>
                  <a:lnTo>
                    <a:pt x="54" y="6"/>
                  </a:lnTo>
                  <a:lnTo>
                    <a:pt x="46" y="10"/>
                  </a:lnTo>
                  <a:lnTo>
                    <a:pt x="38" y="15"/>
                  </a:lnTo>
                  <a:lnTo>
                    <a:pt x="32" y="20"/>
                  </a:lnTo>
                  <a:lnTo>
                    <a:pt x="25" y="25"/>
                  </a:lnTo>
                  <a:lnTo>
                    <a:pt x="20" y="32"/>
                  </a:lnTo>
                  <a:lnTo>
                    <a:pt x="15" y="38"/>
                  </a:lnTo>
                  <a:lnTo>
                    <a:pt x="10" y="46"/>
                  </a:lnTo>
                  <a:lnTo>
                    <a:pt x="6" y="54"/>
                  </a:lnTo>
                  <a:lnTo>
                    <a:pt x="3" y="62"/>
                  </a:lnTo>
                  <a:lnTo>
                    <a:pt x="1" y="71"/>
                  </a:lnTo>
                  <a:lnTo>
                    <a:pt x="0" y="80"/>
                  </a:lnTo>
                  <a:lnTo>
                    <a:pt x="0" y="90"/>
                  </a:lnTo>
                  <a:lnTo>
                    <a:pt x="0" y="93"/>
                  </a:lnTo>
                  <a:lnTo>
                    <a:pt x="1" y="95"/>
                  </a:lnTo>
                  <a:lnTo>
                    <a:pt x="2" y="98"/>
                  </a:lnTo>
                  <a:lnTo>
                    <a:pt x="4" y="100"/>
                  </a:lnTo>
                  <a:lnTo>
                    <a:pt x="6" y="101"/>
                  </a:lnTo>
                  <a:lnTo>
                    <a:pt x="8" y="103"/>
                  </a:lnTo>
                  <a:lnTo>
                    <a:pt x="11" y="105"/>
                  </a:lnTo>
                  <a:lnTo>
                    <a:pt x="1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24">
              <a:extLst>
                <a:ext uri="{FF2B5EF4-FFF2-40B4-BE49-F238E27FC236}">
                  <a16:creationId xmlns:a16="http://schemas.microsoft.com/office/drawing/2014/main" id="{4A753296-DE77-464F-9B7F-E81E3E236D2B}"/>
                </a:ext>
              </a:extLst>
            </p:cNvPr>
            <p:cNvSpPr>
              <a:spLocks/>
            </p:cNvSpPr>
            <p:nvPr/>
          </p:nvSpPr>
          <p:spPr bwMode="auto">
            <a:xfrm>
              <a:off x="1057275" y="4310063"/>
              <a:ext cx="58738" cy="33338"/>
            </a:xfrm>
            <a:custGeom>
              <a:avLst/>
              <a:gdLst>
                <a:gd name="T0" fmla="*/ 18 w 181"/>
                <a:gd name="T1" fmla="*/ 105 h 105"/>
                <a:gd name="T2" fmla="*/ 24 w 181"/>
                <a:gd name="T3" fmla="*/ 101 h 105"/>
                <a:gd name="T4" fmla="*/ 28 w 181"/>
                <a:gd name="T5" fmla="*/ 98 h 105"/>
                <a:gd name="T6" fmla="*/ 30 w 181"/>
                <a:gd name="T7" fmla="*/ 93 h 105"/>
                <a:gd name="T8" fmla="*/ 31 w 181"/>
                <a:gd name="T9" fmla="*/ 83 h 105"/>
                <a:gd name="T10" fmla="*/ 33 w 181"/>
                <a:gd name="T11" fmla="*/ 71 h 105"/>
                <a:gd name="T12" fmla="*/ 38 w 181"/>
                <a:gd name="T13" fmla="*/ 61 h 105"/>
                <a:gd name="T14" fmla="*/ 44 w 181"/>
                <a:gd name="T15" fmla="*/ 51 h 105"/>
                <a:gd name="T16" fmla="*/ 53 w 181"/>
                <a:gd name="T17" fmla="*/ 42 h 105"/>
                <a:gd name="T18" fmla="*/ 62 w 181"/>
                <a:gd name="T19" fmla="*/ 36 h 105"/>
                <a:gd name="T20" fmla="*/ 73 w 181"/>
                <a:gd name="T21" fmla="*/ 32 h 105"/>
                <a:gd name="T22" fmla="*/ 85 w 181"/>
                <a:gd name="T23" fmla="*/ 30 h 105"/>
                <a:gd name="T24" fmla="*/ 97 w 181"/>
                <a:gd name="T25" fmla="*/ 30 h 105"/>
                <a:gd name="T26" fmla="*/ 108 w 181"/>
                <a:gd name="T27" fmla="*/ 32 h 105"/>
                <a:gd name="T28" fmla="*/ 120 w 181"/>
                <a:gd name="T29" fmla="*/ 36 h 105"/>
                <a:gd name="T30" fmla="*/ 130 w 181"/>
                <a:gd name="T31" fmla="*/ 42 h 105"/>
                <a:gd name="T32" fmla="*/ 137 w 181"/>
                <a:gd name="T33" fmla="*/ 51 h 105"/>
                <a:gd name="T34" fmla="*/ 144 w 181"/>
                <a:gd name="T35" fmla="*/ 61 h 105"/>
                <a:gd name="T36" fmla="*/ 148 w 181"/>
                <a:gd name="T37" fmla="*/ 71 h 105"/>
                <a:gd name="T38" fmla="*/ 150 w 181"/>
                <a:gd name="T39" fmla="*/ 83 h 105"/>
                <a:gd name="T40" fmla="*/ 151 w 181"/>
                <a:gd name="T41" fmla="*/ 93 h 105"/>
                <a:gd name="T42" fmla="*/ 153 w 181"/>
                <a:gd name="T43" fmla="*/ 98 h 105"/>
                <a:gd name="T44" fmla="*/ 158 w 181"/>
                <a:gd name="T45" fmla="*/ 101 h 105"/>
                <a:gd name="T46" fmla="*/ 163 w 181"/>
                <a:gd name="T47" fmla="*/ 105 h 105"/>
                <a:gd name="T48" fmla="*/ 169 w 181"/>
                <a:gd name="T49" fmla="*/ 105 h 105"/>
                <a:gd name="T50" fmla="*/ 175 w 181"/>
                <a:gd name="T51" fmla="*/ 101 h 105"/>
                <a:gd name="T52" fmla="*/ 178 w 181"/>
                <a:gd name="T53" fmla="*/ 98 h 105"/>
                <a:gd name="T54" fmla="*/ 181 w 181"/>
                <a:gd name="T55" fmla="*/ 93 h 105"/>
                <a:gd name="T56" fmla="*/ 180 w 181"/>
                <a:gd name="T57" fmla="*/ 80 h 105"/>
                <a:gd name="T58" fmla="*/ 177 w 181"/>
                <a:gd name="T59" fmla="*/ 62 h 105"/>
                <a:gd name="T60" fmla="*/ 170 w 181"/>
                <a:gd name="T61" fmla="*/ 46 h 105"/>
                <a:gd name="T62" fmla="*/ 161 w 181"/>
                <a:gd name="T63" fmla="*/ 32 h 105"/>
                <a:gd name="T64" fmla="*/ 148 w 181"/>
                <a:gd name="T65" fmla="*/ 20 h 105"/>
                <a:gd name="T66" fmla="*/ 134 w 181"/>
                <a:gd name="T67" fmla="*/ 10 h 105"/>
                <a:gd name="T68" fmla="*/ 118 w 181"/>
                <a:gd name="T69" fmla="*/ 3 h 105"/>
                <a:gd name="T70" fmla="*/ 100 w 181"/>
                <a:gd name="T71" fmla="*/ 0 h 105"/>
                <a:gd name="T72" fmla="*/ 82 w 181"/>
                <a:gd name="T73" fmla="*/ 0 h 105"/>
                <a:gd name="T74" fmla="*/ 63 w 181"/>
                <a:gd name="T75" fmla="*/ 3 h 105"/>
                <a:gd name="T76" fmla="*/ 47 w 181"/>
                <a:gd name="T77" fmla="*/ 10 h 105"/>
                <a:gd name="T78" fmla="*/ 33 w 181"/>
                <a:gd name="T79" fmla="*/ 20 h 105"/>
                <a:gd name="T80" fmla="*/ 21 w 181"/>
                <a:gd name="T81" fmla="*/ 32 h 105"/>
                <a:gd name="T82" fmla="*/ 11 w 181"/>
                <a:gd name="T83" fmla="*/ 46 h 105"/>
                <a:gd name="T84" fmla="*/ 5 w 181"/>
                <a:gd name="T85" fmla="*/ 62 h 105"/>
                <a:gd name="T86" fmla="*/ 1 w 181"/>
                <a:gd name="T87" fmla="*/ 80 h 105"/>
                <a:gd name="T88" fmla="*/ 1 w 181"/>
                <a:gd name="T89" fmla="*/ 93 h 105"/>
                <a:gd name="T90" fmla="*/ 3 w 181"/>
                <a:gd name="T91" fmla="*/ 98 h 105"/>
                <a:gd name="T92" fmla="*/ 8 w 181"/>
                <a:gd name="T93" fmla="*/ 101 h 105"/>
                <a:gd name="T94" fmla="*/ 13 w 181"/>
                <a:gd name="T9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15" y="105"/>
                  </a:moveTo>
                  <a:lnTo>
                    <a:pt x="18" y="105"/>
                  </a:lnTo>
                  <a:lnTo>
                    <a:pt x="22" y="103"/>
                  </a:lnTo>
                  <a:lnTo>
                    <a:pt x="24" y="101"/>
                  </a:lnTo>
                  <a:lnTo>
                    <a:pt x="26" y="100"/>
                  </a:lnTo>
                  <a:lnTo>
                    <a:pt x="28" y="98"/>
                  </a:lnTo>
                  <a:lnTo>
                    <a:pt x="29" y="95"/>
                  </a:lnTo>
                  <a:lnTo>
                    <a:pt x="30" y="93"/>
                  </a:lnTo>
                  <a:lnTo>
                    <a:pt x="30" y="90"/>
                  </a:lnTo>
                  <a:lnTo>
                    <a:pt x="31" y="83"/>
                  </a:lnTo>
                  <a:lnTo>
                    <a:pt x="32" y="77"/>
                  </a:lnTo>
                  <a:lnTo>
                    <a:pt x="33" y="71"/>
                  </a:lnTo>
                  <a:lnTo>
                    <a:pt x="36" y="66"/>
                  </a:lnTo>
                  <a:lnTo>
                    <a:pt x="38" y="61"/>
                  </a:lnTo>
                  <a:lnTo>
                    <a:pt x="41" y="55"/>
                  </a:lnTo>
                  <a:lnTo>
                    <a:pt x="44" y="51"/>
                  </a:lnTo>
                  <a:lnTo>
                    <a:pt x="48" y="47"/>
                  </a:lnTo>
                  <a:lnTo>
                    <a:pt x="53" y="42"/>
                  </a:lnTo>
                  <a:lnTo>
                    <a:pt x="57" y="39"/>
                  </a:lnTo>
                  <a:lnTo>
                    <a:pt x="62" y="36"/>
                  </a:lnTo>
                  <a:lnTo>
                    <a:pt x="68" y="34"/>
                  </a:lnTo>
                  <a:lnTo>
                    <a:pt x="73" y="32"/>
                  </a:lnTo>
                  <a:lnTo>
                    <a:pt x="78" y="31"/>
                  </a:lnTo>
                  <a:lnTo>
                    <a:pt x="85" y="30"/>
                  </a:lnTo>
                  <a:lnTo>
                    <a:pt x="91" y="30"/>
                  </a:lnTo>
                  <a:lnTo>
                    <a:pt x="97" y="30"/>
                  </a:lnTo>
                  <a:lnTo>
                    <a:pt x="103" y="31"/>
                  </a:lnTo>
                  <a:lnTo>
                    <a:pt x="108" y="32"/>
                  </a:lnTo>
                  <a:lnTo>
                    <a:pt x="115" y="34"/>
                  </a:lnTo>
                  <a:lnTo>
                    <a:pt x="120" y="36"/>
                  </a:lnTo>
                  <a:lnTo>
                    <a:pt x="124" y="39"/>
                  </a:lnTo>
                  <a:lnTo>
                    <a:pt x="130" y="42"/>
                  </a:lnTo>
                  <a:lnTo>
                    <a:pt x="133" y="47"/>
                  </a:lnTo>
                  <a:lnTo>
                    <a:pt x="137" y="51"/>
                  </a:lnTo>
                  <a:lnTo>
                    <a:pt x="140" y="55"/>
                  </a:lnTo>
                  <a:lnTo>
                    <a:pt x="144" y="61"/>
                  </a:lnTo>
                  <a:lnTo>
                    <a:pt x="146" y="66"/>
                  </a:lnTo>
                  <a:lnTo>
                    <a:pt x="148" y="71"/>
                  </a:lnTo>
                  <a:lnTo>
                    <a:pt x="150" y="77"/>
                  </a:lnTo>
                  <a:lnTo>
                    <a:pt x="150" y="83"/>
                  </a:lnTo>
                  <a:lnTo>
                    <a:pt x="151" y="90"/>
                  </a:lnTo>
                  <a:lnTo>
                    <a:pt x="151" y="93"/>
                  </a:lnTo>
                  <a:lnTo>
                    <a:pt x="152" y="95"/>
                  </a:lnTo>
                  <a:lnTo>
                    <a:pt x="153" y="98"/>
                  </a:lnTo>
                  <a:lnTo>
                    <a:pt x="155" y="100"/>
                  </a:lnTo>
                  <a:lnTo>
                    <a:pt x="158" y="101"/>
                  </a:lnTo>
                  <a:lnTo>
                    <a:pt x="160" y="103"/>
                  </a:lnTo>
                  <a:lnTo>
                    <a:pt x="163" y="105"/>
                  </a:lnTo>
                  <a:lnTo>
                    <a:pt x="166" y="105"/>
                  </a:lnTo>
                  <a:lnTo>
                    <a:pt x="169" y="105"/>
                  </a:lnTo>
                  <a:lnTo>
                    <a:pt x="171" y="103"/>
                  </a:lnTo>
                  <a:lnTo>
                    <a:pt x="175" y="101"/>
                  </a:lnTo>
                  <a:lnTo>
                    <a:pt x="177" y="100"/>
                  </a:lnTo>
                  <a:lnTo>
                    <a:pt x="178" y="98"/>
                  </a:lnTo>
                  <a:lnTo>
                    <a:pt x="180" y="95"/>
                  </a:lnTo>
                  <a:lnTo>
                    <a:pt x="181" y="93"/>
                  </a:lnTo>
                  <a:lnTo>
                    <a:pt x="181" y="90"/>
                  </a:lnTo>
                  <a:lnTo>
                    <a:pt x="180" y="80"/>
                  </a:lnTo>
                  <a:lnTo>
                    <a:pt x="179" y="71"/>
                  </a:lnTo>
                  <a:lnTo>
                    <a:pt x="177" y="62"/>
                  </a:lnTo>
                  <a:lnTo>
                    <a:pt x="174" y="54"/>
                  </a:lnTo>
                  <a:lnTo>
                    <a:pt x="170" y="46"/>
                  </a:lnTo>
                  <a:lnTo>
                    <a:pt x="166" y="38"/>
                  </a:lnTo>
                  <a:lnTo>
                    <a:pt x="161" y="32"/>
                  </a:lnTo>
                  <a:lnTo>
                    <a:pt x="154" y="25"/>
                  </a:lnTo>
                  <a:lnTo>
                    <a:pt x="148" y="20"/>
                  </a:lnTo>
                  <a:lnTo>
                    <a:pt x="141" y="15"/>
                  </a:lnTo>
                  <a:lnTo>
                    <a:pt x="134" y="10"/>
                  </a:lnTo>
                  <a:lnTo>
                    <a:pt x="126" y="6"/>
                  </a:lnTo>
                  <a:lnTo>
                    <a:pt x="118" y="3"/>
                  </a:lnTo>
                  <a:lnTo>
                    <a:pt x="109" y="1"/>
                  </a:lnTo>
                  <a:lnTo>
                    <a:pt x="100" y="0"/>
                  </a:lnTo>
                  <a:lnTo>
                    <a:pt x="91" y="0"/>
                  </a:lnTo>
                  <a:lnTo>
                    <a:pt x="82" y="0"/>
                  </a:lnTo>
                  <a:lnTo>
                    <a:pt x="72" y="1"/>
                  </a:lnTo>
                  <a:lnTo>
                    <a:pt x="63" y="3"/>
                  </a:lnTo>
                  <a:lnTo>
                    <a:pt x="56" y="6"/>
                  </a:lnTo>
                  <a:lnTo>
                    <a:pt x="47" y="10"/>
                  </a:lnTo>
                  <a:lnTo>
                    <a:pt x="40" y="15"/>
                  </a:lnTo>
                  <a:lnTo>
                    <a:pt x="33" y="20"/>
                  </a:lnTo>
                  <a:lnTo>
                    <a:pt x="27" y="25"/>
                  </a:lnTo>
                  <a:lnTo>
                    <a:pt x="21" y="32"/>
                  </a:lnTo>
                  <a:lnTo>
                    <a:pt x="16" y="38"/>
                  </a:lnTo>
                  <a:lnTo>
                    <a:pt x="11" y="46"/>
                  </a:lnTo>
                  <a:lnTo>
                    <a:pt x="8" y="54"/>
                  </a:lnTo>
                  <a:lnTo>
                    <a:pt x="5" y="62"/>
                  </a:lnTo>
                  <a:lnTo>
                    <a:pt x="2" y="71"/>
                  </a:lnTo>
                  <a:lnTo>
                    <a:pt x="1" y="80"/>
                  </a:lnTo>
                  <a:lnTo>
                    <a:pt x="0" y="90"/>
                  </a:lnTo>
                  <a:lnTo>
                    <a:pt x="1" y="93"/>
                  </a:lnTo>
                  <a:lnTo>
                    <a:pt x="1" y="95"/>
                  </a:lnTo>
                  <a:lnTo>
                    <a:pt x="3" y="98"/>
                  </a:lnTo>
                  <a:lnTo>
                    <a:pt x="6" y="100"/>
                  </a:lnTo>
                  <a:lnTo>
                    <a:pt x="8" y="101"/>
                  </a:lnTo>
                  <a:lnTo>
                    <a:pt x="10" y="103"/>
                  </a:lnTo>
                  <a:lnTo>
                    <a:pt x="13" y="105"/>
                  </a:lnTo>
                  <a:lnTo>
                    <a:pt x="1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0" name="Group 14">
            <a:extLst>
              <a:ext uri="{FF2B5EF4-FFF2-40B4-BE49-F238E27FC236}">
                <a16:creationId xmlns:a16="http://schemas.microsoft.com/office/drawing/2014/main" id="{D28DC287-B542-43D0-A821-957AAF2C6971}"/>
              </a:ext>
            </a:extLst>
          </p:cNvPr>
          <p:cNvGrpSpPr>
            <a:grpSpLocks noChangeAspect="1"/>
          </p:cNvGrpSpPr>
          <p:nvPr/>
        </p:nvGrpSpPr>
        <p:grpSpPr>
          <a:xfrm>
            <a:off x="2752671" y="5417577"/>
            <a:ext cx="252795" cy="285619"/>
            <a:chOff x="4010025" y="1682750"/>
            <a:chExt cx="941388" cy="1063626"/>
          </a:xfrm>
          <a:solidFill>
            <a:schemeClr val="bg2"/>
          </a:solidFill>
          <a:effectLst/>
        </p:grpSpPr>
        <p:sp>
          <p:nvSpPr>
            <p:cNvPr id="511" name="Freeform 48">
              <a:extLst>
                <a:ext uri="{FF2B5EF4-FFF2-40B4-BE49-F238E27FC236}">
                  <a16:creationId xmlns:a16="http://schemas.microsoft.com/office/drawing/2014/main" id="{219810BC-7523-439A-8482-2921263C1DCB}"/>
                </a:ext>
              </a:extLst>
            </p:cNvPr>
            <p:cNvSpPr>
              <a:spLocks noEditPoints="1"/>
            </p:cNvSpPr>
            <p:nvPr/>
          </p:nvSpPr>
          <p:spPr bwMode="auto">
            <a:xfrm>
              <a:off x="4265613" y="1793875"/>
              <a:ext cx="439738" cy="420688"/>
            </a:xfrm>
            <a:custGeom>
              <a:avLst/>
              <a:gdLst>
                <a:gd name="T0" fmla="*/ 425 w 831"/>
                <a:gd name="T1" fmla="*/ 595 h 793"/>
                <a:gd name="T2" fmla="*/ 597 w 831"/>
                <a:gd name="T3" fmla="*/ 685 h 793"/>
                <a:gd name="T4" fmla="*/ 565 w 831"/>
                <a:gd name="T5" fmla="*/ 493 h 793"/>
                <a:gd name="T6" fmla="*/ 568 w 831"/>
                <a:gd name="T7" fmla="*/ 480 h 793"/>
                <a:gd name="T8" fmla="*/ 577 w 831"/>
                <a:gd name="T9" fmla="*/ 468 h 793"/>
                <a:gd name="T10" fmla="*/ 522 w 831"/>
                <a:gd name="T11" fmla="*/ 311 h 793"/>
                <a:gd name="T12" fmla="*/ 509 w 831"/>
                <a:gd name="T13" fmla="*/ 306 h 793"/>
                <a:gd name="T14" fmla="*/ 499 w 831"/>
                <a:gd name="T15" fmla="*/ 295 h 793"/>
                <a:gd name="T16" fmla="*/ 333 w 831"/>
                <a:gd name="T17" fmla="*/ 291 h 793"/>
                <a:gd name="T18" fmla="*/ 325 w 831"/>
                <a:gd name="T19" fmla="*/ 302 h 793"/>
                <a:gd name="T20" fmla="*/ 313 w 831"/>
                <a:gd name="T21" fmla="*/ 310 h 793"/>
                <a:gd name="T22" fmla="*/ 121 w 831"/>
                <a:gd name="T23" fmla="*/ 338 h 793"/>
                <a:gd name="T24" fmla="*/ 259 w 831"/>
                <a:gd name="T25" fmla="*/ 476 h 793"/>
                <a:gd name="T26" fmla="*/ 264 w 831"/>
                <a:gd name="T27" fmla="*/ 488 h 793"/>
                <a:gd name="T28" fmla="*/ 264 w 831"/>
                <a:gd name="T29" fmla="*/ 502 h 793"/>
                <a:gd name="T30" fmla="*/ 401 w 831"/>
                <a:gd name="T31" fmla="*/ 597 h 793"/>
                <a:gd name="T32" fmla="*/ 415 w 831"/>
                <a:gd name="T33" fmla="*/ 594 h 793"/>
                <a:gd name="T34" fmla="*/ 640 w 831"/>
                <a:gd name="T35" fmla="*/ 792 h 793"/>
                <a:gd name="T36" fmla="*/ 415 w 831"/>
                <a:gd name="T37" fmla="*/ 676 h 793"/>
                <a:gd name="T38" fmla="*/ 190 w 831"/>
                <a:gd name="T39" fmla="*/ 793 h 793"/>
                <a:gd name="T40" fmla="*/ 174 w 831"/>
                <a:gd name="T41" fmla="*/ 793 h 793"/>
                <a:gd name="T42" fmla="*/ 159 w 831"/>
                <a:gd name="T43" fmla="*/ 787 h 793"/>
                <a:gd name="T44" fmla="*/ 149 w 831"/>
                <a:gd name="T45" fmla="*/ 774 h 793"/>
                <a:gd name="T46" fmla="*/ 144 w 831"/>
                <a:gd name="T47" fmla="*/ 759 h 793"/>
                <a:gd name="T48" fmla="*/ 185 w 831"/>
                <a:gd name="T49" fmla="*/ 510 h 793"/>
                <a:gd name="T50" fmla="*/ 5 w 831"/>
                <a:gd name="T51" fmla="*/ 331 h 793"/>
                <a:gd name="T52" fmla="*/ 0 w 831"/>
                <a:gd name="T53" fmla="*/ 316 h 793"/>
                <a:gd name="T54" fmla="*/ 2 w 831"/>
                <a:gd name="T55" fmla="*/ 300 h 793"/>
                <a:gd name="T56" fmla="*/ 9 w 831"/>
                <a:gd name="T57" fmla="*/ 286 h 793"/>
                <a:gd name="T58" fmla="*/ 22 w 831"/>
                <a:gd name="T59" fmla="*/ 277 h 793"/>
                <a:gd name="T60" fmla="*/ 273 w 831"/>
                <a:gd name="T61" fmla="*/ 239 h 793"/>
                <a:gd name="T62" fmla="*/ 387 w 831"/>
                <a:gd name="T63" fmla="*/ 12 h 793"/>
                <a:gd name="T64" fmla="*/ 399 w 831"/>
                <a:gd name="T65" fmla="*/ 4 h 793"/>
                <a:gd name="T66" fmla="*/ 415 w 831"/>
                <a:gd name="T67" fmla="*/ 0 h 793"/>
                <a:gd name="T68" fmla="*/ 431 w 831"/>
                <a:gd name="T69" fmla="*/ 4 h 793"/>
                <a:gd name="T70" fmla="*/ 444 w 831"/>
                <a:gd name="T71" fmla="*/ 12 h 793"/>
                <a:gd name="T72" fmla="*/ 558 w 831"/>
                <a:gd name="T73" fmla="*/ 239 h 793"/>
                <a:gd name="T74" fmla="*/ 809 w 831"/>
                <a:gd name="T75" fmla="*/ 277 h 793"/>
                <a:gd name="T76" fmla="*/ 821 w 831"/>
                <a:gd name="T77" fmla="*/ 286 h 793"/>
                <a:gd name="T78" fmla="*/ 829 w 831"/>
                <a:gd name="T79" fmla="*/ 300 h 793"/>
                <a:gd name="T80" fmla="*/ 831 w 831"/>
                <a:gd name="T81" fmla="*/ 316 h 793"/>
                <a:gd name="T82" fmla="*/ 827 w 831"/>
                <a:gd name="T83" fmla="*/ 331 h 793"/>
                <a:gd name="T84" fmla="*/ 646 w 831"/>
                <a:gd name="T85" fmla="*/ 510 h 793"/>
                <a:gd name="T86" fmla="*/ 686 w 831"/>
                <a:gd name="T87" fmla="*/ 759 h 793"/>
                <a:gd name="T88" fmla="*/ 682 w 831"/>
                <a:gd name="T89" fmla="*/ 774 h 793"/>
                <a:gd name="T90" fmla="*/ 671 w 831"/>
                <a:gd name="T91" fmla="*/ 787 h 793"/>
                <a:gd name="T92" fmla="*/ 654 w 831"/>
                <a:gd name="T93" fmla="*/ 79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31" h="793">
                  <a:moveTo>
                    <a:pt x="415" y="594"/>
                  </a:moveTo>
                  <a:lnTo>
                    <a:pt x="420" y="595"/>
                  </a:lnTo>
                  <a:lnTo>
                    <a:pt x="425" y="595"/>
                  </a:lnTo>
                  <a:lnTo>
                    <a:pt x="429" y="597"/>
                  </a:lnTo>
                  <a:lnTo>
                    <a:pt x="433" y="599"/>
                  </a:lnTo>
                  <a:lnTo>
                    <a:pt x="597" y="685"/>
                  </a:lnTo>
                  <a:lnTo>
                    <a:pt x="566" y="502"/>
                  </a:lnTo>
                  <a:lnTo>
                    <a:pt x="565" y="498"/>
                  </a:lnTo>
                  <a:lnTo>
                    <a:pt x="565" y="493"/>
                  </a:lnTo>
                  <a:lnTo>
                    <a:pt x="566" y="488"/>
                  </a:lnTo>
                  <a:lnTo>
                    <a:pt x="567" y="484"/>
                  </a:lnTo>
                  <a:lnTo>
                    <a:pt x="568" y="480"/>
                  </a:lnTo>
                  <a:lnTo>
                    <a:pt x="572" y="476"/>
                  </a:lnTo>
                  <a:lnTo>
                    <a:pt x="574" y="471"/>
                  </a:lnTo>
                  <a:lnTo>
                    <a:pt x="577" y="468"/>
                  </a:lnTo>
                  <a:lnTo>
                    <a:pt x="710" y="338"/>
                  </a:lnTo>
                  <a:lnTo>
                    <a:pt x="526" y="312"/>
                  </a:lnTo>
                  <a:lnTo>
                    <a:pt x="522" y="311"/>
                  </a:lnTo>
                  <a:lnTo>
                    <a:pt x="517" y="310"/>
                  </a:lnTo>
                  <a:lnTo>
                    <a:pt x="513" y="308"/>
                  </a:lnTo>
                  <a:lnTo>
                    <a:pt x="509" y="306"/>
                  </a:lnTo>
                  <a:lnTo>
                    <a:pt x="506" y="302"/>
                  </a:lnTo>
                  <a:lnTo>
                    <a:pt x="502" y="299"/>
                  </a:lnTo>
                  <a:lnTo>
                    <a:pt x="499" y="295"/>
                  </a:lnTo>
                  <a:lnTo>
                    <a:pt x="497" y="291"/>
                  </a:lnTo>
                  <a:lnTo>
                    <a:pt x="415" y="125"/>
                  </a:lnTo>
                  <a:lnTo>
                    <a:pt x="333" y="291"/>
                  </a:lnTo>
                  <a:lnTo>
                    <a:pt x="331" y="295"/>
                  </a:lnTo>
                  <a:lnTo>
                    <a:pt x="328" y="299"/>
                  </a:lnTo>
                  <a:lnTo>
                    <a:pt x="325" y="302"/>
                  </a:lnTo>
                  <a:lnTo>
                    <a:pt x="322" y="306"/>
                  </a:lnTo>
                  <a:lnTo>
                    <a:pt x="318" y="308"/>
                  </a:lnTo>
                  <a:lnTo>
                    <a:pt x="313" y="310"/>
                  </a:lnTo>
                  <a:lnTo>
                    <a:pt x="309" y="311"/>
                  </a:lnTo>
                  <a:lnTo>
                    <a:pt x="305" y="312"/>
                  </a:lnTo>
                  <a:lnTo>
                    <a:pt x="121" y="338"/>
                  </a:lnTo>
                  <a:lnTo>
                    <a:pt x="254" y="468"/>
                  </a:lnTo>
                  <a:lnTo>
                    <a:pt x="257" y="471"/>
                  </a:lnTo>
                  <a:lnTo>
                    <a:pt x="259" y="476"/>
                  </a:lnTo>
                  <a:lnTo>
                    <a:pt x="262" y="480"/>
                  </a:lnTo>
                  <a:lnTo>
                    <a:pt x="263" y="484"/>
                  </a:lnTo>
                  <a:lnTo>
                    <a:pt x="264" y="488"/>
                  </a:lnTo>
                  <a:lnTo>
                    <a:pt x="265" y="493"/>
                  </a:lnTo>
                  <a:lnTo>
                    <a:pt x="265" y="498"/>
                  </a:lnTo>
                  <a:lnTo>
                    <a:pt x="264" y="502"/>
                  </a:lnTo>
                  <a:lnTo>
                    <a:pt x="234" y="685"/>
                  </a:lnTo>
                  <a:lnTo>
                    <a:pt x="397" y="599"/>
                  </a:lnTo>
                  <a:lnTo>
                    <a:pt x="401" y="597"/>
                  </a:lnTo>
                  <a:lnTo>
                    <a:pt x="406" y="595"/>
                  </a:lnTo>
                  <a:lnTo>
                    <a:pt x="411" y="595"/>
                  </a:lnTo>
                  <a:lnTo>
                    <a:pt x="415" y="594"/>
                  </a:lnTo>
                  <a:close/>
                  <a:moveTo>
                    <a:pt x="648" y="793"/>
                  </a:moveTo>
                  <a:lnTo>
                    <a:pt x="644" y="793"/>
                  </a:lnTo>
                  <a:lnTo>
                    <a:pt x="640" y="792"/>
                  </a:lnTo>
                  <a:lnTo>
                    <a:pt x="634" y="791"/>
                  </a:lnTo>
                  <a:lnTo>
                    <a:pt x="630" y="789"/>
                  </a:lnTo>
                  <a:lnTo>
                    <a:pt x="415" y="676"/>
                  </a:lnTo>
                  <a:lnTo>
                    <a:pt x="201" y="789"/>
                  </a:lnTo>
                  <a:lnTo>
                    <a:pt x="195" y="791"/>
                  </a:lnTo>
                  <a:lnTo>
                    <a:pt x="190" y="793"/>
                  </a:lnTo>
                  <a:lnTo>
                    <a:pt x="185" y="793"/>
                  </a:lnTo>
                  <a:lnTo>
                    <a:pt x="179" y="793"/>
                  </a:lnTo>
                  <a:lnTo>
                    <a:pt x="174" y="793"/>
                  </a:lnTo>
                  <a:lnTo>
                    <a:pt x="169" y="791"/>
                  </a:lnTo>
                  <a:lnTo>
                    <a:pt x="164" y="789"/>
                  </a:lnTo>
                  <a:lnTo>
                    <a:pt x="159" y="787"/>
                  </a:lnTo>
                  <a:lnTo>
                    <a:pt x="155" y="783"/>
                  </a:lnTo>
                  <a:lnTo>
                    <a:pt x="152" y="778"/>
                  </a:lnTo>
                  <a:lnTo>
                    <a:pt x="149" y="774"/>
                  </a:lnTo>
                  <a:lnTo>
                    <a:pt x="146" y="770"/>
                  </a:lnTo>
                  <a:lnTo>
                    <a:pt x="144" y="765"/>
                  </a:lnTo>
                  <a:lnTo>
                    <a:pt x="144" y="759"/>
                  </a:lnTo>
                  <a:lnTo>
                    <a:pt x="143" y="754"/>
                  </a:lnTo>
                  <a:lnTo>
                    <a:pt x="144" y="749"/>
                  </a:lnTo>
                  <a:lnTo>
                    <a:pt x="185" y="510"/>
                  </a:lnTo>
                  <a:lnTo>
                    <a:pt x="11" y="340"/>
                  </a:lnTo>
                  <a:lnTo>
                    <a:pt x="7" y="335"/>
                  </a:lnTo>
                  <a:lnTo>
                    <a:pt x="5" y="331"/>
                  </a:lnTo>
                  <a:lnTo>
                    <a:pt x="2" y="326"/>
                  </a:lnTo>
                  <a:lnTo>
                    <a:pt x="1" y="321"/>
                  </a:lnTo>
                  <a:lnTo>
                    <a:pt x="0" y="316"/>
                  </a:lnTo>
                  <a:lnTo>
                    <a:pt x="0" y="311"/>
                  </a:lnTo>
                  <a:lnTo>
                    <a:pt x="0" y="306"/>
                  </a:lnTo>
                  <a:lnTo>
                    <a:pt x="2" y="300"/>
                  </a:lnTo>
                  <a:lnTo>
                    <a:pt x="3" y="295"/>
                  </a:lnTo>
                  <a:lnTo>
                    <a:pt x="6" y="290"/>
                  </a:lnTo>
                  <a:lnTo>
                    <a:pt x="9" y="286"/>
                  </a:lnTo>
                  <a:lnTo>
                    <a:pt x="14" y="282"/>
                  </a:lnTo>
                  <a:lnTo>
                    <a:pt x="18" y="279"/>
                  </a:lnTo>
                  <a:lnTo>
                    <a:pt x="22" y="277"/>
                  </a:lnTo>
                  <a:lnTo>
                    <a:pt x="27" y="275"/>
                  </a:lnTo>
                  <a:lnTo>
                    <a:pt x="33" y="274"/>
                  </a:lnTo>
                  <a:lnTo>
                    <a:pt x="273" y="239"/>
                  </a:lnTo>
                  <a:lnTo>
                    <a:pt x="380" y="21"/>
                  </a:lnTo>
                  <a:lnTo>
                    <a:pt x="383" y="16"/>
                  </a:lnTo>
                  <a:lnTo>
                    <a:pt x="387" y="12"/>
                  </a:lnTo>
                  <a:lnTo>
                    <a:pt x="391" y="9"/>
                  </a:lnTo>
                  <a:lnTo>
                    <a:pt x="395" y="6"/>
                  </a:lnTo>
                  <a:lnTo>
                    <a:pt x="399" y="4"/>
                  </a:lnTo>
                  <a:lnTo>
                    <a:pt x="405" y="2"/>
                  </a:lnTo>
                  <a:lnTo>
                    <a:pt x="410" y="2"/>
                  </a:lnTo>
                  <a:lnTo>
                    <a:pt x="415" y="0"/>
                  </a:lnTo>
                  <a:lnTo>
                    <a:pt x="421" y="2"/>
                  </a:lnTo>
                  <a:lnTo>
                    <a:pt x="426" y="2"/>
                  </a:lnTo>
                  <a:lnTo>
                    <a:pt x="431" y="4"/>
                  </a:lnTo>
                  <a:lnTo>
                    <a:pt x="435" y="6"/>
                  </a:lnTo>
                  <a:lnTo>
                    <a:pt x="440" y="9"/>
                  </a:lnTo>
                  <a:lnTo>
                    <a:pt x="444" y="12"/>
                  </a:lnTo>
                  <a:lnTo>
                    <a:pt x="447" y="16"/>
                  </a:lnTo>
                  <a:lnTo>
                    <a:pt x="450" y="21"/>
                  </a:lnTo>
                  <a:lnTo>
                    <a:pt x="558" y="239"/>
                  </a:lnTo>
                  <a:lnTo>
                    <a:pt x="798" y="274"/>
                  </a:lnTo>
                  <a:lnTo>
                    <a:pt x="803" y="275"/>
                  </a:lnTo>
                  <a:lnTo>
                    <a:pt x="809" y="277"/>
                  </a:lnTo>
                  <a:lnTo>
                    <a:pt x="813" y="279"/>
                  </a:lnTo>
                  <a:lnTo>
                    <a:pt x="817" y="282"/>
                  </a:lnTo>
                  <a:lnTo>
                    <a:pt x="821" y="286"/>
                  </a:lnTo>
                  <a:lnTo>
                    <a:pt x="824" y="290"/>
                  </a:lnTo>
                  <a:lnTo>
                    <a:pt x="828" y="295"/>
                  </a:lnTo>
                  <a:lnTo>
                    <a:pt x="829" y="300"/>
                  </a:lnTo>
                  <a:lnTo>
                    <a:pt x="831" y="306"/>
                  </a:lnTo>
                  <a:lnTo>
                    <a:pt x="831" y="311"/>
                  </a:lnTo>
                  <a:lnTo>
                    <a:pt x="831" y="316"/>
                  </a:lnTo>
                  <a:lnTo>
                    <a:pt x="830" y="321"/>
                  </a:lnTo>
                  <a:lnTo>
                    <a:pt x="829" y="326"/>
                  </a:lnTo>
                  <a:lnTo>
                    <a:pt x="827" y="331"/>
                  </a:lnTo>
                  <a:lnTo>
                    <a:pt x="823" y="335"/>
                  </a:lnTo>
                  <a:lnTo>
                    <a:pt x="819" y="340"/>
                  </a:lnTo>
                  <a:lnTo>
                    <a:pt x="646" y="510"/>
                  </a:lnTo>
                  <a:lnTo>
                    <a:pt x="686" y="749"/>
                  </a:lnTo>
                  <a:lnTo>
                    <a:pt x="687" y="754"/>
                  </a:lnTo>
                  <a:lnTo>
                    <a:pt x="686" y="759"/>
                  </a:lnTo>
                  <a:lnTo>
                    <a:pt x="686" y="765"/>
                  </a:lnTo>
                  <a:lnTo>
                    <a:pt x="684" y="770"/>
                  </a:lnTo>
                  <a:lnTo>
                    <a:pt x="682" y="774"/>
                  </a:lnTo>
                  <a:lnTo>
                    <a:pt x="679" y="778"/>
                  </a:lnTo>
                  <a:lnTo>
                    <a:pt x="676" y="783"/>
                  </a:lnTo>
                  <a:lnTo>
                    <a:pt x="671" y="787"/>
                  </a:lnTo>
                  <a:lnTo>
                    <a:pt x="666" y="790"/>
                  </a:lnTo>
                  <a:lnTo>
                    <a:pt x="660" y="792"/>
                  </a:lnTo>
                  <a:lnTo>
                    <a:pt x="654" y="793"/>
                  </a:lnTo>
                  <a:lnTo>
                    <a:pt x="648" y="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49">
              <a:extLst>
                <a:ext uri="{FF2B5EF4-FFF2-40B4-BE49-F238E27FC236}">
                  <a16:creationId xmlns:a16="http://schemas.microsoft.com/office/drawing/2014/main" id="{536432B6-AB62-49D0-9FE4-2C72FBA4F2BD}"/>
                </a:ext>
              </a:extLst>
            </p:cNvPr>
            <p:cNvSpPr>
              <a:spLocks noEditPoints="1"/>
            </p:cNvSpPr>
            <p:nvPr/>
          </p:nvSpPr>
          <p:spPr bwMode="auto">
            <a:xfrm>
              <a:off x="4173538" y="1682750"/>
              <a:ext cx="614363" cy="777875"/>
            </a:xfrm>
            <a:custGeom>
              <a:avLst/>
              <a:gdLst>
                <a:gd name="T0" fmla="*/ 93 w 1159"/>
                <a:gd name="T1" fmla="*/ 1065 h 1469"/>
                <a:gd name="T2" fmla="*/ 143 w 1159"/>
                <a:gd name="T3" fmla="*/ 1140 h 1469"/>
                <a:gd name="T4" fmla="*/ 194 w 1159"/>
                <a:gd name="T5" fmla="*/ 1201 h 1469"/>
                <a:gd name="T6" fmla="*/ 240 w 1159"/>
                <a:gd name="T7" fmla="*/ 1248 h 1469"/>
                <a:gd name="T8" fmla="*/ 293 w 1159"/>
                <a:gd name="T9" fmla="*/ 1292 h 1469"/>
                <a:gd name="T10" fmla="*/ 353 w 1159"/>
                <a:gd name="T11" fmla="*/ 1332 h 1469"/>
                <a:gd name="T12" fmla="*/ 421 w 1159"/>
                <a:gd name="T13" fmla="*/ 1363 h 1469"/>
                <a:gd name="T14" fmla="*/ 497 w 1159"/>
                <a:gd name="T15" fmla="*/ 1384 h 1469"/>
                <a:gd name="T16" fmla="*/ 579 w 1159"/>
                <a:gd name="T17" fmla="*/ 1391 h 1469"/>
                <a:gd name="T18" fmla="*/ 662 w 1159"/>
                <a:gd name="T19" fmla="*/ 1384 h 1469"/>
                <a:gd name="T20" fmla="*/ 736 w 1159"/>
                <a:gd name="T21" fmla="*/ 1363 h 1469"/>
                <a:gd name="T22" fmla="*/ 804 w 1159"/>
                <a:gd name="T23" fmla="*/ 1332 h 1469"/>
                <a:gd name="T24" fmla="*/ 865 w 1159"/>
                <a:gd name="T25" fmla="*/ 1292 h 1469"/>
                <a:gd name="T26" fmla="*/ 919 w 1159"/>
                <a:gd name="T27" fmla="*/ 1248 h 1469"/>
                <a:gd name="T28" fmla="*/ 964 w 1159"/>
                <a:gd name="T29" fmla="*/ 1201 h 1469"/>
                <a:gd name="T30" fmla="*/ 1014 w 1159"/>
                <a:gd name="T31" fmla="*/ 1140 h 1469"/>
                <a:gd name="T32" fmla="*/ 1064 w 1159"/>
                <a:gd name="T33" fmla="*/ 1065 h 1469"/>
                <a:gd name="T34" fmla="*/ 1081 w 1159"/>
                <a:gd name="T35" fmla="*/ 78 h 1469"/>
                <a:gd name="T36" fmla="*/ 579 w 1159"/>
                <a:gd name="T37" fmla="*/ 1469 h 1469"/>
                <a:gd name="T38" fmla="*/ 477 w 1159"/>
                <a:gd name="T39" fmla="*/ 1459 h 1469"/>
                <a:gd name="T40" fmla="*/ 385 w 1159"/>
                <a:gd name="T41" fmla="*/ 1433 h 1469"/>
                <a:gd name="T42" fmla="*/ 303 w 1159"/>
                <a:gd name="T43" fmla="*/ 1392 h 1469"/>
                <a:gd name="T44" fmla="*/ 231 w 1159"/>
                <a:gd name="T45" fmla="*/ 1343 h 1469"/>
                <a:gd name="T46" fmla="*/ 170 w 1159"/>
                <a:gd name="T47" fmla="*/ 1289 h 1469"/>
                <a:gd name="T48" fmla="*/ 117 w 1159"/>
                <a:gd name="T49" fmla="*/ 1233 h 1469"/>
                <a:gd name="T50" fmla="*/ 63 w 1159"/>
                <a:gd name="T51" fmla="*/ 1162 h 1469"/>
                <a:gd name="T52" fmla="*/ 3 w 1159"/>
                <a:gd name="T53" fmla="*/ 1060 h 1469"/>
                <a:gd name="T54" fmla="*/ 0 w 1159"/>
                <a:gd name="T55" fmla="*/ 38 h 1469"/>
                <a:gd name="T56" fmla="*/ 6 w 1159"/>
                <a:gd name="T57" fmla="*/ 17 h 1469"/>
                <a:gd name="T58" fmla="*/ 23 w 1159"/>
                <a:gd name="T59" fmla="*/ 3 h 1469"/>
                <a:gd name="T60" fmla="*/ 1120 w 1159"/>
                <a:gd name="T61" fmla="*/ 0 h 1469"/>
                <a:gd name="T62" fmla="*/ 1142 w 1159"/>
                <a:gd name="T63" fmla="*/ 6 h 1469"/>
                <a:gd name="T64" fmla="*/ 1156 w 1159"/>
                <a:gd name="T65" fmla="*/ 23 h 1469"/>
                <a:gd name="T66" fmla="*/ 1159 w 1159"/>
                <a:gd name="T67" fmla="*/ 1044 h 1469"/>
                <a:gd name="T68" fmla="*/ 1144 w 1159"/>
                <a:gd name="T69" fmla="*/ 1082 h 1469"/>
                <a:gd name="T70" fmla="*/ 1070 w 1159"/>
                <a:gd name="T71" fmla="*/ 1197 h 1469"/>
                <a:gd name="T72" fmla="*/ 1024 w 1159"/>
                <a:gd name="T73" fmla="*/ 1252 h 1469"/>
                <a:gd name="T74" fmla="*/ 969 w 1159"/>
                <a:gd name="T75" fmla="*/ 1307 h 1469"/>
                <a:gd name="T76" fmla="*/ 904 w 1159"/>
                <a:gd name="T77" fmla="*/ 1360 h 1469"/>
                <a:gd name="T78" fmla="*/ 828 w 1159"/>
                <a:gd name="T79" fmla="*/ 1407 h 1469"/>
                <a:gd name="T80" fmla="*/ 743 w 1159"/>
                <a:gd name="T81" fmla="*/ 1443 h 1469"/>
                <a:gd name="T82" fmla="*/ 648 w 1159"/>
                <a:gd name="T83" fmla="*/ 1465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9" h="1469">
                  <a:moveTo>
                    <a:pt x="77" y="1034"/>
                  </a:moveTo>
                  <a:lnTo>
                    <a:pt x="83" y="1047"/>
                  </a:lnTo>
                  <a:lnTo>
                    <a:pt x="93" y="1065"/>
                  </a:lnTo>
                  <a:lnTo>
                    <a:pt x="107" y="1086"/>
                  </a:lnTo>
                  <a:lnTo>
                    <a:pt x="124" y="1112"/>
                  </a:lnTo>
                  <a:lnTo>
                    <a:pt x="143" y="1140"/>
                  </a:lnTo>
                  <a:lnTo>
                    <a:pt x="166" y="1170"/>
                  </a:lnTo>
                  <a:lnTo>
                    <a:pt x="180" y="1185"/>
                  </a:lnTo>
                  <a:lnTo>
                    <a:pt x="194" y="1201"/>
                  </a:lnTo>
                  <a:lnTo>
                    <a:pt x="208" y="1217"/>
                  </a:lnTo>
                  <a:lnTo>
                    <a:pt x="224" y="1232"/>
                  </a:lnTo>
                  <a:lnTo>
                    <a:pt x="240" y="1248"/>
                  </a:lnTo>
                  <a:lnTo>
                    <a:pt x="257" y="1263"/>
                  </a:lnTo>
                  <a:lnTo>
                    <a:pt x="275" y="1277"/>
                  </a:lnTo>
                  <a:lnTo>
                    <a:pt x="293" y="1292"/>
                  </a:lnTo>
                  <a:lnTo>
                    <a:pt x="312" y="1306"/>
                  </a:lnTo>
                  <a:lnTo>
                    <a:pt x="333" y="1319"/>
                  </a:lnTo>
                  <a:lnTo>
                    <a:pt x="353" y="1332"/>
                  </a:lnTo>
                  <a:lnTo>
                    <a:pt x="376" y="1342"/>
                  </a:lnTo>
                  <a:lnTo>
                    <a:pt x="398" y="1353"/>
                  </a:lnTo>
                  <a:lnTo>
                    <a:pt x="421" y="1363"/>
                  </a:lnTo>
                  <a:lnTo>
                    <a:pt x="446" y="1371"/>
                  </a:lnTo>
                  <a:lnTo>
                    <a:pt x="471" y="1378"/>
                  </a:lnTo>
                  <a:lnTo>
                    <a:pt x="497" y="1384"/>
                  </a:lnTo>
                  <a:lnTo>
                    <a:pt x="523" y="1388"/>
                  </a:lnTo>
                  <a:lnTo>
                    <a:pt x="551" y="1390"/>
                  </a:lnTo>
                  <a:lnTo>
                    <a:pt x="579" y="1391"/>
                  </a:lnTo>
                  <a:lnTo>
                    <a:pt x="607" y="1390"/>
                  </a:lnTo>
                  <a:lnTo>
                    <a:pt x="635" y="1388"/>
                  </a:lnTo>
                  <a:lnTo>
                    <a:pt x="662" y="1384"/>
                  </a:lnTo>
                  <a:lnTo>
                    <a:pt x="687" y="1378"/>
                  </a:lnTo>
                  <a:lnTo>
                    <a:pt x="713" y="1371"/>
                  </a:lnTo>
                  <a:lnTo>
                    <a:pt x="736" y="1363"/>
                  </a:lnTo>
                  <a:lnTo>
                    <a:pt x="759" y="1353"/>
                  </a:lnTo>
                  <a:lnTo>
                    <a:pt x="783" y="1342"/>
                  </a:lnTo>
                  <a:lnTo>
                    <a:pt x="804" y="1332"/>
                  </a:lnTo>
                  <a:lnTo>
                    <a:pt x="825" y="1319"/>
                  </a:lnTo>
                  <a:lnTo>
                    <a:pt x="845" y="1306"/>
                  </a:lnTo>
                  <a:lnTo>
                    <a:pt x="865" y="1292"/>
                  </a:lnTo>
                  <a:lnTo>
                    <a:pt x="884" y="1277"/>
                  </a:lnTo>
                  <a:lnTo>
                    <a:pt x="902" y="1263"/>
                  </a:lnTo>
                  <a:lnTo>
                    <a:pt x="919" y="1248"/>
                  </a:lnTo>
                  <a:lnTo>
                    <a:pt x="935" y="1232"/>
                  </a:lnTo>
                  <a:lnTo>
                    <a:pt x="950" y="1217"/>
                  </a:lnTo>
                  <a:lnTo>
                    <a:pt x="964" y="1201"/>
                  </a:lnTo>
                  <a:lnTo>
                    <a:pt x="978" y="1185"/>
                  </a:lnTo>
                  <a:lnTo>
                    <a:pt x="991" y="1170"/>
                  </a:lnTo>
                  <a:lnTo>
                    <a:pt x="1014" y="1140"/>
                  </a:lnTo>
                  <a:lnTo>
                    <a:pt x="1035" y="1112"/>
                  </a:lnTo>
                  <a:lnTo>
                    <a:pt x="1052" y="1086"/>
                  </a:lnTo>
                  <a:lnTo>
                    <a:pt x="1064" y="1065"/>
                  </a:lnTo>
                  <a:lnTo>
                    <a:pt x="1075" y="1047"/>
                  </a:lnTo>
                  <a:lnTo>
                    <a:pt x="1081" y="1034"/>
                  </a:lnTo>
                  <a:lnTo>
                    <a:pt x="1081" y="78"/>
                  </a:lnTo>
                  <a:lnTo>
                    <a:pt x="77" y="78"/>
                  </a:lnTo>
                  <a:lnTo>
                    <a:pt x="77" y="1034"/>
                  </a:lnTo>
                  <a:close/>
                  <a:moveTo>
                    <a:pt x="579" y="1469"/>
                  </a:moveTo>
                  <a:lnTo>
                    <a:pt x="544" y="1468"/>
                  </a:lnTo>
                  <a:lnTo>
                    <a:pt x="510" y="1465"/>
                  </a:lnTo>
                  <a:lnTo>
                    <a:pt x="477" y="1459"/>
                  </a:lnTo>
                  <a:lnTo>
                    <a:pt x="445" y="1452"/>
                  </a:lnTo>
                  <a:lnTo>
                    <a:pt x="415" y="1443"/>
                  </a:lnTo>
                  <a:lnTo>
                    <a:pt x="385" y="1433"/>
                  </a:lnTo>
                  <a:lnTo>
                    <a:pt x="357" y="1420"/>
                  </a:lnTo>
                  <a:lnTo>
                    <a:pt x="329" y="1407"/>
                  </a:lnTo>
                  <a:lnTo>
                    <a:pt x="303" y="1392"/>
                  </a:lnTo>
                  <a:lnTo>
                    <a:pt x="278" y="1377"/>
                  </a:lnTo>
                  <a:lnTo>
                    <a:pt x="255" y="1360"/>
                  </a:lnTo>
                  <a:lnTo>
                    <a:pt x="231" y="1343"/>
                  </a:lnTo>
                  <a:lnTo>
                    <a:pt x="210" y="1326"/>
                  </a:lnTo>
                  <a:lnTo>
                    <a:pt x="189" y="1307"/>
                  </a:lnTo>
                  <a:lnTo>
                    <a:pt x="170" y="1289"/>
                  </a:lnTo>
                  <a:lnTo>
                    <a:pt x="151" y="1270"/>
                  </a:lnTo>
                  <a:lnTo>
                    <a:pt x="133" y="1252"/>
                  </a:lnTo>
                  <a:lnTo>
                    <a:pt x="117" y="1233"/>
                  </a:lnTo>
                  <a:lnTo>
                    <a:pt x="103" y="1215"/>
                  </a:lnTo>
                  <a:lnTo>
                    <a:pt x="88" y="1197"/>
                  </a:lnTo>
                  <a:lnTo>
                    <a:pt x="63" y="1162"/>
                  </a:lnTo>
                  <a:lnTo>
                    <a:pt x="43" y="1131"/>
                  </a:lnTo>
                  <a:lnTo>
                    <a:pt x="14" y="1082"/>
                  </a:lnTo>
                  <a:lnTo>
                    <a:pt x="3" y="1060"/>
                  </a:lnTo>
                  <a:lnTo>
                    <a:pt x="1" y="1052"/>
                  </a:lnTo>
                  <a:lnTo>
                    <a:pt x="0" y="1044"/>
                  </a:lnTo>
                  <a:lnTo>
                    <a:pt x="0" y="38"/>
                  </a:lnTo>
                  <a:lnTo>
                    <a:pt x="1" y="31"/>
                  </a:lnTo>
                  <a:lnTo>
                    <a:pt x="3" y="23"/>
                  </a:lnTo>
                  <a:lnTo>
                    <a:pt x="6" y="17"/>
                  </a:lnTo>
                  <a:lnTo>
                    <a:pt x="10" y="12"/>
                  </a:lnTo>
                  <a:lnTo>
                    <a:pt x="17" y="6"/>
                  </a:lnTo>
                  <a:lnTo>
                    <a:pt x="23" y="3"/>
                  </a:lnTo>
                  <a:lnTo>
                    <a:pt x="30" y="1"/>
                  </a:lnTo>
                  <a:lnTo>
                    <a:pt x="38" y="0"/>
                  </a:lnTo>
                  <a:lnTo>
                    <a:pt x="1120" y="0"/>
                  </a:lnTo>
                  <a:lnTo>
                    <a:pt x="1128" y="1"/>
                  </a:lnTo>
                  <a:lnTo>
                    <a:pt x="1136" y="3"/>
                  </a:lnTo>
                  <a:lnTo>
                    <a:pt x="1142" y="6"/>
                  </a:lnTo>
                  <a:lnTo>
                    <a:pt x="1147" y="12"/>
                  </a:lnTo>
                  <a:lnTo>
                    <a:pt x="1153" y="17"/>
                  </a:lnTo>
                  <a:lnTo>
                    <a:pt x="1156" y="23"/>
                  </a:lnTo>
                  <a:lnTo>
                    <a:pt x="1158" y="31"/>
                  </a:lnTo>
                  <a:lnTo>
                    <a:pt x="1159" y="38"/>
                  </a:lnTo>
                  <a:lnTo>
                    <a:pt x="1159" y="1044"/>
                  </a:lnTo>
                  <a:lnTo>
                    <a:pt x="1158" y="1052"/>
                  </a:lnTo>
                  <a:lnTo>
                    <a:pt x="1155" y="1060"/>
                  </a:lnTo>
                  <a:lnTo>
                    <a:pt x="1144" y="1082"/>
                  </a:lnTo>
                  <a:lnTo>
                    <a:pt x="1115" y="1131"/>
                  </a:lnTo>
                  <a:lnTo>
                    <a:pt x="1095" y="1162"/>
                  </a:lnTo>
                  <a:lnTo>
                    <a:pt x="1070" y="1197"/>
                  </a:lnTo>
                  <a:lnTo>
                    <a:pt x="1056" y="1215"/>
                  </a:lnTo>
                  <a:lnTo>
                    <a:pt x="1041" y="1233"/>
                  </a:lnTo>
                  <a:lnTo>
                    <a:pt x="1024" y="1252"/>
                  </a:lnTo>
                  <a:lnTo>
                    <a:pt x="1007" y="1270"/>
                  </a:lnTo>
                  <a:lnTo>
                    <a:pt x="989" y="1289"/>
                  </a:lnTo>
                  <a:lnTo>
                    <a:pt x="969" y="1307"/>
                  </a:lnTo>
                  <a:lnTo>
                    <a:pt x="949" y="1326"/>
                  </a:lnTo>
                  <a:lnTo>
                    <a:pt x="926" y="1343"/>
                  </a:lnTo>
                  <a:lnTo>
                    <a:pt x="904" y="1360"/>
                  </a:lnTo>
                  <a:lnTo>
                    <a:pt x="879" y="1377"/>
                  </a:lnTo>
                  <a:lnTo>
                    <a:pt x="855" y="1392"/>
                  </a:lnTo>
                  <a:lnTo>
                    <a:pt x="828" y="1407"/>
                  </a:lnTo>
                  <a:lnTo>
                    <a:pt x="801" y="1420"/>
                  </a:lnTo>
                  <a:lnTo>
                    <a:pt x="773" y="1433"/>
                  </a:lnTo>
                  <a:lnTo>
                    <a:pt x="743" y="1443"/>
                  </a:lnTo>
                  <a:lnTo>
                    <a:pt x="713" y="1452"/>
                  </a:lnTo>
                  <a:lnTo>
                    <a:pt x="681" y="1459"/>
                  </a:lnTo>
                  <a:lnTo>
                    <a:pt x="648" y="1465"/>
                  </a:lnTo>
                  <a:lnTo>
                    <a:pt x="614" y="1468"/>
                  </a:lnTo>
                  <a:lnTo>
                    <a:pt x="579" y="14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0">
              <a:extLst>
                <a:ext uri="{FF2B5EF4-FFF2-40B4-BE49-F238E27FC236}">
                  <a16:creationId xmlns:a16="http://schemas.microsoft.com/office/drawing/2014/main" id="{041AFC7B-006D-4D90-8CCD-B838B51A5B1C}"/>
                </a:ext>
              </a:extLst>
            </p:cNvPr>
            <p:cNvSpPr>
              <a:spLocks/>
            </p:cNvSpPr>
            <p:nvPr/>
          </p:nvSpPr>
          <p:spPr bwMode="auto">
            <a:xfrm>
              <a:off x="4010025" y="1763713"/>
              <a:ext cx="204788" cy="368300"/>
            </a:xfrm>
            <a:custGeom>
              <a:avLst/>
              <a:gdLst>
                <a:gd name="T0" fmla="*/ 344 w 387"/>
                <a:gd name="T1" fmla="*/ 696 h 696"/>
                <a:gd name="T2" fmla="*/ 333 w 387"/>
                <a:gd name="T3" fmla="*/ 693 h 696"/>
                <a:gd name="T4" fmla="*/ 302 w 387"/>
                <a:gd name="T5" fmla="*/ 681 h 696"/>
                <a:gd name="T6" fmla="*/ 267 w 387"/>
                <a:gd name="T7" fmla="*/ 663 h 696"/>
                <a:gd name="T8" fmla="*/ 240 w 387"/>
                <a:gd name="T9" fmla="*/ 645 h 696"/>
                <a:gd name="T10" fmla="*/ 211 w 387"/>
                <a:gd name="T11" fmla="*/ 623 h 696"/>
                <a:gd name="T12" fmla="*/ 180 w 387"/>
                <a:gd name="T13" fmla="*/ 594 h 696"/>
                <a:gd name="T14" fmla="*/ 149 w 387"/>
                <a:gd name="T15" fmla="*/ 559 h 696"/>
                <a:gd name="T16" fmla="*/ 118 w 387"/>
                <a:gd name="T17" fmla="*/ 518 h 696"/>
                <a:gd name="T18" fmla="*/ 90 w 387"/>
                <a:gd name="T19" fmla="*/ 469 h 696"/>
                <a:gd name="T20" fmla="*/ 63 w 387"/>
                <a:gd name="T21" fmla="*/ 411 h 696"/>
                <a:gd name="T22" fmla="*/ 40 w 387"/>
                <a:gd name="T23" fmla="*/ 346 h 696"/>
                <a:gd name="T24" fmla="*/ 22 w 387"/>
                <a:gd name="T25" fmla="*/ 270 h 696"/>
                <a:gd name="T26" fmla="*/ 8 w 387"/>
                <a:gd name="T27" fmla="*/ 186 h 696"/>
                <a:gd name="T28" fmla="*/ 1 w 387"/>
                <a:gd name="T29" fmla="*/ 90 h 696"/>
                <a:gd name="T30" fmla="*/ 1 w 387"/>
                <a:gd name="T31" fmla="*/ 31 h 696"/>
                <a:gd name="T32" fmla="*/ 7 w 387"/>
                <a:gd name="T33" fmla="*/ 17 h 696"/>
                <a:gd name="T34" fmla="*/ 17 w 387"/>
                <a:gd name="T35" fmla="*/ 8 h 696"/>
                <a:gd name="T36" fmla="*/ 31 w 387"/>
                <a:gd name="T37" fmla="*/ 1 h 696"/>
                <a:gd name="T38" fmla="*/ 348 w 387"/>
                <a:gd name="T39" fmla="*/ 0 h 696"/>
                <a:gd name="T40" fmla="*/ 363 w 387"/>
                <a:gd name="T41" fmla="*/ 3 h 696"/>
                <a:gd name="T42" fmla="*/ 375 w 387"/>
                <a:gd name="T43" fmla="*/ 12 h 696"/>
                <a:gd name="T44" fmla="*/ 384 w 387"/>
                <a:gd name="T45" fmla="*/ 25 h 696"/>
                <a:gd name="T46" fmla="*/ 387 w 387"/>
                <a:gd name="T47" fmla="*/ 39 h 696"/>
                <a:gd name="T48" fmla="*/ 384 w 387"/>
                <a:gd name="T49" fmla="*/ 54 h 696"/>
                <a:gd name="T50" fmla="*/ 375 w 387"/>
                <a:gd name="T51" fmla="*/ 67 h 696"/>
                <a:gd name="T52" fmla="*/ 363 w 387"/>
                <a:gd name="T53" fmla="*/ 75 h 696"/>
                <a:gd name="T54" fmla="*/ 348 w 387"/>
                <a:gd name="T55" fmla="*/ 78 h 696"/>
                <a:gd name="T56" fmla="*/ 80 w 387"/>
                <a:gd name="T57" fmla="*/ 121 h 696"/>
                <a:gd name="T58" fmla="*/ 88 w 387"/>
                <a:gd name="T59" fmla="*/ 200 h 696"/>
                <a:gd name="T60" fmla="*/ 101 w 387"/>
                <a:gd name="T61" fmla="*/ 270 h 696"/>
                <a:gd name="T62" fmla="*/ 117 w 387"/>
                <a:gd name="T63" fmla="*/ 333 h 696"/>
                <a:gd name="T64" fmla="*/ 137 w 387"/>
                <a:gd name="T65" fmla="*/ 387 h 696"/>
                <a:gd name="T66" fmla="*/ 160 w 387"/>
                <a:gd name="T67" fmla="*/ 435 h 696"/>
                <a:gd name="T68" fmla="*/ 184 w 387"/>
                <a:gd name="T69" fmla="*/ 475 h 696"/>
                <a:gd name="T70" fmla="*/ 209 w 387"/>
                <a:gd name="T71" fmla="*/ 510 h 696"/>
                <a:gd name="T72" fmla="*/ 234 w 387"/>
                <a:gd name="T73" fmla="*/ 539 h 696"/>
                <a:gd name="T74" fmla="*/ 260 w 387"/>
                <a:gd name="T75" fmla="*/ 562 h 696"/>
                <a:gd name="T76" fmla="*/ 294 w 387"/>
                <a:gd name="T77" fmla="*/ 589 h 696"/>
                <a:gd name="T78" fmla="*/ 332 w 387"/>
                <a:gd name="T79" fmla="*/ 610 h 696"/>
                <a:gd name="T80" fmla="*/ 354 w 387"/>
                <a:gd name="T81" fmla="*/ 619 h 696"/>
                <a:gd name="T82" fmla="*/ 365 w 387"/>
                <a:gd name="T83" fmla="*/ 623 h 696"/>
                <a:gd name="T84" fmla="*/ 376 w 387"/>
                <a:gd name="T85" fmla="*/ 631 h 696"/>
                <a:gd name="T86" fmla="*/ 384 w 387"/>
                <a:gd name="T87" fmla="*/ 644 h 696"/>
                <a:gd name="T88" fmla="*/ 387 w 387"/>
                <a:gd name="T89" fmla="*/ 659 h 696"/>
                <a:gd name="T90" fmla="*/ 383 w 387"/>
                <a:gd name="T91" fmla="*/ 673 h 696"/>
                <a:gd name="T92" fmla="*/ 376 w 387"/>
                <a:gd name="T93" fmla="*/ 683 h 696"/>
                <a:gd name="T94" fmla="*/ 366 w 387"/>
                <a:gd name="T95" fmla="*/ 692 h 696"/>
                <a:gd name="T96" fmla="*/ 354 w 387"/>
                <a:gd name="T97"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48" y="696"/>
                  </a:moveTo>
                  <a:lnTo>
                    <a:pt x="344" y="696"/>
                  </a:lnTo>
                  <a:lnTo>
                    <a:pt x="338" y="695"/>
                  </a:lnTo>
                  <a:lnTo>
                    <a:pt x="333" y="693"/>
                  </a:lnTo>
                  <a:lnTo>
                    <a:pt x="320" y="689"/>
                  </a:lnTo>
                  <a:lnTo>
                    <a:pt x="302" y="681"/>
                  </a:lnTo>
                  <a:lnTo>
                    <a:pt x="280" y="671"/>
                  </a:lnTo>
                  <a:lnTo>
                    <a:pt x="267" y="663"/>
                  </a:lnTo>
                  <a:lnTo>
                    <a:pt x="254" y="655"/>
                  </a:lnTo>
                  <a:lnTo>
                    <a:pt x="240" y="645"/>
                  </a:lnTo>
                  <a:lnTo>
                    <a:pt x="226" y="635"/>
                  </a:lnTo>
                  <a:lnTo>
                    <a:pt x="211" y="623"/>
                  </a:lnTo>
                  <a:lnTo>
                    <a:pt x="195" y="609"/>
                  </a:lnTo>
                  <a:lnTo>
                    <a:pt x="180" y="594"/>
                  </a:lnTo>
                  <a:lnTo>
                    <a:pt x="164" y="577"/>
                  </a:lnTo>
                  <a:lnTo>
                    <a:pt x="149" y="559"/>
                  </a:lnTo>
                  <a:lnTo>
                    <a:pt x="133" y="539"/>
                  </a:lnTo>
                  <a:lnTo>
                    <a:pt x="118" y="518"/>
                  </a:lnTo>
                  <a:lnTo>
                    <a:pt x="103" y="494"/>
                  </a:lnTo>
                  <a:lnTo>
                    <a:pt x="90" y="469"/>
                  </a:lnTo>
                  <a:lnTo>
                    <a:pt x="76" y="441"/>
                  </a:lnTo>
                  <a:lnTo>
                    <a:pt x="63" y="411"/>
                  </a:lnTo>
                  <a:lnTo>
                    <a:pt x="51" y="380"/>
                  </a:lnTo>
                  <a:lnTo>
                    <a:pt x="40" y="346"/>
                  </a:lnTo>
                  <a:lnTo>
                    <a:pt x="30" y="309"/>
                  </a:lnTo>
                  <a:lnTo>
                    <a:pt x="22" y="270"/>
                  </a:lnTo>
                  <a:lnTo>
                    <a:pt x="14" y="230"/>
                  </a:lnTo>
                  <a:lnTo>
                    <a:pt x="8" y="186"/>
                  </a:lnTo>
                  <a:lnTo>
                    <a:pt x="3" y="139"/>
                  </a:lnTo>
                  <a:lnTo>
                    <a:pt x="1" y="90"/>
                  </a:lnTo>
                  <a:lnTo>
                    <a:pt x="0" y="39"/>
                  </a:lnTo>
                  <a:lnTo>
                    <a:pt x="1" y="31"/>
                  </a:lnTo>
                  <a:lnTo>
                    <a:pt x="3" y="25"/>
                  </a:lnTo>
                  <a:lnTo>
                    <a:pt x="7" y="17"/>
                  </a:lnTo>
                  <a:lnTo>
                    <a:pt x="12" y="12"/>
                  </a:lnTo>
                  <a:lnTo>
                    <a:pt x="17" y="8"/>
                  </a:lnTo>
                  <a:lnTo>
                    <a:pt x="24" y="3"/>
                  </a:lnTo>
                  <a:lnTo>
                    <a:pt x="31" y="1"/>
                  </a:lnTo>
                  <a:lnTo>
                    <a:pt x="39" y="0"/>
                  </a:lnTo>
                  <a:lnTo>
                    <a:pt x="348" y="0"/>
                  </a:lnTo>
                  <a:lnTo>
                    <a:pt x="356" y="1"/>
                  </a:lnTo>
                  <a:lnTo>
                    <a:pt x="363" y="3"/>
                  </a:lnTo>
                  <a:lnTo>
                    <a:pt x="370" y="8"/>
                  </a:lnTo>
                  <a:lnTo>
                    <a:pt x="375" y="12"/>
                  </a:lnTo>
                  <a:lnTo>
                    <a:pt x="380" y="17"/>
                  </a:lnTo>
                  <a:lnTo>
                    <a:pt x="384" y="25"/>
                  </a:lnTo>
                  <a:lnTo>
                    <a:pt x="386" y="31"/>
                  </a:lnTo>
                  <a:lnTo>
                    <a:pt x="387" y="39"/>
                  </a:lnTo>
                  <a:lnTo>
                    <a:pt x="386" y="47"/>
                  </a:lnTo>
                  <a:lnTo>
                    <a:pt x="384" y="54"/>
                  </a:lnTo>
                  <a:lnTo>
                    <a:pt x="380" y="61"/>
                  </a:lnTo>
                  <a:lnTo>
                    <a:pt x="375" y="67"/>
                  </a:lnTo>
                  <a:lnTo>
                    <a:pt x="370" y="71"/>
                  </a:lnTo>
                  <a:lnTo>
                    <a:pt x="363" y="75"/>
                  </a:lnTo>
                  <a:lnTo>
                    <a:pt x="356" y="77"/>
                  </a:lnTo>
                  <a:lnTo>
                    <a:pt x="348" y="78"/>
                  </a:lnTo>
                  <a:lnTo>
                    <a:pt x="78" y="78"/>
                  </a:lnTo>
                  <a:lnTo>
                    <a:pt x="80" y="121"/>
                  </a:lnTo>
                  <a:lnTo>
                    <a:pt x="83" y="162"/>
                  </a:lnTo>
                  <a:lnTo>
                    <a:pt x="88" y="200"/>
                  </a:lnTo>
                  <a:lnTo>
                    <a:pt x="94" y="236"/>
                  </a:lnTo>
                  <a:lnTo>
                    <a:pt x="101" y="270"/>
                  </a:lnTo>
                  <a:lnTo>
                    <a:pt x="109" y="303"/>
                  </a:lnTo>
                  <a:lnTo>
                    <a:pt x="117" y="333"/>
                  </a:lnTo>
                  <a:lnTo>
                    <a:pt x="127" y="360"/>
                  </a:lnTo>
                  <a:lnTo>
                    <a:pt x="137" y="387"/>
                  </a:lnTo>
                  <a:lnTo>
                    <a:pt x="148" y="411"/>
                  </a:lnTo>
                  <a:lnTo>
                    <a:pt x="160" y="435"/>
                  </a:lnTo>
                  <a:lnTo>
                    <a:pt x="171" y="456"/>
                  </a:lnTo>
                  <a:lnTo>
                    <a:pt x="184" y="475"/>
                  </a:lnTo>
                  <a:lnTo>
                    <a:pt x="197" y="493"/>
                  </a:lnTo>
                  <a:lnTo>
                    <a:pt x="209" y="510"/>
                  </a:lnTo>
                  <a:lnTo>
                    <a:pt x="221" y="525"/>
                  </a:lnTo>
                  <a:lnTo>
                    <a:pt x="234" y="539"/>
                  </a:lnTo>
                  <a:lnTo>
                    <a:pt x="247" y="552"/>
                  </a:lnTo>
                  <a:lnTo>
                    <a:pt x="260" y="562"/>
                  </a:lnTo>
                  <a:lnTo>
                    <a:pt x="271" y="572"/>
                  </a:lnTo>
                  <a:lnTo>
                    <a:pt x="294" y="589"/>
                  </a:lnTo>
                  <a:lnTo>
                    <a:pt x="315" y="602"/>
                  </a:lnTo>
                  <a:lnTo>
                    <a:pt x="332" y="610"/>
                  </a:lnTo>
                  <a:lnTo>
                    <a:pt x="345" y="615"/>
                  </a:lnTo>
                  <a:lnTo>
                    <a:pt x="354" y="619"/>
                  </a:lnTo>
                  <a:lnTo>
                    <a:pt x="357" y="620"/>
                  </a:lnTo>
                  <a:lnTo>
                    <a:pt x="365" y="623"/>
                  </a:lnTo>
                  <a:lnTo>
                    <a:pt x="371" y="627"/>
                  </a:lnTo>
                  <a:lnTo>
                    <a:pt x="376" y="631"/>
                  </a:lnTo>
                  <a:lnTo>
                    <a:pt x="381" y="638"/>
                  </a:lnTo>
                  <a:lnTo>
                    <a:pt x="384" y="644"/>
                  </a:lnTo>
                  <a:lnTo>
                    <a:pt x="386" y="652"/>
                  </a:lnTo>
                  <a:lnTo>
                    <a:pt x="387" y="659"/>
                  </a:lnTo>
                  <a:lnTo>
                    <a:pt x="385" y="666"/>
                  </a:lnTo>
                  <a:lnTo>
                    <a:pt x="383" y="673"/>
                  </a:lnTo>
                  <a:lnTo>
                    <a:pt x="380" y="679"/>
                  </a:lnTo>
                  <a:lnTo>
                    <a:pt x="376" y="683"/>
                  </a:lnTo>
                  <a:lnTo>
                    <a:pt x="371" y="688"/>
                  </a:lnTo>
                  <a:lnTo>
                    <a:pt x="366" y="692"/>
                  </a:lnTo>
                  <a:lnTo>
                    <a:pt x="361" y="694"/>
                  </a:lnTo>
                  <a:lnTo>
                    <a:pt x="354" y="695"/>
                  </a:lnTo>
                  <a:lnTo>
                    <a:pt x="348"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
              <a:extLst>
                <a:ext uri="{FF2B5EF4-FFF2-40B4-BE49-F238E27FC236}">
                  <a16:creationId xmlns:a16="http://schemas.microsoft.com/office/drawing/2014/main" id="{A1A3111C-B4BE-45DC-97CD-A51217333C53}"/>
                </a:ext>
              </a:extLst>
            </p:cNvPr>
            <p:cNvSpPr>
              <a:spLocks/>
            </p:cNvSpPr>
            <p:nvPr/>
          </p:nvSpPr>
          <p:spPr bwMode="auto">
            <a:xfrm>
              <a:off x="4746625" y="1763713"/>
              <a:ext cx="204788" cy="368300"/>
            </a:xfrm>
            <a:custGeom>
              <a:avLst/>
              <a:gdLst>
                <a:gd name="T0" fmla="*/ 32 w 387"/>
                <a:gd name="T1" fmla="*/ 695 h 696"/>
                <a:gd name="T2" fmla="*/ 21 w 387"/>
                <a:gd name="T3" fmla="*/ 692 h 696"/>
                <a:gd name="T4" fmla="*/ 11 w 387"/>
                <a:gd name="T5" fmla="*/ 683 h 696"/>
                <a:gd name="T6" fmla="*/ 4 w 387"/>
                <a:gd name="T7" fmla="*/ 673 h 696"/>
                <a:gd name="T8" fmla="*/ 0 w 387"/>
                <a:gd name="T9" fmla="*/ 659 h 696"/>
                <a:gd name="T10" fmla="*/ 3 w 387"/>
                <a:gd name="T11" fmla="*/ 644 h 696"/>
                <a:gd name="T12" fmla="*/ 10 w 387"/>
                <a:gd name="T13" fmla="*/ 631 h 696"/>
                <a:gd name="T14" fmla="*/ 22 w 387"/>
                <a:gd name="T15" fmla="*/ 623 h 696"/>
                <a:gd name="T16" fmla="*/ 34 w 387"/>
                <a:gd name="T17" fmla="*/ 619 h 696"/>
                <a:gd name="T18" fmla="*/ 58 w 387"/>
                <a:gd name="T19" fmla="*/ 609 h 696"/>
                <a:gd name="T20" fmla="*/ 97 w 387"/>
                <a:gd name="T21" fmla="*/ 587 h 696"/>
                <a:gd name="T22" fmla="*/ 131 w 387"/>
                <a:gd name="T23" fmla="*/ 560 h 696"/>
                <a:gd name="T24" fmla="*/ 156 w 387"/>
                <a:gd name="T25" fmla="*/ 537 h 696"/>
                <a:gd name="T26" fmla="*/ 181 w 387"/>
                <a:gd name="T27" fmla="*/ 507 h 696"/>
                <a:gd name="T28" fmla="*/ 206 w 387"/>
                <a:gd name="T29" fmla="*/ 473 h 696"/>
                <a:gd name="T30" fmla="*/ 229 w 387"/>
                <a:gd name="T31" fmla="*/ 433 h 696"/>
                <a:gd name="T32" fmla="*/ 251 w 387"/>
                <a:gd name="T33" fmla="*/ 385 h 696"/>
                <a:gd name="T34" fmla="*/ 270 w 387"/>
                <a:gd name="T35" fmla="*/ 331 h 696"/>
                <a:gd name="T36" fmla="*/ 287 w 387"/>
                <a:gd name="T37" fmla="*/ 269 h 696"/>
                <a:gd name="T38" fmla="*/ 299 w 387"/>
                <a:gd name="T39" fmla="*/ 199 h 696"/>
                <a:gd name="T40" fmla="*/ 308 w 387"/>
                <a:gd name="T41" fmla="*/ 120 h 696"/>
                <a:gd name="T42" fmla="*/ 39 w 387"/>
                <a:gd name="T43" fmla="*/ 78 h 696"/>
                <a:gd name="T44" fmla="*/ 24 w 387"/>
                <a:gd name="T45" fmla="*/ 75 h 696"/>
                <a:gd name="T46" fmla="*/ 12 w 387"/>
                <a:gd name="T47" fmla="*/ 67 h 696"/>
                <a:gd name="T48" fmla="*/ 4 w 387"/>
                <a:gd name="T49" fmla="*/ 54 h 696"/>
                <a:gd name="T50" fmla="*/ 0 w 387"/>
                <a:gd name="T51" fmla="*/ 39 h 696"/>
                <a:gd name="T52" fmla="*/ 4 w 387"/>
                <a:gd name="T53" fmla="*/ 25 h 696"/>
                <a:gd name="T54" fmla="*/ 12 w 387"/>
                <a:gd name="T55" fmla="*/ 12 h 696"/>
                <a:gd name="T56" fmla="*/ 24 w 387"/>
                <a:gd name="T57" fmla="*/ 3 h 696"/>
                <a:gd name="T58" fmla="*/ 39 w 387"/>
                <a:gd name="T59" fmla="*/ 0 h 696"/>
                <a:gd name="T60" fmla="*/ 356 w 387"/>
                <a:gd name="T61" fmla="*/ 1 h 696"/>
                <a:gd name="T62" fmla="*/ 370 w 387"/>
                <a:gd name="T63" fmla="*/ 8 h 696"/>
                <a:gd name="T64" fmla="*/ 380 w 387"/>
                <a:gd name="T65" fmla="*/ 17 h 696"/>
                <a:gd name="T66" fmla="*/ 386 w 387"/>
                <a:gd name="T67" fmla="*/ 31 h 696"/>
                <a:gd name="T68" fmla="*/ 386 w 387"/>
                <a:gd name="T69" fmla="*/ 90 h 696"/>
                <a:gd name="T70" fmla="*/ 379 w 387"/>
                <a:gd name="T71" fmla="*/ 186 h 696"/>
                <a:gd name="T72" fmla="*/ 366 w 387"/>
                <a:gd name="T73" fmla="*/ 270 h 696"/>
                <a:gd name="T74" fmla="*/ 347 w 387"/>
                <a:gd name="T75" fmla="*/ 346 h 696"/>
                <a:gd name="T76" fmla="*/ 323 w 387"/>
                <a:gd name="T77" fmla="*/ 411 h 696"/>
                <a:gd name="T78" fmla="*/ 298 w 387"/>
                <a:gd name="T79" fmla="*/ 469 h 696"/>
                <a:gd name="T80" fmla="*/ 268 w 387"/>
                <a:gd name="T81" fmla="*/ 518 h 696"/>
                <a:gd name="T82" fmla="*/ 238 w 387"/>
                <a:gd name="T83" fmla="*/ 559 h 696"/>
                <a:gd name="T84" fmla="*/ 208 w 387"/>
                <a:gd name="T85" fmla="*/ 594 h 696"/>
                <a:gd name="T86" fmla="*/ 177 w 387"/>
                <a:gd name="T87" fmla="*/ 623 h 696"/>
                <a:gd name="T88" fmla="*/ 147 w 387"/>
                <a:gd name="T89" fmla="*/ 645 h 696"/>
                <a:gd name="T90" fmla="*/ 119 w 387"/>
                <a:gd name="T91" fmla="*/ 663 h 696"/>
                <a:gd name="T92" fmla="*/ 84 w 387"/>
                <a:gd name="T93" fmla="*/ 681 h 696"/>
                <a:gd name="T94" fmla="*/ 55 w 387"/>
                <a:gd name="T95" fmla="*/ 693 h 696"/>
                <a:gd name="T96" fmla="*/ 44 w 387"/>
                <a:gd name="T97"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9" y="696"/>
                  </a:moveTo>
                  <a:lnTo>
                    <a:pt x="32" y="695"/>
                  </a:lnTo>
                  <a:lnTo>
                    <a:pt x="27" y="694"/>
                  </a:lnTo>
                  <a:lnTo>
                    <a:pt x="21" y="692"/>
                  </a:lnTo>
                  <a:lnTo>
                    <a:pt x="15" y="688"/>
                  </a:lnTo>
                  <a:lnTo>
                    <a:pt x="11" y="683"/>
                  </a:lnTo>
                  <a:lnTo>
                    <a:pt x="7" y="679"/>
                  </a:lnTo>
                  <a:lnTo>
                    <a:pt x="4" y="673"/>
                  </a:lnTo>
                  <a:lnTo>
                    <a:pt x="1" y="666"/>
                  </a:lnTo>
                  <a:lnTo>
                    <a:pt x="0" y="659"/>
                  </a:lnTo>
                  <a:lnTo>
                    <a:pt x="0" y="652"/>
                  </a:lnTo>
                  <a:lnTo>
                    <a:pt x="3" y="644"/>
                  </a:lnTo>
                  <a:lnTo>
                    <a:pt x="6" y="638"/>
                  </a:lnTo>
                  <a:lnTo>
                    <a:pt x="10" y="631"/>
                  </a:lnTo>
                  <a:lnTo>
                    <a:pt x="15" y="627"/>
                  </a:lnTo>
                  <a:lnTo>
                    <a:pt x="22" y="623"/>
                  </a:lnTo>
                  <a:lnTo>
                    <a:pt x="29" y="620"/>
                  </a:lnTo>
                  <a:lnTo>
                    <a:pt x="34" y="619"/>
                  </a:lnTo>
                  <a:lnTo>
                    <a:pt x="44" y="615"/>
                  </a:lnTo>
                  <a:lnTo>
                    <a:pt x="58" y="609"/>
                  </a:lnTo>
                  <a:lnTo>
                    <a:pt x="76" y="600"/>
                  </a:lnTo>
                  <a:lnTo>
                    <a:pt x="97" y="587"/>
                  </a:lnTo>
                  <a:lnTo>
                    <a:pt x="119" y="570"/>
                  </a:lnTo>
                  <a:lnTo>
                    <a:pt x="131" y="560"/>
                  </a:lnTo>
                  <a:lnTo>
                    <a:pt x="144" y="549"/>
                  </a:lnTo>
                  <a:lnTo>
                    <a:pt x="156" y="537"/>
                  </a:lnTo>
                  <a:lnTo>
                    <a:pt x="168" y="523"/>
                  </a:lnTo>
                  <a:lnTo>
                    <a:pt x="181" y="507"/>
                  </a:lnTo>
                  <a:lnTo>
                    <a:pt x="194" y="491"/>
                  </a:lnTo>
                  <a:lnTo>
                    <a:pt x="206" y="473"/>
                  </a:lnTo>
                  <a:lnTo>
                    <a:pt x="217" y="454"/>
                  </a:lnTo>
                  <a:lnTo>
                    <a:pt x="229" y="433"/>
                  </a:lnTo>
                  <a:lnTo>
                    <a:pt x="241" y="409"/>
                  </a:lnTo>
                  <a:lnTo>
                    <a:pt x="251" y="385"/>
                  </a:lnTo>
                  <a:lnTo>
                    <a:pt x="261" y="358"/>
                  </a:lnTo>
                  <a:lnTo>
                    <a:pt x="270" y="331"/>
                  </a:lnTo>
                  <a:lnTo>
                    <a:pt x="279" y="301"/>
                  </a:lnTo>
                  <a:lnTo>
                    <a:pt x="287" y="269"/>
                  </a:lnTo>
                  <a:lnTo>
                    <a:pt x="294" y="235"/>
                  </a:lnTo>
                  <a:lnTo>
                    <a:pt x="299" y="199"/>
                  </a:lnTo>
                  <a:lnTo>
                    <a:pt x="303" y="161"/>
                  </a:lnTo>
                  <a:lnTo>
                    <a:pt x="308" y="120"/>
                  </a:lnTo>
                  <a:lnTo>
                    <a:pt x="309" y="78"/>
                  </a:lnTo>
                  <a:lnTo>
                    <a:pt x="39" y="78"/>
                  </a:lnTo>
                  <a:lnTo>
                    <a:pt x="31" y="77"/>
                  </a:lnTo>
                  <a:lnTo>
                    <a:pt x="24" y="75"/>
                  </a:lnTo>
                  <a:lnTo>
                    <a:pt x="17" y="71"/>
                  </a:lnTo>
                  <a:lnTo>
                    <a:pt x="12" y="67"/>
                  </a:lnTo>
                  <a:lnTo>
                    <a:pt x="7" y="61"/>
                  </a:lnTo>
                  <a:lnTo>
                    <a:pt x="4" y="54"/>
                  </a:lnTo>
                  <a:lnTo>
                    <a:pt x="1" y="47"/>
                  </a:lnTo>
                  <a:lnTo>
                    <a:pt x="0" y="39"/>
                  </a:lnTo>
                  <a:lnTo>
                    <a:pt x="1" y="31"/>
                  </a:lnTo>
                  <a:lnTo>
                    <a:pt x="4" y="25"/>
                  </a:lnTo>
                  <a:lnTo>
                    <a:pt x="7" y="17"/>
                  </a:lnTo>
                  <a:lnTo>
                    <a:pt x="12" y="12"/>
                  </a:lnTo>
                  <a:lnTo>
                    <a:pt x="17" y="8"/>
                  </a:lnTo>
                  <a:lnTo>
                    <a:pt x="24" y="3"/>
                  </a:lnTo>
                  <a:lnTo>
                    <a:pt x="31" y="1"/>
                  </a:lnTo>
                  <a:lnTo>
                    <a:pt x="39" y="0"/>
                  </a:lnTo>
                  <a:lnTo>
                    <a:pt x="348" y="0"/>
                  </a:lnTo>
                  <a:lnTo>
                    <a:pt x="356" y="1"/>
                  </a:lnTo>
                  <a:lnTo>
                    <a:pt x="363" y="3"/>
                  </a:lnTo>
                  <a:lnTo>
                    <a:pt x="370" y="8"/>
                  </a:lnTo>
                  <a:lnTo>
                    <a:pt x="376" y="12"/>
                  </a:lnTo>
                  <a:lnTo>
                    <a:pt x="380" y="17"/>
                  </a:lnTo>
                  <a:lnTo>
                    <a:pt x="384" y="25"/>
                  </a:lnTo>
                  <a:lnTo>
                    <a:pt x="386" y="31"/>
                  </a:lnTo>
                  <a:lnTo>
                    <a:pt x="387" y="39"/>
                  </a:lnTo>
                  <a:lnTo>
                    <a:pt x="386" y="90"/>
                  </a:lnTo>
                  <a:lnTo>
                    <a:pt x="383" y="139"/>
                  </a:lnTo>
                  <a:lnTo>
                    <a:pt x="379" y="186"/>
                  </a:lnTo>
                  <a:lnTo>
                    <a:pt x="372" y="230"/>
                  </a:lnTo>
                  <a:lnTo>
                    <a:pt x="366" y="270"/>
                  </a:lnTo>
                  <a:lnTo>
                    <a:pt x="356" y="309"/>
                  </a:lnTo>
                  <a:lnTo>
                    <a:pt x="347" y="346"/>
                  </a:lnTo>
                  <a:lnTo>
                    <a:pt x="336" y="380"/>
                  </a:lnTo>
                  <a:lnTo>
                    <a:pt x="323" y="411"/>
                  </a:lnTo>
                  <a:lnTo>
                    <a:pt x="311" y="441"/>
                  </a:lnTo>
                  <a:lnTo>
                    <a:pt x="298" y="469"/>
                  </a:lnTo>
                  <a:lnTo>
                    <a:pt x="283" y="494"/>
                  </a:lnTo>
                  <a:lnTo>
                    <a:pt x="268" y="518"/>
                  </a:lnTo>
                  <a:lnTo>
                    <a:pt x="253" y="539"/>
                  </a:lnTo>
                  <a:lnTo>
                    <a:pt x="238" y="559"/>
                  </a:lnTo>
                  <a:lnTo>
                    <a:pt x="223" y="577"/>
                  </a:lnTo>
                  <a:lnTo>
                    <a:pt x="208" y="594"/>
                  </a:lnTo>
                  <a:lnTo>
                    <a:pt x="192" y="609"/>
                  </a:lnTo>
                  <a:lnTo>
                    <a:pt x="177" y="623"/>
                  </a:lnTo>
                  <a:lnTo>
                    <a:pt x="162" y="635"/>
                  </a:lnTo>
                  <a:lnTo>
                    <a:pt x="147" y="645"/>
                  </a:lnTo>
                  <a:lnTo>
                    <a:pt x="133" y="655"/>
                  </a:lnTo>
                  <a:lnTo>
                    <a:pt x="119" y="663"/>
                  </a:lnTo>
                  <a:lnTo>
                    <a:pt x="107" y="671"/>
                  </a:lnTo>
                  <a:lnTo>
                    <a:pt x="84" y="681"/>
                  </a:lnTo>
                  <a:lnTo>
                    <a:pt x="67" y="689"/>
                  </a:lnTo>
                  <a:lnTo>
                    <a:pt x="55" y="693"/>
                  </a:lnTo>
                  <a:lnTo>
                    <a:pt x="48" y="695"/>
                  </a:lnTo>
                  <a:lnTo>
                    <a:pt x="44" y="696"/>
                  </a:lnTo>
                  <a:lnTo>
                    <a:pt x="39"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2">
              <a:extLst>
                <a:ext uri="{FF2B5EF4-FFF2-40B4-BE49-F238E27FC236}">
                  <a16:creationId xmlns:a16="http://schemas.microsoft.com/office/drawing/2014/main" id="{8515279B-2F38-4D68-9ABB-1E2A9E5808EE}"/>
                </a:ext>
              </a:extLst>
            </p:cNvPr>
            <p:cNvSpPr>
              <a:spLocks noEditPoints="1"/>
            </p:cNvSpPr>
            <p:nvPr/>
          </p:nvSpPr>
          <p:spPr bwMode="auto">
            <a:xfrm>
              <a:off x="4256088" y="2624138"/>
              <a:ext cx="449263" cy="122238"/>
            </a:xfrm>
            <a:custGeom>
              <a:avLst/>
              <a:gdLst>
                <a:gd name="T0" fmla="*/ 77 w 850"/>
                <a:gd name="T1" fmla="*/ 154 h 232"/>
                <a:gd name="T2" fmla="*/ 773 w 850"/>
                <a:gd name="T3" fmla="*/ 154 h 232"/>
                <a:gd name="T4" fmla="*/ 773 w 850"/>
                <a:gd name="T5" fmla="*/ 77 h 232"/>
                <a:gd name="T6" fmla="*/ 77 w 850"/>
                <a:gd name="T7" fmla="*/ 77 h 232"/>
                <a:gd name="T8" fmla="*/ 77 w 850"/>
                <a:gd name="T9" fmla="*/ 154 h 232"/>
                <a:gd name="T10" fmla="*/ 812 w 850"/>
                <a:gd name="T11" fmla="*/ 232 h 232"/>
                <a:gd name="T12" fmla="*/ 39 w 850"/>
                <a:gd name="T13" fmla="*/ 232 h 232"/>
                <a:gd name="T14" fmla="*/ 30 w 850"/>
                <a:gd name="T15" fmla="*/ 231 h 232"/>
                <a:gd name="T16" fmla="*/ 23 w 850"/>
                <a:gd name="T17" fmla="*/ 229 h 232"/>
                <a:gd name="T18" fmla="*/ 17 w 850"/>
                <a:gd name="T19" fmla="*/ 225 h 232"/>
                <a:gd name="T20" fmla="*/ 11 w 850"/>
                <a:gd name="T21" fmla="*/ 220 h 232"/>
                <a:gd name="T22" fmla="*/ 6 w 850"/>
                <a:gd name="T23" fmla="*/ 215 h 232"/>
                <a:gd name="T24" fmla="*/ 3 w 850"/>
                <a:gd name="T25" fmla="*/ 208 h 232"/>
                <a:gd name="T26" fmla="*/ 1 w 850"/>
                <a:gd name="T27" fmla="*/ 201 h 232"/>
                <a:gd name="T28" fmla="*/ 0 w 850"/>
                <a:gd name="T29" fmla="*/ 193 h 232"/>
                <a:gd name="T30" fmla="*/ 0 w 850"/>
                <a:gd name="T31" fmla="*/ 38 h 232"/>
                <a:gd name="T32" fmla="*/ 1 w 850"/>
                <a:gd name="T33" fmla="*/ 31 h 232"/>
                <a:gd name="T34" fmla="*/ 3 w 850"/>
                <a:gd name="T35" fmla="*/ 23 h 232"/>
                <a:gd name="T36" fmla="*/ 6 w 850"/>
                <a:gd name="T37" fmla="*/ 17 h 232"/>
                <a:gd name="T38" fmla="*/ 11 w 850"/>
                <a:gd name="T39" fmla="*/ 11 h 232"/>
                <a:gd name="T40" fmla="*/ 17 w 850"/>
                <a:gd name="T41" fmla="*/ 6 h 232"/>
                <a:gd name="T42" fmla="*/ 23 w 850"/>
                <a:gd name="T43" fmla="*/ 3 h 232"/>
                <a:gd name="T44" fmla="*/ 30 w 850"/>
                <a:gd name="T45" fmla="*/ 0 h 232"/>
                <a:gd name="T46" fmla="*/ 39 w 850"/>
                <a:gd name="T47" fmla="*/ 0 h 232"/>
                <a:gd name="T48" fmla="*/ 812 w 850"/>
                <a:gd name="T49" fmla="*/ 0 h 232"/>
                <a:gd name="T50" fmla="*/ 819 w 850"/>
                <a:gd name="T51" fmla="*/ 0 h 232"/>
                <a:gd name="T52" fmla="*/ 826 w 850"/>
                <a:gd name="T53" fmla="*/ 3 h 232"/>
                <a:gd name="T54" fmla="*/ 833 w 850"/>
                <a:gd name="T55" fmla="*/ 6 h 232"/>
                <a:gd name="T56" fmla="*/ 839 w 850"/>
                <a:gd name="T57" fmla="*/ 11 h 232"/>
                <a:gd name="T58" fmla="*/ 843 w 850"/>
                <a:gd name="T59" fmla="*/ 17 h 232"/>
                <a:gd name="T60" fmla="*/ 847 w 850"/>
                <a:gd name="T61" fmla="*/ 23 h 232"/>
                <a:gd name="T62" fmla="*/ 850 w 850"/>
                <a:gd name="T63" fmla="*/ 31 h 232"/>
                <a:gd name="T64" fmla="*/ 850 w 850"/>
                <a:gd name="T65" fmla="*/ 38 h 232"/>
                <a:gd name="T66" fmla="*/ 850 w 850"/>
                <a:gd name="T67" fmla="*/ 193 h 232"/>
                <a:gd name="T68" fmla="*/ 850 w 850"/>
                <a:gd name="T69" fmla="*/ 201 h 232"/>
                <a:gd name="T70" fmla="*/ 847 w 850"/>
                <a:gd name="T71" fmla="*/ 208 h 232"/>
                <a:gd name="T72" fmla="*/ 843 w 850"/>
                <a:gd name="T73" fmla="*/ 215 h 232"/>
                <a:gd name="T74" fmla="*/ 839 w 850"/>
                <a:gd name="T75" fmla="*/ 220 h 232"/>
                <a:gd name="T76" fmla="*/ 833 w 850"/>
                <a:gd name="T77" fmla="*/ 225 h 232"/>
                <a:gd name="T78" fmla="*/ 826 w 850"/>
                <a:gd name="T79" fmla="*/ 229 h 232"/>
                <a:gd name="T80" fmla="*/ 819 w 850"/>
                <a:gd name="T81" fmla="*/ 231 h 232"/>
                <a:gd name="T82" fmla="*/ 812 w 850"/>
                <a:gd name="T8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232">
                  <a:moveTo>
                    <a:pt x="77" y="154"/>
                  </a:moveTo>
                  <a:lnTo>
                    <a:pt x="773" y="154"/>
                  </a:lnTo>
                  <a:lnTo>
                    <a:pt x="773" y="77"/>
                  </a:lnTo>
                  <a:lnTo>
                    <a:pt x="77" y="77"/>
                  </a:lnTo>
                  <a:lnTo>
                    <a:pt x="77" y="154"/>
                  </a:lnTo>
                  <a:close/>
                  <a:moveTo>
                    <a:pt x="812" y="232"/>
                  </a:moveTo>
                  <a:lnTo>
                    <a:pt x="39" y="232"/>
                  </a:lnTo>
                  <a:lnTo>
                    <a:pt x="30" y="231"/>
                  </a:lnTo>
                  <a:lnTo>
                    <a:pt x="23" y="229"/>
                  </a:lnTo>
                  <a:lnTo>
                    <a:pt x="17" y="225"/>
                  </a:lnTo>
                  <a:lnTo>
                    <a:pt x="11" y="220"/>
                  </a:lnTo>
                  <a:lnTo>
                    <a:pt x="6" y="215"/>
                  </a:lnTo>
                  <a:lnTo>
                    <a:pt x="3" y="208"/>
                  </a:lnTo>
                  <a:lnTo>
                    <a:pt x="1" y="201"/>
                  </a:lnTo>
                  <a:lnTo>
                    <a:pt x="0" y="193"/>
                  </a:lnTo>
                  <a:lnTo>
                    <a:pt x="0" y="38"/>
                  </a:lnTo>
                  <a:lnTo>
                    <a:pt x="1" y="31"/>
                  </a:lnTo>
                  <a:lnTo>
                    <a:pt x="3" y="23"/>
                  </a:lnTo>
                  <a:lnTo>
                    <a:pt x="6" y="17"/>
                  </a:lnTo>
                  <a:lnTo>
                    <a:pt x="11" y="11"/>
                  </a:lnTo>
                  <a:lnTo>
                    <a:pt x="17" y="6"/>
                  </a:lnTo>
                  <a:lnTo>
                    <a:pt x="23" y="3"/>
                  </a:lnTo>
                  <a:lnTo>
                    <a:pt x="30" y="0"/>
                  </a:lnTo>
                  <a:lnTo>
                    <a:pt x="39" y="0"/>
                  </a:lnTo>
                  <a:lnTo>
                    <a:pt x="812" y="0"/>
                  </a:lnTo>
                  <a:lnTo>
                    <a:pt x="819" y="0"/>
                  </a:lnTo>
                  <a:lnTo>
                    <a:pt x="826" y="3"/>
                  </a:lnTo>
                  <a:lnTo>
                    <a:pt x="833" y="6"/>
                  </a:lnTo>
                  <a:lnTo>
                    <a:pt x="839" y="11"/>
                  </a:lnTo>
                  <a:lnTo>
                    <a:pt x="843" y="17"/>
                  </a:lnTo>
                  <a:lnTo>
                    <a:pt x="847" y="23"/>
                  </a:lnTo>
                  <a:lnTo>
                    <a:pt x="850" y="31"/>
                  </a:lnTo>
                  <a:lnTo>
                    <a:pt x="850" y="38"/>
                  </a:lnTo>
                  <a:lnTo>
                    <a:pt x="850" y="193"/>
                  </a:lnTo>
                  <a:lnTo>
                    <a:pt x="850" y="201"/>
                  </a:lnTo>
                  <a:lnTo>
                    <a:pt x="847" y="208"/>
                  </a:lnTo>
                  <a:lnTo>
                    <a:pt x="843" y="215"/>
                  </a:lnTo>
                  <a:lnTo>
                    <a:pt x="839" y="220"/>
                  </a:lnTo>
                  <a:lnTo>
                    <a:pt x="833" y="225"/>
                  </a:lnTo>
                  <a:lnTo>
                    <a:pt x="826" y="229"/>
                  </a:lnTo>
                  <a:lnTo>
                    <a:pt x="819" y="231"/>
                  </a:lnTo>
                  <a:lnTo>
                    <a:pt x="812"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3">
              <a:extLst>
                <a:ext uri="{FF2B5EF4-FFF2-40B4-BE49-F238E27FC236}">
                  <a16:creationId xmlns:a16="http://schemas.microsoft.com/office/drawing/2014/main" id="{19565E24-5267-4D72-BD91-6290484F1D48}"/>
                </a:ext>
              </a:extLst>
            </p:cNvPr>
            <p:cNvSpPr>
              <a:spLocks/>
            </p:cNvSpPr>
            <p:nvPr/>
          </p:nvSpPr>
          <p:spPr bwMode="auto">
            <a:xfrm>
              <a:off x="4459288" y="2419350"/>
              <a:ext cx="41275" cy="244475"/>
            </a:xfrm>
            <a:custGeom>
              <a:avLst/>
              <a:gdLst>
                <a:gd name="T0" fmla="*/ 39 w 78"/>
                <a:gd name="T1" fmla="*/ 464 h 464"/>
                <a:gd name="T2" fmla="*/ 31 w 78"/>
                <a:gd name="T3" fmla="*/ 464 h 464"/>
                <a:gd name="T4" fmla="*/ 24 w 78"/>
                <a:gd name="T5" fmla="*/ 461 h 464"/>
                <a:gd name="T6" fmla="*/ 17 w 78"/>
                <a:gd name="T7" fmla="*/ 457 h 464"/>
                <a:gd name="T8" fmla="*/ 12 w 78"/>
                <a:gd name="T9" fmla="*/ 453 h 464"/>
                <a:gd name="T10" fmla="*/ 7 w 78"/>
                <a:gd name="T11" fmla="*/ 447 h 464"/>
                <a:gd name="T12" fmla="*/ 4 w 78"/>
                <a:gd name="T13" fmla="*/ 440 h 464"/>
                <a:gd name="T14" fmla="*/ 2 w 78"/>
                <a:gd name="T15" fmla="*/ 433 h 464"/>
                <a:gd name="T16" fmla="*/ 0 w 78"/>
                <a:gd name="T17" fmla="*/ 425 h 464"/>
                <a:gd name="T18" fmla="*/ 0 w 78"/>
                <a:gd name="T19" fmla="*/ 38 h 464"/>
                <a:gd name="T20" fmla="*/ 2 w 78"/>
                <a:gd name="T21" fmla="*/ 31 h 464"/>
                <a:gd name="T22" fmla="*/ 4 w 78"/>
                <a:gd name="T23" fmla="*/ 24 h 464"/>
                <a:gd name="T24" fmla="*/ 7 w 78"/>
                <a:gd name="T25" fmla="*/ 17 h 464"/>
                <a:gd name="T26" fmla="*/ 12 w 78"/>
                <a:gd name="T27" fmla="*/ 12 h 464"/>
                <a:gd name="T28" fmla="*/ 17 w 78"/>
                <a:gd name="T29" fmla="*/ 7 h 464"/>
                <a:gd name="T30" fmla="*/ 24 w 78"/>
                <a:gd name="T31" fmla="*/ 3 h 464"/>
                <a:gd name="T32" fmla="*/ 31 w 78"/>
                <a:gd name="T33" fmla="*/ 1 h 464"/>
                <a:gd name="T34" fmla="*/ 39 w 78"/>
                <a:gd name="T35" fmla="*/ 0 h 464"/>
                <a:gd name="T36" fmla="*/ 47 w 78"/>
                <a:gd name="T37" fmla="*/ 1 h 464"/>
                <a:gd name="T38" fmla="*/ 54 w 78"/>
                <a:gd name="T39" fmla="*/ 3 h 464"/>
                <a:gd name="T40" fmla="*/ 61 w 78"/>
                <a:gd name="T41" fmla="*/ 7 h 464"/>
                <a:gd name="T42" fmla="*/ 66 w 78"/>
                <a:gd name="T43" fmla="*/ 12 h 464"/>
                <a:gd name="T44" fmla="*/ 71 w 78"/>
                <a:gd name="T45" fmla="*/ 17 h 464"/>
                <a:gd name="T46" fmla="*/ 75 w 78"/>
                <a:gd name="T47" fmla="*/ 24 h 464"/>
                <a:gd name="T48" fmla="*/ 77 w 78"/>
                <a:gd name="T49" fmla="*/ 31 h 464"/>
                <a:gd name="T50" fmla="*/ 78 w 78"/>
                <a:gd name="T51" fmla="*/ 38 h 464"/>
                <a:gd name="T52" fmla="*/ 78 w 78"/>
                <a:gd name="T53" fmla="*/ 425 h 464"/>
                <a:gd name="T54" fmla="*/ 77 w 78"/>
                <a:gd name="T55" fmla="*/ 433 h 464"/>
                <a:gd name="T56" fmla="*/ 75 w 78"/>
                <a:gd name="T57" fmla="*/ 440 h 464"/>
                <a:gd name="T58" fmla="*/ 71 w 78"/>
                <a:gd name="T59" fmla="*/ 447 h 464"/>
                <a:gd name="T60" fmla="*/ 66 w 78"/>
                <a:gd name="T61" fmla="*/ 453 h 464"/>
                <a:gd name="T62" fmla="*/ 61 w 78"/>
                <a:gd name="T63" fmla="*/ 457 h 464"/>
                <a:gd name="T64" fmla="*/ 54 w 78"/>
                <a:gd name="T65" fmla="*/ 461 h 464"/>
                <a:gd name="T66" fmla="*/ 47 w 78"/>
                <a:gd name="T67" fmla="*/ 464 h 464"/>
                <a:gd name="T68" fmla="*/ 39 w 78"/>
                <a:gd name="T69"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464">
                  <a:moveTo>
                    <a:pt x="39" y="464"/>
                  </a:moveTo>
                  <a:lnTo>
                    <a:pt x="31" y="464"/>
                  </a:lnTo>
                  <a:lnTo>
                    <a:pt x="24" y="461"/>
                  </a:lnTo>
                  <a:lnTo>
                    <a:pt x="17" y="457"/>
                  </a:lnTo>
                  <a:lnTo>
                    <a:pt x="12" y="453"/>
                  </a:lnTo>
                  <a:lnTo>
                    <a:pt x="7" y="447"/>
                  </a:lnTo>
                  <a:lnTo>
                    <a:pt x="4" y="440"/>
                  </a:lnTo>
                  <a:lnTo>
                    <a:pt x="2" y="433"/>
                  </a:lnTo>
                  <a:lnTo>
                    <a:pt x="0" y="425"/>
                  </a:lnTo>
                  <a:lnTo>
                    <a:pt x="0" y="38"/>
                  </a:lnTo>
                  <a:lnTo>
                    <a:pt x="2" y="31"/>
                  </a:lnTo>
                  <a:lnTo>
                    <a:pt x="4" y="24"/>
                  </a:lnTo>
                  <a:lnTo>
                    <a:pt x="7" y="17"/>
                  </a:lnTo>
                  <a:lnTo>
                    <a:pt x="12" y="12"/>
                  </a:lnTo>
                  <a:lnTo>
                    <a:pt x="17" y="7"/>
                  </a:lnTo>
                  <a:lnTo>
                    <a:pt x="24" y="3"/>
                  </a:lnTo>
                  <a:lnTo>
                    <a:pt x="31" y="1"/>
                  </a:lnTo>
                  <a:lnTo>
                    <a:pt x="39" y="0"/>
                  </a:lnTo>
                  <a:lnTo>
                    <a:pt x="47" y="1"/>
                  </a:lnTo>
                  <a:lnTo>
                    <a:pt x="54" y="3"/>
                  </a:lnTo>
                  <a:lnTo>
                    <a:pt x="61" y="7"/>
                  </a:lnTo>
                  <a:lnTo>
                    <a:pt x="66" y="12"/>
                  </a:lnTo>
                  <a:lnTo>
                    <a:pt x="71" y="17"/>
                  </a:lnTo>
                  <a:lnTo>
                    <a:pt x="75" y="24"/>
                  </a:lnTo>
                  <a:lnTo>
                    <a:pt x="77" y="31"/>
                  </a:lnTo>
                  <a:lnTo>
                    <a:pt x="78" y="38"/>
                  </a:lnTo>
                  <a:lnTo>
                    <a:pt x="78" y="425"/>
                  </a:lnTo>
                  <a:lnTo>
                    <a:pt x="77" y="433"/>
                  </a:lnTo>
                  <a:lnTo>
                    <a:pt x="75" y="440"/>
                  </a:lnTo>
                  <a:lnTo>
                    <a:pt x="71" y="447"/>
                  </a:lnTo>
                  <a:lnTo>
                    <a:pt x="66" y="453"/>
                  </a:lnTo>
                  <a:lnTo>
                    <a:pt x="61" y="457"/>
                  </a:lnTo>
                  <a:lnTo>
                    <a:pt x="54" y="461"/>
                  </a:lnTo>
                  <a:lnTo>
                    <a:pt x="47" y="464"/>
                  </a:lnTo>
                  <a:lnTo>
                    <a:pt x="39"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4" name="Freeform 51">
            <a:extLst>
              <a:ext uri="{FF2B5EF4-FFF2-40B4-BE49-F238E27FC236}">
                <a16:creationId xmlns:a16="http://schemas.microsoft.com/office/drawing/2014/main" id="{0B508BDE-F2C6-4DF4-AFB3-84566BCE5564}"/>
              </a:ext>
            </a:extLst>
          </p:cNvPr>
          <p:cNvSpPr>
            <a:spLocks noChangeAspect="1" noEditPoints="1"/>
          </p:cNvSpPr>
          <p:nvPr/>
        </p:nvSpPr>
        <p:spPr bwMode="auto">
          <a:xfrm>
            <a:off x="2780525" y="3263433"/>
            <a:ext cx="197087" cy="285619"/>
          </a:xfrm>
          <a:custGeom>
            <a:avLst/>
            <a:gdLst>
              <a:gd name="T0" fmla="*/ 369 w 374"/>
              <a:gd name="T1" fmla="*/ 149 h 542"/>
              <a:gd name="T2" fmla="*/ 342 w 374"/>
              <a:gd name="T3" fmla="*/ 81 h 542"/>
              <a:gd name="T4" fmla="*/ 291 w 374"/>
              <a:gd name="T5" fmla="*/ 32 h 542"/>
              <a:gd name="T6" fmla="*/ 224 w 374"/>
              <a:gd name="T7" fmla="*/ 3 h 542"/>
              <a:gd name="T8" fmla="*/ 168 w 374"/>
              <a:gd name="T9" fmla="*/ 0 h 542"/>
              <a:gd name="T10" fmla="*/ 98 w 374"/>
              <a:gd name="T11" fmla="*/ 22 h 542"/>
              <a:gd name="T12" fmla="*/ 42 w 374"/>
              <a:gd name="T13" fmla="*/ 68 h 542"/>
              <a:gd name="T14" fmla="*/ 9 w 374"/>
              <a:gd name="T15" fmla="*/ 130 h 542"/>
              <a:gd name="T16" fmla="*/ 0 w 374"/>
              <a:gd name="T17" fmla="*/ 186 h 542"/>
              <a:gd name="T18" fmla="*/ 20 w 374"/>
              <a:gd name="T19" fmla="*/ 271 h 542"/>
              <a:gd name="T20" fmla="*/ 73 w 374"/>
              <a:gd name="T21" fmla="*/ 335 h 542"/>
              <a:gd name="T22" fmla="*/ 76 w 374"/>
              <a:gd name="T23" fmla="*/ 337 h 542"/>
              <a:gd name="T24" fmla="*/ 95 w 374"/>
              <a:gd name="T25" fmla="*/ 357 h 542"/>
              <a:gd name="T26" fmla="*/ 110 w 374"/>
              <a:gd name="T27" fmla="*/ 398 h 542"/>
              <a:gd name="T28" fmla="*/ 261 w 374"/>
              <a:gd name="T29" fmla="*/ 411 h 542"/>
              <a:gd name="T30" fmla="*/ 269 w 374"/>
              <a:gd name="T31" fmla="*/ 374 h 542"/>
              <a:gd name="T32" fmla="*/ 298 w 374"/>
              <a:gd name="T33" fmla="*/ 335 h 542"/>
              <a:gd name="T34" fmla="*/ 330 w 374"/>
              <a:gd name="T35" fmla="*/ 306 h 542"/>
              <a:gd name="T36" fmla="*/ 368 w 374"/>
              <a:gd name="T37" fmla="*/ 230 h 542"/>
              <a:gd name="T38" fmla="*/ 130 w 374"/>
              <a:gd name="T39" fmla="*/ 523 h 542"/>
              <a:gd name="T40" fmla="*/ 130 w 374"/>
              <a:gd name="T41" fmla="*/ 523 h 542"/>
              <a:gd name="T42" fmla="*/ 173 w 374"/>
              <a:gd name="T43" fmla="*/ 200 h 542"/>
              <a:gd name="T44" fmla="*/ 169 w 374"/>
              <a:gd name="T45" fmla="*/ 179 h 542"/>
              <a:gd name="T46" fmla="*/ 186 w 374"/>
              <a:gd name="T47" fmla="*/ 167 h 542"/>
              <a:gd name="T48" fmla="*/ 205 w 374"/>
              <a:gd name="T49" fmla="*/ 186 h 542"/>
              <a:gd name="T50" fmla="*/ 193 w 374"/>
              <a:gd name="T51" fmla="*/ 203 h 542"/>
              <a:gd name="T52" fmla="*/ 288 w 374"/>
              <a:gd name="T53" fmla="*/ 322 h 542"/>
              <a:gd name="T54" fmla="*/ 271 w 374"/>
              <a:gd name="T55" fmla="*/ 335 h 542"/>
              <a:gd name="T56" fmla="*/ 247 w 374"/>
              <a:gd name="T57" fmla="*/ 381 h 542"/>
              <a:gd name="T58" fmla="*/ 196 w 374"/>
              <a:gd name="T59" fmla="*/ 449 h 542"/>
              <a:gd name="T60" fmla="*/ 217 w 374"/>
              <a:gd name="T61" fmla="*/ 210 h 542"/>
              <a:gd name="T62" fmla="*/ 224 w 374"/>
              <a:gd name="T63" fmla="*/ 186 h 542"/>
              <a:gd name="T64" fmla="*/ 213 w 374"/>
              <a:gd name="T65" fmla="*/ 159 h 542"/>
              <a:gd name="T66" fmla="*/ 186 w 374"/>
              <a:gd name="T67" fmla="*/ 149 h 542"/>
              <a:gd name="T68" fmla="*/ 166 w 374"/>
              <a:gd name="T69" fmla="*/ 156 h 542"/>
              <a:gd name="T70" fmla="*/ 151 w 374"/>
              <a:gd name="T71" fmla="*/ 179 h 542"/>
              <a:gd name="T72" fmla="*/ 151 w 374"/>
              <a:gd name="T73" fmla="*/ 198 h 542"/>
              <a:gd name="T74" fmla="*/ 178 w 374"/>
              <a:gd name="T75" fmla="*/ 449 h 542"/>
              <a:gd name="T76" fmla="*/ 129 w 374"/>
              <a:gd name="T77" fmla="*/ 396 h 542"/>
              <a:gd name="T78" fmla="*/ 110 w 374"/>
              <a:gd name="T79" fmla="*/ 347 h 542"/>
              <a:gd name="T80" fmla="*/ 88 w 374"/>
              <a:gd name="T81" fmla="*/ 323 h 542"/>
              <a:gd name="T82" fmla="*/ 86 w 374"/>
              <a:gd name="T83" fmla="*/ 322 h 542"/>
              <a:gd name="T84" fmla="*/ 56 w 374"/>
              <a:gd name="T85" fmla="*/ 293 h 542"/>
              <a:gd name="T86" fmla="*/ 22 w 374"/>
              <a:gd name="T87" fmla="*/ 225 h 542"/>
              <a:gd name="T88" fmla="*/ 19 w 374"/>
              <a:gd name="T89" fmla="*/ 169 h 542"/>
              <a:gd name="T90" fmla="*/ 39 w 374"/>
              <a:gd name="T91" fmla="*/ 106 h 542"/>
              <a:gd name="T92" fmla="*/ 80 w 374"/>
              <a:gd name="T93" fmla="*/ 56 h 542"/>
              <a:gd name="T94" fmla="*/ 137 w 374"/>
              <a:gd name="T95" fmla="*/ 25 h 542"/>
              <a:gd name="T96" fmla="*/ 186 w 374"/>
              <a:gd name="T97" fmla="*/ 18 h 542"/>
              <a:gd name="T98" fmla="*/ 252 w 374"/>
              <a:gd name="T99" fmla="*/ 32 h 542"/>
              <a:gd name="T100" fmla="*/ 305 w 374"/>
              <a:gd name="T101" fmla="*/ 68 h 542"/>
              <a:gd name="T102" fmla="*/ 342 w 374"/>
              <a:gd name="T103" fmla="*/ 120 h 542"/>
              <a:gd name="T104" fmla="*/ 356 w 374"/>
              <a:gd name="T105" fmla="*/ 186 h 542"/>
              <a:gd name="T106" fmla="*/ 346 w 374"/>
              <a:gd name="T107" fmla="*/ 244 h 542"/>
              <a:gd name="T108" fmla="*/ 303 w 374"/>
              <a:gd name="T109" fmla="*/ 30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4" h="542">
                <a:moveTo>
                  <a:pt x="374" y="186"/>
                </a:moveTo>
                <a:lnTo>
                  <a:pt x="374" y="186"/>
                </a:lnTo>
                <a:lnTo>
                  <a:pt x="373" y="167"/>
                </a:lnTo>
                <a:lnTo>
                  <a:pt x="369" y="149"/>
                </a:lnTo>
                <a:lnTo>
                  <a:pt x="366" y="130"/>
                </a:lnTo>
                <a:lnTo>
                  <a:pt x="359" y="113"/>
                </a:lnTo>
                <a:lnTo>
                  <a:pt x="351" y="96"/>
                </a:lnTo>
                <a:lnTo>
                  <a:pt x="342" y="81"/>
                </a:lnTo>
                <a:lnTo>
                  <a:pt x="330" y="68"/>
                </a:lnTo>
                <a:lnTo>
                  <a:pt x="318" y="54"/>
                </a:lnTo>
                <a:lnTo>
                  <a:pt x="305" y="42"/>
                </a:lnTo>
                <a:lnTo>
                  <a:pt x="291" y="32"/>
                </a:lnTo>
                <a:lnTo>
                  <a:pt x="276" y="22"/>
                </a:lnTo>
                <a:lnTo>
                  <a:pt x="259" y="13"/>
                </a:lnTo>
                <a:lnTo>
                  <a:pt x="242" y="8"/>
                </a:lnTo>
                <a:lnTo>
                  <a:pt x="224" y="3"/>
                </a:lnTo>
                <a:lnTo>
                  <a:pt x="205" y="0"/>
                </a:lnTo>
                <a:lnTo>
                  <a:pt x="186" y="0"/>
                </a:lnTo>
                <a:lnTo>
                  <a:pt x="186" y="0"/>
                </a:lnTo>
                <a:lnTo>
                  <a:pt x="168" y="0"/>
                </a:lnTo>
                <a:lnTo>
                  <a:pt x="149" y="3"/>
                </a:lnTo>
                <a:lnTo>
                  <a:pt x="130" y="8"/>
                </a:lnTo>
                <a:lnTo>
                  <a:pt x="114" y="13"/>
                </a:lnTo>
                <a:lnTo>
                  <a:pt x="98" y="22"/>
                </a:lnTo>
                <a:lnTo>
                  <a:pt x="81" y="32"/>
                </a:lnTo>
                <a:lnTo>
                  <a:pt x="68" y="42"/>
                </a:lnTo>
                <a:lnTo>
                  <a:pt x="54" y="54"/>
                </a:lnTo>
                <a:lnTo>
                  <a:pt x="42" y="68"/>
                </a:lnTo>
                <a:lnTo>
                  <a:pt x="32" y="81"/>
                </a:lnTo>
                <a:lnTo>
                  <a:pt x="22" y="96"/>
                </a:lnTo>
                <a:lnTo>
                  <a:pt x="14" y="113"/>
                </a:lnTo>
                <a:lnTo>
                  <a:pt x="9" y="130"/>
                </a:lnTo>
                <a:lnTo>
                  <a:pt x="3" y="149"/>
                </a:lnTo>
                <a:lnTo>
                  <a:pt x="0" y="167"/>
                </a:lnTo>
                <a:lnTo>
                  <a:pt x="0" y="186"/>
                </a:lnTo>
                <a:lnTo>
                  <a:pt x="0" y="186"/>
                </a:lnTo>
                <a:lnTo>
                  <a:pt x="2" y="208"/>
                </a:lnTo>
                <a:lnTo>
                  <a:pt x="5" y="230"/>
                </a:lnTo>
                <a:lnTo>
                  <a:pt x="12" y="250"/>
                </a:lnTo>
                <a:lnTo>
                  <a:pt x="20" y="271"/>
                </a:lnTo>
                <a:lnTo>
                  <a:pt x="31" y="289"/>
                </a:lnTo>
                <a:lnTo>
                  <a:pt x="42" y="306"/>
                </a:lnTo>
                <a:lnTo>
                  <a:pt x="58" y="322"/>
                </a:lnTo>
                <a:lnTo>
                  <a:pt x="73" y="335"/>
                </a:lnTo>
                <a:lnTo>
                  <a:pt x="73" y="335"/>
                </a:lnTo>
                <a:lnTo>
                  <a:pt x="73" y="335"/>
                </a:lnTo>
                <a:lnTo>
                  <a:pt x="76" y="337"/>
                </a:lnTo>
                <a:lnTo>
                  <a:pt x="76" y="337"/>
                </a:lnTo>
                <a:lnTo>
                  <a:pt x="76" y="337"/>
                </a:lnTo>
                <a:lnTo>
                  <a:pt x="76" y="337"/>
                </a:lnTo>
                <a:lnTo>
                  <a:pt x="88" y="349"/>
                </a:lnTo>
                <a:lnTo>
                  <a:pt x="95" y="357"/>
                </a:lnTo>
                <a:lnTo>
                  <a:pt x="100" y="366"/>
                </a:lnTo>
                <a:lnTo>
                  <a:pt x="105" y="376"/>
                </a:lnTo>
                <a:lnTo>
                  <a:pt x="108" y="386"/>
                </a:lnTo>
                <a:lnTo>
                  <a:pt x="110" y="398"/>
                </a:lnTo>
                <a:lnTo>
                  <a:pt x="112" y="411"/>
                </a:lnTo>
                <a:lnTo>
                  <a:pt x="112" y="542"/>
                </a:lnTo>
                <a:lnTo>
                  <a:pt x="261" y="542"/>
                </a:lnTo>
                <a:lnTo>
                  <a:pt x="261" y="411"/>
                </a:lnTo>
                <a:lnTo>
                  <a:pt x="261" y="411"/>
                </a:lnTo>
                <a:lnTo>
                  <a:pt x="263" y="398"/>
                </a:lnTo>
                <a:lnTo>
                  <a:pt x="264" y="384"/>
                </a:lnTo>
                <a:lnTo>
                  <a:pt x="269" y="374"/>
                </a:lnTo>
                <a:lnTo>
                  <a:pt x="274" y="364"/>
                </a:lnTo>
                <a:lnTo>
                  <a:pt x="279" y="354"/>
                </a:lnTo>
                <a:lnTo>
                  <a:pt x="286" y="347"/>
                </a:lnTo>
                <a:lnTo>
                  <a:pt x="298" y="335"/>
                </a:lnTo>
                <a:lnTo>
                  <a:pt x="298" y="335"/>
                </a:lnTo>
                <a:lnTo>
                  <a:pt x="298" y="335"/>
                </a:lnTo>
                <a:lnTo>
                  <a:pt x="315" y="322"/>
                </a:lnTo>
                <a:lnTo>
                  <a:pt x="330" y="306"/>
                </a:lnTo>
                <a:lnTo>
                  <a:pt x="342" y="289"/>
                </a:lnTo>
                <a:lnTo>
                  <a:pt x="354" y="271"/>
                </a:lnTo>
                <a:lnTo>
                  <a:pt x="362" y="252"/>
                </a:lnTo>
                <a:lnTo>
                  <a:pt x="368" y="230"/>
                </a:lnTo>
                <a:lnTo>
                  <a:pt x="373" y="208"/>
                </a:lnTo>
                <a:lnTo>
                  <a:pt x="374" y="186"/>
                </a:lnTo>
                <a:lnTo>
                  <a:pt x="374" y="186"/>
                </a:lnTo>
                <a:close/>
                <a:moveTo>
                  <a:pt x="130" y="523"/>
                </a:moveTo>
                <a:lnTo>
                  <a:pt x="130" y="467"/>
                </a:lnTo>
                <a:lnTo>
                  <a:pt x="242" y="467"/>
                </a:lnTo>
                <a:lnTo>
                  <a:pt x="242" y="523"/>
                </a:lnTo>
                <a:lnTo>
                  <a:pt x="130" y="523"/>
                </a:lnTo>
                <a:close/>
                <a:moveTo>
                  <a:pt x="186" y="205"/>
                </a:moveTo>
                <a:lnTo>
                  <a:pt x="186" y="205"/>
                </a:lnTo>
                <a:lnTo>
                  <a:pt x="180" y="203"/>
                </a:lnTo>
                <a:lnTo>
                  <a:pt x="173" y="200"/>
                </a:lnTo>
                <a:lnTo>
                  <a:pt x="169" y="193"/>
                </a:lnTo>
                <a:lnTo>
                  <a:pt x="168" y="186"/>
                </a:lnTo>
                <a:lnTo>
                  <a:pt x="168" y="186"/>
                </a:lnTo>
                <a:lnTo>
                  <a:pt x="169" y="179"/>
                </a:lnTo>
                <a:lnTo>
                  <a:pt x="173" y="173"/>
                </a:lnTo>
                <a:lnTo>
                  <a:pt x="180" y="169"/>
                </a:lnTo>
                <a:lnTo>
                  <a:pt x="186" y="167"/>
                </a:lnTo>
                <a:lnTo>
                  <a:pt x="186" y="167"/>
                </a:lnTo>
                <a:lnTo>
                  <a:pt x="193" y="169"/>
                </a:lnTo>
                <a:lnTo>
                  <a:pt x="200" y="173"/>
                </a:lnTo>
                <a:lnTo>
                  <a:pt x="203" y="179"/>
                </a:lnTo>
                <a:lnTo>
                  <a:pt x="205" y="186"/>
                </a:lnTo>
                <a:lnTo>
                  <a:pt x="205" y="186"/>
                </a:lnTo>
                <a:lnTo>
                  <a:pt x="203" y="193"/>
                </a:lnTo>
                <a:lnTo>
                  <a:pt x="200" y="200"/>
                </a:lnTo>
                <a:lnTo>
                  <a:pt x="193" y="203"/>
                </a:lnTo>
                <a:lnTo>
                  <a:pt x="186" y="205"/>
                </a:lnTo>
                <a:lnTo>
                  <a:pt x="186" y="205"/>
                </a:lnTo>
                <a:close/>
                <a:moveTo>
                  <a:pt x="288" y="322"/>
                </a:moveTo>
                <a:lnTo>
                  <a:pt x="288" y="322"/>
                </a:lnTo>
                <a:lnTo>
                  <a:pt x="286" y="322"/>
                </a:lnTo>
                <a:lnTo>
                  <a:pt x="286" y="322"/>
                </a:lnTo>
                <a:lnTo>
                  <a:pt x="279" y="328"/>
                </a:lnTo>
                <a:lnTo>
                  <a:pt x="271" y="335"/>
                </a:lnTo>
                <a:lnTo>
                  <a:pt x="264" y="345"/>
                </a:lnTo>
                <a:lnTo>
                  <a:pt x="257" y="355"/>
                </a:lnTo>
                <a:lnTo>
                  <a:pt x="251" y="367"/>
                </a:lnTo>
                <a:lnTo>
                  <a:pt x="247" y="381"/>
                </a:lnTo>
                <a:lnTo>
                  <a:pt x="244" y="394"/>
                </a:lnTo>
                <a:lnTo>
                  <a:pt x="242" y="411"/>
                </a:lnTo>
                <a:lnTo>
                  <a:pt x="242" y="449"/>
                </a:lnTo>
                <a:lnTo>
                  <a:pt x="196" y="449"/>
                </a:lnTo>
                <a:lnTo>
                  <a:pt x="196" y="222"/>
                </a:lnTo>
                <a:lnTo>
                  <a:pt x="196" y="222"/>
                </a:lnTo>
                <a:lnTo>
                  <a:pt x="207" y="217"/>
                </a:lnTo>
                <a:lnTo>
                  <a:pt x="217" y="210"/>
                </a:lnTo>
                <a:lnTo>
                  <a:pt x="222" y="198"/>
                </a:lnTo>
                <a:lnTo>
                  <a:pt x="224" y="193"/>
                </a:lnTo>
                <a:lnTo>
                  <a:pt x="224" y="186"/>
                </a:lnTo>
                <a:lnTo>
                  <a:pt x="224" y="186"/>
                </a:lnTo>
                <a:lnTo>
                  <a:pt x="224" y="179"/>
                </a:lnTo>
                <a:lnTo>
                  <a:pt x="222" y="173"/>
                </a:lnTo>
                <a:lnTo>
                  <a:pt x="217" y="166"/>
                </a:lnTo>
                <a:lnTo>
                  <a:pt x="213" y="159"/>
                </a:lnTo>
                <a:lnTo>
                  <a:pt x="208" y="156"/>
                </a:lnTo>
                <a:lnTo>
                  <a:pt x="202" y="152"/>
                </a:lnTo>
                <a:lnTo>
                  <a:pt x="195" y="149"/>
                </a:lnTo>
                <a:lnTo>
                  <a:pt x="186" y="149"/>
                </a:lnTo>
                <a:lnTo>
                  <a:pt x="186" y="149"/>
                </a:lnTo>
                <a:lnTo>
                  <a:pt x="180" y="149"/>
                </a:lnTo>
                <a:lnTo>
                  <a:pt x="173" y="152"/>
                </a:lnTo>
                <a:lnTo>
                  <a:pt x="166" y="156"/>
                </a:lnTo>
                <a:lnTo>
                  <a:pt x="161" y="159"/>
                </a:lnTo>
                <a:lnTo>
                  <a:pt x="156" y="166"/>
                </a:lnTo>
                <a:lnTo>
                  <a:pt x="152" y="173"/>
                </a:lnTo>
                <a:lnTo>
                  <a:pt x="151" y="179"/>
                </a:lnTo>
                <a:lnTo>
                  <a:pt x="149" y="186"/>
                </a:lnTo>
                <a:lnTo>
                  <a:pt x="149" y="186"/>
                </a:lnTo>
                <a:lnTo>
                  <a:pt x="149" y="193"/>
                </a:lnTo>
                <a:lnTo>
                  <a:pt x="151" y="198"/>
                </a:lnTo>
                <a:lnTo>
                  <a:pt x="158" y="210"/>
                </a:lnTo>
                <a:lnTo>
                  <a:pt x="166" y="217"/>
                </a:lnTo>
                <a:lnTo>
                  <a:pt x="178" y="222"/>
                </a:lnTo>
                <a:lnTo>
                  <a:pt x="178" y="449"/>
                </a:lnTo>
                <a:lnTo>
                  <a:pt x="130" y="449"/>
                </a:lnTo>
                <a:lnTo>
                  <a:pt x="130" y="411"/>
                </a:lnTo>
                <a:lnTo>
                  <a:pt x="130" y="411"/>
                </a:lnTo>
                <a:lnTo>
                  <a:pt x="129" y="396"/>
                </a:lnTo>
                <a:lnTo>
                  <a:pt x="127" y="382"/>
                </a:lnTo>
                <a:lnTo>
                  <a:pt x="122" y="369"/>
                </a:lnTo>
                <a:lnTo>
                  <a:pt x="117" y="357"/>
                </a:lnTo>
                <a:lnTo>
                  <a:pt x="110" y="347"/>
                </a:lnTo>
                <a:lnTo>
                  <a:pt x="103" y="337"/>
                </a:lnTo>
                <a:lnTo>
                  <a:pt x="95" y="330"/>
                </a:lnTo>
                <a:lnTo>
                  <a:pt x="88" y="323"/>
                </a:lnTo>
                <a:lnTo>
                  <a:pt x="88" y="323"/>
                </a:lnTo>
                <a:lnTo>
                  <a:pt x="88" y="322"/>
                </a:lnTo>
                <a:lnTo>
                  <a:pt x="88" y="322"/>
                </a:lnTo>
                <a:lnTo>
                  <a:pt x="86" y="322"/>
                </a:lnTo>
                <a:lnTo>
                  <a:pt x="86" y="322"/>
                </a:lnTo>
                <a:lnTo>
                  <a:pt x="85" y="320"/>
                </a:lnTo>
                <a:lnTo>
                  <a:pt x="85" y="320"/>
                </a:lnTo>
                <a:lnTo>
                  <a:pt x="69" y="308"/>
                </a:lnTo>
                <a:lnTo>
                  <a:pt x="56" y="293"/>
                </a:lnTo>
                <a:lnTo>
                  <a:pt x="46" y="278"/>
                </a:lnTo>
                <a:lnTo>
                  <a:pt x="36" y="261"/>
                </a:lnTo>
                <a:lnTo>
                  <a:pt x="29" y="244"/>
                </a:lnTo>
                <a:lnTo>
                  <a:pt x="22" y="225"/>
                </a:lnTo>
                <a:lnTo>
                  <a:pt x="19" y="206"/>
                </a:lnTo>
                <a:lnTo>
                  <a:pt x="19" y="186"/>
                </a:lnTo>
                <a:lnTo>
                  <a:pt x="19" y="186"/>
                </a:lnTo>
                <a:lnTo>
                  <a:pt x="19" y="169"/>
                </a:lnTo>
                <a:lnTo>
                  <a:pt x="22" y="152"/>
                </a:lnTo>
                <a:lnTo>
                  <a:pt x="25" y="137"/>
                </a:lnTo>
                <a:lnTo>
                  <a:pt x="32" y="120"/>
                </a:lnTo>
                <a:lnTo>
                  <a:pt x="39" y="106"/>
                </a:lnTo>
                <a:lnTo>
                  <a:pt x="47" y="93"/>
                </a:lnTo>
                <a:lnTo>
                  <a:pt x="56" y="79"/>
                </a:lnTo>
                <a:lnTo>
                  <a:pt x="68" y="68"/>
                </a:lnTo>
                <a:lnTo>
                  <a:pt x="80" y="56"/>
                </a:lnTo>
                <a:lnTo>
                  <a:pt x="93" y="47"/>
                </a:lnTo>
                <a:lnTo>
                  <a:pt x="107" y="39"/>
                </a:lnTo>
                <a:lnTo>
                  <a:pt x="122" y="32"/>
                </a:lnTo>
                <a:lnTo>
                  <a:pt x="137" y="25"/>
                </a:lnTo>
                <a:lnTo>
                  <a:pt x="152" y="22"/>
                </a:lnTo>
                <a:lnTo>
                  <a:pt x="169" y="18"/>
                </a:lnTo>
                <a:lnTo>
                  <a:pt x="186" y="18"/>
                </a:lnTo>
                <a:lnTo>
                  <a:pt x="186" y="18"/>
                </a:lnTo>
                <a:lnTo>
                  <a:pt x="203" y="18"/>
                </a:lnTo>
                <a:lnTo>
                  <a:pt x="220" y="22"/>
                </a:lnTo>
                <a:lnTo>
                  <a:pt x="237" y="25"/>
                </a:lnTo>
                <a:lnTo>
                  <a:pt x="252" y="32"/>
                </a:lnTo>
                <a:lnTo>
                  <a:pt x="266" y="39"/>
                </a:lnTo>
                <a:lnTo>
                  <a:pt x="281" y="47"/>
                </a:lnTo>
                <a:lnTo>
                  <a:pt x="293" y="56"/>
                </a:lnTo>
                <a:lnTo>
                  <a:pt x="305" y="68"/>
                </a:lnTo>
                <a:lnTo>
                  <a:pt x="317" y="79"/>
                </a:lnTo>
                <a:lnTo>
                  <a:pt x="327" y="93"/>
                </a:lnTo>
                <a:lnTo>
                  <a:pt x="335" y="106"/>
                </a:lnTo>
                <a:lnTo>
                  <a:pt x="342" y="120"/>
                </a:lnTo>
                <a:lnTo>
                  <a:pt x="347" y="137"/>
                </a:lnTo>
                <a:lnTo>
                  <a:pt x="352" y="152"/>
                </a:lnTo>
                <a:lnTo>
                  <a:pt x="354" y="169"/>
                </a:lnTo>
                <a:lnTo>
                  <a:pt x="356" y="186"/>
                </a:lnTo>
                <a:lnTo>
                  <a:pt x="356" y="186"/>
                </a:lnTo>
                <a:lnTo>
                  <a:pt x="354" y="206"/>
                </a:lnTo>
                <a:lnTo>
                  <a:pt x="351" y="225"/>
                </a:lnTo>
                <a:lnTo>
                  <a:pt x="346" y="244"/>
                </a:lnTo>
                <a:lnTo>
                  <a:pt x="337" y="262"/>
                </a:lnTo>
                <a:lnTo>
                  <a:pt x="327" y="278"/>
                </a:lnTo>
                <a:lnTo>
                  <a:pt x="317" y="294"/>
                </a:lnTo>
                <a:lnTo>
                  <a:pt x="303" y="308"/>
                </a:lnTo>
                <a:lnTo>
                  <a:pt x="288" y="322"/>
                </a:lnTo>
                <a:lnTo>
                  <a:pt x="288" y="322"/>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789" name="Group 58">
            <a:extLst>
              <a:ext uri="{FF2B5EF4-FFF2-40B4-BE49-F238E27FC236}">
                <a16:creationId xmlns:a16="http://schemas.microsoft.com/office/drawing/2014/main" id="{9F544F61-0EF3-4AFD-8654-CF74C70A442C}"/>
              </a:ext>
            </a:extLst>
          </p:cNvPr>
          <p:cNvGrpSpPr>
            <a:grpSpLocks noChangeAspect="1"/>
          </p:cNvGrpSpPr>
          <p:nvPr/>
        </p:nvGrpSpPr>
        <p:grpSpPr>
          <a:xfrm>
            <a:off x="2755699" y="4879041"/>
            <a:ext cx="246739" cy="285619"/>
            <a:chOff x="2067084" y="5354717"/>
            <a:chExt cx="246630" cy="285493"/>
          </a:xfrm>
          <a:solidFill>
            <a:schemeClr val="bg2"/>
          </a:solidFill>
          <a:effectLst/>
        </p:grpSpPr>
        <p:sp>
          <p:nvSpPr>
            <p:cNvPr id="790" name="Freeform 227">
              <a:extLst>
                <a:ext uri="{FF2B5EF4-FFF2-40B4-BE49-F238E27FC236}">
                  <a16:creationId xmlns:a16="http://schemas.microsoft.com/office/drawing/2014/main" id="{3C38E2E3-DE27-4F96-9754-DB0E5FF9DAE8}"/>
                </a:ext>
              </a:extLst>
            </p:cNvPr>
            <p:cNvSpPr>
              <a:spLocks/>
            </p:cNvSpPr>
            <p:nvPr/>
          </p:nvSpPr>
          <p:spPr bwMode="auto">
            <a:xfrm>
              <a:off x="2101462" y="5507179"/>
              <a:ext cx="32884" cy="8968"/>
            </a:xfrm>
            <a:custGeom>
              <a:avLst/>
              <a:gdLst>
                <a:gd name="T0" fmla="*/ 90 w 90"/>
                <a:gd name="T1" fmla="*/ 13 h 26"/>
                <a:gd name="T2" fmla="*/ 89 w 90"/>
                <a:gd name="T3" fmla="*/ 9 h 26"/>
                <a:gd name="T4" fmla="*/ 86 w 90"/>
                <a:gd name="T5" fmla="*/ 4 h 26"/>
                <a:gd name="T6" fmla="*/ 81 w 90"/>
                <a:gd name="T7" fmla="*/ 1 h 26"/>
                <a:gd name="T8" fmla="*/ 77 w 90"/>
                <a:gd name="T9" fmla="*/ 0 h 26"/>
                <a:gd name="T10" fmla="*/ 13 w 90"/>
                <a:gd name="T11" fmla="*/ 0 h 26"/>
                <a:gd name="T12" fmla="*/ 7 w 90"/>
                <a:gd name="T13" fmla="*/ 1 h 26"/>
                <a:gd name="T14" fmla="*/ 3 w 90"/>
                <a:gd name="T15" fmla="*/ 4 h 26"/>
                <a:gd name="T16" fmla="*/ 1 w 90"/>
                <a:gd name="T17" fmla="*/ 9 h 26"/>
                <a:gd name="T18" fmla="*/ 0 w 90"/>
                <a:gd name="T19" fmla="*/ 13 h 26"/>
                <a:gd name="T20" fmla="*/ 1 w 90"/>
                <a:gd name="T21" fmla="*/ 18 h 26"/>
                <a:gd name="T22" fmla="*/ 3 w 90"/>
                <a:gd name="T23" fmla="*/ 23 h 26"/>
                <a:gd name="T24" fmla="*/ 7 w 90"/>
                <a:gd name="T25" fmla="*/ 25 h 26"/>
                <a:gd name="T26" fmla="*/ 13 w 90"/>
                <a:gd name="T27" fmla="*/ 26 h 26"/>
                <a:gd name="T28" fmla="*/ 77 w 90"/>
                <a:gd name="T29" fmla="*/ 26 h 26"/>
                <a:gd name="T30" fmla="*/ 81 w 90"/>
                <a:gd name="T31" fmla="*/ 25 h 26"/>
                <a:gd name="T32" fmla="*/ 86 w 90"/>
                <a:gd name="T33" fmla="*/ 23 h 26"/>
                <a:gd name="T34" fmla="*/ 89 w 90"/>
                <a:gd name="T35" fmla="*/ 18 h 26"/>
                <a:gd name="T36" fmla="*/ 90 w 90"/>
                <a:gd name="T3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26">
                  <a:moveTo>
                    <a:pt x="90" y="13"/>
                  </a:moveTo>
                  <a:lnTo>
                    <a:pt x="89" y="9"/>
                  </a:lnTo>
                  <a:lnTo>
                    <a:pt x="86" y="4"/>
                  </a:lnTo>
                  <a:lnTo>
                    <a:pt x="81" y="1"/>
                  </a:lnTo>
                  <a:lnTo>
                    <a:pt x="77" y="0"/>
                  </a:lnTo>
                  <a:lnTo>
                    <a:pt x="13" y="0"/>
                  </a:lnTo>
                  <a:lnTo>
                    <a:pt x="7" y="1"/>
                  </a:lnTo>
                  <a:lnTo>
                    <a:pt x="3" y="4"/>
                  </a:lnTo>
                  <a:lnTo>
                    <a:pt x="1" y="9"/>
                  </a:lnTo>
                  <a:lnTo>
                    <a:pt x="0" y="13"/>
                  </a:lnTo>
                  <a:lnTo>
                    <a:pt x="1" y="18"/>
                  </a:lnTo>
                  <a:lnTo>
                    <a:pt x="3" y="23"/>
                  </a:lnTo>
                  <a:lnTo>
                    <a:pt x="7" y="25"/>
                  </a:lnTo>
                  <a:lnTo>
                    <a:pt x="13" y="26"/>
                  </a:lnTo>
                  <a:lnTo>
                    <a:pt x="77" y="26"/>
                  </a:lnTo>
                  <a:lnTo>
                    <a:pt x="81" y="25"/>
                  </a:lnTo>
                  <a:lnTo>
                    <a:pt x="86" y="23"/>
                  </a:lnTo>
                  <a:lnTo>
                    <a:pt x="89" y="18"/>
                  </a:lnTo>
                  <a:lnTo>
                    <a:pt x="9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1" name="Freeform 228">
              <a:extLst>
                <a:ext uri="{FF2B5EF4-FFF2-40B4-BE49-F238E27FC236}">
                  <a16:creationId xmlns:a16="http://schemas.microsoft.com/office/drawing/2014/main" id="{E134ACDE-3351-49F8-A0DD-7C606293DD20}"/>
                </a:ext>
              </a:extLst>
            </p:cNvPr>
            <p:cNvSpPr>
              <a:spLocks/>
            </p:cNvSpPr>
            <p:nvPr/>
          </p:nvSpPr>
          <p:spPr bwMode="auto">
            <a:xfrm>
              <a:off x="2125377" y="5450380"/>
              <a:ext cx="26905" cy="26905"/>
            </a:xfrm>
            <a:custGeom>
              <a:avLst/>
              <a:gdLst>
                <a:gd name="T0" fmla="*/ 22 w 73"/>
                <a:gd name="T1" fmla="*/ 4 h 74"/>
                <a:gd name="T2" fmla="*/ 17 w 73"/>
                <a:gd name="T3" fmla="*/ 1 h 74"/>
                <a:gd name="T4" fmla="*/ 13 w 73"/>
                <a:gd name="T5" fmla="*/ 0 h 74"/>
                <a:gd name="T6" fmla="*/ 8 w 73"/>
                <a:gd name="T7" fmla="*/ 1 h 74"/>
                <a:gd name="T8" fmla="*/ 3 w 73"/>
                <a:gd name="T9" fmla="*/ 4 h 74"/>
                <a:gd name="T10" fmla="*/ 1 w 73"/>
                <a:gd name="T11" fmla="*/ 8 h 74"/>
                <a:gd name="T12" fmla="*/ 0 w 73"/>
                <a:gd name="T13" fmla="*/ 13 h 74"/>
                <a:gd name="T14" fmla="*/ 1 w 73"/>
                <a:gd name="T15" fmla="*/ 18 h 74"/>
                <a:gd name="T16" fmla="*/ 3 w 73"/>
                <a:gd name="T17" fmla="*/ 21 h 74"/>
                <a:gd name="T18" fmla="*/ 52 w 73"/>
                <a:gd name="T19" fmla="*/ 71 h 74"/>
                <a:gd name="T20" fmla="*/ 56 w 73"/>
                <a:gd name="T21" fmla="*/ 73 h 74"/>
                <a:gd name="T22" fmla="*/ 60 w 73"/>
                <a:gd name="T23" fmla="*/ 74 h 74"/>
                <a:gd name="T24" fmla="*/ 66 w 73"/>
                <a:gd name="T25" fmla="*/ 73 h 74"/>
                <a:gd name="T26" fmla="*/ 70 w 73"/>
                <a:gd name="T27" fmla="*/ 71 h 74"/>
                <a:gd name="T28" fmla="*/ 72 w 73"/>
                <a:gd name="T29" fmla="*/ 66 h 74"/>
                <a:gd name="T30" fmla="*/ 73 w 73"/>
                <a:gd name="T31" fmla="*/ 61 h 74"/>
                <a:gd name="T32" fmla="*/ 72 w 73"/>
                <a:gd name="T33" fmla="*/ 57 h 74"/>
                <a:gd name="T34" fmla="*/ 70 w 73"/>
                <a:gd name="T35" fmla="*/ 52 h 74"/>
                <a:gd name="T36" fmla="*/ 22 w 73"/>
                <a:gd name="T3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4">
                  <a:moveTo>
                    <a:pt x="22" y="4"/>
                  </a:moveTo>
                  <a:lnTo>
                    <a:pt x="17" y="1"/>
                  </a:lnTo>
                  <a:lnTo>
                    <a:pt x="13" y="0"/>
                  </a:lnTo>
                  <a:lnTo>
                    <a:pt x="8" y="1"/>
                  </a:lnTo>
                  <a:lnTo>
                    <a:pt x="3" y="4"/>
                  </a:lnTo>
                  <a:lnTo>
                    <a:pt x="1" y="8"/>
                  </a:lnTo>
                  <a:lnTo>
                    <a:pt x="0" y="13"/>
                  </a:lnTo>
                  <a:lnTo>
                    <a:pt x="1" y="18"/>
                  </a:lnTo>
                  <a:lnTo>
                    <a:pt x="3" y="21"/>
                  </a:lnTo>
                  <a:lnTo>
                    <a:pt x="52" y="71"/>
                  </a:lnTo>
                  <a:lnTo>
                    <a:pt x="56" y="73"/>
                  </a:lnTo>
                  <a:lnTo>
                    <a:pt x="60" y="74"/>
                  </a:lnTo>
                  <a:lnTo>
                    <a:pt x="66" y="73"/>
                  </a:lnTo>
                  <a:lnTo>
                    <a:pt x="70" y="71"/>
                  </a:lnTo>
                  <a:lnTo>
                    <a:pt x="72" y="66"/>
                  </a:lnTo>
                  <a:lnTo>
                    <a:pt x="73" y="61"/>
                  </a:lnTo>
                  <a:lnTo>
                    <a:pt x="72" y="57"/>
                  </a:lnTo>
                  <a:lnTo>
                    <a:pt x="70" y="52"/>
                  </a:ln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2" name="Freeform 229">
              <a:extLst>
                <a:ext uri="{FF2B5EF4-FFF2-40B4-BE49-F238E27FC236}">
                  <a16:creationId xmlns:a16="http://schemas.microsoft.com/office/drawing/2014/main" id="{04FB6427-E1B8-45F8-917B-98284475E34F}"/>
                </a:ext>
              </a:extLst>
            </p:cNvPr>
            <p:cNvSpPr>
              <a:spLocks/>
            </p:cNvSpPr>
            <p:nvPr/>
          </p:nvSpPr>
          <p:spPr bwMode="auto">
            <a:xfrm>
              <a:off x="2125377" y="5552021"/>
              <a:ext cx="26905" cy="28400"/>
            </a:xfrm>
            <a:custGeom>
              <a:avLst/>
              <a:gdLst>
                <a:gd name="T0" fmla="*/ 52 w 73"/>
                <a:gd name="T1" fmla="*/ 5 h 75"/>
                <a:gd name="T2" fmla="*/ 3 w 73"/>
                <a:gd name="T3" fmla="*/ 53 h 75"/>
                <a:gd name="T4" fmla="*/ 1 w 73"/>
                <a:gd name="T5" fmla="*/ 57 h 75"/>
                <a:gd name="T6" fmla="*/ 0 w 73"/>
                <a:gd name="T7" fmla="*/ 62 h 75"/>
                <a:gd name="T8" fmla="*/ 1 w 73"/>
                <a:gd name="T9" fmla="*/ 66 h 75"/>
                <a:gd name="T10" fmla="*/ 3 w 73"/>
                <a:gd name="T11" fmla="*/ 70 h 75"/>
                <a:gd name="T12" fmla="*/ 8 w 73"/>
                <a:gd name="T13" fmla="*/ 74 h 75"/>
                <a:gd name="T14" fmla="*/ 13 w 73"/>
                <a:gd name="T15" fmla="*/ 75 h 75"/>
                <a:gd name="T16" fmla="*/ 17 w 73"/>
                <a:gd name="T17" fmla="*/ 74 h 75"/>
                <a:gd name="T18" fmla="*/ 22 w 73"/>
                <a:gd name="T19" fmla="*/ 70 h 75"/>
                <a:gd name="T20" fmla="*/ 70 w 73"/>
                <a:gd name="T21" fmla="*/ 23 h 75"/>
                <a:gd name="T22" fmla="*/ 72 w 73"/>
                <a:gd name="T23" fmla="*/ 19 h 75"/>
                <a:gd name="T24" fmla="*/ 73 w 73"/>
                <a:gd name="T25" fmla="*/ 14 h 75"/>
                <a:gd name="T26" fmla="*/ 72 w 73"/>
                <a:gd name="T27" fmla="*/ 9 h 75"/>
                <a:gd name="T28" fmla="*/ 70 w 73"/>
                <a:gd name="T29" fmla="*/ 5 h 75"/>
                <a:gd name="T30" fmla="*/ 66 w 73"/>
                <a:gd name="T31" fmla="*/ 2 h 75"/>
                <a:gd name="T32" fmla="*/ 60 w 73"/>
                <a:gd name="T33" fmla="*/ 0 h 75"/>
                <a:gd name="T34" fmla="*/ 56 w 73"/>
                <a:gd name="T35" fmla="*/ 2 h 75"/>
                <a:gd name="T36" fmla="*/ 52 w 73"/>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5">
                  <a:moveTo>
                    <a:pt x="52" y="5"/>
                  </a:moveTo>
                  <a:lnTo>
                    <a:pt x="3" y="53"/>
                  </a:lnTo>
                  <a:lnTo>
                    <a:pt x="1" y="57"/>
                  </a:lnTo>
                  <a:lnTo>
                    <a:pt x="0" y="62"/>
                  </a:lnTo>
                  <a:lnTo>
                    <a:pt x="1" y="66"/>
                  </a:lnTo>
                  <a:lnTo>
                    <a:pt x="3" y="70"/>
                  </a:lnTo>
                  <a:lnTo>
                    <a:pt x="8" y="74"/>
                  </a:lnTo>
                  <a:lnTo>
                    <a:pt x="13" y="75"/>
                  </a:lnTo>
                  <a:lnTo>
                    <a:pt x="17" y="74"/>
                  </a:lnTo>
                  <a:lnTo>
                    <a:pt x="22" y="70"/>
                  </a:lnTo>
                  <a:lnTo>
                    <a:pt x="70" y="23"/>
                  </a:lnTo>
                  <a:lnTo>
                    <a:pt x="72" y="19"/>
                  </a:lnTo>
                  <a:lnTo>
                    <a:pt x="73" y="14"/>
                  </a:lnTo>
                  <a:lnTo>
                    <a:pt x="72" y="9"/>
                  </a:lnTo>
                  <a:lnTo>
                    <a:pt x="70" y="5"/>
                  </a:lnTo>
                  <a:lnTo>
                    <a:pt x="66" y="2"/>
                  </a:lnTo>
                  <a:lnTo>
                    <a:pt x="60" y="0"/>
                  </a:lnTo>
                  <a:lnTo>
                    <a:pt x="56" y="2"/>
                  </a:lnTo>
                  <a:lnTo>
                    <a:pt x="5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3" name="Freeform 230">
              <a:extLst>
                <a:ext uri="{FF2B5EF4-FFF2-40B4-BE49-F238E27FC236}">
                  <a16:creationId xmlns:a16="http://schemas.microsoft.com/office/drawing/2014/main" id="{29021CD6-FA93-419A-A9B9-20D2D2CF47BB}"/>
                </a:ext>
              </a:extLst>
            </p:cNvPr>
            <p:cNvSpPr>
              <a:spLocks/>
            </p:cNvSpPr>
            <p:nvPr/>
          </p:nvSpPr>
          <p:spPr bwMode="auto">
            <a:xfrm>
              <a:off x="2244956" y="5507179"/>
              <a:ext cx="34379" cy="8968"/>
            </a:xfrm>
            <a:custGeom>
              <a:avLst/>
              <a:gdLst>
                <a:gd name="T0" fmla="*/ 78 w 89"/>
                <a:gd name="T1" fmla="*/ 0 h 26"/>
                <a:gd name="T2" fmla="*/ 13 w 89"/>
                <a:gd name="T3" fmla="*/ 0 h 26"/>
                <a:gd name="T4" fmla="*/ 8 w 89"/>
                <a:gd name="T5" fmla="*/ 1 h 26"/>
                <a:gd name="T6" fmla="*/ 3 w 89"/>
                <a:gd name="T7" fmla="*/ 4 h 26"/>
                <a:gd name="T8" fmla="*/ 1 w 89"/>
                <a:gd name="T9" fmla="*/ 9 h 26"/>
                <a:gd name="T10" fmla="*/ 0 w 89"/>
                <a:gd name="T11" fmla="*/ 13 h 26"/>
                <a:gd name="T12" fmla="*/ 1 w 89"/>
                <a:gd name="T13" fmla="*/ 18 h 26"/>
                <a:gd name="T14" fmla="*/ 3 w 89"/>
                <a:gd name="T15" fmla="*/ 23 h 26"/>
                <a:gd name="T16" fmla="*/ 8 w 89"/>
                <a:gd name="T17" fmla="*/ 25 h 26"/>
                <a:gd name="T18" fmla="*/ 13 w 89"/>
                <a:gd name="T19" fmla="*/ 26 h 26"/>
                <a:gd name="T20" fmla="*/ 78 w 89"/>
                <a:gd name="T21" fmla="*/ 26 h 26"/>
                <a:gd name="T22" fmla="*/ 82 w 89"/>
                <a:gd name="T23" fmla="*/ 25 h 26"/>
                <a:gd name="T24" fmla="*/ 86 w 89"/>
                <a:gd name="T25" fmla="*/ 23 h 26"/>
                <a:gd name="T26" fmla="*/ 88 w 89"/>
                <a:gd name="T27" fmla="*/ 18 h 26"/>
                <a:gd name="T28" fmla="*/ 89 w 89"/>
                <a:gd name="T29" fmla="*/ 13 h 26"/>
                <a:gd name="T30" fmla="*/ 88 w 89"/>
                <a:gd name="T31" fmla="*/ 9 h 26"/>
                <a:gd name="T32" fmla="*/ 86 w 89"/>
                <a:gd name="T33" fmla="*/ 4 h 26"/>
                <a:gd name="T34" fmla="*/ 82 w 89"/>
                <a:gd name="T35" fmla="*/ 1 h 26"/>
                <a:gd name="T36" fmla="*/ 78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8" y="0"/>
                  </a:moveTo>
                  <a:lnTo>
                    <a:pt x="13" y="0"/>
                  </a:lnTo>
                  <a:lnTo>
                    <a:pt x="8" y="1"/>
                  </a:lnTo>
                  <a:lnTo>
                    <a:pt x="3" y="4"/>
                  </a:lnTo>
                  <a:lnTo>
                    <a:pt x="1" y="9"/>
                  </a:lnTo>
                  <a:lnTo>
                    <a:pt x="0" y="13"/>
                  </a:lnTo>
                  <a:lnTo>
                    <a:pt x="1" y="18"/>
                  </a:lnTo>
                  <a:lnTo>
                    <a:pt x="3" y="23"/>
                  </a:lnTo>
                  <a:lnTo>
                    <a:pt x="8" y="25"/>
                  </a:lnTo>
                  <a:lnTo>
                    <a:pt x="13" y="26"/>
                  </a:lnTo>
                  <a:lnTo>
                    <a:pt x="78" y="26"/>
                  </a:lnTo>
                  <a:lnTo>
                    <a:pt x="82" y="25"/>
                  </a:lnTo>
                  <a:lnTo>
                    <a:pt x="86" y="23"/>
                  </a:lnTo>
                  <a:lnTo>
                    <a:pt x="88" y="18"/>
                  </a:lnTo>
                  <a:lnTo>
                    <a:pt x="89" y="13"/>
                  </a:lnTo>
                  <a:lnTo>
                    <a:pt x="88" y="9"/>
                  </a:lnTo>
                  <a:lnTo>
                    <a:pt x="86" y="4"/>
                  </a:lnTo>
                  <a:lnTo>
                    <a:pt x="82" y="1"/>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4" name="Freeform 231">
              <a:extLst>
                <a:ext uri="{FF2B5EF4-FFF2-40B4-BE49-F238E27FC236}">
                  <a16:creationId xmlns:a16="http://schemas.microsoft.com/office/drawing/2014/main" id="{9BB71EAE-549D-49A4-BD05-DC35D804649B}"/>
                </a:ext>
              </a:extLst>
            </p:cNvPr>
            <p:cNvSpPr>
              <a:spLocks/>
            </p:cNvSpPr>
            <p:nvPr/>
          </p:nvSpPr>
          <p:spPr bwMode="auto">
            <a:xfrm>
              <a:off x="2189651" y="5569958"/>
              <a:ext cx="8968" cy="34379"/>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8 h 90"/>
                <a:gd name="T12" fmla="*/ 1 w 25"/>
                <a:gd name="T13" fmla="*/ 82 h 90"/>
                <a:gd name="T14" fmla="*/ 3 w 25"/>
                <a:gd name="T15" fmla="*/ 87 h 90"/>
                <a:gd name="T16" fmla="*/ 7 w 25"/>
                <a:gd name="T17" fmla="*/ 89 h 90"/>
                <a:gd name="T18" fmla="*/ 12 w 25"/>
                <a:gd name="T19" fmla="*/ 90 h 90"/>
                <a:gd name="T20" fmla="*/ 17 w 25"/>
                <a:gd name="T21" fmla="*/ 89 h 90"/>
                <a:gd name="T22" fmla="*/ 21 w 25"/>
                <a:gd name="T23" fmla="*/ 87 h 90"/>
                <a:gd name="T24" fmla="*/ 24 w 25"/>
                <a:gd name="T25" fmla="*/ 82 h 90"/>
                <a:gd name="T26" fmla="*/ 25 w 25"/>
                <a:gd name="T27" fmla="*/ 78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8"/>
                  </a:lnTo>
                  <a:lnTo>
                    <a:pt x="1" y="82"/>
                  </a:lnTo>
                  <a:lnTo>
                    <a:pt x="3" y="87"/>
                  </a:lnTo>
                  <a:lnTo>
                    <a:pt x="7" y="89"/>
                  </a:lnTo>
                  <a:lnTo>
                    <a:pt x="12" y="90"/>
                  </a:lnTo>
                  <a:lnTo>
                    <a:pt x="17" y="89"/>
                  </a:lnTo>
                  <a:lnTo>
                    <a:pt x="21" y="87"/>
                  </a:lnTo>
                  <a:lnTo>
                    <a:pt x="24" y="82"/>
                  </a:lnTo>
                  <a:lnTo>
                    <a:pt x="25" y="78"/>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5" name="Freeform 232">
              <a:extLst>
                <a:ext uri="{FF2B5EF4-FFF2-40B4-BE49-F238E27FC236}">
                  <a16:creationId xmlns:a16="http://schemas.microsoft.com/office/drawing/2014/main" id="{BE0AB127-4C10-403A-89F5-27A1478A9169}"/>
                </a:ext>
              </a:extLst>
            </p:cNvPr>
            <p:cNvSpPr>
              <a:spLocks/>
            </p:cNvSpPr>
            <p:nvPr/>
          </p:nvSpPr>
          <p:spPr bwMode="auto">
            <a:xfrm>
              <a:off x="2189651" y="5426464"/>
              <a:ext cx="8968" cy="32884"/>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7 h 90"/>
                <a:gd name="T12" fmla="*/ 1 w 25"/>
                <a:gd name="T13" fmla="*/ 82 h 90"/>
                <a:gd name="T14" fmla="*/ 3 w 25"/>
                <a:gd name="T15" fmla="*/ 86 h 90"/>
                <a:gd name="T16" fmla="*/ 7 w 25"/>
                <a:gd name="T17" fmla="*/ 88 h 90"/>
                <a:gd name="T18" fmla="*/ 12 w 25"/>
                <a:gd name="T19" fmla="*/ 90 h 90"/>
                <a:gd name="T20" fmla="*/ 17 w 25"/>
                <a:gd name="T21" fmla="*/ 88 h 90"/>
                <a:gd name="T22" fmla="*/ 21 w 25"/>
                <a:gd name="T23" fmla="*/ 86 h 90"/>
                <a:gd name="T24" fmla="*/ 24 w 25"/>
                <a:gd name="T25" fmla="*/ 82 h 90"/>
                <a:gd name="T26" fmla="*/ 25 w 25"/>
                <a:gd name="T27" fmla="*/ 77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7"/>
                  </a:lnTo>
                  <a:lnTo>
                    <a:pt x="1" y="82"/>
                  </a:lnTo>
                  <a:lnTo>
                    <a:pt x="3" y="86"/>
                  </a:lnTo>
                  <a:lnTo>
                    <a:pt x="7" y="88"/>
                  </a:lnTo>
                  <a:lnTo>
                    <a:pt x="12" y="90"/>
                  </a:lnTo>
                  <a:lnTo>
                    <a:pt x="17" y="88"/>
                  </a:lnTo>
                  <a:lnTo>
                    <a:pt x="21" y="86"/>
                  </a:lnTo>
                  <a:lnTo>
                    <a:pt x="24" y="82"/>
                  </a:lnTo>
                  <a:lnTo>
                    <a:pt x="25" y="77"/>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6" name="Freeform 233">
              <a:extLst>
                <a:ext uri="{FF2B5EF4-FFF2-40B4-BE49-F238E27FC236}">
                  <a16:creationId xmlns:a16="http://schemas.microsoft.com/office/drawing/2014/main" id="{7EB02071-ECB4-4F04-B7F6-778342C85FA7}"/>
                </a:ext>
              </a:extLst>
            </p:cNvPr>
            <p:cNvSpPr>
              <a:spLocks/>
            </p:cNvSpPr>
            <p:nvPr/>
          </p:nvSpPr>
          <p:spPr bwMode="auto">
            <a:xfrm>
              <a:off x="2227019" y="5552021"/>
              <a:ext cx="28400" cy="28400"/>
            </a:xfrm>
            <a:custGeom>
              <a:avLst/>
              <a:gdLst>
                <a:gd name="T0" fmla="*/ 21 w 74"/>
                <a:gd name="T1" fmla="*/ 5 h 75"/>
                <a:gd name="T2" fmla="*/ 17 w 74"/>
                <a:gd name="T3" fmla="*/ 2 h 75"/>
                <a:gd name="T4" fmla="*/ 13 w 74"/>
                <a:gd name="T5" fmla="*/ 0 h 75"/>
                <a:gd name="T6" fmla="*/ 7 w 74"/>
                <a:gd name="T7" fmla="*/ 2 h 75"/>
                <a:gd name="T8" fmla="*/ 3 w 74"/>
                <a:gd name="T9" fmla="*/ 5 h 75"/>
                <a:gd name="T10" fmla="*/ 1 w 74"/>
                <a:gd name="T11" fmla="*/ 9 h 75"/>
                <a:gd name="T12" fmla="*/ 0 w 74"/>
                <a:gd name="T13" fmla="*/ 14 h 75"/>
                <a:gd name="T14" fmla="*/ 1 w 74"/>
                <a:gd name="T15" fmla="*/ 19 h 75"/>
                <a:gd name="T16" fmla="*/ 3 w 74"/>
                <a:gd name="T17" fmla="*/ 23 h 75"/>
                <a:gd name="T18" fmla="*/ 51 w 74"/>
                <a:gd name="T19" fmla="*/ 70 h 75"/>
                <a:gd name="T20" fmla="*/ 56 w 74"/>
                <a:gd name="T21" fmla="*/ 74 h 75"/>
                <a:gd name="T22" fmla="*/ 61 w 74"/>
                <a:gd name="T23" fmla="*/ 75 h 75"/>
                <a:gd name="T24" fmla="*/ 65 w 74"/>
                <a:gd name="T25" fmla="*/ 74 h 75"/>
                <a:gd name="T26" fmla="*/ 70 w 74"/>
                <a:gd name="T27" fmla="*/ 70 h 75"/>
                <a:gd name="T28" fmla="*/ 73 w 74"/>
                <a:gd name="T29" fmla="*/ 66 h 75"/>
                <a:gd name="T30" fmla="*/ 74 w 74"/>
                <a:gd name="T31" fmla="*/ 62 h 75"/>
                <a:gd name="T32" fmla="*/ 73 w 74"/>
                <a:gd name="T33" fmla="*/ 57 h 75"/>
                <a:gd name="T34" fmla="*/ 70 w 74"/>
                <a:gd name="T35" fmla="*/ 53 h 75"/>
                <a:gd name="T36" fmla="*/ 21 w 74"/>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5">
                  <a:moveTo>
                    <a:pt x="21" y="5"/>
                  </a:moveTo>
                  <a:lnTo>
                    <a:pt x="17" y="2"/>
                  </a:lnTo>
                  <a:lnTo>
                    <a:pt x="13" y="0"/>
                  </a:lnTo>
                  <a:lnTo>
                    <a:pt x="7" y="2"/>
                  </a:lnTo>
                  <a:lnTo>
                    <a:pt x="3" y="5"/>
                  </a:lnTo>
                  <a:lnTo>
                    <a:pt x="1" y="9"/>
                  </a:lnTo>
                  <a:lnTo>
                    <a:pt x="0" y="14"/>
                  </a:lnTo>
                  <a:lnTo>
                    <a:pt x="1" y="19"/>
                  </a:lnTo>
                  <a:lnTo>
                    <a:pt x="3" y="23"/>
                  </a:lnTo>
                  <a:lnTo>
                    <a:pt x="51" y="70"/>
                  </a:lnTo>
                  <a:lnTo>
                    <a:pt x="56" y="74"/>
                  </a:lnTo>
                  <a:lnTo>
                    <a:pt x="61" y="75"/>
                  </a:lnTo>
                  <a:lnTo>
                    <a:pt x="65" y="74"/>
                  </a:lnTo>
                  <a:lnTo>
                    <a:pt x="70" y="70"/>
                  </a:lnTo>
                  <a:lnTo>
                    <a:pt x="73" y="66"/>
                  </a:lnTo>
                  <a:lnTo>
                    <a:pt x="74" y="62"/>
                  </a:lnTo>
                  <a:lnTo>
                    <a:pt x="73" y="57"/>
                  </a:lnTo>
                  <a:lnTo>
                    <a:pt x="70" y="53"/>
                  </a:lnTo>
                  <a:lnTo>
                    <a:pt x="2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7" name="Freeform 234">
              <a:extLst>
                <a:ext uri="{FF2B5EF4-FFF2-40B4-BE49-F238E27FC236}">
                  <a16:creationId xmlns:a16="http://schemas.microsoft.com/office/drawing/2014/main" id="{88377B05-5630-4997-900B-04F4E4CCAAB3}"/>
                </a:ext>
              </a:extLst>
            </p:cNvPr>
            <p:cNvSpPr>
              <a:spLocks/>
            </p:cNvSpPr>
            <p:nvPr/>
          </p:nvSpPr>
          <p:spPr bwMode="auto">
            <a:xfrm>
              <a:off x="2227019" y="5450380"/>
              <a:ext cx="28400" cy="26905"/>
            </a:xfrm>
            <a:custGeom>
              <a:avLst/>
              <a:gdLst>
                <a:gd name="T0" fmla="*/ 13 w 74"/>
                <a:gd name="T1" fmla="*/ 74 h 74"/>
                <a:gd name="T2" fmla="*/ 17 w 74"/>
                <a:gd name="T3" fmla="*/ 73 h 74"/>
                <a:gd name="T4" fmla="*/ 21 w 74"/>
                <a:gd name="T5" fmla="*/ 71 h 74"/>
                <a:gd name="T6" fmla="*/ 70 w 74"/>
                <a:gd name="T7" fmla="*/ 21 h 74"/>
                <a:gd name="T8" fmla="*/ 73 w 74"/>
                <a:gd name="T9" fmla="*/ 18 h 74"/>
                <a:gd name="T10" fmla="*/ 74 w 74"/>
                <a:gd name="T11" fmla="*/ 13 h 74"/>
                <a:gd name="T12" fmla="*/ 73 w 74"/>
                <a:gd name="T13" fmla="*/ 8 h 74"/>
                <a:gd name="T14" fmla="*/ 70 w 74"/>
                <a:gd name="T15" fmla="*/ 4 h 74"/>
                <a:gd name="T16" fmla="*/ 65 w 74"/>
                <a:gd name="T17" fmla="*/ 1 h 74"/>
                <a:gd name="T18" fmla="*/ 61 w 74"/>
                <a:gd name="T19" fmla="*/ 0 h 74"/>
                <a:gd name="T20" fmla="*/ 56 w 74"/>
                <a:gd name="T21" fmla="*/ 1 h 74"/>
                <a:gd name="T22" fmla="*/ 51 w 74"/>
                <a:gd name="T23" fmla="*/ 4 h 74"/>
                <a:gd name="T24" fmla="*/ 3 w 74"/>
                <a:gd name="T25" fmla="*/ 52 h 74"/>
                <a:gd name="T26" fmla="*/ 1 w 74"/>
                <a:gd name="T27" fmla="*/ 57 h 74"/>
                <a:gd name="T28" fmla="*/ 0 w 74"/>
                <a:gd name="T29" fmla="*/ 61 h 74"/>
                <a:gd name="T30" fmla="*/ 1 w 74"/>
                <a:gd name="T31" fmla="*/ 66 h 74"/>
                <a:gd name="T32" fmla="*/ 3 w 74"/>
                <a:gd name="T33" fmla="*/ 71 h 74"/>
                <a:gd name="T34" fmla="*/ 7 w 74"/>
                <a:gd name="T35" fmla="*/ 73 h 74"/>
                <a:gd name="T36" fmla="*/ 13 w 74"/>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4">
                  <a:moveTo>
                    <a:pt x="13" y="74"/>
                  </a:moveTo>
                  <a:lnTo>
                    <a:pt x="17" y="73"/>
                  </a:lnTo>
                  <a:lnTo>
                    <a:pt x="21" y="71"/>
                  </a:lnTo>
                  <a:lnTo>
                    <a:pt x="70" y="21"/>
                  </a:lnTo>
                  <a:lnTo>
                    <a:pt x="73" y="18"/>
                  </a:lnTo>
                  <a:lnTo>
                    <a:pt x="74" y="13"/>
                  </a:lnTo>
                  <a:lnTo>
                    <a:pt x="73" y="8"/>
                  </a:lnTo>
                  <a:lnTo>
                    <a:pt x="70" y="4"/>
                  </a:lnTo>
                  <a:lnTo>
                    <a:pt x="65" y="1"/>
                  </a:lnTo>
                  <a:lnTo>
                    <a:pt x="61" y="0"/>
                  </a:lnTo>
                  <a:lnTo>
                    <a:pt x="56" y="1"/>
                  </a:lnTo>
                  <a:lnTo>
                    <a:pt x="51" y="4"/>
                  </a:lnTo>
                  <a:lnTo>
                    <a:pt x="3" y="52"/>
                  </a:lnTo>
                  <a:lnTo>
                    <a:pt x="1" y="57"/>
                  </a:lnTo>
                  <a:lnTo>
                    <a:pt x="0" y="61"/>
                  </a:lnTo>
                  <a:lnTo>
                    <a:pt x="1" y="66"/>
                  </a:lnTo>
                  <a:lnTo>
                    <a:pt x="3" y="71"/>
                  </a:lnTo>
                  <a:lnTo>
                    <a:pt x="7"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8" name="Freeform 235">
              <a:extLst>
                <a:ext uri="{FF2B5EF4-FFF2-40B4-BE49-F238E27FC236}">
                  <a16:creationId xmlns:a16="http://schemas.microsoft.com/office/drawing/2014/main" id="{8C467C3C-6EAF-4E60-B6F5-1C14E370A20A}"/>
                </a:ext>
              </a:extLst>
            </p:cNvPr>
            <p:cNvSpPr>
              <a:spLocks noEditPoints="1"/>
            </p:cNvSpPr>
            <p:nvPr/>
          </p:nvSpPr>
          <p:spPr bwMode="auto">
            <a:xfrm>
              <a:off x="2067084" y="5354717"/>
              <a:ext cx="246630" cy="285493"/>
            </a:xfrm>
            <a:custGeom>
              <a:avLst/>
              <a:gdLst>
                <a:gd name="T0" fmla="*/ 270 w 662"/>
                <a:gd name="T1" fmla="*/ 732 h 764"/>
                <a:gd name="T2" fmla="*/ 199 w 662"/>
                <a:gd name="T3" fmla="*/ 709 h 764"/>
                <a:gd name="T4" fmla="*/ 137 w 662"/>
                <a:gd name="T5" fmla="*/ 669 h 764"/>
                <a:gd name="T6" fmla="*/ 86 w 662"/>
                <a:gd name="T7" fmla="*/ 615 h 764"/>
                <a:gd name="T8" fmla="*/ 50 w 662"/>
                <a:gd name="T9" fmla="*/ 552 h 764"/>
                <a:gd name="T10" fmla="*/ 29 w 662"/>
                <a:gd name="T11" fmla="*/ 479 h 764"/>
                <a:gd name="T12" fmla="*/ 27 w 662"/>
                <a:gd name="T13" fmla="*/ 402 h 764"/>
                <a:gd name="T14" fmla="*/ 44 w 662"/>
                <a:gd name="T15" fmla="*/ 328 h 764"/>
                <a:gd name="T16" fmla="*/ 78 w 662"/>
                <a:gd name="T17" fmla="*/ 262 h 764"/>
                <a:gd name="T18" fmla="*/ 126 w 662"/>
                <a:gd name="T19" fmla="*/ 207 h 764"/>
                <a:gd name="T20" fmla="*/ 186 w 662"/>
                <a:gd name="T21" fmla="*/ 164 h 764"/>
                <a:gd name="T22" fmla="*/ 255 w 662"/>
                <a:gd name="T23" fmla="*/ 137 h 764"/>
                <a:gd name="T24" fmla="*/ 331 w 662"/>
                <a:gd name="T25" fmla="*/ 127 h 764"/>
                <a:gd name="T26" fmla="*/ 407 w 662"/>
                <a:gd name="T27" fmla="*/ 137 h 764"/>
                <a:gd name="T28" fmla="*/ 477 w 662"/>
                <a:gd name="T29" fmla="*/ 164 h 764"/>
                <a:gd name="T30" fmla="*/ 536 w 662"/>
                <a:gd name="T31" fmla="*/ 207 h 764"/>
                <a:gd name="T32" fmla="*/ 584 w 662"/>
                <a:gd name="T33" fmla="*/ 262 h 764"/>
                <a:gd name="T34" fmla="*/ 618 w 662"/>
                <a:gd name="T35" fmla="*/ 328 h 764"/>
                <a:gd name="T36" fmla="*/ 635 w 662"/>
                <a:gd name="T37" fmla="*/ 402 h 764"/>
                <a:gd name="T38" fmla="*/ 633 w 662"/>
                <a:gd name="T39" fmla="*/ 479 h 764"/>
                <a:gd name="T40" fmla="*/ 612 w 662"/>
                <a:gd name="T41" fmla="*/ 552 h 764"/>
                <a:gd name="T42" fmla="*/ 576 w 662"/>
                <a:gd name="T43" fmla="*/ 615 h 764"/>
                <a:gd name="T44" fmla="*/ 525 w 662"/>
                <a:gd name="T45" fmla="*/ 669 h 764"/>
                <a:gd name="T46" fmla="*/ 463 w 662"/>
                <a:gd name="T47" fmla="*/ 709 h 764"/>
                <a:gd name="T48" fmla="*/ 392 w 662"/>
                <a:gd name="T49" fmla="*/ 732 h 764"/>
                <a:gd name="T50" fmla="*/ 565 w 662"/>
                <a:gd name="T51" fmla="*/ 199 h 764"/>
                <a:gd name="T52" fmla="*/ 641 w 662"/>
                <a:gd name="T53" fmla="*/ 170 h 764"/>
                <a:gd name="T54" fmla="*/ 646 w 662"/>
                <a:gd name="T55" fmla="*/ 149 h 764"/>
                <a:gd name="T56" fmla="*/ 579 w 662"/>
                <a:gd name="T57" fmla="*/ 100 h 764"/>
                <a:gd name="T58" fmla="*/ 594 w 662"/>
                <a:gd name="T59" fmla="*/ 133 h 764"/>
                <a:gd name="T60" fmla="*/ 458 w 662"/>
                <a:gd name="T61" fmla="*/ 128 h 764"/>
                <a:gd name="T62" fmla="*/ 368 w 662"/>
                <a:gd name="T63" fmla="*/ 104 h 764"/>
                <a:gd name="T64" fmla="*/ 388 w 662"/>
                <a:gd name="T65" fmla="*/ 22 h 764"/>
                <a:gd name="T66" fmla="*/ 385 w 662"/>
                <a:gd name="T67" fmla="*/ 1 h 764"/>
                <a:gd name="T68" fmla="*/ 291 w 662"/>
                <a:gd name="T69" fmla="*/ 8 h 764"/>
                <a:gd name="T70" fmla="*/ 303 w 662"/>
                <a:gd name="T71" fmla="*/ 25 h 764"/>
                <a:gd name="T72" fmla="*/ 278 w 662"/>
                <a:gd name="T73" fmla="*/ 106 h 764"/>
                <a:gd name="T74" fmla="*/ 201 w 662"/>
                <a:gd name="T75" fmla="*/ 129 h 764"/>
                <a:gd name="T76" fmla="*/ 132 w 662"/>
                <a:gd name="T77" fmla="*/ 169 h 764"/>
                <a:gd name="T78" fmla="*/ 76 w 662"/>
                <a:gd name="T79" fmla="*/ 223 h 764"/>
                <a:gd name="T80" fmla="*/ 33 w 662"/>
                <a:gd name="T81" fmla="*/ 291 h 764"/>
                <a:gd name="T82" fmla="*/ 7 w 662"/>
                <a:gd name="T83" fmla="*/ 366 h 764"/>
                <a:gd name="T84" fmla="*/ 0 w 662"/>
                <a:gd name="T85" fmla="*/ 450 h 764"/>
                <a:gd name="T86" fmla="*/ 15 w 662"/>
                <a:gd name="T87" fmla="*/ 532 h 764"/>
                <a:gd name="T88" fmla="*/ 49 w 662"/>
                <a:gd name="T89" fmla="*/ 605 h 764"/>
                <a:gd name="T90" fmla="*/ 97 w 662"/>
                <a:gd name="T91" fmla="*/ 667 h 764"/>
                <a:gd name="T92" fmla="*/ 159 w 662"/>
                <a:gd name="T93" fmla="*/ 716 h 764"/>
                <a:gd name="T94" fmla="*/ 233 w 662"/>
                <a:gd name="T95" fmla="*/ 749 h 764"/>
                <a:gd name="T96" fmla="*/ 314 w 662"/>
                <a:gd name="T97" fmla="*/ 764 h 764"/>
                <a:gd name="T98" fmla="*/ 398 w 662"/>
                <a:gd name="T99" fmla="*/ 757 h 764"/>
                <a:gd name="T100" fmla="*/ 475 w 662"/>
                <a:gd name="T101" fmla="*/ 731 h 764"/>
                <a:gd name="T102" fmla="*/ 542 w 662"/>
                <a:gd name="T103" fmla="*/ 688 h 764"/>
                <a:gd name="T104" fmla="*/ 596 w 662"/>
                <a:gd name="T105" fmla="*/ 632 h 764"/>
                <a:gd name="T106" fmla="*/ 636 w 662"/>
                <a:gd name="T107" fmla="*/ 562 h 764"/>
                <a:gd name="T108" fmla="*/ 659 w 662"/>
                <a:gd name="T109" fmla="*/ 483 h 764"/>
                <a:gd name="T110" fmla="*/ 661 w 662"/>
                <a:gd name="T111" fmla="*/ 400 h 764"/>
                <a:gd name="T112" fmla="*/ 642 w 662"/>
                <a:gd name="T113" fmla="*/ 319 h 764"/>
                <a:gd name="T114" fmla="*/ 606 w 662"/>
                <a:gd name="T115"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2" h="764">
                  <a:moveTo>
                    <a:pt x="331" y="739"/>
                  </a:moveTo>
                  <a:lnTo>
                    <a:pt x="316" y="738"/>
                  </a:lnTo>
                  <a:lnTo>
                    <a:pt x="300" y="737"/>
                  </a:lnTo>
                  <a:lnTo>
                    <a:pt x="285" y="735"/>
                  </a:lnTo>
                  <a:lnTo>
                    <a:pt x="270" y="732"/>
                  </a:lnTo>
                  <a:lnTo>
                    <a:pt x="255" y="729"/>
                  </a:lnTo>
                  <a:lnTo>
                    <a:pt x="241" y="725"/>
                  </a:lnTo>
                  <a:lnTo>
                    <a:pt x="226" y="720"/>
                  </a:lnTo>
                  <a:lnTo>
                    <a:pt x="212" y="714"/>
                  </a:lnTo>
                  <a:lnTo>
                    <a:pt x="199" y="709"/>
                  </a:lnTo>
                  <a:lnTo>
                    <a:pt x="186" y="701"/>
                  </a:lnTo>
                  <a:lnTo>
                    <a:pt x="173" y="695"/>
                  </a:lnTo>
                  <a:lnTo>
                    <a:pt x="160" y="686"/>
                  </a:lnTo>
                  <a:lnTo>
                    <a:pt x="149" y="678"/>
                  </a:lnTo>
                  <a:lnTo>
                    <a:pt x="137" y="669"/>
                  </a:lnTo>
                  <a:lnTo>
                    <a:pt x="126" y="659"/>
                  </a:lnTo>
                  <a:lnTo>
                    <a:pt x="115" y="649"/>
                  </a:lnTo>
                  <a:lnTo>
                    <a:pt x="106" y="639"/>
                  </a:lnTo>
                  <a:lnTo>
                    <a:pt x="96" y="627"/>
                  </a:lnTo>
                  <a:lnTo>
                    <a:pt x="86" y="615"/>
                  </a:lnTo>
                  <a:lnTo>
                    <a:pt x="78" y="604"/>
                  </a:lnTo>
                  <a:lnTo>
                    <a:pt x="70" y="592"/>
                  </a:lnTo>
                  <a:lnTo>
                    <a:pt x="63" y="579"/>
                  </a:lnTo>
                  <a:lnTo>
                    <a:pt x="56" y="566"/>
                  </a:lnTo>
                  <a:lnTo>
                    <a:pt x="50" y="552"/>
                  </a:lnTo>
                  <a:lnTo>
                    <a:pt x="44" y="538"/>
                  </a:lnTo>
                  <a:lnTo>
                    <a:pt x="39" y="524"/>
                  </a:lnTo>
                  <a:lnTo>
                    <a:pt x="36" y="509"/>
                  </a:lnTo>
                  <a:lnTo>
                    <a:pt x="32" y="494"/>
                  </a:lnTo>
                  <a:lnTo>
                    <a:pt x="29" y="479"/>
                  </a:lnTo>
                  <a:lnTo>
                    <a:pt x="27" y="464"/>
                  </a:lnTo>
                  <a:lnTo>
                    <a:pt x="26" y="449"/>
                  </a:lnTo>
                  <a:lnTo>
                    <a:pt x="26" y="433"/>
                  </a:lnTo>
                  <a:lnTo>
                    <a:pt x="26" y="417"/>
                  </a:lnTo>
                  <a:lnTo>
                    <a:pt x="27" y="402"/>
                  </a:lnTo>
                  <a:lnTo>
                    <a:pt x="29" y="387"/>
                  </a:lnTo>
                  <a:lnTo>
                    <a:pt x="32" y="372"/>
                  </a:lnTo>
                  <a:lnTo>
                    <a:pt x="36" y="357"/>
                  </a:lnTo>
                  <a:lnTo>
                    <a:pt x="39" y="343"/>
                  </a:lnTo>
                  <a:lnTo>
                    <a:pt x="44" y="328"/>
                  </a:lnTo>
                  <a:lnTo>
                    <a:pt x="50" y="314"/>
                  </a:lnTo>
                  <a:lnTo>
                    <a:pt x="56" y="301"/>
                  </a:lnTo>
                  <a:lnTo>
                    <a:pt x="63" y="288"/>
                  </a:lnTo>
                  <a:lnTo>
                    <a:pt x="70" y="275"/>
                  </a:lnTo>
                  <a:lnTo>
                    <a:pt x="78" y="262"/>
                  </a:lnTo>
                  <a:lnTo>
                    <a:pt x="86" y="250"/>
                  </a:lnTo>
                  <a:lnTo>
                    <a:pt x="96" y="239"/>
                  </a:lnTo>
                  <a:lnTo>
                    <a:pt x="106" y="228"/>
                  </a:lnTo>
                  <a:lnTo>
                    <a:pt x="115" y="217"/>
                  </a:lnTo>
                  <a:lnTo>
                    <a:pt x="126" y="207"/>
                  </a:lnTo>
                  <a:lnTo>
                    <a:pt x="137" y="198"/>
                  </a:lnTo>
                  <a:lnTo>
                    <a:pt x="149" y="188"/>
                  </a:lnTo>
                  <a:lnTo>
                    <a:pt x="160" y="179"/>
                  </a:lnTo>
                  <a:lnTo>
                    <a:pt x="173" y="172"/>
                  </a:lnTo>
                  <a:lnTo>
                    <a:pt x="186" y="164"/>
                  </a:lnTo>
                  <a:lnTo>
                    <a:pt x="199" y="158"/>
                  </a:lnTo>
                  <a:lnTo>
                    <a:pt x="212" y="152"/>
                  </a:lnTo>
                  <a:lnTo>
                    <a:pt x="226" y="146"/>
                  </a:lnTo>
                  <a:lnTo>
                    <a:pt x="241" y="141"/>
                  </a:lnTo>
                  <a:lnTo>
                    <a:pt x="255" y="137"/>
                  </a:lnTo>
                  <a:lnTo>
                    <a:pt x="270" y="133"/>
                  </a:lnTo>
                  <a:lnTo>
                    <a:pt x="285" y="131"/>
                  </a:lnTo>
                  <a:lnTo>
                    <a:pt x="300" y="129"/>
                  </a:lnTo>
                  <a:lnTo>
                    <a:pt x="316" y="128"/>
                  </a:lnTo>
                  <a:lnTo>
                    <a:pt x="331" y="127"/>
                  </a:lnTo>
                  <a:lnTo>
                    <a:pt x="347" y="128"/>
                  </a:lnTo>
                  <a:lnTo>
                    <a:pt x="362" y="129"/>
                  </a:lnTo>
                  <a:lnTo>
                    <a:pt x="377" y="131"/>
                  </a:lnTo>
                  <a:lnTo>
                    <a:pt x="392" y="133"/>
                  </a:lnTo>
                  <a:lnTo>
                    <a:pt x="407" y="137"/>
                  </a:lnTo>
                  <a:lnTo>
                    <a:pt x="422" y="141"/>
                  </a:lnTo>
                  <a:lnTo>
                    <a:pt x="436" y="146"/>
                  </a:lnTo>
                  <a:lnTo>
                    <a:pt x="450" y="152"/>
                  </a:lnTo>
                  <a:lnTo>
                    <a:pt x="463" y="158"/>
                  </a:lnTo>
                  <a:lnTo>
                    <a:pt x="477" y="164"/>
                  </a:lnTo>
                  <a:lnTo>
                    <a:pt x="490" y="172"/>
                  </a:lnTo>
                  <a:lnTo>
                    <a:pt x="502" y="179"/>
                  </a:lnTo>
                  <a:lnTo>
                    <a:pt x="514" y="188"/>
                  </a:lnTo>
                  <a:lnTo>
                    <a:pt x="525" y="198"/>
                  </a:lnTo>
                  <a:lnTo>
                    <a:pt x="536" y="207"/>
                  </a:lnTo>
                  <a:lnTo>
                    <a:pt x="547" y="217"/>
                  </a:lnTo>
                  <a:lnTo>
                    <a:pt x="558" y="228"/>
                  </a:lnTo>
                  <a:lnTo>
                    <a:pt x="567" y="239"/>
                  </a:lnTo>
                  <a:lnTo>
                    <a:pt x="576" y="250"/>
                  </a:lnTo>
                  <a:lnTo>
                    <a:pt x="584" y="262"/>
                  </a:lnTo>
                  <a:lnTo>
                    <a:pt x="593" y="275"/>
                  </a:lnTo>
                  <a:lnTo>
                    <a:pt x="600" y="288"/>
                  </a:lnTo>
                  <a:lnTo>
                    <a:pt x="607" y="301"/>
                  </a:lnTo>
                  <a:lnTo>
                    <a:pt x="612" y="314"/>
                  </a:lnTo>
                  <a:lnTo>
                    <a:pt x="618" y="328"/>
                  </a:lnTo>
                  <a:lnTo>
                    <a:pt x="623" y="343"/>
                  </a:lnTo>
                  <a:lnTo>
                    <a:pt x="627" y="357"/>
                  </a:lnTo>
                  <a:lnTo>
                    <a:pt x="631" y="372"/>
                  </a:lnTo>
                  <a:lnTo>
                    <a:pt x="633" y="387"/>
                  </a:lnTo>
                  <a:lnTo>
                    <a:pt x="635" y="402"/>
                  </a:lnTo>
                  <a:lnTo>
                    <a:pt x="636" y="417"/>
                  </a:lnTo>
                  <a:lnTo>
                    <a:pt x="637" y="433"/>
                  </a:lnTo>
                  <a:lnTo>
                    <a:pt x="636" y="449"/>
                  </a:lnTo>
                  <a:lnTo>
                    <a:pt x="635" y="464"/>
                  </a:lnTo>
                  <a:lnTo>
                    <a:pt x="633" y="479"/>
                  </a:lnTo>
                  <a:lnTo>
                    <a:pt x="631" y="494"/>
                  </a:lnTo>
                  <a:lnTo>
                    <a:pt x="627" y="509"/>
                  </a:lnTo>
                  <a:lnTo>
                    <a:pt x="623" y="524"/>
                  </a:lnTo>
                  <a:lnTo>
                    <a:pt x="618" y="538"/>
                  </a:lnTo>
                  <a:lnTo>
                    <a:pt x="612" y="552"/>
                  </a:lnTo>
                  <a:lnTo>
                    <a:pt x="607" y="566"/>
                  </a:lnTo>
                  <a:lnTo>
                    <a:pt x="600" y="579"/>
                  </a:lnTo>
                  <a:lnTo>
                    <a:pt x="593" y="592"/>
                  </a:lnTo>
                  <a:lnTo>
                    <a:pt x="584" y="604"/>
                  </a:lnTo>
                  <a:lnTo>
                    <a:pt x="576" y="615"/>
                  </a:lnTo>
                  <a:lnTo>
                    <a:pt x="567" y="627"/>
                  </a:lnTo>
                  <a:lnTo>
                    <a:pt x="558" y="639"/>
                  </a:lnTo>
                  <a:lnTo>
                    <a:pt x="547" y="649"/>
                  </a:lnTo>
                  <a:lnTo>
                    <a:pt x="536" y="659"/>
                  </a:lnTo>
                  <a:lnTo>
                    <a:pt x="525" y="669"/>
                  </a:lnTo>
                  <a:lnTo>
                    <a:pt x="514" y="678"/>
                  </a:lnTo>
                  <a:lnTo>
                    <a:pt x="502" y="686"/>
                  </a:lnTo>
                  <a:lnTo>
                    <a:pt x="490" y="695"/>
                  </a:lnTo>
                  <a:lnTo>
                    <a:pt x="477" y="701"/>
                  </a:lnTo>
                  <a:lnTo>
                    <a:pt x="463" y="709"/>
                  </a:lnTo>
                  <a:lnTo>
                    <a:pt x="450" y="714"/>
                  </a:lnTo>
                  <a:lnTo>
                    <a:pt x="436" y="720"/>
                  </a:lnTo>
                  <a:lnTo>
                    <a:pt x="422" y="725"/>
                  </a:lnTo>
                  <a:lnTo>
                    <a:pt x="407" y="729"/>
                  </a:lnTo>
                  <a:lnTo>
                    <a:pt x="392" y="732"/>
                  </a:lnTo>
                  <a:lnTo>
                    <a:pt x="377" y="735"/>
                  </a:lnTo>
                  <a:lnTo>
                    <a:pt x="362" y="737"/>
                  </a:lnTo>
                  <a:lnTo>
                    <a:pt x="347" y="738"/>
                  </a:lnTo>
                  <a:lnTo>
                    <a:pt x="331" y="739"/>
                  </a:lnTo>
                  <a:close/>
                  <a:moveTo>
                    <a:pt x="565" y="199"/>
                  </a:moveTo>
                  <a:lnTo>
                    <a:pt x="612" y="152"/>
                  </a:lnTo>
                  <a:lnTo>
                    <a:pt x="627" y="167"/>
                  </a:lnTo>
                  <a:lnTo>
                    <a:pt x="632" y="170"/>
                  </a:lnTo>
                  <a:lnTo>
                    <a:pt x="636" y="171"/>
                  </a:lnTo>
                  <a:lnTo>
                    <a:pt x="641" y="170"/>
                  </a:lnTo>
                  <a:lnTo>
                    <a:pt x="646" y="167"/>
                  </a:lnTo>
                  <a:lnTo>
                    <a:pt x="648" y="162"/>
                  </a:lnTo>
                  <a:lnTo>
                    <a:pt x="649" y="158"/>
                  </a:lnTo>
                  <a:lnTo>
                    <a:pt x="648" y="153"/>
                  </a:lnTo>
                  <a:lnTo>
                    <a:pt x="646" y="149"/>
                  </a:lnTo>
                  <a:lnTo>
                    <a:pt x="597" y="100"/>
                  </a:lnTo>
                  <a:lnTo>
                    <a:pt x="593" y="98"/>
                  </a:lnTo>
                  <a:lnTo>
                    <a:pt x="588" y="97"/>
                  </a:lnTo>
                  <a:lnTo>
                    <a:pt x="583" y="98"/>
                  </a:lnTo>
                  <a:lnTo>
                    <a:pt x="579" y="100"/>
                  </a:lnTo>
                  <a:lnTo>
                    <a:pt x="576" y="104"/>
                  </a:lnTo>
                  <a:lnTo>
                    <a:pt x="576" y="110"/>
                  </a:lnTo>
                  <a:lnTo>
                    <a:pt x="576" y="114"/>
                  </a:lnTo>
                  <a:lnTo>
                    <a:pt x="579" y="118"/>
                  </a:lnTo>
                  <a:lnTo>
                    <a:pt x="594" y="133"/>
                  </a:lnTo>
                  <a:lnTo>
                    <a:pt x="546" y="182"/>
                  </a:lnTo>
                  <a:lnTo>
                    <a:pt x="525" y="165"/>
                  </a:lnTo>
                  <a:lnTo>
                    <a:pt x="504" y="152"/>
                  </a:lnTo>
                  <a:lnTo>
                    <a:pt x="481" y="139"/>
                  </a:lnTo>
                  <a:lnTo>
                    <a:pt x="458" y="128"/>
                  </a:lnTo>
                  <a:lnTo>
                    <a:pt x="433" y="118"/>
                  </a:lnTo>
                  <a:lnTo>
                    <a:pt x="407" y="111"/>
                  </a:lnTo>
                  <a:lnTo>
                    <a:pt x="394" y="109"/>
                  </a:lnTo>
                  <a:lnTo>
                    <a:pt x="382" y="106"/>
                  </a:lnTo>
                  <a:lnTo>
                    <a:pt x="368" y="104"/>
                  </a:lnTo>
                  <a:lnTo>
                    <a:pt x="354" y="103"/>
                  </a:lnTo>
                  <a:lnTo>
                    <a:pt x="354" y="25"/>
                  </a:lnTo>
                  <a:lnTo>
                    <a:pt x="379" y="25"/>
                  </a:lnTo>
                  <a:lnTo>
                    <a:pt x="385" y="25"/>
                  </a:lnTo>
                  <a:lnTo>
                    <a:pt x="388" y="22"/>
                  </a:lnTo>
                  <a:lnTo>
                    <a:pt x="391" y="17"/>
                  </a:lnTo>
                  <a:lnTo>
                    <a:pt x="392" y="13"/>
                  </a:lnTo>
                  <a:lnTo>
                    <a:pt x="391" y="8"/>
                  </a:lnTo>
                  <a:lnTo>
                    <a:pt x="388" y="3"/>
                  </a:lnTo>
                  <a:lnTo>
                    <a:pt x="385" y="1"/>
                  </a:lnTo>
                  <a:lnTo>
                    <a:pt x="379" y="0"/>
                  </a:lnTo>
                  <a:lnTo>
                    <a:pt x="303" y="0"/>
                  </a:lnTo>
                  <a:lnTo>
                    <a:pt x="298" y="1"/>
                  </a:lnTo>
                  <a:lnTo>
                    <a:pt x="294" y="3"/>
                  </a:lnTo>
                  <a:lnTo>
                    <a:pt x="291" y="8"/>
                  </a:lnTo>
                  <a:lnTo>
                    <a:pt x="290" y="13"/>
                  </a:lnTo>
                  <a:lnTo>
                    <a:pt x="291" y="17"/>
                  </a:lnTo>
                  <a:lnTo>
                    <a:pt x="294" y="22"/>
                  </a:lnTo>
                  <a:lnTo>
                    <a:pt x="298" y="25"/>
                  </a:lnTo>
                  <a:lnTo>
                    <a:pt x="303" y="25"/>
                  </a:lnTo>
                  <a:lnTo>
                    <a:pt x="329" y="25"/>
                  </a:lnTo>
                  <a:lnTo>
                    <a:pt x="329" y="102"/>
                  </a:lnTo>
                  <a:lnTo>
                    <a:pt x="312" y="102"/>
                  </a:lnTo>
                  <a:lnTo>
                    <a:pt x="295" y="104"/>
                  </a:lnTo>
                  <a:lnTo>
                    <a:pt x="278" y="106"/>
                  </a:lnTo>
                  <a:lnTo>
                    <a:pt x="262" y="110"/>
                  </a:lnTo>
                  <a:lnTo>
                    <a:pt x="246" y="113"/>
                  </a:lnTo>
                  <a:lnTo>
                    <a:pt x="231" y="118"/>
                  </a:lnTo>
                  <a:lnTo>
                    <a:pt x="215" y="124"/>
                  </a:lnTo>
                  <a:lnTo>
                    <a:pt x="201" y="129"/>
                  </a:lnTo>
                  <a:lnTo>
                    <a:pt x="186" y="135"/>
                  </a:lnTo>
                  <a:lnTo>
                    <a:pt x="172" y="143"/>
                  </a:lnTo>
                  <a:lnTo>
                    <a:pt x="158" y="152"/>
                  </a:lnTo>
                  <a:lnTo>
                    <a:pt x="145" y="160"/>
                  </a:lnTo>
                  <a:lnTo>
                    <a:pt x="132" y="169"/>
                  </a:lnTo>
                  <a:lnTo>
                    <a:pt x="120" y="179"/>
                  </a:lnTo>
                  <a:lnTo>
                    <a:pt x="108" y="189"/>
                  </a:lnTo>
                  <a:lnTo>
                    <a:pt x="96" y="201"/>
                  </a:lnTo>
                  <a:lnTo>
                    <a:pt x="85" y="212"/>
                  </a:lnTo>
                  <a:lnTo>
                    <a:pt x="76" y="223"/>
                  </a:lnTo>
                  <a:lnTo>
                    <a:pt x="66" y="236"/>
                  </a:lnTo>
                  <a:lnTo>
                    <a:pt x="56" y="249"/>
                  </a:lnTo>
                  <a:lnTo>
                    <a:pt x="48" y="262"/>
                  </a:lnTo>
                  <a:lnTo>
                    <a:pt x="40" y="276"/>
                  </a:lnTo>
                  <a:lnTo>
                    <a:pt x="33" y="291"/>
                  </a:lnTo>
                  <a:lnTo>
                    <a:pt x="26" y="305"/>
                  </a:lnTo>
                  <a:lnTo>
                    <a:pt x="20" y="320"/>
                  </a:lnTo>
                  <a:lnTo>
                    <a:pt x="15" y="335"/>
                  </a:lnTo>
                  <a:lnTo>
                    <a:pt x="10" y="351"/>
                  </a:lnTo>
                  <a:lnTo>
                    <a:pt x="7" y="366"/>
                  </a:lnTo>
                  <a:lnTo>
                    <a:pt x="4" y="383"/>
                  </a:lnTo>
                  <a:lnTo>
                    <a:pt x="1" y="400"/>
                  </a:lnTo>
                  <a:lnTo>
                    <a:pt x="0" y="416"/>
                  </a:lnTo>
                  <a:lnTo>
                    <a:pt x="0" y="433"/>
                  </a:lnTo>
                  <a:lnTo>
                    <a:pt x="0" y="450"/>
                  </a:lnTo>
                  <a:lnTo>
                    <a:pt x="1" y="467"/>
                  </a:lnTo>
                  <a:lnTo>
                    <a:pt x="4" y="483"/>
                  </a:lnTo>
                  <a:lnTo>
                    <a:pt x="7" y="499"/>
                  </a:lnTo>
                  <a:lnTo>
                    <a:pt x="11" y="516"/>
                  </a:lnTo>
                  <a:lnTo>
                    <a:pt x="15" y="532"/>
                  </a:lnTo>
                  <a:lnTo>
                    <a:pt x="21" y="547"/>
                  </a:lnTo>
                  <a:lnTo>
                    <a:pt x="26" y="562"/>
                  </a:lnTo>
                  <a:lnTo>
                    <a:pt x="33" y="577"/>
                  </a:lnTo>
                  <a:lnTo>
                    <a:pt x="40" y="591"/>
                  </a:lnTo>
                  <a:lnTo>
                    <a:pt x="49" y="605"/>
                  </a:lnTo>
                  <a:lnTo>
                    <a:pt x="57" y="619"/>
                  </a:lnTo>
                  <a:lnTo>
                    <a:pt x="66" y="632"/>
                  </a:lnTo>
                  <a:lnTo>
                    <a:pt x="76" y="643"/>
                  </a:lnTo>
                  <a:lnTo>
                    <a:pt x="86" y="655"/>
                  </a:lnTo>
                  <a:lnTo>
                    <a:pt x="97" y="667"/>
                  </a:lnTo>
                  <a:lnTo>
                    <a:pt x="109" y="678"/>
                  </a:lnTo>
                  <a:lnTo>
                    <a:pt x="121" y="688"/>
                  </a:lnTo>
                  <a:lnTo>
                    <a:pt x="134" y="698"/>
                  </a:lnTo>
                  <a:lnTo>
                    <a:pt x="146" y="708"/>
                  </a:lnTo>
                  <a:lnTo>
                    <a:pt x="159" y="716"/>
                  </a:lnTo>
                  <a:lnTo>
                    <a:pt x="173" y="724"/>
                  </a:lnTo>
                  <a:lnTo>
                    <a:pt x="188" y="731"/>
                  </a:lnTo>
                  <a:lnTo>
                    <a:pt x="202" y="738"/>
                  </a:lnTo>
                  <a:lnTo>
                    <a:pt x="217" y="744"/>
                  </a:lnTo>
                  <a:lnTo>
                    <a:pt x="233" y="749"/>
                  </a:lnTo>
                  <a:lnTo>
                    <a:pt x="248" y="754"/>
                  </a:lnTo>
                  <a:lnTo>
                    <a:pt x="265" y="757"/>
                  </a:lnTo>
                  <a:lnTo>
                    <a:pt x="281" y="760"/>
                  </a:lnTo>
                  <a:lnTo>
                    <a:pt x="298" y="763"/>
                  </a:lnTo>
                  <a:lnTo>
                    <a:pt x="314" y="764"/>
                  </a:lnTo>
                  <a:lnTo>
                    <a:pt x="331" y="764"/>
                  </a:lnTo>
                  <a:lnTo>
                    <a:pt x="348" y="764"/>
                  </a:lnTo>
                  <a:lnTo>
                    <a:pt x="365" y="763"/>
                  </a:lnTo>
                  <a:lnTo>
                    <a:pt x="382" y="760"/>
                  </a:lnTo>
                  <a:lnTo>
                    <a:pt x="398" y="757"/>
                  </a:lnTo>
                  <a:lnTo>
                    <a:pt x="414" y="754"/>
                  </a:lnTo>
                  <a:lnTo>
                    <a:pt x="430" y="749"/>
                  </a:lnTo>
                  <a:lnTo>
                    <a:pt x="445" y="744"/>
                  </a:lnTo>
                  <a:lnTo>
                    <a:pt x="460" y="738"/>
                  </a:lnTo>
                  <a:lnTo>
                    <a:pt x="475" y="731"/>
                  </a:lnTo>
                  <a:lnTo>
                    <a:pt x="489" y="724"/>
                  </a:lnTo>
                  <a:lnTo>
                    <a:pt x="503" y="716"/>
                  </a:lnTo>
                  <a:lnTo>
                    <a:pt x="516" y="708"/>
                  </a:lnTo>
                  <a:lnTo>
                    <a:pt x="530" y="698"/>
                  </a:lnTo>
                  <a:lnTo>
                    <a:pt x="542" y="688"/>
                  </a:lnTo>
                  <a:lnTo>
                    <a:pt x="553" y="678"/>
                  </a:lnTo>
                  <a:lnTo>
                    <a:pt x="565" y="667"/>
                  </a:lnTo>
                  <a:lnTo>
                    <a:pt x="576" y="655"/>
                  </a:lnTo>
                  <a:lnTo>
                    <a:pt x="587" y="643"/>
                  </a:lnTo>
                  <a:lnTo>
                    <a:pt x="596" y="632"/>
                  </a:lnTo>
                  <a:lnTo>
                    <a:pt x="606" y="619"/>
                  </a:lnTo>
                  <a:lnTo>
                    <a:pt x="615" y="605"/>
                  </a:lnTo>
                  <a:lnTo>
                    <a:pt x="622" y="591"/>
                  </a:lnTo>
                  <a:lnTo>
                    <a:pt x="630" y="577"/>
                  </a:lnTo>
                  <a:lnTo>
                    <a:pt x="636" y="562"/>
                  </a:lnTo>
                  <a:lnTo>
                    <a:pt x="642" y="547"/>
                  </a:lnTo>
                  <a:lnTo>
                    <a:pt x="648" y="532"/>
                  </a:lnTo>
                  <a:lnTo>
                    <a:pt x="652" y="516"/>
                  </a:lnTo>
                  <a:lnTo>
                    <a:pt x="655" y="499"/>
                  </a:lnTo>
                  <a:lnTo>
                    <a:pt x="659" y="483"/>
                  </a:lnTo>
                  <a:lnTo>
                    <a:pt x="661" y="467"/>
                  </a:lnTo>
                  <a:lnTo>
                    <a:pt x="662" y="450"/>
                  </a:lnTo>
                  <a:lnTo>
                    <a:pt x="662" y="433"/>
                  </a:lnTo>
                  <a:lnTo>
                    <a:pt x="662" y="416"/>
                  </a:lnTo>
                  <a:lnTo>
                    <a:pt x="661" y="400"/>
                  </a:lnTo>
                  <a:lnTo>
                    <a:pt x="659" y="382"/>
                  </a:lnTo>
                  <a:lnTo>
                    <a:pt x="655" y="366"/>
                  </a:lnTo>
                  <a:lnTo>
                    <a:pt x="652" y="350"/>
                  </a:lnTo>
                  <a:lnTo>
                    <a:pt x="648" y="335"/>
                  </a:lnTo>
                  <a:lnTo>
                    <a:pt x="642" y="319"/>
                  </a:lnTo>
                  <a:lnTo>
                    <a:pt x="636" y="304"/>
                  </a:lnTo>
                  <a:lnTo>
                    <a:pt x="630" y="289"/>
                  </a:lnTo>
                  <a:lnTo>
                    <a:pt x="622" y="275"/>
                  </a:lnTo>
                  <a:lnTo>
                    <a:pt x="615" y="261"/>
                  </a:lnTo>
                  <a:lnTo>
                    <a:pt x="606" y="248"/>
                  </a:lnTo>
                  <a:lnTo>
                    <a:pt x="596" y="234"/>
                  </a:lnTo>
                  <a:lnTo>
                    <a:pt x="587" y="222"/>
                  </a:lnTo>
                  <a:lnTo>
                    <a:pt x="576" y="210"/>
                  </a:lnTo>
                  <a:lnTo>
                    <a:pt x="565"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25" name="Group 128">
            <a:extLst>
              <a:ext uri="{FF2B5EF4-FFF2-40B4-BE49-F238E27FC236}">
                <a16:creationId xmlns:a16="http://schemas.microsoft.com/office/drawing/2014/main" id="{6BFE3EBB-2B4E-4446-A77C-6D632D2AEBCC}"/>
              </a:ext>
            </a:extLst>
          </p:cNvPr>
          <p:cNvGrpSpPr>
            <a:grpSpLocks noChangeAspect="1"/>
          </p:cNvGrpSpPr>
          <p:nvPr/>
        </p:nvGrpSpPr>
        <p:grpSpPr>
          <a:xfrm>
            <a:off x="2730546" y="3821864"/>
            <a:ext cx="297046" cy="245830"/>
            <a:chOff x="1468438" y="1965325"/>
            <a:chExt cx="276225" cy="228600"/>
          </a:xfrm>
          <a:solidFill>
            <a:schemeClr val="bg2"/>
          </a:solidFill>
          <a:effectLst/>
        </p:grpSpPr>
        <p:sp>
          <p:nvSpPr>
            <p:cNvPr id="626" name="Freeform 111">
              <a:extLst>
                <a:ext uri="{FF2B5EF4-FFF2-40B4-BE49-F238E27FC236}">
                  <a16:creationId xmlns:a16="http://schemas.microsoft.com/office/drawing/2014/main" id="{BAFFD5A5-1D0A-4E8F-9E41-CB7FC441A9D9}"/>
                </a:ext>
              </a:extLst>
            </p:cNvPr>
            <p:cNvSpPr>
              <a:spLocks noEditPoints="1"/>
            </p:cNvSpPr>
            <p:nvPr/>
          </p:nvSpPr>
          <p:spPr bwMode="auto">
            <a:xfrm>
              <a:off x="1468438" y="2117725"/>
              <a:ext cx="49213" cy="76200"/>
            </a:xfrm>
            <a:custGeom>
              <a:avLst/>
              <a:gdLst>
                <a:gd name="T0" fmla="*/ 121 w 151"/>
                <a:gd name="T1" fmla="*/ 211 h 241"/>
                <a:gd name="T2" fmla="*/ 30 w 151"/>
                <a:gd name="T3" fmla="*/ 211 h 241"/>
                <a:gd name="T4" fmla="*/ 30 w 151"/>
                <a:gd name="T5" fmla="*/ 30 h 241"/>
                <a:gd name="T6" fmla="*/ 121 w 151"/>
                <a:gd name="T7" fmla="*/ 30 h 241"/>
                <a:gd name="T8" fmla="*/ 121 w 151"/>
                <a:gd name="T9" fmla="*/ 211 h 241"/>
                <a:gd name="T10" fmla="*/ 136 w 151"/>
                <a:gd name="T11" fmla="*/ 0 h 241"/>
                <a:gd name="T12" fmla="*/ 15 w 151"/>
                <a:gd name="T13" fmla="*/ 0 h 241"/>
                <a:gd name="T14" fmla="*/ 13 w 151"/>
                <a:gd name="T15" fmla="*/ 1 h 241"/>
                <a:gd name="T16" fmla="*/ 10 w 151"/>
                <a:gd name="T17" fmla="*/ 2 h 241"/>
                <a:gd name="T18" fmla="*/ 8 w 151"/>
                <a:gd name="T19" fmla="*/ 3 h 241"/>
                <a:gd name="T20" fmla="*/ 6 w 151"/>
                <a:gd name="T21" fmla="*/ 6 h 241"/>
                <a:gd name="T22" fmla="*/ 4 w 151"/>
                <a:gd name="T23" fmla="*/ 8 h 241"/>
                <a:gd name="T24" fmla="*/ 2 w 151"/>
                <a:gd name="T25" fmla="*/ 10 h 241"/>
                <a:gd name="T26" fmla="*/ 1 w 151"/>
                <a:gd name="T27" fmla="*/ 13 h 241"/>
                <a:gd name="T28" fmla="*/ 0 w 151"/>
                <a:gd name="T29" fmla="*/ 15 h 241"/>
                <a:gd name="T30" fmla="*/ 0 w 151"/>
                <a:gd name="T31" fmla="*/ 226 h 241"/>
                <a:gd name="T32" fmla="*/ 1 w 151"/>
                <a:gd name="T33" fmla="*/ 228 h 241"/>
                <a:gd name="T34" fmla="*/ 2 w 151"/>
                <a:gd name="T35" fmla="*/ 231 h 241"/>
                <a:gd name="T36" fmla="*/ 4 w 151"/>
                <a:gd name="T37" fmla="*/ 233 h 241"/>
                <a:gd name="T38" fmla="*/ 6 w 151"/>
                <a:gd name="T39" fmla="*/ 236 h 241"/>
                <a:gd name="T40" fmla="*/ 8 w 151"/>
                <a:gd name="T41" fmla="*/ 238 h 241"/>
                <a:gd name="T42" fmla="*/ 10 w 151"/>
                <a:gd name="T43" fmla="*/ 240 h 241"/>
                <a:gd name="T44" fmla="*/ 13 w 151"/>
                <a:gd name="T45" fmla="*/ 240 h 241"/>
                <a:gd name="T46" fmla="*/ 15 w 151"/>
                <a:gd name="T47" fmla="*/ 241 h 241"/>
                <a:gd name="T48" fmla="*/ 136 w 151"/>
                <a:gd name="T49" fmla="*/ 241 h 241"/>
                <a:gd name="T50" fmla="*/ 138 w 151"/>
                <a:gd name="T51" fmla="*/ 240 h 241"/>
                <a:gd name="T52" fmla="*/ 142 w 151"/>
                <a:gd name="T53" fmla="*/ 239 h 241"/>
                <a:gd name="T54" fmla="*/ 144 w 151"/>
                <a:gd name="T55" fmla="*/ 238 h 241"/>
                <a:gd name="T56" fmla="*/ 146 w 151"/>
                <a:gd name="T57" fmla="*/ 236 h 241"/>
                <a:gd name="T58" fmla="*/ 148 w 151"/>
                <a:gd name="T59" fmla="*/ 233 h 241"/>
                <a:gd name="T60" fmla="*/ 149 w 151"/>
                <a:gd name="T61" fmla="*/ 231 h 241"/>
                <a:gd name="T62" fmla="*/ 150 w 151"/>
                <a:gd name="T63" fmla="*/ 228 h 241"/>
                <a:gd name="T64" fmla="*/ 151 w 151"/>
                <a:gd name="T65" fmla="*/ 226 h 241"/>
                <a:gd name="T66" fmla="*/ 151 w 151"/>
                <a:gd name="T67" fmla="*/ 15 h 241"/>
                <a:gd name="T68" fmla="*/ 150 w 151"/>
                <a:gd name="T69" fmla="*/ 13 h 241"/>
                <a:gd name="T70" fmla="*/ 149 w 151"/>
                <a:gd name="T71" fmla="*/ 10 h 241"/>
                <a:gd name="T72" fmla="*/ 148 w 151"/>
                <a:gd name="T73" fmla="*/ 8 h 241"/>
                <a:gd name="T74" fmla="*/ 146 w 151"/>
                <a:gd name="T75" fmla="*/ 6 h 241"/>
                <a:gd name="T76" fmla="*/ 144 w 151"/>
                <a:gd name="T77" fmla="*/ 3 h 241"/>
                <a:gd name="T78" fmla="*/ 142 w 151"/>
                <a:gd name="T79" fmla="*/ 2 h 241"/>
                <a:gd name="T80" fmla="*/ 138 w 151"/>
                <a:gd name="T81" fmla="*/ 1 h 241"/>
                <a:gd name="T82" fmla="*/ 136 w 151"/>
                <a:gd name="T83" fmla="*/ 0 h 241"/>
                <a:gd name="T84" fmla="*/ 136 w 15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1" h="241">
                  <a:moveTo>
                    <a:pt x="121" y="211"/>
                  </a:moveTo>
                  <a:lnTo>
                    <a:pt x="30" y="211"/>
                  </a:lnTo>
                  <a:lnTo>
                    <a:pt x="30" y="30"/>
                  </a:lnTo>
                  <a:lnTo>
                    <a:pt x="121" y="30"/>
                  </a:lnTo>
                  <a:lnTo>
                    <a:pt x="121" y="211"/>
                  </a:lnTo>
                  <a:close/>
                  <a:moveTo>
                    <a:pt x="136" y="0"/>
                  </a:moveTo>
                  <a:lnTo>
                    <a:pt x="15" y="0"/>
                  </a:lnTo>
                  <a:lnTo>
                    <a:pt x="13" y="1"/>
                  </a:lnTo>
                  <a:lnTo>
                    <a:pt x="10" y="2"/>
                  </a:lnTo>
                  <a:lnTo>
                    <a:pt x="8" y="3"/>
                  </a:lnTo>
                  <a:lnTo>
                    <a:pt x="6" y="6"/>
                  </a:lnTo>
                  <a:lnTo>
                    <a:pt x="4" y="8"/>
                  </a:lnTo>
                  <a:lnTo>
                    <a:pt x="2" y="10"/>
                  </a:lnTo>
                  <a:lnTo>
                    <a:pt x="1" y="13"/>
                  </a:lnTo>
                  <a:lnTo>
                    <a:pt x="0" y="15"/>
                  </a:lnTo>
                  <a:lnTo>
                    <a:pt x="0" y="226"/>
                  </a:lnTo>
                  <a:lnTo>
                    <a:pt x="1" y="228"/>
                  </a:lnTo>
                  <a:lnTo>
                    <a:pt x="2" y="231"/>
                  </a:lnTo>
                  <a:lnTo>
                    <a:pt x="4" y="233"/>
                  </a:lnTo>
                  <a:lnTo>
                    <a:pt x="6" y="236"/>
                  </a:lnTo>
                  <a:lnTo>
                    <a:pt x="8" y="238"/>
                  </a:lnTo>
                  <a:lnTo>
                    <a:pt x="10" y="240"/>
                  </a:lnTo>
                  <a:lnTo>
                    <a:pt x="13" y="240"/>
                  </a:lnTo>
                  <a:lnTo>
                    <a:pt x="15" y="241"/>
                  </a:lnTo>
                  <a:lnTo>
                    <a:pt x="136" y="241"/>
                  </a:lnTo>
                  <a:lnTo>
                    <a:pt x="138" y="240"/>
                  </a:lnTo>
                  <a:lnTo>
                    <a:pt x="142" y="239"/>
                  </a:lnTo>
                  <a:lnTo>
                    <a:pt x="144" y="238"/>
                  </a:lnTo>
                  <a:lnTo>
                    <a:pt x="146" y="236"/>
                  </a:lnTo>
                  <a:lnTo>
                    <a:pt x="148" y="233"/>
                  </a:lnTo>
                  <a:lnTo>
                    <a:pt x="149" y="231"/>
                  </a:lnTo>
                  <a:lnTo>
                    <a:pt x="150" y="228"/>
                  </a:lnTo>
                  <a:lnTo>
                    <a:pt x="151" y="226"/>
                  </a:lnTo>
                  <a:lnTo>
                    <a:pt x="151" y="15"/>
                  </a:lnTo>
                  <a:lnTo>
                    <a:pt x="150" y="13"/>
                  </a:lnTo>
                  <a:lnTo>
                    <a:pt x="149" y="10"/>
                  </a:lnTo>
                  <a:lnTo>
                    <a:pt x="148" y="8"/>
                  </a:lnTo>
                  <a:lnTo>
                    <a:pt x="146" y="6"/>
                  </a:lnTo>
                  <a:lnTo>
                    <a:pt x="144" y="3"/>
                  </a:lnTo>
                  <a:lnTo>
                    <a:pt x="142" y="2"/>
                  </a:lnTo>
                  <a:lnTo>
                    <a:pt x="138" y="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2">
              <a:extLst>
                <a:ext uri="{FF2B5EF4-FFF2-40B4-BE49-F238E27FC236}">
                  <a16:creationId xmlns:a16="http://schemas.microsoft.com/office/drawing/2014/main" id="{343926D3-20ED-4096-8036-2CA28DB5789B}"/>
                </a:ext>
              </a:extLst>
            </p:cNvPr>
            <p:cNvSpPr>
              <a:spLocks noEditPoints="1"/>
            </p:cNvSpPr>
            <p:nvPr/>
          </p:nvSpPr>
          <p:spPr bwMode="auto">
            <a:xfrm>
              <a:off x="1527175" y="2079625"/>
              <a:ext cx="47625" cy="114300"/>
            </a:xfrm>
            <a:custGeom>
              <a:avLst/>
              <a:gdLst>
                <a:gd name="T0" fmla="*/ 120 w 150"/>
                <a:gd name="T1" fmla="*/ 331 h 361"/>
                <a:gd name="T2" fmla="*/ 30 w 150"/>
                <a:gd name="T3" fmla="*/ 331 h 361"/>
                <a:gd name="T4" fmla="*/ 30 w 150"/>
                <a:gd name="T5" fmla="*/ 30 h 361"/>
                <a:gd name="T6" fmla="*/ 120 w 150"/>
                <a:gd name="T7" fmla="*/ 30 h 361"/>
                <a:gd name="T8" fmla="*/ 120 w 150"/>
                <a:gd name="T9" fmla="*/ 331 h 361"/>
                <a:gd name="T10" fmla="*/ 135 w 150"/>
                <a:gd name="T11" fmla="*/ 0 h 361"/>
                <a:gd name="T12" fmla="*/ 15 w 150"/>
                <a:gd name="T13" fmla="*/ 0 h 361"/>
                <a:gd name="T14" fmla="*/ 12 w 150"/>
                <a:gd name="T15" fmla="*/ 2 h 361"/>
                <a:gd name="T16" fmla="*/ 9 w 150"/>
                <a:gd name="T17" fmla="*/ 2 h 361"/>
                <a:gd name="T18" fmla="*/ 7 w 150"/>
                <a:gd name="T19" fmla="*/ 4 h 361"/>
                <a:gd name="T20" fmla="*/ 4 w 150"/>
                <a:gd name="T21" fmla="*/ 5 h 361"/>
                <a:gd name="T22" fmla="*/ 2 w 150"/>
                <a:gd name="T23" fmla="*/ 8 h 361"/>
                <a:gd name="T24" fmla="*/ 1 w 150"/>
                <a:gd name="T25" fmla="*/ 10 h 361"/>
                <a:gd name="T26" fmla="*/ 0 w 150"/>
                <a:gd name="T27" fmla="*/ 13 h 361"/>
                <a:gd name="T28" fmla="*/ 0 w 150"/>
                <a:gd name="T29" fmla="*/ 15 h 361"/>
                <a:gd name="T30" fmla="*/ 0 w 150"/>
                <a:gd name="T31" fmla="*/ 346 h 361"/>
                <a:gd name="T32" fmla="*/ 0 w 150"/>
                <a:gd name="T33" fmla="*/ 348 h 361"/>
                <a:gd name="T34" fmla="*/ 1 w 150"/>
                <a:gd name="T35" fmla="*/ 351 h 361"/>
                <a:gd name="T36" fmla="*/ 2 w 150"/>
                <a:gd name="T37" fmla="*/ 353 h 361"/>
                <a:gd name="T38" fmla="*/ 4 w 150"/>
                <a:gd name="T39" fmla="*/ 356 h 361"/>
                <a:gd name="T40" fmla="*/ 7 w 150"/>
                <a:gd name="T41" fmla="*/ 358 h 361"/>
                <a:gd name="T42" fmla="*/ 9 w 150"/>
                <a:gd name="T43" fmla="*/ 360 h 361"/>
                <a:gd name="T44" fmla="*/ 12 w 150"/>
                <a:gd name="T45" fmla="*/ 360 h 361"/>
                <a:gd name="T46" fmla="*/ 15 w 150"/>
                <a:gd name="T47" fmla="*/ 361 h 361"/>
                <a:gd name="T48" fmla="*/ 135 w 150"/>
                <a:gd name="T49" fmla="*/ 361 h 361"/>
                <a:gd name="T50" fmla="*/ 137 w 150"/>
                <a:gd name="T51" fmla="*/ 360 h 361"/>
                <a:gd name="T52" fmla="*/ 140 w 150"/>
                <a:gd name="T53" fmla="*/ 359 h 361"/>
                <a:gd name="T54" fmla="*/ 143 w 150"/>
                <a:gd name="T55" fmla="*/ 358 h 361"/>
                <a:gd name="T56" fmla="*/ 146 w 150"/>
                <a:gd name="T57" fmla="*/ 356 h 361"/>
                <a:gd name="T58" fmla="*/ 147 w 150"/>
                <a:gd name="T59" fmla="*/ 353 h 361"/>
                <a:gd name="T60" fmla="*/ 149 w 150"/>
                <a:gd name="T61" fmla="*/ 351 h 361"/>
                <a:gd name="T62" fmla="*/ 149 w 150"/>
                <a:gd name="T63" fmla="*/ 348 h 361"/>
                <a:gd name="T64" fmla="*/ 150 w 150"/>
                <a:gd name="T65" fmla="*/ 346 h 361"/>
                <a:gd name="T66" fmla="*/ 150 w 150"/>
                <a:gd name="T67" fmla="*/ 15 h 361"/>
                <a:gd name="T68" fmla="*/ 149 w 150"/>
                <a:gd name="T69" fmla="*/ 13 h 361"/>
                <a:gd name="T70" fmla="*/ 149 w 150"/>
                <a:gd name="T71" fmla="*/ 10 h 361"/>
                <a:gd name="T72" fmla="*/ 147 w 150"/>
                <a:gd name="T73" fmla="*/ 8 h 361"/>
                <a:gd name="T74" fmla="*/ 146 w 150"/>
                <a:gd name="T75" fmla="*/ 5 h 361"/>
                <a:gd name="T76" fmla="*/ 143 w 150"/>
                <a:gd name="T77" fmla="*/ 4 h 361"/>
                <a:gd name="T78" fmla="*/ 140 w 150"/>
                <a:gd name="T79" fmla="*/ 2 h 361"/>
                <a:gd name="T80" fmla="*/ 137 w 150"/>
                <a:gd name="T81" fmla="*/ 2 h 361"/>
                <a:gd name="T82" fmla="*/ 135 w 150"/>
                <a:gd name="T83" fmla="*/ 0 h 361"/>
                <a:gd name="T84" fmla="*/ 135 w 150"/>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61">
                  <a:moveTo>
                    <a:pt x="120" y="331"/>
                  </a:moveTo>
                  <a:lnTo>
                    <a:pt x="30" y="331"/>
                  </a:lnTo>
                  <a:lnTo>
                    <a:pt x="30" y="30"/>
                  </a:lnTo>
                  <a:lnTo>
                    <a:pt x="120" y="30"/>
                  </a:lnTo>
                  <a:lnTo>
                    <a:pt x="120" y="331"/>
                  </a:lnTo>
                  <a:close/>
                  <a:moveTo>
                    <a:pt x="135" y="0"/>
                  </a:moveTo>
                  <a:lnTo>
                    <a:pt x="15" y="0"/>
                  </a:lnTo>
                  <a:lnTo>
                    <a:pt x="12" y="2"/>
                  </a:lnTo>
                  <a:lnTo>
                    <a:pt x="9" y="2"/>
                  </a:lnTo>
                  <a:lnTo>
                    <a:pt x="7" y="4"/>
                  </a:lnTo>
                  <a:lnTo>
                    <a:pt x="4" y="5"/>
                  </a:lnTo>
                  <a:lnTo>
                    <a:pt x="2" y="8"/>
                  </a:lnTo>
                  <a:lnTo>
                    <a:pt x="1" y="10"/>
                  </a:lnTo>
                  <a:lnTo>
                    <a:pt x="0" y="13"/>
                  </a:lnTo>
                  <a:lnTo>
                    <a:pt x="0" y="15"/>
                  </a:lnTo>
                  <a:lnTo>
                    <a:pt x="0" y="346"/>
                  </a:lnTo>
                  <a:lnTo>
                    <a:pt x="0" y="348"/>
                  </a:lnTo>
                  <a:lnTo>
                    <a:pt x="1" y="351"/>
                  </a:lnTo>
                  <a:lnTo>
                    <a:pt x="2" y="353"/>
                  </a:lnTo>
                  <a:lnTo>
                    <a:pt x="4" y="356"/>
                  </a:lnTo>
                  <a:lnTo>
                    <a:pt x="7" y="358"/>
                  </a:lnTo>
                  <a:lnTo>
                    <a:pt x="9" y="360"/>
                  </a:lnTo>
                  <a:lnTo>
                    <a:pt x="12" y="360"/>
                  </a:lnTo>
                  <a:lnTo>
                    <a:pt x="15" y="361"/>
                  </a:lnTo>
                  <a:lnTo>
                    <a:pt x="135" y="361"/>
                  </a:lnTo>
                  <a:lnTo>
                    <a:pt x="137" y="360"/>
                  </a:lnTo>
                  <a:lnTo>
                    <a:pt x="140" y="359"/>
                  </a:lnTo>
                  <a:lnTo>
                    <a:pt x="143" y="358"/>
                  </a:lnTo>
                  <a:lnTo>
                    <a:pt x="146" y="356"/>
                  </a:lnTo>
                  <a:lnTo>
                    <a:pt x="147" y="353"/>
                  </a:lnTo>
                  <a:lnTo>
                    <a:pt x="149" y="351"/>
                  </a:lnTo>
                  <a:lnTo>
                    <a:pt x="149" y="348"/>
                  </a:lnTo>
                  <a:lnTo>
                    <a:pt x="150" y="346"/>
                  </a:lnTo>
                  <a:lnTo>
                    <a:pt x="150" y="15"/>
                  </a:lnTo>
                  <a:lnTo>
                    <a:pt x="149" y="13"/>
                  </a:lnTo>
                  <a:lnTo>
                    <a:pt x="149" y="10"/>
                  </a:lnTo>
                  <a:lnTo>
                    <a:pt x="147" y="8"/>
                  </a:lnTo>
                  <a:lnTo>
                    <a:pt x="146" y="5"/>
                  </a:lnTo>
                  <a:lnTo>
                    <a:pt x="143" y="4"/>
                  </a:lnTo>
                  <a:lnTo>
                    <a:pt x="140" y="2"/>
                  </a:lnTo>
                  <a:lnTo>
                    <a:pt x="137" y="2"/>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3">
              <a:extLst>
                <a:ext uri="{FF2B5EF4-FFF2-40B4-BE49-F238E27FC236}">
                  <a16:creationId xmlns:a16="http://schemas.microsoft.com/office/drawing/2014/main" id="{6D87FF0D-4A41-4971-B97B-D06F2E7FE971}"/>
                </a:ext>
              </a:extLst>
            </p:cNvPr>
            <p:cNvSpPr>
              <a:spLocks noEditPoints="1"/>
            </p:cNvSpPr>
            <p:nvPr/>
          </p:nvSpPr>
          <p:spPr bwMode="auto">
            <a:xfrm>
              <a:off x="1584325" y="2041525"/>
              <a:ext cx="47625" cy="152400"/>
            </a:xfrm>
            <a:custGeom>
              <a:avLst/>
              <a:gdLst>
                <a:gd name="T0" fmla="*/ 120 w 150"/>
                <a:gd name="T1" fmla="*/ 450 h 480"/>
                <a:gd name="T2" fmla="*/ 30 w 150"/>
                <a:gd name="T3" fmla="*/ 450 h 480"/>
                <a:gd name="T4" fmla="*/ 30 w 150"/>
                <a:gd name="T5" fmla="*/ 30 h 480"/>
                <a:gd name="T6" fmla="*/ 120 w 150"/>
                <a:gd name="T7" fmla="*/ 30 h 480"/>
                <a:gd name="T8" fmla="*/ 120 w 150"/>
                <a:gd name="T9" fmla="*/ 450 h 480"/>
                <a:gd name="T10" fmla="*/ 135 w 150"/>
                <a:gd name="T11" fmla="*/ 0 h 480"/>
                <a:gd name="T12" fmla="*/ 15 w 150"/>
                <a:gd name="T13" fmla="*/ 0 h 480"/>
                <a:gd name="T14" fmla="*/ 12 w 150"/>
                <a:gd name="T15" fmla="*/ 1 h 480"/>
                <a:gd name="T16" fmla="*/ 8 w 150"/>
                <a:gd name="T17" fmla="*/ 1 h 480"/>
                <a:gd name="T18" fmla="*/ 6 w 150"/>
                <a:gd name="T19" fmla="*/ 3 h 480"/>
                <a:gd name="T20" fmla="*/ 4 w 150"/>
                <a:gd name="T21" fmla="*/ 4 h 480"/>
                <a:gd name="T22" fmla="*/ 2 w 150"/>
                <a:gd name="T23" fmla="*/ 6 h 480"/>
                <a:gd name="T24" fmla="*/ 1 w 150"/>
                <a:gd name="T25" fmla="*/ 9 h 480"/>
                <a:gd name="T26" fmla="*/ 0 w 150"/>
                <a:gd name="T27" fmla="*/ 12 h 480"/>
                <a:gd name="T28" fmla="*/ 0 w 150"/>
                <a:gd name="T29" fmla="*/ 15 h 480"/>
                <a:gd name="T30" fmla="*/ 0 w 150"/>
                <a:gd name="T31" fmla="*/ 465 h 480"/>
                <a:gd name="T32" fmla="*/ 0 w 150"/>
                <a:gd name="T33" fmla="*/ 467 h 480"/>
                <a:gd name="T34" fmla="*/ 1 w 150"/>
                <a:gd name="T35" fmla="*/ 470 h 480"/>
                <a:gd name="T36" fmla="*/ 2 w 150"/>
                <a:gd name="T37" fmla="*/ 472 h 480"/>
                <a:gd name="T38" fmla="*/ 4 w 150"/>
                <a:gd name="T39" fmla="*/ 475 h 480"/>
                <a:gd name="T40" fmla="*/ 6 w 150"/>
                <a:gd name="T41" fmla="*/ 477 h 480"/>
                <a:gd name="T42" fmla="*/ 8 w 150"/>
                <a:gd name="T43" fmla="*/ 479 h 480"/>
                <a:gd name="T44" fmla="*/ 12 w 150"/>
                <a:gd name="T45" fmla="*/ 479 h 480"/>
                <a:gd name="T46" fmla="*/ 15 w 150"/>
                <a:gd name="T47" fmla="*/ 480 h 480"/>
                <a:gd name="T48" fmla="*/ 135 w 150"/>
                <a:gd name="T49" fmla="*/ 480 h 480"/>
                <a:gd name="T50" fmla="*/ 138 w 150"/>
                <a:gd name="T51" fmla="*/ 479 h 480"/>
                <a:gd name="T52" fmla="*/ 140 w 150"/>
                <a:gd name="T53" fmla="*/ 478 h 480"/>
                <a:gd name="T54" fmla="*/ 143 w 150"/>
                <a:gd name="T55" fmla="*/ 477 h 480"/>
                <a:gd name="T56" fmla="*/ 145 w 150"/>
                <a:gd name="T57" fmla="*/ 475 h 480"/>
                <a:gd name="T58" fmla="*/ 146 w 150"/>
                <a:gd name="T59" fmla="*/ 472 h 480"/>
                <a:gd name="T60" fmla="*/ 148 w 150"/>
                <a:gd name="T61" fmla="*/ 470 h 480"/>
                <a:gd name="T62" fmla="*/ 148 w 150"/>
                <a:gd name="T63" fmla="*/ 467 h 480"/>
                <a:gd name="T64" fmla="*/ 150 w 150"/>
                <a:gd name="T65" fmla="*/ 465 h 480"/>
                <a:gd name="T66" fmla="*/ 150 w 150"/>
                <a:gd name="T67" fmla="*/ 15 h 480"/>
                <a:gd name="T68" fmla="*/ 148 w 150"/>
                <a:gd name="T69" fmla="*/ 11 h 480"/>
                <a:gd name="T70" fmla="*/ 148 w 150"/>
                <a:gd name="T71" fmla="*/ 9 h 480"/>
                <a:gd name="T72" fmla="*/ 146 w 150"/>
                <a:gd name="T73" fmla="*/ 6 h 480"/>
                <a:gd name="T74" fmla="*/ 145 w 150"/>
                <a:gd name="T75" fmla="*/ 4 h 480"/>
                <a:gd name="T76" fmla="*/ 143 w 150"/>
                <a:gd name="T77" fmla="*/ 3 h 480"/>
                <a:gd name="T78" fmla="*/ 140 w 150"/>
                <a:gd name="T79" fmla="*/ 1 h 480"/>
                <a:gd name="T80" fmla="*/ 138 w 150"/>
                <a:gd name="T81" fmla="*/ 1 h 480"/>
                <a:gd name="T82" fmla="*/ 135 w 150"/>
                <a:gd name="T83" fmla="*/ 0 h 480"/>
                <a:gd name="T84" fmla="*/ 135 w 150"/>
                <a:gd name="T85"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480">
                  <a:moveTo>
                    <a:pt x="120" y="450"/>
                  </a:moveTo>
                  <a:lnTo>
                    <a:pt x="30" y="450"/>
                  </a:lnTo>
                  <a:lnTo>
                    <a:pt x="30" y="30"/>
                  </a:lnTo>
                  <a:lnTo>
                    <a:pt x="120" y="30"/>
                  </a:lnTo>
                  <a:lnTo>
                    <a:pt x="120" y="450"/>
                  </a:lnTo>
                  <a:close/>
                  <a:moveTo>
                    <a:pt x="135" y="0"/>
                  </a:moveTo>
                  <a:lnTo>
                    <a:pt x="15" y="0"/>
                  </a:lnTo>
                  <a:lnTo>
                    <a:pt x="12" y="1"/>
                  </a:lnTo>
                  <a:lnTo>
                    <a:pt x="8" y="1"/>
                  </a:lnTo>
                  <a:lnTo>
                    <a:pt x="6" y="3"/>
                  </a:lnTo>
                  <a:lnTo>
                    <a:pt x="4" y="4"/>
                  </a:lnTo>
                  <a:lnTo>
                    <a:pt x="2" y="6"/>
                  </a:lnTo>
                  <a:lnTo>
                    <a:pt x="1" y="9"/>
                  </a:lnTo>
                  <a:lnTo>
                    <a:pt x="0" y="12"/>
                  </a:lnTo>
                  <a:lnTo>
                    <a:pt x="0" y="15"/>
                  </a:lnTo>
                  <a:lnTo>
                    <a:pt x="0" y="465"/>
                  </a:lnTo>
                  <a:lnTo>
                    <a:pt x="0" y="467"/>
                  </a:lnTo>
                  <a:lnTo>
                    <a:pt x="1" y="470"/>
                  </a:lnTo>
                  <a:lnTo>
                    <a:pt x="2" y="472"/>
                  </a:lnTo>
                  <a:lnTo>
                    <a:pt x="4" y="475"/>
                  </a:lnTo>
                  <a:lnTo>
                    <a:pt x="6" y="477"/>
                  </a:lnTo>
                  <a:lnTo>
                    <a:pt x="8" y="479"/>
                  </a:lnTo>
                  <a:lnTo>
                    <a:pt x="12" y="479"/>
                  </a:lnTo>
                  <a:lnTo>
                    <a:pt x="15" y="480"/>
                  </a:lnTo>
                  <a:lnTo>
                    <a:pt x="135" y="480"/>
                  </a:lnTo>
                  <a:lnTo>
                    <a:pt x="138" y="479"/>
                  </a:lnTo>
                  <a:lnTo>
                    <a:pt x="140" y="478"/>
                  </a:lnTo>
                  <a:lnTo>
                    <a:pt x="143" y="477"/>
                  </a:lnTo>
                  <a:lnTo>
                    <a:pt x="145" y="475"/>
                  </a:lnTo>
                  <a:lnTo>
                    <a:pt x="146" y="472"/>
                  </a:lnTo>
                  <a:lnTo>
                    <a:pt x="148" y="470"/>
                  </a:lnTo>
                  <a:lnTo>
                    <a:pt x="148" y="467"/>
                  </a:lnTo>
                  <a:lnTo>
                    <a:pt x="150" y="465"/>
                  </a:lnTo>
                  <a:lnTo>
                    <a:pt x="150" y="15"/>
                  </a:lnTo>
                  <a:lnTo>
                    <a:pt x="148" y="11"/>
                  </a:lnTo>
                  <a:lnTo>
                    <a:pt x="148" y="9"/>
                  </a:lnTo>
                  <a:lnTo>
                    <a:pt x="146" y="6"/>
                  </a:lnTo>
                  <a:lnTo>
                    <a:pt x="145" y="4"/>
                  </a:lnTo>
                  <a:lnTo>
                    <a:pt x="143" y="3"/>
                  </a:lnTo>
                  <a:lnTo>
                    <a:pt x="140" y="1"/>
                  </a:lnTo>
                  <a:lnTo>
                    <a:pt x="138" y="1"/>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4">
              <a:extLst>
                <a:ext uri="{FF2B5EF4-FFF2-40B4-BE49-F238E27FC236}">
                  <a16:creationId xmlns:a16="http://schemas.microsoft.com/office/drawing/2014/main" id="{8E5391F0-3C4F-4759-AEE5-85EFD71F126B}"/>
                </a:ext>
              </a:extLst>
            </p:cNvPr>
            <p:cNvSpPr>
              <a:spLocks noEditPoints="1"/>
            </p:cNvSpPr>
            <p:nvPr/>
          </p:nvSpPr>
          <p:spPr bwMode="auto">
            <a:xfrm>
              <a:off x="1641475" y="2003425"/>
              <a:ext cx="46038" cy="190500"/>
            </a:xfrm>
            <a:custGeom>
              <a:avLst/>
              <a:gdLst>
                <a:gd name="T0" fmla="*/ 119 w 149"/>
                <a:gd name="T1" fmla="*/ 570 h 600"/>
                <a:gd name="T2" fmla="*/ 29 w 149"/>
                <a:gd name="T3" fmla="*/ 570 h 600"/>
                <a:gd name="T4" fmla="*/ 29 w 149"/>
                <a:gd name="T5" fmla="*/ 30 h 600"/>
                <a:gd name="T6" fmla="*/ 119 w 149"/>
                <a:gd name="T7" fmla="*/ 30 h 600"/>
                <a:gd name="T8" fmla="*/ 119 w 149"/>
                <a:gd name="T9" fmla="*/ 570 h 600"/>
                <a:gd name="T10" fmla="*/ 134 w 149"/>
                <a:gd name="T11" fmla="*/ 0 h 600"/>
                <a:gd name="T12" fmla="*/ 14 w 149"/>
                <a:gd name="T13" fmla="*/ 0 h 600"/>
                <a:gd name="T14" fmla="*/ 11 w 149"/>
                <a:gd name="T15" fmla="*/ 0 h 600"/>
                <a:gd name="T16" fmla="*/ 8 w 149"/>
                <a:gd name="T17" fmla="*/ 1 h 600"/>
                <a:gd name="T18" fmla="*/ 6 w 149"/>
                <a:gd name="T19" fmla="*/ 3 h 600"/>
                <a:gd name="T20" fmla="*/ 4 w 149"/>
                <a:gd name="T21" fmla="*/ 4 h 600"/>
                <a:gd name="T22" fmla="*/ 2 w 149"/>
                <a:gd name="T23" fmla="*/ 6 h 600"/>
                <a:gd name="T24" fmla="*/ 1 w 149"/>
                <a:gd name="T25" fmla="*/ 9 h 600"/>
                <a:gd name="T26" fmla="*/ 0 w 149"/>
                <a:gd name="T27" fmla="*/ 12 h 600"/>
                <a:gd name="T28" fmla="*/ 0 w 149"/>
                <a:gd name="T29" fmla="*/ 15 h 600"/>
                <a:gd name="T30" fmla="*/ 0 w 149"/>
                <a:gd name="T31" fmla="*/ 585 h 600"/>
                <a:gd name="T32" fmla="*/ 0 w 149"/>
                <a:gd name="T33" fmla="*/ 587 h 600"/>
                <a:gd name="T34" fmla="*/ 1 w 149"/>
                <a:gd name="T35" fmla="*/ 590 h 600"/>
                <a:gd name="T36" fmla="*/ 2 w 149"/>
                <a:gd name="T37" fmla="*/ 592 h 600"/>
                <a:gd name="T38" fmla="*/ 4 w 149"/>
                <a:gd name="T39" fmla="*/ 595 h 600"/>
                <a:gd name="T40" fmla="*/ 6 w 149"/>
                <a:gd name="T41" fmla="*/ 597 h 600"/>
                <a:gd name="T42" fmla="*/ 8 w 149"/>
                <a:gd name="T43" fmla="*/ 599 h 600"/>
                <a:gd name="T44" fmla="*/ 11 w 149"/>
                <a:gd name="T45" fmla="*/ 599 h 600"/>
                <a:gd name="T46" fmla="*/ 14 w 149"/>
                <a:gd name="T47" fmla="*/ 600 h 600"/>
                <a:gd name="T48" fmla="*/ 134 w 149"/>
                <a:gd name="T49" fmla="*/ 600 h 600"/>
                <a:gd name="T50" fmla="*/ 137 w 149"/>
                <a:gd name="T51" fmla="*/ 599 h 600"/>
                <a:gd name="T52" fmla="*/ 140 w 149"/>
                <a:gd name="T53" fmla="*/ 598 h 600"/>
                <a:gd name="T54" fmla="*/ 143 w 149"/>
                <a:gd name="T55" fmla="*/ 597 h 600"/>
                <a:gd name="T56" fmla="*/ 145 w 149"/>
                <a:gd name="T57" fmla="*/ 595 h 600"/>
                <a:gd name="T58" fmla="*/ 147 w 149"/>
                <a:gd name="T59" fmla="*/ 592 h 600"/>
                <a:gd name="T60" fmla="*/ 148 w 149"/>
                <a:gd name="T61" fmla="*/ 590 h 600"/>
                <a:gd name="T62" fmla="*/ 149 w 149"/>
                <a:gd name="T63" fmla="*/ 587 h 600"/>
                <a:gd name="T64" fmla="*/ 149 w 149"/>
                <a:gd name="T65" fmla="*/ 585 h 600"/>
                <a:gd name="T66" fmla="*/ 149 w 149"/>
                <a:gd name="T67" fmla="*/ 15 h 600"/>
                <a:gd name="T68" fmla="*/ 149 w 149"/>
                <a:gd name="T69" fmla="*/ 12 h 600"/>
                <a:gd name="T70" fmla="*/ 148 w 149"/>
                <a:gd name="T71" fmla="*/ 9 h 600"/>
                <a:gd name="T72" fmla="*/ 147 w 149"/>
                <a:gd name="T73" fmla="*/ 6 h 600"/>
                <a:gd name="T74" fmla="*/ 145 w 149"/>
                <a:gd name="T75" fmla="*/ 4 h 600"/>
                <a:gd name="T76" fmla="*/ 143 w 149"/>
                <a:gd name="T77" fmla="*/ 3 h 600"/>
                <a:gd name="T78" fmla="*/ 140 w 149"/>
                <a:gd name="T79" fmla="*/ 1 h 600"/>
                <a:gd name="T80" fmla="*/ 137 w 149"/>
                <a:gd name="T81" fmla="*/ 1 h 600"/>
                <a:gd name="T82" fmla="*/ 134 w 149"/>
                <a:gd name="T83" fmla="*/ 0 h 600"/>
                <a:gd name="T84" fmla="*/ 134 w 149"/>
                <a:gd name="T8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00">
                  <a:moveTo>
                    <a:pt x="119" y="570"/>
                  </a:moveTo>
                  <a:lnTo>
                    <a:pt x="29" y="570"/>
                  </a:lnTo>
                  <a:lnTo>
                    <a:pt x="29" y="30"/>
                  </a:lnTo>
                  <a:lnTo>
                    <a:pt x="119" y="30"/>
                  </a:lnTo>
                  <a:lnTo>
                    <a:pt x="119" y="570"/>
                  </a:lnTo>
                  <a:close/>
                  <a:moveTo>
                    <a:pt x="134" y="0"/>
                  </a:moveTo>
                  <a:lnTo>
                    <a:pt x="14" y="0"/>
                  </a:lnTo>
                  <a:lnTo>
                    <a:pt x="11" y="0"/>
                  </a:lnTo>
                  <a:lnTo>
                    <a:pt x="8" y="1"/>
                  </a:lnTo>
                  <a:lnTo>
                    <a:pt x="6" y="3"/>
                  </a:lnTo>
                  <a:lnTo>
                    <a:pt x="4" y="4"/>
                  </a:lnTo>
                  <a:lnTo>
                    <a:pt x="2" y="6"/>
                  </a:lnTo>
                  <a:lnTo>
                    <a:pt x="1" y="9"/>
                  </a:lnTo>
                  <a:lnTo>
                    <a:pt x="0" y="12"/>
                  </a:lnTo>
                  <a:lnTo>
                    <a:pt x="0" y="15"/>
                  </a:lnTo>
                  <a:lnTo>
                    <a:pt x="0" y="585"/>
                  </a:lnTo>
                  <a:lnTo>
                    <a:pt x="0" y="587"/>
                  </a:lnTo>
                  <a:lnTo>
                    <a:pt x="1" y="590"/>
                  </a:lnTo>
                  <a:lnTo>
                    <a:pt x="2" y="592"/>
                  </a:lnTo>
                  <a:lnTo>
                    <a:pt x="4" y="595"/>
                  </a:lnTo>
                  <a:lnTo>
                    <a:pt x="6" y="597"/>
                  </a:lnTo>
                  <a:lnTo>
                    <a:pt x="8" y="599"/>
                  </a:lnTo>
                  <a:lnTo>
                    <a:pt x="11" y="599"/>
                  </a:lnTo>
                  <a:lnTo>
                    <a:pt x="14" y="600"/>
                  </a:lnTo>
                  <a:lnTo>
                    <a:pt x="134" y="600"/>
                  </a:lnTo>
                  <a:lnTo>
                    <a:pt x="137" y="599"/>
                  </a:lnTo>
                  <a:lnTo>
                    <a:pt x="140" y="598"/>
                  </a:lnTo>
                  <a:lnTo>
                    <a:pt x="143" y="597"/>
                  </a:lnTo>
                  <a:lnTo>
                    <a:pt x="145" y="595"/>
                  </a:lnTo>
                  <a:lnTo>
                    <a:pt x="147" y="592"/>
                  </a:lnTo>
                  <a:lnTo>
                    <a:pt x="148" y="590"/>
                  </a:lnTo>
                  <a:lnTo>
                    <a:pt x="149" y="587"/>
                  </a:lnTo>
                  <a:lnTo>
                    <a:pt x="149" y="585"/>
                  </a:lnTo>
                  <a:lnTo>
                    <a:pt x="149" y="15"/>
                  </a:lnTo>
                  <a:lnTo>
                    <a:pt x="149" y="12"/>
                  </a:lnTo>
                  <a:lnTo>
                    <a:pt x="148" y="9"/>
                  </a:lnTo>
                  <a:lnTo>
                    <a:pt x="147" y="6"/>
                  </a:lnTo>
                  <a:lnTo>
                    <a:pt x="145" y="4"/>
                  </a:lnTo>
                  <a:lnTo>
                    <a:pt x="143" y="3"/>
                  </a:lnTo>
                  <a:lnTo>
                    <a:pt x="140" y="1"/>
                  </a:lnTo>
                  <a:lnTo>
                    <a:pt x="137"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5">
              <a:extLst>
                <a:ext uri="{FF2B5EF4-FFF2-40B4-BE49-F238E27FC236}">
                  <a16:creationId xmlns:a16="http://schemas.microsoft.com/office/drawing/2014/main" id="{2B9DF7C2-4BB3-45DB-B337-A50D89072EC7}"/>
                </a:ext>
              </a:extLst>
            </p:cNvPr>
            <p:cNvSpPr>
              <a:spLocks noEditPoints="1"/>
            </p:cNvSpPr>
            <p:nvPr/>
          </p:nvSpPr>
          <p:spPr bwMode="auto">
            <a:xfrm>
              <a:off x="1697038" y="1965325"/>
              <a:ext cx="47625" cy="228600"/>
            </a:xfrm>
            <a:custGeom>
              <a:avLst/>
              <a:gdLst>
                <a:gd name="T0" fmla="*/ 120 w 150"/>
                <a:gd name="T1" fmla="*/ 690 h 720"/>
                <a:gd name="T2" fmla="*/ 30 w 150"/>
                <a:gd name="T3" fmla="*/ 690 h 720"/>
                <a:gd name="T4" fmla="*/ 30 w 150"/>
                <a:gd name="T5" fmla="*/ 30 h 720"/>
                <a:gd name="T6" fmla="*/ 120 w 150"/>
                <a:gd name="T7" fmla="*/ 30 h 720"/>
                <a:gd name="T8" fmla="*/ 120 w 150"/>
                <a:gd name="T9" fmla="*/ 690 h 720"/>
                <a:gd name="T10" fmla="*/ 135 w 150"/>
                <a:gd name="T11" fmla="*/ 0 h 720"/>
                <a:gd name="T12" fmla="*/ 15 w 150"/>
                <a:gd name="T13" fmla="*/ 0 h 720"/>
                <a:gd name="T14" fmla="*/ 12 w 150"/>
                <a:gd name="T15" fmla="*/ 0 h 720"/>
                <a:gd name="T16" fmla="*/ 9 w 150"/>
                <a:gd name="T17" fmla="*/ 1 h 720"/>
                <a:gd name="T18" fmla="*/ 7 w 150"/>
                <a:gd name="T19" fmla="*/ 3 h 720"/>
                <a:gd name="T20" fmla="*/ 4 w 150"/>
                <a:gd name="T21" fmla="*/ 4 h 720"/>
                <a:gd name="T22" fmla="*/ 2 w 150"/>
                <a:gd name="T23" fmla="*/ 6 h 720"/>
                <a:gd name="T24" fmla="*/ 1 w 150"/>
                <a:gd name="T25" fmla="*/ 10 h 720"/>
                <a:gd name="T26" fmla="*/ 0 w 150"/>
                <a:gd name="T27" fmla="*/ 12 h 720"/>
                <a:gd name="T28" fmla="*/ 0 w 150"/>
                <a:gd name="T29" fmla="*/ 15 h 720"/>
                <a:gd name="T30" fmla="*/ 0 w 150"/>
                <a:gd name="T31" fmla="*/ 705 h 720"/>
                <a:gd name="T32" fmla="*/ 0 w 150"/>
                <a:gd name="T33" fmla="*/ 707 h 720"/>
                <a:gd name="T34" fmla="*/ 1 w 150"/>
                <a:gd name="T35" fmla="*/ 710 h 720"/>
                <a:gd name="T36" fmla="*/ 2 w 150"/>
                <a:gd name="T37" fmla="*/ 712 h 720"/>
                <a:gd name="T38" fmla="*/ 4 w 150"/>
                <a:gd name="T39" fmla="*/ 715 h 720"/>
                <a:gd name="T40" fmla="*/ 7 w 150"/>
                <a:gd name="T41" fmla="*/ 717 h 720"/>
                <a:gd name="T42" fmla="*/ 9 w 150"/>
                <a:gd name="T43" fmla="*/ 719 h 720"/>
                <a:gd name="T44" fmla="*/ 12 w 150"/>
                <a:gd name="T45" fmla="*/ 719 h 720"/>
                <a:gd name="T46" fmla="*/ 15 w 150"/>
                <a:gd name="T47" fmla="*/ 720 h 720"/>
                <a:gd name="T48" fmla="*/ 135 w 150"/>
                <a:gd name="T49" fmla="*/ 720 h 720"/>
                <a:gd name="T50" fmla="*/ 138 w 150"/>
                <a:gd name="T51" fmla="*/ 719 h 720"/>
                <a:gd name="T52" fmla="*/ 140 w 150"/>
                <a:gd name="T53" fmla="*/ 718 h 720"/>
                <a:gd name="T54" fmla="*/ 144 w 150"/>
                <a:gd name="T55" fmla="*/ 717 h 720"/>
                <a:gd name="T56" fmla="*/ 146 w 150"/>
                <a:gd name="T57" fmla="*/ 715 h 720"/>
                <a:gd name="T58" fmla="*/ 148 w 150"/>
                <a:gd name="T59" fmla="*/ 712 h 720"/>
                <a:gd name="T60" fmla="*/ 149 w 150"/>
                <a:gd name="T61" fmla="*/ 710 h 720"/>
                <a:gd name="T62" fmla="*/ 150 w 150"/>
                <a:gd name="T63" fmla="*/ 707 h 720"/>
                <a:gd name="T64" fmla="*/ 150 w 150"/>
                <a:gd name="T65" fmla="*/ 705 h 720"/>
                <a:gd name="T66" fmla="*/ 150 w 150"/>
                <a:gd name="T67" fmla="*/ 15 h 720"/>
                <a:gd name="T68" fmla="*/ 150 w 150"/>
                <a:gd name="T69" fmla="*/ 12 h 720"/>
                <a:gd name="T70" fmla="*/ 149 w 150"/>
                <a:gd name="T71" fmla="*/ 10 h 720"/>
                <a:gd name="T72" fmla="*/ 148 w 150"/>
                <a:gd name="T73" fmla="*/ 6 h 720"/>
                <a:gd name="T74" fmla="*/ 146 w 150"/>
                <a:gd name="T75" fmla="*/ 4 h 720"/>
                <a:gd name="T76" fmla="*/ 144 w 150"/>
                <a:gd name="T77" fmla="*/ 3 h 720"/>
                <a:gd name="T78" fmla="*/ 140 w 150"/>
                <a:gd name="T79" fmla="*/ 1 h 720"/>
                <a:gd name="T80" fmla="*/ 138 w 150"/>
                <a:gd name="T81" fmla="*/ 0 h 720"/>
                <a:gd name="T82" fmla="*/ 135 w 150"/>
                <a:gd name="T83" fmla="*/ 0 h 720"/>
                <a:gd name="T84" fmla="*/ 135 w 150"/>
                <a:gd name="T8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20">
                  <a:moveTo>
                    <a:pt x="120" y="690"/>
                  </a:moveTo>
                  <a:lnTo>
                    <a:pt x="30" y="690"/>
                  </a:lnTo>
                  <a:lnTo>
                    <a:pt x="30" y="30"/>
                  </a:lnTo>
                  <a:lnTo>
                    <a:pt x="120" y="30"/>
                  </a:lnTo>
                  <a:lnTo>
                    <a:pt x="120" y="690"/>
                  </a:lnTo>
                  <a:close/>
                  <a:moveTo>
                    <a:pt x="135" y="0"/>
                  </a:moveTo>
                  <a:lnTo>
                    <a:pt x="15" y="0"/>
                  </a:lnTo>
                  <a:lnTo>
                    <a:pt x="12" y="0"/>
                  </a:lnTo>
                  <a:lnTo>
                    <a:pt x="9" y="1"/>
                  </a:lnTo>
                  <a:lnTo>
                    <a:pt x="7" y="3"/>
                  </a:lnTo>
                  <a:lnTo>
                    <a:pt x="4" y="4"/>
                  </a:lnTo>
                  <a:lnTo>
                    <a:pt x="2" y="6"/>
                  </a:lnTo>
                  <a:lnTo>
                    <a:pt x="1" y="10"/>
                  </a:lnTo>
                  <a:lnTo>
                    <a:pt x="0" y="12"/>
                  </a:lnTo>
                  <a:lnTo>
                    <a:pt x="0" y="15"/>
                  </a:lnTo>
                  <a:lnTo>
                    <a:pt x="0" y="705"/>
                  </a:lnTo>
                  <a:lnTo>
                    <a:pt x="0" y="707"/>
                  </a:lnTo>
                  <a:lnTo>
                    <a:pt x="1" y="710"/>
                  </a:lnTo>
                  <a:lnTo>
                    <a:pt x="2" y="712"/>
                  </a:lnTo>
                  <a:lnTo>
                    <a:pt x="4" y="715"/>
                  </a:lnTo>
                  <a:lnTo>
                    <a:pt x="7" y="717"/>
                  </a:lnTo>
                  <a:lnTo>
                    <a:pt x="9" y="719"/>
                  </a:lnTo>
                  <a:lnTo>
                    <a:pt x="12" y="719"/>
                  </a:lnTo>
                  <a:lnTo>
                    <a:pt x="15" y="720"/>
                  </a:lnTo>
                  <a:lnTo>
                    <a:pt x="135" y="720"/>
                  </a:lnTo>
                  <a:lnTo>
                    <a:pt x="138" y="719"/>
                  </a:lnTo>
                  <a:lnTo>
                    <a:pt x="140" y="718"/>
                  </a:lnTo>
                  <a:lnTo>
                    <a:pt x="144" y="717"/>
                  </a:lnTo>
                  <a:lnTo>
                    <a:pt x="146" y="715"/>
                  </a:lnTo>
                  <a:lnTo>
                    <a:pt x="148" y="712"/>
                  </a:lnTo>
                  <a:lnTo>
                    <a:pt x="149" y="710"/>
                  </a:lnTo>
                  <a:lnTo>
                    <a:pt x="150" y="707"/>
                  </a:lnTo>
                  <a:lnTo>
                    <a:pt x="150" y="705"/>
                  </a:lnTo>
                  <a:lnTo>
                    <a:pt x="150" y="15"/>
                  </a:lnTo>
                  <a:lnTo>
                    <a:pt x="150" y="12"/>
                  </a:lnTo>
                  <a:lnTo>
                    <a:pt x="149" y="10"/>
                  </a:lnTo>
                  <a:lnTo>
                    <a:pt x="148" y="6"/>
                  </a:lnTo>
                  <a:lnTo>
                    <a:pt x="146" y="4"/>
                  </a:lnTo>
                  <a:lnTo>
                    <a:pt x="144" y="3"/>
                  </a:lnTo>
                  <a:lnTo>
                    <a:pt x="140" y="1"/>
                  </a:lnTo>
                  <a:lnTo>
                    <a:pt x="138"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5" name="Gruppieren 1174">
            <a:extLst>
              <a:ext uri="{FF2B5EF4-FFF2-40B4-BE49-F238E27FC236}">
                <a16:creationId xmlns:a16="http://schemas.microsoft.com/office/drawing/2014/main" id="{68D746EE-F0D6-4C40-9587-6E0807A61988}"/>
              </a:ext>
            </a:extLst>
          </p:cNvPr>
          <p:cNvGrpSpPr>
            <a:grpSpLocks noChangeAspect="1"/>
          </p:cNvGrpSpPr>
          <p:nvPr/>
        </p:nvGrpSpPr>
        <p:grpSpPr>
          <a:xfrm>
            <a:off x="2736259" y="5956111"/>
            <a:ext cx="285619" cy="285619"/>
            <a:chOff x="3174198" y="6317331"/>
            <a:chExt cx="360000" cy="360000"/>
          </a:xfrm>
          <a:solidFill>
            <a:schemeClr val="bg2"/>
          </a:solidFill>
        </p:grpSpPr>
        <p:sp>
          <p:nvSpPr>
            <p:cNvPr id="1176" name="Freeform 5">
              <a:extLst>
                <a:ext uri="{FF2B5EF4-FFF2-40B4-BE49-F238E27FC236}">
                  <a16:creationId xmlns:a16="http://schemas.microsoft.com/office/drawing/2014/main" id="{0B478D92-0F2A-45BD-B7C2-EF6FFC024C0B}"/>
                </a:ext>
              </a:extLst>
            </p:cNvPr>
            <p:cNvSpPr>
              <a:spLocks noEditPoints="1"/>
            </p:cNvSpPr>
            <p:nvPr/>
          </p:nvSpPr>
          <p:spPr bwMode="auto">
            <a:xfrm>
              <a:off x="3241912" y="6403903"/>
              <a:ext cx="224571" cy="186857"/>
            </a:xfrm>
            <a:custGeom>
              <a:avLst/>
              <a:gdLst>
                <a:gd name="T0" fmla="*/ 693 w 1111"/>
                <a:gd name="T1" fmla="*/ 924 h 924"/>
                <a:gd name="T2" fmla="*/ 370 w 1111"/>
                <a:gd name="T3" fmla="*/ 924 h 924"/>
                <a:gd name="T4" fmla="*/ 349 w 1111"/>
                <a:gd name="T5" fmla="*/ 911 h 924"/>
                <a:gd name="T6" fmla="*/ 352 w 1111"/>
                <a:gd name="T7" fmla="*/ 886 h 924"/>
                <a:gd name="T8" fmla="*/ 597 w 1111"/>
                <a:gd name="T9" fmla="*/ 601 h 924"/>
                <a:gd name="T10" fmla="*/ 23 w 1111"/>
                <a:gd name="T11" fmla="*/ 601 h 924"/>
                <a:gd name="T12" fmla="*/ 0 w 1111"/>
                <a:gd name="T13" fmla="*/ 578 h 924"/>
                <a:gd name="T14" fmla="*/ 0 w 1111"/>
                <a:gd name="T15" fmla="*/ 347 h 924"/>
                <a:gd name="T16" fmla="*/ 23 w 1111"/>
                <a:gd name="T17" fmla="*/ 323 h 924"/>
                <a:gd name="T18" fmla="*/ 597 w 1111"/>
                <a:gd name="T19" fmla="*/ 323 h 924"/>
                <a:gd name="T20" fmla="*/ 352 w 1111"/>
                <a:gd name="T21" fmla="*/ 38 h 924"/>
                <a:gd name="T22" fmla="*/ 349 w 1111"/>
                <a:gd name="T23" fmla="*/ 13 h 924"/>
                <a:gd name="T24" fmla="*/ 370 w 1111"/>
                <a:gd name="T25" fmla="*/ 0 h 924"/>
                <a:gd name="T26" fmla="*/ 693 w 1111"/>
                <a:gd name="T27" fmla="*/ 0 h 924"/>
                <a:gd name="T28" fmla="*/ 710 w 1111"/>
                <a:gd name="T29" fmla="*/ 8 h 924"/>
                <a:gd name="T30" fmla="*/ 1103 w 1111"/>
                <a:gd name="T31" fmla="*/ 447 h 924"/>
                <a:gd name="T32" fmla="*/ 1103 w 1111"/>
                <a:gd name="T33" fmla="*/ 477 h 924"/>
                <a:gd name="T34" fmla="*/ 710 w 1111"/>
                <a:gd name="T35" fmla="*/ 916 h 924"/>
                <a:gd name="T36" fmla="*/ 693 w 1111"/>
                <a:gd name="T37" fmla="*/ 924 h 924"/>
                <a:gd name="T38" fmla="*/ 420 w 1111"/>
                <a:gd name="T39" fmla="*/ 878 h 924"/>
                <a:gd name="T40" fmla="*/ 683 w 1111"/>
                <a:gd name="T41" fmla="*/ 878 h 924"/>
                <a:gd name="T42" fmla="*/ 1055 w 1111"/>
                <a:gd name="T43" fmla="*/ 462 h 924"/>
                <a:gd name="T44" fmla="*/ 683 w 1111"/>
                <a:gd name="T45" fmla="*/ 46 h 924"/>
                <a:gd name="T46" fmla="*/ 420 w 1111"/>
                <a:gd name="T47" fmla="*/ 46 h 924"/>
                <a:gd name="T48" fmla="*/ 665 w 1111"/>
                <a:gd name="T49" fmla="*/ 331 h 924"/>
                <a:gd name="T50" fmla="*/ 668 w 1111"/>
                <a:gd name="T51" fmla="*/ 356 h 924"/>
                <a:gd name="T52" fmla="*/ 647 w 1111"/>
                <a:gd name="T53" fmla="*/ 370 h 924"/>
                <a:gd name="T54" fmla="*/ 46 w 1111"/>
                <a:gd name="T55" fmla="*/ 370 h 924"/>
                <a:gd name="T56" fmla="*/ 46 w 1111"/>
                <a:gd name="T57" fmla="*/ 554 h 924"/>
                <a:gd name="T58" fmla="*/ 647 w 1111"/>
                <a:gd name="T59" fmla="*/ 554 h 924"/>
                <a:gd name="T60" fmla="*/ 668 w 1111"/>
                <a:gd name="T61" fmla="*/ 568 h 924"/>
                <a:gd name="T62" fmla="*/ 665 w 1111"/>
                <a:gd name="T63" fmla="*/ 593 h 924"/>
                <a:gd name="T64" fmla="*/ 420 w 1111"/>
                <a:gd name="T65" fmla="*/ 878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1" h="924">
                  <a:moveTo>
                    <a:pt x="693" y="924"/>
                  </a:moveTo>
                  <a:cubicBezTo>
                    <a:pt x="370" y="924"/>
                    <a:pt x="370" y="924"/>
                    <a:pt x="370" y="924"/>
                  </a:cubicBezTo>
                  <a:cubicBezTo>
                    <a:pt x="361" y="924"/>
                    <a:pt x="353" y="919"/>
                    <a:pt x="349" y="911"/>
                  </a:cubicBezTo>
                  <a:cubicBezTo>
                    <a:pt x="345" y="902"/>
                    <a:pt x="346" y="893"/>
                    <a:pt x="352" y="886"/>
                  </a:cubicBezTo>
                  <a:cubicBezTo>
                    <a:pt x="597" y="601"/>
                    <a:pt x="597" y="601"/>
                    <a:pt x="597" y="601"/>
                  </a:cubicBezTo>
                  <a:cubicBezTo>
                    <a:pt x="23" y="601"/>
                    <a:pt x="23" y="601"/>
                    <a:pt x="23" y="601"/>
                  </a:cubicBezTo>
                  <a:cubicBezTo>
                    <a:pt x="11" y="601"/>
                    <a:pt x="0" y="590"/>
                    <a:pt x="0" y="578"/>
                  </a:cubicBezTo>
                  <a:cubicBezTo>
                    <a:pt x="0" y="347"/>
                    <a:pt x="0" y="347"/>
                    <a:pt x="0" y="347"/>
                  </a:cubicBezTo>
                  <a:cubicBezTo>
                    <a:pt x="0" y="334"/>
                    <a:pt x="11" y="323"/>
                    <a:pt x="23" y="323"/>
                  </a:cubicBezTo>
                  <a:cubicBezTo>
                    <a:pt x="597" y="323"/>
                    <a:pt x="597" y="323"/>
                    <a:pt x="597" y="323"/>
                  </a:cubicBezTo>
                  <a:cubicBezTo>
                    <a:pt x="352" y="38"/>
                    <a:pt x="352" y="38"/>
                    <a:pt x="352" y="38"/>
                  </a:cubicBezTo>
                  <a:cubicBezTo>
                    <a:pt x="346" y="31"/>
                    <a:pt x="345" y="22"/>
                    <a:pt x="349" y="13"/>
                  </a:cubicBezTo>
                  <a:cubicBezTo>
                    <a:pt x="353" y="5"/>
                    <a:pt x="361" y="0"/>
                    <a:pt x="370" y="0"/>
                  </a:cubicBezTo>
                  <a:cubicBezTo>
                    <a:pt x="693" y="0"/>
                    <a:pt x="693" y="0"/>
                    <a:pt x="693" y="0"/>
                  </a:cubicBezTo>
                  <a:cubicBezTo>
                    <a:pt x="700" y="0"/>
                    <a:pt x="706" y="3"/>
                    <a:pt x="710" y="8"/>
                  </a:cubicBezTo>
                  <a:cubicBezTo>
                    <a:pt x="1103" y="447"/>
                    <a:pt x="1103" y="447"/>
                    <a:pt x="1103" y="447"/>
                  </a:cubicBezTo>
                  <a:cubicBezTo>
                    <a:pt x="1111" y="455"/>
                    <a:pt x="1111" y="469"/>
                    <a:pt x="1103" y="477"/>
                  </a:cubicBezTo>
                  <a:cubicBezTo>
                    <a:pt x="710" y="916"/>
                    <a:pt x="710" y="916"/>
                    <a:pt x="710" y="916"/>
                  </a:cubicBezTo>
                  <a:cubicBezTo>
                    <a:pt x="706" y="921"/>
                    <a:pt x="700" y="924"/>
                    <a:pt x="693" y="924"/>
                  </a:cubicBezTo>
                  <a:close/>
                  <a:moveTo>
                    <a:pt x="420" y="878"/>
                  </a:moveTo>
                  <a:cubicBezTo>
                    <a:pt x="683" y="878"/>
                    <a:pt x="683" y="878"/>
                    <a:pt x="683" y="878"/>
                  </a:cubicBezTo>
                  <a:cubicBezTo>
                    <a:pt x="1055" y="462"/>
                    <a:pt x="1055" y="462"/>
                    <a:pt x="1055" y="462"/>
                  </a:cubicBezTo>
                  <a:cubicBezTo>
                    <a:pt x="683" y="46"/>
                    <a:pt x="683" y="46"/>
                    <a:pt x="683" y="46"/>
                  </a:cubicBezTo>
                  <a:cubicBezTo>
                    <a:pt x="420" y="46"/>
                    <a:pt x="420" y="46"/>
                    <a:pt x="420" y="46"/>
                  </a:cubicBezTo>
                  <a:cubicBezTo>
                    <a:pt x="665" y="331"/>
                    <a:pt x="665" y="331"/>
                    <a:pt x="665" y="331"/>
                  </a:cubicBezTo>
                  <a:cubicBezTo>
                    <a:pt x="670" y="338"/>
                    <a:pt x="672" y="348"/>
                    <a:pt x="668" y="356"/>
                  </a:cubicBezTo>
                  <a:cubicBezTo>
                    <a:pt x="664" y="364"/>
                    <a:pt x="656" y="370"/>
                    <a:pt x="647" y="370"/>
                  </a:cubicBezTo>
                  <a:cubicBezTo>
                    <a:pt x="46" y="370"/>
                    <a:pt x="46" y="370"/>
                    <a:pt x="46" y="370"/>
                  </a:cubicBezTo>
                  <a:cubicBezTo>
                    <a:pt x="46" y="554"/>
                    <a:pt x="46" y="554"/>
                    <a:pt x="46" y="554"/>
                  </a:cubicBezTo>
                  <a:cubicBezTo>
                    <a:pt x="647" y="554"/>
                    <a:pt x="647" y="554"/>
                    <a:pt x="647" y="554"/>
                  </a:cubicBezTo>
                  <a:cubicBezTo>
                    <a:pt x="656" y="554"/>
                    <a:pt x="664" y="560"/>
                    <a:pt x="668" y="568"/>
                  </a:cubicBezTo>
                  <a:cubicBezTo>
                    <a:pt x="672" y="576"/>
                    <a:pt x="670" y="586"/>
                    <a:pt x="665" y="593"/>
                  </a:cubicBezTo>
                  <a:lnTo>
                    <a:pt x="420" y="8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77" name="Freeform 407">
              <a:extLst>
                <a:ext uri="{FF2B5EF4-FFF2-40B4-BE49-F238E27FC236}">
                  <a16:creationId xmlns:a16="http://schemas.microsoft.com/office/drawing/2014/main" id="{5FE10082-661C-4750-A99B-D69A4C8C860B}"/>
                </a:ext>
              </a:extLst>
            </p:cNvPr>
            <p:cNvSpPr>
              <a:spLocks noEditPoints="1"/>
            </p:cNvSpPr>
            <p:nvPr/>
          </p:nvSpPr>
          <p:spPr bwMode="auto">
            <a:xfrm>
              <a:off x="3174198" y="6317331"/>
              <a:ext cx="360000" cy="360000"/>
            </a:xfrm>
            <a:custGeom>
              <a:avLst/>
              <a:gdLst>
                <a:gd name="T0" fmla="*/ 242 w 597"/>
                <a:gd name="T1" fmla="*/ 25 h 596"/>
                <a:gd name="T2" fmla="*/ 179 w 597"/>
                <a:gd name="T3" fmla="*/ 48 h 596"/>
                <a:gd name="T4" fmla="*/ 123 w 597"/>
                <a:gd name="T5" fmla="*/ 83 h 596"/>
                <a:gd name="T6" fmla="*/ 76 w 597"/>
                <a:gd name="T7" fmla="*/ 132 h 596"/>
                <a:gd name="T8" fmla="*/ 43 w 597"/>
                <a:gd name="T9" fmla="*/ 190 h 596"/>
                <a:gd name="T10" fmla="*/ 24 w 597"/>
                <a:gd name="T11" fmla="*/ 256 h 596"/>
                <a:gd name="T12" fmla="*/ 22 w 597"/>
                <a:gd name="T13" fmla="*/ 326 h 596"/>
                <a:gd name="T14" fmla="*/ 37 w 597"/>
                <a:gd name="T15" fmla="*/ 393 h 596"/>
                <a:gd name="T16" fmla="*/ 69 w 597"/>
                <a:gd name="T17" fmla="*/ 454 h 596"/>
                <a:gd name="T18" fmla="*/ 112 w 597"/>
                <a:gd name="T19" fmla="*/ 503 h 596"/>
                <a:gd name="T20" fmla="*/ 167 w 597"/>
                <a:gd name="T21" fmla="*/ 542 h 596"/>
                <a:gd name="T22" fmla="*/ 229 w 597"/>
                <a:gd name="T23" fmla="*/ 567 h 596"/>
                <a:gd name="T24" fmla="*/ 299 w 597"/>
                <a:gd name="T25" fmla="*/ 576 h 596"/>
                <a:gd name="T26" fmla="*/ 369 w 597"/>
                <a:gd name="T27" fmla="*/ 567 h 596"/>
                <a:gd name="T28" fmla="*/ 431 w 597"/>
                <a:gd name="T29" fmla="*/ 542 h 596"/>
                <a:gd name="T30" fmla="*/ 485 w 597"/>
                <a:gd name="T31" fmla="*/ 503 h 596"/>
                <a:gd name="T32" fmla="*/ 530 w 597"/>
                <a:gd name="T33" fmla="*/ 454 h 596"/>
                <a:gd name="T34" fmla="*/ 560 w 597"/>
                <a:gd name="T35" fmla="*/ 393 h 596"/>
                <a:gd name="T36" fmla="*/ 575 w 597"/>
                <a:gd name="T37" fmla="*/ 326 h 596"/>
                <a:gd name="T38" fmla="*/ 574 w 597"/>
                <a:gd name="T39" fmla="*/ 256 h 596"/>
                <a:gd name="T40" fmla="*/ 554 w 597"/>
                <a:gd name="T41" fmla="*/ 190 h 596"/>
                <a:gd name="T42" fmla="*/ 522 w 597"/>
                <a:gd name="T43" fmla="*/ 132 h 596"/>
                <a:gd name="T44" fmla="*/ 476 w 597"/>
                <a:gd name="T45" fmla="*/ 83 h 596"/>
                <a:gd name="T46" fmla="*/ 420 w 597"/>
                <a:gd name="T47" fmla="*/ 48 h 596"/>
                <a:gd name="T48" fmla="*/ 355 w 597"/>
                <a:gd name="T49" fmla="*/ 25 h 596"/>
                <a:gd name="T50" fmla="*/ 299 w 597"/>
                <a:gd name="T51" fmla="*/ 596 h 596"/>
                <a:gd name="T52" fmla="*/ 224 w 597"/>
                <a:gd name="T53" fmla="*/ 587 h 596"/>
                <a:gd name="T54" fmla="*/ 157 w 597"/>
                <a:gd name="T55" fmla="*/ 560 h 596"/>
                <a:gd name="T56" fmla="*/ 99 w 597"/>
                <a:gd name="T57" fmla="*/ 519 h 596"/>
                <a:gd name="T58" fmla="*/ 52 w 597"/>
                <a:gd name="T59" fmla="*/ 465 h 596"/>
                <a:gd name="T60" fmla="*/ 19 w 597"/>
                <a:gd name="T61" fmla="*/ 400 h 596"/>
                <a:gd name="T62" fmla="*/ 3 w 597"/>
                <a:gd name="T63" fmla="*/ 328 h 596"/>
                <a:gd name="T64" fmla="*/ 5 w 597"/>
                <a:gd name="T65" fmla="*/ 253 h 596"/>
                <a:gd name="T66" fmla="*/ 24 w 597"/>
                <a:gd name="T67" fmla="*/ 182 h 596"/>
                <a:gd name="T68" fmla="*/ 60 w 597"/>
                <a:gd name="T69" fmla="*/ 120 h 596"/>
                <a:gd name="T70" fmla="*/ 110 w 597"/>
                <a:gd name="T71" fmla="*/ 68 h 596"/>
                <a:gd name="T72" fmla="*/ 170 w 597"/>
                <a:gd name="T73" fmla="*/ 29 h 596"/>
                <a:gd name="T74" fmla="*/ 239 w 597"/>
                <a:gd name="T75" fmla="*/ 6 h 596"/>
                <a:gd name="T76" fmla="*/ 314 w 597"/>
                <a:gd name="T77" fmla="*/ 0 h 596"/>
                <a:gd name="T78" fmla="*/ 387 w 597"/>
                <a:gd name="T79" fmla="*/ 13 h 596"/>
                <a:gd name="T80" fmla="*/ 453 w 597"/>
                <a:gd name="T81" fmla="*/ 43 h 596"/>
                <a:gd name="T82" fmla="*/ 509 w 597"/>
                <a:gd name="T83" fmla="*/ 88 h 596"/>
                <a:gd name="T84" fmla="*/ 553 w 597"/>
                <a:gd name="T85" fmla="*/ 144 h 596"/>
                <a:gd name="T86" fmla="*/ 584 w 597"/>
                <a:gd name="T87" fmla="*/ 210 h 596"/>
                <a:gd name="T88" fmla="*/ 597 w 597"/>
                <a:gd name="T89" fmla="*/ 282 h 596"/>
                <a:gd name="T90" fmla="*/ 591 w 597"/>
                <a:gd name="T91" fmla="*/ 358 h 596"/>
                <a:gd name="T92" fmla="*/ 567 w 597"/>
                <a:gd name="T93" fmla="*/ 427 h 596"/>
                <a:gd name="T94" fmla="*/ 529 w 597"/>
                <a:gd name="T95" fmla="*/ 487 h 596"/>
                <a:gd name="T96" fmla="*/ 477 w 597"/>
                <a:gd name="T97" fmla="*/ 537 h 596"/>
                <a:gd name="T98" fmla="*/ 415 w 597"/>
                <a:gd name="T99" fmla="*/ 573 h 596"/>
                <a:gd name="T100" fmla="*/ 344 w 597"/>
                <a:gd name="T101" fmla="*/ 59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7" h="596">
                  <a:moveTo>
                    <a:pt x="299" y="20"/>
                  </a:moveTo>
                  <a:lnTo>
                    <a:pt x="285" y="21"/>
                  </a:lnTo>
                  <a:lnTo>
                    <a:pt x="270" y="22"/>
                  </a:lnTo>
                  <a:lnTo>
                    <a:pt x="256" y="23"/>
                  </a:lnTo>
                  <a:lnTo>
                    <a:pt x="242" y="25"/>
                  </a:lnTo>
                  <a:lnTo>
                    <a:pt x="229" y="28"/>
                  </a:lnTo>
                  <a:lnTo>
                    <a:pt x="216" y="33"/>
                  </a:lnTo>
                  <a:lnTo>
                    <a:pt x="204" y="37"/>
                  </a:lnTo>
                  <a:lnTo>
                    <a:pt x="191" y="41"/>
                  </a:lnTo>
                  <a:lnTo>
                    <a:pt x="179" y="48"/>
                  </a:lnTo>
                  <a:lnTo>
                    <a:pt x="167" y="53"/>
                  </a:lnTo>
                  <a:lnTo>
                    <a:pt x="155" y="61"/>
                  </a:lnTo>
                  <a:lnTo>
                    <a:pt x="143" y="67"/>
                  </a:lnTo>
                  <a:lnTo>
                    <a:pt x="132" y="75"/>
                  </a:lnTo>
                  <a:lnTo>
                    <a:pt x="123" y="83"/>
                  </a:lnTo>
                  <a:lnTo>
                    <a:pt x="112" y="92"/>
                  </a:lnTo>
                  <a:lnTo>
                    <a:pt x="102" y="102"/>
                  </a:lnTo>
                  <a:lnTo>
                    <a:pt x="93" y="111"/>
                  </a:lnTo>
                  <a:lnTo>
                    <a:pt x="85" y="121"/>
                  </a:lnTo>
                  <a:lnTo>
                    <a:pt x="76" y="132"/>
                  </a:lnTo>
                  <a:lnTo>
                    <a:pt x="69" y="143"/>
                  </a:lnTo>
                  <a:lnTo>
                    <a:pt x="61" y="153"/>
                  </a:lnTo>
                  <a:lnTo>
                    <a:pt x="54" y="165"/>
                  </a:lnTo>
                  <a:lnTo>
                    <a:pt x="48" y="177"/>
                  </a:lnTo>
                  <a:lnTo>
                    <a:pt x="43" y="190"/>
                  </a:lnTo>
                  <a:lnTo>
                    <a:pt x="37" y="202"/>
                  </a:lnTo>
                  <a:lnTo>
                    <a:pt x="33" y="215"/>
                  </a:lnTo>
                  <a:lnTo>
                    <a:pt x="30" y="228"/>
                  </a:lnTo>
                  <a:lnTo>
                    <a:pt x="26" y="242"/>
                  </a:lnTo>
                  <a:lnTo>
                    <a:pt x="24" y="256"/>
                  </a:lnTo>
                  <a:lnTo>
                    <a:pt x="22" y="269"/>
                  </a:lnTo>
                  <a:lnTo>
                    <a:pt x="21" y="283"/>
                  </a:lnTo>
                  <a:lnTo>
                    <a:pt x="21" y="298"/>
                  </a:lnTo>
                  <a:lnTo>
                    <a:pt x="21" y="312"/>
                  </a:lnTo>
                  <a:lnTo>
                    <a:pt x="22" y="326"/>
                  </a:lnTo>
                  <a:lnTo>
                    <a:pt x="24" y="340"/>
                  </a:lnTo>
                  <a:lnTo>
                    <a:pt x="26" y="353"/>
                  </a:lnTo>
                  <a:lnTo>
                    <a:pt x="30" y="367"/>
                  </a:lnTo>
                  <a:lnTo>
                    <a:pt x="33" y="380"/>
                  </a:lnTo>
                  <a:lnTo>
                    <a:pt x="37" y="393"/>
                  </a:lnTo>
                  <a:lnTo>
                    <a:pt x="43" y="406"/>
                  </a:lnTo>
                  <a:lnTo>
                    <a:pt x="48" y="418"/>
                  </a:lnTo>
                  <a:lnTo>
                    <a:pt x="54" y="430"/>
                  </a:lnTo>
                  <a:lnTo>
                    <a:pt x="61" y="442"/>
                  </a:lnTo>
                  <a:lnTo>
                    <a:pt x="69" y="454"/>
                  </a:lnTo>
                  <a:lnTo>
                    <a:pt x="76" y="465"/>
                  </a:lnTo>
                  <a:lnTo>
                    <a:pt x="85" y="474"/>
                  </a:lnTo>
                  <a:lnTo>
                    <a:pt x="93" y="485"/>
                  </a:lnTo>
                  <a:lnTo>
                    <a:pt x="102" y="495"/>
                  </a:lnTo>
                  <a:lnTo>
                    <a:pt x="112" y="503"/>
                  </a:lnTo>
                  <a:lnTo>
                    <a:pt x="123" y="512"/>
                  </a:lnTo>
                  <a:lnTo>
                    <a:pt x="132" y="521"/>
                  </a:lnTo>
                  <a:lnTo>
                    <a:pt x="143" y="528"/>
                  </a:lnTo>
                  <a:lnTo>
                    <a:pt x="155" y="536"/>
                  </a:lnTo>
                  <a:lnTo>
                    <a:pt x="167" y="542"/>
                  </a:lnTo>
                  <a:lnTo>
                    <a:pt x="179" y="549"/>
                  </a:lnTo>
                  <a:lnTo>
                    <a:pt x="191" y="554"/>
                  </a:lnTo>
                  <a:lnTo>
                    <a:pt x="204" y="558"/>
                  </a:lnTo>
                  <a:lnTo>
                    <a:pt x="216" y="564"/>
                  </a:lnTo>
                  <a:lnTo>
                    <a:pt x="229" y="567"/>
                  </a:lnTo>
                  <a:lnTo>
                    <a:pt x="242" y="570"/>
                  </a:lnTo>
                  <a:lnTo>
                    <a:pt x="256" y="573"/>
                  </a:lnTo>
                  <a:lnTo>
                    <a:pt x="270" y="575"/>
                  </a:lnTo>
                  <a:lnTo>
                    <a:pt x="285" y="576"/>
                  </a:lnTo>
                  <a:lnTo>
                    <a:pt x="299" y="576"/>
                  </a:lnTo>
                  <a:lnTo>
                    <a:pt x="314" y="576"/>
                  </a:lnTo>
                  <a:lnTo>
                    <a:pt x="328" y="575"/>
                  </a:lnTo>
                  <a:lnTo>
                    <a:pt x="341" y="573"/>
                  </a:lnTo>
                  <a:lnTo>
                    <a:pt x="355" y="570"/>
                  </a:lnTo>
                  <a:lnTo>
                    <a:pt x="369" y="567"/>
                  </a:lnTo>
                  <a:lnTo>
                    <a:pt x="382" y="564"/>
                  </a:lnTo>
                  <a:lnTo>
                    <a:pt x="395" y="558"/>
                  </a:lnTo>
                  <a:lnTo>
                    <a:pt x="407" y="554"/>
                  </a:lnTo>
                  <a:lnTo>
                    <a:pt x="420" y="549"/>
                  </a:lnTo>
                  <a:lnTo>
                    <a:pt x="431" y="542"/>
                  </a:lnTo>
                  <a:lnTo>
                    <a:pt x="443" y="536"/>
                  </a:lnTo>
                  <a:lnTo>
                    <a:pt x="454" y="528"/>
                  </a:lnTo>
                  <a:lnTo>
                    <a:pt x="465" y="521"/>
                  </a:lnTo>
                  <a:lnTo>
                    <a:pt x="476" y="512"/>
                  </a:lnTo>
                  <a:lnTo>
                    <a:pt x="485" y="503"/>
                  </a:lnTo>
                  <a:lnTo>
                    <a:pt x="495" y="495"/>
                  </a:lnTo>
                  <a:lnTo>
                    <a:pt x="505" y="485"/>
                  </a:lnTo>
                  <a:lnTo>
                    <a:pt x="513" y="474"/>
                  </a:lnTo>
                  <a:lnTo>
                    <a:pt x="522" y="465"/>
                  </a:lnTo>
                  <a:lnTo>
                    <a:pt x="530" y="454"/>
                  </a:lnTo>
                  <a:lnTo>
                    <a:pt x="536" y="442"/>
                  </a:lnTo>
                  <a:lnTo>
                    <a:pt x="544" y="430"/>
                  </a:lnTo>
                  <a:lnTo>
                    <a:pt x="549" y="418"/>
                  </a:lnTo>
                  <a:lnTo>
                    <a:pt x="554" y="406"/>
                  </a:lnTo>
                  <a:lnTo>
                    <a:pt x="560" y="393"/>
                  </a:lnTo>
                  <a:lnTo>
                    <a:pt x="564" y="380"/>
                  </a:lnTo>
                  <a:lnTo>
                    <a:pt x="569" y="367"/>
                  </a:lnTo>
                  <a:lnTo>
                    <a:pt x="572" y="353"/>
                  </a:lnTo>
                  <a:lnTo>
                    <a:pt x="574" y="340"/>
                  </a:lnTo>
                  <a:lnTo>
                    <a:pt x="575" y="326"/>
                  </a:lnTo>
                  <a:lnTo>
                    <a:pt x="576" y="312"/>
                  </a:lnTo>
                  <a:lnTo>
                    <a:pt x="577" y="298"/>
                  </a:lnTo>
                  <a:lnTo>
                    <a:pt x="576" y="283"/>
                  </a:lnTo>
                  <a:lnTo>
                    <a:pt x="575" y="269"/>
                  </a:lnTo>
                  <a:lnTo>
                    <a:pt x="574" y="256"/>
                  </a:lnTo>
                  <a:lnTo>
                    <a:pt x="572" y="242"/>
                  </a:lnTo>
                  <a:lnTo>
                    <a:pt x="569" y="228"/>
                  </a:lnTo>
                  <a:lnTo>
                    <a:pt x="564" y="215"/>
                  </a:lnTo>
                  <a:lnTo>
                    <a:pt x="560" y="202"/>
                  </a:lnTo>
                  <a:lnTo>
                    <a:pt x="554" y="190"/>
                  </a:lnTo>
                  <a:lnTo>
                    <a:pt x="549" y="177"/>
                  </a:lnTo>
                  <a:lnTo>
                    <a:pt x="544" y="165"/>
                  </a:lnTo>
                  <a:lnTo>
                    <a:pt x="536" y="153"/>
                  </a:lnTo>
                  <a:lnTo>
                    <a:pt x="530" y="143"/>
                  </a:lnTo>
                  <a:lnTo>
                    <a:pt x="522" y="132"/>
                  </a:lnTo>
                  <a:lnTo>
                    <a:pt x="513" y="121"/>
                  </a:lnTo>
                  <a:lnTo>
                    <a:pt x="505" y="111"/>
                  </a:lnTo>
                  <a:lnTo>
                    <a:pt x="495" y="102"/>
                  </a:lnTo>
                  <a:lnTo>
                    <a:pt x="485" y="92"/>
                  </a:lnTo>
                  <a:lnTo>
                    <a:pt x="476" y="83"/>
                  </a:lnTo>
                  <a:lnTo>
                    <a:pt x="465" y="75"/>
                  </a:lnTo>
                  <a:lnTo>
                    <a:pt x="454" y="67"/>
                  </a:lnTo>
                  <a:lnTo>
                    <a:pt x="443" y="61"/>
                  </a:lnTo>
                  <a:lnTo>
                    <a:pt x="431" y="53"/>
                  </a:lnTo>
                  <a:lnTo>
                    <a:pt x="420" y="48"/>
                  </a:lnTo>
                  <a:lnTo>
                    <a:pt x="407" y="41"/>
                  </a:lnTo>
                  <a:lnTo>
                    <a:pt x="395" y="37"/>
                  </a:lnTo>
                  <a:lnTo>
                    <a:pt x="382" y="33"/>
                  </a:lnTo>
                  <a:lnTo>
                    <a:pt x="369" y="28"/>
                  </a:lnTo>
                  <a:lnTo>
                    <a:pt x="355" y="25"/>
                  </a:lnTo>
                  <a:lnTo>
                    <a:pt x="341" y="23"/>
                  </a:lnTo>
                  <a:lnTo>
                    <a:pt x="328" y="22"/>
                  </a:lnTo>
                  <a:lnTo>
                    <a:pt x="314" y="21"/>
                  </a:lnTo>
                  <a:lnTo>
                    <a:pt x="299" y="20"/>
                  </a:lnTo>
                  <a:close/>
                  <a:moveTo>
                    <a:pt x="299" y="596"/>
                  </a:moveTo>
                  <a:lnTo>
                    <a:pt x="283" y="595"/>
                  </a:lnTo>
                  <a:lnTo>
                    <a:pt x="268" y="594"/>
                  </a:lnTo>
                  <a:lnTo>
                    <a:pt x="253" y="592"/>
                  </a:lnTo>
                  <a:lnTo>
                    <a:pt x="239" y="590"/>
                  </a:lnTo>
                  <a:lnTo>
                    <a:pt x="224" y="587"/>
                  </a:lnTo>
                  <a:lnTo>
                    <a:pt x="210" y="582"/>
                  </a:lnTo>
                  <a:lnTo>
                    <a:pt x="197" y="578"/>
                  </a:lnTo>
                  <a:lnTo>
                    <a:pt x="183" y="573"/>
                  </a:lnTo>
                  <a:lnTo>
                    <a:pt x="170" y="566"/>
                  </a:lnTo>
                  <a:lnTo>
                    <a:pt x="157" y="560"/>
                  </a:lnTo>
                  <a:lnTo>
                    <a:pt x="144" y="553"/>
                  </a:lnTo>
                  <a:lnTo>
                    <a:pt x="132" y="544"/>
                  </a:lnTo>
                  <a:lnTo>
                    <a:pt x="120" y="537"/>
                  </a:lnTo>
                  <a:lnTo>
                    <a:pt x="110" y="527"/>
                  </a:lnTo>
                  <a:lnTo>
                    <a:pt x="99" y="519"/>
                  </a:lnTo>
                  <a:lnTo>
                    <a:pt x="88" y="509"/>
                  </a:lnTo>
                  <a:lnTo>
                    <a:pt x="78" y="498"/>
                  </a:lnTo>
                  <a:lnTo>
                    <a:pt x="70" y="487"/>
                  </a:lnTo>
                  <a:lnTo>
                    <a:pt x="60" y="476"/>
                  </a:lnTo>
                  <a:lnTo>
                    <a:pt x="52" y="465"/>
                  </a:lnTo>
                  <a:lnTo>
                    <a:pt x="44" y="453"/>
                  </a:lnTo>
                  <a:lnTo>
                    <a:pt x="37" y="440"/>
                  </a:lnTo>
                  <a:lnTo>
                    <a:pt x="31" y="427"/>
                  </a:lnTo>
                  <a:lnTo>
                    <a:pt x="24" y="414"/>
                  </a:lnTo>
                  <a:lnTo>
                    <a:pt x="19" y="400"/>
                  </a:lnTo>
                  <a:lnTo>
                    <a:pt x="15" y="387"/>
                  </a:lnTo>
                  <a:lnTo>
                    <a:pt x="10" y="373"/>
                  </a:lnTo>
                  <a:lnTo>
                    <a:pt x="7" y="358"/>
                  </a:lnTo>
                  <a:lnTo>
                    <a:pt x="5" y="344"/>
                  </a:lnTo>
                  <a:lnTo>
                    <a:pt x="3" y="328"/>
                  </a:lnTo>
                  <a:lnTo>
                    <a:pt x="2" y="313"/>
                  </a:lnTo>
                  <a:lnTo>
                    <a:pt x="0" y="298"/>
                  </a:lnTo>
                  <a:lnTo>
                    <a:pt x="2" y="282"/>
                  </a:lnTo>
                  <a:lnTo>
                    <a:pt x="3" y="267"/>
                  </a:lnTo>
                  <a:lnTo>
                    <a:pt x="5" y="253"/>
                  </a:lnTo>
                  <a:lnTo>
                    <a:pt x="7" y="238"/>
                  </a:lnTo>
                  <a:lnTo>
                    <a:pt x="10" y="224"/>
                  </a:lnTo>
                  <a:lnTo>
                    <a:pt x="15" y="210"/>
                  </a:lnTo>
                  <a:lnTo>
                    <a:pt x="19" y="196"/>
                  </a:lnTo>
                  <a:lnTo>
                    <a:pt x="24" y="182"/>
                  </a:lnTo>
                  <a:lnTo>
                    <a:pt x="31" y="169"/>
                  </a:lnTo>
                  <a:lnTo>
                    <a:pt x="37" y="156"/>
                  </a:lnTo>
                  <a:lnTo>
                    <a:pt x="44" y="144"/>
                  </a:lnTo>
                  <a:lnTo>
                    <a:pt x="52" y="132"/>
                  </a:lnTo>
                  <a:lnTo>
                    <a:pt x="60" y="120"/>
                  </a:lnTo>
                  <a:lnTo>
                    <a:pt x="69" y="108"/>
                  </a:lnTo>
                  <a:lnTo>
                    <a:pt x="78" y="97"/>
                  </a:lnTo>
                  <a:lnTo>
                    <a:pt x="88" y="88"/>
                  </a:lnTo>
                  <a:lnTo>
                    <a:pt x="99" y="78"/>
                  </a:lnTo>
                  <a:lnTo>
                    <a:pt x="110" y="68"/>
                  </a:lnTo>
                  <a:lnTo>
                    <a:pt x="120" y="60"/>
                  </a:lnTo>
                  <a:lnTo>
                    <a:pt x="132" y="51"/>
                  </a:lnTo>
                  <a:lnTo>
                    <a:pt x="144" y="43"/>
                  </a:lnTo>
                  <a:lnTo>
                    <a:pt x="157" y="36"/>
                  </a:lnTo>
                  <a:lnTo>
                    <a:pt x="170" y="29"/>
                  </a:lnTo>
                  <a:lnTo>
                    <a:pt x="183" y="24"/>
                  </a:lnTo>
                  <a:lnTo>
                    <a:pt x="197" y="18"/>
                  </a:lnTo>
                  <a:lnTo>
                    <a:pt x="210" y="13"/>
                  </a:lnTo>
                  <a:lnTo>
                    <a:pt x="224" y="10"/>
                  </a:lnTo>
                  <a:lnTo>
                    <a:pt x="239" y="6"/>
                  </a:lnTo>
                  <a:lnTo>
                    <a:pt x="253" y="3"/>
                  </a:lnTo>
                  <a:lnTo>
                    <a:pt x="268" y="1"/>
                  </a:lnTo>
                  <a:lnTo>
                    <a:pt x="283" y="0"/>
                  </a:lnTo>
                  <a:lnTo>
                    <a:pt x="299" y="0"/>
                  </a:lnTo>
                  <a:lnTo>
                    <a:pt x="314" y="0"/>
                  </a:lnTo>
                  <a:lnTo>
                    <a:pt x="329" y="1"/>
                  </a:lnTo>
                  <a:lnTo>
                    <a:pt x="344" y="3"/>
                  </a:lnTo>
                  <a:lnTo>
                    <a:pt x="359" y="6"/>
                  </a:lnTo>
                  <a:lnTo>
                    <a:pt x="373" y="9"/>
                  </a:lnTo>
                  <a:lnTo>
                    <a:pt x="387" y="13"/>
                  </a:lnTo>
                  <a:lnTo>
                    <a:pt x="401" y="18"/>
                  </a:lnTo>
                  <a:lnTo>
                    <a:pt x="415" y="24"/>
                  </a:lnTo>
                  <a:lnTo>
                    <a:pt x="428" y="29"/>
                  </a:lnTo>
                  <a:lnTo>
                    <a:pt x="441" y="36"/>
                  </a:lnTo>
                  <a:lnTo>
                    <a:pt x="453" y="43"/>
                  </a:lnTo>
                  <a:lnTo>
                    <a:pt x="465" y="51"/>
                  </a:lnTo>
                  <a:lnTo>
                    <a:pt x="477" y="60"/>
                  </a:lnTo>
                  <a:lnTo>
                    <a:pt x="489" y="68"/>
                  </a:lnTo>
                  <a:lnTo>
                    <a:pt x="499" y="78"/>
                  </a:lnTo>
                  <a:lnTo>
                    <a:pt x="509" y="88"/>
                  </a:lnTo>
                  <a:lnTo>
                    <a:pt x="519" y="97"/>
                  </a:lnTo>
                  <a:lnTo>
                    <a:pt x="529" y="108"/>
                  </a:lnTo>
                  <a:lnTo>
                    <a:pt x="537" y="120"/>
                  </a:lnTo>
                  <a:lnTo>
                    <a:pt x="546" y="132"/>
                  </a:lnTo>
                  <a:lnTo>
                    <a:pt x="553" y="144"/>
                  </a:lnTo>
                  <a:lnTo>
                    <a:pt x="561" y="156"/>
                  </a:lnTo>
                  <a:lnTo>
                    <a:pt x="567" y="169"/>
                  </a:lnTo>
                  <a:lnTo>
                    <a:pt x="573" y="182"/>
                  </a:lnTo>
                  <a:lnTo>
                    <a:pt x="578" y="196"/>
                  </a:lnTo>
                  <a:lnTo>
                    <a:pt x="584" y="210"/>
                  </a:lnTo>
                  <a:lnTo>
                    <a:pt x="587" y="224"/>
                  </a:lnTo>
                  <a:lnTo>
                    <a:pt x="591" y="238"/>
                  </a:lnTo>
                  <a:lnTo>
                    <a:pt x="593" y="253"/>
                  </a:lnTo>
                  <a:lnTo>
                    <a:pt x="596" y="267"/>
                  </a:lnTo>
                  <a:lnTo>
                    <a:pt x="597" y="282"/>
                  </a:lnTo>
                  <a:lnTo>
                    <a:pt x="597" y="298"/>
                  </a:lnTo>
                  <a:lnTo>
                    <a:pt x="597" y="313"/>
                  </a:lnTo>
                  <a:lnTo>
                    <a:pt x="596" y="328"/>
                  </a:lnTo>
                  <a:lnTo>
                    <a:pt x="593" y="344"/>
                  </a:lnTo>
                  <a:lnTo>
                    <a:pt x="591" y="358"/>
                  </a:lnTo>
                  <a:lnTo>
                    <a:pt x="587" y="373"/>
                  </a:lnTo>
                  <a:lnTo>
                    <a:pt x="584" y="387"/>
                  </a:lnTo>
                  <a:lnTo>
                    <a:pt x="578" y="400"/>
                  </a:lnTo>
                  <a:lnTo>
                    <a:pt x="573" y="414"/>
                  </a:lnTo>
                  <a:lnTo>
                    <a:pt x="567" y="427"/>
                  </a:lnTo>
                  <a:lnTo>
                    <a:pt x="561" y="440"/>
                  </a:lnTo>
                  <a:lnTo>
                    <a:pt x="553" y="453"/>
                  </a:lnTo>
                  <a:lnTo>
                    <a:pt x="546" y="465"/>
                  </a:lnTo>
                  <a:lnTo>
                    <a:pt x="537" y="476"/>
                  </a:lnTo>
                  <a:lnTo>
                    <a:pt x="529" y="487"/>
                  </a:lnTo>
                  <a:lnTo>
                    <a:pt x="519" y="498"/>
                  </a:lnTo>
                  <a:lnTo>
                    <a:pt x="509" y="509"/>
                  </a:lnTo>
                  <a:lnTo>
                    <a:pt x="499" y="519"/>
                  </a:lnTo>
                  <a:lnTo>
                    <a:pt x="489" y="527"/>
                  </a:lnTo>
                  <a:lnTo>
                    <a:pt x="477" y="537"/>
                  </a:lnTo>
                  <a:lnTo>
                    <a:pt x="465" y="544"/>
                  </a:lnTo>
                  <a:lnTo>
                    <a:pt x="453" y="553"/>
                  </a:lnTo>
                  <a:lnTo>
                    <a:pt x="441" y="560"/>
                  </a:lnTo>
                  <a:lnTo>
                    <a:pt x="428" y="566"/>
                  </a:lnTo>
                  <a:lnTo>
                    <a:pt x="415" y="573"/>
                  </a:lnTo>
                  <a:lnTo>
                    <a:pt x="401" y="578"/>
                  </a:lnTo>
                  <a:lnTo>
                    <a:pt x="387" y="582"/>
                  </a:lnTo>
                  <a:lnTo>
                    <a:pt x="373" y="587"/>
                  </a:lnTo>
                  <a:lnTo>
                    <a:pt x="359" y="590"/>
                  </a:lnTo>
                  <a:lnTo>
                    <a:pt x="344" y="592"/>
                  </a:lnTo>
                  <a:lnTo>
                    <a:pt x="329" y="594"/>
                  </a:lnTo>
                  <a:lnTo>
                    <a:pt x="314" y="595"/>
                  </a:lnTo>
                  <a:lnTo>
                    <a:pt x="299"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Tree>
    <p:extLst>
      <p:ext uri="{BB962C8B-B14F-4D97-AF65-F5344CB8AC3E}">
        <p14:creationId xmlns:p14="http://schemas.microsoft.com/office/powerpoint/2010/main" val="18422539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el 62"/>
          <p:cNvSpPr>
            <a:spLocks noGrp="1"/>
          </p:cNvSpPr>
          <p:nvPr>
            <p:ph type="title"/>
          </p:nvPr>
        </p:nvSpPr>
        <p:spPr/>
        <p:txBody>
          <a:bodyPr/>
          <a:lstStyle/>
          <a:p>
            <a:r>
              <a:rPr lang="de-DE" dirty="0"/>
              <a:t>Farben der Icons änderbar über „Füllbereich“</a:t>
            </a:r>
          </a:p>
        </p:txBody>
      </p:sp>
      <p:sp>
        <p:nvSpPr>
          <p:cNvPr id="2" name="Textplatzhalter 1"/>
          <p:cNvSpPr>
            <a:spLocks noGrp="1"/>
          </p:cNvSpPr>
          <p:nvPr>
            <p:ph type="body" sz="quarter" idx="13"/>
          </p:nvPr>
        </p:nvSpPr>
        <p:spPr/>
        <p:txBody>
          <a:bodyPr/>
          <a:lstStyle/>
          <a:p>
            <a:endParaRPr lang="de-DE"/>
          </a:p>
        </p:txBody>
      </p:sp>
      <p:sp>
        <p:nvSpPr>
          <p:cNvPr id="3" name="Textplatzhalter 2"/>
          <p:cNvSpPr>
            <a:spLocks noGrp="1"/>
          </p:cNvSpPr>
          <p:nvPr>
            <p:ph type="body" sz="quarter" idx="14"/>
          </p:nvPr>
        </p:nvSpPr>
        <p:spPr/>
        <p:txBody>
          <a:bodyPr/>
          <a:lstStyle/>
          <a:p>
            <a:pPr>
              <a:spcAft>
                <a:spcPts val="0"/>
              </a:spcAft>
            </a:pPr>
            <a:endParaRPr lang="de-DE"/>
          </a:p>
        </p:txBody>
      </p:sp>
      <p:sp>
        <p:nvSpPr>
          <p:cNvPr id="4" name="Datumsplatzhalter 3"/>
          <p:cNvSpPr>
            <a:spLocks noGrp="1"/>
          </p:cNvSpPr>
          <p:nvPr>
            <p:ph type="dt" sz="half" idx="2"/>
          </p:nvPr>
        </p:nvSpPr>
        <p:spPr/>
        <p:txBody>
          <a:bodyPr/>
          <a:lstStyle/>
          <a:p>
            <a:fld id="{0EEE0EC8-599B-4999-8E8A-ACA74111F0C5}" type="datetime1">
              <a:rPr lang="de-DE" smtClean="0"/>
              <a:t>04.05.2020</a:t>
            </a:fld>
            <a:endParaRPr lang="de-DE" dirty="0"/>
          </a:p>
        </p:txBody>
      </p:sp>
      <p:grpSp>
        <p:nvGrpSpPr>
          <p:cNvPr id="1124" name="Group 33">
            <a:extLst>
              <a:ext uri="{FF2B5EF4-FFF2-40B4-BE49-F238E27FC236}">
                <a16:creationId xmlns:a16="http://schemas.microsoft.com/office/drawing/2014/main" id="{C8227844-5B76-47E4-A651-CFF7E9648062}"/>
              </a:ext>
            </a:extLst>
          </p:cNvPr>
          <p:cNvGrpSpPr>
            <a:grpSpLocks noChangeAspect="1"/>
          </p:cNvGrpSpPr>
          <p:nvPr/>
        </p:nvGrpSpPr>
        <p:grpSpPr>
          <a:xfrm>
            <a:off x="3245353" y="4879041"/>
            <a:ext cx="283750" cy="285619"/>
            <a:chOff x="938566" y="6525088"/>
            <a:chExt cx="227198" cy="228694"/>
          </a:xfrm>
          <a:solidFill>
            <a:schemeClr val="bg2"/>
          </a:solidFill>
          <a:effectLst/>
        </p:grpSpPr>
        <p:sp>
          <p:nvSpPr>
            <p:cNvPr id="1125" name="Freeform 108">
              <a:extLst>
                <a:ext uri="{FF2B5EF4-FFF2-40B4-BE49-F238E27FC236}">
                  <a16:creationId xmlns:a16="http://schemas.microsoft.com/office/drawing/2014/main" id="{EDD46CD4-2DC8-4E08-BEC1-E3F34689B476}"/>
                </a:ext>
              </a:extLst>
            </p:cNvPr>
            <p:cNvSpPr>
              <a:spLocks noEditPoints="1"/>
            </p:cNvSpPr>
            <p:nvPr/>
          </p:nvSpPr>
          <p:spPr bwMode="auto">
            <a:xfrm>
              <a:off x="938566" y="6525088"/>
              <a:ext cx="227198" cy="228694"/>
            </a:xfrm>
            <a:custGeom>
              <a:avLst/>
              <a:gdLst>
                <a:gd name="T0" fmla="*/ 249 w 611"/>
                <a:gd name="T1" fmla="*/ 580 h 611"/>
                <a:gd name="T2" fmla="*/ 184 w 611"/>
                <a:gd name="T3" fmla="*/ 559 h 611"/>
                <a:gd name="T4" fmla="*/ 127 w 611"/>
                <a:gd name="T5" fmla="*/ 522 h 611"/>
                <a:gd name="T6" fmla="*/ 81 w 611"/>
                <a:gd name="T7" fmla="*/ 474 h 611"/>
                <a:gd name="T8" fmla="*/ 47 w 611"/>
                <a:gd name="T9" fmla="*/ 415 h 611"/>
                <a:gd name="T10" fmla="*/ 28 w 611"/>
                <a:gd name="T11" fmla="*/ 349 h 611"/>
                <a:gd name="T12" fmla="*/ 27 w 611"/>
                <a:gd name="T13" fmla="*/ 277 h 611"/>
                <a:gd name="T14" fmla="*/ 42 w 611"/>
                <a:gd name="T15" fmla="*/ 210 h 611"/>
                <a:gd name="T16" fmla="*/ 73 w 611"/>
                <a:gd name="T17" fmla="*/ 150 h 611"/>
                <a:gd name="T18" fmla="*/ 117 w 611"/>
                <a:gd name="T19" fmla="*/ 99 h 611"/>
                <a:gd name="T20" fmla="*/ 172 w 611"/>
                <a:gd name="T21" fmla="*/ 59 h 611"/>
                <a:gd name="T22" fmla="*/ 235 w 611"/>
                <a:gd name="T23" fmla="*/ 35 h 611"/>
                <a:gd name="T24" fmla="*/ 305 w 611"/>
                <a:gd name="T25" fmla="*/ 26 h 611"/>
                <a:gd name="T26" fmla="*/ 375 w 611"/>
                <a:gd name="T27" fmla="*/ 35 h 611"/>
                <a:gd name="T28" fmla="*/ 438 w 611"/>
                <a:gd name="T29" fmla="*/ 59 h 611"/>
                <a:gd name="T30" fmla="*/ 494 w 611"/>
                <a:gd name="T31" fmla="*/ 99 h 611"/>
                <a:gd name="T32" fmla="*/ 538 w 611"/>
                <a:gd name="T33" fmla="*/ 150 h 611"/>
                <a:gd name="T34" fmla="*/ 568 w 611"/>
                <a:gd name="T35" fmla="*/ 210 h 611"/>
                <a:gd name="T36" fmla="*/ 584 w 611"/>
                <a:gd name="T37" fmla="*/ 277 h 611"/>
                <a:gd name="T38" fmla="*/ 582 w 611"/>
                <a:gd name="T39" fmla="*/ 349 h 611"/>
                <a:gd name="T40" fmla="*/ 564 w 611"/>
                <a:gd name="T41" fmla="*/ 415 h 611"/>
                <a:gd name="T42" fmla="*/ 530 w 611"/>
                <a:gd name="T43" fmla="*/ 474 h 611"/>
                <a:gd name="T44" fmla="*/ 483 w 611"/>
                <a:gd name="T45" fmla="*/ 522 h 611"/>
                <a:gd name="T46" fmla="*/ 426 w 611"/>
                <a:gd name="T47" fmla="*/ 559 h 611"/>
                <a:gd name="T48" fmla="*/ 362 w 611"/>
                <a:gd name="T49" fmla="*/ 580 h 611"/>
                <a:gd name="T50" fmla="*/ 305 w 611"/>
                <a:gd name="T51" fmla="*/ 0 h 611"/>
                <a:gd name="T52" fmla="*/ 229 w 611"/>
                <a:gd name="T53" fmla="*/ 10 h 611"/>
                <a:gd name="T54" fmla="*/ 160 w 611"/>
                <a:gd name="T55" fmla="*/ 38 h 611"/>
                <a:gd name="T56" fmla="*/ 100 w 611"/>
                <a:gd name="T57" fmla="*/ 80 h 611"/>
                <a:gd name="T58" fmla="*/ 52 w 611"/>
                <a:gd name="T59" fmla="*/ 136 h 611"/>
                <a:gd name="T60" fmla="*/ 18 w 611"/>
                <a:gd name="T61" fmla="*/ 201 h 611"/>
                <a:gd name="T62" fmla="*/ 1 w 611"/>
                <a:gd name="T63" fmla="*/ 275 h 611"/>
                <a:gd name="T64" fmla="*/ 3 w 611"/>
                <a:gd name="T65" fmla="*/ 352 h 611"/>
                <a:gd name="T66" fmla="*/ 24 w 611"/>
                <a:gd name="T67" fmla="*/ 425 h 611"/>
                <a:gd name="T68" fmla="*/ 60 w 611"/>
                <a:gd name="T69" fmla="*/ 489 h 611"/>
                <a:gd name="T70" fmla="*/ 111 w 611"/>
                <a:gd name="T71" fmla="*/ 541 h 611"/>
                <a:gd name="T72" fmla="*/ 173 w 611"/>
                <a:gd name="T73" fmla="*/ 581 h 611"/>
                <a:gd name="T74" fmla="*/ 244 w 611"/>
                <a:gd name="T75" fmla="*/ 606 h 611"/>
                <a:gd name="T76" fmla="*/ 321 w 611"/>
                <a:gd name="T77" fmla="*/ 611 h 611"/>
                <a:gd name="T78" fmla="*/ 396 w 611"/>
                <a:gd name="T79" fmla="*/ 598 h 611"/>
                <a:gd name="T80" fmla="*/ 464 w 611"/>
                <a:gd name="T81" fmla="*/ 567 h 611"/>
                <a:gd name="T82" fmla="*/ 521 w 611"/>
                <a:gd name="T83" fmla="*/ 522 h 611"/>
                <a:gd name="T84" fmla="*/ 567 w 611"/>
                <a:gd name="T85" fmla="*/ 464 h 611"/>
                <a:gd name="T86" fmla="*/ 597 w 611"/>
                <a:gd name="T87" fmla="*/ 398 h 611"/>
                <a:gd name="T88" fmla="*/ 610 w 611"/>
                <a:gd name="T89" fmla="*/ 321 h 611"/>
                <a:gd name="T90" fmla="*/ 605 w 611"/>
                <a:gd name="T91" fmla="*/ 244 h 611"/>
                <a:gd name="T92" fmla="*/ 581 w 611"/>
                <a:gd name="T93" fmla="*/ 174 h 611"/>
                <a:gd name="T94" fmla="*/ 541 w 611"/>
                <a:gd name="T95" fmla="*/ 112 h 611"/>
                <a:gd name="T96" fmla="*/ 488 w 611"/>
                <a:gd name="T97" fmla="*/ 61 h 611"/>
                <a:gd name="T98" fmla="*/ 424 w 611"/>
                <a:gd name="T99" fmla="*/ 25 h 611"/>
                <a:gd name="T100" fmla="*/ 352 w 611"/>
                <a:gd name="T101"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611">
                  <a:moveTo>
                    <a:pt x="305" y="587"/>
                  </a:moveTo>
                  <a:lnTo>
                    <a:pt x="291" y="585"/>
                  </a:lnTo>
                  <a:lnTo>
                    <a:pt x="277" y="584"/>
                  </a:lnTo>
                  <a:lnTo>
                    <a:pt x="263" y="583"/>
                  </a:lnTo>
                  <a:lnTo>
                    <a:pt x="249" y="580"/>
                  </a:lnTo>
                  <a:lnTo>
                    <a:pt x="235" y="577"/>
                  </a:lnTo>
                  <a:lnTo>
                    <a:pt x="222" y="574"/>
                  </a:lnTo>
                  <a:lnTo>
                    <a:pt x="210" y="569"/>
                  </a:lnTo>
                  <a:lnTo>
                    <a:pt x="197" y="564"/>
                  </a:lnTo>
                  <a:lnTo>
                    <a:pt x="184" y="559"/>
                  </a:lnTo>
                  <a:lnTo>
                    <a:pt x="172" y="552"/>
                  </a:lnTo>
                  <a:lnTo>
                    <a:pt x="160" y="546"/>
                  </a:lnTo>
                  <a:lnTo>
                    <a:pt x="148" y="538"/>
                  </a:lnTo>
                  <a:lnTo>
                    <a:pt x="138" y="531"/>
                  </a:lnTo>
                  <a:lnTo>
                    <a:pt x="127" y="522"/>
                  </a:lnTo>
                  <a:lnTo>
                    <a:pt x="117" y="514"/>
                  </a:lnTo>
                  <a:lnTo>
                    <a:pt x="108" y="504"/>
                  </a:lnTo>
                  <a:lnTo>
                    <a:pt x="98" y="494"/>
                  </a:lnTo>
                  <a:lnTo>
                    <a:pt x="89" y="485"/>
                  </a:lnTo>
                  <a:lnTo>
                    <a:pt x="81" y="474"/>
                  </a:lnTo>
                  <a:lnTo>
                    <a:pt x="73" y="463"/>
                  </a:lnTo>
                  <a:lnTo>
                    <a:pt x="66" y="451"/>
                  </a:lnTo>
                  <a:lnTo>
                    <a:pt x="59" y="439"/>
                  </a:lnTo>
                  <a:lnTo>
                    <a:pt x="53" y="428"/>
                  </a:lnTo>
                  <a:lnTo>
                    <a:pt x="47" y="415"/>
                  </a:lnTo>
                  <a:lnTo>
                    <a:pt x="42" y="403"/>
                  </a:lnTo>
                  <a:lnTo>
                    <a:pt x="38" y="389"/>
                  </a:lnTo>
                  <a:lnTo>
                    <a:pt x="35" y="376"/>
                  </a:lnTo>
                  <a:lnTo>
                    <a:pt x="31" y="362"/>
                  </a:lnTo>
                  <a:lnTo>
                    <a:pt x="28" y="349"/>
                  </a:lnTo>
                  <a:lnTo>
                    <a:pt x="27" y="334"/>
                  </a:lnTo>
                  <a:lnTo>
                    <a:pt x="26" y="320"/>
                  </a:lnTo>
                  <a:lnTo>
                    <a:pt x="25" y="306"/>
                  </a:lnTo>
                  <a:lnTo>
                    <a:pt x="26" y="291"/>
                  </a:lnTo>
                  <a:lnTo>
                    <a:pt x="27" y="277"/>
                  </a:lnTo>
                  <a:lnTo>
                    <a:pt x="28" y="263"/>
                  </a:lnTo>
                  <a:lnTo>
                    <a:pt x="31" y="249"/>
                  </a:lnTo>
                  <a:lnTo>
                    <a:pt x="35" y="236"/>
                  </a:lnTo>
                  <a:lnTo>
                    <a:pt x="38" y="223"/>
                  </a:lnTo>
                  <a:lnTo>
                    <a:pt x="42" y="210"/>
                  </a:lnTo>
                  <a:lnTo>
                    <a:pt x="47" y="197"/>
                  </a:lnTo>
                  <a:lnTo>
                    <a:pt x="53" y="185"/>
                  </a:lnTo>
                  <a:lnTo>
                    <a:pt x="59" y="173"/>
                  </a:lnTo>
                  <a:lnTo>
                    <a:pt x="66" y="161"/>
                  </a:lnTo>
                  <a:lnTo>
                    <a:pt x="73" y="150"/>
                  </a:lnTo>
                  <a:lnTo>
                    <a:pt x="81" y="139"/>
                  </a:lnTo>
                  <a:lnTo>
                    <a:pt x="89" y="128"/>
                  </a:lnTo>
                  <a:lnTo>
                    <a:pt x="98" y="117"/>
                  </a:lnTo>
                  <a:lnTo>
                    <a:pt x="108" y="108"/>
                  </a:lnTo>
                  <a:lnTo>
                    <a:pt x="117" y="99"/>
                  </a:lnTo>
                  <a:lnTo>
                    <a:pt x="127" y="90"/>
                  </a:lnTo>
                  <a:lnTo>
                    <a:pt x="138" y="82"/>
                  </a:lnTo>
                  <a:lnTo>
                    <a:pt x="148" y="73"/>
                  </a:lnTo>
                  <a:lnTo>
                    <a:pt x="160" y="67"/>
                  </a:lnTo>
                  <a:lnTo>
                    <a:pt x="172" y="59"/>
                  </a:lnTo>
                  <a:lnTo>
                    <a:pt x="184" y="54"/>
                  </a:lnTo>
                  <a:lnTo>
                    <a:pt x="197" y="48"/>
                  </a:lnTo>
                  <a:lnTo>
                    <a:pt x="210" y="43"/>
                  </a:lnTo>
                  <a:lnTo>
                    <a:pt x="222" y="39"/>
                  </a:lnTo>
                  <a:lnTo>
                    <a:pt x="235" y="35"/>
                  </a:lnTo>
                  <a:lnTo>
                    <a:pt x="249" y="31"/>
                  </a:lnTo>
                  <a:lnTo>
                    <a:pt x="263" y="29"/>
                  </a:lnTo>
                  <a:lnTo>
                    <a:pt x="277" y="27"/>
                  </a:lnTo>
                  <a:lnTo>
                    <a:pt x="291" y="26"/>
                  </a:lnTo>
                  <a:lnTo>
                    <a:pt x="305" y="26"/>
                  </a:lnTo>
                  <a:lnTo>
                    <a:pt x="320" y="26"/>
                  </a:lnTo>
                  <a:lnTo>
                    <a:pt x="334" y="27"/>
                  </a:lnTo>
                  <a:lnTo>
                    <a:pt x="348" y="29"/>
                  </a:lnTo>
                  <a:lnTo>
                    <a:pt x="362" y="31"/>
                  </a:lnTo>
                  <a:lnTo>
                    <a:pt x="375" y="35"/>
                  </a:lnTo>
                  <a:lnTo>
                    <a:pt x="389" y="39"/>
                  </a:lnTo>
                  <a:lnTo>
                    <a:pt x="402" y="43"/>
                  </a:lnTo>
                  <a:lnTo>
                    <a:pt x="415" y="48"/>
                  </a:lnTo>
                  <a:lnTo>
                    <a:pt x="426" y="54"/>
                  </a:lnTo>
                  <a:lnTo>
                    <a:pt x="438" y="59"/>
                  </a:lnTo>
                  <a:lnTo>
                    <a:pt x="450" y="67"/>
                  </a:lnTo>
                  <a:lnTo>
                    <a:pt x="462" y="73"/>
                  </a:lnTo>
                  <a:lnTo>
                    <a:pt x="473" y="82"/>
                  </a:lnTo>
                  <a:lnTo>
                    <a:pt x="483" y="90"/>
                  </a:lnTo>
                  <a:lnTo>
                    <a:pt x="494" y="99"/>
                  </a:lnTo>
                  <a:lnTo>
                    <a:pt x="504" y="108"/>
                  </a:lnTo>
                  <a:lnTo>
                    <a:pt x="512" y="117"/>
                  </a:lnTo>
                  <a:lnTo>
                    <a:pt x="521" y="128"/>
                  </a:lnTo>
                  <a:lnTo>
                    <a:pt x="530" y="139"/>
                  </a:lnTo>
                  <a:lnTo>
                    <a:pt x="538" y="150"/>
                  </a:lnTo>
                  <a:lnTo>
                    <a:pt x="545" y="161"/>
                  </a:lnTo>
                  <a:lnTo>
                    <a:pt x="552" y="173"/>
                  </a:lnTo>
                  <a:lnTo>
                    <a:pt x="557" y="185"/>
                  </a:lnTo>
                  <a:lnTo>
                    <a:pt x="564" y="197"/>
                  </a:lnTo>
                  <a:lnTo>
                    <a:pt x="568" y="210"/>
                  </a:lnTo>
                  <a:lnTo>
                    <a:pt x="572" y="223"/>
                  </a:lnTo>
                  <a:lnTo>
                    <a:pt x="577" y="236"/>
                  </a:lnTo>
                  <a:lnTo>
                    <a:pt x="580" y="249"/>
                  </a:lnTo>
                  <a:lnTo>
                    <a:pt x="582" y="263"/>
                  </a:lnTo>
                  <a:lnTo>
                    <a:pt x="584" y="277"/>
                  </a:lnTo>
                  <a:lnTo>
                    <a:pt x="585" y="291"/>
                  </a:lnTo>
                  <a:lnTo>
                    <a:pt x="585" y="306"/>
                  </a:lnTo>
                  <a:lnTo>
                    <a:pt x="585" y="320"/>
                  </a:lnTo>
                  <a:lnTo>
                    <a:pt x="584" y="334"/>
                  </a:lnTo>
                  <a:lnTo>
                    <a:pt x="582" y="349"/>
                  </a:lnTo>
                  <a:lnTo>
                    <a:pt x="580" y="362"/>
                  </a:lnTo>
                  <a:lnTo>
                    <a:pt x="577" y="376"/>
                  </a:lnTo>
                  <a:lnTo>
                    <a:pt x="572" y="389"/>
                  </a:lnTo>
                  <a:lnTo>
                    <a:pt x="568" y="403"/>
                  </a:lnTo>
                  <a:lnTo>
                    <a:pt x="564" y="415"/>
                  </a:lnTo>
                  <a:lnTo>
                    <a:pt x="557" y="428"/>
                  </a:lnTo>
                  <a:lnTo>
                    <a:pt x="552" y="439"/>
                  </a:lnTo>
                  <a:lnTo>
                    <a:pt x="545" y="451"/>
                  </a:lnTo>
                  <a:lnTo>
                    <a:pt x="538" y="463"/>
                  </a:lnTo>
                  <a:lnTo>
                    <a:pt x="530" y="474"/>
                  </a:lnTo>
                  <a:lnTo>
                    <a:pt x="521" y="485"/>
                  </a:lnTo>
                  <a:lnTo>
                    <a:pt x="512" y="494"/>
                  </a:lnTo>
                  <a:lnTo>
                    <a:pt x="504" y="504"/>
                  </a:lnTo>
                  <a:lnTo>
                    <a:pt x="494" y="514"/>
                  </a:lnTo>
                  <a:lnTo>
                    <a:pt x="483" y="522"/>
                  </a:lnTo>
                  <a:lnTo>
                    <a:pt x="473" y="531"/>
                  </a:lnTo>
                  <a:lnTo>
                    <a:pt x="462" y="538"/>
                  </a:lnTo>
                  <a:lnTo>
                    <a:pt x="450" y="546"/>
                  </a:lnTo>
                  <a:lnTo>
                    <a:pt x="439" y="552"/>
                  </a:lnTo>
                  <a:lnTo>
                    <a:pt x="426" y="559"/>
                  </a:lnTo>
                  <a:lnTo>
                    <a:pt x="415" y="564"/>
                  </a:lnTo>
                  <a:lnTo>
                    <a:pt x="402" y="569"/>
                  </a:lnTo>
                  <a:lnTo>
                    <a:pt x="389" y="574"/>
                  </a:lnTo>
                  <a:lnTo>
                    <a:pt x="375" y="577"/>
                  </a:lnTo>
                  <a:lnTo>
                    <a:pt x="362" y="580"/>
                  </a:lnTo>
                  <a:lnTo>
                    <a:pt x="348" y="583"/>
                  </a:lnTo>
                  <a:lnTo>
                    <a:pt x="334" y="584"/>
                  </a:lnTo>
                  <a:lnTo>
                    <a:pt x="320" y="585"/>
                  </a:lnTo>
                  <a:lnTo>
                    <a:pt x="305" y="587"/>
                  </a:lnTo>
                  <a:close/>
                  <a:moveTo>
                    <a:pt x="305" y="0"/>
                  </a:moveTo>
                  <a:lnTo>
                    <a:pt x="290" y="0"/>
                  </a:lnTo>
                  <a:lnTo>
                    <a:pt x="274" y="2"/>
                  </a:lnTo>
                  <a:lnTo>
                    <a:pt x="259" y="3"/>
                  </a:lnTo>
                  <a:lnTo>
                    <a:pt x="244" y="7"/>
                  </a:lnTo>
                  <a:lnTo>
                    <a:pt x="229" y="10"/>
                  </a:lnTo>
                  <a:lnTo>
                    <a:pt x="215" y="14"/>
                  </a:lnTo>
                  <a:lnTo>
                    <a:pt x="200" y="19"/>
                  </a:lnTo>
                  <a:lnTo>
                    <a:pt x="187" y="25"/>
                  </a:lnTo>
                  <a:lnTo>
                    <a:pt x="173" y="30"/>
                  </a:lnTo>
                  <a:lnTo>
                    <a:pt x="160" y="38"/>
                  </a:lnTo>
                  <a:lnTo>
                    <a:pt x="147" y="44"/>
                  </a:lnTo>
                  <a:lnTo>
                    <a:pt x="134" y="53"/>
                  </a:lnTo>
                  <a:lnTo>
                    <a:pt x="123" y="61"/>
                  </a:lnTo>
                  <a:lnTo>
                    <a:pt x="111" y="70"/>
                  </a:lnTo>
                  <a:lnTo>
                    <a:pt x="100" y="80"/>
                  </a:lnTo>
                  <a:lnTo>
                    <a:pt x="89" y="90"/>
                  </a:lnTo>
                  <a:lnTo>
                    <a:pt x="80" y="101"/>
                  </a:lnTo>
                  <a:lnTo>
                    <a:pt x="70" y="112"/>
                  </a:lnTo>
                  <a:lnTo>
                    <a:pt x="60" y="124"/>
                  </a:lnTo>
                  <a:lnTo>
                    <a:pt x="52" y="136"/>
                  </a:lnTo>
                  <a:lnTo>
                    <a:pt x="44" y="147"/>
                  </a:lnTo>
                  <a:lnTo>
                    <a:pt x="37" y="160"/>
                  </a:lnTo>
                  <a:lnTo>
                    <a:pt x="30" y="174"/>
                  </a:lnTo>
                  <a:lnTo>
                    <a:pt x="24" y="187"/>
                  </a:lnTo>
                  <a:lnTo>
                    <a:pt x="18" y="201"/>
                  </a:lnTo>
                  <a:lnTo>
                    <a:pt x="13" y="215"/>
                  </a:lnTo>
                  <a:lnTo>
                    <a:pt x="10" y="230"/>
                  </a:lnTo>
                  <a:lnTo>
                    <a:pt x="6" y="244"/>
                  </a:lnTo>
                  <a:lnTo>
                    <a:pt x="3" y="259"/>
                  </a:lnTo>
                  <a:lnTo>
                    <a:pt x="1" y="275"/>
                  </a:lnTo>
                  <a:lnTo>
                    <a:pt x="0" y="290"/>
                  </a:lnTo>
                  <a:lnTo>
                    <a:pt x="0" y="306"/>
                  </a:lnTo>
                  <a:lnTo>
                    <a:pt x="0" y="321"/>
                  </a:lnTo>
                  <a:lnTo>
                    <a:pt x="1" y="337"/>
                  </a:lnTo>
                  <a:lnTo>
                    <a:pt x="3" y="352"/>
                  </a:lnTo>
                  <a:lnTo>
                    <a:pt x="6" y="367"/>
                  </a:lnTo>
                  <a:lnTo>
                    <a:pt x="10" y="383"/>
                  </a:lnTo>
                  <a:lnTo>
                    <a:pt x="13" y="398"/>
                  </a:lnTo>
                  <a:lnTo>
                    <a:pt x="18" y="412"/>
                  </a:lnTo>
                  <a:lnTo>
                    <a:pt x="24" y="425"/>
                  </a:lnTo>
                  <a:lnTo>
                    <a:pt x="30" y="438"/>
                  </a:lnTo>
                  <a:lnTo>
                    <a:pt x="37" y="452"/>
                  </a:lnTo>
                  <a:lnTo>
                    <a:pt x="44" y="464"/>
                  </a:lnTo>
                  <a:lnTo>
                    <a:pt x="52" y="477"/>
                  </a:lnTo>
                  <a:lnTo>
                    <a:pt x="60" y="489"/>
                  </a:lnTo>
                  <a:lnTo>
                    <a:pt x="70" y="501"/>
                  </a:lnTo>
                  <a:lnTo>
                    <a:pt x="80" y="511"/>
                  </a:lnTo>
                  <a:lnTo>
                    <a:pt x="89" y="522"/>
                  </a:lnTo>
                  <a:lnTo>
                    <a:pt x="100" y="533"/>
                  </a:lnTo>
                  <a:lnTo>
                    <a:pt x="111" y="541"/>
                  </a:lnTo>
                  <a:lnTo>
                    <a:pt x="123" y="551"/>
                  </a:lnTo>
                  <a:lnTo>
                    <a:pt x="134" y="560"/>
                  </a:lnTo>
                  <a:lnTo>
                    <a:pt x="147" y="567"/>
                  </a:lnTo>
                  <a:lnTo>
                    <a:pt x="160" y="575"/>
                  </a:lnTo>
                  <a:lnTo>
                    <a:pt x="173" y="581"/>
                  </a:lnTo>
                  <a:lnTo>
                    <a:pt x="187" y="588"/>
                  </a:lnTo>
                  <a:lnTo>
                    <a:pt x="200" y="593"/>
                  </a:lnTo>
                  <a:lnTo>
                    <a:pt x="215" y="598"/>
                  </a:lnTo>
                  <a:lnTo>
                    <a:pt x="229" y="602"/>
                  </a:lnTo>
                  <a:lnTo>
                    <a:pt x="244" y="606"/>
                  </a:lnTo>
                  <a:lnTo>
                    <a:pt x="259" y="608"/>
                  </a:lnTo>
                  <a:lnTo>
                    <a:pt x="274" y="610"/>
                  </a:lnTo>
                  <a:lnTo>
                    <a:pt x="290" y="611"/>
                  </a:lnTo>
                  <a:lnTo>
                    <a:pt x="305" y="611"/>
                  </a:lnTo>
                  <a:lnTo>
                    <a:pt x="321" y="611"/>
                  </a:lnTo>
                  <a:lnTo>
                    <a:pt x="336" y="610"/>
                  </a:lnTo>
                  <a:lnTo>
                    <a:pt x="352" y="608"/>
                  </a:lnTo>
                  <a:lnTo>
                    <a:pt x="367" y="606"/>
                  </a:lnTo>
                  <a:lnTo>
                    <a:pt x="381" y="602"/>
                  </a:lnTo>
                  <a:lnTo>
                    <a:pt x="396" y="598"/>
                  </a:lnTo>
                  <a:lnTo>
                    <a:pt x="410" y="593"/>
                  </a:lnTo>
                  <a:lnTo>
                    <a:pt x="424" y="588"/>
                  </a:lnTo>
                  <a:lnTo>
                    <a:pt x="438" y="581"/>
                  </a:lnTo>
                  <a:lnTo>
                    <a:pt x="451" y="575"/>
                  </a:lnTo>
                  <a:lnTo>
                    <a:pt x="464" y="567"/>
                  </a:lnTo>
                  <a:lnTo>
                    <a:pt x="476" y="560"/>
                  </a:lnTo>
                  <a:lnTo>
                    <a:pt x="488" y="551"/>
                  </a:lnTo>
                  <a:lnTo>
                    <a:pt x="499" y="541"/>
                  </a:lnTo>
                  <a:lnTo>
                    <a:pt x="511" y="533"/>
                  </a:lnTo>
                  <a:lnTo>
                    <a:pt x="521" y="522"/>
                  </a:lnTo>
                  <a:lnTo>
                    <a:pt x="532" y="511"/>
                  </a:lnTo>
                  <a:lnTo>
                    <a:pt x="541" y="501"/>
                  </a:lnTo>
                  <a:lnTo>
                    <a:pt x="550" y="489"/>
                  </a:lnTo>
                  <a:lnTo>
                    <a:pt x="559" y="477"/>
                  </a:lnTo>
                  <a:lnTo>
                    <a:pt x="567" y="464"/>
                  </a:lnTo>
                  <a:lnTo>
                    <a:pt x="574" y="452"/>
                  </a:lnTo>
                  <a:lnTo>
                    <a:pt x="581" y="438"/>
                  </a:lnTo>
                  <a:lnTo>
                    <a:pt x="586" y="425"/>
                  </a:lnTo>
                  <a:lnTo>
                    <a:pt x="593" y="412"/>
                  </a:lnTo>
                  <a:lnTo>
                    <a:pt x="597" y="398"/>
                  </a:lnTo>
                  <a:lnTo>
                    <a:pt x="601" y="383"/>
                  </a:lnTo>
                  <a:lnTo>
                    <a:pt x="605" y="367"/>
                  </a:lnTo>
                  <a:lnTo>
                    <a:pt x="608" y="352"/>
                  </a:lnTo>
                  <a:lnTo>
                    <a:pt x="609" y="337"/>
                  </a:lnTo>
                  <a:lnTo>
                    <a:pt x="610" y="321"/>
                  </a:lnTo>
                  <a:lnTo>
                    <a:pt x="611" y="306"/>
                  </a:lnTo>
                  <a:lnTo>
                    <a:pt x="610" y="290"/>
                  </a:lnTo>
                  <a:lnTo>
                    <a:pt x="609" y="275"/>
                  </a:lnTo>
                  <a:lnTo>
                    <a:pt x="608" y="259"/>
                  </a:lnTo>
                  <a:lnTo>
                    <a:pt x="605" y="244"/>
                  </a:lnTo>
                  <a:lnTo>
                    <a:pt x="601" y="230"/>
                  </a:lnTo>
                  <a:lnTo>
                    <a:pt x="597" y="215"/>
                  </a:lnTo>
                  <a:lnTo>
                    <a:pt x="593" y="201"/>
                  </a:lnTo>
                  <a:lnTo>
                    <a:pt x="586" y="187"/>
                  </a:lnTo>
                  <a:lnTo>
                    <a:pt x="581" y="174"/>
                  </a:lnTo>
                  <a:lnTo>
                    <a:pt x="574" y="160"/>
                  </a:lnTo>
                  <a:lnTo>
                    <a:pt x="567" y="147"/>
                  </a:lnTo>
                  <a:lnTo>
                    <a:pt x="559" y="136"/>
                  </a:lnTo>
                  <a:lnTo>
                    <a:pt x="550" y="124"/>
                  </a:lnTo>
                  <a:lnTo>
                    <a:pt x="541" y="112"/>
                  </a:lnTo>
                  <a:lnTo>
                    <a:pt x="532" y="101"/>
                  </a:lnTo>
                  <a:lnTo>
                    <a:pt x="521" y="90"/>
                  </a:lnTo>
                  <a:lnTo>
                    <a:pt x="511" y="80"/>
                  </a:lnTo>
                  <a:lnTo>
                    <a:pt x="499" y="70"/>
                  </a:lnTo>
                  <a:lnTo>
                    <a:pt x="488" y="61"/>
                  </a:lnTo>
                  <a:lnTo>
                    <a:pt x="476" y="53"/>
                  </a:lnTo>
                  <a:lnTo>
                    <a:pt x="464" y="44"/>
                  </a:lnTo>
                  <a:lnTo>
                    <a:pt x="451" y="38"/>
                  </a:lnTo>
                  <a:lnTo>
                    <a:pt x="438" y="30"/>
                  </a:lnTo>
                  <a:lnTo>
                    <a:pt x="424" y="25"/>
                  </a:lnTo>
                  <a:lnTo>
                    <a:pt x="410" y="19"/>
                  </a:lnTo>
                  <a:lnTo>
                    <a:pt x="396" y="14"/>
                  </a:lnTo>
                  <a:lnTo>
                    <a:pt x="381" y="10"/>
                  </a:lnTo>
                  <a:lnTo>
                    <a:pt x="367" y="7"/>
                  </a:lnTo>
                  <a:lnTo>
                    <a:pt x="352" y="3"/>
                  </a:lnTo>
                  <a:lnTo>
                    <a:pt x="336" y="2"/>
                  </a:lnTo>
                  <a:lnTo>
                    <a:pt x="321" y="0"/>
                  </a:lnTo>
                  <a:lnTo>
                    <a:pt x="3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6" name="Freeform 109">
              <a:extLst>
                <a:ext uri="{FF2B5EF4-FFF2-40B4-BE49-F238E27FC236}">
                  <a16:creationId xmlns:a16="http://schemas.microsoft.com/office/drawing/2014/main" id="{B8B6A26F-E295-4892-8C50-95353D85A5F9}"/>
                </a:ext>
              </a:extLst>
            </p:cNvPr>
            <p:cNvSpPr>
              <a:spLocks noEditPoints="1"/>
            </p:cNvSpPr>
            <p:nvPr/>
          </p:nvSpPr>
          <p:spPr bwMode="auto">
            <a:xfrm>
              <a:off x="1058144" y="6562456"/>
              <a:ext cx="79221" cy="85200"/>
            </a:xfrm>
            <a:custGeom>
              <a:avLst/>
              <a:gdLst>
                <a:gd name="T0" fmla="*/ 61 w 215"/>
                <a:gd name="T1" fmla="*/ 204 h 229"/>
                <a:gd name="T2" fmla="*/ 59 w 215"/>
                <a:gd name="T3" fmla="*/ 196 h 229"/>
                <a:gd name="T4" fmla="*/ 58 w 215"/>
                <a:gd name="T5" fmla="*/ 188 h 229"/>
                <a:gd name="T6" fmla="*/ 55 w 215"/>
                <a:gd name="T7" fmla="*/ 181 h 229"/>
                <a:gd name="T8" fmla="*/ 52 w 215"/>
                <a:gd name="T9" fmla="*/ 173 h 229"/>
                <a:gd name="T10" fmla="*/ 48 w 215"/>
                <a:gd name="T11" fmla="*/ 166 h 229"/>
                <a:gd name="T12" fmla="*/ 44 w 215"/>
                <a:gd name="T13" fmla="*/ 158 h 229"/>
                <a:gd name="T14" fmla="*/ 39 w 215"/>
                <a:gd name="T15" fmla="*/ 153 h 229"/>
                <a:gd name="T16" fmla="*/ 33 w 215"/>
                <a:gd name="T17" fmla="*/ 146 h 229"/>
                <a:gd name="T18" fmla="*/ 98 w 215"/>
                <a:gd name="T19" fmla="*/ 35 h 229"/>
                <a:gd name="T20" fmla="*/ 108 w 215"/>
                <a:gd name="T21" fmla="*/ 42 h 229"/>
                <a:gd name="T22" fmla="*/ 116 w 215"/>
                <a:gd name="T23" fmla="*/ 50 h 229"/>
                <a:gd name="T24" fmla="*/ 125 w 215"/>
                <a:gd name="T25" fmla="*/ 58 h 229"/>
                <a:gd name="T26" fmla="*/ 132 w 215"/>
                <a:gd name="T27" fmla="*/ 67 h 229"/>
                <a:gd name="T28" fmla="*/ 140 w 215"/>
                <a:gd name="T29" fmla="*/ 77 h 229"/>
                <a:gd name="T30" fmla="*/ 147 w 215"/>
                <a:gd name="T31" fmla="*/ 86 h 229"/>
                <a:gd name="T32" fmla="*/ 154 w 215"/>
                <a:gd name="T33" fmla="*/ 97 h 229"/>
                <a:gd name="T34" fmla="*/ 160 w 215"/>
                <a:gd name="T35" fmla="*/ 109 h 229"/>
                <a:gd name="T36" fmla="*/ 166 w 215"/>
                <a:gd name="T37" fmla="*/ 119 h 229"/>
                <a:gd name="T38" fmla="*/ 171 w 215"/>
                <a:gd name="T39" fmla="*/ 131 h 229"/>
                <a:gd name="T40" fmla="*/ 175 w 215"/>
                <a:gd name="T41" fmla="*/ 143 h 229"/>
                <a:gd name="T42" fmla="*/ 179 w 215"/>
                <a:gd name="T43" fmla="*/ 155 h 229"/>
                <a:gd name="T44" fmla="*/ 183 w 215"/>
                <a:gd name="T45" fmla="*/ 168 h 229"/>
                <a:gd name="T46" fmla="*/ 186 w 215"/>
                <a:gd name="T47" fmla="*/ 180 h 229"/>
                <a:gd name="T48" fmla="*/ 187 w 215"/>
                <a:gd name="T49" fmla="*/ 191 h 229"/>
                <a:gd name="T50" fmla="*/ 189 w 215"/>
                <a:gd name="T51" fmla="*/ 204 h 229"/>
                <a:gd name="T52" fmla="*/ 61 w 215"/>
                <a:gd name="T53" fmla="*/ 204 h 229"/>
                <a:gd name="T54" fmla="*/ 100 w 215"/>
                <a:gd name="T55" fmla="*/ 7 h 229"/>
                <a:gd name="T56" fmla="*/ 89 w 215"/>
                <a:gd name="T57" fmla="*/ 0 h 229"/>
                <a:gd name="T58" fmla="*/ 0 w 215"/>
                <a:gd name="T59" fmla="*/ 154 h 229"/>
                <a:gd name="T60" fmla="*/ 11 w 215"/>
                <a:gd name="T61" fmla="*/ 160 h 229"/>
                <a:gd name="T62" fmla="*/ 16 w 215"/>
                <a:gd name="T63" fmla="*/ 165 h 229"/>
                <a:gd name="T64" fmla="*/ 21 w 215"/>
                <a:gd name="T65" fmla="*/ 170 h 229"/>
                <a:gd name="T66" fmla="*/ 25 w 215"/>
                <a:gd name="T67" fmla="*/ 176 h 229"/>
                <a:gd name="T68" fmla="*/ 29 w 215"/>
                <a:gd name="T69" fmla="*/ 184 h 229"/>
                <a:gd name="T70" fmla="*/ 32 w 215"/>
                <a:gd name="T71" fmla="*/ 191 h 229"/>
                <a:gd name="T72" fmla="*/ 35 w 215"/>
                <a:gd name="T73" fmla="*/ 200 h 229"/>
                <a:gd name="T74" fmla="*/ 36 w 215"/>
                <a:gd name="T75" fmla="*/ 209 h 229"/>
                <a:gd name="T76" fmla="*/ 37 w 215"/>
                <a:gd name="T77" fmla="*/ 217 h 229"/>
                <a:gd name="T78" fmla="*/ 37 w 215"/>
                <a:gd name="T79" fmla="*/ 229 h 229"/>
                <a:gd name="T80" fmla="*/ 215 w 215"/>
                <a:gd name="T81" fmla="*/ 229 h 229"/>
                <a:gd name="T82" fmla="*/ 215 w 215"/>
                <a:gd name="T83" fmla="*/ 217 h 229"/>
                <a:gd name="T84" fmla="*/ 214 w 215"/>
                <a:gd name="T85" fmla="*/ 201 h 229"/>
                <a:gd name="T86" fmla="*/ 213 w 215"/>
                <a:gd name="T87" fmla="*/ 185 h 229"/>
                <a:gd name="T88" fmla="*/ 210 w 215"/>
                <a:gd name="T89" fmla="*/ 170 h 229"/>
                <a:gd name="T90" fmla="*/ 206 w 215"/>
                <a:gd name="T91" fmla="*/ 154 h 229"/>
                <a:gd name="T92" fmla="*/ 201 w 215"/>
                <a:gd name="T93" fmla="*/ 139 h 229"/>
                <a:gd name="T94" fmla="*/ 196 w 215"/>
                <a:gd name="T95" fmla="*/ 124 h 229"/>
                <a:gd name="T96" fmla="*/ 189 w 215"/>
                <a:gd name="T97" fmla="*/ 109 h 229"/>
                <a:gd name="T98" fmla="*/ 183 w 215"/>
                <a:gd name="T99" fmla="*/ 95 h 229"/>
                <a:gd name="T100" fmla="*/ 174 w 215"/>
                <a:gd name="T101" fmla="*/ 81 h 229"/>
                <a:gd name="T102" fmla="*/ 166 w 215"/>
                <a:gd name="T103" fmla="*/ 68 h 229"/>
                <a:gd name="T104" fmla="*/ 156 w 215"/>
                <a:gd name="T105" fmla="*/ 55 h 229"/>
                <a:gd name="T106" fmla="*/ 146 w 215"/>
                <a:gd name="T107" fmla="*/ 44 h 229"/>
                <a:gd name="T108" fmla="*/ 135 w 215"/>
                <a:gd name="T109" fmla="*/ 34 h 229"/>
                <a:gd name="T110" fmla="*/ 124 w 215"/>
                <a:gd name="T111" fmla="*/ 23 h 229"/>
                <a:gd name="T112" fmla="*/ 112 w 215"/>
                <a:gd name="T113" fmla="*/ 14 h 229"/>
                <a:gd name="T114" fmla="*/ 100 w 215"/>
                <a:gd name="T115"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229">
                  <a:moveTo>
                    <a:pt x="61" y="204"/>
                  </a:moveTo>
                  <a:lnTo>
                    <a:pt x="59" y="196"/>
                  </a:lnTo>
                  <a:lnTo>
                    <a:pt x="58" y="188"/>
                  </a:lnTo>
                  <a:lnTo>
                    <a:pt x="55" y="181"/>
                  </a:lnTo>
                  <a:lnTo>
                    <a:pt x="52" y="173"/>
                  </a:lnTo>
                  <a:lnTo>
                    <a:pt x="48" y="166"/>
                  </a:lnTo>
                  <a:lnTo>
                    <a:pt x="44" y="158"/>
                  </a:lnTo>
                  <a:lnTo>
                    <a:pt x="39" y="153"/>
                  </a:lnTo>
                  <a:lnTo>
                    <a:pt x="33" y="146"/>
                  </a:lnTo>
                  <a:lnTo>
                    <a:pt x="98" y="35"/>
                  </a:lnTo>
                  <a:lnTo>
                    <a:pt x="108" y="42"/>
                  </a:lnTo>
                  <a:lnTo>
                    <a:pt x="116" y="50"/>
                  </a:lnTo>
                  <a:lnTo>
                    <a:pt x="125" y="58"/>
                  </a:lnTo>
                  <a:lnTo>
                    <a:pt x="132" y="67"/>
                  </a:lnTo>
                  <a:lnTo>
                    <a:pt x="140" y="77"/>
                  </a:lnTo>
                  <a:lnTo>
                    <a:pt x="147" y="86"/>
                  </a:lnTo>
                  <a:lnTo>
                    <a:pt x="154" y="97"/>
                  </a:lnTo>
                  <a:lnTo>
                    <a:pt x="160" y="109"/>
                  </a:lnTo>
                  <a:lnTo>
                    <a:pt x="166" y="119"/>
                  </a:lnTo>
                  <a:lnTo>
                    <a:pt x="171" y="131"/>
                  </a:lnTo>
                  <a:lnTo>
                    <a:pt x="175" y="143"/>
                  </a:lnTo>
                  <a:lnTo>
                    <a:pt x="179" y="155"/>
                  </a:lnTo>
                  <a:lnTo>
                    <a:pt x="183" y="168"/>
                  </a:lnTo>
                  <a:lnTo>
                    <a:pt x="186" y="180"/>
                  </a:lnTo>
                  <a:lnTo>
                    <a:pt x="187" y="191"/>
                  </a:lnTo>
                  <a:lnTo>
                    <a:pt x="189" y="204"/>
                  </a:lnTo>
                  <a:lnTo>
                    <a:pt x="61" y="204"/>
                  </a:lnTo>
                  <a:close/>
                  <a:moveTo>
                    <a:pt x="100" y="7"/>
                  </a:moveTo>
                  <a:lnTo>
                    <a:pt x="89" y="0"/>
                  </a:lnTo>
                  <a:lnTo>
                    <a:pt x="0" y="154"/>
                  </a:lnTo>
                  <a:lnTo>
                    <a:pt x="11" y="160"/>
                  </a:lnTo>
                  <a:lnTo>
                    <a:pt x="16" y="165"/>
                  </a:lnTo>
                  <a:lnTo>
                    <a:pt x="21" y="170"/>
                  </a:lnTo>
                  <a:lnTo>
                    <a:pt x="25" y="176"/>
                  </a:lnTo>
                  <a:lnTo>
                    <a:pt x="29" y="184"/>
                  </a:lnTo>
                  <a:lnTo>
                    <a:pt x="32" y="191"/>
                  </a:lnTo>
                  <a:lnTo>
                    <a:pt x="35" y="200"/>
                  </a:lnTo>
                  <a:lnTo>
                    <a:pt x="36" y="209"/>
                  </a:lnTo>
                  <a:lnTo>
                    <a:pt x="37" y="217"/>
                  </a:lnTo>
                  <a:lnTo>
                    <a:pt x="37" y="229"/>
                  </a:lnTo>
                  <a:lnTo>
                    <a:pt x="215" y="229"/>
                  </a:lnTo>
                  <a:lnTo>
                    <a:pt x="215" y="217"/>
                  </a:lnTo>
                  <a:lnTo>
                    <a:pt x="214" y="201"/>
                  </a:lnTo>
                  <a:lnTo>
                    <a:pt x="213" y="185"/>
                  </a:lnTo>
                  <a:lnTo>
                    <a:pt x="210" y="170"/>
                  </a:lnTo>
                  <a:lnTo>
                    <a:pt x="206" y="154"/>
                  </a:lnTo>
                  <a:lnTo>
                    <a:pt x="201" y="139"/>
                  </a:lnTo>
                  <a:lnTo>
                    <a:pt x="196" y="124"/>
                  </a:lnTo>
                  <a:lnTo>
                    <a:pt x="189" y="109"/>
                  </a:lnTo>
                  <a:lnTo>
                    <a:pt x="183" y="95"/>
                  </a:lnTo>
                  <a:lnTo>
                    <a:pt x="174" y="81"/>
                  </a:lnTo>
                  <a:lnTo>
                    <a:pt x="166" y="68"/>
                  </a:lnTo>
                  <a:lnTo>
                    <a:pt x="156" y="55"/>
                  </a:lnTo>
                  <a:lnTo>
                    <a:pt x="146" y="44"/>
                  </a:lnTo>
                  <a:lnTo>
                    <a:pt x="135" y="34"/>
                  </a:lnTo>
                  <a:lnTo>
                    <a:pt x="124" y="23"/>
                  </a:lnTo>
                  <a:lnTo>
                    <a:pt x="112" y="14"/>
                  </a:lnTo>
                  <a:lnTo>
                    <a:pt x="10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7" name="Freeform 110">
              <a:extLst>
                <a:ext uri="{FF2B5EF4-FFF2-40B4-BE49-F238E27FC236}">
                  <a16:creationId xmlns:a16="http://schemas.microsoft.com/office/drawing/2014/main" id="{20E90A29-92E7-4197-AA22-2A691E253CB4}"/>
                </a:ext>
              </a:extLst>
            </p:cNvPr>
            <p:cNvSpPr>
              <a:spLocks noEditPoints="1"/>
            </p:cNvSpPr>
            <p:nvPr/>
          </p:nvSpPr>
          <p:spPr bwMode="auto">
            <a:xfrm>
              <a:off x="1004334" y="6653635"/>
              <a:ext cx="94168" cy="70253"/>
            </a:xfrm>
            <a:custGeom>
              <a:avLst/>
              <a:gdLst>
                <a:gd name="T0" fmla="*/ 35 w 251"/>
                <a:gd name="T1" fmla="*/ 145 h 191"/>
                <a:gd name="T2" fmla="*/ 99 w 251"/>
                <a:gd name="T3" fmla="*/ 33 h 191"/>
                <a:gd name="T4" fmla="*/ 106 w 251"/>
                <a:gd name="T5" fmla="*/ 35 h 191"/>
                <a:gd name="T6" fmla="*/ 112 w 251"/>
                <a:gd name="T7" fmla="*/ 37 h 191"/>
                <a:gd name="T8" fmla="*/ 119 w 251"/>
                <a:gd name="T9" fmla="*/ 39 h 191"/>
                <a:gd name="T10" fmla="*/ 125 w 251"/>
                <a:gd name="T11" fmla="*/ 39 h 191"/>
                <a:gd name="T12" fmla="*/ 133 w 251"/>
                <a:gd name="T13" fmla="*/ 39 h 191"/>
                <a:gd name="T14" fmla="*/ 139 w 251"/>
                <a:gd name="T15" fmla="*/ 37 h 191"/>
                <a:gd name="T16" fmla="*/ 146 w 251"/>
                <a:gd name="T17" fmla="*/ 35 h 191"/>
                <a:gd name="T18" fmla="*/ 152 w 251"/>
                <a:gd name="T19" fmla="*/ 33 h 191"/>
                <a:gd name="T20" fmla="*/ 216 w 251"/>
                <a:gd name="T21" fmla="*/ 145 h 191"/>
                <a:gd name="T22" fmla="*/ 206 w 251"/>
                <a:gd name="T23" fmla="*/ 150 h 191"/>
                <a:gd name="T24" fmla="*/ 194 w 251"/>
                <a:gd name="T25" fmla="*/ 154 h 191"/>
                <a:gd name="T26" fmla="*/ 183 w 251"/>
                <a:gd name="T27" fmla="*/ 158 h 191"/>
                <a:gd name="T28" fmla="*/ 171 w 251"/>
                <a:gd name="T29" fmla="*/ 161 h 191"/>
                <a:gd name="T30" fmla="*/ 161 w 251"/>
                <a:gd name="T31" fmla="*/ 163 h 191"/>
                <a:gd name="T32" fmla="*/ 149 w 251"/>
                <a:gd name="T33" fmla="*/ 165 h 191"/>
                <a:gd name="T34" fmla="*/ 137 w 251"/>
                <a:gd name="T35" fmla="*/ 166 h 191"/>
                <a:gd name="T36" fmla="*/ 125 w 251"/>
                <a:gd name="T37" fmla="*/ 166 h 191"/>
                <a:gd name="T38" fmla="*/ 113 w 251"/>
                <a:gd name="T39" fmla="*/ 166 h 191"/>
                <a:gd name="T40" fmla="*/ 102 w 251"/>
                <a:gd name="T41" fmla="*/ 165 h 191"/>
                <a:gd name="T42" fmla="*/ 91 w 251"/>
                <a:gd name="T43" fmla="*/ 163 h 191"/>
                <a:gd name="T44" fmla="*/ 79 w 251"/>
                <a:gd name="T45" fmla="*/ 161 h 191"/>
                <a:gd name="T46" fmla="*/ 67 w 251"/>
                <a:gd name="T47" fmla="*/ 158 h 191"/>
                <a:gd name="T48" fmla="*/ 56 w 251"/>
                <a:gd name="T49" fmla="*/ 154 h 191"/>
                <a:gd name="T50" fmla="*/ 46 w 251"/>
                <a:gd name="T51" fmla="*/ 150 h 191"/>
                <a:gd name="T52" fmla="*/ 35 w 251"/>
                <a:gd name="T53" fmla="*/ 145 h 191"/>
                <a:gd name="T54" fmla="*/ 151 w 251"/>
                <a:gd name="T55" fmla="*/ 6 h 191"/>
                <a:gd name="T56" fmla="*/ 144 w 251"/>
                <a:gd name="T57" fmla="*/ 10 h 191"/>
                <a:gd name="T58" fmla="*/ 138 w 251"/>
                <a:gd name="T59" fmla="*/ 12 h 191"/>
                <a:gd name="T60" fmla="*/ 132 w 251"/>
                <a:gd name="T61" fmla="*/ 13 h 191"/>
                <a:gd name="T62" fmla="*/ 125 w 251"/>
                <a:gd name="T63" fmla="*/ 13 h 191"/>
                <a:gd name="T64" fmla="*/ 119 w 251"/>
                <a:gd name="T65" fmla="*/ 13 h 191"/>
                <a:gd name="T66" fmla="*/ 112 w 251"/>
                <a:gd name="T67" fmla="*/ 12 h 191"/>
                <a:gd name="T68" fmla="*/ 106 w 251"/>
                <a:gd name="T69" fmla="*/ 10 h 191"/>
                <a:gd name="T70" fmla="*/ 100 w 251"/>
                <a:gd name="T71" fmla="*/ 6 h 191"/>
                <a:gd name="T72" fmla="*/ 89 w 251"/>
                <a:gd name="T73" fmla="*/ 0 h 191"/>
                <a:gd name="T74" fmla="*/ 0 w 251"/>
                <a:gd name="T75" fmla="*/ 154 h 191"/>
                <a:gd name="T76" fmla="*/ 11 w 251"/>
                <a:gd name="T77" fmla="*/ 161 h 191"/>
                <a:gd name="T78" fmla="*/ 24 w 251"/>
                <a:gd name="T79" fmla="*/ 167 h 191"/>
                <a:gd name="T80" fmla="*/ 38 w 251"/>
                <a:gd name="T81" fmla="*/ 174 h 191"/>
                <a:gd name="T82" fmla="*/ 52 w 251"/>
                <a:gd name="T83" fmla="*/ 179 h 191"/>
                <a:gd name="T84" fmla="*/ 66 w 251"/>
                <a:gd name="T85" fmla="*/ 183 h 191"/>
                <a:gd name="T86" fmla="*/ 81 w 251"/>
                <a:gd name="T87" fmla="*/ 187 h 191"/>
                <a:gd name="T88" fmla="*/ 95 w 251"/>
                <a:gd name="T89" fmla="*/ 189 h 191"/>
                <a:gd name="T90" fmla="*/ 110 w 251"/>
                <a:gd name="T91" fmla="*/ 191 h 191"/>
                <a:gd name="T92" fmla="*/ 125 w 251"/>
                <a:gd name="T93" fmla="*/ 191 h 191"/>
                <a:gd name="T94" fmla="*/ 140 w 251"/>
                <a:gd name="T95" fmla="*/ 191 h 191"/>
                <a:gd name="T96" fmla="*/ 155 w 251"/>
                <a:gd name="T97" fmla="*/ 189 h 191"/>
                <a:gd name="T98" fmla="*/ 170 w 251"/>
                <a:gd name="T99" fmla="*/ 187 h 191"/>
                <a:gd name="T100" fmla="*/ 184 w 251"/>
                <a:gd name="T101" fmla="*/ 183 h 191"/>
                <a:gd name="T102" fmla="*/ 199 w 251"/>
                <a:gd name="T103" fmla="*/ 179 h 191"/>
                <a:gd name="T104" fmla="*/ 213 w 251"/>
                <a:gd name="T105" fmla="*/ 174 h 191"/>
                <a:gd name="T106" fmla="*/ 227 w 251"/>
                <a:gd name="T107" fmla="*/ 167 h 191"/>
                <a:gd name="T108" fmla="*/ 240 w 251"/>
                <a:gd name="T109" fmla="*/ 161 h 191"/>
                <a:gd name="T110" fmla="*/ 251 w 251"/>
                <a:gd name="T111" fmla="*/ 154 h 191"/>
                <a:gd name="T112" fmla="*/ 162 w 251"/>
                <a:gd name="T113" fmla="*/ 0 h 191"/>
                <a:gd name="T114" fmla="*/ 151 w 251"/>
                <a:gd name="T115" fmla="*/ 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191">
                  <a:moveTo>
                    <a:pt x="35" y="145"/>
                  </a:moveTo>
                  <a:lnTo>
                    <a:pt x="99" y="33"/>
                  </a:lnTo>
                  <a:lnTo>
                    <a:pt x="106" y="35"/>
                  </a:lnTo>
                  <a:lnTo>
                    <a:pt x="112" y="37"/>
                  </a:lnTo>
                  <a:lnTo>
                    <a:pt x="119" y="39"/>
                  </a:lnTo>
                  <a:lnTo>
                    <a:pt x="125" y="39"/>
                  </a:lnTo>
                  <a:lnTo>
                    <a:pt x="133" y="39"/>
                  </a:lnTo>
                  <a:lnTo>
                    <a:pt x="139" y="37"/>
                  </a:lnTo>
                  <a:lnTo>
                    <a:pt x="146" y="35"/>
                  </a:lnTo>
                  <a:lnTo>
                    <a:pt x="152" y="33"/>
                  </a:lnTo>
                  <a:lnTo>
                    <a:pt x="216" y="145"/>
                  </a:lnTo>
                  <a:lnTo>
                    <a:pt x="206" y="150"/>
                  </a:lnTo>
                  <a:lnTo>
                    <a:pt x="194" y="154"/>
                  </a:lnTo>
                  <a:lnTo>
                    <a:pt x="183" y="158"/>
                  </a:lnTo>
                  <a:lnTo>
                    <a:pt x="171" y="161"/>
                  </a:lnTo>
                  <a:lnTo>
                    <a:pt x="161" y="163"/>
                  </a:lnTo>
                  <a:lnTo>
                    <a:pt x="149" y="165"/>
                  </a:lnTo>
                  <a:lnTo>
                    <a:pt x="137" y="166"/>
                  </a:lnTo>
                  <a:lnTo>
                    <a:pt x="125" y="166"/>
                  </a:lnTo>
                  <a:lnTo>
                    <a:pt x="113" y="166"/>
                  </a:lnTo>
                  <a:lnTo>
                    <a:pt x="102" y="165"/>
                  </a:lnTo>
                  <a:lnTo>
                    <a:pt x="91" y="163"/>
                  </a:lnTo>
                  <a:lnTo>
                    <a:pt x="79" y="161"/>
                  </a:lnTo>
                  <a:lnTo>
                    <a:pt x="67" y="158"/>
                  </a:lnTo>
                  <a:lnTo>
                    <a:pt x="56" y="154"/>
                  </a:lnTo>
                  <a:lnTo>
                    <a:pt x="46" y="150"/>
                  </a:lnTo>
                  <a:lnTo>
                    <a:pt x="35" y="145"/>
                  </a:lnTo>
                  <a:close/>
                  <a:moveTo>
                    <a:pt x="151" y="6"/>
                  </a:moveTo>
                  <a:lnTo>
                    <a:pt x="144" y="10"/>
                  </a:lnTo>
                  <a:lnTo>
                    <a:pt x="138" y="12"/>
                  </a:lnTo>
                  <a:lnTo>
                    <a:pt x="132" y="13"/>
                  </a:lnTo>
                  <a:lnTo>
                    <a:pt x="125" y="13"/>
                  </a:lnTo>
                  <a:lnTo>
                    <a:pt x="119" y="13"/>
                  </a:lnTo>
                  <a:lnTo>
                    <a:pt x="112" y="12"/>
                  </a:lnTo>
                  <a:lnTo>
                    <a:pt x="106" y="10"/>
                  </a:lnTo>
                  <a:lnTo>
                    <a:pt x="100" y="6"/>
                  </a:lnTo>
                  <a:lnTo>
                    <a:pt x="89" y="0"/>
                  </a:lnTo>
                  <a:lnTo>
                    <a:pt x="0" y="154"/>
                  </a:lnTo>
                  <a:lnTo>
                    <a:pt x="11" y="161"/>
                  </a:lnTo>
                  <a:lnTo>
                    <a:pt x="24" y="167"/>
                  </a:lnTo>
                  <a:lnTo>
                    <a:pt x="38" y="174"/>
                  </a:lnTo>
                  <a:lnTo>
                    <a:pt x="52" y="179"/>
                  </a:lnTo>
                  <a:lnTo>
                    <a:pt x="66" y="183"/>
                  </a:lnTo>
                  <a:lnTo>
                    <a:pt x="81" y="187"/>
                  </a:lnTo>
                  <a:lnTo>
                    <a:pt x="95" y="189"/>
                  </a:lnTo>
                  <a:lnTo>
                    <a:pt x="110" y="191"/>
                  </a:lnTo>
                  <a:lnTo>
                    <a:pt x="125" y="191"/>
                  </a:lnTo>
                  <a:lnTo>
                    <a:pt x="140" y="191"/>
                  </a:lnTo>
                  <a:lnTo>
                    <a:pt x="155" y="189"/>
                  </a:lnTo>
                  <a:lnTo>
                    <a:pt x="170" y="187"/>
                  </a:lnTo>
                  <a:lnTo>
                    <a:pt x="184" y="183"/>
                  </a:lnTo>
                  <a:lnTo>
                    <a:pt x="199" y="179"/>
                  </a:lnTo>
                  <a:lnTo>
                    <a:pt x="213" y="174"/>
                  </a:lnTo>
                  <a:lnTo>
                    <a:pt x="227" y="167"/>
                  </a:lnTo>
                  <a:lnTo>
                    <a:pt x="240" y="161"/>
                  </a:lnTo>
                  <a:lnTo>
                    <a:pt x="251" y="154"/>
                  </a:lnTo>
                  <a:lnTo>
                    <a:pt x="162" y="0"/>
                  </a:lnTo>
                  <a:lnTo>
                    <a:pt x="15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8" name="Freeform 111">
              <a:extLst>
                <a:ext uri="{FF2B5EF4-FFF2-40B4-BE49-F238E27FC236}">
                  <a16:creationId xmlns:a16="http://schemas.microsoft.com/office/drawing/2014/main" id="{A7BE9175-D1F0-4453-9E65-C1BF36302AB0}"/>
                </a:ext>
              </a:extLst>
            </p:cNvPr>
            <p:cNvSpPr>
              <a:spLocks noEditPoints="1"/>
            </p:cNvSpPr>
            <p:nvPr/>
          </p:nvSpPr>
          <p:spPr bwMode="auto">
            <a:xfrm>
              <a:off x="966965" y="6562456"/>
              <a:ext cx="79221" cy="85200"/>
            </a:xfrm>
            <a:custGeom>
              <a:avLst/>
              <a:gdLst>
                <a:gd name="T0" fmla="*/ 26 w 215"/>
                <a:gd name="T1" fmla="*/ 204 h 229"/>
                <a:gd name="T2" fmla="*/ 27 w 215"/>
                <a:gd name="T3" fmla="*/ 191 h 229"/>
                <a:gd name="T4" fmla="*/ 29 w 215"/>
                <a:gd name="T5" fmla="*/ 180 h 229"/>
                <a:gd name="T6" fmla="*/ 32 w 215"/>
                <a:gd name="T7" fmla="*/ 168 h 229"/>
                <a:gd name="T8" fmla="*/ 35 w 215"/>
                <a:gd name="T9" fmla="*/ 155 h 229"/>
                <a:gd name="T10" fmla="*/ 39 w 215"/>
                <a:gd name="T11" fmla="*/ 143 h 229"/>
                <a:gd name="T12" fmla="*/ 43 w 215"/>
                <a:gd name="T13" fmla="*/ 131 h 229"/>
                <a:gd name="T14" fmla="*/ 49 w 215"/>
                <a:gd name="T15" fmla="*/ 119 h 229"/>
                <a:gd name="T16" fmla="*/ 54 w 215"/>
                <a:gd name="T17" fmla="*/ 109 h 229"/>
                <a:gd name="T18" fmla="*/ 61 w 215"/>
                <a:gd name="T19" fmla="*/ 97 h 229"/>
                <a:gd name="T20" fmla="*/ 67 w 215"/>
                <a:gd name="T21" fmla="*/ 86 h 229"/>
                <a:gd name="T22" fmla="*/ 75 w 215"/>
                <a:gd name="T23" fmla="*/ 77 h 229"/>
                <a:gd name="T24" fmla="*/ 82 w 215"/>
                <a:gd name="T25" fmla="*/ 67 h 229"/>
                <a:gd name="T26" fmla="*/ 91 w 215"/>
                <a:gd name="T27" fmla="*/ 58 h 229"/>
                <a:gd name="T28" fmla="*/ 99 w 215"/>
                <a:gd name="T29" fmla="*/ 50 h 229"/>
                <a:gd name="T30" fmla="*/ 108 w 215"/>
                <a:gd name="T31" fmla="*/ 42 h 229"/>
                <a:gd name="T32" fmla="*/ 116 w 215"/>
                <a:gd name="T33" fmla="*/ 35 h 229"/>
                <a:gd name="T34" fmla="*/ 181 w 215"/>
                <a:gd name="T35" fmla="*/ 146 h 229"/>
                <a:gd name="T36" fmla="*/ 175 w 215"/>
                <a:gd name="T37" fmla="*/ 153 h 229"/>
                <a:gd name="T38" fmla="*/ 171 w 215"/>
                <a:gd name="T39" fmla="*/ 158 h 229"/>
                <a:gd name="T40" fmla="*/ 167 w 215"/>
                <a:gd name="T41" fmla="*/ 166 h 229"/>
                <a:gd name="T42" fmla="*/ 163 w 215"/>
                <a:gd name="T43" fmla="*/ 173 h 229"/>
                <a:gd name="T44" fmla="*/ 159 w 215"/>
                <a:gd name="T45" fmla="*/ 181 h 229"/>
                <a:gd name="T46" fmla="*/ 157 w 215"/>
                <a:gd name="T47" fmla="*/ 188 h 229"/>
                <a:gd name="T48" fmla="*/ 155 w 215"/>
                <a:gd name="T49" fmla="*/ 196 h 229"/>
                <a:gd name="T50" fmla="*/ 154 w 215"/>
                <a:gd name="T51" fmla="*/ 204 h 229"/>
                <a:gd name="T52" fmla="*/ 26 w 215"/>
                <a:gd name="T53" fmla="*/ 204 h 229"/>
                <a:gd name="T54" fmla="*/ 179 w 215"/>
                <a:gd name="T55" fmla="*/ 217 h 229"/>
                <a:gd name="T56" fmla="*/ 179 w 215"/>
                <a:gd name="T57" fmla="*/ 209 h 229"/>
                <a:gd name="T58" fmla="*/ 181 w 215"/>
                <a:gd name="T59" fmla="*/ 200 h 229"/>
                <a:gd name="T60" fmla="*/ 183 w 215"/>
                <a:gd name="T61" fmla="*/ 191 h 229"/>
                <a:gd name="T62" fmla="*/ 186 w 215"/>
                <a:gd name="T63" fmla="*/ 184 h 229"/>
                <a:gd name="T64" fmla="*/ 189 w 215"/>
                <a:gd name="T65" fmla="*/ 176 h 229"/>
                <a:gd name="T66" fmla="*/ 194 w 215"/>
                <a:gd name="T67" fmla="*/ 170 h 229"/>
                <a:gd name="T68" fmla="*/ 199 w 215"/>
                <a:gd name="T69" fmla="*/ 165 h 229"/>
                <a:gd name="T70" fmla="*/ 204 w 215"/>
                <a:gd name="T71" fmla="*/ 160 h 229"/>
                <a:gd name="T72" fmla="*/ 215 w 215"/>
                <a:gd name="T73" fmla="*/ 154 h 229"/>
                <a:gd name="T74" fmla="*/ 126 w 215"/>
                <a:gd name="T75" fmla="*/ 0 h 229"/>
                <a:gd name="T76" fmla="*/ 115 w 215"/>
                <a:gd name="T77" fmla="*/ 7 h 229"/>
                <a:gd name="T78" fmla="*/ 102 w 215"/>
                <a:gd name="T79" fmla="*/ 14 h 229"/>
                <a:gd name="T80" fmla="*/ 91 w 215"/>
                <a:gd name="T81" fmla="*/ 23 h 229"/>
                <a:gd name="T82" fmla="*/ 80 w 215"/>
                <a:gd name="T83" fmla="*/ 34 h 229"/>
                <a:gd name="T84" fmla="*/ 69 w 215"/>
                <a:gd name="T85" fmla="*/ 44 h 229"/>
                <a:gd name="T86" fmla="*/ 58 w 215"/>
                <a:gd name="T87" fmla="*/ 55 h 229"/>
                <a:gd name="T88" fmla="*/ 50 w 215"/>
                <a:gd name="T89" fmla="*/ 68 h 229"/>
                <a:gd name="T90" fmla="*/ 40 w 215"/>
                <a:gd name="T91" fmla="*/ 81 h 229"/>
                <a:gd name="T92" fmla="*/ 33 w 215"/>
                <a:gd name="T93" fmla="*/ 95 h 229"/>
                <a:gd name="T94" fmla="*/ 25 w 215"/>
                <a:gd name="T95" fmla="*/ 109 h 229"/>
                <a:gd name="T96" fmla="*/ 19 w 215"/>
                <a:gd name="T97" fmla="*/ 124 h 229"/>
                <a:gd name="T98" fmla="*/ 13 w 215"/>
                <a:gd name="T99" fmla="*/ 139 h 229"/>
                <a:gd name="T100" fmla="*/ 9 w 215"/>
                <a:gd name="T101" fmla="*/ 154 h 229"/>
                <a:gd name="T102" fmla="*/ 5 w 215"/>
                <a:gd name="T103" fmla="*/ 170 h 229"/>
                <a:gd name="T104" fmla="*/ 3 w 215"/>
                <a:gd name="T105" fmla="*/ 185 h 229"/>
                <a:gd name="T106" fmla="*/ 0 w 215"/>
                <a:gd name="T107" fmla="*/ 201 h 229"/>
                <a:gd name="T108" fmla="*/ 0 w 215"/>
                <a:gd name="T109" fmla="*/ 217 h 229"/>
                <a:gd name="T110" fmla="*/ 0 w 215"/>
                <a:gd name="T111" fmla="*/ 229 h 229"/>
                <a:gd name="T112" fmla="*/ 179 w 215"/>
                <a:gd name="T113" fmla="*/ 229 h 229"/>
                <a:gd name="T114" fmla="*/ 179 w 215"/>
                <a:gd name="T115"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229">
                  <a:moveTo>
                    <a:pt x="26" y="204"/>
                  </a:moveTo>
                  <a:lnTo>
                    <a:pt x="27" y="191"/>
                  </a:lnTo>
                  <a:lnTo>
                    <a:pt x="29" y="180"/>
                  </a:lnTo>
                  <a:lnTo>
                    <a:pt x="32" y="168"/>
                  </a:lnTo>
                  <a:lnTo>
                    <a:pt x="35" y="155"/>
                  </a:lnTo>
                  <a:lnTo>
                    <a:pt x="39" y="143"/>
                  </a:lnTo>
                  <a:lnTo>
                    <a:pt x="43" y="131"/>
                  </a:lnTo>
                  <a:lnTo>
                    <a:pt x="49" y="119"/>
                  </a:lnTo>
                  <a:lnTo>
                    <a:pt x="54" y="109"/>
                  </a:lnTo>
                  <a:lnTo>
                    <a:pt x="61" y="97"/>
                  </a:lnTo>
                  <a:lnTo>
                    <a:pt x="67" y="86"/>
                  </a:lnTo>
                  <a:lnTo>
                    <a:pt x="75" y="77"/>
                  </a:lnTo>
                  <a:lnTo>
                    <a:pt x="82" y="67"/>
                  </a:lnTo>
                  <a:lnTo>
                    <a:pt x="91" y="58"/>
                  </a:lnTo>
                  <a:lnTo>
                    <a:pt x="99" y="50"/>
                  </a:lnTo>
                  <a:lnTo>
                    <a:pt x="108" y="42"/>
                  </a:lnTo>
                  <a:lnTo>
                    <a:pt x="116" y="35"/>
                  </a:lnTo>
                  <a:lnTo>
                    <a:pt x="181" y="146"/>
                  </a:lnTo>
                  <a:lnTo>
                    <a:pt x="175" y="153"/>
                  </a:lnTo>
                  <a:lnTo>
                    <a:pt x="171" y="158"/>
                  </a:lnTo>
                  <a:lnTo>
                    <a:pt x="167" y="166"/>
                  </a:lnTo>
                  <a:lnTo>
                    <a:pt x="163" y="173"/>
                  </a:lnTo>
                  <a:lnTo>
                    <a:pt x="159" y="181"/>
                  </a:lnTo>
                  <a:lnTo>
                    <a:pt x="157" y="188"/>
                  </a:lnTo>
                  <a:lnTo>
                    <a:pt x="155" y="196"/>
                  </a:lnTo>
                  <a:lnTo>
                    <a:pt x="154" y="204"/>
                  </a:lnTo>
                  <a:lnTo>
                    <a:pt x="26" y="204"/>
                  </a:lnTo>
                  <a:close/>
                  <a:moveTo>
                    <a:pt x="179" y="217"/>
                  </a:moveTo>
                  <a:lnTo>
                    <a:pt x="179" y="209"/>
                  </a:lnTo>
                  <a:lnTo>
                    <a:pt x="181" y="200"/>
                  </a:lnTo>
                  <a:lnTo>
                    <a:pt x="183" y="191"/>
                  </a:lnTo>
                  <a:lnTo>
                    <a:pt x="186" y="184"/>
                  </a:lnTo>
                  <a:lnTo>
                    <a:pt x="189" y="176"/>
                  </a:lnTo>
                  <a:lnTo>
                    <a:pt x="194" y="170"/>
                  </a:lnTo>
                  <a:lnTo>
                    <a:pt x="199" y="165"/>
                  </a:lnTo>
                  <a:lnTo>
                    <a:pt x="204" y="160"/>
                  </a:lnTo>
                  <a:lnTo>
                    <a:pt x="215" y="154"/>
                  </a:lnTo>
                  <a:lnTo>
                    <a:pt x="126" y="0"/>
                  </a:lnTo>
                  <a:lnTo>
                    <a:pt x="115" y="7"/>
                  </a:lnTo>
                  <a:lnTo>
                    <a:pt x="102" y="14"/>
                  </a:lnTo>
                  <a:lnTo>
                    <a:pt x="91" y="23"/>
                  </a:lnTo>
                  <a:lnTo>
                    <a:pt x="80" y="34"/>
                  </a:lnTo>
                  <a:lnTo>
                    <a:pt x="69" y="44"/>
                  </a:lnTo>
                  <a:lnTo>
                    <a:pt x="58" y="55"/>
                  </a:lnTo>
                  <a:lnTo>
                    <a:pt x="50" y="68"/>
                  </a:lnTo>
                  <a:lnTo>
                    <a:pt x="40" y="81"/>
                  </a:lnTo>
                  <a:lnTo>
                    <a:pt x="33" y="95"/>
                  </a:lnTo>
                  <a:lnTo>
                    <a:pt x="25" y="109"/>
                  </a:lnTo>
                  <a:lnTo>
                    <a:pt x="19" y="124"/>
                  </a:lnTo>
                  <a:lnTo>
                    <a:pt x="13" y="139"/>
                  </a:lnTo>
                  <a:lnTo>
                    <a:pt x="9" y="154"/>
                  </a:lnTo>
                  <a:lnTo>
                    <a:pt x="5" y="170"/>
                  </a:lnTo>
                  <a:lnTo>
                    <a:pt x="3" y="185"/>
                  </a:lnTo>
                  <a:lnTo>
                    <a:pt x="0" y="201"/>
                  </a:lnTo>
                  <a:lnTo>
                    <a:pt x="0" y="217"/>
                  </a:lnTo>
                  <a:lnTo>
                    <a:pt x="0" y="229"/>
                  </a:lnTo>
                  <a:lnTo>
                    <a:pt x="179" y="229"/>
                  </a:lnTo>
                  <a:lnTo>
                    <a:pt x="179"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9" name="Freeform 112">
              <a:extLst>
                <a:ext uri="{FF2B5EF4-FFF2-40B4-BE49-F238E27FC236}">
                  <a16:creationId xmlns:a16="http://schemas.microsoft.com/office/drawing/2014/main" id="{91059D0A-2A53-4AAE-BEC9-35CE5CBBDE8A}"/>
                </a:ext>
              </a:extLst>
            </p:cNvPr>
            <p:cNvSpPr>
              <a:spLocks/>
            </p:cNvSpPr>
            <p:nvPr/>
          </p:nvSpPr>
          <p:spPr bwMode="auto">
            <a:xfrm>
              <a:off x="1043197" y="6629719"/>
              <a:ext cx="17937" cy="17937"/>
            </a:xfrm>
            <a:custGeom>
              <a:avLst/>
              <a:gdLst>
                <a:gd name="T0" fmla="*/ 0 w 51"/>
                <a:gd name="T1" fmla="*/ 25 h 50"/>
                <a:gd name="T2" fmla="*/ 0 w 51"/>
                <a:gd name="T3" fmla="*/ 30 h 50"/>
                <a:gd name="T4" fmla="*/ 2 w 51"/>
                <a:gd name="T5" fmla="*/ 35 h 50"/>
                <a:gd name="T6" fmla="*/ 5 w 51"/>
                <a:gd name="T7" fmla="*/ 39 h 50"/>
                <a:gd name="T8" fmla="*/ 7 w 51"/>
                <a:gd name="T9" fmla="*/ 42 h 50"/>
                <a:gd name="T10" fmla="*/ 11 w 51"/>
                <a:gd name="T11" fmla="*/ 46 h 50"/>
                <a:gd name="T12" fmla="*/ 15 w 51"/>
                <a:gd name="T13" fmla="*/ 49 h 50"/>
                <a:gd name="T14" fmla="*/ 20 w 51"/>
                <a:gd name="T15" fmla="*/ 50 h 50"/>
                <a:gd name="T16" fmla="*/ 25 w 51"/>
                <a:gd name="T17" fmla="*/ 50 h 50"/>
                <a:gd name="T18" fmla="*/ 31 w 51"/>
                <a:gd name="T19" fmla="*/ 50 h 50"/>
                <a:gd name="T20" fmla="*/ 35 w 51"/>
                <a:gd name="T21" fmla="*/ 49 h 50"/>
                <a:gd name="T22" fmla="*/ 40 w 51"/>
                <a:gd name="T23" fmla="*/ 46 h 50"/>
                <a:gd name="T24" fmla="*/ 43 w 51"/>
                <a:gd name="T25" fmla="*/ 42 h 50"/>
                <a:gd name="T26" fmla="*/ 47 w 51"/>
                <a:gd name="T27" fmla="*/ 39 h 50"/>
                <a:gd name="T28" fmla="*/ 49 w 51"/>
                <a:gd name="T29" fmla="*/ 35 h 50"/>
                <a:gd name="T30" fmla="*/ 50 w 51"/>
                <a:gd name="T31" fmla="*/ 30 h 50"/>
                <a:gd name="T32" fmla="*/ 51 w 51"/>
                <a:gd name="T33" fmla="*/ 25 h 50"/>
                <a:gd name="T34" fmla="*/ 50 w 51"/>
                <a:gd name="T35" fmla="*/ 20 h 50"/>
                <a:gd name="T36" fmla="*/ 49 w 51"/>
                <a:gd name="T37" fmla="*/ 15 h 50"/>
                <a:gd name="T38" fmla="*/ 47 w 51"/>
                <a:gd name="T39" fmla="*/ 10 h 50"/>
                <a:gd name="T40" fmla="*/ 43 w 51"/>
                <a:gd name="T41" fmla="*/ 7 h 50"/>
                <a:gd name="T42" fmla="*/ 40 w 51"/>
                <a:gd name="T43" fmla="*/ 4 h 50"/>
                <a:gd name="T44" fmla="*/ 35 w 51"/>
                <a:gd name="T45" fmla="*/ 2 h 50"/>
                <a:gd name="T46" fmla="*/ 31 w 51"/>
                <a:gd name="T47" fmla="*/ 0 h 50"/>
                <a:gd name="T48" fmla="*/ 25 w 51"/>
                <a:gd name="T49" fmla="*/ 0 h 50"/>
                <a:gd name="T50" fmla="*/ 20 w 51"/>
                <a:gd name="T51" fmla="*/ 0 h 50"/>
                <a:gd name="T52" fmla="*/ 15 w 51"/>
                <a:gd name="T53" fmla="*/ 2 h 50"/>
                <a:gd name="T54" fmla="*/ 11 w 51"/>
                <a:gd name="T55" fmla="*/ 4 h 50"/>
                <a:gd name="T56" fmla="*/ 7 w 51"/>
                <a:gd name="T57" fmla="*/ 7 h 50"/>
                <a:gd name="T58" fmla="*/ 5 w 51"/>
                <a:gd name="T59" fmla="*/ 10 h 50"/>
                <a:gd name="T60" fmla="*/ 2 w 51"/>
                <a:gd name="T61" fmla="*/ 15 h 50"/>
                <a:gd name="T62" fmla="*/ 0 w 51"/>
                <a:gd name="T63" fmla="*/ 20 h 50"/>
                <a:gd name="T64" fmla="*/ 0 w 51"/>
                <a:gd name="T6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0">
                  <a:moveTo>
                    <a:pt x="0" y="25"/>
                  </a:moveTo>
                  <a:lnTo>
                    <a:pt x="0" y="30"/>
                  </a:lnTo>
                  <a:lnTo>
                    <a:pt x="2" y="35"/>
                  </a:lnTo>
                  <a:lnTo>
                    <a:pt x="5" y="39"/>
                  </a:lnTo>
                  <a:lnTo>
                    <a:pt x="7" y="42"/>
                  </a:lnTo>
                  <a:lnTo>
                    <a:pt x="11" y="46"/>
                  </a:lnTo>
                  <a:lnTo>
                    <a:pt x="15" y="49"/>
                  </a:lnTo>
                  <a:lnTo>
                    <a:pt x="20" y="50"/>
                  </a:lnTo>
                  <a:lnTo>
                    <a:pt x="25" y="50"/>
                  </a:lnTo>
                  <a:lnTo>
                    <a:pt x="31" y="50"/>
                  </a:lnTo>
                  <a:lnTo>
                    <a:pt x="35" y="49"/>
                  </a:lnTo>
                  <a:lnTo>
                    <a:pt x="40" y="46"/>
                  </a:lnTo>
                  <a:lnTo>
                    <a:pt x="43" y="42"/>
                  </a:lnTo>
                  <a:lnTo>
                    <a:pt x="47" y="39"/>
                  </a:lnTo>
                  <a:lnTo>
                    <a:pt x="49" y="35"/>
                  </a:lnTo>
                  <a:lnTo>
                    <a:pt x="50" y="30"/>
                  </a:lnTo>
                  <a:lnTo>
                    <a:pt x="51" y="25"/>
                  </a:lnTo>
                  <a:lnTo>
                    <a:pt x="50" y="20"/>
                  </a:lnTo>
                  <a:lnTo>
                    <a:pt x="49" y="15"/>
                  </a:lnTo>
                  <a:lnTo>
                    <a:pt x="47" y="10"/>
                  </a:lnTo>
                  <a:lnTo>
                    <a:pt x="43" y="7"/>
                  </a:lnTo>
                  <a:lnTo>
                    <a:pt x="40" y="4"/>
                  </a:lnTo>
                  <a:lnTo>
                    <a:pt x="35" y="2"/>
                  </a:lnTo>
                  <a:lnTo>
                    <a:pt x="31" y="0"/>
                  </a:lnTo>
                  <a:lnTo>
                    <a:pt x="25" y="0"/>
                  </a:lnTo>
                  <a:lnTo>
                    <a:pt x="20" y="0"/>
                  </a:lnTo>
                  <a:lnTo>
                    <a:pt x="15" y="2"/>
                  </a:lnTo>
                  <a:lnTo>
                    <a:pt x="11" y="4"/>
                  </a:lnTo>
                  <a:lnTo>
                    <a:pt x="7" y="7"/>
                  </a:lnTo>
                  <a:lnTo>
                    <a:pt x="5" y="10"/>
                  </a:lnTo>
                  <a:lnTo>
                    <a:pt x="2" y="15"/>
                  </a:lnTo>
                  <a:lnTo>
                    <a:pt x="0" y="20"/>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sp>
        <p:nvSpPr>
          <p:cNvPr id="1454" name="Freeform 20">
            <a:extLst>
              <a:ext uri="{FF2B5EF4-FFF2-40B4-BE49-F238E27FC236}">
                <a16:creationId xmlns:a16="http://schemas.microsoft.com/office/drawing/2014/main" id="{2C95202A-9DD8-4BAB-B929-9E6623B860A9}"/>
              </a:ext>
            </a:extLst>
          </p:cNvPr>
          <p:cNvSpPr>
            <a:spLocks noChangeAspect="1" noEditPoints="1"/>
          </p:cNvSpPr>
          <p:nvPr/>
        </p:nvSpPr>
        <p:spPr bwMode="auto">
          <a:xfrm>
            <a:off x="4511722" y="4879041"/>
            <a:ext cx="162536" cy="285619"/>
          </a:xfrm>
          <a:custGeom>
            <a:avLst/>
            <a:gdLst>
              <a:gd name="T0" fmla="*/ 263 w 514"/>
              <a:gd name="T1" fmla="*/ 487 h 907"/>
              <a:gd name="T2" fmla="*/ 263 w 514"/>
              <a:gd name="T3" fmla="*/ 858 h 907"/>
              <a:gd name="T4" fmla="*/ 476 w 514"/>
              <a:gd name="T5" fmla="*/ 241 h 907"/>
              <a:gd name="T6" fmla="*/ 263 w 514"/>
              <a:gd name="T7" fmla="*/ 48 h 907"/>
              <a:gd name="T8" fmla="*/ 508 w 514"/>
              <a:gd name="T9" fmla="*/ 253 h 907"/>
              <a:gd name="T10" fmla="*/ 513 w 514"/>
              <a:gd name="T11" fmla="*/ 249 h 907"/>
              <a:gd name="T12" fmla="*/ 514 w 514"/>
              <a:gd name="T13" fmla="*/ 242 h 907"/>
              <a:gd name="T14" fmla="*/ 513 w 514"/>
              <a:gd name="T15" fmla="*/ 236 h 907"/>
              <a:gd name="T16" fmla="*/ 509 w 514"/>
              <a:gd name="T17" fmla="*/ 231 h 907"/>
              <a:gd name="T18" fmla="*/ 254 w 514"/>
              <a:gd name="T19" fmla="*/ 1 h 907"/>
              <a:gd name="T20" fmla="*/ 246 w 514"/>
              <a:gd name="T21" fmla="*/ 0 h 907"/>
              <a:gd name="T22" fmla="*/ 238 w 514"/>
              <a:gd name="T23" fmla="*/ 3 h 907"/>
              <a:gd name="T24" fmla="*/ 234 w 514"/>
              <a:gd name="T25" fmla="*/ 11 h 907"/>
              <a:gd name="T26" fmla="*/ 233 w 514"/>
              <a:gd name="T27" fmla="*/ 421 h 907"/>
              <a:gd name="T28" fmla="*/ 22 w 514"/>
              <a:gd name="T29" fmla="*/ 243 h 907"/>
              <a:gd name="T30" fmla="*/ 16 w 514"/>
              <a:gd name="T31" fmla="*/ 242 h 907"/>
              <a:gd name="T32" fmla="*/ 11 w 514"/>
              <a:gd name="T33" fmla="*/ 242 h 907"/>
              <a:gd name="T34" fmla="*/ 5 w 514"/>
              <a:gd name="T35" fmla="*/ 246 h 907"/>
              <a:gd name="T36" fmla="*/ 1 w 514"/>
              <a:gd name="T37" fmla="*/ 250 h 907"/>
              <a:gd name="T38" fmla="*/ 0 w 514"/>
              <a:gd name="T39" fmla="*/ 255 h 907"/>
              <a:gd name="T40" fmla="*/ 0 w 514"/>
              <a:gd name="T41" fmla="*/ 262 h 907"/>
              <a:gd name="T42" fmla="*/ 3 w 514"/>
              <a:gd name="T43" fmla="*/ 267 h 907"/>
              <a:gd name="T44" fmla="*/ 224 w 514"/>
              <a:gd name="T45" fmla="*/ 454 h 907"/>
              <a:gd name="T46" fmla="*/ 3 w 514"/>
              <a:gd name="T47" fmla="*/ 641 h 907"/>
              <a:gd name="T48" fmla="*/ 0 w 514"/>
              <a:gd name="T49" fmla="*/ 647 h 907"/>
              <a:gd name="T50" fmla="*/ 0 w 514"/>
              <a:gd name="T51" fmla="*/ 652 h 907"/>
              <a:gd name="T52" fmla="*/ 1 w 514"/>
              <a:gd name="T53" fmla="*/ 657 h 907"/>
              <a:gd name="T54" fmla="*/ 5 w 514"/>
              <a:gd name="T55" fmla="*/ 663 h 907"/>
              <a:gd name="T56" fmla="*/ 11 w 514"/>
              <a:gd name="T57" fmla="*/ 665 h 907"/>
              <a:gd name="T58" fmla="*/ 16 w 514"/>
              <a:gd name="T59" fmla="*/ 666 h 907"/>
              <a:gd name="T60" fmla="*/ 22 w 514"/>
              <a:gd name="T61" fmla="*/ 664 h 907"/>
              <a:gd name="T62" fmla="*/ 233 w 514"/>
              <a:gd name="T63" fmla="*/ 487 h 907"/>
              <a:gd name="T64" fmla="*/ 234 w 514"/>
              <a:gd name="T65" fmla="*/ 896 h 907"/>
              <a:gd name="T66" fmla="*/ 238 w 514"/>
              <a:gd name="T67" fmla="*/ 904 h 907"/>
              <a:gd name="T68" fmla="*/ 244 w 514"/>
              <a:gd name="T69" fmla="*/ 907 h 907"/>
              <a:gd name="T70" fmla="*/ 253 w 514"/>
              <a:gd name="T71" fmla="*/ 906 h 907"/>
              <a:gd name="T72" fmla="*/ 509 w 514"/>
              <a:gd name="T73" fmla="*/ 677 h 907"/>
              <a:gd name="T74" fmla="*/ 513 w 514"/>
              <a:gd name="T75" fmla="*/ 671 h 907"/>
              <a:gd name="T76" fmla="*/ 514 w 514"/>
              <a:gd name="T77" fmla="*/ 665 h 907"/>
              <a:gd name="T78" fmla="*/ 513 w 514"/>
              <a:gd name="T79" fmla="*/ 659 h 907"/>
              <a:gd name="T80" fmla="*/ 508 w 514"/>
              <a:gd name="T81" fmla="*/ 65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4" h="907">
                <a:moveTo>
                  <a:pt x="263" y="858"/>
                </a:moveTo>
                <a:lnTo>
                  <a:pt x="263" y="487"/>
                </a:lnTo>
                <a:lnTo>
                  <a:pt x="476" y="666"/>
                </a:lnTo>
                <a:lnTo>
                  <a:pt x="263" y="858"/>
                </a:lnTo>
                <a:close/>
                <a:moveTo>
                  <a:pt x="263" y="48"/>
                </a:moveTo>
                <a:lnTo>
                  <a:pt x="476" y="241"/>
                </a:lnTo>
                <a:lnTo>
                  <a:pt x="263" y="421"/>
                </a:lnTo>
                <a:lnTo>
                  <a:pt x="263" y="48"/>
                </a:lnTo>
                <a:close/>
                <a:moveTo>
                  <a:pt x="271" y="454"/>
                </a:moveTo>
                <a:lnTo>
                  <a:pt x="508" y="253"/>
                </a:lnTo>
                <a:lnTo>
                  <a:pt x="512" y="251"/>
                </a:lnTo>
                <a:lnTo>
                  <a:pt x="513" y="249"/>
                </a:lnTo>
                <a:lnTo>
                  <a:pt x="514" y="246"/>
                </a:lnTo>
                <a:lnTo>
                  <a:pt x="514" y="242"/>
                </a:lnTo>
                <a:lnTo>
                  <a:pt x="514" y="239"/>
                </a:lnTo>
                <a:lnTo>
                  <a:pt x="513" y="236"/>
                </a:lnTo>
                <a:lnTo>
                  <a:pt x="512" y="234"/>
                </a:lnTo>
                <a:lnTo>
                  <a:pt x="509" y="231"/>
                </a:lnTo>
                <a:lnTo>
                  <a:pt x="258" y="3"/>
                </a:lnTo>
                <a:lnTo>
                  <a:pt x="254" y="1"/>
                </a:lnTo>
                <a:lnTo>
                  <a:pt x="250" y="0"/>
                </a:lnTo>
                <a:lnTo>
                  <a:pt x="246" y="0"/>
                </a:lnTo>
                <a:lnTo>
                  <a:pt x="241" y="1"/>
                </a:lnTo>
                <a:lnTo>
                  <a:pt x="238" y="3"/>
                </a:lnTo>
                <a:lnTo>
                  <a:pt x="235" y="7"/>
                </a:lnTo>
                <a:lnTo>
                  <a:pt x="234" y="11"/>
                </a:lnTo>
                <a:lnTo>
                  <a:pt x="233" y="15"/>
                </a:lnTo>
                <a:lnTo>
                  <a:pt x="233" y="421"/>
                </a:lnTo>
                <a:lnTo>
                  <a:pt x="25" y="246"/>
                </a:lnTo>
                <a:lnTo>
                  <a:pt x="22" y="243"/>
                </a:lnTo>
                <a:lnTo>
                  <a:pt x="19" y="242"/>
                </a:lnTo>
                <a:lnTo>
                  <a:pt x="16" y="242"/>
                </a:lnTo>
                <a:lnTo>
                  <a:pt x="14" y="242"/>
                </a:lnTo>
                <a:lnTo>
                  <a:pt x="11" y="242"/>
                </a:lnTo>
                <a:lnTo>
                  <a:pt x="7" y="243"/>
                </a:lnTo>
                <a:lnTo>
                  <a:pt x="5" y="246"/>
                </a:lnTo>
                <a:lnTo>
                  <a:pt x="3" y="248"/>
                </a:lnTo>
                <a:lnTo>
                  <a:pt x="1" y="250"/>
                </a:lnTo>
                <a:lnTo>
                  <a:pt x="0" y="253"/>
                </a:lnTo>
                <a:lnTo>
                  <a:pt x="0" y="255"/>
                </a:lnTo>
                <a:lnTo>
                  <a:pt x="0" y="258"/>
                </a:lnTo>
                <a:lnTo>
                  <a:pt x="0" y="262"/>
                </a:lnTo>
                <a:lnTo>
                  <a:pt x="1" y="264"/>
                </a:lnTo>
                <a:lnTo>
                  <a:pt x="3" y="267"/>
                </a:lnTo>
                <a:lnTo>
                  <a:pt x="5" y="269"/>
                </a:lnTo>
                <a:lnTo>
                  <a:pt x="224" y="454"/>
                </a:lnTo>
                <a:lnTo>
                  <a:pt x="5" y="639"/>
                </a:lnTo>
                <a:lnTo>
                  <a:pt x="3" y="641"/>
                </a:lnTo>
                <a:lnTo>
                  <a:pt x="1" y="643"/>
                </a:lnTo>
                <a:lnTo>
                  <a:pt x="0" y="647"/>
                </a:lnTo>
                <a:lnTo>
                  <a:pt x="0" y="649"/>
                </a:lnTo>
                <a:lnTo>
                  <a:pt x="0" y="652"/>
                </a:lnTo>
                <a:lnTo>
                  <a:pt x="0" y="655"/>
                </a:lnTo>
                <a:lnTo>
                  <a:pt x="1" y="657"/>
                </a:lnTo>
                <a:lnTo>
                  <a:pt x="3" y="660"/>
                </a:lnTo>
                <a:lnTo>
                  <a:pt x="5" y="663"/>
                </a:lnTo>
                <a:lnTo>
                  <a:pt x="7" y="664"/>
                </a:lnTo>
                <a:lnTo>
                  <a:pt x="11" y="665"/>
                </a:lnTo>
                <a:lnTo>
                  <a:pt x="14" y="666"/>
                </a:lnTo>
                <a:lnTo>
                  <a:pt x="16" y="666"/>
                </a:lnTo>
                <a:lnTo>
                  <a:pt x="19" y="665"/>
                </a:lnTo>
                <a:lnTo>
                  <a:pt x="22" y="664"/>
                </a:lnTo>
                <a:lnTo>
                  <a:pt x="25" y="662"/>
                </a:lnTo>
                <a:lnTo>
                  <a:pt x="233" y="487"/>
                </a:lnTo>
                <a:lnTo>
                  <a:pt x="233" y="892"/>
                </a:lnTo>
                <a:lnTo>
                  <a:pt x="234" y="896"/>
                </a:lnTo>
                <a:lnTo>
                  <a:pt x="235" y="901"/>
                </a:lnTo>
                <a:lnTo>
                  <a:pt x="238" y="904"/>
                </a:lnTo>
                <a:lnTo>
                  <a:pt x="241" y="906"/>
                </a:lnTo>
                <a:lnTo>
                  <a:pt x="244" y="907"/>
                </a:lnTo>
                <a:lnTo>
                  <a:pt x="248" y="907"/>
                </a:lnTo>
                <a:lnTo>
                  <a:pt x="253" y="906"/>
                </a:lnTo>
                <a:lnTo>
                  <a:pt x="258" y="903"/>
                </a:lnTo>
                <a:lnTo>
                  <a:pt x="509" y="677"/>
                </a:lnTo>
                <a:lnTo>
                  <a:pt x="512" y="674"/>
                </a:lnTo>
                <a:lnTo>
                  <a:pt x="513" y="671"/>
                </a:lnTo>
                <a:lnTo>
                  <a:pt x="514" y="668"/>
                </a:lnTo>
                <a:lnTo>
                  <a:pt x="514" y="665"/>
                </a:lnTo>
                <a:lnTo>
                  <a:pt x="514" y="662"/>
                </a:lnTo>
                <a:lnTo>
                  <a:pt x="513" y="659"/>
                </a:lnTo>
                <a:lnTo>
                  <a:pt x="512" y="656"/>
                </a:lnTo>
                <a:lnTo>
                  <a:pt x="508" y="654"/>
                </a:lnTo>
                <a:lnTo>
                  <a:pt x="271" y="45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55" name="Group 67">
            <a:extLst>
              <a:ext uri="{FF2B5EF4-FFF2-40B4-BE49-F238E27FC236}">
                <a16:creationId xmlns:a16="http://schemas.microsoft.com/office/drawing/2014/main" id="{2C773B72-29A9-4CB7-B31C-54289FFAA5AF}"/>
              </a:ext>
            </a:extLst>
          </p:cNvPr>
          <p:cNvGrpSpPr>
            <a:grpSpLocks noChangeAspect="1"/>
          </p:cNvGrpSpPr>
          <p:nvPr/>
        </p:nvGrpSpPr>
        <p:grpSpPr>
          <a:xfrm>
            <a:off x="4912514" y="4879041"/>
            <a:ext cx="276149" cy="285619"/>
            <a:chOff x="3773488" y="784225"/>
            <a:chExt cx="277812" cy="287338"/>
          </a:xfrm>
          <a:solidFill>
            <a:schemeClr val="bg2"/>
          </a:solidFill>
          <a:effectLst/>
        </p:grpSpPr>
        <p:sp>
          <p:nvSpPr>
            <p:cNvPr id="1456" name="Freeform 70">
              <a:extLst>
                <a:ext uri="{FF2B5EF4-FFF2-40B4-BE49-F238E27FC236}">
                  <a16:creationId xmlns:a16="http://schemas.microsoft.com/office/drawing/2014/main" id="{C305991D-388B-47EB-A9BC-4F80ED2498C1}"/>
                </a:ext>
              </a:extLst>
            </p:cNvPr>
            <p:cNvSpPr>
              <a:spLocks noEditPoints="1"/>
            </p:cNvSpPr>
            <p:nvPr/>
          </p:nvSpPr>
          <p:spPr bwMode="auto">
            <a:xfrm>
              <a:off x="3946525" y="784225"/>
              <a:ext cx="104775" cy="104775"/>
            </a:xfrm>
            <a:custGeom>
              <a:avLst/>
              <a:gdLst>
                <a:gd name="T0" fmla="*/ 122 w 333"/>
                <a:gd name="T1" fmla="*/ 296 h 333"/>
                <a:gd name="T2" fmla="*/ 37 w 333"/>
                <a:gd name="T3" fmla="*/ 211 h 333"/>
                <a:gd name="T4" fmla="*/ 212 w 333"/>
                <a:gd name="T5" fmla="*/ 37 h 333"/>
                <a:gd name="T6" fmla="*/ 296 w 333"/>
                <a:gd name="T7" fmla="*/ 121 h 333"/>
                <a:gd name="T8" fmla="*/ 122 w 333"/>
                <a:gd name="T9" fmla="*/ 296 h 333"/>
                <a:gd name="T10" fmla="*/ 329 w 333"/>
                <a:gd name="T11" fmla="*/ 111 h 333"/>
                <a:gd name="T12" fmla="*/ 222 w 333"/>
                <a:gd name="T13" fmla="*/ 5 h 333"/>
                <a:gd name="T14" fmla="*/ 220 w 333"/>
                <a:gd name="T15" fmla="*/ 2 h 333"/>
                <a:gd name="T16" fmla="*/ 218 w 333"/>
                <a:gd name="T17" fmla="*/ 1 h 333"/>
                <a:gd name="T18" fmla="*/ 215 w 333"/>
                <a:gd name="T19" fmla="*/ 0 h 333"/>
                <a:gd name="T20" fmla="*/ 212 w 333"/>
                <a:gd name="T21" fmla="*/ 0 h 333"/>
                <a:gd name="T22" fmla="*/ 209 w 333"/>
                <a:gd name="T23" fmla="*/ 0 h 333"/>
                <a:gd name="T24" fmla="*/ 206 w 333"/>
                <a:gd name="T25" fmla="*/ 1 h 333"/>
                <a:gd name="T26" fmla="*/ 203 w 333"/>
                <a:gd name="T27" fmla="*/ 2 h 333"/>
                <a:gd name="T28" fmla="*/ 201 w 333"/>
                <a:gd name="T29" fmla="*/ 5 h 333"/>
                <a:gd name="T30" fmla="*/ 5 w 333"/>
                <a:gd name="T31" fmla="*/ 201 h 333"/>
                <a:gd name="T32" fmla="*/ 2 w 333"/>
                <a:gd name="T33" fmla="*/ 203 h 333"/>
                <a:gd name="T34" fmla="*/ 1 w 333"/>
                <a:gd name="T35" fmla="*/ 206 h 333"/>
                <a:gd name="T36" fmla="*/ 0 w 333"/>
                <a:gd name="T37" fmla="*/ 209 h 333"/>
                <a:gd name="T38" fmla="*/ 0 w 333"/>
                <a:gd name="T39" fmla="*/ 211 h 333"/>
                <a:gd name="T40" fmla="*/ 0 w 333"/>
                <a:gd name="T41" fmla="*/ 215 h 333"/>
                <a:gd name="T42" fmla="*/ 1 w 333"/>
                <a:gd name="T43" fmla="*/ 218 h 333"/>
                <a:gd name="T44" fmla="*/ 2 w 333"/>
                <a:gd name="T45" fmla="*/ 220 h 333"/>
                <a:gd name="T46" fmla="*/ 5 w 333"/>
                <a:gd name="T47" fmla="*/ 222 h 333"/>
                <a:gd name="T48" fmla="*/ 111 w 333"/>
                <a:gd name="T49" fmla="*/ 328 h 333"/>
                <a:gd name="T50" fmla="*/ 113 w 333"/>
                <a:gd name="T51" fmla="*/ 330 h 333"/>
                <a:gd name="T52" fmla="*/ 115 w 333"/>
                <a:gd name="T53" fmla="*/ 331 h 333"/>
                <a:gd name="T54" fmla="*/ 118 w 333"/>
                <a:gd name="T55" fmla="*/ 333 h 333"/>
                <a:gd name="T56" fmla="*/ 122 w 333"/>
                <a:gd name="T57" fmla="*/ 333 h 333"/>
                <a:gd name="T58" fmla="*/ 124 w 333"/>
                <a:gd name="T59" fmla="*/ 333 h 333"/>
                <a:gd name="T60" fmla="*/ 127 w 333"/>
                <a:gd name="T61" fmla="*/ 331 h 333"/>
                <a:gd name="T62" fmla="*/ 129 w 333"/>
                <a:gd name="T63" fmla="*/ 330 h 333"/>
                <a:gd name="T64" fmla="*/ 132 w 333"/>
                <a:gd name="T65" fmla="*/ 328 h 333"/>
                <a:gd name="T66" fmla="*/ 329 w 333"/>
                <a:gd name="T67" fmla="*/ 132 h 333"/>
                <a:gd name="T68" fmla="*/ 331 w 333"/>
                <a:gd name="T69" fmla="*/ 129 h 333"/>
                <a:gd name="T70" fmla="*/ 332 w 333"/>
                <a:gd name="T71" fmla="*/ 127 h 333"/>
                <a:gd name="T72" fmla="*/ 333 w 333"/>
                <a:gd name="T73" fmla="*/ 124 h 333"/>
                <a:gd name="T74" fmla="*/ 333 w 333"/>
                <a:gd name="T75" fmla="*/ 121 h 333"/>
                <a:gd name="T76" fmla="*/ 333 w 333"/>
                <a:gd name="T77" fmla="*/ 118 h 333"/>
                <a:gd name="T78" fmla="*/ 332 w 333"/>
                <a:gd name="T79" fmla="*/ 115 h 333"/>
                <a:gd name="T80" fmla="*/ 331 w 333"/>
                <a:gd name="T81" fmla="*/ 113 h 333"/>
                <a:gd name="T82" fmla="*/ 329 w 333"/>
                <a:gd name="T83" fmla="*/ 11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3" h="333">
                  <a:moveTo>
                    <a:pt x="122" y="296"/>
                  </a:moveTo>
                  <a:lnTo>
                    <a:pt x="37" y="211"/>
                  </a:lnTo>
                  <a:lnTo>
                    <a:pt x="212" y="37"/>
                  </a:lnTo>
                  <a:lnTo>
                    <a:pt x="296" y="121"/>
                  </a:lnTo>
                  <a:lnTo>
                    <a:pt x="122" y="296"/>
                  </a:lnTo>
                  <a:close/>
                  <a:moveTo>
                    <a:pt x="329" y="111"/>
                  </a:moveTo>
                  <a:lnTo>
                    <a:pt x="222" y="5"/>
                  </a:lnTo>
                  <a:lnTo>
                    <a:pt x="220" y="2"/>
                  </a:lnTo>
                  <a:lnTo>
                    <a:pt x="218" y="1"/>
                  </a:lnTo>
                  <a:lnTo>
                    <a:pt x="215" y="0"/>
                  </a:lnTo>
                  <a:lnTo>
                    <a:pt x="212" y="0"/>
                  </a:lnTo>
                  <a:lnTo>
                    <a:pt x="209" y="0"/>
                  </a:lnTo>
                  <a:lnTo>
                    <a:pt x="206" y="1"/>
                  </a:lnTo>
                  <a:lnTo>
                    <a:pt x="203" y="2"/>
                  </a:lnTo>
                  <a:lnTo>
                    <a:pt x="201" y="5"/>
                  </a:lnTo>
                  <a:lnTo>
                    <a:pt x="5" y="201"/>
                  </a:lnTo>
                  <a:lnTo>
                    <a:pt x="2" y="203"/>
                  </a:lnTo>
                  <a:lnTo>
                    <a:pt x="1" y="206"/>
                  </a:lnTo>
                  <a:lnTo>
                    <a:pt x="0" y="209"/>
                  </a:lnTo>
                  <a:lnTo>
                    <a:pt x="0" y="211"/>
                  </a:lnTo>
                  <a:lnTo>
                    <a:pt x="0" y="215"/>
                  </a:lnTo>
                  <a:lnTo>
                    <a:pt x="1" y="218"/>
                  </a:lnTo>
                  <a:lnTo>
                    <a:pt x="2" y="220"/>
                  </a:lnTo>
                  <a:lnTo>
                    <a:pt x="5" y="222"/>
                  </a:lnTo>
                  <a:lnTo>
                    <a:pt x="111" y="328"/>
                  </a:lnTo>
                  <a:lnTo>
                    <a:pt x="113" y="330"/>
                  </a:lnTo>
                  <a:lnTo>
                    <a:pt x="115" y="331"/>
                  </a:lnTo>
                  <a:lnTo>
                    <a:pt x="118" y="333"/>
                  </a:lnTo>
                  <a:lnTo>
                    <a:pt x="122" y="333"/>
                  </a:lnTo>
                  <a:lnTo>
                    <a:pt x="124" y="333"/>
                  </a:lnTo>
                  <a:lnTo>
                    <a:pt x="127" y="331"/>
                  </a:lnTo>
                  <a:lnTo>
                    <a:pt x="129" y="330"/>
                  </a:lnTo>
                  <a:lnTo>
                    <a:pt x="132" y="328"/>
                  </a:lnTo>
                  <a:lnTo>
                    <a:pt x="329" y="132"/>
                  </a:lnTo>
                  <a:lnTo>
                    <a:pt x="331" y="129"/>
                  </a:lnTo>
                  <a:lnTo>
                    <a:pt x="332" y="127"/>
                  </a:lnTo>
                  <a:lnTo>
                    <a:pt x="333" y="124"/>
                  </a:lnTo>
                  <a:lnTo>
                    <a:pt x="333" y="121"/>
                  </a:lnTo>
                  <a:lnTo>
                    <a:pt x="333" y="118"/>
                  </a:lnTo>
                  <a:lnTo>
                    <a:pt x="332" y="115"/>
                  </a:lnTo>
                  <a:lnTo>
                    <a:pt x="331" y="113"/>
                  </a:lnTo>
                  <a:lnTo>
                    <a:pt x="32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71">
              <a:extLst>
                <a:ext uri="{FF2B5EF4-FFF2-40B4-BE49-F238E27FC236}">
                  <a16:creationId xmlns:a16="http://schemas.microsoft.com/office/drawing/2014/main" id="{1C8CE58B-17E2-4CC9-9D6A-C1EA936180FF}"/>
                </a:ext>
              </a:extLst>
            </p:cNvPr>
            <p:cNvSpPr>
              <a:spLocks noEditPoints="1"/>
            </p:cNvSpPr>
            <p:nvPr/>
          </p:nvSpPr>
          <p:spPr bwMode="auto">
            <a:xfrm>
              <a:off x="3868738" y="1033463"/>
              <a:ext cx="68263" cy="38100"/>
            </a:xfrm>
            <a:custGeom>
              <a:avLst/>
              <a:gdLst>
                <a:gd name="T0" fmla="*/ 181 w 212"/>
                <a:gd name="T1" fmla="*/ 91 h 121"/>
                <a:gd name="T2" fmla="*/ 30 w 212"/>
                <a:gd name="T3" fmla="*/ 91 h 121"/>
                <a:gd name="T4" fmla="*/ 30 w 212"/>
                <a:gd name="T5" fmla="*/ 31 h 121"/>
                <a:gd name="T6" fmla="*/ 181 w 212"/>
                <a:gd name="T7" fmla="*/ 31 h 121"/>
                <a:gd name="T8" fmla="*/ 181 w 212"/>
                <a:gd name="T9" fmla="*/ 91 h 121"/>
                <a:gd name="T10" fmla="*/ 196 w 212"/>
                <a:gd name="T11" fmla="*/ 0 h 121"/>
                <a:gd name="T12" fmla="*/ 15 w 212"/>
                <a:gd name="T13" fmla="*/ 0 h 121"/>
                <a:gd name="T14" fmla="*/ 12 w 212"/>
                <a:gd name="T15" fmla="*/ 1 h 121"/>
                <a:gd name="T16" fmla="*/ 10 w 212"/>
                <a:gd name="T17" fmla="*/ 1 h 121"/>
                <a:gd name="T18" fmla="*/ 6 w 212"/>
                <a:gd name="T19" fmla="*/ 3 h 121"/>
                <a:gd name="T20" fmla="*/ 4 w 212"/>
                <a:gd name="T21" fmla="*/ 4 h 121"/>
                <a:gd name="T22" fmla="*/ 2 w 212"/>
                <a:gd name="T23" fmla="*/ 7 h 121"/>
                <a:gd name="T24" fmla="*/ 1 w 212"/>
                <a:gd name="T25" fmla="*/ 10 h 121"/>
                <a:gd name="T26" fmla="*/ 0 w 212"/>
                <a:gd name="T27" fmla="*/ 13 h 121"/>
                <a:gd name="T28" fmla="*/ 0 w 212"/>
                <a:gd name="T29" fmla="*/ 15 h 121"/>
                <a:gd name="T30" fmla="*/ 0 w 212"/>
                <a:gd name="T31" fmla="*/ 106 h 121"/>
                <a:gd name="T32" fmla="*/ 0 w 212"/>
                <a:gd name="T33" fmla="*/ 109 h 121"/>
                <a:gd name="T34" fmla="*/ 1 w 212"/>
                <a:gd name="T35" fmla="*/ 113 h 121"/>
                <a:gd name="T36" fmla="*/ 2 w 212"/>
                <a:gd name="T37" fmla="*/ 115 h 121"/>
                <a:gd name="T38" fmla="*/ 4 w 212"/>
                <a:gd name="T39" fmla="*/ 117 h 121"/>
                <a:gd name="T40" fmla="*/ 6 w 212"/>
                <a:gd name="T41" fmla="*/ 119 h 121"/>
                <a:gd name="T42" fmla="*/ 10 w 212"/>
                <a:gd name="T43" fmla="*/ 120 h 121"/>
                <a:gd name="T44" fmla="*/ 12 w 212"/>
                <a:gd name="T45" fmla="*/ 121 h 121"/>
                <a:gd name="T46" fmla="*/ 15 w 212"/>
                <a:gd name="T47" fmla="*/ 121 h 121"/>
                <a:gd name="T48" fmla="*/ 196 w 212"/>
                <a:gd name="T49" fmla="*/ 121 h 121"/>
                <a:gd name="T50" fmla="*/ 199 w 212"/>
                <a:gd name="T51" fmla="*/ 121 h 121"/>
                <a:gd name="T52" fmla="*/ 203 w 212"/>
                <a:gd name="T53" fmla="*/ 120 h 121"/>
                <a:gd name="T54" fmla="*/ 205 w 212"/>
                <a:gd name="T55" fmla="*/ 119 h 121"/>
                <a:gd name="T56" fmla="*/ 207 w 212"/>
                <a:gd name="T57" fmla="*/ 117 h 121"/>
                <a:gd name="T58" fmla="*/ 209 w 212"/>
                <a:gd name="T59" fmla="*/ 115 h 121"/>
                <a:gd name="T60" fmla="*/ 210 w 212"/>
                <a:gd name="T61" fmla="*/ 113 h 121"/>
                <a:gd name="T62" fmla="*/ 211 w 212"/>
                <a:gd name="T63" fmla="*/ 109 h 121"/>
                <a:gd name="T64" fmla="*/ 212 w 212"/>
                <a:gd name="T65" fmla="*/ 106 h 121"/>
                <a:gd name="T66" fmla="*/ 212 w 212"/>
                <a:gd name="T67" fmla="*/ 15 h 121"/>
                <a:gd name="T68" fmla="*/ 211 w 212"/>
                <a:gd name="T69" fmla="*/ 13 h 121"/>
                <a:gd name="T70" fmla="*/ 210 w 212"/>
                <a:gd name="T71" fmla="*/ 10 h 121"/>
                <a:gd name="T72" fmla="*/ 209 w 212"/>
                <a:gd name="T73" fmla="*/ 7 h 121"/>
                <a:gd name="T74" fmla="*/ 207 w 212"/>
                <a:gd name="T75" fmla="*/ 4 h 121"/>
                <a:gd name="T76" fmla="*/ 205 w 212"/>
                <a:gd name="T77" fmla="*/ 3 h 121"/>
                <a:gd name="T78" fmla="*/ 203 w 212"/>
                <a:gd name="T79" fmla="*/ 1 h 121"/>
                <a:gd name="T80" fmla="*/ 199 w 212"/>
                <a:gd name="T81" fmla="*/ 1 h 121"/>
                <a:gd name="T82" fmla="*/ 196 w 212"/>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 h="121">
                  <a:moveTo>
                    <a:pt x="181" y="91"/>
                  </a:moveTo>
                  <a:lnTo>
                    <a:pt x="30" y="91"/>
                  </a:lnTo>
                  <a:lnTo>
                    <a:pt x="30" y="31"/>
                  </a:lnTo>
                  <a:lnTo>
                    <a:pt x="181" y="31"/>
                  </a:lnTo>
                  <a:lnTo>
                    <a:pt x="181" y="91"/>
                  </a:lnTo>
                  <a:close/>
                  <a:moveTo>
                    <a:pt x="196" y="0"/>
                  </a:moveTo>
                  <a:lnTo>
                    <a:pt x="15" y="0"/>
                  </a:lnTo>
                  <a:lnTo>
                    <a:pt x="12" y="1"/>
                  </a:lnTo>
                  <a:lnTo>
                    <a:pt x="10" y="1"/>
                  </a:lnTo>
                  <a:lnTo>
                    <a:pt x="6" y="3"/>
                  </a:lnTo>
                  <a:lnTo>
                    <a:pt x="4" y="4"/>
                  </a:lnTo>
                  <a:lnTo>
                    <a:pt x="2" y="7"/>
                  </a:lnTo>
                  <a:lnTo>
                    <a:pt x="1" y="10"/>
                  </a:lnTo>
                  <a:lnTo>
                    <a:pt x="0" y="13"/>
                  </a:lnTo>
                  <a:lnTo>
                    <a:pt x="0" y="15"/>
                  </a:lnTo>
                  <a:lnTo>
                    <a:pt x="0" y="106"/>
                  </a:lnTo>
                  <a:lnTo>
                    <a:pt x="0" y="109"/>
                  </a:lnTo>
                  <a:lnTo>
                    <a:pt x="1" y="113"/>
                  </a:lnTo>
                  <a:lnTo>
                    <a:pt x="2" y="115"/>
                  </a:lnTo>
                  <a:lnTo>
                    <a:pt x="4" y="117"/>
                  </a:lnTo>
                  <a:lnTo>
                    <a:pt x="6" y="119"/>
                  </a:lnTo>
                  <a:lnTo>
                    <a:pt x="10" y="120"/>
                  </a:lnTo>
                  <a:lnTo>
                    <a:pt x="12" y="121"/>
                  </a:lnTo>
                  <a:lnTo>
                    <a:pt x="15" y="121"/>
                  </a:lnTo>
                  <a:lnTo>
                    <a:pt x="196" y="121"/>
                  </a:lnTo>
                  <a:lnTo>
                    <a:pt x="199" y="121"/>
                  </a:lnTo>
                  <a:lnTo>
                    <a:pt x="203" y="120"/>
                  </a:lnTo>
                  <a:lnTo>
                    <a:pt x="205" y="119"/>
                  </a:lnTo>
                  <a:lnTo>
                    <a:pt x="207" y="117"/>
                  </a:lnTo>
                  <a:lnTo>
                    <a:pt x="209" y="115"/>
                  </a:lnTo>
                  <a:lnTo>
                    <a:pt x="210" y="113"/>
                  </a:lnTo>
                  <a:lnTo>
                    <a:pt x="211" y="109"/>
                  </a:lnTo>
                  <a:lnTo>
                    <a:pt x="212" y="106"/>
                  </a:lnTo>
                  <a:lnTo>
                    <a:pt x="212" y="15"/>
                  </a:lnTo>
                  <a:lnTo>
                    <a:pt x="211" y="13"/>
                  </a:lnTo>
                  <a:lnTo>
                    <a:pt x="210" y="10"/>
                  </a:lnTo>
                  <a:lnTo>
                    <a:pt x="209" y="7"/>
                  </a:lnTo>
                  <a:lnTo>
                    <a:pt x="207" y="4"/>
                  </a:lnTo>
                  <a:lnTo>
                    <a:pt x="205" y="3"/>
                  </a:lnTo>
                  <a:lnTo>
                    <a:pt x="203" y="1"/>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72">
              <a:extLst>
                <a:ext uri="{FF2B5EF4-FFF2-40B4-BE49-F238E27FC236}">
                  <a16:creationId xmlns:a16="http://schemas.microsoft.com/office/drawing/2014/main" id="{9B704681-52EE-4B75-A445-5878C1C0908B}"/>
                </a:ext>
              </a:extLst>
            </p:cNvPr>
            <p:cNvSpPr>
              <a:spLocks noEditPoints="1"/>
            </p:cNvSpPr>
            <p:nvPr/>
          </p:nvSpPr>
          <p:spPr bwMode="auto">
            <a:xfrm>
              <a:off x="3868738" y="985838"/>
              <a:ext cx="68263" cy="38100"/>
            </a:xfrm>
            <a:custGeom>
              <a:avLst/>
              <a:gdLst>
                <a:gd name="T0" fmla="*/ 181 w 212"/>
                <a:gd name="T1" fmla="*/ 91 h 121"/>
                <a:gd name="T2" fmla="*/ 30 w 212"/>
                <a:gd name="T3" fmla="*/ 91 h 121"/>
                <a:gd name="T4" fmla="*/ 30 w 212"/>
                <a:gd name="T5" fmla="*/ 30 h 121"/>
                <a:gd name="T6" fmla="*/ 181 w 212"/>
                <a:gd name="T7" fmla="*/ 30 h 121"/>
                <a:gd name="T8" fmla="*/ 181 w 212"/>
                <a:gd name="T9" fmla="*/ 91 h 121"/>
                <a:gd name="T10" fmla="*/ 196 w 212"/>
                <a:gd name="T11" fmla="*/ 0 h 121"/>
                <a:gd name="T12" fmla="*/ 15 w 212"/>
                <a:gd name="T13" fmla="*/ 0 h 121"/>
                <a:gd name="T14" fmla="*/ 12 w 212"/>
                <a:gd name="T15" fmla="*/ 1 h 121"/>
                <a:gd name="T16" fmla="*/ 10 w 212"/>
                <a:gd name="T17" fmla="*/ 1 h 121"/>
                <a:gd name="T18" fmla="*/ 6 w 212"/>
                <a:gd name="T19" fmla="*/ 3 h 121"/>
                <a:gd name="T20" fmla="*/ 4 w 212"/>
                <a:gd name="T21" fmla="*/ 4 h 121"/>
                <a:gd name="T22" fmla="*/ 2 w 212"/>
                <a:gd name="T23" fmla="*/ 7 h 121"/>
                <a:gd name="T24" fmla="*/ 1 w 212"/>
                <a:gd name="T25" fmla="*/ 9 h 121"/>
                <a:gd name="T26" fmla="*/ 0 w 212"/>
                <a:gd name="T27" fmla="*/ 13 h 121"/>
                <a:gd name="T28" fmla="*/ 0 w 212"/>
                <a:gd name="T29" fmla="*/ 15 h 121"/>
                <a:gd name="T30" fmla="*/ 0 w 212"/>
                <a:gd name="T31" fmla="*/ 106 h 121"/>
                <a:gd name="T32" fmla="*/ 0 w 212"/>
                <a:gd name="T33" fmla="*/ 109 h 121"/>
                <a:gd name="T34" fmla="*/ 1 w 212"/>
                <a:gd name="T35" fmla="*/ 112 h 121"/>
                <a:gd name="T36" fmla="*/ 2 w 212"/>
                <a:gd name="T37" fmla="*/ 115 h 121"/>
                <a:gd name="T38" fmla="*/ 4 w 212"/>
                <a:gd name="T39" fmla="*/ 117 h 121"/>
                <a:gd name="T40" fmla="*/ 6 w 212"/>
                <a:gd name="T41" fmla="*/ 119 h 121"/>
                <a:gd name="T42" fmla="*/ 10 w 212"/>
                <a:gd name="T43" fmla="*/ 120 h 121"/>
                <a:gd name="T44" fmla="*/ 12 w 212"/>
                <a:gd name="T45" fmla="*/ 121 h 121"/>
                <a:gd name="T46" fmla="*/ 15 w 212"/>
                <a:gd name="T47" fmla="*/ 121 h 121"/>
                <a:gd name="T48" fmla="*/ 196 w 212"/>
                <a:gd name="T49" fmla="*/ 121 h 121"/>
                <a:gd name="T50" fmla="*/ 199 w 212"/>
                <a:gd name="T51" fmla="*/ 121 h 121"/>
                <a:gd name="T52" fmla="*/ 203 w 212"/>
                <a:gd name="T53" fmla="*/ 120 h 121"/>
                <a:gd name="T54" fmla="*/ 205 w 212"/>
                <a:gd name="T55" fmla="*/ 119 h 121"/>
                <a:gd name="T56" fmla="*/ 207 w 212"/>
                <a:gd name="T57" fmla="*/ 117 h 121"/>
                <a:gd name="T58" fmla="*/ 209 w 212"/>
                <a:gd name="T59" fmla="*/ 115 h 121"/>
                <a:gd name="T60" fmla="*/ 210 w 212"/>
                <a:gd name="T61" fmla="*/ 112 h 121"/>
                <a:gd name="T62" fmla="*/ 211 w 212"/>
                <a:gd name="T63" fmla="*/ 109 h 121"/>
                <a:gd name="T64" fmla="*/ 212 w 212"/>
                <a:gd name="T65" fmla="*/ 106 h 121"/>
                <a:gd name="T66" fmla="*/ 212 w 212"/>
                <a:gd name="T67" fmla="*/ 15 h 121"/>
                <a:gd name="T68" fmla="*/ 211 w 212"/>
                <a:gd name="T69" fmla="*/ 13 h 121"/>
                <a:gd name="T70" fmla="*/ 210 w 212"/>
                <a:gd name="T71" fmla="*/ 9 h 121"/>
                <a:gd name="T72" fmla="*/ 209 w 212"/>
                <a:gd name="T73" fmla="*/ 7 h 121"/>
                <a:gd name="T74" fmla="*/ 207 w 212"/>
                <a:gd name="T75" fmla="*/ 4 h 121"/>
                <a:gd name="T76" fmla="*/ 205 w 212"/>
                <a:gd name="T77" fmla="*/ 3 h 121"/>
                <a:gd name="T78" fmla="*/ 203 w 212"/>
                <a:gd name="T79" fmla="*/ 1 h 121"/>
                <a:gd name="T80" fmla="*/ 199 w 212"/>
                <a:gd name="T81" fmla="*/ 1 h 121"/>
                <a:gd name="T82" fmla="*/ 196 w 212"/>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 h="121">
                  <a:moveTo>
                    <a:pt x="181" y="91"/>
                  </a:moveTo>
                  <a:lnTo>
                    <a:pt x="30" y="91"/>
                  </a:lnTo>
                  <a:lnTo>
                    <a:pt x="30" y="30"/>
                  </a:lnTo>
                  <a:lnTo>
                    <a:pt x="181" y="30"/>
                  </a:lnTo>
                  <a:lnTo>
                    <a:pt x="181" y="91"/>
                  </a:lnTo>
                  <a:close/>
                  <a:moveTo>
                    <a:pt x="196" y="0"/>
                  </a:moveTo>
                  <a:lnTo>
                    <a:pt x="15" y="0"/>
                  </a:lnTo>
                  <a:lnTo>
                    <a:pt x="12" y="1"/>
                  </a:lnTo>
                  <a:lnTo>
                    <a:pt x="10" y="1"/>
                  </a:lnTo>
                  <a:lnTo>
                    <a:pt x="6" y="3"/>
                  </a:lnTo>
                  <a:lnTo>
                    <a:pt x="4" y="4"/>
                  </a:lnTo>
                  <a:lnTo>
                    <a:pt x="2" y="7"/>
                  </a:lnTo>
                  <a:lnTo>
                    <a:pt x="1" y="9"/>
                  </a:lnTo>
                  <a:lnTo>
                    <a:pt x="0" y="13"/>
                  </a:lnTo>
                  <a:lnTo>
                    <a:pt x="0" y="15"/>
                  </a:lnTo>
                  <a:lnTo>
                    <a:pt x="0" y="106"/>
                  </a:lnTo>
                  <a:lnTo>
                    <a:pt x="0" y="109"/>
                  </a:lnTo>
                  <a:lnTo>
                    <a:pt x="1" y="112"/>
                  </a:lnTo>
                  <a:lnTo>
                    <a:pt x="2" y="115"/>
                  </a:lnTo>
                  <a:lnTo>
                    <a:pt x="4" y="117"/>
                  </a:lnTo>
                  <a:lnTo>
                    <a:pt x="6" y="119"/>
                  </a:lnTo>
                  <a:lnTo>
                    <a:pt x="10" y="120"/>
                  </a:lnTo>
                  <a:lnTo>
                    <a:pt x="12" y="121"/>
                  </a:lnTo>
                  <a:lnTo>
                    <a:pt x="15" y="121"/>
                  </a:lnTo>
                  <a:lnTo>
                    <a:pt x="196" y="121"/>
                  </a:lnTo>
                  <a:lnTo>
                    <a:pt x="199" y="121"/>
                  </a:lnTo>
                  <a:lnTo>
                    <a:pt x="203" y="120"/>
                  </a:lnTo>
                  <a:lnTo>
                    <a:pt x="205" y="119"/>
                  </a:lnTo>
                  <a:lnTo>
                    <a:pt x="207" y="117"/>
                  </a:lnTo>
                  <a:lnTo>
                    <a:pt x="209" y="115"/>
                  </a:lnTo>
                  <a:lnTo>
                    <a:pt x="210" y="112"/>
                  </a:lnTo>
                  <a:lnTo>
                    <a:pt x="211" y="109"/>
                  </a:lnTo>
                  <a:lnTo>
                    <a:pt x="212" y="106"/>
                  </a:lnTo>
                  <a:lnTo>
                    <a:pt x="212" y="15"/>
                  </a:lnTo>
                  <a:lnTo>
                    <a:pt x="211" y="13"/>
                  </a:lnTo>
                  <a:lnTo>
                    <a:pt x="210" y="9"/>
                  </a:lnTo>
                  <a:lnTo>
                    <a:pt x="209" y="7"/>
                  </a:lnTo>
                  <a:lnTo>
                    <a:pt x="207" y="4"/>
                  </a:lnTo>
                  <a:lnTo>
                    <a:pt x="205" y="3"/>
                  </a:lnTo>
                  <a:lnTo>
                    <a:pt x="203" y="1"/>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73">
              <a:extLst>
                <a:ext uri="{FF2B5EF4-FFF2-40B4-BE49-F238E27FC236}">
                  <a16:creationId xmlns:a16="http://schemas.microsoft.com/office/drawing/2014/main" id="{6D0F68DB-600D-4A82-8981-9E7B3A3167FE}"/>
                </a:ext>
              </a:extLst>
            </p:cNvPr>
            <p:cNvSpPr>
              <a:spLocks noEditPoints="1"/>
            </p:cNvSpPr>
            <p:nvPr/>
          </p:nvSpPr>
          <p:spPr bwMode="auto">
            <a:xfrm>
              <a:off x="3773488" y="793750"/>
              <a:ext cx="66675" cy="66675"/>
            </a:xfrm>
            <a:custGeom>
              <a:avLst/>
              <a:gdLst>
                <a:gd name="T0" fmla="*/ 76 w 212"/>
                <a:gd name="T1" fmla="*/ 175 h 212"/>
                <a:gd name="T2" fmla="*/ 37 w 212"/>
                <a:gd name="T3" fmla="*/ 136 h 212"/>
                <a:gd name="T4" fmla="*/ 137 w 212"/>
                <a:gd name="T5" fmla="*/ 37 h 212"/>
                <a:gd name="T6" fmla="*/ 175 w 212"/>
                <a:gd name="T7" fmla="*/ 76 h 212"/>
                <a:gd name="T8" fmla="*/ 76 w 212"/>
                <a:gd name="T9" fmla="*/ 175 h 212"/>
                <a:gd name="T10" fmla="*/ 207 w 212"/>
                <a:gd name="T11" fmla="*/ 66 h 212"/>
                <a:gd name="T12" fmla="*/ 147 w 212"/>
                <a:gd name="T13" fmla="*/ 5 h 212"/>
                <a:gd name="T14" fmla="*/ 145 w 212"/>
                <a:gd name="T15" fmla="*/ 2 h 212"/>
                <a:gd name="T16" fmla="*/ 142 w 212"/>
                <a:gd name="T17" fmla="*/ 1 h 212"/>
                <a:gd name="T18" fmla="*/ 140 w 212"/>
                <a:gd name="T19" fmla="*/ 0 h 212"/>
                <a:gd name="T20" fmla="*/ 137 w 212"/>
                <a:gd name="T21" fmla="*/ 0 h 212"/>
                <a:gd name="T22" fmla="*/ 133 w 212"/>
                <a:gd name="T23" fmla="*/ 0 h 212"/>
                <a:gd name="T24" fmla="*/ 130 w 212"/>
                <a:gd name="T25" fmla="*/ 1 h 212"/>
                <a:gd name="T26" fmla="*/ 128 w 212"/>
                <a:gd name="T27" fmla="*/ 2 h 212"/>
                <a:gd name="T28" fmla="*/ 126 w 212"/>
                <a:gd name="T29" fmla="*/ 5 h 212"/>
                <a:gd name="T30" fmla="*/ 5 w 212"/>
                <a:gd name="T31" fmla="*/ 126 h 212"/>
                <a:gd name="T32" fmla="*/ 3 w 212"/>
                <a:gd name="T33" fmla="*/ 128 h 212"/>
                <a:gd name="T34" fmla="*/ 2 w 212"/>
                <a:gd name="T35" fmla="*/ 131 h 212"/>
                <a:gd name="T36" fmla="*/ 0 w 212"/>
                <a:gd name="T37" fmla="*/ 133 h 212"/>
                <a:gd name="T38" fmla="*/ 0 w 212"/>
                <a:gd name="T39" fmla="*/ 136 h 212"/>
                <a:gd name="T40" fmla="*/ 0 w 212"/>
                <a:gd name="T41" fmla="*/ 140 h 212"/>
                <a:gd name="T42" fmla="*/ 2 w 212"/>
                <a:gd name="T43" fmla="*/ 142 h 212"/>
                <a:gd name="T44" fmla="*/ 3 w 212"/>
                <a:gd name="T45" fmla="*/ 145 h 212"/>
                <a:gd name="T46" fmla="*/ 5 w 212"/>
                <a:gd name="T47" fmla="*/ 147 h 212"/>
                <a:gd name="T48" fmla="*/ 65 w 212"/>
                <a:gd name="T49" fmla="*/ 207 h 212"/>
                <a:gd name="T50" fmla="*/ 68 w 212"/>
                <a:gd name="T51" fmla="*/ 209 h 212"/>
                <a:gd name="T52" fmla="*/ 70 w 212"/>
                <a:gd name="T53" fmla="*/ 210 h 212"/>
                <a:gd name="T54" fmla="*/ 73 w 212"/>
                <a:gd name="T55" fmla="*/ 211 h 212"/>
                <a:gd name="T56" fmla="*/ 76 w 212"/>
                <a:gd name="T57" fmla="*/ 212 h 212"/>
                <a:gd name="T58" fmla="*/ 79 w 212"/>
                <a:gd name="T59" fmla="*/ 211 h 212"/>
                <a:gd name="T60" fmla="*/ 82 w 212"/>
                <a:gd name="T61" fmla="*/ 210 h 212"/>
                <a:gd name="T62" fmla="*/ 84 w 212"/>
                <a:gd name="T63" fmla="*/ 209 h 212"/>
                <a:gd name="T64" fmla="*/ 86 w 212"/>
                <a:gd name="T65" fmla="*/ 207 h 212"/>
                <a:gd name="T66" fmla="*/ 207 w 212"/>
                <a:gd name="T67" fmla="*/ 87 h 212"/>
                <a:gd name="T68" fmla="*/ 210 w 212"/>
                <a:gd name="T69" fmla="*/ 84 h 212"/>
                <a:gd name="T70" fmla="*/ 211 w 212"/>
                <a:gd name="T71" fmla="*/ 82 h 212"/>
                <a:gd name="T72" fmla="*/ 212 w 212"/>
                <a:gd name="T73" fmla="*/ 78 h 212"/>
                <a:gd name="T74" fmla="*/ 212 w 212"/>
                <a:gd name="T75" fmla="*/ 76 h 212"/>
                <a:gd name="T76" fmla="*/ 212 w 212"/>
                <a:gd name="T77" fmla="*/ 73 h 212"/>
                <a:gd name="T78" fmla="*/ 211 w 212"/>
                <a:gd name="T79" fmla="*/ 70 h 212"/>
                <a:gd name="T80" fmla="*/ 210 w 212"/>
                <a:gd name="T81" fmla="*/ 68 h 212"/>
                <a:gd name="T82" fmla="*/ 207 w 212"/>
                <a:gd name="T83" fmla="*/ 66 h 212"/>
                <a:gd name="T84" fmla="*/ 207 w 212"/>
                <a:gd name="T85" fmla="*/ 6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2" h="212">
                  <a:moveTo>
                    <a:pt x="76" y="175"/>
                  </a:moveTo>
                  <a:lnTo>
                    <a:pt x="37" y="136"/>
                  </a:lnTo>
                  <a:lnTo>
                    <a:pt x="137" y="37"/>
                  </a:lnTo>
                  <a:lnTo>
                    <a:pt x="175" y="76"/>
                  </a:lnTo>
                  <a:lnTo>
                    <a:pt x="76" y="175"/>
                  </a:lnTo>
                  <a:close/>
                  <a:moveTo>
                    <a:pt x="207" y="66"/>
                  </a:moveTo>
                  <a:lnTo>
                    <a:pt x="147" y="5"/>
                  </a:lnTo>
                  <a:lnTo>
                    <a:pt x="145" y="2"/>
                  </a:lnTo>
                  <a:lnTo>
                    <a:pt x="142" y="1"/>
                  </a:lnTo>
                  <a:lnTo>
                    <a:pt x="140" y="0"/>
                  </a:lnTo>
                  <a:lnTo>
                    <a:pt x="137" y="0"/>
                  </a:lnTo>
                  <a:lnTo>
                    <a:pt x="133" y="0"/>
                  </a:lnTo>
                  <a:lnTo>
                    <a:pt x="130" y="1"/>
                  </a:lnTo>
                  <a:lnTo>
                    <a:pt x="128" y="2"/>
                  </a:lnTo>
                  <a:lnTo>
                    <a:pt x="126" y="5"/>
                  </a:lnTo>
                  <a:lnTo>
                    <a:pt x="5" y="126"/>
                  </a:lnTo>
                  <a:lnTo>
                    <a:pt x="3" y="128"/>
                  </a:lnTo>
                  <a:lnTo>
                    <a:pt x="2" y="131"/>
                  </a:lnTo>
                  <a:lnTo>
                    <a:pt x="0" y="133"/>
                  </a:lnTo>
                  <a:lnTo>
                    <a:pt x="0" y="136"/>
                  </a:lnTo>
                  <a:lnTo>
                    <a:pt x="0" y="140"/>
                  </a:lnTo>
                  <a:lnTo>
                    <a:pt x="2" y="142"/>
                  </a:lnTo>
                  <a:lnTo>
                    <a:pt x="3" y="145"/>
                  </a:lnTo>
                  <a:lnTo>
                    <a:pt x="5" y="147"/>
                  </a:lnTo>
                  <a:lnTo>
                    <a:pt x="65" y="207"/>
                  </a:lnTo>
                  <a:lnTo>
                    <a:pt x="68" y="209"/>
                  </a:lnTo>
                  <a:lnTo>
                    <a:pt x="70" y="210"/>
                  </a:lnTo>
                  <a:lnTo>
                    <a:pt x="73" y="211"/>
                  </a:lnTo>
                  <a:lnTo>
                    <a:pt x="76" y="212"/>
                  </a:lnTo>
                  <a:lnTo>
                    <a:pt x="79" y="211"/>
                  </a:lnTo>
                  <a:lnTo>
                    <a:pt x="82" y="210"/>
                  </a:lnTo>
                  <a:lnTo>
                    <a:pt x="84" y="209"/>
                  </a:lnTo>
                  <a:lnTo>
                    <a:pt x="86" y="207"/>
                  </a:lnTo>
                  <a:lnTo>
                    <a:pt x="207" y="87"/>
                  </a:lnTo>
                  <a:lnTo>
                    <a:pt x="210" y="84"/>
                  </a:lnTo>
                  <a:lnTo>
                    <a:pt x="211" y="82"/>
                  </a:lnTo>
                  <a:lnTo>
                    <a:pt x="212" y="78"/>
                  </a:lnTo>
                  <a:lnTo>
                    <a:pt x="212" y="76"/>
                  </a:lnTo>
                  <a:lnTo>
                    <a:pt x="212" y="73"/>
                  </a:lnTo>
                  <a:lnTo>
                    <a:pt x="211" y="70"/>
                  </a:lnTo>
                  <a:lnTo>
                    <a:pt x="210" y="68"/>
                  </a:lnTo>
                  <a:lnTo>
                    <a:pt x="207" y="66"/>
                  </a:lnTo>
                  <a:lnTo>
                    <a:pt x="20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74">
              <a:extLst>
                <a:ext uri="{FF2B5EF4-FFF2-40B4-BE49-F238E27FC236}">
                  <a16:creationId xmlns:a16="http://schemas.microsoft.com/office/drawing/2014/main" id="{0B4301F0-2BC4-4717-9537-84271953AD30}"/>
                </a:ext>
              </a:extLst>
            </p:cNvPr>
            <p:cNvSpPr>
              <a:spLocks noEditPoints="1"/>
            </p:cNvSpPr>
            <p:nvPr/>
          </p:nvSpPr>
          <p:spPr bwMode="auto">
            <a:xfrm>
              <a:off x="3806825" y="827088"/>
              <a:ext cx="66675" cy="66675"/>
            </a:xfrm>
            <a:custGeom>
              <a:avLst/>
              <a:gdLst>
                <a:gd name="T0" fmla="*/ 75 w 211"/>
                <a:gd name="T1" fmla="*/ 175 h 212"/>
                <a:gd name="T2" fmla="*/ 36 w 211"/>
                <a:gd name="T3" fmla="*/ 137 h 212"/>
                <a:gd name="T4" fmla="*/ 136 w 211"/>
                <a:gd name="T5" fmla="*/ 37 h 212"/>
                <a:gd name="T6" fmla="*/ 174 w 211"/>
                <a:gd name="T7" fmla="*/ 75 h 212"/>
                <a:gd name="T8" fmla="*/ 75 w 211"/>
                <a:gd name="T9" fmla="*/ 175 h 212"/>
                <a:gd name="T10" fmla="*/ 207 w 211"/>
                <a:gd name="T11" fmla="*/ 65 h 212"/>
                <a:gd name="T12" fmla="*/ 147 w 211"/>
                <a:gd name="T13" fmla="*/ 5 h 212"/>
                <a:gd name="T14" fmla="*/ 143 w 211"/>
                <a:gd name="T15" fmla="*/ 3 h 212"/>
                <a:gd name="T16" fmla="*/ 141 w 211"/>
                <a:gd name="T17" fmla="*/ 1 h 212"/>
                <a:gd name="T18" fmla="*/ 138 w 211"/>
                <a:gd name="T19" fmla="*/ 0 h 212"/>
                <a:gd name="T20" fmla="*/ 136 w 211"/>
                <a:gd name="T21" fmla="*/ 0 h 212"/>
                <a:gd name="T22" fmla="*/ 133 w 211"/>
                <a:gd name="T23" fmla="*/ 0 h 212"/>
                <a:gd name="T24" fmla="*/ 129 w 211"/>
                <a:gd name="T25" fmla="*/ 1 h 212"/>
                <a:gd name="T26" fmla="*/ 127 w 211"/>
                <a:gd name="T27" fmla="*/ 3 h 212"/>
                <a:gd name="T28" fmla="*/ 125 w 211"/>
                <a:gd name="T29" fmla="*/ 5 h 212"/>
                <a:gd name="T30" fmla="*/ 4 w 211"/>
                <a:gd name="T31" fmla="*/ 126 h 212"/>
                <a:gd name="T32" fmla="*/ 2 w 211"/>
                <a:gd name="T33" fmla="*/ 128 h 212"/>
                <a:gd name="T34" fmla="*/ 1 w 211"/>
                <a:gd name="T35" fmla="*/ 130 h 212"/>
                <a:gd name="T36" fmla="*/ 0 w 211"/>
                <a:gd name="T37" fmla="*/ 133 h 212"/>
                <a:gd name="T38" fmla="*/ 0 w 211"/>
                <a:gd name="T39" fmla="*/ 137 h 212"/>
                <a:gd name="T40" fmla="*/ 0 w 211"/>
                <a:gd name="T41" fmla="*/ 139 h 212"/>
                <a:gd name="T42" fmla="*/ 1 w 211"/>
                <a:gd name="T43" fmla="*/ 142 h 212"/>
                <a:gd name="T44" fmla="*/ 2 w 211"/>
                <a:gd name="T45" fmla="*/ 145 h 212"/>
                <a:gd name="T46" fmla="*/ 4 w 211"/>
                <a:gd name="T47" fmla="*/ 147 h 212"/>
                <a:gd name="T48" fmla="*/ 64 w 211"/>
                <a:gd name="T49" fmla="*/ 207 h 212"/>
                <a:gd name="T50" fmla="*/ 66 w 211"/>
                <a:gd name="T51" fmla="*/ 209 h 212"/>
                <a:gd name="T52" fmla="*/ 69 w 211"/>
                <a:gd name="T53" fmla="*/ 210 h 212"/>
                <a:gd name="T54" fmla="*/ 72 w 211"/>
                <a:gd name="T55" fmla="*/ 212 h 212"/>
                <a:gd name="T56" fmla="*/ 75 w 211"/>
                <a:gd name="T57" fmla="*/ 212 h 212"/>
                <a:gd name="T58" fmla="*/ 78 w 211"/>
                <a:gd name="T59" fmla="*/ 212 h 212"/>
                <a:gd name="T60" fmla="*/ 80 w 211"/>
                <a:gd name="T61" fmla="*/ 210 h 212"/>
                <a:gd name="T62" fmla="*/ 83 w 211"/>
                <a:gd name="T63" fmla="*/ 209 h 212"/>
                <a:gd name="T64" fmla="*/ 85 w 211"/>
                <a:gd name="T65" fmla="*/ 207 h 212"/>
                <a:gd name="T66" fmla="*/ 207 w 211"/>
                <a:gd name="T67" fmla="*/ 86 h 212"/>
                <a:gd name="T68" fmla="*/ 209 w 211"/>
                <a:gd name="T69" fmla="*/ 84 h 212"/>
                <a:gd name="T70" fmla="*/ 210 w 211"/>
                <a:gd name="T71" fmla="*/ 82 h 212"/>
                <a:gd name="T72" fmla="*/ 211 w 211"/>
                <a:gd name="T73" fmla="*/ 79 h 212"/>
                <a:gd name="T74" fmla="*/ 211 w 211"/>
                <a:gd name="T75" fmla="*/ 75 h 212"/>
                <a:gd name="T76" fmla="*/ 211 w 211"/>
                <a:gd name="T77" fmla="*/ 73 h 212"/>
                <a:gd name="T78" fmla="*/ 210 w 211"/>
                <a:gd name="T79" fmla="*/ 70 h 212"/>
                <a:gd name="T80" fmla="*/ 209 w 211"/>
                <a:gd name="T81" fmla="*/ 68 h 212"/>
                <a:gd name="T82" fmla="*/ 207 w 211"/>
                <a:gd name="T83" fmla="*/ 6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1" h="212">
                  <a:moveTo>
                    <a:pt x="75" y="175"/>
                  </a:moveTo>
                  <a:lnTo>
                    <a:pt x="36" y="137"/>
                  </a:lnTo>
                  <a:lnTo>
                    <a:pt x="136" y="37"/>
                  </a:lnTo>
                  <a:lnTo>
                    <a:pt x="174" y="75"/>
                  </a:lnTo>
                  <a:lnTo>
                    <a:pt x="75" y="175"/>
                  </a:lnTo>
                  <a:close/>
                  <a:moveTo>
                    <a:pt x="207" y="65"/>
                  </a:moveTo>
                  <a:lnTo>
                    <a:pt x="147" y="5"/>
                  </a:lnTo>
                  <a:lnTo>
                    <a:pt x="143" y="3"/>
                  </a:lnTo>
                  <a:lnTo>
                    <a:pt x="141" y="1"/>
                  </a:lnTo>
                  <a:lnTo>
                    <a:pt x="138" y="0"/>
                  </a:lnTo>
                  <a:lnTo>
                    <a:pt x="136" y="0"/>
                  </a:lnTo>
                  <a:lnTo>
                    <a:pt x="133" y="0"/>
                  </a:lnTo>
                  <a:lnTo>
                    <a:pt x="129" y="1"/>
                  </a:lnTo>
                  <a:lnTo>
                    <a:pt x="127" y="3"/>
                  </a:lnTo>
                  <a:lnTo>
                    <a:pt x="125" y="5"/>
                  </a:lnTo>
                  <a:lnTo>
                    <a:pt x="4" y="126"/>
                  </a:lnTo>
                  <a:lnTo>
                    <a:pt x="2" y="128"/>
                  </a:lnTo>
                  <a:lnTo>
                    <a:pt x="1" y="130"/>
                  </a:lnTo>
                  <a:lnTo>
                    <a:pt x="0" y="133"/>
                  </a:lnTo>
                  <a:lnTo>
                    <a:pt x="0" y="137"/>
                  </a:lnTo>
                  <a:lnTo>
                    <a:pt x="0" y="139"/>
                  </a:lnTo>
                  <a:lnTo>
                    <a:pt x="1" y="142"/>
                  </a:lnTo>
                  <a:lnTo>
                    <a:pt x="2" y="145"/>
                  </a:lnTo>
                  <a:lnTo>
                    <a:pt x="4" y="147"/>
                  </a:lnTo>
                  <a:lnTo>
                    <a:pt x="64" y="207"/>
                  </a:lnTo>
                  <a:lnTo>
                    <a:pt x="66" y="209"/>
                  </a:lnTo>
                  <a:lnTo>
                    <a:pt x="69" y="210"/>
                  </a:lnTo>
                  <a:lnTo>
                    <a:pt x="72" y="212"/>
                  </a:lnTo>
                  <a:lnTo>
                    <a:pt x="75" y="212"/>
                  </a:lnTo>
                  <a:lnTo>
                    <a:pt x="78" y="212"/>
                  </a:lnTo>
                  <a:lnTo>
                    <a:pt x="80" y="210"/>
                  </a:lnTo>
                  <a:lnTo>
                    <a:pt x="83" y="209"/>
                  </a:lnTo>
                  <a:lnTo>
                    <a:pt x="85" y="207"/>
                  </a:lnTo>
                  <a:lnTo>
                    <a:pt x="207" y="86"/>
                  </a:lnTo>
                  <a:lnTo>
                    <a:pt x="209" y="84"/>
                  </a:lnTo>
                  <a:lnTo>
                    <a:pt x="210" y="82"/>
                  </a:lnTo>
                  <a:lnTo>
                    <a:pt x="211" y="79"/>
                  </a:lnTo>
                  <a:lnTo>
                    <a:pt x="211" y="75"/>
                  </a:lnTo>
                  <a:lnTo>
                    <a:pt x="211" y="73"/>
                  </a:lnTo>
                  <a:lnTo>
                    <a:pt x="210" y="70"/>
                  </a:lnTo>
                  <a:lnTo>
                    <a:pt x="209" y="68"/>
                  </a:lnTo>
                  <a:lnTo>
                    <a:pt x="20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75">
              <a:extLst>
                <a:ext uri="{FF2B5EF4-FFF2-40B4-BE49-F238E27FC236}">
                  <a16:creationId xmlns:a16="http://schemas.microsoft.com/office/drawing/2014/main" id="{063E6246-3CB6-45CB-9CB7-463D74884B56}"/>
                </a:ext>
              </a:extLst>
            </p:cNvPr>
            <p:cNvSpPr>
              <a:spLocks noEditPoints="1"/>
            </p:cNvSpPr>
            <p:nvPr/>
          </p:nvSpPr>
          <p:spPr bwMode="auto">
            <a:xfrm>
              <a:off x="3859213" y="879475"/>
              <a:ext cx="87313" cy="87313"/>
            </a:xfrm>
            <a:custGeom>
              <a:avLst/>
              <a:gdLst>
                <a:gd name="T0" fmla="*/ 115 w 272"/>
                <a:gd name="T1" fmla="*/ 240 h 272"/>
                <a:gd name="T2" fmla="*/ 86 w 272"/>
                <a:gd name="T3" fmla="*/ 229 h 272"/>
                <a:gd name="T4" fmla="*/ 61 w 272"/>
                <a:gd name="T5" fmla="*/ 211 h 272"/>
                <a:gd name="T6" fmla="*/ 43 w 272"/>
                <a:gd name="T7" fmla="*/ 186 h 272"/>
                <a:gd name="T8" fmla="*/ 32 w 272"/>
                <a:gd name="T9" fmla="*/ 157 h 272"/>
                <a:gd name="T10" fmla="*/ 31 w 272"/>
                <a:gd name="T11" fmla="*/ 125 h 272"/>
                <a:gd name="T12" fmla="*/ 39 w 272"/>
                <a:gd name="T13" fmla="*/ 95 h 272"/>
                <a:gd name="T14" fmla="*/ 55 w 272"/>
                <a:gd name="T15" fmla="*/ 68 h 272"/>
                <a:gd name="T16" fmla="*/ 77 w 272"/>
                <a:gd name="T17" fmla="*/ 48 h 272"/>
                <a:gd name="T18" fmla="*/ 104 w 272"/>
                <a:gd name="T19" fmla="*/ 35 h 272"/>
                <a:gd name="T20" fmla="*/ 136 w 272"/>
                <a:gd name="T21" fmla="*/ 30 h 272"/>
                <a:gd name="T22" fmla="*/ 167 w 272"/>
                <a:gd name="T23" fmla="*/ 35 h 272"/>
                <a:gd name="T24" fmla="*/ 195 w 272"/>
                <a:gd name="T25" fmla="*/ 48 h 272"/>
                <a:gd name="T26" fmla="*/ 218 w 272"/>
                <a:gd name="T27" fmla="*/ 68 h 272"/>
                <a:gd name="T28" fmla="*/ 234 w 272"/>
                <a:gd name="T29" fmla="*/ 95 h 272"/>
                <a:gd name="T30" fmla="*/ 241 w 272"/>
                <a:gd name="T31" fmla="*/ 125 h 272"/>
                <a:gd name="T32" fmla="*/ 240 w 272"/>
                <a:gd name="T33" fmla="*/ 157 h 272"/>
                <a:gd name="T34" fmla="*/ 229 w 272"/>
                <a:gd name="T35" fmla="*/ 186 h 272"/>
                <a:gd name="T36" fmla="*/ 211 w 272"/>
                <a:gd name="T37" fmla="*/ 211 h 272"/>
                <a:gd name="T38" fmla="*/ 187 w 272"/>
                <a:gd name="T39" fmla="*/ 229 h 272"/>
                <a:gd name="T40" fmla="*/ 158 w 272"/>
                <a:gd name="T41" fmla="*/ 240 h 272"/>
                <a:gd name="T42" fmla="*/ 136 w 272"/>
                <a:gd name="T43" fmla="*/ 0 h 272"/>
                <a:gd name="T44" fmla="*/ 95 w 272"/>
                <a:gd name="T45" fmla="*/ 6 h 272"/>
                <a:gd name="T46" fmla="*/ 60 w 272"/>
                <a:gd name="T47" fmla="*/ 23 h 272"/>
                <a:gd name="T48" fmla="*/ 31 w 272"/>
                <a:gd name="T49" fmla="*/ 49 h 272"/>
                <a:gd name="T50" fmla="*/ 11 w 272"/>
                <a:gd name="T51" fmla="*/ 83 h 272"/>
                <a:gd name="T52" fmla="*/ 0 w 272"/>
                <a:gd name="T53" fmla="*/ 122 h 272"/>
                <a:gd name="T54" fmla="*/ 2 w 272"/>
                <a:gd name="T55" fmla="*/ 162 h 272"/>
                <a:gd name="T56" fmla="*/ 16 w 272"/>
                <a:gd name="T57" fmla="*/ 200 h 272"/>
                <a:gd name="T58" fmla="*/ 40 w 272"/>
                <a:gd name="T59" fmla="*/ 232 h 272"/>
                <a:gd name="T60" fmla="*/ 71 w 272"/>
                <a:gd name="T61" fmla="*/ 256 h 272"/>
                <a:gd name="T62" fmla="*/ 108 w 272"/>
                <a:gd name="T63" fmla="*/ 269 h 272"/>
                <a:gd name="T64" fmla="*/ 150 w 272"/>
                <a:gd name="T65" fmla="*/ 271 h 272"/>
                <a:gd name="T66" fmla="*/ 189 w 272"/>
                <a:gd name="T67" fmla="*/ 261 h 272"/>
                <a:gd name="T68" fmla="*/ 222 w 272"/>
                <a:gd name="T69" fmla="*/ 241 h 272"/>
                <a:gd name="T70" fmla="*/ 249 w 272"/>
                <a:gd name="T71" fmla="*/ 212 h 272"/>
                <a:gd name="T72" fmla="*/ 266 w 272"/>
                <a:gd name="T73" fmla="*/ 176 h 272"/>
                <a:gd name="T74" fmla="*/ 272 w 272"/>
                <a:gd name="T75" fmla="*/ 136 h 272"/>
                <a:gd name="T76" fmla="*/ 266 w 272"/>
                <a:gd name="T77" fmla="*/ 95 h 272"/>
                <a:gd name="T78" fmla="*/ 249 w 272"/>
                <a:gd name="T79" fmla="*/ 60 h 272"/>
                <a:gd name="T80" fmla="*/ 222 w 272"/>
                <a:gd name="T81" fmla="*/ 31 h 272"/>
                <a:gd name="T82" fmla="*/ 189 w 272"/>
                <a:gd name="T83" fmla="*/ 10 h 272"/>
                <a:gd name="T84" fmla="*/ 150 w 272"/>
                <a:gd name="T85" fmla="*/ 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72">
                  <a:moveTo>
                    <a:pt x="136" y="242"/>
                  </a:moveTo>
                  <a:lnTo>
                    <a:pt x="125" y="241"/>
                  </a:lnTo>
                  <a:lnTo>
                    <a:pt x="115" y="240"/>
                  </a:lnTo>
                  <a:lnTo>
                    <a:pt x="104" y="236"/>
                  </a:lnTo>
                  <a:lnTo>
                    <a:pt x="94" y="233"/>
                  </a:lnTo>
                  <a:lnTo>
                    <a:pt x="86" y="229"/>
                  </a:lnTo>
                  <a:lnTo>
                    <a:pt x="77" y="224"/>
                  </a:lnTo>
                  <a:lnTo>
                    <a:pt x="69" y="217"/>
                  </a:lnTo>
                  <a:lnTo>
                    <a:pt x="61" y="211"/>
                  </a:lnTo>
                  <a:lnTo>
                    <a:pt x="55" y="203"/>
                  </a:lnTo>
                  <a:lnTo>
                    <a:pt x="48" y="195"/>
                  </a:lnTo>
                  <a:lnTo>
                    <a:pt x="43" y="186"/>
                  </a:lnTo>
                  <a:lnTo>
                    <a:pt x="39" y="176"/>
                  </a:lnTo>
                  <a:lnTo>
                    <a:pt x="34" y="167"/>
                  </a:lnTo>
                  <a:lnTo>
                    <a:pt x="32" y="157"/>
                  </a:lnTo>
                  <a:lnTo>
                    <a:pt x="31" y="146"/>
                  </a:lnTo>
                  <a:lnTo>
                    <a:pt x="30" y="136"/>
                  </a:lnTo>
                  <a:lnTo>
                    <a:pt x="31" y="125"/>
                  </a:lnTo>
                  <a:lnTo>
                    <a:pt x="32" y="114"/>
                  </a:lnTo>
                  <a:lnTo>
                    <a:pt x="34" y="105"/>
                  </a:lnTo>
                  <a:lnTo>
                    <a:pt x="39" y="95"/>
                  </a:lnTo>
                  <a:lnTo>
                    <a:pt x="43" y="85"/>
                  </a:lnTo>
                  <a:lnTo>
                    <a:pt x="48" y="77"/>
                  </a:lnTo>
                  <a:lnTo>
                    <a:pt x="55" y="68"/>
                  </a:lnTo>
                  <a:lnTo>
                    <a:pt x="61" y="61"/>
                  </a:lnTo>
                  <a:lnTo>
                    <a:pt x="69" y="54"/>
                  </a:lnTo>
                  <a:lnTo>
                    <a:pt x="77" y="48"/>
                  </a:lnTo>
                  <a:lnTo>
                    <a:pt x="86" y="42"/>
                  </a:lnTo>
                  <a:lnTo>
                    <a:pt x="94" y="38"/>
                  </a:lnTo>
                  <a:lnTo>
                    <a:pt x="104" y="35"/>
                  </a:lnTo>
                  <a:lnTo>
                    <a:pt x="115" y="32"/>
                  </a:lnTo>
                  <a:lnTo>
                    <a:pt x="125" y="31"/>
                  </a:lnTo>
                  <a:lnTo>
                    <a:pt x="136" y="30"/>
                  </a:lnTo>
                  <a:lnTo>
                    <a:pt x="147" y="31"/>
                  </a:lnTo>
                  <a:lnTo>
                    <a:pt x="158" y="32"/>
                  </a:lnTo>
                  <a:lnTo>
                    <a:pt x="167" y="35"/>
                  </a:lnTo>
                  <a:lnTo>
                    <a:pt x="177" y="38"/>
                  </a:lnTo>
                  <a:lnTo>
                    <a:pt x="187" y="42"/>
                  </a:lnTo>
                  <a:lnTo>
                    <a:pt x="195" y="48"/>
                  </a:lnTo>
                  <a:lnTo>
                    <a:pt x="204" y="54"/>
                  </a:lnTo>
                  <a:lnTo>
                    <a:pt x="211" y="61"/>
                  </a:lnTo>
                  <a:lnTo>
                    <a:pt x="218" y="68"/>
                  </a:lnTo>
                  <a:lnTo>
                    <a:pt x="224" y="77"/>
                  </a:lnTo>
                  <a:lnTo>
                    <a:pt x="229" y="85"/>
                  </a:lnTo>
                  <a:lnTo>
                    <a:pt x="234" y="95"/>
                  </a:lnTo>
                  <a:lnTo>
                    <a:pt x="237" y="105"/>
                  </a:lnTo>
                  <a:lnTo>
                    <a:pt x="240" y="114"/>
                  </a:lnTo>
                  <a:lnTo>
                    <a:pt x="241" y="125"/>
                  </a:lnTo>
                  <a:lnTo>
                    <a:pt x="242" y="136"/>
                  </a:lnTo>
                  <a:lnTo>
                    <a:pt x="241" y="146"/>
                  </a:lnTo>
                  <a:lnTo>
                    <a:pt x="240" y="157"/>
                  </a:lnTo>
                  <a:lnTo>
                    <a:pt x="237" y="167"/>
                  </a:lnTo>
                  <a:lnTo>
                    <a:pt x="234" y="176"/>
                  </a:lnTo>
                  <a:lnTo>
                    <a:pt x="229" y="186"/>
                  </a:lnTo>
                  <a:lnTo>
                    <a:pt x="224" y="195"/>
                  </a:lnTo>
                  <a:lnTo>
                    <a:pt x="218" y="203"/>
                  </a:lnTo>
                  <a:lnTo>
                    <a:pt x="211" y="211"/>
                  </a:lnTo>
                  <a:lnTo>
                    <a:pt x="204" y="217"/>
                  </a:lnTo>
                  <a:lnTo>
                    <a:pt x="195" y="224"/>
                  </a:lnTo>
                  <a:lnTo>
                    <a:pt x="187" y="229"/>
                  </a:lnTo>
                  <a:lnTo>
                    <a:pt x="177" y="233"/>
                  </a:lnTo>
                  <a:lnTo>
                    <a:pt x="167" y="236"/>
                  </a:lnTo>
                  <a:lnTo>
                    <a:pt x="158" y="240"/>
                  </a:lnTo>
                  <a:lnTo>
                    <a:pt x="147" y="241"/>
                  </a:lnTo>
                  <a:lnTo>
                    <a:pt x="136" y="242"/>
                  </a:lnTo>
                  <a:close/>
                  <a:moveTo>
                    <a:pt x="136" y="0"/>
                  </a:moveTo>
                  <a:lnTo>
                    <a:pt x="122" y="1"/>
                  </a:lnTo>
                  <a:lnTo>
                    <a:pt x="108" y="3"/>
                  </a:lnTo>
                  <a:lnTo>
                    <a:pt x="95" y="6"/>
                  </a:lnTo>
                  <a:lnTo>
                    <a:pt x="82" y="10"/>
                  </a:lnTo>
                  <a:lnTo>
                    <a:pt x="71" y="16"/>
                  </a:lnTo>
                  <a:lnTo>
                    <a:pt x="60" y="23"/>
                  </a:lnTo>
                  <a:lnTo>
                    <a:pt x="49" y="31"/>
                  </a:lnTo>
                  <a:lnTo>
                    <a:pt x="40" y="39"/>
                  </a:lnTo>
                  <a:lnTo>
                    <a:pt x="31" y="49"/>
                  </a:lnTo>
                  <a:lnTo>
                    <a:pt x="23" y="60"/>
                  </a:lnTo>
                  <a:lnTo>
                    <a:pt x="16" y="70"/>
                  </a:lnTo>
                  <a:lnTo>
                    <a:pt x="11" y="83"/>
                  </a:lnTo>
                  <a:lnTo>
                    <a:pt x="6" y="95"/>
                  </a:lnTo>
                  <a:lnTo>
                    <a:pt x="2" y="108"/>
                  </a:lnTo>
                  <a:lnTo>
                    <a:pt x="0" y="122"/>
                  </a:lnTo>
                  <a:lnTo>
                    <a:pt x="0" y="136"/>
                  </a:lnTo>
                  <a:lnTo>
                    <a:pt x="0" y="150"/>
                  </a:lnTo>
                  <a:lnTo>
                    <a:pt x="2" y="162"/>
                  </a:lnTo>
                  <a:lnTo>
                    <a:pt x="6" y="176"/>
                  </a:lnTo>
                  <a:lnTo>
                    <a:pt x="11" y="188"/>
                  </a:lnTo>
                  <a:lnTo>
                    <a:pt x="16" y="200"/>
                  </a:lnTo>
                  <a:lnTo>
                    <a:pt x="23" y="212"/>
                  </a:lnTo>
                  <a:lnTo>
                    <a:pt x="31" y="222"/>
                  </a:lnTo>
                  <a:lnTo>
                    <a:pt x="40" y="232"/>
                  </a:lnTo>
                  <a:lnTo>
                    <a:pt x="49" y="241"/>
                  </a:lnTo>
                  <a:lnTo>
                    <a:pt x="60" y="248"/>
                  </a:lnTo>
                  <a:lnTo>
                    <a:pt x="71" y="256"/>
                  </a:lnTo>
                  <a:lnTo>
                    <a:pt x="82" y="261"/>
                  </a:lnTo>
                  <a:lnTo>
                    <a:pt x="95" y="265"/>
                  </a:lnTo>
                  <a:lnTo>
                    <a:pt x="108" y="269"/>
                  </a:lnTo>
                  <a:lnTo>
                    <a:pt x="122" y="271"/>
                  </a:lnTo>
                  <a:lnTo>
                    <a:pt x="136" y="272"/>
                  </a:lnTo>
                  <a:lnTo>
                    <a:pt x="150" y="271"/>
                  </a:lnTo>
                  <a:lnTo>
                    <a:pt x="163" y="269"/>
                  </a:lnTo>
                  <a:lnTo>
                    <a:pt x="176" y="265"/>
                  </a:lnTo>
                  <a:lnTo>
                    <a:pt x="189" y="261"/>
                  </a:lnTo>
                  <a:lnTo>
                    <a:pt x="200" y="256"/>
                  </a:lnTo>
                  <a:lnTo>
                    <a:pt x="212" y="248"/>
                  </a:lnTo>
                  <a:lnTo>
                    <a:pt x="222" y="241"/>
                  </a:lnTo>
                  <a:lnTo>
                    <a:pt x="233" y="232"/>
                  </a:lnTo>
                  <a:lnTo>
                    <a:pt x="241" y="222"/>
                  </a:lnTo>
                  <a:lnTo>
                    <a:pt x="249" y="212"/>
                  </a:lnTo>
                  <a:lnTo>
                    <a:pt x="255" y="200"/>
                  </a:lnTo>
                  <a:lnTo>
                    <a:pt x="262" y="188"/>
                  </a:lnTo>
                  <a:lnTo>
                    <a:pt x="266" y="176"/>
                  </a:lnTo>
                  <a:lnTo>
                    <a:pt x="269" y="162"/>
                  </a:lnTo>
                  <a:lnTo>
                    <a:pt x="271" y="150"/>
                  </a:lnTo>
                  <a:lnTo>
                    <a:pt x="272" y="136"/>
                  </a:lnTo>
                  <a:lnTo>
                    <a:pt x="271" y="122"/>
                  </a:lnTo>
                  <a:lnTo>
                    <a:pt x="269" y="108"/>
                  </a:lnTo>
                  <a:lnTo>
                    <a:pt x="266" y="95"/>
                  </a:lnTo>
                  <a:lnTo>
                    <a:pt x="262" y="83"/>
                  </a:lnTo>
                  <a:lnTo>
                    <a:pt x="255" y="70"/>
                  </a:lnTo>
                  <a:lnTo>
                    <a:pt x="249" y="60"/>
                  </a:lnTo>
                  <a:lnTo>
                    <a:pt x="241" y="49"/>
                  </a:lnTo>
                  <a:lnTo>
                    <a:pt x="232" y="39"/>
                  </a:lnTo>
                  <a:lnTo>
                    <a:pt x="222" y="31"/>
                  </a:lnTo>
                  <a:lnTo>
                    <a:pt x="212" y="23"/>
                  </a:lnTo>
                  <a:lnTo>
                    <a:pt x="200" y="16"/>
                  </a:lnTo>
                  <a:lnTo>
                    <a:pt x="189" y="10"/>
                  </a:lnTo>
                  <a:lnTo>
                    <a:pt x="176" y="6"/>
                  </a:lnTo>
                  <a:lnTo>
                    <a:pt x="163" y="3"/>
                  </a:lnTo>
                  <a:lnTo>
                    <a:pt x="150"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2" name="Group 98">
            <a:extLst>
              <a:ext uri="{FF2B5EF4-FFF2-40B4-BE49-F238E27FC236}">
                <a16:creationId xmlns:a16="http://schemas.microsoft.com/office/drawing/2014/main" id="{F2450FCF-D451-4FBB-B98C-2AE81D0B6627}"/>
              </a:ext>
            </a:extLst>
          </p:cNvPr>
          <p:cNvGrpSpPr>
            <a:grpSpLocks noChangeAspect="1"/>
          </p:cNvGrpSpPr>
          <p:nvPr/>
        </p:nvGrpSpPr>
        <p:grpSpPr>
          <a:xfrm>
            <a:off x="5373272" y="4879041"/>
            <a:ext cx="295469" cy="285619"/>
            <a:chOff x="5514975" y="831850"/>
            <a:chExt cx="238125" cy="230188"/>
          </a:xfrm>
          <a:solidFill>
            <a:schemeClr val="bg2"/>
          </a:solidFill>
          <a:effectLst/>
        </p:grpSpPr>
        <p:sp>
          <p:nvSpPr>
            <p:cNvPr id="1463" name="Freeform 87">
              <a:extLst>
                <a:ext uri="{FF2B5EF4-FFF2-40B4-BE49-F238E27FC236}">
                  <a16:creationId xmlns:a16="http://schemas.microsoft.com/office/drawing/2014/main" id="{92345838-6873-4441-BF29-AAD9DA1DAF1F}"/>
                </a:ext>
              </a:extLst>
            </p:cNvPr>
            <p:cNvSpPr>
              <a:spLocks noEditPoints="1"/>
            </p:cNvSpPr>
            <p:nvPr/>
          </p:nvSpPr>
          <p:spPr bwMode="auto">
            <a:xfrm>
              <a:off x="5605463" y="1004888"/>
              <a:ext cx="57150" cy="57150"/>
            </a:xfrm>
            <a:custGeom>
              <a:avLst/>
              <a:gdLst>
                <a:gd name="T0" fmla="*/ 79 w 182"/>
                <a:gd name="T1" fmla="*/ 150 h 181"/>
                <a:gd name="T2" fmla="*/ 63 w 182"/>
                <a:gd name="T3" fmla="*/ 144 h 181"/>
                <a:gd name="T4" fmla="*/ 49 w 182"/>
                <a:gd name="T5" fmla="*/ 133 h 181"/>
                <a:gd name="T6" fmla="*/ 38 w 182"/>
                <a:gd name="T7" fmla="*/ 119 h 181"/>
                <a:gd name="T8" fmla="*/ 32 w 182"/>
                <a:gd name="T9" fmla="*/ 103 h 181"/>
                <a:gd name="T10" fmla="*/ 30 w 182"/>
                <a:gd name="T11" fmla="*/ 85 h 181"/>
                <a:gd name="T12" fmla="*/ 35 w 182"/>
                <a:gd name="T13" fmla="*/ 66 h 181"/>
                <a:gd name="T14" fmla="*/ 44 w 182"/>
                <a:gd name="T15" fmla="*/ 51 h 181"/>
                <a:gd name="T16" fmla="*/ 57 w 182"/>
                <a:gd name="T17" fmla="*/ 41 h 181"/>
                <a:gd name="T18" fmla="*/ 73 w 182"/>
                <a:gd name="T19" fmla="*/ 32 h 181"/>
                <a:gd name="T20" fmla="*/ 91 w 182"/>
                <a:gd name="T21" fmla="*/ 30 h 181"/>
                <a:gd name="T22" fmla="*/ 109 w 182"/>
                <a:gd name="T23" fmla="*/ 32 h 181"/>
                <a:gd name="T24" fmla="*/ 125 w 182"/>
                <a:gd name="T25" fmla="*/ 41 h 181"/>
                <a:gd name="T26" fmla="*/ 138 w 182"/>
                <a:gd name="T27" fmla="*/ 51 h 181"/>
                <a:gd name="T28" fmla="*/ 146 w 182"/>
                <a:gd name="T29" fmla="*/ 66 h 181"/>
                <a:gd name="T30" fmla="*/ 152 w 182"/>
                <a:gd name="T31" fmla="*/ 85 h 181"/>
                <a:gd name="T32" fmla="*/ 151 w 182"/>
                <a:gd name="T33" fmla="*/ 103 h 181"/>
                <a:gd name="T34" fmla="*/ 144 w 182"/>
                <a:gd name="T35" fmla="*/ 119 h 181"/>
                <a:gd name="T36" fmla="*/ 133 w 182"/>
                <a:gd name="T37" fmla="*/ 133 h 181"/>
                <a:gd name="T38" fmla="*/ 120 w 182"/>
                <a:gd name="T39" fmla="*/ 144 h 181"/>
                <a:gd name="T40" fmla="*/ 103 w 182"/>
                <a:gd name="T41" fmla="*/ 150 h 181"/>
                <a:gd name="T42" fmla="*/ 91 w 182"/>
                <a:gd name="T43" fmla="*/ 0 h 181"/>
                <a:gd name="T44" fmla="*/ 64 w 182"/>
                <a:gd name="T45" fmla="*/ 4 h 181"/>
                <a:gd name="T46" fmla="*/ 40 w 182"/>
                <a:gd name="T47" fmla="*/ 15 h 181"/>
                <a:gd name="T48" fmla="*/ 21 w 182"/>
                <a:gd name="T49" fmla="*/ 33 h 181"/>
                <a:gd name="T50" fmla="*/ 7 w 182"/>
                <a:gd name="T51" fmla="*/ 55 h 181"/>
                <a:gd name="T52" fmla="*/ 0 w 182"/>
                <a:gd name="T53" fmla="*/ 81 h 181"/>
                <a:gd name="T54" fmla="*/ 2 w 182"/>
                <a:gd name="T55" fmla="*/ 108 h 181"/>
                <a:gd name="T56" fmla="*/ 11 w 182"/>
                <a:gd name="T57" fmla="*/ 134 h 181"/>
                <a:gd name="T58" fmla="*/ 27 w 182"/>
                <a:gd name="T59" fmla="*/ 154 h 181"/>
                <a:gd name="T60" fmla="*/ 48 w 182"/>
                <a:gd name="T61" fmla="*/ 170 h 181"/>
                <a:gd name="T62" fmla="*/ 72 w 182"/>
                <a:gd name="T63" fmla="*/ 179 h 181"/>
                <a:gd name="T64" fmla="*/ 100 w 182"/>
                <a:gd name="T65" fmla="*/ 181 h 181"/>
                <a:gd name="T66" fmla="*/ 126 w 182"/>
                <a:gd name="T67" fmla="*/ 174 h 181"/>
                <a:gd name="T68" fmla="*/ 148 w 182"/>
                <a:gd name="T69" fmla="*/ 161 h 181"/>
                <a:gd name="T70" fmla="*/ 167 w 182"/>
                <a:gd name="T71" fmla="*/ 141 h 181"/>
                <a:gd name="T72" fmla="*/ 177 w 182"/>
                <a:gd name="T73" fmla="*/ 118 h 181"/>
                <a:gd name="T74" fmla="*/ 182 w 182"/>
                <a:gd name="T75" fmla="*/ 90 h 181"/>
                <a:gd name="T76" fmla="*/ 177 w 182"/>
                <a:gd name="T77" fmla="*/ 63 h 181"/>
                <a:gd name="T78" fmla="*/ 167 w 182"/>
                <a:gd name="T79" fmla="*/ 40 h 181"/>
                <a:gd name="T80" fmla="*/ 148 w 182"/>
                <a:gd name="T81" fmla="*/ 20 h 181"/>
                <a:gd name="T82" fmla="*/ 126 w 182"/>
                <a:gd name="T83" fmla="*/ 6 h 181"/>
                <a:gd name="T84" fmla="*/ 100 w 182"/>
                <a:gd name="T8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 h="181">
                  <a:moveTo>
                    <a:pt x="91" y="151"/>
                  </a:moveTo>
                  <a:lnTo>
                    <a:pt x="85" y="150"/>
                  </a:lnTo>
                  <a:lnTo>
                    <a:pt x="79" y="150"/>
                  </a:lnTo>
                  <a:lnTo>
                    <a:pt x="73" y="148"/>
                  </a:lnTo>
                  <a:lnTo>
                    <a:pt x="68" y="146"/>
                  </a:lnTo>
                  <a:lnTo>
                    <a:pt x="63" y="144"/>
                  </a:lnTo>
                  <a:lnTo>
                    <a:pt x="57" y="140"/>
                  </a:lnTo>
                  <a:lnTo>
                    <a:pt x="53" y="137"/>
                  </a:lnTo>
                  <a:lnTo>
                    <a:pt x="49" y="133"/>
                  </a:lnTo>
                  <a:lnTo>
                    <a:pt x="44" y="129"/>
                  </a:lnTo>
                  <a:lnTo>
                    <a:pt x="41" y="124"/>
                  </a:lnTo>
                  <a:lnTo>
                    <a:pt x="38" y="119"/>
                  </a:lnTo>
                  <a:lnTo>
                    <a:pt x="35" y="114"/>
                  </a:lnTo>
                  <a:lnTo>
                    <a:pt x="34" y="108"/>
                  </a:lnTo>
                  <a:lnTo>
                    <a:pt x="32" y="103"/>
                  </a:lnTo>
                  <a:lnTo>
                    <a:pt x="30" y="96"/>
                  </a:lnTo>
                  <a:lnTo>
                    <a:pt x="30" y="90"/>
                  </a:lnTo>
                  <a:lnTo>
                    <a:pt x="30" y="85"/>
                  </a:lnTo>
                  <a:lnTo>
                    <a:pt x="32" y="78"/>
                  </a:lnTo>
                  <a:lnTo>
                    <a:pt x="34" y="73"/>
                  </a:lnTo>
                  <a:lnTo>
                    <a:pt x="35" y="66"/>
                  </a:lnTo>
                  <a:lnTo>
                    <a:pt x="38" y="61"/>
                  </a:lnTo>
                  <a:lnTo>
                    <a:pt x="41" y="57"/>
                  </a:lnTo>
                  <a:lnTo>
                    <a:pt x="44" y="51"/>
                  </a:lnTo>
                  <a:lnTo>
                    <a:pt x="49" y="47"/>
                  </a:lnTo>
                  <a:lnTo>
                    <a:pt x="53" y="44"/>
                  </a:lnTo>
                  <a:lnTo>
                    <a:pt x="57" y="41"/>
                  </a:lnTo>
                  <a:lnTo>
                    <a:pt x="63" y="37"/>
                  </a:lnTo>
                  <a:lnTo>
                    <a:pt x="67" y="34"/>
                  </a:lnTo>
                  <a:lnTo>
                    <a:pt x="73" y="32"/>
                  </a:lnTo>
                  <a:lnTo>
                    <a:pt x="79" y="31"/>
                  </a:lnTo>
                  <a:lnTo>
                    <a:pt x="85" y="30"/>
                  </a:lnTo>
                  <a:lnTo>
                    <a:pt x="91" y="30"/>
                  </a:lnTo>
                  <a:lnTo>
                    <a:pt x="97" y="30"/>
                  </a:lnTo>
                  <a:lnTo>
                    <a:pt x="103" y="31"/>
                  </a:lnTo>
                  <a:lnTo>
                    <a:pt x="109" y="32"/>
                  </a:lnTo>
                  <a:lnTo>
                    <a:pt x="114" y="34"/>
                  </a:lnTo>
                  <a:lnTo>
                    <a:pt x="120" y="37"/>
                  </a:lnTo>
                  <a:lnTo>
                    <a:pt x="125" y="41"/>
                  </a:lnTo>
                  <a:lnTo>
                    <a:pt x="129" y="44"/>
                  </a:lnTo>
                  <a:lnTo>
                    <a:pt x="133" y="47"/>
                  </a:lnTo>
                  <a:lnTo>
                    <a:pt x="138" y="51"/>
                  </a:lnTo>
                  <a:lnTo>
                    <a:pt x="141" y="57"/>
                  </a:lnTo>
                  <a:lnTo>
                    <a:pt x="144" y="61"/>
                  </a:lnTo>
                  <a:lnTo>
                    <a:pt x="146" y="66"/>
                  </a:lnTo>
                  <a:lnTo>
                    <a:pt x="148" y="73"/>
                  </a:lnTo>
                  <a:lnTo>
                    <a:pt x="151" y="78"/>
                  </a:lnTo>
                  <a:lnTo>
                    <a:pt x="152" y="85"/>
                  </a:lnTo>
                  <a:lnTo>
                    <a:pt x="152" y="90"/>
                  </a:lnTo>
                  <a:lnTo>
                    <a:pt x="152" y="96"/>
                  </a:lnTo>
                  <a:lnTo>
                    <a:pt x="151" y="103"/>
                  </a:lnTo>
                  <a:lnTo>
                    <a:pt x="148" y="108"/>
                  </a:lnTo>
                  <a:lnTo>
                    <a:pt x="146" y="114"/>
                  </a:lnTo>
                  <a:lnTo>
                    <a:pt x="144" y="119"/>
                  </a:lnTo>
                  <a:lnTo>
                    <a:pt x="141" y="124"/>
                  </a:lnTo>
                  <a:lnTo>
                    <a:pt x="138" y="129"/>
                  </a:lnTo>
                  <a:lnTo>
                    <a:pt x="133" y="133"/>
                  </a:lnTo>
                  <a:lnTo>
                    <a:pt x="129" y="137"/>
                  </a:lnTo>
                  <a:lnTo>
                    <a:pt x="125" y="140"/>
                  </a:lnTo>
                  <a:lnTo>
                    <a:pt x="120" y="144"/>
                  </a:lnTo>
                  <a:lnTo>
                    <a:pt x="114" y="146"/>
                  </a:lnTo>
                  <a:lnTo>
                    <a:pt x="109" y="148"/>
                  </a:lnTo>
                  <a:lnTo>
                    <a:pt x="103" y="150"/>
                  </a:lnTo>
                  <a:lnTo>
                    <a:pt x="97" y="150"/>
                  </a:lnTo>
                  <a:lnTo>
                    <a:pt x="91" y="151"/>
                  </a:lnTo>
                  <a:close/>
                  <a:moveTo>
                    <a:pt x="91" y="0"/>
                  </a:moveTo>
                  <a:lnTo>
                    <a:pt x="82" y="0"/>
                  </a:lnTo>
                  <a:lnTo>
                    <a:pt x="72" y="1"/>
                  </a:lnTo>
                  <a:lnTo>
                    <a:pt x="64" y="4"/>
                  </a:lnTo>
                  <a:lnTo>
                    <a:pt x="55" y="6"/>
                  </a:lnTo>
                  <a:lnTo>
                    <a:pt x="48" y="11"/>
                  </a:lnTo>
                  <a:lnTo>
                    <a:pt x="40" y="15"/>
                  </a:lnTo>
                  <a:lnTo>
                    <a:pt x="34" y="20"/>
                  </a:lnTo>
                  <a:lnTo>
                    <a:pt x="27" y="27"/>
                  </a:lnTo>
                  <a:lnTo>
                    <a:pt x="21" y="33"/>
                  </a:lnTo>
                  <a:lnTo>
                    <a:pt x="15" y="40"/>
                  </a:lnTo>
                  <a:lnTo>
                    <a:pt x="11" y="47"/>
                  </a:lnTo>
                  <a:lnTo>
                    <a:pt x="7" y="55"/>
                  </a:lnTo>
                  <a:lnTo>
                    <a:pt x="5" y="63"/>
                  </a:lnTo>
                  <a:lnTo>
                    <a:pt x="2" y="72"/>
                  </a:lnTo>
                  <a:lnTo>
                    <a:pt x="0" y="81"/>
                  </a:lnTo>
                  <a:lnTo>
                    <a:pt x="0" y="90"/>
                  </a:lnTo>
                  <a:lnTo>
                    <a:pt x="0" y="100"/>
                  </a:lnTo>
                  <a:lnTo>
                    <a:pt x="2" y="108"/>
                  </a:lnTo>
                  <a:lnTo>
                    <a:pt x="5" y="118"/>
                  </a:lnTo>
                  <a:lnTo>
                    <a:pt x="7" y="125"/>
                  </a:lnTo>
                  <a:lnTo>
                    <a:pt x="11" y="134"/>
                  </a:lnTo>
                  <a:lnTo>
                    <a:pt x="15" y="141"/>
                  </a:lnTo>
                  <a:lnTo>
                    <a:pt x="21" y="148"/>
                  </a:lnTo>
                  <a:lnTo>
                    <a:pt x="27" y="154"/>
                  </a:lnTo>
                  <a:lnTo>
                    <a:pt x="34" y="161"/>
                  </a:lnTo>
                  <a:lnTo>
                    <a:pt x="40" y="166"/>
                  </a:lnTo>
                  <a:lnTo>
                    <a:pt x="48" y="170"/>
                  </a:lnTo>
                  <a:lnTo>
                    <a:pt x="55" y="174"/>
                  </a:lnTo>
                  <a:lnTo>
                    <a:pt x="64" y="177"/>
                  </a:lnTo>
                  <a:lnTo>
                    <a:pt x="72" y="179"/>
                  </a:lnTo>
                  <a:lnTo>
                    <a:pt x="82" y="181"/>
                  </a:lnTo>
                  <a:lnTo>
                    <a:pt x="91" y="181"/>
                  </a:lnTo>
                  <a:lnTo>
                    <a:pt x="100" y="181"/>
                  </a:lnTo>
                  <a:lnTo>
                    <a:pt x="109" y="179"/>
                  </a:lnTo>
                  <a:lnTo>
                    <a:pt x="118" y="177"/>
                  </a:lnTo>
                  <a:lnTo>
                    <a:pt x="126" y="174"/>
                  </a:lnTo>
                  <a:lnTo>
                    <a:pt x="135" y="170"/>
                  </a:lnTo>
                  <a:lnTo>
                    <a:pt x="142" y="166"/>
                  </a:lnTo>
                  <a:lnTo>
                    <a:pt x="148" y="161"/>
                  </a:lnTo>
                  <a:lnTo>
                    <a:pt x="155" y="154"/>
                  </a:lnTo>
                  <a:lnTo>
                    <a:pt x="161" y="148"/>
                  </a:lnTo>
                  <a:lnTo>
                    <a:pt x="167" y="141"/>
                  </a:lnTo>
                  <a:lnTo>
                    <a:pt x="171" y="134"/>
                  </a:lnTo>
                  <a:lnTo>
                    <a:pt x="174" y="125"/>
                  </a:lnTo>
                  <a:lnTo>
                    <a:pt x="177" y="118"/>
                  </a:lnTo>
                  <a:lnTo>
                    <a:pt x="180" y="108"/>
                  </a:lnTo>
                  <a:lnTo>
                    <a:pt x="182" y="100"/>
                  </a:lnTo>
                  <a:lnTo>
                    <a:pt x="182" y="90"/>
                  </a:lnTo>
                  <a:lnTo>
                    <a:pt x="182" y="81"/>
                  </a:lnTo>
                  <a:lnTo>
                    <a:pt x="180" y="72"/>
                  </a:lnTo>
                  <a:lnTo>
                    <a:pt x="177" y="63"/>
                  </a:lnTo>
                  <a:lnTo>
                    <a:pt x="174" y="55"/>
                  </a:lnTo>
                  <a:lnTo>
                    <a:pt x="171" y="47"/>
                  </a:lnTo>
                  <a:lnTo>
                    <a:pt x="167" y="40"/>
                  </a:lnTo>
                  <a:lnTo>
                    <a:pt x="161" y="33"/>
                  </a:lnTo>
                  <a:lnTo>
                    <a:pt x="155" y="27"/>
                  </a:lnTo>
                  <a:lnTo>
                    <a:pt x="148" y="20"/>
                  </a:lnTo>
                  <a:lnTo>
                    <a:pt x="142" y="15"/>
                  </a:lnTo>
                  <a:lnTo>
                    <a:pt x="135" y="11"/>
                  </a:lnTo>
                  <a:lnTo>
                    <a:pt x="126" y="6"/>
                  </a:lnTo>
                  <a:lnTo>
                    <a:pt x="118" y="4"/>
                  </a:lnTo>
                  <a:lnTo>
                    <a:pt x="109" y="1"/>
                  </a:lnTo>
                  <a:lnTo>
                    <a:pt x="100"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88">
              <a:extLst>
                <a:ext uri="{FF2B5EF4-FFF2-40B4-BE49-F238E27FC236}">
                  <a16:creationId xmlns:a16="http://schemas.microsoft.com/office/drawing/2014/main" id="{E6FFDCFC-0462-449E-97F5-A248639730B0}"/>
                </a:ext>
              </a:extLst>
            </p:cNvPr>
            <p:cNvSpPr>
              <a:spLocks/>
            </p:cNvSpPr>
            <p:nvPr/>
          </p:nvSpPr>
          <p:spPr bwMode="auto">
            <a:xfrm>
              <a:off x="5581650" y="946150"/>
              <a:ext cx="104775" cy="25400"/>
            </a:xfrm>
            <a:custGeom>
              <a:avLst/>
              <a:gdLst>
                <a:gd name="T0" fmla="*/ 0 w 332"/>
                <a:gd name="T1" fmla="*/ 53 h 78"/>
                <a:gd name="T2" fmla="*/ 18 w 332"/>
                <a:gd name="T3" fmla="*/ 78 h 78"/>
                <a:gd name="T4" fmla="*/ 35 w 332"/>
                <a:gd name="T5" fmla="*/ 67 h 78"/>
                <a:gd name="T6" fmla="*/ 52 w 332"/>
                <a:gd name="T7" fmla="*/ 58 h 78"/>
                <a:gd name="T8" fmla="*/ 70 w 332"/>
                <a:gd name="T9" fmla="*/ 49 h 78"/>
                <a:gd name="T10" fmla="*/ 88 w 332"/>
                <a:gd name="T11" fmla="*/ 43 h 78"/>
                <a:gd name="T12" fmla="*/ 107 w 332"/>
                <a:gd name="T13" fmla="*/ 37 h 78"/>
                <a:gd name="T14" fmla="*/ 127 w 332"/>
                <a:gd name="T15" fmla="*/ 34 h 78"/>
                <a:gd name="T16" fmla="*/ 146 w 332"/>
                <a:gd name="T17" fmla="*/ 31 h 78"/>
                <a:gd name="T18" fmla="*/ 166 w 332"/>
                <a:gd name="T19" fmla="*/ 31 h 78"/>
                <a:gd name="T20" fmla="*/ 186 w 332"/>
                <a:gd name="T21" fmla="*/ 31 h 78"/>
                <a:gd name="T22" fmla="*/ 205 w 332"/>
                <a:gd name="T23" fmla="*/ 33 h 78"/>
                <a:gd name="T24" fmla="*/ 225 w 332"/>
                <a:gd name="T25" fmla="*/ 37 h 78"/>
                <a:gd name="T26" fmla="*/ 244 w 332"/>
                <a:gd name="T27" fmla="*/ 43 h 78"/>
                <a:gd name="T28" fmla="*/ 262 w 332"/>
                <a:gd name="T29" fmla="*/ 49 h 78"/>
                <a:gd name="T30" fmla="*/ 280 w 332"/>
                <a:gd name="T31" fmla="*/ 58 h 78"/>
                <a:gd name="T32" fmla="*/ 297 w 332"/>
                <a:gd name="T33" fmla="*/ 67 h 78"/>
                <a:gd name="T34" fmla="*/ 315 w 332"/>
                <a:gd name="T35" fmla="*/ 78 h 78"/>
                <a:gd name="T36" fmla="*/ 332 w 332"/>
                <a:gd name="T37" fmla="*/ 53 h 78"/>
                <a:gd name="T38" fmla="*/ 314 w 332"/>
                <a:gd name="T39" fmla="*/ 40 h 78"/>
                <a:gd name="T40" fmla="*/ 294 w 332"/>
                <a:gd name="T41" fmla="*/ 30 h 78"/>
                <a:gd name="T42" fmla="*/ 274 w 332"/>
                <a:gd name="T43" fmla="*/ 21 h 78"/>
                <a:gd name="T44" fmla="*/ 253 w 332"/>
                <a:gd name="T45" fmla="*/ 14 h 78"/>
                <a:gd name="T46" fmla="*/ 232 w 332"/>
                <a:gd name="T47" fmla="*/ 8 h 78"/>
                <a:gd name="T48" fmla="*/ 211 w 332"/>
                <a:gd name="T49" fmla="*/ 4 h 78"/>
                <a:gd name="T50" fmla="*/ 188 w 332"/>
                <a:gd name="T51" fmla="*/ 1 h 78"/>
                <a:gd name="T52" fmla="*/ 166 w 332"/>
                <a:gd name="T53" fmla="*/ 0 h 78"/>
                <a:gd name="T54" fmla="*/ 144 w 332"/>
                <a:gd name="T55" fmla="*/ 1 h 78"/>
                <a:gd name="T56" fmla="*/ 122 w 332"/>
                <a:gd name="T57" fmla="*/ 4 h 78"/>
                <a:gd name="T58" fmla="*/ 100 w 332"/>
                <a:gd name="T59" fmla="*/ 8 h 78"/>
                <a:gd name="T60" fmla="*/ 79 w 332"/>
                <a:gd name="T61" fmla="*/ 14 h 78"/>
                <a:gd name="T62" fmla="*/ 58 w 332"/>
                <a:gd name="T63" fmla="*/ 21 h 78"/>
                <a:gd name="T64" fmla="*/ 38 w 332"/>
                <a:gd name="T65" fmla="*/ 31 h 78"/>
                <a:gd name="T66" fmla="*/ 19 w 332"/>
                <a:gd name="T67" fmla="*/ 40 h 78"/>
                <a:gd name="T68" fmla="*/ 0 w 332"/>
                <a:gd name="T69" fmla="*/ 5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78">
                  <a:moveTo>
                    <a:pt x="0" y="53"/>
                  </a:moveTo>
                  <a:lnTo>
                    <a:pt x="18" y="78"/>
                  </a:lnTo>
                  <a:lnTo>
                    <a:pt x="35" y="67"/>
                  </a:lnTo>
                  <a:lnTo>
                    <a:pt x="52" y="58"/>
                  </a:lnTo>
                  <a:lnTo>
                    <a:pt x="70" y="49"/>
                  </a:lnTo>
                  <a:lnTo>
                    <a:pt x="88" y="43"/>
                  </a:lnTo>
                  <a:lnTo>
                    <a:pt x="107" y="37"/>
                  </a:lnTo>
                  <a:lnTo>
                    <a:pt x="127" y="34"/>
                  </a:lnTo>
                  <a:lnTo>
                    <a:pt x="146" y="31"/>
                  </a:lnTo>
                  <a:lnTo>
                    <a:pt x="166" y="31"/>
                  </a:lnTo>
                  <a:lnTo>
                    <a:pt x="186" y="31"/>
                  </a:lnTo>
                  <a:lnTo>
                    <a:pt x="205" y="33"/>
                  </a:lnTo>
                  <a:lnTo>
                    <a:pt x="225" y="37"/>
                  </a:lnTo>
                  <a:lnTo>
                    <a:pt x="244" y="43"/>
                  </a:lnTo>
                  <a:lnTo>
                    <a:pt x="262" y="49"/>
                  </a:lnTo>
                  <a:lnTo>
                    <a:pt x="280" y="58"/>
                  </a:lnTo>
                  <a:lnTo>
                    <a:pt x="297" y="67"/>
                  </a:lnTo>
                  <a:lnTo>
                    <a:pt x="315" y="78"/>
                  </a:lnTo>
                  <a:lnTo>
                    <a:pt x="332" y="53"/>
                  </a:lnTo>
                  <a:lnTo>
                    <a:pt x="314" y="40"/>
                  </a:lnTo>
                  <a:lnTo>
                    <a:pt x="294" y="30"/>
                  </a:lnTo>
                  <a:lnTo>
                    <a:pt x="274" y="21"/>
                  </a:lnTo>
                  <a:lnTo>
                    <a:pt x="253" y="14"/>
                  </a:lnTo>
                  <a:lnTo>
                    <a:pt x="232" y="8"/>
                  </a:lnTo>
                  <a:lnTo>
                    <a:pt x="211" y="4"/>
                  </a:lnTo>
                  <a:lnTo>
                    <a:pt x="188" y="1"/>
                  </a:lnTo>
                  <a:lnTo>
                    <a:pt x="166" y="0"/>
                  </a:lnTo>
                  <a:lnTo>
                    <a:pt x="144" y="1"/>
                  </a:lnTo>
                  <a:lnTo>
                    <a:pt x="122" y="4"/>
                  </a:lnTo>
                  <a:lnTo>
                    <a:pt x="100" y="8"/>
                  </a:lnTo>
                  <a:lnTo>
                    <a:pt x="79" y="14"/>
                  </a:lnTo>
                  <a:lnTo>
                    <a:pt x="58" y="21"/>
                  </a:lnTo>
                  <a:lnTo>
                    <a:pt x="38" y="31"/>
                  </a:lnTo>
                  <a:lnTo>
                    <a:pt x="19" y="40"/>
                  </a:lnTo>
                  <a:lnTo>
                    <a:pt x="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89">
              <a:extLst>
                <a:ext uri="{FF2B5EF4-FFF2-40B4-BE49-F238E27FC236}">
                  <a16:creationId xmlns:a16="http://schemas.microsoft.com/office/drawing/2014/main" id="{5C507B1F-DDFB-4530-BCB8-3B00834435D7}"/>
                </a:ext>
              </a:extLst>
            </p:cNvPr>
            <p:cNvSpPr>
              <a:spLocks/>
            </p:cNvSpPr>
            <p:nvPr/>
          </p:nvSpPr>
          <p:spPr bwMode="auto">
            <a:xfrm>
              <a:off x="5548313" y="889000"/>
              <a:ext cx="171450" cy="34925"/>
            </a:xfrm>
            <a:custGeom>
              <a:avLst/>
              <a:gdLst>
                <a:gd name="T0" fmla="*/ 17 w 542"/>
                <a:gd name="T1" fmla="*/ 111 h 111"/>
                <a:gd name="T2" fmla="*/ 46 w 542"/>
                <a:gd name="T3" fmla="*/ 92 h 111"/>
                <a:gd name="T4" fmla="*/ 75 w 542"/>
                <a:gd name="T5" fmla="*/ 76 h 111"/>
                <a:gd name="T6" fmla="*/ 106 w 542"/>
                <a:gd name="T7" fmla="*/ 62 h 111"/>
                <a:gd name="T8" fmla="*/ 138 w 542"/>
                <a:gd name="T9" fmla="*/ 51 h 111"/>
                <a:gd name="T10" fmla="*/ 170 w 542"/>
                <a:gd name="T11" fmla="*/ 41 h 111"/>
                <a:gd name="T12" fmla="*/ 203 w 542"/>
                <a:gd name="T13" fmla="*/ 35 h 111"/>
                <a:gd name="T14" fmla="*/ 237 w 542"/>
                <a:gd name="T15" fmla="*/ 32 h 111"/>
                <a:gd name="T16" fmla="*/ 271 w 542"/>
                <a:gd name="T17" fmla="*/ 30 h 111"/>
                <a:gd name="T18" fmla="*/ 305 w 542"/>
                <a:gd name="T19" fmla="*/ 32 h 111"/>
                <a:gd name="T20" fmla="*/ 339 w 542"/>
                <a:gd name="T21" fmla="*/ 35 h 111"/>
                <a:gd name="T22" fmla="*/ 371 w 542"/>
                <a:gd name="T23" fmla="*/ 41 h 111"/>
                <a:gd name="T24" fmla="*/ 405 w 542"/>
                <a:gd name="T25" fmla="*/ 51 h 111"/>
                <a:gd name="T26" fmla="*/ 436 w 542"/>
                <a:gd name="T27" fmla="*/ 62 h 111"/>
                <a:gd name="T28" fmla="*/ 467 w 542"/>
                <a:gd name="T29" fmla="*/ 76 h 111"/>
                <a:gd name="T30" fmla="*/ 496 w 542"/>
                <a:gd name="T31" fmla="*/ 92 h 111"/>
                <a:gd name="T32" fmla="*/ 525 w 542"/>
                <a:gd name="T33" fmla="*/ 111 h 111"/>
                <a:gd name="T34" fmla="*/ 527 w 542"/>
                <a:gd name="T35" fmla="*/ 76 h 111"/>
                <a:gd name="T36" fmla="*/ 496 w 542"/>
                <a:gd name="T37" fmla="*/ 57 h 111"/>
                <a:gd name="T38" fmla="*/ 464 w 542"/>
                <a:gd name="T39" fmla="*/ 41 h 111"/>
                <a:gd name="T40" fmla="*/ 430 w 542"/>
                <a:gd name="T41" fmla="*/ 27 h 111"/>
                <a:gd name="T42" fmla="*/ 396 w 542"/>
                <a:gd name="T43" fmla="*/ 17 h 111"/>
                <a:gd name="T44" fmla="*/ 361 w 542"/>
                <a:gd name="T45" fmla="*/ 8 h 111"/>
                <a:gd name="T46" fmla="*/ 325 w 542"/>
                <a:gd name="T47" fmla="*/ 3 h 111"/>
                <a:gd name="T48" fmla="*/ 289 w 542"/>
                <a:gd name="T49" fmla="*/ 1 h 111"/>
                <a:gd name="T50" fmla="*/ 252 w 542"/>
                <a:gd name="T51" fmla="*/ 1 h 111"/>
                <a:gd name="T52" fmla="*/ 217 w 542"/>
                <a:gd name="T53" fmla="*/ 3 h 111"/>
                <a:gd name="T54" fmla="*/ 180 w 542"/>
                <a:gd name="T55" fmla="*/ 8 h 111"/>
                <a:gd name="T56" fmla="*/ 146 w 542"/>
                <a:gd name="T57" fmla="*/ 17 h 111"/>
                <a:gd name="T58" fmla="*/ 112 w 542"/>
                <a:gd name="T59" fmla="*/ 27 h 111"/>
                <a:gd name="T60" fmla="*/ 79 w 542"/>
                <a:gd name="T61" fmla="*/ 41 h 111"/>
                <a:gd name="T62" fmla="*/ 46 w 542"/>
                <a:gd name="T63" fmla="*/ 57 h 111"/>
                <a:gd name="T64" fmla="*/ 15 w 542"/>
                <a:gd name="T65" fmla="*/ 7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2" h="111">
                  <a:moveTo>
                    <a:pt x="0" y="86"/>
                  </a:moveTo>
                  <a:lnTo>
                    <a:pt x="17" y="111"/>
                  </a:lnTo>
                  <a:lnTo>
                    <a:pt x="31" y="101"/>
                  </a:lnTo>
                  <a:lnTo>
                    <a:pt x="46" y="92"/>
                  </a:lnTo>
                  <a:lnTo>
                    <a:pt x="60" y="83"/>
                  </a:lnTo>
                  <a:lnTo>
                    <a:pt x="75" y="76"/>
                  </a:lnTo>
                  <a:lnTo>
                    <a:pt x="90" y="68"/>
                  </a:lnTo>
                  <a:lnTo>
                    <a:pt x="106" y="62"/>
                  </a:lnTo>
                  <a:lnTo>
                    <a:pt x="121" y="56"/>
                  </a:lnTo>
                  <a:lnTo>
                    <a:pt x="138" y="51"/>
                  </a:lnTo>
                  <a:lnTo>
                    <a:pt x="154" y="46"/>
                  </a:lnTo>
                  <a:lnTo>
                    <a:pt x="170" y="41"/>
                  </a:lnTo>
                  <a:lnTo>
                    <a:pt x="187" y="38"/>
                  </a:lnTo>
                  <a:lnTo>
                    <a:pt x="203" y="35"/>
                  </a:lnTo>
                  <a:lnTo>
                    <a:pt x="220" y="33"/>
                  </a:lnTo>
                  <a:lnTo>
                    <a:pt x="237" y="32"/>
                  </a:lnTo>
                  <a:lnTo>
                    <a:pt x="253" y="31"/>
                  </a:lnTo>
                  <a:lnTo>
                    <a:pt x="271" y="30"/>
                  </a:lnTo>
                  <a:lnTo>
                    <a:pt x="288" y="31"/>
                  </a:lnTo>
                  <a:lnTo>
                    <a:pt x="305" y="32"/>
                  </a:lnTo>
                  <a:lnTo>
                    <a:pt x="322" y="33"/>
                  </a:lnTo>
                  <a:lnTo>
                    <a:pt x="339" y="35"/>
                  </a:lnTo>
                  <a:lnTo>
                    <a:pt x="355" y="38"/>
                  </a:lnTo>
                  <a:lnTo>
                    <a:pt x="371" y="41"/>
                  </a:lnTo>
                  <a:lnTo>
                    <a:pt x="389" y="46"/>
                  </a:lnTo>
                  <a:lnTo>
                    <a:pt x="405" y="51"/>
                  </a:lnTo>
                  <a:lnTo>
                    <a:pt x="420" y="56"/>
                  </a:lnTo>
                  <a:lnTo>
                    <a:pt x="436" y="62"/>
                  </a:lnTo>
                  <a:lnTo>
                    <a:pt x="451" y="68"/>
                  </a:lnTo>
                  <a:lnTo>
                    <a:pt x="467" y="76"/>
                  </a:lnTo>
                  <a:lnTo>
                    <a:pt x="482" y="83"/>
                  </a:lnTo>
                  <a:lnTo>
                    <a:pt x="496" y="92"/>
                  </a:lnTo>
                  <a:lnTo>
                    <a:pt x="511" y="101"/>
                  </a:lnTo>
                  <a:lnTo>
                    <a:pt x="525" y="111"/>
                  </a:lnTo>
                  <a:lnTo>
                    <a:pt x="542" y="86"/>
                  </a:lnTo>
                  <a:lnTo>
                    <a:pt x="527" y="76"/>
                  </a:lnTo>
                  <a:lnTo>
                    <a:pt x="512" y="66"/>
                  </a:lnTo>
                  <a:lnTo>
                    <a:pt x="496" y="57"/>
                  </a:lnTo>
                  <a:lnTo>
                    <a:pt x="480" y="49"/>
                  </a:lnTo>
                  <a:lnTo>
                    <a:pt x="464" y="41"/>
                  </a:lnTo>
                  <a:lnTo>
                    <a:pt x="448" y="34"/>
                  </a:lnTo>
                  <a:lnTo>
                    <a:pt x="430" y="27"/>
                  </a:lnTo>
                  <a:lnTo>
                    <a:pt x="413" y="22"/>
                  </a:lnTo>
                  <a:lnTo>
                    <a:pt x="396" y="17"/>
                  </a:lnTo>
                  <a:lnTo>
                    <a:pt x="379" y="12"/>
                  </a:lnTo>
                  <a:lnTo>
                    <a:pt x="361" y="8"/>
                  </a:lnTo>
                  <a:lnTo>
                    <a:pt x="343" y="5"/>
                  </a:lnTo>
                  <a:lnTo>
                    <a:pt x="325" y="3"/>
                  </a:lnTo>
                  <a:lnTo>
                    <a:pt x="307" y="1"/>
                  </a:lnTo>
                  <a:lnTo>
                    <a:pt x="289" y="1"/>
                  </a:lnTo>
                  <a:lnTo>
                    <a:pt x="271" y="0"/>
                  </a:lnTo>
                  <a:lnTo>
                    <a:pt x="252" y="1"/>
                  </a:lnTo>
                  <a:lnTo>
                    <a:pt x="234" y="1"/>
                  </a:lnTo>
                  <a:lnTo>
                    <a:pt x="217" y="3"/>
                  </a:lnTo>
                  <a:lnTo>
                    <a:pt x="199" y="5"/>
                  </a:lnTo>
                  <a:lnTo>
                    <a:pt x="180" y="8"/>
                  </a:lnTo>
                  <a:lnTo>
                    <a:pt x="163" y="12"/>
                  </a:lnTo>
                  <a:lnTo>
                    <a:pt x="146" y="17"/>
                  </a:lnTo>
                  <a:lnTo>
                    <a:pt x="129" y="22"/>
                  </a:lnTo>
                  <a:lnTo>
                    <a:pt x="112" y="27"/>
                  </a:lnTo>
                  <a:lnTo>
                    <a:pt x="95" y="34"/>
                  </a:lnTo>
                  <a:lnTo>
                    <a:pt x="79" y="41"/>
                  </a:lnTo>
                  <a:lnTo>
                    <a:pt x="62" y="49"/>
                  </a:lnTo>
                  <a:lnTo>
                    <a:pt x="46" y="57"/>
                  </a:lnTo>
                  <a:lnTo>
                    <a:pt x="30" y="66"/>
                  </a:lnTo>
                  <a:lnTo>
                    <a:pt x="15" y="76"/>
                  </a:lnTo>
                  <a:lnTo>
                    <a:pt x="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90">
              <a:extLst>
                <a:ext uri="{FF2B5EF4-FFF2-40B4-BE49-F238E27FC236}">
                  <a16:creationId xmlns:a16="http://schemas.microsoft.com/office/drawing/2014/main" id="{75CE1DD1-0E84-4343-B20C-E7AD50B0A806}"/>
                </a:ext>
              </a:extLst>
            </p:cNvPr>
            <p:cNvSpPr>
              <a:spLocks/>
            </p:cNvSpPr>
            <p:nvPr/>
          </p:nvSpPr>
          <p:spPr bwMode="auto">
            <a:xfrm>
              <a:off x="5514975" y="831850"/>
              <a:ext cx="238125" cy="46038"/>
            </a:xfrm>
            <a:custGeom>
              <a:avLst/>
              <a:gdLst>
                <a:gd name="T0" fmla="*/ 351 w 752"/>
                <a:gd name="T1" fmla="*/ 0 h 145"/>
                <a:gd name="T2" fmla="*/ 300 w 752"/>
                <a:gd name="T3" fmla="*/ 5 h 145"/>
                <a:gd name="T4" fmla="*/ 251 w 752"/>
                <a:gd name="T5" fmla="*/ 12 h 145"/>
                <a:gd name="T6" fmla="*/ 203 w 752"/>
                <a:gd name="T7" fmla="*/ 24 h 145"/>
                <a:gd name="T8" fmla="*/ 155 w 752"/>
                <a:gd name="T9" fmla="*/ 39 h 145"/>
                <a:gd name="T10" fmla="*/ 109 w 752"/>
                <a:gd name="T11" fmla="*/ 57 h 145"/>
                <a:gd name="T12" fmla="*/ 65 w 752"/>
                <a:gd name="T13" fmla="*/ 80 h 145"/>
                <a:gd name="T14" fmla="*/ 21 w 752"/>
                <a:gd name="T15" fmla="*/ 105 h 145"/>
                <a:gd name="T16" fmla="*/ 17 w 752"/>
                <a:gd name="T17" fmla="*/ 145 h 145"/>
                <a:gd name="T18" fmla="*/ 58 w 752"/>
                <a:gd name="T19" fmla="*/ 118 h 145"/>
                <a:gd name="T20" fmla="*/ 100 w 752"/>
                <a:gd name="T21" fmla="*/ 96 h 145"/>
                <a:gd name="T22" fmla="*/ 143 w 752"/>
                <a:gd name="T23" fmla="*/ 75 h 145"/>
                <a:gd name="T24" fmla="*/ 188 w 752"/>
                <a:gd name="T25" fmla="*/ 59 h 145"/>
                <a:gd name="T26" fmla="*/ 234 w 752"/>
                <a:gd name="T27" fmla="*/ 46 h 145"/>
                <a:gd name="T28" fmla="*/ 280 w 752"/>
                <a:gd name="T29" fmla="*/ 38 h 145"/>
                <a:gd name="T30" fmla="*/ 327 w 752"/>
                <a:gd name="T31" fmla="*/ 33 h 145"/>
                <a:gd name="T32" fmla="*/ 376 w 752"/>
                <a:gd name="T33" fmla="*/ 30 h 145"/>
                <a:gd name="T34" fmla="*/ 424 w 752"/>
                <a:gd name="T35" fmla="*/ 33 h 145"/>
                <a:gd name="T36" fmla="*/ 472 w 752"/>
                <a:gd name="T37" fmla="*/ 38 h 145"/>
                <a:gd name="T38" fmla="*/ 518 w 752"/>
                <a:gd name="T39" fmla="*/ 46 h 145"/>
                <a:gd name="T40" fmla="*/ 564 w 752"/>
                <a:gd name="T41" fmla="*/ 59 h 145"/>
                <a:gd name="T42" fmla="*/ 609 w 752"/>
                <a:gd name="T43" fmla="*/ 75 h 145"/>
                <a:gd name="T44" fmla="*/ 652 w 752"/>
                <a:gd name="T45" fmla="*/ 96 h 145"/>
                <a:gd name="T46" fmla="*/ 694 w 752"/>
                <a:gd name="T47" fmla="*/ 118 h 145"/>
                <a:gd name="T48" fmla="*/ 735 w 752"/>
                <a:gd name="T49" fmla="*/ 145 h 145"/>
                <a:gd name="T50" fmla="*/ 731 w 752"/>
                <a:gd name="T51" fmla="*/ 105 h 145"/>
                <a:gd name="T52" fmla="*/ 688 w 752"/>
                <a:gd name="T53" fmla="*/ 80 h 145"/>
                <a:gd name="T54" fmla="*/ 644 w 752"/>
                <a:gd name="T55" fmla="*/ 57 h 145"/>
                <a:gd name="T56" fmla="*/ 596 w 752"/>
                <a:gd name="T57" fmla="*/ 39 h 145"/>
                <a:gd name="T58" fmla="*/ 549 w 752"/>
                <a:gd name="T59" fmla="*/ 24 h 145"/>
                <a:gd name="T60" fmla="*/ 501 w 752"/>
                <a:gd name="T61" fmla="*/ 12 h 145"/>
                <a:gd name="T62" fmla="*/ 452 w 752"/>
                <a:gd name="T63" fmla="*/ 5 h 145"/>
                <a:gd name="T64" fmla="*/ 401 w 752"/>
                <a:gd name="T6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2" h="145">
                  <a:moveTo>
                    <a:pt x="376" y="0"/>
                  </a:moveTo>
                  <a:lnTo>
                    <a:pt x="351" y="0"/>
                  </a:lnTo>
                  <a:lnTo>
                    <a:pt x="325" y="3"/>
                  </a:lnTo>
                  <a:lnTo>
                    <a:pt x="300" y="5"/>
                  </a:lnTo>
                  <a:lnTo>
                    <a:pt x="276" y="8"/>
                  </a:lnTo>
                  <a:lnTo>
                    <a:pt x="251" y="12"/>
                  </a:lnTo>
                  <a:lnTo>
                    <a:pt x="226" y="18"/>
                  </a:lnTo>
                  <a:lnTo>
                    <a:pt x="203" y="24"/>
                  </a:lnTo>
                  <a:lnTo>
                    <a:pt x="178" y="30"/>
                  </a:lnTo>
                  <a:lnTo>
                    <a:pt x="155" y="39"/>
                  </a:lnTo>
                  <a:lnTo>
                    <a:pt x="132" y="48"/>
                  </a:lnTo>
                  <a:lnTo>
                    <a:pt x="109" y="57"/>
                  </a:lnTo>
                  <a:lnTo>
                    <a:pt x="86" y="68"/>
                  </a:lnTo>
                  <a:lnTo>
                    <a:pt x="65" y="80"/>
                  </a:lnTo>
                  <a:lnTo>
                    <a:pt x="42" y="93"/>
                  </a:lnTo>
                  <a:lnTo>
                    <a:pt x="21" y="105"/>
                  </a:lnTo>
                  <a:lnTo>
                    <a:pt x="0" y="120"/>
                  </a:lnTo>
                  <a:lnTo>
                    <a:pt x="17" y="145"/>
                  </a:lnTo>
                  <a:lnTo>
                    <a:pt x="38" y="131"/>
                  </a:lnTo>
                  <a:lnTo>
                    <a:pt x="58" y="118"/>
                  </a:lnTo>
                  <a:lnTo>
                    <a:pt x="78" y="107"/>
                  </a:lnTo>
                  <a:lnTo>
                    <a:pt x="100" y="96"/>
                  </a:lnTo>
                  <a:lnTo>
                    <a:pt x="121" y="85"/>
                  </a:lnTo>
                  <a:lnTo>
                    <a:pt x="143" y="75"/>
                  </a:lnTo>
                  <a:lnTo>
                    <a:pt x="165" y="67"/>
                  </a:lnTo>
                  <a:lnTo>
                    <a:pt x="188" y="59"/>
                  </a:lnTo>
                  <a:lnTo>
                    <a:pt x="210" y="53"/>
                  </a:lnTo>
                  <a:lnTo>
                    <a:pt x="234" y="46"/>
                  </a:lnTo>
                  <a:lnTo>
                    <a:pt x="257" y="42"/>
                  </a:lnTo>
                  <a:lnTo>
                    <a:pt x="280" y="38"/>
                  </a:lnTo>
                  <a:lnTo>
                    <a:pt x="304" y="35"/>
                  </a:lnTo>
                  <a:lnTo>
                    <a:pt x="327" y="33"/>
                  </a:lnTo>
                  <a:lnTo>
                    <a:pt x="352" y="31"/>
                  </a:lnTo>
                  <a:lnTo>
                    <a:pt x="376" y="30"/>
                  </a:lnTo>
                  <a:lnTo>
                    <a:pt x="400" y="31"/>
                  </a:lnTo>
                  <a:lnTo>
                    <a:pt x="424" y="33"/>
                  </a:lnTo>
                  <a:lnTo>
                    <a:pt x="448" y="35"/>
                  </a:lnTo>
                  <a:lnTo>
                    <a:pt x="472" y="38"/>
                  </a:lnTo>
                  <a:lnTo>
                    <a:pt x="496" y="42"/>
                  </a:lnTo>
                  <a:lnTo>
                    <a:pt x="518" y="46"/>
                  </a:lnTo>
                  <a:lnTo>
                    <a:pt x="542" y="53"/>
                  </a:lnTo>
                  <a:lnTo>
                    <a:pt x="564" y="59"/>
                  </a:lnTo>
                  <a:lnTo>
                    <a:pt x="587" y="67"/>
                  </a:lnTo>
                  <a:lnTo>
                    <a:pt x="609" y="75"/>
                  </a:lnTo>
                  <a:lnTo>
                    <a:pt x="631" y="85"/>
                  </a:lnTo>
                  <a:lnTo>
                    <a:pt x="652" y="96"/>
                  </a:lnTo>
                  <a:lnTo>
                    <a:pt x="674" y="107"/>
                  </a:lnTo>
                  <a:lnTo>
                    <a:pt x="694" y="118"/>
                  </a:lnTo>
                  <a:lnTo>
                    <a:pt x="714" y="131"/>
                  </a:lnTo>
                  <a:lnTo>
                    <a:pt x="735" y="145"/>
                  </a:lnTo>
                  <a:lnTo>
                    <a:pt x="752" y="120"/>
                  </a:lnTo>
                  <a:lnTo>
                    <a:pt x="731" y="105"/>
                  </a:lnTo>
                  <a:lnTo>
                    <a:pt x="710" y="93"/>
                  </a:lnTo>
                  <a:lnTo>
                    <a:pt x="688" y="80"/>
                  </a:lnTo>
                  <a:lnTo>
                    <a:pt x="666" y="68"/>
                  </a:lnTo>
                  <a:lnTo>
                    <a:pt x="644" y="57"/>
                  </a:lnTo>
                  <a:lnTo>
                    <a:pt x="620" y="48"/>
                  </a:lnTo>
                  <a:lnTo>
                    <a:pt x="596" y="39"/>
                  </a:lnTo>
                  <a:lnTo>
                    <a:pt x="573" y="30"/>
                  </a:lnTo>
                  <a:lnTo>
                    <a:pt x="549" y="24"/>
                  </a:lnTo>
                  <a:lnTo>
                    <a:pt x="526" y="18"/>
                  </a:lnTo>
                  <a:lnTo>
                    <a:pt x="501" y="12"/>
                  </a:lnTo>
                  <a:lnTo>
                    <a:pt x="476" y="8"/>
                  </a:lnTo>
                  <a:lnTo>
                    <a:pt x="452" y="5"/>
                  </a:lnTo>
                  <a:lnTo>
                    <a:pt x="427" y="3"/>
                  </a:lnTo>
                  <a:lnTo>
                    <a:pt x="401"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7" name="Freeform 91">
            <a:extLst>
              <a:ext uri="{FF2B5EF4-FFF2-40B4-BE49-F238E27FC236}">
                <a16:creationId xmlns:a16="http://schemas.microsoft.com/office/drawing/2014/main" id="{E77A4BE5-63E6-46E3-9D57-0A7C7B785173}"/>
              </a:ext>
            </a:extLst>
          </p:cNvPr>
          <p:cNvSpPr>
            <a:spLocks noChangeAspect="1" noEditPoints="1"/>
          </p:cNvSpPr>
          <p:nvPr/>
        </p:nvSpPr>
        <p:spPr bwMode="auto">
          <a:xfrm>
            <a:off x="3731763" y="4879041"/>
            <a:ext cx="143601" cy="285619"/>
          </a:xfrm>
          <a:custGeom>
            <a:avLst/>
            <a:gdLst>
              <a:gd name="T0" fmla="*/ 302 w 454"/>
              <a:gd name="T1" fmla="*/ 801 h 907"/>
              <a:gd name="T2" fmla="*/ 290 w 454"/>
              <a:gd name="T3" fmla="*/ 844 h 907"/>
              <a:gd name="T4" fmla="*/ 256 w 454"/>
              <a:gd name="T5" fmla="*/ 871 h 907"/>
              <a:gd name="T6" fmla="*/ 212 w 454"/>
              <a:gd name="T7" fmla="*/ 875 h 907"/>
              <a:gd name="T8" fmla="*/ 174 w 454"/>
              <a:gd name="T9" fmla="*/ 854 h 907"/>
              <a:gd name="T10" fmla="*/ 153 w 454"/>
              <a:gd name="T11" fmla="*/ 816 h 907"/>
              <a:gd name="T12" fmla="*/ 158 w 454"/>
              <a:gd name="T13" fmla="*/ 772 h 907"/>
              <a:gd name="T14" fmla="*/ 184 w 454"/>
              <a:gd name="T15" fmla="*/ 739 h 907"/>
              <a:gd name="T16" fmla="*/ 227 w 454"/>
              <a:gd name="T17" fmla="*/ 726 h 907"/>
              <a:gd name="T18" fmla="*/ 269 w 454"/>
              <a:gd name="T19" fmla="*/ 739 h 907"/>
              <a:gd name="T20" fmla="*/ 297 w 454"/>
              <a:gd name="T21" fmla="*/ 772 h 907"/>
              <a:gd name="T22" fmla="*/ 31 w 454"/>
              <a:gd name="T23" fmla="*/ 338 h 907"/>
              <a:gd name="T24" fmla="*/ 66 w 454"/>
              <a:gd name="T25" fmla="*/ 303 h 907"/>
              <a:gd name="T26" fmla="*/ 114 w 454"/>
              <a:gd name="T27" fmla="*/ 322 h 907"/>
              <a:gd name="T28" fmla="*/ 114 w 454"/>
              <a:gd name="T29" fmla="*/ 373 h 907"/>
              <a:gd name="T30" fmla="*/ 66 w 454"/>
              <a:gd name="T31" fmla="*/ 392 h 907"/>
              <a:gd name="T32" fmla="*/ 31 w 454"/>
              <a:gd name="T33" fmla="*/ 357 h 907"/>
              <a:gd name="T34" fmla="*/ 312 w 454"/>
              <a:gd name="T35" fmla="*/ 182 h 907"/>
              <a:gd name="T36" fmla="*/ 302 w 454"/>
              <a:gd name="T37" fmla="*/ 196 h 907"/>
              <a:gd name="T38" fmla="*/ 310 w 454"/>
              <a:gd name="T39" fmla="*/ 330 h 907"/>
              <a:gd name="T40" fmla="*/ 242 w 454"/>
              <a:gd name="T41" fmla="*/ 502 h 907"/>
              <a:gd name="T42" fmla="*/ 317 w 454"/>
              <a:gd name="T43" fmla="*/ 120 h 907"/>
              <a:gd name="T44" fmla="*/ 332 w 454"/>
              <a:gd name="T45" fmla="*/ 112 h 907"/>
              <a:gd name="T46" fmla="*/ 329 w 454"/>
              <a:gd name="T47" fmla="*/ 94 h 907"/>
              <a:gd name="T48" fmla="*/ 224 w 454"/>
              <a:gd name="T49" fmla="*/ 0 h 907"/>
              <a:gd name="T50" fmla="*/ 122 w 454"/>
              <a:gd name="T51" fmla="*/ 100 h 907"/>
              <a:gd name="T52" fmla="*/ 125 w 454"/>
              <a:gd name="T53" fmla="*/ 116 h 907"/>
              <a:gd name="T54" fmla="*/ 143 w 454"/>
              <a:gd name="T55" fmla="*/ 119 h 907"/>
              <a:gd name="T56" fmla="*/ 91 w 454"/>
              <a:gd name="T57" fmla="*/ 421 h 907"/>
              <a:gd name="T58" fmla="*/ 134 w 454"/>
              <a:gd name="T59" fmla="*/ 396 h 907"/>
              <a:gd name="T60" fmla="*/ 151 w 454"/>
              <a:gd name="T61" fmla="*/ 347 h 907"/>
              <a:gd name="T62" fmla="*/ 138 w 454"/>
              <a:gd name="T63" fmla="*/ 306 h 907"/>
              <a:gd name="T64" fmla="*/ 105 w 454"/>
              <a:gd name="T65" fmla="*/ 278 h 907"/>
              <a:gd name="T66" fmla="*/ 61 w 454"/>
              <a:gd name="T67" fmla="*/ 273 h 907"/>
              <a:gd name="T68" fmla="*/ 23 w 454"/>
              <a:gd name="T69" fmla="*/ 294 h 907"/>
              <a:gd name="T70" fmla="*/ 2 w 454"/>
              <a:gd name="T71" fmla="*/ 332 h 907"/>
              <a:gd name="T72" fmla="*/ 5 w 454"/>
              <a:gd name="T73" fmla="*/ 373 h 907"/>
              <a:gd name="T74" fmla="*/ 27 w 454"/>
              <a:gd name="T75" fmla="*/ 405 h 907"/>
              <a:gd name="T76" fmla="*/ 61 w 454"/>
              <a:gd name="T77" fmla="*/ 421 h 907"/>
              <a:gd name="T78" fmla="*/ 212 w 454"/>
              <a:gd name="T79" fmla="*/ 613 h 907"/>
              <a:gd name="T80" fmla="*/ 168 w 454"/>
              <a:gd name="T81" fmla="*/ 713 h 907"/>
              <a:gd name="T82" fmla="*/ 132 w 454"/>
              <a:gd name="T83" fmla="*/ 755 h 907"/>
              <a:gd name="T84" fmla="*/ 122 w 454"/>
              <a:gd name="T85" fmla="*/ 812 h 907"/>
              <a:gd name="T86" fmla="*/ 146 w 454"/>
              <a:gd name="T87" fmla="*/ 868 h 907"/>
              <a:gd name="T88" fmla="*/ 196 w 454"/>
              <a:gd name="T89" fmla="*/ 903 h 907"/>
              <a:gd name="T90" fmla="*/ 258 w 454"/>
              <a:gd name="T91" fmla="*/ 903 h 907"/>
              <a:gd name="T92" fmla="*/ 309 w 454"/>
              <a:gd name="T93" fmla="*/ 868 h 907"/>
              <a:gd name="T94" fmla="*/ 332 w 454"/>
              <a:gd name="T95" fmla="*/ 812 h 907"/>
              <a:gd name="T96" fmla="*/ 323 w 454"/>
              <a:gd name="T97" fmla="*/ 755 h 907"/>
              <a:gd name="T98" fmla="*/ 286 w 454"/>
              <a:gd name="T99" fmla="*/ 713 h 907"/>
              <a:gd name="T100" fmla="*/ 242 w 454"/>
              <a:gd name="T101" fmla="*/ 537 h 907"/>
              <a:gd name="T102" fmla="*/ 394 w 454"/>
              <a:gd name="T103" fmla="*/ 332 h 907"/>
              <a:gd name="T104" fmla="*/ 452 w 454"/>
              <a:gd name="T105" fmla="*/ 326 h 907"/>
              <a:gd name="T106" fmla="*/ 453 w 454"/>
              <a:gd name="T107" fmla="*/ 190 h 907"/>
              <a:gd name="T108" fmla="*/ 439 w 454"/>
              <a:gd name="T109" fmla="*/ 18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4" h="907">
                <a:moveTo>
                  <a:pt x="424" y="302"/>
                </a:moveTo>
                <a:lnTo>
                  <a:pt x="334" y="302"/>
                </a:lnTo>
                <a:lnTo>
                  <a:pt x="334" y="211"/>
                </a:lnTo>
                <a:lnTo>
                  <a:pt x="424" y="211"/>
                </a:lnTo>
                <a:lnTo>
                  <a:pt x="424" y="302"/>
                </a:lnTo>
                <a:close/>
                <a:moveTo>
                  <a:pt x="302" y="801"/>
                </a:moveTo>
                <a:lnTo>
                  <a:pt x="302" y="808"/>
                </a:lnTo>
                <a:lnTo>
                  <a:pt x="301" y="816"/>
                </a:lnTo>
                <a:lnTo>
                  <a:pt x="299" y="823"/>
                </a:lnTo>
                <a:lnTo>
                  <a:pt x="297" y="831"/>
                </a:lnTo>
                <a:lnTo>
                  <a:pt x="294" y="837"/>
                </a:lnTo>
                <a:lnTo>
                  <a:pt x="290" y="844"/>
                </a:lnTo>
                <a:lnTo>
                  <a:pt x="285" y="849"/>
                </a:lnTo>
                <a:lnTo>
                  <a:pt x="281" y="854"/>
                </a:lnTo>
                <a:lnTo>
                  <a:pt x="276" y="860"/>
                </a:lnTo>
                <a:lnTo>
                  <a:pt x="269" y="864"/>
                </a:lnTo>
                <a:lnTo>
                  <a:pt x="263" y="867"/>
                </a:lnTo>
                <a:lnTo>
                  <a:pt x="256" y="871"/>
                </a:lnTo>
                <a:lnTo>
                  <a:pt x="250" y="874"/>
                </a:lnTo>
                <a:lnTo>
                  <a:pt x="242" y="875"/>
                </a:lnTo>
                <a:lnTo>
                  <a:pt x="235" y="876"/>
                </a:lnTo>
                <a:lnTo>
                  <a:pt x="227" y="877"/>
                </a:lnTo>
                <a:lnTo>
                  <a:pt x="220" y="876"/>
                </a:lnTo>
                <a:lnTo>
                  <a:pt x="212" y="875"/>
                </a:lnTo>
                <a:lnTo>
                  <a:pt x="205" y="874"/>
                </a:lnTo>
                <a:lnTo>
                  <a:pt x="197" y="871"/>
                </a:lnTo>
                <a:lnTo>
                  <a:pt x="191" y="867"/>
                </a:lnTo>
                <a:lnTo>
                  <a:pt x="184" y="864"/>
                </a:lnTo>
                <a:lnTo>
                  <a:pt x="179" y="860"/>
                </a:lnTo>
                <a:lnTo>
                  <a:pt x="174" y="854"/>
                </a:lnTo>
                <a:lnTo>
                  <a:pt x="168" y="849"/>
                </a:lnTo>
                <a:lnTo>
                  <a:pt x="164" y="844"/>
                </a:lnTo>
                <a:lnTo>
                  <a:pt x="161" y="837"/>
                </a:lnTo>
                <a:lnTo>
                  <a:pt x="158" y="831"/>
                </a:lnTo>
                <a:lnTo>
                  <a:pt x="154" y="823"/>
                </a:lnTo>
                <a:lnTo>
                  <a:pt x="153" y="816"/>
                </a:lnTo>
                <a:lnTo>
                  <a:pt x="152" y="808"/>
                </a:lnTo>
                <a:lnTo>
                  <a:pt x="151" y="801"/>
                </a:lnTo>
                <a:lnTo>
                  <a:pt x="152" y="793"/>
                </a:lnTo>
                <a:lnTo>
                  <a:pt x="153" y="786"/>
                </a:lnTo>
                <a:lnTo>
                  <a:pt x="154" y="778"/>
                </a:lnTo>
                <a:lnTo>
                  <a:pt x="158" y="772"/>
                </a:lnTo>
                <a:lnTo>
                  <a:pt x="161" y="765"/>
                </a:lnTo>
                <a:lnTo>
                  <a:pt x="164" y="759"/>
                </a:lnTo>
                <a:lnTo>
                  <a:pt x="168" y="753"/>
                </a:lnTo>
                <a:lnTo>
                  <a:pt x="174" y="747"/>
                </a:lnTo>
                <a:lnTo>
                  <a:pt x="179" y="743"/>
                </a:lnTo>
                <a:lnTo>
                  <a:pt x="184" y="739"/>
                </a:lnTo>
                <a:lnTo>
                  <a:pt x="191" y="734"/>
                </a:lnTo>
                <a:lnTo>
                  <a:pt x="197" y="731"/>
                </a:lnTo>
                <a:lnTo>
                  <a:pt x="205" y="729"/>
                </a:lnTo>
                <a:lnTo>
                  <a:pt x="212" y="727"/>
                </a:lnTo>
                <a:lnTo>
                  <a:pt x="220" y="726"/>
                </a:lnTo>
                <a:lnTo>
                  <a:pt x="227" y="726"/>
                </a:lnTo>
                <a:lnTo>
                  <a:pt x="235" y="726"/>
                </a:lnTo>
                <a:lnTo>
                  <a:pt x="242" y="727"/>
                </a:lnTo>
                <a:lnTo>
                  <a:pt x="250" y="729"/>
                </a:lnTo>
                <a:lnTo>
                  <a:pt x="256" y="731"/>
                </a:lnTo>
                <a:lnTo>
                  <a:pt x="263" y="734"/>
                </a:lnTo>
                <a:lnTo>
                  <a:pt x="269" y="739"/>
                </a:lnTo>
                <a:lnTo>
                  <a:pt x="276" y="743"/>
                </a:lnTo>
                <a:lnTo>
                  <a:pt x="281" y="747"/>
                </a:lnTo>
                <a:lnTo>
                  <a:pt x="285" y="753"/>
                </a:lnTo>
                <a:lnTo>
                  <a:pt x="290" y="759"/>
                </a:lnTo>
                <a:lnTo>
                  <a:pt x="294" y="765"/>
                </a:lnTo>
                <a:lnTo>
                  <a:pt x="297" y="772"/>
                </a:lnTo>
                <a:lnTo>
                  <a:pt x="299" y="778"/>
                </a:lnTo>
                <a:lnTo>
                  <a:pt x="301" y="786"/>
                </a:lnTo>
                <a:lnTo>
                  <a:pt x="302" y="793"/>
                </a:lnTo>
                <a:lnTo>
                  <a:pt x="302" y="801"/>
                </a:lnTo>
                <a:close/>
                <a:moveTo>
                  <a:pt x="30" y="347"/>
                </a:moveTo>
                <a:lnTo>
                  <a:pt x="31" y="338"/>
                </a:lnTo>
                <a:lnTo>
                  <a:pt x="34" y="330"/>
                </a:lnTo>
                <a:lnTo>
                  <a:pt x="39" y="322"/>
                </a:lnTo>
                <a:lnTo>
                  <a:pt x="44" y="315"/>
                </a:lnTo>
                <a:lnTo>
                  <a:pt x="50" y="310"/>
                </a:lnTo>
                <a:lnTo>
                  <a:pt x="58" y="306"/>
                </a:lnTo>
                <a:lnTo>
                  <a:pt x="66" y="303"/>
                </a:lnTo>
                <a:lnTo>
                  <a:pt x="76" y="302"/>
                </a:lnTo>
                <a:lnTo>
                  <a:pt x="85" y="303"/>
                </a:lnTo>
                <a:lnTo>
                  <a:pt x="93" y="306"/>
                </a:lnTo>
                <a:lnTo>
                  <a:pt x="101" y="310"/>
                </a:lnTo>
                <a:lnTo>
                  <a:pt x="108" y="315"/>
                </a:lnTo>
                <a:lnTo>
                  <a:pt x="114" y="322"/>
                </a:lnTo>
                <a:lnTo>
                  <a:pt x="118" y="330"/>
                </a:lnTo>
                <a:lnTo>
                  <a:pt x="120" y="339"/>
                </a:lnTo>
                <a:lnTo>
                  <a:pt x="121" y="347"/>
                </a:lnTo>
                <a:lnTo>
                  <a:pt x="120" y="357"/>
                </a:lnTo>
                <a:lnTo>
                  <a:pt x="118" y="365"/>
                </a:lnTo>
                <a:lnTo>
                  <a:pt x="114" y="373"/>
                </a:lnTo>
                <a:lnTo>
                  <a:pt x="108" y="380"/>
                </a:lnTo>
                <a:lnTo>
                  <a:pt x="101" y="385"/>
                </a:lnTo>
                <a:lnTo>
                  <a:pt x="93" y="389"/>
                </a:lnTo>
                <a:lnTo>
                  <a:pt x="85" y="392"/>
                </a:lnTo>
                <a:lnTo>
                  <a:pt x="76" y="392"/>
                </a:lnTo>
                <a:lnTo>
                  <a:pt x="66" y="392"/>
                </a:lnTo>
                <a:lnTo>
                  <a:pt x="58" y="389"/>
                </a:lnTo>
                <a:lnTo>
                  <a:pt x="50" y="385"/>
                </a:lnTo>
                <a:lnTo>
                  <a:pt x="44" y="380"/>
                </a:lnTo>
                <a:lnTo>
                  <a:pt x="39" y="373"/>
                </a:lnTo>
                <a:lnTo>
                  <a:pt x="34" y="365"/>
                </a:lnTo>
                <a:lnTo>
                  <a:pt x="31" y="357"/>
                </a:lnTo>
                <a:lnTo>
                  <a:pt x="30" y="347"/>
                </a:lnTo>
                <a:lnTo>
                  <a:pt x="30" y="347"/>
                </a:lnTo>
                <a:close/>
                <a:moveTo>
                  <a:pt x="439" y="181"/>
                </a:moveTo>
                <a:lnTo>
                  <a:pt x="319" y="181"/>
                </a:lnTo>
                <a:lnTo>
                  <a:pt x="315" y="181"/>
                </a:lnTo>
                <a:lnTo>
                  <a:pt x="312" y="182"/>
                </a:lnTo>
                <a:lnTo>
                  <a:pt x="310" y="183"/>
                </a:lnTo>
                <a:lnTo>
                  <a:pt x="308" y="186"/>
                </a:lnTo>
                <a:lnTo>
                  <a:pt x="306" y="188"/>
                </a:lnTo>
                <a:lnTo>
                  <a:pt x="305" y="191"/>
                </a:lnTo>
                <a:lnTo>
                  <a:pt x="304" y="193"/>
                </a:lnTo>
                <a:lnTo>
                  <a:pt x="302" y="196"/>
                </a:lnTo>
                <a:lnTo>
                  <a:pt x="302" y="317"/>
                </a:lnTo>
                <a:lnTo>
                  <a:pt x="304" y="321"/>
                </a:lnTo>
                <a:lnTo>
                  <a:pt x="305" y="323"/>
                </a:lnTo>
                <a:lnTo>
                  <a:pt x="306" y="326"/>
                </a:lnTo>
                <a:lnTo>
                  <a:pt x="308" y="328"/>
                </a:lnTo>
                <a:lnTo>
                  <a:pt x="310" y="330"/>
                </a:lnTo>
                <a:lnTo>
                  <a:pt x="312" y="331"/>
                </a:lnTo>
                <a:lnTo>
                  <a:pt x="315" y="332"/>
                </a:lnTo>
                <a:lnTo>
                  <a:pt x="317" y="332"/>
                </a:lnTo>
                <a:lnTo>
                  <a:pt x="364" y="332"/>
                </a:lnTo>
                <a:lnTo>
                  <a:pt x="364" y="430"/>
                </a:lnTo>
                <a:lnTo>
                  <a:pt x="242" y="502"/>
                </a:lnTo>
                <a:lnTo>
                  <a:pt x="242" y="52"/>
                </a:lnTo>
                <a:lnTo>
                  <a:pt x="307" y="116"/>
                </a:lnTo>
                <a:lnTo>
                  <a:pt x="310" y="118"/>
                </a:lnTo>
                <a:lnTo>
                  <a:pt x="312" y="119"/>
                </a:lnTo>
                <a:lnTo>
                  <a:pt x="315" y="120"/>
                </a:lnTo>
                <a:lnTo>
                  <a:pt x="317" y="120"/>
                </a:lnTo>
                <a:lnTo>
                  <a:pt x="321" y="120"/>
                </a:lnTo>
                <a:lnTo>
                  <a:pt x="324" y="119"/>
                </a:lnTo>
                <a:lnTo>
                  <a:pt x="326" y="118"/>
                </a:lnTo>
                <a:lnTo>
                  <a:pt x="329" y="116"/>
                </a:lnTo>
                <a:lnTo>
                  <a:pt x="330" y="114"/>
                </a:lnTo>
                <a:lnTo>
                  <a:pt x="332" y="112"/>
                </a:lnTo>
                <a:lnTo>
                  <a:pt x="332" y="108"/>
                </a:lnTo>
                <a:lnTo>
                  <a:pt x="334" y="105"/>
                </a:lnTo>
                <a:lnTo>
                  <a:pt x="332" y="103"/>
                </a:lnTo>
                <a:lnTo>
                  <a:pt x="332" y="100"/>
                </a:lnTo>
                <a:lnTo>
                  <a:pt x="330" y="98"/>
                </a:lnTo>
                <a:lnTo>
                  <a:pt x="329" y="94"/>
                </a:lnTo>
                <a:lnTo>
                  <a:pt x="238" y="4"/>
                </a:lnTo>
                <a:lnTo>
                  <a:pt x="236" y="2"/>
                </a:lnTo>
                <a:lnTo>
                  <a:pt x="233" y="1"/>
                </a:lnTo>
                <a:lnTo>
                  <a:pt x="231" y="0"/>
                </a:lnTo>
                <a:lnTo>
                  <a:pt x="227" y="0"/>
                </a:lnTo>
                <a:lnTo>
                  <a:pt x="224" y="0"/>
                </a:lnTo>
                <a:lnTo>
                  <a:pt x="221" y="1"/>
                </a:lnTo>
                <a:lnTo>
                  <a:pt x="219" y="2"/>
                </a:lnTo>
                <a:lnTo>
                  <a:pt x="217" y="4"/>
                </a:lnTo>
                <a:lnTo>
                  <a:pt x="125" y="94"/>
                </a:lnTo>
                <a:lnTo>
                  <a:pt x="123" y="98"/>
                </a:lnTo>
                <a:lnTo>
                  <a:pt x="122" y="100"/>
                </a:lnTo>
                <a:lnTo>
                  <a:pt x="121" y="103"/>
                </a:lnTo>
                <a:lnTo>
                  <a:pt x="121" y="105"/>
                </a:lnTo>
                <a:lnTo>
                  <a:pt x="121" y="108"/>
                </a:lnTo>
                <a:lnTo>
                  <a:pt x="122" y="112"/>
                </a:lnTo>
                <a:lnTo>
                  <a:pt x="123" y="114"/>
                </a:lnTo>
                <a:lnTo>
                  <a:pt x="125" y="116"/>
                </a:lnTo>
                <a:lnTo>
                  <a:pt x="128" y="118"/>
                </a:lnTo>
                <a:lnTo>
                  <a:pt x="131" y="119"/>
                </a:lnTo>
                <a:lnTo>
                  <a:pt x="133" y="120"/>
                </a:lnTo>
                <a:lnTo>
                  <a:pt x="136" y="120"/>
                </a:lnTo>
                <a:lnTo>
                  <a:pt x="139" y="120"/>
                </a:lnTo>
                <a:lnTo>
                  <a:pt x="143" y="119"/>
                </a:lnTo>
                <a:lnTo>
                  <a:pt x="145" y="118"/>
                </a:lnTo>
                <a:lnTo>
                  <a:pt x="147" y="116"/>
                </a:lnTo>
                <a:lnTo>
                  <a:pt x="212" y="52"/>
                </a:lnTo>
                <a:lnTo>
                  <a:pt x="212" y="578"/>
                </a:lnTo>
                <a:lnTo>
                  <a:pt x="91" y="505"/>
                </a:lnTo>
                <a:lnTo>
                  <a:pt x="91" y="421"/>
                </a:lnTo>
                <a:lnTo>
                  <a:pt x="98" y="419"/>
                </a:lnTo>
                <a:lnTo>
                  <a:pt x="104" y="417"/>
                </a:lnTo>
                <a:lnTo>
                  <a:pt x="109" y="415"/>
                </a:lnTo>
                <a:lnTo>
                  <a:pt x="116" y="412"/>
                </a:lnTo>
                <a:lnTo>
                  <a:pt x="125" y="404"/>
                </a:lnTo>
                <a:lnTo>
                  <a:pt x="134" y="396"/>
                </a:lnTo>
                <a:lnTo>
                  <a:pt x="142" y="385"/>
                </a:lnTo>
                <a:lnTo>
                  <a:pt x="147" y="373"/>
                </a:lnTo>
                <a:lnTo>
                  <a:pt x="149" y="367"/>
                </a:lnTo>
                <a:lnTo>
                  <a:pt x="150" y="360"/>
                </a:lnTo>
                <a:lnTo>
                  <a:pt x="151" y="354"/>
                </a:lnTo>
                <a:lnTo>
                  <a:pt x="151" y="347"/>
                </a:lnTo>
                <a:lnTo>
                  <a:pt x="151" y="340"/>
                </a:lnTo>
                <a:lnTo>
                  <a:pt x="150" y="332"/>
                </a:lnTo>
                <a:lnTo>
                  <a:pt x="148" y="325"/>
                </a:lnTo>
                <a:lnTo>
                  <a:pt x="146" y="318"/>
                </a:lnTo>
                <a:lnTo>
                  <a:pt x="143" y="311"/>
                </a:lnTo>
                <a:lnTo>
                  <a:pt x="138" y="306"/>
                </a:lnTo>
                <a:lnTo>
                  <a:pt x="134" y="299"/>
                </a:lnTo>
                <a:lnTo>
                  <a:pt x="130" y="294"/>
                </a:lnTo>
                <a:lnTo>
                  <a:pt x="124" y="290"/>
                </a:lnTo>
                <a:lnTo>
                  <a:pt x="118" y="285"/>
                </a:lnTo>
                <a:lnTo>
                  <a:pt x="112" y="281"/>
                </a:lnTo>
                <a:lnTo>
                  <a:pt x="105" y="278"/>
                </a:lnTo>
                <a:lnTo>
                  <a:pt x="99" y="276"/>
                </a:lnTo>
                <a:lnTo>
                  <a:pt x="91" y="273"/>
                </a:lnTo>
                <a:lnTo>
                  <a:pt x="84" y="272"/>
                </a:lnTo>
                <a:lnTo>
                  <a:pt x="76" y="272"/>
                </a:lnTo>
                <a:lnTo>
                  <a:pt x="69" y="272"/>
                </a:lnTo>
                <a:lnTo>
                  <a:pt x="61" y="273"/>
                </a:lnTo>
                <a:lnTo>
                  <a:pt x="54" y="276"/>
                </a:lnTo>
                <a:lnTo>
                  <a:pt x="46" y="278"/>
                </a:lnTo>
                <a:lnTo>
                  <a:pt x="40" y="281"/>
                </a:lnTo>
                <a:lnTo>
                  <a:pt x="33" y="285"/>
                </a:lnTo>
                <a:lnTo>
                  <a:pt x="28" y="290"/>
                </a:lnTo>
                <a:lnTo>
                  <a:pt x="23" y="294"/>
                </a:lnTo>
                <a:lnTo>
                  <a:pt x="17" y="299"/>
                </a:lnTo>
                <a:lnTo>
                  <a:pt x="13" y="306"/>
                </a:lnTo>
                <a:lnTo>
                  <a:pt x="10" y="311"/>
                </a:lnTo>
                <a:lnTo>
                  <a:pt x="6" y="318"/>
                </a:lnTo>
                <a:lnTo>
                  <a:pt x="3" y="325"/>
                </a:lnTo>
                <a:lnTo>
                  <a:pt x="2" y="332"/>
                </a:lnTo>
                <a:lnTo>
                  <a:pt x="1" y="340"/>
                </a:lnTo>
                <a:lnTo>
                  <a:pt x="0" y="347"/>
                </a:lnTo>
                <a:lnTo>
                  <a:pt x="1" y="354"/>
                </a:lnTo>
                <a:lnTo>
                  <a:pt x="1" y="361"/>
                </a:lnTo>
                <a:lnTo>
                  <a:pt x="3" y="368"/>
                </a:lnTo>
                <a:lnTo>
                  <a:pt x="5" y="373"/>
                </a:lnTo>
                <a:lnTo>
                  <a:pt x="8" y="380"/>
                </a:lnTo>
                <a:lnTo>
                  <a:pt x="11" y="385"/>
                </a:lnTo>
                <a:lnTo>
                  <a:pt x="14" y="390"/>
                </a:lnTo>
                <a:lnTo>
                  <a:pt x="18" y="396"/>
                </a:lnTo>
                <a:lnTo>
                  <a:pt x="23" y="401"/>
                </a:lnTo>
                <a:lnTo>
                  <a:pt x="27" y="405"/>
                </a:lnTo>
                <a:lnTo>
                  <a:pt x="32" y="409"/>
                </a:lnTo>
                <a:lnTo>
                  <a:pt x="38" y="413"/>
                </a:lnTo>
                <a:lnTo>
                  <a:pt x="43" y="415"/>
                </a:lnTo>
                <a:lnTo>
                  <a:pt x="48" y="418"/>
                </a:lnTo>
                <a:lnTo>
                  <a:pt x="55" y="420"/>
                </a:lnTo>
                <a:lnTo>
                  <a:pt x="61" y="421"/>
                </a:lnTo>
                <a:lnTo>
                  <a:pt x="61" y="514"/>
                </a:lnTo>
                <a:lnTo>
                  <a:pt x="61" y="518"/>
                </a:lnTo>
                <a:lnTo>
                  <a:pt x="62" y="521"/>
                </a:lnTo>
                <a:lnTo>
                  <a:pt x="65" y="524"/>
                </a:lnTo>
                <a:lnTo>
                  <a:pt x="68" y="526"/>
                </a:lnTo>
                <a:lnTo>
                  <a:pt x="212" y="613"/>
                </a:lnTo>
                <a:lnTo>
                  <a:pt x="212" y="697"/>
                </a:lnTo>
                <a:lnTo>
                  <a:pt x="203" y="698"/>
                </a:lnTo>
                <a:lnTo>
                  <a:pt x="193" y="701"/>
                </a:lnTo>
                <a:lnTo>
                  <a:pt x="184" y="704"/>
                </a:lnTo>
                <a:lnTo>
                  <a:pt x="176" y="709"/>
                </a:lnTo>
                <a:lnTo>
                  <a:pt x="168" y="713"/>
                </a:lnTo>
                <a:lnTo>
                  <a:pt x="161" y="718"/>
                </a:lnTo>
                <a:lnTo>
                  <a:pt x="153" y="725"/>
                </a:lnTo>
                <a:lnTo>
                  <a:pt x="147" y="731"/>
                </a:lnTo>
                <a:lnTo>
                  <a:pt x="142" y="739"/>
                </a:lnTo>
                <a:lnTo>
                  <a:pt x="136" y="746"/>
                </a:lnTo>
                <a:lnTo>
                  <a:pt x="132" y="755"/>
                </a:lnTo>
                <a:lnTo>
                  <a:pt x="129" y="763"/>
                </a:lnTo>
                <a:lnTo>
                  <a:pt x="125" y="772"/>
                </a:lnTo>
                <a:lnTo>
                  <a:pt x="123" y="782"/>
                </a:lnTo>
                <a:lnTo>
                  <a:pt x="122" y="791"/>
                </a:lnTo>
                <a:lnTo>
                  <a:pt x="121" y="801"/>
                </a:lnTo>
                <a:lnTo>
                  <a:pt x="122" y="812"/>
                </a:lnTo>
                <a:lnTo>
                  <a:pt x="123" y="822"/>
                </a:lnTo>
                <a:lnTo>
                  <a:pt x="127" y="833"/>
                </a:lnTo>
                <a:lnTo>
                  <a:pt x="130" y="843"/>
                </a:lnTo>
                <a:lnTo>
                  <a:pt x="134" y="851"/>
                </a:lnTo>
                <a:lnTo>
                  <a:pt x="139" y="860"/>
                </a:lnTo>
                <a:lnTo>
                  <a:pt x="146" y="868"/>
                </a:lnTo>
                <a:lnTo>
                  <a:pt x="152" y="876"/>
                </a:lnTo>
                <a:lnTo>
                  <a:pt x="160" y="882"/>
                </a:lnTo>
                <a:lnTo>
                  <a:pt x="168" y="889"/>
                </a:lnTo>
                <a:lnTo>
                  <a:pt x="177" y="894"/>
                </a:lnTo>
                <a:lnTo>
                  <a:pt x="186" y="898"/>
                </a:lnTo>
                <a:lnTo>
                  <a:pt x="196" y="903"/>
                </a:lnTo>
                <a:lnTo>
                  <a:pt x="206" y="905"/>
                </a:lnTo>
                <a:lnTo>
                  <a:pt x="217" y="906"/>
                </a:lnTo>
                <a:lnTo>
                  <a:pt x="227" y="907"/>
                </a:lnTo>
                <a:lnTo>
                  <a:pt x="238" y="906"/>
                </a:lnTo>
                <a:lnTo>
                  <a:pt x="249" y="905"/>
                </a:lnTo>
                <a:lnTo>
                  <a:pt x="258" y="903"/>
                </a:lnTo>
                <a:lnTo>
                  <a:pt x="268" y="898"/>
                </a:lnTo>
                <a:lnTo>
                  <a:pt x="278" y="894"/>
                </a:lnTo>
                <a:lnTo>
                  <a:pt x="286" y="889"/>
                </a:lnTo>
                <a:lnTo>
                  <a:pt x="295" y="882"/>
                </a:lnTo>
                <a:lnTo>
                  <a:pt x="302" y="876"/>
                </a:lnTo>
                <a:lnTo>
                  <a:pt x="309" y="868"/>
                </a:lnTo>
                <a:lnTo>
                  <a:pt x="315" y="860"/>
                </a:lnTo>
                <a:lnTo>
                  <a:pt x="321" y="851"/>
                </a:lnTo>
                <a:lnTo>
                  <a:pt x="325" y="843"/>
                </a:lnTo>
                <a:lnTo>
                  <a:pt x="328" y="833"/>
                </a:lnTo>
                <a:lnTo>
                  <a:pt x="331" y="822"/>
                </a:lnTo>
                <a:lnTo>
                  <a:pt x="332" y="812"/>
                </a:lnTo>
                <a:lnTo>
                  <a:pt x="334" y="801"/>
                </a:lnTo>
                <a:lnTo>
                  <a:pt x="332" y="791"/>
                </a:lnTo>
                <a:lnTo>
                  <a:pt x="331" y="782"/>
                </a:lnTo>
                <a:lnTo>
                  <a:pt x="329" y="772"/>
                </a:lnTo>
                <a:lnTo>
                  <a:pt x="326" y="763"/>
                </a:lnTo>
                <a:lnTo>
                  <a:pt x="323" y="755"/>
                </a:lnTo>
                <a:lnTo>
                  <a:pt x="317" y="746"/>
                </a:lnTo>
                <a:lnTo>
                  <a:pt x="313" y="739"/>
                </a:lnTo>
                <a:lnTo>
                  <a:pt x="307" y="731"/>
                </a:lnTo>
                <a:lnTo>
                  <a:pt x="300" y="725"/>
                </a:lnTo>
                <a:lnTo>
                  <a:pt x="294" y="718"/>
                </a:lnTo>
                <a:lnTo>
                  <a:pt x="286" y="713"/>
                </a:lnTo>
                <a:lnTo>
                  <a:pt x="278" y="709"/>
                </a:lnTo>
                <a:lnTo>
                  <a:pt x="270" y="704"/>
                </a:lnTo>
                <a:lnTo>
                  <a:pt x="261" y="701"/>
                </a:lnTo>
                <a:lnTo>
                  <a:pt x="252" y="698"/>
                </a:lnTo>
                <a:lnTo>
                  <a:pt x="242" y="697"/>
                </a:lnTo>
                <a:lnTo>
                  <a:pt x="242" y="537"/>
                </a:lnTo>
                <a:lnTo>
                  <a:pt x="386" y="451"/>
                </a:lnTo>
                <a:lnTo>
                  <a:pt x="389" y="448"/>
                </a:lnTo>
                <a:lnTo>
                  <a:pt x="391" y="446"/>
                </a:lnTo>
                <a:lnTo>
                  <a:pt x="394" y="442"/>
                </a:lnTo>
                <a:lnTo>
                  <a:pt x="394" y="439"/>
                </a:lnTo>
                <a:lnTo>
                  <a:pt x="394" y="332"/>
                </a:lnTo>
                <a:lnTo>
                  <a:pt x="439" y="332"/>
                </a:lnTo>
                <a:lnTo>
                  <a:pt x="442" y="332"/>
                </a:lnTo>
                <a:lnTo>
                  <a:pt x="445" y="331"/>
                </a:lnTo>
                <a:lnTo>
                  <a:pt x="447" y="330"/>
                </a:lnTo>
                <a:lnTo>
                  <a:pt x="449" y="328"/>
                </a:lnTo>
                <a:lnTo>
                  <a:pt x="452" y="326"/>
                </a:lnTo>
                <a:lnTo>
                  <a:pt x="453" y="323"/>
                </a:lnTo>
                <a:lnTo>
                  <a:pt x="454" y="321"/>
                </a:lnTo>
                <a:lnTo>
                  <a:pt x="454" y="317"/>
                </a:lnTo>
                <a:lnTo>
                  <a:pt x="454" y="196"/>
                </a:lnTo>
                <a:lnTo>
                  <a:pt x="454" y="193"/>
                </a:lnTo>
                <a:lnTo>
                  <a:pt x="453" y="190"/>
                </a:lnTo>
                <a:lnTo>
                  <a:pt x="452" y="188"/>
                </a:lnTo>
                <a:lnTo>
                  <a:pt x="449" y="186"/>
                </a:lnTo>
                <a:lnTo>
                  <a:pt x="447" y="183"/>
                </a:lnTo>
                <a:lnTo>
                  <a:pt x="445" y="182"/>
                </a:lnTo>
                <a:lnTo>
                  <a:pt x="442" y="181"/>
                </a:lnTo>
                <a:lnTo>
                  <a:pt x="439" y="18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68" name="Group 104">
            <a:extLst>
              <a:ext uri="{FF2B5EF4-FFF2-40B4-BE49-F238E27FC236}">
                <a16:creationId xmlns:a16="http://schemas.microsoft.com/office/drawing/2014/main" id="{413DCA39-B627-4F4D-BD1D-E079F8564BFB}"/>
              </a:ext>
            </a:extLst>
          </p:cNvPr>
          <p:cNvGrpSpPr>
            <a:grpSpLocks noChangeAspect="1"/>
          </p:cNvGrpSpPr>
          <p:nvPr/>
        </p:nvGrpSpPr>
        <p:grpSpPr>
          <a:xfrm>
            <a:off x="6191394" y="4879041"/>
            <a:ext cx="276098" cy="285619"/>
            <a:chOff x="4894263" y="4191000"/>
            <a:chExt cx="276225" cy="285751"/>
          </a:xfrm>
          <a:solidFill>
            <a:schemeClr val="bg2"/>
          </a:solidFill>
          <a:effectLst/>
        </p:grpSpPr>
        <p:sp>
          <p:nvSpPr>
            <p:cNvPr id="1469" name="Freeform 181">
              <a:extLst>
                <a:ext uri="{FF2B5EF4-FFF2-40B4-BE49-F238E27FC236}">
                  <a16:creationId xmlns:a16="http://schemas.microsoft.com/office/drawing/2014/main" id="{98FDF622-6CD6-4725-BD82-6E381BF30BCC}"/>
                </a:ext>
              </a:extLst>
            </p:cNvPr>
            <p:cNvSpPr>
              <a:spLocks noEditPoints="1"/>
            </p:cNvSpPr>
            <p:nvPr/>
          </p:nvSpPr>
          <p:spPr bwMode="auto">
            <a:xfrm>
              <a:off x="4965700" y="4325938"/>
              <a:ext cx="133350" cy="150813"/>
            </a:xfrm>
            <a:custGeom>
              <a:avLst/>
              <a:gdLst>
                <a:gd name="T0" fmla="*/ 239 w 420"/>
                <a:gd name="T1" fmla="*/ 347 h 479"/>
                <a:gd name="T2" fmla="*/ 307 w 420"/>
                <a:gd name="T3" fmla="*/ 307 h 479"/>
                <a:gd name="T4" fmla="*/ 367 w 420"/>
                <a:gd name="T5" fmla="*/ 423 h 479"/>
                <a:gd name="T6" fmla="*/ 239 w 420"/>
                <a:gd name="T7" fmla="*/ 347 h 479"/>
                <a:gd name="T8" fmla="*/ 211 w 420"/>
                <a:gd name="T9" fmla="*/ 364 h 479"/>
                <a:gd name="T10" fmla="*/ 351 w 420"/>
                <a:gd name="T11" fmla="*/ 449 h 479"/>
                <a:gd name="T12" fmla="*/ 69 w 420"/>
                <a:gd name="T13" fmla="*/ 449 h 479"/>
                <a:gd name="T14" fmla="*/ 211 w 420"/>
                <a:gd name="T15" fmla="*/ 364 h 479"/>
                <a:gd name="T16" fmla="*/ 181 w 420"/>
                <a:gd name="T17" fmla="*/ 347 h 479"/>
                <a:gd name="T18" fmla="*/ 53 w 420"/>
                <a:gd name="T19" fmla="*/ 423 h 479"/>
                <a:gd name="T20" fmla="*/ 114 w 420"/>
                <a:gd name="T21" fmla="*/ 307 h 479"/>
                <a:gd name="T22" fmla="*/ 181 w 420"/>
                <a:gd name="T23" fmla="*/ 347 h 479"/>
                <a:gd name="T24" fmla="*/ 272 w 420"/>
                <a:gd name="T25" fmla="*/ 239 h 479"/>
                <a:gd name="T26" fmla="*/ 293 w 420"/>
                <a:gd name="T27" fmla="*/ 280 h 479"/>
                <a:gd name="T28" fmla="*/ 211 w 420"/>
                <a:gd name="T29" fmla="*/ 329 h 479"/>
                <a:gd name="T30" fmla="*/ 128 w 420"/>
                <a:gd name="T31" fmla="*/ 280 h 479"/>
                <a:gd name="T32" fmla="*/ 149 w 420"/>
                <a:gd name="T33" fmla="*/ 239 h 479"/>
                <a:gd name="T34" fmla="*/ 272 w 420"/>
                <a:gd name="T35" fmla="*/ 239 h 479"/>
                <a:gd name="T36" fmla="*/ 211 w 420"/>
                <a:gd name="T37" fmla="*/ 121 h 479"/>
                <a:gd name="T38" fmla="*/ 256 w 420"/>
                <a:gd name="T39" fmla="*/ 209 h 479"/>
                <a:gd name="T40" fmla="*/ 165 w 420"/>
                <a:gd name="T41" fmla="*/ 209 h 479"/>
                <a:gd name="T42" fmla="*/ 211 w 420"/>
                <a:gd name="T43" fmla="*/ 121 h 479"/>
                <a:gd name="T44" fmla="*/ 226 w 420"/>
                <a:gd name="T45" fmla="*/ 85 h 479"/>
                <a:gd name="T46" fmla="*/ 226 w 420"/>
                <a:gd name="T47" fmla="*/ 15 h 479"/>
                <a:gd name="T48" fmla="*/ 225 w 420"/>
                <a:gd name="T49" fmla="*/ 11 h 479"/>
                <a:gd name="T50" fmla="*/ 223 w 420"/>
                <a:gd name="T51" fmla="*/ 8 h 479"/>
                <a:gd name="T52" fmla="*/ 222 w 420"/>
                <a:gd name="T53" fmla="*/ 6 h 479"/>
                <a:gd name="T54" fmla="*/ 220 w 420"/>
                <a:gd name="T55" fmla="*/ 4 h 479"/>
                <a:gd name="T56" fmla="*/ 218 w 420"/>
                <a:gd name="T57" fmla="*/ 2 h 479"/>
                <a:gd name="T58" fmla="*/ 216 w 420"/>
                <a:gd name="T59" fmla="*/ 1 h 479"/>
                <a:gd name="T60" fmla="*/ 213 w 420"/>
                <a:gd name="T61" fmla="*/ 0 h 479"/>
                <a:gd name="T62" fmla="*/ 211 w 420"/>
                <a:gd name="T63" fmla="*/ 0 h 479"/>
                <a:gd name="T64" fmla="*/ 207 w 420"/>
                <a:gd name="T65" fmla="*/ 0 h 479"/>
                <a:gd name="T66" fmla="*/ 204 w 420"/>
                <a:gd name="T67" fmla="*/ 1 h 479"/>
                <a:gd name="T68" fmla="*/ 202 w 420"/>
                <a:gd name="T69" fmla="*/ 2 h 479"/>
                <a:gd name="T70" fmla="*/ 200 w 420"/>
                <a:gd name="T71" fmla="*/ 4 h 479"/>
                <a:gd name="T72" fmla="*/ 198 w 420"/>
                <a:gd name="T73" fmla="*/ 6 h 479"/>
                <a:gd name="T74" fmla="*/ 197 w 420"/>
                <a:gd name="T75" fmla="*/ 8 h 479"/>
                <a:gd name="T76" fmla="*/ 196 w 420"/>
                <a:gd name="T77" fmla="*/ 11 h 479"/>
                <a:gd name="T78" fmla="*/ 196 w 420"/>
                <a:gd name="T79" fmla="*/ 15 h 479"/>
                <a:gd name="T80" fmla="*/ 196 w 420"/>
                <a:gd name="T81" fmla="*/ 85 h 479"/>
                <a:gd name="T82" fmla="*/ 2 w 420"/>
                <a:gd name="T83" fmla="*/ 456 h 479"/>
                <a:gd name="T84" fmla="*/ 1 w 420"/>
                <a:gd name="T85" fmla="*/ 461 h 479"/>
                <a:gd name="T86" fmla="*/ 0 w 420"/>
                <a:gd name="T87" fmla="*/ 464 h 479"/>
                <a:gd name="T88" fmla="*/ 1 w 420"/>
                <a:gd name="T89" fmla="*/ 468 h 479"/>
                <a:gd name="T90" fmla="*/ 2 w 420"/>
                <a:gd name="T91" fmla="*/ 471 h 479"/>
                <a:gd name="T92" fmla="*/ 5 w 420"/>
                <a:gd name="T93" fmla="*/ 475 h 479"/>
                <a:gd name="T94" fmla="*/ 8 w 420"/>
                <a:gd name="T95" fmla="*/ 477 h 479"/>
                <a:gd name="T96" fmla="*/ 12 w 420"/>
                <a:gd name="T97" fmla="*/ 478 h 479"/>
                <a:gd name="T98" fmla="*/ 15 w 420"/>
                <a:gd name="T99" fmla="*/ 479 h 479"/>
                <a:gd name="T100" fmla="*/ 405 w 420"/>
                <a:gd name="T101" fmla="*/ 479 h 479"/>
                <a:gd name="T102" fmla="*/ 409 w 420"/>
                <a:gd name="T103" fmla="*/ 478 h 479"/>
                <a:gd name="T104" fmla="*/ 413 w 420"/>
                <a:gd name="T105" fmla="*/ 477 h 479"/>
                <a:gd name="T106" fmla="*/ 415 w 420"/>
                <a:gd name="T107" fmla="*/ 475 h 479"/>
                <a:gd name="T108" fmla="*/ 418 w 420"/>
                <a:gd name="T109" fmla="*/ 471 h 479"/>
                <a:gd name="T110" fmla="*/ 419 w 420"/>
                <a:gd name="T111" fmla="*/ 468 h 479"/>
                <a:gd name="T112" fmla="*/ 420 w 420"/>
                <a:gd name="T113" fmla="*/ 464 h 479"/>
                <a:gd name="T114" fmla="*/ 419 w 420"/>
                <a:gd name="T115" fmla="*/ 461 h 479"/>
                <a:gd name="T116" fmla="*/ 418 w 420"/>
                <a:gd name="T117" fmla="*/ 456 h 479"/>
                <a:gd name="T118" fmla="*/ 226 w 420"/>
                <a:gd name="T119" fmla="*/ 8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479">
                  <a:moveTo>
                    <a:pt x="239" y="347"/>
                  </a:moveTo>
                  <a:lnTo>
                    <a:pt x="307" y="307"/>
                  </a:lnTo>
                  <a:lnTo>
                    <a:pt x="367" y="423"/>
                  </a:lnTo>
                  <a:lnTo>
                    <a:pt x="239" y="347"/>
                  </a:lnTo>
                  <a:close/>
                  <a:moveTo>
                    <a:pt x="211" y="364"/>
                  </a:moveTo>
                  <a:lnTo>
                    <a:pt x="351" y="449"/>
                  </a:lnTo>
                  <a:lnTo>
                    <a:pt x="69" y="449"/>
                  </a:lnTo>
                  <a:lnTo>
                    <a:pt x="211" y="364"/>
                  </a:lnTo>
                  <a:close/>
                  <a:moveTo>
                    <a:pt x="181" y="347"/>
                  </a:moveTo>
                  <a:lnTo>
                    <a:pt x="53" y="423"/>
                  </a:lnTo>
                  <a:lnTo>
                    <a:pt x="114" y="307"/>
                  </a:lnTo>
                  <a:lnTo>
                    <a:pt x="181" y="347"/>
                  </a:lnTo>
                  <a:close/>
                  <a:moveTo>
                    <a:pt x="272" y="239"/>
                  </a:moveTo>
                  <a:lnTo>
                    <a:pt x="293" y="280"/>
                  </a:lnTo>
                  <a:lnTo>
                    <a:pt x="211" y="329"/>
                  </a:lnTo>
                  <a:lnTo>
                    <a:pt x="128" y="280"/>
                  </a:lnTo>
                  <a:lnTo>
                    <a:pt x="149" y="239"/>
                  </a:lnTo>
                  <a:lnTo>
                    <a:pt x="272" y="239"/>
                  </a:lnTo>
                  <a:close/>
                  <a:moveTo>
                    <a:pt x="211" y="121"/>
                  </a:moveTo>
                  <a:lnTo>
                    <a:pt x="256" y="209"/>
                  </a:lnTo>
                  <a:lnTo>
                    <a:pt x="165" y="209"/>
                  </a:lnTo>
                  <a:lnTo>
                    <a:pt x="211" y="121"/>
                  </a:lnTo>
                  <a:close/>
                  <a:moveTo>
                    <a:pt x="226" y="85"/>
                  </a:moveTo>
                  <a:lnTo>
                    <a:pt x="226" y="15"/>
                  </a:lnTo>
                  <a:lnTo>
                    <a:pt x="225" y="11"/>
                  </a:lnTo>
                  <a:lnTo>
                    <a:pt x="223" y="8"/>
                  </a:lnTo>
                  <a:lnTo>
                    <a:pt x="222" y="6"/>
                  </a:lnTo>
                  <a:lnTo>
                    <a:pt x="220" y="4"/>
                  </a:lnTo>
                  <a:lnTo>
                    <a:pt x="218" y="2"/>
                  </a:lnTo>
                  <a:lnTo>
                    <a:pt x="216" y="1"/>
                  </a:lnTo>
                  <a:lnTo>
                    <a:pt x="213" y="0"/>
                  </a:lnTo>
                  <a:lnTo>
                    <a:pt x="211" y="0"/>
                  </a:lnTo>
                  <a:lnTo>
                    <a:pt x="207" y="0"/>
                  </a:lnTo>
                  <a:lnTo>
                    <a:pt x="204" y="1"/>
                  </a:lnTo>
                  <a:lnTo>
                    <a:pt x="202" y="2"/>
                  </a:lnTo>
                  <a:lnTo>
                    <a:pt x="200" y="4"/>
                  </a:lnTo>
                  <a:lnTo>
                    <a:pt x="198" y="6"/>
                  </a:lnTo>
                  <a:lnTo>
                    <a:pt x="197" y="8"/>
                  </a:lnTo>
                  <a:lnTo>
                    <a:pt x="196" y="11"/>
                  </a:lnTo>
                  <a:lnTo>
                    <a:pt x="196" y="15"/>
                  </a:lnTo>
                  <a:lnTo>
                    <a:pt x="196" y="85"/>
                  </a:lnTo>
                  <a:lnTo>
                    <a:pt x="2" y="456"/>
                  </a:lnTo>
                  <a:lnTo>
                    <a:pt x="1" y="461"/>
                  </a:lnTo>
                  <a:lnTo>
                    <a:pt x="0" y="464"/>
                  </a:lnTo>
                  <a:lnTo>
                    <a:pt x="1" y="468"/>
                  </a:lnTo>
                  <a:lnTo>
                    <a:pt x="2" y="471"/>
                  </a:lnTo>
                  <a:lnTo>
                    <a:pt x="5" y="475"/>
                  </a:lnTo>
                  <a:lnTo>
                    <a:pt x="8" y="477"/>
                  </a:lnTo>
                  <a:lnTo>
                    <a:pt x="12" y="478"/>
                  </a:lnTo>
                  <a:lnTo>
                    <a:pt x="15" y="479"/>
                  </a:lnTo>
                  <a:lnTo>
                    <a:pt x="405" y="479"/>
                  </a:lnTo>
                  <a:lnTo>
                    <a:pt x="409" y="478"/>
                  </a:lnTo>
                  <a:lnTo>
                    <a:pt x="413" y="477"/>
                  </a:lnTo>
                  <a:lnTo>
                    <a:pt x="415" y="475"/>
                  </a:lnTo>
                  <a:lnTo>
                    <a:pt x="418" y="471"/>
                  </a:lnTo>
                  <a:lnTo>
                    <a:pt x="419" y="468"/>
                  </a:lnTo>
                  <a:lnTo>
                    <a:pt x="420" y="464"/>
                  </a:lnTo>
                  <a:lnTo>
                    <a:pt x="419" y="461"/>
                  </a:lnTo>
                  <a:lnTo>
                    <a:pt x="418" y="456"/>
                  </a:lnTo>
                  <a:lnTo>
                    <a:pt x="226"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182">
              <a:extLst>
                <a:ext uri="{FF2B5EF4-FFF2-40B4-BE49-F238E27FC236}">
                  <a16:creationId xmlns:a16="http://schemas.microsoft.com/office/drawing/2014/main" id="{93E6ED3F-17DD-4E9C-AAED-8A237BE1EC1E}"/>
                </a:ext>
              </a:extLst>
            </p:cNvPr>
            <p:cNvSpPr>
              <a:spLocks/>
            </p:cNvSpPr>
            <p:nvPr/>
          </p:nvSpPr>
          <p:spPr bwMode="auto">
            <a:xfrm>
              <a:off x="4894263" y="4191000"/>
              <a:ext cx="276225" cy="246063"/>
            </a:xfrm>
            <a:custGeom>
              <a:avLst/>
              <a:gdLst>
                <a:gd name="T0" fmla="*/ 369 w 870"/>
                <a:gd name="T1" fmla="*/ 5 h 771"/>
                <a:gd name="T2" fmla="*/ 286 w 870"/>
                <a:gd name="T3" fmla="*/ 27 h 771"/>
                <a:gd name="T4" fmla="*/ 210 w 870"/>
                <a:gd name="T5" fmla="*/ 63 h 771"/>
                <a:gd name="T6" fmla="*/ 144 w 870"/>
                <a:gd name="T7" fmla="*/ 114 h 771"/>
                <a:gd name="T8" fmla="*/ 87 w 870"/>
                <a:gd name="T9" fmla="*/ 176 h 771"/>
                <a:gd name="T10" fmla="*/ 43 w 870"/>
                <a:gd name="T11" fmla="*/ 247 h 771"/>
                <a:gd name="T12" fmla="*/ 14 w 870"/>
                <a:gd name="T13" fmla="*/ 326 h 771"/>
                <a:gd name="T14" fmla="*/ 1 w 870"/>
                <a:gd name="T15" fmla="*/ 413 h 771"/>
                <a:gd name="T16" fmla="*/ 7 w 870"/>
                <a:gd name="T17" fmla="*/ 506 h 771"/>
                <a:gd name="T18" fmla="*/ 31 w 870"/>
                <a:gd name="T19" fmla="*/ 597 h 771"/>
                <a:gd name="T20" fmla="*/ 76 w 870"/>
                <a:gd name="T21" fmla="*/ 679 h 771"/>
                <a:gd name="T22" fmla="*/ 137 w 870"/>
                <a:gd name="T23" fmla="*/ 751 h 771"/>
                <a:gd name="T24" fmla="*/ 168 w 870"/>
                <a:gd name="T25" fmla="*/ 770 h 771"/>
                <a:gd name="T26" fmla="*/ 178 w 870"/>
                <a:gd name="T27" fmla="*/ 763 h 771"/>
                <a:gd name="T28" fmla="*/ 179 w 870"/>
                <a:gd name="T29" fmla="*/ 752 h 771"/>
                <a:gd name="T30" fmla="*/ 157 w 870"/>
                <a:gd name="T31" fmla="*/ 730 h 771"/>
                <a:gd name="T32" fmla="*/ 101 w 870"/>
                <a:gd name="T33" fmla="*/ 662 h 771"/>
                <a:gd name="T34" fmla="*/ 59 w 870"/>
                <a:gd name="T35" fmla="*/ 585 h 771"/>
                <a:gd name="T36" fmla="*/ 36 w 870"/>
                <a:gd name="T37" fmla="*/ 502 h 771"/>
                <a:gd name="T38" fmla="*/ 31 w 870"/>
                <a:gd name="T39" fmla="*/ 414 h 771"/>
                <a:gd name="T40" fmla="*/ 43 w 870"/>
                <a:gd name="T41" fmla="*/ 334 h 771"/>
                <a:gd name="T42" fmla="*/ 71 w 870"/>
                <a:gd name="T43" fmla="*/ 260 h 771"/>
                <a:gd name="T44" fmla="*/ 111 w 870"/>
                <a:gd name="T45" fmla="*/ 193 h 771"/>
                <a:gd name="T46" fmla="*/ 163 w 870"/>
                <a:gd name="T47" fmla="*/ 136 h 771"/>
                <a:gd name="T48" fmla="*/ 226 w 870"/>
                <a:gd name="T49" fmla="*/ 89 h 771"/>
                <a:gd name="T50" fmla="*/ 297 w 870"/>
                <a:gd name="T51" fmla="*/ 55 h 771"/>
                <a:gd name="T52" fmla="*/ 374 w 870"/>
                <a:gd name="T53" fmla="*/ 35 h 771"/>
                <a:gd name="T54" fmla="*/ 456 w 870"/>
                <a:gd name="T55" fmla="*/ 31 h 771"/>
                <a:gd name="T56" fmla="*/ 536 w 870"/>
                <a:gd name="T57" fmla="*/ 43 h 771"/>
                <a:gd name="T58" fmla="*/ 610 w 870"/>
                <a:gd name="T59" fmla="*/ 71 h 771"/>
                <a:gd name="T60" fmla="*/ 677 w 870"/>
                <a:gd name="T61" fmla="*/ 111 h 771"/>
                <a:gd name="T62" fmla="*/ 734 w 870"/>
                <a:gd name="T63" fmla="*/ 163 h 771"/>
                <a:gd name="T64" fmla="*/ 781 w 870"/>
                <a:gd name="T65" fmla="*/ 226 h 771"/>
                <a:gd name="T66" fmla="*/ 815 w 870"/>
                <a:gd name="T67" fmla="*/ 296 h 771"/>
                <a:gd name="T68" fmla="*/ 835 w 870"/>
                <a:gd name="T69" fmla="*/ 373 h 771"/>
                <a:gd name="T70" fmla="*/ 839 w 870"/>
                <a:gd name="T71" fmla="*/ 457 h 771"/>
                <a:gd name="T72" fmla="*/ 825 w 870"/>
                <a:gd name="T73" fmla="*/ 545 h 771"/>
                <a:gd name="T74" fmla="*/ 793 w 870"/>
                <a:gd name="T75" fmla="*/ 625 h 771"/>
                <a:gd name="T76" fmla="*/ 744 w 870"/>
                <a:gd name="T77" fmla="*/ 698 h 771"/>
                <a:gd name="T78" fmla="*/ 694 w 870"/>
                <a:gd name="T79" fmla="*/ 747 h 771"/>
                <a:gd name="T80" fmla="*/ 691 w 870"/>
                <a:gd name="T81" fmla="*/ 758 h 771"/>
                <a:gd name="T82" fmla="*/ 697 w 870"/>
                <a:gd name="T83" fmla="*/ 767 h 771"/>
                <a:gd name="T84" fmla="*/ 707 w 870"/>
                <a:gd name="T85" fmla="*/ 770 h 771"/>
                <a:gd name="T86" fmla="*/ 733 w 870"/>
                <a:gd name="T87" fmla="*/ 751 h 771"/>
                <a:gd name="T88" fmla="*/ 795 w 870"/>
                <a:gd name="T89" fmla="*/ 679 h 771"/>
                <a:gd name="T90" fmla="*/ 839 w 870"/>
                <a:gd name="T91" fmla="*/ 597 h 771"/>
                <a:gd name="T92" fmla="*/ 863 w 870"/>
                <a:gd name="T93" fmla="*/ 506 h 771"/>
                <a:gd name="T94" fmla="*/ 869 w 870"/>
                <a:gd name="T95" fmla="*/ 413 h 771"/>
                <a:gd name="T96" fmla="*/ 856 w 870"/>
                <a:gd name="T97" fmla="*/ 326 h 771"/>
                <a:gd name="T98" fmla="*/ 827 w 870"/>
                <a:gd name="T99" fmla="*/ 247 h 771"/>
                <a:gd name="T100" fmla="*/ 783 w 870"/>
                <a:gd name="T101" fmla="*/ 176 h 771"/>
                <a:gd name="T102" fmla="*/ 728 w 870"/>
                <a:gd name="T103" fmla="*/ 114 h 771"/>
                <a:gd name="T104" fmla="*/ 660 w 870"/>
                <a:gd name="T105" fmla="*/ 63 h 771"/>
                <a:gd name="T106" fmla="*/ 584 w 870"/>
                <a:gd name="T107" fmla="*/ 27 h 771"/>
                <a:gd name="T108" fmla="*/ 501 w 870"/>
                <a:gd name="T109" fmla="*/ 5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0" h="771">
                  <a:moveTo>
                    <a:pt x="436" y="0"/>
                  </a:moveTo>
                  <a:lnTo>
                    <a:pt x="413" y="1"/>
                  </a:lnTo>
                  <a:lnTo>
                    <a:pt x="391" y="2"/>
                  </a:lnTo>
                  <a:lnTo>
                    <a:pt x="369" y="5"/>
                  </a:lnTo>
                  <a:lnTo>
                    <a:pt x="348" y="10"/>
                  </a:lnTo>
                  <a:lnTo>
                    <a:pt x="327" y="14"/>
                  </a:lnTo>
                  <a:lnTo>
                    <a:pt x="306" y="20"/>
                  </a:lnTo>
                  <a:lnTo>
                    <a:pt x="286" y="27"/>
                  </a:lnTo>
                  <a:lnTo>
                    <a:pt x="267" y="34"/>
                  </a:lnTo>
                  <a:lnTo>
                    <a:pt x="247" y="43"/>
                  </a:lnTo>
                  <a:lnTo>
                    <a:pt x="228" y="53"/>
                  </a:lnTo>
                  <a:lnTo>
                    <a:pt x="210" y="63"/>
                  </a:lnTo>
                  <a:lnTo>
                    <a:pt x="193" y="75"/>
                  </a:lnTo>
                  <a:lnTo>
                    <a:pt x="176" y="87"/>
                  </a:lnTo>
                  <a:lnTo>
                    <a:pt x="159" y="100"/>
                  </a:lnTo>
                  <a:lnTo>
                    <a:pt x="144" y="114"/>
                  </a:lnTo>
                  <a:lnTo>
                    <a:pt x="128" y="127"/>
                  </a:lnTo>
                  <a:lnTo>
                    <a:pt x="114" y="143"/>
                  </a:lnTo>
                  <a:lnTo>
                    <a:pt x="100" y="158"/>
                  </a:lnTo>
                  <a:lnTo>
                    <a:pt x="87" y="176"/>
                  </a:lnTo>
                  <a:lnTo>
                    <a:pt x="75" y="193"/>
                  </a:lnTo>
                  <a:lnTo>
                    <a:pt x="63" y="210"/>
                  </a:lnTo>
                  <a:lnTo>
                    <a:pt x="53" y="228"/>
                  </a:lnTo>
                  <a:lnTo>
                    <a:pt x="43" y="247"/>
                  </a:lnTo>
                  <a:lnTo>
                    <a:pt x="34" y="267"/>
                  </a:lnTo>
                  <a:lnTo>
                    <a:pt x="27" y="286"/>
                  </a:lnTo>
                  <a:lnTo>
                    <a:pt x="21" y="306"/>
                  </a:lnTo>
                  <a:lnTo>
                    <a:pt x="14" y="326"/>
                  </a:lnTo>
                  <a:lnTo>
                    <a:pt x="10" y="348"/>
                  </a:lnTo>
                  <a:lnTo>
                    <a:pt x="6" y="369"/>
                  </a:lnTo>
                  <a:lnTo>
                    <a:pt x="2" y="391"/>
                  </a:lnTo>
                  <a:lnTo>
                    <a:pt x="1" y="413"/>
                  </a:lnTo>
                  <a:lnTo>
                    <a:pt x="0" y="436"/>
                  </a:lnTo>
                  <a:lnTo>
                    <a:pt x="1" y="459"/>
                  </a:lnTo>
                  <a:lnTo>
                    <a:pt x="3" y="483"/>
                  </a:lnTo>
                  <a:lnTo>
                    <a:pt x="7" y="506"/>
                  </a:lnTo>
                  <a:lnTo>
                    <a:pt x="11" y="530"/>
                  </a:lnTo>
                  <a:lnTo>
                    <a:pt x="16" y="552"/>
                  </a:lnTo>
                  <a:lnTo>
                    <a:pt x="24" y="575"/>
                  </a:lnTo>
                  <a:lnTo>
                    <a:pt x="31" y="597"/>
                  </a:lnTo>
                  <a:lnTo>
                    <a:pt x="41" y="618"/>
                  </a:lnTo>
                  <a:lnTo>
                    <a:pt x="52" y="640"/>
                  </a:lnTo>
                  <a:lnTo>
                    <a:pt x="63" y="660"/>
                  </a:lnTo>
                  <a:lnTo>
                    <a:pt x="76" y="679"/>
                  </a:lnTo>
                  <a:lnTo>
                    <a:pt x="89" y="699"/>
                  </a:lnTo>
                  <a:lnTo>
                    <a:pt x="104" y="717"/>
                  </a:lnTo>
                  <a:lnTo>
                    <a:pt x="120" y="735"/>
                  </a:lnTo>
                  <a:lnTo>
                    <a:pt x="137" y="751"/>
                  </a:lnTo>
                  <a:lnTo>
                    <a:pt x="155" y="767"/>
                  </a:lnTo>
                  <a:lnTo>
                    <a:pt x="160" y="770"/>
                  </a:lnTo>
                  <a:lnTo>
                    <a:pt x="165" y="771"/>
                  </a:lnTo>
                  <a:lnTo>
                    <a:pt x="168" y="770"/>
                  </a:lnTo>
                  <a:lnTo>
                    <a:pt x="171" y="769"/>
                  </a:lnTo>
                  <a:lnTo>
                    <a:pt x="174" y="768"/>
                  </a:lnTo>
                  <a:lnTo>
                    <a:pt x="176" y="766"/>
                  </a:lnTo>
                  <a:lnTo>
                    <a:pt x="178" y="763"/>
                  </a:lnTo>
                  <a:lnTo>
                    <a:pt x="179" y="761"/>
                  </a:lnTo>
                  <a:lnTo>
                    <a:pt x="180" y="758"/>
                  </a:lnTo>
                  <a:lnTo>
                    <a:pt x="180" y="754"/>
                  </a:lnTo>
                  <a:lnTo>
                    <a:pt x="179" y="752"/>
                  </a:lnTo>
                  <a:lnTo>
                    <a:pt x="178" y="749"/>
                  </a:lnTo>
                  <a:lnTo>
                    <a:pt x="177" y="747"/>
                  </a:lnTo>
                  <a:lnTo>
                    <a:pt x="175" y="745"/>
                  </a:lnTo>
                  <a:lnTo>
                    <a:pt x="157" y="730"/>
                  </a:lnTo>
                  <a:lnTo>
                    <a:pt x="143" y="714"/>
                  </a:lnTo>
                  <a:lnTo>
                    <a:pt x="128" y="698"/>
                  </a:lnTo>
                  <a:lnTo>
                    <a:pt x="114" y="680"/>
                  </a:lnTo>
                  <a:lnTo>
                    <a:pt x="101" y="662"/>
                  </a:lnTo>
                  <a:lnTo>
                    <a:pt x="89" y="644"/>
                  </a:lnTo>
                  <a:lnTo>
                    <a:pt x="78" y="625"/>
                  </a:lnTo>
                  <a:lnTo>
                    <a:pt x="69" y="606"/>
                  </a:lnTo>
                  <a:lnTo>
                    <a:pt x="59" y="585"/>
                  </a:lnTo>
                  <a:lnTo>
                    <a:pt x="52" y="565"/>
                  </a:lnTo>
                  <a:lnTo>
                    <a:pt x="45" y="545"/>
                  </a:lnTo>
                  <a:lnTo>
                    <a:pt x="40" y="523"/>
                  </a:lnTo>
                  <a:lnTo>
                    <a:pt x="36" y="502"/>
                  </a:lnTo>
                  <a:lnTo>
                    <a:pt x="33" y="479"/>
                  </a:lnTo>
                  <a:lnTo>
                    <a:pt x="31" y="457"/>
                  </a:lnTo>
                  <a:lnTo>
                    <a:pt x="30" y="436"/>
                  </a:lnTo>
                  <a:lnTo>
                    <a:pt x="31" y="414"/>
                  </a:lnTo>
                  <a:lnTo>
                    <a:pt x="32" y="394"/>
                  </a:lnTo>
                  <a:lnTo>
                    <a:pt x="36" y="373"/>
                  </a:lnTo>
                  <a:lnTo>
                    <a:pt x="39" y="353"/>
                  </a:lnTo>
                  <a:lnTo>
                    <a:pt x="43" y="334"/>
                  </a:lnTo>
                  <a:lnTo>
                    <a:pt x="48" y="315"/>
                  </a:lnTo>
                  <a:lnTo>
                    <a:pt x="55" y="296"/>
                  </a:lnTo>
                  <a:lnTo>
                    <a:pt x="62" y="278"/>
                  </a:lnTo>
                  <a:lnTo>
                    <a:pt x="71" y="260"/>
                  </a:lnTo>
                  <a:lnTo>
                    <a:pt x="79" y="242"/>
                  </a:lnTo>
                  <a:lnTo>
                    <a:pt x="89" y="226"/>
                  </a:lnTo>
                  <a:lnTo>
                    <a:pt x="100" y="209"/>
                  </a:lnTo>
                  <a:lnTo>
                    <a:pt x="111" y="193"/>
                  </a:lnTo>
                  <a:lnTo>
                    <a:pt x="123" y="178"/>
                  </a:lnTo>
                  <a:lnTo>
                    <a:pt x="136" y="163"/>
                  </a:lnTo>
                  <a:lnTo>
                    <a:pt x="149" y="149"/>
                  </a:lnTo>
                  <a:lnTo>
                    <a:pt x="163" y="136"/>
                  </a:lnTo>
                  <a:lnTo>
                    <a:pt x="178" y="123"/>
                  </a:lnTo>
                  <a:lnTo>
                    <a:pt x="193" y="111"/>
                  </a:lnTo>
                  <a:lnTo>
                    <a:pt x="209" y="100"/>
                  </a:lnTo>
                  <a:lnTo>
                    <a:pt x="226" y="89"/>
                  </a:lnTo>
                  <a:lnTo>
                    <a:pt x="242" y="79"/>
                  </a:lnTo>
                  <a:lnTo>
                    <a:pt x="260" y="71"/>
                  </a:lnTo>
                  <a:lnTo>
                    <a:pt x="277" y="62"/>
                  </a:lnTo>
                  <a:lnTo>
                    <a:pt x="297" y="55"/>
                  </a:lnTo>
                  <a:lnTo>
                    <a:pt x="315" y="48"/>
                  </a:lnTo>
                  <a:lnTo>
                    <a:pt x="334" y="43"/>
                  </a:lnTo>
                  <a:lnTo>
                    <a:pt x="353" y="39"/>
                  </a:lnTo>
                  <a:lnTo>
                    <a:pt x="374" y="35"/>
                  </a:lnTo>
                  <a:lnTo>
                    <a:pt x="394" y="32"/>
                  </a:lnTo>
                  <a:lnTo>
                    <a:pt x="414" y="31"/>
                  </a:lnTo>
                  <a:lnTo>
                    <a:pt x="436" y="30"/>
                  </a:lnTo>
                  <a:lnTo>
                    <a:pt x="456" y="31"/>
                  </a:lnTo>
                  <a:lnTo>
                    <a:pt x="476" y="32"/>
                  </a:lnTo>
                  <a:lnTo>
                    <a:pt x="497" y="35"/>
                  </a:lnTo>
                  <a:lnTo>
                    <a:pt x="517" y="39"/>
                  </a:lnTo>
                  <a:lnTo>
                    <a:pt x="536" y="43"/>
                  </a:lnTo>
                  <a:lnTo>
                    <a:pt x="555" y="48"/>
                  </a:lnTo>
                  <a:lnTo>
                    <a:pt x="574" y="55"/>
                  </a:lnTo>
                  <a:lnTo>
                    <a:pt x="593" y="62"/>
                  </a:lnTo>
                  <a:lnTo>
                    <a:pt x="610" y="71"/>
                  </a:lnTo>
                  <a:lnTo>
                    <a:pt x="628" y="79"/>
                  </a:lnTo>
                  <a:lnTo>
                    <a:pt x="645" y="89"/>
                  </a:lnTo>
                  <a:lnTo>
                    <a:pt x="661" y="100"/>
                  </a:lnTo>
                  <a:lnTo>
                    <a:pt x="677" y="111"/>
                  </a:lnTo>
                  <a:lnTo>
                    <a:pt x="692" y="123"/>
                  </a:lnTo>
                  <a:lnTo>
                    <a:pt x="707" y="136"/>
                  </a:lnTo>
                  <a:lnTo>
                    <a:pt x="721" y="149"/>
                  </a:lnTo>
                  <a:lnTo>
                    <a:pt x="734" y="163"/>
                  </a:lnTo>
                  <a:lnTo>
                    <a:pt x="747" y="178"/>
                  </a:lnTo>
                  <a:lnTo>
                    <a:pt x="760" y="193"/>
                  </a:lnTo>
                  <a:lnTo>
                    <a:pt x="770" y="209"/>
                  </a:lnTo>
                  <a:lnTo>
                    <a:pt x="781" y="226"/>
                  </a:lnTo>
                  <a:lnTo>
                    <a:pt x="791" y="242"/>
                  </a:lnTo>
                  <a:lnTo>
                    <a:pt x="799" y="260"/>
                  </a:lnTo>
                  <a:lnTo>
                    <a:pt x="808" y="278"/>
                  </a:lnTo>
                  <a:lnTo>
                    <a:pt x="815" y="296"/>
                  </a:lnTo>
                  <a:lnTo>
                    <a:pt x="822" y="315"/>
                  </a:lnTo>
                  <a:lnTo>
                    <a:pt x="827" y="334"/>
                  </a:lnTo>
                  <a:lnTo>
                    <a:pt x="831" y="354"/>
                  </a:lnTo>
                  <a:lnTo>
                    <a:pt x="835" y="373"/>
                  </a:lnTo>
                  <a:lnTo>
                    <a:pt x="838" y="394"/>
                  </a:lnTo>
                  <a:lnTo>
                    <a:pt x="839" y="414"/>
                  </a:lnTo>
                  <a:lnTo>
                    <a:pt x="840" y="436"/>
                  </a:lnTo>
                  <a:lnTo>
                    <a:pt x="839" y="457"/>
                  </a:lnTo>
                  <a:lnTo>
                    <a:pt x="838" y="479"/>
                  </a:lnTo>
                  <a:lnTo>
                    <a:pt x="835" y="502"/>
                  </a:lnTo>
                  <a:lnTo>
                    <a:pt x="830" y="523"/>
                  </a:lnTo>
                  <a:lnTo>
                    <a:pt x="825" y="545"/>
                  </a:lnTo>
                  <a:lnTo>
                    <a:pt x="819" y="565"/>
                  </a:lnTo>
                  <a:lnTo>
                    <a:pt x="811" y="585"/>
                  </a:lnTo>
                  <a:lnTo>
                    <a:pt x="803" y="606"/>
                  </a:lnTo>
                  <a:lnTo>
                    <a:pt x="793" y="625"/>
                  </a:lnTo>
                  <a:lnTo>
                    <a:pt x="782" y="644"/>
                  </a:lnTo>
                  <a:lnTo>
                    <a:pt x="770" y="662"/>
                  </a:lnTo>
                  <a:lnTo>
                    <a:pt x="758" y="680"/>
                  </a:lnTo>
                  <a:lnTo>
                    <a:pt x="744" y="698"/>
                  </a:lnTo>
                  <a:lnTo>
                    <a:pt x="729" y="714"/>
                  </a:lnTo>
                  <a:lnTo>
                    <a:pt x="713" y="730"/>
                  </a:lnTo>
                  <a:lnTo>
                    <a:pt x="697" y="745"/>
                  </a:lnTo>
                  <a:lnTo>
                    <a:pt x="694" y="747"/>
                  </a:lnTo>
                  <a:lnTo>
                    <a:pt x="692" y="749"/>
                  </a:lnTo>
                  <a:lnTo>
                    <a:pt x="691" y="752"/>
                  </a:lnTo>
                  <a:lnTo>
                    <a:pt x="691" y="754"/>
                  </a:lnTo>
                  <a:lnTo>
                    <a:pt x="691" y="758"/>
                  </a:lnTo>
                  <a:lnTo>
                    <a:pt x="691" y="761"/>
                  </a:lnTo>
                  <a:lnTo>
                    <a:pt x="692" y="763"/>
                  </a:lnTo>
                  <a:lnTo>
                    <a:pt x="694" y="765"/>
                  </a:lnTo>
                  <a:lnTo>
                    <a:pt x="697" y="767"/>
                  </a:lnTo>
                  <a:lnTo>
                    <a:pt x="699" y="769"/>
                  </a:lnTo>
                  <a:lnTo>
                    <a:pt x="702" y="770"/>
                  </a:lnTo>
                  <a:lnTo>
                    <a:pt x="704" y="770"/>
                  </a:lnTo>
                  <a:lnTo>
                    <a:pt x="707" y="770"/>
                  </a:lnTo>
                  <a:lnTo>
                    <a:pt x="711" y="770"/>
                  </a:lnTo>
                  <a:lnTo>
                    <a:pt x="713" y="769"/>
                  </a:lnTo>
                  <a:lnTo>
                    <a:pt x="716" y="767"/>
                  </a:lnTo>
                  <a:lnTo>
                    <a:pt x="733" y="751"/>
                  </a:lnTo>
                  <a:lnTo>
                    <a:pt x="750" y="734"/>
                  </a:lnTo>
                  <a:lnTo>
                    <a:pt x="766" y="717"/>
                  </a:lnTo>
                  <a:lnTo>
                    <a:pt x="781" y="699"/>
                  </a:lnTo>
                  <a:lnTo>
                    <a:pt x="795" y="679"/>
                  </a:lnTo>
                  <a:lnTo>
                    <a:pt x="808" y="659"/>
                  </a:lnTo>
                  <a:lnTo>
                    <a:pt x="819" y="639"/>
                  </a:lnTo>
                  <a:lnTo>
                    <a:pt x="829" y="618"/>
                  </a:lnTo>
                  <a:lnTo>
                    <a:pt x="839" y="597"/>
                  </a:lnTo>
                  <a:lnTo>
                    <a:pt x="846" y="575"/>
                  </a:lnTo>
                  <a:lnTo>
                    <a:pt x="854" y="552"/>
                  </a:lnTo>
                  <a:lnTo>
                    <a:pt x="859" y="530"/>
                  </a:lnTo>
                  <a:lnTo>
                    <a:pt x="863" y="506"/>
                  </a:lnTo>
                  <a:lnTo>
                    <a:pt x="867" y="483"/>
                  </a:lnTo>
                  <a:lnTo>
                    <a:pt x="869" y="459"/>
                  </a:lnTo>
                  <a:lnTo>
                    <a:pt x="870" y="436"/>
                  </a:lnTo>
                  <a:lnTo>
                    <a:pt x="869" y="413"/>
                  </a:lnTo>
                  <a:lnTo>
                    <a:pt x="868" y="391"/>
                  </a:lnTo>
                  <a:lnTo>
                    <a:pt x="865" y="369"/>
                  </a:lnTo>
                  <a:lnTo>
                    <a:pt x="861" y="348"/>
                  </a:lnTo>
                  <a:lnTo>
                    <a:pt x="856" y="326"/>
                  </a:lnTo>
                  <a:lnTo>
                    <a:pt x="851" y="306"/>
                  </a:lnTo>
                  <a:lnTo>
                    <a:pt x="843" y="286"/>
                  </a:lnTo>
                  <a:lnTo>
                    <a:pt x="836" y="267"/>
                  </a:lnTo>
                  <a:lnTo>
                    <a:pt x="827" y="247"/>
                  </a:lnTo>
                  <a:lnTo>
                    <a:pt x="817" y="228"/>
                  </a:lnTo>
                  <a:lnTo>
                    <a:pt x="807" y="210"/>
                  </a:lnTo>
                  <a:lnTo>
                    <a:pt x="795" y="193"/>
                  </a:lnTo>
                  <a:lnTo>
                    <a:pt x="783" y="176"/>
                  </a:lnTo>
                  <a:lnTo>
                    <a:pt x="770" y="158"/>
                  </a:lnTo>
                  <a:lnTo>
                    <a:pt x="757" y="143"/>
                  </a:lnTo>
                  <a:lnTo>
                    <a:pt x="743" y="127"/>
                  </a:lnTo>
                  <a:lnTo>
                    <a:pt x="728" y="114"/>
                  </a:lnTo>
                  <a:lnTo>
                    <a:pt x="712" y="100"/>
                  </a:lnTo>
                  <a:lnTo>
                    <a:pt x="694" y="87"/>
                  </a:lnTo>
                  <a:lnTo>
                    <a:pt x="678" y="75"/>
                  </a:lnTo>
                  <a:lnTo>
                    <a:pt x="660" y="63"/>
                  </a:lnTo>
                  <a:lnTo>
                    <a:pt x="642" y="53"/>
                  </a:lnTo>
                  <a:lnTo>
                    <a:pt x="624" y="43"/>
                  </a:lnTo>
                  <a:lnTo>
                    <a:pt x="605" y="34"/>
                  </a:lnTo>
                  <a:lnTo>
                    <a:pt x="584" y="27"/>
                  </a:lnTo>
                  <a:lnTo>
                    <a:pt x="564" y="20"/>
                  </a:lnTo>
                  <a:lnTo>
                    <a:pt x="544" y="14"/>
                  </a:lnTo>
                  <a:lnTo>
                    <a:pt x="522" y="10"/>
                  </a:lnTo>
                  <a:lnTo>
                    <a:pt x="501" y="5"/>
                  </a:lnTo>
                  <a:lnTo>
                    <a:pt x="479" y="2"/>
                  </a:lnTo>
                  <a:lnTo>
                    <a:pt x="457" y="1"/>
                  </a:lnTo>
                  <a:lnTo>
                    <a:pt x="4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183">
              <a:extLst>
                <a:ext uri="{FF2B5EF4-FFF2-40B4-BE49-F238E27FC236}">
                  <a16:creationId xmlns:a16="http://schemas.microsoft.com/office/drawing/2014/main" id="{6501D51E-05E3-4AD8-B0F0-6B653408EF86}"/>
                </a:ext>
              </a:extLst>
            </p:cNvPr>
            <p:cNvSpPr>
              <a:spLocks/>
            </p:cNvSpPr>
            <p:nvPr/>
          </p:nvSpPr>
          <p:spPr bwMode="auto">
            <a:xfrm>
              <a:off x="4941888" y="4238625"/>
              <a:ext cx="180975" cy="144463"/>
            </a:xfrm>
            <a:custGeom>
              <a:avLst/>
              <a:gdLst>
                <a:gd name="T0" fmla="*/ 256 w 570"/>
                <a:gd name="T1" fmla="*/ 2 h 451"/>
                <a:gd name="T2" fmla="*/ 214 w 570"/>
                <a:gd name="T3" fmla="*/ 10 h 451"/>
                <a:gd name="T4" fmla="*/ 174 w 570"/>
                <a:gd name="T5" fmla="*/ 22 h 451"/>
                <a:gd name="T6" fmla="*/ 138 w 570"/>
                <a:gd name="T7" fmla="*/ 42 h 451"/>
                <a:gd name="T8" fmla="*/ 104 w 570"/>
                <a:gd name="T9" fmla="*/ 65 h 451"/>
                <a:gd name="T10" fmla="*/ 75 w 570"/>
                <a:gd name="T11" fmla="*/ 94 h 451"/>
                <a:gd name="T12" fmla="*/ 49 w 570"/>
                <a:gd name="T13" fmla="*/ 126 h 451"/>
                <a:gd name="T14" fmla="*/ 29 w 570"/>
                <a:gd name="T15" fmla="*/ 161 h 451"/>
                <a:gd name="T16" fmla="*/ 13 w 570"/>
                <a:gd name="T17" fmla="*/ 201 h 451"/>
                <a:gd name="T18" fmla="*/ 3 w 570"/>
                <a:gd name="T19" fmla="*/ 242 h 451"/>
                <a:gd name="T20" fmla="*/ 0 w 570"/>
                <a:gd name="T21" fmla="*/ 286 h 451"/>
                <a:gd name="T22" fmla="*/ 7 w 570"/>
                <a:gd name="T23" fmla="*/ 349 h 451"/>
                <a:gd name="T24" fmla="*/ 28 w 570"/>
                <a:gd name="T25" fmla="*/ 407 h 451"/>
                <a:gd name="T26" fmla="*/ 51 w 570"/>
                <a:gd name="T27" fmla="*/ 447 h 451"/>
                <a:gd name="T28" fmla="*/ 61 w 570"/>
                <a:gd name="T29" fmla="*/ 451 h 451"/>
                <a:gd name="T30" fmla="*/ 72 w 570"/>
                <a:gd name="T31" fmla="*/ 446 h 451"/>
                <a:gd name="T32" fmla="*/ 76 w 570"/>
                <a:gd name="T33" fmla="*/ 438 h 451"/>
                <a:gd name="T34" fmla="*/ 75 w 570"/>
                <a:gd name="T35" fmla="*/ 430 h 451"/>
                <a:gd name="T36" fmla="*/ 55 w 570"/>
                <a:gd name="T37" fmla="*/ 395 h 451"/>
                <a:gd name="T38" fmla="*/ 36 w 570"/>
                <a:gd name="T39" fmla="*/ 341 h 451"/>
                <a:gd name="T40" fmla="*/ 30 w 570"/>
                <a:gd name="T41" fmla="*/ 286 h 451"/>
                <a:gd name="T42" fmla="*/ 33 w 570"/>
                <a:gd name="T43" fmla="*/ 246 h 451"/>
                <a:gd name="T44" fmla="*/ 42 w 570"/>
                <a:gd name="T45" fmla="*/ 210 h 451"/>
                <a:gd name="T46" fmla="*/ 56 w 570"/>
                <a:gd name="T47" fmla="*/ 174 h 451"/>
                <a:gd name="T48" fmla="*/ 74 w 570"/>
                <a:gd name="T49" fmla="*/ 143 h 451"/>
                <a:gd name="T50" fmla="*/ 96 w 570"/>
                <a:gd name="T51" fmla="*/ 114 h 451"/>
                <a:gd name="T52" fmla="*/ 123 w 570"/>
                <a:gd name="T53" fmla="*/ 89 h 451"/>
                <a:gd name="T54" fmla="*/ 153 w 570"/>
                <a:gd name="T55" fmla="*/ 67 h 451"/>
                <a:gd name="T56" fmla="*/ 186 w 570"/>
                <a:gd name="T57" fmla="*/ 50 h 451"/>
                <a:gd name="T58" fmla="*/ 221 w 570"/>
                <a:gd name="T59" fmla="*/ 38 h 451"/>
                <a:gd name="T60" fmla="*/ 259 w 570"/>
                <a:gd name="T61" fmla="*/ 32 h 451"/>
                <a:gd name="T62" fmla="*/ 298 w 570"/>
                <a:gd name="T63" fmla="*/ 31 h 451"/>
                <a:gd name="T64" fmla="*/ 336 w 570"/>
                <a:gd name="T65" fmla="*/ 35 h 451"/>
                <a:gd name="T66" fmla="*/ 372 w 570"/>
                <a:gd name="T67" fmla="*/ 46 h 451"/>
                <a:gd name="T68" fmla="*/ 406 w 570"/>
                <a:gd name="T69" fmla="*/ 61 h 451"/>
                <a:gd name="T70" fmla="*/ 438 w 570"/>
                <a:gd name="T71" fmla="*/ 81 h 451"/>
                <a:gd name="T72" fmla="*/ 465 w 570"/>
                <a:gd name="T73" fmla="*/ 105 h 451"/>
                <a:gd name="T74" fmla="*/ 489 w 570"/>
                <a:gd name="T75" fmla="*/ 133 h 451"/>
                <a:gd name="T76" fmla="*/ 509 w 570"/>
                <a:gd name="T77" fmla="*/ 164 h 451"/>
                <a:gd name="T78" fmla="*/ 524 w 570"/>
                <a:gd name="T79" fmla="*/ 198 h 451"/>
                <a:gd name="T80" fmla="*/ 535 w 570"/>
                <a:gd name="T81" fmla="*/ 234 h 451"/>
                <a:gd name="T82" fmla="*/ 539 w 570"/>
                <a:gd name="T83" fmla="*/ 272 h 451"/>
                <a:gd name="T84" fmla="*/ 537 w 570"/>
                <a:gd name="T85" fmla="*/ 323 h 451"/>
                <a:gd name="T86" fmla="*/ 523 w 570"/>
                <a:gd name="T87" fmla="*/ 378 h 451"/>
                <a:gd name="T88" fmla="*/ 496 w 570"/>
                <a:gd name="T89" fmla="*/ 427 h 451"/>
                <a:gd name="T90" fmla="*/ 494 w 570"/>
                <a:gd name="T91" fmla="*/ 435 h 451"/>
                <a:gd name="T92" fmla="*/ 496 w 570"/>
                <a:gd name="T93" fmla="*/ 444 h 451"/>
                <a:gd name="T94" fmla="*/ 504 w 570"/>
                <a:gd name="T95" fmla="*/ 449 h 451"/>
                <a:gd name="T96" fmla="*/ 512 w 570"/>
                <a:gd name="T97" fmla="*/ 450 h 451"/>
                <a:gd name="T98" fmla="*/ 520 w 570"/>
                <a:gd name="T99" fmla="*/ 446 h 451"/>
                <a:gd name="T100" fmla="*/ 542 w 570"/>
                <a:gd name="T101" fmla="*/ 407 h 451"/>
                <a:gd name="T102" fmla="*/ 563 w 570"/>
                <a:gd name="T103" fmla="*/ 348 h 451"/>
                <a:gd name="T104" fmla="*/ 570 w 570"/>
                <a:gd name="T105" fmla="*/ 286 h 451"/>
                <a:gd name="T106" fmla="*/ 567 w 570"/>
                <a:gd name="T107" fmla="*/ 242 h 451"/>
                <a:gd name="T108" fmla="*/ 557 w 570"/>
                <a:gd name="T109" fmla="*/ 201 h 451"/>
                <a:gd name="T110" fmla="*/ 541 w 570"/>
                <a:gd name="T111" fmla="*/ 161 h 451"/>
                <a:gd name="T112" fmla="*/ 521 w 570"/>
                <a:gd name="T113" fmla="*/ 126 h 451"/>
                <a:gd name="T114" fmla="*/ 496 w 570"/>
                <a:gd name="T115" fmla="*/ 94 h 451"/>
                <a:gd name="T116" fmla="*/ 466 w 570"/>
                <a:gd name="T117" fmla="*/ 65 h 451"/>
                <a:gd name="T118" fmla="*/ 433 w 570"/>
                <a:gd name="T119" fmla="*/ 42 h 451"/>
                <a:gd name="T120" fmla="*/ 396 w 570"/>
                <a:gd name="T121" fmla="*/ 22 h 451"/>
                <a:gd name="T122" fmla="*/ 356 w 570"/>
                <a:gd name="T123" fmla="*/ 10 h 451"/>
                <a:gd name="T124" fmla="*/ 314 w 570"/>
                <a:gd name="T125" fmla="*/ 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51">
                  <a:moveTo>
                    <a:pt x="286" y="0"/>
                  </a:moveTo>
                  <a:lnTo>
                    <a:pt x="271" y="1"/>
                  </a:lnTo>
                  <a:lnTo>
                    <a:pt x="256" y="2"/>
                  </a:lnTo>
                  <a:lnTo>
                    <a:pt x="242" y="4"/>
                  </a:lnTo>
                  <a:lnTo>
                    <a:pt x="228" y="6"/>
                  </a:lnTo>
                  <a:lnTo>
                    <a:pt x="214" y="10"/>
                  </a:lnTo>
                  <a:lnTo>
                    <a:pt x="200" y="13"/>
                  </a:lnTo>
                  <a:lnTo>
                    <a:pt x="187" y="18"/>
                  </a:lnTo>
                  <a:lnTo>
                    <a:pt x="174" y="22"/>
                  </a:lnTo>
                  <a:lnTo>
                    <a:pt x="162" y="29"/>
                  </a:lnTo>
                  <a:lnTo>
                    <a:pt x="150" y="35"/>
                  </a:lnTo>
                  <a:lnTo>
                    <a:pt x="138" y="42"/>
                  </a:lnTo>
                  <a:lnTo>
                    <a:pt x="126" y="49"/>
                  </a:lnTo>
                  <a:lnTo>
                    <a:pt x="114" y="57"/>
                  </a:lnTo>
                  <a:lnTo>
                    <a:pt x="104" y="65"/>
                  </a:lnTo>
                  <a:lnTo>
                    <a:pt x="94" y="75"/>
                  </a:lnTo>
                  <a:lnTo>
                    <a:pt x="83" y="84"/>
                  </a:lnTo>
                  <a:lnTo>
                    <a:pt x="75" y="94"/>
                  </a:lnTo>
                  <a:lnTo>
                    <a:pt x="65" y="104"/>
                  </a:lnTo>
                  <a:lnTo>
                    <a:pt x="57" y="114"/>
                  </a:lnTo>
                  <a:lnTo>
                    <a:pt x="49" y="126"/>
                  </a:lnTo>
                  <a:lnTo>
                    <a:pt x="42" y="138"/>
                  </a:lnTo>
                  <a:lnTo>
                    <a:pt x="35" y="150"/>
                  </a:lnTo>
                  <a:lnTo>
                    <a:pt x="29" y="161"/>
                  </a:lnTo>
                  <a:lnTo>
                    <a:pt x="22" y="174"/>
                  </a:lnTo>
                  <a:lnTo>
                    <a:pt x="18" y="187"/>
                  </a:lnTo>
                  <a:lnTo>
                    <a:pt x="13" y="201"/>
                  </a:lnTo>
                  <a:lnTo>
                    <a:pt x="10" y="214"/>
                  </a:lnTo>
                  <a:lnTo>
                    <a:pt x="6" y="228"/>
                  </a:lnTo>
                  <a:lnTo>
                    <a:pt x="3" y="242"/>
                  </a:lnTo>
                  <a:lnTo>
                    <a:pt x="2" y="256"/>
                  </a:lnTo>
                  <a:lnTo>
                    <a:pt x="1" y="271"/>
                  </a:lnTo>
                  <a:lnTo>
                    <a:pt x="0" y="286"/>
                  </a:lnTo>
                  <a:lnTo>
                    <a:pt x="1" y="307"/>
                  </a:lnTo>
                  <a:lnTo>
                    <a:pt x="3" y="327"/>
                  </a:lnTo>
                  <a:lnTo>
                    <a:pt x="7" y="349"/>
                  </a:lnTo>
                  <a:lnTo>
                    <a:pt x="13" y="369"/>
                  </a:lnTo>
                  <a:lnTo>
                    <a:pt x="19" y="388"/>
                  </a:lnTo>
                  <a:lnTo>
                    <a:pt x="28" y="407"/>
                  </a:lnTo>
                  <a:lnTo>
                    <a:pt x="37" y="427"/>
                  </a:lnTo>
                  <a:lnTo>
                    <a:pt x="49" y="444"/>
                  </a:lnTo>
                  <a:lnTo>
                    <a:pt x="51" y="447"/>
                  </a:lnTo>
                  <a:lnTo>
                    <a:pt x="55" y="449"/>
                  </a:lnTo>
                  <a:lnTo>
                    <a:pt x="58" y="450"/>
                  </a:lnTo>
                  <a:lnTo>
                    <a:pt x="61" y="451"/>
                  </a:lnTo>
                  <a:lnTo>
                    <a:pt x="66" y="450"/>
                  </a:lnTo>
                  <a:lnTo>
                    <a:pt x="70" y="448"/>
                  </a:lnTo>
                  <a:lnTo>
                    <a:pt x="72" y="446"/>
                  </a:lnTo>
                  <a:lnTo>
                    <a:pt x="74" y="444"/>
                  </a:lnTo>
                  <a:lnTo>
                    <a:pt x="75" y="442"/>
                  </a:lnTo>
                  <a:lnTo>
                    <a:pt x="76" y="438"/>
                  </a:lnTo>
                  <a:lnTo>
                    <a:pt x="76" y="436"/>
                  </a:lnTo>
                  <a:lnTo>
                    <a:pt x="76" y="433"/>
                  </a:lnTo>
                  <a:lnTo>
                    <a:pt x="75" y="430"/>
                  </a:lnTo>
                  <a:lnTo>
                    <a:pt x="74" y="428"/>
                  </a:lnTo>
                  <a:lnTo>
                    <a:pt x="64" y="412"/>
                  </a:lnTo>
                  <a:lnTo>
                    <a:pt x="55" y="395"/>
                  </a:lnTo>
                  <a:lnTo>
                    <a:pt x="48" y="378"/>
                  </a:lnTo>
                  <a:lnTo>
                    <a:pt x="42" y="359"/>
                  </a:lnTo>
                  <a:lnTo>
                    <a:pt x="36" y="341"/>
                  </a:lnTo>
                  <a:lnTo>
                    <a:pt x="33" y="323"/>
                  </a:lnTo>
                  <a:lnTo>
                    <a:pt x="31" y="304"/>
                  </a:lnTo>
                  <a:lnTo>
                    <a:pt x="30" y="286"/>
                  </a:lnTo>
                  <a:lnTo>
                    <a:pt x="31" y="272"/>
                  </a:lnTo>
                  <a:lnTo>
                    <a:pt x="32" y="259"/>
                  </a:lnTo>
                  <a:lnTo>
                    <a:pt x="33" y="246"/>
                  </a:lnTo>
                  <a:lnTo>
                    <a:pt x="35" y="234"/>
                  </a:lnTo>
                  <a:lnTo>
                    <a:pt x="39" y="221"/>
                  </a:lnTo>
                  <a:lnTo>
                    <a:pt x="42" y="210"/>
                  </a:lnTo>
                  <a:lnTo>
                    <a:pt x="46" y="198"/>
                  </a:lnTo>
                  <a:lnTo>
                    <a:pt x="50" y="186"/>
                  </a:lnTo>
                  <a:lnTo>
                    <a:pt x="56" y="174"/>
                  </a:lnTo>
                  <a:lnTo>
                    <a:pt x="61" y="164"/>
                  </a:lnTo>
                  <a:lnTo>
                    <a:pt x="67" y="153"/>
                  </a:lnTo>
                  <a:lnTo>
                    <a:pt x="74" y="143"/>
                  </a:lnTo>
                  <a:lnTo>
                    <a:pt x="81" y="133"/>
                  </a:lnTo>
                  <a:lnTo>
                    <a:pt x="89" y="123"/>
                  </a:lnTo>
                  <a:lnTo>
                    <a:pt x="96" y="114"/>
                  </a:lnTo>
                  <a:lnTo>
                    <a:pt x="105" y="105"/>
                  </a:lnTo>
                  <a:lnTo>
                    <a:pt x="114" y="96"/>
                  </a:lnTo>
                  <a:lnTo>
                    <a:pt x="123" y="89"/>
                  </a:lnTo>
                  <a:lnTo>
                    <a:pt x="133" y="81"/>
                  </a:lnTo>
                  <a:lnTo>
                    <a:pt x="142" y="74"/>
                  </a:lnTo>
                  <a:lnTo>
                    <a:pt x="153" y="67"/>
                  </a:lnTo>
                  <a:lnTo>
                    <a:pt x="164" y="61"/>
                  </a:lnTo>
                  <a:lnTo>
                    <a:pt x="174" y="56"/>
                  </a:lnTo>
                  <a:lnTo>
                    <a:pt x="186" y="50"/>
                  </a:lnTo>
                  <a:lnTo>
                    <a:pt x="198" y="46"/>
                  </a:lnTo>
                  <a:lnTo>
                    <a:pt x="210" y="42"/>
                  </a:lnTo>
                  <a:lnTo>
                    <a:pt x="221" y="38"/>
                  </a:lnTo>
                  <a:lnTo>
                    <a:pt x="234" y="35"/>
                  </a:lnTo>
                  <a:lnTo>
                    <a:pt x="246" y="33"/>
                  </a:lnTo>
                  <a:lnTo>
                    <a:pt x="259" y="32"/>
                  </a:lnTo>
                  <a:lnTo>
                    <a:pt x="272" y="31"/>
                  </a:lnTo>
                  <a:lnTo>
                    <a:pt x="286" y="30"/>
                  </a:lnTo>
                  <a:lnTo>
                    <a:pt x="298" y="31"/>
                  </a:lnTo>
                  <a:lnTo>
                    <a:pt x="311" y="32"/>
                  </a:lnTo>
                  <a:lnTo>
                    <a:pt x="324" y="33"/>
                  </a:lnTo>
                  <a:lnTo>
                    <a:pt x="336" y="35"/>
                  </a:lnTo>
                  <a:lnTo>
                    <a:pt x="349" y="38"/>
                  </a:lnTo>
                  <a:lnTo>
                    <a:pt x="360" y="42"/>
                  </a:lnTo>
                  <a:lnTo>
                    <a:pt x="372" y="46"/>
                  </a:lnTo>
                  <a:lnTo>
                    <a:pt x="384" y="50"/>
                  </a:lnTo>
                  <a:lnTo>
                    <a:pt x="396" y="56"/>
                  </a:lnTo>
                  <a:lnTo>
                    <a:pt x="406" y="61"/>
                  </a:lnTo>
                  <a:lnTo>
                    <a:pt x="417" y="67"/>
                  </a:lnTo>
                  <a:lnTo>
                    <a:pt x="428" y="74"/>
                  </a:lnTo>
                  <a:lnTo>
                    <a:pt x="438" y="81"/>
                  </a:lnTo>
                  <a:lnTo>
                    <a:pt x="447" y="89"/>
                  </a:lnTo>
                  <a:lnTo>
                    <a:pt x="457" y="96"/>
                  </a:lnTo>
                  <a:lnTo>
                    <a:pt x="465" y="105"/>
                  </a:lnTo>
                  <a:lnTo>
                    <a:pt x="474" y="114"/>
                  </a:lnTo>
                  <a:lnTo>
                    <a:pt x="481" y="123"/>
                  </a:lnTo>
                  <a:lnTo>
                    <a:pt x="489" y="133"/>
                  </a:lnTo>
                  <a:lnTo>
                    <a:pt x="496" y="143"/>
                  </a:lnTo>
                  <a:lnTo>
                    <a:pt x="503" y="153"/>
                  </a:lnTo>
                  <a:lnTo>
                    <a:pt x="509" y="164"/>
                  </a:lnTo>
                  <a:lnTo>
                    <a:pt x="515" y="174"/>
                  </a:lnTo>
                  <a:lnTo>
                    <a:pt x="520" y="186"/>
                  </a:lnTo>
                  <a:lnTo>
                    <a:pt x="524" y="198"/>
                  </a:lnTo>
                  <a:lnTo>
                    <a:pt x="528" y="210"/>
                  </a:lnTo>
                  <a:lnTo>
                    <a:pt x="532" y="221"/>
                  </a:lnTo>
                  <a:lnTo>
                    <a:pt x="535" y="234"/>
                  </a:lnTo>
                  <a:lnTo>
                    <a:pt x="537" y="246"/>
                  </a:lnTo>
                  <a:lnTo>
                    <a:pt x="538" y="259"/>
                  </a:lnTo>
                  <a:lnTo>
                    <a:pt x="539" y="272"/>
                  </a:lnTo>
                  <a:lnTo>
                    <a:pt x="540" y="286"/>
                  </a:lnTo>
                  <a:lnTo>
                    <a:pt x="539" y="304"/>
                  </a:lnTo>
                  <a:lnTo>
                    <a:pt x="537" y="323"/>
                  </a:lnTo>
                  <a:lnTo>
                    <a:pt x="534" y="341"/>
                  </a:lnTo>
                  <a:lnTo>
                    <a:pt x="528" y="359"/>
                  </a:lnTo>
                  <a:lnTo>
                    <a:pt x="523" y="378"/>
                  </a:lnTo>
                  <a:lnTo>
                    <a:pt x="516" y="395"/>
                  </a:lnTo>
                  <a:lnTo>
                    <a:pt x="507" y="411"/>
                  </a:lnTo>
                  <a:lnTo>
                    <a:pt x="496" y="427"/>
                  </a:lnTo>
                  <a:lnTo>
                    <a:pt x="495" y="430"/>
                  </a:lnTo>
                  <a:lnTo>
                    <a:pt x="494" y="432"/>
                  </a:lnTo>
                  <a:lnTo>
                    <a:pt x="494" y="435"/>
                  </a:lnTo>
                  <a:lnTo>
                    <a:pt x="494" y="438"/>
                  </a:lnTo>
                  <a:lnTo>
                    <a:pt x="495" y="441"/>
                  </a:lnTo>
                  <a:lnTo>
                    <a:pt x="496" y="444"/>
                  </a:lnTo>
                  <a:lnTo>
                    <a:pt x="498" y="446"/>
                  </a:lnTo>
                  <a:lnTo>
                    <a:pt x="501" y="448"/>
                  </a:lnTo>
                  <a:lnTo>
                    <a:pt x="504" y="449"/>
                  </a:lnTo>
                  <a:lnTo>
                    <a:pt x="506" y="450"/>
                  </a:lnTo>
                  <a:lnTo>
                    <a:pt x="509" y="450"/>
                  </a:lnTo>
                  <a:lnTo>
                    <a:pt x="512" y="450"/>
                  </a:lnTo>
                  <a:lnTo>
                    <a:pt x="515" y="449"/>
                  </a:lnTo>
                  <a:lnTo>
                    <a:pt x="518" y="448"/>
                  </a:lnTo>
                  <a:lnTo>
                    <a:pt x="520" y="446"/>
                  </a:lnTo>
                  <a:lnTo>
                    <a:pt x="522" y="444"/>
                  </a:lnTo>
                  <a:lnTo>
                    <a:pt x="533" y="426"/>
                  </a:lnTo>
                  <a:lnTo>
                    <a:pt x="542" y="407"/>
                  </a:lnTo>
                  <a:lnTo>
                    <a:pt x="551" y="388"/>
                  </a:lnTo>
                  <a:lnTo>
                    <a:pt x="557" y="368"/>
                  </a:lnTo>
                  <a:lnTo>
                    <a:pt x="563" y="348"/>
                  </a:lnTo>
                  <a:lnTo>
                    <a:pt x="567" y="327"/>
                  </a:lnTo>
                  <a:lnTo>
                    <a:pt x="569" y="306"/>
                  </a:lnTo>
                  <a:lnTo>
                    <a:pt x="570" y="286"/>
                  </a:lnTo>
                  <a:lnTo>
                    <a:pt x="569" y="271"/>
                  </a:lnTo>
                  <a:lnTo>
                    <a:pt x="568" y="256"/>
                  </a:lnTo>
                  <a:lnTo>
                    <a:pt x="567" y="242"/>
                  </a:lnTo>
                  <a:lnTo>
                    <a:pt x="564" y="228"/>
                  </a:lnTo>
                  <a:lnTo>
                    <a:pt x="561" y="214"/>
                  </a:lnTo>
                  <a:lnTo>
                    <a:pt x="557" y="201"/>
                  </a:lnTo>
                  <a:lnTo>
                    <a:pt x="553" y="187"/>
                  </a:lnTo>
                  <a:lnTo>
                    <a:pt x="548" y="174"/>
                  </a:lnTo>
                  <a:lnTo>
                    <a:pt x="541" y="161"/>
                  </a:lnTo>
                  <a:lnTo>
                    <a:pt x="536" y="150"/>
                  </a:lnTo>
                  <a:lnTo>
                    <a:pt x="528" y="138"/>
                  </a:lnTo>
                  <a:lnTo>
                    <a:pt x="521" y="126"/>
                  </a:lnTo>
                  <a:lnTo>
                    <a:pt x="513" y="114"/>
                  </a:lnTo>
                  <a:lnTo>
                    <a:pt x="505" y="104"/>
                  </a:lnTo>
                  <a:lnTo>
                    <a:pt x="496" y="94"/>
                  </a:lnTo>
                  <a:lnTo>
                    <a:pt x="487" y="83"/>
                  </a:lnTo>
                  <a:lnTo>
                    <a:pt x="476" y="75"/>
                  </a:lnTo>
                  <a:lnTo>
                    <a:pt x="466" y="65"/>
                  </a:lnTo>
                  <a:lnTo>
                    <a:pt x="456" y="57"/>
                  </a:lnTo>
                  <a:lnTo>
                    <a:pt x="444" y="49"/>
                  </a:lnTo>
                  <a:lnTo>
                    <a:pt x="433" y="42"/>
                  </a:lnTo>
                  <a:lnTo>
                    <a:pt x="420" y="35"/>
                  </a:lnTo>
                  <a:lnTo>
                    <a:pt x="409" y="29"/>
                  </a:lnTo>
                  <a:lnTo>
                    <a:pt x="396" y="22"/>
                  </a:lnTo>
                  <a:lnTo>
                    <a:pt x="383" y="18"/>
                  </a:lnTo>
                  <a:lnTo>
                    <a:pt x="370" y="13"/>
                  </a:lnTo>
                  <a:lnTo>
                    <a:pt x="356" y="10"/>
                  </a:lnTo>
                  <a:lnTo>
                    <a:pt x="342" y="6"/>
                  </a:lnTo>
                  <a:lnTo>
                    <a:pt x="328" y="4"/>
                  </a:lnTo>
                  <a:lnTo>
                    <a:pt x="314" y="2"/>
                  </a:lnTo>
                  <a:lnTo>
                    <a:pt x="300" y="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184">
              <a:extLst>
                <a:ext uri="{FF2B5EF4-FFF2-40B4-BE49-F238E27FC236}">
                  <a16:creationId xmlns:a16="http://schemas.microsoft.com/office/drawing/2014/main" id="{B1BB302D-7BB9-49F3-9B53-4A02A1F95C9D}"/>
                </a:ext>
              </a:extLst>
            </p:cNvPr>
            <p:cNvSpPr>
              <a:spLocks/>
            </p:cNvSpPr>
            <p:nvPr/>
          </p:nvSpPr>
          <p:spPr bwMode="auto">
            <a:xfrm>
              <a:off x="4989513" y="4287838"/>
              <a:ext cx="85725" cy="55563"/>
            </a:xfrm>
            <a:custGeom>
              <a:avLst/>
              <a:gdLst>
                <a:gd name="T0" fmla="*/ 249 w 270"/>
                <a:gd name="T1" fmla="*/ 179 h 179"/>
                <a:gd name="T2" fmla="*/ 256 w 270"/>
                <a:gd name="T3" fmla="*/ 178 h 179"/>
                <a:gd name="T4" fmla="*/ 264 w 270"/>
                <a:gd name="T5" fmla="*/ 173 h 179"/>
                <a:gd name="T6" fmla="*/ 267 w 270"/>
                <a:gd name="T7" fmla="*/ 160 h 179"/>
                <a:gd name="T8" fmla="*/ 269 w 270"/>
                <a:gd name="T9" fmla="*/ 143 h 179"/>
                <a:gd name="T10" fmla="*/ 269 w 270"/>
                <a:gd name="T11" fmla="*/ 121 h 179"/>
                <a:gd name="T12" fmla="*/ 264 w 270"/>
                <a:gd name="T13" fmla="*/ 94 h 179"/>
                <a:gd name="T14" fmla="*/ 253 w 270"/>
                <a:gd name="T15" fmla="*/ 70 h 179"/>
                <a:gd name="T16" fmla="*/ 239 w 270"/>
                <a:gd name="T17" fmla="*/ 49 h 179"/>
                <a:gd name="T18" fmla="*/ 221 w 270"/>
                <a:gd name="T19" fmla="*/ 30 h 179"/>
                <a:gd name="T20" fmla="*/ 200 w 270"/>
                <a:gd name="T21" fmla="*/ 16 h 179"/>
                <a:gd name="T22" fmla="*/ 175 w 270"/>
                <a:gd name="T23" fmla="*/ 5 h 179"/>
                <a:gd name="T24" fmla="*/ 148 w 270"/>
                <a:gd name="T25" fmla="*/ 0 h 179"/>
                <a:gd name="T26" fmla="*/ 122 w 270"/>
                <a:gd name="T27" fmla="*/ 0 h 179"/>
                <a:gd name="T28" fmla="*/ 95 w 270"/>
                <a:gd name="T29" fmla="*/ 5 h 179"/>
                <a:gd name="T30" fmla="*/ 71 w 270"/>
                <a:gd name="T31" fmla="*/ 16 h 179"/>
                <a:gd name="T32" fmla="*/ 49 w 270"/>
                <a:gd name="T33" fmla="*/ 30 h 179"/>
                <a:gd name="T34" fmla="*/ 31 w 270"/>
                <a:gd name="T35" fmla="*/ 49 h 179"/>
                <a:gd name="T36" fmla="*/ 17 w 270"/>
                <a:gd name="T37" fmla="*/ 70 h 179"/>
                <a:gd name="T38" fmla="*/ 6 w 270"/>
                <a:gd name="T39" fmla="*/ 94 h 179"/>
                <a:gd name="T40" fmla="*/ 1 w 270"/>
                <a:gd name="T41" fmla="*/ 121 h 179"/>
                <a:gd name="T42" fmla="*/ 1 w 270"/>
                <a:gd name="T43" fmla="*/ 151 h 179"/>
                <a:gd name="T44" fmla="*/ 5 w 270"/>
                <a:gd name="T45" fmla="*/ 169 h 179"/>
                <a:gd name="T46" fmla="*/ 8 w 270"/>
                <a:gd name="T47" fmla="*/ 174 h 179"/>
                <a:gd name="T48" fmla="*/ 14 w 270"/>
                <a:gd name="T49" fmla="*/ 176 h 179"/>
                <a:gd name="T50" fmla="*/ 19 w 270"/>
                <a:gd name="T51" fmla="*/ 177 h 179"/>
                <a:gd name="T52" fmla="*/ 25 w 270"/>
                <a:gd name="T53" fmla="*/ 176 h 179"/>
                <a:gd name="T54" fmla="*/ 30 w 270"/>
                <a:gd name="T55" fmla="*/ 173 h 179"/>
                <a:gd name="T56" fmla="*/ 33 w 270"/>
                <a:gd name="T57" fmla="*/ 168 h 179"/>
                <a:gd name="T58" fmla="*/ 34 w 270"/>
                <a:gd name="T59" fmla="*/ 162 h 179"/>
                <a:gd name="T60" fmla="*/ 31 w 270"/>
                <a:gd name="T61" fmla="*/ 146 h 179"/>
                <a:gd name="T62" fmla="*/ 31 w 270"/>
                <a:gd name="T63" fmla="*/ 124 h 179"/>
                <a:gd name="T64" fmla="*/ 35 w 270"/>
                <a:gd name="T65" fmla="*/ 104 h 179"/>
                <a:gd name="T66" fmla="*/ 43 w 270"/>
                <a:gd name="T67" fmla="*/ 84 h 179"/>
                <a:gd name="T68" fmla="*/ 54 w 270"/>
                <a:gd name="T69" fmla="*/ 67 h 179"/>
                <a:gd name="T70" fmla="*/ 68 w 270"/>
                <a:gd name="T71" fmla="*/ 53 h 179"/>
                <a:gd name="T72" fmla="*/ 85 w 270"/>
                <a:gd name="T73" fmla="*/ 41 h 179"/>
                <a:gd name="T74" fmla="*/ 104 w 270"/>
                <a:gd name="T75" fmla="*/ 34 h 179"/>
                <a:gd name="T76" fmla="*/ 125 w 270"/>
                <a:gd name="T77" fmla="*/ 30 h 179"/>
                <a:gd name="T78" fmla="*/ 146 w 270"/>
                <a:gd name="T79" fmla="*/ 30 h 179"/>
                <a:gd name="T80" fmla="*/ 167 w 270"/>
                <a:gd name="T81" fmla="*/ 34 h 179"/>
                <a:gd name="T82" fmla="*/ 185 w 270"/>
                <a:gd name="T83" fmla="*/ 41 h 179"/>
                <a:gd name="T84" fmla="*/ 202 w 270"/>
                <a:gd name="T85" fmla="*/ 53 h 179"/>
                <a:gd name="T86" fmla="*/ 216 w 270"/>
                <a:gd name="T87" fmla="*/ 67 h 179"/>
                <a:gd name="T88" fmla="*/ 228 w 270"/>
                <a:gd name="T89" fmla="*/ 84 h 179"/>
                <a:gd name="T90" fmla="*/ 235 w 270"/>
                <a:gd name="T91" fmla="*/ 104 h 179"/>
                <a:gd name="T92" fmla="*/ 239 w 270"/>
                <a:gd name="T93" fmla="*/ 124 h 179"/>
                <a:gd name="T94" fmla="*/ 239 w 270"/>
                <a:gd name="T95" fmla="*/ 147 h 179"/>
                <a:gd name="T96" fmla="*/ 236 w 270"/>
                <a:gd name="T97" fmla="*/ 163 h 179"/>
                <a:gd name="T98" fmla="*/ 237 w 270"/>
                <a:gd name="T99" fmla="*/ 170 h 179"/>
                <a:gd name="T100" fmla="*/ 240 w 270"/>
                <a:gd name="T101" fmla="*/ 174 h 179"/>
                <a:gd name="T102" fmla="*/ 245 w 270"/>
                <a:gd name="T103" fmla="*/ 1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0" h="179">
                  <a:moveTo>
                    <a:pt x="247" y="178"/>
                  </a:moveTo>
                  <a:lnTo>
                    <a:pt x="249" y="179"/>
                  </a:lnTo>
                  <a:lnTo>
                    <a:pt x="251" y="179"/>
                  </a:lnTo>
                  <a:lnTo>
                    <a:pt x="256" y="178"/>
                  </a:lnTo>
                  <a:lnTo>
                    <a:pt x="261" y="176"/>
                  </a:lnTo>
                  <a:lnTo>
                    <a:pt x="264" y="173"/>
                  </a:lnTo>
                  <a:lnTo>
                    <a:pt x="266" y="168"/>
                  </a:lnTo>
                  <a:lnTo>
                    <a:pt x="267" y="160"/>
                  </a:lnTo>
                  <a:lnTo>
                    <a:pt x="269" y="152"/>
                  </a:lnTo>
                  <a:lnTo>
                    <a:pt x="269" y="143"/>
                  </a:lnTo>
                  <a:lnTo>
                    <a:pt x="270" y="135"/>
                  </a:lnTo>
                  <a:lnTo>
                    <a:pt x="269" y="121"/>
                  </a:lnTo>
                  <a:lnTo>
                    <a:pt x="267" y="107"/>
                  </a:lnTo>
                  <a:lnTo>
                    <a:pt x="264" y="94"/>
                  </a:lnTo>
                  <a:lnTo>
                    <a:pt x="260" y="82"/>
                  </a:lnTo>
                  <a:lnTo>
                    <a:pt x="253" y="70"/>
                  </a:lnTo>
                  <a:lnTo>
                    <a:pt x="247" y="59"/>
                  </a:lnTo>
                  <a:lnTo>
                    <a:pt x="239" y="49"/>
                  </a:lnTo>
                  <a:lnTo>
                    <a:pt x="231" y="39"/>
                  </a:lnTo>
                  <a:lnTo>
                    <a:pt x="221" y="30"/>
                  </a:lnTo>
                  <a:lnTo>
                    <a:pt x="210" y="22"/>
                  </a:lnTo>
                  <a:lnTo>
                    <a:pt x="200" y="16"/>
                  </a:lnTo>
                  <a:lnTo>
                    <a:pt x="188" y="9"/>
                  </a:lnTo>
                  <a:lnTo>
                    <a:pt x="175" y="5"/>
                  </a:lnTo>
                  <a:lnTo>
                    <a:pt x="162" y="2"/>
                  </a:lnTo>
                  <a:lnTo>
                    <a:pt x="148" y="0"/>
                  </a:lnTo>
                  <a:lnTo>
                    <a:pt x="136" y="0"/>
                  </a:lnTo>
                  <a:lnTo>
                    <a:pt x="122" y="0"/>
                  </a:lnTo>
                  <a:lnTo>
                    <a:pt x="108" y="2"/>
                  </a:lnTo>
                  <a:lnTo>
                    <a:pt x="95" y="5"/>
                  </a:lnTo>
                  <a:lnTo>
                    <a:pt x="83" y="9"/>
                  </a:lnTo>
                  <a:lnTo>
                    <a:pt x="71" y="16"/>
                  </a:lnTo>
                  <a:lnTo>
                    <a:pt x="60" y="22"/>
                  </a:lnTo>
                  <a:lnTo>
                    <a:pt x="49" y="30"/>
                  </a:lnTo>
                  <a:lnTo>
                    <a:pt x="39" y="39"/>
                  </a:lnTo>
                  <a:lnTo>
                    <a:pt x="31" y="49"/>
                  </a:lnTo>
                  <a:lnTo>
                    <a:pt x="23" y="59"/>
                  </a:lnTo>
                  <a:lnTo>
                    <a:pt x="17" y="70"/>
                  </a:lnTo>
                  <a:lnTo>
                    <a:pt x="10" y="82"/>
                  </a:lnTo>
                  <a:lnTo>
                    <a:pt x="6" y="94"/>
                  </a:lnTo>
                  <a:lnTo>
                    <a:pt x="3" y="107"/>
                  </a:lnTo>
                  <a:lnTo>
                    <a:pt x="1" y="121"/>
                  </a:lnTo>
                  <a:lnTo>
                    <a:pt x="0" y="135"/>
                  </a:lnTo>
                  <a:lnTo>
                    <a:pt x="1" y="151"/>
                  </a:lnTo>
                  <a:lnTo>
                    <a:pt x="4" y="167"/>
                  </a:lnTo>
                  <a:lnTo>
                    <a:pt x="5" y="169"/>
                  </a:lnTo>
                  <a:lnTo>
                    <a:pt x="6" y="172"/>
                  </a:lnTo>
                  <a:lnTo>
                    <a:pt x="8" y="174"/>
                  </a:lnTo>
                  <a:lnTo>
                    <a:pt x="10" y="175"/>
                  </a:lnTo>
                  <a:lnTo>
                    <a:pt x="14" y="176"/>
                  </a:lnTo>
                  <a:lnTo>
                    <a:pt x="16" y="177"/>
                  </a:lnTo>
                  <a:lnTo>
                    <a:pt x="19" y="177"/>
                  </a:lnTo>
                  <a:lnTo>
                    <a:pt x="22" y="177"/>
                  </a:lnTo>
                  <a:lnTo>
                    <a:pt x="25" y="176"/>
                  </a:lnTo>
                  <a:lnTo>
                    <a:pt x="28" y="174"/>
                  </a:lnTo>
                  <a:lnTo>
                    <a:pt x="30" y="173"/>
                  </a:lnTo>
                  <a:lnTo>
                    <a:pt x="32" y="171"/>
                  </a:lnTo>
                  <a:lnTo>
                    <a:pt x="33" y="168"/>
                  </a:lnTo>
                  <a:lnTo>
                    <a:pt x="34" y="164"/>
                  </a:lnTo>
                  <a:lnTo>
                    <a:pt x="34" y="162"/>
                  </a:lnTo>
                  <a:lnTo>
                    <a:pt x="33" y="159"/>
                  </a:lnTo>
                  <a:lnTo>
                    <a:pt x="31" y="146"/>
                  </a:lnTo>
                  <a:lnTo>
                    <a:pt x="30" y="135"/>
                  </a:lnTo>
                  <a:lnTo>
                    <a:pt x="31" y="124"/>
                  </a:lnTo>
                  <a:lnTo>
                    <a:pt x="32" y="113"/>
                  </a:lnTo>
                  <a:lnTo>
                    <a:pt x="35" y="104"/>
                  </a:lnTo>
                  <a:lnTo>
                    <a:pt x="38" y="93"/>
                  </a:lnTo>
                  <a:lnTo>
                    <a:pt x="43" y="84"/>
                  </a:lnTo>
                  <a:lnTo>
                    <a:pt x="48" y="76"/>
                  </a:lnTo>
                  <a:lnTo>
                    <a:pt x="54" y="67"/>
                  </a:lnTo>
                  <a:lnTo>
                    <a:pt x="61" y="60"/>
                  </a:lnTo>
                  <a:lnTo>
                    <a:pt x="68" y="53"/>
                  </a:lnTo>
                  <a:lnTo>
                    <a:pt x="77" y="47"/>
                  </a:lnTo>
                  <a:lnTo>
                    <a:pt x="85" y="41"/>
                  </a:lnTo>
                  <a:lnTo>
                    <a:pt x="94" y="37"/>
                  </a:lnTo>
                  <a:lnTo>
                    <a:pt x="104" y="34"/>
                  </a:lnTo>
                  <a:lnTo>
                    <a:pt x="114" y="32"/>
                  </a:lnTo>
                  <a:lnTo>
                    <a:pt x="125" y="30"/>
                  </a:lnTo>
                  <a:lnTo>
                    <a:pt x="136" y="30"/>
                  </a:lnTo>
                  <a:lnTo>
                    <a:pt x="146" y="30"/>
                  </a:lnTo>
                  <a:lnTo>
                    <a:pt x="156" y="32"/>
                  </a:lnTo>
                  <a:lnTo>
                    <a:pt x="167" y="34"/>
                  </a:lnTo>
                  <a:lnTo>
                    <a:pt x="176" y="37"/>
                  </a:lnTo>
                  <a:lnTo>
                    <a:pt x="185" y="41"/>
                  </a:lnTo>
                  <a:lnTo>
                    <a:pt x="193" y="47"/>
                  </a:lnTo>
                  <a:lnTo>
                    <a:pt x="202" y="53"/>
                  </a:lnTo>
                  <a:lnTo>
                    <a:pt x="209" y="60"/>
                  </a:lnTo>
                  <a:lnTo>
                    <a:pt x="216" y="67"/>
                  </a:lnTo>
                  <a:lnTo>
                    <a:pt x="222" y="76"/>
                  </a:lnTo>
                  <a:lnTo>
                    <a:pt x="228" y="84"/>
                  </a:lnTo>
                  <a:lnTo>
                    <a:pt x="232" y="94"/>
                  </a:lnTo>
                  <a:lnTo>
                    <a:pt x="235" y="104"/>
                  </a:lnTo>
                  <a:lnTo>
                    <a:pt x="238" y="113"/>
                  </a:lnTo>
                  <a:lnTo>
                    <a:pt x="239" y="124"/>
                  </a:lnTo>
                  <a:lnTo>
                    <a:pt x="240" y="135"/>
                  </a:lnTo>
                  <a:lnTo>
                    <a:pt x="239" y="147"/>
                  </a:lnTo>
                  <a:lnTo>
                    <a:pt x="236" y="160"/>
                  </a:lnTo>
                  <a:lnTo>
                    <a:pt x="236" y="163"/>
                  </a:lnTo>
                  <a:lnTo>
                    <a:pt x="236" y="167"/>
                  </a:lnTo>
                  <a:lnTo>
                    <a:pt x="237" y="170"/>
                  </a:lnTo>
                  <a:lnTo>
                    <a:pt x="238" y="172"/>
                  </a:lnTo>
                  <a:lnTo>
                    <a:pt x="240" y="174"/>
                  </a:lnTo>
                  <a:lnTo>
                    <a:pt x="243" y="176"/>
                  </a:lnTo>
                  <a:lnTo>
                    <a:pt x="245" y="178"/>
                  </a:lnTo>
                  <a:lnTo>
                    <a:pt x="247"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132">
            <a:extLst>
              <a:ext uri="{FF2B5EF4-FFF2-40B4-BE49-F238E27FC236}">
                <a16:creationId xmlns:a16="http://schemas.microsoft.com/office/drawing/2014/main" id="{38F220BB-A999-4141-8680-1F2CC24BFCFC}"/>
              </a:ext>
            </a:extLst>
          </p:cNvPr>
          <p:cNvSpPr>
            <a:spLocks noChangeAspect="1" noEditPoints="1"/>
          </p:cNvSpPr>
          <p:nvPr/>
        </p:nvSpPr>
        <p:spPr bwMode="auto">
          <a:xfrm>
            <a:off x="5796687" y="4879041"/>
            <a:ext cx="276152" cy="285619"/>
          </a:xfrm>
          <a:custGeom>
            <a:avLst/>
            <a:gdLst>
              <a:gd name="T0" fmla="*/ 710 w 873"/>
              <a:gd name="T1" fmla="*/ 846 h 903"/>
              <a:gd name="T2" fmla="*/ 696 w 873"/>
              <a:gd name="T3" fmla="*/ 776 h 903"/>
              <a:gd name="T4" fmla="*/ 745 w 873"/>
              <a:gd name="T5" fmla="*/ 726 h 903"/>
              <a:gd name="T6" fmla="*/ 815 w 873"/>
              <a:gd name="T7" fmla="*/ 740 h 903"/>
              <a:gd name="T8" fmla="*/ 843 w 873"/>
              <a:gd name="T9" fmla="*/ 806 h 903"/>
              <a:gd name="T10" fmla="*/ 803 w 873"/>
              <a:gd name="T11" fmla="*/ 865 h 903"/>
              <a:gd name="T12" fmla="*/ 506 w 873"/>
              <a:gd name="T13" fmla="*/ 827 h 903"/>
              <a:gd name="T14" fmla="*/ 452 w 873"/>
              <a:gd name="T15" fmla="*/ 872 h 903"/>
              <a:gd name="T16" fmla="*/ 383 w 873"/>
              <a:gd name="T17" fmla="*/ 852 h 903"/>
              <a:gd name="T18" fmla="*/ 363 w 873"/>
              <a:gd name="T19" fmla="*/ 783 h 903"/>
              <a:gd name="T20" fmla="*/ 408 w 873"/>
              <a:gd name="T21" fmla="*/ 729 h 903"/>
              <a:gd name="T22" fmla="*/ 478 w 873"/>
              <a:gd name="T23" fmla="*/ 736 h 903"/>
              <a:gd name="T24" fmla="*/ 512 w 873"/>
              <a:gd name="T25" fmla="*/ 798 h 903"/>
              <a:gd name="T26" fmla="*/ 153 w 873"/>
              <a:gd name="T27" fmla="*/ 856 h 903"/>
              <a:gd name="T28" fmla="*/ 83 w 873"/>
              <a:gd name="T29" fmla="*/ 870 h 903"/>
              <a:gd name="T30" fmla="*/ 33 w 873"/>
              <a:gd name="T31" fmla="*/ 821 h 903"/>
              <a:gd name="T32" fmla="*/ 47 w 873"/>
              <a:gd name="T33" fmla="*/ 751 h 903"/>
              <a:gd name="T34" fmla="*/ 113 w 873"/>
              <a:gd name="T35" fmla="*/ 723 h 903"/>
              <a:gd name="T36" fmla="*/ 172 w 873"/>
              <a:gd name="T37" fmla="*/ 763 h 903"/>
              <a:gd name="T38" fmla="*/ 367 w 873"/>
              <a:gd name="T39" fmla="*/ 76 h 903"/>
              <a:gd name="T40" fmla="*/ 421 w 873"/>
              <a:gd name="T41" fmla="*/ 32 h 903"/>
              <a:gd name="T42" fmla="*/ 490 w 873"/>
              <a:gd name="T43" fmla="*/ 53 h 903"/>
              <a:gd name="T44" fmla="*/ 511 w 873"/>
              <a:gd name="T45" fmla="*/ 121 h 903"/>
              <a:gd name="T46" fmla="*/ 465 w 873"/>
              <a:gd name="T47" fmla="*/ 175 h 903"/>
              <a:gd name="T48" fmla="*/ 395 w 873"/>
              <a:gd name="T49" fmla="*/ 169 h 903"/>
              <a:gd name="T50" fmla="*/ 361 w 873"/>
              <a:gd name="T51" fmla="*/ 106 h 903"/>
              <a:gd name="T52" fmla="*/ 715 w 873"/>
              <a:gd name="T53" fmla="*/ 547 h 903"/>
              <a:gd name="T54" fmla="*/ 607 w 873"/>
              <a:gd name="T55" fmla="*/ 490 h 903"/>
              <a:gd name="T56" fmla="*/ 479 w 873"/>
              <a:gd name="T57" fmla="*/ 202 h 903"/>
              <a:gd name="T58" fmla="*/ 538 w 873"/>
              <a:gd name="T59" fmla="*/ 134 h 903"/>
              <a:gd name="T60" fmla="*/ 518 w 873"/>
              <a:gd name="T61" fmla="*/ 39 h 903"/>
              <a:gd name="T62" fmla="*/ 426 w 873"/>
              <a:gd name="T63" fmla="*/ 1 h 903"/>
              <a:gd name="T64" fmla="*/ 344 w 873"/>
              <a:gd name="T65" fmla="*/ 56 h 903"/>
              <a:gd name="T66" fmla="*/ 342 w 873"/>
              <a:gd name="T67" fmla="*/ 152 h 903"/>
              <a:gd name="T68" fmla="*/ 412 w 873"/>
              <a:gd name="T69" fmla="*/ 208 h 903"/>
              <a:gd name="T70" fmla="*/ 180 w 873"/>
              <a:gd name="T71" fmla="*/ 529 h 903"/>
              <a:gd name="T72" fmla="*/ 95 w 873"/>
              <a:gd name="T73" fmla="*/ 661 h 903"/>
              <a:gd name="T74" fmla="*/ 32 w 873"/>
              <a:gd name="T75" fmla="*/ 722 h 903"/>
              <a:gd name="T76" fmla="*/ 1 w 873"/>
              <a:gd name="T77" fmla="*/ 809 h 903"/>
              <a:gd name="T78" fmla="*/ 55 w 873"/>
              <a:gd name="T79" fmla="*/ 891 h 903"/>
              <a:gd name="T80" fmla="*/ 156 w 873"/>
              <a:gd name="T81" fmla="*/ 891 h 903"/>
              <a:gd name="T82" fmla="*/ 210 w 873"/>
              <a:gd name="T83" fmla="*/ 809 h 903"/>
              <a:gd name="T84" fmla="*/ 179 w 873"/>
              <a:gd name="T85" fmla="*/ 723 h 903"/>
              <a:gd name="T86" fmla="*/ 133 w 873"/>
              <a:gd name="T87" fmla="*/ 637 h 903"/>
              <a:gd name="T88" fmla="*/ 268 w 873"/>
              <a:gd name="T89" fmla="*/ 520 h 903"/>
              <a:gd name="T90" fmla="*/ 378 w 873"/>
              <a:gd name="T91" fmla="*/ 711 h 903"/>
              <a:gd name="T92" fmla="*/ 331 w 873"/>
              <a:gd name="T93" fmla="*/ 788 h 903"/>
              <a:gd name="T94" fmla="*/ 370 w 873"/>
              <a:gd name="T95" fmla="*/ 880 h 903"/>
              <a:gd name="T96" fmla="*/ 468 w 873"/>
              <a:gd name="T97" fmla="*/ 899 h 903"/>
              <a:gd name="T98" fmla="*/ 537 w 873"/>
              <a:gd name="T99" fmla="*/ 829 h 903"/>
              <a:gd name="T100" fmla="*/ 521 w 873"/>
              <a:gd name="T101" fmla="*/ 736 h 903"/>
              <a:gd name="T102" fmla="*/ 452 w 873"/>
              <a:gd name="T103" fmla="*/ 513 h 903"/>
              <a:gd name="T104" fmla="*/ 640 w 873"/>
              <a:gd name="T105" fmla="*/ 533 h 903"/>
              <a:gd name="T106" fmla="*/ 731 w 873"/>
              <a:gd name="T107" fmla="*/ 617 h 903"/>
              <a:gd name="T108" fmla="*/ 709 w 873"/>
              <a:gd name="T109" fmla="*/ 711 h 903"/>
              <a:gd name="T110" fmla="*/ 663 w 873"/>
              <a:gd name="T111" fmla="*/ 788 h 903"/>
              <a:gd name="T112" fmla="*/ 700 w 873"/>
              <a:gd name="T113" fmla="*/ 880 h 903"/>
              <a:gd name="T114" fmla="*/ 799 w 873"/>
              <a:gd name="T115" fmla="*/ 899 h 903"/>
              <a:gd name="T116" fmla="*/ 869 w 873"/>
              <a:gd name="T117" fmla="*/ 829 h 903"/>
              <a:gd name="T118" fmla="*/ 853 w 873"/>
              <a:gd name="T119" fmla="*/ 73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3" h="903">
                <a:moveTo>
                  <a:pt x="768" y="873"/>
                </a:moveTo>
                <a:lnTo>
                  <a:pt x="760" y="873"/>
                </a:lnTo>
                <a:lnTo>
                  <a:pt x="753" y="872"/>
                </a:lnTo>
                <a:lnTo>
                  <a:pt x="745" y="870"/>
                </a:lnTo>
                <a:lnTo>
                  <a:pt x="738" y="868"/>
                </a:lnTo>
                <a:lnTo>
                  <a:pt x="731" y="865"/>
                </a:lnTo>
                <a:lnTo>
                  <a:pt x="726" y="860"/>
                </a:lnTo>
                <a:lnTo>
                  <a:pt x="720" y="856"/>
                </a:lnTo>
                <a:lnTo>
                  <a:pt x="714" y="852"/>
                </a:lnTo>
                <a:lnTo>
                  <a:pt x="710" y="846"/>
                </a:lnTo>
                <a:lnTo>
                  <a:pt x="706" y="840"/>
                </a:lnTo>
                <a:lnTo>
                  <a:pt x="701" y="835"/>
                </a:lnTo>
                <a:lnTo>
                  <a:pt x="698" y="827"/>
                </a:lnTo>
                <a:lnTo>
                  <a:pt x="696" y="821"/>
                </a:lnTo>
                <a:lnTo>
                  <a:pt x="694" y="813"/>
                </a:lnTo>
                <a:lnTo>
                  <a:pt x="693" y="806"/>
                </a:lnTo>
                <a:lnTo>
                  <a:pt x="693" y="798"/>
                </a:lnTo>
                <a:lnTo>
                  <a:pt x="693" y="791"/>
                </a:lnTo>
                <a:lnTo>
                  <a:pt x="694" y="783"/>
                </a:lnTo>
                <a:lnTo>
                  <a:pt x="696" y="776"/>
                </a:lnTo>
                <a:lnTo>
                  <a:pt x="698" y="769"/>
                </a:lnTo>
                <a:lnTo>
                  <a:pt x="701" y="763"/>
                </a:lnTo>
                <a:lnTo>
                  <a:pt x="706" y="756"/>
                </a:lnTo>
                <a:lnTo>
                  <a:pt x="710" y="751"/>
                </a:lnTo>
                <a:lnTo>
                  <a:pt x="714" y="745"/>
                </a:lnTo>
                <a:lnTo>
                  <a:pt x="720" y="740"/>
                </a:lnTo>
                <a:lnTo>
                  <a:pt x="726" y="736"/>
                </a:lnTo>
                <a:lnTo>
                  <a:pt x="731" y="733"/>
                </a:lnTo>
                <a:lnTo>
                  <a:pt x="738" y="729"/>
                </a:lnTo>
                <a:lnTo>
                  <a:pt x="745" y="726"/>
                </a:lnTo>
                <a:lnTo>
                  <a:pt x="753" y="724"/>
                </a:lnTo>
                <a:lnTo>
                  <a:pt x="760" y="723"/>
                </a:lnTo>
                <a:lnTo>
                  <a:pt x="768" y="723"/>
                </a:lnTo>
                <a:lnTo>
                  <a:pt x="775" y="723"/>
                </a:lnTo>
                <a:lnTo>
                  <a:pt x="783" y="724"/>
                </a:lnTo>
                <a:lnTo>
                  <a:pt x="790" y="726"/>
                </a:lnTo>
                <a:lnTo>
                  <a:pt x="797" y="729"/>
                </a:lnTo>
                <a:lnTo>
                  <a:pt x="803" y="733"/>
                </a:lnTo>
                <a:lnTo>
                  <a:pt x="810" y="736"/>
                </a:lnTo>
                <a:lnTo>
                  <a:pt x="815" y="740"/>
                </a:lnTo>
                <a:lnTo>
                  <a:pt x="820" y="745"/>
                </a:lnTo>
                <a:lnTo>
                  <a:pt x="826" y="751"/>
                </a:lnTo>
                <a:lnTo>
                  <a:pt x="830" y="756"/>
                </a:lnTo>
                <a:lnTo>
                  <a:pt x="833" y="763"/>
                </a:lnTo>
                <a:lnTo>
                  <a:pt x="837" y="769"/>
                </a:lnTo>
                <a:lnTo>
                  <a:pt x="840" y="776"/>
                </a:lnTo>
                <a:lnTo>
                  <a:pt x="842" y="783"/>
                </a:lnTo>
                <a:lnTo>
                  <a:pt x="843" y="791"/>
                </a:lnTo>
                <a:lnTo>
                  <a:pt x="843" y="798"/>
                </a:lnTo>
                <a:lnTo>
                  <a:pt x="843" y="806"/>
                </a:lnTo>
                <a:lnTo>
                  <a:pt x="842" y="813"/>
                </a:lnTo>
                <a:lnTo>
                  <a:pt x="840" y="821"/>
                </a:lnTo>
                <a:lnTo>
                  <a:pt x="837" y="827"/>
                </a:lnTo>
                <a:lnTo>
                  <a:pt x="833" y="835"/>
                </a:lnTo>
                <a:lnTo>
                  <a:pt x="830" y="840"/>
                </a:lnTo>
                <a:lnTo>
                  <a:pt x="826" y="846"/>
                </a:lnTo>
                <a:lnTo>
                  <a:pt x="820" y="852"/>
                </a:lnTo>
                <a:lnTo>
                  <a:pt x="815" y="856"/>
                </a:lnTo>
                <a:lnTo>
                  <a:pt x="810" y="860"/>
                </a:lnTo>
                <a:lnTo>
                  <a:pt x="803" y="865"/>
                </a:lnTo>
                <a:lnTo>
                  <a:pt x="797" y="868"/>
                </a:lnTo>
                <a:lnTo>
                  <a:pt x="790" y="870"/>
                </a:lnTo>
                <a:lnTo>
                  <a:pt x="783" y="872"/>
                </a:lnTo>
                <a:lnTo>
                  <a:pt x="775" y="873"/>
                </a:lnTo>
                <a:lnTo>
                  <a:pt x="768" y="873"/>
                </a:lnTo>
                <a:close/>
                <a:moveTo>
                  <a:pt x="512" y="798"/>
                </a:moveTo>
                <a:lnTo>
                  <a:pt x="512" y="806"/>
                </a:lnTo>
                <a:lnTo>
                  <a:pt x="511" y="813"/>
                </a:lnTo>
                <a:lnTo>
                  <a:pt x="508" y="821"/>
                </a:lnTo>
                <a:lnTo>
                  <a:pt x="506" y="827"/>
                </a:lnTo>
                <a:lnTo>
                  <a:pt x="503" y="835"/>
                </a:lnTo>
                <a:lnTo>
                  <a:pt x="499" y="840"/>
                </a:lnTo>
                <a:lnTo>
                  <a:pt x="494" y="846"/>
                </a:lnTo>
                <a:lnTo>
                  <a:pt x="490" y="852"/>
                </a:lnTo>
                <a:lnTo>
                  <a:pt x="485" y="856"/>
                </a:lnTo>
                <a:lnTo>
                  <a:pt x="478" y="860"/>
                </a:lnTo>
                <a:lnTo>
                  <a:pt x="472" y="865"/>
                </a:lnTo>
                <a:lnTo>
                  <a:pt x="465" y="868"/>
                </a:lnTo>
                <a:lnTo>
                  <a:pt x="459" y="870"/>
                </a:lnTo>
                <a:lnTo>
                  <a:pt x="452" y="872"/>
                </a:lnTo>
                <a:lnTo>
                  <a:pt x="444" y="873"/>
                </a:lnTo>
                <a:lnTo>
                  <a:pt x="437" y="873"/>
                </a:lnTo>
                <a:lnTo>
                  <a:pt x="429" y="873"/>
                </a:lnTo>
                <a:lnTo>
                  <a:pt x="421" y="872"/>
                </a:lnTo>
                <a:lnTo>
                  <a:pt x="414" y="870"/>
                </a:lnTo>
                <a:lnTo>
                  <a:pt x="408" y="868"/>
                </a:lnTo>
                <a:lnTo>
                  <a:pt x="401" y="865"/>
                </a:lnTo>
                <a:lnTo>
                  <a:pt x="395" y="860"/>
                </a:lnTo>
                <a:lnTo>
                  <a:pt x="388" y="856"/>
                </a:lnTo>
                <a:lnTo>
                  <a:pt x="383" y="852"/>
                </a:lnTo>
                <a:lnTo>
                  <a:pt x="379" y="846"/>
                </a:lnTo>
                <a:lnTo>
                  <a:pt x="374" y="840"/>
                </a:lnTo>
                <a:lnTo>
                  <a:pt x="370" y="835"/>
                </a:lnTo>
                <a:lnTo>
                  <a:pt x="367" y="827"/>
                </a:lnTo>
                <a:lnTo>
                  <a:pt x="365" y="821"/>
                </a:lnTo>
                <a:lnTo>
                  <a:pt x="363" y="813"/>
                </a:lnTo>
                <a:lnTo>
                  <a:pt x="361" y="806"/>
                </a:lnTo>
                <a:lnTo>
                  <a:pt x="361" y="798"/>
                </a:lnTo>
                <a:lnTo>
                  <a:pt x="361" y="791"/>
                </a:lnTo>
                <a:lnTo>
                  <a:pt x="363" y="783"/>
                </a:lnTo>
                <a:lnTo>
                  <a:pt x="365" y="776"/>
                </a:lnTo>
                <a:lnTo>
                  <a:pt x="367" y="769"/>
                </a:lnTo>
                <a:lnTo>
                  <a:pt x="370" y="763"/>
                </a:lnTo>
                <a:lnTo>
                  <a:pt x="374" y="756"/>
                </a:lnTo>
                <a:lnTo>
                  <a:pt x="379" y="751"/>
                </a:lnTo>
                <a:lnTo>
                  <a:pt x="383" y="745"/>
                </a:lnTo>
                <a:lnTo>
                  <a:pt x="388" y="740"/>
                </a:lnTo>
                <a:lnTo>
                  <a:pt x="395" y="736"/>
                </a:lnTo>
                <a:lnTo>
                  <a:pt x="401" y="733"/>
                </a:lnTo>
                <a:lnTo>
                  <a:pt x="408" y="729"/>
                </a:lnTo>
                <a:lnTo>
                  <a:pt x="414" y="726"/>
                </a:lnTo>
                <a:lnTo>
                  <a:pt x="421" y="724"/>
                </a:lnTo>
                <a:lnTo>
                  <a:pt x="429" y="723"/>
                </a:lnTo>
                <a:lnTo>
                  <a:pt x="437" y="723"/>
                </a:lnTo>
                <a:lnTo>
                  <a:pt x="444" y="723"/>
                </a:lnTo>
                <a:lnTo>
                  <a:pt x="452" y="724"/>
                </a:lnTo>
                <a:lnTo>
                  <a:pt x="459" y="726"/>
                </a:lnTo>
                <a:lnTo>
                  <a:pt x="465" y="729"/>
                </a:lnTo>
                <a:lnTo>
                  <a:pt x="472" y="733"/>
                </a:lnTo>
                <a:lnTo>
                  <a:pt x="478" y="736"/>
                </a:lnTo>
                <a:lnTo>
                  <a:pt x="485" y="740"/>
                </a:lnTo>
                <a:lnTo>
                  <a:pt x="490" y="745"/>
                </a:lnTo>
                <a:lnTo>
                  <a:pt x="494" y="751"/>
                </a:lnTo>
                <a:lnTo>
                  <a:pt x="499" y="756"/>
                </a:lnTo>
                <a:lnTo>
                  <a:pt x="503" y="763"/>
                </a:lnTo>
                <a:lnTo>
                  <a:pt x="506" y="769"/>
                </a:lnTo>
                <a:lnTo>
                  <a:pt x="508" y="776"/>
                </a:lnTo>
                <a:lnTo>
                  <a:pt x="511" y="783"/>
                </a:lnTo>
                <a:lnTo>
                  <a:pt x="512" y="791"/>
                </a:lnTo>
                <a:lnTo>
                  <a:pt x="512" y="798"/>
                </a:lnTo>
                <a:close/>
                <a:moveTo>
                  <a:pt x="180" y="798"/>
                </a:moveTo>
                <a:lnTo>
                  <a:pt x="180" y="806"/>
                </a:lnTo>
                <a:lnTo>
                  <a:pt x="179" y="813"/>
                </a:lnTo>
                <a:lnTo>
                  <a:pt x="177" y="821"/>
                </a:lnTo>
                <a:lnTo>
                  <a:pt x="175" y="827"/>
                </a:lnTo>
                <a:lnTo>
                  <a:pt x="172" y="835"/>
                </a:lnTo>
                <a:lnTo>
                  <a:pt x="167" y="840"/>
                </a:lnTo>
                <a:lnTo>
                  <a:pt x="163" y="846"/>
                </a:lnTo>
                <a:lnTo>
                  <a:pt x="159" y="852"/>
                </a:lnTo>
                <a:lnTo>
                  <a:pt x="153" y="856"/>
                </a:lnTo>
                <a:lnTo>
                  <a:pt x="147" y="860"/>
                </a:lnTo>
                <a:lnTo>
                  <a:pt x="142" y="865"/>
                </a:lnTo>
                <a:lnTo>
                  <a:pt x="135" y="868"/>
                </a:lnTo>
                <a:lnTo>
                  <a:pt x="128" y="870"/>
                </a:lnTo>
                <a:lnTo>
                  <a:pt x="120" y="872"/>
                </a:lnTo>
                <a:lnTo>
                  <a:pt x="113" y="873"/>
                </a:lnTo>
                <a:lnTo>
                  <a:pt x="105" y="873"/>
                </a:lnTo>
                <a:lnTo>
                  <a:pt x="98" y="873"/>
                </a:lnTo>
                <a:lnTo>
                  <a:pt x="90" y="872"/>
                </a:lnTo>
                <a:lnTo>
                  <a:pt x="83" y="870"/>
                </a:lnTo>
                <a:lnTo>
                  <a:pt x="76" y="868"/>
                </a:lnTo>
                <a:lnTo>
                  <a:pt x="70" y="865"/>
                </a:lnTo>
                <a:lnTo>
                  <a:pt x="63" y="860"/>
                </a:lnTo>
                <a:lnTo>
                  <a:pt x="58" y="856"/>
                </a:lnTo>
                <a:lnTo>
                  <a:pt x="53" y="852"/>
                </a:lnTo>
                <a:lnTo>
                  <a:pt x="47" y="846"/>
                </a:lnTo>
                <a:lnTo>
                  <a:pt x="43" y="840"/>
                </a:lnTo>
                <a:lnTo>
                  <a:pt x="40" y="835"/>
                </a:lnTo>
                <a:lnTo>
                  <a:pt x="36" y="827"/>
                </a:lnTo>
                <a:lnTo>
                  <a:pt x="33" y="821"/>
                </a:lnTo>
                <a:lnTo>
                  <a:pt x="32" y="813"/>
                </a:lnTo>
                <a:lnTo>
                  <a:pt x="30" y="806"/>
                </a:lnTo>
                <a:lnTo>
                  <a:pt x="30" y="798"/>
                </a:lnTo>
                <a:lnTo>
                  <a:pt x="30" y="791"/>
                </a:lnTo>
                <a:lnTo>
                  <a:pt x="32" y="783"/>
                </a:lnTo>
                <a:lnTo>
                  <a:pt x="33" y="776"/>
                </a:lnTo>
                <a:lnTo>
                  <a:pt x="36" y="769"/>
                </a:lnTo>
                <a:lnTo>
                  <a:pt x="40" y="763"/>
                </a:lnTo>
                <a:lnTo>
                  <a:pt x="43" y="756"/>
                </a:lnTo>
                <a:lnTo>
                  <a:pt x="47" y="751"/>
                </a:lnTo>
                <a:lnTo>
                  <a:pt x="53" y="745"/>
                </a:lnTo>
                <a:lnTo>
                  <a:pt x="58" y="740"/>
                </a:lnTo>
                <a:lnTo>
                  <a:pt x="63" y="736"/>
                </a:lnTo>
                <a:lnTo>
                  <a:pt x="70" y="733"/>
                </a:lnTo>
                <a:lnTo>
                  <a:pt x="76" y="729"/>
                </a:lnTo>
                <a:lnTo>
                  <a:pt x="83" y="726"/>
                </a:lnTo>
                <a:lnTo>
                  <a:pt x="90" y="724"/>
                </a:lnTo>
                <a:lnTo>
                  <a:pt x="98" y="723"/>
                </a:lnTo>
                <a:lnTo>
                  <a:pt x="105" y="723"/>
                </a:lnTo>
                <a:lnTo>
                  <a:pt x="113" y="723"/>
                </a:lnTo>
                <a:lnTo>
                  <a:pt x="120" y="724"/>
                </a:lnTo>
                <a:lnTo>
                  <a:pt x="128" y="726"/>
                </a:lnTo>
                <a:lnTo>
                  <a:pt x="135" y="729"/>
                </a:lnTo>
                <a:lnTo>
                  <a:pt x="142" y="733"/>
                </a:lnTo>
                <a:lnTo>
                  <a:pt x="147" y="736"/>
                </a:lnTo>
                <a:lnTo>
                  <a:pt x="153" y="740"/>
                </a:lnTo>
                <a:lnTo>
                  <a:pt x="159" y="745"/>
                </a:lnTo>
                <a:lnTo>
                  <a:pt x="163" y="751"/>
                </a:lnTo>
                <a:lnTo>
                  <a:pt x="167" y="756"/>
                </a:lnTo>
                <a:lnTo>
                  <a:pt x="172" y="763"/>
                </a:lnTo>
                <a:lnTo>
                  <a:pt x="175" y="769"/>
                </a:lnTo>
                <a:lnTo>
                  <a:pt x="177" y="776"/>
                </a:lnTo>
                <a:lnTo>
                  <a:pt x="179" y="783"/>
                </a:lnTo>
                <a:lnTo>
                  <a:pt x="180" y="791"/>
                </a:lnTo>
                <a:lnTo>
                  <a:pt x="180" y="798"/>
                </a:lnTo>
                <a:close/>
                <a:moveTo>
                  <a:pt x="361" y="106"/>
                </a:moveTo>
                <a:lnTo>
                  <a:pt x="361" y="98"/>
                </a:lnTo>
                <a:lnTo>
                  <a:pt x="363" y="90"/>
                </a:lnTo>
                <a:lnTo>
                  <a:pt x="365" y="84"/>
                </a:lnTo>
                <a:lnTo>
                  <a:pt x="367" y="76"/>
                </a:lnTo>
                <a:lnTo>
                  <a:pt x="370" y="70"/>
                </a:lnTo>
                <a:lnTo>
                  <a:pt x="374" y="63"/>
                </a:lnTo>
                <a:lnTo>
                  <a:pt x="379" y="58"/>
                </a:lnTo>
                <a:lnTo>
                  <a:pt x="383" y="53"/>
                </a:lnTo>
                <a:lnTo>
                  <a:pt x="388" y="47"/>
                </a:lnTo>
                <a:lnTo>
                  <a:pt x="395" y="43"/>
                </a:lnTo>
                <a:lnTo>
                  <a:pt x="401" y="40"/>
                </a:lnTo>
                <a:lnTo>
                  <a:pt x="408" y="37"/>
                </a:lnTo>
                <a:lnTo>
                  <a:pt x="414" y="35"/>
                </a:lnTo>
                <a:lnTo>
                  <a:pt x="421" y="32"/>
                </a:lnTo>
                <a:lnTo>
                  <a:pt x="429" y="31"/>
                </a:lnTo>
                <a:lnTo>
                  <a:pt x="437" y="30"/>
                </a:lnTo>
                <a:lnTo>
                  <a:pt x="444" y="31"/>
                </a:lnTo>
                <a:lnTo>
                  <a:pt x="452" y="32"/>
                </a:lnTo>
                <a:lnTo>
                  <a:pt x="459" y="35"/>
                </a:lnTo>
                <a:lnTo>
                  <a:pt x="465" y="37"/>
                </a:lnTo>
                <a:lnTo>
                  <a:pt x="472" y="40"/>
                </a:lnTo>
                <a:lnTo>
                  <a:pt x="478" y="43"/>
                </a:lnTo>
                <a:lnTo>
                  <a:pt x="485" y="47"/>
                </a:lnTo>
                <a:lnTo>
                  <a:pt x="490" y="53"/>
                </a:lnTo>
                <a:lnTo>
                  <a:pt x="494" y="58"/>
                </a:lnTo>
                <a:lnTo>
                  <a:pt x="499" y="63"/>
                </a:lnTo>
                <a:lnTo>
                  <a:pt x="503" y="70"/>
                </a:lnTo>
                <a:lnTo>
                  <a:pt x="506" y="76"/>
                </a:lnTo>
                <a:lnTo>
                  <a:pt x="508" y="84"/>
                </a:lnTo>
                <a:lnTo>
                  <a:pt x="511" y="90"/>
                </a:lnTo>
                <a:lnTo>
                  <a:pt x="512" y="98"/>
                </a:lnTo>
                <a:lnTo>
                  <a:pt x="512" y="106"/>
                </a:lnTo>
                <a:lnTo>
                  <a:pt x="512" y="114"/>
                </a:lnTo>
                <a:lnTo>
                  <a:pt x="511" y="121"/>
                </a:lnTo>
                <a:lnTo>
                  <a:pt x="508" y="128"/>
                </a:lnTo>
                <a:lnTo>
                  <a:pt x="506" y="135"/>
                </a:lnTo>
                <a:lnTo>
                  <a:pt x="503" y="142"/>
                </a:lnTo>
                <a:lnTo>
                  <a:pt x="499" y="148"/>
                </a:lnTo>
                <a:lnTo>
                  <a:pt x="494" y="154"/>
                </a:lnTo>
                <a:lnTo>
                  <a:pt x="490" y="159"/>
                </a:lnTo>
                <a:lnTo>
                  <a:pt x="485" y="164"/>
                </a:lnTo>
                <a:lnTo>
                  <a:pt x="478" y="169"/>
                </a:lnTo>
                <a:lnTo>
                  <a:pt x="472" y="172"/>
                </a:lnTo>
                <a:lnTo>
                  <a:pt x="465" y="175"/>
                </a:lnTo>
                <a:lnTo>
                  <a:pt x="459" y="178"/>
                </a:lnTo>
                <a:lnTo>
                  <a:pt x="452" y="179"/>
                </a:lnTo>
                <a:lnTo>
                  <a:pt x="444" y="180"/>
                </a:lnTo>
                <a:lnTo>
                  <a:pt x="437" y="181"/>
                </a:lnTo>
                <a:lnTo>
                  <a:pt x="429" y="180"/>
                </a:lnTo>
                <a:lnTo>
                  <a:pt x="421" y="179"/>
                </a:lnTo>
                <a:lnTo>
                  <a:pt x="414" y="178"/>
                </a:lnTo>
                <a:lnTo>
                  <a:pt x="408" y="175"/>
                </a:lnTo>
                <a:lnTo>
                  <a:pt x="401" y="172"/>
                </a:lnTo>
                <a:lnTo>
                  <a:pt x="395" y="169"/>
                </a:lnTo>
                <a:lnTo>
                  <a:pt x="388" y="164"/>
                </a:lnTo>
                <a:lnTo>
                  <a:pt x="383" y="159"/>
                </a:lnTo>
                <a:lnTo>
                  <a:pt x="379" y="154"/>
                </a:lnTo>
                <a:lnTo>
                  <a:pt x="374" y="148"/>
                </a:lnTo>
                <a:lnTo>
                  <a:pt x="370" y="142"/>
                </a:lnTo>
                <a:lnTo>
                  <a:pt x="367" y="135"/>
                </a:lnTo>
                <a:lnTo>
                  <a:pt x="365" y="128"/>
                </a:lnTo>
                <a:lnTo>
                  <a:pt x="363" y="121"/>
                </a:lnTo>
                <a:lnTo>
                  <a:pt x="361" y="114"/>
                </a:lnTo>
                <a:lnTo>
                  <a:pt x="361" y="106"/>
                </a:lnTo>
                <a:close/>
                <a:moveTo>
                  <a:pt x="783" y="694"/>
                </a:moveTo>
                <a:lnTo>
                  <a:pt x="781" y="675"/>
                </a:lnTo>
                <a:lnTo>
                  <a:pt x="778" y="656"/>
                </a:lnTo>
                <a:lnTo>
                  <a:pt x="773" y="638"/>
                </a:lnTo>
                <a:lnTo>
                  <a:pt x="767" y="620"/>
                </a:lnTo>
                <a:lnTo>
                  <a:pt x="758" y="603"/>
                </a:lnTo>
                <a:lnTo>
                  <a:pt x="749" y="587"/>
                </a:lnTo>
                <a:lnTo>
                  <a:pt x="737" y="571"/>
                </a:lnTo>
                <a:lnTo>
                  <a:pt x="724" y="556"/>
                </a:lnTo>
                <a:lnTo>
                  <a:pt x="715" y="547"/>
                </a:lnTo>
                <a:lnTo>
                  <a:pt x="706" y="540"/>
                </a:lnTo>
                <a:lnTo>
                  <a:pt x="696" y="531"/>
                </a:lnTo>
                <a:lnTo>
                  <a:pt x="686" y="525"/>
                </a:lnTo>
                <a:lnTo>
                  <a:pt x="676" y="518"/>
                </a:lnTo>
                <a:lnTo>
                  <a:pt x="665" y="512"/>
                </a:lnTo>
                <a:lnTo>
                  <a:pt x="654" y="506"/>
                </a:lnTo>
                <a:lnTo>
                  <a:pt x="642" y="501"/>
                </a:lnTo>
                <a:lnTo>
                  <a:pt x="631" y="497"/>
                </a:lnTo>
                <a:lnTo>
                  <a:pt x="619" y="493"/>
                </a:lnTo>
                <a:lnTo>
                  <a:pt x="607" y="490"/>
                </a:lnTo>
                <a:lnTo>
                  <a:pt x="594" y="487"/>
                </a:lnTo>
                <a:lnTo>
                  <a:pt x="581" y="485"/>
                </a:lnTo>
                <a:lnTo>
                  <a:pt x="568" y="484"/>
                </a:lnTo>
                <a:lnTo>
                  <a:pt x="556" y="483"/>
                </a:lnTo>
                <a:lnTo>
                  <a:pt x="542" y="483"/>
                </a:lnTo>
                <a:lnTo>
                  <a:pt x="452" y="482"/>
                </a:lnTo>
                <a:lnTo>
                  <a:pt x="452" y="210"/>
                </a:lnTo>
                <a:lnTo>
                  <a:pt x="461" y="208"/>
                </a:lnTo>
                <a:lnTo>
                  <a:pt x="470" y="206"/>
                </a:lnTo>
                <a:lnTo>
                  <a:pt x="479" y="202"/>
                </a:lnTo>
                <a:lnTo>
                  <a:pt x="487" y="199"/>
                </a:lnTo>
                <a:lnTo>
                  <a:pt x="495" y="193"/>
                </a:lnTo>
                <a:lnTo>
                  <a:pt x="503" y="188"/>
                </a:lnTo>
                <a:lnTo>
                  <a:pt x="509" y="181"/>
                </a:lnTo>
                <a:lnTo>
                  <a:pt x="516" y="175"/>
                </a:lnTo>
                <a:lnTo>
                  <a:pt x="521" y="168"/>
                </a:lnTo>
                <a:lnTo>
                  <a:pt x="527" y="160"/>
                </a:lnTo>
                <a:lnTo>
                  <a:pt x="531" y="152"/>
                </a:lnTo>
                <a:lnTo>
                  <a:pt x="535" y="144"/>
                </a:lnTo>
                <a:lnTo>
                  <a:pt x="538" y="134"/>
                </a:lnTo>
                <a:lnTo>
                  <a:pt x="541" y="126"/>
                </a:lnTo>
                <a:lnTo>
                  <a:pt x="542" y="116"/>
                </a:lnTo>
                <a:lnTo>
                  <a:pt x="542" y="106"/>
                </a:lnTo>
                <a:lnTo>
                  <a:pt x="542" y="96"/>
                </a:lnTo>
                <a:lnTo>
                  <a:pt x="539" y="85"/>
                </a:lnTo>
                <a:lnTo>
                  <a:pt x="537" y="74"/>
                </a:lnTo>
                <a:lnTo>
                  <a:pt x="534" y="65"/>
                </a:lnTo>
                <a:lnTo>
                  <a:pt x="529" y="56"/>
                </a:lnTo>
                <a:lnTo>
                  <a:pt x="523" y="47"/>
                </a:lnTo>
                <a:lnTo>
                  <a:pt x="518" y="39"/>
                </a:lnTo>
                <a:lnTo>
                  <a:pt x="511" y="31"/>
                </a:lnTo>
                <a:lnTo>
                  <a:pt x="503" y="25"/>
                </a:lnTo>
                <a:lnTo>
                  <a:pt x="495" y="18"/>
                </a:lnTo>
                <a:lnTo>
                  <a:pt x="487" y="13"/>
                </a:lnTo>
                <a:lnTo>
                  <a:pt x="477" y="9"/>
                </a:lnTo>
                <a:lnTo>
                  <a:pt x="468" y="6"/>
                </a:lnTo>
                <a:lnTo>
                  <a:pt x="458" y="2"/>
                </a:lnTo>
                <a:lnTo>
                  <a:pt x="447" y="1"/>
                </a:lnTo>
                <a:lnTo>
                  <a:pt x="437" y="0"/>
                </a:lnTo>
                <a:lnTo>
                  <a:pt x="426" y="1"/>
                </a:lnTo>
                <a:lnTo>
                  <a:pt x="415" y="2"/>
                </a:lnTo>
                <a:lnTo>
                  <a:pt x="405" y="6"/>
                </a:lnTo>
                <a:lnTo>
                  <a:pt x="396" y="9"/>
                </a:lnTo>
                <a:lnTo>
                  <a:pt x="386" y="13"/>
                </a:lnTo>
                <a:lnTo>
                  <a:pt x="378" y="18"/>
                </a:lnTo>
                <a:lnTo>
                  <a:pt x="370" y="25"/>
                </a:lnTo>
                <a:lnTo>
                  <a:pt x="363" y="31"/>
                </a:lnTo>
                <a:lnTo>
                  <a:pt x="355" y="39"/>
                </a:lnTo>
                <a:lnTo>
                  <a:pt x="350" y="47"/>
                </a:lnTo>
                <a:lnTo>
                  <a:pt x="344" y="56"/>
                </a:lnTo>
                <a:lnTo>
                  <a:pt x="340" y="65"/>
                </a:lnTo>
                <a:lnTo>
                  <a:pt x="336" y="74"/>
                </a:lnTo>
                <a:lnTo>
                  <a:pt x="334" y="85"/>
                </a:lnTo>
                <a:lnTo>
                  <a:pt x="331" y="96"/>
                </a:lnTo>
                <a:lnTo>
                  <a:pt x="331" y="106"/>
                </a:lnTo>
                <a:lnTo>
                  <a:pt x="331" y="116"/>
                </a:lnTo>
                <a:lnTo>
                  <a:pt x="332" y="126"/>
                </a:lnTo>
                <a:lnTo>
                  <a:pt x="335" y="134"/>
                </a:lnTo>
                <a:lnTo>
                  <a:pt x="338" y="144"/>
                </a:lnTo>
                <a:lnTo>
                  <a:pt x="342" y="152"/>
                </a:lnTo>
                <a:lnTo>
                  <a:pt x="346" y="160"/>
                </a:lnTo>
                <a:lnTo>
                  <a:pt x="352" y="168"/>
                </a:lnTo>
                <a:lnTo>
                  <a:pt x="357" y="175"/>
                </a:lnTo>
                <a:lnTo>
                  <a:pt x="364" y="181"/>
                </a:lnTo>
                <a:lnTo>
                  <a:pt x="370" y="188"/>
                </a:lnTo>
                <a:lnTo>
                  <a:pt x="378" y="193"/>
                </a:lnTo>
                <a:lnTo>
                  <a:pt x="386" y="199"/>
                </a:lnTo>
                <a:lnTo>
                  <a:pt x="395" y="202"/>
                </a:lnTo>
                <a:lnTo>
                  <a:pt x="403" y="206"/>
                </a:lnTo>
                <a:lnTo>
                  <a:pt x="412" y="208"/>
                </a:lnTo>
                <a:lnTo>
                  <a:pt x="421" y="210"/>
                </a:lnTo>
                <a:lnTo>
                  <a:pt x="421" y="482"/>
                </a:lnTo>
                <a:lnTo>
                  <a:pt x="331" y="482"/>
                </a:lnTo>
                <a:lnTo>
                  <a:pt x="307" y="483"/>
                </a:lnTo>
                <a:lnTo>
                  <a:pt x="282" y="486"/>
                </a:lnTo>
                <a:lnTo>
                  <a:pt x="260" y="491"/>
                </a:lnTo>
                <a:lnTo>
                  <a:pt x="238" y="498"/>
                </a:lnTo>
                <a:lnTo>
                  <a:pt x="218" y="506"/>
                </a:lnTo>
                <a:lnTo>
                  <a:pt x="198" y="517"/>
                </a:lnTo>
                <a:lnTo>
                  <a:pt x="180" y="529"/>
                </a:lnTo>
                <a:lnTo>
                  <a:pt x="163" y="542"/>
                </a:lnTo>
                <a:lnTo>
                  <a:pt x="148" y="557"/>
                </a:lnTo>
                <a:lnTo>
                  <a:pt x="134" y="573"/>
                </a:lnTo>
                <a:lnTo>
                  <a:pt x="122" y="590"/>
                </a:lnTo>
                <a:lnTo>
                  <a:pt x="113" y="609"/>
                </a:lnTo>
                <a:lnTo>
                  <a:pt x="108" y="619"/>
                </a:lnTo>
                <a:lnTo>
                  <a:pt x="104" y="629"/>
                </a:lnTo>
                <a:lnTo>
                  <a:pt x="101" y="639"/>
                </a:lnTo>
                <a:lnTo>
                  <a:pt x="98" y="649"/>
                </a:lnTo>
                <a:lnTo>
                  <a:pt x="95" y="661"/>
                </a:lnTo>
                <a:lnTo>
                  <a:pt x="93" y="672"/>
                </a:lnTo>
                <a:lnTo>
                  <a:pt x="92" y="682"/>
                </a:lnTo>
                <a:lnTo>
                  <a:pt x="91" y="694"/>
                </a:lnTo>
                <a:lnTo>
                  <a:pt x="82" y="696"/>
                </a:lnTo>
                <a:lnTo>
                  <a:pt x="72" y="698"/>
                </a:lnTo>
                <a:lnTo>
                  <a:pt x="63" y="702"/>
                </a:lnTo>
                <a:lnTo>
                  <a:pt x="55" y="706"/>
                </a:lnTo>
                <a:lnTo>
                  <a:pt x="47" y="710"/>
                </a:lnTo>
                <a:lnTo>
                  <a:pt x="40" y="717"/>
                </a:lnTo>
                <a:lnTo>
                  <a:pt x="32" y="722"/>
                </a:lnTo>
                <a:lnTo>
                  <a:pt x="26" y="728"/>
                </a:lnTo>
                <a:lnTo>
                  <a:pt x="20" y="736"/>
                </a:lnTo>
                <a:lnTo>
                  <a:pt x="15" y="743"/>
                </a:lnTo>
                <a:lnTo>
                  <a:pt x="11" y="752"/>
                </a:lnTo>
                <a:lnTo>
                  <a:pt x="8" y="761"/>
                </a:lnTo>
                <a:lnTo>
                  <a:pt x="4" y="769"/>
                </a:lnTo>
                <a:lnTo>
                  <a:pt x="2" y="779"/>
                </a:lnTo>
                <a:lnTo>
                  <a:pt x="0" y="788"/>
                </a:lnTo>
                <a:lnTo>
                  <a:pt x="0" y="798"/>
                </a:lnTo>
                <a:lnTo>
                  <a:pt x="1" y="809"/>
                </a:lnTo>
                <a:lnTo>
                  <a:pt x="2" y="819"/>
                </a:lnTo>
                <a:lnTo>
                  <a:pt x="4" y="829"/>
                </a:lnTo>
                <a:lnTo>
                  <a:pt x="9" y="839"/>
                </a:lnTo>
                <a:lnTo>
                  <a:pt x="13" y="848"/>
                </a:lnTo>
                <a:lnTo>
                  <a:pt x="18" y="857"/>
                </a:lnTo>
                <a:lnTo>
                  <a:pt x="24" y="866"/>
                </a:lnTo>
                <a:lnTo>
                  <a:pt x="31" y="873"/>
                </a:lnTo>
                <a:lnTo>
                  <a:pt x="39" y="880"/>
                </a:lnTo>
                <a:lnTo>
                  <a:pt x="46" y="886"/>
                </a:lnTo>
                <a:lnTo>
                  <a:pt x="55" y="891"/>
                </a:lnTo>
                <a:lnTo>
                  <a:pt x="64" y="896"/>
                </a:lnTo>
                <a:lnTo>
                  <a:pt x="74" y="899"/>
                </a:lnTo>
                <a:lnTo>
                  <a:pt x="84" y="901"/>
                </a:lnTo>
                <a:lnTo>
                  <a:pt x="94" y="903"/>
                </a:lnTo>
                <a:lnTo>
                  <a:pt x="105" y="903"/>
                </a:lnTo>
                <a:lnTo>
                  <a:pt x="116" y="903"/>
                </a:lnTo>
                <a:lnTo>
                  <a:pt x="127" y="901"/>
                </a:lnTo>
                <a:lnTo>
                  <a:pt x="136" y="899"/>
                </a:lnTo>
                <a:lnTo>
                  <a:pt x="146" y="896"/>
                </a:lnTo>
                <a:lnTo>
                  <a:pt x="156" y="891"/>
                </a:lnTo>
                <a:lnTo>
                  <a:pt x="164" y="886"/>
                </a:lnTo>
                <a:lnTo>
                  <a:pt x="173" y="880"/>
                </a:lnTo>
                <a:lnTo>
                  <a:pt x="180" y="873"/>
                </a:lnTo>
                <a:lnTo>
                  <a:pt x="187" y="866"/>
                </a:lnTo>
                <a:lnTo>
                  <a:pt x="193" y="857"/>
                </a:lnTo>
                <a:lnTo>
                  <a:pt x="198" y="848"/>
                </a:lnTo>
                <a:lnTo>
                  <a:pt x="203" y="839"/>
                </a:lnTo>
                <a:lnTo>
                  <a:pt x="206" y="829"/>
                </a:lnTo>
                <a:lnTo>
                  <a:pt x="208" y="819"/>
                </a:lnTo>
                <a:lnTo>
                  <a:pt x="210" y="809"/>
                </a:lnTo>
                <a:lnTo>
                  <a:pt x="210" y="798"/>
                </a:lnTo>
                <a:lnTo>
                  <a:pt x="210" y="788"/>
                </a:lnTo>
                <a:lnTo>
                  <a:pt x="209" y="779"/>
                </a:lnTo>
                <a:lnTo>
                  <a:pt x="207" y="770"/>
                </a:lnTo>
                <a:lnTo>
                  <a:pt x="204" y="761"/>
                </a:lnTo>
                <a:lnTo>
                  <a:pt x="201" y="752"/>
                </a:lnTo>
                <a:lnTo>
                  <a:pt x="196" y="744"/>
                </a:lnTo>
                <a:lnTo>
                  <a:pt x="191" y="737"/>
                </a:lnTo>
                <a:lnTo>
                  <a:pt x="184" y="729"/>
                </a:lnTo>
                <a:lnTo>
                  <a:pt x="179" y="723"/>
                </a:lnTo>
                <a:lnTo>
                  <a:pt x="172" y="717"/>
                </a:lnTo>
                <a:lnTo>
                  <a:pt x="164" y="711"/>
                </a:lnTo>
                <a:lnTo>
                  <a:pt x="157" y="706"/>
                </a:lnTo>
                <a:lnTo>
                  <a:pt x="148" y="703"/>
                </a:lnTo>
                <a:lnTo>
                  <a:pt x="139" y="698"/>
                </a:lnTo>
                <a:lnTo>
                  <a:pt x="131" y="696"/>
                </a:lnTo>
                <a:lnTo>
                  <a:pt x="121" y="694"/>
                </a:lnTo>
                <a:lnTo>
                  <a:pt x="123" y="675"/>
                </a:lnTo>
                <a:lnTo>
                  <a:pt x="128" y="655"/>
                </a:lnTo>
                <a:lnTo>
                  <a:pt x="133" y="637"/>
                </a:lnTo>
                <a:lnTo>
                  <a:pt x="140" y="620"/>
                </a:lnTo>
                <a:lnTo>
                  <a:pt x="149" y="604"/>
                </a:lnTo>
                <a:lnTo>
                  <a:pt x="159" y="589"/>
                </a:lnTo>
                <a:lnTo>
                  <a:pt x="171" y="575"/>
                </a:lnTo>
                <a:lnTo>
                  <a:pt x="184" y="563"/>
                </a:lnTo>
                <a:lnTo>
                  <a:pt x="198" y="551"/>
                </a:lnTo>
                <a:lnTo>
                  <a:pt x="215" y="542"/>
                </a:lnTo>
                <a:lnTo>
                  <a:pt x="231" y="533"/>
                </a:lnTo>
                <a:lnTo>
                  <a:pt x="249" y="526"/>
                </a:lnTo>
                <a:lnTo>
                  <a:pt x="268" y="520"/>
                </a:lnTo>
                <a:lnTo>
                  <a:pt x="289" y="516"/>
                </a:lnTo>
                <a:lnTo>
                  <a:pt x="309" y="513"/>
                </a:lnTo>
                <a:lnTo>
                  <a:pt x="331" y="513"/>
                </a:lnTo>
                <a:lnTo>
                  <a:pt x="421" y="513"/>
                </a:lnTo>
                <a:lnTo>
                  <a:pt x="421" y="694"/>
                </a:lnTo>
                <a:lnTo>
                  <a:pt x="412" y="696"/>
                </a:lnTo>
                <a:lnTo>
                  <a:pt x="403" y="698"/>
                </a:lnTo>
                <a:lnTo>
                  <a:pt x="395" y="702"/>
                </a:lnTo>
                <a:lnTo>
                  <a:pt x="386" y="706"/>
                </a:lnTo>
                <a:lnTo>
                  <a:pt x="378" y="711"/>
                </a:lnTo>
                <a:lnTo>
                  <a:pt x="370" y="717"/>
                </a:lnTo>
                <a:lnTo>
                  <a:pt x="364" y="722"/>
                </a:lnTo>
                <a:lnTo>
                  <a:pt x="357" y="729"/>
                </a:lnTo>
                <a:lnTo>
                  <a:pt x="352" y="736"/>
                </a:lnTo>
                <a:lnTo>
                  <a:pt x="346" y="744"/>
                </a:lnTo>
                <a:lnTo>
                  <a:pt x="342" y="752"/>
                </a:lnTo>
                <a:lnTo>
                  <a:pt x="338" y="761"/>
                </a:lnTo>
                <a:lnTo>
                  <a:pt x="335" y="770"/>
                </a:lnTo>
                <a:lnTo>
                  <a:pt x="332" y="779"/>
                </a:lnTo>
                <a:lnTo>
                  <a:pt x="331" y="788"/>
                </a:lnTo>
                <a:lnTo>
                  <a:pt x="331" y="798"/>
                </a:lnTo>
                <a:lnTo>
                  <a:pt x="331" y="809"/>
                </a:lnTo>
                <a:lnTo>
                  <a:pt x="334" y="819"/>
                </a:lnTo>
                <a:lnTo>
                  <a:pt x="336" y="829"/>
                </a:lnTo>
                <a:lnTo>
                  <a:pt x="340" y="839"/>
                </a:lnTo>
                <a:lnTo>
                  <a:pt x="344" y="848"/>
                </a:lnTo>
                <a:lnTo>
                  <a:pt x="350" y="857"/>
                </a:lnTo>
                <a:lnTo>
                  <a:pt x="355" y="866"/>
                </a:lnTo>
                <a:lnTo>
                  <a:pt x="363" y="873"/>
                </a:lnTo>
                <a:lnTo>
                  <a:pt x="370" y="880"/>
                </a:lnTo>
                <a:lnTo>
                  <a:pt x="378" y="886"/>
                </a:lnTo>
                <a:lnTo>
                  <a:pt x="386" y="891"/>
                </a:lnTo>
                <a:lnTo>
                  <a:pt x="396" y="896"/>
                </a:lnTo>
                <a:lnTo>
                  <a:pt x="405" y="899"/>
                </a:lnTo>
                <a:lnTo>
                  <a:pt x="415" y="901"/>
                </a:lnTo>
                <a:lnTo>
                  <a:pt x="426" y="903"/>
                </a:lnTo>
                <a:lnTo>
                  <a:pt x="437" y="903"/>
                </a:lnTo>
                <a:lnTo>
                  <a:pt x="447" y="903"/>
                </a:lnTo>
                <a:lnTo>
                  <a:pt x="458" y="901"/>
                </a:lnTo>
                <a:lnTo>
                  <a:pt x="468" y="899"/>
                </a:lnTo>
                <a:lnTo>
                  <a:pt x="477" y="896"/>
                </a:lnTo>
                <a:lnTo>
                  <a:pt x="487" y="891"/>
                </a:lnTo>
                <a:lnTo>
                  <a:pt x="495" y="886"/>
                </a:lnTo>
                <a:lnTo>
                  <a:pt x="503" y="880"/>
                </a:lnTo>
                <a:lnTo>
                  <a:pt x="511" y="873"/>
                </a:lnTo>
                <a:lnTo>
                  <a:pt x="518" y="866"/>
                </a:lnTo>
                <a:lnTo>
                  <a:pt x="523" y="857"/>
                </a:lnTo>
                <a:lnTo>
                  <a:pt x="529" y="848"/>
                </a:lnTo>
                <a:lnTo>
                  <a:pt x="534" y="839"/>
                </a:lnTo>
                <a:lnTo>
                  <a:pt x="537" y="829"/>
                </a:lnTo>
                <a:lnTo>
                  <a:pt x="539" y="819"/>
                </a:lnTo>
                <a:lnTo>
                  <a:pt x="542" y="809"/>
                </a:lnTo>
                <a:lnTo>
                  <a:pt x="542" y="798"/>
                </a:lnTo>
                <a:lnTo>
                  <a:pt x="542" y="788"/>
                </a:lnTo>
                <a:lnTo>
                  <a:pt x="541" y="779"/>
                </a:lnTo>
                <a:lnTo>
                  <a:pt x="538" y="770"/>
                </a:lnTo>
                <a:lnTo>
                  <a:pt x="535" y="761"/>
                </a:lnTo>
                <a:lnTo>
                  <a:pt x="531" y="752"/>
                </a:lnTo>
                <a:lnTo>
                  <a:pt x="527" y="744"/>
                </a:lnTo>
                <a:lnTo>
                  <a:pt x="521" y="736"/>
                </a:lnTo>
                <a:lnTo>
                  <a:pt x="516" y="729"/>
                </a:lnTo>
                <a:lnTo>
                  <a:pt x="509" y="723"/>
                </a:lnTo>
                <a:lnTo>
                  <a:pt x="503" y="717"/>
                </a:lnTo>
                <a:lnTo>
                  <a:pt x="495" y="711"/>
                </a:lnTo>
                <a:lnTo>
                  <a:pt x="487" y="706"/>
                </a:lnTo>
                <a:lnTo>
                  <a:pt x="478" y="702"/>
                </a:lnTo>
                <a:lnTo>
                  <a:pt x="470" y="698"/>
                </a:lnTo>
                <a:lnTo>
                  <a:pt x="461" y="696"/>
                </a:lnTo>
                <a:lnTo>
                  <a:pt x="452" y="694"/>
                </a:lnTo>
                <a:lnTo>
                  <a:pt x="452" y="513"/>
                </a:lnTo>
                <a:lnTo>
                  <a:pt x="542" y="513"/>
                </a:lnTo>
                <a:lnTo>
                  <a:pt x="553" y="513"/>
                </a:lnTo>
                <a:lnTo>
                  <a:pt x="565" y="514"/>
                </a:lnTo>
                <a:lnTo>
                  <a:pt x="577" y="515"/>
                </a:lnTo>
                <a:lnTo>
                  <a:pt x="588" y="517"/>
                </a:lnTo>
                <a:lnTo>
                  <a:pt x="600" y="519"/>
                </a:lnTo>
                <a:lnTo>
                  <a:pt x="610" y="521"/>
                </a:lnTo>
                <a:lnTo>
                  <a:pt x="620" y="526"/>
                </a:lnTo>
                <a:lnTo>
                  <a:pt x="631" y="529"/>
                </a:lnTo>
                <a:lnTo>
                  <a:pt x="640" y="533"/>
                </a:lnTo>
                <a:lnTo>
                  <a:pt x="650" y="539"/>
                </a:lnTo>
                <a:lnTo>
                  <a:pt x="660" y="544"/>
                </a:lnTo>
                <a:lnTo>
                  <a:pt x="669" y="549"/>
                </a:lnTo>
                <a:lnTo>
                  <a:pt x="678" y="556"/>
                </a:lnTo>
                <a:lnTo>
                  <a:pt x="686" y="562"/>
                </a:lnTo>
                <a:lnTo>
                  <a:pt x="694" y="570"/>
                </a:lnTo>
                <a:lnTo>
                  <a:pt x="701" y="577"/>
                </a:lnTo>
                <a:lnTo>
                  <a:pt x="713" y="590"/>
                </a:lnTo>
                <a:lnTo>
                  <a:pt x="723" y="603"/>
                </a:lnTo>
                <a:lnTo>
                  <a:pt x="731" y="617"/>
                </a:lnTo>
                <a:lnTo>
                  <a:pt x="739" y="632"/>
                </a:lnTo>
                <a:lnTo>
                  <a:pt x="744" y="647"/>
                </a:lnTo>
                <a:lnTo>
                  <a:pt x="749" y="662"/>
                </a:lnTo>
                <a:lnTo>
                  <a:pt x="751" y="678"/>
                </a:lnTo>
                <a:lnTo>
                  <a:pt x="753" y="694"/>
                </a:lnTo>
                <a:lnTo>
                  <a:pt x="743" y="696"/>
                </a:lnTo>
                <a:lnTo>
                  <a:pt x="734" y="698"/>
                </a:lnTo>
                <a:lnTo>
                  <a:pt x="725" y="702"/>
                </a:lnTo>
                <a:lnTo>
                  <a:pt x="716" y="706"/>
                </a:lnTo>
                <a:lnTo>
                  <a:pt x="709" y="711"/>
                </a:lnTo>
                <a:lnTo>
                  <a:pt x="701" y="717"/>
                </a:lnTo>
                <a:lnTo>
                  <a:pt x="695" y="723"/>
                </a:lnTo>
                <a:lnTo>
                  <a:pt x="689" y="729"/>
                </a:lnTo>
                <a:lnTo>
                  <a:pt x="682" y="736"/>
                </a:lnTo>
                <a:lnTo>
                  <a:pt x="678" y="744"/>
                </a:lnTo>
                <a:lnTo>
                  <a:pt x="672" y="752"/>
                </a:lnTo>
                <a:lnTo>
                  <a:pt x="669" y="761"/>
                </a:lnTo>
                <a:lnTo>
                  <a:pt x="666" y="770"/>
                </a:lnTo>
                <a:lnTo>
                  <a:pt x="664" y="779"/>
                </a:lnTo>
                <a:lnTo>
                  <a:pt x="663" y="788"/>
                </a:lnTo>
                <a:lnTo>
                  <a:pt x="663" y="798"/>
                </a:lnTo>
                <a:lnTo>
                  <a:pt x="663" y="809"/>
                </a:lnTo>
                <a:lnTo>
                  <a:pt x="665" y="819"/>
                </a:lnTo>
                <a:lnTo>
                  <a:pt x="667" y="829"/>
                </a:lnTo>
                <a:lnTo>
                  <a:pt x="670" y="839"/>
                </a:lnTo>
                <a:lnTo>
                  <a:pt x="675" y="848"/>
                </a:lnTo>
                <a:lnTo>
                  <a:pt x="680" y="857"/>
                </a:lnTo>
                <a:lnTo>
                  <a:pt x="686" y="866"/>
                </a:lnTo>
                <a:lnTo>
                  <a:pt x="693" y="873"/>
                </a:lnTo>
                <a:lnTo>
                  <a:pt x="700" y="880"/>
                </a:lnTo>
                <a:lnTo>
                  <a:pt x="709" y="886"/>
                </a:lnTo>
                <a:lnTo>
                  <a:pt x="718" y="891"/>
                </a:lnTo>
                <a:lnTo>
                  <a:pt x="727" y="896"/>
                </a:lnTo>
                <a:lnTo>
                  <a:pt x="737" y="899"/>
                </a:lnTo>
                <a:lnTo>
                  <a:pt x="746" y="901"/>
                </a:lnTo>
                <a:lnTo>
                  <a:pt x="757" y="903"/>
                </a:lnTo>
                <a:lnTo>
                  <a:pt x="768" y="903"/>
                </a:lnTo>
                <a:lnTo>
                  <a:pt x="779" y="903"/>
                </a:lnTo>
                <a:lnTo>
                  <a:pt x="789" y="901"/>
                </a:lnTo>
                <a:lnTo>
                  <a:pt x="799" y="899"/>
                </a:lnTo>
                <a:lnTo>
                  <a:pt x="809" y="896"/>
                </a:lnTo>
                <a:lnTo>
                  <a:pt x="818" y="891"/>
                </a:lnTo>
                <a:lnTo>
                  <a:pt x="827" y="886"/>
                </a:lnTo>
                <a:lnTo>
                  <a:pt x="834" y="880"/>
                </a:lnTo>
                <a:lnTo>
                  <a:pt x="842" y="873"/>
                </a:lnTo>
                <a:lnTo>
                  <a:pt x="849" y="866"/>
                </a:lnTo>
                <a:lnTo>
                  <a:pt x="855" y="857"/>
                </a:lnTo>
                <a:lnTo>
                  <a:pt x="860" y="848"/>
                </a:lnTo>
                <a:lnTo>
                  <a:pt x="864" y="839"/>
                </a:lnTo>
                <a:lnTo>
                  <a:pt x="869" y="829"/>
                </a:lnTo>
                <a:lnTo>
                  <a:pt x="871" y="819"/>
                </a:lnTo>
                <a:lnTo>
                  <a:pt x="873" y="809"/>
                </a:lnTo>
                <a:lnTo>
                  <a:pt x="873" y="798"/>
                </a:lnTo>
                <a:lnTo>
                  <a:pt x="873" y="788"/>
                </a:lnTo>
                <a:lnTo>
                  <a:pt x="871" y="779"/>
                </a:lnTo>
                <a:lnTo>
                  <a:pt x="869" y="770"/>
                </a:lnTo>
                <a:lnTo>
                  <a:pt x="867" y="761"/>
                </a:lnTo>
                <a:lnTo>
                  <a:pt x="862" y="752"/>
                </a:lnTo>
                <a:lnTo>
                  <a:pt x="858" y="744"/>
                </a:lnTo>
                <a:lnTo>
                  <a:pt x="853" y="736"/>
                </a:lnTo>
                <a:lnTo>
                  <a:pt x="847" y="729"/>
                </a:lnTo>
                <a:lnTo>
                  <a:pt x="841" y="722"/>
                </a:lnTo>
                <a:lnTo>
                  <a:pt x="833" y="717"/>
                </a:lnTo>
                <a:lnTo>
                  <a:pt x="826" y="711"/>
                </a:lnTo>
                <a:lnTo>
                  <a:pt x="818" y="706"/>
                </a:lnTo>
                <a:lnTo>
                  <a:pt x="810" y="702"/>
                </a:lnTo>
                <a:lnTo>
                  <a:pt x="801" y="698"/>
                </a:lnTo>
                <a:lnTo>
                  <a:pt x="792" y="696"/>
                </a:lnTo>
                <a:lnTo>
                  <a:pt x="783" y="69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94" name="Group 37">
            <a:extLst>
              <a:ext uri="{FF2B5EF4-FFF2-40B4-BE49-F238E27FC236}">
                <a16:creationId xmlns:a16="http://schemas.microsoft.com/office/drawing/2014/main" id="{101558F0-D6AB-4CDB-BE8B-C1130421A5E9}"/>
              </a:ext>
            </a:extLst>
          </p:cNvPr>
          <p:cNvGrpSpPr>
            <a:grpSpLocks noChangeAspect="1"/>
          </p:cNvGrpSpPr>
          <p:nvPr/>
        </p:nvGrpSpPr>
        <p:grpSpPr>
          <a:xfrm>
            <a:off x="284400" y="5956111"/>
            <a:ext cx="285619" cy="285619"/>
            <a:chOff x="304792" y="1360437"/>
            <a:chExt cx="287331" cy="287327"/>
          </a:xfrm>
          <a:solidFill>
            <a:schemeClr val="bg2"/>
          </a:solidFill>
          <a:effectLst/>
        </p:grpSpPr>
        <p:sp>
          <p:nvSpPr>
            <p:cNvPr id="1095" name="Freeform 172">
              <a:extLst>
                <a:ext uri="{FF2B5EF4-FFF2-40B4-BE49-F238E27FC236}">
                  <a16:creationId xmlns:a16="http://schemas.microsoft.com/office/drawing/2014/main" id="{AA606FEA-D0C7-442A-BDA5-E2AFF2DB7BB7}"/>
                </a:ext>
              </a:extLst>
            </p:cNvPr>
            <p:cNvSpPr>
              <a:spLocks noEditPoints="1"/>
            </p:cNvSpPr>
            <p:nvPr/>
          </p:nvSpPr>
          <p:spPr bwMode="auto">
            <a:xfrm>
              <a:off x="304792" y="1360437"/>
              <a:ext cx="287331" cy="287327"/>
            </a:xfrm>
            <a:custGeom>
              <a:avLst/>
              <a:gdLst>
                <a:gd name="T0" fmla="*/ 579 w 903"/>
                <a:gd name="T1" fmla="*/ 520 h 903"/>
                <a:gd name="T2" fmla="*/ 90 w 903"/>
                <a:gd name="T3" fmla="*/ 663 h 903"/>
                <a:gd name="T4" fmla="*/ 60 w 903"/>
                <a:gd name="T5" fmla="*/ 753 h 903"/>
                <a:gd name="T6" fmla="*/ 39 w 903"/>
                <a:gd name="T7" fmla="*/ 744 h 903"/>
                <a:gd name="T8" fmla="*/ 30 w 903"/>
                <a:gd name="T9" fmla="*/ 723 h 903"/>
                <a:gd name="T10" fmla="*/ 35 w 903"/>
                <a:gd name="T11" fmla="*/ 44 h 903"/>
                <a:gd name="T12" fmla="*/ 55 w 903"/>
                <a:gd name="T13" fmla="*/ 31 h 903"/>
                <a:gd name="T14" fmla="*/ 613 w 903"/>
                <a:gd name="T15" fmla="*/ 33 h 903"/>
                <a:gd name="T16" fmla="*/ 630 w 903"/>
                <a:gd name="T17" fmla="*/ 49 h 903"/>
                <a:gd name="T18" fmla="*/ 597 w 903"/>
                <a:gd name="T19" fmla="*/ 532 h 903"/>
                <a:gd name="T20" fmla="*/ 506 w 903"/>
                <a:gd name="T21" fmla="*/ 545 h 903"/>
                <a:gd name="T22" fmla="*/ 501 w 903"/>
                <a:gd name="T23" fmla="*/ 582 h 903"/>
                <a:gd name="T24" fmla="*/ 512 w 903"/>
                <a:gd name="T25" fmla="*/ 608 h 903"/>
                <a:gd name="T26" fmla="*/ 120 w 903"/>
                <a:gd name="T27" fmla="*/ 121 h 903"/>
                <a:gd name="T28" fmla="*/ 528 w 903"/>
                <a:gd name="T29" fmla="*/ 523 h 903"/>
                <a:gd name="T30" fmla="*/ 783 w 903"/>
                <a:gd name="T31" fmla="*/ 733 h 903"/>
                <a:gd name="T32" fmla="*/ 778 w 903"/>
                <a:gd name="T33" fmla="*/ 520 h 903"/>
                <a:gd name="T34" fmla="*/ 757 w 903"/>
                <a:gd name="T35" fmla="*/ 473 h 903"/>
                <a:gd name="T36" fmla="*/ 722 w 903"/>
                <a:gd name="T37" fmla="*/ 427 h 903"/>
                <a:gd name="T38" fmla="*/ 663 w 903"/>
                <a:gd name="T39" fmla="*/ 60 h 903"/>
                <a:gd name="T40" fmla="*/ 657 w 903"/>
                <a:gd name="T41" fmla="*/ 37 h 903"/>
                <a:gd name="T42" fmla="*/ 645 w 903"/>
                <a:gd name="T43" fmla="*/ 18 h 903"/>
                <a:gd name="T44" fmla="*/ 625 w 903"/>
                <a:gd name="T45" fmla="*/ 5 h 903"/>
                <a:gd name="T46" fmla="*/ 602 w 903"/>
                <a:gd name="T47" fmla="*/ 0 h 903"/>
                <a:gd name="T48" fmla="*/ 42 w 903"/>
                <a:gd name="T49" fmla="*/ 3 h 903"/>
                <a:gd name="T50" fmla="*/ 21 w 903"/>
                <a:gd name="T51" fmla="*/ 14 h 903"/>
                <a:gd name="T52" fmla="*/ 8 w 903"/>
                <a:gd name="T53" fmla="*/ 32 h 903"/>
                <a:gd name="T54" fmla="*/ 0 w 903"/>
                <a:gd name="T55" fmla="*/ 55 h 903"/>
                <a:gd name="T56" fmla="*/ 1 w 903"/>
                <a:gd name="T57" fmla="*/ 735 h 903"/>
                <a:gd name="T58" fmla="*/ 11 w 903"/>
                <a:gd name="T59" fmla="*/ 756 h 903"/>
                <a:gd name="T60" fmla="*/ 27 w 903"/>
                <a:gd name="T61" fmla="*/ 773 h 903"/>
                <a:gd name="T62" fmla="*/ 48 w 903"/>
                <a:gd name="T63" fmla="*/ 782 h 903"/>
                <a:gd name="T64" fmla="*/ 617 w 903"/>
                <a:gd name="T65" fmla="*/ 801 h 903"/>
                <a:gd name="T66" fmla="*/ 669 w 903"/>
                <a:gd name="T67" fmla="*/ 884 h 903"/>
                <a:gd name="T68" fmla="*/ 690 w 903"/>
                <a:gd name="T69" fmla="*/ 903 h 903"/>
                <a:gd name="T70" fmla="*/ 705 w 903"/>
                <a:gd name="T71" fmla="*/ 898 h 903"/>
                <a:gd name="T72" fmla="*/ 708 w 903"/>
                <a:gd name="T73" fmla="*/ 887 h 903"/>
                <a:gd name="T74" fmla="*/ 683 w 903"/>
                <a:gd name="T75" fmla="*/ 853 h 903"/>
                <a:gd name="T76" fmla="*/ 638 w 903"/>
                <a:gd name="T77" fmla="*/ 775 h 903"/>
                <a:gd name="T78" fmla="*/ 633 w 903"/>
                <a:gd name="T79" fmla="*/ 757 h 903"/>
                <a:gd name="T80" fmla="*/ 537 w 903"/>
                <a:gd name="T81" fmla="*/ 592 h 903"/>
                <a:gd name="T82" fmla="*/ 531 w 903"/>
                <a:gd name="T83" fmla="*/ 573 h 903"/>
                <a:gd name="T84" fmla="*/ 537 w 903"/>
                <a:gd name="T85" fmla="*/ 553 h 903"/>
                <a:gd name="T86" fmla="*/ 557 w 903"/>
                <a:gd name="T87" fmla="*/ 546 h 903"/>
                <a:gd name="T88" fmla="*/ 576 w 903"/>
                <a:gd name="T89" fmla="*/ 553 h 903"/>
                <a:gd name="T90" fmla="*/ 667 w 903"/>
                <a:gd name="T91" fmla="*/ 643 h 903"/>
                <a:gd name="T92" fmla="*/ 678 w 903"/>
                <a:gd name="T93" fmla="*/ 648 h 903"/>
                <a:gd name="T94" fmla="*/ 689 w 903"/>
                <a:gd name="T95" fmla="*/ 643 h 903"/>
                <a:gd name="T96" fmla="*/ 693 w 903"/>
                <a:gd name="T97" fmla="*/ 633 h 903"/>
                <a:gd name="T98" fmla="*/ 689 w 903"/>
                <a:gd name="T99" fmla="*/ 622 h 903"/>
                <a:gd name="T100" fmla="*/ 699 w 903"/>
                <a:gd name="T101" fmla="*/ 447 h 903"/>
                <a:gd name="T102" fmla="*/ 739 w 903"/>
                <a:gd name="T103" fmla="*/ 501 h 903"/>
                <a:gd name="T104" fmla="*/ 751 w 903"/>
                <a:gd name="T105" fmla="*/ 538 h 903"/>
                <a:gd name="T106" fmla="*/ 876 w 903"/>
                <a:gd name="T107" fmla="*/ 898 h 903"/>
                <a:gd name="T108" fmla="*/ 888 w 903"/>
                <a:gd name="T109" fmla="*/ 903 h 903"/>
                <a:gd name="T110" fmla="*/ 901 w 903"/>
                <a:gd name="T111" fmla="*/ 896 h 903"/>
                <a:gd name="T112" fmla="*/ 903 w 903"/>
                <a:gd name="T113" fmla="*/ 88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97" y="532"/>
                  </a:moveTo>
                  <a:lnTo>
                    <a:pt x="592" y="527"/>
                  </a:lnTo>
                  <a:lnTo>
                    <a:pt x="586" y="523"/>
                  </a:lnTo>
                  <a:lnTo>
                    <a:pt x="579" y="520"/>
                  </a:lnTo>
                  <a:lnTo>
                    <a:pt x="572" y="518"/>
                  </a:lnTo>
                  <a:lnTo>
                    <a:pt x="572" y="91"/>
                  </a:lnTo>
                  <a:lnTo>
                    <a:pt x="90" y="91"/>
                  </a:lnTo>
                  <a:lnTo>
                    <a:pt x="90" y="663"/>
                  </a:lnTo>
                  <a:lnTo>
                    <a:pt x="553" y="663"/>
                  </a:lnTo>
                  <a:lnTo>
                    <a:pt x="602" y="728"/>
                  </a:lnTo>
                  <a:lnTo>
                    <a:pt x="602" y="753"/>
                  </a:lnTo>
                  <a:lnTo>
                    <a:pt x="60" y="753"/>
                  </a:lnTo>
                  <a:lnTo>
                    <a:pt x="55" y="752"/>
                  </a:lnTo>
                  <a:lnTo>
                    <a:pt x="48" y="751"/>
                  </a:lnTo>
                  <a:lnTo>
                    <a:pt x="43" y="748"/>
                  </a:lnTo>
                  <a:lnTo>
                    <a:pt x="39" y="744"/>
                  </a:lnTo>
                  <a:lnTo>
                    <a:pt x="35" y="740"/>
                  </a:lnTo>
                  <a:lnTo>
                    <a:pt x="32" y="735"/>
                  </a:lnTo>
                  <a:lnTo>
                    <a:pt x="31" y="729"/>
                  </a:lnTo>
                  <a:lnTo>
                    <a:pt x="30" y="723"/>
                  </a:lnTo>
                  <a:lnTo>
                    <a:pt x="30" y="60"/>
                  </a:lnTo>
                  <a:lnTo>
                    <a:pt x="31" y="55"/>
                  </a:lnTo>
                  <a:lnTo>
                    <a:pt x="32" y="49"/>
                  </a:lnTo>
                  <a:lnTo>
                    <a:pt x="35" y="44"/>
                  </a:lnTo>
                  <a:lnTo>
                    <a:pt x="39" y="40"/>
                  </a:lnTo>
                  <a:lnTo>
                    <a:pt x="43" y="35"/>
                  </a:lnTo>
                  <a:lnTo>
                    <a:pt x="48" y="33"/>
                  </a:lnTo>
                  <a:lnTo>
                    <a:pt x="55" y="31"/>
                  </a:lnTo>
                  <a:lnTo>
                    <a:pt x="60" y="30"/>
                  </a:lnTo>
                  <a:lnTo>
                    <a:pt x="602" y="30"/>
                  </a:lnTo>
                  <a:lnTo>
                    <a:pt x="608" y="31"/>
                  </a:lnTo>
                  <a:lnTo>
                    <a:pt x="613" y="33"/>
                  </a:lnTo>
                  <a:lnTo>
                    <a:pt x="619" y="35"/>
                  </a:lnTo>
                  <a:lnTo>
                    <a:pt x="623" y="40"/>
                  </a:lnTo>
                  <a:lnTo>
                    <a:pt x="627" y="44"/>
                  </a:lnTo>
                  <a:lnTo>
                    <a:pt x="630" y="49"/>
                  </a:lnTo>
                  <a:lnTo>
                    <a:pt x="632" y="55"/>
                  </a:lnTo>
                  <a:lnTo>
                    <a:pt x="632" y="61"/>
                  </a:lnTo>
                  <a:lnTo>
                    <a:pt x="632" y="566"/>
                  </a:lnTo>
                  <a:lnTo>
                    <a:pt x="597" y="532"/>
                  </a:lnTo>
                  <a:close/>
                  <a:moveTo>
                    <a:pt x="516" y="532"/>
                  </a:moveTo>
                  <a:lnTo>
                    <a:pt x="513" y="535"/>
                  </a:lnTo>
                  <a:lnTo>
                    <a:pt x="509" y="541"/>
                  </a:lnTo>
                  <a:lnTo>
                    <a:pt x="506" y="545"/>
                  </a:lnTo>
                  <a:lnTo>
                    <a:pt x="504" y="550"/>
                  </a:lnTo>
                  <a:lnTo>
                    <a:pt x="502" y="561"/>
                  </a:lnTo>
                  <a:lnTo>
                    <a:pt x="501" y="572"/>
                  </a:lnTo>
                  <a:lnTo>
                    <a:pt x="501" y="582"/>
                  </a:lnTo>
                  <a:lnTo>
                    <a:pt x="504" y="593"/>
                  </a:lnTo>
                  <a:lnTo>
                    <a:pt x="506" y="598"/>
                  </a:lnTo>
                  <a:lnTo>
                    <a:pt x="508" y="604"/>
                  </a:lnTo>
                  <a:lnTo>
                    <a:pt x="512" y="608"/>
                  </a:lnTo>
                  <a:lnTo>
                    <a:pt x="516" y="612"/>
                  </a:lnTo>
                  <a:lnTo>
                    <a:pt x="531" y="633"/>
                  </a:lnTo>
                  <a:lnTo>
                    <a:pt x="120" y="633"/>
                  </a:lnTo>
                  <a:lnTo>
                    <a:pt x="120" y="121"/>
                  </a:lnTo>
                  <a:lnTo>
                    <a:pt x="542" y="121"/>
                  </a:lnTo>
                  <a:lnTo>
                    <a:pt x="542" y="518"/>
                  </a:lnTo>
                  <a:lnTo>
                    <a:pt x="535" y="520"/>
                  </a:lnTo>
                  <a:lnTo>
                    <a:pt x="528" y="523"/>
                  </a:lnTo>
                  <a:lnTo>
                    <a:pt x="521" y="527"/>
                  </a:lnTo>
                  <a:lnTo>
                    <a:pt x="516" y="532"/>
                  </a:lnTo>
                  <a:close/>
                  <a:moveTo>
                    <a:pt x="900" y="879"/>
                  </a:moveTo>
                  <a:lnTo>
                    <a:pt x="783" y="733"/>
                  </a:lnTo>
                  <a:lnTo>
                    <a:pt x="783" y="558"/>
                  </a:lnTo>
                  <a:lnTo>
                    <a:pt x="782" y="545"/>
                  </a:lnTo>
                  <a:lnTo>
                    <a:pt x="781" y="532"/>
                  </a:lnTo>
                  <a:lnTo>
                    <a:pt x="778" y="520"/>
                  </a:lnTo>
                  <a:lnTo>
                    <a:pt x="774" y="507"/>
                  </a:lnTo>
                  <a:lnTo>
                    <a:pt x="769" y="495"/>
                  </a:lnTo>
                  <a:lnTo>
                    <a:pt x="764" y="485"/>
                  </a:lnTo>
                  <a:lnTo>
                    <a:pt x="757" y="473"/>
                  </a:lnTo>
                  <a:lnTo>
                    <a:pt x="750" y="461"/>
                  </a:lnTo>
                  <a:lnTo>
                    <a:pt x="741" y="449"/>
                  </a:lnTo>
                  <a:lnTo>
                    <a:pt x="733" y="439"/>
                  </a:lnTo>
                  <a:lnTo>
                    <a:pt x="722" y="427"/>
                  </a:lnTo>
                  <a:lnTo>
                    <a:pt x="712" y="416"/>
                  </a:lnTo>
                  <a:lnTo>
                    <a:pt x="689" y="392"/>
                  </a:lnTo>
                  <a:lnTo>
                    <a:pt x="663" y="370"/>
                  </a:lnTo>
                  <a:lnTo>
                    <a:pt x="663" y="60"/>
                  </a:lnTo>
                  <a:lnTo>
                    <a:pt x="662" y="55"/>
                  </a:lnTo>
                  <a:lnTo>
                    <a:pt x="661" y="48"/>
                  </a:lnTo>
                  <a:lnTo>
                    <a:pt x="660" y="43"/>
                  </a:lnTo>
                  <a:lnTo>
                    <a:pt x="657" y="37"/>
                  </a:lnTo>
                  <a:lnTo>
                    <a:pt x="655" y="32"/>
                  </a:lnTo>
                  <a:lnTo>
                    <a:pt x="652" y="27"/>
                  </a:lnTo>
                  <a:lnTo>
                    <a:pt x="649" y="22"/>
                  </a:lnTo>
                  <a:lnTo>
                    <a:pt x="645" y="18"/>
                  </a:lnTo>
                  <a:lnTo>
                    <a:pt x="640" y="14"/>
                  </a:lnTo>
                  <a:lnTo>
                    <a:pt x="636" y="11"/>
                  </a:lnTo>
                  <a:lnTo>
                    <a:pt x="631" y="7"/>
                  </a:lnTo>
                  <a:lnTo>
                    <a:pt x="625" y="5"/>
                  </a:lnTo>
                  <a:lnTo>
                    <a:pt x="620" y="3"/>
                  </a:lnTo>
                  <a:lnTo>
                    <a:pt x="615" y="2"/>
                  </a:lnTo>
                  <a:lnTo>
                    <a:pt x="608" y="1"/>
                  </a:lnTo>
                  <a:lnTo>
                    <a:pt x="602" y="0"/>
                  </a:lnTo>
                  <a:lnTo>
                    <a:pt x="60" y="0"/>
                  </a:lnTo>
                  <a:lnTo>
                    <a:pt x="54" y="1"/>
                  </a:lnTo>
                  <a:lnTo>
                    <a:pt x="48" y="1"/>
                  </a:lnTo>
                  <a:lnTo>
                    <a:pt x="42" y="3"/>
                  </a:lnTo>
                  <a:lnTo>
                    <a:pt x="36" y="5"/>
                  </a:lnTo>
                  <a:lnTo>
                    <a:pt x="31" y="7"/>
                  </a:lnTo>
                  <a:lnTo>
                    <a:pt x="27" y="11"/>
                  </a:lnTo>
                  <a:lnTo>
                    <a:pt x="21" y="14"/>
                  </a:lnTo>
                  <a:lnTo>
                    <a:pt x="17" y="18"/>
                  </a:lnTo>
                  <a:lnTo>
                    <a:pt x="14" y="22"/>
                  </a:lnTo>
                  <a:lnTo>
                    <a:pt x="11" y="27"/>
                  </a:lnTo>
                  <a:lnTo>
                    <a:pt x="8" y="32"/>
                  </a:lnTo>
                  <a:lnTo>
                    <a:pt x="4" y="37"/>
                  </a:lnTo>
                  <a:lnTo>
                    <a:pt x="3" y="43"/>
                  </a:lnTo>
                  <a:lnTo>
                    <a:pt x="1" y="48"/>
                  </a:lnTo>
                  <a:lnTo>
                    <a:pt x="0" y="55"/>
                  </a:lnTo>
                  <a:lnTo>
                    <a:pt x="0" y="61"/>
                  </a:lnTo>
                  <a:lnTo>
                    <a:pt x="0" y="723"/>
                  </a:lnTo>
                  <a:lnTo>
                    <a:pt x="0" y="729"/>
                  </a:lnTo>
                  <a:lnTo>
                    <a:pt x="1" y="735"/>
                  </a:lnTo>
                  <a:lnTo>
                    <a:pt x="3" y="741"/>
                  </a:lnTo>
                  <a:lnTo>
                    <a:pt x="4" y="746"/>
                  </a:lnTo>
                  <a:lnTo>
                    <a:pt x="8" y="752"/>
                  </a:lnTo>
                  <a:lnTo>
                    <a:pt x="11" y="756"/>
                  </a:lnTo>
                  <a:lnTo>
                    <a:pt x="14" y="761"/>
                  </a:lnTo>
                  <a:lnTo>
                    <a:pt x="17" y="766"/>
                  </a:lnTo>
                  <a:lnTo>
                    <a:pt x="21" y="769"/>
                  </a:lnTo>
                  <a:lnTo>
                    <a:pt x="27" y="773"/>
                  </a:lnTo>
                  <a:lnTo>
                    <a:pt x="31" y="775"/>
                  </a:lnTo>
                  <a:lnTo>
                    <a:pt x="36" y="779"/>
                  </a:lnTo>
                  <a:lnTo>
                    <a:pt x="42" y="781"/>
                  </a:lnTo>
                  <a:lnTo>
                    <a:pt x="48" y="782"/>
                  </a:lnTo>
                  <a:lnTo>
                    <a:pt x="54" y="783"/>
                  </a:lnTo>
                  <a:lnTo>
                    <a:pt x="60" y="783"/>
                  </a:lnTo>
                  <a:lnTo>
                    <a:pt x="608" y="783"/>
                  </a:lnTo>
                  <a:lnTo>
                    <a:pt x="617" y="801"/>
                  </a:lnTo>
                  <a:lnTo>
                    <a:pt x="626" y="820"/>
                  </a:lnTo>
                  <a:lnTo>
                    <a:pt x="637" y="839"/>
                  </a:lnTo>
                  <a:lnTo>
                    <a:pt x="649" y="856"/>
                  </a:lnTo>
                  <a:lnTo>
                    <a:pt x="669" y="884"/>
                  </a:lnTo>
                  <a:lnTo>
                    <a:pt x="681" y="898"/>
                  </a:lnTo>
                  <a:lnTo>
                    <a:pt x="683" y="901"/>
                  </a:lnTo>
                  <a:lnTo>
                    <a:pt x="686" y="902"/>
                  </a:lnTo>
                  <a:lnTo>
                    <a:pt x="690" y="903"/>
                  </a:lnTo>
                  <a:lnTo>
                    <a:pt x="693" y="903"/>
                  </a:lnTo>
                  <a:lnTo>
                    <a:pt x="697" y="903"/>
                  </a:lnTo>
                  <a:lnTo>
                    <a:pt x="702" y="900"/>
                  </a:lnTo>
                  <a:lnTo>
                    <a:pt x="705" y="898"/>
                  </a:lnTo>
                  <a:lnTo>
                    <a:pt x="706" y="896"/>
                  </a:lnTo>
                  <a:lnTo>
                    <a:pt x="707" y="892"/>
                  </a:lnTo>
                  <a:lnTo>
                    <a:pt x="708" y="890"/>
                  </a:lnTo>
                  <a:lnTo>
                    <a:pt x="708" y="887"/>
                  </a:lnTo>
                  <a:lnTo>
                    <a:pt x="707" y="884"/>
                  </a:lnTo>
                  <a:lnTo>
                    <a:pt x="706" y="882"/>
                  </a:lnTo>
                  <a:lnTo>
                    <a:pt x="704" y="878"/>
                  </a:lnTo>
                  <a:lnTo>
                    <a:pt x="683" y="853"/>
                  </a:lnTo>
                  <a:lnTo>
                    <a:pt x="662" y="822"/>
                  </a:lnTo>
                  <a:lnTo>
                    <a:pt x="652" y="805"/>
                  </a:lnTo>
                  <a:lnTo>
                    <a:pt x="645" y="789"/>
                  </a:lnTo>
                  <a:lnTo>
                    <a:pt x="638" y="775"/>
                  </a:lnTo>
                  <a:lnTo>
                    <a:pt x="634" y="763"/>
                  </a:lnTo>
                  <a:lnTo>
                    <a:pt x="634" y="763"/>
                  </a:lnTo>
                  <a:lnTo>
                    <a:pt x="634" y="763"/>
                  </a:lnTo>
                  <a:lnTo>
                    <a:pt x="633" y="757"/>
                  </a:lnTo>
                  <a:lnTo>
                    <a:pt x="632" y="753"/>
                  </a:lnTo>
                  <a:lnTo>
                    <a:pt x="632" y="717"/>
                  </a:lnTo>
                  <a:lnTo>
                    <a:pt x="538" y="593"/>
                  </a:lnTo>
                  <a:lnTo>
                    <a:pt x="537" y="592"/>
                  </a:lnTo>
                  <a:lnTo>
                    <a:pt x="534" y="588"/>
                  </a:lnTo>
                  <a:lnTo>
                    <a:pt x="532" y="583"/>
                  </a:lnTo>
                  <a:lnTo>
                    <a:pt x="531" y="578"/>
                  </a:lnTo>
                  <a:lnTo>
                    <a:pt x="531" y="573"/>
                  </a:lnTo>
                  <a:lnTo>
                    <a:pt x="531" y="566"/>
                  </a:lnTo>
                  <a:lnTo>
                    <a:pt x="532" y="562"/>
                  </a:lnTo>
                  <a:lnTo>
                    <a:pt x="534" y="557"/>
                  </a:lnTo>
                  <a:lnTo>
                    <a:pt x="537" y="553"/>
                  </a:lnTo>
                  <a:lnTo>
                    <a:pt x="542" y="550"/>
                  </a:lnTo>
                  <a:lnTo>
                    <a:pt x="546" y="548"/>
                  </a:lnTo>
                  <a:lnTo>
                    <a:pt x="551" y="547"/>
                  </a:lnTo>
                  <a:lnTo>
                    <a:pt x="557" y="546"/>
                  </a:lnTo>
                  <a:lnTo>
                    <a:pt x="562" y="547"/>
                  </a:lnTo>
                  <a:lnTo>
                    <a:pt x="567" y="548"/>
                  </a:lnTo>
                  <a:lnTo>
                    <a:pt x="573" y="550"/>
                  </a:lnTo>
                  <a:lnTo>
                    <a:pt x="576" y="553"/>
                  </a:lnTo>
                  <a:lnTo>
                    <a:pt x="637" y="613"/>
                  </a:lnTo>
                  <a:lnTo>
                    <a:pt x="637" y="613"/>
                  </a:lnTo>
                  <a:lnTo>
                    <a:pt x="637" y="613"/>
                  </a:lnTo>
                  <a:lnTo>
                    <a:pt x="667" y="643"/>
                  </a:lnTo>
                  <a:lnTo>
                    <a:pt x="669" y="646"/>
                  </a:lnTo>
                  <a:lnTo>
                    <a:pt x="671" y="647"/>
                  </a:lnTo>
                  <a:lnTo>
                    <a:pt x="675" y="648"/>
                  </a:lnTo>
                  <a:lnTo>
                    <a:pt x="678" y="648"/>
                  </a:lnTo>
                  <a:lnTo>
                    <a:pt x="680" y="648"/>
                  </a:lnTo>
                  <a:lnTo>
                    <a:pt x="683" y="647"/>
                  </a:lnTo>
                  <a:lnTo>
                    <a:pt x="685" y="646"/>
                  </a:lnTo>
                  <a:lnTo>
                    <a:pt x="689" y="643"/>
                  </a:lnTo>
                  <a:lnTo>
                    <a:pt x="690" y="641"/>
                  </a:lnTo>
                  <a:lnTo>
                    <a:pt x="692" y="638"/>
                  </a:lnTo>
                  <a:lnTo>
                    <a:pt x="692" y="635"/>
                  </a:lnTo>
                  <a:lnTo>
                    <a:pt x="693" y="633"/>
                  </a:lnTo>
                  <a:lnTo>
                    <a:pt x="692" y="630"/>
                  </a:lnTo>
                  <a:lnTo>
                    <a:pt x="692" y="626"/>
                  </a:lnTo>
                  <a:lnTo>
                    <a:pt x="690" y="624"/>
                  </a:lnTo>
                  <a:lnTo>
                    <a:pt x="689" y="622"/>
                  </a:lnTo>
                  <a:lnTo>
                    <a:pt x="663" y="596"/>
                  </a:lnTo>
                  <a:lnTo>
                    <a:pt x="663" y="410"/>
                  </a:lnTo>
                  <a:lnTo>
                    <a:pt x="682" y="429"/>
                  </a:lnTo>
                  <a:lnTo>
                    <a:pt x="699" y="447"/>
                  </a:lnTo>
                  <a:lnTo>
                    <a:pt x="715" y="465"/>
                  </a:lnTo>
                  <a:lnTo>
                    <a:pt x="728" y="483"/>
                  </a:lnTo>
                  <a:lnTo>
                    <a:pt x="734" y="492"/>
                  </a:lnTo>
                  <a:lnTo>
                    <a:pt x="739" y="501"/>
                  </a:lnTo>
                  <a:lnTo>
                    <a:pt x="743" y="510"/>
                  </a:lnTo>
                  <a:lnTo>
                    <a:pt x="746" y="520"/>
                  </a:lnTo>
                  <a:lnTo>
                    <a:pt x="749" y="529"/>
                  </a:lnTo>
                  <a:lnTo>
                    <a:pt x="751" y="538"/>
                  </a:lnTo>
                  <a:lnTo>
                    <a:pt x="752" y="548"/>
                  </a:lnTo>
                  <a:lnTo>
                    <a:pt x="753" y="558"/>
                  </a:lnTo>
                  <a:lnTo>
                    <a:pt x="753" y="743"/>
                  </a:lnTo>
                  <a:lnTo>
                    <a:pt x="876" y="898"/>
                  </a:lnTo>
                  <a:lnTo>
                    <a:pt x="878" y="900"/>
                  </a:lnTo>
                  <a:lnTo>
                    <a:pt x="882" y="902"/>
                  </a:lnTo>
                  <a:lnTo>
                    <a:pt x="885" y="903"/>
                  </a:lnTo>
                  <a:lnTo>
                    <a:pt x="888" y="903"/>
                  </a:lnTo>
                  <a:lnTo>
                    <a:pt x="893" y="903"/>
                  </a:lnTo>
                  <a:lnTo>
                    <a:pt x="898" y="900"/>
                  </a:lnTo>
                  <a:lnTo>
                    <a:pt x="900" y="898"/>
                  </a:lnTo>
                  <a:lnTo>
                    <a:pt x="901" y="896"/>
                  </a:lnTo>
                  <a:lnTo>
                    <a:pt x="902" y="893"/>
                  </a:lnTo>
                  <a:lnTo>
                    <a:pt x="903" y="890"/>
                  </a:lnTo>
                  <a:lnTo>
                    <a:pt x="903" y="887"/>
                  </a:lnTo>
                  <a:lnTo>
                    <a:pt x="903" y="885"/>
                  </a:lnTo>
                  <a:lnTo>
                    <a:pt x="902" y="882"/>
                  </a:lnTo>
                  <a:lnTo>
                    <a:pt x="900" y="879"/>
                  </a:lnTo>
                  <a:lnTo>
                    <a:pt x="900"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Rectangle 173">
              <a:extLst>
                <a:ext uri="{FF2B5EF4-FFF2-40B4-BE49-F238E27FC236}">
                  <a16:creationId xmlns:a16="http://schemas.microsoft.com/office/drawing/2014/main" id="{9AB0B3F3-2CDF-455E-BACB-B42853BBD768}"/>
                </a:ext>
              </a:extLst>
            </p:cNvPr>
            <p:cNvSpPr>
              <a:spLocks noChangeArrowheads="1"/>
            </p:cNvSpPr>
            <p:nvPr/>
          </p:nvSpPr>
          <p:spPr bwMode="auto">
            <a:xfrm>
              <a:off x="390515" y="1581091"/>
              <a:ext cx="38099"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174">
              <a:extLst>
                <a:ext uri="{FF2B5EF4-FFF2-40B4-BE49-F238E27FC236}">
                  <a16:creationId xmlns:a16="http://schemas.microsoft.com/office/drawing/2014/main" id="{70784906-16C5-4400-B249-97EA88A9E69A}"/>
                </a:ext>
              </a:extLst>
            </p:cNvPr>
            <p:cNvSpPr>
              <a:spLocks noChangeArrowheads="1"/>
            </p:cNvSpPr>
            <p:nvPr/>
          </p:nvSpPr>
          <p:spPr bwMode="auto">
            <a:xfrm>
              <a:off x="366703" y="1455684"/>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Rectangle 175">
              <a:extLst>
                <a:ext uri="{FF2B5EF4-FFF2-40B4-BE49-F238E27FC236}">
                  <a16:creationId xmlns:a16="http://schemas.microsoft.com/office/drawing/2014/main" id="{5380AC75-DE40-48B5-BC65-6D06C2D35474}"/>
                </a:ext>
              </a:extLst>
            </p:cNvPr>
            <p:cNvSpPr>
              <a:spLocks noChangeArrowheads="1"/>
            </p:cNvSpPr>
            <p:nvPr/>
          </p:nvSpPr>
          <p:spPr bwMode="auto">
            <a:xfrm>
              <a:off x="366703" y="1436634"/>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Rectangle 176">
              <a:extLst>
                <a:ext uri="{FF2B5EF4-FFF2-40B4-BE49-F238E27FC236}">
                  <a16:creationId xmlns:a16="http://schemas.microsoft.com/office/drawing/2014/main" id="{057164D5-EAD3-4709-9AAA-36BBDFFD8CAD}"/>
                </a:ext>
              </a:extLst>
            </p:cNvPr>
            <p:cNvSpPr>
              <a:spLocks noChangeArrowheads="1"/>
            </p:cNvSpPr>
            <p:nvPr/>
          </p:nvSpPr>
          <p:spPr bwMode="auto">
            <a:xfrm>
              <a:off x="366703" y="1493782"/>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Rectangle 177">
              <a:extLst>
                <a:ext uri="{FF2B5EF4-FFF2-40B4-BE49-F238E27FC236}">
                  <a16:creationId xmlns:a16="http://schemas.microsoft.com/office/drawing/2014/main" id="{8D430B95-3112-4D05-870C-7A1B7060356E}"/>
                </a:ext>
              </a:extLst>
            </p:cNvPr>
            <p:cNvSpPr>
              <a:spLocks noChangeArrowheads="1"/>
            </p:cNvSpPr>
            <p:nvPr/>
          </p:nvSpPr>
          <p:spPr bwMode="auto">
            <a:xfrm>
              <a:off x="366703" y="1474733"/>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Rectangle 178">
              <a:extLst>
                <a:ext uri="{FF2B5EF4-FFF2-40B4-BE49-F238E27FC236}">
                  <a16:creationId xmlns:a16="http://schemas.microsoft.com/office/drawing/2014/main" id="{2E647CD1-6021-408C-820F-762F7DE88C93}"/>
                </a:ext>
              </a:extLst>
            </p:cNvPr>
            <p:cNvSpPr>
              <a:spLocks noChangeArrowheads="1"/>
            </p:cNvSpPr>
            <p:nvPr/>
          </p:nvSpPr>
          <p:spPr bwMode="auto">
            <a:xfrm>
              <a:off x="366704" y="1514418"/>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Rectangle 179">
              <a:extLst>
                <a:ext uri="{FF2B5EF4-FFF2-40B4-BE49-F238E27FC236}">
                  <a16:creationId xmlns:a16="http://schemas.microsoft.com/office/drawing/2014/main" id="{2477CDD5-FBF0-4D76-99AB-7830CF2C5228}"/>
                </a:ext>
              </a:extLst>
            </p:cNvPr>
            <p:cNvSpPr>
              <a:spLocks noChangeArrowheads="1"/>
            </p:cNvSpPr>
            <p:nvPr/>
          </p:nvSpPr>
          <p:spPr bwMode="auto">
            <a:xfrm>
              <a:off x="366704" y="1417584"/>
              <a:ext cx="47624"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80">
              <a:extLst>
                <a:ext uri="{FF2B5EF4-FFF2-40B4-BE49-F238E27FC236}">
                  <a16:creationId xmlns:a16="http://schemas.microsoft.com/office/drawing/2014/main" id="{AA9E1C8A-E6D3-480A-BAAD-FB0780AF7941}"/>
                </a:ext>
              </a:extLst>
            </p:cNvPr>
            <p:cNvSpPr>
              <a:spLocks/>
            </p:cNvSpPr>
            <p:nvPr/>
          </p:nvSpPr>
          <p:spPr bwMode="auto">
            <a:xfrm>
              <a:off x="438139" y="1581110"/>
              <a:ext cx="9525" cy="9525"/>
            </a:xfrm>
            <a:custGeom>
              <a:avLst/>
              <a:gdLst>
                <a:gd name="T0" fmla="*/ 16 w 31"/>
                <a:gd name="T1" fmla="*/ 30 h 30"/>
                <a:gd name="T2" fmla="*/ 19 w 31"/>
                <a:gd name="T3" fmla="*/ 30 h 30"/>
                <a:gd name="T4" fmla="*/ 21 w 31"/>
                <a:gd name="T5" fmla="*/ 29 h 30"/>
                <a:gd name="T6" fmla="*/ 24 w 31"/>
                <a:gd name="T7" fmla="*/ 28 h 30"/>
                <a:gd name="T8" fmla="*/ 26 w 31"/>
                <a:gd name="T9" fmla="*/ 26 h 30"/>
                <a:gd name="T10" fmla="*/ 28 w 31"/>
                <a:gd name="T11" fmla="*/ 23 h 30"/>
                <a:gd name="T12" fmla="*/ 29 w 31"/>
                <a:gd name="T13" fmla="*/ 20 h 30"/>
                <a:gd name="T14" fmla="*/ 31 w 31"/>
                <a:gd name="T15" fmla="*/ 18 h 30"/>
                <a:gd name="T16" fmla="*/ 31 w 31"/>
                <a:gd name="T17" fmla="*/ 15 h 30"/>
                <a:gd name="T18" fmla="*/ 31 w 31"/>
                <a:gd name="T19" fmla="*/ 12 h 30"/>
                <a:gd name="T20" fmla="*/ 29 w 31"/>
                <a:gd name="T21" fmla="*/ 9 h 30"/>
                <a:gd name="T22" fmla="*/ 28 w 31"/>
                <a:gd name="T23" fmla="*/ 6 h 30"/>
                <a:gd name="T24" fmla="*/ 26 w 31"/>
                <a:gd name="T25" fmla="*/ 4 h 30"/>
                <a:gd name="T26" fmla="*/ 24 w 31"/>
                <a:gd name="T27" fmla="*/ 2 h 30"/>
                <a:gd name="T28" fmla="*/ 21 w 31"/>
                <a:gd name="T29" fmla="*/ 1 h 30"/>
                <a:gd name="T30" fmla="*/ 19 w 31"/>
                <a:gd name="T31" fmla="*/ 0 h 30"/>
                <a:gd name="T32" fmla="*/ 16 w 31"/>
                <a:gd name="T33" fmla="*/ 0 h 30"/>
                <a:gd name="T34" fmla="*/ 12 w 31"/>
                <a:gd name="T35" fmla="*/ 0 h 30"/>
                <a:gd name="T36" fmla="*/ 10 w 31"/>
                <a:gd name="T37" fmla="*/ 1 h 30"/>
                <a:gd name="T38" fmla="*/ 7 w 31"/>
                <a:gd name="T39" fmla="*/ 2 h 30"/>
                <a:gd name="T40" fmla="*/ 5 w 31"/>
                <a:gd name="T41" fmla="*/ 4 h 30"/>
                <a:gd name="T42" fmla="*/ 3 w 31"/>
                <a:gd name="T43" fmla="*/ 6 h 30"/>
                <a:gd name="T44" fmla="*/ 2 w 31"/>
                <a:gd name="T45" fmla="*/ 9 h 30"/>
                <a:gd name="T46" fmla="*/ 0 w 31"/>
                <a:gd name="T47" fmla="*/ 12 h 30"/>
                <a:gd name="T48" fmla="*/ 0 w 31"/>
                <a:gd name="T49" fmla="*/ 15 h 30"/>
                <a:gd name="T50" fmla="*/ 0 w 31"/>
                <a:gd name="T51" fmla="*/ 18 h 30"/>
                <a:gd name="T52" fmla="*/ 2 w 31"/>
                <a:gd name="T53" fmla="*/ 20 h 30"/>
                <a:gd name="T54" fmla="*/ 3 w 31"/>
                <a:gd name="T55" fmla="*/ 23 h 30"/>
                <a:gd name="T56" fmla="*/ 5 w 31"/>
                <a:gd name="T57" fmla="*/ 26 h 30"/>
                <a:gd name="T58" fmla="*/ 7 w 31"/>
                <a:gd name="T59" fmla="*/ 28 h 30"/>
                <a:gd name="T60" fmla="*/ 10 w 31"/>
                <a:gd name="T61" fmla="*/ 29 h 30"/>
                <a:gd name="T62" fmla="*/ 12 w 31"/>
                <a:gd name="T63" fmla="*/ 30 h 30"/>
                <a:gd name="T64" fmla="*/ 16 w 31"/>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6" y="30"/>
                  </a:moveTo>
                  <a:lnTo>
                    <a:pt x="19" y="30"/>
                  </a:lnTo>
                  <a:lnTo>
                    <a:pt x="21" y="29"/>
                  </a:lnTo>
                  <a:lnTo>
                    <a:pt x="24" y="28"/>
                  </a:lnTo>
                  <a:lnTo>
                    <a:pt x="26" y="26"/>
                  </a:lnTo>
                  <a:lnTo>
                    <a:pt x="28" y="23"/>
                  </a:lnTo>
                  <a:lnTo>
                    <a:pt x="29" y="20"/>
                  </a:lnTo>
                  <a:lnTo>
                    <a:pt x="31" y="18"/>
                  </a:lnTo>
                  <a:lnTo>
                    <a:pt x="31" y="15"/>
                  </a:lnTo>
                  <a:lnTo>
                    <a:pt x="31" y="12"/>
                  </a:lnTo>
                  <a:lnTo>
                    <a:pt x="29" y="9"/>
                  </a:lnTo>
                  <a:lnTo>
                    <a:pt x="28" y="6"/>
                  </a:lnTo>
                  <a:lnTo>
                    <a:pt x="26" y="4"/>
                  </a:lnTo>
                  <a:lnTo>
                    <a:pt x="24" y="2"/>
                  </a:lnTo>
                  <a:lnTo>
                    <a:pt x="21" y="1"/>
                  </a:lnTo>
                  <a:lnTo>
                    <a:pt x="19" y="0"/>
                  </a:lnTo>
                  <a:lnTo>
                    <a:pt x="16" y="0"/>
                  </a:lnTo>
                  <a:lnTo>
                    <a:pt x="12" y="0"/>
                  </a:lnTo>
                  <a:lnTo>
                    <a:pt x="10" y="1"/>
                  </a:lnTo>
                  <a:lnTo>
                    <a:pt x="7" y="2"/>
                  </a:lnTo>
                  <a:lnTo>
                    <a:pt x="5" y="4"/>
                  </a:lnTo>
                  <a:lnTo>
                    <a:pt x="3" y="6"/>
                  </a:lnTo>
                  <a:lnTo>
                    <a:pt x="2" y="9"/>
                  </a:lnTo>
                  <a:lnTo>
                    <a:pt x="0" y="12"/>
                  </a:lnTo>
                  <a:lnTo>
                    <a:pt x="0" y="15"/>
                  </a:lnTo>
                  <a:lnTo>
                    <a:pt x="0" y="18"/>
                  </a:lnTo>
                  <a:lnTo>
                    <a:pt x="2" y="20"/>
                  </a:lnTo>
                  <a:lnTo>
                    <a:pt x="3" y="23"/>
                  </a:lnTo>
                  <a:lnTo>
                    <a:pt x="5" y="26"/>
                  </a:lnTo>
                  <a:lnTo>
                    <a:pt x="7" y="28"/>
                  </a:lnTo>
                  <a:lnTo>
                    <a:pt x="10" y="29"/>
                  </a:lnTo>
                  <a:lnTo>
                    <a:pt x="12" y="30"/>
                  </a:ln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81">
              <a:extLst>
                <a:ext uri="{FF2B5EF4-FFF2-40B4-BE49-F238E27FC236}">
                  <a16:creationId xmlns:a16="http://schemas.microsoft.com/office/drawing/2014/main" id="{3B8B06B0-2E0B-4479-8FCC-48A14A4E9B35}"/>
                </a:ext>
              </a:extLst>
            </p:cNvPr>
            <p:cNvSpPr>
              <a:spLocks/>
            </p:cNvSpPr>
            <p:nvPr/>
          </p:nvSpPr>
          <p:spPr bwMode="auto">
            <a:xfrm>
              <a:off x="371475" y="1581150"/>
              <a:ext cx="9525" cy="9525"/>
            </a:xfrm>
            <a:custGeom>
              <a:avLst/>
              <a:gdLst>
                <a:gd name="T0" fmla="*/ 16 w 31"/>
                <a:gd name="T1" fmla="*/ 30 h 30"/>
                <a:gd name="T2" fmla="*/ 18 w 31"/>
                <a:gd name="T3" fmla="*/ 30 h 30"/>
                <a:gd name="T4" fmla="*/ 22 w 31"/>
                <a:gd name="T5" fmla="*/ 29 h 30"/>
                <a:gd name="T6" fmla="*/ 24 w 31"/>
                <a:gd name="T7" fmla="*/ 28 h 30"/>
                <a:gd name="T8" fmla="*/ 26 w 31"/>
                <a:gd name="T9" fmla="*/ 26 h 30"/>
                <a:gd name="T10" fmla="*/ 28 w 31"/>
                <a:gd name="T11" fmla="*/ 23 h 30"/>
                <a:gd name="T12" fmla="*/ 29 w 31"/>
                <a:gd name="T13" fmla="*/ 20 h 30"/>
                <a:gd name="T14" fmla="*/ 30 w 31"/>
                <a:gd name="T15" fmla="*/ 18 h 30"/>
                <a:gd name="T16" fmla="*/ 31 w 31"/>
                <a:gd name="T17" fmla="*/ 15 h 30"/>
                <a:gd name="T18" fmla="*/ 30 w 31"/>
                <a:gd name="T19" fmla="*/ 12 h 30"/>
                <a:gd name="T20" fmla="*/ 29 w 31"/>
                <a:gd name="T21" fmla="*/ 9 h 30"/>
                <a:gd name="T22" fmla="*/ 28 w 31"/>
                <a:gd name="T23" fmla="*/ 6 h 30"/>
                <a:gd name="T24" fmla="*/ 26 w 31"/>
                <a:gd name="T25" fmla="*/ 4 h 30"/>
                <a:gd name="T26" fmla="*/ 24 w 31"/>
                <a:gd name="T27" fmla="*/ 2 h 30"/>
                <a:gd name="T28" fmla="*/ 22 w 31"/>
                <a:gd name="T29" fmla="*/ 1 h 30"/>
                <a:gd name="T30" fmla="*/ 18 w 31"/>
                <a:gd name="T31" fmla="*/ 0 h 30"/>
                <a:gd name="T32" fmla="*/ 16 w 31"/>
                <a:gd name="T33" fmla="*/ 0 h 30"/>
                <a:gd name="T34" fmla="*/ 13 w 31"/>
                <a:gd name="T35" fmla="*/ 0 h 30"/>
                <a:gd name="T36" fmla="*/ 10 w 31"/>
                <a:gd name="T37" fmla="*/ 1 h 30"/>
                <a:gd name="T38" fmla="*/ 8 w 31"/>
                <a:gd name="T39" fmla="*/ 2 h 30"/>
                <a:gd name="T40" fmla="*/ 6 w 31"/>
                <a:gd name="T41" fmla="*/ 4 h 30"/>
                <a:gd name="T42" fmla="*/ 3 w 31"/>
                <a:gd name="T43" fmla="*/ 6 h 30"/>
                <a:gd name="T44" fmla="*/ 2 w 31"/>
                <a:gd name="T45" fmla="*/ 9 h 30"/>
                <a:gd name="T46" fmla="*/ 1 w 31"/>
                <a:gd name="T47" fmla="*/ 12 h 30"/>
                <a:gd name="T48" fmla="*/ 0 w 31"/>
                <a:gd name="T49" fmla="*/ 15 h 30"/>
                <a:gd name="T50" fmla="*/ 1 w 31"/>
                <a:gd name="T51" fmla="*/ 18 h 30"/>
                <a:gd name="T52" fmla="*/ 2 w 31"/>
                <a:gd name="T53" fmla="*/ 20 h 30"/>
                <a:gd name="T54" fmla="*/ 3 w 31"/>
                <a:gd name="T55" fmla="*/ 23 h 30"/>
                <a:gd name="T56" fmla="*/ 6 w 31"/>
                <a:gd name="T57" fmla="*/ 26 h 30"/>
                <a:gd name="T58" fmla="*/ 8 w 31"/>
                <a:gd name="T59" fmla="*/ 28 h 30"/>
                <a:gd name="T60" fmla="*/ 10 w 31"/>
                <a:gd name="T61" fmla="*/ 29 h 30"/>
                <a:gd name="T62" fmla="*/ 13 w 31"/>
                <a:gd name="T63" fmla="*/ 30 h 30"/>
                <a:gd name="T64" fmla="*/ 16 w 31"/>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6" y="30"/>
                  </a:moveTo>
                  <a:lnTo>
                    <a:pt x="18" y="30"/>
                  </a:lnTo>
                  <a:lnTo>
                    <a:pt x="22" y="29"/>
                  </a:lnTo>
                  <a:lnTo>
                    <a:pt x="24" y="28"/>
                  </a:lnTo>
                  <a:lnTo>
                    <a:pt x="26" y="26"/>
                  </a:lnTo>
                  <a:lnTo>
                    <a:pt x="28" y="23"/>
                  </a:lnTo>
                  <a:lnTo>
                    <a:pt x="29" y="20"/>
                  </a:lnTo>
                  <a:lnTo>
                    <a:pt x="30" y="18"/>
                  </a:lnTo>
                  <a:lnTo>
                    <a:pt x="31" y="15"/>
                  </a:lnTo>
                  <a:lnTo>
                    <a:pt x="30" y="12"/>
                  </a:lnTo>
                  <a:lnTo>
                    <a:pt x="29" y="9"/>
                  </a:lnTo>
                  <a:lnTo>
                    <a:pt x="28" y="6"/>
                  </a:lnTo>
                  <a:lnTo>
                    <a:pt x="26" y="4"/>
                  </a:lnTo>
                  <a:lnTo>
                    <a:pt x="24" y="2"/>
                  </a:lnTo>
                  <a:lnTo>
                    <a:pt x="22" y="1"/>
                  </a:lnTo>
                  <a:lnTo>
                    <a:pt x="18" y="0"/>
                  </a:lnTo>
                  <a:lnTo>
                    <a:pt x="16" y="0"/>
                  </a:lnTo>
                  <a:lnTo>
                    <a:pt x="13" y="0"/>
                  </a:lnTo>
                  <a:lnTo>
                    <a:pt x="10" y="1"/>
                  </a:lnTo>
                  <a:lnTo>
                    <a:pt x="8" y="2"/>
                  </a:lnTo>
                  <a:lnTo>
                    <a:pt x="6" y="4"/>
                  </a:lnTo>
                  <a:lnTo>
                    <a:pt x="3" y="6"/>
                  </a:lnTo>
                  <a:lnTo>
                    <a:pt x="2" y="9"/>
                  </a:lnTo>
                  <a:lnTo>
                    <a:pt x="1" y="12"/>
                  </a:lnTo>
                  <a:lnTo>
                    <a:pt x="0" y="15"/>
                  </a:lnTo>
                  <a:lnTo>
                    <a:pt x="1" y="18"/>
                  </a:lnTo>
                  <a:lnTo>
                    <a:pt x="2" y="20"/>
                  </a:lnTo>
                  <a:lnTo>
                    <a:pt x="3" y="23"/>
                  </a:lnTo>
                  <a:lnTo>
                    <a:pt x="6" y="26"/>
                  </a:lnTo>
                  <a:lnTo>
                    <a:pt x="8" y="28"/>
                  </a:lnTo>
                  <a:lnTo>
                    <a:pt x="10" y="29"/>
                  </a:lnTo>
                  <a:lnTo>
                    <a:pt x="13" y="30"/>
                  </a:ln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2" name="Group 87">
            <a:extLst>
              <a:ext uri="{FF2B5EF4-FFF2-40B4-BE49-F238E27FC236}">
                <a16:creationId xmlns:a16="http://schemas.microsoft.com/office/drawing/2014/main" id="{B364D691-C915-432D-9462-52ACC692D679}"/>
              </a:ext>
            </a:extLst>
          </p:cNvPr>
          <p:cNvGrpSpPr>
            <a:grpSpLocks noChangeAspect="1"/>
          </p:cNvGrpSpPr>
          <p:nvPr/>
        </p:nvGrpSpPr>
        <p:grpSpPr>
          <a:xfrm>
            <a:off x="718893" y="5956111"/>
            <a:ext cx="190412" cy="285619"/>
            <a:chOff x="3240088" y="1935163"/>
            <a:chExt cx="190500" cy="285750"/>
          </a:xfrm>
          <a:solidFill>
            <a:schemeClr val="bg2"/>
          </a:solidFill>
          <a:effectLst/>
        </p:grpSpPr>
        <p:sp>
          <p:nvSpPr>
            <p:cNvPr id="1143" name="Freeform 219">
              <a:extLst>
                <a:ext uri="{FF2B5EF4-FFF2-40B4-BE49-F238E27FC236}">
                  <a16:creationId xmlns:a16="http://schemas.microsoft.com/office/drawing/2014/main" id="{107DD4BA-BD7E-4E79-AE7E-230DAC5718CF}"/>
                </a:ext>
              </a:extLst>
            </p:cNvPr>
            <p:cNvSpPr>
              <a:spLocks/>
            </p:cNvSpPr>
            <p:nvPr/>
          </p:nvSpPr>
          <p:spPr bwMode="auto">
            <a:xfrm>
              <a:off x="3249613" y="2020888"/>
              <a:ext cx="180975" cy="200025"/>
            </a:xfrm>
            <a:custGeom>
              <a:avLst/>
              <a:gdLst>
                <a:gd name="T0" fmla="*/ 481 w 571"/>
                <a:gd name="T1" fmla="*/ 316 h 632"/>
                <a:gd name="T2" fmla="*/ 474 w 571"/>
                <a:gd name="T3" fmla="*/ 274 h 632"/>
                <a:gd name="T4" fmla="*/ 456 w 571"/>
                <a:gd name="T5" fmla="*/ 238 h 632"/>
                <a:gd name="T6" fmla="*/ 428 w 571"/>
                <a:gd name="T7" fmla="*/ 202 h 632"/>
                <a:gd name="T8" fmla="*/ 393 w 571"/>
                <a:gd name="T9" fmla="*/ 170 h 632"/>
                <a:gd name="T10" fmla="*/ 330 w 571"/>
                <a:gd name="T11" fmla="*/ 119 h 632"/>
                <a:gd name="T12" fmla="*/ 329 w 571"/>
                <a:gd name="T13" fmla="*/ 48 h 632"/>
                <a:gd name="T14" fmla="*/ 324 w 571"/>
                <a:gd name="T15" fmla="*/ 31 h 632"/>
                <a:gd name="T16" fmla="*/ 313 w 571"/>
                <a:gd name="T17" fmla="*/ 18 h 632"/>
                <a:gd name="T18" fmla="*/ 299 w 571"/>
                <a:gd name="T19" fmla="*/ 7 h 632"/>
                <a:gd name="T20" fmla="*/ 283 w 571"/>
                <a:gd name="T21" fmla="*/ 1 h 632"/>
                <a:gd name="T22" fmla="*/ 60 w 571"/>
                <a:gd name="T23" fmla="*/ 0 h 632"/>
                <a:gd name="T24" fmla="*/ 42 w 571"/>
                <a:gd name="T25" fmla="*/ 3 h 632"/>
                <a:gd name="T26" fmla="*/ 26 w 571"/>
                <a:gd name="T27" fmla="*/ 10 h 632"/>
                <a:gd name="T28" fmla="*/ 13 w 571"/>
                <a:gd name="T29" fmla="*/ 22 h 632"/>
                <a:gd name="T30" fmla="*/ 4 w 571"/>
                <a:gd name="T31" fmla="*/ 36 h 632"/>
                <a:gd name="T32" fmla="*/ 0 w 571"/>
                <a:gd name="T33" fmla="*/ 54 h 632"/>
                <a:gd name="T34" fmla="*/ 0 w 571"/>
                <a:gd name="T35" fmla="*/ 458 h 632"/>
                <a:gd name="T36" fmla="*/ 4 w 571"/>
                <a:gd name="T37" fmla="*/ 475 h 632"/>
                <a:gd name="T38" fmla="*/ 13 w 571"/>
                <a:gd name="T39" fmla="*/ 490 h 632"/>
                <a:gd name="T40" fmla="*/ 26 w 571"/>
                <a:gd name="T41" fmla="*/ 501 h 632"/>
                <a:gd name="T42" fmla="*/ 42 w 571"/>
                <a:gd name="T43" fmla="*/ 509 h 632"/>
                <a:gd name="T44" fmla="*/ 60 w 571"/>
                <a:gd name="T45" fmla="*/ 511 h 632"/>
                <a:gd name="T46" fmla="*/ 216 w 571"/>
                <a:gd name="T47" fmla="*/ 510 h 632"/>
                <a:gd name="T48" fmla="*/ 223 w 571"/>
                <a:gd name="T49" fmla="*/ 505 h 632"/>
                <a:gd name="T50" fmla="*/ 225 w 571"/>
                <a:gd name="T51" fmla="*/ 496 h 632"/>
                <a:gd name="T52" fmla="*/ 223 w 571"/>
                <a:gd name="T53" fmla="*/ 488 h 632"/>
                <a:gd name="T54" fmla="*/ 216 w 571"/>
                <a:gd name="T55" fmla="*/ 482 h 632"/>
                <a:gd name="T56" fmla="*/ 60 w 571"/>
                <a:gd name="T57" fmla="*/ 481 h 632"/>
                <a:gd name="T58" fmla="*/ 43 w 571"/>
                <a:gd name="T59" fmla="*/ 476 h 632"/>
                <a:gd name="T60" fmla="*/ 32 w 571"/>
                <a:gd name="T61" fmla="*/ 463 h 632"/>
                <a:gd name="T62" fmla="*/ 30 w 571"/>
                <a:gd name="T63" fmla="*/ 60 h 632"/>
                <a:gd name="T64" fmla="*/ 34 w 571"/>
                <a:gd name="T65" fmla="*/ 43 h 632"/>
                <a:gd name="T66" fmla="*/ 48 w 571"/>
                <a:gd name="T67" fmla="*/ 32 h 632"/>
                <a:gd name="T68" fmla="*/ 270 w 571"/>
                <a:gd name="T69" fmla="*/ 30 h 632"/>
                <a:gd name="T70" fmla="*/ 287 w 571"/>
                <a:gd name="T71" fmla="*/ 35 h 632"/>
                <a:gd name="T72" fmla="*/ 298 w 571"/>
                <a:gd name="T73" fmla="*/ 48 h 632"/>
                <a:gd name="T74" fmla="*/ 300 w 571"/>
                <a:gd name="T75" fmla="*/ 195 h 632"/>
                <a:gd name="T76" fmla="*/ 303 w 571"/>
                <a:gd name="T77" fmla="*/ 203 h 632"/>
                <a:gd name="T78" fmla="*/ 310 w 571"/>
                <a:gd name="T79" fmla="*/ 209 h 632"/>
                <a:gd name="T80" fmla="*/ 318 w 571"/>
                <a:gd name="T81" fmla="*/ 210 h 632"/>
                <a:gd name="T82" fmla="*/ 326 w 571"/>
                <a:gd name="T83" fmla="*/ 205 h 632"/>
                <a:gd name="T84" fmla="*/ 330 w 571"/>
                <a:gd name="T85" fmla="*/ 198 h 632"/>
                <a:gd name="T86" fmla="*/ 354 w 571"/>
                <a:gd name="T87" fmla="*/ 176 h 632"/>
                <a:gd name="T88" fmla="*/ 415 w 571"/>
                <a:gd name="T89" fmla="*/ 233 h 632"/>
                <a:gd name="T90" fmla="*/ 435 w 571"/>
                <a:gd name="T91" fmla="*/ 262 h 632"/>
                <a:gd name="T92" fmla="*/ 448 w 571"/>
                <a:gd name="T93" fmla="*/ 293 h 632"/>
                <a:gd name="T94" fmla="*/ 451 w 571"/>
                <a:gd name="T95" fmla="*/ 481 h 632"/>
                <a:gd name="T96" fmla="*/ 544 w 571"/>
                <a:gd name="T97" fmla="*/ 625 h 632"/>
                <a:gd name="T98" fmla="*/ 553 w 571"/>
                <a:gd name="T99" fmla="*/ 631 h 632"/>
                <a:gd name="T100" fmla="*/ 565 w 571"/>
                <a:gd name="T101" fmla="*/ 629 h 632"/>
                <a:gd name="T102" fmla="*/ 570 w 571"/>
                <a:gd name="T103" fmla="*/ 623 h 632"/>
                <a:gd name="T104" fmla="*/ 571 w 571"/>
                <a:gd name="T105" fmla="*/ 614 h 632"/>
                <a:gd name="T106" fmla="*/ 569 w 571"/>
                <a:gd name="T107" fmla="*/ 6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1" h="632">
                  <a:moveTo>
                    <a:pt x="569" y="609"/>
                  </a:moveTo>
                  <a:lnTo>
                    <a:pt x="481" y="477"/>
                  </a:lnTo>
                  <a:lnTo>
                    <a:pt x="481" y="316"/>
                  </a:lnTo>
                  <a:lnTo>
                    <a:pt x="480" y="302"/>
                  </a:lnTo>
                  <a:lnTo>
                    <a:pt x="478" y="288"/>
                  </a:lnTo>
                  <a:lnTo>
                    <a:pt x="474" y="274"/>
                  </a:lnTo>
                  <a:lnTo>
                    <a:pt x="470" y="261"/>
                  </a:lnTo>
                  <a:lnTo>
                    <a:pt x="463" y="249"/>
                  </a:lnTo>
                  <a:lnTo>
                    <a:pt x="456" y="238"/>
                  </a:lnTo>
                  <a:lnTo>
                    <a:pt x="447" y="226"/>
                  </a:lnTo>
                  <a:lnTo>
                    <a:pt x="438" y="214"/>
                  </a:lnTo>
                  <a:lnTo>
                    <a:pt x="428" y="202"/>
                  </a:lnTo>
                  <a:lnTo>
                    <a:pt x="417" y="192"/>
                  </a:lnTo>
                  <a:lnTo>
                    <a:pt x="405" y="181"/>
                  </a:lnTo>
                  <a:lnTo>
                    <a:pt x="393" y="170"/>
                  </a:lnTo>
                  <a:lnTo>
                    <a:pt x="368" y="149"/>
                  </a:lnTo>
                  <a:lnTo>
                    <a:pt x="341" y="127"/>
                  </a:lnTo>
                  <a:lnTo>
                    <a:pt x="330" y="119"/>
                  </a:lnTo>
                  <a:lnTo>
                    <a:pt x="330" y="60"/>
                  </a:lnTo>
                  <a:lnTo>
                    <a:pt x="330" y="53"/>
                  </a:lnTo>
                  <a:lnTo>
                    <a:pt x="329" y="48"/>
                  </a:lnTo>
                  <a:lnTo>
                    <a:pt x="328" y="42"/>
                  </a:lnTo>
                  <a:lnTo>
                    <a:pt x="326" y="36"/>
                  </a:lnTo>
                  <a:lnTo>
                    <a:pt x="324" y="31"/>
                  </a:lnTo>
                  <a:lnTo>
                    <a:pt x="321" y="26"/>
                  </a:lnTo>
                  <a:lnTo>
                    <a:pt x="317" y="22"/>
                  </a:lnTo>
                  <a:lnTo>
                    <a:pt x="313" y="18"/>
                  </a:lnTo>
                  <a:lnTo>
                    <a:pt x="309" y="13"/>
                  </a:lnTo>
                  <a:lnTo>
                    <a:pt x="304" y="10"/>
                  </a:lnTo>
                  <a:lnTo>
                    <a:pt x="299" y="7"/>
                  </a:lnTo>
                  <a:lnTo>
                    <a:pt x="294" y="5"/>
                  </a:lnTo>
                  <a:lnTo>
                    <a:pt x="288" y="3"/>
                  </a:lnTo>
                  <a:lnTo>
                    <a:pt x="283" y="1"/>
                  </a:lnTo>
                  <a:lnTo>
                    <a:pt x="277" y="0"/>
                  </a:lnTo>
                  <a:lnTo>
                    <a:pt x="270" y="0"/>
                  </a:lnTo>
                  <a:lnTo>
                    <a:pt x="60" y="0"/>
                  </a:lnTo>
                  <a:lnTo>
                    <a:pt x="53" y="0"/>
                  </a:lnTo>
                  <a:lnTo>
                    <a:pt x="47" y="1"/>
                  </a:lnTo>
                  <a:lnTo>
                    <a:pt x="42" y="3"/>
                  </a:lnTo>
                  <a:lnTo>
                    <a:pt x="36" y="5"/>
                  </a:lnTo>
                  <a:lnTo>
                    <a:pt x="31" y="7"/>
                  </a:lnTo>
                  <a:lnTo>
                    <a:pt x="26" y="10"/>
                  </a:lnTo>
                  <a:lnTo>
                    <a:pt x="21" y="13"/>
                  </a:lnTo>
                  <a:lnTo>
                    <a:pt x="17" y="18"/>
                  </a:lnTo>
                  <a:lnTo>
                    <a:pt x="13" y="22"/>
                  </a:lnTo>
                  <a:lnTo>
                    <a:pt x="9" y="26"/>
                  </a:lnTo>
                  <a:lnTo>
                    <a:pt x="6" y="32"/>
                  </a:lnTo>
                  <a:lnTo>
                    <a:pt x="4" y="36"/>
                  </a:lnTo>
                  <a:lnTo>
                    <a:pt x="2" y="42"/>
                  </a:lnTo>
                  <a:lnTo>
                    <a:pt x="1" y="48"/>
                  </a:lnTo>
                  <a:lnTo>
                    <a:pt x="0" y="54"/>
                  </a:lnTo>
                  <a:lnTo>
                    <a:pt x="0" y="60"/>
                  </a:lnTo>
                  <a:lnTo>
                    <a:pt x="0" y="451"/>
                  </a:lnTo>
                  <a:lnTo>
                    <a:pt x="0" y="458"/>
                  </a:lnTo>
                  <a:lnTo>
                    <a:pt x="1" y="463"/>
                  </a:lnTo>
                  <a:lnTo>
                    <a:pt x="2" y="469"/>
                  </a:lnTo>
                  <a:lnTo>
                    <a:pt x="4" y="475"/>
                  </a:lnTo>
                  <a:lnTo>
                    <a:pt x="6" y="480"/>
                  </a:lnTo>
                  <a:lnTo>
                    <a:pt x="9" y="484"/>
                  </a:lnTo>
                  <a:lnTo>
                    <a:pt x="13" y="490"/>
                  </a:lnTo>
                  <a:lnTo>
                    <a:pt x="17" y="494"/>
                  </a:lnTo>
                  <a:lnTo>
                    <a:pt x="21" y="497"/>
                  </a:lnTo>
                  <a:lnTo>
                    <a:pt x="26" y="501"/>
                  </a:lnTo>
                  <a:lnTo>
                    <a:pt x="31" y="505"/>
                  </a:lnTo>
                  <a:lnTo>
                    <a:pt x="36" y="507"/>
                  </a:lnTo>
                  <a:lnTo>
                    <a:pt x="42" y="509"/>
                  </a:lnTo>
                  <a:lnTo>
                    <a:pt x="47" y="510"/>
                  </a:lnTo>
                  <a:lnTo>
                    <a:pt x="53" y="511"/>
                  </a:lnTo>
                  <a:lnTo>
                    <a:pt x="60" y="511"/>
                  </a:lnTo>
                  <a:lnTo>
                    <a:pt x="210" y="511"/>
                  </a:lnTo>
                  <a:lnTo>
                    <a:pt x="213" y="511"/>
                  </a:lnTo>
                  <a:lnTo>
                    <a:pt x="216" y="510"/>
                  </a:lnTo>
                  <a:lnTo>
                    <a:pt x="219" y="509"/>
                  </a:lnTo>
                  <a:lnTo>
                    <a:pt x="221" y="507"/>
                  </a:lnTo>
                  <a:lnTo>
                    <a:pt x="223" y="505"/>
                  </a:lnTo>
                  <a:lnTo>
                    <a:pt x="224" y="503"/>
                  </a:lnTo>
                  <a:lnTo>
                    <a:pt x="225" y="499"/>
                  </a:lnTo>
                  <a:lnTo>
                    <a:pt x="225" y="496"/>
                  </a:lnTo>
                  <a:lnTo>
                    <a:pt x="225" y="493"/>
                  </a:lnTo>
                  <a:lnTo>
                    <a:pt x="224" y="491"/>
                  </a:lnTo>
                  <a:lnTo>
                    <a:pt x="223" y="488"/>
                  </a:lnTo>
                  <a:lnTo>
                    <a:pt x="221" y="485"/>
                  </a:lnTo>
                  <a:lnTo>
                    <a:pt x="219" y="484"/>
                  </a:lnTo>
                  <a:lnTo>
                    <a:pt x="216" y="482"/>
                  </a:lnTo>
                  <a:lnTo>
                    <a:pt x="213" y="482"/>
                  </a:lnTo>
                  <a:lnTo>
                    <a:pt x="210" y="481"/>
                  </a:lnTo>
                  <a:lnTo>
                    <a:pt x="60" y="481"/>
                  </a:lnTo>
                  <a:lnTo>
                    <a:pt x="53" y="481"/>
                  </a:lnTo>
                  <a:lnTo>
                    <a:pt x="48" y="479"/>
                  </a:lnTo>
                  <a:lnTo>
                    <a:pt x="43" y="476"/>
                  </a:lnTo>
                  <a:lnTo>
                    <a:pt x="38" y="473"/>
                  </a:lnTo>
                  <a:lnTo>
                    <a:pt x="34" y="468"/>
                  </a:lnTo>
                  <a:lnTo>
                    <a:pt x="32" y="463"/>
                  </a:lnTo>
                  <a:lnTo>
                    <a:pt x="30" y="458"/>
                  </a:lnTo>
                  <a:lnTo>
                    <a:pt x="30" y="451"/>
                  </a:lnTo>
                  <a:lnTo>
                    <a:pt x="30" y="60"/>
                  </a:lnTo>
                  <a:lnTo>
                    <a:pt x="30" y="54"/>
                  </a:lnTo>
                  <a:lnTo>
                    <a:pt x="32" y="48"/>
                  </a:lnTo>
                  <a:lnTo>
                    <a:pt x="34" y="43"/>
                  </a:lnTo>
                  <a:lnTo>
                    <a:pt x="38" y="38"/>
                  </a:lnTo>
                  <a:lnTo>
                    <a:pt x="43" y="35"/>
                  </a:lnTo>
                  <a:lnTo>
                    <a:pt x="48" y="32"/>
                  </a:lnTo>
                  <a:lnTo>
                    <a:pt x="53" y="31"/>
                  </a:lnTo>
                  <a:lnTo>
                    <a:pt x="60" y="30"/>
                  </a:lnTo>
                  <a:lnTo>
                    <a:pt x="270" y="30"/>
                  </a:lnTo>
                  <a:lnTo>
                    <a:pt x="277" y="31"/>
                  </a:lnTo>
                  <a:lnTo>
                    <a:pt x="282" y="32"/>
                  </a:lnTo>
                  <a:lnTo>
                    <a:pt x="287" y="35"/>
                  </a:lnTo>
                  <a:lnTo>
                    <a:pt x="292" y="38"/>
                  </a:lnTo>
                  <a:lnTo>
                    <a:pt x="296" y="43"/>
                  </a:lnTo>
                  <a:lnTo>
                    <a:pt x="298" y="48"/>
                  </a:lnTo>
                  <a:lnTo>
                    <a:pt x="300" y="54"/>
                  </a:lnTo>
                  <a:lnTo>
                    <a:pt x="300" y="60"/>
                  </a:lnTo>
                  <a:lnTo>
                    <a:pt x="300" y="195"/>
                  </a:lnTo>
                  <a:lnTo>
                    <a:pt x="301" y="198"/>
                  </a:lnTo>
                  <a:lnTo>
                    <a:pt x="301" y="201"/>
                  </a:lnTo>
                  <a:lnTo>
                    <a:pt x="303" y="203"/>
                  </a:lnTo>
                  <a:lnTo>
                    <a:pt x="304" y="205"/>
                  </a:lnTo>
                  <a:lnTo>
                    <a:pt x="308" y="208"/>
                  </a:lnTo>
                  <a:lnTo>
                    <a:pt x="310" y="209"/>
                  </a:lnTo>
                  <a:lnTo>
                    <a:pt x="313" y="210"/>
                  </a:lnTo>
                  <a:lnTo>
                    <a:pt x="315" y="211"/>
                  </a:lnTo>
                  <a:lnTo>
                    <a:pt x="318" y="210"/>
                  </a:lnTo>
                  <a:lnTo>
                    <a:pt x="322" y="209"/>
                  </a:lnTo>
                  <a:lnTo>
                    <a:pt x="324" y="208"/>
                  </a:lnTo>
                  <a:lnTo>
                    <a:pt x="326" y="205"/>
                  </a:lnTo>
                  <a:lnTo>
                    <a:pt x="328" y="203"/>
                  </a:lnTo>
                  <a:lnTo>
                    <a:pt x="329" y="201"/>
                  </a:lnTo>
                  <a:lnTo>
                    <a:pt x="330" y="198"/>
                  </a:lnTo>
                  <a:lnTo>
                    <a:pt x="330" y="196"/>
                  </a:lnTo>
                  <a:lnTo>
                    <a:pt x="330" y="157"/>
                  </a:lnTo>
                  <a:lnTo>
                    <a:pt x="354" y="176"/>
                  </a:lnTo>
                  <a:lnTo>
                    <a:pt x="376" y="195"/>
                  </a:lnTo>
                  <a:lnTo>
                    <a:pt x="397" y="214"/>
                  </a:lnTo>
                  <a:lnTo>
                    <a:pt x="415" y="233"/>
                  </a:lnTo>
                  <a:lnTo>
                    <a:pt x="422" y="243"/>
                  </a:lnTo>
                  <a:lnTo>
                    <a:pt x="430" y="253"/>
                  </a:lnTo>
                  <a:lnTo>
                    <a:pt x="435" y="262"/>
                  </a:lnTo>
                  <a:lnTo>
                    <a:pt x="441" y="273"/>
                  </a:lnTo>
                  <a:lnTo>
                    <a:pt x="445" y="283"/>
                  </a:lnTo>
                  <a:lnTo>
                    <a:pt x="448" y="293"/>
                  </a:lnTo>
                  <a:lnTo>
                    <a:pt x="450" y="304"/>
                  </a:lnTo>
                  <a:lnTo>
                    <a:pt x="451" y="316"/>
                  </a:lnTo>
                  <a:lnTo>
                    <a:pt x="451" y="481"/>
                  </a:lnTo>
                  <a:lnTo>
                    <a:pt x="451" y="485"/>
                  </a:lnTo>
                  <a:lnTo>
                    <a:pt x="454" y="490"/>
                  </a:lnTo>
                  <a:lnTo>
                    <a:pt x="544" y="625"/>
                  </a:lnTo>
                  <a:lnTo>
                    <a:pt x="547" y="628"/>
                  </a:lnTo>
                  <a:lnTo>
                    <a:pt x="549" y="630"/>
                  </a:lnTo>
                  <a:lnTo>
                    <a:pt x="553" y="631"/>
                  </a:lnTo>
                  <a:lnTo>
                    <a:pt x="556" y="632"/>
                  </a:lnTo>
                  <a:lnTo>
                    <a:pt x="561" y="631"/>
                  </a:lnTo>
                  <a:lnTo>
                    <a:pt x="565" y="629"/>
                  </a:lnTo>
                  <a:lnTo>
                    <a:pt x="567" y="627"/>
                  </a:lnTo>
                  <a:lnTo>
                    <a:pt x="569" y="625"/>
                  </a:lnTo>
                  <a:lnTo>
                    <a:pt x="570" y="623"/>
                  </a:lnTo>
                  <a:lnTo>
                    <a:pt x="571" y="619"/>
                  </a:lnTo>
                  <a:lnTo>
                    <a:pt x="571" y="617"/>
                  </a:lnTo>
                  <a:lnTo>
                    <a:pt x="571" y="614"/>
                  </a:lnTo>
                  <a:lnTo>
                    <a:pt x="570" y="611"/>
                  </a:lnTo>
                  <a:lnTo>
                    <a:pt x="569" y="609"/>
                  </a:lnTo>
                  <a:lnTo>
                    <a:pt x="569" y="6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4" name="Freeform 220">
              <a:extLst>
                <a:ext uri="{FF2B5EF4-FFF2-40B4-BE49-F238E27FC236}">
                  <a16:creationId xmlns:a16="http://schemas.microsoft.com/office/drawing/2014/main" id="{715C3867-FB21-4E6B-9B12-E08203D53C10}"/>
                </a:ext>
              </a:extLst>
            </p:cNvPr>
            <p:cNvSpPr>
              <a:spLocks/>
            </p:cNvSpPr>
            <p:nvPr/>
          </p:nvSpPr>
          <p:spPr bwMode="auto">
            <a:xfrm>
              <a:off x="3316288" y="2103438"/>
              <a:ext cx="61913" cy="117475"/>
            </a:xfrm>
            <a:custGeom>
              <a:avLst/>
              <a:gdLst>
                <a:gd name="T0" fmla="*/ 93 w 192"/>
                <a:gd name="T1" fmla="*/ 12 h 373"/>
                <a:gd name="T2" fmla="*/ 84 w 192"/>
                <a:gd name="T3" fmla="*/ 7 h 373"/>
                <a:gd name="T4" fmla="*/ 68 w 192"/>
                <a:gd name="T5" fmla="*/ 1 h 373"/>
                <a:gd name="T6" fmla="*/ 45 w 192"/>
                <a:gd name="T7" fmla="*/ 1 h 373"/>
                <a:gd name="T8" fmla="*/ 29 w 192"/>
                <a:gd name="T9" fmla="*/ 7 h 373"/>
                <a:gd name="T10" fmla="*/ 20 w 192"/>
                <a:gd name="T11" fmla="*/ 12 h 373"/>
                <a:gd name="T12" fmla="*/ 12 w 192"/>
                <a:gd name="T13" fmla="*/ 20 h 373"/>
                <a:gd name="T14" fmla="*/ 6 w 192"/>
                <a:gd name="T15" fmla="*/ 29 h 373"/>
                <a:gd name="T16" fmla="*/ 1 w 192"/>
                <a:gd name="T17" fmla="*/ 45 h 373"/>
                <a:gd name="T18" fmla="*/ 0 w 192"/>
                <a:gd name="T19" fmla="*/ 67 h 373"/>
                <a:gd name="T20" fmla="*/ 6 w 192"/>
                <a:gd name="T21" fmla="*/ 83 h 373"/>
                <a:gd name="T22" fmla="*/ 11 w 192"/>
                <a:gd name="T23" fmla="*/ 92 h 373"/>
                <a:gd name="T24" fmla="*/ 86 w 192"/>
                <a:gd name="T25" fmla="*/ 211 h 373"/>
                <a:gd name="T26" fmla="*/ 86 w 192"/>
                <a:gd name="T27" fmla="*/ 284 h 373"/>
                <a:gd name="T28" fmla="*/ 89 w 192"/>
                <a:gd name="T29" fmla="*/ 309 h 373"/>
                <a:gd name="T30" fmla="*/ 96 w 192"/>
                <a:gd name="T31" fmla="*/ 329 h 373"/>
                <a:gd name="T32" fmla="*/ 110 w 192"/>
                <a:gd name="T33" fmla="*/ 352 h 373"/>
                <a:gd name="T34" fmla="*/ 122 w 192"/>
                <a:gd name="T35" fmla="*/ 369 h 373"/>
                <a:gd name="T36" fmla="*/ 128 w 192"/>
                <a:gd name="T37" fmla="*/ 372 h 373"/>
                <a:gd name="T38" fmla="*/ 137 w 192"/>
                <a:gd name="T39" fmla="*/ 372 h 373"/>
                <a:gd name="T40" fmla="*/ 143 w 192"/>
                <a:gd name="T41" fmla="*/ 368 h 373"/>
                <a:gd name="T42" fmla="*/ 146 w 192"/>
                <a:gd name="T43" fmla="*/ 363 h 373"/>
                <a:gd name="T44" fmla="*/ 146 w 192"/>
                <a:gd name="T45" fmla="*/ 357 h 373"/>
                <a:gd name="T46" fmla="*/ 145 w 192"/>
                <a:gd name="T47" fmla="*/ 352 h 373"/>
                <a:gd name="T48" fmla="*/ 135 w 192"/>
                <a:gd name="T49" fmla="*/ 337 h 373"/>
                <a:gd name="T50" fmla="*/ 124 w 192"/>
                <a:gd name="T51" fmla="*/ 319 h 373"/>
                <a:gd name="T52" fmla="*/ 118 w 192"/>
                <a:gd name="T53" fmla="*/ 301 h 373"/>
                <a:gd name="T54" fmla="*/ 116 w 192"/>
                <a:gd name="T55" fmla="*/ 281 h 373"/>
                <a:gd name="T56" fmla="*/ 116 w 192"/>
                <a:gd name="T57" fmla="*/ 207 h 373"/>
                <a:gd name="T58" fmla="*/ 114 w 192"/>
                <a:gd name="T59" fmla="*/ 200 h 373"/>
                <a:gd name="T60" fmla="*/ 38 w 192"/>
                <a:gd name="T61" fmla="*/ 77 h 373"/>
                <a:gd name="T62" fmla="*/ 34 w 192"/>
                <a:gd name="T63" fmla="*/ 72 h 373"/>
                <a:gd name="T64" fmla="*/ 30 w 192"/>
                <a:gd name="T65" fmla="*/ 62 h 373"/>
                <a:gd name="T66" fmla="*/ 30 w 192"/>
                <a:gd name="T67" fmla="*/ 52 h 373"/>
                <a:gd name="T68" fmla="*/ 34 w 192"/>
                <a:gd name="T69" fmla="*/ 41 h 373"/>
                <a:gd name="T70" fmla="*/ 41 w 192"/>
                <a:gd name="T71" fmla="*/ 34 h 373"/>
                <a:gd name="T72" fmla="*/ 51 w 192"/>
                <a:gd name="T73" fmla="*/ 31 h 373"/>
                <a:gd name="T74" fmla="*/ 61 w 192"/>
                <a:gd name="T75" fmla="*/ 31 h 373"/>
                <a:gd name="T76" fmla="*/ 72 w 192"/>
                <a:gd name="T77" fmla="*/ 34 h 373"/>
                <a:gd name="T78" fmla="*/ 167 w 192"/>
                <a:gd name="T79" fmla="*/ 128 h 373"/>
                <a:gd name="T80" fmla="*/ 171 w 192"/>
                <a:gd name="T81" fmla="*/ 131 h 373"/>
                <a:gd name="T82" fmla="*/ 177 w 192"/>
                <a:gd name="T83" fmla="*/ 132 h 373"/>
                <a:gd name="T84" fmla="*/ 183 w 192"/>
                <a:gd name="T85" fmla="*/ 131 h 373"/>
                <a:gd name="T86" fmla="*/ 187 w 192"/>
                <a:gd name="T87" fmla="*/ 128 h 373"/>
                <a:gd name="T88" fmla="*/ 191 w 192"/>
                <a:gd name="T89" fmla="*/ 122 h 373"/>
                <a:gd name="T90" fmla="*/ 192 w 192"/>
                <a:gd name="T91" fmla="*/ 117 h 373"/>
                <a:gd name="T92" fmla="*/ 191 w 192"/>
                <a:gd name="T93" fmla="*/ 112 h 373"/>
                <a:gd name="T94" fmla="*/ 187 w 192"/>
                <a:gd name="T95" fmla="*/ 10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373">
                  <a:moveTo>
                    <a:pt x="97" y="16"/>
                  </a:moveTo>
                  <a:lnTo>
                    <a:pt x="93" y="12"/>
                  </a:lnTo>
                  <a:lnTo>
                    <a:pt x="88" y="9"/>
                  </a:lnTo>
                  <a:lnTo>
                    <a:pt x="84" y="7"/>
                  </a:lnTo>
                  <a:lnTo>
                    <a:pt x="79" y="4"/>
                  </a:lnTo>
                  <a:lnTo>
                    <a:pt x="68" y="1"/>
                  </a:lnTo>
                  <a:lnTo>
                    <a:pt x="56" y="0"/>
                  </a:lnTo>
                  <a:lnTo>
                    <a:pt x="45" y="1"/>
                  </a:lnTo>
                  <a:lnTo>
                    <a:pt x="35" y="4"/>
                  </a:lnTo>
                  <a:lnTo>
                    <a:pt x="29" y="7"/>
                  </a:lnTo>
                  <a:lnTo>
                    <a:pt x="24" y="9"/>
                  </a:lnTo>
                  <a:lnTo>
                    <a:pt x="20" y="12"/>
                  </a:lnTo>
                  <a:lnTo>
                    <a:pt x="15" y="16"/>
                  </a:lnTo>
                  <a:lnTo>
                    <a:pt x="12" y="20"/>
                  </a:lnTo>
                  <a:lnTo>
                    <a:pt x="9" y="25"/>
                  </a:lnTo>
                  <a:lnTo>
                    <a:pt x="6" y="29"/>
                  </a:lnTo>
                  <a:lnTo>
                    <a:pt x="4" y="34"/>
                  </a:lnTo>
                  <a:lnTo>
                    <a:pt x="1" y="45"/>
                  </a:lnTo>
                  <a:lnTo>
                    <a:pt x="0" y="56"/>
                  </a:lnTo>
                  <a:lnTo>
                    <a:pt x="0" y="67"/>
                  </a:lnTo>
                  <a:lnTo>
                    <a:pt x="4" y="77"/>
                  </a:lnTo>
                  <a:lnTo>
                    <a:pt x="6" y="83"/>
                  </a:lnTo>
                  <a:lnTo>
                    <a:pt x="8" y="87"/>
                  </a:lnTo>
                  <a:lnTo>
                    <a:pt x="11" y="92"/>
                  </a:lnTo>
                  <a:lnTo>
                    <a:pt x="14" y="97"/>
                  </a:lnTo>
                  <a:lnTo>
                    <a:pt x="86" y="211"/>
                  </a:lnTo>
                  <a:lnTo>
                    <a:pt x="86" y="267"/>
                  </a:lnTo>
                  <a:lnTo>
                    <a:pt x="86" y="284"/>
                  </a:lnTo>
                  <a:lnTo>
                    <a:pt x="87" y="297"/>
                  </a:lnTo>
                  <a:lnTo>
                    <a:pt x="89" y="309"/>
                  </a:lnTo>
                  <a:lnTo>
                    <a:pt x="91" y="320"/>
                  </a:lnTo>
                  <a:lnTo>
                    <a:pt x="96" y="329"/>
                  </a:lnTo>
                  <a:lnTo>
                    <a:pt x="101" y="340"/>
                  </a:lnTo>
                  <a:lnTo>
                    <a:pt x="110" y="352"/>
                  </a:lnTo>
                  <a:lnTo>
                    <a:pt x="119" y="367"/>
                  </a:lnTo>
                  <a:lnTo>
                    <a:pt x="122" y="369"/>
                  </a:lnTo>
                  <a:lnTo>
                    <a:pt x="125" y="371"/>
                  </a:lnTo>
                  <a:lnTo>
                    <a:pt x="128" y="372"/>
                  </a:lnTo>
                  <a:lnTo>
                    <a:pt x="131" y="373"/>
                  </a:lnTo>
                  <a:lnTo>
                    <a:pt x="137" y="372"/>
                  </a:lnTo>
                  <a:lnTo>
                    <a:pt x="141" y="370"/>
                  </a:lnTo>
                  <a:lnTo>
                    <a:pt x="143" y="368"/>
                  </a:lnTo>
                  <a:lnTo>
                    <a:pt x="144" y="366"/>
                  </a:lnTo>
                  <a:lnTo>
                    <a:pt x="146" y="363"/>
                  </a:lnTo>
                  <a:lnTo>
                    <a:pt x="146" y="360"/>
                  </a:lnTo>
                  <a:lnTo>
                    <a:pt x="146" y="357"/>
                  </a:lnTo>
                  <a:lnTo>
                    <a:pt x="146" y="354"/>
                  </a:lnTo>
                  <a:lnTo>
                    <a:pt x="145" y="352"/>
                  </a:lnTo>
                  <a:lnTo>
                    <a:pt x="144" y="349"/>
                  </a:lnTo>
                  <a:lnTo>
                    <a:pt x="135" y="337"/>
                  </a:lnTo>
                  <a:lnTo>
                    <a:pt x="129" y="327"/>
                  </a:lnTo>
                  <a:lnTo>
                    <a:pt x="124" y="319"/>
                  </a:lnTo>
                  <a:lnTo>
                    <a:pt x="120" y="310"/>
                  </a:lnTo>
                  <a:lnTo>
                    <a:pt x="118" y="301"/>
                  </a:lnTo>
                  <a:lnTo>
                    <a:pt x="117" y="293"/>
                  </a:lnTo>
                  <a:lnTo>
                    <a:pt x="116" y="281"/>
                  </a:lnTo>
                  <a:lnTo>
                    <a:pt x="116" y="267"/>
                  </a:lnTo>
                  <a:lnTo>
                    <a:pt x="116" y="207"/>
                  </a:lnTo>
                  <a:lnTo>
                    <a:pt x="116" y="203"/>
                  </a:lnTo>
                  <a:lnTo>
                    <a:pt x="114" y="200"/>
                  </a:lnTo>
                  <a:lnTo>
                    <a:pt x="39" y="78"/>
                  </a:lnTo>
                  <a:lnTo>
                    <a:pt x="38" y="77"/>
                  </a:lnTo>
                  <a:lnTo>
                    <a:pt x="37" y="76"/>
                  </a:lnTo>
                  <a:lnTo>
                    <a:pt x="34" y="72"/>
                  </a:lnTo>
                  <a:lnTo>
                    <a:pt x="31" y="68"/>
                  </a:lnTo>
                  <a:lnTo>
                    <a:pt x="30" y="62"/>
                  </a:lnTo>
                  <a:lnTo>
                    <a:pt x="30" y="57"/>
                  </a:lnTo>
                  <a:lnTo>
                    <a:pt x="30" y="52"/>
                  </a:lnTo>
                  <a:lnTo>
                    <a:pt x="31" y="46"/>
                  </a:lnTo>
                  <a:lnTo>
                    <a:pt x="34" y="41"/>
                  </a:lnTo>
                  <a:lnTo>
                    <a:pt x="37" y="38"/>
                  </a:lnTo>
                  <a:lnTo>
                    <a:pt x="41" y="34"/>
                  </a:lnTo>
                  <a:lnTo>
                    <a:pt x="45" y="32"/>
                  </a:lnTo>
                  <a:lnTo>
                    <a:pt x="51" y="31"/>
                  </a:lnTo>
                  <a:lnTo>
                    <a:pt x="56" y="30"/>
                  </a:lnTo>
                  <a:lnTo>
                    <a:pt x="61" y="31"/>
                  </a:lnTo>
                  <a:lnTo>
                    <a:pt x="67" y="32"/>
                  </a:lnTo>
                  <a:lnTo>
                    <a:pt x="72" y="34"/>
                  </a:lnTo>
                  <a:lnTo>
                    <a:pt x="75" y="38"/>
                  </a:lnTo>
                  <a:lnTo>
                    <a:pt x="167" y="128"/>
                  </a:lnTo>
                  <a:lnTo>
                    <a:pt x="169" y="130"/>
                  </a:lnTo>
                  <a:lnTo>
                    <a:pt x="171" y="131"/>
                  </a:lnTo>
                  <a:lnTo>
                    <a:pt x="174" y="132"/>
                  </a:lnTo>
                  <a:lnTo>
                    <a:pt x="177" y="132"/>
                  </a:lnTo>
                  <a:lnTo>
                    <a:pt x="179" y="132"/>
                  </a:lnTo>
                  <a:lnTo>
                    <a:pt x="183" y="131"/>
                  </a:lnTo>
                  <a:lnTo>
                    <a:pt x="185" y="130"/>
                  </a:lnTo>
                  <a:lnTo>
                    <a:pt x="187" y="128"/>
                  </a:lnTo>
                  <a:lnTo>
                    <a:pt x="189" y="126"/>
                  </a:lnTo>
                  <a:lnTo>
                    <a:pt x="191" y="122"/>
                  </a:lnTo>
                  <a:lnTo>
                    <a:pt x="191" y="120"/>
                  </a:lnTo>
                  <a:lnTo>
                    <a:pt x="192" y="117"/>
                  </a:lnTo>
                  <a:lnTo>
                    <a:pt x="191" y="114"/>
                  </a:lnTo>
                  <a:lnTo>
                    <a:pt x="191" y="112"/>
                  </a:lnTo>
                  <a:lnTo>
                    <a:pt x="189" y="108"/>
                  </a:lnTo>
                  <a:lnTo>
                    <a:pt x="187" y="106"/>
                  </a:lnTo>
                  <a:lnTo>
                    <a:pt x="9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5" name="Freeform 221">
              <a:extLst>
                <a:ext uri="{FF2B5EF4-FFF2-40B4-BE49-F238E27FC236}">
                  <a16:creationId xmlns:a16="http://schemas.microsoft.com/office/drawing/2014/main" id="{C34BF5C0-6587-425E-BBCA-992059686734}"/>
                </a:ext>
              </a:extLst>
            </p:cNvPr>
            <p:cNvSpPr>
              <a:spLocks/>
            </p:cNvSpPr>
            <p:nvPr/>
          </p:nvSpPr>
          <p:spPr bwMode="auto">
            <a:xfrm>
              <a:off x="3268663" y="1982788"/>
              <a:ext cx="57150" cy="19050"/>
            </a:xfrm>
            <a:custGeom>
              <a:avLst/>
              <a:gdLst>
                <a:gd name="T0" fmla="*/ 2 w 180"/>
                <a:gd name="T1" fmla="*/ 37 h 60"/>
                <a:gd name="T2" fmla="*/ 0 w 180"/>
                <a:gd name="T3" fmla="*/ 42 h 60"/>
                <a:gd name="T4" fmla="*/ 0 w 180"/>
                <a:gd name="T5" fmla="*/ 49 h 60"/>
                <a:gd name="T6" fmla="*/ 2 w 180"/>
                <a:gd name="T7" fmla="*/ 54 h 60"/>
                <a:gd name="T8" fmla="*/ 6 w 180"/>
                <a:gd name="T9" fmla="*/ 58 h 60"/>
                <a:gd name="T10" fmla="*/ 12 w 180"/>
                <a:gd name="T11" fmla="*/ 60 h 60"/>
                <a:gd name="T12" fmla="*/ 17 w 180"/>
                <a:gd name="T13" fmla="*/ 60 h 60"/>
                <a:gd name="T14" fmla="*/ 23 w 180"/>
                <a:gd name="T15" fmla="*/ 58 h 60"/>
                <a:gd name="T16" fmla="*/ 31 w 180"/>
                <a:gd name="T17" fmla="*/ 51 h 60"/>
                <a:gd name="T18" fmla="*/ 45 w 180"/>
                <a:gd name="T19" fmla="*/ 42 h 60"/>
                <a:gd name="T20" fmla="*/ 62 w 180"/>
                <a:gd name="T21" fmla="*/ 35 h 60"/>
                <a:gd name="T22" fmla="*/ 80 w 180"/>
                <a:gd name="T23" fmla="*/ 30 h 60"/>
                <a:gd name="T24" fmla="*/ 100 w 180"/>
                <a:gd name="T25" fmla="*/ 30 h 60"/>
                <a:gd name="T26" fmla="*/ 118 w 180"/>
                <a:gd name="T27" fmla="*/ 35 h 60"/>
                <a:gd name="T28" fmla="*/ 135 w 180"/>
                <a:gd name="T29" fmla="*/ 42 h 60"/>
                <a:gd name="T30" fmla="*/ 149 w 180"/>
                <a:gd name="T31" fmla="*/ 51 h 60"/>
                <a:gd name="T32" fmla="*/ 156 w 180"/>
                <a:gd name="T33" fmla="*/ 58 h 60"/>
                <a:gd name="T34" fmla="*/ 162 w 180"/>
                <a:gd name="T35" fmla="*/ 60 h 60"/>
                <a:gd name="T36" fmla="*/ 168 w 180"/>
                <a:gd name="T37" fmla="*/ 60 h 60"/>
                <a:gd name="T38" fmla="*/ 174 w 180"/>
                <a:gd name="T39" fmla="*/ 58 h 60"/>
                <a:gd name="T40" fmla="*/ 178 w 180"/>
                <a:gd name="T41" fmla="*/ 54 h 60"/>
                <a:gd name="T42" fmla="*/ 180 w 180"/>
                <a:gd name="T43" fmla="*/ 49 h 60"/>
                <a:gd name="T44" fmla="*/ 180 w 180"/>
                <a:gd name="T45" fmla="*/ 42 h 60"/>
                <a:gd name="T46" fmla="*/ 178 w 180"/>
                <a:gd name="T47" fmla="*/ 37 h 60"/>
                <a:gd name="T48" fmla="*/ 169 w 180"/>
                <a:gd name="T49" fmla="*/ 28 h 60"/>
                <a:gd name="T50" fmla="*/ 151 w 180"/>
                <a:gd name="T51" fmla="*/ 16 h 60"/>
                <a:gd name="T52" fmla="*/ 129 w 180"/>
                <a:gd name="T53" fmla="*/ 7 h 60"/>
                <a:gd name="T54" fmla="*/ 103 w 180"/>
                <a:gd name="T55" fmla="*/ 1 h 60"/>
                <a:gd name="T56" fmla="*/ 77 w 180"/>
                <a:gd name="T57" fmla="*/ 1 h 60"/>
                <a:gd name="T58" fmla="*/ 51 w 180"/>
                <a:gd name="T59" fmla="*/ 7 h 60"/>
                <a:gd name="T60" fmla="*/ 29 w 180"/>
                <a:gd name="T61" fmla="*/ 16 h 60"/>
                <a:gd name="T62" fmla="*/ 11 w 180"/>
                <a:gd name="T63" fmla="*/ 28 h 60"/>
                <a:gd name="T64" fmla="*/ 4 w 180"/>
                <a:gd name="T6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 h="60">
                  <a:moveTo>
                    <a:pt x="4" y="35"/>
                  </a:moveTo>
                  <a:lnTo>
                    <a:pt x="2" y="37"/>
                  </a:lnTo>
                  <a:lnTo>
                    <a:pt x="1" y="40"/>
                  </a:lnTo>
                  <a:lnTo>
                    <a:pt x="0" y="42"/>
                  </a:lnTo>
                  <a:lnTo>
                    <a:pt x="0" y="45"/>
                  </a:lnTo>
                  <a:lnTo>
                    <a:pt x="0" y="49"/>
                  </a:lnTo>
                  <a:lnTo>
                    <a:pt x="1" y="51"/>
                  </a:lnTo>
                  <a:lnTo>
                    <a:pt x="2" y="54"/>
                  </a:lnTo>
                  <a:lnTo>
                    <a:pt x="4" y="56"/>
                  </a:lnTo>
                  <a:lnTo>
                    <a:pt x="6" y="58"/>
                  </a:lnTo>
                  <a:lnTo>
                    <a:pt x="8" y="59"/>
                  </a:lnTo>
                  <a:lnTo>
                    <a:pt x="12" y="60"/>
                  </a:lnTo>
                  <a:lnTo>
                    <a:pt x="15" y="60"/>
                  </a:lnTo>
                  <a:lnTo>
                    <a:pt x="17" y="60"/>
                  </a:lnTo>
                  <a:lnTo>
                    <a:pt x="20" y="59"/>
                  </a:lnTo>
                  <a:lnTo>
                    <a:pt x="23" y="58"/>
                  </a:lnTo>
                  <a:lnTo>
                    <a:pt x="26" y="56"/>
                  </a:lnTo>
                  <a:lnTo>
                    <a:pt x="31" y="51"/>
                  </a:lnTo>
                  <a:lnTo>
                    <a:pt x="37" y="47"/>
                  </a:lnTo>
                  <a:lnTo>
                    <a:pt x="45" y="42"/>
                  </a:lnTo>
                  <a:lnTo>
                    <a:pt x="52" y="38"/>
                  </a:lnTo>
                  <a:lnTo>
                    <a:pt x="62" y="35"/>
                  </a:lnTo>
                  <a:lnTo>
                    <a:pt x="71" y="33"/>
                  </a:lnTo>
                  <a:lnTo>
                    <a:pt x="80" y="30"/>
                  </a:lnTo>
                  <a:lnTo>
                    <a:pt x="90" y="30"/>
                  </a:lnTo>
                  <a:lnTo>
                    <a:pt x="100" y="30"/>
                  </a:lnTo>
                  <a:lnTo>
                    <a:pt x="109" y="33"/>
                  </a:lnTo>
                  <a:lnTo>
                    <a:pt x="118" y="35"/>
                  </a:lnTo>
                  <a:lnTo>
                    <a:pt x="128" y="38"/>
                  </a:lnTo>
                  <a:lnTo>
                    <a:pt x="135" y="42"/>
                  </a:lnTo>
                  <a:lnTo>
                    <a:pt x="143" y="47"/>
                  </a:lnTo>
                  <a:lnTo>
                    <a:pt x="149" y="51"/>
                  </a:lnTo>
                  <a:lnTo>
                    <a:pt x="154" y="56"/>
                  </a:lnTo>
                  <a:lnTo>
                    <a:pt x="156" y="58"/>
                  </a:lnTo>
                  <a:lnTo>
                    <a:pt x="160" y="59"/>
                  </a:lnTo>
                  <a:lnTo>
                    <a:pt x="162" y="60"/>
                  </a:lnTo>
                  <a:lnTo>
                    <a:pt x="165" y="60"/>
                  </a:lnTo>
                  <a:lnTo>
                    <a:pt x="168" y="60"/>
                  </a:lnTo>
                  <a:lnTo>
                    <a:pt x="170" y="59"/>
                  </a:lnTo>
                  <a:lnTo>
                    <a:pt x="174" y="58"/>
                  </a:lnTo>
                  <a:lnTo>
                    <a:pt x="176" y="56"/>
                  </a:lnTo>
                  <a:lnTo>
                    <a:pt x="178" y="54"/>
                  </a:lnTo>
                  <a:lnTo>
                    <a:pt x="179" y="51"/>
                  </a:lnTo>
                  <a:lnTo>
                    <a:pt x="180" y="49"/>
                  </a:lnTo>
                  <a:lnTo>
                    <a:pt x="180" y="45"/>
                  </a:lnTo>
                  <a:lnTo>
                    <a:pt x="180" y="42"/>
                  </a:lnTo>
                  <a:lnTo>
                    <a:pt x="179" y="40"/>
                  </a:lnTo>
                  <a:lnTo>
                    <a:pt x="178" y="37"/>
                  </a:lnTo>
                  <a:lnTo>
                    <a:pt x="176" y="35"/>
                  </a:lnTo>
                  <a:lnTo>
                    <a:pt x="169" y="28"/>
                  </a:lnTo>
                  <a:lnTo>
                    <a:pt x="161" y="22"/>
                  </a:lnTo>
                  <a:lnTo>
                    <a:pt x="151" y="16"/>
                  </a:lnTo>
                  <a:lnTo>
                    <a:pt x="140" y="11"/>
                  </a:lnTo>
                  <a:lnTo>
                    <a:pt x="129" y="7"/>
                  </a:lnTo>
                  <a:lnTo>
                    <a:pt x="116" y="4"/>
                  </a:lnTo>
                  <a:lnTo>
                    <a:pt x="103" y="1"/>
                  </a:lnTo>
                  <a:lnTo>
                    <a:pt x="90" y="0"/>
                  </a:lnTo>
                  <a:lnTo>
                    <a:pt x="77" y="1"/>
                  </a:lnTo>
                  <a:lnTo>
                    <a:pt x="64" y="4"/>
                  </a:lnTo>
                  <a:lnTo>
                    <a:pt x="51" y="7"/>
                  </a:lnTo>
                  <a:lnTo>
                    <a:pt x="40" y="11"/>
                  </a:lnTo>
                  <a:lnTo>
                    <a:pt x="29" y="16"/>
                  </a:lnTo>
                  <a:lnTo>
                    <a:pt x="19" y="22"/>
                  </a:lnTo>
                  <a:lnTo>
                    <a:pt x="11" y="28"/>
                  </a:lnTo>
                  <a:lnTo>
                    <a:pt x="4" y="35"/>
                  </a:lnTo>
                  <a:lnTo>
                    <a:pt x="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6" name="Freeform 222">
              <a:extLst>
                <a:ext uri="{FF2B5EF4-FFF2-40B4-BE49-F238E27FC236}">
                  <a16:creationId xmlns:a16="http://schemas.microsoft.com/office/drawing/2014/main" id="{E5F10C32-2543-4624-818A-57399C12A1DA}"/>
                </a:ext>
              </a:extLst>
            </p:cNvPr>
            <p:cNvSpPr>
              <a:spLocks/>
            </p:cNvSpPr>
            <p:nvPr/>
          </p:nvSpPr>
          <p:spPr bwMode="auto">
            <a:xfrm>
              <a:off x="3254375" y="1958975"/>
              <a:ext cx="85725" cy="23813"/>
            </a:xfrm>
            <a:custGeom>
              <a:avLst/>
              <a:gdLst>
                <a:gd name="T0" fmla="*/ 258 w 270"/>
                <a:gd name="T1" fmla="*/ 75 h 75"/>
                <a:gd name="T2" fmla="*/ 264 w 270"/>
                <a:gd name="T3" fmla="*/ 73 h 75"/>
                <a:gd name="T4" fmla="*/ 268 w 270"/>
                <a:gd name="T5" fmla="*/ 69 h 75"/>
                <a:gd name="T6" fmla="*/ 270 w 270"/>
                <a:gd name="T7" fmla="*/ 63 h 75"/>
                <a:gd name="T8" fmla="*/ 270 w 270"/>
                <a:gd name="T9" fmla="*/ 57 h 75"/>
                <a:gd name="T10" fmla="*/ 268 w 270"/>
                <a:gd name="T11" fmla="*/ 52 h 75"/>
                <a:gd name="T12" fmla="*/ 254 w 270"/>
                <a:gd name="T13" fmla="*/ 39 h 75"/>
                <a:gd name="T14" fmla="*/ 229 w 270"/>
                <a:gd name="T15" fmla="*/ 21 h 75"/>
                <a:gd name="T16" fmla="*/ 198 w 270"/>
                <a:gd name="T17" fmla="*/ 8 h 75"/>
                <a:gd name="T18" fmla="*/ 159 w 270"/>
                <a:gd name="T19" fmla="*/ 0 h 75"/>
                <a:gd name="T20" fmla="*/ 111 w 270"/>
                <a:gd name="T21" fmla="*/ 0 h 75"/>
                <a:gd name="T22" fmla="*/ 72 w 270"/>
                <a:gd name="T23" fmla="*/ 8 h 75"/>
                <a:gd name="T24" fmla="*/ 41 w 270"/>
                <a:gd name="T25" fmla="*/ 21 h 75"/>
                <a:gd name="T26" fmla="*/ 16 w 270"/>
                <a:gd name="T27" fmla="*/ 39 h 75"/>
                <a:gd name="T28" fmla="*/ 2 w 270"/>
                <a:gd name="T29" fmla="*/ 52 h 75"/>
                <a:gd name="T30" fmla="*/ 0 w 270"/>
                <a:gd name="T31" fmla="*/ 57 h 75"/>
                <a:gd name="T32" fmla="*/ 0 w 270"/>
                <a:gd name="T33" fmla="*/ 63 h 75"/>
                <a:gd name="T34" fmla="*/ 2 w 270"/>
                <a:gd name="T35" fmla="*/ 69 h 75"/>
                <a:gd name="T36" fmla="*/ 6 w 270"/>
                <a:gd name="T37" fmla="*/ 73 h 75"/>
                <a:gd name="T38" fmla="*/ 12 w 270"/>
                <a:gd name="T39" fmla="*/ 75 h 75"/>
                <a:gd name="T40" fmla="*/ 17 w 270"/>
                <a:gd name="T41" fmla="*/ 75 h 75"/>
                <a:gd name="T42" fmla="*/ 22 w 270"/>
                <a:gd name="T43" fmla="*/ 73 h 75"/>
                <a:gd name="T44" fmla="*/ 35 w 270"/>
                <a:gd name="T45" fmla="*/ 61 h 75"/>
                <a:gd name="T46" fmla="*/ 57 w 270"/>
                <a:gd name="T47" fmla="*/ 46 h 75"/>
                <a:gd name="T48" fmla="*/ 81 w 270"/>
                <a:gd name="T49" fmla="*/ 36 h 75"/>
                <a:gd name="T50" fmla="*/ 115 w 270"/>
                <a:gd name="T51" fmla="*/ 30 h 75"/>
                <a:gd name="T52" fmla="*/ 155 w 270"/>
                <a:gd name="T53" fmla="*/ 30 h 75"/>
                <a:gd name="T54" fmla="*/ 189 w 270"/>
                <a:gd name="T55" fmla="*/ 36 h 75"/>
                <a:gd name="T56" fmla="*/ 213 w 270"/>
                <a:gd name="T57" fmla="*/ 46 h 75"/>
                <a:gd name="T58" fmla="*/ 235 w 270"/>
                <a:gd name="T59" fmla="*/ 61 h 75"/>
                <a:gd name="T60" fmla="*/ 248 w 270"/>
                <a:gd name="T61" fmla="*/ 73 h 75"/>
                <a:gd name="T62" fmla="*/ 253 w 270"/>
                <a:gd name="T6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75">
                  <a:moveTo>
                    <a:pt x="255" y="75"/>
                  </a:moveTo>
                  <a:lnTo>
                    <a:pt x="258" y="75"/>
                  </a:lnTo>
                  <a:lnTo>
                    <a:pt x="262" y="74"/>
                  </a:lnTo>
                  <a:lnTo>
                    <a:pt x="264" y="73"/>
                  </a:lnTo>
                  <a:lnTo>
                    <a:pt x="266" y="71"/>
                  </a:lnTo>
                  <a:lnTo>
                    <a:pt x="268" y="69"/>
                  </a:lnTo>
                  <a:lnTo>
                    <a:pt x="269" y="66"/>
                  </a:lnTo>
                  <a:lnTo>
                    <a:pt x="270" y="63"/>
                  </a:lnTo>
                  <a:lnTo>
                    <a:pt x="270" y="60"/>
                  </a:lnTo>
                  <a:lnTo>
                    <a:pt x="270" y="57"/>
                  </a:lnTo>
                  <a:lnTo>
                    <a:pt x="269" y="54"/>
                  </a:lnTo>
                  <a:lnTo>
                    <a:pt x="268" y="52"/>
                  </a:lnTo>
                  <a:lnTo>
                    <a:pt x="266" y="50"/>
                  </a:lnTo>
                  <a:lnTo>
                    <a:pt x="254" y="39"/>
                  </a:lnTo>
                  <a:lnTo>
                    <a:pt x="242" y="29"/>
                  </a:lnTo>
                  <a:lnTo>
                    <a:pt x="229" y="21"/>
                  </a:lnTo>
                  <a:lnTo>
                    <a:pt x="214" y="13"/>
                  </a:lnTo>
                  <a:lnTo>
                    <a:pt x="198" y="8"/>
                  </a:lnTo>
                  <a:lnTo>
                    <a:pt x="180" y="4"/>
                  </a:lnTo>
                  <a:lnTo>
                    <a:pt x="159" y="0"/>
                  </a:lnTo>
                  <a:lnTo>
                    <a:pt x="135" y="0"/>
                  </a:lnTo>
                  <a:lnTo>
                    <a:pt x="111" y="0"/>
                  </a:lnTo>
                  <a:lnTo>
                    <a:pt x="90" y="4"/>
                  </a:lnTo>
                  <a:lnTo>
                    <a:pt x="72" y="8"/>
                  </a:lnTo>
                  <a:lnTo>
                    <a:pt x="56" y="13"/>
                  </a:lnTo>
                  <a:lnTo>
                    <a:pt x="41" y="21"/>
                  </a:lnTo>
                  <a:lnTo>
                    <a:pt x="28" y="29"/>
                  </a:lnTo>
                  <a:lnTo>
                    <a:pt x="16" y="39"/>
                  </a:lnTo>
                  <a:lnTo>
                    <a:pt x="4" y="50"/>
                  </a:lnTo>
                  <a:lnTo>
                    <a:pt x="2" y="52"/>
                  </a:lnTo>
                  <a:lnTo>
                    <a:pt x="1" y="54"/>
                  </a:lnTo>
                  <a:lnTo>
                    <a:pt x="0" y="57"/>
                  </a:lnTo>
                  <a:lnTo>
                    <a:pt x="0" y="60"/>
                  </a:lnTo>
                  <a:lnTo>
                    <a:pt x="0" y="63"/>
                  </a:lnTo>
                  <a:lnTo>
                    <a:pt x="1" y="66"/>
                  </a:lnTo>
                  <a:lnTo>
                    <a:pt x="2" y="69"/>
                  </a:lnTo>
                  <a:lnTo>
                    <a:pt x="4" y="71"/>
                  </a:lnTo>
                  <a:lnTo>
                    <a:pt x="6" y="73"/>
                  </a:lnTo>
                  <a:lnTo>
                    <a:pt x="8" y="74"/>
                  </a:lnTo>
                  <a:lnTo>
                    <a:pt x="12" y="75"/>
                  </a:lnTo>
                  <a:lnTo>
                    <a:pt x="15" y="75"/>
                  </a:lnTo>
                  <a:lnTo>
                    <a:pt x="17" y="75"/>
                  </a:lnTo>
                  <a:lnTo>
                    <a:pt x="20" y="74"/>
                  </a:lnTo>
                  <a:lnTo>
                    <a:pt x="22" y="73"/>
                  </a:lnTo>
                  <a:lnTo>
                    <a:pt x="26" y="71"/>
                  </a:lnTo>
                  <a:lnTo>
                    <a:pt x="35" y="61"/>
                  </a:lnTo>
                  <a:lnTo>
                    <a:pt x="45" y="53"/>
                  </a:lnTo>
                  <a:lnTo>
                    <a:pt x="57" y="46"/>
                  </a:lnTo>
                  <a:lnTo>
                    <a:pt x="68" y="40"/>
                  </a:lnTo>
                  <a:lnTo>
                    <a:pt x="81" y="36"/>
                  </a:lnTo>
                  <a:lnTo>
                    <a:pt x="97" y="32"/>
                  </a:lnTo>
                  <a:lnTo>
                    <a:pt x="115" y="30"/>
                  </a:lnTo>
                  <a:lnTo>
                    <a:pt x="135" y="30"/>
                  </a:lnTo>
                  <a:lnTo>
                    <a:pt x="155" y="30"/>
                  </a:lnTo>
                  <a:lnTo>
                    <a:pt x="173" y="32"/>
                  </a:lnTo>
                  <a:lnTo>
                    <a:pt x="189" y="36"/>
                  </a:lnTo>
                  <a:lnTo>
                    <a:pt x="201" y="41"/>
                  </a:lnTo>
                  <a:lnTo>
                    <a:pt x="213" y="46"/>
                  </a:lnTo>
                  <a:lnTo>
                    <a:pt x="225" y="53"/>
                  </a:lnTo>
                  <a:lnTo>
                    <a:pt x="235" y="61"/>
                  </a:lnTo>
                  <a:lnTo>
                    <a:pt x="244" y="71"/>
                  </a:lnTo>
                  <a:lnTo>
                    <a:pt x="248" y="73"/>
                  </a:lnTo>
                  <a:lnTo>
                    <a:pt x="250" y="74"/>
                  </a:lnTo>
                  <a:lnTo>
                    <a:pt x="253" y="75"/>
                  </a:lnTo>
                  <a:lnTo>
                    <a:pt x="25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7" name="Freeform 223">
              <a:extLst>
                <a:ext uri="{FF2B5EF4-FFF2-40B4-BE49-F238E27FC236}">
                  <a16:creationId xmlns:a16="http://schemas.microsoft.com/office/drawing/2014/main" id="{9A465BB8-1F6B-4DEA-8624-C22719821D4B}"/>
                </a:ext>
              </a:extLst>
            </p:cNvPr>
            <p:cNvSpPr>
              <a:spLocks/>
            </p:cNvSpPr>
            <p:nvPr/>
          </p:nvSpPr>
          <p:spPr bwMode="auto">
            <a:xfrm>
              <a:off x="3240088" y="1935163"/>
              <a:ext cx="114300" cy="28575"/>
            </a:xfrm>
            <a:custGeom>
              <a:avLst/>
              <a:gdLst>
                <a:gd name="T0" fmla="*/ 338 w 360"/>
                <a:gd name="T1" fmla="*/ 87 h 90"/>
                <a:gd name="T2" fmla="*/ 343 w 360"/>
                <a:gd name="T3" fmla="*/ 89 h 90"/>
                <a:gd name="T4" fmla="*/ 348 w 360"/>
                <a:gd name="T5" fmla="*/ 89 h 90"/>
                <a:gd name="T6" fmla="*/ 354 w 360"/>
                <a:gd name="T7" fmla="*/ 87 h 90"/>
                <a:gd name="T8" fmla="*/ 358 w 360"/>
                <a:gd name="T9" fmla="*/ 83 h 90"/>
                <a:gd name="T10" fmla="*/ 360 w 360"/>
                <a:gd name="T11" fmla="*/ 77 h 90"/>
                <a:gd name="T12" fmla="*/ 360 w 360"/>
                <a:gd name="T13" fmla="*/ 72 h 90"/>
                <a:gd name="T14" fmla="*/ 358 w 360"/>
                <a:gd name="T15" fmla="*/ 67 h 90"/>
                <a:gd name="T16" fmla="*/ 347 w 360"/>
                <a:gd name="T17" fmla="*/ 56 h 90"/>
                <a:gd name="T18" fmla="*/ 329 w 360"/>
                <a:gd name="T19" fmla="*/ 41 h 90"/>
                <a:gd name="T20" fmla="*/ 311 w 360"/>
                <a:gd name="T21" fmla="*/ 28 h 90"/>
                <a:gd name="T22" fmla="*/ 292 w 360"/>
                <a:gd name="T23" fmla="*/ 18 h 90"/>
                <a:gd name="T24" fmla="*/ 270 w 360"/>
                <a:gd name="T25" fmla="*/ 11 h 90"/>
                <a:gd name="T26" fmla="*/ 248 w 360"/>
                <a:gd name="T27" fmla="*/ 6 h 90"/>
                <a:gd name="T28" fmla="*/ 209 w 360"/>
                <a:gd name="T29" fmla="*/ 0 h 90"/>
                <a:gd name="T30" fmla="*/ 151 w 360"/>
                <a:gd name="T31" fmla="*/ 0 h 90"/>
                <a:gd name="T32" fmla="*/ 112 w 360"/>
                <a:gd name="T33" fmla="*/ 6 h 90"/>
                <a:gd name="T34" fmla="*/ 90 w 360"/>
                <a:gd name="T35" fmla="*/ 11 h 90"/>
                <a:gd name="T36" fmla="*/ 68 w 360"/>
                <a:gd name="T37" fmla="*/ 18 h 90"/>
                <a:gd name="T38" fmla="*/ 49 w 360"/>
                <a:gd name="T39" fmla="*/ 28 h 90"/>
                <a:gd name="T40" fmla="*/ 31 w 360"/>
                <a:gd name="T41" fmla="*/ 41 h 90"/>
                <a:gd name="T42" fmla="*/ 13 w 360"/>
                <a:gd name="T43" fmla="*/ 56 h 90"/>
                <a:gd name="T44" fmla="*/ 2 w 360"/>
                <a:gd name="T45" fmla="*/ 67 h 90"/>
                <a:gd name="T46" fmla="*/ 0 w 360"/>
                <a:gd name="T47" fmla="*/ 72 h 90"/>
                <a:gd name="T48" fmla="*/ 0 w 360"/>
                <a:gd name="T49" fmla="*/ 77 h 90"/>
                <a:gd name="T50" fmla="*/ 2 w 360"/>
                <a:gd name="T51" fmla="*/ 83 h 90"/>
                <a:gd name="T52" fmla="*/ 6 w 360"/>
                <a:gd name="T53" fmla="*/ 87 h 90"/>
                <a:gd name="T54" fmla="*/ 12 w 360"/>
                <a:gd name="T55" fmla="*/ 89 h 90"/>
                <a:gd name="T56" fmla="*/ 17 w 360"/>
                <a:gd name="T57" fmla="*/ 89 h 90"/>
                <a:gd name="T58" fmla="*/ 22 w 360"/>
                <a:gd name="T59" fmla="*/ 87 h 90"/>
                <a:gd name="T60" fmla="*/ 41 w 360"/>
                <a:gd name="T61" fmla="*/ 71 h 90"/>
                <a:gd name="T62" fmla="*/ 64 w 360"/>
                <a:gd name="T63" fmla="*/ 55 h 90"/>
                <a:gd name="T64" fmla="*/ 81 w 360"/>
                <a:gd name="T65" fmla="*/ 45 h 90"/>
                <a:gd name="T66" fmla="*/ 100 w 360"/>
                <a:gd name="T67" fmla="*/ 39 h 90"/>
                <a:gd name="T68" fmla="*/ 120 w 360"/>
                <a:gd name="T69" fmla="*/ 35 h 90"/>
                <a:gd name="T70" fmla="*/ 154 w 360"/>
                <a:gd name="T71" fmla="*/ 30 h 90"/>
                <a:gd name="T72" fmla="*/ 206 w 360"/>
                <a:gd name="T73" fmla="*/ 30 h 90"/>
                <a:gd name="T74" fmla="*/ 240 w 360"/>
                <a:gd name="T75" fmla="*/ 35 h 90"/>
                <a:gd name="T76" fmla="*/ 260 w 360"/>
                <a:gd name="T77" fmla="*/ 39 h 90"/>
                <a:gd name="T78" fmla="*/ 279 w 360"/>
                <a:gd name="T79" fmla="*/ 45 h 90"/>
                <a:gd name="T80" fmla="*/ 296 w 360"/>
                <a:gd name="T81" fmla="*/ 55 h 90"/>
                <a:gd name="T82" fmla="*/ 319 w 360"/>
                <a:gd name="T83" fmla="*/ 71 h 90"/>
                <a:gd name="T84" fmla="*/ 334 w 360"/>
                <a:gd name="T85"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90">
                  <a:moveTo>
                    <a:pt x="334" y="86"/>
                  </a:moveTo>
                  <a:lnTo>
                    <a:pt x="338" y="87"/>
                  </a:lnTo>
                  <a:lnTo>
                    <a:pt x="340" y="89"/>
                  </a:lnTo>
                  <a:lnTo>
                    <a:pt x="343" y="89"/>
                  </a:lnTo>
                  <a:lnTo>
                    <a:pt x="345" y="90"/>
                  </a:lnTo>
                  <a:lnTo>
                    <a:pt x="348" y="89"/>
                  </a:lnTo>
                  <a:lnTo>
                    <a:pt x="352" y="89"/>
                  </a:lnTo>
                  <a:lnTo>
                    <a:pt x="354" y="87"/>
                  </a:lnTo>
                  <a:lnTo>
                    <a:pt x="356" y="86"/>
                  </a:lnTo>
                  <a:lnTo>
                    <a:pt x="358" y="83"/>
                  </a:lnTo>
                  <a:lnTo>
                    <a:pt x="359" y="81"/>
                  </a:lnTo>
                  <a:lnTo>
                    <a:pt x="360" y="77"/>
                  </a:lnTo>
                  <a:lnTo>
                    <a:pt x="360" y="75"/>
                  </a:lnTo>
                  <a:lnTo>
                    <a:pt x="360" y="72"/>
                  </a:lnTo>
                  <a:lnTo>
                    <a:pt x="359" y="69"/>
                  </a:lnTo>
                  <a:lnTo>
                    <a:pt x="358" y="67"/>
                  </a:lnTo>
                  <a:lnTo>
                    <a:pt x="356" y="65"/>
                  </a:lnTo>
                  <a:lnTo>
                    <a:pt x="347" y="56"/>
                  </a:lnTo>
                  <a:lnTo>
                    <a:pt x="339" y="48"/>
                  </a:lnTo>
                  <a:lnTo>
                    <a:pt x="329" y="41"/>
                  </a:lnTo>
                  <a:lnTo>
                    <a:pt x="320" y="35"/>
                  </a:lnTo>
                  <a:lnTo>
                    <a:pt x="311" y="28"/>
                  </a:lnTo>
                  <a:lnTo>
                    <a:pt x="301" y="23"/>
                  </a:lnTo>
                  <a:lnTo>
                    <a:pt x="292" y="18"/>
                  </a:lnTo>
                  <a:lnTo>
                    <a:pt x="281" y="14"/>
                  </a:lnTo>
                  <a:lnTo>
                    <a:pt x="270" y="11"/>
                  </a:lnTo>
                  <a:lnTo>
                    <a:pt x="259" y="8"/>
                  </a:lnTo>
                  <a:lnTo>
                    <a:pt x="248" y="6"/>
                  </a:lnTo>
                  <a:lnTo>
                    <a:pt x="235" y="3"/>
                  </a:lnTo>
                  <a:lnTo>
                    <a:pt x="209" y="0"/>
                  </a:lnTo>
                  <a:lnTo>
                    <a:pt x="180" y="0"/>
                  </a:lnTo>
                  <a:lnTo>
                    <a:pt x="151" y="0"/>
                  </a:lnTo>
                  <a:lnTo>
                    <a:pt x="124" y="3"/>
                  </a:lnTo>
                  <a:lnTo>
                    <a:pt x="112" y="6"/>
                  </a:lnTo>
                  <a:lnTo>
                    <a:pt x="101" y="8"/>
                  </a:lnTo>
                  <a:lnTo>
                    <a:pt x="90" y="11"/>
                  </a:lnTo>
                  <a:lnTo>
                    <a:pt x="79" y="14"/>
                  </a:lnTo>
                  <a:lnTo>
                    <a:pt x="68" y="18"/>
                  </a:lnTo>
                  <a:lnTo>
                    <a:pt x="59" y="23"/>
                  </a:lnTo>
                  <a:lnTo>
                    <a:pt x="49" y="28"/>
                  </a:lnTo>
                  <a:lnTo>
                    <a:pt x="39" y="35"/>
                  </a:lnTo>
                  <a:lnTo>
                    <a:pt x="31" y="41"/>
                  </a:lnTo>
                  <a:lnTo>
                    <a:pt x="21" y="48"/>
                  </a:lnTo>
                  <a:lnTo>
                    <a:pt x="13" y="56"/>
                  </a:lnTo>
                  <a:lnTo>
                    <a:pt x="4" y="65"/>
                  </a:lnTo>
                  <a:lnTo>
                    <a:pt x="2" y="67"/>
                  </a:lnTo>
                  <a:lnTo>
                    <a:pt x="1" y="69"/>
                  </a:lnTo>
                  <a:lnTo>
                    <a:pt x="0" y="72"/>
                  </a:lnTo>
                  <a:lnTo>
                    <a:pt x="0" y="75"/>
                  </a:lnTo>
                  <a:lnTo>
                    <a:pt x="0" y="77"/>
                  </a:lnTo>
                  <a:lnTo>
                    <a:pt x="1" y="81"/>
                  </a:lnTo>
                  <a:lnTo>
                    <a:pt x="2" y="83"/>
                  </a:lnTo>
                  <a:lnTo>
                    <a:pt x="4" y="86"/>
                  </a:lnTo>
                  <a:lnTo>
                    <a:pt x="6" y="87"/>
                  </a:lnTo>
                  <a:lnTo>
                    <a:pt x="8" y="89"/>
                  </a:lnTo>
                  <a:lnTo>
                    <a:pt x="12" y="89"/>
                  </a:lnTo>
                  <a:lnTo>
                    <a:pt x="15" y="90"/>
                  </a:lnTo>
                  <a:lnTo>
                    <a:pt x="17" y="89"/>
                  </a:lnTo>
                  <a:lnTo>
                    <a:pt x="20" y="89"/>
                  </a:lnTo>
                  <a:lnTo>
                    <a:pt x="22" y="87"/>
                  </a:lnTo>
                  <a:lnTo>
                    <a:pt x="26" y="86"/>
                  </a:lnTo>
                  <a:lnTo>
                    <a:pt x="41" y="71"/>
                  </a:lnTo>
                  <a:lnTo>
                    <a:pt x="57" y="59"/>
                  </a:lnTo>
                  <a:lnTo>
                    <a:pt x="64" y="55"/>
                  </a:lnTo>
                  <a:lnTo>
                    <a:pt x="73" y="50"/>
                  </a:lnTo>
                  <a:lnTo>
                    <a:pt x="81" y="45"/>
                  </a:lnTo>
                  <a:lnTo>
                    <a:pt x="91" y="42"/>
                  </a:lnTo>
                  <a:lnTo>
                    <a:pt x="100" y="39"/>
                  </a:lnTo>
                  <a:lnTo>
                    <a:pt x="109" y="37"/>
                  </a:lnTo>
                  <a:lnTo>
                    <a:pt x="120" y="35"/>
                  </a:lnTo>
                  <a:lnTo>
                    <a:pt x="131" y="32"/>
                  </a:lnTo>
                  <a:lnTo>
                    <a:pt x="154" y="30"/>
                  </a:lnTo>
                  <a:lnTo>
                    <a:pt x="180" y="30"/>
                  </a:lnTo>
                  <a:lnTo>
                    <a:pt x="206" y="30"/>
                  </a:lnTo>
                  <a:lnTo>
                    <a:pt x="229" y="32"/>
                  </a:lnTo>
                  <a:lnTo>
                    <a:pt x="240" y="35"/>
                  </a:lnTo>
                  <a:lnTo>
                    <a:pt x="250" y="37"/>
                  </a:lnTo>
                  <a:lnTo>
                    <a:pt x="260" y="39"/>
                  </a:lnTo>
                  <a:lnTo>
                    <a:pt x="269" y="42"/>
                  </a:lnTo>
                  <a:lnTo>
                    <a:pt x="279" y="45"/>
                  </a:lnTo>
                  <a:lnTo>
                    <a:pt x="287" y="50"/>
                  </a:lnTo>
                  <a:lnTo>
                    <a:pt x="296" y="55"/>
                  </a:lnTo>
                  <a:lnTo>
                    <a:pt x="303" y="59"/>
                  </a:lnTo>
                  <a:lnTo>
                    <a:pt x="319" y="71"/>
                  </a:lnTo>
                  <a:lnTo>
                    <a:pt x="334" y="86"/>
                  </a:lnTo>
                  <a:lnTo>
                    <a:pt x="33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8" name="Freeform 224">
              <a:extLst>
                <a:ext uri="{FF2B5EF4-FFF2-40B4-BE49-F238E27FC236}">
                  <a16:creationId xmlns:a16="http://schemas.microsoft.com/office/drawing/2014/main" id="{B81FDBCA-07EC-4743-8399-5A726A331FC3}"/>
                </a:ext>
              </a:extLst>
            </p:cNvPr>
            <p:cNvSpPr>
              <a:spLocks/>
            </p:cNvSpPr>
            <p:nvPr/>
          </p:nvSpPr>
          <p:spPr bwMode="auto">
            <a:xfrm>
              <a:off x="3278188" y="2049463"/>
              <a:ext cx="9525" cy="9525"/>
            </a:xfrm>
            <a:custGeom>
              <a:avLst/>
              <a:gdLst>
                <a:gd name="T0" fmla="*/ 15 w 30"/>
                <a:gd name="T1" fmla="*/ 0 h 30"/>
                <a:gd name="T2" fmla="*/ 12 w 30"/>
                <a:gd name="T3" fmla="*/ 1 h 30"/>
                <a:gd name="T4" fmla="*/ 9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7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9" y="1"/>
                  </a:lnTo>
                  <a:lnTo>
                    <a:pt x="6" y="3"/>
                  </a:lnTo>
                  <a:lnTo>
                    <a:pt x="4" y="4"/>
                  </a:lnTo>
                  <a:lnTo>
                    <a:pt x="2" y="7"/>
                  </a:lnTo>
                  <a:lnTo>
                    <a:pt x="1" y="9"/>
                  </a:lnTo>
                  <a:lnTo>
                    <a:pt x="0" y="12"/>
                  </a:lnTo>
                  <a:lnTo>
                    <a:pt x="0" y="15"/>
                  </a:lnTo>
                  <a:lnTo>
                    <a:pt x="0" y="18"/>
                  </a:lnTo>
                  <a:lnTo>
                    <a:pt x="1" y="21"/>
                  </a:lnTo>
                  <a:lnTo>
                    <a:pt x="2" y="23"/>
                  </a:lnTo>
                  <a:lnTo>
                    <a:pt x="4" y="25"/>
                  </a:lnTo>
                  <a:lnTo>
                    <a:pt x="6" y="28"/>
                  </a:lnTo>
                  <a:lnTo>
                    <a:pt x="9" y="29"/>
                  </a:lnTo>
                  <a:lnTo>
                    <a:pt x="12" y="30"/>
                  </a:lnTo>
                  <a:lnTo>
                    <a:pt x="15" y="30"/>
                  </a:lnTo>
                  <a:lnTo>
                    <a:pt x="18" y="30"/>
                  </a:lnTo>
                  <a:lnTo>
                    <a:pt x="20" y="29"/>
                  </a:lnTo>
                  <a:lnTo>
                    <a:pt x="24" y="28"/>
                  </a:lnTo>
                  <a:lnTo>
                    <a:pt x="26" y="25"/>
                  </a:lnTo>
                  <a:lnTo>
                    <a:pt x="27" y="23"/>
                  </a:lnTo>
                  <a:lnTo>
                    <a:pt x="29" y="21"/>
                  </a:lnTo>
                  <a:lnTo>
                    <a:pt x="30" y="18"/>
                  </a:lnTo>
                  <a:lnTo>
                    <a:pt x="30" y="15"/>
                  </a:lnTo>
                  <a:lnTo>
                    <a:pt x="30" y="12"/>
                  </a:lnTo>
                  <a:lnTo>
                    <a:pt x="29" y="9"/>
                  </a:lnTo>
                  <a:lnTo>
                    <a:pt x="27"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9" name="Freeform 225">
              <a:extLst>
                <a:ext uri="{FF2B5EF4-FFF2-40B4-BE49-F238E27FC236}">
                  <a16:creationId xmlns:a16="http://schemas.microsoft.com/office/drawing/2014/main" id="{FB4BACF6-0F8C-4B2B-AE54-ECC51A3991AF}"/>
                </a:ext>
              </a:extLst>
            </p:cNvPr>
            <p:cNvSpPr>
              <a:spLocks/>
            </p:cNvSpPr>
            <p:nvPr/>
          </p:nvSpPr>
          <p:spPr bwMode="auto">
            <a:xfrm>
              <a:off x="3297238" y="2049463"/>
              <a:ext cx="9525" cy="9525"/>
            </a:xfrm>
            <a:custGeom>
              <a:avLst/>
              <a:gdLst>
                <a:gd name="T0" fmla="*/ 15 w 30"/>
                <a:gd name="T1" fmla="*/ 0 h 30"/>
                <a:gd name="T2" fmla="*/ 12 w 30"/>
                <a:gd name="T3" fmla="*/ 1 h 30"/>
                <a:gd name="T4" fmla="*/ 10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8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10" y="1"/>
                  </a:lnTo>
                  <a:lnTo>
                    <a:pt x="6" y="3"/>
                  </a:lnTo>
                  <a:lnTo>
                    <a:pt x="4" y="4"/>
                  </a:lnTo>
                  <a:lnTo>
                    <a:pt x="2" y="7"/>
                  </a:lnTo>
                  <a:lnTo>
                    <a:pt x="1" y="9"/>
                  </a:lnTo>
                  <a:lnTo>
                    <a:pt x="0" y="12"/>
                  </a:lnTo>
                  <a:lnTo>
                    <a:pt x="0" y="15"/>
                  </a:lnTo>
                  <a:lnTo>
                    <a:pt x="0" y="18"/>
                  </a:lnTo>
                  <a:lnTo>
                    <a:pt x="1" y="21"/>
                  </a:lnTo>
                  <a:lnTo>
                    <a:pt x="2" y="23"/>
                  </a:lnTo>
                  <a:lnTo>
                    <a:pt x="4" y="25"/>
                  </a:lnTo>
                  <a:lnTo>
                    <a:pt x="6" y="28"/>
                  </a:lnTo>
                  <a:lnTo>
                    <a:pt x="10" y="29"/>
                  </a:lnTo>
                  <a:lnTo>
                    <a:pt x="12" y="30"/>
                  </a:lnTo>
                  <a:lnTo>
                    <a:pt x="15" y="30"/>
                  </a:lnTo>
                  <a:lnTo>
                    <a:pt x="18" y="30"/>
                  </a:lnTo>
                  <a:lnTo>
                    <a:pt x="20"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0" name="Freeform 226">
              <a:extLst>
                <a:ext uri="{FF2B5EF4-FFF2-40B4-BE49-F238E27FC236}">
                  <a16:creationId xmlns:a16="http://schemas.microsoft.com/office/drawing/2014/main" id="{7F1476D0-3A7E-48E9-9B18-8663FA01875B}"/>
                </a:ext>
              </a:extLst>
            </p:cNvPr>
            <p:cNvSpPr>
              <a:spLocks/>
            </p:cNvSpPr>
            <p:nvPr/>
          </p:nvSpPr>
          <p:spPr bwMode="auto">
            <a:xfrm>
              <a:off x="3316288" y="2049463"/>
              <a:ext cx="9525" cy="9525"/>
            </a:xfrm>
            <a:custGeom>
              <a:avLst/>
              <a:gdLst>
                <a:gd name="T0" fmla="*/ 15 w 30"/>
                <a:gd name="T1" fmla="*/ 30 h 30"/>
                <a:gd name="T2" fmla="*/ 18 w 30"/>
                <a:gd name="T3" fmla="*/ 30 h 30"/>
                <a:gd name="T4" fmla="*/ 21 w 30"/>
                <a:gd name="T5" fmla="*/ 29 h 30"/>
                <a:gd name="T6" fmla="*/ 24 w 30"/>
                <a:gd name="T7" fmla="*/ 28 h 30"/>
                <a:gd name="T8" fmla="*/ 26 w 30"/>
                <a:gd name="T9" fmla="*/ 25 h 30"/>
                <a:gd name="T10" fmla="*/ 28 w 30"/>
                <a:gd name="T11" fmla="*/ 23 h 30"/>
                <a:gd name="T12" fmla="*/ 29 w 30"/>
                <a:gd name="T13" fmla="*/ 21 h 30"/>
                <a:gd name="T14" fmla="*/ 30 w 30"/>
                <a:gd name="T15" fmla="*/ 18 h 30"/>
                <a:gd name="T16" fmla="*/ 30 w 30"/>
                <a:gd name="T17" fmla="*/ 15 h 30"/>
                <a:gd name="T18" fmla="*/ 30 w 30"/>
                <a:gd name="T19" fmla="*/ 12 h 30"/>
                <a:gd name="T20" fmla="*/ 29 w 30"/>
                <a:gd name="T21" fmla="*/ 9 h 30"/>
                <a:gd name="T22" fmla="*/ 28 w 30"/>
                <a:gd name="T23" fmla="*/ 6 h 30"/>
                <a:gd name="T24" fmla="*/ 26 w 30"/>
                <a:gd name="T25" fmla="*/ 4 h 30"/>
                <a:gd name="T26" fmla="*/ 24 w 30"/>
                <a:gd name="T27" fmla="*/ 3 h 30"/>
                <a:gd name="T28" fmla="*/ 21 w 30"/>
                <a:gd name="T29" fmla="*/ 1 h 30"/>
                <a:gd name="T30" fmla="*/ 18 w 30"/>
                <a:gd name="T31" fmla="*/ 1 h 30"/>
                <a:gd name="T32" fmla="*/ 15 w 30"/>
                <a:gd name="T33" fmla="*/ 0 h 30"/>
                <a:gd name="T34" fmla="*/ 12 w 30"/>
                <a:gd name="T35" fmla="*/ 1 h 30"/>
                <a:gd name="T36" fmla="*/ 10 w 30"/>
                <a:gd name="T37" fmla="*/ 1 h 30"/>
                <a:gd name="T38" fmla="*/ 6 w 30"/>
                <a:gd name="T39" fmla="*/ 3 h 30"/>
                <a:gd name="T40" fmla="*/ 4 w 30"/>
                <a:gd name="T41" fmla="*/ 4 h 30"/>
                <a:gd name="T42" fmla="*/ 3 w 30"/>
                <a:gd name="T43" fmla="*/ 7 h 30"/>
                <a:gd name="T44" fmla="*/ 1 w 30"/>
                <a:gd name="T45" fmla="*/ 9 h 30"/>
                <a:gd name="T46" fmla="*/ 0 w 30"/>
                <a:gd name="T47" fmla="*/ 12 h 30"/>
                <a:gd name="T48" fmla="*/ 0 w 30"/>
                <a:gd name="T49" fmla="*/ 15 h 30"/>
                <a:gd name="T50" fmla="*/ 0 w 30"/>
                <a:gd name="T51" fmla="*/ 18 h 30"/>
                <a:gd name="T52" fmla="*/ 1 w 30"/>
                <a:gd name="T53" fmla="*/ 21 h 30"/>
                <a:gd name="T54" fmla="*/ 3 w 30"/>
                <a:gd name="T55" fmla="*/ 23 h 30"/>
                <a:gd name="T56" fmla="*/ 4 w 30"/>
                <a:gd name="T57" fmla="*/ 25 h 30"/>
                <a:gd name="T58" fmla="*/ 6 w 30"/>
                <a:gd name="T59" fmla="*/ 28 h 30"/>
                <a:gd name="T60" fmla="*/ 10 w 30"/>
                <a:gd name="T61" fmla="*/ 29 h 30"/>
                <a:gd name="T62" fmla="*/ 12 w 30"/>
                <a:gd name="T63" fmla="*/ 30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8" y="30"/>
                  </a:lnTo>
                  <a:lnTo>
                    <a:pt x="21"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1" y="1"/>
                  </a:lnTo>
                  <a:lnTo>
                    <a:pt x="18" y="1"/>
                  </a:lnTo>
                  <a:lnTo>
                    <a:pt x="15" y="0"/>
                  </a:lnTo>
                  <a:lnTo>
                    <a:pt x="12" y="1"/>
                  </a:lnTo>
                  <a:lnTo>
                    <a:pt x="10" y="1"/>
                  </a:lnTo>
                  <a:lnTo>
                    <a:pt x="6" y="3"/>
                  </a:lnTo>
                  <a:lnTo>
                    <a:pt x="4" y="4"/>
                  </a:lnTo>
                  <a:lnTo>
                    <a:pt x="3" y="7"/>
                  </a:lnTo>
                  <a:lnTo>
                    <a:pt x="1" y="9"/>
                  </a:lnTo>
                  <a:lnTo>
                    <a:pt x="0" y="12"/>
                  </a:lnTo>
                  <a:lnTo>
                    <a:pt x="0" y="15"/>
                  </a:lnTo>
                  <a:lnTo>
                    <a:pt x="0" y="18"/>
                  </a:lnTo>
                  <a:lnTo>
                    <a:pt x="1" y="21"/>
                  </a:lnTo>
                  <a:lnTo>
                    <a:pt x="3"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1" name="Freeform 227">
              <a:extLst>
                <a:ext uri="{FF2B5EF4-FFF2-40B4-BE49-F238E27FC236}">
                  <a16:creationId xmlns:a16="http://schemas.microsoft.com/office/drawing/2014/main" id="{47C72D85-3932-4877-9377-E98786768EC9}"/>
                </a:ext>
              </a:extLst>
            </p:cNvPr>
            <p:cNvSpPr>
              <a:spLocks/>
            </p:cNvSpPr>
            <p:nvPr/>
          </p:nvSpPr>
          <p:spPr bwMode="auto">
            <a:xfrm>
              <a:off x="3278188" y="2078038"/>
              <a:ext cx="9525" cy="9525"/>
            </a:xfrm>
            <a:custGeom>
              <a:avLst/>
              <a:gdLst>
                <a:gd name="T0" fmla="*/ 15 w 30"/>
                <a:gd name="T1" fmla="*/ 0 h 31"/>
                <a:gd name="T2" fmla="*/ 12 w 30"/>
                <a:gd name="T3" fmla="*/ 1 h 31"/>
                <a:gd name="T4" fmla="*/ 9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9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7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7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9" y="2"/>
                  </a:lnTo>
                  <a:lnTo>
                    <a:pt x="6" y="3"/>
                  </a:lnTo>
                  <a:lnTo>
                    <a:pt x="4" y="5"/>
                  </a:lnTo>
                  <a:lnTo>
                    <a:pt x="2" y="7"/>
                  </a:lnTo>
                  <a:lnTo>
                    <a:pt x="1" y="9"/>
                  </a:lnTo>
                  <a:lnTo>
                    <a:pt x="0" y="13"/>
                  </a:lnTo>
                  <a:lnTo>
                    <a:pt x="0" y="16"/>
                  </a:lnTo>
                  <a:lnTo>
                    <a:pt x="0" y="18"/>
                  </a:lnTo>
                  <a:lnTo>
                    <a:pt x="1" y="21"/>
                  </a:lnTo>
                  <a:lnTo>
                    <a:pt x="2" y="23"/>
                  </a:lnTo>
                  <a:lnTo>
                    <a:pt x="4" y="25"/>
                  </a:lnTo>
                  <a:lnTo>
                    <a:pt x="6" y="28"/>
                  </a:lnTo>
                  <a:lnTo>
                    <a:pt x="9" y="29"/>
                  </a:lnTo>
                  <a:lnTo>
                    <a:pt x="12" y="30"/>
                  </a:lnTo>
                  <a:lnTo>
                    <a:pt x="15" y="31"/>
                  </a:lnTo>
                  <a:lnTo>
                    <a:pt x="18" y="30"/>
                  </a:lnTo>
                  <a:lnTo>
                    <a:pt x="20" y="29"/>
                  </a:lnTo>
                  <a:lnTo>
                    <a:pt x="24" y="28"/>
                  </a:lnTo>
                  <a:lnTo>
                    <a:pt x="26" y="25"/>
                  </a:lnTo>
                  <a:lnTo>
                    <a:pt x="27" y="23"/>
                  </a:lnTo>
                  <a:lnTo>
                    <a:pt x="29" y="21"/>
                  </a:lnTo>
                  <a:lnTo>
                    <a:pt x="30" y="18"/>
                  </a:lnTo>
                  <a:lnTo>
                    <a:pt x="30" y="16"/>
                  </a:lnTo>
                  <a:lnTo>
                    <a:pt x="30" y="13"/>
                  </a:lnTo>
                  <a:lnTo>
                    <a:pt x="29" y="9"/>
                  </a:lnTo>
                  <a:lnTo>
                    <a:pt x="27"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2" name="Freeform 228">
              <a:extLst>
                <a:ext uri="{FF2B5EF4-FFF2-40B4-BE49-F238E27FC236}">
                  <a16:creationId xmlns:a16="http://schemas.microsoft.com/office/drawing/2014/main" id="{C1527234-FBCE-4D43-AF12-4AF7D52E4290}"/>
                </a:ext>
              </a:extLst>
            </p:cNvPr>
            <p:cNvSpPr>
              <a:spLocks/>
            </p:cNvSpPr>
            <p:nvPr/>
          </p:nvSpPr>
          <p:spPr bwMode="auto">
            <a:xfrm>
              <a:off x="3297238" y="2078038"/>
              <a:ext cx="9525" cy="9525"/>
            </a:xfrm>
            <a:custGeom>
              <a:avLst/>
              <a:gdLst>
                <a:gd name="T0" fmla="*/ 15 w 30"/>
                <a:gd name="T1" fmla="*/ 0 h 31"/>
                <a:gd name="T2" fmla="*/ 12 w 30"/>
                <a:gd name="T3" fmla="*/ 1 h 31"/>
                <a:gd name="T4" fmla="*/ 10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10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8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8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10" y="2"/>
                  </a:lnTo>
                  <a:lnTo>
                    <a:pt x="6" y="3"/>
                  </a:lnTo>
                  <a:lnTo>
                    <a:pt x="4" y="5"/>
                  </a:lnTo>
                  <a:lnTo>
                    <a:pt x="2" y="7"/>
                  </a:lnTo>
                  <a:lnTo>
                    <a:pt x="1" y="9"/>
                  </a:lnTo>
                  <a:lnTo>
                    <a:pt x="0" y="13"/>
                  </a:lnTo>
                  <a:lnTo>
                    <a:pt x="0" y="16"/>
                  </a:lnTo>
                  <a:lnTo>
                    <a:pt x="0" y="18"/>
                  </a:lnTo>
                  <a:lnTo>
                    <a:pt x="1" y="21"/>
                  </a:lnTo>
                  <a:lnTo>
                    <a:pt x="2" y="23"/>
                  </a:lnTo>
                  <a:lnTo>
                    <a:pt x="4" y="25"/>
                  </a:lnTo>
                  <a:lnTo>
                    <a:pt x="6" y="28"/>
                  </a:lnTo>
                  <a:lnTo>
                    <a:pt x="10" y="29"/>
                  </a:lnTo>
                  <a:lnTo>
                    <a:pt x="12" y="30"/>
                  </a:lnTo>
                  <a:lnTo>
                    <a:pt x="15" y="31"/>
                  </a:lnTo>
                  <a:lnTo>
                    <a:pt x="18" y="30"/>
                  </a:lnTo>
                  <a:lnTo>
                    <a:pt x="20" y="29"/>
                  </a:lnTo>
                  <a:lnTo>
                    <a:pt x="24" y="28"/>
                  </a:lnTo>
                  <a:lnTo>
                    <a:pt x="26" y="25"/>
                  </a:lnTo>
                  <a:lnTo>
                    <a:pt x="28" y="23"/>
                  </a:lnTo>
                  <a:lnTo>
                    <a:pt x="29" y="21"/>
                  </a:lnTo>
                  <a:lnTo>
                    <a:pt x="30" y="18"/>
                  </a:lnTo>
                  <a:lnTo>
                    <a:pt x="30" y="16"/>
                  </a:lnTo>
                  <a:lnTo>
                    <a:pt x="30" y="13"/>
                  </a:lnTo>
                  <a:lnTo>
                    <a:pt x="29" y="9"/>
                  </a:lnTo>
                  <a:lnTo>
                    <a:pt x="28"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3" name="Freeform 229">
              <a:extLst>
                <a:ext uri="{FF2B5EF4-FFF2-40B4-BE49-F238E27FC236}">
                  <a16:creationId xmlns:a16="http://schemas.microsoft.com/office/drawing/2014/main" id="{8F0B1BB6-5F3C-4923-8ACD-216469122E54}"/>
                </a:ext>
              </a:extLst>
            </p:cNvPr>
            <p:cNvSpPr>
              <a:spLocks/>
            </p:cNvSpPr>
            <p:nvPr/>
          </p:nvSpPr>
          <p:spPr bwMode="auto">
            <a:xfrm>
              <a:off x="3278188" y="2106613"/>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7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6" y="2"/>
                  </a:lnTo>
                  <a:lnTo>
                    <a:pt x="4" y="4"/>
                  </a:lnTo>
                  <a:lnTo>
                    <a:pt x="2" y="6"/>
                  </a:lnTo>
                  <a:lnTo>
                    <a:pt x="1" y="8"/>
                  </a:lnTo>
                  <a:lnTo>
                    <a:pt x="0" y="12"/>
                  </a:lnTo>
                  <a:lnTo>
                    <a:pt x="0" y="15"/>
                  </a:lnTo>
                  <a:lnTo>
                    <a:pt x="0" y="18"/>
                  </a:lnTo>
                  <a:lnTo>
                    <a:pt x="1" y="20"/>
                  </a:lnTo>
                  <a:lnTo>
                    <a:pt x="2" y="23"/>
                  </a:lnTo>
                  <a:lnTo>
                    <a:pt x="4" y="26"/>
                  </a:lnTo>
                  <a:lnTo>
                    <a:pt x="6" y="27"/>
                  </a:lnTo>
                  <a:lnTo>
                    <a:pt x="9" y="29"/>
                  </a:lnTo>
                  <a:lnTo>
                    <a:pt x="12" y="30"/>
                  </a:lnTo>
                  <a:lnTo>
                    <a:pt x="15" y="30"/>
                  </a:lnTo>
                  <a:lnTo>
                    <a:pt x="18" y="30"/>
                  </a:lnTo>
                  <a:lnTo>
                    <a:pt x="20" y="29"/>
                  </a:lnTo>
                  <a:lnTo>
                    <a:pt x="24" y="27"/>
                  </a:lnTo>
                  <a:lnTo>
                    <a:pt x="26" y="26"/>
                  </a:lnTo>
                  <a:lnTo>
                    <a:pt x="27" y="23"/>
                  </a:lnTo>
                  <a:lnTo>
                    <a:pt x="29" y="20"/>
                  </a:lnTo>
                  <a:lnTo>
                    <a:pt x="30" y="18"/>
                  </a:lnTo>
                  <a:lnTo>
                    <a:pt x="30" y="15"/>
                  </a:lnTo>
                  <a:lnTo>
                    <a:pt x="30" y="12"/>
                  </a:lnTo>
                  <a:lnTo>
                    <a:pt x="29" y="8"/>
                  </a:lnTo>
                  <a:lnTo>
                    <a:pt x="27"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4" name="Freeform 230">
              <a:extLst>
                <a:ext uri="{FF2B5EF4-FFF2-40B4-BE49-F238E27FC236}">
                  <a16:creationId xmlns:a16="http://schemas.microsoft.com/office/drawing/2014/main" id="{E04E6F01-1C87-4748-9469-21A32FB54883}"/>
                </a:ext>
              </a:extLst>
            </p:cNvPr>
            <p:cNvSpPr>
              <a:spLocks/>
            </p:cNvSpPr>
            <p:nvPr/>
          </p:nvSpPr>
          <p:spPr bwMode="auto">
            <a:xfrm>
              <a:off x="3297238" y="210661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8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lnTo>
                    <a:pt x="18" y="30"/>
                  </a:lnTo>
                  <a:lnTo>
                    <a:pt x="20" y="29"/>
                  </a:lnTo>
                  <a:lnTo>
                    <a:pt x="24" y="27"/>
                  </a:lnTo>
                  <a:lnTo>
                    <a:pt x="26" y="26"/>
                  </a:lnTo>
                  <a:lnTo>
                    <a:pt x="28" y="23"/>
                  </a:lnTo>
                  <a:lnTo>
                    <a:pt x="29" y="20"/>
                  </a:lnTo>
                  <a:lnTo>
                    <a:pt x="30" y="18"/>
                  </a:lnTo>
                  <a:lnTo>
                    <a:pt x="30" y="15"/>
                  </a:lnTo>
                  <a:lnTo>
                    <a:pt x="30" y="12"/>
                  </a:lnTo>
                  <a:lnTo>
                    <a:pt x="29" y="8"/>
                  </a:lnTo>
                  <a:lnTo>
                    <a:pt x="28"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5" name="Freeform 231">
              <a:extLst>
                <a:ext uri="{FF2B5EF4-FFF2-40B4-BE49-F238E27FC236}">
                  <a16:creationId xmlns:a16="http://schemas.microsoft.com/office/drawing/2014/main" id="{A58504D6-5886-42F5-BEA5-2E5949250538}"/>
                </a:ext>
              </a:extLst>
            </p:cNvPr>
            <p:cNvSpPr>
              <a:spLocks/>
            </p:cNvSpPr>
            <p:nvPr/>
          </p:nvSpPr>
          <p:spPr bwMode="auto">
            <a:xfrm>
              <a:off x="3278188" y="2135188"/>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7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6" y="2"/>
                  </a:lnTo>
                  <a:lnTo>
                    <a:pt x="4" y="4"/>
                  </a:lnTo>
                  <a:lnTo>
                    <a:pt x="2" y="6"/>
                  </a:lnTo>
                  <a:lnTo>
                    <a:pt x="1" y="10"/>
                  </a:lnTo>
                  <a:lnTo>
                    <a:pt x="0" y="12"/>
                  </a:lnTo>
                  <a:lnTo>
                    <a:pt x="0" y="15"/>
                  </a:lnTo>
                  <a:lnTo>
                    <a:pt x="0" y="18"/>
                  </a:lnTo>
                  <a:lnTo>
                    <a:pt x="1" y="20"/>
                  </a:lnTo>
                  <a:lnTo>
                    <a:pt x="2" y="24"/>
                  </a:lnTo>
                  <a:lnTo>
                    <a:pt x="4" y="26"/>
                  </a:lnTo>
                  <a:lnTo>
                    <a:pt x="6" y="28"/>
                  </a:lnTo>
                  <a:lnTo>
                    <a:pt x="9" y="29"/>
                  </a:lnTo>
                  <a:lnTo>
                    <a:pt x="12" y="30"/>
                  </a:lnTo>
                  <a:lnTo>
                    <a:pt x="15" y="30"/>
                  </a:lnTo>
                  <a:lnTo>
                    <a:pt x="18" y="30"/>
                  </a:lnTo>
                  <a:lnTo>
                    <a:pt x="20" y="29"/>
                  </a:lnTo>
                  <a:lnTo>
                    <a:pt x="24" y="28"/>
                  </a:lnTo>
                  <a:lnTo>
                    <a:pt x="26" y="26"/>
                  </a:lnTo>
                  <a:lnTo>
                    <a:pt x="27" y="24"/>
                  </a:lnTo>
                  <a:lnTo>
                    <a:pt x="29" y="20"/>
                  </a:lnTo>
                  <a:lnTo>
                    <a:pt x="30" y="18"/>
                  </a:lnTo>
                  <a:lnTo>
                    <a:pt x="30" y="15"/>
                  </a:lnTo>
                  <a:lnTo>
                    <a:pt x="30" y="12"/>
                  </a:lnTo>
                  <a:lnTo>
                    <a:pt x="29" y="10"/>
                  </a:lnTo>
                  <a:lnTo>
                    <a:pt x="27"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6" name="Freeform 232">
              <a:extLst>
                <a:ext uri="{FF2B5EF4-FFF2-40B4-BE49-F238E27FC236}">
                  <a16:creationId xmlns:a16="http://schemas.microsoft.com/office/drawing/2014/main" id="{D92B6E37-1BD1-457D-8C85-CC8BF77356B5}"/>
                </a:ext>
              </a:extLst>
            </p:cNvPr>
            <p:cNvSpPr>
              <a:spLocks/>
            </p:cNvSpPr>
            <p:nvPr/>
          </p:nvSpPr>
          <p:spPr bwMode="auto">
            <a:xfrm>
              <a:off x="3297238" y="2135188"/>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8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10" y="1"/>
                  </a:lnTo>
                  <a:lnTo>
                    <a:pt x="6" y="2"/>
                  </a:lnTo>
                  <a:lnTo>
                    <a:pt x="4" y="4"/>
                  </a:lnTo>
                  <a:lnTo>
                    <a:pt x="2" y="6"/>
                  </a:lnTo>
                  <a:lnTo>
                    <a:pt x="1" y="10"/>
                  </a:lnTo>
                  <a:lnTo>
                    <a:pt x="0" y="12"/>
                  </a:lnTo>
                  <a:lnTo>
                    <a:pt x="0" y="15"/>
                  </a:lnTo>
                  <a:lnTo>
                    <a:pt x="0" y="18"/>
                  </a:lnTo>
                  <a:lnTo>
                    <a:pt x="1" y="20"/>
                  </a:lnTo>
                  <a:lnTo>
                    <a:pt x="2" y="24"/>
                  </a:lnTo>
                  <a:lnTo>
                    <a:pt x="4" y="26"/>
                  </a:lnTo>
                  <a:lnTo>
                    <a:pt x="6" y="28"/>
                  </a:lnTo>
                  <a:lnTo>
                    <a:pt x="10" y="29"/>
                  </a:lnTo>
                  <a:lnTo>
                    <a:pt x="12" y="30"/>
                  </a:lnTo>
                  <a:lnTo>
                    <a:pt x="15" y="30"/>
                  </a:lnTo>
                  <a:lnTo>
                    <a:pt x="18" y="30"/>
                  </a:lnTo>
                  <a:lnTo>
                    <a:pt x="20" y="29"/>
                  </a:lnTo>
                  <a:lnTo>
                    <a:pt x="24" y="28"/>
                  </a:lnTo>
                  <a:lnTo>
                    <a:pt x="26" y="26"/>
                  </a:lnTo>
                  <a:lnTo>
                    <a:pt x="28" y="24"/>
                  </a:lnTo>
                  <a:lnTo>
                    <a:pt x="29" y="20"/>
                  </a:lnTo>
                  <a:lnTo>
                    <a:pt x="30" y="18"/>
                  </a:lnTo>
                  <a:lnTo>
                    <a:pt x="30" y="15"/>
                  </a:lnTo>
                  <a:lnTo>
                    <a:pt x="30" y="12"/>
                  </a:lnTo>
                  <a:lnTo>
                    <a:pt x="29" y="10"/>
                  </a:lnTo>
                  <a:lnTo>
                    <a:pt x="28"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7" name="Freeform 233">
              <a:extLst>
                <a:ext uri="{FF2B5EF4-FFF2-40B4-BE49-F238E27FC236}">
                  <a16:creationId xmlns:a16="http://schemas.microsoft.com/office/drawing/2014/main" id="{F4ABAE5D-1CD2-4C8F-B0D0-C1F8522D439D}"/>
                </a:ext>
              </a:extLst>
            </p:cNvPr>
            <p:cNvSpPr>
              <a:spLocks/>
            </p:cNvSpPr>
            <p:nvPr/>
          </p:nvSpPr>
          <p:spPr bwMode="auto">
            <a:xfrm>
              <a:off x="3316288" y="2078038"/>
              <a:ext cx="9525" cy="9525"/>
            </a:xfrm>
            <a:custGeom>
              <a:avLst/>
              <a:gdLst>
                <a:gd name="T0" fmla="*/ 15 w 30"/>
                <a:gd name="T1" fmla="*/ 30 h 30"/>
                <a:gd name="T2" fmla="*/ 18 w 30"/>
                <a:gd name="T3" fmla="*/ 29 h 30"/>
                <a:gd name="T4" fmla="*/ 21 w 30"/>
                <a:gd name="T5" fmla="*/ 28 h 30"/>
                <a:gd name="T6" fmla="*/ 24 w 30"/>
                <a:gd name="T7" fmla="*/ 27 h 30"/>
                <a:gd name="T8" fmla="*/ 26 w 30"/>
                <a:gd name="T9" fmla="*/ 24 h 30"/>
                <a:gd name="T10" fmla="*/ 28 w 30"/>
                <a:gd name="T11" fmla="*/ 22 h 30"/>
                <a:gd name="T12" fmla="*/ 29 w 30"/>
                <a:gd name="T13" fmla="*/ 20 h 30"/>
                <a:gd name="T14" fmla="*/ 30 w 30"/>
                <a:gd name="T15" fmla="*/ 17 h 30"/>
                <a:gd name="T16" fmla="*/ 30 w 30"/>
                <a:gd name="T17" fmla="*/ 15 h 30"/>
                <a:gd name="T18" fmla="*/ 30 w 30"/>
                <a:gd name="T19" fmla="*/ 12 h 30"/>
                <a:gd name="T20" fmla="*/ 29 w 30"/>
                <a:gd name="T21" fmla="*/ 8 h 30"/>
                <a:gd name="T22" fmla="*/ 28 w 30"/>
                <a:gd name="T23" fmla="*/ 6 h 30"/>
                <a:gd name="T24" fmla="*/ 26 w 30"/>
                <a:gd name="T25" fmla="*/ 4 h 30"/>
                <a:gd name="T26" fmla="*/ 24 w 30"/>
                <a:gd name="T27" fmla="*/ 2 h 30"/>
                <a:gd name="T28" fmla="*/ 21 w 30"/>
                <a:gd name="T29" fmla="*/ 1 h 30"/>
                <a:gd name="T30" fmla="*/ 18 w 30"/>
                <a:gd name="T31" fmla="*/ 0 h 30"/>
                <a:gd name="T32" fmla="*/ 15 w 30"/>
                <a:gd name="T33" fmla="*/ 0 h 30"/>
                <a:gd name="T34" fmla="*/ 12 w 30"/>
                <a:gd name="T35" fmla="*/ 0 h 30"/>
                <a:gd name="T36" fmla="*/ 10 w 30"/>
                <a:gd name="T37" fmla="*/ 1 h 30"/>
                <a:gd name="T38" fmla="*/ 6 w 30"/>
                <a:gd name="T39" fmla="*/ 2 h 30"/>
                <a:gd name="T40" fmla="*/ 4 w 30"/>
                <a:gd name="T41" fmla="*/ 4 h 30"/>
                <a:gd name="T42" fmla="*/ 3 w 30"/>
                <a:gd name="T43" fmla="*/ 6 h 30"/>
                <a:gd name="T44" fmla="*/ 1 w 30"/>
                <a:gd name="T45" fmla="*/ 8 h 30"/>
                <a:gd name="T46" fmla="*/ 0 w 30"/>
                <a:gd name="T47" fmla="*/ 12 h 30"/>
                <a:gd name="T48" fmla="*/ 0 w 30"/>
                <a:gd name="T49" fmla="*/ 15 h 30"/>
                <a:gd name="T50" fmla="*/ 0 w 30"/>
                <a:gd name="T51" fmla="*/ 17 h 30"/>
                <a:gd name="T52" fmla="*/ 1 w 30"/>
                <a:gd name="T53" fmla="*/ 20 h 30"/>
                <a:gd name="T54" fmla="*/ 3 w 30"/>
                <a:gd name="T55" fmla="*/ 22 h 30"/>
                <a:gd name="T56" fmla="*/ 4 w 30"/>
                <a:gd name="T57" fmla="*/ 24 h 30"/>
                <a:gd name="T58" fmla="*/ 6 w 30"/>
                <a:gd name="T59" fmla="*/ 27 h 30"/>
                <a:gd name="T60" fmla="*/ 10 w 30"/>
                <a:gd name="T61" fmla="*/ 28 h 30"/>
                <a:gd name="T62" fmla="*/ 12 w 30"/>
                <a:gd name="T63" fmla="*/ 29 h 30"/>
                <a:gd name="T64" fmla="*/ 15 w 30"/>
                <a:gd name="T65" fmla="*/ 30 h 30"/>
                <a:gd name="T66" fmla="*/ 15 w 30"/>
                <a:gd name="T6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30"/>
                  </a:moveTo>
                  <a:lnTo>
                    <a:pt x="18" y="29"/>
                  </a:lnTo>
                  <a:lnTo>
                    <a:pt x="21" y="28"/>
                  </a:lnTo>
                  <a:lnTo>
                    <a:pt x="24" y="27"/>
                  </a:lnTo>
                  <a:lnTo>
                    <a:pt x="26" y="24"/>
                  </a:lnTo>
                  <a:lnTo>
                    <a:pt x="28" y="22"/>
                  </a:lnTo>
                  <a:lnTo>
                    <a:pt x="29" y="20"/>
                  </a:lnTo>
                  <a:lnTo>
                    <a:pt x="30" y="17"/>
                  </a:lnTo>
                  <a:lnTo>
                    <a:pt x="30" y="15"/>
                  </a:lnTo>
                  <a:lnTo>
                    <a:pt x="30" y="12"/>
                  </a:lnTo>
                  <a:lnTo>
                    <a:pt x="29" y="8"/>
                  </a:lnTo>
                  <a:lnTo>
                    <a:pt x="28" y="6"/>
                  </a:lnTo>
                  <a:lnTo>
                    <a:pt x="26" y="4"/>
                  </a:lnTo>
                  <a:lnTo>
                    <a:pt x="24" y="2"/>
                  </a:lnTo>
                  <a:lnTo>
                    <a:pt x="21" y="1"/>
                  </a:lnTo>
                  <a:lnTo>
                    <a:pt x="18" y="0"/>
                  </a:lnTo>
                  <a:lnTo>
                    <a:pt x="15" y="0"/>
                  </a:lnTo>
                  <a:lnTo>
                    <a:pt x="12" y="0"/>
                  </a:lnTo>
                  <a:lnTo>
                    <a:pt x="10" y="1"/>
                  </a:lnTo>
                  <a:lnTo>
                    <a:pt x="6" y="2"/>
                  </a:lnTo>
                  <a:lnTo>
                    <a:pt x="4" y="4"/>
                  </a:lnTo>
                  <a:lnTo>
                    <a:pt x="3" y="6"/>
                  </a:lnTo>
                  <a:lnTo>
                    <a:pt x="1" y="8"/>
                  </a:lnTo>
                  <a:lnTo>
                    <a:pt x="0" y="12"/>
                  </a:lnTo>
                  <a:lnTo>
                    <a:pt x="0" y="15"/>
                  </a:lnTo>
                  <a:lnTo>
                    <a:pt x="0" y="17"/>
                  </a:lnTo>
                  <a:lnTo>
                    <a:pt x="1" y="20"/>
                  </a:lnTo>
                  <a:lnTo>
                    <a:pt x="3" y="22"/>
                  </a:lnTo>
                  <a:lnTo>
                    <a:pt x="4" y="24"/>
                  </a:lnTo>
                  <a:lnTo>
                    <a:pt x="6" y="27"/>
                  </a:lnTo>
                  <a:lnTo>
                    <a:pt x="10" y="28"/>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278" name="Group 63">
            <a:extLst>
              <a:ext uri="{FF2B5EF4-FFF2-40B4-BE49-F238E27FC236}">
                <a16:creationId xmlns:a16="http://schemas.microsoft.com/office/drawing/2014/main" id="{45484734-A7A1-4894-8B1D-8A890E758575}"/>
              </a:ext>
            </a:extLst>
          </p:cNvPr>
          <p:cNvGrpSpPr>
            <a:grpSpLocks noChangeAspect="1"/>
          </p:cNvGrpSpPr>
          <p:nvPr/>
        </p:nvGrpSpPr>
        <p:grpSpPr>
          <a:xfrm>
            <a:off x="1133297" y="5956111"/>
            <a:ext cx="172003" cy="285619"/>
            <a:chOff x="3228975" y="1360488"/>
            <a:chExt cx="173038" cy="287338"/>
          </a:xfrm>
          <a:solidFill>
            <a:schemeClr val="bg2"/>
          </a:solidFill>
          <a:effectLst/>
        </p:grpSpPr>
        <p:sp>
          <p:nvSpPr>
            <p:cNvPr id="1279" name="Freeform 137">
              <a:extLst>
                <a:ext uri="{FF2B5EF4-FFF2-40B4-BE49-F238E27FC236}">
                  <a16:creationId xmlns:a16="http://schemas.microsoft.com/office/drawing/2014/main" id="{9A4FDEFB-6D03-4D54-B6D5-3C10210F2EEA}"/>
                </a:ext>
              </a:extLst>
            </p:cNvPr>
            <p:cNvSpPr>
              <a:spLocks noEditPoints="1"/>
            </p:cNvSpPr>
            <p:nvPr/>
          </p:nvSpPr>
          <p:spPr bwMode="auto">
            <a:xfrm>
              <a:off x="3228975" y="1360488"/>
              <a:ext cx="173038" cy="287338"/>
            </a:xfrm>
            <a:custGeom>
              <a:avLst/>
              <a:gdLst>
                <a:gd name="T0" fmla="*/ 84 w 542"/>
                <a:gd name="T1" fmla="*/ 873 h 903"/>
                <a:gd name="T2" fmla="*/ 67 w 542"/>
                <a:gd name="T3" fmla="*/ 869 h 903"/>
                <a:gd name="T4" fmla="*/ 52 w 542"/>
                <a:gd name="T5" fmla="*/ 859 h 903"/>
                <a:gd name="T6" fmla="*/ 40 w 542"/>
                <a:gd name="T7" fmla="*/ 847 h 903"/>
                <a:gd name="T8" fmla="*/ 33 w 542"/>
                <a:gd name="T9" fmla="*/ 831 h 903"/>
                <a:gd name="T10" fmla="*/ 31 w 542"/>
                <a:gd name="T11" fmla="*/ 813 h 903"/>
                <a:gd name="T12" fmla="*/ 512 w 542"/>
                <a:gd name="T13" fmla="*/ 813 h 903"/>
                <a:gd name="T14" fmla="*/ 509 w 542"/>
                <a:gd name="T15" fmla="*/ 831 h 903"/>
                <a:gd name="T16" fmla="*/ 502 w 542"/>
                <a:gd name="T17" fmla="*/ 847 h 903"/>
                <a:gd name="T18" fmla="*/ 490 w 542"/>
                <a:gd name="T19" fmla="*/ 859 h 903"/>
                <a:gd name="T20" fmla="*/ 475 w 542"/>
                <a:gd name="T21" fmla="*/ 869 h 903"/>
                <a:gd name="T22" fmla="*/ 458 w 542"/>
                <a:gd name="T23" fmla="*/ 873 h 903"/>
                <a:gd name="T24" fmla="*/ 452 w 542"/>
                <a:gd name="T25" fmla="*/ 30 h 903"/>
                <a:gd name="T26" fmla="*/ 469 w 542"/>
                <a:gd name="T27" fmla="*/ 33 h 903"/>
                <a:gd name="T28" fmla="*/ 486 w 542"/>
                <a:gd name="T29" fmla="*/ 41 h 903"/>
                <a:gd name="T30" fmla="*/ 498 w 542"/>
                <a:gd name="T31" fmla="*/ 52 h 903"/>
                <a:gd name="T32" fmla="*/ 507 w 542"/>
                <a:gd name="T33" fmla="*/ 68 h 903"/>
                <a:gd name="T34" fmla="*/ 511 w 542"/>
                <a:gd name="T35" fmla="*/ 85 h 903"/>
                <a:gd name="T36" fmla="*/ 31 w 542"/>
                <a:gd name="T37" fmla="*/ 151 h 903"/>
                <a:gd name="T38" fmla="*/ 32 w 542"/>
                <a:gd name="T39" fmla="*/ 78 h 903"/>
                <a:gd name="T40" fmla="*/ 37 w 542"/>
                <a:gd name="T41" fmla="*/ 62 h 903"/>
                <a:gd name="T42" fmla="*/ 48 w 542"/>
                <a:gd name="T43" fmla="*/ 48 h 903"/>
                <a:gd name="T44" fmla="*/ 62 w 542"/>
                <a:gd name="T45" fmla="*/ 37 h 903"/>
                <a:gd name="T46" fmla="*/ 78 w 542"/>
                <a:gd name="T47" fmla="*/ 32 h 903"/>
                <a:gd name="T48" fmla="*/ 31 w 542"/>
                <a:gd name="T49" fmla="*/ 181 h 903"/>
                <a:gd name="T50" fmla="*/ 31 w 542"/>
                <a:gd name="T51" fmla="*/ 723 h 903"/>
                <a:gd name="T52" fmla="*/ 91 w 542"/>
                <a:gd name="T53" fmla="*/ 0 h 903"/>
                <a:gd name="T54" fmla="*/ 64 w 542"/>
                <a:gd name="T55" fmla="*/ 4 h 903"/>
                <a:gd name="T56" fmla="*/ 40 w 542"/>
                <a:gd name="T57" fmla="*/ 16 h 903"/>
                <a:gd name="T58" fmla="*/ 21 w 542"/>
                <a:gd name="T59" fmla="*/ 33 h 903"/>
                <a:gd name="T60" fmla="*/ 7 w 542"/>
                <a:gd name="T61" fmla="*/ 56 h 903"/>
                <a:gd name="T62" fmla="*/ 1 w 542"/>
                <a:gd name="T63" fmla="*/ 81 h 903"/>
                <a:gd name="T64" fmla="*/ 1 w 542"/>
                <a:gd name="T65" fmla="*/ 823 h 903"/>
                <a:gd name="T66" fmla="*/ 7 w 542"/>
                <a:gd name="T67" fmla="*/ 848 h 903"/>
                <a:gd name="T68" fmla="*/ 21 w 542"/>
                <a:gd name="T69" fmla="*/ 871 h 903"/>
                <a:gd name="T70" fmla="*/ 40 w 542"/>
                <a:gd name="T71" fmla="*/ 888 h 903"/>
                <a:gd name="T72" fmla="*/ 64 w 542"/>
                <a:gd name="T73" fmla="*/ 900 h 903"/>
                <a:gd name="T74" fmla="*/ 91 w 542"/>
                <a:gd name="T75" fmla="*/ 903 h 903"/>
                <a:gd name="T76" fmla="*/ 469 w 542"/>
                <a:gd name="T77" fmla="*/ 902 h 903"/>
                <a:gd name="T78" fmla="*/ 495 w 542"/>
                <a:gd name="T79" fmla="*/ 892 h 903"/>
                <a:gd name="T80" fmla="*/ 516 w 542"/>
                <a:gd name="T81" fmla="*/ 877 h 903"/>
                <a:gd name="T82" fmla="*/ 532 w 542"/>
                <a:gd name="T83" fmla="*/ 856 h 903"/>
                <a:gd name="T84" fmla="*/ 540 w 542"/>
                <a:gd name="T85" fmla="*/ 831 h 903"/>
                <a:gd name="T86" fmla="*/ 542 w 542"/>
                <a:gd name="T87" fmla="*/ 91 h 903"/>
                <a:gd name="T88" fmla="*/ 538 w 542"/>
                <a:gd name="T89" fmla="*/ 63 h 903"/>
                <a:gd name="T90" fmla="*/ 526 w 542"/>
                <a:gd name="T91" fmla="*/ 40 h 903"/>
                <a:gd name="T92" fmla="*/ 509 w 542"/>
                <a:gd name="T93" fmla="*/ 21 h 903"/>
                <a:gd name="T94" fmla="*/ 487 w 542"/>
                <a:gd name="T95" fmla="*/ 7 h 903"/>
                <a:gd name="T96" fmla="*/ 461 w 542"/>
                <a:gd name="T97"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903">
                  <a:moveTo>
                    <a:pt x="452" y="873"/>
                  </a:moveTo>
                  <a:lnTo>
                    <a:pt x="91" y="873"/>
                  </a:lnTo>
                  <a:lnTo>
                    <a:pt x="84" y="873"/>
                  </a:lnTo>
                  <a:lnTo>
                    <a:pt x="78" y="872"/>
                  </a:lnTo>
                  <a:lnTo>
                    <a:pt x="73" y="871"/>
                  </a:lnTo>
                  <a:lnTo>
                    <a:pt x="67" y="869"/>
                  </a:lnTo>
                  <a:lnTo>
                    <a:pt x="62" y="867"/>
                  </a:lnTo>
                  <a:lnTo>
                    <a:pt x="57" y="863"/>
                  </a:lnTo>
                  <a:lnTo>
                    <a:pt x="52" y="859"/>
                  </a:lnTo>
                  <a:lnTo>
                    <a:pt x="48" y="856"/>
                  </a:lnTo>
                  <a:lnTo>
                    <a:pt x="44" y="852"/>
                  </a:lnTo>
                  <a:lnTo>
                    <a:pt x="40" y="847"/>
                  </a:lnTo>
                  <a:lnTo>
                    <a:pt x="37" y="842"/>
                  </a:lnTo>
                  <a:lnTo>
                    <a:pt x="35" y="837"/>
                  </a:lnTo>
                  <a:lnTo>
                    <a:pt x="33" y="831"/>
                  </a:lnTo>
                  <a:lnTo>
                    <a:pt x="32" y="826"/>
                  </a:lnTo>
                  <a:lnTo>
                    <a:pt x="31" y="819"/>
                  </a:lnTo>
                  <a:lnTo>
                    <a:pt x="31" y="813"/>
                  </a:lnTo>
                  <a:lnTo>
                    <a:pt x="31" y="753"/>
                  </a:lnTo>
                  <a:lnTo>
                    <a:pt x="512" y="753"/>
                  </a:lnTo>
                  <a:lnTo>
                    <a:pt x="512" y="813"/>
                  </a:lnTo>
                  <a:lnTo>
                    <a:pt x="511" y="819"/>
                  </a:lnTo>
                  <a:lnTo>
                    <a:pt x="511" y="825"/>
                  </a:lnTo>
                  <a:lnTo>
                    <a:pt x="509" y="831"/>
                  </a:lnTo>
                  <a:lnTo>
                    <a:pt x="507" y="837"/>
                  </a:lnTo>
                  <a:lnTo>
                    <a:pt x="505" y="842"/>
                  </a:lnTo>
                  <a:lnTo>
                    <a:pt x="502" y="847"/>
                  </a:lnTo>
                  <a:lnTo>
                    <a:pt x="498" y="852"/>
                  </a:lnTo>
                  <a:lnTo>
                    <a:pt x="494" y="856"/>
                  </a:lnTo>
                  <a:lnTo>
                    <a:pt x="490" y="859"/>
                  </a:lnTo>
                  <a:lnTo>
                    <a:pt x="486" y="863"/>
                  </a:lnTo>
                  <a:lnTo>
                    <a:pt x="480" y="867"/>
                  </a:lnTo>
                  <a:lnTo>
                    <a:pt x="475" y="869"/>
                  </a:lnTo>
                  <a:lnTo>
                    <a:pt x="469" y="871"/>
                  </a:lnTo>
                  <a:lnTo>
                    <a:pt x="464" y="872"/>
                  </a:lnTo>
                  <a:lnTo>
                    <a:pt x="458" y="873"/>
                  </a:lnTo>
                  <a:lnTo>
                    <a:pt x="452" y="873"/>
                  </a:lnTo>
                  <a:close/>
                  <a:moveTo>
                    <a:pt x="91" y="30"/>
                  </a:moveTo>
                  <a:lnTo>
                    <a:pt x="452" y="30"/>
                  </a:lnTo>
                  <a:lnTo>
                    <a:pt x="458" y="31"/>
                  </a:lnTo>
                  <a:lnTo>
                    <a:pt x="464" y="32"/>
                  </a:lnTo>
                  <a:lnTo>
                    <a:pt x="469" y="33"/>
                  </a:lnTo>
                  <a:lnTo>
                    <a:pt x="475" y="35"/>
                  </a:lnTo>
                  <a:lnTo>
                    <a:pt x="480" y="37"/>
                  </a:lnTo>
                  <a:lnTo>
                    <a:pt x="486" y="41"/>
                  </a:lnTo>
                  <a:lnTo>
                    <a:pt x="490" y="44"/>
                  </a:lnTo>
                  <a:lnTo>
                    <a:pt x="494" y="48"/>
                  </a:lnTo>
                  <a:lnTo>
                    <a:pt x="498" y="52"/>
                  </a:lnTo>
                  <a:lnTo>
                    <a:pt x="502" y="57"/>
                  </a:lnTo>
                  <a:lnTo>
                    <a:pt x="505" y="62"/>
                  </a:lnTo>
                  <a:lnTo>
                    <a:pt x="507" y="68"/>
                  </a:lnTo>
                  <a:lnTo>
                    <a:pt x="509" y="73"/>
                  </a:lnTo>
                  <a:lnTo>
                    <a:pt x="511" y="78"/>
                  </a:lnTo>
                  <a:lnTo>
                    <a:pt x="511" y="85"/>
                  </a:lnTo>
                  <a:lnTo>
                    <a:pt x="512" y="91"/>
                  </a:lnTo>
                  <a:lnTo>
                    <a:pt x="512" y="151"/>
                  </a:lnTo>
                  <a:lnTo>
                    <a:pt x="31" y="151"/>
                  </a:lnTo>
                  <a:lnTo>
                    <a:pt x="31" y="91"/>
                  </a:lnTo>
                  <a:lnTo>
                    <a:pt x="31" y="85"/>
                  </a:lnTo>
                  <a:lnTo>
                    <a:pt x="32" y="78"/>
                  </a:lnTo>
                  <a:lnTo>
                    <a:pt x="33" y="73"/>
                  </a:lnTo>
                  <a:lnTo>
                    <a:pt x="35" y="68"/>
                  </a:lnTo>
                  <a:lnTo>
                    <a:pt x="37" y="62"/>
                  </a:lnTo>
                  <a:lnTo>
                    <a:pt x="40" y="57"/>
                  </a:lnTo>
                  <a:lnTo>
                    <a:pt x="44" y="52"/>
                  </a:lnTo>
                  <a:lnTo>
                    <a:pt x="48" y="48"/>
                  </a:lnTo>
                  <a:lnTo>
                    <a:pt x="52" y="44"/>
                  </a:lnTo>
                  <a:lnTo>
                    <a:pt x="57" y="41"/>
                  </a:lnTo>
                  <a:lnTo>
                    <a:pt x="62" y="37"/>
                  </a:lnTo>
                  <a:lnTo>
                    <a:pt x="67" y="35"/>
                  </a:lnTo>
                  <a:lnTo>
                    <a:pt x="73" y="33"/>
                  </a:lnTo>
                  <a:lnTo>
                    <a:pt x="78" y="32"/>
                  </a:lnTo>
                  <a:lnTo>
                    <a:pt x="84" y="31"/>
                  </a:lnTo>
                  <a:lnTo>
                    <a:pt x="91" y="30"/>
                  </a:lnTo>
                  <a:close/>
                  <a:moveTo>
                    <a:pt x="31" y="181"/>
                  </a:moveTo>
                  <a:lnTo>
                    <a:pt x="512" y="181"/>
                  </a:lnTo>
                  <a:lnTo>
                    <a:pt x="512" y="723"/>
                  </a:lnTo>
                  <a:lnTo>
                    <a:pt x="31" y="723"/>
                  </a:lnTo>
                  <a:lnTo>
                    <a:pt x="31" y="181"/>
                  </a:lnTo>
                  <a:close/>
                  <a:moveTo>
                    <a:pt x="452" y="0"/>
                  </a:moveTo>
                  <a:lnTo>
                    <a:pt x="91" y="0"/>
                  </a:lnTo>
                  <a:lnTo>
                    <a:pt x="81" y="1"/>
                  </a:lnTo>
                  <a:lnTo>
                    <a:pt x="73" y="2"/>
                  </a:lnTo>
                  <a:lnTo>
                    <a:pt x="64" y="4"/>
                  </a:lnTo>
                  <a:lnTo>
                    <a:pt x="55" y="7"/>
                  </a:lnTo>
                  <a:lnTo>
                    <a:pt x="48" y="11"/>
                  </a:lnTo>
                  <a:lnTo>
                    <a:pt x="40" y="16"/>
                  </a:lnTo>
                  <a:lnTo>
                    <a:pt x="33" y="21"/>
                  </a:lnTo>
                  <a:lnTo>
                    <a:pt x="27" y="27"/>
                  </a:lnTo>
                  <a:lnTo>
                    <a:pt x="21" y="33"/>
                  </a:lnTo>
                  <a:lnTo>
                    <a:pt x="16" y="40"/>
                  </a:lnTo>
                  <a:lnTo>
                    <a:pt x="12" y="47"/>
                  </a:lnTo>
                  <a:lnTo>
                    <a:pt x="7" y="56"/>
                  </a:lnTo>
                  <a:lnTo>
                    <a:pt x="4" y="64"/>
                  </a:lnTo>
                  <a:lnTo>
                    <a:pt x="2" y="73"/>
                  </a:lnTo>
                  <a:lnTo>
                    <a:pt x="1" y="81"/>
                  </a:lnTo>
                  <a:lnTo>
                    <a:pt x="0" y="91"/>
                  </a:lnTo>
                  <a:lnTo>
                    <a:pt x="0" y="813"/>
                  </a:lnTo>
                  <a:lnTo>
                    <a:pt x="1" y="823"/>
                  </a:lnTo>
                  <a:lnTo>
                    <a:pt x="2" y="831"/>
                  </a:lnTo>
                  <a:lnTo>
                    <a:pt x="4" y="840"/>
                  </a:lnTo>
                  <a:lnTo>
                    <a:pt x="7" y="848"/>
                  </a:lnTo>
                  <a:lnTo>
                    <a:pt x="12" y="856"/>
                  </a:lnTo>
                  <a:lnTo>
                    <a:pt x="16" y="863"/>
                  </a:lnTo>
                  <a:lnTo>
                    <a:pt x="21" y="871"/>
                  </a:lnTo>
                  <a:lnTo>
                    <a:pt x="27" y="877"/>
                  </a:lnTo>
                  <a:lnTo>
                    <a:pt x="33" y="883"/>
                  </a:lnTo>
                  <a:lnTo>
                    <a:pt x="40" y="888"/>
                  </a:lnTo>
                  <a:lnTo>
                    <a:pt x="48" y="892"/>
                  </a:lnTo>
                  <a:lnTo>
                    <a:pt x="55" y="897"/>
                  </a:lnTo>
                  <a:lnTo>
                    <a:pt x="64" y="900"/>
                  </a:lnTo>
                  <a:lnTo>
                    <a:pt x="73" y="902"/>
                  </a:lnTo>
                  <a:lnTo>
                    <a:pt x="81" y="903"/>
                  </a:lnTo>
                  <a:lnTo>
                    <a:pt x="91" y="903"/>
                  </a:lnTo>
                  <a:lnTo>
                    <a:pt x="452" y="903"/>
                  </a:lnTo>
                  <a:lnTo>
                    <a:pt x="461" y="903"/>
                  </a:lnTo>
                  <a:lnTo>
                    <a:pt x="469" y="902"/>
                  </a:lnTo>
                  <a:lnTo>
                    <a:pt x="479" y="900"/>
                  </a:lnTo>
                  <a:lnTo>
                    <a:pt x="487" y="897"/>
                  </a:lnTo>
                  <a:lnTo>
                    <a:pt x="495" y="892"/>
                  </a:lnTo>
                  <a:lnTo>
                    <a:pt x="503" y="888"/>
                  </a:lnTo>
                  <a:lnTo>
                    <a:pt x="509" y="883"/>
                  </a:lnTo>
                  <a:lnTo>
                    <a:pt x="516" y="877"/>
                  </a:lnTo>
                  <a:lnTo>
                    <a:pt x="521" y="871"/>
                  </a:lnTo>
                  <a:lnTo>
                    <a:pt x="526" y="863"/>
                  </a:lnTo>
                  <a:lnTo>
                    <a:pt x="532" y="856"/>
                  </a:lnTo>
                  <a:lnTo>
                    <a:pt x="535" y="848"/>
                  </a:lnTo>
                  <a:lnTo>
                    <a:pt x="538" y="840"/>
                  </a:lnTo>
                  <a:lnTo>
                    <a:pt x="540" y="831"/>
                  </a:lnTo>
                  <a:lnTo>
                    <a:pt x="541" y="823"/>
                  </a:lnTo>
                  <a:lnTo>
                    <a:pt x="542" y="813"/>
                  </a:lnTo>
                  <a:lnTo>
                    <a:pt x="542" y="91"/>
                  </a:lnTo>
                  <a:lnTo>
                    <a:pt x="541" y="81"/>
                  </a:lnTo>
                  <a:lnTo>
                    <a:pt x="540" y="73"/>
                  </a:lnTo>
                  <a:lnTo>
                    <a:pt x="538" y="63"/>
                  </a:lnTo>
                  <a:lnTo>
                    <a:pt x="535" y="56"/>
                  </a:lnTo>
                  <a:lnTo>
                    <a:pt x="532" y="47"/>
                  </a:lnTo>
                  <a:lnTo>
                    <a:pt x="526" y="40"/>
                  </a:lnTo>
                  <a:lnTo>
                    <a:pt x="521" y="33"/>
                  </a:lnTo>
                  <a:lnTo>
                    <a:pt x="516" y="27"/>
                  </a:lnTo>
                  <a:lnTo>
                    <a:pt x="509" y="21"/>
                  </a:lnTo>
                  <a:lnTo>
                    <a:pt x="503" y="16"/>
                  </a:lnTo>
                  <a:lnTo>
                    <a:pt x="495" y="12"/>
                  </a:lnTo>
                  <a:lnTo>
                    <a:pt x="487" y="7"/>
                  </a:lnTo>
                  <a:lnTo>
                    <a:pt x="479" y="4"/>
                  </a:lnTo>
                  <a:lnTo>
                    <a:pt x="469" y="2"/>
                  </a:lnTo>
                  <a:lnTo>
                    <a:pt x="461" y="1"/>
                  </a:lnTo>
                  <a:lnTo>
                    <a:pt x="452" y="0"/>
                  </a:lnTo>
                  <a:lnTo>
                    <a:pt x="4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138">
              <a:extLst>
                <a:ext uri="{FF2B5EF4-FFF2-40B4-BE49-F238E27FC236}">
                  <a16:creationId xmlns:a16="http://schemas.microsoft.com/office/drawing/2014/main" id="{86ED97F0-D522-41A9-A2B2-C806C7C29DBA}"/>
                </a:ext>
              </a:extLst>
            </p:cNvPr>
            <p:cNvSpPr>
              <a:spLocks/>
            </p:cNvSpPr>
            <p:nvPr/>
          </p:nvSpPr>
          <p:spPr bwMode="auto">
            <a:xfrm>
              <a:off x="3278188" y="1389063"/>
              <a:ext cx="76200" cy="9525"/>
            </a:xfrm>
            <a:custGeom>
              <a:avLst/>
              <a:gdLst>
                <a:gd name="T0" fmla="*/ 15 w 240"/>
                <a:gd name="T1" fmla="*/ 30 h 30"/>
                <a:gd name="T2" fmla="*/ 225 w 240"/>
                <a:gd name="T3" fmla="*/ 30 h 30"/>
                <a:gd name="T4" fmla="*/ 228 w 240"/>
                <a:gd name="T5" fmla="*/ 29 h 30"/>
                <a:gd name="T6" fmla="*/ 232 w 240"/>
                <a:gd name="T7" fmla="*/ 28 h 30"/>
                <a:gd name="T8" fmla="*/ 234 w 240"/>
                <a:gd name="T9" fmla="*/ 27 h 30"/>
                <a:gd name="T10" fmla="*/ 236 w 240"/>
                <a:gd name="T11" fmla="*/ 25 h 30"/>
                <a:gd name="T12" fmla="*/ 238 w 240"/>
                <a:gd name="T13" fmla="*/ 23 h 30"/>
                <a:gd name="T14" fmla="*/ 239 w 240"/>
                <a:gd name="T15" fmla="*/ 20 h 30"/>
                <a:gd name="T16" fmla="*/ 240 w 240"/>
                <a:gd name="T17" fmla="*/ 17 h 30"/>
                <a:gd name="T18" fmla="*/ 240 w 240"/>
                <a:gd name="T19" fmla="*/ 15 h 30"/>
                <a:gd name="T20" fmla="*/ 240 w 240"/>
                <a:gd name="T21" fmla="*/ 12 h 30"/>
                <a:gd name="T22" fmla="*/ 239 w 240"/>
                <a:gd name="T23" fmla="*/ 9 h 30"/>
                <a:gd name="T24" fmla="*/ 238 w 240"/>
                <a:gd name="T25" fmla="*/ 7 h 30"/>
                <a:gd name="T26" fmla="*/ 236 w 240"/>
                <a:gd name="T27" fmla="*/ 4 h 30"/>
                <a:gd name="T28" fmla="*/ 234 w 240"/>
                <a:gd name="T29" fmla="*/ 2 h 30"/>
                <a:gd name="T30" fmla="*/ 232 w 240"/>
                <a:gd name="T31" fmla="*/ 1 h 30"/>
                <a:gd name="T32" fmla="*/ 228 w 240"/>
                <a:gd name="T33" fmla="*/ 0 h 30"/>
                <a:gd name="T34" fmla="*/ 225 w 240"/>
                <a:gd name="T35" fmla="*/ 0 h 30"/>
                <a:gd name="T36" fmla="*/ 15 w 240"/>
                <a:gd name="T37" fmla="*/ 0 h 30"/>
                <a:gd name="T38" fmla="*/ 12 w 240"/>
                <a:gd name="T39" fmla="*/ 0 h 30"/>
                <a:gd name="T40" fmla="*/ 9 w 240"/>
                <a:gd name="T41" fmla="*/ 1 h 30"/>
                <a:gd name="T42" fmla="*/ 6 w 240"/>
                <a:gd name="T43" fmla="*/ 2 h 30"/>
                <a:gd name="T44" fmla="*/ 4 w 240"/>
                <a:gd name="T45" fmla="*/ 4 h 30"/>
                <a:gd name="T46" fmla="*/ 2 w 240"/>
                <a:gd name="T47" fmla="*/ 7 h 30"/>
                <a:gd name="T48" fmla="*/ 1 w 240"/>
                <a:gd name="T49" fmla="*/ 9 h 30"/>
                <a:gd name="T50" fmla="*/ 0 w 240"/>
                <a:gd name="T51" fmla="*/ 12 h 30"/>
                <a:gd name="T52" fmla="*/ 0 w 240"/>
                <a:gd name="T53" fmla="*/ 15 h 30"/>
                <a:gd name="T54" fmla="*/ 0 w 240"/>
                <a:gd name="T55" fmla="*/ 17 h 30"/>
                <a:gd name="T56" fmla="*/ 1 w 240"/>
                <a:gd name="T57" fmla="*/ 20 h 30"/>
                <a:gd name="T58" fmla="*/ 2 w 240"/>
                <a:gd name="T59" fmla="*/ 23 h 30"/>
                <a:gd name="T60" fmla="*/ 4 w 240"/>
                <a:gd name="T61" fmla="*/ 25 h 30"/>
                <a:gd name="T62" fmla="*/ 6 w 240"/>
                <a:gd name="T63" fmla="*/ 27 h 30"/>
                <a:gd name="T64" fmla="*/ 9 w 240"/>
                <a:gd name="T65" fmla="*/ 29 h 30"/>
                <a:gd name="T66" fmla="*/ 12 w 240"/>
                <a:gd name="T67" fmla="*/ 29 h 30"/>
                <a:gd name="T68" fmla="*/ 15 w 240"/>
                <a:gd name="T69" fmla="*/ 30 h 30"/>
                <a:gd name="T70" fmla="*/ 15 w 24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0" h="30">
                  <a:moveTo>
                    <a:pt x="15" y="30"/>
                  </a:moveTo>
                  <a:lnTo>
                    <a:pt x="225" y="30"/>
                  </a:lnTo>
                  <a:lnTo>
                    <a:pt x="228" y="29"/>
                  </a:lnTo>
                  <a:lnTo>
                    <a:pt x="232" y="28"/>
                  </a:lnTo>
                  <a:lnTo>
                    <a:pt x="234" y="27"/>
                  </a:lnTo>
                  <a:lnTo>
                    <a:pt x="236" y="25"/>
                  </a:lnTo>
                  <a:lnTo>
                    <a:pt x="238" y="23"/>
                  </a:lnTo>
                  <a:lnTo>
                    <a:pt x="239" y="20"/>
                  </a:lnTo>
                  <a:lnTo>
                    <a:pt x="240" y="17"/>
                  </a:lnTo>
                  <a:lnTo>
                    <a:pt x="240" y="15"/>
                  </a:lnTo>
                  <a:lnTo>
                    <a:pt x="240" y="12"/>
                  </a:lnTo>
                  <a:lnTo>
                    <a:pt x="239" y="9"/>
                  </a:lnTo>
                  <a:lnTo>
                    <a:pt x="238" y="7"/>
                  </a:lnTo>
                  <a:lnTo>
                    <a:pt x="236" y="4"/>
                  </a:lnTo>
                  <a:lnTo>
                    <a:pt x="234" y="2"/>
                  </a:lnTo>
                  <a:lnTo>
                    <a:pt x="232" y="1"/>
                  </a:lnTo>
                  <a:lnTo>
                    <a:pt x="228" y="0"/>
                  </a:lnTo>
                  <a:lnTo>
                    <a:pt x="225" y="0"/>
                  </a:lnTo>
                  <a:lnTo>
                    <a:pt x="15" y="0"/>
                  </a:lnTo>
                  <a:lnTo>
                    <a:pt x="12" y="0"/>
                  </a:lnTo>
                  <a:lnTo>
                    <a:pt x="9" y="1"/>
                  </a:lnTo>
                  <a:lnTo>
                    <a:pt x="6" y="2"/>
                  </a:lnTo>
                  <a:lnTo>
                    <a:pt x="4" y="4"/>
                  </a:lnTo>
                  <a:lnTo>
                    <a:pt x="2" y="7"/>
                  </a:lnTo>
                  <a:lnTo>
                    <a:pt x="1" y="9"/>
                  </a:lnTo>
                  <a:lnTo>
                    <a:pt x="0" y="12"/>
                  </a:lnTo>
                  <a:lnTo>
                    <a:pt x="0" y="15"/>
                  </a:lnTo>
                  <a:lnTo>
                    <a:pt x="0" y="17"/>
                  </a:lnTo>
                  <a:lnTo>
                    <a:pt x="1" y="20"/>
                  </a:lnTo>
                  <a:lnTo>
                    <a:pt x="2" y="23"/>
                  </a:lnTo>
                  <a:lnTo>
                    <a:pt x="4" y="25"/>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139">
              <a:extLst>
                <a:ext uri="{FF2B5EF4-FFF2-40B4-BE49-F238E27FC236}">
                  <a16:creationId xmlns:a16="http://schemas.microsoft.com/office/drawing/2014/main" id="{A4EBEC05-5313-4C05-BF53-20AAB84C6579}"/>
                </a:ext>
              </a:extLst>
            </p:cNvPr>
            <p:cNvSpPr>
              <a:spLocks noEditPoints="1"/>
            </p:cNvSpPr>
            <p:nvPr/>
          </p:nvSpPr>
          <p:spPr bwMode="auto">
            <a:xfrm>
              <a:off x="3302000" y="1604963"/>
              <a:ext cx="28575" cy="28575"/>
            </a:xfrm>
            <a:custGeom>
              <a:avLst/>
              <a:gdLst>
                <a:gd name="T0" fmla="*/ 42 w 90"/>
                <a:gd name="T1" fmla="*/ 60 h 90"/>
                <a:gd name="T2" fmla="*/ 36 w 90"/>
                <a:gd name="T3" fmla="*/ 58 h 90"/>
                <a:gd name="T4" fmla="*/ 32 w 90"/>
                <a:gd name="T5" fmla="*/ 54 h 90"/>
                <a:gd name="T6" fmla="*/ 30 w 90"/>
                <a:gd name="T7" fmla="*/ 48 h 90"/>
                <a:gd name="T8" fmla="*/ 30 w 90"/>
                <a:gd name="T9" fmla="*/ 42 h 90"/>
                <a:gd name="T10" fmla="*/ 32 w 90"/>
                <a:gd name="T11" fmla="*/ 36 h 90"/>
                <a:gd name="T12" fmla="*/ 36 w 90"/>
                <a:gd name="T13" fmla="*/ 33 h 90"/>
                <a:gd name="T14" fmla="*/ 42 w 90"/>
                <a:gd name="T15" fmla="*/ 30 h 90"/>
                <a:gd name="T16" fmla="*/ 48 w 90"/>
                <a:gd name="T17" fmla="*/ 30 h 90"/>
                <a:gd name="T18" fmla="*/ 54 w 90"/>
                <a:gd name="T19" fmla="*/ 33 h 90"/>
                <a:gd name="T20" fmla="*/ 58 w 90"/>
                <a:gd name="T21" fmla="*/ 36 h 90"/>
                <a:gd name="T22" fmla="*/ 60 w 90"/>
                <a:gd name="T23" fmla="*/ 42 h 90"/>
                <a:gd name="T24" fmla="*/ 60 w 90"/>
                <a:gd name="T25" fmla="*/ 48 h 90"/>
                <a:gd name="T26" fmla="*/ 58 w 90"/>
                <a:gd name="T27" fmla="*/ 54 h 90"/>
                <a:gd name="T28" fmla="*/ 54 w 90"/>
                <a:gd name="T29" fmla="*/ 58 h 90"/>
                <a:gd name="T30" fmla="*/ 48 w 90"/>
                <a:gd name="T31" fmla="*/ 60 h 90"/>
                <a:gd name="T32" fmla="*/ 45 w 90"/>
                <a:gd name="T33" fmla="*/ 0 h 90"/>
                <a:gd name="T34" fmla="*/ 28 w 90"/>
                <a:gd name="T35" fmla="*/ 3 h 90"/>
                <a:gd name="T36" fmla="*/ 13 w 90"/>
                <a:gd name="T37" fmla="*/ 13 h 90"/>
                <a:gd name="T38" fmla="*/ 3 w 90"/>
                <a:gd name="T39" fmla="*/ 28 h 90"/>
                <a:gd name="T40" fmla="*/ 0 w 90"/>
                <a:gd name="T41" fmla="*/ 45 h 90"/>
                <a:gd name="T42" fmla="*/ 3 w 90"/>
                <a:gd name="T43" fmla="*/ 63 h 90"/>
                <a:gd name="T44" fmla="*/ 13 w 90"/>
                <a:gd name="T45" fmla="*/ 77 h 90"/>
                <a:gd name="T46" fmla="*/ 28 w 90"/>
                <a:gd name="T47" fmla="*/ 87 h 90"/>
                <a:gd name="T48" fmla="*/ 45 w 90"/>
                <a:gd name="T49" fmla="*/ 90 h 90"/>
                <a:gd name="T50" fmla="*/ 62 w 90"/>
                <a:gd name="T51" fmla="*/ 87 h 90"/>
                <a:gd name="T52" fmla="*/ 77 w 90"/>
                <a:gd name="T53" fmla="*/ 77 h 90"/>
                <a:gd name="T54" fmla="*/ 87 w 90"/>
                <a:gd name="T55" fmla="*/ 63 h 90"/>
                <a:gd name="T56" fmla="*/ 90 w 90"/>
                <a:gd name="T57" fmla="*/ 45 h 90"/>
                <a:gd name="T58" fmla="*/ 87 w 90"/>
                <a:gd name="T59" fmla="*/ 28 h 90"/>
                <a:gd name="T60" fmla="*/ 77 w 90"/>
                <a:gd name="T61" fmla="*/ 13 h 90"/>
                <a:gd name="T62" fmla="*/ 62 w 90"/>
                <a:gd name="T63" fmla="*/ 3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40" y="59"/>
                  </a:lnTo>
                  <a:lnTo>
                    <a:pt x="36" y="58"/>
                  </a:lnTo>
                  <a:lnTo>
                    <a:pt x="34" y="56"/>
                  </a:lnTo>
                  <a:lnTo>
                    <a:pt x="32" y="54"/>
                  </a:lnTo>
                  <a:lnTo>
                    <a:pt x="31" y="51"/>
                  </a:lnTo>
                  <a:lnTo>
                    <a:pt x="30" y="48"/>
                  </a:lnTo>
                  <a:lnTo>
                    <a:pt x="30" y="45"/>
                  </a:lnTo>
                  <a:lnTo>
                    <a:pt x="30" y="42"/>
                  </a:lnTo>
                  <a:lnTo>
                    <a:pt x="31" y="40"/>
                  </a:lnTo>
                  <a:lnTo>
                    <a:pt x="32" y="36"/>
                  </a:lnTo>
                  <a:lnTo>
                    <a:pt x="34" y="34"/>
                  </a:lnTo>
                  <a:lnTo>
                    <a:pt x="36" y="33"/>
                  </a:lnTo>
                  <a:lnTo>
                    <a:pt x="40" y="31"/>
                  </a:lnTo>
                  <a:lnTo>
                    <a:pt x="42" y="30"/>
                  </a:lnTo>
                  <a:lnTo>
                    <a:pt x="45" y="30"/>
                  </a:lnTo>
                  <a:lnTo>
                    <a:pt x="48" y="30"/>
                  </a:lnTo>
                  <a:lnTo>
                    <a:pt x="51" y="31"/>
                  </a:lnTo>
                  <a:lnTo>
                    <a:pt x="54" y="33"/>
                  </a:lnTo>
                  <a:lnTo>
                    <a:pt x="56" y="34"/>
                  </a:lnTo>
                  <a:lnTo>
                    <a:pt x="58" y="36"/>
                  </a:lnTo>
                  <a:lnTo>
                    <a:pt x="59" y="40"/>
                  </a:lnTo>
                  <a:lnTo>
                    <a:pt x="60" y="42"/>
                  </a:lnTo>
                  <a:lnTo>
                    <a:pt x="60" y="45"/>
                  </a:lnTo>
                  <a:lnTo>
                    <a:pt x="60" y="48"/>
                  </a:lnTo>
                  <a:lnTo>
                    <a:pt x="59" y="51"/>
                  </a:lnTo>
                  <a:lnTo>
                    <a:pt x="58" y="54"/>
                  </a:lnTo>
                  <a:lnTo>
                    <a:pt x="56" y="56"/>
                  </a:lnTo>
                  <a:lnTo>
                    <a:pt x="54" y="58"/>
                  </a:lnTo>
                  <a:lnTo>
                    <a:pt x="51" y="59"/>
                  </a:lnTo>
                  <a:lnTo>
                    <a:pt x="48" y="60"/>
                  </a:lnTo>
                  <a:lnTo>
                    <a:pt x="45" y="60"/>
                  </a:lnTo>
                  <a:close/>
                  <a:moveTo>
                    <a:pt x="45" y="0"/>
                  </a:moveTo>
                  <a:lnTo>
                    <a:pt x="36" y="1"/>
                  </a:lnTo>
                  <a:lnTo>
                    <a:pt x="28" y="3"/>
                  </a:lnTo>
                  <a:lnTo>
                    <a:pt x="20" y="7"/>
                  </a:lnTo>
                  <a:lnTo>
                    <a:pt x="13" y="13"/>
                  </a:lnTo>
                  <a:lnTo>
                    <a:pt x="8" y="20"/>
                  </a:lnTo>
                  <a:lnTo>
                    <a:pt x="3" y="28"/>
                  </a:lnTo>
                  <a:lnTo>
                    <a:pt x="1" y="36"/>
                  </a:lnTo>
                  <a:lnTo>
                    <a:pt x="0" y="45"/>
                  </a:lnTo>
                  <a:lnTo>
                    <a:pt x="1" y="55"/>
                  </a:lnTo>
                  <a:lnTo>
                    <a:pt x="3" y="63"/>
                  </a:lnTo>
                  <a:lnTo>
                    <a:pt x="8" y="71"/>
                  </a:lnTo>
                  <a:lnTo>
                    <a:pt x="13" y="77"/>
                  </a:lnTo>
                  <a:lnTo>
                    <a:pt x="20" y="82"/>
                  </a:lnTo>
                  <a:lnTo>
                    <a:pt x="28" y="87"/>
                  </a:lnTo>
                  <a:lnTo>
                    <a:pt x="36" y="89"/>
                  </a:lnTo>
                  <a:lnTo>
                    <a:pt x="45" y="90"/>
                  </a:lnTo>
                  <a:lnTo>
                    <a:pt x="55" y="89"/>
                  </a:lnTo>
                  <a:lnTo>
                    <a:pt x="62" y="87"/>
                  </a:lnTo>
                  <a:lnTo>
                    <a:pt x="71" y="82"/>
                  </a:lnTo>
                  <a:lnTo>
                    <a:pt x="77" y="77"/>
                  </a:lnTo>
                  <a:lnTo>
                    <a:pt x="83" y="71"/>
                  </a:lnTo>
                  <a:lnTo>
                    <a:pt x="87" y="63"/>
                  </a:lnTo>
                  <a:lnTo>
                    <a:pt x="89" y="55"/>
                  </a:lnTo>
                  <a:lnTo>
                    <a:pt x="90" y="45"/>
                  </a:lnTo>
                  <a:lnTo>
                    <a:pt x="89" y="36"/>
                  </a:lnTo>
                  <a:lnTo>
                    <a:pt x="87" y="28"/>
                  </a:lnTo>
                  <a:lnTo>
                    <a:pt x="83" y="20"/>
                  </a:lnTo>
                  <a:lnTo>
                    <a:pt x="77" y="13"/>
                  </a:lnTo>
                  <a:lnTo>
                    <a:pt x="71" y="7"/>
                  </a:lnTo>
                  <a:lnTo>
                    <a:pt x="62" y="3"/>
                  </a:lnTo>
                  <a:lnTo>
                    <a:pt x="55"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7" name="Group 44">
            <a:extLst>
              <a:ext uri="{FF2B5EF4-FFF2-40B4-BE49-F238E27FC236}">
                <a16:creationId xmlns:a16="http://schemas.microsoft.com/office/drawing/2014/main" id="{03B1E9E3-A1F2-409B-9A38-405F50C8FD05}"/>
              </a:ext>
            </a:extLst>
          </p:cNvPr>
          <p:cNvGrpSpPr>
            <a:grpSpLocks noChangeAspect="1"/>
          </p:cNvGrpSpPr>
          <p:nvPr/>
        </p:nvGrpSpPr>
        <p:grpSpPr>
          <a:xfrm>
            <a:off x="1473945" y="5956111"/>
            <a:ext cx="295411" cy="285619"/>
            <a:chOff x="4892675" y="787400"/>
            <a:chExt cx="287338" cy="277813"/>
          </a:xfrm>
          <a:solidFill>
            <a:schemeClr val="bg2"/>
          </a:solidFill>
          <a:effectLst/>
        </p:grpSpPr>
        <p:sp>
          <p:nvSpPr>
            <p:cNvPr id="1328" name="Freeform 78">
              <a:extLst>
                <a:ext uri="{FF2B5EF4-FFF2-40B4-BE49-F238E27FC236}">
                  <a16:creationId xmlns:a16="http://schemas.microsoft.com/office/drawing/2014/main" id="{9AFD3598-C86F-4688-A2D0-6E28741CF731}"/>
                </a:ext>
              </a:extLst>
            </p:cNvPr>
            <p:cNvSpPr>
              <a:spLocks/>
            </p:cNvSpPr>
            <p:nvPr/>
          </p:nvSpPr>
          <p:spPr bwMode="auto">
            <a:xfrm>
              <a:off x="4892675" y="787400"/>
              <a:ext cx="287338" cy="201613"/>
            </a:xfrm>
            <a:custGeom>
              <a:avLst/>
              <a:gdLst>
                <a:gd name="T0" fmla="*/ 53 w 903"/>
                <a:gd name="T1" fmla="*/ 0 h 633"/>
                <a:gd name="T2" fmla="*/ 36 w 903"/>
                <a:gd name="T3" fmla="*/ 5 h 633"/>
                <a:gd name="T4" fmla="*/ 21 w 903"/>
                <a:gd name="T5" fmla="*/ 14 h 633"/>
                <a:gd name="T6" fmla="*/ 10 w 903"/>
                <a:gd name="T7" fmla="*/ 27 h 633"/>
                <a:gd name="T8" fmla="*/ 2 w 903"/>
                <a:gd name="T9" fmla="*/ 43 h 633"/>
                <a:gd name="T10" fmla="*/ 0 w 903"/>
                <a:gd name="T11" fmla="*/ 60 h 633"/>
                <a:gd name="T12" fmla="*/ 1 w 903"/>
                <a:gd name="T13" fmla="*/ 584 h 633"/>
                <a:gd name="T14" fmla="*/ 6 w 903"/>
                <a:gd name="T15" fmla="*/ 600 h 633"/>
                <a:gd name="T16" fmla="*/ 17 w 903"/>
                <a:gd name="T17" fmla="*/ 614 h 633"/>
                <a:gd name="T18" fmla="*/ 31 w 903"/>
                <a:gd name="T19" fmla="*/ 625 h 633"/>
                <a:gd name="T20" fmla="*/ 47 w 903"/>
                <a:gd name="T21" fmla="*/ 631 h 633"/>
                <a:gd name="T22" fmla="*/ 315 w 903"/>
                <a:gd name="T23" fmla="*/ 633 h 633"/>
                <a:gd name="T24" fmla="*/ 324 w 903"/>
                <a:gd name="T25" fmla="*/ 629 h 633"/>
                <a:gd name="T26" fmla="*/ 329 w 903"/>
                <a:gd name="T27" fmla="*/ 623 h 633"/>
                <a:gd name="T28" fmla="*/ 330 w 903"/>
                <a:gd name="T29" fmla="*/ 614 h 633"/>
                <a:gd name="T30" fmla="*/ 326 w 903"/>
                <a:gd name="T31" fmla="*/ 607 h 633"/>
                <a:gd name="T32" fmla="*/ 318 w 903"/>
                <a:gd name="T33" fmla="*/ 603 h 633"/>
                <a:gd name="T34" fmla="*/ 53 w 903"/>
                <a:gd name="T35" fmla="*/ 601 h 633"/>
                <a:gd name="T36" fmla="*/ 38 w 903"/>
                <a:gd name="T37" fmla="*/ 593 h 633"/>
                <a:gd name="T38" fmla="*/ 30 w 903"/>
                <a:gd name="T39" fmla="*/ 578 h 633"/>
                <a:gd name="T40" fmla="*/ 30 w 903"/>
                <a:gd name="T41" fmla="*/ 54 h 633"/>
                <a:gd name="T42" fmla="*/ 38 w 903"/>
                <a:gd name="T43" fmla="*/ 39 h 633"/>
                <a:gd name="T44" fmla="*/ 53 w 903"/>
                <a:gd name="T45" fmla="*/ 31 h 633"/>
                <a:gd name="T46" fmla="*/ 848 w 903"/>
                <a:gd name="T47" fmla="*/ 31 h 633"/>
                <a:gd name="T48" fmla="*/ 863 w 903"/>
                <a:gd name="T49" fmla="*/ 39 h 633"/>
                <a:gd name="T50" fmla="*/ 872 w 903"/>
                <a:gd name="T51" fmla="*/ 54 h 633"/>
                <a:gd name="T52" fmla="*/ 872 w 903"/>
                <a:gd name="T53" fmla="*/ 578 h 633"/>
                <a:gd name="T54" fmla="*/ 863 w 903"/>
                <a:gd name="T55" fmla="*/ 593 h 633"/>
                <a:gd name="T56" fmla="*/ 848 w 903"/>
                <a:gd name="T57" fmla="*/ 601 h 633"/>
                <a:gd name="T58" fmla="*/ 795 w 903"/>
                <a:gd name="T59" fmla="*/ 603 h 633"/>
                <a:gd name="T60" fmla="*/ 787 w 903"/>
                <a:gd name="T61" fmla="*/ 607 h 633"/>
                <a:gd name="T62" fmla="*/ 783 w 903"/>
                <a:gd name="T63" fmla="*/ 614 h 633"/>
                <a:gd name="T64" fmla="*/ 784 w 903"/>
                <a:gd name="T65" fmla="*/ 623 h 633"/>
                <a:gd name="T66" fmla="*/ 789 w 903"/>
                <a:gd name="T67" fmla="*/ 629 h 633"/>
                <a:gd name="T68" fmla="*/ 798 w 903"/>
                <a:gd name="T69" fmla="*/ 633 h 633"/>
                <a:gd name="T70" fmla="*/ 855 w 903"/>
                <a:gd name="T71" fmla="*/ 631 h 633"/>
                <a:gd name="T72" fmla="*/ 871 w 903"/>
                <a:gd name="T73" fmla="*/ 625 h 633"/>
                <a:gd name="T74" fmla="*/ 885 w 903"/>
                <a:gd name="T75" fmla="*/ 614 h 633"/>
                <a:gd name="T76" fmla="*/ 895 w 903"/>
                <a:gd name="T77" fmla="*/ 600 h 633"/>
                <a:gd name="T78" fmla="*/ 902 w 903"/>
                <a:gd name="T79" fmla="*/ 584 h 633"/>
                <a:gd name="T80" fmla="*/ 903 w 903"/>
                <a:gd name="T81" fmla="*/ 60 h 633"/>
                <a:gd name="T82" fmla="*/ 900 w 903"/>
                <a:gd name="T83" fmla="*/ 43 h 633"/>
                <a:gd name="T84" fmla="*/ 892 w 903"/>
                <a:gd name="T85" fmla="*/ 27 h 633"/>
                <a:gd name="T86" fmla="*/ 880 w 903"/>
                <a:gd name="T87" fmla="*/ 14 h 633"/>
                <a:gd name="T88" fmla="*/ 866 w 903"/>
                <a:gd name="T89" fmla="*/ 5 h 633"/>
                <a:gd name="T90" fmla="*/ 848 w 903"/>
                <a:gd name="T91" fmla="*/ 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3" h="633">
                  <a:moveTo>
                    <a:pt x="843" y="0"/>
                  </a:moveTo>
                  <a:lnTo>
                    <a:pt x="60" y="0"/>
                  </a:lnTo>
                  <a:lnTo>
                    <a:pt x="53" y="0"/>
                  </a:lnTo>
                  <a:lnTo>
                    <a:pt x="48" y="1"/>
                  </a:lnTo>
                  <a:lnTo>
                    <a:pt x="42" y="3"/>
                  </a:lnTo>
                  <a:lnTo>
                    <a:pt x="36" y="5"/>
                  </a:lnTo>
                  <a:lnTo>
                    <a:pt x="31" y="7"/>
                  </a:lnTo>
                  <a:lnTo>
                    <a:pt x="26" y="10"/>
                  </a:lnTo>
                  <a:lnTo>
                    <a:pt x="21" y="14"/>
                  </a:lnTo>
                  <a:lnTo>
                    <a:pt x="17" y="18"/>
                  </a:lnTo>
                  <a:lnTo>
                    <a:pt x="14" y="22"/>
                  </a:lnTo>
                  <a:lnTo>
                    <a:pt x="10" y="27"/>
                  </a:lnTo>
                  <a:lnTo>
                    <a:pt x="6" y="32"/>
                  </a:lnTo>
                  <a:lnTo>
                    <a:pt x="4" y="37"/>
                  </a:lnTo>
                  <a:lnTo>
                    <a:pt x="2" y="43"/>
                  </a:lnTo>
                  <a:lnTo>
                    <a:pt x="1" y="48"/>
                  </a:lnTo>
                  <a:lnTo>
                    <a:pt x="0" y="54"/>
                  </a:lnTo>
                  <a:lnTo>
                    <a:pt x="0" y="60"/>
                  </a:lnTo>
                  <a:lnTo>
                    <a:pt x="0" y="571"/>
                  </a:lnTo>
                  <a:lnTo>
                    <a:pt x="0" y="578"/>
                  </a:lnTo>
                  <a:lnTo>
                    <a:pt x="1" y="584"/>
                  </a:lnTo>
                  <a:lnTo>
                    <a:pt x="2" y="590"/>
                  </a:lnTo>
                  <a:lnTo>
                    <a:pt x="4" y="595"/>
                  </a:lnTo>
                  <a:lnTo>
                    <a:pt x="6" y="600"/>
                  </a:lnTo>
                  <a:lnTo>
                    <a:pt x="10" y="606"/>
                  </a:lnTo>
                  <a:lnTo>
                    <a:pt x="13" y="610"/>
                  </a:lnTo>
                  <a:lnTo>
                    <a:pt x="17" y="614"/>
                  </a:lnTo>
                  <a:lnTo>
                    <a:pt x="21" y="619"/>
                  </a:lnTo>
                  <a:lnTo>
                    <a:pt x="26" y="622"/>
                  </a:lnTo>
                  <a:lnTo>
                    <a:pt x="31" y="625"/>
                  </a:lnTo>
                  <a:lnTo>
                    <a:pt x="36" y="627"/>
                  </a:lnTo>
                  <a:lnTo>
                    <a:pt x="42" y="629"/>
                  </a:lnTo>
                  <a:lnTo>
                    <a:pt x="47" y="631"/>
                  </a:lnTo>
                  <a:lnTo>
                    <a:pt x="53" y="631"/>
                  </a:lnTo>
                  <a:lnTo>
                    <a:pt x="60" y="633"/>
                  </a:lnTo>
                  <a:lnTo>
                    <a:pt x="315" y="633"/>
                  </a:lnTo>
                  <a:lnTo>
                    <a:pt x="318" y="631"/>
                  </a:lnTo>
                  <a:lnTo>
                    <a:pt x="322" y="631"/>
                  </a:lnTo>
                  <a:lnTo>
                    <a:pt x="324" y="629"/>
                  </a:lnTo>
                  <a:lnTo>
                    <a:pt x="326" y="628"/>
                  </a:lnTo>
                  <a:lnTo>
                    <a:pt x="328" y="625"/>
                  </a:lnTo>
                  <a:lnTo>
                    <a:pt x="329" y="623"/>
                  </a:lnTo>
                  <a:lnTo>
                    <a:pt x="330" y="620"/>
                  </a:lnTo>
                  <a:lnTo>
                    <a:pt x="330" y="618"/>
                  </a:lnTo>
                  <a:lnTo>
                    <a:pt x="330" y="614"/>
                  </a:lnTo>
                  <a:lnTo>
                    <a:pt x="329" y="611"/>
                  </a:lnTo>
                  <a:lnTo>
                    <a:pt x="328" y="609"/>
                  </a:lnTo>
                  <a:lnTo>
                    <a:pt x="326" y="607"/>
                  </a:lnTo>
                  <a:lnTo>
                    <a:pt x="324" y="605"/>
                  </a:lnTo>
                  <a:lnTo>
                    <a:pt x="322" y="604"/>
                  </a:lnTo>
                  <a:lnTo>
                    <a:pt x="318" y="603"/>
                  </a:lnTo>
                  <a:lnTo>
                    <a:pt x="315" y="603"/>
                  </a:lnTo>
                  <a:lnTo>
                    <a:pt x="60" y="603"/>
                  </a:lnTo>
                  <a:lnTo>
                    <a:pt x="53" y="601"/>
                  </a:lnTo>
                  <a:lnTo>
                    <a:pt x="48" y="599"/>
                  </a:lnTo>
                  <a:lnTo>
                    <a:pt x="43" y="597"/>
                  </a:lnTo>
                  <a:lnTo>
                    <a:pt x="38" y="593"/>
                  </a:lnTo>
                  <a:lnTo>
                    <a:pt x="35" y="589"/>
                  </a:lnTo>
                  <a:lnTo>
                    <a:pt x="32" y="583"/>
                  </a:lnTo>
                  <a:lnTo>
                    <a:pt x="30" y="578"/>
                  </a:lnTo>
                  <a:lnTo>
                    <a:pt x="30" y="572"/>
                  </a:lnTo>
                  <a:lnTo>
                    <a:pt x="30" y="60"/>
                  </a:lnTo>
                  <a:lnTo>
                    <a:pt x="30" y="54"/>
                  </a:lnTo>
                  <a:lnTo>
                    <a:pt x="32" y="48"/>
                  </a:lnTo>
                  <a:lnTo>
                    <a:pt x="35" y="44"/>
                  </a:lnTo>
                  <a:lnTo>
                    <a:pt x="38" y="39"/>
                  </a:lnTo>
                  <a:lnTo>
                    <a:pt x="43" y="35"/>
                  </a:lnTo>
                  <a:lnTo>
                    <a:pt x="48" y="33"/>
                  </a:lnTo>
                  <a:lnTo>
                    <a:pt x="53" y="31"/>
                  </a:lnTo>
                  <a:lnTo>
                    <a:pt x="60" y="30"/>
                  </a:lnTo>
                  <a:lnTo>
                    <a:pt x="843" y="30"/>
                  </a:lnTo>
                  <a:lnTo>
                    <a:pt x="848" y="31"/>
                  </a:lnTo>
                  <a:lnTo>
                    <a:pt x="855" y="32"/>
                  </a:lnTo>
                  <a:lnTo>
                    <a:pt x="859" y="35"/>
                  </a:lnTo>
                  <a:lnTo>
                    <a:pt x="863" y="39"/>
                  </a:lnTo>
                  <a:lnTo>
                    <a:pt x="868" y="44"/>
                  </a:lnTo>
                  <a:lnTo>
                    <a:pt x="870" y="48"/>
                  </a:lnTo>
                  <a:lnTo>
                    <a:pt x="872" y="54"/>
                  </a:lnTo>
                  <a:lnTo>
                    <a:pt x="873" y="60"/>
                  </a:lnTo>
                  <a:lnTo>
                    <a:pt x="873" y="571"/>
                  </a:lnTo>
                  <a:lnTo>
                    <a:pt x="872" y="578"/>
                  </a:lnTo>
                  <a:lnTo>
                    <a:pt x="871" y="583"/>
                  </a:lnTo>
                  <a:lnTo>
                    <a:pt x="868" y="589"/>
                  </a:lnTo>
                  <a:lnTo>
                    <a:pt x="863" y="593"/>
                  </a:lnTo>
                  <a:lnTo>
                    <a:pt x="859" y="597"/>
                  </a:lnTo>
                  <a:lnTo>
                    <a:pt x="855" y="599"/>
                  </a:lnTo>
                  <a:lnTo>
                    <a:pt x="848" y="601"/>
                  </a:lnTo>
                  <a:lnTo>
                    <a:pt x="843" y="603"/>
                  </a:lnTo>
                  <a:lnTo>
                    <a:pt x="798" y="603"/>
                  </a:lnTo>
                  <a:lnTo>
                    <a:pt x="795" y="603"/>
                  </a:lnTo>
                  <a:lnTo>
                    <a:pt x="791" y="604"/>
                  </a:lnTo>
                  <a:lnTo>
                    <a:pt x="789" y="605"/>
                  </a:lnTo>
                  <a:lnTo>
                    <a:pt x="787" y="607"/>
                  </a:lnTo>
                  <a:lnTo>
                    <a:pt x="785" y="609"/>
                  </a:lnTo>
                  <a:lnTo>
                    <a:pt x="784" y="611"/>
                  </a:lnTo>
                  <a:lnTo>
                    <a:pt x="783" y="614"/>
                  </a:lnTo>
                  <a:lnTo>
                    <a:pt x="783" y="618"/>
                  </a:lnTo>
                  <a:lnTo>
                    <a:pt x="783" y="620"/>
                  </a:lnTo>
                  <a:lnTo>
                    <a:pt x="784" y="623"/>
                  </a:lnTo>
                  <a:lnTo>
                    <a:pt x="785" y="625"/>
                  </a:lnTo>
                  <a:lnTo>
                    <a:pt x="787" y="628"/>
                  </a:lnTo>
                  <a:lnTo>
                    <a:pt x="789" y="629"/>
                  </a:lnTo>
                  <a:lnTo>
                    <a:pt x="791" y="631"/>
                  </a:lnTo>
                  <a:lnTo>
                    <a:pt x="795" y="631"/>
                  </a:lnTo>
                  <a:lnTo>
                    <a:pt x="798" y="633"/>
                  </a:lnTo>
                  <a:lnTo>
                    <a:pt x="843" y="633"/>
                  </a:lnTo>
                  <a:lnTo>
                    <a:pt x="848" y="631"/>
                  </a:lnTo>
                  <a:lnTo>
                    <a:pt x="855" y="631"/>
                  </a:lnTo>
                  <a:lnTo>
                    <a:pt x="860" y="629"/>
                  </a:lnTo>
                  <a:lnTo>
                    <a:pt x="866" y="627"/>
                  </a:lnTo>
                  <a:lnTo>
                    <a:pt x="871" y="625"/>
                  </a:lnTo>
                  <a:lnTo>
                    <a:pt x="876" y="622"/>
                  </a:lnTo>
                  <a:lnTo>
                    <a:pt x="880" y="619"/>
                  </a:lnTo>
                  <a:lnTo>
                    <a:pt x="885" y="614"/>
                  </a:lnTo>
                  <a:lnTo>
                    <a:pt x="889" y="610"/>
                  </a:lnTo>
                  <a:lnTo>
                    <a:pt x="892" y="606"/>
                  </a:lnTo>
                  <a:lnTo>
                    <a:pt x="895" y="600"/>
                  </a:lnTo>
                  <a:lnTo>
                    <a:pt x="898" y="595"/>
                  </a:lnTo>
                  <a:lnTo>
                    <a:pt x="900" y="590"/>
                  </a:lnTo>
                  <a:lnTo>
                    <a:pt x="902" y="584"/>
                  </a:lnTo>
                  <a:lnTo>
                    <a:pt x="902" y="578"/>
                  </a:lnTo>
                  <a:lnTo>
                    <a:pt x="903" y="572"/>
                  </a:lnTo>
                  <a:lnTo>
                    <a:pt x="903" y="60"/>
                  </a:lnTo>
                  <a:lnTo>
                    <a:pt x="903" y="54"/>
                  </a:lnTo>
                  <a:lnTo>
                    <a:pt x="902" y="48"/>
                  </a:lnTo>
                  <a:lnTo>
                    <a:pt x="900" y="43"/>
                  </a:lnTo>
                  <a:lnTo>
                    <a:pt x="898" y="36"/>
                  </a:lnTo>
                  <a:lnTo>
                    <a:pt x="895" y="32"/>
                  </a:lnTo>
                  <a:lnTo>
                    <a:pt x="892" y="27"/>
                  </a:lnTo>
                  <a:lnTo>
                    <a:pt x="889" y="22"/>
                  </a:lnTo>
                  <a:lnTo>
                    <a:pt x="885" y="18"/>
                  </a:lnTo>
                  <a:lnTo>
                    <a:pt x="880" y="14"/>
                  </a:lnTo>
                  <a:lnTo>
                    <a:pt x="876" y="10"/>
                  </a:lnTo>
                  <a:lnTo>
                    <a:pt x="871" y="7"/>
                  </a:lnTo>
                  <a:lnTo>
                    <a:pt x="866" y="5"/>
                  </a:lnTo>
                  <a:lnTo>
                    <a:pt x="860" y="3"/>
                  </a:lnTo>
                  <a:lnTo>
                    <a:pt x="855" y="1"/>
                  </a:lnTo>
                  <a:lnTo>
                    <a:pt x="848" y="1"/>
                  </a:lnTo>
                  <a:lnTo>
                    <a:pt x="843" y="0"/>
                  </a:lnTo>
                  <a:lnTo>
                    <a:pt x="8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79">
              <a:extLst>
                <a:ext uri="{FF2B5EF4-FFF2-40B4-BE49-F238E27FC236}">
                  <a16:creationId xmlns:a16="http://schemas.microsoft.com/office/drawing/2014/main" id="{173C1D75-4DA5-4B26-B736-AED377FE145B}"/>
                </a:ext>
              </a:extLst>
            </p:cNvPr>
            <p:cNvSpPr>
              <a:spLocks/>
            </p:cNvSpPr>
            <p:nvPr/>
          </p:nvSpPr>
          <p:spPr bwMode="auto">
            <a:xfrm>
              <a:off x="4911725" y="806450"/>
              <a:ext cx="249238" cy="161925"/>
            </a:xfrm>
            <a:custGeom>
              <a:avLst/>
              <a:gdLst>
                <a:gd name="T0" fmla="*/ 738 w 783"/>
                <a:gd name="T1" fmla="*/ 481 h 512"/>
                <a:gd name="T2" fmla="*/ 735 w 783"/>
                <a:gd name="T3" fmla="*/ 482 h 512"/>
                <a:gd name="T4" fmla="*/ 731 w 783"/>
                <a:gd name="T5" fmla="*/ 484 h 512"/>
                <a:gd name="T6" fmla="*/ 729 w 783"/>
                <a:gd name="T7" fmla="*/ 485 h 512"/>
                <a:gd name="T8" fmla="*/ 727 w 783"/>
                <a:gd name="T9" fmla="*/ 487 h 512"/>
                <a:gd name="T10" fmla="*/ 725 w 783"/>
                <a:gd name="T11" fmla="*/ 489 h 512"/>
                <a:gd name="T12" fmla="*/ 724 w 783"/>
                <a:gd name="T13" fmla="*/ 491 h 512"/>
                <a:gd name="T14" fmla="*/ 723 w 783"/>
                <a:gd name="T15" fmla="*/ 494 h 512"/>
                <a:gd name="T16" fmla="*/ 723 w 783"/>
                <a:gd name="T17" fmla="*/ 497 h 512"/>
                <a:gd name="T18" fmla="*/ 723 w 783"/>
                <a:gd name="T19" fmla="*/ 500 h 512"/>
                <a:gd name="T20" fmla="*/ 724 w 783"/>
                <a:gd name="T21" fmla="*/ 503 h 512"/>
                <a:gd name="T22" fmla="*/ 725 w 783"/>
                <a:gd name="T23" fmla="*/ 505 h 512"/>
                <a:gd name="T24" fmla="*/ 727 w 783"/>
                <a:gd name="T25" fmla="*/ 507 h 512"/>
                <a:gd name="T26" fmla="*/ 729 w 783"/>
                <a:gd name="T27" fmla="*/ 509 h 512"/>
                <a:gd name="T28" fmla="*/ 731 w 783"/>
                <a:gd name="T29" fmla="*/ 510 h 512"/>
                <a:gd name="T30" fmla="*/ 735 w 783"/>
                <a:gd name="T31" fmla="*/ 511 h 512"/>
                <a:gd name="T32" fmla="*/ 738 w 783"/>
                <a:gd name="T33" fmla="*/ 512 h 512"/>
                <a:gd name="T34" fmla="*/ 783 w 783"/>
                <a:gd name="T35" fmla="*/ 511 h 512"/>
                <a:gd name="T36" fmla="*/ 783 w 783"/>
                <a:gd name="T37" fmla="*/ 0 h 512"/>
                <a:gd name="T38" fmla="*/ 0 w 783"/>
                <a:gd name="T39" fmla="*/ 0 h 512"/>
                <a:gd name="T40" fmla="*/ 0 w 783"/>
                <a:gd name="T41" fmla="*/ 511 h 512"/>
                <a:gd name="T42" fmla="*/ 255 w 783"/>
                <a:gd name="T43" fmla="*/ 511 h 512"/>
                <a:gd name="T44" fmla="*/ 258 w 783"/>
                <a:gd name="T45" fmla="*/ 511 h 512"/>
                <a:gd name="T46" fmla="*/ 262 w 783"/>
                <a:gd name="T47" fmla="*/ 510 h 512"/>
                <a:gd name="T48" fmla="*/ 264 w 783"/>
                <a:gd name="T49" fmla="*/ 509 h 512"/>
                <a:gd name="T50" fmla="*/ 266 w 783"/>
                <a:gd name="T51" fmla="*/ 507 h 512"/>
                <a:gd name="T52" fmla="*/ 268 w 783"/>
                <a:gd name="T53" fmla="*/ 505 h 512"/>
                <a:gd name="T54" fmla="*/ 269 w 783"/>
                <a:gd name="T55" fmla="*/ 503 h 512"/>
                <a:gd name="T56" fmla="*/ 270 w 783"/>
                <a:gd name="T57" fmla="*/ 500 h 512"/>
                <a:gd name="T58" fmla="*/ 270 w 783"/>
                <a:gd name="T59" fmla="*/ 497 h 512"/>
                <a:gd name="T60" fmla="*/ 270 w 783"/>
                <a:gd name="T61" fmla="*/ 494 h 512"/>
                <a:gd name="T62" fmla="*/ 269 w 783"/>
                <a:gd name="T63" fmla="*/ 491 h 512"/>
                <a:gd name="T64" fmla="*/ 268 w 783"/>
                <a:gd name="T65" fmla="*/ 489 h 512"/>
                <a:gd name="T66" fmla="*/ 266 w 783"/>
                <a:gd name="T67" fmla="*/ 487 h 512"/>
                <a:gd name="T68" fmla="*/ 264 w 783"/>
                <a:gd name="T69" fmla="*/ 485 h 512"/>
                <a:gd name="T70" fmla="*/ 262 w 783"/>
                <a:gd name="T71" fmla="*/ 484 h 512"/>
                <a:gd name="T72" fmla="*/ 258 w 783"/>
                <a:gd name="T73" fmla="*/ 482 h 512"/>
                <a:gd name="T74" fmla="*/ 255 w 783"/>
                <a:gd name="T75" fmla="*/ 481 h 512"/>
                <a:gd name="T76" fmla="*/ 30 w 783"/>
                <a:gd name="T77" fmla="*/ 481 h 512"/>
                <a:gd name="T78" fmla="*/ 30 w 783"/>
                <a:gd name="T79" fmla="*/ 30 h 512"/>
                <a:gd name="T80" fmla="*/ 753 w 783"/>
                <a:gd name="T81" fmla="*/ 30 h 512"/>
                <a:gd name="T82" fmla="*/ 753 w 783"/>
                <a:gd name="T83" fmla="*/ 481 h 512"/>
                <a:gd name="T84" fmla="*/ 738 w 783"/>
                <a:gd name="T85" fmla="*/ 4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3" h="512">
                  <a:moveTo>
                    <a:pt x="738" y="481"/>
                  </a:moveTo>
                  <a:lnTo>
                    <a:pt x="735" y="482"/>
                  </a:lnTo>
                  <a:lnTo>
                    <a:pt x="731" y="484"/>
                  </a:lnTo>
                  <a:lnTo>
                    <a:pt x="729" y="485"/>
                  </a:lnTo>
                  <a:lnTo>
                    <a:pt x="727" y="487"/>
                  </a:lnTo>
                  <a:lnTo>
                    <a:pt x="725" y="489"/>
                  </a:lnTo>
                  <a:lnTo>
                    <a:pt x="724" y="491"/>
                  </a:lnTo>
                  <a:lnTo>
                    <a:pt x="723" y="494"/>
                  </a:lnTo>
                  <a:lnTo>
                    <a:pt x="723" y="497"/>
                  </a:lnTo>
                  <a:lnTo>
                    <a:pt x="723" y="500"/>
                  </a:lnTo>
                  <a:lnTo>
                    <a:pt x="724" y="503"/>
                  </a:lnTo>
                  <a:lnTo>
                    <a:pt x="725" y="505"/>
                  </a:lnTo>
                  <a:lnTo>
                    <a:pt x="727" y="507"/>
                  </a:lnTo>
                  <a:lnTo>
                    <a:pt x="729" y="509"/>
                  </a:lnTo>
                  <a:lnTo>
                    <a:pt x="731" y="510"/>
                  </a:lnTo>
                  <a:lnTo>
                    <a:pt x="735" y="511"/>
                  </a:lnTo>
                  <a:lnTo>
                    <a:pt x="738" y="512"/>
                  </a:lnTo>
                  <a:lnTo>
                    <a:pt x="783" y="511"/>
                  </a:lnTo>
                  <a:lnTo>
                    <a:pt x="783" y="0"/>
                  </a:lnTo>
                  <a:lnTo>
                    <a:pt x="0" y="0"/>
                  </a:lnTo>
                  <a:lnTo>
                    <a:pt x="0" y="511"/>
                  </a:lnTo>
                  <a:lnTo>
                    <a:pt x="255" y="511"/>
                  </a:lnTo>
                  <a:lnTo>
                    <a:pt x="258" y="511"/>
                  </a:lnTo>
                  <a:lnTo>
                    <a:pt x="262" y="510"/>
                  </a:lnTo>
                  <a:lnTo>
                    <a:pt x="264" y="509"/>
                  </a:lnTo>
                  <a:lnTo>
                    <a:pt x="266" y="507"/>
                  </a:lnTo>
                  <a:lnTo>
                    <a:pt x="268" y="505"/>
                  </a:lnTo>
                  <a:lnTo>
                    <a:pt x="269" y="503"/>
                  </a:lnTo>
                  <a:lnTo>
                    <a:pt x="270" y="500"/>
                  </a:lnTo>
                  <a:lnTo>
                    <a:pt x="270" y="497"/>
                  </a:lnTo>
                  <a:lnTo>
                    <a:pt x="270" y="494"/>
                  </a:lnTo>
                  <a:lnTo>
                    <a:pt x="269" y="491"/>
                  </a:lnTo>
                  <a:lnTo>
                    <a:pt x="268" y="489"/>
                  </a:lnTo>
                  <a:lnTo>
                    <a:pt x="266" y="487"/>
                  </a:lnTo>
                  <a:lnTo>
                    <a:pt x="264" y="485"/>
                  </a:lnTo>
                  <a:lnTo>
                    <a:pt x="262" y="484"/>
                  </a:lnTo>
                  <a:lnTo>
                    <a:pt x="258" y="482"/>
                  </a:lnTo>
                  <a:lnTo>
                    <a:pt x="255" y="481"/>
                  </a:lnTo>
                  <a:lnTo>
                    <a:pt x="30" y="481"/>
                  </a:lnTo>
                  <a:lnTo>
                    <a:pt x="30" y="30"/>
                  </a:lnTo>
                  <a:lnTo>
                    <a:pt x="753" y="30"/>
                  </a:lnTo>
                  <a:lnTo>
                    <a:pt x="753" y="481"/>
                  </a:lnTo>
                  <a:lnTo>
                    <a:pt x="738"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80">
              <a:extLst>
                <a:ext uri="{FF2B5EF4-FFF2-40B4-BE49-F238E27FC236}">
                  <a16:creationId xmlns:a16="http://schemas.microsoft.com/office/drawing/2014/main" id="{BEF1A380-2B9F-4C61-BA2F-153D2A83511B}"/>
                </a:ext>
              </a:extLst>
            </p:cNvPr>
            <p:cNvSpPr>
              <a:spLocks noEditPoints="1"/>
            </p:cNvSpPr>
            <p:nvPr/>
          </p:nvSpPr>
          <p:spPr bwMode="auto">
            <a:xfrm>
              <a:off x="5026025" y="930275"/>
              <a:ext cx="87313" cy="134938"/>
            </a:xfrm>
            <a:custGeom>
              <a:avLst/>
              <a:gdLst>
                <a:gd name="T0" fmla="*/ 30 w 271"/>
                <a:gd name="T1" fmla="*/ 30 h 422"/>
                <a:gd name="T2" fmla="*/ 241 w 271"/>
                <a:gd name="T3" fmla="*/ 30 h 422"/>
                <a:gd name="T4" fmla="*/ 241 w 271"/>
                <a:gd name="T5" fmla="*/ 392 h 422"/>
                <a:gd name="T6" fmla="*/ 30 w 271"/>
                <a:gd name="T7" fmla="*/ 392 h 422"/>
                <a:gd name="T8" fmla="*/ 30 w 271"/>
                <a:gd name="T9" fmla="*/ 30 h 422"/>
                <a:gd name="T10" fmla="*/ 0 w 271"/>
                <a:gd name="T11" fmla="*/ 422 h 422"/>
                <a:gd name="T12" fmla="*/ 271 w 271"/>
                <a:gd name="T13" fmla="*/ 422 h 422"/>
                <a:gd name="T14" fmla="*/ 271 w 271"/>
                <a:gd name="T15" fmla="*/ 0 h 422"/>
                <a:gd name="T16" fmla="*/ 0 w 271"/>
                <a:gd name="T17" fmla="*/ 0 h 422"/>
                <a:gd name="T18" fmla="*/ 0 w 271"/>
                <a:gd name="T19"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422">
                  <a:moveTo>
                    <a:pt x="30" y="30"/>
                  </a:moveTo>
                  <a:lnTo>
                    <a:pt x="241" y="30"/>
                  </a:lnTo>
                  <a:lnTo>
                    <a:pt x="241" y="392"/>
                  </a:lnTo>
                  <a:lnTo>
                    <a:pt x="30" y="392"/>
                  </a:lnTo>
                  <a:lnTo>
                    <a:pt x="30" y="30"/>
                  </a:lnTo>
                  <a:close/>
                  <a:moveTo>
                    <a:pt x="0" y="422"/>
                  </a:moveTo>
                  <a:lnTo>
                    <a:pt x="271" y="422"/>
                  </a:lnTo>
                  <a:lnTo>
                    <a:pt x="271" y="0"/>
                  </a:lnTo>
                  <a:lnTo>
                    <a:pt x="0" y="0"/>
                  </a:lnTo>
                  <a:lnTo>
                    <a:pt x="0"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81">
              <a:extLst>
                <a:ext uri="{FF2B5EF4-FFF2-40B4-BE49-F238E27FC236}">
                  <a16:creationId xmlns:a16="http://schemas.microsoft.com/office/drawing/2014/main" id="{824E4321-8710-4E6B-8ABE-24446C1E838C}"/>
                </a:ext>
              </a:extLst>
            </p:cNvPr>
            <p:cNvSpPr>
              <a:spLocks/>
            </p:cNvSpPr>
            <p:nvPr/>
          </p:nvSpPr>
          <p:spPr bwMode="auto">
            <a:xfrm>
              <a:off x="5045075" y="958850"/>
              <a:ext cx="9525" cy="9525"/>
            </a:xfrm>
            <a:custGeom>
              <a:avLst/>
              <a:gdLst>
                <a:gd name="T0" fmla="*/ 15 w 30"/>
                <a:gd name="T1" fmla="*/ 0 h 31"/>
                <a:gd name="T2" fmla="*/ 12 w 30"/>
                <a:gd name="T3" fmla="*/ 1 h 31"/>
                <a:gd name="T4" fmla="*/ 9 w 30"/>
                <a:gd name="T5" fmla="*/ 3 h 31"/>
                <a:gd name="T6" fmla="*/ 7 w 30"/>
                <a:gd name="T7" fmla="*/ 4 h 31"/>
                <a:gd name="T8" fmla="*/ 5 w 30"/>
                <a:gd name="T9" fmla="*/ 6 h 31"/>
                <a:gd name="T10" fmla="*/ 3 w 30"/>
                <a:gd name="T11" fmla="*/ 8 h 31"/>
                <a:gd name="T12" fmla="*/ 1 w 30"/>
                <a:gd name="T13" fmla="*/ 10 h 31"/>
                <a:gd name="T14" fmla="*/ 0 w 30"/>
                <a:gd name="T15" fmla="*/ 13 h 31"/>
                <a:gd name="T16" fmla="*/ 0 w 30"/>
                <a:gd name="T17" fmla="*/ 16 h 31"/>
                <a:gd name="T18" fmla="*/ 0 w 30"/>
                <a:gd name="T19" fmla="*/ 19 h 31"/>
                <a:gd name="T20" fmla="*/ 1 w 30"/>
                <a:gd name="T21" fmla="*/ 22 h 31"/>
                <a:gd name="T22" fmla="*/ 3 w 30"/>
                <a:gd name="T23" fmla="*/ 24 h 31"/>
                <a:gd name="T24" fmla="*/ 5 w 30"/>
                <a:gd name="T25" fmla="*/ 26 h 31"/>
                <a:gd name="T26" fmla="*/ 7 w 30"/>
                <a:gd name="T27" fmla="*/ 28 h 31"/>
                <a:gd name="T28" fmla="*/ 9 w 30"/>
                <a:gd name="T29" fmla="*/ 29 h 31"/>
                <a:gd name="T30" fmla="*/ 12 w 30"/>
                <a:gd name="T31" fmla="*/ 30 h 31"/>
                <a:gd name="T32" fmla="*/ 15 w 30"/>
                <a:gd name="T33" fmla="*/ 31 h 31"/>
                <a:gd name="T34" fmla="*/ 19 w 30"/>
                <a:gd name="T35" fmla="*/ 30 h 31"/>
                <a:gd name="T36" fmla="*/ 21 w 30"/>
                <a:gd name="T37" fmla="*/ 29 h 31"/>
                <a:gd name="T38" fmla="*/ 24 w 30"/>
                <a:gd name="T39" fmla="*/ 28 h 31"/>
                <a:gd name="T40" fmla="*/ 26 w 30"/>
                <a:gd name="T41" fmla="*/ 26 h 31"/>
                <a:gd name="T42" fmla="*/ 27 w 30"/>
                <a:gd name="T43" fmla="*/ 24 h 31"/>
                <a:gd name="T44" fmla="*/ 29 w 30"/>
                <a:gd name="T45" fmla="*/ 22 h 31"/>
                <a:gd name="T46" fmla="*/ 30 w 30"/>
                <a:gd name="T47" fmla="*/ 19 h 31"/>
                <a:gd name="T48" fmla="*/ 30 w 30"/>
                <a:gd name="T49" fmla="*/ 16 h 31"/>
                <a:gd name="T50" fmla="*/ 30 w 30"/>
                <a:gd name="T51" fmla="*/ 13 h 31"/>
                <a:gd name="T52" fmla="*/ 29 w 30"/>
                <a:gd name="T53" fmla="*/ 10 h 31"/>
                <a:gd name="T54" fmla="*/ 27 w 30"/>
                <a:gd name="T55" fmla="*/ 8 h 31"/>
                <a:gd name="T56" fmla="*/ 26 w 30"/>
                <a:gd name="T57" fmla="*/ 6 h 31"/>
                <a:gd name="T58" fmla="*/ 24 w 30"/>
                <a:gd name="T59" fmla="*/ 4 h 31"/>
                <a:gd name="T60" fmla="*/ 21 w 30"/>
                <a:gd name="T61" fmla="*/ 3 h 31"/>
                <a:gd name="T62" fmla="*/ 19 w 30"/>
                <a:gd name="T63" fmla="*/ 1 h 31"/>
                <a:gd name="T64" fmla="*/ 15 w 30"/>
                <a:gd name="T65" fmla="*/ 0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9" y="3"/>
                  </a:lnTo>
                  <a:lnTo>
                    <a:pt x="7" y="4"/>
                  </a:lnTo>
                  <a:lnTo>
                    <a:pt x="5" y="6"/>
                  </a:lnTo>
                  <a:lnTo>
                    <a:pt x="3" y="8"/>
                  </a:lnTo>
                  <a:lnTo>
                    <a:pt x="1" y="10"/>
                  </a:lnTo>
                  <a:lnTo>
                    <a:pt x="0" y="13"/>
                  </a:lnTo>
                  <a:lnTo>
                    <a:pt x="0" y="16"/>
                  </a:lnTo>
                  <a:lnTo>
                    <a:pt x="0" y="19"/>
                  </a:lnTo>
                  <a:lnTo>
                    <a:pt x="1" y="22"/>
                  </a:lnTo>
                  <a:lnTo>
                    <a:pt x="3" y="24"/>
                  </a:lnTo>
                  <a:lnTo>
                    <a:pt x="5" y="26"/>
                  </a:lnTo>
                  <a:lnTo>
                    <a:pt x="7" y="28"/>
                  </a:lnTo>
                  <a:lnTo>
                    <a:pt x="9" y="29"/>
                  </a:lnTo>
                  <a:lnTo>
                    <a:pt x="12" y="30"/>
                  </a:lnTo>
                  <a:lnTo>
                    <a:pt x="15" y="31"/>
                  </a:lnTo>
                  <a:lnTo>
                    <a:pt x="19" y="30"/>
                  </a:lnTo>
                  <a:lnTo>
                    <a:pt x="21" y="29"/>
                  </a:lnTo>
                  <a:lnTo>
                    <a:pt x="24" y="28"/>
                  </a:lnTo>
                  <a:lnTo>
                    <a:pt x="26" y="26"/>
                  </a:lnTo>
                  <a:lnTo>
                    <a:pt x="27" y="24"/>
                  </a:lnTo>
                  <a:lnTo>
                    <a:pt x="29" y="22"/>
                  </a:lnTo>
                  <a:lnTo>
                    <a:pt x="30" y="19"/>
                  </a:lnTo>
                  <a:lnTo>
                    <a:pt x="30" y="16"/>
                  </a:lnTo>
                  <a:lnTo>
                    <a:pt x="30" y="13"/>
                  </a:lnTo>
                  <a:lnTo>
                    <a:pt x="29" y="10"/>
                  </a:lnTo>
                  <a:lnTo>
                    <a:pt x="27" y="8"/>
                  </a:lnTo>
                  <a:lnTo>
                    <a:pt x="26" y="6"/>
                  </a:lnTo>
                  <a:lnTo>
                    <a:pt x="24" y="4"/>
                  </a:lnTo>
                  <a:lnTo>
                    <a:pt x="21" y="3"/>
                  </a:lnTo>
                  <a:lnTo>
                    <a:pt x="19"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82">
              <a:extLst>
                <a:ext uri="{FF2B5EF4-FFF2-40B4-BE49-F238E27FC236}">
                  <a16:creationId xmlns:a16="http://schemas.microsoft.com/office/drawing/2014/main" id="{744F93E0-7941-4C92-A102-4C121F607671}"/>
                </a:ext>
              </a:extLst>
            </p:cNvPr>
            <p:cNvSpPr>
              <a:spLocks/>
            </p:cNvSpPr>
            <p:nvPr/>
          </p:nvSpPr>
          <p:spPr bwMode="auto">
            <a:xfrm>
              <a:off x="5064125" y="958850"/>
              <a:ext cx="11113" cy="9525"/>
            </a:xfrm>
            <a:custGeom>
              <a:avLst/>
              <a:gdLst>
                <a:gd name="T0" fmla="*/ 15 w 31"/>
                <a:gd name="T1" fmla="*/ 0 h 31"/>
                <a:gd name="T2" fmla="*/ 12 w 31"/>
                <a:gd name="T3" fmla="*/ 1 h 31"/>
                <a:gd name="T4" fmla="*/ 10 w 31"/>
                <a:gd name="T5" fmla="*/ 3 h 31"/>
                <a:gd name="T6" fmla="*/ 7 w 31"/>
                <a:gd name="T7" fmla="*/ 4 h 31"/>
                <a:gd name="T8" fmla="*/ 5 w 31"/>
                <a:gd name="T9" fmla="*/ 6 h 31"/>
                <a:gd name="T10" fmla="*/ 3 w 31"/>
                <a:gd name="T11" fmla="*/ 8 h 31"/>
                <a:gd name="T12" fmla="*/ 2 w 31"/>
                <a:gd name="T13" fmla="*/ 10 h 31"/>
                <a:gd name="T14" fmla="*/ 0 w 31"/>
                <a:gd name="T15" fmla="*/ 13 h 31"/>
                <a:gd name="T16" fmla="*/ 0 w 31"/>
                <a:gd name="T17" fmla="*/ 16 h 31"/>
                <a:gd name="T18" fmla="*/ 0 w 31"/>
                <a:gd name="T19" fmla="*/ 19 h 31"/>
                <a:gd name="T20" fmla="*/ 2 w 31"/>
                <a:gd name="T21" fmla="*/ 22 h 31"/>
                <a:gd name="T22" fmla="*/ 3 w 31"/>
                <a:gd name="T23" fmla="*/ 24 h 31"/>
                <a:gd name="T24" fmla="*/ 5 w 31"/>
                <a:gd name="T25" fmla="*/ 26 h 31"/>
                <a:gd name="T26" fmla="*/ 7 w 31"/>
                <a:gd name="T27" fmla="*/ 28 h 31"/>
                <a:gd name="T28" fmla="*/ 10 w 31"/>
                <a:gd name="T29" fmla="*/ 29 h 31"/>
                <a:gd name="T30" fmla="*/ 12 w 31"/>
                <a:gd name="T31" fmla="*/ 30 h 31"/>
                <a:gd name="T32" fmla="*/ 15 w 31"/>
                <a:gd name="T33" fmla="*/ 31 h 31"/>
                <a:gd name="T34" fmla="*/ 19 w 31"/>
                <a:gd name="T35" fmla="*/ 30 h 31"/>
                <a:gd name="T36" fmla="*/ 21 w 31"/>
                <a:gd name="T37" fmla="*/ 29 h 31"/>
                <a:gd name="T38" fmla="*/ 24 w 31"/>
                <a:gd name="T39" fmla="*/ 28 h 31"/>
                <a:gd name="T40" fmla="*/ 26 w 31"/>
                <a:gd name="T41" fmla="*/ 26 h 31"/>
                <a:gd name="T42" fmla="*/ 28 w 31"/>
                <a:gd name="T43" fmla="*/ 24 h 31"/>
                <a:gd name="T44" fmla="*/ 29 w 31"/>
                <a:gd name="T45" fmla="*/ 22 h 31"/>
                <a:gd name="T46" fmla="*/ 31 w 31"/>
                <a:gd name="T47" fmla="*/ 19 h 31"/>
                <a:gd name="T48" fmla="*/ 31 w 31"/>
                <a:gd name="T49" fmla="*/ 16 h 31"/>
                <a:gd name="T50" fmla="*/ 31 w 31"/>
                <a:gd name="T51" fmla="*/ 13 h 31"/>
                <a:gd name="T52" fmla="*/ 29 w 31"/>
                <a:gd name="T53" fmla="*/ 10 h 31"/>
                <a:gd name="T54" fmla="*/ 28 w 31"/>
                <a:gd name="T55" fmla="*/ 8 h 31"/>
                <a:gd name="T56" fmla="*/ 26 w 31"/>
                <a:gd name="T57" fmla="*/ 6 h 31"/>
                <a:gd name="T58" fmla="*/ 24 w 31"/>
                <a:gd name="T59" fmla="*/ 4 h 31"/>
                <a:gd name="T60" fmla="*/ 21 w 31"/>
                <a:gd name="T61" fmla="*/ 3 h 31"/>
                <a:gd name="T62" fmla="*/ 19 w 31"/>
                <a:gd name="T63" fmla="*/ 1 h 31"/>
                <a:gd name="T64" fmla="*/ 15 w 31"/>
                <a:gd name="T65" fmla="*/ 0 h 31"/>
                <a:gd name="T66" fmla="*/ 15 w 31"/>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1">
                  <a:moveTo>
                    <a:pt x="15" y="0"/>
                  </a:moveTo>
                  <a:lnTo>
                    <a:pt x="12" y="1"/>
                  </a:lnTo>
                  <a:lnTo>
                    <a:pt x="10" y="3"/>
                  </a:lnTo>
                  <a:lnTo>
                    <a:pt x="7" y="4"/>
                  </a:lnTo>
                  <a:lnTo>
                    <a:pt x="5" y="6"/>
                  </a:lnTo>
                  <a:lnTo>
                    <a:pt x="3" y="8"/>
                  </a:lnTo>
                  <a:lnTo>
                    <a:pt x="2" y="10"/>
                  </a:lnTo>
                  <a:lnTo>
                    <a:pt x="0" y="13"/>
                  </a:lnTo>
                  <a:lnTo>
                    <a:pt x="0" y="16"/>
                  </a:lnTo>
                  <a:lnTo>
                    <a:pt x="0" y="19"/>
                  </a:lnTo>
                  <a:lnTo>
                    <a:pt x="2" y="22"/>
                  </a:lnTo>
                  <a:lnTo>
                    <a:pt x="3" y="24"/>
                  </a:lnTo>
                  <a:lnTo>
                    <a:pt x="5" y="26"/>
                  </a:lnTo>
                  <a:lnTo>
                    <a:pt x="7" y="28"/>
                  </a:lnTo>
                  <a:lnTo>
                    <a:pt x="10" y="29"/>
                  </a:lnTo>
                  <a:lnTo>
                    <a:pt x="12" y="30"/>
                  </a:lnTo>
                  <a:lnTo>
                    <a:pt x="15" y="31"/>
                  </a:lnTo>
                  <a:lnTo>
                    <a:pt x="19" y="30"/>
                  </a:lnTo>
                  <a:lnTo>
                    <a:pt x="21" y="29"/>
                  </a:lnTo>
                  <a:lnTo>
                    <a:pt x="24" y="28"/>
                  </a:lnTo>
                  <a:lnTo>
                    <a:pt x="26" y="26"/>
                  </a:lnTo>
                  <a:lnTo>
                    <a:pt x="28" y="24"/>
                  </a:lnTo>
                  <a:lnTo>
                    <a:pt x="29" y="22"/>
                  </a:lnTo>
                  <a:lnTo>
                    <a:pt x="31" y="19"/>
                  </a:lnTo>
                  <a:lnTo>
                    <a:pt x="31" y="16"/>
                  </a:lnTo>
                  <a:lnTo>
                    <a:pt x="31" y="13"/>
                  </a:lnTo>
                  <a:lnTo>
                    <a:pt x="29" y="10"/>
                  </a:lnTo>
                  <a:lnTo>
                    <a:pt x="28" y="8"/>
                  </a:lnTo>
                  <a:lnTo>
                    <a:pt x="26" y="6"/>
                  </a:lnTo>
                  <a:lnTo>
                    <a:pt x="24" y="4"/>
                  </a:lnTo>
                  <a:lnTo>
                    <a:pt x="21" y="3"/>
                  </a:lnTo>
                  <a:lnTo>
                    <a:pt x="19"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83">
              <a:extLst>
                <a:ext uri="{FF2B5EF4-FFF2-40B4-BE49-F238E27FC236}">
                  <a16:creationId xmlns:a16="http://schemas.microsoft.com/office/drawing/2014/main" id="{80CAC19D-5483-4FDD-B700-7A05FC922076}"/>
                </a:ext>
              </a:extLst>
            </p:cNvPr>
            <p:cNvSpPr>
              <a:spLocks/>
            </p:cNvSpPr>
            <p:nvPr/>
          </p:nvSpPr>
          <p:spPr bwMode="auto">
            <a:xfrm>
              <a:off x="5045075" y="989013"/>
              <a:ext cx="9525" cy="9525"/>
            </a:xfrm>
            <a:custGeom>
              <a:avLst/>
              <a:gdLst>
                <a:gd name="T0" fmla="*/ 15 w 30"/>
                <a:gd name="T1" fmla="*/ 0 h 30"/>
                <a:gd name="T2" fmla="*/ 12 w 30"/>
                <a:gd name="T3" fmla="*/ 0 h 30"/>
                <a:gd name="T4" fmla="*/ 9 w 30"/>
                <a:gd name="T5" fmla="*/ 1 h 30"/>
                <a:gd name="T6" fmla="*/ 7 w 30"/>
                <a:gd name="T7" fmla="*/ 2 h 30"/>
                <a:gd name="T8" fmla="*/ 5 w 30"/>
                <a:gd name="T9" fmla="*/ 4 h 30"/>
                <a:gd name="T10" fmla="*/ 3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3 w 30"/>
                <a:gd name="T23" fmla="*/ 23 h 30"/>
                <a:gd name="T24" fmla="*/ 5 w 30"/>
                <a:gd name="T25" fmla="*/ 25 h 30"/>
                <a:gd name="T26" fmla="*/ 7 w 30"/>
                <a:gd name="T27" fmla="*/ 26 h 30"/>
                <a:gd name="T28" fmla="*/ 9 w 30"/>
                <a:gd name="T29" fmla="*/ 28 h 30"/>
                <a:gd name="T30" fmla="*/ 12 w 30"/>
                <a:gd name="T31" fmla="*/ 28 h 30"/>
                <a:gd name="T32" fmla="*/ 15 w 30"/>
                <a:gd name="T33" fmla="*/ 30 h 30"/>
                <a:gd name="T34" fmla="*/ 19 w 30"/>
                <a:gd name="T35" fmla="*/ 28 h 30"/>
                <a:gd name="T36" fmla="*/ 21 w 30"/>
                <a:gd name="T37" fmla="*/ 28 h 30"/>
                <a:gd name="T38" fmla="*/ 24 w 30"/>
                <a:gd name="T39" fmla="*/ 26 h 30"/>
                <a:gd name="T40" fmla="*/ 26 w 30"/>
                <a:gd name="T41" fmla="*/ 25 h 30"/>
                <a:gd name="T42" fmla="*/ 27 w 30"/>
                <a:gd name="T43" fmla="*/ 23 h 30"/>
                <a:gd name="T44" fmla="*/ 29 w 30"/>
                <a:gd name="T45" fmla="*/ 20 h 30"/>
                <a:gd name="T46" fmla="*/ 30 w 30"/>
                <a:gd name="T47" fmla="*/ 18 h 30"/>
                <a:gd name="T48" fmla="*/ 30 w 30"/>
                <a:gd name="T49" fmla="*/ 15 h 30"/>
                <a:gd name="T50" fmla="*/ 30 w 30"/>
                <a:gd name="T51" fmla="*/ 11 h 30"/>
                <a:gd name="T52" fmla="*/ 29 w 30"/>
                <a:gd name="T53" fmla="*/ 8 h 30"/>
                <a:gd name="T54" fmla="*/ 27 w 30"/>
                <a:gd name="T55" fmla="*/ 6 h 30"/>
                <a:gd name="T56" fmla="*/ 26 w 30"/>
                <a:gd name="T57" fmla="*/ 4 h 30"/>
                <a:gd name="T58" fmla="*/ 24 w 30"/>
                <a:gd name="T59" fmla="*/ 2 h 30"/>
                <a:gd name="T60" fmla="*/ 21 w 30"/>
                <a:gd name="T61" fmla="*/ 1 h 30"/>
                <a:gd name="T62" fmla="*/ 19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7" y="2"/>
                  </a:lnTo>
                  <a:lnTo>
                    <a:pt x="5" y="4"/>
                  </a:lnTo>
                  <a:lnTo>
                    <a:pt x="3" y="6"/>
                  </a:lnTo>
                  <a:lnTo>
                    <a:pt x="1" y="8"/>
                  </a:lnTo>
                  <a:lnTo>
                    <a:pt x="0" y="11"/>
                  </a:lnTo>
                  <a:lnTo>
                    <a:pt x="0" y="15"/>
                  </a:lnTo>
                  <a:lnTo>
                    <a:pt x="0" y="18"/>
                  </a:lnTo>
                  <a:lnTo>
                    <a:pt x="1" y="20"/>
                  </a:lnTo>
                  <a:lnTo>
                    <a:pt x="3" y="23"/>
                  </a:lnTo>
                  <a:lnTo>
                    <a:pt x="5" y="25"/>
                  </a:lnTo>
                  <a:lnTo>
                    <a:pt x="7" y="26"/>
                  </a:lnTo>
                  <a:lnTo>
                    <a:pt x="9" y="28"/>
                  </a:lnTo>
                  <a:lnTo>
                    <a:pt x="12" y="28"/>
                  </a:lnTo>
                  <a:lnTo>
                    <a:pt x="15" y="30"/>
                  </a:lnTo>
                  <a:lnTo>
                    <a:pt x="19" y="28"/>
                  </a:lnTo>
                  <a:lnTo>
                    <a:pt x="21" y="28"/>
                  </a:lnTo>
                  <a:lnTo>
                    <a:pt x="24" y="26"/>
                  </a:lnTo>
                  <a:lnTo>
                    <a:pt x="26" y="25"/>
                  </a:lnTo>
                  <a:lnTo>
                    <a:pt x="27" y="23"/>
                  </a:lnTo>
                  <a:lnTo>
                    <a:pt x="29" y="20"/>
                  </a:lnTo>
                  <a:lnTo>
                    <a:pt x="30" y="18"/>
                  </a:lnTo>
                  <a:lnTo>
                    <a:pt x="30" y="15"/>
                  </a:lnTo>
                  <a:lnTo>
                    <a:pt x="30" y="11"/>
                  </a:lnTo>
                  <a:lnTo>
                    <a:pt x="29" y="8"/>
                  </a:lnTo>
                  <a:lnTo>
                    <a:pt x="27" y="6"/>
                  </a:lnTo>
                  <a:lnTo>
                    <a:pt x="26" y="4"/>
                  </a:lnTo>
                  <a:lnTo>
                    <a:pt x="24" y="2"/>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84">
              <a:extLst>
                <a:ext uri="{FF2B5EF4-FFF2-40B4-BE49-F238E27FC236}">
                  <a16:creationId xmlns:a16="http://schemas.microsoft.com/office/drawing/2014/main" id="{5ED44E89-2C60-4264-A027-30B6A35C14C8}"/>
                </a:ext>
              </a:extLst>
            </p:cNvPr>
            <p:cNvSpPr>
              <a:spLocks/>
            </p:cNvSpPr>
            <p:nvPr/>
          </p:nvSpPr>
          <p:spPr bwMode="auto">
            <a:xfrm>
              <a:off x="5064125" y="989013"/>
              <a:ext cx="11113" cy="9525"/>
            </a:xfrm>
            <a:custGeom>
              <a:avLst/>
              <a:gdLst>
                <a:gd name="T0" fmla="*/ 15 w 31"/>
                <a:gd name="T1" fmla="*/ 0 h 30"/>
                <a:gd name="T2" fmla="*/ 12 w 31"/>
                <a:gd name="T3" fmla="*/ 0 h 30"/>
                <a:gd name="T4" fmla="*/ 10 w 31"/>
                <a:gd name="T5" fmla="*/ 1 h 30"/>
                <a:gd name="T6" fmla="*/ 7 w 31"/>
                <a:gd name="T7" fmla="*/ 2 h 30"/>
                <a:gd name="T8" fmla="*/ 5 w 31"/>
                <a:gd name="T9" fmla="*/ 4 h 30"/>
                <a:gd name="T10" fmla="*/ 3 w 31"/>
                <a:gd name="T11" fmla="*/ 6 h 30"/>
                <a:gd name="T12" fmla="*/ 2 w 31"/>
                <a:gd name="T13" fmla="*/ 8 h 30"/>
                <a:gd name="T14" fmla="*/ 0 w 31"/>
                <a:gd name="T15" fmla="*/ 11 h 30"/>
                <a:gd name="T16" fmla="*/ 0 w 31"/>
                <a:gd name="T17" fmla="*/ 15 h 30"/>
                <a:gd name="T18" fmla="*/ 0 w 31"/>
                <a:gd name="T19" fmla="*/ 18 h 30"/>
                <a:gd name="T20" fmla="*/ 2 w 31"/>
                <a:gd name="T21" fmla="*/ 20 h 30"/>
                <a:gd name="T22" fmla="*/ 3 w 31"/>
                <a:gd name="T23" fmla="*/ 23 h 30"/>
                <a:gd name="T24" fmla="*/ 5 w 31"/>
                <a:gd name="T25" fmla="*/ 25 h 30"/>
                <a:gd name="T26" fmla="*/ 7 w 31"/>
                <a:gd name="T27" fmla="*/ 26 h 30"/>
                <a:gd name="T28" fmla="*/ 10 w 31"/>
                <a:gd name="T29" fmla="*/ 28 h 30"/>
                <a:gd name="T30" fmla="*/ 12 w 31"/>
                <a:gd name="T31" fmla="*/ 28 h 30"/>
                <a:gd name="T32" fmla="*/ 15 w 31"/>
                <a:gd name="T33" fmla="*/ 30 h 30"/>
                <a:gd name="T34" fmla="*/ 19 w 31"/>
                <a:gd name="T35" fmla="*/ 28 h 30"/>
                <a:gd name="T36" fmla="*/ 21 w 31"/>
                <a:gd name="T37" fmla="*/ 28 h 30"/>
                <a:gd name="T38" fmla="*/ 24 w 31"/>
                <a:gd name="T39" fmla="*/ 26 h 30"/>
                <a:gd name="T40" fmla="*/ 26 w 31"/>
                <a:gd name="T41" fmla="*/ 25 h 30"/>
                <a:gd name="T42" fmla="*/ 28 w 31"/>
                <a:gd name="T43" fmla="*/ 23 h 30"/>
                <a:gd name="T44" fmla="*/ 29 w 31"/>
                <a:gd name="T45" fmla="*/ 20 h 30"/>
                <a:gd name="T46" fmla="*/ 31 w 31"/>
                <a:gd name="T47" fmla="*/ 18 h 30"/>
                <a:gd name="T48" fmla="*/ 31 w 31"/>
                <a:gd name="T49" fmla="*/ 15 h 30"/>
                <a:gd name="T50" fmla="*/ 31 w 31"/>
                <a:gd name="T51" fmla="*/ 11 h 30"/>
                <a:gd name="T52" fmla="*/ 29 w 31"/>
                <a:gd name="T53" fmla="*/ 8 h 30"/>
                <a:gd name="T54" fmla="*/ 28 w 31"/>
                <a:gd name="T55" fmla="*/ 6 h 30"/>
                <a:gd name="T56" fmla="*/ 26 w 31"/>
                <a:gd name="T57" fmla="*/ 4 h 30"/>
                <a:gd name="T58" fmla="*/ 24 w 31"/>
                <a:gd name="T59" fmla="*/ 2 h 30"/>
                <a:gd name="T60" fmla="*/ 21 w 31"/>
                <a:gd name="T61" fmla="*/ 1 h 30"/>
                <a:gd name="T62" fmla="*/ 19 w 31"/>
                <a:gd name="T63" fmla="*/ 0 h 30"/>
                <a:gd name="T64" fmla="*/ 15 w 31"/>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5" y="0"/>
                  </a:moveTo>
                  <a:lnTo>
                    <a:pt x="12" y="0"/>
                  </a:lnTo>
                  <a:lnTo>
                    <a:pt x="10" y="1"/>
                  </a:lnTo>
                  <a:lnTo>
                    <a:pt x="7" y="2"/>
                  </a:lnTo>
                  <a:lnTo>
                    <a:pt x="5" y="4"/>
                  </a:lnTo>
                  <a:lnTo>
                    <a:pt x="3" y="6"/>
                  </a:lnTo>
                  <a:lnTo>
                    <a:pt x="2" y="8"/>
                  </a:lnTo>
                  <a:lnTo>
                    <a:pt x="0" y="11"/>
                  </a:lnTo>
                  <a:lnTo>
                    <a:pt x="0" y="15"/>
                  </a:lnTo>
                  <a:lnTo>
                    <a:pt x="0" y="18"/>
                  </a:lnTo>
                  <a:lnTo>
                    <a:pt x="2" y="20"/>
                  </a:lnTo>
                  <a:lnTo>
                    <a:pt x="3" y="23"/>
                  </a:lnTo>
                  <a:lnTo>
                    <a:pt x="5" y="25"/>
                  </a:lnTo>
                  <a:lnTo>
                    <a:pt x="7" y="26"/>
                  </a:lnTo>
                  <a:lnTo>
                    <a:pt x="10" y="28"/>
                  </a:lnTo>
                  <a:lnTo>
                    <a:pt x="12" y="28"/>
                  </a:lnTo>
                  <a:lnTo>
                    <a:pt x="15" y="30"/>
                  </a:lnTo>
                  <a:lnTo>
                    <a:pt x="19" y="28"/>
                  </a:lnTo>
                  <a:lnTo>
                    <a:pt x="21" y="28"/>
                  </a:lnTo>
                  <a:lnTo>
                    <a:pt x="24" y="26"/>
                  </a:lnTo>
                  <a:lnTo>
                    <a:pt x="26" y="25"/>
                  </a:lnTo>
                  <a:lnTo>
                    <a:pt x="28" y="23"/>
                  </a:lnTo>
                  <a:lnTo>
                    <a:pt x="29" y="20"/>
                  </a:lnTo>
                  <a:lnTo>
                    <a:pt x="31" y="18"/>
                  </a:lnTo>
                  <a:lnTo>
                    <a:pt x="31" y="15"/>
                  </a:lnTo>
                  <a:lnTo>
                    <a:pt x="31" y="11"/>
                  </a:lnTo>
                  <a:lnTo>
                    <a:pt x="29" y="8"/>
                  </a:lnTo>
                  <a:lnTo>
                    <a:pt x="28" y="6"/>
                  </a:lnTo>
                  <a:lnTo>
                    <a:pt x="26" y="4"/>
                  </a:lnTo>
                  <a:lnTo>
                    <a:pt x="24" y="2"/>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85">
              <a:extLst>
                <a:ext uri="{FF2B5EF4-FFF2-40B4-BE49-F238E27FC236}">
                  <a16:creationId xmlns:a16="http://schemas.microsoft.com/office/drawing/2014/main" id="{E750CB23-68A9-442E-A5E6-26357AB1D81A}"/>
                </a:ext>
              </a:extLst>
            </p:cNvPr>
            <p:cNvSpPr>
              <a:spLocks/>
            </p:cNvSpPr>
            <p:nvPr/>
          </p:nvSpPr>
          <p:spPr bwMode="auto">
            <a:xfrm>
              <a:off x="5045075" y="1017588"/>
              <a:ext cx="9525" cy="9525"/>
            </a:xfrm>
            <a:custGeom>
              <a:avLst/>
              <a:gdLst>
                <a:gd name="T0" fmla="*/ 15 w 30"/>
                <a:gd name="T1" fmla="*/ 0 h 30"/>
                <a:gd name="T2" fmla="*/ 12 w 30"/>
                <a:gd name="T3" fmla="*/ 0 h 30"/>
                <a:gd name="T4" fmla="*/ 9 w 30"/>
                <a:gd name="T5" fmla="*/ 1 h 30"/>
                <a:gd name="T6" fmla="*/ 7 w 30"/>
                <a:gd name="T7" fmla="*/ 2 h 30"/>
                <a:gd name="T8" fmla="*/ 5 w 30"/>
                <a:gd name="T9" fmla="*/ 4 h 30"/>
                <a:gd name="T10" fmla="*/ 3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3 w 30"/>
                <a:gd name="T23" fmla="*/ 23 h 30"/>
                <a:gd name="T24" fmla="*/ 5 w 30"/>
                <a:gd name="T25" fmla="*/ 25 h 30"/>
                <a:gd name="T26" fmla="*/ 7 w 30"/>
                <a:gd name="T27" fmla="*/ 28 h 30"/>
                <a:gd name="T28" fmla="*/ 9 w 30"/>
                <a:gd name="T29" fmla="*/ 29 h 30"/>
                <a:gd name="T30" fmla="*/ 12 w 30"/>
                <a:gd name="T31" fmla="*/ 30 h 30"/>
                <a:gd name="T32" fmla="*/ 15 w 30"/>
                <a:gd name="T33" fmla="*/ 30 h 30"/>
                <a:gd name="T34" fmla="*/ 19 w 30"/>
                <a:gd name="T35" fmla="*/ 30 h 30"/>
                <a:gd name="T36" fmla="*/ 21 w 30"/>
                <a:gd name="T37" fmla="*/ 29 h 30"/>
                <a:gd name="T38" fmla="*/ 24 w 30"/>
                <a:gd name="T39" fmla="*/ 28 h 30"/>
                <a:gd name="T40" fmla="*/ 26 w 30"/>
                <a:gd name="T41" fmla="*/ 25 h 30"/>
                <a:gd name="T42" fmla="*/ 27 w 30"/>
                <a:gd name="T43" fmla="*/ 23 h 30"/>
                <a:gd name="T44" fmla="*/ 29 w 30"/>
                <a:gd name="T45" fmla="*/ 20 h 30"/>
                <a:gd name="T46" fmla="*/ 30 w 30"/>
                <a:gd name="T47" fmla="*/ 18 h 30"/>
                <a:gd name="T48" fmla="*/ 30 w 30"/>
                <a:gd name="T49" fmla="*/ 15 h 30"/>
                <a:gd name="T50" fmla="*/ 30 w 30"/>
                <a:gd name="T51" fmla="*/ 11 h 30"/>
                <a:gd name="T52" fmla="*/ 29 w 30"/>
                <a:gd name="T53" fmla="*/ 8 h 30"/>
                <a:gd name="T54" fmla="*/ 27 w 30"/>
                <a:gd name="T55" fmla="*/ 6 h 30"/>
                <a:gd name="T56" fmla="*/ 26 w 30"/>
                <a:gd name="T57" fmla="*/ 4 h 30"/>
                <a:gd name="T58" fmla="*/ 24 w 30"/>
                <a:gd name="T59" fmla="*/ 2 h 30"/>
                <a:gd name="T60" fmla="*/ 21 w 30"/>
                <a:gd name="T61" fmla="*/ 1 h 30"/>
                <a:gd name="T62" fmla="*/ 19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7" y="2"/>
                  </a:lnTo>
                  <a:lnTo>
                    <a:pt x="5" y="4"/>
                  </a:lnTo>
                  <a:lnTo>
                    <a:pt x="3" y="6"/>
                  </a:lnTo>
                  <a:lnTo>
                    <a:pt x="1" y="8"/>
                  </a:lnTo>
                  <a:lnTo>
                    <a:pt x="0" y="11"/>
                  </a:lnTo>
                  <a:lnTo>
                    <a:pt x="0" y="15"/>
                  </a:lnTo>
                  <a:lnTo>
                    <a:pt x="0" y="18"/>
                  </a:lnTo>
                  <a:lnTo>
                    <a:pt x="1" y="20"/>
                  </a:lnTo>
                  <a:lnTo>
                    <a:pt x="3" y="23"/>
                  </a:lnTo>
                  <a:lnTo>
                    <a:pt x="5" y="25"/>
                  </a:lnTo>
                  <a:lnTo>
                    <a:pt x="7" y="28"/>
                  </a:lnTo>
                  <a:lnTo>
                    <a:pt x="9" y="29"/>
                  </a:lnTo>
                  <a:lnTo>
                    <a:pt x="12" y="30"/>
                  </a:lnTo>
                  <a:lnTo>
                    <a:pt x="15" y="30"/>
                  </a:lnTo>
                  <a:lnTo>
                    <a:pt x="19" y="30"/>
                  </a:lnTo>
                  <a:lnTo>
                    <a:pt x="21" y="29"/>
                  </a:lnTo>
                  <a:lnTo>
                    <a:pt x="24" y="28"/>
                  </a:lnTo>
                  <a:lnTo>
                    <a:pt x="26" y="25"/>
                  </a:lnTo>
                  <a:lnTo>
                    <a:pt x="27" y="23"/>
                  </a:lnTo>
                  <a:lnTo>
                    <a:pt x="29" y="20"/>
                  </a:lnTo>
                  <a:lnTo>
                    <a:pt x="30" y="18"/>
                  </a:lnTo>
                  <a:lnTo>
                    <a:pt x="30" y="15"/>
                  </a:lnTo>
                  <a:lnTo>
                    <a:pt x="30" y="11"/>
                  </a:lnTo>
                  <a:lnTo>
                    <a:pt x="29" y="8"/>
                  </a:lnTo>
                  <a:lnTo>
                    <a:pt x="27" y="6"/>
                  </a:lnTo>
                  <a:lnTo>
                    <a:pt x="26" y="4"/>
                  </a:lnTo>
                  <a:lnTo>
                    <a:pt x="24" y="2"/>
                  </a:lnTo>
                  <a:lnTo>
                    <a:pt x="21" y="1"/>
                  </a:lnTo>
                  <a:lnTo>
                    <a:pt x="19"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86">
              <a:extLst>
                <a:ext uri="{FF2B5EF4-FFF2-40B4-BE49-F238E27FC236}">
                  <a16:creationId xmlns:a16="http://schemas.microsoft.com/office/drawing/2014/main" id="{BF692A2D-E804-4C56-A820-CED96298BFC6}"/>
                </a:ext>
              </a:extLst>
            </p:cNvPr>
            <p:cNvSpPr>
              <a:spLocks/>
            </p:cNvSpPr>
            <p:nvPr/>
          </p:nvSpPr>
          <p:spPr bwMode="auto">
            <a:xfrm>
              <a:off x="5064125" y="1017588"/>
              <a:ext cx="11113" cy="9525"/>
            </a:xfrm>
            <a:custGeom>
              <a:avLst/>
              <a:gdLst>
                <a:gd name="T0" fmla="*/ 15 w 31"/>
                <a:gd name="T1" fmla="*/ 0 h 30"/>
                <a:gd name="T2" fmla="*/ 12 w 31"/>
                <a:gd name="T3" fmla="*/ 0 h 30"/>
                <a:gd name="T4" fmla="*/ 10 w 31"/>
                <a:gd name="T5" fmla="*/ 1 h 30"/>
                <a:gd name="T6" fmla="*/ 7 w 31"/>
                <a:gd name="T7" fmla="*/ 2 h 30"/>
                <a:gd name="T8" fmla="*/ 5 w 31"/>
                <a:gd name="T9" fmla="*/ 4 h 30"/>
                <a:gd name="T10" fmla="*/ 3 w 31"/>
                <a:gd name="T11" fmla="*/ 6 h 30"/>
                <a:gd name="T12" fmla="*/ 2 w 31"/>
                <a:gd name="T13" fmla="*/ 8 h 30"/>
                <a:gd name="T14" fmla="*/ 0 w 31"/>
                <a:gd name="T15" fmla="*/ 11 h 30"/>
                <a:gd name="T16" fmla="*/ 0 w 31"/>
                <a:gd name="T17" fmla="*/ 15 h 30"/>
                <a:gd name="T18" fmla="*/ 0 w 31"/>
                <a:gd name="T19" fmla="*/ 18 h 30"/>
                <a:gd name="T20" fmla="*/ 2 w 31"/>
                <a:gd name="T21" fmla="*/ 20 h 30"/>
                <a:gd name="T22" fmla="*/ 3 w 31"/>
                <a:gd name="T23" fmla="*/ 23 h 30"/>
                <a:gd name="T24" fmla="*/ 5 w 31"/>
                <a:gd name="T25" fmla="*/ 25 h 30"/>
                <a:gd name="T26" fmla="*/ 7 w 31"/>
                <a:gd name="T27" fmla="*/ 28 h 30"/>
                <a:gd name="T28" fmla="*/ 10 w 31"/>
                <a:gd name="T29" fmla="*/ 29 h 30"/>
                <a:gd name="T30" fmla="*/ 12 w 31"/>
                <a:gd name="T31" fmla="*/ 30 h 30"/>
                <a:gd name="T32" fmla="*/ 15 w 31"/>
                <a:gd name="T33" fmla="*/ 30 h 30"/>
                <a:gd name="T34" fmla="*/ 19 w 31"/>
                <a:gd name="T35" fmla="*/ 30 h 30"/>
                <a:gd name="T36" fmla="*/ 21 w 31"/>
                <a:gd name="T37" fmla="*/ 29 h 30"/>
                <a:gd name="T38" fmla="*/ 24 w 31"/>
                <a:gd name="T39" fmla="*/ 28 h 30"/>
                <a:gd name="T40" fmla="*/ 26 w 31"/>
                <a:gd name="T41" fmla="*/ 25 h 30"/>
                <a:gd name="T42" fmla="*/ 28 w 31"/>
                <a:gd name="T43" fmla="*/ 23 h 30"/>
                <a:gd name="T44" fmla="*/ 29 w 31"/>
                <a:gd name="T45" fmla="*/ 20 h 30"/>
                <a:gd name="T46" fmla="*/ 31 w 31"/>
                <a:gd name="T47" fmla="*/ 18 h 30"/>
                <a:gd name="T48" fmla="*/ 31 w 31"/>
                <a:gd name="T49" fmla="*/ 15 h 30"/>
                <a:gd name="T50" fmla="*/ 31 w 31"/>
                <a:gd name="T51" fmla="*/ 11 h 30"/>
                <a:gd name="T52" fmla="*/ 29 w 31"/>
                <a:gd name="T53" fmla="*/ 8 h 30"/>
                <a:gd name="T54" fmla="*/ 28 w 31"/>
                <a:gd name="T55" fmla="*/ 6 h 30"/>
                <a:gd name="T56" fmla="*/ 26 w 31"/>
                <a:gd name="T57" fmla="*/ 4 h 30"/>
                <a:gd name="T58" fmla="*/ 24 w 31"/>
                <a:gd name="T59" fmla="*/ 2 h 30"/>
                <a:gd name="T60" fmla="*/ 21 w 31"/>
                <a:gd name="T61" fmla="*/ 1 h 30"/>
                <a:gd name="T62" fmla="*/ 19 w 31"/>
                <a:gd name="T63" fmla="*/ 0 h 30"/>
                <a:gd name="T64" fmla="*/ 15 w 31"/>
                <a:gd name="T65" fmla="*/ 0 h 30"/>
                <a:gd name="T66" fmla="*/ 15 w 31"/>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0">
                  <a:moveTo>
                    <a:pt x="15" y="0"/>
                  </a:moveTo>
                  <a:lnTo>
                    <a:pt x="12" y="0"/>
                  </a:lnTo>
                  <a:lnTo>
                    <a:pt x="10" y="1"/>
                  </a:lnTo>
                  <a:lnTo>
                    <a:pt x="7" y="2"/>
                  </a:lnTo>
                  <a:lnTo>
                    <a:pt x="5" y="4"/>
                  </a:lnTo>
                  <a:lnTo>
                    <a:pt x="3" y="6"/>
                  </a:lnTo>
                  <a:lnTo>
                    <a:pt x="2" y="8"/>
                  </a:lnTo>
                  <a:lnTo>
                    <a:pt x="0" y="11"/>
                  </a:lnTo>
                  <a:lnTo>
                    <a:pt x="0" y="15"/>
                  </a:lnTo>
                  <a:lnTo>
                    <a:pt x="0" y="18"/>
                  </a:lnTo>
                  <a:lnTo>
                    <a:pt x="2" y="20"/>
                  </a:lnTo>
                  <a:lnTo>
                    <a:pt x="3" y="23"/>
                  </a:lnTo>
                  <a:lnTo>
                    <a:pt x="5" y="25"/>
                  </a:lnTo>
                  <a:lnTo>
                    <a:pt x="7" y="28"/>
                  </a:lnTo>
                  <a:lnTo>
                    <a:pt x="10" y="29"/>
                  </a:lnTo>
                  <a:lnTo>
                    <a:pt x="12" y="30"/>
                  </a:lnTo>
                  <a:lnTo>
                    <a:pt x="15" y="30"/>
                  </a:lnTo>
                  <a:lnTo>
                    <a:pt x="19" y="30"/>
                  </a:lnTo>
                  <a:lnTo>
                    <a:pt x="21" y="29"/>
                  </a:lnTo>
                  <a:lnTo>
                    <a:pt x="24" y="28"/>
                  </a:lnTo>
                  <a:lnTo>
                    <a:pt x="26" y="25"/>
                  </a:lnTo>
                  <a:lnTo>
                    <a:pt x="28" y="23"/>
                  </a:lnTo>
                  <a:lnTo>
                    <a:pt x="29" y="20"/>
                  </a:lnTo>
                  <a:lnTo>
                    <a:pt x="31" y="18"/>
                  </a:lnTo>
                  <a:lnTo>
                    <a:pt x="31" y="15"/>
                  </a:lnTo>
                  <a:lnTo>
                    <a:pt x="31" y="11"/>
                  </a:lnTo>
                  <a:lnTo>
                    <a:pt x="29" y="8"/>
                  </a:lnTo>
                  <a:lnTo>
                    <a:pt x="28" y="6"/>
                  </a:lnTo>
                  <a:lnTo>
                    <a:pt x="26" y="4"/>
                  </a:lnTo>
                  <a:lnTo>
                    <a:pt x="24" y="2"/>
                  </a:lnTo>
                  <a:lnTo>
                    <a:pt x="21" y="1"/>
                  </a:lnTo>
                  <a:lnTo>
                    <a:pt x="19"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87">
              <a:extLst>
                <a:ext uri="{FF2B5EF4-FFF2-40B4-BE49-F238E27FC236}">
                  <a16:creationId xmlns:a16="http://schemas.microsoft.com/office/drawing/2014/main" id="{EB3827F6-703A-4C6E-B9DB-287729AA1197}"/>
                </a:ext>
              </a:extLst>
            </p:cNvPr>
            <p:cNvSpPr>
              <a:spLocks/>
            </p:cNvSpPr>
            <p:nvPr/>
          </p:nvSpPr>
          <p:spPr bwMode="auto">
            <a:xfrm>
              <a:off x="5084763" y="958850"/>
              <a:ext cx="9525" cy="9525"/>
            </a:xfrm>
            <a:custGeom>
              <a:avLst/>
              <a:gdLst>
                <a:gd name="T0" fmla="*/ 15 w 30"/>
                <a:gd name="T1" fmla="*/ 0 h 31"/>
                <a:gd name="T2" fmla="*/ 11 w 30"/>
                <a:gd name="T3" fmla="*/ 1 h 31"/>
                <a:gd name="T4" fmla="*/ 9 w 30"/>
                <a:gd name="T5" fmla="*/ 3 h 31"/>
                <a:gd name="T6" fmla="*/ 6 w 30"/>
                <a:gd name="T7" fmla="*/ 4 h 31"/>
                <a:gd name="T8" fmla="*/ 4 w 30"/>
                <a:gd name="T9" fmla="*/ 6 h 31"/>
                <a:gd name="T10" fmla="*/ 2 w 30"/>
                <a:gd name="T11" fmla="*/ 8 h 31"/>
                <a:gd name="T12" fmla="*/ 1 w 30"/>
                <a:gd name="T13" fmla="*/ 10 h 31"/>
                <a:gd name="T14" fmla="*/ 0 w 30"/>
                <a:gd name="T15" fmla="*/ 13 h 31"/>
                <a:gd name="T16" fmla="*/ 0 w 30"/>
                <a:gd name="T17" fmla="*/ 16 h 31"/>
                <a:gd name="T18" fmla="*/ 0 w 30"/>
                <a:gd name="T19" fmla="*/ 19 h 31"/>
                <a:gd name="T20" fmla="*/ 1 w 30"/>
                <a:gd name="T21" fmla="*/ 22 h 31"/>
                <a:gd name="T22" fmla="*/ 2 w 30"/>
                <a:gd name="T23" fmla="*/ 24 h 31"/>
                <a:gd name="T24" fmla="*/ 4 w 30"/>
                <a:gd name="T25" fmla="*/ 26 h 31"/>
                <a:gd name="T26" fmla="*/ 6 w 30"/>
                <a:gd name="T27" fmla="*/ 28 h 31"/>
                <a:gd name="T28" fmla="*/ 9 w 30"/>
                <a:gd name="T29" fmla="*/ 29 h 31"/>
                <a:gd name="T30" fmla="*/ 11 w 30"/>
                <a:gd name="T31" fmla="*/ 30 h 31"/>
                <a:gd name="T32" fmla="*/ 15 w 30"/>
                <a:gd name="T33" fmla="*/ 31 h 31"/>
                <a:gd name="T34" fmla="*/ 18 w 30"/>
                <a:gd name="T35" fmla="*/ 30 h 31"/>
                <a:gd name="T36" fmla="*/ 21 w 30"/>
                <a:gd name="T37" fmla="*/ 29 h 31"/>
                <a:gd name="T38" fmla="*/ 23 w 30"/>
                <a:gd name="T39" fmla="*/ 28 h 31"/>
                <a:gd name="T40" fmla="*/ 25 w 30"/>
                <a:gd name="T41" fmla="*/ 26 h 31"/>
                <a:gd name="T42" fmla="*/ 27 w 30"/>
                <a:gd name="T43" fmla="*/ 24 h 31"/>
                <a:gd name="T44" fmla="*/ 28 w 30"/>
                <a:gd name="T45" fmla="*/ 22 h 31"/>
                <a:gd name="T46" fmla="*/ 30 w 30"/>
                <a:gd name="T47" fmla="*/ 19 h 31"/>
                <a:gd name="T48" fmla="*/ 30 w 30"/>
                <a:gd name="T49" fmla="*/ 16 h 31"/>
                <a:gd name="T50" fmla="*/ 30 w 30"/>
                <a:gd name="T51" fmla="*/ 13 h 31"/>
                <a:gd name="T52" fmla="*/ 28 w 30"/>
                <a:gd name="T53" fmla="*/ 10 h 31"/>
                <a:gd name="T54" fmla="*/ 27 w 30"/>
                <a:gd name="T55" fmla="*/ 8 h 31"/>
                <a:gd name="T56" fmla="*/ 25 w 30"/>
                <a:gd name="T57" fmla="*/ 6 h 31"/>
                <a:gd name="T58" fmla="*/ 23 w 30"/>
                <a:gd name="T59" fmla="*/ 4 h 31"/>
                <a:gd name="T60" fmla="*/ 21 w 30"/>
                <a:gd name="T61" fmla="*/ 3 h 31"/>
                <a:gd name="T62" fmla="*/ 18 w 30"/>
                <a:gd name="T63" fmla="*/ 1 h 31"/>
                <a:gd name="T64" fmla="*/ 15 w 30"/>
                <a:gd name="T65" fmla="*/ 0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1" y="1"/>
                  </a:lnTo>
                  <a:lnTo>
                    <a:pt x="9" y="3"/>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1" y="30"/>
                  </a:lnTo>
                  <a:lnTo>
                    <a:pt x="15" y="31"/>
                  </a:lnTo>
                  <a:lnTo>
                    <a:pt x="18" y="30"/>
                  </a:lnTo>
                  <a:lnTo>
                    <a:pt x="21" y="29"/>
                  </a:lnTo>
                  <a:lnTo>
                    <a:pt x="23" y="28"/>
                  </a:lnTo>
                  <a:lnTo>
                    <a:pt x="25" y="26"/>
                  </a:lnTo>
                  <a:lnTo>
                    <a:pt x="27" y="24"/>
                  </a:lnTo>
                  <a:lnTo>
                    <a:pt x="28" y="22"/>
                  </a:lnTo>
                  <a:lnTo>
                    <a:pt x="30" y="19"/>
                  </a:lnTo>
                  <a:lnTo>
                    <a:pt x="30" y="16"/>
                  </a:lnTo>
                  <a:lnTo>
                    <a:pt x="30" y="13"/>
                  </a:lnTo>
                  <a:lnTo>
                    <a:pt x="28" y="10"/>
                  </a:lnTo>
                  <a:lnTo>
                    <a:pt x="27" y="8"/>
                  </a:lnTo>
                  <a:lnTo>
                    <a:pt x="25" y="6"/>
                  </a:lnTo>
                  <a:lnTo>
                    <a:pt x="23" y="4"/>
                  </a:lnTo>
                  <a:lnTo>
                    <a:pt x="21" y="3"/>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88">
              <a:extLst>
                <a:ext uri="{FF2B5EF4-FFF2-40B4-BE49-F238E27FC236}">
                  <a16:creationId xmlns:a16="http://schemas.microsoft.com/office/drawing/2014/main" id="{C78A89EB-CCDD-4E0E-85B6-49CA81BE160B}"/>
                </a:ext>
              </a:extLst>
            </p:cNvPr>
            <p:cNvSpPr>
              <a:spLocks/>
            </p:cNvSpPr>
            <p:nvPr/>
          </p:nvSpPr>
          <p:spPr bwMode="auto">
            <a:xfrm>
              <a:off x="5084763" y="989013"/>
              <a:ext cx="9525" cy="9525"/>
            </a:xfrm>
            <a:custGeom>
              <a:avLst/>
              <a:gdLst>
                <a:gd name="T0" fmla="*/ 15 w 30"/>
                <a:gd name="T1" fmla="*/ 0 h 30"/>
                <a:gd name="T2" fmla="*/ 11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6 h 30"/>
                <a:gd name="T28" fmla="*/ 9 w 30"/>
                <a:gd name="T29" fmla="*/ 28 h 30"/>
                <a:gd name="T30" fmla="*/ 11 w 30"/>
                <a:gd name="T31" fmla="*/ 28 h 30"/>
                <a:gd name="T32" fmla="*/ 15 w 30"/>
                <a:gd name="T33" fmla="*/ 30 h 30"/>
                <a:gd name="T34" fmla="*/ 18 w 30"/>
                <a:gd name="T35" fmla="*/ 28 h 30"/>
                <a:gd name="T36" fmla="*/ 21 w 30"/>
                <a:gd name="T37" fmla="*/ 28 h 30"/>
                <a:gd name="T38" fmla="*/ 23 w 30"/>
                <a:gd name="T39" fmla="*/ 26 h 30"/>
                <a:gd name="T40" fmla="*/ 25 w 30"/>
                <a:gd name="T41" fmla="*/ 25 h 30"/>
                <a:gd name="T42" fmla="*/ 27 w 30"/>
                <a:gd name="T43" fmla="*/ 23 h 30"/>
                <a:gd name="T44" fmla="*/ 28 w 30"/>
                <a:gd name="T45" fmla="*/ 20 h 30"/>
                <a:gd name="T46" fmla="*/ 30 w 30"/>
                <a:gd name="T47" fmla="*/ 18 h 30"/>
                <a:gd name="T48" fmla="*/ 30 w 30"/>
                <a:gd name="T49" fmla="*/ 15 h 30"/>
                <a:gd name="T50" fmla="*/ 30 w 30"/>
                <a:gd name="T51" fmla="*/ 11 h 30"/>
                <a:gd name="T52" fmla="*/ 28 w 30"/>
                <a:gd name="T53" fmla="*/ 8 h 30"/>
                <a:gd name="T54" fmla="*/ 27 w 30"/>
                <a:gd name="T55" fmla="*/ 6 h 30"/>
                <a:gd name="T56" fmla="*/ 25 w 30"/>
                <a:gd name="T57" fmla="*/ 4 h 30"/>
                <a:gd name="T58" fmla="*/ 23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2"/>
                  </a:lnTo>
                  <a:lnTo>
                    <a:pt x="4" y="4"/>
                  </a:lnTo>
                  <a:lnTo>
                    <a:pt x="2" y="6"/>
                  </a:lnTo>
                  <a:lnTo>
                    <a:pt x="1" y="8"/>
                  </a:lnTo>
                  <a:lnTo>
                    <a:pt x="0" y="11"/>
                  </a:lnTo>
                  <a:lnTo>
                    <a:pt x="0" y="15"/>
                  </a:lnTo>
                  <a:lnTo>
                    <a:pt x="0" y="18"/>
                  </a:lnTo>
                  <a:lnTo>
                    <a:pt x="1" y="20"/>
                  </a:lnTo>
                  <a:lnTo>
                    <a:pt x="2" y="23"/>
                  </a:lnTo>
                  <a:lnTo>
                    <a:pt x="4" y="25"/>
                  </a:lnTo>
                  <a:lnTo>
                    <a:pt x="6" y="26"/>
                  </a:lnTo>
                  <a:lnTo>
                    <a:pt x="9" y="28"/>
                  </a:lnTo>
                  <a:lnTo>
                    <a:pt x="11" y="28"/>
                  </a:lnTo>
                  <a:lnTo>
                    <a:pt x="15" y="30"/>
                  </a:lnTo>
                  <a:lnTo>
                    <a:pt x="18" y="28"/>
                  </a:lnTo>
                  <a:lnTo>
                    <a:pt x="21" y="28"/>
                  </a:lnTo>
                  <a:lnTo>
                    <a:pt x="23" y="26"/>
                  </a:lnTo>
                  <a:lnTo>
                    <a:pt x="25" y="25"/>
                  </a:lnTo>
                  <a:lnTo>
                    <a:pt x="27" y="23"/>
                  </a:lnTo>
                  <a:lnTo>
                    <a:pt x="28" y="20"/>
                  </a:lnTo>
                  <a:lnTo>
                    <a:pt x="30" y="18"/>
                  </a:lnTo>
                  <a:lnTo>
                    <a:pt x="30" y="15"/>
                  </a:lnTo>
                  <a:lnTo>
                    <a:pt x="30" y="11"/>
                  </a:lnTo>
                  <a:lnTo>
                    <a:pt x="28" y="8"/>
                  </a:lnTo>
                  <a:lnTo>
                    <a:pt x="27" y="6"/>
                  </a:lnTo>
                  <a:lnTo>
                    <a:pt x="25" y="4"/>
                  </a:lnTo>
                  <a:lnTo>
                    <a:pt x="23"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89">
              <a:extLst>
                <a:ext uri="{FF2B5EF4-FFF2-40B4-BE49-F238E27FC236}">
                  <a16:creationId xmlns:a16="http://schemas.microsoft.com/office/drawing/2014/main" id="{BF3E5CBE-18B5-429A-8975-D96176C8922C}"/>
                </a:ext>
              </a:extLst>
            </p:cNvPr>
            <p:cNvSpPr>
              <a:spLocks/>
            </p:cNvSpPr>
            <p:nvPr/>
          </p:nvSpPr>
          <p:spPr bwMode="auto">
            <a:xfrm>
              <a:off x="5084763" y="1017588"/>
              <a:ext cx="9525" cy="9525"/>
            </a:xfrm>
            <a:custGeom>
              <a:avLst/>
              <a:gdLst>
                <a:gd name="T0" fmla="*/ 15 w 30"/>
                <a:gd name="T1" fmla="*/ 0 h 30"/>
                <a:gd name="T2" fmla="*/ 11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5 h 30"/>
                <a:gd name="T42" fmla="*/ 27 w 30"/>
                <a:gd name="T43" fmla="*/ 23 h 30"/>
                <a:gd name="T44" fmla="*/ 28 w 30"/>
                <a:gd name="T45" fmla="*/ 20 h 30"/>
                <a:gd name="T46" fmla="*/ 30 w 30"/>
                <a:gd name="T47" fmla="*/ 18 h 30"/>
                <a:gd name="T48" fmla="*/ 30 w 30"/>
                <a:gd name="T49" fmla="*/ 15 h 30"/>
                <a:gd name="T50" fmla="*/ 30 w 30"/>
                <a:gd name="T51" fmla="*/ 11 h 30"/>
                <a:gd name="T52" fmla="*/ 28 w 30"/>
                <a:gd name="T53" fmla="*/ 8 h 30"/>
                <a:gd name="T54" fmla="*/ 27 w 30"/>
                <a:gd name="T55" fmla="*/ 6 h 30"/>
                <a:gd name="T56" fmla="*/ 25 w 30"/>
                <a:gd name="T57" fmla="*/ 4 h 30"/>
                <a:gd name="T58" fmla="*/ 23 w 30"/>
                <a:gd name="T59" fmla="*/ 2 h 30"/>
                <a:gd name="T60" fmla="*/ 21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1" y="0"/>
                  </a:lnTo>
                  <a:lnTo>
                    <a:pt x="9" y="1"/>
                  </a:lnTo>
                  <a:lnTo>
                    <a:pt x="6" y="2"/>
                  </a:lnTo>
                  <a:lnTo>
                    <a:pt x="4" y="4"/>
                  </a:lnTo>
                  <a:lnTo>
                    <a:pt x="2" y="6"/>
                  </a:lnTo>
                  <a:lnTo>
                    <a:pt x="1" y="8"/>
                  </a:lnTo>
                  <a:lnTo>
                    <a:pt x="0" y="11"/>
                  </a:lnTo>
                  <a:lnTo>
                    <a:pt x="0" y="15"/>
                  </a:lnTo>
                  <a:lnTo>
                    <a:pt x="0" y="18"/>
                  </a:lnTo>
                  <a:lnTo>
                    <a:pt x="1" y="20"/>
                  </a:lnTo>
                  <a:lnTo>
                    <a:pt x="2" y="23"/>
                  </a:lnTo>
                  <a:lnTo>
                    <a:pt x="4" y="25"/>
                  </a:lnTo>
                  <a:lnTo>
                    <a:pt x="6" y="28"/>
                  </a:lnTo>
                  <a:lnTo>
                    <a:pt x="9" y="29"/>
                  </a:lnTo>
                  <a:lnTo>
                    <a:pt x="11" y="30"/>
                  </a:lnTo>
                  <a:lnTo>
                    <a:pt x="15" y="30"/>
                  </a:lnTo>
                  <a:lnTo>
                    <a:pt x="18" y="30"/>
                  </a:lnTo>
                  <a:lnTo>
                    <a:pt x="21" y="29"/>
                  </a:lnTo>
                  <a:lnTo>
                    <a:pt x="23" y="28"/>
                  </a:lnTo>
                  <a:lnTo>
                    <a:pt x="25" y="25"/>
                  </a:lnTo>
                  <a:lnTo>
                    <a:pt x="27" y="23"/>
                  </a:lnTo>
                  <a:lnTo>
                    <a:pt x="28" y="20"/>
                  </a:lnTo>
                  <a:lnTo>
                    <a:pt x="30" y="18"/>
                  </a:lnTo>
                  <a:lnTo>
                    <a:pt x="30" y="15"/>
                  </a:lnTo>
                  <a:lnTo>
                    <a:pt x="30" y="11"/>
                  </a:lnTo>
                  <a:lnTo>
                    <a:pt x="28" y="8"/>
                  </a:lnTo>
                  <a:lnTo>
                    <a:pt x="27" y="6"/>
                  </a:lnTo>
                  <a:lnTo>
                    <a:pt x="25" y="4"/>
                  </a:lnTo>
                  <a:lnTo>
                    <a:pt x="23" y="2"/>
                  </a:lnTo>
                  <a:lnTo>
                    <a:pt x="21"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90">
              <a:extLst>
                <a:ext uri="{FF2B5EF4-FFF2-40B4-BE49-F238E27FC236}">
                  <a16:creationId xmlns:a16="http://schemas.microsoft.com/office/drawing/2014/main" id="{1CABA4E2-ADA1-471C-825F-2142A9F8BCB9}"/>
                </a:ext>
              </a:extLst>
            </p:cNvPr>
            <p:cNvSpPr>
              <a:spLocks/>
            </p:cNvSpPr>
            <p:nvPr/>
          </p:nvSpPr>
          <p:spPr bwMode="auto">
            <a:xfrm>
              <a:off x="5035550" y="873125"/>
              <a:ext cx="68263" cy="19050"/>
            </a:xfrm>
            <a:custGeom>
              <a:avLst/>
              <a:gdLst>
                <a:gd name="T0" fmla="*/ 204 w 215"/>
                <a:gd name="T1" fmla="*/ 58 h 58"/>
                <a:gd name="T2" fmla="*/ 210 w 215"/>
                <a:gd name="T3" fmla="*/ 55 h 58"/>
                <a:gd name="T4" fmla="*/ 214 w 215"/>
                <a:gd name="T5" fmla="*/ 49 h 58"/>
                <a:gd name="T6" fmla="*/ 215 w 215"/>
                <a:gd name="T7" fmla="*/ 43 h 58"/>
                <a:gd name="T8" fmla="*/ 214 w 215"/>
                <a:gd name="T9" fmla="*/ 38 h 58"/>
                <a:gd name="T10" fmla="*/ 210 w 215"/>
                <a:gd name="T11" fmla="*/ 33 h 58"/>
                <a:gd name="T12" fmla="*/ 197 w 215"/>
                <a:gd name="T13" fmla="*/ 24 h 58"/>
                <a:gd name="T14" fmla="*/ 173 w 215"/>
                <a:gd name="T15" fmla="*/ 12 h 58"/>
                <a:gd name="T16" fmla="*/ 147 w 215"/>
                <a:gd name="T17" fmla="*/ 4 h 58"/>
                <a:gd name="T18" fmla="*/ 120 w 215"/>
                <a:gd name="T19" fmla="*/ 1 h 58"/>
                <a:gd name="T20" fmla="*/ 95 w 215"/>
                <a:gd name="T21" fmla="*/ 1 h 58"/>
                <a:gd name="T22" fmla="*/ 68 w 215"/>
                <a:gd name="T23" fmla="*/ 4 h 58"/>
                <a:gd name="T24" fmla="*/ 42 w 215"/>
                <a:gd name="T25" fmla="*/ 12 h 58"/>
                <a:gd name="T26" fmla="*/ 17 w 215"/>
                <a:gd name="T27" fmla="*/ 24 h 58"/>
                <a:gd name="T28" fmla="*/ 5 w 215"/>
                <a:gd name="T29" fmla="*/ 33 h 58"/>
                <a:gd name="T30" fmla="*/ 1 w 215"/>
                <a:gd name="T31" fmla="*/ 38 h 58"/>
                <a:gd name="T32" fmla="*/ 0 w 215"/>
                <a:gd name="T33" fmla="*/ 43 h 58"/>
                <a:gd name="T34" fmla="*/ 1 w 215"/>
                <a:gd name="T35" fmla="*/ 49 h 58"/>
                <a:gd name="T36" fmla="*/ 5 w 215"/>
                <a:gd name="T37" fmla="*/ 54 h 58"/>
                <a:gd name="T38" fmla="*/ 9 w 215"/>
                <a:gd name="T39" fmla="*/ 57 h 58"/>
                <a:gd name="T40" fmla="*/ 15 w 215"/>
                <a:gd name="T41" fmla="*/ 58 h 58"/>
                <a:gd name="T42" fmla="*/ 21 w 215"/>
                <a:gd name="T43" fmla="*/ 57 h 58"/>
                <a:gd name="T44" fmla="*/ 32 w 215"/>
                <a:gd name="T45" fmla="*/ 49 h 58"/>
                <a:gd name="T46" fmla="*/ 53 w 215"/>
                <a:gd name="T47" fmla="*/ 40 h 58"/>
                <a:gd name="T48" fmla="*/ 74 w 215"/>
                <a:gd name="T49" fmla="*/ 33 h 58"/>
                <a:gd name="T50" fmla="*/ 97 w 215"/>
                <a:gd name="T51" fmla="*/ 30 h 58"/>
                <a:gd name="T52" fmla="*/ 118 w 215"/>
                <a:gd name="T53" fmla="*/ 30 h 58"/>
                <a:gd name="T54" fmla="*/ 141 w 215"/>
                <a:gd name="T55" fmla="*/ 33 h 58"/>
                <a:gd name="T56" fmla="*/ 162 w 215"/>
                <a:gd name="T57" fmla="*/ 40 h 58"/>
                <a:gd name="T58" fmla="*/ 183 w 215"/>
                <a:gd name="T59" fmla="*/ 49 h 58"/>
                <a:gd name="T60" fmla="*/ 195 w 215"/>
                <a:gd name="T61" fmla="*/ 58 h 58"/>
                <a:gd name="T62" fmla="*/ 200 w 215"/>
                <a:gd name="T6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58">
                  <a:moveTo>
                    <a:pt x="200" y="58"/>
                  </a:moveTo>
                  <a:lnTo>
                    <a:pt x="204" y="58"/>
                  </a:lnTo>
                  <a:lnTo>
                    <a:pt x="207" y="57"/>
                  </a:lnTo>
                  <a:lnTo>
                    <a:pt x="210" y="55"/>
                  </a:lnTo>
                  <a:lnTo>
                    <a:pt x="213" y="52"/>
                  </a:lnTo>
                  <a:lnTo>
                    <a:pt x="214" y="49"/>
                  </a:lnTo>
                  <a:lnTo>
                    <a:pt x="215" y="46"/>
                  </a:lnTo>
                  <a:lnTo>
                    <a:pt x="215" y="43"/>
                  </a:lnTo>
                  <a:lnTo>
                    <a:pt x="215" y="41"/>
                  </a:lnTo>
                  <a:lnTo>
                    <a:pt x="214" y="38"/>
                  </a:lnTo>
                  <a:lnTo>
                    <a:pt x="213" y="35"/>
                  </a:lnTo>
                  <a:lnTo>
                    <a:pt x="210" y="33"/>
                  </a:lnTo>
                  <a:lnTo>
                    <a:pt x="208" y="31"/>
                  </a:lnTo>
                  <a:lnTo>
                    <a:pt x="197" y="24"/>
                  </a:lnTo>
                  <a:lnTo>
                    <a:pt x="185" y="17"/>
                  </a:lnTo>
                  <a:lnTo>
                    <a:pt x="173" y="12"/>
                  </a:lnTo>
                  <a:lnTo>
                    <a:pt x="160" y="8"/>
                  </a:lnTo>
                  <a:lnTo>
                    <a:pt x="147" y="4"/>
                  </a:lnTo>
                  <a:lnTo>
                    <a:pt x="134" y="2"/>
                  </a:lnTo>
                  <a:lnTo>
                    <a:pt x="120" y="1"/>
                  </a:lnTo>
                  <a:lnTo>
                    <a:pt x="107" y="0"/>
                  </a:lnTo>
                  <a:lnTo>
                    <a:pt x="95" y="1"/>
                  </a:lnTo>
                  <a:lnTo>
                    <a:pt x="81" y="2"/>
                  </a:lnTo>
                  <a:lnTo>
                    <a:pt x="68" y="4"/>
                  </a:lnTo>
                  <a:lnTo>
                    <a:pt x="55" y="8"/>
                  </a:lnTo>
                  <a:lnTo>
                    <a:pt x="42" y="12"/>
                  </a:lnTo>
                  <a:lnTo>
                    <a:pt x="30" y="17"/>
                  </a:lnTo>
                  <a:lnTo>
                    <a:pt x="17" y="24"/>
                  </a:lnTo>
                  <a:lnTo>
                    <a:pt x="7" y="31"/>
                  </a:lnTo>
                  <a:lnTo>
                    <a:pt x="5" y="33"/>
                  </a:lnTo>
                  <a:lnTo>
                    <a:pt x="2" y="35"/>
                  </a:lnTo>
                  <a:lnTo>
                    <a:pt x="1" y="38"/>
                  </a:lnTo>
                  <a:lnTo>
                    <a:pt x="0" y="41"/>
                  </a:lnTo>
                  <a:lnTo>
                    <a:pt x="0" y="43"/>
                  </a:lnTo>
                  <a:lnTo>
                    <a:pt x="0" y="46"/>
                  </a:lnTo>
                  <a:lnTo>
                    <a:pt x="1" y="49"/>
                  </a:lnTo>
                  <a:lnTo>
                    <a:pt x="2" y="52"/>
                  </a:lnTo>
                  <a:lnTo>
                    <a:pt x="5" y="54"/>
                  </a:lnTo>
                  <a:lnTo>
                    <a:pt x="7" y="56"/>
                  </a:lnTo>
                  <a:lnTo>
                    <a:pt x="9" y="57"/>
                  </a:lnTo>
                  <a:lnTo>
                    <a:pt x="12" y="58"/>
                  </a:lnTo>
                  <a:lnTo>
                    <a:pt x="15" y="58"/>
                  </a:lnTo>
                  <a:lnTo>
                    <a:pt x="17" y="58"/>
                  </a:lnTo>
                  <a:lnTo>
                    <a:pt x="21" y="57"/>
                  </a:lnTo>
                  <a:lnTo>
                    <a:pt x="23" y="56"/>
                  </a:lnTo>
                  <a:lnTo>
                    <a:pt x="32" y="49"/>
                  </a:lnTo>
                  <a:lnTo>
                    <a:pt x="43" y="44"/>
                  </a:lnTo>
                  <a:lnTo>
                    <a:pt x="53" y="40"/>
                  </a:lnTo>
                  <a:lnTo>
                    <a:pt x="64" y="37"/>
                  </a:lnTo>
                  <a:lnTo>
                    <a:pt x="74" y="33"/>
                  </a:lnTo>
                  <a:lnTo>
                    <a:pt x="85" y="32"/>
                  </a:lnTo>
                  <a:lnTo>
                    <a:pt x="97" y="30"/>
                  </a:lnTo>
                  <a:lnTo>
                    <a:pt x="107" y="30"/>
                  </a:lnTo>
                  <a:lnTo>
                    <a:pt x="118" y="30"/>
                  </a:lnTo>
                  <a:lnTo>
                    <a:pt x="130" y="32"/>
                  </a:lnTo>
                  <a:lnTo>
                    <a:pt x="141" y="33"/>
                  </a:lnTo>
                  <a:lnTo>
                    <a:pt x="151" y="37"/>
                  </a:lnTo>
                  <a:lnTo>
                    <a:pt x="162" y="40"/>
                  </a:lnTo>
                  <a:lnTo>
                    <a:pt x="172" y="45"/>
                  </a:lnTo>
                  <a:lnTo>
                    <a:pt x="183" y="49"/>
                  </a:lnTo>
                  <a:lnTo>
                    <a:pt x="192" y="56"/>
                  </a:lnTo>
                  <a:lnTo>
                    <a:pt x="195" y="58"/>
                  </a:lnTo>
                  <a:lnTo>
                    <a:pt x="200" y="58"/>
                  </a:lnTo>
                  <a:lnTo>
                    <a:pt x="20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91">
              <a:extLst>
                <a:ext uri="{FF2B5EF4-FFF2-40B4-BE49-F238E27FC236}">
                  <a16:creationId xmlns:a16="http://schemas.microsoft.com/office/drawing/2014/main" id="{96CCBCF4-A020-4A2D-A23D-B47FA4F56AB1}"/>
                </a:ext>
              </a:extLst>
            </p:cNvPr>
            <p:cNvSpPr>
              <a:spLocks/>
            </p:cNvSpPr>
            <p:nvPr/>
          </p:nvSpPr>
          <p:spPr bwMode="auto">
            <a:xfrm>
              <a:off x="5021263" y="844550"/>
              <a:ext cx="96838" cy="23813"/>
            </a:xfrm>
            <a:custGeom>
              <a:avLst/>
              <a:gdLst>
                <a:gd name="T0" fmla="*/ 7 w 307"/>
                <a:gd name="T1" fmla="*/ 46 h 74"/>
                <a:gd name="T2" fmla="*/ 4 w 307"/>
                <a:gd name="T3" fmla="*/ 48 h 74"/>
                <a:gd name="T4" fmla="*/ 2 w 307"/>
                <a:gd name="T5" fmla="*/ 50 h 74"/>
                <a:gd name="T6" fmla="*/ 1 w 307"/>
                <a:gd name="T7" fmla="*/ 53 h 74"/>
                <a:gd name="T8" fmla="*/ 0 w 307"/>
                <a:gd name="T9" fmla="*/ 56 h 74"/>
                <a:gd name="T10" fmla="*/ 0 w 307"/>
                <a:gd name="T11" fmla="*/ 59 h 74"/>
                <a:gd name="T12" fmla="*/ 0 w 307"/>
                <a:gd name="T13" fmla="*/ 62 h 74"/>
                <a:gd name="T14" fmla="*/ 1 w 307"/>
                <a:gd name="T15" fmla="*/ 64 h 74"/>
                <a:gd name="T16" fmla="*/ 3 w 307"/>
                <a:gd name="T17" fmla="*/ 68 h 74"/>
                <a:gd name="T18" fmla="*/ 5 w 307"/>
                <a:gd name="T19" fmla="*/ 70 h 74"/>
                <a:gd name="T20" fmla="*/ 9 w 307"/>
                <a:gd name="T21" fmla="*/ 72 h 74"/>
                <a:gd name="T22" fmla="*/ 12 w 307"/>
                <a:gd name="T23" fmla="*/ 73 h 74"/>
                <a:gd name="T24" fmla="*/ 15 w 307"/>
                <a:gd name="T25" fmla="*/ 74 h 74"/>
                <a:gd name="T26" fmla="*/ 19 w 307"/>
                <a:gd name="T27" fmla="*/ 73 h 74"/>
                <a:gd name="T28" fmla="*/ 24 w 307"/>
                <a:gd name="T29" fmla="*/ 71 h 74"/>
                <a:gd name="T30" fmla="*/ 39 w 307"/>
                <a:gd name="T31" fmla="*/ 61 h 74"/>
                <a:gd name="T32" fmla="*/ 54 w 307"/>
                <a:gd name="T33" fmla="*/ 53 h 74"/>
                <a:gd name="T34" fmla="*/ 70 w 307"/>
                <a:gd name="T35" fmla="*/ 46 h 74"/>
                <a:gd name="T36" fmla="*/ 86 w 307"/>
                <a:gd name="T37" fmla="*/ 40 h 74"/>
                <a:gd name="T38" fmla="*/ 103 w 307"/>
                <a:gd name="T39" fmla="*/ 35 h 74"/>
                <a:gd name="T40" fmla="*/ 119 w 307"/>
                <a:gd name="T41" fmla="*/ 32 h 74"/>
                <a:gd name="T42" fmla="*/ 136 w 307"/>
                <a:gd name="T43" fmla="*/ 31 h 74"/>
                <a:gd name="T44" fmla="*/ 153 w 307"/>
                <a:gd name="T45" fmla="*/ 30 h 74"/>
                <a:gd name="T46" fmla="*/ 171 w 307"/>
                <a:gd name="T47" fmla="*/ 31 h 74"/>
                <a:gd name="T48" fmla="*/ 188 w 307"/>
                <a:gd name="T49" fmla="*/ 32 h 74"/>
                <a:gd name="T50" fmla="*/ 204 w 307"/>
                <a:gd name="T51" fmla="*/ 35 h 74"/>
                <a:gd name="T52" fmla="*/ 221 w 307"/>
                <a:gd name="T53" fmla="*/ 40 h 74"/>
                <a:gd name="T54" fmla="*/ 237 w 307"/>
                <a:gd name="T55" fmla="*/ 46 h 74"/>
                <a:gd name="T56" fmla="*/ 253 w 307"/>
                <a:gd name="T57" fmla="*/ 53 h 74"/>
                <a:gd name="T58" fmla="*/ 268 w 307"/>
                <a:gd name="T59" fmla="*/ 61 h 74"/>
                <a:gd name="T60" fmla="*/ 283 w 307"/>
                <a:gd name="T61" fmla="*/ 71 h 74"/>
                <a:gd name="T62" fmla="*/ 285 w 307"/>
                <a:gd name="T63" fmla="*/ 72 h 74"/>
                <a:gd name="T64" fmla="*/ 289 w 307"/>
                <a:gd name="T65" fmla="*/ 73 h 74"/>
                <a:gd name="T66" fmla="*/ 292 w 307"/>
                <a:gd name="T67" fmla="*/ 74 h 74"/>
                <a:gd name="T68" fmla="*/ 294 w 307"/>
                <a:gd name="T69" fmla="*/ 73 h 74"/>
                <a:gd name="T70" fmla="*/ 297 w 307"/>
                <a:gd name="T71" fmla="*/ 73 h 74"/>
                <a:gd name="T72" fmla="*/ 299 w 307"/>
                <a:gd name="T73" fmla="*/ 71 h 74"/>
                <a:gd name="T74" fmla="*/ 301 w 307"/>
                <a:gd name="T75" fmla="*/ 70 h 74"/>
                <a:gd name="T76" fmla="*/ 304 w 307"/>
                <a:gd name="T77" fmla="*/ 68 h 74"/>
                <a:gd name="T78" fmla="*/ 306 w 307"/>
                <a:gd name="T79" fmla="*/ 64 h 74"/>
                <a:gd name="T80" fmla="*/ 307 w 307"/>
                <a:gd name="T81" fmla="*/ 62 h 74"/>
                <a:gd name="T82" fmla="*/ 307 w 307"/>
                <a:gd name="T83" fmla="*/ 59 h 74"/>
                <a:gd name="T84" fmla="*/ 307 w 307"/>
                <a:gd name="T85" fmla="*/ 56 h 74"/>
                <a:gd name="T86" fmla="*/ 306 w 307"/>
                <a:gd name="T87" fmla="*/ 54 h 74"/>
                <a:gd name="T88" fmla="*/ 305 w 307"/>
                <a:gd name="T89" fmla="*/ 50 h 74"/>
                <a:gd name="T90" fmla="*/ 303 w 307"/>
                <a:gd name="T91" fmla="*/ 48 h 74"/>
                <a:gd name="T92" fmla="*/ 300 w 307"/>
                <a:gd name="T93" fmla="*/ 46 h 74"/>
                <a:gd name="T94" fmla="*/ 283 w 307"/>
                <a:gd name="T95" fmla="*/ 35 h 74"/>
                <a:gd name="T96" fmla="*/ 266 w 307"/>
                <a:gd name="T97" fmla="*/ 26 h 74"/>
                <a:gd name="T98" fmla="*/ 248 w 307"/>
                <a:gd name="T99" fmla="*/ 18 h 74"/>
                <a:gd name="T100" fmla="*/ 230 w 307"/>
                <a:gd name="T101" fmla="*/ 12 h 74"/>
                <a:gd name="T102" fmla="*/ 211 w 307"/>
                <a:gd name="T103" fmla="*/ 6 h 74"/>
                <a:gd name="T104" fmla="*/ 192 w 307"/>
                <a:gd name="T105" fmla="*/ 3 h 74"/>
                <a:gd name="T106" fmla="*/ 173 w 307"/>
                <a:gd name="T107" fmla="*/ 0 h 74"/>
                <a:gd name="T108" fmla="*/ 153 w 307"/>
                <a:gd name="T109" fmla="*/ 0 h 74"/>
                <a:gd name="T110" fmla="*/ 134 w 307"/>
                <a:gd name="T111" fmla="*/ 1 h 74"/>
                <a:gd name="T112" fmla="*/ 115 w 307"/>
                <a:gd name="T113" fmla="*/ 3 h 74"/>
                <a:gd name="T114" fmla="*/ 96 w 307"/>
                <a:gd name="T115" fmla="*/ 6 h 74"/>
                <a:gd name="T116" fmla="*/ 77 w 307"/>
                <a:gd name="T117" fmla="*/ 12 h 74"/>
                <a:gd name="T118" fmla="*/ 59 w 307"/>
                <a:gd name="T119" fmla="*/ 18 h 74"/>
                <a:gd name="T120" fmla="*/ 41 w 307"/>
                <a:gd name="T121" fmla="*/ 26 h 74"/>
                <a:gd name="T122" fmla="*/ 24 w 307"/>
                <a:gd name="T123" fmla="*/ 35 h 74"/>
                <a:gd name="T124" fmla="*/ 7 w 307"/>
                <a:gd name="T125"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74">
                  <a:moveTo>
                    <a:pt x="7" y="46"/>
                  </a:moveTo>
                  <a:lnTo>
                    <a:pt x="4" y="48"/>
                  </a:lnTo>
                  <a:lnTo>
                    <a:pt x="2" y="50"/>
                  </a:lnTo>
                  <a:lnTo>
                    <a:pt x="1" y="53"/>
                  </a:lnTo>
                  <a:lnTo>
                    <a:pt x="0" y="56"/>
                  </a:lnTo>
                  <a:lnTo>
                    <a:pt x="0" y="59"/>
                  </a:lnTo>
                  <a:lnTo>
                    <a:pt x="0" y="62"/>
                  </a:lnTo>
                  <a:lnTo>
                    <a:pt x="1" y="64"/>
                  </a:lnTo>
                  <a:lnTo>
                    <a:pt x="3" y="68"/>
                  </a:lnTo>
                  <a:lnTo>
                    <a:pt x="5" y="70"/>
                  </a:lnTo>
                  <a:lnTo>
                    <a:pt x="9" y="72"/>
                  </a:lnTo>
                  <a:lnTo>
                    <a:pt x="12" y="73"/>
                  </a:lnTo>
                  <a:lnTo>
                    <a:pt x="15" y="74"/>
                  </a:lnTo>
                  <a:lnTo>
                    <a:pt x="19" y="73"/>
                  </a:lnTo>
                  <a:lnTo>
                    <a:pt x="24" y="71"/>
                  </a:lnTo>
                  <a:lnTo>
                    <a:pt x="39" y="61"/>
                  </a:lnTo>
                  <a:lnTo>
                    <a:pt x="54" y="53"/>
                  </a:lnTo>
                  <a:lnTo>
                    <a:pt x="70" y="46"/>
                  </a:lnTo>
                  <a:lnTo>
                    <a:pt x="86" y="40"/>
                  </a:lnTo>
                  <a:lnTo>
                    <a:pt x="103" y="35"/>
                  </a:lnTo>
                  <a:lnTo>
                    <a:pt x="119" y="32"/>
                  </a:lnTo>
                  <a:lnTo>
                    <a:pt x="136" y="31"/>
                  </a:lnTo>
                  <a:lnTo>
                    <a:pt x="153" y="30"/>
                  </a:lnTo>
                  <a:lnTo>
                    <a:pt x="171" y="31"/>
                  </a:lnTo>
                  <a:lnTo>
                    <a:pt x="188" y="32"/>
                  </a:lnTo>
                  <a:lnTo>
                    <a:pt x="204" y="35"/>
                  </a:lnTo>
                  <a:lnTo>
                    <a:pt x="221" y="40"/>
                  </a:lnTo>
                  <a:lnTo>
                    <a:pt x="237" y="46"/>
                  </a:lnTo>
                  <a:lnTo>
                    <a:pt x="253" y="53"/>
                  </a:lnTo>
                  <a:lnTo>
                    <a:pt x="268" y="61"/>
                  </a:lnTo>
                  <a:lnTo>
                    <a:pt x="283" y="71"/>
                  </a:lnTo>
                  <a:lnTo>
                    <a:pt x="285" y="72"/>
                  </a:lnTo>
                  <a:lnTo>
                    <a:pt x="289" y="73"/>
                  </a:lnTo>
                  <a:lnTo>
                    <a:pt x="292" y="74"/>
                  </a:lnTo>
                  <a:lnTo>
                    <a:pt x="294" y="73"/>
                  </a:lnTo>
                  <a:lnTo>
                    <a:pt x="297" y="73"/>
                  </a:lnTo>
                  <a:lnTo>
                    <a:pt x="299" y="71"/>
                  </a:lnTo>
                  <a:lnTo>
                    <a:pt x="301" y="70"/>
                  </a:lnTo>
                  <a:lnTo>
                    <a:pt x="304" y="68"/>
                  </a:lnTo>
                  <a:lnTo>
                    <a:pt x="306" y="64"/>
                  </a:lnTo>
                  <a:lnTo>
                    <a:pt x="307" y="62"/>
                  </a:lnTo>
                  <a:lnTo>
                    <a:pt x="307" y="59"/>
                  </a:lnTo>
                  <a:lnTo>
                    <a:pt x="307" y="56"/>
                  </a:lnTo>
                  <a:lnTo>
                    <a:pt x="306" y="54"/>
                  </a:lnTo>
                  <a:lnTo>
                    <a:pt x="305" y="50"/>
                  </a:lnTo>
                  <a:lnTo>
                    <a:pt x="303" y="48"/>
                  </a:lnTo>
                  <a:lnTo>
                    <a:pt x="300" y="46"/>
                  </a:lnTo>
                  <a:lnTo>
                    <a:pt x="283" y="35"/>
                  </a:lnTo>
                  <a:lnTo>
                    <a:pt x="266" y="26"/>
                  </a:lnTo>
                  <a:lnTo>
                    <a:pt x="248" y="18"/>
                  </a:lnTo>
                  <a:lnTo>
                    <a:pt x="230" y="12"/>
                  </a:lnTo>
                  <a:lnTo>
                    <a:pt x="211" y="6"/>
                  </a:lnTo>
                  <a:lnTo>
                    <a:pt x="192" y="3"/>
                  </a:lnTo>
                  <a:lnTo>
                    <a:pt x="173" y="0"/>
                  </a:lnTo>
                  <a:lnTo>
                    <a:pt x="153" y="0"/>
                  </a:lnTo>
                  <a:lnTo>
                    <a:pt x="134" y="1"/>
                  </a:lnTo>
                  <a:lnTo>
                    <a:pt x="115" y="3"/>
                  </a:lnTo>
                  <a:lnTo>
                    <a:pt x="96" y="6"/>
                  </a:lnTo>
                  <a:lnTo>
                    <a:pt x="77" y="12"/>
                  </a:lnTo>
                  <a:lnTo>
                    <a:pt x="59" y="18"/>
                  </a:lnTo>
                  <a:lnTo>
                    <a:pt x="41" y="26"/>
                  </a:lnTo>
                  <a:lnTo>
                    <a:pt x="24" y="35"/>
                  </a:lnTo>
                  <a:lnTo>
                    <a:pt x="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92">
              <a:extLst>
                <a:ext uri="{FF2B5EF4-FFF2-40B4-BE49-F238E27FC236}">
                  <a16:creationId xmlns:a16="http://schemas.microsoft.com/office/drawing/2014/main" id="{26981A23-82A3-4754-9FEE-89CEC9C36181}"/>
                </a:ext>
              </a:extLst>
            </p:cNvPr>
            <p:cNvSpPr>
              <a:spLocks/>
            </p:cNvSpPr>
            <p:nvPr/>
          </p:nvSpPr>
          <p:spPr bwMode="auto">
            <a:xfrm>
              <a:off x="5049838" y="901700"/>
              <a:ext cx="39688" cy="14288"/>
            </a:xfrm>
            <a:custGeom>
              <a:avLst/>
              <a:gdLst>
                <a:gd name="T0" fmla="*/ 8 w 125"/>
                <a:gd name="T1" fmla="*/ 15 h 44"/>
                <a:gd name="T2" fmla="*/ 6 w 125"/>
                <a:gd name="T3" fmla="*/ 17 h 44"/>
                <a:gd name="T4" fmla="*/ 4 w 125"/>
                <a:gd name="T5" fmla="*/ 19 h 44"/>
                <a:gd name="T6" fmla="*/ 2 w 125"/>
                <a:gd name="T7" fmla="*/ 23 h 44"/>
                <a:gd name="T8" fmla="*/ 1 w 125"/>
                <a:gd name="T9" fmla="*/ 25 h 44"/>
                <a:gd name="T10" fmla="*/ 0 w 125"/>
                <a:gd name="T11" fmla="*/ 28 h 44"/>
                <a:gd name="T12" fmla="*/ 0 w 125"/>
                <a:gd name="T13" fmla="*/ 31 h 44"/>
                <a:gd name="T14" fmla="*/ 1 w 125"/>
                <a:gd name="T15" fmla="*/ 33 h 44"/>
                <a:gd name="T16" fmla="*/ 2 w 125"/>
                <a:gd name="T17" fmla="*/ 37 h 44"/>
                <a:gd name="T18" fmla="*/ 6 w 125"/>
                <a:gd name="T19" fmla="*/ 40 h 44"/>
                <a:gd name="T20" fmla="*/ 9 w 125"/>
                <a:gd name="T21" fmla="*/ 42 h 44"/>
                <a:gd name="T22" fmla="*/ 12 w 125"/>
                <a:gd name="T23" fmla="*/ 43 h 44"/>
                <a:gd name="T24" fmla="*/ 15 w 125"/>
                <a:gd name="T25" fmla="*/ 44 h 44"/>
                <a:gd name="T26" fmla="*/ 20 w 125"/>
                <a:gd name="T27" fmla="*/ 43 h 44"/>
                <a:gd name="T28" fmla="*/ 24 w 125"/>
                <a:gd name="T29" fmla="*/ 42 h 44"/>
                <a:gd name="T30" fmla="*/ 32 w 125"/>
                <a:gd name="T31" fmla="*/ 37 h 44"/>
                <a:gd name="T32" fmla="*/ 42 w 125"/>
                <a:gd name="T33" fmla="*/ 33 h 44"/>
                <a:gd name="T34" fmla="*/ 53 w 125"/>
                <a:gd name="T35" fmla="*/ 31 h 44"/>
                <a:gd name="T36" fmla="*/ 62 w 125"/>
                <a:gd name="T37" fmla="*/ 30 h 44"/>
                <a:gd name="T38" fmla="*/ 72 w 125"/>
                <a:gd name="T39" fmla="*/ 31 h 44"/>
                <a:gd name="T40" fmla="*/ 83 w 125"/>
                <a:gd name="T41" fmla="*/ 33 h 44"/>
                <a:gd name="T42" fmla="*/ 93 w 125"/>
                <a:gd name="T43" fmla="*/ 37 h 44"/>
                <a:gd name="T44" fmla="*/ 101 w 125"/>
                <a:gd name="T45" fmla="*/ 42 h 44"/>
                <a:gd name="T46" fmla="*/ 104 w 125"/>
                <a:gd name="T47" fmla="*/ 43 h 44"/>
                <a:gd name="T48" fmla="*/ 108 w 125"/>
                <a:gd name="T49" fmla="*/ 43 h 44"/>
                <a:gd name="T50" fmla="*/ 110 w 125"/>
                <a:gd name="T51" fmla="*/ 44 h 44"/>
                <a:gd name="T52" fmla="*/ 113 w 125"/>
                <a:gd name="T53" fmla="*/ 43 h 44"/>
                <a:gd name="T54" fmla="*/ 116 w 125"/>
                <a:gd name="T55" fmla="*/ 42 h 44"/>
                <a:gd name="T56" fmla="*/ 118 w 125"/>
                <a:gd name="T57" fmla="*/ 41 h 44"/>
                <a:gd name="T58" fmla="*/ 120 w 125"/>
                <a:gd name="T59" fmla="*/ 39 h 44"/>
                <a:gd name="T60" fmla="*/ 123 w 125"/>
                <a:gd name="T61" fmla="*/ 37 h 44"/>
                <a:gd name="T62" fmla="*/ 124 w 125"/>
                <a:gd name="T63" fmla="*/ 33 h 44"/>
                <a:gd name="T64" fmla="*/ 125 w 125"/>
                <a:gd name="T65" fmla="*/ 31 h 44"/>
                <a:gd name="T66" fmla="*/ 125 w 125"/>
                <a:gd name="T67" fmla="*/ 28 h 44"/>
                <a:gd name="T68" fmla="*/ 124 w 125"/>
                <a:gd name="T69" fmla="*/ 25 h 44"/>
                <a:gd name="T70" fmla="*/ 123 w 125"/>
                <a:gd name="T71" fmla="*/ 23 h 44"/>
                <a:gd name="T72" fmla="*/ 121 w 125"/>
                <a:gd name="T73" fmla="*/ 19 h 44"/>
                <a:gd name="T74" fmla="*/ 119 w 125"/>
                <a:gd name="T75" fmla="*/ 17 h 44"/>
                <a:gd name="T76" fmla="*/ 117 w 125"/>
                <a:gd name="T77" fmla="*/ 16 h 44"/>
                <a:gd name="T78" fmla="*/ 104 w 125"/>
                <a:gd name="T79" fmla="*/ 9 h 44"/>
                <a:gd name="T80" fmla="*/ 90 w 125"/>
                <a:gd name="T81" fmla="*/ 4 h 44"/>
                <a:gd name="T82" fmla="*/ 76 w 125"/>
                <a:gd name="T83" fmla="*/ 1 h 44"/>
                <a:gd name="T84" fmla="*/ 62 w 125"/>
                <a:gd name="T85" fmla="*/ 0 h 44"/>
                <a:gd name="T86" fmla="*/ 49 w 125"/>
                <a:gd name="T87" fmla="*/ 1 h 44"/>
                <a:gd name="T88" fmla="*/ 35 w 125"/>
                <a:gd name="T89" fmla="*/ 4 h 44"/>
                <a:gd name="T90" fmla="*/ 21 w 125"/>
                <a:gd name="T91" fmla="*/ 9 h 44"/>
                <a:gd name="T92" fmla="*/ 8 w 125"/>
                <a:gd name="T93" fmla="*/ 16 h 44"/>
                <a:gd name="T94" fmla="*/ 8 w 125"/>
                <a:gd name="T95"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44">
                  <a:moveTo>
                    <a:pt x="8" y="15"/>
                  </a:moveTo>
                  <a:lnTo>
                    <a:pt x="6" y="17"/>
                  </a:lnTo>
                  <a:lnTo>
                    <a:pt x="4" y="19"/>
                  </a:lnTo>
                  <a:lnTo>
                    <a:pt x="2" y="23"/>
                  </a:lnTo>
                  <a:lnTo>
                    <a:pt x="1" y="25"/>
                  </a:lnTo>
                  <a:lnTo>
                    <a:pt x="0" y="28"/>
                  </a:lnTo>
                  <a:lnTo>
                    <a:pt x="0" y="31"/>
                  </a:lnTo>
                  <a:lnTo>
                    <a:pt x="1" y="33"/>
                  </a:lnTo>
                  <a:lnTo>
                    <a:pt x="2" y="37"/>
                  </a:lnTo>
                  <a:lnTo>
                    <a:pt x="6" y="40"/>
                  </a:lnTo>
                  <a:lnTo>
                    <a:pt x="9" y="42"/>
                  </a:lnTo>
                  <a:lnTo>
                    <a:pt x="12" y="43"/>
                  </a:lnTo>
                  <a:lnTo>
                    <a:pt x="15" y="44"/>
                  </a:lnTo>
                  <a:lnTo>
                    <a:pt x="20" y="43"/>
                  </a:lnTo>
                  <a:lnTo>
                    <a:pt x="24" y="42"/>
                  </a:lnTo>
                  <a:lnTo>
                    <a:pt x="32" y="37"/>
                  </a:lnTo>
                  <a:lnTo>
                    <a:pt x="42" y="33"/>
                  </a:lnTo>
                  <a:lnTo>
                    <a:pt x="53" y="31"/>
                  </a:lnTo>
                  <a:lnTo>
                    <a:pt x="62" y="30"/>
                  </a:lnTo>
                  <a:lnTo>
                    <a:pt x="72" y="31"/>
                  </a:lnTo>
                  <a:lnTo>
                    <a:pt x="83" y="33"/>
                  </a:lnTo>
                  <a:lnTo>
                    <a:pt x="93" y="37"/>
                  </a:lnTo>
                  <a:lnTo>
                    <a:pt x="101" y="42"/>
                  </a:lnTo>
                  <a:lnTo>
                    <a:pt x="104" y="43"/>
                  </a:lnTo>
                  <a:lnTo>
                    <a:pt x="108" y="43"/>
                  </a:lnTo>
                  <a:lnTo>
                    <a:pt x="110" y="44"/>
                  </a:lnTo>
                  <a:lnTo>
                    <a:pt x="113" y="43"/>
                  </a:lnTo>
                  <a:lnTo>
                    <a:pt x="116" y="42"/>
                  </a:lnTo>
                  <a:lnTo>
                    <a:pt x="118" y="41"/>
                  </a:lnTo>
                  <a:lnTo>
                    <a:pt x="120" y="39"/>
                  </a:lnTo>
                  <a:lnTo>
                    <a:pt x="123" y="37"/>
                  </a:lnTo>
                  <a:lnTo>
                    <a:pt x="124" y="33"/>
                  </a:lnTo>
                  <a:lnTo>
                    <a:pt x="125" y="31"/>
                  </a:lnTo>
                  <a:lnTo>
                    <a:pt x="125" y="28"/>
                  </a:lnTo>
                  <a:lnTo>
                    <a:pt x="124" y="25"/>
                  </a:lnTo>
                  <a:lnTo>
                    <a:pt x="123" y="23"/>
                  </a:lnTo>
                  <a:lnTo>
                    <a:pt x="121" y="19"/>
                  </a:lnTo>
                  <a:lnTo>
                    <a:pt x="119" y="17"/>
                  </a:lnTo>
                  <a:lnTo>
                    <a:pt x="117" y="16"/>
                  </a:lnTo>
                  <a:lnTo>
                    <a:pt x="104" y="9"/>
                  </a:lnTo>
                  <a:lnTo>
                    <a:pt x="90" y="4"/>
                  </a:lnTo>
                  <a:lnTo>
                    <a:pt x="76" y="1"/>
                  </a:lnTo>
                  <a:lnTo>
                    <a:pt x="62" y="0"/>
                  </a:lnTo>
                  <a:lnTo>
                    <a:pt x="49" y="1"/>
                  </a:lnTo>
                  <a:lnTo>
                    <a:pt x="35" y="4"/>
                  </a:lnTo>
                  <a:lnTo>
                    <a:pt x="21" y="9"/>
                  </a:lnTo>
                  <a:lnTo>
                    <a:pt x="8" y="16"/>
                  </a:lnTo>
                  <a:lnTo>
                    <a:pt x="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43" name="Group 72">
            <a:extLst>
              <a:ext uri="{FF2B5EF4-FFF2-40B4-BE49-F238E27FC236}">
                <a16:creationId xmlns:a16="http://schemas.microsoft.com/office/drawing/2014/main" id="{D4059A1A-04DF-49CE-931E-F160B5BA8158}"/>
              </a:ext>
            </a:extLst>
          </p:cNvPr>
          <p:cNvGrpSpPr>
            <a:grpSpLocks noChangeAspect="1"/>
          </p:cNvGrpSpPr>
          <p:nvPr/>
        </p:nvGrpSpPr>
        <p:grpSpPr>
          <a:xfrm>
            <a:off x="1893888" y="5956111"/>
            <a:ext cx="285619" cy="285619"/>
            <a:chOff x="304800" y="3654425"/>
            <a:chExt cx="287338" cy="287338"/>
          </a:xfrm>
          <a:solidFill>
            <a:schemeClr val="bg2"/>
          </a:solidFill>
          <a:effectLst/>
        </p:grpSpPr>
        <p:sp>
          <p:nvSpPr>
            <p:cNvPr id="1344" name="Freeform 294">
              <a:extLst>
                <a:ext uri="{FF2B5EF4-FFF2-40B4-BE49-F238E27FC236}">
                  <a16:creationId xmlns:a16="http://schemas.microsoft.com/office/drawing/2014/main" id="{BBFF4C80-FEC8-4C45-890F-EFE004DACEDE}"/>
                </a:ext>
              </a:extLst>
            </p:cNvPr>
            <p:cNvSpPr>
              <a:spLocks noEditPoints="1"/>
            </p:cNvSpPr>
            <p:nvPr/>
          </p:nvSpPr>
          <p:spPr bwMode="auto">
            <a:xfrm>
              <a:off x="304800" y="3654425"/>
              <a:ext cx="287338" cy="287338"/>
            </a:xfrm>
            <a:custGeom>
              <a:avLst/>
              <a:gdLst>
                <a:gd name="T0" fmla="*/ 753 w 903"/>
                <a:gd name="T1" fmla="*/ 873 h 903"/>
                <a:gd name="T2" fmla="*/ 752 w 903"/>
                <a:gd name="T3" fmla="*/ 765 h 903"/>
                <a:gd name="T4" fmla="*/ 750 w 903"/>
                <a:gd name="T5" fmla="*/ 759 h 903"/>
                <a:gd name="T6" fmla="*/ 746 w 903"/>
                <a:gd name="T7" fmla="*/ 755 h 903"/>
                <a:gd name="T8" fmla="*/ 741 w 903"/>
                <a:gd name="T9" fmla="*/ 753 h 903"/>
                <a:gd name="T10" fmla="*/ 165 w 903"/>
                <a:gd name="T11" fmla="*/ 753 h 903"/>
                <a:gd name="T12" fmla="*/ 160 w 903"/>
                <a:gd name="T13" fmla="*/ 754 h 903"/>
                <a:gd name="T14" fmla="*/ 154 w 903"/>
                <a:gd name="T15" fmla="*/ 757 h 903"/>
                <a:gd name="T16" fmla="*/ 151 w 903"/>
                <a:gd name="T17" fmla="*/ 761 h 903"/>
                <a:gd name="T18" fmla="*/ 150 w 903"/>
                <a:gd name="T19" fmla="*/ 768 h 903"/>
                <a:gd name="T20" fmla="*/ 30 w 903"/>
                <a:gd name="T21" fmla="*/ 873 h 903"/>
                <a:gd name="T22" fmla="*/ 142 w 903"/>
                <a:gd name="T23" fmla="*/ 30 h 903"/>
                <a:gd name="T24" fmla="*/ 150 w 903"/>
                <a:gd name="T25" fmla="*/ 195 h 903"/>
                <a:gd name="T26" fmla="*/ 151 w 903"/>
                <a:gd name="T27" fmla="*/ 202 h 903"/>
                <a:gd name="T28" fmla="*/ 154 w 903"/>
                <a:gd name="T29" fmla="*/ 206 h 903"/>
                <a:gd name="T30" fmla="*/ 160 w 903"/>
                <a:gd name="T31" fmla="*/ 209 h 903"/>
                <a:gd name="T32" fmla="*/ 165 w 903"/>
                <a:gd name="T33" fmla="*/ 210 h 903"/>
                <a:gd name="T34" fmla="*/ 741 w 903"/>
                <a:gd name="T35" fmla="*/ 210 h 903"/>
                <a:gd name="T36" fmla="*/ 746 w 903"/>
                <a:gd name="T37" fmla="*/ 208 h 903"/>
                <a:gd name="T38" fmla="*/ 750 w 903"/>
                <a:gd name="T39" fmla="*/ 204 h 903"/>
                <a:gd name="T40" fmla="*/ 752 w 903"/>
                <a:gd name="T41" fmla="*/ 198 h 903"/>
                <a:gd name="T42" fmla="*/ 753 w 903"/>
                <a:gd name="T43" fmla="*/ 30 h 903"/>
                <a:gd name="T44" fmla="*/ 873 w 903"/>
                <a:gd name="T45" fmla="*/ 873 h 903"/>
                <a:gd name="T46" fmla="*/ 180 w 903"/>
                <a:gd name="T47" fmla="*/ 783 h 903"/>
                <a:gd name="T48" fmla="*/ 723 w 903"/>
                <a:gd name="T49" fmla="*/ 873 h 903"/>
                <a:gd name="T50" fmla="*/ 723 w 903"/>
                <a:gd name="T51" fmla="*/ 30 h 903"/>
                <a:gd name="T52" fmla="*/ 180 w 903"/>
                <a:gd name="T53" fmla="*/ 180 h 903"/>
                <a:gd name="T54" fmla="*/ 723 w 903"/>
                <a:gd name="T55" fmla="*/ 30 h 903"/>
                <a:gd name="T56" fmla="*/ 738 w 903"/>
                <a:gd name="T57" fmla="*/ 0 h 903"/>
                <a:gd name="T58" fmla="*/ 135 w 903"/>
                <a:gd name="T59" fmla="*/ 0 h 903"/>
                <a:gd name="T60" fmla="*/ 130 w 903"/>
                <a:gd name="T61" fmla="*/ 1 h 903"/>
                <a:gd name="T62" fmla="*/ 124 w 903"/>
                <a:gd name="T63" fmla="*/ 4 h 903"/>
                <a:gd name="T64" fmla="*/ 2 w 903"/>
                <a:gd name="T65" fmla="*/ 126 h 903"/>
                <a:gd name="T66" fmla="*/ 0 w 903"/>
                <a:gd name="T67" fmla="*/ 132 h 903"/>
                <a:gd name="T68" fmla="*/ 0 w 903"/>
                <a:gd name="T69" fmla="*/ 888 h 903"/>
                <a:gd name="T70" fmla="*/ 1 w 903"/>
                <a:gd name="T71" fmla="*/ 893 h 903"/>
                <a:gd name="T72" fmla="*/ 4 w 903"/>
                <a:gd name="T73" fmla="*/ 899 h 903"/>
                <a:gd name="T74" fmla="*/ 10 w 903"/>
                <a:gd name="T75" fmla="*/ 902 h 903"/>
                <a:gd name="T76" fmla="*/ 15 w 903"/>
                <a:gd name="T77" fmla="*/ 903 h 903"/>
                <a:gd name="T78" fmla="*/ 738 w 903"/>
                <a:gd name="T79" fmla="*/ 903 h 903"/>
                <a:gd name="T80" fmla="*/ 891 w 903"/>
                <a:gd name="T81" fmla="*/ 903 h 903"/>
                <a:gd name="T82" fmla="*/ 897 w 903"/>
                <a:gd name="T83" fmla="*/ 901 h 903"/>
                <a:gd name="T84" fmla="*/ 901 w 903"/>
                <a:gd name="T85" fmla="*/ 897 h 903"/>
                <a:gd name="T86" fmla="*/ 903 w 903"/>
                <a:gd name="T87" fmla="*/ 891 h 903"/>
                <a:gd name="T88" fmla="*/ 903 w 903"/>
                <a:gd name="T89" fmla="*/ 15 h 903"/>
                <a:gd name="T90" fmla="*/ 902 w 903"/>
                <a:gd name="T91" fmla="*/ 8 h 903"/>
                <a:gd name="T92" fmla="*/ 899 w 903"/>
                <a:gd name="T93" fmla="*/ 4 h 903"/>
                <a:gd name="T94" fmla="*/ 894 w 903"/>
                <a:gd name="T95" fmla="*/ 1 h 903"/>
                <a:gd name="T96" fmla="*/ 888 w 903"/>
                <a:gd name="T97"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3" h="903">
                  <a:moveTo>
                    <a:pt x="873" y="873"/>
                  </a:moveTo>
                  <a:lnTo>
                    <a:pt x="753" y="873"/>
                  </a:lnTo>
                  <a:lnTo>
                    <a:pt x="753" y="768"/>
                  </a:lnTo>
                  <a:lnTo>
                    <a:pt x="752" y="765"/>
                  </a:lnTo>
                  <a:lnTo>
                    <a:pt x="752" y="761"/>
                  </a:lnTo>
                  <a:lnTo>
                    <a:pt x="750" y="759"/>
                  </a:lnTo>
                  <a:lnTo>
                    <a:pt x="749" y="757"/>
                  </a:lnTo>
                  <a:lnTo>
                    <a:pt x="746" y="755"/>
                  </a:lnTo>
                  <a:lnTo>
                    <a:pt x="743" y="754"/>
                  </a:lnTo>
                  <a:lnTo>
                    <a:pt x="741" y="753"/>
                  </a:lnTo>
                  <a:lnTo>
                    <a:pt x="738" y="753"/>
                  </a:lnTo>
                  <a:lnTo>
                    <a:pt x="165" y="753"/>
                  </a:lnTo>
                  <a:lnTo>
                    <a:pt x="163" y="753"/>
                  </a:lnTo>
                  <a:lnTo>
                    <a:pt x="160" y="754"/>
                  </a:lnTo>
                  <a:lnTo>
                    <a:pt x="158" y="755"/>
                  </a:lnTo>
                  <a:lnTo>
                    <a:pt x="154" y="757"/>
                  </a:lnTo>
                  <a:lnTo>
                    <a:pt x="153" y="759"/>
                  </a:lnTo>
                  <a:lnTo>
                    <a:pt x="151" y="761"/>
                  </a:lnTo>
                  <a:lnTo>
                    <a:pt x="151" y="765"/>
                  </a:lnTo>
                  <a:lnTo>
                    <a:pt x="150" y="768"/>
                  </a:lnTo>
                  <a:lnTo>
                    <a:pt x="150" y="873"/>
                  </a:lnTo>
                  <a:lnTo>
                    <a:pt x="30" y="873"/>
                  </a:lnTo>
                  <a:lnTo>
                    <a:pt x="30" y="141"/>
                  </a:lnTo>
                  <a:lnTo>
                    <a:pt x="142" y="30"/>
                  </a:lnTo>
                  <a:lnTo>
                    <a:pt x="150" y="30"/>
                  </a:lnTo>
                  <a:lnTo>
                    <a:pt x="150" y="195"/>
                  </a:lnTo>
                  <a:lnTo>
                    <a:pt x="151" y="198"/>
                  </a:lnTo>
                  <a:lnTo>
                    <a:pt x="151" y="202"/>
                  </a:lnTo>
                  <a:lnTo>
                    <a:pt x="153" y="204"/>
                  </a:lnTo>
                  <a:lnTo>
                    <a:pt x="154" y="206"/>
                  </a:lnTo>
                  <a:lnTo>
                    <a:pt x="158" y="208"/>
                  </a:lnTo>
                  <a:lnTo>
                    <a:pt x="160" y="209"/>
                  </a:lnTo>
                  <a:lnTo>
                    <a:pt x="163" y="210"/>
                  </a:lnTo>
                  <a:lnTo>
                    <a:pt x="165" y="210"/>
                  </a:lnTo>
                  <a:lnTo>
                    <a:pt x="738" y="210"/>
                  </a:lnTo>
                  <a:lnTo>
                    <a:pt x="741" y="210"/>
                  </a:lnTo>
                  <a:lnTo>
                    <a:pt x="743" y="209"/>
                  </a:lnTo>
                  <a:lnTo>
                    <a:pt x="746" y="208"/>
                  </a:lnTo>
                  <a:lnTo>
                    <a:pt x="749" y="206"/>
                  </a:lnTo>
                  <a:lnTo>
                    <a:pt x="750" y="204"/>
                  </a:lnTo>
                  <a:lnTo>
                    <a:pt x="752" y="202"/>
                  </a:lnTo>
                  <a:lnTo>
                    <a:pt x="752" y="198"/>
                  </a:lnTo>
                  <a:lnTo>
                    <a:pt x="753" y="195"/>
                  </a:lnTo>
                  <a:lnTo>
                    <a:pt x="753" y="30"/>
                  </a:lnTo>
                  <a:lnTo>
                    <a:pt x="873" y="30"/>
                  </a:lnTo>
                  <a:lnTo>
                    <a:pt x="873" y="873"/>
                  </a:lnTo>
                  <a:close/>
                  <a:moveTo>
                    <a:pt x="180" y="873"/>
                  </a:moveTo>
                  <a:lnTo>
                    <a:pt x="180" y="783"/>
                  </a:lnTo>
                  <a:lnTo>
                    <a:pt x="723" y="783"/>
                  </a:lnTo>
                  <a:lnTo>
                    <a:pt x="723" y="873"/>
                  </a:lnTo>
                  <a:lnTo>
                    <a:pt x="180" y="873"/>
                  </a:lnTo>
                  <a:close/>
                  <a:moveTo>
                    <a:pt x="723" y="30"/>
                  </a:moveTo>
                  <a:lnTo>
                    <a:pt x="723" y="180"/>
                  </a:lnTo>
                  <a:lnTo>
                    <a:pt x="180" y="180"/>
                  </a:lnTo>
                  <a:lnTo>
                    <a:pt x="180" y="30"/>
                  </a:lnTo>
                  <a:lnTo>
                    <a:pt x="723" y="30"/>
                  </a:lnTo>
                  <a:close/>
                  <a:moveTo>
                    <a:pt x="888" y="0"/>
                  </a:moveTo>
                  <a:lnTo>
                    <a:pt x="738" y="0"/>
                  </a:lnTo>
                  <a:lnTo>
                    <a:pt x="165" y="0"/>
                  </a:lnTo>
                  <a:lnTo>
                    <a:pt x="135" y="0"/>
                  </a:lnTo>
                  <a:lnTo>
                    <a:pt x="133" y="0"/>
                  </a:lnTo>
                  <a:lnTo>
                    <a:pt x="130" y="1"/>
                  </a:lnTo>
                  <a:lnTo>
                    <a:pt x="127" y="2"/>
                  </a:lnTo>
                  <a:lnTo>
                    <a:pt x="124" y="4"/>
                  </a:lnTo>
                  <a:lnTo>
                    <a:pt x="4" y="124"/>
                  </a:lnTo>
                  <a:lnTo>
                    <a:pt x="2" y="126"/>
                  </a:lnTo>
                  <a:lnTo>
                    <a:pt x="1" y="130"/>
                  </a:lnTo>
                  <a:lnTo>
                    <a:pt x="0" y="132"/>
                  </a:lnTo>
                  <a:lnTo>
                    <a:pt x="0" y="135"/>
                  </a:lnTo>
                  <a:lnTo>
                    <a:pt x="0" y="888"/>
                  </a:lnTo>
                  <a:lnTo>
                    <a:pt x="0" y="891"/>
                  </a:lnTo>
                  <a:lnTo>
                    <a:pt x="1" y="893"/>
                  </a:lnTo>
                  <a:lnTo>
                    <a:pt x="2" y="897"/>
                  </a:lnTo>
                  <a:lnTo>
                    <a:pt x="4" y="899"/>
                  </a:lnTo>
                  <a:lnTo>
                    <a:pt x="6" y="901"/>
                  </a:lnTo>
                  <a:lnTo>
                    <a:pt x="10" y="902"/>
                  </a:lnTo>
                  <a:lnTo>
                    <a:pt x="12" y="903"/>
                  </a:lnTo>
                  <a:lnTo>
                    <a:pt x="15" y="903"/>
                  </a:lnTo>
                  <a:lnTo>
                    <a:pt x="165" y="903"/>
                  </a:lnTo>
                  <a:lnTo>
                    <a:pt x="738" y="903"/>
                  </a:lnTo>
                  <a:lnTo>
                    <a:pt x="888" y="903"/>
                  </a:lnTo>
                  <a:lnTo>
                    <a:pt x="891" y="903"/>
                  </a:lnTo>
                  <a:lnTo>
                    <a:pt x="894" y="902"/>
                  </a:lnTo>
                  <a:lnTo>
                    <a:pt x="897" y="901"/>
                  </a:lnTo>
                  <a:lnTo>
                    <a:pt x="899" y="899"/>
                  </a:lnTo>
                  <a:lnTo>
                    <a:pt x="901" y="897"/>
                  </a:lnTo>
                  <a:lnTo>
                    <a:pt x="902" y="893"/>
                  </a:lnTo>
                  <a:lnTo>
                    <a:pt x="903" y="891"/>
                  </a:lnTo>
                  <a:lnTo>
                    <a:pt x="903" y="888"/>
                  </a:lnTo>
                  <a:lnTo>
                    <a:pt x="903" y="15"/>
                  </a:lnTo>
                  <a:lnTo>
                    <a:pt x="903" y="12"/>
                  </a:lnTo>
                  <a:lnTo>
                    <a:pt x="902" y="8"/>
                  </a:lnTo>
                  <a:lnTo>
                    <a:pt x="901" y="6"/>
                  </a:lnTo>
                  <a:lnTo>
                    <a:pt x="899" y="4"/>
                  </a:lnTo>
                  <a:lnTo>
                    <a:pt x="897" y="2"/>
                  </a:lnTo>
                  <a:lnTo>
                    <a:pt x="894" y="1"/>
                  </a:lnTo>
                  <a:lnTo>
                    <a:pt x="891"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295">
              <a:extLst>
                <a:ext uri="{FF2B5EF4-FFF2-40B4-BE49-F238E27FC236}">
                  <a16:creationId xmlns:a16="http://schemas.microsoft.com/office/drawing/2014/main" id="{88A4637B-9A6C-44A1-949F-B16DB549C35F}"/>
                </a:ext>
              </a:extLst>
            </p:cNvPr>
            <p:cNvSpPr>
              <a:spLocks/>
            </p:cNvSpPr>
            <p:nvPr/>
          </p:nvSpPr>
          <p:spPr bwMode="auto">
            <a:xfrm>
              <a:off x="476250" y="3875088"/>
              <a:ext cx="68263" cy="9525"/>
            </a:xfrm>
            <a:custGeom>
              <a:avLst/>
              <a:gdLst>
                <a:gd name="T0" fmla="*/ 196 w 211"/>
                <a:gd name="T1" fmla="*/ 0 h 31"/>
                <a:gd name="T2" fmla="*/ 15 w 211"/>
                <a:gd name="T3" fmla="*/ 0 h 31"/>
                <a:gd name="T4" fmla="*/ 11 w 211"/>
                <a:gd name="T5" fmla="*/ 1 h 31"/>
                <a:gd name="T6" fmla="*/ 9 w 211"/>
                <a:gd name="T7" fmla="*/ 2 h 31"/>
                <a:gd name="T8" fmla="*/ 6 w 211"/>
                <a:gd name="T9" fmla="*/ 3 h 31"/>
                <a:gd name="T10" fmla="*/ 4 w 211"/>
                <a:gd name="T11" fmla="*/ 5 h 31"/>
                <a:gd name="T12" fmla="*/ 3 w 211"/>
                <a:gd name="T13" fmla="*/ 7 h 31"/>
                <a:gd name="T14" fmla="*/ 1 w 211"/>
                <a:gd name="T15" fmla="*/ 9 h 31"/>
                <a:gd name="T16" fmla="*/ 1 w 211"/>
                <a:gd name="T17" fmla="*/ 13 h 31"/>
                <a:gd name="T18" fmla="*/ 0 w 211"/>
                <a:gd name="T19" fmla="*/ 16 h 31"/>
                <a:gd name="T20" fmla="*/ 1 w 211"/>
                <a:gd name="T21" fmla="*/ 18 h 31"/>
                <a:gd name="T22" fmla="*/ 1 w 211"/>
                <a:gd name="T23" fmla="*/ 21 h 31"/>
                <a:gd name="T24" fmla="*/ 3 w 211"/>
                <a:gd name="T25" fmla="*/ 23 h 31"/>
                <a:gd name="T26" fmla="*/ 4 w 211"/>
                <a:gd name="T27" fmla="*/ 25 h 31"/>
                <a:gd name="T28" fmla="*/ 6 w 211"/>
                <a:gd name="T29" fmla="*/ 28 h 31"/>
                <a:gd name="T30" fmla="*/ 9 w 211"/>
                <a:gd name="T31" fmla="*/ 29 h 31"/>
                <a:gd name="T32" fmla="*/ 11 w 211"/>
                <a:gd name="T33" fmla="*/ 30 h 31"/>
                <a:gd name="T34" fmla="*/ 15 w 211"/>
                <a:gd name="T35" fmla="*/ 31 h 31"/>
                <a:gd name="T36" fmla="*/ 196 w 211"/>
                <a:gd name="T37" fmla="*/ 31 h 31"/>
                <a:gd name="T38" fmla="*/ 199 w 211"/>
                <a:gd name="T39" fmla="*/ 30 h 31"/>
                <a:gd name="T40" fmla="*/ 201 w 211"/>
                <a:gd name="T41" fmla="*/ 29 h 31"/>
                <a:gd name="T42" fmla="*/ 204 w 211"/>
                <a:gd name="T43" fmla="*/ 28 h 31"/>
                <a:gd name="T44" fmla="*/ 207 w 211"/>
                <a:gd name="T45" fmla="*/ 25 h 31"/>
                <a:gd name="T46" fmla="*/ 208 w 211"/>
                <a:gd name="T47" fmla="*/ 23 h 31"/>
                <a:gd name="T48" fmla="*/ 210 w 211"/>
                <a:gd name="T49" fmla="*/ 21 h 31"/>
                <a:gd name="T50" fmla="*/ 210 w 211"/>
                <a:gd name="T51" fmla="*/ 18 h 31"/>
                <a:gd name="T52" fmla="*/ 211 w 211"/>
                <a:gd name="T53" fmla="*/ 16 h 31"/>
                <a:gd name="T54" fmla="*/ 210 w 211"/>
                <a:gd name="T55" fmla="*/ 13 h 31"/>
                <a:gd name="T56" fmla="*/ 210 w 211"/>
                <a:gd name="T57" fmla="*/ 9 h 31"/>
                <a:gd name="T58" fmla="*/ 208 w 211"/>
                <a:gd name="T59" fmla="*/ 7 h 31"/>
                <a:gd name="T60" fmla="*/ 207 w 211"/>
                <a:gd name="T61" fmla="*/ 5 h 31"/>
                <a:gd name="T62" fmla="*/ 204 w 211"/>
                <a:gd name="T63" fmla="*/ 3 h 31"/>
                <a:gd name="T64" fmla="*/ 201 w 211"/>
                <a:gd name="T65" fmla="*/ 2 h 31"/>
                <a:gd name="T66" fmla="*/ 199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1" y="1"/>
                  </a:lnTo>
                  <a:lnTo>
                    <a:pt x="9" y="2"/>
                  </a:lnTo>
                  <a:lnTo>
                    <a:pt x="6" y="3"/>
                  </a:lnTo>
                  <a:lnTo>
                    <a:pt x="4" y="5"/>
                  </a:lnTo>
                  <a:lnTo>
                    <a:pt x="3" y="7"/>
                  </a:lnTo>
                  <a:lnTo>
                    <a:pt x="1" y="9"/>
                  </a:lnTo>
                  <a:lnTo>
                    <a:pt x="1" y="13"/>
                  </a:lnTo>
                  <a:lnTo>
                    <a:pt x="0" y="16"/>
                  </a:lnTo>
                  <a:lnTo>
                    <a:pt x="1" y="18"/>
                  </a:lnTo>
                  <a:lnTo>
                    <a:pt x="1" y="21"/>
                  </a:lnTo>
                  <a:lnTo>
                    <a:pt x="3" y="23"/>
                  </a:lnTo>
                  <a:lnTo>
                    <a:pt x="4" y="25"/>
                  </a:lnTo>
                  <a:lnTo>
                    <a:pt x="6" y="28"/>
                  </a:lnTo>
                  <a:lnTo>
                    <a:pt x="9" y="29"/>
                  </a:lnTo>
                  <a:lnTo>
                    <a:pt x="11" y="30"/>
                  </a:lnTo>
                  <a:lnTo>
                    <a:pt x="15" y="31"/>
                  </a:lnTo>
                  <a:lnTo>
                    <a:pt x="196" y="31"/>
                  </a:lnTo>
                  <a:lnTo>
                    <a:pt x="199" y="30"/>
                  </a:lnTo>
                  <a:lnTo>
                    <a:pt x="201" y="29"/>
                  </a:lnTo>
                  <a:lnTo>
                    <a:pt x="204" y="28"/>
                  </a:lnTo>
                  <a:lnTo>
                    <a:pt x="207" y="25"/>
                  </a:lnTo>
                  <a:lnTo>
                    <a:pt x="208" y="23"/>
                  </a:lnTo>
                  <a:lnTo>
                    <a:pt x="210" y="21"/>
                  </a:lnTo>
                  <a:lnTo>
                    <a:pt x="210" y="18"/>
                  </a:lnTo>
                  <a:lnTo>
                    <a:pt x="211" y="16"/>
                  </a:lnTo>
                  <a:lnTo>
                    <a:pt x="210" y="13"/>
                  </a:lnTo>
                  <a:lnTo>
                    <a:pt x="210" y="9"/>
                  </a:lnTo>
                  <a:lnTo>
                    <a:pt x="208" y="7"/>
                  </a:lnTo>
                  <a:lnTo>
                    <a:pt x="207" y="5"/>
                  </a:lnTo>
                  <a:lnTo>
                    <a:pt x="204" y="3"/>
                  </a:lnTo>
                  <a:lnTo>
                    <a:pt x="201" y="2"/>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296">
              <a:extLst>
                <a:ext uri="{FF2B5EF4-FFF2-40B4-BE49-F238E27FC236}">
                  <a16:creationId xmlns:a16="http://schemas.microsoft.com/office/drawing/2014/main" id="{0F4F3002-1922-4E84-A419-C0BADD56AE9E}"/>
                </a:ext>
              </a:extLst>
            </p:cNvPr>
            <p:cNvSpPr>
              <a:spLocks/>
            </p:cNvSpPr>
            <p:nvPr/>
          </p:nvSpPr>
          <p:spPr bwMode="auto">
            <a:xfrm>
              <a:off x="419100" y="3775075"/>
              <a:ext cx="9525" cy="38100"/>
            </a:xfrm>
            <a:custGeom>
              <a:avLst/>
              <a:gdLst>
                <a:gd name="T0" fmla="*/ 15 w 30"/>
                <a:gd name="T1" fmla="*/ 0 h 120"/>
                <a:gd name="T2" fmla="*/ 12 w 30"/>
                <a:gd name="T3" fmla="*/ 0 h 120"/>
                <a:gd name="T4" fmla="*/ 9 w 30"/>
                <a:gd name="T5" fmla="*/ 1 h 120"/>
                <a:gd name="T6" fmla="*/ 7 w 30"/>
                <a:gd name="T7" fmla="*/ 3 h 120"/>
                <a:gd name="T8" fmla="*/ 5 w 30"/>
                <a:gd name="T9" fmla="*/ 5 h 120"/>
                <a:gd name="T10" fmla="*/ 3 w 30"/>
                <a:gd name="T11" fmla="*/ 7 h 120"/>
                <a:gd name="T12" fmla="*/ 2 w 30"/>
                <a:gd name="T13" fmla="*/ 9 h 120"/>
                <a:gd name="T14" fmla="*/ 0 w 30"/>
                <a:gd name="T15" fmla="*/ 12 h 120"/>
                <a:gd name="T16" fmla="*/ 0 w 30"/>
                <a:gd name="T17" fmla="*/ 15 h 120"/>
                <a:gd name="T18" fmla="*/ 0 w 30"/>
                <a:gd name="T19" fmla="*/ 105 h 120"/>
                <a:gd name="T20" fmla="*/ 0 w 30"/>
                <a:gd name="T21" fmla="*/ 109 h 120"/>
                <a:gd name="T22" fmla="*/ 2 w 30"/>
                <a:gd name="T23" fmla="*/ 111 h 120"/>
                <a:gd name="T24" fmla="*/ 3 w 30"/>
                <a:gd name="T25" fmla="*/ 114 h 120"/>
                <a:gd name="T26" fmla="*/ 5 w 30"/>
                <a:gd name="T27" fmla="*/ 116 h 120"/>
                <a:gd name="T28" fmla="*/ 7 w 30"/>
                <a:gd name="T29" fmla="*/ 118 h 120"/>
                <a:gd name="T30" fmla="*/ 9 w 30"/>
                <a:gd name="T31" fmla="*/ 119 h 120"/>
                <a:gd name="T32" fmla="*/ 12 w 30"/>
                <a:gd name="T33" fmla="*/ 120 h 120"/>
                <a:gd name="T34" fmla="*/ 15 w 30"/>
                <a:gd name="T35" fmla="*/ 120 h 120"/>
                <a:gd name="T36" fmla="*/ 19 w 30"/>
                <a:gd name="T37" fmla="*/ 120 h 120"/>
                <a:gd name="T38" fmla="*/ 21 w 30"/>
                <a:gd name="T39" fmla="*/ 119 h 120"/>
                <a:gd name="T40" fmla="*/ 24 w 30"/>
                <a:gd name="T41" fmla="*/ 118 h 120"/>
                <a:gd name="T42" fmla="*/ 26 w 30"/>
                <a:gd name="T43" fmla="*/ 116 h 120"/>
                <a:gd name="T44" fmla="*/ 28 w 30"/>
                <a:gd name="T45" fmla="*/ 114 h 120"/>
                <a:gd name="T46" fmla="*/ 29 w 30"/>
                <a:gd name="T47" fmla="*/ 111 h 120"/>
                <a:gd name="T48" fmla="*/ 30 w 30"/>
                <a:gd name="T49" fmla="*/ 109 h 120"/>
                <a:gd name="T50" fmla="*/ 30 w 30"/>
                <a:gd name="T51" fmla="*/ 105 h 120"/>
                <a:gd name="T52" fmla="*/ 30 w 30"/>
                <a:gd name="T53" fmla="*/ 15 h 120"/>
                <a:gd name="T54" fmla="*/ 30 w 30"/>
                <a:gd name="T55" fmla="*/ 12 h 120"/>
                <a:gd name="T56" fmla="*/ 29 w 30"/>
                <a:gd name="T57" fmla="*/ 9 h 120"/>
                <a:gd name="T58" fmla="*/ 28 w 30"/>
                <a:gd name="T59" fmla="*/ 7 h 120"/>
                <a:gd name="T60" fmla="*/ 26 w 30"/>
                <a:gd name="T61" fmla="*/ 5 h 120"/>
                <a:gd name="T62" fmla="*/ 24 w 30"/>
                <a:gd name="T63" fmla="*/ 3 h 120"/>
                <a:gd name="T64" fmla="*/ 21 w 30"/>
                <a:gd name="T65" fmla="*/ 1 h 120"/>
                <a:gd name="T66" fmla="*/ 19 w 30"/>
                <a:gd name="T67" fmla="*/ 0 h 120"/>
                <a:gd name="T68" fmla="*/ 15 w 30"/>
                <a:gd name="T6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20">
                  <a:moveTo>
                    <a:pt x="15" y="0"/>
                  </a:moveTo>
                  <a:lnTo>
                    <a:pt x="12" y="0"/>
                  </a:lnTo>
                  <a:lnTo>
                    <a:pt x="9" y="1"/>
                  </a:lnTo>
                  <a:lnTo>
                    <a:pt x="7" y="3"/>
                  </a:lnTo>
                  <a:lnTo>
                    <a:pt x="5" y="5"/>
                  </a:lnTo>
                  <a:lnTo>
                    <a:pt x="3" y="7"/>
                  </a:lnTo>
                  <a:lnTo>
                    <a:pt x="2" y="9"/>
                  </a:lnTo>
                  <a:lnTo>
                    <a:pt x="0" y="12"/>
                  </a:lnTo>
                  <a:lnTo>
                    <a:pt x="0" y="15"/>
                  </a:lnTo>
                  <a:lnTo>
                    <a:pt x="0" y="105"/>
                  </a:lnTo>
                  <a:lnTo>
                    <a:pt x="0" y="109"/>
                  </a:lnTo>
                  <a:lnTo>
                    <a:pt x="2" y="111"/>
                  </a:lnTo>
                  <a:lnTo>
                    <a:pt x="3" y="114"/>
                  </a:lnTo>
                  <a:lnTo>
                    <a:pt x="5" y="116"/>
                  </a:lnTo>
                  <a:lnTo>
                    <a:pt x="7" y="118"/>
                  </a:lnTo>
                  <a:lnTo>
                    <a:pt x="9" y="119"/>
                  </a:lnTo>
                  <a:lnTo>
                    <a:pt x="12" y="120"/>
                  </a:lnTo>
                  <a:lnTo>
                    <a:pt x="15" y="120"/>
                  </a:lnTo>
                  <a:lnTo>
                    <a:pt x="19" y="120"/>
                  </a:lnTo>
                  <a:lnTo>
                    <a:pt x="21" y="119"/>
                  </a:lnTo>
                  <a:lnTo>
                    <a:pt x="24" y="118"/>
                  </a:lnTo>
                  <a:lnTo>
                    <a:pt x="26" y="116"/>
                  </a:lnTo>
                  <a:lnTo>
                    <a:pt x="28" y="114"/>
                  </a:lnTo>
                  <a:lnTo>
                    <a:pt x="29" y="111"/>
                  </a:lnTo>
                  <a:lnTo>
                    <a:pt x="30" y="109"/>
                  </a:lnTo>
                  <a:lnTo>
                    <a:pt x="30" y="105"/>
                  </a:lnTo>
                  <a:lnTo>
                    <a:pt x="30" y="15"/>
                  </a:lnTo>
                  <a:lnTo>
                    <a:pt x="30" y="12"/>
                  </a:lnTo>
                  <a:lnTo>
                    <a:pt x="29" y="9"/>
                  </a:lnTo>
                  <a:lnTo>
                    <a:pt x="28" y="7"/>
                  </a:lnTo>
                  <a:lnTo>
                    <a:pt x="26" y="5"/>
                  </a:lnTo>
                  <a:lnTo>
                    <a:pt x="24" y="3"/>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297">
              <a:extLst>
                <a:ext uri="{FF2B5EF4-FFF2-40B4-BE49-F238E27FC236}">
                  <a16:creationId xmlns:a16="http://schemas.microsoft.com/office/drawing/2014/main" id="{A66231A9-1AAB-4A50-99EA-C34823D0FB93}"/>
                </a:ext>
              </a:extLst>
            </p:cNvPr>
            <p:cNvSpPr>
              <a:spLocks noEditPoints="1"/>
            </p:cNvSpPr>
            <p:nvPr/>
          </p:nvSpPr>
          <p:spPr bwMode="auto">
            <a:xfrm>
              <a:off x="395288" y="3741738"/>
              <a:ext cx="104775" cy="104775"/>
            </a:xfrm>
            <a:custGeom>
              <a:avLst/>
              <a:gdLst>
                <a:gd name="T0" fmla="*/ 139 w 331"/>
                <a:gd name="T1" fmla="*/ 298 h 331"/>
                <a:gd name="T2" fmla="*/ 101 w 331"/>
                <a:gd name="T3" fmla="*/ 284 h 331"/>
                <a:gd name="T4" fmla="*/ 70 w 331"/>
                <a:gd name="T5" fmla="*/ 261 h 331"/>
                <a:gd name="T6" fmla="*/ 46 w 331"/>
                <a:gd name="T7" fmla="*/ 230 h 331"/>
                <a:gd name="T8" fmla="*/ 33 w 331"/>
                <a:gd name="T9" fmla="*/ 192 h 331"/>
                <a:gd name="T10" fmla="*/ 30 w 331"/>
                <a:gd name="T11" fmla="*/ 151 h 331"/>
                <a:gd name="T12" fmla="*/ 41 w 331"/>
                <a:gd name="T13" fmla="*/ 113 h 331"/>
                <a:gd name="T14" fmla="*/ 61 w 331"/>
                <a:gd name="T15" fmla="*/ 80 h 331"/>
                <a:gd name="T16" fmla="*/ 89 w 331"/>
                <a:gd name="T17" fmla="*/ 53 h 331"/>
                <a:gd name="T18" fmla="*/ 126 w 331"/>
                <a:gd name="T19" fmla="*/ 36 h 331"/>
                <a:gd name="T20" fmla="*/ 166 w 331"/>
                <a:gd name="T21" fmla="*/ 30 h 331"/>
                <a:gd name="T22" fmla="*/ 206 w 331"/>
                <a:gd name="T23" fmla="*/ 36 h 331"/>
                <a:gd name="T24" fmla="*/ 242 w 331"/>
                <a:gd name="T25" fmla="*/ 53 h 331"/>
                <a:gd name="T26" fmla="*/ 270 w 331"/>
                <a:gd name="T27" fmla="*/ 80 h 331"/>
                <a:gd name="T28" fmla="*/ 290 w 331"/>
                <a:gd name="T29" fmla="*/ 113 h 331"/>
                <a:gd name="T30" fmla="*/ 301 w 331"/>
                <a:gd name="T31" fmla="*/ 151 h 331"/>
                <a:gd name="T32" fmla="*/ 299 w 331"/>
                <a:gd name="T33" fmla="*/ 192 h 331"/>
                <a:gd name="T34" fmla="*/ 285 w 331"/>
                <a:gd name="T35" fmla="*/ 230 h 331"/>
                <a:gd name="T36" fmla="*/ 261 w 331"/>
                <a:gd name="T37" fmla="*/ 261 h 331"/>
                <a:gd name="T38" fmla="*/ 230 w 331"/>
                <a:gd name="T39" fmla="*/ 284 h 331"/>
                <a:gd name="T40" fmla="*/ 192 w 331"/>
                <a:gd name="T41" fmla="*/ 298 h 331"/>
                <a:gd name="T42" fmla="*/ 331 w 331"/>
                <a:gd name="T43" fmla="*/ 165 h 331"/>
                <a:gd name="T44" fmla="*/ 323 w 331"/>
                <a:gd name="T45" fmla="*/ 116 h 331"/>
                <a:gd name="T46" fmla="*/ 303 w 331"/>
                <a:gd name="T47" fmla="*/ 73 h 331"/>
                <a:gd name="T48" fmla="*/ 271 w 331"/>
                <a:gd name="T49" fmla="*/ 38 h 331"/>
                <a:gd name="T50" fmla="*/ 230 w 331"/>
                <a:gd name="T51" fmla="*/ 13 h 331"/>
                <a:gd name="T52" fmla="*/ 183 w 331"/>
                <a:gd name="T53" fmla="*/ 0 h 331"/>
                <a:gd name="T54" fmla="*/ 132 w 331"/>
                <a:gd name="T55" fmla="*/ 3 h 331"/>
                <a:gd name="T56" fmla="*/ 87 w 331"/>
                <a:gd name="T57" fmla="*/ 20 h 331"/>
                <a:gd name="T58" fmla="*/ 49 w 331"/>
                <a:gd name="T59" fmla="*/ 49 h 331"/>
                <a:gd name="T60" fmla="*/ 20 w 331"/>
                <a:gd name="T61" fmla="*/ 86 h 331"/>
                <a:gd name="T62" fmla="*/ 4 w 331"/>
                <a:gd name="T63" fmla="*/ 132 h 331"/>
                <a:gd name="T64" fmla="*/ 0 w 331"/>
                <a:gd name="T65" fmla="*/ 183 h 331"/>
                <a:gd name="T66" fmla="*/ 13 w 331"/>
                <a:gd name="T67" fmla="*/ 230 h 331"/>
                <a:gd name="T68" fmla="*/ 38 w 331"/>
                <a:gd name="T69" fmla="*/ 271 h 331"/>
                <a:gd name="T70" fmla="*/ 73 w 331"/>
                <a:gd name="T71" fmla="*/ 303 h 331"/>
                <a:gd name="T72" fmla="*/ 116 w 331"/>
                <a:gd name="T73" fmla="*/ 323 h 331"/>
                <a:gd name="T74" fmla="*/ 166 w 331"/>
                <a:gd name="T75" fmla="*/ 331 h 331"/>
                <a:gd name="T76" fmla="*/ 215 w 331"/>
                <a:gd name="T77" fmla="*/ 323 h 331"/>
                <a:gd name="T78" fmla="*/ 258 w 331"/>
                <a:gd name="T79" fmla="*/ 303 h 331"/>
                <a:gd name="T80" fmla="*/ 293 w 331"/>
                <a:gd name="T81" fmla="*/ 271 h 331"/>
                <a:gd name="T82" fmla="*/ 318 w 331"/>
                <a:gd name="T83" fmla="*/ 230 h 331"/>
                <a:gd name="T84" fmla="*/ 331 w 331"/>
                <a:gd name="T85" fmla="*/ 18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331">
                  <a:moveTo>
                    <a:pt x="166" y="301"/>
                  </a:moveTo>
                  <a:lnTo>
                    <a:pt x="152" y="301"/>
                  </a:lnTo>
                  <a:lnTo>
                    <a:pt x="139" y="298"/>
                  </a:lnTo>
                  <a:lnTo>
                    <a:pt x="126" y="295"/>
                  </a:lnTo>
                  <a:lnTo>
                    <a:pt x="113" y="290"/>
                  </a:lnTo>
                  <a:lnTo>
                    <a:pt x="101" y="284"/>
                  </a:lnTo>
                  <a:lnTo>
                    <a:pt x="89" y="278"/>
                  </a:lnTo>
                  <a:lnTo>
                    <a:pt x="80" y="269"/>
                  </a:lnTo>
                  <a:lnTo>
                    <a:pt x="70" y="261"/>
                  </a:lnTo>
                  <a:lnTo>
                    <a:pt x="61" y="251"/>
                  </a:lnTo>
                  <a:lnTo>
                    <a:pt x="53" y="241"/>
                  </a:lnTo>
                  <a:lnTo>
                    <a:pt x="46" y="230"/>
                  </a:lnTo>
                  <a:lnTo>
                    <a:pt x="41" y="218"/>
                  </a:lnTo>
                  <a:lnTo>
                    <a:pt x="36" y="205"/>
                  </a:lnTo>
                  <a:lnTo>
                    <a:pt x="33" y="192"/>
                  </a:lnTo>
                  <a:lnTo>
                    <a:pt x="30" y="179"/>
                  </a:lnTo>
                  <a:lnTo>
                    <a:pt x="30" y="165"/>
                  </a:lnTo>
                  <a:lnTo>
                    <a:pt x="30" y="151"/>
                  </a:lnTo>
                  <a:lnTo>
                    <a:pt x="33" y="139"/>
                  </a:lnTo>
                  <a:lnTo>
                    <a:pt x="36" y="125"/>
                  </a:lnTo>
                  <a:lnTo>
                    <a:pt x="41" y="113"/>
                  </a:lnTo>
                  <a:lnTo>
                    <a:pt x="46" y="101"/>
                  </a:lnTo>
                  <a:lnTo>
                    <a:pt x="53" y="89"/>
                  </a:lnTo>
                  <a:lnTo>
                    <a:pt x="61" y="80"/>
                  </a:lnTo>
                  <a:lnTo>
                    <a:pt x="70" y="70"/>
                  </a:lnTo>
                  <a:lnTo>
                    <a:pt x="80" y="60"/>
                  </a:lnTo>
                  <a:lnTo>
                    <a:pt x="89" y="53"/>
                  </a:lnTo>
                  <a:lnTo>
                    <a:pt x="101" y="46"/>
                  </a:lnTo>
                  <a:lnTo>
                    <a:pt x="113" y="41"/>
                  </a:lnTo>
                  <a:lnTo>
                    <a:pt x="126" y="36"/>
                  </a:lnTo>
                  <a:lnTo>
                    <a:pt x="139" y="32"/>
                  </a:lnTo>
                  <a:lnTo>
                    <a:pt x="152" y="30"/>
                  </a:lnTo>
                  <a:lnTo>
                    <a:pt x="166" y="30"/>
                  </a:lnTo>
                  <a:lnTo>
                    <a:pt x="179" y="30"/>
                  </a:lnTo>
                  <a:lnTo>
                    <a:pt x="192" y="32"/>
                  </a:lnTo>
                  <a:lnTo>
                    <a:pt x="206" y="36"/>
                  </a:lnTo>
                  <a:lnTo>
                    <a:pt x="218" y="41"/>
                  </a:lnTo>
                  <a:lnTo>
                    <a:pt x="230" y="46"/>
                  </a:lnTo>
                  <a:lnTo>
                    <a:pt x="242" y="53"/>
                  </a:lnTo>
                  <a:lnTo>
                    <a:pt x="251" y="60"/>
                  </a:lnTo>
                  <a:lnTo>
                    <a:pt x="261" y="70"/>
                  </a:lnTo>
                  <a:lnTo>
                    <a:pt x="270" y="80"/>
                  </a:lnTo>
                  <a:lnTo>
                    <a:pt x="278" y="89"/>
                  </a:lnTo>
                  <a:lnTo>
                    <a:pt x="285" y="101"/>
                  </a:lnTo>
                  <a:lnTo>
                    <a:pt x="290" y="113"/>
                  </a:lnTo>
                  <a:lnTo>
                    <a:pt x="295" y="125"/>
                  </a:lnTo>
                  <a:lnTo>
                    <a:pt x="299" y="139"/>
                  </a:lnTo>
                  <a:lnTo>
                    <a:pt x="301" y="151"/>
                  </a:lnTo>
                  <a:lnTo>
                    <a:pt x="301" y="165"/>
                  </a:lnTo>
                  <a:lnTo>
                    <a:pt x="301" y="179"/>
                  </a:lnTo>
                  <a:lnTo>
                    <a:pt x="299" y="192"/>
                  </a:lnTo>
                  <a:lnTo>
                    <a:pt x="295" y="205"/>
                  </a:lnTo>
                  <a:lnTo>
                    <a:pt x="290" y="218"/>
                  </a:lnTo>
                  <a:lnTo>
                    <a:pt x="285" y="230"/>
                  </a:lnTo>
                  <a:lnTo>
                    <a:pt x="278" y="241"/>
                  </a:lnTo>
                  <a:lnTo>
                    <a:pt x="270" y="251"/>
                  </a:lnTo>
                  <a:lnTo>
                    <a:pt x="261" y="261"/>
                  </a:lnTo>
                  <a:lnTo>
                    <a:pt x="251" y="269"/>
                  </a:lnTo>
                  <a:lnTo>
                    <a:pt x="242" y="278"/>
                  </a:lnTo>
                  <a:lnTo>
                    <a:pt x="230" y="284"/>
                  </a:lnTo>
                  <a:lnTo>
                    <a:pt x="218" y="290"/>
                  </a:lnTo>
                  <a:lnTo>
                    <a:pt x="206" y="295"/>
                  </a:lnTo>
                  <a:lnTo>
                    <a:pt x="192" y="298"/>
                  </a:lnTo>
                  <a:lnTo>
                    <a:pt x="179" y="301"/>
                  </a:lnTo>
                  <a:lnTo>
                    <a:pt x="166" y="301"/>
                  </a:lnTo>
                  <a:close/>
                  <a:moveTo>
                    <a:pt x="331" y="165"/>
                  </a:moveTo>
                  <a:lnTo>
                    <a:pt x="331" y="148"/>
                  </a:lnTo>
                  <a:lnTo>
                    <a:pt x="327" y="132"/>
                  </a:lnTo>
                  <a:lnTo>
                    <a:pt x="323" y="116"/>
                  </a:lnTo>
                  <a:lnTo>
                    <a:pt x="318" y="101"/>
                  </a:lnTo>
                  <a:lnTo>
                    <a:pt x="311" y="86"/>
                  </a:lnTo>
                  <a:lnTo>
                    <a:pt x="303" y="73"/>
                  </a:lnTo>
                  <a:lnTo>
                    <a:pt x="293" y="60"/>
                  </a:lnTo>
                  <a:lnTo>
                    <a:pt x="282" y="49"/>
                  </a:lnTo>
                  <a:lnTo>
                    <a:pt x="271" y="38"/>
                  </a:lnTo>
                  <a:lnTo>
                    <a:pt x="258" y="28"/>
                  </a:lnTo>
                  <a:lnTo>
                    <a:pt x="245" y="20"/>
                  </a:lnTo>
                  <a:lnTo>
                    <a:pt x="230" y="13"/>
                  </a:lnTo>
                  <a:lnTo>
                    <a:pt x="215" y="8"/>
                  </a:lnTo>
                  <a:lnTo>
                    <a:pt x="199" y="3"/>
                  </a:lnTo>
                  <a:lnTo>
                    <a:pt x="183" y="0"/>
                  </a:lnTo>
                  <a:lnTo>
                    <a:pt x="166" y="0"/>
                  </a:lnTo>
                  <a:lnTo>
                    <a:pt x="148" y="0"/>
                  </a:lnTo>
                  <a:lnTo>
                    <a:pt x="132" y="3"/>
                  </a:lnTo>
                  <a:lnTo>
                    <a:pt x="116" y="7"/>
                  </a:lnTo>
                  <a:lnTo>
                    <a:pt x="101" y="13"/>
                  </a:lnTo>
                  <a:lnTo>
                    <a:pt x="87" y="20"/>
                  </a:lnTo>
                  <a:lnTo>
                    <a:pt x="73" y="28"/>
                  </a:lnTo>
                  <a:lnTo>
                    <a:pt x="60" y="38"/>
                  </a:lnTo>
                  <a:lnTo>
                    <a:pt x="49" y="49"/>
                  </a:lnTo>
                  <a:lnTo>
                    <a:pt x="38" y="60"/>
                  </a:lnTo>
                  <a:lnTo>
                    <a:pt x="28" y="73"/>
                  </a:lnTo>
                  <a:lnTo>
                    <a:pt x="20" y="86"/>
                  </a:lnTo>
                  <a:lnTo>
                    <a:pt x="13" y="101"/>
                  </a:lnTo>
                  <a:lnTo>
                    <a:pt x="8" y="116"/>
                  </a:lnTo>
                  <a:lnTo>
                    <a:pt x="4" y="132"/>
                  </a:lnTo>
                  <a:lnTo>
                    <a:pt x="0" y="148"/>
                  </a:lnTo>
                  <a:lnTo>
                    <a:pt x="0" y="165"/>
                  </a:lnTo>
                  <a:lnTo>
                    <a:pt x="0" y="183"/>
                  </a:lnTo>
                  <a:lnTo>
                    <a:pt x="4" y="199"/>
                  </a:lnTo>
                  <a:lnTo>
                    <a:pt x="8" y="215"/>
                  </a:lnTo>
                  <a:lnTo>
                    <a:pt x="13" y="230"/>
                  </a:lnTo>
                  <a:lnTo>
                    <a:pt x="20" y="244"/>
                  </a:lnTo>
                  <a:lnTo>
                    <a:pt x="28" y="258"/>
                  </a:lnTo>
                  <a:lnTo>
                    <a:pt x="38" y="271"/>
                  </a:lnTo>
                  <a:lnTo>
                    <a:pt x="49" y="282"/>
                  </a:lnTo>
                  <a:lnTo>
                    <a:pt x="60" y="293"/>
                  </a:lnTo>
                  <a:lnTo>
                    <a:pt x="73" y="303"/>
                  </a:lnTo>
                  <a:lnTo>
                    <a:pt x="86" y="311"/>
                  </a:lnTo>
                  <a:lnTo>
                    <a:pt x="101" y="318"/>
                  </a:lnTo>
                  <a:lnTo>
                    <a:pt x="116" y="323"/>
                  </a:lnTo>
                  <a:lnTo>
                    <a:pt x="132" y="327"/>
                  </a:lnTo>
                  <a:lnTo>
                    <a:pt x="148" y="331"/>
                  </a:lnTo>
                  <a:lnTo>
                    <a:pt x="166" y="331"/>
                  </a:lnTo>
                  <a:lnTo>
                    <a:pt x="183" y="331"/>
                  </a:lnTo>
                  <a:lnTo>
                    <a:pt x="199" y="327"/>
                  </a:lnTo>
                  <a:lnTo>
                    <a:pt x="215" y="323"/>
                  </a:lnTo>
                  <a:lnTo>
                    <a:pt x="230" y="318"/>
                  </a:lnTo>
                  <a:lnTo>
                    <a:pt x="245" y="311"/>
                  </a:lnTo>
                  <a:lnTo>
                    <a:pt x="258" y="303"/>
                  </a:lnTo>
                  <a:lnTo>
                    <a:pt x="271" y="293"/>
                  </a:lnTo>
                  <a:lnTo>
                    <a:pt x="282" y="282"/>
                  </a:lnTo>
                  <a:lnTo>
                    <a:pt x="293" y="271"/>
                  </a:lnTo>
                  <a:lnTo>
                    <a:pt x="303" y="258"/>
                  </a:lnTo>
                  <a:lnTo>
                    <a:pt x="311" y="244"/>
                  </a:lnTo>
                  <a:lnTo>
                    <a:pt x="318" y="230"/>
                  </a:lnTo>
                  <a:lnTo>
                    <a:pt x="323" y="215"/>
                  </a:lnTo>
                  <a:lnTo>
                    <a:pt x="327" y="199"/>
                  </a:lnTo>
                  <a:lnTo>
                    <a:pt x="331" y="183"/>
                  </a:lnTo>
                  <a:lnTo>
                    <a:pt x="331" y="165"/>
                  </a:lnTo>
                  <a:lnTo>
                    <a:pt x="33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298">
              <a:extLst>
                <a:ext uri="{FF2B5EF4-FFF2-40B4-BE49-F238E27FC236}">
                  <a16:creationId xmlns:a16="http://schemas.microsoft.com/office/drawing/2014/main" id="{5273D99F-FD15-41A4-B871-4C0C71AF0A2A}"/>
                </a:ext>
              </a:extLst>
            </p:cNvPr>
            <p:cNvSpPr>
              <a:spLocks/>
            </p:cNvSpPr>
            <p:nvPr/>
          </p:nvSpPr>
          <p:spPr bwMode="auto">
            <a:xfrm>
              <a:off x="438150" y="3784600"/>
              <a:ext cx="19050" cy="19050"/>
            </a:xfrm>
            <a:custGeom>
              <a:avLst/>
              <a:gdLst>
                <a:gd name="T0" fmla="*/ 31 w 61"/>
                <a:gd name="T1" fmla="*/ 0 h 60"/>
                <a:gd name="T2" fmla="*/ 24 w 61"/>
                <a:gd name="T3" fmla="*/ 0 h 60"/>
                <a:gd name="T4" fmla="*/ 19 w 61"/>
                <a:gd name="T5" fmla="*/ 3 h 60"/>
                <a:gd name="T6" fmla="*/ 13 w 61"/>
                <a:gd name="T7" fmla="*/ 6 h 60"/>
                <a:gd name="T8" fmla="*/ 9 w 61"/>
                <a:gd name="T9" fmla="*/ 9 h 60"/>
                <a:gd name="T10" fmla="*/ 6 w 61"/>
                <a:gd name="T11" fmla="*/ 13 h 60"/>
                <a:gd name="T12" fmla="*/ 3 w 61"/>
                <a:gd name="T13" fmla="*/ 19 h 60"/>
                <a:gd name="T14" fmla="*/ 2 w 61"/>
                <a:gd name="T15" fmla="*/ 24 h 60"/>
                <a:gd name="T16" fmla="*/ 0 w 61"/>
                <a:gd name="T17" fmla="*/ 30 h 60"/>
                <a:gd name="T18" fmla="*/ 2 w 61"/>
                <a:gd name="T19" fmla="*/ 37 h 60"/>
                <a:gd name="T20" fmla="*/ 3 w 61"/>
                <a:gd name="T21" fmla="*/ 42 h 60"/>
                <a:gd name="T22" fmla="*/ 6 w 61"/>
                <a:gd name="T23" fmla="*/ 48 h 60"/>
                <a:gd name="T24" fmla="*/ 9 w 61"/>
                <a:gd name="T25" fmla="*/ 52 h 60"/>
                <a:gd name="T26" fmla="*/ 13 w 61"/>
                <a:gd name="T27" fmla="*/ 55 h 60"/>
                <a:gd name="T28" fmla="*/ 19 w 61"/>
                <a:gd name="T29" fmla="*/ 58 h 60"/>
                <a:gd name="T30" fmla="*/ 24 w 61"/>
                <a:gd name="T31" fmla="*/ 59 h 60"/>
                <a:gd name="T32" fmla="*/ 31 w 61"/>
                <a:gd name="T33" fmla="*/ 60 h 60"/>
                <a:gd name="T34" fmla="*/ 37 w 61"/>
                <a:gd name="T35" fmla="*/ 59 h 60"/>
                <a:gd name="T36" fmla="*/ 42 w 61"/>
                <a:gd name="T37" fmla="*/ 58 h 60"/>
                <a:gd name="T38" fmla="*/ 48 w 61"/>
                <a:gd name="T39" fmla="*/ 55 h 60"/>
                <a:gd name="T40" fmla="*/ 52 w 61"/>
                <a:gd name="T41" fmla="*/ 52 h 60"/>
                <a:gd name="T42" fmla="*/ 55 w 61"/>
                <a:gd name="T43" fmla="*/ 48 h 60"/>
                <a:gd name="T44" fmla="*/ 58 w 61"/>
                <a:gd name="T45" fmla="*/ 42 h 60"/>
                <a:gd name="T46" fmla="*/ 61 w 61"/>
                <a:gd name="T47" fmla="*/ 37 h 60"/>
                <a:gd name="T48" fmla="*/ 61 w 61"/>
                <a:gd name="T49" fmla="*/ 30 h 60"/>
                <a:gd name="T50" fmla="*/ 61 w 61"/>
                <a:gd name="T51" fmla="*/ 24 h 60"/>
                <a:gd name="T52" fmla="*/ 58 w 61"/>
                <a:gd name="T53" fmla="*/ 19 h 60"/>
                <a:gd name="T54" fmla="*/ 55 w 61"/>
                <a:gd name="T55" fmla="*/ 13 h 60"/>
                <a:gd name="T56" fmla="*/ 52 w 61"/>
                <a:gd name="T57" fmla="*/ 9 h 60"/>
                <a:gd name="T58" fmla="*/ 48 w 61"/>
                <a:gd name="T59" fmla="*/ 6 h 60"/>
                <a:gd name="T60" fmla="*/ 42 w 61"/>
                <a:gd name="T61" fmla="*/ 3 h 60"/>
                <a:gd name="T62" fmla="*/ 37 w 61"/>
                <a:gd name="T63" fmla="*/ 0 h 60"/>
                <a:gd name="T64" fmla="*/ 31 w 61"/>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60">
                  <a:moveTo>
                    <a:pt x="31" y="0"/>
                  </a:moveTo>
                  <a:lnTo>
                    <a:pt x="24" y="0"/>
                  </a:lnTo>
                  <a:lnTo>
                    <a:pt x="19" y="3"/>
                  </a:lnTo>
                  <a:lnTo>
                    <a:pt x="13" y="6"/>
                  </a:lnTo>
                  <a:lnTo>
                    <a:pt x="9" y="9"/>
                  </a:lnTo>
                  <a:lnTo>
                    <a:pt x="6" y="13"/>
                  </a:lnTo>
                  <a:lnTo>
                    <a:pt x="3" y="19"/>
                  </a:lnTo>
                  <a:lnTo>
                    <a:pt x="2" y="24"/>
                  </a:lnTo>
                  <a:lnTo>
                    <a:pt x="0" y="30"/>
                  </a:lnTo>
                  <a:lnTo>
                    <a:pt x="2" y="37"/>
                  </a:lnTo>
                  <a:lnTo>
                    <a:pt x="3" y="42"/>
                  </a:lnTo>
                  <a:lnTo>
                    <a:pt x="6" y="48"/>
                  </a:lnTo>
                  <a:lnTo>
                    <a:pt x="9" y="52"/>
                  </a:lnTo>
                  <a:lnTo>
                    <a:pt x="13" y="55"/>
                  </a:lnTo>
                  <a:lnTo>
                    <a:pt x="19" y="58"/>
                  </a:lnTo>
                  <a:lnTo>
                    <a:pt x="24" y="59"/>
                  </a:lnTo>
                  <a:lnTo>
                    <a:pt x="31" y="60"/>
                  </a:lnTo>
                  <a:lnTo>
                    <a:pt x="37" y="59"/>
                  </a:lnTo>
                  <a:lnTo>
                    <a:pt x="42" y="58"/>
                  </a:lnTo>
                  <a:lnTo>
                    <a:pt x="48" y="55"/>
                  </a:lnTo>
                  <a:lnTo>
                    <a:pt x="52" y="52"/>
                  </a:lnTo>
                  <a:lnTo>
                    <a:pt x="55" y="48"/>
                  </a:lnTo>
                  <a:lnTo>
                    <a:pt x="58" y="42"/>
                  </a:lnTo>
                  <a:lnTo>
                    <a:pt x="61" y="37"/>
                  </a:lnTo>
                  <a:lnTo>
                    <a:pt x="61" y="30"/>
                  </a:lnTo>
                  <a:lnTo>
                    <a:pt x="61" y="24"/>
                  </a:lnTo>
                  <a:lnTo>
                    <a:pt x="58" y="19"/>
                  </a:lnTo>
                  <a:lnTo>
                    <a:pt x="55" y="13"/>
                  </a:lnTo>
                  <a:lnTo>
                    <a:pt x="52" y="9"/>
                  </a:lnTo>
                  <a:lnTo>
                    <a:pt x="48" y="6"/>
                  </a:lnTo>
                  <a:lnTo>
                    <a:pt x="42" y="3"/>
                  </a:lnTo>
                  <a:lnTo>
                    <a:pt x="37"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49" name="Group 89">
            <a:extLst>
              <a:ext uri="{FF2B5EF4-FFF2-40B4-BE49-F238E27FC236}">
                <a16:creationId xmlns:a16="http://schemas.microsoft.com/office/drawing/2014/main" id="{00CFD1F9-EF3B-43F8-9DA1-6A6B6CDF330E}"/>
              </a:ext>
            </a:extLst>
          </p:cNvPr>
          <p:cNvGrpSpPr>
            <a:grpSpLocks noChangeAspect="1"/>
          </p:cNvGrpSpPr>
          <p:nvPr/>
        </p:nvGrpSpPr>
        <p:grpSpPr>
          <a:xfrm>
            <a:off x="2726118" y="5956111"/>
            <a:ext cx="305901" cy="285619"/>
            <a:chOff x="4319588" y="1379538"/>
            <a:chExt cx="287338" cy="268288"/>
          </a:xfrm>
          <a:solidFill>
            <a:schemeClr val="bg2"/>
          </a:solidFill>
          <a:effectLst/>
        </p:grpSpPr>
        <p:sp>
          <p:nvSpPr>
            <p:cNvPr id="1350" name="Freeform 116">
              <a:extLst>
                <a:ext uri="{FF2B5EF4-FFF2-40B4-BE49-F238E27FC236}">
                  <a16:creationId xmlns:a16="http://schemas.microsoft.com/office/drawing/2014/main" id="{9ED27DCC-8EE8-4352-9665-84DDD490A92A}"/>
                </a:ext>
              </a:extLst>
            </p:cNvPr>
            <p:cNvSpPr>
              <a:spLocks noEditPoints="1"/>
            </p:cNvSpPr>
            <p:nvPr/>
          </p:nvSpPr>
          <p:spPr bwMode="auto">
            <a:xfrm>
              <a:off x="4319588" y="1455738"/>
              <a:ext cx="287338" cy="192088"/>
            </a:xfrm>
            <a:custGeom>
              <a:avLst/>
              <a:gdLst>
                <a:gd name="T0" fmla="*/ 870 w 904"/>
                <a:gd name="T1" fmla="*/ 364 h 602"/>
                <a:gd name="T2" fmla="*/ 853 w 904"/>
                <a:gd name="T3" fmla="*/ 384 h 602"/>
                <a:gd name="T4" fmla="*/ 828 w 904"/>
                <a:gd name="T5" fmla="*/ 392 h 602"/>
                <a:gd name="T6" fmla="*/ 723 w 904"/>
                <a:gd name="T7" fmla="*/ 283 h 602"/>
                <a:gd name="T8" fmla="*/ 718 w 904"/>
                <a:gd name="T9" fmla="*/ 276 h 602"/>
                <a:gd name="T10" fmla="*/ 711 w 904"/>
                <a:gd name="T11" fmla="*/ 272 h 602"/>
                <a:gd name="T12" fmla="*/ 193 w 904"/>
                <a:gd name="T13" fmla="*/ 272 h 602"/>
                <a:gd name="T14" fmla="*/ 185 w 904"/>
                <a:gd name="T15" fmla="*/ 276 h 602"/>
                <a:gd name="T16" fmla="*/ 181 w 904"/>
                <a:gd name="T17" fmla="*/ 283 h 602"/>
                <a:gd name="T18" fmla="*/ 76 w 904"/>
                <a:gd name="T19" fmla="*/ 392 h 602"/>
                <a:gd name="T20" fmla="*/ 50 w 904"/>
                <a:gd name="T21" fmla="*/ 384 h 602"/>
                <a:gd name="T22" fmla="*/ 34 w 904"/>
                <a:gd name="T23" fmla="*/ 364 h 602"/>
                <a:gd name="T24" fmla="*/ 31 w 904"/>
                <a:gd name="T25" fmla="*/ 75 h 602"/>
                <a:gd name="T26" fmla="*/ 38 w 904"/>
                <a:gd name="T27" fmla="*/ 51 h 602"/>
                <a:gd name="T28" fmla="*/ 58 w 904"/>
                <a:gd name="T29" fmla="*/ 34 h 602"/>
                <a:gd name="T30" fmla="*/ 828 w 904"/>
                <a:gd name="T31" fmla="*/ 30 h 602"/>
                <a:gd name="T32" fmla="*/ 853 w 904"/>
                <a:gd name="T33" fmla="*/ 38 h 602"/>
                <a:gd name="T34" fmla="*/ 870 w 904"/>
                <a:gd name="T35" fmla="*/ 58 h 602"/>
                <a:gd name="T36" fmla="*/ 874 w 904"/>
                <a:gd name="T37" fmla="*/ 347 h 602"/>
                <a:gd name="T38" fmla="*/ 211 w 904"/>
                <a:gd name="T39" fmla="*/ 302 h 602"/>
                <a:gd name="T40" fmla="*/ 828 w 904"/>
                <a:gd name="T41" fmla="*/ 0 h 602"/>
                <a:gd name="T42" fmla="*/ 61 w 904"/>
                <a:gd name="T43" fmla="*/ 1 h 602"/>
                <a:gd name="T44" fmla="*/ 39 w 904"/>
                <a:gd name="T45" fmla="*/ 10 h 602"/>
                <a:gd name="T46" fmla="*/ 22 w 904"/>
                <a:gd name="T47" fmla="*/ 23 h 602"/>
                <a:gd name="T48" fmla="*/ 9 w 904"/>
                <a:gd name="T49" fmla="*/ 40 h 602"/>
                <a:gd name="T50" fmla="*/ 2 w 904"/>
                <a:gd name="T51" fmla="*/ 60 h 602"/>
                <a:gd name="T52" fmla="*/ 0 w 904"/>
                <a:gd name="T53" fmla="*/ 347 h 602"/>
                <a:gd name="T54" fmla="*/ 4 w 904"/>
                <a:gd name="T55" fmla="*/ 369 h 602"/>
                <a:gd name="T56" fmla="*/ 13 w 904"/>
                <a:gd name="T57" fmla="*/ 389 h 602"/>
                <a:gd name="T58" fmla="*/ 28 w 904"/>
                <a:gd name="T59" fmla="*/ 405 h 602"/>
                <a:gd name="T60" fmla="*/ 46 w 904"/>
                <a:gd name="T61" fmla="*/ 415 h 602"/>
                <a:gd name="T62" fmla="*/ 67 w 904"/>
                <a:gd name="T63" fmla="*/ 422 h 602"/>
                <a:gd name="T64" fmla="*/ 181 w 904"/>
                <a:gd name="T65" fmla="*/ 587 h 602"/>
                <a:gd name="T66" fmla="*/ 183 w 904"/>
                <a:gd name="T67" fmla="*/ 596 h 602"/>
                <a:gd name="T68" fmla="*/ 190 w 904"/>
                <a:gd name="T69" fmla="*/ 601 h 602"/>
                <a:gd name="T70" fmla="*/ 708 w 904"/>
                <a:gd name="T71" fmla="*/ 602 h 602"/>
                <a:gd name="T72" fmla="*/ 716 w 904"/>
                <a:gd name="T73" fmla="*/ 600 h 602"/>
                <a:gd name="T74" fmla="*/ 721 w 904"/>
                <a:gd name="T75" fmla="*/ 593 h 602"/>
                <a:gd name="T76" fmla="*/ 723 w 904"/>
                <a:gd name="T77" fmla="*/ 422 h 602"/>
                <a:gd name="T78" fmla="*/ 844 w 904"/>
                <a:gd name="T79" fmla="*/ 421 h 602"/>
                <a:gd name="T80" fmla="*/ 864 w 904"/>
                <a:gd name="T81" fmla="*/ 413 h 602"/>
                <a:gd name="T82" fmla="*/ 881 w 904"/>
                <a:gd name="T83" fmla="*/ 399 h 602"/>
                <a:gd name="T84" fmla="*/ 894 w 904"/>
                <a:gd name="T85" fmla="*/ 382 h 602"/>
                <a:gd name="T86" fmla="*/ 902 w 904"/>
                <a:gd name="T87" fmla="*/ 362 h 602"/>
                <a:gd name="T88" fmla="*/ 904 w 904"/>
                <a:gd name="T89" fmla="*/ 75 h 602"/>
                <a:gd name="T90" fmla="*/ 900 w 904"/>
                <a:gd name="T91" fmla="*/ 53 h 602"/>
                <a:gd name="T92" fmla="*/ 891 w 904"/>
                <a:gd name="T93" fmla="*/ 34 h 602"/>
                <a:gd name="T94" fmla="*/ 876 w 904"/>
                <a:gd name="T95" fmla="*/ 17 h 602"/>
                <a:gd name="T96" fmla="*/ 858 w 904"/>
                <a:gd name="T97" fmla="*/ 7 h 602"/>
                <a:gd name="T98" fmla="*/ 836 w 904"/>
                <a:gd name="T9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4" h="602">
                  <a:moveTo>
                    <a:pt x="874" y="347"/>
                  </a:moveTo>
                  <a:lnTo>
                    <a:pt x="873" y="355"/>
                  </a:lnTo>
                  <a:lnTo>
                    <a:pt x="870" y="364"/>
                  </a:lnTo>
                  <a:lnTo>
                    <a:pt x="865" y="371"/>
                  </a:lnTo>
                  <a:lnTo>
                    <a:pt x="860" y="379"/>
                  </a:lnTo>
                  <a:lnTo>
                    <a:pt x="853" y="384"/>
                  </a:lnTo>
                  <a:lnTo>
                    <a:pt x="846" y="389"/>
                  </a:lnTo>
                  <a:lnTo>
                    <a:pt x="837" y="391"/>
                  </a:lnTo>
                  <a:lnTo>
                    <a:pt x="828" y="392"/>
                  </a:lnTo>
                  <a:lnTo>
                    <a:pt x="723" y="392"/>
                  </a:lnTo>
                  <a:lnTo>
                    <a:pt x="723" y="287"/>
                  </a:lnTo>
                  <a:lnTo>
                    <a:pt x="723" y="283"/>
                  </a:lnTo>
                  <a:lnTo>
                    <a:pt x="721" y="280"/>
                  </a:lnTo>
                  <a:lnTo>
                    <a:pt x="720" y="278"/>
                  </a:lnTo>
                  <a:lnTo>
                    <a:pt x="718" y="276"/>
                  </a:lnTo>
                  <a:lnTo>
                    <a:pt x="716" y="274"/>
                  </a:lnTo>
                  <a:lnTo>
                    <a:pt x="714" y="273"/>
                  </a:lnTo>
                  <a:lnTo>
                    <a:pt x="711" y="272"/>
                  </a:lnTo>
                  <a:lnTo>
                    <a:pt x="708" y="272"/>
                  </a:lnTo>
                  <a:lnTo>
                    <a:pt x="196" y="272"/>
                  </a:lnTo>
                  <a:lnTo>
                    <a:pt x="193" y="272"/>
                  </a:lnTo>
                  <a:lnTo>
                    <a:pt x="190" y="273"/>
                  </a:lnTo>
                  <a:lnTo>
                    <a:pt x="187" y="274"/>
                  </a:lnTo>
                  <a:lnTo>
                    <a:pt x="185" y="276"/>
                  </a:lnTo>
                  <a:lnTo>
                    <a:pt x="183" y="278"/>
                  </a:lnTo>
                  <a:lnTo>
                    <a:pt x="182" y="280"/>
                  </a:lnTo>
                  <a:lnTo>
                    <a:pt x="181" y="283"/>
                  </a:lnTo>
                  <a:lnTo>
                    <a:pt x="181" y="287"/>
                  </a:lnTo>
                  <a:lnTo>
                    <a:pt x="181" y="392"/>
                  </a:lnTo>
                  <a:lnTo>
                    <a:pt x="76" y="392"/>
                  </a:lnTo>
                  <a:lnTo>
                    <a:pt x="66" y="391"/>
                  </a:lnTo>
                  <a:lnTo>
                    <a:pt x="58" y="389"/>
                  </a:lnTo>
                  <a:lnTo>
                    <a:pt x="50" y="384"/>
                  </a:lnTo>
                  <a:lnTo>
                    <a:pt x="44" y="379"/>
                  </a:lnTo>
                  <a:lnTo>
                    <a:pt x="38" y="371"/>
                  </a:lnTo>
                  <a:lnTo>
                    <a:pt x="34" y="364"/>
                  </a:lnTo>
                  <a:lnTo>
                    <a:pt x="31" y="355"/>
                  </a:lnTo>
                  <a:lnTo>
                    <a:pt x="31" y="347"/>
                  </a:lnTo>
                  <a:lnTo>
                    <a:pt x="31" y="75"/>
                  </a:lnTo>
                  <a:lnTo>
                    <a:pt x="31" y="67"/>
                  </a:lnTo>
                  <a:lnTo>
                    <a:pt x="34" y="58"/>
                  </a:lnTo>
                  <a:lnTo>
                    <a:pt x="38" y="51"/>
                  </a:lnTo>
                  <a:lnTo>
                    <a:pt x="44" y="43"/>
                  </a:lnTo>
                  <a:lnTo>
                    <a:pt x="50" y="38"/>
                  </a:lnTo>
                  <a:lnTo>
                    <a:pt x="58" y="34"/>
                  </a:lnTo>
                  <a:lnTo>
                    <a:pt x="66" y="31"/>
                  </a:lnTo>
                  <a:lnTo>
                    <a:pt x="76" y="30"/>
                  </a:lnTo>
                  <a:lnTo>
                    <a:pt x="828" y="30"/>
                  </a:lnTo>
                  <a:lnTo>
                    <a:pt x="837" y="31"/>
                  </a:lnTo>
                  <a:lnTo>
                    <a:pt x="846" y="34"/>
                  </a:lnTo>
                  <a:lnTo>
                    <a:pt x="853" y="38"/>
                  </a:lnTo>
                  <a:lnTo>
                    <a:pt x="860" y="43"/>
                  </a:lnTo>
                  <a:lnTo>
                    <a:pt x="865" y="51"/>
                  </a:lnTo>
                  <a:lnTo>
                    <a:pt x="870" y="58"/>
                  </a:lnTo>
                  <a:lnTo>
                    <a:pt x="873" y="67"/>
                  </a:lnTo>
                  <a:lnTo>
                    <a:pt x="873" y="75"/>
                  </a:lnTo>
                  <a:lnTo>
                    <a:pt x="874" y="347"/>
                  </a:lnTo>
                  <a:close/>
                  <a:moveTo>
                    <a:pt x="693" y="572"/>
                  </a:moveTo>
                  <a:lnTo>
                    <a:pt x="211" y="572"/>
                  </a:lnTo>
                  <a:lnTo>
                    <a:pt x="211" y="302"/>
                  </a:lnTo>
                  <a:lnTo>
                    <a:pt x="693" y="302"/>
                  </a:lnTo>
                  <a:lnTo>
                    <a:pt x="693" y="572"/>
                  </a:lnTo>
                  <a:close/>
                  <a:moveTo>
                    <a:pt x="828" y="0"/>
                  </a:moveTo>
                  <a:lnTo>
                    <a:pt x="76" y="0"/>
                  </a:lnTo>
                  <a:lnTo>
                    <a:pt x="67" y="0"/>
                  </a:lnTo>
                  <a:lnTo>
                    <a:pt x="61" y="1"/>
                  </a:lnTo>
                  <a:lnTo>
                    <a:pt x="53" y="4"/>
                  </a:lnTo>
                  <a:lnTo>
                    <a:pt x="46" y="7"/>
                  </a:lnTo>
                  <a:lnTo>
                    <a:pt x="39" y="10"/>
                  </a:lnTo>
                  <a:lnTo>
                    <a:pt x="33" y="13"/>
                  </a:lnTo>
                  <a:lnTo>
                    <a:pt x="28" y="17"/>
                  </a:lnTo>
                  <a:lnTo>
                    <a:pt x="22" y="23"/>
                  </a:lnTo>
                  <a:lnTo>
                    <a:pt x="17" y="28"/>
                  </a:lnTo>
                  <a:lnTo>
                    <a:pt x="13" y="34"/>
                  </a:lnTo>
                  <a:lnTo>
                    <a:pt x="9" y="40"/>
                  </a:lnTo>
                  <a:lnTo>
                    <a:pt x="6" y="46"/>
                  </a:lnTo>
                  <a:lnTo>
                    <a:pt x="4" y="53"/>
                  </a:lnTo>
                  <a:lnTo>
                    <a:pt x="2" y="60"/>
                  </a:lnTo>
                  <a:lnTo>
                    <a:pt x="1" y="68"/>
                  </a:lnTo>
                  <a:lnTo>
                    <a:pt x="0" y="75"/>
                  </a:lnTo>
                  <a:lnTo>
                    <a:pt x="0" y="347"/>
                  </a:lnTo>
                  <a:lnTo>
                    <a:pt x="1" y="354"/>
                  </a:lnTo>
                  <a:lnTo>
                    <a:pt x="2" y="362"/>
                  </a:lnTo>
                  <a:lnTo>
                    <a:pt x="4" y="369"/>
                  </a:lnTo>
                  <a:lnTo>
                    <a:pt x="6" y="376"/>
                  </a:lnTo>
                  <a:lnTo>
                    <a:pt x="9" y="382"/>
                  </a:lnTo>
                  <a:lnTo>
                    <a:pt x="13" y="389"/>
                  </a:lnTo>
                  <a:lnTo>
                    <a:pt x="18" y="394"/>
                  </a:lnTo>
                  <a:lnTo>
                    <a:pt x="22" y="399"/>
                  </a:lnTo>
                  <a:lnTo>
                    <a:pt x="28" y="405"/>
                  </a:lnTo>
                  <a:lnTo>
                    <a:pt x="33" y="409"/>
                  </a:lnTo>
                  <a:lnTo>
                    <a:pt x="39" y="413"/>
                  </a:lnTo>
                  <a:lnTo>
                    <a:pt x="46" y="415"/>
                  </a:lnTo>
                  <a:lnTo>
                    <a:pt x="53" y="419"/>
                  </a:lnTo>
                  <a:lnTo>
                    <a:pt x="61" y="421"/>
                  </a:lnTo>
                  <a:lnTo>
                    <a:pt x="67" y="422"/>
                  </a:lnTo>
                  <a:lnTo>
                    <a:pt x="76" y="422"/>
                  </a:lnTo>
                  <a:lnTo>
                    <a:pt x="181" y="422"/>
                  </a:lnTo>
                  <a:lnTo>
                    <a:pt x="181" y="587"/>
                  </a:lnTo>
                  <a:lnTo>
                    <a:pt x="181" y="590"/>
                  </a:lnTo>
                  <a:lnTo>
                    <a:pt x="182" y="593"/>
                  </a:lnTo>
                  <a:lnTo>
                    <a:pt x="183" y="596"/>
                  </a:lnTo>
                  <a:lnTo>
                    <a:pt x="185" y="598"/>
                  </a:lnTo>
                  <a:lnTo>
                    <a:pt x="187" y="600"/>
                  </a:lnTo>
                  <a:lnTo>
                    <a:pt x="190" y="601"/>
                  </a:lnTo>
                  <a:lnTo>
                    <a:pt x="193" y="602"/>
                  </a:lnTo>
                  <a:lnTo>
                    <a:pt x="196" y="602"/>
                  </a:lnTo>
                  <a:lnTo>
                    <a:pt x="708" y="602"/>
                  </a:lnTo>
                  <a:lnTo>
                    <a:pt x="711" y="602"/>
                  </a:lnTo>
                  <a:lnTo>
                    <a:pt x="714" y="601"/>
                  </a:lnTo>
                  <a:lnTo>
                    <a:pt x="716" y="600"/>
                  </a:lnTo>
                  <a:lnTo>
                    <a:pt x="718" y="598"/>
                  </a:lnTo>
                  <a:lnTo>
                    <a:pt x="720" y="596"/>
                  </a:lnTo>
                  <a:lnTo>
                    <a:pt x="721" y="593"/>
                  </a:lnTo>
                  <a:lnTo>
                    <a:pt x="723" y="590"/>
                  </a:lnTo>
                  <a:lnTo>
                    <a:pt x="723" y="587"/>
                  </a:lnTo>
                  <a:lnTo>
                    <a:pt x="723" y="422"/>
                  </a:lnTo>
                  <a:lnTo>
                    <a:pt x="828" y="422"/>
                  </a:lnTo>
                  <a:lnTo>
                    <a:pt x="836" y="422"/>
                  </a:lnTo>
                  <a:lnTo>
                    <a:pt x="844" y="421"/>
                  </a:lnTo>
                  <a:lnTo>
                    <a:pt x="850" y="419"/>
                  </a:lnTo>
                  <a:lnTo>
                    <a:pt x="858" y="415"/>
                  </a:lnTo>
                  <a:lnTo>
                    <a:pt x="864" y="413"/>
                  </a:lnTo>
                  <a:lnTo>
                    <a:pt x="871" y="409"/>
                  </a:lnTo>
                  <a:lnTo>
                    <a:pt x="876" y="405"/>
                  </a:lnTo>
                  <a:lnTo>
                    <a:pt x="881" y="399"/>
                  </a:lnTo>
                  <a:lnTo>
                    <a:pt x="887" y="394"/>
                  </a:lnTo>
                  <a:lnTo>
                    <a:pt x="891" y="389"/>
                  </a:lnTo>
                  <a:lnTo>
                    <a:pt x="894" y="382"/>
                  </a:lnTo>
                  <a:lnTo>
                    <a:pt x="897" y="376"/>
                  </a:lnTo>
                  <a:lnTo>
                    <a:pt x="900" y="369"/>
                  </a:lnTo>
                  <a:lnTo>
                    <a:pt x="902" y="362"/>
                  </a:lnTo>
                  <a:lnTo>
                    <a:pt x="903" y="354"/>
                  </a:lnTo>
                  <a:lnTo>
                    <a:pt x="904" y="347"/>
                  </a:lnTo>
                  <a:lnTo>
                    <a:pt x="904" y="75"/>
                  </a:lnTo>
                  <a:lnTo>
                    <a:pt x="903" y="68"/>
                  </a:lnTo>
                  <a:lnTo>
                    <a:pt x="902" y="60"/>
                  </a:lnTo>
                  <a:lnTo>
                    <a:pt x="900" y="53"/>
                  </a:lnTo>
                  <a:lnTo>
                    <a:pt x="897" y="46"/>
                  </a:lnTo>
                  <a:lnTo>
                    <a:pt x="894" y="40"/>
                  </a:lnTo>
                  <a:lnTo>
                    <a:pt x="891" y="34"/>
                  </a:lnTo>
                  <a:lnTo>
                    <a:pt x="887" y="28"/>
                  </a:lnTo>
                  <a:lnTo>
                    <a:pt x="881" y="23"/>
                  </a:lnTo>
                  <a:lnTo>
                    <a:pt x="876" y="17"/>
                  </a:lnTo>
                  <a:lnTo>
                    <a:pt x="871" y="13"/>
                  </a:lnTo>
                  <a:lnTo>
                    <a:pt x="864" y="10"/>
                  </a:lnTo>
                  <a:lnTo>
                    <a:pt x="858" y="7"/>
                  </a:lnTo>
                  <a:lnTo>
                    <a:pt x="850" y="4"/>
                  </a:lnTo>
                  <a:lnTo>
                    <a:pt x="844" y="1"/>
                  </a:lnTo>
                  <a:lnTo>
                    <a:pt x="836"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117">
              <a:extLst>
                <a:ext uri="{FF2B5EF4-FFF2-40B4-BE49-F238E27FC236}">
                  <a16:creationId xmlns:a16="http://schemas.microsoft.com/office/drawing/2014/main" id="{E03DDCFB-BC05-4AF7-B394-0322E30F3F70}"/>
                </a:ext>
              </a:extLst>
            </p:cNvPr>
            <p:cNvSpPr>
              <a:spLocks noEditPoints="1"/>
            </p:cNvSpPr>
            <p:nvPr/>
          </p:nvSpPr>
          <p:spPr bwMode="auto">
            <a:xfrm>
              <a:off x="4376738" y="1379538"/>
              <a:ext cx="171450" cy="66675"/>
            </a:xfrm>
            <a:custGeom>
              <a:avLst/>
              <a:gdLst>
                <a:gd name="T0" fmla="*/ 490 w 542"/>
                <a:gd name="T1" fmla="*/ 121 h 211"/>
                <a:gd name="T2" fmla="*/ 421 w 542"/>
                <a:gd name="T3" fmla="*/ 51 h 211"/>
                <a:gd name="T4" fmla="*/ 18 w 542"/>
                <a:gd name="T5" fmla="*/ 211 h 211"/>
                <a:gd name="T6" fmla="*/ 24 w 542"/>
                <a:gd name="T7" fmla="*/ 209 h 211"/>
                <a:gd name="T8" fmla="*/ 28 w 542"/>
                <a:gd name="T9" fmla="*/ 205 h 211"/>
                <a:gd name="T10" fmla="*/ 30 w 542"/>
                <a:gd name="T11" fmla="*/ 199 h 211"/>
                <a:gd name="T12" fmla="*/ 30 w 542"/>
                <a:gd name="T13" fmla="*/ 31 h 211"/>
                <a:gd name="T14" fmla="*/ 391 w 542"/>
                <a:gd name="T15" fmla="*/ 136 h 211"/>
                <a:gd name="T16" fmla="*/ 392 w 542"/>
                <a:gd name="T17" fmla="*/ 142 h 211"/>
                <a:gd name="T18" fmla="*/ 396 w 542"/>
                <a:gd name="T19" fmla="*/ 147 h 211"/>
                <a:gd name="T20" fmla="*/ 400 w 542"/>
                <a:gd name="T21" fmla="*/ 150 h 211"/>
                <a:gd name="T22" fmla="*/ 406 w 542"/>
                <a:gd name="T23" fmla="*/ 151 h 211"/>
                <a:gd name="T24" fmla="*/ 512 w 542"/>
                <a:gd name="T25" fmla="*/ 196 h 211"/>
                <a:gd name="T26" fmla="*/ 513 w 542"/>
                <a:gd name="T27" fmla="*/ 202 h 211"/>
                <a:gd name="T28" fmla="*/ 516 w 542"/>
                <a:gd name="T29" fmla="*/ 207 h 211"/>
                <a:gd name="T30" fmla="*/ 521 w 542"/>
                <a:gd name="T31" fmla="*/ 210 h 211"/>
                <a:gd name="T32" fmla="*/ 527 w 542"/>
                <a:gd name="T33" fmla="*/ 211 h 211"/>
                <a:gd name="T34" fmla="*/ 533 w 542"/>
                <a:gd name="T35" fmla="*/ 210 h 211"/>
                <a:gd name="T36" fmla="*/ 537 w 542"/>
                <a:gd name="T37" fmla="*/ 207 h 211"/>
                <a:gd name="T38" fmla="*/ 540 w 542"/>
                <a:gd name="T39" fmla="*/ 202 h 211"/>
                <a:gd name="T40" fmla="*/ 542 w 542"/>
                <a:gd name="T41" fmla="*/ 196 h 211"/>
                <a:gd name="T42" fmla="*/ 542 w 542"/>
                <a:gd name="T43" fmla="*/ 133 h 211"/>
                <a:gd name="T44" fmla="*/ 539 w 542"/>
                <a:gd name="T45" fmla="*/ 128 h 211"/>
                <a:gd name="T46" fmla="*/ 417 w 542"/>
                <a:gd name="T47" fmla="*/ 5 h 211"/>
                <a:gd name="T48" fmla="*/ 412 w 542"/>
                <a:gd name="T49" fmla="*/ 2 h 211"/>
                <a:gd name="T50" fmla="*/ 406 w 542"/>
                <a:gd name="T51" fmla="*/ 1 h 211"/>
                <a:gd name="T52" fmla="*/ 12 w 542"/>
                <a:gd name="T53" fmla="*/ 1 h 211"/>
                <a:gd name="T54" fmla="*/ 6 w 542"/>
                <a:gd name="T55" fmla="*/ 3 h 211"/>
                <a:gd name="T56" fmla="*/ 2 w 542"/>
                <a:gd name="T57" fmla="*/ 8 h 211"/>
                <a:gd name="T58" fmla="*/ 0 w 542"/>
                <a:gd name="T59" fmla="*/ 13 h 211"/>
                <a:gd name="T60" fmla="*/ 0 w 542"/>
                <a:gd name="T61" fmla="*/ 196 h 211"/>
                <a:gd name="T62" fmla="*/ 1 w 542"/>
                <a:gd name="T63" fmla="*/ 202 h 211"/>
                <a:gd name="T64" fmla="*/ 4 w 542"/>
                <a:gd name="T65" fmla="*/ 207 h 211"/>
                <a:gd name="T66" fmla="*/ 9 w 542"/>
                <a:gd name="T67" fmla="*/ 210 h 211"/>
                <a:gd name="T68" fmla="*/ 15 w 542"/>
                <a:gd name="T69"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2" h="211">
                  <a:moveTo>
                    <a:pt x="421" y="51"/>
                  </a:moveTo>
                  <a:lnTo>
                    <a:pt x="490" y="121"/>
                  </a:lnTo>
                  <a:lnTo>
                    <a:pt x="421" y="121"/>
                  </a:lnTo>
                  <a:lnTo>
                    <a:pt x="421" y="51"/>
                  </a:lnTo>
                  <a:close/>
                  <a:moveTo>
                    <a:pt x="15" y="211"/>
                  </a:moveTo>
                  <a:lnTo>
                    <a:pt x="18" y="211"/>
                  </a:lnTo>
                  <a:lnTo>
                    <a:pt x="20" y="210"/>
                  </a:lnTo>
                  <a:lnTo>
                    <a:pt x="24" y="209"/>
                  </a:lnTo>
                  <a:lnTo>
                    <a:pt x="26" y="207"/>
                  </a:lnTo>
                  <a:lnTo>
                    <a:pt x="28" y="205"/>
                  </a:lnTo>
                  <a:lnTo>
                    <a:pt x="29" y="202"/>
                  </a:lnTo>
                  <a:lnTo>
                    <a:pt x="30" y="199"/>
                  </a:lnTo>
                  <a:lnTo>
                    <a:pt x="30" y="196"/>
                  </a:lnTo>
                  <a:lnTo>
                    <a:pt x="30" y="31"/>
                  </a:lnTo>
                  <a:lnTo>
                    <a:pt x="391" y="31"/>
                  </a:lnTo>
                  <a:lnTo>
                    <a:pt x="391" y="136"/>
                  </a:lnTo>
                  <a:lnTo>
                    <a:pt x="391" y="139"/>
                  </a:lnTo>
                  <a:lnTo>
                    <a:pt x="392" y="142"/>
                  </a:lnTo>
                  <a:lnTo>
                    <a:pt x="394" y="145"/>
                  </a:lnTo>
                  <a:lnTo>
                    <a:pt x="396" y="147"/>
                  </a:lnTo>
                  <a:lnTo>
                    <a:pt x="398" y="148"/>
                  </a:lnTo>
                  <a:lnTo>
                    <a:pt x="400" y="150"/>
                  </a:lnTo>
                  <a:lnTo>
                    <a:pt x="403" y="151"/>
                  </a:lnTo>
                  <a:lnTo>
                    <a:pt x="406" y="151"/>
                  </a:lnTo>
                  <a:lnTo>
                    <a:pt x="512" y="151"/>
                  </a:lnTo>
                  <a:lnTo>
                    <a:pt x="512" y="196"/>
                  </a:lnTo>
                  <a:lnTo>
                    <a:pt x="512" y="199"/>
                  </a:lnTo>
                  <a:lnTo>
                    <a:pt x="513" y="202"/>
                  </a:lnTo>
                  <a:lnTo>
                    <a:pt x="514" y="205"/>
                  </a:lnTo>
                  <a:lnTo>
                    <a:pt x="516" y="207"/>
                  </a:lnTo>
                  <a:lnTo>
                    <a:pt x="518" y="209"/>
                  </a:lnTo>
                  <a:lnTo>
                    <a:pt x="521" y="210"/>
                  </a:lnTo>
                  <a:lnTo>
                    <a:pt x="523" y="211"/>
                  </a:lnTo>
                  <a:lnTo>
                    <a:pt x="527" y="211"/>
                  </a:lnTo>
                  <a:lnTo>
                    <a:pt x="530" y="211"/>
                  </a:lnTo>
                  <a:lnTo>
                    <a:pt x="533" y="210"/>
                  </a:lnTo>
                  <a:lnTo>
                    <a:pt x="535" y="209"/>
                  </a:lnTo>
                  <a:lnTo>
                    <a:pt x="537" y="207"/>
                  </a:lnTo>
                  <a:lnTo>
                    <a:pt x="539" y="205"/>
                  </a:lnTo>
                  <a:lnTo>
                    <a:pt x="540" y="202"/>
                  </a:lnTo>
                  <a:lnTo>
                    <a:pt x="542" y="199"/>
                  </a:lnTo>
                  <a:lnTo>
                    <a:pt x="542" y="196"/>
                  </a:lnTo>
                  <a:lnTo>
                    <a:pt x="542" y="136"/>
                  </a:lnTo>
                  <a:lnTo>
                    <a:pt x="542" y="133"/>
                  </a:lnTo>
                  <a:lnTo>
                    <a:pt x="540" y="130"/>
                  </a:lnTo>
                  <a:lnTo>
                    <a:pt x="539" y="128"/>
                  </a:lnTo>
                  <a:lnTo>
                    <a:pt x="537" y="125"/>
                  </a:lnTo>
                  <a:lnTo>
                    <a:pt x="417" y="5"/>
                  </a:lnTo>
                  <a:lnTo>
                    <a:pt x="415" y="3"/>
                  </a:lnTo>
                  <a:lnTo>
                    <a:pt x="412" y="2"/>
                  </a:lnTo>
                  <a:lnTo>
                    <a:pt x="410" y="1"/>
                  </a:lnTo>
                  <a:lnTo>
                    <a:pt x="406" y="1"/>
                  </a:lnTo>
                  <a:lnTo>
                    <a:pt x="15" y="0"/>
                  </a:lnTo>
                  <a:lnTo>
                    <a:pt x="12" y="1"/>
                  </a:lnTo>
                  <a:lnTo>
                    <a:pt x="9" y="2"/>
                  </a:lnTo>
                  <a:lnTo>
                    <a:pt x="6" y="3"/>
                  </a:lnTo>
                  <a:lnTo>
                    <a:pt x="4" y="5"/>
                  </a:lnTo>
                  <a:lnTo>
                    <a:pt x="2" y="8"/>
                  </a:lnTo>
                  <a:lnTo>
                    <a:pt x="1" y="10"/>
                  </a:lnTo>
                  <a:lnTo>
                    <a:pt x="0" y="13"/>
                  </a:lnTo>
                  <a:lnTo>
                    <a:pt x="0" y="16"/>
                  </a:lnTo>
                  <a:lnTo>
                    <a:pt x="0" y="196"/>
                  </a:lnTo>
                  <a:lnTo>
                    <a:pt x="0" y="199"/>
                  </a:lnTo>
                  <a:lnTo>
                    <a:pt x="1" y="202"/>
                  </a:lnTo>
                  <a:lnTo>
                    <a:pt x="2" y="205"/>
                  </a:lnTo>
                  <a:lnTo>
                    <a:pt x="4" y="207"/>
                  </a:lnTo>
                  <a:lnTo>
                    <a:pt x="6" y="209"/>
                  </a:lnTo>
                  <a:lnTo>
                    <a:pt x="9" y="210"/>
                  </a:lnTo>
                  <a:lnTo>
                    <a:pt x="12" y="211"/>
                  </a:lnTo>
                  <a:lnTo>
                    <a:pt x="15" y="211"/>
                  </a:lnTo>
                  <a:lnTo>
                    <a:pt x="15"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118">
              <a:extLst>
                <a:ext uri="{FF2B5EF4-FFF2-40B4-BE49-F238E27FC236}">
                  <a16:creationId xmlns:a16="http://schemas.microsoft.com/office/drawing/2014/main" id="{E66E348E-239B-4248-B97F-112161F83AB0}"/>
                </a:ext>
              </a:extLst>
            </p:cNvPr>
            <p:cNvSpPr>
              <a:spLocks/>
            </p:cNvSpPr>
            <p:nvPr/>
          </p:nvSpPr>
          <p:spPr bwMode="auto">
            <a:xfrm>
              <a:off x="4405313" y="15716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8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0 h 30"/>
                <a:gd name="T50" fmla="*/ 361 w 361"/>
                <a:gd name="T51" fmla="*/ 18 h 30"/>
                <a:gd name="T52" fmla="*/ 361 w 361"/>
                <a:gd name="T53" fmla="*/ 15 h 30"/>
                <a:gd name="T54" fmla="*/ 361 w 361"/>
                <a:gd name="T55" fmla="*/ 12 h 30"/>
                <a:gd name="T56" fmla="*/ 360 w 361"/>
                <a:gd name="T57" fmla="*/ 8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2"/>
                  </a:lnTo>
                  <a:lnTo>
                    <a:pt x="4" y="4"/>
                  </a:lnTo>
                  <a:lnTo>
                    <a:pt x="3" y="6"/>
                  </a:lnTo>
                  <a:lnTo>
                    <a:pt x="1" y="8"/>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0"/>
                  </a:lnTo>
                  <a:lnTo>
                    <a:pt x="361" y="18"/>
                  </a:lnTo>
                  <a:lnTo>
                    <a:pt x="361" y="15"/>
                  </a:lnTo>
                  <a:lnTo>
                    <a:pt x="361" y="12"/>
                  </a:lnTo>
                  <a:lnTo>
                    <a:pt x="360" y="8"/>
                  </a:lnTo>
                  <a:lnTo>
                    <a:pt x="359" y="6"/>
                  </a:lnTo>
                  <a:lnTo>
                    <a:pt x="357" y="4"/>
                  </a:lnTo>
                  <a:lnTo>
                    <a:pt x="355" y="2"/>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119">
              <a:extLst>
                <a:ext uri="{FF2B5EF4-FFF2-40B4-BE49-F238E27FC236}">
                  <a16:creationId xmlns:a16="http://schemas.microsoft.com/office/drawing/2014/main" id="{BF718D5B-9C1E-47B5-BD80-F48392A8D3A8}"/>
                </a:ext>
              </a:extLst>
            </p:cNvPr>
            <p:cNvSpPr>
              <a:spLocks/>
            </p:cNvSpPr>
            <p:nvPr/>
          </p:nvSpPr>
          <p:spPr bwMode="auto">
            <a:xfrm>
              <a:off x="4405313" y="159067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346" y="0"/>
                  </a:moveTo>
                  <a:lnTo>
                    <a:pt x="15" y="0"/>
                  </a:lnTo>
                  <a:lnTo>
                    <a:pt x="12" y="0"/>
                  </a:lnTo>
                  <a:lnTo>
                    <a:pt x="10" y="1"/>
                  </a:lnTo>
                  <a:lnTo>
                    <a:pt x="6" y="2"/>
                  </a:lnTo>
                  <a:lnTo>
                    <a:pt x="4" y="4"/>
                  </a:lnTo>
                  <a:lnTo>
                    <a:pt x="3" y="6"/>
                  </a:lnTo>
                  <a:lnTo>
                    <a:pt x="1" y="10"/>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1"/>
                  </a:lnTo>
                  <a:lnTo>
                    <a:pt x="361" y="18"/>
                  </a:lnTo>
                  <a:lnTo>
                    <a:pt x="361" y="15"/>
                  </a:lnTo>
                  <a:lnTo>
                    <a:pt x="361" y="12"/>
                  </a:lnTo>
                  <a:lnTo>
                    <a:pt x="360" y="10"/>
                  </a:lnTo>
                  <a:lnTo>
                    <a:pt x="359" y="6"/>
                  </a:lnTo>
                  <a:lnTo>
                    <a:pt x="357" y="4"/>
                  </a:lnTo>
                  <a:lnTo>
                    <a:pt x="355" y="2"/>
                  </a:lnTo>
                  <a:lnTo>
                    <a:pt x="352" y="1"/>
                  </a:lnTo>
                  <a:lnTo>
                    <a:pt x="350"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120">
              <a:extLst>
                <a:ext uri="{FF2B5EF4-FFF2-40B4-BE49-F238E27FC236}">
                  <a16:creationId xmlns:a16="http://schemas.microsoft.com/office/drawing/2014/main" id="{97DBBB50-1769-414A-A12D-187025A272DB}"/>
                </a:ext>
              </a:extLst>
            </p:cNvPr>
            <p:cNvSpPr>
              <a:spLocks/>
            </p:cNvSpPr>
            <p:nvPr/>
          </p:nvSpPr>
          <p:spPr bwMode="auto">
            <a:xfrm>
              <a:off x="4405313" y="16097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3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1 h 30"/>
                <a:gd name="T24" fmla="*/ 3 w 361"/>
                <a:gd name="T25" fmla="*/ 24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4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3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3"/>
                  </a:lnTo>
                  <a:lnTo>
                    <a:pt x="4" y="4"/>
                  </a:lnTo>
                  <a:lnTo>
                    <a:pt x="3" y="6"/>
                  </a:lnTo>
                  <a:lnTo>
                    <a:pt x="1" y="10"/>
                  </a:lnTo>
                  <a:lnTo>
                    <a:pt x="0" y="12"/>
                  </a:lnTo>
                  <a:lnTo>
                    <a:pt x="0" y="15"/>
                  </a:lnTo>
                  <a:lnTo>
                    <a:pt x="0" y="18"/>
                  </a:lnTo>
                  <a:lnTo>
                    <a:pt x="1" y="21"/>
                  </a:lnTo>
                  <a:lnTo>
                    <a:pt x="3" y="24"/>
                  </a:lnTo>
                  <a:lnTo>
                    <a:pt x="4" y="26"/>
                  </a:lnTo>
                  <a:lnTo>
                    <a:pt x="6" y="28"/>
                  </a:lnTo>
                  <a:lnTo>
                    <a:pt x="10" y="29"/>
                  </a:lnTo>
                  <a:lnTo>
                    <a:pt x="12" y="30"/>
                  </a:lnTo>
                  <a:lnTo>
                    <a:pt x="15" y="30"/>
                  </a:lnTo>
                  <a:lnTo>
                    <a:pt x="346" y="30"/>
                  </a:lnTo>
                  <a:lnTo>
                    <a:pt x="350" y="30"/>
                  </a:lnTo>
                  <a:lnTo>
                    <a:pt x="352" y="29"/>
                  </a:lnTo>
                  <a:lnTo>
                    <a:pt x="355" y="28"/>
                  </a:lnTo>
                  <a:lnTo>
                    <a:pt x="357" y="26"/>
                  </a:lnTo>
                  <a:lnTo>
                    <a:pt x="359" y="24"/>
                  </a:lnTo>
                  <a:lnTo>
                    <a:pt x="360" y="21"/>
                  </a:lnTo>
                  <a:lnTo>
                    <a:pt x="361" y="18"/>
                  </a:lnTo>
                  <a:lnTo>
                    <a:pt x="361" y="15"/>
                  </a:lnTo>
                  <a:lnTo>
                    <a:pt x="361" y="12"/>
                  </a:lnTo>
                  <a:lnTo>
                    <a:pt x="360" y="10"/>
                  </a:lnTo>
                  <a:lnTo>
                    <a:pt x="359" y="6"/>
                  </a:lnTo>
                  <a:lnTo>
                    <a:pt x="357" y="4"/>
                  </a:lnTo>
                  <a:lnTo>
                    <a:pt x="355" y="3"/>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121">
              <a:extLst>
                <a:ext uri="{FF2B5EF4-FFF2-40B4-BE49-F238E27FC236}">
                  <a16:creationId xmlns:a16="http://schemas.microsoft.com/office/drawing/2014/main" id="{3B1CCF54-3DF8-41F2-B4DA-0C5A23190FBC}"/>
                </a:ext>
              </a:extLst>
            </p:cNvPr>
            <p:cNvSpPr>
              <a:spLocks noEditPoints="1"/>
            </p:cNvSpPr>
            <p:nvPr/>
          </p:nvSpPr>
          <p:spPr bwMode="auto">
            <a:xfrm>
              <a:off x="4338638" y="1474788"/>
              <a:ext cx="38100" cy="39688"/>
            </a:xfrm>
            <a:custGeom>
              <a:avLst/>
              <a:gdLst>
                <a:gd name="T0" fmla="*/ 53 w 120"/>
                <a:gd name="T1" fmla="*/ 90 h 121"/>
                <a:gd name="T2" fmla="*/ 43 w 120"/>
                <a:gd name="T3" fmla="*/ 86 h 121"/>
                <a:gd name="T4" fmla="*/ 34 w 120"/>
                <a:gd name="T5" fmla="*/ 78 h 121"/>
                <a:gd name="T6" fmla="*/ 30 w 120"/>
                <a:gd name="T7" fmla="*/ 67 h 121"/>
                <a:gd name="T8" fmla="*/ 30 w 120"/>
                <a:gd name="T9" fmla="*/ 55 h 121"/>
                <a:gd name="T10" fmla="*/ 34 w 120"/>
                <a:gd name="T11" fmla="*/ 44 h 121"/>
                <a:gd name="T12" fmla="*/ 43 w 120"/>
                <a:gd name="T13" fmla="*/ 36 h 121"/>
                <a:gd name="T14" fmla="*/ 53 w 120"/>
                <a:gd name="T15" fmla="*/ 31 h 121"/>
                <a:gd name="T16" fmla="*/ 65 w 120"/>
                <a:gd name="T17" fmla="*/ 31 h 121"/>
                <a:gd name="T18" fmla="*/ 76 w 120"/>
                <a:gd name="T19" fmla="*/ 36 h 121"/>
                <a:gd name="T20" fmla="*/ 85 w 120"/>
                <a:gd name="T21" fmla="*/ 44 h 121"/>
                <a:gd name="T22" fmla="*/ 89 w 120"/>
                <a:gd name="T23" fmla="*/ 55 h 121"/>
                <a:gd name="T24" fmla="*/ 89 w 120"/>
                <a:gd name="T25" fmla="*/ 67 h 121"/>
                <a:gd name="T26" fmla="*/ 85 w 120"/>
                <a:gd name="T27" fmla="*/ 78 h 121"/>
                <a:gd name="T28" fmla="*/ 76 w 120"/>
                <a:gd name="T29" fmla="*/ 86 h 121"/>
                <a:gd name="T30" fmla="*/ 65 w 120"/>
                <a:gd name="T31" fmla="*/ 90 h 121"/>
                <a:gd name="T32" fmla="*/ 60 w 120"/>
                <a:gd name="T33" fmla="*/ 0 h 121"/>
                <a:gd name="T34" fmla="*/ 47 w 120"/>
                <a:gd name="T35" fmla="*/ 1 h 121"/>
                <a:gd name="T36" fmla="*/ 36 w 120"/>
                <a:gd name="T37" fmla="*/ 6 h 121"/>
                <a:gd name="T38" fmla="*/ 26 w 120"/>
                <a:gd name="T39" fmla="*/ 11 h 121"/>
                <a:gd name="T40" fmla="*/ 17 w 120"/>
                <a:gd name="T41" fmla="*/ 19 h 121"/>
                <a:gd name="T42" fmla="*/ 9 w 120"/>
                <a:gd name="T43" fmla="*/ 27 h 121"/>
                <a:gd name="T44" fmla="*/ 4 w 120"/>
                <a:gd name="T45" fmla="*/ 37 h 121"/>
                <a:gd name="T46" fmla="*/ 1 w 120"/>
                <a:gd name="T47" fmla="*/ 49 h 121"/>
                <a:gd name="T48" fmla="*/ 0 w 120"/>
                <a:gd name="T49" fmla="*/ 60 h 121"/>
                <a:gd name="T50" fmla="*/ 1 w 120"/>
                <a:gd name="T51" fmla="*/ 73 h 121"/>
                <a:gd name="T52" fmla="*/ 4 w 120"/>
                <a:gd name="T53" fmla="*/ 84 h 121"/>
                <a:gd name="T54" fmla="*/ 9 w 120"/>
                <a:gd name="T55" fmla="*/ 95 h 121"/>
                <a:gd name="T56" fmla="*/ 17 w 120"/>
                <a:gd name="T57" fmla="*/ 103 h 121"/>
                <a:gd name="T58" fmla="*/ 26 w 120"/>
                <a:gd name="T59" fmla="*/ 111 h 121"/>
                <a:gd name="T60" fmla="*/ 36 w 120"/>
                <a:gd name="T61" fmla="*/ 116 h 121"/>
                <a:gd name="T62" fmla="*/ 47 w 120"/>
                <a:gd name="T63" fmla="*/ 119 h 121"/>
                <a:gd name="T64" fmla="*/ 60 w 120"/>
                <a:gd name="T65" fmla="*/ 121 h 121"/>
                <a:gd name="T66" fmla="*/ 72 w 120"/>
                <a:gd name="T67" fmla="*/ 119 h 121"/>
                <a:gd name="T68" fmla="*/ 83 w 120"/>
                <a:gd name="T69" fmla="*/ 116 h 121"/>
                <a:gd name="T70" fmla="*/ 93 w 120"/>
                <a:gd name="T71" fmla="*/ 111 h 121"/>
                <a:gd name="T72" fmla="*/ 102 w 120"/>
                <a:gd name="T73" fmla="*/ 103 h 121"/>
                <a:gd name="T74" fmla="*/ 109 w 120"/>
                <a:gd name="T75" fmla="*/ 95 h 121"/>
                <a:gd name="T76" fmla="*/ 115 w 120"/>
                <a:gd name="T77" fmla="*/ 84 h 121"/>
                <a:gd name="T78" fmla="*/ 119 w 120"/>
                <a:gd name="T79" fmla="*/ 73 h 121"/>
                <a:gd name="T80" fmla="*/ 120 w 120"/>
                <a:gd name="T81" fmla="*/ 60 h 121"/>
                <a:gd name="T82" fmla="*/ 119 w 120"/>
                <a:gd name="T83" fmla="*/ 49 h 121"/>
                <a:gd name="T84" fmla="*/ 115 w 120"/>
                <a:gd name="T85" fmla="*/ 37 h 121"/>
                <a:gd name="T86" fmla="*/ 109 w 120"/>
                <a:gd name="T87" fmla="*/ 27 h 121"/>
                <a:gd name="T88" fmla="*/ 102 w 120"/>
                <a:gd name="T89" fmla="*/ 19 h 121"/>
                <a:gd name="T90" fmla="*/ 93 w 120"/>
                <a:gd name="T91" fmla="*/ 11 h 121"/>
                <a:gd name="T92" fmla="*/ 83 w 120"/>
                <a:gd name="T93" fmla="*/ 6 h 121"/>
                <a:gd name="T94" fmla="*/ 72 w 120"/>
                <a:gd name="T95" fmla="*/ 1 h 121"/>
                <a:gd name="T96" fmla="*/ 60 w 120"/>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21">
                  <a:moveTo>
                    <a:pt x="60" y="90"/>
                  </a:moveTo>
                  <a:lnTo>
                    <a:pt x="53" y="90"/>
                  </a:lnTo>
                  <a:lnTo>
                    <a:pt x="48" y="88"/>
                  </a:lnTo>
                  <a:lnTo>
                    <a:pt x="43" y="86"/>
                  </a:lnTo>
                  <a:lnTo>
                    <a:pt x="38" y="82"/>
                  </a:lnTo>
                  <a:lnTo>
                    <a:pt x="34" y="78"/>
                  </a:lnTo>
                  <a:lnTo>
                    <a:pt x="32" y="72"/>
                  </a:lnTo>
                  <a:lnTo>
                    <a:pt x="30" y="67"/>
                  </a:lnTo>
                  <a:lnTo>
                    <a:pt x="30" y="60"/>
                  </a:lnTo>
                  <a:lnTo>
                    <a:pt x="30" y="55"/>
                  </a:lnTo>
                  <a:lnTo>
                    <a:pt x="32" y="49"/>
                  </a:lnTo>
                  <a:lnTo>
                    <a:pt x="34" y="44"/>
                  </a:lnTo>
                  <a:lnTo>
                    <a:pt x="38" y="39"/>
                  </a:lnTo>
                  <a:lnTo>
                    <a:pt x="43" y="36"/>
                  </a:lnTo>
                  <a:lnTo>
                    <a:pt x="48" y="33"/>
                  </a:lnTo>
                  <a:lnTo>
                    <a:pt x="53" y="31"/>
                  </a:lnTo>
                  <a:lnTo>
                    <a:pt x="60" y="30"/>
                  </a:lnTo>
                  <a:lnTo>
                    <a:pt x="65" y="31"/>
                  </a:lnTo>
                  <a:lnTo>
                    <a:pt x="72" y="33"/>
                  </a:lnTo>
                  <a:lnTo>
                    <a:pt x="76" y="36"/>
                  </a:lnTo>
                  <a:lnTo>
                    <a:pt x="81" y="39"/>
                  </a:lnTo>
                  <a:lnTo>
                    <a:pt x="85" y="44"/>
                  </a:lnTo>
                  <a:lnTo>
                    <a:pt x="88" y="49"/>
                  </a:lnTo>
                  <a:lnTo>
                    <a:pt x="89" y="55"/>
                  </a:lnTo>
                  <a:lnTo>
                    <a:pt x="90" y="60"/>
                  </a:lnTo>
                  <a:lnTo>
                    <a:pt x="89" y="67"/>
                  </a:lnTo>
                  <a:lnTo>
                    <a:pt x="88" y="72"/>
                  </a:lnTo>
                  <a:lnTo>
                    <a:pt x="85" y="78"/>
                  </a:lnTo>
                  <a:lnTo>
                    <a:pt x="81" y="82"/>
                  </a:lnTo>
                  <a:lnTo>
                    <a:pt x="76" y="86"/>
                  </a:lnTo>
                  <a:lnTo>
                    <a:pt x="72" y="88"/>
                  </a:lnTo>
                  <a:lnTo>
                    <a:pt x="65" y="90"/>
                  </a:lnTo>
                  <a:lnTo>
                    <a:pt x="60" y="90"/>
                  </a:lnTo>
                  <a:close/>
                  <a:moveTo>
                    <a:pt x="60" y="0"/>
                  </a:moveTo>
                  <a:lnTo>
                    <a:pt x="53" y="0"/>
                  </a:lnTo>
                  <a:lnTo>
                    <a:pt x="47" y="1"/>
                  </a:lnTo>
                  <a:lnTo>
                    <a:pt x="42" y="4"/>
                  </a:lnTo>
                  <a:lnTo>
                    <a:pt x="36" y="6"/>
                  </a:lnTo>
                  <a:lnTo>
                    <a:pt x="31" y="8"/>
                  </a:lnTo>
                  <a:lnTo>
                    <a:pt x="26" y="11"/>
                  </a:lnTo>
                  <a:lnTo>
                    <a:pt x="21" y="14"/>
                  </a:lnTo>
                  <a:lnTo>
                    <a:pt x="17" y="19"/>
                  </a:lnTo>
                  <a:lnTo>
                    <a:pt x="13" y="23"/>
                  </a:lnTo>
                  <a:lnTo>
                    <a:pt x="9" y="27"/>
                  </a:lnTo>
                  <a:lnTo>
                    <a:pt x="6" y="33"/>
                  </a:lnTo>
                  <a:lnTo>
                    <a:pt x="4" y="37"/>
                  </a:lnTo>
                  <a:lnTo>
                    <a:pt x="2" y="43"/>
                  </a:lnTo>
                  <a:lnTo>
                    <a:pt x="1" y="49"/>
                  </a:lnTo>
                  <a:lnTo>
                    <a:pt x="0" y="55"/>
                  </a:lnTo>
                  <a:lnTo>
                    <a:pt x="0" y="60"/>
                  </a:lnTo>
                  <a:lnTo>
                    <a:pt x="0" y="67"/>
                  </a:lnTo>
                  <a:lnTo>
                    <a:pt x="1" y="73"/>
                  </a:lnTo>
                  <a:lnTo>
                    <a:pt x="2" y="79"/>
                  </a:lnTo>
                  <a:lnTo>
                    <a:pt x="4" y="84"/>
                  </a:lnTo>
                  <a:lnTo>
                    <a:pt x="6" y="89"/>
                  </a:lnTo>
                  <a:lnTo>
                    <a:pt x="9" y="95"/>
                  </a:lnTo>
                  <a:lnTo>
                    <a:pt x="13" y="99"/>
                  </a:lnTo>
                  <a:lnTo>
                    <a:pt x="17" y="103"/>
                  </a:lnTo>
                  <a:lnTo>
                    <a:pt x="21" y="108"/>
                  </a:lnTo>
                  <a:lnTo>
                    <a:pt x="26" y="111"/>
                  </a:lnTo>
                  <a:lnTo>
                    <a:pt x="31" y="114"/>
                  </a:lnTo>
                  <a:lnTo>
                    <a:pt x="36" y="116"/>
                  </a:lnTo>
                  <a:lnTo>
                    <a:pt x="42" y="118"/>
                  </a:lnTo>
                  <a:lnTo>
                    <a:pt x="47" y="119"/>
                  </a:lnTo>
                  <a:lnTo>
                    <a:pt x="53" y="121"/>
                  </a:lnTo>
                  <a:lnTo>
                    <a:pt x="60" y="121"/>
                  </a:lnTo>
                  <a:lnTo>
                    <a:pt x="65" y="121"/>
                  </a:lnTo>
                  <a:lnTo>
                    <a:pt x="72" y="119"/>
                  </a:lnTo>
                  <a:lnTo>
                    <a:pt x="77" y="118"/>
                  </a:lnTo>
                  <a:lnTo>
                    <a:pt x="83" y="116"/>
                  </a:lnTo>
                  <a:lnTo>
                    <a:pt x="89" y="114"/>
                  </a:lnTo>
                  <a:lnTo>
                    <a:pt x="93" y="111"/>
                  </a:lnTo>
                  <a:lnTo>
                    <a:pt x="97" y="108"/>
                  </a:lnTo>
                  <a:lnTo>
                    <a:pt x="102" y="103"/>
                  </a:lnTo>
                  <a:lnTo>
                    <a:pt x="106" y="99"/>
                  </a:lnTo>
                  <a:lnTo>
                    <a:pt x="109" y="95"/>
                  </a:lnTo>
                  <a:lnTo>
                    <a:pt x="112" y="89"/>
                  </a:lnTo>
                  <a:lnTo>
                    <a:pt x="115" y="84"/>
                  </a:lnTo>
                  <a:lnTo>
                    <a:pt x="117" y="79"/>
                  </a:lnTo>
                  <a:lnTo>
                    <a:pt x="119" y="73"/>
                  </a:lnTo>
                  <a:lnTo>
                    <a:pt x="120" y="67"/>
                  </a:lnTo>
                  <a:lnTo>
                    <a:pt x="120" y="60"/>
                  </a:lnTo>
                  <a:lnTo>
                    <a:pt x="120" y="55"/>
                  </a:lnTo>
                  <a:lnTo>
                    <a:pt x="119" y="49"/>
                  </a:lnTo>
                  <a:lnTo>
                    <a:pt x="117" y="43"/>
                  </a:lnTo>
                  <a:lnTo>
                    <a:pt x="115" y="37"/>
                  </a:lnTo>
                  <a:lnTo>
                    <a:pt x="112" y="33"/>
                  </a:lnTo>
                  <a:lnTo>
                    <a:pt x="109" y="27"/>
                  </a:lnTo>
                  <a:lnTo>
                    <a:pt x="106" y="23"/>
                  </a:lnTo>
                  <a:lnTo>
                    <a:pt x="102" y="19"/>
                  </a:lnTo>
                  <a:lnTo>
                    <a:pt x="97" y="14"/>
                  </a:lnTo>
                  <a:lnTo>
                    <a:pt x="93" y="11"/>
                  </a:lnTo>
                  <a:lnTo>
                    <a:pt x="89" y="8"/>
                  </a:lnTo>
                  <a:lnTo>
                    <a:pt x="83" y="6"/>
                  </a:lnTo>
                  <a:lnTo>
                    <a:pt x="77" y="4"/>
                  </a:lnTo>
                  <a:lnTo>
                    <a:pt x="72" y="1"/>
                  </a:lnTo>
                  <a:lnTo>
                    <a:pt x="65"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56" name="Group 96">
            <a:extLst>
              <a:ext uri="{FF2B5EF4-FFF2-40B4-BE49-F238E27FC236}">
                <a16:creationId xmlns:a16="http://schemas.microsoft.com/office/drawing/2014/main" id="{744CBC71-0788-4281-952F-26068B2A7253}"/>
              </a:ext>
            </a:extLst>
          </p:cNvPr>
          <p:cNvGrpSpPr>
            <a:grpSpLocks noChangeAspect="1"/>
          </p:cNvGrpSpPr>
          <p:nvPr/>
        </p:nvGrpSpPr>
        <p:grpSpPr>
          <a:xfrm>
            <a:off x="2315267" y="5956111"/>
            <a:ext cx="284040" cy="285619"/>
            <a:chOff x="3746500" y="1360488"/>
            <a:chExt cx="285750" cy="287338"/>
          </a:xfrm>
          <a:solidFill>
            <a:schemeClr val="bg2"/>
          </a:solidFill>
          <a:effectLst/>
        </p:grpSpPr>
        <p:sp>
          <p:nvSpPr>
            <p:cNvPr id="1357" name="Freeform 122">
              <a:extLst>
                <a:ext uri="{FF2B5EF4-FFF2-40B4-BE49-F238E27FC236}">
                  <a16:creationId xmlns:a16="http://schemas.microsoft.com/office/drawing/2014/main" id="{A3E6BC8F-A2A8-453E-87D9-546C7997755A}"/>
                </a:ext>
              </a:extLst>
            </p:cNvPr>
            <p:cNvSpPr>
              <a:spLocks noEditPoints="1"/>
            </p:cNvSpPr>
            <p:nvPr/>
          </p:nvSpPr>
          <p:spPr bwMode="auto">
            <a:xfrm>
              <a:off x="3798888" y="1552575"/>
              <a:ext cx="66675" cy="66675"/>
            </a:xfrm>
            <a:custGeom>
              <a:avLst/>
              <a:gdLst>
                <a:gd name="T0" fmla="*/ 90 w 210"/>
                <a:gd name="T1" fmla="*/ 179 h 210"/>
                <a:gd name="T2" fmla="*/ 68 w 210"/>
                <a:gd name="T3" fmla="*/ 171 h 210"/>
                <a:gd name="T4" fmla="*/ 51 w 210"/>
                <a:gd name="T5" fmla="*/ 158 h 210"/>
                <a:gd name="T6" fmla="*/ 38 w 210"/>
                <a:gd name="T7" fmla="*/ 140 h 210"/>
                <a:gd name="T8" fmla="*/ 31 w 210"/>
                <a:gd name="T9" fmla="*/ 120 h 210"/>
                <a:gd name="T10" fmla="*/ 30 w 210"/>
                <a:gd name="T11" fmla="*/ 97 h 210"/>
                <a:gd name="T12" fmla="*/ 35 w 210"/>
                <a:gd name="T13" fmla="*/ 76 h 210"/>
                <a:gd name="T14" fmla="*/ 47 w 210"/>
                <a:gd name="T15" fmla="*/ 57 h 210"/>
                <a:gd name="T16" fmla="*/ 63 w 210"/>
                <a:gd name="T17" fmla="*/ 43 h 210"/>
                <a:gd name="T18" fmla="*/ 82 w 210"/>
                <a:gd name="T19" fmla="*/ 33 h 210"/>
                <a:gd name="T20" fmla="*/ 105 w 210"/>
                <a:gd name="T21" fmla="*/ 30 h 210"/>
                <a:gd name="T22" fmla="*/ 127 w 210"/>
                <a:gd name="T23" fmla="*/ 33 h 210"/>
                <a:gd name="T24" fmla="*/ 147 w 210"/>
                <a:gd name="T25" fmla="*/ 43 h 210"/>
                <a:gd name="T26" fmla="*/ 163 w 210"/>
                <a:gd name="T27" fmla="*/ 57 h 210"/>
                <a:gd name="T28" fmla="*/ 175 w 210"/>
                <a:gd name="T29" fmla="*/ 76 h 210"/>
                <a:gd name="T30" fmla="*/ 180 w 210"/>
                <a:gd name="T31" fmla="*/ 97 h 210"/>
                <a:gd name="T32" fmla="*/ 179 w 210"/>
                <a:gd name="T33" fmla="*/ 120 h 210"/>
                <a:gd name="T34" fmla="*/ 171 w 210"/>
                <a:gd name="T35" fmla="*/ 140 h 210"/>
                <a:gd name="T36" fmla="*/ 159 w 210"/>
                <a:gd name="T37" fmla="*/ 158 h 210"/>
                <a:gd name="T38" fmla="*/ 140 w 210"/>
                <a:gd name="T39" fmla="*/ 171 h 210"/>
                <a:gd name="T40" fmla="*/ 120 w 210"/>
                <a:gd name="T41" fmla="*/ 179 h 210"/>
                <a:gd name="T42" fmla="*/ 105 w 210"/>
                <a:gd name="T43" fmla="*/ 180 h 210"/>
                <a:gd name="T44" fmla="*/ 84 w 210"/>
                <a:gd name="T45" fmla="*/ 2 h 210"/>
                <a:gd name="T46" fmla="*/ 55 w 210"/>
                <a:gd name="T47" fmla="*/ 13 h 210"/>
                <a:gd name="T48" fmla="*/ 30 w 210"/>
                <a:gd name="T49" fmla="*/ 31 h 210"/>
                <a:gd name="T50" fmla="*/ 13 w 210"/>
                <a:gd name="T51" fmla="*/ 54 h 210"/>
                <a:gd name="T52" fmla="*/ 2 w 210"/>
                <a:gd name="T53" fmla="*/ 83 h 210"/>
                <a:gd name="T54" fmla="*/ 0 w 210"/>
                <a:gd name="T55" fmla="*/ 116 h 210"/>
                <a:gd name="T56" fmla="*/ 7 w 210"/>
                <a:gd name="T57" fmla="*/ 146 h 210"/>
                <a:gd name="T58" fmla="*/ 23 w 210"/>
                <a:gd name="T59" fmla="*/ 171 h 210"/>
                <a:gd name="T60" fmla="*/ 46 w 210"/>
                <a:gd name="T61" fmla="*/ 192 h 210"/>
                <a:gd name="T62" fmla="*/ 74 w 210"/>
                <a:gd name="T63" fmla="*/ 206 h 210"/>
                <a:gd name="T64" fmla="*/ 105 w 210"/>
                <a:gd name="T65" fmla="*/ 210 h 210"/>
                <a:gd name="T66" fmla="*/ 136 w 210"/>
                <a:gd name="T67" fmla="*/ 206 h 210"/>
                <a:gd name="T68" fmla="*/ 164 w 210"/>
                <a:gd name="T69" fmla="*/ 192 h 210"/>
                <a:gd name="T70" fmla="*/ 186 w 210"/>
                <a:gd name="T71" fmla="*/ 171 h 210"/>
                <a:gd name="T72" fmla="*/ 201 w 210"/>
                <a:gd name="T73" fmla="*/ 146 h 210"/>
                <a:gd name="T74" fmla="*/ 210 w 210"/>
                <a:gd name="T75" fmla="*/ 116 h 210"/>
                <a:gd name="T76" fmla="*/ 208 w 210"/>
                <a:gd name="T77" fmla="*/ 83 h 210"/>
                <a:gd name="T78" fmla="*/ 197 w 210"/>
                <a:gd name="T79" fmla="*/ 54 h 210"/>
                <a:gd name="T80" fmla="*/ 179 w 210"/>
                <a:gd name="T81" fmla="*/ 31 h 210"/>
                <a:gd name="T82" fmla="*/ 155 w 210"/>
                <a:gd name="T83" fmla="*/ 13 h 210"/>
                <a:gd name="T84" fmla="*/ 126 w 210"/>
                <a:gd name="T85" fmla="*/ 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68" y="171"/>
                  </a:lnTo>
                  <a:lnTo>
                    <a:pt x="63" y="167"/>
                  </a:lnTo>
                  <a:lnTo>
                    <a:pt x="57" y="163"/>
                  </a:lnTo>
                  <a:lnTo>
                    <a:pt x="51" y="158"/>
                  </a:lnTo>
                  <a:lnTo>
                    <a:pt x="47" y="153"/>
                  </a:lnTo>
                  <a:lnTo>
                    <a:pt x="43" y="147"/>
                  </a:lnTo>
                  <a:lnTo>
                    <a:pt x="38" y="140"/>
                  </a:lnTo>
                  <a:lnTo>
                    <a:pt x="35" y="134"/>
                  </a:lnTo>
                  <a:lnTo>
                    <a:pt x="33" y="127"/>
                  </a:lnTo>
                  <a:lnTo>
                    <a:pt x="31" y="120"/>
                  </a:lnTo>
                  <a:lnTo>
                    <a:pt x="30" y="112"/>
                  </a:lnTo>
                  <a:lnTo>
                    <a:pt x="30" y="105"/>
                  </a:lnTo>
                  <a:lnTo>
                    <a:pt x="30" y="97"/>
                  </a:lnTo>
                  <a:lnTo>
                    <a:pt x="31" y="90"/>
                  </a:lnTo>
                  <a:lnTo>
                    <a:pt x="33" y="82"/>
                  </a:lnTo>
                  <a:lnTo>
                    <a:pt x="35" y="76"/>
                  </a:lnTo>
                  <a:lnTo>
                    <a:pt x="38" y="69"/>
                  </a:lnTo>
                  <a:lnTo>
                    <a:pt x="43" y="63"/>
                  </a:lnTo>
                  <a:lnTo>
                    <a:pt x="47" y="57"/>
                  </a:lnTo>
                  <a:lnTo>
                    <a:pt x="51" y="51"/>
                  </a:lnTo>
                  <a:lnTo>
                    <a:pt x="57" y="47"/>
                  </a:lnTo>
                  <a:lnTo>
                    <a:pt x="63" y="43"/>
                  </a:lnTo>
                  <a:lnTo>
                    <a:pt x="68" y="38"/>
                  </a:lnTo>
                  <a:lnTo>
                    <a:pt x="76" y="35"/>
                  </a:lnTo>
                  <a:lnTo>
                    <a:pt x="82" y="33"/>
                  </a:lnTo>
                  <a:lnTo>
                    <a:pt x="90" y="31"/>
                  </a:lnTo>
                  <a:lnTo>
                    <a:pt x="97" y="30"/>
                  </a:lnTo>
                  <a:lnTo>
                    <a:pt x="105" y="30"/>
                  </a:lnTo>
                  <a:lnTo>
                    <a:pt x="112" y="30"/>
                  </a:lnTo>
                  <a:lnTo>
                    <a:pt x="120" y="31"/>
                  </a:lnTo>
                  <a:lnTo>
                    <a:pt x="127" y="33"/>
                  </a:lnTo>
                  <a:lnTo>
                    <a:pt x="134" y="35"/>
                  </a:lnTo>
                  <a:lnTo>
                    <a:pt x="140" y="38"/>
                  </a:lnTo>
                  <a:lnTo>
                    <a:pt x="147" y="43"/>
                  </a:lnTo>
                  <a:lnTo>
                    <a:pt x="153" y="47"/>
                  </a:lnTo>
                  <a:lnTo>
                    <a:pt x="159" y="51"/>
                  </a:lnTo>
                  <a:lnTo>
                    <a:pt x="163" y="57"/>
                  </a:lnTo>
                  <a:lnTo>
                    <a:pt x="167" y="63"/>
                  </a:lnTo>
                  <a:lnTo>
                    <a:pt x="171" y="69"/>
                  </a:lnTo>
                  <a:lnTo>
                    <a:pt x="175" y="76"/>
                  </a:lnTo>
                  <a:lnTo>
                    <a:pt x="177" y="82"/>
                  </a:lnTo>
                  <a:lnTo>
                    <a:pt x="179" y="90"/>
                  </a:lnTo>
                  <a:lnTo>
                    <a:pt x="180" y="97"/>
                  </a:lnTo>
                  <a:lnTo>
                    <a:pt x="180" y="105"/>
                  </a:lnTo>
                  <a:lnTo>
                    <a:pt x="180" y="112"/>
                  </a:lnTo>
                  <a:lnTo>
                    <a:pt x="179" y="120"/>
                  </a:lnTo>
                  <a:lnTo>
                    <a:pt x="177" y="127"/>
                  </a:lnTo>
                  <a:lnTo>
                    <a:pt x="175" y="134"/>
                  </a:lnTo>
                  <a:lnTo>
                    <a:pt x="171" y="140"/>
                  </a:lnTo>
                  <a:lnTo>
                    <a:pt x="167" y="147"/>
                  </a:lnTo>
                  <a:lnTo>
                    <a:pt x="163" y="153"/>
                  </a:lnTo>
                  <a:lnTo>
                    <a:pt x="159" y="158"/>
                  </a:lnTo>
                  <a:lnTo>
                    <a:pt x="153" y="163"/>
                  </a:lnTo>
                  <a:lnTo>
                    <a:pt x="147" y="167"/>
                  </a:lnTo>
                  <a:lnTo>
                    <a:pt x="140" y="171"/>
                  </a:lnTo>
                  <a:lnTo>
                    <a:pt x="134" y="175"/>
                  </a:lnTo>
                  <a:lnTo>
                    <a:pt x="127" y="177"/>
                  </a:lnTo>
                  <a:lnTo>
                    <a:pt x="120" y="179"/>
                  </a:lnTo>
                  <a:lnTo>
                    <a:pt x="112" y="180"/>
                  </a:lnTo>
                  <a:lnTo>
                    <a:pt x="105" y="180"/>
                  </a:lnTo>
                  <a:lnTo>
                    <a:pt x="105" y="180"/>
                  </a:lnTo>
                  <a:close/>
                  <a:moveTo>
                    <a:pt x="105" y="0"/>
                  </a:moveTo>
                  <a:lnTo>
                    <a:pt x="94" y="0"/>
                  </a:lnTo>
                  <a:lnTo>
                    <a:pt x="84" y="2"/>
                  </a:lnTo>
                  <a:lnTo>
                    <a:pt x="74" y="4"/>
                  </a:lnTo>
                  <a:lnTo>
                    <a:pt x="64" y="7"/>
                  </a:lnTo>
                  <a:lnTo>
                    <a:pt x="55" y="13"/>
                  </a:lnTo>
                  <a:lnTo>
                    <a:pt x="46" y="18"/>
                  </a:lnTo>
                  <a:lnTo>
                    <a:pt x="37" y="23"/>
                  </a:lnTo>
                  <a:lnTo>
                    <a:pt x="30" y="31"/>
                  </a:lnTo>
                  <a:lnTo>
                    <a:pt x="23" y="38"/>
                  </a:lnTo>
                  <a:lnTo>
                    <a:pt x="17" y="46"/>
                  </a:lnTo>
                  <a:lnTo>
                    <a:pt x="13" y="54"/>
                  </a:lnTo>
                  <a:lnTo>
                    <a:pt x="7" y="64"/>
                  </a:lnTo>
                  <a:lnTo>
                    <a:pt x="4" y="74"/>
                  </a:lnTo>
                  <a:lnTo>
                    <a:pt x="2" y="83"/>
                  </a:lnTo>
                  <a:lnTo>
                    <a:pt x="0" y="94"/>
                  </a:lnTo>
                  <a:lnTo>
                    <a:pt x="0" y="105"/>
                  </a:lnTo>
                  <a:lnTo>
                    <a:pt x="0" y="116"/>
                  </a:lnTo>
                  <a:lnTo>
                    <a:pt x="2" y="126"/>
                  </a:lnTo>
                  <a:lnTo>
                    <a:pt x="4" y="136"/>
                  </a:lnTo>
                  <a:lnTo>
                    <a:pt x="7" y="146"/>
                  </a:lnTo>
                  <a:lnTo>
                    <a:pt x="13" y="155"/>
                  </a:lnTo>
                  <a:lnTo>
                    <a:pt x="17" y="164"/>
                  </a:lnTo>
                  <a:lnTo>
                    <a:pt x="23" y="171"/>
                  </a:lnTo>
                  <a:lnTo>
                    <a:pt x="30" y="179"/>
                  </a:lnTo>
                  <a:lnTo>
                    <a:pt x="37" y="186"/>
                  </a:lnTo>
                  <a:lnTo>
                    <a:pt x="46" y="192"/>
                  </a:lnTo>
                  <a:lnTo>
                    <a:pt x="55" y="197"/>
                  </a:lnTo>
                  <a:lnTo>
                    <a:pt x="64" y="202"/>
                  </a:lnTo>
                  <a:lnTo>
                    <a:pt x="74" y="206"/>
                  </a:lnTo>
                  <a:lnTo>
                    <a:pt x="84" y="208"/>
                  </a:lnTo>
                  <a:lnTo>
                    <a:pt x="94" y="210"/>
                  </a:lnTo>
                  <a:lnTo>
                    <a:pt x="105" y="210"/>
                  </a:lnTo>
                  <a:lnTo>
                    <a:pt x="116" y="210"/>
                  </a:lnTo>
                  <a:lnTo>
                    <a:pt x="126" y="208"/>
                  </a:lnTo>
                  <a:lnTo>
                    <a:pt x="136" y="206"/>
                  </a:lnTo>
                  <a:lnTo>
                    <a:pt x="146" y="201"/>
                  </a:lnTo>
                  <a:lnTo>
                    <a:pt x="155" y="197"/>
                  </a:lnTo>
                  <a:lnTo>
                    <a:pt x="164" y="192"/>
                  </a:lnTo>
                  <a:lnTo>
                    <a:pt x="171" y="186"/>
                  </a:lnTo>
                  <a:lnTo>
                    <a:pt x="179" y="179"/>
                  </a:lnTo>
                  <a:lnTo>
                    <a:pt x="186" y="171"/>
                  </a:lnTo>
                  <a:lnTo>
                    <a:pt x="192" y="164"/>
                  </a:lnTo>
                  <a:lnTo>
                    <a:pt x="197" y="155"/>
                  </a:lnTo>
                  <a:lnTo>
                    <a:pt x="201" y="146"/>
                  </a:lnTo>
                  <a:lnTo>
                    <a:pt x="206" y="136"/>
                  </a:lnTo>
                  <a:lnTo>
                    <a:pt x="208" y="126"/>
                  </a:lnTo>
                  <a:lnTo>
                    <a:pt x="210" y="116"/>
                  </a:lnTo>
                  <a:lnTo>
                    <a:pt x="210" y="105"/>
                  </a:lnTo>
                  <a:lnTo>
                    <a:pt x="210" y="94"/>
                  </a:lnTo>
                  <a:lnTo>
                    <a:pt x="208" y="83"/>
                  </a:lnTo>
                  <a:lnTo>
                    <a:pt x="206" y="74"/>
                  </a:lnTo>
                  <a:lnTo>
                    <a:pt x="201" y="64"/>
                  </a:lnTo>
                  <a:lnTo>
                    <a:pt x="197" y="54"/>
                  </a:lnTo>
                  <a:lnTo>
                    <a:pt x="192" y="46"/>
                  </a:lnTo>
                  <a:lnTo>
                    <a:pt x="186" y="38"/>
                  </a:lnTo>
                  <a:lnTo>
                    <a:pt x="179" y="31"/>
                  </a:lnTo>
                  <a:lnTo>
                    <a:pt x="171" y="23"/>
                  </a:lnTo>
                  <a:lnTo>
                    <a:pt x="164" y="18"/>
                  </a:lnTo>
                  <a:lnTo>
                    <a:pt x="155" y="13"/>
                  </a:lnTo>
                  <a:lnTo>
                    <a:pt x="146" y="7"/>
                  </a:lnTo>
                  <a:lnTo>
                    <a:pt x="136" y="4"/>
                  </a:lnTo>
                  <a:lnTo>
                    <a:pt x="126" y="2"/>
                  </a:lnTo>
                  <a:lnTo>
                    <a:pt x="116"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123">
              <a:extLst>
                <a:ext uri="{FF2B5EF4-FFF2-40B4-BE49-F238E27FC236}">
                  <a16:creationId xmlns:a16="http://schemas.microsoft.com/office/drawing/2014/main" id="{B8D0052C-B185-485E-BB96-5258652CBB3F}"/>
                </a:ext>
              </a:extLst>
            </p:cNvPr>
            <p:cNvSpPr>
              <a:spLocks/>
            </p:cNvSpPr>
            <p:nvPr/>
          </p:nvSpPr>
          <p:spPr bwMode="auto">
            <a:xfrm>
              <a:off x="3822700" y="1571625"/>
              <a:ext cx="23813" cy="28575"/>
            </a:xfrm>
            <a:custGeom>
              <a:avLst/>
              <a:gdLst>
                <a:gd name="T0" fmla="*/ 0 w 75"/>
                <a:gd name="T1" fmla="*/ 90 h 90"/>
                <a:gd name="T2" fmla="*/ 75 w 75"/>
                <a:gd name="T3" fmla="*/ 45 h 90"/>
                <a:gd name="T4" fmla="*/ 0 w 75"/>
                <a:gd name="T5" fmla="*/ 0 h 90"/>
                <a:gd name="T6" fmla="*/ 0 w 75"/>
                <a:gd name="T7" fmla="*/ 90 h 90"/>
              </a:gdLst>
              <a:ahLst/>
              <a:cxnLst>
                <a:cxn ang="0">
                  <a:pos x="T0" y="T1"/>
                </a:cxn>
                <a:cxn ang="0">
                  <a:pos x="T2" y="T3"/>
                </a:cxn>
                <a:cxn ang="0">
                  <a:pos x="T4" y="T5"/>
                </a:cxn>
                <a:cxn ang="0">
                  <a:pos x="T6" y="T7"/>
                </a:cxn>
              </a:cxnLst>
              <a:rect l="0" t="0" r="r" b="b"/>
              <a:pathLst>
                <a:path w="75" h="90">
                  <a:moveTo>
                    <a:pt x="0" y="90"/>
                  </a:moveTo>
                  <a:lnTo>
                    <a:pt x="75" y="45"/>
                  </a:lnTo>
                  <a:lnTo>
                    <a:pt x="0" y="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Rectangle 124">
              <a:extLst>
                <a:ext uri="{FF2B5EF4-FFF2-40B4-BE49-F238E27FC236}">
                  <a16:creationId xmlns:a16="http://schemas.microsoft.com/office/drawing/2014/main" id="{16ADC7F2-F8F8-49C4-AC2E-93E14802CC7D}"/>
                </a:ext>
              </a:extLst>
            </p:cNvPr>
            <p:cNvSpPr>
              <a:spLocks noChangeArrowheads="1"/>
            </p:cNvSpPr>
            <p:nvPr/>
          </p:nvSpPr>
          <p:spPr bwMode="auto">
            <a:xfrm>
              <a:off x="37798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Rectangle 125">
              <a:extLst>
                <a:ext uri="{FF2B5EF4-FFF2-40B4-BE49-F238E27FC236}">
                  <a16:creationId xmlns:a16="http://schemas.microsoft.com/office/drawing/2014/main" id="{6F8B7E7F-A61B-4F95-A704-3A5C30CB3822}"/>
                </a:ext>
              </a:extLst>
            </p:cNvPr>
            <p:cNvSpPr>
              <a:spLocks noChangeArrowheads="1"/>
            </p:cNvSpPr>
            <p:nvPr/>
          </p:nvSpPr>
          <p:spPr bwMode="auto">
            <a:xfrm>
              <a:off x="37798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Rectangle 126">
              <a:extLst>
                <a:ext uri="{FF2B5EF4-FFF2-40B4-BE49-F238E27FC236}">
                  <a16:creationId xmlns:a16="http://schemas.microsoft.com/office/drawing/2014/main" id="{763B6293-8861-40C1-B7FE-8FDD9B5CA73B}"/>
                </a:ext>
              </a:extLst>
            </p:cNvPr>
            <p:cNvSpPr>
              <a:spLocks noChangeArrowheads="1"/>
            </p:cNvSpPr>
            <p:nvPr/>
          </p:nvSpPr>
          <p:spPr bwMode="auto">
            <a:xfrm>
              <a:off x="37798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Rectangle 127">
              <a:extLst>
                <a:ext uri="{FF2B5EF4-FFF2-40B4-BE49-F238E27FC236}">
                  <a16:creationId xmlns:a16="http://schemas.microsoft.com/office/drawing/2014/main" id="{28E5785B-F71E-4B4A-8BFE-0C2F57C593E6}"/>
                </a:ext>
              </a:extLst>
            </p:cNvPr>
            <p:cNvSpPr>
              <a:spLocks noChangeArrowheads="1"/>
            </p:cNvSpPr>
            <p:nvPr/>
          </p:nvSpPr>
          <p:spPr bwMode="auto">
            <a:xfrm>
              <a:off x="38179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Rectangle 128">
              <a:extLst>
                <a:ext uri="{FF2B5EF4-FFF2-40B4-BE49-F238E27FC236}">
                  <a16:creationId xmlns:a16="http://schemas.microsoft.com/office/drawing/2014/main" id="{EBF5D891-7588-4ACC-BA6F-AFC600692A5C}"/>
                </a:ext>
              </a:extLst>
            </p:cNvPr>
            <p:cNvSpPr>
              <a:spLocks noChangeArrowheads="1"/>
            </p:cNvSpPr>
            <p:nvPr/>
          </p:nvSpPr>
          <p:spPr bwMode="auto">
            <a:xfrm>
              <a:off x="38179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Rectangle 129">
              <a:extLst>
                <a:ext uri="{FF2B5EF4-FFF2-40B4-BE49-F238E27FC236}">
                  <a16:creationId xmlns:a16="http://schemas.microsoft.com/office/drawing/2014/main" id="{5CBD6F52-BF8D-49E5-8E93-2C51ADEB3861}"/>
                </a:ext>
              </a:extLst>
            </p:cNvPr>
            <p:cNvSpPr>
              <a:spLocks noChangeArrowheads="1"/>
            </p:cNvSpPr>
            <p:nvPr/>
          </p:nvSpPr>
          <p:spPr bwMode="auto">
            <a:xfrm>
              <a:off x="38179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Rectangle 130">
              <a:extLst>
                <a:ext uri="{FF2B5EF4-FFF2-40B4-BE49-F238E27FC236}">
                  <a16:creationId xmlns:a16="http://schemas.microsoft.com/office/drawing/2014/main" id="{CC907809-4003-4BFB-B5EB-E7AC774676F7}"/>
                </a:ext>
              </a:extLst>
            </p:cNvPr>
            <p:cNvSpPr>
              <a:spLocks noChangeArrowheads="1"/>
            </p:cNvSpPr>
            <p:nvPr/>
          </p:nvSpPr>
          <p:spPr bwMode="auto">
            <a:xfrm>
              <a:off x="38560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Rectangle 131">
              <a:extLst>
                <a:ext uri="{FF2B5EF4-FFF2-40B4-BE49-F238E27FC236}">
                  <a16:creationId xmlns:a16="http://schemas.microsoft.com/office/drawing/2014/main" id="{F937B635-1E1D-4C27-9EDD-AF32FA1CA825}"/>
                </a:ext>
              </a:extLst>
            </p:cNvPr>
            <p:cNvSpPr>
              <a:spLocks noChangeArrowheads="1"/>
            </p:cNvSpPr>
            <p:nvPr/>
          </p:nvSpPr>
          <p:spPr bwMode="auto">
            <a:xfrm>
              <a:off x="38560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Rectangle 132">
              <a:extLst>
                <a:ext uri="{FF2B5EF4-FFF2-40B4-BE49-F238E27FC236}">
                  <a16:creationId xmlns:a16="http://schemas.microsoft.com/office/drawing/2014/main" id="{1AE5E484-17D2-40A1-9368-3A5582563920}"/>
                </a:ext>
              </a:extLst>
            </p:cNvPr>
            <p:cNvSpPr>
              <a:spLocks noChangeArrowheads="1"/>
            </p:cNvSpPr>
            <p:nvPr/>
          </p:nvSpPr>
          <p:spPr bwMode="auto">
            <a:xfrm>
              <a:off x="38560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Rectangle 133">
              <a:extLst>
                <a:ext uri="{FF2B5EF4-FFF2-40B4-BE49-F238E27FC236}">
                  <a16:creationId xmlns:a16="http://schemas.microsoft.com/office/drawing/2014/main" id="{9E64A6B0-1B80-4026-B6F9-69D876598A53}"/>
                </a:ext>
              </a:extLst>
            </p:cNvPr>
            <p:cNvSpPr>
              <a:spLocks noChangeArrowheads="1"/>
            </p:cNvSpPr>
            <p:nvPr/>
          </p:nvSpPr>
          <p:spPr bwMode="auto">
            <a:xfrm>
              <a:off x="3779838" y="14366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Rectangle 134">
              <a:extLst>
                <a:ext uri="{FF2B5EF4-FFF2-40B4-BE49-F238E27FC236}">
                  <a16:creationId xmlns:a16="http://schemas.microsoft.com/office/drawing/2014/main" id="{927CAF7A-4E2D-4A2D-86A8-7D3E98D71EDC}"/>
                </a:ext>
              </a:extLst>
            </p:cNvPr>
            <p:cNvSpPr>
              <a:spLocks noChangeArrowheads="1"/>
            </p:cNvSpPr>
            <p:nvPr/>
          </p:nvSpPr>
          <p:spPr bwMode="auto">
            <a:xfrm>
              <a:off x="3856038" y="14366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Rectangle 135">
              <a:extLst>
                <a:ext uri="{FF2B5EF4-FFF2-40B4-BE49-F238E27FC236}">
                  <a16:creationId xmlns:a16="http://schemas.microsoft.com/office/drawing/2014/main" id="{CD44E2EC-EAA3-43FA-9FE4-FA4385BB6AB9}"/>
                </a:ext>
              </a:extLst>
            </p:cNvPr>
            <p:cNvSpPr>
              <a:spLocks noChangeArrowheads="1"/>
            </p:cNvSpPr>
            <p:nvPr/>
          </p:nvSpPr>
          <p:spPr bwMode="auto">
            <a:xfrm>
              <a:off x="3779838" y="14176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136">
              <a:extLst>
                <a:ext uri="{FF2B5EF4-FFF2-40B4-BE49-F238E27FC236}">
                  <a16:creationId xmlns:a16="http://schemas.microsoft.com/office/drawing/2014/main" id="{1C57E793-636B-4DD3-A86C-54D980C855E4}"/>
                </a:ext>
              </a:extLst>
            </p:cNvPr>
            <p:cNvSpPr>
              <a:spLocks noEditPoints="1"/>
            </p:cNvSpPr>
            <p:nvPr/>
          </p:nvSpPr>
          <p:spPr bwMode="auto">
            <a:xfrm>
              <a:off x="3746500" y="1360488"/>
              <a:ext cx="285750" cy="287338"/>
            </a:xfrm>
            <a:custGeom>
              <a:avLst/>
              <a:gdLst>
                <a:gd name="T0" fmla="*/ 860 w 903"/>
                <a:gd name="T1" fmla="*/ 417 h 903"/>
                <a:gd name="T2" fmla="*/ 827 w 903"/>
                <a:gd name="T3" fmla="*/ 417 h 903"/>
                <a:gd name="T4" fmla="*/ 813 w 903"/>
                <a:gd name="T5" fmla="*/ 271 h 903"/>
                <a:gd name="T6" fmla="*/ 831 w 903"/>
                <a:gd name="T7" fmla="*/ 243 h 903"/>
                <a:gd name="T8" fmla="*/ 864 w 903"/>
                <a:gd name="T9" fmla="*/ 250 h 903"/>
                <a:gd name="T10" fmla="*/ 466 w 903"/>
                <a:gd name="T11" fmla="*/ 873 h 903"/>
                <a:gd name="T12" fmla="*/ 38 w 903"/>
                <a:gd name="T13" fmla="*/ 854 h 903"/>
                <a:gd name="T14" fmla="*/ 511 w 903"/>
                <a:gd name="T15" fmla="*/ 828 h 903"/>
                <a:gd name="T16" fmla="*/ 484 w 903"/>
                <a:gd name="T17" fmla="*/ 870 h 903"/>
                <a:gd name="T18" fmla="*/ 484 w 903"/>
                <a:gd name="T19" fmla="*/ 34 h 903"/>
                <a:gd name="T20" fmla="*/ 511 w 903"/>
                <a:gd name="T21" fmla="*/ 76 h 903"/>
                <a:gd name="T22" fmla="*/ 38 w 903"/>
                <a:gd name="T23" fmla="*/ 50 h 903"/>
                <a:gd name="T24" fmla="*/ 753 w 903"/>
                <a:gd name="T25" fmla="*/ 331 h 903"/>
                <a:gd name="T26" fmla="*/ 771 w 903"/>
                <a:gd name="T27" fmla="*/ 296 h 903"/>
                <a:gd name="T28" fmla="*/ 765 w 903"/>
                <a:gd name="T29" fmla="*/ 362 h 903"/>
                <a:gd name="T30" fmla="*/ 753 w 903"/>
                <a:gd name="T31" fmla="*/ 331 h 903"/>
                <a:gd name="T32" fmla="*/ 798 w 903"/>
                <a:gd name="T33" fmla="*/ 232 h 903"/>
                <a:gd name="T34" fmla="*/ 765 w 903"/>
                <a:gd name="T35" fmla="*/ 264 h 903"/>
                <a:gd name="T36" fmla="*/ 736 w 903"/>
                <a:gd name="T37" fmla="*/ 288 h 903"/>
                <a:gd name="T38" fmla="*/ 722 w 903"/>
                <a:gd name="T39" fmla="*/ 325 h 903"/>
                <a:gd name="T40" fmla="*/ 730 w 903"/>
                <a:gd name="T41" fmla="*/ 364 h 903"/>
                <a:gd name="T42" fmla="*/ 755 w 903"/>
                <a:gd name="T43" fmla="*/ 392 h 903"/>
                <a:gd name="T44" fmla="*/ 788 w 903"/>
                <a:gd name="T45" fmla="*/ 415 h 903"/>
                <a:gd name="T46" fmla="*/ 833 w 903"/>
                <a:gd name="T47" fmla="*/ 451 h 903"/>
                <a:gd name="T48" fmla="*/ 836 w 903"/>
                <a:gd name="T49" fmla="*/ 740 h 903"/>
                <a:gd name="T50" fmla="*/ 803 w 903"/>
                <a:gd name="T51" fmla="*/ 780 h 903"/>
                <a:gd name="T52" fmla="*/ 753 w 903"/>
                <a:gd name="T53" fmla="*/ 796 h 903"/>
                <a:gd name="T54" fmla="*/ 702 w 903"/>
                <a:gd name="T55" fmla="*/ 780 h 903"/>
                <a:gd name="T56" fmla="*/ 669 w 903"/>
                <a:gd name="T57" fmla="*/ 740 h 903"/>
                <a:gd name="T58" fmla="*/ 661 w 903"/>
                <a:gd name="T59" fmla="*/ 185 h 903"/>
                <a:gd name="T60" fmla="*/ 645 w 903"/>
                <a:gd name="T61" fmla="*/ 146 h 903"/>
                <a:gd name="T62" fmla="*/ 609 w 903"/>
                <a:gd name="T63" fmla="*/ 121 h 903"/>
                <a:gd name="T64" fmla="*/ 541 w 903"/>
                <a:gd name="T65" fmla="*/ 68 h 903"/>
                <a:gd name="T66" fmla="*/ 524 w 903"/>
                <a:gd name="T67" fmla="*/ 28 h 903"/>
                <a:gd name="T68" fmla="*/ 489 w 903"/>
                <a:gd name="T69" fmla="*/ 4 h 903"/>
                <a:gd name="T70" fmla="*/ 60 w 903"/>
                <a:gd name="T71" fmla="*/ 2 h 903"/>
                <a:gd name="T72" fmla="*/ 22 w 903"/>
                <a:gd name="T73" fmla="*/ 22 h 903"/>
                <a:gd name="T74" fmla="*/ 2 w 903"/>
                <a:gd name="T75" fmla="*/ 60 h 903"/>
                <a:gd name="T76" fmla="*/ 3 w 903"/>
                <a:gd name="T77" fmla="*/ 850 h 903"/>
                <a:gd name="T78" fmla="*/ 27 w 903"/>
                <a:gd name="T79" fmla="*/ 886 h 903"/>
                <a:gd name="T80" fmla="*/ 67 w 903"/>
                <a:gd name="T81" fmla="*/ 903 h 903"/>
                <a:gd name="T82" fmla="*/ 496 w 903"/>
                <a:gd name="T83" fmla="*/ 898 h 903"/>
                <a:gd name="T84" fmla="*/ 529 w 903"/>
                <a:gd name="T85" fmla="*/ 870 h 903"/>
                <a:gd name="T86" fmla="*/ 542 w 903"/>
                <a:gd name="T87" fmla="*/ 828 h 903"/>
                <a:gd name="T88" fmla="*/ 618 w 903"/>
                <a:gd name="T89" fmla="*/ 162 h 903"/>
                <a:gd name="T90" fmla="*/ 632 w 903"/>
                <a:gd name="T91" fmla="*/ 717 h 903"/>
                <a:gd name="T92" fmla="*/ 659 w 903"/>
                <a:gd name="T93" fmla="*/ 782 h 903"/>
                <a:gd name="T94" fmla="*/ 717 w 903"/>
                <a:gd name="T95" fmla="*/ 820 h 903"/>
                <a:gd name="T96" fmla="*/ 788 w 903"/>
                <a:gd name="T97" fmla="*/ 820 h 903"/>
                <a:gd name="T98" fmla="*/ 846 w 903"/>
                <a:gd name="T99" fmla="*/ 782 h 903"/>
                <a:gd name="T100" fmla="*/ 873 w 903"/>
                <a:gd name="T101" fmla="*/ 717 h 903"/>
                <a:gd name="T102" fmla="*/ 895 w 903"/>
                <a:gd name="T103" fmla="*/ 421 h 903"/>
                <a:gd name="T104" fmla="*/ 903 w 903"/>
                <a:gd name="T105" fmla="*/ 265 h 903"/>
                <a:gd name="T106" fmla="*/ 890 w 903"/>
                <a:gd name="T107" fmla="*/ 233 h 903"/>
                <a:gd name="T108" fmla="*/ 861 w 903"/>
                <a:gd name="T109" fmla="*/ 21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3" h="903">
                  <a:moveTo>
                    <a:pt x="873" y="391"/>
                  </a:moveTo>
                  <a:lnTo>
                    <a:pt x="873" y="398"/>
                  </a:lnTo>
                  <a:lnTo>
                    <a:pt x="870" y="403"/>
                  </a:lnTo>
                  <a:lnTo>
                    <a:pt x="867" y="409"/>
                  </a:lnTo>
                  <a:lnTo>
                    <a:pt x="864" y="413"/>
                  </a:lnTo>
                  <a:lnTo>
                    <a:pt x="860" y="417"/>
                  </a:lnTo>
                  <a:lnTo>
                    <a:pt x="854" y="419"/>
                  </a:lnTo>
                  <a:lnTo>
                    <a:pt x="849" y="421"/>
                  </a:lnTo>
                  <a:lnTo>
                    <a:pt x="843" y="421"/>
                  </a:lnTo>
                  <a:lnTo>
                    <a:pt x="837" y="421"/>
                  </a:lnTo>
                  <a:lnTo>
                    <a:pt x="831" y="419"/>
                  </a:lnTo>
                  <a:lnTo>
                    <a:pt x="827" y="417"/>
                  </a:lnTo>
                  <a:lnTo>
                    <a:pt x="821" y="413"/>
                  </a:lnTo>
                  <a:lnTo>
                    <a:pt x="818" y="409"/>
                  </a:lnTo>
                  <a:lnTo>
                    <a:pt x="815" y="403"/>
                  </a:lnTo>
                  <a:lnTo>
                    <a:pt x="814" y="398"/>
                  </a:lnTo>
                  <a:lnTo>
                    <a:pt x="813" y="391"/>
                  </a:lnTo>
                  <a:lnTo>
                    <a:pt x="813" y="271"/>
                  </a:lnTo>
                  <a:lnTo>
                    <a:pt x="814" y="265"/>
                  </a:lnTo>
                  <a:lnTo>
                    <a:pt x="815" y="259"/>
                  </a:lnTo>
                  <a:lnTo>
                    <a:pt x="818" y="254"/>
                  </a:lnTo>
                  <a:lnTo>
                    <a:pt x="821" y="250"/>
                  </a:lnTo>
                  <a:lnTo>
                    <a:pt x="827" y="247"/>
                  </a:lnTo>
                  <a:lnTo>
                    <a:pt x="831" y="243"/>
                  </a:lnTo>
                  <a:lnTo>
                    <a:pt x="837" y="241"/>
                  </a:lnTo>
                  <a:lnTo>
                    <a:pt x="843" y="241"/>
                  </a:lnTo>
                  <a:lnTo>
                    <a:pt x="849" y="241"/>
                  </a:lnTo>
                  <a:lnTo>
                    <a:pt x="854" y="243"/>
                  </a:lnTo>
                  <a:lnTo>
                    <a:pt x="860" y="247"/>
                  </a:lnTo>
                  <a:lnTo>
                    <a:pt x="864" y="250"/>
                  </a:lnTo>
                  <a:lnTo>
                    <a:pt x="867" y="254"/>
                  </a:lnTo>
                  <a:lnTo>
                    <a:pt x="870" y="259"/>
                  </a:lnTo>
                  <a:lnTo>
                    <a:pt x="873" y="265"/>
                  </a:lnTo>
                  <a:lnTo>
                    <a:pt x="873" y="271"/>
                  </a:lnTo>
                  <a:lnTo>
                    <a:pt x="873" y="391"/>
                  </a:lnTo>
                  <a:close/>
                  <a:moveTo>
                    <a:pt x="466" y="873"/>
                  </a:moveTo>
                  <a:lnTo>
                    <a:pt x="75" y="873"/>
                  </a:lnTo>
                  <a:lnTo>
                    <a:pt x="66" y="872"/>
                  </a:lnTo>
                  <a:lnTo>
                    <a:pt x="58" y="870"/>
                  </a:lnTo>
                  <a:lnTo>
                    <a:pt x="50" y="866"/>
                  </a:lnTo>
                  <a:lnTo>
                    <a:pt x="44" y="860"/>
                  </a:lnTo>
                  <a:lnTo>
                    <a:pt x="38" y="854"/>
                  </a:lnTo>
                  <a:lnTo>
                    <a:pt x="34" y="846"/>
                  </a:lnTo>
                  <a:lnTo>
                    <a:pt x="31" y="838"/>
                  </a:lnTo>
                  <a:lnTo>
                    <a:pt x="30" y="828"/>
                  </a:lnTo>
                  <a:lnTo>
                    <a:pt x="30" y="543"/>
                  </a:lnTo>
                  <a:lnTo>
                    <a:pt x="511" y="543"/>
                  </a:lnTo>
                  <a:lnTo>
                    <a:pt x="511" y="828"/>
                  </a:lnTo>
                  <a:lnTo>
                    <a:pt x="511" y="838"/>
                  </a:lnTo>
                  <a:lnTo>
                    <a:pt x="508" y="846"/>
                  </a:lnTo>
                  <a:lnTo>
                    <a:pt x="504" y="854"/>
                  </a:lnTo>
                  <a:lnTo>
                    <a:pt x="498" y="860"/>
                  </a:lnTo>
                  <a:lnTo>
                    <a:pt x="492" y="866"/>
                  </a:lnTo>
                  <a:lnTo>
                    <a:pt x="484" y="870"/>
                  </a:lnTo>
                  <a:lnTo>
                    <a:pt x="476" y="872"/>
                  </a:lnTo>
                  <a:lnTo>
                    <a:pt x="466" y="873"/>
                  </a:lnTo>
                  <a:close/>
                  <a:moveTo>
                    <a:pt x="75" y="30"/>
                  </a:moveTo>
                  <a:lnTo>
                    <a:pt x="466" y="30"/>
                  </a:lnTo>
                  <a:lnTo>
                    <a:pt x="476" y="31"/>
                  </a:lnTo>
                  <a:lnTo>
                    <a:pt x="484" y="34"/>
                  </a:lnTo>
                  <a:lnTo>
                    <a:pt x="492" y="39"/>
                  </a:lnTo>
                  <a:lnTo>
                    <a:pt x="498" y="44"/>
                  </a:lnTo>
                  <a:lnTo>
                    <a:pt x="504" y="50"/>
                  </a:lnTo>
                  <a:lnTo>
                    <a:pt x="508" y="58"/>
                  </a:lnTo>
                  <a:lnTo>
                    <a:pt x="511" y="66"/>
                  </a:lnTo>
                  <a:lnTo>
                    <a:pt x="511" y="76"/>
                  </a:lnTo>
                  <a:lnTo>
                    <a:pt x="511" y="512"/>
                  </a:lnTo>
                  <a:lnTo>
                    <a:pt x="30" y="512"/>
                  </a:lnTo>
                  <a:lnTo>
                    <a:pt x="30" y="75"/>
                  </a:lnTo>
                  <a:lnTo>
                    <a:pt x="31" y="66"/>
                  </a:lnTo>
                  <a:lnTo>
                    <a:pt x="34" y="58"/>
                  </a:lnTo>
                  <a:lnTo>
                    <a:pt x="38" y="50"/>
                  </a:lnTo>
                  <a:lnTo>
                    <a:pt x="44" y="44"/>
                  </a:lnTo>
                  <a:lnTo>
                    <a:pt x="50" y="39"/>
                  </a:lnTo>
                  <a:lnTo>
                    <a:pt x="58" y="34"/>
                  </a:lnTo>
                  <a:lnTo>
                    <a:pt x="66" y="31"/>
                  </a:lnTo>
                  <a:lnTo>
                    <a:pt x="75" y="30"/>
                  </a:lnTo>
                  <a:close/>
                  <a:moveTo>
                    <a:pt x="753" y="331"/>
                  </a:moveTo>
                  <a:lnTo>
                    <a:pt x="754" y="324"/>
                  </a:lnTo>
                  <a:lnTo>
                    <a:pt x="755" y="317"/>
                  </a:lnTo>
                  <a:lnTo>
                    <a:pt x="758" y="311"/>
                  </a:lnTo>
                  <a:lnTo>
                    <a:pt x="761" y="306"/>
                  </a:lnTo>
                  <a:lnTo>
                    <a:pt x="765" y="300"/>
                  </a:lnTo>
                  <a:lnTo>
                    <a:pt x="771" y="296"/>
                  </a:lnTo>
                  <a:lnTo>
                    <a:pt x="776" y="292"/>
                  </a:lnTo>
                  <a:lnTo>
                    <a:pt x="783" y="290"/>
                  </a:lnTo>
                  <a:lnTo>
                    <a:pt x="783" y="374"/>
                  </a:lnTo>
                  <a:lnTo>
                    <a:pt x="776" y="371"/>
                  </a:lnTo>
                  <a:lnTo>
                    <a:pt x="771" y="368"/>
                  </a:lnTo>
                  <a:lnTo>
                    <a:pt x="765" y="362"/>
                  </a:lnTo>
                  <a:lnTo>
                    <a:pt x="761" y="358"/>
                  </a:lnTo>
                  <a:lnTo>
                    <a:pt x="758" y="352"/>
                  </a:lnTo>
                  <a:lnTo>
                    <a:pt x="755" y="345"/>
                  </a:lnTo>
                  <a:lnTo>
                    <a:pt x="754" y="339"/>
                  </a:lnTo>
                  <a:lnTo>
                    <a:pt x="753" y="331"/>
                  </a:lnTo>
                  <a:lnTo>
                    <a:pt x="753" y="331"/>
                  </a:lnTo>
                  <a:close/>
                  <a:moveTo>
                    <a:pt x="843" y="211"/>
                  </a:moveTo>
                  <a:lnTo>
                    <a:pt x="833" y="212"/>
                  </a:lnTo>
                  <a:lnTo>
                    <a:pt x="822" y="214"/>
                  </a:lnTo>
                  <a:lnTo>
                    <a:pt x="814" y="219"/>
                  </a:lnTo>
                  <a:lnTo>
                    <a:pt x="805" y="224"/>
                  </a:lnTo>
                  <a:lnTo>
                    <a:pt x="798" y="232"/>
                  </a:lnTo>
                  <a:lnTo>
                    <a:pt x="792" y="239"/>
                  </a:lnTo>
                  <a:lnTo>
                    <a:pt x="788" y="248"/>
                  </a:lnTo>
                  <a:lnTo>
                    <a:pt x="785" y="257"/>
                  </a:lnTo>
                  <a:lnTo>
                    <a:pt x="778" y="259"/>
                  </a:lnTo>
                  <a:lnTo>
                    <a:pt x="772" y="261"/>
                  </a:lnTo>
                  <a:lnTo>
                    <a:pt x="765" y="264"/>
                  </a:lnTo>
                  <a:lnTo>
                    <a:pt x="760" y="267"/>
                  </a:lnTo>
                  <a:lnTo>
                    <a:pt x="755" y="270"/>
                  </a:lnTo>
                  <a:lnTo>
                    <a:pt x="749" y="273"/>
                  </a:lnTo>
                  <a:lnTo>
                    <a:pt x="745" y="279"/>
                  </a:lnTo>
                  <a:lnTo>
                    <a:pt x="741" y="283"/>
                  </a:lnTo>
                  <a:lnTo>
                    <a:pt x="736" y="288"/>
                  </a:lnTo>
                  <a:lnTo>
                    <a:pt x="733" y="294"/>
                  </a:lnTo>
                  <a:lnTo>
                    <a:pt x="730" y="299"/>
                  </a:lnTo>
                  <a:lnTo>
                    <a:pt x="727" y="306"/>
                  </a:lnTo>
                  <a:lnTo>
                    <a:pt x="725" y="311"/>
                  </a:lnTo>
                  <a:lnTo>
                    <a:pt x="724" y="318"/>
                  </a:lnTo>
                  <a:lnTo>
                    <a:pt x="722" y="325"/>
                  </a:lnTo>
                  <a:lnTo>
                    <a:pt x="722" y="331"/>
                  </a:lnTo>
                  <a:lnTo>
                    <a:pt x="722" y="338"/>
                  </a:lnTo>
                  <a:lnTo>
                    <a:pt x="724" y="345"/>
                  </a:lnTo>
                  <a:lnTo>
                    <a:pt x="725" y="352"/>
                  </a:lnTo>
                  <a:lnTo>
                    <a:pt x="727" y="358"/>
                  </a:lnTo>
                  <a:lnTo>
                    <a:pt x="730" y="364"/>
                  </a:lnTo>
                  <a:lnTo>
                    <a:pt x="733" y="369"/>
                  </a:lnTo>
                  <a:lnTo>
                    <a:pt x="736" y="375"/>
                  </a:lnTo>
                  <a:lnTo>
                    <a:pt x="741" y="380"/>
                  </a:lnTo>
                  <a:lnTo>
                    <a:pt x="745" y="385"/>
                  </a:lnTo>
                  <a:lnTo>
                    <a:pt x="749" y="389"/>
                  </a:lnTo>
                  <a:lnTo>
                    <a:pt x="755" y="392"/>
                  </a:lnTo>
                  <a:lnTo>
                    <a:pt x="760" y="397"/>
                  </a:lnTo>
                  <a:lnTo>
                    <a:pt x="765" y="399"/>
                  </a:lnTo>
                  <a:lnTo>
                    <a:pt x="772" y="402"/>
                  </a:lnTo>
                  <a:lnTo>
                    <a:pt x="778" y="404"/>
                  </a:lnTo>
                  <a:lnTo>
                    <a:pt x="785" y="405"/>
                  </a:lnTo>
                  <a:lnTo>
                    <a:pt x="788" y="415"/>
                  </a:lnTo>
                  <a:lnTo>
                    <a:pt x="792" y="424"/>
                  </a:lnTo>
                  <a:lnTo>
                    <a:pt x="798" y="432"/>
                  </a:lnTo>
                  <a:lnTo>
                    <a:pt x="805" y="439"/>
                  </a:lnTo>
                  <a:lnTo>
                    <a:pt x="814" y="444"/>
                  </a:lnTo>
                  <a:lnTo>
                    <a:pt x="822" y="448"/>
                  </a:lnTo>
                  <a:lnTo>
                    <a:pt x="833" y="451"/>
                  </a:lnTo>
                  <a:lnTo>
                    <a:pt x="843" y="451"/>
                  </a:lnTo>
                  <a:lnTo>
                    <a:pt x="843" y="706"/>
                  </a:lnTo>
                  <a:lnTo>
                    <a:pt x="843" y="714"/>
                  </a:lnTo>
                  <a:lnTo>
                    <a:pt x="842" y="724"/>
                  </a:lnTo>
                  <a:lnTo>
                    <a:pt x="838" y="733"/>
                  </a:lnTo>
                  <a:lnTo>
                    <a:pt x="836" y="740"/>
                  </a:lnTo>
                  <a:lnTo>
                    <a:pt x="832" y="749"/>
                  </a:lnTo>
                  <a:lnTo>
                    <a:pt x="828" y="756"/>
                  </a:lnTo>
                  <a:lnTo>
                    <a:pt x="822" y="763"/>
                  </a:lnTo>
                  <a:lnTo>
                    <a:pt x="817" y="769"/>
                  </a:lnTo>
                  <a:lnTo>
                    <a:pt x="810" y="775"/>
                  </a:lnTo>
                  <a:lnTo>
                    <a:pt x="803" y="780"/>
                  </a:lnTo>
                  <a:lnTo>
                    <a:pt x="795" y="785"/>
                  </a:lnTo>
                  <a:lnTo>
                    <a:pt x="788" y="788"/>
                  </a:lnTo>
                  <a:lnTo>
                    <a:pt x="779" y="791"/>
                  </a:lnTo>
                  <a:lnTo>
                    <a:pt x="771" y="794"/>
                  </a:lnTo>
                  <a:lnTo>
                    <a:pt x="762" y="795"/>
                  </a:lnTo>
                  <a:lnTo>
                    <a:pt x="753" y="796"/>
                  </a:lnTo>
                  <a:lnTo>
                    <a:pt x="743" y="795"/>
                  </a:lnTo>
                  <a:lnTo>
                    <a:pt x="734" y="794"/>
                  </a:lnTo>
                  <a:lnTo>
                    <a:pt x="726" y="791"/>
                  </a:lnTo>
                  <a:lnTo>
                    <a:pt x="717" y="788"/>
                  </a:lnTo>
                  <a:lnTo>
                    <a:pt x="710" y="785"/>
                  </a:lnTo>
                  <a:lnTo>
                    <a:pt x="702" y="780"/>
                  </a:lnTo>
                  <a:lnTo>
                    <a:pt x="695" y="775"/>
                  </a:lnTo>
                  <a:lnTo>
                    <a:pt x="688" y="769"/>
                  </a:lnTo>
                  <a:lnTo>
                    <a:pt x="683" y="763"/>
                  </a:lnTo>
                  <a:lnTo>
                    <a:pt x="677" y="756"/>
                  </a:lnTo>
                  <a:lnTo>
                    <a:pt x="673" y="749"/>
                  </a:lnTo>
                  <a:lnTo>
                    <a:pt x="669" y="740"/>
                  </a:lnTo>
                  <a:lnTo>
                    <a:pt x="667" y="733"/>
                  </a:lnTo>
                  <a:lnTo>
                    <a:pt x="665" y="724"/>
                  </a:lnTo>
                  <a:lnTo>
                    <a:pt x="662" y="714"/>
                  </a:lnTo>
                  <a:lnTo>
                    <a:pt x="662" y="706"/>
                  </a:lnTo>
                  <a:lnTo>
                    <a:pt x="662" y="193"/>
                  </a:lnTo>
                  <a:lnTo>
                    <a:pt x="661" y="185"/>
                  </a:lnTo>
                  <a:lnTo>
                    <a:pt x="660" y="178"/>
                  </a:lnTo>
                  <a:lnTo>
                    <a:pt x="659" y="172"/>
                  </a:lnTo>
                  <a:lnTo>
                    <a:pt x="656" y="164"/>
                  </a:lnTo>
                  <a:lnTo>
                    <a:pt x="653" y="158"/>
                  </a:lnTo>
                  <a:lnTo>
                    <a:pt x="650" y="151"/>
                  </a:lnTo>
                  <a:lnTo>
                    <a:pt x="645" y="146"/>
                  </a:lnTo>
                  <a:lnTo>
                    <a:pt x="640" y="140"/>
                  </a:lnTo>
                  <a:lnTo>
                    <a:pt x="635" y="135"/>
                  </a:lnTo>
                  <a:lnTo>
                    <a:pt x="629" y="131"/>
                  </a:lnTo>
                  <a:lnTo>
                    <a:pt x="623" y="128"/>
                  </a:lnTo>
                  <a:lnTo>
                    <a:pt x="616" y="124"/>
                  </a:lnTo>
                  <a:lnTo>
                    <a:pt x="609" y="121"/>
                  </a:lnTo>
                  <a:lnTo>
                    <a:pt x="602" y="120"/>
                  </a:lnTo>
                  <a:lnTo>
                    <a:pt x="595" y="119"/>
                  </a:lnTo>
                  <a:lnTo>
                    <a:pt x="587" y="118"/>
                  </a:lnTo>
                  <a:lnTo>
                    <a:pt x="542" y="118"/>
                  </a:lnTo>
                  <a:lnTo>
                    <a:pt x="542" y="75"/>
                  </a:lnTo>
                  <a:lnTo>
                    <a:pt x="541" y="68"/>
                  </a:lnTo>
                  <a:lnTo>
                    <a:pt x="540" y="60"/>
                  </a:lnTo>
                  <a:lnTo>
                    <a:pt x="538" y="54"/>
                  </a:lnTo>
                  <a:lnTo>
                    <a:pt x="536" y="46"/>
                  </a:lnTo>
                  <a:lnTo>
                    <a:pt x="533" y="40"/>
                  </a:lnTo>
                  <a:lnTo>
                    <a:pt x="529" y="33"/>
                  </a:lnTo>
                  <a:lnTo>
                    <a:pt x="524" y="28"/>
                  </a:lnTo>
                  <a:lnTo>
                    <a:pt x="520" y="22"/>
                  </a:lnTo>
                  <a:lnTo>
                    <a:pt x="514" y="17"/>
                  </a:lnTo>
                  <a:lnTo>
                    <a:pt x="509" y="13"/>
                  </a:lnTo>
                  <a:lnTo>
                    <a:pt x="503" y="10"/>
                  </a:lnTo>
                  <a:lnTo>
                    <a:pt x="496" y="6"/>
                  </a:lnTo>
                  <a:lnTo>
                    <a:pt x="489" y="4"/>
                  </a:lnTo>
                  <a:lnTo>
                    <a:pt x="481" y="2"/>
                  </a:lnTo>
                  <a:lnTo>
                    <a:pt x="475" y="1"/>
                  </a:lnTo>
                  <a:lnTo>
                    <a:pt x="466" y="0"/>
                  </a:lnTo>
                  <a:lnTo>
                    <a:pt x="75" y="0"/>
                  </a:lnTo>
                  <a:lnTo>
                    <a:pt x="67" y="1"/>
                  </a:lnTo>
                  <a:lnTo>
                    <a:pt x="60" y="2"/>
                  </a:lnTo>
                  <a:lnTo>
                    <a:pt x="53" y="3"/>
                  </a:lnTo>
                  <a:lnTo>
                    <a:pt x="46" y="6"/>
                  </a:lnTo>
                  <a:lnTo>
                    <a:pt x="39" y="10"/>
                  </a:lnTo>
                  <a:lnTo>
                    <a:pt x="33" y="13"/>
                  </a:lnTo>
                  <a:lnTo>
                    <a:pt x="27" y="17"/>
                  </a:lnTo>
                  <a:lnTo>
                    <a:pt x="22" y="22"/>
                  </a:lnTo>
                  <a:lnTo>
                    <a:pt x="17" y="28"/>
                  </a:lnTo>
                  <a:lnTo>
                    <a:pt x="12" y="33"/>
                  </a:lnTo>
                  <a:lnTo>
                    <a:pt x="9" y="40"/>
                  </a:lnTo>
                  <a:lnTo>
                    <a:pt x="6" y="46"/>
                  </a:lnTo>
                  <a:lnTo>
                    <a:pt x="3" y="54"/>
                  </a:lnTo>
                  <a:lnTo>
                    <a:pt x="2" y="60"/>
                  </a:lnTo>
                  <a:lnTo>
                    <a:pt x="1" y="68"/>
                  </a:lnTo>
                  <a:lnTo>
                    <a:pt x="0" y="76"/>
                  </a:lnTo>
                  <a:lnTo>
                    <a:pt x="0" y="828"/>
                  </a:lnTo>
                  <a:lnTo>
                    <a:pt x="1" y="835"/>
                  </a:lnTo>
                  <a:lnTo>
                    <a:pt x="2" y="843"/>
                  </a:lnTo>
                  <a:lnTo>
                    <a:pt x="3" y="850"/>
                  </a:lnTo>
                  <a:lnTo>
                    <a:pt x="6" y="857"/>
                  </a:lnTo>
                  <a:lnTo>
                    <a:pt x="9" y="864"/>
                  </a:lnTo>
                  <a:lnTo>
                    <a:pt x="12" y="870"/>
                  </a:lnTo>
                  <a:lnTo>
                    <a:pt x="17" y="876"/>
                  </a:lnTo>
                  <a:lnTo>
                    <a:pt x="22" y="882"/>
                  </a:lnTo>
                  <a:lnTo>
                    <a:pt x="27" y="886"/>
                  </a:lnTo>
                  <a:lnTo>
                    <a:pt x="33" y="890"/>
                  </a:lnTo>
                  <a:lnTo>
                    <a:pt x="39" y="894"/>
                  </a:lnTo>
                  <a:lnTo>
                    <a:pt x="46" y="898"/>
                  </a:lnTo>
                  <a:lnTo>
                    <a:pt x="53" y="900"/>
                  </a:lnTo>
                  <a:lnTo>
                    <a:pt x="60" y="902"/>
                  </a:lnTo>
                  <a:lnTo>
                    <a:pt x="67" y="903"/>
                  </a:lnTo>
                  <a:lnTo>
                    <a:pt x="75" y="903"/>
                  </a:lnTo>
                  <a:lnTo>
                    <a:pt x="466" y="903"/>
                  </a:lnTo>
                  <a:lnTo>
                    <a:pt x="475" y="903"/>
                  </a:lnTo>
                  <a:lnTo>
                    <a:pt x="481" y="902"/>
                  </a:lnTo>
                  <a:lnTo>
                    <a:pt x="489" y="900"/>
                  </a:lnTo>
                  <a:lnTo>
                    <a:pt x="496" y="898"/>
                  </a:lnTo>
                  <a:lnTo>
                    <a:pt x="503" y="894"/>
                  </a:lnTo>
                  <a:lnTo>
                    <a:pt x="509" y="890"/>
                  </a:lnTo>
                  <a:lnTo>
                    <a:pt x="514" y="886"/>
                  </a:lnTo>
                  <a:lnTo>
                    <a:pt x="520" y="882"/>
                  </a:lnTo>
                  <a:lnTo>
                    <a:pt x="524" y="876"/>
                  </a:lnTo>
                  <a:lnTo>
                    <a:pt x="529" y="870"/>
                  </a:lnTo>
                  <a:lnTo>
                    <a:pt x="533" y="864"/>
                  </a:lnTo>
                  <a:lnTo>
                    <a:pt x="536" y="858"/>
                  </a:lnTo>
                  <a:lnTo>
                    <a:pt x="538" y="850"/>
                  </a:lnTo>
                  <a:lnTo>
                    <a:pt x="540" y="843"/>
                  </a:lnTo>
                  <a:lnTo>
                    <a:pt x="541" y="835"/>
                  </a:lnTo>
                  <a:lnTo>
                    <a:pt x="542" y="828"/>
                  </a:lnTo>
                  <a:lnTo>
                    <a:pt x="542" y="148"/>
                  </a:lnTo>
                  <a:lnTo>
                    <a:pt x="587" y="148"/>
                  </a:lnTo>
                  <a:lnTo>
                    <a:pt x="596" y="149"/>
                  </a:lnTo>
                  <a:lnTo>
                    <a:pt x="605" y="152"/>
                  </a:lnTo>
                  <a:lnTo>
                    <a:pt x="612" y="157"/>
                  </a:lnTo>
                  <a:lnTo>
                    <a:pt x="618" y="162"/>
                  </a:lnTo>
                  <a:lnTo>
                    <a:pt x="625" y="168"/>
                  </a:lnTo>
                  <a:lnTo>
                    <a:pt x="628" y="176"/>
                  </a:lnTo>
                  <a:lnTo>
                    <a:pt x="631" y="184"/>
                  </a:lnTo>
                  <a:lnTo>
                    <a:pt x="632" y="193"/>
                  </a:lnTo>
                  <a:lnTo>
                    <a:pt x="632" y="706"/>
                  </a:lnTo>
                  <a:lnTo>
                    <a:pt x="632" y="717"/>
                  </a:lnTo>
                  <a:lnTo>
                    <a:pt x="635" y="729"/>
                  </a:lnTo>
                  <a:lnTo>
                    <a:pt x="638" y="741"/>
                  </a:lnTo>
                  <a:lnTo>
                    <a:pt x="642" y="752"/>
                  </a:lnTo>
                  <a:lnTo>
                    <a:pt x="646" y="763"/>
                  </a:lnTo>
                  <a:lnTo>
                    <a:pt x="653" y="772"/>
                  </a:lnTo>
                  <a:lnTo>
                    <a:pt x="659" y="782"/>
                  </a:lnTo>
                  <a:lnTo>
                    <a:pt x="668" y="790"/>
                  </a:lnTo>
                  <a:lnTo>
                    <a:pt x="676" y="798"/>
                  </a:lnTo>
                  <a:lnTo>
                    <a:pt x="685" y="805"/>
                  </a:lnTo>
                  <a:lnTo>
                    <a:pt x="696" y="811"/>
                  </a:lnTo>
                  <a:lnTo>
                    <a:pt x="705" y="816"/>
                  </a:lnTo>
                  <a:lnTo>
                    <a:pt x="717" y="820"/>
                  </a:lnTo>
                  <a:lnTo>
                    <a:pt x="728" y="824"/>
                  </a:lnTo>
                  <a:lnTo>
                    <a:pt x="741" y="825"/>
                  </a:lnTo>
                  <a:lnTo>
                    <a:pt x="753" y="826"/>
                  </a:lnTo>
                  <a:lnTo>
                    <a:pt x="764" y="825"/>
                  </a:lnTo>
                  <a:lnTo>
                    <a:pt x="777" y="824"/>
                  </a:lnTo>
                  <a:lnTo>
                    <a:pt x="788" y="820"/>
                  </a:lnTo>
                  <a:lnTo>
                    <a:pt x="800" y="816"/>
                  </a:lnTo>
                  <a:lnTo>
                    <a:pt x="809" y="811"/>
                  </a:lnTo>
                  <a:lnTo>
                    <a:pt x="820" y="805"/>
                  </a:lnTo>
                  <a:lnTo>
                    <a:pt x="829" y="798"/>
                  </a:lnTo>
                  <a:lnTo>
                    <a:pt x="837" y="790"/>
                  </a:lnTo>
                  <a:lnTo>
                    <a:pt x="846" y="782"/>
                  </a:lnTo>
                  <a:lnTo>
                    <a:pt x="852" y="772"/>
                  </a:lnTo>
                  <a:lnTo>
                    <a:pt x="859" y="763"/>
                  </a:lnTo>
                  <a:lnTo>
                    <a:pt x="863" y="752"/>
                  </a:lnTo>
                  <a:lnTo>
                    <a:pt x="867" y="741"/>
                  </a:lnTo>
                  <a:lnTo>
                    <a:pt x="870" y="729"/>
                  </a:lnTo>
                  <a:lnTo>
                    <a:pt x="873" y="717"/>
                  </a:lnTo>
                  <a:lnTo>
                    <a:pt x="873" y="706"/>
                  </a:lnTo>
                  <a:lnTo>
                    <a:pt x="873" y="444"/>
                  </a:lnTo>
                  <a:lnTo>
                    <a:pt x="879" y="440"/>
                  </a:lnTo>
                  <a:lnTo>
                    <a:pt x="885" y="434"/>
                  </a:lnTo>
                  <a:lnTo>
                    <a:pt x="891" y="428"/>
                  </a:lnTo>
                  <a:lnTo>
                    <a:pt x="895" y="421"/>
                  </a:lnTo>
                  <a:lnTo>
                    <a:pt x="898" y="415"/>
                  </a:lnTo>
                  <a:lnTo>
                    <a:pt x="901" y="408"/>
                  </a:lnTo>
                  <a:lnTo>
                    <a:pt x="903" y="400"/>
                  </a:lnTo>
                  <a:lnTo>
                    <a:pt x="903" y="391"/>
                  </a:lnTo>
                  <a:lnTo>
                    <a:pt x="903" y="271"/>
                  </a:lnTo>
                  <a:lnTo>
                    <a:pt x="903" y="265"/>
                  </a:lnTo>
                  <a:lnTo>
                    <a:pt x="902" y="259"/>
                  </a:lnTo>
                  <a:lnTo>
                    <a:pt x="901" y="253"/>
                  </a:lnTo>
                  <a:lnTo>
                    <a:pt x="898" y="248"/>
                  </a:lnTo>
                  <a:lnTo>
                    <a:pt x="896" y="242"/>
                  </a:lnTo>
                  <a:lnTo>
                    <a:pt x="893" y="238"/>
                  </a:lnTo>
                  <a:lnTo>
                    <a:pt x="890" y="233"/>
                  </a:lnTo>
                  <a:lnTo>
                    <a:pt x="885" y="228"/>
                  </a:lnTo>
                  <a:lnTo>
                    <a:pt x="881" y="225"/>
                  </a:lnTo>
                  <a:lnTo>
                    <a:pt x="877" y="221"/>
                  </a:lnTo>
                  <a:lnTo>
                    <a:pt x="872" y="219"/>
                  </a:lnTo>
                  <a:lnTo>
                    <a:pt x="866" y="216"/>
                  </a:lnTo>
                  <a:lnTo>
                    <a:pt x="861" y="213"/>
                  </a:lnTo>
                  <a:lnTo>
                    <a:pt x="855" y="212"/>
                  </a:lnTo>
                  <a:lnTo>
                    <a:pt x="849" y="211"/>
                  </a:lnTo>
                  <a:lnTo>
                    <a:pt x="843" y="211"/>
                  </a:lnTo>
                  <a:lnTo>
                    <a:pt x="84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72" name="Group 112">
            <a:extLst>
              <a:ext uri="{FF2B5EF4-FFF2-40B4-BE49-F238E27FC236}">
                <a16:creationId xmlns:a16="http://schemas.microsoft.com/office/drawing/2014/main" id="{CF55676A-DFD7-48B8-9CBC-FB8A4528E3ED}"/>
              </a:ext>
            </a:extLst>
          </p:cNvPr>
          <p:cNvGrpSpPr>
            <a:grpSpLocks noChangeAspect="1"/>
          </p:cNvGrpSpPr>
          <p:nvPr/>
        </p:nvGrpSpPr>
        <p:grpSpPr>
          <a:xfrm>
            <a:off x="3201842" y="5956111"/>
            <a:ext cx="287206" cy="285619"/>
            <a:chOff x="4892675" y="1935163"/>
            <a:chExt cx="287338" cy="285750"/>
          </a:xfrm>
          <a:solidFill>
            <a:schemeClr val="bg2"/>
          </a:solidFill>
          <a:effectLst/>
        </p:grpSpPr>
        <p:sp>
          <p:nvSpPr>
            <p:cNvPr id="1373" name="Freeform 234">
              <a:extLst>
                <a:ext uri="{FF2B5EF4-FFF2-40B4-BE49-F238E27FC236}">
                  <a16:creationId xmlns:a16="http://schemas.microsoft.com/office/drawing/2014/main" id="{79C3E6FA-148B-42FA-B092-0B20E41A6E6C}"/>
                </a:ext>
              </a:extLst>
            </p:cNvPr>
            <p:cNvSpPr>
              <a:spLocks noEditPoints="1"/>
            </p:cNvSpPr>
            <p:nvPr/>
          </p:nvSpPr>
          <p:spPr bwMode="auto">
            <a:xfrm>
              <a:off x="4892675" y="1935163"/>
              <a:ext cx="287338" cy="285750"/>
            </a:xfrm>
            <a:custGeom>
              <a:avLst/>
              <a:gdLst>
                <a:gd name="T0" fmla="*/ 829 w 903"/>
                <a:gd name="T1" fmla="*/ 859 h 903"/>
                <a:gd name="T2" fmla="*/ 75 w 903"/>
                <a:gd name="T3" fmla="*/ 872 h 903"/>
                <a:gd name="T4" fmla="*/ 37 w 903"/>
                <a:gd name="T5" fmla="*/ 853 h 903"/>
                <a:gd name="T6" fmla="*/ 31 w 903"/>
                <a:gd name="T7" fmla="*/ 577 h 903"/>
                <a:gd name="T8" fmla="*/ 58 w 903"/>
                <a:gd name="T9" fmla="*/ 545 h 903"/>
                <a:gd name="T10" fmla="*/ 815 w 903"/>
                <a:gd name="T11" fmla="*/ 545 h 903"/>
                <a:gd name="T12" fmla="*/ 842 w 903"/>
                <a:gd name="T13" fmla="*/ 577 h 903"/>
                <a:gd name="T14" fmla="*/ 150 w 903"/>
                <a:gd name="T15" fmla="*/ 451 h 903"/>
                <a:gd name="T16" fmla="*/ 161 w 903"/>
                <a:gd name="T17" fmla="*/ 408 h 903"/>
                <a:gd name="T18" fmla="*/ 190 w 903"/>
                <a:gd name="T19" fmla="*/ 376 h 903"/>
                <a:gd name="T20" fmla="*/ 230 w 903"/>
                <a:gd name="T21" fmla="*/ 362 h 903"/>
                <a:gd name="T22" fmla="*/ 803 w 903"/>
                <a:gd name="T23" fmla="*/ 354 h 903"/>
                <a:gd name="T24" fmla="*/ 864 w 903"/>
                <a:gd name="T25" fmla="*/ 319 h 903"/>
                <a:gd name="T26" fmla="*/ 898 w 903"/>
                <a:gd name="T27" fmla="*/ 263 h 903"/>
                <a:gd name="T28" fmla="*/ 901 w 903"/>
                <a:gd name="T29" fmla="*/ 201 h 903"/>
                <a:gd name="T30" fmla="*/ 873 w 903"/>
                <a:gd name="T31" fmla="*/ 143 h 903"/>
                <a:gd name="T32" fmla="*/ 817 w 903"/>
                <a:gd name="T33" fmla="*/ 102 h 903"/>
                <a:gd name="T34" fmla="*/ 511 w 903"/>
                <a:gd name="T35" fmla="*/ 90 h 903"/>
                <a:gd name="T36" fmla="*/ 481 w 903"/>
                <a:gd name="T37" fmla="*/ 83 h 903"/>
                <a:gd name="T38" fmla="*/ 461 w 903"/>
                <a:gd name="T39" fmla="*/ 65 h 903"/>
                <a:gd name="T40" fmla="*/ 451 w 903"/>
                <a:gd name="T41" fmla="*/ 37 h 903"/>
                <a:gd name="T42" fmla="*/ 448 w 903"/>
                <a:gd name="T43" fmla="*/ 7 h 903"/>
                <a:gd name="T44" fmla="*/ 436 w 903"/>
                <a:gd name="T45" fmla="*/ 0 h 903"/>
                <a:gd name="T46" fmla="*/ 424 w 903"/>
                <a:gd name="T47" fmla="*/ 7 h 903"/>
                <a:gd name="T48" fmla="*/ 421 w 903"/>
                <a:gd name="T49" fmla="*/ 40 h 903"/>
                <a:gd name="T50" fmla="*/ 435 w 903"/>
                <a:gd name="T51" fmla="*/ 82 h 903"/>
                <a:gd name="T52" fmla="*/ 466 w 903"/>
                <a:gd name="T53" fmla="*/ 110 h 903"/>
                <a:gd name="T54" fmla="*/ 511 w 903"/>
                <a:gd name="T55" fmla="*/ 120 h 903"/>
                <a:gd name="T56" fmla="*/ 806 w 903"/>
                <a:gd name="T57" fmla="*/ 129 h 903"/>
                <a:gd name="T58" fmla="*/ 850 w 903"/>
                <a:gd name="T59" fmla="*/ 161 h 903"/>
                <a:gd name="T60" fmla="*/ 871 w 903"/>
                <a:gd name="T61" fmla="*/ 206 h 903"/>
                <a:gd name="T62" fmla="*/ 869 w 903"/>
                <a:gd name="T63" fmla="*/ 254 h 903"/>
                <a:gd name="T64" fmla="*/ 844 w 903"/>
                <a:gd name="T65" fmla="*/ 297 h 903"/>
                <a:gd name="T66" fmla="*/ 794 w 903"/>
                <a:gd name="T67" fmla="*/ 325 h 903"/>
                <a:gd name="T68" fmla="*/ 227 w 903"/>
                <a:gd name="T69" fmla="*/ 332 h 903"/>
                <a:gd name="T70" fmla="*/ 173 w 903"/>
                <a:gd name="T71" fmla="*/ 351 h 903"/>
                <a:gd name="T72" fmla="*/ 134 w 903"/>
                <a:gd name="T73" fmla="*/ 393 h 903"/>
                <a:gd name="T74" fmla="*/ 120 w 903"/>
                <a:gd name="T75" fmla="*/ 452 h 903"/>
                <a:gd name="T76" fmla="*/ 52 w 903"/>
                <a:gd name="T77" fmla="*/ 515 h 903"/>
                <a:gd name="T78" fmla="*/ 21 w 903"/>
                <a:gd name="T79" fmla="*/ 533 h 903"/>
                <a:gd name="T80" fmla="*/ 3 w 903"/>
                <a:gd name="T81" fmla="*/ 564 h 903"/>
                <a:gd name="T82" fmla="*/ 0 w 903"/>
                <a:gd name="T83" fmla="*/ 836 h 903"/>
                <a:gd name="T84" fmla="*/ 13 w 903"/>
                <a:gd name="T85" fmla="*/ 870 h 903"/>
                <a:gd name="T86" fmla="*/ 38 w 903"/>
                <a:gd name="T87" fmla="*/ 894 h 903"/>
                <a:gd name="T88" fmla="*/ 75 w 903"/>
                <a:gd name="T89" fmla="*/ 903 h 903"/>
                <a:gd name="T90" fmla="*/ 827 w 903"/>
                <a:gd name="T91" fmla="*/ 897 h 903"/>
                <a:gd name="T92" fmla="*/ 856 w 903"/>
                <a:gd name="T93" fmla="*/ 875 h 903"/>
                <a:gd name="T94" fmla="*/ 871 w 903"/>
                <a:gd name="T95" fmla="*/ 843 h 903"/>
                <a:gd name="T96" fmla="*/ 871 w 903"/>
                <a:gd name="T97" fmla="*/ 572 h 903"/>
                <a:gd name="T98" fmla="*/ 856 w 903"/>
                <a:gd name="T99" fmla="*/ 539 h 903"/>
                <a:gd name="T100" fmla="*/ 827 w 903"/>
                <a:gd name="T101" fmla="*/ 51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903">
                  <a:moveTo>
                    <a:pt x="843" y="827"/>
                  </a:moveTo>
                  <a:lnTo>
                    <a:pt x="842" y="837"/>
                  </a:lnTo>
                  <a:lnTo>
                    <a:pt x="839" y="845"/>
                  </a:lnTo>
                  <a:lnTo>
                    <a:pt x="834" y="853"/>
                  </a:lnTo>
                  <a:lnTo>
                    <a:pt x="829" y="859"/>
                  </a:lnTo>
                  <a:lnTo>
                    <a:pt x="822" y="865"/>
                  </a:lnTo>
                  <a:lnTo>
                    <a:pt x="815" y="869"/>
                  </a:lnTo>
                  <a:lnTo>
                    <a:pt x="806" y="872"/>
                  </a:lnTo>
                  <a:lnTo>
                    <a:pt x="798" y="873"/>
                  </a:lnTo>
                  <a:lnTo>
                    <a:pt x="75" y="872"/>
                  </a:lnTo>
                  <a:lnTo>
                    <a:pt x="65" y="872"/>
                  </a:lnTo>
                  <a:lnTo>
                    <a:pt x="58" y="869"/>
                  </a:lnTo>
                  <a:lnTo>
                    <a:pt x="49" y="865"/>
                  </a:lnTo>
                  <a:lnTo>
                    <a:pt x="43" y="859"/>
                  </a:lnTo>
                  <a:lnTo>
                    <a:pt x="37" y="853"/>
                  </a:lnTo>
                  <a:lnTo>
                    <a:pt x="33" y="845"/>
                  </a:lnTo>
                  <a:lnTo>
                    <a:pt x="31" y="837"/>
                  </a:lnTo>
                  <a:lnTo>
                    <a:pt x="30" y="827"/>
                  </a:lnTo>
                  <a:lnTo>
                    <a:pt x="30" y="587"/>
                  </a:lnTo>
                  <a:lnTo>
                    <a:pt x="31" y="577"/>
                  </a:lnTo>
                  <a:lnTo>
                    <a:pt x="33" y="569"/>
                  </a:lnTo>
                  <a:lnTo>
                    <a:pt x="37" y="561"/>
                  </a:lnTo>
                  <a:lnTo>
                    <a:pt x="43" y="555"/>
                  </a:lnTo>
                  <a:lnTo>
                    <a:pt x="49" y="549"/>
                  </a:lnTo>
                  <a:lnTo>
                    <a:pt x="58" y="545"/>
                  </a:lnTo>
                  <a:lnTo>
                    <a:pt x="65" y="543"/>
                  </a:lnTo>
                  <a:lnTo>
                    <a:pt x="75" y="542"/>
                  </a:lnTo>
                  <a:lnTo>
                    <a:pt x="798" y="542"/>
                  </a:lnTo>
                  <a:lnTo>
                    <a:pt x="806" y="543"/>
                  </a:lnTo>
                  <a:lnTo>
                    <a:pt x="815" y="545"/>
                  </a:lnTo>
                  <a:lnTo>
                    <a:pt x="822" y="549"/>
                  </a:lnTo>
                  <a:lnTo>
                    <a:pt x="829" y="555"/>
                  </a:lnTo>
                  <a:lnTo>
                    <a:pt x="834" y="561"/>
                  </a:lnTo>
                  <a:lnTo>
                    <a:pt x="839" y="569"/>
                  </a:lnTo>
                  <a:lnTo>
                    <a:pt x="842" y="577"/>
                  </a:lnTo>
                  <a:lnTo>
                    <a:pt x="843" y="587"/>
                  </a:lnTo>
                  <a:lnTo>
                    <a:pt x="843" y="827"/>
                  </a:lnTo>
                  <a:close/>
                  <a:moveTo>
                    <a:pt x="798" y="512"/>
                  </a:moveTo>
                  <a:lnTo>
                    <a:pt x="150" y="512"/>
                  </a:lnTo>
                  <a:lnTo>
                    <a:pt x="150" y="451"/>
                  </a:lnTo>
                  <a:lnTo>
                    <a:pt x="150" y="442"/>
                  </a:lnTo>
                  <a:lnTo>
                    <a:pt x="152" y="432"/>
                  </a:lnTo>
                  <a:lnTo>
                    <a:pt x="154" y="424"/>
                  </a:lnTo>
                  <a:lnTo>
                    <a:pt x="156" y="415"/>
                  </a:lnTo>
                  <a:lnTo>
                    <a:pt x="161" y="408"/>
                  </a:lnTo>
                  <a:lnTo>
                    <a:pt x="165" y="400"/>
                  </a:lnTo>
                  <a:lnTo>
                    <a:pt x="170" y="393"/>
                  </a:lnTo>
                  <a:lnTo>
                    <a:pt x="176" y="386"/>
                  </a:lnTo>
                  <a:lnTo>
                    <a:pt x="182" y="381"/>
                  </a:lnTo>
                  <a:lnTo>
                    <a:pt x="190" y="376"/>
                  </a:lnTo>
                  <a:lnTo>
                    <a:pt x="196" y="371"/>
                  </a:lnTo>
                  <a:lnTo>
                    <a:pt x="205" y="368"/>
                  </a:lnTo>
                  <a:lnTo>
                    <a:pt x="213" y="365"/>
                  </a:lnTo>
                  <a:lnTo>
                    <a:pt x="222" y="363"/>
                  </a:lnTo>
                  <a:lnTo>
                    <a:pt x="230" y="362"/>
                  </a:lnTo>
                  <a:lnTo>
                    <a:pt x="240" y="361"/>
                  </a:lnTo>
                  <a:lnTo>
                    <a:pt x="752" y="361"/>
                  </a:lnTo>
                  <a:lnTo>
                    <a:pt x="770" y="361"/>
                  </a:lnTo>
                  <a:lnTo>
                    <a:pt x="787" y="357"/>
                  </a:lnTo>
                  <a:lnTo>
                    <a:pt x="803" y="354"/>
                  </a:lnTo>
                  <a:lnTo>
                    <a:pt x="817" y="349"/>
                  </a:lnTo>
                  <a:lnTo>
                    <a:pt x="831" y="343"/>
                  </a:lnTo>
                  <a:lnTo>
                    <a:pt x="843" y="336"/>
                  </a:lnTo>
                  <a:lnTo>
                    <a:pt x="855" y="327"/>
                  </a:lnTo>
                  <a:lnTo>
                    <a:pt x="864" y="319"/>
                  </a:lnTo>
                  <a:lnTo>
                    <a:pt x="873" y="308"/>
                  </a:lnTo>
                  <a:lnTo>
                    <a:pt x="881" y="298"/>
                  </a:lnTo>
                  <a:lnTo>
                    <a:pt x="888" y="287"/>
                  </a:lnTo>
                  <a:lnTo>
                    <a:pt x="893" y="275"/>
                  </a:lnTo>
                  <a:lnTo>
                    <a:pt x="898" y="263"/>
                  </a:lnTo>
                  <a:lnTo>
                    <a:pt x="901" y="250"/>
                  </a:lnTo>
                  <a:lnTo>
                    <a:pt x="902" y="238"/>
                  </a:lnTo>
                  <a:lnTo>
                    <a:pt x="903" y="225"/>
                  </a:lnTo>
                  <a:lnTo>
                    <a:pt x="902" y="213"/>
                  </a:lnTo>
                  <a:lnTo>
                    <a:pt x="901" y="201"/>
                  </a:lnTo>
                  <a:lnTo>
                    <a:pt x="898" y="188"/>
                  </a:lnTo>
                  <a:lnTo>
                    <a:pt x="893" y="176"/>
                  </a:lnTo>
                  <a:lnTo>
                    <a:pt x="888" y="164"/>
                  </a:lnTo>
                  <a:lnTo>
                    <a:pt x="881" y="153"/>
                  </a:lnTo>
                  <a:lnTo>
                    <a:pt x="873" y="143"/>
                  </a:lnTo>
                  <a:lnTo>
                    <a:pt x="864" y="132"/>
                  </a:lnTo>
                  <a:lnTo>
                    <a:pt x="855" y="124"/>
                  </a:lnTo>
                  <a:lnTo>
                    <a:pt x="843" y="115"/>
                  </a:lnTo>
                  <a:lnTo>
                    <a:pt x="831" y="107"/>
                  </a:lnTo>
                  <a:lnTo>
                    <a:pt x="817" y="102"/>
                  </a:lnTo>
                  <a:lnTo>
                    <a:pt x="803" y="97"/>
                  </a:lnTo>
                  <a:lnTo>
                    <a:pt x="787" y="94"/>
                  </a:lnTo>
                  <a:lnTo>
                    <a:pt x="770" y="90"/>
                  </a:lnTo>
                  <a:lnTo>
                    <a:pt x="752" y="90"/>
                  </a:lnTo>
                  <a:lnTo>
                    <a:pt x="511" y="90"/>
                  </a:lnTo>
                  <a:lnTo>
                    <a:pt x="505" y="89"/>
                  </a:lnTo>
                  <a:lnTo>
                    <a:pt x="499" y="89"/>
                  </a:lnTo>
                  <a:lnTo>
                    <a:pt x="492" y="87"/>
                  </a:lnTo>
                  <a:lnTo>
                    <a:pt x="487" y="86"/>
                  </a:lnTo>
                  <a:lnTo>
                    <a:pt x="481" y="83"/>
                  </a:lnTo>
                  <a:lnTo>
                    <a:pt x="476" y="81"/>
                  </a:lnTo>
                  <a:lnTo>
                    <a:pt x="472" y="77"/>
                  </a:lnTo>
                  <a:lnTo>
                    <a:pt x="467" y="73"/>
                  </a:lnTo>
                  <a:lnTo>
                    <a:pt x="464" y="70"/>
                  </a:lnTo>
                  <a:lnTo>
                    <a:pt x="461" y="65"/>
                  </a:lnTo>
                  <a:lnTo>
                    <a:pt x="458" y="60"/>
                  </a:lnTo>
                  <a:lnTo>
                    <a:pt x="456" y="55"/>
                  </a:lnTo>
                  <a:lnTo>
                    <a:pt x="454" y="48"/>
                  </a:lnTo>
                  <a:lnTo>
                    <a:pt x="452" y="43"/>
                  </a:lnTo>
                  <a:lnTo>
                    <a:pt x="451" y="37"/>
                  </a:lnTo>
                  <a:lnTo>
                    <a:pt x="451" y="30"/>
                  </a:lnTo>
                  <a:lnTo>
                    <a:pt x="451" y="15"/>
                  </a:lnTo>
                  <a:lnTo>
                    <a:pt x="450" y="12"/>
                  </a:lnTo>
                  <a:lnTo>
                    <a:pt x="450" y="9"/>
                  </a:lnTo>
                  <a:lnTo>
                    <a:pt x="448" y="7"/>
                  </a:lnTo>
                  <a:lnTo>
                    <a:pt x="447" y="5"/>
                  </a:lnTo>
                  <a:lnTo>
                    <a:pt x="445" y="2"/>
                  </a:lnTo>
                  <a:lnTo>
                    <a:pt x="442" y="1"/>
                  </a:lnTo>
                  <a:lnTo>
                    <a:pt x="440" y="0"/>
                  </a:lnTo>
                  <a:lnTo>
                    <a:pt x="436" y="0"/>
                  </a:lnTo>
                  <a:lnTo>
                    <a:pt x="433" y="0"/>
                  </a:lnTo>
                  <a:lnTo>
                    <a:pt x="430" y="1"/>
                  </a:lnTo>
                  <a:lnTo>
                    <a:pt x="428" y="2"/>
                  </a:lnTo>
                  <a:lnTo>
                    <a:pt x="426" y="5"/>
                  </a:lnTo>
                  <a:lnTo>
                    <a:pt x="424" y="7"/>
                  </a:lnTo>
                  <a:lnTo>
                    <a:pt x="422" y="9"/>
                  </a:lnTo>
                  <a:lnTo>
                    <a:pt x="421" y="12"/>
                  </a:lnTo>
                  <a:lnTo>
                    <a:pt x="421" y="15"/>
                  </a:lnTo>
                  <a:lnTo>
                    <a:pt x="421" y="30"/>
                  </a:lnTo>
                  <a:lnTo>
                    <a:pt x="421" y="40"/>
                  </a:lnTo>
                  <a:lnTo>
                    <a:pt x="422" y="48"/>
                  </a:lnTo>
                  <a:lnTo>
                    <a:pt x="425" y="58"/>
                  </a:lnTo>
                  <a:lnTo>
                    <a:pt x="428" y="67"/>
                  </a:lnTo>
                  <a:lnTo>
                    <a:pt x="431" y="74"/>
                  </a:lnTo>
                  <a:lnTo>
                    <a:pt x="435" y="82"/>
                  </a:lnTo>
                  <a:lnTo>
                    <a:pt x="441" y="88"/>
                  </a:lnTo>
                  <a:lnTo>
                    <a:pt x="446" y="95"/>
                  </a:lnTo>
                  <a:lnTo>
                    <a:pt x="452" y="101"/>
                  </a:lnTo>
                  <a:lnTo>
                    <a:pt x="459" y="105"/>
                  </a:lnTo>
                  <a:lnTo>
                    <a:pt x="466" y="110"/>
                  </a:lnTo>
                  <a:lnTo>
                    <a:pt x="475" y="114"/>
                  </a:lnTo>
                  <a:lnTo>
                    <a:pt x="484" y="116"/>
                  </a:lnTo>
                  <a:lnTo>
                    <a:pt x="492" y="118"/>
                  </a:lnTo>
                  <a:lnTo>
                    <a:pt x="502" y="119"/>
                  </a:lnTo>
                  <a:lnTo>
                    <a:pt x="511" y="120"/>
                  </a:lnTo>
                  <a:lnTo>
                    <a:pt x="752" y="120"/>
                  </a:lnTo>
                  <a:lnTo>
                    <a:pt x="767" y="120"/>
                  </a:lnTo>
                  <a:lnTo>
                    <a:pt x="781" y="123"/>
                  </a:lnTo>
                  <a:lnTo>
                    <a:pt x="794" y="126"/>
                  </a:lnTo>
                  <a:lnTo>
                    <a:pt x="806" y="129"/>
                  </a:lnTo>
                  <a:lnTo>
                    <a:pt x="817" y="134"/>
                  </a:lnTo>
                  <a:lnTo>
                    <a:pt x="827" y="140"/>
                  </a:lnTo>
                  <a:lnTo>
                    <a:pt x="835" y="146"/>
                  </a:lnTo>
                  <a:lnTo>
                    <a:pt x="844" y="154"/>
                  </a:lnTo>
                  <a:lnTo>
                    <a:pt x="850" y="161"/>
                  </a:lnTo>
                  <a:lnTo>
                    <a:pt x="857" y="170"/>
                  </a:lnTo>
                  <a:lnTo>
                    <a:pt x="861" y="178"/>
                  </a:lnTo>
                  <a:lnTo>
                    <a:pt x="865" y="188"/>
                  </a:lnTo>
                  <a:lnTo>
                    <a:pt x="869" y="197"/>
                  </a:lnTo>
                  <a:lnTo>
                    <a:pt x="871" y="206"/>
                  </a:lnTo>
                  <a:lnTo>
                    <a:pt x="872" y="216"/>
                  </a:lnTo>
                  <a:lnTo>
                    <a:pt x="873" y="225"/>
                  </a:lnTo>
                  <a:lnTo>
                    <a:pt x="872" y="235"/>
                  </a:lnTo>
                  <a:lnTo>
                    <a:pt x="871" y="245"/>
                  </a:lnTo>
                  <a:lnTo>
                    <a:pt x="869" y="254"/>
                  </a:lnTo>
                  <a:lnTo>
                    <a:pt x="865" y="263"/>
                  </a:lnTo>
                  <a:lnTo>
                    <a:pt x="861" y="273"/>
                  </a:lnTo>
                  <a:lnTo>
                    <a:pt x="857" y="281"/>
                  </a:lnTo>
                  <a:lnTo>
                    <a:pt x="850" y="290"/>
                  </a:lnTo>
                  <a:lnTo>
                    <a:pt x="844" y="297"/>
                  </a:lnTo>
                  <a:lnTo>
                    <a:pt x="835" y="305"/>
                  </a:lnTo>
                  <a:lnTo>
                    <a:pt x="827" y="311"/>
                  </a:lnTo>
                  <a:lnTo>
                    <a:pt x="817" y="317"/>
                  </a:lnTo>
                  <a:lnTo>
                    <a:pt x="806" y="322"/>
                  </a:lnTo>
                  <a:lnTo>
                    <a:pt x="794" y="325"/>
                  </a:lnTo>
                  <a:lnTo>
                    <a:pt x="781" y="328"/>
                  </a:lnTo>
                  <a:lnTo>
                    <a:pt x="767" y="331"/>
                  </a:lnTo>
                  <a:lnTo>
                    <a:pt x="752" y="331"/>
                  </a:lnTo>
                  <a:lnTo>
                    <a:pt x="240" y="331"/>
                  </a:lnTo>
                  <a:lnTo>
                    <a:pt x="227" y="332"/>
                  </a:lnTo>
                  <a:lnTo>
                    <a:pt x="215" y="333"/>
                  </a:lnTo>
                  <a:lnTo>
                    <a:pt x="204" y="336"/>
                  </a:lnTo>
                  <a:lnTo>
                    <a:pt x="193" y="340"/>
                  </a:lnTo>
                  <a:lnTo>
                    <a:pt x="182" y="345"/>
                  </a:lnTo>
                  <a:lnTo>
                    <a:pt x="173" y="351"/>
                  </a:lnTo>
                  <a:lnTo>
                    <a:pt x="163" y="357"/>
                  </a:lnTo>
                  <a:lnTo>
                    <a:pt x="154" y="365"/>
                  </a:lnTo>
                  <a:lnTo>
                    <a:pt x="147" y="373"/>
                  </a:lnTo>
                  <a:lnTo>
                    <a:pt x="140" y="383"/>
                  </a:lnTo>
                  <a:lnTo>
                    <a:pt x="134" y="393"/>
                  </a:lnTo>
                  <a:lnTo>
                    <a:pt x="130" y="404"/>
                  </a:lnTo>
                  <a:lnTo>
                    <a:pt x="125" y="414"/>
                  </a:lnTo>
                  <a:lnTo>
                    <a:pt x="122" y="426"/>
                  </a:lnTo>
                  <a:lnTo>
                    <a:pt x="121" y="439"/>
                  </a:lnTo>
                  <a:lnTo>
                    <a:pt x="120" y="452"/>
                  </a:lnTo>
                  <a:lnTo>
                    <a:pt x="120" y="512"/>
                  </a:lnTo>
                  <a:lnTo>
                    <a:pt x="75" y="512"/>
                  </a:lnTo>
                  <a:lnTo>
                    <a:pt x="67" y="512"/>
                  </a:lnTo>
                  <a:lnTo>
                    <a:pt x="60" y="513"/>
                  </a:lnTo>
                  <a:lnTo>
                    <a:pt x="52" y="515"/>
                  </a:lnTo>
                  <a:lnTo>
                    <a:pt x="46" y="517"/>
                  </a:lnTo>
                  <a:lnTo>
                    <a:pt x="38" y="520"/>
                  </a:lnTo>
                  <a:lnTo>
                    <a:pt x="33" y="525"/>
                  </a:lnTo>
                  <a:lnTo>
                    <a:pt x="27" y="529"/>
                  </a:lnTo>
                  <a:lnTo>
                    <a:pt x="21" y="533"/>
                  </a:lnTo>
                  <a:lnTo>
                    <a:pt x="17" y="539"/>
                  </a:lnTo>
                  <a:lnTo>
                    <a:pt x="13" y="545"/>
                  </a:lnTo>
                  <a:lnTo>
                    <a:pt x="8" y="550"/>
                  </a:lnTo>
                  <a:lnTo>
                    <a:pt x="5" y="558"/>
                  </a:lnTo>
                  <a:lnTo>
                    <a:pt x="3" y="564"/>
                  </a:lnTo>
                  <a:lnTo>
                    <a:pt x="1" y="572"/>
                  </a:lnTo>
                  <a:lnTo>
                    <a:pt x="0" y="579"/>
                  </a:lnTo>
                  <a:lnTo>
                    <a:pt x="0" y="587"/>
                  </a:lnTo>
                  <a:lnTo>
                    <a:pt x="0" y="827"/>
                  </a:lnTo>
                  <a:lnTo>
                    <a:pt x="0" y="836"/>
                  </a:lnTo>
                  <a:lnTo>
                    <a:pt x="1" y="842"/>
                  </a:lnTo>
                  <a:lnTo>
                    <a:pt x="3" y="850"/>
                  </a:lnTo>
                  <a:lnTo>
                    <a:pt x="5" y="857"/>
                  </a:lnTo>
                  <a:lnTo>
                    <a:pt x="8" y="864"/>
                  </a:lnTo>
                  <a:lnTo>
                    <a:pt x="13" y="870"/>
                  </a:lnTo>
                  <a:lnTo>
                    <a:pt x="17" y="875"/>
                  </a:lnTo>
                  <a:lnTo>
                    <a:pt x="21" y="881"/>
                  </a:lnTo>
                  <a:lnTo>
                    <a:pt x="27" y="885"/>
                  </a:lnTo>
                  <a:lnTo>
                    <a:pt x="33" y="890"/>
                  </a:lnTo>
                  <a:lnTo>
                    <a:pt x="38" y="894"/>
                  </a:lnTo>
                  <a:lnTo>
                    <a:pt x="46" y="897"/>
                  </a:lnTo>
                  <a:lnTo>
                    <a:pt x="52" y="899"/>
                  </a:lnTo>
                  <a:lnTo>
                    <a:pt x="60" y="901"/>
                  </a:lnTo>
                  <a:lnTo>
                    <a:pt x="67" y="902"/>
                  </a:lnTo>
                  <a:lnTo>
                    <a:pt x="75" y="903"/>
                  </a:lnTo>
                  <a:lnTo>
                    <a:pt x="798" y="902"/>
                  </a:lnTo>
                  <a:lnTo>
                    <a:pt x="805" y="902"/>
                  </a:lnTo>
                  <a:lnTo>
                    <a:pt x="813" y="901"/>
                  </a:lnTo>
                  <a:lnTo>
                    <a:pt x="819" y="899"/>
                  </a:lnTo>
                  <a:lnTo>
                    <a:pt x="827" y="897"/>
                  </a:lnTo>
                  <a:lnTo>
                    <a:pt x="833" y="894"/>
                  </a:lnTo>
                  <a:lnTo>
                    <a:pt x="840" y="889"/>
                  </a:lnTo>
                  <a:lnTo>
                    <a:pt x="845" y="885"/>
                  </a:lnTo>
                  <a:lnTo>
                    <a:pt x="850" y="881"/>
                  </a:lnTo>
                  <a:lnTo>
                    <a:pt x="856" y="875"/>
                  </a:lnTo>
                  <a:lnTo>
                    <a:pt x="860" y="870"/>
                  </a:lnTo>
                  <a:lnTo>
                    <a:pt x="863" y="864"/>
                  </a:lnTo>
                  <a:lnTo>
                    <a:pt x="866" y="857"/>
                  </a:lnTo>
                  <a:lnTo>
                    <a:pt x="870" y="850"/>
                  </a:lnTo>
                  <a:lnTo>
                    <a:pt x="871" y="843"/>
                  </a:lnTo>
                  <a:lnTo>
                    <a:pt x="872" y="836"/>
                  </a:lnTo>
                  <a:lnTo>
                    <a:pt x="873" y="827"/>
                  </a:lnTo>
                  <a:lnTo>
                    <a:pt x="873" y="587"/>
                  </a:lnTo>
                  <a:lnTo>
                    <a:pt x="872" y="579"/>
                  </a:lnTo>
                  <a:lnTo>
                    <a:pt x="871" y="572"/>
                  </a:lnTo>
                  <a:lnTo>
                    <a:pt x="870" y="564"/>
                  </a:lnTo>
                  <a:lnTo>
                    <a:pt x="866" y="557"/>
                  </a:lnTo>
                  <a:lnTo>
                    <a:pt x="863" y="550"/>
                  </a:lnTo>
                  <a:lnTo>
                    <a:pt x="860" y="545"/>
                  </a:lnTo>
                  <a:lnTo>
                    <a:pt x="856" y="539"/>
                  </a:lnTo>
                  <a:lnTo>
                    <a:pt x="850" y="533"/>
                  </a:lnTo>
                  <a:lnTo>
                    <a:pt x="845" y="529"/>
                  </a:lnTo>
                  <a:lnTo>
                    <a:pt x="840" y="525"/>
                  </a:lnTo>
                  <a:lnTo>
                    <a:pt x="833" y="520"/>
                  </a:lnTo>
                  <a:lnTo>
                    <a:pt x="827" y="517"/>
                  </a:lnTo>
                  <a:lnTo>
                    <a:pt x="819" y="515"/>
                  </a:lnTo>
                  <a:lnTo>
                    <a:pt x="813" y="513"/>
                  </a:lnTo>
                  <a:lnTo>
                    <a:pt x="805" y="512"/>
                  </a:lnTo>
                  <a:lnTo>
                    <a:pt x="79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Rectangle 235">
              <a:extLst>
                <a:ext uri="{FF2B5EF4-FFF2-40B4-BE49-F238E27FC236}">
                  <a16:creationId xmlns:a16="http://schemas.microsoft.com/office/drawing/2014/main" id="{C3EABEB1-D4EF-467A-9077-5426E27D34DD}"/>
                </a:ext>
              </a:extLst>
            </p:cNvPr>
            <p:cNvSpPr>
              <a:spLocks noChangeArrowheads="1"/>
            </p:cNvSpPr>
            <p:nvPr/>
          </p:nvSpPr>
          <p:spPr bwMode="auto">
            <a:xfrm>
              <a:off x="4949825" y="2192338"/>
              <a:ext cx="1635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Rectangle 236">
              <a:extLst>
                <a:ext uri="{FF2B5EF4-FFF2-40B4-BE49-F238E27FC236}">
                  <a16:creationId xmlns:a16="http://schemas.microsoft.com/office/drawing/2014/main" id="{A323848E-B047-4F4C-8F23-810CD95D4991}"/>
                </a:ext>
              </a:extLst>
            </p:cNvPr>
            <p:cNvSpPr>
              <a:spLocks noChangeArrowheads="1"/>
            </p:cNvSpPr>
            <p:nvPr/>
          </p:nvSpPr>
          <p:spPr bwMode="auto">
            <a:xfrm>
              <a:off x="49212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Rectangle 237">
              <a:extLst>
                <a:ext uri="{FF2B5EF4-FFF2-40B4-BE49-F238E27FC236}">
                  <a16:creationId xmlns:a16="http://schemas.microsoft.com/office/drawing/2014/main" id="{CCB1F092-9804-4A2A-A8EF-C65B7138EB5D}"/>
                </a:ext>
              </a:extLst>
            </p:cNvPr>
            <p:cNvSpPr>
              <a:spLocks noChangeArrowheads="1"/>
            </p:cNvSpPr>
            <p:nvPr/>
          </p:nvSpPr>
          <p:spPr bwMode="auto">
            <a:xfrm>
              <a:off x="49212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Rectangle 238">
              <a:extLst>
                <a:ext uri="{FF2B5EF4-FFF2-40B4-BE49-F238E27FC236}">
                  <a16:creationId xmlns:a16="http://schemas.microsoft.com/office/drawing/2014/main" id="{28EB169D-506E-4086-BF0E-3E73414AD4A2}"/>
                </a:ext>
              </a:extLst>
            </p:cNvPr>
            <p:cNvSpPr>
              <a:spLocks noChangeArrowheads="1"/>
            </p:cNvSpPr>
            <p:nvPr/>
          </p:nvSpPr>
          <p:spPr bwMode="auto">
            <a:xfrm>
              <a:off x="49212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Rectangle 239">
              <a:extLst>
                <a:ext uri="{FF2B5EF4-FFF2-40B4-BE49-F238E27FC236}">
                  <a16:creationId xmlns:a16="http://schemas.microsoft.com/office/drawing/2014/main" id="{49AD6F83-B44F-4B78-853F-06F41E9772D2}"/>
                </a:ext>
              </a:extLst>
            </p:cNvPr>
            <p:cNvSpPr>
              <a:spLocks noChangeArrowheads="1"/>
            </p:cNvSpPr>
            <p:nvPr/>
          </p:nvSpPr>
          <p:spPr bwMode="auto">
            <a:xfrm>
              <a:off x="49403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Rectangle 240">
              <a:extLst>
                <a:ext uri="{FF2B5EF4-FFF2-40B4-BE49-F238E27FC236}">
                  <a16:creationId xmlns:a16="http://schemas.microsoft.com/office/drawing/2014/main" id="{78C33711-A5CE-4777-9AE8-D515E52A8FD4}"/>
                </a:ext>
              </a:extLst>
            </p:cNvPr>
            <p:cNvSpPr>
              <a:spLocks noChangeArrowheads="1"/>
            </p:cNvSpPr>
            <p:nvPr/>
          </p:nvSpPr>
          <p:spPr bwMode="auto">
            <a:xfrm>
              <a:off x="49403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Rectangle 241">
              <a:extLst>
                <a:ext uri="{FF2B5EF4-FFF2-40B4-BE49-F238E27FC236}">
                  <a16:creationId xmlns:a16="http://schemas.microsoft.com/office/drawing/2014/main" id="{ABDE4D13-80E6-48DE-8C42-6CE530B74A3A}"/>
                </a:ext>
              </a:extLst>
            </p:cNvPr>
            <p:cNvSpPr>
              <a:spLocks noChangeArrowheads="1"/>
            </p:cNvSpPr>
            <p:nvPr/>
          </p:nvSpPr>
          <p:spPr bwMode="auto">
            <a:xfrm>
              <a:off x="49403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Rectangle 242">
              <a:extLst>
                <a:ext uri="{FF2B5EF4-FFF2-40B4-BE49-F238E27FC236}">
                  <a16:creationId xmlns:a16="http://schemas.microsoft.com/office/drawing/2014/main" id="{AA77AF35-AD7B-4BA4-955B-073EDF586AAC}"/>
                </a:ext>
              </a:extLst>
            </p:cNvPr>
            <p:cNvSpPr>
              <a:spLocks noChangeArrowheads="1"/>
            </p:cNvSpPr>
            <p:nvPr/>
          </p:nvSpPr>
          <p:spPr bwMode="auto">
            <a:xfrm>
              <a:off x="49593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Rectangle 243">
              <a:extLst>
                <a:ext uri="{FF2B5EF4-FFF2-40B4-BE49-F238E27FC236}">
                  <a16:creationId xmlns:a16="http://schemas.microsoft.com/office/drawing/2014/main" id="{8B9CA42B-3804-4CC6-84FC-2C099D5CCE5A}"/>
                </a:ext>
              </a:extLst>
            </p:cNvPr>
            <p:cNvSpPr>
              <a:spLocks noChangeArrowheads="1"/>
            </p:cNvSpPr>
            <p:nvPr/>
          </p:nvSpPr>
          <p:spPr bwMode="auto">
            <a:xfrm>
              <a:off x="49593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Rectangle 244">
              <a:extLst>
                <a:ext uri="{FF2B5EF4-FFF2-40B4-BE49-F238E27FC236}">
                  <a16:creationId xmlns:a16="http://schemas.microsoft.com/office/drawing/2014/main" id="{D5D82CDE-36C5-42E5-A915-CF6863241E1F}"/>
                </a:ext>
              </a:extLst>
            </p:cNvPr>
            <p:cNvSpPr>
              <a:spLocks noChangeArrowheads="1"/>
            </p:cNvSpPr>
            <p:nvPr/>
          </p:nvSpPr>
          <p:spPr bwMode="auto">
            <a:xfrm>
              <a:off x="49593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Rectangle 245">
              <a:extLst>
                <a:ext uri="{FF2B5EF4-FFF2-40B4-BE49-F238E27FC236}">
                  <a16:creationId xmlns:a16="http://schemas.microsoft.com/office/drawing/2014/main" id="{7956F35E-4AC1-46F2-A737-68A2CD976B0E}"/>
                </a:ext>
              </a:extLst>
            </p:cNvPr>
            <p:cNvSpPr>
              <a:spLocks noChangeArrowheads="1"/>
            </p:cNvSpPr>
            <p:nvPr/>
          </p:nvSpPr>
          <p:spPr bwMode="auto">
            <a:xfrm>
              <a:off x="49784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Rectangle 246">
              <a:extLst>
                <a:ext uri="{FF2B5EF4-FFF2-40B4-BE49-F238E27FC236}">
                  <a16:creationId xmlns:a16="http://schemas.microsoft.com/office/drawing/2014/main" id="{E848FE01-0802-4399-93C0-69C612D19635}"/>
                </a:ext>
              </a:extLst>
            </p:cNvPr>
            <p:cNvSpPr>
              <a:spLocks noChangeArrowheads="1"/>
            </p:cNvSpPr>
            <p:nvPr/>
          </p:nvSpPr>
          <p:spPr bwMode="auto">
            <a:xfrm>
              <a:off x="49784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Rectangle 247">
              <a:extLst>
                <a:ext uri="{FF2B5EF4-FFF2-40B4-BE49-F238E27FC236}">
                  <a16:creationId xmlns:a16="http://schemas.microsoft.com/office/drawing/2014/main" id="{817461E1-BFB2-4236-BE24-1A5ADD56742F}"/>
                </a:ext>
              </a:extLst>
            </p:cNvPr>
            <p:cNvSpPr>
              <a:spLocks noChangeArrowheads="1"/>
            </p:cNvSpPr>
            <p:nvPr/>
          </p:nvSpPr>
          <p:spPr bwMode="auto">
            <a:xfrm>
              <a:off x="49784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Rectangle 248">
              <a:extLst>
                <a:ext uri="{FF2B5EF4-FFF2-40B4-BE49-F238E27FC236}">
                  <a16:creationId xmlns:a16="http://schemas.microsoft.com/office/drawing/2014/main" id="{8DC3D868-F028-4634-A4C7-A9EDA5BF7918}"/>
                </a:ext>
              </a:extLst>
            </p:cNvPr>
            <p:cNvSpPr>
              <a:spLocks noChangeArrowheads="1"/>
            </p:cNvSpPr>
            <p:nvPr/>
          </p:nvSpPr>
          <p:spPr bwMode="auto">
            <a:xfrm>
              <a:off x="49974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Rectangle 249">
              <a:extLst>
                <a:ext uri="{FF2B5EF4-FFF2-40B4-BE49-F238E27FC236}">
                  <a16:creationId xmlns:a16="http://schemas.microsoft.com/office/drawing/2014/main" id="{EB7E09B0-C97C-4979-8701-04C005F9119A}"/>
                </a:ext>
              </a:extLst>
            </p:cNvPr>
            <p:cNvSpPr>
              <a:spLocks noChangeArrowheads="1"/>
            </p:cNvSpPr>
            <p:nvPr/>
          </p:nvSpPr>
          <p:spPr bwMode="auto">
            <a:xfrm>
              <a:off x="49974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Rectangle 250">
              <a:extLst>
                <a:ext uri="{FF2B5EF4-FFF2-40B4-BE49-F238E27FC236}">
                  <a16:creationId xmlns:a16="http://schemas.microsoft.com/office/drawing/2014/main" id="{9D227BC7-D749-4428-BA9B-C439662F63FB}"/>
                </a:ext>
              </a:extLst>
            </p:cNvPr>
            <p:cNvSpPr>
              <a:spLocks noChangeArrowheads="1"/>
            </p:cNvSpPr>
            <p:nvPr/>
          </p:nvSpPr>
          <p:spPr bwMode="auto">
            <a:xfrm>
              <a:off x="49974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Rectangle 251">
              <a:extLst>
                <a:ext uri="{FF2B5EF4-FFF2-40B4-BE49-F238E27FC236}">
                  <a16:creationId xmlns:a16="http://schemas.microsoft.com/office/drawing/2014/main" id="{BFB5DAA7-F55E-4110-963D-FE94640668F3}"/>
                </a:ext>
              </a:extLst>
            </p:cNvPr>
            <p:cNvSpPr>
              <a:spLocks noChangeArrowheads="1"/>
            </p:cNvSpPr>
            <p:nvPr/>
          </p:nvSpPr>
          <p:spPr bwMode="auto">
            <a:xfrm>
              <a:off x="50165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Rectangle 252">
              <a:extLst>
                <a:ext uri="{FF2B5EF4-FFF2-40B4-BE49-F238E27FC236}">
                  <a16:creationId xmlns:a16="http://schemas.microsoft.com/office/drawing/2014/main" id="{BECC6E4B-7ED6-468F-A024-8754BB4DA1D5}"/>
                </a:ext>
              </a:extLst>
            </p:cNvPr>
            <p:cNvSpPr>
              <a:spLocks noChangeArrowheads="1"/>
            </p:cNvSpPr>
            <p:nvPr/>
          </p:nvSpPr>
          <p:spPr bwMode="auto">
            <a:xfrm>
              <a:off x="50165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Rectangle 253">
              <a:extLst>
                <a:ext uri="{FF2B5EF4-FFF2-40B4-BE49-F238E27FC236}">
                  <a16:creationId xmlns:a16="http://schemas.microsoft.com/office/drawing/2014/main" id="{2A345079-6958-4B5B-8F0E-D78A3F347153}"/>
                </a:ext>
              </a:extLst>
            </p:cNvPr>
            <p:cNvSpPr>
              <a:spLocks noChangeArrowheads="1"/>
            </p:cNvSpPr>
            <p:nvPr/>
          </p:nvSpPr>
          <p:spPr bwMode="auto">
            <a:xfrm>
              <a:off x="50165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Rectangle 254">
              <a:extLst>
                <a:ext uri="{FF2B5EF4-FFF2-40B4-BE49-F238E27FC236}">
                  <a16:creationId xmlns:a16="http://schemas.microsoft.com/office/drawing/2014/main" id="{D809B888-D018-47B2-9006-A19E7D909F65}"/>
                </a:ext>
              </a:extLst>
            </p:cNvPr>
            <p:cNvSpPr>
              <a:spLocks noChangeArrowheads="1"/>
            </p:cNvSpPr>
            <p:nvPr/>
          </p:nvSpPr>
          <p:spPr bwMode="auto">
            <a:xfrm>
              <a:off x="50355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Rectangle 255">
              <a:extLst>
                <a:ext uri="{FF2B5EF4-FFF2-40B4-BE49-F238E27FC236}">
                  <a16:creationId xmlns:a16="http://schemas.microsoft.com/office/drawing/2014/main" id="{3A763A97-D700-4B66-A889-44EABB2268DB}"/>
                </a:ext>
              </a:extLst>
            </p:cNvPr>
            <p:cNvSpPr>
              <a:spLocks noChangeArrowheads="1"/>
            </p:cNvSpPr>
            <p:nvPr/>
          </p:nvSpPr>
          <p:spPr bwMode="auto">
            <a:xfrm>
              <a:off x="50355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Rectangle 256">
              <a:extLst>
                <a:ext uri="{FF2B5EF4-FFF2-40B4-BE49-F238E27FC236}">
                  <a16:creationId xmlns:a16="http://schemas.microsoft.com/office/drawing/2014/main" id="{9B1F25A8-5C88-4417-AEC8-E7EACADF09D1}"/>
                </a:ext>
              </a:extLst>
            </p:cNvPr>
            <p:cNvSpPr>
              <a:spLocks noChangeArrowheads="1"/>
            </p:cNvSpPr>
            <p:nvPr/>
          </p:nvSpPr>
          <p:spPr bwMode="auto">
            <a:xfrm>
              <a:off x="50355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Rectangle 257">
              <a:extLst>
                <a:ext uri="{FF2B5EF4-FFF2-40B4-BE49-F238E27FC236}">
                  <a16:creationId xmlns:a16="http://schemas.microsoft.com/office/drawing/2014/main" id="{1EFB78D7-C5CC-4564-B7A6-37A28D323958}"/>
                </a:ext>
              </a:extLst>
            </p:cNvPr>
            <p:cNvSpPr>
              <a:spLocks noChangeArrowheads="1"/>
            </p:cNvSpPr>
            <p:nvPr/>
          </p:nvSpPr>
          <p:spPr bwMode="auto">
            <a:xfrm>
              <a:off x="50546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Rectangle 258">
              <a:extLst>
                <a:ext uri="{FF2B5EF4-FFF2-40B4-BE49-F238E27FC236}">
                  <a16:creationId xmlns:a16="http://schemas.microsoft.com/office/drawing/2014/main" id="{E3CE0017-10CB-4623-A490-381F013A4EC1}"/>
                </a:ext>
              </a:extLst>
            </p:cNvPr>
            <p:cNvSpPr>
              <a:spLocks noChangeArrowheads="1"/>
            </p:cNvSpPr>
            <p:nvPr/>
          </p:nvSpPr>
          <p:spPr bwMode="auto">
            <a:xfrm>
              <a:off x="50546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Rectangle 259">
              <a:extLst>
                <a:ext uri="{FF2B5EF4-FFF2-40B4-BE49-F238E27FC236}">
                  <a16:creationId xmlns:a16="http://schemas.microsoft.com/office/drawing/2014/main" id="{6DB68474-B9FF-4294-8252-F02BF18D7AB9}"/>
                </a:ext>
              </a:extLst>
            </p:cNvPr>
            <p:cNvSpPr>
              <a:spLocks noChangeArrowheads="1"/>
            </p:cNvSpPr>
            <p:nvPr/>
          </p:nvSpPr>
          <p:spPr bwMode="auto">
            <a:xfrm>
              <a:off x="50546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Rectangle 260">
              <a:extLst>
                <a:ext uri="{FF2B5EF4-FFF2-40B4-BE49-F238E27FC236}">
                  <a16:creationId xmlns:a16="http://schemas.microsoft.com/office/drawing/2014/main" id="{AFF79689-5F0E-44AA-92D9-A0492F0B2D9E}"/>
                </a:ext>
              </a:extLst>
            </p:cNvPr>
            <p:cNvSpPr>
              <a:spLocks noChangeArrowheads="1"/>
            </p:cNvSpPr>
            <p:nvPr/>
          </p:nvSpPr>
          <p:spPr bwMode="auto">
            <a:xfrm>
              <a:off x="507523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Rectangle 261">
              <a:extLst>
                <a:ext uri="{FF2B5EF4-FFF2-40B4-BE49-F238E27FC236}">
                  <a16:creationId xmlns:a16="http://schemas.microsoft.com/office/drawing/2014/main" id="{EFEDF1F9-BC34-47C4-9A99-7EA3B8846041}"/>
                </a:ext>
              </a:extLst>
            </p:cNvPr>
            <p:cNvSpPr>
              <a:spLocks noChangeArrowheads="1"/>
            </p:cNvSpPr>
            <p:nvPr/>
          </p:nvSpPr>
          <p:spPr bwMode="auto">
            <a:xfrm>
              <a:off x="507523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Rectangle 262">
              <a:extLst>
                <a:ext uri="{FF2B5EF4-FFF2-40B4-BE49-F238E27FC236}">
                  <a16:creationId xmlns:a16="http://schemas.microsoft.com/office/drawing/2014/main" id="{5E615F7D-BADB-4C0C-80B5-EDCC26E1C47B}"/>
                </a:ext>
              </a:extLst>
            </p:cNvPr>
            <p:cNvSpPr>
              <a:spLocks noChangeArrowheads="1"/>
            </p:cNvSpPr>
            <p:nvPr/>
          </p:nvSpPr>
          <p:spPr bwMode="auto">
            <a:xfrm>
              <a:off x="507523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Rectangle 263">
              <a:extLst>
                <a:ext uri="{FF2B5EF4-FFF2-40B4-BE49-F238E27FC236}">
                  <a16:creationId xmlns:a16="http://schemas.microsoft.com/office/drawing/2014/main" id="{37D8987F-7DC5-40FC-9C03-5B0F751C1ACC}"/>
                </a:ext>
              </a:extLst>
            </p:cNvPr>
            <p:cNvSpPr>
              <a:spLocks noChangeArrowheads="1"/>
            </p:cNvSpPr>
            <p:nvPr/>
          </p:nvSpPr>
          <p:spPr bwMode="auto">
            <a:xfrm>
              <a:off x="509428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Rectangle 264">
              <a:extLst>
                <a:ext uri="{FF2B5EF4-FFF2-40B4-BE49-F238E27FC236}">
                  <a16:creationId xmlns:a16="http://schemas.microsoft.com/office/drawing/2014/main" id="{104D2584-A31B-4B38-A97A-DB326636FCD0}"/>
                </a:ext>
              </a:extLst>
            </p:cNvPr>
            <p:cNvSpPr>
              <a:spLocks noChangeArrowheads="1"/>
            </p:cNvSpPr>
            <p:nvPr/>
          </p:nvSpPr>
          <p:spPr bwMode="auto">
            <a:xfrm>
              <a:off x="509428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Rectangle 265">
              <a:extLst>
                <a:ext uri="{FF2B5EF4-FFF2-40B4-BE49-F238E27FC236}">
                  <a16:creationId xmlns:a16="http://schemas.microsoft.com/office/drawing/2014/main" id="{0E07CC7E-1CE3-40C4-A03E-476CE387ABDF}"/>
                </a:ext>
              </a:extLst>
            </p:cNvPr>
            <p:cNvSpPr>
              <a:spLocks noChangeArrowheads="1"/>
            </p:cNvSpPr>
            <p:nvPr/>
          </p:nvSpPr>
          <p:spPr bwMode="auto">
            <a:xfrm>
              <a:off x="509428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Rectangle 266">
              <a:extLst>
                <a:ext uri="{FF2B5EF4-FFF2-40B4-BE49-F238E27FC236}">
                  <a16:creationId xmlns:a16="http://schemas.microsoft.com/office/drawing/2014/main" id="{50A92174-9E8D-45DC-867D-532A79F02282}"/>
                </a:ext>
              </a:extLst>
            </p:cNvPr>
            <p:cNvSpPr>
              <a:spLocks noChangeArrowheads="1"/>
            </p:cNvSpPr>
            <p:nvPr/>
          </p:nvSpPr>
          <p:spPr bwMode="auto">
            <a:xfrm>
              <a:off x="511333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Rectangle 267">
              <a:extLst>
                <a:ext uri="{FF2B5EF4-FFF2-40B4-BE49-F238E27FC236}">
                  <a16:creationId xmlns:a16="http://schemas.microsoft.com/office/drawing/2014/main" id="{3E7F1CB1-2CA3-457D-8E87-876A23D461DF}"/>
                </a:ext>
              </a:extLst>
            </p:cNvPr>
            <p:cNvSpPr>
              <a:spLocks noChangeArrowheads="1"/>
            </p:cNvSpPr>
            <p:nvPr/>
          </p:nvSpPr>
          <p:spPr bwMode="auto">
            <a:xfrm>
              <a:off x="511333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Rectangle 268">
              <a:extLst>
                <a:ext uri="{FF2B5EF4-FFF2-40B4-BE49-F238E27FC236}">
                  <a16:creationId xmlns:a16="http://schemas.microsoft.com/office/drawing/2014/main" id="{1CAB186D-9841-4BD7-A733-93ACD50ABBE5}"/>
                </a:ext>
              </a:extLst>
            </p:cNvPr>
            <p:cNvSpPr>
              <a:spLocks noChangeArrowheads="1"/>
            </p:cNvSpPr>
            <p:nvPr/>
          </p:nvSpPr>
          <p:spPr bwMode="auto">
            <a:xfrm>
              <a:off x="511333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Rectangle 269">
              <a:extLst>
                <a:ext uri="{FF2B5EF4-FFF2-40B4-BE49-F238E27FC236}">
                  <a16:creationId xmlns:a16="http://schemas.microsoft.com/office/drawing/2014/main" id="{5D29DDDD-C541-4E4A-8510-D04927FB9B8D}"/>
                </a:ext>
              </a:extLst>
            </p:cNvPr>
            <p:cNvSpPr>
              <a:spLocks noChangeArrowheads="1"/>
            </p:cNvSpPr>
            <p:nvPr/>
          </p:nvSpPr>
          <p:spPr bwMode="auto">
            <a:xfrm>
              <a:off x="513238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Rectangle 270">
              <a:extLst>
                <a:ext uri="{FF2B5EF4-FFF2-40B4-BE49-F238E27FC236}">
                  <a16:creationId xmlns:a16="http://schemas.microsoft.com/office/drawing/2014/main" id="{3C299722-57FD-4269-B898-04BD7B14995F}"/>
                </a:ext>
              </a:extLst>
            </p:cNvPr>
            <p:cNvSpPr>
              <a:spLocks noChangeArrowheads="1"/>
            </p:cNvSpPr>
            <p:nvPr/>
          </p:nvSpPr>
          <p:spPr bwMode="auto">
            <a:xfrm>
              <a:off x="513238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Rectangle 271">
              <a:extLst>
                <a:ext uri="{FF2B5EF4-FFF2-40B4-BE49-F238E27FC236}">
                  <a16:creationId xmlns:a16="http://schemas.microsoft.com/office/drawing/2014/main" id="{2753C8F1-B314-4612-9043-7F2FE274D7AE}"/>
                </a:ext>
              </a:extLst>
            </p:cNvPr>
            <p:cNvSpPr>
              <a:spLocks noChangeArrowheads="1"/>
            </p:cNvSpPr>
            <p:nvPr/>
          </p:nvSpPr>
          <p:spPr bwMode="auto">
            <a:xfrm>
              <a:off x="513238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1" name="Group 151">
            <a:extLst>
              <a:ext uri="{FF2B5EF4-FFF2-40B4-BE49-F238E27FC236}">
                <a16:creationId xmlns:a16="http://schemas.microsoft.com/office/drawing/2014/main" id="{3E68BFCC-A434-4577-8EBB-69C7D1F0D2F0}"/>
              </a:ext>
            </a:extLst>
          </p:cNvPr>
          <p:cNvGrpSpPr>
            <a:grpSpLocks noChangeAspect="1"/>
          </p:cNvGrpSpPr>
          <p:nvPr/>
        </p:nvGrpSpPr>
        <p:grpSpPr>
          <a:xfrm>
            <a:off x="3694681" y="5956111"/>
            <a:ext cx="217766" cy="285619"/>
            <a:chOff x="3784600" y="2508250"/>
            <a:chExt cx="219075" cy="287338"/>
          </a:xfrm>
          <a:solidFill>
            <a:schemeClr val="bg2"/>
          </a:solidFill>
          <a:effectLst/>
        </p:grpSpPr>
        <p:sp>
          <p:nvSpPr>
            <p:cNvPr id="1412" name="Freeform 31">
              <a:extLst>
                <a:ext uri="{FF2B5EF4-FFF2-40B4-BE49-F238E27FC236}">
                  <a16:creationId xmlns:a16="http://schemas.microsoft.com/office/drawing/2014/main" id="{2032842A-D61B-42D2-BCAE-2DA39B8C47EF}"/>
                </a:ext>
              </a:extLst>
            </p:cNvPr>
            <p:cNvSpPr>
              <a:spLocks noEditPoints="1"/>
            </p:cNvSpPr>
            <p:nvPr/>
          </p:nvSpPr>
          <p:spPr bwMode="auto">
            <a:xfrm>
              <a:off x="3784600" y="2508250"/>
              <a:ext cx="219075" cy="287338"/>
            </a:xfrm>
            <a:custGeom>
              <a:avLst/>
              <a:gdLst>
                <a:gd name="T0" fmla="*/ 30 w 692"/>
                <a:gd name="T1" fmla="*/ 874 h 904"/>
                <a:gd name="T2" fmla="*/ 75 w 692"/>
                <a:gd name="T3" fmla="*/ 512 h 904"/>
                <a:gd name="T4" fmla="*/ 80 w 692"/>
                <a:gd name="T5" fmla="*/ 511 h 904"/>
                <a:gd name="T6" fmla="*/ 86 w 692"/>
                <a:gd name="T7" fmla="*/ 508 h 904"/>
                <a:gd name="T8" fmla="*/ 89 w 692"/>
                <a:gd name="T9" fmla="*/ 502 h 904"/>
                <a:gd name="T10" fmla="*/ 90 w 692"/>
                <a:gd name="T11" fmla="*/ 497 h 904"/>
                <a:gd name="T12" fmla="*/ 89 w 692"/>
                <a:gd name="T13" fmla="*/ 344 h 904"/>
                <a:gd name="T14" fmla="*/ 87 w 692"/>
                <a:gd name="T15" fmla="*/ 338 h 904"/>
                <a:gd name="T16" fmla="*/ 83 w 692"/>
                <a:gd name="T17" fmla="*/ 334 h 904"/>
                <a:gd name="T18" fmla="*/ 78 w 692"/>
                <a:gd name="T19" fmla="*/ 332 h 904"/>
                <a:gd name="T20" fmla="*/ 30 w 692"/>
                <a:gd name="T21" fmla="*/ 331 h 904"/>
                <a:gd name="T22" fmla="*/ 475 w 692"/>
                <a:gd name="T23" fmla="*/ 30 h 904"/>
                <a:gd name="T24" fmla="*/ 662 w 692"/>
                <a:gd name="T25" fmla="*/ 874 h 904"/>
                <a:gd name="T26" fmla="*/ 492 w 692"/>
                <a:gd name="T27" fmla="*/ 5 h 904"/>
                <a:gd name="T28" fmla="*/ 487 w 692"/>
                <a:gd name="T29" fmla="*/ 2 h 904"/>
                <a:gd name="T30" fmla="*/ 481 w 692"/>
                <a:gd name="T31" fmla="*/ 0 h 904"/>
                <a:gd name="T32" fmla="*/ 12 w 692"/>
                <a:gd name="T33" fmla="*/ 0 h 904"/>
                <a:gd name="T34" fmla="*/ 6 w 692"/>
                <a:gd name="T35" fmla="*/ 3 h 904"/>
                <a:gd name="T36" fmla="*/ 2 w 692"/>
                <a:gd name="T37" fmla="*/ 7 h 904"/>
                <a:gd name="T38" fmla="*/ 0 w 692"/>
                <a:gd name="T39" fmla="*/ 12 h 904"/>
                <a:gd name="T40" fmla="*/ 0 w 692"/>
                <a:gd name="T41" fmla="*/ 346 h 904"/>
                <a:gd name="T42" fmla="*/ 1 w 692"/>
                <a:gd name="T43" fmla="*/ 352 h 904"/>
                <a:gd name="T44" fmla="*/ 4 w 692"/>
                <a:gd name="T45" fmla="*/ 357 h 904"/>
                <a:gd name="T46" fmla="*/ 8 w 692"/>
                <a:gd name="T47" fmla="*/ 360 h 904"/>
                <a:gd name="T48" fmla="*/ 15 w 692"/>
                <a:gd name="T49" fmla="*/ 361 h 904"/>
                <a:gd name="T50" fmla="*/ 60 w 692"/>
                <a:gd name="T51" fmla="*/ 482 h 904"/>
                <a:gd name="T52" fmla="*/ 12 w 692"/>
                <a:gd name="T53" fmla="*/ 482 h 904"/>
                <a:gd name="T54" fmla="*/ 6 w 692"/>
                <a:gd name="T55" fmla="*/ 484 h 904"/>
                <a:gd name="T56" fmla="*/ 2 w 692"/>
                <a:gd name="T57" fmla="*/ 488 h 904"/>
                <a:gd name="T58" fmla="*/ 0 w 692"/>
                <a:gd name="T59" fmla="*/ 494 h 904"/>
                <a:gd name="T60" fmla="*/ 0 w 692"/>
                <a:gd name="T61" fmla="*/ 889 h 904"/>
                <a:gd name="T62" fmla="*/ 1 w 692"/>
                <a:gd name="T63" fmla="*/ 894 h 904"/>
                <a:gd name="T64" fmla="*/ 4 w 692"/>
                <a:gd name="T65" fmla="*/ 899 h 904"/>
                <a:gd name="T66" fmla="*/ 8 w 692"/>
                <a:gd name="T67" fmla="*/ 902 h 904"/>
                <a:gd name="T68" fmla="*/ 15 w 692"/>
                <a:gd name="T69" fmla="*/ 904 h 904"/>
                <a:gd name="T70" fmla="*/ 680 w 692"/>
                <a:gd name="T71" fmla="*/ 902 h 904"/>
                <a:gd name="T72" fmla="*/ 685 w 692"/>
                <a:gd name="T73" fmla="*/ 900 h 904"/>
                <a:gd name="T74" fmla="*/ 689 w 692"/>
                <a:gd name="T75" fmla="*/ 897 h 904"/>
                <a:gd name="T76" fmla="*/ 692 w 692"/>
                <a:gd name="T77" fmla="*/ 892 h 904"/>
                <a:gd name="T78" fmla="*/ 692 w 692"/>
                <a:gd name="T79" fmla="*/ 211 h 904"/>
                <a:gd name="T80" fmla="*/ 690 w 692"/>
                <a:gd name="T81" fmla="*/ 205 h 904"/>
                <a:gd name="T82" fmla="*/ 687 w 692"/>
                <a:gd name="T83" fmla="*/ 20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2" h="904">
                  <a:moveTo>
                    <a:pt x="662" y="874"/>
                  </a:moveTo>
                  <a:lnTo>
                    <a:pt x="30" y="874"/>
                  </a:lnTo>
                  <a:lnTo>
                    <a:pt x="30" y="512"/>
                  </a:lnTo>
                  <a:lnTo>
                    <a:pt x="75" y="512"/>
                  </a:lnTo>
                  <a:lnTo>
                    <a:pt x="78" y="511"/>
                  </a:lnTo>
                  <a:lnTo>
                    <a:pt x="80" y="511"/>
                  </a:lnTo>
                  <a:lnTo>
                    <a:pt x="83" y="509"/>
                  </a:lnTo>
                  <a:lnTo>
                    <a:pt x="86" y="508"/>
                  </a:lnTo>
                  <a:lnTo>
                    <a:pt x="87" y="506"/>
                  </a:lnTo>
                  <a:lnTo>
                    <a:pt x="89" y="502"/>
                  </a:lnTo>
                  <a:lnTo>
                    <a:pt x="89" y="500"/>
                  </a:lnTo>
                  <a:lnTo>
                    <a:pt x="90" y="497"/>
                  </a:lnTo>
                  <a:lnTo>
                    <a:pt x="90" y="346"/>
                  </a:lnTo>
                  <a:lnTo>
                    <a:pt x="89" y="344"/>
                  </a:lnTo>
                  <a:lnTo>
                    <a:pt x="89" y="340"/>
                  </a:lnTo>
                  <a:lnTo>
                    <a:pt x="87" y="338"/>
                  </a:lnTo>
                  <a:lnTo>
                    <a:pt x="86" y="336"/>
                  </a:lnTo>
                  <a:lnTo>
                    <a:pt x="83" y="334"/>
                  </a:lnTo>
                  <a:lnTo>
                    <a:pt x="80" y="333"/>
                  </a:lnTo>
                  <a:lnTo>
                    <a:pt x="78" y="332"/>
                  </a:lnTo>
                  <a:lnTo>
                    <a:pt x="75" y="331"/>
                  </a:lnTo>
                  <a:lnTo>
                    <a:pt x="30" y="331"/>
                  </a:lnTo>
                  <a:lnTo>
                    <a:pt x="30" y="30"/>
                  </a:lnTo>
                  <a:lnTo>
                    <a:pt x="475" y="30"/>
                  </a:lnTo>
                  <a:lnTo>
                    <a:pt x="662" y="217"/>
                  </a:lnTo>
                  <a:lnTo>
                    <a:pt x="662" y="874"/>
                  </a:lnTo>
                  <a:close/>
                  <a:moveTo>
                    <a:pt x="687" y="200"/>
                  </a:moveTo>
                  <a:lnTo>
                    <a:pt x="492" y="5"/>
                  </a:lnTo>
                  <a:lnTo>
                    <a:pt x="489" y="3"/>
                  </a:lnTo>
                  <a:lnTo>
                    <a:pt x="487" y="2"/>
                  </a:lnTo>
                  <a:lnTo>
                    <a:pt x="484" y="0"/>
                  </a:lnTo>
                  <a:lnTo>
                    <a:pt x="481" y="0"/>
                  </a:lnTo>
                  <a:lnTo>
                    <a:pt x="15" y="0"/>
                  </a:lnTo>
                  <a:lnTo>
                    <a:pt x="12" y="0"/>
                  </a:lnTo>
                  <a:lnTo>
                    <a:pt x="8" y="2"/>
                  </a:lnTo>
                  <a:lnTo>
                    <a:pt x="6" y="3"/>
                  </a:lnTo>
                  <a:lnTo>
                    <a:pt x="4" y="5"/>
                  </a:lnTo>
                  <a:lnTo>
                    <a:pt x="2" y="7"/>
                  </a:lnTo>
                  <a:lnTo>
                    <a:pt x="1" y="9"/>
                  </a:lnTo>
                  <a:lnTo>
                    <a:pt x="0" y="12"/>
                  </a:lnTo>
                  <a:lnTo>
                    <a:pt x="0" y="15"/>
                  </a:lnTo>
                  <a:lnTo>
                    <a:pt x="0" y="346"/>
                  </a:lnTo>
                  <a:lnTo>
                    <a:pt x="0" y="349"/>
                  </a:lnTo>
                  <a:lnTo>
                    <a:pt x="1" y="352"/>
                  </a:lnTo>
                  <a:lnTo>
                    <a:pt x="2" y="354"/>
                  </a:lnTo>
                  <a:lnTo>
                    <a:pt x="4" y="357"/>
                  </a:lnTo>
                  <a:lnTo>
                    <a:pt x="6" y="359"/>
                  </a:lnTo>
                  <a:lnTo>
                    <a:pt x="8" y="360"/>
                  </a:lnTo>
                  <a:lnTo>
                    <a:pt x="12" y="361"/>
                  </a:lnTo>
                  <a:lnTo>
                    <a:pt x="15" y="361"/>
                  </a:lnTo>
                  <a:lnTo>
                    <a:pt x="60" y="361"/>
                  </a:lnTo>
                  <a:lnTo>
                    <a:pt x="60" y="482"/>
                  </a:lnTo>
                  <a:lnTo>
                    <a:pt x="15" y="482"/>
                  </a:lnTo>
                  <a:lnTo>
                    <a:pt x="12" y="482"/>
                  </a:lnTo>
                  <a:lnTo>
                    <a:pt x="8" y="483"/>
                  </a:lnTo>
                  <a:lnTo>
                    <a:pt x="6" y="484"/>
                  </a:lnTo>
                  <a:lnTo>
                    <a:pt x="4" y="486"/>
                  </a:lnTo>
                  <a:lnTo>
                    <a:pt x="2" y="488"/>
                  </a:lnTo>
                  <a:lnTo>
                    <a:pt x="1" y="491"/>
                  </a:lnTo>
                  <a:lnTo>
                    <a:pt x="0" y="494"/>
                  </a:lnTo>
                  <a:lnTo>
                    <a:pt x="0" y="497"/>
                  </a:lnTo>
                  <a:lnTo>
                    <a:pt x="0" y="889"/>
                  </a:lnTo>
                  <a:lnTo>
                    <a:pt x="0" y="891"/>
                  </a:lnTo>
                  <a:lnTo>
                    <a:pt x="1" y="894"/>
                  </a:lnTo>
                  <a:lnTo>
                    <a:pt x="2" y="897"/>
                  </a:lnTo>
                  <a:lnTo>
                    <a:pt x="4" y="899"/>
                  </a:lnTo>
                  <a:lnTo>
                    <a:pt x="6" y="900"/>
                  </a:lnTo>
                  <a:lnTo>
                    <a:pt x="8" y="902"/>
                  </a:lnTo>
                  <a:lnTo>
                    <a:pt x="12" y="902"/>
                  </a:lnTo>
                  <a:lnTo>
                    <a:pt x="15" y="904"/>
                  </a:lnTo>
                  <a:lnTo>
                    <a:pt x="677" y="904"/>
                  </a:lnTo>
                  <a:lnTo>
                    <a:pt x="680" y="902"/>
                  </a:lnTo>
                  <a:lnTo>
                    <a:pt x="683" y="902"/>
                  </a:lnTo>
                  <a:lnTo>
                    <a:pt x="685" y="900"/>
                  </a:lnTo>
                  <a:lnTo>
                    <a:pt x="687" y="899"/>
                  </a:lnTo>
                  <a:lnTo>
                    <a:pt x="689" y="897"/>
                  </a:lnTo>
                  <a:lnTo>
                    <a:pt x="690" y="894"/>
                  </a:lnTo>
                  <a:lnTo>
                    <a:pt x="692" y="892"/>
                  </a:lnTo>
                  <a:lnTo>
                    <a:pt x="692" y="889"/>
                  </a:lnTo>
                  <a:lnTo>
                    <a:pt x="692" y="211"/>
                  </a:lnTo>
                  <a:lnTo>
                    <a:pt x="692" y="207"/>
                  </a:lnTo>
                  <a:lnTo>
                    <a:pt x="690" y="205"/>
                  </a:lnTo>
                  <a:lnTo>
                    <a:pt x="689" y="202"/>
                  </a:lnTo>
                  <a:lnTo>
                    <a:pt x="68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32">
              <a:extLst>
                <a:ext uri="{FF2B5EF4-FFF2-40B4-BE49-F238E27FC236}">
                  <a16:creationId xmlns:a16="http://schemas.microsoft.com/office/drawing/2014/main" id="{DAFC274B-805D-4E38-9A79-AAFAC1CEA839}"/>
                </a:ext>
              </a:extLst>
            </p:cNvPr>
            <p:cNvSpPr>
              <a:spLocks/>
            </p:cNvSpPr>
            <p:nvPr/>
          </p:nvSpPr>
          <p:spPr bwMode="auto">
            <a:xfrm>
              <a:off x="3832225" y="2546350"/>
              <a:ext cx="9525" cy="66675"/>
            </a:xfrm>
            <a:custGeom>
              <a:avLst/>
              <a:gdLst>
                <a:gd name="T0" fmla="*/ 15 w 30"/>
                <a:gd name="T1" fmla="*/ 0 h 210"/>
                <a:gd name="T2" fmla="*/ 12 w 30"/>
                <a:gd name="T3" fmla="*/ 0 h 210"/>
                <a:gd name="T4" fmla="*/ 9 w 30"/>
                <a:gd name="T5" fmla="*/ 1 h 210"/>
                <a:gd name="T6" fmla="*/ 6 w 30"/>
                <a:gd name="T7" fmla="*/ 2 h 210"/>
                <a:gd name="T8" fmla="*/ 4 w 30"/>
                <a:gd name="T9" fmla="*/ 4 h 210"/>
                <a:gd name="T10" fmla="*/ 2 w 30"/>
                <a:gd name="T11" fmla="*/ 6 h 210"/>
                <a:gd name="T12" fmla="*/ 1 w 30"/>
                <a:gd name="T13" fmla="*/ 9 h 210"/>
                <a:gd name="T14" fmla="*/ 0 w 30"/>
                <a:gd name="T15" fmla="*/ 11 h 210"/>
                <a:gd name="T16" fmla="*/ 0 w 30"/>
                <a:gd name="T17" fmla="*/ 15 h 210"/>
                <a:gd name="T18" fmla="*/ 0 w 30"/>
                <a:gd name="T19" fmla="*/ 195 h 210"/>
                <a:gd name="T20" fmla="*/ 0 w 30"/>
                <a:gd name="T21" fmla="*/ 198 h 210"/>
                <a:gd name="T22" fmla="*/ 1 w 30"/>
                <a:gd name="T23" fmla="*/ 201 h 210"/>
                <a:gd name="T24" fmla="*/ 2 w 30"/>
                <a:gd name="T25" fmla="*/ 203 h 210"/>
                <a:gd name="T26" fmla="*/ 4 w 30"/>
                <a:gd name="T27" fmla="*/ 206 h 210"/>
                <a:gd name="T28" fmla="*/ 6 w 30"/>
                <a:gd name="T29" fmla="*/ 208 h 210"/>
                <a:gd name="T30" fmla="*/ 9 w 30"/>
                <a:gd name="T31" fmla="*/ 209 h 210"/>
                <a:gd name="T32" fmla="*/ 12 w 30"/>
                <a:gd name="T33" fmla="*/ 210 h 210"/>
                <a:gd name="T34" fmla="*/ 15 w 30"/>
                <a:gd name="T35" fmla="*/ 210 h 210"/>
                <a:gd name="T36" fmla="*/ 18 w 30"/>
                <a:gd name="T37" fmla="*/ 210 h 210"/>
                <a:gd name="T38" fmla="*/ 20 w 30"/>
                <a:gd name="T39" fmla="*/ 209 h 210"/>
                <a:gd name="T40" fmla="*/ 24 w 30"/>
                <a:gd name="T41" fmla="*/ 208 h 210"/>
                <a:gd name="T42" fmla="*/ 26 w 30"/>
                <a:gd name="T43" fmla="*/ 206 h 210"/>
                <a:gd name="T44" fmla="*/ 28 w 30"/>
                <a:gd name="T45" fmla="*/ 203 h 210"/>
                <a:gd name="T46" fmla="*/ 29 w 30"/>
                <a:gd name="T47" fmla="*/ 201 h 210"/>
                <a:gd name="T48" fmla="*/ 30 w 30"/>
                <a:gd name="T49" fmla="*/ 198 h 210"/>
                <a:gd name="T50" fmla="*/ 30 w 30"/>
                <a:gd name="T51" fmla="*/ 195 h 210"/>
                <a:gd name="T52" fmla="*/ 30 w 30"/>
                <a:gd name="T53" fmla="*/ 15 h 210"/>
                <a:gd name="T54" fmla="*/ 30 w 30"/>
                <a:gd name="T55" fmla="*/ 11 h 210"/>
                <a:gd name="T56" fmla="*/ 29 w 30"/>
                <a:gd name="T57" fmla="*/ 8 h 210"/>
                <a:gd name="T58" fmla="*/ 28 w 30"/>
                <a:gd name="T59" fmla="*/ 6 h 210"/>
                <a:gd name="T60" fmla="*/ 26 w 30"/>
                <a:gd name="T61" fmla="*/ 4 h 210"/>
                <a:gd name="T62" fmla="*/ 24 w 30"/>
                <a:gd name="T63" fmla="*/ 2 h 210"/>
                <a:gd name="T64" fmla="*/ 20 w 30"/>
                <a:gd name="T65" fmla="*/ 1 h 210"/>
                <a:gd name="T66" fmla="*/ 18 w 30"/>
                <a:gd name="T67" fmla="*/ 0 h 210"/>
                <a:gd name="T68" fmla="*/ 15 w 30"/>
                <a:gd name="T69" fmla="*/ 0 h 210"/>
                <a:gd name="T70" fmla="*/ 15 w 30"/>
                <a:gd name="T71"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10">
                  <a:moveTo>
                    <a:pt x="15" y="0"/>
                  </a:moveTo>
                  <a:lnTo>
                    <a:pt x="12" y="0"/>
                  </a:lnTo>
                  <a:lnTo>
                    <a:pt x="9" y="1"/>
                  </a:lnTo>
                  <a:lnTo>
                    <a:pt x="6" y="2"/>
                  </a:lnTo>
                  <a:lnTo>
                    <a:pt x="4" y="4"/>
                  </a:lnTo>
                  <a:lnTo>
                    <a:pt x="2" y="6"/>
                  </a:lnTo>
                  <a:lnTo>
                    <a:pt x="1" y="9"/>
                  </a:lnTo>
                  <a:lnTo>
                    <a:pt x="0" y="11"/>
                  </a:lnTo>
                  <a:lnTo>
                    <a:pt x="0" y="15"/>
                  </a:lnTo>
                  <a:lnTo>
                    <a:pt x="0" y="195"/>
                  </a:lnTo>
                  <a:lnTo>
                    <a:pt x="0" y="198"/>
                  </a:lnTo>
                  <a:lnTo>
                    <a:pt x="1" y="201"/>
                  </a:lnTo>
                  <a:lnTo>
                    <a:pt x="2" y="203"/>
                  </a:lnTo>
                  <a:lnTo>
                    <a:pt x="4" y="206"/>
                  </a:lnTo>
                  <a:lnTo>
                    <a:pt x="6" y="208"/>
                  </a:lnTo>
                  <a:lnTo>
                    <a:pt x="9" y="209"/>
                  </a:lnTo>
                  <a:lnTo>
                    <a:pt x="12" y="210"/>
                  </a:lnTo>
                  <a:lnTo>
                    <a:pt x="15" y="210"/>
                  </a:lnTo>
                  <a:lnTo>
                    <a:pt x="18" y="210"/>
                  </a:lnTo>
                  <a:lnTo>
                    <a:pt x="20" y="209"/>
                  </a:lnTo>
                  <a:lnTo>
                    <a:pt x="24" y="208"/>
                  </a:lnTo>
                  <a:lnTo>
                    <a:pt x="26" y="206"/>
                  </a:lnTo>
                  <a:lnTo>
                    <a:pt x="28" y="203"/>
                  </a:lnTo>
                  <a:lnTo>
                    <a:pt x="29" y="201"/>
                  </a:lnTo>
                  <a:lnTo>
                    <a:pt x="30" y="198"/>
                  </a:lnTo>
                  <a:lnTo>
                    <a:pt x="30" y="195"/>
                  </a:lnTo>
                  <a:lnTo>
                    <a:pt x="30" y="15"/>
                  </a:lnTo>
                  <a:lnTo>
                    <a:pt x="30" y="11"/>
                  </a:lnTo>
                  <a:lnTo>
                    <a:pt x="29" y="8"/>
                  </a:lnTo>
                  <a:lnTo>
                    <a:pt x="28"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33">
              <a:extLst>
                <a:ext uri="{FF2B5EF4-FFF2-40B4-BE49-F238E27FC236}">
                  <a16:creationId xmlns:a16="http://schemas.microsoft.com/office/drawing/2014/main" id="{68D8211D-93F9-4088-B60F-5F27037B9BEE}"/>
                </a:ext>
              </a:extLst>
            </p:cNvPr>
            <p:cNvSpPr>
              <a:spLocks/>
            </p:cNvSpPr>
            <p:nvPr/>
          </p:nvSpPr>
          <p:spPr bwMode="auto">
            <a:xfrm>
              <a:off x="3870325" y="2546350"/>
              <a:ext cx="9525" cy="66675"/>
            </a:xfrm>
            <a:custGeom>
              <a:avLst/>
              <a:gdLst>
                <a:gd name="T0" fmla="*/ 15 w 30"/>
                <a:gd name="T1" fmla="*/ 210 h 210"/>
                <a:gd name="T2" fmla="*/ 18 w 30"/>
                <a:gd name="T3" fmla="*/ 210 h 210"/>
                <a:gd name="T4" fmla="*/ 22 w 30"/>
                <a:gd name="T5" fmla="*/ 209 h 210"/>
                <a:gd name="T6" fmla="*/ 24 w 30"/>
                <a:gd name="T7" fmla="*/ 208 h 210"/>
                <a:gd name="T8" fmla="*/ 26 w 30"/>
                <a:gd name="T9" fmla="*/ 206 h 210"/>
                <a:gd name="T10" fmla="*/ 28 w 30"/>
                <a:gd name="T11" fmla="*/ 203 h 210"/>
                <a:gd name="T12" fmla="*/ 29 w 30"/>
                <a:gd name="T13" fmla="*/ 201 h 210"/>
                <a:gd name="T14" fmla="*/ 30 w 30"/>
                <a:gd name="T15" fmla="*/ 198 h 210"/>
                <a:gd name="T16" fmla="*/ 30 w 30"/>
                <a:gd name="T17" fmla="*/ 195 h 210"/>
                <a:gd name="T18" fmla="*/ 30 w 30"/>
                <a:gd name="T19" fmla="*/ 15 h 210"/>
                <a:gd name="T20" fmla="*/ 30 w 30"/>
                <a:gd name="T21" fmla="*/ 11 h 210"/>
                <a:gd name="T22" fmla="*/ 29 w 30"/>
                <a:gd name="T23" fmla="*/ 8 h 210"/>
                <a:gd name="T24" fmla="*/ 28 w 30"/>
                <a:gd name="T25" fmla="*/ 6 h 210"/>
                <a:gd name="T26" fmla="*/ 26 w 30"/>
                <a:gd name="T27" fmla="*/ 4 h 210"/>
                <a:gd name="T28" fmla="*/ 24 w 30"/>
                <a:gd name="T29" fmla="*/ 2 h 210"/>
                <a:gd name="T30" fmla="*/ 22 w 30"/>
                <a:gd name="T31" fmla="*/ 1 h 210"/>
                <a:gd name="T32" fmla="*/ 18 w 30"/>
                <a:gd name="T33" fmla="*/ 0 h 210"/>
                <a:gd name="T34" fmla="*/ 15 w 30"/>
                <a:gd name="T35" fmla="*/ 0 h 210"/>
                <a:gd name="T36" fmla="*/ 12 w 30"/>
                <a:gd name="T37" fmla="*/ 0 h 210"/>
                <a:gd name="T38" fmla="*/ 10 w 30"/>
                <a:gd name="T39" fmla="*/ 1 h 210"/>
                <a:gd name="T40" fmla="*/ 7 w 30"/>
                <a:gd name="T41" fmla="*/ 2 h 210"/>
                <a:gd name="T42" fmla="*/ 4 w 30"/>
                <a:gd name="T43" fmla="*/ 4 h 210"/>
                <a:gd name="T44" fmla="*/ 3 w 30"/>
                <a:gd name="T45" fmla="*/ 6 h 210"/>
                <a:gd name="T46" fmla="*/ 1 w 30"/>
                <a:gd name="T47" fmla="*/ 9 h 210"/>
                <a:gd name="T48" fmla="*/ 0 w 30"/>
                <a:gd name="T49" fmla="*/ 11 h 210"/>
                <a:gd name="T50" fmla="*/ 0 w 30"/>
                <a:gd name="T51" fmla="*/ 15 h 210"/>
                <a:gd name="T52" fmla="*/ 0 w 30"/>
                <a:gd name="T53" fmla="*/ 195 h 210"/>
                <a:gd name="T54" fmla="*/ 0 w 30"/>
                <a:gd name="T55" fmla="*/ 198 h 210"/>
                <a:gd name="T56" fmla="*/ 1 w 30"/>
                <a:gd name="T57" fmla="*/ 201 h 210"/>
                <a:gd name="T58" fmla="*/ 3 w 30"/>
                <a:gd name="T59" fmla="*/ 203 h 210"/>
                <a:gd name="T60" fmla="*/ 4 w 30"/>
                <a:gd name="T61" fmla="*/ 206 h 210"/>
                <a:gd name="T62" fmla="*/ 7 w 30"/>
                <a:gd name="T63" fmla="*/ 208 h 210"/>
                <a:gd name="T64" fmla="*/ 10 w 30"/>
                <a:gd name="T65" fmla="*/ 209 h 210"/>
                <a:gd name="T66" fmla="*/ 12 w 30"/>
                <a:gd name="T67" fmla="*/ 210 h 210"/>
                <a:gd name="T68" fmla="*/ 15 w 30"/>
                <a:gd name="T6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10">
                  <a:moveTo>
                    <a:pt x="15" y="210"/>
                  </a:moveTo>
                  <a:lnTo>
                    <a:pt x="18" y="210"/>
                  </a:lnTo>
                  <a:lnTo>
                    <a:pt x="22" y="209"/>
                  </a:lnTo>
                  <a:lnTo>
                    <a:pt x="24" y="208"/>
                  </a:lnTo>
                  <a:lnTo>
                    <a:pt x="26" y="206"/>
                  </a:lnTo>
                  <a:lnTo>
                    <a:pt x="28" y="203"/>
                  </a:lnTo>
                  <a:lnTo>
                    <a:pt x="29" y="201"/>
                  </a:lnTo>
                  <a:lnTo>
                    <a:pt x="30" y="198"/>
                  </a:lnTo>
                  <a:lnTo>
                    <a:pt x="30" y="195"/>
                  </a:lnTo>
                  <a:lnTo>
                    <a:pt x="30" y="15"/>
                  </a:lnTo>
                  <a:lnTo>
                    <a:pt x="30" y="11"/>
                  </a:lnTo>
                  <a:lnTo>
                    <a:pt x="29" y="8"/>
                  </a:lnTo>
                  <a:lnTo>
                    <a:pt x="28" y="6"/>
                  </a:lnTo>
                  <a:lnTo>
                    <a:pt x="26" y="4"/>
                  </a:lnTo>
                  <a:lnTo>
                    <a:pt x="24" y="2"/>
                  </a:lnTo>
                  <a:lnTo>
                    <a:pt x="22" y="1"/>
                  </a:lnTo>
                  <a:lnTo>
                    <a:pt x="18" y="0"/>
                  </a:lnTo>
                  <a:lnTo>
                    <a:pt x="15" y="0"/>
                  </a:lnTo>
                  <a:lnTo>
                    <a:pt x="12" y="0"/>
                  </a:lnTo>
                  <a:lnTo>
                    <a:pt x="10" y="1"/>
                  </a:lnTo>
                  <a:lnTo>
                    <a:pt x="7" y="2"/>
                  </a:lnTo>
                  <a:lnTo>
                    <a:pt x="4" y="4"/>
                  </a:lnTo>
                  <a:lnTo>
                    <a:pt x="3" y="6"/>
                  </a:lnTo>
                  <a:lnTo>
                    <a:pt x="1" y="9"/>
                  </a:lnTo>
                  <a:lnTo>
                    <a:pt x="0" y="11"/>
                  </a:lnTo>
                  <a:lnTo>
                    <a:pt x="0" y="15"/>
                  </a:lnTo>
                  <a:lnTo>
                    <a:pt x="0" y="195"/>
                  </a:lnTo>
                  <a:lnTo>
                    <a:pt x="0" y="198"/>
                  </a:lnTo>
                  <a:lnTo>
                    <a:pt x="1" y="201"/>
                  </a:lnTo>
                  <a:lnTo>
                    <a:pt x="3" y="203"/>
                  </a:lnTo>
                  <a:lnTo>
                    <a:pt x="4" y="206"/>
                  </a:lnTo>
                  <a:lnTo>
                    <a:pt x="7" y="208"/>
                  </a:lnTo>
                  <a:lnTo>
                    <a:pt x="10" y="209"/>
                  </a:lnTo>
                  <a:lnTo>
                    <a:pt x="12" y="210"/>
                  </a:lnTo>
                  <a:lnTo>
                    <a:pt x="1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34">
              <a:extLst>
                <a:ext uri="{FF2B5EF4-FFF2-40B4-BE49-F238E27FC236}">
                  <a16:creationId xmlns:a16="http://schemas.microsoft.com/office/drawing/2014/main" id="{00E8EC2B-9803-4591-993E-AC563725AED2}"/>
                </a:ext>
              </a:extLst>
            </p:cNvPr>
            <p:cNvSpPr>
              <a:spLocks/>
            </p:cNvSpPr>
            <p:nvPr/>
          </p:nvSpPr>
          <p:spPr bwMode="auto">
            <a:xfrm>
              <a:off x="3908425" y="2546350"/>
              <a:ext cx="9525" cy="66675"/>
            </a:xfrm>
            <a:custGeom>
              <a:avLst/>
              <a:gdLst>
                <a:gd name="T0" fmla="*/ 15 w 31"/>
                <a:gd name="T1" fmla="*/ 210 h 210"/>
                <a:gd name="T2" fmla="*/ 18 w 31"/>
                <a:gd name="T3" fmla="*/ 210 h 210"/>
                <a:gd name="T4" fmla="*/ 22 w 31"/>
                <a:gd name="T5" fmla="*/ 209 h 210"/>
                <a:gd name="T6" fmla="*/ 24 w 31"/>
                <a:gd name="T7" fmla="*/ 208 h 210"/>
                <a:gd name="T8" fmla="*/ 26 w 31"/>
                <a:gd name="T9" fmla="*/ 206 h 210"/>
                <a:gd name="T10" fmla="*/ 28 w 31"/>
                <a:gd name="T11" fmla="*/ 203 h 210"/>
                <a:gd name="T12" fmla="*/ 29 w 31"/>
                <a:gd name="T13" fmla="*/ 201 h 210"/>
                <a:gd name="T14" fmla="*/ 30 w 31"/>
                <a:gd name="T15" fmla="*/ 198 h 210"/>
                <a:gd name="T16" fmla="*/ 31 w 31"/>
                <a:gd name="T17" fmla="*/ 195 h 210"/>
                <a:gd name="T18" fmla="*/ 31 w 31"/>
                <a:gd name="T19" fmla="*/ 15 h 210"/>
                <a:gd name="T20" fmla="*/ 30 w 31"/>
                <a:gd name="T21" fmla="*/ 11 h 210"/>
                <a:gd name="T22" fmla="*/ 29 w 31"/>
                <a:gd name="T23" fmla="*/ 8 h 210"/>
                <a:gd name="T24" fmla="*/ 28 w 31"/>
                <a:gd name="T25" fmla="*/ 6 h 210"/>
                <a:gd name="T26" fmla="*/ 26 w 31"/>
                <a:gd name="T27" fmla="*/ 4 h 210"/>
                <a:gd name="T28" fmla="*/ 24 w 31"/>
                <a:gd name="T29" fmla="*/ 2 h 210"/>
                <a:gd name="T30" fmla="*/ 22 w 31"/>
                <a:gd name="T31" fmla="*/ 1 h 210"/>
                <a:gd name="T32" fmla="*/ 18 w 31"/>
                <a:gd name="T33" fmla="*/ 0 h 210"/>
                <a:gd name="T34" fmla="*/ 15 w 31"/>
                <a:gd name="T35" fmla="*/ 0 h 210"/>
                <a:gd name="T36" fmla="*/ 13 w 31"/>
                <a:gd name="T37" fmla="*/ 0 h 210"/>
                <a:gd name="T38" fmla="*/ 10 w 31"/>
                <a:gd name="T39" fmla="*/ 1 h 210"/>
                <a:gd name="T40" fmla="*/ 8 w 31"/>
                <a:gd name="T41" fmla="*/ 2 h 210"/>
                <a:gd name="T42" fmla="*/ 6 w 31"/>
                <a:gd name="T43" fmla="*/ 4 h 210"/>
                <a:gd name="T44" fmla="*/ 3 w 31"/>
                <a:gd name="T45" fmla="*/ 6 h 210"/>
                <a:gd name="T46" fmla="*/ 2 w 31"/>
                <a:gd name="T47" fmla="*/ 9 h 210"/>
                <a:gd name="T48" fmla="*/ 1 w 31"/>
                <a:gd name="T49" fmla="*/ 11 h 210"/>
                <a:gd name="T50" fmla="*/ 0 w 31"/>
                <a:gd name="T51" fmla="*/ 15 h 210"/>
                <a:gd name="T52" fmla="*/ 0 w 31"/>
                <a:gd name="T53" fmla="*/ 195 h 210"/>
                <a:gd name="T54" fmla="*/ 1 w 31"/>
                <a:gd name="T55" fmla="*/ 198 h 210"/>
                <a:gd name="T56" fmla="*/ 2 w 31"/>
                <a:gd name="T57" fmla="*/ 201 h 210"/>
                <a:gd name="T58" fmla="*/ 3 w 31"/>
                <a:gd name="T59" fmla="*/ 203 h 210"/>
                <a:gd name="T60" fmla="*/ 6 w 31"/>
                <a:gd name="T61" fmla="*/ 206 h 210"/>
                <a:gd name="T62" fmla="*/ 8 w 31"/>
                <a:gd name="T63" fmla="*/ 208 h 210"/>
                <a:gd name="T64" fmla="*/ 10 w 31"/>
                <a:gd name="T65" fmla="*/ 209 h 210"/>
                <a:gd name="T66" fmla="*/ 13 w 31"/>
                <a:gd name="T67" fmla="*/ 210 h 210"/>
                <a:gd name="T68" fmla="*/ 15 w 31"/>
                <a:gd name="T6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10">
                  <a:moveTo>
                    <a:pt x="15" y="210"/>
                  </a:moveTo>
                  <a:lnTo>
                    <a:pt x="18" y="210"/>
                  </a:lnTo>
                  <a:lnTo>
                    <a:pt x="22" y="209"/>
                  </a:lnTo>
                  <a:lnTo>
                    <a:pt x="24" y="208"/>
                  </a:lnTo>
                  <a:lnTo>
                    <a:pt x="26" y="206"/>
                  </a:lnTo>
                  <a:lnTo>
                    <a:pt x="28" y="203"/>
                  </a:lnTo>
                  <a:lnTo>
                    <a:pt x="29" y="201"/>
                  </a:lnTo>
                  <a:lnTo>
                    <a:pt x="30" y="198"/>
                  </a:lnTo>
                  <a:lnTo>
                    <a:pt x="31" y="195"/>
                  </a:lnTo>
                  <a:lnTo>
                    <a:pt x="31" y="15"/>
                  </a:lnTo>
                  <a:lnTo>
                    <a:pt x="30" y="11"/>
                  </a:lnTo>
                  <a:lnTo>
                    <a:pt x="29" y="8"/>
                  </a:lnTo>
                  <a:lnTo>
                    <a:pt x="28" y="6"/>
                  </a:lnTo>
                  <a:lnTo>
                    <a:pt x="26" y="4"/>
                  </a:lnTo>
                  <a:lnTo>
                    <a:pt x="24" y="2"/>
                  </a:lnTo>
                  <a:lnTo>
                    <a:pt x="22" y="1"/>
                  </a:lnTo>
                  <a:lnTo>
                    <a:pt x="18" y="0"/>
                  </a:lnTo>
                  <a:lnTo>
                    <a:pt x="15" y="0"/>
                  </a:lnTo>
                  <a:lnTo>
                    <a:pt x="13" y="0"/>
                  </a:lnTo>
                  <a:lnTo>
                    <a:pt x="10" y="1"/>
                  </a:lnTo>
                  <a:lnTo>
                    <a:pt x="8" y="2"/>
                  </a:lnTo>
                  <a:lnTo>
                    <a:pt x="6" y="4"/>
                  </a:lnTo>
                  <a:lnTo>
                    <a:pt x="3" y="6"/>
                  </a:lnTo>
                  <a:lnTo>
                    <a:pt x="2" y="9"/>
                  </a:lnTo>
                  <a:lnTo>
                    <a:pt x="1" y="11"/>
                  </a:lnTo>
                  <a:lnTo>
                    <a:pt x="0" y="15"/>
                  </a:lnTo>
                  <a:lnTo>
                    <a:pt x="0" y="195"/>
                  </a:lnTo>
                  <a:lnTo>
                    <a:pt x="1" y="198"/>
                  </a:lnTo>
                  <a:lnTo>
                    <a:pt x="2" y="201"/>
                  </a:lnTo>
                  <a:lnTo>
                    <a:pt x="3" y="203"/>
                  </a:lnTo>
                  <a:lnTo>
                    <a:pt x="6" y="206"/>
                  </a:lnTo>
                  <a:lnTo>
                    <a:pt x="8" y="208"/>
                  </a:lnTo>
                  <a:lnTo>
                    <a:pt x="10" y="209"/>
                  </a:lnTo>
                  <a:lnTo>
                    <a:pt x="13" y="210"/>
                  </a:lnTo>
                  <a:lnTo>
                    <a:pt x="1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35">
              <a:extLst>
                <a:ext uri="{FF2B5EF4-FFF2-40B4-BE49-F238E27FC236}">
                  <a16:creationId xmlns:a16="http://schemas.microsoft.com/office/drawing/2014/main" id="{445C39ED-948A-4849-838E-30C9362B5CE7}"/>
                </a:ext>
              </a:extLst>
            </p:cNvPr>
            <p:cNvSpPr>
              <a:spLocks/>
            </p:cNvSpPr>
            <p:nvPr/>
          </p:nvSpPr>
          <p:spPr bwMode="auto">
            <a:xfrm>
              <a:off x="3946525" y="2565400"/>
              <a:ext cx="9525" cy="57150"/>
            </a:xfrm>
            <a:custGeom>
              <a:avLst/>
              <a:gdLst>
                <a:gd name="T0" fmla="*/ 15 w 30"/>
                <a:gd name="T1" fmla="*/ 180 h 180"/>
                <a:gd name="T2" fmla="*/ 19 w 30"/>
                <a:gd name="T3" fmla="*/ 180 h 180"/>
                <a:gd name="T4" fmla="*/ 21 w 30"/>
                <a:gd name="T5" fmla="*/ 179 h 180"/>
                <a:gd name="T6" fmla="*/ 24 w 30"/>
                <a:gd name="T7" fmla="*/ 178 h 180"/>
                <a:gd name="T8" fmla="*/ 26 w 30"/>
                <a:gd name="T9" fmla="*/ 176 h 180"/>
                <a:gd name="T10" fmla="*/ 27 w 30"/>
                <a:gd name="T11" fmla="*/ 173 h 180"/>
                <a:gd name="T12" fmla="*/ 29 w 30"/>
                <a:gd name="T13" fmla="*/ 171 h 180"/>
                <a:gd name="T14" fmla="*/ 30 w 30"/>
                <a:gd name="T15" fmla="*/ 168 h 180"/>
                <a:gd name="T16" fmla="*/ 30 w 30"/>
                <a:gd name="T17" fmla="*/ 165 h 180"/>
                <a:gd name="T18" fmla="*/ 30 w 30"/>
                <a:gd name="T19" fmla="*/ 15 h 180"/>
                <a:gd name="T20" fmla="*/ 30 w 30"/>
                <a:gd name="T21" fmla="*/ 11 h 180"/>
                <a:gd name="T22" fmla="*/ 29 w 30"/>
                <a:gd name="T23" fmla="*/ 9 h 180"/>
                <a:gd name="T24" fmla="*/ 27 w 30"/>
                <a:gd name="T25" fmla="*/ 6 h 180"/>
                <a:gd name="T26" fmla="*/ 26 w 30"/>
                <a:gd name="T27" fmla="*/ 4 h 180"/>
                <a:gd name="T28" fmla="*/ 24 w 30"/>
                <a:gd name="T29" fmla="*/ 2 h 180"/>
                <a:gd name="T30" fmla="*/ 21 w 30"/>
                <a:gd name="T31" fmla="*/ 1 h 180"/>
                <a:gd name="T32" fmla="*/ 19 w 30"/>
                <a:gd name="T33" fmla="*/ 0 h 180"/>
                <a:gd name="T34" fmla="*/ 15 w 30"/>
                <a:gd name="T35" fmla="*/ 0 h 180"/>
                <a:gd name="T36" fmla="*/ 12 w 30"/>
                <a:gd name="T37" fmla="*/ 0 h 180"/>
                <a:gd name="T38" fmla="*/ 9 w 30"/>
                <a:gd name="T39" fmla="*/ 1 h 180"/>
                <a:gd name="T40" fmla="*/ 7 w 30"/>
                <a:gd name="T41" fmla="*/ 2 h 180"/>
                <a:gd name="T42" fmla="*/ 5 w 30"/>
                <a:gd name="T43" fmla="*/ 4 h 180"/>
                <a:gd name="T44" fmla="*/ 3 w 30"/>
                <a:gd name="T45" fmla="*/ 6 h 180"/>
                <a:gd name="T46" fmla="*/ 1 w 30"/>
                <a:gd name="T47" fmla="*/ 9 h 180"/>
                <a:gd name="T48" fmla="*/ 0 w 30"/>
                <a:gd name="T49" fmla="*/ 11 h 180"/>
                <a:gd name="T50" fmla="*/ 0 w 30"/>
                <a:gd name="T51" fmla="*/ 15 h 180"/>
                <a:gd name="T52" fmla="*/ 0 w 30"/>
                <a:gd name="T53" fmla="*/ 165 h 180"/>
                <a:gd name="T54" fmla="*/ 0 w 30"/>
                <a:gd name="T55" fmla="*/ 168 h 180"/>
                <a:gd name="T56" fmla="*/ 1 w 30"/>
                <a:gd name="T57" fmla="*/ 171 h 180"/>
                <a:gd name="T58" fmla="*/ 3 w 30"/>
                <a:gd name="T59" fmla="*/ 173 h 180"/>
                <a:gd name="T60" fmla="*/ 5 w 30"/>
                <a:gd name="T61" fmla="*/ 176 h 180"/>
                <a:gd name="T62" fmla="*/ 7 w 30"/>
                <a:gd name="T63" fmla="*/ 178 h 180"/>
                <a:gd name="T64" fmla="*/ 9 w 30"/>
                <a:gd name="T65" fmla="*/ 179 h 180"/>
                <a:gd name="T66" fmla="*/ 12 w 30"/>
                <a:gd name="T67" fmla="*/ 180 h 180"/>
                <a:gd name="T68" fmla="*/ 15 w 3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80">
                  <a:moveTo>
                    <a:pt x="15" y="180"/>
                  </a:moveTo>
                  <a:lnTo>
                    <a:pt x="19" y="180"/>
                  </a:lnTo>
                  <a:lnTo>
                    <a:pt x="21" y="179"/>
                  </a:lnTo>
                  <a:lnTo>
                    <a:pt x="24" y="178"/>
                  </a:lnTo>
                  <a:lnTo>
                    <a:pt x="26" y="176"/>
                  </a:lnTo>
                  <a:lnTo>
                    <a:pt x="27" y="173"/>
                  </a:lnTo>
                  <a:lnTo>
                    <a:pt x="29" y="171"/>
                  </a:lnTo>
                  <a:lnTo>
                    <a:pt x="30" y="168"/>
                  </a:lnTo>
                  <a:lnTo>
                    <a:pt x="30" y="165"/>
                  </a:lnTo>
                  <a:lnTo>
                    <a:pt x="30" y="15"/>
                  </a:lnTo>
                  <a:lnTo>
                    <a:pt x="30" y="11"/>
                  </a:lnTo>
                  <a:lnTo>
                    <a:pt x="29" y="9"/>
                  </a:lnTo>
                  <a:lnTo>
                    <a:pt x="27" y="6"/>
                  </a:lnTo>
                  <a:lnTo>
                    <a:pt x="26" y="4"/>
                  </a:lnTo>
                  <a:lnTo>
                    <a:pt x="24" y="2"/>
                  </a:lnTo>
                  <a:lnTo>
                    <a:pt x="21" y="1"/>
                  </a:lnTo>
                  <a:lnTo>
                    <a:pt x="19" y="0"/>
                  </a:lnTo>
                  <a:lnTo>
                    <a:pt x="15" y="0"/>
                  </a:lnTo>
                  <a:lnTo>
                    <a:pt x="12" y="0"/>
                  </a:lnTo>
                  <a:lnTo>
                    <a:pt x="9" y="1"/>
                  </a:lnTo>
                  <a:lnTo>
                    <a:pt x="7" y="2"/>
                  </a:lnTo>
                  <a:lnTo>
                    <a:pt x="5" y="4"/>
                  </a:lnTo>
                  <a:lnTo>
                    <a:pt x="3" y="6"/>
                  </a:lnTo>
                  <a:lnTo>
                    <a:pt x="1" y="9"/>
                  </a:lnTo>
                  <a:lnTo>
                    <a:pt x="0" y="11"/>
                  </a:lnTo>
                  <a:lnTo>
                    <a:pt x="0" y="15"/>
                  </a:lnTo>
                  <a:lnTo>
                    <a:pt x="0" y="165"/>
                  </a:lnTo>
                  <a:lnTo>
                    <a:pt x="0" y="168"/>
                  </a:lnTo>
                  <a:lnTo>
                    <a:pt x="1" y="171"/>
                  </a:lnTo>
                  <a:lnTo>
                    <a:pt x="3" y="173"/>
                  </a:lnTo>
                  <a:lnTo>
                    <a:pt x="5" y="176"/>
                  </a:lnTo>
                  <a:lnTo>
                    <a:pt x="7" y="178"/>
                  </a:lnTo>
                  <a:lnTo>
                    <a:pt x="9" y="179"/>
                  </a:lnTo>
                  <a:lnTo>
                    <a:pt x="12" y="180"/>
                  </a:lnTo>
                  <a:lnTo>
                    <a:pt x="15"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36">
              <a:extLst>
                <a:ext uri="{FF2B5EF4-FFF2-40B4-BE49-F238E27FC236}">
                  <a16:creationId xmlns:a16="http://schemas.microsoft.com/office/drawing/2014/main" id="{4CE7C8BC-8A36-4632-9C1A-EFD561328FFA}"/>
                </a:ext>
              </a:extLst>
            </p:cNvPr>
            <p:cNvSpPr>
              <a:spLocks noEditPoints="1"/>
            </p:cNvSpPr>
            <p:nvPr/>
          </p:nvSpPr>
          <p:spPr bwMode="auto">
            <a:xfrm>
              <a:off x="3865563" y="2708275"/>
              <a:ext cx="57150" cy="47625"/>
            </a:xfrm>
            <a:custGeom>
              <a:avLst/>
              <a:gdLst>
                <a:gd name="T0" fmla="*/ 42 w 181"/>
                <a:gd name="T1" fmla="*/ 120 h 150"/>
                <a:gd name="T2" fmla="*/ 90 w 181"/>
                <a:gd name="T3" fmla="*/ 43 h 150"/>
                <a:gd name="T4" fmla="*/ 138 w 181"/>
                <a:gd name="T5" fmla="*/ 120 h 150"/>
                <a:gd name="T6" fmla="*/ 42 w 181"/>
                <a:gd name="T7" fmla="*/ 120 h 150"/>
                <a:gd name="T8" fmla="*/ 103 w 181"/>
                <a:gd name="T9" fmla="*/ 8 h 150"/>
                <a:gd name="T10" fmla="*/ 101 w 181"/>
                <a:gd name="T11" fmla="*/ 4 h 150"/>
                <a:gd name="T12" fmla="*/ 98 w 181"/>
                <a:gd name="T13" fmla="*/ 2 h 150"/>
                <a:gd name="T14" fmla="*/ 94 w 181"/>
                <a:gd name="T15" fmla="*/ 1 h 150"/>
                <a:gd name="T16" fmla="*/ 90 w 181"/>
                <a:gd name="T17" fmla="*/ 0 h 150"/>
                <a:gd name="T18" fmla="*/ 87 w 181"/>
                <a:gd name="T19" fmla="*/ 1 h 150"/>
                <a:gd name="T20" fmla="*/ 84 w 181"/>
                <a:gd name="T21" fmla="*/ 2 h 150"/>
                <a:gd name="T22" fmla="*/ 80 w 181"/>
                <a:gd name="T23" fmla="*/ 4 h 150"/>
                <a:gd name="T24" fmla="*/ 77 w 181"/>
                <a:gd name="T25" fmla="*/ 8 h 150"/>
                <a:gd name="T26" fmla="*/ 2 w 181"/>
                <a:gd name="T27" fmla="*/ 128 h 150"/>
                <a:gd name="T28" fmla="*/ 1 w 181"/>
                <a:gd name="T29" fmla="*/ 131 h 150"/>
                <a:gd name="T30" fmla="*/ 0 w 181"/>
                <a:gd name="T31" fmla="*/ 135 h 150"/>
                <a:gd name="T32" fmla="*/ 1 w 181"/>
                <a:gd name="T33" fmla="*/ 140 h 150"/>
                <a:gd name="T34" fmla="*/ 2 w 181"/>
                <a:gd name="T35" fmla="*/ 143 h 150"/>
                <a:gd name="T36" fmla="*/ 4 w 181"/>
                <a:gd name="T37" fmla="*/ 146 h 150"/>
                <a:gd name="T38" fmla="*/ 8 w 181"/>
                <a:gd name="T39" fmla="*/ 148 h 150"/>
                <a:gd name="T40" fmla="*/ 11 w 181"/>
                <a:gd name="T41" fmla="*/ 150 h 150"/>
                <a:gd name="T42" fmla="*/ 15 w 181"/>
                <a:gd name="T43" fmla="*/ 150 h 150"/>
                <a:gd name="T44" fmla="*/ 166 w 181"/>
                <a:gd name="T45" fmla="*/ 150 h 150"/>
                <a:gd name="T46" fmla="*/ 166 w 181"/>
                <a:gd name="T47" fmla="*/ 150 h 150"/>
                <a:gd name="T48" fmla="*/ 166 w 181"/>
                <a:gd name="T49" fmla="*/ 150 h 150"/>
                <a:gd name="T50" fmla="*/ 170 w 181"/>
                <a:gd name="T51" fmla="*/ 150 h 150"/>
                <a:gd name="T52" fmla="*/ 172 w 181"/>
                <a:gd name="T53" fmla="*/ 149 h 150"/>
                <a:gd name="T54" fmla="*/ 175 w 181"/>
                <a:gd name="T55" fmla="*/ 148 h 150"/>
                <a:gd name="T56" fmla="*/ 177 w 181"/>
                <a:gd name="T57" fmla="*/ 146 h 150"/>
                <a:gd name="T58" fmla="*/ 178 w 181"/>
                <a:gd name="T59" fmla="*/ 144 h 150"/>
                <a:gd name="T60" fmla="*/ 180 w 181"/>
                <a:gd name="T61" fmla="*/ 142 h 150"/>
                <a:gd name="T62" fmla="*/ 181 w 181"/>
                <a:gd name="T63" fmla="*/ 139 h 150"/>
                <a:gd name="T64" fmla="*/ 181 w 181"/>
                <a:gd name="T65" fmla="*/ 135 h 150"/>
                <a:gd name="T66" fmla="*/ 180 w 181"/>
                <a:gd name="T67" fmla="*/ 130 h 150"/>
                <a:gd name="T68" fmla="*/ 177 w 181"/>
                <a:gd name="T69" fmla="*/ 126 h 150"/>
                <a:gd name="T70" fmla="*/ 103 w 181"/>
                <a:gd name="T71" fmla="*/ 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50">
                  <a:moveTo>
                    <a:pt x="42" y="120"/>
                  </a:moveTo>
                  <a:lnTo>
                    <a:pt x="90" y="43"/>
                  </a:lnTo>
                  <a:lnTo>
                    <a:pt x="138" y="120"/>
                  </a:lnTo>
                  <a:lnTo>
                    <a:pt x="42" y="120"/>
                  </a:lnTo>
                  <a:close/>
                  <a:moveTo>
                    <a:pt x="103" y="8"/>
                  </a:moveTo>
                  <a:lnTo>
                    <a:pt x="101" y="4"/>
                  </a:lnTo>
                  <a:lnTo>
                    <a:pt x="98" y="2"/>
                  </a:lnTo>
                  <a:lnTo>
                    <a:pt x="94" y="1"/>
                  </a:lnTo>
                  <a:lnTo>
                    <a:pt x="90" y="0"/>
                  </a:lnTo>
                  <a:lnTo>
                    <a:pt x="87" y="1"/>
                  </a:lnTo>
                  <a:lnTo>
                    <a:pt x="84" y="2"/>
                  </a:lnTo>
                  <a:lnTo>
                    <a:pt x="80" y="4"/>
                  </a:lnTo>
                  <a:lnTo>
                    <a:pt x="77" y="8"/>
                  </a:lnTo>
                  <a:lnTo>
                    <a:pt x="2" y="128"/>
                  </a:lnTo>
                  <a:lnTo>
                    <a:pt x="1" y="131"/>
                  </a:lnTo>
                  <a:lnTo>
                    <a:pt x="0" y="135"/>
                  </a:lnTo>
                  <a:lnTo>
                    <a:pt x="1" y="140"/>
                  </a:lnTo>
                  <a:lnTo>
                    <a:pt x="2" y="143"/>
                  </a:lnTo>
                  <a:lnTo>
                    <a:pt x="4" y="146"/>
                  </a:lnTo>
                  <a:lnTo>
                    <a:pt x="8" y="148"/>
                  </a:lnTo>
                  <a:lnTo>
                    <a:pt x="11" y="150"/>
                  </a:lnTo>
                  <a:lnTo>
                    <a:pt x="15" y="150"/>
                  </a:lnTo>
                  <a:lnTo>
                    <a:pt x="166" y="150"/>
                  </a:lnTo>
                  <a:lnTo>
                    <a:pt x="166" y="150"/>
                  </a:lnTo>
                  <a:lnTo>
                    <a:pt x="166" y="150"/>
                  </a:lnTo>
                  <a:lnTo>
                    <a:pt x="170" y="150"/>
                  </a:lnTo>
                  <a:lnTo>
                    <a:pt x="172" y="149"/>
                  </a:lnTo>
                  <a:lnTo>
                    <a:pt x="175" y="148"/>
                  </a:lnTo>
                  <a:lnTo>
                    <a:pt x="177" y="146"/>
                  </a:lnTo>
                  <a:lnTo>
                    <a:pt x="178" y="144"/>
                  </a:lnTo>
                  <a:lnTo>
                    <a:pt x="180" y="142"/>
                  </a:lnTo>
                  <a:lnTo>
                    <a:pt x="181" y="139"/>
                  </a:lnTo>
                  <a:lnTo>
                    <a:pt x="181" y="135"/>
                  </a:lnTo>
                  <a:lnTo>
                    <a:pt x="180" y="130"/>
                  </a:lnTo>
                  <a:lnTo>
                    <a:pt x="177" y="126"/>
                  </a:lnTo>
                  <a:lnTo>
                    <a:pt x="10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8" name="Group 173">
            <a:extLst>
              <a:ext uri="{FF2B5EF4-FFF2-40B4-BE49-F238E27FC236}">
                <a16:creationId xmlns:a16="http://schemas.microsoft.com/office/drawing/2014/main" id="{05F4D680-30E2-46F1-B116-F3372F2E5E22}"/>
              </a:ext>
            </a:extLst>
          </p:cNvPr>
          <p:cNvGrpSpPr>
            <a:grpSpLocks noChangeAspect="1"/>
          </p:cNvGrpSpPr>
          <p:nvPr/>
        </p:nvGrpSpPr>
        <p:grpSpPr>
          <a:xfrm>
            <a:off x="5372484" y="5956111"/>
            <a:ext cx="297044" cy="285619"/>
            <a:chOff x="8162079" y="1366816"/>
            <a:chExt cx="288323" cy="277234"/>
          </a:xfrm>
          <a:solidFill>
            <a:schemeClr val="bg2"/>
          </a:solidFill>
          <a:effectLst/>
        </p:grpSpPr>
        <p:sp>
          <p:nvSpPr>
            <p:cNvPr id="1419" name="Freeform 211">
              <a:extLst>
                <a:ext uri="{FF2B5EF4-FFF2-40B4-BE49-F238E27FC236}">
                  <a16:creationId xmlns:a16="http://schemas.microsoft.com/office/drawing/2014/main" id="{F0FAFA57-4A23-4937-85DF-D09AE5156728}"/>
                </a:ext>
              </a:extLst>
            </p:cNvPr>
            <p:cNvSpPr>
              <a:spLocks noEditPoints="1"/>
            </p:cNvSpPr>
            <p:nvPr/>
          </p:nvSpPr>
          <p:spPr bwMode="auto">
            <a:xfrm>
              <a:off x="8162079" y="1366816"/>
              <a:ext cx="288323" cy="277234"/>
            </a:xfrm>
            <a:custGeom>
              <a:avLst/>
              <a:gdLst>
                <a:gd name="T0" fmla="*/ 898 w 932"/>
                <a:gd name="T1" fmla="*/ 816 h 901"/>
                <a:gd name="T2" fmla="*/ 883 w 932"/>
                <a:gd name="T3" fmla="*/ 841 h 901"/>
                <a:gd name="T4" fmla="*/ 861 w 932"/>
                <a:gd name="T5" fmla="*/ 860 h 901"/>
                <a:gd name="T6" fmla="*/ 831 w 932"/>
                <a:gd name="T7" fmla="*/ 870 h 901"/>
                <a:gd name="T8" fmla="*/ 93 w 932"/>
                <a:gd name="T9" fmla="*/ 868 h 901"/>
                <a:gd name="T10" fmla="*/ 65 w 932"/>
                <a:gd name="T11" fmla="*/ 857 h 901"/>
                <a:gd name="T12" fmla="*/ 44 w 932"/>
                <a:gd name="T13" fmla="*/ 836 h 901"/>
                <a:gd name="T14" fmla="*/ 32 w 932"/>
                <a:gd name="T15" fmla="*/ 808 h 901"/>
                <a:gd name="T16" fmla="*/ 31 w 932"/>
                <a:gd name="T17" fmla="*/ 349 h 901"/>
                <a:gd name="T18" fmla="*/ 40 w 932"/>
                <a:gd name="T19" fmla="*/ 320 h 901"/>
                <a:gd name="T20" fmla="*/ 59 w 932"/>
                <a:gd name="T21" fmla="*/ 297 h 901"/>
                <a:gd name="T22" fmla="*/ 85 w 932"/>
                <a:gd name="T23" fmla="*/ 283 h 901"/>
                <a:gd name="T24" fmla="*/ 823 w 932"/>
                <a:gd name="T25" fmla="*/ 279 h 901"/>
                <a:gd name="T26" fmla="*/ 853 w 932"/>
                <a:gd name="T27" fmla="*/ 286 h 901"/>
                <a:gd name="T28" fmla="*/ 879 w 932"/>
                <a:gd name="T29" fmla="*/ 303 h 901"/>
                <a:gd name="T30" fmla="*/ 895 w 932"/>
                <a:gd name="T31" fmla="*/ 327 h 901"/>
                <a:gd name="T32" fmla="*/ 901 w 932"/>
                <a:gd name="T33" fmla="*/ 357 h 901"/>
                <a:gd name="T34" fmla="*/ 491 w 932"/>
                <a:gd name="T35" fmla="*/ 157 h 901"/>
                <a:gd name="T36" fmla="*/ 539 w 932"/>
                <a:gd name="T37" fmla="*/ 173 h 901"/>
                <a:gd name="T38" fmla="*/ 581 w 932"/>
                <a:gd name="T39" fmla="*/ 198 h 901"/>
                <a:gd name="T40" fmla="*/ 611 w 932"/>
                <a:gd name="T41" fmla="*/ 231 h 901"/>
                <a:gd name="T42" fmla="*/ 317 w 932"/>
                <a:gd name="T43" fmla="*/ 240 h 901"/>
                <a:gd name="T44" fmla="*/ 342 w 932"/>
                <a:gd name="T45" fmla="*/ 206 h 901"/>
                <a:gd name="T46" fmla="*/ 381 w 932"/>
                <a:gd name="T47" fmla="*/ 178 h 901"/>
                <a:gd name="T48" fmla="*/ 429 w 932"/>
                <a:gd name="T49" fmla="*/ 160 h 901"/>
                <a:gd name="T50" fmla="*/ 823 w 932"/>
                <a:gd name="T51" fmla="*/ 248 h 901"/>
                <a:gd name="T52" fmla="*/ 644 w 932"/>
                <a:gd name="T53" fmla="*/ 227 h 901"/>
                <a:gd name="T54" fmla="*/ 611 w 932"/>
                <a:gd name="T55" fmla="*/ 184 h 901"/>
                <a:gd name="T56" fmla="*/ 694 w 932"/>
                <a:gd name="T57" fmla="*/ 26 h 901"/>
                <a:gd name="T58" fmla="*/ 699 w 932"/>
                <a:gd name="T59" fmla="*/ 15 h 901"/>
                <a:gd name="T60" fmla="*/ 694 w 932"/>
                <a:gd name="T61" fmla="*/ 5 h 901"/>
                <a:gd name="T62" fmla="*/ 683 w 932"/>
                <a:gd name="T63" fmla="*/ 0 h 901"/>
                <a:gd name="T64" fmla="*/ 672 w 932"/>
                <a:gd name="T65" fmla="*/ 5 h 901"/>
                <a:gd name="T66" fmla="*/ 483 w 932"/>
                <a:gd name="T67" fmla="*/ 125 h 901"/>
                <a:gd name="T68" fmla="*/ 412 w 932"/>
                <a:gd name="T69" fmla="*/ 133 h 901"/>
                <a:gd name="T70" fmla="*/ 254 w 932"/>
                <a:gd name="T71" fmla="*/ 1 h 901"/>
                <a:gd name="T72" fmla="*/ 242 w 932"/>
                <a:gd name="T73" fmla="*/ 1 h 901"/>
                <a:gd name="T74" fmla="*/ 234 w 932"/>
                <a:gd name="T75" fmla="*/ 9 h 901"/>
                <a:gd name="T76" fmla="*/ 234 w 932"/>
                <a:gd name="T77" fmla="*/ 21 h 901"/>
                <a:gd name="T78" fmla="*/ 349 w 932"/>
                <a:gd name="T79" fmla="*/ 161 h 901"/>
                <a:gd name="T80" fmla="*/ 300 w 932"/>
                <a:gd name="T81" fmla="*/ 207 h 901"/>
                <a:gd name="T82" fmla="*/ 283 w 932"/>
                <a:gd name="T83" fmla="*/ 241 h 901"/>
                <a:gd name="T84" fmla="*/ 87 w 932"/>
                <a:gd name="T85" fmla="*/ 250 h 901"/>
                <a:gd name="T86" fmla="*/ 48 w 932"/>
                <a:gd name="T87" fmla="*/ 267 h 901"/>
                <a:gd name="T88" fmla="*/ 19 w 932"/>
                <a:gd name="T89" fmla="*/ 297 h 901"/>
                <a:gd name="T90" fmla="*/ 2 w 932"/>
                <a:gd name="T91" fmla="*/ 336 h 901"/>
                <a:gd name="T92" fmla="*/ 0 w 932"/>
                <a:gd name="T93" fmla="*/ 804 h 901"/>
                <a:gd name="T94" fmla="*/ 13 w 932"/>
                <a:gd name="T95" fmla="*/ 845 h 901"/>
                <a:gd name="T96" fmla="*/ 40 w 932"/>
                <a:gd name="T97" fmla="*/ 876 h 901"/>
                <a:gd name="T98" fmla="*/ 77 w 932"/>
                <a:gd name="T99" fmla="*/ 896 h 901"/>
                <a:gd name="T100" fmla="*/ 823 w 932"/>
                <a:gd name="T101" fmla="*/ 901 h 901"/>
                <a:gd name="T102" fmla="*/ 865 w 932"/>
                <a:gd name="T103" fmla="*/ 893 h 901"/>
                <a:gd name="T104" fmla="*/ 900 w 932"/>
                <a:gd name="T105" fmla="*/ 869 h 901"/>
                <a:gd name="T106" fmla="*/ 923 w 932"/>
                <a:gd name="T107" fmla="*/ 835 h 901"/>
                <a:gd name="T108" fmla="*/ 932 w 932"/>
                <a:gd name="T109" fmla="*/ 793 h 901"/>
                <a:gd name="T110" fmla="*/ 928 w 932"/>
                <a:gd name="T111" fmla="*/ 325 h 901"/>
                <a:gd name="T112" fmla="*/ 908 w 932"/>
                <a:gd name="T113" fmla="*/ 288 h 901"/>
                <a:gd name="T114" fmla="*/ 875 w 932"/>
                <a:gd name="T115" fmla="*/ 261 h 901"/>
                <a:gd name="T116" fmla="*/ 834 w 932"/>
                <a:gd name="T117" fmla="*/ 24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2" h="901">
                  <a:moveTo>
                    <a:pt x="901" y="793"/>
                  </a:moveTo>
                  <a:lnTo>
                    <a:pt x="901" y="800"/>
                  </a:lnTo>
                  <a:lnTo>
                    <a:pt x="900" y="808"/>
                  </a:lnTo>
                  <a:lnTo>
                    <a:pt x="898" y="816"/>
                  </a:lnTo>
                  <a:lnTo>
                    <a:pt x="895" y="823"/>
                  </a:lnTo>
                  <a:lnTo>
                    <a:pt x="892" y="829"/>
                  </a:lnTo>
                  <a:lnTo>
                    <a:pt x="888" y="836"/>
                  </a:lnTo>
                  <a:lnTo>
                    <a:pt x="883" y="841"/>
                  </a:lnTo>
                  <a:lnTo>
                    <a:pt x="879" y="847"/>
                  </a:lnTo>
                  <a:lnTo>
                    <a:pt x="873" y="853"/>
                  </a:lnTo>
                  <a:lnTo>
                    <a:pt x="866" y="857"/>
                  </a:lnTo>
                  <a:lnTo>
                    <a:pt x="861" y="860"/>
                  </a:lnTo>
                  <a:lnTo>
                    <a:pt x="853" y="864"/>
                  </a:lnTo>
                  <a:lnTo>
                    <a:pt x="846" y="867"/>
                  </a:lnTo>
                  <a:lnTo>
                    <a:pt x="839" y="868"/>
                  </a:lnTo>
                  <a:lnTo>
                    <a:pt x="831" y="870"/>
                  </a:lnTo>
                  <a:lnTo>
                    <a:pt x="823" y="870"/>
                  </a:lnTo>
                  <a:lnTo>
                    <a:pt x="109" y="870"/>
                  </a:lnTo>
                  <a:lnTo>
                    <a:pt x="101" y="870"/>
                  </a:lnTo>
                  <a:lnTo>
                    <a:pt x="93" y="868"/>
                  </a:lnTo>
                  <a:lnTo>
                    <a:pt x="85" y="867"/>
                  </a:lnTo>
                  <a:lnTo>
                    <a:pt x="79" y="864"/>
                  </a:lnTo>
                  <a:lnTo>
                    <a:pt x="71" y="860"/>
                  </a:lnTo>
                  <a:lnTo>
                    <a:pt x="65" y="857"/>
                  </a:lnTo>
                  <a:lnTo>
                    <a:pt x="59" y="853"/>
                  </a:lnTo>
                  <a:lnTo>
                    <a:pt x="53" y="847"/>
                  </a:lnTo>
                  <a:lnTo>
                    <a:pt x="49" y="841"/>
                  </a:lnTo>
                  <a:lnTo>
                    <a:pt x="44" y="836"/>
                  </a:lnTo>
                  <a:lnTo>
                    <a:pt x="40" y="829"/>
                  </a:lnTo>
                  <a:lnTo>
                    <a:pt x="37" y="823"/>
                  </a:lnTo>
                  <a:lnTo>
                    <a:pt x="34" y="816"/>
                  </a:lnTo>
                  <a:lnTo>
                    <a:pt x="32" y="808"/>
                  </a:lnTo>
                  <a:lnTo>
                    <a:pt x="31" y="800"/>
                  </a:lnTo>
                  <a:lnTo>
                    <a:pt x="31" y="793"/>
                  </a:lnTo>
                  <a:lnTo>
                    <a:pt x="31" y="357"/>
                  </a:lnTo>
                  <a:lnTo>
                    <a:pt x="31" y="349"/>
                  </a:lnTo>
                  <a:lnTo>
                    <a:pt x="32" y="341"/>
                  </a:lnTo>
                  <a:lnTo>
                    <a:pt x="34" y="334"/>
                  </a:lnTo>
                  <a:lnTo>
                    <a:pt x="37" y="327"/>
                  </a:lnTo>
                  <a:lnTo>
                    <a:pt x="40" y="320"/>
                  </a:lnTo>
                  <a:lnTo>
                    <a:pt x="44" y="314"/>
                  </a:lnTo>
                  <a:lnTo>
                    <a:pt x="49" y="308"/>
                  </a:lnTo>
                  <a:lnTo>
                    <a:pt x="53" y="303"/>
                  </a:lnTo>
                  <a:lnTo>
                    <a:pt x="59" y="297"/>
                  </a:lnTo>
                  <a:lnTo>
                    <a:pt x="65" y="293"/>
                  </a:lnTo>
                  <a:lnTo>
                    <a:pt x="71" y="289"/>
                  </a:lnTo>
                  <a:lnTo>
                    <a:pt x="79" y="286"/>
                  </a:lnTo>
                  <a:lnTo>
                    <a:pt x="85" y="283"/>
                  </a:lnTo>
                  <a:lnTo>
                    <a:pt x="93" y="281"/>
                  </a:lnTo>
                  <a:lnTo>
                    <a:pt x="101" y="280"/>
                  </a:lnTo>
                  <a:lnTo>
                    <a:pt x="109" y="279"/>
                  </a:lnTo>
                  <a:lnTo>
                    <a:pt x="823" y="279"/>
                  </a:lnTo>
                  <a:lnTo>
                    <a:pt x="831" y="280"/>
                  </a:lnTo>
                  <a:lnTo>
                    <a:pt x="839" y="281"/>
                  </a:lnTo>
                  <a:lnTo>
                    <a:pt x="846" y="283"/>
                  </a:lnTo>
                  <a:lnTo>
                    <a:pt x="853" y="286"/>
                  </a:lnTo>
                  <a:lnTo>
                    <a:pt x="861" y="289"/>
                  </a:lnTo>
                  <a:lnTo>
                    <a:pt x="866" y="293"/>
                  </a:lnTo>
                  <a:lnTo>
                    <a:pt x="873" y="297"/>
                  </a:lnTo>
                  <a:lnTo>
                    <a:pt x="879" y="303"/>
                  </a:lnTo>
                  <a:lnTo>
                    <a:pt x="883" y="308"/>
                  </a:lnTo>
                  <a:lnTo>
                    <a:pt x="888" y="314"/>
                  </a:lnTo>
                  <a:lnTo>
                    <a:pt x="892" y="320"/>
                  </a:lnTo>
                  <a:lnTo>
                    <a:pt x="895" y="327"/>
                  </a:lnTo>
                  <a:lnTo>
                    <a:pt x="898" y="334"/>
                  </a:lnTo>
                  <a:lnTo>
                    <a:pt x="900" y="341"/>
                  </a:lnTo>
                  <a:lnTo>
                    <a:pt x="901" y="349"/>
                  </a:lnTo>
                  <a:lnTo>
                    <a:pt x="901" y="357"/>
                  </a:lnTo>
                  <a:lnTo>
                    <a:pt x="901" y="793"/>
                  </a:lnTo>
                  <a:close/>
                  <a:moveTo>
                    <a:pt x="466" y="155"/>
                  </a:moveTo>
                  <a:lnTo>
                    <a:pt x="479" y="156"/>
                  </a:lnTo>
                  <a:lnTo>
                    <a:pt x="491" y="157"/>
                  </a:lnTo>
                  <a:lnTo>
                    <a:pt x="503" y="160"/>
                  </a:lnTo>
                  <a:lnTo>
                    <a:pt x="515" y="164"/>
                  </a:lnTo>
                  <a:lnTo>
                    <a:pt x="528" y="167"/>
                  </a:lnTo>
                  <a:lnTo>
                    <a:pt x="539" y="173"/>
                  </a:lnTo>
                  <a:lnTo>
                    <a:pt x="551" y="178"/>
                  </a:lnTo>
                  <a:lnTo>
                    <a:pt x="562" y="185"/>
                  </a:lnTo>
                  <a:lnTo>
                    <a:pt x="572" y="191"/>
                  </a:lnTo>
                  <a:lnTo>
                    <a:pt x="581" y="198"/>
                  </a:lnTo>
                  <a:lnTo>
                    <a:pt x="590" y="206"/>
                  </a:lnTo>
                  <a:lnTo>
                    <a:pt x="598" y="215"/>
                  </a:lnTo>
                  <a:lnTo>
                    <a:pt x="605" y="223"/>
                  </a:lnTo>
                  <a:lnTo>
                    <a:pt x="611" y="231"/>
                  </a:lnTo>
                  <a:lnTo>
                    <a:pt x="615" y="240"/>
                  </a:lnTo>
                  <a:lnTo>
                    <a:pt x="619" y="248"/>
                  </a:lnTo>
                  <a:lnTo>
                    <a:pt x="313" y="248"/>
                  </a:lnTo>
                  <a:lnTo>
                    <a:pt x="317" y="240"/>
                  </a:lnTo>
                  <a:lnTo>
                    <a:pt x="321" y="231"/>
                  </a:lnTo>
                  <a:lnTo>
                    <a:pt x="327" y="223"/>
                  </a:lnTo>
                  <a:lnTo>
                    <a:pt x="334" y="215"/>
                  </a:lnTo>
                  <a:lnTo>
                    <a:pt x="342" y="206"/>
                  </a:lnTo>
                  <a:lnTo>
                    <a:pt x="351" y="198"/>
                  </a:lnTo>
                  <a:lnTo>
                    <a:pt x="360" y="191"/>
                  </a:lnTo>
                  <a:lnTo>
                    <a:pt x="371" y="185"/>
                  </a:lnTo>
                  <a:lnTo>
                    <a:pt x="381" y="178"/>
                  </a:lnTo>
                  <a:lnTo>
                    <a:pt x="393" y="173"/>
                  </a:lnTo>
                  <a:lnTo>
                    <a:pt x="404" y="167"/>
                  </a:lnTo>
                  <a:lnTo>
                    <a:pt x="417" y="164"/>
                  </a:lnTo>
                  <a:lnTo>
                    <a:pt x="429" y="160"/>
                  </a:lnTo>
                  <a:lnTo>
                    <a:pt x="441" y="157"/>
                  </a:lnTo>
                  <a:lnTo>
                    <a:pt x="453" y="156"/>
                  </a:lnTo>
                  <a:lnTo>
                    <a:pt x="466" y="155"/>
                  </a:lnTo>
                  <a:close/>
                  <a:moveTo>
                    <a:pt x="823" y="248"/>
                  </a:moveTo>
                  <a:lnTo>
                    <a:pt x="651" y="248"/>
                  </a:lnTo>
                  <a:lnTo>
                    <a:pt x="649" y="241"/>
                  </a:lnTo>
                  <a:lnTo>
                    <a:pt x="646" y="235"/>
                  </a:lnTo>
                  <a:lnTo>
                    <a:pt x="644" y="227"/>
                  </a:lnTo>
                  <a:lnTo>
                    <a:pt x="641" y="220"/>
                  </a:lnTo>
                  <a:lnTo>
                    <a:pt x="632" y="207"/>
                  </a:lnTo>
                  <a:lnTo>
                    <a:pt x="622" y="195"/>
                  </a:lnTo>
                  <a:lnTo>
                    <a:pt x="611" y="184"/>
                  </a:lnTo>
                  <a:lnTo>
                    <a:pt x="598" y="173"/>
                  </a:lnTo>
                  <a:lnTo>
                    <a:pt x="583" y="161"/>
                  </a:lnTo>
                  <a:lnTo>
                    <a:pt x="568" y="153"/>
                  </a:lnTo>
                  <a:lnTo>
                    <a:pt x="694" y="26"/>
                  </a:lnTo>
                  <a:lnTo>
                    <a:pt x="696" y="24"/>
                  </a:lnTo>
                  <a:lnTo>
                    <a:pt x="698" y="21"/>
                  </a:lnTo>
                  <a:lnTo>
                    <a:pt x="699" y="18"/>
                  </a:lnTo>
                  <a:lnTo>
                    <a:pt x="699" y="15"/>
                  </a:lnTo>
                  <a:lnTo>
                    <a:pt x="699" y="13"/>
                  </a:lnTo>
                  <a:lnTo>
                    <a:pt x="698" y="9"/>
                  </a:lnTo>
                  <a:lnTo>
                    <a:pt x="696" y="7"/>
                  </a:lnTo>
                  <a:lnTo>
                    <a:pt x="694" y="5"/>
                  </a:lnTo>
                  <a:lnTo>
                    <a:pt x="692" y="3"/>
                  </a:lnTo>
                  <a:lnTo>
                    <a:pt x="690" y="1"/>
                  </a:lnTo>
                  <a:lnTo>
                    <a:pt x="686" y="0"/>
                  </a:lnTo>
                  <a:lnTo>
                    <a:pt x="683" y="0"/>
                  </a:lnTo>
                  <a:lnTo>
                    <a:pt x="681" y="0"/>
                  </a:lnTo>
                  <a:lnTo>
                    <a:pt x="678" y="1"/>
                  </a:lnTo>
                  <a:lnTo>
                    <a:pt x="675" y="3"/>
                  </a:lnTo>
                  <a:lnTo>
                    <a:pt x="672" y="5"/>
                  </a:lnTo>
                  <a:lnTo>
                    <a:pt x="538" y="139"/>
                  </a:lnTo>
                  <a:lnTo>
                    <a:pt x="520" y="133"/>
                  </a:lnTo>
                  <a:lnTo>
                    <a:pt x="502" y="128"/>
                  </a:lnTo>
                  <a:lnTo>
                    <a:pt x="483" y="125"/>
                  </a:lnTo>
                  <a:lnTo>
                    <a:pt x="466" y="124"/>
                  </a:lnTo>
                  <a:lnTo>
                    <a:pt x="449" y="125"/>
                  </a:lnTo>
                  <a:lnTo>
                    <a:pt x="430" y="128"/>
                  </a:lnTo>
                  <a:lnTo>
                    <a:pt x="412" y="133"/>
                  </a:lnTo>
                  <a:lnTo>
                    <a:pt x="394" y="139"/>
                  </a:lnTo>
                  <a:lnTo>
                    <a:pt x="260" y="5"/>
                  </a:lnTo>
                  <a:lnTo>
                    <a:pt x="257" y="3"/>
                  </a:lnTo>
                  <a:lnTo>
                    <a:pt x="254" y="1"/>
                  </a:lnTo>
                  <a:lnTo>
                    <a:pt x="251" y="0"/>
                  </a:lnTo>
                  <a:lnTo>
                    <a:pt x="249" y="0"/>
                  </a:lnTo>
                  <a:lnTo>
                    <a:pt x="245" y="0"/>
                  </a:lnTo>
                  <a:lnTo>
                    <a:pt x="242" y="1"/>
                  </a:lnTo>
                  <a:lnTo>
                    <a:pt x="240" y="3"/>
                  </a:lnTo>
                  <a:lnTo>
                    <a:pt x="238" y="5"/>
                  </a:lnTo>
                  <a:lnTo>
                    <a:pt x="235" y="7"/>
                  </a:lnTo>
                  <a:lnTo>
                    <a:pt x="234" y="9"/>
                  </a:lnTo>
                  <a:lnTo>
                    <a:pt x="233" y="13"/>
                  </a:lnTo>
                  <a:lnTo>
                    <a:pt x="233" y="15"/>
                  </a:lnTo>
                  <a:lnTo>
                    <a:pt x="233" y="18"/>
                  </a:lnTo>
                  <a:lnTo>
                    <a:pt x="234" y="21"/>
                  </a:lnTo>
                  <a:lnTo>
                    <a:pt x="235" y="24"/>
                  </a:lnTo>
                  <a:lnTo>
                    <a:pt x="238" y="26"/>
                  </a:lnTo>
                  <a:lnTo>
                    <a:pt x="364" y="153"/>
                  </a:lnTo>
                  <a:lnTo>
                    <a:pt x="349" y="161"/>
                  </a:lnTo>
                  <a:lnTo>
                    <a:pt x="334" y="173"/>
                  </a:lnTo>
                  <a:lnTo>
                    <a:pt x="321" y="183"/>
                  </a:lnTo>
                  <a:lnTo>
                    <a:pt x="310" y="195"/>
                  </a:lnTo>
                  <a:lnTo>
                    <a:pt x="300" y="207"/>
                  </a:lnTo>
                  <a:lnTo>
                    <a:pt x="291" y="220"/>
                  </a:lnTo>
                  <a:lnTo>
                    <a:pt x="288" y="227"/>
                  </a:lnTo>
                  <a:lnTo>
                    <a:pt x="285" y="235"/>
                  </a:lnTo>
                  <a:lnTo>
                    <a:pt x="283" y="241"/>
                  </a:lnTo>
                  <a:lnTo>
                    <a:pt x="281" y="248"/>
                  </a:lnTo>
                  <a:lnTo>
                    <a:pt x="109" y="248"/>
                  </a:lnTo>
                  <a:lnTo>
                    <a:pt x="98" y="249"/>
                  </a:lnTo>
                  <a:lnTo>
                    <a:pt x="87" y="250"/>
                  </a:lnTo>
                  <a:lnTo>
                    <a:pt x="77" y="254"/>
                  </a:lnTo>
                  <a:lnTo>
                    <a:pt x="67" y="257"/>
                  </a:lnTo>
                  <a:lnTo>
                    <a:pt x="57" y="261"/>
                  </a:lnTo>
                  <a:lnTo>
                    <a:pt x="48" y="267"/>
                  </a:lnTo>
                  <a:lnTo>
                    <a:pt x="40" y="274"/>
                  </a:lnTo>
                  <a:lnTo>
                    <a:pt x="32" y="280"/>
                  </a:lnTo>
                  <a:lnTo>
                    <a:pt x="24" y="288"/>
                  </a:lnTo>
                  <a:lnTo>
                    <a:pt x="19" y="297"/>
                  </a:lnTo>
                  <a:lnTo>
                    <a:pt x="13" y="306"/>
                  </a:lnTo>
                  <a:lnTo>
                    <a:pt x="9" y="315"/>
                  </a:lnTo>
                  <a:lnTo>
                    <a:pt x="4" y="325"/>
                  </a:lnTo>
                  <a:lnTo>
                    <a:pt x="2" y="336"/>
                  </a:lnTo>
                  <a:lnTo>
                    <a:pt x="0" y="346"/>
                  </a:lnTo>
                  <a:lnTo>
                    <a:pt x="0" y="357"/>
                  </a:lnTo>
                  <a:lnTo>
                    <a:pt x="0" y="793"/>
                  </a:lnTo>
                  <a:lnTo>
                    <a:pt x="0" y="804"/>
                  </a:lnTo>
                  <a:lnTo>
                    <a:pt x="2" y="815"/>
                  </a:lnTo>
                  <a:lnTo>
                    <a:pt x="4" y="825"/>
                  </a:lnTo>
                  <a:lnTo>
                    <a:pt x="9" y="835"/>
                  </a:lnTo>
                  <a:lnTo>
                    <a:pt x="13" y="845"/>
                  </a:lnTo>
                  <a:lnTo>
                    <a:pt x="19" y="854"/>
                  </a:lnTo>
                  <a:lnTo>
                    <a:pt x="24" y="861"/>
                  </a:lnTo>
                  <a:lnTo>
                    <a:pt x="32" y="869"/>
                  </a:lnTo>
                  <a:lnTo>
                    <a:pt x="40" y="876"/>
                  </a:lnTo>
                  <a:lnTo>
                    <a:pt x="48" y="883"/>
                  </a:lnTo>
                  <a:lnTo>
                    <a:pt x="57" y="888"/>
                  </a:lnTo>
                  <a:lnTo>
                    <a:pt x="67" y="893"/>
                  </a:lnTo>
                  <a:lnTo>
                    <a:pt x="77" y="896"/>
                  </a:lnTo>
                  <a:lnTo>
                    <a:pt x="87" y="899"/>
                  </a:lnTo>
                  <a:lnTo>
                    <a:pt x="98" y="900"/>
                  </a:lnTo>
                  <a:lnTo>
                    <a:pt x="109" y="901"/>
                  </a:lnTo>
                  <a:lnTo>
                    <a:pt x="823" y="901"/>
                  </a:lnTo>
                  <a:lnTo>
                    <a:pt x="834" y="900"/>
                  </a:lnTo>
                  <a:lnTo>
                    <a:pt x="845" y="899"/>
                  </a:lnTo>
                  <a:lnTo>
                    <a:pt x="855" y="896"/>
                  </a:lnTo>
                  <a:lnTo>
                    <a:pt x="865" y="893"/>
                  </a:lnTo>
                  <a:lnTo>
                    <a:pt x="875" y="888"/>
                  </a:lnTo>
                  <a:lnTo>
                    <a:pt x="884" y="883"/>
                  </a:lnTo>
                  <a:lnTo>
                    <a:pt x="893" y="876"/>
                  </a:lnTo>
                  <a:lnTo>
                    <a:pt x="900" y="869"/>
                  </a:lnTo>
                  <a:lnTo>
                    <a:pt x="908" y="861"/>
                  </a:lnTo>
                  <a:lnTo>
                    <a:pt x="913" y="854"/>
                  </a:lnTo>
                  <a:lnTo>
                    <a:pt x="919" y="845"/>
                  </a:lnTo>
                  <a:lnTo>
                    <a:pt x="923" y="835"/>
                  </a:lnTo>
                  <a:lnTo>
                    <a:pt x="928" y="825"/>
                  </a:lnTo>
                  <a:lnTo>
                    <a:pt x="930" y="815"/>
                  </a:lnTo>
                  <a:lnTo>
                    <a:pt x="932" y="804"/>
                  </a:lnTo>
                  <a:lnTo>
                    <a:pt x="932" y="793"/>
                  </a:lnTo>
                  <a:lnTo>
                    <a:pt x="932" y="357"/>
                  </a:lnTo>
                  <a:lnTo>
                    <a:pt x="932" y="346"/>
                  </a:lnTo>
                  <a:lnTo>
                    <a:pt x="930" y="336"/>
                  </a:lnTo>
                  <a:lnTo>
                    <a:pt x="928" y="325"/>
                  </a:lnTo>
                  <a:lnTo>
                    <a:pt x="923" y="315"/>
                  </a:lnTo>
                  <a:lnTo>
                    <a:pt x="919" y="306"/>
                  </a:lnTo>
                  <a:lnTo>
                    <a:pt x="913" y="297"/>
                  </a:lnTo>
                  <a:lnTo>
                    <a:pt x="908" y="288"/>
                  </a:lnTo>
                  <a:lnTo>
                    <a:pt x="900" y="280"/>
                  </a:lnTo>
                  <a:lnTo>
                    <a:pt x="892" y="274"/>
                  </a:lnTo>
                  <a:lnTo>
                    <a:pt x="884" y="267"/>
                  </a:lnTo>
                  <a:lnTo>
                    <a:pt x="875" y="261"/>
                  </a:lnTo>
                  <a:lnTo>
                    <a:pt x="865" y="257"/>
                  </a:lnTo>
                  <a:lnTo>
                    <a:pt x="855" y="254"/>
                  </a:lnTo>
                  <a:lnTo>
                    <a:pt x="845" y="250"/>
                  </a:lnTo>
                  <a:lnTo>
                    <a:pt x="834" y="249"/>
                  </a:lnTo>
                  <a:lnTo>
                    <a:pt x="823"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12">
              <a:extLst>
                <a:ext uri="{FF2B5EF4-FFF2-40B4-BE49-F238E27FC236}">
                  <a16:creationId xmlns:a16="http://schemas.microsoft.com/office/drawing/2014/main" id="{8A5B40A0-D40A-433A-ABC1-EBFA74E221B2}"/>
                </a:ext>
              </a:extLst>
            </p:cNvPr>
            <p:cNvSpPr>
              <a:spLocks noEditPoints="1"/>
            </p:cNvSpPr>
            <p:nvPr/>
          </p:nvSpPr>
          <p:spPr bwMode="auto">
            <a:xfrm>
              <a:off x="8191650" y="1461692"/>
              <a:ext cx="172501" cy="163876"/>
            </a:xfrm>
            <a:custGeom>
              <a:avLst/>
              <a:gdLst>
                <a:gd name="T0" fmla="*/ 525 w 559"/>
                <a:gd name="T1" fmla="*/ 436 h 529"/>
                <a:gd name="T2" fmla="*/ 510 w 559"/>
                <a:gd name="T3" fmla="*/ 455 h 529"/>
                <a:gd name="T4" fmla="*/ 479 w 559"/>
                <a:gd name="T5" fmla="*/ 476 h 529"/>
                <a:gd name="T6" fmla="*/ 422 w 559"/>
                <a:gd name="T7" fmla="*/ 491 h 529"/>
                <a:gd name="T8" fmla="*/ 335 w 559"/>
                <a:gd name="T9" fmla="*/ 498 h 529"/>
                <a:gd name="T10" fmla="*/ 176 w 559"/>
                <a:gd name="T11" fmla="*/ 497 h 529"/>
                <a:gd name="T12" fmla="*/ 121 w 559"/>
                <a:gd name="T13" fmla="*/ 489 h 529"/>
                <a:gd name="T14" fmla="*/ 80 w 559"/>
                <a:gd name="T15" fmla="*/ 476 h 529"/>
                <a:gd name="T16" fmla="*/ 50 w 559"/>
                <a:gd name="T17" fmla="*/ 458 h 529"/>
                <a:gd name="T18" fmla="*/ 35 w 559"/>
                <a:gd name="T19" fmla="*/ 434 h 529"/>
                <a:gd name="T20" fmla="*/ 31 w 559"/>
                <a:gd name="T21" fmla="*/ 101 h 529"/>
                <a:gd name="T22" fmla="*/ 34 w 559"/>
                <a:gd name="T23" fmla="*/ 86 h 529"/>
                <a:gd name="T24" fmla="*/ 48 w 559"/>
                <a:gd name="T25" fmla="*/ 66 h 529"/>
                <a:gd name="T26" fmla="*/ 79 w 559"/>
                <a:gd name="T27" fmla="*/ 49 h 529"/>
                <a:gd name="T28" fmla="*/ 121 w 559"/>
                <a:gd name="T29" fmla="*/ 38 h 529"/>
                <a:gd name="T30" fmla="*/ 185 w 559"/>
                <a:gd name="T31" fmla="*/ 33 h 529"/>
                <a:gd name="T32" fmla="*/ 369 w 559"/>
                <a:gd name="T33" fmla="*/ 33 h 529"/>
                <a:gd name="T34" fmla="*/ 435 w 559"/>
                <a:gd name="T35" fmla="*/ 39 h 529"/>
                <a:gd name="T36" fmla="*/ 478 w 559"/>
                <a:gd name="T37" fmla="*/ 50 h 529"/>
                <a:gd name="T38" fmla="*/ 510 w 559"/>
                <a:gd name="T39" fmla="*/ 69 h 529"/>
                <a:gd name="T40" fmla="*/ 526 w 559"/>
                <a:gd name="T41" fmla="*/ 90 h 529"/>
                <a:gd name="T42" fmla="*/ 528 w 559"/>
                <a:gd name="T43" fmla="*/ 107 h 529"/>
                <a:gd name="T44" fmla="*/ 218 w 559"/>
                <a:gd name="T45" fmla="*/ 0 h 529"/>
                <a:gd name="T46" fmla="*/ 144 w 559"/>
                <a:gd name="T47" fmla="*/ 4 h 529"/>
                <a:gd name="T48" fmla="*/ 89 w 559"/>
                <a:gd name="T49" fmla="*/ 14 h 529"/>
                <a:gd name="T50" fmla="*/ 47 w 559"/>
                <a:gd name="T51" fmla="*/ 29 h 529"/>
                <a:gd name="T52" fmla="*/ 27 w 559"/>
                <a:gd name="T53" fmla="*/ 44 h 529"/>
                <a:gd name="T54" fmla="*/ 11 w 559"/>
                <a:gd name="T55" fmla="*/ 61 h 529"/>
                <a:gd name="T56" fmla="*/ 1 w 559"/>
                <a:gd name="T57" fmla="*/ 84 h 529"/>
                <a:gd name="T58" fmla="*/ 0 w 559"/>
                <a:gd name="T59" fmla="*/ 415 h 529"/>
                <a:gd name="T60" fmla="*/ 4 w 559"/>
                <a:gd name="T61" fmla="*/ 441 h 529"/>
                <a:gd name="T62" fmla="*/ 19 w 559"/>
                <a:gd name="T63" fmla="*/ 469 h 529"/>
                <a:gd name="T64" fmla="*/ 50 w 559"/>
                <a:gd name="T65" fmla="*/ 496 h 529"/>
                <a:gd name="T66" fmla="*/ 104 w 559"/>
                <a:gd name="T67" fmla="*/ 517 h 529"/>
                <a:gd name="T68" fmla="*/ 184 w 559"/>
                <a:gd name="T69" fmla="*/ 528 h 529"/>
                <a:gd name="T70" fmla="*/ 372 w 559"/>
                <a:gd name="T71" fmla="*/ 528 h 529"/>
                <a:gd name="T72" fmla="*/ 460 w 559"/>
                <a:gd name="T73" fmla="*/ 515 h 529"/>
                <a:gd name="T74" fmla="*/ 515 w 559"/>
                <a:gd name="T75" fmla="*/ 490 h 529"/>
                <a:gd name="T76" fmla="*/ 545 w 559"/>
                <a:gd name="T77" fmla="*/ 463 h 529"/>
                <a:gd name="T78" fmla="*/ 557 w 559"/>
                <a:gd name="T79" fmla="*/ 437 h 529"/>
                <a:gd name="T80" fmla="*/ 559 w 559"/>
                <a:gd name="T81" fmla="*/ 420 h 529"/>
                <a:gd name="T82" fmla="*/ 556 w 559"/>
                <a:gd name="T83" fmla="*/ 81 h 529"/>
                <a:gd name="T84" fmla="*/ 538 w 559"/>
                <a:gd name="T85" fmla="*/ 51 h 529"/>
                <a:gd name="T86" fmla="*/ 503 w 559"/>
                <a:gd name="T87" fmla="*/ 27 h 529"/>
                <a:gd name="T88" fmla="*/ 453 w 559"/>
                <a:gd name="T89" fmla="*/ 11 h 529"/>
                <a:gd name="T90" fmla="*/ 388 w 559"/>
                <a:gd name="T91" fmla="*/ 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9" h="529">
                  <a:moveTo>
                    <a:pt x="528" y="420"/>
                  </a:moveTo>
                  <a:lnTo>
                    <a:pt x="528" y="426"/>
                  </a:lnTo>
                  <a:lnTo>
                    <a:pt x="525" y="436"/>
                  </a:lnTo>
                  <a:lnTo>
                    <a:pt x="521" y="441"/>
                  </a:lnTo>
                  <a:lnTo>
                    <a:pt x="517" y="448"/>
                  </a:lnTo>
                  <a:lnTo>
                    <a:pt x="510" y="455"/>
                  </a:lnTo>
                  <a:lnTo>
                    <a:pt x="502" y="463"/>
                  </a:lnTo>
                  <a:lnTo>
                    <a:pt x="491" y="469"/>
                  </a:lnTo>
                  <a:lnTo>
                    <a:pt x="479" y="476"/>
                  </a:lnTo>
                  <a:lnTo>
                    <a:pt x="463" y="481"/>
                  </a:lnTo>
                  <a:lnTo>
                    <a:pt x="445" y="487"/>
                  </a:lnTo>
                  <a:lnTo>
                    <a:pt x="422" y="491"/>
                  </a:lnTo>
                  <a:lnTo>
                    <a:pt x="397" y="495"/>
                  </a:lnTo>
                  <a:lnTo>
                    <a:pt x="368" y="497"/>
                  </a:lnTo>
                  <a:lnTo>
                    <a:pt x="335" y="498"/>
                  </a:lnTo>
                  <a:lnTo>
                    <a:pt x="218" y="498"/>
                  </a:lnTo>
                  <a:lnTo>
                    <a:pt x="196" y="498"/>
                  </a:lnTo>
                  <a:lnTo>
                    <a:pt x="176" y="497"/>
                  </a:lnTo>
                  <a:lnTo>
                    <a:pt x="157" y="495"/>
                  </a:lnTo>
                  <a:lnTo>
                    <a:pt x="138" y="493"/>
                  </a:lnTo>
                  <a:lnTo>
                    <a:pt x="121" y="489"/>
                  </a:lnTo>
                  <a:lnTo>
                    <a:pt x="107" y="486"/>
                  </a:lnTo>
                  <a:lnTo>
                    <a:pt x="92" y="481"/>
                  </a:lnTo>
                  <a:lnTo>
                    <a:pt x="80" y="476"/>
                  </a:lnTo>
                  <a:lnTo>
                    <a:pt x="69" y="470"/>
                  </a:lnTo>
                  <a:lnTo>
                    <a:pt x="59" y="465"/>
                  </a:lnTo>
                  <a:lnTo>
                    <a:pt x="50" y="458"/>
                  </a:lnTo>
                  <a:lnTo>
                    <a:pt x="44" y="450"/>
                  </a:lnTo>
                  <a:lnTo>
                    <a:pt x="38" y="443"/>
                  </a:lnTo>
                  <a:lnTo>
                    <a:pt x="35" y="434"/>
                  </a:lnTo>
                  <a:lnTo>
                    <a:pt x="31" y="425"/>
                  </a:lnTo>
                  <a:lnTo>
                    <a:pt x="31" y="415"/>
                  </a:lnTo>
                  <a:lnTo>
                    <a:pt x="31" y="101"/>
                  </a:lnTo>
                  <a:lnTo>
                    <a:pt x="31" y="96"/>
                  </a:lnTo>
                  <a:lnTo>
                    <a:pt x="32" y="91"/>
                  </a:lnTo>
                  <a:lnTo>
                    <a:pt x="34" y="86"/>
                  </a:lnTo>
                  <a:lnTo>
                    <a:pt x="36" y="81"/>
                  </a:lnTo>
                  <a:lnTo>
                    <a:pt x="41" y="74"/>
                  </a:lnTo>
                  <a:lnTo>
                    <a:pt x="48" y="66"/>
                  </a:lnTo>
                  <a:lnTo>
                    <a:pt x="57" y="59"/>
                  </a:lnTo>
                  <a:lnTo>
                    <a:pt x="68" y="54"/>
                  </a:lnTo>
                  <a:lnTo>
                    <a:pt x="79" y="49"/>
                  </a:lnTo>
                  <a:lnTo>
                    <a:pt x="92" y="45"/>
                  </a:lnTo>
                  <a:lnTo>
                    <a:pt x="107" y="41"/>
                  </a:lnTo>
                  <a:lnTo>
                    <a:pt x="121" y="38"/>
                  </a:lnTo>
                  <a:lnTo>
                    <a:pt x="137" y="36"/>
                  </a:lnTo>
                  <a:lnTo>
                    <a:pt x="152" y="35"/>
                  </a:lnTo>
                  <a:lnTo>
                    <a:pt x="185" y="33"/>
                  </a:lnTo>
                  <a:lnTo>
                    <a:pt x="218" y="31"/>
                  </a:lnTo>
                  <a:lnTo>
                    <a:pt x="335" y="31"/>
                  </a:lnTo>
                  <a:lnTo>
                    <a:pt x="369" y="33"/>
                  </a:lnTo>
                  <a:lnTo>
                    <a:pt x="402" y="35"/>
                  </a:lnTo>
                  <a:lnTo>
                    <a:pt x="419" y="37"/>
                  </a:lnTo>
                  <a:lnTo>
                    <a:pt x="435" y="39"/>
                  </a:lnTo>
                  <a:lnTo>
                    <a:pt x="450" y="43"/>
                  </a:lnTo>
                  <a:lnTo>
                    <a:pt x="465" y="46"/>
                  </a:lnTo>
                  <a:lnTo>
                    <a:pt x="478" y="50"/>
                  </a:lnTo>
                  <a:lnTo>
                    <a:pt x="490" y="56"/>
                  </a:lnTo>
                  <a:lnTo>
                    <a:pt x="501" y="61"/>
                  </a:lnTo>
                  <a:lnTo>
                    <a:pt x="510" y="69"/>
                  </a:lnTo>
                  <a:lnTo>
                    <a:pt x="518" y="77"/>
                  </a:lnTo>
                  <a:lnTo>
                    <a:pt x="523" y="86"/>
                  </a:lnTo>
                  <a:lnTo>
                    <a:pt x="526" y="90"/>
                  </a:lnTo>
                  <a:lnTo>
                    <a:pt x="527" y="96"/>
                  </a:lnTo>
                  <a:lnTo>
                    <a:pt x="528" y="101"/>
                  </a:lnTo>
                  <a:lnTo>
                    <a:pt x="528" y="107"/>
                  </a:lnTo>
                  <a:lnTo>
                    <a:pt x="528" y="420"/>
                  </a:lnTo>
                  <a:close/>
                  <a:moveTo>
                    <a:pt x="335" y="0"/>
                  </a:moveTo>
                  <a:lnTo>
                    <a:pt x="218" y="0"/>
                  </a:lnTo>
                  <a:lnTo>
                    <a:pt x="192" y="0"/>
                  </a:lnTo>
                  <a:lnTo>
                    <a:pt x="161" y="3"/>
                  </a:lnTo>
                  <a:lnTo>
                    <a:pt x="144" y="4"/>
                  </a:lnTo>
                  <a:lnTo>
                    <a:pt x="125" y="6"/>
                  </a:lnTo>
                  <a:lnTo>
                    <a:pt x="107" y="9"/>
                  </a:lnTo>
                  <a:lnTo>
                    <a:pt x="89" y="14"/>
                  </a:lnTo>
                  <a:lnTo>
                    <a:pt x="71" y="18"/>
                  </a:lnTo>
                  <a:lnTo>
                    <a:pt x="55" y="25"/>
                  </a:lnTo>
                  <a:lnTo>
                    <a:pt x="47" y="29"/>
                  </a:lnTo>
                  <a:lnTo>
                    <a:pt x="39" y="34"/>
                  </a:lnTo>
                  <a:lnTo>
                    <a:pt x="32" y="38"/>
                  </a:lnTo>
                  <a:lnTo>
                    <a:pt x="27" y="44"/>
                  </a:lnTo>
                  <a:lnTo>
                    <a:pt x="20" y="49"/>
                  </a:lnTo>
                  <a:lnTo>
                    <a:pt x="16" y="55"/>
                  </a:lnTo>
                  <a:lnTo>
                    <a:pt x="11" y="61"/>
                  </a:lnTo>
                  <a:lnTo>
                    <a:pt x="7" y="68"/>
                  </a:lnTo>
                  <a:lnTo>
                    <a:pt x="4" y="76"/>
                  </a:lnTo>
                  <a:lnTo>
                    <a:pt x="1" y="84"/>
                  </a:lnTo>
                  <a:lnTo>
                    <a:pt x="0" y="93"/>
                  </a:lnTo>
                  <a:lnTo>
                    <a:pt x="0" y="101"/>
                  </a:lnTo>
                  <a:lnTo>
                    <a:pt x="0" y="415"/>
                  </a:lnTo>
                  <a:lnTo>
                    <a:pt x="0" y="424"/>
                  </a:lnTo>
                  <a:lnTo>
                    <a:pt x="1" y="431"/>
                  </a:lnTo>
                  <a:lnTo>
                    <a:pt x="4" y="441"/>
                  </a:lnTo>
                  <a:lnTo>
                    <a:pt x="7" y="450"/>
                  </a:lnTo>
                  <a:lnTo>
                    <a:pt x="12" y="460"/>
                  </a:lnTo>
                  <a:lnTo>
                    <a:pt x="19" y="469"/>
                  </a:lnTo>
                  <a:lnTo>
                    <a:pt x="27" y="479"/>
                  </a:lnTo>
                  <a:lnTo>
                    <a:pt x="38" y="488"/>
                  </a:lnTo>
                  <a:lnTo>
                    <a:pt x="50" y="496"/>
                  </a:lnTo>
                  <a:lnTo>
                    <a:pt x="66" y="504"/>
                  </a:lnTo>
                  <a:lnTo>
                    <a:pt x="84" y="511"/>
                  </a:lnTo>
                  <a:lnTo>
                    <a:pt x="104" y="517"/>
                  </a:lnTo>
                  <a:lnTo>
                    <a:pt x="127" y="523"/>
                  </a:lnTo>
                  <a:lnTo>
                    <a:pt x="154" y="526"/>
                  </a:lnTo>
                  <a:lnTo>
                    <a:pt x="184" y="528"/>
                  </a:lnTo>
                  <a:lnTo>
                    <a:pt x="218" y="529"/>
                  </a:lnTo>
                  <a:lnTo>
                    <a:pt x="335" y="529"/>
                  </a:lnTo>
                  <a:lnTo>
                    <a:pt x="372" y="528"/>
                  </a:lnTo>
                  <a:lnTo>
                    <a:pt x="406" y="525"/>
                  </a:lnTo>
                  <a:lnTo>
                    <a:pt x="435" y="520"/>
                  </a:lnTo>
                  <a:lnTo>
                    <a:pt x="460" y="515"/>
                  </a:lnTo>
                  <a:lnTo>
                    <a:pt x="481" y="507"/>
                  </a:lnTo>
                  <a:lnTo>
                    <a:pt x="500" y="499"/>
                  </a:lnTo>
                  <a:lnTo>
                    <a:pt x="515" y="490"/>
                  </a:lnTo>
                  <a:lnTo>
                    <a:pt x="527" y="481"/>
                  </a:lnTo>
                  <a:lnTo>
                    <a:pt x="537" y="473"/>
                  </a:lnTo>
                  <a:lnTo>
                    <a:pt x="545" y="463"/>
                  </a:lnTo>
                  <a:lnTo>
                    <a:pt x="550" y="454"/>
                  </a:lnTo>
                  <a:lnTo>
                    <a:pt x="555" y="445"/>
                  </a:lnTo>
                  <a:lnTo>
                    <a:pt x="557" y="437"/>
                  </a:lnTo>
                  <a:lnTo>
                    <a:pt x="559" y="430"/>
                  </a:lnTo>
                  <a:lnTo>
                    <a:pt x="559" y="425"/>
                  </a:lnTo>
                  <a:lnTo>
                    <a:pt x="559" y="420"/>
                  </a:lnTo>
                  <a:lnTo>
                    <a:pt x="559" y="107"/>
                  </a:lnTo>
                  <a:lnTo>
                    <a:pt x="559" y="94"/>
                  </a:lnTo>
                  <a:lnTo>
                    <a:pt x="556" y="81"/>
                  </a:lnTo>
                  <a:lnTo>
                    <a:pt x="551" y="70"/>
                  </a:lnTo>
                  <a:lnTo>
                    <a:pt x="546" y="60"/>
                  </a:lnTo>
                  <a:lnTo>
                    <a:pt x="538" y="51"/>
                  </a:lnTo>
                  <a:lnTo>
                    <a:pt x="528" y="43"/>
                  </a:lnTo>
                  <a:lnTo>
                    <a:pt x="517" y="35"/>
                  </a:lnTo>
                  <a:lnTo>
                    <a:pt x="503" y="27"/>
                  </a:lnTo>
                  <a:lnTo>
                    <a:pt x="488" y="21"/>
                  </a:lnTo>
                  <a:lnTo>
                    <a:pt x="471" y="16"/>
                  </a:lnTo>
                  <a:lnTo>
                    <a:pt x="453" y="11"/>
                  </a:lnTo>
                  <a:lnTo>
                    <a:pt x="433" y="7"/>
                  </a:lnTo>
                  <a:lnTo>
                    <a:pt x="411" y="5"/>
                  </a:lnTo>
                  <a:lnTo>
                    <a:pt x="388" y="3"/>
                  </a:lnTo>
                  <a:lnTo>
                    <a:pt x="362" y="1"/>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13">
              <a:extLst>
                <a:ext uri="{FF2B5EF4-FFF2-40B4-BE49-F238E27FC236}">
                  <a16:creationId xmlns:a16="http://schemas.microsoft.com/office/drawing/2014/main" id="{DE3DCA87-2DB9-42CB-9792-1320656C4407}"/>
                </a:ext>
              </a:extLst>
            </p:cNvPr>
            <p:cNvSpPr>
              <a:spLocks noEditPoints="1"/>
            </p:cNvSpPr>
            <p:nvPr/>
          </p:nvSpPr>
          <p:spPr bwMode="auto">
            <a:xfrm>
              <a:off x="8377705" y="1476477"/>
              <a:ext cx="48054" cy="48054"/>
            </a:xfrm>
            <a:custGeom>
              <a:avLst/>
              <a:gdLst>
                <a:gd name="T0" fmla="*/ 69 w 155"/>
                <a:gd name="T1" fmla="*/ 123 h 156"/>
                <a:gd name="T2" fmla="*/ 52 w 155"/>
                <a:gd name="T3" fmla="*/ 117 h 156"/>
                <a:gd name="T4" fmla="*/ 39 w 155"/>
                <a:gd name="T5" fmla="*/ 104 h 156"/>
                <a:gd name="T6" fmla="*/ 32 w 155"/>
                <a:gd name="T7" fmla="*/ 88 h 156"/>
                <a:gd name="T8" fmla="*/ 32 w 155"/>
                <a:gd name="T9" fmla="*/ 69 h 156"/>
                <a:gd name="T10" fmla="*/ 39 w 155"/>
                <a:gd name="T11" fmla="*/ 52 h 156"/>
                <a:gd name="T12" fmla="*/ 52 w 155"/>
                <a:gd name="T13" fmla="*/ 39 h 156"/>
                <a:gd name="T14" fmla="*/ 69 w 155"/>
                <a:gd name="T15" fmla="*/ 32 h 156"/>
                <a:gd name="T16" fmla="*/ 87 w 155"/>
                <a:gd name="T17" fmla="*/ 32 h 156"/>
                <a:gd name="T18" fmla="*/ 104 w 155"/>
                <a:gd name="T19" fmla="*/ 39 h 156"/>
                <a:gd name="T20" fmla="*/ 116 w 155"/>
                <a:gd name="T21" fmla="*/ 52 h 156"/>
                <a:gd name="T22" fmla="*/ 123 w 155"/>
                <a:gd name="T23" fmla="*/ 69 h 156"/>
                <a:gd name="T24" fmla="*/ 123 w 155"/>
                <a:gd name="T25" fmla="*/ 88 h 156"/>
                <a:gd name="T26" fmla="*/ 116 w 155"/>
                <a:gd name="T27" fmla="*/ 104 h 156"/>
                <a:gd name="T28" fmla="*/ 104 w 155"/>
                <a:gd name="T29" fmla="*/ 117 h 156"/>
                <a:gd name="T30" fmla="*/ 87 w 155"/>
                <a:gd name="T31" fmla="*/ 123 h 156"/>
                <a:gd name="T32" fmla="*/ 77 w 155"/>
                <a:gd name="T33" fmla="*/ 0 h 156"/>
                <a:gd name="T34" fmla="*/ 62 w 155"/>
                <a:gd name="T35" fmla="*/ 2 h 156"/>
                <a:gd name="T36" fmla="*/ 47 w 155"/>
                <a:gd name="T37" fmla="*/ 7 h 156"/>
                <a:gd name="T38" fmla="*/ 34 w 155"/>
                <a:gd name="T39" fmla="*/ 13 h 156"/>
                <a:gd name="T40" fmla="*/ 23 w 155"/>
                <a:gd name="T41" fmla="*/ 23 h 156"/>
                <a:gd name="T42" fmla="*/ 13 w 155"/>
                <a:gd name="T43" fmla="*/ 34 h 156"/>
                <a:gd name="T44" fmla="*/ 6 w 155"/>
                <a:gd name="T45" fmla="*/ 48 h 156"/>
                <a:gd name="T46" fmla="*/ 2 w 155"/>
                <a:gd name="T47" fmla="*/ 62 h 156"/>
                <a:gd name="T48" fmla="*/ 0 w 155"/>
                <a:gd name="T49" fmla="*/ 78 h 156"/>
                <a:gd name="T50" fmla="*/ 2 w 155"/>
                <a:gd name="T51" fmla="*/ 93 h 156"/>
                <a:gd name="T52" fmla="*/ 6 w 155"/>
                <a:gd name="T53" fmla="*/ 108 h 156"/>
                <a:gd name="T54" fmla="*/ 13 w 155"/>
                <a:gd name="T55" fmla="*/ 121 h 156"/>
                <a:gd name="T56" fmla="*/ 23 w 155"/>
                <a:gd name="T57" fmla="*/ 133 h 156"/>
                <a:gd name="T58" fmla="*/ 34 w 155"/>
                <a:gd name="T59" fmla="*/ 142 h 156"/>
                <a:gd name="T60" fmla="*/ 47 w 155"/>
                <a:gd name="T61" fmla="*/ 150 h 156"/>
                <a:gd name="T62" fmla="*/ 62 w 155"/>
                <a:gd name="T63" fmla="*/ 154 h 156"/>
                <a:gd name="T64" fmla="*/ 77 w 155"/>
                <a:gd name="T65" fmla="*/ 156 h 156"/>
                <a:gd name="T66" fmla="*/ 93 w 155"/>
                <a:gd name="T67" fmla="*/ 154 h 156"/>
                <a:gd name="T68" fmla="*/ 107 w 155"/>
                <a:gd name="T69" fmla="*/ 150 h 156"/>
                <a:gd name="T70" fmla="*/ 121 w 155"/>
                <a:gd name="T71" fmla="*/ 142 h 156"/>
                <a:gd name="T72" fmla="*/ 133 w 155"/>
                <a:gd name="T73" fmla="*/ 133 h 156"/>
                <a:gd name="T74" fmla="*/ 142 w 155"/>
                <a:gd name="T75" fmla="*/ 121 h 156"/>
                <a:gd name="T76" fmla="*/ 150 w 155"/>
                <a:gd name="T77" fmla="*/ 108 h 156"/>
                <a:gd name="T78" fmla="*/ 154 w 155"/>
                <a:gd name="T79" fmla="*/ 93 h 156"/>
                <a:gd name="T80" fmla="*/ 155 w 155"/>
                <a:gd name="T81" fmla="*/ 78 h 156"/>
                <a:gd name="T82" fmla="*/ 154 w 155"/>
                <a:gd name="T83" fmla="*/ 62 h 156"/>
                <a:gd name="T84" fmla="*/ 150 w 155"/>
                <a:gd name="T85" fmla="*/ 48 h 156"/>
                <a:gd name="T86" fmla="*/ 142 w 155"/>
                <a:gd name="T87" fmla="*/ 34 h 156"/>
                <a:gd name="T88" fmla="*/ 133 w 155"/>
                <a:gd name="T89" fmla="*/ 23 h 156"/>
                <a:gd name="T90" fmla="*/ 121 w 155"/>
                <a:gd name="T91" fmla="*/ 13 h 156"/>
                <a:gd name="T92" fmla="*/ 107 w 155"/>
                <a:gd name="T93" fmla="*/ 7 h 156"/>
                <a:gd name="T94" fmla="*/ 93 w 155"/>
                <a:gd name="T95" fmla="*/ 2 h 156"/>
                <a:gd name="T96" fmla="*/ 77 w 155"/>
                <a:gd name="T9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156">
                  <a:moveTo>
                    <a:pt x="77" y="124"/>
                  </a:moveTo>
                  <a:lnTo>
                    <a:pt x="69" y="123"/>
                  </a:lnTo>
                  <a:lnTo>
                    <a:pt x="60" y="121"/>
                  </a:lnTo>
                  <a:lnTo>
                    <a:pt x="52" y="117"/>
                  </a:lnTo>
                  <a:lnTo>
                    <a:pt x="45" y="111"/>
                  </a:lnTo>
                  <a:lnTo>
                    <a:pt x="39" y="104"/>
                  </a:lnTo>
                  <a:lnTo>
                    <a:pt x="35" y="97"/>
                  </a:lnTo>
                  <a:lnTo>
                    <a:pt x="32" y="88"/>
                  </a:lnTo>
                  <a:lnTo>
                    <a:pt x="31" y="78"/>
                  </a:lnTo>
                  <a:lnTo>
                    <a:pt x="32" y="69"/>
                  </a:lnTo>
                  <a:lnTo>
                    <a:pt x="35" y="60"/>
                  </a:lnTo>
                  <a:lnTo>
                    <a:pt x="39" y="52"/>
                  </a:lnTo>
                  <a:lnTo>
                    <a:pt x="45" y="46"/>
                  </a:lnTo>
                  <a:lnTo>
                    <a:pt x="52" y="39"/>
                  </a:lnTo>
                  <a:lnTo>
                    <a:pt x="60" y="36"/>
                  </a:lnTo>
                  <a:lnTo>
                    <a:pt x="69" y="32"/>
                  </a:lnTo>
                  <a:lnTo>
                    <a:pt x="77" y="31"/>
                  </a:lnTo>
                  <a:lnTo>
                    <a:pt x="87" y="32"/>
                  </a:lnTo>
                  <a:lnTo>
                    <a:pt x="96" y="36"/>
                  </a:lnTo>
                  <a:lnTo>
                    <a:pt x="104" y="39"/>
                  </a:lnTo>
                  <a:lnTo>
                    <a:pt x="111" y="46"/>
                  </a:lnTo>
                  <a:lnTo>
                    <a:pt x="116" y="52"/>
                  </a:lnTo>
                  <a:lnTo>
                    <a:pt x="121" y="60"/>
                  </a:lnTo>
                  <a:lnTo>
                    <a:pt x="123" y="69"/>
                  </a:lnTo>
                  <a:lnTo>
                    <a:pt x="124" y="78"/>
                  </a:lnTo>
                  <a:lnTo>
                    <a:pt x="123" y="88"/>
                  </a:lnTo>
                  <a:lnTo>
                    <a:pt x="121" y="97"/>
                  </a:lnTo>
                  <a:lnTo>
                    <a:pt x="116" y="104"/>
                  </a:lnTo>
                  <a:lnTo>
                    <a:pt x="111" y="111"/>
                  </a:lnTo>
                  <a:lnTo>
                    <a:pt x="104" y="117"/>
                  </a:lnTo>
                  <a:lnTo>
                    <a:pt x="96" y="121"/>
                  </a:lnTo>
                  <a:lnTo>
                    <a:pt x="87" y="123"/>
                  </a:lnTo>
                  <a:lnTo>
                    <a:pt x="77" y="124"/>
                  </a:lnTo>
                  <a:close/>
                  <a:moveTo>
                    <a:pt x="77" y="0"/>
                  </a:moveTo>
                  <a:lnTo>
                    <a:pt x="70" y="1"/>
                  </a:lnTo>
                  <a:lnTo>
                    <a:pt x="62" y="2"/>
                  </a:lnTo>
                  <a:lnTo>
                    <a:pt x="55" y="3"/>
                  </a:lnTo>
                  <a:lnTo>
                    <a:pt x="47" y="7"/>
                  </a:lnTo>
                  <a:lnTo>
                    <a:pt x="41" y="10"/>
                  </a:lnTo>
                  <a:lnTo>
                    <a:pt x="34" y="13"/>
                  </a:lnTo>
                  <a:lnTo>
                    <a:pt x="29" y="18"/>
                  </a:lnTo>
                  <a:lnTo>
                    <a:pt x="23" y="23"/>
                  </a:lnTo>
                  <a:lnTo>
                    <a:pt x="17" y="29"/>
                  </a:lnTo>
                  <a:lnTo>
                    <a:pt x="13" y="34"/>
                  </a:lnTo>
                  <a:lnTo>
                    <a:pt x="10" y="41"/>
                  </a:lnTo>
                  <a:lnTo>
                    <a:pt x="6" y="48"/>
                  </a:lnTo>
                  <a:lnTo>
                    <a:pt x="3" y="54"/>
                  </a:lnTo>
                  <a:lnTo>
                    <a:pt x="2" y="62"/>
                  </a:lnTo>
                  <a:lnTo>
                    <a:pt x="1" y="70"/>
                  </a:lnTo>
                  <a:lnTo>
                    <a:pt x="0" y="78"/>
                  </a:lnTo>
                  <a:lnTo>
                    <a:pt x="1" y="86"/>
                  </a:lnTo>
                  <a:lnTo>
                    <a:pt x="2" y="93"/>
                  </a:lnTo>
                  <a:lnTo>
                    <a:pt x="3" y="101"/>
                  </a:lnTo>
                  <a:lnTo>
                    <a:pt x="6" y="108"/>
                  </a:lnTo>
                  <a:lnTo>
                    <a:pt x="10" y="114"/>
                  </a:lnTo>
                  <a:lnTo>
                    <a:pt x="13" y="121"/>
                  </a:lnTo>
                  <a:lnTo>
                    <a:pt x="17" y="128"/>
                  </a:lnTo>
                  <a:lnTo>
                    <a:pt x="23" y="133"/>
                  </a:lnTo>
                  <a:lnTo>
                    <a:pt x="29" y="138"/>
                  </a:lnTo>
                  <a:lnTo>
                    <a:pt x="34" y="142"/>
                  </a:lnTo>
                  <a:lnTo>
                    <a:pt x="41" y="147"/>
                  </a:lnTo>
                  <a:lnTo>
                    <a:pt x="47" y="150"/>
                  </a:lnTo>
                  <a:lnTo>
                    <a:pt x="55" y="152"/>
                  </a:lnTo>
                  <a:lnTo>
                    <a:pt x="62" y="154"/>
                  </a:lnTo>
                  <a:lnTo>
                    <a:pt x="70" y="156"/>
                  </a:lnTo>
                  <a:lnTo>
                    <a:pt x="77" y="156"/>
                  </a:lnTo>
                  <a:lnTo>
                    <a:pt x="85" y="156"/>
                  </a:lnTo>
                  <a:lnTo>
                    <a:pt x="93" y="154"/>
                  </a:lnTo>
                  <a:lnTo>
                    <a:pt x="101" y="152"/>
                  </a:lnTo>
                  <a:lnTo>
                    <a:pt x="107" y="150"/>
                  </a:lnTo>
                  <a:lnTo>
                    <a:pt x="115" y="147"/>
                  </a:lnTo>
                  <a:lnTo>
                    <a:pt x="121" y="142"/>
                  </a:lnTo>
                  <a:lnTo>
                    <a:pt x="127" y="138"/>
                  </a:lnTo>
                  <a:lnTo>
                    <a:pt x="133" y="133"/>
                  </a:lnTo>
                  <a:lnTo>
                    <a:pt x="137" y="128"/>
                  </a:lnTo>
                  <a:lnTo>
                    <a:pt x="142" y="121"/>
                  </a:lnTo>
                  <a:lnTo>
                    <a:pt x="146" y="114"/>
                  </a:lnTo>
                  <a:lnTo>
                    <a:pt x="150" y="108"/>
                  </a:lnTo>
                  <a:lnTo>
                    <a:pt x="152" y="101"/>
                  </a:lnTo>
                  <a:lnTo>
                    <a:pt x="154" y="93"/>
                  </a:lnTo>
                  <a:lnTo>
                    <a:pt x="155" y="86"/>
                  </a:lnTo>
                  <a:lnTo>
                    <a:pt x="155" y="78"/>
                  </a:lnTo>
                  <a:lnTo>
                    <a:pt x="155" y="70"/>
                  </a:lnTo>
                  <a:lnTo>
                    <a:pt x="154" y="62"/>
                  </a:lnTo>
                  <a:lnTo>
                    <a:pt x="152" y="54"/>
                  </a:lnTo>
                  <a:lnTo>
                    <a:pt x="150" y="48"/>
                  </a:lnTo>
                  <a:lnTo>
                    <a:pt x="146" y="41"/>
                  </a:lnTo>
                  <a:lnTo>
                    <a:pt x="142" y="34"/>
                  </a:lnTo>
                  <a:lnTo>
                    <a:pt x="137" y="29"/>
                  </a:lnTo>
                  <a:lnTo>
                    <a:pt x="133" y="23"/>
                  </a:lnTo>
                  <a:lnTo>
                    <a:pt x="127" y="18"/>
                  </a:lnTo>
                  <a:lnTo>
                    <a:pt x="121" y="13"/>
                  </a:lnTo>
                  <a:lnTo>
                    <a:pt x="115" y="10"/>
                  </a:lnTo>
                  <a:lnTo>
                    <a:pt x="107" y="7"/>
                  </a:lnTo>
                  <a:lnTo>
                    <a:pt x="101" y="3"/>
                  </a:lnTo>
                  <a:lnTo>
                    <a:pt x="93" y="2"/>
                  </a:lnTo>
                  <a:lnTo>
                    <a:pt x="85" y="1"/>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14">
              <a:extLst>
                <a:ext uri="{FF2B5EF4-FFF2-40B4-BE49-F238E27FC236}">
                  <a16:creationId xmlns:a16="http://schemas.microsoft.com/office/drawing/2014/main" id="{D9EDCFCF-E835-4BC7-8EEE-1214B6CD8440}"/>
                </a:ext>
              </a:extLst>
            </p:cNvPr>
            <p:cNvSpPr>
              <a:spLocks noEditPoints="1"/>
            </p:cNvSpPr>
            <p:nvPr/>
          </p:nvSpPr>
          <p:spPr bwMode="auto">
            <a:xfrm>
              <a:off x="8377705" y="1543013"/>
              <a:ext cx="48054" cy="48054"/>
            </a:xfrm>
            <a:custGeom>
              <a:avLst/>
              <a:gdLst>
                <a:gd name="T0" fmla="*/ 69 w 155"/>
                <a:gd name="T1" fmla="*/ 123 h 155"/>
                <a:gd name="T2" fmla="*/ 52 w 155"/>
                <a:gd name="T3" fmla="*/ 116 h 155"/>
                <a:gd name="T4" fmla="*/ 39 w 155"/>
                <a:gd name="T5" fmla="*/ 103 h 155"/>
                <a:gd name="T6" fmla="*/ 32 w 155"/>
                <a:gd name="T7" fmla="*/ 86 h 155"/>
                <a:gd name="T8" fmla="*/ 32 w 155"/>
                <a:gd name="T9" fmla="*/ 69 h 155"/>
                <a:gd name="T10" fmla="*/ 39 w 155"/>
                <a:gd name="T11" fmla="*/ 52 h 155"/>
                <a:gd name="T12" fmla="*/ 52 w 155"/>
                <a:gd name="T13" fmla="*/ 39 h 155"/>
                <a:gd name="T14" fmla="*/ 69 w 155"/>
                <a:gd name="T15" fmla="*/ 32 h 155"/>
                <a:gd name="T16" fmla="*/ 87 w 155"/>
                <a:gd name="T17" fmla="*/ 32 h 155"/>
                <a:gd name="T18" fmla="*/ 104 w 155"/>
                <a:gd name="T19" fmla="*/ 39 h 155"/>
                <a:gd name="T20" fmla="*/ 116 w 155"/>
                <a:gd name="T21" fmla="*/ 52 h 155"/>
                <a:gd name="T22" fmla="*/ 123 w 155"/>
                <a:gd name="T23" fmla="*/ 69 h 155"/>
                <a:gd name="T24" fmla="*/ 123 w 155"/>
                <a:gd name="T25" fmla="*/ 86 h 155"/>
                <a:gd name="T26" fmla="*/ 116 w 155"/>
                <a:gd name="T27" fmla="*/ 103 h 155"/>
                <a:gd name="T28" fmla="*/ 104 w 155"/>
                <a:gd name="T29" fmla="*/ 116 h 155"/>
                <a:gd name="T30" fmla="*/ 87 w 155"/>
                <a:gd name="T31" fmla="*/ 123 h 155"/>
                <a:gd name="T32" fmla="*/ 77 w 155"/>
                <a:gd name="T33" fmla="*/ 0 h 155"/>
                <a:gd name="T34" fmla="*/ 62 w 155"/>
                <a:gd name="T35" fmla="*/ 2 h 155"/>
                <a:gd name="T36" fmla="*/ 47 w 155"/>
                <a:gd name="T37" fmla="*/ 6 h 155"/>
                <a:gd name="T38" fmla="*/ 34 w 155"/>
                <a:gd name="T39" fmla="*/ 13 h 155"/>
                <a:gd name="T40" fmla="*/ 23 w 155"/>
                <a:gd name="T41" fmla="*/ 23 h 155"/>
                <a:gd name="T42" fmla="*/ 13 w 155"/>
                <a:gd name="T43" fmla="*/ 34 h 155"/>
                <a:gd name="T44" fmla="*/ 6 w 155"/>
                <a:gd name="T45" fmla="*/ 48 h 155"/>
                <a:gd name="T46" fmla="*/ 2 w 155"/>
                <a:gd name="T47" fmla="*/ 62 h 155"/>
                <a:gd name="T48" fmla="*/ 0 w 155"/>
                <a:gd name="T49" fmla="*/ 78 h 155"/>
                <a:gd name="T50" fmla="*/ 2 w 155"/>
                <a:gd name="T51" fmla="*/ 93 h 155"/>
                <a:gd name="T52" fmla="*/ 6 w 155"/>
                <a:gd name="T53" fmla="*/ 108 h 155"/>
                <a:gd name="T54" fmla="*/ 13 w 155"/>
                <a:gd name="T55" fmla="*/ 121 h 155"/>
                <a:gd name="T56" fmla="*/ 23 w 155"/>
                <a:gd name="T57" fmla="*/ 132 h 155"/>
                <a:gd name="T58" fmla="*/ 34 w 155"/>
                <a:gd name="T59" fmla="*/ 142 h 155"/>
                <a:gd name="T60" fmla="*/ 47 w 155"/>
                <a:gd name="T61" fmla="*/ 149 h 155"/>
                <a:gd name="T62" fmla="*/ 62 w 155"/>
                <a:gd name="T63" fmla="*/ 154 h 155"/>
                <a:gd name="T64" fmla="*/ 77 w 155"/>
                <a:gd name="T65" fmla="*/ 155 h 155"/>
                <a:gd name="T66" fmla="*/ 93 w 155"/>
                <a:gd name="T67" fmla="*/ 154 h 155"/>
                <a:gd name="T68" fmla="*/ 107 w 155"/>
                <a:gd name="T69" fmla="*/ 149 h 155"/>
                <a:gd name="T70" fmla="*/ 121 w 155"/>
                <a:gd name="T71" fmla="*/ 142 h 155"/>
                <a:gd name="T72" fmla="*/ 133 w 155"/>
                <a:gd name="T73" fmla="*/ 132 h 155"/>
                <a:gd name="T74" fmla="*/ 142 w 155"/>
                <a:gd name="T75" fmla="*/ 121 h 155"/>
                <a:gd name="T76" fmla="*/ 150 w 155"/>
                <a:gd name="T77" fmla="*/ 108 h 155"/>
                <a:gd name="T78" fmla="*/ 154 w 155"/>
                <a:gd name="T79" fmla="*/ 93 h 155"/>
                <a:gd name="T80" fmla="*/ 155 w 155"/>
                <a:gd name="T81" fmla="*/ 78 h 155"/>
                <a:gd name="T82" fmla="*/ 154 w 155"/>
                <a:gd name="T83" fmla="*/ 62 h 155"/>
                <a:gd name="T84" fmla="*/ 150 w 155"/>
                <a:gd name="T85" fmla="*/ 48 h 155"/>
                <a:gd name="T86" fmla="*/ 142 w 155"/>
                <a:gd name="T87" fmla="*/ 34 h 155"/>
                <a:gd name="T88" fmla="*/ 133 w 155"/>
                <a:gd name="T89" fmla="*/ 23 h 155"/>
                <a:gd name="T90" fmla="*/ 121 w 155"/>
                <a:gd name="T91" fmla="*/ 13 h 155"/>
                <a:gd name="T92" fmla="*/ 107 w 155"/>
                <a:gd name="T93" fmla="*/ 6 h 155"/>
                <a:gd name="T94" fmla="*/ 93 w 155"/>
                <a:gd name="T95" fmla="*/ 2 h 155"/>
                <a:gd name="T96" fmla="*/ 77 w 155"/>
                <a:gd name="T9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155">
                  <a:moveTo>
                    <a:pt x="77" y="124"/>
                  </a:moveTo>
                  <a:lnTo>
                    <a:pt x="69" y="123"/>
                  </a:lnTo>
                  <a:lnTo>
                    <a:pt x="60" y="121"/>
                  </a:lnTo>
                  <a:lnTo>
                    <a:pt x="52" y="116"/>
                  </a:lnTo>
                  <a:lnTo>
                    <a:pt x="45" y="111"/>
                  </a:lnTo>
                  <a:lnTo>
                    <a:pt x="39" y="103"/>
                  </a:lnTo>
                  <a:lnTo>
                    <a:pt x="35" y="95"/>
                  </a:lnTo>
                  <a:lnTo>
                    <a:pt x="32" y="86"/>
                  </a:lnTo>
                  <a:lnTo>
                    <a:pt x="31" y="78"/>
                  </a:lnTo>
                  <a:lnTo>
                    <a:pt x="32" y="69"/>
                  </a:lnTo>
                  <a:lnTo>
                    <a:pt x="35" y="60"/>
                  </a:lnTo>
                  <a:lnTo>
                    <a:pt x="39" y="52"/>
                  </a:lnTo>
                  <a:lnTo>
                    <a:pt x="45" y="44"/>
                  </a:lnTo>
                  <a:lnTo>
                    <a:pt x="52" y="39"/>
                  </a:lnTo>
                  <a:lnTo>
                    <a:pt x="60" y="34"/>
                  </a:lnTo>
                  <a:lnTo>
                    <a:pt x="69" y="32"/>
                  </a:lnTo>
                  <a:lnTo>
                    <a:pt x="77" y="31"/>
                  </a:lnTo>
                  <a:lnTo>
                    <a:pt x="87" y="32"/>
                  </a:lnTo>
                  <a:lnTo>
                    <a:pt x="96" y="34"/>
                  </a:lnTo>
                  <a:lnTo>
                    <a:pt x="104" y="39"/>
                  </a:lnTo>
                  <a:lnTo>
                    <a:pt x="111" y="44"/>
                  </a:lnTo>
                  <a:lnTo>
                    <a:pt x="116" y="52"/>
                  </a:lnTo>
                  <a:lnTo>
                    <a:pt x="121" y="60"/>
                  </a:lnTo>
                  <a:lnTo>
                    <a:pt x="123" y="69"/>
                  </a:lnTo>
                  <a:lnTo>
                    <a:pt x="124" y="78"/>
                  </a:lnTo>
                  <a:lnTo>
                    <a:pt x="123" y="86"/>
                  </a:lnTo>
                  <a:lnTo>
                    <a:pt x="121" y="95"/>
                  </a:lnTo>
                  <a:lnTo>
                    <a:pt x="116" y="103"/>
                  </a:lnTo>
                  <a:lnTo>
                    <a:pt x="111" y="111"/>
                  </a:lnTo>
                  <a:lnTo>
                    <a:pt x="104" y="116"/>
                  </a:lnTo>
                  <a:lnTo>
                    <a:pt x="96" y="121"/>
                  </a:lnTo>
                  <a:lnTo>
                    <a:pt x="87" y="123"/>
                  </a:lnTo>
                  <a:lnTo>
                    <a:pt x="77" y="124"/>
                  </a:lnTo>
                  <a:close/>
                  <a:moveTo>
                    <a:pt x="77" y="0"/>
                  </a:moveTo>
                  <a:lnTo>
                    <a:pt x="70" y="0"/>
                  </a:lnTo>
                  <a:lnTo>
                    <a:pt x="62" y="2"/>
                  </a:lnTo>
                  <a:lnTo>
                    <a:pt x="55" y="3"/>
                  </a:lnTo>
                  <a:lnTo>
                    <a:pt x="47" y="6"/>
                  </a:lnTo>
                  <a:lnTo>
                    <a:pt x="41" y="10"/>
                  </a:lnTo>
                  <a:lnTo>
                    <a:pt x="34" y="13"/>
                  </a:lnTo>
                  <a:lnTo>
                    <a:pt x="29" y="18"/>
                  </a:lnTo>
                  <a:lnTo>
                    <a:pt x="23" y="23"/>
                  </a:lnTo>
                  <a:lnTo>
                    <a:pt x="17" y="29"/>
                  </a:lnTo>
                  <a:lnTo>
                    <a:pt x="13" y="34"/>
                  </a:lnTo>
                  <a:lnTo>
                    <a:pt x="10" y="41"/>
                  </a:lnTo>
                  <a:lnTo>
                    <a:pt x="6" y="48"/>
                  </a:lnTo>
                  <a:lnTo>
                    <a:pt x="3" y="54"/>
                  </a:lnTo>
                  <a:lnTo>
                    <a:pt x="2" y="62"/>
                  </a:lnTo>
                  <a:lnTo>
                    <a:pt x="1" y="70"/>
                  </a:lnTo>
                  <a:lnTo>
                    <a:pt x="0" y="78"/>
                  </a:lnTo>
                  <a:lnTo>
                    <a:pt x="1" y="85"/>
                  </a:lnTo>
                  <a:lnTo>
                    <a:pt x="2" y="93"/>
                  </a:lnTo>
                  <a:lnTo>
                    <a:pt x="3" y="101"/>
                  </a:lnTo>
                  <a:lnTo>
                    <a:pt x="6" y="108"/>
                  </a:lnTo>
                  <a:lnTo>
                    <a:pt x="10" y="114"/>
                  </a:lnTo>
                  <a:lnTo>
                    <a:pt x="13" y="121"/>
                  </a:lnTo>
                  <a:lnTo>
                    <a:pt x="17" y="126"/>
                  </a:lnTo>
                  <a:lnTo>
                    <a:pt x="23" y="132"/>
                  </a:lnTo>
                  <a:lnTo>
                    <a:pt x="29" y="138"/>
                  </a:lnTo>
                  <a:lnTo>
                    <a:pt x="34" y="142"/>
                  </a:lnTo>
                  <a:lnTo>
                    <a:pt x="41" y="146"/>
                  </a:lnTo>
                  <a:lnTo>
                    <a:pt x="47" y="149"/>
                  </a:lnTo>
                  <a:lnTo>
                    <a:pt x="55" y="152"/>
                  </a:lnTo>
                  <a:lnTo>
                    <a:pt x="62" y="154"/>
                  </a:lnTo>
                  <a:lnTo>
                    <a:pt x="70" y="155"/>
                  </a:lnTo>
                  <a:lnTo>
                    <a:pt x="77" y="155"/>
                  </a:lnTo>
                  <a:lnTo>
                    <a:pt x="85" y="155"/>
                  </a:lnTo>
                  <a:lnTo>
                    <a:pt x="93" y="154"/>
                  </a:lnTo>
                  <a:lnTo>
                    <a:pt x="101" y="152"/>
                  </a:lnTo>
                  <a:lnTo>
                    <a:pt x="107" y="149"/>
                  </a:lnTo>
                  <a:lnTo>
                    <a:pt x="115" y="146"/>
                  </a:lnTo>
                  <a:lnTo>
                    <a:pt x="121" y="142"/>
                  </a:lnTo>
                  <a:lnTo>
                    <a:pt x="127" y="138"/>
                  </a:lnTo>
                  <a:lnTo>
                    <a:pt x="133" y="132"/>
                  </a:lnTo>
                  <a:lnTo>
                    <a:pt x="137" y="126"/>
                  </a:lnTo>
                  <a:lnTo>
                    <a:pt x="142" y="121"/>
                  </a:lnTo>
                  <a:lnTo>
                    <a:pt x="146" y="114"/>
                  </a:lnTo>
                  <a:lnTo>
                    <a:pt x="150" y="108"/>
                  </a:lnTo>
                  <a:lnTo>
                    <a:pt x="152" y="101"/>
                  </a:lnTo>
                  <a:lnTo>
                    <a:pt x="154" y="93"/>
                  </a:lnTo>
                  <a:lnTo>
                    <a:pt x="155" y="85"/>
                  </a:lnTo>
                  <a:lnTo>
                    <a:pt x="155" y="78"/>
                  </a:lnTo>
                  <a:lnTo>
                    <a:pt x="155" y="70"/>
                  </a:lnTo>
                  <a:lnTo>
                    <a:pt x="154" y="62"/>
                  </a:lnTo>
                  <a:lnTo>
                    <a:pt x="152" y="54"/>
                  </a:lnTo>
                  <a:lnTo>
                    <a:pt x="150" y="48"/>
                  </a:lnTo>
                  <a:lnTo>
                    <a:pt x="146" y="41"/>
                  </a:lnTo>
                  <a:lnTo>
                    <a:pt x="142" y="34"/>
                  </a:lnTo>
                  <a:lnTo>
                    <a:pt x="137" y="29"/>
                  </a:lnTo>
                  <a:lnTo>
                    <a:pt x="133" y="23"/>
                  </a:lnTo>
                  <a:lnTo>
                    <a:pt x="127" y="18"/>
                  </a:lnTo>
                  <a:lnTo>
                    <a:pt x="121" y="13"/>
                  </a:lnTo>
                  <a:lnTo>
                    <a:pt x="115" y="10"/>
                  </a:lnTo>
                  <a:lnTo>
                    <a:pt x="107" y="6"/>
                  </a:lnTo>
                  <a:lnTo>
                    <a:pt x="101" y="3"/>
                  </a:lnTo>
                  <a:lnTo>
                    <a:pt x="93" y="2"/>
                  </a:lnTo>
                  <a:lnTo>
                    <a:pt x="85" y="0"/>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23" name="Group 178">
            <a:extLst>
              <a:ext uri="{FF2B5EF4-FFF2-40B4-BE49-F238E27FC236}">
                <a16:creationId xmlns:a16="http://schemas.microsoft.com/office/drawing/2014/main" id="{E0D8436F-86E3-4612-8ABC-C376332DC1C2}"/>
              </a:ext>
            </a:extLst>
          </p:cNvPr>
          <p:cNvGrpSpPr>
            <a:grpSpLocks noChangeAspect="1"/>
          </p:cNvGrpSpPr>
          <p:nvPr/>
        </p:nvGrpSpPr>
        <p:grpSpPr>
          <a:xfrm>
            <a:off x="4450180" y="5956111"/>
            <a:ext cx="285619" cy="285619"/>
            <a:chOff x="6439533" y="1356959"/>
            <a:chExt cx="287091" cy="287091"/>
          </a:xfrm>
          <a:solidFill>
            <a:schemeClr val="bg2"/>
          </a:solidFill>
          <a:effectLst/>
        </p:grpSpPr>
        <p:sp>
          <p:nvSpPr>
            <p:cNvPr id="1424" name="Freeform 235">
              <a:extLst>
                <a:ext uri="{FF2B5EF4-FFF2-40B4-BE49-F238E27FC236}">
                  <a16:creationId xmlns:a16="http://schemas.microsoft.com/office/drawing/2014/main" id="{A331ECFA-E2C1-4D60-9982-DD55FADACD0C}"/>
                </a:ext>
              </a:extLst>
            </p:cNvPr>
            <p:cNvSpPr>
              <a:spLocks noEditPoints="1"/>
            </p:cNvSpPr>
            <p:nvPr/>
          </p:nvSpPr>
          <p:spPr bwMode="auto">
            <a:xfrm>
              <a:off x="6439533" y="1356959"/>
              <a:ext cx="287091" cy="287091"/>
            </a:xfrm>
            <a:custGeom>
              <a:avLst/>
              <a:gdLst>
                <a:gd name="T0" fmla="*/ 893 w 932"/>
                <a:gd name="T1" fmla="*/ 352 h 932"/>
                <a:gd name="T2" fmla="*/ 864 w 932"/>
                <a:gd name="T3" fmla="*/ 371 h 932"/>
                <a:gd name="T4" fmla="*/ 854 w 932"/>
                <a:gd name="T5" fmla="*/ 124 h 932"/>
                <a:gd name="T6" fmla="*/ 888 w 932"/>
                <a:gd name="T7" fmla="*/ 138 h 932"/>
                <a:gd name="T8" fmla="*/ 901 w 932"/>
                <a:gd name="T9" fmla="*/ 170 h 932"/>
                <a:gd name="T10" fmla="*/ 323 w 932"/>
                <a:gd name="T11" fmla="*/ 435 h 932"/>
                <a:gd name="T12" fmla="*/ 313 w 932"/>
                <a:gd name="T13" fmla="*/ 441 h 932"/>
                <a:gd name="T14" fmla="*/ 311 w 932"/>
                <a:gd name="T15" fmla="*/ 901 h 932"/>
                <a:gd name="T16" fmla="*/ 184 w 932"/>
                <a:gd name="T17" fmla="*/ 497 h 932"/>
                <a:gd name="T18" fmla="*/ 173 w 932"/>
                <a:gd name="T19" fmla="*/ 469 h 932"/>
                <a:gd name="T20" fmla="*/ 152 w 932"/>
                <a:gd name="T21" fmla="*/ 448 h 932"/>
                <a:gd name="T22" fmla="*/ 124 w 932"/>
                <a:gd name="T23" fmla="*/ 437 h 932"/>
                <a:gd name="T24" fmla="*/ 31 w 932"/>
                <a:gd name="T25" fmla="*/ 139 h 932"/>
                <a:gd name="T26" fmla="*/ 40 w 932"/>
                <a:gd name="T27" fmla="*/ 97 h 932"/>
                <a:gd name="T28" fmla="*/ 63 w 932"/>
                <a:gd name="T29" fmla="*/ 62 h 932"/>
                <a:gd name="T30" fmla="*/ 98 w 932"/>
                <a:gd name="T31" fmla="*/ 39 h 932"/>
                <a:gd name="T32" fmla="*/ 140 w 932"/>
                <a:gd name="T33" fmla="*/ 31 h 932"/>
                <a:gd name="T34" fmla="*/ 328 w 932"/>
                <a:gd name="T35" fmla="*/ 36 h 932"/>
                <a:gd name="T36" fmla="*/ 364 w 932"/>
                <a:gd name="T37" fmla="*/ 56 h 932"/>
                <a:gd name="T38" fmla="*/ 391 w 932"/>
                <a:gd name="T39" fmla="*/ 88 h 932"/>
                <a:gd name="T40" fmla="*/ 403 w 932"/>
                <a:gd name="T41" fmla="*/ 128 h 932"/>
                <a:gd name="T42" fmla="*/ 31 w 932"/>
                <a:gd name="T43" fmla="*/ 466 h 932"/>
                <a:gd name="T44" fmla="*/ 134 w 932"/>
                <a:gd name="T45" fmla="*/ 474 h 932"/>
                <a:gd name="T46" fmla="*/ 154 w 932"/>
                <a:gd name="T47" fmla="*/ 504 h 932"/>
                <a:gd name="T48" fmla="*/ 129 w 932"/>
                <a:gd name="T49" fmla="*/ 900 h 932"/>
                <a:gd name="T50" fmla="*/ 88 w 932"/>
                <a:gd name="T51" fmla="*/ 888 h 932"/>
                <a:gd name="T52" fmla="*/ 55 w 932"/>
                <a:gd name="T53" fmla="*/ 861 h 932"/>
                <a:gd name="T54" fmla="*/ 35 w 932"/>
                <a:gd name="T55" fmla="*/ 825 h 932"/>
                <a:gd name="T56" fmla="*/ 854 w 932"/>
                <a:gd name="T57" fmla="*/ 92 h 932"/>
                <a:gd name="T58" fmla="*/ 473 w 932"/>
                <a:gd name="T59" fmla="*/ 96 h 932"/>
                <a:gd name="T60" fmla="*/ 467 w 932"/>
                <a:gd name="T61" fmla="*/ 106 h 932"/>
                <a:gd name="T62" fmla="*/ 435 w 932"/>
                <a:gd name="T63" fmla="*/ 139 h 932"/>
                <a:gd name="T64" fmla="*/ 424 w 932"/>
                <a:gd name="T65" fmla="*/ 86 h 932"/>
                <a:gd name="T66" fmla="*/ 394 w 932"/>
                <a:gd name="T67" fmla="*/ 40 h 932"/>
                <a:gd name="T68" fmla="*/ 350 w 932"/>
                <a:gd name="T69" fmla="*/ 10 h 932"/>
                <a:gd name="T70" fmla="*/ 295 w 932"/>
                <a:gd name="T71" fmla="*/ 0 h 932"/>
                <a:gd name="T72" fmla="*/ 98 w 932"/>
                <a:gd name="T73" fmla="*/ 6 h 932"/>
                <a:gd name="T74" fmla="*/ 51 w 932"/>
                <a:gd name="T75" fmla="*/ 31 h 932"/>
                <a:gd name="T76" fmla="*/ 17 w 932"/>
                <a:gd name="T77" fmla="*/ 74 h 932"/>
                <a:gd name="T78" fmla="*/ 1 w 932"/>
                <a:gd name="T79" fmla="*/ 126 h 932"/>
                <a:gd name="T80" fmla="*/ 3 w 932"/>
                <a:gd name="T81" fmla="*/ 820 h 932"/>
                <a:gd name="T82" fmla="*/ 23 w 932"/>
                <a:gd name="T83" fmla="*/ 870 h 932"/>
                <a:gd name="T84" fmla="*/ 62 w 932"/>
                <a:gd name="T85" fmla="*/ 908 h 932"/>
                <a:gd name="T86" fmla="*/ 112 w 932"/>
                <a:gd name="T87" fmla="*/ 929 h 932"/>
                <a:gd name="T88" fmla="*/ 330 w 932"/>
                <a:gd name="T89" fmla="*/ 932 h 932"/>
                <a:gd name="T90" fmla="*/ 339 w 932"/>
                <a:gd name="T91" fmla="*/ 926 h 932"/>
                <a:gd name="T92" fmla="*/ 342 w 932"/>
                <a:gd name="T93" fmla="*/ 466 h 932"/>
                <a:gd name="T94" fmla="*/ 428 w 932"/>
                <a:gd name="T95" fmla="*/ 464 h 932"/>
                <a:gd name="T96" fmla="*/ 434 w 932"/>
                <a:gd name="T97" fmla="*/ 454 h 932"/>
                <a:gd name="T98" fmla="*/ 467 w 932"/>
                <a:gd name="T99" fmla="*/ 388 h 932"/>
                <a:gd name="T100" fmla="*/ 471 w 932"/>
                <a:gd name="T101" fmla="*/ 399 h 932"/>
                <a:gd name="T102" fmla="*/ 482 w 932"/>
                <a:gd name="T103" fmla="*/ 404 h 932"/>
                <a:gd name="T104" fmla="*/ 878 w 932"/>
                <a:gd name="T105" fmla="*/ 400 h 932"/>
                <a:gd name="T106" fmla="*/ 904 w 932"/>
                <a:gd name="T107" fmla="*/ 386 h 932"/>
                <a:gd name="T108" fmla="*/ 923 w 932"/>
                <a:gd name="T109" fmla="*/ 364 h 932"/>
                <a:gd name="T110" fmla="*/ 932 w 932"/>
                <a:gd name="T111" fmla="*/ 334 h 932"/>
                <a:gd name="T112" fmla="*/ 931 w 932"/>
                <a:gd name="T113" fmla="*/ 155 h 932"/>
                <a:gd name="T114" fmla="*/ 919 w 932"/>
                <a:gd name="T115" fmla="*/ 127 h 932"/>
                <a:gd name="T116" fmla="*/ 898 w 932"/>
                <a:gd name="T117" fmla="*/ 106 h 932"/>
                <a:gd name="T118" fmla="*/ 870 w 932"/>
                <a:gd name="T119" fmla="*/ 95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2" h="932">
                  <a:moveTo>
                    <a:pt x="901" y="326"/>
                  </a:moveTo>
                  <a:lnTo>
                    <a:pt x="900" y="336"/>
                  </a:lnTo>
                  <a:lnTo>
                    <a:pt x="898" y="345"/>
                  </a:lnTo>
                  <a:lnTo>
                    <a:pt x="893" y="352"/>
                  </a:lnTo>
                  <a:lnTo>
                    <a:pt x="888" y="359"/>
                  </a:lnTo>
                  <a:lnTo>
                    <a:pt x="881" y="365"/>
                  </a:lnTo>
                  <a:lnTo>
                    <a:pt x="873" y="369"/>
                  </a:lnTo>
                  <a:lnTo>
                    <a:pt x="864" y="371"/>
                  </a:lnTo>
                  <a:lnTo>
                    <a:pt x="854" y="372"/>
                  </a:lnTo>
                  <a:lnTo>
                    <a:pt x="498" y="372"/>
                  </a:lnTo>
                  <a:lnTo>
                    <a:pt x="498" y="124"/>
                  </a:lnTo>
                  <a:lnTo>
                    <a:pt x="854" y="124"/>
                  </a:lnTo>
                  <a:lnTo>
                    <a:pt x="864" y="125"/>
                  </a:lnTo>
                  <a:lnTo>
                    <a:pt x="873" y="128"/>
                  </a:lnTo>
                  <a:lnTo>
                    <a:pt x="881" y="132"/>
                  </a:lnTo>
                  <a:lnTo>
                    <a:pt x="888" y="138"/>
                  </a:lnTo>
                  <a:lnTo>
                    <a:pt x="893" y="145"/>
                  </a:lnTo>
                  <a:lnTo>
                    <a:pt x="898" y="152"/>
                  </a:lnTo>
                  <a:lnTo>
                    <a:pt x="900" y="161"/>
                  </a:lnTo>
                  <a:lnTo>
                    <a:pt x="901" y="170"/>
                  </a:lnTo>
                  <a:lnTo>
                    <a:pt x="901" y="326"/>
                  </a:lnTo>
                  <a:close/>
                  <a:moveTo>
                    <a:pt x="404" y="435"/>
                  </a:moveTo>
                  <a:lnTo>
                    <a:pt x="327" y="435"/>
                  </a:lnTo>
                  <a:lnTo>
                    <a:pt x="323" y="435"/>
                  </a:lnTo>
                  <a:lnTo>
                    <a:pt x="320" y="436"/>
                  </a:lnTo>
                  <a:lnTo>
                    <a:pt x="318" y="438"/>
                  </a:lnTo>
                  <a:lnTo>
                    <a:pt x="315" y="439"/>
                  </a:lnTo>
                  <a:lnTo>
                    <a:pt x="313" y="441"/>
                  </a:lnTo>
                  <a:lnTo>
                    <a:pt x="312" y="445"/>
                  </a:lnTo>
                  <a:lnTo>
                    <a:pt x="311" y="447"/>
                  </a:lnTo>
                  <a:lnTo>
                    <a:pt x="311" y="450"/>
                  </a:lnTo>
                  <a:lnTo>
                    <a:pt x="311" y="901"/>
                  </a:lnTo>
                  <a:lnTo>
                    <a:pt x="187" y="901"/>
                  </a:lnTo>
                  <a:lnTo>
                    <a:pt x="187" y="512"/>
                  </a:lnTo>
                  <a:lnTo>
                    <a:pt x="185" y="505"/>
                  </a:lnTo>
                  <a:lnTo>
                    <a:pt x="184" y="497"/>
                  </a:lnTo>
                  <a:lnTo>
                    <a:pt x="183" y="489"/>
                  </a:lnTo>
                  <a:lnTo>
                    <a:pt x="180" y="482"/>
                  </a:lnTo>
                  <a:lnTo>
                    <a:pt x="177" y="476"/>
                  </a:lnTo>
                  <a:lnTo>
                    <a:pt x="173" y="469"/>
                  </a:lnTo>
                  <a:lnTo>
                    <a:pt x="169" y="464"/>
                  </a:lnTo>
                  <a:lnTo>
                    <a:pt x="163" y="458"/>
                  </a:lnTo>
                  <a:lnTo>
                    <a:pt x="158" y="452"/>
                  </a:lnTo>
                  <a:lnTo>
                    <a:pt x="152" y="448"/>
                  </a:lnTo>
                  <a:lnTo>
                    <a:pt x="145" y="445"/>
                  </a:lnTo>
                  <a:lnTo>
                    <a:pt x="139" y="441"/>
                  </a:lnTo>
                  <a:lnTo>
                    <a:pt x="132" y="438"/>
                  </a:lnTo>
                  <a:lnTo>
                    <a:pt x="124" y="437"/>
                  </a:lnTo>
                  <a:lnTo>
                    <a:pt x="117" y="436"/>
                  </a:lnTo>
                  <a:lnTo>
                    <a:pt x="109" y="435"/>
                  </a:lnTo>
                  <a:lnTo>
                    <a:pt x="31" y="435"/>
                  </a:lnTo>
                  <a:lnTo>
                    <a:pt x="31" y="139"/>
                  </a:lnTo>
                  <a:lnTo>
                    <a:pt x="31" y="128"/>
                  </a:lnTo>
                  <a:lnTo>
                    <a:pt x="33" y="118"/>
                  </a:lnTo>
                  <a:lnTo>
                    <a:pt x="35" y="107"/>
                  </a:lnTo>
                  <a:lnTo>
                    <a:pt x="40" y="97"/>
                  </a:lnTo>
                  <a:lnTo>
                    <a:pt x="44" y="88"/>
                  </a:lnTo>
                  <a:lnTo>
                    <a:pt x="50" y="79"/>
                  </a:lnTo>
                  <a:lnTo>
                    <a:pt x="55" y="70"/>
                  </a:lnTo>
                  <a:lnTo>
                    <a:pt x="63" y="62"/>
                  </a:lnTo>
                  <a:lnTo>
                    <a:pt x="71" y="56"/>
                  </a:lnTo>
                  <a:lnTo>
                    <a:pt x="79" y="49"/>
                  </a:lnTo>
                  <a:lnTo>
                    <a:pt x="88" y="44"/>
                  </a:lnTo>
                  <a:lnTo>
                    <a:pt x="98" y="39"/>
                  </a:lnTo>
                  <a:lnTo>
                    <a:pt x="108" y="36"/>
                  </a:lnTo>
                  <a:lnTo>
                    <a:pt x="118" y="34"/>
                  </a:lnTo>
                  <a:lnTo>
                    <a:pt x="129" y="31"/>
                  </a:lnTo>
                  <a:lnTo>
                    <a:pt x="140" y="31"/>
                  </a:lnTo>
                  <a:lnTo>
                    <a:pt x="295" y="31"/>
                  </a:lnTo>
                  <a:lnTo>
                    <a:pt x="307" y="31"/>
                  </a:lnTo>
                  <a:lnTo>
                    <a:pt x="317" y="32"/>
                  </a:lnTo>
                  <a:lnTo>
                    <a:pt x="328" y="36"/>
                  </a:lnTo>
                  <a:lnTo>
                    <a:pt x="338" y="39"/>
                  </a:lnTo>
                  <a:lnTo>
                    <a:pt x="347" y="44"/>
                  </a:lnTo>
                  <a:lnTo>
                    <a:pt x="355" y="49"/>
                  </a:lnTo>
                  <a:lnTo>
                    <a:pt x="364" y="56"/>
                  </a:lnTo>
                  <a:lnTo>
                    <a:pt x="372" y="62"/>
                  </a:lnTo>
                  <a:lnTo>
                    <a:pt x="379" y="70"/>
                  </a:lnTo>
                  <a:lnTo>
                    <a:pt x="385" y="79"/>
                  </a:lnTo>
                  <a:lnTo>
                    <a:pt x="391" y="88"/>
                  </a:lnTo>
                  <a:lnTo>
                    <a:pt x="395" y="97"/>
                  </a:lnTo>
                  <a:lnTo>
                    <a:pt x="399" y="107"/>
                  </a:lnTo>
                  <a:lnTo>
                    <a:pt x="402" y="118"/>
                  </a:lnTo>
                  <a:lnTo>
                    <a:pt x="403" y="128"/>
                  </a:lnTo>
                  <a:lnTo>
                    <a:pt x="404" y="139"/>
                  </a:lnTo>
                  <a:lnTo>
                    <a:pt x="404" y="435"/>
                  </a:lnTo>
                  <a:close/>
                  <a:moveTo>
                    <a:pt x="31" y="792"/>
                  </a:moveTo>
                  <a:lnTo>
                    <a:pt x="31" y="466"/>
                  </a:lnTo>
                  <a:lnTo>
                    <a:pt x="109" y="466"/>
                  </a:lnTo>
                  <a:lnTo>
                    <a:pt x="118" y="467"/>
                  </a:lnTo>
                  <a:lnTo>
                    <a:pt x="127" y="470"/>
                  </a:lnTo>
                  <a:lnTo>
                    <a:pt x="134" y="474"/>
                  </a:lnTo>
                  <a:lnTo>
                    <a:pt x="142" y="479"/>
                  </a:lnTo>
                  <a:lnTo>
                    <a:pt x="148" y="487"/>
                  </a:lnTo>
                  <a:lnTo>
                    <a:pt x="152" y="495"/>
                  </a:lnTo>
                  <a:lnTo>
                    <a:pt x="154" y="504"/>
                  </a:lnTo>
                  <a:lnTo>
                    <a:pt x="155" y="512"/>
                  </a:lnTo>
                  <a:lnTo>
                    <a:pt x="155" y="901"/>
                  </a:lnTo>
                  <a:lnTo>
                    <a:pt x="140" y="901"/>
                  </a:lnTo>
                  <a:lnTo>
                    <a:pt x="129" y="900"/>
                  </a:lnTo>
                  <a:lnTo>
                    <a:pt x="118" y="899"/>
                  </a:lnTo>
                  <a:lnTo>
                    <a:pt x="108" y="896"/>
                  </a:lnTo>
                  <a:lnTo>
                    <a:pt x="98" y="892"/>
                  </a:lnTo>
                  <a:lnTo>
                    <a:pt x="88" y="888"/>
                  </a:lnTo>
                  <a:lnTo>
                    <a:pt x="79" y="882"/>
                  </a:lnTo>
                  <a:lnTo>
                    <a:pt x="71" y="876"/>
                  </a:lnTo>
                  <a:lnTo>
                    <a:pt x="63" y="869"/>
                  </a:lnTo>
                  <a:lnTo>
                    <a:pt x="55" y="861"/>
                  </a:lnTo>
                  <a:lnTo>
                    <a:pt x="50" y="854"/>
                  </a:lnTo>
                  <a:lnTo>
                    <a:pt x="44" y="845"/>
                  </a:lnTo>
                  <a:lnTo>
                    <a:pt x="40" y="835"/>
                  </a:lnTo>
                  <a:lnTo>
                    <a:pt x="35" y="825"/>
                  </a:lnTo>
                  <a:lnTo>
                    <a:pt x="33" y="815"/>
                  </a:lnTo>
                  <a:lnTo>
                    <a:pt x="31" y="804"/>
                  </a:lnTo>
                  <a:lnTo>
                    <a:pt x="31" y="792"/>
                  </a:lnTo>
                  <a:close/>
                  <a:moveTo>
                    <a:pt x="854" y="92"/>
                  </a:moveTo>
                  <a:lnTo>
                    <a:pt x="482" y="92"/>
                  </a:lnTo>
                  <a:lnTo>
                    <a:pt x="479" y="94"/>
                  </a:lnTo>
                  <a:lnTo>
                    <a:pt x="475" y="95"/>
                  </a:lnTo>
                  <a:lnTo>
                    <a:pt x="473" y="96"/>
                  </a:lnTo>
                  <a:lnTo>
                    <a:pt x="471" y="98"/>
                  </a:lnTo>
                  <a:lnTo>
                    <a:pt x="469" y="100"/>
                  </a:lnTo>
                  <a:lnTo>
                    <a:pt x="468" y="102"/>
                  </a:lnTo>
                  <a:lnTo>
                    <a:pt x="467" y="106"/>
                  </a:lnTo>
                  <a:lnTo>
                    <a:pt x="467" y="108"/>
                  </a:lnTo>
                  <a:lnTo>
                    <a:pt x="467" y="248"/>
                  </a:lnTo>
                  <a:lnTo>
                    <a:pt x="435" y="248"/>
                  </a:lnTo>
                  <a:lnTo>
                    <a:pt x="435" y="139"/>
                  </a:lnTo>
                  <a:lnTo>
                    <a:pt x="434" y="126"/>
                  </a:lnTo>
                  <a:lnTo>
                    <a:pt x="432" y="111"/>
                  </a:lnTo>
                  <a:lnTo>
                    <a:pt x="429" y="98"/>
                  </a:lnTo>
                  <a:lnTo>
                    <a:pt x="424" y="86"/>
                  </a:lnTo>
                  <a:lnTo>
                    <a:pt x="418" y="74"/>
                  </a:lnTo>
                  <a:lnTo>
                    <a:pt x="411" y="61"/>
                  </a:lnTo>
                  <a:lnTo>
                    <a:pt x="403" y="50"/>
                  </a:lnTo>
                  <a:lnTo>
                    <a:pt x="394" y="40"/>
                  </a:lnTo>
                  <a:lnTo>
                    <a:pt x="384" y="31"/>
                  </a:lnTo>
                  <a:lnTo>
                    <a:pt x="373" y="24"/>
                  </a:lnTo>
                  <a:lnTo>
                    <a:pt x="362" y="17"/>
                  </a:lnTo>
                  <a:lnTo>
                    <a:pt x="350" y="10"/>
                  </a:lnTo>
                  <a:lnTo>
                    <a:pt x="337" y="6"/>
                  </a:lnTo>
                  <a:lnTo>
                    <a:pt x="323" y="2"/>
                  </a:lnTo>
                  <a:lnTo>
                    <a:pt x="310" y="0"/>
                  </a:lnTo>
                  <a:lnTo>
                    <a:pt x="295" y="0"/>
                  </a:lnTo>
                  <a:lnTo>
                    <a:pt x="140" y="0"/>
                  </a:lnTo>
                  <a:lnTo>
                    <a:pt x="125" y="0"/>
                  </a:lnTo>
                  <a:lnTo>
                    <a:pt x="112" y="2"/>
                  </a:lnTo>
                  <a:lnTo>
                    <a:pt x="98" y="6"/>
                  </a:lnTo>
                  <a:lnTo>
                    <a:pt x="85" y="10"/>
                  </a:lnTo>
                  <a:lnTo>
                    <a:pt x="73" y="17"/>
                  </a:lnTo>
                  <a:lnTo>
                    <a:pt x="62" y="24"/>
                  </a:lnTo>
                  <a:lnTo>
                    <a:pt x="51" y="31"/>
                  </a:lnTo>
                  <a:lnTo>
                    <a:pt x="41" y="40"/>
                  </a:lnTo>
                  <a:lnTo>
                    <a:pt x="32" y="50"/>
                  </a:lnTo>
                  <a:lnTo>
                    <a:pt x="23" y="61"/>
                  </a:lnTo>
                  <a:lnTo>
                    <a:pt x="17" y="74"/>
                  </a:lnTo>
                  <a:lnTo>
                    <a:pt x="11" y="86"/>
                  </a:lnTo>
                  <a:lnTo>
                    <a:pt x="7" y="98"/>
                  </a:lnTo>
                  <a:lnTo>
                    <a:pt x="3" y="111"/>
                  </a:lnTo>
                  <a:lnTo>
                    <a:pt x="1" y="126"/>
                  </a:lnTo>
                  <a:lnTo>
                    <a:pt x="0" y="139"/>
                  </a:lnTo>
                  <a:lnTo>
                    <a:pt x="0" y="792"/>
                  </a:lnTo>
                  <a:lnTo>
                    <a:pt x="1" y="807"/>
                  </a:lnTo>
                  <a:lnTo>
                    <a:pt x="3" y="820"/>
                  </a:lnTo>
                  <a:lnTo>
                    <a:pt x="7" y="834"/>
                  </a:lnTo>
                  <a:lnTo>
                    <a:pt x="11" y="847"/>
                  </a:lnTo>
                  <a:lnTo>
                    <a:pt x="17" y="859"/>
                  </a:lnTo>
                  <a:lnTo>
                    <a:pt x="23" y="870"/>
                  </a:lnTo>
                  <a:lnTo>
                    <a:pt x="32" y="881"/>
                  </a:lnTo>
                  <a:lnTo>
                    <a:pt x="41" y="891"/>
                  </a:lnTo>
                  <a:lnTo>
                    <a:pt x="51" y="900"/>
                  </a:lnTo>
                  <a:lnTo>
                    <a:pt x="62" y="908"/>
                  </a:lnTo>
                  <a:lnTo>
                    <a:pt x="73" y="916"/>
                  </a:lnTo>
                  <a:lnTo>
                    <a:pt x="85" y="921"/>
                  </a:lnTo>
                  <a:lnTo>
                    <a:pt x="98" y="926"/>
                  </a:lnTo>
                  <a:lnTo>
                    <a:pt x="112" y="929"/>
                  </a:lnTo>
                  <a:lnTo>
                    <a:pt x="125" y="931"/>
                  </a:lnTo>
                  <a:lnTo>
                    <a:pt x="140" y="932"/>
                  </a:lnTo>
                  <a:lnTo>
                    <a:pt x="327" y="932"/>
                  </a:lnTo>
                  <a:lnTo>
                    <a:pt x="330" y="932"/>
                  </a:lnTo>
                  <a:lnTo>
                    <a:pt x="332" y="931"/>
                  </a:lnTo>
                  <a:lnTo>
                    <a:pt x="335" y="929"/>
                  </a:lnTo>
                  <a:lnTo>
                    <a:pt x="338" y="928"/>
                  </a:lnTo>
                  <a:lnTo>
                    <a:pt x="339" y="926"/>
                  </a:lnTo>
                  <a:lnTo>
                    <a:pt x="341" y="922"/>
                  </a:lnTo>
                  <a:lnTo>
                    <a:pt x="341" y="920"/>
                  </a:lnTo>
                  <a:lnTo>
                    <a:pt x="342" y="917"/>
                  </a:lnTo>
                  <a:lnTo>
                    <a:pt x="342" y="466"/>
                  </a:lnTo>
                  <a:lnTo>
                    <a:pt x="420" y="466"/>
                  </a:lnTo>
                  <a:lnTo>
                    <a:pt x="422" y="466"/>
                  </a:lnTo>
                  <a:lnTo>
                    <a:pt x="425" y="465"/>
                  </a:lnTo>
                  <a:lnTo>
                    <a:pt x="428" y="464"/>
                  </a:lnTo>
                  <a:lnTo>
                    <a:pt x="431" y="461"/>
                  </a:lnTo>
                  <a:lnTo>
                    <a:pt x="432" y="459"/>
                  </a:lnTo>
                  <a:lnTo>
                    <a:pt x="434" y="457"/>
                  </a:lnTo>
                  <a:lnTo>
                    <a:pt x="434" y="454"/>
                  </a:lnTo>
                  <a:lnTo>
                    <a:pt x="435" y="450"/>
                  </a:lnTo>
                  <a:lnTo>
                    <a:pt x="435" y="279"/>
                  </a:lnTo>
                  <a:lnTo>
                    <a:pt x="467" y="279"/>
                  </a:lnTo>
                  <a:lnTo>
                    <a:pt x="467" y="388"/>
                  </a:lnTo>
                  <a:lnTo>
                    <a:pt x="467" y="391"/>
                  </a:lnTo>
                  <a:lnTo>
                    <a:pt x="468" y="395"/>
                  </a:lnTo>
                  <a:lnTo>
                    <a:pt x="469" y="397"/>
                  </a:lnTo>
                  <a:lnTo>
                    <a:pt x="471" y="399"/>
                  </a:lnTo>
                  <a:lnTo>
                    <a:pt x="473" y="401"/>
                  </a:lnTo>
                  <a:lnTo>
                    <a:pt x="475" y="402"/>
                  </a:lnTo>
                  <a:lnTo>
                    <a:pt x="479" y="404"/>
                  </a:lnTo>
                  <a:lnTo>
                    <a:pt x="482" y="404"/>
                  </a:lnTo>
                  <a:lnTo>
                    <a:pt x="854" y="404"/>
                  </a:lnTo>
                  <a:lnTo>
                    <a:pt x="862" y="404"/>
                  </a:lnTo>
                  <a:lnTo>
                    <a:pt x="870" y="402"/>
                  </a:lnTo>
                  <a:lnTo>
                    <a:pt x="878" y="400"/>
                  </a:lnTo>
                  <a:lnTo>
                    <a:pt x="885" y="398"/>
                  </a:lnTo>
                  <a:lnTo>
                    <a:pt x="892" y="395"/>
                  </a:lnTo>
                  <a:lnTo>
                    <a:pt x="898" y="390"/>
                  </a:lnTo>
                  <a:lnTo>
                    <a:pt x="904" y="386"/>
                  </a:lnTo>
                  <a:lnTo>
                    <a:pt x="910" y="381"/>
                  </a:lnTo>
                  <a:lnTo>
                    <a:pt x="914" y="376"/>
                  </a:lnTo>
                  <a:lnTo>
                    <a:pt x="919" y="369"/>
                  </a:lnTo>
                  <a:lnTo>
                    <a:pt x="923" y="364"/>
                  </a:lnTo>
                  <a:lnTo>
                    <a:pt x="926" y="356"/>
                  </a:lnTo>
                  <a:lnTo>
                    <a:pt x="929" y="349"/>
                  </a:lnTo>
                  <a:lnTo>
                    <a:pt x="931" y="341"/>
                  </a:lnTo>
                  <a:lnTo>
                    <a:pt x="932" y="334"/>
                  </a:lnTo>
                  <a:lnTo>
                    <a:pt x="932" y="326"/>
                  </a:lnTo>
                  <a:lnTo>
                    <a:pt x="932" y="170"/>
                  </a:lnTo>
                  <a:lnTo>
                    <a:pt x="932" y="162"/>
                  </a:lnTo>
                  <a:lnTo>
                    <a:pt x="931" y="155"/>
                  </a:lnTo>
                  <a:lnTo>
                    <a:pt x="929" y="148"/>
                  </a:lnTo>
                  <a:lnTo>
                    <a:pt x="926" y="140"/>
                  </a:lnTo>
                  <a:lnTo>
                    <a:pt x="923" y="134"/>
                  </a:lnTo>
                  <a:lnTo>
                    <a:pt x="919" y="127"/>
                  </a:lnTo>
                  <a:lnTo>
                    <a:pt x="914" y="121"/>
                  </a:lnTo>
                  <a:lnTo>
                    <a:pt x="910" y="116"/>
                  </a:lnTo>
                  <a:lnTo>
                    <a:pt x="904" y="110"/>
                  </a:lnTo>
                  <a:lnTo>
                    <a:pt x="898" y="106"/>
                  </a:lnTo>
                  <a:lnTo>
                    <a:pt x="892" y="102"/>
                  </a:lnTo>
                  <a:lnTo>
                    <a:pt x="885" y="99"/>
                  </a:lnTo>
                  <a:lnTo>
                    <a:pt x="878" y="97"/>
                  </a:lnTo>
                  <a:lnTo>
                    <a:pt x="870" y="95"/>
                  </a:lnTo>
                  <a:lnTo>
                    <a:pt x="862" y="94"/>
                  </a:lnTo>
                  <a:lnTo>
                    <a:pt x="85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36">
              <a:extLst>
                <a:ext uri="{FF2B5EF4-FFF2-40B4-BE49-F238E27FC236}">
                  <a16:creationId xmlns:a16="http://schemas.microsoft.com/office/drawing/2014/main" id="{E4A9E282-7430-49EB-81AD-63650062AB3E}"/>
                </a:ext>
              </a:extLst>
            </p:cNvPr>
            <p:cNvSpPr>
              <a:spLocks noEditPoints="1"/>
            </p:cNvSpPr>
            <p:nvPr/>
          </p:nvSpPr>
          <p:spPr bwMode="auto">
            <a:xfrm>
              <a:off x="6462944" y="1376673"/>
              <a:ext cx="86250" cy="85018"/>
            </a:xfrm>
            <a:custGeom>
              <a:avLst/>
              <a:gdLst>
                <a:gd name="T0" fmla="*/ 117 w 280"/>
                <a:gd name="T1" fmla="*/ 246 h 279"/>
                <a:gd name="T2" fmla="*/ 87 w 280"/>
                <a:gd name="T3" fmla="*/ 235 h 279"/>
                <a:gd name="T4" fmla="*/ 63 w 280"/>
                <a:gd name="T5" fmla="*/ 217 h 279"/>
                <a:gd name="T6" fmla="*/ 44 w 280"/>
                <a:gd name="T7" fmla="*/ 192 h 279"/>
                <a:gd name="T8" fmla="*/ 33 w 280"/>
                <a:gd name="T9" fmla="*/ 162 h 279"/>
                <a:gd name="T10" fmla="*/ 31 w 280"/>
                <a:gd name="T11" fmla="*/ 128 h 279"/>
                <a:gd name="T12" fmla="*/ 40 w 280"/>
                <a:gd name="T13" fmla="*/ 97 h 279"/>
                <a:gd name="T14" fmla="*/ 55 w 280"/>
                <a:gd name="T15" fmla="*/ 70 h 279"/>
                <a:gd name="T16" fmla="*/ 79 w 280"/>
                <a:gd name="T17" fmla="*/ 49 h 279"/>
                <a:gd name="T18" fmla="*/ 107 w 280"/>
                <a:gd name="T19" fmla="*/ 36 h 279"/>
                <a:gd name="T20" fmla="*/ 140 w 280"/>
                <a:gd name="T21" fmla="*/ 32 h 279"/>
                <a:gd name="T22" fmla="*/ 172 w 280"/>
                <a:gd name="T23" fmla="*/ 36 h 279"/>
                <a:gd name="T24" fmla="*/ 200 w 280"/>
                <a:gd name="T25" fmla="*/ 49 h 279"/>
                <a:gd name="T26" fmla="*/ 223 w 280"/>
                <a:gd name="T27" fmla="*/ 70 h 279"/>
                <a:gd name="T28" fmla="*/ 240 w 280"/>
                <a:gd name="T29" fmla="*/ 97 h 279"/>
                <a:gd name="T30" fmla="*/ 247 w 280"/>
                <a:gd name="T31" fmla="*/ 128 h 279"/>
                <a:gd name="T32" fmla="*/ 246 w 280"/>
                <a:gd name="T33" fmla="*/ 162 h 279"/>
                <a:gd name="T34" fmla="*/ 235 w 280"/>
                <a:gd name="T35" fmla="*/ 192 h 279"/>
                <a:gd name="T36" fmla="*/ 216 w 280"/>
                <a:gd name="T37" fmla="*/ 217 h 279"/>
                <a:gd name="T38" fmla="*/ 191 w 280"/>
                <a:gd name="T39" fmla="*/ 235 h 279"/>
                <a:gd name="T40" fmla="*/ 162 w 280"/>
                <a:gd name="T41" fmla="*/ 246 h 279"/>
                <a:gd name="T42" fmla="*/ 140 w 280"/>
                <a:gd name="T43" fmla="*/ 0 h 279"/>
                <a:gd name="T44" fmla="*/ 97 w 280"/>
                <a:gd name="T45" fmla="*/ 6 h 279"/>
                <a:gd name="T46" fmla="*/ 61 w 280"/>
                <a:gd name="T47" fmla="*/ 24 h 279"/>
                <a:gd name="T48" fmla="*/ 32 w 280"/>
                <a:gd name="T49" fmla="*/ 50 h 279"/>
                <a:gd name="T50" fmla="*/ 11 w 280"/>
                <a:gd name="T51" fmla="*/ 85 h 279"/>
                <a:gd name="T52" fmla="*/ 1 w 280"/>
                <a:gd name="T53" fmla="*/ 126 h 279"/>
                <a:gd name="T54" fmla="*/ 2 w 280"/>
                <a:gd name="T55" fmla="*/ 168 h 279"/>
                <a:gd name="T56" fmla="*/ 16 w 280"/>
                <a:gd name="T57" fmla="*/ 206 h 279"/>
                <a:gd name="T58" fmla="*/ 41 w 280"/>
                <a:gd name="T59" fmla="*/ 238 h 279"/>
                <a:gd name="T60" fmla="*/ 73 w 280"/>
                <a:gd name="T61" fmla="*/ 263 h 279"/>
                <a:gd name="T62" fmla="*/ 111 w 280"/>
                <a:gd name="T63" fmla="*/ 277 h 279"/>
                <a:gd name="T64" fmla="*/ 154 w 280"/>
                <a:gd name="T65" fmla="*/ 279 h 279"/>
                <a:gd name="T66" fmla="*/ 194 w 280"/>
                <a:gd name="T67" fmla="*/ 268 h 279"/>
                <a:gd name="T68" fmla="*/ 229 w 280"/>
                <a:gd name="T69" fmla="*/ 248 h 279"/>
                <a:gd name="T70" fmla="*/ 255 w 280"/>
                <a:gd name="T71" fmla="*/ 218 h 279"/>
                <a:gd name="T72" fmla="*/ 273 w 280"/>
                <a:gd name="T73" fmla="*/ 182 h 279"/>
                <a:gd name="T74" fmla="*/ 280 w 280"/>
                <a:gd name="T75" fmla="*/ 139 h 279"/>
                <a:gd name="T76" fmla="*/ 273 w 280"/>
                <a:gd name="T77" fmla="*/ 98 h 279"/>
                <a:gd name="T78" fmla="*/ 255 w 280"/>
                <a:gd name="T79" fmla="*/ 62 h 279"/>
                <a:gd name="T80" fmla="*/ 229 w 280"/>
                <a:gd name="T81" fmla="*/ 32 h 279"/>
                <a:gd name="T82" fmla="*/ 194 w 280"/>
                <a:gd name="T83" fmla="*/ 10 h 279"/>
                <a:gd name="T84" fmla="*/ 154 w 280"/>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0" h="279">
                  <a:moveTo>
                    <a:pt x="140" y="248"/>
                  </a:moveTo>
                  <a:lnTo>
                    <a:pt x="129" y="248"/>
                  </a:lnTo>
                  <a:lnTo>
                    <a:pt x="117" y="246"/>
                  </a:lnTo>
                  <a:lnTo>
                    <a:pt x="107" y="244"/>
                  </a:lnTo>
                  <a:lnTo>
                    <a:pt x="97" y="240"/>
                  </a:lnTo>
                  <a:lnTo>
                    <a:pt x="87" y="235"/>
                  </a:lnTo>
                  <a:lnTo>
                    <a:pt x="79" y="230"/>
                  </a:lnTo>
                  <a:lnTo>
                    <a:pt x="71" y="224"/>
                  </a:lnTo>
                  <a:lnTo>
                    <a:pt x="63" y="217"/>
                  </a:lnTo>
                  <a:lnTo>
                    <a:pt x="55" y="209"/>
                  </a:lnTo>
                  <a:lnTo>
                    <a:pt x="50" y="200"/>
                  </a:lnTo>
                  <a:lnTo>
                    <a:pt x="44" y="192"/>
                  </a:lnTo>
                  <a:lnTo>
                    <a:pt x="40" y="182"/>
                  </a:lnTo>
                  <a:lnTo>
                    <a:pt x="35" y="173"/>
                  </a:lnTo>
                  <a:lnTo>
                    <a:pt x="33" y="162"/>
                  </a:lnTo>
                  <a:lnTo>
                    <a:pt x="31" y="150"/>
                  </a:lnTo>
                  <a:lnTo>
                    <a:pt x="31" y="139"/>
                  </a:lnTo>
                  <a:lnTo>
                    <a:pt x="31" y="128"/>
                  </a:lnTo>
                  <a:lnTo>
                    <a:pt x="33" y="118"/>
                  </a:lnTo>
                  <a:lnTo>
                    <a:pt x="35" y="107"/>
                  </a:lnTo>
                  <a:lnTo>
                    <a:pt x="40" y="97"/>
                  </a:lnTo>
                  <a:lnTo>
                    <a:pt x="44" y="88"/>
                  </a:lnTo>
                  <a:lnTo>
                    <a:pt x="50" y="79"/>
                  </a:lnTo>
                  <a:lnTo>
                    <a:pt x="55" y="70"/>
                  </a:lnTo>
                  <a:lnTo>
                    <a:pt x="63" y="63"/>
                  </a:lnTo>
                  <a:lnTo>
                    <a:pt x="71" y="56"/>
                  </a:lnTo>
                  <a:lnTo>
                    <a:pt x="79" y="49"/>
                  </a:lnTo>
                  <a:lnTo>
                    <a:pt x="87" y="44"/>
                  </a:lnTo>
                  <a:lnTo>
                    <a:pt x="97" y="39"/>
                  </a:lnTo>
                  <a:lnTo>
                    <a:pt x="107" y="36"/>
                  </a:lnTo>
                  <a:lnTo>
                    <a:pt x="117" y="34"/>
                  </a:lnTo>
                  <a:lnTo>
                    <a:pt x="129" y="32"/>
                  </a:lnTo>
                  <a:lnTo>
                    <a:pt x="140" y="32"/>
                  </a:lnTo>
                  <a:lnTo>
                    <a:pt x="151" y="32"/>
                  </a:lnTo>
                  <a:lnTo>
                    <a:pt x="162" y="33"/>
                  </a:lnTo>
                  <a:lnTo>
                    <a:pt x="172" y="36"/>
                  </a:lnTo>
                  <a:lnTo>
                    <a:pt x="182" y="39"/>
                  </a:lnTo>
                  <a:lnTo>
                    <a:pt x="191" y="44"/>
                  </a:lnTo>
                  <a:lnTo>
                    <a:pt x="200" y="49"/>
                  </a:lnTo>
                  <a:lnTo>
                    <a:pt x="209" y="56"/>
                  </a:lnTo>
                  <a:lnTo>
                    <a:pt x="216" y="63"/>
                  </a:lnTo>
                  <a:lnTo>
                    <a:pt x="223" y="70"/>
                  </a:lnTo>
                  <a:lnTo>
                    <a:pt x="230" y="79"/>
                  </a:lnTo>
                  <a:lnTo>
                    <a:pt x="235" y="88"/>
                  </a:lnTo>
                  <a:lnTo>
                    <a:pt x="240" y="97"/>
                  </a:lnTo>
                  <a:lnTo>
                    <a:pt x="243" y="107"/>
                  </a:lnTo>
                  <a:lnTo>
                    <a:pt x="246" y="118"/>
                  </a:lnTo>
                  <a:lnTo>
                    <a:pt x="247" y="128"/>
                  </a:lnTo>
                  <a:lnTo>
                    <a:pt x="249" y="139"/>
                  </a:lnTo>
                  <a:lnTo>
                    <a:pt x="247" y="150"/>
                  </a:lnTo>
                  <a:lnTo>
                    <a:pt x="246" y="162"/>
                  </a:lnTo>
                  <a:lnTo>
                    <a:pt x="243" y="173"/>
                  </a:lnTo>
                  <a:lnTo>
                    <a:pt x="240" y="182"/>
                  </a:lnTo>
                  <a:lnTo>
                    <a:pt x="235" y="192"/>
                  </a:lnTo>
                  <a:lnTo>
                    <a:pt x="230" y="200"/>
                  </a:lnTo>
                  <a:lnTo>
                    <a:pt x="223" y="209"/>
                  </a:lnTo>
                  <a:lnTo>
                    <a:pt x="216" y="217"/>
                  </a:lnTo>
                  <a:lnTo>
                    <a:pt x="209" y="224"/>
                  </a:lnTo>
                  <a:lnTo>
                    <a:pt x="200" y="230"/>
                  </a:lnTo>
                  <a:lnTo>
                    <a:pt x="191" y="235"/>
                  </a:lnTo>
                  <a:lnTo>
                    <a:pt x="182" y="240"/>
                  </a:lnTo>
                  <a:lnTo>
                    <a:pt x="172" y="244"/>
                  </a:lnTo>
                  <a:lnTo>
                    <a:pt x="162" y="246"/>
                  </a:lnTo>
                  <a:lnTo>
                    <a:pt x="151" y="248"/>
                  </a:lnTo>
                  <a:lnTo>
                    <a:pt x="140" y="248"/>
                  </a:lnTo>
                  <a:close/>
                  <a:moveTo>
                    <a:pt x="140" y="0"/>
                  </a:moveTo>
                  <a:lnTo>
                    <a:pt x="125" y="0"/>
                  </a:lnTo>
                  <a:lnTo>
                    <a:pt x="111" y="3"/>
                  </a:lnTo>
                  <a:lnTo>
                    <a:pt x="97" y="6"/>
                  </a:lnTo>
                  <a:lnTo>
                    <a:pt x="85" y="10"/>
                  </a:lnTo>
                  <a:lnTo>
                    <a:pt x="73" y="17"/>
                  </a:lnTo>
                  <a:lnTo>
                    <a:pt x="61" y="24"/>
                  </a:lnTo>
                  <a:lnTo>
                    <a:pt x="51" y="32"/>
                  </a:lnTo>
                  <a:lnTo>
                    <a:pt x="41" y="40"/>
                  </a:lnTo>
                  <a:lnTo>
                    <a:pt x="32" y="50"/>
                  </a:lnTo>
                  <a:lnTo>
                    <a:pt x="23" y="62"/>
                  </a:lnTo>
                  <a:lnTo>
                    <a:pt x="16" y="73"/>
                  </a:lnTo>
                  <a:lnTo>
                    <a:pt x="11" y="85"/>
                  </a:lnTo>
                  <a:lnTo>
                    <a:pt x="6" y="98"/>
                  </a:lnTo>
                  <a:lnTo>
                    <a:pt x="2" y="112"/>
                  </a:lnTo>
                  <a:lnTo>
                    <a:pt x="1" y="126"/>
                  </a:lnTo>
                  <a:lnTo>
                    <a:pt x="0" y="139"/>
                  </a:lnTo>
                  <a:lnTo>
                    <a:pt x="1" y="154"/>
                  </a:lnTo>
                  <a:lnTo>
                    <a:pt x="2" y="168"/>
                  </a:lnTo>
                  <a:lnTo>
                    <a:pt x="6" y="182"/>
                  </a:lnTo>
                  <a:lnTo>
                    <a:pt x="11" y="194"/>
                  </a:lnTo>
                  <a:lnTo>
                    <a:pt x="16" y="206"/>
                  </a:lnTo>
                  <a:lnTo>
                    <a:pt x="23" y="218"/>
                  </a:lnTo>
                  <a:lnTo>
                    <a:pt x="32" y="228"/>
                  </a:lnTo>
                  <a:lnTo>
                    <a:pt x="41" y="238"/>
                  </a:lnTo>
                  <a:lnTo>
                    <a:pt x="51" y="248"/>
                  </a:lnTo>
                  <a:lnTo>
                    <a:pt x="61" y="256"/>
                  </a:lnTo>
                  <a:lnTo>
                    <a:pt x="73" y="263"/>
                  </a:lnTo>
                  <a:lnTo>
                    <a:pt x="85" y="268"/>
                  </a:lnTo>
                  <a:lnTo>
                    <a:pt x="97" y="274"/>
                  </a:lnTo>
                  <a:lnTo>
                    <a:pt x="111" y="277"/>
                  </a:lnTo>
                  <a:lnTo>
                    <a:pt x="125" y="279"/>
                  </a:lnTo>
                  <a:lnTo>
                    <a:pt x="140" y="279"/>
                  </a:lnTo>
                  <a:lnTo>
                    <a:pt x="154" y="279"/>
                  </a:lnTo>
                  <a:lnTo>
                    <a:pt x="167" y="277"/>
                  </a:lnTo>
                  <a:lnTo>
                    <a:pt x="181" y="274"/>
                  </a:lnTo>
                  <a:lnTo>
                    <a:pt x="194" y="268"/>
                  </a:lnTo>
                  <a:lnTo>
                    <a:pt x="206" y="263"/>
                  </a:lnTo>
                  <a:lnTo>
                    <a:pt x="217" y="256"/>
                  </a:lnTo>
                  <a:lnTo>
                    <a:pt x="229" y="248"/>
                  </a:lnTo>
                  <a:lnTo>
                    <a:pt x="239" y="238"/>
                  </a:lnTo>
                  <a:lnTo>
                    <a:pt x="247" y="228"/>
                  </a:lnTo>
                  <a:lnTo>
                    <a:pt x="255" y="218"/>
                  </a:lnTo>
                  <a:lnTo>
                    <a:pt x="262" y="206"/>
                  </a:lnTo>
                  <a:lnTo>
                    <a:pt x="269" y="194"/>
                  </a:lnTo>
                  <a:lnTo>
                    <a:pt x="273" y="182"/>
                  </a:lnTo>
                  <a:lnTo>
                    <a:pt x="276" y="168"/>
                  </a:lnTo>
                  <a:lnTo>
                    <a:pt x="279" y="154"/>
                  </a:lnTo>
                  <a:lnTo>
                    <a:pt x="280" y="139"/>
                  </a:lnTo>
                  <a:lnTo>
                    <a:pt x="279" y="126"/>
                  </a:lnTo>
                  <a:lnTo>
                    <a:pt x="276" y="112"/>
                  </a:lnTo>
                  <a:lnTo>
                    <a:pt x="273" y="98"/>
                  </a:lnTo>
                  <a:lnTo>
                    <a:pt x="269" y="85"/>
                  </a:lnTo>
                  <a:lnTo>
                    <a:pt x="262" y="73"/>
                  </a:lnTo>
                  <a:lnTo>
                    <a:pt x="255" y="62"/>
                  </a:lnTo>
                  <a:lnTo>
                    <a:pt x="247" y="50"/>
                  </a:lnTo>
                  <a:lnTo>
                    <a:pt x="239" y="40"/>
                  </a:lnTo>
                  <a:lnTo>
                    <a:pt x="229" y="32"/>
                  </a:lnTo>
                  <a:lnTo>
                    <a:pt x="217" y="24"/>
                  </a:lnTo>
                  <a:lnTo>
                    <a:pt x="206" y="17"/>
                  </a:lnTo>
                  <a:lnTo>
                    <a:pt x="194" y="10"/>
                  </a:lnTo>
                  <a:lnTo>
                    <a:pt x="181" y="6"/>
                  </a:lnTo>
                  <a:lnTo>
                    <a:pt x="167" y="3"/>
                  </a:lnTo>
                  <a:lnTo>
                    <a:pt x="154" y="0"/>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26" name="Group 184">
            <a:extLst>
              <a:ext uri="{FF2B5EF4-FFF2-40B4-BE49-F238E27FC236}">
                <a16:creationId xmlns:a16="http://schemas.microsoft.com/office/drawing/2014/main" id="{294D9A58-B746-4347-854A-72EE1B47278C}"/>
              </a:ext>
            </a:extLst>
          </p:cNvPr>
          <p:cNvGrpSpPr>
            <a:grpSpLocks noChangeAspect="1"/>
          </p:cNvGrpSpPr>
          <p:nvPr/>
        </p:nvGrpSpPr>
        <p:grpSpPr>
          <a:xfrm>
            <a:off x="5791954" y="5956111"/>
            <a:ext cx="285619" cy="285619"/>
            <a:chOff x="8737493" y="1356959"/>
            <a:chExt cx="287091" cy="287091"/>
          </a:xfrm>
          <a:solidFill>
            <a:schemeClr val="bg2"/>
          </a:solidFill>
          <a:effectLst/>
        </p:grpSpPr>
        <p:sp>
          <p:nvSpPr>
            <p:cNvPr id="1427" name="Freeform 241">
              <a:extLst>
                <a:ext uri="{FF2B5EF4-FFF2-40B4-BE49-F238E27FC236}">
                  <a16:creationId xmlns:a16="http://schemas.microsoft.com/office/drawing/2014/main" id="{3C08E606-BB18-4F50-A675-815BE8C23BBB}"/>
                </a:ext>
              </a:extLst>
            </p:cNvPr>
            <p:cNvSpPr>
              <a:spLocks noEditPoints="1"/>
            </p:cNvSpPr>
            <p:nvPr/>
          </p:nvSpPr>
          <p:spPr bwMode="auto">
            <a:xfrm>
              <a:off x="8775689" y="1577514"/>
              <a:ext cx="142929" cy="28339"/>
            </a:xfrm>
            <a:custGeom>
              <a:avLst/>
              <a:gdLst>
                <a:gd name="T0" fmla="*/ 435 w 466"/>
                <a:gd name="T1" fmla="*/ 62 h 93"/>
                <a:gd name="T2" fmla="*/ 31 w 466"/>
                <a:gd name="T3" fmla="*/ 62 h 93"/>
                <a:gd name="T4" fmla="*/ 31 w 466"/>
                <a:gd name="T5" fmla="*/ 31 h 93"/>
                <a:gd name="T6" fmla="*/ 435 w 466"/>
                <a:gd name="T7" fmla="*/ 31 h 93"/>
                <a:gd name="T8" fmla="*/ 435 w 466"/>
                <a:gd name="T9" fmla="*/ 62 h 93"/>
                <a:gd name="T10" fmla="*/ 451 w 466"/>
                <a:gd name="T11" fmla="*/ 0 h 93"/>
                <a:gd name="T12" fmla="*/ 15 w 466"/>
                <a:gd name="T13" fmla="*/ 0 h 93"/>
                <a:gd name="T14" fmla="*/ 13 w 466"/>
                <a:gd name="T15" fmla="*/ 0 h 93"/>
                <a:gd name="T16" fmla="*/ 10 w 466"/>
                <a:gd name="T17" fmla="*/ 1 h 93"/>
                <a:gd name="T18" fmla="*/ 7 w 466"/>
                <a:gd name="T19" fmla="*/ 2 h 93"/>
                <a:gd name="T20" fmla="*/ 4 w 466"/>
                <a:gd name="T21" fmla="*/ 4 h 93"/>
                <a:gd name="T22" fmla="*/ 3 w 466"/>
                <a:gd name="T23" fmla="*/ 6 h 93"/>
                <a:gd name="T24" fmla="*/ 1 w 466"/>
                <a:gd name="T25" fmla="*/ 10 h 93"/>
                <a:gd name="T26" fmla="*/ 1 w 466"/>
                <a:gd name="T27" fmla="*/ 12 h 93"/>
                <a:gd name="T28" fmla="*/ 0 w 466"/>
                <a:gd name="T29" fmla="*/ 15 h 93"/>
                <a:gd name="T30" fmla="*/ 0 w 466"/>
                <a:gd name="T31" fmla="*/ 77 h 93"/>
                <a:gd name="T32" fmla="*/ 1 w 466"/>
                <a:gd name="T33" fmla="*/ 81 h 93"/>
                <a:gd name="T34" fmla="*/ 1 w 466"/>
                <a:gd name="T35" fmla="*/ 83 h 93"/>
                <a:gd name="T36" fmla="*/ 3 w 466"/>
                <a:gd name="T37" fmla="*/ 86 h 93"/>
                <a:gd name="T38" fmla="*/ 4 w 466"/>
                <a:gd name="T39" fmla="*/ 89 h 93"/>
                <a:gd name="T40" fmla="*/ 7 w 466"/>
                <a:gd name="T41" fmla="*/ 91 h 93"/>
                <a:gd name="T42" fmla="*/ 10 w 466"/>
                <a:gd name="T43" fmla="*/ 92 h 93"/>
                <a:gd name="T44" fmla="*/ 13 w 466"/>
                <a:gd name="T45" fmla="*/ 93 h 93"/>
                <a:gd name="T46" fmla="*/ 15 w 466"/>
                <a:gd name="T47" fmla="*/ 93 h 93"/>
                <a:gd name="T48" fmla="*/ 451 w 466"/>
                <a:gd name="T49" fmla="*/ 93 h 93"/>
                <a:gd name="T50" fmla="*/ 454 w 466"/>
                <a:gd name="T51" fmla="*/ 93 h 93"/>
                <a:gd name="T52" fmla="*/ 457 w 466"/>
                <a:gd name="T53" fmla="*/ 92 h 93"/>
                <a:gd name="T54" fmla="*/ 460 w 466"/>
                <a:gd name="T55" fmla="*/ 91 h 93"/>
                <a:gd name="T56" fmla="*/ 462 w 466"/>
                <a:gd name="T57" fmla="*/ 89 h 93"/>
                <a:gd name="T58" fmla="*/ 464 w 466"/>
                <a:gd name="T59" fmla="*/ 86 h 93"/>
                <a:gd name="T60" fmla="*/ 465 w 466"/>
                <a:gd name="T61" fmla="*/ 83 h 93"/>
                <a:gd name="T62" fmla="*/ 466 w 466"/>
                <a:gd name="T63" fmla="*/ 81 h 93"/>
                <a:gd name="T64" fmla="*/ 466 w 466"/>
                <a:gd name="T65" fmla="*/ 77 h 93"/>
                <a:gd name="T66" fmla="*/ 466 w 466"/>
                <a:gd name="T67" fmla="*/ 15 h 93"/>
                <a:gd name="T68" fmla="*/ 466 w 466"/>
                <a:gd name="T69" fmla="*/ 12 h 93"/>
                <a:gd name="T70" fmla="*/ 465 w 466"/>
                <a:gd name="T71" fmla="*/ 10 h 93"/>
                <a:gd name="T72" fmla="*/ 464 w 466"/>
                <a:gd name="T73" fmla="*/ 6 h 93"/>
                <a:gd name="T74" fmla="*/ 462 w 466"/>
                <a:gd name="T75" fmla="*/ 4 h 93"/>
                <a:gd name="T76" fmla="*/ 460 w 466"/>
                <a:gd name="T77" fmla="*/ 2 h 93"/>
                <a:gd name="T78" fmla="*/ 457 w 466"/>
                <a:gd name="T79" fmla="*/ 1 h 93"/>
                <a:gd name="T80" fmla="*/ 454 w 466"/>
                <a:gd name="T81" fmla="*/ 0 h 93"/>
                <a:gd name="T82" fmla="*/ 451 w 466"/>
                <a:gd name="T8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6" h="93">
                  <a:moveTo>
                    <a:pt x="435" y="62"/>
                  </a:moveTo>
                  <a:lnTo>
                    <a:pt x="31" y="62"/>
                  </a:lnTo>
                  <a:lnTo>
                    <a:pt x="31" y="31"/>
                  </a:lnTo>
                  <a:lnTo>
                    <a:pt x="435" y="31"/>
                  </a:lnTo>
                  <a:lnTo>
                    <a:pt x="435" y="62"/>
                  </a:lnTo>
                  <a:close/>
                  <a:moveTo>
                    <a:pt x="451" y="0"/>
                  </a:moveTo>
                  <a:lnTo>
                    <a:pt x="15" y="0"/>
                  </a:lnTo>
                  <a:lnTo>
                    <a:pt x="13" y="0"/>
                  </a:lnTo>
                  <a:lnTo>
                    <a:pt x="10" y="1"/>
                  </a:lnTo>
                  <a:lnTo>
                    <a:pt x="7" y="2"/>
                  </a:lnTo>
                  <a:lnTo>
                    <a:pt x="4" y="4"/>
                  </a:lnTo>
                  <a:lnTo>
                    <a:pt x="3" y="6"/>
                  </a:lnTo>
                  <a:lnTo>
                    <a:pt x="1" y="10"/>
                  </a:lnTo>
                  <a:lnTo>
                    <a:pt x="1" y="12"/>
                  </a:lnTo>
                  <a:lnTo>
                    <a:pt x="0" y="15"/>
                  </a:lnTo>
                  <a:lnTo>
                    <a:pt x="0" y="77"/>
                  </a:lnTo>
                  <a:lnTo>
                    <a:pt x="1" y="81"/>
                  </a:lnTo>
                  <a:lnTo>
                    <a:pt x="1" y="83"/>
                  </a:lnTo>
                  <a:lnTo>
                    <a:pt x="3" y="86"/>
                  </a:lnTo>
                  <a:lnTo>
                    <a:pt x="4" y="89"/>
                  </a:lnTo>
                  <a:lnTo>
                    <a:pt x="7" y="91"/>
                  </a:lnTo>
                  <a:lnTo>
                    <a:pt x="10" y="92"/>
                  </a:lnTo>
                  <a:lnTo>
                    <a:pt x="13" y="93"/>
                  </a:lnTo>
                  <a:lnTo>
                    <a:pt x="15" y="93"/>
                  </a:lnTo>
                  <a:lnTo>
                    <a:pt x="451" y="93"/>
                  </a:lnTo>
                  <a:lnTo>
                    <a:pt x="454" y="93"/>
                  </a:lnTo>
                  <a:lnTo>
                    <a:pt x="457" y="92"/>
                  </a:lnTo>
                  <a:lnTo>
                    <a:pt x="460" y="91"/>
                  </a:lnTo>
                  <a:lnTo>
                    <a:pt x="462" y="89"/>
                  </a:lnTo>
                  <a:lnTo>
                    <a:pt x="464" y="86"/>
                  </a:lnTo>
                  <a:lnTo>
                    <a:pt x="465" y="83"/>
                  </a:lnTo>
                  <a:lnTo>
                    <a:pt x="466" y="81"/>
                  </a:lnTo>
                  <a:lnTo>
                    <a:pt x="466" y="77"/>
                  </a:lnTo>
                  <a:lnTo>
                    <a:pt x="466" y="15"/>
                  </a:lnTo>
                  <a:lnTo>
                    <a:pt x="466" y="12"/>
                  </a:lnTo>
                  <a:lnTo>
                    <a:pt x="465" y="10"/>
                  </a:lnTo>
                  <a:lnTo>
                    <a:pt x="464" y="6"/>
                  </a:lnTo>
                  <a:lnTo>
                    <a:pt x="462" y="4"/>
                  </a:lnTo>
                  <a:lnTo>
                    <a:pt x="460" y="2"/>
                  </a:lnTo>
                  <a:lnTo>
                    <a:pt x="457" y="1"/>
                  </a:lnTo>
                  <a:lnTo>
                    <a:pt x="454" y="0"/>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42">
              <a:extLst>
                <a:ext uri="{FF2B5EF4-FFF2-40B4-BE49-F238E27FC236}">
                  <a16:creationId xmlns:a16="http://schemas.microsoft.com/office/drawing/2014/main" id="{F946EC41-21BC-4251-9303-2DB22C4E65FE}"/>
                </a:ext>
              </a:extLst>
            </p:cNvPr>
            <p:cNvSpPr>
              <a:spLocks noEditPoints="1"/>
            </p:cNvSpPr>
            <p:nvPr/>
          </p:nvSpPr>
          <p:spPr bwMode="auto">
            <a:xfrm>
              <a:off x="8935869" y="1567656"/>
              <a:ext cx="22179" cy="22179"/>
            </a:xfrm>
            <a:custGeom>
              <a:avLst/>
              <a:gdLst>
                <a:gd name="T0" fmla="*/ 31 w 70"/>
                <a:gd name="T1" fmla="*/ 34 h 70"/>
                <a:gd name="T2" fmla="*/ 31 w 70"/>
                <a:gd name="T3" fmla="*/ 33 h 70"/>
                <a:gd name="T4" fmla="*/ 32 w 70"/>
                <a:gd name="T5" fmla="*/ 32 h 70"/>
                <a:gd name="T6" fmla="*/ 33 w 70"/>
                <a:gd name="T7" fmla="*/ 31 h 70"/>
                <a:gd name="T8" fmla="*/ 34 w 70"/>
                <a:gd name="T9" fmla="*/ 31 h 70"/>
                <a:gd name="T10" fmla="*/ 37 w 70"/>
                <a:gd name="T11" fmla="*/ 31 h 70"/>
                <a:gd name="T12" fmla="*/ 38 w 70"/>
                <a:gd name="T13" fmla="*/ 32 h 70"/>
                <a:gd name="T14" fmla="*/ 39 w 70"/>
                <a:gd name="T15" fmla="*/ 33 h 70"/>
                <a:gd name="T16" fmla="*/ 39 w 70"/>
                <a:gd name="T17" fmla="*/ 34 h 70"/>
                <a:gd name="T18" fmla="*/ 39 w 70"/>
                <a:gd name="T19" fmla="*/ 36 h 70"/>
                <a:gd name="T20" fmla="*/ 38 w 70"/>
                <a:gd name="T21" fmla="*/ 38 h 70"/>
                <a:gd name="T22" fmla="*/ 37 w 70"/>
                <a:gd name="T23" fmla="*/ 38 h 70"/>
                <a:gd name="T24" fmla="*/ 34 w 70"/>
                <a:gd name="T25" fmla="*/ 39 h 70"/>
                <a:gd name="T26" fmla="*/ 33 w 70"/>
                <a:gd name="T27" fmla="*/ 38 h 70"/>
                <a:gd name="T28" fmla="*/ 32 w 70"/>
                <a:gd name="T29" fmla="*/ 38 h 70"/>
                <a:gd name="T30" fmla="*/ 31 w 70"/>
                <a:gd name="T31" fmla="*/ 36 h 70"/>
                <a:gd name="T32" fmla="*/ 31 w 70"/>
                <a:gd name="T33" fmla="*/ 34 h 70"/>
                <a:gd name="T34" fmla="*/ 34 w 70"/>
                <a:gd name="T35" fmla="*/ 0 h 70"/>
                <a:gd name="T36" fmla="*/ 28 w 70"/>
                <a:gd name="T37" fmla="*/ 1 h 70"/>
                <a:gd name="T38" fmla="*/ 21 w 70"/>
                <a:gd name="T39" fmla="*/ 2 h 70"/>
                <a:gd name="T40" fmla="*/ 14 w 70"/>
                <a:gd name="T41" fmla="*/ 5 h 70"/>
                <a:gd name="T42" fmla="*/ 10 w 70"/>
                <a:gd name="T43" fmla="*/ 10 h 70"/>
                <a:gd name="T44" fmla="*/ 5 w 70"/>
                <a:gd name="T45" fmla="*/ 15 h 70"/>
                <a:gd name="T46" fmla="*/ 2 w 70"/>
                <a:gd name="T47" fmla="*/ 21 h 70"/>
                <a:gd name="T48" fmla="*/ 0 w 70"/>
                <a:gd name="T49" fmla="*/ 28 h 70"/>
                <a:gd name="T50" fmla="*/ 0 w 70"/>
                <a:gd name="T51" fmla="*/ 34 h 70"/>
                <a:gd name="T52" fmla="*/ 0 w 70"/>
                <a:gd name="T53" fmla="*/ 42 h 70"/>
                <a:gd name="T54" fmla="*/ 2 w 70"/>
                <a:gd name="T55" fmla="*/ 49 h 70"/>
                <a:gd name="T56" fmla="*/ 5 w 70"/>
                <a:gd name="T57" fmla="*/ 54 h 70"/>
                <a:gd name="T58" fmla="*/ 10 w 70"/>
                <a:gd name="T59" fmla="*/ 60 h 70"/>
                <a:gd name="T60" fmla="*/ 14 w 70"/>
                <a:gd name="T61" fmla="*/ 64 h 70"/>
                <a:gd name="T62" fmla="*/ 21 w 70"/>
                <a:gd name="T63" fmla="*/ 68 h 70"/>
                <a:gd name="T64" fmla="*/ 28 w 70"/>
                <a:gd name="T65" fmla="*/ 69 h 70"/>
                <a:gd name="T66" fmla="*/ 34 w 70"/>
                <a:gd name="T67" fmla="*/ 70 h 70"/>
                <a:gd name="T68" fmla="*/ 42 w 70"/>
                <a:gd name="T69" fmla="*/ 69 h 70"/>
                <a:gd name="T70" fmla="*/ 48 w 70"/>
                <a:gd name="T71" fmla="*/ 68 h 70"/>
                <a:gd name="T72" fmla="*/ 54 w 70"/>
                <a:gd name="T73" fmla="*/ 64 h 70"/>
                <a:gd name="T74" fmla="*/ 60 w 70"/>
                <a:gd name="T75" fmla="*/ 60 h 70"/>
                <a:gd name="T76" fmla="*/ 63 w 70"/>
                <a:gd name="T77" fmla="*/ 54 h 70"/>
                <a:gd name="T78" fmla="*/ 67 w 70"/>
                <a:gd name="T79" fmla="*/ 49 h 70"/>
                <a:gd name="T80" fmla="*/ 69 w 70"/>
                <a:gd name="T81" fmla="*/ 42 h 70"/>
                <a:gd name="T82" fmla="*/ 70 w 70"/>
                <a:gd name="T83" fmla="*/ 34 h 70"/>
                <a:gd name="T84" fmla="*/ 69 w 70"/>
                <a:gd name="T85" fmla="*/ 28 h 70"/>
                <a:gd name="T86" fmla="*/ 67 w 70"/>
                <a:gd name="T87" fmla="*/ 21 h 70"/>
                <a:gd name="T88" fmla="*/ 63 w 70"/>
                <a:gd name="T89" fmla="*/ 15 h 70"/>
                <a:gd name="T90" fmla="*/ 60 w 70"/>
                <a:gd name="T91" fmla="*/ 10 h 70"/>
                <a:gd name="T92" fmla="*/ 54 w 70"/>
                <a:gd name="T93" fmla="*/ 5 h 70"/>
                <a:gd name="T94" fmla="*/ 48 w 70"/>
                <a:gd name="T95" fmla="*/ 2 h 70"/>
                <a:gd name="T96" fmla="*/ 42 w 70"/>
                <a:gd name="T97" fmla="*/ 1 h 70"/>
                <a:gd name="T98" fmla="*/ 34 w 70"/>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70">
                  <a:moveTo>
                    <a:pt x="31" y="34"/>
                  </a:moveTo>
                  <a:lnTo>
                    <a:pt x="31" y="33"/>
                  </a:lnTo>
                  <a:lnTo>
                    <a:pt x="32" y="32"/>
                  </a:lnTo>
                  <a:lnTo>
                    <a:pt x="33" y="31"/>
                  </a:lnTo>
                  <a:lnTo>
                    <a:pt x="34" y="31"/>
                  </a:lnTo>
                  <a:lnTo>
                    <a:pt x="37" y="31"/>
                  </a:lnTo>
                  <a:lnTo>
                    <a:pt x="38" y="32"/>
                  </a:lnTo>
                  <a:lnTo>
                    <a:pt x="39" y="33"/>
                  </a:lnTo>
                  <a:lnTo>
                    <a:pt x="39" y="34"/>
                  </a:lnTo>
                  <a:lnTo>
                    <a:pt x="39" y="36"/>
                  </a:lnTo>
                  <a:lnTo>
                    <a:pt x="38" y="38"/>
                  </a:lnTo>
                  <a:lnTo>
                    <a:pt x="37" y="38"/>
                  </a:lnTo>
                  <a:lnTo>
                    <a:pt x="34" y="39"/>
                  </a:lnTo>
                  <a:lnTo>
                    <a:pt x="33" y="38"/>
                  </a:lnTo>
                  <a:lnTo>
                    <a:pt x="32" y="38"/>
                  </a:lnTo>
                  <a:lnTo>
                    <a:pt x="31" y="36"/>
                  </a:lnTo>
                  <a:lnTo>
                    <a:pt x="31" y="34"/>
                  </a:lnTo>
                  <a:close/>
                  <a:moveTo>
                    <a:pt x="34" y="0"/>
                  </a:moveTo>
                  <a:lnTo>
                    <a:pt x="28" y="1"/>
                  </a:lnTo>
                  <a:lnTo>
                    <a:pt x="21" y="2"/>
                  </a:lnTo>
                  <a:lnTo>
                    <a:pt x="14" y="5"/>
                  </a:lnTo>
                  <a:lnTo>
                    <a:pt x="10" y="10"/>
                  </a:lnTo>
                  <a:lnTo>
                    <a:pt x="5" y="15"/>
                  </a:lnTo>
                  <a:lnTo>
                    <a:pt x="2" y="21"/>
                  </a:lnTo>
                  <a:lnTo>
                    <a:pt x="0" y="28"/>
                  </a:lnTo>
                  <a:lnTo>
                    <a:pt x="0" y="34"/>
                  </a:lnTo>
                  <a:lnTo>
                    <a:pt x="0" y="42"/>
                  </a:lnTo>
                  <a:lnTo>
                    <a:pt x="2" y="49"/>
                  </a:lnTo>
                  <a:lnTo>
                    <a:pt x="5" y="54"/>
                  </a:lnTo>
                  <a:lnTo>
                    <a:pt x="10" y="60"/>
                  </a:lnTo>
                  <a:lnTo>
                    <a:pt x="14" y="64"/>
                  </a:lnTo>
                  <a:lnTo>
                    <a:pt x="21" y="68"/>
                  </a:lnTo>
                  <a:lnTo>
                    <a:pt x="28" y="69"/>
                  </a:lnTo>
                  <a:lnTo>
                    <a:pt x="34" y="70"/>
                  </a:lnTo>
                  <a:lnTo>
                    <a:pt x="42" y="69"/>
                  </a:lnTo>
                  <a:lnTo>
                    <a:pt x="48" y="68"/>
                  </a:lnTo>
                  <a:lnTo>
                    <a:pt x="54" y="64"/>
                  </a:lnTo>
                  <a:lnTo>
                    <a:pt x="60" y="60"/>
                  </a:lnTo>
                  <a:lnTo>
                    <a:pt x="63" y="54"/>
                  </a:lnTo>
                  <a:lnTo>
                    <a:pt x="67" y="49"/>
                  </a:lnTo>
                  <a:lnTo>
                    <a:pt x="69" y="42"/>
                  </a:lnTo>
                  <a:lnTo>
                    <a:pt x="70" y="34"/>
                  </a:lnTo>
                  <a:lnTo>
                    <a:pt x="69" y="28"/>
                  </a:lnTo>
                  <a:lnTo>
                    <a:pt x="67" y="21"/>
                  </a:lnTo>
                  <a:lnTo>
                    <a:pt x="63" y="15"/>
                  </a:lnTo>
                  <a:lnTo>
                    <a:pt x="60" y="10"/>
                  </a:lnTo>
                  <a:lnTo>
                    <a:pt x="54" y="5"/>
                  </a:lnTo>
                  <a:lnTo>
                    <a:pt x="48" y="2"/>
                  </a:lnTo>
                  <a:lnTo>
                    <a:pt x="42" y="1"/>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43">
              <a:extLst>
                <a:ext uri="{FF2B5EF4-FFF2-40B4-BE49-F238E27FC236}">
                  <a16:creationId xmlns:a16="http://schemas.microsoft.com/office/drawing/2014/main" id="{58B1BEE5-10E5-4B25-81C3-6D3538C4E9FE}"/>
                </a:ext>
              </a:extLst>
            </p:cNvPr>
            <p:cNvSpPr>
              <a:spLocks noEditPoints="1"/>
            </p:cNvSpPr>
            <p:nvPr/>
          </p:nvSpPr>
          <p:spPr bwMode="auto">
            <a:xfrm>
              <a:off x="8972833" y="1567656"/>
              <a:ext cx="20947" cy="22179"/>
            </a:xfrm>
            <a:custGeom>
              <a:avLst/>
              <a:gdLst>
                <a:gd name="T0" fmla="*/ 31 w 71"/>
                <a:gd name="T1" fmla="*/ 34 h 70"/>
                <a:gd name="T2" fmla="*/ 32 w 71"/>
                <a:gd name="T3" fmla="*/ 33 h 70"/>
                <a:gd name="T4" fmla="*/ 32 w 71"/>
                <a:gd name="T5" fmla="*/ 32 h 70"/>
                <a:gd name="T6" fmla="*/ 34 w 71"/>
                <a:gd name="T7" fmla="*/ 31 h 70"/>
                <a:gd name="T8" fmla="*/ 35 w 71"/>
                <a:gd name="T9" fmla="*/ 31 h 70"/>
                <a:gd name="T10" fmla="*/ 36 w 71"/>
                <a:gd name="T11" fmla="*/ 31 h 70"/>
                <a:gd name="T12" fmla="*/ 38 w 71"/>
                <a:gd name="T13" fmla="*/ 32 h 70"/>
                <a:gd name="T14" fmla="*/ 38 w 71"/>
                <a:gd name="T15" fmla="*/ 33 h 70"/>
                <a:gd name="T16" fmla="*/ 40 w 71"/>
                <a:gd name="T17" fmla="*/ 34 h 70"/>
                <a:gd name="T18" fmla="*/ 38 w 71"/>
                <a:gd name="T19" fmla="*/ 36 h 70"/>
                <a:gd name="T20" fmla="*/ 38 w 71"/>
                <a:gd name="T21" fmla="*/ 38 h 70"/>
                <a:gd name="T22" fmla="*/ 36 w 71"/>
                <a:gd name="T23" fmla="*/ 38 h 70"/>
                <a:gd name="T24" fmla="*/ 35 w 71"/>
                <a:gd name="T25" fmla="*/ 39 h 70"/>
                <a:gd name="T26" fmla="*/ 34 w 71"/>
                <a:gd name="T27" fmla="*/ 38 h 70"/>
                <a:gd name="T28" fmla="*/ 32 w 71"/>
                <a:gd name="T29" fmla="*/ 38 h 70"/>
                <a:gd name="T30" fmla="*/ 32 w 71"/>
                <a:gd name="T31" fmla="*/ 36 h 70"/>
                <a:gd name="T32" fmla="*/ 31 w 71"/>
                <a:gd name="T33" fmla="*/ 34 h 70"/>
                <a:gd name="T34" fmla="*/ 35 w 71"/>
                <a:gd name="T35" fmla="*/ 0 h 70"/>
                <a:gd name="T36" fmla="*/ 28 w 71"/>
                <a:gd name="T37" fmla="*/ 1 h 70"/>
                <a:gd name="T38" fmla="*/ 22 w 71"/>
                <a:gd name="T39" fmla="*/ 2 h 70"/>
                <a:gd name="T40" fmla="*/ 15 w 71"/>
                <a:gd name="T41" fmla="*/ 5 h 70"/>
                <a:gd name="T42" fmla="*/ 11 w 71"/>
                <a:gd name="T43" fmla="*/ 10 h 70"/>
                <a:gd name="T44" fmla="*/ 6 w 71"/>
                <a:gd name="T45" fmla="*/ 15 h 70"/>
                <a:gd name="T46" fmla="*/ 3 w 71"/>
                <a:gd name="T47" fmla="*/ 21 h 70"/>
                <a:gd name="T48" fmla="*/ 1 w 71"/>
                <a:gd name="T49" fmla="*/ 28 h 70"/>
                <a:gd name="T50" fmla="*/ 0 w 71"/>
                <a:gd name="T51" fmla="*/ 34 h 70"/>
                <a:gd name="T52" fmla="*/ 1 w 71"/>
                <a:gd name="T53" fmla="*/ 42 h 70"/>
                <a:gd name="T54" fmla="*/ 3 w 71"/>
                <a:gd name="T55" fmla="*/ 49 h 70"/>
                <a:gd name="T56" fmla="*/ 6 w 71"/>
                <a:gd name="T57" fmla="*/ 54 h 70"/>
                <a:gd name="T58" fmla="*/ 11 w 71"/>
                <a:gd name="T59" fmla="*/ 60 h 70"/>
                <a:gd name="T60" fmla="*/ 15 w 71"/>
                <a:gd name="T61" fmla="*/ 64 h 70"/>
                <a:gd name="T62" fmla="*/ 22 w 71"/>
                <a:gd name="T63" fmla="*/ 68 h 70"/>
                <a:gd name="T64" fmla="*/ 28 w 71"/>
                <a:gd name="T65" fmla="*/ 69 h 70"/>
                <a:gd name="T66" fmla="*/ 35 w 71"/>
                <a:gd name="T67" fmla="*/ 70 h 70"/>
                <a:gd name="T68" fmla="*/ 42 w 71"/>
                <a:gd name="T69" fmla="*/ 69 h 70"/>
                <a:gd name="T70" fmla="*/ 48 w 71"/>
                <a:gd name="T71" fmla="*/ 68 h 70"/>
                <a:gd name="T72" fmla="*/ 55 w 71"/>
                <a:gd name="T73" fmla="*/ 64 h 70"/>
                <a:gd name="T74" fmla="*/ 59 w 71"/>
                <a:gd name="T75" fmla="*/ 60 h 70"/>
                <a:gd name="T76" fmla="*/ 64 w 71"/>
                <a:gd name="T77" fmla="*/ 54 h 70"/>
                <a:gd name="T78" fmla="*/ 67 w 71"/>
                <a:gd name="T79" fmla="*/ 49 h 70"/>
                <a:gd name="T80" fmla="*/ 69 w 71"/>
                <a:gd name="T81" fmla="*/ 42 h 70"/>
                <a:gd name="T82" fmla="*/ 71 w 71"/>
                <a:gd name="T83" fmla="*/ 34 h 70"/>
                <a:gd name="T84" fmla="*/ 69 w 71"/>
                <a:gd name="T85" fmla="*/ 28 h 70"/>
                <a:gd name="T86" fmla="*/ 67 w 71"/>
                <a:gd name="T87" fmla="*/ 21 h 70"/>
                <a:gd name="T88" fmla="*/ 64 w 71"/>
                <a:gd name="T89" fmla="*/ 15 h 70"/>
                <a:gd name="T90" fmla="*/ 59 w 71"/>
                <a:gd name="T91" fmla="*/ 10 h 70"/>
                <a:gd name="T92" fmla="*/ 55 w 71"/>
                <a:gd name="T93" fmla="*/ 5 h 70"/>
                <a:gd name="T94" fmla="*/ 48 w 71"/>
                <a:gd name="T95" fmla="*/ 2 h 70"/>
                <a:gd name="T96" fmla="*/ 42 w 71"/>
                <a:gd name="T97" fmla="*/ 1 h 70"/>
                <a:gd name="T98" fmla="*/ 35 w 71"/>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0">
                  <a:moveTo>
                    <a:pt x="31" y="34"/>
                  </a:moveTo>
                  <a:lnTo>
                    <a:pt x="32" y="33"/>
                  </a:lnTo>
                  <a:lnTo>
                    <a:pt x="32" y="32"/>
                  </a:lnTo>
                  <a:lnTo>
                    <a:pt x="34" y="31"/>
                  </a:lnTo>
                  <a:lnTo>
                    <a:pt x="35" y="31"/>
                  </a:lnTo>
                  <a:lnTo>
                    <a:pt x="36" y="31"/>
                  </a:lnTo>
                  <a:lnTo>
                    <a:pt x="38" y="32"/>
                  </a:lnTo>
                  <a:lnTo>
                    <a:pt x="38" y="33"/>
                  </a:lnTo>
                  <a:lnTo>
                    <a:pt x="40" y="34"/>
                  </a:lnTo>
                  <a:lnTo>
                    <a:pt x="38" y="36"/>
                  </a:lnTo>
                  <a:lnTo>
                    <a:pt x="38" y="38"/>
                  </a:lnTo>
                  <a:lnTo>
                    <a:pt x="36" y="38"/>
                  </a:lnTo>
                  <a:lnTo>
                    <a:pt x="35" y="39"/>
                  </a:lnTo>
                  <a:lnTo>
                    <a:pt x="34" y="38"/>
                  </a:lnTo>
                  <a:lnTo>
                    <a:pt x="32" y="38"/>
                  </a:lnTo>
                  <a:lnTo>
                    <a:pt x="32" y="36"/>
                  </a:lnTo>
                  <a:lnTo>
                    <a:pt x="31" y="34"/>
                  </a:lnTo>
                  <a:close/>
                  <a:moveTo>
                    <a:pt x="35" y="0"/>
                  </a:moveTo>
                  <a:lnTo>
                    <a:pt x="28" y="1"/>
                  </a:lnTo>
                  <a:lnTo>
                    <a:pt x="22" y="2"/>
                  </a:lnTo>
                  <a:lnTo>
                    <a:pt x="15" y="5"/>
                  </a:lnTo>
                  <a:lnTo>
                    <a:pt x="11" y="10"/>
                  </a:lnTo>
                  <a:lnTo>
                    <a:pt x="6" y="15"/>
                  </a:lnTo>
                  <a:lnTo>
                    <a:pt x="3" y="21"/>
                  </a:lnTo>
                  <a:lnTo>
                    <a:pt x="1" y="28"/>
                  </a:lnTo>
                  <a:lnTo>
                    <a:pt x="0" y="34"/>
                  </a:lnTo>
                  <a:lnTo>
                    <a:pt x="1" y="42"/>
                  </a:lnTo>
                  <a:lnTo>
                    <a:pt x="3" y="49"/>
                  </a:lnTo>
                  <a:lnTo>
                    <a:pt x="6" y="54"/>
                  </a:lnTo>
                  <a:lnTo>
                    <a:pt x="11" y="60"/>
                  </a:lnTo>
                  <a:lnTo>
                    <a:pt x="15" y="64"/>
                  </a:lnTo>
                  <a:lnTo>
                    <a:pt x="22" y="68"/>
                  </a:lnTo>
                  <a:lnTo>
                    <a:pt x="28" y="69"/>
                  </a:lnTo>
                  <a:lnTo>
                    <a:pt x="35" y="70"/>
                  </a:lnTo>
                  <a:lnTo>
                    <a:pt x="42" y="69"/>
                  </a:lnTo>
                  <a:lnTo>
                    <a:pt x="48" y="68"/>
                  </a:lnTo>
                  <a:lnTo>
                    <a:pt x="55" y="64"/>
                  </a:lnTo>
                  <a:lnTo>
                    <a:pt x="59" y="60"/>
                  </a:lnTo>
                  <a:lnTo>
                    <a:pt x="64" y="54"/>
                  </a:lnTo>
                  <a:lnTo>
                    <a:pt x="67" y="49"/>
                  </a:lnTo>
                  <a:lnTo>
                    <a:pt x="69" y="42"/>
                  </a:lnTo>
                  <a:lnTo>
                    <a:pt x="71" y="34"/>
                  </a:lnTo>
                  <a:lnTo>
                    <a:pt x="69" y="28"/>
                  </a:lnTo>
                  <a:lnTo>
                    <a:pt x="67" y="21"/>
                  </a:lnTo>
                  <a:lnTo>
                    <a:pt x="64" y="15"/>
                  </a:lnTo>
                  <a:lnTo>
                    <a:pt x="59" y="10"/>
                  </a:lnTo>
                  <a:lnTo>
                    <a:pt x="55" y="5"/>
                  </a:lnTo>
                  <a:lnTo>
                    <a:pt x="48" y="2"/>
                  </a:lnTo>
                  <a:lnTo>
                    <a:pt x="42" y="1"/>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44">
              <a:extLst>
                <a:ext uri="{FF2B5EF4-FFF2-40B4-BE49-F238E27FC236}">
                  <a16:creationId xmlns:a16="http://schemas.microsoft.com/office/drawing/2014/main" id="{F090B65C-E587-4FAD-BF5E-811D0A45AFE0}"/>
                </a:ext>
              </a:extLst>
            </p:cNvPr>
            <p:cNvSpPr>
              <a:spLocks noEditPoints="1"/>
            </p:cNvSpPr>
            <p:nvPr/>
          </p:nvSpPr>
          <p:spPr bwMode="auto">
            <a:xfrm>
              <a:off x="8861940" y="1453067"/>
              <a:ext cx="38197" cy="38197"/>
            </a:xfrm>
            <a:custGeom>
              <a:avLst/>
              <a:gdLst>
                <a:gd name="T0" fmla="*/ 93 w 124"/>
                <a:gd name="T1" fmla="*/ 69 h 125"/>
                <a:gd name="T2" fmla="*/ 87 w 124"/>
                <a:gd name="T3" fmla="*/ 80 h 125"/>
                <a:gd name="T4" fmla="*/ 80 w 124"/>
                <a:gd name="T5" fmla="*/ 88 h 125"/>
                <a:gd name="T6" fmla="*/ 68 w 124"/>
                <a:gd name="T7" fmla="*/ 94 h 125"/>
                <a:gd name="T8" fmla="*/ 56 w 124"/>
                <a:gd name="T9" fmla="*/ 94 h 125"/>
                <a:gd name="T10" fmla="*/ 45 w 124"/>
                <a:gd name="T11" fmla="*/ 88 h 125"/>
                <a:gd name="T12" fmla="*/ 36 w 124"/>
                <a:gd name="T13" fmla="*/ 80 h 125"/>
                <a:gd name="T14" fmla="*/ 32 w 124"/>
                <a:gd name="T15" fmla="*/ 69 h 125"/>
                <a:gd name="T16" fmla="*/ 32 w 124"/>
                <a:gd name="T17" fmla="*/ 57 h 125"/>
                <a:gd name="T18" fmla="*/ 36 w 124"/>
                <a:gd name="T19" fmla="*/ 46 h 125"/>
                <a:gd name="T20" fmla="*/ 45 w 124"/>
                <a:gd name="T21" fmla="*/ 37 h 125"/>
                <a:gd name="T22" fmla="*/ 56 w 124"/>
                <a:gd name="T23" fmla="*/ 32 h 125"/>
                <a:gd name="T24" fmla="*/ 68 w 124"/>
                <a:gd name="T25" fmla="*/ 32 h 125"/>
                <a:gd name="T26" fmla="*/ 80 w 124"/>
                <a:gd name="T27" fmla="*/ 37 h 125"/>
                <a:gd name="T28" fmla="*/ 87 w 124"/>
                <a:gd name="T29" fmla="*/ 46 h 125"/>
                <a:gd name="T30" fmla="*/ 93 w 124"/>
                <a:gd name="T31" fmla="*/ 57 h 125"/>
                <a:gd name="T32" fmla="*/ 0 w 124"/>
                <a:gd name="T33" fmla="*/ 62 h 125"/>
                <a:gd name="T34" fmla="*/ 1 w 124"/>
                <a:gd name="T35" fmla="*/ 75 h 125"/>
                <a:gd name="T36" fmla="*/ 5 w 124"/>
                <a:gd name="T37" fmla="*/ 87 h 125"/>
                <a:gd name="T38" fmla="*/ 11 w 124"/>
                <a:gd name="T39" fmla="*/ 97 h 125"/>
                <a:gd name="T40" fmla="*/ 18 w 124"/>
                <a:gd name="T41" fmla="*/ 107 h 125"/>
                <a:gd name="T42" fmla="*/ 27 w 124"/>
                <a:gd name="T43" fmla="*/ 115 h 125"/>
                <a:gd name="T44" fmla="*/ 37 w 124"/>
                <a:gd name="T45" fmla="*/ 120 h 125"/>
                <a:gd name="T46" fmla="*/ 50 w 124"/>
                <a:gd name="T47" fmla="*/ 124 h 125"/>
                <a:gd name="T48" fmla="*/ 62 w 124"/>
                <a:gd name="T49" fmla="*/ 125 h 125"/>
                <a:gd name="T50" fmla="*/ 74 w 124"/>
                <a:gd name="T51" fmla="*/ 124 h 125"/>
                <a:gd name="T52" fmla="*/ 86 w 124"/>
                <a:gd name="T53" fmla="*/ 120 h 125"/>
                <a:gd name="T54" fmla="*/ 96 w 124"/>
                <a:gd name="T55" fmla="*/ 115 h 125"/>
                <a:gd name="T56" fmla="*/ 106 w 124"/>
                <a:gd name="T57" fmla="*/ 107 h 125"/>
                <a:gd name="T58" fmla="*/ 114 w 124"/>
                <a:gd name="T59" fmla="*/ 98 h 125"/>
                <a:gd name="T60" fmla="*/ 120 w 124"/>
                <a:gd name="T61" fmla="*/ 87 h 125"/>
                <a:gd name="T62" fmla="*/ 123 w 124"/>
                <a:gd name="T63" fmla="*/ 76 h 125"/>
                <a:gd name="T64" fmla="*/ 124 w 124"/>
                <a:gd name="T65" fmla="*/ 62 h 125"/>
                <a:gd name="T66" fmla="*/ 123 w 124"/>
                <a:gd name="T67" fmla="*/ 50 h 125"/>
                <a:gd name="T68" fmla="*/ 120 w 124"/>
                <a:gd name="T69" fmla="*/ 38 h 125"/>
                <a:gd name="T70" fmla="*/ 114 w 124"/>
                <a:gd name="T71" fmla="*/ 28 h 125"/>
                <a:gd name="T72" fmla="*/ 106 w 124"/>
                <a:gd name="T73" fmla="*/ 19 h 125"/>
                <a:gd name="T74" fmla="*/ 96 w 124"/>
                <a:gd name="T75" fmla="*/ 11 h 125"/>
                <a:gd name="T76" fmla="*/ 86 w 124"/>
                <a:gd name="T77" fmla="*/ 6 h 125"/>
                <a:gd name="T78" fmla="*/ 74 w 124"/>
                <a:gd name="T79" fmla="*/ 1 h 125"/>
                <a:gd name="T80" fmla="*/ 62 w 124"/>
                <a:gd name="T81" fmla="*/ 0 h 125"/>
                <a:gd name="T82" fmla="*/ 50 w 124"/>
                <a:gd name="T83" fmla="*/ 1 h 125"/>
                <a:gd name="T84" fmla="*/ 37 w 124"/>
                <a:gd name="T85" fmla="*/ 6 h 125"/>
                <a:gd name="T86" fmla="*/ 27 w 124"/>
                <a:gd name="T87" fmla="*/ 11 h 125"/>
                <a:gd name="T88" fmla="*/ 18 w 124"/>
                <a:gd name="T89" fmla="*/ 19 h 125"/>
                <a:gd name="T90" fmla="*/ 11 w 124"/>
                <a:gd name="T91" fmla="*/ 28 h 125"/>
                <a:gd name="T92" fmla="*/ 5 w 124"/>
                <a:gd name="T93" fmla="*/ 38 h 125"/>
                <a:gd name="T94" fmla="*/ 1 w 124"/>
                <a:gd name="T95" fmla="*/ 50 h 125"/>
                <a:gd name="T96" fmla="*/ 0 w 124"/>
                <a:gd name="T97"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5">
                  <a:moveTo>
                    <a:pt x="93" y="62"/>
                  </a:moveTo>
                  <a:lnTo>
                    <a:pt x="93" y="69"/>
                  </a:lnTo>
                  <a:lnTo>
                    <a:pt x="91" y="75"/>
                  </a:lnTo>
                  <a:lnTo>
                    <a:pt x="87" y="80"/>
                  </a:lnTo>
                  <a:lnTo>
                    <a:pt x="84" y="85"/>
                  </a:lnTo>
                  <a:lnTo>
                    <a:pt x="80" y="88"/>
                  </a:lnTo>
                  <a:lnTo>
                    <a:pt x="74" y="91"/>
                  </a:lnTo>
                  <a:lnTo>
                    <a:pt x="68" y="94"/>
                  </a:lnTo>
                  <a:lnTo>
                    <a:pt x="62" y="94"/>
                  </a:lnTo>
                  <a:lnTo>
                    <a:pt x="56" y="94"/>
                  </a:lnTo>
                  <a:lnTo>
                    <a:pt x="50" y="91"/>
                  </a:lnTo>
                  <a:lnTo>
                    <a:pt x="45" y="88"/>
                  </a:lnTo>
                  <a:lnTo>
                    <a:pt x="40" y="85"/>
                  </a:lnTo>
                  <a:lnTo>
                    <a:pt x="36" y="80"/>
                  </a:lnTo>
                  <a:lnTo>
                    <a:pt x="33" y="75"/>
                  </a:lnTo>
                  <a:lnTo>
                    <a:pt x="32" y="69"/>
                  </a:lnTo>
                  <a:lnTo>
                    <a:pt x="31" y="62"/>
                  </a:lnTo>
                  <a:lnTo>
                    <a:pt x="32" y="57"/>
                  </a:lnTo>
                  <a:lnTo>
                    <a:pt x="33" y="50"/>
                  </a:lnTo>
                  <a:lnTo>
                    <a:pt x="36" y="46"/>
                  </a:lnTo>
                  <a:lnTo>
                    <a:pt x="40" y="41"/>
                  </a:lnTo>
                  <a:lnTo>
                    <a:pt x="45" y="37"/>
                  </a:lnTo>
                  <a:lnTo>
                    <a:pt x="50" y="35"/>
                  </a:lnTo>
                  <a:lnTo>
                    <a:pt x="56" y="32"/>
                  </a:lnTo>
                  <a:lnTo>
                    <a:pt x="62" y="31"/>
                  </a:lnTo>
                  <a:lnTo>
                    <a:pt x="68" y="32"/>
                  </a:lnTo>
                  <a:lnTo>
                    <a:pt x="74" y="35"/>
                  </a:lnTo>
                  <a:lnTo>
                    <a:pt x="80" y="37"/>
                  </a:lnTo>
                  <a:lnTo>
                    <a:pt x="84" y="41"/>
                  </a:lnTo>
                  <a:lnTo>
                    <a:pt x="87" y="46"/>
                  </a:lnTo>
                  <a:lnTo>
                    <a:pt x="91" y="50"/>
                  </a:lnTo>
                  <a:lnTo>
                    <a:pt x="93" y="57"/>
                  </a:lnTo>
                  <a:lnTo>
                    <a:pt x="93" y="62"/>
                  </a:lnTo>
                  <a:close/>
                  <a:moveTo>
                    <a:pt x="0" y="62"/>
                  </a:moveTo>
                  <a:lnTo>
                    <a:pt x="0" y="69"/>
                  </a:lnTo>
                  <a:lnTo>
                    <a:pt x="1" y="75"/>
                  </a:lnTo>
                  <a:lnTo>
                    <a:pt x="3" y="81"/>
                  </a:lnTo>
                  <a:lnTo>
                    <a:pt x="5" y="87"/>
                  </a:lnTo>
                  <a:lnTo>
                    <a:pt x="7" y="92"/>
                  </a:lnTo>
                  <a:lnTo>
                    <a:pt x="11" y="97"/>
                  </a:lnTo>
                  <a:lnTo>
                    <a:pt x="14" y="102"/>
                  </a:lnTo>
                  <a:lnTo>
                    <a:pt x="18" y="107"/>
                  </a:lnTo>
                  <a:lnTo>
                    <a:pt x="23" y="110"/>
                  </a:lnTo>
                  <a:lnTo>
                    <a:pt x="27" y="115"/>
                  </a:lnTo>
                  <a:lnTo>
                    <a:pt x="33" y="117"/>
                  </a:lnTo>
                  <a:lnTo>
                    <a:pt x="37" y="120"/>
                  </a:lnTo>
                  <a:lnTo>
                    <a:pt x="44" y="122"/>
                  </a:lnTo>
                  <a:lnTo>
                    <a:pt x="50" y="124"/>
                  </a:lnTo>
                  <a:lnTo>
                    <a:pt x="55" y="125"/>
                  </a:lnTo>
                  <a:lnTo>
                    <a:pt x="62" y="125"/>
                  </a:lnTo>
                  <a:lnTo>
                    <a:pt x="68" y="125"/>
                  </a:lnTo>
                  <a:lnTo>
                    <a:pt x="74" y="124"/>
                  </a:lnTo>
                  <a:lnTo>
                    <a:pt x="81" y="122"/>
                  </a:lnTo>
                  <a:lnTo>
                    <a:pt x="86" y="120"/>
                  </a:lnTo>
                  <a:lnTo>
                    <a:pt x="92" y="117"/>
                  </a:lnTo>
                  <a:lnTo>
                    <a:pt x="96" y="115"/>
                  </a:lnTo>
                  <a:lnTo>
                    <a:pt x="102" y="110"/>
                  </a:lnTo>
                  <a:lnTo>
                    <a:pt x="106" y="107"/>
                  </a:lnTo>
                  <a:lnTo>
                    <a:pt x="110" y="102"/>
                  </a:lnTo>
                  <a:lnTo>
                    <a:pt x="114" y="98"/>
                  </a:lnTo>
                  <a:lnTo>
                    <a:pt x="116" y="92"/>
                  </a:lnTo>
                  <a:lnTo>
                    <a:pt x="120" y="87"/>
                  </a:lnTo>
                  <a:lnTo>
                    <a:pt x="122" y="81"/>
                  </a:lnTo>
                  <a:lnTo>
                    <a:pt x="123" y="76"/>
                  </a:lnTo>
                  <a:lnTo>
                    <a:pt x="124" y="69"/>
                  </a:lnTo>
                  <a:lnTo>
                    <a:pt x="124" y="62"/>
                  </a:lnTo>
                  <a:lnTo>
                    <a:pt x="124" y="57"/>
                  </a:lnTo>
                  <a:lnTo>
                    <a:pt x="123" y="50"/>
                  </a:lnTo>
                  <a:lnTo>
                    <a:pt x="122" y="45"/>
                  </a:lnTo>
                  <a:lnTo>
                    <a:pt x="120" y="38"/>
                  </a:lnTo>
                  <a:lnTo>
                    <a:pt x="116" y="34"/>
                  </a:lnTo>
                  <a:lnTo>
                    <a:pt x="114" y="28"/>
                  </a:lnTo>
                  <a:lnTo>
                    <a:pt x="110" y="24"/>
                  </a:lnTo>
                  <a:lnTo>
                    <a:pt x="106" y="19"/>
                  </a:lnTo>
                  <a:lnTo>
                    <a:pt x="102" y="15"/>
                  </a:lnTo>
                  <a:lnTo>
                    <a:pt x="96" y="11"/>
                  </a:lnTo>
                  <a:lnTo>
                    <a:pt x="92" y="8"/>
                  </a:lnTo>
                  <a:lnTo>
                    <a:pt x="86" y="6"/>
                  </a:lnTo>
                  <a:lnTo>
                    <a:pt x="81" y="4"/>
                  </a:lnTo>
                  <a:lnTo>
                    <a:pt x="74" y="1"/>
                  </a:lnTo>
                  <a:lnTo>
                    <a:pt x="68" y="1"/>
                  </a:lnTo>
                  <a:lnTo>
                    <a:pt x="62" y="0"/>
                  </a:lnTo>
                  <a:lnTo>
                    <a:pt x="55" y="1"/>
                  </a:lnTo>
                  <a:lnTo>
                    <a:pt x="50" y="1"/>
                  </a:lnTo>
                  <a:lnTo>
                    <a:pt x="44" y="4"/>
                  </a:lnTo>
                  <a:lnTo>
                    <a:pt x="37" y="6"/>
                  </a:lnTo>
                  <a:lnTo>
                    <a:pt x="33" y="8"/>
                  </a:lnTo>
                  <a:lnTo>
                    <a:pt x="27" y="11"/>
                  </a:lnTo>
                  <a:lnTo>
                    <a:pt x="23" y="15"/>
                  </a:lnTo>
                  <a:lnTo>
                    <a:pt x="18" y="19"/>
                  </a:lnTo>
                  <a:lnTo>
                    <a:pt x="14" y="24"/>
                  </a:lnTo>
                  <a:lnTo>
                    <a:pt x="11" y="28"/>
                  </a:lnTo>
                  <a:lnTo>
                    <a:pt x="7" y="34"/>
                  </a:lnTo>
                  <a:lnTo>
                    <a:pt x="5" y="38"/>
                  </a:lnTo>
                  <a:lnTo>
                    <a:pt x="3" y="45"/>
                  </a:lnTo>
                  <a:lnTo>
                    <a:pt x="1" y="50"/>
                  </a:lnTo>
                  <a:lnTo>
                    <a:pt x="0" y="57"/>
                  </a:lnTo>
                  <a:lnTo>
                    <a:pt x="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45">
              <a:extLst>
                <a:ext uri="{FF2B5EF4-FFF2-40B4-BE49-F238E27FC236}">
                  <a16:creationId xmlns:a16="http://schemas.microsoft.com/office/drawing/2014/main" id="{CE9399BF-8691-429A-BAC2-F362BD2B6414}"/>
                </a:ext>
              </a:extLst>
            </p:cNvPr>
            <p:cNvSpPr>
              <a:spLocks noEditPoints="1"/>
            </p:cNvSpPr>
            <p:nvPr/>
          </p:nvSpPr>
          <p:spPr bwMode="auto">
            <a:xfrm>
              <a:off x="8737493" y="1539317"/>
              <a:ext cx="287091" cy="104733"/>
            </a:xfrm>
            <a:custGeom>
              <a:avLst/>
              <a:gdLst>
                <a:gd name="T0" fmla="*/ 899 w 933"/>
                <a:gd name="T1" fmla="*/ 251 h 342"/>
                <a:gd name="T2" fmla="*/ 881 w 933"/>
                <a:gd name="T3" fmla="*/ 272 h 342"/>
                <a:gd name="T4" fmla="*/ 856 w 933"/>
                <a:gd name="T5" fmla="*/ 280 h 342"/>
                <a:gd name="T6" fmla="*/ 60 w 933"/>
                <a:gd name="T7" fmla="*/ 277 h 342"/>
                <a:gd name="T8" fmla="*/ 40 w 933"/>
                <a:gd name="T9" fmla="*/ 259 h 342"/>
                <a:gd name="T10" fmla="*/ 31 w 933"/>
                <a:gd name="T11" fmla="*/ 234 h 342"/>
                <a:gd name="T12" fmla="*/ 36 w 933"/>
                <a:gd name="T13" fmla="*/ 60 h 342"/>
                <a:gd name="T14" fmla="*/ 52 w 933"/>
                <a:gd name="T15" fmla="*/ 39 h 342"/>
                <a:gd name="T16" fmla="*/ 78 w 933"/>
                <a:gd name="T17" fmla="*/ 31 h 342"/>
                <a:gd name="T18" fmla="*/ 873 w 933"/>
                <a:gd name="T19" fmla="*/ 35 h 342"/>
                <a:gd name="T20" fmla="*/ 894 w 933"/>
                <a:gd name="T21" fmla="*/ 52 h 342"/>
                <a:gd name="T22" fmla="*/ 902 w 933"/>
                <a:gd name="T23" fmla="*/ 78 h 342"/>
                <a:gd name="T24" fmla="*/ 78 w 933"/>
                <a:gd name="T25" fmla="*/ 0 h 342"/>
                <a:gd name="T26" fmla="*/ 56 w 933"/>
                <a:gd name="T27" fmla="*/ 4 h 342"/>
                <a:gd name="T28" fmla="*/ 35 w 933"/>
                <a:gd name="T29" fmla="*/ 14 h 342"/>
                <a:gd name="T30" fmla="*/ 18 w 933"/>
                <a:gd name="T31" fmla="*/ 29 h 342"/>
                <a:gd name="T32" fmla="*/ 7 w 933"/>
                <a:gd name="T33" fmla="*/ 48 h 342"/>
                <a:gd name="T34" fmla="*/ 1 w 933"/>
                <a:gd name="T35" fmla="*/ 70 h 342"/>
                <a:gd name="T36" fmla="*/ 1 w 933"/>
                <a:gd name="T37" fmla="*/ 241 h 342"/>
                <a:gd name="T38" fmla="*/ 7 w 933"/>
                <a:gd name="T39" fmla="*/ 264 h 342"/>
                <a:gd name="T40" fmla="*/ 18 w 933"/>
                <a:gd name="T41" fmla="*/ 282 h 342"/>
                <a:gd name="T42" fmla="*/ 35 w 933"/>
                <a:gd name="T43" fmla="*/ 298 h 342"/>
                <a:gd name="T44" fmla="*/ 56 w 933"/>
                <a:gd name="T45" fmla="*/ 308 h 342"/>
                <a:gd name="T46" fmla="*/ 78 w 933"/>
                <a:gd name="T47" fmla="*/ 311 h 342"/>
                <a:gd name="T48" fmla="*/ 126 w 933"/>
                <a:gd name="T49" fmla="*/ 330 h 342"/>
                <a:gd name="T50" fmla="*/ 129 w 933"/>
                <a:gd name="T51" fmla="*/ 338 h 342"/>
                <a:gd name="T52" fmla="*/ 138 w 933"/>
                <a:gd name="T53" fmla="*/ 342 h 342"/>
                <a:gd name="T54" fmla="*/ 147 w 933"/>
                <a:gd name="T55" fmla="*/ 341 h 342"/>
                <a:gd name="T56" fmla="*/ 153 w 933"/>
                <a:gd name="T57" fmla="*/ 336 h 342"/>
                <a:gd name="T58" fmla="*/ 156 w 933"/>
                <a:gd name="T59" fmla="*/ 327 h 342"/>
                <a:gd name="T60" fmla="*/ 778 w 933"/>
                <a:gd name="T61" fmla="*/ 327 h 342"/>
                <a:gd name="T62" fmla="*/ 780 w 933"/>
                <a:gd name="T63" fmla="*/ 336 h 342"/>
                <a:gd name="T64" fmla="*/ 787 w 933"/>
                <a:gd name="T65" fmla="*/ 341 h 342"/>
                <a:gd name="T66" fmla="*/ 797 w 933"/>
                <a:gd name="T67" fmla="*/ 342 h 342"/>
                <a:gd name="T68" fmla="*/ 805 w 933"/>
                <a:gd name="T69" fmla="*/ 338 h 342"/>
                <a:gd name="T70" fmla="*/ 809 w 933"/>
                <a:gd name="T71" fmla="*/ 330 h 342"/>
                <a:gd name="T72" fmla="*/ 856 w 933"/>
                <a:gd name="T73" fmla="*/ 311 h 342"/>
                <a:gd name="T74" fmla="*/ 879 w 933"/>
                <a:gd name="T75" fmla="*/ 308 h 342"/>
                <a:gd name="T76" fmla="*/ 899 w 933"/>
                <a:gd name="T77" fmla="*/ 298 h 342"/>
                <a:gd name="T78" fmla="*/ 916 w 933"/>
                <a:gd name="T79" fmla="*/ 282 h 342"/>
                <a:gd name="T80" fmla="*/ 927 w 933"/>
                <a:gd name="T81" fmla="*/ 264 h 342"/>
                <a:gd name="T82" fmla="*/ 932 w 933"/>
                <a:gd name="T83" fmla="*/ 241 h 342"/>
                <a:gd name="T84" fmla="*/ 932 w 933"/>
                <a:gd name="T85" fmla="*/ 70 h 342"/>
                <a:gd name="T86" fmla="*/ 927 w 933"/>
                <a:gd name="T87" fmla="*/ 48 h 342"/>
                <a:gd name="T88" fmla="*/ 916 w 933"/>
                <a:gd name="T89" fmla="*/ 29 h 342"/>
                <a:gd name="T90" fmla="*/ 899 w 933"/>
                <a:gd name="T91" fmla="*/ 14 h 342"/>
                <a:gd name="T92" fmla="*/ 879 w 933"/>
                <a:gd name="T93" fmla="*/ 4 h 342"/>
                <a:gd name="T94" fmla="*/ 856 w 933"/>
                <a:gd name="T95"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3" h="342">
                  <a:moveTo>
                    <a:pt x="902" y="234"/>
                  </a:moveTo>
                  <a:lnTo>
                    <a:pt x="901" y="242"/>
                  </a:lnTo>
                  <a:lnTo>
                    <a:pt x="899" y="251"/>
                  </a:lnTo>
                  <a:lnTo>
                    <a:pt x="894" y="259"/>
                  </a:lnTo>
                  <a:lnTo>
                    <a:pt x="889" y="267"/>
                  </a:lnTo>
                  <a:lnTo>
                    <a:pt x="881" y="272"/>
                  </a:lnTo>
                  <a:lnTo>
                    <a:pt x="873" y="277"/>
                  </a:lnTo>
                  <a:lnTo>
                    <a:pt x="864" y="279"/>
                  </a:lnTo>
                  <a:lnTo>
                    <a:pt x="856" y="280"/>
                  </a:lnTo>
                  <a:lnTo>
                    <a:pt x="78" y="280"/>
                  </a:lnTo>
                  <a:lnTo>
                    <a:pt x="69" y="279"/>
                  </a:lnTo>
                  <a:lnTo>
                    <a:pt x="60" y="277"/>
                  </a:lnTo>
                  <a:lnTo>
                    <a:pt x="52" y="272"/>
                  </a:lnTo>
                  <a:lnTo>
                    <a:pt x="46" y="267"/>
                  </a:lnTo>
                  <a:lnTo>
                    <a:pt x="40" y="259"/>
                  </a:lnTo>
                  <a:lnTo>
                    <a:pt x="36" y="251"/>
                  </a:lnTo>
                  <a:lnTo>
                    <a:pt x="32" y="242"/>
                  </a:lnTo>
                  <a:lnTo>
                    <a:pt x="31" y="234"/>
                  </a:lnTo>
                  <a:lnTo>
                    <a:pt x="31" y="78"/>
                  </a:lnTo>
                  <a:lnTo>
                    <a:pt x="32" y="69"/>
                  </a:lnTo>
                  <a:lnTo>
                    <a:pt x="36" y="60"/>
                  </a:lnTo>
                  <a:lnTo>
                    <a:pt x="40" y="52"/>
                  </a:lnTo>
                  <a:lnTo>
                    <a:pt x="46" y="45"/>
                  </a:lnTo>
                  <a:lnTo>
                    <a:pt x="52" y="39"/>
                  </a:lnTo>
                  <a:lnTo>
                    <a:pt x="60" y="35"/>
                  </a:lnTo>
                  <a:lnTo>
                    <a:pt x="69" y="32"/>
                  </a:lnTo>
                  <a:lnTo>
                    <a:pt x="78" y="31"/>
                  </a:lnTo>
                  <a:lnTo>
                    <a:pt x="856" y="31"/>
                  </a:lnTo>
                  <a:lnTo>
                    <a:pt x="864" y="32"/>
                  </a:lnTo>
                  <a:lnTo>
                    <a:pt x="873" y="35"/>
                  </a:lnTo>
                  <a:lnTo>
                    <a:pt x="881" y="39"/>
                  </a:lnTo>
                  <a:lnTo>
                    <a:pt x="889" y="45"/>
                  </a:lnTo>
                  <a:lnTo>
                    <a:pt x="894" y="52"/>
                  </a:lnTo>
                  <a:lnTo>
                    <a:pt x="899" y="60"/>
                  </a:lnTo>
                  <a:lnTo>
                    <a:pt x="901" y="69"/>
                  </a:lnTo>
                  <a:lnTo>
                    <a:pt x="902" y="78"/>
                  </a:lnTo>
                  <a:lnTo>
                    <a:pt x="902" y="234"/>
                  </a:lnTo>
                  <a:close/>
                  <a:moveTo>
                    <a:pt x="856" y="0"/>
                  </a:moveTo>
                  <a:lnTo>
                    <a:pt x="78" y="0"/>
                  </a:lnTo>
                  <a:lnTo>
                    <a:pt x="70" y="0"/>
                  </a:lnTo>
                  <a:lnTo>
                    <a:pt x="62" y="2"/>
                  </a:lnTo>
                  <a:lnTo>
                    <a:pt x="56" y="4"/>
                  </a:lnTo>
                  <a:lnTo>
                    <a:pt x="48" y="7"/>
                  </a:lnTo>
                  <a:lnTo>
                    <a:pt x="41" y="10"/>
                  </a:lnTo>
                  <a:lnTo>
                    <a:pt x="35" y="14"/>
                  </a:lnTo>
                  <a:lnTo>
                    <a:pt x="29" y="18"/>
                  </a:lnTo>
                  <a:lnTo>
                    <a:pt x="23" y="24"/>
                  </a:lnTo>
                  <a:lnTo>
                    <a:pt x="18" y="29"/>
                  </a:lnTo>
                  <a:lnTo>
                    <a:pt x="13" y="35"/>
                  </a:lnTo>
                  <a:lnTo>
                    <a:pt x="10" y="41"/>
                  </a:lnTo>
                  <a:lnTo>
                    <a:pt x="7" y="48"/>
                  </a:lnTo>
                  <a:lnTo>
                    <a:pt x="5" y="55"/>
                  </a:lnTo>
                  <a:lnTo>
                    <a:pt x="2" y="62"/>
                  </a:lnTo>
                  <a:lnTo>
                    <a:pt x="1" y="70"/>
                  </a:lnTo>
                  <a:lnTo>
                    <a:pt x="0" y="78"/>
                  </a:lnTo>
                  <a:lnTo>
                    <a:pt x="0" y="234"/>
                  </a:lnTo>
                  <a:lnTo>
                    <a:pt x="1" y="241"/>
                  </a:lnTo>
                  <a:lnTo>
                    <a:pt x="2" y="249"/>
                  </a:lnTo>
                  <a:lnTo>
                    <a:pt x="5" y="257"/>
                  </a:lnTo>
                  <a:lnTo>
                    <a:pt x="7" y="264"/>
                  </a:lnTo>
                  <a:lnTo>
                    <a:pt x="10" y="270"/>
                  </a:lnTo>
                  <a:lnTo>
                    <a:pt x="13" y="277"/>
                  </a:lnTo>
                  <a:lnTo>
                    <a:pt x="18" y="282"/>
                  </a:lnTo>
                  <a:lnTo>
                    <a:pt x="23" y="288"/>
                  </a:lnTo>
                  <a:lnTo>
                    <a:pt x="29" y="294"/>
                  </a:lnTo>
                  <a:lnTo>
                    <a:pt x="35" y="298"/>
                  </a:lnTo>
                  <a:lnTo>
                    <a:pt x="41" y="301"/>
                  </a:lnTo>
                  <a:lnTo>
                    <a:pt x="48" y="305"/>
                  </a:lnTo>
                  <a:lnTo>
                    <a:pt x="56" y="308"/>
                  </a:lnTo>
                  <a:lnTo>
                    <a:pt x="62" y="309"/>
                  </a:lnTo>
                  <a:lnTo>
                    <a:pt x="70" y="311"/>
                  </a:lnTo>
                  <a:lnTo>
                    <a:pt x="78" y="311"/>
                  </a:lnTo>
                  <a:lnTo>
                    <a:pt x="125" y="311"/>
                  </a:lnTo>
                  <a:lnTo>
                    <a:pt x="125" y="327"/>
                  </a:lnTo>
                  <a:lnTo>
                    <a:pt x="126" y="330"/>
                  </a:lnTo>
                  <a:lnTo>
                    <a:pt x="126" y="332"/>
                  </a:lnTo>
                  <a:lnTo>
                    <a:pt x="128" y="336"/>
                  </a:lnTo>
                  <a:lnTo>
                    <a:pt x="129" y="338"/>
                  </a:lnTo>
                  <a:lnTo>
                    <a:pt x="132" y="339"/>
                  </a:lnTo>
                  <a:lnTo>
                    <a:pt x="135" y="341"/>
                  </a:lnTo>
                  <a:lnTo>
                    <a:pt x="138" y="342"/>
                  </a:lnTo>
                  <a:lnTo>
                    <a:pt x="140" y="342"/>
                  </a:lnTo>
                  <a:lnTo>
                    <a:pt x="143" y="342"/>
                  </a:lnTo>
                  <a:lnTo>
                    <a:pt x="147" y="341"/>
                  </a:lnTo>
                  <a:lnTo>
                    <a:pt x="149" y="339"/>
                  </a:lnTo>
                  <a:lnTo>
                    <a:pt x="151" y="338"/>
                  </a:lnTo>
                  <a:lnTo>
                    <a:pt x="153" y="336"/>
                  </a:lnTo>
                  <a:lnTo>
                    <a:pt x="155" y="332"/>
                  </a:lnTo>
                  <a:lnTo>
                    <a:pt x="156" y="330"/>
                  </a:lnTo>
                  <a:lnTo>
                    <a:pt x="156" y="327"/>
                  </a:lnTo>
                  <a:lnTo>
                    <a:pt x="156" y="311"/>
                  </a:lnTo>
                  <a:lnTo>
                    <a:pt x="778" y="311"/>
                  </a:lnTo>
                  <a:lnTo>
                    <a:pt x="778" y="327"/>
                  </a:lnTo>
                  <a:lnTo>
                    <a:pt x="778" y="330"/>
                  </a:lnTo>
                  <a:lnTo>
                    <a:pt x="779" y="332"/>
                  </a:lnTo>
                  <a:lnTo>
                    <a:pt x="780" y="336"/>
                  </a:lnTo>
                  <a:lnTo>
                    <a:pt x="782" y="338"/>
                  </a:lnTo>
                  <a:lnTo>
                    <a:pt x="785" y="339"/>
                  </a:lnTo>
                  <a:lnTo>
                    <a:pt x="787" y="341"/>
                  </a:lnTo>
                  <a:lnTo>
                    <a:pt x="790" y="342"/>
                  </a:lnTo>
                  <a:lnTo>
                    <a:pt x="793" y="342"/>
                  </a:lnTo>
                  <a:lnTo>
                    <a:pt x="797" y="342"/>
                  </a:lnTo>
                  <a:lnTo>
                    <a:pt x="799" y="341"/>
                  </a:lnTo>
                  <a:lnTo>
                    <a:pt x="802" y="339"/>
                  </a:lnTo>
                  <a:lnTo>
                    <a:pt x="805" y="338"/>
                  </a:lnTo>
                  <a:lnTo>
                    <a:pt x="807" y="336"/>
                  </a:lnTo>
                  <a:lnTo>
                    <a:pt x="808" y="332"/>
                  </a:lnTo>
                  <a:lnTo>
                    <a:pt x="809" y="330"/>
                  </a:lnTo>
                  <a:lnTo>
                    <a:pt x="809" y="327"/>
                  </a:lnTo>
                  <a:lnTo>
                    <a:pt x="809" y="311"/>
                  </a:lnTo>
                  <a:lnTo>
                    <a:pt x="856" y="311"/>
                  </a:lnTo>
                  <a:lnTo>
                    <a:pt x="863" y="311"/>
                  </a:lnTo>
                  <a:lnTo>
                    <a:pt x="871" y="309"/>
                  </a:lnTo>
                  <a:lnTo>
                    <a:pt x="879" y="308"/>
                  </a:lnTo>
                  <a:lnTo>
                    <a:pt x="886" y="305"/>
                  </a:lnTo>
                  <a:lnTo>
                    <a:pt x="892" y="301"/>
                  </a:lnTo>
                  <a:lnTo>
                    <a:pt x="899" y="298"/>
                  </a:lnTo>
                  <a:lnTo>
                    <a:pt x="904" y="294"/>
                  </a:lnTo>
                  <a:lnTo>
                    <a:pt x="910" y="288"/>
                  </a:lnTo>
                  <a:lnTo>
                    <a:pt x="916" y="282"/>
                  </a:lnTo>
                  <a:lnTo>
                    <a:pt x="920" y="277"/>
                  </a:lnTo>
                  <a:lnTo>
                    <a:pt x="923" y="270"/>
                  </a:lnTo>
                  <a:lnTo>
                    <a:pt x="927" y="264"/>
                  </a:lnTo>
                  <a:lnTo>
                    <a:pt x="930" y="257"/>
                  </a:lnTo>
                  <a:lnTo>
                    <a:pt x="931" y="249"/>
                  </a:lnTo>
                  <a:lnTo>
                    <a:pt x="932" y="241"/>
                  </a:lnTo>
                  <a:lnTo>
                    <a:pt x="933" y="234"/>
                  </a:lnTo>
                  <a:lnTo>
                    <a:pt x="933" y="78"/>
                  </a:lnTo>
                  <a:lnTo>
                    <a:pt x="932" y="70"/>
                  </a:lnTo>
                  <a:lnTo>
                    <a:pt x="931" y="62"/>
                  </a:lnTo>
                  <a:lnTo>
                    <a:pt x="930" y="55"/>
                  </a:lnTo>
                  <a:lnTo>
                    <a:pt x="927" y="48"/>
                  </a:lnTo>
                  <a:lnTo>
                    <a:pt x="923" y="41"/>
                  </a:lnTo>
                  <a:lnTo>
                    <a:pt x="920" y="35"/>
                  </a:lnTo>
                  <a:lnTo>
                    <a:pt x="916" y="29"/>
                  </a:lnTo>
                  <a:lnTo>
                    <a:pt x="910" y="24"/>
                  </a:lnTo>
                  <a:lnTo>
                    <a:pt x="904" y="18"/>
                  </a:lnTo>
                  <a:lnTo>
                    <a:pt x="899" y="14"/>
                  </a:lnTo>
                  <a:lnTo>
                    <a:pt x="892" y="10"/>
                  </a:lnTo>
                  <a:lnTo>
                    <a:pt x="886" y="7"/>
                  </a:lnTo>
                  <a:lnTo>
                    <a:pt x="879" y="4"/>
                  </a:lnTo>
                  <a:lnTo>
                    <a:pt x="871" y="2"/>
                  </a:lnTo>
                  <a:lnTo>
                    <a:pt x="863" y="0"/>
                  </a:lnTo>
                  <a:lnTo>
                    <a:pt x="8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46">
              <a:extLst>
                <a:ext uri="{FF2B5EF4-FFF2-40B4-BE49-F238E27FC236}">
                  <a16:creationId xmlns:a16="http://schemas.microsoft.com/office/drawing/2014/main" id="{8473338C-0367-458D-B8BE-20612FC892B3}"/>
                </a:ext>
              </a:extLst>
            </p:cNvPr>
            <p:cNvSpPr>
              <a:spLocks noEditPoints="1"/>
            </p:cNvSpPr>
            <p:nvPr/>
          </p:nvSpPr>
          <p:spPr bwMode="auto">
            <a:xfrm>
              <a:off x="8837297" y="1428424"/>
              <a:ext cx="86250" cy="86250"/>
            </a:xfrm>
            <a:custGeom>
              <a:avLst/>
              <a:gdLst>
                <a:gd name="T0" fmla="*/ 246 w 280"/>
                <a:gd name="T1" fmla="*/ 163 h 280"/>
                <a:gd name="T2" fmla="*/ 235 w 280"/>
                <a:gd name="T3" fmla="*/ 193 h 280"/>
                <a:gd name="T4" fmla="*/ 216 w 280"/>
                <a:gd name="T5" fmla="*/ 217 h 280"/>
                <a:gd name="T6" fmla="*/ 192 w 280"/>
                <a:gd name="T7" fmla="*/ 236 h 280"/>
                <a:gd name="T8" fmla="*/ 162 w 280"/>
                <a:gd name="T9" fmla="*/ 247 h 280"/>
                <a:gd name="T10" fmla="*/ 129 w 280"/>
                <a:gd name="T11" fmla="*/ 249 h 280"/>
                <a:gd name="T12" fmla="*/ 98 w 280"/>
                <a:gd name="T13" fmla="*/ 240 h 280"/>
                <a:gd name="T14" fmla="*/ 71 w 280"/>
                <a:gd name="T15" fmla="*/ 225 h 280"/>
                <a:gd name="T16" fmla="*/ 50 w 280"/>
                <a:gd name="T17" fmla="*/ 202 h 280"/>
                <a:gd name="T18" fmla="*/ 36 w 280"/>
                <a:gd name="T19" fmla="*/ 173 h 280"/>
                <a:gd name="T20" fmla="*/ 31 w 280"/>
                <a:gd name="T21" fmla="*/ 140 h 280"/>
                <a:gd name="T22" fmla="*/ 36 w 280"/>
                <a:gd name="T23" fmla="*/ 108 h 280"/>
                <a:gd name="T24" fmla="*/ 50 w 280"/>
                <a:gd name="T25" fmla="*/ 80 h 280"/>
                <a:gd name="T26" fmla="*/ 71 w 280"/>
                <a:gd name="T27" fmla="*/ 57 h 280"/>
                <a:gd name="T28" fmla="*/ 98 w 280"/>
                <a:gd name="T29" fmla="*/ 40 h 280"/>
                <a:gd name="T30" fmla="*/ 129 w 280"/>
                <a:gd name="T31" fmla="*/ 33 h 280"/>
                <a:gd name="T32" fmla="*/ 162 w 280"/>
                <a:gd name="T33" fmla="*/ 34 h 280"/>
                <a:gd name="T34" fmla="*/ 192 w 280"/>
                <a:gd name="T35" fmla="*/ 45 h 280"/>
                <a:gd name="T36" fmla="*/ 216 w 280"/>
                <a:gd name="T37" fmla="*/ 64 h 280"/>
                <a:gd name="T38" fmla="*/ 235 w 280"/>
                <a:gd name="T39" fmla="*/ 89 h 280"/>
                <a:gd name="T40" fmla="*/ 246 w 280"/>
                <a:gd name="T41" fmla="*/ 119 h 280"/>
                <a:gd name="T42" fmla="*/ 0 w 280"/>
                <a:gd name="T43" fmla="*/ 140 h 280"/>
                <a:gd name="T44" fmla="*/ 6 w 280"/>
                <a:gd name="T45" fmla="*/ 183 h 280"/>
                <a:gd name="T46" fmla="*/ 24 w 280"/>
                <a:gd name="T47" fmla="*/ 219 h 280"/>
                <a:gd name="T48" fmla="*/ 51 w 280"/>
                <a:gd name="T49" fmla="*/ 248 h 280"/>
                <a:gd name="T50" fmla="*/ 85 w 280"/>
                <a:gd name="T51" fmla="*/ 269 h 280"/>
                <a:gd name="T52" fmla="*/ 125 w 280"/>
                <a:gd name="T53" fmla="*/ 280 h 280"/>
                <a:gd name="T54" fmla="*/ 168 w 280"/>
                <a:gd name="T55" fmla="*/ 278 h 280"/>
                <a:gd name="T56" fmla="*/ 206 w 280"/>
                <a:gd name="T57" fmla="*/ 264 h 280"/>
                <a:gd name="T58" fmla="*/ 239 w 280"/>
                <a:gd name="T59" fmla="*/ 239 h 280"/>
                <a:gd name="T60" fmla="*/ 263 w 280"/>
                <a:gd name="T61" fmla="*/ 207 h 280"/>
                <a:gd name="T62" fmla="*/ 276 w 280"/>
                <a:gd name="T63" fmla="*/ 169 h 280"/>
                <a:gd name="T64" fmla="*/ 279 w 280"/>
                <a:gd name="T65" fmla="*/ 126 h 280"/>
                <a:gd name="T66" fmla="*/ 269 w 280"/>
                <a:gd name="T67" fmla="*/ 86 h 280"/>
                <a:gd name="T68" fmla="*/ 248 w 280"/>
                <a:gd name="T69" fmla="*/ 52 h 280"/>
                <a:gd name="T70" fmla="*/ 218 w 280"/>
                <a:gd name="T71" fmla="*/ 25 h 280"/>
                <a:gd name="T72" fmla="*/ 182 w 280"/>
                <a:gd name="T73" fmla="*/ 7 h 280"/>
                <a:gd name="T74" fmla="*/ 140 w 280"/>
                <a:gd name="T75" fmla="*/ 0 h 280"/>
                <a:gd name="T76" fmla="*/ 99 w 280"/>
                <a:gd name="T77" fmla="*/ 7 h 280"/>
                <a:gd name="T78" fmla="*/ 62 w 280"/>
                <a:gd name="T79" fmla="*/ 25 h 280"/>
                <a:gd name="T80" fmla="*/ 32 w 280"/>
                <a:gd name="T81" fmla="*/ 52 h 280"/>
                <a:gd name="T82" fmla="*/ 11 w 280"/>
                <a:gd name="T83" fmla="*/ 86 h 280"/>
                <a:gd name="T84" fmla="*/ 1 w 280"/>
                <a:gd name="T85" fmla="*/ 12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0" h="280">
                  <a:moveTo>
                    <a:pt x="249" y="140"/>
                  </a:moveTo>
                  <a:lnTo>
                    <a:pt x="249" y="152"/>
                  </a:lnTo>
                  <a:lnTo>
                    <a:pt x="246" y="163"/>
                  </a:lnTo>
                  <a:lnTo>
                    <a:pt x="244" y="173"/>
                  </a:lnTo>
                  <a:lnTo>
                    <a:pt x="240" y="183"/>
                  </a:lnTo>
                  <a:lnTo>
                    <a:pt x="235" y="193"/>
                  </a:lnTo>
                  <a:lnTo>
                    <a:pt x="230" y="202"/>
                  </a:lnTo>
                  <a:lnTo>
                    <a:pt x="224" y="210"/>
                  </a:lnTo>
                  <a:lnTo>
                    <a:pt x="216" y="217"/>
                  </a:lnTo>
                  <a:lnTo>
                    <a:pt x="209" y="225"/>
                  </a:lnTo>
                  <a:lnTo>
                    <a:pt x="201" y="230"/>
                  </a:lnTo>
                  <a:lnTo>
                    <a:pt x="192" y="236"/>
                  </a:lnTo>
                  <a:lnTo>
                    <a:pt x="182" y="242"/>
                  </a:lnTo>
                  <a:lnTo>
                    <a:pt x="172" y="245"/>
                  </a:lnTo>
                  <a:lnTo>
                    <a:pt x="162" y="247"/>
                  </a:lnTo>
                  <a:lnTo>
                    <a:pt x="151" y="249"/>
                  </a:lnTo>
                  <a:lnTo>
                    <a:pt x="140" y="249"/>
                  </a:lnTo>
                  <a:lnTo>
                    <a:pt x="129" y="249"/>
                  </a:lnTo>
                  <a:lnTo>
                    <a:pt x="118" y="247"/>
                  </a:lnTo>
                  <a:lnTo>
                    <a:pt x="108" y="245"/>
                  </a:lnTo>
                  <a:lnTo>
                    <a:pt x="98" y="240"/>
                  </a:lnTo>
                  <a:lnTo>
                    <a:pt x="89" y="236"/>
                  </a:lnTo>
                  <a:lnTo>
                    <a:pt x="79" y="230"/>
                  </a:lnTo>
                  <a:lnTo>
                    <a:pt x="71" y="225"/>
                  </a:lnTo>
                  <a:lnTo>
                    <a:pt x="63" y="217"/>
                  </a:lnTo>
                  <a:lnTo>
                    <a:pt x="56" y="210"/>
                  </a:lnTo>
                  <a:lnTo>
                    <a:pt x="50" y="202"/>
                  </a:lnTo>
                  <a:lnTo>
                    <a:pt x="44" y="193"/>
                  </a:lnTo>
                  <a:lnTo>
                    <a:pt x="40" y="183"/>
                  </a:lnTo>
                  <a:lnTo>
                    <a:pt x="36" y="173"/>
                  </a:lnTo>
                  <a:lnTo>
                    <a:pt x="33" y="163"/>
                  </a:lnTo>
                  <a:lnTo>
                    <a:pt x="32" y="152"/>
                  </a:lnTo>
                  <a:lnTo>
                    <a:pt x="31" y="140"/>
                  </a:lnTo>
                  <a:lnTo>
                    <a:pt x="32" y="129"/>
                  </a:lnTo>
                  <a:lnTo>
                    <a:pt x="33" y="119"/>
                  </a:lnTo>
                  <a:lnTo>
                    <a:pt x="36" y="108"/>
                  </a:lnTo>
                  <a:lnTo>
                    <a:pt x="40" y="98"/>
                  </a:lnTo>
                  <a:lnTo>
                    <a:pt x="44" y="89"/>
                  </a:lnTo>
                  <a:lnTo>
                    <a:pt x="50" y="80"/>
                  </a:lnTo>
                  <a:lnTo>
                    <a:pt x="56" y="72"/>
                  </a:lnTo>
                  <a:lnTo>
                    <a:pt x="63" y="64"/>
                  </a:lnTo>
                  <a:lnTo>
                    <a:pt x="71" y="57"/>
                  </a:lnTo>
                  <a:lnTo>
                    <a:pt x="79" y="50"/>
                  </a:lnTo>
                  <a:lnTo>
                    <a:pt x="89" y="45"/>
                  </a:lnTo>
                  <a:lnTo>
                    <a:pt x="98" y="40"/>
                  </a:lnTo>
                  <a:lnTo>
                    <a:pt x="108" y="37"/>
                  </a:lnTo>
                  <a:lnTo>
                    <a:pt x="118" y="34"/>
                  </a:lnTo>
                  <a:lnTo>
                    <a:pt x="129" y="33"/>
                  </a:lnTo>
                  <a:lnTo>
                    <a:pt x="140" y="32"/>
                  </a:lnTo>
                  <a:lnTo>
                    <a:pt x="151" y="33"/>
                  </a:lnTo>
                  <a:lnTo>
                    <a:pt x="162" y="34"/>
                  </a:lnTo>
                  <a:lnTo>
                    <a:pt x="172" y="37"/>
                  </a:lnTo>
                  <a:lnTo>
                    <a:pt x="182" y="40"/>
                  </a:lnTo>
                  <a:lnTo>
                    <a:pt x="192" y="45"/>
                  </a:lnTo>
                  <a:lnTo>
                    <a:pt x="201" y="50"/>
                  </a:lnTo>
                  <a:lnTo>
                    <a:pt x="209" y="57"/>
                  </a:lnTo>
                  <a:lnTo>
                    <a:pt x="216" y="64"/>
                  </a:lnTo>
                  <a:lnTo>
                    <a:pt x="224" y="72"/>
                  </a:lnTo>
                  <a:lnTo>
                    <a:pt x="230" y="80"/>
                  </a:lnTo>
                  <a:lnTo>
                    <a:pt x="235" y="89"/>
                  </a:lnTo>
                  <a:lnTo>
                    <a:pt x="240" y="98"/>
                  </a:lnTo>
                  <a:lnTo>
                    <a:pt x="244" y="108"/>
                  </a:lnTo>
                  <a:lnTo>
                    <a:pt x="246" y="119"/>
                  </a:lnTo>
                  <a:lnTo>
                    <a:pt x="249" y="129"/>
                  </a:lnTo>
                  <a:lnTo>
                    <a:pt x="249" y="140"/>
                  </a:lnTo>
                  <a:close/>
                  <a:moveTo>
                    <a:pt x="0" y="140"/>
                  </a:moveTo>
                  <a:lnTo>
                    <a:pt x="1" y="155"/>
                  </a:lnTo>
                  <a:lnTo>
                    <a:pt x="3" y="169"/>
                  </a:lnTo>
                  <a:lnTo>
                    <a:pt x="6" y="183"/>
                  </a:lnTo>
                  <a:lnTo>
                    <a:pt x="11" y="195"/>
                  </a:lnTo>
                  <a:lnTo>
                    <a:pt x="16" y="207"/>
                  </a:lnTo>
                  <a:lnTo>
                    <a:pt x="24" y="219"/>
                  </a:lnTo>
                  <a:lnTo>
                    <a:pt x="32" y="229"/>
                  </a:lnTo>
                  <a:lnTo>
                    <a:pt x="41" y="239"/>
                  </a:lnTo>
                  <a:lnTo>
                    <a:pt x="51" y="248"/>
                  </a:lnTo>
                  <a:lnTo>
                    <a:pt x="62" y="257"/>
                  </a:lnTo>
                  <a:lnTo>
                    <a:pt x="73" y="264"/>
                  </a:lnTo>
                  <a:lnTo>
                    <a:pt x="85" y="269"/>
                  </a:lnTo>
                  <a:lnTo>
                    <a:pt x="99" y="275"/>
                  </a:lnTo>
                  <a:lnTo>
                    <a:pt x="112" y="278"/>
                  </a:lnTo>
                  <a:lnTo>
                    <a:pt x="125" y="280"/>
                  </a:lnTo>
                  <a:lnTo>
                    <a:pt x="140" y="280"/>
                  </a:lnTo>
                  <a:lnTo>
                    <a:pt x="154" y="280"/>
                  </a:lnTo>
                  <a:lnTo>
                    <a:pt x="168" y="278"/>
                  </a:lnTo>
                  <a:lnTo>
                    <a:pt x="182" y="275"/>
                  </a:lnTo>
                  <a:lnTo>
                    <a:pt x="194" y="269"/>
                  </a:lnTo>
                  <a:lnTo>
                    <a:pt x="206" y="264"/>
                  </a:lnTo>
                  <a:lnTo>
                    <a:pt x="218" y="257"/>
                  </a:lnTo>
                  <a:lnTo>
                    <a:pt x="229" y="248"/>
                  </a:lnTo>
                  <a:lnTo>
                    <a:pt x="239" y="239"/>
                  </a:lnTo>
                  <a:lnTo>
                    <a:pt x="248" y="229"/>
                  </a:lnTo>
                  <a:lnTo>
                    <a:pt x="256" y="219"/>
                  </a:lnTo>
                  <a:lnTo>
                    <a:pt x="263" y="207"/>
                  </a:lnTo>
                  <a:lnTo>
                    <a:pt x="269" y="195"/>
                  </a:lnTo>
                  <a:lnTo>
                    <a:pt x="273" y="183"/>
                  </a:lnTo>
                  <a:lnTo>
                    <a:pt x="276" y="169"/>
                  </a:lnTo>
                  <a:lnTo>
                    <a:pt x="279" y="155"/>
                  </a:lnTo>
                  <a:lnTo>
                    <a:pt x="280" y="140"/>
                  </a:lnTo>
                  <a:lnTo>
                    <a:pt x="279" y="126"/>
                  </a:lnTo>
                  <a:lnTo>
                    <a:pt x="276" y="113"/>
                  </a:lnTo>
                  <a:lnTo>
                    <a:pt x="273" y="99"/>
                  </a:lnTo>
                  <a:lnTo>
                    <a:pt x="269" y="86"/>
                  </a:lnTo>
                  <a:lnTo>
                    <a:pt x="263" y="74"/>
                  </a:lnTo>
                  <a:lnTo>
                    <a:pt x="256" y="63"/>
                  </a:lnTo>
                  <a:lnTo>
                    <a:pt x="248" y="52"/>
                  </a:lnTo>
                  <a:lnTo>
                    <a:pt x="239" y="42"/>
                  </a:lnTo>
                  <a:lnTo>
                    <a:pt x="229" y="33"/>
                  </a:lnTo>
                  <a:lnTo>
                    <a:pt x="218" y="25"/>
                  </a:lnTo>
                  <a:lnTo>
                    <a:pt x="206" y="18"/>
                  </a:lnTo>
                  <a:lnTo>
                    <a:pt x="194" y="12"/>
                  </a:lnTo>
                  <a:lnTo>
                    <a:pt x="182" y="7"/>
                  </a:lnTo>
                  <a:lnTo>
                    <a:pt x="168" y="4"/>
                  </a:lnTo>
                  <a:lnTo>
                    <a:pt x="154" y="2"/>
                  </a:lnTo>
                  <a:lnTo>
                    <a:pt x="140" y="0"/>
                  </a:lnTo>
                  <a:lnTo>
                    <a:pt x="125" y="2"/>
                  </a:lnTo>
                  <a:lnTo>
                    <a:pt x="112" y="4"/>
                  </a:lnTo>
                  <a:lnTo>
                    <a:pt x="99" y="7"/>
                  </a:lnTo>
                  <a:lnTo>
                    <a:pt x="85" y="12"/>
                  </a:lnTo>
                  <a:lnTo>
                    <a:pt x="73" y="18"/>
                  </a:lnTo>
                  <a:lnTo>
                    <a:pt x="62" y="25"/>
                  </a:lnTo>
                  <a:lnTo>
                    <a:pt x="51" y="33"/>
                  </a:lnTo>
                  <a:lnTo>
                    <a:pt x="41" y="42"/>
                  </a:lnTo>
                  <a:lnTo>
                    <a:pt x="32" y="52"/>
                  </a:lnTo>
                  <a:lnTo>
                    <a:pt x="24" y="63"/>
                  </a:lnTo>
                  <a:lnTo>
                    <a:pt x="16" y="74"/>
                  </a:lnTo>
                  <a:lnTo>
                    <a:pt x="11" y="86"/>
                  </a:lnTo>
                  <a:lnTo>
                    <a:pt x="6" y="99"/>
                  </a:lnTo>
                  <a:lnTo>
                    <a:pt x="3" y="113"/>
                  </a:lnTo>
                  <a:lnTo>
                    <a:pt x="1" y="126"/>
                  </a:ln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47">
              <a:extLst>
                <a:ext uri="{FF2B5EF4-FFF2-40B4-BE49-F238E27FC236}">
                  <a16:creationId xmlns:a16="http://schemas.microsoft.com/office/drawing/2014/main" id="{06DAE6F4-E4AF-433B-A440-5CD39F164DCE}"/>
                </a:ext>
              </a:extLst>
            </p:cNvPr>
            <p:cNvSpPr>
              <a:spLocks/>
            </p:cNvSpPr>
            <p:nvPr/>
          </p:nvSpPr>
          <p:spPr bwMode="auto">
            <a:xfrm>
              <a:off x="8875493" y="1392691"/>
              <a:ext cx="82554" cy="82554"/>
            </a:xfrm>
            <a:custGeom>
              <a:avLst/>
              <a:gdLst>
                <a:gd name="T0" fmla="*/ 236 w 267"/>
                <a:gd name="T1" fmla="*/ 254 h 267"/>
                <a:gd name="T2" fmla="*/ 238 w 267"/>
                <a:gd name="T3" fmla="*/ 260 h 267"/>
                <a:gd name="T4" fmla="*/ 242 w 267"/>
                <a:gd name="T5" fmla="*/ 264 h 267"/>
                <a:gd name="T6" fmla="*/ 248 w 267"/>
                <a:gd name="T7" fmla="*/ 267 h 267"/>
                <a:gd name="T8" fmla="*/ 255 w 267"/>
                <a:gd name="T9" fmla="*/ 267 h 267"/>
                <a:gd name="T10" fmla="*/ 260 w 267"/>
                <a:gd name="T11" fmla="*/ 264 h 267"/>
                <a:gd name="T12" fmla="*/ 264 w 267"/>
                <a:gd name="T13" fmla="*/ 260 h 267"/>
                <a:gd name="T14" fmla="*/ 267 w 267"/>
                <a:gd name="T15" fmla="*/ 254 h 267"/>
                <a:gd name="T16" fmla="*/ 267 w 267"/>
                <a:gd name="T17" fmla="*/ 238 h 267"/>
                <a:gd name="T18" fmla="*/ 264 w 267"/>
                <a:gd name="T19" fmla="*/ 213 h 267"/>
                <a:gd name="T20" fmla="*/ 259 w 267"/>
                <a:gd name="T21" fmla="*/ 189 h 267"/>
                <a:gd name="T22" fmla="*/ 251 w 267"/>
                <a:gd name="T23" fmla="*/ 164 h 267"/>
                <a:gd name="T24" fmla="*/ 242 w 267"/>
                <a:gd name="T25" fmla="*/ 142 h 267"/>
                <a:gd name="T26" fmla="*/ 230 w 267"/>
                <a:gd name="T27" fmla="*/ 121 h 267"/>
                <a:gd name="T28" fmla="*/ 217 w 267"/>
                <a:gd name="T29" fmla="*/ 101 h 267"/>
                <a:gd name="T30" fmla="*/ 201 w 267"/>
                <a:gd name="T31" fmla="*/ 82 h 267"/>
                <a:gd name="T32" fmla="*/ 185 w 267"/>
                <a:gd name="T33" fmla="*/ 65 h 267"/>
                <a:gd name="T34" fmla="*/ 166 w 267"/>
                <a:gd name="T35" fmla="*/ 50 h 267"/>
                <a:gd name="T36" fmla="*/ 146 w 267"/>
                <a:gd name="T37" fmla="*/ 37 h 267"/>
                <a:gd name="T38" fmla="*/ 125 w 267"/>
                <a:gd name="T39" fmla="*/ 25 h 267"/>
                <a:gd name="T40" fmla="*/ 102 w 267"/>
                <a:gd name="T41" fmla="*/ 15 h 267"/>
                <a:gd name="T42" fmla="*/ 78 w 267"/>
                <a:gd name="T43" fmla="*/ 8 h 267"/>
                <a:gd name="T44" fmla="*/ 54 w 267"/>
                <a:gd name="T45" fmla="*/ 3 h 267"/>
                <a:gd name="T46" fmla="*/ 29 w 267"/>
                <a:gd name="T47" fmla="*/ 1 h 267"/>
                <a:gd name="T48" fmla="*/ 12 w 267"/>
                <a:gd name="T49" fmla="*/ 1 h 267"/>
                <a:gd name="T50" fmla="*/ 7 w 267"/>
                <a:gd name="T51" fmla="*/ 3 h 267"/>
                <a:gd name="T52" fmla="*/ 4 w 267"/>
                <a:gd name="T53" fmla="*/ 7 h 267"/>
                <a:gd name="T54" fmla="*/ 0 w 267"/>
                <a:gd name="T55" fmla="*/ 13 h 267"/>
                <a:gd name="T56" fmla="*/ 0 w 267"/>
                <a:gd name="T57" fmla="*/ 19 h 267"/>
                <a:gd name="T58" fmla="*/ 4 w 267"/>
                <a:gd name="T59" fmla="*/ 24 h 267"/>
                <a:gd name="T60" fmla="*/ 7 w 267"/>
                <a:gd name="T61" fmla="*/ 29 h 267"/>
                <a:gd name="T62" fmla="*/ 12 w 267"/>
                <a:gd name="T63" fmla="*/ 31 h 267"/>
                <a:gd name="T64" fmla="*/ 27 w 267"/>
                <a:gd name="T65" fmla="*/ 32 h 267"/>
                <a:gd name="T66" fmla="*/ 49 w 267"/>
                <a:gd name="T67" fmla="*/ 34 h 267"/>
                <a:gd name="T68" fmla="*/ 81 w 267"/>
                <a:gd name="T69" fmla="*/ 41 h 267"/>
                <a:gd name="T70" fmla="*/ 120 w 267"/>
                <a:gd name="T71" fmla="*/ 58 h 267"/>
                <a:gd name="T72" fmla="*/ 156 w 267"/>
                <a:gd name="T73" fmla="*/ 81 h 267"/>
                <a:gd name="T74" fmla="*/ 186 w 267"/>
                <a:gd name="T75" fmla="*/ 111 h 267"/>
                <a:gd name="T76" fmla="*/ 209 w 267"/>
                <a:gd name="T77" fmla="*/ 147 h 267"/>
                <a:gd name="T78" fmla="*/ 226 w 267"/>
                <a:gd name="T79" fmla="*/ 185 h 267"/>
                <a:gd name="T80" fmla="*/ 234 w 267"/>
                <a:gd name="T81" fmla="*/ 218 h 267"/>
                <a:gd name="T82" fmla="*/ 236 w 267"/>
                <a:gd name="T83" fmla="*/ 24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267">
                  <a:moveTo>
                    <a:pt x="236" y="251"/>
                  </a:moveTo>
                  <a:lnTo>
                    <a:pt x="236" y="254"/>
                  </a:lnTo>
                  <a:lnTo>
                    <a:pt x="237" y="257"/>
                  </a:lnTo>
                  <a:lnTo>
                    <a:pt x="238" y="260"/>
                  </a:lnTo>
                  <a:lnTo>
                    <a:pt x="240" y="262"/>
                  </a:lnTo>
                  <a:lnTo>
                    <a:pt x="242" y="264"/>
                  </a:lnTo>
                  <a:lnTo>
                    <a:pt x="245" y="265"/>
                  </a:lnTo>
                  <a:lnTo>
                    <a:pt x="248" y="267"/>
                  </a:lnTo>
                  <a:lnTo>
                    <a:pt x="251" y="267"/>
                  </a:lnTo>
                  <a:lnTo>
                    <a:pt x="255" y="267"/>
                  </a:lnTo>
                  <a:lnTo>
                    <a:pt x="257" y="265"/>
                  </a:lnTo>
                  <a:lnTo>
                    <a:pt x="260" y="264"/>
                  </a:lnTo>
                  <a:lnTo>
                    <a:pt x="262" y="262"/>
                  </a:lnTo>
                  <a:lnTo>
                    <a:pt x="264" y="260"/>
                  </a:lnTo>
                  <a:lnTo>
                    <a:pt x="266" y="257"/>
                  </a:lnTo>
                  <a:lnTo>
                    <a:pt x="267" y="254"/>
                  </a:lnTo>
                  <a:lnTo>
                    <a:pt x="267" y="251"/>
                  </a:lnTo>
                  <a:lnTo>
                    <a:pt x="267" y="238"/>
                  </a:lnTo>
                  <a:lnTo>
                    <a:pt x="266" y="225"/>
                  </a:lnTo>
                  <a:lnTo>
                    <a:pt x="264" y="213"/>
                  </a:lnTo>
                  <a:lnTo>
                    <a:pt x="261" y="201"/>
                  </a:lnTo>
                  <a:lnTo>
                    <a:pt x="259" y="189"/>
                  </a:lnTo>
                  <a:lnTo>
                    <a:pt x="256" y="177"/>
                  </a:lnTo>
                  <a:lnTo>
                    <a:pt x="251" y="164"/>
                  </a:lnTo>
                  <a:lnTo>
                    <a:pt x="247" y="153"/>
                  </a:lnTo>
                  <a:lnTo>
                    <a:pt x="242" y="142"/>
                  </a:lnTo>
                  <a:lnTo>
                    <a:pt x="237" y="132"/>
                  </a:lnTo>
                  <a:lnTo>
                    <a:pt x="230" y="121"/>
                  </a:lnTo>
                  <a:lnTo>
                    <a:pt x="224" y="111"/>
                  </a:lnTo>
                  <a:lnTo>
                    <a:pt x="217" y="101"/>
                  </a:lnTo>
                  <a:lnTo>
                    <a:pt x="209" y="92"/>
                  </a:lnTo>
                  <a:lnTo>
                    <a:pt x="201" y="82"/>
                  </a:lnTo>
                  <a:lnTo>
                    <a:pt x="194" y="74"/>
                  </a:lnTo>
                  <a:lnTo>
                    <a:pt x="185" y="65"/>
                  </a:lnTo>
                  <a:lnTo>
                    <a:pt x="176" y="58"/>
                  </a:lnTo>
                  <a:lnTo>
                    <a:pt x="166" y="50"/>
                  </a:lnTo>
                  <a:lnTo>
                    <a:pt x="156" y="43"/>
                  </a:lnTo>
                  <a:lnTo>
                    <a:pt x="146" y="37"/>
                  </a:lnTo>
                  <a:lnTo>
                    <a:pt x="136" y="31"/>
                  </a:lnTo>
                  <a:lnTo>
                    <a:pt x="125" y="25"/>
                  </a:lnTo>
                  <a:lnTo>
                    <a:pt x="114" y="20"/>
                  </a:lnTo>
                  <a:lnTo>
                    <a:pt x="102" y="15"/>
                  </a:lnTo>
                  <a:lnTo>
                    <a:pt x="90" y="11"/>
                  </a:lnTo>
                  <a:lnTo>
                    <a:pt x="78" y="8"/>
                  </a:lnTo>
                  <a:lnTo>
                    <a:pt x="67" y="5"/>
                  </a:lnTo>
                  <a:lnTo>
                    <a:pt x="54" y="3"/>
                  </a:lnTo>
                  <a:lnTo>
                    <a:pt x="41" y="1"/>
                  </a:lnTo>
                  <a:lnTo>
                    <a:pt x="29" y="1"/>
                  </a:lnTo>
                  <a:lnTo>
                    <a:pt x="16" y="0"/>
                  </a:lnTo>
                  <a:lnTo>
                    <a:pt x="12" y="1"/>
                  </a:lnTo>
                  <a:lnTo>
                    <a:pt x="10" y="1"/>
                  </a:lnTo>
                  <a:lnTo>
                    <a:pt x="7" y="3"/>
                  </a:lnTo>
                  <a:lnTo>
                    <a:pt x="5" y="4"/>
                  </a:lnTo>
                  <a:lnTo>
                    <a:pt x="4" y="7"/>
                  </a:lnTo>
                  <a:lnTo>
                    <a:pt x="1" y="10"/>
                  </a:lnTo>
                  <a:lnTo>
                    <a:pt x="0" y="13"/>
                  </a:lnTo>
                  <a:lnTo>
                    <a:pt x="0" y="15"/>
                  </a:lnTo>
                  <a:lnTo>
                    <a:pt x="0" y="19"/>
                  </a:lnTo>
                  <a:lnTo>
                    <a:pt x="1" y="22"/>
                  </a:lnTo>
                  <a:lnTo>
                    <a:pt x="4" y="24"/>
                  </a:lnTo>
                  <a:lnTo>
                    <a:pt x="5" y="27"/>
                  </a:lnTo>
                  <a:lnTo>
                    <a:pt x="7" y="29"/>
                  </a:lnTo>
                  <a:lnTo>
                    <a:pt x="10" y="30"/>
                  </a:lnTo>
                  <a:lnTo>
                    <a:pt x="12" y="31"/>
                  </a:lnTo>
                  <a:lnTo>
                    <a:pt x="16" y="31"/>
                  </a:lnTo>
                  <a:lnTo>
                    <a:pt x="27" y="32"/>
                  </a:lnTo>
                  <a:lnTo>
                    <a:pt x="38" y="32"/>
                  </a:lnTo>
                  <a:lnTo>
                    <a:pt x="49" y="34"/>
                  </a:lnTo>
                  <a:lnTo>
                    <a:pt x="60" y="35"/>
                  </a:lnTo>
                  <a:lnTo>
                    <a:pt x="81" y="41"/>
                  </a:lnTo>
                  <a:lnTo>
                    <a:pt x="101" y="49"/>
                  </a:lnTo>
                  <a:lnTo>
                    <a:pt x="120" y="58"/>
                  </a:lnTo>
                  <a:lnTo>
                    <a:pt x="139" y="69"/>
                  </a:lnTo>
                  <a:lnTo>
                    <a:pt x="156" y="81"/>
                  </a:lnTo>
                  <a:lnTo>
                    <a:pt x="171" y="95"/>
                  </a:lnTo>
                  <a:lnTo>
                    <a:pt x="186" y="111"/>
                  </a:lnTo>
                  <a:lnTo>
                    <a:pt x="198" y="129"/>
                  </a:lnTo>
                  <a:lnTo>
                    <a:pt x="209" y="147"/>
                  </a:lnTo>
                  <a:lnTo>
                    <a:pt x="218" y="165"/>
                  </a:lnTo>
                  <a:lnTo>
                    <a:pt x="226" y="185"/>
                  </a:lnTo>
                  <a:lnTo>
                    <a:pt x="231" y="207"/>
                  </a:lnTo>
                  <a:lnTo>
                    <a:pt x="234" y="218"/>
                  </a:lnTo>
                  <a:lnTo>
                    <a:pt x="235" y="229"/>
                  </a:lnTo>
                  <a:lnTo>
                    <a:pt x="236" y="240"/>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48">
              <a:extLst>
                <a:ext uri="{FF2B5EF4-FFF2-40B4-BE49-F238E27FC236}">
                  <a16:creationId xmlns:a16="http://schemas.microsoft.com/office/drawing/2014/main" id="{79B313E5-DE7F-4C6F-A160-587A52FE2F80}"/>
                </a:ext>
              </a:extLst>
            </p:cNvPr>
            <p:cNvSpPr>
              <a:spLocks/>
            </p:cNvSpPr>
            <p:nvPr/>
          </p:nvSpPr>
          <p:spPr bwMode="auto">
            <a:xfrm>
              <a:off x="8767064" y="1356959"/>
              <a:ext cx="226716" cy="166340"/>
            </a:xfrm>
            <a:custGeom>
              <a:avLst/>
              <a:gdLst>
                <a:gd name="T0" fmla="*/ 64 w 737"/>
                <a:gd name="T1" fmla="*/ 535 h 540"/>
                <a:gd name="T2" fmla="*/ 68 w 737"/>
                <a:gd name="T3" fmla="*/ 527 h 540"/>
                <a:gd name="T4" fmla="*/ 66 w 737"/>
                <a:gd name="T5" fmla="*/ 518 h 540"/>
                <a:gd name="T6" fmla="*/ 44 w 737"/>
                <a:gd name="T7" fmla="*/ 464 h 540"/>
                <a:gd name="T8" fmla="*/ 33 w 737"/>
                <a:gd name="T9" fmla="*/ 407 h 540"/>
                <a:gd name="T10" fmla="*/ 31 w 737"/>
                <a:gd name="T11" fmla="*/ 350 h 540"/>
                <a:gd name="T12" fmla="*/ 38 w 737"/>
                <a:gd name="T13" fmla="*/ 300 h 540"/>
                <a:gd name="T14" fmla="*/ 51 w 737"/>
                <a:gd name="T15" fmla="*/ 252 h 540"/>
                <a:gd name="T16" fmla="*/ 71 w 737"/>
                <a:gd name="T17" fmla="*/ 207 h 540"/>
                <a:gd name="T18" fmla="*/ 98 w 737"/>
                <a:gd name="T19" fmla="*/ 167 h 540"/>
                <a:gd name="T20" fmla="*/ 130 w 737"/>
                <a:gd name="T21" fmla="*/ 130 h 540"/>
                <a:gd name="T22" fmla="*/ 167 w 737"/>
                <a:gd name="T23" fmla="*/ 98 h 540"/>
                <a:gd name="T24" fmla="*/ 208 w 737"/>
                <a:gd name="T25" fmla="*/ 71 h 540"/>
                <a:gd name="T26" fmla="*/ 252 w 737"/>
                <a:gd name="T27" fmla="*/ 51 h 540"/>
                <a:gd name="T28" fmla="*/ 300 w 737"/>
                <a:gd name="T29" fmla="*/ 38 h 540"/>
                <a:gd name="T30" fmla="*/ 351 w 737"/>
                <a:gd name="T31" fmla="*/ 31 h 540"/>
                <a:gd name="T32" fmla="*/ 402 w 737"/>
                <a:gd name="T33" fmla="*/ 32 h 540"/>
                <a:gd name="T34" fmla="*/ 452 w 737"/>
                <a:gd name="T35" fmla="*/ 41 h 540"/>
                <a:gd name="T36" fmla="*/ 499 w 737"/>
                <a:gd name="T37" fmla="*/ 57 h 540"/>
                <a:gd name="T38" fmla="*/ 542 w 737"/>
                <a:gd name="T39" fmla="*/ 80 h 540"/>
                <a:gd name="T40" fmla="*/ 582 w 737"/>
                <a:gd name="T41" fmla="*/ 108 h 540"/>
                <a:gd name="T42" fmla="*/ 618 w 737"/>
                <a:gd name="T43" fmla="*/ 141 h 540"/>
                <a:gd name="T44" fmla="*/ 648 w 737"/>
                <a:gd name="T45" fmla="*/ 179 h 540"/>
                <a:gd name="T46" fmla="*/ 672 w 737"/>
                <a:gd name="T47" fmla="*/ 222 h 540"/>
                <a:gd name="T48" fmla="*/ 690 w 737"/>
                <a:gd name="T49" fmla="*/ 268 h 540"/>
                <a:gd name="T50" fmla="*/ 701 w 737"/>
                <a:gd name="T51" fmla="*/ 317 h 540"/>
                <a:gd name="T52" fmla="*/ 706 w 737"/>
                <a:gd name="T53" fmla="*/ 368 h 540"/>
                <a:gd name="T54" fmla="*/ 700 w 737"/>
                <a:gd name="T55" fmla="*/ 426 h 540"/>
                <a:gd name="T56" fmla="*/ 686 w 737"/>
                <a:gd name="T57" fmla="*/ 482 h 540"/>
                <a:gd name="T58" fmla="*/ 669 w 737"/>
                <a:gd name="T59" fmla="*/ 520 h 540"/>
                <a:gd name="T60" fmla="*/ 669 w 737"/>
                <a:gd name="T61" fmla="*/ 530 h 540"/>
                <a:gd name="T62" fmla="*/ 674 w 737"/>
                <a:gd name="T63" fmla="*/ 537 h 540"/>
                <a:gd name="T64" fmla="*/ 683 w 737"/>
                <a:gd name="T65" fmla="*/ 540 h 540"/>
                <a:gd name="T66" fmla="*/ 696 w 737"/>
                <a:gd name="T67" fmla="*/ 536 h 540"/>
                <a:gd name="T68" fmla="*/ 714 w 737"/>
                <a:gd name="T69" fmla="*/ 492 h 540"/>
                <a:gd name="T70" fmla="*/ 731 w 737"/>
                <a:gd name="T71" fmla="*/ 431 h 540"/>
                <a:gd name="T72" fmla="*/ 737 w 737"/>
                <a:gd name="T73" fmla="*/ 368 h 540"/>
                <a:gd name="T74" fmla="*/ 732 w 737"/>
                <a:gd name="T75" fmla="*/ 312 h 540"/>
                <a:gd name="T76" fmla="*/ 720 w 737"/>
                <a:gd name="T77" fmla="*/ 259 h 540"/>
                <a:gd name="T78" fmla="*/ 700 w 737"/>
                <a:gd name="T79" fmla="*/ 208 h 540"/>
                <a:gd name="T80" fmla="*/ 673 w 737"/>
                <a:gd name="T81" fmla="*/ 162 h 540"/>
                <a:gd name="T82" fmla="*/ 640 w 737"/>
                <a:gd name="T83" fmla="*/ 120 h 540"/>
                <a:gd name="T84" fmla="*/ 602 w 737"/>
                <a:gd name="T85" fmla="*/ 84 h 540"/>
                <a:gd name="T86" fmla="*/ 559 w 737"/>
                <a:gd name="T87" fmla="*/ 54 h 540"/>
                <a:gd name="T88" fmla="*/ 511 w 737"/>
                <a:gd name="T89" fmla="*/ 29 h 540"/>
                <a:gd name="T90" fmla="*/ 460 w 737"/>
                <a:gd name="T91" fmla="*/ 11 h 540"/>
                <a:gd name="T92" fmla="*/ 406 w 737"/>
                <a:gd name="T93" fmla="*/ 1 h 540"/>
                <a:gd name="T94" fmla="*/ 349 w 737"/>
                <a:gd name="T95" fmla="*/ 0 h 540"/>
                <a:gd name="T96" fmla="*/ 293 w 737"/>
                <a:gd name="T97" fmla="*/ 7 h 540"/>
                <a:gd name="T98" fmla="*/ 241 w 737"/>
                <a:gd name="T99" fmla="*/ 22 h 540"/>
                <a:gd name="T100" fmla="*/ 192 w 737"/>
                <a:gd name="T101" fmla="*/ 45 h 540"/>
                <a:gd name="T102" fmla="*/ 148 w 737"/>
                <a:gd name="T103" fmla="*/ 72 h 540"/>
                <a:gd name="T104" fmla="*/ 108 w 737"/>
                <a:gd name="T105" fmla="*/ 108 h 540"/>
                <a:gd name="T106" fmla="*/ 73 w 737"/>
                <a:gd name="T107" fmla="*/ 148 h 540"/>
                <a:gd name="T108" fmla="*/ 44 w 737"/>
                <a:gd name="T109" fmla="*/ 192 h 540"/>
                <a:gd name="T110" fmla="*/ 22 w 737"/>
                <a:gd name="T111" fmla="*/ 241 h 540"/>
                <a:gd name="T112" fmla="*/ 7 w 737"/>
                <a:gd name="T113" fmla="*/ 294 h 540"/>
                <a:gd name="T114" fmla="*/ 0 w 737"/>
                <a:gd name="T115" fmla="*/ 349 h 540"/>
                <a:gd name="T116" fmla="*/ 2 w 737"/>
                <a:gd name="T117" fmla="*/ 410 h 540"/>
                <a:gd name="T118" fmla="*/ 14 w 737"/>
                <a:gd name="T119" fmla="*/ 472 h 540"/>
                <a:gd name="T120" fmla="*/ 38 w 737"/>
                <a:gd name="T121" fmla="*/ 531 h 540"/>
                <a:gd name="T122" fmla="*/ 44 w 737"/>
                <a:gd name="T123" fmla="*/ 538 h 540"/>
                <a:gd name="T124" fmla="*/ 53 w 737"/>
                <a:gd name="T12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540">
                  <a:moveTo>
                    <a:pt x="59" y="538"/>
                  </a:moveTo>
                  <a:lnTo>
                    <a:pt x="62" y="537"/>
                  </a:lnTo>
                  <a:lnTo>
                    <a:pt x="64" y="535"/>
                  </a:lnTo>
                  <a:lnTo>
                    <a:pt x="66" y="532"/>
                  </a:lnTo>
                  <a:lnTo>
                    <a:pt x="67" y="530"/>
                  </a:lnTo>
                  <a:lnTo>
                    <a:pt x="68" y="527"/>
                  </a:lnTo>
                  <a:lnTo>
                    <a:pt x="68" y="524"/>
                  </a:lnTo>
                  <a:lnTo>
                    <a:pt x="67" y="520"/>
                  </a:lnTo>
                  <a:lnTo>
                    <a:pt x="66" y="518"/>
                  </a:lnTo>
                  <a:lnTo>
                    <a:pt x="58" y="500"/>
                  </a:lnTo>
                  <a:lnTo>
                    <a:pt x="51" y="482"/>
                  </a:lnTo>
                  <a:lnTo>
                    <a:pt x="44" y="464"/>
                  </a:lnTo>
                  <a:lnTo>
                    <a:pt x="40" y="445"/>
                  </a:lnTo>
                  <a:lnTo>
                    <a:pt x="36" y="426"/>
                  </a:lnTo>
                  <a:lnTo>
                    <a:pt x="33" y="407"/>
                  </a:lnTo>
                  <a:lnTo>
                    <a:pt x="31" y="388"/>
                  </a:lnTo>
                  <a:lnTo>
                    <a:pt x="31" y="368"/>
                  </a:lnTo>
                  <a:lnTo>
                    <a:pt x="31" y="350"/>
                  </a:lnTo>
                  <a:lnTo>
                    <a:pt x="32" y="334"/>
                  </a:lnTo>
                  <a:lnTo>
                    <a:pt x="34" y="317"/>
                  </a:lnTo>
                  <a:lnTo>
                    <a:pt x="38" y="300"/>
                  </a:lnTo>
                  <a:lnTo>
                    <a:pt x="41" y="284"/>
                  </a:lnTo>
                  <a:lnTo>
                    <a:pt x="46" y="268"/>
                  </a:lnTo>
                  <a:lnTo>
                    <a:pt x="51" y="252"/>
                  </a:lnTo>
                  <a:lnTo>
                    <a:pt x="58" y="237"/>
                  </a:lnTo>
                  <a:lnTo>
                    <a:pt x="64" y="222"/>
                  </a:lnTo>
                  <a:lnTo>
                    <a:pt x="71" y="207"/>
                  </a:lnTo>
                  <a:lnTo>
                    <a:pt x="80" y="194"/>
                  </a:lnTo>
                  <a:lnTo>
                    <a:pt x="89" y="179"/>
                  </a:lnTo>
                  <a:lnTo>
                    <a:pt x="98" y="167"/>
                  </a:lnTo>
                  <a:lnTo>
                    <a:pt x="108" y="154"/>
                  </a:lnTo>
                  <a:lnTo>
                    <a:pt x="119" y="141"/>
                  </a:lnTo>
                  <a:lnTo>
                    <a:pt x="130" y="130"/>
                  </a:lnTo>
                  <a:lnTo>
                    <a:pt x="141" y="118"/>
                  </a:lnTo>
                  <a:lnTo>
                    <a:pt x="153" y="108"/>
                  </a:lnTo>
                  <a:lnTo>
                    <a:pt x="167" y="98"/>
                  </a:lnTo>
                  <a:lnTo>
                    <a:pt x="180" y="88"/>
                  </a:lnTo>
                  <a:lnTo>
                    <a:pt x="193" y="80"/>
                  </a:lnTo>
                  <a:lnTo>
                    <a:pt x="208" y="71"/>
                  </a:lnTo>
                  <a:lnTo>
                    <a:pt x="222" y="65"/>
                  </a:lnTo>
                  <a:lnTo>
                    <a:pt x="237" y="57"/>
                  </a:lnTo>
                  <a:lnTo>
                    <a:pt x="252" y="51"/>
                  </a:lnTo>
                  <a:lnTo>
                    <a:pt x="268" y="46"/>
                  </a:lnTo>
                  <a:lnTo>
                    <a:pt x="283" y="41"/>
                  </a:lnTo>
                  <a:lnTo>
                    <a:pt x="300" y="38"/>
                  </a:lnTo>
                  <a:lnTo>
                    <a:pt x="317" y="35"/>
                  </a:lnTo>
                  <a:lnTo>
                    <a:pt x="333" y="32"/>
                  </a:lnTo>
                  <a:lnTo>
                    <a:pt x="351" y="31"/>
                  </a:lnTo>
                  <a:lnTo>
                    <a:pt x="368" y="31"/>
                  </a:lnTo>
                  <a:lnTo>
                    <a:pt x="386" y="31"/>
                  </a:lnTo>
                  <a:lnTo>
                    <a:pt x="402" y="32"/>
                  </a:lnTo>
                  <a:lnTo>
                    <a:pt x="419" y="35"/>
                  </a:lnTo>
                  <a:lnTo>
                    <a:pt x="436" y="38"/>
                  </a:lnTo>
                  <a:lnTo>
                    <a:pt x="452" y="41"/>
                  </a:lnTo>
                  <a:lnTo>
                    <a:pt x="468" y="46"/>
                  </a:lnTo>
                  <a:lnTo>
                    <a:pt x="483" y="51"/>
                  </a:lnTo>
                  <a:lnTo>
                    <a:pt x="499" y="57"/>
                  </a:lnTo>
                  <a:lnTo>
                    <a:pt x="514" y="64"/>
                  </a:lnTo>
                  <a:lnTo>
                    <a:pt x="529" y="71"/>
                  </a:lnTo>
                  <a:lnTo>
                    <a:pt x="542" y="80"/>
                  </a:lnTo>
                  <a:lnTo>
                    <a:pt x="557" y="88"/>
                  </a:lnTo>
                  <a:lnTo>
                    <a:pt x="570" y="98"/>
                  </a:lnTo>
                  <a:lnTo>
                    <a:pt x="582" y="108"/>
                  </a:lnTo>
                  <a:lnTo>
                    <a:pt x="594" y="118"/>
                  </a:lnTo>
                  <a:lnTo>
                    <a:pt x="607" y="129"/>
                  </a:lnTo>
                  <a:lnTo>
                    <a:pt x="618" y="141"/>
                  </a:lnTo>
                  <a:lnTo>
                    <a:pt x="628" y="154"/>
                  </a:lnTo>
                  <a:lnTo>
                    <a:pt x="638" y="167"/>
                  </a:lnTo>
                  <a:lnTo>
                    <a:pt x="648" y="179"/>
                  </a:lnTo>
                  <a:lnTo>
                    <a:pt x="657" y="194"/>
                  </a:lnTo>
                  <a:lnTo>
                    <a:pt x="664" y="207"/>
                  </a:lnTo>
                  <a:lnTo>
                    <a:pt x="672" y="222"/>
                  </a:lnTo>
                  <a:lnTo>
                    <a:pt x="679" y="237"/>
                  </a:lnTo>
                  <a:lnTo>
                    <a:pt x="684" y="252"/>
                  </a:lnTo>
                  <a:lnTo>
                    <a:pt x="690" y="268"/>
                  </a:lnTo>
                  <a:lnTo>
                    <a:pt x="694" y="284"/>
                  </a:lnTo>
                  <a:lnTo>
                    <a:pt x="698" y="300"/>
                  </a:lnTo>
                  <a:lnTo>
                    <a:pt x="701" y="317"/>
                  </a:lnTo>
                  <a:lnTo>
                    <a:pt x="703" y="334"/>
                  </a:lnTo>
                  <a:lnTo>
                    <a:pt x="704" y="350"/>
                  </a:lnTo>
                  <a:lnTo>
                    <a:pt x="706" y="368"/>
                  </a:lnTo>
                  <a:lnTo>
                    <a:pt x="704" y="388"/>
                  </a:lnTo>
                  <a:lnTo>
                    <a:pt x="703" y="407"/>
                  </a:lnTo>
                  <a:lnTo>
                    <a:pt x="700" y="426"/>
                  </a:lnTo>
                  <a:lnTo>
                    <a:pt x="697" y="445"/>
                  </a:lnTo>
                  <a:lnTo>
                    <a:pt x="691" y="464"/>
                  </a:lnTo>
                  <a:lnTo>
                    <a:pt x="686" y="482"/>
                  </a:lnTo>
                  <a:lnTo>
                    <a:pt x="678" y="500"/>
                  </a:lnTo>
                  <a:lnTo>
                    <a:pt x="670" y="518"/>
                  </a:lnTo>
                  <a:lnTo>
                    <a:pt x="669" y="520"/>
                  </a:lnTo>
                  <a:lnTo>
                    <a:pt x="668" y="524"/>
                  </a:lnTo>
                  <a:lnTo>
                    <a:pt x="668" y="527"/>
                  </a:lnTo>
                  <a:lnTo>
                    <a:pt x="669" y="530"/>
                  </a:lnTo>
                  <a:lnTo>
                    <a:pt x="670" y="532"/>
                  </a:lnTo>
                  <a:lnTo>
                    <a:pt x="672" y="535"/>
                  </a:lnTo>
                  <a:lnTo>
                    <a:pt x="674" y="537"/>
                  </a:lnTo>
                  <a:lnTo>
                    <a:pt x="677" y="539"/>
                  </a:lnTo>
                  <a:lnTo>
                    <a:pt x="680" y="540"/>
                  </a:lnTo>
                  <a:lnTo>
                    <a:pt x="683" y="540"/>
                  </a:lnTo>
                  <a:lnTo>
                    <a:pt x="688" y="540"/>
                  </a:lnTo>
                  <a:lnTo>
                    <a:pt x="692" y="538"/>
                  </a:lnTo>
                  <a:lnTo>
                    <a:pt x="696" y="536"/>
                  </a:lnTo>
                  <a:lnTo>
                    <a:pt x="698" y="531"/>
                  </a:lnTo>
                  <a:lnTo>
                    <a:pt x="707" y="512"/>
                  </a:lnTo>
                  <a:lnTo>
                    <a:pt x="714" y="492"/>
                  </a:lnTo>
                  <a:lnTo>
                    <a:pt x="721" y="472"/>
                  </a:lnTo>
                  <a:lnTo>
                    <a:pt x="727" y="452"/>
                  </a:lnTo>
                  <a:lnTo>
                    <a:pt x="731" y="431"/>
                  </a:lnTo>
                  <a:lnTo>
                    <a:pt x="733" y="410"/>
                  </a:lnTo>
                  <a:lnTo>
                    <a:pt x="735" y="389"/>
                  </a:lnTo>
                  <a:lnTo>
                    <a:pt x="737" y="368"/>
                  </a:lnTo>
                  <a:lnTo>
                    <a:pt x="735" y="349"/>
                  </a:lnTo>
                  <a:lnTo>
                    <a:pt x="734" y="330"/>
                  </a:lnTo>
                  <a:lnTo>
                    <a:pt x="732" y="312"/>
                  </a:lnTo>
                  <a:lnTo>
                    <a:pt x="729" y="294"/>
                  </a:lnTo>
                  <a:lnTo>
                    <a:pt x="724" y="276"/>
                  </a:lnTo>
                  <a:lnTo>
                    <a:pt x="720" y="259"/>
                  </a:lnTo>
                  <a:lnTo>
                    <a:pt x="713" y="241"/>
                  </a:lnTo>
                  <a:lnTo>
                    <a:pt x="708" y="225"/>
                  </a:lnTo>
                  <a:lnTo>
                    <a:pt x="700" y="208"/>
                  </a:lnTo>
                  <a:lnTo>
                    <a:pt x="692" y="192"/>
                  </a:lnTo>
                  <a:lnTo>
                    <a:pt x="683" y="177"/>
                  </a:lnTo>
                  <a:lnTo>
                    <a:pt x="673" y="162"/>
                  </a:lnTo>
                  <a:lnTo>
                    <a:pt x="663" y="148"/>
                  </a:lnTo>
                  <a:lnTo>
                    <a:pt x="652" y="134"/>
                  </a:lnTo>
                  <a:lnTo>
                    <a:pt x="640" y="120"/>
                  </a:lnTo>
                  <a:lnTo>
                    <a:pt x="628" y="108"/>
                  </a:lnTo>
                  <a:lnTo>
                    <a:pt x="616" y="96"/>
                  </a:lnTo>
                  <a:lnTo>
                    <a:pt x="602" y="84"/>
                  </a:lnTo>
                  <a:lnTo>
                    <a:pt x="588" y="72"/>
                  </a:lnTo>
                  <a:lnTo>
                    <a:pt x="573" y="62"/>
                  </a:lnTo>
                  <a:lnTo>
                    <a:pt x="559" y="54"/>
                  </a:lnTo>
                  <a:lnTo>
                    <a:pt x="543" y="45"/>
                  </a:lnTo>
                  <a:lnTo>
                    <a:pt x="528" y="36"/>
                  </a:lnTo>
                  <a:lnTo>
                    <a:pt x="511" y="29"/>
                  </a:lnTo>
                  <a:lnTo>
                    <a:pt x="494" y="22"/>
                  </a:lnTo>
                  <a:lnTo>
                    <a:pt x="478" y="17"/>
                  </a:lnTo>
                  <a:lnTo>
                    <a:pt x="460" y="11"/>
                  </a:lnTo>
                  <a:lnTo>
                    <a:pt x="442" y="7"/>
                  </a:lnTo>
                  <a:lnTo>
                    <a:pt x="424" y="4"/>
                  </a:lnTo>
                  <a:lnTo>
                    <a:pt x="406" y="1"/>
                  </a:lnTo>
                  <a:lnTo>
                    <a:pt x="387" y="0"/>
                  </a:lnTo>
                  <a:lnTo>
                    <a:pt x="368" y="0"/>
                  </a:lnTo>
                  <a:lnTo>
                    <a:pt x="349" y="0"/>
                  </a:lnTo>
                  <a:lnTo>
                    <a:pt x="330" y="1"/>
                  </a:lnTo>
                  <a:lnTo>
                    <a:pt x="312" y="4"/>
                  </a:lnTo>
                  <a:lnTo>
                    <a:pt x="293" y="7"/>
                  </a:lnTo>
                  <a:lnTo>
                    <a:pt x="276" y="11"/>
                  </a:lnTo>
                  <a:lnTo>
                    <a:pt x="259" y="16"/>
                  </a:lnTo>
                  <a:lnTo>
                    <a:pt x="241" y="22"/>
                  </a:lnTo>
                  <a:lnTo>
                    <a:pt x="224" y="29"/>
                  </a:lnTo>
                  <a:lnTo>
                    <a:pt x="209" y="36"/>
                  </a:lnTo>
                  <a:lnTo>
                    <a:pt x="192" y="45"/>
                  </a:lnTo>
                  <a:lnTo>
                    <a:pt x="177" y="54"/>
                  </a:lnTo>
                  <a:lnTo>
                    <a:pt x="162" y="62"/>
                  </a:lnTo>
                  <a:lnTo>
                    <a:pt x="148" y="72"/>
                  </a:lnTo>
                  <a:lnTo>
                    <a:pt x="133" y="84"/>
                  </a:lnTo>
                  <a:lnTo>
                    <a:pt x="120" y="96"/>
                  </a:lnTo>
                  <a:lnTo>
                    <a:pt x="108" y="108"/>
                  </a:lnTo>
                  <a:lnTo>
                    <a:pt x="96" y="120"/>
                  </a:lnTo>
                  <a:lnTo>
                    <a:pt x="83" y="134"/>
                  </a:lnTo>
                  <a:lnTo>
                    <a:pt x="73" y="148"/>
                  </a:lnTo>
                  <a:lnTo>
                    <a:pt x="62" y="162"/>
                  </a:lnTo>
                  <a:lnTo>
                    <a:pt x="53" y="177"/>
                  </a:lnTo>
                  <a:lnTo>
                    <a:pt x="44" y="192"/>
                  </a:lnTo>
                  <a:lnTo>
                    <a:pt x="36" y="208"/>
                  </a:lnTo>
                  <a:lnTo>
                    <a:pt x="29" y="225"/>
                  </a:lnTo>
                  <a:lnTo>
                    <a:pt x="22" y="241"/>
                  </a:lnTo>
                  <a:lnTo>
                    <a:pt x="17" y="259"/>
                  </a:lnTo>
                  <a:lnTo>
                    <a:pt x="11" y="276"/>
                  </a:lnTo>
                  <a:lnTo>
                    <a:pt x="7" y="294"/>
                  </a:lnTo>
                  <a:lnTo>
                    <a:pt x="4" y="312"/>
                  </a:lnTo>
                  <a:lnTo>
                    <a:pt x="1" y="330"/>
                  </a:lnTo>
                  <a:lnTo>
                    <a:pt x="0" y="349"/>
                  </a:lnTo>
                  <a:lnTo>
                    <a:pt x="0" y="368"/>
                  </a:lnTo>
                  <a:lnTo>
                    <a:pt x="0" y="389"/>
                  </a:lnTo>
                  <a:lnTo>
                    <a:pt x="2" y="410"/>
                  </a:lnTo>
                  <a:lnTo>
                    <a:pt x="6" y="431"/>
                  </a:lnTo>
                  <a:lnTo>
                    <a:pt x="9" y="452"/>
                  </a:lnTo>
                  <a:lnTo>
                    <a:pt x="14" y="472"/>
                  </a:lnTo>
                  <a:lnTo>
                    <a:pt x="21" y="492"/>
                  </a:lnTo>
                  <a:lnTo>
                    <a:pt x="29" y="512"/>
                  </a:lnTo>
                  <a:lnTo>
                    <a:pt x="38" y="531"/>
                  </a:lnTo>
                  <a:lnTo>
                    <a:pt x="40" y="535"/>
                  </a:lnTo>
                  <a:lnTo>
                    <a:pt x="42" y="537"/>
                  </a:lnTo>
                  <a:lnTo>
                    <a:pt x="44" y="538"/>
                  </a:lnTo>
                  <a:lnTo>
                    <a:pt x="48" y="539"/>
                  </a:lnTo>
                  <a:lnTo>
                    <a:pt x="50" y="540"/>
                  </a:lnTo>
                  <a:lnTo>
                    <a:pt x="53" y="540"/>
                  </a:lnTo>
                  <a:lnTo>
                    <a:pt x="57" y="540"/>
                  </a:lnTo>
                  <a:lnTo>
                    <a:pt x="59" y="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5" name="Group 193">
            <a:extLst>
              <a:ext uri="{FF2B5EF4-FFF2-40B4-BE49-F238E27FC236}">
                <a16:creationId xmlns:a16="http://schemas.microsoft.com/office/drawing/2014/main" id="{C5721487-A9E4-44E4-B471-51ACA3DBDEE8}"/>
              </a:ext>
            </a:extLst>
          </p:cNvPr>
          <p:cNvGrpSpPr>
            <a:grpSpLocks noChangeAspect="1"/>
          </p:cNvGrpSpPr>
          <p:nvPr/>
        </p:nvGrpSpPr>
        <p:grpSpPr>
          <a:xfrm>
            <a:off x="4022536" y="5956111"/>
            <a:ext cx="329453" cy="285619"/>
            <a:chOff x="7587897" y="1395155"/>
            <a:chExt cx="287091" cy="248894"/>
          </a:xfrm>
          <a:solidFill>
            <a:schemeClr val="bg2"/>
          </a:solidFill>
          <a:effectLst/>
        </p:grpSpPr>
        <p:sp>
          <p:nvSpPr>
            <p:cNvPr id="1436" name="Freeform 249">
              <a:extLst>
                <a:ext uri="{FF2B5EF4-FFF2-40B4-BE49-F238E27FC236}">
                  <a16:creationId xmlns:a16="http://schemas.microsoft.com/office/drawing/2014/main" id="{0B1FFA76-A0A1-4CAB-985E-151BDC3C27AE}"/>
                </a:ext>
              </a:extLst>
            </p:cNvPr>
            <p:cNvSpPr>
              <a:spLocks/>
            </p:cNvSpPr>
            <p:nvPr/>
          </p:nvSpPr>
          <p:spPr bwMode="auto">
            <a:xfrm>
              <a:off x="7635951" y="1547942"/>
              <a:ext cx="130608" cy="9857"/>
            </a:xfrm>
            <a:custGeom>
              <a:avLst/>
              <a:gdLst>
                <a:gd name="T0" fmla="*/ 408 w 423"/>
                <a:gd name="T1" fmla="*/ 0 h 31"/>
                <a:gd name="T2" fmla="*/ 16 w 423"/>
                <a:gd name="T3" fmla="*/ 0 h 31"/>
                <a:gd name="T4" fmla="*/ 12 w 423"/>
                <a:gd name="T5" fmla="*/ 0 h 31"/>
                <a:gd name="T6" fmla="*/ 10 w 423"/>
                <a:gd name="T7" fmla="*/ 1 h 31"/>
                <a:gd name="T8" fmla="*/ 7 w 423"/>
                <a:gd name="T9" fmla="*/ 3 h 31"/>
                <a:gd name="T10" fmla="*/ 5 w 423"/>
                <a:gd name="T11" fmla="*/ 5 h 31"/>
                <a:gd name="T12" fmla="*/ 3 w 423"/>
                <a:gd name="T13" fmla="*/ 7 h 31"/>
                <a:gd name="T14" fmla="*/ 1 w 423"/>
                <a:gd name="T15" fmla="*/ 10 h 31"/>
                <a:gd name="T16" fmla="*/ 1 w 423"/>
                <a:gd name="T17" fmla="*/ 13 h 31"/>
                <a:gd name="T18" fmla="*/ 0 w 423"/>
                <a:gd name="T19" fmla="*/ 16 h 31"/>
                <a:gd name="T20" fmla="*/ 1 w 423"/>
                <a:gd name="T21" fmla="*/ 19 h 31"/>
                <a:gd name="T22" fmla="*/ 1 w 423"/>
                <a:gd name="T23" fmla="*/ 23 h 31"/>
                <a:gd name="T24" fmla="*/ 3 w 423"/>
                <a:gd name="T25" fmla="*/ 25 h 31"/>
                <a:gd name="T26" fmla="*/ 5 w 423"/>
                <a:gd name="T27" fmla="*/ 27 h 31"/>
                <a:gd name="T28" fmla="*/ 7 w 423"/>
                <a:gd name="T29" fmla="*/ 29 h 31"/>
                <a:gd name="T30" fmla="*/ 10 w 423"/>
                <a:gd name="T31" fmla="*/ 30 h 31"/>
                <a:gd name="T32" fmla="*/ 12 w 423"/>
                <a:gd name="T33" fmla="*/ 31 h 31"/>
                <a:gd name="T34" fmla="*/ 16 w 423"/>
                <a:gd name="T35" fmla="*/ 31 h 31"/>
                <a:gd name="T36" fmla="*/ 408 w 423"/>
                <a:gd name="T37" fmla="*/ 31 h 31"/>
                <a:gd name="T38" fmla="*/ 411 w 423"/>
                <a:gd name="T39" fmla="*/ 31 h 31"/>
                <a:gd name="T40" fmla="*/ 415 w 423"/>
                <a:gd name="T41" fmla="*/ 30 h 31"/>
                <a:gd name="T42" fmla="*/ 417 w 423"/>
                <a:gd name="T43" fmla="*/ 29 h 31"/>
                <a:gd name="T44" fmla="*/ 419 w 423"/>
                <a:gd name="T45" fmla="*/ 27 h 31"/>
                <a:gd name="T46" fmla="*/ 421 w 423"/>
                <a:gd name="T47" fmla="*/ 25 h 31"/>
                <a:gd name="T48" fmla="*/ 422 w 423"/>
                <a:gd name="T49" fmla="*/ 23 h 31"/>
                <a:gd name="T50" fmla="*/ 423 w 423"/>
                <a:gd name="T51" fmla="*/ 19 h 31"/>
                <a:gd name="T52" fmla="*/ 423 w 423"/>
                <a:gd name="T53" fmla="*/ 16 h 31"/>
                <a:gd name="T54" fmla="*/ 423 w 423"/>
                <a:gd name="T55" fmla="*/ 13 h 31"/>
                <a:gd name="T56" fmla="*/ 422 w 423"/>
                <a:gd name="T57" fmla="*/ 10 h 31"/>
                <a:gd name="T58" fmla="*/ 421 w 423"/>
                <a:gd name="T59" fmla="*/ 7 h 31"/>
                <a:gd name="T60" fmla="*/ 419 w 423"/>
                <a:gd name="T61" fmla="*/ 5 h 31"/>
                <a:gd name="T62" fmla="*/ 417 w 423"/>
                <a:gd name="T63" fmla="*/ 3 h 31"/>
                <a:gd name="T64" fmla="*/ 415 w 423"/>
                <a:gd name="T65" fmla="*/ 1 h 31"/>
                <a:gd name="T66" fmla="*/ 411 w 423"/>
                <a:gd name="T67" fmla="*/ 0 h 31"/>
                <a:gd name="T68" fmla="*/ 408 w 423"/>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3" h="31">
                  <a:moveTo>
                    <a:pt x="408" y="0"/>
                  </a:moveTo>
                  <a:lnTo>
                    <a:pt x="16" y="0"/>
                  </a:lnTo>
                  <a:lnTo>
                    <a:pt x="12" y="0"/>
                  </a:lnTo>
                  <a:lnTo>
                    <a:pt x="10" y="1"/>
                  </a:lnTo>
                  <a:lnTo>
                    <a:pt x="7" y="3"/>
                  </a:lnTo>
                  <a:lnTo>
                    <a:pt x="5" y="5"/>
                  </a:lnTo>
                  <a:lnTo>
                    <a:pt x="3" y="7"/>
                  </a:lnTo>
                  <a:lnTo>
                    <a:pt x="1" y="10"/>
                  </a:lnTo>
                  <a:lnTo>
                    <a:pt x="1" y="13"/>
                  </a:lnTo>
                  <a:lnTo>
                    <a:pt x="0" y="16"/>
                  </a:lnTo>
                  <a:lnTo>
                    <a:pt x="1" y="19"/>
                  </a:lnTo>
                  <a:lnTo>
                    <a:pt x="1" y="23"/>
                  </a:lnTo>
                  <a:lnTo>
                    <a:pt x="3" y="25"/>
                  </a:lnTo>
                  <a:lnTo>
                    <a:pt x="5" y="27"/>
                  </a:lnTo>
                  <a:lnTo>
                    <a:pt x="7" y="29"/>
                  </a:lnTo>
                  <a:lnTo>
                    <a:pt x="10" y="30"/>
                  </a:lnTo>
                  <a:lnTo>
                    <a:pt x="12" y="31"/>
                  </a:lnTo>
                  <a:lnTo>
                    <a:pt x="16" y="31"/>
                  </a:lnTo>
                  <a:lnTo>
                    <a:pt x="408" y="31"/>
                  </a:lnTo>
                  <a:lnTo>
                    <a:pt x="411" y="31"/>
                  </a:lnTo>
                  <a:lnTo>
                    <a:pt x="415" y="30"/>
                  </a:lnTo>
                  <a:lnTo>
                    <a:pt x="417" y="29"/>
                  </a:lnTo>
                  <a:lnTo>
                    <a:pt x="419" y="27"/>
                  </a:lnTo>
                  <a:lnTo>
                    <a:pt x="421" y="25"/>
                  </a:lnTo>
                  <a:lnTo>
                    <a:pt x="422" y="23"/>
                  </a:lnTo>
                  <a:lnTo>
                    <a:pt x="423" y="19"/>
                  </a:lnTo>
                  <a:lnTo>
                    <a:pt x="423" y="16"/>
                  </a:lnTo>
                  <a:lnTo>
                    <a:pt x="423" y="13"/>
                  </a:lnTo>
                  <a:lnTo>
                    <a:pt x="422" y="10"/>
                  </a:lnTo>
                  <a:lnTo>
                    <a:pt x="421" y="7"/>
                  </a:lnTo>
                  <a:lnTo>
                    <a:pt x="419" y="5"/>
                  </a:lnTo>
                  <a:lnTo>
                    <a:pt x="417" y="3"/>
                  </a:lnTo>
                  <a:lnTo>
                    <a:pt x="415" y="1"/>
                  </a:lnTo>
                  <a:lnTo>
                    <a:pt x="411" y="0"/>
                  </a:lnTo>
                  <a:lnTo>
                    <a:pt x="4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50">
              <a:extLst>
                <a:ext uri="{FF2B5EF4-FFF2-40B4-BE49-F238E27FC236}">
                  <a16:creationId xmlns:a16="http://schemas.microsoft.com/office/drawing/2014/main" id="{CB6F646B-B41D-4958-AA71-5D134A5C35F9}"/>
                </a:ext>
              </a:extLst>
            </p:cNvPr>
            <p:cNvSpPr>
              <a:spLocks noEditPoints="1"/>
            </p:cNvSpPr>
            <p:nvPr/>
          </p:nvSpPr>
          <p:spPr bwMode="auto">
            <a:xfrm>
              <a:off x="7587897" y="1395155"/>
              <a:ext cx="105965" cy="104733"/>
            </a:xfrm>
            <a:custGeom>
              <a:avLst/>
              <a:gdLst>
                <a:gd name="T0" fmla="*/ 198 w 342"/>
                <a:gd name="T1" fmla="*/ 34 h 342"/>
                <a:gd name="T2" fmla="*/ 237 w 342"/>
                <a:gd name="T3" fmla="*/ 48 h 342"/>
                <a:gd name="T4" fmla="*/ 269 w 342"/>
                <a:gd name="T5" fmla="*/ 72 h 342"/>
                <a:gd name="T6" fmla="*/ 294 w 342"/>
                <a:gd name="T7" fmla="*/ 104 h 342"/>
                <a:gd name="T8" fmla="*/ 307 w 342"/>
                <a:gd name="T9" fmla="*/ 143 h 342"/>
                <a:gd name="T10" fmla="*/ 309 w 342"/>
                <a:gd name="T11" fmla="*/ 185 h 342"/>
                <a:gd name="T12" fmla="*/ 299 w 342"/>
                <a:gd name="T13" fmla="*/ 225 h 342"/>
                <a:gd name="T14" fmla="*/ 278 w 342"/>
                <a:gd name="T15" fmla="*/ 260 h 342"/>
                <a:gd name="T16" fmla="*/ 248 w 342"/>
                <a:gd name="T17" fmla="*/ 287 h 342"/>
                <a:gd name="T18" fmla="*/ 212 w 342"/>
                <a:gd name="T19" fmla="*/ 305 h 342"/>
                <a:gd name="T20" fmla="*/ 171 w 342"/>
                <a:gd name="T21" fmla="*/ 311 h 342"/>
                <a:gd name="T22" fmla="*/ 129 w 342"/>
                <a:gd name="T23" fmla="*/ 305 h 342"/>
                <a:gd name="T24" fmla="*/ 93 w 342"/>
                <a:gd name="T25" fmla="*/ 287 h 342"/>
                <a:gd name="T26" fmla="*/ 63 w 342"/>
                <a:gd name="T27" fmla="*/ 260 h 342"/>
                <a:gd name="T28" fmla="*/ 42 w 342"/>
                <a:gd name="T29" fmla="*/ 225 h 342"/>
                <a:gd name="T30" fmla="*/ 32 w 342"/>
                <a:gd name="T31" fmla="*/ 185 h 342"/>
                <a:gd name="T32" fmla="*/ 34 w 342"/>
                <a:gd name="T33" fmla="*/ 143 h 342"/>
                <a:gd name="T34" fmla="*/ 47 w 342"/>
                <a:gd name="T35" fmla="*/ 104 h 342"/>
                <a:gd name="T36" fmla="*/ 72 w 342"/>
                <a:gd name="T37" fmla="*/ 72 h 342"/>
                <a:gd name="T38" fmla="*/ 104 w 342"/>
                <a:gd name="T39" fmla="*/ 48 h 342"/>
                <a:gd name="T40" fmla="*/ 143 w 342"/>
                <a:gd name="T41" fmla="*/ 34 h 342"/>
                <a:gd name="T42" fmla="*/ 171 w 342"/>
                <a:gd name="T43" fmla="*/ 342 h 342"/>
                <a:gd name="T44" fmla="*/ 222 w 342"/>
                <a:gd name="T45" fmla="*/ 334 h 342"/>
                <a:gd name="T46" fmla="*/ 266 w 342"/>
                <a:gd name="T47" fmla="*/ 313 h 342"/>
                <a:gd name="T48" fmla="*/ 303 w 342"/>
                <a:gd name="T49" fmla="*/ 280 h 342"/>
                <a:gd name="T50" fmla="*/ 328 w 342"/>
                <a:gd name="T51" fmla="*/ 237 h 342"/>
                <a:gd name="T52" fmla="*/ 341 w 342"/>
                <a:gd name="T53" fmla="*/ 188 h 342"/>
                <a:gd name="T54" fmla="*/ 338 w 342"/>
                <a:gd name="T55" fmla="*/ 136 h 342"/>
                <a:gd name="T56" fmla="*/ 321 w 342"/>
                <a:gd name="T57" fmla="*/ 90 h 342"/>
                <a:gd name="T58" fmla="*/ 292 w 342"/>
                <a:gd name="T59" fmla="*/ 51 h 342"/>
                <a:gd name="T60" fmla="*/ 252 w 342"/>
                <a:gd name="T61" fmla="*/ 21 h 342"/>
                <a:gd name="T62" fmla="*/ 205 w 342"/>
                <a:gd name="T63" fmla="*/ 4 h 342"/>
                <a:gd name="T64" fmla="*/ 153 w 342"/>
                <a:gd name="T65" fmla="*/ 1 h 342"/>
                <a:gd name="T66" fmla="*/ 104 w 342"/>
                <a:gd name="T67" fmla="*/ 14 h 342"/>
                <a:gd name="T68" fmla="*/ 62 w 342"/>
                <a:gd name="T69" fmla="*/ 40 h 342"/>
                <a:gd name="T70" fmla="*/ 30 w 342"/>
                <a:gd name="T71" fmla="*/ 75 h 342"/>
                <a:gd name="T72" fmla="*/ 7 w 342"/>
                <a:gd name="T73" fmla="*/ 121 h 342"/>
                <a:gd name="T74" fmla="*/ 0 w 342"/>
                <a:gd name="T75" fmla="*/ 171 h 342"/>
                <a:gd name="T76" fmla="*/ 7 w 342"/>
                <a:gd name="T77" fmla="*/ 222 h 342"/>
                <a:gd name="T78" fmla="*/ 30 w 342"/>
                <a:gd name="T79" fmla="*/ 266 h 342"/>
                <a:gd name="T80" fmla="*/ 62 w 342"/>
                <a:gd name="T81" fmla="*/ 303 h 342"/>
                <a:gd name="T82" fmla="*/ 104 w 342"/>
                <a:gd name="T83" fmla="*/ 328 h 342"/>
                <a:gd name="T84" fmla="*/ 153 w 342"/>
                <a:gd name="T85" fmla="*/ 34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42">
                  <a:moveTo>
                    <a:pt x="171" y="31"/>
                  </a:moveTo>
                  <a:lnTo>
                    <a:pt x="185" y="32"/>
                  </a:lnTo>
                  <a:lnTo>
                    <a:pt x="198" y="34"/>
                  </a:lnTo>
                  <a:lnTo>
                    <a:pt x="212" y="37"/>
                  </a:lnTo>
                  <a:lnTo>
                    <a:pt x="225" y="42"/>
                  </a:lnTo>
                  <a:lnTo>
                    <a:pt x="237" y="48"/>
                  </a:lnTo>
                  <a:lnTo>
                    <a:pt x="248" y="55"/>
                  </a:lnTo>
                  <a:lnTo>
                    <a:pt x="259" y="63"/>
                  </a:lnTo>
                  <a:lnTo>
                    <a:pt x="269" y="72"/>
                  </a:lnTo>
                  <a:lnTo>
                    <a:pt x="278" y="82"/>
                  </a:lnTo>
                  <a:lnTo>
                    <a:pt x="286" y="93"/>
                  </a:lnTo>
                  <a:lnTo>
                    <a:pt x="294" y="104"/>
                  </a:lnTo>
                  <a:lnTo>
                    <a:pt x="299" y="116"/>
                  </a:lnTo>
                  <a:lnTo>
                    <a:pt x="304" y="130"/>
                  </a:lnTo>
                  <a:lnTo>
                    <a:pt x="307" y="143"/>
                  </a:lnTo>
                  <a:lnTo>
                    <a:pt x="309" y="157"/>
                  </a:lnTo>
                  <a:lnTo>
                    <a:pt x="311" y="171"/>
                  </a:lnTo>
                  <a:lnTo>
                    <a:pt x="309" y="185"/>
                  </a:lnTo>
                  <a:lnTo>
                    <a:pt x="307" y="200"/>
                  </a:lnTo>
                  <a:lnTo>
                    <a:pt x="304" y="213"/>
                  </a:lnTo>
                  <a:lnTo>
                    <a:pt x="299" y="225"/>
                  </a:lnTo>
                  <a:lnTo>
                    <a:pt x="294" y="237"/>
                  </a:lnTo>
                  <a:lnTo>
                    <a:pt x="286" y="250"/>
                  </a:lnTo>
                  <a:lnTo>
                    <a:pt x="278" y="260"/>
                  </a:lnTo>
                  <a:lnTo>
                    <a:pt x="269" y="270"/>
                  </a:lnTo>
                  <a:lnTo>
                    <a:pt x="259" y="278"/>
                  </a:lnTo>
                  <a:lnTo>
                    <a:pt x="248" y="287"/>
                  </a:lnTo>
                  <a:lnTo>
                    <a:pt x="237" y="294"/>
                  </a:lnTo>
                  <a:lnTo>
                    <a:pt x="225" y="300"/>
                  </a:lnTo>
                  <a:lnTo>
                    <a:pt x="212" y="305"/>
                  </a:lnTo>
                  <a:lnTo>
                    <a:pt x="198" y="308"/>
                  </a:lnTo>
                  <a:lnTo>
                    <a:pt x="185" y="311"/>
                  </a:lnTo>
                  <a:lnTo>
                    <a:pt x="171" y="311"/>
                  </a:lnTo>
                  <a:lnTo>
                    <a:pt x="156" y="311"/>
                  </a:lnTo>
                  <a:lnTo>
                    <a:pt x="143" y="308"/>
                  </a:lnTo>
                  <a:lnTo>
                    <a:pt x="129" y="305"/>
                  </a:lnTo>
                  <a:lnTo>
                    <a:pt x="116" y="300"/>
                  </a:lnTo>
                  <a:lnTo>
                    <a:pt x="104" y="294"/>
                  </a:lnTo>
                  <a:lnTo>
                    <a:pt x="93" y="287"/>
                  </a:lnTo>
                  <a:lnTo>
                    <a:pt x="82" y="278"/>
                  </a:lnTo>
                  <a:lnTo>
                    <a:pt x="72" y="270"/>
                  </a:lnTo>
                  <a:lnTo>
                    <a:pt x="63" y="260"/>
                  </a:lnTo>
                  <a:lnTo>
                    <a:pt x="55" y="250"/>
                  </a:lnTo>
                  <a:lnTo>
                    <a:pt x="47" y="237"/>
                  </a:lnTo>
                  <a:lnTo>
                    <a:pt x="42" y="225"/>
                  </a:lnTo>
                  <a:lnTo>
                    <a:pt x="37" y="213"/>
                  </a:lnTo>
                  <a:lnTo>
                    <a:pt x="34" y="200"/>
                  </a:lnTo>
                  <a:lnTo>
                    <a:pt x="32" y="185"/>
                  </a:lnTo>
                  <a:lnTo>
                    <a:pt x="31" y="171"/>
                  </a:lnTo>
                  <a:lnTo>
                    <a:pt x="32" y="157"/>
                  </a:lnTo>
                  <a:lnTo>
                    <a:pt x="34" y="143"/>
                  </a:lnTo>
                  <a:lnTo>
                    <a:pt x="37" y="130"/>
                  </a:lnTo>
                  <a:lnTo>
                    <a:pt x="42" y="116"/>
                  </a:lnTo>
                  <a:lnTo>
                    <a:pt x="47" y="104"/>
                  </a:lnTo>
                  <a:lnTo>
                    <a:pt x="55" y="93"/>
                  </a:lnTo>
                  <a:lnTo>
                    <a:pt x="63" y="82"/>
                  </a:lnTo>
                  <a:lnTo>
                    <a:pt x="72" y="72"/>
                  </a:lnTo>
                  <a:lnTo>
                    <a:pt x="82" y="63"/>
                  </a:lnTo>
                  <a:lnTo>
                    <a:pt x="93" y="55"/>
                  </a:lnTo>
                  <a:lnTo>
                    <a:pt x="104" y="48"/>
                  </a:lnTo>
                  <a:lnTo>
                    <a:pt x="116" y="42"/>
                  </a:lnTo>
                  <a:lnTo>
                    <a:pt x="129" y="37"/>
                  </a:lnTo>
                  <a:lnTo>
                    <a:pt x="143" y="34"/>
                  </a:lnTo>
                  <a:lnTo>
                    <a:pt x="156" y="32"/>
                  </a:lnTo>
                  <a:lnTo>
                    <a:pt x="171" y="31"/>
                  </a:lnTo>
                  <a:close/>
                  <a:moveTo>
                    <a:pt x="171" y="342"/>
                  </a:moveTo>
                  <a:lnTo>
                    <a:pt x="188" y="341"/>
                  </a:lnTo>
                  <a:lnTo>
                    <a:pt x="205" y="338"/>
                  </a:lnTo>
                  <a:lnTo>
                    <a:pt x="222" y="334"/>
                  </a:lnTo>
                  <a:lnTo>
                    <a:pt x="237" y="328"/>
                  </a:lnTo>
                  <a:lnTo>
                    <a:pt x="252" y="322"/>
                  </a:lnTo>
                  <a:lnTo>
                    <a:pt x="266" y="313"/>
                  </a:lnTo>
                  <a:lnTo>
                    <a:pt x="279" y="303"/>
                  </a:lnTo>
                  <a:lnTo>
                    <a:pt x="292" y="292"/>
                  </a:lnTo>
                  <a:lnTo>
                    <a:pt x="303" y="280"/>
                  </a:lnTo>
                  <a:lnTo>
                    <a:pt x="313" y="266"/>
                  </a:lnTo>
                  <a:lnTo>
                    <a:pt x="321" y="253"/>
                  </a:lnTo>
                  <a:lnTo>
                    <a:pt x="328" y="237"/>
                  </a:lnTo>
                  <a:lnTo>
                    <a:pt x="334" y="222"/>
                  </a:lnTo>
                  <a:lnTo>
                    <a:pt x="338" y="205"/>
                  </a:lnTo>
                  <a:lnTo>
                    <a:pt x="341" y="188"/>
                  </a:lnTo>
                  <a:lnTo>
                    <a:pt x="342" y="171"/>
                  </a:lnTo>
                  <a:lnTo>
                    <a:pt x="341" y="154"/>
                  </a:lnTo>
                  <a:lnTo>
                    <a:pt x="338" y="136"/>
                  </a:lnTo>
                  <a:lnTo>
                    <a:pt x="334" y="121"/>
                  </a:lnTo>
                  <a:lnTo>
                    <a:pt x="328" y="104"/>
                  </a:lnTo>
                  <a:lnTo>
                    <a:pt x="321" y="90"/>
                  </a:lnTo>
                  <a:lnTo>
                    <a:pt x="313" y="75"/>
                  </a:lnTo>
                  <a:lnTo>
                    <a:pt x="303" y="62"/>
                  </a:lnTo>
                  <a:lnTo>
                    <a:pt x="292" y="51"/>
                  </a:lnTo>
                  <a:lnTo>
                    <a:pt x="279" y="40"/>
                  </a:lnTo>
                  <a:lnTo>
                    <a:pt x="266" y="30"/>
                  </a:lnTo>
                  <a:lnTo>
                    <a:pt x="252" y="21"/>
                  </a:lnTo>
                  <a:lnTo>
                    <a:pt x="237" y="14"/>
                  </a:lnTo>
                  <a:lnTo>
                    <a:pt x="222" y="7"/>
                  </a:lnTo>
                  <a:lnTo>
                    <a:pt x="205" y="4"/>
                  </a:lnTo>
                  <a:lnTo>
                    <a:pt x="188" y="1"/>
                  </a:lnTo>
                  <a:lnTo>
                    <a:pt x="171" y="0"/>
                  </a:lnTo>
                  <a:lnTo>
                    <a:pt x="153" y="1"/>
                  </a:lnTo>
                  <a:lnTo>
                    <a:pt x="136" y="4"/>
                  </a:lnTo>
                  <a:lnTo>
                    <a:pt x="119" y="7"/>
                  </a:lnTo>
                  <a:lnTo>
                    <a:pt x="104" y="14"/>
                  </a:lnTo>
                  <a:lnTo>
                    <a:pt x="90" y="21"/>
                  </a:lnTo>
                  <a:lnTo>
                    <a:pt x="75" y="30"/>
                  </a:lnTo>
                  <a:lnTo>
                    <a:pt x="62" y="40"/>
                  </a:lnTo>
                  <a:lnTo>
                    <a:pt x="50" y="51"/>
                  </a:lnTo>
                  <a:lnTo>
                    <a:pt x="38" y="63"/>
                  </a:lnTo>
                  <a:lnTo>
                    <a:pt x="30" y="75"/>
                  </a:lnTo>
                  <a:lnTo>
                    <a:pt x="21" y="90"/>
                  </a:lnTo>
                  <a:lnTo>
                    <a:pt x="13" y="104"/>
                  </a:lnTo>
                  <a:lnTo>
                    <a:pt x="7" y="121"/>
                  </a:lnTo>
                  <a:lnTo>
                    <a:pt x="3" y="136"/>
                  </a:lnTo>
                  <a:lnTo>
                    <a:pt x="1" y="154"/>
                  </a:lnTo>
                  <a:lnTo>
                    <a:pt x="0" y="171"/>
                  </a:lnTo>
                  <a:lnTo>
                    <a:pt x="1" y="188"/>
                  </a:lnTo>
                  <a:lnTo>
                    <a:pt x="3" y="205"/>
                  </a:lnTo>
                  <a:lnTo>
                    <a:pt x="7" y="222"/>
                  </a:lnTo>
                  <a:lnTo>
                    <a:pt x="13" y="237"/>
                  </a:lnTo>
                  <a:lnTo>
                    <a:pt x="21" y="253"/>
                  </a:lnTo>
                  <a:lnTo>
                    <a:pt x="30" y="266"/>
                  </a:lnTo>
                  <a:lnTo>
                    <a:pt x="38" y="280"/>
                  </a:lnTo>
                  <a:lnTo>
                    <a:pt x="50" y="292"/>
                  </a:lnTo>
                  <a:lnTo>
                    <a:pt x="62" y="303"/>
                  </a:lnTo>
                  <a:lnTo>
                    <a:pt x="75" y="313"/>
                  </a:lnTo>
                  <a:lnTo>
                    <a:pt x="90" y="322"/>
                  </a:lnTo>
                  <a:lnTo>
                    <a:pt x="104" y="328"/>
                  </a:lnTo>
                  <a:lnTo>
                    <a:pt x="119" y="334"/>
                  </a:lnTo>
                  <a:lnTo>
                    <a:pt x="136" y="338"/>
                  </a:lnTo>
                  <a:lnTo>
                    <a:pt x="153" y="341"/>
                  </a:lnTo>
                  <a:lnTo>
                    <a:pt x="171"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51">
              <a:extLst>
                <a:ext uri="{FF2B5EF4-FFF2-40B4-BE49-F238E27FC236}">
                  <a16:creationId xmlns:a16="http://schemas.microsoft.com/office/drawing/2014/main" id="{9F10C648-FF17-4E91-BFEC-6D3B0DB5177C}"/>
                </a:ext>
              </a:extLst>
            </p:cNvPr>
            <p:cNvSpPr>
              <a:spLocks noEditPoints="1"/>
            </p:cNvSpPr>
            <p:nvPr/>
          </p:nvSpPr>
          <p:spPr bwMode="auto">
            <a:xfrm>
              <a:off x="7712344" y="1433352"/>
              <a:ext cx="67768" cy="66536"/>
            </a:xfrm>
            <a:custGeom>
              <a:avLst/>
              <a:gdLst>
                <a:gd name="T0" fmla="*/ 124 w 218"/>
                <a:gd name="T1" fmla="*/ 33 h 218"/>
                <a:gd name="T2" fmla="*/ 145 w 218"/>
                <a:gd name="T3" fmla="*/ 41 h 218"/>
                <a:gd name="T4" fmla="*/ 163 w 218"/>
                <a:gd name="T5" fmla="*/ 54 h 218"/>
                <a:gd name="T6" fmla="*/ 177 w 218"/>
                <a:gd name="T7" fmla="*/ 72 h 218"/>
                <a:gd name="T8" fmla="*/ 184 w 218"/>
                <a:gd name="T9" fmla="*/ 93 h 218"/>
                <a:gd name="T10" fmla="*/ 185 w 218"/>
                <a:gd name="T11" fmla="*/ 117 h 218"/>
                <a:gd name="T12" fmla="*/ 180 w 218"/>
                <a:gd name="T13" fmla="*/ 139 h 218"/>
                <a:gd name="T14" fmla="*/ 169 w 218"/>
                <a:gd name="T15" fmla="*/ 159 h 218"/>
                <a:gd name="T16" fmla="*/ 152 w 218"/>
                <a:gd name="T17" fmla="*/ 173 h 218"/>
                <a:gd name="T18" fmla="*/ 132 w 218"/>
                <a:gd name="T19" fmla="*/ 183 h 218"/>
                <a:gd name="T20" fmla="*/ 109 w 218"/>
                <a:gd name="T21" fmla="*/ 187 h 218"/>
                <a:gd name="T22" fmla="*/ 85 w 218"/>
                <a:gd name="T23" fmla="*/ 183 h 218"/>
                <a:gd name="T24" fmla="*/ 65 w 218"/>
                <a:gd name="T25" fmla="*/ 173 h 218"/>
                <a:gd name="T26" fmla="*/ 49 w 218"/>
                <a:gd name="T27" fmla="*/ 159 h 218"/>
                <a:gd name="T28" fmla="*/ 37 w 218"/>
                <a:gd name="T29" fmla="*/ 139 h 218"/>
                <a:gd name="T30" fmla="*/ 31 w 218"/>
                <a:gd name="T31" fmla="*/ 117 h 218"/>
                <a:gd name="T32" fmla="*/ 32 w 218"/>
                <a:gd name="T33" fmla="*/ 93 h 218"/>
                <a:gd name="T34" fmla="*/ 40 w 218"/>
                <a:gd name="T35" fmla="*/ 72 h 218"/>
                <a:gd name="T36" fmla="*/ 53 w 218"/>
                <a:gd name="T37" fmla="*/ 54 h 218"/>
                <a:gd name="T38" fmla="*/ 72 w 218"/>
                <a:gd name="T39" fmla="*/ 41 h 218"/>
                <a:gd name="T40" fmla="*/ 93 w 218"/>
                <a:gd name="T41" fmla="*/ 33 h 218"/>
                <a:gd name="T42" fmla="*/ 109 w 218"/>
                <a:gd name="T43" fmla="*/ 218 h 218"/>
                <a:gd name="T44" fmla="*/ 141 w 218"/>
                <a:gd name="T45" fmla="*/ 213 h 218"/>
                <a:gd name="T46" fmla="*/ 170 w 218"/>
                <a:gd name="T47" fmla="*/ 199 h 218"/>
                <a:gd name="T48" fmla="*/ 192 w 218"/>
                <a:gd name="T49" fmla="*/ 179 h 218"/>
                <a:gd name="T50" fmla="*/ 209 w 218"/>
                <a:gd name="T51" fmla="*/ 151 h 218"/>
                <a:gd name="T52" fmla="*/ 217 w 218"/>
                <a:gd name="T53" fmla="*/ 120 h 218"/>
                <a:gd name="T54" fmla="*/ 215 w 218"/>
                <a:gd name="T55" fmla="*/ 88 h 218"/>
                <a:gd name="T56" fmla="*/ 204 w 218"/>
                <a:gd name="T57" fmla="*/ 58 h 218"/>
                <a:gd name="T58" fmla="*/ 185 w 218"/>
                <a:gd name="T59" fmla="*/ 32 h 218"/>
                <a:gd name="T60" fmla="*/ 160 w 218"/>
                <a:gd name="T61" fmla="*/ 13 h 218"/>
                <a:gd name="T62" fmla="*/ 131 w 218"/>
                <a:gd name="T63" fmla="*/ 2 h 218"/>
                <a:gd name="T64" fmla="*/ 98 w 218"/>
                <a:gd name="T65" fmla="*/ 1 h 218"/>
                <a:gd name="T66" fmla="*/ 67 w 218"/>
                <a:gd name="T67" fmla="*/ 9 h 218"/>
                <a:gd name="T68" fmla="*/ 40 w 218"/>
                <a:gd name="T69" fmla="*/ 26 h 218"/>
                <a:gd name="T70" fmla="*/ 19 w 218"/>
                <a:gd name="T71" fmla="*/ 49 h 218"/>
                <a:gd name="T72" fmla="*/ 4 w 218"/>
                <a:gd name="T73" fmla="*/ 77 h 218"/>
                <a:gd name="T74" fmla="*/ 0 w 218"/>
                <a:gd name="T75" fmla="*/ 109 h 218"/>
                <a:gd name="T76" fmla="*/ 4 w 218"/>
                <a:gd name="T77" fmla="*/ 141 h 218"/>
                <a:gd name="T78" fmla="*/ 19 w 218"/>
                <a:gd name="T79" fmla="*/ 170 h 218"/>
                <a:gd name="T80" fmla="*/ 40 w 218"/>
                <a:gd name="T81" fmla="*/ 193 h 218"/>
                <a:gd name="T82" fmla="*/ 67 w 218"/>
                <a:gd name="T83" fmla="*/ 210 h 218"/>
                <a:gd name="T84" fmla="*/ 98 w 218"/>
                <a:gd name="T8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218">
                  <a:moveTo>
                    <a:pt x="109" y="31"/>
                  </a:moveTo>
                  <a:lnTo>
                    <a:pt x="117" y="32"/>
                  </a:lnTo>
                  <a:lnTo>
                    <a:pt x="124" y="33"/>
                  </a:lnTo>
                  <a:lnTo>
                    <a:pt x="132" y="34"/>
                  </a:lnTo>
                  <a:lnTo>
                    <a:pt x="139" y="38"/>
                  </a:lnTo>
                  <a:lnTo>
                    <a:pt x="145" y="41"/>
                  </a:lnTo>
                  <a:lnTo>
                    <a:pt x="152" y="44"/>
                  </a:lnTo>
                  <a:lnTo>
                    <a:pt x="158" y="49"/>
                  </a:lnTo>
                  <a:lnTo>
                    <a:pt x="163" y="54"/>
                  </a:lnTo>
                  <a:lnTo>
                    <a:pt x="169" y="60"/>
                  </a:lnTo>
                  <a:lnTo>
                    <a:pt x="173" y="66"/>
                  </a:lnTo>
                  <a:lnTo>
                    <a:pt x="177" y="72"/>
                  </a:lnTo>
                  <a:lnTo>
                    <a:pt x="180" y="79"/>
                  </a:lnTo>
                  <a:lnTo>
                    <a:pt x="183" y="87"/>
                  </a:lnTo>
                  <a:lnTo>
                    <a:pt x="184" y="93"/>
                  </a:lnTo>
                  <a:lnTo>
                    <a:pt x="185" y="101"/>
                  </a:lnTo>
                  <a:lnTo>
                    <a:pt x="187" y="109"/>
                  </a:lnTo>
                  <a:lnTo>
                    <a:pt x="185" y="117"/>
                  </a:lnTo>
                  <a:lnTo>
                    <a:pt x="184" y="124"/>
                  </a:lnTo>
                  <a:lnTo>
                    <a:pt x="183" y="132"/>
                  </a:lnTo>
                  <a:lnTo>
                    <a:pt x="180" y="139"/>
                  </a:lnTo>
                  <a:lnTo>
                    <a:pt x="177" y="147"/>
                  </a:lnTo>
                  <a:lnTo>
                    <a:pt x="173" y="152"/>
                  </a:lnTo>
                  <a:lnTo>
                    <a:pt x="169" y="159"/>
                  </a:lnTo>
                  <a:lnTo>
                    <a:pt x="163" y="164"/>
                  </a:lnTo>
                  <a:lnTo>
                    <a:pt x="158" y="169"/>
                  </a:lnTo>
                  <a:lnTo>
                    <a:pt x="152" y="173"/>
                  </a:lnTo>
                  <a:lnTo>
                    <a:pt x="145" y="178"/>
                  </a:lnTo>
                  <a:lnTo>
                    <a:pt x="139" y="181"/>
                  </a:lnTo>
                  <a:lnTo>
                    <a:pt x="132" y="183"/>
                  </a:lnTo>
                  <a:lnTo>
                    <a:pt x="124" y="186"/>
                  </a:lnTo>
                  <a:lnTo>
                    <a:pt x="117" y="187"/>
                  </a:lnTo>
                  <a:lnTo>
                    <a:pt x="109" y="187"/>
                  </a:lnTo>
                  <a:lnTo>
                    <a:pt x="101" y="187"/>
                  </a:lnTo>
                  <a:lnTo>
                    <a:pt x="93" y="186"/>
                  </a:lnTo>
                  <a:lnTo>
                    <a:pt x="85" y="183"/>
                  </a:lnTo>
                  <a:lnTo>
                    <a:pt x="79" y="181"/>
                  </a:lnTo>
                  <a:lnTo>
                    <a:pt x="72" y="178"/>
                  </a:lnTo>
                  <a:lnTo>
                    <a:pt x="65" y="173"/>
                  </a:lnTo>
                  <a:lnTo>
                    <a:pt x="59" y="169"/>
                  </a:lnTo>
                  <a:lnTo>
                    <a:pt x="53" y="164"/>
                  </a:lnTo>
                  <a:lnTo>
                    <a:pt x="49" y="159"/>
                  </a:lnTo>
                  <a:lnTo>
                    <a:pt x="44" y="152"/>
                  </a:lnTo>
                  <a:lnTo>
                    <a:pt x="40" y="147"/>
                  </a:lnTo>
                  <a:lnTo>
                    <a:pt x="37" y="139"/>
                  </a:lnTo>
                  <a:lnTo>
                    <a:pt x="34" y="132"/>
                  </a:lnTo>
                  <a:lnTo>
                    <a:pt x="32" y="124"/>
                  </a:lnTo>
                  <a:lnTo>
                    <a:pt x="31" y="117"/>
                  </a:lnTo>
                  <a:lnTo>
                    <a:pt x="31" y="109"/>
                  </a:lnTo>
                  <a:lnTo>
                    <a:pt x="31" y="101"/>
                  </a:lnTo>
                  <a:lnTo>
                    <a:pt x="32" y="93"/>
                  </a:lnTo>
                  <a:lnTo>
                    <a:pt x="34" y="87"/>
                  </a:lnTo>
                  <a:lnTo>
                    <a:pt x="37" y="79"/>
                  </a:lnTo>
                  <a:lnTo>
                    <a:pt x="40" y="72"/>
                  </a:lnTo>
                  <a:lnTo>
                    <a:pt x="44" y="66"/>
                  </a:lnTo>
                  <a:lnTo>
                    <a:pt x="49" y="60"/>
                  </a:lnTo>
                  <a:lnTo>
                    <a:pt x="53" y="54"/>
                  </a:lnTo>
                  <a:lnTo>
                    <a:pt x="59" y="49"/>
                  </a:lnTo>
                  <a:lnTo>
                    <a:pt x="65" y="44"/>
                  </a:lnTo>
                  <a:lnTo>
                    <a:pt x="72" y="41"/>
                  </a:lnTo>
                  <a:lnTo>
                    <a:pt x="79" y="38"/>
                  </a:lnTo>
                  <a:lnTo>
                    <a:pt x="85" y="34"/>
                  </a:lnTo>
                  <a:lnTo>
                    <a:pt x="93" y="33"/>
                  </a:lnTo>
                  <a:lnTo>
                    <a:pt x="101" y="32"/>
                  </a:lnTo>
                  <a:lnTo>
                    <a:pt x="109" y="31"/>
                  </a:lnTo>
                  <a:close/>
                  <a:moveTo>
                    <a:pt x="109" y="218"/>
                  </a:moveTo>
                  <a:lnTo>
                    <a:pt x="120" y="218"/>
                  </a:lnTo>
                  <a:lnTo>
                    <a:pt x="131" y="216"/>
                  </a:lnTo>
                  <a:lnTo>
                    <a:pt x="141" y="213"/>
                  </a:lnTo>
                  <a:lnTo>
                    <a:pt x="151" y="210"/>
                  </a:lnTo>
                  <a:lnTo>
                    <a:pt x="160" y="204"/>
                  </a:lnTo>
                  <a:lnTo>
                    <a:pt x="170" y="199"/>
                  </a:lnTo>
                  <a:lnTo>
                    <a:pt x="178" y="193"/>
                  </a:lnTo>
                  <a:lnTo>
                    <a:pt x="185" y="187"/>
                  </a:lnTo>
                  <a:lnTo>
                    <a:pt x="192" y="179"/>
                  </a:lnTo>
                  <a:lnTo>
                    <a:pt x="199" y="170"/>
                  </a:lnTo>
                  <a:lnTo>
                    <a:pt x="204" y="161"/>
                  </a:lnTo>
                  <a:lnTo>
                    <a:pt x="209" y="151"/>
                  </a:lnTo>
                  <a:lnTo>
                    <a:pt x="212" y="141"/>
                  </a:lnTo>
                  <a:lnTo>
                    <a:pt x="215" y="131"/>
                  </a:lnTo>
                  <a:lnTo>
                    <a:pt x="217" y="120"/>
                  </a:lnTo>
                  <a:lnTo>
                    <a:pt x="218" y="109"/>
                  </a:lnTo>
                  <a:lnTo>
                    <a:pt x="217" y="98"/>
                  </a:lnTo>
                  <a:lnTo>
                    <a:pt x="215" y="88"/>
                  </a:lnTo>
                  <a:lnTo>
                    <a:pt x="212" y="77"/>
                  </a:lnTo>
                  <a:lnTo>
                    <a:pt x="209" y="67"/>
                  </a:lnTo>
                  <a:lnTo>
                    <a:pt x="204" y="58"/>
                  </a:lnTo>
                  <a:lnTo>
                    <a:pt x="199" y="49"/>
                  </a:lnTo>
                  <a:lnTo>
                    <a:pt x="192" y="40"/>
                  </a:lnTo>
                  <a:lnTo>
                    <a:pt x="185" y="32"/>
                  </a:lnTo>
                  <a:lnTo>
                    <a:pt x="178" y="26"/>
                  </a:lnTo>
                  <a:lnTo>
                    <a:pt x="170" y="19"/>
                  </a:lnTo>
                  <a:lnTo>
                    <a:pt x="160" y="13"/>
                  </a:lnTo>
                  <a:lnTo>
                    <a:pt x="151" y="9"/>
                  </a:lnTo>
                  <a:lnTo>
                    <a:pt x="141" y="6"/>
                  </a:lnTo>
                  <a:lnTo>
                    <a:pt x="131" y="2"/>
                  </a:lnTo>
                  <a:lnTo>
                    <a:pt x="120" y="1"/>
                  </a:lnTo>
                  <a:lnTo>
                    <a:pt x="109" y="0"/>
                  </a:lnTo>
                  <a:lnTo>
                    <a:pt x="98" y="1"/>
                  </a:lnTo>
                  <a:lnTo>
                    <a:pt x="87" y="2"/>
                  </a:lnTo>
                  <a:lnTo>
                    <a:pt x="77" y="6"/>
                  </a:lnTo>
                  <a:lnTo>
                    <a:pt x="67" y="9"/>
                  </a:lnTo>
                  <a:lnTo>
                    <a:pt x="57" y="13"/>
                  </a:lnTo>
                  <a:lnTo>
                    <a:pt x="48" y="19"/>
                  </a:lnTo>
                  <a:lnTo>
                    <a:pt x="40" y="26"/>
                  </a:lnTo>
                  <a:lnTo>
                    <a:pt x="32" y="32"/>
                  </a:lnTo>
                  <a:lnTo>
                    <a:pt x="24" y="40"/>
                  </a:lnTo>
                  <a:lnTo>
                    <a:pt x="19" y="49"/>
                  </a:lnTo>
                  <a:lnTo>
                    <a:pt x="13" y="58"/>
                  </a:lnTo>
                  <a:lnTo>
                    <a:pt x="9" y="67"/>
                  </a:lnTo>
                  <a:lnTo>
                    <a:pt x="4" y="77"/>
                  </a:lnTo>
                  <a:lnTo>
                    <a:pt x="2" y="88"/>
                  </a:lnTo>
                  <a:lnTo>
                    <a:pt x="0" y="98"/>
                  </a:lnTo>
                  <a:lnTo>
                    <a:pt x="0" y="109"/>
                  </a:lnTo>
                  <a:lnTo>
                    <a:pt x="0" y="120"/>
                  </a:lnTo>
                  <a:lnTo>
                    <a:pt x="2" y="131"/>
                  </a:lnTo>
                  <a:lnTo>
                    <a:pt x="4" y="141"/>
                  </a:lnTo>
                  <a:lnTo>
                    <a:pt x="9" y="151"/>
                  </a:lnTo>
                  <a:lnTo>
                    <a:pt x="13" y="161"/>
                  </a:lnTo>
                  <a:lnTo>
                    <a:pt x="19" y="170"/>
                  </a:lnTo>
                  <a:lnTo>
                    <a:pt x="24" y="179"/>
                  </a:lnTo>
                  <a:lnTo>
                    <a:pt x="32" y="187"/>
                  </a:lnTo>
                  <a:lnTo>
                    <a:pt x="40" y="193"/>
                  </a:lnTo>
                  <a:lnTo>
                    <a:pt x="48" y="199"/>
                  </a:lnTo>
                  <a:lnTo>
                    <a:pt x="57" y="204"/>
                  </a:lnTo>
                  <a:lnTo>
                    <a:pt x="67" y="210"/>
                  </a:lnTo>
                  <a:lnTo>
                    <a:pt x="77" y="213"/>
                  </a:lnTo>
                  <a:lnTo>
                    <a:pt x="87" y="216"/>
                  </a:lnTo>
                  <a:lnTo>
                    <a:pt x="98" y="218"/>
                  </a:lnTo>
                  <a:lnTo>
                    <a:pt x="109"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52">
              <a:extLst>
                <a:ext uri="{FF2B5EF4-FFF2-40B4-BE49-F238E27FC236}">
                  <a16:creationId xmlns:a16="http://schemas.microsoft.com/office/drawing/2014/main" id="{0F6930AC-D82B-4864-B3F1-03578F235D46}"/>
                </a:ext>
              </a:extLst>
            </p:cNvPr>
            <p:cNvSpPr>
              <a:spLocks noEditPoints="1"/>
            </p:cNvSpPr>
            <p:nvPr/>
          </p:nvSpPr>
          <p:spPr bwMode="auto">
            <a:xfrm>
              <a:off x="7597754" y="1509745"/>
              <a:ext cx="277234" cy="134304"/>
            </a:xfrm>
            <a:custGeom>
              <a:avLst/>
              <a:gdLst>
                <a:gd name="T0" fmla="*/ 870 w 902"/>
                <a:gd name="T1" fmla="*/ 353 h 435"/>
                <a:gd name="T2" fmla="*/ 866 w 902"/>
                <a:gd name="T3" fmla="*/ 355 h 435"/>
                <a:gd name="T4" fmla="*/ 653 w 902"/>
                <a:gd name="T5" fmla="*/ 267 h 435"/>
                <a:gd name="T6" fmla="*/ 863 w 902"/>
                <a:gd name="T7" fmla="*/ 93 h 435"/>
                <a:gd name="T8" fmla="*/ 868 w 902"/>
                <a:gd name="T9" fmla="*/ 92 h 435"/>
                <a:gd name="T10" fmla="*/ 871 w 902"/>
                <a:gd name="T11" fmla="*/ 98 h 435"/>
                <a:gd name="T12" fmla="*/ 606 w 902"/>
                <a:gd name="T13" fmla="*/ 404 h 435"/>
                <a:gd name="T14" fmla="*/ 43 w 902"/>
                <a:gd name="T15" fmla="*/ 404 h 435"/>
                <a:gd name="T16" fmla="*/ 37 w 902"/>
                <a:gd name="T17" fmla="*/ 401 h 435"/>
                <a:gd name="T18" fmla="*/ 34 w 902"/>
                <a:gd name="T19" fmla="*/ 398 h 435"/>
                <a:gd name="T20" fmla="*/ 31 w 902"/>
                <a:gd name="T21" fmla="*/ 392 h 435"/>
                <a:gd name="T22" fmla="*/ 31 w 902"/>
                <a:gd name="T23" fmla="*/ 47 h 435"/>
                <a:gd name="T24" fmla="*/ 32 w 902"/>
                <a:gd name="T25" fmla="*/ 41 h 435"/>
                <a:gd name="T26" fmla="*/ 35 w 902"/>
                <a:gd name="T27" fmla="*/ 35 h 435"/>
                <a:gd name="T28" fmla="*/ 41 w 902"/>
                <a:gd name="T29" fmla="*/ 32 h 435"/>
                <a:gd name="T30" fmla="*/ 46 w 902"/>
                <a:gd name="T31" fmla="*/ 31 h 435"/>
                <a:gd name="T32" fmla="*/ 610 w 902"/>
                <a:gd name="T33" fmla="*/ 31 h 435"/>
                <a:gd name="T34" fmla="*/ 615 w 902"/>
                <a:gd name="T35" fmla="*/ 34 h 435"/>
                <a:gd name="T36" fmla="*/ 618 w 902"/>
                <a:gd name="T37" fmla="*/ 38 h 435"/>
                <a:gd name="T38" fmla="*/ 621 w 902"/>
                <a:gd name="T39" fmla="*/ 43 h 435"/>
                <a:gd name="T40" fmla="*/ 622 w 902"/>
                <a:gd name="T41" fmla="*/ 171 h 435"/>
                <a:gd name="T42" fmla="*/ 622 w 902"/>
                <a:gd name="T43" fmla="*/ 171 h 435"/>
                <a:gd name="T44" fmla="*/ 622 w 902"/>
                <a:gd name="T45" fmla="*/ 277 h 435"/>
                <a:gd name="T46" fmla="*/ 621 w 902"/>
                <a:gd name="T47" fmla="*/ 392 h 435"/>
                <a:gd name="T48" fmla="*/ 618 w 902"/>
                <a:gd name="T49" fmla="*/ 398 h 435"/>
                <a:gd name="T50" fmla="*/ 615 w 902"/>
                <a:gd name="T51" fmla="*/ 401 h 435"/>
                <a:gd name="T52" fmla="*/ 610 w 902"/>
                <a:gd name="T53" fmla="*/ 404 h 435"/>
                <a:gd name="T54" fmla="*/ 886 w 902"/>
                <a:gd name="T55" fmla="*/ 67 h 435"/>
                <a:gd name="T56" fmla="*/ 878 w 902"/>
                <a:gd name="T57" fmla="*/ 63 h 435"/>
                <a:gd name="T58" fmla="*/ 870 w 902"/>
                <a:gd name="T59" fmla="*/ 61 h 435"/>
                <a:gd name="T60" fmla="*/ 851 w 902"/>
                <a:gd name="T61" fmla="*/ 64 h 435"/>
                <a:gd name="T62" fmla="*/ 653 w 902"/>
                <a:gd name="T63" fmla="*/ 47 h 435"/>
                <a:gd name="T64" fmla="*/ 648 w 902"/>
                <a:gd name="T65" fmla="*/ 29 h 435"/>
                <a:gd name="T66" fmla="*/ 638 w 902"/>
                <a:gd name="T67" fmla="*/ 13 h 435"/>
                <a:gd name="T68" fmla="*/ 624 w 902"/>
                <a:gd name="T69" fmla="*/ 3 h 435"/>
                <a:gd name="T70" fmla="*/ 606 w 902"/>
                <a:gd name="T71" fmla="*/ 0 h 435"/>
                <a:gd name="T72" fmla="*/ 37 w 902"/>
                <a:gd name="T73" fmla="*/ 1 h 435"/>
                <a:gd name="T74" fmla="*/ 21 w 902"/>
                <a:gd name="T75" fmla="*/ 8 h 435"/>
                <a:gd name="T76" fmla="*/ 7 w 902"/>
                <a:gd name="T77" fmla="*/ 21 h 435"/>
                <a:gd name="T78" fmla="*/ 1 w 902"/>
                <a:gd name="T79" fmla="*/ 38 h 435"/>
                <a:gd name="T80" fmla="*/ 0 w 902"/>
                <a:gd name="T81" fmla="*/ 389 h 435"/>
                <a:gd name="T82" fmla="*/ 3 w 902"/>
                <a:gd name="T83" fmla="*/ 407 h 435"/>
                <a:gd name="T84" fmla="*/ 14 w 902"/>
                <a:gd name="T85" fmla="*/ 422 h 435"/>
                <a:gd name="T86" fmla="*/ 29 w 902"/>
                <a:gd name="T87" fmla="*/ 432 h 435"/>
                <a:gd name="T88" fmla="*/ 46 w 902"/>
                <a:gd name="T89" fmla="*/ 435 h 435"/>
                <a:gd name="T90" fmla="*/ 615 w 902"/>
                <a:gd name="T91" fmla="*/ 434 h 435"/>
                <a:gd name="T92" fmla="*/ 632 w 902"/>
                <a:gd name="T93" fmla="*/ 428 h 435"/>
                <a:gd name="T94" fmla="*/ 645 w 902"/>
                <a:gd name="T95" fmla="*/ 414 h 435"/>
                <a:gd name="T96" fmla="*/ 652 w 902"/>
                <a:gd name="T97" fmla="*/ 398 h 435"/>
                <a:gd name="T98" fmla="*/ 653 w 902"/>
                <a:gd name="T99" fmla="*/ 300 h 435"/>
                <a:gd name="T100" fmla="*/ 860 w 902"/>
                <a:gd name="T101" fmla="*/ 385 h 435"/>
                <a:gd name="T102" fmla="*/ 872 w 902"/>
                <a:gd name="T103" fmla="*/ 385 h 435"/>
                <a:gd name="T104" fmla="*/ 882 w 902"/>
                <a:gd name="T105" fmla="*/ 383 h 435"/>
                <a:gd name="T106" fmla="*/ 890 w 902"/>
                <a:gd name="T107" fmla="*/ 378 h 435"/>
                <a:gd name="T108" fmla="*/ 895 w 902"/>
                <a:gd name="T109" fmla="*/ 372 h 435"/>
                <a:gd name="T110" fmla="*/ 901 w 902"/>
                <a:gd name="T111" fmla="*/ 359 h 435"/>
                <a:gd name="T112" fmla="*/ 902 w 902"/>
                <a:gd name="T113" fmla="*/ 98 h 435"/>
                <a:gd name="T114" fmla="*/ 897 w 902"/>
                <a:gd name="T115" fmla="*/ 80 h 435"/>
                <a:gd name="T116" fmla="*/ 893 w 902"/>
                <a:gd name="T117" fmla="*/ 72 h 435"/>
                <a:gd name="T118" fmla="*/ 886 w 902"/>
                <a:gd name="T119" fmla="*/ 67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435">
                  <a:moveTo>
                    <a:pt x="871" y="350"/>
                  </a:moveTo>
                  <a:lnTo>
                    <a:pt x="870" y="353"/>
                  </a:lnTo>
                  <a:lnTo>
                    <a:pt x="868" y="355"/>
                  </a:lnTo>
                  <a:lnTo>
                    <a:pt x="866" y="355"/>
                  </a:lnTo>
                  <a:lnTo>
                    <a:pt x="863" y="354"/>
                  </a:lnTo>
                  <a:lnTo>
                    <a:pt x="653" y="267"/>
                  </a:lnTo>
                  <a:lnTo>
                    <a:pt x="653" y="181"/>
                  </a:lnTo>
                  <a:lnTo>
                    <a:pt x="863" y="93"/>
                  </a:lnTo>
                  <a:lnTo>
                    <a:pt x="866" y="92"/>
                  </a:lnTo>
                  <a:lnTo>
                    <a:pt x="868" y="92"/>
                  </a:lnTo>
                  <a:lnTo>
                    <a:pt x="870" y="94"/>
                  </a:lnTo>
                  <a:lnTo>
                    <a:pt x="871" y="98"/>
                  </a:lnTo>
                  <a:lnTo>
                    <a:pt x="871" y="350"/>
                  </a:lnTo>
                  <a:close/>
                  <a:moveTo>
                    <a:pt x="606" y="404"/>
                  </a:moveTo>
                  <a:lnTo>
                    <a:pt x="46" y="404"/>
                  </a:lnTo>
                  <a:lnTo>
                    <a:pt x="43" y="404"/>
                  </a:lnTo>
                  <a:lnTo>
                    <a:pt x="41" y="403"/>
                  </a:lnTo>
                  <a:lnTo>
                    <a:pt x="37" y="401"/>
                  </a:lnTo>
                  <a:lnTo>
                    <a:pt x="35" y="400"/>
                  </a:lnTo>
                  <a:lnTo>
                    <a:pt x="34" y="398"/>
                  </a:lnTo>
                  <a:lnTo>
                    <a:pt x="32" y="394"/>
                  </a:lnTo>
                  <a:lnTo>
                    <a:pt x="31" y="392"/>
                  </a:lnTo>
                  <a:lnTo>
                    <a:pt x="31" y="389"/>
                  </a:lnTo>
                  <a:lnTo>
                    <a:pt x="31" y="47"/>
                  </a:lnTo>
                  <a:lnTo>
                    <a:pt x="31" y="43"/>
                  </a:lnTo>
                  <a:lnTo>
                    <a:pt x="32" y="41"/>
                  </a:lnTo>
                  <a:lnTo>
                    <a:pt x="34" y="38"/>
                  </a:lnTo>
                  <a:lnTo>
                    <a:pt x="35" y="35"/>
                  </a:lnTo>
                  <a:lnTo>
                    <a:pt x="37" y="34"/>
                  </a:lnTo>
                  <a:lnTo>
                    <a:pt x="41" y="32"/>
                  </a:lnTo>
                  <a:lnTo>
                    <a:pt x="43" y="31"/>
                  </a:lnTo>
                  <a:lnTo>
                    <a:pt x="46" y="31"/>
                  </a:lnTo>
                  <a:lnTo>
                    <a:pt x="606" y="31"/>
                  </a:lnTo>
                  <a:lnTo>
                    <a:pt x="610" y="31"/>
                  </a:lnTo>
                  <a:lnTo>
                    <a:pt x="612" y="32"/>
                  </a:lnTo>
                  <a:lnTo>
                    <a:pt x="615" y="34"/>
                  </a:lnTo>
                  <a:lnTo>
                    <a:pt x="617" y="35"/>
                  </a:lnTo>
                  <a:lnTo>
                    <a:pt x="618" y="38"/>
                  </a:lnTo>
                  <a:lnTo>
                    <a:pt x="621" y="41"/>
                  </a:lnTo>
                  <a:lnTo>
                    <a:pt x="621" y="43"/>
                  </a:lnTo>
                  <a:lnTo>
                    <a:pt x="622" y="47"/>
                  </a:lnTo>
                  <a:lnTo>
                    <a:pt x="622" y="171"/>
                  </a:lnTo>
                  <a:lnTo>
                    <a:pt x="622" y="171"/>
                  </a:lnTo>
                  <a:lnTo>
                    <a:pt x="622" y="171"/>
                  </a:lnTo>
                  <a:lnTo>
                    <a:pt x="622" y="277"/>
                  </a:lnTo>
                  <a:lnTo>
                    <a:pt x="622" y="277"/>
                  </a:lnTo>
                  <a:lnTo>
                    <a:pt x="622" y="389"/>
                  </a:lnTo>
                  <a:lnTo>
                    <a:pt x="621" y="392"/>
                  </a:lnTo>
                  <a:lnTo>
                    <a:pt x="621" y="394"/>
                  </a:lnTo>
                  <a:lnTo>
                    <a:pt x="618" y="398"/>
                  </a:lnTo>
                  <a:lnTo>
                    <a:pt x="617" y="400"/>
                  </a:lnTo>
                  <a:lnTo>
                    <a:pt x="615" y="401"/>
                  </a:lnTo>
                  <a:lnTo>
                    <a:pt x="612" y="403"/>
                  </a:lnTo>
                  <a:lnTo>
                    <a:pt x="610" y="404"/>
                  </a:lnTo>
                  <a:lnTo>
                    <a:pt x="606" y="404"/>
                  </a:lnTo>
                  <a:close/>
                  <a:moveTo>
                    <a:pt x="886" y="67"/>
                  </a:moveTo>
                  <a:lnTo>
                    <a:pt x="882" y="64"/>
                  </a:lnTo>
                  <a:lnTo>
                    <a:pt x="878" y="63"/>
                  </a:lnTo>
                  <a:lnTo>
                    <a:pt x="874" y="62"/>
                  </a:lnTo>
                  <a:lnTo>
                    <a:pt x="870" y="61"/>
                  </a:lnTo>
                  <a:lnTo>
                    <a:pt x="861" y="62"/>
                  </a:lnTo>
                  <a:lnTo>
                    <a:pt x="851" y="64"/>
                  </a:lnTo>
                  <a:lnTo>
                    <a:pt x="653" y="148"/>
                  </a:lnTo>
                  <a:lnTo>
                    <a:pt x="653" y="47"/>
                  </a:lnTo>
                  <a:lnTo>
                    <a:pt x="652" y="38"/>
                  </a:lnTo>
                  <a:lnTo>
                    <a:pt x="648" y="29"/>
                  </a:lnTo>
                  <a:lnTo>
                    <a:pt x="645" y="21"/>
                  </a:lnTo>
                  <a:lnTo>
                    <a:pt x="638" y="13"/>
                  </a:lnTo>
                  <a:lnTo>
                    <a:pt x="632" y="8"/>
                  </a:lnTo>
                  <a:lnTo>
                    <a:pt x="624" y="3"/>
                  </a:lnTo>
                  <a:lnTo>
                    <a:pt x="615" y="1"/>
                  </a:lnTo>
                  <a:lnTo>
                    <a:pt x="606" y="0"/>
                  </a:lnTo>
                  <a:lnTo>
                    <a:pt x="46" y="0"/>
                  </a:lnTo>
                  <a:lnTo>
                    <a:pt x="37" y="1"/>
                  </a:lnTo>
                  <a:lnTo>
                    <a:pt x="29" y="3"/>
                  </a:lnTo>
                  <a:lnTo>
                    <a:pt x="21" y="8"/>
                  </a:lnTo>
                  <a:lnTo>
                    <a:pt x="14" y="13"/>
                  </a:lnTo>
                  <a:lnTo>
                    <a:pt x="7" y="21"/>
                  </a:lnTo>
                  <a:lnTo>
                    <a:pt x="3" y="29"/>
                  </a:lnTo>
                  <a:lnTo>
                    <a:pt x="1" y="38"/>
                  </a:lnTo>
                  <a:lnTo>
                    <a:pt x="0" y="47"/>
                  </a:lnTo>
                  <a:lnTo>
                    <a:pt x="0" y="389"/>
                  </a:lnTo>
                  <a:lnTo>
                    <a:pt x="1" y="398"/>
                  </a:lnTo>
                  <a:lnTo>
                    <a:pt x="3" y="407"/>
                  </a:lnTo>
                  <a:lnTo>
                    <a:pt x="7" y="414"/>
                  </a:lnTo>
                  <a:lnTo>
                    <a:pt x="14" y="422"/>
                  </a:lnTo>
                  <a:lnTo>
                    <a:pt x="21" y="428"/>
                  </a:lnTo>
                  <a:lnTo>
                    <a:pt x="29" y="432"/>
                  </a:lnTo>
                  <a:lnTo>
                    <a:pt x="37" y="434"/>
                  </a:lnTo>
                  <a:lnTo>
                    <a:pt x="46" y="435"/>
                  </a:lnTo>
                  <a:lnTo>
                    <a:pt x="606" y="435"/>
                  </a:lnTo>
                  <a:lnTo>
                    <a:pt x="615" y="434"/>
                  </a:lnTo>
                  <a:lnTo>
                    <a:pt x="624" y="432"/>
                  </a:lnTo>
                  <a:lnTo>
                    <a:pt x="632" y="428"/>
                  </a:lnTo>
                  <a:lnTo>
                    <a:pt x="638" y="422"/>
                  </a:lnTo>
                  <a:lnTo>
                    <a:pt x="645" y="414"/>
                  </a:lnTo>
                  <a:lnTo>
                    <a:pt x="648" y="407"/>
                  </a:lnTo>
                  <a:lnTo>
                    <a:pt x="652" y="398"/>
                  </a:lnTo>
                  <a:lnTo>
                    <a:pt x="653" y="389"/>
                  </a:lnTo>
                  <a:lnTo>
                    <a:pt x="653" y="300"/>
                  </a:lnTo>
                  <a:lnTo>
                    <a:pt x="851" y="383"/>
                  </a:lnTo>
                  <a:lnTo>
                    <a:pt x="860" y="385"/>
                  </a:lnTo>
                  <a:lnTo>
                    <a:pt x="867" y="387"/>
                  </a:lnTo>
                  <a:lnTo>
                    <a:pt x="872" y="385"/>
                  </a:lnTo>
                  <a:lnTo>
                    <a:pt x="877" y="385"/>
                  </a:lnTo>
                  <a:lnTo>
                    <a:pt x="882" y="383"/>
                  </a:lnTo>
                  <a:lnTo>
                    <a:pt x="886" y="381"/>
                  </a:lnTo>
                  <a:lnTo>
                    <a:pt x="890" y="378"/>
                  </a:lnTo>
                  <a:lnTo>
                    <a:pt x="893" y="375"/>
                  </a:lnTo>
                  <a:lnTo>
                    <a:pt x="895" y="372"/>
                  </a:lnTo>
                  <a:lnTo>
                    <a:pt x="897" y="368"/>
                  </a:lnTo>
                  <a:lnTo>
                    <a:pt x="901" y="359"/>
                  </a:lnTo>
                  <a:lnTo>
                    <a:pt x="902" y="350"/>
                  </a:lnTo>
                  <a:lnTo>
                    <a:pt x="902" y="98"/>
                  </a:lnTo>
                  <a:lnTo>
                    <a:pt x="901" y="89"/>
                  </a:lnTo>
                  <a:lnTo>
                    <a:pt x="897" y="80"/>
                  </a:lnTo>
                  <a:lnTo>
                    <a:pt x="895" y="75"/>
                  </a:lnTo>
                  <a:lnTo>
                    <a:pt x="893" y="72"/>
                  </a:lnTo>
                  <a:lnTo>
                    <a:pt x="890" y="69"/>
                  </a:lnTo>
                  <a:lnTo>
                    <a:pt x="88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40" name="Freeform 29">
            <a:extLst>
              <a:ext uri="{FF2B5EF4-FFF2-40B4-BE49-F238E27FC236}">
                <a16:creationId xmlns:a16="http://schemas.microsoft.com/office/drawing/2014/main" id="{E5F7890C-2A5E-49E1-B206-5387839083BF}"/>
              </a:ext>
            </a:extLst>
          </p:cNvPr>
          <p:cNvSpPr>
            <a:spLocks noChangeAspect="1" noEditPoints="1"/>
          </p:cNvSpPr>
          <p:nvPr/>
        </p:nvSpPr>
        <p:spPr bwMode="auto">
          <a:xfrm>
            <a:off x="7875590" y="5956111"/>
            <a:ext cx="287981" cy="285619"/>
          </a:xfrm>
          <a:custGeom>
            <a:avLst/>
            <a:gdLst>
              <a:gd name="T0" fmla="*/ 376 w 904"/>
              <a:gd name="T1" fmla="*/ 251 h 904"/>
              <a:gd name="T2" fmla="*/ 412 w 904"/>
              <a:gd name="T3" fmla="*/ 287 h 904"/>
              <a:gd name="T4" fmla="*/ 421 w 904"/>
              <a:gd name="T5" fmla="*/ 392 h 904"/>
              <a:gd name="T6" fmla="*/ 195 w 904"/>
              <a:gd name="T7" fmla="*/ 872 h 904"/>
              <a:gd name="T8" fmla="*/ 121 w 904"/>
              <a:gd name="T9" fmla="*/ 850 h 904"/>
              <a:gd name="T10" fmla="*/ 73 w 904"/>
              <a:gd name="T11" fmla="*/ 809 h 904"/>
              <a:gd name="T12" fmla="*/ 36 w 904"/>
              <a:gd name="T13" fmla="*/ 723 h 904"/>
              <a:gd name="T14" fmla="*/ 421 w 904"/>
              <a:gd name="T15" fmla="*/ 422 h 904"/>
              <a:gd name="T16" fmla="*/ 412 w 904"/>
              <a:gd name="T17" fmla="*/ 740 h 904"/>
              <a:gd name="T18" fmla="*/ 373 w 904"/>
              <a:gd name="T19" fmla="*/ 816 h 904"/>
              <a:gd name="T20" fmla="*/ 320 w 904"/>
              <a:gd name="T21" fmla="*/ 855 h 904"/>
              <a:gd name="T22" fmla="*/ 242 w 904"/>
              <a:gd name="T23" fmla="*/ 873 h 904"/>
              <a:gd name="T24" fmla="*/ 31 w 904"/>
              <a:gd name="T25" fmla="*/ 392 h 904"/>
              <a:gd name="T26" fmla="*/ 40 w 904"/>
              <a:gd name="T27" fmla="*/ 287 h 904"/>
              <a:gd name="T28" fmla="*/ 76 w 904"/>
              <a:gd name="T29" fmla="*/ 251 h 904"/>
              <a:gd name="T30" fmla="*/ 889 w 904"/>
              <a:gd name="T31" fmla="*/ 0 h 904"/>
              <a:gd name="T32" fmla="*/ 875 w 904"/>
              <a:gd name="T33" fmla="*/ 10 h 904"/>
              <a:gd name="T34" fmla="*/ 868 w 904"/>
              <a:gd name="T35" fmla="*/ 348 h 904"/>
              <a:gd name="T36" fmla="*/ 832 w 904"/>
              <a:gd name="T37" fmla="*/ 409 h 904"/>
              <a:gd name="T38" fmla="*/ 777 w 904"/>
              <a:gd name="T39" fmla="*/ 433 h 904"/>
              <a:gd name="T40" fmla="*/ 721 w 904"/>
              <a:gd name="T41" fmla="*/ 421 h 904"/>
              <a:gd name="T42" fmla="*/ 676 w 904"/>
              <a:gd name="T43" fmla="*/ 372 h 904"/>
              <a:gd name="T44" fmla="*/ 663 w 904"/>
              <a:gd name="T45" fmla="*/ 196 h 904"/>
              <a:gd name="T46" fmla="*/ 653 w 904"/>
              <a:gd name="T47" fmla="*/ 133 h 904"/>
              <a:gd name="T48" fmla="*/ 623 w 904"/>
              <a:gd name="T49" fmla="*/ 81 h 904"/>
              <a:gd name="T50" fmla="*/ 561 w 904"/>
              <a:gd name="T51" fmla="*/ 32 h 904"/>
              <a:gd name="T52" fmla="*/ 442 w 904"/>
              <a:gd name="T53" fmla="*/ 7 h 904"/>
              <a:gd name="T54" fmla="*/ 318 w 904"/>
              <a:gd name="T55" fmla="*/ 33 h 904"/>
              <a:gd name="T56" fmla="*/ 241 w 904"/>
              <a:gd name="T57" fmla="*/ 97 h 904"/>
              <a:gd name="T58" fmla="*/ 216 w 904"/>
              <a:gd name="T59" fmla="*/ 152 h 904"/>
              <a:gd name="T60" fmla="*/ 121 w 904"/>
              <a:gd name="T61" fmla="*/ 211 h 904"/>
              <a:gd name="T62" fmla="*/ 51 w 904"/>
              <a:gd name="T63" fmla="*/ 231 h 904"/>
              <a:gd name="T64" fmla="*/ 9 w 904"/>
              <a:gd name="T65" fmla="*/ 283 h 904"/>
              <a:gd name="T66" fmla="*/ 1 w 904"/>
              <a:gd name="T67" fmla="*/ 691 h 904"/>
              <a:gd name="T68" fmla="*/ 20 w 904"/>
              <a:gd name="T69" fmla="*/ 776 h 904"/>
              <a:gd name="T70" fmla="*/ 53 w 904"/>
              <a:gd name="T71" fmla="*/ 832 h 904"/>
              <a:gd name="T72" fmla="*/ 102 w 904"/>
              <a:gd name="T73" fmla="*/ 873 h 904"/>
              <a:gd name="T74" fmla="*/ 164 w 904"/>
              <a:gd name="T75" fmla="*/ 898 h 904"/>
              <a:gd name="T76" fmla="*/ 239 w 904"/>
              <a:gd name="T77" fmla="*/ 903 h 904"/>
              <a:gd name="T78" fmla="*/ 311 w 904"/>
              <a:gd name="T79" fmla="*/ 891 h 904"/>
              <a:gd name="T80" fmla="*/ 369 w 904"/>
              <a:gd name="T81" fmla="*/ 861 h 904"/>
              <a:gd name="T82" fmla="*/ 412 w 904"/>
              <a:gd name="T83" fmla="*/ 814 h 904"/>
              <a:gd name="T84" fmla="*/ 439 w 904"/>
              <a:gd name="T85" fmla="*/ 753 h 904"/>
              <a:gd name="T86" fmla="*/ 452 w 904"/>
              <a:gd name="T87" fmla="*/ 332 h 904"/>
              <a:gd name="T88" fmla="*/ 432 w 904"/>
              <a:gd name="T89" fmla="*/ 263 h 904"/>
              <a:gd name="T90" fmla="*/ 380 w 904"/>
              <a:gd name="T91" fmla="*/ 220 h 904"/>
              <a:gd name="T92" fmla="*/ 241 w 904"/>
              <a:gd name="T93" fmla="*/ 196 h 904"/>
              <a:gd name="T94" fmla="*/ 251 w 904"/>
              <a:gd name="T95" fmla="*/ 143 h 904"/>
              <a:gd name="T96" fmla="*/ 304 w 904"/>
              <a:gd name="T97" fmla="*/ 77 h 904"/>
              <a:gd name="T98" fmla="*/ 404 w 904"/>
              <a:gd name="T99" fmla="*/ 39 h 904"/>
              <a:gd name="T100" fmla="*/ 515 w 904"/>
              <a:gd name="T101" fmla="*/ 46 h 904"/>
              <a:gd name="T102" fmla="*/ 599 w 904"/>
              <a:gd name="T103" fmla="*/ 100 h 904"/>
              <a:gd name="T104" fmla="*/ 632 w 904"/>
              <a:gd name="T105" fmla="*/ 196 h 904"/>
              <a:gd name="T106" fmla="*/ 651 w 904"/>
              <a:gd name="T107" fmla="*/ 386 h 904"/>
              <a:gd name="T108" fmla="*/ 706 w 904"/>
              <a:gd name="T109" fmla="*/ 447 h 904"/>
              <a:gd name="T110" fmla="*/ 780 w 904"/>
              <a:gd name="T111" fmla="*/ 462 h 904"/>
              <a:gd name="T112" fmla="*/ 851 w 904"/>
              <a:gd name="T113" fmla="*/ 432 h 904"/>
              <a:gd name="T114" fmla="*/ 896 w 904"/>
              <a:gd name="T115" fmla="*/ 356 h 904"/>
              <a:gd name="T116" fmla="*/ 902 w 904"/>
              <a:gd name="T117" fmla="*/ 10 h 904"/>
              <a:gd name="T118" fmla="*/ 889 w 904"/>
              <a:gd name="T119"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4" h="904">
                <a:moveTo>
                  <a:pt x="331" y="241"/>
                </a:moveTo>
                <a:lnTo>
                  <a:pt x="342" y="241"/>
                </a:lnTo>
                <a:lnTo>
                  <a:pt x="351" y="244"/>
                </a:lnTo>
                <a:lnTo>
                  <a:pt x="360" y="245"/>
                </a:lnTo>
                <a:lnTo>
                  <a:pt x="369" y="248"/>
                </a:lnTo>
                <a:lnTo>
                  <a:pt x="376" y="251"/>
                </a:lnTo>
                <a:lnTo>
                  <a:pt x="384" y="255"/>
                </a:lnTo>
                <a:lnTo>
                  <a:pt x="391" y="261"/>
                </a:lnTo>
                <a:lnTo>
                  <a:pt x="398" y="266"/>
                </a:lnTo>
                <a:lnTo>
                  <a:pt x="403" y="273"/>
                </a:lnTo>
                <a:lnTo>
                  <a:pt x="407" y="279"/>
                </a:lnTo>
                <a:lnTo>
                  <a:pt x="412" y="287"/>
                </a:lnTo>
                <a:lnTo>
                  <a:pt x="415" y="295"/>
                </a:lnTo>
                <a:lnTo>
                  <a:pt x="418" y="303"/>
                </a:lnTo>
                <a:lnTo>
                  <a:pt x="420" y="312"/>
                </a:lnTo>
                <a:lnTo>
                  <a:pt x="421" y="322"/>
                </a:lnTo>
                <a:lnTo>
                  <a:pt x="421" y="332"/>
                </a:lnTo>
                <a:lnTo>
                  <a:pt x="421" y="392"/>
                </a:lnTo>
                <a:lnTo>
                  <a:pt x="241" y="392"/>
                </a:lnTo>
                <a:lnTo>
                  <a:pt x="241" y="241"/>
                </a:lnTo>
                <a:lnTo>
                  <a:pt x="331" y="241"/>
                </a:lnTo>
                <a:close/>
                <a:moveTo>
                  <a:pt x="226" y="873"/>
                </a:moveTo>
                <a:lnTo>
                  <a:pt x="210" y="873"/>
                </a:lnTo>
                <a:lnTo>
                  <a:pt x="195" y="872"/>
                </a:lnTo>
                <a:lnTo>
                  <a:pt x="180" y="870"/>
                </a:lnTo>
                <a:lnTo>
                  <a:pt x="167" y="867"/>
                </a:lnTo>
                <a:lnTo>
                  <a:pt x="154" y="864"/>
                </a:lnTo>
                <a:lnTo>
                  <a:pt x="142" y="859"/>
                </a:lnTo>
                <a:lnTo>
                  <a:pt x="132" y="855"/>
                </a:lnTo>
                <a:lnTo>
                  <a:pt x="121" y="850"/>
                </a:lnTo>
                <a:lnTo>
                  <a:pt x="111" y="844"/>
                </a:lnTo>
                <a:lnTo>
                  <a:pt x="103" y="838"/>
                </a:lnTo>
                <a:lnTo>
                  <a:pt x="94" y="831"/>
                </a:lnTo>
                <a:lnTo>
                  <a:pt x="87" y="824"/>
                </a:lnTo>
                <a:lnTo>
                  <a:pt x="79" y="816"/>
                </a:lnTo>
                <a:lnTo>
                  <a:pt x="73" y="809"/>
                </a:lnTo>
                <a:lnTo>
                  <a:pt x="67" y="800"/>
                </a:lnTo>
                <a:lnTo>
                  <a:pt x="62" y="792"/>
                </a:lnTo>
                <a:lnTo>
                  <a:pt x="53" y="775"/>
                </a:lnTo>
                <a:lnTo>
                  <a:pt x="46" y="757"/>
                </a:lnTo>
                <a:lnTo>
                  <a:pt x="40" y="740"/>
                </a:lnTo>
                <a:lnTo>
                  <a:pt x="36" y="723"/>
                </a:lnTo>
                <a:lnTo>
                  <a:pt x="33" y="706"/>
                </a:lnTo>
                <a:lnTo>
                  <a:pt x="32" y="690"/>
                </a:lnTo>
                <a:lnTo>
                  <a:pt x="31" y="676"/>
                </a:lnTo>
                <a:lnTo>
                  <a:pt x="31" y="663"/>
                </a:lnTo>
                <a:lnTo>
                  <a:pt x="31" y="422"/>
                </a:lnTo>
                <a:lnTo>
                  <a:pt x="421" y="422"/>
                </a:lnTo>
                <a:lnTo>
                  <a:pt x="421" y="663"/>
                </a:lnTo>
                <a:lnTo>
                  <a:pt x="421" y="676"/>
                </a:lnTo>
                <a:lnTo>
                  <a:pt x="420" y="690"/>
                </a:lnTo>
                <a:lnTo>
                  <a:pt x="419" y="706"/>
                </a:lnTo>
                <a:lnTo>
                  <a:pt x="416" y="723"/>
                </a:lnTo>
                <a:lnTo>
                  <a:pt x="412" y="740"/>
                </a:lnTo>
                <a:lnTo>
                  <a:pt x="406" y="757"/>
                </a:lnTo>
                <a:lnTo>
                  <a:pt x="399" y="775"/>
                </a:lnTo>
                <a:lnTo>
                  <a:pt x="390" y="792"/>
                </a:lnTo>
                <a:lnTo>
                  <a:pt x="385" y="800"/>
                </a:lnTo>
                <a:lnTo>
                  <a:pt x="379" y="809"/>
                </a:lnTo>
                <a:lnTo>
                  <a:pt x="373" y="816"/>
                </a:lnTo>
                <a:lnTo>
                  <a:pt x="365" y="824"/>
                </a:lnTo>
                <a:lnTo>
                  <a:pt x="358" y="831"/>
                </a:lnTo>
                <a:lnTo>
                  <a:pt x="349" y="838"/>
                </a:lnTo>
                <a:lnTo>
                  <a:pt x="341" y="844"/>
                </a:lnTo>
                <a:lnTo>
                  <a:pt x="331" y="850"/>
                </a:lnTo>
                <a:lnTo>
                  <a:pt x="320" y="855"/>
                </a:lnTo>
                <a:lnTo>
                  <a:pt x="310" y="859"/>
                </a:lnTo>
                <a:lnTo>
                  <a:pt x="298" y="864"/>
                </a:lnTo>
                <a:lnTo>
                  <a:pt x="285" y="867"/>
                </a:lnTo>
                <a:lnTo>
                  <a:pt x="272" y="870"/>
                </a:lnTo>
                <a:lnTo>
                  <a:pt x="257" y="872"/>
                </a:lnTo>
                <a:lnTo>
                  <a:pt x="242" y="873"/>
                </a:lnTo>
                <a:lnTo>
                  <a:pt x="226" y="874"/>
                </a:lnTo>
                <a:lnTo>
                  <a:pt x="226" y="873"/>
                </a:lnTo>
                <a:close/>
                <a:moveTo>
                  <a:pt x="121" y="241"/>
                </a:moveTo>
                <a:lnTo>
                  <a:pt x="211" y="241"/>
                </a:lnTo>
                <a:lnTo>
                  <a:pt x="211" y="392"/>
                </a:lnTo>
                <a:lnTo>
                  <a:pt x="31" y="392"/>
                </a:lnTo>
                <a:lnTo>
                  <a:pt x="31" y="332"/>
                </a:lnTo>
                <a:lnTo>
                  <a:pt x="31" y="322"/>
                </a:lnTo>
                <a:lnTo>
                  <a:pt x="32" y="312"/>
                </a:lnTo>
                <a:lnTo>
                  <a:pt x="34" y="303"/>
                </a:lnTo>
                <a:lnTo>
                  <a:pt x="37" y="294"/>
                </a:lnTo>
                <a:lnTo>
                  <a:pt x="40" y="287"/>
                </a:lnTo>
                <a:lnTo>
                  <a:pt x="45" y="279"/>
                </a:lnTo>
                <a:lnTo>
                  <a:pt x="49" y="273"/>
                </a:lnTo>
                <a:lnTo>
                  <a:pt x="54" y="266"/>
                </a:lnTo>
                <a:lnTo>
                  <a:pt x="61" y="261"/>
                </a:lnTo>
                <a:lnTo>
                  <a:pt x="68" y="255"/>
                </a:lnTo>
                <a:lnTo>
                  <a:pt x="76" y="251"/>
                </a:lnTo>
                <a:lnTo>
                  <a:pt x="83" y="248"/>
                </a:lnTo>
                <a:lnTo>
                  <a:pt x="92" y="245"/>
                </a:lnTo>
                <a:lnTo>
                  <a:pt x="101" y="244"/>
                </a:lnTo>
                <a:lnTo>
                  <a:pt x="110" y="241"/>
                </a:lnTo>
                <a:lnTo>
                  <a:pt x="121" y="241"/>
                </a:lnTo>
                <a:close/>
                <a:moveTo>
                  <a:pt x="889" y="0"/>
                </a:moveTo>
                <a:lnTo>
                  <a:pt x="886" y="1"/>
                </a:lnTo>
                <a:lnTo>
                  <a:pt x="882" y="2"/>
                </a:lnTo>
                <a:lnTo>
                  <a:pt x="880" y="3"/>
                </a:lnTo>
                <a:lnTo>
                  <a:pt x="878" y="6"/>
                </a:lnTo>
                <a:lnTo>
                  <a:pt x="876" y="8"/>
                </a:lnTo>
                <a:lnTo>
                  <a:pt x="875" y="10"/>
                </a:lnTo>
                <a:lnTo>
                  <a:pt x="874" y="13"/>
                </a:lnTo>
                <a:lnTo>
                  <a:pt x="873" y="16"/>
                </a:lnTo>
                <a:lnTo>
                  <a:pt x="874" y="302"/>
                </a:lnTo>
                <a:lnTo>
                  <a:pt x="873" y="318"/>
                </a:lnTo>
                <a:lnTo>
                  <a:pt x="871" y="334"/>
                </a:lnTo>
                <a:lnTo>
                  <a:pt x="868" y="348"/>
                </a:lnTo>
                <a:lnTo>
                  <a:pt x="864" y="361"/>
                </a:lnTo>
                <a:lnTo>
                  <a:pt x="859" y="372"/>
                </a:lnTo>
                <a:lnTo>
                  <a:pt x="853" y="383"/>
                </a:lnTo>
                <a:lnTo>
                  <a:pt x="847" y="393"/>
                </a:lnTo>
                <a:lnTo>
                  <a:pt x="839" y="401"/>
                </a:lnTo>
                <a:lnTo>
                  <a:pt x="832" y="409"/>
                </a:lnTo>
                <a:lnTo>
                  <a:pt x="823" y="415"/>
                </a:lnTo>
                <a:lnTo>
                  <a:pt x="815" y="422"/>
                </a:lnTo>
                <a:lnTo>
                  <a:pt x="806" y="426"/>
                </a:lnTo>
                <a:lnTo>
                  <a:pt x="797" y="429"/>
                </a:lnTo>
                <a:lnTo>
                  <a:pt x="787" y="431"/>
                </a:lnTo>
                <a:lnTo>
                  <a:pt x="777" y="433"/>
                </a:lnTo>
                <a:lnTo>
                  <a:pt x="768" y="433"/>
                </a:lnTo>
                <a:lnTo>
                  <a:pt x="758" y="433"/>
                </a:lnTo>
                <a:lnTo>
                  <a:pt x="748" y="431"/>
                </a:lnTo>
                <a:lnTo>
                  <a:pt x="740" y="429"/>
                </a:lnTo>
                <a:lnTo>
                  <a:pt x="730" y="426"/>
                </a:lnTo>
                <a:lnTo>
                  <a:pt x="721" y="421"/>
                </a:lnTo>
                <a:lnTo>
                  <a:pt x="712" y="415"/>
                </a:lnTo>
                <a:lnTo>
                  <a:pt x="704" y="409"/>
                </a:lnTo>
                <a:lnTo>
                  <a:pt x="696" y="401"/>
                </a:lnTo>
                <a:lnTo>
                  <a:pt x="689" y="393"/>
                </a:lnTo>
                <a:lnTo>
                  <a:pt x="683" y="383"/>
                </a:lnTo>
                <a:lnTo>
                  <a:pt x="676" y="372"/>
                </a:lnTo>
                <a:lnTo>
                  <a:pt x="672" y="361"/>
                </a:lnTo>
                <a:lnTo>
                  <a:pt x="668" y="348"/>
                </a:lnTo>
                <a:lnTo>
                  <a:pt x="665" y="334"/>
                </a:lnTo>
                <a:lnTo>
                  <a:pt x="664" y="318"/>
                </a:lnTo>
                <a:lnTo>
                  <a:pt x="663" y="302"/>
                </a:lnTo>
                <a:lnTo>
                  <a:pt x="663" y="196"/>
                </a:lnTo>
                <a:lnTo>
                  <a:pt x="663" y="186"/>
                </a:lnTo>
                <a:lnTo>
                  <a:pt x="661" y="174"/>
                </a:lnTo>
                <a:lnTo>
                  <a:pt x="660" y="164"/>
                </a:lnTo>
                <a:lnTo>
                  <a:pt x="658" y="154"/>
                </a:lnTo>
                <a:lnTo>
                  <a:pt x="655" y="144"/>
                </a:lnTo>
                <a:lnTo>
                  <a:pt x="653" y="133"/>
                </a:lnTo>
                <a:lnTo>
                  <a:pt x="649" y="125"/>
                </a:lnTo>
                <a:lnTo>
                  <a:pt x="644" y="115"/>
                </a:lnTo>
                <a:lnTo>
                  <a:pt x="640" y="106"/>
                </a:lnTo>
                <a:lnTo>
                  <a:pt x="635" y="98"/>
                </a:lnTo>
                <a:lnTo>
                  <a:pt x="629" y="89"/>
                </a:lnTo>
                <a:lnTo>
                  <a:pt x="623" y="81"/>
                </a:lnTo>
                <a:lnTo>
                  <a:pt x="616" y="73"/>
                </a:lnTo>
                <a:lnTo>
                  <a:pt x="609" y="66"/>
                </a:lnTo>
                <a:lnTo>
                  <a:pt x="601" y="59"/>
                </a:lnTo>
                <a:lnTo>
                  <a:pt x="593" y="53"/>
                </a:lnTo>
                <a:lnTo>
                  <a:pt x="577" y="42"/>
                </a:lnTo>
                <a:lnTo>
                  <a:pt x="561" y="32"/>
                </a:lnTo>
                <a:lnTo>
                  <a:pt x="542" y="25"/>
                </a:lnTo>
                <a:lnTo>
                  <a:pt x="524" y="18"/>
                </a:lnTo>
                <a:lnTo>
                  <a:pt x="505" y="13"/>
                </a:lnTo>
                <a:lnTo>
                  <a:pt x="484" y="10"/>
                </a:lnTo>
                <a:lnTo>
                  <a:pt x="463" y="7"/>
                </a:lnTo>
                <a:lnTo>
                  <a:pt x="442" y="7"/>
                </a:lnTo>
                <a:lnTo>
                  <a:pt x="420" y="7"/>
                </a:lnTo>
                <a:lnTo>
                  <a:pt x="399" y="10"/>
                </a:lnTo>
                <a:lnTo>
                  <a:pt x="378" y="13"/>
                </a:lnTo>
                <a:lnTo>
                  <a:pt x="358" y="18"/>
                </a:lnTo>
                <a:lnTo>
                  <a:pt x="338" y="25"/>
                </a:lnTo>
                <a:lnTo>
                  <a:pt x="318" y="33"/>
                </a:lnTo>
                <a:lnTo>
                  <a:pt x="300" y="43"/>
                </a:lnTo>
                <a:lnTo>
                  <a:pt x="284" y="55"/>
                </a:lnTo>
                <a:lnTo>
                  <a:pt x="268" y="68"/>
                </a:lnTo>
                <a:lnTo>
                  <a:pt x="254" y="82"/>
                </a:lnTo>
                <a:lnTo>
                  <a:pt x="247" y="89"/>
                </a:lnTo>
                <a:lnTo>
                  <a:pt x="241" y="97"/>
                </a:lnTo>
                <a:lnTo>
                  <a:pt x="236" y="105"/>
                </a:lnTo>
                <a:lnTo>
                  <a:pt x="231" y="114"/>
                </a:lnTo>
                <a:lnTo>
                  <a:pt x="226" y="124"/>
                </a:lnTo>
                <a:lnTo>
                  <a:pt x="223" y="132"/>
                </a:lnTo>
                <a:lnTo>
                  <a:pt x="218" y="142"/>
                </a:lnTo>
                <a:lnTo>
                  <a:pt x="216" y="152"/>
                </a:lnTo>
                <a:lnTo>
                  <a:pt x="214" y="163"/>
                </a:lnTo>
                <a:lnTo>
                  <a:pt x="212" y="174"/>
                </a:lnTo>
                <a:lnTo>
                  <a:pt x="211" y="185"/>
                </a:lnTo>
                <a:lnTo>
                  <a:pt x="211" y="196"/>
                </a:lnTo>
                <a:lnTo>
                  <a:pt x="211" y="211"/>
                </a:lnTo>
                <a:lnTo>
                  <a:pt x="121" y="211"/>
                </a:lnTo>
                <a:lnTo>
                  <a:pt x="108" y="211"/>
                </a:lnTo>
                <a:lnTo>
                  <a:pt x="95" y="214"/>
                </a:lnTo>
                <a:lnTo>
                  <a:pt x="83" y="217"/>
                </a:lnTo>
                <a:lnTo>
                  <a:pt x="72" y="220"/>
                </a:lnTo>
                <a:lnTo>
                  <a:pt x="61" y="225"/>
                </a:lnTo>
                <a:lnTo>
                  <a:pt x="51" y="231"/>
                </a:lnTo>
                <a:lnTo>
                  <a:pt x="43" y="237"/>
                </a:lnTo>
                <a:lnTo>
                  <a:pt x="34" y="245"/>
                </a:lnTo>
                <a:lnTo>
                  <a:pt x="27" y="253"/>
                </a:lnTo>
                <a:lnTo>
                  <a:pt x="20" y="263"/>
                </a:lnTo>
                <a:lnTo>
                  <a:pt x="14" y="273"/>
                </a:lnTo>
                <a:lnTo>
                  <a:pt x="9" y="283"/>
                </a:lnTo>
                <a:lnTo>
                  <a:pt x="5" y="294"/>
                </a:lnTo>
                <a:lnTo>
                  <a:pt x="3" y="306"/>
                </a:lnTo>
                <a:lnTo>
                  <a:pt x="1" y="319"/>
                </a:lnTo>
                <a:lnTo>
                  <a:pt x="0" y="332"/>
                </a:lnTo>
                <a:lnTo>
                  <a:pt x="0" y="663"/>
                </a:lnTo>
                <a:lnTo>
                  <a:pt x="1" y="691"/>
                </a:lnTo>
                <a:lnTo>
                  <a:pt x="4" y="717"/>
                </a:lnTo>
                <a:lnTo>
                  <a:pt x="6" y="730"/>
                </a:lnTo>
                <a:lnTo>
                  <a:pt x="9" y="741"/>
                </a:lnTo>
                <a:lnTo>
                  <a:pt x="13" y="753"/>
                </a:lnTo>
                <a:lnTo>
                  <a:pt x="16" y="764"/>
                </a:lnTo>
                <a:lnTo>
                  <a:pt x="20" y="776"/>
                </a:lnTo>
                <a:lnTo>
                  <a:pt x="24" y="785"/>
                </a:lnTo>
                <a:lnTo>
                  <a:pt x="29" y="796"/>
                </a:lnTo>
                <a:lnTo>
                  <a:pt x="34" y="806"/>
                </a:lnTo>
                <a:lnTo>
                  <a:pt x="40" y="814"/>
                </a:lnTo>
                <a:lnTo>
                  <a:pt x="47" y="824"/>
                </a:lnTo>
                <a:lnTo>
                  <a:pt x="53" y="832"/>
                </a:lnTo>
                <a:lnTo>
                  <a:pt x="60" y="840"/>
                </a:lnTo>
                <a:lnTo>
                  <a:pt x="67" y="847"/>
                </a:lnTo>
                <a:lnTo>
                  <a:pt x="76" y="855"/>
                </a:lnTo>
                <a:lnTo>
                  <a:pt x="83" y="861"/>
                </a:lnTo>
                <a:lnTo>
                  <a:pt x="92" y="868"/>
                </a:lnTo>
                <a:lnTo>
                  <a:pt x="102" y="873"/>
                </a:lnTo>
                <a:lnTo>
                  <a:pt x="111" y="879"/>
                </a:lnTo>
                <a:lnTo>
                  <a:pt x="121" y="883"/>
                </a:lnTo>
                <a:lnTo>
                  <a:pt x="132" y="887"/>
                </a:lnTo>
                <a:lnTo>
                  <a:pt x="141" y="891"/>
                </a:lnTo>
                <a:lnTo>
                  <a:pt x="153" y="895"/>
                </a:lnTo>
                <a:lnTo>
                  <a:pt x="164" y="898"/>
                </a:lnTo>
                <a:lnTo>
                  <a:pt x="176" y="900"/>
                </a:lnTo>
                <a:lnTo>
                  <a:pt x="187" y="901"/>
                </a:lnTo>
                <a:lnTo>
                  <a:pt x="200" y="903"/>
                </a:lnTo>
                <a:lnTo>
                  <a:pt x="213" y="903"/>
                </a:lnTo>
                <a:lnTo>
                  <a:pt x="226" y="904"/>
                </a:lnTo>
                <a:lnTo>
                  <a:pt x="239" y="903"/>
                </a:lnTo>
                <a:lnTo>
                  <a:pt x="252" y="903"/>
                </a:lnTo>
                <a:lnTo>
                  <a:pt x="265" y="901"/>
                </a:lnTo>
                <a:lnTo>
                  <a:pt x="276" y="900"/>
                </a:lnTo>
                <a:lnTo>
                  <a:pt x="288" y="898"/>
                </a:lnTo>
                <a:lnTo>
                  <a:pt x="299" y="895"/>
                </a:lnTo>
                <a:lnTo>
                  <a:pt x="311" y="891"/>
                </a:lnTo>
                <a:lnTo>
                  <a:pt x="320" y="887"/>
                </a:lnTo>
                <a:lnTo>
                  <a:pt x="331" y="883"/>
                </a:lnTo>
                <a:lnTo>
                  <a:pt x="341" y="879"/>
                </a:lnTo>
                <a:lnTo>
                  <a:pt x="350" y="873"/>
                </a:lnTo>
                <a:lnTo>
                  <a:pt x="360" y="868"/>
                </a:lnTo>
                <a:lnTo>
                  <a:pt x="369" y="861"/>
                </a:lnTo>
                <a:lnTo>
                  <a:pt x="376" y="855"/>
                </a:lnTo>
                <a:lnTo>
                  <a:pt x="385" y="847"/>
                </a:lnTo>
                <a:lnTo>
                  <a:pt x="392" y="840"/>
                </a:lnTo>
                <a:lnTo>
                  <a:pt x="399" y="832"/>
                </a:lnTo>
                <a:lnTo>
                  <a:pt x="405" y="824"/>
                </a:lnTo>
                <a:lnTo>
                  <a:pt x="412" y="814"/>
                </a:lnTo>
                <a:lnTo>
                  <a:pt x="418" y="806"/>
                </a:lnTo>
                <a:lnTo>
                  <a:pt x="423" y="796"/>
                </a:lnTo>
                <a:lnTo>
                  <a:pt x="428" y="785"/>
                </a:lnTo>
                <a:lnTo>
                  <a:pt x="432" y="776"/>
                </a:lnTo>
                <a:lnTo>
                  <a:pt x="436" y="764"/>
                </a:lnTo>
                <a:lnTo>
                  <a:pt x="439" y="753"/>
                </a:lnTo>
                <a:lnTo>
                  <a:pt x="443" y="741"/>
                </a:lnTo>
                <a:lnTo>
                  <a:pt x="446" y="730"/>
                </a:lnTo>
                <a:lnTo>
                  <a:pt x="448" y="717"/>
                </a:lnTo>
                <a:lnTo>
                  <a:pt x="451" y="691"/>
                </a:lnTo>
                <a:lnTo>
                  <a:pt x="452" y="663"/>
                </a:lnTo>
                <a:lnTo>
                  <a:pt x="452" y="332"/>
                </a:lnTo>
                <a:lnTo>
                  <a:pt x="451" y="319"/>
                </a:lnTo>
                <a:lnTo>
                  <a:pt x="449" y="306"/>
                </a:lnTo>
                <a:lnTo>
                  <a:pt x="447" y="294"/>
                </a:lnTo>
                <a:lnTo>
                  <a:pt x="443" y="283"/>
                </a:lnTo>
                <a:lnTo>
                  <a:pt x="438" y="273"/>
                </a:lnTo>
                <a:lnTo>
                  <a:pt x="432" y="263"/>
                </a:lnTo>
                <a:lnTo>
                  <a:pt x="425" y="253"/>
                </a:lnTo>
                <a:lnTo>
                  <a:pt x="418" y="245"/>
                </a:lnTo>
                <a:lnTo>
                  <a:pt x="409" y="237"/>
                </a:lnTo>
                <a:lnTo>
                  <a:pt x="401" y="231"/>
                </a:lnTo>
                <a:lnTo>
                  <a:pt x="391" y="225"/>
                </a:lnTo>
                <a:lnTo>
                  <a:pt x="380" y="220"/>
                </a:lnTo>
                <a:lnTo>
                  <a:pt x="369" y="217"/>
                </a:lnTo>
                <a:lnTo>
                  <a:pt x="357" y="214"/>
                </a:lnTo>
                <a:lnTo>
                  <a:pt x="344" y="213"/>
                </a:lnTo>
                <a:lnTo>
                  <a:pt x="331" y="211"/>
                </a:lnTo>
                <a:lnTo>
                  <a:pt x="241" y="211"/>
                </a:lnTo>
                <a:lnTo>
                  <a:pt x="241" y="196"/>
                </a:lnTo>
                <a:lnTo>
                  <a:pt x="241" y="187"/>
                </a:lnTo>
                <a:lnTo>
                  <a:pt x="242" y="177"/>
                </a:lnTo>
                <a:lnTo>
                  <a:pt x="243" y="169"/>
                </a:lnTo>
                <a:lnTo>
                  <a:pt x="245" y="159"/>
                </a:lnTo>
                <a:lnTo>
                  <a:pt x="249" y="150"/>
                </a:lnTo>
                <a:lnTo>
                  <a:pt x="251" y="143"/>
                </a:lnTo>
                <a:lnTo>
                  <a:pt x="255" y="134"/>
                </a:lnTo>
                <a:lnTo>
                  <a:pt x="258" y="127"/>
                </a:lnTo>
                <a:lnTo>
                  <a:pt x="268" y="113"/>
                </a:lnTo>
                <a:lnTo>
                  <a:pt x="279" y="100"/>
                </a:lnTo>
                <a:lnTo>
                  <a:pt x="290" y="88"/>
                </a:lnTo>
                <a:lnTo>
                  <a:pt x="304" y="77"/>
                </a:lnTo>
                <a:lnTo>
                  <a:pt x="318" y="68"/>
                </a:lnTo>
                <a:lnTo>
                  <a:pt x="334" y="59"/>
                </a:lnTo>
                <a:lnTo>
                  <a:pt x="351" y="53"/>
                </a:lnTo>
                <a:lnTo>
                  <a:pt x="369" y="46"/>
                </a:lnTo>
                <a:lnTo>
                  <a:pt x="386" y="42"/>
                </a:lnTo>
                <a:lnTo>
                  <a:pt x="404" y="39"/>
                </a:lnTo>
                <a:lnTo>
                  <a:pt x="423" y="37"/>
                </a:lnTo>
                <a:lnTo>
                  <a:pt x="442" y="37"/>
                </a:lnTo>
                <a:lnTo>
                  <a:pt x="461" y="37"/>
                </a:lnTo>
                <a:lnTo>
                  <a:pt x="479" y="39"/>
                </a:lnTo>
                <a:lnTo>
                  <a:pt x="497" y="42"/>
                </a:lnTo>
                <a:lnTo>
                  <a:pt x="515" y="46"/>
                </a:lnTo>
                <a:lnTo>
                  <a:pt x="531" y="53"/>
                </a:lnTo>
                <a:lnTo>
                  <a:pt x="547" y="59"/>
                </a:lnTo>
                <a:lnTo>
                  <a:pt x="561" y="68"/>
                </a:lnTo>
                <a:lnTo>
                  <a:pt x="575" y="76"/>
                </a:lnTo>
                <a:lnTo>
                  <a:pt x="587" y="88"/>
                </a:lnTo>
                <a:lnTo>
                  <a:pt x="599" y="100"/>
                </a:lnTo>
                <a:lnTo>
                  <a:pt x="610" y="114"/>
                </a:lnTo>
                <a:lnTo>
                  <a:pt x="617" y="129"/>
                </a:lnTo>
                <a:lnTo>
                  <a:pt x="624" y="144"/>
                </a:lnTo>
                <a:lnTo>
                  <a:pt x="628" y="161"/>
                </a:lnTo>
                <a:lnTo>
                  <a:pt x="631" y="178"/>
                </a:lnTo>
                <a:lnTo>
                  <a:pt x="632" y="196"/>
                </a:lnTo>
                <a:lnTo>
                  <a:pt x="632" y="302"/>
                </a:lnTo>
                <a:lnTo>
                  <a:pt x="634" y="321"/>
                </a:lnTo>
                <a:lnTo>
                  <a:pt x="636" y="339"/>
                </a:lnTo>
                <a:lnTo>
                  <a:pt x="639" y="356"/>
                </a:lnTo>
                <a:lnTo>
                  <a:pt x="644" y="372"/>
                </a:lnTo>
                <a:lnTo>
                  <a:pt x="651" y="386"/>
                </a:lnTo>
                <a:lnTo>
                  <a:pt x="657" y="399"/>
                </a:lnTo>
                <a:lnTo>
                  <a:pt x="666" y="412"/>
                </a:lnTo>
                <a:lnTo>
                  <a:pt x="675" y="423"/>
                </a:lnTo>
                <a:lnTo>
                  <a:pt x="685" y="432"/>
                </a:lnTo>
                <a:lnTo>
                  <a:pt x="696" y="440"/>
                </a:lnTo>
                <a:lnTo>
                  <a:pt x="706" y="447"/>
                </a:lnTo>
                <a:lnTo>
                  <a:pt x="718" y="453"/>
                </a:lnTo>
                <a:lnTo>
                  <a:pt x="730" y="458"/>
                </a:lnTo>
                <a:lnTo>
                  <a:pt x="743" y="461"/>
                </a:lnTo>
                <a:lnTo>
                  <a:pt x="755" y="462"/>
                </a:lnTo>
                <a:lnTo>
                  <a:pt x="768" y="464"/>
                </a:lnTo>
                <a:lnTo>
                  <a:pt x="780" y="462"/>
                </a:lnTo>
                <a:lnTo>
                  <a:pt x="793" y="461"/>
                </a:lnTo>
                <a:lnTo>
                  <a:pt x="805" y="458"/>
                </a:lnTo>
                <a:lnTo>
                  <a:pt x="817" y="453"/>
                </a:lnTo>
                <a:lnTo>
                  <a:pt x="829" y="447"/>
                </a:lnTo>
                <a:lnTo>
                  <a:pt x="841" y="440"/>
                </a:lnTo>
                <a:lnTo>
                  <a:pt x="851" y="432"/>
                </a:lnTo>
                <a:lnTo>
                  <a:pt x="861" y="423"/>
                </a:lnTo>
                <a:lnTo>
                  <a:pt x="870" y="412"/>
                </a:lnTo>
                <a:lnTo>
                  <a:pt x="878" y="399"/>
                </a:lnTo>
                <a:lnTo>
                  <a:pt x="886" y="386"/>
                </a:lnTo>
                <a:lnTo>
                  <a:pt x="892" y="372"/>
                </a:lnTo>
                <a:lnTo>
                  <a:pt x="896" y="356"/>
                </a:lnTo>
                <a:lnTo>
                  <a:pt x="901" y="339"/>
                </a:lnTo>
                <a:lnTo>
                  <a:pt x="903" y="321"/>
                </a:lnTo>
                <a:lnTo>
                  <a:pt x="904" y="302"/>
                </a:lnTo>
                <a:lnTo>
                  <a:pt x="904" y="16"/>
                </a:lnTo>
                <a:lnTo>
                  <a:pt x="903" y="13"/>
                </a:lnTo>
                <a:lnTo>
                  <a:pt x="902" y="10"/>
                </a:lnTo>
                <a:lnTo>
                  <a:pt x="901" y="8"/>
                </a:lnTo>
                <a:lnTo>
                  <a:pt x="898" y="6"/>
                </a:lnTo>
                <a:lnTo>
                  <a:pt x="896" y="3"/>
                </a:lnTo>
                <a:lnTo>
                  <a:pt x="894" y="2"/>
                </a:lnTo>
                <a:lnTo>
                  <a:pt x="891" y="1"/>
                </a:lnTo>
                <a:lnTo>
                  <a:pt x="889"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41" name="Group 217">
            <a:extLst>
              <a:ext uri="{FF2B5EF4-FFF2-40B4-BE49-F238E27FC236}">
                <a16:creationId xmlns:a16="http://schemas.microsoft.com/office/drawing/2014/main" id="{25872FD3-AA12-4D3F-A217-59AAC1DA794D}"/>
              </a:ext>
            </a:extLst>
          </p:cNvPr>
          <p:cNvGrpSpPr>
            <a:grpSpLocks noChangeAspect="1"/>
          </p:cNvGrpSpPr>
          <p:nvPr/>
        </p:nvGrpSpPr>
        <p:grpSpPr>
          <a:xfrm>
            <a:off x="6594199" y="5956111"/>
            <a:ext cx="372544" cy="285619"/>
            <a:chOff x="7018338" y="3700145"/>
            <a:chExt cx="285750" cy="219075"/>
          </a:xfrm>
          <a:solidFill>
            <a:schemeClr val="bg2"/>
          </a:solidFill>
          <a:effectLst/>
        </p:grpSpPr>
        <p:sp>
          <p:nvSpPr>
            <p:cNvPr id="1442" name="Freeform 314">
              <a:extLst>
                <a:ext uri="{FF2B5EF4-FFF2-40B4-BE49-F238E27FC236}">
                  <a16:creationId xmlns:a16="http://schemas.microsoft.com/office/drawing/2014/main" id="{CEEB904A-22B8-4319-A725-E099A1206141}"/>
                </a:ext>
              </a:extLst>
            </p:cNvPr>
            <p:cNvSpPr>
              <a:spLocks noEditPoints="1"/>
            </p:cNvSpPr>
            <p:nvPr/>
          </p:nvSpPr>
          <p:spPr bwMode="auto">
            <a:xfrm>
              <a:off x="7018338" y="3700145"/>
              <a:ext cx="285750" cy="219075"/>
            </a:xfrm>
            <a:custGeom>
              <a:avLst/>
              <a:gdLst>
                <a:gd name="T0" fmla="*/ 869 w 901"/>
                <a:gd name="T1" fmla="*/ 623 h 692"/>
                <a:gd name="T2" fmla="*/ 860 w 901"/>
                <a:gd name="T3" fmla="*/ 642 h 692"/>
                <a:gd name="T4" fmla="*/ 842 w 901"/>
                <a:gd name="T5" fmla="*/ 655 h 692"/>
                <a:gd name="T6" fmla="*/ 93 w 901"/>
                <a:gd name="T7" fmla="*/ 661 h 692"/>
                <a:gd name="T8" fmla="*/ 54 w 901"/>
                <a:gd name="T9" fmla="*/ 653 h 692"/>
                <a:gd name="T10" fmla="*/ 38 w 901"/>
                <a:gd name="T11" fmla="*/ 638 h 692"/>
                <a:gd name="T12" fmla="*/ 31 w 901"/>
                <a:gd name="T13" fmla="*/ 616 h 692"/>
                <a:gd name="T14" fmla="*/ 31 w 901"/>
                <a:gd name="T15" fmla="*/ 196 h 692"/>
                <a:gd name="T16" fmla="*/ 42 w 901"/>
                <a:gd name="T17" fmla="*/ 169 h 692"/>
                <a:gd name="T18" fmla="*/ 59 w 901"/>
                <a:gd name="T19" fmla="*/ 156 h 692"/>
                <a:gd name="T20" fmla="*/ 337 w 901"/>
                <a:gd name="T21" fmla="*/ 151 h 692"/>
                <a:gd name="T22" fmla="*/ 428 w 901"/>
                <a:gd name="T23" fmla="*/ 52 h 692"/>
                <a:gd name="T24" fmla="*/ 651 w 901"/>
                <a:gd name="T25" fmla="*/ 41 h 692"/>
                <a:gd name="T26" fmla="*/ 728 w 901"/>
                <a:gd name="T27" fmla="*/ 151 h 692"/>
                <a:gd name="T28" fmla="*/ 850 w 901"/>
                <a:gd name="T29" fmla="*/ 156 h 692"/>
                <a:gd name="T30" fmla="*/ 865 w 901"/>
                <a:gd name="T31" fmla="*/ 167 h 692"/>
                <a:gd name="T32" fmla="*/ 871 w 901"/>
                <a:gd name="T33" fmla="*/ 186 h 692"/>
                <a:gd name="T34" fmla="*/ 165 w 901"/>
                <a:gd name="T35" fmla="*/ 76 h 692"/>
                <a:gd name="T36" fmla="*/ 182 w 901"/>
                <a:gd name="T37" fmla="*/ 87 h 692"/>
                <a:gd name="T38" fmla="*/ 189 w 901"/>
                <a:gd name="T39" fmla="*/ 106 h 692"/>
                <a:gd name="T40" fmla="*/ 108 w 901"/>
                <a:gd name="T41" fmla="*/ 102 h 692"/>
                <a:gd name="T42" fmla="*/ 121 w 901"/>
                <a:gd name="T43" fmla="*/ 82 h 692"/>
                <a:gd name="T44" fmla="*/ 810 w 901"/>
                <a:gd name="T45" fmla="*/ 121 h 692"/>
                <a:gd name="T46" fmla="*/ 698 w 901"/>
                <a:gd name="T47" fmla="*/ 44 h 692"/>
                <a:gd name="T48" fmla="*/ 648 w 901"/>
                <a:gd name="T49" fmla="*/ 3 h 692"/>
                <a:gd name="T50" fmla="*/ 424 w 901"/>
                <a:gd name="T51" fmla="*/ 16 h 692"/>
                <a:gd name="T52" fmla="*/ 388 w 901"/>
                <a:gd name="T53" fmla="*/ 51 h 692"/>
                <a:gd name="T54" fmla="*/ 220 w 901"/>
                <a:gd name="T55" fmla="*/ 106 h 692"/>
                <a:gd name="T56" fmla="*/ 203 w 901"/>
                <a:gd name="T57" fmla="*/ 65 h 692"/>
                <a:gd name="T58" fmla="*/ 177 w 901"/>
                <a:gd name="T59" fmla="*/ 47 h 692"/>
                <a:gd name="T60" fmla="*/ 131 w 901"/>
                <a:gd name="T61" fmla="*/ 46 h 692"/>
                <a:gd name="T62" fmla="*/ 105 w 901"/>
                <a:gd name="T63" fmla="*/ 57 h 692"/>
                <a:gd name="T64" fmla="*/ 80 w 901"/>
                <a:gd name="T65" fmla="*/ 90 h 692"/>
                <a:gd name="T66" fmla="*/ 76 w 901"/>
                <a:gd name="T67" fmla="*/ 122 h 692"/>
                <a:gd name="T68" fmla="*/ 44 w 901"/>
                <a:gd name="T69" fmla="*/ 131 h 692"/>
                <a:gd name="T70" fmla="*/ 20 w 901"/>
                <a:gd name="T71" fmla="*/ 148 h 692"/>
                <a:gd name="T72" fmla="*/ 5 w 901"/>
                <a:gd name="T73" fmla="*/ 175 h 692"/>
                <a:gd name="T74" fmla="*/ 0 w 901"/>
                <a:gd name="T75" fmla="*/ 210 h 692"/>
                <a:gd name="T76" fmla="*/ 3 w 901"/>
                <a:gd name="T77" fmla="*/ 631 h 692"/>
                <a:gd name="T78" fmla="*/ 18 w 901"/>
                <a:gd name="T79" fmla="*/ 661 h 692"/>
                <a:gd name="T80" fmla="*/ 45 w 901"/>
                <a:gd name="T81" fmla="*/ 682 h 692"/>
                <a:gd name="T82" fmla="*/ 82 w 901"/>
                <a:gd name="T83" fmla="*/ 692 h 692"/>
                <a:gd name="T84" fmla="*/ 820 w 901"/>
                <a:gd name="T85" fmla="*/ 692 h 692"/>
                <a:gd name="T86" fmla="*/ 857 w 901"/>
                <a:gd name="T87" fmla="*/ 682 h 692"/>
                <a:gd name="T88" fmla="*/ 883 w 901"/>
                <a:gd name="T89" fmla="*/ 661 h 692"/>
                <a:gd name="T90" fmla="*/ 898 w 901"/>
                <a:gd name="T91" fmla="*/ 631 h 692"/>
                <a:gd name="T92" fmla="*/ 901 w 901"/>
                <a:gd name="T93" fmla="*/ 196 h 692"/>
                <a:gd name="T94" fmla="*/ 896 w 901"/>
                <a:gd name="T95" fmla="*/ 162 h 692"/>
                <a:gd name="T96" fmla="*/ 880 w 901"/>
                <a:gd name="T97" fmla="*/ 139 h 692"/>
                <a:gd name="T98" fmla="*/ 851 w 901"/>
                <a:gd name="T99" fmla="*/ 125 h 692"/>
                <a:gd name="T100" fmla="*/ 810 w 901"/>
                <a:gd name="T101" fmla="*/ 12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692">
                  <a:moveTo>
                    <a:pt x="871" y="604"/>
                  </a:moveTo>
                  <a:lnTo>
                    <a:pt x="871" y="610"/>
                  </a:lnTo>
                  <a:lnTo>
                    <a:pt x="870" y="616"/>
                  </a:lnTo>
                  <a:lnTo>
                    <a:pt x="869" y="623"/>
                  </a:lnTo>
                  <a:lnTo>
                    <a:pt x="868" y="628"/>
                  </a:lnTo>
                  <a:lnTo>
                    <a:pt x="866" y="634"/>
                  </a:lnTo>
                  <a:lnTo>
                    <a:pt x="863" y="638"/>
                  </a:lnTo>
                  <a:lnTo>
                    <a:pt x="860" y="642"/>
                  </a:lnTo>
                  <a:lnTo>
                    <a:pt x="856" y="646"/>
                  </a:lnTo>
                  <a:lnTo>
                    <a:pt x="852" y="650"/>
                  </a:lnTo>
                  <a:lnTo>
                    <a:pt x="848" y="653"/>
                  </a:lnTo>
                  <a:lnTo>
                    <a:pt x="842" y="655"/>
                  </a:lnTo>
                  <a:lnTo>
                    <a:pt x="837" y="657"/>
                  </a:lnTo>
                  <a:lnTo>
                    <a:pt x="824" y="660"/>
                  </a:lnTo>
                  <a:lnTo>
                    <a:pt x="808" y="661"/>
                  </a:lnTo>
                  <a:lnTo>
                    <a:pt x="93" y="661"/>
                  </a:lnTo>
                  <a:lnTo>
                    <a:pt x="78" y="660"/>
                  </a:lnTo>
                  <a:lnTo>
                    <a:pt x="65" y="657"/>
                  </a:lnTo>
                  <a:lnTo>
                    <a:pt x="60" y="655"/>
                  </a:lnTo>
                  <a:lnTo>
                    <a:pt x="54" y="653"/>
                  </a:lnTo>
                  <a:lnTo>
                    <a:pt x="50" y="650"/>
                  </a:lnTo>
                  <a:lnTo>
                    <a:pt x="46" y="646"/>
                  </a:lnTo>
                  <a:lnTo>
                    <a:pt x="42" y="642"/>
                  </a:lnTo>
                  <a:lnTo>
                    <a:pt x="38" y="638"/>
                  </a:lnTo>
                  <a:lnTo>
                    <a:pt x="36" y="634"/>
                  </a:lnTo>
                  <a:lnTo>
                    <a:pt x="34" y="628"/>
                  </a:lnTo>
                  <a:lnTo>
                    <a:pt x="32" y="623"/>
                  </a:lnTo>
                  <a:lnTo>
                    <a:pt x="31" y="616"/>
                  </a:lnTo>
                  <a:lnTo>
                    <a:pt x="30" y="610"/>
                  </a:lnTo>
                  <a:lnTo>
                    <a:pt x="30" y="604"/>
                  </a:lnTo>
                  <a:lnTo>
                    <a:pt x="30" y="210"/>
                  </a:lnTo>
                  <a:lnTo>
                    <a:pt x="31" y="196"/>
                  </a:lnTo>
                  <a:lnTo>
                    <a:pt x="34" y="183"/>
                  </a:lnTo>
                  <a:lnTo>
                    <a:pt x="36" y="178"/>
                  </a:lnTo>
                  <a:lnTo>
                    <a:pt x="38" y="174"/>
                  </a:lnTo>
                  <a:lnTo>
                    <a:pt x="42" y="169"/>
                  </a:lnTo>
                  <a:lnTo>
                    <a:pt x="45" y="165"/>
                  </a:lnTo>
                  <a:lnTo>
                    <a:pt x="49" y="162"/>
                  </a:lnTo>
                  <a:lnTo>
                    <a:pt x="53" y="159"/>
                  </a:lnTo>
                  <a:lnTo>
                    <a:pt x="59" y="156"/>
                  </a:lnTo>
                  <a:lnTo>
                    <a:pt x="64" y="154"/>
                  </a:lnTo>
                  <a:lnTo>
                    <a:pt x="76" y="152"/>
                  </a:lnTo>
                  <a:lnTo>
                    <a:pt x="90" y="151"/>
                  </a:lnTo>
                  <a:lnTo>
                    <a:pt x="337" y="151"/>
                  </a:lnTo>
                  <a:lnTo>
                    <a:pt x="405" y="79"/>
                  </a:lnTo>
                  <a:lnTo>
                    <a:pt x="406" y="77"/>
                  </a:lnTo>
                  <a:lnTo>
                    <a:pt x="416" y="64"/>
                  </a:lnTo>
                  <a:lnTo>
                    <a:pt x="428" y="52"/>
                  </a:lnTo>
                  <a:lnTo>
                    <a:pt x="440" y="41"/>
                  </a:lnTo>
                  <a:lnTo>
                    <a:pt x="455" y="31"/>
                  </a:lnTo>
                  <a:lnTo>
                    <a:pt x="636" y="31"/>
                  </a:lnTo>
                  <a:lnTo>
                    <a:pt x="651" y="41"/>
                  </a:lnTo>
                  <a:lnTo>
                    <a:pt x="664" y="52"/>
                  </a:lnTo>
                  <a:lnTo>
                    <a:pt x="675" y="64"/>
                  </a:lnTo>
                  <a:lnTo>
                    <a:pt x="684" y="76"/>
                  </a:lnTo>
                  <a:lnTo>
                    <a:pt x="728" y="151"/>
                  </a:lnTo>
                  <a:lnTo>
                    <a:pt x="810" y="151"/>
                  </a:lnTo>
                  <a:lnTo>
                    <a:pt x="830" y="152"/>
                  </a:lnTo>
                  <a:lnTo>
                    <a:pt x="844" y="154"/>
                  </a:lnTo>
                  <a:lnTo>
                    <a:pt x="850" y="156"/>
                  </a:lnTo>
                  <a:lnTo>
                    <a:pt x="854" y="159"/>
                  </a:lnTo>
                  <a:lnTo>
                    <a:pt x="859" y="161"/>
                  </a:lnTo>
                  <a:lnTo>
                    <a:pt x="863" y="164"/>
                  </a:lnTo>
                  <a:lnTo>
                    <a:pt x="865" y="167"/>
                  </a:lnTo>
                  <a:lnTo>
                    <a:pt x="867" y="170"/>
                  </a:lnTo>
                  <a:lnTo>
                    <a:pt x="869" y="174"/>
                  </a:lnTo>
                  <a:lnTo>
                    <a:pt x="870" y="178"/>
                  </a:lnTo>
                  <a:lnTo>
                    <a:pt x="871" y="186"/>
                  </a:lnTo>
                  <a:lnTo>
                    <a:pt x="871" y="196"/>
                  </a:lnTo>
                  <a:lnTo>
                    <a:pt x="871" y="604"/>
                  </a:lnTo>
                  <a:close/>
                  <a:moveTo>
                    <a:pt x="135" y="76"/>
                  </a:moveTo>
                  <a:lnTo>
                    <a:pt x="165" y="76"/>
                  </a:lnTo>
                  <a:lnTo>
                    <a:pt x="169" y="76"/>
                  </a:lnTo>
                  <a:lnTo>
                    <a:pt x="173" y="78"/>
                  </a:lnTo>
                  <a:lnTo>
                    <a:pt x="178" y="82"/>
                  </a:lnTo>
                  <a:lnTo>
                    <a:pt x="182" y="87"/>
                  </a:lnTo>
                  <a:lnTo>
                    <a:pt x="185" y="91"/>
                  </a:lnTo>
                  <a:lnTo>
                    <a:pt x="187" y="96"/>
                  </a:lnTo>
                  <a:lnTo>
                    <a:pt x="188" y="102"/>
                  </a:lnTo>
                  <a:lnTo>
                    <a:pt x="189" y="106"/>
                  </a:lnTo>
                  <a:lnTo>
                    <a:pt x="189" y="121"/>
                  </a:lnTo>
                  <a:lnTo>
                    <a:pt x="106" y="121"/>
                  </a:lnTo>
                  <a:lnTo>
                    <a:pt x="107" y="106"/>
                  </a:lnTo>
                  <a:lnTo>
                    <a:pt x="108" y="102"/>
                  </a:lnTo>
                  <a:lnTo>
                    <a:pt x="110" y="96"/>
                  </a:lnTo>
                  <a:lnTo>
                    <a:pt x="113" y="91"/>
                  </a:lnTo>
                  <a:lnTo>
                    <a:pt x="117" y="87"/>
                  </a:lnTo>
                  <a:lnTo>
                    <a:pt x="121" y="82"/>
                  </a:lnTo>
                  <a:lnTo>
                    <a:pt x="126" y="78"/>
                  </a:lnTo>
                  <a:lnTo>
                    <a:pt x="131" y="76"/>
                  </a:lnTo>
                  <a:lnTo>
                    <a:pt x="135" y="76"/>
                  </a:lnTo>
                  <a:close/>
                  <a:moveTo>
                    <a:pt x="810" y="121"/>
                  </a:moveTo>
                  <a:lnTo>
                    <a:pt x="745" y="121"/>
                  </a:lnTo>
                  <a:lnTo>
                    <a:pt x="710" y="60"/>
                  </a:lnTo>
                  <a:lnTo>
                    <a:pt x="704" y="52"/>
                  </a:lnTo>
                  <a:lnTo>
                    <a:pt x="698" y="44"/>
                  </a:lnTo>
                  <a:lnTo>
                    <a:pt x="691" y="36"/>
                  </a:lnTo>
                  <a:lnTo>
                    <a:pt x="684" y="30"/>
                  </a:lnTo>
                  <a:lnTo>
                    <a:pt x="667" y="16"/>
                  </a:lnTo>
                  <a:lnTo>
                    <a:pt x="648" y="3"/>
                  </a:lnTo>
                  <a:lnTo>
                    <a:pt x="645" y="0"/>
                  </a:lnTo>
                  <a:lnTo>
                    <a:pt x="447" y="0"/>
                  </a:lnTo>
                  <a:lnTo>
                    <a:pt x="443" y="3"/>
                  </a:lnTo>
                  <a:lnTo>
                    <a:pt x="424" y="16"/>
                  </a:lnTo>
                  <a:lnTo>
                    <a:pt x="408" y="29"/>
                  </a:lnTo>
                  <a:lnTo>
                    <a:pt x="401" y="36"/>
                  </a:lnTo>
                  <a:lnTo>
                    <a:pt x="394" y="44"/>
                  </a:lnTo>
                  <a:lnTo>
                    <a:pt x="388" y="51"/>
                  </a:lnTo>
                  <a:lnTo>
                    <a:pt x="382" y="59"/>
                  </a:lnTo>
                  <a:lnTo>
                    <a:pt x="325" y="121"/>
                  </a:lnTo>
                  <a:lnTo>
                    <a:pt x="220" y="121"/>
                  </a:lnTo>
                  <a:lnTo>
                    <a:pt x="220" y="106"/>
                  </a:lnTo>
                  <a:lnTo>
                    <a:pt x="218" y="95"/>
                  </a:lnTo>
                  <a:lnTo>
                    <a:pt x="215" y="86"/>
                  </a:lnTo>
                  <a:lnTo>
                    <a:pt x="210" y="75"/>
                  </a:lnTo>
                  <a:lnTo>
                    <a:pt x="203" y="65"/>
                  </a:lnTo>
                  <a:lnTo>
                    <a:pt x="196" y="58"/>
                  </a:lnTo>
                  <a:lnTo>
                    <a:pt x="186" y="51"/>
                  </a:lnTo>
                  <a:lnTo>
                    <a:pt x="182" y="49"/>
                  </a:lnTo>
                  <a:lnTo>
                    <a:pt x="177" y="47"/>
                  </a:lnTo>
                  <a:lnTo>
                    <a:pt x="171" y="46"/>
                  </a:lnTo>
                  <a:lnTo>
                    <a:pt x="165" y="46"/>
                  </a:lnTo>
                  <a:lnTo>
                    <a:pt x="135" y="46"/>
                  </a:lnTo>
                  <a:lnTo>
                    <a:pt x="131" y="46"/>
                  </a:lnTo>
                  <a:lnTo>
                    <a:pt x="125" y="47"/>
                  </a:lnTo>
                  <a:lnTo>
                    <a:pt x="120" y="49"/>
                  </a:lnTo>
                  <a:lnTo>
                    <a:pt x="114" y="51"/>
                  </a:lnTo>
                  <a:lnTo>
                    <a:pt x="105" y="57"/>
                  </a:lnTo>
                  <a:lnTo>
                    <a:pt x="96" y="65"/>
                  </a:lnTo>
                  <a:lnTo>
                    <a:pt x="88" y="74"/>
                  </a:lnTo>
                  <a:lnTo>
                    <a:pt x="82" y="85"/>
                  </a:lnTo>
                  <a:lnTo>
                    <a:pt x="80" y="90"/>
                  </a:lnTo>
                  <a:lnTo>
                    <a:pt x="78" y="95"/>
                  </a:lnTo>
                  <a:lnTo>
                    <a:pt x="77" y="101"/>
                  </a:lnTo>
                  <a:lnTo>
                    <a:pt x="77" y="105"/>
                  </a:lnTo>
                  <a:lnTo>
                    <a:pt x="76" y="122"/>
                  </a:lnTo>
                  <a:lnTo>
                    <a:pt x="67" y="123"/>
                  </a:lnTo>
                  <a:lnTo>
                    <a:pt x="59" y="125"/>
                  </a:lnTo>
                  <a:lnTo>
                    <a:pt x="51" y="127"/>
                  </a:lnTo>
                  <a:lnTo>
                    <a:pt x="44" y="131"/>
                  </a:lnTo>
                  <a:lnTo>
                    <a:pt x="37" y="134"/>
                  </a:lnTo>
                  <a:lnTo>
                    <a:pt x="31" y="138"/>
                  </a:lnTo>
                  <a:lnTo>
                    <a:pt x="25" y="142"/>
                  </a:lnTo>
                  <a:lnTo>
                    <a:pt x="20" y="148"/>
                  </a:lnTo>
                  <a:lnTo>
                    <a:pt x="15" y="154"/>
                  </a:lnTo>
                  <a:lnTo>
                    <a:pt x="12" y="161"/>
                  </a:lnTo>
                  <a:lnTo>
                    <a:pt x="8" y="167"/>
                  </a:lnTo>
                  <a:lnTo>
                    <a:pt x="5" y="175"/>
                  </a:lnTo>
                  <a:lnTo>
                    <a:pt x="3" y="183"/>
                  </a:lnTo>
                  <a:lnTo>
                    <a:pt x="1" y="191"/>
                  </a:lnTo>
                  <a:lnTo>
                    <a:pt x="1" y="200"/>
                  </a:lnTo>
                  <a:lnTo>
                    <a:pt x="0" y="210"/>
                  </a:lnTo>
                  <a:lnTo>
                    <a:pt x="0" y="604"/>
                  </a:lnTo>
                  <a:lnTo>
                    <a:pt x="1" y="613"/>
                  </a:lnTo>
                  <a:lnTo>
                    <a:pt x="2" y="623"/>
                  </a:lnTo>
                  <a:lnTo>
                    <a:pt x="3" y="631"/>
                  </a:lnTo>
                  <a:lnTo>
                    <a:pt x="6" y="640"/>
                  </a:lnTo>
                  <a:lnTo>
                    <a:pt x="9" y="648"/>
                  </a:lnTo>
                  <a:lnTo>
                    <a:pt x="14" y="655"/>
                  </a:lnTo>
                  <a:lnTo>
                    <a:pt x="18" y="661"/>
                  </a:lnTo>
                  <a:lnTo>
                    <a:pt x="24" y="668"/>
                  </a:lnTo>
                  <a:lnTo>
                    <a:pt x="30" y="673"/>
                  </a:lnTo>
                  <a:lnTo>
                    <a:pt x="37" y="678"/>
                  </a:lnTo>
                  <a:lnTo>
                    <a:pt x="45" y="682"/>
                  </a:lnTo>
                  <a:lnTo>
                    <a:pt x="53" y="685"/>
                  </a:lnTo>
                  <a:lnTo>
                    <a:pt x="62" y="688"/>
                  </a:lnTo>
                  <a:lnTo>
                    <a:pt x="72" y="689"/>
                  </a:lnTo>
                  <a:lnTo>
                    <a:pt x="82" y="692"/>
                  </a:lnTo>
                  <a:lnTo>
                    <a:pt x="93" y="692"/>
                  </a:lnTo>
                  <a:lnTo>
                    <a:pt x="809" y="692"/>
                  </a:lnTo>
                  <a:lnTo>
                    <a:pt x="809" y="692"/>
                  </a:lnTo>
                  <a:lnTo>
                    <a:pt x="820" y="692"/>
                  </a:lnTo>
                  <a:lnTo>
                    <a:pt x="831" y="689"/>
                  </a:lnTo>
                  <a:lnTo>
                    <a:pt x="840" y="688"/>
                  </a:lnTo>
                  <a:lnTo>
                    <a:pt x="849" y="685"/>
                  </a:lnTo>
                  <a:lnTo>
                    <a:pt x="857" y="682"/>
                  </a:lnTo>
                  <a:lnTo>
                    <a:pt x="865" y="678"/>
                  </a:lnTo>
                  <a:lnTo>
                    <a:pt x="871" y="673"/>
                  </a:lnTo>
                  <a:lnTo>
                    <a:pt x="878" y="668"/>
                  </a:lnTo>
                  <a:lnTo>
                    <a:pt x="883" y="661"/>
                  </a:lnTo>
                  <a:lnTo>
                    <a:pt x="889" y="655"/>
                  </a:lnTo>
                  <a:lnTo>
                    <a:pt x="893" y="648"/>
                  </a:lnTo>
                  <a:lnTo>
                    <a:pt x="896" y="640"/>
                  </a:lnTo>
                  <a:lnTo>
                    <a:pt x="898" y="631"/>
                  </a:lnTo>
                  <a:lnTo>
                    <a:pt x="900" y="623"/>
                  </a:lnTo>
                  <a:lnTo>
                    <a:pt x="901" y="613"/>
                  </a:lnTo>
                  <a:lnTo>
                    <a:pt x="901" y="604"/>
                  </a:lnTo>
                  <a:lnTo>
                    <a:pt x="901" y="196"/>
                  </a:lnTo>
                  <a:lnTo>
                    <a:pt x="901" y="186"/>
                  </a:lnTo>
                  <a:lnTo>
                    <a:pt x="900" y="178"/>
                  </a:lnTo>
                  <a:lnTo>
                    <a:pt x="899" y="169"/>
                  </a:lnTo>
                  <a:lnTo>
                    <a:pt x="896" y="162"/>
                  </a:lnTo>
                  <a:lnTo>
                    <a:pt x="893" y="155"/>
                  </a:lnTo>
                  <a:lnTo>
                    <a:pt x="890" y="149"/>
                  </a:lnTo>
                  <a:lnTo>
                    <a:pt x="885" y="144"/>
                  </a:lnTo>
                  <a:lnTo>
                    <a:pt x="880" y="139"/>
                  </a:lnTo>
                  <a:lnTo>
                    <a:pt x="874" y="135"/>
                  </a:lnTo>
                  <a:lnTo>
                    <a:pt x="867" y="131"/>
                  </a:lnTo>
                  <a:lnTo>
                    <a:pt x="860" y="127"/>
                  </a:lnTo>
                  <a:lnTo>
                    <a:pt x="851" y="125"/>
                  </a:lnTo>
                  <a:lnTo>
                    <a:pt x="842" y="123"/>
                  </a:lnTo>
                  <a:lnTo>
                    <a:pt x="833" y="122"/>
                  </a:lnTo>
                  <a:lnTo>
                    <a:pt x="822" y="121"/>
                  </a:lnTo>
                  <a:lnTo>
                    <a:pt x="810"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15">
              <a:extLst>
                <a:ext uri="{FF2B5EF4-FFF2-40B4-BE49-F238E27FC236}">
                  <a16:creationId xmlns:a16="http://schemas.microsoft.com/office/drawing/2014/main" id="{BF3CA023-8F33-4486-87AC-1128BDD63803}"/>
                </a:ext>
              </a:extLst>
            </p:cNvPr>
            <p:cNvSpPr>
              <a:spLocks noEditPoints="1"/>
            </p:cNvSpPr>
            <p:nvPr/>
          </p:nvSpPr>
          <p:spPr bwMode="auto">
            <a:xfrm>
              <a:off x="7118350" y="3752533"/>
              <a:ext cx="142875" cy="142875"/>
            </a:xfrm>
            <a:custGeom>
              <a:avLst/>
              <a:gdLst>
                <a:gd name="T0" fmla="*/ 186 w 450"/>
                <a:gd name="T1" fmla="*/ 417 h 450"/>
                <a:gd name="T2" fmla="*/ 132 w 450"/>
                <a:gd name="T3" fmla="*/ 397 h 450"/>
                <a:gd name="T4" fmla="*/ 87 w 450"/>
                <a:gd name="T5" fmla="*/ 364 h 450"/>
                <a:gd name="T6" fmla="*/ 54 w 450"/>
                <a:gd name="T7" fmla="*/ 319 h 450"/>
                <a:gd name="T8" fmla="*/ 33 w 450"/>
                <a:gd name="T9" fmla="*/ 265 h 450"/>
                <a:gd name="T10" fmla="*/ 31 w 450"/>
                <a:gd name="T11" fmla="*/ 205 h 450"/>
                <a:gd name="T12" fmla="*/ 45 w 450"/>
                <a:gd name="T13" fmla="*/ 149 h 450"/>
                <a:gd name="T14" fmla="*/ 74 w 450"/>
                <a:gd name="T15" fmla="*/ 101 h 450"/>
                <a:gd name="T16" fmla="*/ 116 w 450"/>
                <a:gd name="T17" fmla="*/ 63 h 450"/>
                <a:gd name="T18" fmla="*/ 167 w 450"/>
                <a:gd name="T19" fmla="*/ 39 h 450"/>
                <a:gd name="T20" fmla="*/ 225 w 450"/>
                <a:gd name="T21" fmla="*/ 30 h 450"/>
                <a:gd name="T22" fmla="*/ 283 w 450"/>
                <a:gd name="T23" fmla="*/ 39 h 450"/>
                <a:gd name="T24" fmla="*/ 335 w 450"/>
                <a:gd name="T25" fmla="*/ 63 h 450"/>
                <a:gd name="T26" fmla="*/ 376 w 450"/>
                <a:gd name="T27" fmla="*/ 101 h 450"/>
                <a:gd name="T28" fmla="*/ 405 w 450"/>
                <a:gd name="T29" fmla="*/ 149 h 450"/>
                <a:gd name="T30" fmla="*/ 419 w 450"/>
                <a:gd name="T31" fmla="*/ 205 h 450"/>
                <a:gd name="T32" fmla="*/ 416 w 450"/>
                <a:gd name="T33" fmla="*/ 265 h 450"/>
                <a:gd name="T34" fmla="*/ 397 w 450"/>
                <a:gd name="T35" fmla="*/ 319 h 450"/>
                <a:gd name="T36" fmla="*/ 363 w 450"/>
                <a:gd name="T37" fmla="*/ 364 h 450"/>
                <a:gd name="T38" fmla="*/ 318 w 450"/>
                <a:gd name="T39" fmla="*/ 397 h 450"/>
                <a:gd name="T40" fmla="*/ 265 w 450"/>
                <a:gd name="T41" fmla="*/ 417 h 450"/>
                <a:gd name="T42" fmla="*/ 225 w 450"/>
                <a:gd name="T43" fmla="*/ 0 h 450"/>
                <a:gd name="T44" fmla="*/ 191 w 450"/>
                <a:gd name="T45" fmla="*/ 2 h 450"/>
                <a:gd name="T46" fmla="*/ 158 w 450"/>
                <a:gd name="T47" fmla="*/ 10 h 450"/>
                <a:gd name="T48" fmla="*/ 118 w 450"/>
                <a:gd name="T49" fmla="*/ 27 h 450"/>
                <a:gd name="T50" fmla="*/ 65 w 450"/>
                <a:gd name="T51" fmla="*/ 65 h 450"/>
                <a:gd name="T52" fmla="*/ 27 w 450"/>
                <a:gd name="T53" fmla="*/ 118 h 450"/>
                <a:gd name="T54" fmla="*/ 10 w 450"/>
                <a:gd name="T55" fmla="*/ 159 h 450"/>
                <a:gd name="T56" fmla="*/ 2 w 450"/>
                <a:gd name="T57" fmla="*/ 191 h 450"/>
                <a:gd name="T58" fmla="*/ 0 w 450"/>
                <a:gd name="T59" fmla="*/ 225 h 450"/>
                <a:gd name="T60" fmla="*/ 2 w 450"/>
                <a:gd name="T61" fmla="*/ 260 h 450"/>
                <a:gd name="T62" fmla="*/ 10 w 450"/>
                <a:gd name="T63" fmla="*/ 292 h 450"/>
                <a:gd name="T64" fmla="*/ 27 w 450"/>
                <a:gd name="T65" fmla="*/ 333 h 450"/>
                <a:gd name="T66" fmla="*/ 65 w 450"/>
                <a:gd name="T67" fmla="*/ 385 h 450"/>
                <a:gd name="T68" fmla="*/ 118 w 450"/>
                <a:gd name="T69" fmla="*/ 424 h 450"/>
                <a:gd name="T70" fmla="*/ 158 w 450"/>
                <a:gd name="T71" fmla="*/ 441 h 450"/>
                <a:gd name="T72" fmla="*/ 191 w 450"/>
                <a:gd name="T73" fmla="*/ 448 h 450"/>
                <a:gd name="T74" fmla="*/ 225 w 450"/>
                <a:gd name="T75" fmla="*/ 450 h 450"/>
                <a:gd name="T76" fmla="*/ 259 w 450"/>
                <a:gd name="T77" fmla="*/ 448 h 450"/>
                <a:gd name="T78" fmla="*/ 292 w 450"/>
                <a:gd name="T79" fmla="*/ 441 h 450"/>
                <a:gd name="T80" fmla="*/ 332 w 450"/>
                <a:gd name="T81" fmla="*/ 424 h 450"/>
                <a:gd name="T82" fmla="*/ 385 w 450"/>
                <a:gd name="T83" fmla="*/ 385 h 450"/>
                <a:gd name="T84" fmla="*/ 424 w 450"/>
                <a:gd name="T85" fmla="*/ 333 h 450"/>
                <a:gd name="T86" fmla="*/ 441 w 450"/>
                <a:gd name="T87" fmla="*/ 292 h 450"/>
                <a:gd name="T88" fmla="*/ 448 w 450"/>
                <a:gd name="T89" fmla="*/ 260 h 450"/>
                <a:gd name="T90" fmla="*/ 450 w 450"/>
                <a:gd name="T91" fmla="*/ 225 h 450"/>
                <a:gd name="T92" fmla="*/ 448 w 450"/>
                <a:gd name="T93" fmla="*/ 191 h 450"/>
                <a:gd name="T94" fmla="*/ 441 w 450"/>
                <a:gd name="T95" fmla="*/ 159 h 450"/>
                <a:gd name="T96" fmla="*/ 424 w 450"/>
                <a:gd name="T97" fmla="*/ 118 h 450"/>
                <a:gd name="T98" fmla="*/ 385 w 450"/>
                <a:gd name="T99" fmla="*/ 65 h 450"/>
                <a:gd name="T100" fmla="*/ 332 w 450"/>
                <a:gd name="T101" fmla="*/ 27 h 450"/>
                <a:gd name="T102" fmla="*/ 292 w 450"/>
                <a:gd name="T103" fmla="*/ 10 h 450"/>
                <a:gd name="T104" fmla="*/ 259 w 450"/>
                <a:gd name="T105" fmla="*/ 2 h 450"/>
                <a:gd name="T106" fmla="*/ 225 w 450"/>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0" h="450">
                  <a:moveTo>
                    <a:pt x="225" y="420"/>
                  </a:moveTo>
                  <a:lnTo>
                    <a:pt x="205" y="419"/>
                  </a:lnTo>
                  <a:lnTo>
                    <a:pt x="186" y="417"/>
                  </a:lnTo>
                  <a:lnTo>
                    <a:pt x="167" y="412"/>
                  </a:lnTo>
                  <a:lnTo>
                    <a:pt x="149" y="405"/>
                  </a:lnTo>
                  <a:lnTo>
                    <a:pt x="132" y="397"/>
                  </a:lnTo>
                  <a:lnTo>
                    <a:pt x="116" y="387"/>
                  </a:lnTo>
                  <a:lnTo>
                    <a:pt x="101" y="376"/>
                  </a:lnTo>
                  <a:lnTo>
                    <a:pt x="87" y="364"/>
                  </a:lnTo>
                  <a:lnTo>
                    <a:pt x="74" y="350"/>
                  </a:lnTo>
                  <a:lnTo>
                    <a:pt x="63" y="335"/>
                  </a:lnTo>
                  <a:lnTo>
                    <a:pt x="54" y="319"/>
                  </a:lnTo>
                  <a:lnTo>
                    <a:pt x="45" y="301"/>
                  </a:lnTo>
                  <a:lnTo>
                    <a:pt x="39" y="283"/>
                  </a:lnTo>
                  <a:lnTo>
                    <a:pt x="33" y="265"/>
                  </a:lnTo>
                  <a:lnTo>
                    <a:pt x="31" y="246"/>
                  </a:lnTo>
                  <a:lnTo>
                    <a:pt x="30" y="225"/>
                  </a:lnTo>
                  <a:lnTo>
                    <a:pt x="31" y="205"/>
                  </a:lnTo>
                  <a:lnTo>
                    <a:pt x="33" y="186"/>
                  </a:lnTo>
                  <a:lnTo>
                    <a:pt x="39" y="167"/>
                  </a:lnTo>
                  <a:lnTo>
                    <a:pt x="45" y="149"/>
                  </a:lnTo>
                  <a:lnTo>
                    <a:pt x="54" y="132"/>
                  </a:lnTo>
                  <a:lnTo>
                    <a:pt x="63" y="116"/>
                  </a:lnTo>
                  <a:lnTo>
                    <a:pt x="74" y="101"/>
                  </a:lnTo>
                  <a:lnTo>
                    <a:pt x="87" y="87"/>
                  </a:lnTo>
                  <a:lnTo>
                    <a:pt x="101" y="74"/>
                  </a:lnTo>
                  <a:lnTo>
                    <a:pt x="116" y="63"/>
                  </a:lnTo>
                  <a:lnTo>
                    <a:pt x="132" y="54"/>
                  </a:lnTo>
                  <a:lnTo>
                    <a:pt x="149" y="45"/>
                  </a:lnTo>
                  <a:lnTo>
                    <a:pt x="167" y="39"/>
                  </a:lnTo>
                  <a:lnTo>
                    <a:pt x="186" y="33"/>
                  </a:lnTo>
                  <a:lnTo>
                    <a:pt x="205" y="31"/>
                  </a:lnTo>
                  <a:lnTo>
                    <a:pt x="225" y="30"/>
                  </a:lnTo>
                  <a:lnTo>
                    <a:pt x="246" y="31"/>
                  </a:lnTo>
                  <a:lnTo>
                    <a:pt x="265" y="33"/>
                  </a:lnTo>
                  <a:lnTo>
                    <a:pt x="283" y="39"/>
                  </a:lnTo>
                  <a:lnTo>
                    <a:pt x="301" y="45"/>
                  </a:lnTo>
                  <a:lnTo>
                    <a:pt x="318" y="54"/>
                  </a:lnTo>
                  <a:lnTo>
                    <a:pt x="335" y="63"/>
                  </a:lnTo>
                  <a:lnTo>
                    <a:pt x="350" y="74"/>
                  </a:lnTo>
                  <a:lnTo>
                    <a:pt x="363" y="87"/>
                  </a:lnTo>
                  <a:lnTo>
                    <a:pt x="376" y="101"/>
                  </a:lnTo>
                  <a:lnTo>
                    <a:pt x="387" y="116"/>
                  </a:lnTo>
                  <a:lnTo>
                    <a:pt x="397" y="132"/>
                  </a:lnTo>
                  <a:lnTo>
                    <a:pt x="405" y="149"/>
                  </a:lnTo>
                  <a:lnTo>
                    <a:pt x="412" y="167"/>
                  </a:lnTo>
                  <a:lnTo>
                    <a:pt x="416" y="186"/>
                  </a:lnTo>
                  <a:lnTo>
                    <a:pt x="419" y="205"/>
                  </a:lnTo>
                  <a:lnTo>
                    <a:pt x="420" y="225"/>
                  </a:lnTo>
                  <a:lnTo>
                    <a:pt x="419" y="246"/>
                  </a:lnTo>
                  <a:lnTo>
                    <a:pt x="416" y="265"/>
                  </a:lnTo>
                  <a:lnTo>
                    <a:pt x="412" y="283"/>
                  </a:lnTo>
                  <a:lnTo>
                    <a:pt x="405" y="301"/>
                  </a:lnTo>
                  <a:lnTo>
                    <a:pt x="397" y="319"/>
                  </a:lnTo>
                  <a:lnTo>
                    <a:pt x="387" y="335"/>
                  </a:lnTo>
                  <a:lnTo>
                    <a:pt x="376" y="350"/>
                  </a:lnTo>
                  <a:lnTo>
                    <a:pt x="363" y="364"/>
                  </a:lnTo>
                  <a:lnTo>
                    <a:pt x="350" y="376"/>
                  </a:lnTo>
                  <a:lnTo>
                    <a:pt x="335" y="387"/>
                  </a:lnTo>
                  <a:lnTo>
                    <a:pt x="318" y="397"/>
                  </a:lnTo>
                  <a:lnTo>
                    <a:pt x="301" y="405"/>
                  </a:lnTo>
                  <a:lnTo>
                    <a:pt x="283" y="412"/>
                  </a:lnTo>
                  <a:lnTo>
                    <a:pt x="265" y="417"/>
                  </a:lnTo>
                  <a:lnTo>
                    <a:pt x="246" y="419"/>
                  </a:lnTo>
                  <a:lnTo>
                    <a:pt x="225" y="420"/>
                  </a:lnTo>
                  <a:close/>
                  <a:moveTo>
                    <a:pt x="225" y="0"/>
                  </a:moveTo>
                  <a:lnTo>
                    <a:pt x="213" y="0"/>
                  </a:lnTo>
                  <a:lnTo>
                    <a:pt x="202" y="1"/>
                  </a:lnTo>
                  <a:lnTo>
                    <a:pt x="191" y="2"/>
                  </a:lnTo>
                  <a:lnTo>
                    <a:pt x="180" y="4"/>
                  </a:lnTo>
                  <a:lnTo>
                    <a:pt x="168" y="7"/>
                  </a:lnTo>
                  <a:lnTo>
                    <a:pt x="158" y="10"/>
                  </a:lnTo>
                  <a:lnTo>
                    <a:pt x="148" y="14"/>
                  </a:lnTo>
                  <a:lnTo>
                    <a:pt x="137" y="17"/>
                  </a:lnTo>
                  <a:lnTo>
                    <a:pt x="118" y="27"/>
                  </a:lnTo>
                  <a:lnTo>
                    <a:pt x="99" y="39"/>
                  </a:lnTo>
                  <a:lnTo>
                    <a:pt x="82" y="52"/>
                  </a:lnTo>
                  <a:lnTo>
                    <a:pt x="65" y="65"/>
                  </a:lnTo>
                  <a:lnTo>
                    <a:pt x="51" y="82"/>
                  </a:lnTo>
                  <a:lnTo>
                    <a:pt x="39" y="100"/>
                  </a:lnTo>
                  <a:lnTo>
                    <a:pt x="27" y="118"/>
                  </a:lnTo>
                  <a:lnTo>
                    <a:pt x="17" y="137"/>
                  </a:lnTo>
                  <a:lnTo>
                    <a:pt x="13" y="148"/>
                  </a:lnTo>
                  <a:lnTo>
                    <a:pt x="10" y="159"/>
                  </a:lnTo>
                  <a:lnTo>
                    <a:pt x="6" y="170"/>
                  </a:lnTo>
                  <a:lnTo>
                    <a:pt x="4" y="180"/>
                  </a:lnTo>
                  <a:lnTo>
                    <a:pt x="2" y="191"/>
                  </a:lnTo>
                  <a:lnTo>
                    <a:pt x="1" y="203"/>
                  </a:lnTo>
                  <a:lnTo>
                    <a:pt x="0" y="213"/>
                  </a:lnTo>
                  <a:lnTo>
                    <a:pt x="0" y="225"/>
                  </a:lnTo>
                  <a:lnTo>
                    <a:pt x="0" y="237"/>
                  </a:lnTo>
                  <a:lnTo>
                    <a:pt x="1" y="248"/>
                  </a:lnTo>
                  <a:lnTo>
                    <a:pt x="2" y="260"/>
                  </a:lnTo>
                  <a:lnTo>
                    <a:pt x="4" y="270"/>
                  </a:lnTo>
                  <a:lnTo>
                    <a:pt x="6" y="282"/>
                  </a:lnTo>
                  <a:lnTo>
                    <a:pt x="10" y="292"/>
                  </a:lnTo>
                  <a:lnTo>
                    <a:pt x="13" y="302"/>
                  </a:lnTo>
                  <a:lnTo>
                    <a:pt x="17" y="313"/>
                  </a:lnTo>
                  <a:lnTo>
                    <a:pt x="27" y="333"/>
                  </a:lnTo>
                  <a:lnTo>
                    <a:pt x="39" y="352"/>
                  </a:lnTo>
                  <a:lnTo>
                    <a:pt x="51" y="369"/>
                  </a:lnTo>
                  <a:lnTo>
                    <a:pt x="65" y="385"/>
                  </a:lnTo>
                  <a:lnTo>
                    <a:pt x="82" y="399"/>
                  </a:lnTo>
                  <a:lnTo>
                    <a:pt x="99" y="412"/>
                  </a:lnTo>
                  <a:lnTo>
                    <a:pt x="118" y="424"/>
                  </a:lnTo>
                  <a:lnTo>
                    <a:pt x="137" y="433"/>
                  </a:lnTo>
                  <a:lnTo>
                    <a:pt x="148" y="438"/>
                  </a:lnTo>
                  <a:lnTo>
                    <a:pt x="158" y="441"/>
                  </a:lnTo>
                  <a:lnTo>
                    <a:pt x="168" y="444"/>
                  </a:lnTo>
                  <a:lnTo>
                    <a:pt x="180" y="446"/>
                  </a:lnTo>
                  <a:lnTo>
                    <a:pt x="191" y="448"/>
                  </a:lnTo>
                  <a:lnTo>
                    <a:pt x="202" y="449"/>
                  </a:lnTo>
                  <a:lnTo>
                    <a:pt x="213" y="450"/>
                  </a:lnTo>
                  <a:lnTo>
                    <a:pt x="225" y="450"/>
                  </a:lnTo>
                  <a:lnTo>
                    <a:pt x="237" y="450"/>
                  </a:lnTo>
                  <a:lnTo>
                    <a:pt x="248" y="449"/>
                  </a:lnTo>
                  <a:lnTo>
                    <a:pt x="259" y="448"/>
                  </a:lnTo>
                  <a:lnTo>
                    <a:pt x="270" y="446"/>
                  </a:lnTo>
                  <a:lnTo>
                    <a:pt x="281" y="444"/>
                  </a:lnTo>
                  <a:lnTo>
                    <a:pt x="292" y="441"/>
                  </a:lnTo>
                  <a:lnTo>
                    <a:pt x="302" y="438"/>
                  </a:lnTo>
                  <a:lnTo>
                    <a:pt x="313" y="433"/>
                  </a:lnTo>
                  <a:lnTo>
                    <a:pt x="332" y="424"/>
                  </a:lnTo>
                  <a:lnTo>
                    <a:pt x="351" y="412"/>
                  </a:lnTo>
                  <a:lnTo>
                    <a:pt x="369" y="399"/>
                  </a:lnTo>
                  <a:lnTo>
                    <a:pt x="385" y="385"/>
                  </a:lnTo>
                  <a:lnTo>
                    <a:pt x="399" y="369"/>
                  </a:lnTo>
                  <a:lnTo>
                    <a:pt x="412" y="351"/>
                  </a:lnTo>
                  <a:lnTo>
                    <a:pt x="424" y="333"/>
                  </a:lnTo>
                  <a:lnTo>
                    <a:pt x="433" y="313"/>
                  </a:lnTo>
                  <a:lnTo>
                    <a:pt x="436" y="302"/>
                  </a:lnTo>
                  <a:lnTo>
                    <a:pt x="441" y="292"/>
                  </a:lnTo>
                  <a:lnTo>
                    <a:pt x="444" y="282"/>
                  </a:lnTo>
                  <a:lnTo>
                    <a:pt x="446" y="270"/>
                  </a:lnTo>
                  <a:lnTo>
                    <a:pt x="448" y="260"/>
                  </a:lnTo>
                  <a:lnTo>
                    <a:pt x="449" y="248"/>
                  </a:lnTo>
                  <a:lnTo>
                    <a:pt x="450" y="237"/>
                  </a:lnTo>
                  <a:lnTo>
                    <a:pt x="450" y="225"/>
                  </a:lnTo>
                  <a:lnTo>
                    <a:pt x="450" y="213"/>
                  </a:lnTo>
                  <a:lnTo>
                    <a:pt x="449" y="203"/>
                  </a:lnTo>
                  <a:lnTo>
                    <a:pt x="448" y="191"/>
                  </a:lnTo>
                  <a:lnTo>
                    <a:pt x="446" y="180"/>
                  </a:lnTo>
                  <a:lnTo>
                    <a:pt x="444" y="170"/>
                  </a:lnTo>
                  <a:lnTo>
                    <a:pt x="441" y="159"/>
                  </a:lnTo>
                  <a:lnTo>
                    <a:pt x="436" y="148"/>
                  </a:lnTo>
                  <a:lnTo>
                    <a:pt x="433" y="137"/>
                  </a:lnTo>
                  <a:lnTo>
                    <a:pt x="424" y="118"/>
                  </a:lnTo>
                  <a:lnTo>
                    <a:pt x="412" y="100"/>
                  </a:lnTo>
                  <a:lnTo>
                    <a:pt x="399" y="82"/>
                  </a:lnTo>
                  <a:lnTo>
                    <a:pt x="385" y="65"/>
                  </a:lnTo>
                  <a:lnTo>
                    <a:pt x="369" y="52"/>
                  </a:lnTo>
                  <a:lnTo>
                    <a:pt x="351" y="39"/>
                  </a:lnTo>
                  <a:lnTo>
                    <a:pt x="332" y="27"/>
                  </a:lnTo>
                  <a:lnTo>
                    <a:pt x="313" y="17"/>
                  </a:lnTo>
                  <a:lnTo>
                    <a:pt x="302" y="14"/>
                  </a:lnTo>
                  <a:lnTo>
                    <a:pt x="292" y="10"/>
                  </a:lnTo>
                  <a:lnTo>
                    <a:pt x="281" y="7"/>
                  </a:lnTo>
                  <a:lnTo>
                    <a:pt x="270" y="4"/>
                  </a:lnTo>
                  <a:lnTo>
                    <a:pt x="259" y="2"/>
                  </a:lnTo>
                  <a:lnTo>
                    <a:pt x="248" y="1"/>
                  </a:lnTo>
                  <a:lnTo>
                    <a:pt x="237"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16">
              <a:extLst>
                <a:ext uri="{FF2B5EF4-FFF2-40B4-BE49-F238E27FC236}">
                  <a16:creationId xmlns:a16="http://schemas.microsoft.com/office/drawing/2014/main" id="{0A00133A-4258-47F5-8FC4-05051A758374}"/>
                </a:ext>
              </a:extLst>
            </p:cNvPr>
            <p:cNvSpPr>
              <a:spLocks noEditPoints="1"/>
            </p:cNvSpPr>
            <p:nvPr/>
          </p:nvSpPr>
          <p:spPr bwMode="auto">
            <a:xfrm>
              <a:off x="7146925" y="3781108"/>
              <a:ext cx="85725" cy="85725"/>
            </a:xfrm>
            <a:custGeom>
              <a:avLst/>
              <a:gdLst>
                <a:gd name="T0" fmla="*/ 114 w 270"/>
                <a:gd name="T1" fmla="*/ 238 h 270"/>
                <a:gd name="T2" fmla="*/ 85 w 270"/>
                <a:gd name="T3" fmla="*/ 227 h 270"/>
                <a:gd name="T4" fmla="*/ 61 w 270"/>
                <a:gd name="T5" fmla="*/ 209 h 270"/>
                <a:gd name="T6" fmla="*/ 43 w 270"/>
                <a:gd name="T7" fmla="*/ 186 h 270"/>
                <a:gd name="T8" fmla="*/ 32 w 270"/>
                <a:gd name="T9" fmla="*/ 157 h 270"/>
                <a:gd name="T10" fmla="*/ 30 w 270"/>
                <a:gd name="T11" fmla="*/ 125 h 270"/>
                <a:gd name="T12" fmla="*/ 39 w 270"/>
                <a:gd name="T13" fmla="*/ 95 h 270"/>
                <a:gd name="T14" fmla="*/ 54 w 270"/>
                <a:gd name="T15" fmla="*/ 69 h 270"/>
                <a:gd name="T16" fmla="*/ 76 w 270"/>
                <a:gd name="T17" fmla="*/ 48 h 270"/>
                <a:gd name="T18" fmla="*/ 104 w 270"/>
                <a:gd name="T19" fmla="*/ 34 h 270"/>
                <a:gd name="T20" fmla="*/ 135 w 270"/>
                <a:gd name="T21" fmla="*/ 30 h 270"/>
                <a:gd name="T22" fmla="*/ 166 w 270"/>
                <a:gd name="T23" fmla="*/ 34 h 270"/>
                <a:gd name="T24" fmla="*/ 194 w 270"/>
                <a:gd name="T25" fmla="*/ 48 h 270"/>
                <a:gd name="T26" fmla="*/ 217 w 270"/>
                <a:gd name="T27" fmla="*/ 69 h 270"/>
                <a:gd name="T28" fmla="*/ 232 w 270"/>
                <a:gd name="T29" fmla="*/ 95 h 270"/>
                <a:gd name="T30" fmla="*/ 240 w 270"/>
                <a:gd name="T31" fmla="*/ 125 h 270"/>
                <a:gd name="T32" fmla="*/ 238 w 270"/>
                <a:gd name="T33" fmla="*/ 157 h 270"/>
                <a:gd name="T34" fmla="*/ 227 w 270"/>
                <a:gd name="T35" fmla="*/ 186 h 270"/>
                <a:gd name="T36" fmla="*/ 209 w 270"/>
                <a:gd name="T37" fmla="*/ 209 h 270"/>
                <a:gd name="T38" fmla="*/ 186 w 270"/>
                <a:gd name="T39" fmla="*/ 227 h 270"/>
                <a:gd name="T40" fmla="*/ 157 w 270"/>
                <a:gd name="T41" fmla="*/ 238 h 270"/>
                <a:gd name="T42" fmla="*/ 135 w 270"/>
                <a:gd name="T43" fmla="*/ 0 h 270"/>
                <a:gd name="T44" fmla="*/ 94 w 270"/>
                <a:gd name="T45" fmla="*/ 7 h 270"/>
                <a:gd name="T46" fmla="*/ 59 w 270"/>
                <a:gd name="T47" fmla="*/ 23 h 270"/>
                <a:gd name="T48" fmla="*/ 31 w 270"/>
                <a:gd name="T49" fmla="*/ 49 h 270"/>
                <a:gd name="T50" fmla="*/ 11 w 270"/>
                <a:gd name="T51" fmla="*/ 83 h 270"/>
                <a:gd name="T52" fmla="*/ 0 w 270"/>
                <a:gd name="T53" fmla="*/ 121 h 270"/>
                <a:gd name="T54" fmla="*/ 2 w 270"/>
                <a:gd name="T55" fmla="*/ 162 h 270"/>
                <a:gd name="T56" fmla="*/ 16 w 270"/>
                <a:gd name="T57" fmla="*/ 200 h 270"/>
                <a:gd name="T58" fmla="*/ 40 w 270"/>
                <a:gd name="T59" fmla="*/ 231 h 270"/>
                <a:gd name="T60" fmla="*/ 71 w 270"/>
                <a:gd name="T61" fmla="*/ 254 h 270"/>
                <a:gd name="T62" fmla="*/ 108 w 270"/>
                <a:gd name="T63" fmla="*/ 268 h 270"/>
                <a:gd name="T64" fmla="*/ 149 w 270"/>
                <a:gd name="T65" fmla="*/ 270 h 270"/>
                <a:gd name="T66" fmla="*/ 188 w 270"/>
                <a:gd name="T67" fmla="*/ 260 h 270"/>
                <a:gd name="T68" fmla="*/ 221 w 270"/>
                <a:gd name="T69" fmla="*/ 239 h 270"/>
                <a:gd name="T70" fmla="*/ 248 w 270"/>
                <a:gd name="T71" fmla="*/ 210 h 270"/>
                <a:gd name="T72" fmla="*/ 264 w 270"/>
                <a:gd name="T73" fmla="*/ 175 h 270"/>
                <a:gd name="T74" fmla="*/ 270 w 270"/>
                <a:gd name="T75" fmla="*/ 135 h 270"/>
                <a:gd name="T76" fmla="*/ 264 w 270"/>
                <a:gd name="T77" fmla="*/ 96 h 270"/>
                <a:gd name="T78" fmla="*/ 248 w 270"/>
                <a:gd name="T79" fmla="*/ 60 h 270"/>
                <a:gd name="T80" fmla="*/ 221 w 270"/>
                <a:gd name="T81" fmla="*/ 31 h 270"/>
                <a:gd name="T82" fmla="*/ 188 w 270"/>
                <a:gd name="T83" fmla="*/ 11 h 270"/>
                <a:gd name="T84" fmla="*/ 149 w 270"/>
                <a:gd name="T8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0" h="270">
                  <a:moveTo>
                    <a:pt x="135" y="240"/>
                  </a:moveTo>
                  <a:lnTo>
                    <a:pt x="124" y="240"/>
                  </a:lnTo>
                  <a:lnTo>
                    <a:pt x="114" y="238"/>
                  </a:lnTo>
                  <a:lnTo>
                    <a:pt x="104" y="236"/>
                  </a:lnTo>
                  <a:lnTo>
                    <a:pt x="94" y="232"/>
                  </a:lnTo>
                  <a:lnTo>
                    <a:pt x="85" y="227"/>
                  </a:lnTo>
                  <a:lnTo>
                    <a:pt x="76" y="222"/>
                  </a:lnTo>
                  <a:lnTo>
                    <a:pt x="69" y="217"/>
                  </a:lnTo>
                  <a:lnTo>
                    <a:pt x="61" y="209"/>
                  </a:lnTo>
                  <a:lnTo>
                    <a:pt x="54" y="202"/>
                  </a:lnTo>
                  <a:lnTo>
                    <a:pt x="48" y="194"/>
                  </a:lnTo>
                  <a:lnTo>
                    <a:pt x="43" y="186"/>
                  </a:lnTo>
                  <a:lnTo>
                    <a:pt x="39" y="176"/>
                  </a:lnTo>
                  <a:lnTo>
                    <a:pt x="34" y="166"/>
                  </a:lnTo>
                  <a:lnTo>
                    <a:pt x="32" y="157"/>
                  </a:lnTo>
                  <a:lnTo>
                    <a:pt x="30" y="146"/>
                  </a:lnTo>
                  <a:lnTo>
                    <a:pt x="30" y="135"/>
                  </a:lnTo>
                  <a:lnTo>
                    <a:pt x="30" y="125"/>
                  </a:lnTo>
                  <a:lnTo>
                    <a:pt x="32" y="114"/>
                  </a:lnTo>
                  <a:lnTo>
                    <a:pt x="34" y="104"/>
                  </a:lnTo>
                  <a:lnTo>
                    <a:pt x="39" y="95"/>
                  </a:lnTo>
                  <a:lnTo>
                    <a:pt x="43" y="85"/>
                  </a:lnTo>
                  <a:lnTo>
                    <a:pt x="48" y="76"/>
                  </a:lnTo>
                  <a:lnTo>
                    <a:pt x="54" y="69"/>
                  </a:lnTo>
                  <a:lnTo>
                    <a:pt x="61" y="61"/>
                  </a:lnTo>
                  <a:lnTo>
                    <a:pt x="69" y="54"/>
                  </a:lnTo>
                  <a:lnTo>
                    <a:pt x="76" y="48"/>
                  </a:lnTo>
                  <a:lnTo>
                    <a:pt x="85" y="43"/>
                  </a:lnTo>
                  <a:lnTo>
                    <a:pt x="94" y="39"/>
                  </a:lnTo>
                  <a:lnTo>
                    <a:pt x="104" y="34"/>
                  </a:lnTo>
                  <a:lnTo>
                    <a:pt x="114" y="32"/>
                  </a:lnTo>
                  <a:lnTo>
                    <a:pt x="124" y="30"/>
                  </a:lnTo>
                  <a:lnTo>
                    <a:pt x="135" y="30"/>
                  </a:lnTo>
                  <a:lnTo>
                    <a:pt x="146" y="30"/>
                  </a:lnTo>
                  <a:lnTo>
                    <a:pt x="157" y="32"/>
                  </a:lnTo>
                  <a:lnTo>
                    <a:pt x="166" y="34"/>
                  </a:lnTo>
                  <a:lnTo>
                    <a:pt x="176" y="39"/>
                  </a:lnTo>
                  <a:lnTo>
                    <a:pt x="186" y="43"/>
                  </a:lnTo>
                  <a:lnTo>
                    <a:pt x="194" y="48"/>
                  </a:lnTo>
                  <a:lnTo>
                    <a:pt x="202" y="54"/>
                  </a:lnTo>
                  <a:lnTo>
                    <a:pt x="209" y="61"/>
                  </a:lnTo>
                  <a:lnTo>
                    <a:pt x="217" y="69"/>
                  </a:lnTo>
                  <a:lnTo>
                    <a:pt x="222" y="76"/>
                  </a:lnTo>
                  <a:lnTo>
                    <a:pt x="227" y="85"/>
                  </a:lnTo>
                  <a:lnTo>
                    <a:pt x="232" y="95"/>
                  </a:lnTo>
                  <a:lnTo>
                    <a:pt x="236" y="104"/>
                  </a:lnTo>
                  <a:lnTo>
                    <a:pt x="238" y="114"/>
                  </a:lnTo>
                  <a:lnTo>
                    <a:pt x="240" y="125"/>
                  </a:lnTo>
                  <a:lnTo>
                    <a:pt x="240" y="135"/>
                  </a:lnTo>
                  <a:lnTo>
                    <a:pt x="240" y="146"/>
                  </a:lnTo>
                  <a:lnTo>
                    <a:pt x="238" y="157"/>
                  </a:lnTo>
                  <a:lnTo>
                    <a:pt x="236" y="166"/>
                  </a:lnTo>
                  <a:lnTo>
                    <a:pt x="232" y="176"/>
                  </a:lnTo>
                  <a:lnTo>
                    <a:pt x="227" y="186"/>
                  </a:lnTo>
                  <a:lnTo>
                    <a:pt x="222" y="194"/>
                  </a:lnTo>
                  <a:lnTo>
                    <a:pt x="217" y="202"/>
                  </a:lnTo>
                  <a:lnTo>
                    <a:pt x="209" y="209"/>
                  </a:lnTo>
                  <a:lnTo>
                    <a:pt x="202" y="217"/>
                  </a:lnTo>
                  <a:lnTo>
                    <a:pt x="194" y="222"/>
                  </a:lnTo>
                  <a:lnTo>
                    <a:pt x="186" y="227"/>
                  </a:lnTo>
                  <a:lnTo>
                    <a:pt x="176" y="232"/>
                  </a:lnTo>
                  <a:lnTo>
                    <a:pt x="166" y="236"/>
                  </a:lnTo>
                  <a:lnTo>
                    <a:pt x="157" y="238"/>
                  </a:lnTo>
                  <a:lnTo>
                    <a:pt x="146" y="240"/>
                  </a:lnTo>
                  <a:lnTo>
                    <a:pt x="135" y="240"/>
                  </a:lnTo>
                  <a:close/>
                  <a:moveTo>
                    <a:pt x="135" y="0"/>
                  </a:moveTo>
                  <a:lnTo>
                    <a:pt x="121" y="0"/>
                  </a:lnTo>
                  <a:lnTo>
                    <a:pt x="108" y="2"/>
                  </a:lnTo>
                  <a:lnTo>
                    <a:pt x="94" y="7"/>
                  </a:lnTo>
                  <a:lnTo>
                    <a:pt x="83" y="11"/>
                  </a:lnTo>
                  <a:lnTo>
                    <a:pt x="71" y="16"/>
                  </a:lnTo>
                  <a:lnTo>
                    <a:pt x="59" y="23"/>
                  </a:lnTo>
                  <a:lnTo>
                    <a:pt x="49" y="31"/>
                  </a:lnTo>
                  <a:lnTo>
                    <a:pt x="40" y="40"/>
                  </a:lnTo>
                  <a:lnTo>
                    <a:pt x="31" y="49"/>
                  </a:lnTo>
                  <a:lnTo>
                    <a:pt x="23" y="60"/>
                  </a:lnTo>
                  <a:lnTo>
                    <a:pt x="16" y="71"/>
                  </a:lnTo>
                  <a:lnTo>
                    <a:pt x="11" y="83"/>
                  </a:lnTo>
                  <a:lnTo>
                    <a:pt x="5" y="96"/>
                  </a:lnTo>
                  <a:lnTo>
                    <a:pt x="2" y="108"/>
                  </a:lnTo>
                  <a:lnTo>
                    <a:pt x="0" y="121"/>
                  </a:lnTo>
                  <a:lnTo>
                    <a:pt x="0" y="135"/>
                  </a:lnTo>
                  <a:lnTo>
                    <a:pt x="0" y="149"/>
                  </a:lnTo>
                  <a:lnTo>
                    <a:pt x="2" y="162"/>
                  </a:lnTo>
                  <a:lnTo>
                    <a:pt x="5" y="175"/>
                  </a:lnTo>
                  <a:lnTo>
                    <a:pt x="11" y="188"/>
                  </a:lnTo>
                  <a:lnTo>
                    <a:pt x="16" y="200"/>
                  </a:lnTo>
                  <a:lnTo>
                    <a:pt x="23" y="210"/>
                  </a:lnTo>
                  <a:lnTo>
                    <a:pt x="31" y="221"/>
                  </a:lnTo>
                  <a:lnTo>
                    <a:pt x="40" y="231"/>
                  </a:lnTo>
                  <a:lnTo>
                    <a:pt x="49" y="239"/>
                  </a:lnTo>
                  <a:lnTo>
                    <a:pt x="59" y="248"/>
                  </a:lnTo>
                  <a:lnTo>
                    <a:pt x="71" y="254"/>
                  </a:lnTo>
                  <a:lnTo>
                    <a:pt x="83" y="260"/>
                  </a:lnTo>
                  <a:lnTo>
                    <a:pt x="94" y="265"/>
                  </a:lnTo>
                  <a:lnTo>
                    <a:pt x="108" y="268"/>
                  </a:lnTo>
                  <a:lnTo>
                    <a:pt x="121" y="270"/>
                  </a:lnTo>
                  <a:lnTo>
                    <a:pt x="135" y="270"/>
                  </a:lnTo>
                  <a:lnTo>
                    <a:pt x="149" y="270"/>
                  </a:lnTo>
                  <a:lnTo>
                    <a:pt x="162" y="268"/>
                  </a:lnTo>
                  <a:lnTo>
                    <a:pt x="175" y="265"/>
                  </a:lnTo>
                  <a:lnTo>
                    <a:pt x="188" y="260"/>
                  </a:lnTo>
                  <a:lnTo>
                    <a:pt x="200" y="254"/>
                  </a:lnTo>
                  <a:lnTo>
                    <a:pt x="210" y="248"/>
                  </a:lnTo>
                  <a:lnTo>
                    <a:pt x="221" y="239"/>
                  </a:lnTo>
                  <a:lnTo>
                    <a:pt x="231" y="231"/>
                  </a:lnTo>
                  <a:lnTo>
                    <a:pt x="239" y="221"/>
                  </a:lnTo>
                  <a:lnTo>
                    <a:pt x="248" y="210"/>
                  </a:lnTo>
                  <a:lnTo>
                    <a:pt x="254" y="200"/>
                  </a:lnTo>
                  <a:lnTo>
                    <a:pt x="260" y="188"/>
                  </a:lnTo>
                  <a:lnTo>
                    <a:pt x="264" y="175"/>
                  </a:lnTo>
                  <a:lnTo>
                    <a:pt x="268" y="162"/>
                  </a:lnTo>
                  <a:lnTo>
                    <a:pt x="269" y="149"/>
                  </a:lnTo>
                  <a:lnTo>
                    <a:pt x="270" y="135"/>
                  </a:lnTo>
                  <a:lnTo>
                    <a:pt x="269" y="121"/>
                  </a:lnTo>
                  <a:lnTo>
                    <a:pt x="268" y="108"/>
                  </a:lnTo>
                  <a:lnTo>
                    <a:pt x="264" y="96"/>
                  </a:lnTo>
                  <a:lnTo>
                    <a:pt x="260" y="83"/>
                  </a:lnTo>
                  <a:lnTo>
                    <a:pt x="254" y="71"/>
                  </a:lnTo>
                  <a:lnTo>
                    <a:pt x="248" y="60"/>
                  </a:lnTo>
                  <a:lnTo>
                    <a:pt x="239" y="49"/>
                  </a:lnTo>
                  <a:lnTo>
                    <a:pt x="231" y="40"/>
                  </a:lnTo>
                  <a:lnTo>
                    <a:pt x="221" y="31"/>
                  </a:lnTo>
                  <a:lnTo>
                    <a:pt x="210" y="23"/>
                  </a:lnTo>
                  <a:lnTo>
                    <a:pt x="200" y="16"/>
                  </a:lnTo>
                  <a:lnTo>
                    <a:pt x="188" y="11"/>
                  </a:lnTo>
                  <a:lnTo>
                    <a:pt x="175" y="7"/>
                  </a:lnTo>
                  <a:lnTo>
                    <a:pt x="162" y="2"/>
                  </a:lnTo>
                  <a:lnTo>
                    <a:pt x="149"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17">
              <a:extLst>
                <a:ext uri="{FF2B5EF4-FFF2-40B4-BE49-F238E27FC236}">
                  <a16:creationId xmlns:a16="http://schemas.microsoft.com/office/drawing/2014/main" id="{8900B7A5-FD82-4E19-8A7C-6289537FCDDD}"/>
                </a:ext>
              </a:extLst>
            </p:cNvPr>
            <p:cNvSpPr>
              <a:spLocks noEditPoints="1"/>
            </p:cNvSpPr>
            <p:nvPr/>
          </p:nvSpPr>
          <p:spPr bwMode="auto">
            <a:xfrm>
              <a:off x="7037388" y="3766820"/>
              <a:ext cx="47625" cy="47625"/>
            </a:xfrm>
            <a:custGeom>
              <a:avLst/>
              <a:gdLst>
                <a:gd name="T0" fmla="*/ 66 w 150"/>
                <a:gd name="T1" fmla="*/ 119 h 150"/>
                <a:gd name="T2" fmla="*/ 50 w 150"/>
                <a:gd name="T3" fmla="*/ 113 h 150"/>
                <a:gd name="T4" fmla="*/ 38 w 150"/>
                <a:gd name="T5" fmla="*/ 100 h 150"/>
                <a:gd name="T6" fmla="*/ 31 w 150"/>
                <a:gd name="T7" fmla="*/ 84 h 150"/>
                <a:gd name="T8" fmla="*/ 31 w 150"/>
                <a:gd name="T9" fmla="*/ 66 h 150"/>
                <a:gd name="T10" fmla="*/ 38 w 150"/>
                <a:gd name="T11" fmla="*/ 49 h 150"/>
                <a:gd name="T12" fmla="*/ 50 w 150"/>
                <a:gd name="T13" fmla="*/ 38 h 150"/>
                <a:gd name="T14" fmla="*/ 66 w 150"/>
                <a:gd name="T15" fmla="*/ 31 h 150"/>
                <a:gd name="T16" fmla="*/ 84 w 150"/>
                <a:gd name="T17" fmla="*/ 31 h 150"/>
                <a:gd name="T18" fmla="*/ 101 w 150"/>
                <a:gd name="T19" fmla="*/ 38 h 150"/>
                <a:gd name="T20" fmla="*/ 112 w 150"/>
                <a:gd name="T21" fmla="*/ 49 h 150"/>
                <a:gd name="T22" fmla="*/ 120 w 150"/>
                <a:gd name="T23" fmla="*/ 66 h 150"/>
                <a:gd name="T24" fmla="*/ 120 w 150"/>
                <a:gd name="T25" fmla="*/ 84 h 150"/>
                <a:gd name="T26" fmla="*/ 112 w 150"/>
                <a:gd name="T27" fmla="*/ 100 h 150"/>
                <a:gd name="T28" fmla="*/ 101 w 150"/>
                <a:gd name="T29" fmla="*/ 113 h 150"/>
                <a:gd name="T30" fmla="*/ 84 w 150"/>
                <a:gd name="T31" fmla="*/ 119 h 150"/>
                <a:gd name="T32" fmla="*/ 75 w 150"/>
                <a:gd name="T33" fmla="*/ 0 h 150"/>
                <a:gd name="T34" fmla="*/ 60 w 150"/>
                <a:gd name="T35" fmla="*/ 1 h 150"/>
                <a:gd name="T36" fmla="*/ 46 w 150"/>
                <a:gd name="T37" fmla="*/ 5 h 150"/>
                <a:gd name="T38" fmla="*/ 33 w 150"/>
                <a:gd name="T39" fmla="*/ 13 h 150"/>
                <a:gd name="T40" fmla="*/ 22 w 150"/>
                <a:gd name="T41" fmla="*/ 22 h 150"/>
                <a:gd name="T42" fmla="*/ 13 w 150"/>
                <a:gd name="T43" fmla="*/ 33 h 150"/>
                <a:gd name="T44" fmla="*/ 6 w 150"/>
                <a:gd name="T45" fmla="*/ 46 h 150"/>
                <a:gd name="T46" fmla="*/ 2 w 150"/>
                <a:gd name="T47" fmla="*/ 60 h 150"/>
                <a:gd name="T48" fmla="*/ 0 w 150"/>
                <a:gd name="T49" fmla="*/ 75 h 150"/>
                <a:gd name="T50" fmla="*/ 2 w 150"/>
                <a:gd name="T51" fmla="*/ 90 h 150"/>
                <a:gd name="T52" fmla="*/ 6 w 150"/>
                <a:gd name="T53" fmla="*/ 104 h 150"/>
                <a:gd name="T54" fmla="*/ 13 w 150"/>
                <a:gd name="T55" fmla="*/ 117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1 w 150"/>
                <a:gd name="T67" fmla="*/ 149 h 150"/>
                <a:gd name="T68" fmla="*/ 105 w 150"/>
                <a:gd name="T69" fmla="*/ 144 h 150"/>
                <a:gd name="T70" fmla="*/ 118 w 150"/>
                <a:gd name="T71" fmla="*/ 137 h 150"/>
                <a:gd name="T72" fmla="*/ 128 w 150"/>
                <a:gd name="T73" fmla="*/ 128 h 150"/>
                <a:gd name="T74" fmla="*/ 138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8 w 150"/>
                <a:gd name="T89" fmla="*/ 22 h 150"/>
                <a:gd name="T90" fmla="*/ 118 w 150"/>
                <a:gd name="T91" fmla="*/ 13 h 150"/>
                <a:gd name="T92" fmla="*/ 105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4" y="107"/>
                  </a:lnTo>
                  <a:lnTo>
                    <a:pt x="38" y="100"/>
                  </a:lnTo>
                  <a:lnTo>
                    <a:pt x="34" y="92"/>
                  </a:lnTo>
                  <a:lnTo>
                    <a:pt x="31" y="84"/>
                  </a:lnTo>
                  <a:lnTo>
                    <a:pt x="30" y="75"/>
                  </a:lnTo>
                  <a:lnTo>
                    <a:pt x="31" y="66"/>
                  </a:lnTo>
                  <a:lnTo>
                    <a:pt x="34" y="57"/>
                  </a:lnTo>
                  <a:lnTo>
                    <a:pt x="38" y="49"/>
                  </a:lnTo>
                  <a:lnTo>
                    <a:pt x="44" y="43"/>
                  </a:lnTo>
                  <a:lnTo>
                    <a:pt x="50" y="38"/>
                  </a:lnTo>
                  <a:lnTo>
                    <a:pt x="58" y="33"/>
                  </a:lnTo>
                  <a:lnTo>
                    <a:pt x="66" y="31"/>
                  </a:lnTo>
                  <a:lnTo>
                    <a:pt x="75" y="30"/>
                  </a:lnTo>
                  <a:lnTo>
                    <a:pt x="84" y="31"/>
                  </a:lnTo>
                  <a:lnTo>
                    <a:pt x="93" y="33"/>
                  </a:lnTo>
                  <a:lnTo>
                    <a:pt x="101" y="38"/>
                  </a:lnTo>
                  <a:lnTo>
                    <a:pt x="107" y="43"/>
                  </a:lnTo>
                  <a:lnTo>
                    <a:pt x="112" y="49"/>
                  </a:lnTo>
                  <a:lnTo>
                    <a:pt x="117" y="57"/>
                  </a:lnTo>
                  <a:lnTo>
                    <a:pt x="120" y="66"/>
                  </a:lnTo>
                  <a:lnTo>
                    <a:pt x="120" y="75"/>
                  </a:lnTo>
                  <a:lnTo>
                    <a:pt x="120" y="84"/>
                  </a:lnTo>
                  <a:lnTo>
                    <a:pt x="117" y="92"/>
                  </a:lnTo>
                  <a:lnTo>
                    <a:pt x="112" y="100"/>
                  </a:lnTo>
                  <a:lnTo>
                    <a:pt x="107" y="107"/>
                  </a:lnTo>
                  <a:lnTo>
                    <a:pt x="101" y="113"/>
                  </a:lnTo>
                  <a:lnTo>
                    <a:pt x="93" y="117"/>
                  </a:lnTo>
                  <a:lnTo>
                    <a:pt x="84" y="119"/>
                  </a:lnTo>
                  <a:lnTo>
                    <a:pt x="75" y="120"/>
                  </a:lnTo>
                  <a:close/>
                  <a:moveTo>
                    <a:pt x="75" y="0"/>
                  </a:moveTo>
                  <a:lnTo>
                    <a:pt x="67" y="0"/>
                  </a:lnTo>
                  <a:lnTo>
                    <a:pt x="60" y="1"/>
                  </a:lnTo>
                  <a:lnTo>
                    <a:pt x="53" y="3"/>
                  </a:lnTo>
                  <a:lnTo>
                    <a:pt x="46" y="5"/>
                  </a:lnTo>
                  <a:lnTo>
                    <a:pt x="39" y="9"/>
                  </a:lnTo>
                  <a:lnTo>
                    <a:pt x="33" y="13"/>
                  </a:lnTo>
                  <a:lnTo>
                    <a:pt x="28" y="17"/>
                  </a:lnTo>
                  <a:lnTo>
                    <a:pt x="22" y="22"/>
                  </a:lnTo>
                  <a:lnTo>
                    <a:pt x="17" y="27"/>
                  </a:lnTo>
                  <a:lnTo>
                    <a:pt x="13" y="33"/>
                  </a:lnTo>
                  <a:lnTo>
                    <a:pt x="9" y="39"/>
                  </a:lnTo>
                  <a:lnTo>
                    <a:pt x="6" y="46"/>
                  </a:lnTo>
                  <a:lnTo>
                    <a:pt x="3" y="53"/>
                  </a:lnTo>
                  <a:lnTo>
                    <a:pt x="2" y="60"/>
                  </a:lnTo>
                  <a:lnTo>
                    <a:pt x="1" y="68"/>
                  </a:lnTo>
                  <a:lnTo>
                    <a:pt x="0" y="75"/>
                  </a:lnTo>
                  <a:lnTo>
                    <a:pt x="1" y="83"/>
                  </a:lnTo>
                  <a:lnTo>
                    <a:pt x="2" y="90"/>
                  </a:lnTo>
                  <a:lnTo>
                    <a:pt x="3" y="98"/>
                  </a:lnTo>
                  <a:lnTo>
                    <a:pt x="6" y="104"/>
                  </a:lnTo>
                  <a:lnTo>
                    <a:pt x="9" y="111"/>
                  </a:lnTo>
                  <a:lnTo>
                    <a:pt x="13" y="117"/>
                  </a:lnTo>
                  <a:lnTo>
                    <a:pt x="17" y="122"/>
                  </a:lnTo>
                  <a:lnTo>
                    <a:pt x="22" y="128"/>
                  </a:lnTo>
                  <a:lnTo>
                    <a:pt x="28" y="133"/>
                  </a:lnTo>
                  <a:lnTo>
                    <a:pt x="33" y="137"/>
                  </a:lnTo>
                  <a:lnTo>
                    <a:pt x="39" y="141"/>
                  </a:lnTo>
                  <a:lnTo>
                    <a:pt x="46" y="144"/>
                  </a:lnTo>
                  <a:lnTo>
                    <a:pt x="53" y="147"/>
                  </a:lnTo>
                  <a:lnTo>
                    <a:pt x="60" y="149"/>
                  </a:lnTo>
                  <a:lnTo>
                    <a:pt x="67" y="150"/>
                  </a:lnTo>
                  <a:lnTo>
                    <a:pt x="75" y="150"/>
                  </a:lnTo>
                  <a:lnTo>
                    <a:pt x="83" y="150"/>
                  </a:lnTo>
                  <a:lnTo>
                    <a:pt x="91" y="149"/>
                  </a:lnTo>
                  <a:lnTo>
                    <a:pt x="97" y="147"/>
                  </a:lnTo>
                  <a:lnTo>
                    <a:pt x="105" y="144"/>
                  </a:lnTo>
                  <a:lnTo>
                    <a:pt x="111" y="141"/>
                  </a:lnTo>
                  <a:lnTo>
                    <a:pt x="118" y="137"/>
                  </a:lnTo>
                  <a:lnTo>
                    <a:pt x="123" y="133"/>
                  </a:lnTo>
                  <a:lnTo>
                    <a:pt x="128" y="128"/>
                  </a:lnTo>
                  <a:lnTo>
                    <a:pt x="133" y="122"/>
                  </a:lnTo>
                  <a:lnTo>
                    <a:pt x="138" y="117"/>
                  </a:lnTo>
                  <a:lnTo>
                    <a:pt x="141" y="111"/>
                  </a:lnTo>
                  <a:lnTo>
                    <a:pt x="145" y="104"/>
                  </a:lnTo>
                  <a:lnTo>
                    <a:pt x="147" y="98"/>
                  </a:lnTo>
                  <a:lnTo>
                    <a:pt x="149" y="90"/>
                  </a:lnTo>
                  <a:lnTo>
                    <a:pt x="150" y="83"/>
                  </a:lnTo>
                  <a:lnTo>
                    <a:pt x="150" y="75"/>
                  </a:lnTo>
                  <a:lnTo>
                    <a:pt x="150" y="68"/>
                  </a:lnTo>
                  <a:lnTo>
                    <a:pt x="149" y="60"/>
                  </a:lnTo>
                  <a:lnTo>
                    <a:pt x="147" y="53"/>
                  </a:lnTo>
                  <a:lnTo>
                    <a:pt x="145" y="46"/>
                  </a:lnTo>
                  <a:lnTo>
                    <a:pt x="141" y="39"/>
                  </a:lnTo>
                  <a:lnTo>
                    <a:pt x="137" y="33"/>
                  </a:lnTo>
                  <a:lnTo>
                    <a:pt x="133" y="27"/>
                  </a:lnTo>
                  <a:lnTo>
                    <a:pt x="128" y="22"/>
                  </a:lnTo>
                  <a:lnTo>
                    <a:pt x="123" y="17"/>
                  </a:lnTo>
                  <a:lnTo>
                    <a:pt x="118" y="13"/>
                  </a:lnTo>
                  <a:lnTo>
                    <a:pt x="111" y="9"/>
                  </a:lnTo>
                  <a:lnTo>
                    <a:pt x="105" y="5"/>
                  </a:lnTo>
                  <a:lnTo>
                    <a:pt x="97"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6" name="Group 222">
            <a:extLst>
              <a:ext uri="{FF2B5EF4-FFF2-40B4-BE49-F238E27FC236}">
                <a16:creationId xmlns:a16="http://schemas.microsoft.com/office/drawing/2014/main" id="{9FC59F34-592E-41D0-BE8B-BE00108AF981}"/>
              </a:ext>
            </a:extLst>
          </p:cNvPr>
          <p:cNvGrpSpPr>
            <a:grpSpLocks noChangeAspect="1"/>
          </p:cNvGrpSpPr>
          <p:nvPr/>
        </p:nvGrpSpPr>
        <p:grpSpPr>
          <a:xfrm>
            <a:off x="7471899" y="5956111"/>
            <a:ext cx="285619" cy="285619"/>
            <a:chOff x="10453688" y="3642995"/>
            <a:chExt cx="285750" cy="285750"/>
          </a:xfrm>
          <a:solidFill>
            <a:schemeClr val="bg2"/>
          </a:solidFill>
          <a:effectLst/>
        </p:grpSpPr>
        <p:sp>
          <p:nvSpPr>
            <p:cNvPr id="1447" name="Freeform 363">
              <a:extLst>
                <a:ext uri="{FF2B5EF4-FFF2-40B4-BE49-F238E27FC236}">
                  <a16:creationId xmlns:a16="http://schemas.microsoft.com/office/drawing/2014/main" id="{70506F7A-DFBA-4A20-BCD4-E85CFCA0DA84}"/>
                </a:ext>
              </a:extLst>
            </p:cNvPr>
            <p:cNvSpPr>
              <a:spLocks noEditPoints="1"/>
            </p:cNvSpPr>
            <p:nvPr/>
          </p:nvSpPr>
          <p:spPr bwMode="auto">
            <a:xfrm>
              <a:off x="10453688" y="3642995"/>
              <a:ext cx="285750" cy="285750"/>
            </a:xfrm>
            <a:custGeom>
              <a:avLst/>
              <a:gdLst>
                <a:gd name="T0" fmla="*/ 708 w 902"/>
                <a:gd name="T1" fmla="*/ 631 h 902"/>
                <a:gd name="T2" fmla="*/ 60 w 902"/>
                <a:gd name="T3" fmla="*/ 631 h 902"/>
                <a:gd name="T4" fmla="*/ 75 w 902"/>
                <a:gd name="T5" fmla="*/ 721 h 902"/>
                <a:gd name="T6" fmla="*/ 35 w 902"/>
                <a:gd name="T7" fmla="*/ 694 h 902"/>
                <a:gd name="T8" fmla="*/ 871 w 902"/>
                <a:gd name="T9" fmla="*/ 685 h 902"/>
                <a:gd name="T10" fmla="*/ 836 w 902"/>
                <a:gd name="T11" fmla="*/ 720 h 902"/>
                <a:gd name="T12" fmla="*/ 762 w 902"/>
                <a:gd name="T13" fmla="*/ 858 h 902"/>
                <a:gd name="T14" fmla="*/ 682 w 902"/>
                <a:gd name="T15" fmla="*/ 662 h 902"/>
                <a:gd name="T16" fmla="*/ 718 w 902"/>
                <a:gd name="T17" fmla="*/ 785 h 902"/>
                <a:gd name="T18" fmla="*/ 203 w 902"/>
                <a:gd name="T19" fmla="*/ 730 h 902"/>
                <a:gd name="T20" fmla="*/ 83 w 902"/>
                <a:gd name="T21" fmla="*/ 481 h 902"/>
                <a:gd name="T22" fmla="*/ 392 w 902"/>
                <a:gd name="T23" fmla="*/ 30 h 902"/>
                <a:gd name="T24" fmla="*/ 355 w 902"/>
                <a:gd name="T25" fmla="*/ 133 h 902"/>
                <a:gd name="T26" fmla="*/ 326 w 902"/>
                <a:gd name="T27" fmla="*/ 179 h 902"/>
                <a:gd name="T28" fmla="*/ 318 w 902"/>
                <a:gd name="T29" fmla="*/ 236 h 902"/>
                <a:gd name="T30" fmla="*/ 334 w 902"/>
                <a:gd name="T31" fmla="*/ 288 h 902"/>
                <a:gd name="T32" fmla="*/ 368 w 902"/>
                <a:gd name="T33" fmla="*/ 330 h 902"/>
                <a:gd name="T34" fmla="*/ 90 w 902"/>
                <a:gd name="T35" fmla="*/ 135 h 902"/>
                <a:gd name="T36" fmla="*/ 109 w 902"/>
                <a:gd name="T37" fmla="*/ 77 h 902"/>
                <a:gd name="T38" fmla="*/ 156 w 902"/>
                <a:gd name="T39" fmla="*/ 38 h 902"/>
                <a:gd name="T40" fmla="*/ 467 w 902"/>
                <a:gd name="T41" fmla="*/ 358 h 902"/>
                <a:gd name="T42" fmla="*/ 452 w 902"/>
                <a:gd name="T43" fmla="*/ 359 h 902"/>
                <a:gd name="T44" fmla="*/ 502 w 902"/>
                <a:gd name="T45" fmla="*/ 132 h 902"/>
                <a:gd name="T46" fmla="*/ 545 w 902"/>
                <a:gd name="T47" fmla="*/ 174 h 902"/>
                <a:gd name="T48" fmla="*/ 558 w 902"/>
                <a:gd name="T49" fmla="*/ 237 h 902"/>
                <a:gd name="T50" fmla="*/ 534 w 902"/>
                <a:gd name="T51" fmla="*/ 294 h 902"/>
                <a:gd name="T52" fmla="*/ 483 w 902"/>
                <a:gd name="T53" fmla="*/ 328 h 902"/>
                <a:gd name="T54" fmla="*/ 420 w 902"/>
                <a:gd name="T55" fmla="*/ 328 h 902"/>
                <a:gd name="T56" fmla="*/ 369 w 902"/>
                <a:gd name="T57" fmla="*/ 294 h 902"/>
                <a:gd name="T58" fmla="*/ 346 w 902"/>
                <a:gd name="T59" fmla="*/ 237 h 902"/>
                <a:gd name="T60" fmla="*/ 357 w 902"/>
                <a:gd name="T61" fmla="*/ 174 h 902"/>
                <a:gd name="T62" fmla="*/ 400 w 902"/>
                <a:gd name="T63" fmla="*/ 132 h 902"/>
                <a:gd name="T64" fmla="*/ 452 w 902"/>
                <a:gd name="T65" fmla="*/ 92 h 902"/>
                <a:gd name="T66" fmla="*/ 467 w 902"/>
                <a:gd name="T67" fmla="*/ 93 h 902"/>
                <a:gd name="T68" fmla="*/ 519 w 902"/>
                <a:gd name="T69" fmla="*/ 341 h 902"/>
                <a:gd name="T70" fmla="*/ 560 w 902"/>
                <a:gd name="T71" fmla="*/ 304 h 902"/>
                <a:gd name="T72" fmla="*/ 583 w 902"/>
                <a:gd name="T73" fmla="*/ 254 h 902"/>
                <a:gd name="T74" fmla="*/ 583 w 902"/>
                <a:gd name="T75" fmla="*/ 197 h 902"/>
                <a:gd name="T76" fmla="*/ 560 w 902"/>
                <a:gd name="T77" fmla="*/ 147 h 902"/>
                <a:gd name="T78" fmla="*/ 519 w 902"/>
                <a:gd name="T79" fmla="*/ 110 h 902"/>
                <a:gd name="T80" fmla="*/ 750 w 902"/>
                <a:gd name="T81" fmla="*/ 34 h 902"/>
                <a:gd name="T82" fmla="*/ 793 w 902"/>
                <a:gd name="T83" fmla="*/ 67 h 902"/>
                <a:gd name="T84" fmla="*/ 812 w 902"/>
                <a:gd name="T85" fmla="*/ 124 h 902"/>
                <a:gd name="T86" fmla="*/ 837 w 902"/>
                <a:gd name="T87" fmla="*/ 94 h 902"/>
                <a:gd name="T88" fmla="*/ 800 w 902"/>
                <a:gd name="T89" fmla="*/ 30 h 902"/>
                <a:gd name="T90" fmla="*/ 735 w 902"/>
                <a:gd name="T91" fmla="*/ 1 h 902"/>
                <a:gd name="T92" fmla="*/ 143 w 902"/>
                <a:gd name="T93" fmla="*/ 10 h 902"/>
                <a:gd name="T94" fmla="*/ 84 w 902"/>
                <a:gd name="T95" fmla="*/ 60 h 902"/>
                <a:gd name="T96" fmla="*/ 60 w 902"/>
                <a:gd name="T97" fmla="*/ 135 h 902"/>
                <a:gd name="T98" fmla="*/ 4 w 902"/>
                <a:gd name="T99" fmla="*/ 698 h 902"/>
                <a:gd name="T100" fmla="*/ 28 w 902"/>
                <a:gd name="T101" fmla="*/ 734 h 902"/>
                <a:gd name="T102" fmla="*/ 68 w 902"/>
                <a:gd name="T103" fmla="*/ 751 h 902"/>
                <a:gd name="T104" fmla="*/ 130 w 902"/>
                <a:gd name="T105" fmla="*/ 815 h 902"/>
                <a:gd name="T106" fmla="*/ 853 w 902"/>
                <a:gd name="T107" fmla="*/ 902 h 902"/>
                <a:gd name="T108" fmla="*/ 761 w 902"/>
                <a:gd name="T109" fmla="*/ 801 h 902"/>
                <a:gd name="T110" fmla="*/ 843 w 902"/>
                <a:gd name="T111" fmla="*/ 749 h 902"/>
                <a:gd name="T112" fmla="*/ 881 w 902"/>
                <a:gd name="T113" fmla="*/ 728 h 902"/>
                <a:gd name="T114" fmla="*/ 901 w 902"/>
                <a:gd name="T115" fmla="*/ 69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827" y="721"/>
                  </a:moveTo>
                  <a:lnTo>
                    <a:pt x="726" y="721"/>
                  </a:lnTo>
                  <a:lnTo>
                    <a:pt x="719" y="695"/>
                  </a:lnTo>
                  <a:lnTo>
                    <a:pt x="713" y="669"/>
                  </a:lnTo>
                  <a:lnTo>
                    <a:pt x="710" y="648"/>
                  </a:lnTo>
                  <a:lnTo>
                    <a:pt x="708" y="631"/>
                  </a:lnTo>
                  <a:lnTo>
                    <a:pt x="842" y="631"/>
                  </a:lnTo>
                  <a:lnTo>
                    <a:pt x="842" y="601"/>
                  </a:lnTo>
                  <a:lnTo>
                    <a:pt x="707" y="601"/>
                  </a:lnTo>
                  <a:lnTo>
                    <a:pt x="197" y="601"/>
                  </a:lnTo>
                  <a:lnTo>
                    <a:pt x="60" y="601"/>
                  </a:lnTo>
                  <a:lnTo>
                    <a:pt x="60" y="631"/>
                  </a:lnTo>
                  <a:lnTo>
                    <a:pt x="194" y="631"/>
                  </a:lnTo>
                  <a:lnTo>
                    <a:pt x="192" y="647"/>
                  </a:lnTo>
                  <a:lnTo>
                    <a:pt x="188" y="669"/>
                  </a:lnTo>
                  <a:lnTo>
                    <a:pt x="183" y="694"/>
                  </a:lnTo>
                  <a:lnTo>
                    <a:pt x="174" y="721"/>
                  </a:lnTo>
                  <a:lnTo>
                    <a:pt x="75" y="721"/>
                  </a:lnTo>
                  <a:lnTo>
                    <a:pt x="67" y="720"/>
                  </a:lnTo>
                  <a:lnTo>
                    <a:pt x="59" y="718"/>
                  </a:lnTo>
                  <a:lnTo>
                    <a:pt x="51" y="714"/>
                  </a:lnTo>
                  <a:lnTo>
                    <a:pt x="44" y="707"/>
                  </a:lnTo>
                  <a:lnTo>
                    <a:pt x="39" y="701"/>
                  </a:lnTo>
                  <a:lnTo>
                    <a:pt x="35" y="694"/>
                  </a:lnTo>
                  <a:lnTo>
                    <a:pt x="31" y="685"/>
                  </a:lnTo>
                  <a:lnTo>
                    <a:pt x="30" y="676"/>
                  </a:lnTo>
                  <a:lnTo>
                    <a:pt x="30" y="576"/>
                  </a:lnTo>
                  <a:lnTo>
                    <a:pt x="872" y="576"/>
                  </a:lnTo>
                  <a:lnTo>
                    <a:pt x="872" y="676"/>
                  </a:lnTo>
                  <a:lnTo>
                    <a:pt x="871" y="685"/>
                  </a:lnTo>
                  <a:lnTo>
                    <a:pt x="869" y="692"/>
                  </a:lnTo>
                  <a:lnTo>
                    <a:pt x="865" y="700"/>
                  </a:lnTo>
                  <a:lnTo>
                    <a:pt x="858" y="707"/>
                  </a:lnTo>
                  <a:lnTo>
                    <a:pt x="852" y="713"/>
                  </a:lnTo>
                  <a:lnTo>
                    <a:pt x="844" y="717"/>
                  </a:lnTo>
                  <a:lnTo>
                    <a:pt x="836" y="720"/>
                  </a:lnTo>
                  <a:lnTo>
                    <a:pt x="827" y="721"/>
                  </a:lnTo>
                  <a:close/>
                  <a:moveTo>
                    <a:pt x="126" y="872"/>
                  </a:moveTo>
                  <a:lnTo>
                    <a:pt x="138" y="857"/>
                  </a:lnTo>
                  <a:lnTo>
                    <a:pt x="148" y="841"/>
                  </a:lnTo>
                  <a:lnTo>
                    <a:pt x="751" y="841"/>
                  </a:lnTo>
                  <a:lnTo>
                    <a:pt x="762" y="858"/>
                  </a:lnTo>
                  <a:lnTo>
                    <a:pt x="774" y="872"/>
                  </a:lnTo>
                  <a:lnTo>
                    <a:pt x="126" y="872"/>
                  </a:lnTo>
                  <a:close/>
                  <a:moveTo>
                    <a:pt x="224" y="631"/>
                  </a:moveTo>
                  <a:lnTo>
                    <a:pt x="678" y="631"/>
                  </a:lnTo>
                  <a:lnTo>
                    <a:pt x="679" y="645"/>
                  </a:lnTo>
                  <a:lnTo>
                    <a:pt x="682" y="662"/>
                  </a:lnTo>
                  <a:lnTo>
                    <a:pt x="686" y="684"/>
                  </a:lnTo>
                  <a:lnTo>
                    <a:pt x="691" y="706"/>
                  </a:lnTo>
                  <a:lnTo>
                    <a:pt x="698" y="731"/>
                  </a:lnTo>
                  <a:lnTo>
                    <a:pt x="707" y="758"/>
                  </a:lnTo>
                  <a:lnTo>
                    <a:pt x="712" y="771"/>
                  </a:lnTo>
                  <a:lnTo>
                    <a:pt x="718" y="785"/>
                  </a:lnTo>
                  <a:lnTo>
                    <a:pt x="724" y="799"/>
                  </a:lnTo>
                  <a:lnTo>
                    <a:pt x="732" y="811"/>
                  </a:lnTo>
                  <a:lnTo>
                    <a:pt x="167" y="811"/>
                  </a:lnTo>
                  <a:lnTo>
                    <a:pt x="182" y="784"/>
                  </a:lnTo>
                  <a:lnTo>
                    <a:pt x="193" y="756"/>
                  </a:lnTo>
                  <a:lnTo>
                    <a:pt x="203" y="730"/>
                  </a:lnTo>
                  <a:lnTo>
                    <a:pt x="211" y="704"/>
                  </a:lnTo>
                  <a:lnTo>
                    <a:pt x="217" y="682"/>
                  </a:lnTo>
                  <a:lnTo>
                    <a:pt x="220" y="662"/>
                  </a:lnTo>
                  <a:lnTo>
                    <a:pt x="223" y="645"/>
                  </a:lnTo>
                  <a:lnTo>
                    <a:pt x="224" y="631"/>
                  </a:lnTo>
                  <a:close/>
                  <a:moveTo>
                    <a:pt x="83" y="481"/>
                  </a:moveTo>
                  <a:lnTo>
                    <a:pt x="820" y="481"/>
                  </a:lnTo>
                  <a:lnTo>
                    <a:pt x="857" y="546"/>
                  </a:lnTo>
                  <a:lnTo>
                    <a:pt x="45" y="546"/>
                  </a:lnTo>
                  <a:lnTo>
                    <a:pt x="83" y="481"/>
                  </a:lnTo>
                  <a:close/>
                  <a:moveTo>
                    <a:pt x="196" y="30"/>
                  </a:moveTo>
                  <a:lnTo>
                    <a:pt x="392" y="30"/>
                  </a:lnTo>
                  <a:lnTo>
                    <a:pt x="392" y="106"/>
                  </a:lnTo>
                  <a:lnTo>
                    <a:pt x="383" y="110"/>
                  </a:lnTo>
                  <a:lnTo>
                    <a:pt x="376" y="116"/>
                  </a:lnTo>
                  <a:lnTo>
                    <a:pt x="368" y="121"/>
                  </a:lnTo>
                  <a:lnTo>
                    <a:pt x="362" y="127"/>
                  </a:lnTo>
                  <a:lnTo>
                    <a:pt x="355" y="133"/>
                  </a:lnTo>
                  <a:lnTo>
                    <a:pt x="349" y="140"/>
                  </a:lnTo>
                  <a:lnTo>
                    <a:pt x="343" y="147"/>
                  </a:lnTo>
                  <a:lnTo>
                    <a:pt x="338" y="154"/>
                  </a:lnTo>
                  <a:lnTo>
                    <a:pt x="334" y="163"/>
                  </a:lnTo>
                  <a:lnTo>
                    <a:pt x="330" y="170"/>
                  </a:lnTo>
                  <a:lnTo>
                    <a:pt x="326" y="179"/>
                  </a:lnTo>
                  <a:lnTo>
                    <a:pt x="323" y="188"/>
                  </a:lnTo>
                  <a:lnTo>
                    <a:pt x="321" y="197"/>
                  </a:lnTo>
                  <a:lnTo>
                    <a:pt x="319" y="207"/>
                  </a:lnTo>
                  <a:lnTo>
                    <a:pt x="318" y="216"/>
                  </a:lnTo>
                  <a:lnTo>
                    <a:pt x="318" y="226"/>
                  </a:lnTo>
                  <a:lnTo>
                    <a:pt x="318" y="236"/>
                  </a:lnTo>
                  <a:lnTo>
                    <a:pt x="319" y="244"/>
                  </a:lnTo>
                  <a:lnTo>
                    <a:pt x="321" y="254"/>
                  </a:lnTo>
                  <a:lnTo>
                    <a:pt x="323" y="264"/>
                  </a:lnTo>
                  <a:lnTo>
                    <a:pt x="326" y="272"/>
                  </a:lnTo>
                  <a:lnTo>
                    <a:pt x="330" y="281"/>
                  </a:lnTo>
                  <a:lnTo>
                    <a:pt x="334" y="288"/>
                  </a:lnTo>
                  <a:lnTo>
                    <a:pt x="338" y="297"/>
                  </a:lnTo>
                  <a:lnTo>
                    <a:pt x="343" y="304"/>
                  </a:lnTo>
                  <a:lnTo>
                    <a:pt x="349" y="311"/>
                  </a:lnTo>
                  <a:lnTo>
                    <a:pt x="355" y="318"/>
                  </a:lnTo>
                  <a:lnTo>
                    <a:pt x="362" y="325"/>
                  </a:lnTo>
                  <a:lnTo>
                    <a:pt x="368" y="330"/>
                  </a:lnTo>
                  <a:lnTo>
                    <a:pt x="376" y="335"/>
                  </a:lnTo>
                  <a:lnTo>
                    <a:pt x="383" y="341"/>
                  </a:lnTo>
                  <a:lnTo>
                    <a:pt x="392" y="345"/>
                  </a:lnTo>
                  <a:lnTo>
                    <a:pt x="392" y="451"/>
                  </a:lnTo>
                  <a:lnTo>
                    <a:pt x="90" y="451"/>
                  </a:lnTo>
                  <a:lnTo>
                    <a:pt x="90" y="135"/>
                  </a:lnTo>
                  <a:lnTo>
                    <a:pt x="92" y="125"/>
                  </a:lnTo>
                  <a:lnTo>
                    <a:pt x="93" y="114"/>
                  </a:lnTo>
                  <a:lnTo>
                    <a:pt x="96" y="105"/>
                  </a:lnTo>
                  <a:lnTo>
                    <a:pt x="99" y="95"/>
                  </a:lnTo>
                  <a:lnTo>
                    <a:pt x="103" y="85"/>
                  </a:lnTo>
                  <a:lnTo>
                    <a:pt x="109" y="77"/>
                  </a:lnTo>
                  <a:lnTo>
                    <a:pt x="115" y="68"/>
                  </a:lnTo>
                  <a:lnTo>
                    <a:pt x="122" y="61"/>
                  </a:lnTo>
                  <a:lnTo>
                    <a:pt x="129" y="54"/>
                  </a:lnTo>
                  <a:lnTo>
                    <a:pt x="138" y="48"/>
                  </a:lnTo>
                  <a:lnTo>
                    <a:pt x="146" y="43"/>
                  </a:lnTo>
                  <a:lnTo>
                    <a:pt x="156" y="38"/>
                  </a:lnTo>
                  <a:lnTo>
                    <a:pt x="165" y="35"/>
                  </a:lnTo>
                  <a:lnTo>
                    <a:pt x="175" y="32"/>
                  </a:lnTo>
                  <a:lnTo>
                    <a:pt x="186" y="31"/>
                  </a:lnTo>
                  <a:lnTo>
                    <a:pt x="196" y="30"/>
                  </a:lnTo>
                  <a:close/>
                  <a:moveTo>
                    <a:pt x="452" y="359"/>
                  </a:moveTo>
                  <a:lnTo>
                    <a:pt x="467" y="358"/>
                  </a:lnTo>
                  <a:lnTo>
                    <a:pt x="482" y="356"/>
                  </a:lnTo>
                  <a:lnTo>
                    <a:pt x="482" y="451"/>
                  </a:lnTo>
                  <a:lnTo>
                    <a:pt x="422" y="451"/>
                  </a:lnTo>
                  <a:lnTo>
                    <a:pt x="422" y="356"/>
                  </a:lnTo>
                  <a:lnTo>
                    <a:pt x="437" y="358"/>
                  </a:lnTo>
                  <a:lnTo>
                    <a:pt x="452" y="359"/>
                  </a:lnTo>
                  <a:close/>
                  <a:moveTo>
                    <a:pt x="452" y="119"/>
                  </a:moveTo>
                  <a:lnTo>
                    <a:pt x="462" y="120"/>
                  </a:lnTo>
                  <a:lnTo>
                    <a:pt x="473" y="121"/>
                  </a:lnTo>
                  <a:lnTo>
                    <a:pt x="483" y="123"/>
                  </a:lnTo>
                  <a:lnTo>
                    <a:pt x="493" y="127"/>
                  </a:lnTo>
                  <a:lnTo>
                    <a:pt x="502" y="132"/>
                  </a:lnTo>
                  <a:lnTo>
                    <a:pt x="511" y="137"/>
                  </a:lnTo>
                  <a:lnTo>
                    <a:pt x="519" y="143"/>
                  </a:lnTo>
                  <a:lnTo>
                    <a:pt x="527" y="150"/>
                  </a:lnTo>
                  <a:lnTo>
                    <a:pt x="534" y="157"/>
                  </a:lnTo>
                  <a:lnTo>
                    <a:pt x="540" y="166"/>
                  </a:lnTo>
                  <a:lnTo>
                    <a:pt x="545" y="174"/>
                  </a:lnTo>
                  <a:lnTo>
                    <a:pt x="549" y="184"/>
                  </a:lnTo>
                  <a:lnTo>
                    <a:pt x="554" y="194"/>
                  </a:lnTo>
                  <a:lnTo>
                    <a:pt x="556" y="205"/>
                  </a:lnTo>
                  <a:lnTo>
                    <a:pt x="558" y="214"/>
                  </a:lnTo>
                  <a:lnTo>
                    <a:pt x="558" y="226"/>
                  </a:lnTo>
                  <a:lnTo>
                    <a:pt x="558" y="237"/>
                  </a:lnTo>
                  <a:lnTo>
                    <a:pt x="556" y="247"/>
                  </a:lnTo>
                  <a:lnTo>
                    <a:pt x="554" y="257"/>
                  </a:lnTo>
                  <a:lnTo>
                    <a:pt x="549" y="267"/>
                  </a:lnTo>
                  <a:lnTo>
                    <a:pt x="545" y="276"/>
                  </a:lnTo>
                  <a:lnTo>
                    <a:pt x="540" y="285"/>
                  </a:lnTo>
                  <a:lnTo>
                    <a:pt x="534" y="294"/>
                  </a:lnTo>
                  <a:lnTo>
                    <a:pt x="527" y="301"/>
                  </a:lnTo>
                  <a:lnTo>
                    <a:pt x="519" y="307"/>
                  </a:lnTo>
                  <a:lnTo>
                    <a:pt x="511" y="314"/>
                  </a:lnTo>
                  <a:lnTo>
                    <a:pt x="502" y="319"/>
                  </a:lnTo>
                  <a:lnTo>
                    <a:pt x="493" y="324"/>
                  </a:lnTo>
                  <a:lnTo>
                    <a:pt x="483" y="328"/>
                  </a:lnTo>
                  <a:lnTo>
                    <a:pt x="473" y="330"/>
                  </a:lnTo>
                  <a:lnTo>
                    <a:pt x="462" y="332"/>
                  </a:lnTo>
                  <a:lnTo>
                    <a:pt x="452" y="332"/>
                  </a:lnTo>
                  <a:lnTo>
                    <a:pt x="441" y="332"/>
                  </a:lnTo>
                  <a:lnTo>
                    <a:pt x="430" y="330"/>
                  </a:lnTo>
                  <a:lnTo>
                    <a:pt x="420" y="328"/>
                  </a:lnTo>
                  <a:lnTo>
                    <a:pt x="410" y="324"/>
                  </a:lnTo>
                  <a:lnTo>
                    <a:pt x="400" y="319"/>
                  </a:lnTo>
                  <a:lnTo>
                    <a:pt x="392" y="314"/>
                  </a:lnTo>
                  <a:lnTo>
                    <a:pt x="383" y="307"/>
                  </a:lnTo>
                  <a:lnTo>
                    <a:pt x="376" y="301"/>
                  </a:lnTo>
                  <a:lnTo>
                    <a:pt x="369" y="294"/>
                  </a:lnTo>
                  <a:lnTo>
                    <a:pt x="363" y="285"/>
                  </a:lnTo>
                  <a:lnTo>
                    <a:pt x="357" y="276"/>
                  </a:lnTo>
                  <a:lnTo>
                    <a:pt x="353" y="267"/>
                  </a:lnTo>
                  <a:lnTo>
                    <a:pt x="350" y="257"/>
                  </a:lnTo>
                  <a:lnTo>
                    <a:pt x="347" y="247"/>
                  </a:lnTo>
                  <a:lnTo>
                    <a:pt x="346" y="237"/>
                  </a:lnTo>
                  <a:lnTo>
                    <a:pt x="345" y="226"/>
                  </a:lnTo>
                  <a:lnTo>
                    <a:pt x="346" y="214"/>
                  </a:lnTo>
                  <a:lnTo>
                    <a:pt x="347" y="205"/>
                  </a:lnTo>
                  <a:lnTo>
                    <a:pt x="350" y="194"/>
                  </a:lnTo>
                  <a:lnTo>
                    <a:pt x="353" y="184"/>
                  </a:lnTo>
                  <a:lnTo>
                    <a:pt x="357" y="174"/>
                  </a:lnTo>
                  <a:lnTo>
                    <a:pt x="363" y="166"/>
                  </a:lnTo>
                  <a:lnTo>
                    <a:pt x="369" y="157"/>
                  </a:lnTo>
                  <a:lnTo>
                    <a:pt x="376" y="150"/>
                  </a:lnTo>
                  <a:lnTo>
                    <a:pt x="383" y="143"/>
                  </a:lnTo>
                  <a:lnTo>
                    <a:pt x="392" y="137"/>
                  </a:lnTo>
                  <a:lnTo>
                    <a:pt x="400" y="132"/>
                  </a:lnTo>
                  <a:lnTo>
                    <a:pt x="410" y="127"/>
                  </a:lnTo>
                  <a:lnTo>
                    <a:pt x="420" y="124"/>
                  </a:lnTo>
                  <a:lnTo>
                    <a:pt x="430" y="121"/>
                  </a:lnTo>
                  <a:lnTo>
                    <a:pt x="441" y="120"/>
                  </a:lnTo>
                  <a:lnTo>
                    <a:pt x="452" y="119"/>
                  </a:lnTo>
                  <a:close/>
                  <a:moveTo>
                    <a:pt x="452" y="92"/>
                  </a:moveTo>
                  <a:lnTo>
                    <a:pt x="437" y="93"/>
                  </a:lnTo>
                  <a:lnTo>
                    <a:pt x="422" y="95"/>
                  </a:lnTo>
                  <a:lnTo>
                    <a:pt x="422" y="30"/>
                  </a:lnTo>
                  <a:lnTo>
                    <a:pt x="482" y="30"/>
                  </a:lnTo>
                  <a:lnTo>
                    <a:pt x="482" y="95"/>
                  </a:lnTo>
                  <a:lnTo>
                    <a:pt x="467" y="93"/>
                  </a:lnTo>
                  <a:lnTo>
                    <a:pt x="452" y="92"/>
                  </a:lnTo>
                  <a:close/>
                  <a:moveTo>
                    <a:pt x="812" y="135"/>
                  </a:moveTo>
                  <a:lnTo>
                    <a:pt x="812" y="451"/>
                  </a:lnTo>
                  <a:lnTo>
                    <a:pt x="512" y="451"/>
                  </a:lnTo>
                  <a:lnTo>
                    <a:pt x="512" y="345"/>
                  </a:lnTo>
                  <a:lnTo>
                    <a:pt x="519" y="341"/>
                  </a:lnTo>
                  <a:lnTo>
                    <a:pt x="527" y="335"/>
                  </a:lnTo>
                  <a:lnTo>
                    <a:pt x="534" y="330"/>
                  </a:lnTo>
                  <a:lnTo>
                    <a:pt x="542" y="325"/>
                  </a:lnTo>
                  <a:lnTo>
                    <a:pt x="548" y="318"/>
                  </a:lnTo>
                  <a:lnTo>
                    <a:pt x="554" y="311"/>
                  </a:lnTo>
                  <a:lnTo>
                    <a:pt x="560" y="304"/>
                  </a:lnTo>
                  <a:lnTo>
                    <a:pt x="564" y="297"/>
                  </a:lnTo>
                  <a:lnTo>
                    <a:pt x="570" y="288"/>
                  </a:lnTo>
                  <a:lnTo>
                    <a:pt x="574" y="281"/>
                  </a:lnTo>
                  <a:lnTo>
                    <a:pt x="577" y="272"/>
                  </a:lnTo>
                  <a:lnTo>
                    <a:pt x="580" y="264"/>
                  </a:lnTo>
                  <a:lnTo>
                    <a:pt x="583" y="254"/>
                  </a:lnTo>
                  <a:lnTo>
                    <a:pt x="584" y="244"/>
                  </a:lnTo>
                  <a:lnTo>
                    <a:pt x="585" y="236"/>
                  </a:lnTo>
                  <a:lnTo>
                    <a:pt x="586" y="226"/>
                  </a:lnTo>
                  <a:lnTo>
                    <a:pt x="585" y="216"/>
                  </a:lnTo>
                  <a:lnTo>
                    <a:pt x="584" y="207"/>
                  </a:lnTo>
                  <a:lnTo>
                    <a:pt x="583" y="197"/>
                  </a:lnTo>
                  <a:lnTo>
                    <a:pt x="580" y="188"/>
                  </a:lnTo>
                  <a:lnTo>
                    <a:pt x="577" y="179"/>
                  </a:lnTo>
                  <a:lnTo>
                    <a:pt x="574" y="170"/>
                  </a:lnTo>
                  <a:lnTo>
                    <a:pt x="570" y="163"/>
                  </a:lnTo>
                  <a:lnTo>
                    <a:pt x="564" y="154"/>
                  </a:lnTo>
                  <a:lnTo>
                    <a:pt x="560" y="147"/>
                  </a:lnTo>
                  <a:lnTo>
                    <a:pt x="554" y="140"/>
                  </a:lnTo>
                  <a:lnTo>
                    <a:pt x="548" y="133"/>
                  </a:lnTo>
                  <a:lnTo>
                    <a:pt x="542" y="127"/>
                  </a:lnTo>
                  <a:lnTo>
                    <a:pt x="534" y="121"/>
                  </a:lnTo>
                  <a:lnTo>
                    <a:pt x="527" y="116"/>
                  </a:lnTo>
                  <a:lnTo>
                    <a:pt x="519" y="110"/>
                  </a:lnTo>
                  <a:lnTo>
                    <a:pt x="512" y="106"/>
                  </a:lnTo>
                  <a:lnTo>
                    <a:pt x="512" y="30"/>
                  </a:lnTo>
                  <a:lnTo>
                    <a:pt x="722" y="30"/>
                  </a:lnTo>
                  <a:lnTo>
                    <a:pt x="732" y="31"/>
                  </a:lnTo>
                  <a:lnTo>
                    <a:pt x="741" y="32"/>
                  </a:lnTo>
                  <a:lnTo>
                    <a:pt x="750" y="34"/>
                  </a:lnTo>
                  <a:lnTo>
                    <a:pt x="758" y="38"/>
                  </a:lnTo>
                  <a:lnTo>
                    <a:pt x="767" y="42"/>
                  </a:lnTo>
                  <a:lnTo>
                    <a:pt x="773" y="47"/>
                  </a:lnTo>
                  <a:lnTo>
                    <a:pt x="781" y="53"/>
                  </a:lnTo>
                  <a:lnTo>
                    <a:pt x="787" y="60"/>
                  </a:lnTo>
                  <a:lnTo>
                    <a:pt x="793" y="67"/>
                  </a:lnTo>
                  <a:lnTo>
                    <a:pt x="798" y="75"/>
                  </a:lnTo>
                  <a:lnTo>
                    <a:pt x="802" y="83"/>
                  </a:lnTo>
                  <a:lnTo>
                    <a:pt x="806" y="93"/>
                  </a:lnTo>
                  <a:lnTo>
                    <a:pt x="809" y="103"/>
                  </a:lnTo>
                  <a:lnTo>
                    <a:pt x="811" y="113"/>
                  </a:lnTo>
                  <a:lnTo>
                    <a:pt x="812" y="124"/>
                  </a:lnTo>
                  <a:lnTo>
                    <a:pt x="812" y="135"/>
                  </a:lnTo>
                  <a:close/>
                  <a:moveTo>
                    <a:pt x="842" y="461"/>
                  </a:moveTo>
                  <a:lnTo>
                    <a:pt x="842" y="135"/>
                  </a:lnTo>
                  <a:lnTo>
                    <a:pt x="842" y="121"/>
                  </a:lnTo>
                  <a:lnTo>
                    <a:pt x="840" y="107"/>
                  </a:lnTo>
                  <a:lnTo>
                    <a:pt x="837" y="94"/>
                  </a:lnTo>
                  <a:lnTo>
                    <a:pt x="833" y="81"/>
                  </a:lnTo>
                  <a:lnTo>
                    <a:pt x="828" y="69"/>
                  </a:lnTo>
                  <a:lnTo>
                    <a:pt x="823" y="58"/>
                  </a:lnTo>
                  <a:lnTo>
                    <a:pt x="816" y="48"/>
                  </a:lnTo>
                  <a:lnTo>
                    <a:pt x="809" y="38"/>
                  </a:lnTo>
                  <a:lnTo>
                    <a:pt x="800" y="30"/>
                  </a:lnTo>
                  <a:lnTo>
                    <a:pt x="791" y="22"/>
                  </a:lnTo>
                  <a:lnTo>
                    <a:pt x="781" y="16"/>
                  </a:lnTo>
                  <a:lnTo>
                    <a:pt x="770" y="10"/>
                  </a:lnTo>
                  <a:lnTo>
                    <a:pt x="759" y="6"/>
                  </a:lnTo>
                  <a:lnTo>
                    <a:pt x="748" y="3"/>
                  </a:lnTo>
                  <a:lnTo>
                    <a:pt x="735" y="1"/>
                  </a:lnTo>
                  <a:lnTo>
                    <a:pt x="722" y="0"/>
                  </a:lnTo>
                  <a:lnTo>
                    <a:pt x="196" y="0"/>
                  </a:lnTo>
                  <a:lnTo>
                    <a:pt x="183" y="1"/>
                  </a:lnTo>
                  <a:lnTo>
                    <a:pt x="169" y="3"/>
                  </a:lnTo>
                  <a:lnTo>
                    <a:pt x="156" y="6"/>
                  </a:lnTo>
                  <a:lnTo>
                    <a:pt x="143" y="10"/>
                  </a:lnTo>
                  <a:lnTo>
                    <a:pt x="131" y="17"/>
                  </a:lnTo>
                  <a:lnTo>
                    <a:pt x="120" y="23"/>
                  </a:lnTo>
                  <a:lnTo>
                    <a:pt x="110" y="31"/>
                  </a:lnTo>
                  <a:lnTo>
                    <a:pt x="100" y="39"/>
                  </a:lnTo>
                  <a:lnTo>
                    <a:pt x="92" y="49"/>
                  </a:lnTo>
                  <a:lnTo>
                    <a:pt x="84" y="60"/>
                  </a:lnTo>
                  <a:lnTo>
                    <a:pt x="78" y="70"/>
                  </a:lnTo>
                  <a:lnTo>
                    <a:pt x="71" y="82"/>
                  </a:lnTo>
                  <a:lnTo>
                    <a:pt x="67" y="95"/>
                  </a:lnTo>
                  <a:lnTo>
                    <a:pt x="64" y="108"/>
                  </a:lnTo>
                  <a:lnTo>
                    <a:pt x="61" y="122"/>
                  </a:lnTo>
                  <a:lnTo>
                    <a:pt x="60" y="135"/>
                  </a:lnTo>
                  <a:lnTo>
                    <a:pt x="60" y="461"/>
                  </a:lnTo>
                  <a:lnTo>
                    <a:pt x="0" y="556"/>
                  </a:lnTo>
                  <a:lnTo>
                    <a:pt x="0" y="676"/>
                  </a:lnTo>
                  <a:lnTo>
                    <a:pt x="1" y="684"/>
                  </a:lnTo>
                  <a:lnTo>
                    <a:pt x="3" y="691"/>
                  </a:lnTo>
                  <a:lnTo>
                    <a:pt x="4" y="698"/>
                  </a:lnTo>
                  <a:lnTo>
                    <a:pt x="7" y="705"/>
                  </a:lnTo>
                  <a:lnTo>
                    <a:pt x="10" y="712"/>
                  </a:lnTo>
                  <a:lnTo>
                    <a:pt x="14" y="718"/>
                  </a:lnTo>
                  <a:lnTo>
                    <a:pt x="19" y="724"/>
                  </a:lnTo>
                  <a:lnTo>
                    <a:pt x="23" y="729"/>
                  </a:lnTo>
                  <a:lnTo>
                    <a:pt x="28" y="734"/>
                  </a:lnTo>
                  <a:lnTo>
                    <a:pt x="35" y="739"/>
                  </a:lnTo>
                  <a:lnTo>
                    <a:pt x="40" y="743"/>
                  </a:lnTo>
                  <a:lnTo>
                    <a:pt x="48" y="746"/>
                  </a:lnTo>
                  <a:lnTo>
                    <a:pt x="54" y="748"/>
                  </a:lnTo>
                  <a:lnTo>
                    <a:pt x="61" y="750"/>
                  </a:lnTo>
                  <a:lnTo>
                    <a:pt x="68" y="751"/>
                  </a:lnTo>
                  <a:lnTo>
                    <a:pt x="75" y="751"/>
                  </a:lnTo>
                  <a:lnTo>
                    <a:pt x="162" y="751"/>
                  </a:lnTo>
                  <a:lnTo>
                    <a:pt x="156" y="768"/>
                  </a:lnTo>
                  <a:lnTo>
                    <a:pt x="148" y="783"/>
                  </a:lnTo>
                  <a:lnTo>
                    <a:pt x="140" y="799"/>
                  </a:lnTo>
                  <a:lnTo>
                    <a:pt x="130" y="815"/>
                  </a:lnTo>
                  <a:lnTo>
                    <a:pt x="119" y="831"/>
                  </a:lnTo>
                  <a:lnTo>
                    <a:pt x="108" y="846"/>
                  </a:lnTo>
                  <a:lnTo>
                    <a:pt x="95" y="862"/>
                  </a:lnTo>
                  <a:lnTo>
                    <a:pt x="81" y="876"/>
                  </a:lnTo>
                  <a:lnTo>
                    <a:pt x="55" y="902"/>
                  </a:lnTo>
                  <a:lnTo>
                    <a:pt x="853" y="902"/>
                  </a:lnTo>
                  <a:lnTo>
                    <a:pt x="822" y="876"/>
                  </a:lnTo>
                  <a:lnTo>
                    <a:pt x="807" y="862"/>
                  </a:lnTo>
                  <a:lnTo>
                    <a:pt x="793" y="848"/>
                  </a:lnTo>
                  <a:lnTo>
                    <a:pt x="781" y="833"/>
                  </a:lnTo>
                  <a:lnTo>
                    <a:pt x="770" y="817"/>
                  </a:lnTo>
                  <a:lnTo>
                    <a:pt x="761" y="801"/>
                  </a:lnTo>
                  <a:lnTo>
                    <a:pt x="752" y="785"/>
                  </a:lnTo>
                  <a:lnTo>
                    <a:pt x="743" y="769"/>
                  </a:lnTo>
                  <a:lnTo>
                    <a:pt x="737" y="751"/>
                  </a:lnTo>
                  <a:lnTo>
                    <a:pt x="828" y="751"/>
                  </a:lnTo>
                  <a:lnTo>
                    <a:pt x="836" y="751"/>
                  </a:lnTo>
                  <a:lnTo>
                    <a:pt x="843" y="749"/>
                  </a:lnTo>
                  <a:lnTo>
                    <a:pt x="850" y="747"/>
                  </a:lnTo>
                  <a:lnTo>
                    <a:pt x="857" y="745"/>
                  </a:lnTo>
                  <a:lnTo>
                    <a:pt x="863" y="742"/>
                  </a:lnTo>
                  <a:lnTo>
                    <a:pt x="869" y="737"/>
                  </a:lnTo>
                  <a:lnTo>
                    <a:pt x="875" y="733"/>
                  </a:lnTo>
                  <a:lnTo>
                    <a:pt x="881" y="728"/>
                  </a:lnTo>
                  <a:lnTo>
                    <a:pt x="885" y="722"/>
                  </a:lnTo>
                  <a:lnTo>
                    <a:pt x="889" y="717"/>
                  </a:lnTo>
                  <a:lnTo>
                    <a:pt x="894" y="711"/>
                  </a:lnTo>
                  <a:lnTo>
                    <a:pt x="897" y="704"/>
                  </a:lnTo>
                  <a:lnTo>
                    <a:pt x="899" y="698"/>
                  </a:lnTo>
                  <a:lnTo>
                    <a:pt x="901" y="691"/>
                  </a:lnTo>
                  <a:lnTo>
                    <a:pt x="902" y="684"/>
                  </a:lnTo>
                  <a:lnTo>
                    <a:pt x="902" y="676"/>
                  </a:lnTo>
                  <a:lnTo>
                    <a:pt x="902" y="556"/>
                  </a:lnTo>
                  <a:lnTo>
                    <a:pt x="842" y="4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64">
              <a:extLst>
                <a:ext uri="{FF2B5EF4-FFF2-40B4-BE49-F238E27FC236}">
                  <a16:creationId xmlns:a16="http://schemas.microsoft.com/office/drawing/2014/main" id="{B2BA24A9-07D2-4D51-8A56-433738257859}"/>
                </a:ext>
              </a:extLst>
            </p:cNvPr>
            <p:cNvSpPr>
              <a:spLocks/>
            </p:cNvSpPr>
            <p:nvPr/>
          </p:nvSpPr>
          <p:spPr bwMode="auto">
            <a:xfrm>
              <a:off x="10510838" y="3743008"/>
              <a:ext cx="19050" cy="19050"/>
            </a:xfrm>
            <a:custGeom>
              <a:avLst/>
              <a:gdLst>
                <a:gd name="T0" fmla="*/ 30 w 60"/>
                <a:gd name="T1" fmla="*/ 60 h 60"/>
                <a:gd name="T2" fmla="*/ 36 w 60"/>
                <a:gd name="T3" fmla="*/ 59 h 60"/>
                <a:gd name="T4" fmla="*/ 41 w 60"/>
                <a:gd name="T5" fmla="*/ 58 h 60"/>
                <a:gd name="T6" fmla="*/ 47 w 60"/>
                <a:gd name="T7" fmla="*/ 55 h 60"/>
                <a:gd name="T8" fmla="*/ 51 w 60"/>
                <a:gd name="T9" fmla="*/ 52 h 60"/>
                <a:gd name="T10" fmla="*/ 55 w 60"/>
                <a:gd name="T11" fmla="*/ 46 h 60"/>
                <a:gd name="T12" fmla="*/ 57 w 60"/>
                <a:gd name="T13" fmla="*/ 42 h 60"/>
                <a:gd name="T14" fmla="*/ 60 w 60"/>
                <a:gd name="T15" fmla="*/ 35 h 60"/>
                <a:gd name="T16" fmla="*/ 60 w 60"/>
                <a:gd name="T17" fmla="*/ 30 h 60"/>
                <a:gd name="T18" fmla="*/ 60 w 60"/>
                <a:gd name="T19" fmla="*/ 24 h 60"/>
                <a:gd name="T20" fmla="*/ 57 w 60"/>
                <a:gd name="T21" fmla="*/ 18 h 60"/>
                <a:gd name="T22" fmla="*/ 55 w 60"/>
                <a:gd name="T23" fmla="*/ 13 h 60"/>
                <a:gd name="T24" fmla="*/ 51 w 60"/>
                <a:gd name="T25" fmla="*/ 9 h 60"/>
                <a:gd name="T26" fmla="*/ 47 w 60"/>
                <a:gd name="T27" fmla="*/ 4 h 60"/>
                <a:gd name="T28" fmla="*/ 41 w 60"/>
                <a:gd name="T29" fmla="*/ 2 h 60"/>
                <a:gd name="T30" fmla="*/ 36 w 60"/>
                <a:gd name="T31" fmla="*/ 0 h 60"/>
                <a:gd name="T32" fmla="*/ 30 w 60"/>
                <a:gd name="T33" fmla="*/ 0 h 60"/>
                <a:gd name="T34" fmla="*/ 24 w 60"/>
                <a:gd name="T35" fmla="*/ 0 h 60"/>
                <a:gd name="T36" fmla="*/ 19 w 60"/>
                <a:gd name="T37" fmla="*/ 2 h 60"/>
                <a:gd name="T38" fmla="*/ 13 w 60"/>
                <a:gd name="T39" fmla="*/ 4 h 60"/>
                <a:gd name="T40" fmla="*/ 9 w 60"/>
                <a:gd name="T41" fmla="*/ 9 h 60"/>
                <a:gd name="T42" fmla="*/ 5 w 60"/>
                <a:gd name="T43" fmla="*/ 13 h 60"/>
                <a:gd name="T44" fmla="*/ 3 w 60"/>
                <a:gd name="T45" fmla="*/ 18 h 60"/>
                <a:gd name="T46" fmla="*/ 1 w 60"/>
                <a:gd name="T47" fmla="*/ 24 h 60"/>
                <a:gd name="T48" fmla="*/ 0 w 60"/>
                <a:gd name="T49" fmla="*/ 30 h 60"/>
                <a:gd name="T50" fmla="*/ 1 w 60"/>
                <a:gd name="T51" fmla="*/ 35 h 60"/>
                <a:gd name="T52" fmla="*/ 3 w 60"/>
                <a:gd name="T53" fmla="*/ 42 h 60"/>
                <a:gd name="T54" fmla="*/ 5 w 60"/>
                <a:gd name="T55" fmla="*/ 46 h 60"/>
                <a:gd name="T56" fmla="*/ 9 w 60"/>
                <a:gd name="T57" fmla="*/ 52 h 60"/>
                <a:gd name="T58" fmla="*/ 13 w 60"/>
                <a:gd name="T59" fmla="*/ 55 h 60"/>
                <a:gd name="T60" fmla="*/ 19 w 60"/>
                <a:gd name="T61" fmla="*/ 58 h 60"/>
                <a:gd name="T62" fmla="*/ 24 w 60"/>
                <a:gd name="T63" fmla="*/ 59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59"/>
                  </a:lnTo>
                  <a:lnTo>
                    <a:pt x="41" y="58"/>
                  </a:lnTo>
                  <a:lnTo>
                    <a:pt x="47" y="55"/>
                  </a:lnTo>
                  <a:lnTo>
                    <a:pt x="51" y="52"/>
                  </a:lnTo>
                  <a:lnTo>
                    <a:pt x="55" y="46"/>
                  </a:lnTo>
                  <a:lnTo>
                    <a:pt x="57" y="42"/>
                  </a:lnTo>
                  <a:lnTo>
                    <a:pt x="60" y="35"/>
                  </a:lnTo>
                  <a:lnTo>
                    <a:pt x="60" y="30"/>
                  </a:lnTo>
                  <a:lnTo>
                    <a:pt x="60" y="24"/>
                  </a:lnTo>
                  <a:lnTo>
                    <a:pt x="57" y="18"/>
                  </a:lnTo>
                  <a:lnTo>
                    <a:pt x="55" y="13"/>
                  </a:lnTo>
                  <a:lnTo>
                    <a:pt x="51" y="9"/>
                  </a:lnTo>
                  <a:lnTo>
                    <a:pt x="47" y="4"/>
                  </a:lnTo>
                  <a:lnTo>
                    <a:pt x="41" y="2"/>
                  </a:lnTo>
                  <a:lnTo>
                    <a:pt x="36" y="0"/>
                  </a:lnTo>
                  <a:lnTo>
                    <a:pt x="30" y="0"/>
                  </a:lnTo>
                  <a:lnTo>
                    <a:pt x="24" y="0"/>
                  </a:lnTo>
                  <a:lnTo>
                    <a:pt x="19" y="2"/>
                  </a:lnTo>
                  <a:lnTo>
                    <a:pt x="13" y="4"/>
                  </a:lnTo>
                  <a:lnTo>
                    <a:pt x="9" y="9"/>
                  </a:lnTo>
                  <a:lnTo>
                    <a:pt x="5" y="13"/>
                  </a:lnTo>
                  <a:lnTo>
                    <a:pt x="3" y="18"/>
                  </a:lnTo>
                  <a:lnTo>
                    <a:pt x="1" y="24"/>
                  </a:lnTo>
                  <a:lnTo>
                    <a:pt x="0" y="30"/>
                  </a:lnTo>
                  <a:lnTo>
                    <a:pt x="1" y="35"/>
                  </a:lnTo>
                  <a:lnTo>
                    <a:pt x="3" y="42"/>
                  </a:lnTo>
                  <a:lnTo>
                    <a:pt x="5" y="46"/>
                  </a:lnTo>
                  <a:lnTo>
                    <a:pt x="9" y="52"/>
                  </a:lnTo>
                  <a:lnTo>
                    <a:pt x="13" y="55"/>
                  </a:lnTo>
                  <a:lnTo>
                    <a:pt x="19" y="58"/>
                  </a:lnTo>
                  <a:lnTo>
                    <a:pt x="24" y="59"/>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65">
              <a:extLst>
                <a:ext uri="{FF2B5EF4-FFF2-40B4-BE49-F238E27FC236}">
                  <a16:creationId xmlns:a16="http://schemas.microsoft.com/office/drawing/2014/main" id="{6A1B7875-2644-4263-BF2D-51ABCAC1F34E}"/>
                </a:ext>
              </a:extLst>
            </p:cNvPr>
            <p:cNvSpPr>
              <a:spLocks noEditPoints="1"/>
            </p:cNvSpPr>
            <p:nvPr/>
          </p:nvSpPr>
          <p:spPr bwMode="auto">
            <a:xfrm>
              <a:off x="10653713" y="3671570"/>
              <a:ext cx="38100" cy="38100"/>
            </a:xfrm>
            <a:custGeom>
              <a:avLst/>
              <a:gdLst>
                <a:gd name="T0" fmla="*/ 90 w 120"/>
                <a:gd name="T1" fmla="*/ 90 h 121"/>
                <a:gd name="T2" fmla="*/ 30 w 120"/>
                <a:gd name="T3" fmla="*/ 90 h 121"/>
                <a:gd name="T4" fmla="*/ 30 w 120"/>
                <a:gd name="T5" fmla="*/ 30 h 121"/>
                <a:gd name="T6" fmla="*/ 90 w 120"/>
                <a:gd name="T7" fmla="*/ 30 h 121"/>
                <a:gd name="T8" fmla="*/ 90 w 120"/>
                <a:gd name="T9" fmla="*/ 90 h 121"/>
                <a:gd name="T10" fmla="*/ 120 w 120"/>
                <a:gd name="T11" fmla="*/ 0 h 121"/>
                <a:gd name="T12" fmla="*/ 0 w 120"/>
                <a:gd name="T13" fmla="*/ 0 h 121"/>
                <a:gd name="T14" fmla="*/ 0 w 120"/>
                <a:gd name="T15" fmla="*/ 121 h 121"/>
                <a:gd name="T16" fmla="*/ 120 w 120"/>
                <a:gd name="T17" fmla="*/ 121 h 121"/>
                <a:gd name="T18" fmla="*/ 120 w 120"/>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1">
                  <a:moveTo>
                    <a:pt x="90" y="90"/>
                  </a:moveTo>
                  <a:lnTo>
                    <a:pt x="30" y="90"/>
                  </a:lnTo>
                  <a:lnTo>
                    <a:pt x="30" y="30"/>
                  </a:lnTo>
                  <a:lnTo>
                    <a:pt x="90" y="30"/>
                  </a:lnTo>
                  <a:lnTo>
                    <a:pt x="90" y="90"/>
                  </a:lnTo>
                  <a:close/>
                  <a:moveTo>
                    <a:pt x="120" y="0"/>
                  </a:moveTo>
                  <a:lnTo>
                    <a:pt x="0" y="0"/>
                  </a:lnTo>
                  <a:lnTo>
                    <a:pt x="0" y="121"/>
                  </a:lnTo>
                  <a:lnTo>
                    <a:pt x="120" y="121"/>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0" name="Group 226">
            <a:extLst>
              <a:ext uri="{FF2B5EF4-FFF2-40B4-BE49-F238E27FC236}">
                <a16:creationId xmlns:a16="http://schemas.microsoft.com/office/drawing/2014/main" id="{4926DBEE-E93B-464B-A87F-18996AB23D2B}"/>
              </a:ext>
            </a:extLst>
          </p:cNvPr>
          <p:cNvGrpSpPr>
            <a:grpSpLocks noChangeAspect="1"/>
          </p:cNvGrpSpPr>
          <p:nvPr/>
        </p:nvGrpSpPr>
        <p:grpSpPr>
          <a:xfrm>
            <a:off x="7132238" y="5956111"/>
            <a:ext cx="161852" cy="285619"/>
            <a:chOff x="8802688" y="3642995"/>
            <a:chExt cx="161925" cy="285750"/>
          </a:xfrm>
          <a:solidFill>
            <a:schemeClr val="bg2"/>
          </a:solidFill>
          <a:effectLst/>
        </p:grpSpPr>
        <p:sp>
          <p:nvSpPr>
            <p:cNvPr id="1451" name="Freeform 419">
              <a:extLst>
                <a:ext uri="{FF2B5EF4-FFF2-40B4-BE49-F238E27FC236}">
                  <a16:creationId xmlns:a16="http://schemas.microsoft.com/office/drawing/2014/main" id="{630663EC-3897-40E2-874F-59C23E3F9360}"/>
                </a:ext>
              </a:extLst>
            </p:cNvPr>
            <p:cNvSpPr>
              <a:spLocks noEditPoints="1"/>
            </p:cNvSpPr>
            <p:nvPr/>
          </p:nvSpPr>
          <p:spPr bwMode="auto">
            <a:xfrm>
              <a:off x="8805863" y="3766820"/>
              <a:ext cx="153988" cy="161925"/>
            </a:xfrm>
            <a:custGeom>
              <a:avLst/>
              <a:gdLst>
                <a:gd name="T0" fmla="*/ 259 w 485"/>
                <a:gd name="T1" fmla="*/ 235 h 511"/>
                <a:gd name="T2" fmla="*/ 229 w 485"/>
                <a:gd name="T3" fmla="*/ 30 h 511"/>
                <a:gd name="T4" fmla="*/ 259 w 485"/>
                <a:gd name="T5" fmla="*/ 265 h 511"/>
                <a:gd name="T6" fmla="*/ 271 w 485"/>
                <a:gd name="T7" fmla="*/ 262 h 511"/>
                <a:gd name="T8" fmla="*/ 281 w 485"/>
                <a:gd name="T9" fmla="*/ 255 h 511"/>
                <a:gd name="T10" fmla="*/ 287 w 485"/>
                <a:gd name="T11" fmla="*/ 246 h 511"/>
                <a:gd name="T12" fmla="*/ 289 w 485"/>
                <a:gd name="T13" fmla="*/ 235 h 511"/>
                <a:gd name="T14" fmla="*/ 350 w 485"/>
                <a:gd name="T15" fmla="*/ 30 h 511"/>
                <a:gd name="T16" fmla="*/ 355 w 485"/>
                <a:gd name="T17" fmla="*/ 29 h 511"/>
                <a:gd name="T18" fmla="*/ 360 w 485"/>
                <a:gd name="T19" fmla="*/ 26 h 511"/>
                <a:gd name="T20" fmla="*/ 363 w 485"/>
                <a:gd name="T21" fmla="*/ 20 h 511"/>
                <a:gd name="T22" fmla="*/ 365 w 485"/>
                <a:gd name="T23" fmla="*/ 15 h 511"/>
                <a:gd name="T24" fmla="*/ 363 w 485"/>
                <a:gd name="T25" fmla="*/ 9 h 511"/>
                <a:gd name="T26" fmla="*/ 360 w 485"/>
                <a:gd name="T27" fmla="*/ 4 h 511"/>
                <a:gd name="T28" fmla="*/ 355 w 485"/>
                <a:gd name="T29" fmla="*/ 1 h 511"/>
                <a:gd name="T30" fmla="*/ 350 w 485"/>
                <a:gd name="T31" fmla="*/ 0 h 511"/>
                <a:gd name="T32" fmla="*/ 136 w 485"/>
                <a:gd name="T33" fmla="*/ 0 h 511"/>
                <a:gd name="T34" fmla="*/ 131 w 485"/>
                <a:gd name="T35" fmla="*/ 2 h 511"/>
                <a:gd name="T36" fmla="*/ 127 w 485"/>
                <a:gd name="T37" fmla="*/ 7 h 511"/>
                <a:gd name="T38" fmla="*/ 124 w 485"/>
                <a:gd name="T39" fmla="*/ 12 h 511"/>
                <a:gd name="T40" fmla="*/ 124 w 485"/>
                <a:gd name="T41" fmla="*/ 18 h 511"/>
                <a:gd name="T42" fmla="*/ 127 w 485"/>
                <a:gd name="T43" fmla="*/ 24 h 511"/>
                <a:gd name="T44" fmla="*/ 131 w 485"/>
                <a:gd name="T45" fmla="*/ 27 h 511"/>
                <a:gd name="T46" fmla="*/ 136 w 485"/>
                <a:gd name="T47" fmla="*/ 30 h 511"/>
                <a:gd name="T48" fmla="*/ 199 w 485"/>
                <a:gd name="T49" fmla="*/ 30 h 511"/>
                <a:gd name="T50" fmla="*/ 199 w 485"/>
                <a:gd name="T51" fmla="*/ 240 h 511"/>
                <a:gd name="T52" fmla="*/ 204 w 485"/>
                <a:gd name="T53" fmla="*/ 251 h 511"/>
                <a:gd name="T54" fmla="*/ 212 w 485"/>
                <a:gd name="T55" fmla="*/ 260 h 511"/>
                <a:gd name="T56" fmla="*/ 223 w 485"/>
                <a:gd name="T57" fmla="*/ 264 h 511"/>
                <a:gd name="T58" fmla="*/ 4 w 485"/>
                <a:gd name="T59" fmla="*/ 485 h 511"/>
                <a:gd name="T60" fmla="*/ 1 w 485"/>
                <a:gd name="T61" fmla="*/ 490 h 511"/>
                <a:gd name="T62" fmla="*/ 0 w 485"/>
                <a:gd name="T63" fmla="*/ 496 h 511"/>
                <a:gd name="T64" fmla="*/ 1 w 485"/>
                <a:gd name="T65" fmla="*/ 502 h 511"/>
                <a:gd name="T66" fmla="*/ 4 w 485"/>
                <a:gd name="T67" fmla="*/ 506 h 511"/>
                <a:gd name="T68" fmla="*/ 10 w 485"/>
                <a:gd name="T69" fmla="*/ 509 h 511"/>
                <a:gd name="T70" fmla="*/ 15 w 485"/>
                <a:gd name="T71" fmla="*/ 511 h 511"/>
                <a:gd name="T72" fmla="*/ 20 w 485"/>
                <a:gd name="T73" fmla="*/ 509 h 511"/>
                <a:gd name="T74" fmla="*/ 26 w 485"/>
                <a:gd name="T75" fmla="*/ 506 h 511"/>
                <a:gd name="T76" fmla="*/ 229 w 485"/>
                <a:gd name="T77" fmla="*/ 496 h 511"/>
                <a:gd name="T78" fmla="*/ 231 w 485"/>
                <a:gd name="T79" fmla="*/ 502 h 511"/>
                <a:gd name="T80" fmla="*/ 234 w 485"/>
                <a:gd name="T81" fmla="*/ 506 h 511"/>
                <a:gd name="T82" fmla="*/ 238 w 485"/>
                <a:gd name="T83" fmla="*/ 509 h 511"/>
                <a:gd name="T84" fmla="*/ 244 w 485"/>
                <a:gd name="T85" fmla="*/ 511 h 511"/>
                <a:gd name="T86" fmla="*/ 250 w 485"/>
                <a:gd name="T87" fmla="*/ 509 h 511"/>
                <a:gd name="T88" fmla="*/ 255 w 485"/>
                <a:gd name="T89" fmla="*/ 506 h 511"/>
                <a:gd name="T90" fmla="*/ 258 w 485"/>
                <a:gd name="T91" fmla="*/ 502 h 511"/>
                <a:gd name="T92" fmla="*/ 259 w 485"/>
                <a:gd name="T93" fmla="*/ 496 h 511"/>
                <a:gd name="T94" fmla="*/ 459 w 485"/>
                <a:gd name="T95" fmla="*/ 506 h 511"/>
                <a:gd name="T96" fmla="*/ 464 w 485"/>
                <a:gd name="T97" fmla="*/ 509 h 511"/>
                <a:gd name="T98" fmla="*/ 470 w 485"/>
                <a:gd name="T99" fmla="*/ 511 h 511"/>
                <a:gd name="T100" fmla="*/ 475 w 485"/>
                <a:gd name="T101" fmla="*/ 509 h 511"/>
                <a:gd name="T102" fmla="*/ 480 w 485"/>
                <a:gd name="T103" fmla="*/ 506 h 511"/>
                <a:gd name="T104" fmla="*/ 484 w 485"/>
                <a:gd name="T105" fmla="*/ 502 h 511"/>
                <a:gd name="T106" fmla="*/ 485 w 485"/>
                <a:gd name="T107" fmla="*/ 496 h 511"/>
                <a:gd name="T108" fmla="*/ 484 w 485"/>
                <a:gd name="T109" fmla="*/ 490 h 511"/>
                <a:gd name="T110" fmla="*/ 480 w 485"/>
                <a:gd name="T111" fmla="*/ 48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5" h="511">
                  <a:moveTo>
                    <a:pt x="259" y="30"/>
                  </a:moveTo>
                  <a:lnTo>
                    <a:pt x="259" y="235"/>
                  </a:lnTo>
                  <a:lnTo>
                    <a:pt x="229" y="235"/>
                  </a:lnTo>
                  <a:lnTo>
                    <a:pt x="229" y="30"/>
                  </a:lnTo>
                  <a:lnTo>
                    <a:pt x="259" y="30"/>
                  </a:lnTo>
                  <a:close/>
                  <a:moveTo>
                    <a:pt x="259" y="265"/>
                  </a:moveTo>
                  <a:lnTo>
                    <a:pt x="266" y="264"/>
                  </a:lnTo>
                  <a:lnTo>
                    <a:pt x="271" y="262"/>
                  </a:lnTo>
                  <a:lnTo>
                    <a:pt x="277" y="260"/>
                  </a:lnTo>
                  <a:lnTo>
                    <a:pt x="281" y="255"/>
                  </a:lnTo>
                  <a:lnTo>
                    <a:pt x="284" y="251"/>
                  </a:lnTo>
                  <a:lnTo>
                    <a:pt x="287" y="246"/>
                  </a:lnTo>
                  <a:lnTo>
                    <a:pt x="288" y="240"/>
                  </a:lnTo>
                  <a:lnTo>
                    <a:pt x="289" y="235"/>
                  </a:lnTo>
                  <a:lnTo>
                    <a:pt x="289" y="30"/>
                  </a:lnTo>
                  <a:lnTo>
                    <a:pt x="350" y="30"/>
                  </a:lnTo>
                  <a:lnTo>
                    <a:pt x="353" y="30"/>
                  </a:lnTo>
                  <a:lnTo>
                    <a:pt x="355" y="29"/>
                  </a:lnTo>
                  <a:lnTo>
                    <a:pt x="358" y="27"/>
                  </a:lnTo>
                  <a:lnTo>
                    <a:pt x="360" y="26"/>
                  </a:lnTo>
                  <a:lnTo>
                    <a:pt x="362" y="24"/>
                  </a:lnTo>
                  <a:lnTo>
                    <a:pt x="363" y="20"/>
                  </a:lnTo>
                  <a:lnTo>
                    <a:pt x="365" y="18"/>
                  </a:lnTo>
                  <a:lnTo>
                    <a:pt x="365" y="15"/>
                  </a:lnTo>
                  <a:lnTo>
                    <a:pt x="365" y="12"/>
                  </a:lnTo>
                  <a:lnTo>
                    <a:pt x="363" y="9"/>
                  </a:lnTo>
                  <a:lnTo>
                    <a:pt x="362" y="7"/>
                  </a:lnTo>
                  <a:lnTo>
                    <a:pt x="360" y="4"/>
                  </a:lnTo>
                  <a:lnTo>
                    <a:pt x="358" y="2"/>
                  </a:lnTo>
                  <a:lnTo>
                    <a:pt x="355" y="1"/>
                  </a:lnTo>
                  <a:lnTo>
                    <a:pt x="353" y="0"/>
                  </a:lnTo>
                  <a:lnTo>
                    <a:pt x="350" y="0"/>
                  </a:lnTo>
                  <a:lnTo>
                    <a:pt x="139" y="0"/>
                  </a:lnTo>
                  <a:lnTo>
                    <a:pt x="136" y="0"/>
                  </a:lnTo>
                  <a:lnTo>
                    <a:pt x="133" y="1"/>
                  </a:lnTo>
                  <a:lnTo>
                    <a:pt x="131" y="2"/>
                  </a:lnTo>
                  <a:lnTo>
                    <a:pt x="129" y="4"/>
                  </a:lnTo>
                  <a:lnTo>
                    <a:pt x="127" y="7"/>
                  </a:lnTo>
                  <a:lnTo>
                    <a:pt x="125" y="9"/>
                  </a:lnTo>
                  <a:lnTo>
                    <a:pt x="124" y="12"/>
                  </a:lnTo>
                  <a:lnTo>
                    <a:pt x="124" y="15"/>
                  </a:lnTo>
                  <a:lnTo>
                    <a:pt x="124" y="18"/>
                  </a:lnTo>
                  <a:lnTo>
                    <a:pt x="125" y="20"/>
                  </a:lnTo>
                  <a:lnTo>
                    <a:pt x="127" y="24"/>
                  </a:lnTo>
                  <a:lnTo>
                    <a:pt x="129" y="26"/>
                  </a:lnTo>
                  <a:lnTo>
                    <a:pt x="131" y="27"/>
                  </a:lnTo>
                  <a:lnTo>
                    <a:pt x="133" y="29"/>
                  </a:lnTo>
                  <a:lnTo>
                    <a:pt x="136" y="30"/>
                  </a:lnTo>
                  <a:lnTo>
                    <a:pt x="139" y="30"/>
                  </a:lnTo>
                  <a:lnTo>
                    <a:pt x="199" y="30"/>
                  </a:lnTo>
                  <a:lnTo>
                    <a:pt x="199" y="235"/>
                  </a:lnTo>
                  <a:lnTo>
                    <a:pt x="199" y="240"/>
                  </a:lnTo>
                  <a:lnTo>
                    <a:pt x="202" y="246"/>
                  </a:lnTo>
                  <a:lnTo>
                    <a:pt x="204" y="251"/>
                  </a:lnTo>
                  <a:lnTo>
                    <a:pt x="208" y="255"/>
                  </a:lnTo>
                  <a:lnTo>
                    <a:pt x="212" y="260"/>
                  </a:lnTo>
                  <a:lnTo>
                    <a:pt x="218" y="262"/>
                  </a:lnTo>
                  <a:lnTo>
                    <a:pt x="223" y="264"/>
                  </a:lnTo>
                  <a:lnTo>
                    <a:pt x="228" y="265"/>
                  </a:lnTo>
                  <a:lnTo>
                    <a:pt x="4" y="485"/>
                  </a:lnTo>
                  <a:lnTo>
                    <a:pt x="2" y="488"/>
                  </a:lnTo>
                  <a:lnTo>
                    <a:pt x="1" y="490"/>
                  </a:lnTo>
                  <a:lnTo>
                    <a:pt x="0" y="493"/>
                  </a:lnTo>
                  <a:lnTo>
                    <a:pt x="0" y="496"/>
                  </a:lnTo>
                  <a:lnTo>
                    <a:pt x="0" y="499"/>
                  </a:lnTo>
                  <a:lnTo>
                    <a:pt x="1" y="502"/>
                  </a:lnTo>
                  <a:lnTo>
                    <a:pt x="2" y="504"/>
                  </a:lnTo>
                  <a:lnTo>
                    <a:pt x="4" y="506"/>
                  </a:lnTo>
                  <a:lnTo>
                    <a:pt x="6" y="508"/>
                  </a:lnTo>
                  <a:lnTo>
                    <a:pt x="10" y="509"/>
                  </a:lnTo>
                  <a:lnTo>
                    <a:pt x="12" y="511"/>
                  </a:lnTo>
                  <a:lnTo>
                    <a:pt x="15" y="511"/>
                  </a:lnTo>
                  <a:lnTo>
                    <a:pt x="18" y="511"/>
                  </a:lnTo>
                  <a:lnTo>
                    <a:pt x="20" y="509"/>
                  </a:lnTo>
                  <a:lnTo>
                    <a:pt x="23" y="508"/>
                  </a:lnTo>
                  <a:lnTo>
                    <a:pt x="26" y="506"/>
                  </a:lnTo>
                  <a:lnTo>
                    <a:pt x="229" y="306"/>
                  </a:lnTo>
                  <a:lnTo>
                    <a:pt x="229" y="496"/>
                  </a:lnTo>
                  <a:lnTo>
                    <a:pt x="229" y="499"/>
                  </a:lnTo>
                  <a:lnTo>
                    <a:pt x="231" y="502"/>
                  </a:lnTo>
                  <a:lnTo>
                    <a:pt x="232" y="504"/>
                  </a:lnTo>
                  <a:lnTo>
                    <a:pt x="234" y="506"/>
                  </a:lnTo>
                  <a:lnTo>
                    <a:pt x="236" y="508"/>
                  </a:lnTo>
                  <a:lnTo>
                    <a:pt x="238" y="509"/>
                  </a:lnTo>
                  <a:lnTo>
                    <a:pt x="241" y="511"/>
                  </a:lnTo>
                  <a:lnTo>
                    <a:pt x="244" y="511"/>
                  </a:lnTo>
                  <a:lnTo>
                    <a:pt x="248" y="511"/>
                  </a:lnTo>
                  <a:lnTo>
                    <a:pt x="250" y="509"/>
                  </a:lnTo>
                  <a:lnTo>
                    <a:pt x="253" y="508"/>
                  </a:lnTo>
                  <a:lnTo>
                    <a:pt x="255" y="506"/>
                  </a:lnTo>
                  <a:lnTo>
                    <a:pt x="256" y="504"/>
                  </a:lnTo>
                  <a:lnTo>
                    <a:pt x="258" y="502"/>
                  </a:lnTo>
                  <a:lnTo>
                    <a:pt x="259" y="499"/>
                  </a:lnTo>
                  <a:lnTo>
                    <a:pt x="259" y="496"/>
                  </a:lnTo>
                  <a:lnTo>
                    <a:pt x="259" y="307"/>
                  </a:lnTo>
                  <a:lnTo>
                    <a:pt x="459" y="506"/>
                  </a:lnTo>
                  <a:lnTo>
                    <a:pt x="461" y="508"/>
                  </a:lnTo>
                  <a:lnTo>
                    <a:pt x="464" y="509"/>
                  </a:lnTo>
                  <a:lnTo>
                    <a:pt x="466" y="511"/>
                  </a:lnTo>
                  <a:lnTo>
                    <a:pt x="470" y="511"/>
                  </a:lnTo>
                  <a:lnTo>
                    <a:pt x="473" y="511"/>
                  </a:lnTo>
                  <a:lnTo>
                    <a:pt x="475" y="509"/>
                  </a:lnTo>
                  <a:lnTo>
                    <a:pt x="478" y="508"/>
                  </a:lnTo>
                  <a:lnTo>
                    <a:pt x="480" y="506"/>
                  </a:lnTo>
                  <a:lnTo>
                    <a:pt x="482" y="504"/>
                  </a:lnTo>
                  <a:lnTo>
                    <a:pt x="484" y="502"/>
                  </a:lnTo>
                  <a:lnTo>
                    <a:pt x="485" y="499"/>
                  </a:lnTo>
                  <a:lnTo>
                    <a:pt x="485" y="496"/>
                  </a:lnTo>
                  <a:lnTo>
                    <a:pt x="485" y="493"/>
                  </a:lnTo>
                  <a:lnTo>
                    <a:pt x="484" y="490"/>
                  </a:lnTo>
                  <a:lnTo>
                    <a:pt x="482" y="488"/>
                  </a:lnTo>
                  <a:lnTo>
                    <a:pt x="480" y="485"/>
                  </a:lnTo>
                  <a:lnTo>
                    <a:pt x="259"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420">
              <a:extLst>
                <a:ext uri="{FF2B5EF4-FFF2-40B4-BE49-F238E27FC236}">
                  <a16:creationId xmlns:a16="http://schemas.microsoft.com/office/drawing/2014/main" id="{9144D0C4-690F-4192-A3EF-BF2124187D1B}"/>
                </a:ext>
              </a:extLst>
            </p:cNvPr>
            <p:cNvSpPr>
              <a:spLocks noEditPoints="1"/>
            </p:cNvSpPr>
            <p:nvPr/>
          </p:nvSpPr>
          <p:spPr bwMode="auto">
            <a:xfrm>
              <a:off x="8802688" y="3642995"/>
              <a:ext cx="161925" cy="114300"/>
            </a:xfrm>
            <a:custGeom>
              <a:avLst/>
              <a:gdLst>
                <a:gd name="T0" fmla="*/ 481 w 512"/>
                <a:gd name="T1" fmla="*/ 307 h 361"/>
                <a:gd name="T2" fmla="*/ 473 w 512"/>
                <a:gd name="T3" fmla="*/ 319 h 361"/>
                <a:gd name="T4" fmla="*/ 455 w 512"/>
                <a:gd name="T5" fmla="*/ 329 h 361"/>
                <a:gd name="T6" fmla="*/ 65 w 512"/>
                <a:gd name="T7" fmla="*/ 331 h 361"/>
                <a:gd name="T8" fmla="*/ 48 w 512"/>
                <a:gd name="T9" fmla="*/ 327 h 361"/>
                <a:gd name="T10" fmla="*/ 35 w 512"/>
                <a:gd name="T11" fmla="*/ 314 h 361"/>
                <a:gd name="T12" fmla="*/ 31 w 512"/>
                <a:gd name="T13" fmla="*/ 91 h 361"/>
                <a:gd name="T14" fmla="*/ 37 w 512"/>
                <a:gd name="T15" fmla="*/ 72 h 361"/>
                <a:gd name="T16" fmla="*/ 51 w 512"/>
                <a:gd name="T17" fmla="*/ 62 h 361"/>
                <a:gd name="T18" fmla="*/ 69 w 512"/>
                <a:gd name="T19" fmla="*/ 60 h 361"/>
                <a:gd name="T20" fmla="*/ 214 w 512"/>
                <a:gd name="T21" fmla="*/ 60 h 361"/>
                <a:gd name="T22" fmla="*/ 222 w 512"/>
                <a:gd name="T23" fmla="*/ 55 h 361"/>
                <a:gd name="T24" fmla="*/ 239 w 512"/>
                <a:gd name="T25" fmla="*/ 37 h 361"/>
                <a:gd name="T26" fmla="*/ 248 w 512"/>
                <a:gd name="T27" fmla="*/ 31 h 361"/>
                <a:gd name="T28" fmla="*/ 350 w 512"/>
                <a:gd name="T29" fmla="*/ 31 h 361"/>
                <a:gd name="T30" fmla="*/ 358 w 512"/>
                <a:gd name="T31" fmla="*/ 34 h 361"/>
                <a:gd name="T32" fmla="*/ 367 w 512"/>
                <a:gd name="T33" fmla="*/ 46 h 361"/>
                <a:gd name="T34" fmla="*/ 387 w 512"/>
                <a:gd name="T35" fmla="*/ 60 h 361"/>
                <a:gd name="T36" fmla="*/ 453 w 512"/>
                <a:gd name="T37" fmla="*/ 61 h 361"/>
                <a:gd name="T38" fmla="*/ 469 w 512"/>
                <a:gd name="T39" fmla="*/ 67 h 361"/>
                <a:gd name="T40" fmla="*/ 481 w 512"/>
                <a:gd name="T41" fmla="*/ 83 h 361"/>
                <a:gd name="T42" fmla="*/ 448 w 512"/>
                <a:gd name="T43" fmla="*/ 30 h 361"/>
                <a:gd name="T44" fmla="*/ 386 w 512"/>
                <a:gd name="T45" fmla="*/ 20 h 361"/>
                <a:gd name="T46" fmla="*/ 371 w 512"/>
                <a:gd name="T47" fmla="*/ 7 h 361"/>
                <a:gd name="T48" fmla="*/ 353 w 512"/>
                <a:gd name="T49" fmla="*/ 1 h 361"/>
                <a:gd name="T50" fmla="*/ 250 w 512"/>
                <a:gd name="T51" fmla="*/ 0 h 361"/>
                <a:gd name="T52" fmla="*/ 233 w 512"/>
                <a:gd name="T53" fmla="*/ 4 h 361"/>
                <a:gd name="T54" fmla="*/ 218 w 512"/>
                <a:gd name="T55" fmla="*/ 15 h 361"/>
                <a:gd name="T56" fmla="*/ 118 w 512"/>
                <a:gd name="T57" fmla="*/ 30 h 361"/>
                <a:gd name="T58" fmla="*/ 69 w 512"/>
                <a:gd name="T59" fmla="*/ 30 h 361"/>
                <a:gd name="T60" fmla="*/ 39 w 512"/>
                <a:gd name="T61" fmla="*/ 34 h 361"/>
                <a:gd name="T62" fmla="*/ 15 w 512"/>
                <a:gd name="T63" fmla="*/ 50 h 361"/>
                <a:gd name="T64" fmla="*/ 6 w 512"/>
                <a:gd name="T65" fmla="*/ 65 h 361"/>
                <a:gd name="T66" fmla="*/ 1 w 512"/>
                <a:gd name="T67" fmla="*/ 83 h 361"/>
                <a:gd name="T68" fmla="*/ 1 w 512"/>
                <a:gd name="T69" fmla="*/ 306 h 361"/>
                <a:gd name="T70" fmla="*/ 7 w 512"/>
                <a:gd name="T71" fmla="*/ 326 h 361"/>
                <a:gd name="T72" fmla="*/ 18 w 512"/>
                <a:gd name="T73" fmla="*/ 341 h 361"/>
                <a:gd name="T74" fmla="*/ 43 w 512"/>
                <a:gd name="T75" fmla="*/ 357 h 361"/>
                <a:gd name="T76" fmla="*/ 444 w 512"/>
                <a:gd name="T77" fmla="*/ 361 h 361"/>
                <a:gd name="T78" fmla="*/ 474 w 512"/>
                <a:gd name="T79" fmla="*/ 355 h 361"/>
                <a:gd name="T80" fmla="*/ 490 w 512"/>
                <a:gd name="T81" fmla="*/ 345 h 361"/>
                <a:gd name="T82" fmla="*/ 503 w 512"/>
                <a:gd name="T83" fmla="*/ 331 h 361"/>
                <a:gd name="T84" fmla="*/ 511 w 512"/>
                <a:gd name="T85" fmla="*/ 313 h 361"/>
                <a:gd name="T86" fmla="*/ 512 w 512"/>
                <a:gd name="T87" fmla="*/ 91 h 361"/>
                <a:gd name="T88" fmla="*/ 508 w 512"/>
                <a:gd name="T89" fmla="*/ 72 h 361"/>
                <a:gd name="T90" fmla="*/ 500 w 512"/>
                <a:gd name="T91" fmla="*/ 54 h 361"/>
                <a:gd name="T92" fmla="*/ 487 w 512"/>
                <a:gd name="T93" fmla="*/ 43 h 361"/>
                <a:gd name="T94" fmla="*/ 472 w 512"/>
                <a:gd name="T95" fmla="*/ 3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361">
                  <a:moveTo>
                    <a:pt x="482" y="299"/>
                  </a:moveTo>
                  <a:lnTo>
                    <a:pt x="482" y="303"/>
                  </a:lnTo>
                  <a:lnTo>
                    <a:pt x="481" y="307"/>
                  </a:lnTo>
                  <a:lnTo>
                    <a:pt x="479" y="311"/>
                  </a:lnTo>
                  <a:lnTo>
                    <a:pt x="477" y="314"/>
                  </a:lnTo>
                  <a:lnTo>
                    <a:pt x="473" y="319"/>
                  </a:lnTo>
                  <a:lnTo>
                    <a:pt x="468" y="324"/>
                  </a:lnTo>
                  <a:lnTo>
                    <a:pt x="461" y="327"/>
                  </a:lnTo>
                  <a:lnTo>
                    <a:pt x="455" y="329"/>
                  </a:lnTo>
                  <a:lnTo>
                    <a:pt x="449" y="330"/>
                  </a:lnTo>
                  <a:lnTo>
                    <a:pt x="444" y="331"/>
                  </a:lnTo>
                  <a:lnTo>
                    <a:pt x="65" y="331"/>
                  </a:lnTo>
                  <a:lnTo>
                    <a:pt x="60" y="330"/>
                  </a:lnTo>
                  <a:lnTo>
                    <a:pt x="55" y="329"/>
                  </a:lnTo>
                  <a:lnTo>
                    <a:pt x="48" y="327"/>
                  </a:lnTo>
                  <a:lnTo>
                    <a:pt x="43" y="324"/>
                  </a:lnTo>
                  <a:lnTo>
                    <a:pt x="39" y="319"/>
                  </a:lnTo>
                  <a:lnTo>
                    <a:pt x="35" y="314"/>
                  </a:lnTo>
                  <a:lnTo>
                    <a:pt x="31" y="307"/>
                  </a:lnTo>
                  <a:lnTo>
                    <a:pt x="31" y="299"/>
                  </a:lnTo>
                  <a:lnTo>
                    <a:pt x="31" y="91"/>
                  </a:lnTo>
                  <a:lnTo>
                    <a:pt x="31" y="83"/>
                  </a:lnTo>
                  <a:lnTo>
                    <a:pt x="33" y="77"/>
                  </a:lnTo>
                  <a:lnTo>
                    <a:pt x="37" y="72"/>
                  </a:lnTo>
                  <a:lnTo>
                    <a:pt x="41" y="67"/>
                  </a:lnTo>
                  <a:lnTo>
                    <a:pt x="46" y="64"/>
                  </a:lnTo>
                  <a:lnTo>
                    <a:pt x="51" y="62"/>
                  </a:lnTo>
                  <a:lnTo>
                    <a:pt x="56" y="61"/>
                  </a:lnTo>
                  <a:lnTo>
                    <a:pt x="61" y="60"/>
                  </a:lnTo>
                  <a:lnTo>
                    <a:pt x="69" y="60"/>
                  </a:lnTo>
                  <a:lnTo>
                    <a:pt x="118" y="60"/>
                  </a:lnTo>
                  <a:lnTo>
                    <a:pt x="211" y="60"/>
                  </a:lnTo>
                  <a:lnTo>
                    <a:pt x="214" y="60"/>
                  </a:lnTo>
                  <a:lnTo>
                    <a:pt x="217" y="59"/>
                  </a:lnTo>
                  <a:lnTo>
                    <a:pt x="220" y="58"/>
                  </a:lnTo>
                  <a:lnTo>
                    <a:pt x="222" y="55"/>
                  </a:lnTo>
                  <a:lnTo>
                    <a:pt x="237" y="40"/>
                  </a:lnTo>
                  <a:lnTo>
                    <a:pt x="238" y="39"/>
                  </a:lnTo>
                  <a:lnTo>
                    <a:pt x="239" y="37"/>
                  </a:lnTo>
                  <a:lnTo>
                    <a:pt x="241" y="34"/>
                  </a:lnTo>
                  <a:lnTo>
                    <a:pt x="244" y="32"/>
                  </a:lnTo>
                  <a:lnTo>
                    <a:pt x="248" y="31"/>
                  </a:lnTo>
                  <a:lnTo>
                    <a:pt x="256" y="30"/>
                  </a:lnTo>
                  <a:lnTo>
                    <a:pt x="347" y="30"/>
                  </a:lnTo>
                  <a:lnTo>
                    <a:pt x="350" y="31"/>
                  </a:lnTo>
                  <a:lnTo>
                    <a:pt x="353" y="31"/>
                  </a:lnTo>
                  <a:lnTo>
                    <a:pt x="356" y="33"/>
                  </a:lnTo>
                  <a:lnTo>
                    <a:pt x="358" y="34"/>
                  </a:lnTo>
                  <a:lnTo>
                    <a:pt x="363" y="38"/>
                  </a:lnTo>
                  <a:lnTo>
                    <a:pt x="365" y="43"/>
                  </a:lnTo>
                  <a:lnTo>
                    <a:pt x="367" y="46"/>
                  </a:lnTo>
                  <a:lnTo>
                    <a:pt x="370" y="48"/>
                  </a:lnTo>
                  <a:lnTo>
                    <a:pt x="383" y="58"/>
                  </a:lnTo>
                  <a:lnTo>
                    <a:pt x="387" y="60"/>
                  </a:lnTo>
                  <a:lnTo>
                    <a:pt x="392" y="60"/>
                  </a:lnTo>
                  <a:lnTo>
                    <a:pt x="448" y="60"/>
                  </a:lnTo>
                  <a:lnTo>
                    <a:pt x="453" y="61"/>
                  </a:lnTo>
                  <a:lnTo>
                    <a:pt x="458" y="62"/>
                  </a:lnTo>
                  <a:lnTo>
                    <a:pt x="463" y="64"/>
                  </a:lnTo>
                  <a:lnTo>
                    <a:pt x="469" y="67"/>
                  </a:lnTo>
                  <a:lnTo>
                    <a:pt x="474" y="70"/>
                  </a:lnTo>
                  <a:lnTo>
                    <a:pt x="478" y="76"/>
                  </a:lnTo>
                  <a:lnTo>
                    <a:pt x="481" y="83"/>
                  </a:lnTo>
                  <a:lnTo>
                    <a:pt x="482" y="91"/>
                  </a:lnTo>
                  <a:lnTo>
                    <a:pt x="482" y="299"/>
                  </a:lnTo>
                  <a:close/>
                  <a:moveTo>
                    <a:pt x="448" y="30"/>
                  </a:moveTo>
                  <a:lnTo>
                    <a:pt x="396" y="30"/>
                  </a:lnTo>
                  <a:lnTo>
                    <a:pt x="390" y="25"/>
                  </a:lnTo>
                  <a:lnTo>
                    <a:pt x="386" y="20"/>
                  </a:lnTo>
                  <a:lnTo>
                    <a:pt x="382" y="15"/>
                  </a:lnTo>
                  <a:lnTo>
                    <a:pt x="377" y="10"/>
                  </a:lnTo>
                  <a:lnTo>
                    <a:pt x="371" y="7"/>
                  </a:lnTo>
                  <a:lnTo>
                    <a:pt x="366" y="4"/>
                  </a:lnTo>
                  <a:lnTo>
                    <a:pt x="359" y="2"/>
                  </a:lnTo>
                  <a:lnTo>
                    <a:pt x="353" y="1"/>
                  </a:lnTo>
                  <a:lnTo>
                    <a:pt x="347" y="0"/>
                  </a:lnTo>
                  <a:lnTo>
                    <a:pt x="256" y="0"/>
                  </a:lnTo>
                  <a:lnTo>
                    <a:pt x="250" y="0"/>
                  </a:lnTo>
                  <a:lnTo>
                    <a:pt x="245" y="1"/>
                  </a:lnTo>
                  <a:lnTo>
                    <a:pt x="238" y="2"/>
                  </a:lnTo>
                  <a:lnTo>
                    <a:pt x="233" y="4"/>
                  </a:lnTo>
                  <a:lnTo>
                    <a:pt x="228" y="6"/>
                  </a:lnTo>
                  <a:lnTo>
                    <a:pt x="223" y="10"/>
                  </a:lnTo>
                  <a:lnTo>
                    <a:pt x="218" y="15"/>
                  </a:lnTo>
                  <a:lnTo>
                    <a:pt x="214" y="21"/>
                  </a:lnTo>
                  <a:lnTo>
                    <a:pt x="205" y="30"/>
                  </a:lnTo>
                  <a:lnTo>
                    <a:pt x="118" y="30"/>
                  </a:lnTo>
                  <a:lnTo>
                    <a:pt x="118" y="0"/>
                  </a:lnTo>
                  <a:lnTo>
                    <a:pt x="69" y="0"/>
                  </a:lnTo>
                  <a:lnTo>
                    <a:pt x="69" y="30"/>
                  </a:lnTo>
                  <a:lnTo>
                    <a:pt x="61" y="30"/>
                  </a:lnTo>
                  <a:lnTo>
                    <a:pt x="50" y="31"/>
                  </a:lnTo>
                  <a:lnTo>
                    <a:pt x="39" y="34"/>
                  </a:lnTo>
                  <a:lnTo>
                    <a:pt x="29" y="39"/>
                  </a:lnTo>
                  <a:lnTo>
                    <a:pt x="19" y="46"/>
                  </a:lnTo>
                  <a:lnTo>
                    <a:pt x="15" y="50"/>
                  </a:lnTo>
                  <a:lnTo>
                    <a:pt x="12" y="54"/>
                  </a:lnTo>
                  <a:lnTo>
                    <a:pt x="9" y="60"/>
                  </a:lnTo>
                  <a:lnTo>
                    <a:pt x="6" y="65"/>
                  </a:lnTo>
                  <a:lnTo>
                    <a:pt x="3" y="70"/>
                  </a:lnTo>
                  <a:lnTo>
                    <a:pt x="2" y="77"/>
                  </a:lnTo>
                  <a:lnTo>
                    <a:pt x="1" y="83"/>
                  </a:lnTo>
                  <a:lnTo>
                    <a:pt x="0" y="91"/>
                  </a:lnTo>
                  <a:lnTo>
                    <a:pt x="0" y="299"/>
                  </a:lnTo>
                  <a:lnTo>
                    <a:pt x="1" y="306"/>
                  </a:lnTo>
                  <a:lnTo>
                    <a:pt x="2" y="314"/>
                  </a:lnTo>
                  <a:lnTo>
                    <a:pt x="4" y="320"/>
                  </a:lnTo>
                  <a:lnTo>
                    <a:pt x="7" y="326"/>
                  </a:lnTo>
                  <a:lnTo>
                    <a:pt x="10" y="331"/>
                  </a:lnTo>
                  <a:lnTo>
                    <a:pt x="14" y="336"/>
                  </a:lnTo>
                  <a:lnTo>
                    <a:pt x="18" y="341"/>
                  </a:lnTo>
                  <a:lnTo>
                    <a:pt x="23" y="345"/>
                  </a:lnTo>
                  <a:lnTo>
                    <a:pt x="32" y="351"/>
                  </a:lnTo>
                  <a:lnTo>
                    <a:pt x="43" y="357"/>
                  </a:lnTo>
                  <a:lnTo>
                    <a:pt x="54" y="360"/>
                  </a:lnTo>
                  <a:lnTo>
                    <a:pt x="65" y="361"/>
                  </a:lnTo>
                  <a:lnTo>
                    <a:pt x="444" y="361"/>
                  </a:lnTo>
                  <a:lnTo>
                    <a:pt x="456" y="360"/>
                  </a:lnTo>
                  <a:lnTo>
                    <a:pt x="469" y="357"/>
                  </a:lnTo>
                  <a:lnTo>
                    <a:pt x="474" y="355"/>
                  </a:lnTo>
                  <a:lnTo>
                    <a:pt x="479" y="351"/>
                  </a:lnTo>
                  <a:lnTo>
                    <a:pt x="485" y="348"/>
                  </a:lnTo>
                  <a:lnTo>
                    <a:pt x="490" y="345"/>
                  </a:lnTo>
                  <a:lnTo>
                    <a:pt x="494" y="341"/>
                  </a:lnTo>
                  <a:lnTo>
                    <a:pt x="499" y="335"/>
                  </a:lnTo>
                  <a:lnTo>
                    <a:pt x="503" y="331"/>
                  </a:lnTo>
                  <a:lnTo>
                    <a:pt x="506" y="326"/>
                  </a:lnTo>
                  <a:lnTo>
                    <a:pt x="508" y="319"/>
                  </a:lnTo>
                  <a:lnTo>
                    <a:pt x="511" y="313"/>
                  </a:lnTo>
                  <a:lnTo>
                    <a:pt x="512" y="306"/>
                  </a:lnTo>
                  <a:lnTo>
                    <a:pt x="512" y="299"/>
                  </a:lnTo>
                  <a:lnTo>
                    <a:pt x="512" y="91"/>
                  </a:lnTo>
                  <a:lnTo>
                    <a:pt x="512" y="83"/>
                  </a:lnTo>
                  <a:lnTo>
                    <a:pt x="511" y="77"/>
                  </a:lnTo>
                  <a:lnTo>
                    <a:pt x="508" y="72"/>
                  </a:lnTo>
                  <a:lnTo>
                    <a:pt x="506" y="65"/>
                  </a:lnTo>
                  <a:lnTo>
                    <a:pt x="503" y="60"/>
                  </a:lnTo>
                  <a:lnTo>
                    <a:pt x="500" y="54"/>
                  </a:lnTo>
                  <a:lnTo>
                    <a:pt x="496" y="50"/>
                  </a:lnTo>
                  <a:lnTo>
                    <a:pt x="491" y="46"/>
                  </a:lnTo>
                  <a:lnTo>
                    <a:pt x="487" y="43"/>
                  </a:lnTo>
                  <a:lnTo>
                    <a:pt x="482" y="39"/>
                  </a:lnTo>
                  <a:lnTo>
                    <a:pt x="477" y="36"/>
                  </a:lnTo>
                  <a:lnTo>
                    <a:pt x="472" y="34"/>
                  </a:lnTo>
                  <a:lnTo>
                    <a:pt x="460" y="31"/>
                  </a:lnTo>
                  <a:lnTo>
                    <a:pt x="44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421">
              <a:extLst>
                <a:ext uri="{FF2B5EF4-FFF2-40B4-BE49-F238E27FC236}">
                  <a16:creationId xmlns:a16="http://schemas.microsoft.com/office/drawing/2014/main" id="{D2256A99-497D-4AA1-9F43-B2CAEDAB4FED}"/>
                </a:ext>
              </a:extLst>
            </p:cNvPr>
            <p:cNvSpPr>
              <a:spLocks noEditPoints="1"/>
            </p:cNvSpPr>
            <p:nvPr/>
          </p:nvSpPr>
          <p:spPr bwMode="auto">
            <a:xfrm>
              <a:off x="8869363" y="3671570"/>
              <a:ext cx="57150" cy="57150"/>
            </a:xfrm>
            <a:custGeom>
              <a:avLst/>
              <a:gdLst>
                <a:gd name="T0" fmla="*/ 79 w 181"/>
                <a:gd name="T1" fmla="*/ 149 h 181"/>
                <a:gd name="T2" fmla="*/ 62 w 181"/>
                <a:gd name="T3" fmla="*/ 143 h 181"/>
                <a:gd name="T4" fmla="*/ 48 w 181"/>
                <a:gd name="T5" fmla="*/ 133 h 181"/>
                <a:gd name="T6" fmla="*/ 38 w 181"/>
                <a:gd name="T7" fmla="*/ 119 h 181"/>
                <a:gd name="T8" fmla="*/ 32 w 181"/>
                <a:gd name="T9" fmla="*/ 103 h 181"/>
                <a:gd name="T10" fmla="*/ 30 w 181"/>
                <a:gd name="T11" fmla="*/ 84 h 181"/>
                <a:gd name="T12" fmla="*/ 35 w 181"/>
                <a:gd name="T13" fmla="*/ 67 h 181"/>
                <a:gd name="T14" fmla="*/ 44 w 181"/>
                <a:gd name="T15" fmla="*/ 52 h 181"/>
                <a:gd name="T16" fmla="*/ 57 w 181"/>
                <a:gd name="T17" fmla="*/ 41 h 181"/>
                <a:gd name="T18" fmla="*/ 72 w 181"/>
                <a:gd name="T19" fmla="*/ 33 h 181"/>
                <a:gd name="T20" fmla="*/ 90 w 181"/>
                <a:gd name="T21" fmla="*/ 30 h 181"/>
                <a:gd name="T22" fmla="*/ 109 w 181"/>
                <a:gd name="T23" fmla="*/ 33 h 181"/>
                <a:gd name="T24" fmla="*/ 124 w 181"/>
                <a:gd name="T25" fmla="*/ 41 h 181"/>
                <a:gd name="T26" fmla="*/ 137 w 181"/>
                <a:gd name="T27" fmla="*/ 52 h 181"/>
                <a:gd name="T28" fmla="*/ 146 w 181"/>
                <a:gd name="T29" fmla="*/ 67 h 181"/>
                <a:gd name="T30" fmla="*/ 151 w 181"/>
                <a:gd name="T31" fmla="*/ 84 h 181"/>
                <a:gd name="T32" fmla="*/ 149 w 181"/>
                <a:gd name="T33" fmla="*/ 103 h 181"/>
                <a:gd name="T34" fmla="*/ 143 w 181"/>
                <a:gd name="T35" fmla="*/ 119 h 181"/>
                <a:gd name="T36" fmla="*/ 132 w 181"/>
                <a:gd name="T37" fmla="*/ 133 h 181"/>
                <a:gd name="T38" fmla="*/ 119 w 181"/>
                <a:gd name="T39" fmla="*/ 143 h 181"/>
                <a:gd name="T40" fmla="*/ 102 w 181"/>
                <a:gd name="T41" fmla="*/ 149 h 181"/>
                <a:gd name="T42" fmla="*/ 90 w 181"/>
                <a:gd name="T43" fmla="*/ 0 h 181"/>
                <a:gd name="T44" fmla="*/ 64 w 181"/>
                <a:gd name="T45" fmla="*/ 4 h 181"/>
                <a:gd name="T46" fmla="*/ 40 w 181"/>
                <a:gd name="T47" fmla="*/ 16 h 181"/>
                <a:gd name="T48" fmla="*/ 21 w 181"/>
                <a:gd name="T49" fmla="*/ 33 h 181"/>
                <a:gd name="T50" fmla="*/ 7 w 181"/>
                <a:gd name="T51" fmla="*/ 56 h 181"/>
                <a:gd name="T52" fmla="*/ 0 w 181"/>
                <a:gd name="T53" fmla="*/ 81 h 181"/>
                <a:gd name="T54" fmla="*/ 1 w 181"/>
                <a:gd name="T55" fmla="*/ 108 h 181"/>
                <a:gd name="T56" fmla="*/ 11 w 181"/>
                <a:gd name="T57" fmla="*/ 134 h 181"/>
                <a:gd name="T58" fmla="*/ 26 w 181"/>
                <a:gd name="T59" fmla="*/ 154 h 181"/>
                <a:gd name="T60" fmla="*/ 48 w 181"/>
                <a:gd name="T61" fmla="*/ 169 h 181"/>
                <a:gd name="T62" fmla="*/ 72 w 181"/>
                <a:gd name="T63" fmla="*/ 179 h 181"/>
                <a:gd name="T64" fmla="*/ 99 w 181"/>
                <a:gd name="T65" fmla="*/ 180 h 181"/>
                <a:gd name="T66" fmla="*/ 126 w 181"/>
                <a:gd name="T67" fmla="*/ 174 h 181"/>
                <a:gd name="T68" fmla="*/ 147 w 181"/>
                <a:gd name="T69" fmla="*/ 160 h 181"/>
                <a:gd name="T70" fmla="*/ 166 w 181"/>
                <a:gd name="T71" fmla="*/ 141 h 181"/>
                <a:gd name="T72" fmla="*/ 176 w 181"/>
                <a:gd name="T73" fmla="*/ 118 h 181"/>
                <a:gd name="T74" fmla="*/ 181 w 181"/>
                <a:gd name="T75" fmla="*/ 91 h 181"/>
                <a:gd name="T76" fmla="*/ 176 w 181"/>
                <a:gd name="T77" fmla="*/ 64 h 181"/>
                <a:gd name="T78" fmla="*/ 166 w 181"/>
                <a:gd name="T79" fmla="*/ 41 h 181"/>
                <a:gd name="T80" fmla="*/ 147 w 181"/>
                <a:gd name="T81" fmla="*/ 21 h 181"/>
                <a:gd name="T82" fmla="*/ 126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90" y="151"/>
                  </a:moveTo>
                  <a:lnTo>
                    <a:pt x="84" y="150"/>
                  </a:lnTo>
                  <a:lnTo>
                    <a:pt x="79" y="149"/>
                  </a:lnTo>
                  <a:lnTo>
                    <a:pt x="72" y="148"/>
                  </a:lnTo>
                  <a:lnTo>
                    <a:pt x="67" y="146"/>
                  </a:lnTo>
                  <a:lnTo>
                    <a:pt x="62" y="143"/>
                  </a:lnTo>
                  <a:lnTo>
                    <a:pt x="57" y="140"/>
                  </a:lnTo>
                  <a:lnTo>
                    <a:pt x="52" y="137"/>
                  </a:lnTo>
                  <a:lnTo>
                    <a:pt x="48" y="133"/>
                  </a:lnTo>
                  <a:lnTo>
                    <a:pt x="44" y="128"/>
                  </a:lnTo>
                  <a:lnTo>
                    <a:pt x="40" y="124"/>
                  </a:lnTo>
                  <a:lnTo>
                    <a:pt x="38" y="119"/>
                  </a:lnTo>
                  <a:lnTo>
                    <a:pt x="35" y="113"/>
                  </a:lnTo>
                  <a:lnTo>
                    <a:pt x="33" y="108"/>
                  </a:lnTo>
                  <a:lnTo>
                    <a:pt x="32" y="103"/>
                  </a:lnTo>
                  <a:lnTo>
                    <a:pt x="30" y="96"/>
                  </a:lnTo>
                  <a:lnTo>
                    <a:pt x="30" y="91"/>
                  </a:lnTo>
                  <a:lnTo>
                    <a:pt x="30" y="84"/>
                  </a:lnTo>
                  <a:lnTo>
                    <a:pt x="32" y="78"/>
                  </a:lnTo>
                  <a:lnTo>
                    <a:pt x="33" y="73"/>
                  </a:lnTo>
                  <a:lnTo>
                    <a:pt x="35" y="67"/>
                  </a:lnTo>
                  <a:lnTo>
                    <a:pt x="38" y="62"/>
                  </a:lnTo>
                  <a:lnTo>
                    <a:pt x="40" y="57"/>
                  </a:lnTo>
                  <a:lnTo>
                    <a:pt x="44" y="52"/>
                  </a:lnTo>
                  <a:lnTo>
                    <a:pt x="48" y="48"/>
                  </a:lnTo>
                  <a:lnTo>
                    <a:pt x="52" y="44"/>
                  </a:lnTo>
                  <a:lnTo>
                    <a:pt x="57" y="41"/>
                  </a:lnTo>
                  <a:lnTo>
                    <a:pt x="62" y="37"/>
                  </a:lnTo>
                  <a:lnTo>
                    <a:pt x="67" y="35"/>
                  </a:lnTo>
                  <a:lnTo>
                    <a:pt x="72" y="33"/>
                  </a:lnTo>
                  <a:lnTo>
                    <a:pt x="79" y="32"/>
                  </a:lnTo>
                  <a:lnTo>
                    <a:pt x="84" y="31"/>
                  </a:lnTo>
                  <a:lnTo>
                    <a:pt x="90" y="30"/>
                  </a:lnTo>
                  <a:lnTo>
                    <a:pt x="97" y="31"/>
                  </a:lnTo>
                  <a:lnTo>
                    <a:pt x="102" y="32"/>
                  </a:lnTo>
                  <a:lnTo>
                    <a:pt x="109" y="33"/>
                  </a:lnTo>
                  <a:lnTo>
                    <a:pt x="114" y="35"/>
                  </a:lnTo>
                  <a:lnTo>
                    <a:pt x="119" y="37"/>
                  </a:lnTo>
                  <a:lnTo>
                    <a:pt x="124" y="41"/>
                  </a:lnTo>
                  <a:lnTo>
                    <a:pt x="129" y="44"/>
                  </a:lnTo>
                  <a:lnTo>
                    <a:pt x="132" y="48"/>
                  </a:lnTo>
                  <a:lnTo>
                    <a:pt x="137" y="52"/>
                  </a:lnTo>
                  <a:lnTo>
                    <a:pt x="140" y="57"/>
                  </a:lnTo>
                  <a:lnTo>
                    <a:pt x="143" y="62"/>
                  </a:lnTo>
                  <a:lnTo>
                    <a:pt x="146" y="67"/>
                  </a:lnTo>
                  <a:lnTo>
                    <a:pt x="147" y="73"/>
                  </a:lnTo>
                  <a:lnTo>
                    <a:pt x="149" y="78"/>
                  </a:lnTo>
                  <a:lnTo>
                    <a:pt x="151" y="84"/>
                  </a:lnTo>
                  <a:lnTo>
                    <a:pt x="151" y="91"/>
                  </a:lnTo>
                  <a:lnTo>
                    <a:pt x="151" y="96"/>
                  </a:lnTo>
                  <a:lnTo>
                    <a:pt x="149" y="103"/>
                  </a:lnTo>
                  <a:lnTo>
                    <a:pt x="147" y="108"/>
                  </a:lnTo>
                  <a:lnTo>
                    <a:pt x="146" y="113"/>
                  </a:lnTo>
                  <a:lnTo>
                    <a:pt x="143" y="119"/>
                  </a:lnTo>
                  <a:lnTo>
                    <a:pt x="140" y="124"/>
                  </a:lnTo>
                  <a:lnTo>
                    <a:pt x="137" y="128"/>
                  </a:lnTo>
                  <a:lnTo>
                    <a:pt x="132" y="133"/>
                  </a:lnTo>
                  <a:lnTo>
                    <a:pt x="129" y="137"/>
                  </a:lnTo>
                  <a:lnTo>
                    <a:pt x="124" y="140"/>
                  </a:lnTo>
                  <a:lnTo>
                    <a:pt x="119" y="143"/>
                  </a:lnTo>
                  <a:lnTo>
                    <a:pt x="114" y="146"/>
                  </a:lnTo>
                  <a:lnTo>
                    <a:pt x="109" y="148"/>
                  </a:lnTo>
                  <a:lnTo>
                    <a:pt x="102" y="149"/>
                  </a:lnTo>
                  <a:lnTo>
                    <a:pt x="97" y="150"/>
                  </a:lnTo>
                  <a:lnTo>
                    <a:pt x="90" y="151"/>
                  </a:lnTo>
                  <a:close/>
                  <a:moveTo>
                    <a:pt x="90" y="0"/>
                  </a:moveTo>
                  <a:lnTo>
                    <a:pt x="81" y="1"/>
                  </a:lnTo>
                  <a:lnTo>
                    <a:pt x="72" y="2"/>
                  </a:lnTo>
                  <a:lnTo>
                    <a:pt x="64" y="4"/>
                  </a:lnTo>
                  <a:lnTo>
                    <a:pt x="55" y="7"/>
                  </a:lnTo>
                  <a:lnTo>
                    <a:pt x="48" y="12"/>
                  </a:lnTo>
                  <a:lnTo>
                    <a:pt x="40" y="16"/>
                  </a:lnTo>
                  <a:lnTo>
                    <a:pt x="33" y="21"/>
                  </a:lnTo>
                  <a:lnTo>
                    <a:pt x="26" y="27"/>
                  </a:lnTo>
                  <a:lnTo>
                    <a:pt x="21" y="33"/>
                  </a:lnTo>
                  <a:lnTo>
                    <a:pt x="15" y="41"/>
                  </a:lnTo>
                  <a:lnTo>
                    <a:pt x="11" y="47"/>
                  </a:lnTo>
                  <a:lnTo>
                    <a:pt x="7" y="56"/>
                  </a:lnTo>
                  <a:lnTo>
                    <a:pt x="5" y="64"/>
                  </a:lnTo>
                  <a:lnTo>
                    <a:pt x="1" y="73"/>
                  </a:lnTo>
                  <a:lnTo>
                    <a:pt x="0" y="81"/>
                  </a:lnTo>
                  <a:lnTo>
                    <a:pt x="0" y="91"/>
                  </a:lnTo>
                  <a:lnTo>
                    <a:pt x="0" y="100"/>
                  </a:lnTo>
                  <a:lnTo>
                    <a:pt x="1" y="108"/>
                  </a:lnTo>
                  <a:lnTo>
                    <a:pt x="5" y="118"/>
                  </a:lnTo>
                  <a:lnTo>
                    <a:pt x="7" y="125"/>
                  </a:lnTo>
                  <a:lnTo>
                    <a:pt x="11" y="134"/>
                  </a:lnTo>
                  <a:lnTo>
                    <a:pt x="15" y="141"/>
                  </a:lnTo>
                  <a:lnTo>
                    <a:pt x="21" y="148"/>
                  </a:lnTo>
                  <a:lnTo>
                    <a:pt x="26" y="154"/>
                  </a:lnTo>
                  <a:lnTo>
                    <a:pt x="33" y="160"/>
                  </a:lnTo>
                  <a:lnTo>
                    <a:pt x="40" y="165"/>
                  </a:lnTo>
                  <a:lnTo>
                    <a:pt x="48" y="169"/>
                  </a:lnTo>
                  <a:lnTo>
                    <a:pt x="55" y="174"/>
                  </a:lnTo>
                  <a:lnTo>
                    <a:pt x="64" y="177"/>
                  </a:lnTo>
                  <a:lnTo>
                    <a:pt x="72" y="179"/>
                  </a:lnTo>
                  <a:lnTo>
                    <a:pt x="81" y="180"/>
                  </a:lnTo>
                  <a:lnTo>
                    <a:pt x="90" y="181"/>
                  </a:lnTo>
                  <a:lnTo>
                    <a:pt x="99" y="180"/>
                  </a:lnTo>
                  <a:lnTo>
                    <a:pt x="109" y="179"/>
                  </a:lnTo>
                  <a:lnTo>
                    <a:pt x="117" y="177"/>
                  </a:lnTo>
                  <a:lnTo>
                    <a:pt x="126" y="174"/>
                  </a:lnTo>
                  <a:lnTo>
                    <a:pt x="133" y="169"/>
                  </a:lnTo>
                  <a:lnTo>
                    <a:pt x="141" y="165"/>
                  </a:lnTo>
                  <a:lnTo>
                    <a:pt x="147" y="160"/>
                  </a:lnTo>
                  <a:lnTo>
                    <a:pt x="154" y="154"/>
                  </a:lnTo>
                  <a:lnTo>
                    <a:pt x="160" y="148"/>
                  </a:lnTo>
                  <a:lnTo>
                    <a:pt x="166" y="141"/>
                  </a:lnTo>
                  <a:lnTo>
                    <a:pt x="170" y="134"/>
                  </a:lnTo>
                  <a:lnTo>
                    <a:pt x="173" y="125"/>
                  </a:lnTo>
                  <a:lnTo>
                    <a:pt x="176" y="118"/>
                  </a:lnTo>
                  <a:lnTo>
                    <a:pt x="178" y="108"/>
                  </a:lnTo>
                  <a:lnTo>
                    <a:pt x="181" y="100"/>
                  </a:lnTo>
                  <a:lnTo>
                    <a:pt x="181" y="91"/>
                  </a:lnTo>
                  <a:lnTo>
                    <a:pt x="181" y="81"/>
                  </a:lnTo>
                  <a:lnTo>
                    <a:pt x="178" y="73"/>
                  </a:lnTo>
                  <a:lnTo>
                    <a:pt x="176" y="64"/>
                  </a:lnTo>
                  <a:lnTo>
                    <a:pt x="173" y="56"/>
                  </a:lnTo>
                  <a:lnTo>
                    <a:pt x="170" y="47"/>
                  </a:lnTo>
                  <a:lnTo>
                    <a:pt x="166" y="41"/>
                  </a:lnTo>
                  <a:lnTo>
                    <a:pt x="160" y="33"/>
                  </a:lnTo>
                  <a:lnTo>
                    <a:pt x="154" y="27"/>
                  </a:lnTo>
                  <a:lnTo>
                    <a:pt x="147" y="21"/>
                  </a:lnTo>
                  <a:lnTo>
                    <a:pt x="141" y="16"/>
                  </a:lnTo>
                  <a:lnTo>
                    <a:pt x="133" y="12"/>
                  </a:lnTo>
                  <a:lnTo>
                    <a:pt x="126" y="7"/>
                  </a:lnTo>
                  <a:lnTo>
                    <a:pt x="117" y="4"/>
                  </a:lnTo>
                  <a:lnTo>
                    <a:pt x="109" y="2"/>
                  </a:lnTo>
                  <a:lnTo>
                    <a:pt x="99" y="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82" name="Group 50">
            <a:extLst>
              <a:ext uri="{FF2B5EF4-FFF2-40B4-BE49-F238E27FC236}">
                <a16:creationId xmlns:a16="http://schemas.microsoft.com/office/drawing/2014/main" id="{3039C9CD-0BDE-40D6-81C9-B54FC3EB2604}"/>
              </a:ext>
            </a:extLst>
          </p:cNvPr>
          <p:cNvGrpSpPr>
            <a:grpSpLocks noChangeAspect="1"/>
          </p:cNvGrpSpPr>
          <p:nvPr/>
        </p:nvGrpSpPr>
        <p:grpSpPr>
          <a:xfrm>
            <a:off x="6196153" y="5956111"/>
            <a:ext cx="266578" cy="285619"/>
            <a:chOff x="8172450" y="3642995"/>
            <a:chExt cx="266700" cy="285750"/>
          </a:xfrm>
          <a:solidFill>
            <a:schemeClr val="bg2"/>
          </a:solidFill>
          <a:effectLst/>
        </p:grpSpPr>
        <p:sp>
          <p:nvSpPr>
            <p:cNvPr id="1483" name="Freeform 414">
              <a:extLst>
                <a:ext uri="{FF2B5EF4-FFF2-40B4-BE49-F238E27FC236}">
                  <a16:creationId xmlns:a16="http://schemas.microsoft.com/office/drawing/2014/main" id="{B023FC69-3B97-4B5A-B828-6846A1EF35AF}"/>
                </a:ext>
              </a:extLst>
            </p:cNvPr>
            <p:cNvSpPr>
              <a:spLocks noEditPoints="1"/>
            </p:cNvSpPr>
            <p:nvPr/>
          </p:nvSpPr>
          <p:spPr bwMode="auto">
            <a:xfrm>
              <a:off x="8172450" y="3642995"/>
              <a:ext cx="266700" cy="285750"/>
            </a:xfrm>
            <a:custGeom>
              <a:avLst/>
              <a:gdLst>
                <a:gd name="T0" fmla="*/ 804 w 841"/>
                <a:gd name="T1" fmla="*/ 853 h 902"/>
                <a:gd name="T2" fmla="*/ 777 w 841"/>
                <a:gd name="T3" fmla="*/ 872 h 902"/>
                <a:gd name="T4" fmla="*/ 70 w 841"/>
                <a:gd name="T5" fmla="*/ 869 h 902"/>
                <a:gd name="T6" fmla="*/ 41 w 841"/>
                <a:gd name="T7" fmla="*/ 846 h 902"/>
                <a:gd name="T8" fmla="*/ 30 w 841"/>
                <a:gd name="T9" fmla="*/ 492 h 902"/>
                <a:gd name="T10" fmla="*/ 41 w 841"/>
                <a:gd name="T11" fmla="*/ 474 h 902"/>
                <a:gd name="T12" fmla="*/ 80 w 841"/>
                <a:gd name="T13" fmla="*/ 452 h 902"/>
                <a:gd name="T14" fmla="*/ 321 w 841"/>
                <a:gd name="T15" fmla="*/ 450 h 902"/>
                <a:gd name="T16" fmla="*/ 610 w 841"/>
                <a:gd name="T17" fmla="*/ 361 h 902"/>
                <a:gd name="T18" fmla="*/ 688 w 841"/>
                <a:gd name="T19" fmla="*/ 451 h 902"/>
                <a:gd name="T20" fmla="*/ 783 w 841"/>
                <a:gd name="T21" fmla="*/ 454 h 902"/>
                <a:gd name="T22" fmla="*/ 807 w 841"/>
                <a:gd name="T23" fmla="*/ 479 h 902"/>
                <a:gd name="T24" fmla="*/ 121 w 841"/>
                <a:gd name="T25" fmla="*/ 413 h 902"/>
                <a:gd name="T26" fmla="*/ 124 w 841"/>
                <a:gd name="T27" fmla="*/ 381 h 902"/>
                <a:gd name="T28" fmla="*/ 139 w 841"/>
                <a:gd name="T29" fmla="*/ 372 h 902"/>
                <a:gd name="T30" fmla="*/ 191 w 841"/>
                <a:gd name="T31" fmla="*/ 373 h 902"/>
                <a:gd name="T32" fmla="*/ 202 w 841"/>
                <a:gd name="T33" fmla="*/ 386 h 902"/>
                <a:gd name="T34" fmla="*/ 204 w 841"/>
                <a:gd name="T35" fmla="*/ 421 h 902"/>
                <a:gd name="T36" fmla="*/ 605 w 841"/>
                <a:gd name="T37" fmla="*/ 331 h 902"/>
                <a:gd name="T38" fmla="*/ 300 w 841"/>
                <a:gd name="T39" fmla="*/ 30 h 902"/>
                <a:gd name="T40" fmla="*/ 300 w 841"/>
                <a:gd name="T41" fmla="*/ 30 h 902"/>
                <a:gd name="T42" fmla="*/ 657 w 841"/>
                <a:gd name="T43" fmla="*/ 271 h 902"/>
                <a:gd name="T44" fmla="*/ 715 w 841"/>
                <a:gd name="T45" fmla="*/ 268 h 902"/>
                <a:gd name="T46" fmla="*/ 721 w 841"/>
                <a:gd name="T47" fmla="*/ 258 h 902"/>
                <a:gd name="T48" fmla="*/ 720 w 841"/>
                <a:gd name="T49" fmla="*/ 9 h 902"/>
                <a:gd name="T50" fmla="*/ 712 w 841"/>
                <a:gd name="T51" fmla="*/ 1 h 902"/>
                <a:gd name="T52" fmla="*/ 282 w 841"/>
                <a:gd name="T53" fmla="*/ 1 h 902"/>
                <a:gd name="T54" fmla="*/ 273 w 841"/>
                <a:gd name="T55" fmla="*/ 6 h 902"/>
                <a:gd name="T56" fmla="*/ 270 w 841"/>
                <a:gd name="T57" fmla="*/ 256 h 902"/>
                <a:gd name="T58" fmla="*/ 274 w 841"/>
                <a:gd name="T59" fmla="*/ 267 h 902"/>
                <a:gd name="T60" fmla="*/ 285 w 841"/>
                <a:gd name="T61" fmla="*/ 271 h 902"/>
                <a:gd name="T62" fmla="*/ 234 w 841"/>
                <a:gd name="T63" fmla="*/ 421 h 902"/>
                <a:gd name="T64" fmla="*/ 230 w 841"/>
                <a:gd name="T65" fmla="*/ 374 h 902"/>
                <a:gd name="T66" fmla="*/ 202 w 841"/>
                <a:gd name="T67" fmla="*/ 345 h 902"/>
                <a:gd name="T68" fmla="*/ 133 w 841"/>
                <a:gd name="T69" fmla="*/ 342 h 902"/>
                <a:gd name="T70" fmla="*/ 99 w 841"/>
                <a:gd name="T71" fmla="*/ 364 h 902"/>
                <a:gd name="T72" fmla="*/ 91 w 841"/>
                <a:gd name="T73" fmla="*/ 413 h 902"/>
                <a:gd name="T74" fmla="*/ 75 w 841"/>
                <a:gd name="T75" fmla="*/ 422 h 902"/>
                <a:gd name="T76" fmla="*/ 44 w 841"/>
                <a:gd name="T77" fmla="*/ 434 h 902"/>
                <a:gd name="T78" fmla="*/ 18 w 841"/>
                <a:gd name="T79" fmla="*/ 455 h 902"/>
                <a:gd name="T80" fmla="*/ 2 w 841"/>
                <a:gd name="T81" fmla="*/ 482 h 902"/>
                <a:gd name="T82" fmla="*/ 0 w 841"/>
                <a:gd name="T83" fmla="*/ 833 h 902"/>
                <a:gd name="T84" fmla="*/ 28 w 841"/>
                <a:gd name="T85" fmla="*/ 876 h 902"/>
                <a:gd name="T86" fmla="*/ 67 w 841"/>
                <a:gd name="T87" fmla="*/ 899 h 902"/>
                <a:gd name="T88" fmla="*/ 768 w 841"/>
                <a:gd name="T89" fmla="*/ 902 h 902"/>
                <a:gd name="T90" fmla="*/ 796 w 841"/>
                <a:gd name="T91" fmla="*/ 896 h 902"/>
                <a:gd name="T92" fmla="*/ 820 w 841"/>
                <a:gd name="T93" fmla="*/ 881 h 902"/>
                <a:gd name="T94" fmla="*/ 835 w 841"/>
                <a:gd name="T95" fmla="*/ 859 h 902"/>
                <a:gd name="T96" fmla="*/ 841 w 841"/>
                <a:gd name="T97" fmla="*/ 830 h 902"/>
                <a:gd name="T98" fmla="*/ 837 w 841"/>
                <a:gd name="T99" fmla="*/ 474 h 902"/>
                <a:gd name="T100" fmla="*/ 823 w 841"/>
                <a:gd name="T101" fmla="*/ 449 h 902"/>
                <a:gd name="T102" fmla="*/ 802 w 841"/>
                <a:gd name="T103" fmla="*/ 430 h 902"/>
                <a:gd name="T104" fmla="*/ 774 w 841"/>
                <a:gd name="T105" fmla="*/ 42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1" h="902">
                  <a:moveTo>
                    <a:pt x="811" y="830"/>
                  </a:moveTo>
                  <a:lnTo>
                    <a:pt x="810" y="838"/>
                  </a:lnTo>
                  <a:lnTo>
                    <a:pt x="808" y="846"/>
                  </a:lnTo>
                  <a:lnTo>
                    <a:pt x="804" y="853"/>
                  </a:lnTo>
                  <a:lnTo>
                    <a:pt x="798" y="860"/>
                  </a:lnTo>
                  <a:lnTo>
                    <a:pt x="792" y="865"/>
                  </a:lnTo>
                  <a:lnTo>
                    <a:pt x="784" y="868"/>
                  </a:lnTo>
                  <a:lnTo>
                    <a:pt x="777" y="872"/>
                  </a:lnTo>
                  <a:lnTo>
                    <a:pt x="768" y="872"/>
                  </a:lnTo>
                  <a:lnTo>
                    <a:pt x="86" y="872"/>
                  </a:lnTo>
                  <a:lnTo>
                    <a:pt x="79" y="872"/>
                  </a:lnTo>
                  <a:lnTo>
                    <a:pt x="70" y="869"/>
                  </a:lnTo>
                  <a:lnTo>
                    <a:pt x="63" y="865"/>
                  </a:lnTo>
                  <a:lnTo>
                    <a:pt x="55" y="860"/>
                  </a:lnTo>
                  <a:lnTo>
                    <a:pt x="48" y="853"/>
                  </a:lnTo>
                  <a:lnTo>
                    <a:pt x="41" y="846"/>
                  </a:lnTo>
                  <a:lnTo>
                    <a:pt x="35" y="837"/>
                  </a:lnTo>
                  <a:lnTo>
                    <a:pt x="30" y="826"/>
                  </a:lnTo>
                  <a:lnTo>
                    <a:pt x="30" y="496"/>
                  </a:lnTo>
                  <a:lnTo>
                    <a:pt x="30" y="492"/>
                  </a:lnTo>
                  <a:lnTo>
                    <a:pt x="31" y="489"/>
                  </a:lnTo>
                  <a:lnTo>
                    <a:pt x="33" y="484"/>
                  </a:lnTo>
                  <a:lnTo>
                    <a:pt x="35" y="481"/>
                  </a:lnTo>
                  <a:lnTo>
                    <a:pt x="41" y="474"/>
                  </a:lnTo>
                  <a:lnTo>
                    <a:pt x="50" y="466"/>
                  </a:lnTo>
                  <a:lnTo>
                    <a:pt x="60" y="460"/>
                  </a:lnTo>
                  <a:lnTo>
                    <a:pt x="69" y="455"/>
                  </a:lnTo>
                  <a:lnTo>
                    <a:pt x="80" y="452"/>
                  </a:lnTo>
                  <a:lnTo>
                    <a:pt x="90" y="451"/>
                  </a:lnTo>
                  <a:lnTo>
                    <a:pt x="315" y="451"/>
                  </a:lnTo>
                  <a:lnTo>
                    <a:pt x="318" y="450"/>
                  </a:lnTo>
                  <a:lnTo>
                    <a:pt x="321" y="450"/>
                  </a:lnTo>
                  <a:lnTo>
                    <a:pt x="325" y="448"/>
                  </a:lnTo>
                  <a:lnTo>
                    <a:pt x="327" y="446"/>
                  </a:lnTo>
                  <a:lnTo>
                    <a:pt x="397" y="361"/>
                  </a:lnTo>
                  <a:lnTo>
                    <a:pt x="610" y="361"/>
                  </a:lnTo>
                  <a:lnTo>
                    <a:pt x="679" y="446"/>
                  </a:lnTo>
                  <a:lnTo>
                    <a:pt x="682" y="448"/>
                  </a:lnTo>
                  <a:lnTo>
                    <a:pt x="685" y="449"/>
                  </a:lnTo>
                  <a:lnTo>
                    <a:pt x="688" y="451"/>
                  </a:lnTo>
                  <a:lnTo>
                    <a:pt x="691" y="451"/>
                  </a:lnTo>
                  <a:lnTo>
                    <a:pt x="767" y="451"/>
                  </a:lnTo>
                  <a:lnTo>
                    <a:pt x="775" y="452"/>
                  </a:lnTo>
                  <a:lnTo>
                    <a:pt x="783" y="454"/>
                  </a:lnTo>
                  <a:lnTo>
                    <a:pt x="791" y="459"/>
                  </a:lnTo>
                  <a:lnTo>
                    <a:pt x="797" y="465"/>
                  </a:lnTo>
                  <a:lnTo>
                    <a:pt x="803" y="472"/>
                  </a:lnTo>
                  <a:lnTo>
                    <a:pt x="807" y="479"/>
                  </a:lnTo>
                  <a:lnTo>
                    <a:pt x="810" y="488"/>
                  </a:lnTo>
                  <a:lnTo>
                    <a:pt x="811" y="496"/>
                  </a:lnTo>
                  <a:lnTo>
                    <a:pt x="811" y="830"/>
                  </a:lnTo>
                  <a:close/>
                  <a:moveTo>
                    <a:pt x="121" y="413"/>
                  </a:moveTo>
                  <a:lnTo>
                    <a:pt x="121" y="394"/>
                  </a:lnTo>
                  <a:lnTo>
                    <a:pt x="121" y="390"/>
                  </a:lnTo>
                  <a:lnTo>
                    <a:pt x="122" y="386"/>
                  </a:lnTo>
                  <a:lnTo>
                    <a:pt x="124" y="381"/>
                  </a:lnTo>
                  <a:lnTo>
                    <a:pt x="127" y="378"/>
                  </a:lnTo>
                  <a:lnTo>
                    <a:pt x="130" y="375"/>
                  </a:lnTo>
                  <a:lnTo>
                    <a:pt x="135" y="373"/>
                  </a:lnTo>
                  <a:lnTo>
                    <a:pt x="139" y="372"/>
                  </a:lnTo>
                  <a:lnTo>
                    <a:pt x="143" y="371"/>
                  </a:lnTo>
                  <a:lnTo>
                    <a:pt x="181" y="371"/>
                  </a:lnTo>
                  <a:lnTo>
                    <a:pt x="186" y="372"/>
                  </a:lnTo>
                  <a:lnTo>
                    <a:pt x="191" y="373"/>
                  </a:lnTo>
                  <a:lnTo>
                    <a:pt x="194" y="375"/>
                  </a:lnTo>
                  <a:lnTo>
                    <a:pt x="197" y="378"/>
                  </a:lnTo>
                  <a:lnTo>
                    <a:pt x="200" y="381"/>
                  </a:lnTo>
                  <a:lnTo>
                    <a:pt x="202" y="386"/>
                  </a:lnTo>
                  <a:lnTo>
                    <a:pt x="203" y="390"/>
                  </a:lnTo>
                  <a:lnTo>
                    <a:pt x="204" y="394"/>
                  </a:lnTo>
                  <a:lnTo>
                    <a:pt x="204" y="413"/>
                  </a:lnTo>
                  <a:lnTo>
                    <a:pt x="204" y="421"/>
                  </a:lnTo>
                  <a:lnTo>
                    <a:pt x="121" y="421"/>
                  </a:lnTo>
                  <a:lnTo>
                    <a:pt x="121" y="413"/>
                  </a:lnTo>
                  <a:close/>
                  <a:moveTo>
                    <a:pt x="625" y="271"/>
                  </a:moveTo>
                  <a:lnTo>
                    <a:pt x="605" y="331"/>
                  </a:lnTo>
                  <a:lnTo>
                    <a:pt x="402" y="331"/>
                  </a:lnTo>
                  <a:lnTo>
                    <a:pt x="381" y="271"/>
                  </a:lnTo>
                  <a:lnTo>
                    <a:pt x="625" y="271"/>
                  </a:lnTo>
                  <a:close/>
                  <a:moveTo>
                    <a:pt x="300" y="30"/>
                  </a:moveTo>
                  <a:lnTo>
                    <a:pt x="691" y="30"/>
                  </a:lnTo>
                  <a:lnTo>
                    <a:pt x="691" y="241"/>
                  </a:lnTo>
                  <a:lnTo>
                    <a:pt x="300" y="241"/>
                  </a:lnTo>
                  <a:lnTo>
                    <a:pt x="300" y="30"/>
                  </a:lnTo>
                  <a:close/>
                  <a:moveTo>
                    <a:pt x="767" y="421"/>
                  </a:moveTo>
                  <a:lnTo>
                    <a:pt x="698" y="421"/>
                  </a:lnTo>
                  <a:lnTo>
                    <a:pt x="633" y="342"/>
                  </a:lnTo>
                  <a:lnTo>
                    <a:pt x="657" y="271"/>
                  </a:lnTo>
                  <a:lnTo>
                    <a:pt x="706" y="271"/>
                  </a:lnTo>
                  <a:lnTo>
                    <a:pt x="709" y="270"/>
                  </a:lnTo>
                  <a:lnTo>
                    <a:pt x="712" y="270"/>
                  </a:lnTo>
                  <a:lnTo>
                    <a:pt x="715" y="268"/>
                  </a:lnTo>
                  <a:lnTo>
                    <a:pt x="717" y="267"/>
                  </a:lnTo>
                  <a:lnTo>
                    <a:pt x="718" y="264"/>
                  </a:lnTo>
                  <a:lnTo>
                    <a:pt x="720" y="261"/>
                  </a:lnTo>
                  <a:lnTo>
                    <a:pt x="721" y="258"/>
                  </a:lnTo>
                  <a:lnTo>
                    <a:pt x="721" y="256"/>
                  </a:lnTo>
                  <a:lnTo>
                    <a:pt x="721" y="15"/>
                  </a:lnTo>
                  <a:lnTo>
                    <a:pt x="721" y="12"/>
                  </a:lnTo>
                  <a:lnTo>
                    <a:pt x="720" y="9"/>
                  </a:lnTo>
                  <a:lnTo>
                    <a:pt x="718" y="6"/>
                  </a:lnTo>
                  <a:lnTo>
                    <a:pt x="717" y="4"/>
                  </a:lnTo>
                  <a:lnTo>
                    <a:pt x="715" y="3"/>
                  </a:lnTo>
                  <a:lnTo>
                    <a:pt x="712" y="1"/>
                  </a:lnTo>
                  <a:lnTo>
                    <a:pt x="709" y="1"/>
                  </a:lnTo>
                  <a:lnTo>
                    <a:pt x="706" y="0"/>
                  </a:lnTo>
                  <a:lnTo>
                    <a:pt x="285" y="0"/>
                  </a:lnTo>
                  <a:lnTo>
                    <a:pt x="282" y="1"/>
                  </a:lnTo>
                  <a:lnTo>
                    <a:pt x="279" y="1"/>
                  </a:lnTo>
                  <a:lnTo>
                    <a:pt x="276" y="3"/>
                  </a:lnTo>
                  <a:lnTo>
                    <a:pt x="274" y="4"/>
                  </a:lnTo>
                  <a:lnTo>
                    <a:pt x="273" y="6"/>
                  </a:lnTo>
                  <a:lnTo>
                    <a:pt x="271" y="9"/>
                  </a:lnTo>
                  <a:lnTo>
                    <a:pt x="271" y="13"/>
                  </a:lnTo>
                  <a:lnTo>
                    <a:pt x="270" y="15"/>
                  </a:lnTo>
                  <a:lnTo>
                    <a:pt x="270" y="256"/>
                  </a:lnTo>
                  <a:lnTo>
                    <a:pt x="271" y="258"/>
                  </a:lnTo>
                  <a:lnTo>
                    <a:pt x="271" y="261"/>
                  </a:lnTo>
                  <a:lnTo>
                    <a:pt x="273" y="264"/>
                  </a:lnTo>
                  <a:lnTo>
                    <a:pt x="274" y="267"/>
                  </a:lnTo>
                  <a:lnTo>
                    <a:pt x="276" y="268"/>
                  </a:lnTo>
                  <a:lnTo>
                    <a:pt x="279" y="270"/>
                  </a:lnTo>
                  <a:lnTo>
                    <a:pt x="282" y="270"/>
                  </a:lnTo>
                  <a:lnTo>
                    <a:pt x="285" y="271"/>
                  </a:lnTo>
                  <a:lnTo>
                    <a:pt x="349" y="271"/>
                  </a:lnTo>
                  <a:lnTo>
                    <a:pt x="374" y="343"/>
                  </a:lnTo>
                  <a:lnTo>
                    <a:pt x="308" y="421"/>
                  </a:lnTo>
                  <a:lnTo>
                    <a:pt x="234" y="421"/>
                  </a:lnTo>
                  <a:lnTo>
                    <a:pt x="234" y="413"/>
                  </a:lnTo>
                  <a:lnTo>
                    <a:pt x="234" y="394"/>
                  </a:lnTo>
                  <a:lnTo>
                    <a:pt x="233" y="384"/>
                  </a:lnTo>
                  <a:lnTo>
                    <a:pt x="230" y="374"/>
                  </a:lnTo>
                  <a:lnTo>
                    <a:pt x="225" y="364"/>
                  </a:lnTo>
                  <a:lnTo>
                    <a:pt x="218" y="357"/>
                  </a:lnTo>
                  <a:lnTo>
                    <a:pt x="211" y="350"/>
                  </a:lnTo>
                  <a:lnTo>
                    <a:pt x="202" y="345"/>
                  </a:lnTo>
                  <a:lnTo>
                    <a:pt x="192" y="342"/>
                  </a:lnTo>
                  <a:lnTo>
                    <a:pt x="181" y="341"/>
                  </a:lnTo>
                  <a:lnTo>
                    <a:pt x="143" y="341"/>
                  </a:lnTo>
                  <a:lnTo>
                    <a:pt x="133" y="342"/>
                  </a:lnTo>
                  <a:lnTo>
                    <a:pt x="123" y="345"/>
                  </a:lnTo>
                  <a:lnTo>
                    <a:pt x="113" y="350"/>
                  </a:lnTo>
                  <a:lnTo>
                    <a:pt x="106" y="357"/>
                  </a:lnTo>
                  <a:lnTo>
                    <a:pt x="99" y="364"/>
                  </a:lnTo>
                  <a:lnTo>
                    <a:pt x="95" y="374"/>
                  </a:lnTo>
                  <a:lnTo>
                    <a:pt x="92" y="384"/>
                  </a:lnTo>
                  <a:lnTo>
                    <a:pt x="91" y="394"/>
                  </a:lnTo>
                  <a:lnTo>
                    <a:pt x="91" y="413"/>
                  </a:lnTo>
                  <a:lnTo>
                    <a:pt x="91" y="421"/>
                  </a:lnTo>
                  <a:lnTo>
                    <a:pt x="90" y="421"/>
                  </a:lnTo>
                  <a:lnTo>
                    <a:pt x="82" y="421"/>
                  </a:lnTo>
                  <a:lnTo>
                    <a:pt x="75" y="422"/>
                  </a:lnTo>
                  <a:lnTo>
                    <a:pt x="67" y="424"/>
                  </a:lnTo>
                  <a:lnTo>
                    <a:pt x="59" y="428"/>
                  </a:lnTo>
                  <a:lnTo>
                    <a:pt x="51" y="431"/>
                  </a:lnTo>
                  <a:lnTo>
                    <a:pt x="44" y="434"/>
                  </a:lnTo>
                  <a:lnTo>
                    <a:pt x="37" y="439"/>
                  </a:lnTo>
                  <a:lnTo>
                    <a:pt x="30" y="444"/>
                  </a:lnTo>
                  <a:lnTo>
                    <a:pt x="23" y="449"/>
                  </a:lnTo>
                  <a:lnTo>
                    <a:pt x="18" y="455"/>
                  </a:lnTo>
                  <a:lnTo>
                    <a:pt x="13" y="462"/>
                  </a:lnTo>
                  <a:lnTo>
                    <a:pt x="8" y="468"/>
                  </a:lnTo>
                  <a:lnTo>
                    <a:pt x="5" y="475"/>
                  </a:lnTo>
                  <a:lnTo>
                    <a:pt x="2" y="482"/>
                  </a:lnTo>
                  <a:lnTo>
                    <a:pt x="0" y="489"/>
                  </a:lnTo>
                  <a:lnTo>
                    <a:pt x="0" y="496"/>
                  </a:lnTo>
                  <a:lnTo>
                    <a:pt x="0" y="830"/>
                  </a:lnTo>
                  <a:lnTo>
                    <a:pt x="0" y="833"/>
                  </a:lnTo>
                  <a:lnTo>
                    <a:pt x="1" y="836"/>
                  </a:lnTo>
                  <a:lnTo>
                    <a:pt x="9" y="851"/>
                  </a:lnTo>
                  <a:lnTo>
                    <a:pt x="18" y="864"/>
                  </a:lnTo>
                  <a:lnTo>
                    <a:pt x="28" y="876"/>
                  </a:lnTo>
                  <a:lnTo>
                    <a:pt x="38" y="884"/>
                  </a:lnTo>
                  <a:lnTo>
                    <a:pt x="50" y="892"/>
                  </a:lnTo>
                  <a:lnTo>
                    <a:pt x="62" y="897"/>
                  </a:lnTo>
                  <a:lnTo>
                    <a:pt x="67" y="899"/>
                  </a:lnTo>
                  <a:lnTo>
                    <a:pt x="74" y="900"/>
                  </a:lnTo>
                  <a:lnTo>
                    <a:pt x="80" y="902"/>
                  </a:lnTo>
                  <a:lnTo>
                    <a:pt x="86" y="902"/>
                  </a:lnTo>
                  <a:lnTo>
                    <a:pt x="768" y="902"/>
                  </a:lnTo>
                  <a:lnTo>
                    <a:pt x="776" y="902"/>
                  </a:lnTo>
                  <a:lnTo>
                    <a:pt x="783" y="900"/>
                  </a:lnTo>
                  <a:lnTo>
                    <a:pt x="790" y="898"/>
                  </a:lnTo>
                  <a:lnTo>
                    <a:pt x="796" y="896"/>
                  </a:lnTo>
                  <a:lnTo>
                    <a:pt x="803" y="893"/>
                  </a:lnTo>
                  <a:lnTo>
                    <a:pt x="809" y="890"/>
                  </a:lnTo>
                  <a:lnTo>
                    <a:pt x="815" y="885"/>
                  </a:lnTo>
                  <a:lnTo>
                    <a:pt x="820" y="881"/>
                  </a:lnTo>
                  <a:lnTo>
                    <a:pt x="824" y="876"/>
                  </a:lnTo>
                  <a:lnTo>
                    <a:pt x="828" y="870"/>
                  </a:lnTo>
                  <a:lnTo>
                    <a:pt x="832" y="864"/>
                  </a:lnTo>
                  <a:lnTo>
                    <a:pt x="835" y="859"/>
                  </a:lnTo>
                  <a:lnTo>
                    <a:pt x="838" y="851"/>
                  </a:lnTo>
                  <a:lnTo>
                    <a:pt x="839" y="845"/>
                  </a:lnTo>
                  <a:lnTo>
                    <a:pt x="841" y="837"/>
                  </a:lnTo>
                  <a:lnTo>
                    <a:pt x="841" y="830"/>
                  </a:lnTo>
                  <a:lnTo>
                    <a:pt x="841" y="496"/>
                  </a:lnTo>
                  <a:lnTo>
                    <a:pt x="840" y="489"/>
                  </a:lnTo>
                  <a:lnTo>
                    <a:pt x="839" y="481"/>
                  </a:lnTo>
                  <a:lnTo>
                    <a:pt x="837" y="474"/>
                  </a:lnTo>
                  <a:lnTo>
                    <a:pt x="835" y="467"/>
                  </a:lnTo>
                  <a:lnTo>
                    <a:pt x="832" y="461"/>
                  </a:lnTo>
                  <a:lnTo>
                    <a:pt x="827" y="454"/>
                  </a:lnTo>
                  <a:lnTo>
                    <a:pt x="823" y="449"/>
                  </a:lnTo>
                  <a:lnTo>
                    <a:pt x="819" y="444"/>
                  </a:lnTo>
                  <a:lnTo>
                    <a:pt x="813" y="438"/>
                  </a:lnTo>
                  <a:lnTo>
                    <a:pt x="807" y="434"/>
                  </a:lnTo>
                  <a:lnTo>
                    <a:pt x="802" y="430"/>
                  </a:lnTo>
                  <a:lnTo>
                    <a:pt x="795" y="426"/>
                  </a:lnTo>
                  <a:lnTo>
                    <a:pt x="788" y="424"/>
                  </a:lnTo>
                  <a:lnTo>
                    <a:pt x="781" y="422"/>
                  </a:lnTo>
                  <a:lnTo>
                    <a:pt x="774" y="421"/>
                  </a:lnTo>
                  <a:lnTo>
                    <a:pt x="767"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415">
              <a:extLst>
                <a:ext uri="{FF2B5EF4-FFF2-40B4-BE49-F238E27FC236}">
                  <a16:creationId xmlns:a16="http://schemas.microsoft.com/office/drawing/2014/main" id="{F2EA9A9F-202F-44DE-B3AB-54D4B598281C}"/>
                </a:ext>
              </a:extLst>
            </p:cNvPr>
            <p:cNvSpPr>
              <a:spLocks noEditPoints="1"/>
            </p:cNvSpPr>
            <p:nvPr/>
          </p:nvSpPr>
          <p:spPr bwMode="auto">
            <a:xfrm>
              <a:off x="8201025" y="3795395"/>
              <a:ext cx="47625" cy="47625"/>
            </a:xfrm>
            <a:custGeom>
              <a:avLst/>
              <a:gdLst>
                <a:gd name="T0" fmla="*/ 66 w 150"/>
                <a:gd name="T1" fmla="*/ 119 h 150"/>
                <a:gd name="T2" fmla="*/ 50 w 150"/>
                <a:gd name="T3" fmla="*/ 113 h 150"/>
                <a:gd name="T4" fmla="*/ 37 w 150"/>
                <a:gd name="T5" fmla="*/ 100 h 150"/>
                <a:gd name="T6" fmla="*/ 31 w 150"/>
                <a:gd name="T7" fmla="*/ 84 h 150"/>
                <a:gd name="T8" fmla="*/ 31 w 150"/>
                <a:gd name="T9" fmla="*/ 67 h 150"/>
                <a:gd name="T10" fmla="*/ 37 w 150"/>
                <a:gd name="T11" fmla="*/ 50 h 150"/>
                <a:gd name="T12" fmla="*/ 50 w 150"/>
                <a:gd name="T13" fmla="*/ 38 h 150"/>
                <a:gd name="T14" fmla="*/ 66 w 150"/>
                <a:gd name="T15" fmla="*/ 31 h 150"/>
                <a:gd name="T16" fmla="*/ 84 w 150"/>
                <a:gd name="T17" fmla="*/ 31 h 150"/>
                <a:gd name="T18" fmla="*/ 101 w 150"/>
                <a:gd name="T19" fmla="*/ 38 h 150"/>
                <a:gd name="T20" fmla="*/ 112 w 150"/>
                <a:gd name="T21" fmla="*/ 50 h 150"/>
                <a:gd name="T22" fmla="*/ 119 w 150"/>
                <a:gd name="T23" fmla="*/ 67 h 150"/>
                <a:gd name="T24" fmla="*/ 119 w 150"/>
                <a:gd name="T25" fmla="*/ 84 h 150"/>
                <a:gd name="T26" fmla="*/ 112 w 150"/>
                <a:gd name="T27" fmla="*/ 100 h 150"/>
                <a:gd name="T28" fmla="*/ 101 w 150"/>
                <a:gd name="T29" fmla="*/ 113 h 150"/>
                <a:gd name="T30" fmla="*/ 84 w 150"/>
                <a:gd name="T31" fmla="*/ 119 h 150"/>
                <a:gd name="T32" fmla="*/ 75 w 150"/>
                <a:gd name="T33" fmla="*/ 0 h 150"/>
                <a:gd name="T34" fmla="*/ 60 w 150"/>
                <a:gd name="T35" fmla="*/ 1 h 150"/>
                <a:gd name="T36" fmla="*/ 46 w 150"/>
                <a:gd name="T37" fmla="*/ 6 h 150"/>
                <a:gd name="T38" fmla="*/ 33 w 150"/>
                <a:gd name="T39" fmla="*/ 13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7 h 150"/>
                <a:gd name="T56" fmla="*/ 22 w 150"/>
                <a:gd name="T57" fmla="*/ 129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8 w 150"/>
                <a:gd name="T73" fmla="*/ 129 h 150"/>
                <a:gd name="T74" fmla="*/ 137 w 150"/>
                <a:gd name="T75" fmla="*/ 117 h 150"/>
                <a:gd name="T76" fmla="*/ 144 w 150"/>
                <a:gd name="T77" fmla="*/ 104 h 150"/>
                <a:gd name="T78" fmla="*/ 149 w 150"/>
                <a:gd name="T79" fmla="*/ 90 h 150"/>
                <a:gd name="T80" fmla="*/ 150 w 150"/>
                <a:gd name="T81" fmla="*/ 75 h 150"/>
                <a:gd name="T82" fmla="*/ 149 w 150"/>
                <a:gd name="T83" fmla="*/ 60 h 150"/>
                <a:gd name="T84" fmla="*/ 144 w 150"/>
                <a:gd name="T85" fmla="*/ 46 h 150"/>
                <a:gd name="T86" fmla="*/ 137 w 150"/>
                <a:gd name="T87" fmla="*/ 33 h 150"/>
                <a:gd name="T88" fmla="*/ 128 w 150"/>
                <a:gd name="T89" fmla="*/ 22 h 150"/>
                <a:gd name="T90" fmla="*/ 117 w 150"/>
                <a:gd name="T91" fmla="*/ 13 h 150"/>
                <a:gd name="T92" fmla="*/ 104 w 150"/>
                <a:gd name="T93" fmla="*/ 6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3" y="107"/>
                  </a:lnTo>
                  <a:lnTo>
                    <a:pt x="37" y="100"/>
                  </a:lnTo>
                  <a:lnTo>
                    <a:pt x="33" y="92"/>
                  </a:lnTo>
                  <a:lnTo>
                    <a:pt x="31" y="84"/>
                  </a:lnTo>
                  <a:lnTo>
                    <a:pt x="30" y="75"/>
                  </a:lnTo>
                  <a:lnTo>
                    <a:pt x="31" y="67"/>
                  </a:lnTo>
                  <a:lnTo>
                    <a:pt x="33" y="58"/>
                  </a:lnTo>
                  <a:lnTo>
                    <a:pt x="37" y="50"/>
                  </a:lnTo>
                  <a:lnTo>
                    <a:pt x="43" y="43"/>
                  </a:lnTo>
                  <a:lnTo>
                    <a:pt x="50" y="38"/>
                  </a:lnTo>
                  <a:lnTo>
                    <a:pt x="58" y="33"/>
                  </a:lnTo>
                  <a:lnTo>
                    <a:pt x="66" y="31"/>
                  </a:lnTo>
                  <a:lnTo>
                    <a:pt x="75" y="30"/>
                  </a:lnTo>
                  <a:lnTo>
                    <a:pt x="84" y="31"/>
                  </a:lnTo>
                  <a:lnTo>
                    <a:pt x="92" y="33"/>
                  </a:lnTo>
                  <a:lnTo>
                    <a:pt x="101" y="38"/>
                  </a:lnTo>
                  <a:lnTo>
                    <a:pt x="107" y="43"/>
                  </a:lnTo>
                  <a:lnTo>
                    <a:pt x="112" y="50"/>
                  </a:lnTo>
                  <a:lnTo>
                    <a:pt x="117" y="58"/>
                  </a:lnTo>
                  <a:lnTo>
                    <a:pt x="119" y="67"/>
                  </a:lnTo>
                  <a:lnTo>
                    <a:pt x="120" y="75"/>
                  </a:lnTo>
                  <a:lnTo>
                    <a:pt x="119" y="84"/>
                  </a:lnTo>
                  <a:lnTo>
                    <a:pt x="117" y="92"/>
                  </a:lnTo>
                  <a:lnTo>
                    <a:pt x="112" y="100"/>
                  </a:lnTo>
                  <a:lnTo>
                    <a:pt x="107" y="107"/>
                  </a:lnTo>
                  <a:lnTo>
                    <a:pt x="101" y="113"/>
                  </a:lnTo>
                  <a:lnTo>
                    <a:pt x="92" y="117"/>
                  </a:lnTo>
                  <a:lnTo>
                    <a:pt x="84" y="119"/>
                  </a:lnTo>
                  <a:lnTo>
                    <a:pt x="75" y="120"/>
                  </a:lnTo>
                  <a:close/>
                  <a:moveTo>
                    <a:pt x="75" y="0"/>
                  </a:moveTo>
                  <a:lnTo>
                    <a:pt x="67" y="0"/>
                  </a:lnTo>
                  <a:lnTo>
                    <a:pt x="60" y="1"/>
                  </a:lnTo>
                  <a:lnTo>
                    <a:pt x="52" y="3"/>
                  </a:lnTo>
                  <a:lnTo>
                    <a:pt x="46" y="6"/>
                  </a:lnTo>
                  <a:lnTo>
                    <a:pt x="39" y="9"/>
                  </a:lnTo>
                  <a:lnTo>
                    <a:pt x="33" y="13"/>
                  </a:lnTo>
                  <a:lnTo>
                    <a:pt x="28" y="17"/>
                  </a:lnTo>
                  <a:lnTo>
                    <a:pt x="22" y="22"/>
                  </a:lnTo>
                  <a:lnTo>
                    <a:pt x="17" y="27"/>
                  </a:lnTo>
                  <a:lnTo>
                    <a:pt x="13" y="33"/>
                  </a:lnTo>
                  <a:lnTo>
                    <a:pt x="8" y="40"/>
                  </a:lnTo>
                  <a:lnTo>
                    <a:pt x="6" y="46"/>
                  </a:lnTo>
                  <a:lnTo>
                    <a:pt x="3" y="53"/>
                  </a:lnTo>
                  <a:lnTo>
                    <a:pt x="1" y="60"/>
                  </a:lnTo>
                  <a:lnTo>
                    <a:pt x="0" y="68"/>
                  </a:lnTo>
                  <a:lnTo>
                    <a:pt x="0" y="75"/>
                  </a:lnTo>
                  <a:lnTo>
                    <a:pt x="0" y="83"/>
                  </a:lnTo>
                  <a:lnTo>
                    <a:pt x="1" y="90"/>
                  </a:lnTo>
                  <a:lnTo>
                    <a:pt x="3" y="98"/>
                  </a:lnTo>
                  <a:lnTo>
                    <a:pt x="6" y="104"/>
                  </a:lnTo>
                  <a:lnTo>
                    <a:pt x="8" y="111"/>
                  </a:lnTo>
                  <a:lnTo>
                    <a:pt x="13" y="117"/>
                  </a:lnTo>
                  <a:lnTo>
                    <a:pt x="17" y="124"/>
                  </a:lnTo>
                  <a:lnTo>
                    <a:pt x="22" y="129"/>
                  </a:lnTo>
                  <a:lnTo>
                    <a:pt x="28" y="133"/>
                  </a:lnTo>
                  <a:lnTo>
                    <a:pt x="33" y="137"/>
                  </a:lnTo>
                  <a:lnTo>
                    <a:pt x="39" y="142"/>
                  </a:lnTo>
                  <a:lnTo>
                    <a:pt x="46" y="145"/>
                  </a:lnTo>
                  <a:lnTo>
                    <a:pt x="52" y="147"/>
                  </a:lnTo>
                  <a:lnTo>
                    <a:pt x="60" y="149"/>
                  </a:lnTo>
                  <a:lnTo>
                    <a:pt x="67" y="150"/>
                  </a:lnTo>
                  <a:lnTo>
                    <a:pt x="75" y="150"/>
                  </a:lnTo>
                  <a:lnTo>
                    <a:pt x="82" y="150"/>
                  </a:lnTo>
                  <a:lnTo>
                    <a:pt x="90" y="149"/>
                  </a:lnTo>
                  <a:lnTo>
                    <a:pt x="97" y="147"/>
                  </a:lnTo>
                  <a:lnTo>
                    <a:pt x="104" y="145"/>
                  </a:lnTo>
                  <a:lnTo>
                    <a:pt x="111" y="142"/>
                  </a:lnTo>
                  <a:lnTo>
                    <a:pt x="117" y="137"/>
                  </a:lnTo>
                  <a:lnTo>
                    <a:pt x="123" y="133"/>
                  </a:lnTo>
                  <a:lnTo>
                    <a:pt x="128" y="129"/>
                  </a:lnTo>
                  <a:lnTo>
                    <a:pt x="133" y="124"/>
                  </a:lnTo>
                  <a:lnTo>
                    <a:pt x="137" y="117"/>
                  </a:lnTo>
                  <a:lnTo>
                    <a:pt x="141" y="111"/>
                  </a:lnTo>
                  <a:lnTo>
                    <a:pt x="144" y="104"/>
                  </a:lnTo>
                  <a:lnTo>
                    <a:pt x="147" y="98"/>
                  </a:lnTo>
                  <a:lnTo>
                    <a:pt x="149" y="90"/>
                  </a:lnTo>
                  <a:lnTo>
                    <a:pt x="150" y="83"/>
                  </a:lnTo>
                  <a:lnTo>
                    <a:pt x="150" y="75"/>
                  </a:lnTo>
                  <a:lnTo>
                    <a:pt x="150" y="68"/>
                  </a:lnTo>
                  <a:lnTo>
                    <a:pt x="149" y="60"/>
                  </a:lnTo>
                  <a:lnTo>
                    <a:pt x="147" y="53"/>
                  </a:lnTo>
                  <a:lnTo>
                    <a:pt x="144" y="46"/>
                  </a:lnTo>
                  <a:lnTo>
                    <a:pt x="141" y="40"/>
                  </a:lnTo>
                  <a:lnTo>
                    <a:pt x="137" y="33"/>
                  </a:lnTo>
                  <a:lnTo>
                    <a:pt x="133" y="27"/>
                  </a:lnTo>
                  <a:lnTo>
                    <a:pt x="128" y="22"/>
                  </a:lnTo>
                  <a:lnTo>
                    <a:pt x="123" y="17"/>
                  </a:lnTo>
                  <a:lnTo>
                    <a:pt x="117" y="13"/>
                  </a:lnTo>
                  <a:lnTo>
                    <a:pt x="111"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416">
              <a:extLst>
                <a:ext uri="{FF2B5EF4-FFF2-40B4-BE49-F238E27FC236}">
                  <a16:creationId xmlns:a16="http://schemas.microsoft.com/office/drawing/2014/main" id="{45586C52-8318-4035-A93B-DE27292CA813}"/>
                </a:ext>
              </a:extLst>
            </p:cNvPr>
            <p:cNvSpPr>
              <a:spLocks noEditPoints="1"/>
            </p:cNvSpPr>
            <p:nvPr/>
          </p:nvSpPr>
          <p:spPr bwMode="auto">
            <a:xfrm>
              <a:off x="8304213" y="3811270"/>
              <a:ext cx="69850" cy="69850"/>
            </a:xfrm>
            <a:custGeom>
              <a:avLst/>
              <a:gdLst>
                <a:gd name="T0" fmla="*/ 95 w 220"/>
                <a:gd name="T1" fmla="*/ 187 h 219"/>
                <a:gd name="T2" fmla="*/ 72 w 220"/>
                <a:gd name="T3" fmla="*/ 180 h 219"/>
                <a:gd name="T4" fmla="*/ 54 w 220"/>
                <a:gd name="T5" fmla="*/ 166 h 219"/>
                <a:gd name="T6" fmla="*/ 40 w 220"/>
                <a:gd name="T7" fmla="*/ 148 h 219"/>
                <a:gd name="T8" fmla="*/ 33 w 220"/>
                <a:gd name="T9" fmla="*/ 126 h 219"/>
                <a:gd name="T10" fmla="*/ 32 w 220"/>
                <a:gd name="T11" fmla="*/ 101 h 219"/>
                <a:gd name="T12" fmla="*/ 37 w 220"/>
                <a:gd name="T13" fmla="*/ 79 h 219"/>
                <a:gd name="T14" fmla="*/ 49 w 220"/>
                <a:gd name="T15" fmla="*/ 58 h 219"/>
                <a:gd name="T16" fmla="*/ 66 w 220"/>
                <a:gd name="T17" fmla="*/ 43 h 219"/>
                <a:gd name="T18" fmla="*/ 86 w 220"/>
                <a:gd name="T19" fmla="*/ 34 h 219"/>
                <a:gd name="T20" fmla="*/ 111 w 220"/>
                <a:gd name="T21" fmla="*/ 30 h 219"/>
                <a:gd name="T22" fmla="*/ 134 w 220"/>
                <a:gd name="T23" fmla="*/ 34 h 219"/>
                <a:gd name="T24" fmla="*/ 155 w 220"/>
                <a:gd name="T25" fmla="*/ 43 h 219"/>
                <a:gd name="T26" fmla="*/ 172 w 220"/>
                <a:gd name="T27" fmla="*/ 58 h 219"/>
                <a:gd name="T28" fmla="*/ 184 w 220"/>
                <a:gd name="T29" fmla="*/ 79 h 219"/>
                <a:gd name="T30" fmla="*/ 190 w 220"/>
                <a:gd name="T31" fmla="*/ 101 h 219"/>
                <a:gd name="T32" fmla="*/ 188 w 220"/>
                <a:gd name="T33" fmla="*/ 126 h 219"/>
                <a:gd name="T34" fmla="*/ 181 w 220"/>
                <a:gd name="T35" fmla="*/ 148 h 219"/>
                <a:gd name="T36" fmla="*/ 167 w 220"/>
                <a:gd name="T37" fmla="*/ 166 h 219"/>
                <a:gd name="T38" fmla="*/ 148 w 220"/>
                <a:gd name="T39" fmla="*/ 180 h 219"/>
                <a:gd name="T40" fmla="*/ 126 w 220"/>
                <a:gd name="T41" fmla="*/ 187 h 219"/>
                <a:gd name="T42" fmla="*/ 111 w 220"/>
                <a:gd name="T43" fmla="*/ 0 h 219"/>
                <a:gd name="T44" fmla="*/ 78 w 220"/>
                <a:gd name="T45" fmla="*/ 5 h 219"/>
                <a:gd name="T46" fmla="*/ 49 w 220"/>
                <a:gd name="T47" fmla="*/ 19 h 219"/>
                <a:gd name="T48" fmla="*/ 26 w 220"/>
                <a:gd name="T49" fmla="*/ 39 h 219"/>
                <a:gd name="T50" fmla="*/ 9 w 220"/>
                <a:gd name="T51" fmla="*/ 67 h 219"/>
                <a:gd name="T52" fmla="*/ 2 w 220"/>
                <a:gd name="T53" fmla="*/ 98 h 219"/>
                <a:gd name="T54" fmla="*/ 3 w 220"/>
                <a:gd name="T55" fmla="*/ 131 h 219"/>
                <a:gd name="T56" fmla="*/ 14 w 220"/>
                <a:gd name="T57" fmla="*/ 161 h 219"/>
                <a:gd name="T58" fmla="*/ 33 w 220"/>
                <a:gd name="T59" fmla="*/ 187 h 219"/>
                <a:gd name="T60" fmla="*/ 58 w 220"/>
                <a:gd name="T61" fmla="*/ 206 h 219"/>
                <a:gd name="T62" fmla="*/ 88 w 220"/>
                <a:gd name="T63" fmla="*/ 217 h 219"/>
                <a:gd name="T64" fmla="*/ 122 w 220"/>
                <a:gd name="T65" fmla="*/ 218 h 219"/>
                <a:gd name="T66" fmla="*/ 153 w 220"/>
                <a:gd name="T67" fmla="*/ 211 h 219"/>
                <a:gd name="T68" fmla="*/ 181 w 220"/>
                <a:gd name="T69" fmla="*/ 195 h 219"/>
                <a:gd name="T70" fmla="*/ 201 w 220"/>
                <a:gd name="T71" fmla="*/ 171 h 219"/>
                <a:gd name="T72" fmla="*/ 215 w 220"/>
                <a:gd name="T73" fmla="*/ 142 h 219"/>
                <a:gd name="T74" fmla="*/ 220 w 220"/>
                <a:gd name="T75" fmla="*/ 110 h 219"/>
                <a:gd name="T76" fmla="*/ 215 w 220"/>
                <a:gd name="T77" fmla="*/ 77 h 219"/>
                <a:gd name="T78" fmla="*/ 201 w 220"/>
                <a:gd name="T79" fmla="*/ 48 h 219"/>
                <a:gd name="T80" fmla="*/ 181 w 220"/>
                <a:gd name="T81" fmla="*/ 25 h 219"/>
                <a:gd name="T82" fmla="*/ 153 w 220"/>
                <a:gd name="T83" fmla="*/ 8 h 219"/>
                <a:gd name="T84" fmla="*/ 122 w 220"/>
                <a:gd name="T85" fmla="*/ 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 h="219">
                  <a:moveTo>
                    <a:pt x="111" y="189"/>
                  </a:moveTo>
                  <a:lnTo>
                    <a:pt x="102" y="189"/>
                  </a:lnTo>
                  <a:lnTo>
                    <a:pt x="95" y="187"/>
                  </a:lnTo>
                  <a:lnTo>
                    <a:pt x="86" y="186"/>
                  </a:lnTo>
                  <a:lnTo>
                    <a:pt x="80" y="183"/>
                  </a:lnTo>
                  <a:lnTo>
                    <a:pt x="72" y="180"/>
                  </a:lnTo>
                  <a:lnTo>
                    <a:pt x="66" y="175"/>
                  </a:lnTo>
                  <a:lnTo>
                    <a:pt x="59" y="171"/>
                  </a:lnTo>
                  <a:lnTo>
                    <a:pt x="54" y="166"/>
                  </a:lnTo>
                  <a:lnTo>
                    <a:pt x="49" y="160"/>
                  </a:lnTo>
                  <a:lnTo>
                    <a:pt x="44" y="154"/>
                  </a:lnTo>
                  <a:lnTo>
                    <a:pt x="40" y="148"/>
                  </a:lnTo>
                  <a:lnTo>
                    <a:pt x="37" y="141"/>
                  </a:lnTo>
                  <a:lnTo>
                    <a:pt x="35" y="134"/>
                  </a:lnTo>
                  <a:lnTo>
                    <a:pt x="33" y="126"/>
                  </a:lnTo>
                  <a:lnTo>
                    <a:pt x="32" y="117"/>
                  </a:lnTo>
                  <a:lnTo>
                    <a:pt x="30" y="110"/>
                  </a:lnTo>
                  <a:lnTo>
                    <a:pt x="32" y="101"/>
                  </a:lnTo>
                  <a:lnTo>
                    <a:pt x="33" y="94"/>
                  </a:lnTo>
                  <a:lnTo>
                    <a:pt x="35" y="86"/>
                  </a:lnTo>
                  <a:lnTo>
                    <a:pt x="37" y="79"/>
                  </a:lnTo>
                  <a:lnTo>
                    <a:pt x="40" y="71"/>
                  </a:lnTo>
                  <a:lnTo>
                    <a:pt x="44" y="65"/>
                  </a:lnTo>
                  <a:lnTo>
                    <a:pt x="49" y="58"/>
                  </a:lnTo>
                  <a:lnTo>
                    <a:pt x="54" y="53"/>
                  </a:lnTo>
                  <a:lnTo>
                    <a:pt x="59" y="48"/>
                  </a:lnTo>
                  <a:lnTo>
                    <a:pt x="66" y="43"/>
                  </a:lnTo>
                  <a:lnTo>
                    <a:pt x="72" y="39"/>
                  </a:lnTo>
                  <a:lnTo>
                    <a:pt x="80" y="36"/>
                  </a:lnTo>
                  <a:lnTo>
                    <a:pt x="86" y="34"/>
                  </a:lnTo>
                  <a:lnTo>
                    <a:pt x="95" y="32"/>
                  </a:lnTo>
                  <a:lnTo>
                    <a:pt x="102" y="31"/>
                  </a:lnTo>
                  <a:lnTo>
                    <a:pt x="111" y="30"/>
                  </a:lnTo>
                  <a:lnTo>
                    <a:pt x="118" y="31"/>
                  </a:lnTo>
                  <a:lnTo>
                    <a:pt x="126" y="32"/>
                  </a:lnTo>
                  <a:lnTo>
                    <a:pt x="134" y="34"/>
                  </a:lnTo>
                  <a:lnTo>
                    <a:pt x="141" y="36"/>
                  </a:lnTo>
                  <a:lnTo>
                    <a:pt x="148" y="39"/>
                  </a:lnTo>
                  <a:lnTo>
                    <a:pt x="155" y="43"/>
                  </a:lnTo>
                  <a:lnTo>
                    <a:pt x="161" y="48"/>
                  </a:lnTo>
                  <a:lnTo>
                    <a:pt x="167" y="53"/>
                  </a:lnTo>
                  <a:lnTo>
                    <a:pt x="172" y="58"/>
                  </a:lnTo>
                  <a:lnTo>
                    <a:pt x="176" y="65"/>
                  </a:lnTo>
                  <a:lnTo>
                    <a:pt x="181" y="71"/>
                  </a:lnTo>
                  <a:lnTo>
                    <a:pt x="184" y="79"/>
                  </a:lnTo>
                  <a:lnTo>
                    <a:pt x="187" y="86"/>
                  </a:lnTo>
                  <a:lnTo>
                    <a:pt x="188" y="94"/>
                  </a:lnTo>
                  <a:lnTo>
                    <a:pt x="190" y="101"/>
                  </a:lnTo>
                  <a:lnTo>
                    <a:pt x="190" y="110"/>
                  </a:lnTo>
                  <a:lnTo>
                    <a:pt x="190" y="117"/>
                  </a:lnTo>
                  <a:lnTo>
                    <a:pt x="188" y="126"/>
                  </a:lnTo>
                  <a:lnTo>
                    <a:pt x="187" y="134"/>
                  </a:lnTo>
                  <a:lnTo>
                    <a:pt x="184" y="141"/>
                  </a:lnTo>
                  <a:lnTo>
                    <a:pt x="181" y="148"/>
                  </a:lnTo>
                  <a:lnTo>
                    <a:pt x="176" y="154"/>
                  </a:lnTo>
                  <a:lnTo>
                    <a:pt x="172" y="160"/>
                  </a:lnTo>
                  <a:lnTo>
                    <a:pt x="167" y="166"/>
                  </a:lnTo>
                  <a:lnTo>
                    <a:pt x="161" y="171"/>
                  </a:lnTo>
                  <a:lnTo>
                    <a:pt x="155" y="175"/>
                  </a:lnTo>
                  <a:lnTo>
                    <a:pt x="148" y="180"/>
                  </a:lnTo>
                  <a:lnTo>
                    <a:pt x="141" y="183"/>
                  </a:lnTo>
                  <a:lnTo>
                    <a:pt x="134" y="186"/>
                  </a:lnTo>
                  <a:lnTo>
                    <a:pt x="126" y="187"/>
                  </a:lnTo>
                  <a:lnTo>
                    <a:pt x="118" y="189"/>
                  </a:lnTo>
                  <a:lnTo>
                    <a:pt x="111" y="189"/>
                  </a:lnTo>
                  <a:close/>
                  <a:moveTo>
                    <a:pt x="111" y="0"/>
                  </a:moveTo>
                  <a:lnTo>
                    <a:pt x="99" y="1"/>
                  </a:lnTo>
                  <a:lnTo>
                    <a:pt x="88" y="2"/>
                  </a:lnTo>
                  <a:lnTo>
                    <a:pt x="78" y="5"/>
                  </a:lnTo>
                  <a:lnTo>
                    <a:pt x="68" y="8"/>
                  </a:lnTo>
                  <a:lnTo>
                    <a:pt x="58" y="13"/>
                  </a:lnTo>
                  <a:lnTo>
                    <a:pt x="49" y="19"/>
                  </a:lnTo>
                  <a:lnTo>
                    <a:pt x="40" y="25"/>
                  </a:lnTo>
                  <a:lnTo>
                    <a:pt x="33" y="32"/>
                  </a:lnTo>
                  <a:lnTo>
                    <a:pt x="26" y="39"/>
                  </a:lnTo>
                  <a:lnTo>
                    <a:pt x="20" y="48"/>
                  </a:lnTo>
                  <a:lnTo>
                    <a:pt x="14" y="57"/>
                  </a:lnTo>
                  <a:lnTo>
                    <a:pt x="9" y="67"/>
                  </a:lnTo>
                  <a:lnTo>
                    <a:pt x="6" y="77"/>
                  </a:lnTo>
                  <a:lnTo>
                    <a:pt x="3" y="87"/>
                  </a:lnTo>
                  <a:lnTo>
                    <a:pt x="2" y="98"/>
                  </a:lnTo>
                  <a:lnTo>
                    <a:pt x="0" y="110"/>
                  </a:lnTo>
                  <a:lnTo>
                    <a:pt x="2" y="121"/>
                  </a:lnTo>
                  <a:lnTo>
                    <a:pt x="3" y="131"/>
                  </a:lnTo>
                  <a:lnTo>
                    <a:pt x="6" y="142"/>
                  </a:lnTo>
                  <a:lnTo>
                    <a:pt x="9" y="152"/>
                  </a:lnTo>
                  <a:lnTo>
                    <a:pt x="14" y="161"/>
                  </a:lnTo>
                  <a:lnTo>
                    <a:pt x="20" y="171"/>
                  </a:lnTo>
                  <a:lnTo>
                    <a:pt x="26" y="180"/>
                  </a:lnTo>
                  <a:lnTo>
                    <a:pt x="33" y="187"/>
                  </a:lnTo>
                  <a:lnTo>
                    <a:pt x="40" y="195"/>
                  </a:lnTo>
                  <a:lnTo>
                    <a:pt x="49" y="200"/>
                  </a:lnTo>
                  <a:lnTo>
                    <a:pt x="58" y="206"/>
                  </a:lnTo>
                  <a:lnTo>
                    <a:pt x="68" y="211"/>
                  </a:lnTo>
                  <a:lnTo>
                    <a:pt x="78" y="214"/>
                  </a:lnTo>
                  <a:lnTo>
                    <a:pt x="88" y="217"/>
                  </a:lnTo>
                  <a:lnTo>
                    <a:pt x="99" y="218"/>
                  </a:lnTo>
                  <a:lnTo>
                    <a:pt x="111" y="219"/>
                  </a:lnTo>
                  <a:lnTo>
                    <a:pt x="122" y="218"/>
                  </a:lnTo>
                  <a:lnTo>
                    <a:pt x="132" y="217"/>
                  </a:lnTo>
                  <a:lnTo>
                    <a:pt x="143" y="214"/>
                  </a:lnTo>
                  <a:lnTo>
                    <a:pt x="153" y="211"/>
                  </a:lnTo>
                  <a:lnTo>
                    <a:pt x="162" y="206"/>
                  </a:lnTo>
                  <a:lnTo>
                    <a:pt x="172" y="200"/>
                  </a:lnTo>
                  <a:lnTo>
                    <a:pt x="181" y="195"/>
                  </a:lnTo>
                  <a:lnTo>
                    <a:pt x="188" y="187"/>
                  </a:lnTo>
                  <a:lnTo>
                    <a:pt x="196" y="180"/>
                  </a:lnTo>
                  <a:lnTo>
                    <a:pt x="201" y="171"/>
                  </a:lnTo>
                  <a:lnTo>
                    <a:pt x="207" y="161"/>
                  </a:lnTo>
                  <a:lnTo>
                    <a:pt x="212" y="152"/>
                  </a:lnTo>
                  <a:lnTo>
                    <a:pt x="215" y="142"/>
                  </a:lnTo>
                  <a:lnTo>
                    <a:pt x="218" y="131"/>
                  </a:lnTo>
                  <a:lnTo>
                    <a:pt x="219" y="121"/>
                  </a:lnTo>
                  <a:lnTo>
                    <a:pt x="220" y="110"/>
                  </a:lnTo>
                  <a:lnTo>
                    <a:pt x="219" y="98"/>
                  </a:lnTo>
                  <a:lnTo>
                    <a:pt x="218" y="87"/>
                  </a:lnTo>
                  <a:lnTo>
                    <a:pt x="215" y="77"/>
                  </a:lnTo>
                  <a:lnTo>
                    <a:pt x="212" y="67"/>
                  </a:lnTo>
                  <a:lnTo>
                    <a:pt x="207" y="57"/>
                  </a:lnTo>
                  <a:lnTo>
                    <a:pt x="201" y="48"/>
                  </a:lnTo>
                  <a:lnTo>
                    <a:pt x="196" y="39"/>
                  </a:lnTo>
                  <a:lnTo>
                    <a:pt x="188" y="32"/>
                  </a:lnTo>
                  <a:lnTo>
                    <a:pt x="181" y="25"/>
                  </a:lnTo>
                  <a:lnTo>
                    <a:pt x="172" y="19"/>
                  </a:lnTo>
                  <a:lnTo>
                    <a:pt x="162" y="13"/>
                  </a:lnTo>
                  <a:lnTo>
                    <a:pt x="153" y="8"/>
                  </a:lnTo>
                  <a:lnTo>
                    <a:pt x="143" y="5"/>
                  </a:lnTo>
                  <a:lnTo>
                    <a:pt x="132" y="2"/>
                  </a:lnTo>
                  <a:lnTo>
                    <a:pt x="122" y="1"/>
                  </a:lnTo>
                  <a:lnTo>
                    <a:pt x="1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417">
              <a:extLst>
                <a:ext uri="{FF2B5EF4-FFF2-40B4-BE49-F238E27FC236}">
                  <a16:creationId xmlns:a16="http://schemas.microsoft.com/office/drawing/2014/main" id="{B385064D-85C6-4A92-B304-A49D51C8AE9A}"/>
                </a:ext>
              </a:extLst>
            </p:cNvPr>
            <p:cNvSpPr>
              <a:spLocks noEditPoints="1"/>
            </p:cNvSpPr>
            <p:nvPr/>
          </p:nvSpPr>
          <p:spPr bwMode="auto">
            <a:xfrm>
              <a:off x="8278813" y="3787458"/>
              <a:ext cx="119063" cy="117475"/>
            </a:xfrm>
            <a:custGeom>
              <a:avLst/>
              <a:gdLst>
                <a:gd name="T0" fmla="*/ 155 w 372"/>
                <a:gd name="T1" fmla="*/ 339 h 372"/>
                <a:gd name="T2" fmla="*/ 112 w 372"/>
                <a:gd name="T3" fmla="*/ 323 h 372"/>
                <a:gd name="T4" fmla="*/ 76 w 372"/>
                <a:gd name="T5" fmla="*/ 296 h 372"/>
                <a:gd name="T6" fmla="*/ 50 w 372"/>
                <a:gd name="T7" fmla="*/ 261 h 372"/>
                <a:gd name="T8" fmla="*/ 34 w 372"/>
                <a:gd name="T9" fmla="*/ 218 h 372"/>
                <a:gd name="T10" fmla="*/ 31 w 372"/>
                <a:gd name="T11" fmla="*/ 171 h 372"/>
                <a:gd name="T12" fmla="*/ 43 w 372"/>
                <a:gd name="T13" fmla="*/ 126 h 372"/>
                <a:gd name="T14" fmla="*/ 67 w 372"/>
                <a:gd name="T15" fmla="*/ 87 h 372"/>
                <a:gd name="T16" fmla="*/ 99 w 372"/>
                <a:gd name="T17" fmla="*/ 57 h 372"/>
                <a:gd name="T18" fmla="*/ 140 w 372"/>
                <a:gd name="T19" fmla="*/ 38 h 372"/>
                <a:gd name="T20" fmla="*/ 187 w 372"/>
                <a:gd name="T21" fmla="*/ 31 h 372"/>
                <a:gd name="T22" fmla="*/ 233 w 372"/>
                <a:gd name="T23" fmla="*/ 38 h 372"/>
                <a:gd name="T24" fmla="*/ 274 w 372"/>
                <a:gd name="T25" fmla="*/ 57 h 372"/>
                <a:gd name="T26" fmla="*/ 306 w 372"/>
                <a:gd name="T27" fmla="*/ 87 h 372"/>
                <a:gd name="T28" fmla="*/ 329 w 372"/>
                <a:gd name="T29" fmla="*/ 126 h 372"/>
                <a:gd name="T30" fmla="*/ 341 w 372"/>
                <a:gd name="T31" fmla="*/ 171 h 372"/>
                <a:gd name="T32" fmla="*/ 339 w 372"/>
                <a:gd name="T33" fmla="*/ 218 h 372"/>
                <a:gd name="T34" fmla="*/ 323 w 372"/>
                <a:gd name="T35" fmla="*/ 261 h 372"/>
                <a:gd name="T36" fmla="*/ 296 w 372"/>
                <a:gd name="T37" fmla="*/ 296 h 372"/>
                <a:gd name="T38" fmla="*/ 261 w 372"/>
                <a:gd name="T39" fmla="*/ 323 h 372"/>
                <a:gd name="T40" fmla="*/ 218 w 372"/>
                <a:gd name="T41" fmla="*/ 339 h 372"/>
                <a:gd name="T42" fmla="*/ 187 w 372"/>
                <a:gd name="T43" fmla="*/ 0 h 372"/>
                <a:gd name="T44" fmla="*/ 131 w 372"/>
                <a:gd name="T45" fmla="*/ 9 h 372"/>
                <a:gd name="T46" fmla="*/ 83 w 372"/>
                <a:gd name="T47" fmla="*/ 33 h 372"/>
                <a:gd name="T48" fmla="*/ 43 w 372"/>
                <a:gd name="T49" fmla="*/ 69 h 372"/>
                <a:gd name="T50" fmla="*/ 15 w 372"/>
                <a:gd name="T51" fmla="*/ 114 h 372"/>
                <a:gd name="T52" fmla="*/ 1 w 372"/>
                <a:gd name="T53" fmla="*/ 168 h 372"/>
                <a:gd name="T54" fmla="*/ 5 w 372"/>
                <a:gd name="T55" fmla="*/ 223 h 372"/>
                <a:gd name="T56" fmla="*/ 23 w 372"/>
                <a:gd name="T57" fmla="*/ 275 h 372"/>
                <a:gd name="T58" fmla="*/ 55 w 372"/>
                <a:gd name="T59" fmla="*/ 318 h 372"/>
                <a:gd name="T60" fmla="*/ 98 w 372"/>
                <a:gd name="T61" fmla="*/ 350 h 372"/>
                <a:gd name="T62" fmla="*/ 149 w 372"/>
                <a:gd name="T63" fmla="*/ 368 h 372"/>
                <a:gd name="T64" fmla="*/ 205 w 372"/>
                <a:gd name="T65" fmla="*/ 371 h 372"/>
                <a:gd name="T66" fmla="*/ 259 w 372"/>
                <a:gd name="T67" fmla="*/ 357 h 372"/>
                <a:gd name="T68" fmla="*/ 305 w 372"/>
                <a:gd name="T69" fmla="*/ 330 h 372"/>
                <a:gd name="T70" fmla="*/ 340 w 372"/>
                <a:gd name="T71" fmla="*/ 290 h 372"/>
                <a:gd name="T72" fmla="*/ 364 w 372"/>
                <a:gd name="T73" fmla="*/ 242 h 372"/>
                <a:gd name="T74" fmla="*/ 372 w 372"/>
                <a:gd name="T75" fmla="*/ 187 h 372"/>
                <a:gd name="T76" fmla="*/ 364 w 372"/>
                <a:gd name="T77" fmla="*/ 131 h 372"/>
                <a:gd name="T78" fmla="*/ 340 w 372"/>
                <a:gd name="T79" fmla="*/ 83 h 372"/>
                <a:gd name="T80" fmla="*/ 305 w 372"/>
                <a:gd name="T81" fmla="*/ 43 h 372"/>
                <a:gd name="T82" fmla="*/ 259 w 372"/>
                <a:gd name="T83" fmla="*/ 15 h 372"/>
                <a:gd name="T84" fmla="*/ 205 w 372"/>
                <a:gd name="T85"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 h="372">
                  <a:moveTo>
                    <a:pt x="187" y="342"/>
                  </a:moveTo>
                  <a:lnTo>
                    <a:pt x="171" y="341"/>
                  </a:lnTo>
                  <a:lnTo>
                    <a:pt x="155" y="339"/>
                  </a:lnTo>
                  <a:lnTo>
                    <a:pt x="140" y="335"/>
                  </a:lnTo>
                  <a:lnTo>
                    <a:pt x="126" y="330"/>
                  </a:lnTo>
                  <a:lnTo>
                    <a:pt x="112" y="323"/>
                  </a:lnTo>
                  <a:lnTo>
                    <a:pt x="99" y="316"/>
                  </a:lnTo>
                  <a:lnTo>
                    <a:pt x="87" y="306"/>
                  </a:lnTo>
                  <a:lnTo>
                    <a:pt x="76" y="296"/>
                  </a:lnTo>
                  <a:lnTo>
                    <a:pt x="67" y="286"/>
                  </a:lnTo>
                  <a:lnTo>
                    <a:pt x="57" y="274"/>
                  </a:lnTo>
                  <a:lnTo>
                    <a:pt x="50" y="261"/>
                  </a:lnTo>
                  <a:lnTo>
                    <a:pt x="43" y="247"/>
                  </a:lnTo>
                  <a:lnTo>
                    <a:pt x="38" y="233"/>
                  </a:lnTo>
                  <a:lnTo>
                    <a:pt x="34" y="218"/>
                  </a:lnTo>
                  <a:lnTo>
                    <a:pt x="31" y="202"/>
                  </a:lnTo>
                  <a:lnTo>
                    <a:pt x="30" y="187"/>
                  </a:lnTo>
                  <a:lnTo>
                    <a:pt x="31" y="171"/>
                  </a:lnTo>
                  <a:lnTo>
                    <a:pt x="34" y="155"/>
                  </a:lnTo>
                  <a:lnTo>
                    <a:pt x="38" y="141"/>
                  </a:lnTo>
                  <a:lnTo>
                    <a:pt x="43" y="126"/>
                  </a:lnTo>
                  <a:lnTo>
                    <a:pt x="50" y="113"/>
                  </a:lnTo>
                  <a:lnTo>
                    <a:pt x="57" y="100"/>
                  </a:lnTo>
                  <a:lnTo>
                    <a:pt x="67" y="87"/>
                  </a:lnTo>
                  <a:lnTo>
                    <a:pt x="76" y="77"/>
                  </a:lnTo>
                  <a:lnTo>
                    <a:pt x="87" y="67"/>
                  </a:lnTo>
                  <a:lnTo>
                    <a:pt x="99" y="57"/>
                  </a:lnTo>
                  <a:lnTo>
                    <a:pt x="112" y="50"/>
                  </a:lnTo>
                  <a:lnTo>
                    <a:pt x="126" y="43"/>
                  </a:lnTo>
                  <a:lnTo>
                    <a:pt x="140" y="38"/>
                  </a:lnTo>
                  <a:lnTo>
                    <a:pt x="155" y="35"/>
                  </a:lnTo>
                  <a:lnTo>
                    <a:pt x="171" y="31"/>
                  </a:lnTo>
                  <a:lnTo>
                    <a:pt x="187" y="31"/>
                  </a:lnTo>
                  <a:lnTo>
                    <a:pt x="202" y="31"/>
                  </a:lnTo>
                  <a:lnTo>
                    <a:pt x="218" y="35"/>
                  </a:lnTo>
                  <a:lnTo>
                    <a:pt x="233" y="38"/>
                  </a:lnTo>
                  <a:lnTo>
                    <a:pt x="247" y="43"/>
                  </a:lnTo>
                  <a:lnTo>
                    <a:pt x="261" y="50"/>
                  </a:lnTo>
                  <a:lnTo>
                    <a:pt x="274" y="57"/>
                  </a:lnTo>
                  <a:lnTo>
                    <a:pt x="286" y="67"/>
                  </a:lnTo>
                  <a:lnTo>
                    <a:pt x="296" y="77"/>
                  </a:lnTo>
                  <a:lnTo>
                    <a:pt x="306" y="87"/>
                  </a:lnTo>
                  <a:lnTo>
                    <a:pt x="316" y="100"/>
                  </a:lnTo>
                  <a:lnTo>
                    <a:pt x="323" y="113"/>
                  </a:lnTo>
                  <a:lnTo>
                    <a:pt x="329" y="126"/>
                  </a:lnTo>
                  <a:lnTo>
                    <a:pt x="335" y="141"/>
                  </a:lnTo>
                  <a:lnTo>
                    <a:pt x="339" y="155"/>
                  </a:lnTo>
                  <a:lnTo>
                    <a:pt x="341" y="171"/>
                  </a:lnTo>
                  <a:lnTo>
                    <a:pt x="342" y="187"/>
                  </a:lnTo>
                  <a:lnTo>
                    <a:pt x="341" y="202"/>
                  </a:lnTo>
                  <a:lnTo>
                    <a:pt x="339" y="218"/>
                  </a:lnTo>
                  <a:lnTo>
                    <a:pt x="335" y="233"/>
                  </a:lnTo>
                  <a:lnTo>
                    <a:pt x="329" y="247"/>
                  </a:lnTo>
                  <a:lnTo>
                    <a:pt x="323" y="261"/>
                  </a:lnTo>
                  <a:lnTo>
                    <a:pt x="316" y="274"/>
                  </a:lnTo>
                  <a:lnTo>
                    <a:pt x="306" y="286"/>
                  </a:lnTo>
                  <a:lnTo>
                    <a:pt x="296" y="296"/>
                  </a:lnTo>
                  <a:lnTo>
                    <a:pt x="286" y="306"/>
                  </a:lnTo>
                  <a:lnTo>
                    <a:pt x="274" y="316"/>
                  </a:lnTo>
                  <a:lnTo>
                    <a:pt x="261" y="323"/>
                  </a:lnTo>
                  <a:lnTo>
                    <a:pt x="247" y="330"/>
                  </a:lnTo>
                  <a:lnTo>
                    <a:pt x="233" y="335"/>
                  </a:lnTo>
                  <a:lnTo>
                    <a:pt x="218" y="339"/>
                  </a:lnTo>
                  <a:lnTo>
                    <a:pt x="202" y="341"/>
                  </a:lnTo>
                  <a:lnTo>
                    <a:pt x="187" y="342"/>
                  </a:lnTo>
                  <a:close/>
                  <a:moveTo>
                    <a:pt x="187" y="0"/>
                  </a:moveTo>
                  <a:lnTo>
                    <a:pt x="168" y="1"/>
                  </a:lnTo>
                  <a:lnTo>
                    <a:pt x="149" y="5"/>
                  </a:lnTo>
                  <a:lnTo>
                    <a:pt x="131" y="9"/>
                  </a:lnTo>
                  <a:lnTo>
                    <a:pt x="114" y="15"/>
                  </a:lnTo>
                  <a:lnTo>
                    <a:pt x="98" y="23"/>
                  </a:lnTo>
                  <a:lnTo>
                    <a:pt x="83" y="33"/>
                  </a:lnTo>
                  <a:lnTo>
                    <a:pt x="68" y="43"/>
                  </a:lnTo>
                  <a:lnTo>
                    <a:pt x="55" y="55"/>
                  </a:lnTo>
                  <a:lnTo>
                    <a:pt x="43" y="69"/>
                  </a:lnTo>
                  <a:lnTo>
                    <a:pt x="32" y="83"/>
                  </a:lnTo>
                  <a:lnTo>
                    <a:pt x="23" y="98"/>
                  </a:lnTo>
                  <a:lnTo>
                    <a:pt x="15" y="114"/>
                  </a:lnTo>
                  <a:lnTo>
                    <a:pt x="9" y="131"/>
                  </a:lnTo>
                  <a:lnTo>
                    <a:pt x="5" y="149"/>
                  </a:lnTo>
                  <a:lnTo>
                    <a:pt x="1" y="168"/>
                  </a:lnTo>
                  <a:lnTo>
                    <a:pt x="0" y="187"/>
                  </a:lnTo>
                  <a:lnTo>
                    <a:pt x="1" y="205"/>
                  </a:lnTo>
                  <a:lnTo>
                    <a:pt x="5" y="223"/>
                  </a:lnTo>
                  <a:lnTo>
                    <a:pt x="9" y="242"/>
                  </a:lnTo>
                  <a:lnTo>
                    <a:pt x="15" y="259"/>
                  </a:lnTo>
                  <a:lnTo>
                    <a:pt x="23" y="275"/>
                  </a:lnTo>
                  <a:lnTo>
                    <a:pt x="32" y="290"/>
                  </a:lnTo>
                  <a:lnTo>
                    <a:pt x="43" y="305"/>
                  </a:lnTo>
                  <a:lnTo>
                    <a:pt x="55" y="318"/>
                  </a:lnTo>
                  <a:lnTo>
                    <a:pt x="68" y="330"/>
                  </a:lnTo>
                  <a:lnTo>
                    <a:pt x="83" y="340"/>
                  </a:lnTo>
                  <a:lnTo>
                    <a:pt x="98" y="350"/>
                  </a:lnTo>
                  <a:lnTo>
                    <a:pt x="114" y="357"/>
                  </a:lnTo>
                  <a:lnTo>
                    <a:pt x="131" y="364"/>
                  </a:lnTo>
                  <a:lnTo>
                    <a:pt x="149" y="368"/>
                  </a:lnTo>
                  <a:lnTo>
                    <a:pt x="168" y="371"/>
                  </a:lnTo>
                  <a:lnTo>
                    <a:pt x="187" y="372"/>
                  </a:lnTo>
                  <a:lnTo>
                    <a:pt x="205" y="371"/>
                  </a:lnTo>
                  <a:lnTo>
                    <a:pt x="223" y="368"/>
                  </a:lnTo>
                  <a:lnTo>
                    <a:pt x="242" y="364"/>
                  </a:lnTo>
                  <a:lnTo>
                    <a:pt x="259" y="357"/>
                  </a:lnTo>
                  <a:lnTo>
                    <a:pt x="275" y="350"/>
                  </a:lnTo>
                  <a:lnTo>
                    <a:pt x="290" y="340"/>
                  </a:lnTo>
                  <a:lnTo>
                    <a:pt x="305" y="330"/>
                  </a:lnTo>
                  <a:lnTo>
                    <a:pt x="318" y="318"/>
                  </a:lnTo>
                  <a:lnTo>
                    <a:pt x="329" y="305"/>
                  </a:lnTo>
                  <a:lnTo>
                    <a:pt x="340" y="290"/>
                  </a:lnTo>
                  <a:lnTo>
                    <a:pt x="350" y="275"/>
                  </a:lnTo>
                  <a:lnTo>
                    <a:pt x="357" y="259"/>
                  </a:lnTo>
                  <a:lnTo>
                    <a:pt x="364" y="242"/>
                  </a:lnTo>
                  <a:lnTo>
                    <a:pt x="368" y="223"/>
                  </a:lnTo>
                  <a:lnTo>
                    <a:pt x="371" y="205"/>
                  </a:lnTo>
                  <a:lnTo>
                    <a:pt x="372" y="187"/>
                  </a:lnTo>
                  <a:lnTo>
                    <a:pt x="371" y="168"/>
                  </a:lnTo>
                  <a:lnTo>
                    <a:pt x="368" y="149"/>
                  </a:lnTo>
                  <a:lnTo>
                    <a:pt x="364" y="131"/>
                  </a:lnTo>
                  <a:lnTo>
                    <a:pt x="357" y="114"/>
                  </a:lnTo>
                  <a:lnTo>
                    <a:pt x="350" y="98"/>
                  </a:lnTo>
                  <a:lnTo>
                    <a:pt x="340" y="83"/>
                  </a:lnTo>
                  <a:lnTo>
                    <a:pt x="329" y="69"/>
                  </a:lnTo>
                  <a:lnTo>
                    <a:pt x="318" y="55"/>
                  </a:lnTo>
                  <a:lnTo>
                    <a:pt x="305" y="43"/>
                  </a:lnTo>
                  <a:lnTo>
                    <a:pt x="290" y="33"/>
                  </a:lnTo>
                  <a:lnTo>
                    <a:pt x="275" y="23"/>
                  </a:lnTo>
                  <a:lnTo>
                    <a:pt x="259" y="15"/>
                  </a:lnTo>
                  <a:lnTo>
                    <a:pt x="242" y="9"/>
                  </a:lnTo>
                  <a:lnTo>
                    <a:pt x="223" y="5"/>
                  </a:lnTo>
                  <a:lnTo>
                    <a:pt x="205" y="1"/>
                  </a:lnTo>
                  <a:lnTo>
                    <a:pt x="1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418">
              <a:extLst>
                <a:ext uri="{FF2B5EF4-FFF2-40B4-BE49-F238E27FC236}">
                  <a16:creationId xmlns:a16="http://schemas.microsoft.com/office/drawing/2014/main" id="{FC0F2518-BFDA-4042-BA38-62F5A0130F91}"/>
                </a:ext>
              </a:extLst>
            </p:cNvPr>
            <p:cNvSpPr>
              <a:spLocks noEditPoints="1"/>
            </p:cNvSpPr>
            <p:nvPr/>
          </p:nvSpPr>
          <p:spPr bwMode="auto">
            <a:xfrm>
              <a:off x="8286750" y="3662045"/>
              <a:ext cx="85725" cy="47625"/>
            </a:xfrm>
            <a:custGeom>
              <a:avLst/>
              <a:gdLst>
                <a:gd name="T0" fmla="*/ 241 w 271"/>
                <a:gd name="T1" fmla="*/ 120 h 151"/>
                <a:gd name="T2" fmla="*/ 30 w 271"/>
                <a:gd name="T3" fmla="*/ 120 h 151"/>
                <a:gd name="T4" fmla="*/ 30 w 271"/>
                <a:gd name="T5" fmla="*/ 30 h 151"/>
                <a:gd name="T6" fmla="*/ 241 w 271"/>
                <a:gd name="T7" fmla="*/ 30 h 151"/>
                <a:gd name="T8" fmla="*/ 241 w 271"/>
                <a:gd name="T9" fmla="*/ 120 h 151"/>
                <a:gd name="T10" fmla="*/ 256 w 271"/>
                <a:gd name="T11" fmla="*/ 0 h 151"/>
                <a:gd name="T12" fmla="*/ 15 w 271"/>
                <a:gd name="T13" fmla="*/ 0 h 151"/>
                <a:gd name="T14" fmla="*/ 13 w 271"/>
                <a:gd name="T15" fmla="*/ 1 h 151"/>
                <a:gd name="T16" fmla="*/ 10 w 271"/>
                <a:gd name="T17" fmla="*/ 1 h 151"/>
                <a:gd name="T18" fmla="*/ 7 w 271"/>
                <a:gd name="T19" fmla="*/ 3 h 151"/>
                <a:gd name="T20" fmla="*/ 4 w 271"/>
                <a:gd name="T21" fmla="*/ 4 h 151"/>
                <a:gd name="T22" fmla="*/ 3 w 271"/>
                <a:gd name="T23" fmla="*/ 7 h 151"/>
                <a:gd name="T24" fmla="*/ 1 w 271"/>
                <a:gd name="T25" fmla="*/ 9 h 151"/>
                <a:gd name="T26" fmla="*/ 1 w 271"/>
                <a:gd name="T27" fmla="*/ 13 h 151"/>
                <a:gd name="T28" fmla="*/ 0 w 271"/>
                <a:gd name="T29" fmla="*/ 15 h 151"/>
                <a:gd name="T30" fmla="*/ 0 w 271"/>
                <a:gd name="T31" fmla="*/ 136 h 151"/>
                <a:gd name="T32" fmla="*/ 1 w 271"/>
                <a:gd name="T33" fmla="*/ 138 h 151"/>
                <a:gd name="T34" fmla="*/ 1 w 271"/>
                <a:gd name="T35" fmla="*/ 141 h 151"/>
                <a:gd name="T36" fmla="*/ 3 w 271"/>
                <a:gd name="T37" fmla="*/ 143 h 151"/>
                <a:gd name="T38" fmla="*/ 4 w 271"/>
                <a:gd name="T39" fmla="*/ 146 h 151"/>
                <a:gd name="T40" fmla="*/ 7 w 271"/>
                <a:gd name="T41" fmla="*/ 148 h 151"/>
                <a:gd name="T42" fmla="*/ 10 w 271"/>
                <a:gd name="T43" fmla="*/ 149 h 151"/>
                <a:gd name="T44" fmla="*/ 13 w 271"/>
                <a:gd name="T45" fmla="*/ 150 h 151"/>
                <a:gd name="T46" fmla="*/ 15 w 271"/>
                <a:gd name="T47" fmla="*/ 151 h 151"/>
                <a:gd name="T48" fmla="*/ 256 w 271"/>
                <a:gd name="T49" fmla="*/ 151 h 151"/>
                <a:gd name="T50" fmla="*/ 259 w 271"/>
                <a:gd name="T51" fmla="*/ 150 h 151"/>
                <a:gd name="T52" fmla="*/ 262 w 271"/>
                <a:gd name="T53" fmla="*/ 149 h 151"/>
                <a:gd name="T54" fmla="*/ 265 w 271"/>
                <a:gd name="T55" fmla="*/ 148 h 151"/>
                <a:gd name="T56" fmla="*/ 267 w 271"/>
                <a:gd name="T57" fmla="*/ 146 h 151"/>
                <a:gd name="T58" fmla="*/ 268 w 271"/>
                <a:gd name="T59" fmla="*/ 143 h 151"/>
                <a:gd name="T60" fmla="*/ 270 w 271"/>
                <a:gd name="T61" fmla="*/ 141 h 151"/>
                <a:gd name="T62" fmla="*/ 270 w 271"/>
                <a:gd name="T63" fmla="*/ 138 h 151"/>
                <a:gd name="T64" fmla="*/ 271 w 271"/>
                <a:gd name="T65" fmla="*/ 136 h 151"/>
                <a:gd name="T66" fmla="*/ 271 w 271"/>
                <a:gd name="T67" fmla="*/ 15 h 151"/>
                <a:gd name="T68" fmla="*/ 270 w 271"/>
                <a:gd name="T69" fmla="*/ 13 h 151"/>
                <a:gd name="T70" fmla="*/ 270 w 271"/>
                <a:gd name="T71" fmla="*/ 9 h 151"/>
                <a:gd name="T72" fmla="*/ 268 w 271"/>
                <a:gd name="T73" fmla="*/ 7 h 151"/>
                <a:gd name="T74" fmla="*/ 267 w 271"/>
                <a:gd name="T75" fmla="*/ 4 h 151"/>
                <a:gd name="T76" fmla="*/ 265 w 271"/>
                <a:gd name="T77" fmla="*/ 3 h 151"/>
                <a:gd name="T78" fmla="*/ 262 w 271"/>
                <a:gd name="T79" fmla="*/ 1 h 151"/>
                <a:gd name="T80" fmla="*/ 259 w 271"/>
                <a:gd name="T81" fmla="*/ 1 h 151"/>
                <a:gd name="T82" fmla="*/ 256 w 271"/>
                <a:gd name="T8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1" h="151">
                  <a:moveTo>
                    <a:pt x="241" y="120"/>
                  </a:moveTo>
                  <a:lnTo>
                    <a:pt x="30" y="120"/>
                  </a:lnTo>
                  <a:lnTo>
                    <a:pt x="30" y="30"/>
                  </a:lnTo>
                  <a:lnTo>
                    <a:pt x="241" y="30"/>
                  </a:lnTo>
                  <a:lnTo>
                    <a:pt x="241" y="120"/>
                  </a:lnTo>
                  <a:close/>
                  <a:moveTo>
                    <a:pt x="256" y="0"/>
                  </a:moveTo>
                  <a:lnTo>
                    <a:pt x="15" y="0"/>
                  </a:lnTo>
                  <a:lnTo>
                    <a:pt x="13" y="1"/>
                  </a:lnTo>
                  <a:lnTo>
                    <a:pt x="10" y="1"/>
                  </a:lnTo>
                  <a:lnTo>
                    <a:pt x="7" y="3"/>
                  </a:lnTo>
                  <a:lnTo>
                    <a:pt x="4" y="4"/>
                  </a:lnTo>
                  <a:lnTo>
                    <a:pt x="3" y="7"/>
                  </a:lnTo>
                  <a:lnTo>
                    <a:pt x="1" y="9"/>
                  </a:lnTo>
                  <a:lnTo>
                    <a:pt x="1" y="13"/>
                  </a:lnTo>
                  <a:lnTo>
                    <a:pt x="0" y="15"/>
                  </a:lnTo>
                  <a:lnTo>
                    <a:pt x="0" y="136"/>
                  </a:lnTo>
                  <a:lnTo>
                    <a:pt x="1" y="138"/>
                  </a:lnTo>
                  <a:lnTo>
                    <a:pt x="1" y="141"/>
                  </a:lnTo>
                  <a:lnTo>
                    <a:pt x="3" y="143"/>
                  </a:lnTo>
                  <a:lnTo>
                    <a:pt x="4" y="146"/>
                  </a:lnTo>
                  <a:lnTo>
                    <a:pt x="7" y="148"/>
                  </a:lnTo>
                  <a:lnTo>
                    <a:pt x="10" y="149"/>
                  </a:lnTo>
                  <a:lnTo>
                    <a:pt x="13" y="150"/>
                  </a:lnTo>
                  <a:lnTo>
                    <a:pt x="15" y="151"/>
                  </a:lnTo>
                  <a:lnTo>
                    <a:pt x="256" y="151"/>
                  </a:lnTo>
                  <a:lnTo>
                    <a:pt x="259" y="150"/>
                  </a:lnTo>
                  <a:lnTo>
                    <a:pt x="262" y="149"/>
                  </a:lnTo>
                  <a:lnTo>
                    <a:pt x="265" y="148"/>
                  </a:lnTo>
                  <a:lnTo>
                    <a:pt x="267" y="146"/>
                  </a:lnTo>
                  <a:lnTo>
                    <a:pt x="268" y="143"/>
                  </a:lnTo>
                  <a:lnTo>
                    <a:pt x="270" y="141"/>
                  </a:lnTo>
                  <a:lnTo>
                    <a:pt x="270" y="138"/>
                  </a:lnTo>
                  <a:lnTo>
                    <a:pt x="271" y="136"/>
                  </a:lnTo>
                  <a:lnTo>
                    <a:pt x="271" y="15"/>
                  </a:lnTo>
                  <a:lnTo>
                    <a:pt x="270" y="13"/>
                  </a:lnTo>
                  <a:lnTo>
                    <a:pt x="270" y="9"/>
                  </a:lnTo>
                  <a:lnTo>
                    <a:pt x="268" y="7"/>
                  </a:lnTo>
                  <a:lnTo>
                    <a:pt x="267" y="4"/>
                  </a:lnTo>
                  <a:lnTo>
                    <a:pt x="265" y="3"/>
                  </a:lnTo>
                  <a:lnTo>
                    <a:pt x="262" y="1"/>
                  </a:lnTo>
                  <a:lnTo>
                    <a:pt x="25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88" name="Group 56">
            <a:extLst>
              <a:ext uri="{FF2B5EF4-FFF2-40B4-BE49-F238E27FC236}">
                <a16:creationId xmlns:a16="http://schemas.microsoft.com/office/drawing/2014/main" id="{CF7DA282-240A-4565-AB2B-0CF6D39C5618}"/>
              </a:ext>
            </a:extLst>
          </p:cNvPr>
          <p:cNvGrpSpPr>
            <a:grpSpLocks noChangeAspect="1"/>
          </p:cNvGrpSpPr>
          <p:nvPr/>
        </p:nvGrpSpPr>
        <p:grpSpPr>
          <a:xfrm>
            <a:off x="8338605" y="5956111"/>
            <a:ext cx="219342" cy="285619"/>
            <a:chOff x="906463" y="3081338"/>
            <a:chExt cx="220663" cy="287338"/>
          </a:xfrm>
          <a:solidFill>
            <a:schemeClr val="bg2"/>
          </a:solidFill>
          <a:effectLst/>
        </p:grpSpPr>
        <p:sp>
          <p:nvSpPr>
            <p:cNvPr id="1489" name="Freeform 314">
              <a:extLst>
                <a:ext uri="{FF2B5EF4-FFF2-40B4-BE49-F238E27FC236}">
                  <a16:creationId xmlns:a16="http://schemas.microsoft.com/office/drawing/2014/main" id="{797C0567-7F9A-4031-BB53-1A52E30C7D33}"/>
                </a:ext>
              </a:extLst>
            </p:cNvPr>
            <p:cNvSpPr>
              <a:spLocks noEditPoints="1"/>
            </p:cNvSpPr>
            <p:nvPr/>
          </p:nvSpPr>
          <p:spPr bwMode="auto">
            <a:xfrm>
              <a:off x="906463" y="3081338"/>
              <a:ext cx="220663" cy="287338"/>
            </a:xfrm>
            <a:custGeom>
              <a:avLst/>
              <a:gdLst>
                <a:gd name="T0" fmla="*/ 662 w 693"/>
                <a:gd name="T1" fmla="*/ 718 h 903"/>
                <a:gd name="T2" fmla="*/ 657 w 693"/>
                <a:gd name="T3" fmla="*/ 743 h 903"/>
                <a:gd name="T4" fmla="*/ 646 w 693"/>
                <a:gd name="T5" fmla="*/ 769 h 903"/>
                <a:gd name="T6" fmla="*/ 632 w 693"/>
                <a:gd name="T7" fmla="*/ 790 h 903"/>
                <a:gd name="T8" fmla="*/ 589 w 693"/>
                <a:gd name="T9" fmla="*/ 834 h 903"/>
                <a:gd name="T10" fmla="*/ 571 w 693"/>
                <a:gd name="T11" fmla="*/ 849 h 903"/>
                <a:gd name="T12" fmla="*/ 547 w 693"/>
                <a:gd name="T13" fmla="*/ 861 h 903"/>
                <a:gd name="T14" fmla="*/ 521 w 693"/>
                <a:gd name="T15" fmla="*/ 870 h 903"/>
                <a:gd name="T16" fmla="*/ 498 w 693"/>
                <a:gd name="T17" fmla="*/ 873 h 903"/>
                <a:gd name="T18" fmla="*/ 67 w 693"/>
                <a:gd name="T19" fmla="*/ 872 h 903"/>
                <a:gd name="T20" fmla="*/ 51 w 693"/>
                <a:gd name="T21" fmla="*/ 865 h 903"/>
                <a:gd name="T22" fmla="*/ 39 w 693"/>
                <a:gd name="T23" fmla="*/ 852 h 903"/>
                <a:gd name="T24" fmla="*/ 31 w 693"/>
                <a:gd name="T25" fmla="*/ 836 h 903"/>
                <a:gd name="T26" fmla="*/ 30 w 693"/>
                <a:gd name="T27" fmla="*/ 75 h 903"/>
                <a:gd name="T28" fmla="*/ 35 w 693"/>
                <a:gd name="T29" fmla="*/ 58 h 903"/>
                <a:gd name="T30" fmla="*/ 44 w 693"/>
                <a:gd name="T31" fmla="*/ 43 h 903"/>
                <a:gd name="T32" fmla="*/ 58 w 693"/>
                <a:gd name="T33" fmla="*/ 33 h 903"/>
                <a:gd name="T34" fmla="*/ 76 w 693"/>
                <a:gd name="T35" fmla="*/ 30 h 903"/>
                <a:gd name="T36" fmla="*/ 627 w 693"/>
                <a:gd name="T37" fmla="*/ 31 h 903"/>
                <a:gd name="T38" fmla="*/ 643 w 693"/>
                <a:gd name="T39" fmla="*/ 37 h 903"/>
                <a:gd name="T40" fmla="*/ 655 w 693"/>
                <a:gd name="T41" fmla="*/ 49 h 903"/>
                <a:gd name="T42" fmla="*/ 662 w 693"/>
                <a:gd name="T43" fmla="*/ 65 h 903"/>
                <a:gd name="T44" fmla="*/ 663 w 693"/>
                <a:gd name="T45" fmla="*/ 706 h 903"/>
                <a:gd name="T46" fmla="*/ 76 w 693"/>
                <a:gd name="T47" fmla="*/ 0 h 903"/>
                <a:gd name="T48" fmla="*/ 60 w 693"/>
                <a:gd name="T49" fmla="*/ 1 h 903"/>
                <a:gd name="T50" fmla="*/ 46 w 693"/>
                <a:gd name="T51" fmla="*/ 5 h 903"/>
                <a:gd name="T52" fmla="*/ 33 w 693"/>
                <a:gd name="T53" fmla="*/ 13 h 903"/>
                <a:gd name="T54" fmla="*/ 23 w 693"/>
                <a:gd name="T55" fmla="*/ 21 h 903"/>
                <a:gd name="T56" fmla="*/ 13 w 693"/>
                <a:gd name="T57" fmla="*/ 33 h 903"/>
                <a:gd name="T58" fmla="*/ 7 w 693"/>
                <a:gd name="T59" fmla="*/ 46 h 903"/>
                <a:gd name="T60" fmla="*/ 2 w 693"/>
                <a:gd name="T61" fmla="*/ 60 h 903"/>
                <a:gd name="T62" fmla="*/ 0 w 693"/>
                <a:gd name="T63" fmla="*/ 75 h 903"/>
                <a:gd name="T64" fmla="*/ 1 w 693"/>
                <a:gd name="T65" fmla="*/ 835 h 903"/>
                <a:gd name="T66" fmla="*/ 4 w 693"/>
                <a:gd name="T67" fmla="*/ 849 h 903"/>
                <a:gd name="T68" fmla="*/ 10 w 693"/>
                <a:gd name="T69" fmla="*/ 863 h 903"/>
                <a:gd name="T70" fmla="*/ 17 w 693"/>
                <a:gd name="T71" fmla="*/ 875 h 903"/>
                <a:gd name="T72" fmla="*/ 28 w 693"/>
                <a:gd name="T73" fmla="*/ 886 h 903"/>
                <a:gd name="T74" fmla="*/ 40 w 693"/>
                <a:gd name="T75" fmla="*/ 893 h 903"/>
                <a:gd name="T76" fmla="*/ 54 w 693"/>
                <a:gd name="T77" fmla="*/ 900 h 903"/>
                <a:gd name="T78" fmla="*/ 68 w 693"/>
                <a:gd name="T79" fmla="*/ 902 h 903"/>
                <a:gd name="T80" fmla="*/ 498 w 693"/>
                <a:gd name="T81" fmla="*/ 903 h 903"/>
                <a:gd name="T82" fmla="*/ 527 w 693"/>
                <a:gd name="T83" fmla="*/ 898 h 903"/>
                <a:gd name="T84" fmla="*/ 558 w 693"/>
                <a:gd name="T85" fmla="*/ 889 h 903"/>
                <a:gd name="T86" fmla="*/ 587 w 693"/>
                <a:gd name="T87" fmla="*/ 874 h 903"/>
                <a:gd name="T88" fmla="*/ 610 w 693"/>
                <a:gd name="T89" fmla="*/ 856 h 903"/>
                <a:gd name="T90" fmla="*/ 655 w 693"/>
                <a:gd name="T91" fmla="*/ 809 h 903"/>
                <a:gd name="T92" fmla="*/ 673 w 693"/>
                <a:gd name="T93" fmla="*/ 783 h 903"/>
                <a:gd name="T94" fmla="*/ 686 w 693"/>
                <a:gd name="T95" fmla="*/ 753 h 903"/>
                <a:gd name="T96" fmla="*/ 692 w 693"/>
                <a:gd name="T97" fmla="*/ 722 h 903"/>
                <a:gd name="T98" fmla="*/ 693 w 693"/>
                <a:gd name="T99" fmla="*/ 75 h 903"/>
                <a:gd name="T100" fmla="*/ 692 w 693"/>
                <a:gd name="T101" fmla="*/ 60 h 903"/>
                <a:gd name="T102" fmla="*/ 688 w 693"/>
                <a:gd name="T103" fmla="*/ 46 h 903"/>
                <a:gd name="T104" fmla="*/ 680 w 693"/>
                <a:gd name="T105" fmla="*/ 33 h 903"/>
                <a:gd name="T106" fmla="*/ 670 w 693"/>
                <a:gd name="T107" fmla="*/ 21 h 903"/>
                <a:gd name="T108" fmla="*/ 660 w 693"/>
                <a:gd name="T109" fmla="*/ 13 h 903"/>
                <a:gd name="T110" fmla="*/ 647 w 693"/>
                <a:gd name="T111" fmla="*/ 5 h 903"/>
                <a:gd name="T112" fmla="*/ 633 w 693"/>
                <a:gd name="T113" fmla="*/ 1 h 903"/>
                <a:gd name="T114" fmla="*/ 618 w 693"/>
                <a:gd name="T115"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3" h="903">
                  <a:moveTo>
                    <a:pt x="663" y="706"/>
                  </a:moveTo>
                  <a:lnTo>
                    <a:pt x="662" y="718"/>
                  </a:lnTo>
                  <a:lnTo>
                    <a:pt x="660" y="731"/>
                  </a:lnTo>
                  <a:lnTo>
                    <a:pt x="657" y="743"/>
                  </a:lnTo>
                  <a:lnTo>
                    <a:pt x="651" y="756"/>
                  </a:lnTo>
                  <a:lnTo>
                    <a:pt x="646" y="769"/>
                  </a:lnTo>
                  <a:lnTo>
                    <a:pt x="639" y="781"/>
                  </a:lnTo>
                  <a:lnTo>
                    <a:pt x="632" y="790"/>
                  </a:lnTo>
                  <a:lnTo>
                    <a:pt x="624" y="799"/>
                  </a:lnTo>
                  <a:lnTo>
                    <a:pt x="589" y="834"/>
                  </a:lnTo>
                  <a:lnTo>
                    <a:pt x="580" y="842"/>
                  </a:lnTo>
                  <a:lnTo>
                    <a:pt x="571" y="849"/>
                  </a:lnTo>
                  <a:lnTo>
                    <a:pt x="559" y="856"/>
                  </a:lnTo>
                  <a:lnTo>
                    <a:pt x="547" y="861"/>
                  </a:lnTo>
                  <a:lnTo>
                    <a:pt x="534" y="866"/>
                  </a:lnTo>
                  <a:lnTo>
                    <a:pt x="521" y="870"/>
                  </a:lnTo>
                  <a:lnTo>
                    <a:pt x="509" y="872"/>
                  </a:lnTo>
                  <a:lnTo>
                    <a:pt x="498" y="873"/>
                  </a:lnTo>
                  <a:lnTo>
                    <a:pt x="76" y="873"/>
                  </a:lnTo>
                  <a:lnTo>
                    <a:pt x="67" y="872"/>
                  </a:lnTo>
                  <a:lnTo>
                    <a:pt x="58" y="868"/>
                  </a:lnTo>
                  <a:lnTo>
                    <a:pt x="51" y="865"/>
                  </a:lnTo>
                  <a:lnTo>
                    <a:pt x="44" y="859"/>
                  </a:lnTo>
                  <a:lnTo>
                    <a:pt x="39" y="852"/>
                  </a:lnTo>
                  <a:lnTo>
                    <a:pt x="35" y="845"/>
                  </a:lnTo>
                  <a:lnTo>
                    <a:pt x="31" y="836"/>
                  </a:lnTo>
                  <a:lnTo>
                    <a:pt x="30" y="828"/>
                  </a:lnTo>
                  <a:lnTo>
                    <a:pt x="30" y="75"/>
                  </a:lnTo>
                  <a:lnTo>
                    <a:pt x="31" y="65"/>
                  </a:lnTo>
                  <a:lnTo>
                    <a:pt x="35" y="58"/>
                  </a:lnTo>
                  <a:lnTo>
                    <a:pt x="39" y="49"/>
                  </a:lnTo>
                  <a:lnTo>
                    <a:pt x="44" y="43"/>
                  </a:lnTo>
                  <a:lnTo>
                    <a:pt x="51" y="37"/>
                  </a:lnTo>
                  <a:lnTo>
                    <a:pt x="58" y="33"/>
                  </a:lnTo>
                  <a:lnTo>
                    <a:pt x="67" y="31"/>
                  </a:lnTo>
                  <a:lnTo>
                    <a:pt x="76" y="30"/>
                  </a:lnTo>
                  <a:lnTo>
                    <a:pt x="618" y="30"/>
                  </a:lnTo>
                  <a:lnTo>
                    <a:pt x="627" y="31"/>
                  </a:lnTo>
                  <a:lnTo>
                    <a:pt x="635" y="33"/>
                  </a:lnTo>
                  <a:lnTo>
                    <a:pt x="643" y="37"/>
                  </a:lnTo>
                  <a:lnTo>
                    <a:pt x="650" y="43"/>
                  </a:lnTo>
                  <a:lnTo>
                    <a:pt x="655" y="49"/>
                  </a:lnTo>
                  <a:lnTo>
                    <a:pt x="660" y="58"/>
                  </a:lnTo>
                  <a:lnTo>
                    <a:pt x="662" y="65"/>
                  </a:lnTo>
                  <a:lnTo>
                    <a:pt x="663" y="75"/>
                  </a:lnTo>
                  <a:lnTo>
                    <a:pt x="663" y="706"/>
                  </a:lnTo>
                  <a:close/>
                  <a:moveTo>
                    <a:pt x="618" y="0"/>
                  </a:moveTo>
                  <a:lnTo>
                    <a:pt x="76" y="0"/>
                  </a:lnTo>
                  <a:lnTo>
                    <a:pt x="68" y="0"/>
                  </a:lnTo>
                  <a:lnTo>
                    <a:pt x="60" y="1"/>
                  </a:lnTo>
                  <a:lnTo>
                    <a:pt x="54" y="3"/>
                  </a:lnTo>
                  <a:lnTo>
                    <a:pt x="46" y="5"/>
                  </a:lnTo>
                  <a:lnTo>
                    <a:pt x="40" y="8"/>
                  </a:lnTo>
                  <a:lnTo>
                    <a:pt x="33" y="13"/>
                  </a:lnTo>
                  <a:lnTo>
                    <a:pt x="28" y="17"/>
                  </a:lnTo>
                  <a:lnTo>
                    <a:pt x="23" y="21"/>
                  </a:lnTo>
                  <a:lnTo>
                    <a:pt x="17" y="26"/>
                  </a:lnTo>
                  <a:lnTo>
                    <a:pt x="13" y="33"/>
                  </a:lnTo>
                  <a:lnTo>
                    <a:pt x="10" y="38"/>
                  </a:lnTo>
                  <a:lnTo>
                    <a:pt x="7" y="46"/>
                  </a:lnTo>
                  <a:lnTo>
                    <a:pt x="4" y="52"/>
                  </a:lnTo>
                  <a:lnTo>
                    <a:pt x="2" y="60"/>
                  </a:lnTo>
                  <a:lnTo>
                    <a:pt x="1" y="67"/>
                  </a:lnTo>
                  <a:lnTo>
                    <a:pt x="0" y="75"/>
                  </a:lnTo>
                  <a:lnTo>
                    <a:pt x="0" y="828"/>
                  </a:lnTo>
                  <a:lnTo>
                    <a:pt x="1" y="835"/>
                  </a:lnTo>
                  <a:lnTo>
                    <a:pt x="2" y="843"/>
                  </a:lnTo>
                  <a:lnTo>
                    <a:pt x="4" y="849"/>
                  </a:lnTo>
                  <a:lnTo>
                    <a:pt x="7" y="857"/>
                  </a:lnTo>
                  <a:lnTo>
                    <a:pt x="10" y="863"/>
                  </a:lnTo>
                  <a:lnTo>
                    <a:pt x="13" y="870"/>
                  </a:lnTo>
                  <a:lnTo>
                    <a:pt x="17" y="875"/>
                  </a:lnTo>
                  <a:lnTo>
                    <a:pt x="23" y="880"/>
                  </a:lnTo>
                  <a:lnTo>
                    <a:pt x="28" y="886"/>
                  </a:lnTo>
                  <a:lnTo>
                    <a:pt x="33" y="890"/>
                  </a:lnTo>
                  <a:lnTo>
                    <a:pt x="40" y="893"/>
                  </a:lnTo>
                  <a:lnTo>
                    <a:pt x="46" y="896"/>
                  </a:lnTo>
                  <a:lnTo>
                    <a:pt x="54" y="900"/>
                  </a:lnTo>
                  <a:lnTo>
                    <a:pt x="60" y="901"/>
                  </a:lnTo>
                  <a:lnTo>
                    <a:pt x="68" y="902"/>
                  </a:lnTo>
                  <a:lnTo>
                    <a:pt x="76" y="903"/>
                  </a:lnTo>
                  <a:lnTo>
                    <a:pt x="498" y="903"/>
                  </a:lnTo>
                  <a:lnTo>
                    <a:pt x="512" y="902"/>
                  </a:lnTo>
                  <a:lnTo>
                    <a:pt x="527" y="898"/>
                  </a:lnTo>
                  <a:lnTo>
                    <a:pt x="543" y="894"/>
                  </a:lnTo>
                  <a:lnTo>
                    <a:pt x="558" y="889"/>
                  </a:lnTo>
                  <a:lnTo>
                    <a:pt x="573" y="882"/>
                  </a:lnTo>
                  <a:lnTo>
                    <a:pt x="587" y="874"/>
                  </a:lnTo>
                  <a:lnTo>
                    <a:pt x="600" y="865"/>
                  </a:lnTo>
                  <a:lnTo>
                    <a:pt x="610" y="856"/>
                  </a:lnTo>
                  <a:lnTo>
                    <a:pt x="646" y="820"/>
                  </a:lnTo>
                  <a:lnTo>
                    <a:pt x="655" y="809"/>
                  </a:lnTo>
                  <a:lnTo>
                    <a:pt x="664" y="797"/>
                  </a:lnTo>
                  <a:lnTo>
                    <a:pt x="673" y="783"/>
                  </a:lnTo>
                  <a:lnTo>
                    <a:pt x="679" y="768"/>
                  </a:lnTo>
                  <a:lnTo>
                    <a:pt x="686" y="753"/>
                  </a:lnTo>
                  <a:lnTo>
                    <a:pt x="690" y="737"/>
                  </a:lnTo>
                  <a:lnTo>
                    <a:pt x="692" y="722"/>
                  </a:lnTo>
                  <a:lnTo>
                    <a:pt x="693" y="706"/>
                  </a:lnTo>
                  <a:lnTo>
                    <a:pt x="693" y="75"/>
                  </a:lnTo>
                  <a:lnTo>
                    <a:pt x="693" y="67"/>
                  </a:lnTo>
                  <a:lnTo>
                    <a:pt x="692" y="60"/>
                  </a:lnTo>
                  <a:lnTo>
                    <a:pt x="690" y="52"/>
                  </a:lnTo>
                  <a:lnTo>
                    <a:pt x="688" y="46"/>
                  </a:lnTo>
                  <a:lnTo>
                    <a:pt x="684" y="38"/>
                  </a:lnTo>
                  <a:lnTo>
                    <a:pt x="680" y="33"/>
                  </a:lnTo>
                  <a:lnTo>
                    <a:pt x="676" y="26"/>
                  </a:lnTo>
                  <a:lnTo>
                    <a:pt x="670" y="21"/>
                  </a:lnTo>
                  <a:lnTo>
                    <a:pt x="665" y="17"/>
                  </a:lnTo>
                  <a:lnTo>
                    <a:pt x="660" y="13"/>
                  </a:lnTo>
                  <a:lnTo>
                    <a:pt x="653" y="8"/>
                  </a:lnTo>
                  <a:lnTo>
                    <a:pt x="647" y="5"/>
                  </a:lnTo>
                  <a:lnTo>
                    <a:pt x="640" y="3"/>
                  </a:lnTo>
                  <a:lnTo>
                    <a:pt x="633" y="1"/>
                  </a:lnTo>
                  <a:lnTo>
                    <a:pt x="625" y="0"/>
                  </a:lnTo>
                  <a:lnTo>
                    <a:pt x="618" y="0"/>
                  </a:lnTo>
                  <a:lnTo>
                    <a:pt x="6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15">
              <a:extLst>
                <a:ext uri="{FF2B5EF4-FFF2-40B4-BE49-F238E27FC236}">
                  <a16:creationId xmlns:a16="http://schemas.microsoft.com/office/drawing/2014/main" id="{BCEB95F0-D153-4B84-806D-9BC4755A7985}"/>
                </a:ext>
              </a:extLst>
            </p:cNvPr>
            <p:cNvSpPr>
              <a:spLocks noEditPoints="1"/>
            </p:cNvSpPr>
            <p:nvPr/>
          </p:nvSpPr>
          <p:spPr bwMode="auto">
            <a:xfrm>
              <a:off x="935038" y="3109913"/>
              <a:ext cx="163513" cy="123825"/>
            </a:xfrm>
            <a:custGeom>
              <a:avLst/>
              <a:gdLst>
                <a:gd name="T0" fmla="*/ 481 w 512"/>
                <a:gd name="T1" fmla="*/ 349 h 391"/>
                <a:gd name="T2" fmla="*/ 479 w 512"/>
                <a:gd name="T3" fmla="*/ 355 h 391"/>
                <a:gd name="T4" fmla="*/ 475 w 512"/>
                <a:gd name="T5" fmla="*/ 358 h 391"/>
                <a:gd name="T6" fmla="*/ 470 w 512"/>
                <a:gd name="T7" fmla="*/ 361 h 391"/>
                <a:gd name="T8" fmla="*/ 45 w 512"/>
                <a:gd name="T9" fmla="*/ 361 h 391"/>
                <a:gd name="T10" fmla="*/ 39 w 512"/>
                <a:gd name="T11" fmla="*/ 360 h 391"/>
                <a:gd name="T12" fmla="*/ 35 w 512"/>
                <a:gd name="T13" fmla="*/ 357 h 391"/>
                <a:gd name="T14" fmla="*/ 31 w 512"/>
                <a:gd name="T15" fmla="*/ 352 h 391"/>
                <a:gd name="T16" fmla="*/ 30 w 512"/>
                <a:gd name="T17" fmla="*/ 346 h 391"/>
                <a:gd name="T18" fmla="*/ 30 w 512"/>
                <a:gd name="T19" fmla="*/ 42 h 391"/>
                <a:gd name="T20" fmla="*/ 33 w 512"/>
                <a:gd name="T21" fmla="*/ 36 h 391"/>
                <a:gd name="T22" fmla="*/ 37 w 512"/>
                <a:gd name="T23" fmla="*/ 32 h 391"/>
                <a:gd name="T24" fmla="*/ 42 w 512"/>
                <a:gd name="T25" fmla="*/ 30 h 391"/>
                <a:gd name="T26" fmla="*/ 467 w 512"/>
                <a:gd name="T27" fmla="*/ 30 h 391"/>
                <a:gd name="T28" fmla="*/ 472 w 512"/>
                <a:gd name="T29" fmla="*/ 31 h 391"/>
                <a:gd name="T30" fmla="*/ 478 w 512"/>
                <a:gd name="T31" fmla="*/ 34 h 391"/>
                <a:gd name="T32" fmla="*/ 481 w 512"/>
                <a:gd name="T33" fmla="*/ 39 h 391"/>
                <a:gd name="T34" fmla="*/ 482 w 512"/>
                <a:gd name="T35" fmla="*/ 45 h 391"/>
                <a:gd name="T36" fmla="*/ 467 w 512"/>
                <a:gd name="T37" fmla="*/ 0 h 391"/>
                <a:gd name="T38" fmla="*/ 36 w 512"/>
                <a:gd name="T39" fmla="*/ 1 h 391"/>
                <a:gd name="T40" fmla="*/ 20 w 512"/>
                <a:gd name="T41" fmla="*/ 7 h 391"/>
                <a:gd name="T42" fmla="*/ 8 w 512"/>
                <a:gd name="T43" fmla="*/ 20 h 391"/>
                <a:gd name="T44" fmla="*/ 0 w 512"/>
                <a:gd name="T45" fmla="*/ 36 h 391"/>
                <a:gd name="T46" fmla="*/ 0 w 512"/>
                <a:gd name="T47" fmla="*/ 346 h 391"/>
                <a:gd name="T48" fmla="*/ 4 w 512"/>
                <a:gd name="T49" fmla="*/ 363 h 391"/>
                <a:gd name="T50" fmla="*/ 13 w 512"/>
                <a:gd name="T51" fmla="*/ 378 h 391"/>
                <a:gd name="T52" fmla="*/ 27 w 512"/>
                <a:gd name="T53" fmla="*/ 388 h 391"/>
                <a:gd name="T54" fmla="*/ 45 w 512"/>
                <a:gd name="T55" fmla="*/ 391 h 391"/>
                <a:gd name="T56" fmla="*/ 475 w 512"/>
                <a:gd name="T57" fmla="*/ 390 h 391"/>
                <a:gd name="T58" fmla="*/ 492 w 512"/>
                <a:gd name="T59" fmla="*/ 384 h 391"/>
                <a:gd name="T60" fmla="*/ 504 w 512"/>
                <a:gd name="T61" fmla="*/ 371 h 391"/>
                <a:gd name="T62" fmla="*/ 511 w 512"/>
                <a:gd name="T63" fmla="*/ 355 h 391"/>
                <a:gd name="T64" fmla="*/ 512 w 512"/>
                <a:gd name="T65" fmla="*/ 45 h 391"/>
                <a:gd name="T66" fmla="*/ 509 w 512"/>
                <a:gd name="T67" fmla="*/ 28 h 391"/>
                <a:gd name="T68" fmla="*/ 498 w 512"/>
                <a:gd name="T69" fmla="*/ 13 h 391"/>
                <a:gd name="T70" fmla="*/ 484 w 512"/>
                <a:gd name="T71" fmla="*/ 3 h 391"/>
                <a:gd name="T72" fmla="*/ 467 w 512"/>
                <a:gd name="T7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391">
                  <a:moveTo>
                    <a:pt x="482" y="346"/>
                  </a:moveTo>
                  <a:lnTo>
                    <a:pt x="481" y="349"/>
                  </a:lnTo>
                  <a:lnTo>
                    <a:pt x="481" y="352"/>
                  </a:lnTo>
                  <a:lnTo>
                    <a:pt x="479" y="355"/>
                  </a:lnTo>
                  <a:lnTo>
                    <a:pt x="478" y="357"/>
                  </a:lnTo>
                  <a:lnTo>
                    <a:pt x="475" y="358"/>
                  </a:lnTo>
                  <a:lnTo>
                    <a:pt x="472" y="360"/>
                  </a:lnTo>
                  <a:lnTo>
                    <a:pt x="470" y="361"/>
                  </a:lnTo>
                  <a:lnTo>
                    <a:pt x="467" y="361"/>
                  </a:lnTo>
                  <a:lnTo>
                    <a:pt x="45" y="361"/>
                  </a:lnTo>
                  <a:lnTo>
                    <a:pt x="42" y="361"/>
                  </a:lnTo>
                  <a:lnTo>
                    <a:pt x="39" y="360"/>
                  </a:lnTo>
                  <a:lnTo>
                    <a:pt x="37" y="358"/>
                  </a:lnTo>
                  <a:lnTo>
                    <a:pt x="35" y="357"/>
                  </a:lnTo>
                  <a:lnTo>
                    <a:pt x="33" y="355"/>
                  </a:lnTo>
                  <a:lnTo>
                    <a:pt x="31" y="352"/>
                  </a:lnTo>
                  <a:lnTo>
                    <a:pt x="30" y="349"/>
                  </a:lnTo>
                  <a:lnTo>
                    <a:pt x="30" y="346"/>
                  </a:lnTo>
                  <a:lnTo>
                    <a:pt x="30" y="45"/>
                  </a:lnTo>
                  <a:lnTo>
                    <a:pt x="30" y="42"/>
                  </a:lnTo>
                  <a:lnTo>
                    <a:pt x="31" y="39"/>
                  </a:lnTo>
                  <a:lnTo>
                    <a:pt x="33" y="36"/>
                  </a:lnTo>
                  <a:lnTo>
                    <a:pt x="35" y="34"/>
                  </a:lnTo>
                  <a:lnTo>
                    <a:pt x="37" y="32"/>
                  </a:lnTo>
                  <a:lnTo>
                    <a:pt x="39" y="31"/>
                  </a:lnTo>
                  <a:lnTo>
                    <a:pt x="42" y="30"/>
                  </a:lnTo>
                  <a:lnTo>
                    <a:pt x="45" y="30"/>
                  </a:lnTo>
                  <a:lnTo>
                    <a:pt x="467" y="30"/>
                  </a:lnTo>
                  <a:lnTo>
                    <a:pt x="470" y="30"/>
                  </a:lnTo>
                  <a:lnTo>
                    <a:pt x="472" y="31"/>
                  </a:lnTo>
                  <a:lnTo>
                    <a:pt x="475" y="32"/>
                  </a:lnTo>
                  <a:lnTo>
                    <a:pt x="478" y="34"/>
                  </a:lnTo>
                  <a:lnTo>
                    <a:pt x="479" y="36"/>
                  </a:lnTo>
                  <a:lnTo>
                    <a:pt x="481" y="39"/>
                  </a:lnTo>
                  <a:lnTo>
                    <a:pt x="481" y="42"/>
                  </a:lnTo>
                  <a:lnTo>
                    <a:pt x="482" y="45"/>
                  </a:lnTo>
                  <a:lnTo>
                    <a:pt x="482" y="346"/>
                  </a:lnTo>
                  <a:close/>
                  <a:moveTo>
                    <a:pt x="467" y="0"/>
                  </a:moveTo>
                  <a:lnTo>
                    <a:pt x="45" y="0"/>
                  </a:lnTo>
                  <a:lnTo>
                    <a:pt x="36" y="1"/>
                  </a:lnTo>
                  <a:lnTo>
                    <a:pt x="27" y="3"/>
                  </a:lnTo>
                  <a:lnTo>
                    <a:pt x="20" y="7"/>
                  </a:lnTo>
                  <a:lnTo>
                    <a:pt x="13" y="13"/>
                  </a:lnTo>
                  <a:lnTo>
                    <a:pt x="8" y="20"/>
                  </a:lnTo>
                  <a:lnTo>
                    <a:pt x="4" y="28"/>
                  </a:lnTo>
                  <a:lnTo>
                    <a:pt x="0" y="36"/>
                  </a:lnTo>
                  <a:lnTo>
                    <a:pt x="0" y="45"/>
                  </a:lnTo>
                  <a:lnTo>
                    <a:pt x="0" y="346"/>
                  </a:lnTo>
                  <a:lnTo>
                    <a:pt x="0" y="355"/>
                  </a:lnTo>
                  <a:lnTo>
                    <a:pt x="4" y="363"/>
                  </a:lnTo>
                  <a:lnTo>
                    <a:pt x="8" y="371"/>
                  </a:lnTo>
                  <a:lnTo>
                    <a:pt x="13" y="378"/>
                  </a:lnTo>
                  <a:lnTo>
                    <a:pt x="20" y="384"/>
                  </a:lnTo>
                  <a:lnTo>
                    <a:pt x="27" y="388"/>
                  </a:lnTo>
                  <a:lnTo>
                    <a:pt x="36" y="390"/>
                  </a:lnTo>
                  <a:lnTo>
                    <a:pt x="45" y="391"/>
                  </a:lnTo>
                  <a:lnTo>
                    <a:pt x="467" y="391"/>
                  </a:lnTo>
                  <a:lnTo>
                    <a:pt x="475" y="390"/>
                  </a:lnTo>
                  <a:lnTo>
                    <a:pt x="484" y="388"/>
                  </a:lnTo>
                  <a:lnTo>
                    <a:pt x="492" y="384"/>
                  </a:lnTo>
                  <a:lnTo>
                    <a:pt x="498" y="378"/>
                  </a:lnTo>
                  <a:lnTo>
                    <a:pt x="504" y="371"/>
                  </a:lnTo>
                  <a:lnTo>
                    <a:pt x="509" y="363"/>
                  </a:lnTo>
                  <a:lnTo>
                    <a:pt x="511" y="355"/>
                  </a:lnTo>
                  <a:lnTo>
                    <a:pt x="512" y="346"/>
                  </a:lnTo>
                  <a:lnTo>
                    <a:pt x="512" y="45"/>
                  </a:lnTo>
                  <a:lnTo>
                    <a:pt x="511" y="36"/>
                  </a:lnTo>
                  <a:lnTo>
                    <a:pt x="509" y="28"/>
                  </a:lnTo>
                  <a:lnTo>
                    <a:pt x="504" y="19"/>
                  </a:lnTo>
                  <a:lnTo>
                    <a:pt x="498" y="13"/>
                  </a:lnTo>
                  <a:lnTo>
                    <a:pt x="492" y="7"/>
                  </a:lnTo>
                  <a:lnTo>
                    <a:pt x="484" y="3"/>
                  </a:lnTo>
                  <a:lnTo>
                    <a:pt x="475" y="1"/>
                  </a:lnTo>
                  <a:lnTo>
                    <a:pt x="467" y="0"/>
                  </a:lnTo>
                  <a:lnTo>
                    <a:pt x="4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16">
              <a:extLst>
                <a:ext uri="{FF2B5EF4-FFF2-40B4-BE49-F238E27FC236}">
                  <a16:creationId xmlns:a16="http://schemas.microsoft.com/office/drawing/2014/main" id="{88A3F858-1D3C-465E-ABFC-5FC6ED8A866E}"/>
                </a:ext>
              </a:extLst>
            </p:cNvPr>
            <p:cNvSpPr>
              <a:spLocks/>
            </p:cNvSpPr>
            <p:nvPr/>
          </p:nvSpPr>
          <p:spPr bwMode="auto">
            <a:xfrm>
              <a:off x="935038" y="3252788"/>
              <a:ext cx="47625" cy="47625"/>
            </a:xfrm>
            <a:custGeom>
              <a:avLst/>
              <a:gdLst>
                <a:gd name="T0" fmla="*/ 90 w 150"/>
                <a:gd name="T1" fmla="*/ 60 h 150"/>
                <a:gd name="T2" fmla="*/ 90 w 150"/>
                <a:gd name="T3" fmla="*/ 12 h 150"/>
                <a:gd name="T4" fmla="*/ 87 w 150"/>
                <a:gd name="T5" fmla="*/ 7 h 150"/>
                <a:gd name="T6" fmla="*/ 84 w 150"/>
                <a:gd name="T7" fmla="*/ 2 h 150"/>
                <a:gd name="T8" fmla="*/ 79 w 150"/>
                <a:gd name="T9" fmla="*/ 0 h 150"/>
                <a:gd name="T10" fmla="*/ 72 w 150"/>
                <a:gd name="T11" fmla="*/ 0 h 150"/>
                <a:gd name="T12" fmla="*/ 67 w 150"/>
                <a:gd name="T13" fmla="*/ 2 h 150"/>
                <a:gd name="T14" fmla="*/ 63 w 150"/>
                <a:gd name="T15" fmla="*/ 7 h 150"/>
                <a:gd name="T16" fmla="*/ 60 w 150"/>
                <a:gd name="T17" fmla="*/ 12 h 150"/>
                <a:gd name="T18" fmla="*/ 60 w 150"/>
                <a:gd name="T19" fmla="*/ 60 h 150"/>
                <a:gd name="T20" fmla="*/ 12 w 150"/>
                <a:gd name="T21" fmla="*/ 60 h 150"/>
                <a:gd name="T22" fmla="*/ 7 w 150"/>
                <a:gd name="T23" fmla="*/ 64 h 150"/>
                <a:gd name="T24" fmla="*/ 2 w 150"/>
                <a:gd name="T25" fmla="*/ 67 h 150"/>
                <a:gd name="T26" fmla="*/ 0 w 150"/>
                <a:gd name="T27" fmla="*/ 72 h 150"/>
                <a:gd name="T28" fmla="*/ 0 w 150"/>
                <a:gd name="T29" fmla="*/ 79 h 150"/>
                <a:gd name="T30" fmla="*/ 2 w 150"/>
                <a:gd name="T31" fmla="*/ 84 h 150"/>
                <a:gd name="T32" fmla="*/ 7 w 150"/>
                <a:gd name="T33" fmla="*/ 88 h 150"/>
                <a:gd name="T34" fmla="*/ 12 w 150"/>
                <a:gd name="T35" fmla="*/ 90 h 150"/>
                <a:gd name="T36" fmla="*/ 60 w 150"/>
                <a:gd name="T37" fmla="*/ 90 h 150"/>
                <a:gd name="T38" fmla="*/ 60 w 150"/>
                <a:gd name="T39" fmla="*/ 139 h 150"/>
                <a:gd name="T40" fmla="*/ 63 w 150"/>
                <a:gd name="T41" fmla="*/ 144 h 150"/>
                <a:gd name="T42" fmla="*/ 67 w 150"/>
                <a:gd name="T43" fmla="*/ 148 h 150"/>
                <a:gd name="T44" fmla="*/ 72 w 150"/>
                <a:gd name="T45" fmla="*/ 150 h 150"/>
                <a:gd name="T46" fmla="*/ 79 w 150"/>
                <a:gd name="T47" fmla="*/ 150 h 150"/>
                <a:gd name="T48" fmla="*/ 84 w 150"/>
                <a:gd name="T49" fmla="*/ 148 h 150"/>
                <a:gd name="T50" fmla="*/ 87 w 150"/>
                <a:gd name="T51" fmla="*/ 144 h 150"/>
                <a:gd name="T52" fmla="*/ 90 w 150"/>
                <a:gd name="T53" fmla="*/ 139 h 150"/>
                <a:gd name="T54" fmla="*/ 90 w 150"/>
                <a:gd name="T55" fmla="*/ 90 h 150"/>
                <a:gd name="T56" fmla="*/ 139 w 150"/>
                <a:gd name="T57" fmla="*/ 90 h 150"/>
                <a:gd name="T58" fmla="*/ 144 w 150"/>
                <a:gd name="T59" fmla="*/ 88 h 150"/>
                <a:gd name="T60" fmla="*/ 148 w 150"/>
                <a:gd name="T61" fmla="*/ 84 h 150"/>
                <a:gd name="T62" fmla="*/ 150 w 150"/>
                <a:gd name="T63" fmla="*/ 79 h 150"/>
                <a:gd name="T64" fmla="*/ 150 w 150"/>
                <a:gd name="T65" fmla="*/ 72 h 150"/>
                <a:gd name="T66" fmla="*/ 148 w 150"/>
                <a:gd name="T67" fmla="*/ 67 h 150"/>
                <a:gd name="T68" fmla="*/ 144 w 150"/>
                <a:gd name="T69" fmla="*/ 64 h 150"/>
                <a:gd name="T70" fmla="*/ 139 w 150"/>
                <a:gd name="T71" fmla="*/ 6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0">
                  <a:moveTo>
                    <a:pt x="135" y="60"/>
                  </a:moveTo>
                  <a:lnTo>
                    <a:pt x="90" y="60"/>
                  </a:lnTo>
                  <a:lnTo>
                    <a:pt x="90" y="15"/>
                  </a:lnTo>
                  <a:lnTo>
                    <a:pt x="90" y="12"/>
                  </a:lnTo>
                  <a:lnTo>
                    <a:pt x="89" y="10"/>
                  </a:lnTo>
                  <a:lnTo>
                    <a:pt x="87" y="7"/>
                  </a:lnTo>
                  <a:lnTo>
                    <a:pt x="86" y="5"/>
                  </a:lnTo>
                  <a:lnTo>
                    <a:pt x="84" y="2"/>
                  </a:lnTo>
                  <a:lnTo>
                    <a:pt x="81" y="1"/>
                  </a:lnTo>
                  <a:lnTo>
                    <a:pt x="79" y="0"/>
                  </a:lnTo>
                  <a:lnTo>
                    <a:pt x="75" y="0"/>
                  </a:lnTo>
                  <a:lnTo>
                    <a:pt x="72" y="0"/>
                  </a:lnTo>
                  <a:lnTo>
                    <a:pt x="69" y="1"/>
                  </a:lnTo>
                  <a:lnTo>
                    <a:pt x="67" y="2"/>
                  </a:lnTo>
                  <a:lnTo>
                    <a:pt x="65" y="5"/>
                  </a:lnTo>
                  <a:lnTo>
                    <a:pt x="63" y="7"/>
                  </a:lnTo>
                  <a:lnTo>
                    <a:pt x="61" y="10"/>
                  </a:lnTo>
                  <a:lnTo>
                    <a:pt x="60" y="12"/>
                  </a:lnTo>
                  <a:lnTo>
                    <a:pt x="60" y="15"/>
                  </a:lnTo>
                  <a:lnTo>
                    <a:pt x="60" y="60"/>
                  </a:lnTo>
                  <a:lnTo>
                    <a:pt x="15" y="60"/>
                  </a:lnTo>
                  <a:lnTo>
                    <a:pt x="12" y="60"/>
                  </a:lnTo>
                  <a:lnTo>
                    <a:pt x="9" y="61"/>
                  </a:lnTo>
                  <a:lnTo>
                    <a:pt x="7" y="64"/>
                  </a:lnTo>
                  <a:lnTo>
                    <a:pt x="5" y="65"/>
                  </a:lnTo>
                  <a:lnTo>
                    <a:pt x="2" y="67"/>
                  </a:lnTo>
                  <a:lnTo>
                    <a:pt x="1" y="70"/>
                  </a:lnTo>
                  <a:lnTo>
                    <a:pt x="0" y="72"/>
                  </a:lnTo>
                  <a:lnTo>
                    <a:pt x="0" y="75"/>
                  </a:lnTo>
                  <a:lnTo>
                    <a:pt x="0" y="79"/>
                  </a:lnTo>
                  <a:lnTo>
                    <a:pt x="1" y="82"/>
                  </a:lnTo>
                  <a:lnTo>
                    <a:pt x="2" y="84"/>
                  </a:lnTo>
                  <a:lnTo>
                    <a:pt x="5" y="86"/>
                  </a:lnTo>
                  <a:lnTo>
                    <a:pt x="7" y="88"/>
                  </a:lnTo>
                  <a:lnTo>
                    <a:pt x="9" y="89"/>
                  </a:lnTo>
                  <a:lnTo>
                    <a:pt x="12" y="90"/>
                  </a:lnTo>
                  <a:lnTo>
                    <a:pt x="15" y="90"/>
                  </a:lnTo>
                  <a:lnTo>
                    <a:pt x="60" y="90"/>
                  </a:lnTo>
                  <a:lnTo>
                    <a:pt x="60" y="135"/>
                  </a:lnTo>
                  <a:lnTo>
                    <a:pt x="60" y="139"/>
                  </a:lnTo>
                  <a:lnTo>
                    <a:pt x="61" y="142"/>
                  </a:lnTo>
                  <a:lnTo>
                    <a:pt x="63" y="144"/>
                  </a:lnTo>
                  <a:lnTo>
                    <a:pt x="65" y="146"/>
                  </a:lnTo>
                  <a:lnTo>
                    <a:pt x="67" y="148"/>
                  </a:lnTo>
                  <a:lnTo>
                    <a:pt x="69" y="149"/>
                  </a:lnTo>
                  <a:lnTo>
                    <a:pt x="72" y="150"/>
                  </a:lnTo>
                  <a:lnTo>
                    <a:pt x="75" y="150"/>
                  </a:lnTo>
                  <a:lnTo>
                    <a:pt x="79" y="150"/>
                  </a:lnTo>
                  <a:lnTo>
                    <a:pt x="81" y="149"/>
                  </a:lnTo>
                  <a:lnTo>
                    <a:pt x="84" y="148"/>
                  </a:lnTo>
                  <a:lnTo>
                    <a:pt x="86" y="146"/>
                  </a:lnTo>
                  <a:lnTo>
                    <a:pt x="87" y="144"/>
                  </a:lnTo>
                  <a:lnTo>
                    <a:pt x="89" y="142"/>
                  </a:lnTo>
                  <a:lnTo>
                    <a:pt x="90" y="139"/>
                  </a:lnTo>
                  <a:lnTo>
                    <a:pt x="90" y="135"/>
                  </a:lnTo>
                  <a:lnTo>
                    <a:pt x="90" y="90"/>
                  </a:lnTo>
                  <a:lnTo>
                    <a:pt x="135" y="90"/>
                  </a:lnTo>
                  <a:lnTo>
                    <a:pt x="139" y="90"/>
                  </a:lnTo>
                  <a:lnTo>
                    <a:pt x="141" y="89"/>
                  </a:lnTo>
                  <a:lnTo>
                    <a:pt x="144" y="88"/>
                  </a:lnTo>
                  <a:lnTo>
                    <a:pt x="146" y="86"/>
                  </a:lnTo>
                  <a:lnTo>
                    <a:pt x="148" y="84"/>
                  </a:lnTo>
                  <a:lnTo>
                    <a:pt x="149" y="82"/>
                  </a:lnTo>
                  <a:lnTo>
                    <a:pt x="150" y="79"/>
                  </a:lnTo>
                  <a:lnTo>
                    <a:pt x="150" y="75"/>
                  </a:lnTo>
                  <a:lnTo>
                    <a:pt x="150" y="72"/>
                  </a:lnTo>
                  <a:lnTo>
                    <a:pt x="149" y="70"/>
                  </a:lnTo>
                  <a:lnTo>
                    <a:pt x="148" y="67"/>
                  </a:lnTo>
                  <a:lnTo>
                    <a:pt x="146" y="65"/>
                  </a:lnTo>
                  <a:lnTo>
                    <a:pt x="144" y="64"/>
                  </a:lnTo>
                  <a:lnTo>
                    <a:pt x="141" y="61"/>
                  </a:lnTo>
                  <a:lnTo>
                    <a:pt x="139" y="60"/>
                  </a:lnTo>
                  <a:lnTo>
                    <a:pt x="13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17">
              <a:extLst>
                <a:ext uri="{FF2B5EF4-FFF2-40B4-BE49-F238E27FC236}">
                  <a16:creationId xmlns:a16="http://schemas.microsoft.com/office/drawing/2014/main" id="{CA521E1A-893F-47A0-9190-2ED9E3B85B69}"/>
                </a:ext>
              </a:extLst>
            </p:cNvPr>
            <p:cNvSpPr>
              <a:spLocks/>
            </p:cNvSpPr>
            <p:nvPr/>
          </p:nvSpPr>
          <p:spPr bwMode="auto">
            <a:xfrm>
              <a:off x="1017588" y="3321050"/>
              <a:ext cx="28575" cy="19050"/>
            </a:xfrm>
            <a:custGeom>
              <a:avLst/>
              <a:gdLst>
                <a:gd name="T0" fmla="*/ 68 w 90"/>
                <a:gd name="T1" fmla="*/ 1 h 60"/>
                <a:gd name="T2" fmla="*/ 8 w 90"/>
                <a:gd name="T3" fmla="*/ 31 h 60"/>
                <a:gd name="T4" fmla="*/ 6 w 90"/>
                <a:gd name="T5" fmla="*/ 32 h 60"/>
                <a:gd name="T6" fmla="*/ 4 w 90"/>
                <a:gd name="T7" fmla="*/ 34 h 60"/>
                <a:gd name="T8" fmla="*/ 2 w 90"/>
                <a:gd name="T9" fmla="*/ 37 h 60"/>
                <a:gd name="T10" fmla="*/ 1 w 90"/>
                <a:gd name="T11" fmla="*/ 39 h 60"/>
                <a:gd name="T12" fmla="*/ 0 w 90"/>
                <a:gd name="T13" fmla="*/ 43 h 60"/>
                <a:gd name="T14" fmla="*/ 0 w 90"/>
                <a:gd name="T15" fmla="*/ 45 h 60"/>
                <a:gd name="T16" fmla="*/ 1 w 90"/>
                <a:gd name="T17" fmla="*/ 48 h 60"/>
                <a:gd name="T18" fmla="*/ 2 w 90"/>
                <a:gd name="T19" fmla="*/ 51 h 60"/>
                <a:gd name="T20" fmla="*/ 4 w 90"/>
                <a:gd name="T21" fmla="*/ 54 h 60"/>
                <a:gd name="T22" fmla="*/ 7 w 90"/>
                <a:gd name="T23" fmla="*/ 58 h 60"/>
                <a:gd name="T24" fmla="*/ 10 w 90"/>
                <a:gd name="T25" fmla="*/ 59 h 60"/>
                <a:gd name="T26" fmla="*/ 15 w 90"/>
                <a:gd name="T27" fmla="*/ 60 h 60"/>
                <a:gd name="T28" fmla="*/ 18 w 90"/>
                <a:gd name="T29" fmla="*/ 59 h 60"/>
                <a:gd name="T30" fmla="*/ 22 w 90"/>
                <a:gd name="T31" fmla="*/ 58 h 60"/>
                <a:gd name="T32" fmla="*/ 82 w 90"/>
                <a:gd name="T33" fmla="*/ 28 h 60"/>
                <a:gd name="T34" fmla="*/ 84 w 90"/>
                <a:gd name="T35" fmla="*/ 25 h 60"/>
                <a:gd name="T36" fmla="*/ 86 w 90"/>
                <a:gd name="T37" fmla="*/ 24 h 60"/>
                <a:gd name="T38" fmla="*/ 89 w 90"/>
                <a:gd name="T39" fmla="*/ 21 h 60"/>
                <a:gd name="T40" fmla="*/ 90 w 90"/>
                <a:gd name="T41" fmla="*/ 19 h 60"/>
                <a:gd name="T42" fmla="*/ 90 w 90"/>
                <a:gd name="T43" fmla="*/ 16 h 60"/>
                <a:gd name="T44" fmla="*/ 90 w 90"/>
                <a:gd name="T45" fmla="*/ 14 h 60"/>
                <a:gd name="T46" fmla="*/ 90 w 90"/>
                <a:gd name="T47" fmla="*/ 10 h 60"/>
                <a:gd name="T48" fmla="*/ 89 w 90"/>
                <a:gd name="T49" fmla="*/ 7 h 60"/>
                <a:gd name="T50" fmla="*/ 86 w 90"/>
                <a:gd name="T51" fmla="*/ 5 h 60"/>
                <a:gd name="T52" fmla="*/ 85 w 90"/>
                <a:gd name="T53" fmla="*/ 3 h 60"/>
                <a:gd name="T54" fmla="*/ 82 w 90"/>
                <a:gd name="T55" fmla="*/ 1 h 60"/>
                <a:gd name="T56" fmla="*/ 80 w 90"/>
                <a:gd name="T57" fmla="*/ 0 h 60"/>
                <a:gd name="T58" fmla="*/ 77 w 90"/>
                <a:gd name="T59" fmla="*/ 0 h 60"/>
                <a:gd name="T60" fmla="*/ 75 w 90"/>
                <a:gd name="T61" fmla="*/ 0 h 60"/>
                <a:gd name="T62" fmla="*/ 71 w 90"/>
                <a:gd name="T63" fmla="*/ 0 h 60"/>
                <a:gd name="T64" fmla="*/ 68 w 90"/>
                <a:gd name="T65" fmla="*/ 1 h 60"/>
                <a:gd name="T66" fmla="*/ 68 w 90"/>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60">
                  <a:moveTo>
                    <a:pt x="68" y="1"/>
                  </a:moveTo>
                  <a:lnTo>
                    <a:pt x="8" y="31"/>
                  </a:lnTo>
                  <a:lnTo>
                    <a:pt x="6" y="32"/>
                  </a:lnTo>
                  <a:lnTo>
                    <a:pt x="4" y="34"/>
                  </a:lnTo>
                  <a:lnTo>
                    <a:pt x="2" y="37"/>
                  </a:lnTo>
                  <a:lnTo>
                    <a:pt x="1" y="39"/>
                  </a:lnTo>
                  <a:lnTo>
                    <a:pt x="0" y="43"/>
                  </a:lnTo>
                  <a:lnTo>
                    <a:pt x="0" y="45"/>
                  </a:lnTo>
                  <a:lnTo>
                    <a:pt x="1" y="48"/>
                  </a:lnTo>
                  <a:lnTo>
                    <a:pt x="2" y="51"/>
                  </a:lnTo>
                  <a:lnTo>
                    <a:pt x="4" y="54"/>
                  </a:lnTo>
                  <a:lnTo>
                    <a:pt x="7" y="58"/>
                  </a:lnTo>
                  <a:lnTo>
                    <a:pt x="10" y="59"/>
                  </a:lnTo>
                  <a:lnTo>
                    <a:pt x="15" y="60"/>
                  </a:lnTo>
                  <a:lnTo>
                    <a:pt x="18" y="59"/>
                  </a:lnTo>
                  <a:lnTo>
                    <a:pt x="22" y="58"/>
                  </a:lnTo>
                  <a:lnTo>
                    <a:pt x="82" y="28"/>
                  </a:lnTo>
                  <a:lnTo>
                    <a:pt x="84" y="25"/>
                  </a:lnTo>
                  <a:lnTo>
                    <a:pt x="86" y="24"/>
                  </a:lnTo>
                  <a:lnTo>
                    <a:pt x="89" y="21"/>
                  </a:lnTo>
                  <a:lnTo>
                    <a:pt x="90" y="19"/>
                  </a:lnTo>
                  <a:lnTo>
                    <a:pt x="90" y="16"/>
                  </a:lnTo>
                  <a:lnTo>
                    <a:pt x="90" y="14"/>
                  </a:lnTo>
                  <a:lnTo>
                    <a:pt x="90" y="10"/>
                  </a:lnTo>
                  <a:lnTo>
                    <a:pt x="89" y="7"/>
                  </a:lnTo>
                  <a:lnTo>
                    <a:pt x="86" y="5"/>
                  </a:lnTo>
                  <a:lnTo>
                    <a:pt x="85" y="3"/>
                  </a:lnTo>
                  <a:lnTo>
                    <a:pt x="82" y="1"/>
                  </a:lnTo>
                  <a:lnTo>
                    <a:pt x="80" y="0"/>
                  </a:lnTo>
                  <a:lnTo>
                    <a:pt x="77" y="0"/>
                  </a:lnTo>
                  <a:lnTo>
                    <a:pt x="75" y="0"/>
                  </a:lnTo>
                  <a:lnTo>
                    <a:pt x="71" y="0"/>
                  </a:lnTo>
                  <a:lnTo>
                    <a:pt x="68" y="1"/>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18">
              <a:extLst>
                <a:ext uri="{FF2B5EF4-FFF2-40B4-BE49-F238E27FC236}">
                  <a16:creationId xmlns:a16="http://schemas.microsoft.com/office/drawing/2014/main" id="{8ABEDD46-B554-429A-B80F-3E4315AE1C36}"/>
                </a:ext>
              </a:extLst>
            </p:cNvPr>
            <p:cNvSpPr>
              <a:spLocks/>
            </p:cNvSpPr>
            <p:nvPr/>
          </p:nvSpPr>
          <p:spPr bwMode="auto">
            <a:xfrm>
              <a:off x="982663" y="3321050"/>
              <a:ext cx="30163" cy="19050"/>
            </a:xfrm>
            <a:custGeom>
              <a:avLst/>
              <a:gdLst>
                <a:gd name="T0" fmla="*/ 69 w 91"/>
                <a:gd name="T1" fmla="*/ 1 h 60"/>
                <a:gd name="T2" fmla="*/ 9 w 91"/>
                <a:gd name="T3" fmla="*/ 31 h 60"/>
                <a:gd name="T4" fmla="*/ 6 w 91"/>
                <a:gd name="T5" fmla="*/ 32 h 60"/>
                <a:gd name="T6" fmla="*/ 4 w 91"/>
                <a:gd name="T7" fmla="*/ 34 h 60"/>
                <a:gd name="T8" fmla="*/ 3 w 91"/>
                <a:gd name="T9" fmla="*/ 37 h 60"/>
                <a:gd name="T10" fmla="*/ 2 w 91"/>
                <a:gd name="T11" fmla="*/ 39 h 60"/>
                <a:gd name="T12" fmla="*/ 0 w 91"/>
                <a:gd name="T13" fmla="*/ 43 h 60"/>
                <a:gd name="T14" fmla="*/ 0 w 91"/>
                <a:gd name="T15" fmla="*/ 45 h 60"/>
                <a:gd name="T16" fmla="*/ 0 w 91"/>
                <a:gd name="T17" fmla="*/ 48 h 60"/>
                <a:gd name="T18" fmla="*/ 2 w 91"/>
                <a:gd name="T19" fmla="*/ 51 h 60"/>
                <a:gd name="T20" fmla="*/ 5 w 91"/>
                <a:gd name="T21" fmla="*/ 54 h 60"/>
                <a:gd name="T22" fmla="*/ 8 w 91"/>
                <a:gd name="T23" fmla="*/ 58 h 60"/>
                <a:gd name="T24" fmla="*/ 11 w 91"/>
                <a:gd name="T25" fmla="*/ 59 h 60"/>
                <a:gd name="T26" fmla="*/ 16 w 91"/>
                <a:gd name="T27" fmla="*/ 60 h 60"/>
                <a:gd name="T28" fmla="*/ 19 w 91"/>
                <a:gd name="T29" fmla="*/ 59 h 60"/>
                <a:gd name="T30" fmla="*/ 22 w 91"/>
                <a:gd name="T31" fmla="*/ 58 h 60"/>
                <a:gd name="T32" fmla="*/ 82 w 91"/>
                <a:gd name="T33" fmla="*/ 28 h 60"/>
                <a:gd name="T34" fmla="*/ 85 w 91"/>
                <a:gd name="T35" fmla="*/ 25 h 60"/>
                <a:gd name="T36" fmla="*/ 87 w 91"/>
                <a:gd name="T37" fmla="*/ 24 h 60"/>
                <a:gd name="T38" fmla="*/ 88 w 91"/>
                <a:gd name="T39" fmla="*/ 21 h 60"/>
                <a:gd name="T40" fmla="*/ 90 w 91"/>
                <a:gd name="T41" fmla="*/ 19 h 60"/>
                <a:gd name="T42" fmla="*/ 91 w 91"/>
                <a:gd name="T43" fmla="*/ 16 h 60"/>
                <a:gd name="T44" fmla="*/ 91 w 91"/>
                <a:gd name="T45" fmla="*/ 14 h 60"/>
                <a:gd name="T46" fmla="*/ 91 w 91"/>
                <a:gd name="T47" fmla="*/ 10 h 60"/>
                <a:gd name="T48" fmla="*/ 90 w 91"/>
                <a:gd name="T49" fmla="*/ 7 h 60"/>
                <a:gd name="T50" fmla="*/ 87 w 91"/>
                <a:gd name="T51" fmla="*/ 5 h 60"/>
                <a:gd name="T52" fmla="*/ 85 w 91"/>
                <a:gd name="T53" fmla="*/ 3 h 60"/>
                <a:gd name="T54" fmla="*/ 83 w 91"/>
                <a:gd name="T55" fmla="*/ 1 h 60"/>
                <a:gd name="T56" fmla="*/ 81 w 91"/>
                <a:gd name="T57" fmla="*/ 0 h 60"/>
                <a:gd name="T58" fmla="*/ 78 w 91"/>
                <a:gd name="T59" fmla="*/ 0 h 60"/>
                <a:gd name="T60" fmla="*/ 74 w 91"/>
                <a:gd name="T61" fmla="*/ 0 h 60"/>
                <a:gd name="T62" fmla="*/ 72 w 91"/>
                <a:gd name="T63" fmla="*/ 0 h 60"/>
                <a:gd name="T64" fmla="*/ 69 w 91"/>
                <a:gd name="T65" fmla="*/ 1 h 60"/>
                <a:gd name="T66" fmla="*/ 69 w 91"/>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60">
                  <a:moveTo>
                    <a:pt x="69" y="1"/>
                  </a:moveTo>
                  <a:lnTo>
                    <a:pt x="9" y="31"/>
                  </a:lnTo>
                  <a:lnTo>
                    <a:pt x="6" y="32"/>
                  </a:lnTo>
                  <a:lnTo>
                    <a:pt x="4" y="34"/>
                  </a:lnTo>
                  <a:lnTo>
                    <a:pt x="3" y="37"/>
                  </a:lnTo>
                  <a:lnTo>
                    <a:pt x="2" y="39"/>
                  </a:lnTo>
                  <a:lnTo>
                    <a:pt x="0" y="43"/>
                  </a:lnTo>
                  <a:lnTo>
                    <a:pt x="0" y="45"/>
                  </a:lnTo>
                  <a:lnTo>
                    <a:pt x="0" y="48"/>
                  </a:lnTo>
                  <a:lnTo>
                    <a:pt x="2" y="51"/>
                  </a:lnTo>
                  <a:lnTo>
                    <a:pt x="5" y="54"/>
                  </a:lnTo>
                  <a:lnTo>
                    <a:pt x="8" y="58"/>
                  </a:lnTo>
                  <a:lnTo>
                    <a:pt x="11" y="59"/>
                  </a:lnTo>
                  <a:lnTo>
                    <a:pt x="16" y="60"/>
                  </a:lnTo>
                  <a:lnTo>
                    <a:pt x="19" y="59"/>
                  </a:lnTo>
                  <a:lnTo>
                    <a:pt x="22" y="58"/>
                  </a:lnTo>
                  <a:lnTo>
                    <a:pt x="82" y="28"/>
                  </a:lnTo>
                  <a:lnTo>
                    <a:pt x="85" y="25"/>
                  </a:lnTo>
                  <a:lnTo>
                    <a:pt x="87" y="24"/>
                  </a:lnTo>
                  <a:lnTo>
                    <a:pt x="88" y="21"/>
                  </a:lnTo>
                  <a:lnTo>
                    <a:pt x="90" y="19"/>
                  </a:lnTo>
                  <a:lnTo>
                    <a:pt x="91" y="16"/>
                  </a:lnTo>
                  <a:lnTo>
                    <a:pt x="91" y="14"/>
                  </a:lnTo>
                  <a:lnTo>
                    <a:pt x="91" y="10"/>
                  </a:lnTo>
                  <a:lnTo>
                    <a:pt x="90" y="7"/>
                  </a:lnTo>
                  <a:lnTo>
                    <a:pt x="87" y="5"/>
                  </a:lnTo>
                  <a:lnTo>
                    <a:pt x="85" y="3"/>
                  </a:lnTo>
                  <a:lnTo>
                    <a:pt x="83" y="1"/>
                  </a:lnTo>
                  <a:lnTo>
                    <a:pt x="81" y="0"/>
                  </a:lnTo>
                  <a:lnTo>
                    <a:pt x="78" y="0"/>
                  </a:lnTo>
                  <a:lnTo>
                    <a:pt x="74" y="0"/>
                  </a:lnTo>
                  <a:lnTo>
                    <a:pt x="72" y="0"/>
                  </a:lnTo>
                  <a:lnTo>
                    <a:pt x="69" y="1"/>
                  </a:lnTo>
                  <a:lnTo>
                    <a:pt x="6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19">
              <a:extLst>
                <a:ext uri="{FF2B5EF4-FFF2-40B4-BE49-F238E27FC236}">
                  <a16:creationId xmlns:a16="http://schemas.microsoft.com/office/drawing/2014/main" id="{9E5E56A5-67FF-4012-BE90-0268D0F30275}"/>
                </a:ext>
              </a:extLst>
            </p:cNvPr>
            <p:cNvSpPr>
              <a:spLocks noEditPoints="1"/>
            </p:cNvSpPr>
            <p:nvPr/>
          </p:nvSpPr>
          <p:spPr bwMode="auto">
            <a:xfrm>
              <a:off x="1031875" y="3267075"/>
              <a:ext cx="28575" cy="28575"/>
            </a:xfrm>
            <a:custGeom>
              <a:avLst/>
              <a:gdLst>
                <a:gd name="T0" fmla="*/ 43 w 91"/>
                <a:gd name="T1" fmla="*/ 60 h 90"/>
                <a:gd name="T2" fmla="*/ 37 w 91"/>
                <a:gd name="T3" fmla="*/ 58 h 90"/>
                <a:gd name="T4" fmla="*/ 33 w 91"/>
                <a:gd name="T5" fmla="*/ 54 h 90"/>
                <a:gd name="T6" fmla="*/ 31 w 91"/>
                <a:gd name="T7" fmla="*/ 49 h 90"/>
                <a:gd name="T8" fmla="*/ 31 w 91"/>
                <a:gd name="T9" fmla="*/ 42 h 90"/>
                <a:gd name="T10" fmla="*/ 33 w 91"/>
                <a:gd name="T11" fmla="*/ 37 h 90"/>
                <a:gd name="T12" fmla="*/ 37 w 91"/>
                <a:gd name="T13" fmla="*/ 34 h 90"/>
                <a:gd name="T14" fmla="*/ 43 w 91"/>
                <a:gd name="T15" fmla="*/ 30 h 90"/>
                <a:gd name="T16" fmla="*/ 48 w 91"/>
                <a:gd name="T17" fmla="*/ 30 h 90"/>
                <a:gd name="T18" fmla="*/ 53 w 91"/>
                <a:gd name="T19" fmla="*/ 34 h 90"/>
                <a:gd name="T20" fmla="*/ 58 w 91"/>
                <a:gd name="T21" fmla="*/ 37 h 90"/>
                <a:gd name="T22" fmla="*/ 60 w 91"/>
                <a:gd name="T23" fmla="*/ 42 h 90"/>
                <a:gd name="T24" fmla="*/ 60 w 91"/>
                <a:gd name="T25" fmla="*/ 49 h 90"/>
                <a:gd name="T26" fmla="*/ 58 w 91"/>
                <a:gd name="T27" fmla="*/ 54 h 90"/>
                <a:gd name="T28" fmla="*/ 53 w 91"/>
                <a:gd name="T29" fmla="*/ 58 h 90"/>
                <a:gd name="T30" fmla="*/ 48 w 91"/>
                <a:gd name="T31" fmla="*/ 60 h 90"/>
                <a:gd name="T32" fmla="*/ 45 w 91"/>
                <a:gd name="T33" fmla="*/ 60 h 90"/>
                <a:gd name="T34" fmla="*/ 36 w 91"/>
                <a:gd name="T35" fmla="*/ 1 h 90"/>
                <a:gd name="T36" fmla="*/ 20 w 91"/>
                <a:gd name="T37" fmla="*/ 8 h 90"/>
                <a:gd name="T38" fmla="*/ 8 w 91"/>
                <a:gd name="T39" fmla="*/ 21 h 90"/>
                <a:gd name="T40" fmla="*/ 1 w 91"/>
                <a:gd name="T41" fmla="*/ 37 h 90"/>
                <a:gd name="T42" fmla="*/ 1 w 91"/>
                <a:gd name="T43" fmla="*/ 55 h 90"/>
                <a:gd name="T44" fmla="*/ 8 w 91"/>
                <a:gd name="T45" fmla="*/ 71 h 90"/>
                <a:gd name="T46" fmla="*/ 20 w 91"/>
                <a:gd name="T47" fmla="*/ 83 h 90"/>
                <a:gd name="T48" fmla="*/ 36 w 91"/>
                <a:gd name="T49" fmla="*/ 89 h 90"/>
                <a:gd name="T50" fmla="*/ 54 w 91"/>
                <a:gd name="T51" fmla="*/ 89 h 90"/>
                <a:gd name="T52" fmla="*/ 70 w 91"/>
                <a:gd name="T53" fmla="*/ 83 h 90"/>
                <a:gd name="T54" fmla="*/ 82 w 91"/>
                <a:gd name="T55" fmla="*/ 71 h 90"/>
                <a:gd name="T56" fmla="*/ 90 w 91"/>
                <a:gd name="T57" fmla="*/ 55 h 90"/>
                <a:gd name="T58" fmla="*/ 90 w 91"/>
                <a:gd name="T59" fmla="*/ 37 h 90"/>
                <a:gd name="T60" fmla="*/ 82 w 91"/>
                <a:gd name="T61" fmla="*/ 21 h 90"/>
                <a:gd name="T62" fmla="*/ 70 w 91"/>
                <a:gd name="T63" fmla="*/ 8 h 90"/>
                <a:gd name="T64" fmla="*/ 54 w 91"/>
                <a:gd name="T65"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0">
                  <a:moveTo>
                    <a:pt x="45" y="60"/>
                  </a:moveTo>
                  <a:lnTo>
                    <a:pt x="43" y="60"/>
                  </a:lnTo>
                  <a:lnTo>
                    <a:pt x="39" y="59"/>
                  </a:lnTo>
                  <a:lnTo>
                    <a:pt x="37" y="58"/>
                  </a:lnTo>
                  <a:lnTo>
                    <a:pt x="35" y="56"/>
                  </a:lnTo>
                  <a:lnTo>
                    <a:pt x="33" y="54"/>
                  </a:lnTo>
                  <a:lnTo>
                    <a:pt x="32" y="52"/>
                  </a:lnTo>
                  <a:lnTo>
                    <a:pt x="31" y="49"/>
                  </a:lnTo>
                  <a:lnTo>
                    <a:pt x="30" y="45"/>
                  </a:lnTo>
                  <a:lnTo>
                    <a:pt x="31" y="42"/>
                  </a:lnTo>
                  <a:lnTo>
                    <a:pt x="32" y="40"/>
                  </a:lnTo>
                  <a:lnTo>
                    <a:pt x="33" y="37"/>
                  </a:lnTo>
                  <a:lnTo>
                    <a:pt x="35" y="35"/>
                  </a:lnTo>
                  <a:lnTo>
                    <a:pt x="37" y="34"/>
                  </a:lnTo>
                  <a:lnTo>
                    <a:pt x="39" y="31"/>
                  </a:lnTo>
                  <a:lnTo>
                    <a:pt x="43" y="30"/>
                  </a:lnTo>
                  <a:lnTo>
                    <a:pt x="45" y="30"/>
                  </a:lnTo>
                  <a:lnTo>
                    <a:pt x="48" y="30"/>
                  </a:lnTo>
                  <a:lnTo>
                    <a:pt x="51" y="31"/>
                  </a:lnTo>
                  <a:lnTo>
                    <a:pt x="53" y="34"/>
                  </a:lnTo>
                  <a:lnTo>
                    <a:pt x="55" y="35"/>
                  </a:lnTo>
                  <a:lnTo>
                    <a:pt x="58" y="37"/>
                  </a:lnTo>
                  <a:lnTo>
                    <a:pt x="59" y="40"/>
                  </a:lnTo>
                  <a:lnTo>
                    <a:pt x="60" y="42"/>
                  </a:lnTo>
                  <a:lnTo>
                    <a:pt x="60" y="45"/>
                  </a:lnTo>
                  <a:lnTo>
                    <a:pt x="60" y="49"/>
                  </a:lnTo>
                  <a:lnTo>
                    <a:pt x="59" y="52"/>
                  </a:lnTo>
                  <a:lnTo>
                    <a:pt x="58" y="54"/>
                  </a:lnTo>
                  <a:lnTo>
                    <a:pt x="55" y="56"/>
                  </a:lnTo>
                  <a:lnTo>
                    <a:pt x="53" y="58"/>
                  </a:lnTo>
                  <a:lnTo>
                    <a:pt x="51" y="59"/>
                  </a:lnTo>
                  <a:lnTo>
                    <a:pt x="48" y="60"/>
                  </a:lnTo>
                  <a:lnTo>
                    <a:pt x="45" y="60"/>
                  </a:lnTo>
                  <a:lnTo>
                    <a:pt x="45" y="60"/>
                  </a:lnTo>
                  <a:close/>
                  <a:moveTo>
                    <a:pt x="45" y="0"/>
                  </a:moveTo>
                  <a:lnTo>
                    <a:pt x="36" y="1"/>
                  </a:lnTo>
                  <a:lnTo>
                    <a:pt x="28" y="4"/>
                  </a:lnTo>
                  <a:lnTo>
                    <a:pt x="20" y="8"/>
                  </a:lnTo>
                  <a:lnTo>
                    <a:pt x="14" y="13"/>
                  </a:lnTo>
                  <a:lnTo>
                    <a:pt x="8" y="21"/>
                  </a:lnTo>
                  <a:lnTo>
                    <a:pt x="4" y="28"/>
                  </a:lnTo>
                  <a:lnTo>
                    <a:pt x="1" y="37"/>
                  </a:lnTo>
                  <a:lnTo>
                    <a:pt x="0" y="45"/>
                  </a:lnTo>
                  <a:lnTo>
                    <a:pt x="1" y="55"/>
                  </a:lnTo>
                  <a:lnTo>
                    <a:pt x="4" y="64"/>
                  </a:lnTo>
                  <a:lnTo>
                    <a:pt x="8" y="71"/>
                  </a:lnTo>
                  <a:lnTo>
                    <a:pt x="14" y="78"/>
                  </a:lnTo>
                  <a:lnTo>
                    <a:pt x="20" y="83"/>
                  </a:lnTo>
                  <a:lnTo>
                    <a:pt x="28" y="87"/>
                  </a:lnTo>
                  <a:lnTo>
                    <a:pt x="36" y="89"/>
                  </a:lnTo>
                  <a:lnTo>
                    <a:pt x="45" y="90"/>
                  </a:lnTo>
                  <a:lnTo>
                    <a:pt x="54" y="89"/>
                  </a:lnTo>
                  <a:lnTo>
                    <a:pt x="63" y="87"/>
                  </a:lnTo>
                  <a:lnTo>
                    <a:pt x="70" y="83"/>
                  </a:lnTo>
                  <a:lnTo>
                    <a:pt x="77" y="78"/>
                  </a:lnTo>
                  <a:lnTo>
                    <a:pt x="82" y="71"/>
                  </a:lnTo>
                  <a:lnTo>
                    <a:pt x="87" y="64"/>
                  </a:lnTo>
                  <a:lnTo>
                    <a:pt x="90" y="55"/>
                  </a:lnTo>
                  <a:lnTo>
                    <a:pt x="91" y="45"/>
                  </a:lnTo>
                  <a:lnTo>
                    <a:pt x="90" y="37"/>
                  </a:lnTo>
                  <a:lnTo>
                    <a:pt x="87" y="28"/>
                  </a:lnTo>
                  <a:lnTo>
                    <a:pt x="82" y="21"/>
                  </a:lnTo>
                  <a:lnTo>
                    <a:pt x="77" y="13"/>
                  </a:lnTo>
                  <a:lnTo>
                    <a:pt x="70" y="8"/>
                  </a:lnTo>
                  <a:lnTo>
                    <a:pt x="63" y="4"/>
                  </a:lnTo>
                  <a:lnTo>
                    <a:pt x="54"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20">
              <a:extLst>
                <a:ext uri="{FF2B5EF4-FFF2-40B4-BE49-F238E27FC236}">
                  <a16:creationId xmlns:a16="http://schemas.microsoft.com/office/drawing/2014/main" id="{88B09562-DBA5-402D-8394-604B126AC164}"/>
                </a:ext>
              </a:extLst>
            </p:cNvPr>
            <p:cNvSpPr>
              <a:spLocks noEditPoints="1"/>
            </p:cNvSpPr>
            <p:nvPr/>
          </p:nvSpPr>
          <p:spPr bwMode="auto">
            <a:xfrm>
              <a:off x="1069975" y="3252788"/>
              <a:ext cx="28575" cy="28575"/>
            </a:xfrm>
            <a:custGeom>
              <a:avLst/>
              <a:gdLst>
                <a:gd name="T0" fmla="*/ 42 w 90"/>
                <a:gd name="T1" fmla="*/ 60 h 90"/>
                <a:gd name="T2" fmla="*/ 36 w 90"/>
                <a:gd name="T3" fmla="*/ 58 h 90"/>
                <a:gd name="T4" fmla="*/ 32 w 90"/>
                <a:gd name="T5" fmla="*/ 54 h 90"/>
                <a:gd name="T6" fmla="*/ 30 w 90"/>
                <a:gd name="T7" fmla="*/ 49 h 90"/>
                <a:gd name="T8" fmla="*/ 30 w 90"/>
                <a:gd name="T9" fmla="*/ 42 h 90"/>
                <a:gd name="T10" fmla="*/ 32 w 90"/>
                <a:gd name="T11" fmla="*/ 37 h 90"/>
                <a:gd name="T12" fmla="*/ 36 w 90"/>
                <a:gd name="T13" fmla="*/ 34 h 90"/>
                <a:gd name="T14" fmla="*/ 42 w 90"/>
                <a:gd name="T15" fmla="*/ 30 h 90"/>
                <a:gd name="T16" fmla="*/ 48 w 90"/>
                <a:gd name="T17" fmla="*/ 30 h 90"/>
                <a:gd name="T18" fmla="*/ 53 w 90"/>
                <a:gd name="T19" fmla="*/ 34 h 90"/>
                <a:gd name="T20" fmla="*/ 57 w 90"/>
                <a:gd name="T21" fmla="*/ 37 h 90"/>
                <a:gd name="T22" fmla="*/ 59 w 90"/>
                <a:gd name="T23" fmla="*/ 42 h 90"/>
                <a:gd name="T24" fmla="*/ 59 w 90"/>
                <a:gd name="T25" fmla="*/ 49 h 90"/>
                <a:gd name="T26" fmla="*/ 57 w 90"/>
                <a:gd name="T27" fmla="*/ 54 h 90"/>
                <a:gd name="T28" fmla="*/ 53 w 90"/>
                <a:gd name="T29" fmla="*/ 58 h 90"/>
                <a:gd name="T30" fmla="*/ 48 w 90"/>
                <a:gd name="T31" fmla="*/ 60 h 90"/>
                <a:gd name="T32" fmla="*/ 45 w 90"/>
                <a:gd name="T33" fmla="*/ 0 h 90"/>
                <a:gd name="T34" fmla="*/ 27 w 90"/>
                <a:gd name="T35" fmla="*/ 4 h 90"/>
                <a:gd name="T36" fmla="*/ 13 w 90"/>
                <a:gd name="T37" fmla="*/ 13 h 90"/>
                <a:gd name="T38" fmla="*/ 3 w 90"/>
                <a:gd name="T39" fmla="*/ 28 h 90"/>
                <a:gd name="T40" fmla="*/ 0 w 90"/>
                <a:gd name="T41" fmla="*/ 45 h 90"/>
                <a:gd name="T42" fmla="*/ 3 w 90"/>
                <a:gd name="T43" fmla="*/ 63 h 90"/>
                <a:gd name="T44" fmla="*/ 13 w 90"/>
                <a:gd name="T45" fmla="*/ 78 h 90"/>
                <a:gd name="T46" fmla="*/ 27 w 90"/>
                <a:gd name="T47" fmla="*/ 87 h 90"/>
                <a:gd name="T48" fmla="*/ 45 w 90"/>
                <a:gd name="T49" fmla="*/ 90 h 90"/>
                <a:gd name="T50" fmla="*/ 62 w 90"/>
                <a:gd name="T51" fmla="*/ 87 h 90"/>
                <a:gd name="T52" fmla="*/ 76 w 90"/>
                <a:gd name="T53" fmla="*/ 78 h 90"/>
                <a:gd name="T54" fmla="*/ 87 w 90"/>
                <a:gd name="T55" fmla="*/ 63 h 90"/>
                <a:gd name="T56" fmla="*/ 90 w 90"/>
                <a:gd name="T57" fmla="*/ 45 h 90"/>
                <a:gd name="T58" fmla="*/ 87 w 90"/>
                <a:gd name="T59" fmla="*/ 28 h 90"/>
                <a:gd name="T60" fmla="*/ 76 w 90"/>
                <a:gd name="T61" fmla="*/ 13 h 90"/>
                <a:gd name="T62" fmla="*/ 62 w 90"/>
                <a:gd name="T63" fmla="*/ 4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38" y="59"/>
                  </a:lnTo>
                  <a:lnTo>
                    <a:pt x="36" y="58"/>
                  </a:lnTo>
                  <a:lnTo>
                    <a:pt x="34" y="56"/>
                  </a:lnTo>
                  <a:lnTo>
                    <a:pt x="32" y="54"/>
                  </a:lnTo>
                  <a:lnTo>
                    <a:pt x="31" y="52"/>
                  </a:lnTo>
                  <a:lnTo>
                    <a:pt x="30" y="49"/>
                  </a:lnTo>
                  <a:lnTo>
                    <a:pt x="30" y="45"/>
                  </a:lnTo>
                  <a:lnTo>
                    <a:pt x="30" y="42"/>
                  </a:lnTo>
                  <a:lnTo>
                    <a:pt x="31" y="40"/>
                  </a:lnTo>
                  <a:lnTo>
                    <a:pt x="32" y="37"/>
                  </a:lnTo>
                  <a:lnTo>
                    <a:pt x="34" y="35"/>
                  </a:lnTo>
                  <a:lnTo>
                    <a:pt x="36" y="34"/>
                  </a:lnTo>
                  <a:lnTo>
                    <a:pt x="38" y="31"/>
                  </a:lnTo>
                  <a:lnTo>
                    <a:pt x="42" y="30"/>
                  </a:lnTo>
                  <a:lnTo>
                    <a:pt x="45" y="30"/>
                  </a:lnTo>
                  <a:lnTo>
                    <a:pt x="48" y="30"/>
                  </a:lnTo>
                  <a:lnTo>
                    <a:pt x="50" y="31"/>
                  </a:lnTo>
                  <a:lnTo>
                    <a:pt x="53" y="34"/>
                  </a:lnTo>
                  <a:lnTo>
                    <a:pt x="56" y="35"/>
                  </a:lnTo>
                  <a:lnTo>
                    <a:pt x="57" y="37"/>
                  </a:lnTo>
                  <a:lnTo>
                    <a:pt x="59" y="40"/>
                  </a:lnTo>
                  <a:lnTo>
                    <a:pt x="59" y="42"/>
                  </a:lnTo>
                  <a:lnTo>
                    <a:pt x="60" y="45"/>
                  </a:lnTo>
                  <a:lnTo>
                    <a:pt x="59" y="49"/>
                  </a:lnTo>
                  <a:lnTo>
                    <a:pt x="59" y="52"/>
                  </a:lnTo>
                  <a:lnTo>
                    <a:pt x="57" y="54"/>
                  </a:lnTo>
                  <a:lnTo>
                    <a:pt x="56" y="56"/>
                  </a:lnTo>
                  <a:lnTo>
                    <a:pt x="53" y="58"/>
                  </a:lnTo>
                  <a:lnTo>
                    <a:pt x="50" y="59"/>
                  </a:lnTo>
                  <a:lnTo>
                    <a:pt x="48" y="60"/>
                  </a:lnTo>
                  <a:lnTo>
                    <a:pt x="45" y="60"/>
                  </a:lnTo>
                  <a:close/>
                  <a:moveTo>
                    <a:pt x="45" y="0"/>
                  </a:moveTo>
                  <a:lnTo>
                    <a:pt x="35" y="1"/>
                  </a:lnTo>
                  <a:lnTo>
                    <a:pt x="27" y="4"/>
                  </a:lnTo>
                  <a:lnTo>
                    <a:pt x="19" y="8"/>
                  </a:lnTo>
                  <a:lnTo>
                    <a:pt x="13" y="13"/>
                  </a:lnTo>
                  <a:lnTo>
                    <a:pt x="7" y="21"/>
                  </a:lnTo>
                  <a:lnTo>
                    <a:pt x="3" y="28"/>
                  </a:lnTo>
                  <a:lnTo>
                    <a:pt x="0" y="37"/>
                  </a:lnTo>
                  <a:lnTo>
                    <a:pt x="0" y="45"/>
                  </a:lnTo>
                  <a:lnTo>
                    <a:pt x="0" y="55"/>
                  </a:lnTo>
                  <a:lnTo>
                    <a:pt x="3" y="63"/>
                  </a:lnTo>
                  <a:lnTo>
                    <a:pt x="7" y="71"/>
                  </a:lnTo>
                  <a:lnTo>
                    <a:pt x="13" y="78"/>
                  </a:lnTo>
                  <a:lnTo>
                    <a:pt x="19" y="83"/>
                  </a:lnTo>
                  <a:lnTo>
                    <a:pt x="27" y="87"/>
                  </a:lnTo>
                  <a:lnTo>
                    <a:pt x="35" y="89"/>
                  </a:lnTo>
                  <a:lnTo>
                    <a:pt x="45" y="90"/>
                  </a:lnTo>
                  <a:lnTo>
                    <a:pt x="53" y="89"/>
                  </a:lnTo>
                  <a:lnTo>
                    <a:pt x="62" y="87"/>
                  </a:lnTo>
                  <a:lnTo>
                    <a:pt x="70" y="83"/>
                  </a:lnTo>
                  <a:lnTo>
                    <a:pt x="76" y="78"/>
                  </a:lnTo>
                  <a:lnTo>
                    <a:pt x="82" y="71"/>
                  </a:lnTo>
                  <a:lnTo>
                    <a:pt x="87" y="63"/>
                  </a:lnTo>
                  <a:lnTo>
                    <a:pt x="89" y="55"/>
                  </a:lnTo>
                  <a:lnTo>
                    <a:pt x="90" y="45"/>
                  </a:lnTo>
                  <a:lnTo>
                    <a:pt x="89" y="37"/>
                  </a:lnTo>
                  <a:lnTo>
                    <a:pt x="87" y="28"/>
                  </a:lnTo>
                  <a:lnTo>
                    <a:pt x="82" y="21"/>
                  </a:lnTo>
                  <a:lnTo>
                    <a:pt x="76" y="13"/>
                  </a:lnTo>
                  <a:lnTo>
                    <a:pt x="70" y="8"/>
                  </a:lnTo>
                  <a:lnTo>
                    <a:pt x="62" y="4"/>
                  </a:lnTo>
                  <a:lnTo>
                    <a:pt x="53"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7" name="Freeform 44">
            <a:extLst>
              <a:ext uri="{FF2B5EF4-FFF2-40B4-BE49-F238E27FC236}">
                <a16:creationId xmlns:a16="http://schemas.microsoft.com/office/drawing/2014/main" id="{F86F9E57-7BE7-4884-9587-7C21CB59BBA9}"/>
              </a:ext>
            </a:extLst>
          </p:cNvPr>
          <p:cNvSpPr>
            <a:spLocks noChangeAspect="1" noEditPoints="1"/>
          </p:cNvSpPr>
          <p:nvPr/>
        </p:nvSpPr>
        <p:spPr bwMode="auto">
          <a:xfrm>
            <a:off x="4907779" y="5996914"/>
            <a:ext cx="285619" cy="204013"/>
          </a:xfrm>
          <a:custGeom>
            <a:avLst/>
            <a:gdLst>
              <a:gd name="T0" fmla="*/ 1705 w 2240"/>
              <a:gd name="T1" fmla="*/ 1158 h 1599"/>
              <a:gd name="T2" fmla="*/ 1680 w 2240"/>
              <a:gd name="T3" fmla="*/ 1195 h 1599"/>
              <a:gd name="T4" fmla="*/ 309 w 2240"/>
              <a:gd name="T5" fmla="*/ 516 h 1599"/>
              <a:gd name="T6" fmla="*/ 479 w 2240"/>
              <a:gd name="T7" fmla="*/ 629 h 1599"/>
              <a:gd name="T8" fmla="*/ 601 w 2240"/>
              <a:gd name="T9" fmla="*/ 637 h 1599"/>
              <a:gd name="T10" fmla="*/ 758 w 2240"/>
              <a:gd name="T11" fmla="*/ 571 h 1599"/>
              <a:gd name="T12" fmla="*/ 970 w 2240"/>
              <a:gd name="T13" fmla="*/ 399 h 1599"/>
              <a:gd name="T14" fmla="*/ 1104 w 2240"/>
              <a:gd name="T15" fmla="*/ 586 h 1599"/>
              <a:gd name="T16" fmla="*/ 1252 w 2240"/>
              <a:gd name="T17" fmla="*/ 638 h 1599"/>
              <a:gd name="T18" fmla="*/ 1373 w 2240"/>
              <a:gd name="T19" fmla="*/ 625 h 1599"/>
              <a:gd name="T20" fmla="*/ 1547 w 2240"/>
              <a:gd name="T21" fmla="*/ 494 h 1599"/>
              <a:gd name="T22" fmla="*/ 1683 w 2240"/>
              <a:gd name="T23" fmla="*/ 737 h 1599"/>
              <a:gd name="T24" fmla="*/ 1720 w 2240"/>
              <a:gd name="T25" fmla="*/ 762 h 1599"/>
              <a:gd name="T26" fmla="*/ 584 w 2240"/>
              <a:gd name="T27" fmla="*/ 80 h 1599"/>
              <a:gd name="T28" fmla="*/ 685 w 2240"/>
              <a:gd name="T29" fmla="*/ 114 h 1599"/>
              <a:gd name="T30" fmla="*/ 781 w 2240"/>
              <a:gd name="T31" fmla="*/ 226 h 1599"/>
              <a:gd name="T32" fmla="*/ 800 w 2240"/>
              <a:gd name="T33" fmla="*/ 331 h 1599"/>
              <a:gd name="T34" fmla="*/ 771 w 2240"/>
              <a:gd name="T35" fmla="*/ 433 h 1599"/>
              <a:gd name="T36" fmla="*/ 664 w 2240"/>
              <a:gd name="T37" fmla="*/ 536 h 1599"/>
              <a:gd name="T38" fmla="*/ 561 w 2240"/>
              <a:gd name="T39" fmla="*/ 559 h 1599"/>
              <a:gd name="T40" fmla="*/ 457 w 2240"/>
              <a:gd name="T41" fmla="*/ 536 h 1599"/>
              <a:gd name="T42" fmla="*/ 349 w 2240"/>
              <a:gd name="T43" fmla="*/ 433 h 1599"/>
              <a:gd name="T44" fmla="*/ 320 w 2240"/>
              <a:gd name="T45" fmla="*/ 331 h 1599"/>
              <a:gd name="T46" fmla="*/ 339 w 2240"/>
              <a:gd name="T47" fmla="*/ 226 h 1599"/>
              <a:gd name="T48" fmla="*/ 437 w 2240"/>
              <a:gd name="T49" fmla="*/ 114 h 1599"/>
              <a:gd name="T50" fmla="*/ 536 w 2240"/>
              <a:gd name="T51" fmla="*/ 80 h 1599"/>
              <a:gd name="T52" fmla="*/ 1351 w 2240"/>
              <a:gd name="T53" fmla="*/ 90 h 1599"/>
              <a:gd name="T54" fmla="*/ 1465 w 2240"/>
              <a:gd name="T55" fmla="*/ 167 h 1599"/>
              <a:gd name="T56" fmla="*/ 1515 w 2240"/>
              <a:gd name="T57" fmla="*/ 271 h 1599"/>
              <a:gd name="T58" fmla="*/ 1512 w 2240"/>
              <a:gd name="T59" fmla="*/ 379 h 1599"/>
              <a:gd name="T60" fmla="*/ 1449 w 2240"/>
              <a:gd name="T61" fmla="*/ 489 h 1599"/>
              <a:gd name="T62" fmla="*/ 1340 w 2240"/>
              <a:gd name="T63" fmla="*/ 552 h 1599"/>
              <a:gd name="T64" fmla="*/ 1232 w 2240"/>
              <a:gd name="T65" fmla="*/ 554 h 1599"/>
              <a:gd name="T66" fmla="*/ 1127 w 2240"/>
              <a:gd name="T67" fmla="*/ 505 h 1599"/>
              <a:gd name="T68" fmla="*/ 1051 w 2240"/>
              <a:gd name="T69" fmla="*/ 390 h 1599"/>
              <a:gd name="T70" fmla="*/ 1043 w 2240"/>
              <a:gd name="T71" fmla="*/ 283 h 1599"/>
              <a:gd name="T72" fmla="*/ 1081 w 2240"/>
              <a:gd name="T73" fmla="*/ 186 h 1599"/>
              <a:gd name="T74" fmla="*/ 1198 w 2240"/>
              <a:gd name="T75" fmla="*/ 94 h 1599"/>
              <a:gd name="T76" fmla="*/ 2215 w 2240"/>
              <a:gd name="T77" fmla="*/ 400 h 1599"/>
              <a:gd name="T78" fmla="*/ 1759 w 2240"/>
              <a:gd name="T79" fmla="*/ 359 h 1599"/>
              <a:gd name="T80" fmla="*/ 1601 w 2240"/>
              <a:gd name="T81" fmla="*/ 319 h 1599"/>
              <a:gd name="T82" fmla="*/ 1568 w 2240"/>
              <a:gd name="T83" fmla="*/ 181 h 1599"/>
              <a:gd name="T84" fmla="*/ 1483 w 2240"/>
              <a:gd name="T85" fmla="*/ 72 h 1599"/>
              <a:gd name="T86" fmla="*/ 1360 w 2240"/>
              <a:gd name="T87" fmla="*/ 10 h 1599"/>
              <a:gd name="T88" fmla="*/ 1216 w 2240"/>
              <a:gd name="T89" fmla="*/ 5 h 1599"/>
              <a:gd name="T90" fmla="*/ 1089 w 2240"/>
              <a:gd name="T91" fmla="*/ 62 h 1599"/>
              <a:gd name="T92" fmla="*/ 998 w 2240"/>
              <a:gd name="T93" fmla="*/ 167 h 1599"/>
              <a:gd name="T94" fmla="*/ 960 w 2240"/>
              <a:gd name="T95" fmla="*/ 303 h 1599"/>
              <a:gd name="T96" fmla="*/ 861 w 2240"/>
              <a:gd name="T97" fmla="*/ 209 h 1599"/>
              <a:gd name="T98" fmla="*/ 787 w 2240"/>
              <a:gd name="T99" fmla="*/ 93 h 1599"/>
              <a:gd name="T100" fmla="*/ 671 w 2240"/>
              <a:gd name="T101" fmla="*/ 19 h 1599"/>
              <a:gd name="T102" fmla="*/ 527 w 2240"/>
              <a:gd name="T103" fmla="*/ 1 h 1599"/>
              <a:gd name="T104" fmla="*/ 394 w 2240"/>
              <a:gd name="T105" fmla="*/ 46 h 1599"/>
              <a:gd name="T106" fmla="*/ 296 w 2240"/>
              <a:gd name="T107" fmla="*/ 141 h 1599"/>
              <a:gd name="T108" fmla="*/ 244 w 2240"/>
              <a:gd name="T109" fmla="*/ 271 h 1599"/>
              <a:gd name="T110" fmla="*/ 7 w 2240"/>
              <a:gd name="T111" fmla="*/ 337 h 1599"/>
              <a:gd name="T112" fmla="*/ 18 w 2240"/>
              <a:gd name="T113" fmla="*/ 1593 h 1599"/>
              <a:gd name="T114" fmla="*/ 1753 w 2240"/>
              <a:gd name="T115" fmla="*/ 1581 h 1599"/>
              <a:gd name="T116" fmla="*/ 2199 w 2240"/>
              <a:gd name="T117" fmla="*/ 1518 h 1599"/>
              <a:gd name="T118" fmla="*/ 2236 w 2240"/>
              <a:gd name="T119" fmla="*/ 1493 h 1599"/>
              <a:gd name="T120" fmla="*/ 2232 w 2240"/>
              <a:gd name="T121" fmla="*/ 41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0" h="1599">
                <a:moveTo>
                  <a:pt x="2160" y="1408"/>
                </a:moveTo>
                <a:lnTo>
                  <a:pt x="1740" y="1161"/>
                </a:lnTo>
                <a:lnTo>
                  <a:pt x="1736" y="1158"/>
                </a:lnTo>
                <a:lnTo>
                  <a:pt x="1730" y="1156"/>
                </a:lnTo>
                <a:lnTo>
                  <a:pt x="1726" y="1155"/>
                </a:lnTo>
                <a:lnTo>
                  <a:pt x="1720" y="1155"/>
                </a:lnTo>
                <a:lnTo>
                  <a:pt x="1715" y="1155"/>
                </a:lnTo>
                <a:lnTo>
                  <a:pt x="1710" y="1156"/>
                </a:lnTo>
                <a:lnTo>
                  <a:pt x="1705" y="1158"/>
                </a:lnTo>
                <a:lnTo>
                  <a:pt x="1700" y="1161"/>
                </a:lnTo>
                <a:lnTo>
                  <a:pt x="1696" y="1163"/>
                </a:lnTo>
                <a:lnTo>
                  <a:pt x="1692" y="1166"/>
                </a:lnTo>
                <a:lnTo>
                  <a:pt x="1688" y="1171"/>
                </a:lnTo>
                <a:lnTo>
                  <a:pt x="1686" y="1175"/>
                </a:lnTo>
                <a:lnTo>
                  <a:pt x="1683" y="1180"/>
                </a:lnTo>
                <a:lnTo>
                  <a:pt x="1681" y="1184"/>
                </a:lnTo>
                <a:lnTo>
                  <a:pt x="1680" y="1190"/>
                </a:lnTo>
                <a:lnTo>
                  <a:pt x="1680" y="1195"/>
                </a:lnTo>
                <a:lnTo>
                  <a:pt x="1680" y="1519"/>
                </a:lnTo>
                <a:lnTo>
                  <a:pt x="81" y="1519"/>
                </a:lnTo>
                <a:lnTo>
                  <a:pt x="81" y="399"/>
                </a:lnTo>
                <a:lnTo>
                  <a:pt x="251" y="399"/>
                </a:lnTo>
                <a:lnTo>
                  <a:pt x="259" y="425"/>
                </a:lnTo>
                <a:lnTo>
                  <a:pt x="269" y="449"/>
                </a:lnTo>
                <a:lnTo>
                  <a:pt x="280" y="472"/>
                </a:lnTo>
                <a:lnTo>
                  <a:pt x="293" y="494"/>
                </a:lnTo>
                <a:lnTo>
                  <a:pt x="309" y="516"/>
                </a:lnTo>
                <a:lnTo>
                  <a:pt x="326" y="536"/>
                </a:lnTo>
                <a:lnTo>
                  <a:pt x="344" y="554"/>
                </a:lnTo>
                <a:lnTo>
                  <a:pt x="363" y="571"/>
                </a:lnTo>
                <a:lnTo>
                  <a:pt x="384" y="586"/>
                </a:lnTo>
                <a:lnTo>
                  <a:pt x="406" y="600"/>
                </a:lnTo>
                <a:lnTo>
                  <a:pt x="430" y="611"/>
                </a:lnTo>
                <a:lnTo>
                  <a:pt x="455" y="621"/>
                </a:lnTo>
                <a:lnTo>
                  <a:pt x="467" y="625"/>
                </a:lnTo>
                <a:lnTo>
                  <a:pt x="479" y="629"/>
                </a:lnTo>
                <a:lnTo>
                  <a:pt x="493" y="632"/>
                </a:lnTo>
                <a:lnTo>
                  <a:pt x="506" y="634"/>
                </a:lnTo>
                <a:lnTo>
                  <a:pt x="519" y="637"/>
                </a:lnTo>
                <a:lnTo>
                  <a:pt x="533" y="638"/>
                </a:lnTo>
                <a:lnTo>
                  <a:pt x="546" y="639"/>
                </a:lnTo>
                <a:lnTo>
                  <a:pt x="561" y="639"/>
                </a:lnTo>
                <a:lnTo>
                  <a:pt x="574" y="639"/>
                </a:lnTo>
                <a:lnTo>
                  <a:pt x="588" y="638"/>
                </a:lnTo>
                <a:lnTo>
                  <a:pt x="601" y="637"/>
                </a:lnTo>
                <a:lnTo>
                  <a:pt x="615" y="634"/>
                </a:lnTo>
                <a:lnTo>
                  <a:pt x="628" y="632"/>
                </a:lnTo>
                <a:lnTo>
                  <a:pt x="641" y="629"/>
                </a:lnTo>
                <a:lnTo>
                  <a:pt x="654" y="625"/>
                </a:lnTo>
                <a:lnTo>
                  <a:pt x="666" y="621"/>
                </a:lnTo>
                <a:lnTo>
                  <a:pt x="691" y="611"/>
                </a:lnTo>
                <a:lnTo>
                  <a:pt x="714" y="600"/>
                </a:lnTo>
                <a:lnTo>
                  <a:pt x="737" y="586"/>
                </a:lnTo>
                <a:lnTo>
                  <a:pt x="758" y="571"/>
                </a:lnTo>
                <a:lnTo>
                  <a:pt x="777" y="554"/>
                </a:lnTo>
                <a:lnTo>
                  <a:pt x="796" y="536"/>
                </a:lnTo>
                <a:lnTo>
                  <a:pt x="813" y="516"/>
                </a:lnTo>
                <a:lnTo>
                  <a:pt x="827" y="494"/>
                </a:lnTo>
                <a:lnTo>
                  <a:pt x="841" y="472"/>
                </a:lnTo>
                <a:lnTo>
                  <a:pt x="852" y="449"/>
                </a:lnTo>
                <a:lnTo>
                  <a:pt x="862" y="425"/>
                </a:lnTo>
                <a:lnTo>
                  <a:pt x="870" y="399"/>
                </a:lnTo>
                <a:lnTo>
                  <a:pt x="970" y="399"/>
                </a:lnTo>
                <a:lnTo>
                  <a:pt x="978" y="425"/>
                </a:lnTo>
                <a:lnTo>
                  <a:pt x="988" y="449"/>
                </a:lnTo>
                <a:lnTo>
                  <a:pt x="1000" y="472"/>
                </a:lnTo>
                <a:lnTo>
                  <a:pt x="1013" y="494"/>
                </a:lnTo>
                <a:lnTo>
                  <a:pt x="1029" y="516"/>
                </a:lnTo>
                <a:lnTo>
                  <a:pt x="1045" y="536"/>
                </a:lnTo>
                <a:lnTo>
                  <a:pt x="1063" y="554"/>
                </a:lnTo>
                <a:lnTo>
                  <a:pt x="1083" y="571"/>
                </a:lnTo>
                <a:lnTo>
                  <a:pt x="1104" y="586"/>
                </a:lnTo>
                <a:lnTo>
                  <a:pt x="1126" y="600"/>
                </a:lnTo>
                <a:lnTo>
                  <a:pt x="1150" y="611"/>
                </a:lnTo>
                <a:lnTo>
                  <a:pt x="1174" y="621"/>
                </a:lnTo>
                <a:lnTo>
                  <a:pt x="1186" y="625"/>
                </a:lnTo>
                <a:lnTo>
                  <a:pt x="1200" y="629"/>
                </a:lnTo>
                <a:lnTo>
                  <a:pt x="1212" y="632"/>
                </a:lnTo>
                <a:lnTo>
                  <a:pt x="1226" y="634"/>
                </a:lnTo>
                <a:lnTo>
                  <a:pt x="1239" y="637"/>
                </a:lnTo>
                <a:lnTo>
                  <a:pt x="1252" y="638"/>
                </a:lnTo>
                <a:lnTo>
                  <a:pt x="1266" y="639"/>
                </a:lnTo>
                <a:lnTo>
                  <a:pt x="1280" y="639"/>
                </a:lnTo>
                <a:lnTo>
                  <a:pt x="1294" y="639"/>
                </a:lnTo>
                <a:lnTo>
                  <a:pt x="1307" y="638"/>
                </a:lnTo>
                <a:lnTo>
                  <a:pt x="1322" y="637"/>
                </a:lnTo>
                <a:lnTo>
                  <a:pt x="1334" y="634"/>
                </a:lnTo>
                <a:lnTo>
                  <a:pt x="1348" y="632"/>
                </a:lnTo>
                <a:lnTo>
                  <a:pt x="1361" y="629"/>
                </a:lnTo>
                <a:lnTo>
                  <a:pt x="1373" y="625"/>
                </a:lnTo>
                <a:lnTo>
                  <a:pt x="1387" y="621"/>
                </a:lnTo>
                <a:lnTo>
                  <a:pt x="1410" y="611"/>
                </a:lnTo>
                <a:lnTo>
                  <a:pt x="1434" y="600"/>
                </a:lnTo>
                <a:lnTo>
                  <a:pt x="1456" y="586"/>
                </a:lnTo>
                <a:lnTo>
                  <a:pt x="1477" y="571"/>
                </a:lnTo>
                <a:lnTo>
                  <a:pt x="1496" y="554"/>
                </a:lnTo>
                <a:lnTo>
                  <a:pt x="1515" y="536"/>
                </a:lnTo>
                <a:lnTo>
                  <a:pt x="1532" y="516"/>
                </a:lnTo>
                <a:lnTo>
                  <a:pt x="1547" y="494"/>
                </a:lnTo>
                <a:lnTo>
                  <a:pt x="1560" y="472"/>
                </a:lnTo>
                <a:lnTo>
                  <a:pt x="1573" y="449"/>
                </a:lnTo>
                <a:lnTo>
                  <a:pt x="1581" y="425"/>
                </a:lnTo>
                <a:lnTo>
                  <a:pt x="1589" y="399"/>
                </a:lnTo>
                <a:lnTo>
                  <a:pt x="1680" y="399"/>
                </a:lnTo>
                <a:lnTo>
                  <a:pt x="1680" y="722"/>
                </a:lnTo>
                <a:lnTo>
                  <a:pt x="1680" y="727"/>
                </a:lnTo>
                <a:lnTo>
                  <a:pt x="1681" y="733"/>
                </a:lnTo>
                <a:lnTo>
                  <a:pt x="1683" y="737"/>
                </a:lnTo>
                <a:lnTo>
                  <a:pt x="1686" y="742"/>
                </a:lnTo>
                <a:lnTo>
                  <a:pt x="1688" y="746"/>
                </a:lnTo>
                <a:lnTo>
                  <a:pt x="1692" y="751"/>
                </a:lnTo>
                <a:lnTo>
                  <a:pt x="1696" y="754"/>
                </a:lnTo>
                <a:lnTo>
                  <a:pt x="1700" y="756"/>
                </a:lnTo>
                <a:lnTo>
                  <a:pt x="1705" y="760"/>
                </a:lnTo>
                <a:lnTo>
                  <a:pt x="1710" y="761"/>
                </a:lnTo>
                <a:lnTo>
                  <a:pt x="1715" y="762"/>
                </a:lnTo>
                <a:lnTo>
                  <a:pt x="1720" y="762"/>
                </a:lnTo>
                <a:lnTo>
                  <a:pt x="1726" y="762"/>
                </a:lnTo>
                <a:lnTo>
                  <a:pt x="1730" y="761"/>
                </a:lnTo>
                <a:lnTo>
                  <a:pt x="1736" y="759"/>
                </a:lnTo>
                <a:lnTo>
                  <a:pt x="1740" y="756"/>
                </a:lnTo>
                <a:lnTo>
                  <a:pt x="2160" y="508"/>
                </a:lnTo>
                <a:lnTo>
                  <a:pt x="2160" y="1408"/>
                </a:lnTo>
                <a:close/>
                <a:moveTo>
                  <a:pt x="561" y="79"/>
                </a:moveTo>
                <a:lnTo>
                  <a:pt x="573" y="79"/>
                </a:lnTo>
                <a:lnTo>
                  <a:pt x="584" y="80"/>
                </a:lnTo>
                <a:lnTo>
                  <a:pt x="597" y="81"/>
                </a:lnTo>
                <a:lnTo>
                  <a:pt x="609" y="84"/>
                </a:lnTo>
                <a:lnTo>
                  <a:pt x="620" y="87"/>
                </a:lnTo>
                <a:lnTo>
                  <a:pt x="631" y="90"/>
                </a:lnTo>
                <a:lnTo>
                  <a:pt x="643" y="94"/>
                </a:lnTo>
                <a:lnTo>
                  <a:pt x="654" y="98"/>
                </a:lnTo>
                <a:lnTo>
                  <a:pt x="664" y="103"/>
                </a:lnTo>
                <a:lnTo>
                  <a:pt x="675" y="108"/>
                </a:lnTo>
                <a:lnTo>
                  <a:pt x="685" y="114"/>
                </a:lnTo>
                <a:lnTo>
                  <a:pt x="694" y="121"/>
                </a:lnTo>
                <a:lnTo>
                  <a:pt x="713" y="134"/>
                </a:lnTo>
                <a:lnTo>
                  <a:pt x="730" y="150"/>
                </a:lnTo>
                <a:lnTo>
                  <a:pt x="746" y="167"/>
                </a:lnTo>
                <a:lnTo>
                  <a:pt x="759" y="186"/>
                </a:lnTo>
                <a:lnTo>
                  <a:pt x="766" y="194"/>
                </a:lnTo>
                <a:lnTo>
                  <a:pt x="771" y="205"/>
                </a:lnTo>
                <a:lnTo>
                  <a:pt x="777" y="216"/>
                </a:lnTo>
                <a:lnTo>
                  <a:pt x="781" y="226"/>
                </a:lnTo>
                <a:lnTo>
                  <a:pt x="786" y="237"/>
                </a:lnTo>
                <a:lnTo>
                  <a:pt x="789" y="248"/>
                </a:lnTo>
                <a:lnTo>
                  <a:pt x="793" y="259"/>
                </a:lnTo>
                <a:lnTo>
                  <a:pt x="796" y="271"/>
                </a:lnTo>
                <a:lnTo>
                  <a:pt x="798" y="283"/>
                </a:lnTo>
                <a:lnTo>
                  <a:pt x="799" y="294"/>
                </a:lnTo>
                <a:lnTo>
                  <a:pt x="800" y="306"/>
                </a:lnTo>
                <a:lnTo>
                  <a:pt x="800" y="319"/>
                </a:lnTo>
                <a:lnTo>
                  <a:pt x="800" y="331"/>
                </a:lnTo>
                <a:lnTo>
                  <a:pt x="799" y="343"/>
                </a:lnTo>
                <a:lnTo>
                  <a:pt x="798" y="356"/>
                </a:lnTo>
                <a:lnTo>
                  <a:pt x="796" y="368"/>
                </a:lnTo>
                <a:lnTo>
                  <a:pt x="793" y="379"/>
                </a:lnTo>
                <a:lnTo>
                  <a:pt x="789" y="390"/>
                </a:lnTo>
                <a:lnTo>
                  <a:pt x="786" y="402"/>
                </a:lnTo>
                <a:lnTo>
                  <a:pt x="781" y="413"/>
                </a:lnTo>
                <a:lnTo>
                  <a:pt x="777" y="423"/>
                </a:lnTo>
                <a:lnTo>
                  <a:pt x="771" y="433"/>
                </a:lnTo>
                <a:lnTo>
                  <a:pt x="766" y="443"/>
                </a:lnTo>
                <a:lnTo>
                  <a:pt x="759" y="453"/>
                </a:lnTo>
                <a:lnTo>
                  <a:pt x="746" y="472"/>
                </a:lnTo>
                <a:lnTo>
                  <a:pt x="730" y="489"/>
                </a:lnTo>
                <a:lnTo>
                  <a:pt x="713" y="505"/>
                </a:lnTo>
                <a:lnTo>
                  <a:pt x="694" y="518"/>
                </a:lnTo>
                <a:lnTo>
                  <a:pt x="685" y="525"/>
                </a:lnTo>
                <a:lnTo>
                  <a:pt x="675" y="530"/>
                </a:lnTo>
                <a:lnTo>
                  <a:pt x="664" y="536"/>
                </a:lnTo>
                <a:lnTo>
                  <a:pt x="654" y="540"/>
                </a:lnTo>
                <a:lnTo>
                  <a:pt x="643" y="545"/>
                </a:lnTo>
                <a:lnTo>
                  <a:pt x="631" y="548"/>
                </a:lnTo>
                <a:lnTo>
                  <a:pt x="620" y="552"/>
                </a:lnTo>
                <a:lnTo>
                  <a:pt x="609" y="554"/>
                </a:lnTo>
                <a:lnTo>
                  <a:pt x="597" y="556"/>
                </a:lnTo>
                <a:lnTo>
                  <a:pt x="584" y="558"/>
                </a:lnTo>
                <a:lnTo>
                  <a:pt x="573" y="558"/>
                </a:lnTo>
                <a:lnTo>
                  <a:pt x="561" y="559"/>
                </a:lnTo>
                <a:lnTo>
                  <a:pt x="549" y="558"/>
                </a:lnTo>
                <a:lnTo>
                  <a:pt x="536" y="558"/>
                </a:lnTo>
                <a:lnTo>
                  <a:pt x="524" y="556"/>
                </a:lnTo>
                <a:lnTo>
                  <a:pt x="512" y="554"/>
                </a:lnTo>
                <a:lnTo>
                  <a:pt x="500" y="552"/>
                </a:lnTo>
                <a:lnTo>
                  <a:pt x="489" y="548"/>
                </a:lnTo>
                <a:lnTo>
                  <a:pt x="478" y="545"/>
                </a:lnTo>
                <a:lnTo>
                  <a:pt x="467" y="540"/>
                </a:lnTo>
                <a:lnTo>
                  <a:pt x="457" y="536"/>
                </a:lnTo>
                <a:lnTo>
                  <a:pt x="446" y="530"/>
                </a:lnTo>
                <a:lnTo>
                  <a:pt x="437" y="525"/>
                </a:lnTo>
                <a:lnTo>
                  <a:pt x="427" y="518"/>
                </a:lnTo>
                <a:lnTo>
                  <a:pt x="408" y="505"/>
                </a:lnTo>
                <a:lnTo>
                  <a:pt x="391" y="489"/>
                </a:lnTo>
                <a:lnTo>
                  <a:pt x="375" y="472"/>
                </a:lnTo>
                <a:lnTo>
                  <a:pt x="362" y="453"/>
                </a:lnTo>
                <a:lnTo>
                  <a:pt x="355" y="443"/>
                </a:lnTo>
                <a:lnTo>
                  <a:pt x="349" y="433"/>
                </a:lnTo>
                <a:lnTo>
                  <a:pt x="344" y="423"/>
                </a:lnTo>
                <a:lnTo>
                  <a:pt x="339" y="413"/>
                </a:lnTo>
                <a:lnTo>
                  <a:pt x="335" y="402"/>
                </a:lnTo>
                <a:lnTo>
                  <a:pt x="331" y="390"/>
                </a:lnTo>
                <a:lnTo>
                  <a:pt x="328" y="379"/>
                </a:lnTo>
                <a:lnTo>
                  <a:pt x="326" y="368"/>
                </a:lnTo>
                <a:lnTo>
                  <a:pt x="324" y="356"/>
                </a:lnTo>
                <a:lnTo>
                  <a:pt x="321" y="343"/>
                </a:lnTo>
                <a:lnTo>
                  <a:pt x="320" y="331"/>
                </a:lnTo>
                <a:lnTo>
                  <a:pt x="320" y="319"/>
                </a:lnTo>
                <a:lnTo>
                  <a:pt x="320" y="306"/>
                </a:lnTo>
                <a:lnTo>
                  <a:pt x="321" y="294"/>
                </a:lnTo>
                <a:lnTo>
                  <a:pt x="324" y="283"/>
                </a:lnTo>
                <a:lnTo>
                  <a:pt x="326" y="271"/>
                </a:lnTo>
                <a:lnTo>
                  <a:pt x="328" y="259"/>
                </a:lnTo>
                <a:lnTo>
                  <a:pt x="331" y="248"/>
                </a:lnTo>
                <a:lnTo>
                  <a:pt x="335" y="237"/>
                </a:lnTo>
                <a:lnTo>
                  <a:pt x="339" y="226"/>
                </a:lnTo>
                <a:lnTo>
                  <a:pt x="344" y="216"/>
                </a:lnTo>
                <a:lnTo>
                  <a:pt x="349" y="205"/>
                </a:lnTo>
                <a:lnTo>
                  <a:pt x="355" y="194"/>
                </a:lnTo>
                <a:lnTo>
                  <a:pt x="362" y="186"/>
                </a:lnTo>
                <a:lnTo>
                  <a:pt x="375" y="167"/>
                </a:lnTo>
                <a:lnTo>
                  <a:pt x="391" y="150"/>
                </a:lnTo>
                <a:lnTo>
                  <a:pt x="408" y="134"/>
                </a:lnTo>
                <a:lnTo>
                  <a:pt x="427" y="121"/>
                </a:lnTo>
                <a:lnTo>
                  <a:pt x="437" y="114"/>
                </a:lnTo>
                <a:lnTo>
                  <a:pt x="446" y="108"/>
                </a:lnTo>
                <a:lnTo>
                  <a:pt x="457" y="103"/>
                </a:lnTo>
                <a:lnTo>
                  <a:pt x="467" y="98"/>
                </a:lnTo>
                <a:lnTo>
                  <a:pt x="478" y="94"/>
                </a:lnTo>
                <a:lnTo>
                  <a:pt x="489" y="90"/>
                </a:lnTo>
                <a:lnTo>
                  <a:pt x="500" y="87"/>
                </a:lnTo>
                <a:lnTo>
                  <a:pt x="512" y="84"/>
                </a:lnTo>
                <a:lnTo>
                  <a:pt x="524" y="81"/>
                </a:lnTo>
                <a:lnTo>
                  <a:pt x="536" y="80"/>
                </a:lnTo>
                <a:lnTo>
                  <a:pt x="549" y="79"/>
                </a:lnTo>
                <a:lnTo>
                  <a:pt x="561" y="79"/>
                </a:lnTo>
                <a:close/>
                <a:moveTo>
                  <a:pt x="1280" y="79"/>
                </a:moveTo>
                <a:lnTo>
                  <a:pt x="1293" y="79"/>
                </a:lnTo>
                <a:lnTo>
                  <a:pt x="1305" y="80"/>
                </a:lnTo>
                <a:lnTo>
                  <a:pt x="1316" y="81"/>
                </a:lnTo>
                <a:lnTo>
                  <a:pt x="1329" y="84"/>
                </a:lnTo>
                <a:lnTo>
                  <a:pt x="1340" y="87"/>
                </a:lnTo>
                <a:lnTo>
                  <a:pt x="1351" y="90"/>
                </a:lnTo>
                <a:lnTo>
                  <a:pt x="1362" y="94"/>
                </a:lnTo>
                <a:lnTo>
                  <a:pt x="1373" y="98"/>
                </a:lnTo>
                <a:lnTo>
                  <a:pt x="1385" y="103"/>
                </a:lnTo>
                <a:lnTo>
                  <a:pt x="1395" y="108"/>
                </a:lnTo>
                <a:lnTo>
                  <a:pt x="1405" y="114"/>
                </a:lnTo>
                <a:lnTo>
                  <a:pt x="1415" y="121"/>
                </a:lnTo>
                <a:lnTo>
                  <a:pt x="1433" y="134"/>
                </a:lnTo>
                <a:lnTo>
                  <a:pt x="1449" y="150"/>
                </a:lnTo>
                <a:lnTo>
                  <a:pt x="1465" y="167"/>
                </a:lnTo>
                <a:lnTo>
                  <a:pt x="1479" y="186"/>
                </a:lnTo>
                <a:lnTo>
                  <a:pt x="1485" y="194"/>
                </a:lnTo>
                <a:lnTo>
                  <a:pt x="1491" y="205"/>
                </a:lnTo>
                <a:lnTo>
                  <a:pt x="1496" y="216"/>
                </a:lnTo>
                <a:lnTo>
                  <a:pt x="1501" y="226"/>
                </a:lnTo>
                <a:lnTo>
                  <a:pt x="1505" y="237"/>
                </a:lnTo>
                <a:lnTo>
                  <a:pt x="1509" y="248"/>
                </a:lnTo>
                <a:lnTo>
                  <a:pt x="1512" y="259"/>
                </a:lnTo>
                <a:lnTo>
                  <a:pt x="1515" y="271"/>
                </a:lnTo>
                <a:lnTo>
                  <a:pt x="1518" y="283"/>
                </a:lnTo>
                <a:lnTo>
                  <a:pt x="1519" y="294"/>
                </a:lnTo>
                <a:lnTo>
                  <a:pt x="1520" y="306"/>
                </a:lnTo>
                <a:lnTo>
                  <a:pt x="1520" y="319"/>
                </a:lnTo>
                <a:lnTo>
                  <a:pt x="1520" y="331"/>
                </a:lnTo>
                <a:lnTo>
                  <a:pt x="1519" y="343"/>
                </a:lnTo>
                <a:lnTo>
                  <a:pt x="1518" y="356"/>
                </a:lnTo>
                <a:lnTo>
                  <a:pt x="1515" y="368"/>
                </a:lnTo>
                <a:lnTo>
                  <a:pt x="1512" y="379"/>
                </a:lnTo>
                <a:lnTo>
                  <a:pt x="1509" y="390"/>
                </a:lnTo>
                <a:lnTo>
                  <a:pt x="1505" y="402"/>
                </a:lnTo>
                <a:lnTo>
                  <a:pt x="1501" y="413"/>
                </a:lnTo>
                <a:lnTo>
                  <a:pt x="1496" y="423"/>
                </a:lnTo>
                <a:lnTo>
                  <a:pt x="1491" y="433"/>
                </a:lnTo>
                <a:lnTo>
                  <a:pt x="1485" y="443"/>
                </a:lnTo>
                <a:lnTo>
                  <a:pt x="1479" y="453"/>
                </a:lnTo>
                <a:lnTo>
                  <a:pt x="1465" y="472"/>
                </a:lnTo>
                <a:lnTo>
                  <a:pt x="1449" y="489"/>
                </a:lnTo>
                <a:lnTo>
                  <a:pt x="1433" y="505"/>
                </a:lnTo>
                <a:lnTo>
                  <a:pt x="1415" y="518"/>
                </a:lnTo>
                <a:lnTo>
                  <a:pt x="1405" y="525"/>
                </a:lnTo>
                <a:lnTo>
                  <a:pt x="1395" y="530"/>
                </a:lnTo>
                <a:lnTo>
                  <a:pt x="1385" y="536"/>
                </a:lnTo>
                <a:lnTo>
                  <a:pt x="1373" y="540"/>
                </a:lnTo>
                <a:lnTo>
                  <a:pt x="1362" y="545"/>
                </a:lnTo>
                <a:lnTo>
                  <a:pt x="1351" y="548"/>
                </a:lnTo>
                <a:lnTo>
                  <a:pt x="1340" y="552"/>
                </a:lnTo>
                <a:lnTo>
                  <a:pt x="1329" y="554"/>
                </a:lnTo>
                <a:lnTo>
                  <a:pt x="1316" y="556"/>
                </a:lnTo>
                <a:lnTo>
                  <a:pt x="1305" y="558"/>
                </a:lnTo>
                <a:lnTo>
                  <a:pt x="1293" y="558"/>
                </a:lnTo>
                <a:lnTo>
                  <a:pt x="1280" y="559"/>
                </a:lnTo>
                <a:lnTo>
                  <a:pt x="1268" y="558"/>
                </a:lnTo>
                <a:lnTo>
                  <a:pt x="1256" y="558"/>
                </a:lnTo>
                <a:lnTo>
                  <a:pt x="1244" y="556"/>
                </a:lnTo>
                <a:lnTo>
                  <a:pt x="1232" y="554"/>
                </a:lnTo>
                <a:lnTo>
                  <a:pt x="1220" y="552"/>
                </a:lnTo>
                <a:lnTo>
                  <a:pt x="1209" y="548"/>
                </a:lnTo>
                <a:lnTo>
                  <a:pt x="1198" y="545"/>
                </a:lnTo>
                <a:lnTo>
                  <a:pt x="1186" y="540"/>
                </a:lnTo>
                <a:lnTo>
                  <a:pt x="1176" y="536"/>
                </a:lnTo>
                <a:lnTo>
                  <a:pt x="1166" y="530"/>
                </a:lnTo>
                <a:lnTo>
                  <a:pt x="1156" y="525"/>
                </a:lnTo>
                <a:lnTo>
                  <a:pt x="1146" y="518"/>
                </a:lnTo>
                <a:lnTo>
                  <a:pt x="1127" y="505"/>
                </a:lnTo>
                <a:lnTo>
                  <a:pt x="1110" y="489"/>
                </a:lnTo>
                <a:lnTo>
                  <a:pt x="1095" y="472"/>
                </a:lnTo>
                <a:lnTo>
                  <a:pt x="1081" y="453"/>
                </a:lnTo>
                <a:lnTo>
                  <a:pt x="1075" y="443"/>
                </a:lnTo>
                <a:lnTo>
                  <a:pt x="1069" y="433"/>
                </a:lnTo>
                <a:lnTo>
                  <a:pt x="1064" y="423"/>
                </a:lnTo>
                <a:lnTo>
                  <a:pt x="1059" y="413"/>
                </a:lnTo>
                <a:lnTo>
                  <a:pt x="1054" y="402"/>
                </a:lnTo>
                <a:lnTo>
                  <a:pt x="1051" y="390"/>
                </a:lnTo>
                <a:lnTo>
                  <a:pt x="1048" y="379"/>
                </a:lnTo>
                <a:lnTo>
                  <a:pt x="1045" y="368"/>
                </a:lnTo>
                <a:lnTo>
                  <a:pt x="1043" y="356"/>
                </a:lnTo>
                <a:lnTo>
                  <a:pt x="1041" y="343"/>
                </a:lnTo>
                <a:lnTo>
                  <a:pt x="1041" y="331"/>
                </a:lnTo>
                <a:lnTo>
                  <a:pt x="1040" y="319"/>
                </a:lnTo>
                <a:lnTo>
                  <a:pt x="1041" y="306"/>
                </a:lnTo>
                <a:lnTo>
                  <a:pt x="1041" y="294"/>
                </a:lnTo>
                <a:lnTo>
                  <a:pt x="1043" y="283"/>
                </a:lnTo>
                <a:lnTo>
                  <a:pt x="1045" y="271"/>
                </a:lnTo>
                <a:lnTo>
                  <a:pt x="1048" y="259"/>
                </a:lnTo>
                <a:lnTo>
                  <a:pt x="1051" y="248"/>
                </a:lnTo>
                <a:lnTo>
                  <a:pt x="1054" y="237"/>
                </a:lnTo>
                <a:lnTo>
                  <a:pt x="1059" y="226"/>
                </a:lnTo>
                <a:lnTo>
                  <a:pt x="1064" y="216"/>
                </a:lnTo>
                <a:lnTo>
                  <a:pt x="1069" y="205"/>
                </a:lnTo>
                <a:lnTo>
                  <a:pt x="1075" y="194"/>
                </a:lnTo>
                <a:lnTo>
                  <a:pt x="1081" y="186"/>
                </a:lnTo>
                <a:lnTo>
                  <a:pt x="1095" y="167"/>
                </a:lnTo>
                <a:lnTo>
                  <a:pt x="1110" y="150"/>
                </a:lnTo>
                <a:lnTo>
                  <a:pt x="1127" y="134"/>
                </a:lnTo>
                <a:lnTo>
                  <a:pt x="1146" y="121"/>
                </a:lnTo>
                <a:lnTo>
                  <a:pt x="1156" y="114"/>
                </a:lnTo>
                <a:lnTo>
                  <a:pt x="1166" y="108"/>
                </a:lnTo>
                <a:lnTo>
                  <a:pt x="1176" y="103"/>
                </a:lnTo>
                <a:lnTo>
                  <a:pt x="1186" y="98"/>
                </a:lnTo>
                <a:lnTo>
                  <a:pt x="1198" y="94"/>
                </a:lnTo>
                <a:lnTo>
                  <a:pt x="1209" y="90"/>
                </a:lnTo>
                <a:lnTo>
                  <a:pt x="1220" y="87"/>
                </a:lnTo>
                <a:lnTo>
                  <a:pt x="1232" y="84"/>
                </a:lnTo>
                <a:lnTo>
                  <a:pt x="1244" y="81"/>
                </a:lnTo>
                <a:lnTo>
                  <a:pt x="1256" y="80"/>
                </a:lnTo>
                <a:lnTo>
                  <a:pt x="1268" y="79"/>
                </a:lnTo>
                <a:lnTo>
                  <a:pt x="1280" y="79"/>
                </a:lnTo>
                <a:close/>
                <a:moveTo>
                  <a:pt x="2219" y="403"/>
                </a:moveTo>
                <a:lnTo>
                  <a:pt x="2215" y="400"/>
                </a:lnTo>
                <a:lnTo>
                  <a:pt x="2209" y="399"/>
                </a:lnTo>
                <a:lnTo>
                  <a:pt x="2205" y="398"/>
                </a:lnTo>
                <a:lnTo>
                  <a:pt x="2199" y="398"/>
                </a:lnTo>
                <a:lnTo>
                  <a:pt x="2195" y="398"/>
                </a:lnTo>
                <a:lnTo>
                  <a:pt x="2189" y="399"/>
                </a:lnTo>
                <a:lnTo>
                  <a:pt x="2185" y="402"/>
                </a:lnTo>
                <a:lnTo>
                  <a:pt x="2179" y="404"/>
                </a:lnTo>
                <a:lnTo>
                  <a:pt x="1759" y="652"/>
                </a:lnTo>
                <a:lnTo>
                  <a:pt x="1759" y="359"/>
                </a:lnTo>
                <a:lnTo>
                  <a:pt x="1759" y="351"/>
                </a:lnTo>
                <a:lnTo>
                  <a:pt x="1757" y="343"/>
                </a:lnTo>
                <a:lnTo>
                  <a:pt x="1753" y="337"/>
                </a:lnTo>
                <a:lnTo>
                  <a:pt x="1748" y="331"/>
                </a:lnTo>
                <a:lnTo>
                  <a:pt x="1743" y="325"/>
                </a:lnTo>
                <a:lnTo>
                  <a:pt x="1736" y="322"/>
                </a:lnTo>
                <a:lnTo>
                  <a:pt x="1728" y="320"/>
                </a:lnTo>
                <a:lnTo>
                  <a:pt x="1720" y="319"/>
                </a:lnTo>
                <a:lnTo>
                  <a:pt x="1601" y="319"/>
                </a:lnTo>
                <a:lnTo>
                  <a:pt x="1599" y="303"/>
                </a:lnTo>
                <a:lnTo>
                  <a:pt x="1598" y="286"/>
                </a:lnTo>
                <a:lnTo>
                  <a:pt x="1596" y="271"/>
                </a:lnTo>
                <a:lnTo>
                  <a:pt x="1594" y="255"/>
                </a:lnTo>
                <a:lnTo>
                  <a:pt x="1590" y="239"/>
                </a:lnTo>
                <a:lnTo>
                  <a:pt x="1586" y="224"/>
                </a:lnTo>
                <a:lnTo>
                  <a:pt x="1580" y="209"/>
                </a:lnTo>
                <a:lnTo>
                  <a:pt x="1575" y="194"/>
                </a:lnTo>
                <a:lnTo>
                  <a:pt x="1568" y="181"/>
                </a:lnTo>
                <a:lnTo>
                  <a:pt x="1561" y="167"/>
                </a:lnTo>
                <a:lnTo>
                  <a:pt x="1554" y="153"/>
                </a:lnTo>
                <a:lnTo>
                  <a:pt x="1546" y="141"/>
                </a:lnTo>
                <a:lnTo>
                  <a:pt x="1537" y="127"/>
                </a:lnTo>
                <a:lnTo>
                  <a:pt x="1527" y="116"/>
                </a:lnTo>
                <a:lnTo>
                  <a:pt x="1517" y="104"/>
                </a:lnTo>
                <a:lnTo>
                  <a:pt x="1507" y="93"/>
                </a:lnTo>
                <a:lnTo>
                  <a:pt x="1495" y="83"/>
                </a:lnTo>
                <a:lnTo>
                  <a:pt x="1483" y="72"/>
                </a:lnTo>
                <a:lnTo>
                  <a:pt x="1472" y="62"/>
                </a:lnTo>
                <a:lnTo>
                  <a:pt x="1458" y="53"/>
                </a:lnTo>
                <a:lnTo>
                  <a:pt x="1446" y="46"/>
                </a:lnTo>
                <a:lnTo>
                  <a:pt x="1433" y="38"/>
                </a:lnTo>
                <a:lnTo>
                  <a:pt x="1419" y="31"/>
                </a:lnTo>
                <a:lnTo>
                  <a:pt x="1405" y="24"/>
                </a:lnTo>
                <a:lnTo>
                  <a:pt x="1390" y="19"/>
                </a:lnTo>
                <a:lnTo>
                  <a:pt x="1376" y="13"/>
                </a:lnTo>
                <a:lnTo>
                  <a:pt x="1360" y="10"/>
                </a:lnTo>
                <a:lnTo>
                  <a:pt x="1344" y="5"/>
                </a:lnTo>
                <a:lnTo>
                  <a:pt x="1329" y="3"/>
                </a:lnTo>
                <a:lnTo>
                  <a:pt x="1313" y="1"/>
                </a:lnTo>
                <a:lnTo>
                  <a:pt x="1296" y="0"/>
                </a:lnTo>
                <a:lnTo>
                  <a:pt x="1280" y="0"/>
                </a:lnTo>
                <a:lnTo>
                  <a:pt x="1264" y="0"/>
                </a:lnTo>
                <a:lnTo>
                  <a:pt x="1248" y="1"/>
                </a:lnTo>
                <a:lnTo>
                  <a:pt x="1231" y="3"/>
                </a:lnTo>
                <a:lnTo>
                  <a:pt x="1216" y="5"/>
                </a:lnTo>
                <a:lnTo>
                  <a:pt x="1200" y="10"/>
                </a:lnTo>
                <a:lnTo>
                  <a:pt x="1185" y="13"/>
                </a:lnTo>
                <a:lnTo>
                  <a:pt x="1171" y="19"/>
                </a:lnTo>
                <a:lnTo>
                  <a:pt x="1156" y="24"/>
                </a:lnTo>
                <a:lnTo>
                  <a:pt x="1142" y="31"/>
                </a:lnTo>
                <a:lnTo>
                  <a:pt x="1128" y="38"/>
                </a:lnTo>
                <a:lnTo>
                  <a:pt x="1115" y="46"/>
                </a:lnTo>
                <a:lnTo>
                  <a:pt x="1101" y="53"/>
                </a:lnTo>
                <a:lnTo>
                  <a:pt x="1089" y="62"/>
                </a:lnTo>
                <a:lnTo>
                  <a:pt x="1077" y="72"/>
                </a:lnTo>
                <a:lnTo>
                  <a:pt x="1066" y="83"/>
                </a:lnTo>
                <a:lnTo>
                  <a:pt x="1054" y="93"/>
                </a:lnTo>
                <a:lnTo>
                  <a:pt x="1043" y="104"/>
                </a:lnTo>
                <a:lnTo>
                  <a:pt x="1033" y="116"/>
                </a:lnTo>
                <a:lnTo>
                  <a:pt x="1024" y="127"/>
                </a:lnTo>
                <a:lnTo>
                  <a:pt x="1015" y="141"/>
                </a:lnTo>
                <a:lnTo>
                  <a:pt x="1006" y="153"/>
                </a:lnTo>
                <a:lnTo>
                  <a:pt x="998" y="167"/>
                </a:lnTo>
                <a:lnTo>
                  <a:pt x="992" y="181"/>
                </a:lnTo>
                <a:lnTo>
                  <a:pt x="985" y="194"/>
                </a:lnTo>
                <a:lnTo>
                  <a:pt x="979" y="209"/>
                </a:lnTo>
                <a:lnTo>
                  <a:pt x="975" y="224"/>
                </a:lnTo>
                <a:lnTo>
                  <a:pt x="970" y="239"/>
                </a:lnTo>
                <a:lnTo>
                  <a:pt x="967" y="255"/>
                </a:lnTo>
                <a:lnTo>
                  <a:pt x="964" y="271"/>
                </a:lnTo>
                <a:lnTo>
                  <a:pt x="962" y="286"/>
                </a:lnTo>
                <a:lnTo>
                  <a:pt x="960" y="303"/>
                </a:lnTo>
                <a:lnTo>
                  <a:pt x="960" y="319"/>
                </a:lnTo>
                <a:lnTo>
                  <a:pt x="880" y="319"/>
                </a:lnTo>
                <a:lnTo>
                  <a:pt x="880" y="303"/>
                </a:lnTo>
                <a:lnTo>
                  <a:pt x="879" y="286"/>
                </a:lnTo>
                <a:lnTo>
                  <a:pt x="876" y="271"/>
                </a:lnTo>
                <a:lnTo>
                  <a:pt x="874" y="255"/>
                </a:lnTo>
                <a:lnTo>
                  <a:pt x="870" y="239"/>
                </a:lnTo>
                <a:lnTo>
                  <a:pt x="866" y="224"/>
                </a:lnTo>
                <a:lnTo>
                  <a:pt x="861" y="209"/>
                </a:lnTo>
                <a:lnTo>
                  <a:pt x="855" y="194"/>
                </a:lnTo>
                <a:lnTo>
                  <a:pt x="848" y="181"/>
                </a:lnTo>
                <a:lnTo>
                  <a:pt x="842" y="167"/>
                </a:lnTo>
                <a:lnTo>
                  <a:pt x="834" y="153"/>
                </a:lnTo>
                <a:lnTo>
                  <a:pt x="826" y="141"/>
                </a:lnTo>
                <a:lnTo>
                  <a:pt x="817" y="127"/>
                </a:lnTo>
                <a:lnTo>
                  <a:pt x="807" y="116"/>
                </a:lnTo>
                <a:lnTo>
                  <a:pt x="797" y="104"/>
                </a:lnTo>
                <a:lnTo>
                  <a:pt x="787" y="93"/>
                </a:lnTo>
                <a:lnTo>
                  <a:pt x="776" y="83"/>
                </a:lnTo>
                <a:lnTo>
                  <a:pt x="763" y="72"/>
                </a:lnTo>
                <a:lnTo>
                  <a:pt x="752" y="62"/>
                </a:lnTo>
                <a:lnTo>
                  <a:pt x="739" y="53"/>
                </a:lnTo>
                <a:lnTo>
                  <a:pt x="726" y="46"/>
                </a:lnTo>
                <a:lnTo>
                  <a:pt x="713" y="38"/>
                </a:lnTo>
                <a:lnTo>
                  <a:pt x="699" y="31"/>
                </a:lnTo>
                <a:lnTo>
                  <a:pt x="685" y="24"/>
                </a:lnTo>
                <a:lnTo>
                  <a:pt x="671" y="19"/>
                </a:lnTo>
                <a:lnTo>
                  <a:pt x="655" y="13"/>
                </a:lnTo>
                <a:lnTo>
                  <a:pt x="640" y="10"/>
                </a:lnTo>
                <a:lnTo>
                  <a:pt x="625" y="5"/>
                </a:lnTo>
                <a:lnTo>
                  <a:pt x="609" y="3"/>
                </a:lnTo>
                <a:lnTo>
                  <a:pt x="593" y="1"/>
                </a:lnTo>
                <a:lnTo>
                  <a:pt x="577" y="0"/>
                </a:lnTo>
                <a:lnTo>
                  <a:pt x="561" y="0"/>
                </a:lnTo>
                <a:lnTo>
                  <a:pt x="544" y="0"/>
                </a:lnTo>
                <a:lnTo>
                  <a:pt x="527" y="1"/>
                </a:lnTo>
                <a:lnTo>
                  <a:pt x="512" y="3"/>
                </a:lnTo>
                <a:lnTo>
                  <a:pt x="496" y="5"/>
                </a:lnTo>
                <a:lnTo>
                  <a:pt x="480" y="10"/>
                </a:lnTo>
                <a:lnTo>
                  <a:pt x="466" y="13"/>
                </a:lnTo>
                <a:lnTo>
                  <a:pt x="450" y="19"/>
                </a:lnTo>
                <a:lnTo>
                  <a:pt x="436" y="24"/>
                </a:lnTo>
                <a:lnTo>
                  <a:pt x="422" y="31"/>
                </a:lnTo>
                <a:lnTo>
                  <a:pt x="408" y="38"/>
                </a:lnTo>
                <a:lnTo>
                  <a:pt x="394" y="46"/>
                </a:lnTo>
                <a:lnTo>
                  <a:pt x="382" y="53"/>
                </a:lnTo>
                <a:lnTo>
                  <a:pt x="370" y="62"/>
                </a:lnTo>
                <a:lnTo>
                  <a:pt x="357" y="72"/>
                </a:lnTo>
                <a:lnTo>
                  <a:pt x="346" y="83"/>
                </a:lnTo>
                <a:lnTo>
                  <a:pt x="335" y="93"/>
                </a:lnTo>
                <a:lnTo>
                  <a:pt x="324" y="104"/>
                </a:lnTo>
                <a:lnTo>
                  <a:pt x="314" y="116"/>
                </a:lnTo>
                <a:lnTo>
                  <a:pt x="305" y="127"/>
                </a:lnTo>
                <a:lnTo>
                  <a:pt x="296" y="141"/>
                </a:lnTo>
                <a:lnTo>
                  <a:pt x="287" y="153"/>
                </a:lnTo>
                <a:lnTo>
                  <a:pt x="279" y="167"/>
                </a:lnTo>
                <a:lnTo>
                  <a:pt x="272" y="181"/>
                </a:lnTo>
                <a:lnTo>
                  <a:pt x="265" y="194"/>
                </a:lnTo>
                <a:lnTo>
                  <a:pt x="260" y="209"/>
                </a:lnTo>
                <a:lnTo>
                  <a:pt x="255" y="224"/>
                </a:lnTo>
                <a:lnTo>
                  <a:pt x="251" y="239"/>
                </a:lnTo>
                <a:lnTo>
                  <a:pt x="248" y="255"/>
                </a:lnTo>
                <a:lnTo>
                  <a:pt x="244" y="271"/>
                </a:lnTo>
                <a:lnTo>
                  <a:pt x="242" y="286"/>
                </a:lnTo>
                <a:lnTo>
                  <a:pt x="241" y="303"/>
                </a:lnTo>
                <a:lnTo>
                  <a:pt x="241" y="319"/>
                </a:lnTo>
                <a:lnTo>
                  <a:pt x="40" y="319"/>
                </a:lnTo>
                <a:lnTo>
                  <a:pt x="33" y="320"/>
                </a:lnTo>
                <a:lnTo>
                  <a:pt x="25" y="322"/>
                </a:lnTo>
                <a:lnTo>
                  <a:pt x="18" y="325"/>
                </a:lnTo>
                <a:lnTo>
                  <a:pt x="13" y="331"/>
                </a:lnTo>
                <a:lnTo>
                  <a:pt x="7" y="337"/>
                </a:lnTo>
                <a:lnTo>
                  <a:pt x="4" y="343"/>
                </a:lnTo>
                <a:lnTo>
                  <a:pt x="1" y="351"/>
                </a:lnTo>
                <a:lnTo>
                  <a:pt x="0" y="359"/>
                </a:lnTo>
                <a:lnTo>
                  <a:pt x="0" y="1559"/>
                </a:lnTo>
                <a:lnTo>
                  <a:pt x="1" y="1567"/>
                </a:lnTo>
                <a:lnTo>
                  <a:pt x="4" y="1575"/>
                </a:lnTo>
                <a:lnTo>
                  <a:pt x="7" y="1581"/>
                </a:lnTo>
                <a:lnTo>
                  <a:pt x="13" y="1587"/>
                </a:lnTo>
                <a:lnTo>
                  <a:pt x="18" y="1593"/>
                </a:lnTo>
                <a:lnTo>
                  <a:pt x="25" y="1596"/>
                </a:lnTo>
                <a:lnTo>
                  <a:pt x="33" y="1598"/>
                </a:lnTo>
                <a:lnTo>
                  <a:pt x="40" y="1599"/>
                </a:lnTo>
                <a:lnTo>
                  <a:pt x="1720" y="1599"/>
                </a:lnTo>
                <a:lnTo>
                  <a:pt x="1728" y="1598"/>
                </a:lnTo>
                <a:lnTo>
                  <a:pt x="1736" y="1596"/>
                </a:lnTo>
                <a:lnTo>
                  <a:pt x="1743" y="1593"/>
                </a:lnTo>
                <a:lnTo>
                  <a:pt x="1748" y="1587"/>
                </a:lnTo>
                <a:lnTo>
                  <a:pt x="1753" y="1581"/>
                </a:lnTo>
                <a:lnTo>
                  <a:pt x="1757" y="1575"/>
                </a:lnTo>
                <a:lnTo>
                  <a:pt x="1759" y="1567"/>
                </a:lnTo>
                <a:lnTo>
                  <a:pt x="1759" y="1559"/>
                </a:lnTo>
                <a:lnTo>
                  <a:pt x="1759" y="1265"/>
                </a:lnTo>
                <a:lnTo>
                  <a:pt x="2179" y="1512"/>
                </a:lnTo>
                <a:lnTo>
                  <a:pt x="2185" y="1514"/>
                </a:lnTo>
                <a:lnTo>
                  <a:pt x="2189" y="1516"/>
                </a:lnTo>
                <a:lnTo>
                  <a:pt x="2195" y="1518"/>
                </a:lnTo>
                <a:lnTo>
                  <a:pt x="2199" y="1518"/>
                </a:lnTo>
                <a:lnTo>
                  <a:pt x="2205" y="1518"/>
                </a:lnTo>
                <a:lnTo>
                  <a:pt x="2210" y="1516"/>
                </a:lnTo>
                <a:lnTo>
                  <a:pt x="2215" y="1515"/>
                </a:lnTo>
                <a:lnTo>
                  <a:pt x="2219" y="1513"/>
                </a:lnTo>
                <a:lnTo>
                  <a:pt x="2224" y="1510"/>
                </a:lnTo>
                <a:lnTo>
                  <a:pt x="2228" y="1506"/>
                </a:lnTo>
                <a:lnTo>
                  <a:pt x="2232" y="1502"/>
                </a:lnTo>
                <a:lnTo>
                  <a:pt x="2234" y="1497"/>
                </a:lnTo>
                <a:lnTo>
                  <a:pt x="2236" y="1493"/>
                </a:lnTo>
                <a:lnTo>
                  <a:pt x="2238" y="1488"/>
                </a:lnTo>
                <a:lnTo>
                  <a:pt x="2240" y="1483"/>
                </a:lnTo>
                <a:lnTo>
                  <a:pt x="2240" y="1478"/>
                </a:lnTo>
                <a:lnTo>
                  <a:pt x="2240" y="437"/>
                </a:lnTo>
                <a:lnTo>
                  <a:pt x="2240" y="433"/>
                </a:lnTo>
                <a:lnTo>
                  <a:pt x="2238" y="427"/>
                </a:lnTo>
                <a:lnTo>
                  <a:pt x="2236" y="423"/>
                </a:lnTo>
                <a:lnTo>
                  <a:pt x="2234" y="418"/>
                </a:lnTo>
                <a:lnTo>
                  <a:pt x="2232" y="414"/>
                </a:lnTo>
                <a:lnTo>
                  <a:pt x="2228" y="409"/>
                </a:lnTo>
                <a:lnTo>
                  <a:pt x="2224" y="406"/>
                </a:lnTo>
                <a:lnTo>
                  <a:pt x="2219" y="40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1117" name="Group 55">
            <a:extLst>
              <a:ext uri="{FF2B5EF4-FFF2-40B4-BE49-F238E27FC236}">
                <a16:creationId xmlns:a16="http://schemas.microsoft.com/office/drawing/2014/main" id="{04FC99F4-7951-4AEE-978F-FE19168841DB}"/>
              </a:ext>
            </a:extLst>
          </p:cNvPr>
          <p:cNvGrpSpPr>
            <a:grpSpLocks noChangeAspect="1"/>
          </p:cNvGrpSpPr>
          <p:nvPr/>
        </p:nvGrpSpPr>
        <p:grpSpPr>
          <a:xfrm>
            <a:off x="284400" y="2186361"/>
            <a:ext cx="300651" cy="285619"/>
            <a:chOff x="11601450" y="1368425"/>
            <a:chExt cx="285750" cy="271463"/>
          </a:xfrm>
          <a:solidFill>
            <a:schemeClr val="bg2"/>
          </a:solidFill>
          <a:effectLst/>
        </p:grpSpPr>
        <p:sp>
          <p:nvSpPr>
            <p:cNvPr id="1118" name="Freeform 175">
              <a:extLst>
                <a:ext uri="{FF2B5EF4-FFF2-40B4-BE49-F238E27FC236}">
                  <a16:creationId xmlns:a16="http://schemas.microsoft.com/office/drawing/2014/main" id="{F62EEA3D-F217-4A43-AACA-5FAA9FBC8702}"/>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19" name="Freeform 176">
              <a:extLst>
                <a:ext uri="{FF2B5EF4-FFF2-40B4-BE49-F238E27FC236}">
                  <a16:creationId xmlns:a16="http://schemas.microsoft.com/office/drawing/2014/main" id="{C44AD95D-7C01-4A13-A699-449CD6AEDDBE}"/>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0" name="Freeform 177">
              <a:extLst>
                <a:ext uri="{FF2B5EF4-FFF2-40B4-BE49-F238E27FC236}">
                  <a16:creationId xmlns:a16="http://schemas.microsoft.com/office/drawing/2014/main" id="{47DE5A96-9342-4E81-91F5-6B812ABE5C22}"/>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1" name="Freeform 178">
              <a:extLst>
                <a:ext uri="{FF2B5EF4-FFF2-40B4-BE49-F238E27FC236}">
                  <a16:creationId xmlns:a16="http://schemas.microsoft.com/office/drawing/2014/main" id="{EA22B6D0-2C9A-478C-94A2-7555C3579370}"/>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2" name="Freeform 179">
              <a:extLst>
                <a:ext uri="{FF2B5EF4-FFF2-40B4-BE49-F238E27FC236}">
                  <a16:creationId xmlns:a16="http://schemas.microsoft.com/office/drawing/2014/main" id="{4F8F0FCB-0349-49D0-9E30-5E3224587614}"/>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1123" name="Freeform 192">
            <a:extLst>
              <a:ext uri="{FF2B5EF4-FFF2-40B4-BE49-F238E27FC236}">
                <a16:creationId xmlns:a16="http://schemas.microsoft.com/office/drawing/2014/main" id="{561E614D-EE70-4216-BAEF-3ACD320B48B5}"/>
              </a:ext>
            </a:extLst>
          </p:cNvPr>
          <p:cNvSpPr>
            <a:spLocks noChangeAspect="1" noEditPoints="1"/>
          </p:cNvSpPr>
          <p:nvPr/>
        </p:nvSpPr>
        <p:spPr bwMode="auto">
          <a:xfrm>
            <a:off x="670496" y="2199754"/>
            <a:ext cx="287207" cy="285619"/>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nvGrpSpPr>
          <p:cNvPr id="1130" name="Group 35">
            <a:extLst>
              <a:ext uri="{FF2B5EF4-FFF2-40B4-BE49-F238E27FC236}">
                <a16:creationId xmlns:a16="http://schemas.microsoft.com/office/drawing/2014/main" id="{BB57374D-FC54-4F84-B803-4382B7AC1437}"/>
              </a:ext>
            </a:extLst>
          </p:cNvPr>
          <p:cNvGrpSpPr>
            <a:grpSpLocks noChangeAspect="1"/>
          </p:cNvGrpSpPr>
          <p:nvPr/>
        </p:nvGrpSpPr>
        <p:grpSpPr>
          <a:xfrm>
            <a:off x="1119332" y="2199754"/>
            <a:ext cx="199933" cy="285619"/>
            <a:chOff x="7639050" y="1354138"/>
            <a:chExt cx="200025" cy="285750"/>
          </a:xfrm>
          <a:solidFill>
            <a:schemeClr val="bg2"/>
          </a:solidFill>
          <a:effectLst/>
        </p:grpSpPr>
        <p:sp>
          <p:nvSpPr>
            <p:cNvPr id="1131" name="Freeform 193">
              <a:extLst>
                <a:ext uri="{FF2B5EF4-FFF2-40B4-BE49-F238E27FC236}">
                  <a16:creationId xmlns:a16="http://schemas.microsoft.com/office/drawing/2014/main" id="{31E2413C-A901-4617-BB64-9EDF685D9C85}"/>
                </a:ext>
              </a:extLst>
            </p:cNvPr>
            <p:cNvSpPr>
              <a:spLocks noEditPoints="1"/>
            </p:cNvSpPr>
            <p:nvPr/>
          </p:nvSpPr>
          <p:spPr bwMode="auto">
            <a:xfrm>
              <a:off x="7639050" y="1458913"/>
              <a:ext cx="200025" cy="180975"/>
            </a:xfrm>
            <a:custGeom>
              <a:avLst/>
              <a:gdLst>
                <a:gd name="T0" fmla="*/ 250 w 631"/>
                <a:gd name="T1" fmla="*/ 537 h 572"/>
                <a:gd name="T2" fmla="*/ 179 w 631"/>
                <a:gd name="T3" fmla="*/ 524 h 572"/>
                <a:gd name="T4" fmla="*/ 142 w 631"/>
                <a:gd name="T5" fmla="*/ 510 h 572"/>
                <a:gd name="T6" fmla="*/ 111 w 631"/>
                <a:gd name="T7" fmla="*/ 494 h 572"/>
                <a:gd name="T8" fmla="*/ 86 w 631"/>
                <a:gd name="T9" fmla="*/ 474 h 572"/>
                <a:gd name="T10" fmla="*/ 64 w 631"/>
                <a:gd name="T11" fmla="*/ 449 h 572"/>
                <a:gd name="T12" fmla="*/ 48 w 631"/>
                <a:gd name="T13" fmla="*/ 422 h 572"/>
                <a:gd name="T14" fmla="*/ 38 w 631"/>
                <a:gd name="T15" fmla="*/ 391 h 572"/>
                <a:gd name="T16" fmla="*/ 31 w 631"/>
                <a:gd name="T17" fmla="*/ 356 h 572"/>
                <a:gd name="T18" fmla="*/ 31 w 631"/>
                <a:gd name="T19" fmla="*/ 313 h 572"/>
                <a:gd name="T20" fmla="*/ 47 w 631"/>
                <a:gd name="T21" fmla="*/ 256 h 572"/>
                <a:gd name="T22" fmla="*/ 78 w 631"/>
                <a:gd name="T23" fmla="*/ 192 h 572"/>
                <a:gd name="T24" fmla="*/ 120 w 631"/>
                <a:gd name="T25" fmla="*/ 129 h 572"/>
                <a:gd name="T26" fmla="*/ 167 w 631"/>
                <a:gd name="T27" fmla="*/ 73 h 572"/>
                <a:gd name="T28" fmla="*/ 215 w 631"/>
                <a:gd name="T29" fmla="*/ 31 h 572"/>
                <a:gd name="T30" fmla="*/ 448 w 631"/>
                <a:gd name="T31" fmla="*/ 57 h 572"/>
                <a:gd name="T32" fmla="*/ 496 w 631"/>
                <a:gd name="T33" fmla="*/ 110 h 572"/>
                <a:gd name="T34" fmla="*/ 540 w 631"/>
                <a:gd name="T35" fmla="*/ 171 h 572"/>
                <a:gd name="T36" fmla="*/ 575 w 631"/>
                <a:gd name="T37" fmla="*/ 234 h 572"/>
                <a:gd name="T38" fmla="*/ 597 w 631"/>
                <a:gd name="T39" fmla="*/ 295 h 572"/>
                <a:gd name="T40" fmla="*/ 601 w 631"/>
                <a:gd name="T41" fmla="*/ 343 h 572"/>
                <a:gd name="T42" fmla="*/ 597 w 631"/>
                <a:gd name="T43" fmla="*/ 380 h 572"/>
                <a:gd name="T44" fmla="*/ 587 w 631"/>
                <a:gd name="T45" fmla="*/ 412 h 572"/>
                <a:gd name="T46" fmla="*/ 572 w 631"/>
                <a:gd name="T47" fmla="*/ 441 h 572"/>
                <a:gd name="T48" fmla="*/ 553 w 631"/>
                <a:gd name="T49" fmla="*/ 465 h 572"/>
                <a:gd name="T50" fmla="*/ 528 w 631"/>
                <a:gd name="T51" fmla="*/ 488 h 572"/>
                <a:gd name="T52" fmla="*/ 499 w 631"/>
                <a:gd name="T53" fmla="*/ 506 h 572"/>
                <a:gd name="T54" fmla="*/ 465 w 631"/>
                <a:gd name="T55" fmla="*/ 520 h 572"/>
                <a:gd name="T56" fmla="*/ 411 w 631"/>
                <a:gd name="T57" fmla="*/ 534 h 572"/>
                <a:gd name="T58" fmla="*/ 316 w 631"/>
                <a:gd name="T59" fmla="*/ 542 h 572"/>
                <a:gd name="T60" fmla="*/ 421 w 631"/>
                <a:gd name="T61" fmla="*/ 0 h 572"/>
                <a:gd name="T62" fmla="*/ 201 w 631"/>
                <a:gd name="T63" fmla="*/ 3 h 572"/>
                <a:gd name="T64" fmla="*/ 153 w 631"/>
                <a:gd name="T65" fmla="*/ 46 h 572"/>
                <a:gd name="T66" fmla="*/ 103 w 631"/>
                <a:gd name="T67" fmla="*/ 103 h 572"/>
                <a:gd name="T68" fmla="*/ 56 w 631"/>
                <a:gd name="T69" fmla="*/ 171 h 572"/>
                <a:gd name="T70" fmla="*/ 20 w 631"/>
                <a:gd name="T71" fmla="*/ 242 h 572"/>
                <a:gd name="T72" fmla="*/ 3 w 631"/>
                <a:gd name="T73" fmla="*/ 298 h 572"/>
                <a:gd name="T74" fmla="*/ 0 w 631"/>
                <a:gd name="T75" fmla="*/ 331 h 572"/>
                <a:gd name="T76" fmla="*/ 5 w 631"/>
                <a:gd name="T77" fmla="*/ 386 h 572"/>
                <a:gd name="T78" fmla="*/ 18 w 631"/>
                <a:gd name="T79" fmla="*/ 426 h 572"/>
                <a:gd name="T80" fmla="*/ 33 w 631"/>
                <a:gd name="T81" fmla="*/ 456 h 572"/>
                <a:gd name="T82" fmla="*/ 55 w 631"/>
                <a:gd name="T83" fmla="*/ 485 h 572"/>
                <a:gd name="T84" fmla="*/ 84 w 631"/>
                <a:gd name="T85" fmla="*/ 510 h 572"/>
                <a:gd name="T86" fmla="*/ 121 w 631"/>
                <a:gd name="T87" fmla="*/ 534 h 572"/>
                <a:gd name="T88" fmla="*/ 167 w 631"/>
                <a:gd name="T89" fmla="*/ 552 h 572"/>
                <a:gd name="T90" fmla="*/ 223 w 631"/>
                <a:gd name="T91" fmla="*/ 565 h 572"/>
                <a:gd name="T92" fmla="*/ 290 w 631"/>
                <a:gd name="T93" fmla="*/ 570 h 572"/>
                <a:gd name="T94" fmla="*/ 364 w 631"/>
                <a:gd name="T95" fmla="*/ 569 h 572"/>
                <a:gd name="T96" fmla="*/ 427 w 631"/>
                <a:gd name="T97" fmla="*/ 561 h 572"/>
                <a:gd name="T98" fmla="*/ 481 w 631"/>
                <a:gd name="T99" fmla="*/ 546 h 572"/>
                <a:gd name="T100" fmla="*/ 524 w 631"/>
                <a:gd name="T101" fmla="*/ 527 h 572"/>
                <a:gd name="T102" fmla="*/ 558 w 631"/>
                <a:gd name="T103" fmla="*/ 502 h 572"/>
                <a:gd name="T104" fmla="*/ 584 w 631"/>
                <a:gd name="T105" fmla="*/ 475 h 572"/>
                <a:gd name="T106" fmla="*/ 604 w 631"/>
                <a:gd name="T107" fmla="*/ 446 h 572"/>
                <a:gd name="T108" fmla="*/ 617 w 631"/>
                <a:gd name="T109" fmla="*/ 416 h 572"/>
                <a:gd name="T110" fmla="*/ 629 w 631"/>
                <a:gd name="T111" fmla="*/ 367 h 572"/>
                <a:gd name="T112" fmla="*/ 631 w 631"/>
                <a:gd name="T113" fmla="*/ 320 h 572"/>
                <a:gd name="T114" fmla="*/ 626 w 631"/>
                <a:gd name="T115" fmla="*/ 288 h 572"/>
                <a:gd name="T116" fmla="*/ 601 w 631"/>
                <a:gd name="T117" fmla="*/ 218 h 572"/>
                <a:gd name="T118" fmla="*/ 560 w 631"/>
                <a:gd name="T119" fmla="*/ 147 h 572"/>
                <a:gd name="T120" fmla="*/ 512 w 631"/>
                <a:gd name="T121" fmla="*/ 82 h 572"/>
                <a:gd name="T122" fmla="*/ 462 w 631"/>
                <a:gd name="T123" fmla="*/ 3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1" h="572">
                  <a:moveTo>
                    <a:pt x="316" y="542"/>
                  </a:moveTo>
                  <a:lnTo>
                    <a:pt x="282" y="540"/>
                  </a:lnTo>
                  <a:lnTo>
                    <a:pt x="250" y="537"/>
                  </a:lnTo>
                  <a:lnTo>
                    <a:pt x="220" y="534"/>
                  </a:lnTo>
                  <a:lnTo>
                    <a:pt x="192" y="528"/>
                  </a:lnTo>
                  <a:lnTo>
                    <a:pt x="179" y="524"/>
                  </a:lnTo>
                  <a:lnTo>
                    <a:pt x="166" y="520"/>
                  </a:lnTo>
                  <a:lnTo>
                    <a:pt x="154" y="516"/>
                  </a:lnTo>
                  <a:lnTo>
                    <a:pt x="142" y="510"/>
                  </a:lnTo>
                  <a:lnTo>
                    <a:pt x="132" y="506"/>
                  </a:lnTo>
                  <a:lnTo>
                    <a:pt x="122" y="500"/>
                  </a:lnTo>
                  <a:lnTo>
                    <a:pt x="111" y="494"/>
                  </a:lnTo>
                  <a:lnTo>
                    <a:pt x="103" y="488"/>
                  </a:lnTo>
                  <a:lnTo>
                    <a:pt x="94" y="480"/>
                  </a:lnTo>
                  <a:lnTo>
                    <a:pt x="86" y="474"/>
                  </a:lnTo>
                  <a:lnTo>
                    <a:pt x="78" y="465"/>
                  </a:lnTo>
                  <a:lnTo>
                    <a:pt x="71" y="458"/>
                  </a:lnTo>
                  <a:lnTo>
                    <a:pt x="64" y="449"/>
                  </a:lnTo>
                  <a:lnTo>
                    <a:pt x="59" y="441"/>
                  </a:lnTo>
                  <a:lnTo>
                    <a:pt x="54" y="431"/>
                  </a:lnTo>
                  <a:lnTo>
                    <a:pt x="48" y="422"/>
                  </a:lnTo>
                  <a:lnTo>
                    <a:pt x="44" y="412"/>
                  </a:lnTo>
                  <a:lnTo>
                    <a:pt x="41" y="401"/>
                  </a:lnTo>
                  <a:lnTo>
                    <a:pt x="38" y="391"/>
                  </a:lnTo>
                  <a:lnTo>
                    <a:pt x="34" y="380"/>
                  </a:lnTo>
                  <a:lnTo>
                    <a:pt x="32" y="368"/>
                  </a:lnTo>
                  <a:lnTo>
                    <a:pt x="31" y="356"/>
                  </a:lnTo>
                  <a:lnTo>
                    <a:pt x="30" y="343"/>
                  </a:lnTo>
                  <a:lnTo>
                    <a:pt x="30" y="331"/>
                  </a:lnTo>
                  <a:lnTo>
                    <a:pt x="31" y="313"/>
                  </a:lnTo>
                  <a:lnTo>
                    <a:pt x="34" y="295"/>
                  </a:lnTo>
                  <a:lnTo>
                    <a:pt x="40" y="276"/>
                  </a:lnTo>
                  <a:lnTo>
                    <a:pt x="47" y="256"/>
                  </a:lnTo>
                  <a:lnTo>
                    <a:pt x="56" y="234"/>
                  </a:lnTo>
                  <a:lnTo>
                    <a:pt x="66" y="214"/>
                  </a:lnTo>
                  <a:lnTo>
                    <a:pt x="78" y="192"/>
                  </a:lnTo>
                  <a:lnTo>
                    <a:pt x="91" y="171"/>
                  </a:lnTo>
                  <a:lnTo>
                    <a:pt x="105" y="149"/>
                  </a:lnTo>
                  <a:lnTo>
                    <a:pt x="120" y="129"/>
                  </a:lnTo>
                  <a:lnTo>
                    <a:pt x="135" y="110"/>
                  </a:lnTo>
                  <a:lnTo>
                    <a:pt x="151" y="92"/>
                  </a:lnTo>
                  <a:lnTo>
                    <a:pt x="167" y="73"/>
                  </a:lnTo>
                  <a:lnTo>
                    <a:pt x="183" y="57"/>
                  </a:lnTo>
                  <a:lnTo>
                    <a:pt x="199" y="42"/>
                  </a:lnTo>
                  <a:lnTo>
                    <a:pt x="215" y="31"/>
                  </a:lnTo>
                  <a:lnTo>
                    <a:pt x="416" y="30"/>
                  </a:lnTo>
                  <a:lnTo>
                    <a:pt x="432" y="42"/>
                  </a:lnTo>
                  <a:lnTo>
                    <a:pt x="448" y="57"/>
                  </a:lnTo>
                  <a:lnTo>
                    <a:pt x="464" y="73"/>
                  </a:lnTo>
                  <a:lnTo>
                    <a:pt x="480" y="92"/>
                  </a:lnTo>
                  <a:lnTo>
                    <a:pt x="496" y="110"/>
                  </a:lnTo>
                  <a:lnTo>
                    <a:pt x="512" y="129"/>
                  </a:lnTo>
                  <a:lnTo>
                    <a:pt x="526" y="149"/>
                  </a:lnTo>
                  <a:lnTo>
                    <a:pt x="540" y="171"/>
                  </a:lnTo>
                  <a:lnTo>
                    <a:pt x="553" y="192"/>
                  </a:lnTo>
                  <a:lnTo>
                    <a:pt x="565" y="214"/>
                  </a:lnTo>
                  <a:lnTo>
                    <a:pt x="575" y="234"/>
                  </a:lnTo>
                  <a:lnTo>
                    <a:pt x="584" y="256"/>
                  </a:lnTo>
                  <a:lnTo>
                    <a:pt x="591" y="276"/>
                  </a:lnTo>
                  <a:lnTo>
                    <a:pt x="597" y="295"/>
                  </a:lnTo>
                  <a:lnTo>
                    <a:pt x="600" y="313"/>
                  </a:lnTo>
                  <a:lnTo>
                    <a:pt x="601" y="331"/>
                  </a:lnTo>
                  <a:lnTo>
                    <a:pt x="601" y="343"/>
                  </a:lnTo>
                  <a:lnTo>
                    <a:pt x="600" y="356"/>
                  </a:lnTo>
                  <a:lnTo>
                    <a:pt x="599" y="368"/>
                  </a:lnTo>
                  <a:lnTo>
                    <a:pt x="597" y="380"/>
                  </a:lnTo>
                  <a:lnTo>
                    <a:pt x="593" y="391"/>
                  </a:lnTo>
                  <a:lnTo>
                    <a:pt x="591" y="401"/>
                  </a:lnTo>
                  <a:lnTo>
                    <a:pt x="587" y="412"/>
                  </a:lnTo>
                  <a:lnTo>
                    <a:pt x="583" y="422"/>
                  </a:lnTo>
                  <a:lnTo>
                    <a:pt x="578" y="431"/>
                  </a:lnTo>
                  <a:lnTo>
                    <a:pt x="572" y="441"/>
                  </a:lnTo>
                  <a:lnTo>
                    <a:pt x="567" y="449"/>
                  </a:lnTo>
                  <a:lnTo>
                    <a:pt x="560" y="458"/>
                  </a:lnTo>
                  <a:lnTo>
                    <a:pt x="553" y="465"/>
                  </a:lnTo>
                  <a:lnTo>
                    <a:pt x="545" y="473"/>
                  </a:lnTo>
                  <a:lnTo>
                    <a:pt x="537" y="480"/>
                  </a:lnTo>
                  <a:lnTo>
                    <a:pt x="528" y="488"/>
                  </a:lnTo>
                  <a:lnTo>
                    <a:pt x="520" y="494"/>
                  </a:lnTo>
                  <a:lnTo>
                    <a:pt x="509" y="500"/>
                  </a:lnTo>
                  <a:lnTo>
                    <a:pt x="499" y="506"/>
                  </a:lnTo>
                  <a:lnTo>
                    <a:pt x="489" y="510"/>
                  </a:lnTo>
                  <a:lnTo>
                    <a:pt x="477" y="516"/>
                  </a:lnTo>
                  <a:lnTo>
                    <a:pt x="465" y="520"/>
                  </a:lnTo>
                  <a:lnTo>
                    <a:pt x="452" y="524"/>
                  </a:lnTo>
                  <a:lnTo>
                    <a:pt x="439" y="528"/>
                  </a:lnTo>
                  <a:lnTo>
                    <a:pt x="411" y="534"/>
                  </a:lnTo>
                  <a:lnTo>
                    <a:pt x="381" y="537"/>
                  </a:lnTo>
                  <a:lnTo>
                    <a:pt x="349" y="540"/>
                  </a:lnTo>
                  <a:lnTo>
                    <a:pt x="316" y="542"/>
                  </a:lnTo>
                  <a:close/>
                  <a:moveTo>
                    <a:pt x="430" y="3"/>
                  </a:moveTo>
                  <a:lnTo>
                    <a:pt x="425" y="1"/>
                  </a:lnTo>
                  <a:lnTo>
                    <a:pt x="421" y="0"/>
                  </a:lnTo>
                  <a:lnTo>
                    <a:pt x="210" y="0"/>
                  </a:lnTo>
                  <a:lnTo>
                    <a:pt x="206" y="1"/>
                  </a:lnTo>
                  <a:lnTo>
                    <a:pt x="201" y="3"/>
                  </a:lnTo>
                  <a:lnTo>
                    <a:pt x="186" y="15"/>
                  </a:lnTo>
                  <a:lnTo>
                    <a:pt x="169" y="30"/>
                  </a:lnTo>
                  <a:lnTo>
                    <a:pt x="153" y="46"/>
                  </a:lnTo>
                  <a:lnTo>
                    <a:pt x="136" y="63"/>
                  </a:lnTo>
                  <a:lnTo>
                    <a:pt x="119" y="82"/>
                  </a:lnTo>
                  <a:lnTo>
                    <a:pt x="103" y="103"/>
                  </a:lnTo>
                  <a:lnTo>
                    <a:pt x="86" y="125"/>
                  </a:lnTo>
                  <a:lnTo>
                    <a:pt x="71" y="147"/>
                  </a:lnTo>
                  <a:lnTo>
                    <a:pt x="56" y="171"/>
                  </a:lnTo>
                  <a:lnTo>
                    <a:pt x="43" y="194"/>
                  </a:lnTo>
                  <a:lnTo>
                    <a:pt x="30" y="218"/>
                  </a:lnTo>
                  <a:lnTo>
                    <a:pt x="20" y="242"/>
                  </a:lnTo>
                  <a:lnTo>
                    <a:pt x="12" y="265"/>
                  </a:lnTo>
                  <a:lnTo>
                    <a:pt x="5" y="288"/>
                  </a:lnTo>
                  <a:lnTo>
                    <a:pt x="3" y="298"/>
                  </a:lnTo>
                  <a:lnTo>
                    <a:pt x="1" y="310"/>
                  </a:lnTo>
                  <a:lnTo>
                    <a:pt x="0" y="320"/>
                  </a:lnTo>
                  <a:lnTo>
                    <a:pt x="0" y="331"/>
                  </a:lnTo>
                  <a:lnTo>
                    <a:pt x="0" y="349"/>
                  </a:lnTo>
                  <a:lnTo>
                    <a:pt x="2" y="367"/>
                  </a:lnTo>
                  <a:lnTo>
                    <a:pt x="5" y="386"/>
                  </a:lnTo>
                  <a:lnTo>
                    <a:pt x="11" y="407"/>
                  </a:lnTo>
                  <a:lnTo>
                    <a:pt x="14" y="416"/>
                  </a:lnTo>
                  <a:lnTo>
                    <a:pt x="18" y="426"/>
                  </a:lnTo>
                  <a:lnTo>
                    <a:pt x="23" y="437"/>
                  </a:lnTo>
                  <a:lnTo>
                    <a:pt x="27" y="446"/>
                  </a:lnTo>
                  <a:lnTo>
                    <a:pt x="33" y="456"/>
                  </a:lnTo>
                  <a:lnTo>
                    <a:pt x="40" y="465"/>
                  </a:lnTo>
                  <a:lnTo>
                    <a:pt x="47" y="475"/>
                  </a:lnTo>
                  <a:lnTo>
                    <a:pt x="55" y="485"/>
                  </a:lnTo>
                  <a:lnTo>
                    <a:pt x="63" y="493"/>
                  </a:lnTo>
                  <a:lnTo>
                    <a:pt x="73" y="502"/>
                  </a:lnTo>
                  <a:lnTo>
                    <a:pt x="84" y="510"/>
                  </a:lnTo>
                  <a:lnTo>
                    <a:pt x="95" y="519"/>
                  </a:lnTo>
                  <a:lnTo>
                    <a:pt x="107" y="527"/>
                  </a:lnTo>
                  <a:lnTo>
                    <a:pt x="121" y="534"/>
                  </a:lnTo>
                  <a:lnTo>
                    <a:pt x="135" y="540"/>
                  </a:lnTo>
                  <a:lnTo>
                    <a:pt x="150" y="546"/>
                  </a:lnTo>
                  <a:lnTo>
                    <a:pt x="167" y="552"/>
                  </a:lnTo>
                  <a:lnTo>
                    <a:pt x="184" y="557"/>
                  </a:lnTo>
                  <a:lnTo>
                    <a:pt x="204" y="561"/>
                  </a:lnTo>
                  <a:lnTo>
                    <a:pt x="223" y="565"/>
                  </a:lnTo>
                  <a:lnTo>
                    <a:pt x="244" y="567"/>
                  </a:lnTo>
                  <a:lnTo>
                    <a:pt x="267" y="569"/>
                  </a:lnTo>
                  <a:lnTo>
                    <a:pt x="290" y="570"/>
                  </a:lnTo>
                  <a:lnTo>
                    <a:pt x="316" y="572"/>
                  </a:lnTo>
                  <a:lnTo>
                    <a:pt x="341" y="570"/>
                  </a:lnTo>
                  <a:lnTo>
                    <a:pt x="364" y="569"/>
                  </a:lnTo>
                  <a:lnTo>
                    <a:pt x="387" y="567"/>
                  </a:lnTo>
                  <a:lnTo>
                    <a:pt x="408" y="565"/>
                  </a:lnTo>
                  <a:lnTo>
                    <a:pt x="427" y="561"/>
                  </a:lnTo>
                  <a:lnTo>
                    <a:pt x="447" y="557"/>
                  </a:lnTo>
                  <a:lnTo>
                    <a:pt x="464" y="552"/>
                  </a:lnTo>
                  <a:lnTo>
                    <a:pt x="481" y="546"/>
                  </a:lnTo>
                  <a:lnTo>
                    <a:pt x="496" y="540"/>
                  </a:lnTo>
                  <a:lnTo>
                    <a:pt x="511" y="534"/>
                  </a:lnTo>
                  <a:lnTo>
                    <a:pt x="524" y="527"/>
                  </a:lnTo>
                  <a:lnTo>
                    <a:pt x="536" y="519"/>
                  </a:lnTo>
                  <a:lnTo>
                    <a:pt x="547" y="510"/>
                  </a:lnTo>
                  <a:lnTo>
                    <a:pt x="558" y="502"/>
                  </a:lnTo>
                  <a:lnTo>
                    <a:pt x="568" y="493"/>
                  </a:lnTo>
                  <a:lnTo>
                    <a:pt x="576" y="485"/>
                  </a:lnTo>
                  <a:lnTo>
                    <a:pt x="584" y="475"/>
                  </a:lnTo>
                  <a:lnTo>
                    <a:pt x="591" y="465"/>
                  </a:lnTo>
                  <a:lnTo>
                    <a:pt x="598" y="456"/>
                  </a:lnTo>
                  <a:lnTo>
                    <a:pt x="604" y="446"/>
                  </a:lnTo>
                  <a:lnTo>
                    <a:pt x="608" y="437"/>
                  </a:lnTo>
                  <a:lnTo>
                    <a:pt x="614" y="426"/>
                  </a:lnTo>
                  <a:lnTo>
                    <a:pt x="617" y="416"/>
                  </a:lnTo>
                  <a:lnTo>
                    <a:pt x="620" y="407"/>
                  </a:lnTo>
                  <a:lnTo>
                    <a:pt x="626" y="386"/>
                  </a:lnTo>
                  <a:lnTo>
                    <a:pt x="629" y="367"/>
                  </a:lnTo>
                  <a:lnTo>
                    <a:pt x="631" y="349"/>
                  </a:lnTo>
                  <a:lnTo>
                    <a:pt x="631" y="331"/>
                  </a:lnTo>
                  <a:lnTo>
                    <a:pt x="631" y="320"/>
                  </a:lnTo>
                  <a:lnTo>
                    <a:pt x="630" y="309"/>
                  </a:lnTo>
                  <a:lnTo>
                    <a:pt x="628" y="298"/>
                  </a:lnTo>
                  <a:lnTo>
                    <a:pt x="626" y="288"/>
                  </a:lnTo>
                  <a:lnTo>
                    <a:pt x="619" y="265"/>
                  </a:lnTo>
                  <a:lnTo>
                    <a:pt x="611" y="242"/>
                  </a:lnTo>
                  <a:lnTo>
                    <a:pt x="601" y="218"/>
                  </a:lnTo>
                  <a:lnTo>
                    <a:pt x="588" y="194"/>
                  </a:lnTo>
                  <a:lnTo>
                    <a:pt x="575" y="171"/>
                  </a:lnTo>
                  <a:lnTo>
                    <a:pt x="560" y="147"/>
                  </a:lnTo>
                  <a:lnTo>
                    <a:pt x="545" y="125"/>
                  </a:lnTo>
                  <a:lnTo>
                    <a:pt x="529" y="103"/>
                  </a:lnTo>
                  <a:lnTo>
                    <a:pt x="512" y="82"/>
                  </a:lnTo>
                  <a:lnTo>
                    <a:pt x="495" y="63"/>
                  </a:lnTo>
                  <a:lnTo>
                    <a:pt x="478" y="46"/>
                  </a:lnTo>
                  <a:lnTo>
                    <a:pt x="462" y="30"/>
                  </a:lnTo>
                  <a:lnTo>
                    <a:pt x="445" y="15"/>
                  </a:lnTo>
                  <a:lnTo>
                    <a:pt x="4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2" name="Freeform 194">
              <a:extLst>
                <a:ext uri="{FF2B5EF4-FFF2-40B4-BE49-F238E27FC236}">
                  <a16:creationId xmlns:a16="http://schemas.microsoft.com/office/drawing/2014/main" id="{F5EA708D-5822-448F-BE2F-C5B091A40D0C}"/>
                </a:ext>
              </a:extLst>
            </p:cNvPr>
            <p:cNvSpPr>
              <a:spLocks/>
            </p:cNvSpPr>
            <p:nvPr/>
          </p:nvSpPr>
          <p:spPr bwMode="auto">
            <a:xfrm>
              <a:off x="7700963" y="1439863"/>
              <a:ext cx="76200" cy="9525"/>
            </a:xfrm>
            <a:custGeom>
              <a:avLst/>
              <a:gdLst>
                <a:gd name="T0" fmla="*/ 15 w 241"/>
                <a:gd name="T1" fmla="*/ 0 h 30"/>
                <a:gd name="T2" fmla="*/ 12 w 241"/>
                <a:gd name="T3" fmla="*/ 1 h 30"/>
                <a:gd name="T4" fmla="*/ 10 w 241"/>
                <a:gd name="T5" fmla="*/ 1 h 30"/>
                <a:gd name="T6" fmla="*/ 6 w 241"/>
                <a:gd name="T7" fmla="*/ 3 h 30"/>
                <a:gd name="T8" fmla="*/ 4 w 241"/>
                <a:gd name="T9" fmla="*/ 4 h 30"/>
                <a:gd name="T10" fmla="*/ 3 w 241"/>
                <a:gd name="T11" fmla="*/ 7 h 30"/>
                <a:gd name="T12" fmla="*/ 1 w 241"/>
                <a:gd name="T13" fmla="*/ 9 h 30"/>
                <a:gd name="T14" fmla="*/ 1 w 241"/>
                <a:gd name="T15" fmla="*/ 12 h 30"/>
                <a:gd name="T16" fmla="*/ 0 w 241"/>
                <a:gd name="T17" fmla="*/ 15 h 30"/>
                <a:gd name="T18" fmla="*/ 1 w 241"/>
                <a:gd name="T19" fmla="*/ 18 h 30"/>
                <a:gd name="T20" fmla="*/ 1 w 241"/>
                <a:gd name="T21" fmla="*/ 21 h 30"/>
                <a:gd name="T22" fmla="*/ 3 w 241"/>
                <a:gd name="T23" fmla="*/ 23 h 30"/>
                <a:gd name="T24" fmla="*/ 4 w 241"/>
                <a:gd name="T25" fmla="*/ 25 h 30"/>
                <a:gd name="T26" fmla="*/ 6 w 241"/>
                <a:gd name="T27" fmla="*/ 27 h 30"/>
                <a:gd name="T28" fmla="*/ 10 w 241"/>
                <a:gd name="T29" fmla="*/ 28 h 30"/>
                <a:gd name="T30" fmla="*/ 12 w 241"/>
                <a:gd name="T31" fmla="*/ 30 h 30"/>
                <a:gd name="T32" fmla="*/ 15 w 241"/>
                <a:gd name="T33" fmla="*/ 30 h 30"/>
                <a:gd name="T34" fmla="*/ 226 w 241"/>
                <a:gd name="T35" fmla="*/ 30 h 30"/>
                <a:gd name="T36" fmla="*/ 229 w 241"/>
                <a:gd name="T37" fmla="*/ 30 h 30"/>
                <a:gd name="T38" fmla="*/ 231 w 241"/>
                <a:gd name="T39" fmla="*/ 28 h 30"/>
                <a:gd name="T40" fmla="*/ 235 w 241"/>
                <a:gd name="T41" fmla="*/ 27 h 30"/>
                <a:gd name="T42" fmla="*/ 237 w 241"/>
                <a:gd name="T43" fmla="*/ 25 h 30"/>
                <a:gd name="T44" fmla="*/ 238 w 241"/>
                <a:gd name="T45" fmla="*/ 23 h 30"/>
                <a:gd name="T46" fmla="*/ 240 w 241"/>
                <a:gd name="T47" fmla="*/ 21 h 30"/>
                <a:gd name="T48" fmla="*/ 241 w 241"/>
                <a:gd name="T49" fmla="*/ 18 h 30"/>
                <a:gd name="T50" fmla="*/ 241 w 241"/>
                <a:gd name="T51" fmla="*/ 15 h 30"/>
                <a:gd name="T52" fmla="*/ 241 w 241"/>
                <a:gd name="T53" fmla="*/ 11 h 30"/>
                <a:gd name="T54" fmla="*/ 240 w 241"/>
                <a:gd name="T55" fmla="*/ 9 h 30"/>
                <a:gd name="T56" fmla="*/ 238 w 241"/>
                <a:gd name="T57" fmla="*/ 6 h 30"/>
                <a:gd name="T58" fmla="*/ 237 w 241"/>
                <a:gd name="T59" fmla="*/ 4 h 30"/>
                <a:gd name="T60" fmla="*/ 235 w 241"/>
                <a:gd name="T61" fmla="*/ 3 h 30"/>
                <a:gd name="T62" fmla="*/ 231 w 241"/>
                <a:gd name="T63" fmla="*/ 1 h 30"/>
                <a:gd name="T64" fmla="*/ 229 w 241"/>
                <a:gd name="T65" fmla="*/ 1 h 30"/>
                <a:gd name="T66" fmla="*/ 226 w 241"/>
                <a:gd name="T67" fmla="*/ 0 h 30"/>
                <a:gd name="T68" fmla="*/ 15 w 24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0"/>
                  </a:moveTo>
                  <a:lnTo>
                    <a:pt x="12" y="1"/>
                  </a:lnTo>
                  <a:lnTo>
                    <a:pt x="10" y="1"/>
                  </a:lnTo>
                  <a:lnTo>
                    <a:pt x="6" y="3"/>
                  </a:lnTo>
                  <a:lnTo>
                    <a:pt x="4" y="4"/>
                  </a:lnTo>
                  <a:lnTo>
                    <a:pt x="3" y="7"/>
                  </a:lnTo>
                  <a:lnTo>
                    <a:pt x="1" y="9"/>
                  </a:lnTo>
                  <a:lnTo>
                    <a:pt x="1" y="12"/>
                  </a:lnTo>
                  <a:lnTo>
                    <a:pt x="0" y="15"/>
                  </a:lnTo>
                  <a:lnTo>
                    <a:pt x="1" y="18"/>
                  </a:lnTo>
                  <a:lnTo>
                    <a:pt x="1" y="21"/>
                  </a:lnTo>
                  <a:lnTo>
                    <a:pt x="3" y="23"/>
                  </a:lnTo>
                  <a:lnTo>
                    <a:pt x="4" y="25"/>
                  </a:lnTo>
                  <a:lnTo>
                    <a:pt x="6" y="27"/>
                  </a:lnTo>
                  <a:lnTo>
                    <a:pt x="10" y="28"/>
                  </a:lnTo>
                  <a:lnTo>
                    <a:pt x="12" y="30"/>
                  </a:lnTo>
                  <a:lnTo>
                    <a:pt x="15" y="30"/>
                  </a:lnTo>
                  <a:lnTo>
                    <a:pt x="226" y="30"/>
                  </a:lnTo>
                  <a:lnTo>
                    <a:pt x="229" y="30"/>
                  </a:lnTo>
                  <a:lnTo>
                    <a:pt x="231" y="28"/>
                  </a:lnTo>
                  <a:lnTo>
                    <a:pt x="235" y="27"/>
                  </a:lnTo>
                  <a:lnTo>
                    <a:pt x="237" y="25"/>
                  </a:lnTo>
                  <a:lnTo>
                    <a:pt x="238" y="23"/>
                  </a:lnTo>
                  <a:lnTo>
                    <a:pt x="240" y="21"/>
                  </a:lnTo>
                  <a:lnTo>
                    <a:pt x="241" y="18"/>
                  </a:lnTo>
                  <a:lnTo>
                    <a:pt x="241" y="15"/>
                  </a:lnTo>
                  <a:lnTo>
                    <a:pt x="241" y="11"/>
                  </a:lnTo>
                  <a:lnTo>
                    <a:pt x="240" y="9"/>
                  </a:lnTo>
                  <a:lnTo>
                    <a:pt x="238" y="6"/>
                  </a:lnTo>
                  <a:lnTo>
                    <a:pt x="237" y="4"/>
                  </a:lnTo>
                  <a:lnTo>
                    <a:pt x="235" y="3"/>
                  </a:lnTo>
                  <a:lnTo>
                    <a:pt x="231" y="1"/>
                  </a:lnTo>
                  <a:lnTo>
                    <a:pt x="229" y="1"/>
                  </a:lnTo>
                  <a:lnTo>
                    <a:pt x="226"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3" name="Freeform 195">
              <a:extLst>
                <a:ext uri="{FF2B5EF4-FFF2-40B4-BE49-F238E27FC236}">
                  <a16:creationId xmlns:a16="http://schemas.microsoft.com/office/drawing/2014/main" id="{4B384B10-F098-4AE4-A3A7-9AA229FB59B4}"/>
                </a:ext>
              </a:extLst>
            </p:cNvPr>
            <p:cNvSpPr>
              <a:spLocks noEditPoints="1"/>
            </p:cNvSpPr>
            <p:nvPr/>
          </p:nvSpPr>
          <p:spPr bwMode="auto">
            <a:xfrm>
              <a:off x="7681913" y="1354138"/>
              <a:ext cx="114300" cy="76200"/>
            </a:xfrm>
            <a:custGeom>
              <a:avLst/>
              <a:gdLst>
                <a:gd name="T0" fmla="*/ 136 w 361"/>
                <a:gd name="T1" fmla="*/ 120 h 240"/>
                <a:gd name="T2" fmla="*/ 146 w 361"/>
                <a:gd name="T3" fmla="*/ 115 h 240"/>
                <a:gd name="T4" fmla="*/ 181 w 361"/>
                <a:gd name="T5" fmla="*/ 48 h 240"/>
                <a:gd name="T6" fmla="*/ 215 w 361"/>
                <a:gd name="T7" fmla="*/ 115 h 240"/>
                <a:gd name="T8" fmla="*/ 225 w 361"/>
                <a:gd name="T9" fmla="*/ 120 h 240"/>
                <a:gd name="T10" fmla="*/ 304 w 361"/>
                <a:gd name="T11" fmla="*/ 91 h 240"/>
                <a:gd name="T12" fmla="*/ 289 w 361"/>
                <a:gd name="T13" fmla="*/ 116 h 240"/>
                <a:gd name="T14" fmla="*/ 275 w 361"/>
                <a:gd name="T15" fmla="*/ 146 h 240"/>
                <a:gd name="T16" fmla="*/ 264 w 361"/>
                <a:gd name="T17" fmla="*/ 177 h 240"/>
                <a:gd name="T18" fmla="*/ 257 w 361"/>
                <a:gd name="T19" fmla="*/ 210 h 240"/>
                <a:gd name="T20" fmla="*/ 102 w 361"/>
                <a:gd name="T21" fmla="*/ 193 h 240"/>
                <a:gd name="T22" fmla="*/ 92 w 361"/>
                <a:gd name="T23" fmla="*/ 161 h 240"/>
                <a:gd name="T24" fmla="*/ 79 w 361"/>
                <a:gd name="T25" fmla="*/ 130 h 240"/>
                <a:gd name="T26" fmla="*/ 64 w 361"/>
                <a:gd name="T27" fmla="*/ 103 h 240"/>
                <a:gd name="T28" fmla="*/ 131 w 361"/>
                <a:gd name="T29" fmla="*/ 118 h 240"/>
                <a:gd name="T30" fmla="*/ 76 w 361"/>
                <a:gd name="T31" fmla="*/ 228 h 240"/>
                <a:gd name="T32" fmla="*/ 78 w 361"/>
                <a:gd name="T33" fmla="*/ 233 h 240"/>
                <a:gd name="T34" fmla="*/ 81 w 361"/>
                <a:gd name="T35" fmla="*/ 237 h 240"/>
                <a:gd name="T36" fmla="*/ 88 w 361"/>
                <a:gd name="T37" fmla="*/ 240 h 240"/>
                <a:gd name="T38" fmla="*/ 271 w 361"/>
                <a:gd name="T39" fmla="*/ 240 h 240"/>
                <a:gd name="T40" fmla="*/ 276 w 361"/>
                <a:gd name="T41" fmla="*/ 238 h 240"/>
                <a:gd name="T42" fmla="*/ 282 w 361"/>
                <a:gd name="T43" fmla="*/ 235 h 240"/>
                <a:gd name="T44" fmla="*/ 285 w 361"/>
                <a:gd name="T45" fmla="*/ 231 h 240"/>
                <a:gd name="T46" fmla="*/ 286 w 361"/>
                <a:gd name="T47" fmla="*/ 225 h 240"/>
                <a:gd name="T48" fmla="*/ 289 w 361"/>
                <a:gd name="T49" fmla="*/ 199 h 240"/>
                <a:gd name="T50" fmla="*/ 297 w 361"/>
                <a:gd name="T51" fmla="*/ 171 h 240"/>
                <a:gd name="T52" fmla="*/ 309 w 361"/>
                <a:gd name="T53" fmla="*/ 145 h 240"/>
                <a:gd name="T54" fmla="*/ 321 w 361"/>
                <a:gd name="T55" fmla="*/ 122 h 240"/>
                <a:gd name="T56" fmla="*/ 358 w 361"/>
                <a:gd name="T57" fmla="*/ 69 h 240"/>
                <a:gd name="T58" fmla="*/ 361 w 361"/>
                <a:gd name="T59" fmla="*/ 60 h 240"/>
                <a:gd name="T60" fmla="*/ 358 w 361"/>
                <a:gd name="T61" fmla="*/ 51 h 240"/>
                <a:gd name="T62" fmla="*/ 350 w 361"/>
                <a:gd name="T63" fmla="*/ 45 h 240"/>
                <a:gd name="T64" fmla="*/ 341 w 361"/>
                <a:gd name="T65" fmla="*/ 46 h 240"/>
                <a:gd name="T66" fmla="*/ 194 w 361"/>
                <a:gd name="T67" fmla="*/ 7 h 240"/>
                <a:gd name="T68" fmla="*/ 189 w 361"/>
                <a:gd name="T69" fmla="*/ 2 h 240"/>
                <a:gd name="T70" fmla="*/ 180 w 361"/>
                <a:gd name="T71" fmla="*/ 0 h 240"/>
                <a:gd name="T72" fmla="*/ 172 w 361"/>
                <a:gd name="T73" fmla="*/ 2 h 240"/>
                <a:gd name="T74" fmla="*/ 167 w 361"/>
                <a:gd name="T75" fmla="*/ 7 h 240"/>
                <a:gd name="T76" fmla="*/ 20 w 361"/>
                <a:gd name="T77" fmla="*/ 46 h 240"/>
                <a:gd name="T78" fmla="*/ 11 w 361"/>
                <a:gd name="T79" fmla="*/ 45 h 240"/>
                <a:gd name="T80" fmla="*/ 3 w 361"/>
                <a:gd name="T81" fmla="*/ 51 h 240"/>
                <a:gd name="T82" fmla="*/ 0 w 361"/>
                <a:gd name="T83" fmla="*/ 60 h 240"/>
                <a:gd name="T84" fmla="*/ 3 w 361"/>
                <a:gd name="T85" fmla="*/ 69 h 240"/>
                <a:gd name="T86" fmla="*/ 40 w 361"/>
                <a:gd name="T87" fmla="*/ 122 h 240"/>
                <a:gd name="T88" fmla="*/ 52 w 361"/>
                <a:gd name="T89" fmla="*/ 145 h 240"/>
                <a:gd name="T90" fmla="*/ 64 w 361"/>
                <a:gd name="T91" fmla="*/ 171 h 240"/>
                <a:gd name="T92" fmla="*/ 72 w 361"/>
                <a:gd name="T93" fmla="*/ 199 h 240"/>
                <a:gd name="T94" fmla="*/ 75 w 361"/>
                <a:gd name="T95" fmla="*/ 2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1" h="240">
                  <a:moveTo>
                    <a:pt x="131" y="118"/>
                  </a:moveTo>
                  <a:lnTo>
                    <a:pt x="136" y="120"/>
                  </a:lnTo>
                  <a:lnTo>
                    <a:pt x="141" y="118"/>
                  </a:lnTo>
                  <a:lnTo>
                    <a:pt x="146" y="115"/>
                  </a:lnTo>
                  <a:lnTo>
                    <a:pt x="149" y="111"/>
                  </a:lnTo>
                  <a:lnTo>
                    <a:pt x="181" y="48"/>
                  </a:lnTo>
                  <a:lnTo>
                    <a:pt x="212" y="111"/>
                  </a:lnTo>
                  <a:lnTo>
                    <a:pt x="215" y="115"/>
                  </a:lnTo>
                  <a:lnTo>
                    <a:pt x="220" y="118"/>
                  </a:lnTo>
                  <a:lnTo>
                    <a:pt x="225" y="120"/>
                  </a:lnTo>
                  <a:lnTo>
                    <a:pt x="231" y="118"/>
                  </a:lnTo>
                  <a:lnTo>
                    <a:pt x="304" y="91"/>
                  </a:lnTo>
                  <a:lnTo>
                    <a:pt x="297" y="103"/>
                  </a:lnTo>
                  <a:lnTo>
                    <a:pt x="289" y="116"/>
                  </a:lnTo>
                  <a:lnTo>
                    <a:pt x="282" y="130"/>
                  </a:lnTo>
                  <a:lnTo>
                    <a:pt x="275" y="146"/>
                  </a:lnTo>
                  <a:lnTo>
                    <a:pt x="269" y="161"/>
                  </a:lnTo>
                  <a:lnTo>
                    <a:pt x="264" y="177"/>
                  </a:lnTo>
                  <a:lnTo>
                    <a:pt x="259" y="193"/>
                  </a:lnTo>
                  <a:lnTo>
                    <a:pt x="257" y="210"/>
                  </a:lnTo>
                  <a:lnTo>
                    <a:pt x="105" y="210"/>
                  </a:lnTo>
                  <a:lnTo>
                    <a:pt x="102" y="193"/>
                  </a:lnTo>
                  <a:lnTo>
                    <a:pt x="97" y="177"/>
                  </a:lnTo>
                  <a:lnTo>
                    <a:pt x="92" y="161"/>
                  </a:lnTo>
                  <a:lnTo>
                    <a:pt x="86" y="145"/>
                  </a:lnTo>
                  <a:lnTo>
                    <a:pt x="79" y="130"/>
                  </a:lnTo>
                  <a:lnTo>
                    <a:pt x="72" y="116"/>
                  </a:lnTo>
                  <a:lnTo>
                    <a:pt x="64" y="103"/>
                  </a:lnTo>
                  <a:lnTo>
                    <a:pt x="57" y="91"/>
                  </a:lnTo>
                  <a:lnTo>
                    <a:pt x="131" y="118"/>
                  </a:lnTo>
                  <a:close/>
                  <a:moveTo>
                    <a:pt x="75" y="225"/>
                  </a:moveTo>
                  <a:lnTo>
                    <a:pt x="76" y="228"/>
                  </a:lnTo>
                  <a:lnTo>
                    <a:pt x="76" y="231"/>
                  </a:lnTo>
                  <a:lnTo>
                    <a:pt x="78" y="233"/>
                  </a:lnTo>
                  <a:lnTo>
                    <a:pt x="79" y="235"/>
                  </a:lnTo>
                  <a:lnTo>
                    <a:pt x="81" y="237"/>
                  </a:lnTo>
                  <a:lnTo>
                    <a:pt x="85" y="238"/>
                  </a:lnTo>
                  <a:lnTo>
                    <a:pt x="88" y="240"/>
                  </a:lnTo>
                  <a:lnTo>
                    <a:pt x="90" y="240"/>
                  </a:lnTo>
                  <a:lnTo>
                    <a:pt x="271" y="240"/>
                  </a:lnTo>
                  <a:lnTo>
                    <a:pt x="274" y="240"/>
                  </a:lnTo>
                  <a:lnTo>
                    <a:pt x="276" y="238"/>
                  </a:lnTo>
                  <a:lnTo>
                    <a:pt x="280" y="237"/>
                  </a:lnTo>
                  <a:lnTo>
                    <a:pt x="282" y="235"/>
                  </a:lnTo>
                  <a:lnTo>
                    <a:pt x="283" y="233"/>
                  </a:lnTo>
                  <a:lnTo>
                    <a:pt x="285" y="231"/>
                  </a:lnTo>
                  <a:lnTo>
                    <a:pt x="285" y="228"/>
                  </a:lnTo>
                  <a:lnTo>
                    <a:pt x="286" y="225"/>
                  </a:lnTo>
                  <a:lnTo>
                    <a:pt x="287" y="212"/>
                  </a:lnTo>
                  <a:lnTo>
                    <a:pt x="289" y="199"/>
                  </a:lnTo>
                  <a:lnTo>
                    <a:pt x="292" y="185"/>
                  </a:lnTo>
                  <a:lnTo>
                    <a:pt x="297" y="171"/>
                  </a:lnTo>
                  <a:lnTo>
                    <a:pt x="302" y="158"/>
                  </a:lnTo>
                  <a:lnTo>
                    <a:pt x="309" y="145"/>
                  </a:lnTo>
                  <a:lnTo>
                    <a:pt x="315" y="133"/>
                  </a:lnTo>
                  <a:lnTo>
                    <a:pt x="321" y="122"/>
                  </a:lnTo>
                  <a:lnTo>
                    <a:pt x="346" y="84"/>
                  </a:lnTo>
                  <a:lnTo>
                    <a:pt x="358" y="69"/>
                  </a:lnTo>
                  <a:lnTo>
                    <a:pt x="360" y="65"/>
                  </a:lnTo>
                  <a:lnTo>
                    <a:pt x="361" y="60"/>
                  </a:lnTo>
                  <a:lnTo>
                    <a:pt x="360" y="55"/>
                  </a:lnTo>
                  <a:lnTo>
                    <a:pt x="358" y="51"/>
                  </a:lnTo>
                  <a:lnTo>
                    <a:pt x="355" y="47"/>
                  </a:lnTo>
                  <a:lnTo>
                    <a:pt x="350" y="45"/>
                  </a:lnTo>
                  <a:lnTo>
                    <a:pt x="346" y="45"/>
                  </a:lnTo>
                  <a:lnTo>
                    <a:pt x="341" y="46"/>
                  </a:lnTo>
                  <a:lnTo>
                    <a:pt x="234" y="85"/>
                  </a:lnTo>
                  <a:lnTo>
                    <a:pt x="194" y="7"/>
                  </a:lnTo>
                  <a:lnTo>
                    <a:pt x="192" y="4"/>
                  </a:lnTo>
                  <a:lnTo>
                    <a:pt x="189" y="2"/>
                  </a:lnTo>
                  <a:lnTo>
                    <a:pt x="184" y="1"/>
                  </a:lnTo>
                  <a:lnTo>
                    <a:pt x="180" y="0"/>
                  </a:lnTo>
                  <a:lnTo>
                    <a:pt x="177" y="1"/>
                  </a:lnTo>
                  <a:lnTo>
                    <a:pt x="172" y="2"/>
                  </a:lnTo>
                  <a:lnTo>
                    <a:pt x="169" y="4"/>
                  </a:lnTo>
                  <a:lnTo>
                    <a:pt x="167" y="7"/>
                  </a:lnTo>
                  <a:lnTo>
                    <a:pt x="129" y="85"/>
                  </a:lnTo>
                  <a:lnTo>
                    <a:pt x="20" y="46"/>
                  </a:lnTo>
                  <a:lnTo>
                    <a:pt x="15" y="45"/>
                  </a:lnTo>
                  <a:lnTo>
                    <a:pt x="11" y="45"/>
                  </a:lnTo>
                  <a:lnTo>
                    <a:pt x="6" y="47"/>
                  </a:lnTo>
                  <a:lnTo>
                    <a:pt x="3" y="51"/>
                  </a:lnTo>
                  <a:lnTo>
                    <a:pt x="1" y="55"/>
                  </a:lnTo>
                  <a:lnTo>
                    <a:pt x="0" y="60"/>
                  </a:lnTo>
                  <a:lnTo>
                    <a:pt x="1" y="65"/>
                  </a:lnTo>
                  <a:lnTo>
                    <a:pt x="3" y="69"/>
                  </a:lnTo>
                  <a:lnTo>
                    <a:pt x="15" y="84"/>
                  </a:lnTo>
                  <a:lnTo>
                    <a:pt x="40" y="122"/>
                  </a:lnTo>
                  <a:lnTo>
                    <a:pt x="46" y="133"/>
                  </a:lnTo>
                  <a:lnTo>
                    <a:pt x="52" y="145"/>
                  </a:lnTo>
                  <a:lnTo>
                    <a:pt x="59" y="158"/>
                  </a:lnTo>
                  <a:lnTo>
                    <a:pt x="64" y="171"/>
                  </a:lnTo>
                  <a:lnTo>
                    <a:pt x="69" y="185"/>
                  </a:lnTo>
                  <a:lnTo>
                    <a:pt x="72" y="199"/>
                  </a:lnTo>
                  <a:lnTo>
                    <a:pt x="75" y="212"/>
                  </a:lnTo>
                  <a:lnTo>
                    <a:pt x="75" y="225"/>
                  </a:lnTo>
                  <a:lnTo>
                    <a:pt x="7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4" name="Freeform 196">
              <a:extLst>
                <a:ext uri="{FF2B5EF4-FFF2-40B4-BE49-F238E27FC236}">
                  <a16:creationId xmlns:a16="http://schemas.microsoft.com/office/drawing/2014/main" id="{B8A78D13-C4B4-474B-92F9-35537606B2E3}"/>
                </a:ext>
              </a:extLst>
            </p:cNvPr>
            <p:cNvSpPr>
              <a:spLocks/>
            </p:cNvSpPr>
            <p:nvPr/>
          </p:nvSpPr>
          <p:spPr bwMode="auto">
            <a:xfrm>
              <a:off x="7715250" y="1501775"/>
              <a:ext cx="47625" cy="104775"/>
            </a:xfrm>
            <a:custGeom>
              <a:avLst/>
              <a:gdLst>
                <a:gd name="T0" fmla="*/ 101 w 151"/>
                <a:gd name="T1" fmla="*/ 67 h 331"/>
                <a:gd name="T2" fmla="*/ 120 w 151"/>
                <a:gd name="T3" fmla="*/ 96 h 331"/>
                <a:gd name="T4" fmla="*/ 123 w 151"/>
                <a:gd name="T5" fmla="*/ 113 h 331"/>
                <a:gd name="T6" fmla="*/ 133 w 151"/>
                <a:gd name="T7" fmla="*/ 120 h 331"/>
                <a:gd name="T8" fmla="*/ 145 w 151"/>
                <a:gd name="T9" fmla="*/ 117 h 331"/>
                <a:gd name="T10" fmla="*/ 150 w 151"/>
                <a:gd name="T11" fmla="*/ 108 h 331"/>
                <a:gd name="T12" fmla="*/ 148 w 151"/>
                <a:gd name="T13" fmla="*/ 85 h 331"/>
                <a:gd name="T14" fmla="*/ 137 w 151"/>
                <a:gd name="T15" fmla="*/ 62 h 331"/>
                <a:gd name="T16" fmla="*/ 109 w 151"/>
                <a:gd name="T17" fmla="*/ 37 h 331"/>
                <a:gd name="T18" fmla="*/ 91 w 151"/>
                <a:gd name="T19" fmla="*/ 15 h 331"/>
                <a:gd name="T20" fmla="*/ 86 w 151"/>
                <a:gd name="T21" fmla="*/ 4 h 331"/>
                <a:gd name="T22" fmla="*/ 76 w 151"/>
                <a:gd name="T23" fmla="*/ 0 h 331"/>
                <a:gd name="T24" fmla="*/ 65 w 151"/>
                <a:gd name="T25" fmla="*/ 4 h 331"/>
                <a:gd name="T26" fmla="*/ 60 w 151"/>
                <a:gd name="T27" fmla="*/ 15 h 331"/>
                <a:gd name="T28" fmla="*/ 42 w 151"/>
                <a:gd name="T29" fmla="*/ 37 h 331"/>
                <a:gd name="T30" fmla="*/ 14 w 151"/>
                <a:gd name="T31" fmla="*/ 62 h 331"/>
                <a:gd name="T32" fmla="*/ 3 w 151"/>
                <a:gd name="T33" fmla="*/ 85 h 331"/>
                <a:gd name="T34" fmla="*/ 1 w 151"/>
                <a:gd name="T35" fmla="*/ 112 h 331"/>
                <a:gd name="T36" fmla="*/ 10 w 151"/>
                <a:gd name="T37" fmla="*/ 140 h 331"/>
                <a:gd name="T38" fmla="*/ 28 w 151"/>
                <a:gd name="T39" fmla="*/ 162 h 331"/>
                <a:gd name="T40" fmla="*/ 54 w 151"/>
                <a:gd name="T41" fmla="*/ 176 h 331"/>
                <a:gd name="T42" fmla="*/ 85 w 151"/>
                <a:gd name="T43" fmla="*/ 181 h 331"/>
                <a:gd name="T44" fmla="*/ 112 w 151"/>
                <a:gd name="T45" fmla="*/ 200 h 331"/>
                <a:gd name="T46" fmla="*/ 120 w 151"/>
                <a:gd name="T47" fmla="*/ 234 h 331"/>
                <a:gd name="T48" fmla="*/ 101 w 151"/>
                <a:gd name="T49" fmla="*/ 262 h 331"/>
                <a:gd name="T50" fmla="*/ 66 w 151"/>
                <a:gd name="T51" fmla="*/ 269 h 331"/>
                <a:gd name="T52" fmla="*/ 39 w 151"/>
                <a:gd name="T53" fmla="*/ 250 h 331"/>
                <a:gd name="T54" fmla="*/ 30 w 151"/>
                <a:gd name="T55" fmla="*/ 221 h 331"/>
                <a:gd name="T56" fmla="*/ 24 w 151"/>
                <a:gd name="T57" fmla="*/ 213 h 331"/>
                <a:gd name="T58" fmla="*/ 13 w 151"/>
                <a:gd name="T59" fmla="*/ 211 h 331"/>
                <a:gd name="T60" fmla="*/ 3 w 151"/>
                <a:gd name="T61" fmla="*/ 216 h 331"/>
                <a:gd name="T62" fmla="*/ 1 w 151"/>
                <a:gd name="T63" fmla="*/ 232 h 331"/>
                <a:gd name="T64" fmla="*/ 7 w 151"/>
                <a:gd name="T65" fmla="*/ 257 h 331"/>
                <a:gd name="T66" fmla="*/ 27 w 151"/>
                <a:gd name="T67" fmla="*/ 281 h 331"/>
                <a:gd name="T68" fmla="*/ 55 w 151"/>
                <a:gd name="T69" fmla="*/ 297 h 331"/>
                <a:gd name="T70" fmla="*/ 62 w 151"/>
                <a:gd name="T71" fmla="*/ 321 h 331"/>
                <a:gd name="T72" fmla="*/ 70 w 151"/>
                <a:gd name="T73" fmla="*/ 328 h 331"/>
                <a:gd name="T74" fmla="*/ 81 w 151"/>
                <a:gd name="T75" fmla="*/ 328 h 331"/>
                <a:gd name="T76" fmla="*/ 89 w 151"/>
                <a:gd name="T77" fmla="*/ 321 h 331"/>
                <a:gd name="T78" fmla="*/ 96 w 151"/>
                <a:gd name="T79" fmla="*/ 297 h 331"/>
                <a:gd name="T80" fmla="*/ 124 w 151"/>
                <a:gd name="T81" fmla="*/ 281 h 331"/>
                <a:gd name="T82" fmla="*/ 144 w 151"/>
                <a:gd name="T83" fmla="*/ 257 h 331"/>
                <a:gd name="T84" fmla="*/ 150 w 151"/>
                <a:gd name="T85" fmla="*/ 232 h 331"/>
                <a:gd name="T86" fmla="*/ 148 w 151"/>
                <a:gd name="T87" fmla="*/ 202 h 331"/>
                <a:gd name="T88" fmla="*/ 134 w 151"/>
                <a:gd name="T89" fmla="*/ 177 h 331"/>
                <a:gd name="T90" fmla="*/ 111 w 151"/>
                <a:gd name="T91" fmla="*/ 159 h 331"/>
                <a:gd name="T92" fmla="*/ 84 w 151"/>
                <a:gd name="T93" fmla="*/ 150 h 331"/>
                <a:gd name="T94" fmla="*/ 50 w 151"/>
                <a:gd name="T95" fmla="*/ 142 h 331"/>
                <a:gd name="T96" fmla="*/ 31 w 151"/>
                <a:gd name="T97" fmla="*/ 113 h 331"/>
                <a:gd name="T98" fmla="*/ 39 w 151"/>
                <a:gd name="T99" fmla="*/ 79 h 331"/>
                <a:gd name="T100" fmla="*/ 66 w 151"/>
                <a:gd name="T101" fmla="*/ 6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331">
                  <a:moveTo>
                    <a:pt x="76" y="60"/>
                  </a:moveTo>
                  <a:lnTo>
                    <a:pt x="85" y="61"/>
                  </a:lnTo>
                  <a:lnTo>
                    <a:pt x="93" y="63"/>
                  </a:lnTo>
                  <a:lnTo>
                    <a:pt x="101" y="67"/>
                  </a:lnTo>
                  <a:lnTo>
                    <a:pt x="107" y="72"/>
                  </a:lnTo>
                  <a:lnTo>
                    <a:pt x="112" y="79"/>
                  </a:lnTo>
                  <a:lnTo>
                    <a:pt x="117" y="87"/>
                  </a:lnTo>
                  <a:lnTo>
                    <a:pt x="120" y="96"/>
                  </a:lnTo>
                  <a:lnTo>
                    <a:pt x="121" y="105"/>
                  </a:lnTo>
                  <a:lnTo>
                    <a:pt x="121" y="108"/>
                  </a:lnTo>
                  <a:lnTo>
                    <a:pt x="122" y="110"/>
                  </a:lnTo>
                  <a:lnTo>
                    <a:pt x="123" y="113"/>
                  </a:lnTo>
                  <a:lnTo>
                    <a:pt x="125" y="115"/>
                  </a:lnTo>
                  <a:lnTo>
                    <a:pt x="127" y="117"/>
                  </a:lnTo>
                  <a:lnTo>
                    <a:pt x="130" y="118"/>
                  </a:lnTo>
                  <a:lnTo>
                    <a:pt x="133" y="120"/>
                  </a:lnTo>
                  <a:lnTo>
                    <a:pt x="136" y="120"/>
                  </a:lnTo>
                  <a:lnTo>
                    <a:pt x="138" y="120"/>
                  </a:lnTo>
                  <a:lnTo>
                    <a:pt x="141" y="118"/>
                  </a:lnTo>
                  <a:lnTo>
                    <a:pt x="145" y="117"/>
                  </a:lnTo>
                  <a:lnTo>
                    <a:pt x="147" y="115"/>
                  </a:lnTo>
                  <a:lnTo>
                    <a:pt x="148" y="113"/>
                  </a:lnTo>
                  <a:lnTo>
                    <a:pt x="150" y="110"/>
                  </a:lnTo>
                  <a:lnTo>
                    <a:pt x="150" y="108"/>
                  </a:lnTo>
                  <a:lnTo>
                    <a:pt x="151" y="105"/>
                  </a:lnTo>
                  <a:lnTo>
                    <a:pt x="150" y="98"/>
                  </a:lnTo>
                  <a:lnTo>
                    <a:pt x="150" y="92"/>
                  </a:lnTo>
                  <a:lnTo>
                    <a:pt x="148" y="85"/>
                  </a:lnTo>
                  <a:lnTo>
                    <a:pt x="146" y="79"/>
                  </a:lnTo>
                  <a:lnTo>
                    <a:pt x="144" y="72"/>
                  </a:lnTo>
                  <a:lnTo>
                    <a:pt x="140" y="67"/>
                  </a:lnTo>
                  <a:lnTo>
                    <a:pt x="137" y="62"/>
                  </a:lnTo>
                  <a:lnTo>
                    <a:pt x="134" y="56"/>
                  </a:lnTo>
                  <a:lnTo>
                    <a:pt x="124" y="48"/>
                  </a:lnTo>
                  <a:lnTo>
                    <a:pt x="115" y="40"/>
                  </a:lnTo>
                  <a:lnTo>
                    <a:pt x="109" y="37"/>
                  </a:lnTo>
                  <a:lnTo>
                    <a:pt x="103" y="35"/>
                  </a:lnTo>
                  <a:lnTo>
                    <a:pt x="96" y="33"/>
                  </a:lnTo>
                  <a:lnTo>
                    <a:pt x="91" y="31"/>
                  </a:lnTo>
                  <a:lnTo>
                    <a:pt x="91" y="15"/>
                  </a:lnTo>
                  <a:lnTo>
                    <a:pt x="90" y="11"/>
                  </a:lnTo>
                  <a:lnTo>
                    <a:pt x="89" y="8"/>
                  </a:lnTo>
                  <a:lnTo>
                    <a:pt x="88" y="6"/>
                  </a:lnTo>
                  <a:lnTo>
                    <a:pt x="86" y="4"/>
                  </a:lnTo>
                  <a:lnTo>
                    <a:pt x="84" y="2"/>
                  </a:lnTo>
                  <a:lnTo>
                    <a:pt x="81" y="1"/>
                  </a:lnTo>
                  <a:lnTo>
                    <a:pt x="78" y="0"/>
                  </a:lnTo>
                  <a:lnTo>
                    <a:pt x="76" y="0"/>
                  </a:lnTo>
                  <a:lnTo>
                    <a:pt x="73" y="0"/>
                  </a:lnTo>
                  <a:lnTo>
                    <a:pt x="70" y="1"/>
                  </a:lnTo>
                  <a:lnTo>
                    <a:pt x="67" y="2"/>
                  </a:lnTo>
                  <a:lnTo>
                    <a:pt x="65" y="4"/>
                  </a:lnTo>
                  <a:lnTo>
                    <a:pt x="63" y="6"/>
                  </a:lnTo>
                  <a:lnTo>
                    <a:pt x="62" y="8"/>
                  </a:lnTo>
                  <a:lnTo>
                    <a:pt x="61" y="11"/>
                  </a:lnTo>
                  <a:lnTo>
                    <a:pt x="60" y="15"/>
                  </a:lnTo>
                  <a:lnTo>
                    <a:pt x="61" y="31"/>
                  </a:lnTo>
                  <a:lnTo>
                    <a:pt x="55" y="33"/>
                  </a:lnTo>
                  <a:lnTo>
                    <a:pt x="48" y="35"/>
                  </a:lnTo>
                  <a:lnTo>
                    <a:pt x="42" y="37"/>
                  </a:lnTo>
                  <a:lnTo>
                    <a:pt x="36" y="40"/>
                  </a:lnTo>
                  <a:lnTo>
                    <a:pt x="27" y="48"/>
                  </a:lnTo>
                  <a:lnTo>
                    <a:pt x="17" y="56"/>
                  </a:lnTo>
                  <a:lnTo>
                    <a:pt x="14" y="62"/>
                  </a:lnTo>
                  <a:lnTo>
                    <a:pt x="11" y="67"/>
                  </a:lnTo>
                  <a:lnTo>
                    <a:pt x="7" y="72"/>
                  </a:lnTo>
                  <a:lnTo>
                    <a:pt x="5" y="79"/>
                  </a:lnTo>
                  <a:lnTo>
                    <a:pt x="3" y="85"/>
                  </a:lnTo>
                  <a:lnTo>
                    <a:pt x="1" y="92"/>
                  </a:lnTo>
                  <a:lnTo>
                    <a:pt x="1" y="98"/>
                  </a:lnTo>
                  <a:lnTo>
                    <a:pt x="0" y="105"/>
                  </a:lnTo>
                  <a:lnTo>
                    <a:pt x="1" y="112"/>
                  </a:lnTo>
                  <a:lnTo>
                    <a:pt x="2" y="120"/>
                  </a:lnTo>
                  <a:lnTo>
                    <a:pt x="4" y="127"/>
                  </a:lnTo>
                  <a:lnTo>
                    <a:pt x="6" y="133"/>
                  </a:lnTo>
                  <a:lnTo>
                    <a:pt x="10" y="140"/>
                  </a:lnTo>
                  <a:lnTo>
                    <a:pt x="13" y="146"/>
                  </a:lnTo>
                  <a:lnTo>
                    <a:pt x="17" y="153"/>
                  </a:lnTo>
                  <a:lnTo>
                    <a:pt x="22" y="158"/>
                  </a:lnTo>
                  <a:lnTo>
                    <a:pt x="28" y="162"/>
                  </a:lnTo>
                  <a:lnTo>
                    <a:pt x="33" y="167"/>
                  </a:lnTo>
                  <a:lnTo>
                    <a:pt x="40" y="171"/>
                  </a:lnTo>
                  <a:lnTo>
                    <a:pt x="46" y="174"/>
                  </a:lnTo>
                  <a:lnTo>
                    <a:pt x="54" y="176"/>
                  </a:lnTo>
                  <a:lnTo>
                    <a:pt x="60" y="178"/>
                  </a:lnTo>
                  <a:lnTo>
                    <a:pt x="67" y="180"/>
                  </a:lnTo>
                  <a:lnTo>
                    <a:pt x="76" y="180"/>
                  </a:lnTo>
                  <a:lnTo>
                    <a:pt x="85" y="181"/>
                  </a:lnTo>
                  <a:lnTo>
                    <a:pt x="93" y="183"/>
                  </a:lnTo>
                  <a:lnTo>
                    <a:pt x="101" y="187"/>
                  </a:lnTo>
                  <a:lnTo>
                    <a:pt x="107" y="192"/>
                  </a:lnTo>
                  <a:lnTo>
                    <a:pt x="112" y="200"/>
                  </a:lnTo>
                  <a:lnTo>
                    <a:pt x="117" y="207"/>
                  </a:lnTo>
                  <a:lnTo>
                    <a:pt x="120" y="216"/>
                  </a:lnTo>
                  <a:lnTo>
                    <a:pt x="121" y="225"/>
                  </a:lnTo>
                  <a:lnTo>
                    <a:pt x="120" y="234"/>
                  </a:lnTo>
                  <a:lnTo>
                    <a:pt x="117" y="243"/>
                  </a:lnTo>
                  <a:lnTo>
                    <a:pt x="112" y="250"/>
                  </a:lnTo>
                  <a:lnTo>
                    <a:pt x="107" y="257"/>
                  </a:lnTo>
                  <a:lnTo>
                    <a:pt x="101" y="262"/>
                  </a:lnTo>
                  <a:lnTo>
                    <a:pt x="93" y="266"/>
                  </a:lnTo>
                  <a:lnTo>
                    <a:pt x="85" y="269"/>
                  </a:lnTo>
                  <a:lnTo>
                    <a:pt x="76" y="269"/>
                  </a:lnTo>
                  <a:lnTo>
                    <a:pt x="66" y="269"/>
                  </a:lnTo>
                  <a:lnTo>
                    <a:pt x="58" y="266"/>
                  </a:lnTo>
                  <a:lnTo>
                    <a:pt x="50" y="262"/>
                  </a:lnTo>
                  <a:lnTo>
                    <a:pt x="44" y="257"/>
                  </a:lnTo>
                  <a:lnTo>
                    <a:pt x="39" y="250"/>
                  </a:lnTo>
                  <a:lnTo>
                    <a:pt x="34" y="243"/>
                  </a:lnTo>
                  <a:lnTo>
                    <a:pt x="31" y="234"/>
                  </a:lnTo>
                  <a:lnTo>
                    <a:pt x="30" y="225"/>
                  </a:lnTo>
                  <a:lnTo>
                    <a:pt x="30" y="221"/>
                  </a:lnTo>
                  <a:lnTo>
                    <a:pt x="29" y="219"/>
                  </a:lnTo>
                  <a:lnTo>
                    <a:pt x="28" y="216"/>
                  </a:lnTo>
                  <a:lnTo>
                    <a:pt x="26" y="214"/>
                  </a:lnTo>
                  <a:lnTo>
                    <a:pt x="24" y="213"/>
                  </a:lnTo>
                  <a:lnTo>
                    <a:pt x="21" y="211"/>
                  </a:lnTo>
                  <a:lnTo>
                    <a:pt x="18" y="211"/>
                  </a:lnTo>
                  <a:lnTo>
                    <a:pt x="15" y="210"/>
                  </a:lnTo>
                  <a:lnTo>
                    <a:pt x="13" y="211"/>
                  </a:lnTo>
                  <a:lnTo>
                    <a:pt x="10" y="211"/>
                  </a:lnTo>
                  <a:lnTo>
                    <a:pt x="7" y="213"/>
                  </a:lnTo>
                  <a:lnTo>
                    <a:pt x="4" y="214"/>
                  </a:lnTo>
                  <a:lnTo>
                    <a:pt x="3" y="216"/>
                  </a:lnTo>
                  <a:lnTo>
                    <a:pt x="1" y="219"/>
                  </a:lnTo>
                  <a:lnTo>
                    <a:pt x="1" y="221"/>
                  </a:lnTo>
                  <a:lnTo>
                    <a:pt x="0" y="225"/>
                  </a:lnTo>
                  <a:lnTo>
                    <a:pt x="1" y="232"/>
                  </a:lnTo>
                  <a:lnTo>
                    <a:pt x="1" y="238"/>
                  </a:lnTo>
                  <a:lnTo>
                    <a:pt x="3" y="245"/>
                  </a:lnTo>
                  <a:lnTo>
                    <a:pt x="5" y="250"/>
                  </a:lnTo>
                  <a:lnTo>
                    <a:pt x="7" y="257"/>
                  </a:lnTo>
                  <a:lnTo>
                    <a:pt x="11" y="262"/>
                  </a:lnTo>
                  <a:lnTo>
                    <a:pt x="14" y="267"/>
                  </a:lnTo>
                  <a:lnTo>
                    <a:pt x="17" y="273"/>
                  </a:lnTo>
                  <a:lnTo>
                    <a:pt x="27" y="281"/>
                  </a:lnTo>
                  <a:lnTo>
                    <a:pt x="36" y="289"/>
                  </a:lnTo>
                  <a:lnTo>
                    <a:pt x="42" y="292"/>
                  </a:lnTo>
                  <a:lnTo>
                    <a:pt x="48" y="295"/>
                  </a:lnTo>
                  <a:lnTo>
                    <a:pt x="55" y="297"/>
                  </a:lnTo>
                  <a:lnTo>
                    <a:pt x="60" y="298"/>
                  </a:lnTo>
                  <a:lnTo>
                    <a:pt x="61" y="314"/>
                  </a:lnTo>
                  <a:lnTo>
                    <a:pt x="61" y="318"/>
                  </a:lnTo>
                  <a:lnTo>
                    <a:pt x="62" y="321"/>
                  </a:lnTo>
                  <a:lnTo>
                    <a:pt x="63" y="323"/>
                  </a:lnTo>
                  <a:lnTo>
                    <a:pt x="65" y="325"/>
                  </a:lnTo>
                  <a:lnTo>
                    <a:pt x="67" y="327"/>
                  </a:lnTo>
                  <a:lnTo>
                    <a:pt x="70" y="328"/>
                  </a:lnTo>
                  <a:lnTo>
                    <a:pt x="73" y="329"/>
                  </a:lnTo>
                  <a:lnTo>
                    <a:pt x="76" y="331"/>
                  </a:lnTo>
                  <a:lnTo>
                    <a:pt x="78" y="329"/>
                  </a:lnTo>
                  <a:lnTo>
                    <a:pt x="81" y="328"/>
                  </a:lnTo>
                  <a:lnTo>
                    <a:pt x="84" y="327"/>
                  </a:lnTo>
                  <a:lnTo>
                    <a:pt x="86" y="325"/>
                  </a:lnTo>
                  <a:lnTo>
                    <a:pt x="88" y="323"/>
                  </a:lnTo>
                  <a:lnTo>
                    <a:pt x="89" y="321"/>
                  </a:lnTo>
                  <a:lnTo>
                    <a:pt x="90" y="318"/>
                  </a:lnTo>
                  <a:lnTo>
                    <a:pt x="91" y="316"/>
                  </a:lnTo>
                  <a:lnTo>
                    <a:pt x="91" y="298"/>
                  </a:lnTo>
                  <a:lnTo>
                    <a:pt x="96" y="297"/>
                  </a:lnTo>
                  <a:lnTo>
                    <a:pt x="103" y="295"/>
                  </a:lnTo>
                  <a:lnTo>
                    <a:pt x="109" y="292"/>
                  </a:lnTo>
                  <a:lnTo>
                    <a:pt x="115" y="289"/>
                  </a:lnTo>
                  <a:lnTo>
                    <a:pt x="124" y="281"/>
                  </a:lnTo>
                  <a:lnTo>
                    <a:pt x="134" y="273"/>
                  </a:lnTo>
                  <a:lnTo>
                    <a:pt x="137" y="267"/>
                  </a:lnTo>
                  <a:lnTo>
                    <a:pt x="140" y="262"/>
                  </a:lnTo>
                  <a:lnTo>
                    <a:pt x="144" y="257"/>
                  </a:lnTo>
                  <a:lnTo>
                    <a:pt x="146" y="250"/>
                  </a:lnTo>
                  <a:lnTo>
                    <a:pt x="148" y="245"/>
                  </a:lnTo>
                  <a:lnTo>
                    <a:pt x="150" y="238"/>
                  </a:lnTo>
                  <a:lnTo>
                    <a:pt x="150" y="232"/>
                  </a:lnTo>
                  <a:lnTo>
                    <a:pt x="151" y="225"/>
                  </a:lnTo>
                  <a:lnTo>
                    <a:pt x="150" y="217"/>
                  </a:lnTo>
                  <a:lnTo>
                    <a:pt x="149" y="210"/>
                  </a:lnTo>
                  <a:lnTo>
                    <a:pt x="148" y="202"/>
                  </a:lnTo>
                  <a:lnTo>
                    <a:pt x="145" y="196"/>
                  </a:lnTo>
                  <a:lnTo>
                    <a:pt x="141" y="189"/>
                  </a:lnTo>
                  <a:lnTo>
                    <a:pt x="138" y="183"/>
                  </a:lnTo>
                  <a:lnTo>
                    <a:pt x="134" y="177"/>
                  </a:lnTo>
                  <a:lnTo>
                    <a:pt x="129" y="172"/>
                  </a:lnTo>
                  <a:lnTo>
                    <a:pt x="123" y="167"/>
                  </a:lnTo>
                  <a:lnTo>
                    <a:pt x="118" y="162"/>
                  </a:lnTo>
                  <a:lnTo>
                    <a:pt x="111" y="159"/>
                  </a:lnTo>
                  <a:lnTo>
                    <a:pt x="105" y="156"/>
                  </a:lnTo>
                  <a:lnTo>
                    <a:pt x="97" y="153"/>
                  </a:lnTo>
                  <a:lnTo>
                    <a:pt x="91" y="152"/>
                  </a:lnTo>
                  <a:lnTo>
                    <a:pt x="84" y="150"/>
                  </a:lnTo>
                  <a:lnTo>
                    <a:pt x="76" y="150"/>
                  </a:lnTo>
                  <a:lnTo>
                    <a:pt x="66" y="148"/>
                  </a:lnTo>
                  <a:lnTo>
                    <a:pt x="58" y="146"/>
                  </a:lnTo>
                  <a:lnTo>
                    <a:pt x="50" y="142"/>
                  </a:lnTo>
                  <a:lnTo>
                    <a:pt x="44" y="137"/>
                  </a:lnTo>
                  <a:lnTo>
                    <a:pt x="39" y="130"/>
                  </a:lnTo>
                  <a:lnTo>
                    <a:pt x="34" y="122"/>
                  </a:lnTo>
                  <a:lnTo>
                    <a:pt x="31" y="113"/>
                  </a:lnTo>
                  <a:lnTo>
                    <a:pt x="30" y="105"/>
                  </a:lnTo>
                  <a:lnTo>
                    <a:pt x="31" y="96"/>
                  </a:lnTo>
                  <a:lnTo>
                    <a:pt x="34" y="87"/>
                  </a:lnTo>
                  <a:lnTo>
                    <a:pt x="39" y="79"/>
                  </a:lnTo>
                  <a:lnTo>
                    <a:pt x="44" y="72"/>
                  </a:lnTo>
                  <a:lnTo>
                    <a:pt x="50" y="67"/>
                  </a:lnTo>
                  <a:lnTo>
                    <a:pt x="58" y="63"/>
                  </a:lnTo>
                  <a:lnTo>
                    <a:pt x="66" y="61"/>
                  </a:lnTo>
                  <a:lnTo>
                    <a:pt x="76" y="60"/>
                  </a:lnTo>
                  <a:lnTo>
                    <a:pt x="7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135" name="Group 13">
            <a:extLst>
              <a:ext uri="{FF2B5EF4-FFF2-40B4-BE49-F238E27FC236}">
                <a16:creationId xmlns:a16="http://schemas.microsoft.com/office/drawing/2014/main" id="{7B3AFE2C-3D12-4DE2-8AFE-AD1349B1AA6D}"/>
              </a:ext>
            </a:extLst>
          </p:cNvPr>
          <p:cNvGrpSpPr>
            <a:grpSpLocks noChangeAspect="1"/>
          </p:cNvGrpSpPr>
          <p:nvPr/>
        </p:nvGrpSpPr>
        <p:grpSpPr>
          <a:xfrm>
            <a:off x="1478842" y="2210376"/>
            <a:ext cx="285619" cy="285619"/>
            <a:chOff x="8164513" y="1354138"/>
            <a:chExt cx="285750" cy="285750"/>
          </a:xfrm>
          <a:solidFill>
            <a:schemeClr val="bg2"/>
          </a:solidFill>
          <a:effectLst/>
        </p:grpSpPr>
        <p:sp>
          <p:nvSpPr>
            <p:cNvPr id="1136" name="Freeform 197">
              <a:extLst>
                <a:ext uri="{FF2B5EF4-FFF2-40B4-BE49-F238E27FC236}">
                  <a16:creationId xmlns:a16="http://schemas.microsoft.com/office/drawing/2014/main" id="{5561FA67-378A-42F3-914A-6DB0ABD190B0}"/>
                </a:ext>
              </a:extLst>
            </p:cNvPr>
            <p:cNvSpPr>
              <a:spLocks noEditPoints="1"/>
            </p:cNvSpPr>
            <p:nvPr/>
          </p:nvSpPr>
          <p:spPr bwMode="auto">
            <a:xfrm>
              <a:off x="8164513" y="1354138"/>
              <a:ext cx="285750" cy="285750"/>
            </a:xfrm>
            <a:custGeom>
              <a:avLst/>
              <a:gdLst>
                <a:gd name="T0" fmla="*/ 508 w 902"/>
                <a:gd name="T1" fmla="*/ 554 h 902"/>
                <a:gd name="T2" fmla="*/ 419 w 902"/>
                <a:gd name="T3" fmla="*/ 500 h 902"/>
                <a:gd name="T4" fmla="*/ 357 w 902"/>
                <a:gd name="T5" fmla="*/ 417 h 902"/>
                <a:gd name="T6" fmla="*/ 331 w 902"/>
                <a:gd name="T7" fmla="*/ 313 h 902"/>
                <a:gd name="T8" fmla="*/ 347 w 902"/>
                <a:gd name="T9" fmla="*/ 207 h 902"/>
                <a:gd name="T10" fmla="*/ 401 w 902"/>
                <a:gd name="T11" fmla="*/ 118 h 902"/>
                <a:gd name="T12" fmla="*/ 484 w 902"/>
                <a:gd name="T13" fmla="*/ 56 h 902"/>
                <a:gd name="T14" fmla="*/ 587 w 902"/>
                <a:gd name="T15" fmla="*/ 30 h 902"/>
                <a:gd name="T16" fmla="*/ 694 w 902"/>
                <a:gd name="T17" fmla="*/ 46 h 902"/>
                <a:gd name="T18" fmla="*/ 783 w 902"/>
                <a:gd name="T19" fmla="*/ 99 h 902"/>
                <a:gd name="T20" fmla="*/ 845 w 902"/>
                <a:gd name="T21" fmla="*/ 183 h 902"/>
                <a:gd name="T22" fmla="*/ 871 w 902"/>
                <a:gd name="T23" fmla="*/ 286 h 902"/>
                <a:gd name="T24" fmla="*/ 855 w 902"/>
                <a:gd name="T25" fmla="*/ 393 h 902"/>
                <a:gd name="T26" fmla="*/ 801 w 902"/>
                <a:gd name="T27" fmla="*/ 482 h 902"/>
                <a:gd name="T28" fmla="*/ 718 w 902"/>
                <a:gd name="T29" fmla="*/ 544 h 902"/>
                <a:gd name="T30" fmla="*/ 615 w 902"/>
                <a:gd name="T31" fmla="*/ 571 h 902"/>
                <a:gd name="T32" fmla="*/ 559 w 902"/>
                <a:gd name="T33" fmla="*/ 681 h 902"/>
                <a:gd name="T34" fmla="*/ 509 w 902"/>
                <a:gd name="T35" fmla="*/ 773 h 902"/>
                <a:gd name="T36" fmla="*/ 430 w 902"/>
                <a:gd name="T37" fmla="*/ 838 h 902"/>
                <a:gd name="T38" fmla="*/ 328 w 902"/>
                <a:gd name="T39" fmla="*/ 869 h 902"/>
                <a:gd name="T40" fmla="*/ 220 w 902"/>
                <a:gd name="T41" fmla="*/ 859 h 902"/>
                <a:gd name="T42" fmla="*/ 129 w 902"/>
                <a:gd name="T43" fmla="*/ 809 h 902"/>
                <a:gd name="T44" fmla="*/ 62 w 902"/>
                <a:gd name="T45" fmla="*/ 729 h 902"/>
                <a:gd name="T46" fmla="*/ 31 w 902"/>
                <a:gd name="T47" fmla="*/ 628 h 902"/>
                <a:gd name="T48" fmla="*/ 42 w 902"/>
                <a:gd name="T49" fmla="*/ 520 h 902"/>
                <a:gd name="T50" fmla="*/ 91 w 902"/>
                <a:gd name="T51" fmla="*/ 428 h 902"/>
                <a:gd name="T52" fmla="*/ 171 w 902"/>
                <a:gd name="T53" fmla="*/ 363 h 902"/>
                <a:gd name="T54" fmla="*/ 273 w 902"/>
                <a:gd name="T55" fmla="*/ 332 h 902"/>
                <a:gd name="T56" fmla="*/ 312 w 902"/>
                <a:gd name="T57" fmla="*/ 382 h 902"/>
                <a:gd name="T58" fmla="*/ 356 w 902"/>
                <a:gd name="T59" fmla="*/ 474 h 902"/>
                <a:gd name="T60" fmla="*/ 471 w 902"/>
                <a:gd name="T61" fmla="*/ 571 h 902"/>
                <a:gd name="T62" fmla="*/ 571 w 902"/>
                <a:gd name="T63" fmla="*/ 599 h 902"/>
                <a:gd name="T64" fmla="*/ 526 w 902"/>
                <a:gd name="T65" fmla="*/ 9 h 902"/>
                <a:gd name="T66" fmla="*/ 421 w 902"/>
                <a:gd name="T67" fmla="*/ 60 h 902"/>
                <a:gd name="T68" fmla="*/ 344 w 902"/>
                <a:gd name="T69" fmla="*/ 144 h 902"/>
                <a:gd name="T70" fmla="*/ 304 w 902"/>
                <a:gd name="T71" fmla="*/ 255 h 902"/>
                <a:gd name="T72" fmla="*/ 225 w 902"/>
                <a:gd name="T73" fmla="*/ 309 h 902"/>
                <a:gd name="T74" fmla="*/ 121 w 902"/>
                <a:gd name="T75" fmla="*/ 360 h 902"/>
                <a:gd name="T76" fmla="*/ 43 w 902"/>
                <a:gd name="T77" fmla="*/ 445 h 902"/>
                <a:gd name="T78" fmla="*/ 3 w 902"/>
                <a:gd name="T79" fmla="*/ 554 h 902"/>
                <a:gd name="T80" fmla="*/ 10 w 902"/>
                <a:gd name="T81" fmla="*/ 676 h 902"/>
                <a:gd name="T82" fmla="*/ 59 w 902"/>
                <a:gd name="T83" fmla="*/ 780 h 902"/>
                <a:gd name="T84" fmla="*/ 145 w 902"/>
                <a:gd name="T85" fmla="*/ 858 h 902"/>
                <a:gd name="T86" fmla="*/ 255 w 902"/>
                <a:gd name="T87" fmla="*/ 898 h 902"/>
                <a:gd name="T88" fmla="*/ 375 w 902"/>
                <a:gd name="T89" fmla="*/ 892 h 902"/>
                <a:gd name="T90" fmla="*/ 480 w 902"/>
                <a:gd name="T91" fmla="*/ 842 h 902"/>
                <a:gd name="T92" fmla="*/ 557 w 902"/>
                <a:gd name="T93" fmla="*/ 756 h 902"/>
                <a:gd name="T94" fmla="*/ 598 w 902"/>
                <a:gd name="T95" fmla="*/ 647 h 902"/>
                <a:gd name="T96" fmla="*/ 676 w 902"/>
                <a:gd name="T97" fmla="*/ 591 h 902"/>
                <a:gd name="T98" fmla="*/ 781 w 902"/>
                <a:gd name="T99" fmla="*/ 541 h 902"/>
                <a:gd name="T100" fmla="*/ 858 w 902"/>
                <a:gd name="T101" fmla="*/ 456 h 902"/>
                <a:gd name="T102" fmla="*/ 899 w 902"/>
                <a:gd name="T103" fmla="*/ 346 h 902"/>
                <a:gd name="T104" fmla="*/ 892 w 902"/>
                <a:gd name="T105" fmla="*/ 225 h 902"/>
                <a:gd name="T106" fmla="*/ 842 w 902"/>
                <a:gd name="T107" fmla="*/ 120 h 902"/>
                <a:gd name="T108" fmla="*/ 757 w 902"/>
                <a:gd name="T109" fmla="*/ 42 h 902"/>
                <a:gd name="T110" fmla="*/ 647 w 902"/>
                <a:gd name="T111" fmla="*/ 3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902">
                  <a:moveTo>
                    <a:pt x="601" y="571"/>
                  </a:moveTo>
                  <a:lnTo>
                    <a:pt x="587" y="571"/>
                  </a:lnTo>
                  <a:lnTo>
                    <a:pt x="573" y="569"/>
                  </a:lnTo>
                  <a:lnTo>
                    <a:pt x="560" y="567"/>
                  </a:lnTo>
                  <a:lnTo>
                    <a:pt x="546" y="565"/>
                  </a:lnTo>
                  <a:lnTo>
                    <a:pt x="534" y="562"/>
                  </a:lnTo>
                  <a:lnTo>
                    <a:pt x="521" y="559"/>
                  </a:lnTo>
                  <a:lnTo>
                    <a:pt x="508" y="554"/>
                  </a:lnTo>
                  <a:lnTo>
                    <a:pt x="496" y="549"/>
                  </a:lnTo>
                  <a:lnTo>
                    <a:pt x="484" y="544"/>
                  </a:lnTo>
                  <a:lnTo>
                    <a:pt x="472" y="537"/>
                  </a:lnTo>
                  <a:lnTo>
                    <a:pt x="461" y="531"/>
                  </a:lnTo>
                  <a:lnTo>
                    <a:pt x="450" y="524"/>
                  </a:lnTo>
                  <a:lnTo>
                    <a:pt x="439" y="517"/>
                  </a:lnTo>
                  <a:lnTo>
                    <a:pt x="429" y="508"/>
                  </a:lnTo>
                  <a:lnTo>
                    <a:pt x="419" y="500"/>
                  </a:lnTo>
                  <a:lnTo>
                    <a:pt x="409" y="491"/>
                  </a:lnTo>
                  <a:lnTo>
                    <a:pt x="401" y="482"/>
                  </a:lnTo>
                  <a:lnTo>
                    <a:pt x="392" y="472"/>
                  </a:lnTo>
                  <a:lnTo>
                    <a:pt x="385" y="461"/>
                  </a:lnTo>
                  <a:lnTo>
                    <a:pt x="377" y="452"/>
                  </a:lnTo>
                  <a:lnTo>
                    <a:pt x="370" y="440"/>
                  </a:lnTo>
                  <a:lnTo>
                    <a:pt x="363" y="429"/>
                  </a:lnTo>
                  <a:lnTo>
                    <a:pt x="357" y="417"/>
                  </a:lnTo>
                  <a:lnTo>
                    <a:pt x="351" y="406"/>
                  </a:lnTo>
                  <a:lnTo>
                    <a:pt x="347" y="393"/>
                  </a:lnTo>
                  <a:lnTo>
                    <a:pt x="343" y="380"/>
                  </a:lnTo>
                  <a:lnTo>
                    <a:pt x="339" y="367"/>
                  </a:lnTo>
                  <a:lnTo>
                    <a:pt x="336" y="354"/>
                  </a:lnTo>
                  <a:lnTo>
                    <a:pt x="333" y="341"/>
                  </a:lnTo>
                  <a:lnTo>
                    <a:pt x="332" y="327"/>
                  </a:lnTo>
                  <a:lnTo>
                    <a:pt x="331" y="313"/>
                  </a:lnTo>
                  <a:lnTo>
                    <a:pt x="330" y="300"/>
                  </a:lnTo>
                  <a:lnTo>
                    <a:pt x="331" y="286"/>
                  </a:lnTo>
                  <a:lnTo>
                    <a:pt x="332" y="273"/>
                  </a:lnTo>
                  <a:lnTo>
                    <a:pt x="333" y="259"/>
                  </a:lnTo>
                  <a:lnTo>
                    <a:pt x="336" y="246"/>
                  </a:lnTo>
                  <a:lnTo>
                    <a:pt x="339" y="232"/>
                  </a:lnTo>
                  <a:lnTo>
                    <a:pt x="343" y="219"/>
                  </a:lnTo>
                  <a:lnTo>
                    <a:pt x="347" y="207"/>
                  </a:lnTo>
                  <a:lnTo>
                    <a:pt x="351" y="195"/>
                  </a:lnTo>
                  <a:lnTo>
                    <a:pt x="357" y="183"/>
                  </a:lnTo>
                  <a:lnTo>
                    <a:pt x="363" y="171"/>
                  </a:lnTo>
                  <a:lnTo>
                    <a:pt x="370" y="159"/>
                  </a:lnTo>
                  <a:lnTo>
                    <a:pt x="377" y="148"/>
                  </a:lnTo>
                  <a:lnTo>
                    <a:pt x="385" y="138"/>
                  </a:lnTo>
                  <a:lnTo>
                    <a:pt x="392" y="128"/>
                  </a:lnTo>
                  <a:lnTo>
                    <a:pt x="401" y="118"/>
                  </a:lnTo>
                  <a:lnTo>
                    <a:pt x="409" y="109"/>
                  </a:lnTo>
                  <a:lnTo>
                    <a:pt x="419" y="99"/>
                  </a:lnTo>
                  <a:lnTo>
                    <a:pt x="429" y="92"/>
                  </a:lnTo>
                  <a:lnTo>
                    <a:pt x="439" y="83"/>
                  </a:lnTo>
                  <a:lnTo>
                    <a:pt x="450" y="76"/>
                  </a:lnTo>
                  <a:lnTo>
                    <a:pt x="461" y="68"/>
                  </a:lnTo>
                  <a:lnTo>
                    <a:pt x="472" y="62"/>
                  </a:lnTo>
                  <a:lnTo>
                    <a:pt x="484" y="56"/>
                  </a:lnTo>
                  <a:lnTo>
                    <a:pt x="496" y="51"/>
                  </a:lnTo>
                  <a:lnTo>
                    <a:pt x="508" y="46"/>
                  </a:lnTo>
                  <a:lnTo>
                    <a:pt x="521" y="41"/>
                  </a:lnTo>
                  <a:lnTo>
                    <a:pt x="534" y="38"/>
                  </a:lnTo>
                  <a:lnTo>
                    <a:pt x="546" y="35"/>
                  </a:lnTo>
                  <a:lnTo>
                    <a:pt x="560" y="33"/>
                  </a:lnTo>
                  <a:lnTo>
                    <a:pt x="573" y="31"/>
                  </a:lnTo>
                  <a:lnTo>
                    <a:pt x="587" y="30"/>
                  </a:lnTo>
                  <a:lnTo>
                    <a:pt x="601" y="30"/>
                  </a:lnTo>
                  <a:lnTo>
                    <a:pt x="615" y="30"/>
                  </a:lnTo>
                  <a:lnTo>
                    <a:pt x="629" y="31"/>
                  </a:lnTo>
                  <a:lnTo>
                    <a:pt x="642" y="33"/>
                  </a:lnTo>
                  <a:lnTo>
                    <a:pt x="656" y="35"/>
                  </a:lnTo>
                  <a:lnTo>
                    <a:pt x="668" y="38"/>
                  </a:lnTo>
                  <a:lnTo>
                    <a:pt x="681" y="41"/>
                  </a:lnTo>
                  <a:lnTo>
                    <a:pt x="694" y="46"/>
                  </a:lnTo>
                  <a:lnTo>
                    <a:pt x="706" y="51"/>
                  </a:lnTo>
                  <a:lnTo>
                    <a:pt x="718" y="56"/>
                  </a:lnTo>
                  <a:lnTo>
                    <a:pt x="730" y="62"/>
                  </a:lnTo>
                  <a:lnTo>
                    <a:pt x="741" y="68"/>
                  </a:lnTo>
                  <a:lnTo>
                    <a:pt x="752" y="76"/>
                  </a:lnTo>
                  <a:lnTo>
                    <a:pt x="763" y="83"/>
                  </a:lnTo>
                  <a:lnTo>
                    <a:pt x="773" y="92"/>
                  </a:lnTo>
                  <a:lnTo>
                    <a:pt x="783" y="99"/>
                  </a:lnTo>
                  <a:lnTo>
                    <a:pt x="793" y="109"/>
                  </a:lnTo>
                  <a:lnTo>
                    <a:pt x="801" y="118"/>
                  </a:lnTo>
                  <a:lnTo>
                    <a:pt x="810" y="128"/>
                  </a:lnTo>
                  <a:lnTo>
                    <a:pt x="817" y="138"/>
                  </a:lnTo>
                  <a:lnTo>
                    <a:pt x="825" y="148"/>
                  </a:lnTo>
                  <a:lnTo>
                    <a:pt x="832" y="159"/>
                  </a:lnTo>
                  <a:lnTo>
                    <a:pt x="839" y="171"/>
                  </a:lnTo>
                  <a:lnTo>
                    <a:pt x="845" y="183"/>
                  </a:lnTo>
                  <a:lnTo>
                    <a:pt x="851" y="195"/>
                  </a:lnTo>
                  <a:lnTo>
                    <a:pt x="855" y="207"/>
                  </a:lnTo>
                  <a:lnTo>
                    <a:pt x="859" y="219"/>
                  </a:lnTo>
                  <a:lnTo>
                    <a:pt x="863" y="232"/>
                  </a:lnTo>
                  <a:lnTo>
                    <a:pt x="867" y="246"/>
                  </a:lnTo>
                  <a:lnTo>
                    <a:pt x="869" y="259"/>
                  </a:lnTo>
                  <a:lnTo>
                    <a:pt x="870" y="273"/>
                  </a:lnTo>
                  <a:lnTo>
                    <a:pt x="871" y="286"/>
                  </a:lnTo>
                  <a:lnTo>
                    <a:pt x="872" y="300"/>
                  </a:lnTo>
                  <a:lnTo>
                    <a:pt x="871" y="313"/>
                  </a:lnTo>
                  <a:lnTo>
                    <a:pt x="870" y="327"/>
                  </a:lnTo>
                  <a:lnTo>
                    <a:pt x="869" y="341"/>
                  </a:lnTo>
                  <a:lnTo>
                    <a:pt x="867" y="354"/>
                  </a:lnTo>
                  <a:lnTo>
                    <a:pt x="863" y="367"/>
                  </a:lnTo>
                  <a:lnTo>
                    <a:pt x="859" y="380"/>
                  </a:lnTo>
                  <a:lnTo>
                    <a:pt x="855" y="393"/>
                  </a:lnTo>
                  <a:lnTo>
                    <a:pt x="851" y="406"/>
                  </a:lnTo>
                  <a:lnTo>
                    <a:pt x="845" y="417"/>
                  </a:lnTo>
                  <a:lnTo>
                    <a:pt x="839" y="429"/>
                  </a:lnTo>
                  <a:lnTo>
                    <a:pt x="832" y="440"/>
                  </a:lnTo>
                  <a:lnTo>
                    <a:pt x="825" y="452"/>
                  </a:lnTo>
                  <a:lnTo>
                    <a:pt x="817" y="461"/>
                  </a:lnTo>
                  <a:lnTo>
                    <a:pt x="810" y="472"/>
                  </a:lnTo>
                  <a:lnTo>
                    <a:pt x="801" y="482"/>
                  </a:lnTo>
                  <a:lnTo>
                    <a:pt x="793" y="491"/>
                  </a:lnTo>
                  <a:lnTo>
                    <a:pt x="783" y="500"/>
                  </a:lnTo>
                  <a:lnTo>
                    <a:pt x="773" y="508"/>
                  </a:lnTo>
                  <a:lnTo>
                    <a:pt x="763" y="517"/>
                  </a:lnTo>
                  <a:lnTo>
                    <a:pt x="752" y="524"/>
                  </a:lnTo>
                  <a:lnTo>
                    <a:pt x="741" y="531"/>
                  </a:lnTo>
                  <a:lnTo>
                    <a:pt x="730" y="537"/>
                  </a:lnTo>
                  <a:lnTo>
                    <a:pt x="718" y="544"/>
                  </a:lnTo>
                  <a:lnTo>
                    <a:pt x="706" y="549"/>
                  </a:lnTo>
                  <a:lnTo>
                    <a:pt x="694" y="554"/>
                  </a:lnTo>
                  <a:lnTo>
                    <a:pt x="681" y="559"/>
                  </a:lnTo>
                  <a:lnTo>
                    <a:pt x="668" y="562"/>
                  </a:lnTo>
                  <a:lnTo>
                    <a:pt x="656" y="565"/>
                  </a:lnTo>
                  <a:lnTo>
                    <a:pt x="642" y="567"/>
                  </a:lnTo>
                  <a:lnTo>
                    <a:pt x="629" y="569"/>
                  </a:lnTo>
                  <a:lnTo>
                    <a:pt x="615" y="571"/>
                  </a:lnTo>
                  <a:lnTo>
                    <a:pt x="601" y="571"/>
                  </a:lnTo>
                  <a:close/>
                  <a:moveTo>
                    <a:pt x="571" y="601"/>
                  </a:moveTo>
                  <a:lnTo>
                    <a:pt x="571" y="614"/>
                  </a:lnTo>
                  <a:lnTo>
                    <a:pt x="570" y="628"/>
                  </a:lnTo>
                  <a:lnTo>
                    <a:pt x="568" y="641"/>
                  </a:lnTo>
                  <a:lnTo>
                    <a:pt x="566" y="655"/>
                  </a:lnTo>
                  <a:lnTo>
                    <a:pt x="562" y="668"/>
                  </a:lnTo>
                  <a:lnTo>
                    <a:pt x="559" y="681"/>
                  </a:lnTo>
                  <a:lnTo>
                    <a:pt x="555" y="694"/>
                  </a:lnTo>
                  <a:lnTo>
                    <a:pt x="550" y="706"/>
                  </a:lnTo>
                  <a:lnTo>
                    <a:pt x="544" y="717"/>
                  </a:lnTo>
                  <a:lnTo>
                    <a:pt x="538" y="729"/>
                  </a:lnTo>
                  <a:lnTo>
                    <a:pt x="531" y="741"/>
                  </a:lnTo>
                  <a:lnTo>
                    <a:pt x="525" y="752"/>
                  </a:lnTo>
                  <a:lnTo>
                    <a:pt x="517" y="762"/>
                  </a:lnTo>
                  <a:lnTo>
                    <a:pt x="509" y="773"/>
                  </a:lnTo>
                  <a:lnTo>
                    <a:pt x="500" y="783"/>
                  </a:lnTo>
                  <a:lnTo>
                    <a:pt x="492" y="792"/>
                  </a:lnTo>
                  <a:lnTo>
                    <a:pt x="482" y="801"/>
                  </a:lnTo>
                  <a:lnTo>
                    <a:pt x="472" y="809"/>
                  </a:lnTo>
                  <a:lnTo>
                    <a:pt x="462" y="817"/>
                  </a:lnTo>
                  <a:lnTo>
                    <a:pt x="451" y="824"/>
                  </a:lnTo>
                  <a:lnTo>
                    <a:pt x="440" y="832"/>
                  </a:lnTo>
                  <a:lnTo>
                    <a:pt x="430" y="838"/>
                  </a:lnTo>
                  <a:lnTo>
                    <a:pt x="418" y="845"/>
                  </a:lnTo>
                  <a:lnTo>
                    <a:pt x="406" y="850"/>
                  </a:lnTo>
                  <a:lnTo>
                    <a:pt x="393" y="854"/>
                  </a:lnTo>
                  <a:lnTo>
                    <a:pt x="380" y="859"/>
                  </a:lnTo>
                  <a:lnTo>
                    <a:pt x="367" y="863"/>
                  </a:lnTo>
                  <a:lnTo>
                    <a:pt x="355" y="866"/>
                  </a:lnTo>
                  <a:lnTo>
                    <a:pt x="342" y="868"/>
                  </a:lnTo>
                  <a:lnTo>
                    <a:pt x="328" y="869"/>
                  </a:lnTo>
                  <a:lnTo>
                    <a:pt x="314" y="870"/>
                  </a:lnTo>
                  <a:lnTo>
                    <a:pt x="300" y="872"/>
                  </a:lnTo>
                  <a:lnTo>
                    <a:pt x="286" y="870"/>
                  </a:lnTo>
                  <a:lnTo>
                    <a:pt x="273" y="869"/>
                  </a:lnTo>
                  <a:lnTo>
                    <a:pt x="259" y="868"/>
                  </a:lnTo>
                  <a:lnTo>
                    <a:pt x="245" y="866"/>
                  </a:lnTo>
                  <a:lnTo>
                    <a:pt x="232" y="863"/>
                  </a:lnTo>
                  <a:lnTo>
                    <a:pt x="220" y="859"/>
                  </a:lnTo>
                  <a:lnTo>
                    <a:pt x="208" y="854"/>
                  </a:lnTo>
                  <a:lnTo>
                    <a:pt x="195" y="850"/>
                  </a:lnTo>
                  <a:lnTo>
                    <a:pt x="183" y="845"/>
                  </a:lnTo>
                  <a:lnTo>
                    <a:pt x="171" y="838"/>
                  </a:lnTo>
                  <a:lnTo>
                    <a:pt x="160" y="832"/>
                  </a:lnTo>
                  <a:lnTo>
                    <a:pt x="149" y="824"/>
                  </a:lnTo>
                  <a:lnTo>
                    <a:pt x="138" y="817"/>
                  </a:lnTo>
                  <a:lnTo>
                    <a:pt x="129" y="809"/>
                  </a:lnTo>
                  <a:lnTo>
                    <a:pt x="119" y="801"/>
                  </a:lnTo>
                  <a:lnTo>
                    <a:pt x="109" y="792"/>
                  </a:lnTo>
                  <a:lnTo>
                    <a:pt x="100" y="783"/>
                  </a:lnTo>
                  <a:lnTo>
                    <a:pt x="91" y="773"/>
                  </a:lnTo>
                  <a:lnTo>
                    <a:pt x="84" y="762"/>
                  </a:lnTo>
                  <a:lnTo>
                    <a:pt x="76" y="752"/>
                  </a:lnTo>
                  <a:lnTo>
                    <a:pt x="69" y="741"/>
                  </a:lnTo>
                  <a:lnTo>
                    <a:pt x="62" y="729"/>
                  </a:lnTo>
                  <a:lnTo>
                    <a:pt x="57" y="717"/>
                  </a:lnTo>
                  <a:lnTo>
                    <a:pt x="51" y="706"/>
                  </a:lnTo>
                  <a:lnTo>
                    <a:pt x="46" y="694"/>
                  </a:lnTo>
                  <a:lnTo>
                    <a:pt x="42" y="681"/>
                  </a:lnTo>
                  <a:lnTo>
                    <a:pt x="39" y="668"/>
                  </a:lnTo>
                  <a:lnTo>
                    <a:pt x="35" y="655"/>
                  </a:lnTo>
                  <a:lnTo>
                    <a:pt x="33" y="641"/>
                  </a:lnTo>
                  <a:lnTo>
                    <a:pt x="31" y="628"/>
                  </a:lnTo>
                  <a:lnTo>
                    <a:pt x="30" y="614"/>
                  </a:lnTo>
                  <a:lnTo>
                    <a:pt x="30" y="601"/>
                  </a:lnTo>
                  <a:lnTo>
                    <a:pt x="30" y="587"/>
                  </a:lnTo>
                  <a:lnTo>
                    <a:pt x="31" y="573"/>
                  </a:lnTo>
                  <a:lnTo>
                    <a:pt x="33" y="560"/>
                  </a:lnTo>
                  <a:lnTo>
                    <a:pt x="35" y="546"/>
                  </a:lnTo>
                  <a:lnTo>
                    <a:pt x="39" y="533"/>
                  </a:lnTo>
                  <a:lnTo>
                    <a:pt x="42" y="520"/>
                  </a:lnTo>
                  <a:lnTo>
                    <a:pt x="46" y="507"/>
                  </a:lnTo>
                  <a:lnTo>
                    <a:pt x="51" y="496"/>
                  </a:lnTo>
                  <a:lnTo>
                    <a:pt x="57" y="484"/>
                  </a:lnTo>
                  <a:lnTo>
                    <a:pt x="62" y="472"/>
                  </a:lnTo>
                  <a:lnTo>
                    <a:pt x="69" y="460"/>
                  </a:lnTo>
                  <a:lnTo>
                    <a:pt x="76" y="449"/>
                  </a:lnTo>
                  <a:lnTo>
                    <a:pt x="84" y="439"/>
                  </a:lnTo>
                  <a:lnTo>
                    <a:pt x="91" y="428"/>
                  </a:lnTo>
                  <a:lnTo>
                    <a:pt x="100" y="418"/>
                  </a:lnTo>
                  <a:lnTo>
                    <a:pt x="109" y="409"/>
                  </a:lnTo>
                  <a:lnTo>
                    <a:pt x="119" y="400"/>
                  </a:lnTo>
                  <a:lnTo>
                    <a:pt x="129" y="392"/>
                  </a:lnTo>
                  <a:lnTo>
                    <a:pt x="138" y="384"/>
                  </a:lnTo>
                  <a:lnTo>
                    <a:pt x="149" y="377"/>
                  </a:lnTo>
                  <a:lnTo>
                    <a:pt x="160" y="369"/>
                  </a:lnTo>
                  <a:lnTo>
                    <a:pt x="171" y="363"/>
                  </a:lnTo>
                  <a:lnTo>
                    <a:pt x="183" y="356"/>
                  </a:lnTo>
                  <a:lnTo>
                    <a:pt x="195" y="351"/>
                  </a:lnTo>
                  <a:lnTo>
                    <a:pt x="208" y="347"/>
                  </a:lnTo>
                  <a:lnTo>
                    <a:pt x="220" y="342"/>
                  </a:lnTo>
                  <a:lnTo>
                    <a:pt x="232" y="338"/>
                  </a:lnTo>
                  <a:lnTo>
                    <a:pt x="245" y="336"/>
                  </a:lnTo>
                  <a:lnTo>
                    <a:pt x="259" y="333"/>
                  </a:lnTo>
                  <a:lnTo>
                    <a:pt x="273" y="332"/>
                  </a:lnTo>
                  <a:lnTo>
                    <a:pt x="286" y="331"/>
                  </a:lnTo>
                  <a:lnTo>
                    <a:pt x="300" y="330"/>
                  </a:lnTo>
                  <a:lnTo>
                    <a:pt x="301" y="330"/>
                  </a:lnTo>
                  <a:lnTo>
                    <a:pt x="302" y="331"/>
                  </a:lnTo>
                  <a:lnTo>
                    <a:pt x="303" y="343"/>
                  </a:lnTo>
                  <a:lnTo>
                    <a:pt x="305" y="356"/>
                  </a:lnTo>
                  <a:lnTo>
                    <a:pt x="309" y="369"/>
                  </a:lnTo>
                  <a:lnTo>
                    <a:pt x="312" y="382"/>
                  </a:lnTo>
                  <a:lnTo>
                    <a:pt x="315" y="394"/>
                  </a:lnTo>
                  <a:lnTo>
                    <a:pt x="319" y="407"/>
                  </a:lnTo>
                  <a:lnTo>
                    <a:pt x="325" y="418"/>
                  </a:lnTo>
                  <a:lnTo>
                    <a:pt x="330" y="430"/>
                  </a:lnTo>
                  <a:lnTo>
                    <a:pt x="335" y="441"/>
                  </a:lnTo>
                  <a:lnTo>
                    <a:pt x="342" y="453"/>
                  </a:lnTo>
                  <a:lnTo>
                    <a:pt x="348" y="463"/>
                  </a:lnTo>
                  <a:lnTo>
                    <a:pt x="356" y="474"/>
                  </a:lnTo>
                  <a:lnTo>
                    <a:pt x="372" y="493"/>
                  </a:lnTo>
                  <a:lnTo>
                    <a:pt x="389" y="513"/>
                  </a:lnTo>
                  <a:lnTo>
                    <a:pt x="407" y="530"/>
                  </a:lnTo>
                  <a:lnTo>
                    <a:pt x="427" y="545"/>
                  </a:lnTo>
                  <a:lnTo>
                    <a:pt x="438" y="552"/>
                  </a:lnTo>
                  <a:lnTo>
                    <a:pt x="449" y="559"/>
                  </a:lnTo>
                  <a:lnTo>
                    <a:pt x="460" y="565"/>
                  </a:lnTo>
                  <a:lnTo>
                    <a:pt x="471" y="571"/>
                  </a:lnTo>
                  <a:lnTo>
                    <a:pt x="483" y="576"/>
                  </a:lnTo>
                  <a:lnTo>
                    <a:pt x="495" y="581"/>
                  </a:lnTo>
                  <a:lnTo>
                    <a:pt x="507" y="586"/>
                  </a:lnTo>
                  <a:lnTo>
                    <a:pt x="520" y="590"/>
                  </a:lnTo>
                  <a:lnTo>
                    <a:pt x="531" y="593"/>
                  </a:lnTo>
                  <a:lnTo>
                    <a:pt x="544" y="595"/>
                  </a:lnTo>
                  <a:lnTo>
                    <a:pt x="558" y="597"/>
                  </a:lnTo>
                  <a:lnTo>
                    <a:pt x="571" y="599"/>
                  </a:lnTo>
                  <a:lnTo>
                    <a:pt x="571" y="599"/>
                  </a:lnTo>
                  <a:lnTo>
                    <a:pt x="571" y="601"/>
                  </a:lnTo>
                  <a:close/>
                  <a:moveTo>
                    <a:pt x="601" y="0"/>
                  </a:moveTo>
                  <a:lnTo>
                    <a:pt x="586" y="0"/>
                  </a:lnTo>
                  <a:lnTo>
                    <a:pt x="570" y="1"/>
                  </a:lnTo>
                  <a:lnTo>
                    <a:pt x="555" y="3"/>
                  </a:lnTo>
                  <a:lnTo>
                    <a:pt x="541" y="5"/>
                  </a:lnTo>
                  <a:lnTo>
                    <a:pt x="526" y="9"/>
                  </a:lnTo>
                  <a:lnTo>
                    <a:pt x="512" y="12"/>
                  </a:lnTo>
                  <a:lnTo>
                    <a:pt x="498" y="18"/>
                  </a:lnTo>
                  <a:lnTo>
                    <a:pt x="484" y="23"/>
                  </a:lnTo>
                  <a:lnTo>
                    <a:pt x="470" y="29"/>
                  </a:lnTo>
                  <a:lnTo>
                    <a:pt x="457" y="36"/>
                  </a:lnTo>
                  <a:lnTo>
                    <a:pt x="446" y="42"/>
                  </a:lnTo>
                  <a:lnTo>
                    <a:pt x="433" y="51"/>
                  </a:lnTo>
                  <a:lnTo>
                    <a:pt x="421" y="60"/>
                  </a:lnTo>
                  <a:lnTo>
                    <a:pt x="410" y="68"/>
                  </a:lnTo>
                  <a:lnTo>
                    <a:pt x="399" y="78"/>
                  </a:lnTo>
                  <a:lnTo>
                    <a:pt x="389" y="87"/>
                  </a:lnTo>
                  <a:lnTo>
                    <a:pt x="378" y="98"/>
                  </a:lnTo>
                  <a:lnTo>
                    <a:pt x="370" y="109"/>
                  </a:lnTo>
                  <a:lnTo>
                    <a:pt x="360" y="121"/>
                  </a:lnTo>
                  <a:lnTo>
                    <a:pt x="351" y="132"/>
                  </a:lnTo>
                  <a:lnTo>
                    <a:pt x="344" y="144"/>
                  </a:lnTo>
                  <a:lnTo>
                    <a:pt x="336" y="157"/>
                  </a:lnTo>
                  <a:lnTo>
                    <a:pt x="330" y="170"/>
                  </a:lnTo>
                  <a:lnTo>
                    <a:pt x="324" y="183"/>
                  </a:lnTo>
                  <a:lnTo>
                    <a:pt x="318" y="197"/>
                  </a:lnTo>
                  <a:lnTo>
                    <a:pt x="314" y="211"/>
                  </a:lnTo>
                  <a:lnTo>
                    <a:pt x="310" y="225"/>
                  </a:lnTo>
                  <a:lnTo>
                    <a:pt x="306" y="240"/>
                  </a:lnTo>
                  <a:lnTo>
                    <a:pt x="304" y="255"/>
                  </a:lnTo>
                  <a:lnTo>
                    <a:pt x="302" y="270"/>
                  </a:lnTo>
                  <a:lnTo>
                    <a:pt x="301" y="285"/>
                  </a:lnTo>
                  <a:lnTo>
                    <a:pt x="300" y="300"/>
                  </a:lnTo>
                  <a:lnTo>
                    <a:pt x="285" y="301"/>
                  </a:lnTo>
                  <a:lnTo>
                    <a:pt x="270" y="302"/>
                  </a:lnTo>
                  <a:lnTo>
                    <a:pt x="255" y="304"/>
                  </a:lnTo>
                  <a:lnTo>
                    <a:pt x="240" y="306"/>
                  </a:lnTo>
                  <a:lnTo>
                    <a:pt x="225" y="309"/>
                  </a:lnTo>
                  <a:lnTo>
                    <a:pt x="211" y="313"/>
                  </a:lnTo>
                  <a:lnTo>
                    <a:pt x="197" y="318"/>
                  </a:lnTo>
                  <a:lnTo>
                    <a:pt x="183" y="323"/>
                  </a:lnTo>
                  <a:lnTo>
                    <a:pt x="170" y="330"/>
                  </a:lnTo>
                  <a:lnTo>
                    <a:pt x="158" y="336"/>
                  </a:lnTo>
                  <a:lnTo>
                    <a:pt x="145" y="343"/>
                  </a:lnTo>
                  <a:lnTo>
                    <a:pt x="133" y="351"/>
                  </a:lnTo>
                  <a:lnTo>
                    <a:pt x="121" y="360"/>
                  </a:lnTo>
                  <a:lnTo>
                    <a:pt x="109" y="369"/>
                  </a:lnTo>
                  <a:lnTo>
                    <a:pt x="99" y="378"/>
                  </a:lnTo>
                  <a:lnTo>
                    <a:pt x="88" y="388"/>
                  </a:lnTo>
                  <a:lnTo>
                    <a:pt x="78" y="398"/>
                  </a:lnTo>
                  <a:lnTo>
                    <a:pt x="69" y="410"/>
                  </a:lnTo>
                  <a:lnTo>
                    <a:pt x="59" y="421"/>
                  </a:lnTo>
                  <a:lnTo>
                    <a:pt x="51" y="432"/>
                  </a:lnTo>
                  <a:lnTo>
                    <a:pt x="43" y="445"/>
                  </a:lnTo>
                  <a:lnTo>
                    <a:pt x="36" y="457"/>
                  </a:lnTo>
                  <a:lnTo>
                    <a:pt x="29" y="470"/>
                  </a:lnTo>
                  <a:lnTo>
                    <a:pt x="24" y="484"/>
                  </a:lnTo>
                  <a:lnTo>
                    <a:pt x="18" y="498"/>
                  </a:lnTo>
                  <a:lnTo>
                    <a:pt x="13" y="512"/>
                  </a:lnTo>
                  <a:lnTo>
                    <a:pt x="10" y="526"/>
                  </a:lnTo>
                  <a:lnTo>
                    <a:pt x="5" y="541"/>
                  </a:lnTo>
                  <a:lnTo>
                    <a:pt x="3" y="554"/>
                  </a:lnTo>
                  <a:lnTo>
                    <a:pt x="1" y="569"/>
                  </a:lnTo>
                  <a:lnTo>
                    <a:pt x="0" y="586"/>
                  </a:lnTo>
                  <a:lnTo>
                    <a:pt x="0" y="601"/>
                  </a:lnTo>
                  <a:lnTo>
                    <a:pt x="0" y="616"/>
                  </a:lnTo>
                  <a:lnTo>
                    <a:pt x="1" y="632"/>
                  </a:lnTo>
                  <a:lnTo>
                    <a:pt x="3" y="647"/>
                  </a:lnTo>
                  <a:lnTo>
                    <a:pt x="5" y="662"/>
                  </a:lnTo>
                  <a:lnTo>
                    <a:pt x="10" y="676"/>
                  </a:lnTo>
                  <a:lnTo>
                    <a:pt x="13" y="689"/>
                  </a:lnTo>
                  <a:lnTo>
                    <a:pt x="18" y="703"/>
                  </a:lnTo>
                  <a:lnTo>
                    <a:pt x="24" y="717"/>
                  </a:lnTo>
                  <a:lnTo>
                    <a:pt x="29" y="731"/>
                  </a:lnTo>
                  <a:lnTo>
                    <a:pt x="36" y="744"/>
                  </a:lnTo>
                  <a:lnTo>
                    <a:pt x="43" y="756"/>
                  </a:lnTo>
                  <a:lnTo>
                    <a:pt x="51" y="769"/>
                  </a:lnTo>
                  <a:lnTo>
                    <a:pt x="59" y="780"/>
                  </a:lnTo>
                  <a:lnTo>
                    <a:pt x="69" y="791"/>
                  </a:lnTo>
                  <a:lnTo>
                    <a:pt x="78" y="803"/>
                  </a:lnTo>
                  <a:lnTo>
                    <a:pt x="88" y="813"/>
                  </a:lnTo>
                  <a:lnTo>
                    <a:pt x="99" y="823"/>
                  </a:lnTo>
                  <a:lnTo>
                    <a:pt x="109" y="833"/>
                  </a:lnTo>
                  <a:lnTo>
                    <a:pt x="121" y="842"/>
                  </a:lnTo>
                  <a:lnTo>
                    <a:pt x="133" y="850"/>
                  </a:lnTo>
                  <a:lnTo>
                    <a:pt x="145" y="858"/>
                  </a:lnTo>
                  <a:lnTo>
                    <a:pt x="158" y="865"/>
                  </a:lnTo>
                  <a:lnTo>
                    <a:pt x="170" y="872"/>
                  </a:lnTo>
                  <a:lnTo>
                    <a:pt x="183" y="878"/>
                  </a:lnTo>
                  <a:lnTo>
                    <a:pt x="197" y="883"/>
                  </a:lnTo>
                  <a:lnTo>
                    <a:pt x="211" y="888"/>
                  </a:lnTo>
                  <a:lnTo>
                    <a:pt x="225" y="892"/>
                  </a:lnTo>
                  <a:lnTo>
                    <a:pt x="240" y="895"/>
                  </a:lnTo>
                  <a:lnTo>
                    <a:pt x="255" y="898"/>
                  </a:lnTo>
                  <a:lnTo>
                    <a:pt x="270" y="899"/>
                  </a:lnTo>
                  <a:lnTo>
                    <a:pt x="285" y="900"/>
                  </a:lnTo>
                  <a:lnTo>
                    <a:pt x="300" y="902"/>
                  </a:lnTo>
                  <a:lnTo>
                    <a:pt x="316" y="900"/>
                  </a:lnTo>
                  <a:lnTo>
                    <a:pt x="331" y="899"/>
                  </a:lnTo>
                  <a:lnTo>
                    <a:pt x="346" y="898"/>
                  </a:lnTo>
                  <a:lnTo>
                    <a:pt x="361" y="895"/>
                  </a:lnTo>
                  <a:lnTo>
                    <a:pt x="375" y="892"/>
                  </a:lnTo>
                  <a:lnTo>
                    <a:pt x="390" y="888"/>
                  </a:lnTo>
                  <a:lnTo>
                    <a:pt x="404" y="883"/>
                  </a:lnTo>
                  <a:lnTo>
                    <a:pt x="418" y="878"/>
                  </a:lnTo>
                  <a:lnTo>
                    <a:pt x="431" y="872"/>
                  </a:lnTo>
                  <a:lnTo>
                    <a:pt x="444" y="865"/>
                  </a:lnTo>
                  <a:lnTo>
                    <a:pt x="456" y="858"/>
                  </a:lnTo>
                  <a:lnTo>
                    <a:pt x="468" y="850"/>
                  </a:lnTo>
                  <a:lnTo>
                    <a:pt x="480" y="842"/>
                  </a:lnTo>
                  <a:lnTo>
                    <a:pt x="492" y="833"/>
                  </a:lnTo>
                  <a:lnTo>
                    <a:pt x="502" y="823"/>
                  </a:lnTo>
                  <a:lnTo>
                    <a:pt x="513" y="813"/>
                  </a:lnTo>
                  <a:lnTo>
                    <a:pt x="523" y="803"/>
                  </a:lnTo>
                  <a:lnTo>
                    <a:pt x="532" y="791"/>
                  </a:lnTo>
                  <a:lnTo>
                    <a:pt x="541" y="780"/>
                  </a:lnTo>
                  <a:lnTo>
                    <a:pt x="550" y="769"/>
                  </a:lnTo>
                  <a:lnTo>
                    <a:pt x="557" y="756"/>
                  </a:lnTo>
                  <a:lnTo>
                    <a:pt x="565" y="744"/>
                  </a:lnTo>
                  <a:lnTo>
                    <a:pt x="571" y="731"/>
                  </a:lnTo>
                  <a:lnTo>
                    <a:pt x="577" y="717"/>
                  </a:lnTo>
                  <a:lnTo>
                    <a:pt x="583" y="703"/>
                  </a:lnTo>
                  <a:lnTo>
                    <a:pt x="587" y="689"/>
                  </a:lnTo>
                  <a:lnTo>
                    <a:pt x="591" y="676"/>
                  </a:lnTo>
                  <a:lnTo>
                    <a:pt x="595" y="662"/>
                  </a:lnTo>
                  <a:lnTo>
                    <a:pt x="598" y="647"/>
                  </a:lnTo>
                  <a:lnTo>
                    <a:pt x="600" y="632"/>
                  </a:lnTo>
                  <a:lnTo>
                    <a:pt x="601" y="616"/>
                  </a:lnTo>
                  <a:lnTo>
                    <a:pt x="601" y="601"/>
                  </a:lnTo>
                  <a:lnTo>
                    <a:pt x="616" y="601"/>
                  </a:lnTo>
                  <a:lnTo>
                    <a:pt x="632" y="599"/>
                  </a:lnTo>
                  <a:lnTo>
                    <a:pt x="647" y="597"/>
                  </a:lnTo>
                  <a:lnTo>
                    <a:pt x="662" y="594"/>
                  </a:lnTo>
                  <a:lnTo>
                    <a:pt x="676" y="591"/>
                  </a:lnTo>
                  <a:lnTo>
                    <a:pt x="690" y="587"/>
                  </a:lnTo>
                  <a:lnTo>
                    <a:pt x="704" y="582"/>
                  </a:lnTo>
                  <a:lnTo>
                    <a:pt x="718" y="577"/>
                  </a:lnTo>
                  <a:lnTo>
                    <a:pt x="732" y="571"/>
                  </a:lnTo>
                  <a:lnTo>
                    <a:pt x="745" y="564"/>
                  </a:lnTo>
                  <a:lnTo>
                    <a:pt x="757" y="557"/>
                  </a:lnTo>
                  <a:lnTo>
                    <a:pt x="769" y="549"/>
                  </a:lnTo>
                  <a:lnTo>
                    <a:pt x="781" y="541"/>
                  </a:lnTo>
                  <a:lnTo>
                    <a:pt x="793" y="532"/>
                  </a:lnTo>
                  <a:lnTo>
                    <a:pt x="803" y="522"/>
                  </a:lnTo>
                  <a:lnTo>
                    <a:pt x="813" y="513"/>
                  </a:lnTo>
                  <a:lnTo>
                    <a:pt x="824" y="502"/>
                  </a:lnTo>
                  <a:lnTo>
                    <a:pt x="833" y="491"/>
                  </a:lnTo>
                  <a:lnTo>
                    <a:pt x="842" y="479"/>
                  </a:lnTo>
                  <a:lnTo>
                    <a:pt x="851" y="468"/>
                  </a:lnTo>
                  <a:lnTo>
                    <a:pt x="858" y="456"/>
                  </a:lnTo>
                  <a:lnTo>
                    <a:pt x="866" y="443"/>
                  </a:lnTo>
                  <a:lnTo>
                    <a:pt x="872" y="430"/>
                  </a:lnTo>
                  <a:lnTo>
                    <a:pt x="878" y="417"/>
                  </a:lnTo>
                  <a:lnTo>
                    <a:pt x="884" y="403"/>
                  </a:lnTo>
                  <a:lnTo>
                    <a:pt x="888" y="390"/>
                  </a:lnTo>
                  <a:lnTo>
                    <a:pt x="892" y="375"/>
                  </a:lnTo>
                  <a:lnTo>
                    <a:pt x="896" y="361"/>
                  </a:lnTo>
                  <a:lnTo>
                    <a:pt x="899" y="346"/>
                  </a:lnTo>
                  <a:lnTo>
                    <a:pt x="900" y="331"/>
                  </a:lnTo>
                  <a:lnTo>
                    <a:pt x="901" y="316"/>
                  </a:lnTo>
                  <a:lnTo>
                    <a:pt x="902" y="300"/>
                  </a:lnTo>
                  <a:lnTo>
                    <a:pt x="901" y="285"/>
                  </a:lnTo>
                  <a:lnTo>
                    <a:pt x="900" y="270"/>
                  </a:lnTo>
                  <a:lnTo>
                    <a:pt x="899" y="255"/>
                  </a:lnTo>
                  <a:lnTo>
                    <a:pt x="896" y="240"/>
                  </a:lnTo>
                  <a:lnTo>
                    <a:pt x="892" y="225"/>
                  </a:lnTo>
                  <a:lnTo>
                    <a:pt x="888" y="211"/>
                  </a:lnTo>
                  <a:lnTo>
                    <a:pt x="884" y="197"/>
                  </a:lnTo>
                  <a:lnTo>
                    <a:pt x="878" y="183"/>
                  </a:lnTo>
                  <a:lnTo>
                    <a:pt x="872" y="170"/>
                  </a:lnTo>
                  <a:lnTo>
                    <a:pt x="866" y="157"/>
                  </a:lnTo>
                  <a:lnTo>
                    <a:pt x="858" y="144"/>
                  </a:lnTo>
                  <a:lnTo>
                    <a:pt x="851" y="131"/>
                  </a:lnTo>
                  <a:lnTo>
                    <a:pt x="842" y="120"/>
                  </a:lnTo>
                  <a:lnTo>
                    <a:pt x="833" y="109"/>
                  </a:lnTo>
                  <a:lnTo>
                    <a:pt x="824" y="98"/>
                  </a:lnTo>
                  <a:lnTo>
                    <a:pt x="813" y="87"/>
                  </a:lnTo>
                  <a:lnTo>
                    <a:pt x="803" y="78"/>
                  </a:lnTo>
                  <a:lnTo>
                    <a:pt x="793" y="68"/>
                  </a:lnTo>
                  <a:lnTo>
                    <a:pt x="781" y="59"/>
                  </a:lnTo>
                  <a:lnTo>
                    <a:pt x="769" y="51"/>
                  </a:lnTo>
                  <a:lnTo>
                    <a:pt x="757" y="42"/>
                  </a:lnTo>
                  <a:lnTo>
                    <a:pt x="745" y="36"/>
                  </a:lnTo>
                  <a:lnTo>
                    <a:pt x="732" y="29"/>
                  </a:lnTo>
                  <a:lnTo>
                    <a:pt x="718" y="23"/>
                  </a:lnTo>
                  <a:lnTo>
                    <a:pt x="704" y="18"/>
                  </a:lnTo>
                  <a:lnTo>
                    <a:pt x="690" y="12"/>
                  </a:lnTo>
                  <a:lnTo>
                    <a:pt x="676" y="9"/>
                  </a:lnTo>
                  <a:lnTo>
                    <a:pt x="662" y="5"/>
                  </a:lnTo>
                  <a:lnTo>
                    <a:pt x="647" y="3"/>
                  </a:lnTo>
                  <a:lnTo>
                    <a:pt x="632" y="1"/>
                  </a:lnTo>
                  <a:lnTo>
                    <a:pt x="616" y="0"/>
                  </a:lnTo>
                  <a:lnTo>
                    <a:pt x="6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37" name="Freeform 198">
              <a:extLst>
                <a:ext uri="{FF2B5EF4-FFF2-40B4-BE49-F238E27FC236}">
                  <a16:creationId xmlns:a16="http://schemas.microsoft.com/office/drawing/2014/main" id="{A8B34E27-19D0-48D5-BCFA-D8DDF8192F2F}"/>
                </a:ext>
              </a:extLst>
            </p:cNvPr>
            <p:cNvSpPr>
              <a:spLocks/>
            </p:cNvSpPr>
            <p:nvPr/>
          </p:nvSpPr>
          <p:spPr bwMode="auto">
            <a:xfrm>
              <a:off x="8331200" y="1397000"/>
              <a:ext cx="47625" cy="104775"/>
            </a:xfrm>
            <a:custGeom>
              <a:avLst/>
              <a:gdLst>
                <a:gd name="T0" fmla="*/ 101 w 150"/>
                <a:gd name="T1" fmla="*/ 67 h 331"/>
                <a:gd name="T2" fmla="*/ 119 w 150"/>
                <a:gd name="T3" fmla="*/ 96 h 331"/>
                <a:gd name="T4" fmla="*/ 123 w 150"/>
                <a:gd name="T5" fmla="*/ 113 h 331"/>
                <a:gd name="T6" fmla="*/ 132 w 150"/>
                <a:gd name="T7" fmla="*/ 120 h 331"/>
                <a:gd name="T8" fmla="*/ 144 w 150"/>
                <a:gd name="T9" fmla="*/ 117 h 331"/>
                <a:gd name="T10" fmla="*/ 150 w 150"/>
                <a:gd name="T11" fmla="*/ 108 h 331"/>
                <a:gd name="T12" fmla="*/ 148 w 150"/>
                <a:gd name="T13" fmla="*/ 85 h 331"/>
                <a:gd name="T14" fmla="*/ 137 w 150"/>
                <a:gd name="T15" fmla="*/ 62 h 331"/>
                <a:gd name="T16" fmla="*/ 108 w 150"/>
                <a:gd name="T17" fmla="*/ 37 h 331"/>
                <a:gd name="T18" fmla="*/ 90 w 150"/>
                <a:gd name="T19" fmla="*/ 15 h 331"/>
                <a:gd name="T20" fmla="*/ 86 w 150"/>
                <a:gd name="T21" fmla="*/ 4 h 331"/>
                <a:gd name="T22" fmla="*/ 75 w 150"/>
                <a:gd name="T23" fmla="*/ 0 h 331"/>
                <a:gd name="T24" fmla="*/ 64 w 150"/>
                <a:gd name="T25" fmla="*/ 4 h 331"/>
                <a:gd name="T26" fmla="*/ 60 w 150"/>
                <a:gd name="T27" fmla="*/ 15 h 331"/>
                <a:gd name="T28" fmla="*/ 42 w 150"/>
                <a:gd name="T29" fmla="*/ 37 h 331"/>
                <a:gd name="T30" fmla="*/ 13 w 150"/>
                <a:gd name="T31" fmla="*/ 62 h 331"/>
                <a:gd name="T32" fmla="*/ 2 w 150"/>
                <a:gd name="T33" fmla="*/ 85 h 331"/>
                <a:gd name="T34" fmla="*/ 0 w 150"/>
                <a:gd name="T35" fmla="*/ 112 h 331"/>
                <a:gd name="T36" fmla="*/ 9 w 150"/>
                <a:gd name="T37" fmla="*/ 141 h 331"/>
                <a:gd name="T38" fmla="*/ 27 w 150"/>
                <a:gd name="T39" fmla="*/ 162 h 331"/>
                <a:gd name="T40" fmla="*/ 53 w 150"/>
                <a:gd name="T41" fmla="*/ 176 h 331"/>
                <a:gd name="T42" fmla="*/ 85 w 150"/>
                <a:gd name="T43" fmla="*/ 181 h 331"/>
                <a:gd name="T44" fmla="*/ 112 w 150"/>
                <a:gd name="T45" fmla="*/ 200 h 331"/>
                <a:gd name="T46" fmla="*/ 119 w 150"/>
                <a:gd name="T47" fmla="*/ 234 h 331"/>
                <a:gd name="T48" fmla="*/ 101 w 150"/>
                <a:gd name="T49" fmla="*/ 262 h 331"/>
                <a:gd name="T50" fmla="*/ 66 w 150"/>
                <a:gd name="T51" fmla="*/ 269 h 331"/>
                <a:gd name="T52" fmla="*/ 38 w 150"/>
                <a:gd name="T53" fmla="*/ 250 h 331"/>
                <a:gd name="T54" fmla="*/ 30 w 150"/>
                <a:gd name="T55" fmla="*/ 222 h 331"/>
                <a:gd name="T56" fmla="*/ 24 w 150"/>
                <a:gd name="T57" fmla="*/ 213 h 331"/>
                <a:gd name="T58" fmla="*/ 12 w 150"/>
                <a:gd name="T59" fmla="*/ 211 h 331"/>
                <a:gd name="T60" fmla="*/ 2 w 150"/>
                <a:gd name="T61" fmla="*/ 217 h 331"/>
                <a:gd name="T62" fmla="*/ 0 w 150"/>
                <a:gd name="T63" fmla="*/ 232 h 331"/>
                <a:gd name="T64" fmla="*/ 6 w 150"/>
                <a:gd name="T65" fmla="*/ 257 h 331"/>
                <a:gd name="T66" fmla="*/ 26 w 150"/>
                <a:gd name="T67" fmla="*/ 282 h 331"/>
                <a:gd name="T68" fmla="*/ 54 w 150"/>
                <a:gd name="T69" fmla="*/ 297 h 331"/>
                <a:gd name="T70" fmla="*/ 61 w 150"/>
                <a:gd name="T71" fmla="*/ 321 h 331"/>
                <a:gd name="T72" fmla="*/ 70 w 150"/>
                <a:gd name="T73" fmla="*/ 329 h 331"/>
                <a:gd name="T74" fmla="*/ 81 w 150"/>
                <a:gd name="T75" fmla="*/ 329 h 331"/>
                <a:gd name="T76" fmla="*/ 89 w 150"/>
                <a:gd name="T77" fmla="*/ 321 h 331"/>
                <a:gd name="T78" fmla="*/ 96 w 150"/>
                <a:gd name="T79" fmla="*/ 297 h 331"/>
                <a:gd name="T80" fmla="*/ 124 w 150"/>
                <a:gd name="T81" fmla="*/ 282 h 331"/>
                <a:gd name="T82" fmla="*/ 144 w 150"/>
                <a:gd name="T83" fmla="*/ 257 h 331"/>
                <a:gd name="T84" fmla="*/ 150 w 150"/>
                <a:gd name="T85" fmla="*/ 232 h 331"/>
                <a:gd name="T86" fmla="*/ 147 w 150"/>
                <a:gd name="T87" fmla="*/ 203 h 331"/>
                <a:gd name="T88" fmla="*/ 133 w 150"/>
                <a:gd name="T89" fmla="*/ 177 h 331"/>
                <a:gd name="T90" fmla="*/ 110 w 150"/>
                <a:gd name="T91" fmla="*/ 159 h 331"/>
                <a:gd name="T92" fmla="*/ 82 w 150"/>
                <a:gd name="T93" fmla="*/ 151 h 331"/>
                <a:gd name="T94" fmla="*/ 50 w 150"/>
                <a:gd name="T95" fmla="*/ 142 h 331"/>
                <a:gd name="T96" fmla="*/ 31 w 150"/>
                <a:gd name="T97" fmla="*/ 114 h 331"/>
                <a:gd name="T98" fmla="*/ 38 w 150"/>
                <a:gd name="T99" fmla="*/ 80 h 331"/>
                <a:gd name="T100" fmla="*/ 66 w 150"/>
                <a:gd name="T101" fmla="*/ 6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0" h="331">
                  <a:moveTo>
                    <a:pt x="75" y="60"/>
                  </a:moveTo>
                  <a:lnTo>
                    <a:pt x="85" y="61"/>
                  </a:lnTo>
                  <a:lnTo>
                    <a:pt x="92" y="63"/>
                  </a:lnTo>
                  <a:lnTo>
                    <a:pt x="101" y="67"/>
                  </a:lnTo>
                  <a:lnTo>
                    <a:pt x="107" y="72"/>
                  </a:lnTo>
                  <a:lnTo>
                    <a:pt x="112" y="80"/>
                  </a:lnTo>
                  <a:lnTo>
                    <a:pt x="117" y="87"/>
                  </a:lnTo>
                  <a:lnTo>
                    <a:pt x="119" y="96"/>
                  </a:lnTo>
                  <a:lnTo>
                    <a:pt x="120" y="105"/>
                  </a:lnTo>
                  <a:lnTo>
                    <a:pt x="120" y="108"/>
                  </a:lnTo>
                  <a:lnTo>
                    <a:pt x="121" y="111"/>
                  </a:lnTo>
                  <a:lnTo>
                    <a:pt x="123" y="113"/>
                  </a:lnTo>
                  <a:lnTo>
                    <a:pt x="124" y="115"/>
                  </a:lnTo>
                  <a:lnTo>
                    <a:pt x="126" y="117"/>
                  </a:lnTo>
                  <a:lnTo>
                    <a:pt x="130" y="118"/>
                  </a:lnTo>
                  <a:lnTo>
                    <a:pt x="132" y="120"/>
                  </a:lnTo>
                  <a:lnTo>
                    <a:pt x="135" y="120"/>
                  </a:lnTo>
                  <a:lnTo>
                    <a:pt x="138" y="120"/>
                  </a:lnTo>
                  <a:lnTo>
                    <a:pt x="141" y="118"/>
                  </a:lnTo>
                  <a:lnTo>
                    <a:pt x="144" y="117"/>
                  </a:lnTo>
                  <a:lnTo>
                    <a:pt x="146" y="115"/>
                  </a:lnTo>
                  <a:lnTo>
                    <a:pt x="148" y="113"/>
                  </a:lnTo>
                  <a:lnTo>
                    <a:pt x="149" y="111"/>
                  </a:lnTo>
                  <a:lnTo>
                    <a:pt x="150" y="108"/>
                  </a:lnTo>
                  <a:lnTo>
                    <a:pt x="150" y="105"/>
                  </a:lnTo>
                  <a:lnTo>
                    <a:pt x="150" y="98"/>
                  </a:lnTo>
                  <a:lnTo>
                    <a:pt x="149" y="92"/>
                  </a:lnTo>
                  <a:lnTo>
                    <a:pt x="148" y="85"/>
                  </a:lnTo>
                  <a:lnTo>
                    <a:pt x="146" y="79"/>
                  </a:lnTo>
                  <a:lnTo>
                    <a:pt x="144" y="73"/>
                  </a:lnTo>
                  <a:lnTo>
                    <a:pt x="140" y="67"/>
                  </a:lnTo>
                  <a:lnTo>
                    <a:pt x="137" y="62"/>
                  </a:lnTo>
                  <a:lnTo>
                    <a:pt x="133" y="57"/>
                  </a:lnTo>
                  <a:lnTo>
                    <a:pt x="124" y="48"/>
                  </a:lnTo>
                  <a:lnTo>
                    <a:pt x="114" y="40"/>
                  </a:lnTo>
                  <a:lnTo>
                    <a:pt x="108" y="37"/>
                  </a:lnTo>
                  <a:lnTo>
                    <a:pt x="103" y="35"/>
                  </a:lnTo>
                  <a:lnTo>
                    <a:pt x="96" y="33"/>
                  </a:lnTo>
                  <a:lnTo>
                    <a:pt x="90" y="31"/>
                  </a:lnTo>
                  <a:lnTo>
                    <a:pt x="90" y="15"/>
                  </a:lnTo>
                  <a:lnTo>
                    <a:pt x="90" y="11"/>
                  </a:lnTo>
                  <a:lnTo>
                    <a:pt x="89" y="9"/>
                  </a:lnTo>
                  <a:lnTo>
                    <a:pt x="88" y="6"/>
                  </a:lnTo>
                  <a:lnTo>
                    <a:pt x="86" y="4"/>
                  </a:lnTo>
                  <a:lnTo>
                    <a:pt x="84" y="2"/>
                  </a:lnTo>
                  <a:lnTo>
                    <a:pt x="81" y="1"/>
                  </a:lnTo>
                  <a:lnTo>
                    <a:pt x="78" y="0"/>
                  </a:lnTo>
                  <a:lnTo>
                    <a:pt x="75" y="0"/>
                  </a:lnTo>
                  <a:lnTo>
                    <a:pt x="72" y="0"/>
                  </a:lnTo>
                  <a:lnTo>
                    <a:pt x="70" y="1"/>
                  </a:lnTo>
                  <a:lnTo>
                    <a:pt x="66" y="2"/>
                  </a:lnTo>
                  <a:lnTo>
                    <a:pt x="64" y="4"/>
                  </a:lnTo>
                  <a:lnTo>
                    <a:pt x="62" y="6"/>
                  </a:lnTo>
                  <a:lnTo>
                    <a:pt x="61" y="9"/>
                  </a:lnTo>
                  <a:lnTo>
                    <a:pt x="60" y="11"/>
                  </a:lnTo>
                  <a:lnTo>
                    <a:pt x="60" y="15"/>
                  </a:lnTo>
                  <a:lnTo>
                    <a:pt x="60" y="31"/>
                  </a:lnTo>
                  <a:lnTo>
                    <a:pt x="54" y="33"/>
                  </a:lnTo>
                  <a:lnTo>
                    <a:pt x="47" y="35"/>
                  </a:lnTo>
                  <a:lnTo>
                    <a:pt x="42" y="37"/>
                  </a:lnTo>
                  <a:lnTo>
                    <a:pt x="36" y="40"/>
                  </a:lnTo>
                  <a:lnTo>
                    <a:pt x="26" y="48"/>
                  </a:lnTo>
                  <a:lnTo>
                    <a:pt x="17" y="57"/>
                  </a:lnTo>
                  <a:lnTo>
                    <a:pt x="13" y="62"/>
                  </a:lnTo>
                  <a:lnTo>
                    <a:pt x="10" y="67"/>
                  </a:lnTo>
                  <a:lnTo>
                    <a:pt x="6" y="73"/>
                  </a:lnTo>
                  <a:lnTo>
                    <a:pt x="4" y="79"/>
                  </a:lnTo>
                  <a:lnTo>
                    <a:pt x="2" y="85"/>
                  </a:lnTo>
                  <a:lnTo>
                    <a:pt x="1" y="92"/>
                  </a:lnTo>
                  <a:lnTo>
                    <a:pt x="0" y="98"/>
                  </a:lnTo>
                  <a:lnTo>
                    <a:pt x="0" y="105"/>
                  </a:lnTo>
                  <a:lnTo>
                    <a:pt x="0" y="112"/>
                  </a:lnTo>
                  <a:lnTo>
                    <a:pt x="1" y="120"/>
                  </a:lnTo>
                  <a:lnTo>
                    <a:pt x="3" y="127"/>
                  </a:lnTo>
                  <a:lnTo>
                    <a:pt x="5" y="135"/>
                  </a:lnTo>
                  <a:lnTo>
                    <a:pt x="9" y="141"/>
                  </a:lnTo>
                  <a:lnTo>
                    <a:pt x="13" y="146"/>
                  </a:lnTo>
                  <a:lnTo>
                    <a:pt x="17" y="153"/>
                  </a:lnTo>
                  <a:lnTo>
                    <a:pt x="21" y="158"/>
                  </a:lnTo>
                  <a:lnTo>
                    <a:pt x="27" y="162"/>
                  </a:lnTo>
                  <a:lnTo>
                    <a:pt x="33" y="167"/>
                  </a:lnTo>
                  <a:lnTo>
                    <a:pt x="40" y="171"/>
                  </a:lnTo>
                  <a:lnTo>
                    <a:pt x="46" y="174"/>
                  </a:lnTo>
                  <a:lnTo>
                    <a:pt x="53" y="176"/>
                  </a:lnTo>
                  <a:lnTo>
                    <a:pt x="60" y="178"/>
                  </a:lnTo>
                  <a:lnTo>
                    <a:pt x="67" y="180"/>
                  </a:lnTo>
                  <a:lnTo>
                    <a:pt x="75" y="180"/>
                  </a:lnTo>
                  <a:lnTo>
                    <a:pt x="85" y="181"/>
                  </a:lnTo>
                  <a:lnTo>
                    <a:pt x="92" y="184"/>
                  </a:lnTo>
                  <a:lnTo>
                    <a:pt x="101" y="188"/>
                  </a:lnTo>
                  <a:lnTo>
                    <a:pt x="107" y="193"/>
                  </a:lnTo>
                  <a:lnTo>
                    <a:pt x="112" y="200"/>
                  </a:lnTo>
                  <a:lnTo>
                    <a:pt x="117" y="207"/>
                  </a:lnTo>
                  <a:lnTo>
                    <a:pt x="119" y="216"/>
                  </a:lnTo>
                  <a:lnTo>
                    <a:pt x="120" y="226"/>
                  </a:lnTo>
                  <a:lnTo>
                    <a:pt x="119" y="234"/>
                  </a:lnTo>
                  <a:lnTo>
                    <a:pt x="117" y="243"/>
                  </a:lnTo>
                  <a:lnTo>
                    <a:pt x="112" y="250"/>
                  </a:lnTo>
                  <a:lnTo>
                    <a:pt x="107" y="257"/>
                  </a:lnTo>
                  <a:lnTo>
                    <a:pt x="101" y="262"/>
                  </a:lnTo>
                  <a:lnTo>
                    <a:pt x="92" y="266"/>
                  </a:lnTo>
                  <a:lnTo>
                    <a:pt x="85" y="269"/>
                  </a:lnTo>
                  <a:lnTo>
                    <a:pt x="75" y="271"/>
                  </a:lnTo>
                  <a:lnTo>
                    <a:pt x="66" y="269"/>
                  </a:lnTo>
                  <a:lnTo>
                    <a:pt x="58" y="266"/>
                  </a:lnTo>
                  <a:lnTo>
                    <a:pt x="50" y="262"/>
                  </a:lnTo>
                  <a:lnTo>
                    <a:pt x="43" y="257"/>
                  </a:lnTo>
                  <a:lnTo>
                    <a:pt x="38" y="250"/>
                  </a:lnTo>
                  <a:lnTo>
                    <a:pt x="33" y="243"/>
                  </a:lnTo>
                  <a:lnTo>
                    <a:pt x="31" y="234"/>
                  </a:lnTo>
                  <a:lnTo>
                    <a:pt x="30" y="226"/>
                  </a:lnTo>
                  <a:lnTo>
                    <a:pt x="30" y="222"/>
                  </a:lnTo>
                  <a:lnTo>
                    <a:pt x="29" y="219"/>
                  </a:lnTo>
                  <a:lnTo>
                    <a:pt x="28" y="217"/>
                  </a:lnTo>
                  <a:lnTo>
                    <a:pt x="26" y="215"/>
                  </a:lnTo>
                  <a:lnTo>
                    <a:pt x="24" y="213"/>
                  </a:lnTo>
                  <a:lnTo>
                    <a:pt x="20" y="212"/>
                  </a:lnTo>
                  <a:lnTo>
                    <a:pt x="18" y="211"/>
                  </a:lnTo>
                  <a:lnTo>
                    <a:pt x="15" y="210"/>
                  </a:lnTo>
                  <a:lnTo>
                    <a:pt x="12" y="211"/>
                  </a:lnTo>
                  <a:lnTo>
                    <a:pt x="9" y="212"/>
                  </a:lnTo>
                  <a:lnTo>
                    <a:pt x="6" y="213"/>
                  </a:lnTo>
                  <a:lnTo>
                    <a:pt x="4" y="215"/>
                  </a:lnTo>
                  <a:lnTo>
                    <a:pt x="2" y="217"/>
                  </a:lnTo>
                  <a:lnTo>
                    <a:pt x="1" y="219"/>
                  </a:lnTo>
                  <a:lnTo>
                    <a:pt x="0" y="222"/>
                  </a:lnTo>
                  <a:lnTo>
                    <a:pt x="0" y="226"/>
                  </a:lnTo>
                  <a:lnTo>
                    <a:pt x="0" y="232"/>
                  </a:lnTo>
                  <a:lnTo>
                    <a:pt x="1" y="238"/>
                  </a:lnTo>
                  <a:lnTo>
                    <a:pt x="2" y="245"/>
                  </a:lnTo>
                  <a:lnTo>
                    <a:pt x="4" y="251"/>
                  </a:lnTo>
                  <a:lnTo>
                    <a:pt x="6" y="257"/>
                  </a:lnTo>
                  <a:lnTo>
                    <a:pt x="10" y="262"/>
                  </a:lnTo>
                  <a:lnTo>
                    <a:pt x="13" y="267"/>
                  </a:lnTo>
                  <a:lnTo>
                    <a:pt x="17" y="273"/>
                  </a:lnTo>
                  <a:lnTo>
                    <a:pt x="26" y="282"/>
                  </a:lnTo>
                  <a:lnTo>
                    <a:pt x="36" y="290"/>
                  </a:lnTo>
                  <a:lnTo>
                    <a:pt x="42" y="292"/>
                  </a:lnTo>
                  <a:lnTo>
                    <a:pt x="47" y="295"/>
                  </a:lnTo>
                  <a:lnTo>
                    <a:pt x="54" y="297"/>
                  </a:lnTo>
                  <a:lnTo>
                    <a:pt x="60" y="298"/>
                  </a:lnTo>
                  <a:lnTo>
                    <a:pt x="60" y="316"/>
                  </a:lnTo>
                  <a:lnTo>
                    <a:pt x="60" y="319"/>
                  </a:lnTo>
                  <a:lnTo>
                    <a:pt x="61" y="321"/>
                  </a:lnTo>
                  <a:lnTo>
                    <a:pt x="62" y="324"/>
                  </a:lnTo>
                  <a:lnTo>
                    <a:pt x="64" y="326"/>
                  </a:lnTo>
                  <a:lnTo>
                    <a:pt x="66" y="327"/>
                  </a:lnTo>
                  <a:lnTo>
                    <a:pt x="70" y="329"/>
                  </a:lnTo>
                  <a:lnTo>
                    <a:pt x="72" y="329"/>
                  </a:lnTo>
                  <a:lnTo>
                    <a:pt x="75" y="331"/>
                  </a:lnTo>
                  <a:lnTo>
                    <a:pt x="78" y="329"/>
                  </a:lnTo>
                  <a:lnTo>
                    <a:pt x="81" y="329"/>
                  </a:lnTo>
                  <a:lnTo>
                    <a:pt x="84" y="327"/>
                  </a:lnTo>
                  <a:lnTo>
                    <a:pt x="86" y="326"/>
                  </a:lnTo>
                  <a:lnTo>
                    <a:pt x="88" y="324"/>
                  </a:lnTo>
                  <a:lnTo>
                    <a:pt x="89" y="321"/>
                  </a:lnTo>
                  <a:lnTo>
                    <a:pt x="90" y="319"/>
                  </a:lnTo>
                  <a:lnTo>
                    <a:pt x="90" y="316"/>
                  </a:lnTo>
                  <a:lnTo>
                    <a:pt x="90" y="298"/>
                  </a:lnTo>
                  <a:lnTo>
                    <a:pt x="96" y="297"/>
                  </a:lnTo>
                  <a:lnTo>
                    <a:pt x="103" y="295"/>
                  </a:lnTo>
                  <a:lnTo>
                    <a:pt x="108" y="292"/>
                  </a:lnTo>
                  <a:lnTo>
                    <a:pt x="114" y="290"/>
                  </a:lnTo>
                  <a:lnTo>
                    <a:pt x="124" y="282"/>
                  </a:lnTo>
                  <a:lnTo>
                    <a:pt x="133" y="273"/>
                  </a:lnTo>
                  <a:lnTo>
                    <a:pt x="137" y="267"/>
                  </a:lnTo>
                  <a:lnTo>
                    <a:pt x="140" y="262"/>
                  </a:lnTo>
                  <a:lnTo>
                    <a:pt x="144" y="257"/>
                  </a:lnTo>
                  <a:lnTo>
                    <a:pt x="146" y="251"/>
                  </a:lnTo>
                  <a:lnTo>
                    <a:pt x="148" y="245"/>
                  </a:lnTo>
                  <a:lnTo>
                    <a:pt x="149" y="238"/>
                  </a:lnTo>
                  <a:lnTo>
                    <a:pt x="150" y="232"/>
                  </a:lnTo>
                  <a:lnTo>
                    <a:pt x="150" y="226"/>
                  </a:lnTo>
                  <a:lnTo>
                    <a:pt x="150" y="217"/>
                  </a:lnTo>
                  <a:lnTo>
                    <a:pt x="149" y="210"/>
                  </a:lnTo>
                  <a:lnTo>
                    <a:pt x="147" y="203"/>
                  </a:lnTo>
                  <a:lnTo>
                    <a:pt x="145" y="196"/>
                  </a:lnTo>
                  <a:lnTo>
                    <a:pt x="141" y="189"/>
                  </a:lnTo>
                  <a:lnTo>
                    <a:pt x="137" y="183"/>
                  </a:lnTo>
                  <a:lnTo>
                    <a:pt x="133" y="177"/>
                  </a:lnTo>
                  <a:lnTo>
                    <a:pt x="129" y="172"/>
                  </a:lnTo>
                  <a:lnTo>
                    <a:pt x="123" y="167"/>
                  </a:lnTo>
                  <a:lnTo>
                    <a:pt x="117" y="162"/>
                  </a:lnTo>
                  <a:lnTo>
                    <a:pt x="110" y="159"/>
                  </a:lnTo>
                  <a:lnTo>
                    <a:pt x="104" y="156"/>
                  </a:lnTo>
                  <a:lnTo>
                    <a:pt x="97" y="154"/>
                  </a:lnTo>
                  <a:lnTo>
                    <a:pt x="90" y="152"/>
                  </a:lnTo>
                  <a:lnTo>
                    <a:pt x="82" y="151"/>
                  </a:lnTo>
                  <a:lnTo>
                    <a:pt x="75" y="150"/>
                  </a:lnTo>
                  <a:lnTo>
                    <a:pt x="66" y="148"/>
                  </a:lnTo>
                  <a:lnTo>
                    <a:pt x="58" y="146"/>
                  </a:lnTo>
                  <a:lnTo>
                    <a:pt x="50" y="142"/>
                  </a:lnTo>
                  <a:lnTo>
                    <a:pt x="43" y="137"/>
                  </a:lnTo>
                  <a:lnTo>
                    <a:pt x="38" y="130"/>
                  </a:lnTo>
                  <a:lnTo>
                    <a:pt x="33" y="123"/>
                  </a:lnTo>
                  <a:lnTo>
                    <a:pt x="31" y="114"/>
                  </a:lnTo>
                  <a:lnTo>
                    <a:pt x="30" y="105"/>
                  </a:lnTo>
                  <a:lnTo>
                    <a:pt x="31" y="96"/>
                  </a:lnTo>
                  <a:lnTo>
                    <a:pt x="33" y="87"/>
                  </a:lnTo>
                  <a:lnTo>
                    <a:pt x="38" y="80"/>
                  </a:lnTo>
                  <a:lnTo>
                    <a:pt x="43" y="72"/>
                  </a:lnTo>
                  <a:lnTo>
                    <a:pt x="50" y="67"/>
                  </a:lnTo>
                  <a:lnTo>
                    <a:pt x="58" y="63"/>
                  </a:lnTo>
                  <a:lnTo>
                    <a:pt x="66" y="61"/>
                  </a:lnTo>
                  <a:lnTo>
                    <a:pt x="7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38" name="Freeform 199">
              <a:extLst>
                <a:ext uri="{FF2B5EF4-FFF2-40B4-BE49-F238E27FC236}">
                  <a16:creationId xmlns:a16="http://schemas.microsoft.com/office/drawing/2014/main" id="{47BF68F6-841F-492C-8A48-DE0139947E4B}"/>
                </a:ext>
              </a:extLst>
            </p:cNvPr>
            <p:cNvSpPr>
              <a:spLocks/>
            </p:cNvSpPr>
            <p:nvPr/>
          </p:nvSpPr>
          <p:spPr bwMode="auto">
            <a:xfrm>
              <a:off x="8235950" y="1492250"/>
              <a:ext cx="47625" cy="104775"/>
            </a:xfrm>
            <a:custGeom>
              <a:avLst/>
              <a:gdLst>
                <a:gd name="T0" fmla="*/ 101 w 151"/>
                <a:gd name="T1" fmla="*/ 67 h 329"/>
                <a:gd name="T2" fmla="*/ 120 w 151"/>
                <a:gd name="T3" fmla="*/ 95 h 329"/>
                <a:gd name="T4" fmla="*/ 123 w 151"/>
                <a:gd name="T5" fmla="*/ 113 h 329"/>
                <a:gd name="T6" fmla="*/ 133 w 151"/>
                <a:gd name="T7" fmla="*/ 120 h 329"/>
                <a:gd name="T8" fmla="*/ 144 w 151"/>
                <a:gd name="T9" fmla="*/ 117 h 329"/>
                <a:gd name="T10" fmla="*/ 150 w 151"/>
                <a:gd name="T11" fmla="*/ 108 h 329"/>
                <a:gd name="T12" fmla="*/ 148 w 151"/>
                <a:gd name="T13" fmla="*/ 85 h 329"/>
                <a:gd name="T14" fmla="*/ 137 w 151"/>
                <a:gd name="T15" fmla="*/ 62 h 329"/>
                <a:gd name="T16" fmla="*/ 108 w 151"/>
                <a:gd name="T17" fmla="*/ 37 h 329"/>
                <a:gd name="T18" fmla="*/ 90 w 151"/>
                <a:gd name="T19" fmla="*/ 15 h 329"/>
                <a:gd name="T20" fmla="*/ 86 w 151"/>
                <a:gd name="T21" fmla="*/ 4 h 329"/>
                <a:gd name="T22" fmla="*/ 75 w 151"/>
                <a:gd name="T23" fmla="*/ 0 h 329"/>
                <a:gd name="T24" fmla="*/ 64 w 151"/>
                <a:gd name="T25" fmla="*/ 4 h 329"/>
                <a:gd name="T26" fmla="*/ 60 w 151"/>
                <a:gd name="T27" fmla="*/ 15 h 329"/>
                <a:gd name="T28" fmla="*/ 42 w 151"/>
                <a:gd name="T29" fmla="*/ 37 h 329"/>
                <a:gd name="T30" fmla="*/ 14 w 151"/>
                <a:gd name="T31" fmla="*/ 62 h 329"/>
                <a:gd name="T32" fmla="*/ 3 w 151"/>
                <a:gd name="T33" fmla="*/ 85 h 329"/>
                <a:gd name="T34" fmla="*/ 1 w 151"/>
                <a:gd name="T35" fmla="*/ 112 h 329"/>
                <a:gd name="T36" fmla="*/ 10 w 151"/>
                <a:gd name="T37" fmla="*/ 140 h 329"/>
                <a:gd name="T38" fmla="*/ 28 w 151"/>
                <a:gd name="T39" fmla="*/ 162 h 329"/>
                <a:gd name="T40" fmla="*/ 52 w 151"/>
                <a:gd name="T41" fmla="*/ 176 h 329"/>
                <a:gd name="T42" fmla="*/ 85 w 151"/>
                <a:gd name="T43" fmla="*/ 181 h 329"/>
                <a:gd name="T44" fmla="*/ 112 w 151"/>
                <a:gd name="T45" fmla="*/ 200 h 329"/>
                <a:gd name="T46" fmla="*/ 120 w 151"/>
                <a:gd name="T47" fmla="*/ 234 h 329"/>
                <a:gd name="T48" fmla="*/ 101 w 151"/>
                <a:gd name="T49" fmla="*/ 262 h 329"/>
                <a:gd name="T50" fmla="*/ 66 w 151"/>
                <a:gd name="T51" fmla="*/ 268 h 329"/>
                <a:gd name="T52" fmla="*/ 37 w 151"/>
                <a:gd name="T53" fmla="*/ 250 h 329"/>
                <a:gd name="T54" fmla="*/ 30 w 151"/>
                <a:gd name="T55" fmla="*/ 221 h 329"/>
                <a:gd name="T56" fmla="*/ 24 w 151"/>
                <a:gd name="T57" fmla="*/ 213 h 329"/>
                <a:gd name="T58" fmla="*/ 12 w 151"/>
                <a:gd name="T59" fmla="*/ 210 h 329"/>
                <a:gd name="T60" fmla="*/ 3 w 151"/>
                <a:gd name="T61" fmla="*/ 216 h 329"/>
                <a:gd name="T62" fmla="*/ 0 w 151"/>
                <a:gd name="T63" fmla="*/ 231 h 329"/>
                <a:gd name="T64" fmla="*/ 7 w 151"/>
                <a:gd name="T65" fmla="*/ 257 h 329"/>
                <a:gd name="T66" fmla="*/ 26 w 151"/>
                <a:gd name="T67" fmla="*/ 281 h 329"/>
                <a:gd name="T68" fmla="*/ 54 w 151"/>
                <a:gd name="T69" fmla="*/ 297 h 329"/>
                <a:gd name="T70" fmla="*/ 61 w 151"/>
                <a:gd name="T71" fmla="*/ 321 h 329"/>
                <a:gd name="T72" fmla="*/ 70 w 151"/>
                <a:gd name="T73" fmla="*/ 328 h 329"/>
                <a:gd name="T74" fmla="*/ 81 w 151"/>
                <a:gd name="T75" fmla="*/ 328 h 329"/>
                <a:gd name="T76" fmla="*/ 89 w 151"/>
                <a:gd name="T77" fmla="*/ 321 h 329"/>
                <a:gd name="T78" fmla="*/ 96 w 151"/>
                <a:gd name="T79" fmla="*/ 296 h 329"/>
                <a:gd name="T80" fmla="*/ 124 w 151"/>
                <a:gd name="T81" fmla="*/ 281 h 329"/>
                <a:gd name="T82" fmla="*/ 144 w 151"/>
                <a:gd name="T83" fmla="*/ 257 h 329"/>
                <a:gd name="T84" fmla="*/ 150 w 151"/>
                <a:gd name="T85" fmla="*/ 232 h 329"/>
                <a:gd name="T86" fmla="*/ 147 w 151"/>
                <a:gd name="T87" fmla="*/ 202 h 329"/>
                <a:gd name="T88" fmla="*/ 134 w 151"/>
                <a:gd name="T89" fmla="*/ 177 h 329"/>
                <a:gd name="T90" fmla="*/ 111 w 151"/>
                <a:gd name="T91" fmla="*/ 159 h 329"/>
                <a:gd name="T92" fmla="*/ 84 w 151"/>
                <a:gd name="T93" fmla="*/ 150 h 329"/>
                <a:gd name="T94" fmla="*/ 50 w 151"/>
                <a:gd name="T95" fmla="*/ 142 h 329"/>
                <a:gd name="T96" fmla="*/ 31 w 151"/>
                <a:gd name="T97" fmla="*/ 113 h 329"/>
                <a:gd name="T98" fmla="*/ 37 w 151"/>
                <a:gd name="T99" fmla="*/ 79 h 329"/>
                <a:gd name="T100" fmla="*/ 66 w 151"/>
                <a:gd name="T101" fmla="*/ 6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329">
                  <a:moveTo>
                    <a:pt x="75" y="60"/>
                  </a:moveTo>
                  <a:lnTo>
                    <a:pt x="85" y="61"/>
                  </a:lnTo>
                  <a:lnTo>
                    <a:pt x="93" y="63"/>
                  </a:lnTo>
                  <a:lnTo>
                    <a:pt x="101" y="67"/>
                  </a:lnTo>
                  <a:lnTo>
                    <a:pt x="107" y="72"/>
                  </a:lnTo>
                  <a:lnTo>
                    <a:pt x="112" y="79"/>
                  </a:lnTo>
                  <a:lnTo>
                    <a:pt x="117" y="87"/>
                  </a:lnTo>
                  <a:lnTo>
                    <a:pt x="120" y="95"/>
                  </a:lnTo>
                  <a:lnTo>
                    <a:pt x="120" y="105"/>
                  </a:lnTo>
                  <a:lnTo>
                    <a:pt x="121" y="108"/>
                  </a:lnTo>
                  <a:lnTo>
                    <a:pt x="122" y="110"/>
                  </a:lnTo>
                  <a:lnTo>
                    <a:pt x="123" y="113"/>
                  </a:lnTo>
                  <a:lnTo>
                    <a:pt x="125" y="115"/>
                  </a:lnTo>
                  <a:lnTo>
                    <a:pt x="127" y="117"/>
                  </a:lnTo>
                  <a:lnTo>
                    <a:pt x="130" y="118"/>
                  </a:lnTo>
                  <a:lnTo>
                    <a:pt x="133" y="120"/>
                  </a:lnTo>
                  <a:lnTo>
                    <a:pt x="135" y="120"/>
                  </a:lnTo>
                  <a:lnTo>
                    <a:pt x="138" y="120"/>
                  </a:lnTo>
                  <a:lnTo>
                    <a:pt x="141" y="118"/>
                  </a:lnTo>
                  <a:lnTo>
                    <a:pt x="144" y="117"/>
                  </a:lnTo>
                  <a:lnTo>
                    <a:pt x="146" y="115"/>
                  </a:lnTo>
                  <a:lnTo>
                    <a:pt x="148" y="113"/>
                  </a:lnTo>
                  <a:lnTo>
                    <a:pt x="149" y="110"/>
                  </a:lnTo>
                  <a:lnTo>
                    <a:pt x="150" y="108"/>
                  </a:lnTo>
                  <a:lnTo>
                    <a:pt x="151" y="105"/>
                  </a:lnTo>
                  <a:lnTo>
                    <a:pt x="150" y="98"/>
                  </a:lnTo>
                  <a:lnTo>
                    <a:pt x="149" y="91"/>
                  </a:lnTo>
                  <a:lnTo>
                    <a:pt x="148" y="85"/>
                  </a:lnTo>
                  <a:lnTo>
                    <a:pt x="146" y="79"/>
                  </a:lnTo>
                  <a:lnTo>
                    <a:pt x="144" y="72"/>
                  </a:lnTo>
                  <a:lnTo>
                    <a:pt x="140" y="67"/>
                  </a:lnTo>
                  <a:lnTo>
                    <a:pt x="137" y="62"/>
                  </a:lnTo>
                  <a:lnTo>
                    <a:pt x="133" y="56"/>
                  </a:lnTo>
                  <a:lnTo>
                    <a:pt x="124" y="48"/>
                  </a:lnTo>
                  <a:lnTo>
                    <a:pt x="115" y="40"/>
                  </a:lnTo>
                  <a:lnTo>
                    <a:pt x="108" y="37"/>
                  </a:lnTo>
                  <a:lnTo>
                    <a:pt x="103" y="35"/>
                  </a:lnTo>
                  <a:lnTo>
                    <a:pt x="96" y="33"/>
                  </a:lnTo>
                  <a:lnTo>
                    <a:pt x="90" y="31"/>
                  </a:lnTo>
                  <a:lnTo>
                    <a:pt x="90" y="15"/>
                  </a:lnTo>
                  <a:lnTo>
                    <a:pt x="90" y="11"/>
                  </a:lnTo>
                  <a:lnTo>
                    <a:pt x="89" y="8"/>
                  </a:lnTo>
                  <a:lnTo>
                    <a:pt x="88" y="6"/>
                  </a:lnTo>
                  <a:lnTo>
                    <a:pt x="86" y="4"/>
                  </a:lnTo>
                  <a:lnTo>
                    <a:pt x="84" y="2"/>
                  </a:lnTo>
                  <a:lnTo>
                    <a:pt x="81" y="1"/>
                  </a:lnTo>
                  <a:lnTo>
                    <a:pt x="78" y="0"/>
                  </a:lnTo>
                  <a:lnTo>
                    <a:pt x="75" y="0"/>
                  </a:lnTo>
                  <a:lnTo>
                    <a:pt x="73" y="0"/>
                  </a:lnTo>
                  <a:lnTo>
                    <a:pt x="70" y="1"/>
                  </a:lnTo>
                  <a:lnTo>
                    <a:pt x="67" y="2"/>
                  </a:lnTo>
                  <a:lnTo>
                    <a:pt x="64" y="4"/>
                  </a:lnTo>
                  <a:lnTo>
                    <a:pt x="63" y="6"/>
                  </a:lnTo>
                  <a:lnTo>
                    <a:pt x="61" y="8"/>
                  </a:lnTo>
                  <a:lnTo>
                    <a:pt x="61" y="11"/>
                  </a:lnTo>
                  <a:lnTo>
                    <a:pt x="60" y="15"/>
                  </a:lnTo>
                  <a:lnTo>
                    <a:pt x="60" y="31"/>
                  </a:lnTo>
                  <a:lnTo>
                    <a:pt x="54" y="33"/>
                  </a:lnTo>
                  <a:lnTo>
                    <a:pt x="48" y="35"/>
                  </a:lnTo>
                  <a:lnTo>
                    <a:pt x="42" y="37"/>
                  </a:lnTo>
                  <a:lnTo>
                    <a:pt x="36" y="40"/>
                  </a:lnTo>
                  <a:lnTo>
                    <a:pt x="26" y="48"/>
                  </a:lnTo>
                  <a:lnTo>
                    <a:pt x="17" y="56"/>
                  </a:lnTo>
                  <a:lnTo>
                    <a:pt x="14" y="62"/>
                  </a:lnTo>
                  <a:lnTo>
                    <a:pt x="11" y="67"/>
                  </a:lnTo>
                  <a:lnTo>
                    <a:pt x="7" y="72"/>
                  </a:lnTo>
                  <a:lnTo>
                    <a:pt x="4" y="79"/>
                  </a:lnTo>
                  <a:lnTo>
                    <a:pt x="3" y="85"/>
                  </a:lnTo>
                  <a:lnTo>
                    <a:pt x="1" y="92"/>
                  </a:lnTo>
                  <a:lnTo>
                    <a:pt x="0" y="98"/>
                  </a:lnTo>
                  <a:lnTo>
                    <a:pt x="0" y="105"/>
                  </a:lnTo>
                  <a:lnTo>
                    <a:pt x="1" y="112"/>
                  </a:lnTo>
                  <a:lnTo>
                    <a:pt x="2" y="120"/>
                  </a:lnTo>
                  <a:lnTo>
                    <a:pt x="3" y="127"/>
                  </a:lnTo>
                  <a:lnTo>
                    <a:pt x="6" y="133"/>
                  </a:lnTo>
                  <a:lnTo>
                    <a:pt x="10" y="140"/>
                  </a:lnTo>
                  <a:lnTo>
                    <a:pt x="13" y="146"/>
                  </a:lnTo>
                  <a:lnTo>
                    <a:pt x="17" y="153"/>
                  </a:lnTo>
                  <a:lnTo>
                    <a:pt x="22" y="158"/>
                  </a:lnTo>
                  <a:lnTo>
                    <a:pt x="28" y="162"/>
                  </a:lnTo>
                  <a:lnTo>
                    <a:pt x="33" y="167"/>
                  </a:lnTo>
                  <a:lnTo>
                    <a:pt x="40" y="171"/>
                  </a:lnTo>
                  <a:lnTo>
                    <a:pt x="46" y="174"/>
                  </a:lnTo>
                  <a:lnTo>
                    <a:pt x="52" y="176"/>
                  </a:lnTo>
                  <a:lnTo>
                    <a:pt x="60" y="178"/>
                  </a:lnTo>
                  <a:lnTo>
                    <a:pt x="67" y="180"/>
                  </a:lnTo>
                  <a:lnTo>
                    <a:pt x="75" y="180"/>
                  </a:lnTo>
                  <a:lnTo>
                    <a:pt x="85" y="181"/>
                  </a:lnTo>
                  <a:lnTo>
                    <a:pt x="93" y="183"/>
                  </a:lnTo>
                  <a:lnTo>
                    <a:pt x="101" y="187"/>
                  </a:lnTo>
                  <a:lnTo>
                    <a:pt x="107" y="192"/>
                  </a:lnTo>
                  <a:lnTo>
                    <a:pt x="112" y="200"/>
                  </a:lnTo>
                  <a:lnTo>
                    <a:pt x="117" y="207"/>
                  </a:lnTo>
                  <a:lnTo>
                    <a:pt x="120" y="216"/>
                  </a:lnTo>
                  <a:lnTo>
                    <a:pt x="120" y="225"/>
                  </a:lnTo>
                  <a:lnTo>
                    <a:pt x="120" y="234"/>
                  </a:lnTo>
                  <a:lnTo>
                    <a:pt x="117" y="243"/>
                  </a:lnTo>
                  <a:lnTo>
                    <a:pt x="112" y="250"/>
                  </a:lnTo>
                  <a:lnTo>
                    <a:pt x="107" y="257"/>
                  </a:lnTo>
                  <a:lnTo>
                    <a:pt x="101" y="262"/>
                  </a:lnTo>
                  <a:lnTo>
                    <a:pt x="93" y="266"/>
                  </a:lnTo>
                  <a:lnTo>
                    <a:pt x="85" y="268"/>
                  </a:lnTo>
                  <a:lnTo>
                    <a:pt x="75" y="270"/>
                  </a:lnTo>
                  <a:lnTo>
                    <a:pt x="66" y="268"/>
                  </a:lnTo>
                  <a:lnTo>
                    <a:pt x="58" y="266"/>
                  </a:lnTo>
                  <a:lnTo>
                    <a:pt x="50" y="262"/>
                  </a:lnTo>
                  <a:lnTo>
                    <a:pt x="44" y="257"/>
                  </a:lnTo>
                  <a:lnTo>
                    <a:pt x="37" y="250"/>
                  </a:lnTo>
                  <a:lnTo>
                    <a:pt x="34" y="243"/>
                  </a:lnTo>
                  <a:lnTo>
                    <a:pt x="31" y="234"/>
                  </a:lnTo>
                  <a:lnTo>
                    <a:pt x="30" y="225"/>
                  </a:lnTo>
                  <a:lnTo>
                    <a:pt x="30" y="221"/>
                  </a:lnTo>
                  <a:lnTo>
                    <a:pt x="29" y="219"/>
                  </a:lnTo>
                  <a:lnTo>
                    <a:pt x="28" y="216"/>
                  </a:lnTo>
                  <a:lnTo>
                    <a:pt x="26" y="214"/>
                  </a:lnTo>
                  <a:lnTo>
                    <a:pt x="24" y="213"/>
                  </a:lnTo>
                  <a:lnTo>
                    <a:pt x="21" y="211"/>
                  </a:lnTo>
                  <a:lnTo>
                    <a:pt x="18" y="210"/>
                  </a:lnTo>
                  <a:lnTo>
                    <a:pt x="15" y="210"/>
                  </a:lnTo>
                  <a:lnTo>
                    <a:pt x="12" y="210"/>
                  </a:lnTo>
                  <a:lnTo>
                    <a:pt x="10" y="211"/>
                  </a:lnTo>
                  <a:lnTo>
                    <a:pt x="6" y="213"/>
                  </a:lnTo>
                  <a:lnTo>
                    <a:pt x="4" y="214"/>
                  </a:lnTo>
                  <a:lnTo>
                    <a:pt x="3" y="216"/>
                  </a:lnTo>
                  <a:lnTo>
                    <a:pt x="1" y="219"/>
                  </a:lnTo>
                  <a:lnTo>
                    <a:pt x="0" y="221"/>
                  </a:lnTo>
                  <a:lnTo>
                    <a:pt x="0" y="225"/>
                  </a:lnTo>
                  <a:lnTo>
                    <a:pt x="0" y="231"/>
                  </a:lnTo>
                  <a:lnTo>
                    <a:pt x="1" y="238"/>
                  </a:lnTo>
                  <a:lnTo>
                    <a:pt x="3" y="245"/>
                  </a:lnTo>
                  <a:lnTo>
                    <a:pt x="4" y="250"/>
                  </a:lnTo>
                  <a:lnTo>
                    <a:pt x="7" y="257"/>
                  </a:lnTo>
                  <a:lnTo>
                    <a:pt x="11" y="262"/>
                  </a:lnTo>
                  <a:lnTo>
                    <a:pt x="14" y="267"/>
                  </a:lnTo>
                  <a:lnTo>
                    <a:pt x="17" y="273"/>
                  </a:lnTo>
                  <a:lnTo>
                    <a:pt x="26" y="281"/>
                  </a:lnTo>
                  <a:lnTo>
                    <a:pt x="36" y="289"/>
                  </a:lnTo>
                  <a:lnTo>
                    <a:pt x="42" y="292"/>
                  </a:lnTo>
                  <a:lnTo>
                    <a:pt x="48" y="295"/>
                  </a:lnTo>
                  <a:lnTo>
                    <a:pt x="54" y="297"/>
                  </a:lnTo>
                  <a:lnTo>
                    <a:pt x="60" y="298"/>
                  </a:lnTo>
                  <a:lnTo>
                    <a:pt x="60" y="314"/>
                  </a:lnTo>
                  <a:lnTo>
                    <a:pt x="61" y="318"/>
                  </a:lnTo>
                  <a:lnTo>
                    <a:pt x="61" y="321"/>
                  </a:lnTo>
                  <a:lnTo>
                    <a:pt x="63" y="323"/>
                  </a:lnTo>
                  <a:lnTo>
                    <a:pt x="64" y="325"/>
                  </a:lnTo>
                  <a:lnTo>
                    <a:pt x="67" y="327"/>
                  </a:lnTo>
                  <a:lnTo>
                    <a:pt x="70" y="328"/>
                  </a:lnTo>
                  <a:lnTo>
                    <a:pt x="73" y="329"/>
                  </a:lnTo>
                  <a:lnTo>
                    <a:pt x="75" y="329"/>
                  </a:lnTo>
                  <a:lnTo>
                    <a:pt x="78" y="329"/>
                  </a:lnTo>
                  <a:lnTo>
                    <a:pt x="81" y="328"/>
                  </a:lnTo>
                  <a:lnTo>
                    <a:pt x="84" y="327"/>
                  </a:lnTo>
                  <a:lnTo>
                    <a:pt x="86" y="325"/>
                  </a:lnTo>
                  <a:lnTo>
                    <a:pt x="88" y="323"/>
                  </a:lnTo>
                  <a:lnTo>
                    <a:pt x="89" y="321"/>
                  </a:lnTo>
                  <a:lnTo>
                    <a:pt x="90" y="318"/>
                  </a:lnTo>
                  <a:lnTo>
                    <a:pt x="90" y="314"/>
                  </a:lnTo>
                  <a:lnTo>
                    <a:pt x="90" y="298"/>
                  </a:lnTo>
                  <a:lnTo>
                    <a:pt x="96" y="296"/>
                  </a:lnTo>
                  <a:lnTo>
                    <a:pt x="103" y="294"/>
                  </a:lnTo>
                  <a:lnTo>
                    <a:pt x="108" y="292"/>
                  </a:lnTo>
                  <a:lnTo>
                    <a:pt x="115" y="289"/>
                  </a:lnTo>
                  <a:lnTo>
                    <a:pt x="124" y="281"/>
                  </a:lnTo>
                  <a:lnTo>
                    <a:pt x="133" y="273"/>
                  </a:lnTo>
                  <a:lnTo>
                    <a:pt x="137" y="267"/>
                  </a:lnTo>
                  <a:lnTo>
                    <a:pt x="140" y="262"/>
                  </a:lnTo>
                  <a:lnTo>
                    <a:pt x="144" y="257"/>
                  </a:lnTo>
                  <a:lnTo>
                    <a:pt x="146" y="250"/>
                  </a:lnTo>
                  <a:lnTo>
                    <a:pt x="148" y="245"/>
                  </a:lnTo>
                  <a:lnTo>
                    <a:pt x="149" y="238"/>
                  </a:lnTo>
                  <a:lnTo>
                    <a:pt x="150" y="232"/>
                  </a:lnTo>
                  <a:lnTo>
                    <a:pt x="151" y="225"/>
                  </a:lnTo>
                  <a:lnTo>
                    <a:pt x="150" y="217"/>
                  </a:lnTo>
                  <a:lnTo>
                    <a:pt x="149" y="210"/>
                  </a:lnTo>
                  <a:lnTo>
                    <a:pt x="147" y="202"/>
                  </a:lnTo>
                  <a:lnTo>
                    <a:pt x="145" y="196"/>
                  </a:lnTo>
                  <a:lnTo>
                    <a:pt x="141" y="189"/>
                  </a:lnTo>
                  <a:lnTo>
                    <a:pt x="138" y="183"/>
                  </a:lnTo>
                  <a:lnTo>
                    <a:pt x="134" y="177"/>
                  </a:lnTo>
                  <a:lnTo>
                    <a:pt x="129" y="172"/>
                  </a:lnTo>
                  <a:lnTo>
                    <a:pt x="123" y="167"/>
                  </a:lnTo>
                  <a:lnTo>
                    <a:pt x="118" y="162"/>
                  </a:lnTo>
                  <a:lnTo>
                    <a:pt x="111" y="159"/>
                  </a:lnTo>
                  <a:lnTo>
                    <a:pt x="105" y="156"/>
                  </a:lnTo>
                  <a:lnTo>
                    <a:pt x="97" y="153"/>
                  </a:lnTo>
                  <a:lnTo>
                    <a:pt x="90" y="151"/>
                  </a:lnTo>
                  <a:lnTo>
                    <a:pt x="84" y="150"/>
                  </a:lnTo>
                  <a:lnTo>
                    <a:pt x="75" y="150"/>
                  </a:lnTo>
                  <a:lnTo>
                    <a:pt x="66" y="148"/>
                  </a:lnTo>
                  <a:lnTo>
                    <a:pt x="58" y="146"/>
                  </a:lnTo>
                  <a:lnTo>
                    <a:pt x="50" y="142"/>
                  </a:lnTo>
                  <a:lnTo>
                    <a:pt x="44" y="137"/>
                  </a:lnTo>
                  <a:lnTo>
                    <a:pt x="37" y="129"/>
                  </a:lnTo>
                  <a:lnTo>
                    <a:pt x="34" y="122"/>
                  </a:lnTo>
                  <a:lnTo>
                    <a:pt x="31" y="113"/>
                  </a:lnTo>
                  <a:lnTo>
                    <a:pt x="30" y="105"/>
                  </a:lnTo>
                  <a:lnTo>
                    <a:pt x="31" y="95"/>
                  </a:lnTo>
                  <a:lnTo>
                    <a:pt x="34" y="87"/>
                  </a:lnTo>
                  <a:lnTo>
                    <a:pt x="37" y="79"/>
                  </a:lnTo>
                  <a:lnTo>
                    <a:pt x="44" y="72"/>
                  </a:lnTo>
                  <a:lnTo>
                    <a:pt x="50" y="67"/>
                  </a:lnTo>
                  <a:lnTo>
                    <a:pt x="58" y="63"/>
                  </a:lnTo>
                  <a:lnTo>
                    <a:pt x="66" y="61"/>
                  </a:lnTo>
                  <a:lnTo>
                    <a:pt x="75" y="60"/>
                  </a:lnTo>
                  <a:lnTo>
                    <a:pt x="7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139" name="Group 57">
            <a:extLst>
              <a:ext uri="{FF2B5EF4-FFF2-40B4-BE49-F238E27FC236}">
                <a16:creationId xmlns:a16="http://schemas.microsoft.com/office/drawing/2014/main" id="{8F43CECC-1F6B-4811-A878-F494B7B70A86}"/>
              </a:ext>
            </a:extLst>
          </p:cNvPr>
          <p:cNvGrpSpPr>
            <a:grpSpLocks noChangeAspect="1"/>
          </p:cNvGrpSpPr>
          <p:nvPr/>
        </p:nvGrpSpPr>
        <p:grpSpPr>
          <a:xfrm>
            <a:off x="1893888" y="2233310"/>
            <a:ext cx="285619" cy="285619"/>
            <a:chOff x="5370928" y="4037271"/>
            <a:chExt cx="664188" cy="664189"/>
          </a:xfrm>
          <a:solidFill>
            <a:schemeClr val="bg2"/>
          </a:solidFill>
          <a:effectLst/>
        </p:grpSpPr>
        <p:sp>
          <p:nvSpPr>
            <p:cNvPr id="1140" name="Freeform 41">
              <a:extLst>
                <a:ext uri="{FF2B5EF4-FFF2-40B4-BE49-F238E27FC236}">
                  <a16:creationId xmlns:a16="http://schemas.microsoft.com/office/drawing/2014/main" id="{1EDDFE4E-9174-4A75-A41D-84E3317798EE}"/>
                </a:ext>
              </a:extLst>
            </p:cNvPr>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42">
              <a:extLst>
                <a:ext uri="{FF2B5EF4-FFF2-40B4-BE49-F238E27FC236}">
                  <a16:creationId xmlns:a16="http://schemas.microsoft.com/office/drawing/2014/main" id="{5D55EB98-6A81-4AFE-BED4-7710EFA5FC3E}"/>
                </a:ext>
              </a:extLst>
            </p:cNvPr>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0" name="Group 29">
            <a:extLst>
              <a:ext uri="{FF2B5EF4-FFF2-40B4-BE49-F238E27FC236}">
                <a16:creationId xmlns:a16="http://schemas.microsoft.com/office/drawing/2014/main" id="{855971C7-C189-4395-8D06-123727ABE2F1}"/>
              </a:ext>
            </a:extLst>
          </p:cNvPr>
          <p:cNvGrpSpPr>
            <a:grpSpLocks noChangeAspect="1"/>
          </p:cNvGrpSpPr>
          <p:nvPr/>
        </p:nvGrpSpPr>
        <p:grpSpPr>
          <a:xfrm>
            <a:off x="2357320" y="2233311"/>
            <a:ext cx="199933" cy="285619"/>
            <a:chOff x="11637963" y="1925320"/>
            <a:chExt cx="200025" cy="285750"/>
          </a:xfrm>
          <a:solidFill>
            <a:schemeClr val="bg2"/>
          </a:solidFill>
          <a:effectLst/>
        </p:grpSpPr>
        <p:sp>
          <p:nvSpPr>
            <p:cNvPr id="1241" name="Freeform 209">
              <a:extLst>
                <a:ext uri="{FF2B5EF4-FFF2-40B4-BE49-F238E27FC236}">
                  <a16:creationId xmlns:a16="http://schemas.microsoft.com/office/drawing/2014/main" id="{28C88F96-769D-4406-9EAD-A39CC64E9027}"/>
                </a:ext>
              </a:extLst>
            </p:cNvPr>
            <p:cNvSpPr>
              <a:spLocks noEditPoints="1"/>
            </p:cNvSpPr>
            <p:nvPr/>
          </p:nvSpPr>
          <p:spPr bwMode="auto">
            <a:xfrm>
              <a:off x="11637963" y="1925320"/>
              <a:ext cx="200025" cy="285750"/>
            </a:xfrm>
            <a:custGeom>
              <a:avLst/>
              <a:gdLst>
                <a:gd name="T0" fmla="*/ 550 w 632"/>
                <a:gd name="T1" fmla="*/ 800 h 904"/>
                <a:gd name="T2" fmla="*/ 542 w 632"/>
                <a:gd name="T3" fmla="*/ 796 h 904"/>
                <a:gd name="T4" fmla="*/ 533 w 632"/>
                <a:gd name="T5" fmla="*/ 800 h 904"/>
                <a:gd name="T6" fmla="*/ 401 w 632"/>
                <a:gd name="T7" fmla="*/ 802 h 904"/>
                <a:gd name="T8" fmla="*/ 394 w 632"/>
                <a:gd name="T9" fmla="*/ 797 h 904"/>
                <a:gd name="T10" fmla="*/ 385 w 632"/>
                <a:gd name="T11" fmla="*/ 797 h 904"/>
                <a:gd name="T12" fmla="*/ 316 w 632"/>
                <a:gd name="T13" fmla="*/ 866 h 904"/>
                <a:gd name="T14" fmla="*/ 247 w 632"/>
                <a:gd name="T15" fmla="*/ 798 h 904"/>
                <a:gd name="T16" fmla="*/ 241 w 632"/>
                <a:gd name="T17" fmla="*/ 796 h 904"/>
                <a:gd name="T18" fmla="*/ 235 w 632"/>
                <a:gd name="T19" fmla="*/ 798 h 904"/>
                <a:gd name="T20" fmla="*/ 167 w 632"/>
                <a:gd name="T21" fmla="*/ 867 h 904"/>
                <a:gd name="T22" fmla="*/ 96 w 632"/>
                <a:gd name="T23" fmla="*/ 798 h 904"/>
                <a:gd name="T24" fmla="*/ 87 w 632"/>
                <a:gd name="T25" fmla="*/ 797 h 904"/>
                <a:gd name="T26" fmla="*/ 80 w 632"/>
                <a:gd name="T27" fmla="*/ 802 h 904"/>
                <a:gd name="T28" fmla="*/ 80 w 632"/>
                <a:gd name="T29" fmla="*/ 101 h 904"/>
                <a:gd name="T30" fmla="*/ 88 w 632"/>
                <a:gd name="T31" fmla="*/ 105 h 904"/>
                <a:gd name="T32" fmla="*/ 96 w 632"/>
                <a:gd name="T33" fmla="*/ 105 h 904"/>
                <a:gd name="T34" fmla="*/ 165 w 632"/>
                <a:gd name="T35" fmla="*/ 36 h 904"/>
                <a:gd name="T36" fmla="*/ 235 w 632"/>
                <a:gd name="T37" fmla="*/ 105 h 904"/>
                <a:gd name="T38" fmla="*/ 244 w 632"/>
                <a:gd name="T39" fmla="*/ 105 h 904"/>
                <a:gd name="T40" fmla="*/ 251 w 632"/>
                <a:gd name="T41" fmla="*/ 101 h 904"/>
                <a:gd name="T42" fmla="*/ 383 w 632"/>
                <a:gd name="T43" fmla="*/ 103 h 904"/>
                <a:gd name="T44" fmla="*/ 391 w 632"/>
                <a:gd name="T45" fmla="*/ 106 h 904"/>
                <a:gd name="T46" fmla="*/ 399 w 632"/>
                <a:gd name="T47" fmla="*/ 103 h 904"/>
                <a:gd name="T48" fmla="*/ 531 w 632"/>
                <a:gd name="T49" fmla="*/ 101 h 904"/>
                <a:gd name="T50" fmla="*/ 539 w 632"/>
                <a:gd name="T51" fmla="*/ 105 h 904"/>
                <a:gd name="T52" fmla="*/ 547 w 632"/>
                <a:gd name="T53" fmla="*/ 105 h 904"/>
                <a:gd name="T54" fmla="*/ 602 w 632"/>
                <a:gd name="T55" fmla="*/ 52 h 904"/>
                <a:gd name="T56" fmla="*/ 618 w 632"/>
                <a:gd name="T57" fmla="*/ 2 h 904"/>
                <a:gd name="T58" fmla="*/ 606 w 632"/>
                <a:gd name="T59" fmla="*/ 6 h 904"/>
                <a:gd name="T60" fmla="*/ 474 w 632"/>
                <a:gd name="T61" fmla="*/ 3 h 904"/>
                <a:gd name="T62" fmla="*/ 467 w 632"/>
                <a:gd name="T63" fmla="*/ 0 h 904"/>
                <a:gd name="T64" fmla="*/ 458 w 632"/>
                <a:gd name="T65" fmla="*/ 3 h 904"/>
                <a:gd name="T66" fmla="*/ 326 w 632"/>
                <a:gd name="T67" fmla="*/ 5 h 904"/>
                <a:gd name="T68" fmla="*/ 319 w 632"/>
                <a:gd name="T69" fmla="*/ 1 h 904"/>
                <a:gd name="T70" fmla="*/ 310 w 632"/>
                <a:gd name="T71" fmla="*/ 1 h 904"/>
                <a:gd name="T72" fmla="*/ 241 w 632"/>
                <a:gd name="T73" fmla="*/ 69 h 904"/>
                <a:gd name="T74" fmla="*/ 172 w 632"/>
                <a:gd name="T75" fmla="*/ 1 h 904"/>
                <a:gd name="T76" fmla="*/ 163 w 632"/>
                <a:gd name="T77" fmla="*/ 1 h 904"/>
                <a:gd name="T78" fmla="*/ 155 w 632"/>
                <a:gd name="T79" fmla="*/ 5 h 904"/>
                <a:gd name="T80" fmla="*/ 22 w 632"/>
                <a:gd name="T81" fmla="*/ 3 h 904"/>
                <a:gd name="T82" fmla="*/ 10 w 632"/>
                <a:gd name="T83" fmla="*/ 3 h 904"/>
                <a:gd name="T84" fmla="*/ 1 w 632"/>
                <a:gd name="T85" fmla="*/ 12 h 904"/>
                <a:gd name="T86" fmla="*/ 1 w 632"/>
                <a:gd name="T87" fmla="*/ 893 h 904"/>
                <a:gd name="T88" fmla="*/ 10 w 632"/>
                <a:gd name="T89" fmla="*/ 902 h 904"/>
                <a:gd name="T90" fmla="*/ 23 w 632"/>
                <a:gd name="T91" fmla="*/ 901 h 904"/>
                <a:gd name="T92" fmla="*/ 157 w 632"/>
                <a:gd name="T93" fmla="*/ 899 h 904"/>
                <a:gd name="T94" fmla="*/ 164 w 632"/>
                <a:gd name="T95" fmla="*/ 904 h 904"/>
                <a:gd name="T96" fmla="*/ 173 w 632"/>
                <a:gd name="T97" fmla="*/ 902 h 904"/>
                <a:gd name="T98" fmla="*/ 241 w 632"/>
                <a:gd name="T99" fmla="*/ 833 h 904"/>
                <a:gd name="T100" fmla="*/ 310 w 632"/>
                <a:gd name="T101" fmla="*/ 901 h 904"/>
                <a:gd name="T102" fmla="*/ 319 w 632"/>
                <a:gd name="T103" fmla="*/ 901 h 904"/>
                <a:gd name="T104" fmla="*/ 326 w 632"/>
                <a:gd name="T105" fmla="*/ 898 h 904"/>
                <a:gd name="T106" fmla="*/ 458 w 632"/>
                <a:gd name="T107" fmla="*/ 899 h 904"/>
                <a:gd name="T108" fmla="*/ 467 w 632"/>
                <a:gd name="T109" fmla="*/ 902 h 904"/>
                <a:gd name="T110" fmla="*/ 474 w 632"/>
                <a:gd name="T111" fmla="*/ 899 h 904"/>
                <a:gd name="T112" fmla="*/ 606 w 632"/>
                <a:gd name="T113" fmla="*/ 899 h 904"/>
                <a:gd name="T114" fmla="*/ 614 w 632"/>
                <a:gd name="T115" fmla="*/ 904 h 904"/>
                <a:gd name="T116" fmla="*/ 622 w 632"/>
                <a:gd name="T117" fmla="*/ 902 h 904"/>
                <a:gd name="T118" fmla="*/ 631 w 632"/>
                <a:gd name="T119" fmla="*/ 893 h 904"/>
                <a:gd name="T120" fmla="*/ 631 w 632"/>
                <a:gd name="T121" fmla="*/ 12 h 904"/>
                <a:gd name="T122" fmla="*/ 622 w 632"/>
                <a:gd name="T123" fmla="*/ 3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2" h="904">
                  <a:moveTo>
                    <a:pt x="602" y="851"/>
                  </a:moveTo>
                  <a:lnTo>
                    <a:pt x="553" y="802"/>
                  </a:lnTo>
                  <a:lnTo>
                    <a:pt x="550" y="800"/>
                  </a:lnTo>
                  <a:lnTo>
                    <a:pt x="547" y="798"/>
                  </a:lnTo>
                  <a:lnTo>
                    <a:pt x="544" y="797"/>
                  </a:lnTo>
                  <a:lnTo>
                    <a:pt x="542" y="796"/>
                  </a:lnTo>
                  <a:lnTo>
                    <a:pt x="539" y="797"/>
                  </a:lnTo>
                  <a:lnTo>
                    <a:pt x="535" y="797"/>
                  </a:lnTo>
                  <a:lnTo>
                    <a:pt x="533" y="800"/>
                  </a:lnTo>
                  <a:lnTo>
                    <a:pt x="531" y="802"/>
                  </a:lnTo>
                  <a:lnTo>
                    <a:pt x="467" y="866"/>
                  </a:lnTo>
                  <a:lnTo>
                    <a:pt x="401" y="802"/>
                  </a:lnTo>
                  <a:lnTo>
                    <a:pt x="399" y="800"/>
                  </a:lnTo>
                  <a:lnTo>
                    <a:pt x="397" y="797"/>
                  </a:lnTo>
                  <a:lnTo>
                    <a:pt x="394" y="797"/>
                  </a:lnTo>
                  <a:lnTo>
                    <a:pt x="391" y="796"/>
                  </a:lnTo>
                  <a:lnTo>
                    <a:pt x="389" y="797"/>
                  </a:lnTo>
                  <a:lnTo>
                    <a:pt x="385" y="797"/>
                  </a:lnTo>
                  <a:lnTo>
                    <a:pt x="383" y="800"/>
                  </a:lnTo>
                  <a:lnTo>
                    <a:pt x="381" y="802"/>
                  </a:lnTo>
                  <a:lnTo>
                    <a:pt x="316" y="866"/>
                  </a:lnTo>
                  <a:lnTo>
                    <a:pt x="251" y="802"/>
                  </a:lnTo>
                  <a:lnTo>
                    <a:pt x="249" y="800"/>
                  </a:lnTo>
                  <a:lnTo>
                    <a:pt x="247" y="798"/>
                  </a:lnTo>
                  <a:lnTo>
                    <a:pt x="244" y="797"/>
                  </a:lnTo>
                  <a:lnTo>
                    <a:pt x="241" y="796"/>
                  </a:lnTo>
                  <a:lnTo>
                    <a:pt x="241" y="796"/>
                  </a:lnTo>
                  <a:lnTo>
                    <a:pt x="241" y="796"/>
                  </a:lnTo>
                  <a:lnTo>
                    <a:pt x="237" y="797"/>
                  </a:lnTo>
                  <a:lnTo>
                    <a:pt x="235" y="798"/>
                  </a:lnTo>
                  <a:lnTo>
                    <a:pt x="232" y="800"/>
                  </a:lnTo>
                  <a:lnTo>
                    <a:pt x="230" y="802"/>
                  </a:lnTo>
                  <a:lnTo>
                    <a:pt x="167" y="867"/>
                  </a:lnTo>
                  <a:lnTo>
                    <a:pt x="101" y="802"/>
                  </a:lnTo>
                  <a:lnTo>
                    <a:pt x="99" y="800"/>
                  </a:lnTo>
                  <a:lnTo>
                    <a:pt x="96" y="798"/>
                  </a:lnTo>
                  <a:lnTo>
                    <a:pt x="94" y="797"/>
                  </a:lnTo>
                  <a:lnTo>
                    <a:pt x="90" y="796"/>
                  </a:lnTo>
                  <a:lnTo>
                    <a:pt x="87" y="797"/>
                  </a:lnTo>
                  <a:lnTo>
                    <a:pt x="84" y="798"/>
                  </a:lnTo>
                  <a:lnTo>
                    <a:pt x="82" y="800"/>
                  </a:lnTo>
                  <a:lnTo>
                    <a:pt x="80" y="802"/>
                  </a:lnTo>
                  <a:lnTo>
                    <a:pt x="30" y="851"/>
                  </a:lnTo>
                  <a:lnTo>
                    <a:pt x="30" y="52"/>
                  </a:lnTo>
                  <a:lnTo>
                    <a:pt x="80" y="101"/>
                  </a:lnTo>
                  <a:lnTo>
                    <a:pt x="82" y="103"/>
                  </a:lnTo>
                  <a:lnTo>
                    <a:pt x="85" y="105"/>
                  </a:lnTo>
                  <a:lnTo>
                    <a:pt x="88" y="105"/>
                  </a:lnTo>
                  <a:lnTo>
                    <a:pt x="90" y="106"/>
                  </a:lnTo>
                  <a:lnTo>
                    <a:pt x="94" y="105"/>
                  </a:lnTo>
                  <a:lnTo>
                    <a:pt x="96" y="105"/>
                  </a:lnTo>
                  <a:lnTo>
                    <a:pt x="99" y="103"/>
                  </a:lnTo>
                  <a:lnTo>
                    <a:pt x="101" y="101"/>
                  </a:lnTo>
                  <a:lnTo>
                    <a:pt x="165" y="36"/>
                  </a:lnTo>
                  <a:lnTo>
                    <a:pt x="230" y="101"/>
                  </a:lnTo>
                  <a:lnTo>
                    <a:pt x="233" y="103"/>
                  </a:lnTo>
                  <a:lnTo>
                    <a:pt x="235" y="105"/>
                  </a:lnTo>
                  <a:lnTo>
                    <a:pt x="238" y="105"/>
                  </a:lnTo>
                  <a:lnTo>
                    <a:pt x="241" y="106"/>
                  </a:lnTo>
                  <a:lnTo>
                    <a:pt x="244" y="105"/>
                  </a:lnTo>
                  <a:lnTo>
                    <a:pt x="247" y="105"/>
                  </a:lnTo>
                  <a:lnTo>
                    <a:pt x="249" y="103"/>
                  </a:lnTo>
                  <a:lnTo>
                    <a:pt x="251" y="101"/>
                  </a:lnTo>
                  <a:lnTo>
                    <a:pt x="316" y="36"/>
                  </a:lnTo>
                  <a:lnTo>
                    <a:pt x="381" y="101"/>
                  </a:lnTo>
                  <a:lnTo>
                    <a:pt x="383" y="103"/>
                  </a:lnTo>
                  <a:lnTo>
                    <a:pt x="385" y="105"/>
                  </a:lnTo>
                  <a:lnTo>
                    <a:pt x="389" y="105"/>
                  </a:lnTo>
                  <a:lnTo>
                    <a:pt x="391" y="106"/>
                  </a:lnTo>
                  <a:lnTo>
                    <a:pt x="394" y="105"/>
                  </a:lnTo>
                  <a:lnTo>
                    <a:pt x="397" y="105"/>
                  </a:lnTo>
                  <a:lnTo>
                    <a:pt x="399" y="103"/>
                  </a:lnTo>
                  <a:lnTo>
                    <a:pt x="401" y="101"/>
                  </a:lnTo>
                  <a:lnTo>
                    <a:pt x="467" y="36"/>
                  </a:lnTo>
                  <a:lnTo>
                    <a:pt x="531" y="101"/>
                  </a:lnTo>
                  <a:lnTo>
                    <a:pt x="533" y="103"/>
                  </a:lnTo>
                  <a:lnTo>
                    <a:pt x="535" y="105"/>
                  </a:lnTo>
                  <a:lnTo>
                    <a:pt x="539" y="105"/>
                  </a:lnTo>
                  <a:lnTo>
                    <a:pt x="542" y="106"/>
                  </a:lnTo>
                  <a:lnTo>
                    <a:pt x="544" y="105"/>
                  </a:lnTo>
                  <a:lnTo>
                    <a:pt x="547" y="105"/>
                  </a:lnTo>
                  <a:lnTo>
                    <a:pt x="549" y="103"/>
                  </a:lnTo>
                  <a:lnTo>
                    <a:pt x="551" y="101"/>
                  </a:lnTo>
                  <a:lnTo>
                    <a:pt x="602" y="52"/>
                  </a:lnTo>
                  <a:lnTo>
                    <a:pt x="602" y="851"/>
                  </a:lnTo>
                  <a:close/>
                  <a:moveTo>
                    <a:pt x="622" y="3"/>
                  </a:moveTo>
                  <a:lnTo>
                    <a:pt x="618" y="2"/>
                  </a:lnTo>
                  <a:lnTo>
                    <a:pt x="614" y="2"/>
                  </a:lnTo>
                  <a:lnTo>
                    <a:pt x="609" y="3"/>
                  </a:lnTo>
                  <a:lnTo>
                    <a:pt x="606" y="6"/>
                  </a:lnTo>
                  <a:lnTo>
                    <a:pt x="542" y="69"/>
                  </a:lnTo>
                  <a:lnTo>
                    <a:pt x="477" y="5"/>
                  </a:lnTo>
                  <a:lnTo>
                    <a:pt x="474" y="3"/>
                  </a:lnTo>
                  <a:lnTo>
                    <a:pt x="472" y="1"/>
                  </a:lnTo>
                  <a:lnTo>
                    <a:pt x="469" y="1"/>
                  </a:lnTo>
                  <a:lnTo>
                    <a:pt x="467" y="0"/>
                  </a:lnTo>
                  <a:lnTo>
                    <a:pt x="464" y="1"/>
                  </a:lnTo>
                  <a:lnTo>
                    <a:pt x="460" y="1"/>
                  </a:lnTo>
                  <a:lnTo>
                    <a:pt x="458" y="3"/>
                  </a:lnTo>
                  <a:lnTo>
                    <a:pt x="456" y="5"/>
                  </a:lnTo>
                  <a:lnTo>
                    <a:pt x="391" y="69"/>
                  </a:lnTo>
                  <a:lnTo>
                    <a:pt x="326" y="5"/>
                  </a:lnTo>
                  <a:lnTo>
                    <a:pt x="324" y="3"/>
                  </a:lnTo>
                  <a:lnTo>
                    <a:pt x="322" y="1"/>
                  </a:lnTo>
                  <a:lnTo>
                    <a:pt x="319" y="1"/>
                  </a:lnTo>
                  <a:lnTo>
                    <a:pt x="316" y="0"/>
                  </a:lnTo>
                  <a:lnTo>
                    <a:pt x="313" y="1"/>
                  </a:lnTo>
                  <a:lnTo>
                    <a:pt x="310" y="1"/>
                  </a:lnTo>
                  <a:lnTo>
                    <a:pt x="308" y="3"/>
                  </a:lnTo>
                  <a:lnTo>
                    <a:pt x="305" y="5"/>
                  </a:lnTo>
                  <a:lnTo>
                    <a:pt x="241" y="69"/>
                  </a:lnTo>
                  <a:lnTo>
                    <a:pt x="176" y="5"/>
                  </a:lnTo>
                  <a:lnTo>
                    <a:pt x="174" y="3"/>
                  </a:lnTo>
                  <a:lnTo>
                    <a:pt x="172" y="1"/>
                  </a:lnTo>
                  <a:lnTo>
                    <a:pt x="169" y="1"/>
                  </a:lnTo>
                  <a:lnTo>
                    <a:pt x="165" y="0"/>
                  </a:lnTo>
                  <a:lnTo>
                    <a:pt x="163" y="1"/>
                  </a:lnTo>
                  <a:lnTo>
                    <a:pt x="160" y="1"/>
                  </a:lnTo>
                  <a:lnTo>
                    <a:pt x="157" y="3"/>
                  </a:lnTo>
                  <a:lnTo>
                    <a:pt x="155" y="5"/>
                  </a:lnTo>
                  <a:lnTo>
                    <a:pt x="90" y="69"/>
                  </a:lnTo>
                  <a:lnTo>
                    <a:pt x="26" y="6"/>
                  </a:lnTo>
                  <a:lnTo>
                    <a:pt x="22" y="3"/>
                  </a:lnTo>
                  <a:lnTo>
                    <a:pt x="19" y="2"/>
                  </a:lnTo>
                  <a:lnTo>
                    <a:pt x="14" y="2"/>
                  </a:lnTo>
                  <a:lnTo>
                    <a:pt x="10" y="3"/>
                  </a:lnTo>
                  <a:lnTo>
                    <a:pt x="6" y="5"/>
                  </a:lnTo>
                  <a:lnTo>
                    <a:pt x="3" y="8"/>
                  </a:lnTo>
                  <a:lnTo>
                    <a:pt x="1" y="12"/>
                  </a:lnTo>
                  <a:lnTo>
                    <a:pt x="0" y="17"/>
                  </a:lnTo>
                  <a:lnTo>
                    <a:pt x="0" y="889"/>
                  </a:lnTo>
                  <a:lnTo>
                    <a:pt x="1" y="893"/>
                  </a:lnTo>
                  <a:lnTo>
                    <a:pt x="3" y="897"/>
                  </a:lnTo>
                  <a:lnTo>
                    <a:pt x="6" y="900"/>
                  </a:lnTo>
                  <a:lnTo>
                    <a:pt x="10" y="902"/>
                  </a:lnTo>
                  <a:lnTo>
                    <a:pt x="14" y="904"/>
                  </a:lnTo>
                  <a:lnTo>
                    <a:pt x="19" y="904"/>
                  </a:lnTo>
                  <a:lnTo>
                    <a:pt x="23" y="901"/>
                  </a:lnTo>
                  <a:lnTo>
                    <a:pt x="26" y="899"/>
                  </a:lnTo>
                  <a:lnTo>
                    <a:pt x="90" y="833"/>
                  </a:lnTo>
                  <a:lnTo>
                    <a:pt x="157" y="899"/>
                  </a:lnTo>
                  <a:lnTo>
                    <a:pt x="159" y="900"/>
                  </a:lnTo>
                  <a:lnTo>
                    <a:pt x="161" y="902"/>
                  </a:lnTo>
                  <a:lnTo>
                    <a:pt x="164" y="904"/>
                  </a:lnTo>
                  <a:lnTo>
                    <a:pt x="168" y="904"/>
                  </a:lnTo>
                  <a:lnTo>
                    <a:pt x="170" y="904"/>
                  </a:lnTo>
                  <a:lnTo>
                    <a:pt x="173" y="902"/>
                  </a:lnTo>
                  <a:lnTo>
                    <a:pt x="175" y="900"/>
                  </a:lnTo>
                  <a:lnTo>
                    <a:pt x="178" y="899"/>
                  </a:lnTo>
                  <a:lnTo>
                    <a:pt x="241" y="833"/>
                  </a:lnTo>
                  <a:lnTo>
                    <a:pt x="305" y="898"/>
                  </a:lnTo>
                  <a:lnTo>
                    <a:pt x="308" y="899"/>
                  </a:lnTo>
                  <a:lnTo>
                    <a:pt x="310" y="901"/>
                  </a:lnTo>
                  <a:lnTo>
                    <a:pt x="313" y="901"/>
                  </a:lnTo>
                  <a:lnTo>
                    <a:pt x="316" y="902"/>
                  </a:lnTo>
                  <a:lnTo>
                    <a:pt x="319" y="901"/>
                  </a:lnTo>
                  <a:lnTo>
                    <a:pt x="322" y="901"/>
                  </a:lnTo>
                  <a:lnTo>
                    <a:pt x="324" y="899"/>
                  </a:lnTo>
                  <a:lnTo>
                    <a:pt x="326" y="898"/>
                  </a:lnTo>
                  <a:lnTo>
                    <a:pt x="391" y="833"/>
                  </a:lnTo>
                  <a:lnTo>
                    <a:pt x="456" y="898"/>
                  </a:lnTo>
                  <a:lnTo>
                    <a:pt x="458" y="899"/>
                  </a:lnTo>
                  <a:lnTo>
                    <a:pt x="460" y="901"/>
                  </a:lnTo>
                  <a:lnTo>
                    <a:pt x="464" y="901"/>
                  </a:lnTo>
                  <a:lnTo>
                    <a:pt x="467" y="902"/>
                  </a:lnTo>
                  <a:lnTo>
                    <a:pt x="469" y="901"/>
                  </a:lnTo>
                  <a:lnTo>
                    <a:pt x="472" y="901"/>
                  </a:lnTo>
                  <a:lnTo>
                    <a:pt x="474" y="899"/>
                  </a:lnTo>
                  <a:lnTo>
                    <a:pt x="477" y="898"/>
                  </a:lnTo>
                  <a:lnTo>
                    <a:pt x="542" y="833"/>
                  </a:lnTo>
                  <a:lnTo>
                    <a:pt x="606" y="899"/>
                  </a:lnTo>
                  <a:lnTo>
                    <a:pt x="608" y="900"/>
                  </a:lnTo>
                  <a:lnTo>
                    <a:pt x="610" y="902"/>
                  </a:lnTo>
                  <a:lnTo>
                    <a:pt x="614" y="904"/>
                  </a:lnTo>
                  <a:lnTo>
                    <a:pt x="617" y="904"/>
                  </a:lnTo>
                  <a:lnTo>
                    <a:pt x="620" y="904"/>
                  </a:lnTo>
                  <a:lnTo>
                    <a:pt x="622" y="902"/>
                  </a:lnTo>
                  <a:lnTo>
                    <a:pt x="627" y="900"/>
                  </a:lnTo>
                  <a:lnTo>
                    <a:pt x="629" y="897"/>
                  </a:lnTo>
                  <a:lnTo>
                    <a:pt x="631" y="893"/>
                  </a:lnTo>
                  <a:lnTo>
                    <a:pt x="632" y="889"/>
                  </a:lnTo>
                  <a:lnTo>
                    <a:pt x="632" y="17"/>
                  </a:lnTo>
                  <a:lnTo>
                    <a:pt x="631" y="12"/>
                  </a:lnTo>
                  <a:lnTo>
                    <a:pt x="629" y="8"/>
                  </a:lnTo>
                  <a:lnTo>
                    <a:pt x="627" y="5"/>
                  </a:lnTo>
                  <a:lnTo>
                    <a:pt x="6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210">
              <a:extLst>
                <a:ext uri="{FF2B5EF4-FFF2-40B4-BE49-F238E27FC236}">
                  <a16:creationId xmlns:a16="http://schemas.microsoft.com/office/drawing/2014/main" id="{50750E81-BA3C-4C6F-A8B0-419FBDF4C584}"/>
                </a:ext>
              </a:extLst>
            </p:cNvPr>
            <p:cNvSpPr>
              <a:spLocks/>
            </p:cNvSpPr>
            <p:nvPr/>
          </p:nvSpPr>
          <p:spPr bwMode="auto">
            <a:xfrm>
              <a:off x="11672888" y="1991995"/>
              <a:ext cx="106363" cy="9525"/>
            </a:xfrm>
            <a:custGeom>
              <a:avLst/>
              <a:gdLst>
                <a:gd name="T0" fmla="*/ 333 w 333"/>
                <a:gd name="T1" fmla="*/ 15 h 30"/>
                <a:gd name="T2" fmla="*/ 333 w 333"/>
                <a:gd name="T3" fmla="*/ 12 h 30"/>
                <a:gd name="T4" fmla="*/ 332 w 333"/>
                <a:gd name="T5" fmla="*/ 8 h 30"/>
                <a:gd name="T6" fmla="*/ 331 w 333"/>
                <a:gd name="T7" fmla="*/ 6 h 30"/>
                <a:gd name="T8" fmla="*/ 329 w 333"/>
                <a:gd name="T9" fmla="*/ 4 h 30"/>
                <a:gd name="T10" fmla="*/ 327 w 333"/>
                <a:gd name="T11" fmla="*/ 2 h 30"/>
                <a:gd name="T12" fmla="*/ 324 w 333"/>
                <a:gd name="T13" fmla="*/ 1 h 30"/>
                <a:gd name="T14" fmla="*/ 322 w 333"/>
                <a:gd name="T15" fmla="*/ 0 h 30"/>
                <a:gd name="T16" fmla="*/ 318 w 333"/>
                <a:gd name="T17" fmla="*/ 0 h 30"/>
                <a:gd name="T18" fmla="*/ 15 w 333"/>
                <a:gd name="T19" fmla="*/ 0 h 30"/>
                <a:gd name="T20" fmla="*/ 12 w 333"/>
                <a:gd name="T21" fmla="*/ 0 h 30"/>
                <a:gd name="T22" fmla="*/ 10 w 333"/>
                <a:gd name="T23" fmla="*/ 1 h 30"/>
                <a:gd name="T24" fmla="*/ 6 w 333"/>
                <a:gd name="T25" fmla="*/ 2 h 30"/>
                <a:gd name="T26" fmla="*/ 4 w 333"/>
                <a:gd name="T27" fmla="*/ 4 h 30"/>
                <a:gd name="T28" fmla="*/ 2 w 333"/>
                <a:gd name="T29" fmla="*/ 6 h 30"/>
                <a:gd name="T30" fmla="*/ 1 w 333"/>
                <a:gd name="T31" fmla="*/ 8 h 30"/>
                <a:gd name="T32" fmla="*/ 0 w 333"/>
                <a:gd name="T33" fmla="*/ 12 h 30"/>
                <a:gd name="T34" fmla="*/ 0 w 333"/>
                <a:gd name="T35" fmla="*/ 15 h 30"/>
                <a:gd name="T36" fmla="*/ 0 w 333"/>
                <a:gd name="T37" fmla="*/ 18 h 30"/>
                <a:gd name="T38" fmla="*/ 1 w 333"/>
                <a:gd name="T39" fmla="*/ 20 h 30"/>
                <a:gd name="T40" fmla="*/ 2 w 333"/>
                <a:gd name="T41" fmla="*/ 23 h 30"/>
                <a:gd name="T42" fmla="*/ 4 w 333"/>
                <a:gd name="T43" fmla="*/ 26 h 30"/>
                <a:gd name="T44" fmla="*/ 6 w 333"/>
                <a:gd name="T45" fmla="*/ 27 h 30"/>
                <a:gd name="T46" fmla="*/ 10 w 333"/>
                <a:gd name="T47" fmla="*/ 29 h 30"/>
                <a:gd name="T48" fmla="*/ 12 w 333"/>
                <a:gd name="T49" fmla="*/ 29 h 30"/>
                <a:gd name="T50" fmla="*/ 15 w 333"/>
                <a:gd name="T51" fmla="*/ 30 h 30"/>
                <a:gd name="T52" fmla="*/ 318 w 333"/>
                <a:gd name="T53" fmla="*/ 30 h 30"/>
                <a:gd name="T54" fmla="*/ 322 w 333"/>
                <a:gd name="T55" fmla="*/ 29 h 30"/>
                <a:gd name="T56" fmla="*/ 324 w 333"/>
                <a:gd name="T57" fmla="*/ 29 h 30"/>
                <a:gd name="T58" fmla="*/ 327 w 333"/>
                <a:gd name="T59" fmla="*/ 27 h 30"/>
                <a:gd name="T60" fmla="*/ 329 w 333"/>
                <a:gd name="T61" fmla="*/ 26 h 30"/>
                <a:gd name="T62" fmla="*/ 331 w 333"/>
                <a:gd name="T63" fmla="*/ 23 h 30"/>
                <a:gd name="T64" fmla="*/ 332 w 333"/>
                <a:gd name="T65" fmla="*/ 20 h 30"/>
                <a:gd name="T66" fmla="*/ 333 w 333"/>
                <a:gd name="T67" fmla="*/ 18 h 30"/>
                <a:gd name="T68" fmla="*/ 333 w 333"/>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0">
                  <a:moveTo>
                    <a:pt x="333" y="15"/>
                  </a:moveTo>
                  <a:lnTo>
                    <a:pt x="333" y="12"/>
                  </a:lnTo>
                  <a:lnTo>
                    <a:pt x="332" y="8"/>
                  </a:lnTo>
                  <a:lnTo>
                    <a:pt x="331" y="6"/>
                  </a:lnTo>
                  <a:lnTo>
                    <a:pt x="329" y="4"/>
                  </a:lnTo>
                  <a:lnTo>
                    <a:pt x="327" y="2"/>
                  </a:lnTo>
                  <a:lnTo>
                    <a:pt x="324" y="1"/>
                  </a:lnTo>
                  <a:lnTo>
                    <a:pt x="322" y="0"/>
                  </a:lnTo>
                  <a:lnTo>
                    <a:pt x="318"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29"/>
                  </a:lnTo>
                  <a:lnTo>
                    <a:pt x="15" y="30"/>
                  </a:lnTo>
                  <a:lnTo>
                    <a:pt x="318" y="30"/>
                  </a:lnTo>
                  <a:lnTo>
                    <a:pt x="322" y="29"/>
                  </a:lnTo>
                  <a:lnTo>
                    <a:pt x="324" y="29"/>
                  </a:lnTo>
                  <a:lnTo>
                    <a:pt x="327" y="27"/>
                  </a:lnTo>
                  <a:lnTo>
                    <a:pt x="329" y="26"/>
                  </a:lnTo>
                  <a:lnTo>
                    <a:pt x="331" y="23"/>
                  </a:lnTo>
                  <a:lnTo>
                    <a:pt x="332" y="20"/>
                  </a:lnTo>
                  <a:lnTo>
                    <a:pt x="333" y="18"/>
                  </a:lnTo>
                  <a:lnTo>
                    <a:pt x="33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211">
              <a:extLst>
                <a:ext uri="{FF2B5EF4-FFF2-40B4-BE49-F238E27FC236}">
                  <a16:creationId xmlns:a16="http://schemas.microsoft.com/office/drawing/2014/main" id="{17D24D73-808D-4F7C-9104-51039356DE8E}"/>
                </a:ext>
              </a:extLst>
            </p:cNvPr>
            <p:cNvSpPr>
              <a:spLocks/>
            </p:cNvSpPr>
            <p:nvPr/>
          </p:nvSpPr>
          <p:spPr bwMode="auto">
            <a:xfrm>
              <a:off x="11672888" y="2030095"/>
              <a:ext cx="58738" cy="9525"/>
            </a:xfrm>
            <a:custGeom>
              <a:avLst/>
              <a:gdLst>
                <a:gd name="T0" fmla="*/ 166 w 181"/>
                <a:gd name="T1" fmla="*/ 0 h 30"/>
                <a:gd name="T2" fmla="*/ 15 w 181"/>
                <a:gd name="T3" fmla="*/ 0 h 30"/>
                <a:gd name="T4" fmla="*/ 12 w 181"/>
                <a:gd name="T5" fmla="*/ 0 h 30"/>
                <a:gd name="T6" fmla="*/ 10 w 181"/>
                <a:gd name="T7" fmla="*/ 1 h 30"/>
                <a:gd name="T8" fmla="*/ 6 w 181"/>
                <a:gd name="T9" fmla="*/ 2 h 30"/>
                <a:gd name="T10" fmla="*/ 4 w 181"/>
                <a:gd name="T11" fmla="*/ 4 h 30"/>
                <a:gd name="T12" fmla="*/ 2 w 181"/>
                <a:gd name="T13" fmla="*/ 6 h 30"/>
                <a:gd name="T14" fmla="*/ 1 w 181"/>
                <a:gd name="T15" fmla="*/ 9 h 30"/>
                <a:gd name="T16" fmla="*/ 0 w 181"/>
                <a:gd name="T17" fmla="*/ 12 h 30"/>
                <a:gd name="T18" fmla="*/ 0 w 181"/>
                <a:gd name="T19" fmla="*/ 15 h 30"/>
                <a:gd name="T20" fmla="*/ 0 w 181"/>
                <a:gd name="T21" fmla="*/ 18 h 30"/>
                <a:gd name="T22" fmla="*/ 1 w 181"/>
                <a:gd name="T23" fmla="*/ 20 h 30"/>
                <a:gd name="T24" fmla="*/ 2 w 181"/>
                <a:gd name="T25" fmla="*/ 24 h 30"/>
                <a:gd name="T26" fmla="*/ 4 w 181"/>
                <a:gd name="T27" fmla="*/ 26 h 30"/>
                <a:gd name="T28" fmla="*/ 6 w 181"/>
                <a:gd name="T29" fmla="*/ 28 h 30"/>
                <a:gd name="T30" fmla="*/ 10 w 181"/>
                <a:gd name="T31" fmla="*/ 29 h 30"/>
                <a:gd name="T32" fmla="*/ 12 w 181"/>
                <a:gd name="T33" fmla="*/ 30 h 30"/>
                <a:gd name="T34" fmla="*/ 15 w 181"/>
                <a:gd name="T35" fmla="*/ 30 h 30"/>
                <a:gd name="T36" fmla="*/ 166 w 181"/>
                <a:gd name="T37" fmla="*/ 30 h 30"/>
                <a:gd name="T38" fmla="*/ 169 w 181"/>
                <a:gd name="T39" fmla="*/ 30 h 30"/>
                <a:gd name="T40" fmla="*/ 173 w 181"/>
                <a:gd name="T41" fmla="*/ 29 h 30"/>
                <a:gd name="T42" fmla="*/ 175 w 181"/>
                <a:gd name="T43" fmla="*/ 28 h 30"/>
                <a:gd name="T44" fmla="*/ 177 w 181"/>
                <a:gd name="T45" fmla="*/ 26 h 30"/>
                <a:gd name="T46" fmla="*/ 179 w 181"/>
                <a:gd name="T47" fmla="*/ 24 h 30"/>
                <a:gd name="T48" fmla="*/ 180 w 181"/>
                <a:gd name="T49" fmla="*/ 20 h 30"/>
                <a:gd name="T50" fmla="*/ 181 w 181"/>
                <a:gd name="T51" fmla="*/ 18 h 30"/>
                <a:gd name="T52" fmla="*/ 181 w 181"/>
                <a:gd name="T53" fmla="*/ 15 h 30"/>
                <a:gd name="T54" fmla="*/ 181 w 181"/>
                <a:gd name="T55" fmla="*/ 12 h 30"/>
                <a:gd name="T56" fmla="*/ 180 w 181"/>
                <a:gd name="T57" fmla="*/ 9 h 30"/>
                <a:gd name="T58" fmla="*/ 179 w 181"/>
                <a:gd name="T59" fmla="*/ 6 h 30"/>
                <a:gd name="T60" fmla="*/ 177 w 181"/>
                <a:gd name="T61" fmla="*/ 4 h 30"/>
                <a:gd name="T62" fmla="*/ 175 w 181"/>
                <a:gd name="T63" fmla="*/ 2 h 30"/>
                <a:gd name="T64" fmla="*/ 173 w 181"/>
                <a:gd name="T65" fmla="*/ 1 h 30"/>
                <a:gd name="T66" fmla="*/ 169 w 181"/>
                <a:gd name="T67" fmla="*/ 0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0"/>
                  </a:lnTo>
                  <a:lnTo>
                    <a:pt x="10" y="1"/>
                  </a:lnTo>
                  <a:lnTo>
                    <a:pt x="6" y="2"/>
                  </a:lnTo>
                  <a:lnTo>
                    <a:pt x="4" y="4"/>
                  </a:lnTo>
                  <a:lnTo>
                    <a:pt x="2" y="6"/>
                  </a:lnTo>
                  <a:lnTo>
                    <a:pt x="1" y="9"/>
                  </a:lnTo>
                  <a:lnTo>
                    <a:pt x="0" y="12"/>
                  </a:lnTo>
                  <a:lnTo>
                    <a:pt x="0" y="15"/>
                  </a:lnTo>
                  <a:lnTo>
                    <a:pt x="0" y="18"/>
                  </a:lnTo>
                  <a:lnTo>
                    <a:pt x="1" y="20"/>
                  </a:lnTo>
                  <a:lnTo>
                    <a:pt x="2" y="24"/>
                  </a:lnTo>
                  <a:lnTo>
                    <a:pt x="4" y="26"/>
                  </a:lnTo>
                  <a:lnTo>
                    <a:pt x="6" y="28"/>
                  </a:lnTo>
                  <a:lnTo>
                    <a:pt x="10" y="29"/>
                  </a:lnTo>
                  <a:lnTo>
                    <a:pt x="12" y="30"/>
                  </a:lnTo>
                  <a:lnTo>
                    <a:pt x="15" y="30"/>
                  </a:lnTo>
                  <a:lnTo>
                    <a:pt x="166" y="30"/>
                  </a:lnTo>
                  <a:lnTo>
                    <a:pt x="169" y="30"/>
                  </a:lnTo>
                  <a:lnTo>
                    <a:pt x="173" y="29"/>
                  </a:lnTo>
                  <a:lnTo>
                    <a:pt x="175" y="28"/>
                  </a:lnTo>
                  <a:lnTo>
                    <a:pt x="177" y="26"/>
                  </a:lnTo>
                  <a:lnTo>
                    <a:pt x="179" y="24"/>
                  </a:lnTo>
                  <a:lnTo>
                    <a:pt x="180" y="20"/>
                  </a:lnTo>
                  <a:lnTo>
                    <a:pt x="181" y="18"/>
                  </a:lnTo>
                  <a:lnTo>
                    <a:pt x="181" y="15"/>
                  </a:lnTo>
                  <a:lnTo>
                    <a:pt x="181" y="12"/>
                  </a:lnTo>
                  <a:lnTo>
                    <a:pt x="180" y="9"/>
                  </a:lnTo>
                  <a:lnTo>
                    <a:pt x="179" y="6"/>
                  </a:lnTo>
                  <a:lnTo>
                    <a:pt x="177" y="4"/>
                  </a:lnTo>
                  <a:lnTo>
                    <a:pt x="175" y="2"/>
                  </a:lnTo>
                  <a:lnTo>
                    <a:pt x="173" y="1"/>
                  </a:lnTo>
                  <a:lnTo>
                    <a:pt x="169"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212">
              <a:extLst>
                <a:ext uri="{FF2B5EF4-FFF2-40B4-BE49-F238E27FC236}">
                  <a16:creationId xmlns:a16="http://schemas.microsoft.com/office/drawing/2014/main" id="{62545CF6-C5DC-4B9D-B16C-04F7A6F26EC8}"/>
                </a:ext>
              </a:extLst>
            </p:cNvPr>
            <p:cNvSpPr>
              <a:spLocks/>
            </p:cNvSpPr>
            <p:nvPr/>
          </p:nvSpPr>
          <p:spPr bwMode="auto">
            <a:xfrm>
              <a:off x="11672888" y="2068195"/>
              <a:ext cx="58738" cy="9525"/>
            </a:xfrm>
            <a:custGeom>
              <a:avLst/>
              <a:gdLst>
                <a:gd name="T0" fmla="*/ 166 w 181"/>
                <a:gd name="T1" fmla="*/ 0 h 30"/>
                <a:gd name="T2" fmla="*/ 15 w 181"/>
                <a:gd name="T3" fmla="*/ 0 h 30"/>
                <a:gd name="T4" fmla="*/ 12 w 181"/>
                <a:gd name="T5" fmla="*/ 0 h 30"/>
                <a:gd name="T6" fmla="*/ 10 w 181"/>
                <a:gd name="T7" fmla="*/ 1 h 30"/>
                <a:gd name="T8" fmla="*/ 6 w 181"/>
                <a:gd name="T9" fmla="*/ 2 h 30"/>
                <a:gd name="T10" fmla="*/ 4 w 181"/>
                <a:gd name="T11" fmla="*/ 4 h 30"/>
                <a:gd name="T12" fmla="*/ 2 w 181"/>
                <a:gd name="T13" fmla="*/ 6 h 30"/>
                <a:gd name="T14" fmla="*/ 1 w 181"/>
                <a:gd name="T15" fmla="*/ 10 h 30"/>
                <a:gd name="T16" fmla="*/ 0 w 181"/>
                <a:gd name="T17" fmla="*/ 12 h 30"/>
                <a:gd name="T18" fmla="*/ 0 w 181"/>
                <a:gd name="T19" fmla="*/ 15 h 30"/>
                <a:gd name="T20" fmla="*/ 0 w 181"/>
                <a:gd name="T21" fmla="*/ 18 h 30"/>
                <a:gd name="T22" fmla="*/ 1 w 181"/>
                <a:gd name="T23" fmla="*/ 20 h 30"/>
                <a:gd name="T24" fmla="*/ 2 w 181"/>
                <a:gd name="T25" fmla="*/ 24 h 30"/>
                <a:gd name="T26" fmla="*/ 4 w 181"/>
                <a:gd name="T27" fmla="*/ 26 h 30"/>
                <a:gd name="T28" fmla="*/ 6 w 181"/>
                <a:gd name="T29" fmla="*/ 28 h 30"/>
                <a:gd name="T30" fmla="*/ 10 w 181"/>
                <a:gd name="T31" fmla="*/ 29 h 30"/>
                <a:gd name="T32" fmla="*/ 12 w 181"/>
                <a:gd name="T33" fmla="*/ 30 h 30"/>
                <a:gd name="T34" fmla="*/ 15 w 181"/>
                <a:gd name="T35" fmla="*/ 30 h 30"/>
                <a:gd name="T36" fmla="*/ 166 w 181"/>
                <a:gd name="T37" fmla="*/ 30 h 30"/>
                <a:gd name="T38" fmla="*/ 169 w 181"/>
                <a:gd name="T39" fmla="*/ 30 h 30"/>
                <a:gd name="T40" fmla="*/ 173 w 181"/>
                <a:gd name="T41" fmla="*/ 29 h 30"/>
                <a:gd name="T42" fmla="*/ 175 w 181"/>
                <a:gd name="T43" fmla="*/ 28 h 30"/>
                <a:gd name="T44" fmla="*/ 177 w 181"/>
                <a:gd name="T45" fmla="*/ 26 h 30"/>
                <a:gd name="T46" fmla="*/ 179 w 181"/>
                <a:gd name="T47" fmla="*/ 24 h 30"/>
                <a:gd name="T48" fmla="*/ 180 w 181"/>
                <a:gd name="T49" fmla="*/ 21 h 30"/>
                <a:gd name="T50" fmla="*/ 181 w 181"/>
                <a:gd name="T51" fmla="*/ 18 h 30"/>
                <a:gd name="T52" fmla="*/ 181 w 181"/>
                <a:gd name="T53" fmla="*/ 15 h 30"/>
                <a:gd name="T54" fmla="*/ 181 w 181"/>
                <a:gd name="T55" fmla="*/ 12 h 30"/>
                <a:gd name="T56" fmla="*/ 180 w 181"/>
                <a:gd name="T57" fmla="*/ 10 h 30"/>
                <a:gd name="T58" fmla="*/ 179 w 181"/>
                <a:gd name="T59" fmla="*/ 6 h 30"/>
                <a:gd name="T60" fmla="*/ 177 w 181"/>
                <a:gd name="T61" fmla="*/ 4 h 30"/>
                <a:gd name="T62" fmla="*/ 175 w 181"/>
                <a:gd name="T63" fmla="*/ 2 h 30"/>
                <a:gd name="T64" fmla="*/ 173 w 181"/>
                <a:gd name="T65" fmla="*/ 1 h 30"/>
                <a:gd name="T66" fmla="*/ 169 w 181"/>
                <a:gd name="T67" fmla="*/ 0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0"/>
                  </a:lnTo>
                  <a:lnTo>
                    <a:pt x="10" y="1"/>
                  </a:lnTo>
                  <a:lnTo>
                    <a:pt x="6" y="2"/>
                  </a:lnTo>
                  <a:lnTo>
                    <a:pt x="4" y="4"/>
                  </a:lnTo>
                  <a:lnTo>
                    <a:pt x="2" y="6"/>
                  </a:lnTo>
                  <a:lnTo>
                    <a:pt x="1" y="10"/>
                  </a:lnTo>
                  <a:lnTo>
                    <a:pt x="0" y="12"/>
                  </a:lnTo>
                  <a:lnTo>
                    <a:pt x="0" y="15"/>
                  </a:lnTo>
                  <a:lnTo>
                    <a:pt x="0" y="18"/>
                  </a:lnTo>
                  <a:lnTo>
                    <a:pt x="1" y="20"/>
                  </a:lnTo>
                  <a:lnTo>
                    <a:pt x="2" y="24"/>
                  </a:lnTo>
                  <a:lnTo>
                    <a:pt x="4" y="26"/>
                  </a:lnTo>
                  <a:lnTo>
                    <a:pt x="6" y="28"/>
                  </a:lnTo>
                  <a:lnTo>
                    <a:pt x="10" y="29"/>
                  </a:lnTo>
                  <a:lnTo>
                    <a:pt x="12" y="30"/>
                  </a:lnTo>
                  <a:lnTo>
                    <a:pt x="15" y="30"/>
                  </a:lnTo>
                  <a:lnTo>
                    <a:pt x="166" y="30"/>
                  </a:lnTo>
                  <a:lnTo>
                    <a:pt x="169" y="30"/>
                  </a:lnTo>
                  <a:lnTo>
                    <a:pt x="173" y="29"/>
                  </a:lnTo>
                  <a:lnTo>
                    <a:pt x="175" y="28"/>
                  </a:lnTo>
                  <a:lnTo>
                    <a:pt x="177" y="26"/>
                  </a:lnTo>
                  <a:lnTo>
                    <a:pt x="179" y="24"/>
                  </a:lnTo>
                  <a:lnTo>
                    <a:pt x="180" y="21"/>
                  </a:lnTo>
                  <a:lnTo>
                    <a:pt x="181" y="18"/>
                  </a:lnTo>
                  <a:lnTo>
                    <a:pt x="181" y="15"/>
                  </a:lnTo>
                  <a:lnTo>
                    <a:pt x="181" y="12"/>
                  </a:lnTo>
                  <a:lnTo>
                    <a:pt x="180" y="10"/>
                  </a:lnTo>
                  <a:lnTo>
                    <a:pt x="179" y="6"/>
                  </a:lnTo>
                  <a:lnTo>
                    <a:pt x="177" y="4"/>
                  </a:lnTo>
                  <a:lnTo>
                    <a:pt x="175" y="2"/>
                  </a:lnTo>
                  <a:lnTo>
                    <a:pt x="173" y="1"/>
                  </a:lnTo>
                  <a:lnTo>
                    <a:pt x="169"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213">
              <a:extLst>
                <a:ext uri="{FF2B5EF4-FFF2-40B4-BE49-F238E27FC236}">
                  <a16:creationId xmlns:a16="http://schemas.microsoft.com/office/drawing/2014/main" id="{594DE7F8-F77B-4C01-8316-4CC2C7C91F4C}"/>
                </a:ext>
              </a:extLst>
            </p:cNvPr>
            <p:cNvSpPr>
              <a:spLocks/>
            </p:cNvSpPr>
            <p:nvPr/>
          </p:nvSpPr>
          <p:spPr bwMode="auto">
            <a:xfrm>
              <a:off x="11672888" y="2106295"/>
              <a:ext cx="46038" cy="9525"/>
            </a:xfrm>
            <a:custGeom>
              <a:avLst/>
              <a:gdLst>
                <a:gd name="T0" fmla="*/ 129 w 144"/>
                <a:gd name="T1" fmla="*/ 0 h 30"/>
                <a:gd name="T2" fmla="*/ 15 w 144"/>
                <a:gd name="T3" fmla="*/ 0 h 30"/>
                <a:gd name="T4" fmla="*/ 12 w 144"/>
                <a:gd name="T5" fmla="*/ 0 h 30"/>
                <a:gd name="T6" fmla="*/ 10 w 144"/>
                <a:gd name="T7" fmla="*/ 1 h 30"/>
                <a:gd name="T8" fmla="*/ 6 w 144"/>
                <a:gd name="T9" fmla="*/ 3 h 30"/>
                <a:gd name="T10" fmla="*/ 4 w 144"/>
                <a:gd name="T11" fmla="*/ 4 h 30"/>
                <a:gd name="T12" fmla="*/ 2 w 144"/>
                <a:gd name="T13" fmla="*/ 7 h 30"/>
                <a:gd name="T14" fmla="*/ 1 w 144"/>
                <a:gd name="T15" fmla="*/ 10 h 30"/>
                <a:gd name="T16" fmla="*/ 0 w 144"/>
                <a:gd name="T17" fmla="*/ 12 h 30"/>
                <a:gd name="T18" fmla="*/ 0 w 144"/>
                <a:gd name="T19" fmla="*/ 15 h 30"/>
                <a:gd name="T20" fmla="*/ 0 w 144"/>
                <a:gd name="T21" fmla="*/ 18 h 30"/>
                <a:gd name="T22" fmla="*/ 1 w 144"/>
                <a:gd name="T23" fmla="*/ 22 h 30"/>
                <a:gd name="T24" fmla="*/ 2 w 144"/>
                <a:gd name="T25" fmla="*/ 24 h 30"/>
                <a:gd name="T26" fmla="*/ 4 w 144"/>
                <a:gd name="T27" fmla="*/ 26 h 30"/>
                <a:gd name="T28" fmla="*/ 6 w 144"/>
                <a:gd name="T29" fmla="*/ 28 h 30"/>
                <a:gd name="T30" fmla="*/ 10 w 144"/>
                <a:gd name="T31" fmla="*/ 29 h 30"/>
                <a:gd name="T32" fmla="*/ 12 w 144"/>
                <a:gd name="T33" fmla="*/ 30 h 30"/>
                <a:gd name="T34" fmla="*/ 15 w 144"/>
                <a:gd name="T35" fmla="*/ 30 h 30"/>
                <a:gd name="T36" fmla="*/ 129 w 144"/>
                <a:gd name="T37" fmla="*/ 30 h 30"/>
                <a:gd name="T38" fmla="*/ 132 w 144"/>
                <a:gd name="T39" fmla="*/ 30 h 30"/>
                <a:gd name="T40" fmla="*/ 135 w 144"/>
                <a:gd name="T41" fmla="*/ 29 h 30"/>
                <a:gd name="T42" fmla="*/ 137 w 144"/>
                <a:gd name="T43" fmla="*/ 28 h 30"/>
                <a:gd name="T44" fmla="*/ 139 w 144"/>
                <a:gd name="T45" fmla="*/ 26 h 30"/>
                <a:gd name="T46" fmla="*/ 142 w 144"/>
                <a:gd name="T47" fmla="*/ 24 h 30"/>
                <a:gd name="T48" fmla="*/ 143 w 144"/>
                <a:gd name="T49" fmla="*/ 22 h 30"/>
                <a:gd name="T50" fmla="*/ 144 w 144"/>
                <a:gd name="T51" fmla="*/ 18 h 30"/>
                <a:gd name="T52" fmla="*/ 144 w 144"/>
                <a:gd name="T53" fmla="*/ 15 h 30"/>
                <a:gd name="T54" fmla="*/ 144 w 144"/>
                <a:gd name="T55" fmla="*/ 12 h 30"/>
                <a:gd name="T56" fmla="*/ 143 w 144"/>
                <a:gd name="T57" fmla="*/ 10 h 30"/>
                <a:gd name="T58" fmla="*/ 142 w 144"/>
                <a:gd name="T59" fmla="*/ 7 h 30"/>
                <a:gd name="T60" fmla="*/ 139 w 144"/>
                <a:gd name="T61" fmla="*/ 4 h 30"/>
                <a:gd name="T62" fmla="*/ 137 w 144"/>
                <a:gd name="T63" fmla="*/ 3 h 30"/>
                <a:gd name="T64" fmla="*/ 135 w 144"/>
                <a:gd name="T65" fmla="*/ 1 h 30"/>
                <a:gd name="T66" fmla="*/ 132 w 144"/>
                <a:gd name="T67" fmla="*/ 0 h 30"/>
                <a:gd name="T68" fmla="*/ 129 w 144"/>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30">
                  <a:moveTo>
                    <a:pt x="129" y="0"/>
                  </a:moveTo>
                  <a:lnTo>
                    <a:pt x="15" y="0"/>
                  </a:lnTo>
                  <a:lnTo>
                    <a:pt x="12" y="0"/>
                  </a:lnTo>
                  <a:lnTo>
                    <a:pt x="10" y="1"/>
                  </a:lnTo>
                  <a:lnTo>
                    <a:pt x="6" y="3"/>
                  </a:lnTo>
                  <a:lnTo>
                    <a:pt x="4" y="4"/>
                  </a:lnTo>
                  <a:lnTo>
                    <a:pt x="2" y="7"/>
                  </a:lnTo>
                  <a:lnTo>
                    <a:pt x="1" y="10"/>
                  </a:lnTo>
                  <a:lnTo>
                    <a:pt x="0" y="12"/>
                  </a:lnTo>
                  <a:lnTo>
                    <a:pt x="0" y="15"/>
                  </a:lnTo>
                  <a:lnTo>
                    <a:pt x="0" y="18"/>
                  </a:lnTo>
                  <a:lnTo>
                    <a:pt x="1" y="22"/>
                  </a:lnTo>
                  <a:lnTo>
                    <a:pt x="2" y="24"/>
                  </a:lnTo>
                  <a:lnTo>
                    <a:pt x="4" y="26"/>
                  </a:lnTo>
                  <a:lnTo>
                    <a:pt x="6" y="28"/>
                  </a:lnTo>
                  <a:lnTo>
                    <a:pt x="10" y="29"/>
                  </a:lnTo>
                  <a:lnTo>
                    <a:pt x="12" y="30"/>
                  </a:lnTo>
                  <a:lnTo>
                    <a:pt x="15" y="30"/>
                  </a:lnTo>
                  <a:lnTo>
                    <a:pt x="129" y="30"/>
                  </a:lnTo>
                  <a:lnTo>
                    <a:pt x="132" y="30"/>
                  </a:lnTo>
                  <a:lnTo>
                    <a:pt x="135" y="29"/>
                  </a:lnTo>
                  <a:lnTo>
                    <a:pt x="137" y="28"/>
                  </a:lnTo>
                  <a:lnTo>
                    <a:pt x="139" y="26"/>
                  </a:lnTo>
                  <a:lnTo>
                    <a:pt x="142" y="24"/>
                  </a:lnTo>
                  <a:lnTo>
                    <a:pt x="143" y="22"/>
                  </a:lnTo>
                  <a:lnTo>
                    <a:pt x="144" y="18"/>
                  </a:lnTo>
                  <a:lnTo>
                    <a:pt x="144" y="15"/>
                  </a:lnTo>
                  <a:lnTo>
                    <a:pt x="144" y="12"/>
                  </a:lnTo>
                  <a:lnTo>
                    <a:pt x="143" y="10"/>
                  </a:lnTo>
                  <a:lnTo>
                    <a:pt x="142" y="7"/>
                  </a:lnTo>
                  <a:lnTo>
                    <a:pt x="139" y="4"/>
                  </a:lnTo>
                  <a:lnTo>
                    <a:pt x="137" y="3"/>
                  </a:lnTo>
                  <a:lnTo>
                    <a:pt x="135" y="1"/>
                  </a:lnTo>
                  <a:lnTo>
                    <a:pt x="132"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214">
              <a:extLst>
                <a:ext uri="{FF2B5EF4-FFF2-40B4-BE49-F238E27FC236}">
                  <a16:creationId xmlns:a16="http://schemas.microsoft.com/office/drawing/2014/main" id="{CC2957F7-C844-4D86-838E-327718C8BA3F}"/>
                </a:ext>
              </a:extLst>
            </p:cNvPr>
            <p:cNvSpPr>
              <a:spLocks/>
            </p:cNvSpPr>
            <p:nvPr/>
          </p:nvSpPr>
          <p:spPr bwMode="auto">
            <a:xfrm>
              <a:off x="11758613" y="2044383"/>
              <a:ext cx="44450" cy="109538"/>
            </a:xfrm>
            <a:custGeom>
              <a:avLst/>
              <a:gdLst>
                <a:gd name="T0" fmla="*/ 88 w 144"/>
                <a:gd name="T1" fmla="*/ 76 h 345"/>
                <a:gd name="T2" fmla="*/ 106 w 144"/>
                <a:gd name="T3" fmla="*/ 91 h 345"/>
                <a:gd name="T4" fmla="*/ 114 w 144"/>
                <a:gd name="T5" fmla="*/ 115 h 345"/>
                <a:gd name="T6" fmla="*/ 116 w 144"/>
                <a:gd name="T7" fmla="*/ 122 h 345"/>
                <a:gd name="T8" fmla="*/ 122 w 144"/>
                <a:gd name="T9" fmla="*/ 129 h 345"/>
                <a:gd name="T10" fmla="*/ 131 w 144"/>
                <a:gd name="T11" fmla="*/ 129 h 345"/>
                <a:gd name="T12" fmla="*/ 138 w 144"/>
                <a:gd name="T13" fmla="*/ 125 h 345"/>
                <a:gd name="T14" fmla="*/ 143 w 144"/>
                <a:gd name="T15" fmla="*/ 117 h 345"/>
                <a:gd name="T16" fmla="*/ 143 w 144"/>
                <a:gd name="T17" fmla="*/ 102 h 345"/>
                <a:gd name="T18" fmla="*/ 134 w 144"/>
                <a:gd name="T19" fmla="*/ 78 h 345"/>
                <a:gd name="T20" fmla="*/ 109 w 144"/>
                <a:gd name="T21" fmla="*/ 54 h 345"/>
                <a:gd name="T22" fmla="*/ 87 w 144"/>
                <a:gd name="T23" fmla="*/ 15 h 345"/>
                <a:gd name="T24" fmla="*/ 84 w 144"/>
                <a:gd name="T25" fmla="*/ 6 h 345"/>
                <a:gd name="T26" fmla="*/ 77 w 144"/>
                <a:gd name="T27" fmla="*/ 1 h 345"/>
                <a:gd name="T28" fmla="*/ 69 w 144"/>
                <a:gd name="T29" fmla="*/ 0 h 345"/>
                <a:gd name="T30" fmla="*/ 61 w 144"/>
                <a:gd name="T31" fmla="*/ 4 h 345"/>
                <a:gd name="T32" fmla="*/ 57 w 144"/>
                <a:gd name="T33" fmla="*/ 12 h 345"/>
                <a:gd name="T34" fmla="*/ 45 w 144"/>
                <a:gd name="T35" fmla="*/ 47 h 345"/>
                <a:gd name="T36" fmla="*/ 16 w 144"/>
                <a:gd name="T37" fmla="*/ 69 h 345"/>
                <a:gd name="T38" fmla="*/ 2 w 144"/>
                <a:gd name="T39" fmla="*/ 95 h 345"/>
                <a:gd name="T40" fmla="*/ 0 w 144"/>
                <a:gd name="T41" fmla="*/ 115 h 345"/>
                <a:gd name="T42" fmla="*/ 3 w 144"/>
                <a:gd name="T43" fmla="*/ 136 h 345"/>
                <a:gd name="T44" fmla="*/ 12 w 144"/>
                <a:gd name="T45" fmla="*/ 154 h 345"/>
                <a:gd name="T46" fmla="*/ 26 w 144"/>
                <a:gd name="T47" fmla="*/ 169 h 345"/>
                <a:gd name="T48" fmla="*/ 43 w 144"/>
                <a:gd name="T49" fmla="*/ 180 h 345"/>
                <a:gd name="T50" fmla="*/ 64 w 144"/>
                <a:gd name="T51" fmla="*/ 185 h 345"/>
                <a:gd name="T52" fmla="*/ 88 w 144"/>
                <a:gd name="T53" fmla="*/ 190 h 345"/>
                <a:gd name="T54" fmla="*/ 106 w 144"/>
                <a:gd name="T55" fmla="*/ 205 h 345"/>
                <a:gd name="T56" fmla="*/ 114 w 144"/>
                <a:gd name="T57" fmla="*/ 228 h 345"/>
                <a:gd name="T58" fmla="*/ 106 w 144"/>
                <a:gd name="T59" fmla="*/ 251 h 345"/>
                <a:gd name="T60" fmla="*/ 88 w 144"/>
                <a:gd name="T61" fmla="*/ 267 h 345"/>
                <a:gd name="T62" fmla="*/ 63 w 144"/>
                <a:gd name="T63" fmla="*/ 269 h 345"/>
                <a:gd name="T64" fmla="*/ 42 w 144"/>
                <a:gd name="T65" fmla="*/ 257 h 345"/>
                <a:gd name="T66" fmla="*/ 30 w 144"/>
                <a:gd name="T67" fmla="*/ 236 h 345"/>
                <a:gd name="T68" fmla="*/ 28 w 144"/>
                <a:gd name="T69" fmla="*/ 222 h 345"/>
                <a:gd name="T70" fmla="*/ 22 w 144"/>
                <a:gd name="T71" fmla="*/ 216 h 345"/>
                <a:gd name="T72" fmla="*/ 15 w 144"/>
                <a:gd name="T73" fmla="*/ 213 h 345"/>
                <a:gd name="T74" fmla="*/ 6 w 144"/>
                <a:gd name="T75" fmla="*/ 216 h 345"/>
                <a:gd name="T76" fmla="*/ 1 w 144"/>
                <a:gd name="T77" fmla="*/ 222 h 345"/>
                <a:gd name="T78" fmla="*/ 0 w 144"/>
                <a:gd name="T79" fmla="*/ 235 h 345"/>
                <a:gd name="T80" fmla="*/ 4 w 144"/>
                <a:gd name="T81" fmla="*/ 253 h 345"/>
                <a:gd name="T82" fmla="*/ 24 w 144"/>
                <a:gd name="T83" fmla="*/ 282 h 345"/>
                <a:gd name="T84" fmla="*/ 57 w 144"/>
                <a:gd name="T85" fmla="*/ 298 h 345"/>
                <a:gd name="T86" fmla="*/ 58 w 144"/>
                <a:gd name="T87" fmla="*/ 337 h 345"/>
                <a:gd name="T88" fmla="*/ 63 w 144"/>
                <a:gd name="T89" fmla="*/ 343 h 345"/>
                <a:gd name="T90" fmla="*/ 72 w 144"/>
                <a:gd name="T91" fmla="*/ 345 h 345"/>
                <a:gd name="T92" fmla="*/ 79 w 144"/>
                <a:gd name="T93" fmla="*/ 343 h 345"/>
                <a:gd name="T94" fmla="*/ 85 w 144"/>
                <a:gd name="T95" fmla="*/ 337 h 345"/>
                <a:gd name="T96" fmla="*/ 87 w 144"/>
                <a:gd name="T97" fmla="*/ 298 h 345"/>
                <a:gd name="T98" fmla="*/ 119 w 144"/>
                <a:gd name="T99" fmla="*/ 282 h 345"/>
                <a:gd name="T100" fmla="*/ 139 w 144"/>
                <a:gd name="T101" fmla="*/ 253 h 345"/>
                <a:gd name="T102" fmla="*/ 143 w 144"/>
                <a:gd name="T103" fmla="*/ 235 h 345"/>
                <a:gd name="T104" fmla="*/ 141 w 144"/>
                <a:gd name="T105" fmla="*/ 213 h 345"/>
                <a:gd name="T106" fmla="*/ 134 w 144"/>
                <a:gd name="T107" fmla="*/ 194 h 345"/>
                <a:gd name="T108" fmla="*/ 122 w 144"/>
                <a:gd name="T109" fmla="*/ 177 h 345"/>
                <a:gd name="T110" fmla="*/ 106 w 144"/>
                <a:gd name="T111" fmla="*/ 165 h 345"/>
                <a:gd name="T112" fmla="*/ 86 w 144"/>
                <a:gd name="T113" fmla="*/ 158 h 345"/>
                <a:gd name="T114" fmla="*/ 63 w 144"/>
                <a:gd name="T115" fmla="*/ 155 h 345"/>
                <a:gd name="T116" fmla="*/ 42 w 144"/>
                <a:gd name="T117" fmla="*/ 144 h 345"/>
                <a:gd name="T118" fmla="*/ 30 w 144"/>
                <a:gd name="T119" fmla="*/ 122 h 345"/>
                <a:gd name="T120" fmla="*/ 33 w 144"/>
                <a:gd name="T121" fmla="*/ 98 h 345"/>
                <a:gd name="T122" fmla="*/ 48 w 144"/>
                <a:gd name="T123" fmla="*/ 79 h 345"/>
                <a:gd name="T124" fmla="*/ 72 w 144"/>
                <a:gd name="T125" fmla="*/ 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345">
                  <a:moveTo>
                    <a:pt x="72" y="72"/>
                  </a:moveTo>
                  <a:lnTo>
                    <a:pt x="79" y="73"/>
                  </a:lnTo>
                  <a:lnTo>
                    <a:pt x="88" y="76"/>
                  </a:lnTo>
                  <a:lnTo>
                    <a:pt x="94" y="79"/>
                  </a:lnTo>
                  <a:lnTo>
                    <a:pt x="101" y="85"/>
                  </a:lnTo>
                  <a:lnTo>
                    <a:pt x="106" y="91"/>
                  </a:lnTo>
                  <a:lnTo>
                    <a:pt x="109" y="98"/>
                  </a:lnTo>
                  <a:lnTo>
                    <a:pt x="113" y="106"/>
                  </a:lnTo>
                  <a:lnTo>
                    <a:pt x="114" y="115"/>
                  </a:lnTo>
                  <a:lnTo>
                    <a:pt x="114" y="117"/>
                  </a:lnTo>
                  <a:lnTo>
                    <a:pt x="115" y="120"/>
                  </a:lnTo>
                  <a:lnTo>
                    <a:pt x="116" y="122"/>
                  </a:lnTo>
                  <a:lnTo>
                    <a:pt x="118" y="125"/>
                  </a:lnTo>
                  <a:lnTo>
                    <a:pt x="120" y="126"/>
                  </a:lnTo>
                  <a:lnTo>
                    <a:pt x="122" y="129"/>
                  </a:lnTo>
                  <a:lnTo>
                    <a:pt x="125" y="129"/>
                  </a:lnTo>
                  <a:lnTo>
                    <a:pt x="129" y="130"/>
                  </a:lnTo>
                  <a:lnTo>
                    <a:pt x="131" y="129"/>
                  </a:lnTo>
                  <a:lnTo>
                    <a:pt x="134" y="129"/>
                  </a:lnTo>
                  <a:lnTo>
                    <a:pt x="136" y="126"/>
                  </a:lnTo>
                  <a:lnTo>
                    <a:pt x="138" y="125"/>
                  </a:lnTo>
                  <a:lnTo>
                    <a:pt x="140" y="122"/>
                  </a:lnTo>
                  <a:lnTo>
                    <a:pt x="141" y="120"/>
                  </a:lnTo>
                  <a:lnTo>
                    <a:pt x="143" y="117"/>
                  </a:lnTo>
                  <a:lnTo>
                    <a:pt x="144" y="115"/>
                  </a:lnTo>
                  <a:lnTo>
                    <a:pt x="143" y="108"/>
                  </a:lnTo>
                  <a:lnTo>
                    <a:pt x="143" y="102"/>
                  </a:lnTo>
                  <a:lnTo>
                    <a:pt x="140" y="95"/>
                  </a:lnTo>
                  <a:lnTo>
                    <a:pt x="139" y="90"/>
                  </a:lnTo>
                  <a:lnTo>
                    <a:pt x="134" y="78"/>
                  </a:lnTo>
                  <a:lnTo>
                    <a:pt x="126" y="69"/>
                  </a:lnTo>
                  <a:lnTo>
                    <a:pt x="119" y="60"/>
                  </a:lnTo>
                  <a:lnTo>
                    <a:pt x="109" y="54"/>
                  </a:lnTo>
                  <a:lnTo>
                    <a:pt x="99" y="47"/>
                  </a:lnTo>
                  <a:lnTo>
                    <a:pt x="87" y="44"/>
                  </a:lnTo>
                  <a:lnTo>
                    <a:pt x="87" y="15"/>
                  </a:lnTo>
                  <a:lnTo>
                    <a:pt x="86" y="12"/>
                  </a:lnTo>
                  <a:lnTo>
                    <a:pt x="85" y="9"/>
                  </a:lnTo>
                  <a:lnTo>
                    <a:pt x="84" y="6"/>
                  </a:lnTo>
                  <a:lnTo>
                    <a:pt x="81" y="4"/>
                  </a:lnTo>
                  <a:lnTo>
                    <a:pt x="79" y="2"/>
                  </a:lnTo>
                  <a:lnTo>
                    <a:pt x="77" y="1"/>
                  </a:lnTo>
                  <a:lnTo>
                    <a:pt x="74" y="0"/>
                  </a:lnTo>
                  <a:lnTo>
                    <a:pt x="72" y="0"/>
                  </a:lnTo>
                  <a:lnTo>
                    <a:pt x="69" y="0"/>
                  </a:lnTo>
                  <a:lnTo>
                    <a:pt x="65" y="1"/>
                  </a:lnTo>
                  <a:lnTo>
                    <a:pt x="63" y="2"/>
                  </a:lnTo>
                  <a:lnTo>
                    <a:pt x="61" y="4"/>
                  </a:lnTo>
                  <a:lnTo>
                    <a:pt x="59" y="6"/>
                  </a:lnTo>
                  <a:lnTo>
                    <a:pt x="58" y="10"/>
                  </a:lnTo>
                  <a:lnTo>
                    <a:pt x="57" y="12"/>
                  </a:lnTo>
                  <a:lnTo>
                    <a:pt x="57" y="15"/>
                  </a:lnTo>
                  <a:lnTo>
                    <a:pt x="57" y="44"/>
                  </a:lnTo>
                  <a:lnTo>
                    <a:pt x="45" y="47"/>
                  </a:lnTo>
                  <a:lnTo>
                    <a:pt x="33" y="53"/>
                  </a:lnTo>
                  <a:lnTo>
                    <a:pt x="24" y="60"/>
                  </a:lnTo>
                  <a:lnTo>
                    <a:pt x="16" y="69"/>
                  </a:lnTo>
                  <a:lnTo>
                    <a:pt x="9" y="78"/>
                  </a:lnTo>
                  <a:lnTo>
                    <a:pt x="4" y="90"/>
                  </a:lnTo>
                  <a:lnTo>
                    <a:pt x="2" y="95"/>
                  </a:lnTo>
                  <a:lnTo>
                    <a:pt x="1" y="102"/>
                  </a:lnTo>
                  <a:lnTo>
                    <a:pt x="0" y="108"/>
                  </a:lnTo>
                  <a:lnTo>
                    <a:pt x="0" y="115"/>
                  </a:lnTo>
                  <a:lnTo>
                    <a:pt x="0" y="121"/>
                  </a:lnTo>
                  <a:lnTo>
                    <a:pt x="1" y="129"/>
                  </a:lnTo>
                  <a:lnTo>
                    <a:pt x="3" y="136"/>
                  </a:lnTo>
                  <a:lnTo>
                    <a:pt x="5" y="143"/>
                  </a:lnTo>
                  <a:lnTo>
                    <a:pt x="9" y="149"/>
                  </a:lnTo>
                  <a:lnTo>
                    <a:pt x="12" y="154"/>
                  </a:lnTo>
                  <a:lnTo>
                    <a:pt x="16" y="160"/>
                  </a:lnTo>
                  <a:lnTo>
                    <a:pt x="20" y="165"/>
                  </a:lnTo>
                  <a:lnTo>
                    <a:pt x="26" y="169"/>
                  </a:lnTo>
                  <a:lnTo>
                    <a:pt x="31" y="174"/>
                  </a:lnTo>
                  <a:lnTo>
                    <a:pt x="37" y="178"/>
                  </a:lnTo>
                  <a:lnTo>
                    <a:pt x="43" y="180"/>
                  </a:lnTo>
                  <a:lnTo>
                    <a:pt x="50" y="183"/>
                  </a:lnTo>
                  <a:lnTo>
                    <a:pt x="57" y="184"/>
                  </a:lnTo>
                  <a:lnTo>
                    <a:pt x="64" y="185"/>
                  </a:lnTo>
                  <a:lnTo>
                    <a:pt x="72" y="187"/>
                  </a:lnTo>
                  <a:lnTo>
                    <a:pt x="79" y="187"/>
                  </a:lnTo>
                  <a:lnTo>
                    <a:pt x="88" y="190"/>
                  </a:lnTo>
                  <a:lnTo>
                    <a:pt x="94" y="193"/>
                  </a:lnTo>
                  <a:lnTo>
                    <a:pt x="101" y="198"/>
                  </a:lnTo>
                  <a:lnTo>
                    <a:pt x="106" y="205"/>
                  </a:lnTo>
                  <a:lnTo>
                    <a:pt x="109" y="211"/>
                  </a:lnTo>
                  <a:lnTo>
                    <a:pt x="113" y="220"/>
                  </a:lnTo>
                  <a:lnTo>
                    <a:pt x="114" y="228"/>
                  </a:lnTo>
                  <a:lnTo>
                    <a:pt x="113" y="236"/>
                  </a:lnTo>
                  <a:lnTo>
                    <a:pt x="109" y="244"/>
                  </a:lnTo>
                  <a:lnTo>
                    <a:pt x="106" y="251"/>
                  </a:lnTo>
                  <a:lnTo>
                    <a:pt x="101" y="257"/>
                  </a:lnTo>
                  <a:lnTo>
                    <a:pt x="94" y="263"/>
                  </a:lnTo>
                  <a:lnTo>
                    <a:pt x="88" y="267"/>
                  </a:lnTo>
                  <a:lnTo>
                    <a:pt x="79" y="269"/>
                  </a:lnTo>
                  <a:lnTo>
                    <a:pt x="72" y="270"/>
                  </a:lnTo>
                  <a:lnTo>
                    <a:pt x="63" y="269"/>
                  </a:lnTo>
                  <a:lnTo>
                    <a:pt x="55" y="267"/>
                  </a:lnTo>
                  <a:lnTo>
                    <a:pt x="48" y="263"/>
                  </a:lnTo>
                  <a:lnTo>
                    <a:pt x="42" y="257"/>
                  </a:lnTo>
                  <a:lnTo>
                    <a:pt x="36" y="251"/>
                  </a:lnTo>
                  <a:lnTo>
                    <a:pt x="33" y="244"/>
                  </a:lnTo>
                  <a:lnTo>
                    <a:pt x="30" y="236"/>
                  </a:lnTo>
                  <a:lnTo>
                    <a:pt x="30" y="228"/>
                  </a:lnTo>
                  <a:lnTo>
                    <a:pt x="29" y="225"/>
                  </a:lnTo>
                  <a:lnTo>
                    <a:pt x="28" y="222"/>
                  </a:lnTo>
                  <a:lnTo>
                    <a:pt x="27" y="220"/>
                  </a:lnTo>
                  <a:lnTo>
                    <a:pt x="25" y="218"/>
                  </a:lnTo>
                  <a:lnTo>
                    <a:pt x="22" y="216"/>
                  </a:lnTo>
                  <a:lnTo>
                    <a:pt x="20" y="214"/>
                  </a:lnTo>
                  <a:lnTo>
                    <a:pt x="17" y="213"/>
                  </a:lnTo>
                  <a:lnTo>
                    <a:pt x="15" y="213"/>
                  </a:lnTo>
                  <a:lnTo>
                    <a:pt x="12" y="213"/>
                  </a:lnTo>
                  <a:lnTo>
                    <a:pt x="9" y="214"/>
                  </a:lnTo>
                  <a:lnTo>
                    <a:pt x="6" y="216"/>
                  </a:lnTo>
                  <a:lnTo>
                    <a:pt x="4" y="218"/>
                  </a:lnTo>
                  <a:lnTo>
                    <a:pt x="2" y="220"/>
                  </a:lnTo>
                  <a:lnTo>
                    <a:pt x="1" y="222"/>
                  </a:lnTo>
                  <a:lnTo>
                    <a:pt x="0" y="225"/>
                  </a:lnTo>
                  <a:lnTo>
                    <a:pt x="0" y="228"/>
                  </a:lnTo>
                  <a:lnTo>
                    <a:pt x="0" y="235"/>
                  </a:lnTo>
                  <a:lnTo>
                    <a:pt x="1" y="240"/>
                  </a:lnTo>
                  <a:lnTo>
                    <a:pt x="2" y="247"/>
                  </a:lnTo>
                  <a:lnTo>
                    <a:pt x="4" y="253"/>
                  </a:lnTo>
                  <a:lnTo>
                    <a:pt x="9" y="264"/>
                  </a:lnTo>
                  <a:lnTo>
                    <a:pt x="16" y="273"/>
                  </a:lnTo>
                  <a:lnTo>
                    <a:pt x="24" y="282"/>
                  </a:lnTo>
                  <a:lnTo>
                    <a:pt x="33" y="289"/>
                  </a:lnTo>
                  <a:lnTo>
                    <a:pt x="45" y="295"/>
                  </a:lnTo>
                  <a:lnTo>
                    <a:pt x="57" y="298"/>
                  </a:lnTo>
                  <a:lnTo>
                    <a:pt x="57" y="330"/>
                  </a:lnTo>
                  <a:lnTo>
                    <a:pt x="57" y="333"/>
                  </a:lnTo>
                  <a:lnTo>
                    <a:pt x="58" y="337"/>
                  </a:lnTo>
                  <a:lnTo>
                    <a:pt x="59" y="339"/>
                  </a:lnTo>
                  <a:lnTo>
                    <a:pt x="61" y="341"/>
                  </a:lnTo>
                  <a:lnTo>
                    <a:pt x="63" y="343"/>
                  </a:lnTo>
                  <a:lnTo>
                    <a:pt x="65" y="344"/>
                  </a:lnTo>
                  <a:lnTo>
                    <a:pt x="69" y="345"/>
                  </a:lnTo>
                  <a:lnTo>
                    <a:pt x="72" y="345"/>
                  </a:lnTo>
                  <a:lnTo>
                    <a:pt x="74" y="345"/>
                  </a:lnTo>
                  <a:lnTo>
                    <a:pt x="77" y="344"/>
                  </a:lnTo>
                  <a:lnTo>
                    <a:pt x="79" y="343"/>
                  </a:lnTo>
                  <a:lnTo>
                    <a:pt x="81" y="341"/>
                  </a:lnTo>
                  <a:lnTo>
                    <a:pt x="84" y="339"/>
                  </a:lnTo>
                  <a:lnTo>
                    <a:pt x="85" y="337"/>
                  </a:lnTo>
                  <a:lnTo>
                    <a:pt x="86" y="333"/>
                  </a:lnTo>
                  <a:lnTo>
                    <a:pt x="87" y="330"/>
                  </a:lnTo>
                  <a:lnTo>
                    <a:pt x="87" y="298"/>
                  </a:lnTo>
                  <a:lnTo>
                    <a:pt x="99" y="295"/>
                  </a:lnTo>
                  <a:lnTo>
                    <a:pt x="109" y="289"/>
                  </a:lnTo>
                  <a:lnTo>
                    <a:pt x="119" y="282"/>
                  </a:lnTo>
                  <a:lnTo>
                    <a:pt x="126" y="273"/>
                  </a:lnTo>
                  <a:lnTo>
                    <a:pt x="134" y="264"/>
                  </a:lnTo>
                  <a:lnTo>
                    <a:pt x="139" y="253"/>
                  </a:lnTo>
                  <a:lnTo>
                    <a:pt x="140" y="247"/>
                  </a:lnTo>
                  <a:lnTo>
                    <a:pt x="143" y="240"/>
                  </a:lnTo>
                  <a:lnTo>
                    <a:pt x="143" y="235"/>
                  </a:lnTo>
                  <a:lnTo>
                    <a:pt x="144" y="228"/>
                  </a:lnTo>
                  <a:lnTo>
                    <a:pt x="143" y="221"/>
                  </a:lnTo>
                  <a:lnTo>
                    <a:pt x="141" y="213"/>
                  </a:lnTo>
                  <a:lnTo>
                    <a:pt x="140" y="207"/>
                  </a:lnTo>
                  <a:lnTo>
                    <a:pt x="137" y="200"/>
                  </a:lnTo>
                  <a:lnTo>
                    <a:pt x="134" y="194"/>
                  </a:lnTo>
                  <a:lnTo>
                    <a:pt x="131" y="188"/>
                  </a:lnTo>
                  <a:lnTo>
                    <a:pt x="126" y="182"/>
                  </a:lnTo>
                  <a:lnTo>
                    <a:pt x="122" y="177"/>
                  </a:lnTo>
                  <a:lnTo>
                    <a:pt x="117" y="173"/>
                  </a:lnTo>
                  <a:lnTo>
                    <a:pt x="111" y="168"/>
                  </a:lnTo>
                  <a:lnTo>
                    <a:pt x="106" y="165"/>
                  </a:lnTo>
                  <a:lnTo>
                    <a:pt x="100" y="162"/>
                  </a:lnTo>
                  <a:lnTo>
                    <a:pt x="92" y="160"/>
                  </a:lnTo>
                  <a:lnTo>
                    <a:pt x="86" y="158"/>
                  </a:lnTo>
                  <a:lnTo>
                    <a:pt x="78" y="157"/>
                  </a:lnTo>
                  <a:lnTo>
                    <a:pt x="72" y="157"/>
                  </a:lnTo>
                  <a:lnTo>
                    <a:pt x="63" y="155"/>
                  </a:lnTo>
                  <a:lnTo>
                    <a:pt x="55" y="153"/>
                  </a:lnTo>
                  <a:lnTo>
                    <a:pt x="48" y="149"/>
                  </a:lnTo>
                  <a:lnTo>
                    <a:pt x="42" y="144"/>
                  </a:lnTo>
                  <a:lnTo>
                    <a:pt x="36" y="137"/>
                  </a:lnTo>
                  <a:lnTo>
                    <a:pt x="33" y="131"/>
                  </a:lnTo>
                  <a:lnTo>
                    <a:pt x="30" y="122"/>
                  </a:lnTo>
                  <a:lnTo>
                    <a:pt x="30" y="115"/>
                  </a:lnTo>
                  <a:lnTo>
                    <a:pt x="30" y="106"/>
                  </a:lnTo>
                  <a:lnTo>
                    <a:pt x="33" y="98"/>
                  </a:lnTo>
                  <a:lnTo>
                    <a:pt x="36" y="91"/>
                  </a:lnTo>
                  <a:lnTo>
                    <a:pt x="42" y="85"/>
                  </a:lnTo>
                  <a:lnTo>
                    <a:pt x="48" y="79"/>
                  </a:lnTo>
                  <a:lnTo>
                    <a:pt x="55" y="76"/>
                  </a:lnTo>
                  <a:lnTo>
                    <a:pt x="63" y="73"/>
                  </a:lnTo>
                  <a:lnTo>
                    <a:pt x="7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10" name="Group 17">
            <a:extLst>
              <a:ext uri="{FF2B5EF4-FFF2-40B4-BE49-F238E27FC236}">
                <a16:creationId xmlns:a16="http://schemas.microsoft.com/office/drawing/2014/main" id="{70A1784F-26BD-4222-8A64-88B9C8AA4D9C}"/>
              </a:ext>
            </a:extLst>
          </p:cNvPr>
          <p:cNvGrpSpPr>
            <a:grpSpLocks noChangeAspect="1"/>
          </p:cNvGrpSpPr>
          <p:nvPr/>
        </p:nvGrpSpPr>
        <p:grpSpPr>
          <a:xfrm>
            <a:off x="3202636" y="2233311"/>
            <a:ext cx="285619" cy="285619"/>
            <a:chOff x="9882188" y="1354138"/>
            <a:chExt cx="285750" cy="285750"/>
          </a:xfrm>
          <a:solidFill>
            <a:schemeClr val="bg2"/>
          </a:solidFill>
          <a:effectLst/>
        </p:grpSpPr>
        <p:sp>
          <p:nvSpPr>
            <p:cNvPr id="1511" name="Freeform 186">
              <a:extLst>
                <a:ext uri="{FF2B5EF4-FFF2-40B4-BE49-F238E27FC236}">
                  <a16:creationId xmlns:a16="http://schemas.microsoft.com/office/drawing/2014/main" id="{A257C8D7-4E41-487B-B242-484A21223E77}"/>
                </a:ext>
              </a:extLst>
            </p:cNvPr>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2" name="Freeform 187">
              <a:extLst>
                <a:ext uri="{FF2B5EF4-FFF2-40B4-BE49-F238E27FC236}">
                  <a16:creationId xmlns:a16="http://schemas.microsoft.com/office/drawing/2014/main" id="{C28A4711-E775-4B70-8811-9E0A8DAFC1E3}"/>
                </a:ext>
              </a:extLst>
            </p:cNvPr>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3" name="Freeform 188">
              <a:extLst>
                <a:ext uri="{FF2B5EF4-FFF2-40B4-BE49-F238E27FC236}">
                  <a16:creationId xmlns:a16="http://schemas.microsoft.com/office/drawing/2014/main" id="{AEDB0DBE-E9C7-4567-B095-5C4E5544A611}"/>
                </a:ext>
              </a:extLst>
            </p:cNvPr>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4" name="Freeform 189">
              <a:extLst>
                <a:ext uri="{FF2B5EF4-FFF2-40B4-BE49-F238E27FC236}">
                  <a16:creationId xmlns:a16="http://schemas.microsoft.com/office/drawing/2014/main" id="{83CE9CB3-71C5-498B-B077-146651D78A40}"/>
                </a:ext>
              </a:extLst>
            </p:cNvPr>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5" name="Freeform 190">
              <a:extLst>
                <a:ext uri="{FF2B5EF4-FFF2-40B4-BE49-F238E27FC236}">
                  <a16:creationId xmlns:a16="http://schemas.microsoft.com/office/drawing/2014/main" id="{FB005961-A5B6-49FE-A90E-C2F6C6B85B46}"/>
                </a:ext>
              </a:extLst>
            </p:cNvPr>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6" name="Freeform 191">
              <a:extLst>
                <a:ext uri="{FF2B5EF4-FFF2-40B4-BE49-F238E27FC236}">
                  <a16:creationId xmlns:a16="http://schemas.microsoft.com/office/drawing/2014/main" id="{AF8D6F15-6CF1-4389-B21B-5C7559C0D512}"/>
                </a:ext>
              </a:extLst>
            </p:cNvPr>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517" name="Group 33">
            <a:extLst>
              <a:ext uri="{FF2B5EF4-FFF2-40B4-BE49-F238E27FC236}">
                <a16:creationId xmlns:a16="http://schemas.microsoft.com/office/drawing/2014/main" id="{3E24C7BB-0E58-4597-A2F9-F10F4D1909E6}"/>
              </a:ext>
            </a:extLst>
          </p:cNvPr>
          <p:cNvGrpSpPr>
            <a:grpSpLocks noChangeAspect="1"/>
          </p:cNvGrpSpPr>
          <p:nvPr/>
        </p:nvGrpSpPr>
        <p:grpSpPr>
          <a:xfrm>
            <a:off x="3660754" y="2233311"/>
            <a:ext cx="285619" cy="285619"/>
            <a:chOff x="3714750" y="2567782"/>
            <a:chExt cx="571500" cy="571500"/>
          </a:xfrm>
          <a:solidFill>
            <a:schemeClr val="bg2"/>
          </a:solidFill>
          <a:effectLst/>
        </p:grpSpPr>
        <p:sp>
          <p:nvSpPr>
            <p:cNvPr id="1518" name="Freeform 53">
              <a:extLst>
                <a:ext uri="{FF2B5EF4-FFF2-40B4-BE49-F238E27FC236}">
                  <a16:creationId xmlns:a16="http://schemas.microsoft.com/office/drawing/2014/main" id="{182A1B69-8BBF-483E-A10A-ED6F81E39424}"/>
                </a:ext>
              </a:extLst>
            </p:cNvPr>
            <p:cNvSpPr>
              <a:spLocks noEditPoints="1"/>
            </p:cNvSpPr>
            <p:nvPr/>
          </p:nvSpPr>
          <p:spPr bwMode="auto">
            <a:xfrm>
              <a:off x="3714750" y="2567782"/>
              <a:ext cx="571500" cy="571500"/>
            </a:xfrm>
            <a:custGeom>
              <a:avLst/>
              <a:gdLst>
                <a:gd name="T0" fmla="*/ 144 w 216"/>
                <a:gd name="T1" fmla="*/ 4 h 217"/>
                <a:gd name="T2" fmla="*/ 141 w 216"/>
                <a:gd name="T3" fmla="*/ 2 h 217"/>
                <a:gd name="T4" fmla="*/ 135 w 216"/>
                <a:gd name="T5" fmla="*/ 0 h 217"/>
                <a:gd name="T6" fmla="*/ 132 w 216"/>
                <a:gd name="T7" fmla="*/ 1 h 217"/>
                <a:gd name="T8" fmla="*/ 125 w 216"/>
                <a:gd name="T9" fmla="*/ 4 h 217"/>
                <a:gd name="T10" fmla="*/ 124 w 216"/>
                <a:gd name="T11" fmla="*/ 7 h 217"/>
                <a:gd name="T12" fmla="*/ 122 w 216"/>
                <a:gd name="T13" fmla="*/ 10 h 217"/>
                <a:gd name="T14" fmla="*/ 116 w 216"/>
                <a:gd name="T15" fmla="*/ 24 h 217"/>
                <a:gd name="T16" fmla="*/ 105 w 216"/>
                <a:gd name="T17" fmla="*/ 37 h 217"/>
                <a:gd name="T18" fmla="*/ 97 w 216"/>
                <a:gd name="T19" fmla="*/ 44 h 217"/>
                <a:gd name="T20" fmla="*/ 67 w 216"/>
                <a:gd name="T21" fmla="*/ 64 h 217"/>
                <a:gd name="T22" fmla="*/ 44 w 216"/>
                <a:gd name="T23" fmla="*/ 77 h 217"/>
                <a:gd name="T24" fmla="*/ 23 w 216"/>
                <a:gd name="T25" fmla="*/ 94 h 217"/>
                <a:gd name="T26" fmla="*/ 15 w 216"/>
                <a:gd name="T27" fmla="*/ 103 h 217"/>
                <a:gd name="T28" fmla="*/ 4 w 216"/>
                <a:gd name="T29" fmla="*/ 122 h 217"/>
                <a:gd name="T30" fmla="*/ 0 w 216"/>
                <a:gd name="T31" fmla="*/ 132 h 217"/>
                <a:gd name="T32" fmla="*/ 0 w 216"/>
                <a:gd name="T33" fmla="*/ 140 h 217"/>
                <a:gd name="T34" fmla="*/ 3 w 216"/>
                <a:gd name="T35" fmla="*/ 146 h 217"/>
                <a:gd name="T36" fmla="*/ 72 w 216"/>
                <a:gd name="T37" fmla="*/ 213 h 217"/>
                <a:gd name="T38" fmla="*/ 77 w 216"/>
                <a:gd name="T39" fmla="*/ 217 h 217"/>
                <a:gd name="T40" fmla="*/ 84 w 216"/>
                <a:gd name="T41" fmla="*/ 217 h 217"/>
                <a:gd name="T42" fmla="*/ 87 w 216"/>
                <a:gd name="T43" fmla="*/ 215 h 217"/>
                <a:gd name="T44" fmla="*/ 90 w 216"/>
                <a:gd name="T45" fmla="*/ 213 h 217"/>
                <a:gd name="T46" fmla="*/ 94 w 216"/>
                <a:gd name="T47" fmla="*/ 208 h 217"/>
                <a:gd name="T48" fmla="*/ 96 w 216"/>
                <a:gd name="T49" fmla="*/ 201 h 217"/>
                <a:gd name="T50" fmla="*/ 104 w 216"/>
                <a:gd name="T51" fmla="*/ 188 h 217"/>
                <a:gd name="T52" fmla="*/ 110 w 216"/>
                <a:gd name="T53" fmla="*/ 182 h 217"/>
                <a:gd name="T54" fmla="*/ 128 w 216"/>
                <a:gd name="T55" fmla="*/ 167 h 217"/>
                <a:gd name="T56" fmla="*/ 148 w 216"/>
                <a:gd name="T57" fmla="*/ 155 h 217"/>
                <a:gd name="T58" fmla="*/ 182 w 216"/>
                <a:gd name="T59" fmla="*/ 132 h 217"/>
                <a:gd name="T60" fmla="*/ 193 w 216"/>
                <a:gd name="T61" fmla="*/ 123 h 217"/>
                <a:gd name="T62" fmla="*/ 207 w 216"/>
                <a:gd name="T63" fmla="*/ 106 h 217"/>
                <a:gd name="T64" fmla="*/ 216 w 216"/>
                <a:gd name="T65" fmla="*/ 86 h 217"/>
                <a:gd name="T66" fmla="*/ 216 w 216"/>
                <a:gd name="T67" fmla="*/ 82 h 217"/>
                <a:gd name="T68" fmla="*/ 215 w 216"/>
                <a:gd name="T69" fmla="*/ 75 h 217"/>
                <a:gd name="T70" fmla="*/ 212 w 216"/>
                <a:gd name="T71" fmla="*/ 72 h 217"/>
                <a:gd name="T72" fmla="*/ 81 w 216"/>
                <a:gd name="T73" fmla="*/ 204 h 217"/>
                <a:gd name="T74" fmla="*/ 13 w 216"/>
                <a:gd name="T75" fmla="*/ 136 h 217"/>
                <a:gd name="T76" fmla="*/ 22 w 216"/>
                <a:gd name="T77" fmla="*/ 116 h 217"/>
                <a:gd name="T78" fmla="*/ 38 w 216"/>
                <a:gd name="T79" fmla="*/ 100 h 217"/>
                <a:gd name="T80" fmla="*/ 55 w 216"/>
                <a:gd name="T81" fmla="*/ 86 h 217"/>
                <a:gd name="T82" fmla="*/ 93 w 216"/>
                <a:gd name="T83" fmla="*/ 64 h 217"/>
                <a:gd name="T84" fmla="*/ 111 w 216"/>
                <a:gd name="T85" fmla="*/ 50 h 217"/>
                <a:gd name="T86" fmla="*/ 125 w 216"/>
                <a:gd name="T87" fmla="*/ 35 h 217"/>
                <a:gd name="T88" fmla="*/ 135 w 216"/>
                <a:gd name="T89" fmla="*/ 14 h 217"/>
                <a:gd name="T90" fmla="*/ 203 w 216"/>
                <a:gd name="T91" fmla="*/ 82 h 217"/>
                <a:gd name="T92" fmla="*/ 199 w 216"/>
                <a:gd name="T93" fmla="*/ 92 h 217"/>
                <a:gd name="T94" fmla="*/ 186 w 216"/>
                <a:gd name="T95" fmla="*/ 111 h 217"/>
                <a:gd name="T96" fmla="*/ 170 w 216"/>
                <a:gd name="T97" fmla="*/ 125 h 217"/>
                <a:gd name="T98" fmla="*/ 141 w 216"/>
                <a:gd name="T99" fmla="*/ 143 h 217"/>
                <a:gd name="T100" fmla="*/ 114 w 216"/>
                <a:gd name="T101" fmla="*/ 161 h 217"/>
                <a:gd name="T102" fmla="*/ 97 w 216"/>
                <a:gd name="T103" fmla="*/ 174 h 217"/>
                <a:gd name="T104" fmla="*/ 85 w 216"/>
                <a:gd name="T105" fmla="*/ 193 h 217"/>
                <a:gd name="T106" fmla="*/ 81 w 216"/>
                <a:gd name="T107" fmla="*/ 20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217">
                  <a:moveTo>
                    <a:pt x="212" y="72"/>
                  </a:moveTo>
                  <a:lnTo>
                    <a:pt x="144" y="4"/>
                  </a:lnTo>
                  <a:lnTo>
                    <a:pt x="144" y="4"/>
                  </a:lnTo>
                  <a:lnTo>
                    <a:pt x="141" y="2"/>
                  </a:lnTo>
                  <a:lnTo>
                    <a:pt x="138" y="1"/>
                  </a:lnTo>
                  <a:lnTo>
                    <a:pt x="135" y="0"/>
                  </a:lnTo>
                  <a:lnTo>
                    <a:pt x="132" y="1"/>
                  </a:lnTo>
                  <a:lnTo>
                    <a:pt x="132" y="1"/>
                  </a:lnTo>
                  <a:lnTo>
                    <a:pt x="128" y="2"/>
                  </a:lnTo>
                  <a:lnTo>
                    <a:pt x="125" y="4"/>
                  </a:lnTo>
                  <a:lnTo>
                    <a:pt x="125" y="4"/>
                  </a:lnTo>
                  <a:lnTo>
                    <a:pt x="124" y="7"/>
                  </a:lnTo>
                  <a:lnTo>
                    <a:pt x="122" y="10"/>
                  </a:lnTo>
                  <a:lnTo>
                    <a:pt x="122" y="10"/>
                  </a:lnTo>
                  <a:lnTo>
                    <a:pt x="120" y="18"/>
                  </a:lnTo>
                  <a:lnTo>
                    <a:pt x="116" y="24"/>
                  </a:lnTo>
                  <a:lnTo>
                    <a:pt x="112" y="31"/>
                  </a:lnTo>
                  <a:lnTo>
                    <a:pt x="105" y="37"/>
                  </a:lnTo>
                  <a:lnTo>
                    <a:pt x="105" y="37"/>
                  </a:lnTo>
                  <a:lnTo>
                    <a:pt x="97" y="44"/>
                  </a:lnTo>
                  <a:lnTo>
                    <a:pt x="88" y="50"/>
                  </a:lnTo>
                  <a:lnTo>
                    <a:pt x="67" y="64"/>
                  </a:lnTo>
                  <a:lnTo>
                    <a:pt x="67" y="64"/>
                  </a:lnTo>
                  <a:lnTo>
                    <a:pt x="44" y="77"/>
                  </a:lnTo>
                  <a:lnTo>
                    <a:pt x="33" y="85"/>
                  </a:lnTo>
                  <a:lnTo>
                    <a:pt x="23" y="94"/>
                  </a:lnTo>
                  <a:lnTo>
                    <a:pt x="23" y="94"/>
                  </a:lnTo>
                  <a:lnTo>
                    <a:pt x="15" y="103"/>
                  </a:lnTo>
                  <a:lnTo>
                    <a:pt x="9" y="112"/>
                  </a:lnTo>
                  <a:lnTo>
                    <a:pt x="4" y="122"/>
                  </a:lnTo>
                  <a:lnTo>
                    <a:pt x="0" y="132"/>
                  </a:lnTo>
                  <a:lnTo>
                    <a:pt x="0" y="132"/>
                  </a:lnTo>
                  <a:lnTo>
                    <a:pt x="0" y="135"/>
                  </a:lnTo>
                  <a:lnTo>
                    <a:pt x="0" y="140"/>
                  </a:lnTo>
                  <a:lnTo>
                    <a:pt x="1" y="143"/>
                  </a:lnTo>
                  <a:lnTo>
                    <a:pt x="3" y="146"/>
                  </a:lnTo>
                  <a:lnTo>
                    <a:pt x="72" y="213"/>
                  </a:lnTo>
                  <a:lnTo>
                    <a:pt x="72" y="213"/>
                  </a:lnTo>
                  <a:lnTo>
                    <a:pt x="74" y="215"/>
                  </a:lnTo>
                  <a:lnTo>
                    <a:pt x="77" y="217"/>
                  </a:lnTo>
                  <a:lnTo>
                    <a:pt x="81" y="217"/>
                  </a:lnTo>
                  <a:lnTo>
                    <a:pt x="84" y="217"/>
                  </a:lnTo>
                  <a:lnTo>
                    <a:pt x="84" y="217"/>
                  </a:lnTo>
                  <a:lnTo>
                    <a:pt x="87" y="215"/>
                  </a:lnTo>
                  <a:lnTo>
                    <a:pt x="90" y="213"/>
                  </a:lnTo>
                  <a:lnTo>
                    <a:pt x="90" y="213"/>
                  </a:lnTo>
                  <a:lnTo>
                    <a:pt x="92" y="211"/>
                  </a:lnTo>
                  <a:lnTo>
                    <a:pt x="94" y="208"/>
                  </a:lnTo>
                  <a:lnTo>
                    <a:pt x="94" y="208"/>
                  </a:lnTo>
                  <a:lnTo>
                    <a:pt x="96" y="201"/>
                  </a:lnTo>
                  <a:lnTo>
                    <a:pt x="100" y="194"/>
                  </a:lnTo>
                  <a:lnTo>
                    <a:pt x="104" y="188"/>
                  </a:lnTo>
                  <a:lnTo>
                    <a:pt x="110" y="182"/>
                  </a:lnTo>
                  <a:lnTo>
                    <a:pt x="110" y="182"/>
                  </a:lnTo>
                  <a:lnTo>
                    <a:pt x="119" y="174"/>
                  </a:lnTo>
                  <a:lnTo>
                    <a:pt x="128" y="167"/>
                  </a:lnTo>
                  <a:lnTo>
                    <a:pt x="148" y="155"/>
                  </a:lnTo>
                  <a:lnTo>
                    <a:pt x="148" y="155"/>
                  </a:lnTo>
                  <a:lnTo>
                    <a:pt x="172" y="141"/>
                  </a:lnTo>
                  <a:lnTo>
                    <a:pt x="182" y="132"/>
                  </a:lnTo>
                  <a:lnTo>
                    <a:pt x="193" y="123"/>
                  </a:lnTo>
                  <a:lnTo>
                    <a:pt x="193" y="123"/>
                  </a:lnTo>
                  <a:lnTo>
                    <a:pt x="201" y="115"/>
                  </a:lnTo>
                  <a:lnTo>
                    <a:pt x="207" y="106"/>
                  </a:lnTo>
                  <a:lnTo>
                    <a:pt x="212" y="96"/>
                  </a:lnTo>
                  <a:lnTo>
                    <a:pt x="216" y="86"/>
                  </a:lnTo>
                  <a:lnTo>
                    <a:pt x="216" y="86"/>
                  </a:lnTo>
                  <a:lnTo>
                    <a:pt x="216" y="82"/>
                  </a:lnTo>
                  <a:lnTo>
                    <a:pt x="216" y="79"/>
                  </a:lnTo>
                  <a:lnTo>
                    <a:pt x="215" y="75"/>
                  </a:lnTo>
                  <a:lnTo>
                    <a:pt x="212" y="72"/>
                  </a:lnTo>
                  <a:lnTo>
                    <a:pt x="212" y="72"/>
                  </a:lnTo>
                  <a:close/>
                  <a:moveTo>
                    <a:pt x="81" y="204"/>
                  </a:moveTo>
                  <a:lnTo>
                    <a:pt x="81" y="204"/>
                  </a:lnTo>
                  <a:lnTo>
                    <a:pt x="13" y="136"/>
                  </a:lnTo>
                  <a:lnTo>
                    <a:pt x="13" y="136"/>
                  </a:lnTo>
                  <a:lnTo>
                    <a:pt x="17" y="125"/>
                  </a:lnTo>
                  <a:lnTo>
                    <a:pt x="22" y="116"/>
                  </a:lnTo>
                  <a:lnTo>
                    <a:pt x="29" y="107"/>
                  </a:lnTo>
                  <a:lnTo>
                    <a:pt x="38" y="100"/>
                  </a:lnTo>
                  <a:lnTo>
                    <a:pt x="46" y="92"/>
                  </a:lnTo>
                  <a:lnTo>
                    <a:pt x="55" y="86"/>
                  </a:lnTo>
                  <a:lnTo>
                    <a:pt x="74" y="75"/>
                  </a:lnTo>
                  <a:lnTo>
                    <a:pt x="93" y="64"/>
                  </a:lnTo>
                  <a:lnTo>
                    <a:pt x="102" y="58"/>
                  </a:lnTo>
                  <a:lnTo>
                    <a:pt x="111" y="50"/>
                  </a:lnTo>
                  <a:lnTo>
                    <a:pt x="118" y="43"/>
                  </a:lnTo>
                  <a:lnTo>
                    <a:pt x="125" y="35"/>
                  </a:lnTo>
                  <a:lnTo>
                    <a:pt x="131" y="25"/>
                  </a:lnTo>
                  <a:lnTo>
                    <a:pt x="135" y="14"/>
                  </a:lnTo>
                  <a:lnTo>
                    <a:pt x="135" y="14"/>
                  </a:lnTo>
                  <a:lnTo>
                    <a:pt x="203" y="82"/>
                  </a:lnTo>
                  <a:lnTo>
                    <a:pt x="203" y="82"/>
                  </a:lnTo>
                  <a:lnTo>
                    <a:pt x="199" y="92"/>
                  </a:lnTo>
                  <a:lnTo>
                    <a:pt x="193" y="103"/>
                  </a:lnTo>
                  <a:lnTo>
                    <a:pt x="186" y="111"/>
                  </a:lnTo>
                  <a:lnTo>
                    <a:pt x="178" y="118"/>
                  </a:lnTo>
                  <a:lnTo>
                    <a:pt x="170" y="125"/>
                  </a:lnTo>
                  <a:lnTo>
                    <a:pt x="161" y="131"/>
                  </a:lnTo>
                  <a:lnTo>
                    <a:pt x="141" y="143"/>
                  </a:lnTo>
                  <a:lnTo>
                    <a:pt x="123" y="154"/>
                  </a:lnTo>
                  <a:lnTo>
                    <a:pt x="114" y="161"/>
                  </a:lnTo>
                  <a:lnTo>
                    <a:pt x="105" y="167"/>
                  </a:lnTo>
                  <a:lnTo>
                    <a:pt x="97" y="174"/>
                  </a:lnTo>
                  <a:lnTo>
                    <a:pt x="91" y="184"/>
                  </a:lnTo>
                  <a:lnTo>
                    <a:pt x="85" y="193"/>
                  </a:lnTo>
                  <a:lnTo>
                    <a:pt x="81" y="204"/>
                  </a:lnTo>
                  <a:lnTo>
                    <a:pt x="81"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19" name="Freeform 54">
              <a:extLst>
                <a:ext uri="{FF2B5EF4-FFF2-40B4-BE49-F238E27FC236}">
                  <a16:creationId xmlns:a16="http://schemas.microsoft.com/office/drawing/2014/main" id="{3B21E53D-7AF9-49E0-A864-BFDAFE47B80F}"/>
                </a:ext>
              </a:extLst>
            </p:cNvPr>
            <p:cNvSpPr>
              <a:spLocks noEditPoints="1"/>
            </p:cNvSpPr>
            <p:nvPr/>
          </p:nvSpPr>
          <p:spPr bwMode="auto">
            <a:xfrm>
              <a:off x="3921125" y="2774157"/>
              <a:ext cx="150815" cy="158750"/>
            </a:xfrm>
            <a:custGeom>
              <a:avLst/>
              <a:gdLst>
                <a:gd name="T0" fmla="*/ 50 w 58"/>
                <a:gd name="T1" fmla="*/ 23 h 62"/>
                <a:gd name="T2" fmla="*/ 40 w 58"/>
                <a:gd name="T3" fmla="*/ 21 h 62"/>
                <a:gd name="T4" fmla="*/ 33 w 58"/>
                <a:gd name="T5" fmla="*/ 22 h 62"/>
                <a:gd name="T6" fmla="*/ 15 w 58"/>
                <a:gd name="T7" fmla="*/ 12 h 62"/>
                <a:gd name="T8" fmla="*/ 20 w 58"/>
                <a:gd name="T9" fmla="*/ 10 h 62"/>
                <a:gd name="T10" fmla="*/ 24 w 58"/>
                <a:gd name="T11" fmla="*/ 10 h 62"/>
                <a:gd name="T12" fmla="*/ 29 w 58"/>
                <a:gd name="T13" fmla="*/ 11 h 62"/>
                <a:gd name="T14" fmla="*/ 33 w 58"/>
                <a:gd name="T15" fmla="*/ 9 h 62"/>
                <a:gd name="T16" fmla="*/ 33 w 58"/>
                <a:gd name="T17" fmla="*/ 5 h 62"/>
                <a:gd name="T18" fmla="*/ 29 w 58"/>
                <a:gd name="T19" fmla="*/ 1 h 62"/>
                <a:gd name="T20" fmla="*/ 23 w 58"/>
                <a:gd name="T21" fmla="*/ 0 h 62"/>
                <a:gd name="T22" fmla="*/ 14 w 58"/>
                <a:gd name="T23" fmla="*/ 3 h 62"/>
                <a:gd name="T24" fmla="*/ 9 w 58"/>
                <a:gd name="T25" fmla="*/ 6 h 62"/>
                <a:gd name="T26" fmla="*/ 6 w 58"/>
                <a:gd name="T27" fmla="*/ 5 h 62"/>
                <a:gd name="T28" fmla="*/ 4 w 58"/>
                <a:gd name="T29" fmla="*/ 5 h 62"/>
                <a:gd name="T30" fmla="*/ 4 w 58"/>
                <a:gd name="T31" fmla="*/ 9 h 62"/>
                <a:gd name="T32" fmla="*/ 6 w 58"/>
                <a:gd name="T33" fmla="*/ 10 h 62"/>
                <a:gd name="T34" fmla="*/ 0 w 58"/>
                <a:gd name="T35" fmla="*/ 21 h 62"/>
                <a:gd name="T36" fmla="*/ 0 w 58"/>
                <a:gd name="T37" fmla="*/ 28 h 62"/>
                <a:gd name="T38" fmla="*/ 2 w 58"/>
                <a:gd name="T39" fmla="*/ 34 h 62"/>
                <a:gd name="T40" fmla="*/ 9 w 58"/>
                <a:gd name="T41" fmla="*/ 39 h 62"/>
                <a:gd name="T42" fmla="*/ 22 w 58"/>
                <a:gd name="T43" fmla="*/ 39 h 62"/>
                <a:gd name="T44" fmla="*/ 42 w 58"/>
                <a:gd name="T45" fmla="*/ 49 h 62"/>
                <a:gd name="T46" fmla="*/ 37 w 58"/>
                <a:gd name="T47" fmla="*/ 51 h 62"/>
                <a:gd name="T48" fmla="*/ 34 w 58"/>
                <a:gd name="T49" fmla="*/ 51 h 62"/>
                <a:gd name="T50" fmla="*/ 27 w 58"/>
                <a:gd name="T51" fmla="*/ 48 h 62"/>
                <a:gd name="T52" fmla="*/ 25 w 58"/>
                <a:gd name="T53" fmla="*/ 48 h 62"/>
                <a:gd name="T54" fmla="*/ 21 w 58"/>
                <a:gd name="T55" fmla="*/ 50 h 62"/>
                <a:gd name="T56" fmla="*/ 21 w 58"/>
                <a:gd name="T57" fmla="*/ 54 h 62"/>
                <a:gd name="T58" fmla="*/ 26 w 58"/>
                <a:gd name="T59" fmla="*/ 59 h 62"/>
                <a:gd name="T60" fmla="*/ 33 w 58"/>
                <a:gd name="T61" fmla="*/ 62 h 62"/>
                <a:gd name="T62" fmla="*/ 40 w 58"/>
                <a:gd name="T63" fmla="*/ 61 h 62"/>
                <a:gd name="T64" fmla="*/ 47 w 58"/>
                <a:gd name="T65" fmla="*/ 55 h 62"/>
                <a:gd name="T66" fmla="*/ 51 w 58"/>
                <a:gd name="T67" fmla="*/ 58 h 62"/>
                <a:gd name="T68" fmla="*/ 55 w 58"/>
                <a:gd name="T69" fmla="*/ 58 h 62"/>
                <a:gd name="T70" fmla="*/ 55 w 58"/>
                <a:gd name="T71" fmla="*/ 56 h 62"/>
                <a:gd name="T72" fmla="*/ 51 w 58"/>
                <a:gd name="T73" fmla="*/ 51 h 62"/>
                <a:gd name="T74" fmla="*/ 56 w 58"/>
                <a:gd name="T75" fmla="*/ 44 h 62"/>
                <a:gd name="T76" fmla="*/ 58 w 58"/>
                <a:gd name="T77" fmla="*/ 36 h 62"/>
                <a:gd name="T78" fmla="*/ 57 w 58"/>
                <a:gd name="T79" fmla="*/ 30 h 62"/>
                <a:gd name="T80" fmla="*/ 53 w 58"/>
                <a:gd name="T81" fmla="*/ 25 h 62"/>
                <a:gd name="T82" fmla="*/ 12 w 58"/>
                <a:gd name="T83" fmla="*/ 29 h 62"/>
                <a:gd name="T84" fmla="*/ 9 w 58"/>
                <a:gd name="T85" fmla="*/ 25 h 62"/>
                <a:gd name="T86" fmla="*/ 8 w 58"/>
                <a:gd name="T87" fmla="*/ 23 h 62"/>
                <a:gd name="T88" fmla="*/ 12 w 58"/>
                <a:gd name="T89" fmla="*/ 15 h 62"/>
                <a:gd name="T90" fmla="*/ 22 w 58"/>
                <a:gd name="T91" fmla="*/ 27 h 62"/>
                <a:gd name="T92" fmla="*/ 15 w 58"/>
                <a:gd name="T93" fmla="*/ 29 h 62"/>
                <a:gd name="T94" fmla="*/ 45 w 58"/>
                <a:gd name="T95" fmla="*/ 46 h 62"/>
                <a:gd name="T96" fmla="*/ 34 w 58"/>
                <a:gd name="T97" fmla="*/ 34 h 62"/>
                <a:gd name="T98" fmla="*/ 40 w 58"/>
                <a:gd name="T99" fmla="*/ 31 h 62"/>
                <a:gd name="T100" fmla="*/ 43 w 58"/>
                <a:gd name="T101" fmla="*/ 31 h 62"/>
                <a:gd name="T102" fmla="*/ 48 w 58"/>
                <a:gd name="T103" fmla="*/ 36 h 62"/>
                <a:gd name="T104" fmla="*/ 48 w 58"/>
                <a:gd name="T105" fmla="*/ 3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62">
                  <a:moveTo>
                    <a:pt x="53" y="25"/>
                  </a:moveTo>
                  <a:lnTo>
                    <a:pt x="53" y="25"/>
                  </a:lnTo>
                  <a:lnTo>
                    <a:pt x="50" y="23"/>
                  </a:lnTo>
                  <a:lnTo>
                    <a:pt x="46" y="21"/>
                  </a:lnTo>
                  <a:lnTo>
                    <a:pt x="46" y="21"/>
                  </a:lnTo>
                  <a:lnTo>
                    <a:pt x="40" y="21"/>
                  </a:lnTo>
                  <a:lnTo>
                    <a:pt x="40" y="21"/>
                  </a:lnTo>
                  <a:lnTo>
                    <a:pt x="33" y="22"/>
                  </a:lnTo>
                  <a:lnTo>
                    <a:pt x="33" y="22"/>
                  </a:lnTo>
                  <a:lnTo>
                    <a:pt x="26" y="25"/>
                  </a:lnTo>
                  <a:lnTo>
                    <a:pt x="26" y="25"/>
                  </a:lnTo>
                  <a:lnTo>
                    <a:pt x="15" y="12"/>
                  </a:lnTo>
                  <a:lnTo>
                    <a:pt x="15" y="12"/>
                  </a:lnTo>
                  <a:lnTo>
                    <a:pt x="17" y="10"/>
                  </a:lnTo>
                  <a:lnTo>
                    <a:pt x="20" y="10"/>
                  </a:lnTo>
                  <a:lnTo>
                    <a:pt x="20" y="10"/>
                  </a:lnTo>
                  <a:lnTo>
                    <a:pt x="24" y="10"/>
                  </a:lnTo>
                  <a:lnTo>
                    <a:pt x="24" y="10"/>
                  </a:lnTo>
                  <a:lnTo>
                    <a:pt x="28" y="11"/>
                  </a:lnTo>
                  <a:lnTo>
                    <a:pt x="28" y="11"/>
                  </a:lnTo>
                  <a:lnTo>
                    <a:pt x="29" y="11"/>
                  </a:lnTo>
                  <a:lnTo>
                    <a:pt x="32" y="10"/>
                  </a:lnTo>
                  <a:lnTo>
                    <a:pt x="32" y="10"/>
                  </a:lnTo>
                  <a:lnTo>
                    <a:pt x="33" y="9"/>
                  </a:lnTo>
                  <a:lnTo>
                    <a:pt x="33" y="7"/>
                  </a:lnTo>
                  <a:lnTo>
                    <a:pt x="33" y="7"/>
                  </a:lnTo>
                  <a:lnTo>
                    <a:pt x="33" y="5"/>
                  </a:lnTo>
                  <a:lnTo>
                    <a:pt x="32" y="3"/>
                  </a:lnTo>
                  <a:lnTo>
                    <a:pt x="32" y="3"/>
                  </a:lnTo>
                  <a:lnTo>
                    <a:pt x="29" y="1"/>
                  </a:lnTo>
                  <a:lnTo>
                    <a:pt x="26" y="0"/>
                  </a:lnTo>
                  <a:lnTo>
                    <a:pt x="26" y="0"/>
                  </a:lnTo>
                  <a:lnTo>
                    <a:pt x="23" y="0"/>
                  </a:lnTo>
                  <a:lnTo>
                    <a:pt x="20" y="1"/>
                  </a:lnTo>
                  <a:lnTo>
                    <a:pt x="20" y="1"/>
                  </a:lnTo>
                  <a:lnTo>
                    <a:pt x="14" y="3"/>
                  </a:lnTo>
                  <a:lnTo>
                    <a:pt x="14" y="3"/>
                  </a:lnTo>
                  <a:lnTo>
                    <a:pt x="9" y="6"/>
                  </a:lnTo>
                  <a:lnTo>
                    <a:pt x="9" y="6"/>
                  </a:lnTo>
                  <a:lnTo>
                    <a:pt x="8" y="5"/>
                  </a:lnTo>
                  <a:lnTo>
                    <a:pt x="8" y="5"/>
                  </a:lnTo>
                  <a:lnTo>
                    <a:pt x="6" y="5"/>
                  </a:lnTo>
                  <a:lnTo>
                    <a:pt x="6" y="5"/>
                  </a:lnTo>
                  <a:lnTo>
                    <a:pt x="4" y="5"/>
                  </a:lnTo>
                  <a:lnTo>
                    <a:pt x="4" y="5"/>
                  </a:lnTo>
                  <a:lnTo>
                    <a:pt x="4" y="7"/>
                  </a:lnTo>
                  <a:lnTo>
                    <a:pt x="4" y="7"/>
                  </a:lnTo>
                  <a:lnTo>
                    <a:pt x="4" y="9"/>
                  </a:lnTo>
                  <a:lnTo>
                    <a:pt x="4" y="9"/>
                  </a:lnTo>
                  <a:lnTo>
                    <a:pt x="6" y="10"/>
                  </a:lnTo>
                  <a:lnTo>
                    <a:pt x="6" y="10"/>
                  </a:lnTo>
                  <a:lnTo>
                    <a:pt x="2" y="17"/>
                  </a:lnTo>
                  <a:lnTo>
                    <a:pt x="2" y="17"/>
                  </a:lnTo>
                  <a:lnTo>
                    <a:pt x="0" y="21"/>
                  </a:lnTo>
                  <a:lnTo>
                    <a:pt x="0" y="25"/>
                  </a:lnTo>
                  <a:lnTo>
                    <a:pt x="0" y="25"/>
                  </a:lnTo>
                  <a:lnTo>
                    <a:pt x="0" y="28"/>
                  </a:lnTo>
                  <a:lnTo>
                    <a:pt x="0" y="31"/>
                  </a:lnTo>
                  <a:lnTo>
                    <a:pt x="0" y="31"/>
                  </a:lnTo>
                  <a:lnTo>
                    <a:pt x="2" y="34"/>
                  </a:lnTo>
                  <a:lnTo>
                    <a:pt x="4" y="36"/>
                  </a:lnTo>
                  <a:lnTo>
                    <a:pt x="4" y="36"/>
                  </a:lnTo>
                  <a:lnTo>
                    <a:pt x="9" y="39"/>
                  </a:lnTo>
                  <a:lnTo>
                    <a:pt x="15" y="40"/>
                  </a:lnTo>
                  <a:lnTo>
                    <a:pt x="15" y="40"/>
                  </a:lnTo>
                  <a:lnTo>
                    <a:pt x="22" y="39"/>
                  </a:lnTo>
                  <a:lnTo>
                    <a:pt x="29" y="36"/>
                  </a:lnTo>
                  <a:lnTo>
                    <a:pt x="29" y="36"/>
                  </a:lnTo>
                  <a:lnTo>
                    <a:pt x="42" y="49"/>
                  </a:lnTo>
                  <a:lnTo>
                    <a:pt x="42" y="49"/>
                  </a:lnTo>
                  <a:lnTo>
                    <a:pt x="39" y="51"/>
                  </a:lnTo>
                  <a:lnTo>
                    <a:pt x="37" y="51"/>
                  </a:lnTo>
                  <a:lnTo>
                    <a:pt x="37" y="51"/>
                  </a:lnTo>
                  <a:lnTo>
                    <a:pt x="34" y="51"/>
                  </a:lnTo>
                  <a:lnTo>
                    <a:pt x="34" y="51"/>
                  </a:lnTo>
                  <a:lnTo>
                    <a:pt x="31" y="50"/>
                  </a:lnTo>
                  <a:lnTo>
                    <a:pt x="31" y="50"/>
                  </a:lnTo>
                  <a:lnTo>
                    <a:pt x="27" y="48"/>
                  </a:lnTo>
                  <a:lnTo>
                    <a:pt x="27" y="48"/>
                  </a:lnTo>
                  <a:lnTo>
                    <a:pt x="25" y="48"/>
                  </a:lnTo>
                  <a:lnTo>
                    <a:pt x="25" y="48"/>
                  </a:lnTo>
                  <a:lnTo>
                    <a:pt x="22" y="49"/>
                  </a:lnTo>
                  <a:lnTo>
                    <a:pt x="22" y="49"/>
                  </a:lnTo>
                  <a:lnTo>
                    <a:pt x="21" y="50"/>
                  </a:lnTo>
                  <a:lnTo>
                    <a:pt x="20" y="52"/>
                  </a:lnTo>
                  <a:lnTo>
                    <a:pt x="20" y="52"/>
                  </a:lnTo>
                  <a:lnTo>
                    <a:pt x="21" y="54"/>
                  </a:lnTo>
                  <a:lnTo>
                    <a:pt x="22" y="56"/>
                  </a:lnTo>
                  <a:lnTo>
                    <a:pt x="22" y="56"/>
                  </a:lnTo>
                  <a:lnTo>
                    <a:pt x="26" y="59"/>
                  </a:lnTo>
                  <a:lnTo>
                    <a:pt x="26" y="59"/>
                  </a:lnTo>
                  <a:lnTo>
                    <a:pt x="29" y="61"/>
                  </a:lnTo>
                  <a:lnTo>
                    <a:pt x="33" y="62"/>
                  </a:lnTo>
                  <a:lnTo>
                    <a:pt x="33" y="62"/>
                  </a:lnTo>
                  <a:lnTo>
                    <a:pt x="37" y="62"/>
                  </a:lnTo>
                  <a:lnTo>
                    <a:pt x="40" y="61"/>
                  </a:lnTo>
                  <a:lnTo>
                    <a:pt x="40" y="61"/>
                  </a:lnTo>
                  <a:lnTo>
                    <a:pt x="44" y="58"/>
                  </a:lnTo>
                  <a:lnTo>
                    <a:pt x="47" y="55"/>
                  </a:lnTo>
                  <a:lnTo>
                    <a:pt x="47" y="55"/>
                  </a:lnTo>
                  <a:lnTo>
                    <a:pt x="51" y="58"/>
                  </a:lnTo>
                  <a:lnTo>
                    <a:pt x="51" y="58"/>
                  </a:lnTo>
                  <a:lnTo>
                    <a:pt x="53" y="58"/>
                  </a:lnTo>
                  <a:lnTo>
                    <a:pt x="53" y="58"/>
                  </a:lnTo>
                  <a:lnTo>
                    <a:pt x="55" y="58"/>
                  </a:lnTo>
                  <a:lnTo>
                    <a:pt x="55" y="58"/>
                  </a:lnTo>
                  <a:lnTo>
                    <a:pt x="55" y="56"/>
                  </a:lnTo>
                  <a:lnTo>
                    <a:pt x="55" y="56"/>
                  </a:lnTo>
                  <a:lnTo>
                    <a:pt x="54" y="54"/>
                  </a:lnTo>
                  <a:lnTo>
                    <a:pt x="54" y="54"/>
                  </a:lnTo>
                  <a:lnTo>
                    <a:pt x="51" y="51"/>
                  </a:lnTo>
                  <a:lnTo>
                    <a:pt x="51" y="51"/>
                  </a:lnTo>
                  <a:lnTo>
                    <a:pt x="56" y="44"/>
                  </a:lnTo>
                  <a:lnTo>
                    <a:pt x="56" y="44"/>
                  </a:lnTo>
                  <a:lnTo>
                    <a:pt x="57" y="40"/>
                  </a:lnTo>
                  <a:lnTo>
                    <a:pt x="58" y="36"/>
                  </a:lnTo>
                  <a:lnTo>
                    <a:pt x="58" y="36"/>
                  </a:lnTo>
                  <a:lnTo>
                    <a:pt x="58" y="33"/>
                  </a:lnTo>
                  <a:lnTo>
                    <a:pt x="57" y="30"/>
                  </a:lnTo>
                  <a:lnTo>
                    <a:pt x="57" y="30"/>
                  </a:lnTo>
                  <a:lnTo>
                    <a:pt x="55" y="27"/>
                  </a:lnTo>
                  <a:lnTo>
                    <a:pt x="53" y="25"/>
                  </a:lnTo>
                  <a:lnTo>
                    <a:pt x="53" y="25"/>
                  </a:lnTo>
                  <a:close/>
                  <a:moveTo>
                    <a:pt x="15" y="29"/>
                  </a:moveTo>
                  <a:lnTo>
                    <a:pt x="15" y="29"/>
                  </a:lnTo>
                  <a:lnTo>
                    <a:pt x="12" y="29"/>
                  </a:lnTo>
                  <a:lnTo>
                    <a:pt x="10" y="27"/>
                  </a:lnTo>
                  <a:lnTo>
                    <a:pt x="10" y="27"/>
                  </a:lnTo>
                  <a:lnTo>
                    <a:pt x="9" y="25"/>
                  </a:lnTo>
                  <a:lnTo>
                    <a:pt x="9" y="25"/>
                  </a:lnTo>
                  <a:lnTo>
                    <a:pt x="8" y="23"/>
                  </a:lnTo>
                  <a:lnTo>
                    <a:pt x="8" y="23"/>
                  </a:lnTo>
                  <a:lnTo>
                    <a:pt x="9" y="19"/>
                  </a:lnTo>
                  <a:lnTo>
                    <a:pt x="9" y="19"/>
                  </a:lnTo>
                  <a:lnTo>
                    <a:pt x="12" y="15"/>
                  </a:lnTo>
                  <a:lnTo>
                    <a:pt x="12" y="15"/>
                  </a:lnTo>
                  <a:lnTo>
                    <a:pt x="22" y="27"/>
                  </a:lnTo>
                  <a:lnTo>
                    <a:pt x="22" y="27"/>
                  </a:lnTo>
                  <a:lnTo>
                    <a:pt x="18" y="29"/>
                  </a:lnTo>
                  <a:lnTo>
                    <a:pt x="15" y="29"/>
                  </a:lnTo>
                  <a:lnTo>
                    <a:pt x="15" y="29"/>
                  </a:lnTo>
                  <a:close/>
                  <a:moveTo>
                    <a:pt x="47" y="43"/>
                  </a:moveTo>
                  <a:lnTo>
                    <a:pt x="47" y="43"/>
                  </a:lnTo>
                  <a:lnTo>
                    <a:pt x="45" y="46"/>
                  </a:lnTo>
                  <a:lnTo>
                    <a:pt x="45" y="46"/>
                  </a:lnTo>
                  <a:lnTo>
                    <a:pt x="34" y="34"/>
                  </a:lnTo>
                  <a:lnTo>
                    <a:pt x="34" y="34"/>
                  </a:lnTo>
                  <a:lnTo>
                    <a:pt x="37" y="32"/>
                  </a:lnTo>
                  <a:lnTo>
                    <a:pt x="37" y="32"/>
                  </a:lnTo>
                  <a:lnTo>
                    <a:pt x="40" y="31"/>
                  </a:lnTo>
                  <a:lnTo>
                    <a:pt x="40" y="31"/>
                  </a:lnTo>
                  <a:lnTo>
                    <a:pt x="43" y="31"/>
                  </a:lnTo>
                  <a:lnTo>
                    <a:pt x="43" y="31"/>
                  </a:lnTo>
                  <a:lnTo>
                    <a:pt x="46" y="33"/>
                  </a:lnTo>
                  <a:lnTo>
                    <a:pt x="46" y="33"/>
                  </a:lnTo>
                  <a:lnTo>
                    <a:pt x="48" y="36"/>
                  </a:lnTo>
                  <a:lnTo>
                    <a:pt x="48" y="36"/>
                  </a:lnTo>
                  <a:lnTo>
                    <a:pt x="48" y="39"/>
                  </a:lnTo>
                  <a:lnTo>
                    <a:pt x="48" y="39"/>
                  </a:lnTo>
                  <a:lnTo>
                    <a:pt x="47" y="43"/>
                  </a:lnTo>
                  <a:lnTo>
                    <a:pt x="4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20" name="Freeform 55">
              <a:extLst>
                <a:ext uri="{FF2B5EF4-FFF2-40B4-BE49-F238E27FC236}">
                  <a16:creationId xmlns:a16="http://schemas.microsoft.com/office/drawing/2014/main" id="{D76D9037-08C4-4F89-AE7D-BF063910146F}"/>
                </a:ext>
              </a:extLst>
            </p:cNvPr>
            <p:cNvSpPr>
              <a:spLocks/>
            </p:cNvSpPr>
            <p:nvPr/>
          </p:nvSpPr>
          <p:spPr bwMode="auto">
            <a:xfrm>
              <a:off x="3905250" y="2964657"/>
              <a:ext cx="79375" cy="95250"/>
            </a:xfrm>
            <a:custGeom>
              <a:avLst/>
              <a:gdLst>
                <a:gd name="T0" fmla="*/ 27 w 32"/>
                <a:gd name="T1" fmla="*/ 1 h 35"/>
                <a:gd name="T2" fmla="*/ 27 w 32"/>
                <a:gd name="T3" fmla="*/ 1 h 35"/>
                <a:gd name="T4" fmla="*/ 27 w 32"/>
                <a:gd name="T5" fmla="*/ 1 h 35"/>
                <a:gd name="T6" fmla="*/ 15 w 32"/>
                <a:gd name="T7" fmla="*/ 11 h 35"/>
                <a:gd name="T8" fmla="*/ 15 w 32"/>
                <a:gd name="T9" fmla="*/ 11 h 35"/>
                <a:gd name="T10" fmla="*/ 5 w 32"/>
                <a:gd name="T11" fmla="*/ 23 h 35"/>
                <a:gd name="T12" fmla="*/ 1 w 32"/>
                <a:gd name="T13" fmla="*/ 30 h 35"/>
                <a:gd name="T14" fmla="*/ 1 w 32"/>
                <a:gd name="T15" fmla="*/ 30 h 35"/>
                <a:gd name="T16" fmla="*/ 1 w 32"/>
                <a:gd name="T17" fmla="*/ 30 h 35"/>
                <a:gd name="T18" fmla="*/ 0 w 32"/>
                <a:gd name="T19" fmla="*/ 32 h 35"/>
                <a:gd name="T20" fmla="*/ 1 w 32"/>
                <a:gd name="T21" fmla="*/ 34 h 35"/>
                <a:gd name="T22" fmla="*/ 1 w 32"/>
                <a:gd name="T23" fmla="*/ 34 h 35"/>
                <a:gd name="T24" fmla="*/ 4 w 32"/>
                <a:gd name="T25" fmla="*/ 35 h 35"/>
                <a:gd name="T26" fmla="*/ 6 w 32"/>
                <a:gd name="T27" fmla="*/ 34 h 35"/>
                <a:gd name="T28" fmla="*/ 6 w 32"/>
                <a:gd name="T29" fmla="*/ 34 h 35"/>
                <a:gd name="T30" fmla="*/ 6 w 32"/>
                <a:gd name="T31" fmla="*/ 33 h 35"/>
                <a:gd name="T32" fmla="*/ 11 w 32"/>
                <a:gd name="T33" fmla="*/ 27 h 35"/>
                <a:gd name="T34" fmla="*/ 11 w 32"/>
                <a:gd name="T35" fmla="*/ 27 h 35"/>
                <a:gd name="T36" fmla="*/ 20 w 32"/>
                <a:gd name="T37" fmla="*/ 16 h 35"/>
                <a:gd name="T38" fmla="*/ 20 w 32"/>
                <a:gd name="T39" fmla="*/ 16 h 35"/>
                <a:gd name="T40" fmla="*/ 31 w 32"/>
                <a:gd name="T41" fmla="*/ 6 h 35"/>
                <a:gd name="T42" fmla="*/ 31 w 32"/>
                <a:gd name="T43" fmla="*/ 6 h 35"/>
                <a:gd name="T44" fmla="*/ 31 w 32"/>
                <a:gd name="T45" fmla="*/ 6 h 35"/>
                <a:gd name="T46" fmla="*/ 31 w 32"/>
                <a:gd name="T47" fmla="*/ 6 h 35"/>
                <a:gd name="T48" fmla="*/ 31 w 32"/>
                <a:gd name="T49" fmla="*/ 6 h 35"/>
                <a:gd name="T50" fmla="*/ 32 w 32"/>
                <a:gd name="T51" fmla="*/ 4 h 35"/>
                <a:gd name="T52" fmla="*/ 31 w 32"/>
                <a:gd name="T53" fmla="*/ 1 h 35"/>
                <a:gd name="T54" fmla="*/ 31 w 32"/>
                <a:gd name="T55" fmla="*/ 1 h 35"/>
                <a:gd name="T56" fmla="*/ 29 w 32"/>
                <a:gd name="T57" fmla="*/ 0 h 35"/>
                <a:gd name="T58" fmla="*/ 27 w 32"/>
                <a:gd name="T59" fmla="*/ 1 h 35"/>
                <a:gd name="T60" fmla="*/ 27 w 32"/>
                <a:gd name="T6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35">
                  <a:moveTo>
                    <a:pt x="27" y="1"/>
                  </a:moveTo>
                  <a:lnTo>
                    <a:pt x="27" y="1"/>
                  </a:lnTo>
                  <a:lnTo>
                    <a:pt x="27" y="1"/>
                  </a:lnTo>
                  <a:lnTo>
                    <a:pt x="15" y="11"/>
                  </a:lnTo>
                  <a:lnTo>
                    <a:pt x="15" y="11"/>
                  </a:lnTo>
                  <a:lnTo>
                    <a:pt x="5" y="23"/>
                  </a:lnTo>
                  <a:lnTo>
                    <a:pt x="1" y="30"/>
                  </a:lnTo>
                  <a:lnTo>
                    <a:pt x="1" y="30"/>
                  </a:lnTo>
                  <a:lnTo>
                    <a:pt x="1" y="30"/>
                  </a:lnTo>
                  <a:lnTo>
                    <a:pt x="0" y="32"/>
                  </a:lnTo>
                  <a:lnTo>
                    <a:pt x="1" y="34"/>
                  </a:lnTo>
                  <a:lnTo>
                    <a:pt x="1" y="34"/>
                  </a:lnTo>
                  <a:lnTo>
                    <a:pt x="4" y="35"/>
                  </a:lnTo>
                  <a:lnTo>
                    <a:pt x="6" y="34"/>
                  </a:lnTo>
                  <a:lnTo>
                    <a:pt x="6" y="34"/>
                  </a:lnTo>
                  <a:lnTo>
                    <a:pt x="6" y="33"/>
                  </a:lnTo>
                  <a:lnTo>
                    <a:pt x="11" y="27"/>
                  </a:lnTo>
                  <a:lnTo>
                    <a:pt x="11" y="27"/>
                  </a:lnTo>
                  <a:lnTo>
                    <a:pt x="20" y="16"/>
                  </a:lnTo>
                  <a:lnTo>
                    <a:pt x="20" y="16"/>
                  </a:lnTo>
                  <a:lnTo>
                    <a:pt x="31" y="6"/>
                  </a:lnTo>
                  <a:lnTo>
                    <a:pt x="31" y="6"/>
                  </a:lnTo>
                  <a:lnTo>
                    <a:pt x="31" y="6"/>
                  </a:lnTo>
                  <a:lnTo>
                    <a:pt x="31" y="6"/>
                  </a:lnTo>
                  <a:lnTo>
                    <a:pt x="31" y="6"/>
                  </a:lnTo>
                  <a:lnTo>
                    <a:pt x="32" y="4"/>
                  </a:lnTo>
                  <a:lnTo>
                    <a:pt x="31" y="1"/>
                  </a:lnTo>
                  <a:lnTo>
                    <a:pt x="31" y="1"/>
                  </a:lnTo>
                  <a:lnTo>
                    <a:pt x="29" y="0"/>
                  </a:lnTo>
                  <a:lnTo>
                    <a:pt x="27" y="1"/>
                  </a:ln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21" name="Freeform 56">
              <a:extLst>
                <a:ext uri="{FF2B5EF4-FFF2-40B4-BE49-F238E27FC236}">
                  <a16:creationId xmlns:a16="http://schemas.microsoft.com/office/drawing/2014/main" id="{9A82F85B-085F-4D8E-B022-4AE5DDB881D3}"/>
                </a:ext>
              </a:extLst>
            </p:cNvPr>
            <p:cNvSpPr>
              <a:spLocks/>
            </p:cNvSpPr>
            <p:nvPr/>
          </p:nvSpPr>
          <p:spPr bwMode="auto">
            <a:xfrm>
              <a:off x="4008440" y="2655092"/>
              <a:ext cx="87315" cy="95250"/>
            </a:xfrm>
            <a:custGeom>
              <a:avLst/>
              <a:gdLst>
                <a:gd name="T0" fmla="*/ 13 w 33"/>
                <a:gd name="T1" fmla="*/ 18 h 35"/>
                <a:gd name="T2" fmla="*/ 13 w 33"/>
                <a:gd name="T3" fmla="*/ 18 h 35"/>
                <a:gd name="T4" fmla="*/ 2 w 33"/>
                <a:gd name="T5" fmla="*/ 29 h 35"/>
                <a:gd name="T6" fmla="*/ 2 w 33"/>
                <a:gd name="T7" fmla="*/ 29 h 35"/>
                <a:gd name="T8" fmla="*/ 1 w 33"/>
                <a:gd name="T9" fmla="*/ 30 h 35"/>
                <a:gd name="T10" fmla="*/ 1 w 33"/>
                <a:gd name="T11" fmla="*/ 30 h 35"/>
                <a:gd name="T12" fmla="*/ 0 w 33"/>
                <a:gd name="T13" fmla="*/ 32 h 35"/>
                <a:gd name="T14" fmla="*/ 1 w 33"/>
                <a:gd name="T15" fmla="*/ 34 h 35"/>
                <a:gd name="T16" fmla="*/ 1 w 33"/>
                <a:gd name="T17" fmla="*/ 34 h 35"/>
                <a:gd name="T18" fmla="*/ 4 w 33"/>
                <a:gd name="T19" fmla="*/ 35 h 35"/>
                <a:gd name="T20" fmla="*/ 6 w 33"/>
                <a:gd name="T21" fmla="*/ 34 h 35"/>
                <a:gd name="T22" fmla="*/ 6 w 33"/>
                <a:gd name="T23" fmla="*/ 34 h 35"/>
                <a:gd name="T24" fmla="*/ 6 w 33"/>
                <a:gd name="T25" fmla="*/ 34 h 35"/>
                <a:gd name="T26" fmla="*/ 18 w 33"/>
                <a:gd name="T27" fmla="*/ 24 h 35"/>
                <a:gd name="T28" fmla="*/ 18 w 33"/>
                <a:gd name="T29" fmla="*/ 24 h 35"/>
                <a:gd name="T30" fmla="*/ 27 w 33"/>
                <a:gd name="T31" fmla="*/ 12 h 35"/>
                <a:gd name="T32" fmla="*/ 32 w 33"/>
                <a:gd name="T33" fmla="*/ 6 h 35"/>
                <a:gd name="T34" fmla="*/ 32 w 33"/>
                <a:gd name="T35" fmla="*/ 6 h 35"/>
                <a:gd name="T36" fmla="*/ 32 w 33"/>
                <a:gd name="T37" fmla="*/ 6 h 35"/>
                <a:gd name="T38" fmla="*/ 33 w 33"/>
                <a:gd name="T39" fmla="*/ 3 h 35"/>
                <a:gd name="T40" fmla="*/ 32 w 33"/>
                <a:gd name="T41" fmla="*/ 1 h 35"/>
                <a:gd name="T42" fmla="*/ 32 w 33"/>
                <a:gd name="T43" fmla="*/ 1 h 35"/>
                <a:gd name="T44" fmla="*/ 29 w 33"/>
                <a:gd name="T45" fmla="*/ 0 h 35"/>
                <a:gd name="T46" fmla="*/ 27 w 33"/>
                <a:gd name="T47" fmla="*/ 1 h 35"/>
                <a:gd name="T48" fmla="*/ 27 w 33"/>
                <a:gd name="T49" fmla="*/ 1 h 35"/>
                <a:gd name="T50" fmla="*/ 26 w 33"/>
                <a:gd name="T51" fmla="*/ 2 h 35"/>
                <a:gd name="T52" fmla="*/ 22 w 33"/>
                <a:gd name="T53" fmla="*/ 8 h 35"/>
                <a:gd name="T54" fmla="*/ 22 w 33"/>
                <a:gd name="T55" fmla="*/ 8 h 35"/>
                <a:gd name="T56" fmla="*/ 13 w 33"/>
                <a:gd name="T57" fmla="*/ 18 h 35"/>
                <a:gd name="T58" fmla="*/ 13 w 33"/>
                <a:gd name="T5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5">
                  <a:moveTo>
                    <a:pt x="13" y="18"/>
                  </a:moveTo>
                  <a:lnTo>
                    <a:pt x="13" y="18"/>
                  </a:lnTo>
                  <a:lnTo>
                    <a:pt x="2" y="29"/>
                  </a:lnTo>
                  <a:lnTo>
                    <a:pt x="2" y="29"/>
                  </a:lnTo>
                  <a:lnTo>
                    <a:pt x="1" y="30"/>
                  </a:lnTo>
                  <a:lnTo>
                    <a:pt x="1" y="30"/>
                  </a:lnTo>
                  <a:lnTo>
                    <a:pt x="0" y="32"/>
                  </a:lnTo>
                  <a:lnTo>
                    <a:pt x="1" y="34"/>
                  </a:lnTo>
                  <a:lnTo>
                    <a:pt x="1" y="34"/>
                  </a:lnTo>
                  <a:lnTo>
                    <a:pt x="4" y="35"/>
                  </a:lnTo>
                  <a:lnTo>
                    <a:pt x="6" y="34"/>
                  </a:lnTo>
                  <a:lnTo>
                    <a:pt x="6" y="34"/>
                  </a:lnTo>
                  <a:lnTo>
                    <a:pt x="6" y="34"/>
                  </a:lnTo>
                  <a:lnTo>
                    <a:pt x="18" y="24"/>
                  </a:lnTo>
                  <a:lnTo>
                    <a:pt x="18" y="24"/>
                  </a:lnTo>
                  <a:lnTo>
                    <a:pt x="27" y="12"/>
                  </a:lnTo>
                  <a:lnTo>
                    <a:pt x="32" y="6"/>
                  </a:lnTo>
                  <a:lnTo>
                    <a:pt x="32" y="6"/>
                  </a:lnTo>
                  <a:lnTo>
                    <a:pt x="32" y="6"/>
                  </a:lnTo>
                  <a:lnTo>
                    <a:pt x="33" y="3"/>
                  </a:lnTo>
                  <a:lnTo>
                    <a:pt x="32" y="1"/>
                  </a:lnTo>
                  <a:lnTo>
                    <a:pt x="32" y="1"/>
                  </a:lnTo>
                  <a:lnTo>
                    <a:pt x="29" y="0"/>
                  </a:lnTo>
                  <a:lnTo>
                    <a:pt x="27" y="1"/>
                  </a:lnTo>
                  <a:lnTo>
                    <a:pt x="27" y="1"/>
                  </a:lnTo>
                  <a:lnTo>
                    <a:pt x="26" y="2"/>
                  </a:lnTo>
                  <a:lnTo>
                    <a:pt x="22" y="8"/>
                  </a:lnTo>
                  <a:lnTo>
                    <a:pt x="22" y="8"/>
                  </a:lnTo>
                  <a:lnTo>
                    <a:pt x="13" y="18"/>
                  </a:lnTo>
                  <a:lnTo>
                    <a:pt x="1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535" name="Group 47">
            <a:extLst>
              <a:ext uri="{FF2B5EF4-FFF2-40B4-BE49-F238E27FC236}">
                <a16:creationId xmlns:a16="http://schemas.microsoft.com/office/drawing/2014/main" id="{35A1477B-21D8-4EE8-9D05-455302C276C9}"/>
              </a:ext>
            </a:extLst>
          </p:cNvPr>
          <p:cNvGrpSpPr>
            <a:grpSpLocks noChangeAspect="1"/>
          </p:cNvGrpSpPr>
          <p:nvPr/>
        </p:nvGrpSpPr>
        <p:grpSpPr>
          <a:xfrm>
            <a:off x="4009982" y="2233311"/>
            <a:ext cx="354560" cy="285619"/>
            <a:chOff x="8164513" y="1982788"/>
            <a:chExt cx="285750" cy="230188"/>
          </a:xfrm>
          <a:solidFill>
            <a:schemeClr val="bg2"/>
          </a:solidFill>
          <a:effectLst/>
        </p:grpSpPr>
        <p:sp>
          <p:nvSpPr>
            <p:cNvPr id="1536" name="Freeform 142">
              <a:extLst>
                <a:ext uri="{FF2B5EF4-FFF2-40B4-BE49-F238E27FC236}">
                  <a16:creationId xmlns:a16="http://schemas.microsoft.com/office/drawing/2014/main" id="{F0AC9B01-E880-4F84-9D17-3BD047056830}"/>
                </a:ext>
              </a:extLst>
            </p:cNvPr>
            <p:cNvSpPr>
              <a:spLocks noEditPoints="1"/>
            </p:cNvSpPr>
            <p:nvPr/>
          </p:nvSpPr>
          <p:spPr bwMode="auto">
            <a:xfrm>
              <a:off x="8164513" y="1982788"/>
              <a:ext cx="285750" cy="230188"/>
            </a:xfrm>
            <a:custGeom>
              <a:avLst/>
              <a:gdLst>
                <a:gd name="T0" fmla="*/ 260 w 902"/>
                <a:gd name="T1" fmla="*/ 444 h 722"/>
                <a:gd name="T2" fmla="*/ 251 w 902"/>
                <a:gd name="T3" fmla="*/ 375 h 722"/>
                <a:gd name="T4" fmla="*/ 369 w 902"/>
                <a:gd name="T5" fmla="*/ 301 h 722"/>
                <a:gd name="T6" fmla="*/ 422 w 902"/>
                <a:gd name="T7" fmla="*/ 282 h 722"/>
                <a:gd name="T8" fmla="*/ 450 w 902"/>
                <a:gd name="T9" fmla="*/ 235 h 722"/>
                <a:gd name="T10" fmla="*/ 871 w 902"/>
                <a:gd name="T11" fmla="*/ 415 h 722"/>
                <a:gd name="T12" fmla="*/ 827 w 902"/>
                <a:gd name="T13" fmla="*/ 451 h 722"/>
                <a:gd name="T14" fmla="*/ 663 w 902"/>
                <a:gd name="T15" fmla="*/ 568 h 722"/>
                <a:gd name="T16" fmla="*/ 491 w 902"/>
                <a:gd name="T17" fmla="*/ 572 h 722"/>
                <a:gd name="T18" fmla="*/ 377 w 902"/>
                <a:gd name="T19" fmla="*/ 581 h 722"/>
                <a:gd name="T20" fmla="*/ 382 w 902"/>
                <a:gd name="T21" fmla="*/ 599 h 722"/>
                <a:gd name="T22" fmla="*/ 512 w 902"/>
                <a:gd name="T23" fmla="*/ 610 h 722"/>
                <a:gd name="T24" fmla="*/ 524 w 902"/>
                <a:gd name="T25" fmla="*/ 664 h 722"/>
                <a:gd name="T26" fmla="*/ 436 w 902"/>
                <a:gd name="T27" fmla="*/ 692 h 722"/>
                <a:gd name="T28" fmla="*/ 110 w 902"/>
                <a:gd name="T29" fmla="*/ 660 h 722"/>
                <a:gd name="T30" fmla="*/ 39 w 902"/>
                <a:gd name="T31" fmla="*/ 564 h 722"/>
                <a:gd name="T32" fmla="*/ 34 w 902"/>
                <a:gd name="T33" fmla="*/ 333 h 722"/>
                <a:gd name="T34" fmla="*/ 72 w 902"/>
                <a:gd name="T35" fmla="*/ 234 h 722"/>
                <a:gd name="T36" fmla="*/ 140 w 902"/>
                <a:gd name="T37" fmla="*/ 175 h 722"/>
                <a:gd name="T38" fmla="*/ 240 w 902"/>
                <a:gd name="T39" fmla="*/ 151 h 722"/>
                <a:gd name="T40" fmla="*/ 416 w 902"/>
                <a:gd name="T41" fmla="*/ 177 h 722"/>
                <a:gd name="T42" fmla="*/ 419 w 902"/>
                <a:gd name="T43" fmla="*/ 236 h 722"/>
                <a:gd name="T44" fmla="*/ 392 w 902"/>
                <a:gd name="T45" fmla="*/ 265 h 722"/>
                <a:gd name="T46" fmla="*/ 273 w 902"/>
                <a:gd name="T47" fmla="*/ 277 h 722"/>
                <a:gd name="T48" fmla="*/ 214 w 902"/>
                <a:gd name="T49" fmla="*/ 369 h 722"/>
                <a:gd name="T50" fmla="*/ 171 w 902"/>
                <a:gd name="T51" fmla="*/ 391 h 722"/>
                <a:gd name="T52" fmla="*/ 151 w 902"/>
                <a:gd name="T53" fmla="*/ 401 h 722"/>
                <a:gd name="T54" fmla="*/ 156 w 902"/>
                <a:gd name="T55" fmla="*/ 419 h 722"/>
                <a:gd name="T56" fmla="*/ 210 w 902"/>
                <a:gd name="T57" fmla="*/ 410 h 722"/>
                <a:gd name="T58" fmla="*/ 229 w 902"/>
                <a:gd name="T59" fmla="*/ 455 h 722"/>
                <a:gd name="T60" fmla="*/ 271 w 902"/>
                <a:gd name="T61" fmla="*/ 480 h 722"/>
                <a:gd name="T62" fmla="*/ 671 w 902"/>
                <a:gd name="T63" fmla="*/ 490 h 722"/>
                <a:gd name="T64" fmla="*/ 240 w 902"/>
                <a:gd name="T65" fmla="*/ 67 h 722"/>
                <a:gd name="T66" fmla="*/ 270 w 902"/>
                <a:gd name="T67" fmla="*/ 32 h 722"/>
                <a:gd name="T68" fmla="*/ 863 w 902"/>
                <a:gd name="T69" fmla="*/ 52 h 722"/>
                <a:gd name="T70" fmla="*/ 419 w 902"/>
                <a:gd name="T71" fmla="*/ 139 h 722"/>
                <a:gd name="T72" fmla="*/ 240 w 902"/>
                <a:gd name="T73" fmla="*/ 120 h 722"/>
                <a:gd name="T74" fmla="*/ 251 w 902"/>
                <a:gd name="T75" fmla="*/ 6 h 722"/>
                <a:gd name="T76" fmla="*/ 217 w 902"/>
                <a:gd name="T77" fmla="*/ 35 h 722"/>
                <a:gd name="T78" fmla="*/ 191 w 902"/>
                <a:gd name="T79" fmla="*/ 126 h 722"/>
                <a:gd name="T80" fmla="*/ 66 w 902"/>
                <a:gd name="T81" fmla="*/ 193 h 722"/>
                <a:gd name="T82" fmla="*/ 23 w 902"/>
                <a:gd name="T83" fmla="*/ 263 h 722"/>
                <a:gd name="T84" fmla="*/ 1 w 902"/>
                <a:gd name="T85" fmla="*/ 359 h 722"/>
                <a:gd name="T86" fmla="*/ 4 w 902"/>
                <a:gd name="T87" fmla="*/ 553 h 722"/>
                <a:gd name="T88" fmla="*/ 78 w 902"/>
                <a:gd name="T89" fmla="*/ 673 h 722"/>
                <a:gd name="T90" fmla="*/ 190 w 902"/>
                <a:gd name="T91" fmla="*/ 721 h 722"/>
                <a:gd name="T92" fmla="*/ 501 w 902"/>
                <a:gd name="T93" fmla="*/ 721 h 722"/>
                <a:gd name="T94" fmla="*/ 537 w 902"/>
                <a:gd name="T95" fmla="*/ 701 h 722"/>
                <a:gd name="T96" fmla="*/ 553 w 902"/>
                <a:gd name="T97" fmla="*/ 623 h 722"/>
                <a:gd name="T98" fmla="*/ 675 w 902"/>
                <a:gd name="T99" fmla="*/ 596 h 722"/>
                <a:gd name="T100" fmla="*/ 712 w 902"/>
                <a:gd name="T101" fmla="*/ 562 h 722"/>
                <a:gd name="T102" fmla="*/ 720 w 902"/>
                <a:gd name="T103" fmla="*/ 515 h 722"/>
                <a:gd name="T104" fmla="*/ 841 w 902"/>
                <a:gd name="T105" fmla="*/ 480 h 722"/>
                <a:gd name="T106" fmla="*/ 884 w 902"/>
                <a:gd name="T107" fmla="*/ 454 h 722"/>
                <a:gd name="T108" fmla="*/ 902 w 902"/>
                <a:gd name="T109" fmla="*/ 406 h 722"/>
                <a:gd name="T110" fmla="*/ 888 w 902"/>
                <a:gd name="T111" fmla="*/ 35 h 722"/>
                <a:gd name="T112" fmla="*/ 848 w 902"/>
                <a:gd name="T113" fmla="*/ 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2" h="722">
                  <a:moveTo>
                    <a:pt x="827" y="451"/>
                  </a:moveTo>
                  <a:lnTo>
                    <a:pt x="646" y="451"/>
                  </a:lnTo>
                  <a:lnTo>
                    <a:pt x="391" y="451"/>
                  </a:lnTo>
                  <a:lnTo>
                    <a:pt x="285" y="451"/>
                  </a:lnTo>
                  <a:lnTo>
                    <a:pt x="276" y="450"/>
                  </a:lnTo>
                  <a:lnTo>
                    <a:pt x="269" y="448"/>
                  </a:lnTo>
                  <a:lnTo>
                    <a:pt x="260" y="444"/>
                  </a:lnTo>
                  <a:lnTo>
                    <a:pt x="254" y="437"/>
                  </a:lnTo>
                  <a:lnTo>
                    <a:pt x="249" y="431"/>
                  </a:lnTo>
                  <a:lnTo>
                    <a:pt x="244" y="424"/>
                  </a:lnTo>
                  <a:lnTo>
                    <a:pt x="241" y="415"/>
                  </a:lnTo>
                  <a:lnTo>
                    <a:pt x="240" y="406"/>
                  </a:lnTo>
                  <a:lnTo>
                    <a:pt x="240" y="386"/>
                  </a:lnTo>
                  <a:lnTo>
                    <a:pt x="251" y="375"/>
                  </a:lnTo>
                  <a:lnTo>
                    <a:pt x="260" y="364"/>
                  </a:lnTo>
                  <a:lnTo>
                    <a:pt x="268" y="352"/>
                  </a:lnTo>
                  <a:lnTo>
                    <a:pt x="275" y="340"/>
                  </a:lnTo>
                  <a:lnTo>
                    <a:pt x="287" y="319"/>
                  </a:lnTo>
                  <a:lnTo>
                    <a:pt x="296" y="301"/>
                  </a:lnTo>
                  <a:lnTo>
                    <a:pt x="361" y="301"/>
                  </a:lnTo>
                  <a:lnTo>
                    <a:pt x="369" y="301"/>
                  </a:lnTo>
                  <a:lnTo>
                    <a:pt x="377" y="300"/>
                  </a:lnTo>
                  <a:lnTo>
                    <a:pt x="385" y="298"/>
                  </a:lnTo>
                  <a:lnTo>
                    <a:pt x="393" y="296"/>
                  </a:lnTo>
                  <a:lnTo>
                    <a:pt x="401" y="294"/>
                  </a:lnTo>
                  <a:lnTo>
                    <a:pt x="408" y="291"/>
                  </a:lnTo>
                  <a:lnTo>
                    <a:pt x="416" y="286"/>
                  </a:lnTo>
                  <a:lnTo>
                    <a:pt x="422" y="282"/>
                  </a:lnTo>
                  <a:lnTo>
                    <a:pt x="429" y="277"/>
                  </a:lnTo>
                  <a:lnTo>
                    <a:pt x="434" y="271"/>
                  </a:lnTo>
                  <a:lnTo>
                    <a:pt x="438" y="265"/>
                  </a:lnTo>
                  <a:lnTo>
                    <a:pt x="442" y="259"/>
                  </a:lnTo>
                  <a:lnTo>
                    <a:pt x="446" y="251"/>
                  </a:lnTo>
                  <a:lnTo>
                    <a:pt x="449" y="244"/>
                  </a:lnTo>
                  <a:lnTo>
                    <a:pt x="450" y="235"/>
                  </a:lnTo>
                  <a:lnTo>
                    <a:pt x="451" y="226"/>
                  </a:lnTo>
                  <a:lnTo>
                    <a:pt x="451" y="196"/>
                  </a:lnTo>
                  <a:lnTo>
                    <a:pt x="450" y="189"/>
                  </a:lnTo>
                  <a:lnTo>
                    <a:pt x="449" y="181"/>
                  </a:lnTo>
                  <a:lnTo>
                    <a:pt x="872" y="181"/>
                  </a:lnTo>
                  <a:lnTo>
                    <a:pt x="872" y="406"/>
                  </a:lnTo>
                  <a:lnTo>
                    <a:pt x="871" y="415"/>
                  </a:lnTo>
                  <a:lnTo>
                    <a:pt x="868" y="424"/>
                  </a:lnTo>
                  <a:lnTo>
                    <a:pt x="863" y="431"/>
                  </a:lnTo>
                  <a:lnTo>
                    <a:pt x="858" y="437"/>
                  </a:lnTo>
                  <a:lnTo>
                    <a:pt x="851" y="444"/>
                  </a:lnTo>
                  <a:lnTo>
                    <a:pt x="843" y="448"/>
                  </a:lnTo>
                  <a:lnTo>
                    <a:pt x="836" y="450"/>
                  </a:lnTo>
                  <a:lnTo>
                    <a:pt x="827" y="451"/>
                  </a:lnTo>
                  <a:close/>
                  <a:moveTo>
                    <a:pt x="691" y="526"/>
                  </a:moveTo>
                  <a:lnTo>
                    <a:pt x="690" y="535"/>
                  </a:lnTo>
                  <a:lnTo>
                    <a:pt x="688" y="544"/>
                  </a:lnTo>
                  <a:lnTo>
                    <a:pt x="683" y="551"/>
                  </a:lnTo>
                  <a:lnTo>
                    <a:pt x="677" y="559"/>
                  </a:lnTo>
                  <a:lnTo>
                    <a:pt x="671" y="564"/>
                  </a:lnTo>
                  <a:lnTo>
                    <a:pt x="663" y="568"/>
                  </a:lnTo>
                  <a:lnTo>
                    <a:pt x="655" y="571"/>
                  </a:lnTo>
                  <a:lnTo>
                    <a:pt x="646" y="572"/>
                  </a:lnTo>
                  <a:lnTo>
                    <a:pt x="496" y="572"/>
                  </a:lnTo>
                  <a:lnTo>
                    <a:pt x="495" y="572"/>
                  </a:lnTo>
                  <a:lnTo>
                    <a:pt x="494" y="572"/>
                  </a:lnTo>
                  <a:lnTo>
                    <a:pt x="493" y="572"/>
                  </a:lnTo>
                  <a:lnTo>
                    <a:pt x="491" y="572"/>
                  </a:lnTo>
                  <a:lnTo>
                    <a:pt x="391" y="572"/>
                  </a:lnTo>
                  <a:lnTo>
                    <a:pt x="388" y="572"/>
                  </a:lnTo>
                  <a:lnTo>
                    <a:pt x="385" y="574"/>
                  </a:lnTo>
                  <a:lnTo>
                    <a:pt x="382" y="575"/>
                  </a:lnTo>
                  <a:lnTo>
                    <a:pt x="380" y="577"/>
                  </a:lnTo>
                  <a:lnTo>
                    <a:pt x="378" y="579"/>
                  </a:lnTo>
                  <a:lnTo>
                    <a:pt x="377" y="581"/>
                  </a:lnTo>
                  <a:lnTo>
                    <a:pt x="376" y="584"/>
                  </a:lnTo>
                  <a:lnTo>
                    <a:pt x="376" y="587"/>
                  </a:lnTo>
                  <a:lnTo>
                    <a:pt x="376" y="590"/>
                  </a:lnTo>
                  <a:lnTo>
                    <a:pt x="377" y="593"/>
                  </a:lnTo>
                  <a:lnTo>
                    <a:pt x="378" y="595"/>
                  </a:lnTo>
                  <a:lnTo>
                    <a:pt x="380" y="598"/>
                  </a:lnTo>
                  <a:lnTo>
                    <a:pt x="382" y="599"/>
                  </a:lnTo>
                  <a:lnTo>
                    <a:pt x="385" y="601"/>
                  </a:lnTo>
                  <a:lnTo>
                    <a:pt x="388" y="601"/>
                  </a:lnTo>
                  <a:lnTo>
                    <a:pt x="391" y="602"/>
                  </a:lnTo>
                  <a:lnTo>
                    <a:pt x="491" y="602"/>
                  </a:lnTo>
                  <a:lnTo>
                    <a:pt x="499" y="604"/>
                  </a:lnTo>
                  <a:lnTo>
                    <a:pt x="506" y="606"/>
                  </a:lnTo>
                  <a:lnTo>
                    <a:pt x="512" y="610"/>
                  </a:lnTo>
                  <a:lnTo>
                    <a:pt x="517" y="616"/>
                  </a:lnTo>
                  <a:lnTo>
                    <a:pt x="521" y="623"/>
                  </a:lnTo>
                  <a:lnTo>
                    <a:pt x="524" y="630"/>
                  </a:lnTo>
                  <a:lnTo>
                    <a:pt x="525" y="639"/>
                  </a:lnTo>
                  <a:lnTo>
                    <a:pt x="526" y="647"/>
                  </a:lnTo>
                  <a:lnTo>
                    <a:pt x="525" y="656"/>
                  </a:lnTo>
                  <a:lnTo>
                    <a:pt x="524" y="664"/>
                  </a:lnTo>
                  <a:lnTo>
                    <a:pt x="521" y="671"/>
                  </a:lnTo>
                  <a:lnTo>
                    <a:pt x="516" y="679"/>
                  </a:lnTo>
                  <a:lnTo>
                    <a:pt x="512" y="684"/>
                  </a:lnTo>
                  <a:lnTo>
                    <a:pt x="506" y="688"/>
                  </a:lnTo>
                  <a:lnTo>
                    <a:pt x="499" y="691"/>
                  </a:lnTo>
                  <a:lnTo>
                    <a:pt x="491" y="692"/>
                  </a:lnTo>
                  <a:lnTo>
                    <a:pt x="436" y="692"/>
                  </a:lnTo>
                  <a:lnTo>
                    <a:pt x="210" y="692"/>
                  </a:lnTo>
                  <a:lnTo>
                    <a:pt x="192" y="691"/>
                  </a:lnTo>
                  <a:lnTo>
                    <a:pt x="175" y="688"/>
                  </a:lnTo>
                  <a:lnTo>
                    <a:pt x="158" y="684"/>
                  </a:lnTo>
                  <a:lnTo>
                    <a:pt x="141" y="677"/>
                  </a:lnTo>
                  <a:lnTo>
                    <a:pt x="125" y="670"/>
                  </a:lnTo>
                  <a:lnTo>
                    <a:pt x="110" y="660"/>
                  </a:lnTo>
                  <a:lnTo>
                    <a:pt x="96" y="650"/>
                  </a:lnTo>
                  <a:lnTo>
                    <a:pt x="84" y="638"/>
                  </a:lnTo>
                  <a:lnTo>
                    <a:pt x="72" y="625"/>
                  </a:lnTo>
                  <a:lnTo>
                    <a:pt x="61" y="611"/>
                  </a:lnTo>
                  <a:lnTo>
                    <a:pt x="53" y="596"/>
                  </a:lnTo>
                  <a:lnTo>
                    <a:pt x="44" y="581"/>
                  </a:lnTo>
                  <a:lnTo>
                    <a:pt x="39" y="564"/>
                  </a:lnTo>
                  <a:lnTo>
                    <a:pt x="33" y="547"/>
                  </a:lnTo>
                  <a:lnTo>
                    <a:pt x="31" y="530"/>
                  </a:lnTo>
                  <a:lnTo>
                    <a:pt x="30" y="511"/>
                  </a:lnTo>
                  <a:lnTo>
                    <a:pt x="30" y="391"/>
                  </a:lnTo>
                  <a:lnTo>
                    <a:pt x="30" y="371"/>
                  </a:lnTo>
                  <a:lnTo>
                    <a:pt x="32" y="351"/>
                  </a:lnTo>
                  <a:lnTo>
                    <a:pt x="34" y="333"/>
                  </a:lnTo>
                  <a:lnTo>
                    <a:pt x="38" y="315"/>
                  </a:lnTo>
                  <a:lnTo>
                    <a:pt x="42" y="299"/>
                  </a:lnTo>
                  <a:lnTo>
                    <a:pt x="46" y="284"/>
                  </a:lnTo>
                  <a:lnTo>
                    <a:pt x="51" y="270"/>
                  </a:lnTo>
                  <a:lnTo>
                    <a:pt x="58" y="258"/>
                  </a:lnTo>
                  <a:lnTo>
                    <a:pt x="64" y="246"/>
                  </a:lnTo>
                  <a:lnTo>
                    <a:pt x="72" y="234"/>
                  </a:lnTo>
                  <a:lnTo>
                    <a:pt x="79" y="224"/>
                  </a:lnTo>
                  <a:lnTo>
                    <a:pt x="87" y="215"/>
                  </a:lnTo>
                  <a:lnTo>
                    <a:pt x="95" y="206"/>
                  </a:lnTo>
                  <a:lnTo>
                    <a:pt x="104" y="199"/>
                  </a:lnTo>
                  <a:lnTo>
                    <a:pt x="113" y="192"/>
                  </a:lnTo>
                  <a:lnTo>
                    <a:pt x="122" y="186"/>
                  </a:lnTo>
                  <a:lnTo>
                    <a:pt x="140" y="175"/>
                  </a:lnTo>
                  <a:lnTo>
                    <a:pt x="159" y="166"/>
                  </a:lnTo>
                  <a:lnTo>
                    <a:pt x="176" y="161"/>
                  </a:lnTo>
                  <a:lnTo>
                    <a:pt x="193" y="157"/>
                  </a:lnTo>
                  <a:lnTo>
                    <a:pt x="208" y="154"/>
                  </a:lnTo>
                  <a:lnTo>
                    <a:pt x="221" y="153"/>
                  </a:lnTo>
                  <a:lnTo>
                    <a:pt x="232" y="151"/>
                  </a:lnTo>
                  <a:lnTo>
                    <a:pt x="240" y="151"/>
                  </a:lnTo>
                  <a:lnTo>
                    <a:pt x="361" y="151"/>
                  </a:lnTo>
                  <a:lnTo>
                    <a:pt x="372" y="151"/>
                  </a:lnTo>
                  <a:lnTo>
                    <a:pt x="382" y="154"/>
                  </a:lnTo>
                  <a:lnTo>
                    <a:pt x="392" y="158"/>
                  </a:lnTo>
                  <a:lnTo>
                    <a:pt x="402" y="163"/>
                  </a:lnTo>
                  <a:lnTo>
                    <a:pt x="409" y="170"/>
                  </a:lnTo>
                  <a:lnTo>
                    <a:pt x="416" y="177"/>
                  </a:lnTo>
                  <a:lnTo>
                    <a:pt x="418" y="181"/>
                  </a:lnTo>
                  <a:lnTo>
                    <a:pt x="419" y="186"/>
                  </a:lnTo>
                  <a:lnTo>
                    <a:pt x="420" y="191"/>
                  </a:lnTo>
                  <a:lnTo>
                    <a:pt x="421" y="196"/>
                  </a:lnTo>
                  <a:lnTo>
                    <a:pt x="421" y="226"/>
                  </a:lnTo>
                  <a:lnTo>
                    <a:pt x="420" y="232"/>
                  </a:lnTo>
                  <a:lnTo>
                    <a:pt x="419" y="236"/>
                  </a:lnTo>
                  <a:lnTo>
                    <a:pt x="418" y="241"/>
                  </a:lnTo>
                  <a:lnTo>
                    <a:pt x="416" y="246"/>
                  </a:lnTo>
                  <a:lnTo>
                    <a:pt x="412" y="250"/>
                  </a:lnTo>
                  <a:lnTo>
                    <a:pt x="409" y="253"/>
                  </a:lnTo>
                  <a:lnTo>
                    <a:pt x="406" y="256"/>
                  </a:lnTo>
                  <a:lnTo>
                    <a:pt x="402" y="260"/>
                  </a:lnTo>
                  <a:lnTo>
                    <a:pt x="392" y="265"/>
                  </a:lnTo>
                  <a:lnTo>
                    <a:pt x="382" y="268"/>
                  </a:lnTo>
                  <a:lnTo>
                    <a:pt x="372" y="270"/>
                  </a:lnTo>
                  <a:lnTo>
                    <a:pt x="360" y="271"/>
                  </a:lnTo>
                  <a:lnTo>
                    <a:pt x="285" y="271"/>
                  </a:lnTo>
                  <a:lnTo>
                    <a:pt x="281" y="273"/>
                  </a:lnTo>
                  <a:lnTo>
                    <a:pt x="276" y="274"/>
                  </a:lnTo>
                  <a:lnTo>
                    <a:pt x="273" y="277"/>
                  </a:lnTo>
                  <a:lnTo>
                    <a:pt x="271" y="281"/>
                  </a:lnTo>
                  <a:lnTo>
                    <a:pt x="267" y="291"/>
                  </a:lnTo>
                  <a:lnTo>
                    <a:pt x="256" y="313"/>
                  </a:lnTo>
                  <a:lnTo>
                    <a:pt x="249" y="327"/>
                  </a:lnTo>
                  <a:lnTo>
                    <a:pt x="239" y="342"/>
                  </a:lnTo>
                  <a:lnTo>
                    <a:pt x="227" y="356"/>
                  </a:lnTo>
                  <a:lnTo>
                    <a:pt x="214" y="369"/>
                  </a:lnTo>
                  <a:lnTo>
                    <a:pt x="214" y="369"/>
                  </a:lnTo>
                  <a:lnTo>
                    <a:pt x="214" y="370"/>
                  </a:lnTo>
                  <a:lnTo>
                    <a:pt x="204" y="379"/>
                  </a:lnTo>
                  <a:lnTo>
                    <a:pt x="192" y="385"/>
                  </a:lnTo>
                  <a:lnTo>
                    <a:pt x="185" y="388"/>
                  </a:lnTo>
                  <a:lnTo>
                    <a:pt x="179" y="390"/>
                  </a:lnTo>
                  <a:lnTo>
                    <a:pt x="171" y="391"/>
                  </a:lnTo>
                  <a:lnTo>
                    <a:pt x="165" y="391"/>
                  </a:lnTo>
                  <a:lnTo>
                    <a:pt x="162" y="391"/>
                  </a:lnTo>
                  <a:lnTo>
                    <a:pt x="160" y="393"/>
                  </a:lnTo>
                  <a:lnTo>
                    <a:pt x="156" y="395"/>
                  </a:lnTo>
                  <a:lnTo>
                    <a:pt x="154" y="396"/>
                  </a:lnTo>
                  <a:lnTo>
                    <a:pt x="152" y="398"/>
                  </a:lnTo>
                  <a:lnTo>
                    <a:pt x="151" y="401"/>
                  </a:lnTo>
                  <a:lnTo>
                    <a:pt x="150" y="403"/>
                  </a:lnTo>
                  <a:lnTo>
                    <a:pt x="150" y="406"/>
                  </a:lnTo>
                  <a:lnTo>
                    <a:pt x="150" y="410"/>
                  </a:lnTo>
                  <a:lnTo>
                    <a:pt x="151" y="413"/>
                  </a:lnTo>
                  <a:lnTo>
                    <a:pt x="152" y="415"/>
                  </a:lnTo>
                  <a:lnTo>
                    <a:pt x="154" y="417"/>
                  </a:lnTo>
                  <a:lnTo>
                    <a:pt x="156" y="419"/>
                  </a:lnTo>
                  <a:lnTo>
                    <a:pt x="160" y="420"/>
                  </a:lnTo>
                  <a:lnTo>
                    <a:pt x="162" y="421"/>
                  </a:lnTo>
                  <a:lnTo>
                    <a:pt x="165" y="421"/>
                  </a:lnTo>
                  <a:lnTo>
                    <a:pt x="177" y="420"/>
                  </a:lnTo>
                  <a:lnTo>
                    <a:pt x="189" y="418"/>
                  </a:lnTo>
                  <a:lnTo>
                    <a:pt x="200" y="414"/>
                  </a:lnTo>
                  <a:lnTo>
                    <a:pt x="210" y="410"/>
                  </a:lnTo>
                  <a:lnTo>
                    <a:pt x="211" y="416"/>
                  </a:lnTo>
                  <a:lnTo>
                    <a:pt x="212" y="424"/>
                  </a:lnTo>
                  <a:lnTo>
                    <a:pt x="214" y="430"/>
                  </a:lnTo>
                  <a:lnTo>
                    <a:pt x="217" y="437"/>
                  </a:lnTo>
                  <a:lnTo>
                    <a:pt x="221" y="443"/>
                  </a:lnTo>
                  <a:lnTo>
                    <a:pt x="224" y="449"/>
                  </a:lnTo>
                  <a:lnTo>
                    <a:pt x="229" y="455"/>
                  </a:lnTo>
                  <a:lnTo>
                    <a:pt x="234" y="460"/>
                  </a:lnTo>
                  <a:lnTo>
                    <a:pt x="239" y="465"/>
                  </a:lnTo>
                  <a:lnTo>
                    <a:pt x="244" y="470"/>
                  </a:lnTo>
                  <a:lnTo>
                    <a:pt x="251" y="473"/>
                  </a:lnTo>
                  <a:lnTo>
                    <a:pt x="257" y="476"/>
                  </a:lnTo>
                  <a:lnTo>
                    <a:pt x="264" y="478"/>
                  </a:lnTo>
                  <a:lnTo>
                    <a:pt x="271" y="480"/>
                  </a:lnTo>
                  <a:lnTo>
                    <a:pt x="279" y="481"/>
                  </a:lnTo>
                  <a:lnTo>
                    <a:pt x="285" y="481"/>
                  </a:lnTo>
                  <a:lnTo>
                    <a:pt x="391" y="481"/>
                  </a:lnTo>
                  <a:lnTo>
                    <a:pt x="646" y="481"/>
                  </a:lnTo>
                  <a:lnTo>
                    <a:pt x="655" y="482"/>
                  </a:lnTo>
                  <a:lnTo>
                    <a:pt x="663" y="486"/>
                  </a:lnTo>
                  <a:lnTo>
                    <a:pt x="671" y="490"/>
                  </a:lnTo>
                  <a:lnTo>
                    <a:pt x="677" y="495"/>
                  </a:lnTo>
                  <a:lnTo>
                    <a:pt x="683" y="503"/>
                  </a:lnTo>
                  <a:lnTo>
                    <a:pt x="688" y="510"/>
                  </a:lnTo>
                  <a:lnTo>
                    <a:pt x="690" y="518"/>
                  </a:lnTo>
                  <a:lnTo>
                    <a:pt x="691" y="527"/>
                  </a:lnTo>
                  <a:lnTo>
                    <a:pt x="691" y="526"/>
                  </a:lnTo>
                  <a:close/>
                  <a:moveTo>
                    <a:pt x="240" y="67"/>
                  </a:moveTo>
                  <a:lnTo>
                    <a:pt x="241" y="59"/>
                  </a:lnTo>
                  <a:lnTo>
                    <a:pt x="243" y="52"/>
                  </a:lnTo>
                  <a:lnTo>
                    <a:pt x="246" y="45"/>
                  </a:lnTo>
                  <a:lnTo>
                    <a:pt x="251" y="41"/>
                  </a:lnTo>
                  <a:lnTo>
                    <a:pt x="256" y="37"/>
                  </a:lnTo>
                  <a:lnTo>
                    <a:pt x="262" y="34"/>
                  </a:lnTo>
                  <a:lnTo>
                    <a:pt x="270" y="32"/>
                  </a:lnTo>
                  <a:lnTo>
                    <a:pt x="279" y="30"/>
                  </a:lnTo>
                  <a:lnTo>
                    <a:pt x="827" y="30"/>
                  </a:lnTo>
                  <a:lnTo>
                    <a:pt x="836" y="32"/>
                  </a:lnTo>
                  <a:lnTo>
                    <a:pt x="843" y="35"/>
                  </a:lnTo>
                  <a:lnTo>
                    <a:pt x="851" y="39"/>
                  </a:lnTo>
                  <a:lnTo>
                    <a:pt x="858" y="44"/>
                  </a:lnTo>
                  <a:lnTo>
                    <a:pt x="863" y="52"/>
                  </a:lnTo>
                  <a:lnTo>
                    <a:pt x="868" y="59"/>
                  </a:lnTo>
                  <a:lnTo>
                    <a:pt x="871" y="67"/>
                  </a:lnTo>
                  <a:lnTo>
                    <a:pt x="872" y="75"/>
                  </a:lnTo>
                  <a:lnTo>
                    <a:pt x="872" y="151"/>
                  </a:lnTo>
                  <a:lnTo>
                    <a:pt x="433" y="151"/>
                  </a:lnTo>
                  <a:lnTo>
                    <a:pt x="426" y="144"/>
                  </a:lnTo>
                  <a:lnTo>
                    <a:pt x="419" y="139"/>
                  </a:lnTo>
                  <a:lnTo>
                    <a:pt x="410" y="133"/>
                  </a:lnTo>
                  <a:lnTo>
                    <a:pt x="401" y="129"/>
                  </a:lnTo>
                  <a:lnTo>
                    <a:pt x="391" y="126"/>
                  </a:lnTo>
                  <a:lnTo>
                    <a:pt x="381" y="123"/>
                  </a:lnTo>
                  <a:lnTo>
                    <a:pt x="371" y="121"/>
                  </a:lnTo>
                  <a:lnTo>
                    <a:pt x="360" y="121"/>
                  </a:lnTo>
                  <a:lnTo>
                    <a:pt x="240" y="120"/>
                  </a:lnTo>
                  <a:lnTo>
                    <a:pt x="240" y="67"/>
                  </a:lnTo>
                  <a:close/>
                  <a:moveTo>
                    <a:pt x="827" y="0"/>
                  </a:moveTo>
                  <a:lnTo>
                    <a:pt x="279" y="0"/>
                  </a:lnTo>
                  <a:lnTo>
                    <a:pt x="271" y="2"/>
                  </a:lnTo>
                  <a:lnTo>
                    <a:pt x="264" y="2"/>
                  </a:lnTo>
                  <a:lnTo>
                    <a:pt x="257" y="4"/>
                  </a:lnTo>
                  <a:lnTo>
                    <a:pt x="251" y="6"/>
                  </a:lnTo>
                  <a:lnTo>
                    <a:pt x="244" y="8"/>
                  </a:lnTo>
                  <a:lnTo>
                    <a:pt x="239" y="11"/>
                  </a:lnTo>
                  <a:lnTo>
                    <a:pt x="234" y="15"/>
                  </a:lnTo>
                  <a:lnTo>
                    <a:pt x="229" y="20"/>
                  </a:lnTo>
                  <a:lnTo>
                    <a:pt x="225" y="24"/>
                  </a:lnTo>
                  <a:lnTo>
                    <a:pt x="221" y="29"/>
                  </a:lnTo>
                  <a:lnTo>
                    <a:pt x="217" y="35"/>
                  </a:lnTo>
                  <a:lnTo>
                    <a:pt x="215" y="40"/>
                  </a:lnTo>
                  <a:lnTo>
                    <a:pt x="213" y="47"/>
                  </a:lnTo>
                  <a:lnTo>
                    <a:pt x="211" y="53"/>
                  </a:lnTo>
                  <a:lnTo>
                    <a:pt x="210" y="60"/>
                  </a:lnTo>
                  <a:lnTo>
                    <a:pt x="210" y="68"/>
                  </a:lnTo>
                  <a:lnTo>
                    <a:pt x="210" y="123"/>
                  </a:lnTo>
                  <a:lnTo>
                    <a:pt x="191" y="126"/>
                  </a:lnTo>
                  <a:lnTo>
                    <a:pt x="171" y="130"/>
                  </a:lnTo>
                  <a:lnTo>
                    <a:pt x="152" y="136"/>
                  </a:lnTo>
                  <a:lnTo>
                    <a:pt x="134" y="144"/>
                  </a:lnTo>
                  <a:lnTo>
                    <a:pt x="116" y="154"/>
                  </a:lnTo>
                  <a:lnTo>
                    <a:pt x="99" y="165"/>
                  </a:lnTo>
                  <a:lnTo>
                    <a:pt x="81" y="178"/>
                  </a:lnTo>
                  <a:lnTo>
                    <a:pt x="66" y="193"/>
                  </a:lnTo>
                  <a:lnTo>
                    <a:pt x="59" y="202"/>
                  </a:lnTo>
                  <a:lnTo>
                    <a:pt x="53" y="210"/>
                  </a:lnTo>
                  <a:lnTo>
                    <a:pt x="45" y="220"/>
                  </a:lnTo>
                  <a:lnTo>
                    <a:pt x="39" y="230"/>
                  </a:lnTo>
                  <a:lnTo>
                    <a:pt x="33" y="240"/>
                  </a:lnTo>
                  <a:lnTo>
                    <a:pt x="28" y="251"/>
                  </a:lnTo>
                  <a:lnTo>
                    <a:pt x="23" y="263"/>
                  </a:lnTo>
                  <a:lnTo>
                    <a:pt x="18" y="275"/>
                  </a:lnTo>
                  <a:lnTo>
                    <a:pt x="14" y="288"/>
                  </a:lnTo>
                  <a:lnTo>
                    <a:pt x="11" y="300"/>
                  </a:lnTo>
                  <a:lnTo>
                    <a:pt x="8" y="314"/>
                  </a:lnTo>
                  <a:lnTo>
                    <a:pt x="4" y="328"/>
                  </a:lnTo>
                  <a:lnTo>
                    <a:pt x="2" y="343"/>
                  </a:lnTo>
                  <a:lnTo>
                    <a:pt x="1" y="359"/>
                  </a:lnTo>
                  <a:lnTo>
                    <a:pt x="0" y="375"/>
                  </a:lnTo>
                  <a:lnTo>
                    <a:pt x="0" y="391"/>
                  </a:lnTo>
                  <a:lnTo>
                    <a:pt x="0" y="511"/>
                  </a:lnTo>
                  <a:lnTo>
                    <a:pt x="0" y="522"/>
                  </a:lnTo>
                  <a:lnTo>
                    <a:pt x="1" y="533"/>
                  </a:lnTo>
                  <a:lnTo>
                    <a:pt x="2" y="542"/>
                  </a:lnTo>
                  <a:lnTo>
                    <a:pt x="4" y="553"/>
                  </a:lnTo>
                  <a:lnTo>
                    <a:pt x="10" y="572"/>
                  </a:lnTo>
                  <a:lnTo>
                    <a:pt x="17" y="592"/>
                  </a:lnTo>
                  <a:lnTo>
                    <a:pt x="26" y="610"/>
                  </a:lnTo>
                  <a:lnTo>
                    <a:pt x="36" y="628"/>
                  </a:lnTo>
                  <a:lnTo>
                    <a:pt x="49" y="644"/>
                  </a:lnTo>
                  <a:lnTo>
                    <a:pt x="63" y="659"/>
                  </a:lnTo>
                  <a:lnTo>
                    <a:pt x="78" y="673"/>
                  </a:lnTo>
                  <a:lnTo>
                    <a:pt x="94" y="685"/>
                  </a:lnTo>
                  <a:lnTo>
                    <a:pt x="111" y="696"/>
                  </a:lnTo>
                  <a:lnTo>
                    <a:pt x="130" y="705"/>
                  </a:lnTo>
                  <a:lnTo>
                    <a:pt x="149" y="713"/>
                  </a:lnTo>
                  <a:lnTo>
                    <a:pt x="169" y="718"/>
                  </a:lnTo>
                  <a:lnTo>
                    <a:pt x="179" y="720"/>
                  </a:lnTo>
                  <a:lnTo>
                    <a:pt x="190" y="721"/>
                  </a:lnTo>
                  <a:lnTo>
                    <a:pt x="199" y="722"/>
                  </a:lnTo>
                  <a:lnTo>
                    <a:pt x="210" y="722"/>
                  </a:lnTo>
                  <a:lnTo>
                    <a:pt x="436" y="722"/>
                  </a:lnTo>
                  <a:lnTo>
                    <a:pt x="491" y="722"/>
                  </a:lnTo>
                  <a:lnTo>
                    <a:pt x="496" y="722"/>
                  </a:lnTo>
                  <a:lnTo>
                    <a:pt x="499" y="722"/>
                  </a:lnTo>
                  <a:lnTo>
                    <a:pt x="501" y="721"/>
                  </a:lnTo>
                  <a:lnTo>
                    <a:pt x="508" y="720"/>
                  </a:lnTo>
                  <a:lnTo>
                    <a:pt x="513" y="718"/>
                  </a:lnTo>
                  <a:lnTo>
                    <a:pt x="519" y="716"/>
                  </a:lnTo>
                  <a:lnTo>
                    <a:pt x="524" y="713"/>
                  </a:lnTo>
                  <a:lnTo>
                    <a:pt x="528" y="710"/>
                  </a:lnTo>
                  <a:lnTo>
                    <a:pt x="532" y="705"/>
                  </a:lnTo>
                  <a:lnTo>
                    <a:pt x="537" y="701"/>
                  </a:lnTo>
                  <a:lnTo>
                    <a:pt x="541" y="697"/>
                  </a:lnTo>
                  <a:lnTo>
                    <a:pt x="547" y="686"/>
                  </a:lnTo>
                  <a:lnTo>
                    <a:pt x="552" y="674"/>
                  </a:lnTo>
                  <a:lnTo>
                    <a:pt x="555" y="661"/>
                  </a:lnTo>
                  <a:lnTo>
                    <a:pt x="556" y="647"/>
                  </a:lnTo>
                  <a:lnTo>
                    <a:pt x="555" y="635"/>
                  </a:lnTo>
                  <a:lnTo>
                    <a:pt x="553" y="623"/>
                  </a:lnTo>
                  <a:lnTo>
                    <a:pt x="549" y="612"/>
                  </a:lnTo>
                  <a:lnTo>
                    <a:pt x="543" y="602"/>
                  </a:lnTo>
                  <a:lnTo>
                    <a:pt x="646" y="602"/>
                  </a:lnTo>
                  <a:lnTo>
                    <a:pt x="653" y="601"/>
                  </a:lnTo>
                  <a:lnTo>
                    <a:pt x="661" y="600"/>
                  </a:lnTo>
                  <a:lnTo>
                    <a:pt x="668" y="598"/>
                  </a:lnTo>
                  <a:lnTo>
                    <a:pt x="675" y="596"/>
                  </a:lnTo>
                  <a:lnTo>
                    <a:pt x="681" y="593"/>
                  </a:lnTo>
                  <a:lnTo>
                    <a:pt x="688" y="589"/>
                  </a:lnTo>
                  <a:lnTo>
                    <a:pt x="693" y="584"/>
                  </a:lnTo>
                  <a:lnTo>
                    <a:pt x="698" y="580"/>
                  </a:lnTo>
                  <a:lnTo>
                    <a:pt x="704" y="575"/>
                  </a:lnTo>
                  <a:lnTo>
                    <a:pt x="708" y="568"/>
                  </a:lnTo>
                  <a:lnTo>
                    <a:pt x="712" y="562"/>
                  </a:lnTo>
                  <a:lnTo>
                    <a:pt x="716" y="555"/>
                  </a:lnTo>
                  <a:lnTo>
                    <a:pt x="718" y="549"/>
                  </a:lnTo>
                  <a:lnTo>
                    <a:pt x="720" y="541"/>
                  </a:lnTo>
                  <a:lnTo>
                    <a:pt x="721" y="534"/>
                  </a:lnTo>
                  <a:lnTo>
                    <a:pt x="721" y="527"/>
                  </a:lnTo>
                  <a:lnTo>
                    <a:pt x="721" y="521"/>
                  </a:lnTo>
                  <a:lnTo>
                    <a:pt x="720" y="515"/>
                  </a:lnTo>
                  <a:lnTo>
                    <a:pt x="719" y="508"/>
                  </a:lnTo>
                  <a:lnTo>
                    <a:pt x="717" y="503"/>
                  </a:lnTo>
                  <a:lnTo>
                    <a:pt x="711" y="492"/>
                  </a:lnTo>
                  <a:lnTo>
                    <a:pt x="705" y="481"/>
                  </a:lnTo>
                  <a:lnTo>
                    <a:pt x="827" y="481"/>
                  </a:lnTo>
                  <a:lnTo>
                    <a:pt x="835" y="481"/>
                  </a:lnTo>
                  <a:lnTo>
                    <a:pt x="841" y="480"/>
                  </a:lnTo>
                  <a:lnTo>
                    <a:pt x="848" y="478"/>
                  </a:lnTo>
                  <a:lnTo>
                    <a:pt x="855" y="476"/>
                  </a:lnTo>
                  <a:lnTo>
                    <a:pt x="861" y="473"/>
                  </a:lnTo>
                  <a:lnTo>
                    <a:pt x="868" y="469"/>
                  </a:lnTo>
                  <a:lnTo>
                    <a:pt x="874" y="464"/>
                  </a:lnTo>
                  <a:lnTo>
                    <a:pt x="880" y="459"/>
                  </a:lnTo>
                  <a:lnTo>
                    <a:pt x="884" y="454"/>
                  </a:lnTo>
                  <a:lnTo>
                    <a:pt x="888" y="448"/>
                  </a:lnTo>
                  <a:lnTo>
                    <a:pt x="892" y="442"/>
                  </a:lnTo>
                  <a:lnTo>
                    <a:pt x="896" y="435"/>
                  </a:lnTo>
                  <a:lnTo>
                    <a:pt x="898" y="429"/>
                  </a:lnTo>
                  <a:lnTo>
                    <a:pt x="900" y="421"/>
                  </a:lnTo>
                  <a:lnTo>
                    <a:pt x="901" y="414"/>
                  </a:lnTo>
                  <a:lnTo>
                    <a:pt x="902" y="406"/>
                  </a:lnTo>
                  <a:lnTo>
                    <a:pt x="902" y="75"/>
                  </a:lnTo>
                  <a:lnTo>
                    <a:pt x="901" y="69"/>
                  </a:lnTo>
                  <a:lnTo>
                    <a:pt x="900" y="62"/>
                  </a:lnTo>
                  <a:lnTo>
                    <a:pt x="898" y="54"/>
                  </a:lnTo>
                  <a:lnTo>
                    <a:pt x="896" y="48"/>
                  </a:lnTo>
                  <a:lnTo>
                    <a:pt x="892" y="41"/>
                  </a:lnTo>
                  <a:lnTo>
                    <a:pt x="888" y="35"/>
                  </a:lnTo>
                  <a:lnTo>
                    <a:pt x="884" y="29"/>
                  </a:lnTo>
                  <a:lnTo>
                    <a:pt x="878" y="24"/>
                  </a:lnTo>
                  <a:lnTo>
                    <a:pt x="873" y="19"/>
                  </a:lnTo>
                  <a:lnTo>
                    <a:pt x="868" y="14"/>
                  </a:lnTo>
                  <a:lnTo>
                    <a:pt x="861" y="10"/>
                  </a:lnTo>
                  <a:lnTo>
                    <a:pt x="855" y="7"/>
                  </a:lnTo>
                  <a:lnTo>
                    <a:pt x="848" y="5"/>
                  </a:lnTo>
                  <a:lnTo>
                    <a:pt x="841" y="3"/>
                  </a:lnTo>
                  <a:lnTo>
                    <a:pt x="833" y="2"/>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143">
              <a:extLst>
                <a:ext uri="{FF2B5EF4-FFF2-40B4-BE49-F238E27FC236}">
                  <a16:creationId xmlns:a16="http://schemas.microsoft.com/office/drawing/2014/main" id="{8F045AC0-0B65-423B-A9F8-C9EA19F28076}"/>
                </a:ext>
              </a:extLst>
            </p:cNvPr>
            <p:cNvSpPr>
              <a:spLocks/>
            </p:cNvSpPr>
            <p:nvPr/>
          </p:nvSpPr>
          <p:spPr bwMode="auto">
            <a:xfrm>
              <a:off x="8374063" y="2060575"/>
              <a:ext cx="47625" cy="9525"/>
            </a:xfrm>
            <a:custGeom>
              <a:avLst/>
              <a:gdLst>
                <a:gd name="T0" fmla="*/ 136 w 151"/>
                <a:gd name="T1" fmla="*/ 0 h 30"/>
                <a:gd name="T2" fmla="*/ 15 w 151"/>
                <a:gd name="T3" fmla="*/ 0 h 30"/>
                <a:gd name="T4" fmla="*/ 12 w 151"/>
                <a:gd name="T5" fmla="*/ 0 h 30"/>
                <a:gd name="T6" fmla="*/ 10 w 151"/>
                <a:gd name="T7" fmla="*/ 2 h 30"/>
                <a:gd name="T8" fmla="*/ 6 w 151"/>
                <a:gd name="T9" fmla="*/ 3 h 30"/>
                <a:gd name="T10" fmla="*/ 4 w 151"/>
                <a:gd name="T11" fmla="*/ 5 h 30"/>
                <a:gd name="T12" fmla="*/ 3 w 151"/>
                <a:gd name="T13" fmla="*/ 7 h 30"/>
                <a:gd name="T14" fmla="*/ 1 w 151"/>
                <a:gd name="T15" fmla="*/ 9 h 30"/>
                <a:gd name="T16" fmla="*/ 0 w 151"/>
                <a:gd name="T17" fmla="*/ 12 h 30"/>
                <a:gd name="T18" fmla="*/ 0 w 151"/>
                <a:gd name="T19" fmla="*/ 15 h 30"/>
                <a:gd name="T20" fmla="*/ 0 w 151"/>
                <a:gd name="T21" fmla="*/ 19 h 30"/>
                <a:gd name="T22" fmla="*/ 1 w 151"/>
                <a:gd name="T23" fmla="*/ 21 h 30"/>
                <a:gd name="T24" fmla="*/ 3 w 151"/>
                <a:gd name="T25" fmla="*/ 24 h 30"/>
                <a:gd name="T26" fmla="*/ 4 w 151"/>
                <a:gd name="T27" fmla="*/ 26 h 30"/>
                <a:gd name="T28" fmla="*/ 6 w 151"/>
                <a:gd name="T29" fmla="*/ 27 h 30"/>
                <a:gd name="T30" fmla="*/ 10 w 151"/>
                <a:gd name="T31" fmla="*/ 29 h 30"/>
                <a:gd name="T32" fmla="*/ 12 w 151"/>
                <a:gd name="T33" fmla="*/ 30 h 30"/>
                <a:gd name="T34" fmla="*/ 15 w 151"/>
                <a:gd name="T35" fmla="*/ 30 h 30"/>
                <a:gd name="T36" fmla="*/ 136 w 151"/>
                <a:gd name="T37" fmla="*/ 30 h 30"/>
                <a:gd name="T38" fmla="*/ 138 w 151"/>
                <a:gd name="T39" fmla="*/ 30 h 30"/>
                <a:gd name="T40" fmla="*/ 141 w 151"/>
                <a:gd name="T41" fmla="*/ 29 h 30"/>
                <a:gd name="T42" fmla="*/ 144 w 151"/>
                <a:gd name="T43" fmla="*/ 27 h 30"/>
                <a:gd name="T44" fmla="*/ 146 w 151"/>
                <a:gd name="T45" fmla="*/ 26 h 30"/>
                <a:gd name="T46" fmla="*/ 148 w 151"/>
                <a:gd name="T47" fmla="*/ 24 h 30"/>
                <a:gd name="T48" fmla="*/ 149 w 151"/>
                <a:gd name="T49" fmla="*/ 21 h 30"/>
                <a:gd name="T50" fmla="*/ 150 w 151"/>
                <a:gd name="T51" fmla="*/ 19 h 30"/>
                <a:gd name="T52" fmla="*/ 151 w 151"/>
                <a:gd name="T53" fmla="*/ 15 h 30"/>
                <a:gd name="T54" fmla="*/ 150 w 151"/>
                <a:gd name="T55" fmla="*/ 12 h 30"/>
                <a:gd name="T56" fmla="*/ 149 w 151"/>
                <a:gd name="T57" fmla="*/ 9 h 30"/>
                <a:gd name="T58" fmla="*/ 148 w 151"/>
                <a:gd name="T59" fmla="*/ 7 h 30"/>
                <a:gd name="T60" fmla="*/ 146 w 151"/>
                <a:gd name="T61" fmla="*/ 5 h 30"/>
                <a:gd name="T62" fmla="*/ 144 w 151"/>
                <a:gd name="T63" fmla="*/ 3 h 30"/>
                <a:gd name="T64" fmla="*/ 141 w 151"/>
                <a:gd name="T65" fmla="*/ 2 h 30"/>
                <a:gd name="T66" fmla="*/ 138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0"/>
                  </a:lnTo>
                  <a:lnTo>
                    <a:pt x="10" y="2"/>
                  </a:lnTo>
                  <a:lnTo>
                    <a:pt x="6" y="3"/>
                  </a:lnTo>
                  <a:lnTo>
                    <a:pt x="4" y="5"/>
                  </a:lnTo>
                  <a:lnTo>
                    <a:pt x="3" y="7"/>
                  </a:lnTo>
                  <a:lnTo>
                    <a:pt x="1" y="9"/>
                  </a:lnTo>
                  <a:lnTo>
                    <a:pt x="0" y="12"/>
                  </a:lnTo>
                  <a:lnTo>
                    <a:pt x="0" y="15"/>
                  </a:lnTo>
                  <a:lnTo>
                    <a:pt x="0" y="19"/>
                  </a:lnTo>
                  <a:lnTo>
                    <a:pt x="1" y="21"/>
                  </a:lnTo>
                  <a:lnTo>
                    <a:pt x="3" y="24"/>
                  </a:lnTo>
                  <a:lnTo>
                    <a:pt x="4" y="26"/>
                  </a:lnTo>
                  <a:lnTo>
                    <a:pt x="6" y="27"/>
                  </a:lnTo>
                  <a:lnTo>
                    <a:pt x="10" y="29"/>
                  </a:lnTo>
                  <a:lnTo>
                    <a:pt x="12" y="30"/>
                  </a:lnTo>
                  <a:lnTo>
                    <a:pt x="15" y="30"/>
                  </a:lnTo>
                  <a:lnTo>
                    <a:pt x="136" y="30"/>
                  </a:lnTo>
                  <a:lnTo>
                    <a:pt x="138" y="30"/>
                  </a:lnTo>
                  <a:lnTo>
                    <a:pt x="141" y="29"/>
                  </a:lnTo>
                  <a:lnTo>
                    <a:pt x="144" y="27"/>
                  </a:lnTo>
                  <a:lnTo>
                    <a:pt x="146" y="26"/>
                  </a:lnTo>
                  <a:lnTo>
                    <a:pt x="148" y="24"/>
                  </a:lnTo>
                  <a:lnTo>
                    <a:pt x="149" y="21"/>
                  </a:lnTo>
                  <a:lnTo>
                    <a:pt x="150" y="19"/>
                  </a:lnTo>
                  <a:lnTo>
                    <a:pt x="151" y="15"/>
                  </a:lnTo>
                  <a:lnTo>
                    <a:pt x="150" y="12"/>
                  </a:lnTo>
                  <a:lnTo>
                    <a:pt x="149" y="9"/>
                  </a:lnTo>
                  <a:lnTo>
                    <a:pt x="148" y="7"/>
                  </a:lnTo>
                  <a:lnTo>
                    <a:pt x="146" y="5"/>
                  </a:lnTo>
                  <a:lnTo>
                    <a:pt x="144" y="3"/>
                  </a:lnTo>
                  <a:lnTo>
                    <a:pt x="141" y="2"/>
                  </a:lnTo>
                  <a:lnTo>
                    <a:pt x="138"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8" name="Group 76">
            <a:extLst>
              <a:ext uri="{FF2B5EF4-FFF2-40B4-BE49-F238E27FC236}">
                <a16:creationId xmlns:a16="http://schemas.microsoft.com/office/drawing/2014/main" id="{5B53F866-7121-4B33-88A0-85FF058D43AE}"/>
              </a:ext>
            </a:extLst>
          </p:cNvPr>
          <p:cNvGrpSpPr>
            <a:grpSpLocks noChangeAspect="1"/>
          </p:cNvGrpSpPr>
          <p:nvPr/>
        </p:nvGrpSpPr>
        <p:grpSpPr>
          <a:xfrm>
            <a:off x="4907779" y="2233311"/>
            <a:ext cx="285619" cy="285619"/>
            <a:chOff x="884238" y="781050"/>
            <a:chExt cx="285750" cy="285750"/>
          </a:xfrm>
          <a:solidFill>
            <a:schemeClr val="bg2"/>
          </a:solidFill>
          <a:effectLst/>
        </p:grpSpPr>
        <p:sp>
          <p:nvSpPr>
            <p:cNvPr id="1539" name="Freeform 9">
              <a:extLst>
                <a:ext uri="{FF2B5EF4-FFF2-40B4-BE49-F238E27FC236}">
                  <a16:creationId xmlns:a16="http://schemas.microsoft.com/office/drawing/2014/main" id="{50FAA75E-C1AE-4FEF-8085-B12F9A94BC07}"/>
                </a:ext>
              </a:extLst>
            </p:cNvPr>
            <p:cNvSpPr>
              <a:spLocks noEditPoints="1"/>
            </p:cNvSpPr>
            <p:nvPr/>
          </p:nvSpPr>
          <p:spPr bwMode="auto">
            <a:xfrm>
              <a:off x="884238" y="809625"/>
              <a:ext cx="261938" cy="257175"/>
            </a:xfrm>
            <a:custGeom>
              <a:avLst/>
              <a:gdLst>
                <a:gd name="T0" fmla="*/ 545 w 826"/>
                <a:gd name="T1" fmla="*/ 776 h 812"/>
                <a:gd name="T2" fmla="*/ 30 w 826"/>
                <a:gd name="T3" fmla="*/ 264 h 812"/>
                <a:gd name="T4" fmla="*/ 30 w 826"/>
                <a:gd name="T5" fmla="*/ 30 h 812"/>
                <a:gd name="T6" fmla="*/ 279 w 826"/>
                <a:gd name="T7" fmla="*/ 30 h 812"/>
                <a:gd name="T8" fmla="*/ 790 w 826"/>
                <a:gd name="T9" fmla="*/ 532 h 812"/>
                <a:gd name="T10" fmla="*/ 545 w 826"/>
                <a:gd name="T11" fmla="*/ 776 h 812"/>
                <a:gd name="T12" fmla="*/ 296 w 826"/>
                <a:gd name="T13" fmla="*/ 5 h 812"/>
                <a:gd name="T14" fmla="*/ 294 w 826"/>
                <a:gd name="T15" fmla="*/ 2 h 812"/>
                <a:gd name="T16" fmla="*/ 291 w 826"/>
                <a:gd name="T17" fmla="*/ 1 h 812"/>
                <a:gd name="T18" fmla="*/ 289 w 826"/>
                <a:gd name="T19" fmla="*/ 0 h 812"/>
                <a:gd name="T20" fmla="*/ 286 w 826"/>
                <a:gd name="T21" fmla="*/ 0 h 812"/>
                <a:gd name="T22" fmla="*/ 15 w 826"/>
                <a:gd name="T23" fmla="*/ 0 h 812"/>
                <a:gd name="T24" fmla="*/ 12 w 826"/>
                <a:gd name="T25" fmla="*/ 0 h 812"/>
                <a:gd name="T26" fmla="*/ 9 w 826"/>
                <a:gd name="T27" fmla="*/ 1 h 812"/>
                <a:gd name="T28" fmla="*/ 7 w 826"/>
                <a:gd name="T29" fmla="*/ 2 h 812"/>
                <a:gd name="T30" fmla="*/ 5 w 826"/>
                <a:gd name="T31" fmla="*/ 5 h 812"/>
                <a:gd name="T32" fmla="*/ 2 w 826"/>
                <a:gd name="T33" fmla="*/ 7 h 812"/>
                <a:gd name="T34" fmla="*/ 1 w 826"/>
                <a:gd name="T35" fmla="*/ 10 h 812"/>
                <a:gd name="T36" fmla="*/ 0 w 826"/>
                <a:gd name="T37" fmla="*/ 12 h 812"/>
                <a:gd name="T38" fmla="*/ 0 w 826"/>
                <a:gd name="T39" fmla="*/ 15 h 812"/>
                <a:gd name="T40" fmla="*/ 0 w 826"/>
                <a:gd name="T41" fmla="*/ 271 h 812"/>
                <a:gd name="T42" fmla="*/ 0 w 826"/>
                <a:gd name="T43" fmla="*/ 274 h 812"/>
                <a:gd name="T44" fmla="*/ 1 w 826"/>
                <a:gd name="T45" fmla="*/ 277 h 812"/>
                <a:gd name="T46" fmla="*/ 2 w 826"/>
                <a:gd name="T47" fmla="*/ 279 h 812"/>
                <a:gd name="T48" fmla="*/ 5 w 826"/>
                <a:gd name="T49" fmla="*/ 281 h 812"/>
                <a:gd name="T50" fmla="*/ 535 w 826"/>
                <a:gd name="T51" fmla="*/ 808 h 812"/>
                <a:gd name="T52" fmla="*/ 538 w 826"/>
                <a:gd name="T53" fmla="*/ 810 h 812"/>
                <a:gd name="T54" fmla="*/ 540 w 826"/>
                <a:gd name="T55" fmla="*/ 811 h 812"/>
                <a:gd name="T56" fmla="*/ 543 w 826"/>
                <a:gd name="T57" fmla="*/ 812 h 812"/>
                <a:gd name="T58" fmla="*/ 546 w 826"/>
                <a:gd name="T59" fmla="*/ 812 h 812"/>
                <a:gd name="T60" fmla="*/ 548 w 826"/>
                <a:gd name="T61" fmla="*/ 812 h 812"/>
                <a:gd name="T62" fmla="*/ 552 w 826"/>
                <a:gd name="T63" fmla="*/ 811 h 812"/>
                <a:gd name="T64" fmla="*/ 554 w 826"/>
                <a:gd name="T65" fmla="*/ 810 h 812"/>
                <a:gd name="T66" fmla="*/ 556 w 826"/>
                <a:gd name="T67" fmla="*/ 808 h 812"/>
                <a:gd name="T68" fmla="*/ 822 w 826"/>
                <a:gd name="T69" fmla="*/ 542 h 812"/>
                <a:gd name="T70" fmla="*/ 824 w 826"/>
                <a:gd name="T71" fmla="*/ 540 h 812"/>
                <a:gd name="T72" fmla="*/ 825 w 826"/>
                <a:gd name="T73" fmla="*/ 537 h 812"/>
                <a:gd name="T74" fmla="*/ 826 w 826"/>
                <a:gd name="T75" fmla="*/ 534 h 812"/>
                <a:gd name="T76" fmla="*/ 826 w 826"/>
                <a:gd name="T77" fmla="*/ 531 h 812"/>
                <a:gd name="T78" fmla="*/ 826 w 826"/>
                <a:gd name="T79" fmla="*/ 529 h 812"/>
                <a:gd name="T80" fmla="*/ 825 w 826"/>
                <a:gd name="T81" fmla="*/ 526 h 812"/>
                <a:gd name="T82" fmla="*/ 824 w 826"/>
                <a:gd name="T83" fmla="*/ 524 h 812"/>
                <a:gd name="T84" fmla="*/ 822 w 826"/>
                <a:gd name="T85" fmla="*/ 520 h 812"/>
                <a:gd name="T86" fmla="*/ 296 w 826"/>
                <a:gd name="T87" fmla="*/ 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6" h="812">
                  <a:moveTo>
                    <a:pt x="545" y="776"/>
                  </a:moveTo>
                  <a:lnTo>
                    <a:pt x="30" y="264"/>
                  </a:lnTo>
                  <a:lnTo>
                    <a:pt x="30" y="30"/>
                  </a:lnTo>
                  <a:lnTo>
                    <a:pt x="279" y="30"/>
                  </a:lnTo>
                  <a:lnTo>
                    <a:pt x="790" y="532"/>
                  </a:lnTo>
                  <a:lnTo>
                    <a:pt x="545" y="776"/>
                  </a:lnTo>
                  <a:close/>
                  <a:moveTo>
                    <a:pt x="296" y="5"/>
                  </a:moveTo>
                  <a:lnTo>
                    <a:pt x="294" y="2"/>
                  </a:lnTo>
                  <a:lnTo>
                    <a:pt x="291" y="1"/>
                  </a:lnTo>
                  <a:lnTo>
                    <a:pt x="289" y="0"/>
                  </a:lnTo>
                  <a:lnTo>
                    <a:pt x="286" y="0"/>
                  </a:lnTo>
                  <a:lnTo>
                    <a:pt x="15" y="0"/>
                  </a:lnTo>
                  <a:lnTo>
                    <a:pt x="12" y="0"/>
                  </a:lnTo>
                  <a:lnTo>
                    <a:pt x="9" y="1"/>
                  </a:lnTo>
                  <a:lnTo>
                    <a:pt x="7" y="2"/>
                  </a:lnTo>
                  <a:lnTo>
                    <a:pt x="5" y="5"/>
                  </a:lnTo>
                  <a:lnTo>
                    <a:pt x="2" y="7"/>
                  </a:lnTo>
                  <a:lnTo>
                    <a:pt x="1" y="10"/>
                  </a:lnTo>
                  <a:lnTo>
                    <a:pt x="0" y="12"/>
                  </a:lnTo>
                  <a:lnTo>
                    <a:pt x="0" y="15"/>
                  </a:lnTo>
                  <a:lnTo>
                    <a:pt x="0" y="271"/>
                  </a:lnTo>
                  <a:lnTo>
                    <a:pt x="0" y="274"/>
                  </a:lnTo>
                  <a:lnTo>
                    <a:pt x="1" y="277"/>
                  </a:lnTo>
                  <a:lnTo>
                    <a:pt x="2" y="279"/>
                  </a:lnTo>
                  <a:lnTo>
                    <a:pt x="5" y="281"/>
                  </a:lnTo>
                  <a:lnTo>
                    <a:pt x="535" y="808"/>
                  </a:lnTo>
                  <a:lnTo>
                    <a:pt x="538" y="810"/>
                  </a:lnTo>
                  <a:lnTo>
                    <a:pt x="540" y="811"/>
                  </a:lnTo>
                  <a:lnTo>
                    <a:pt x="543" y="812"/>
                  </a:lnTo>
                  <a:lnTo>
                    <a:pt x="546" y="812"/>
                  </a:lnTo>
                  <a:lnTo>
                    <a:pt x="548" y="812"/>
                  </a:lnTo>
                  <a:lnTo>
                    <a:pt x="552" y="811"/>
                  </a:lnTo>
                  <a:lnTo>
                    <a:pt x="554" y="810"/>
                  </a:lnTo>
                  <a:lnTo>
                    <a:pt x="556" y="808"/>
                  </a:lnTo>
                  <a:lnTo>
                    <a:pt x="822" y="542"/>
                  </a:lnTo>
                  <a:lnTo>
                    <a:pt x="824" y="540"/>
                  </a:lnTo>
                  <a:lnTo>
                    <a:pt x="825" y="537"/>
                  </a:lnTo>
                  <a:lnTo>
                    <a:pt x="826" y="534"/>
                  </a:lnTo>
                  <a:lnTo>
                    <a:pt x="826" y="531"/>
                  </a:lnTo>
                  <a:lnTo>
                    <a:pt x="826" y="529"/>
                  </a:lnTo>
                  <a:lnTo>
                    <a:pt x="825" y="526"/>
                  </a:lnTo>
                  <a:lnTo>
                    <a:pt x="824" y="524"/>
                  </a:lnTo>
                  <a:lnTo>
                    <a:pt x="822" y="520"/>
                  </a:lnTo>
                  <a:lnTo>
                    <a:pt x="29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10">
              <a:extLst>
                <a:ext uri="{FF2B5EF4-FFF2-40B4-BE49-F238E27FC236}">
                  <a16:creationId xmlns:a16="http://schemas.microsoft.com/office/drawing/2014/main" id="{57980602-3853-40BB-AAA9-A6BAC154A76F}"/>
                </a:ext>
              </a:extLst>
            </p:cNvPr>
            <p:cNvSpPr>
              <a:spLocks/>
            </p:cNvSpPr>
            <p:nvPr/>
          </p:nvSpPr>
          <p:spPr bwMode="auto">
            <a:xfrm>
              <a:off x="922338" y="781050"/>
              <a:ext cx="247650" cy="180975"/>
            </a:xfrm>
            <a:custGeom>
              <a:avLst/>
              <a:gdLst>
                <a:gd name="T0" fmla="*/ 778 w 782"/>
                <a:gd name="T1" fmla="*/ 500 h 572"/>
                <a:gd name="T2" fmla="*/ 281 w 782"/>
                <a:gd name="T3" fmla="*/ 5 h 572"/>
                <a:gd name="T4" fmla="*/ 279 w 782"/>
                <a:gd name="T5" fmla="*/ 2 h 572"/>
                <a:gd name="T6" fmla="*/ 276 w 782"/>
                <a:gd name="T7" fmla="*/ 1 h 572"/>
                <a:gd name="T8" fmla="*/ 274 w 782"/>
                <a:gd name="T9" fmla="*/ 0 h 572"/>
                <a:gd name="T10" fmla="*/ 271 w 782"/>
                <a:gd name="T11" fmla="*/ 0 h 572"/>
                <a:gd name="T12" fmla="*/ 15 w 782"/>
                <a:gd name="T13" fmla="*/ 0 h 572"/>
                <a:gd name="T14" fmla="*/ 12 w 782"/>
                <a:gd name="T15" fmla="*/ 0 h 572"/>
                <a:gd name="T16" fmla="*/ 9 w 782"/>
                <a:gd name="T17" fmla="*/ 1 h 572"/>
                <a:gd name="T18" fmla="*/ 7 w 782"/>
                <a:gd name="T19" fmla="*/ 2 h 572"/>
                <a:gd name="T20" fmla="*/ 5 w 782"/>
                <a:gd name="T21" fmla="*/ 5 h 572"/>
                <a:gd name="T22" fmla="*/ 3 w 782"/>
                <a:gd name="T23" fmla="*/ 7 h 572"/>
                <a:gd name="T24" fmla="*/ 1 w 782"/>
                <a:gd name="T25" fmla="*/ 9 h 572"/>
                <a:gd name="T26" fmla="*/ 0 w 782"/>
                <a:gd name="T27" fmla="*/ 12 h 572"/>
                <a:gd name="T28" fmla="*/ 0 w 782"/>
                <a:gd name="T29" fmla="*/ 15 h 572"/>
                <a:gd name="T30" fmla="*/ 0 w 782"/>
                <a:gd name="T31" fmla="*/ 18 h 572"/>
                <a:gd name="T32" fmla="*/ 1 w 782"/>
                <a:gd name="T33" fmla="*/ 21 h 572"/>
                <a:gd name="T34" fmla="*/ 3 w 782"/>
                <a:gd name="T35" fmla="*/ 24 h 572"/>
                <a:gd name="T36" fmla="*/ 5 w 782"/>
                <a:gd name="T37" fmla="*/ 26 h 572"/>
                <a:gd name="T38" fmla="*/ 7 w 782"/>
                <a:gd name="T39" fmla="*/ 27 h 572"/>
                <a:gd name="T40" fmla="*/ 9 w 782"/>
                <a:gd name="T41" fmla="*/ 29 h 572"/>
                <a:gd name="T42" fmla="*/ 12 w 782"/>
                <a:gd name="T43" fmla="*/ 30 h 572"/>
                <a:gd name="T44" fmla="*/ 15 w 782"/>
                <a:gd name="T45" fmla="*/ 30 h 572"/>
                <a:gd name="T46" fmla="*/ 264 w 782"/>
                <a:gd name="T47" fmla="*/ 30 h 572"/>
                <a:gd name="T48" fmla="*/ 746 w 782"/>
                <a:gd name="T49" fmla="*/ 511 h 572"/>
                <a:gd name="T50" fmla="*/ 711 w 782"/>
                <a:gd name="T51" fmla="*/ 546 h 572"/>
                <a:gd name="T52" fmla="*/ 709 w 782"/>
                <a:gd name="T53" fmla="*/ 548 h 572"/>
                <a:gd name="T54" fmla="*/ 708 w 782"/>
                <a:gd name="T55" fmla="*/ 550 h 572"/>
                <a:gd name="T56" fmla="*/ 707 w 782"/>
                <a:gd name="T57" fmla="*/ 554 h 572"/>
                <a:gd name="T58" fmla="*/ 707 w 782"/>
                <a:gd name="T59" fmla="*/ 556 h 572"/>
                <a:gd name="T60" fmla="*/ 707 w 782"/>
                <a:gd name="T61" fmla="*/ 559 h 572"/>
                <a:gd name="T62" fmla="*/ 708 w 782"/>
                <a:gd name="T63" fmla="*/ 562 h 572"/>
                <a:gd name="T64" fmla="*/ 709 w 782"/>
                <a:gd name="T65" fmla="*/ 564 h 572"/>
                <a:gd name="T66" fmla="*/ 711 w 782"/>
                <a:gd name="T67" fmla="*/ 567 h 572"/>
                <a:gd name="T68" fmla="*/ 714 w 782"/>
                <a:gd name="T69" fmla="*/ 569 h 572"/>
                <a:gd name="T70" fmla="*/ 716 w 782"/>
                <a:gd name="T71" fmla="*/ 571 h 572"/>
                <a:gd name="T72" fmla="*/ 719 w 782"/>
                <a:gd name="T73" fmla="*/ 571 h 572"/>
                <a:gd name="T74" fmla="*/ 722 w 782"/>
                <a:gd name="T75" fmla="*/ 572 h 572"/>
                <a:gd name="T76" fmla="*/ 724 w 782"/>
                <a:gd name="T77" fmla="*/ 571 h 572"/>
                <a:gd name="T78" fmla="*/ 728 w 782"/>
                <a:gd name="T79" fmla="*/ 571 h 572"/>
                <a:gd name="T80" fmla="*/ 730 w 782"/>
                <a:gd name="T81" fmla="*/ 569 h 572"/>
                <a:gd name="T82" fmla="*/ 733 w 782"/>
                <a:gd name="T83" fmla="*/ 567 h 572"/>
                <a:gd name="T84" fmla="*/ 778 w 782"/>
                <a:gd name="T85" fmla="*/ 521 h 572"/>
                <a:gd name="T86" fmla="*/ 779 w 782"/>
                <a:gd name="T87" fmla="*/ 519 h 572"/>
                <a:gd name="T88" fmla="*/ 781 w 782"/>
                <a:gd name="T89" fmla="*/ 517 h 572"/>
                <a:gd name="T90" fmla="*/ 781 w 782"/>
                <a:gd name="T91" fmla="*/ 514 h 572"/>
                <a:gd name="T92" fmla="*/ 782 w 782"/>
                <a:gd name="T93" fmla="*/ 511 h 572"/>
                <a:gd name="T94" fmla="*/ 781 w 782"/>
                <a:gd name="T95" fmla="*/ 508 h 572"/>
                <a:gd name="T96" fmla="*/ 781 w 782"/>
                <a:gd name="T97" fmla="*/ 505 h 572"/>
                <a:gd name="T98" fmla="*/ 779 w 782"/>
                <a:gd name="T99" fmla="*/ 503 h 572"/>
                <a:gd name="T100" fmla="*/ 778 w 782"/>
                <a:gd name="T101" fmla="*/ 50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2" h="572">
                  <a:moveTo>
                    <a:pt x="778" y="500"/>
                  </a:moveTo>
                  <a:lnTo>
                    <a:pt x="281" y="5"/>
                  </a:lnTo>
                  <a:lnTo>
                    <a:pt x="279" y="2"/>
                  </a:lnTo>
                  <a:lnTo>
                    <a:pt x="276" y="1"/>
                  </a:lnTo>
                  <a:lnTo>
                    <a:pt x="274" y="0"/>
                  </a:lnTo>
                  <a:lnTo>
                    <a:pt x="271" y="0"/>
                  </a:lnTo>
                  <a:lnTo>
                    <a:pt x="15" y="0"/>
                  </a:lnTo>
                  <a:lnTo>
                    <a:pt x="12" y="0"/>
                  </a:lnTo>
                  <a:lnTo>
                    <a:pt x="9" y="1"/>
                  </a:lnTo>
                  <a:lnTo>
                    <a:pt x="7" y="2"/>
                  </a:lnTo>
                  <a:lnTo>
                    <a:pt x="5" y="5"/>
                  </a:lnTo>
                  <a:lnTo>
                    <a:pt x="3" y="7"/>
                  </a:lnTo>
                  <a:lnTo>
                    <a:pt x="1" y="9"/>
                  </a:lnTo>
                  <a:lnTo>
                    <a:pt x="0" y="12"/>
                  </a:lnTo>
                  <a:lnTo>
                    <a:pt x="0" y="15"/>
                  </a:lnTo>
                  <a:lnTo>
                    <a:pt x="0" y="18"/>
                  </a:lnTo>
                  <a:lnTo>
                    <a:pt x="1" y="21"/>
                  </a:lnTo>
                  <a:lnTo>
                    <a:pt x="3" y="24"/>
                  </a:lnTo>
                  <a:lnTo>
                    <a:pt x="5" y="26"/>
                  </a:lnTo>
                  <a:lnTo>
                    <a:pt x="7" y="27"/>
                  </a:lnTo>
                  <a:lnTo>
                    <a:pt x="9" y="29"/>
                  </a:lnTo>
                  <a:lnTo>
                    <a:pt x="12" y="30"/>
                  </a:lnTo>
                  <a:lnTo>
                    <a:pt x="15" y="30"/>
                  </a:lnTo>
                  <a:lnTo>
                    <a:pt x="264" y="30"/>
                  </a:lnTo>
                  <a:lnTo>
                    <a:pt x="746" y="511"/>
                  </a:lnTo>
                  <a:lnTo>
                    <a:pt x="711" y="546"/>
                  </a:lnTo>
                  <a:lnTo>
                    <a:pt x="709" y="548"/>
                  </a:lnTo>
                  <a:lnTo>
                    <a:pt x="708" y="550"/>
                  </a:lnTo>
                  <a:lnTo>
                    <a:pt x="707" y="554"/>
                  </a:lnTo>
                  <a:lnTo>
                    <a:pt x="707" y="556"/>
                  </a:lnTo>
                  <a:lnTo>
                    <a:pt x="707" y="559"/>
                  </a:lnTo>
                  <a:lnTo>
                    <a:pt x="708" y="562"/>
                  </a:lnTo>
                  <a:lnTo>
                    <a:pt x="709" y="564"/>
                  </a:lnTo>
                  <a:lnTo>
                    <a:pt x="711" y="567"/>
                  </a:lnTo>
                  <a:lnTo>
                    <a:pt x="714" y="569"/>
                  </a:lnTo>
                  <a:lnTo>
                    <a:pt x="716" y="571"/>
                  </a:lnTo>
                  <a:lnTo>
                    <a:pt x="719" y="571"/>
                  </a:lnTo>
                  <a:lnTo>
                    <a:pt x="722" y="572"/>
                  </a:lnTo>
                  <a:lnTo>
                    <a:pt x="724" y="571"/>
                  </a:lnTo>
                  <a:lnTo>
                    <a:pt x="728" y="571"/>
                  </a:lnTo>
                  <a:lnTo>
                    <a:pt x="730" y="569"/>
                  </a:lnTo>
                  <a:lnTo>
                    <a:pt x="733" y="567"/>
                  </a:lnTo>
                  <a:lnTo>
                    <a:pt x="778" y="521"/>
                  </a:lnTo>
                  <a:lnTo>
                    <a:pt x="779" y="519"/>
                  </a:lnTo>
                  <a:lnTo>
                    <a:pt x="781" y="517"/>
                  </a:lnTo>
                  <a:lnTo>
                    <a:pt x="781" y="514"/>
                  </a:lnTo>
                  <a:lnTo>
                    <a:pt x="782" y="511"/>
                  </a:lnTo>
                  <a:lnTo>
                    <a:pt x="781" y="508"/>
                  </a:lnTo>
                  <a:lnTo>
                    <a:pt x="781" y="505"/>
                  </a:lnTo>
                  <a:lnTo>
                    <a:pt x="779" y="503"/>
                  </a:lnTo>
                  <a:lnTo>
                    <a:pt x="778"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11">
              <a:extLst>
                <a:ext uri="{FF2B5EF4-FFF2-40B4-BE49-F238E27FC236}">
                  <a16:creationId xmlns:a16="http://schemas.microsoft.com/office/drawing/2014/main" id="{8F0F41E7-2553-47D6-B01A-A9EE389E22F4}"/>
                </a:ext>
              </a:extLst>
            </p:cNvPr>
            <p:cNvSpPr>
              <a:spLocks noEditPoints="1"/>
            </p:cNvSpPr>
            <p:nvPr/>
          </p:nvSpPr>
          <p:spPr bwMode="auto">
            <a:xfrm>
              <a:off x="919163" y="841375"/>
              <a:ext cx="46038" cy="44450"/>
            </a:xfrm>
            <a:custGeom>
              <a:avLst/>
              <a:gdLst>
                <a:gd name="T0" fmla="*/ 63 w 144"/>
                <a:gd name="T1" fmla="*/ 113 h 144"/>
                <a:gd name="T2" fmla="*/ 48 w 144"/>
                <a:gd name="T3" fmla="*/ 106 h 144"/>
                <a:gd name="T4" fmla="*/ 36 w 144"/>
                <a:gd name="T5" fmla="*/ 94 h 144"/>
                <a:gd name="T6" fmla="*/ 30 w 144"/>
                <a:gd name="T7" fmla="*/ 79 h 144"/>
                <a:gd name="T8" fmla="*/ 30 w 144"/>
                <a:gd name="T9" fmla="*/ 63 h 144"/>
                <a:gd name="T10" fmla="*/ 36 w 144"/>
                <a:gd name="T11" fmla="*/ 48 h 144"/>
                <a:gd name="T12" fmla="*/ 48 w 144"/>
                <a:gd name="T13" fmla="*/ 36 h 144"/>
                <a:gd name="T14" fmla="*/ 63 w 144"/>
                <a:gd name="T15" fmla="*/ 30 h 144"/>
                <a:gd name="T16" fmla="*/ 80 w 144"/>
                <a:gd name="T17" fmla="*/ 30 h 144"/>
                <a:gd name="T18" fmla="*/ 94 w 144"/>
                <a:gd name="T19" fmla="*/ 36 h 144"/>
                <a:gd name="T20" fmla="*/ 106 w 144"/>
                <a:gd name="T21" fmla="*/ 48 h 144"/>
                <a:gd name="T22" fmla="*/ 113 w 144"/>
                <a:gd name="T23" fmla="*/ 63 h 144"/>
                <a:gd name="T24" fmla="*/ 113 w 144"/>
                <a:gd name="T25" fmla="*/ 79 h 144"/>
                <a:gd name="T26" fmla="*/ 106 w 144"/>
                <a:gd name="T27" fmla="*/ 94 h 144"/>
                <a:gd name="T28" fmla="*/ 94 w 144"/>
                <a:gd name="T29" fmla="*/ 106 h 144"/>
                <a:gd name="T30" fmla="*/ 80 w 144"/>
                <a:gd name="T31" fmla="*/ 113 h 144"/>
                <a:gd name="T32" fmla="*/ 72 w 144"/>
                <a:gd name="T33" fmla="*/ 114 h 144"/>
                <a:gd name="T34" fmla="*/ 64 w 144"/>
                <a:gd name="T35" fmla="*/ 0 h 144"/>
                <a:gd name="T36" fmla="*/ 50 w 144"/>
                <a:gd name="T37" fmla="*/ 3 h 144"/>
                <a:gd name="T38" fmla="*/ 37 w 144"/>
                <a:gd name="T39" fmla="*/ 9 h 144"/>
                <a:gd name="T40" fmla="*/ 26 w 144"/>
                <a:gd name="T41" fmla="*/ 16 h 144"/>
                <a:gd name="T42" fmla="*/ 16 w 144"/>
                <a:gd name="T43" fmla="*/ 26 h 144"/>
                <a:gd name="T44" fmla="*/ 9 w 144"/>
                <a:gd name="T45" fmla="*/ 38 h 144"/>
                <a:gd name="T46" fmla="*/ 3 w 144"/>
                <a:gd name="T47" fmla="*/ 50 h 144"/>
                <a:gd name="T48" fmla="*/ 0 w 144"/>
                <a:gd name="T49" fmla="*/ 64 h 144"/>
                <a:gd name="T50" fmla="*/ 0 w 144"/>
                <a:gd name="T51" fmla="*/ 78 h 144"/>
                <a:gd name="T52" fmla="*/ 3 w 144"/>
                <a:gd name="T53" fmla="*/ 93 h 144"/>
                <a:gd name="T54" fmla="*/ 9 w 144"/>
                <a:gd name="T55" fmla="*/ 106 h 144"/>
                <a:gd name="T56" fmla="*/ 16 w 144"/>
                <a:gd name="T57" fmla="*/ 117 h 144"/>
                <a:gd name="T58" fmla="*/ 26 w 144"/>
                <a:gd name="T59" fmla="*/ 127 h 144"/>
                <a:gd name="T60" fmla="*/ 37 w 144"/>
                <a:gd name="T61" fmla="*/ 135 h 144"/>
                <a:gd name="T62" fmla="*/ 50 w 144"/>
                <a:gd name="T63" fmla="*/ 140 h 144"/>
                <a:gd name="T64" fmla="*/ 64 w 144"/>
                <a:gd name="T65" fmla="*/ 143 h 144"/>
                <a:gd name="T66" fmla="*/ 78 w 144"/>
                <a:gd name="T67" fmla="*/ 143 h 144"/>
                <a:gd name="T68" fmla="*/ 93 w 144"/>
                <a:gd name="T69" fmla="*/ 140 h 144"/>
                <a:gd name="T70" fmla="*/ 106 w 144"/>
                <a:gd name="T71" fmla="*/ 135 h 144"/>
                <a:gd name="T72" fmla="*/ 117 w 144"/>
                <a:gd name="T73" fmla="*/ 127 h 144"/>
                <a:gd name="T74" fmla="*/ 126 w 144"/>
                <a:gd name="T75" fmla="*/ 117 h 144"/>
                <a:gd name="T76" fmla="*/ 135 w 144"/>
                <a:gd name="T77" fmla="*/ 106 h 144"/>
                <a:gd name="T78" fmla="*/ 140 w 144"/>
                <a:gd name="T79" fmla="*/ 93 h 144"/>
                <a:gd name="T80" fmla="*/ 143 w 144"/>
                <a:gd name="T81" fmla="*/ 78 h 144"/>
                <a:gd name="T82" fmla="*/ 143 w 144"/>
                <a:gd name="T83" fmla="*/ 64 h 144"/>
                <a:gd name="T84" fmla="*/ 140 w 144"/>
                <a:gd name="T85" fmla="*/ 50 h 144"/>
                <a:gd name="T86" fmla="*/ 135 w 144"/>
                <a:gd name="T87" fmla="*/ 38 h 144"/>
                <a:gd name="T88" fmla="*/ 126 w 144"/>
                <a:gd name="T89" fmla="*/ 26 h 144"/>
                <a:gd name="T90" fmla="*/ 117 w 144"/>
                <a:gd name="T91" fmla="*/ 16 h 144"/>
                <a:gd name="T92" fmla="*/ 106 w 144"/>
                <a:gd name="T93" fmla="*/ 9 h 144"/>
                <a:gd name="T94" fmla="*/ 93 w 144"/>
                <a:gd name="T95" fmla="*/ 3 h 144"/>
                <a:gd name="T96" fmla="*/ 78 w 144"/>
                <a:gd name="T97" fmla="*/ 0 h 144"/>
                <a:gd name="T98" fmla="*/ 72 w 144"/>
                <a:gd name="T9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144">
                  <a:moveTo>
                    <a:pt x="72" y="114"/>
                  </a:moveTo>
                  <a:lnTo>
                    <a:pt x="63" y="113"/>
                  </a:lnTo>
                  <a:lnTo>
                    <a:pt x="55" y="109"/>
                  </a:lnTo>
                  <a:lnTo>
                    <a:pt x="48" y="106"/>
                  </a:lnTo>
                  <a:lnTo>
                    <a:pt x="42" y="101"/>
                  </a:lnTo>
                  <a:lnTo>
                    <a:pt x="36" y="94"/>
                  </a:lnTo>
                  <a:lnTo>
                    <a:pt x="33" y="88"/>
                  </a:lnTo>
                  <a:lnTo>
                    <a:pt x="30" y="79"/>
                  </a:lnTo>
                  <a:lnTo>
                    <a:pt x="30" y="72"/>
                  </a:lnTo>
                  <a:lnTo>
                    <a:pt x="30" y="63"/>
                  </a:lnTo>
                  <a:lnTo>
                    <a:pt x="33" y="55"/>
                  </a:lnTo>
                  <a:lnTo>
                    <a:pt x="36" y="48"/>
                  </a:lnTo>
                  <a:lnTo>
                    <a:pt x="42" y="42"/>
                  </a:lnTo>
                  <a:lnTo>
                    <a:pt x="48" y="36"/>
                  </a:lnTo>
                  <a:lnTo>
                    <a:pt x="55" y="33"/>
                  </a:lnTo>
                  <a:lnTo>
                    <a:pt x="63" y="30"/>
                  </a:lnTo>
                  <a:lnTo>
                    <a:pt x="72" y="30"/>
                  </a:lnTo>
                  <a:lnTo>
                    <a:pt x="80" y="30"/>
                  </a:lnTo>
                  <a:lnTo>
                    <a:pt x="88" y="33"/>
                  </a:lnTo>
                  <a:lnTo>
                    <a:pt x="94" y="36"/>
                  </a:lnTo>
                  <a:lnTo>
                    <a:pt x="101" y="42"/>
                  </a:lnTo>
                  <a:lnTo>
                    <a:pt x="106" y="48"/>
                  </a:lnTo>
                  <a:lnTo>
                    <a:pt x="110" y="55"/>
                  </a:lnTo>
                  <a:lnTo>
                    <a:pt x="113" y="63"/>
                  </a:lnTo>
                  <a:lnTo>
                    <a:pt x="114" y="72"/>
                  </a:lnTo>
                  <a:lnTo>
                    <a:pt x="113" y="79"/>
                  </a:lnTo>
                  <a:lnTo>
                    <a:pt x="110" y="88"/>
                  </a:lnTo>
                  <a:lnTo>
                    <a:pt x="106" y="94"/>
                  </a:lnTo>
                  <a:lnTo>
                    <a:pt x="101" y="101"/>
                  </a:lnTo>
                  <a:lnTo>
                    <a:pt x="94" y="106"/>
                  </a:lnTo>
                  <a:lnTo>
                    <a:pt x="88" y="110"/>
                  </a:lnTo>
                  <a:lnTo>
                    <a:pt x="80" y="113"/>
                  </a:lnTo>
                  <a:lnTo>
                    <a:pt x="72" y="114"/>
                  </a:lnTo>
                  <a:lnTo>
                    <a:pt x="72" y="114"/>
                  </a:lnTo>
                  <a:close/>
                  <a:moveTo>
                    <a:pt x="72" y="0"/>
                  </a:moveTo>
                  <a:lnTo>
                    <a:pt x="64" y="0"/>
                  </a:lnTo>
                  <a:lnTo>
                    <a:pt x="57" y="1"/>
                  </a:lnTo>
                  <a:lnTo>
                    <a:pt x="50" y="3"/>
                  </a:lnTo>
                  <a:lnTo>
                    <a:pt x="44" y="5"/>
                  </a:lnTo>
                  <a:lnTo>
                    <a:pt x="37" y="9"/>
                  </a:lnTo>
                  <a:lnTo>
                    <a:pt x="31" y="12"/>
                  </a:lnTo>
                  <a:lnTo>
                    <a:pt x="26" y="16"/>
                  </a:lnTo>
                  <a:lnTo>
                    <a:pt x="20" y="20"/>
                  </a:lnTo>
                  <a:lnTo>
                    <a:pt x="16" y="26"/>
                  </a:lnTo>
                  <a:lnTo>
                    <a:pt x="12" y="31"/>
                  </a:lnTo>
                  <a:lnTo>
                    <a:pt x="9" y="38"/>
                  </a:lnTo>
                  <a:lnTo>
                    <a:pt x="5" y="44"/>
                  </a:lnTo>
                  <a:lnTo>
                    <a:pt x="3" y="50"/>
                  </a:lnTo>
                  <a:lnTo>
                    <a:pt x="1" y="57"/>
                  </a:lnTo>
                  <a:lnTo>
                    <a:pt x="0" y="64"/>
                  </a:lnTo>
                  <a:lnTo>
                    <a:pt x="0" y="72"/>
                  </a:lnTo>
                  <a:lnTo>
                    <a:pt x="0" y="78"/>
                  </a:lnTo>
                  <a:lnTo>
                    <a:pt x="1" y="86"/>
                  </a:lnTo>
                  <a:lnTo>
                    <a:pt x="3" y="93"/>
                  </a:lnTo>
                  <a:lnTo>
                    <a:pt x="5" y="100"/>
                  </a:lnTo>
                  <a:lnTo>
                    <a:pt x="9" y="106"/>
                  </a:lnTo>
                  <a:lnTo>
                    <a:pt x="12" y="112"/>
                  </a:lnTo>
                  <a:lnTo>
                    <a:pt x="16" y="117"/>
                  </a:lnTo>
                  <a:lnTo>
                    <a:pt x="20" y="122"/>
                  </a:lnTo>
                  <a:lnTo>
                    <a:pt x="26" y="127"/>
                  </a:lnTo>
                  <a:lnTo>
                    <a:pt x="31" y="131"/>
                  </a:lnTo>
                  <a:lnTo>
                    <a:pt x="37" y="135"/>
                  </a:lnTo>
                  <a:lnTo>
                    <a:pt x="44" y="137"/>
                  </a:lnTo>
                  <a:lnTo>
                    <a:pt x="50" y="140"/>
                  </a:lnTo>
                  <a:lnTo>
                    <a:pt x="57" y="142"/>
                  </a:lnTo>
                  <a:lnTo>
                    <a:pt x="64" y="143"/>
                  </a:lnTo>
                  <a:lnTo>
                    <a:pt x="72" y="144"/>
                  </a:lnTo>
                  <a:lnTo>
                    <a:pt x="78" y="143"/>
                  </a:lnTo>
                  <a:lnTo>
                    <a:pt x="86" y="142"/>
                  </a:lnTo>
                  <a:lnTo>
                    <a:pt x="93" y="140"/>
                  </a:lnTo>
                  <a:lnTo>
                    <a:pt x="100" y="137"/>
                  </a:lnTo>
                  <a:lnTo>
                    <a:pt x="106" y="135"/>
                  </a:lnTo>
                  <a:lnTo>
                    <a:pt x="111" y="131"/>
                  </a:lnTo>
                  <a:lnTo>
                    <a:pt x="117" y="127"/>
                  </a:lnTo>
                  <a:lnTo>
                    <a:pt x="122" y="122"/>
                  </a:lnTo>
                  <a:lnTo>
                    <a:pt x="126" y="117"/>
                  </a:lnTo>
                  <a:lnTo>
                    <a:pt x="131" y="112"/>
                  </a:lnTo>
                  <a:lnTo>
                    <a:pt x="135" y="106"/>
                  </a:lnTo>
                  <a:lnTo>
                    <a:pt x="137" y="100"/>
                  </a:lnTo>
                  <a:lnTo>
                    <a:pt x="140" y="93"/>
                  </a:lnTo>
                  <a:lnTo>
                    <a:pt x="142" y="86"/>
                  </a:lnTo>
                  <a:lnTo>
                    <a:pt x="143" y="78"/>
                  </a:lnTo>
                  <a:lnTo>
                    <a:pt x="144" y="72"/>
                  </a:lnTo>
                  <a:lnTo>
                    <a:pt x="143" y="64"/>
                  </a:lnTo>
                  <a:lnTo>
                    <a:pt x="142" y="57"/>
                  </a:lnTo>
                  <a:lnTo>
                    <a:pt x="140" y="50"/>
                  </a:lnTo>
                  <a:lnTo>
                    <a:pt x="137" y="44"/>
                  </a:lnTo>
                  <a:lnTo>
                    <a:pt x="135" y="38"/>
                  </a:lnTo>
                  <a:lnTo>
                    <a:pt x="131" y="31"/>
                  </a:lnTo>
                  <a:lnTo>
                    <a:pt x="126" y="26"/>
                  </a:lnTo>
                  <a:lnTo>
                    <a:pt x="122" y="20"/>
                  </a:lnTo>
                  <a:lnTo>
                    <a:pt x="117" y="16"/>
                  </a:lnTo>
                  <a:lnTo>
                    <a:pt x="111" y="12"/>
                  </a:lnTo>
                  <a:lnTo>
                    <a:pt x="106" y="9"/>
                  </a:lnTo>
                  <a:lnTo>
                    <a:pt x="100" y="5"/>
                  </a:lnTo>
                  <a:lnTo>
                    <a:pt x="93" y="3"/>
                  </a:lnTo>
                  <a:lnTo>
                    <a:pt x="86" y="1"/>
                  </a:lnTo>
                  <a:lnTo>
                    <a:pt x="78" y="0"/>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2" name="Group 111">
            <a:extLst>
              <a:ext uri="{FF2B5EF4-FFF2-40B4-BE49-F238E27FC236}">
                <a16:creationId xmlns:a16="http://schemas.microsoft.com/office/drawing/2014/main" id="{65358A04-CF74-4C4F-8627-99A3E5DE8128}"/>
              </a:ext>
            </a:extLst>
          </p:cNvPr>
          <p:cNvGrpSpPr>
            <a:grpSpLocks noChangeAspect="1"/>
          </p:cNvGrpSpPr>
          <p:nvPr/>
        </p:nvGrpSpPr>
        <p:grpSpPr>
          <a:xfrm>
            <a:off x="5377403" y="2233311"/>
            <a:ext cx="287206" cy="285619"/>
            <a:chOff x="8736013" y="4217988"/>
            <a:chExt cx="287338" cy="285750"/>
          </a:xfrm>
          <a:solidFill>
            <a:schemeClr val="bg2"/>
          </a:solidFill>
          <a:effectLst/>
        </p:grpSpPr>
        <p:sp>
          <p:nvSpPr>
            <p:cNvPr id="1543" name="Freeform 268">
              <a:extLst>
                <a:ext uri="{FF2B5EF4-FFF2-40B4-BE49-F238E27FC236}">
                  <a16:creationId xmlns:a16="http://schemas.microsoft.com/office/drawing/2014/main" id="{446F310A-B114-43E8-97A0-A40E81369F36}"/>
                </a:ext>
              </a:extLst>
            </p:cNvPr>
            <p:cNvSpPr>
              <a:spLocks/>
            </p:cNvSpPr>
            <p:nvPr/>
          </p:nvSpPr>
          <p:spPr bwMode="auto">
            <a:xfrm>
              <a:off x="8736013" y="4217988"/>
              <a:ext cx="287338" cy="285750"/>
            </a:xfrm>
            <a:custGeom>
              <a:avLst/>
              <a:gdLst>
                <a:gd name="T0" fmla="*/ 900 w 902"/>
                <a:gd name="T1" fmla="*/ 7 h 902"/>
                <a:gd name="T2" fmla="*/ 896 w 902"/>
                <a:gd name="T3" fmla="*/ 2 h 902"/>
                <a:gd name="T4" fmla="*/ 890 w 902"/>
                <a:gd name="T5" fmla="*/ 0 h 902"/>
                <a:gd name="T6" fmla="*/ 646 w 902"/>
                <a:gd name="T7" fmla="*/ 0 h 902"/>
                <a:gd name="T8" fmla="*/ 641 w 902"/>
                <a:gd name="T9" fmla="*/ 1 h 902"/>
                <a:gd name="T10" fmla="*/ 635 w 902"/>
                <a:gd name="T11" fmla="*/ 4 h 902"/>
                <a:gd name="T12" fmla="*/ 632 w 902"/>
                <a:gd name="T13" fmla="*/ 9 h 902"/>
                <a:gd name="T14" fmla="*/ 631 w 902"/>
                <a:gd name="T15" fmla="*/ 15 h 902"/>
                <a:gd name="T16" fmla="*/ 632 w 902"/>
                <a:gd name="T17" fmla="*/ 21 h 902"/>
                <a:gd name="T18" fmla="*/ 635 w 902"/>
                <a:gd name="T19" fmla="*/ 26 h 902"/>
                <a:gd name="T20" fmla="*/ 641 w 902"/>
                <a:gd name="T21" fmla="*/ 29 h 902"/>
                <a:gd name="T22" fmla="*/ 646 w 902"/>
                <a:gd name="T23" fmla="*/ 30 h 902"/>
                <a:gd name="T24" fmla="*/ 4 w 902"/>
                <a:gd name="T25" fmla="*/ 876 h 902"/>
                <a:gd name="T26" fmla="*/ 1 w 902"/>
                <a:gd name="T27" fmla="*/ 881 h 902"/>
                <a:gd name="T28" fmla="*/ 0 w 902"/>
                <a:gd name="T29" fmla="*/ 887 h 902"/>
                <a:gd name="T30" fmla="*/ 1 w 902"/>
                <a:gd name="T31" fmla="*/ 892 h 902"/>
                <a:gd name="T32" fmla="*/ 4 w 902"/>
                <a:gd name="T33" fmla="*/ 898 h 902"/>
                <a:gd name="T34" fmla="*/ 10 w 902"/>
                <a:gd name="T35" fmla="*/ 901 h 902"/>
                <a:gd name="T36" fmla="*/ 15 w 902"/>
                <a:gd name="T37" fmla="*/ 902 h 902"/>
                <a:gd name="T38" fmla="*/ 20 w 902"/>
                <a:gd name="T39" fmla="*/ 901 h 902"/>
                <a:gd name="T40" fmla="*/ 26 w 902"/>
                <a:gd name="T41" fmla="*/ 898 h 902"/>
                <a:gd name="T42" fmla="*/ 872 w 902"/>
                <a:gd name="T43" fmla="*/ 255 h 902"/>
                <a:gd name="T44" fmla="*/ 873 w 902"/>
                <a:gd name="T45" fmla="*/ 262 h 902"/>
                <a:gd name="T46" fmla="*/ 876 w 902"/>
                <a:gd name="T47" fmla="*/ 266 h 902"/>
                <a:gd name="T48" fmla="*/ 881 w 902"/>
                <a:gd name="T49" fmla="*/ 269 h 902"/>
                <a:gd name="T50" fmla="*/ 887 w 902"/>
                <a:gd name="T51" fmla="*/ 270 h 902"/>
                <a:gd name="T52" fmla="*/ 892 w 902"/>
                <a:gd name="T53" fmla="*/ 269 h 902"/>
                <a:gd name="T54" fmla="*/ 898 w 902"/>
                <a:gd name="T55" fmla="*/ 266 h 902"/>
                <a:gd name="T56" fmla="*/ 901 w 902"/>
                <a:gd name="T57" fmla="*/ 262 h 902"/>
                <a:gd name="T58" fmla="*/ 902 w 902"/>
                <a:gd name="T59" fmla="*/ 255 h 902"/>
                <a:gd name="T60" fmla="*/ 902 w 902"/>
                <a:gd name="T61" fmla="*/ 12 h 902"/>
                <a:gd name="T62" fmla="*/ 901 w 902"/>
                <a:gd name="T63" fmla="*/ 9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02" h="902">
                  <a:moveTo>
                    <a:pt x="901" y="9"/>
                  </a:moveTo>
                  <a:lnTo>
                    <a:pt x="900" y="7"/>
                  </a:lnTo>
                  <a:lnTo>
                    <a:pt x="898" y="4"/>
                  </a:lnTo>
                  <a:lnTo>
                    <a:pt x="896" y="2"/>
                  </a:lnTo>
                  <a:lnTo>
                    <a:pt x="892" y="1"/>
                  </a:lnTo>
                  <a:lnTo>
                    <a:pt x="890" y="0"/>
                  </a:lnTo>
                  <a:lnTo>
                    <a:pt x="887" y="0"/>
                  </a:lnTo>
                  <a:lnTo>
                    <a:pt x="646" y="0"/>
                  </a:lnTo>
                  <a:lnTo>
                    <a:pt x="644" y="0"/>
                  </a:lnTo>
                  <a:lnTo>
                    <a:pt x="641" y="1"/>
                  </a:lnTo>
                  <a:lnTo>
                    <a:pt x="638" y="2"/>
                  </a:lnTo>
                  <a:lnTo>
                    <a:pt x="635" y="4"/>
                  </a:lnTo>
                  <a:lnTo>
                    <a:pt x="634" y="7"/>
                  </a:lnTo>
                  <a:lnTo>
                    <a:pt x="632" y="9"/>
                  </a:lnTo>
                  <a:lnTo>
                    <a:pt x="632" y="12"/>
                  </a:lnTo>
                  <a:lnTo>
                    <a:pt x="631" y="15"/>
                  </a:lnTo>
                  <a:lnTo>
                    <a:pt x="632" y="18"/>
                  </a:lnTo>
                  <a:lnTo>
                    <a:pt x="632" y="21"/>
                  </a:lnTo>
                  <a:lnTo>
                    <a:pt x="634" y="24"/>
                  </a:lnTo>
                  <a:lnTo>
                    <a:pt x="635" y="26"/>
                  </a:lnTo>
                  <a:lnTo>
                    <a:pt x="638" y="27"/>
                  </a:lnTo>
                  <a:lnTo>
                    <a:pt x="641" y="29"/>
                  </a:lnTo>
                  <a:lnTo>
                    <a:pt x="644" y="29"/>
                  </a:lnTo>
                  <a:lnTo>
                    <a:pt x="646" y="30"/>
                  </a:lnTo>
                  <a:lnTo>
                    <a:pt x="851" y="30"/>
                  </a:lnTo>
                  <a:lnTo>
                    <a:pt x="4" y="876"/>
                  </a:lnTo>
                  <a:lnTo>
                    <a:pt x="2" y="879"/>
                  </a:lnTo>
                  <a:lnTo>
                    <a:pt x="1" y="881"/>
                  </a:lnTo>
                  <a:lnTo>
                    <a:pt x="0" y="884"/>
                  </a:lnTo>
                  <a:lnTo>
                    <a:pt x="0" y="887"/>
                  </a:lnTo>
                  <a:lnTo>
                    <a:pt x="0" y="889"/>
                  </a:lnTo>
                  <a:lnTo>
                    <a:pt x="1" y="892"/>
                  </a:lnTo>
                  <a:lnTo>
                    <a:pt x="2" y="895"/>
                  </a:lnTo>
                  <a:lnTo>
                    <a:pt x="4" y="898"/>
                  </a:lnTo>
                  <a:lnTo>
                    <a:pt x="6" y="899"/>
                  </a:lnTo>
                  <a:lnTo>
                    <a:pt x="10" y="901"/>
                  </a:lnTo>
                  <a:lnTo>
                    <a:pt x="12" y="901"/>
                  </a:lnTo>
                  <a:lnTo>
                    <a:pt x="15" y="902"/>
                  </a:lnTo>
                  <a:lnTo>
                    <a:pt x="18" y="901"/>
                  </a:lnTo>
                  <a:lnTo>
                    <a:pt x="20" y="901"/>
                  </a:lnTo>
                  <a:lnTo>
                    <a:pt x="24" y="899"/>
                  </a:lnTo>
                  <a:lnTo>
                    <a:pt x="26" y="898"/>
                  </a:lnTo>
                  <a:lnTo>
                    <a:pt x="872" y="50"/>
                  </a:lnTo>
                  <a:lnTo>
                    <a:pt x="872" y="255"/>
                  </a:lnTo>
                  <a:lnTo>
                    <a:pt x="872" y="258"/>
                  </a:lnTo>
                  <a:lnTo>
                    <a:pt x="873" y="262"/>
                  </a:lnTo>
                  <a:lnTo>
                    <a:pt x="874" y="264"/>
                  </a:lnTo>
                  <a:lnTo>
                    <a:pt x="876" y="266"/>
                  </a:lnTo>
                  <a:lnTo>
                    <a:pt x="878" y="268"/>
                  </a:lnTo>
                  <a:lnTo>
                    <a:pt x="881" y="269"/>
                  </a:lnTo>
                  <a:lnTo>
                    <a:pt x="884" y="270"/>
                  </a:lnTo>
                  <a:lnTo>
                    <a:pt x="887" y="270"/>
                  </a:lnTo>
                  <a:lnTo>
                    <a:pt x="890" y="270"/>
                  </a:lnTo>
                  <a:lnTo>
                    <a:pt x="892" y="269"/>
                  </a:lnTo>
                  <a:lnTo>
                    <a:pt x="896" y="268"/>
                  </a:lnTo>
                  <a:lnTo>
                    <a:pt x="898" y="266"/>
                  </a:lnTo>
                  <a:lnTo>
                    <a:pt x="900" y="264"/>
                  </a:lnTo>
                  <a:lnTo>
                    <a:pt x="901" y="262"/>
                  </a:lnTo>
                  <a:lnTo>
                    <a:pt x="902" y="258"/>
                  </a:lnTo>
                  <a:lnTo>
                    <a:pt x="902" y="255"/>
                  </a:lnTo>
                  <a:lnTo>
                    <a:pt x="902" y="15"/>
                  </a:lnTo>
                  <a:lnTo>
                    <a:pt x="902" y="12"/>
                  </a:lnTo>
                  <a:lnTo>
                    <a:pt x="901" y="9"/>
                  </a:lnTo>
                  <a:lnTo>
                    <a:pt x="90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269">
              <a:extLst>
                <a:ext uri="{FF2B5EF4-FFF2-40B4-BE49-F238E27FC236}">
                  <a16:creationId xmlns:a16="http://schemas.microsoft.com/office/drawing/2014/main" id="{6777074B-959B-478B-8744-41C0067DC40E}"/>
                </a:ext>
              </a:extLst>
            </p:cNvPr>
            <p:cNvSpPr>
              <a:spLocks noEditPoints="1"/>
            </p:cNvSpPr>
            <p:nvPr/>
          </p:nvSpPr>
          <p:spPr bwMode="auto">
            <a:xfrm>
              <a:off x="8745538" y="4227513"/>
              <a:ext cx="96838" cy="95250"/>
            </a:xfrm>
            <a:custGeom>
              <a:avLst/>
              <a:gdLst>
                <a:gd name="T0" fmla="*/ 175 w 301"/>
                <a:gd name="T1" fmla="*/ 32 h 300"/>
                <a:gd name="T2" fmla="*/ 208 w 301"/>
                <a:gd name="T3" fmla="*/ 44 h 300"/>
                <a:gd name="T4" fmla="*/ 236 w 301"/>
                <a:gd name="T5" fmla="*/ 65 h 300"/>
                <a:gd name="T6" fmla="*/ 256 w 301"/>
                <a:gd name="T7" fmla="*/ 93 h 300"/>
                <a:gd name="T8" fmla="*/ 268 w 301"/>
                <a:gd name="T9" fmla="*/ 125 h 300"/>
                <a:gd name="T10" fmla="*/ 270 w 301"/>
                <a:gd name="T11" fmla="*/ 163 h 300"/>
                <a:gd name="T12" fmla="*/ 261 w 301"/>
                <a:gd name="T13" fmla="*/ 197 h 300"/>
                <a:gd name="T14" fmla="*/ 243 w 301"/>
                <a:gd name="T15" fmla="*/ 226 h 300"/>
                <a:gd name="T16" fmla="*/ 217 w 301"/>
                <a:gd name="T17" fmla="*/ 250 h 300"/>
                <a:gd name="T18" fmla="*/ 186 w 301"/>
                <a:gd name="T19" fmla="*/ 265 h 300"/>
                <a:gd name="T20" fmla="*/ 150 w 301"/>
                <a:gd name="T21" fmla="*/ 270 h 300"/>
                <a:gd name="T22" fmla="*/ 115 w 301"/>
                <a:gd name="T23" fmla="*/ 265 h 300"/>
                <a:gd name="T24" fmla="*/ 84 w 301"/>
                <a:gd name="T25" fmla="*/ 250 h 300"/>
                <a:gd name="T26" fmla="*/ 58 w 301"/>
                <a:gd name="T27" fmla="*/ 226 h 300"/>
                <a:gd name="T28" fmla="*/ 40 w 301"/>
                <a:gd name="T29" fmla="*/ 197 h 300"/>
                <a:gd name="T30" fmla="*/ 31 w 301"/>
                <a:gd name="T31" fmla="*/ 163 h 300"/>
                <a:gd name="T32" fmla="*/ 32 w 301"/>
                <a:gd name="T33" fmla="*/ 125 h 300"/>
                <a:gd name="T34" fmla="*/ 45 w 301"/>
                <a:gd name="T35" fmla="*/ 93 h 300"/>
                <a:gd name="T36" fmla="*/ 65 w 301"/>
                <a:gd name="T37" fmla="*/ 65 h 300"/>
                <a:gd name="T38" fmla="*/ 93 w 301"/>
                <a:gd name="T39" fmla="*/ 44 h 300"/>
                <a:gd name="T40" fmla="*/ 126 w 301"/>
                <a:gd name="T41" fmla="*/ 32 h 300"/>
                <a:gd name="T42" fmla="*/ 150 w 301"/>
                <a:gd name="T43" fmla="*/ 300 h 300"/>
                <a:gd name="T44" fmla="*/ 195 w 301"/>
                <a:gd name="T45" fmla="*/ 294 h 300"/>
                <a:gd name="T46" fmla="*/ 235 w 301"/>
                <a:gd name="T47" fmla="*/ 274 h 300"/>
                <a:gd name="T48" fmla="*/ 267 w 301"/>
                <a:gd name="T49" fmla="*/ 245 h 300"/>
                <a:gd name="T50" fmla="*/ 289 w 301"/>
                <a:gd name="T51" fmla="*/ 209 h 300"/>
                <a:gd name="T52" fmla="*/ 300 w 301"/>
                <a:gd name="T53" fmla="*/ 165 h 300"/>
                <a:gd name="T54" fmla="*/ 298 w 301"/>
                <a:gd name="T55" fmla="*/ 120 h 300"/>
                <a:gd name="T56" fmla="*/ 283 w 301"/>
                <a:gd name="T57" fmla="*/ 78 h 300"/>
                <a:gd name="T58" fmla="*/ 256 w 301"/>
                <a:gd name="T59" fmla="*/ 44 h 300"/>
                <a:gd name="T60" fmla="*/ 222 w 301"/>
                <a:gd name="T61" fmla="*/ 18 h 300"/>
                <a:gd name="T62" fmla="*/ 181 w 301"/>
                <a:gd name="T63" fmla="*/ 3 h 300"/>
                <a:gd name="T64" fmla="*/ 135 w 301"/>
                <a:gd name="T65" fmla="*/ 0 h 300"/>
                <a:gd name="T66" fmla="*/ 92 w 301"/>
                <a:gd name="T67" fmla="*/ 12 h 300"/>
                <a:gd name="T68" fmla="*/ 55 w 301"/>
                <a:gd name="T69" fmla="*/ 34 h 300"/>
                <a:gd name="T70" fmla="*/ 26 w 301"/>
                <a:gd name="T71" fmla="*/ 67 h 300"/>
                <a:gd name="T72" fmla="*/ 6 w 301"/>
                <a:gd name="T73" fmla="*/ 105 h 300"/>
                <a:gd name="T74" fmla="*/ 0 w 301"/>
                <a:gd name="T75" fmla="*/ 150 h 300"/>
                <a:gd name="T76" fmla="*/ 6 w 301"/>
                <a:gd name="T77" fmla="*/ 195 h 300"/>
                <a:gd name="T78" fmla="*/ 26 w 301"/>
                <a:gd name="T79" fmla="*/ 234 h 300"/>
                <a:gd name="T80" fmla="*/ 55 w 301"/>
                <a:gd name="T81" fmla="*/ 266 h 300"/>
                <a:gd name="T82" fmla="*/ 92 w 301"/>
                <a:gd name="T83" fmla="*/ 288 h 300"/>
                <a:gd name="T84" fmla="*/ 135 w 301"/>
                <a:gd name="T8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0">
                  <a:moveTo>
                    <a:pt x="150" y="30"/>
                  </a:moveTo>
                  <a:lnTo>
                    <a:pt x="163" y="30"/>
                  </a:lnTo>
                  <a:lnTo>
                    <a:pt x="175" y="32"/>
                  </a:lnTo>
                  <a:lnTo>
                    <a:pt x="186" y="35"/>
                  </a:lnTo>
                  <a:lnTo>
                    <a:pt x="197" y="40"/>
                  </a:lnTo>
                  <a:lnTo>
                    <a:pt x="208" y="44"/>
                  </a:lnTo>
                  <a:lnTo>
                    <a:pt x="217" y="50"/>
                  </a:lnTo>
                  <a:lnTo>
                    <a:pt x="227" y="57"/>
                  </a:lnTo>
                  <a:lnTo>
                    <a:pt x="236" y="65"/>
                  </a:lnTo>
                  <a:lnTo>
                    <a:pt x="243" y="74"/>
                  </a:lnTo>
                  <a:lnTo>
                    <a:pt x="250" y="83"/>
                  </a:lnTo>
                  <a:lnTo>
                    <a:pt x="256" y="93"/>
                  </a:lnTo>
                  <a:lnTo>
                    <a:pt x="261" y="103"/>
                  </a:lnTo>
                  <a:lnTo>
                    <a:pt x="266" y="115"/>
                  </a:lnTo>
                  <a:lnTo>
                    <a:pt x="268" y="125"/>
                  </a:lnTo>
                  <a:lnTo>
                    <a:pt x="270" y="138"/>
                  </a:lnTo>
                  <a:lnTo>
                    <a:pt x="271" y="150"/>
                  </a:lnTo>
                  <a:lnTo>
                    <a:pt x="270" y="163"/>
                  </a:lnTo>
                  <a:lnTo>
                    <a:pt x="268" y="175"/>
                  </a:lnTo>
                  <a:lnTo>
                    <a:pt x="266" y="185"/>
                  </a:lnTo>
                  <a:lnTo>
                    <a:pt x="261" y="197"/>
                  </a:lnTo>
                  <a:lnTo>
                    <a:pt x="256" y="208"/>
                  </a:lnTo>
                  <a:lnTo>
                    <a:pt x="250" y="218"/>
                  </a:lnTo>
                  <a:lnTo>
                    <a:pt x="243" y="226"/>
                  </a:lnTo>
                  <a:lnTo>
                    <a:pt x="236" y="235"/>
                  </a:lnTo>
                  <a:lnTo>
                    <a:pt x="227" y="243"/>
                  </a:lnTo>
                  <a:lnTo>
                    <a:pt x="217" y="250"/>
                  </a:lnTo>
                  <a:lnTo>
                    <a:pt x="208" y="256"/>
                  </a:lnTo>
                  <a:lnTo>
                    <a:pt x="197" y="262"/>
                  </a:lnTo>
                  <a:lnTo>
                    <a:pt x="186" y="265"/>
                  </a:lnTo>
                  <a:lnTo>
                    <a:pt x="175" y="268"/>
                  </a:lnTo>
                  <a:lnTo>
                    <a:pt x="163" y="270"/>
                  </a:lnTo>
                  <a:lnTo>
                    <a:pt x="150" y="270"/>
                  </a:lnTo>
                  <a:lnTo>
                    <a:pt x="138" y="270"/>
                  </a:lnTo>
                  <a:lnTo>
                    <a:pt x="126" y="268"/>
                  </a:lnTo>
                  <a:lnTo>
                    <a:pt x="115" y="265"/>
                  </a:lnTo>
                  <a:lnTo>
                    <a:pt x="104" y="262"/>
                  </a:lnTo>
                  <a:lnTo>
                    <a:pt x="93" y="256"/>
                  </a:lnTo>
                  <a:lnTo>
                    <a:pt x="84" y="250"/>
                  </a:lnTo>
                  <a:lnTo>
                    <a:pt x="74" y="243"/>
                  </a:lnTo>
                  <a:lnTo>
                    <a:pt x="65" y="235"/>
                  </a:lnTo>
                  <a:lnTo>
                    <a:pt x="58" y="226"/>
                  </a:lnTo>
                  <a:lnTo>
                    <a:pt x="50" y="218"/>
                  </a:lnTo>
                  <a:lnTo>
                    <a:pt x="45" y="208"/>
                  </a:lnTo>
                  <a:lnTo>
                    <a:pt x="40" y="197"/>
                  </a:lnTo>
                  <a:lnTo>
                    <a:pt x="35" y="185"/>
                  </a:lnTo>
                  <a:lnTo>
                    <a:pt x="32" y="175"/>
                  </a:lnTo>
                  <a:lnTo>
                    <a:pt x="31" y="163"/>
                  </a:lnTo>
                  <a:lnTo>
                    <a:pt x="30" y="150"/>
                  </a:lnTo>
                  <a:lnTo>
                    <a:pt x="31" y="138"/>
                  </a:lnTo>
                  <a:lnTo>
                    <a:pt x="32" y="125"/>
                  </a:lnTo>
                  <a:lnTo>
                    <a:pt x="35" y="115"/>
                  </a:lnTo>
                  <a:lnTo>
                    <a:pt x="40" y="103"/>
                  </a:lnTo>
                  <a:lnTo>
                    <a:pt x="45" y="93"/>
                  </a:lnTo>
                  <a:lnTo>
                    <a:pt x="50" y="83"/>
                  </a:lnTo>
                  <a:lnTo>
                    <a:pt x="58" y="74"/>
                  </a:lnTo>
                  <a:lnTo>
                    <a:pt x="65" y="65"/>
                  </a:lnTo>
                  <a:lnTo>
                    <a:pt x="74" y="57"/>
                  </a:lnTo>
                  <a:lnTo>
                    <a:pt x="84" y="50"/>
                  </a:lnTo>
                  <a:lnTo>
                    <a:pt x="93" y="44"/>
                  </a:lnTo>
                  <a:lnTo>
                    <a:pt x="104" y="40"/>
                  </a:lnTo>
                  <a:lnTo>
                    <a:pt x="115" y="35"/>
                  </a:lnTo>
                  <a:lnTo>
                    <a:pt x="126" y="32"/>
                  </a:lnTo>
                  <a:lnTo>
                    <a:pt x="138" y="30"/>
                  </a:lnTo>
                  <a:lnTo>
                    <a:pt x="150" y="30"/>
                  </a:lnTo>
                  <a:close/>
                  <a:moveTo>
                    <a:pt x="150" y="300"/>
                  </a:moveTo>
                  <a:lnTo>
                    <a:pt x="166" y="300"/>
                  </a:lnTo>
                  <a:lnTo>
                    <a:pt x="181" y="298"/>
                  </a:lnTo>
                  <a:lnTo>
                    <a:pt x="195" y="294"/>
                  </a:lnTo>
                  <a:lnTo>
                    <a:pt x="209" y="288"/>
                  </a:lnTo>
                  <a:lnTo>
                    <a:pt x="222" y="282"/>
                  </a:lnTo>
                  <a:lnTo>
                    <a:pt x="235" y="274"/>
                  </a:lnTo>
                  <a:lnTo>
                    <a:pt x="245" y="266"/>
                  </a:lnTo>
                  <a:lnTo>
                    <a:pt x="256" y="256"/>
                  </a:lnTo>
                  <a:lnTo>
                    <a:pt x="267" y="245"/>
                  </a:lnTo>
                  <a:lnTo>
                    <a:pt x="275" y="234"/>
                  </a:lnTo>
                  <a:lnTo>
                    <a:pt x="283" y="222"/>
                  </a:lnTo>
                  <a:lnTo>
                    <a:pt x="289" y="209"/>
                  </a:lnTo>
                  <a:lnTo>
                    <a:pt x="294" y="195"/>
                  </a:lnTo>
                  <a:lnTo>
                    <a:pt x="298" y="180"/>
                  </a:lnTo>
                  <a:lnTo>
                    <a:pt x="300" y="165"/>
                  </a:lnTo>
                  <a:lnTo>
                    <a:pt x="301" y="150"/>
                  </a:lnTo>
                  <a:lnTo>
                    <a:pt x="300" y="135"/>
                  </a:lnTo>
                  <a:lnTo>
                    <a:pt x="298" y="120"/>
                  </a:lnTo>
                  <a:lnTo>
                    <a:pt x="294" y="105"/>
                  </a:lnTo>
                  <a:lnTo>
                    <a:pt x="289" y="91"/>
                  </a:lnTo>
                  <a:lnTo>
                    <a:pt x="283" y="78"/>
                  </a:lnTo>
                  <a:lnTo>
                    <a:pt x="275" y="67"/>
                  </a:lnTo>
                  <a:lnTo>
                    <a:pt x="267" y="55"/>
                  </a:lnTo>
                  <a:lnTo>
                    <a:pt x="256" y="44"/>
                  </a:lnTo>
                  <a:lnTo>
                    <a:pt x="245" y="34"/>
                  </a:lnTo>
                  <a:lnTo>
                    <a:pt x="235" y="26"/>
                  </a:lnTo>
                  <a:lnTo>
                    <a:pt x="222" y="18"/>
                  </a:lnTo>
                  <a:lnTo>
                    <a:pt x="209" y="12"/>
                  </a:lnTo>
                  <a:lnTo>
                    <a:pt x="195" y="7"/>
                  </a:lnTo>
                  <a:lnTo>
                    <a:pt x="181" y="3"/>
                  </a:lnTo>
                  <a:lnTo>
                    <a:pt x="166" y="0"/>
                  </a:lnTo>
                  <a:lnTo>
                    <a:pt x="150" y="0"/>
                  </a:lnTo>
                  <a:lnTo>
                    <a:pt x="135" y="0"/>
                  </a:lnTo>
                  <a:lnTo>
                    <a:pt x="120" y="3"/>
                  </a:lnTo>
                  <a:lnTo>
                    <a:pt x="106" y="7"/>
                  </a:lnTo>
                  <a:lnTo>
                    <a:pt x="92" y="12"/>
                  </a:lnTo>
                  <a:lnTo>
                    <a:pt x="78" y="18"/>
                  </a:lnTo>
                  <a:lnTo>
                    <a:pt x="66" y="26"/>
                  </a:lnTo>
                  <a:lnTo>
                    <a:pt x="55" y="34"/>
                  </a:lnTo>
                  <a:lnTo>
                    <a:pt x="44" y="44"/>
                  </a:lnTo>
                  <a:lnTo>
                    <a:pt x="34" y="55"/>
                  </a:lnTo>
                  <a:lnTo>
                    <a:pt x="26" y="67"/>
                  </a:lnTo>
                  <a:lnTo>
                    <a:pt x="18" y="78"/>
                  </a:lnTo>
                  <a:lnTo>
                    <a:pt x="12" y="91"/>
                  </a:lnTo>
                  <a:lnTo>
                    <a:pt x="6" y="105"/>
                  </a:lnTo>
                  <a:lnTo>
                    <a:pt x="3" y="120"/>
                  </a:lnTo>
                  <a:lnTo>
                    <a:pt x="1" y="135"/>
                  </a:lnTo>
                  <a:lnTo>
                    <a:pt x="0" y="150"/>
                  </a:lnTo>
                  <a:lnTo>
                    <a:pt x="1" y="165"/>
                  </a:lnTo>
                  <a:lnTo>
                    <a:pt x="3" y="180"/>
                  </a:lnTo>
                  <a:lnTo>
                    <a:pt x="6" y="195"/>
                  </a:lnTo>
                  <a:lnTo>
                    <a:pt x="12" y="209"/>
                  </a:lnTo>
                  <a:lnTo>
                    <a:pt x="18" y="222"/>
                  </a:lnTo>
                  <a:lnTo>
                    <a:pt x="26" y="234"/>
                  </a:lnTo>
                  <a:lnTo>
                    <a:pt x="34" y="245"/>
                  </a:lnTo>
                  <a:lnTo>
                    <a:pt x="44" y="256"/>
                  </a:lnTo>
                  <a:lnTo>
                    <a:pt x="55" y="266"/>
                  </a:lnTo>
                  <a:lnTo>
                    <a:pt x="66" y="274"/>
                  </a:lnTo>
                  <a:lnTo>
                    <a:pt x="78" y="282"/>
                  </a:lnTo>
                  <a:lnTo>
                    <a:pt x="92" y="288"/>
                  </a:lnTo>
                  <a:lnTo>
                    <a:pt x="106" y="294"/>
                  </a:lnTo>
                  <a:lnTo>
                    <a:pt x="120" y="298"/>
                  </a:lnTo>
                  <a:lnTo>
                    <a:pt x="135" y="300"/>
                  </a:lnTo>
                  <a:lnTo>
                    <a:pt x="15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270">
              <a:extLst>
                <a:ext uri="{FF2B5EF4-FFF2-40B4-BE49-F238E27FC236}">
                  <a16:creationId xmlns:a16="http://schemas.microsoft.com/office/drawing/2014/main" id="{C15FA921-5224-42BE-A9A2-0BEB9EFBE894}"/>
                </a:ext>
              </a:extLst>
            </p:cNvPr>
            <p:cNvSpPr>
              <a:spLocks noEditPoints="1"/>
            </p:cNvSpPr>
            <p:nvPr/>
          </p:nvSpPr>
          <p:spPr bwMode="auto">
            <a:xfrm>
              <a:off x="8918575" y="4398963"/>
              <a:ext cx="95250" cy="95250"/>
            </a:xfrm>
            <a:custGeom>
              <a:avLst/>
              <a:gdLst>
                <a:gd name="T0" fmla="*/ 126 w 301"/>
                <a:gd name="T1" fmla="*/ 268 h 301"/>
                <a:gd name="T2" fmla="*/ 93 w 301"/>
                <a:gd name="T3" fmla="*/ 256 h 301"/>
                <a:gd name="T4" fmla="*/ 65 w 301"/>
                <a:gd name="T5" fmla="*/ 236 h 301"/>
                <a:gd name="T6" fmla="*/ 45 w 301"/>
                <a:gd name="T7" fmla="*/ 208 h 301"/>
                <a:gd name="T8" fmla="*/ 33 w 301"/>
                <a:gd name="T9" fmla="*/ 175 h 301"/>
                <a:gd name="T10" fmla="*/ 31 w 301"/>
                <a:gd name="T11" fmla="*/ 138 h 301"/>
                <a:gd name="T12" fmla="*/ 40 w 301"/>
                <a:gd name="T13" fmla="*/ 104 h 301"/>
                <a:gd name="T14" fmla="*/ 58 w 301"/>
                <a:gd name="T15" fmla="*/ 74 h 301"/>
                <a:gd name="T16" fmla="*/ 84 w 301"/>
                <a:gd name="T17" fmla="*/ 50 h 301"/>
                <a:gd name="T18" fmla="*/ 115 w 301"/>
                <a:gd name="T19" fmla="*/ 35 h 301"/>
                <a:gd name="T20" fmla="*/ 151 w 301"/>
                <a:gd name="T21" fmla="*/ 30 h 301"/>
                <a:gd name="T22" fmla="*/ 186 w 301"/>
                <a:gd name="T23" fmla="*/ 35 h 301"/>
                <a:gd name="T24" fmla="*/ 217 w 301"/>
                <a:gd name="T25" fmla="*/ 50 h 301"/>
                <a:gd name="T26" fmla="*/ 243 w 301"/>
                <a:gd name="T27" fmla="*/ 74 h 301"/>
                <a:gd name="T28" fmla="*/ 261 w 301"/>
                <a:gd name="T29" fmla="*/ 104 h 301"/>
                <a:gd name="T30" fmla="*/ 270 w 301"/>
                <a:gd name="T31" fmla="*/ 138 h 301"/>
                <a:gd name="T32" fmla="*/ 269 w 301"/>
                <a:gd name="T33" fmla="*/ 175 h 301"/>
                <a:gd name="T34" fmla="*/ 256 w 301"/>
                <a:gd name="T35" fmla="*/ 208 h 301"/>
                <a:gd name="T36" fmla="*/ 236 w 301"/>
                <a:gd name="T37" fmla="*/ 236 h 301"/>
                <a:gd name="T38" fmla="*/ 208 w 301"/>
                <a:gd name="T39" fmla="*/ 256 h 301"/>
                <a:gd name="T40" fmla="*/ 175 w 301"/>
                <a:gd name="T41" fmla="*/ 268 h 301"/>
                <a:gd name="T42" fmla="*/ 151 w 301"/>
                <a:gd name="T43" fmla="*/ 0 h 301"/>
                <a:gd name="T44" fmla="*/ 106 w 301"/>
                <a:gd name="T45" fmla="*/ 7 h 301"/>
                <a:gd name="T46" fmla="*/ 66 w 301"/>
                <a:gd name="T47" fmla="*/ 26 h 301"/>
                <a:gd name="T48" fmla="*/ 34 w 301"/>
                <a:gd name="T49" fmla="*/ 55 h 301"/>
                <a:gd name="T50" fmla="*/ 12 w 301"/>
                <a:gd name="T51" fmla="*/ 92 h 301"/>
                <a:gd name="T52" fmla="*/ 1 w 301"/>
                <a:gd name="T53" fmla="*/ 135 h 301"/>
                <a:gd name="T54" fmla="*/ 3 w 301"/>
                <a:gd name="T55" fmla="*/ 181 h 301"/>
                <a:gd name="T56" fmla="*/ 18 w 301"/>
                <a:gd name="T57" fmla="*/ 222 h 301"/>
                <a:gd name="T58" fmla="*/ 44 w 301"/>
                <a:gd name="T59" fmla="*/ 257 h 301"/>
                <a:gd name="T60" fmla="*/ 79 w 301"/>
                <a:gd name="T61" fmla="*/ 283 h 301"/>
                <a:gd name="T62" fmla="*/ 120 w 301"/>
                <a:gd name="T63" fmla="*/ 298 h 301"/>
                <a:gd name="T64" fmla="*/ 166 w 301"/>
                <a:gd name="T65" fmla="*/ 300 h 301"/>
                <a:gd name="T66" fmla="*/ 209 w 301"/>
                <a:gd name="T67" fmla="*/ 289 h 301"/>
                <a:gd name="T68" fmla="*/ 246 w 301"/>
                <a:gd name="T69" fmla="*/ 267 h 301"/>
                <a:gd name="T70" fmla="*/ 275 w 301"/>
                <a:gd name="T71" fmla="*/ 235 h 301"/>
                <a:gd name="T72" fmla="*/ 295 w 301"/>
                <a:gd name="T73" fmla="*/ 195 h 301"/>
                <a:gd name="T74" fmla="*/ 301 w 301"/>
                <a:gd name="T75" fmla="*/ 150 h 301"/>
                <a:gd name="T76" fmla="*/ 295 w 301"/>
                <a:gd name="T77" fmla="*/ 106 h 301"/>
                <a:gd name="T78" fmla="*/ 275 w 301"/>
                <a:gd name="T79" fmla="*/ 67 h 301"/>
                <a:gd name="T80" fmla="*/ 246 w 301"/>
                <a:gd name="T81" fmla="*/ 34 h 301"/>
                <a:gd name="T82" fmla="*/ 209 w 301"/>
                <a:gd name="T83" fmla="*/ 12 h 301"/>
                <a:gd name="T84" fmla="*/ 166 w 301"/>
                <a:gd name="T85" fmla="*/ 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271"/>
                  </a:moveTo>
                  <a:lnTo>
                    <a:pt x="138" y="270"/>
                  </a:lnTo>
                  <a:lnTo>
                    <a:pt x="126" y="268"/>
                  </a:lnTo>
                  <a:lnTo>
                    <a:pt x="115" y="266"/>
                  </a:lnTo>
                  <a:lnTo>
                    <a:pt x="104" y="261"/>
                  </a:lnTo>
                  <a:lnTo>
                    <a:pt x="93" y="256"/>
                  </a:lnTo>
                  <a:lnTo>
                    <a:pt x="84" y="250"/>
                  </a:lnTo>
                  <a:lnTo>
                    <a:pt x="74" y="243"/>
                  </a:lnTo>
                  <a:lnTo>
                    <a:pt x="65" y="236"/>
                  </a:lnTo>
                  <a:lnTo>
                    <a:pt x="58" y="227"/>
                  </a:lnTo>
                  <a:lnTo>
                    <a:pt x="50" y="218"/>
                  </a:lnTo>
                  <a:lnTo>
                    <a:pt x="45" y="208"/>
                  </a:lnTo>
                  <a:lnTo>
                    <a:pt x="40" y="197"/>
                  </a:lnTo>
                  <a:lnTo>
                    <a:pt x="35" y="186"/>
                  </a:lnTo>
                  <a:lnTo>
                    <a:pt x="33" y="175"/>
                  </a:lnTo>
                  <a:lnTo>
                    <a:pt x="31" y="163"/>
                  </a:lnTo>
                  <a:lnTo>
                    <a:pt x="30" y="150"/>
                  </a:lnTo>
                  <a:lnTo>
                    <a:pt x="31" y="138"/>
                  </a:lnTo>
                  <a:lnTo>
                    <a:pt x="33" y="127"/>
                  </a:lnTo>
                  <a:lnTo>
                    <a:pt x="35" y="115"/>
                  </a:lnTo>
                  <a:lnTo>
                    <a:pt x="40" y="104"/>
                  </a:lnTo>
                  <a:lnTo>
                    <a:pt x="45" y="93"/>
                  </a:lnTo>
                  <a:lnTo>
                    <a:pt x="50" y="84"/>
                  </a:lnTo>
                  <a:lnTo>
                    <a:pt x="58" y="74"/>
                  </a:lnTo>
                  <a:lnTo>
                    <a:pt x="65" y="65"/>
                  </a:lnTo>
                  <a:lnTo>
                    <a:pt x="74" y="58"/>
                  </a:lnTo>
                  <a:lnTo>
                    <a:pt x="84" y="50"/>
                  </a:lnTo>
                  <a:lnTo>
                    <a:pt x="93" y="45"/>
                  </a:lnTo>
                  <a:lnTo>
                    <a:pt x="104" y="40"/>
                  </a:lnTo>
                  <a:lnTo>
                    <a:pt x="115" y="35"/>
                  </a:lnTo>
                  <a:lnTo>
                    <a:pt x="126" y="32"/>
                  </a:lnTo>
                  <a:lnTo>
                    <a:pt x="138" y="31"/>
                  </a:lnTo>
                  <a:lnTo>
                    <a:pt x="151" y="30"/>
                  </a:lnTo>
                  <a:lnTo>
                    <a:pt x="163" y="31"/>
                  </a:lnTo>
                  <a:lnTo>
                    <a:pt x="175" y="32"/>
                  </a:lnTo>
                  <a:lnTo>
                    <a:pt x="186" y="35"/>
                  </a:lnTo>
                  <a:lnTo>
                    <a:pt x="197" y="40"/>
                  </a:lnTo>
                  <a:lnTo>
                    <a:pt x="208" y="45"/>
                  </a:lnTo>
                  <a:lnTo>
                    <a:pt x="217" y="50"/>
                  </a:lnTo>
                  <a:lnTo>
                    <a:pt x="227" y="58"/>
                  </a:lnTo>
                  <a:lnTo>
                    <a:pt x="236" y="65"/>
                  </a:lnTo>
                  <a:lnTo>
                    <a:pt x="243" y="74"/>
                  </a:lnTo>
                  <a:lnTo>
                    <a:pt x="251" y="84"/>
                  </a:lnTo>
                  <a:lnTo>
                    <a:pt x="256" y="93"/>
                  </a:lnTo>
                  <a:lnTo>
                    <a:pt x="261" y="104"/>
                  </a:lnTo>
                  <a:lnTo>
                    <a:pt x="266" y="115"/>
                  </a:lnTo>
                  <a:lnTo>
                    <a:pt x="269" y="127"/>
                  </a:lnTo>
                  <a:lnTo>
                    <a:pt x="270" y="138"/>
                  </a:lnTo>
                  <a:lnTo>
                    <a:pt x="271" y="150"/>
                  </a:lnTo>
                  <a:lnTo>
                    <a:pt x="270" y="163"/>
                  </a:lnTo>
                  <a:lnTo>
                    <a:pt x="269" y="175"/>
                  </a:lnTo>
                  <a:lnTo>
                    <a:pt x="266" y="186"/>
                  </a:lnTo>
                  <a:lnTo>
                    <a:pt x="261" y="197"/>
                  </a:lnTo>
                  <a:lnTo>
                    <a:pt x="256" y="208"/>
                  </a:lnTo>
                  <a:lnTo>
                    <a:pt x="251" y="218"/>
                  </a:lnTo>
                  <a:lnTo>
                    <a:pt x="243" y="227"/>
                  </a:lnTo>
                  <a:lnTo>
                    <a:pt x="236" y="236"/>
                  </a:lnTo>
                  <a:lnTo>
                    <a:pt x="227" y="243"/>
                  </a:lnTo>
                  <a:lnTo>
                    <a:pt x="217" y="250"/>
                  </a:lnTo>
                  <a:lnTo>
                    <a:pt x="208" y="256"/>
                  </a:lnTo>
                  <a:lnTo>
                    <a:pt x="197" y="261"/>
                  </a:lnTo>
                  <a:lnTo>
                    <a:pt x="186" y="266"/>
                  </a:lnTo>
                  <a:lnTo>
                    <a:pt x="175" y="268"/>
                  </a:lnTo>
                  <a:lnTo>
                    <a:pt x="163" y="270"/>
                  </a:lnTo>
                  <a:lnTo>
                    <a:pt x="151" y="271"/>
                  </a:lnTo>
                  <a:close/>
                  <a:moveTo>
                    <a:pt x="151" y="0"/>
                  </a:moveTo>
                  <a:lnTo>
                    <a:pt x="135" y="1"/>
                  </a:lnTo>
                  <a:lnTo>
                    <a:pt x="120" y="3"/>
                  </a:lnTo>
                  <a:lnTo>
                    <a:pt x="106" y="7"/>
                  </a:lnTo>
                  <a:lnTo>
                    <a:pt x="92" y="12"/>
                  </a:lnTo>
                  <a:lnTo>
                    <a:pt x="79" y="18"/>
                  </a:lnTo>
                  <a:lnTo>
                    <a:pt x="66" y="26"/>
                  </a:lnTo>
                  <a:lnTo>
                    <a:pt x="55" y="34"/>
                  </a:lnTo>
                  <a:lnTo>
                    <a:pt x="44" y="44"/>
                  </a:lnTo>
                  <a:lnTo>
                    <a:pt x="34" y="55"/>
                  </a:lnTo>
                  <a:lnTo>
                    <a:pt x="26" y="67"/>
                  </a:lnTo>
                  <a:lnTo>
                    <a:pt x="18" y="78"/>
                  </a:lnTo>
                  <a:lnTo>
                    <a:pt x="12" y="92"/>
                  </a:lnTo>
                  <a:lnTo>
                    <a:pt x="7" y="106"/>
                  </a:lnTo>
                  <a:lnTo>
                    <a:pt x="3" y="120"/>
                  </a:lnTo>
                  <a:lnTo>
                    <a:pt x="1" y="135"/>
                  </a:lnTo>
                  <a:lnTo>
                    <a:pt x="0" y="150"/>
                  </a:lnTo>
                  <a:lnTo>
                    <a:pt x="1" y="166"/>
                  </a:lnTo>
                  <a:lnTo>
                    <a:pt x="3" y="181"/>
                  </a:lnTo>
                  <a:lnTo>
                    <a:pt x="7" y="195"/>
                  </a:lnTo>
                  <a:lnTo>
                    <a:pt x="12" y="209"/>
                  </a:lnTo>
                  <a:lnTo>
                    <a:pt x="18" y="222"/>
                  </a:lnTo>
                  <a:lnTo>
                    <a:pt x="26" y="235"/>
                  </a:lnTo>
                  <a:lnTo>
                    <a:pt x="34" y="246"/>
                  </a:lnTo>
                  <a:lnTo>
                    <a:pt x="44" y="257"/>
                  </a:lnTo>
                  <a:lnTo>
                    <a:pt x="55" y="267"/>
                  </a:lnTo>
                  <a:lnTo>
                    <a:pt x="66" y="275"/>
                  </a:lnTo>
                  <a:lnTo>
                    <a:pt x="79" y="283"/>
                  </a:lnTo>
                  <a:lnTo>
                    <a:pt x="92" y="289"/>
                  </a:lnTo>
                  <a:lnTo>
                    <a:pt x="106" y="294"/>
                  </a:lnTo>
                  <a:lnTo>
                    <a:pt x="120" y="298"/>
                  </a:lnTo>
                  <a:lnTo>
                    <a:pt x="135" y="300"/>
                  </a:lnTo>
                  <a:lnTo>
                    <a:pt x="151" y="301"/>
                  </a:lnTo>
                  <a:lnTo>
                    <a:pt x="166" y="300"/>
                  </a:lnTo>
                  <a:lnTo>
                    <a:pt x="181" y="298"/>
                  </a:lnTo>
                  <a:lnTo>
                    <a:pt x="195" y="294"/>
                  </a:lnTo>
                  <a:lnTo>
                    <a:pt x="209" y="289"/>
                  </a:lnTo>
                  <a:lnTo>
                    <a:pt x="222" y="283"/>
                  </a:lnTo>
                  <a:lnTo>
                    <a:pt x="235" y="275"/>
                  </a:lnTo>
                  <a:lnTo>
                    <a:pt x="246" y="267"/>
                  </a:lnTo>
                  <a:lnTo>
                    <a:pt x="257" y="257"/>
                  </a:lnTo>
                  <a:lnTo>
                    <a:pt x="267" y="246"/>
                  </a:lnTo>
                  <a:lnTo>
                    <a:pt x="275" y="235"/>
                  </a:lnTo>
                  <a:lnTo>
                    <a:pt x="283" y="222"/>
                  </a:lnTo>
                  <a:lnTo>
                    <a:pt x="289" y="209"/>
                  </a:lnTo>
                  <a:lnTo>
                    <a:pt x="295" y="195"/>
                  </a:lnTo>
                  <a:lnTo>
                    <a:pt x="298" y="181"/>
                  </a:lnTo>
                  <a:lnTo>
                    <a:pt x="300" y="166"/>
                  </a:lnTo>
                  <a:lnTo>
                    <a:pt x="301" y="150"/>
                  </a:lnTo>
                  <a:lnTo>
                    <a:pt x="300" y="135"/>
                  </a:lnTo>
                  <a:lnTo>
                    <a:pt x="298" y="120"/>
                  </a:lnTo>
                  <a:lnTo>
                    <a:pt x="295" y="106"/>
                  </a:lnTo>
                  <a:lnTo>
                    <a:pt x="289" y="92"/>
                  </a:lnTo>
                  <a:lnTo>
                    <a:pt x="283" y="78"/>
                  </a:lnTo>
                  <a:lnTo>
                    <a:pt x="275" y="67"/>
                  </a:lnTo>
                  <a:lnTo>
                    <a:pt x="267" y="55"/>
                  </a:lnTo>
                  <a:lnTo>
                    <a:pt x="257" y="44"/>
                  </a:lnTo>
                  <a:lnTo>
                    <a:pt x="246" y="34"/>
                  </a:lnTo>
                  <a:lnTo>
                    <a:pt x="235" y="26"/>
                  </a:lnTo>
                  <a:lnTo>
                    <a:pt x="222" y="18"/>
                  </a:lnTo>
                  <a:lnTo>
                    <a:pt x="209" y="12"/>
                  </a:lnTo>
                  <a:lnTo>
                    <a:pt x="195" y="7"/>
                  </a:lnTo>
                  <a:lnTo>
                    <a:pt x="181" y="3"/>
                  </a:lnTo>
                  <a:lnTo>
                    <a:pt x="166" y="1"/>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24" name="Group 29">
            <a:extLst>
              <a:ext uri="{FF2B5EF4-FFF2-40B4-BE49-F238E27FC236}">
                <a16:creationId xmlns:a16="http://schemas.microsoft.com/office/drawing/2014/main" id="{47496E78-5F8A-42B0-88AB-F8E0D10A6A22}"/>
              </a:ext>
            </a:extLst>
          </p:cNvPr>
          <p:cNvGrpSpPr>
            <a:grpSpLocks noChangeAspect="1"/>
          </p:cNvGrpSpPr>
          <p:nvPr/>
        </p:nvGrpSpPr>
        <p:grpSpPr>
          <a:xfrm>
            <a:off x="5791954" y="2233311"/>
            <a:ext cx="285619" cy="285619"/>
            <a:chOff x="7018338" y="3071813"/>
            <a:chExt cx="285750" cy="285750"/>
          </a:xfrm>
          <a:solidFill>
            <a:schemeClr val="bg2"/>
          </a:solidFill>
          <a:effectLst/>
        </p:grpSpPr>
        <p:sp>
          <p:nvSpPr>
            <p:cNvPr id="1625" name="Freeform 34">
              <a:extLst>
                <a:ext uri="{FF2B5EF4-FFF2-40B4-BE49-F238E27FC236}">
                  <a16:creationId xmlns:a16="http://schemas.microsoft.com/office/drawing/2014/main" id="{B79EB0EC-8613-4D01-93AF-4B0883B8A3AC}"/>
                </a:ext>
              </a:extLst>
            </p:cNvPr>
            <p:cNvSpPr>
              <a:spLocks noEditPoints="1"/>
            </p:cNvSpPr>
            <p:nvPr/>
          </p:nvSpPr>
          <p:spPr bwMode="auto">
            <a:xfrm>
              <a:off x="7018338" y="3071813"/>
              <a:ext cx="285750" cy="285750"/>
            </a:xfrm>
            <a:custGeom>
              <a:avLst/>
              <a:gdLst>
                <a:gd name="T0" fmla="*/ 832 w 902"/>
                <a:gd name="T1" fmla="*/ 553 h 902"/>
                <a:gd name="T2" fmla="*/ 802 w 902"/>
                <a:gd name="T3" fmla="*/ 647 h 902"/>
                <a:gd name="T4" fmla="*/ 755 w 902"/>
                <a:gd name="T5" fmla="*/ 672 h 902"/>
                <a:gd name="T6" fmla="*/ 721 w 902"/>
                <a:gd name="T7" fmla="*/ 765 h 902"/>
                <a:gd name="T8" fmla="*/ 649 w 902"/>
                <a:gd name="T9" fmla="*/ 763 h 902"/>
                <a:gd name="T10" fmla="*/ 602 w 902"/>
                <a:gd name="T11" fmla="*/ 843 h 902"/>
                <a:gd name="T12" fmla="*/ 523 w 902"/>
                <a:gd name="T13" fmla="*/ 811 h 902"/>
                <a:gd name="T14" fmla="*/ 462 w 902"/>
                <a:gd name="T15" fmla="*/ 871 h 902"/>
                <a:gd name="T16" fmla="*/ 387 w 902"/>
                <a:gd name="T17" fmla="*/ 815 h 902"/>
                <a:gd name="T18" fmla="*/ 341 w 902"/>
                <a:gd name="T19" fmla="*/ 838 h 902"/>
                <a:gd name="T20" fmla="*/ 253 w 902"/>
                <a:gd name="T21" fmla="*/ 793 h 902"/>
                <a:gd name="T22" fmla="*/ 221 w 902"/>
                <a:gd name="T23" fmla="*/ 762 h 902"/>
                <a:gd name="T24" fmla="*/ 136 w 902"/>
                <a:gd name="T25" fmla="*/ 712 h 902"/>
                <a:gd name="T26" fmla="*/ 135 w 902"/>
                <a:gd name="T27" fmla="*/ 648 h 902"/>
                <a:gd name="T28" fmla="*/ 58 w 902"/>
                <a:gd name="T29" fmla="*/ 592 h 902"/>
                <a:gd name="T30" fmla="*/ 90 w 902"/>
                <a:gd name="T31" fmla="*/ 519 h 902"/>
                <a:gd name="T32" fmla="*/ 30 w 902"/>
                <a:gd name="T33" fmla="*/ 451 h 902"/>
                <a:gd name="T34" fmla="*/ 90 w 902"/>
                <a:gd name="T35" fmla="*/ 385 h 902"/>
                <a:gd name="T36" fmla="*/ 58 w 902"/>
                <a:gd name="T37" fmla="*/ 311 h 902"/>
                <a:gd name="T38" fmla="*/ 124 w 902"/>
                <a:gd name="T39" fmla="*/ 253 h 902"/>
                <a:gd name="T40" fmla="*/ 137 w 902"/>
                <a:gd name="T41" fmla="*/ 211 h 902"/>
                <a:gd name="T42" fmla="*/ 201 w 902"/>
                <a:gd name="T43" fmla="*/ 136 h 902"/>
                <a:gd name="T44" fmla="*/ 254 w 902"/>
                <a:gd name="T45" fmla="*/ 131 h 902"/>
                <a:gd name="T46" fmla="*/ 321 w 902"/>
                <a:gd name="T47" fmla="*/ 59 h 902"/>
                <a:gd name="T48" fmla="*/ 387 w 902"/>
                <a:gd name="T49" fmla="*/ 88 h 902"/>
                <a:gd name="T50" fmla="*/ 462 w 902"/>
                <a:gd name="T51" fmla="*/ 31 h 902"/>
                <a:gd name="T52" fmla="*/ 523 w 902"/>
                <a:gd name="T53" fmla="*/ 92 h 902"/>
                <a:gd name="T54" fmla="*/ 602 w 902"/>
                <a:gd name="T55" fmla="*/ 59 h 902"/>
                <a:gd name="T56" fmla="*/ 649 w 902"/>
                <a:gd name="T57" fmla="*/ 140 h 902"/>
                <a:gd name="T58" fmla="*/ 721 w 902"/>
                <a:gd name="T59" fmla="*/ 138 h 902"/>
                <a:gd name="T60" fmla="*/ 755 w 902"/>
                <a:gd name="T61" fmla="*/ 232 h 902"/>
                <a:gd name="T62" fmla="*/ 793 w 902"/>
                <a:gd name="T63" fmla="*/ 254 h 902"/>
                <a:gd name="T64" fmla="*/ 842 w 902"/>
                <a:gd name="T65" fmla="*/ 331 h 902"/>
                <a:gd name="T66" fmla="*/ 818 w 902"/>
                <a:gd name="T67" fmla="*/ 390 h 902"/>
                <a:gd name="T68" fmla="*/ 868 w 902"/>
                <a:gd name="T69" fmla="*/ 473 h 902"/>
                <a:gd name="T70" fmla="*/ 889 w 902"/>
                <a:gd name="T71" fmla="*/ 404 h 902"/>
                <a:gd name="T72" fmla="*/ 872 w 902"/>
                <a:gd name="T73" fmla="*/ 291 h 902"/>
                <a:gd name="T74" fmla="*/ 796 w 902"/>
                <a:gd name="T75" fmla="*/ 200 h 902"/>
                <a:gd name="T76" fmla="*/ 732 w 902"/>
                <a:gd name="T77" fmla="*/ 110 h 902"/>
                <a:gd name="T78" fmla="*/ 645 w 902"/>
                <a:gd name="T79" fmla="*/ 47 h 902"/>
                <a:gd name="T80" fmla="*/ 525 w 902"/>
                <a:gd name="T81" fmla="*/ 38 h 902"/>
                <a:gd name="T82" fmla="*/ 404 w 902"/>
                <a:gd name="T83" fmla="*/ 14 h 902"/>
                <a:gd name="T84" fmla="*/ 290 w 902"/>
                <a:gd name="T85" fmla="*/ 31 h 902"/>
                <a:gd name="T86" fmla="*/ 196 w 902"/>
                <a:gd name="T87" fmla="*/ 106 h 902"/>
                <a:gd name="T88" fmla="*/ 111 w 902"/>
                <a:gd name="T89" fmla="*/ 164 h 902"/>
                <a:gd name="T90" fmla="*/ 47 w 902"/>
                <a:gd name="T91" fmla="*/ 257 h 902"/>
                <a:gd name="T92" fmla="*/ 38 w 902"/>
                <a:gd name="T93" fmla="*/ 377 h 902"/>
                <a:gd name="T94" fmla="*/ 13 w 902"/>
                <a:gd name="T95" fmla="*/ 498 h 902"/>
                <a:gd name="T96" fmla="*/ 30 w 902"/>
                <a:gd name="T97" fmla="*/ 612 h 902"/>
                <a:gd name="T98" fmla="*/ 105 w 902"/>
                <a:gd name="T99" fmla="*/ 704 h 902"/>
                <a:gd name="T100" fmla="*/ 169 w 902"/>
                <a:gd name="T101" fmla="*/ 793 h 902"/>
                <a:gd name="T102" fmla="*/ 257 w 902"/>
                <a:gd name="T103" fmla="*/ 855 h 902"/>
                <a:gd name="T104" fmla="*/ 377 w 902"/>
                <a:gd name="T105" fmla="*/ 865 h 902"/>
                <a:gd name="T106" fmla="*/ 498 w 902"/>
                <a:gd name="T107" fmla="*/ 889 h 902"/>
                <a:gd name="T108" fmla="*/ 612 w 902"/>
                <a:gd name="T109" fmla="*/ 872 h 902"/>
                <a:gd name="T110" fmla="*/ 706 w 902"/>
                <a:gd name="T111" fmla="*/ 797 h 902"/>
                <a:gd name="T112" fmla="*/ 791 w 902"/>
                <a:gd name="T113" fmla="*/ 739 h 902"/>
                <a:gd name="T114" fmla="*/ 855 w 902"/>
                <a:gd name="T115" fmla="*/ 645 h 902"/>
                <a:gd name="T116" fmla="*/ 865 w 902"/>
                <a:gd name="T117" fmla="*/ 52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902">
                  <a:moveTo>
                    <a:pt x="823" y="511"/>
                  </a:moveTo>
                  <a:lnTo>
                    <a:pt x="818" y="512"/>
                  </a:lnTo>
                  <a:lnTo>
                    <a:pt x="814" y="516"/>
                  </a:lnTo>
                  <a:lnTo>
                    <a:pt x="812" y="519"/>
                  </a:lnTo>
                  <a:lnTo>
                    <a:pt x="810" y="523"/>
                  </a:lnTo>
                  <a:lnTo>
                    <a:pt x="810" y="527"/>
                  </a:lnTo>
                  <a:lnTo>
                    <a:pt x="811" y="532"/>
                  </a:lnTo>
                  <a:lnTo>
                    <a:pt x="813" y="536"/>
                  </a:lnTo>
                  <a:lnTo>
                    <a:pt x="816" y="539"/>
                  </a:lnTo>
                  <a:lnTo>
                    <a:pt x="825" y="546"/>
                  </a:lnTo>
                  <a:lnTo>
                    <a:pt x="832" y="553"/>
                  </a:lnTo>
                  <a:lnTo>
                    <a:pt x="838" y="562"/>
                  </a:lnTo>
                  <a:lnTo>
                    <a:pt x="842" y="571"/>
                  </a:lnTo>
                  <a:lnTo>
                    <a:pt x="844" y="582"/>
                  </a:lnTo>
                  <a:lnTo>
                    <a:pt x="844" y="592"/>
                  </a:lnTo>
                  <a:lnTo>
                    <a:pt x="843" y="602"/>
                  </a:lnTo>
                  <a:lnTo>
                    <a:pt x="840" y="613"/>
                  </a:lnTo>
                  <a:lnTo>
                    <a:pt x="835" y="622"/>
                  </a:lnTo>
                  <a:lnTo>
                    <a:pt x="828" y="630"/>
                  </a:lnTo>
                  <a:lnTo>
                    <a:pt x="821" y="638"/>
                  </a:lnTo>
                  <a:lnTo>
                    <a:pt x="812" y="643"/>
                  </a:lnTo>
                  <a:lnTo>
                    <a:pt x="802" y="647"/>
                  </a:lnTo>
                  <a:lnTo>
                    <a:pt x="793" y="649"/>
                  </a:lnTo>
                  <a:lnTo>
                    <a:pt x="782" y="650"/>
                  </a:lnTo>
                  <a:lnTo>
                    <a:pt x="771" y="648"/>
                  </a:lnTo>
                  <a:lnTo>
                    <a:pt x="767" y="648"/>
                  </a:lnTo>
                  <a:lnTo>
                    <a:pt x="763" y="649"/>
                  </a:lnTo>
                  <a:lnTo>
                    <a:pt x="759" y="652"/>
                  </a:lnTo>
                  <a:lnTo>
                    <a:pt x="755" y="655"/>
                  </a:lnTo>
                  <a:lnTo>
                    <a:pt x="753" y="659"/>
                  </a:lnTo>
                  <a:lnTo>
                    <a:pt x="753" y="663"/>
                  </a:lnTo>
                  <a:lnTo>
                    <a:pt x="754" y="668"/>
                  </a:lnTo>
                  <a:lnTo>
                    <a:pt x="755" y="672"/>
                  </a:lnTo>
                  <a:lnTo>
                    <a:pt x="761" y="682"/>
                  </a:lnTo>
                  <a:lnTo>
                    <a:pt x="765" y="691"/>
                  </a:lnTo>
                  <a:lnTo>
                    <a:pt x="766" y="702"/>
                  </a:lnTo>
                  <a:lnTo>
                    <a:pt x="766" y="712"/>
                  </a:lnTo>
                  <a:lnTo>
                    <a:pt x="764" y="722"/>
                  </a:lnTo>
                  <a:lnTo>
                    <a:pt x="761" y="732"/>
                  </a:lnTo>
                  <a:lnTo>
                    <a:pt x="755" y="740"/>
                  </a:lnTo>
                  <a:lnTo>
                    <a:pt x="749" y="749"/>
                  </a:lnTo>
                  <a:lnTo>
                    <a:pt x="740" y="755"/>
                  </a:lnTo>
                  <a:lnTo>
                    <a:pt x="732" y="761"/>
                  </a:lnTo>
                  <a:lnTo>
                    <a:pt x="721" y="765"/>
                  </a:lnTo>
                  <a:lnTo>
                    <a:pt x="711" y="766"/>
                  </a:lnTo>
                  <a:lnTo>
                    <a:pt x="701" y="766"/>
                  </a:lnTo>
                  <a:lnTo>
                    <a:pt x="690" y="765"/>
                  </a:lnTo>
                  <a:lnTo>
                    <a:pt x="680" y="762"/>
                  </a:lnTo>
                  <a:lnTo>
                    <a:pt x="672" y="757"/>
                  </a:lnTo>
                  <a:lnTo>
                    <a:pt x="667" y="754"/>
                  </a:lnTo>
                  <a:lnTo>
                    <a:pt x="663" y="753"/>
                  </a:lnTo>
                  <a:lnTo>
                    <a:pt x="659" y="754"/>
                  </a:lnTo>
                  <a:lnTo>
                    <a:pt x="655" y="757"/>
                  </a:lnTo>
                  <a:lnTo>
                    <a:pt x="651" y="760"/>
                  </a:lnTo>
                  <a:lnTo>
                    <a:pt x="649" y="763"/>
                  </a:lnTo>
                  <a:lnTo>
                    <a:pt x="648" y="767"/>
                  </a:lnTo>
                  <a:lnTo>
                    <a:pt x="648" y="772"/>
                  </a:lnTo>
                  <a:lnTo>
                    <a:pt x="649" y="782"/>
                  </a:lnTo>
                  <a:lnTo>
                    <a:pt x="649" y="793"/>
                  </a:lnTo>
                  <a:lnTo>
                    <a:pt x="646" y="804"/>
                  </a:lnTo>
                  <a:lnTo>
                    <a:pt x="643" y="812"/>
                  </a:lnTo>
                  <a:lnTo>
                    <a:pt x="636" y="822"/>
                  </a:lnTo>
                  <a:lnTo>
                    <a:pt x="630" y="829"/>
                  </a:lnTo>
                  <a:lnTo>
                    <a:pt x="621" y="836"/>
                  </a:lnTo>
                  <a:lnTo>
                    <a:pt x="612" y="840"/>
                  </a:lnTo>
                  <a:lnTo>
                    <a:pt x="602" y="843"/>
                  </a:lnTo>
                  <a:lnTo>
                    <a:pt x="591" y="845"/>
                  </a:lnTo>
                  <a:lnTo>
                    <a:pt x="581" y="844"/>
                  </a:lnTo>
                  <a:lnTo>
                    <a:pt x="571" y="842"/>
                  </a:lnTo>
                  <a:lnTo>
                    <a:pt x="561" y="838"/>
                  </a:lnTo>
                  <a:lnTo>
                    <a:pt x="553" y="833"/>
                  </a:lnTo>
                  <a:lnTo>
                    <a:pt x="544" y="826"/>
                  </a:lnTo>
                  <a:lnTo>
                    <a:pt x="538" y="818"/>
                  </a:lnTo>
                  <a:lnTo>
                    <a:pt x="535" y="814"/>
                  </a:lnTo>
                  <a:lnTo>
                    <a:pt x="531" y="812"/>
                  </a:lnTo>
                  <a:lnTo>
                    <a:pt x="527" y="811"/>
                  </a:lnTo>
                  <a:lnTo>
                    <a:pt x="523" y="811"/>
                  </a:lnTo>
                  <a:lnTo>
                    <a:pt x="519" y="812"/>
                  </a:lnTo>
                  <a:lnTo>
                    <a:pt x="514" y="815"/>
                  </a:lnTo>
                  <a:lnTo>
                    <a:pt x="512" y="819"/>
                  </a:lnTo>
                  <a:lnTo>
                    <a:pt x="511" y="823"/>
                  </a:lnTo>
                  <a:lnTo>
                    <a:pt x="508" y="834"/>
                  </a:lnTo>
                  <a:lnTo>
                    <a:pt x="504" y="843"/>
                  </a:lnTo>
                  <a:lnTo>
                    <a:pt x="497" y="851"/>
                  </a:lnTo>
                  <a:lnTo>
                    <a:pt x="490" y="858"/>
                  </a:lnTo>
                  <a:lnTo>
                    <a:pt x="481" y="865"/>
                  </a:lnTo>
                  <a:lnTo>
                    <a:pt x="471" y="869"/>
                  </a:lnTo>
                  <a:lnTo>
                    <a:pt x="462" y="871"/>
                  </a:lnTo>
                  <a:lnTo>
                    <a:pt x="451" y="872"/>
                  </a:lnTo>
                  <a:lnTo>
                    <a:pt x="440" y="871"/>
                  </a:lnTo>
                  <a:lnTo>
                    <a:pt x="430" y="869"/>
                  </a:lnTo>
                  <a:lnTo>
                    <a:pt x="421" y="865"/>
                  </a:lnTo>
                  <a:lnTo>
                    <a:pt x="412" y="858"/>
                  </a:lnTo>
                  <a:lnTo>
                    <a:pt x="405" y="851"/>
                  </a:lnTo>
                  <a:lnTo>
                    <a:pt x="399" y="843"/>
                  </a:lnTo>
                  <a:lnTo>
                    <a:pt x="394" y="834"/>
                  </a:lnTo>
                  <a:lnTo>
                    <a:pt x="391" y="823"/>
                  </a:lnTo>
                  <a:lnTo>
                    <a:pt x="390" y="819"/>
                  </a:lnTo>
                  <a:lnTo>
                    <a:pt x="387" y="815"/>
                  </a:lnTo>
                  <a:lnTo>
                    <a:pt x="384" y="812"/>
                  </a:lnTo>
                  <a:lnTo>
                    <a:pt x="379" y="811"/>
                  </a:lnTo>
                  <a:lnTo>
                    <a:pt x="378" y="811"/>
                  </a:lnTo>
                  <a:lnTo>
                    <a:pt x="376" y="811"/>
                  </a:lnTo>
                  <a:lnTo>
                    <a:pt x="373" y="811"/>
                  </a:lnTo>
                  <a:lnTo>
                    <a:pt x="370" y="812"/>
                  </a:lnTo>
                  <a:lnTo>
                    <a:pt x="366" y="814"/>
                  </a:lnTo>
                  <a:lnTo>
                    <a:pt x="364" y="818"/>
                  </a:lnTo>
                  <a:lnTo>
                    <a:pt x="358" y="826"/>
                  </a:lnTo>
                  <a:lnTo>
                    <a:pt x="349" y="833"/>
                  </a:lnTo>
                  <a:lnTo>
                    <a:pt x="341" y="838"/>
                  </a:lnTo>
                  <a:lnTo>
                    <a:pt x="331" y="842"/>
                  </a:lnTo>
                  <a:lnTo>
                    <a:pt x="321" y="844"/>
                  </a:lnTo>
                  <a:lnTo>
                    <a:pt x="311" y="845"/>
                  </a:lnTo>
                  <a:lnTo>
                    <a:pt x="300" y="843"/>
                  </a:lnTo>
                  <a:lnTo>
                    <a:pt x="290" y="840"/>
                  </a:lnTo>
                  <a:lnTo>
                    <a:pt x="281" y="836"/>
                  </a:lnTo>
                  <a:lnTo>
                    <a:pt x="272" y="829"/>
                  </a:lnTo>
                  <a:lnTo>
                    <a:pt x="265" y="822"/>
                  </a:lnTo>
                  <a:lnTo>
                    <a:pt x="259" y="812"/>
                  </a:lnTo>
                  <a:lnTo>
                    <a:pt x="255" y="804"/>
                  </a:lnTo>
                  <a:lnTo>
                    <a:pt x="253" y="793"/>
                  </a:lnTo>
                  <a:lnTo>
                    <a:pt x="253" y="782"/>
                  </a:lnTo>
                  <a:lnTo>
                    <a:pt x="254" y="772"/>
                  </a:lnTo>
                  <a:lnTo>
                    <a:pt x="254" y="767"/>
                  </a:lnTo>
                  <a:lnTo>
                    <a:pt x="253" y="763"/>
                  </a:lnTo>
                  <a:lnTo>
                    <a:pt x="251" y="760"/>
                  </a:lnTo>
                  <a:lnTo>
                    <a:pt x="248" y="757"/>
                  </a:lnTo>
                  <a:lnTo>
                    <a:pt x="243" y="754"/>
                  </a:lnTo>
                  <a:lnTo>
                    <a:pt x="239" y="753"/>
                  </a:lnTo>
                  <a:lnTo>
                    <a:pt x="235" y="754"/>
                  </a:lnTo>
                  <a:lnTo>
                    <a:pt x="230" y="757"/>
                  </a:lnTo>
                  <a:lnTo>
                    <a:pt x="221" y="762"/>
                  </a:lnTo>
                  <a:lnTo>
                    <a:pt x="211" y="765"/>
                  </a:lnTo>
                  <a:lnTo>
                    <a:pt x="201" y="766"/>
                  </a:lnTo>
                  <a:lnTo>
                    <a:pt x="191" y="766"/>
                  </a:lnTo>
                  <a:lnTo>
                    <a:pt x="180" y="765"/>
                  </a:lnTo>
                  <a:lnTo>
                    <a:pt x="170" y="761"/>
                  </a:lnTo>
                  <a:lnTo>
                    <a:pt x="162" y="755"/>
                  </a:lnTo>
                  <a:lnTo>
                    <a:pt x="153" y="749"/>
                  </a:lnTo>
                  <a:lnTo>
                    <a:pt x="147" y="740"/>
                  </a:lnTo>
                  <a:lnTo>
                    <a:pt x="141" y="732"/>
                  </a:lnTo>
                  <a:lnTo>
                    <a:pt x="137" y="722"/>
                  </a:lnTo>
                  <a:lnTo>
                    <a:pt x="136" y="712"/>
                  </a:lnTo>
                  <a:lnTo>
                    <a:pt x="136" y="702"/>
                  </a:lnTo>
                  <a:lnTo>
                    <a:pt x="137" y="691"/>
                  </a:lnTo>
                  <a:lnTo>
                    <a:pt x="140" y="682"/>
                  </a:lnTo>
                  <a:lnTo>
                    <a:pt x="146" y="672"/>
                  </a:lnTo>
                  <a:lnTo>
                    <a:pt x="148" y="668"/>
                  </a:lnTo>
                  <a:lnTo>
                    <a:pt x="149" y="663"/>
                  </a:lnTo>
                  <a:lnTo>
                    <a:pt x="148" y="659"/>
                  </a:lnTo>
                  <a:lnTo>
                    <a:pt x="147" y="655"/>
                  </a:lnTo>
                  <a:lnTo>
                    <a:pt x="144" y="652"/>
                  </a:lnTo>
                  <a:lnTo>
                    <a:pt x="139" y="649"/>
                  </a:lnTo>
                  <a:lnTo>
                    <a:pt x="135" y="648"/>
                  </a:lnTo>
                  <a:lnTo>
                    <a:pt x="131" y="648"/>
                  </a:lnTo>
                  <a:lnTo>
                    <a:pt x="120" y="650"/>
                  </a:lnTo>
                  <a:lnTo>
                    <a:pt x="109" y="649"/>
                  </a:lnTo>
                  <a:lnTo>
                    <a:pt x="100" y="647"/>
                  </a:lnTo>
                  <a:lnTo>
                    <a:pt x="90" y="643"/>
                  </a:lnTo>
                  <a:lnTo>
                    <a:pt x="81" y="638"/>
                  </a:lnTo>
                  <a:lnTo>
                    <a:pt x="73" y="630"/>
                  </a:lnTo>
                  <a:lnTo>
                    <a:pt x="66" y="623"/>
                  </a:lnTo>
                  <a:lnTo>
                    <a:pt x="62" y="613"/>
                  </a:lnTo>
                  <a:lnTo>
                    <a:pt x="59" y="602"/>
                  </a:lnTo>
                  <a:lnTo>
                    <a:pt x="58" y="592"/>
                  </a:lnTo>
                  <a:lnTo>
                    <a:pt x="58" y="582"/>
                  </a:lnTo>
                  <a:lnTo>
                    <a:pt x="60" y="571"/>
                  </a:lnTo>
                  <a:lnTo>
                    <a:pt x="64" y="562"/>
                  </a:lnTo>
                  <a:lnTo>
                    <a:pt x="70" y="553"/>
                  </a:lnTo>
                  <a:lnTo>
                    <a:pt x="76" y="546"/>
                  </a:lnTo>
                  <a:lnTo>
                    <a:pt x="85" y="539"/>
                  </a:lnTo>
                  <a:lnTo>
                    <a:pt x="88" y="536"/>
                  </a:lnTo>
                  <a:lnTo>
                    <a:pt x="91" y="532"/>
                  </a:lnTo>
                  <a:lnTo>
                    <a:pt x="92" y="527"/>
                  </a:lnTo>
                  <a:lnTo>
                    <a:pt x="91" y="523"/>
                  </a:lnTo>
                  <a:lnTo>
                    <a:pt x="90" y="519"/>
                  </a:lnTo>
                  <a:lnTo>
                    <a:pt x="87" y="516"/>
                  </a:lnTo>
                  <a:lnTo>
                    <a:pt x="84" y="512"/>
                  </a:lnTo>
                  <a:lnTo>
                    <a:pt x="79" y="511"/>
                  </a:lnTo>
                  <a:lnTo>
                    <a:pt x="70" y="508"/>
                  </a:lnTo>
                  <a:lnTo>
                    <a:pt x="60" y="504"/>
                  </a:lnTo>
                  <a:lnTo>
                    <a:pt x="51" y="497"/>
                  </a:lnTo>
                  <a:lnTo>
                    <a:pt x="44" y="490"/>
                  </a:lnTo>
                  <a:lnTo>
                    <a:pt x="38" y="482"/>
                  </a:lnTo>
                  <a:lnTo>
                    <a:pt x="33" y="473"/>
                  </a:lnTo>
                  <a:lnTo>
                    <a:pt x="31" y="462"/>
                  </a:lnTo>
                  <a:lnTo>
                    <a:pt x="30" y="451"/>
                  </a:lnTo>
                  <a:lnTo>
                    <a:pt x="31" y="441"/>
                  </a:lnTo>
                  <a:lnTo>
                    <a:pt x="33" y="431"/>
                  </a:lnTo>
                  <a:lnTo>
                    <a:pt x="38" y="421"/>
                  </a:lnTo>
                  <a:lnTo>
                    <a:pt x="44" y="413"/>
                  </a:lnTo>
                  <a:lnTo>
                    <a:pt x="51" y="405"/>
                  </a:lnTo>
                  <a:lnTo>
                    <a:pt x="60" y="400"/>
                  </a:lnTo>
                  <a:lnTo>
                    <a:pt x="69" y="394"/>
                  </a:lnTo>
                  <a:lnTo>
                    <a:pt x="79" y="392"/>
                  </a:lnTo>
                  <a:lnTo>
                    <a:pt x="84" y="390"/>
                  </a:lnTo>
                  <a:lnTo>
                    <a:pt x="87" y="388"/>
                  </a:lnTo>
                  <a:lnTo>
                    <a:pt x="90" y="385"/>
                  </a:lnTo>
                  <a:lnTo>
                    <a:pt x="91" y="381"/>
                  </a:lnTo>
                  <a:lnTo>
                    <a:pt x="92" y="375"/>
                  </a:lnTo>
                  <a:lnTo>
                    <a:pt x="91" y="371"/>
                  </a:lnTo>
                  <a:lnTo>
                    <a:pt x="88" y="368"/>
                  </a:lnTo>
                  <a:lnTo>
                    <a:pt x="85" y="364"/>
                  </a:lnTo>
                  <a:lnTo>
                    <a:pt x="76" y="358"/>
                  </a:lnTo>
                  <a:lnTo>
                    <a:pt x="70" y="351"/>
                  </a:lnTo>
                  <a:lnTo>
                    <a:pt x="64" y="341"/>
                  </a:lnTo>
                  <a:lnTo>
                    <a:pt x="60" y="331"/>
                  </a:lnTo>
                  <a:lnTo>
                    <a:pt x="58" y="322"/>
                  </a:lnTo>
                  <a:lnTo>
                    <a:pt x="58" y="311"/>
                  </a:lnTo>
                  <a:lnTo>
                    <a:pt x="59" y="301"/>
                  </a:lnTo>
                  <a:lnTo>
                    <a:pt x="62" y="291"/>
                  </a:lnTo>
                  <a:lnTo>
                    <a:pt x="66" y="282"/>
                  </a:lnTo>
                  <a:lnTo>
                    <a:pt x="72" y="275"/>
                  </a:lnTo>
                  <a:lnTo>
                    <a:pt x="77" y="269"/>
                  </a:lnTo>
                  <a:lnTo>
                    <a:pt x="85" y="263"/>
                  </a:lnTo>
                  <a:lnTo>
                    <a:pt x="92" y="258"/>
                  </a:lnTo>
                  <a:lnTo>
                    <a:pt x="101" y="255"/>
                  </a:lnTo>
                  <a:lnTo>
                    <a:pt x="109" y="254"/>
                  </a:lnTo>
                  <a:lnTo>
                    <a:pt x="118" y="253"/>
                  </a:lnTo>
                  <a:lnTo>
                    <a:pt x="124" y="253"/>
                  </a:lnTo>
                  <a:lnTo>
                    <a:pt x="131" y="254"/>
                  </a:lnTo>
                  <a:lnTo>
                    <a:pt x="135" y="254"/>
                  </a:lnTo>
                  <a:lnTo>
                    <a:pt x="139" y="253"/>
                  </a:lnTo>
                  <a:lnTo>
                    <a:pt x="144" y="251"/>
                  </a:lnTo>
                  <a:lnTo>
                    <a:pt x="147" y="248"/>
                  </a:lnTo>
                  <a:lnTo>
                    <a:pt x="148" y="243"/>
                  </a:lnTo>
                  <a:lnTo>
                    <a:pt x="149" y="239"/>
                  </a:lnTo>
                  <a:lnTo>
                    <a:pt x="148" y="235"/>
                  </a:lnTo>
                  <a:lnTo>
                    <a:pt x="146" y="232"/>
                  </a:lnTo>
                  <a:lnTo>
                    <a:pt x="140" y="222"/>
                  </a:lnTo>
                  <a:lnTo>
                    <a:pt x="137" y="211"/>
                  </a:lnTo>
                  <a:lnTo>
                    <a:pt x="136" y="202"/>
                  </a:lnTo>
                  <a:lnTo>
                    <a:pt x="136" y="191"/>
                  </a:lnTo>
                  <a:lnTo>
                    <a:pt x="137" y="181"/>
                  </a:lnTo>
                  <a:lnTo>
                    <a:pt x="141" y="172"/>
                  </a:lnTo>
                  <a:lnTo>
                    <a:pt x="147" y="162"/>
                  </a:lnTo>
                  <a:lnTo>
                    <a:pt x="153" y="153"/>
                  </a:lnTo>
                  <a:lnTo>
                    <a:pt x="162" y="147"/>
                  </a:lnTo>
                  <a:lnTo>
                    <a:pt x="170" y="142"/>
                  </a:lnTo>
                  <a:lnTo>
                    <a:pt x="180" y="138"/>
                  </a:lnTo>
                  <a:lnTo>
                    <a:pt x="191" y="136"/>
                  </a:lnTo>
                  <a:lnTo>
                    <a:pt x="201" y="136"/>
                  </a:lnTo>
                  <a:lnTo>
                    <a:pt x="211" y="138"/>
                  </a:lnTo>
                  <a:lnTo>
                    <a:pt x="221" y="142"/>
                  </a:lnTo>
                  <a:lnTo>
                    <a:pt x="230" y="147"/>
                  </a:lnTo>
                  <a:lnTo>
                    <a:pt x="235" y="149"/>
                  </a:lnTo>
                  <a:lnTo>
                    <a:pt x="239" y="149"/>
                  </a:lnTo>
                  <a:lnTo>
                    <a:pt x="243" y="149"/>
                  </a:lnTo>
                  <a:lnTo>
                    <a:pt x="248" y="147"/>
                  </a:lnTo>
                  <a:lnTo>
                    <a:pt x="251" y="144"/>
                  </a:lnTo>
                  <a:lnTo>
                    <a:pt x="253" y="140"/>
                  </a:lnTo>
                  <a:lnTo>
                    <a:pt x="254" y="136"/>
                  </a:lnTo>
                  <a:lnTo>
                    <a:pt x="254" y="131"/>
                  </a:lnTo>
                  <a:lnTo>
                    <a:pt x="253" y="120"/>
                  </a:lnTo>
                  <a:lnTo>
                    <a:pt x="253" y="111"/>
                  </a:lnTo>
                  <a:lnTo>
                    <a:pt x="255" y="100"/>
                  </a:lnTo>
                  <a:lnTo>
                    <a:pt x="259" y="90"/>
                  </a:lnTo>
                  <a:lnTo>
                    <a:pt x="265" y="82"/>
                  </a:lnTo>
                  <a:lnTo>
                    <a:pt x="272" y="74"/>
                  </a:lnTo>
                  <a:lnTo>
                    <a:pt x="281" y="68"/>
                  </a:lnTo>
                  <a:lnTo>
                    <a:pt x="289" y="62"/>
                  </a:lnTo>
                  <a:lnTo>
                    <a:pt x="300" y="59"/>
                  </a:lnTo>
                  <a:lnTo>
                    <a:pt x="311" y="58"/>
                  </a:lnTo>
                  <a:lnTo>
                    <a:pt x="321" y="59"/>
                  </a:lnTo>
                  <a:lnTo>
                    <a:pt x="331" y="61"/>
                  </a:lnTo>
                  <a:lnTo>
                    <a:pt x="341" y="65"/>
                  </a:lnTo>
                  <a:lnTo>
                    <a:pt x="349" y="70"/>
                  </a:lnTo>
                  <a:lnTo>
                    <a:pt x="357" y="77"/>
                  </a:lnTo>
                  <a:lnTo>
                    <a:pt x="364" y="86"/>
                  </a:lnTo>
                  <a:lnTo>
                    <a:pt x="366" y="89"/>
                  </a:lnTo>
                  <a:lnTo>
                    <a:pt x="371" y="91"/>
                  </a:lnTo>
                  <a:lnTo>
                    <a:pt x="375" y="92"/>
                  </a:lnTo>
                  <a:lnTo>
                    <a:pt x="379" y="92"/>
                  </a:lnTo>
                  <a:lnTo>
                    <a:pt x="384" y="90"/>
                  </a:lnTo>
                  <a:lnTo>
                    <a:pt x="387" y="88"/>
                  </a:lnTo>
                  <a:lnTo>
                    <a:pt x="390" y="85"/>
                  </a:lnTo>
                  <a:lnTo>
                    <a:pt x="391" y="81"/>
                  </a:lnTo>
                  <a:lnTo>
                    <a:pt x="394" y="70"/>
                  </a:lnTo>
                  <a:lnTo>
                    <a:pt x="399" y="60"/>
                  </a:lnTo>
                  <a:lnTo>
                    <a:pt x="405" y="52"/>
                  </a:lnTo>
                  <a:lnTo>
                    <a:pt x="412" y="44"/>
                  </a:lnTo>
                  <a:lnTo>
                    <a:pt x="421" y="39"/>
                  </a:lnTo>
                  <a:lnTo>
                    <a:pt x="430" y="35"/>
                  </a:lnTo>
                  <a:lnTo>
                    <a:pt x="440" y="31"/>
                  </a:lnTo>
                  <a:lnTo>
                    <a:pt x="451" y="30"/>
                  </a:lnTo>
                  <a:lnTo>
                    <a:pt x="462" y="31"/>
                  </a:lnTo>
                  <a:lnTo>
                    <a:pt x="471" y="35"/>
                  </a:lnTo>
                  <a:lnTo>
                    <a:pt x="481" y="39"/>
                  </a:lnTo>
                  <a:lnTo>
                    <a:pt x="490" y="44"/>
                  </a:lnTo>
                  <a:lnTo>
                    <a:pt x="497" y="52"/>
                  </a:lnTo>
                  <a:lnTo>
                    <a:pt x="504" y="60"/>
                  </a:lnTo>
                  <a:lnTo>
                    <a:pt x="508" y="70"/>
                  </a:lnTo>
                  <a:lnTo>
                    <a:pt x="511" y="81"/>
                  </a:lnTo>
                  <a:lnTo>
                    <a:pt x="512" y="85"/>
                  </a:lnTo>
                  <a:lnTo>
                    <a:pt x="514" y="88"/>
                  </a:lnTo>
                  <a:lnTo>
                    <a:pt x="519" y="90"/>
                  </a:lnTo>
                  <a:lnTo>
                    <a:pt x="523" y="92"/>
                  </a:lnTo>
                  <a:lnTo>
                    <a:pt x="527" y="92"/>
                  </a:lnTo>
                  <a:lnTo>
                    <a:pt x="531" y="91"/>
                  </a:lnTo>
                  <a:lnTo>
                    <a:pt x="535" y="89"/>
                  </a:lnTo>
                  <a:lnTo>
                    <a:pt x="538" y="86"/>
                  </a:lnTo>
                  <a:lnTo>
                    <a:pt x="544" y="77"/>
                  </a:lnTo>
                  <a:lnTo>
                    <a:pt x="553" y="70"/>
                  </a:lnTo>
                  <a:lnTo>
                    <a:pt x="561" y="65"/>
                  </a:lnTo>
                  <a:lnTo>
                    <a:pt x="571" y="61"/>
                  </a:lnTo>
                  <a:lnTo>
                    <a:pt x="581" y="59"/>
                  </a:lnTo>
                  <a:lnTo>
                    <a:pt x="591" y="58"/>
                  </a:lnTo>
                  <a:lnTo>
                    <a:pt x="602" y="59"/>
                  </a:lnTo>
                  <a:lnTo>
                    <a:pt x="612" y="62"/>
                  </a:lnTo>
                  <a:lnTo>
                    <a:pt x="621" y="68"/>
                  </a:lnTo>
                  <a:lnTo>
                    <a:pt x="630" y="74"/>
                  </a:lnTo>
                  <a:lnTo>
                    <a:pt x="636" y="82"/>
                  </a:lnTo>
                  <a:lnTo>
                    <a:pt x="643" y="90"/>
                  </a:lnTo>
                  <a:lnTo>
                    <a:pt x="646" y="100"/>
                  </a:lnTo>
                  <a:lnTo>
                    <a:pt x="649" y="111"/>
                  </a:lnTo>
                  <a:lnTo>
                    <a:pt x="649" y="120"/>
                  </a:lnTo>
                  <a:lnTo>
                    <a:pt x="648" y="131"/>
                  </a:lnTo>
                  <a:lnTo>
                    <a:pt x="648" y="135"/>
                  </a:lnTo>
                  <a:lnTo>
                    <a:pt x="649" y="140"/>
                  </a:lnTo>
                  <a:lnTo>
                    <a:pt x="651" y="144"/>
                  </a:lnTo>
                  <a:lnTo>
                    <a:pt x="655" y="147"/>
                  </a:lnTo>
                  <a:lnTo>
                    <a:pt x="659" y="149"/>
                  </a:lnTo>
                  <a:lnTo>
                    <a:pt x="663" y="149"/>
                  </a:lnTo>
                  <a:lnTo>
                    <a:pt x="667" y="149"/>
                  </a:lnTo>
                  <a:lnTo>
                    <a:pt x="672" y="147"/>
                  </a:lnTo>
                  <a:lnTo>
                    <a:pt x="680" y="142"/>
                  </a:lnTo>
                  <a:lnTo>
                    <a:pt x="690" y="138"/>
                  </a:lnTo>
                  <a:lnTo>
                    <a:pt x="701" y="136"/>
                  </a:lnTo>
                  <a:lnTo>
                    <a:pt x="711" y="136"/>
                  </a:lnTo>
                  <a:lnTo>
                    <a:pt x="721" y="138"/>
                  </a:lnTo>
                  <a:lnTo>
                    <a:pt x="732" y="142"/>
                  </a:lnTo>
                  <a:lnTo>
                    <a:pt x="740" y="147"/>
                  </a:lnTo>
                  <a:lnTo>
                    <a:pt x="749" y="153"/>
                  </a:lnTo>
                  <a:lnTo>
                    <a:pt x="755" y="162"/>
                  </a:lnTo>
                  <a:lnTo>
                    <a:pt x="761" y="172"/>
                  </a:lnTo>
                  <a:lnTo>
                    <a:pt x="764" y="181"/>
                  </a:lnTo>
                  <a:lnTo>
                    <a:pt x="766" y="191"/>
                  </a:lnTo>
                  <a:lnTo>
                    <a:pt x="766" y="202"/>
                  </a:lnTo>
                  <a:lnTo>
                    <a:pt x="765" y="211"/>
                  </a:lnTo>
                  <a:lnTo>
                    <a:pt x="761" y="222"/>
                  </a:lnTo>
                  <a:lnTo>
                    <a:pt x="755" y="232"/>
                  </a:lnTo>
                  <a:lnTo>
                    <a:pt x="754" y="235"/>
                  </a:lnTo>
                  <a:lnTo>
                    <a:pt x="753" y="239"/>
                  </a:lnTo>
                  <a:lnTo>
                    <a:pt x="753" y="243"/>
                  </a:lnTo>
                  <a:lnTo>
                    <a:pt x="755" y="248"/>
                  </a:lnTo>
                  <a:lnTo>
                    <a:pt x="759" y="251"/>
                  </a:lnTo>
                  <a:lnTo>
                    <a:pt x="763" y="253"/>
                  </a:lnTo>
                  <a:lnTo>
                    <a:pt x="767" y="254"/>
                  </a:lnTo>
                  <a:lnTo>
                    <a:pt x="771" y="254"/>
                  </a:lnTo>
                  <a:lnTo>
                    <a:pt x="778" y="253"/>
                  </a:lnTo>
                  <a:lnTo>
                    <a:pt x="784" y="253"/>
                  </a:lnTo>
                  <a:lnTo>
                    <a:pt x="793" y="254"/>
                  </a:lnTo>
                  <a:lnTo>
                    <a:pt x="801" y="255"/>
                  </a:lnTo>
                  <a:lnTo>
                    <a:pt x="810" y="258"/>
                  </a:lnTo>
                  <a:lnTo>
                    <a:pt x="817" y="263"/>
                  </a:lnTo>
                  <a:lnTo>
                    <a:pt x="825" y="269"/>
                  </a:lnTo>
                  <a:lnTo>
                    <a:pt x="830" y="276"/>
                  </a:lnTo>
                  <a:lnTo>
                    <a:pt x="836" y="282"/>
                  </a:lnTo>
                  <a:lnTo>
                    <a:pt x="840" y="291"/>
                  </a:lnTo>
                  <a:lnTo>
                    <a:pt x="843" y="301"/>
                  </a:lnTo>
                  <a:lnTo>
                    <a:pt x="844" y="311"/>
                  </a:lnTo>
                  <a:lnTo>
                    <a:pt x="844" y="322"/>
                  </a:lnTo>
                  <a:lnTo>
                    <a:pt x="842" y="331"/>
                  </a:lnTo>
                  <a:lnTo>
                    <a:pt x="838" y="341"/>
                  </a:lnTo>
                  <a:lnTo>
                    <a:pt x="832" y="351"/>
                  </a:lnTo>
                  <a:lnTo>
                    <a:pt x="825" y="358"/>
                  </a:lnTo>
                  <a:lnTo>
                    <a:pt x="816" y="364"/>
                  </a:lnTo>
                  <a:lnTo>
                    <a:pt x="813" y="368"/>
                  </a:lnTo>
                  <a:lnTo>
                    <a:pt x="811" y="371"/>
                  </a:lnTo>
                  <a:lnTo>
                    <a:pt x="810" y="375"/>
                  </a:lnTo>
                  <a:lnTo>
                    <a:pt x="810" y="381"/>
                  </a:lnTo>
                  <a:lnTo>
                    <a:pt x="812" y="385"/>
                  </a:lnTo>
                  <a:lnTo>
                    <a:pt x="814" y="388"/>
                  </a:lnTo>
                  <a:lnTo>
                    <a:pt x="818" y="390"/>
                  </a:lnTo>
                  <a:lnTo>
                    <a:pt x="823" y="392"/>
                  </a:lnTo>
                  <a:lnTo>
                    <a:pt x="832" y="394"/>
                  </a:lnTo>
                  <a:lnTo>
                    <a:pt x="842" y="400"/>
                  </a:lnTo>
                  <a:lnTo>
                    <a:pt x="851" y="405"/>
                  </a:lnTo>
                  <a:lnTo>
                    <a:pt x="858" y="413"/>
                  </a:lnTo>
                  <a:lnTo>
                    <a:pt x="863" y="421"/>
                  </a:lnTo>
                  <a:lnTo>
                    <a:pt x="868" y="431"/>
                  </a:lnTo>
                  <a:lnTo>
                    <a:pt x="871" y="441"/>
                  </a:lnTo>
                  <a:lnTo>
                    <a:pt x="872" y="451"/>
                  </a:lnTo>
                  <a:lnTo>
                    <a:pt x="871" y="462"/>
                  </a:lnTo>
                  <a:lnTo>
                    <a:pt x="868" y="473"/>
                  </a:lnTo>
                  <a:lnTo>
                    <a:pt x="863" y="482"/>
                  </a:lnTo>
                  <a:lnTo>
                    <a:pt x="858" y="491"/>
                  </a:lnTo>
                  <a:lnTo>
                    <a:pt x="851" y="497"/>
                  </a:lnTo>
                  <a:lnTo>
                    <a:pt x="842" y="504"/>
                  </a:lnTo>
                  <a:lnTo>
                    <a:pt x="832" y="508"/>
                  </a:lnTo>
                  <a:lnTo>
                    <a:pt x="823" y="511"/>
                  </a:lnTo>
                  <a:close/>
                  <a:moveTo>
                    <a:pt x="902" y="451"/>
                  </a:moveTo>
                  <a:lnTo>
                    <a:pt x="901" y="438"/>
                  </a:lnTo>
                  <a:lnTo>
                    <a:pt x="899" y="427"/>
                  </a:lnTo>
                  <a:lnTo>
                    <a:pt x="895" y="415"/>
                  </a:lnTo>
                  <a:lnTo>
                    <a:pt x="889" y="404"/>
                  </a:lnTo>
                  <a:lnTo>
                    <a:pt x="882" y="394"/>
                  </a:lnTo>
                  <a:lnTo>
                    <a:pt x="873" y="386"/>
                  </a:lnTo>
                  <a:lnTo>
                    <a:pt x="865" y="378"/>
                  </a:lnTo>
                  <a:lnTo>
                    <a:pt x="854" y="372"/>
                  </a:lnTo>
                  <a:lnTo>
                    <a:pt x="861" y="361"/>
                  </a:lnTo>
                  <a:lnTo>
                    <a:pt x="867" y="351"/>
                  </a:lnTo>
                  <a:lnTo>
                    <a:pt x="871" y="340"/>
                  </a:lnTo>
                  <a:lnTo>
                    <a:pt x="873" y="328"/>
                  </a:lnTo>
                  <a:lnTo>
                    <a:pt x="874" y="315"/>
                  </a:lnTo>
                  <a:lnTo>
                    <a:pt x="874" y="303"/>
                  </a:lnTo>
                  <a:lnTo>
                    <a:pt x="872" y="291"/>
                  </a:lnTo>
                  <a:lnTo>
                    <a:pt x="868" y="279"/>
                  </a:lnTo>
                  <a:lnTo>
                    <a:pt x="862" y="268"/>
                  </a:lnTo>
                  <a:lnTo>
                    <a:pt x="855" y="257"/>
                  </a:lnTo>
                  <a:lnTo>
                    <a:pt x="847" y="249"/>
                  </a:lnTo>
                  <a:lnTo>
                    <a:pt x="838" y="240"/>
                  </a:lnTo>
                  <a:lnTo>
                    <a:pt x="827" y="234"/>
                  </a:lnTo>
                  <a:lnTo>
                    <a:pt x="816" y="230"/>
                  </a:lnTo>
                  <a:lnTo>
                    <a:pt x="805" y="225"/>
                  </a:lnTo>
                  <a:lnTo>
                    <a:pt x="793" y="223"/>
                  </a:lnTo>
                  <a:lnTo>
                    <a:pt x="795" y="211"/>
                  </a:lnTo>
                  <a:lnTo>
                    <a:pt x="796" y="200"/>
                  </a:lnTo>
                  <a:lnTo>
                    <a:pt x="796" y="188"/>
                  </a:lnTo>
                  <a:lnTo>
                    <a:pt x="794" y="175"/>
                  </a:lnTo>
                  <a:lnTo>
                    <a:pt x="791" y="164"/>
                  </a:lnTo>
                  <a:lnTo>
                    <a:pt x="785" y="152"/>
                  </a:lnTo>
                  <a:lnTo>
                    <a:pt x="778" y="143"/>
                  </a:lnTo>
                  <a:lnTo>
                    <a:pt x="770" y="133"/>
                  </a:lnTo>
                  <a:lnTo>
                    <a:pt x="763" y="127"/>
                  </a:lnTo>
                  <a:lnTo>
                    <a:pt x="756" y="121"/>
                  </a:lnTo>
                  <a:lnTo>
                    <a:pt x="749" y="117"/>
                  </a:lnTo>
                  <a:lnTo>
                    <a:pt x="740" y="113"/>
                  </a:lnTo>
                  <a:lnTo>
                    <a:pt x="732" y="110"/>
                  </a:lnTo>
                  <a:lnTo>
                    <a:pt x="723" y="107"/>
                  </a:lnTo>
                  <a:lnTo>
                    <a:pt x="715" y="106"/>
                  </a:lnTo>
                  <a:lnTo>
                    <a:pt x="706" y="106"/>
                  </a:lnTo>
                  <a:lnTo>
                    <a:pt x="692" y="107"/>
                  </a:lnTo>
                  <a:lnTo>
                    <a:pt x="679" y="110"/>
                  </a:lnTo>
                  <a:lnTo>
                    <a:pt x="677" y="98"/>
                  </a:lnTo>
                  <a:lnTo>
                    <a:pt x="674" y="86"/>
                  </a:lnTo>
                  <a:lnTo>
                    <a:pt x="669" y="75"/>
                  </a:lnTo>
                  <a:lnTo>
                    <a:pt x="662" y="66"/>
                  </a:lnTo>
                  <a:lnTo>
                    <a:pt x="655" y="56"/>
                  </a:lnTo>
                  <a:lnTo>
                    <a:pt x="645" y="47"/>
                  </a:lnTo>
                  <a:lnTo>
                    <a:pt x="635" y="41"/>
                  </a:lnTo>
                  <a:lnTo>
                    <a:pt x="624" y="35"/>
                  </a:lnTo>
                  <a:lnTo>
                    <a:pt x="612" y="31"/>
                  </a:lnTo>
                  <a:lnTo>
                    <a:pt x="600" y="29"/>
                  </a:lnTo>
                  <a:lnTo>
                    <a:pt x="587" y="28"/>
                  </a:lnTo>
                  <a:lnTo>
                    <a:pt x="575" y="29"/>
                  </a:lnTo>
                  <a:lnTo>
                    <a:pt x="564" y="31"/>
                  </a:lnTo>
                  <a:lnTo>
                    <a:pt x="552" y="36"/>
                  </a:lnTo>
                  <a:lnTo>
                    <a:pt x="541" y="42"/>
                  </a:lnTo>
                  <a:lnTo>
                    <a:pt x="531" y="48"/>
                  </a:lnTo>
                  <a:lnTo>
                    <a:pt x="525" y="38"/>
                  </a:lnTo>
                  <a:lnTo>
                    <a:pt x="516" y="29"/>
                  </a:lnTo>
                  <a:lnTo>
                    <a:pt x="508" y="21"/>
                  </a:lnTo>
                  <a:lnTo>
                    <a:pt x="498" y="14"/>
                  </a:lnTo>
                  <a:lnTo>
                    <a:pt x="487" y="8"/>
                  </a:lnTo>
                  <a:lnTo>
                    <a:pt x="476" y="3"/>
                  </a:lnTo>
                  <a:lnTo>
                    <a:pt x="464" y="1"/>
                  </a:lnTo>
                  <a:lnTo>
                    <a:pt x="451" y="0"/>
                  </a:lnTo>
                  <a:lnTo>
                    <a:pt x="438" y="1"/>
                  </a:lnTo>
                  <a:lnTo>
                    <a:pt x="426" y="3"/>
                  </a:lnTo>
                  <a:lnTo>
                    <a:pt x="415" y="8"/>
                  </a:lnTo>
                  <a:lnTo>
                    <a:pt x="404" y="14"/>
                  </a:lnTo>
                  <a:lnTo>
                    <a:pt x="394" y="21"/>
                  </a:lnTo>
                  <a:lnTo>
                    <a:pt x="385" y="29"/>
                  </a:lnTo>
                  <a:lnTo>
                    <a:pt x="377" y="39"/>
                  </a:lnTo>
                  <a:lnTo>
                    <a:pt x="371" y="48"/>
                  </a:lnTo>
                  <a:lnTo>
                    <a:pt x="361" y="42"/>
                  </a:lnTo>
                  <a:lnTo>
                    <a:pt x="350" y="36"/>
                  </a:lnTo>
                  <a:lnTo>
                    <a:pt x="339" y="31"/>
                  </a:lnTo>
                  <a:lnTo>
                    <a:pt x="327" y="29"/>
                  </a:lnTo>
                  <a:lnTo>
                    <a:pt x="315" y="28"/>
                  </a:lnTo>
                  <a:lnTo>
                    <a:pt x="302" y="29"/>
                  </a:lnTo>
                  <a:lnTo>
                    <a:pt x="290" y="31"/>
                  </a:lnTo>
                  <a:lnTo>
                    <a:pt x="279" y="35"/>
                  </a:lnTo>
                  <a:lnTo>
                    <a:pt x="267" y="41"/>
                  </a:lnTo>
                  <a:lnTo>
                    <a:pt x="257" y="47"/>
                  </a:lnTo>
                  <a:lnTo>
                    <a:pt x="248" y="56"/>
                  </a:lnTo>
                  <a:lnTo>
                    <a:pt x="240" y="66"/>
                  </a:lnTo>
                  <a:lnTo>
                    <a:pt x="234" y="75"/>
                  </a:lnTo>
                  <a:lnTo>
                    <a:pt x="228" y="86"/>
                  </a:lnTo>
                  <a:lnTo>
                    <a:pt x="225" y="98"/>
                  </a:lnTo>
                  <a:lnTo>
                    <a:pt x="223" y="110"/>
                  </a:lnTo>
                  <a:lnTo>
                    <a:pt x="210" y="107"/>
                  </a:lnTo>
                  <a:lnTo>
                    <a:pt x="196" y="106"/>
                  </a:lnTo>
                  <a:lnTo>
                    <a:pt x="188" y="106"/>
                  </a:lnTo>
                  <a:lnTo>
                    <a:pt x="178" y="107"/>
                  </a:lnTo>
                  <a:lnTo>
                    <a:pt x="169" y="110"/>
                  </a:lnTo>
                  <a:lnTo>
                    <a:pt x="162" y="113"/>
                  </a:lnTo>
                  <a:lnTo>
                    <a:pt x="153" y="117"/>
                  </a:lnTo>
                  <a:lnTo>
                    <a:pt x="146" y="121"/>
                  </a:lnTo>
                  <a:lnTo>
                    <a:pt x="138" y="127"/>
                  </a:lnTo>
                  <a:lnTo>
                    <a:pt x="132" y="133"/>
                  </a:lnTo>
                  <a:lnTo>
                    <a:pt x="123" y="143"/>
                  </a:lnTo>
                  <a:lnTo>
                    <a:pt x="117" y="152"/>
                  </a:lnTo>
                  <a:lnTo>
                    <a:pt x="111" y="164"/>
                  </a:lnTo>
                  <a:lnTo>
                    <a:pt x="108" y="175"/>
                  </a:lnTo>
                  <a:lnTo>
                    <a:pt x="106" y="188"/>
                  </a:lnTo>
                  <a:lnTo>
                    <a:pt x="105" y="200"/>
                  </a:lnTo>
                  <a:lnTo>
                    <a:pt x="107" y="211"/>
                  </a:lnTo>
                  <a:lnTo>
                    <a:pt x="109" y="223"/>
                  </a:lnTo>
                  <a:lnTo>
                    <a:pt x="98" y="225"/>
                  </a:lnTo>
                  <a:lnTo>
                    <a:pt x="86" y="230"/>
                  </a:lnTo>
                  <a:lnTo>
                    <a:pt x="74" y="234"/>
                  </a:lnTo>
                  <a:lnTo>
                    <a:pt x="64" y="240"/>
                  </a:lnTo>
                  <a:lnTo>
                    <a:pt x="55" y="249"/>
                  </a:lnTo>
                  <a:lnTo>
                    <a:pt x="47" y="257"/>
                  </a:lnTo>
                  <a:lnTo>
                    <a:pt x="40" y="268"/>
                  </a:lnTo>
                  <a:lnTo>
                    <a:pt x="34" y="279"/>
                  </a:lnTo>
                  <a:lnTo>
                    <a:pt x="30" y="291"/>
                  </a:lnTo>
                  <a:lnTo>
                    <a:pt x="28" y="303"/>
                  </a:lnTo>
                  <a:lnTo>
                    <a:pt x="28" y="315"/>
                  </a:lnTo>
                  <a:lnTo>
                    <a:pt x="29" y="328"/>
                  </a:lnTo>
                  <a:lnTo>
                    <a:pt x="31" y="340"/>
                  </a:lnTo>
                  <a:lnTo>
                    <a:pt x="35" y="351"/>
                  </a:lnTo>
                  <a:lnTo>
                    <a:pt x="41" y="361"/>
                  </a:lnTo>
                  <a:lnTo>
                    <a:pt x="48" y="372"/>
                  </a:lnTo>
                  <a:lnTo>
                    <a:pt x="38" y="377"/>
                  </a:lnTo>
                  <a:lnTo>
                    <a:pt x="28" y="386"/>
                  </a:lnTo>
                  <a:lnTo>
                    <a:pt x="20" y="394"/>
                  </a:lnTo>
                  <a:lnTo>
                    <a:pt x="13" y="404"/>
                  </a:lnTo>
                  <a:lnTo>
                    <a:pt x="8" y="415"/>
                  </a:lnTo>
                  <a:lnTo>
                    <a:pt x="3" y="427"/>
                  </a:lnTo>
                  <a:lnTo>
                    <a:pt x="1" y="438"/>
                  </a:lnTo>
                  <a:lnTo>
                    <a:pt x="0" y="451"/>
                  </a:lnTo>
                  <a:lnTo>
                    <a:pt x="1" y="464"/>
                  </a:lnTo>
                  <a:lnTo>
                    <a:pt x="3" y="476"/>
                  </a:lnTo>
                  <a:lnTo>
                    <a:pt x="8" y="488"/>
                  </a:lnTo>
                  <a:lnTo>
                    <a:pt x="13" y="498"/>
                  </a:lnTo>
                  <a:lnTo>
                    <a:pt x="20" y="509"/>
                  </a:lnTo>
                  <a:lnTo>
                    <a:pt x="28" y="518"/>
                  </a:lnTo>
                  <a:lnTo>
                    <a:pt x="38" y="525"/>
                  </a:lnTo>
                  <a:lnTo>
                    <a:pt x="48" y="532"/>
                  </a:lnTo>
                  <a:lnTo>
                    <a:pt x="41" y="541"/>
                  </a:lnTo>
                  <a:lnTo>
                    <a:pt x="35" y="552"/>
                  </a:lnTo>
                  <a:lnTo>
                    <a:pt x="31" y="564"/>
                  </a:lnTo>
                  <a:lnTo>
                    <a:pt x="28" y="576"/>
                  </a:lnTo>
                  <a:lnTo>
                    <a:pt x="27" y="587"/>
                  </a:lnTo>
                  <a:lnTo>
                    <a:pt x="28" y="600"/>
                  </a:lnTo>
                  <a:lnTo>
                    <a:pt x="30" y="612"/>
                  </a:lnTo>
                  <a:lnTo>
                    <a:pt x="34" y="624"/>
                  </a:lnTo>
                  <a:lnTo>
                    <a:pt x="40" y="636"/>
                  </a:lnTo>
                  <a:lnTo>
                    <a:pt x="47" y="645"/>
                  </a:lnTo>
                  <a:lnTo>
                    <a:pt x="55" y="655"/>
                  </a:lnTo>
                  <a:lnTo>
                    <a:pt x="64" y="662"/>
                  </a:lnTo>
                  <a:lnTo>
                    <a:pt x="74" y="669"/>
                  </a:lnTo>
                  <a:lnTo>
                    <a:pt x="86" y="674"/>
                  </a:lnTo>
                  <a:lnTo>
                    <a:pt x="98" y="677"/>
                  </a:lnTo>
                  <a:lnTo>
                    <a:pt x="109" y="679"/>
                  </a:lnTo>
                  <a:lnTo>
                    <a:pt x="107" y="691"/>
                  </a:lnTo>
                  <a:lnTo>
                    <a:pt x="105" y="704"/>
                  </a:lnTo>
                  <a:lnTo>
                    <a:pt x="106" y="716"/>
                  </a:lnTo>
                  <a:lnTo>
                    <a:pt x="108" y="728"/>
                  </a:lnTo>
                  <a:lnTo>
                    <a:pt x="111" y="739"/>
                  </a:lnTo>
                  <a:lnTo>
                    <a:pt x="117" y="750"/>
                  </a:lnTo>
                  <a:lnTo>
                    <a:pt x="123" y="761"/>
                  </a:lnTo>
                  <a:lnTo>
                    <a:pt x="132" y="770"/>
                  </a:lnTo>
                  <a:lnTo>
                    <a:pt x="138" y="777"/>
                  </a:lnTo>
                  <a:lnTo>
                    <a:pt x="146" y="782"/>
                  </a:lnTo>
                  <a:lnTo>
                    <a:pt x="153" y="787"/>
                  </a:lnTo>
                  <a:lnTo>
                    <a:pt x="162" y="790"/>
                  </a:lnTo>
                  <a:lnTo>
                    <a:pt x="169" y="793"/>
                  </a:lnTo>
                  <a:lnTo>
                    <a:pt x="178" y="795"/>
                  </a:lnTo>
                  <a:lnTo>
                    <a:pt x="188" y="796"/>
                  </a:lnTo>
                  <a:lnTo>
                    <a:pt x="196" y="797"/>
                  </a:lnTo>
                  <a:lnTo>
                    <a:pt x="210" y="796"/>
                  </a:lnTo>
                  <a:lnTo>
                    <a:pt x="223" y="793"/>
                  </a:lnTo>
                  <a:lnTo>
                    <a:pt x="225" y="805"/>
                  </a:lnTo>
                  <a:lnTo>
                    <a:pt x="228" y="817"/>
                  </a:lnTo>
                  <a:lnTo>
                    <a:pt x="234" y="827"/>
                  </a:lnTo>
                  <a:lnTo>
                    <a:pt x="240" y="838"/>
                  </a:lnTo>
                  <a:lnTo>
                    <a:pt x="248" y="848"/>
                  </a:lnTo>
                  <a:lnTo>
                    <a:pt x="257" y="855"/>
                  </a:lnTo>
                  <a:lnTo>
                    <a:pt x="267" y="863"/>
                  </a:lnTo>
                  <a:lnTo>
                    <a:pt x="279" y="868"/>
                  </a:lnTo>
                  <a:lnTo>
                    <a:pt x="290" y="872"/>
                  </a:lnTo>
                  <a:lnTo>
                    <a:pt x="302" y="874"/>
                  </a:lnTo>
                  <a:lnTo>
                    <a:pt x="315" y="875"/>
                  </a:lnTo>
                  <a:lnTo>
                    <a:pt x="327" y="874"/>
                  </a:lnTo>
                  <a:lnTo>
                    <a:pt x="339" y="871"/>
                  </a:lnTo>
                  <a:lnTo>
                    <a:pt x="350" y="867"/>
                  </a:lnTo>
                  <a:lnTo>
                    <a:pt x="361" y="862"/>
                  </a:lnTo>
                  <a:lnTo>
                    <a:pt x="371" y="854"/>
                  </a:lnTo>
                  <a:lnTo>
                    <a:pt x="377" y="865"/>
                  </a:lnTo>
                  <a:lnTo>
                    <a:pt x="385" y="874"/>
                  </a:lnTo>
                  <a:lnTo>
                    <a:pt x="394" y="883"/>
                  </a:lnTo>
                  <a:lnTo>
                    <a:pt x="404" y="889"/>
                  </a:lnTo>
                  <a:lnTo>
                    <a:pt x="415" y="895"/>
                  </a:lnTo>
                  <a:lnTo>
                    <a:pt x="426" y="899"/>
                  </a:lnTo>
                  <a:lnTo>
                    <a:pt x="438" y="902"/>
                  </a:lnTo>
                  <a:lnTo>
                    <a:pt x="451" y="902"/>
                  </a:lnTo>
                  <a:lnTo>
                    <a:pt x="464" y="902"/>
                  </a:lnTo>
                  <a:lnTo>
                    <a:pt x="476" y="899"/>
                  </a:lnTo>
                  <a:lnTo>
                    <a:pt x="487" y="895"/>
                  </a:lnTo>
                  <a:lnTo>
                    <a:pt x="498" y="889"/>
                  </a:lnTo>
                  <a:lnTo>
                    <a:pt x="508" y="882"/>
                  </a:lnTo>
                  <a:lnTo>
                    <a:pt x="516" y="874"/>
                  </a:lnTo>
                  <a:lnTo>
                    <a:pt x="525" y="865"/>
                  </a:lnTo>
                  <a:lnTo>
                    <a:pt x="531" y="854"/>
                  </a:lnTo>
                  <a:lnTo>
                    <a:pt x="541" y="862"/>
                  </a:lnTo>
                  <a:lnTo>
                    <a:pt x="552" y="867"/>
                  </a:lnTo>
                  <a:lnTo>
                    <a:pt x="564" y="871"/>
                  </a:lnTo>
                  <a:lnTo>
                    <a:pt x="575" y="874"/>
                  </a:lnTo>
                  <a:lnTo>
                    <a:pt x="587" y="875"/>
                  </a:lnTo>
                  <a:lnTo>
                    <a:pt x="600" y="874"/>
                  </a:lnTo>
                  <a:lnTo>
                    <a:pt x="612" y="872"/>
                  </a:lnTo>
                  <a:lnTo>
                    <a:pt x="624" y="868"/>
                  </a:lnTo>
                  <a:lnTo>
                    <a:pt x="635" y="863"/>
                  </a:lnTo>
                  <a:lnTo>
                    <a:pt x="645" y="855"/>
                  </a:lnTo>
                  <a:lnTo>
                    <a:pt x="655" y="848"/>
                  </a:lnTo>
                  <a:lnTo>
                    <a:pt x="662" y="838"/>
                  </a:lnTo>
                  <a:lnTo>
                    <a:pt x="669" y="828"/>
                  </a:lnTo>
                  <a:lnTo>
                    <a:pt x="674" y="817"/>
                  </a:lnTo>
                  <a:lnTo>
                    <a:pt x="677" y="805"/>
                  </a:lnTo>
                  <a:lnTo>
                    <a:pt x="679" y="793"/>
                  </a:lnTo>
                  <a:lnTo>
                    <a:pt x="692" y="796"/>
                  </a:lnTo>
                  <a:lnTo>
                    <a:pt x="706" y="797"/>
                  </a:lnTo>
                  <a:lnTo>
                    <a:pt x="715" y="796"/>
                  </a:lnTo>
                  <a:lnTo>
                    <a:pt x="723" y="795"/>
                  </a:lnTo>
                  <a:lnTo>
                    <a:pt x="732" y="793"/>
                  </a:lnTo>
                  <a:lnTo>
                    <a:pt x="740" y="790"/>
                  </a:lnTo>
                  <a:lnTo>
                    <a:pt x="749" y="787"/>
                  </a:lnTo>
                  <a:lnTo>
                    <a:pt x="756" y="782"/>
                  </a:lnTo>
                  <a:lnTo>
                    <a:pt x="763" y="777"/>
                  </a:lnTo>
                  <a:lnTo>
                    <a:pt x="770" y="770"/>
                  </a:lnTo>
                  <a:lnTo>
                    <a:pt x="778" y="761"/>
                  </a:lnTo>
                  <a:lnTo>
                    <a:pt x="785" y="750"/>
                  </a:lnTo>
                  <a:lnTo>
                    <a:pt x="791" y="739"/>
                  </a:lnTo>
                  <a:lnTo>
                    <a:pt x="794" y="728"/>
                  </a:lnTo>
                  <a:lnTo>
                    <a:pt x="796" y="716"/>
                  </a:lnTo>
                  <a:lnTo>
                    <a:pt x="796" y="704"/>
                  </a:lnTo>
                  <a:lnTo>
                    <a:pt x="795" y="691"/>
                  </a:lnTo>
                  <a:lnTo>
                    <a:pt x="793" y="679"/>
                  </a:lnTo>
                  <a:lnTo>
                    <a:pt x="805" y="677"/>
                  </a:lnTo>
                  <a:lnTo>
                    <a:pt x="816" y="674"/>
                  </a:lnTo>
                  <a:lnTo>
                    <a:pt x="827" y="669"/>
                  </a:lnTo>
                  <a:lnTo>
                    <a:pt x="838" y="662"/>
                  </a:lnTo>
                  <a:lnTo>
                    <a:pt x="847" y="655"/>
                  </a:lnTo>
                  <a:lnTo>
                    <a:pt x="855" y="645"/>
                  </a:lnTo>
                  <a:lnTo>
                    <a:pt x="862" y="636"/>
                  </a:lnTo>
                  <a:lnTo>
                    <a:pt x="868" y="624"/>
                  </a:lnTo>
                  <a:lnTo>
                    <a:pt x="872" y="612"/>
                  </a:lnTo>
                  <a:lnTo>
                    <a:pt x="874" y="600"/>
                  </a:lnTo>
                  <a:lnTo>
                    <a:pt x="874" y="587"/>
                  </a:lnTo>
                  <a:lnTo>
                    <a:pt x="873" y="576"/>
                  </a:lnTo>
                  <a:lnTo>
                    <a:pt x="871" y="564"/>
                  </a:lnTo>
                  <a:lnTo>
                    <a:pt x="867" y="552"/>
                  </a:lnTo>
                  <a:lnTo>
                    <a:pt x="861" y="541"/>
                  </a:lnTo>
                  <a:lnTo>
                    <a:pt x="854" y="532"/>
                  </a:lnTo>
                  <a:lnTo>
                    <a:pt x="865" y="525"/>
                  </a:lnTo>
                  <a:lnTo>
                    <a:pt x="873" y="518"/>
                  </a:lnTo>
                  <a:lnTo>
                    <a:pt x="882" y="509"/>
                  </a:lnTo>
                  <a:lnTo>
                    <a:pt x="889" y="498"/>
                  </a:lnTo>
                  <a:lnTo>
                    <a:pt x="895" y="488"/>
                  </a:lnTo>
                  <a:lnTo>
                    <a:pt x="899" y="476"/>
                  </a:lnTo>
                  <a:lnTo>
                    <a:pt x="901" y="464"/>
                  </a:lnTo>
                  <a:lnTo>
                    <a:pt x="902"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26" name="Freeform 35">
              <a:extLst>
                <a:ext uri="{FF2B5EF4-FFF2-40B4-BE49-F238E27FC236}">
                  <a16:creationId xmlns:a16="http://schemas.microsoft.com/office/drawing/2014/main" id="{19ECDD96-D756-4E5E-9406-B274089148F2}"/>
                </a:ext>
              </a:extLst>
            </p:cNvPr>
            <p:cNvSpPr>
              <a:spLocks noEditPoints="1"/>
            </p:cNvSpPr>
            <p:nvPr/>
          </p:nvSpPr>
          <p:spPr bwMode="auto">
            <a:xfrm>
              <a:off x="7127875" y="3133725"/>
              <a:ext cx="66675" cy="161925"/>
            </a:xfrm>
            <a:custGeom>
              <a:avLst/>
              <a:gdLst>
                <a:gd name="T0" fmla="*/ 176 w 211"/>
                <a:gd name="T1" fmla="*/ 372 h 511"/>
                <a:gd name="T2" fmla="*/ 154 w 211"/>
                <a:gd name="T3" fmla="*/ 403 h 511"/>
                <a:gd name="T4" fmla="*/ 120 w 211"/>
                <a:gd name="T5" fmla="*/ 419 h 511"/>
                <a:gd name="T6" fmla="*/ 145 w 211"/>
                <a:gd name="T7" fmla="*/ 281 h 511"/>
                <a:gd name="T8" fmla="*/ 174 w 211"/>
                <a:gd name="T9" fmla="*/ 314 h 511"/>
                <a:gd name="T10" fmla="*/ 180 w 211"/>
                <a:gd name="T11" fmla="*/ 346 h 511"/>
                <a:gd name="T12" fmla="*/ 34 w 211"/>
                <a:gd name="T13" fmla="*/ 140 h 511"/>
                <a:gd name="T14" fmla="*/ 56 w 211"/>
                <a:gd name="T15" fmla="*/ 109 h 511"/>
                <a:gd name="T16" fmla="*/ 90 w 211"/>
                <a:gd name="T17" fmla="*/ 91 h 511"/>
                <a:gd name="T18" fmla="*/ 66 w 211"/>
                <a:gd name="T19" fmla="*/ 230 h 511"/>
                <a:gd name="T20" fmla="*/ 37 w 211"/>
                <a:gd name="T21" fmla="*/ 197 h 511"/>
                <a:gd name="T22" fmla="*/ 30 w 211"/>
                <a:gd name="T23" fmla="*/ 165 h 511"/>
                <a:gd name="T24" fmla="*/ 183 w 211"/>
                <a:gd name="T25" fmla="*/ 174 h 511"/>
                <a:gd name="T26" fmla="*/ 196 w 211"/>
                <a:gd name="T27" fmla="*/ 180 h 511"/>
                <a:gd name="T28" fmla="*/ 208 w 211"/>
                <a:gd name="T29" fmla="*/ 174 h 511"/>
                <a:gd name="T30" fmla="*/ 209 w 211"/>
                <a:gd name="T31" fmla="*/ 146 h 511"/>
                <a:gd name="T32" fmla="*/ 191 w 211"/>
                <a:gd name="T33" fmla="*/ 103 h 511"/>
                <a:gd name="T34" fmla="*/ 156 w 211"/>
                <a:gd name="T35" fmla="*/ 73 h 511"/>
                <a:gd name="T36" fmla="*/ 120 w 211"/>
                <a:gd name="T37" fmla="*/ 15 h 511"/>
                <a:gd name="T38" fmla="*/ 114 w 211"/>
                <a:gd name="T39" fmla="*/ 2 h 511"/>
                <a:gd name="T40" fmla="*/ 100 w 211"/>
                <a:gd name="T41" fmla="*/ 1 h 511"/>
                <a:gd name="T42" fmla="*/ 91 w 211"/>
                <a:gd name="T43" fmla="*/ 12 h 511"/>
                <a:gd name="T44" fmla="*/ 63 w 211"/>
                <a:gd name="T45" fmla="*/ 69 h 511"/>
                <a:gd name="T46" fmla="*/ 26 w 211"/>
                <a:gd name="T47" fmla="*/ 97 h 511"/>
                <a:gd name="T48" fmla="*/ 4 w 211"/>
                <a:gd name="T49" fmla="*/ 136 h 511"/>
                <a:gd name="T50" fmla="*/ 2 w 211"/>
                <a:gd name="T51" fmla="*/ 185 h 511"/>
                <a:gd name="T52" fmla="*/ 20 w 211"/>
                <a:gd name="T53" fmla="*/ 227 h 511"/>
                <a:gd name="T54" fmla="*/ 55 w 211"/>
                <a:gd name="T55" fmla="*/ 257 h 511"/>
                <a:gd name="T56" fmla="*/ 90 w 211"/>
                <a:gd name="T57" fmla="*/ 419 h 511"/>
                <a:gd name="T58" fmla="*/ 56 w 211"/>
                <a:gd name="T59" fmla="*/ 403 h 511"/>
                <a:gd name="T60" fmla="*/ 34 w 211"/>
                <a:gd name="T61" fmla="*/ 372 h 511"/>
                <a:gd name="T62" fmla="*/ 30 w 211"/>
                <a:gd name="T63" fmla="*/ 343 h 511"/>
                <a:gd name="T64" fmla="*/ 21 w 211"/>
                <a:gd name="T65" fmla="*/ 332 h 511"/>
                <a:gd name="T66" fmla="*/ 6 w 211"/>
                <a:gd name="T67" fmla="*/ 333 h 511"/>
                <a:gd name="T68" fmla="*/ 0 w 211"/>
                <a:gd name="T69" fmla="*/ 346 h 511"/>
                <a:gd name="T70" fmla="*/ 11 w 211"/>
                <a:gd name="T71" fmla="*/ 392 h 511"/>
                <a:gd name="T72" fmla="*/ 40 w 211"/>
                <a:gd name="T73" fmla="*/ 428 h 511"/>
                <a:gd name="T74" fmla="*/ 80 w 211"/>
                <a:gd name="T75" fmla="*/ 448 h 511"/>
                <a:gd name="T76" fmla="*/ 93 w 211"/>
                <a:gd name="T77" fmla="*/ 505 h 511"/>
                <a:gd name="T78" fmla="*/ 105 w 211"/>
                <a:gd name="T79" fmla="*/ 511 h 511"/>
                <a:gd name="T80" fmla="*/ 118 w 211"/>
                <a:gd name="T81" fmla="*/ 505 h 511"/>
                <a:gd name="T82" fmla="*/ 130 w 211"/>
                <a:gd name="T83" fmla="*/ 448 h 511"/>
                <a:gd name="T84" fmla="*/ 171 w 211"/>
                <a:gd name="T85" fmla="*/ 428 h 511"/>
                <a:gd name="T86" fmla="*/ 200 w 211"/>
                <a:gd name="T87" fmla="*/ 392 h 511"/>
                <a:gd name="T88" fmla="*/ 211 w 211"/>
                <a:gd name="T89" fmla="*/ 346 h 511"/>
                <a:gd name="T90" fmla="*/ 200 w 211"/>
                <a:gd name="T91" fmla="*/ 299 h 511"/>
                <a:gd name="T92" fmla="*/ 171 w 211"/>
                <a:gd name="T93" fmla="*/ 264 h 511"/>
                <a:gd name="T94" fmla="*/ 130 w 211"/>
                <a:gd name="T95" fmla="*/ 243 h 511"/>
                <a:gd name="T96" fmla="*/ 138 w 211"/>
                <a:gd name="T97" fmla="*/ 98 h 511"/>
                <a:gd name="T98" fmla="*/ 170 w 211"/>
                <a:gd name="T99" fmla="*/ 128 h 511"/>
                <a:gd name="T100" fmla="*/ 180 w 211"/>
                <a:gd name="T101" fmla="*/ 159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1" h="511">
                  <a:moveTo>
                    <a:pt x="180" y="346"/>
                  </a:moveTo>
                  <a:lnTo>
                    <a:pt x="180" y="353"/>
                  </a:lnTo>
                  <a:lnTo>
                    <a:pt x="179" y="359"/>
                  </a:lnTo>
                  <a:lnTo>
                    <a:pt x="178" y="366"/>
                  </a:lnTo>
                  <a:lnTo>
                    <a:pt x="176" y="372"/>
                  </a:lnTo>
                  <a:lnTo>
                    <a:pt x="174" y="377"/>
                  </a:lnTo>
                  <a:lnTo>
                    <a:pt x="170" y="383"/>
                  </a:lnTo>
                  <a:lnTo>
                    <a:pt x="167" y="388"/>
                  </a:lnTo>
                  <a:lnTo>
                    <a:pt x="163" y="393"/>
                  </a:lnTo>
                  <a:lnTo>
                    <a:pt x="154" y="403"/>
                  </a:lnTo>
                  <a:lnTo>
                    <a:pt x="145" y="411"/>
                  </a:lnTo>
                  <a:lnTo>
                    <a:pt x="138" y="413"/>
                  </a:lnTo>
                  <a:lnTo>
                    <a:pt x="133" y="416"/>
                  </a:lnTo>
                  <a:lnTo>
                    <a:pt x="126" y="418"/>
                  </a:lnTo>
                  <a:lnTo>
                    <a:pt x="120" y="419"/>
                  </a:lnTo>
                  <a:lnTo>
                    <a:pt x="120" y="272"/>
                  </a:lnTo>
                  <a:lnTo>
                    <a:pt x="126" y="273"/>
                  </a:lnTo>
                  <a:lnTo>
                    <a:pt x="133" y="276"/>
                  </a:lnTo>
                  <a:lnTo>
                    <a:pt x="138" y="279"/>
                  </a:lnTo>
                  <a:lnTo>
                    <a:pt x="145" y="281"/>
                  </a:lnTo>
                  <a:lnTo>
                    <a:pt x="154" y="288"/>
                  </a:lnTo>
                  <a:lnTo>
                    <a:pt x="163" y="298"/>
                  </a:lnTo>
                  <a:lnTo>
                    <a:pt x="167" y="303"/>
                  </a:lnTo>
                  <a:lnTo>
                    <a:pt x="170" y="309"/>
                  </a:lnTo>
                  <a:lnTo>
                    <a:pt x="174" y="314"/>
                  </a:lnTo>
                  <a:lnTo>
                    <a:pt x="176" y="320"/>
                  </a:lnTo>
                  <a:lnTo>
                    <a:pt x="178" y="326"/>
                  </a:lnTo>
                  <a:lnTo>
                    <a:pt x="179" y="332"/>
                  </a:lnTo>
                  <a:lnTo>
                    <a:pt x="180" y="339"/>
                  </a:lnTo>
                  <a:lnTo>
                    <a:pt x="180" y="346"/>
                  </a:lnTo>
                  <a:close/>
                  <a:moveTo>
                    <a:pt x="30" y="165"/>
                  </a:moveTo>
                  <a:lnTo>
                    <a:pt x="30" y="159"/>
                  </a:lnTo>
                  <a:lnTo>
                    <a:pt x="31" y="152"/>
                  </a:lnTo>
                  <a:lnTo>
                    <a:pt x="33" y="146"/>
                  </a:lnTo>
                  <a:lnTo>
                    <a:pt x="34" y="140"/>
                  </a:lnTo>
                  <a:lnTo>
                    <a:pt x="37" y="133"/>
                  </a:lnTo>
                  <a:lnTo>
                    <a:pt x="40" y="128"/>
                  </a:lnTo>
                  <a:lnTo>
                    <a:pt x="44" y="122"/>
                  </a:lnTo>
                  <a:lnTo>
                    <a:pt x="47" y="117"/>
                  </a:lnTo>
                  <a:lnTo>
                    <a:pt x="56" y="109"/>
                  </a:lnTo>
                  <a:lnTo>
                    <a:pt x="66" y="101"/>
                  </a:lnTo>
                  <a:lnTo>
                    <a:pt x="72" y="98"/>
                  </a:lnTo>
                  <a:lnTo>
                    <a:pt x="78" y="96"/>
                  </a:lnTo>
                  <a:lnTo>
                    <a:pt x="84" y="94"/>
                  </a:lnTo>
                  <a:lnTo>
                    <a:pt x="90" y="91"/>
                  </a:lnTo>
                  <a:lnTo>
                    <a:pt x="90" y="239"/>
                  </a:lnTo>
                  <a:lnTo>
                    <a:pt x="84" y="237"/>
                  </a:lnTo>
                  <a:lnTo>
                    <a:pt x="78" y="235"/>
                  </a:lnTo>
                  <a:lnTo>
                    <a:pt x="72" y="233"/>
                  </a:lnTo>
                  <a:lnTo>
                    <a:pt x="66" y="230"/>
                  </a:lnTo>
                  <a:lnTo>
                    <a:pt x="56" y="222"/>
                  </a:lnTo>
                  <a:lnTo>
                    <a:pt x="47" y="213"/>
                  </a:lnTo>
                  <a:lnTo>
                    <a:pt x="44" y="208"/>
                  </a:lnTo>
                  <a:lnTo>
                    <a:pt x="40" y="203"/>
                  </a:lnTo>
                  <a:lnTo>
                    <a:pt x="37" y="197"/>
                  </a:lnTo>
                  <a:lnTo>
                    <a:pt x="34" y="191"/>
                  </a:lnTo>
                  <a:lnTo>
                    <a:pt x="33" y="185"/>
                  </a:lnTo>
                  <a:lnTo>
                    <a:pt x="31" y="179"/>
                  </a:lnTo>
                  <a:lnTo>
                    <a:pt x="30" y="172"/>
                  </a:lnTo>
                  <a:lnTo>
                    <a:pt x="30" y="165"/>
                  </a:lnTo>
                  <a:lnTo>
                    <a:pt x="30" y="165"/>
                  </a:lnTo>
                  <a:close/>
                  <a:moveTo>
                    <a:pt x="180" y="165"/>
                  </a:moveTo>
                  <a:lnTo>
                    <a:pt x="181" y="168"/>
                  </a:lnTo>
                  <a:lnTo>
                    <a:pt x="182" y="172"/>
                  </a:lnTo>
                  <a:lnTo>
                    <a:pt x="183" y="174"/>
                  </a:lnTo>
                  <a:lnTo>
                    <a:pt x="185" y="176"/>
                  </a:lnTo>
                  <a:lnTo>
                    <a:pt x="187" y="178"/>
                  </a:lnTo>
                  <a:lnTo>
                    <a:pt x="190" y="179"/>
                  </a:lnTo>
                  <a:lnTo>
                    <a:pt x="193" y="180"/>
                  </a:lnTo>
                  <a:lnTo>
                    <a:pt x="196" y="180"/>
                  </a:lnTo>
                  <a:lnTo>
                    <a:pt x="198" y="180"/>
                  </a:lnTo>
                  <a:lnTo>
                    <a:pt x="201" y="179"/>
                  </a:lnTo>
                  <a:lnTo>
                    <a:pt x="204" y="178"/>
                  </a:lnTo>
                  <a:lnTo>
                    <a:pt x="206" y="176"/>
                  </a:lnTo>
                  <a:lnTo>
                    <a:pt x="208" y="174"/>
                  </a:lnTo>
                  <a:lnTo>
                    <a:pt x="209" y="172"/>
                  </a:lnTo>
                  <a:lnTo>
                    <a:pt x="210" y="168"/>
                  </a:lnTo>
                  <a:lnTo>
                    <a:pt x="211" y="165"/>
                  </a:lnTo>
                  <a:lnTo>
                    <a:pt x="210" y="156"/>
                  </a:lnTo>
                  <a:lnTo>
                    <a:pt x="209" y="146"/>
                  </a:lnTo>
                  <a:lnTo>
                    <a:pt x="207" y="136"/>
                  </a:lnTo>
                  <a:lnTo>
                    <a:pt x="204" y="128"/>
                  </a:lnTo>
                  <a:lnTo>
                    <a:pt x="200" y="119"/>
                  </a:lnTo>
                  <a:lnTo>
                    <a:pt x="195" y="111"/>
                  </a:lnTo>
                  <a:lnTo>
                    <a:pt x="191" y="103"/>
                  </a:lnTo>
                  <a:lnTo>
                    <a:pt x="184" y="97"/>
                  </a:lnTo>
                  <a:lnTo>
                    <a:pt x="178" y="89"/>
                  </a:lnTo>
                  <a:lnTo>
                    <a:pt x="171" y="84"/>
                  </a:lnTo>
                  <a:lnTo>
                    <a:pt x="164" y="79"/>
                  </a:lnTo>
                  <a:lnTo>
                    <a:pt x="156" y="73"/>
                  </a:lnTo>
                  <a:lnTo>
                    <a:pt x="148" y="69"/>
                  </a:lnTo>
                  <a:lnTo>
                    <a:pt x="139" y="66"/>
                  </a:lnTo>
                  <a:lnTo>
                    <a:pt x="130" y="64"/>
                  </a:lnTo>
                  <a:lnTo>
                    <a:pt x="120" y="61"/>
                  </a:lnTo>
                  <a:lnTo>
                    <a:pt x="120" y="15"/>
                  </a:lnTo>
                  <a:lnTo>
                    <a:pt x="120" y="12"/>
                  </a:lnTo>
                  <a:lnTo>
                    <a:pt x="119" y="9"/>
                  </a:lnTo>
                  <a:lnTo>
                    <a:pt x="118" y="7"/>
                  </a:lnTo>
                  <a:lnTo>
                    <a:pt x="116" y="5"/>
                  </a:lnTo>
                  <a:lnTo>
                    <a:pt x="114" y="2"/>
                  </a:lnTo>
                  <a:lnTo>
                    <a:pt x="111" y="1"/>
                  </a:lnTo>
                  <a:lnTo>
                    <a:pt x="108" y="0"/>
                  </a:lnTo>
                  <a:lnTo>
                    <a:pt x="105" y="0"/>
                  </a:lnTo>
                  <a:lnTo>
                    <a:pt x="102" y="0"/>
                  </a:lnTo>
                  <a:lnTo>
                    <a:pt x="100" y="1"/>
                  </a:lnTo>
                  <a:lnTo>
                    <a:pt x="96" y="2"/>
                  </a:lnTo>
                  <a:lnTo>
                    <a:pt x="94" y="5"/>
                  </a:lnTo>
                  <a:lnTo>
                    <a:pt x="93" y="7"/>
                  </a:lnTo>
                  <a:lnTo>
                    <a:pt x="91" y="9"/>
                  </a:lnTo>
                  <a:lnTo>
                    <a:pt x="91" y="12"/>
                  </a:lnTo>
                  <a:lnTo>
                    <a:pt x="90" y="15"/>
                  </a:lnTo>
                  <a:lnTo>
                    <a:pt x="90" y="61"/>
                  </a:lnTo>
                  <a:lnTo>
                    <a:pt x="80" y="64"/>
                  </a:lnTo>
                  <a:lnTo>
                    <a:pt x="72" y="66"/>
                  </a:lnTo>
                  <a:lnTo>
                    <a:pt x="63" y="69"/>
                  </a:lnTo>
                  <a:lnTo>
                    <a:pt x="55" y="73"/>
                  </a:lnTo>
                  <a:lnTo>
                    <a:pt x="47" y="79"/>
                  </a:lnTo>
                  <a:lnTo>
                    <a:pt x="40" y="84"/>
                  </a:lnTo>
                  <a:lnTo>
                    <a:pt x="32" y="89"/>
                  </a:lnTo>
                  <a:lnTo>
                    <a:pt x="26" y="97"/>
                  </a:lnTo>
                  <a:lnTo>
                    <a:pt x="20" y="103"/>
                  </a:lnTo>
                  <a:lnTo>
                    <a:pt x="15" y="111"/>
                  </a:lnTo>
                  <a:lnTo>
                    <a:pt x="11" y="119"/>
                  </a:lnTo>
                  <a:lnTo>
                    <a:pt x="7" y="128"/>
                  </a:lnTo>
                  <a:lnTo>
                    <a:pt x="4" y="136"/>
                  </a:lnTo>
                  <a:lnTo>
                    <a:pt x="2" y="146"/>
                  </a:lnTo>
                  <a:lnTo>
                    <a:pt x="0" y="156"/>
                  </a:lnTo>
                  <a:lnTo>
                    <a:pt x="0" y="165"/>
                  </a:lnTo>
                  <a:lnTo>
                    <a:pt x="0" y="175"/>
                  </a:lnTo>
                  <a:lnTo>
                    <a:pt x="2" y="185"/>
                  </a:lnTo>
                  <a:lnTo>
                    <a:pt x="4" y="194"/>
                  </a:lnTo>
                  <a:lnTo>
                    <a:pt x="7" y="203"/>
                  </a:lnTo>
                  <a:lnTo>
                    <a:pt x="11" y="211"/>
                  </a:lnTo>
                  <a:lnTo>
                    <a:pt x="15" y="220"/>
                  </a:lnTo>
                  <a:lnTo>
                    <a:pt x="20" y="227"/>
                  </a:lnTo>
                  <a:lnTo>
                    <a:pt x="26" y="235"/>
                  </a:lnTo>
                  <a:lnTo>
                    <a:pt x="32" y="241"/>
                  </a:lnTo>
                  <a:lnTo>
                    <a:pt x="40" y="247"/>
                  </a:lnTo>
                  <a:lnTo>
                    <a:pt x="47" y="253"/>
                  </a:lnTo>
                  <a:lnTo>
                    <a:pt x="55" y="257"/>
                  </a:lnTo>
                  <a:lnTo>
                    <a:pt x="63" y="262"/>
                  </a:lnTo>
                  <a:lnTo>
                    <a:pt x="72" y="265"/>
                  </a:lnTo>
                  <a:lnTo>
                    <a:pt x="80" y="268"/>
                  </a:lnTo>
                  <a:lnTo>
                    <a:pt x="90" y="269"/>
                  </a:lnTo>
                  <a:lnTo>
                    <a:pt x="90" y="419"/>
                  </a:lnTo>
                  <a:lnTo>
                    <a:pt x="84" y="418"/>
                  </a:lnTo>
                  <a:lnTo>
                    <a:pt x="78" y="416"/>
                  </a:lnTo>
                  <a:lnTo>
                    <a:pt x="72" y="413"/>
                  </a:lnTo>
                  <a:lnTo>
                    <a:pt x="66" y="410"/>
                  </a:lnTo>
                  <a:lnTo>
                    <a:pt x="56" y="403"/>
                  </a:lnTo>
                  <a:lnTo>
                    <a:pt x="47" y="393"/>
                  </a:lnTo>
                  <a:lnTo>
                    <a:pt x="44" y="388"/>
                  </a:lnTo>
                  <a:lnTo>
                    <a:pt x="40" y="383"/>
                  </a:lnTo>
                  <a:lnTo>
                    <a:pt x="37" y="377"/>
                  </a:lnTo>
                  <a:lnTo>
                    <a:pt x="34" y="372"/>
                  </a:lnTo>
                  <a:lnTo>
                    <a:pt x="33" y="366"/>
                  </a:lnTo>
                  <a:lnTo>
                    <a:pt x="31" y="359"/>
                  </a:lnTo>
                  <a:lnTo>
                    <a:pt x="30" y="353"/>
                  </a:lnTo>
                  <a:lnTo>
                    <a:pt x="30" y="346"/>
                  </a:lnTo>
                  <a:lnTo>
                    <a:pt x="30" y="343"/>
                  </a:lnTo>
                  <a:lnTo>
                    <a:pt x="29" y="340"/>
                  </a:lnTo>
                  <a:lnTo>
                    <a:pt x="28" y="338"/>
                  </a:lnTo>
                  <a:lnTo>
                    <a:pt x="26" y="336"/>
                  </a:lnTo>
                  <a:lnTo>
                    <a:pt x="24" y="333"/>
                  </a:lnTo>
                  <a:lnTo>
                    <a:pt x="21" y="332"/>
                  </a:lnTo>
                  <a:lnTo>
                    <a:pt x="18" y="331"/>
                  </a:lnTo>
                  <a:lnTo>
                    <a:pt x="15" y="330"/>
                  </a:lnTo>
                  <a:lnTo>
                    <a:pt x="12" y="331"/>
                  </a:lnTo>
                  <a:lnTo>
                    <a:pt x="10" y="332"/>
                  </a:lnTo>
                  <a:lnTo>
                    <a:pt x="6" y="333"/>
                  </a:lnTo>
                  <a:lnTo>
                    <a:pt x="4" y="336"/>
                  </a:lnTo>
                  <a:lnTo>
                    <a:pt x="2" y="338"/>
                  </a:lnTo>
                  <a:lnTo>
                    <a:pt x="1" y="340"/>
                  </a:lnTo>
                  <a:lnTo>
                    <a:pt x="0" y="343"/>
                  </a:lnTo>
                  <a:lnTo>
                    <a:pt x="0" y="346"/>
                  </a:lnTo>
                  <a:lnTo>
                    <a:pt x="0" y="356"/>
                  </a:lnTo>
                  <a:lnTo>
                    <a:pt x="2" y="366"/>
                  </a:lnTo>
                  <a:lnTo>
                    <a:pt x="4" y="374"/>
                  </a:lnTo>
                  <a:lnTo>
                    <a:pt x="7" y="384"/>
                  </a:lnTo>
                  <a:lnTo>
                    <a:pt x="11" y="392"/>
                  </a:lnTo>
                  <a:lnTo>
                    <a:pt x="15" y="400"/>
                  </a:lnTo>
                  <a:lnTo>
                    <a:pt x="20" y="407"/>
                  </a:lnTo>
                  <a:lnTo>
                    <a:pt x="26" y="415"/>
                  </a:lnTo>
                  <a:lnTo>
                    <a:pt x="32" y="421"/>
                  </a:lnTo>
                  <a:lnTo>
                    <a:pt x="40" y="428"/>
                  </a:lnTo>
                  <a:lnTo>
                    <a:pt x="47" y="433"/>
                  </a:lnTo>
                  <a:lnTo>
                    <a:pt x="55" y="438"/>
                  </a:lnTo>
                  <a:lnTo>
                    <a:pt x="63" y="442"/>
                  </a:lnTo>
                  <a:lnTo>
                    <a:pt x="72" y="446"/>
                  </a:lnTo>
                  <a:lnTo>
                    <a:pt x="80" y="448"/>
                  </a:lnTo>
                  <a:lnTo>
                    <a:pt x="90" y="450"/>
                  </a:lnTo>
                  <a:lnTo>
                    <a:pt x="90" y="496"/>
                  </a:lnTo>
                  <a:lnTo>
                    <a:pt x="91" y="499"/>
                  </a:lnTo>
                  <a:lnTo>
                    <a:pt x="91" y="502"/>
                  </a:lnTo>
                  <a:lnTo>
                    <a:pt x="93" y="505"/>
                  </a:lnTo>
                  <a:lnTo>
                    <a:pt x="94" y="507"/>
                  </a:lnTo>
                  <a:lnTo>
                    <a:pt x="96" y="508"/>
                  </a:lnTo>
                  <a:lnTo>
                    <a:pt x="100" y="510"/>
                  </a:lnTo>
                  <a:lnTo>
                    <a:pt x="102" y="511"/>
                  </a:lnTo>
                  <a:lnTo>
                    <a:pt x="105" y="511"/>
                  </a:lnTo>
                  <a:lnTo>
                    <a:pt x="108" y="511"/>
                  </a:lnTo>
                  <a:lnTo>
                    <a:pt x="111" y="510"/>
                  </a:lnTo>
                  <a:lnTo>
                    <a:pt x="114" y="508"/>
                  </a:lnTo>
                  <a:lnTo>
                    <a:pt x="116" y="507"/>
                  </a:lnTo>
                  <a:lnTo>
                    <a:pt x="118" y="505"/>
                  </a:lnTo>
                  <a:lnTo>
                    <a:pt x="119" y="502"/>
                  </a:lnTo>
                  <a:lnTo>
                    <a:pt x="120" y="499"/>
                  </a:lnTo>
                  <a:lnTo>
                    <a:pt x="120" y="496"/>
                  </a:lnTo>
                  <a:lnTo>
                    <a:pt x="120" y="450"/>
                  </a:lnTo>
                  <a:lnTo>
                    <a:pt x="130" y="448"/>
                  </a:lnTo>
                  <a:lnTo>
                    <a:pt x="139" y="445"/>
                  </a:lnTo>
                  <a:lnTo>
                    <a:pt x="148" y="442"/>
                  </a:lnTo>
                  <a:lnTo>
                    <a:pt x="156" y="437"/>
                  </a:lnTo>
                  <a:lnTo>
                    <a:pt x="164" y="433"/>
                  </a:lnTo>
                  <a:lnTo>
                    <a:pt x="171" y="428"/>
                  </a:lnTo>
                  <a:lnTo>
                    <a:pt x="178" y="421"/>
                  </a:lnTo>
                  <a:lnTo>
                    <a:pt x="184" y="415"/>
                  </a:lnTo>
                  <a:lnTo>
                    <a:pt x="191" y="407"/>
                  </a:lnTo>
                  <a:lnTo>
                    <a:pt x="195" y="400"/>
                  </a:lnTo>
                  <a:lnTo>
                    <a:pt x="200" y="392"/>
                  </a:lnTo>
                  <a:lnTo>
                    <a:pt x="204" y="384"/>
                  </a:lnTo>
                  <a:lnTo>
                    <a:pt x="207" y="374"/>
                  </a:lnTo>
                  <a:lnTo>
                    <a:pt x="209" y="366"/>
                  </a:lnTo>
                  <a:lnTo>
                    <a:pt x="210" y="356"/>
                  </a:lnTo>
                  <a:lnTo>
                    <a:pt x="211" y="346"/>
                  </a:lnTo>
                  <a:lnTo>
                    <a:pt x="210" y="336"/>
                  </a:lnTo>
                  <a:lnTo>
                    <a:pt x="209" y="326"/>
                  </a:lnTo>
                  <a:lnTo>
                    <a:pt x="207" y="317"/>
                  </a:lnTo>
                  <a:lnTo>
                    <a:pt x="204" y="308"/>
                  </a:lnTo>
                  <a:lnTo>
                    <a:pt x="200" y="299"/>
                  </a:lnTo>
                  <a:lnTo>
                    <a:pt x="195" y="292"/>
                  </a:lnTo>
                  <a:lnTo>
                    <a:pt x="191" y="284"/>
                  </a:lnTo>
                  <a:lnTo>
                    <a:pt x="184" y="277"/>
                  </a:lnTo>
                  <a:lnTo>
                    <a:pt x="178" y="270"/>
                  </a:lnTo>
                  <a:lnTo>
                    <a:pt x="171" y="264"/>
                  </a:lnTo>
                  <a:lnTo>
                    <a:pt x="164" y="258"/>
                  </a:lnTo>
                  <a:lnTo>
                    <a:pt x="156" y="254"/>
                  </a:lnTo>
                  <a:lnTo>
                    <a:pt x="148" y="250"/>
                  </a:lnTo>
                  <a:lnTo>
                    <a:pt x="139" y="247"/>
                  </a:lnTo>
                  <a:lnTo>
                    <a:pt x="130" y="243"/>
                  </a:lnTo>
                  <a:lnTo>
                    <a:pt x="120" y="241"/>
                  </a:lnTo>
                  <a:lnTo>
                    <a:pt x="120" y="91"/>
                  </a:lnTo>
                  <a:lnTo>
                    <a:pt x="126" y="94"/>
                  </a:lnTo>
                  <a:lnTo>
                    <a:pt x="133" y="96"/>
                  </a:lnTo>
                  <a:lnTo>
                    <a:pt x="138" y="98"/>
                  </a:lnTo>
                  <a:lnTo>
                    <a:pt x="145" y="101"/>
                  </a:lnTo>
                  <a:lnTo>
                    <a:pt x="154" y="109"/>
                  </a:lnTo>
                  <a:lnTo>
                    <a:pt x="163" y="117"/>
                  </a:lnTo>
                  <a:lnTo>
                    <a:pt x="167" y="122"/>
                  </a:lnTo>
                  <a:lnTo>
                    <a:pt x="170" y="128"/>
                  </a:lnTo>
                  <a:lnTo>
                    <a:pt x="174" y="133"/>
                  </a:lnTo>
                  <a:lnTo>
                    <a:pt x="176" y="140"/>
                  </a:lnTo>
                  <a:lnTo>
                    <a:pt x="178" y="146"/>
                  </a:lnTo>
                  <a:lnTo>
                    <a:pt x="179" y="152"/>
                  </a:lnTo>
                  <a:lnTo>
                    <a:pt x="180" y="159"/>
                  </a:lnTo>
                  <a:lnTo>
                    <a:pt x="180" y="165"/>
                  </a:lnTo>
                  <a:lnTo>
                    <a:pt x="180"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627" name="Freeform 31">
            <a:extLst>
              <a:ext uri="{FF2B5EF4-FFF2-40B4-BE49-F238E27FC236}">
                <a16:creationId xmlns:a16="http://schemas.microsoft.com/office/drawing/2014/main" id="{82E0BDA0-6778-4DFA-82C7-7553407E3FFA}"/>
              </a:ext>
            </a:extLst>
          </p:cNvPr>
          <p:cNvSpPr>
            <a:spLocks noChangeAspect="1" noEditPoints="1"/>
          </p:cNvSpPr>
          <p:nvPr/>
        </p:nvSpPr>
        <p:spPr bwMode="auto">
          <a:xfrm>
            <a:off x="6186633" y="2233311"/>
            <a:ext cx="285619" cy="285619"/>
          </a:xfrm>
          <a:custGeom>
            <a:avLst/>
            <a:gdLst>
              <a:gd name="T0" fmla="*/ 782 w 902"/>
              <a:gd name="T1" fmla="*/ 467 h 903"/>
              <a:gd name="T2" fmla="*/ 737 w 902"/>
              <a:gd name="T3" fmla="*/ 361 h 903"/>
              <a:gd name="T4" fmla="*/ 774 w 902"/>
              <a:gd name="T5" fmla="*/ 261 h 903"/>
              <a:gd name="T6" fmla="*/ 769 w 902"/>
              <a:gd name="T7" fmla="*/ 198 h 903"/>
              <a:gd name="T8" fmla="*/ 746 w 902"/>
              <a:gd name="T9" fmla="*/ 92 h 903"/>
              <a:gd name="T10" fmla="*/ 140 w 902"/>
              <a:gd name="T11" fmla="*/ 98 h 903"/>
              <a:gd name="T12" fmla="*/ 148 w 902"/>
              <a:gd name="T13" fmla="*/ 207 h 903"/>
              <a:gd name="T14" fmla="*/ 121 w 902"/>
              <a:gd name="T15" fmla="*/ 277 h 903"/>
              <a:gd name="T16" fmla="*/ 196 w 902"/>
              <a:gd name="T17" fmla="*/ 692 h 903"/>
              <a:gd name="T18" fmla="*/ 124 w 902"/>
              <a:gd name="T19" fmla="*/ 785 h 903"/>
              <a:gd name="T20" fmla="*/ 403 w 902"/>
              <a:gd name="T21" fmla="*/ 782 h 903"/>
              <a:gd name="T22" fmla="*/ 395 w 902"/>
              <a:gd name="T23" fmla="*/ 726 h 903"/>
              <a:gd name="T24" fmla="*/ 511 w 902"/>
              <a:gd name="T25" fmla="*/ 733 h 903"/>
              <a:gd name="T26" fmla="*/ 406 w 902"/>
              <a:gd name="T27" fmla="*/ 632 h 903"/>
              <a:gd name="T28" fmla="*/ 394 w 902"/>
              <a:gd name="T29" fmla="*/ 578 h 903"/>
              <a:gd name="T30" fmla="*/ 510 w 902"/>
              <a:gd name="T31" fmla="*/ 580 h 903"/>
              <a:gd name="T32" fmla="*/ 406 w 902"/>
              <a:gd name="T33" fmla="*/ 632 h 903"/>
              <a:gd name="T34" fmla="*/ 392 w 902"/>
              <a:gd name="T35" fmla="*/ 129 h 903"/>
              <a:gd name="T36" fmla="*/ 509 w 902"/>
              <a:gd name="T37" fmla="*/ 127 h 903"/>
              <a:gd name="T38" fmla="*/ 496 w 902"/>
              <a:gd name="T39" fmla="*/ 181 h 903"/>
              <a:gd name="T40" fmla="*/ 271 w 902"/>
              <a:gd name="T41" fmla="*/ 169 h 903"/>
              <a:gd name="T42" fmla="*/ 155 w 902"/>
              <a:gd name="T43" fmla="*/ 176 h 903"/>
              <a:gd name="T44" fmla="*/ 163 w 902"/>
              <a:gd name="T45" fmla="*/ 121 h 903"/>
              <a:gd name="T46" fmla="*/ 271 w 902"/>
              <a:gd name="T47" fmla="*/ 316 h 903"/>
              <a:gd name="T48" fmla="*/ 157 w 902"/>
              <a:gd name="T49" fmla="*/ 328 h 903"/>
              <a:gd name="T50" fmla="*/ 160 w 902"/>
              <a:gd name="T51" fmla="*/ 272 h 903"/>
              <a:gd name="T52" fmla="*/ 301 w 902"/>
              <a:gd name="T53" fmla="*/ 767 h 903"/>
              <a:gd name="T54" fmla="*/ 256 w 902"/>
              <a:gd name="T55" fmla="*/ 361 h 903"/>
              <a:gd name="T56" fmla="*/ 294 w 902"/>
              <a:gd name="T57" fmla="*/ 261 h 903"/>
              <a:gd name="T58" fmla="*/ 288 w 902"/>
              <a:gd name="T59" fmla="*/ 198 h 903"/>
              <a:gd name="T60" fmla="*/ 265 w 902"/>
              <a:gd name="T61" fmla="*/ 92 h 903"/>
              <a:gd name="T62" fmla="*/ 364 w 902"/>
              <a:gd name="T63" fmla="*/ 117 h 903"/>
              <a:gd name="T64" fmla="*/ 436 w 902"/>
              <a:gd name="T65" fmla="*/ 211 h 903"/>
              <a:gd name="T66" fmla="*/ 362 w 902"/>
              <a:gd name="T67" fmla="*/ 625 h 903"/>
              <a:gd name="T68" fmla="*/ 389 w 902"/>
              <a:gd name="T69" fmla="*/ 695 h 903"/>
              <a:gd name="T70" fmla="*/ 381 w 902"/>
              <a:gd name="T71" fmla="*/ 804 h 903"/>
              <a:gd name="T72" fmla="*/ 265 w 902"/>
              <a:gd name="T73" fmla="*/ 725 h 903"/>
              <a:gd name="T74" fmla="*/ 261 w 902"/>
              <a:gd name="T75" fmla="*/ 781 h 903"/>
              <a:gd name="T76" fmla="*/ 151 w 902"/>
              <a:gd name="T77" fmla="*/ 737 h 903"/>
              <a:gd name="T78" fmla="*/ 641 w 902"/>
              <a:gd name="T79" fmla="*/ 480 h 903"/>
              <a:gd name="T80" fmla="*/ 638 w 902"/>
              <a:gd name="T81" fmla="*/ 424 h 903"/>
              <a:gd name="T82" fmla="*/ 752 w 902"/>
              <a:gd name="T83" fmla="*/ 437 h 903"/>
              <a:gd name="T84" fmla="*/ 644 w 902"/>
              <a:gd name="T85" fmla="*/ 331 h 903"/>
              <a:gd name="T86" fmla="*/ 636 w 902"/>
              <a:gd name="T87" fmla="*/ 275 h 903"/>
              <a:gd name="T88" fmla="*/ 752 w 902"/>
              <a:gd name="T89" fmla="*/ 282 h 903"/>
              <a:gd name="T90" fmla="*/ 647 w 902"/>
              <a:gd name="T91" fmla="*/ 91 h 903"/>
              <a:gd name="T92" fmla="*/ 610 w 902"/>
              <a:gd name="T93" fmla="*/ 190 h 903"/>
              <a:gd name="T94" fmla="*/ 615 w 902"/>
              <a:gd name="T95" fmla="*/ 253 h 903"/>
              <a:gd name="T96" fmla="*/ 637 w 902"/>
              <a:gd name="T97" fmla="*/ 360 h 903"/>
              <a:gd name="T98" fmla="*/ 602 w 902"/>
              <a:gd name="T99" fmla="*/ 437 h 903"/>
              <a:gd name="T100" fmla="*/ 466 w 902"/>
              <a:gd name="T101" fmla="*/ 872 h 903"/>
              <a:gd name="T102" fmla="*/ 541 w 902"/>
              <a:gd name="T103" fmla="*/ 728 h 903"/>
              <a:gd name="T104" fmla="*/ 514 w 902"/>
              <a:gd name="T105" fmla="*/ 658 h 903"/>
              <a:gd name="T106" fmla="*/ 522 w 902"/>
              <a:gd name="T107" fmla="*/ 549 h 903"/>
              <a:gd name="T108" fmla="*/ 538 w 902"/>
              <a:gd name="T109" fmla="*/ 183 h 903"/>
              <a:gd name="T110" fmla="*/ 466 w 902"/>
              <a:gd name="T111" fmla="*/ 91 h 903"/>
              <a:gd name="T112" fmla="*/ 632 w 902"/>
              <a:gd name="T113" fmla="*/ 169 h 903"/>
              <a:gd name="T114" fmla="*/ 740 w 902"/>
              <a:gd name="T115" fmla="*/ 121 h 903"/>
              <a:gd name="T116" fmla="*/ 748 w 902"/>
              <a:gd name="T117" fmla="*/ 176 h 903"/>
              <a:gd name="T118" fmla="*/ 3 w 902"/>
              <a:gd name="T119" fmla="*/ 7 h 903"/>
              <a:gd name="T120" fmla="*/ 15 w 902"/>
              <a:gd name="T121" fmla="*/ 903 h 903"/>
              <a:gd name="T122" fmla="*/ 901 w 902"/>
              <a:gd name="T123" fmla="*/ 9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903">
                <a:moveTo>
                  <a:pt x="872" y="872"/>
                </a:moveTo>
                <a:lnTo>
                  <a:pt x="707" y="872"/>
                </a:lnTo>
                <a:lnTo>
                  <a:pt x="707" y="512"/>
                </a:lnTo>
                <a:lnTo>
                  <a:pt x="737" y="512"/>
                </a:lnTo>
                <a:lnTo>
                  <a:pt x="746" y="511"/>
                </a:lnTo>
                <a:lnTo>
                  <a:pt x="754" y="507"/>
                </a:lnTo>
                <a:lnTo>
                  <a:pt x="762" y="503"/>
                </a:lnTo>
                <a:lnTo>
                  <a:pt x="769" y="498"/>
                </a:lnTo>
                <a:lnTo>
                  <a:pt x="774" y="491"/>
                </a:lnTo>
                <a:lnTo>
                  <a:pt x="779" y="484"/>
                </a:lnTo>
                <a:lnTo>
                  <a:pt x="781" y="475"/>
                </a:lnTo>
                <a:lnTo>
                  <a:pt x="782" y="467"/>
                </a:lnTo>
                <a:lnTo>
                  <a:pt x="782" y="436"/>
                </a:lnTo>
                <a:lnTo>
                  <a:pt x="781" y="427"/>
                </a:lnTo>
                <a:lnTo>
                  <a:pt x="779" y="418"/>
                </a:lnTo>
                <a:lnTo>
                  <a:pt x="774" y="411"/>
                </a:lnTo>
                <a:lnTo>
                  <a:pt x="769" y="405"/>
                </a:lnTo>
                <a:lnTo>
                  <a:pt x="762" y="399"/>
                </a:lnTo>
                <a:lnTo>
                  <a:pt x="754" y="395"/>
                </a:lnTo>
                <a:lnTo>
                  <a:pt x="746" y="392"/>
                </a:lnTo>
                <a:lnTo>
                  <a:pt x="737" y="391"/>
                </a:lnTo>
                <a:lnTo>
                  <a:pt x="707" y="391"/>
                </a:lnTo>
                <a:lnTo>
                  <a:pt x="707" y="361"/>
                </a:lnTo>
                <a:lnTo>
                  <a:pt x="737" y="361"/>
                </a:lnTo>
                <a:lnTo>
                  <a:pt x="746" y="360"/>
                </a:lnTo>
                <a:lnTo>
                  <a:pt x="754" y="357"/>
                </a:lnTo>
                <a:lnTo>
                  <a:pt x="762" y="353"/>
                </a:lnTo>
                <a:lnTo>
                  <a:pt x="769" y="348"/>
                </a:lnTo>
                <a:lnTo>
                  <a:pt x="774" y="341"/>
                </a:lnTo>
                <a:lnTo>
                  <a:pt x="779" y="334"/>
                </a:lnTo>
                <a:lnTo>
                  <a:pt x="781" y="325"/>
                </a:lnTo>
                <a:lnTo>
                  <a:pt x="782" y="316"/>
                </a:lnTo>
                <a:lnTo>
                  <a:pt x="782" y="286"/>
                </a:lnTo>
                <a:lnTo>
                  <a:pt x="781" y="277"/>
                </a:lnTo>
                <a:lnTo>
                  <a:pt x="779" y="268"/>
                </a:lnTo>
                <a:lnTo>
                  <a:pt x="774" y="261"/>
                </a:lnTo>
                <a:lnTo>
                  <a:pt x="769" y="253"/>
                </a:lnTo>
                <a:lnTo>
                  <a:pt x="762" y="248"/>
                </a:lnTo>
                <a:lnTo>
                  <a:pt x="754" y="244"/>
                </a:lnTo>
                <a:lnTo>
                  <a:pt x="746" y="242"/>
                </a:lnTo>
                <a:lnTo>
                  <a:pt x="737" y="241"/>
                </a:lnTo>
                <a:lnTo>
                  <a:pt x="707" y="241"/>
                </a:lnTo>
                <a:lnTo>
                  <a:pt x="707" y="211"/>
                </a:lnTo>
                <a:lnTo>
                  <a:pt x="737" y="211"/>
                </a:lnTo>
                <a:lnTo>
                  <a:pt x="746" y="210"/>
                </a:lnTo>
                <a:lnTo>
                  <a:pt x="754" y="207"/>
                </a:lnTo>
                <a:lnTo>
                  <a:pt x="762" y="203"/>
                </a:lnTo>
                <a:lnTo>
                  <a:pt x="769" y="198"/>
                </a:lnTo>
                <a:lnTo>
                  <a:pt x="774" y="190"/>
                </a:lnTo>
                <a:lnTo>
                  <a:pt x="779" y="183"/>
                </a:lnTo>
                <a:lnTo>
                  <a:pt x="781" y="174"/>
                </a:lnTo>
                <a:lnTo>
                  <a:pt x="782" y="166"/>
                </a:lnTo>
                <a:lnTo>
                  <a:pt x="782" y="136"/>
                </a:lnTo>
                <a:lnTo>
                  <a:pt x="781" y="126"/>
                </a:lnTo>
                <a:lnTo>
                  <a:pt x="779" y="117"/>
                </a:lnTo>
                <a:lnTo>
                  <a:pt x="774" y="110"/>
                </a:lnTo>
                <a:lnTo>
                  <a:pt x="769" y="104"/>
                </a:lnTo>
                <a:lnTo>
                  <a:pt x="762" y="98"/>
                </a:lnTo>
                <a:lnTo>
                  <a:pt x="754" y="94"/>
                </a:lnTo>
                <a:lnTo>
                  <a:pt x="746" y="92"/>
                </a:lnTo>
                <a:lnTo>
                  <a:pt x="737" y="91"/>
                </a:lnTo>
                <a:lnTo>
                  <a:pt x="707" y="91"/>
                </a:lnTo>
                <a:lnTo>
                  <a:pt x="707" y="30"/>
                </a:lnTo>
                <a:lnTo>
                  <a:pt x="872" y="30"/>
                </a:lnTo>
                <a:lnTo>
                  <a:pt x="872" y="872"/>
                </a:lnTo>
                <a:close/>
                <a:moveTo>
                  <a:pt x="30" y="30"/>
                </a:moveTo>
                <a:lnTo>
                  <a:pt x="196" y="30"/>
                </a:lnTo>
                <a:lnTo>
                  <a:pt x="196" y="91"/>
                </a:lnTo>
                <a:lnTo>
                  <a:pt x="166" y="91"/>
                </a:lnTo>
                <a:lnTo>
                  <a:pt x="156" y="92"/>
                </a:lnTo>
                <a:lnTo>
                  <a:pt x="148" y="94"/>
                </a:lnTo>
                <a:lnTo>
                  <a:pt x="140" y="98"/>
                </a:lnTo>
                <a:lnTo>
                  <a:pt x="134" y="104"/>
                </a:lnTo>
                <a:lnTo>
                  <a:pt x="129" y="110"/>
                </a:lnTo>
                <a:lnTo>
                  <a:pt x="124" y="117"/>
                </a:lnTo>
                <a:lnTo>
                  <a:pt x="121" y="126"/>
                </a:lnTo>
                <a:lnTo>
                  <a:pt x="121" y="136"/>
                </a:lnTo>
                <a:lnTo>
                  <a:pt x="121" y="166"/>
                </a:lnTo>
                <a:lnTo>
                  <a:pt x="121" y="174"/>
                </a:lnTo>
                <a:lnTo>
                  <a:pt x="124" y="183"/>
                </a:lnTo>
                <a:lnTo>
                  <a:pt x="129" y="190"/>
                </a:lnTo>
                <a:lnTo>
                  <a:pt x="134" y="198"/>
                </a:lnTo>
                <a:lnTo>
                  <a:pt x="140" y="203"/>
                </a:lnTo>
                <a:lnTo>
                  <a:pt x="148" y="207"/>
                </a:lnTo>
                <a:lnTo>
                  <a:pt x="156" y="210"/>
                </a:lnTo>
                <a:lnTo>
                  <a:pt x="166" y="211"/>
                </a:lnTo>
                <a:lnTo>
                  <a:pt x="196" y="211"/>
                </a:lnTo>
                <a:lnTo>
                  <a:pt x="196" y="241"/>
                </a:lnTo>
                <a:lnTo>
                  <a:pt x="166" y="241"/>
                </a:lnTo>
                <a:lnTo>
                  <a:pt x="156" y="242"/>
                </a:lnTo>
                <a:lnTo>
                  <a:pt x="148" y="244"/>
                </a:lnTo>
                <a:lnTo>
                  <a:pt x="140" y="248"/>
                </a:lnTo>
                <a:lnTo>
                  <a:pt x="134" y="253"/>
                </a:lnTo>
                <a:lnTo>
                  <a:pt x="129" y="261"/>
                </a:lnTo>
                <a:lnTo>
                  <a:pt x="124" y="268"/>
                </a:lnTo>
                <a:lnTo>
                  <a:pt x="121" y="277"/>
                </a:lnTo>
                <a:lnTo>
                  <a:pt x="121" y="286"/>
                </a:lnTo>
                <a:lnTo>
                  <a:pt x="121" y="316"/>
                </a:lnTo>
                <a:lnTo>
                  <a:pt x="121" y="325"/>
                </a:lnTo>
                <a:lnTo>
                  <a:pt x="124" y="334"/>
                </a:lnTo>
                <a:lnTo>
                  <a:pt x="129" y="341"/>
                </a:lnTo>
                <a:lnTo>
                  <a:pt x="134" y="348"/>
                </a:lnTo>
                <a:lnTo>
                  <a:pt x="140" y="353"/>
                </a:lnTo>
                <a:lnTo>
                  <a:pt x="148" y="357"/>
                </a:lnTo>
                <a:lnTo>
                  <a:pt x="156" y="360"/>
                </a:lnTo>
                <a:lnTo>
                  <a:pt x="166" y="361"/>
                </a:lnTo>
                <a:lnTo>
                  <a:pt x="196" y="361"/>
                </a:lnTo>
                <a:lnTo>
                  <a:pt x="196" y="692"/>
                </a:lnTo>
                <a:lnTo>
                  <a:pt x="166" y="692"/>
                </a:lnTo>
                <a:lnTo>
                  <a:pt x="156" y="693"/>
                </a:lnTo>
                <a:lnTo>
                  <a:pt x="148" y="695"/>
                </a:lnTo>
                <a:lnTo>
                  <a:pt x="140" y="699"/>
                </a:lnTo>
                <a:lnTo>
                  <a:pt x="134" y="704"/>
                </a:lnTo>
                <a:lnTo>
                  <a:pt x="129" y="712"/>
                </a:lnTo>
                <a:lnTo>
                  <a:pt x="124" y="719"/>
                </a:lnTo>
                <a:lnTo>
                  <a:pt x="121" y="728"/>
                </a:lnTo>
                <a:lnTo>
                  <a:pt x="121" y="737"/>
                </a:lnTo>
                <a:lnTo>
                  <a:pt x="121" y="767"/>
                </a:lnTo>
                <a:lnTo>
                  <a:pt x="121" y="776"/>
                </a:lnTo>
                <a:lnTo>
                  <a:pt x="124" y="785"/>
                </a:lnTo>
                <a:lnTo>
                  <a:pt x="129" y="792"/>
                </a:lnTo>
                <a:lnTo>
                  <a:pt x="134" y="799"/>
                </a:lnTo>
                <a:lnTo>
                  <a:pt x="140" y="804"/>
                </a:lnTo>
                <a:lnTo>
                  <a:pt x="148" y="808"/>
                </a:lnTo>
                <a:lnTo>
                  <a:pt x="156" y="812"/>
                </a:lnTo>
                <a:lnTo>
                  <a:pt x="166" y="812"/>
                </a:lnTo>
                <a:lnTo>
                  <a:pt x="196" y="812"/>
                </a:lnTo>
                <a:lnTo>
                  <a:pt x="196" y="872"/>
                </a:lnTo>
                <a:lnTo>
                  <a:pt x="30" y="872"/>
                </a:lnTo>
                <a:lnTo>
                  <a:pt x="30" y="30"/>
                </a:lnTo>
                <a:close/>
                <a:moveTo>
                  <a:pt x="406" y="782"/>
                </a:moveTo>
                <a:lnTo>
                  <a:pt x="403" y="782"/>
                </a:lnTo>
                <a:lnTo>
                  <a:pt x="401" y="781"/>
                </a:lnTo>
                <a:lnTo>
                  <a:pt x="397" y="779"/>
                </a:lnTo>
                <a:lnTo>
                  <a:pt x="395" y="777"/>
                </a:lnTo>
                <a:lnTo>
                  <a:pt x="394" y="775"/>
                </a:lnTo>
                <a:lnTo>
                  <a:pt x="392" y="773"/>
                </a:lnTo>
                <a:lnTo>
                  <a:pt x="391" y="770"/>
                </a:lnTo>
                <a:lnTo>
                  <a:pt x="391" y="767"/>
                </a:lnTo>
                <a:lnTo>
                  <a:pt x="391" y="737"/>
                </a:lnTo>
                <a:lnTo>
                  <a:pt x="391" y="733"/>
                </a:lnTo>
                <a:lnTo>
                  <a:pt x="392" y="731"/>
                </a:lnTo>
                <a:lnTo>
                  <a:pt x="394" y="728"/>
                </a:lnTo>
                <a:lnTo>
                  <a:pt x="395" y="726"/>
                </a:lnTo>
                <a:lnTo>
                  <a:pt x="397" y="725"/>
                </a:lnTo>
                <a:lnTo>
                  <a:pt x="401" y="723"/>
                </a:lnTo>
                <a:lnTo>
                  <a:pt x="403" y="722"/>
                </a:lnTo>
                <a:lnTo>
                  <a:pt x="406" y="722"/>
                </a:lnTo>
                <a:lnTo>
                  <a:pt x="496" y="722"/>
                </a:lnTo>
                <a:lnTo>
                  <a:pt x="499" y="722"/>
                </a:lnTo>
                <a:lnTo>
                  <a:pt x="502" y="723"/>
                </a:lnTo>
                <a:lnTo>
                  <a:pt x="505" y="725"/>
                </a:lnTo>
                <a:lnTo>
                  <a:pt x="507" y="726"/>
                </a:lnTo>
                <a:lnTo>
                  <a:pt x="509" y="728"/>
                </a:lnTo>
                <a:lnTo>
                  <a:pt x="510" y="731"/>
                </a:lnTo>
                <a:lnTo>
                  <a:pt x="511" y="733"/>
                </a:lnTo>
                <a:lnTo>
                  <a:pt x="511" y="737"/>
                </a:lnTo>
                <a:lnTo>
                  <a:pt x="511" y="767"/>
                </a:lnTo>
                <a:lnTo>
                  <a:pt x="511" y="770"/>
                </a:lnTo>
                <a:lnTo>
                  <a:pt x="510" y="773"/>
                </a:lnTo>
                <a:lnTo>
                  <a:pt x="509" y="775"/>
                </a:lnTo>
                <a:lnTo>
                  <a:pt x="507" y="777"/>
                </a:lnTo>
                <a:lnTo>
                  <a:pt x="505" y="779"/>
                </a:lnTo>
                <a:lnTo>
                  <a:pt x="502" y="781"/>
                </a:lnTo>
                <a:lnTo>
                  <a:pt x="499" y="782"/>
                </a:lnTo>
                <a:lnTo>
                  <a:pt x="496" y="782"/>
                </a:lnTo>
                <a:lnTo>
                  <a:pt x="406" y="782"/>
                </a:lnTo>
                <a:close/>
                <a:moveTo>
                  <a:pt x="406" y="632"/>
                </a:moveTo>
                <a:lnTo>
                  <a:pt x="403" y="632"/>
                </a:lnTo>
                <a:lnTo>
                  <a:pt x="401" y="631"/>
                </a:lnTo>
                <a:lnTo>
                  <a:pt x="397" y="629"/>
                </a:lnTo>
                <a:lnTo>
                  <a:pt x="395" y="627"/>
                </a:lnTo>
                <a:lnTo>
                  <a:pt x="394" y="625"/>
                </a:lnTo>
                <a:lnTo>
                  <a:pt x="392" y="622"/>
                </a:lnTo>
                <a:lnTo>
                  <a:pt x="391" y="620"/>
                </a:lnTo>
                <a:lnTo>
                  <a:pt x="391" y="617"/>
                </a:lnTo>
                <a:lnTo>
                  <a:pt x="391" y="587"/>
                </a:lnTo>
                <a:lnTo>
                  <a:pt x="391" y="583"/>
                </a:lnTo>
                <a:lnTo>
                  <a:pt x="392" y="580"/>
                </a:lnTo>
                <a:lnTo>
                  <a:pt x="394" y="578"/>
                </a:lnTo>
                <a:lnTo>
                  <a:pt x="395" y="576"/>
                </a:lnTo>
                <a:lnTo>
                  <a:pt x="397" y="574"/>
                </a:lnTo>
                <a:lnTo>
                  <a:pt x="401" y="573"/>
                </a:lnTo>
                <a:lnTo>
                  <a:pt x="403" y="572"/>
                </a:lnTo>
                <a:lnTo>
                  <a:pt x="406" y="572"/>
                </a:lnTo>
                <a:lnTo>
                  <a:pt x="496" y="572"/>
                </a:lnTo>
                <a:lnTo>
                  <a:pt x="499" y="572"/>
                </a:lnTo>
                <a:lnTo>
                  <a:pt x="502" y="573"/>
                </a:lnTo>
                <a:lnTo>
                  <a:pt x="505" y="574"/>
                </a:lnTo>
                <a:lnTo>
                  <a:pt x="507" y="576"/>
                </a:lnTo>
                <a:lnTo>
                  <a:pt x="509" y="578"/>
                </a:lnTo>
                <a:lnTo>
                  <a:pt x="510" y="580"/>
                </a:lnTo>
                <a:lnTo>
                  <a:pt x="511" y="583"/>
                </a:lnTo>
                <a:lnTo>
                  <a:pt x="511" y="587"/>
                </a:lnTo>
                <a:lnTo>
                  <a:pt x="511" y="617"/>
                </a:lnTo>
                <a:lnTo>
                  <a:pt x="511" y="620"/>
                </a:lnTo>
                <a:lnTo>
                  <a:pt x="510" y="622"/>
                </a:lnTo>
                <a:lnTo>
                  <a:pt x="509" y="625"/>
                </a:lnTo>
                <a:lnTo>
                  <a:pt x="507" y="627"/>
                </a:lnTo>
                <a:lnTo>
                  <a:pt x="505" y="629"/>
                </a:lnTo>
                <a:lnTo>
                  <a:pt x="502" y="631"/>
                </a:lnTo>
                <a:lnTo>
                  <a:pt x="499" y="632"/>
                </a:lnTo>
                <a:lnTo>
                  <a:pt x="496" y="632"/>
                </a:lnTo>
                <a:lnTo>
                  <a:pt x="406" y="632"/>
                </a:lnTo>
                <a:close/>
                <a:moveTo>
                  <a:pt x="406" y="181"/>
                </a:moveTo>
                <a:lnTo>
                  <a:pt x="403" y="181"/>
                </a:lnTo>
                <a:lnTo>
                  <a:pt x="401" y="180"/>
                </a:lnTo>
                <a:lnTo>
                  <a:pt x="397" y="179"/>
                </a:lnTo>
                <a:lnTo>
                  <a:pt x="395" y="176"/>
                </a:lnTo>
                <a:lnTo>
                  <a:pt x="394" y="174"/>
                </a:lnTo>
                <a:lnTo>
                  <a:pt x="392" y="171"/>
                </a:lnTo>
                <a:lnTo>
                  <a:pt x="391" y="169"/>
                </a:lnTo>
                <a:lnTo>
                  <a:pt x="391" y="166"/>
                </a:lnTo>
                <a:lnTo>
                  <a:pt x="391" y="136"/>
                </a:lnTo>
                <a:lnTo>
                  <a:pt x="391" y="132"/>
                </a:lnTo>
                <a:lnTo>
                  <a:pt x="392" y="129"/>
                </a:lnTo>
                <a:lnTo>
                  <a:pt x="394" y="127"/>
                </a:lnTo>
                <a:lnTo>
                  <a:pt x="395" y="125"/>
                </a:lnTo>
                <a:lnTo>
                  <a:pt x="397" y="123"/>
                </a:lnTo>
                <a:lnTo>
                  <a:pt x="401" y="122"/>
                </a:lnTo>
                <a:lnTo>
                  <a:pt x="403" y="121"/>
                </a:lnTo>
                <a:lnTo>
                  <a:pt x="406" y="121"/>
                </a:lnTo>
                <a:lnTo>
                  <a:pt x="496" y="121"/>
                </a:lnTo>
                <a:lnTo>
                  <a:pt x="499" y="121"/>
                </a:lnTo>
                <a:lnTo>
                  <a:pt x="502" y="122"/>
                </a:lnTo>
                <a:lnTo>
                  <a:pt x="505" y="123"/>
                </a:lnTo>
                <a:lnTo>
                  <a:pt x="507" y="125"/>
                </a:lnTo>
                <a:lnTo>
                  <a:pt x="509" y="127"/>
                </a:lnTo>
                <a:lnTo>
                  <a:pt x="510" y="129"/>
                </a:lnTo>
                <a:lnTo>
                  <a:pt x="511" y="132"/>
                </a:lnTo>
                <a:lnTo>
                  <a:pt x="511" y="136"/>
                </a:lnTo>
                <a:lnTo>
                  <a:pt x="511" y="166"/>
                </a:lnTo>
                <a:lnTo>
                  <a:pt x="511" y="169"/>
                </a:lnTo>
                <a:lnTo>
                  <a:pt x="510" y="171"/>
                </a:lnTo>
                <a:lnTo>
                  <a:pt x="509" y="174"/>
                </a:lnTo>
                <a:lnTo>
                  <a:pt x="507" y="176"/>
                </a:lnTo>
                <a:lnTo>
                  <a:pt x="505" y="177"/>
                </a:lnTo>
                <a:lnTo>
                  <a:pt x="502" y="180"/>
                </a:lnTo>
                <a:lnTo>
                  <a:pt x="499" y="181"/>
                </a:lnTo>
                <a:lnTo>
                  <a:pt x="496" y="181"/>
                </a:lnTo>
                <a:lnTo>
                  <a:pt x="406" y="181"/>
                </a:lnTo>
                <a:close/>
                <a:moveTo>
                  <a:pt x="256" y="121"/>
                </a:moveTo>
                <a:lnTo>
                  <a:pt x="259" y="121"/>
                </a:lnTo>
                <a:lnTo>
                  <a:pt x="261" y="122"/>
                </a:lnTo>
                <a:lnTo>
                  <a:pt x="265" y="123"/>
                </a:lnTo>
                <a:lnTo>
                  <a:pt x="267" y="125"/>
                </a:lnTo>
                <a:lnTo>
                  <a:pt x="268" y="127"/>
                </a:lnTo>
                <a:lnTo>
                  <a:pt x="270" y="129"/>
                </a:lnTo>
                <a:lnTo>
                  <a:pt x="271" y="132"/>
                </a:lnTo>
                <a:lnTo>
                  <a:pt x="271" y="136"/>
                </a:lnTo>
                <a:lnTo>
                  <a:pt x="271" y="166"/>
                </a:lnTo>
                <a:lnTo>
                  <a:pt x="271" y="169"/>
                </a:lnTo>
                <a:lnTo>
                  <a:pt x="270" y="171"/>
                </a:lnTo>
                <a:lnTo>
                  <a:pt x="268" y="174"/>
                </a:lnTo>
                <a:lnTo>
                  <a:pt x="267" y="176"/>
                </a:lnTo>
                <a:lnTo>
                  <a:pt x="265" y="177"/>
                </a:lnTo>
                <a:lnTo>
                  <a:pt x="261" y="180"/>
                </a:lnTo>
                <a:lnTo>
                  <a:pt x="259" y="181"/>
                </a:lnTo>
                <a:lnTo>
                  <a:pt x="256" y="181"/>
                </a:lnTo>
                <a:lnTo>
                  <a:pt x="166" y="181"/>
                </a:lnTo>
                <a:lnTo>
                  <a:pt x="163" y="181"/>
                </a:lnTo>
                <a:lnTo>
                  <a:pt x="160" y="180"/>
                </a:lnTo>
                <a:lnTo>
                  <a:pt x="157" y="179"/>
                </a:lnTo>
                <a:lnTo>
                  <a:pt x="155" y="176"/>
                </a:lnTo>
                <a:lnTo>
                  <a:pt x="153" y="174"/>
                </a:lnTo>
                <a:lnTo>
                  <a:pt x="152" y="171"/>
                </a:lnTo>
                <a:lnTo>
                  <a:pt x="151" y="169"/>
                </a:lnTo>
                <a:lnTo>
                  <a:pt x="151" y="166"/>
                </a:lnTo>
                <a:lnTo>
                  <a:pt x="151" y="136"/>
                </a:lnTo>
                <a:lnTo>
                  <a:pt x="151" y="132"/>
                </a:lnTo>
                <a:lnTo>
                  <a:pt x="152" y="129"/>
                </a:lnTo>
                <a:lnTo>
                  <a:pt x="153" y="127"/>
                </a:lnTo>
                <a:lnTo>
                  <a:pt x="155" y="125"/>
                </a:lnTo>
                <a:lnTo>
                  <a:pt x="157" y="123"/>
                </a:lnTo>
                <a:lnTo>
                  <a:pt x="160" y="122"/>
                </a:lnTo>
                <a:lnTo>
                  <a:pt x="163" y="121"/>
                </a:lnTo>
                <a:lnTo>
                  <a:pt x="166" y="121"/>
                </a:lnTo>
                <a:lnTo>
                  <a:pt x="256" y="121"/>
                </a:lnTo>
                <a:close/>
                <a:moveTo>
                  <a:pt x="256" y="271"/>
                </a:moveTo>
                <a:lnTo>
                  <a:pt x="259" y="271"/>
                </a:lnTo>
                <a:lnTo>
                  <a:pt x="261" y="272"/>
                </a:lnTo>
                <a:lnTo>
                  <a:pt x="265" y="273"/>
                </a:lnTo>
                <a:lnTo>
                  <a:pt x="267" y="275"/>
                </a:lnTo>
                <a:lnTo>
                  <a:pt x="268" y="277"/>
                </a:lnTo>
                <a:lnTo>
                  <a:pt x="270" y="280"/>
                </a:lnTo>
                <a:lnTo>
                  <a:pt x="271" y="282"/>
                </a:lnTo>
                <a:lnTo>
                  <a:pt x="271" y="286"/>
                </a:lnTo>
                <a:lnTo>
                  <a:pt x="271" y="316"/>
                </a:lnTo>
                <a:lnTo>
                  <a:pt x="271" y="319"/>
                </a:lnTo>
                <a:lnTo>
                  <a:pt x="270" y="322"/>
                </a:lnTo>
                <a:lnTo>
                  <a:pt x="268" y="324"/>
                </a:lnTo>
                <a:lnTo>
                  <a:pt x="267" y="326"/>
                </a:lnTo>
                <a:lnTo>
                  <a:pt x="265" y="328"/>
                </a:lnTo>
                <a:lnTo>
                  <a:pt x="261" y="330"/>
                </a:lnTo>
                <a:lnTo>
                  <a:pt x="259" y="331"/>
                </a:lnTo>
                <a:lnTo>
                  <a:pt x="256" y="331"/>
                </a:lnTo>
                <a:lnTo>
                  <a:pt x="166" y="331"/>
                </a:lnTo>
                <a:lnTo>
                  <a:pt x="163" y="331"/>
                </a:lnTo>
                <a:lnTo>
                  <a:pt x="160" y="330"/>
                </a:lnTo>
                <a:lnTo>
                  <a:pt x="157" y="328"/>
                </a:lnTo>
                <a:lnTo>
                  <a:pt x="155" y="326"/>
                </a:lnTo>
                <a:lnTo>
                  <a:pt x="153" y="324"/>
                </a:lnTo>
                <a:lnTo>
                  <a:pt x="152" y="322"/>
                </a:lnTo>
                <a:lnTo>
                  <a:pt x="151" y="319"/>
                </a:lnTo>
                <a:lnTo>
                  <a:pt x="151" y="316"/>
                </a:lnTo>
                <a:lnTo>
                  <a:pt x="151" y="286"/>
                </a:lnTo>
                <a:lnTo>
                  <a:pt x="151" y="282"/>
                </a:lnTo>
                <a:lnTo>
                  <a:pt x="152" y="280"/>
                </a:lnTo>
                <a:lnTo>
                  <a:pt x="153" y="277"/>
                </a:lnTo>
                <a:lnTo>
                  <a:pt x="155" y="275"/>
                </a:lnTo>
                <a:lnTo>
                  <a:pt x="157" y="273"/>
                </a:lnTo>
                <a:lnTo>
                  <a:pt x="160" y="272"/>
                </a:lnTo>
                <a:lnTo>
                  <a:pt x="163" y="271"/>
                </a:lnTo>
                <a:lnTo>
                  <a:pt x="166" y="271"/>
                </a:lnTo>
                <a:lnTo>
                  <a:pt x="256" y="271"/>
                </a:lnTo>
                <a:close/>
                <a:moveTo>
                  <a:pt x="256" y="812"/>
                </a:moveTo>
                <a:lnTo>
                  <a:pt x="265" y="811"/>
                </a:lnTo>
                <a:lnTo>
                  <a:pt x="273" y="808"/>
                </a:lnTo>
                <a:lnTo>
                  <a:pt x="281" y="804"/>
                </a:lnTo>
                <a:lnTo>
                  <a:pt x="288" y="799"/>
                </a:lnTo>
                <a:lnTo>
                  <a:pt x="294" y="792"/>
                </a:lnTo>
                <a:lnTo>
                  <a:pt x="298" y="785"/>
                </a:lnTo>
                <a:lnTo>
                  <a:pt x="300" y="776"/>
                </a:lnTo>
                <a:lnTo>
                  <a:pt x="301" y="767"/>
                </a:lnTo>
                <a:lnTo>
                  <a:pt x="301" y="737"/>
                </a:lnTo>
                <a:lnTo>
                  <a:pt x="300" y="728"/>
                </a:lnTo>
                <a:lnTo>
                  <a:pt x="298" y="719"/>
                </a:lnTo>
                <a:lnTo>
                  <a:pt x="294" y="712"/>
                </a:lnTo>
                <a:lnTo>
                  <a:pt x="288" y="704"/>
                </a:lnTo>
                <a:lnTo>
                  <a:pt x="281" y="699"/>
                </a:lnTo>
                <a:lnTo>
                  <a:pt x="273" y="695"/>
                </a:lnTo>
                <a:lnTo>
                  <a:pt x="265" y="693"/>
                </a:lnTo>
                <a:lnTo>
                  <a:pt x="256" y="692"/>
                </a:lnTo>
                <a:lnTo>
                  <a:pt x="226" y="692"/>
                </a:lnTo>
                <a:lnTo>
                  <a:pt x="226" y="361"/>
                </a:lnTo>
                <a:lnTo>
                  <a:pt x="256" y="361"/>
                </a:lnTo>
                <a:lnTo>
                  <a:pt x="265" y="360"/>
                </a:lnTo>
                <a:lnTo>
                  <a:pt x="273" y="357"/>
                </a:lnTo>
                <a:lnTo>
                  <a:pt x="281" y="353"/>
                </a:lnTo>
                <a:lnTo>
                  <a:pt x="288" y="348"/>
                </a:lnTo>
                <a:lnTo>
                  <a:pt x="294" y="341"/>
                </a:lnTo>
                <a:lnTo>
                  <a:pt x="298" y="334"/>
                </a:lnTo>
                <a:lnTo>
                  <a:pt x="300" y="325"/>
                </a:lnTo>
                <a:lnTo>
                  <a:pt x="301" y="316"/>
                </a:lnTo>
                <a:lnTo>
                  <a:pt x="301" y="286"/>
                </a:lnTo>
                <a:lnTo>
                  <a:pt x="300" y="277"/>
                </a:lnTo>
                <a:lnTo>
                  <a:pt x="298" y="268"/>
                </a:lnTo>
                <a:lnTo>
                  <a:pt x="294" y="261"/>
                </a:lnTo>
                <a:lnTo>
                  <a:pt x="288" y="253"/>
                </a:lnTo>
                <a:lnTo>
                  <a:pt x="281" y="248"/>
                </a:lnTo>
                <a:lnTo>
                  <a:pt x="273" y="244"/>
                </a:lnTo>
                <a:lnTo>
                  <a:pt x="265" y="242"/>
                </a:lnTo>
                <a:lnTo>
                  <a:pt x="256" y="241"/>
                </a:lnTo>
                <a:lnTo>
                  <a:pt x="226" y="241"/>
                </a:lnTo>
                <a:lnTo>
                  <a:pt x="226" y="211"/>
                </a:lnTo>
                <a:lnTo>
                  <a:pt x="256" y="211"/>
                </a:lnTo>
                <a:lnTo>
                  <a:pt x="265" y="210"/>
                </a:lnTo>
                <a:lnTo>
                  <a:pt x="273" y="207"/>
                </a:lnTo>
                <a:lnTo>
                  <a:pt x="281" y="203"/>
                </a:lnTo>
                <a:lnTo>
                  <a:pt x="288" y="198"/>
                </a:lnTo>
                <a:lnTo>
                  <a:pt x="294" y="190"/>
                </a:lnTo>
                <a:lnTo>
                  <a:pt x="298" y="183"/>
                </a:lnTo>
                <a:lnTo>
                  <a:pt x="300" y="174"/>
                </a:lnTo>
                <a:lnTo>
                  <a:pt x="301" y="166"/>
                </a:lnTo>
                <a:lnTo>
                  <a:pt x="301" y="136"/>
                </a:lnTo>
                <a:lnTo>
                  <a:pt x="300" y="126"/>
                </a:lnTo>
                <a:lnTo>
                  <a:pt x="298" y="117"/>
                </a:lnTo>
                <a:lnTo>
                  <a:pt x="294" y="110"/>
                </a:lnTo>
                <a:lnTo>
                  <a:pt x="288" y="104"/>
                </a:lnTo>
                <a:lnTo>
                  <a:pt x="281" y="98"/>
                </a:lnTo>
                <a:lnTo>
                  <a:pt x="273" y="94"/>
                </a:lnTo>
                <a:lnTo>
                  <a:pt x="265" y="92"/>
                </a:lnTo>
                <a:lnTo>
                  <a:pt x="256" y="91"/>
                </a:lnTo>
                <a:lnTo>
                  <a:pt x="226" y="91"/>
                </a:lnTo>
                <a:lnTo>
                  <a:pt x="226" y="30"/>
                </a:lnTo>
                <a:lnTo>
                  <a:pt x="436" y="30"/>
                </a:lnTo>
                <a:lnTo>
                  <a:pt x="436" y="91"/>
                </a:lnTo>
                <a:lnTo>
                  <a:pt x="406" y="91"/>
                </a:lnTo>
                <a:lnTo>
                  <a:pt x="397" y="92"/>
                </a:lnTo>
                <a:lnTo>
                  <a:pt x="389" y="94"/>
                </a:lnTo>
                <a:lnTo>
                  <a:pt x="381" y="98"/>
                </a:lnTo>
                <a:lnTo>
                  <a:pt x="374" y="104"/>
                </a:lnTo>
                <a:lnTo>
                  <a:pt x="368" y="110"/>
                </a:lnTo>
                <a:lnTo>
                  <a:pt x="364" y="117"/>
                </a:lnTo>
                <a:lnTo>
                  <a:pt x="362" y="126"/>
                </a:lnTo>
                <a:lnTo>
                  <a:pt x="361" y="136"/>
                </a:lnTo>
                <a:lnTo>
                  <a:pt x="361" y="166"/>
                </a:lnTo>
                <a:lnTo>
                  <a:pt x="362" y="174"/>
                </a:lnTo>
                <a:lnTo>
                  <a:pt x="364" y="183"/>
                </a:lnTo>
                <a:lnTo>
                  <a:pt x="368" y="190"/>
                </a:lnTo>
                <a:lnTo>
                  <a:pt x="374" y="198"/>
                </a:lnTo>
                <a:lnTo>
                  <a:pt x="381" y="203"/>
                </a:lnTo>
                <a:lnTo>
                  <a:pt x="389" y="207"/>
                </a:lnTo>
                <a:lnTo>
                  <a:pt x="397" y="210"/>
                </a:lnTo>
                <a:lnTo>
                  <a:pt x="406" y="211"/>
                </a:lnTo>
                <a:lnTo>
                  <a:pt x="436" y="211"/>
                </a:lnTo>
                <a:lnTo>
                  <a:pt x="436" y="542"/>
                </a:lnTo>
                <a:lnTo>
                  <a:pt x="406" y="542"/>
                </a:lnTo>
                <a:lnTo>
                  <a:pt x="397" y="543"/>
                </a:lnTo>
                <a:lnTo>
                  <a:pt x="389" y="545"/>
                </a:lnTo>
                <a:lnTo>
                  <a:pt x="381" y="549"/>
                </a:lnTo>
                <a:lnTo>
                  <a:pt x="374" y="554"/>
                </a:lnTo>
                <a:lnTo>
                  <a:pt x="368" y="561"/>
                </a:lnTo>
                <a:lnTo>
                  <a:pt x="364" y="568"/>
                </a:lnTo>
                <a:lnTo>
                  <a:pt x="362" y="577"/>
                </a:lnTo>
                <a:lnTo>
                  <a:pt x="361" y="587"/>
                </a:lnTo>
                <a:lnTo>
                  <a:pt x="361" y="617"/>
                </a:lnTo>
                <a:lnTo>
                  <a:pt x="362" y="625"/>
                </a:lnTo>
                <a:lnTo>
                  <a:pt x="364" y="634"/>
                </a:lnTo>
                <a:lnTo>
                  <a:pt x="368" y="641"/>
                </a:lnTo>
                <a:lnTo>
                  <a:pt x="374" y="649"/>
                </a:lnTo>
                <a:lnTo>
                  <a:pt x="381" y="654"/>
                </a:lnTo>
                <a:lnTo>
                  <a:pt x="389" y="658"/>
                </a:lnTo>
                <a:lnTo>
                  <a:pt x="397" y="661"/>
                </a:lnTo>
                <a:lnTo>
                  <a:pt x="406" y="662"/>
                </a:lnTo>
                <a:lnTo>
                  <a:pt x="436" y="662"/>
                </a:lnTo>
                <a:lnTo>
                  <a:pt x="436" y="692"/>
                </a:lnTo>
                <a:lnTo>
                  <a:pt x="406" y="692"/>
                </a:lnTo>
                <a:lnTo>
                  <a:pt x="397" y="693"/>
                </a:lnTo>
                <a:lnTo>
                  <a:pt x="389" y="695"/>
                </a:lnTo>
                <a:lnTo>
                  <a:pt x="381" y="699"/>
                </a:lnTo>
                <a:lnTo>
                  <a:pt x="374" y="704"/>
                </a:lnTo>
                <a:lnTo>
                  <a:pt x="368" y="712"/>
                </a:lnTo>
                <a:lnTo>
                  <a:pt x="364" y="719"/>
                </a:lnTo>
                <a:lnTo>
                  <a:pt x="362" y="728"/>
                </a:lnTo>
                <a:lnTo>
                  <a:pt x="361" y="737"/>
                </a:lnTo>
                <a:lnTo>
                  <a:pt x="361" y="767"/>
                </a:lnTo>
                <a:lnTo>
                  <a:pt x="362" y="776"/>
                </a:lnTo>
                <a:lnTo>
                  <a:pt x="364" y="785"/>
                </a:lnTo>
                <a:lnTo>
                  <a:pt x="368" y="792"/>
                </a:lnTo>
                <a:lnTo>
                  <a:pt x="374" y="799"/>
                </a:lnTo>
                <a:lnTo>
                  <a:pt x="381" y="804"/>
                </a:lnTo>
                <a:lnTo>
                  <a:pt x="389" y="808"/>
                </a:lnTo>
                <a:lnTo>
                  <a:pt x="397" y="812"/>
                </a:lnTo>
                <a:lnTo>
                  <a:pt x="406" y="812"/>
                </a:lnTo>
                <a:lnTo>
                  <a:pt x="436" y="812"/>
                </a:lnTo>
                <a:lnTo>
                  <a:pt x="436" y="872"/>
                </a:lnTo>
                <a:lnTo>
                  <a:pt x="226" y="872"/>
                </a:lnTo>
                <a:lnTo>
                  <a:pt x="226" y="812"/>
                </a:lnTo>
                <a:lnTo>
                  <a:pt x="256" y="812"/>
                </a:lnTo>
                <a:close/>
                <a:moveTo>
                  <a:pt x="256" y="722"/>
                </a:moveTo>
                <a:lnTo>
                  <a:pt x="259" y="722"/>
                </a:lnTo>
                <a:lnTo>
                  <a:pt x="261" y="723"/>
                </a:lnTo>
                <a:lnTo>
                  <a:pt x="265" y="725"/>
                </a:lnTo>
                <a:lnTo>
                  <a:pt x="267" y="726"/>
                </a:lnTo>
                <a:lnTo>
                  <a:pt x="268" y="728"/>
                </a:lnTo>
                <a:lnTo>
                  <a:pt x="270" y="731"/>
                </a:lnTo>
                <a:lnTo>
                  <a:pt x="271" y="733"/>
                </a:lnTo>
                <a:lnTo>
                  <a:pt x="271" y="737"/>
                </a:lnTo>
                <a:lnTo>
                  <a:pt x="271" y="767"/>
                </a:lnTo>
                <a:lnTo>
                  <a:pt x="271" y="770"/>
                </a:lnTo>
                <a:lnTo>
                  <a:pt x="270" y="773"/>
                </a:lnTo>
                <a:lnTo>
                  <a:pt x="268" y="775"/>
                </a:lnTo>
                <a:lnTo>
                  <a:pt x="267" y="777"/>
                </a:lnTo>
                <a:lnTo>
                  <a:pt x="265" y="779"/>
                </a:lnTo>
                <a:lnTo>
                  <a:pt x="261" y="781"/>
                </a:lnTo>
                <a:lnTo>
                  <a:pt x="259" y="782"/>
                </a:lnTo>
                <a:lnTo>
                  <a:pt x="256" y="782"/>
                </a:lnTo>
                <a:lnTo>
                  <a:pt x="166" y="782"/>
                </a:lnTo>
                <a:lnTo>
                  <a:pt x="163" y="782"/>
                </a:lnTo>
                <a:lnTo>
                  <a:pt x="160" y="781"/>
                </a:lnTo>
                <a:lnTo>
                  <a:pt x="157" y="779"/>
                </a:lnTo>
                <a:lnTo>
                  <a:pt x="155" y="777"/>
                </a:lnTo>
                <a:lnTo>
                  <a:pt x="153" y="775"/>
                </a:lnTo>
                <a:lnTo>
                  <a:pt x="152" y="773"/>
                </a:lnTo>
                <a:lnTo>
                  <a:pt x="151" y="770"/>
                </a:lnTo>
                <a:lnTo>
                  <a:pt x="151" y="767"/>
                </a:lnTo>
                <a:lnTo>
                  <a:pt x="151" y="737"/>
                </a:lnTo>
                <a:lnTo>
                  <a:pt x="151" y="733"/>
                </a:lnTo>
                <a:lnTo>
                  <a:pt x="152" y="731"/>
                </a:lnTo>
                <a:lnTo>
                  <a:pt x="153" y="728"/>
                </a:lnTo>
                <a:lnTo>
                  <a:pt x="155" y="726"/>
                </a:lnTo>
                <a:lnTo>
                  <a:pt x="157" y="725"/>
                </a:lnTo>
                <a:lnTo>
                  <a:pt x="160" y="723"/>
                </a:lnTo>
                <a:lnTo>
                  <a:pt x="163" y="722"/>
                </a:lnTo>
                <a:lnTo>
                  <a:pt x="166" y="722"/>
                </a:lnTo>
                <a:lnTo>
                  <a:pt x="256" y="722"/>
                </a:lnTo>
                <a:close/>
                <a:moveTo>
                  <a:pt x="647" y="482"/>
                </a:moveTo>
                <a:lnTo>
                  <a:pt x="644" y="481"/>
                </a:lnTo>
                <a:lnTo>
                  <a:pt x="641" y="480"/>
                </a:lnTo>
                <a:lnTo>
                  <a:pt x="638" y="478"/>
                </a:lnTo>
                <a:lnTo>
                  <a:pt x="636" y="476"/>
                </a:lnTo>
                <a:lnTo>
                  <a:pt x="634" y="474"/>
                </a:lnTo>
                <a:lnTo>
                  <a:pt x="633" y="472"/>
                </a:lnTo>
                <a:lnTo>
                  <a:pt x="632" y="469"/>
                </a:lnTo>
                <a:lnTo>
                  <a:pt x="632" y="467"/>
                </a:lnTo>
                <a:lnTo>
                  <a:pt x="632" y="436"/>
                </a:lnTo>
                <a:lnTo>
                  <a:pt x="632" y="433"/>
                </a:lnTo>
                <a:lnTo>
                  <a:pt x="633" y="430"/>
                </a:lnTo>
                <a:lnTo>
                  <a:pt x="634" y="428"/>
                </a:lnTo>
                <a:lnTo>
                  <a:pt x="636" y="426"/>
                </a:lnTo>
                <a:lnTo>
                  <a:pt x="638" y="424"/>
                </a:lnTo>
                <a:lnTo>
                  <a:pt x="641" y="423"/>
                </a:lnTo>
                <a:lnTo>
                  <a:pt x="644" y="422"/>
                </a:lnTo>
                <a:lnTo>
                  <a:pt x="647" y="421"/>
                </a:lnTo>
                <a:lnTo>
                  <a:pt x="737" y="421"/>
                </a:lnTo>
                <a:lnTo>
                  <a:pt x="740" y="422"/>
                </a:lnTo>
                <a:lnTo>
                  <a:pt x="742" y="422"/>
                </a:lnTo>
                <a:lnTo>
                  <a:pt x="746" y="424"/>
                </a:lnTo>
                <a:lnTo>
                  <a:pt x="748" y="426"/>
                </a:lnTo>
                <a:lnTo>
                  <a:pt x="750" y="428"/>
                </a:lnTo>
                <a:lnTo>
                  <a:pt x="751" y="430"/>
                </a:lnTo>
                <a:lnTo>
                  <a:pt x="752" y="433"/>
                </a:lnTo>
                <a:lnTo>
                  <a:pt x="752" y="437"/>
                </a:lnTo>
                <a:lnTo>
                  <a:pt x="752" y="467"/>
                </a:lnTo>
                <a:lnTo>
                  <a:pt x="752" y="469"/>
                </a:lnTo>
                <a:lnTo>
                  <a:pt x="751" y="472"/>
                </a:lnTo>
                <a:lnTo>
                  <a:pt x="750" y="474"/>
                </a:lnTo>
                <a:lnTo>
                  <a:pt x="748" y="476"/>
                </a:lnTo>
                <a:lnTo>
                  <a:pt x="746" y="478"/>
                </a:lnTo>
                <a:lnTo>
                  <a:pt x="742" y="481"/>
                </a:lnTo>
                <a:lnTo>
                  <a:pt x="740" y="481"/>
                </a:lnTo>
                <a:lnTo>
                  <a:pt x="737" y="482"/>
                </a:lnTo>
                <a:lnTo>
                  <a:pt x="647" y="482"/>
                </a:lnTo>
                <a:close/>
                <a:moveTo>
                  <a:pt x="647" y="331"/>
                </a:moveTo>
                <a:lnTo>
                  <a:pt x="644" y="331"/>
                </a:lnTo>
                <a:lnTo>
                  <a:pt x="641" y="330"/>
                </a:lnTo>
                <a:lnTo>
                  <a:pt x="638" y="328"/>
                </a:lnTo>
                <a:lnTo>
                  <a:pt x="636" y="326"/>
                </a:lnTo>
                <a:lnTo>
                  <a:pt x="634" y="324"/>
                </a:lnTo>
                <a:lnTo>
                  <a:pt x="633" y="322"/>
                </a:lnTo>
                <a:lnTo>
                  <a:pt x="632" y="319"/>
                </a:lnTo>
                <a:lnTo>
                  <a:pt x="632" y="316"/>
                </a:lnTo>
                <a:lnTo>
                  <a:pt x="632" y="286"/>
                </a:lnTo>
                <a:lnTo>
                  <a:pt x="632" y="282"/>
                </a:lnTo>
                <a:lnTo>
                  <a:pt x="633" y="280"/>
                </a:lnTo>
                <a:lnTo>
                  <a:pt x="634" y="277"/>
                </a:lnTo>
                <a:lnTo>
                  <a:pt x="636" y="275"/>
                </a:lnTo>
                <a:lnTo>
                  <a:pt x="638" y="273"/>
                </a:lnTo>
                <a:lnTo>
                  <a:pt x="641" y="272"/>
                </a:lnTo>
                <a:lnTo>
                  <a:pt x="644" y="271"/>
                </a:lnTo>
                <a:lnTo>
                  <a:pt x="647" y="271"/>
                </a:lnTo>
                <a:lnTo>
                  <a:pt x="737" y="271"/>
                </a:lnTo>
                <a:lnTo>
                  <a:pt x="740" y="271"/>
                </a:lnTo>
                <a:lnTo>
                  <a:pt x="742" y="272"/>
                </a:lnTo>
                <a:lnTo>
                  <a:pt x="746" y="273"/>
                </a:lnTo>
                <a:lnTo>
                  <a:pt x="748" y="275"/>
                </a:lnTo>
                <a:lnTo>
                  <a:pt x="750" y="277"/>
                </a:lnTo>
                <a:lnTo>
                  <a:pt x="751" y="280"/>
                </a:lnTo>
                <a:lnTo>
                  <a:pt x="752" y="282"/>
                </a:lnTo>
                <a:lnTo>
                  <a:pt x="752" y="286"/>
                </a:lnTo>
                <a:lnTo>
                  <a:pt x="752" y="316"/>
                </a:lnTo>
                <a:lnTo>
                  <a:pt x="752" y="319"/>
                </a:lnTo>
                <a:lnTo>
                  <a:pt x="751" y="322"/>
                </a:lnTo>
                <a:lnTo>
                  <a:pt x="750" y="324"/>
                </a:lnTo>
                <a:lnTo>
                  <a:pt x="748" y="326"/>
                </a:lnTo>
                <a:lnTo>
                  <a:pt x="746" y="328"/>
                </a:lnTo>
                <a:lnTo>
                  <a:pt x="742" y="330"/>
                </a:lnTo>
                <a:lnTo>
                  <a:pt x="740" y="331"/>
                </a:lnTo>
                <a:lnTo>
                  <a:pt x="737" y="331"/>
                </a:lnTo>
                <a:lnTo>
                  <a:pt x="647" y="331"/>
                </a:lnTo>
                <a:close/>
                <a:moveTo>
                  <a:pt x="647" y="91"/>
                </a:moveTo>
                <a:lnTo>
                  <a:pt x="637" y="92"/>
                </a:lnTo>
                <a:lnTo>
                  <a:pt x="629" y="94"/>
                </a:lnTo>
                <a:lnTo>
                  <a:pt x="621" y="98"/>
                </a:lnTo>
                <a:lnTo>
                  <a:pt x="615" y="104"/>
                </a:lnTo>
                <a:lnTo>
                  <a:pt x="610" y="110"/>
                </a:lnTo>
                <a:lnTo>
                  <a:pt x="605" y="117"/>
                </a:lnTo>
                <a:lnTo>
                  <a:pt x="603" y="126"/>
                </a:lnTo>
                <a:lnTo>
                  <a:pt x="602" y="136"/>
                </a:lnTo>
                <a:lnTo>
                  <a:pt x="602" y="166"/>
                </a:lnTo>
                <a:lnTo>
                  <a:pt x="603" y="174"/>
                </a:lnTo>
                <a:lnTo>
                  <a:pt x="605" y="183"/>
                </a:lnTo>
                <a:lnTo>
                  <a:pt x="610" y="190"/>
                </a:lnTo>
                <a:lnTo>
                  <a:pt x="615" y="198"/>
                </a:lnTo>
                <a:lnTo>
                  <a:pt x="621" y="203"/>
                </a:lnTo>
                <a:lnTo>
                  <a:pt x="629" y="207"/>
                </a:lnTo>
                <a:lnTo>
                  <a:pt x="637" y="210"/>
                </a:lnTo>
                <a:lnTo>
                  <a:pt x="647" y="211"/>
                </a:lnTo>
                <a:lnTo>
                  <a:pt x="677" y="211"/>
                </a:lnTo>
                <a:lnTo>
                  <a:pt x="677" y="241"/>
                </a:lnTo>
                <a:lnTo>
                  <a:pt x="647" y="241"/>
                </a:lnTo>
                <a:lnTo>
                  <a:pt x="637" y="242"/>
                </a:lnTo>
                <a:lnTo>
                  <a:pt x="629" y="244"/>
                </a:lnTo>
                <a:lnTo>
                  <a:pt x="621" y="248"/>
                </a:lnTo>
                <a:lnTo>
                  <a:pt x="615" y="253"/>
                </a:lnTo>
                <a:lnTo>
                  <a:pt x="610" y="261"/>
                </a:lnTo>
                <a:lnTo>
                  <a:pt x="605" y="268"/>
                </a:lnTo>
                <a:lnTo>
                  <a:pt x="603" y="277"/>
                </a:lnTo>
                <a:lnTo>
                  <a:pt x="602" y="286"/>
                </a:lnTo>
                <a:lnTo>
                  <a:pt x="602" y="316"/>
                </a:lnTo>
                <a:lnTo>
                  <a:pt x="603" y="325"/>
                </a:lnTo>
                <a:lnTo>
                  <a:pt x="605" y="334"/>
                </a:lnTo>
                <a:lnTo>
                  <a:pt x="610" y="341"/>
                </a:lnTo>
                <a:lnTo>
                  <a:pt x="615" y="348"/>
                </a:lnTo>
                <a:lnTo>
                  <a:pt x="621" y="353"/>
                </a:lnTo>
                <a:lnTo>
                  <a:pt x="629" y="357"/>
                </a:lnTo>
                <a:lnTo>
                  <a:pt x="637" y="360"/>
                </a:lnTo>
                <a:lnTo>
                  <a:pt x="647" y="361"/>
                </a:lnTo>
                <a:lnTo>
                  <a:pt x="677" y="361"/>
                </a:lnTo>
                <a:lnTo>
                  <a:pt x="677" y="391"/>
                </a:lnTo>
                <a:lnTo>
                  <a:pt x="647" y="391"/>
                </a:lnTo>
                <a:lnTo>
                  <a:pt x="637" y="392"/>
                </a:lnTo>
                <a:lnTo>
                  <a:pt x="629" y="395"/>
                </a:lnTo>
                <a:lnTo>
                  <a:pt x="621" y="399"/>
                </a:lnTo>
                <a:lnTo>
                  <a:pt x="615" y="405"/>
                </a:lnTo>
                <a:lnTo>
                  <a:pt x="610" y="411"/>
                </a:lnTo>
                <a:lnTo>
                  <a:pt x="605" y="418"/>
                </a:lnTo>
                <a:lnTo>
                  <a:pt x="603" y="427"/>
                </a:lnTo>
                <a:lnTo>
                  <a:pt x="602" y="437"/>
                </a:lnTo>
                <a:lnTo>
                  <a:pt x="602" y="467"/>
                </a:lnTo>
                <a:lnTo>
                  <a:pt x="603" y="475"/>
                </a:lnTo>
                <a:lnTo>
                  <a:pt x="605" y="484"/>
                </a:lnTo>
                <a:lnTo>
                  <a:pt x="610" y="491"/>
                </a:lnTo>
                <a:lnTo>
                  <a:pt x="615" y="498"/>
                </a:lnTo>
                <a:lnTo>
                  <a:pt x="621" y="503"/>
                </a:lnTo>
                <a:lnTo>
                  <a:pt x="629" y="507"/>
                </a:lnTo>
                <a:lnTo>
                  <a:pt x="637" y="511"/>
                </a:lnTo>
                <a:lnTo>
                  <a:pt x="647" y="512"/>
                </a:lnTo>
                <a:lnTo>
                  <a:pt x="677" y="512"/>
                </a:lnTo>
                <a:lnTo>
                  <a:pt x="677" y="872"/>
                </a:lnTo>
                <a:lnTo>
                  <a:pt x="466" y="872"/>
                </a:lnTo>
                <a:lnTo>
                  <a:pt x="466" y="812"/>
                </a:lnTo>
                <a:lnTo>
                  <a:pt x="496" y="812"/>
                </a:lnTo>
                <a:lnTo>
                  <a:pt x="506" y="811"/>
                </a:lnTo>
                <a:lnTo>
                  <a:pt x="514" y="808"/>
                </a:lnTo>
                <a:lnTo>
                  <a:pt x="522" y="804"/>
                </a:lnTo>
                <a:lnTo>
                  <a:pt x="528" y="799"/>
                </a:lnTo>
                <a:lnTo>
                  <a:pt x="533" y="792"/>
                </a:lnTo>
                <a:lnTo>
                  <a:pt x="538" y="785"/>
                </a:lnTo>
                <a:lnTo>
                  <a:pt x="541" y="776"/>
                </a:lnTo>
                <a:lnTo>
                  <a:pt x="542" y="767"/>
                </a:lnTo>
                <a:lnTo>
                  <a:pt x="542" y="737"/>
                </a:lnTo>
                <a:lnTo>
                  <a:pt x="541" y="728"/>
                </a:lnTo>
                <a:lnTo>
                  <a:pt x="538" y="719"/>
                </a:lnTo>
                <a:lnTo>
                  <a:pt x="533" y="712"/>
                </a:lnTo>
                <a:lnTo>
                  <a:pt x="528" y="704"/>
                </a:lnTo>
                <a:lnTo>
                  <a:pt x="522" y="699"/>
                </a:lnTo>
                <a:lnTo>
                  <a:pt x="514" y="695"/>
                </a:lnTo>
                <a:lnTo>
                  <a:pt x="506" y="693"/>
                </a:lnTo>
                <a:lnTo>
                  <a:pt x="496" y="692"/>
                </a:lnTo>
                <a:lnTo>
                  <a:pt x="466" y="692"/>
                </a:lnTo>
                <a:lnTo>
                  <a:pt x="466" y="662"/>
                </a:lnTo>
                <a:lnTo>
                  <a:pt x="496" y="662"/>
                </a:lnTo>
                <a:lnTo>
                  <a:pt x="506" y="661"/>
                </a:lnTo>
                <a:lnTo>
                  <a:pt x="514" y="658"/>
                </a:lnTo>
                <a:lnTo>
                  <a:pt x="522" y="654"/>
                </a:lnTo>
                <a:lnTo>
                  <a:pt x="528" y="649"/>
                </a:lnTo>
                <a:lnTo>
                  <a:pt x="533" y="641"/>
                </a:lnTo>
                <a:lnTo>
                  <a:pt x="538" y="634"/>
                </a:lnTo>
                <a:lnTo>
                  <a:pt x="541" y="625"/>
                </a:lnTo>
                <a:lnTo>
                  <a:pt x="542" y="617"/>
                </a:lnTo>
                <a:lnTo>
                  <a:pt x="542" y="587"/>
                </a:lnTo>
                <a:lnTo>
                  <a:pt x="541" y="577"/>
                </a:lnTo>
                <a:lnTo>
                  <a:pt x="538" y="568"/>
                </a:lnTo>
                <a:lnTo>
                  <a:pt x="533" y="561"/>
                </a:lnTo>
                <a:lnTo>
                  <a:pt x="528" y="554"/>
                </a:lnTo>
                <a:lnTo>
                  <a:pt x="522" y="549"/>
                </a:lnTo>
                <a:lnTo>
                  <a:pt x="514" y="545"/>
                </a:lnTo>
                <a:lnTo>
                  <a:pt x="506" y="543"/>
                </a:lnTo>
                <a:lnTo>
                  <a:pt x="496" y="542"/>
                </a:lnTo>
                <a:lnTo>
                  <a:pt x="466" y="542"/>
                </a:lnTo>
                <a:lnTo>
                  <a:pt x="466" y="211"/>
                </a:lnTo>
                <a:lnTo>
                  <a:pt x="496" y="211"/>
                </a:lnTo>
                <a:lnTo>
                  <a:pt x="506" y="210"/>
                </a:lnTo>
                <a:lnTo>
                  <a:pt x="514" y="207"/>
                </a:lnTo>
                <a:lnTo>
                  <a:pt x="522" y="203"/>
                </a:lnTo>
                <a:lnTo>
                  <a:pt x="528" y="198"/>
                </a:lnTo>
                <a:lnTo>
                  <a:pt x="533" y="190"/>
                </a:lnTo>
                <a:lnTo>
                  <a:pt x="538" y="183"/>
                </a:lnTo>
                <a:lnTo>
                  <a:pt x="541" y="174"/>
                </a:lnTo>
                <a:lnTo>
                  <a:pt x="542" y="166"/>
                </a:lnTo>
                <a:lnTo>
                  <a:pt x="542" y="136"/>
                </a:lnTo>
                <a:lnTo>
                  <a:pt x="541" y="126"/>
                </a:lnTo>
                <a:lnTo>
                  <a:pt x="538" y="117"/>
                </a:lnTo>
                <a:lnTo>
                  <a:pt x="533" y="110"/>
                </a:lnTo>
                <a:lnTo>
                  <a:pt x="528" y="104"/>
                </a:lnTo>
                <a:lnTo>
                  <a:pt x="522" y="98"/>
                </a:lnTo>
                <a:lnTo>
                  <a:pt x="514" y="94"/>
                </a:lnTo>
                <a:lnTo>
                  <a:pt x="506" y="92"/>
                </a:lnTo>
                <a:lnTo>
                  <a:pt x="496" y="91"/>
                </a:lnTo>
                <a:lnTo>
                  <a:pt x="466" y="91"/>
                </a:lnTo>
                <a:lnTo>
                  <a:pt x="466" y="30"/>
                </a:lnTo>
                <a:lnTo>
                  <a:pt x="677" y="30"/>
                </a:lnTo>
                <a:lnTo>
                  <a:pt x="677" y="91"/>
                </a:lnTo>
                <a:lnTo>
                  <a:pt x="647" y="91"/>
                </a:lnTo>
                <a:close/>
                <a:moveTo>
                  <a:pt x="647" y="181"/>
                </a:moveTo>
                <a:lnTo>
                  <a:pt x="644" y="181"/>
                </a:lnTo>
                <a:lnTo>
                  <a:pt x="641" y="180"/>
                </a:lnTo>
                <a:lnTo>
                  <a:pt x="638" y="179"/>
                </a:lnTo>
                <a:lnTo>
                  <a:pt x="636" y="176"/>
                </a:lnTo>
                <a:lnTo>
                  <a:pt x="634" y="174"/>
                </a:lnTo>
                <a:lnTo>
                  <a:pt x="633" y="171"/>
                </a:lnTo>
                <a:lnTo>
                  <a:pt x="632" y="169"/>
                </a:lnTo>
                <a:lnTo>
                  <a:pt x="632" y="166"/>
                </a:lnTo>
                <a:lnTo>
                  <a:pt x="632" y="136"/>
                </a:lnTo>
                <a:lnTo>
                  <a:pt x="632" y="132"/>
                </a:lnTo>
                <a:lnTo>
                  <a:pt x="633" y="129"/>
                </a:lnTo>
                <a:lnTo>
                  <a:pt x="634" y="127"/>
                </a:lnTo>
                <a:lnTo>
                  <a:pt x="636" y="125"/>
                </a:lnTo>
                <a:lnTo>
                  <a:pt x="638" y="123"/>
                </a:lnTo>
                <a:lnTo>
                  <a:pt x="641" y="122"/>
                </a:lnTo>
                <a:lnTo>
                  <a:pt x="644" y="121"/>
                </a:lnTo>
                <a:lnTo>
                  <a:pt x="647" y="121"/>
                </a:lnTo>
                <a:lnTo>
                  <a:pt x="737" y="121"/>
                </a:lnTo>
                <a:lnTo>
                  <a:pt x="740" y="121"/>
                </a:lnTo>
                <a:lnTo>
                  <a:pt x="742" y="122"/>
                </a:lnTo>
                <a:lnTo>
                  <a:pt x="746" y="123"/>
                </a:lnTo>
                <a:lnTo>
                  <a:pt x="748" y="125"/>
                </a:lnTo>
                <a:lnTo>
                  <a:pt x="750" y="127"/>
                </a:lnTo>
                <a:lnTo>
                  <a:pt x="751" y="129"/>
                </a:lnTo>
                <a:lnTo>
                  <a:pt x="752" y="132"/>
                </a:lnTo>
                <a:lnTo>
                  <a:pt x="752" y="136"/>
                </a:lnTo>
                <a:lnTo>
                  <a:pt x="752" y="166"/>
                </a:lnTo>
                <a:lnTo>
                  <a:pt x="752" y="169"/>
                </a:lnTo>
                <a:lnTo>
                  <a:pt x="751" y="171"/>
                </a:lnTo>
                <a:lnTo>
                  <a:pt x="750" y="174"/>
                </a:lnTo>
                <a:lnTo>
                  <a:pt x="748" y="176"/>
                </a:lnTo>
                <a:lnTo>
                  <a:pt x="746" y="177"/>
                </a:lnTo>
                <a:lnTo>
                  <a:pt x="742" y="180"/>
                </a:lnTo>
                <a:lnTo>
                  <a:pt x="740" y="181"/>
                </a:lnTo>
                <a:lnTo>
                  <a:pt x="737" y="181"/>
                </a:lnTo>
                <a:lnTo>
                  <a:pt x="647" y="181"/>
                </a:lnTo>
                <a:close/>
                <a:moveTo>
                  <a:pt x="887" y="0"/>
                </a:moveTo>
                <a:lnTo>
                  <a:pt x="15" y="0"/>
                </a:lnTo>
                <a:lnTo>
                  <a:pt x="12" y="1"/>
                </a:lnTo>
                <a:lnTo>
                  <a:pt x="10" y="2"/>
                </a:lnTo>
                <a:lnTo>
                  <a:pt x="6" y="3"/>
                </a:lnTo>
                <a:lnTo>
                  <a:pt x="4" y="5"/>
                </a:lnTo>
                <a:lnTo>
                  <a:pt x="3" y="7"/>
                </a:lnTo>
                <a:lnTo>
                  <a:pt x="1" y="9"/>
                </a:lnTo>
                <a:lnTo>
                  <a:pt x="1" y="12"/>
                </a:lnTo>
                <a:lnTo>
                  <a:pt x="0" y="16"/>
                </a:lnTo>
                <a:lnTo>
                  <a:pt x="0" y="888"/>
                </a:lnTo>
                <a:lnTo>
                  <a:pt x="1" y="890"/>
                </a:lnTo>
                <a:lnTo>
                  <a:pt x="1" y="893"/>
                </a:lnTo>
                <a:lnTo>
                  <a:pt x="3" y="895"/>
                </a:lnTo>
                <a:lnTo>
                  <a:pt x="4" y="897"/>
                </a:lnTo>
                <a:lnTo>
                  <a:pt x="6" y="899"/>
                </a:lnTo>
                <a:lnTo>
                  <a:pt x="10" y="900"/>
                </a:lnTo>
                <a:lnTo>
                  <a:pt x="12" y="902"/>
                </a:lnTo>
                <a:lnTo>
                  <a:pt x="15" y="903"/>
                </a:lnTo>
                <a:lnTo>
                  <a:pt x="887" y="903"/>
                </a:lnTo>
                <a:lnTo>
                  <a:pt x="890" y="902"/>
                </a:lnTo>
                <a:lnTo>
                  <a:pt x="893" y="900"/>
                </a:lnTo>
                <a:lnTo>
                  <a:pt x="896" y="899"/>
                </a:lnTo>
                <a:lnTo>
                  <a:pt x="898" y="897"/>
                </a:lnTo>
                <a:lnTo>
                  <a:pt x="900" y="895"/>
                </a:lnTo>
                <a:lnTo>
                  <a:pt x="901" y="893"/>
                </a:lnTo>
                <a:lnTo>
                  <a:pt x="902" y="890"/>
                </a:lnTo>
                <a:lnTo>
                  <a:pt x="902" y="888"/>
                </a:lnTo>
                <a:lnTo>
                  <a:pt x="902" y="15"/>
                </a:lnTo>
                <a:lnTo>
                  <a:pt x="902" y="12"/>
                </a:lnTo>
                <a:lnTo>
                  <a:pt x="901" y="9"/>
                </a:lnTo>
                <a:lnTo>
                  <a:pt x="900" y="7"/>
                </a:lnTo>
                <a:lnTo>
                  <a:pt x="898" y="5"/>
                </a:lnTo>
                <a:lnTo>
                  <a:pt x="896" y="3"/>
                </a:lnTo>
                <a:lnTo>
                  <a:pt x="893" y="2"/>
                </a:lnTo>
                <a:lnTo>
                  <a:pt x="890" y="1"/>
                </a:lnTo>
                <a:lnTo>
                  <a:pt x="887" y="0"/>
                </a:lnTo>
                <a:lnTo>
                  <a:pt x="887"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628" name="Group 24">
            <a:extLst>
              <a:ext uri="{FF2B5EF4-FFF2-40B4-BE49-F238E27FC236}">
                <a16:creationId xmlns:a16="http://schemas.microsoft.com/office/drawing/2014/main" id="{B0984C4E-6649-4DD4-8C22-DF2026B9A8C3}"/>
              </a:ext>
            </a:extLst>
          </p:cNvPr>
          <p:cNvGrpSpPr>
            <a:grpSpLocks noChangeAspect="1"/>
          </p:cNvGrpSpPr>
          <p:nvPr/>
        </p:nvGrpSpPr>
        <p:grpSpPr>
          <a:xfrm>
            <a:off x="6630146" y="2212214"/>
            <a:ext cx="300651" cy="233912"/>
            <a:chOff x="9385300" y="3071813"/>
            <a:chExt cx="736600" cy="573087"/>
          </a:xfrm>
          <a:solidFill>
            <a:schemeClr val="bg2"/>
          </a:solidFill>
          <a:effectLst/>
        </p:grpSpPr>
        <p:sp>
          <p:nvSpPr>
            <p:cNvPr id="1629" name="Freeform 10">
              <a:extLst>
                <a:ext uri="{FF2B5EF4-FFF2-40B4-BE49-F238E27FC236}">
                  <a16:creationId xmlns:a16="http://schemas.microsoft.com/office/drawing/2014/main" id="{920720C2-3B18-406B-8827-A23F5076FB1B}"/>
                </a:ext>
              </a:extLst>
            </p:cNvPr>
            <p:cNvSpPr>
              <a:spLocks/>
            </p:cNvSpPr>
            <p:nvPr/>
          </p:nvSpPr>
          <p:spPr bwMode="auto">
            <a:xfrm>
              <a:off x="9385300" y="3213100"/>
              <a:ext cx="736600" cy="431800"/>
            </a:xfrm>
            <a:custGeom>
              <a:avLst/>
              <a:gdLst>
                <a:gd name="T0" fmla="*/ 33 w 1856"/>
                <a:gd name="T1" fmla="*/ 1088 h 1088"/>
                <a:gd name="T2" fmla="*/ 20 w 1856"/>
                <a:gd name="T3" fmla="*/ 1085 h 1088"/>
                <a:gd name="T4" fmla="*/ 10 w 1856"/>
                <a:gd name="T5" fmla="*/ 1077 h 1088"/>
                <a:gd name="T6" fmla="*/ 2 w 1856"/>
                <a:gd name="T7" fmla="*/ 1067 h 1088"/>
                <a:gd name="T8" fmla="*/ 0 w 1856"/>
                <a:gd name="T9" fmla="*/ 1055 h 1088"/>
                <a:gd name="T10" fmla="*/ 1 w 1856"/>
                <a:gd name="T11" fmla="*/ 25 h 1088"/>
                <a:gd name="T12" fmla="*/ 6 w 1856"/>
                <a:gd name="T13" fmla="*/ 14 h 1088"/>
                <a:gd name="T14" fmla="*/ 14 w 1856"/>
                <a:gd name="T15" fmla="*/ 5 h 1088"/>
                <a:gd name="T16" fmla="*/ 25 w 1856"/>
                <a:gd name="T17" fmla="*/ 0 h 1088"/>
                <a:gd name="T18" fmla="*/ 1824 w 1856"/>
                <a:gd name="T19" fmla="*/ 0 h 1088"/>
                <a:gd name="T20" fmla="*/ 1837 w 1856"/>
                <a:gd name="T21" fmla="*/ 1 h 1088"/>
                <a:gd name="T22" fmla="*/ 1847 w 1856"/>
                <a:gd name="T23" fmla="*/ 9 h 1088"/>
                <a:gd name="T24" fmla="*/ 1853 w 1856"/>
                <a:gd name="T25" fmla="*/ 19 h 1088"/>
                <a:gd name="T26" fmla="*/ 1856 w 1856"/>
                <a:gd name="T27" fmla="*/ 31 h 1088"/>
                <a:gd name="T28" fmla="*/ 1855 w 1856"/>
                <a:gd name="T29" fmla="*/ 678 h 1088"/>
                <a:gd name="T30" fmla="*/ 1851 w 1856"/>
                <a:gd name="T31" fmla="*/ 689 h 1088"/>
                <a:gd name="T32" fmla="*/ 1842 w 1856"/>
                <a:gd name="T33" fmla="*/ 697 h 1088"/>
                <a:gd name="T34" fmla="*/ 1831 w 1856"/>
                <a:gd name="T35" fmla="*/ 702 h 1088"/>
                <a:gd name="T36" fmla="*/ 1818 w 1856"/>
                <a:gd name="T37" fmla="*/ 702 h 1088"/>
                <a:gd name="T38" fmla="*/ 1807 w 1856"/>
                <a:gd name="T39" fmla="*/ 697 h 1088"/>
                <a:gd name="T40" fmla="*/ 1798 w 1856"/>
                <a:gd name="T41" fmla="*/ 689 h 1088"/>
                <a:gd name="T42" fmla="*/ 1793 w 1856"/>
                <a:gd name="T43" fmla="*/ 678 h 1088"/>
                <a:gd name="T44" fmla="*/ 1793 w 1856"/>
                <a:gd name="T45" fmla="*/ 63 h 1088"/>
                <a:gd name="T46" fmla="*/ 64 w 1856"/>
                <a:gd name="T47" fmla="*/ 1023 h 1088"/>
                <a:gd name="T48" fmla="*/ 1318 w 1856"/>
                <a:gd name="T49" fmla="*/ 1024 h 1088"/>
                <a:gd name="T50" fmla="*/ 1330 w 1856"/>
                <a:gd name="T51" fmla="*/ 1028 h 1088"/>
                <a:gd name="T52" fmla="*/ 1339 w 1856"/>
                <a:gd name="T53" fmla="*/ 1037 h 1088"/>
                <a:gd name="T54" fmla="*/ 1344 w 1856"/>
                <a:gd name="T55" fmla="*/ 1048 h 1088"/>
                <a:gd name="T56" fmla="*/ 1344 w 1856"/>
                <a:gd name="T57" fmla="*/ 1061 h 1088"/>
                <a:gd name="T58" fmla="*/ 1339 w 1856"/>
                <a:gd name="T59" fmla="*/ 1072 h 1088"/>
                <a:gd name="T60" fmla="*/ 1330 w 1856"/>
                <a:gd name="T61" fmla="*/ 1081 h 1088"/>
                <a:gd name="T62" fmla="*/ 1318 w 1856"/>
                <a:gd name="T63" fmla="*/ 108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6" h="1088">
                  <a:moveTo>
                    <a:pt x="1312" y="1088"/>
                  </a:moveTo>
                  <a:lnTo>
                    <a:pt x="33" y="1088"/>
                  </a:lnTo>
                  <a:lnTo>
                    <a:pt x="25" y="1086"/>
                  </a:lnTo>
                  <a:lnTo>
                    <a:pt x="20" y="1085"/>
                  </a:lnTo>
                  <a:lnTo>
                    <a:pt x="14" y="1081"/>
                  </a:lnTo>
                  <a:lnTo>
                    <a:pt x="10" y="1077"/>
                  </a:lnTo>
                  <a:lnTo>
                    <a:pt x="6" y="1072"/>
                  </a:lnTo>
                  <a:lnTo>
                    <a:pt x="2" y="1067"/>
                  </a:lnTo>
                  <a:lnTo>
                    <a:pt x="1" y="1061"/>
                  </a:lnTo>
                  <a:lnTo>
                    <a:pt x="0" y="1055"/>
                  </a:lnTo>
                  <a:lnTo>
                    <a:pt x="0" y="31"/>
                  </a:lnTo>
                  <a:lnTo>
                    <a:pt x="1" y="25"/>
                  </a:lnTo>
                  <a:lnTo>
                    <a:pt x="2" y="19"/>
                  </a:lnTo>
                  <a:lnTo>
                    <a:pt x="6" y="14"/>
                  </a:lnTo>
                  <a:lnTo>
                    <a:pt x="10" y="9"/>
                  </a:lnTo>
                  <a:lnTo>
                    <a:pt x="14" y="5"/>
                  </a:lnTo>
                  <a:lnTo>
                    <a:pt x="20" y="1"/>
                  </a:lnTo>
                  <a:lnTo>
                    <a:pt x="25" y="0"/>
                  </a:lnTo>
                  <a:lnTo>
                    <a:pt x="33" y="0"/>
                  </a:lnTo>
                  <a:lnTo>
                    <a:pt x="1824" y="0"/>
                  </a:lnTo>
                  <a:lnTo>
                    <a:pt x="1831" y="0"/>
                  </a:lnTo>
                  <a:lnTo>
                    <a:pt x="1837" y="1"/>
                  </a:lnTo>
                  <a:lnTo>
                    <a:pt x="1842" y="5"/>
                  </a:lnTo>
                  <a:lnTo>
                    <a:pt x="1847" y="9"/>
                  </a:lnTo>
                  <a:lnTo>
                    <a:pt x="1851" y="14"/>
                  </a:lnTo>
                  <a:lnTo>
                    <a:pt x="1853" y="19"/>
                  </a:lnTo>
                  <a:lnTo>
                    <a:pt x="1855" y="25"/>
                  </a:lnTo>
                  <a:lnTo>
                    <a:pt x="1856" y="31"/>
                  </a:lnTo>
                  <a:lnTo>
                    <a:pt x="1856" y="670"/>
                  </a:lnTo>
                  <a:lnTo>
                    <a:pt x="1855" y="678"/>
                  </a:lnTo>
                  <a:lnTo>
                    <a:pt x="1853" y="683"/>
                  </a:lnTo>
                  <a:lnTo>
                    <a:pt x="1851" y="689"/>
                  </a:lnTo>
                  <a:lnTo>
                    <a:pt x="1847" y="693"/>
                  </a:lnTo>
                  <a:lnTo>
                    <a:pt x="1842" y="697"/>
                  </a:lnTo>
                  <a:lnTo>
                    <a:pt x="1837" y="701"/>
                  </a:lnTo>
                  <a:lnTo>
                    <a:pt x="1831" y="702"/>
                  </a:lnTo>
                  <a:lnTo>
                    <a:pt x="1824" y="703"/>
                  </a:lnTo>
                  <a:lnTo>
                    <a:pt x="1818" y="702"/>
                  </a:lnTo>
                  <a:lnTo>
                    <a:pt x="1812" y="701"/>
                  </a:lnTo>
                  <a:lnTo>
                    <a:pt x="1807" y="697"/>
                  </a:lnTo>
                  <a:lnTo>
                    <a:pt x="1801" y="693"/>
                  </a:lnTo>
                  <a:lnTo>
                    <a:pt x="1798" y="689"/>
                  </a:lnTo>
                  <a:lnTo>
                    <a:pt x="1794" y="683"/>
                  </a:lnTo>
                  <a:lnTo>
                    <a:pt x="1793" y="678"/>
                  </a:lnTo>
                  <a:lnTo>
                    <a:pt x="1793" y="670"/>
                  </a:lnTo>
                  <a:lnTo>
                    <a:pt x="1793" y="63"/>
                  </a:lnTo>
                  <a:lnTo>
                    <a:pt x="64" y="63"/>
                  </a:lnTo>
                  <a:lnTo>
                    <a:pt x="64" y="1023"/>
                  </a:lnTo>
                  <a:lnTo>
                    <a:pt x="1312" y="1023"/>
                  </a:lnTo>
                  <a:lnTo>
                    <a:pt x="1318" y="1024"/>
                  </a:lnTo>
                  <a:lnTo>
                    <a:pt x="1325" y="1025"/>
                  </a:lnTo>
                  <a:lnTo>
                    <a:pt x="1330" y="1028"/>
                  </a:lnTo>
                  <a:lnTo>
                    <a:pt x="1335" y="1032"/>
                  </a:lnTo>
                  <a:lnTo>
                    <a:pt x="1339" y="1037"/>
                  </a:lnTo>
                  <a:lnTo>
                    <a:pt x="1341" y="1042"/>
                  </a:lnTo>
                  <a:lnTo>
                    <a:pt x="1344" y="1048"/>
                  </a:lnTo>
                  <a:lnTo>
                    <a:pt x="1344" y="1055"/>
                  </a:lnTo>
                  <a:lnTo>
                    <a:pt x="1344" y="1061"/>
                  </a:lnTo>
                  <a:lnTo>
                    <a:pt x="1341" y="1067"/>
                  </a:lnTo>
                  <a:lnTo>
                    <a:pt x="1339" y="1072"/>
                  </a:lnTo>
                  <a:lnTo>
                    <a:pt x="1335" y="1077"/>
                  </a:lnTo>
                  <a:lnTo>
                    <a:pt x="1330" y="1081"/>
                  </a:lnTo>
                  <a:lnTo>
                    <a:pt x="1325" y="1085"/>
                  </a:lnTo>
                  <a:lnTo>
                    <a:pt x="1318" y="1086"/>
                  </a:lnTo>
                  <a:lnTo>
                    <a:pt x="1312" y="10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0" name="Freeform 11">
              <a:extLst>
                <a:ext uri="{FF2B5EF4-FFF2-40B4-BE49-F238E27FC236}">
                  <a16:creationId xmlns:a16="http://schemas.microsoft.com/office/drawing/2014/main" id="{D09A8813-9AAF-40DC-86CC-F7DBA3C428B7}"/>
                </a:ext>
              </a:extLst>
            </p:cNvPr>
            <p:cNvSpPr>
              <a:spLocks noEditPoints="1"/>
            </p:cNvSpPr>
            <p:nvPr/>
          </p:nvSpPr>
          <p:spPr bwMode="auto">
            <a:xfrm>
              <a:off x="9588500" y="3263900"/>
              <a:ext cx="330200" cy="330200"/>
            </a:xfrm>
            <a:custGeom>
              <a:avLst/>
              <a:gdLst>
                <a:gd name="T0" fmla="*/ 345 w 832"/>
                <a:gd name="T1" fmla="*/ 73 h 834"/>
                <a:gd name="T2" fmla="*/ 264 w 832"/>
                <a:gd name="T3" fmla="*/ 99 h 834"/>
                <a:gd name="T4" fmla="*/ 193 w 832"/>
                <a:gd name="T5" fmla="*/ 145 h 834"/>
                <a:gd name="T6" fmla="*/ 134 w 832"/>
                <a:gd name="T7" fmla="*/ 207 h 834"/>
                <a:gd name="T8" fmla="*/ 91 w 832"/>
                <a:gd name="T9" fmla="*/ 281 h 834"/>
                <a:gd name="T10" fmla="*/ 68 w 832"/>
                <a:gd name="T11" fmla="*/ 363 h 834"/>
                <a:gd name="T12" fmla="*/ 66 w 832"/>
                <a:gd name="T13" fmla="*/ 453 h 834"/>
                <a:gd name="T14" fmla="*/ 85 w 832"/>
                <a:gd name="T15" fmla="*/ 538 h 834"/>
                <a:gd name="T16" fmla="*/ 124 w 832"/>
                <a:gd name="T17" fmla="*/ 614 h 834"/>
                <a:gd name="T18" fmla="*/ 180 w 832"/>
                <a:gd name="T19" fmla="*/ 678 h 834"/>
                <a:gd name="T20" fmla="*/ 248 w 832"/>
                <a:gd name="T21" fmla="*/ 727 h 834"/>
                <a:gd name="T22" fmla="*/ 328 w 832"/>
                <a:gd name="T23" fmla="*/ 757 h 834"/>
                <a:gd name="T24" fmla="*/ 416 w 832"/>
                <a:gd name="T25" fmla="*/ 769 h 834"/>
                <a:gd name="T26" fmla="*/ 503 w 832"/>
                <a:gd name="T27" fmla="*/ 757 h 834"/>
                <a:gd name="T28" fmla="*/ 583 w 832"/>
                <a:gd name="T29" fmla="*/ 727 h 834"/>
                <a:gd name="T30" fmla="*/ 653 w 832"/>
                <a:gd name="T31" fmla="*/ 678 h 834"/>
                <a:gd name="T32" fmla="*/ 707 w 832"/>
                <a:gd name="T33" fmla="*/ 614 h 834"/>
                <a:gd name="T34" fmla="*/ 747 w 832"/>
                <a:gd name="T35" fmla="*/ 538 h 834"/>
                <a:gd name="T36" fmla="*/ 766 w 832"/>
                <a:gd name="T37" fmla="*/ 453 h 834"/>
                <a:gd name="T38" fmla="*/ 765 w 832"/>
                <a:gd name="T39" fmla="*/ 363 h 834"/>
                <a:gd name="T40" fmla="*/ 740 w 832"/>
                <a:gd name="T41" fmla="*/ 281 h 834"/>
                <a:gd name="T42" fmla="*/ 699 w 832"/>
                <a:gd name="T43" fmla="*/ 207 h 834"/>
                <a:gd name="T44" fmla="*/ 640 w 832"/>
                <a:gd name="T45" fmla="*/ 145 h 834"/>
                <a:gd name="T46" fmla="*/ 568 w 832"/>
                <a:gd name="T47" fmla="*/ 99 h 834"/>
                <a:gd name="T48" fmla="*/ 487 w 832"/>
                <a:gd name="T49" fmla="*/ 73 h 834"/>
                <a:gd name="T50" fmla="*/ 416 w 832"/>
                <a:gd name="T51" fmla="*/ 834 h 834"/>
                <a:gd name="T52" fmla="*/ 312 w 832"/>
                <a:gd name="T53" fmla="*/ 820 h 834"/>
                <a:gd name="T54" fmla="*/ 218 w 832"/>
                <a:gd name="T55" fmla="*/ 783 h 834"/>
                <a:gd name="T56" fmla="*/ 137 w 832"/>
                <a:gd name="T57" fmla="*/ 725 h 834"/>
                <a:gd name="T58" fmla="*/ 71 w 832"/>
                <a:gd name="T59" fmla="*/ 650 h 834"/>
                <a:gd name="T60" fmla="*/ 25 w 832"/>
                <a:gd name="T61" fmla="*/ 560 h 834"/>
                <a:gd name="T62" fmla="*/ 2 w 832"/>
                <a:gd name="T63" fmla="*/ 459 h 834"/>
                <a:gd name="T64" fmla="*/ 5 w 832"/>
                <a:gd name="T65" fmla="*/ 354 h 834"/>
                <a:gd name="T66" fmla="*/ 33 w 832"/>
                <a:gd name="T67" fmla="*/ 255 h 834"/>
                <a:gd name="T68" fmla="*/ 82 w 832"/>
                <a:gd name="T69" fmla="*/ 168 h 834"/>
                <a:gd name="T70" fmla="*/ 152 w 832"/>
                <a:gd name="T71" fmla="*/ 96 h 834"/>
                <a:gd name="T72" fmla="*/ 236 w 832"/>
                <a:gd name="T73" fmla="*/ 42 h 834"/>
                <a:gd name="T74" fmla="*/ 332 w 832"/>
                <a:gd name="T75" fmla="*/ 9 h 834"/>
                <a:gd name="T76" fmla="*/ 437 w 832"/>
                <a:gd name="T77" fmla="*/ 2 h 834"/>
                <a:gd name="T78" fmla="*/ 540 w 832"/>
                <a:gd name="T79" fmla="*/ 19 h 834"/>
                <a:gd name="T80" fmla="*/ 631 w 832"/>
                <a:gd name="T81" fmla="*/ 61 h 834"/>
                <a:gd name="T82" fmla="*/ 710 w 832"/>
                <a:gd name="T83" fmla="*/ 123 h 834"/>
                <a:gd name="T84" fmla="*/ 772 w 832"/>
                <a:gd name="T85" fmla="*/ 202 h 834"/>
                <a:gd name="T86" fmla="*/ 813 w 832"/>
                <a:gd name="T87" fmla="*/ 293 h 834"/>
                <a:gd name="T88" fmla="*/ 832 w 832"/>
                <a:gd name="T89" fmla="*/ 396 h 834"/>
                <a:gd name="T90" fmla="*/ 824 w 832"/>
                <a:gd name="T91" fmla="*/ 501 h 834"/>
                <a:gd name="T92" fmla="*/ 791 w 832"/>
                <a:gd name="T93" fmla="*/ 598 h 834"/>
                <a:gd name="T94" fmla="*/ 737 w 832"/>
                <a:gd name="T95" fmla="*/ 681 h 834"/>
                <a:gd name="T96" fmla="*/ 664 w 832"/>
                <a:gd name="T97" fmla="*/ 750 h 834"/>
                <a:gd name="T98" fmla="*/ 578 w 832"/>
                <a:gd name="T99" fmla="*/ 801 h 834"/>
                <a:gd name="T100" fmla="*/ 479 w 832"/>
                <a:gd name="T101" fmla="*/ 828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2" h="834">
                  <a:moveTo>
                    <a:pt x="416" y="65"/>
                  </a:moveTo>
                  <a:lnTo>
                    <a:pt x="398" y="65"/>
                  </a:lnTo>
                  <a:lnTo>
                    <a:pt x="380" y="66"/>
                  </a:lnTo>
                  <a:lnTo>
                    <a:pt x="363" y="69"/>
                  </a:lnTo>
                  <a:lnTo>
                    <a:pt x="345" y="73"/>
                  </a:lnTo>
                  <a:lnTo>
                    <a:pt x="328" y="77"/>
                  </a:lnTo>
                  <a:lnTo>
                    <a:pt x="312" y="80"/>
                  </a:lnTo>
                  <a:lnTo>
                    <a:pt x="295" y="87"/>
                  </a:lnTo>
                  <a:lnTo>
                    <a:pt x="279" y="93"/>
                  </a:lnTo>
                  <a:lnTo>
                    <a:pt x="264" y="99"/>
                  </a:lnTo>
                  <a:lnTo>
                    <a:pt x="248" y="107"/>
                  </a:lnTo>
                  <a:lnTo>
                    <a:pt x="233" y="116"/>
                  </a:lnTo>
                  <a:lnTo>
                    <a:pt x="219" y="125"/>
                  </a:lnTo>
                  <a:lnTo>
                    <a:pt x="205" y="135"/>
                  </a:lnTo>
                  <a:lnTo>
                    <a:pt x="193" y="145"/>
                  </a:lnTo>
                  <a:lnTo>
                    <a:pt x="180" y="156"/>
                  </a:lnTo>
                  <a:lnTo>
                    <a:pt x="167" y="168"/>
                  </a:lnTo>
                  <a:lnTo>
                    <a:pt x="156" y="181"/>
                  </a:lnTo>
                  <a:lnTo>
                    <a:pt x="144" y="193"/>
                  </a:lnTo>
                  <a:lnTo>
                    <a:pt x="134" y="207"/>
                  </a:lnTo>
                  <a:lnTo>
                    <a:pt x="124" y="220"/>
                  </a:lnTo>
                  <a:lnTo>
                    <a:pt x="115" y="235"/>
                  </a:lnTo>
                  <a:lnTo>
                    <a:pt x="106" y="249"/>
                  </a:lnTo>
                  <a:lnTo>
                    <a:pt x="99" y="264"/>
                  </a:lnTo>
                  <a:lnTo>
                    <a:pt x="91" y="281"/>
                  </a:lnTo>
                  <a:lnTo>
                    <a:pt x="85" y="296"/>
                  </a:lnTo>
                  <a:lnTo>
                    <a:pt x="80" y="312"/>
                  </a:lnTo>
                  <a:lnTo>
                    <a:pt x="75" y="329"/>
                  </a:lnTo>
                  <a:lnTo>
                    <a:pt x="71" y="347"/>
                  </a:lnTo>
                  <a:lnTo>
                    <a:pt x="68" y="363"/>
                  </a:lnTo>
                  <a:lnTo>
                    <a:pt x="66" y="381"/>
                  </a:lnTo>
                  <a:lnTo>
                    <a:pt x="65" y="399"/>
                  </a:lnTo>
                  <a:lnTo>
                    <a:pt x="65" y="418"/>
                  </a:lnTo>
                  <a:lnTo>
                    <a:pt x="65" y="435"/>
                  </a:lnTo>
                  <a:lnTo>
                    <a:pt x="66" y="453"/>
                  </a:lnTo>
                  <a:lnTo>
                    <a:pt x="68" y="471"/>
                  </a:lnTo>
                  <a:lnTo>
                    <a:pt x="71" y="487"/>
                  </a:lnTo>
                  <a:lnTo>
                    <a:pt x="75" y="505"/>
                  </a:lnTo>
                  <a:lnTo>
                    <a:pt x="80" y="522"/>
                  </a:lnTo>
                  <a:lnTo>
                    <a:pt x="85" y="538"/>
                  </a:lnTo>
                  <a:lnTo>
                    <a:pt x="91" y="553"/>
                  </a:lnTo>
                  <a:lnTo>
                    <a:pt x="99" y="570"/>
                  </a:lnTo>
                  <a:lnTo>
                    <a:pt x="106" y="585"/>
                  </a:lnTo>
                  <a:lnTo>
                    <a:pt x="115" y="599"/>
                  </a:lnTo>
                  <a:lnTo>
                    <a:pt x="124" y="614"/>
                  </a:lnTo>
                  <a:lnTo>
                    <a:pt x="134" y="627"/>
                  </a:lnTo>
                  <a:lnTo>
                    <a:pt x="144" y="641"/>
                  </a:lnTo>
                  <a:lnTo>
                    <a:pt x="156" y="653"/>
                  </a:lnTo>
                  <a:lnTo>
                    <a:pt x="167" y="666"/>
                  </a:lnTo>
                  <a:lnTo>
                    <a:pt x="180" y="678"/>
                  </a:lnTo>
                  <a:lnTo>
                    <a:pt x="193" y="689"/>
                  </a:lnTo>
                  <a:lnTo>
                    <a:pt x="205" y="699"/>
                  </a:lnTo>
                  <a:lnTo>
                    <a:pt x="219" y="709"/>
                  </a:lnTo>
                  <a:lnTo>
                    <a:pt x="233" y="718"/>
                  </a:lnTo>
                  <a:lnTo>
                    <a:pt x="248" y="727"/>
                  </a:lnTo>
                  <a:lnTo>
                    <a:pt x="264" y="735"/>
                  </a:lnTo>
                  <a:lnTo>
                    <a:pt x="279" y="741"/>
                  </a:lnTo>
                  <a:lnTo>
                    <a:pt x="295" y="747"/>
                  </a:lnTo>
                  <a:lnTo>
                    <a:pt x="312" y="754"/>
                  </a:lnTo>
                  <a:lnTo>
                    <a:pt x="328" y="757"/>
                  </a:lnTo>
                  <a:lnTo>
                    <a:pt x="345" y="761"/>
                  </a:lnTo>
                  <a:lnTo>
                    <a:pt x="363" y="765"/>
                  </a:lnTo>
                  <a:lnTo>
                    <a:pt x="380" y="768"/>
                  </a:lnTo>
                  <a:lnTo>
                    <a:pt x="398" y="769"/>
                  </a:lnTo>
                  <a:lnTo>
                    <a:pt x="416" y="769"/>
                  </a:lnTo>
                  <a:lnTo>
                    <a:pt x="434" y="769"/>
                  </a:lnTo>
                  <a:lnTo>
                    <a:pt x="451" y="768"/>
                  </a:lnTo>
                  <a:lnTo>
                    <a:pt x="469" y="765"/>
                  </a:lnTo>
                  <a:lnTo>
                    <a:pt x="487" y="761"/>
                  </a:lnTo>
                  <a:lnTo>
                    <a:pt x="503" y="757"/>
                  </a:lnTo>
                  <a:lnTo>
                    <a:pt x="521" y="754"/>
                  </a:lnTo>
                  <a:lnTo>
                    <a:pt x="536" y="747"/>
                  </a:lnTo>
                  <a:lnTo>
                    <a:pt x="553" y="741"/>
                  </a:lnTo>
                  <a:lnTo>
                    <a:pt x="568" y="735"/>
                  </a:lnTo>
                  <a:lnTo>
                    <a:pt x="583" y="727"/>
                  </a:lnTo>
                  <a:lnTo>
                    <a:pt x="598" y="718"/>
                  </a:lnTo>
                  <a:lnTo>
                    <a:pt x="612" y="709"/>
                  </a:lnTo>
                  <a:lnTo>
                    <a:pt x="626" y="699"/>
                  </a:lnTo>
                  <a:lnTo>
                    <a:pt x="640" y="689"/>
                  </a:lnTo>
                  <a:lnTo>
                    <a:pt x="653" y="678"/>
                  </a:lnTo>
                  <a:lnTo>
                    <a:pt x="664" y="666"/>
                  </a:lnTo>
                  <a:lnTo>
                    <a:pt x="677" y="653"/>
                  </a:lnTo>
                  <a:lnTo>
                    <a:pt x="687" y="641"/>
                  </a:lnTo>
                  <a:lnTo>
                    <a:pt x="699" y="627"/>
                  </a:lnTo>
                  <a:lnTo>
                    <a:pt x="707" y="614"/>
                  </a:lnTo>
                  <a:lnTo>
                    <a:pt x="716" y="599"/>
                  </a:lnTo>
                  <a:lnTo>
                    <a:pt x="725" y="585"/>
                  </a:lnTo>
                  <a:lnTo>
                    <a:pt x="733" y="570"/>
                  </a:lnTo>
                  <a:lnTo>
                    <a:pt x="740" y="553"/>
                  </a:lnTo>
                  <a:lnTo>
                    <a:pt x="747" y="538"/>
                  </a:lnTo>
                  <a:lnTo>
                    <a:pt x="752" y="522"/>
                  </a:lnTo>
                  <a:lnTo>
                    <a:pt x="757" y="505"/>
                  </a:lnTo>
                  <a:lnTo>
                    <a:pt x="761" y="487"/>
                  </a:lnTo>
                  <a:lnTo>
                    <a:pt x="765" y="471"/>
                  </a:lnTo>
                  <a:lnTo>
                    <a:pt x="766" y="453"/>
                  </a:lnTo>
                  <a:lnTo>
                    <a:pt x="767" y="435"/>
                  </a:lnTo>
                  <a:lnTo>
                    <a:pt x="768" y="418"/>
                  </a:lnTo>
                  <a:lnTo>
                    <a:pt x="767" y="399"/>
                  </a:lnTo>
                  <a:lnTo>
                    <a:pt x="766" y="381"/>
                  </a:lnTo>
                  <a:lnTo>
                    <a:pt x="765" y="363"/>
                  </a:lnTo>
                  <a:lnTo>
                    <a:pt x="761" y="347"/>
                  </a:lnTo>
                  <a:lnTo>
                    <a:pt x="757" y="329"/>
                  </a:lnTo>
                  <a:lnTo>
                    <a:pt x="752" y="312"/>
                  </a:lnTo>
                  <a:lnTo>
                    <a:pt x="747" y="296"/>
                  </a:lnTo>
                  <a:lnTo>
                    <a:pt x="740" y="281"/>
                  </a:lnTo>
                  <a:lnTo>
                    <a:pt x="733" y="264"/>
                  </a:lnTo>
                  <a:lnTo>
                    <a:pt x="725" y="249"/>
                  </a:lnTo>
                  <a:lnTo>
                    <a:pt x="716" y="235"/>
                  </a:lnTo>
                  <a:lnTo>
                    <a:pt x="707" y="220"/>
                  </a:lnTo>
                  <a:lnTo>
                    <a:pt x="699" y="207"/>
                  </a:lnTo>
                  <a:lnTo>
                    <a:pt x="687" y="193"/>
                  </a:lnTo>
                  <a:lnTo>
                    <a:pt x="677" y="181"/>
                  </a:lnTo>
                  <a:lnTo>
                    <a:pt x="664" y="168"/>
                  </a:lnTo>
                  <a:lnTo>
                    <a:pt x="653" y="156"/>
                  </a:lnTo>
                  <a:lnTo>
                    <a:pt x="640" y="145"/>
                  </a:lnTo>
                  <a:lnTo>
                    <a:pt x="626" y="135"/>
                  </a:lnTo>
                  <a:lnTo>
                    <a:pt x="612" y="125"/>
                  </a:lnTo>
                  <a:lnTo>
                    <a:pt x="598" y="116"/>
                  </a:lnTo>
                  <a:lnTo>
                    <a:pt x="583" y="107"/>
                  </a:lnTo>
                  <a:lnTo>
                    <a:pt x="568" y="99"/>
                  </a:lnTo>
                  <a:lnTo>
                    <a:pt x="553" y="93"/>
                  </a:lnTo>
                  <a:lnTo>
                    <a:pt x="536" y="87"/>
                  </a:lnTo>
                  <a:lnTo>
                    <a:pt x="521" y="80"/>
                  </a:lnTo>
                  <a:lnTo>
                    <a:pt x="503" y="77"/>
                  </a:lnTo>
                  <a:lnTo>
                    <a:pt x="487" y="73"/>
                  </a:lnTo>
                  <a:lnTo>
                    <a:pt x="469" y="69"/>
                  </a:lnTo>
                  <a:lnTo>
                    <a:pt x="451" y="66"/>
                  </a:lnTo>
                  <a:lnTo>
                    <a:pt x="434" y="65"/>
                  </a:lnTo>
                  <a:lnTo>
                    <a:pt x="416" y="65"/>
                  </a:lnTo>
                  <a:close/>
                  <a:moveTo>
                    <a:pt x="416" y="834"/>
                  </a:moveTo>
                  <a:lnTo>
                    <a:pt x="394" y="832"/>
                  </a:lnTo>
                  <a:lnTo>
                    <a:pt x="374" y="831"/>
                  </a:lnTo>
                  <a:lnTo>
                    <a:pt x="352" y="828"/>
                  </a:lnTo>
                  <a:lnTo>
                    <a:pt x="332" y="825"/>
                  </a:lnTo>
                  <a:lnTo>
                    <a:pt x="312" y="820"/>
                  </a:lnTo>
                  <a:lnTo>
                    <a:pt x="293" y="815"/>
                  </a:lnTo>
                  <a:lnTo>
                    <a:pt x="273" y="808"/>
                  </a:lnTo>
                  <a:lnTo>
                    <a:pt x="255" y="801"/>
                  </a:lnTo>
                  <a:lnTo>
                    <a:pt x="236" y="792"/>
                  </a:lnTo>
                  <a:lnTo>
                    <a:pt x="218" y="783"/>
                  </a:lnTo>
                  <a:lnTo>
                    <a:pt x="200" y="773"/>
                  </a:lnTo>
                  <a:lnTo>
                    <a:pt x="184" y="761"/>
                  </a:lnTo>
                  <a:lnTo>
                    <a:pt x="167" y="750"/>
                  </a:lnTo>
                  <a:lnTo>
                    <a:pt x="152" y="738"/>
                  </a:lnTo>
                  <a:lnTo>
                    <a:pt x="137" y="725"/>
                  </a:lnTo>
                  <a:lnTo>
                    <a:pt x="122" y="711"/>
                  </a:lnTo>
                  <a:lnTo>
                    <a:pt x="108" y="697"/>
                  </a:lnTo>
                  <a:lnTo>
                    <a:pt x="95" y="681"/>
                  </a:lnTo>
                  <a:lnTo>
                    <a:pt x="82" y="666"/>
                  </a:lnTo>
                  <a:lnTo>
                    <a:pt x="71" y="650"/>
                  </a:lnTo>
                  <a:lnTo>
                    <a:pt x="61" y="632"/>
                  </a:lnTo>
                  <a:lnTo>
                    <a:pt x="51" y="615"/>
                  </a:lnTo>
                  <a:lnTo>
                    <a:pt x="40" y="598"/>
                  </a:lnTo>
                  <a:lnTo>
                    <a:pt x="33" y="579"/>
                  </a:lnTo>
                  <a:lnTo>
                    <a:pt x="25" y="560"/>
                  </a:lnTo>
                  <a:lnTo>
                    <a:pt x="19" y="541"/>
                  </a:lnTo>
                  <a:lnTo>
                    <a:pt x="13" y="520"/>
                  </a:lnTo>
                  <a:lnTo>
                    <a:pt x="9" y="501"/>
                  </a:lnTo>
                  <a:lnTo>
                    <a:pt x="5" y="480"/>
                  </a:lnTo>
                  <a:lnTo>
                    <a:pt x="2" y="459"/>
                  </a:lnTo>
                  <a:lnTo>
                    <a:pt x="0" y="438"/>
                  </a:lnTo>
                  <a:lnTo>
                    <a:pt x="0" y="418"/>
                  </a:lnTo>
                  <a:lnTo>
                    <a:pt x="0" y="396"/>
                  </a:lnTo>
                  <a:lnTo>
                    <a:pt x="2" y="375"/>
                  </a:lnTo>
                  <a:lnTo>
                    <a:pt x="5" y="354"/>
                  </a:lnTo>
                  <a:lnTo>
                    <a:pt x="9" y="333"/>
                  </a:lnTo>
                  <a:lnTo>
                    <a:pt x="13" y="314"/>
                  </a:lnTo>
                  <a:lnTo>
                    <a:pt x="19" y="293"/>
                  </a:lnTo>
                  <a:lnTo>
                    <a:pt x="25" y="274"/>
                  </a:lnTo>
                  <a:lnTo>
                    <a:pt x="33" y="255"/>
                  </a:lnTo>
                  <a:lnTo>
                    <a:pt x="40" y="236"/>
                  </a:lnTo>
                  <a:lnTo>
                    <a:pt x="51" y="219"/>
                  </a:lnTo>
                  <a:lnTo>
                    <a:pt x="61" y="202"/>
                  </a:lnTo>
                  <a:lnTo>
                    <a:pt x="71" y="184"/>
                  </a:lnTo>
                  <a:lnTo>
                    <a:pt x="82" y="168"/>
                  </a:lnTo>
                  <a:lnTo>
                    <a:pt x="95" y="153"/>
                  </a:lnTo>
                  <a:lnTo>
                    <a:pt x="108" y="137"/>
                  </a:lnTo>
                  <a:lnTo>
                    <a:pt x="122" y="123"/>
                  </a:lnTo>
                  <a:lnTo>
                    <a:pt x="137" y="109"/>
                  </a:lnTo>
                  <a:lnTo>
                    <a:pt x="152" y="96"/>
                  </a:lnTo>
                  <a:lnTo>
                    <a:pt x="167" y="84"/>
                  </a:lnTo>
                  <a:lnTo>
                    <a:pt x="184" y="73"/>
                  </a:lnTo>
                  <a:lnTo>
                    <a:pt x="200" y="61"/>
                  </a:lnTo>
                  <a:lnTo>
                    <a:pt x="218" y="51"/>
                  </a:lnTo>
                  <a:lnTo>
                    <a:pt x="236" y="42"/>
                  </a:lnTo>
                  <a:lnTo>
                    <a:pt x="255" y="33"/>
                  </a:lnTo>
                  <a:lnTo>
                    <a:pt x="273" y="26"/>
                  </a:lnTo>
                  <a:lnTo>
                    <a:pt x="293" y="19"/>
                  </a:lnTo>
                  <a:lnTo>
                    <a:pt x="312" y="14"/>
                  </a:lnTo>
                  <a:lnTo>
                    <a:pt x="332" y="9"/>
                  </a:lnTo>
                  <a:lnTo>
                    <a:pt x="352" y="6"/>
                  </a:lnTo>
                  <a:lnTo>
                    <a:pt x="374" y="3"/>
                  </a:lnTo>
                  <a:lnTo>
                    <a:pt x="394" y="2"/>
                  </a:lnTo>
                  <a:lnTo>
                    <a:pt x="416" y="0"/>
                  </a:lnTo>
                  <a:lnTo>
                    <a:pt x="437" y="2"/>
                  </a:lnTo>
                  <a:lnTo>
                    <a:pt x="459" y="3"/>
                  </a:lnTo>
                  <a:lnTo>
                    <a:pt x="479" y="6"/>
                  </a:lnTo>
                  <a:lnTo>
                    <a:pt x="500" y="9"/>
                  </a:lnTo>
                  <a:lnTo>
                    <a:pt x="520" y="14"/>
                  </a:lnTo>
                  <a:lnTo>
                    <a:pt x="540" y="19"/>
                  </a:lnTo>
                  <a:lnTo>
                    <a:pt x="559" y="26"/>
                  </a:lnTo>
                  <a:lnTo>
                    <a:pt x="578" y="33"/>
                  </a:lnTo>
                  <a:lnTo>
                    <a:pt x="596" y="42"/>
                  </a:lnTo>
                  <a:lnTo>
                    <a:pt x="614" y="51"/>
                  </a:lnTo>
                  <a:lnTo>
                    <a:pt x="631" y="61"/>
                  </a:lnTo>
                  <a:lnTo>
                    <a:pt x="648" y="73"/>
                  </a:lnTo>
                  <a:lnTo>
                    <a:pt x="664" y="84"/>
                  </a:lnTo>
                  <a:lnTo>
                    <a:pt x="681" y="96"/>
                  </a:lnTo>
                  <a:lnTo>
                    <a:pt x="696" y="109"/>
                  </a:lnTo>
                  <a:lnTo>
                    <a:pt x="710" y="123"/>
                  </a:lnTo>
                  <a:lnTo>
                    <a:pt x="724" y="137"/>
                  </a:lnTo>
                  <a:lnTo>
                    <a:pt x="737" y="153"/>
                  </a:lnTo>
                  <a:lnTo>
                    <a:pt x="749" y="168"/>
                  </a:lnTo>
                  <a:lnTo>
                    <a:pt x="761" y="184"/>
                  </a:lnTo>
                  <a:lnTo>
                    <a:pt x="772" y="202"/>
                  </a:lnTo>
                  <a:lnTo>
                    <a:pt x="782" y="219"/>
                  </a:lnTo>
                  <a:lnTo>
                    <a:pt x="791" y="236"/>
                  </a:lnTo>
                  <a:lnTo>
                    <a:pt x="799" y="255"/>
                  </a:lnTo>
                  <a:lnTo>
                    <a:pt x="806" y="274"/>
                  </a:lnTo>
                  <a:lnTo>
                    <a:pt x="813" y="293"/>
                  </a:lnTo>
                  <a:lnTo>
                    <a:pt x="819" y="314"/>
                  </a:lnTo>
                  <a:lnTo>
                    <a:pt x="824" y="333"/>
                  </a:lnTo>
                  <a:lnTo>
                    <a:pt x="827" y="354"/>
                  </a:lnTo>
                  <a:lnTo>
                    <a:pt x="830" y="375"/>
                  </a:lnTo>
                  <a:lnTo>
                    <a:pt x="832" y="396"/>
                  </a:lnTo>
                  <a:lnTo>
                    <a:pt x="832" y="418"/>
                  </a:lnTo>
                  <a:lnTo>
                    <a:pt x="832" y="438"/>
                  </a:lnTo>
                  <a:lnTo>
                    <a:pt x="830" y="459"/>
                  </a:lnTo>
                  <a:lnTo>
                    <a:pt x="827" y="480"/>
                  </a:lnTo>
                  <a:lnTo>
                    <a:pt x="824" y="501"/>
                  </a:lnTo>
                  <a:lnTo>
                    <a:pt x="819" y="520"/>
                  </a:lnTo>
                  <a:lnTo>
                    <a:pt x="813" y="541"/>
                  </a:lnTo>
                  <a:lnTo>
                    <a:pt x="806" y="560"/>
                  </a:lnTo>
                  <a:lnTo>
                    <a:pt x="799" y="579"/>
                  </a:lnTo>
                  <a:lnTo>
                    <a:pt x="791" y="598"/>
                  </a:lnTo>
                  <a:lnTo>
                    <a:pt x="782" y="615"/>
                  </a:lnTo>
                  <a:lnTo>
                    <a:pt x="772" y="632"/>
                  </a:lnTo>
                  <a:lnTo>
                    <a:pt x="761" y="650"/>
                  </a:lnTo>
                  <a:lnTo>
                    <a:pt x="749" y="666"/>
                  </a:lnTo>
                  <a:lnTo>
                    <a:pt x="737" y="681"/>
                  </a:lnTo>
                  <a:lnTo>
                    <a:pt x="724" y="697"/>
                  </a:lnTo>
                  <a:lnTo>
                    <a:pt x="710" y="711"/>
                  </a:lnTo>
                  <a:lnTo>
                    <a:pt x="696" y="725"/>
                  </a:lnTo>
                  <a:lnTo>
                    <a:pt x="681" y="738"/>
                  </a:lnTo>
                  <a:lnTo>
                    <a:pt x="664" y="750"/>
                  </a:lnTo>
                  <a:lnTo>
                    <a:pt x="648" y="761"/>
                  </a:lnTo>
                  <a:lnTo>
                    <a:pt x="631" y="773"/>
                  </a:lnTo>
                  <a:lnTo>
                    <a:pt x="614" y="783"/>
                  </a:lnTo>
                  <a:lnTo>
                    <a:pt x="596" y="792"/>
                  </a:lnTo>
                  <a:lnTo>
                    <a:pt x="578" y="801"/>
                  </a:lnTo>
                  <a:lnTo>
                    <a:pt x="559" y="808"/>
                  </a:lnTo>
                  <a:lnTo>
                    <a:pt x="540" y="815"/>
                  </a:lnTo>
                  <a:lnTo>
                    <a:pt x="520" y="820"/>
                  </a:lnTo>
                  <a:lnTo>
                    <a:pt x="500" y="825"/>
                  </a:lnTo>
                  <a:lnTo>
                    <a:pt x="479" y="828"/>
                  </a:lnTo>
                  <a:lnTo>
                    <a:pt x="459" y="831"/>
                  </a:lnTo>
                  <a:lnTo>
                    <a:pt x="437" y="832"/>
                  </a:lnTo>
                  <a:lnTo>
                    <a:pt x="416" y="8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1" name="Freeform 12">
              <a:extLst>
                <a:ext uri="{FF2B5EF4-FFF2-40B4-BE49-F238E27FC236}">
                  <a16:creationId xmlns:a16="http://schemas.microsoft.com/office/drawing/2014/main" id="{7EF4B57E-7D5A-43DC-9D35-AB2684A7DFBE}"/>
                </a:ext>
              </a:extLst>
            </p:cNvPr>
            <p:cNvSpPr>
              <a:spLocks/>
            </p:cNvSpPr>
            <p:nvPr/>
          </p:nvSpPr>
          <p:spPr bwMode="auto">
            <a:xfrm>
              <a:off x="9694863" y="3305175"/>
              <a:ext cx="112713" cy="247650"/>
            </a:xfrm>
            <a:custGeom>
              <a:avLst/>
              <a:gdLst>
                <a:gd name="T0" fmla="*/ 99 w 283"/>
                <a:gd name="T1" fmla="*/ 544 h 621"/>
                <a:gd name="T2" fmla="*/ 51 w 283"/>
                <a:gd name="T3" fmla="*/ 535 h 621"/>
                <a:gd name="T4" fmla="*/ 11 w 283"/>
                <a:gd name="T5" fmla="*/ 518 h 621"/>
                <a:gd name="T6" fmla="*/ 30 w 283"/>
                <a:gd name="T7" fmla="*/ 468 h 621"/>
                <a:gd name="T8" fmla="*/ 68 w 283"/>
                <a:gd name="T9" fmla="*/ 484 h 621"/>
                <a:gd name="T10" fmla="*/ 112 w 283"/>
                <a:gd name="T11" fmla="*/ 493 h 621"/>
                <a:gd name="T12" fmla="*/ 146 w 283"/>
                <a:gd name="T13" fmla="*/ 492 h 621"/>
                <a:gd name="T14" fmla="*/ 172 w 283"/>
                <a:gd name="T15" fmla="*/ 484 h 621"/>
                <a:gd name="T16" fmla="*/ 193 w 283"/>
                <a:gd name="T17" fmla="*/ 473 h 621"/>
                <a:gd name="T18" fmla="*/ 207 w 283"/>
                <a:gd name="T19" fmla="*/ 455 h 621"/>
                <a:gd name="T20" fmla="*/ 216 w 283"/>
                <a:gd name="T21" fmla="*/ 435 h 621"/>
                <a:gd name="T22" fmla="*/ 217 w 283"/>
                <a:gd name="T23" fmla="*/ 412 h 621"/>
                <a:gd name="T24" fmla="*/ 212 w 283"/>
                <a:gd name="T25" fmla="*/ 390 h 621"/>
                <a:gd name="T26" fmla="*/ 201 w 283"/>
                <a:gd name="T27" fmla="*/ 373 h 621"/>
                <a:gd name="T28" fmla="*/ 169 w 283"/>
                <a:gd name="T29" fmla="*/ 347 h 621"/>
                <a:gd name="T30" fmla="*/ 104 w 283"/>
                <a:gd name="T31" fmla="*/ 318 h 621"/>
                <a:gd name="T32" fmla="*/ 59 w 283"/>
                <a:gd name="T33" fmla="*/ 291 h 621"/>
                <a:gd name="T34" fmla="*/ 33 w 283"/>
                <a:gd name="T35" fmla="*/ 269 h 621"/>
                <a:gd name="T36" fmla="*/ 16 w 283"/>
                <a:gd name="T37" fmla="*/ 242 h 621"/>
                <a:gd name="T38" fmla="*/ 8 w 283"/>
                <a:gd name="T39" fmla="*/ 210 h 621"/>
                <a:gd name="T40" fmla="*/ 9 w 283"/>
                <a:gd name="T41" fmla="*/ 176 h 621"/>
                <a:gd name="T42" fmla="*/ 19 w 283"/>
                <a:gd name="T43" fmla="*/ 144 h 621"/>
                <a:gd name="T44" fmla="*/ 39 w 283"/>
                <a:gd name="T45" fmla="*/ 118 h 621"/>
                <a:gd name="T46" fmla="*/ 64 w 283"/>
                <a:gd name="T47" fmla="*/ 97 h 621"/>
                <a:gd name="T48" fmla="*/ 97 w 283"/>
                <a:gd name="T49" fmla="*/ 82 h 621"/>
                <a:gd name="T50" fmla="*/ 121 w 283"/>
                <a:gd name="T51" fmla="*/ 0 h 621"/>
                <a:gd name="T52" fmla="*/ 184 w 283"/>
                <a:gd name="T53" fmla="*/ 75 h 621"/>
                <a:gd name="T54" fmla="*/ 226 w 283"/>
                <a:gd name="T55" fmla="*/ 82 h 621"/>
                <a:gd name="T56" fmla="*/ 258 w 283"/>
                <a:gd name="T57" fmla="*/ 95 h 621"/>
                <a:gd name="T58" fmla="*/ 233 w 283"/>
                <a:gd name="T59" fmla="*/ 142 h 621"/>
                <a:gd name="T60" fmla="*/ 186 w 283"/>
                <a:gd name="T61" fmla="*/ 126 h 621"/>
                <a:gd name="T62" fmla="*/ 142 w 283"/>
                <a:gd name="T63" fmla="*/ 124 h 621"/>
                <a:gd name="T64" fmla="*/ 116 w 283"/>
                <a:gd name="T65" fmla="*/ 130 h 621"/>
                <a:gd name="T66" fmla="*/ 96 w 283"/>
                <a:gd name="T67" fmla="*/ 140 h 621"/>
                <a:gd name="T68" fmla="*/ 83 w 283"/>
                <a:gd name="T69" fmla="*/ 156 h 621"/>
                <a:gd name="T70" fmla="*/ 73 w 283"/>
                <a:gd name="T71" fmla="*/ 177 h 621"/>
                <a:gd name="T72" fmla="*/ 74 w 283"/>
                <a:gd name="T73" fmla="*/ 203 h 621"/>
                <a:gd name="T74" fmla="*/ 80 w 283"/>
                <a:gd name="T75" fmla="*/ 222 h 621"/>
                <a:gd name="T76" fmla="*/ 94 w 283"/>
                <a:gd name="T77" fmla="*/ 237 h 621"/>
                <a:gd name="T78" fmla="*/ 144 w 283"/>
                <a:gd name="T79" fmla="*/ 266 h 621"/>
                <a:gd name="T80" fmla="*/ 217 w 283"/>
                <a:gd name="T81" fmla="*/ 301 h 621"/>
                <a:gd name="T82" fmla="*/ 246 w 283"/>
                <a:gd name="T83" fmla="*/ 323 h 621"/>
                <a:gd name="T84" fmla="*/ 267 w 283"/>
                <a:gd name="T85" fmla="*/ 348 h 621"/>
                <a:gd name="T86" fmla="*/ 279 w 283"/>
                <a:gd name="T87" fmla="*/ 379 h 621"/>
                <a:gd name="T88" fmla="*/ 283 w 283"/>
                <a:gd name="T89" fmla="*/ 414 h 621"/>
                <a:gd name="T90" fmla="*/ 279 w 283"/>
                <a:gd name="T91" fmla="*/ 447 h 621"/>
                <a:gd name="T92" fmla="*/ 265 w 283"/>
                <a:gd name="T93" fmla="*/ 478 h 621"/>
                <a:gd name="T94" fmla="*/ 245 w 283"/>
                <a:gd name="T95" fmla="*/ 504 h 621"/>
                <a:gd name="T96" fmla="*/ 215 w 283"/>
                <a:gd name="T97" fmla="*/ 525 h 621"/>
                <a:gd name="T98" fmla="*/ 178 w 283"/>
                <a:gd name="T99" fmla="*/ 540 h 621"/>
                <a:gd name="T100" fmla="*/ 116 w 283"/>
                <a:gd name="T101"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3" h="621">
                  <a:moveTo>
                    <a:pt x="116" y="621"/>
                  </a:moveTo>
                  <a:lnTo>
                    <a:pt x="116" y="545"/>
                  </a:lnTo>
                  <a:lnTo>
                    <a:pt x="99" y="544"/>
                  </a:lnTo>
                  <a:lnTo>
                    <a:pt x="83" y="541"/>
                  </a:lnTo>
                  <a:lnTo>
                    <a:pt x="68" y="539"/>
                  </a:lnTo>
                  <a:lnTo>
                    <a:pt x="51" y="535"/>
                  </a:lnTo>
                  <a:lnTo>
                    <a:pt x="37" y="530"/>
                  </a:lnTo>
                  <a:lnTo>
                    <a:pt x="23" y="525"/>
                  </a:lnTo>
                  <a:lnTo>
                    <a:pt x="11" y="518"/>
                  </a:lnTo>
                  <a:lnTo>
                    <a:pt x="0" y="511"/>
                  </a:lnTo>
                  <a:lnTo>
                    <a:pt x="18" y="461"/>
                  </a:lnTo>
                  <a:lnTo>
                    <a:pt x="30" y="468"/>
                  </a:lnTo>
                  <a:lnTo>
                    <a:pt x="41" y="474"/>
                  </a:lnTo>
                  <a:lnTo>
                    <a:pt x="54" y="479"/>
                  </a:lnTo>
                  <a:lnTo>
                    <a:pt x="68" y="484"/>
                  </a:lnTo>
                  <a:lnTo>
                    <a:pt x="82" y="488"/>
                  </a:lnTo>
                  <a:lnTo>
                    <a:pt x="97" y="490"/>
                  </a:lnTo>
                  <a:lnTo>
                    <a:pt x="112" y="493"/>
                  </a:lnTo>
                  <a:lnTo>
                    <a:pt x="127" y="493"/>
                  </a:lnTo>
                  <a:lnTo>
                    <a:pt x="137" y="493"/>
                  </a:lnTo>
                  <a:lnTo>
                    <a:pt x="146" y="492"/>
                  </a:lnTo>
                  <a:lnTo>
                    <a:pt x="155" y="490"/>
                  </a:lnTo>
                  <a:lnTo>
                    <a:pt x="164" y="488"/>
                  </a:lnTo>
                  <a:lnTo>
                    <a:pt x="172" y="484"/>
                  </a:lnTo>
                  <a:lnTo>
                    <a:pt x="179" y="482"/>
                  </a:lnTo>
                  <a:lnTo>
                    <a:pt x="187" y="476"/>
                  </a:lnTo>
                  <a:lnTo>
                    <a:pt x="193" y="473"/>
                  </a:lnTo>
                  <a:lnTo>
                    <a:pt x="198" y="468"/>
                  </a:lnTo>
                  <a:lnTo>
                    <a:pt x="203" y="461"/>
                  </a:lnTo>
                  <a:lnTo>
                    <a:pt x="207" y="455"/>
                  </a:lnTo>
                  <a:lnTo>
                    <a:pt x="211" y="449"/>
                  </a:lnTo>
                  <a:lnTo>
                    <a:pt x="213" y="442"/>
                  </a:lnTo>
                  <a:lnTo>
                    <a:pt x="216" y="435"/>
                  </a:lnTo>
                  <a:lnTo>
                    <a:pt x="217" y="427"/>
                  </a:lnTo>
                  <a:lnTo>
                    <a:pt x="217" y="419"/>
                  </a:lnTo>
                  <a:lnTo>
                    <a:pt x="217" y="412"/>
                  </a:lnTo>
                  <a:lnTo>
                    <a:pt x="216" y="404"/>
                  </a:lnTo>
                  <a:lnTo>
                    <a:pt x="215" y="398"/>
                  </a:lnTo>
                  <a:lnTo>
                    <a:pt x="212" y="390"/>
                  </a:lnTo>
                  <a:lnTo>
                    <a:pt x="208" y="384"/>
                  </a:lnTo>
                  <a:lnTo>
                    <a:pt x="205" y="379"/>
                  </a:lnTo>
                  <a:lnTo>
                    <a:pt x="201" y="373"/>
                  </a:lnTo>
                  <a:lnTo>
                    <a:pt x="196" y="367"/>
                  </a:lnTo>
                  <a:lnTo>
                    <a:pt x="183" y="356"/>
                  </a:lnTo>
                  <a:lnTo>
                    <a:pt x="169" y="347"/>
                  </a:lnTo>
                  <a:lnTo>
                    <a:pt x="151" y="338"/>
                  </a:lnTo>
                  <a:lnTo>
                    <a:pt x="132" y="329"/>
                  </a:lnTo>
                  <a:lnTo>
                    <a:pt x="104" y="318"/>
                  </a:lnTo>
                  <a:lnTo>
                    <a:pt x="80" y="305"/>
                  </a:lnTo>
                  <a:lnTo>
                    <a:pt x="69" y="299"/>
                  </a:lnTo>
                  <a:lnTo>
                    <a:pt x="59" y="291"/>
                  </a:lnTo>
                  <a:lnTo>
                    <a:pt x="49" y="285"/>
                  </a:lnTo>
                  <a:lnTo>
                    <a:pt x="41" y="277"/>
                  </a:lnTo>
                  <a:lnTo>
                    <a:pt x="33" y="269"/>
                  </a:lnTo>
                  <a:lnTo>
                    <a:pt x="26" y="261"/>
                  </a:lnTo>
                  <a:lnTo>
                    <a:pt x="21" y="252"/>
                  </a:lnTo>
                  <a:lnTo>
                    <a:pt x="16" y="242"/>
                  </a:lnTo>
                  <a:lnTo>
                    <a:pt x="12" y="232"/>
                  </a:lnTo>
                  <a:lnTo>
                    <a:pt x="9" y="222"/>
                  </a:lnTo>
                  <a:lnTo>
                    <a:pt x="8" y="210"/>
                  </a:lnTo>
                  <a:lnTo>
                    <a:pt x="7" y="199"/>
                  </a:lnTo>
                  <a:lnTo>
                    <a:pt x="8" y="186"/>
                  </a:lnTo>
                  <a:lnTo>
                    <a:pt x="9" y="176"/>
                  </a:lnTo>
                  <a:lnTo>
                    <a:pt x="12" y="165"/>
                  </a:lnTo>
                  <a:lnTo>
                    <a:pt x="16" y="154"/>
                  </a:lnTo>
                  <a:lnTo>
                    <a:pt x="19" y="144"/>
                  </a:lnTo>
                  <a:lnTo>
                    <a:pt x="25" y="135"/>
                  </a:lnTo>
                  <a:lnTo>
                    <a:pt x="31" y="126"/>
                  </a:lnTo>
                  <a:lnTo>
                    <a:pt x="39" y="118"/>
                  </a:lnTo>
                  <a:lnTo>
                    <a:pt x="46" y="110"/>
                  </a:lnTo>
                  <a:lnTo>
                    <a:pt x="55" y="104"/>
                  </a:lnTo>
                  <a:lnTo>
                    <a:pt x="64" y="97"/>
                  </a:lnTo>
                  <a:lnTo>
                    <a:pt x="74" y="91"/>
                  </a:lnTo>
                  <a:lnTo>
                    <a:pt x="85" y="87"/>
                  </a:lnTo>
                  <a:lnTo>
                    <a:pt x="97" y="82"/>
                  </a:lnTo>
                  <a:lnTo>
                    <a:pt x="108" y="80"/>
                  </a:lnTo>
                  <a:lnTo>
                    <a:pt x="121" y="77"/>
                  </a:lnTo>
                  <a:lnTo>
                    <a:pt x="121" y="0"/>
                  </a:lnTo>
                  <a:lnTo>
                    <a:pt x="168" y="0"/>
                  </a:lnTo>
                  <a:lnTo>
                    <a:pt x="168" y="73"/>
                  </a:lnTo>
                  <a:lnTo>
                    <a:pt x="184" y="75"/>
                  </a:lnTo>
                  <a:lnTo>
                    <a:pt x="200" y="77"/>
                  </a:lnTo>
                  <a:lnTo>
                    <a:pt x="213" y="80"/>
                  </a:lnTo>
                  <a:lnTo>
                    <a:pt x="226" y="82"/>
                  </a:lnTo>
                  <a:lnTo>
                    <a:pt x="238" y="86"/>
                  </a:lnTo>
                  <a:lnTo>
                    <a:pt x="249" y="91"/>
                  </a:lnTo>
                  <a:lnTo>
                    <a:pt x="258" y="95"/>
                  </a:lnTo>
                  <a:lnTo>
                    <a:pt x="267" y="100"/>
                  </a:lnTo>
                  <a:lnTo>
                    <a:pt x="248" y="149"/>
                  </a:lnTo>
                  <a:lnTo>
                    <a:pt x="233" y="142"/>
                  </a:lnTo>
                  <a:lnTo>
                    <a:pt x="212" y="134"/>
                  </a:lnTo>
                  <a:lnTo>
                    <a:pt x="200" y="130"/>
                  </a:lnTo>
                  <a:lnTo>
                    <a:pt x="186" y="126"/>
                  </a:lnTo>
                  <a:lnTo>
                    <a:pt x="170" y="125"/>
                  </a:lnTo>
                  <a:lnTo>
                    <a:pt x="153" y="124"/>
                  </a:lnTo>
                  <a:lnTo>
                    <a:pt x="142" y="124"/>
                  </a:lnTo>
                  <a:lnTo>
                    <a:pt x="132" y="125"/>
                  </a:lnTo>
                  <a:lnTo>
                    <a:pt x="123" y="128"/>
                  </a:lnTo>
                  <a:lnTo>
                    <a:pt x="116" y="130"/>
                  </a:lnTo>
                  <a:lnTo>
                    <a:pt x="108" y="133"/>
                  </a:lnTo>
                  <a:lnTo>
                    <a:pt x="102" y="137"/>
                  </a:lnTo>
                  <a:lnTo>
                    <a:pt x="96" y="140"/>
                  </a:lnTo>
                  <a:lnTo>
                    <a:pt x="90" y="146"/>
                  </a:lnTo>
                  <a:lnTo>
                    <a:pt x="87" y="151"/>
                  </a:lnTo>
                  <a:lnTo>
                    <a:pt x="83" y="156"/>
                  </a:lnTo>
                  <a:lnTo>
                    <a:pt x="79" y="161"/>
                  </a:lnTo>
                  <a:lnTo>
                    <a:pt x="77" y="166"/>
                  </a:lnTo>
                  <a:lnTo>
                    <a:pt x="73" y="177"/>
                  </a:lnTo>
                  <a:lnTo>
                    <a:pt x="73" y="189"/>
                  </a:lnTo>
                  <a:lnTo>
                    <a:pt x="73" y="196"/>
                  </a:lnTo>
                  <a:lnTo>
                    <a:pt x="74" y="203"/>
                  </a:lnTo>
                  <a:lnTo>
                    <a:pt x="75" y="209"/>
                  </a:lnTo>
                  <a:lnTo>
                    <a:pt x="78" y="215"/>
                  </a:lnTo>
                  <a:lnTo>
                    <a:pt x="80" y="222"/>
                  </a:lnTo>
                  <a:lnTo>
                    <a:pt x="84" y="227"/>
                  </a:lnTo>
                  <a:lnTo>
                    <a:pt x="89" y="232"/>
                  </a:lnTo>
                  <a:lnTo>
                    <a:pt x="94" y="237"/>
                  </a:lnTo>
                  <a:lnTo>
                    <a:pt x="107" y="247"/>
                  </a:lnTo>
                  <a:lnTo>
                    <a:pt x="123" y="256"/>
                  </a:lnTo>
                  <a:lnTo>
                    <a:pt x="144" y="266"/>
                  </a:lnTo>
                  <a:lnTo>
                    <a:pt x="167" y="275"/>
                  </a:lnTo>
                  <a:lnTo>
                    <a:pt x="193" y="288"/>
                  </a:lnTo>
                  <a:lnTo>
                    <a:pt x="217" y="301"/>
                  </a:lnTo>
                  <a:lnTo>
                    <a:pt x="227" y="308"/>
                  </a:lnTo>
                  <a:lnTo>
                    <a:pt x="238" y="315"/>
                  </a:lnTo>
                  <a:lnTo>
                    <a:pt x="246" y="323"/>
                  </a:lnTo>
                  <a:lnTo>
                    <a:pt x="254" y="331"/>
                  </a:lnTo>
                  <a:lnTo>
                    <a:pt x="260" y="340"/>
                  </a:lnTo>
                  <a:lnTo>
                    <a:pt x="267" y="348"/>
                  </a:lnTo>
                  <a:lnTo>
                    <a:pt x="272" y="359"/>
                  </a:lnTo>
                  <a:lnTo>
                    <a:pt x="276" y="369"/>
                  </a:lnTo>
                  <a:lnTo>
                    <a:pt x="279" y="379"/>
                  </a:lnTo>
                  <a:lnTo>
                    <a:pt x="282" y="390"/>
                  </a:lnTo>
                  <a:lnTo>
                    <a:pt x="283" y="402"/>
                  </a:lnTo>
                  <a:lnTo>
                    <a:pt x="283" y="414"/>
                  </a:lnTo>
                  <a:lnTo>
                    <a:pt x="283" y="424"/>
                  </a:lnTo>
                  <a:lnTo>
                    <a:pt x="281" y="436"/>
                  </a:lnTo>
                  <a:lnTo>
                    <a:pt x="279" y="447"/>
                  </a:lnTo>
                  <a:lnTo>
                    <a:pt x="276" y="457"/>
                  </a:lnTo>
                  <a:lnTo>
                    <a:pt x="272" y="468"/>
                  </a:lnTo>
                  <a:lnTo>
                    <a:pt x="265" y="478"/>
                  </a:lnTo>
                  <a:lnTo>
                    <a:pt x="260" y="487"/>
                  </a:lnTo>
                  <a:lnTo>
                    <a:pt x="253" y="496"/>
                  </a:lnTo>
                  <a:lnTo>
                    <a:pt x="245" y="504"/>
                  </a:lnTo>
                  <a:lnTo>
                    <a:pt x="236" y="512"/>
                  </a:lnTo>
                  <a:lnTo>
                    <a:pt x="226" y="518"/>
                  </a:lnTo>
                  <a:lnTo>
                    <a:pt x="215" y="525"/>
                  </a:lnTo>
                  <a:lnTo>
                    <a:pt x="203" y="531"/>
                  </a:lnTo>
                  <a:lnTo>
                    <a:pt x="191" y="536"/>
                  </a:lnTo>
                  <a:lnTo>
                    <a:pt x="178" y="540"/>
                  </a:lnTo>
                  <a:lnTo>
                    <a:pt x="164" y="542"/>
                  </a:lnTo>
                  <a:lnTo>
                    <a:pt x="164" y="621"/>
                  </a:lnTo>
                  <a:lnTo>
                    <a:pt x="116" y="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2" name="Freeform 15">
              <a:extLst>
                <a:ext uri="{FF2B5EF4-FFF2-40B4-BE49-F238E27FC236}">
                  <a16:creationId xmlns:a16="http://schemas.microsoft.com/office/drawing/2014/main" id="{AD775F01-0D34-4C81-A32E-B4F8F89F0DF8}"/>
                </a:ext>
              </a:extLst>
            </p:cNvPr>
            <p:cNvSpPr>
              <a:spLocks/>
            </p:cNvSpPr>
            <p:nvPr/>
          </p:nvSpPr>
          <p:spPr bwMode="auto">
            <a:xfrm>
              <a:off x="9436100" y="3136900"/>
              <a:ext cx="685800" cy="101600"/>
            </a:xfrm>
            <a:custGeom>
              <a:avLst/>
              <a:gdLst>
                <a:gd name="T0" fmla="*/ 31 w 1728"/>
                <a:gd name="T1" fmla="*/ 256 h 256"/>
                <a:gd name="T2" fmla="*/ 31 w 1728"/>
                <a:gd name="T3" fmla="*/ 256 h 256"/>
                <a:gd name="T4" fmla="*/ 30 w 1728"/>
                <a:gd name="T5" fmla="*/ 256 h 256"/>
                <a:gd name="T6" fmla="*/ 24 w 1728"/>
                <a:gd name="T7" fmla="*/ 255 h 256"/>
                <a:gd name="T8" fmla="*/ 17 w 1728"/>
                <a:gd name="T9" fmla="*/ 252 h 256"/>
                <a:gd name="T10" fmla="*/ 12 w 1728"/>
                <a:gd name="T11" fmla="*/ 250 h 256"/>
                <a:gd name="T12" fmla="*/ 9 w 1728"/>
                <a:gd name="T13" fmla="*/ 246 h 256"/>
                <a:gd name="T14" fmla="*/ 5 w 1728"/>
                <a:gd name="T15" fmla="*/ 241 h 256"/>
                <a:gd name="T16" fmla="*/ 2 w 1728"/>
                <a:gd name="T17" fmla="*/ 234 h 256"/>
                <a:gd name="T18" fmla="*/ 0 w 1728"/>
                <a:gd name="T19" fmla="*/ 229 h 256"/>
                <a:gd name="T20" fmla="*/ 0 w 1728"/>
                <a:gd name="T21" fmla="*/ 222 h 256"/>
                <a:gd name="T22" fmla="*/ 10 w 1728"/>
                <a:gd name="T23" fmla="*/ 30 h 256"/>
                <a:gd name="T24" fmla="*/ 11 w 1728"/>
                <a:gd name="T25" fmla="*/ 24 h 256"/>
                <a:gd name="T26" fmla="*/ 14 w 1728"/>
                <a:gd name="T27" fmla="*/ 18 h 256"/>
                <a:gd name="T28" fmla="*/ 16 w 1728"/>
                <a:gd name="T29" fmla="*/ 13 h 256"/>
                <a:gd name="T30" fmla="*/ 21 w 1728"/>
                <a:gd name="T31" fmla="*/ 8 h 256"/>
                <a:gd name="T32" fmla="*/ 26 w 1728"/>
                <a:gd name="T33" fmla="*/ 4 h 256"/>
                <a:gd name="T34" fmla="*/ 33 w 1728"/>
                <a:gd name="T35" fmla="*/ 1 h 256"/>
                <a:gd name="T36" fmla="*/ 39 w 1728"/>
                <a:gd name="T37" fmla="*/ 0 h 256"/>
                <a:gd name="T38" fmla="*/ 45 w 1728"/>
                <a:gd name="T39" fmla="*/ 0 h 256"/>
                <a:gd name="T40" fmla="*/ 1699 w 1728"/>
                <a:gd name="T41" fmla="*/ 174 h 256"/>
                <a:gd name="T42" fmla="*/ 1705 w 1728"/>
                <a:gd name="T43" fmla="*/ 175 h 256"/>
                <a:gd name="T44" fmla="*/ 1712 w 1728"/>
                <a:gd name="T45" fmla="*/ 177 h 256"/>
                <a:gd name="T46" fmla="*/ 1717 w 1728"/>
                <a:gd name="T47" fmla="*/ 181 h 256"/>
                <a:gd name="T48" fmla="*/ 1720 w 1728"/>
                <a:gd name="T49" fmla="*/ 186 h 256"/>
                <a:gd name="T50" fmla="*/ 1724 w 1728"/>
                <a:gd name="T51" fmla="*/ 191 h 256"/>
                <a:gd name="T52" fmla="*/ 1727 w 1728"/>
                <a:gd name="T53" fmla="*/ 196 h 256"/>
                <a:gd name="T54" fmla="*/ 1728 w 1728"/>
                <a:gd name="T55" fmla="*/ 203 h 256"/>
                <a:gd name="T56" fmla="*/ 1728 w 1728"/>
                <a:gd name="T57" fmla="*/ 209 h 256"/>
                <a:gd name="T58" fmla="*/ 1727 w 1728"/>
                <a:gd name="T59" fmla="*/ 215 h 256"/>
                <a:gd name="T60" fmla="*/ 1724 w 1728"/>
                <a:gd name="T61" fmla="*/ 222 h 256"/>
                <a:gd name="T62" fmla="*/ 1720 w 1728"/>
                <a:gd name="T63" fmla="*/ 227 h 256"/>
                <a:gd name="T64" fmla="*/ 1717 w 1728"/>
                <a:gd name="T65" fmla="*/ 231 h 256"/>
                <a:gd name="T66" fmla="*/ 1710 w 1728"/>
                <a:gd name="T67" fmla="*/ 234 h 256"/>
                <a:gd name="T68" fmla="*/ 1705 w 1728"/>
                <a:gd name="T69" fmla="*/ 237 h 256"/>
                <a:gd name="T70" fmla="*/ 1699 w 1728"/>
                <a:gd name="T71" fmla="*/ 238 h 256"/>
                <a:gd name="T72" fmla="*/ 1692 w 1728"/>
                <a:gd name="T73" fmla="*/ 238 h 256"/>
                <a:gd name="T74" fmla="*/ 72 w 1728"/>
                <a:gd name="T75" fmla="*/ 67 h 256"/>
                <a:gd name="T76" fmla="*/ 64 w 1728"/>
                <a:gd name="T77" fmla="*/ 226 h 256"/>
                <a:gd name="T78" fmla="*/ 63 w 1728"/>
                <a:gd name="T79" fmla="*/ 232 h 256"/>
                <a:gd name="T80" fmla="*/ 61 w 1728"/>
                <a:gd name="T81" fmla="*/ 237 h 256"/>
                <a:gd name="T82" fmla="*/ 58 w 1728"/>
                <a:gd name="T83" fmla="*/ 243 h 256"/>
                <a:gd name="T84" fmla="*/ 54 w 1728"/>
                <a:gd name="T85" fmla="*/ 247 h 256"/>
                <a:gd name="T86" fmla="*/ 49 w 1728"/>
                <a:gd name="T87" fmla="*/ 251 h 256"/>
                <a:gd name="T88" fmla="*/ 44 w 1728"/>
                <a:gd name="T89" fmla="*/ 254 h 256"/>
                <a:gd name="T90" fmla="*/ 38 w 1728"/>
                <a:gd name="T91" fmla="*/ 255 h 256"/>
                <a:gd name="T92" fmla="*/ 31 w 1728"/>
                <a:gd name="T9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8" h="256">
                  <a:moveTo>
                    <a:pt x="31" y="256"/>
                  </a:moveTo>
                  <a:lnTo>
                    <a:pt x="31" y="256"/>
                  </a:lnTo>
                  <a:lnTo>
                    <a:pt x="30" y="256"/>
                  </a:lnTo>
                  <a:lnTo>
                    <a:pt x="24" y="255"/>
                  </a:lnTo>
                  <a:lnTo>
                    <a:pt x="17" y="252"/>
                  </a:lnTo>
                  <a:lnTo>
                    <a:pt x="12" y="250"/>
                  </a:lnTo>
                  <a:lnTo>
                    <a:pt x="9" y="246"/>
                  </a:lnTo>
                  <a:lnTo>
                    <a:pt x="5" y="241"/>
                  </a:lnTo>
                  <a:lnTo>
                    <a:pt x="2" y="234"/>
                  </a:lnTo>
                  <a:lnTo>
                    <a:pt x="0" y="229"/>
                  </a:lnTo>
                  <a:lnTo>
                    <a:pt x="0" y="222"/>
                  </a:lnTo>
                  <a:lnTo>
                    <a:pt x="10" y="30"/>
                  </a:lnTo>
                  <a:lnTo>
                    <a:pt x="11" y="24"/>
                  </a:lnTo>
                  <a:lnTo>
                    <a:pt x="14" y="18"/>
                  </a:lnTo>
                  <a:lnTo>
                    <a:pt x="16" y="13"/>
                  </a:lnTo>
                  <a:lnTo>
                    <a:pt x="21" y="8"/>
                  </a:lnTo>
                  <a:lnTo>
                    <a:pt x="26" y="4"/>
                  </a:lnTo>
                  <a:lnTo>
                    <a:pt x="33" y="1"/>
                  </a:lnTo>
                  <a:lnTo>
                    <a:pt x="39" y="0"/>
                  </a:lnTo>
                  <a:lnTo>
                    <a:pt x="45" y="0"/>
                  </a:lnTo>
                  <a:lnTo>
                    <a:pt x="1699" y="174"/>
                  </a:lnTo>
                  <a:lnTo>
                    <a:pt x="1705" y="175"/>
                  </a:lnTo>
                  <a:lnTo>
                    <a:pt x="1712" y="177"/>
                  </a:lnTo>
                  <a:lnTo>
                    <a:pt x="1717" y="181"/>
                  </a:lnTo>
                  <a:lnTo>
                    <a:pt x="1720" y="186"/>
                  </a:lnTo>
                  <a:lnTo>
                    <a:pt x="1724" y="191"/>
                  </a:lnTo>
                  <a:lnTo>
                    <a:pt x="1727" y="196"/>
                  </a:lnTo>
                  <a:lnTo>
                    <a:pt x="1728" y="203"/>
                  </a:lnTo>
                  <a:lnTo>
                    <a:pt x="1728" y="209"/>
                  </a:lnTo>
                  <a:lnTo>
                    <a:pt x="1727" y="215"/>
                  </a:lnTo>
                  <a:lnTo>
                    <a:pt x="1724" y="222"/>
                  </a:lnTo>
                  <a:lnTo>
                    <a:pt x="1720" y="227"/>
                  </a:lnTo>
                  <a:lnTo>
                    <a:pt x="1717" y="231"/>
                  </a:lnTo>
                  <a:lnTo>
                    <a:pt x="1710" y="234"/>
                  </a:lnTo>
                  <a:lnTo>
                    <a:pt x="1705" y="237"/>
                  </a:lnTo>
                  <a:lnTo>
                    <a:pt x="1699" y="238"/>
                  </a:lnTo>
                  <a:lnTo>
                    <a:pt x="1692" y="238"/>
                  </a:lnTo>
                  <a:lnTo>
                    <a:pt x="72" y="67"/>
                  </a:lnTo>
                  <a:lnTo>
                    <a:pt x="64" y="226"/>
                  </a:lnTo>
                  <a:lnTo>
                    <a:pt x="63" y="232"/>
                  </a:lnTo>
                  <a:lnTo>
                    <a:pt x="61" y="237"/>
                  </a:lnTo>
                  <a:lnTo>
                    <a:pt x="58" y="243"/>
                  </a:lnTo>
                  <a:lnTo>
                    <a:pt x="54" y="247"/>
                  </a:lnTo>
                  <a:lnTo>
                    <a:pt x="49" y="251"/>
                  </a:lnTo>
                  <a:lnTo>
                    <a:pt x="44" y="254"/>
                  </a:lnTo>
                  <a:lnTo>
                    <a:pt x="38" y="255"/>
                  </a:lnTo>
                  <a:lnTo>
                    <a:pt x="31"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3" name="Freeform 16">
              <a:extLst>
                <a:ext uri="{FF2B5EF4-FFF2-40B4-BE49-F238E27FC236}">
                  <a16:creationId xmlns:a16="http://schemas.microsoft.com/office/drawing/2014/main" id="{5CAE3D62-F5EF-4B2E-A9AE-2029BD21C38B}"/>
                </a:ext>
              </a:extLst>
            </p:cNvPr>
            <p:cNvSpPr>
              <a:spLocks/>
            </p:cNvSpPr>
            <p:nvPr/>
          </p:nvSpPr>
          <p:spPr bwMode="auto">
            <a:xfrm>
              <a:off x="9512300" y="3071813"/>
              <a:ext cx="600075" cy="166688"/>
            </a:xfrm>
            <a:custGeom>
              <a:avLst/>
              <a:gdLst>
                <a:gd name="T0" fmla="*/ 1481 w 1513"/>
                <a:gd name="T1" fmla="*/ 421 h 421"/>
                <a:gd name="T2" fmla="*/ 1478 w 1513"/>
                <a:gd name="T3" fmla="*/ 421 h 421"/>
                <a:gd name="T4" fmla="*/ 1473 w 1513"/>
                <a:gd name="T5" fmla="*/ 420 h 421"/>
                <a:gd name="T6" fmla="*/ 107 w 1513"/>
                <a:gd name="T7" fmla="*/ 70 h 421"/>
                <a:gd name="T8" fmla="*/ 63 w 1513"/>
                <a:gd name="T9" fmla="*/ 207 h 421"/>
                <a:gd name="T10" fmla="*/ 60 w 1513"/>
                <a:gd name="T11" fmla="*/ 213 h 421"/>
                <a:gd name="T12" fmla="*/ 56 w 1513"/>
                <a:gd name="T13" fmla="*/ 218 h 421"/>
                <a:gd name="T14" fmla="*/ 51 w 1513"/>
                <a:gd name="T15" fmla="*/ 222 h 421"/>
                <a:gd name="T16" fmla="*/ 46 w 1513"/>
                <a:gd name="T17" fmla="*/ 226 h 421"/>
                <a:gd name="T18" fmla="*/ 41 w 1513"/>
                <a:gd name="T19" fmla="*/ 228 h 421"/>
                <a:gd name="T20" fmla="*/ 35 w 1513"/>
                <a:gd name="T21" fmla="*/ 228 h 421"/>
                <a:gd name="T22" fmla="*/ 28 w 1513"/>
                <a:gd name="T23" fmla="*/ 228 h 421"/>
                <a:gd name="T24" fmla="*/ 22 w 1513"/>
                <a:gd name="T25" fmla="*/ 227 h 421"/>
                <a:gd name="T26" fmla="*/ 16 w 1513"/>
                <a:gd name="T27" fmla="*/ 224 h 421"/>
                <a:gd name="T28" fmla="*/ 11 w 1513"/>
                <a:gd name="T29" fmla="*/ 221 h 421"/>
                <a:gd name="T30" fmla="*/ 7 w 1513"/>
                <a:gd name="T31" fmla="*/ 217 h 421"/>
                <a:gd name="T32" fmla="*/ 3 w 1513"/>
                <a:gd name="T33" fmla="*/ 212 h 421"/>
                <a:gd name="T34" fmla="*/ 2 w 1513"/>
                <a:gd name="T35" fmla="*/ 205 h 421"/>
                <a:gd name="T36" fmla="*/ 0 w 1513"/>
                <a:gd name="T37" fmla="*/ 199 h 421"/>
                <a:gd name="T38" fmla="*/ 0 w 1513"/>
                <a:gd name="T39" fmla="*/ 193 h 421"/>
                <a:gd name="T40" fmla="*/ 2 w 1513"/>
                <a:gd name="T41" fmla="*/ 186 h 421"/>
                <a:gd name="T42" fmla="*/ 55 w 1513"/>
                <a:gd name="T43" fmla="*/ 22 h 421"/>
                <a:gd name="T44" fmla="*/ 58 w 1513"/>
                <a:gd name="T45" fmla="*/ 17 h 421"/>
                <a:gd name="T46" fmla="*/ 61 w 1513"/>
                <a:gd name="T47" fmla="*/ 11 h 421"/>
                <a:gd name="T48" fmla="*/ 66 w 1513"/>
                <a:gd name="T49" fmla="*/ 8 h 421"/>
                <a:gd name="T50" fmla="*/ 70 w 1513"/>
                <a:gd name="T51" fmla="*/ 4 h 421"/>
                <a:gd name="T52" fmla="*/ 77 w 1513"/>
                <a:gd name="T53" fmla="*/ 1 h 421"/>
                <a:gd name="T54" fmla="*/ 82 w 1513"/>
                <a:gd name="T55" fmla="*/ 0 h 421"/>
                <a:gd name="T56" fmla="*/ 88 w 1513"/>
                <a:gd name="T57" fmla="*/ 0 h 421"/>
                <a:gd name="T58" fmla="*/ 94 w 1513"/>
                <a:gd name="T59" fmla="*/ 1 h 421"/>
                <a:gd name="T60" fmla="*/ 1489 w 1513"/>
                <a:gd name="T61" fmla="*/ 358 h 421"/>
                <a:gd name="T62" fmla="*/ 1495 w 1513"/>
                <a:gd name="T63" fmla="*/ 360 h 421"/>
                <a:gd name="T64" fmla="*/ 1500 w 1513"/>
                <a:gd name="T65" fmla="*/ 364 h 421"/>
                <a:gd name="T66" fmla="*/ 1506 w 1513"/>
                <a:gd name="T67" fmla="*/ 368 h 421"/>
                <a:gd name="T68" fmla="*/ 1508 w 1513"/>
                <a:gd name="T69" fmla="*/ 373 h 421"/>
                <a:gd name="T70" fmla="*/ 1511 w 1513"/>
                <a:gd name="T71" fmla="*/ 378 h 421"/>
                <a:gd name="T72" fmla="*/ 1513 w 1513"/>
                <a:gd name="T73" fmla="*/ 384 h 421"/>
                <a:gd name="T74" fmla="*/ 1513 w 1513"/>
                <a:gd name="T75" fmla="*/ 391 h 421"/>
                <a:gd name="T76" fmla="*/ 1512 w 1513"/>
                <a:gd name="T77" fmla="*/ 397 h 421"/>
                <a:gd name="T78" fmla="*/ 1511 w 1513"/>
                <a:gd name="T79" fmla="*/ 402 h 421"/>
                <a:gd name="T80" fmla="*/ 1508 w 1513"/>
                <a:gd name="T81" fmla="*/ 407 h 421"/>
                <a:gd name="T82" fmla="*/ 1504 w 1513"/>
                <a:gd name="T83" fmla="*/ 411 h 421"/>
                <a:gd name="T84" fmla="*/ 1500 w 1513"/>
                <a:gd name="T85" fmla="*/ 415 h 421"/>
                <a:gd name="T86" fmla="*/ 1497 w 1513"/>
                <a:gd name="T87" fmla="*/ 417 h 421"/>
                <a:gd name="T88" fmla="*/ 1492 w 1513"/>
                <a:gd name="T89" fmla="*/ 420 h 421"/>
                <a:gd name="T90" fmla="*/ 1487 w 1513"/>
                <a:gd name="T91" fmla="*/ 421 h 421"/>
                <a:gd name="T92" fmla="*/ 1481 w 1513"/>
                <a:gd name="T93"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13" h="421">
                  <a:moveTo>
                    <a:pt x="1481" y="421"/>
                  </a:moveTo>
                  <a:lnTo>
                    <a:pt x="1478" y="421"/>
                  </a:lnTo>
                  <a:lnTo>
                    <a:pt x="1473" y="420"/>
                  </a:lnTo>
                  <a:lnTo>
                    <a:pt x="107" y="70"/>
                  </a:lnTo>
                  <a:lnTo>
                    <a:pt x="63" y="207"/>
                  </a:lnTo>
                  <a:lnTo>
                    <a:pt x="60" y="213"/>
                  </a:lnTo>
                  <a:lnTo>
                    <a:pt x="56" y="218"/>
                  </a:lnTo>
                  <a:lnTo>
                    <a:pt x="51" y="222"/>
                  </a:lnTo>
                  <a:lnTo>
                    <a:pt x="46" y="226"/>
                  </a:lnTo>
                  <a:lnTo>
                    <a:pt x="41" y="228"/>
                  </a:lnTo>
                  <a:lnTo>
                    <a:pt x="35" y="228"/>
                  </a:lnTo>
                  <a:lnTo>
                    <a:pt x="28" y="228"/>
                  </a:lnTo>
                  <a:lnTo>
                    <a:pt x="22" y="227"/>
                  </a:lnTo>
                  <a:lnTo>
                    <a:pt x="16" y="224"/>
                  </a:lnTo>
                  <a:lnTo>
                    <a:pt x="11" y="221"/>
                  </a:lnTo>
                  <a:lnTo>
                    <a:pt x="7" y="217"/>
                  </a:lnTo>
                  <a:lnTo>
                    <a:pt x="3" y="212"/>
                  </a:lnTo>
                  <a:lnTo>
                    <a:pt x="2" y="205"/>
                  </a:lnTo>
                  <a:lnTo>
                    <a:pt x="0" y="199"/>
                  </a:lnTo>
                  <a:lnTo>
                    <a:pt x="0" y="193"/>
                  </a:lnTo>
                  <a:lnTo>
                    <a:pt x="2" y="186"/>
                  </a:lnTo>
                  <a:lnTo>
                    <a:pt x="55" y="22"/>
                  </a:lnTo>
                  <a:lnTo>
                    <a:pt x="58" y="17"/>
                  </a:lnTo>
                  <a:lnTo>
                    <a:pt x="61" y="11"/>
                  </a:lnTo>
                  <a:lnTo>
                    <a:pt x="66" y="8"/>
                  </a:lnTo>
                  <a:lnTo>
                    <a:pt x="70" y="4"/>
                  </a:lnTo>
                  <a:lnTo>
                    <a:pt x="77" y="1"/>
                  </a:lnTo>
                  <a:lnTo>
                    <a:pt x="82" y="0"/>
                  </a:lnTo>
                  <a:lnTo>
                    <a:pt x="88" y="0"/>
                  </a:lnTo>
                  <a:lnTo>
                    <a:pt x="94" y="1"/>
                  </a:lnTo>
                  <a:lnTo>
                    <a:pt x="1489" y="358"/>
                  </a:lnTo>
                  <a:lnTo>
                    <a:pt x="1495" y="360"/>
                  </a:lnTo>
                  <a:lnTo>
                    <a:pt x="1500" y="364"/>
                  </a:lnTo>
                  <a:lnTo>
                    <a:pt x="1506" y="368"/>
                  </a:lnTo>
                  <a:lnTo>
                    <a:pt x="1508" y="373"/>
                  </a:lnTo>
                  <a:lnTo>
                    <a:pt x="1511" y="378"/>
                  </a:lnTo>
                  <a:lnTo>
                    <a:pt x="1513" y="384"/>
                  </a:lnTo>
                  <a:lnTo>
                    <a:pt x="1513" y="391"/>
                  </a:lnTo>
                  <a:lnTo>
                    <a:pt x="1512" y="397"/>
                  </a:lnTo>
                  <a:lnTo>
                    <a:pt x="1511" y="402"/>
                  </a:lnTo>
                  <a:lnTo>
                    <a:pt x="1508" y="407"/>
                  </a:lnTo>
                  <a:lnTo>
                    <a:pt x="1504" y="411"/>
                  </a:lnTo>
                  <a:lnTo>
                    <a:pt x="1500" y="415"/>
                  </a:lnTo>
                  <a:lnTo>
                    <a:pt x="1497" y="417"/>
                  </a:lnTo>
                  <a:lnTo>
                    <a:pt x="1492" y="420"/>
                  </a:lnTo>
                  <a:lnTo>
                    <a:pt x="1487" y="421"/>
                  </a:lnTo>
                  <a:lnTo>
                    <a:pt x="1481"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4" name="Freeform 37">
              <a:extLst>
                <a:ext uri="{FF2B5EF4-FFF2-40B4-BE49-F238E27FC236}">
                  <a16:creationId xmlns:a16="http://schemas.microsoft.com/office/drawing/2014/main" id="{E0C64977-C3AE-472F-8AEF-269E73D6120A}"/>
                </a:ext>
              </a:extLst>
            </p:cNvPr>
            <p:cNvSpPr>
              <a:spLocks/>
            </p:cNvSpPr>
            <p:nvPr/>
          </p:nvSpPr>
          <p:spPr bwMode="auto">
            <a:xfrm>
              <a:off x="9944100" y="3619500"/>
              <a:ext cx="177800" cy="25400"/>
            </a:xfrm>
            <a:custGeom>
              <a:avLst/>
              <a:gdLst>
                <a:gd name="T0" fmla="*/ 416 w 448"/>
                <a:gd name="T1" fmla="*/ 65 h 65"/>
                <a:gd name="T2" fmla="*/ 32 w 448"/>
                <a:gd name="T3" fmla="*/ 65 h 65"/>
                <a:gd name="T4" fmla="*/ 26 w 448"/>
                <a:gd name="T5" fmla="*/ 63 h 65"/>
                <a:gd name="T6" fmla="*/ 19 w 448"/>
                <a:gd name="T7" fmla="*/ 62 h 65"/>
                <a:gd name="T8" fmla="*/ 14 w 448"/>
                <a:gd name="T9" fmla="*/ 58 h 65"/>
                <a:gd name="T10" fmla="*/ 9 w 448"/>
                <a:gd name="T11" fmla="*/ 54 h 65"/>
                <a:gd name="T12" fmla="*/ 5 w 448"/>
                <a:gd name="T13" fmla="*/ 49 h 65"/>
                <a:gd name="T14" fmla="*/ 3 w 448"/>
                <a:gd name="T15" fmla="*/ 44 h 65"/>
                <a:gd name="T16" fmla="*/ 0 w 448"/>
                <a:gd name="T17" fmla="*/ 38 h 65"/>
                <a:gd name="T18" fmla="*/ 0 w 448"/>
                <a:gd name="T19" fmla="*/ 32 h 65"/>
                <a:gd name="T20" fmla="*/ 0 w 448"/>
                <a:gd name="T21" fmla="*/ 25 h 65"/>
                <a:gd name="T22" fmla="*/ 3 w 448"/>
                <a:gd name="T23" fmla="*/ 19 h 65"/>
                <a:gd name="T24" fmla="*/ 5 w 448"/>
                <a:gd name="T25" fmla="*/ 14 h 65"/>
                <a:gd name="T26" fmla="*/ 9 w 448"/>
                <a:gd name="T27" fmla="*/ 9 h 65"/>
                <a:gd name="T28" fmla="*/ 14 w 448"/>
                <a:gd name="T29" fmla="*/ 5 h 65"/>
                <a:gd name="T30" fmla="*/ 19 w 448"/>
                <a:gd name="T31" fmla="*/ 2 h 65"/>
                <a:gd name="T32" fmla="*/ 26 w 448"/>
                <a:gd name="T33" fmla="*/ 1 h 65"/>
                <a:gd name="T34" fmla="*/ 32 w 448"/>
                <a:gd name="T35" fmla="*/ 0 h 65"/>
                <a:gd name="T36" fmla="*/ 416 w 448"/>
                <a:gd name="T37" fmla="*/ 0 h 65"/>
                <a:gd name="T38" fmla="*/ 423 w 448"/>
                <a:gd name="T39" fmla="*/ 1 h 65"/>
                <a:gd name="T40" fmla="*/ 429 w 448"/>
                <a:gd name="T41" fmla="*/ 2 h 65"/>
                <a:gd name="T42" fmla="*/ 434 w 448"/>
                <a:gd name="T43" fmla="*/ 5 h 65"/>
                <a:gd name="T44" fmla="*/ 439 w 448"/>
                <a:gd name="T45" fmla="*/ 9 h 65"/>
                <a:gd name="T46" fmla="*/ 443 w 448"/>
                <a:gd name="T47" fmla="*/ 14 h 65"/>
                <a:gd name="T48" fmla="*/ 445 w 448"/>
                <a:gd name="T49" fmla="*/ 19 h 65"/>
                <a:gd name="T50" fmla="*/ 447 w 448"/>
                <a:gd name="T51" fmla="*/ 25 h 65"/>
                <a:gd name="T52" fmla="*/ 448 w 448"/>
                <a:gd name="T53" fmla="*/ 32 h 65"/>
                <a:gd name="T54" fmla="*/ 447 w 448"/>
                <a:gd name="T55" fmla="*/ 38 h 65"/>
                <a:gd name="T56" fmla="*/ 445 w 448"/>
                <a:gd name="T57" fmla="*/ 44 h 65"/>
                <a:gd name="T58" fmla="*/ 443 w 448"/>
                <a:gd name="T59" fmla="*/ 49 h 65"/>
                <a:gd name="T60" fmla="*/ 439 w 448"/>
                <a:gd name="T61" fmla="*/ 54 h 65"/>
                <a:gd name="T62" fmla="*/ 434 w 448"/>
                <a:gd name="T63" fmla="*/ 58 h 65"/>
                <a:gd name="T64" fmla="*/ 429 w 448"/>
                <a:gd name="T65" fmla="*/ 62 h 65"/>
                <a:gd name="T66" fmla="*/ 423 w 448"/>
                <a:gd name="T67" fmla="*/ 63 h 65"/>
                <a:gd name="T68" fmla="*/ 416 w 448"/>
                <a:gd name="T6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5">
                  <a:moveTo>
                    <a:pt x="416" y="65"/>
                  </a:moveTo>
                  <a:lnTo>
                    <a:pt x="32" y="65"/>
                  </a:lnTo>
                  <a:lnTo>
                    <a:pt x="26" y="63"/>
                  </a:lnTo>
                  <a:lnTo>
                    <a:pt x="19" y="62"/>
                  </a:lnTo>
                  <a:lnTo>
                    <a:pt x="14" y="58"/>
                  </a:lnTo>
                  <a:lnTo>
                    <a:pt x="9" y="54"/>
                  </a:lnTo>
                  <a:lnTo>
                    <a:pt x="5" y="49"/>
                  </a:lnTo>
                  <a:lnTo>
                    <a:pt x="3" y="44"/>
                  </a:lnTo>
                  <a:lnTo>
                    <a:pt x="0" y="38"/>
                  </a:lnTo>
                  <a:lnTo>
                    <a:pt x="0" y="32"/>
                  </a:lnTo>
                  <a:lnTo>
                    <a:pt x="0" y="25"/>
                  </a:lnTo>
                  <a:lnTo>
                    <a:pt x="3" y="19"/>
                  </a:lnTo>
                  <a:lnTo>
                    <a:pt x="5" y="14"/>
                  </a:lnTo>
                  <a:lnTo>
                    <a:pt x="9" y="9"/>
                  </a:lnTo>
                  <a:lnTo>
                    <a:pt x="14" y="5"/>
                  </a:lnTo>
                  <a:lnTo>
                    <a:pt x="19" y="2"/>
                  </a:lnTo>
                  <a:lnTo>
                    <a:pt x="26" y="1"/>
                  </a:lnTo>
                  <a:lnTo>
                    <a:pt x="32" y="0"/>
                  </a:lnTo>
                  <a:lnTo>
                    <a:pt x="416" y="0"/>
                  </a:lnTo>
                  <a:lnTo>
                    <a:pt x="423" y="1"/>
                  </a:lnTo>
                  <a:lnTo>
                    <a:pt x="429" y="2"/>
                  </a:lnTo>
                  <a:lnTo>
                    <a:pt x="434" y="5"/>
                  </a:lnTo>
                  <a:lnTo>
                    <a:pt x="439" y="9"/>
                  </a:lnTo>
                  <a:lnTo>
                    <a:pt x="443" y="14"/>
                  </a:lnTo>
                  <a:lnTo>
                    <a:pt x="445" y="19"/>
                  </a:lnTo>
                  <a:lnTo>
                    <a:pt x="447" y="25"/>
                  </a:lnTo>
                  <a:lnTo>
                    <a:pt x="448" y="32"/>
                  </a:lnTo>
                  <a:lnTo>
                    <a:pt x="447" y="38"/>
                  </a:lnTo>
                  <a:lnTo>
                    <a:pt x="445" y="44"/>
                  </a:lnTo>
                  <a:lnTo>
                    <a:pt x="443" y="49"/>
                  </a:lnTo>
                  <a:lnTo>
                    <a:pt x="439" y="54"/>
                  </a:lnTo>
                  <a:lnTo>
                    <a:pt x="434" y="58"/>
                  </a:lnTo>
                  <a:lnTo>
                    <a:pt x="429" y="62"/>
                  </a:lnTo>
                  <a:lnTo>
                    <a:pt x="423" y="63"/>
                  </a:lnTo>
                  <a:lnTo>
                    <a:pt x="41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5" name="Freeform 38">
              <a:extLst>
                <a:ext uri="{FF2B5EF4-FFF2-40B4-BE49-F238E27FC236}">
                  <a16:creationId xmlns:a16="http://schemas.microsoft.com/office/drawing/2014/main" id="{A4A59B7E-CB68-4900-8333-F0D9EDAB8AD3}"/>
                </a:ext>
              </a:extLst>
            </p:cNvPr>
            <p:cNvSpPr>
              <a:spLocks/>
            </p:cNvSpPr>
            <p:nvPr/>
          </p:nvSpPr>
          <p:spPr bwMode="auto">
            <a:xfrm>
              <a:off x="9944100" y="3568700"/>
              <a:ext cx="177800" cy="25400"/>
            </a:xfrm>
            <a:custGeom>
              <a:avLst/>
              <a:gdLst>
                <a:gd name="T0" fmla="*/ 416 w 448"/>
                <a:gd name="T1" fmla="*/ 65 h 65"/>
                <a:gd name="T2" fmla="*/ 32 w 448"/>
                <a:gd name="T3" fmla="*/ 65 h 65"/>
                <a:gd name="T4" fmla="*/ 26 w 448"/>
                <a:gd name="T5" fmla="*/ 63 h 65"/>
                <a:gd name="T6" fmla="*/ 19 w 448"/>
                <a:gd name="T7" fmla="*/ 62 h 65"/>
                <a:gd name="T8" fmla="*/ 14 w 448"/>
                <a:gd name="T9" fmla="*/ 58 h 65"/>
                <a:gd name="T10" fmla="*/ 9 w 448"/>
                <a:gd name="T11" fmla="*/ 54 h 65"/>
                <a:gd name="T12" fmla="*/ 5 w 448"/>
                <a:gd name="T13" fmla="*/ 49 h 65"/>
                <a:gd name="T14" fmla="*/ 3 w 448"/>
                <a:gd name="T15" fmla="*/ 44 h 65"/>
                <a:gd name="T16" fmla="*/ 0 w 448"/>
                <a:gd name="T17" fmla="*/ 38 h 65"/>
                <a:gd name="T18" fmla="*/ 0 w 448"/>
                <a:gd name="T19" fmla="*/ 32 h 65"/>
                <a:gd name="T20" fmla="*/ 0 w 448"/>
                <a:gd name="T21" fmla="*/ 25 h 65"/>
                <a:gd name="T22" fmla="*/ 3 w 448"/>
                <a:gd name="T23" fmla="*/ 20 h 65"/>
                <a:gd name="T24" fmla="*/ 5 w 448"/>
                <a:gd name="T25" fmla="*/ 14 h 65"/>
                <a:gd name="T26" fmla="*/ 9 w 448"/>
                <a:gd name="T27" fmla="*/ 9 h 65"/>
                <a:gd name="T28" fmla="*/ 14 w 448"/>
                <a:gd name="T29" fmla="*/ 5 h 65"/>
                <a:gd name="T30" fmla="*/ 19 w 448"/>
                <a:gd name="T31" fmla="*/ 2 h 65"/>
                <a:gd name="T32" fmla="*/ 26 w 448"/>
                <a:gd name="T33" fmla="*/ 1 h 65"/>
                <a:gd name="T34" fmla="*/ 32 w 448"/>
                <a:gd name="T35" fmla="*/ 0 h 65"/>
                <a:gd name="T36" fmla="*/ 416 w 448"/>
                <a:gd name="T37" fmla="*/ 0 h 65"/>
                <a:gd name="T38" fmla="*/ 423 w 448"/>
                <a:gd name="T39" fmla="*/ 1 h 65"/>
                <a:gd name="T40" fmla="*/ 429 w 448"/>
                <a:gd name="T41" fmla="*/ 2 h 65"/>
                <a:gd name="T42" fmla="*/ 434 w 448"/>
                <a:gd name="T43" fmla="*/ 5 h 65"/>
                <a:gd name="T44" fmla="*/ 439 w 448"/>
                <a:gd name="T45" fmla="*/ 9 h 65"/>
                <a:gd name="T46" fmla="*/ 443 w 448"/>
                <a:gd name="T47" fmla="*/ 14 h 65"/>
                <a:gd name="T48" fmla="*/ 445 w 448"/>
                <a:gd name="T49" fmla="*/ 20 h 65"/>
                <a:gd name="T50" fmla="*/ 447 w 448"/>
                <a:gd name="T51" fmla="*/ 25 h 65"/>
                <a:gd name="T52" fmla="*/ 448 w 448"/>
                <a:gd name="T53" fmla="*/ 32 h 65"/>
                <a:gd name="T54" fmla="*/ 447 w 448"/>
                <a:gd name="T55" fmla="*/ 38 h 65"/>
                <a:gd name="T56" fmla="*/ 445 w 448"/>
                <a:gd name="T57" fmla="*/ 44 h 65"/>
                <a:gd name="T58" fmla="*/ 443 w 448"/>
                <a:gd name="T59" fmla="*/ 49 h 65"/>
                <a:gd name="T60" fmla="*/ 439 w 448"/>
                <a:gd name="T61" fmla="*/ 54 h 65"/>
                <a:gd name="T62" fmla="*/ 434 w 448"/>
                <a:gd name="T63" fmla="*/ 58 h 65"/>
                <a:gd name="T64" fmla="*/ 429 w 448"/>
                <a:gd name="T65" fmla="*/ 62 h 65"/>
                <a:gd name="T66" fmla="*/ 423 w 448"/>
                <a:gd name="T67" fmla="*/ 63 h 65"/>
                <a:gd name="T68" fmla="*/ 416 w 448"/>
                <a:gd name="T6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5">
                  <a:moveTo>
                    <a:pt x="416" y="65"/>
                  </a:moveTo>
                  <a:lnTo>
                    <a:pt x="32" y="65"/>
                  </a:lnTo>
                  <a:lnTo>
                    <a:pt x="26" y="63"/>
                  </a:lnTo>
                  <a:lnTo>
                    <a:pt x="19" y="62"/>
                  </a:lnTo>
                  <a:lnTo>
                    <a:pt x="14" y="58"/>
                  </a:lnTo>
                  <a:lnTo>
                    <a:pt x="9" y="54"/>
                  </a:lnTo>
                  <a:lnTo>
                    <a:pt x="5" y="49"/>
                  </a:lnTo>
                  <a:lnTo>
                    <a:pt x="3" y="44"/>
                  </a:lnTo>
                  <a:lnTo>
                    <a:pt x="0" y="38"/>
                  </a:lnTo>
                  <a:lnTo>
                    <a:pt x="0" y="32"/>
                  </a:lnTo>
                  <a:lnTo>
                    <a:pt x="0" y="25"/>
                  </a:lnTo>
                  <a:lnTo>
                    <a:pt x="3" y="20"/>
                  </a:lnTo>
                  <a:lnTo>
                    <a:pt x="5" y="14"/>
                  </a:lnTo>
                  <a:lnTo>
                    <a:pt x="9" y="9"/>
                  </a:lnTo>
                  <a:lnTo>
                    <a:pt x="14" y="5"/>
                  </a:lnTo>
                  <a:lnTo>
                    <a:pt x="19" y="2"/>
                  </a:lnTo>
                  <a:lnTo>
                    <a:pt x="26" y="1"/>
                  </a:lnTo>
                  <a:lnTo>
                    <a:pt x="32" y="0"/>
                  </a:lnTo>
                  <a:lnTo>
                    <a:pt x="416" y="0"/>
                  </a:lnTo>
                  <a:lnTo>
                    <a:pt x="423" y="1"/>
                  </a:lnTo>
                  <a:lnTo>
                    <a:pt x="429" y="2"/>
                  </a:lnTo>
                  <a:lnTo>
                    <a:pt x="434" y="5"/>
                  </a:lnTo>
                  <a:lnTo>
                    <a:pt x="439" y="9"/>
                  </a:lnTo>
                  <a:lnTo>
                    <a:pt x="443" y="14"/>
                  </a:lnTo>
                  <a:lnTo>
                    <a:pt x="445" y="20"/>
                  </a:lnTo>
                  <a:lnTo>
                    <a:pt x="447" y="25"/>
                  </a:lnTo>
                  <a:lnTo>
                    <a:pt x="448" y="32"/>
                  </a:lnTo>
                  <a:lnTo>
                    <a:pt x="447" y="38"/>
                  </a:lnTo>
                  <a:lnTo>
                    <a:pt x="445" y="44"/>
                  </a:lnTo>
                  <a:lnTo>
                    <a:pt x="443" y="49"/>
                  </a:lnTo>
                  <a:lnTo>
                    <a:pt x="439" y="54"/>
                  </a:lnTo>
                  <a:lnTo>
                    <a:pt x="434" y="58"/>
                  </a:lnTo>
                  <a:lnTo>
                    <a:pt x="429" y="62"/>
                  </a:lnTo>
                  <a:lnTo>
                    <a:pt x="423" y="63"/>
                  </a:lnTo>
                  <a:lnTo>
                    <a:pt x="41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6" name="Freeform 39">
              <a:extLst>
                <a:ext uri="{FF2B5EF4-FFF2-40B4-BE49-F238E27FC236}">
                  <a16:creationId xmlns:a16="http://schemas.microsoft.com/office/drawing/2014/main" id="{AA3D5B59-071C-4BCA-B5CD-6E89FF8E0B88}"/>
                </a:ext>
              </a:extLst>
            </p:cNvPr>
            <p:cNvSpPr>
              <a:spLocks/>
            </p:cNvSpPr>
            <p:nvPr/>
          </p:nvSpPr>
          <p:spPr bwMode="auto">
            <a:xfrm>
              <a:off x="9944100" y="3517900"/>
              <a:ext cx="177800" cy="25400"/>
            </a:xfrm>
            <a:custGeom>
              <a:avLst/>
              <a:gdLst>
                <a:gd name="T0" fmla="*/ 416 w 448"/>
                <a:gd name="T1" fmla="*/ 64 h 64"/>
                <a:gd name="T2" fmla="*/ 32 w 448"/>
                <a:gd name="T3" fmla="*/ 64 h 64"/>
                <a:gd name="T4" fmla="*/ 26 w 448"/>
                <a:gd name="T5" fmla="*/ 63 h 64"/>
                <a:gd name="T6" fmla="*/ 19 w 448"/>
                <a:gd name="T7" fmla="*/ 62 h 64"/>
                <a:gd name="T8" fmla="*/ 14 w 448"/>
                <a:gd name="T9" fmla="*/ 58 h 64"/>
                <a:gd name="T10" fmla="*/ 9 w 448"/>
                <a:gd name="T11" fmla="*/ 54 h 64"/>
                <a:gd name="T12" fmla="*/ 5 w 448"/>
                <a:gd name="T13" fmla="*/ 51 h 64"/>
                <a:gd name="T14" fmla="*/ 3 w 448"/>
                <a:gd name="T15" fmla="*/ 44 h 64"/>
                <a:gd name="T16" fmla="*/ 0 w 448"/>
                <a:gd name="T17" fmla="*/ 38 h 64"/>
                <a:gd name="T18" fmla="*/ 0 w 448"/>
                <a:gd name="T19" fmla="*/ 32 h 64"/>
                <a:gd name="T20" fmla="*/ 0 w 448"/>
                <a:gd name="T21" fmla="*/ 25 h 64"/>
                <a:gd name="T22" fmla="*/ 3 w 448"/>
                <a:gd name="T23" fmla="*/ 20 h 64"/>
                <a:gd name="T24" fmla="*/ 5 w 448"/>
                <a:gd name="T25" fmla="*/ 14 h 64"/>
                <a:gd name="T26" fmla="*/ 9 w 448"/>
                <a:gd name="T27" fmla="*/ 10 h 64"/>
                <a:gd name="T28" fmla="*/ 14 w 448"/>
                <a:gd name="T29" fmla="*/ 5 h 64"/>
                <a:gd name="T30" fmla="*/ 19 w 448"/>
                <a:gd name="T31" fmla="*/ 2 h 64"/>
                <a:gd name="T32" fmla="*/ 26 w 448"/>
                <a:gd name="T33" fmla="*/ 1 h 64"/>
                <a:gd name="T34" fmla="*/ 32 w 448"/>
                <a:gd name="T35" fmla="*/ 0 h 64"/>
                <a:gd name="T36" fmla="*/ 416 w 448"/>
                <a:gd name="T37" fmla="*/ 0 h 64"/>
                <a:gd name="T38" fmla="*/ 423 w 448"/>
                <a:gd name="T39" fmla="*/ 1 h 64"/>
                <a:gd name="T40" fmla="*/ 429 w 448"/>
                <a:gd name="T41" fmla="*/ 2 h 64"/>
                <a:gd name="T42" fmla="*/ 434 w 448"/>
                <a:gd name="T43" fmla="*/ 5 h 64"/>
                <a:gd name="T44" fmla="*/ 439 w 448"/>
                <a:gd name="T45" fmla="*/ 10 h 64"/>
                <a:gd name="T46" fmla="*/ 443 w 448"/>
                <a:gd name="T47" fmla="*/ 14 h 64"/>
                <a:gd name="T48" fmla="*/ 445 w 448"/>
                <a:gd name="T49" fmla="*/ 20 h 64"/>
                <a:gd name="T50" fmla="*/ 447 w 448"/>
                <a:gd name="T51" fmla="*/ 25 h 64"/>
                <a:gd name="T52" fmla="*/ 448 w 448"/>
                <a:gd name="T53" fmla="*/ 32 h 64"/>
                <a:gd name="T54" fmla="*/ 447 w 448"/>
                <a:gd name="T55" fmla="*/ 38 h 64"/>
                <a:gd name="T56" fmla="*/ 445 w 448"/>
                <a:gd name="T57" fmla="*/ 44 h 64"/>
                <a:gd name="T58" fmla="*/ 443 w 448"/>
                <a:gd name="T59" fmla="*/ 51 h 64"/>
                <a:gd name="T60" fmla="*/ 439 w 448"/>
                <a:gd name="T61" fmla="*/ 54 h 64"/>
                <a:gd name="T62" fmla="*/ 434 w 448"/>
                <a:gd name="T63" fmla="*/ 58 h 64"/>
                <a:gd name="T64" fmla="*/ 429 w 448"/>
                <a:gd name="T65" fmla="*/ 62 h 64"/>
                <a:gd name="T66" fmla="*/ 423 w 448"/>
                <a:gd name="T67" fmla="*/ 63 h 64"/>
                <a:gd name="T68" fmla="*/ 416 w 448"/>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4">
                  <a:moveTo>
                    <a:pt x="416" y="64"/>
                  </a:moveTo>
                  <a:lnTo>
                    <a:pt x="32" y="64"/>
                  </a:lnTo>
                  <a:lnTo>
                    <a:pt x="26" y="63"/>
                  </a:lnTo>
                  <a:lnTo>
                    <a:pt x="19" y="62"/>
                  </a:lnTo>
                  <a:lnTo>
                    <a:pt x="14" y="58"/>
                  </a:lnTo>
                  <a:lnTo>
                    <a:pt x="9" y="54"/>
                  </a:lnTo>
                  <a:lnTo>
                    <a:pt x="5" y="51"/>
                  </a:lnTo>
                  <a:lnTo>
                    <a:pt x="3" y="44"/>
                  </a:lnTo>
                  <a:lnTo>
                    <a:pt x="0" y="38"/>
                  </a:lnTo>
                  <a:lnTo>
                    <a:pt x="0" y="32"/>
                  </a:lnTo>
                  <a:lnTo>
                    <a:pt x="0" y="25"/>
                  </a:lnTo>
                  <a:lnTo>
                    <a:pt x="3" y="20"/>
                  </a:lnTo>
                  <a:lnTo>
                    <a:pt x="5" y="14"/>
                  </a:lnTo>
                  <a:lnTo>
                    <a:pt x="9" y="10"/>
                  </a:lnTo>
                  <a:lnTo>
                    <a:pt x="14" y="5"/>
                  </a:lnTo>
                  <a:lnTo>
                    <a:pt x="19" y="2"/>
                  </a:lnTo>
                  <a:lnTo>
                    <a:pt x="26" y="1"/>
                  </a:lnTo>
                  <a:lnTo>
                    <a:pt x="32" y="0"/>
                  </a:lnTo>
                  <a:lnTo>
                    <a:pt x="416" y="0"/>
                  </a:lnTo>
                  <a:lnTo>
                    <a:pt x="423" y="1"/>
                  </a:lnTo>
                  <a:lnTo>
                    <a:pt x="429" y="2"/>
                  </a:lnTo>
                  <a:lnTo>
                    <a:pt x="434" y="5"/>
                  </a:lnTo>
                  <a:lnTo>
                    <a:pt x="439" y="10"/>
                  </a:lnTo>
                  <a:lnTo>
                    <a:pt x="443" y="14"/>
                  </a:lnTo>
                  <a:lnTo>
                    <a:pt x="445" y="20"/>
                  </a:lnTo>
                  <a:lnTo>
                    <a:pt x="447" y="25"/>
                  </a:lnTo>
                  <a:lnTo>
                    <a:pt x="448" y="32"/>
                  </a:lnTo>
                  <a:lnTo>
                    <a:pt x="447" y="38"/>
                  </a:lnTo>
                  <a:lnTo>
                    <a:pt x="445" y="44"/>
                  </a:lnTo>
                  <a:lnTo>
                    <a:pt x="443" y="51"/>
                  </a:lnTo>
                  <a:lnTo>
                    <a:pt x="439" y="54"/>
                  </a:lnTo>
                  <a:lnTo>
                    <a:pt x="434" y="58"/>
                  </a:lnTo>
                  <a:lnTo>
                    <a:pt x="429" y="62"/>
                  </a:lnTo>
                  <a:lnTo>
                    <a:pt x="423" y="63"/>
                  </a:lnTo>
                  <a:lnTo>
                    <a:pt x="41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653" name="Group 69">
            <a:extLst>
              <a:ext uri="{FF2B5EF4-FFF2-40B4-BE49-F238E27FC236}">
                <a16:creationId xmlns:a16="http://schemas.microsoft.com/office/drawing/2014/main" id="{9D22C665-3F93-49BD-9C1E-0FD145E51E30}"/>
              </a:ext>
            </a:extLst>
          </p:cNvPr>
          <p:cNvGrpSpPr>
            <a:grpSpLocks noChangeAspect="1"/>
          </p:cNvGrpSpPr>
          <p:nvPr/>
        </p:nvGrpSpPr>
        <p:grpSpPr>
          <a:xfrm>
            <a:off x="7876770" y="2233311"/>
            <a:ext cx="285619" cy="285619"/>
            <a:chOff x="8736013" y="1925320"/>
            <a:chExt cx="285750" cy="285750"/>
          </a:xfrm>
          <a:solidFill>
            <a:schemeClr val="bg2"/>
          </a:solidFill>
          <a:effectLst/>
        </p:grpSpPr>
        <p:sp>
          <p:nvSpPr>
            <p:cNvPr id="1654" name="Freeform 142">
              <a:extLst>
                <a:ext uri="{FF2B5EF4-FFF2-40B4-BE49-F238E27FC236}">
                  <a16:creationId xmlns:a16="http://schemas.microsoft.com/office/drawing/2014/main" id="{97FDD986-D881-4C98-832D-75B5F9D348DD}"/>
                </a:ext>
              </a:extLst>
            </p:cNvPr>
            <p:cNvSpPr>
              <a:spLocks noEditPoints="1"/>
            </p:cNvSpPr>
            <p:nvPr/>
          </p:nvSpPr>
          <p:spPr bwMode="auto">
            <a:xfrm>
              <a:off x="8736013" y="1925320"/>
              <a:ext cx="285750" cy="285750"/>
            </a:xfrm>
            <a:custGeom>
              <a:avLst/>
              <a:gdLst>
                <a:gd name="T0" fmla="*/ 869 w 902"/>
                <a:gd name="T1" fmla="*/ 609 h 904"/>
                <a:gd name="T2" fmla="*/ 855 w 902"/>
                <a:gd name="T3" fmla="*/ 634 h 904"/>
                <a:gd name="T4" fmla="*/ 833 w 902"/>
                <a:gd name="T5" fmla="*/ 653 h 904"/>
                <a:gd name="T6" fmla="*/ 804 w 902"/>
                <a:gd name="T7" fmla="*/ 661 h 904"/>
                <a:gd name="T8" fmla="*/ 736 w 902"/>
                <a:gd name="T9" fmla="*/ 361 h 904"/>
                <a:gd name="T10" fmla="*/ 746 w 902"/>
                <a:gd name="T11" fmla="*/ 357 h 904"/>
                <a:gd name="T12" fmla="*/ 751 w 902"/>
                <a:gd name="T13" fmla="*/ 346 h 904"/>
                <a:gd name="T14" fmla="*/ 746 w 902"/>
                <a:gd name="T15" fmla="*/ 335 h 904"/>
                <a:gd name="T16" fmla="*/ 736 w 902"/>
                <a:gd name="T17" fmla="*/ 331 h 904"/>
                <a:gd name="T18" fmla="*/ 659 w 902"/>
                <a:gd name="T19" fmla="*/ 294 h 904"/>
                <a:gd name="T20" fmla="*/ 644 w 902"/>
                <a:gd name="T21" fmla="*/ 254 h 904"/>
                <a:gd name="T22" fmla="*/ 619 w 902"/>
                <a:gd name="T23" fmla="*/ 219 h 904"/>
                <a:gd name="T24" fmla="*/ 583 w 902"/>
                <a:gd name="T25" fmla="*/ 195 h 904"/>
                <a:gd name="T26" fmla="*/ 736 w 902"/>
                <a:gd name="T27" fmla="*/ 151 h 904"/>
                <a:gd name="T28" fmla="*/ 746 w 902"/>
                <a:gd name="T29" fmla="*/ 146 h 904"/>
                <a:gd name="T30" fmla="*/ 751 w 902"/>
                <a:gd name="T31" fmla="*/ 136 h 904"/>
                <a:gd name="T32" fmla="*/ 746 w 902"/>
                <a:gd name="T33" fmla="*/ 125 h 904"/>
                <a:gd name="T34" fmla="*/ 736 w 902"/>
                <a:gd name="T35" fmla="*/ 121 h 904"/>
                <a:gd name="T36" fmla="*/ 64 w 902"/>
                <a:gd name="T37" fmla="*/ 42 h 904"/>
                <a:gd name="T38" fmla="*/ 91 w 902"/>
                <a:gd name="T39" fmla="*/ 32 h 904"/>
                <a:gd name="T40" fmla="*/ 804 w 902"/>
                <a:gd name="T41" fmla="*/ 31 h 904"/>
                <a:gd name="T42" fmla="*/ 833 w 902"/>
                <a:gd name="T43" fmla="*/ 39 h 904"/>
                <a:gd name="T44" fmla="*/ 855 w 902"/>
                <a:gd name="T45" fmla="*/ 57 h 904"/>
                <a:gd name="T46" fmla="*/ 869 w 902"/>
                <a:gd name="T47" fmla="*/ 83 h 904"/>
                <a:gd name="T48" fmla="*/ 872 w 902"/>
                <a:gd name="T49" fmla="*/ 586 h 904"/>
                <a:gd name="T50" fmla="*/ 628 w 902"/>
                <a:gd name="T51" fmla="*/ 837 h 904"/>
                <a:gd name="T52" fmla="*/ 617 w 902"/>
                <a:gd name="T53" fmla="*/ 859 h 904"/>
                <a:gd name="T54" fmla="*/ 595 w 902"/>
                <a:gd name="T55" fmla="*/ 871 h 904"/>
                <a:gd name="T56" fmla="*/ 569 w 902"/>
                <a:gd name="T57" fmla="*/ 872 h 904"/>
                <a:gd name="T58" fmla="*/ 91 w 902"/>
                <a:gd name="T59" fmla="*/ 757 h 904"/>
                <a:gd name="T60" fmla="*/ 64 w 902"/>
                <a:gd name="T61" fmla="*/ 738 h 904"/>
                <a:gd name="T62" fmla="*/ 44 w 902"/>
                <a:gd name="T63" fmla="*/ 712 h 904"/>
                <a:gd name="T64" fmla="*/ 32 w 902"/>
                <a:gd name="T65" fmla="*/ 682 h 904"/>
                <a:gd name="T66" fmla="*/ 31 w 902"/>
                <a:gd name="T67" fmla="*/ 98 h 904"/>
                <a:gd name="T68" fmla="*/ 555 w 902"/>
                <a:gd name="T69" fmla="*/ 216 h 904"/>
                <a:gd name="T70" fmla="*/ 584 w 902"/>
                <a:gd name="T71" fmla="*/ 230 h 904"/>
                <a:gd name="T72" fmla="*/ 609 w 902"/>
                <a:gd name="T73" fmla="*/ 254 h 904"/>
                <a:gd name="T74" fmla="*/ 625 w 902"/>
                <a:gd name="T75" fmla="*/ 283 h 904"/>
                <a:gd name="T76" fmla="*/ 632 w 902"/>
                <a:gd name="T77" fmla="*/ 315 h 904"/>
                <a:gd name="T78" fmla="*/ 94 w 902"/>
                <a:gd name="T79" fmla="*/ 1 h 904"/>
                <a:gd name="T80" fmla="*/ 56 w 902"/>
                <a:gd name="T81" fmla="*/ 12 h 904"/>
                <a:gd name="T82" fmla="*/ 25 w 902"/>
                <a:gd name="T83" fmla="*/ 38 h 904"/>
                <a:gd name="T84" fmla="*/ 5 w 902"/>
                <a:gd name="T85" fmla="*/ 74 h 904"/>
                <a:gd name="T86" fmla="*/ 0 w 902"/>
                <a:gd name="T87" fmla="*/ 665 h 904"/>
                <a:gd name="T88" fmla="*/ 8 w 902"/>
                <a:gd name="T89" fmla="*/ 707 h 904"/>
                <a:gd name="T90" fmla="*/ 29 w 902"/>
                <a:gd name="T91" fmla="*/ 745 h 904"/>
                <a:gd name="T92" fmla="*/ 61 w 902"/>
                <a:gd name="T93" fmla="*/ 774 h 904"/>
                <a:gd name="T94" fmla="*/ 100 w 902"/>
                <a:gd name="T95" fmla="*/ 791 h 904"/>
                <a:gd name="T96" fmla="*/ 587 w 902"/>
                <a:gd name="T97" fmla="*/ 904 h 904"/>
                <a:gd name="T98" fmla="*/ 612 w 902"/>
                <a:gd name="T99" fmla="*/ 897 h 904"/>
                <a:gd name="T100" fmla="*/ 637 w 902"/>
                <a:gd name="T101" fmla="*/ 880 h 904"/>
                <a:gd name="T102" fmla="*/ 657 w 902"/>
                <a:gd name="T103" fmla="*/ 848 h 904"/>
                <a:gd name="T104" fmla="*/ 662 w 902"/>
                <a:gd name="T105" fmla="*/ 691 h 904"/>
                <a:gd name="T106" fmla="*/ 828 w 902"/>
                <a:gd name="T107" fmla="*/ 687 h 904"/>
                <a:gd name="T108" fmla="*/ 864 w 902"/>
                <a:gd name="T109" fmla="*/ 668 h 904"/>
                <a:gd name="T110" fmla="*/ 889 w 902"/>
                <a:gd name="T111" fmla="*/ 637 h 904"/>
                <a:gd name="T112" fmla="*/ 902 w 902"/>
                <a:gd name="T113" fmla="*/ 597 h 904"/>
                <a:gd name="T114" fmla="*/ 900 w 902"/>
                <a:gd name="T115" fmla="*/ 84 h 904"/>
                <a:gd name="T116" fmla="*/ 885 w 902"/>
                <a:gd name="T117" fmla="*/ 47 h 904"/>
                <a:gd name="T118" fmla="*/ 856 w 902"/>
                <a:gd name="T119" fmla="*/ 18 h 904"/>
                <a:gd name="T120" fmla="*/ 818 w 902"/>
                <a:gd name="T121" fmla="*/ 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904">
                  <a:moveTo>
                    <a:pt x="872" y="586"/>
                  </a:moveTo>
                  <a:lnTo>
                    <a:pt x="872" y="594"/>
                  </a:lnTo>
                  <a:lnTo>
                    <a:pt x="871" y="601"/>
                  </a:lnTo>
                  <a:lnTo>
                    <a:pt x="869" y="609"/>
                  </a:lnTo>
                  <a:lnTo>
                    <a:pt x="866" y="615"/>
                  </a:lnTo>
                  <a:lnTo>
                    <a:pt x="863" y="623"/>
                  </a:lnTo>
                  <a:lnTo>
                    <a:pt x="859" y="628"/>
                  </a:lnTo>
                  <a:lnTo>
                    <a:pt x="855" y="634"/>
                  </a:lnTo>
                  <a:lnTo>
                    <a:pt x="850" y="640"/>
                  </a:lnTo>
                  <a:lnTo>
                    <a:pt x="845" y="644"/>
                  </a:lnTo>
                  <a:lnTo>
                    <a:pt x="838" y="648"/>
                  </a:lnTo>
                  <a:lnTo>
                    <a:pt x="833" y="653"/>
                  </a:lnTo>
                  <a:lnTo>
                    <a:pt x="826" y="656"/>
                  </a:lnTo>
                  <a:lnTo>
                    <a:pt x="819" y="658"/>
                  </a:lnTo>
                  <a:lnTo>
                    <a:pt x="812" y="660"/>
                  </a:lnTo>
                  <a:lnTo>
                    <a:pt x="804" y="661"/>
                  </a:lnTo>
                  <a:lnTo>
                    <a:pt x="797" y="661"/>
                  </a:lnTo>
                  <a:lnTo>
                    <a:pt x="662" y="661"/>
                  </a:lnTo>
                  <a:lnTo>
                    <a:pt x="662" y="361"/>
                  </a:lnTo>
                  <a:lnTo>
                    <a:pt x="736" y="361"/>
                  </a:lnTo>
                  <a:lnTo>
                    <a:pt x="739" y="361"/>
                  </a:lnTo>
                  <a:lnTo>
                    <a:pt x="741" y="360"/>
                  </a:lnTo>
                  <a:lnTo>
                    <a:pt x="744" y="359"/>
                  </a:lnTo>
                  <a:lnTo>
                    <a:pt x="746" y="357"/>
                  </a:lnTo>
                  <a:lnTo>
                    <a:pt x="748" y="355"/>
                  </a:lnTo>
                  <a:lnTo>
                    <a:pt x="750" y="351"/>
                  </a:lnTo>
                  <a:lnTo>
                    <a:pt x="751" y="349"/>
                  </a:lnTo>
                  <a:lnTo>
                    <a:pt x="751" y="346"/>
                  </a:lnTo>
                  <a:lnTo>
                    <a:pt x="751" y="343"/>
                  </a:lnTo>
                  <a:lnTo>
                    <a:pt x="750" y="340"/>
                  </a:lnTo>
                  <a:lnTo>
                    <a:pt x="748" y="337"/>
                  </a:lnTo>
                  <a:lnTo>
                    <a:pt x="746" y="335"/>
                  </a:lnTo>
                  <a:lnTo>
                    <a:pt x="744" y="333"/>
                  </a:lnTo>
                  <a:lnTo>
                    <a:pt x="741" y="332"/>
                  </a:lnTo>
                  <a:lnTo>
                    <a:pt x="739" y="331"/>
                  </a:lnTo>
                  <a:lnTo>
                    <a:pt x="736" y="331"/>
                  </a:lnTo>
                  <a:lnTo>
                    <a:pt x="662" y="331"/>
                  </a:lnTo>
                  <a:lnTo>
                    <a:pt x="662" y="315"/>
                  </a:lnTo>
                  <a:lnTo>
                    <a:pt x="662" y="304"/>
                  </a:lnTo>
                  <a:lnTo>
                    <a:pt x="659" y="294"/>
                  </a:lnTo>
                  <a:lnTo>
                    <a:pt x="657" y="284"/>
                  </a:lnTo>
                  <a:lnTo>
                    <a:pt x="654" y="273"/>
                  </a:lnTo>
                  <a:lnTo>
                    <a:pt x="650" y="263"/>
                  </a:lnTo>
                  <a:lnTo>
                    <a:pt x="644" y="254"/>
                  </a:lnTo>
                  <a:lnTo>
                    <a:pt x="639" y="244"/>
                  </a:lnTo>
                  <a:lnTo>
                    <a:pt x="633" y="235"/>
                  </a:lnTo>
                  <a:lnTo>
                    <a:pt x="626" y="227"/>
                  </a:lnTo>
                  <a:lnTo>
                    <a:pt x="619" y="219"/>
                  </a:lnTo>
                  <a:lnTo>
                    <a:pt x="610" y="212"/>
                  </a:lnTo>
                  <a:lnTo>
                    <a:pt x="602" y="205"/>
                  </a:lnTo>
                  <a:lnTo>
                    <a:pt x="593" y="199"/>
                  </a:lnTo>
                  <a:lnTo>
                    <a:pt x="583" y="195"/>
                  </a:lnTo>
                  <a:lnTo>
                    <a:pt x="574" y="190"/>
                  </a:lnTo>
                  <a:lnTo>
                    <a:pt x="563" y="187"/>
                  </a:lnTo>
                  <a:lnTo>
                    <a:pt x="426" y="151"/>
                  </a:lnTo>
                  <a:lnTo>
                    <a:pt x="736" y="151"/>
                  </a:lnTo>
                  <a:lnTo>
                    <a:pt x="739" y="150"/>
                  </a:lnTo>
                  <a:lnTo>
                    <a:pt x="741" y="150"/>
                  </a:lnTo>
                  <a:lnTo>
                    <a:pt x="744" y="148"/>
                  </a:lnTo>
                  <a:lnTo>
                    <a:pt x="746" y="146"/>
                  </a:lnTo>
                  <a:lnTo>
                    <a:pt x="748" y="143"/>
                  </a:lnTo>
                  <a:lnTo>
                    <a:pt x="750" y="141"/>
                  </a:lnTo>
                  <a:lnTo>
                    <a:pt x="751" y="138"/>
                  </a:lnTo>
                  <a:lnTo>
                    <a:pt x="751" y="136"/>
                  </a:lnTo>
                  <a:lnTo>
                    <a:pt x="751" y="133"/>
                  </a:lnTo>
                  <a:lnTo>
                    <a:pt x="750" y="129"/>
                  </a:lnTo>
                  <a:lnTo>
                    <a:pt x="748" y="127"/>
                  </a:lnTo>
                  <a:lnTo>
                    <a:pt x="746" y="125"/>
                  </a:lnTo>
                  <a:lnTo>
                    <a:pt x="744" y="123"/>
                  </a:lnTo>
                  <a:lnTo>
                    <a:pt x="741" y="122"/>
                  </a:lnTo>
                  <a:lnTo>
                    <a:pt x="739" y="121"/>
                  </a:lnTo>
                  <a:lnTo>
                    <a:pt x="736" y="121"/>
                  </a:lnTo>
                  <a:lnTo>
                    <a:pt x="313" y="121"/>
                  </a:lnTo>
                  <a:lnTo>
                    <a:pt x="54" y="51"/>
                  </a:lnTo>
                  <a:lnTo>
                    <a:pt x="59" y="47"/>
                  </a:lnTo>
                  <a:lnTo>
                    <a:pt x="64" y="42"/>
                  </a:lnTo>
                  <a:lnTo>
                    <a:pt x="71" y="39"/>
                  </a:lnTo>
                  <a:lnTo>
                    <a:pt x="77" y="36"/>
                  </a:lnTo>
                  <a:lnTo>
                    <a:pt x="84" y="34"/>
                  </a:lnTo>
                  <a:lnTo>
                    <a:pt x="91" y="32"/>
                  </a:lnTo>
                  <a:lnTo>
                    <a:pt x="98" y="31"/>
                  </a:lnTo>
                  <a:lnTo>
                    <a:pt x="105" y="31"/>
                  </a:lnTo>
                  <a:lnTo>
                    <a:pt x="797" y="30"/>
                  </a:lnTo>
                  <a:lnTo>
                    <a:pt x="804" y="31"/>
                  </a:lnTo>
                  <a:lnTo>
                    <a:pt x="812" y="32"/>
                  </a:lnTo>
                  <a:lnTo>
                    <a:pt x="819" y="34"/>
                  </a:lnTo>
                  <a:lnTo>
                    <a:pt x="826" y="36"/>
                  </a:lnTo>
                  <a:lnTo>
                    <a:pt x="833" y="39"/>
                  </a:lnTo>
                  <a:lnTo>
                    <a:pt x="838" y="42"/>
                  </a:lnTo>
                  <a:lnTo>
                    <a:pt x="845" y="48"/>
                  </a:lnTo>
                  <a:lnTo>
                    <a:pt x="850" y="52"/>
                  </a:lnTo>
                  <a:lnTo>
                    <a:pt x="855" y="57"/>
                  </a:lnTo>
                  <a:lnTo>
                    <a:pt x="859" y="63"/>
                  </a:lnTo>
                  <a:lnTo>
                    <a:pt x="863" y="69"/>
                  </a:lnTo>
                  <a:lnTo>
                    <a:pt x="866" y="76"/>
                  </a:lnTo>
                  <a:lnTo>
                    <a:pt x="869" y="83"/>
                  </a:lnTo>
                  <a:lnTo>
                    <a:pt x="871" y="90"/>
                  </a:lnTo>
                  <a:lnTo>
                    <a:pt x="872" y="97"/>
                  </a:lnTo>
                  <a:lnTo>
                    <a:pt x="872" y="106"/>
                  </a:lnTo>
                  <a:lnTo>
                    <a:pt x="872" y="586"/>
                  </a:lnTo>
                  <a:close/>
                  <a:moveTo>
                    <a:pt x="632" y="817"/>
                  </a:moveTo>
                  <a:lnTo>
                    <a:pt x="632" y="824"/>
                  </a:lnTo>
                  <a:lnTo>
                    <a:pt x="630" y="831"/>
                  </a:lnTo>
                  <a:lnTo>
                    <a:pt x="628" y="837"/>
                  </a:lnTo>
                  <a:lnTo>
                    <a:pt x="626" y="844"/>
                  </a:lnTo>
                  <a:lnTo>
                    <a:pt x="624" y="849"/>
                  </a:lnTo>
                  <a:lnTo>
                    <a:pt x="620" y="854"/>
                  </a:lnTo>
                  <a:lnTo>
                    <a:pt x="617" y="859"/>
                  </a:lnTo>
                  <a:lnTo>
                    <a:pt x="611" y="863"/>
                  </a:lnTo>
                  <a:lnTo>
                    <a:pt x="607" y="866"/>
                  </a:lnTo>
                  <a:lnTo>
                    <a:pt x="602" y="869"/>
                  </a:lnTo>
                  <a:lnTo>
                    <a:pt x="595" y="871"/>
                  </a:lnTo>
                  <a:lnTo>
                    <a:pt x="589" y="872"/>
                  </a:lnTo>
                  <a:lnTo>
                    <a:pt x="583" y="874"/>
                  </a:lnTo>
                  <a:lnTo>
                    <a:pt x="576" y="874"/>
                  </a:lnTo>
                  <a:lnTo>
                    <a:pt x="569" y="872"/>
                  </a:lnTo>
                  <a:lnTo>
                    <a:pt x="563" y="871"/>
                  </a:lnTo>
                  <a:lnTo>
                    <a:pt x="106" y="762"/>
                  </a:lnTo>
                  <a:lnTo>
                    <a:pt x="99" y="760"/>
                  </a:lnTo>
                  <a:lnTo>
                    <a:pt x="91" y="757"/>
                  </a:lnTo>
                  <a:lnTo>
                    <a:pt x="84" y="753"/>
                  </a:lnTo>
                  <a:lnTo>
                    <a:pt x="77" y="749"/>
                  </a:lnTo>
                  <a:lnTo>
                    <a:pt x="71" y="744"/>
                  </a:lnTo>
                  <a:lnTo>
                    <a:pt x="64" y="738"/>
                  </a:lnTo>
                  <a:lnTo>
                    <a:pt x="58" y="732"/>
                  </a:lnTo>
                  <a:lnTo>
                    <a:pt x="53" y="726"/>
                  </a:lnTo>
                  <a:lnTo>
                    <a:pt x="48" y="719"/>
                  </a:lnTo>
                  <a:lnTo>
                    <a:pt x="44" y="712"/>
                  </a:lnTo>
                  <a:lnTo>
                    <a:pt x="40" y="705"/>
                  </a:lnTo>
                  <a:lnTo>
                    <a:pt x="37" y="697"/>
                  </a:lnTo>
                  <a:lnTo>
                    <a:pt x="33" y="689"/>
                  </a:lnTo>
                  <a:lnTo>
                    <a:pt x="32" y="682"/>
                  </a:lnTo>
                  <a:lnTo>
                    <a:pt x="31" y="673"/>
                  </a:lnTo>
                  <a:lnTo>
                    <a:pt x="30" y="665"/>
                  </a:lnTo>
                  <a:lnTo>
                    <a:pt x="30" y="106"/>
                  </a:lnTo>
                  <a:lnTo>
                    <a:pt x="31" y="98"/>
                  </a:lnTo>
                  <a:lnTo>
                    <a:pt x="32" y="91"/>
                  </a:lnTo>
                  <a:lnTo>
                    <a:pt x="33" y="84"/>
                  </a:lnTo>
                  <a:lnTo>
                    <a:pt x="35" y="78"/>
                  </a:lnTo>
                  <a:lnTo>
                    <a:pt x="555" y="216"/>
                  </a:lnTo>
                  <a:lnTo>
                    <a:pt x="563" y="218"/>
                  </a:lnTo>
                  <a:lnTo>
                    <a:pt x="570" y="222"/>
                  </a:lnTo>
                  <a:lnTo>
                    <a:pt x="578" y="226"/>
                  </a:lnTo>
                  <a:lnTo>
                    <a:pt x="584" y="230"/>
                  </a:lnTo>
                  <a:lnTo>
                    <a:pt x="592" y="235"/>
                  </a:lnTo>
                  <a:lnTo>
                    <a:pt x="597" y="241"/>
                  </a:lnTo>
                  <a:lnTo>
                    <a:pt x="604" y="247"/>
                  </a:lnTo>
                  <a:lnTo>
                    <a:pt x="609" y="254"/>
                  </a:lnTo>
                  <a:lnTo>
                    <a:pt x="614" y="260"/>
                  </a:lnTo>
                  <a:lnTo>
                    <a:pt x="619" y="268"/>
                  </a:lnTo>
                  <a:lnTo>
                    <a:pt x="622" y="275"/>
                  </a:lnTo>
                  <a:lnTo>
                    <a:pt x="625" y="283"/>
                  </a:lnTo>
                  <a:lnTo>
                    <a:pt x="628" y="291"/>
                  </a:lnTo>
                  <a:lnTo>
                    <a:pt x="630" y="299"/>
                  </a:lnTo>
                  <a:lnTo>
                    <a:pt x="632" y="307"/>
                  </a:lnTo>
                  <a:lnTo>
                    <a:pt x="632" y="315"/>
                  </a:lnTo>
                  <a:lnTo>
                    <a:pt x="632" y="817"/>
                  </a:lnTo>
                  <a:close/>
                  <a:moveTo>
                    <a:pt x="797" y="0"/>
                  </a:moveTo>
                  <a:lnTo>
                    <a:pt x="105" y="0"/>
                  </a:lnTo>
                  <a:lnTo>
                    <a:pt x="94" y="1"/>
                  </a:lnTo>
                  <a:lnTo>
                    <a:pt x="85" y="2"/>
                  </a:lnTo>
                  <a:lnTo>
                    <a:pt x="74" y="5"/>
                  </a:lnTo>
                  <a:lnTo>
                    <a:pt x="64" y="8"/>
                  </a:lnTo>
                  <a:lnTo>
                    <a:pt x="56" y="12"/>
                  </a:lnTo>
                  <a:lnTo>
                    <a:pt x="46" y="18"/>
                  </a:lnTo>
                  <a:lnTo>
                    <a:pt x="39" y="24"/>
                  </a:lnTo>
                  <a:lnTo>
                    <a:pt x="31" y="31"/>
                  </a:lnTo>
                  <a:lnTo>
                    <a:pt x="25" y="38"/>
                  </a:lnTo>
                  <a:lnTo>
                    <a:pt x="18" y="47"/>
                  </a:lnTo>
                  <a:lnTo>
                    <a:pt x="13" y="55"/>
                  </a:lnTo>
                  <a:lnTo>
                    <a:pt x="9" y="64"/>
                  </a:lnTo>
                  <a:lnTo>
                    <a:pt x="5" y="74"/>
                  </a:lnTo>
                  <a:lnTo>
                    <a:pt x="2" y="84"/>
                  </a:lnTo>
                  <a:lnTo>
                    <a:pt x="1" y="95"/>
                  </a:lnTo>
                  <a:lnTo>
                    <a:pt x="0" y="106"/>
                  </a:lnTo>
                  <a:lnTo>
                    <a:pt x="0" y="665"/>
                  </a:lnTo>
                  <a:lnTo>
                    <a:pt x="1" y="676"/>
                  </a:lnTo>
                  <a:lnTo>
                    <a:pt x="2" y="687"/>
                  </a:lnTo>
                  <a:lnTo>
                    <a:pt x="4" y="697"/>
                  </a:lnTo>
                  <a:lnTo>
                    <a:pt x="8" y="707"/>
                  </a:lnTo>
                  <a:lnTo>
                    <a:pt x="12" y="717"/>
                  </a:lnTo>
                  <a:lnTo>
                    <a:pt x="17" y="727"/>
                  </a:lnTo>
                  <a:lnTo>
                    <a:pt x="23" y="735"/>
                  </a:lnTo>
                  <a:lnTo>
                    <a:pt x="29" y="745"/>
                  </a:lnTo>
                  <a:lnTo>
                    <a:pt x="37" y="752"/>
                  </a:lnTo>
                  <a:lnTo>
                    <a:pt x="44" y="761"/>
                  </a:lnTo>
                  <a:lnTo>
                    <a:pt x="53" y="767"/>
                  </a:lnTo>
                  <a:lnTo>
                    <a:pt x="61" y="774"/>
                  </a:lnTo>
                  <a:lnTo>
                    <a:pt x="70" y="779"/>
                  </a:lnTo>
                  <a:lnTo>
                    <a:pt x="79" y="785"/>
                  </a:lnTo>
                  <a:lnTo>
                    <a:pt x="89" y="789"/>
                  </a:lnTo>
                  <a:lnTo>
                    <a:pt x="100" y="791"/>
                  </a:lnTo>
                  <a:lnTo>
                    <a:pt x="555" y="900"/>
                  </a:lnTo>
                  <a:lnTo>
                    <a:pt x="567" y="902"/>
                  </a:lnTo>
                  <a:lnTo>
                    <a:pt x="579" y="904"/>
                  </a:lnTo>
                  <a:lnTo>
                    <a:pt x="587" y="904"/>
                  </a:lnTo>
                  <a:lnTo>
                    <a:pt x="593" y="902"/>
                  </a:lnTo>
                  <a:lnTo>
                    <a:pt x="599" y="901"/>
                  </a:lnTo>
                  <a:lnTo>
                    <a:pt x="606" y="899"/>
                  </a:lnTo>
                  <a:lnTo>
                    <a:pt x="612" y="897"/>
                  </a:lnTo>
                  <a:lnTo>
                    <a:pt x="619" y="894"/>
                  </a:lnTo>
                  <a:lnTo>
                    <a:pt x="624" y="891"/>
                  </a:lnTo>
                  <a:lnTo>
                    <a:pt x="630" y="886"/>
                  </a:lnTo>
                  <a:lnTo>
                    <a:pt x="637" y="880"/>
                  </a:lnTo>
                  <a:lnTo>
                    <a:pt x="643" y="872"/>
                  </a:lnTo>
                  <a:lnTo>
                    <a:pt x="649" y="865"/>
                  </a:lnTo>
                  <a:lnTo>
                    <a:pt x="653" y="856"/>
                  </a:lnTo>
                  <a:lnTo>
                    <a:pt x="657" y="848"/>
                  </a:lnTo>
                  <a:lnTo>
                    <a:pt x="659" y="838"/>
                  </a:lnTo>
                  <a:lnTo>
                    <a:pt x="662" y="827"/>
                  </a:lnTo>
                  <a:lnTo>
                    <a:pt x="662" y="817"/>
                  </a:lnTo>
                  <a:lnTo>
                    <a:pt x="662" y="691"/>
                  </a:lnTo>
                  <a:lnTo>
                    <a:pt x="797" y="691"/>
                  </a:lnTo>
                  <a:lnTo>
                    <a:pt x="807" y="691"/>
                  </a:lnTo>
                  <a:lnTo>
                    <a:pt x="818" y="689"/>
                  </a:lnTo>
                  <a:lnTo>
                    <a:pt x="828" y="687"/>
                  </a:lnTo>
                  <a:lnTo>
                    <a:pt x="837" y="684"/>
                  </a:lnTo>
                  <a:lnTo>
                    <a:pt x="847" y="678"/>
                  </a:lnTo>
                  <a:lnTo>
                    <a:pt x="856" y="674"/>
                  </a:lnTo>
                  <a:lnTo>
                    <a:pt x="864" y="668"/>
                  </a:lnTo>
                  <a:lnTo>
                    <a:pt x="872" y="661"/>
                  </a:lnTo>
                  <a:lnTo>
                    <a:pt x="878" y="654"/>
                  </a:lnTo>
                  <a:lnTo>
                    <a:pt x="885" y="645"/>
                  </a:lnTo>
                  <a:lnTo>
                    <a:pt x="889" y="637"/>
                  </a:lnTo>
                  <a:lnTo>
                    <a:pt x="894" y="627"/>
                  </a:lnTo>
                  <a:lnTo>
                    <a:pt x="897" y="617"/>
                  </a:lnTo>
                  <a:lnTo>
                    <a:pt x="900" y="608"/>
                  </a:lnTo>
                  <a:lnTo>
                    <a:pt x="902" y="597"/>
                  </a:lnTo>
                  <a:lnTo>
                    <a:pt x="902" y="586"/>
                  </a:lnTo>
                  <a:lnTo>
                    <a:pt x="902" y="106"/>
                  </a:lnTo>
                  <a:lnTo>
                    <a:pt x="902" y="95"/>
                  </a:lnTo>
                  <a:lnTo>
                    <a:pt x="900" y="84"/>
                  </a:lnTo>
                  <a:lnTo>
                    <a:pt x="897" y="74"/>
                  </a:lnTo>
                  <a:lnTo>
                    <a:pt x="894" y="64"/>
                  </a:lnTo>
                  <a:lnTo>
                    <a:pt x="889" y="55"/>
                  </a:lnTo>
                  <a:lnTo>
                    <a:pt x="885" y="47"/>
                  </a:lnTo>
                  <a:lnTo>
                    <a:pt x="878" y="38"/>
                  </a:lnTo>
                  <a:lnTo>
                    <a:pt x="872" y="31"/>
                  </a:lnTo>
                  <a:lnTo>
                    <a:pt x="864" y="24"/>
                  </a:lnTo>
                  <a:lnTo>
                    <a:pt x="856" y="18"/>
                  </a:lnTo>
                  <a:lnTo>
                    <a:pt x="847" y="12"/>
                  </a:lnTo>
                  <a:lnTo>
                    <a:pt x="837" y="8"/>
                  </a:lnTo>
                  <a:lnTo>
                    <a:pt x="828" y="5"/>
                  </a:lnTo>
                  <a:lnTo>
                    <a:pt x="818" y="2"/>
                  </a:lnTo>
                  <a:lnTo>
                    <a:pt x="807" y="1"/>
                  </a:lnTo>
                  <a:lnTo>
                    <a:pt x="7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5" name="Freeform 143">
              <a:extLst>
                <a:ext uri="{FF2B5EF4-FFF2-40B4-BE49-F238E27FC236}">
                  <a16:creationId xmlns:a16="http://schemas.microsoft.com/office/drawing/2014/main" id="{63E67087-B085-4C8D-9717-5C41025042B2}"/>
                </a:ext>
              </a:extLst>
            </p:cNvPr>
            <p:cNvSpPr>
              <a:spLocks noEditPoints="1"/>
            </p:cNvSpPr>
            <p:nvPr/>
          </p:nvSpPr>
          <p:spPr bwMode="auto">
            <a:xfrm>
              <a:off x="8869363" y="2063433"/>
              <a:ext cx="57150" cy="57150"/>
            </a:xfrm>
            <a:custGeom>
              <a:avLst/>
              <a:gdLst>
                <a:gd name="T0" fmla="*/ 79 w 181"/>
                <a:gd name="T1" fmla="*/ 149 h 180"/>
                <a:gd name="T2" fmla="*/ 62 w 181"/>
                <a:gd name="T3" fmla="*/ 143 h 180"/>
                <a:gd name="T4" fmla="*/ 48 w 181"/>
                <a:gd name="T5" fmla="*/ 133 h 180"/>
                <a:gd name="T6" fmla="*/ 38 w 181"/>
                <a:gd name="T7" fmla="*/ 119 h 180"/>
                <a:gd name="T8" fmla="*/ 32 w 181"/>
                <a:gd name="T9" fmla="*/ 102 h 180"/>
                <a:gd name="T10" fmla="*/ 30 w 181"/>
                <a:gd name="T11" fmla="*/ 84 h 180"/>
                <a:gd name="T12" fmla="*/ 35 w 181"/>
                <a:gd name="T13" fmla="*/ 66 h 180"/>
                <a:gd name="T14" fmla="*/ 44 w 181"/>
                <a:gd name="T15" fmla="*/ 51 h 180"/>
                <a:gd name="T16" fmla="*/ 57 w 181"/>
                <a:gd name="T17" fmla="*/ 41 h 180"/>
                <a:gd name="T18" fmla="*/ 72 w 181"/>
                <a:gd name="T19" fmla="*/ 33 h 180"/>
                <a:gd name="T20" fmla="*/ 90 w 181"/>
                <a:gd name="T21" fmla="*/ 30 h 180"/>
                <a:gd name="T22" fmla="*/ 109 w 181"/>
                <a:gd name="T23" fmla="*/ 33 h 180"/>
                <a:gd name="T24" fmla="*/ 124 w 181"/>
                <a:gd name="T25" fmla="*/ 41 h 180"/>
                <a:gd name="T26" fmla="*/ 137 w 181"/>
                <a:gd name="T27" fmla="*/ 51 h 180"/>
                <a:gd name="T28" fmla="*/ 146 w 181"/>
                <a:gd name="T29" fmla="*/ 66 h 180"/>
                <a:gd name="T30" fmla="*/ 151 w 181"/>
                <a:gd name="T31" fmla="*/ 84 h 180"/>
                <a:gd name="T32" fmla="*/ 149 w 181"/>
                <a:gd name="T33" fmla="*/ 102 h 180"/>
                <a:gd name="T34" fmla="*/ 143 w 181"/>
                <a:gd name="T35" fmla="*/ 119 h 180"/>
                <a:gd name="T36" fmla="*/ 132 w 181"/>
                <a:gd name="T37" fmla="*/ 133 h 180"/>
                <a:gd name="T38" fmla="*/ 119 w 181"/>
                <a:gd name="T39" fmla="*/ 143 h 180"/>
                <a:gd name="T40" fmla="*/ 102 w 181"/>
                <a:gd name="T41" fmla="*/ 149 h 180"/>
                <a:gd name="T42" fmla="*/ 90 w 181"/>
                <a:gd name="T43" fmla="*/ 0 h 180"/>
                <a:gd name="T44" fmla="*/ 64 w 181"/>
                <a:gd name="T45" fmla="*/ 4 h 180"/>
                <a:gd name="T46" fmla="*/ 40 w 181"/>
                <a:gd name="T47" fmla="*/ 15 h 180"/>
                <a:gd name="T48" fmla="*/ 21 w 181"/>
                <a:gd name="T49" fmla="*/ 33 h 180"/>
                <a:gd name="T50" fmla="*/ 7 w 181"/>
                <a:gd name="T51" fmla="*/ 55 h 180"/>
                <a:gd name="T52" fmla="*/ 0 w 181"/>
                <a:gd name="T53" fmla="*/ 82 h 180"/>
                <a:gd name="T54" fmla="*/ 1 w 181"/>
                <a:gd name="T55" fmla="*/ 108 h 180"/>
                <a:gd name="T56" fmla="*/ 11 w 181"/>
                <a:gd name="T57" fmla="*/ 133 h 180"/>
                <a:gd name="T58" fmla="*/ 26 w 181"/>
                <a:gd name="T59" fmla="*/ 154 h 180"/>
                <a:gd name="T60" fmla="*/ 48 w 181"/>
                <a:gd name="T61" fmla="*/ 169 h 180"/>
                <a:gd name="T62" fmla="*/ 72 w 181"/>
                <a:gd name="T63" fmla="*/ 179 h 180"/>
                <a:gd name="T64" fmla="*/ 99 w 181"/>
                <a:gd name="T65" fmla="*/ 180 h 180"/>
                <a:gd name="T66" fmla="*/ 126 w 181"/>
                <a:gd name="T67" fmla="*/ 174 h 180"/>
                <a:gd name="T68" fmla="*/ 147 w 181"/>
                <a:gd name="T69" fmla="*/ 160 h 180"/>
                <a:gd name="T70" fmla="*/ 166 w 181"/>
                <a:gd name="T71" fmla="*/ 140 h 180"/>
                <a:gd name="T72" fmla="*/ 176 w 181"/>
                <a:gd name="T73" fmla="*/ 117 h 180"/>
                <a:gd name="T74" fmla="*/ 181 w 181"/>
                <a:gd name="T75" fmla="*/ 90 h 180"/>
                <a:gd name="T76" fmla="*/ 176 w 181"/>
                <a:gd name="T77" fmla="*/ 63 h 180"/>
                <a:gd name="T78" fmla="*/ 166 w 181"/>
                <a:gd name="T79" fmla="*/ 40 h 180"/>
                <a:gd name="T80" fmla="*/ 147 w 181"/>
                <a:gd name="T81" fmla="*/ 20 h 180"/>
                <a:gd name="T82" fmla="*/ 126 w 181"/>
                <a:gd name="T83" fmla="*/ 8 h 180"/>
                <a:gd name="T84" fmla="*/ 99 w 181"/>
                <a:gd name="T8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0">
                  <a:moveTo>
                    <a:pt x="90" y="150"/>
                  </a:moveTo>
                  <a:lnTo>
                    <a:pt x="84" y="150"/>
                  </a:lnTo>
                  <a:lnTo>
                    <a:pt x="79" y="149"/>
                  </a:lnTo>
                  <a:lnTo>
                    <a:pt x="72" y="148"/>
                  </a:lnTo>
                  <a:lnTo>
                    <a:pt x="67" y="146"/>
                  </a:lnTo>
                  <a:lnTo>
                    <a:pt x="62" y="143"/>
                  </a:lnTo>
                  <a:lnTo>
                    <a:pt x="57" y="140"/>
                  </a:lnTo>
                  <a:lnTo>
                    <a:pt x="52" y="136"/>
                  </a:lnTo>
                  <a:lnTo>
                    <a:pt x="48" y="133"/>
                  </a:lnTo>
                  <a:lnTo>
                    <a:pt x="44" y="129"/>
                  </a:lnTo>
                  <a:lnTo>
                    <a:pt x="40" y="123"/>
                  </a:lnTo>
                  <a:lnTo>
                    <a:pt x="38" y="119"/>
                  </a:lnTo>
                  <a:lnTo>
                    <a:pt x="35" y="114"/>
                  </a:lnTo>
                  <a:lnTo>
                    <a:pt x="33" y="108"/>
                  </a:lnTo>
                  <a:lnTo>
                    <a:pt x="32" y="102"/>
                  </a:lnTo>
                  <a:lnTo>
                    <a:pt x="30" y="97"/>
                  </a:lnTo>
                  <a:lnTo>
                    <a:pt x="30" y="90"/>
                  </a:lnTo>
                  <a:lnTo>
                    <a:pt x="30" y="84"/>
                  </a:lnTo>
                  <a:lnTo>
                    <a:pt x="32" y="78"/>
                  </a:lnTo>
                  <a:lnTo>
                    <a:pt x="33" y="72"/>
                  </a:lnTo>
                  <a:lnTo>
                    <a:pt x="35" y="66"/>
                  </a:lnTo>
                  <a:lnTo>
                    <a:pt x="38" y="61"/>
                  </a:lnTo>
                  <a:lnTo>
                    <a:pt x="40" y="57"/>
                  </a:lnTo>
                  <a:lnTo>
                    <a:pt x="44" y="51"/>
                  </a:lnTo>
                  <a:lnTo>
                    <a:pt x="48" y="47"/>
                  </a:lnTo>
                  <a:lnTo>
                    <a:pt x="52" y="44"/>
                  </a:lnTo>
                  <a:lnTo>
                    <a:pt x="57" y="41"/>
                  </a:lnTo>
                  <a:lnTo>
                    <a:pt x="62" y="38"/>
                  </a:lnTo>
                  <a:lnTo>
                    <a:pt x="67" y="34"/>
                  </a:lnTo>
                  <a:lnTo>
                    <a:pt x="72" y="33"/>
                  </a:lnTo>
                  <a:lnTo>
                    <a:pt x="79" y="31"/>
                  </a:lnTo>
                  <a:lnTo>
                    <a:pt x="84" y="30"/>
                  </a:lnTo>
                  <a:lnTo>
                    <a:pt x="90" y="30"/>
                  </a:lnTo>
                  <a:lnTo>
                    <a:pt x="97" y="30"/>
                  </a:lnTo>
                  <a:lnTo>
                    <a:pt x="102" y="31"/>
                  </a:lnTo>
                  <a:lnTo>
                    <a:pt x="109" y="33"/>
                  </a:lnTo>
                  <a:lnTo>
                    <a:pt x="114" y="34"/>
                  </a:lnTo>
                  <a:lnTo>
                    <a:pt x="119" y="38"/>
                  </a:lnTo>
                  <a:lnTo>
                    <a:pt x="124" y="41"/>
                  </a:lnTo>
                  <a:lnTo>
                    <a:pt x="129" y="44"/>
                  </a:lnTo>
                  <a:lnTo>
                    <a:pt x="132" y="47"/>
                  </a:lnTo>
                  <a:lnTo>
                    <a:pt x="137" y="51"/>
                  </a:lnTo>
                  <a:lnTo>
                    <a:pt x="140" y="57"/>
                  </a:lnTo>
                  <a:lnTo>
                    <a:pt x="143" y="61"/>
                  </a:lnTo>
                  <a:lnTo>
                    <a:pt x="146" y="66"/>
                  </a:lnTo>
                  <a:lnTo>
                    <a:pt x="147" y="72"/>
                  </a:lnTo>
                  <a:lnTo>
                    <a:pt x="149" y="78"/>
                  </a:lnTo>
                  <a:lnTo>
                    <a:pt x="151" y="84"/>
                  </a:lnTo>
                  <a:lnTo>
                    <a:pt x="151" y="90"/>
                  </a:lnTo>
                  <a:lnTo>
                    <a:pt x="151" y="97"/>
                  </a:lnTo>
                  <a:lnTo>
                    <a:pt x="149" y="102"/>
                  </a:lnTo>
                  <a:lnTo>
                    <a:pt x="147" y="108"/>
                  </a:lnTo>
                  <a:lnTo>
                    <a:pt x="146" y="114"/>
                  </a:lnTo>
                  <a:lnTo>
                    <a:pt x="143" y="119"/>
                  </a:lnTo>
                  <a:lnTo>
                    <a:pt x="140" y="123"/>
                  </a:lnTo>
                  <a:lnTo>
                    <a:pt x="137" y="129"/>
                  </a:lnTo>
                  <a:lnTo>
                    <a:pt x="132" y="133"/>
                  </a:lnTo>
                  <a:lnTo>
                    <a:pt x="129" y="136"/>
                  </a:lnTo>
                  <a:lnTo>
                    <a:pt x="124" y="140"/>
                  </a:lnTo>
                  <a:lnTo>
                    <a:pt x="119" y="143"/>
                  </a:lnTo>
                  <a:lnTo>
                    <a:pt x="114" y="146"/>
                  </a:lnTo>
                  <a:lnTo>
                    <a:pt x="109" y="148"/>
                  </a:lnTo>
                  <a:lnTo>
                    <a:pt x="102" y="149"/>
                  </a:lnTo>
                  <a:lnTo>
                    <a:pt x="97" y="150"/>
                  </a:lnTo>
                  <a:lnTo>
                    <a:pt x="90" y="150"/>
                  </a:lnTo>
                  <a:close/>
                  <a:moveTo>
                    <a:pt x="90" y="0"/>
                  </a:moveTo>
                  <a:lnTo>
                    <a:pt x="81" y="0"/>
                  </a:lnTo>
                  <a:lnTo>
                    <a:pt x="72" y="2"/>
                  </a:lnTo>
                  <a:lnTo>
                    <a:pt x="64" y="4"/>
                  </a:lnTo>
                  <a:lnTo>
                    <a:pt x="55" y="8"/>
                  </a:lnTo>
                  <a:lnTo>
                    <a:pt x="48" y="11"/>
                  </a:lnTo>
                  <a:lnTo>
                    <a:pt x="40" y="15"/>
                  </a:lnTo>
                  <a:lnTo>
                    <a:pt x="33" y="20"/>
                  </a:lnTo>
                  <a:lnTo>
                    <a:pt x="26" y="27"/>
                  </a:lnTo>
                  <a:lnTo>
                    <a:pt x="21" y="33"/>
                  </a:lnTo>
                  <a:lnTo>
                    <a:pt x="15" y="40"/>
                  </a:lnTo>
                  <a:lnTo>
                    <a:pt x="11" y="47"/>
                  </a:lnTo>
                  <a:lnTo>
                    <a:pt x="7" y="55"/>
                  </a:lnTo>
                  <a:lnTo>
                    <a:pt x="5" y="63"/>
                  </a:lnTo>
                  <a:lnTo>
                    <a:pt x="1" y="72"/>
                  </a:lnTo>
                  <a:lnTo>
                    <a:pt x="0" y="82"/>
                  </a:lnTo>
                  <a:lnTo>
                    <a:pt x="0" y="90"/>
                  </a:lnTo>
                  <a:lnTo>
                    <a:pt x="0" y="100"/>
                  </a:lnTo>
                  <a:lnTo>
                    <a:pt x="1" y="108"/>
                  </a:lnTo>
                  <a:lnTo>
                    <a:pt x="5" y="117"/>
                  </a:lnTo>
                  <a:lnTo>
                    <a:pt x="7" y="125"/>
                  </a:lnTo>
                  <a:lnTo>
                    <a:pt x="11" y="133"/>
                  </a:lnTo>
                  <a:lnTo>
                    <a:pt x="15" y="140"/>
                  </a:lnTo>
                  <a:lnTo>
                    <a:pt x="21" y="148"/>
                  </a:lnTo>
                  <a:lnTo>
                    <a:pt x="26" y="154"/>
                  </a:lnTo>
                  <a:lnTo>
                    <a:pt x="33" y="160"/>
                  </a:lnTo>
                  <a:lnTo>
                    <a:pt x="40" y="165"/>
                  </a:lnTo>
                  <a:lnTo>
                    <a:pt x="48" y="169"/>
                  </a:lnTo>
                  <a:lnTo>
                    <a:pt x="55" y="174"/>
                  </a:lnTo>
                  <a:lnTo>
                    <a:pt x="64" y="176"/>
                  </a:lnTo>
                  <a:lnTo>
                    <a:pt x="72" y="179"/>
                  </a:lnTo>
                  <a:lnTo>
                    <a:pt x="81" y="180"/>
                  </a:lnTo>
                  <a:lnTo>
                    <a:pt x="90" y="180"/>
                  </a:lnTo>
                  <a:lnTo>
                    <a:pt x="99" y="180"/>
                  </a:lnTo>
                  <a:lnTo>
                    <a:pt x="109" y="179"/>
                  </a:lnTo>
                  <a:lnTo>
                    <a:pt x="117" y="176"/>
                  </a:lnTo>
                  <a:lnTo>
                    <a:pt x="126" y="174"/>
                  </a:lnTo>
                  <a:lnTo>
                    <a:pt x="133" y="169"/>
                  </a:lnTo>
                  <a:lnTo>
                    <a:pt x="141" y="165"/>
                  </a:lnTo>
                  <a:lnTo>
                    <a:pt x="147" y="160"/>
                  </a:lnTo>
                  <a:lnTo>
                    <a:pt x="154" y="154"/>
                  </a:lnTo>
                  <a:lnTo>
                    <a:pt x="160" y="148"/>
                  </a:lnTo>
                  <a:lnTo>
                    <a:pt x="166" y="140"/>
                  </a:lnTo>
                  <a:lnTo>
                    <a:pt x="170" y="133"/>
                  </a:lnTo>
                  <a:lnTo>
                    <a:pt x="173" y="125"/>
                  </a:lnTo>
                  <a:lnTo>
                    <a:pt x="176" y="117"/>
                  </a:lnTo>
                  <a:lnTo>
                    <a:pt x="178" y="108"/>
                  </a:lnTo>
                  <a:lnTo>
                    <a:pt x="181" y="100"/>
                  </a:lnTo>
                  <a:lnTo>
                    <a:pt x="181" y="90"/>
                  </a:lnTo>
                  <a:lnTo>
                    <a:pt x="181" y="82"/>
                  </a:lnTo>
                  <a:lnTo>
                    <a:pt x="178" y="72"/>
                  </a:lnTo>
                  <a:lnTo>
                    <a:pt x="176" y="63"/>
                  </a:lnTo>
                  <a:lnTo>
                    <a:pt x="173" y="55"/>
                  </a:lnTo>
                  <a:lnTo>
                    <a:pt x="170" y="47"/>
                  </a:lnTo>
                  <a:lnTo>
                    <a:pt x="166" y="40"/>
                  </a:lnTo>
                  <a:lnTo>
                    <a:pt x="160" y="33"/>
                  </a:lnTo>
                  <a:lnTo>
                    <a:pt x="154" y="27"/>
                  </a:lnTo>
                  <a:lnTo>
                    <a:pt x="147" y="20"/>
                  </a:lnTo>
                  <a:lnTo>
                    <a:pt x="141" y="15"/>
                  </a:lnTo>
                  <a:lnTo>
                    <a:pt x="133" y="11"/>
                  </a:lnTo>
                  <a:lnTo>
                    <a:pt x="126" y="8"/>
                  </a:lnTo>
                  <a:lnTo>
                    <a:pt x="117" y="4"/>
                  </a:lnTo>
                  <a:lnTo>
                    <a:pt x="109" y="2"/>
                  </a:lnTo>
                  <a:lnTo>
                    <a:pt x="99"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56" name="Group 71">
            <a:extLst>
              <a:ext uri="{FF2B5EF4-FFF2-40B4-BE49-F238E27FC236}">
                <a16:creationId xmlns:a16="http://schemas.microsoft.com/office/drawing/2014/main" id="{3331B5C5-ED9C-4CE5-BF91-8293F09B648C}"/>
              </a:ext>
            </a:extLst>
          </p:cNvPr>
          <p:cNvGrpSpPr>
            <a:grpSpLocks noChangeAspect="1"/>
          </p:cNvGrpSpPr>
          <p:nvPr/>
        </p:nvGrpSpPr>
        <p:grpSpPr>
          <a:xfrm>
            <a:off x="7071144" y="2233311"/>
            <a:ext cx="284042" cy="285619"/>
            <a:chOff x="8162925" y="2496820"/>
            <a:chExt cx="285751" cy="287338"/>
          </a:xfrm>
          <a:solidFill>
            <a:schemeClr val="bg2"/>
          </a:solidFill>
          <a:effectLst/>
        </p:grpSpPr>
        <p:sp>
          <p:nvSpPr>
            <p:cNvPr id="1657" name="Freeform 110">
              <a:extLst>
                <a:ext uri="{FF2B5EF4-FFF2-40B4-BE49-F238E27FC236}">
                  <a16:creationId xmlns:a16="http://schemas.microsoft.com/office/drawing/2014/main" id="{049AD97C-9E21-4822-811C-279B48F9184D}"/>
                </a:ext>
              </a:extLst>
            </p:cNvPr>
            <p:cNvSpPr>
              <a:spLocks noEditPoints="1"/>
            </p:cNvSpPr>
            <p:nvPr/>
          </p:nvSpPr>
          <p:spPr bwMode="auto">
            <a:xfrm>
              <a:off x="8162925" y="2496820"/>
              <a:ext cx="95250" cy="96838"/>
            </a:xfrm>
            <a:custGeom>
              <a:avLst/>
              <a:gdLst>
                <a:gd name="T0" fmla="*/ 270 w 300"/>
                <a:gd name="T1" fmla="*/ 271 h 301"/>
                <a:gd name="T2" fmla="*/ 30 w 300"/>
                <a:gd name="T3" fmla="*/ 271 h 301"/>
                <a:gd name="T4" fmla="*/ 30 w 300"/>
                <a:gd name="T5" fmla="*/ 30 h 301"/>
                <a:gd name="T6" fmla="*/ 270 w 300"/>
                <a:gd name="T7" fmla="*/ 30 h 301"/>
                <a:gd name="T8" fmla="*/ 270 w 300"/>
                <a:gd name="T9" fmla="*/ 271 h 301"/>
                <a:gd name="T10" fmla="*/ 285 w 300"/>
                <a:gd name="T11" fmla="*/ 0 h 301"/>
                <a:gd name="T12" fmla="*/ 15 w 300"/>
                <a:gd name="T13" fmla="*/ 0 h 301"/>
                <a:gd name="T14" fmla="*/ 11 w 300"/>
                <a:gd name="T15" fmla="*/ 0 h 301"/>
                <a:gd name="T16" fmla="*/ 8 w 300"/>
                <a:gd name="T17" fmla="*/ 1 h 301"/>
                <a:gd name="T18" fmla="*/ 6 w 300"/>
                <a:gd name="T19" fmla="*/ 2 h 301"/>
                <a:gd name="T20" fmla="*/ 4 w 300"/>
                <a:gd name="T21" fmla="*/ 5 h 301"/>
                <a:gd name="T22" fmla="*/ 2 w 300"/>
                <a:gd name="T23" fmla="*/ 7 h 301"/>
                <a:gd name="T24" fmla="*/ 1 w 300"/>
                <a:gd name="T25" fmla="*/ 9 h 301"/>
                <a:gd name="T26" fmla="*/ 0 w 300"/>
                <a:gd name="T27" fmla="*/ 12 h 301"/>
                <a:gd name="T28" fmla="*/ 0 w 300"/>
                <a:gd name="T29" fmla="*/ 15 h 301"/>
                <a:gd name="T30" fmla="*/ 0 w 300"/>
                <a:gd name="T31" fmla="*/ 286 h 301"/>
                <a:gd name="T32" fmla="*/ 0 w 300"/>
                <a:gd name="T33" fmla="*/ 289 h 301"/>
                <a:gd name="T34" fmla="*/ 1 w 300"/>
                <a:gd name="T35" fmla="*/ 292 h 301"/>
                <a:gd name="T36" fmla="*/ 2 w 300"/>
                <a:gd name="T37" fmla="*/ 294 h 301"/>
                <a:gd name="T38" fmla="*/ 4 w 300"/>
                <a:gd name="T39" fmla="*/ 296 h 301"/>
                <a:gd name="T40" fmla="*/ 6 w 300"/>
                <a:gd name="T41" fmla="*/ 298 h 301"/>
                <a:gd name="T42" fmla="*/ 8 w 300"/>
                <a:gd name="T43" fmla="*/ 300 h 301"/>
                <a:gd name="T44" fmla="*/ 11 w 300"/>
                <a:gd name="T45" fmla="*/ 301 h 301"/>
                <a:gd name="T46" fmla="*/ 15 w 300"/>
                <a:gd name="T47" fmla="*/ 301 h 301"/>
                <a:gd name="T48" fmla="*/ 285 w 300"/>
                <a:gd name="T49" fmla="*/ 301 h 301"/>
                <a:gd name="T50" fmla="*/ 288 w 300"/>
                <a:gd name="T51" fmla="*/ 301 h 301"/>
                <a:gd name="T52" fmla="*/ 291 w 300"/>
                <a:gd name="T53" fmla="*/ 300 h 301"/>
                <a:gd name="T54" fmla="*/ 293 w 300"/>
                <a:gd name="T55" fmla="*/ 298 h 301"/>
                <a:gd name="T56" fmla="*/ 296 w 300"/>
                <a:gd name="T57" fmla="*/ 296 h 301"/>
                <a:gd name="T58" fmla="*/ 298 w 300"/>
                <a:gd name="T59" fmla="*/ 294 h 301"/>
                <a:gd name="T60" fmla="*/ 299 w 300"/>
                <a:gd name="T61" fmla="*/ 292 h 301"/>
                <a:gd name="T62" fmla="*/ 300 w 300"/>
                <a:gd name="T63" fmla="*/ 289 h 301"/>
                <a:gd name="T64" fmla="*/ 300 w 300"/>
                <a:gd name="T65" fmla="*/ 286 h 301"/>
                <a:gd name="T66" fmla="*/ 300 w 300"/>
                <a:gd name="T67" fmla="*/ 15 h 301"/>
                <a:gd name="T68" fmla="*/ 300 w 300"/>
                <a:gd name="T69" fmla="*/ 12 h 301"/>
                <a:gd name="T70" fmla="*/ 299 w 300"/>
                <a:gd name="T71" fmla="*/ 9 h 301"/>
                <a:gd name="T72" fmla="*/ 298 w 300"/>
                <a:gd name="T73" fmla="*/ 7 h 301"/>
                <a:gd name="T74" fmla="*/ 296 w 300"/>
                <a:gd name="T75" fmla="*/ 5 h 301"/>
                <a:gd name="T76" fmla="*/ 293 w 300"/>
                <a:gd name="T77" fmla="*/ 2 h 301"/>
                <a:gd name="T78" fmla="*/ 291 w 300"/>
                <a:gd name="T79" fmla="*/ 1 h 301"/>
                <a:gd name="T80" fmla="*/ 288 w 300"/>
                <a:gd name="T81" fmla="*/ 0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0"/>
                  </a:lnTo>
                  <a:lnTo>
                    <a:pt x="270" y="30"/>
                  </a:lnTo>
                  <a:lnTo>
                    <a:pt x="270" y="271"/>
                  </a:lnTo>
                  <a:close/>
                  <a:moveTo>
                    <a:pt x="285" y="0"/>
                  </a:moveTo>
                  <a:lnTo>
                    <a:pt x="15" y="0"/>
                  </a:lnTo>
                  <a:lnTo>
                    <a:pt x="11" y="0"/>
                  </a:lnTo>
                  <a:lnTo>
                    <a:pt x="8" y="1"/>
                  </a:lnTo>
                  <a:lnTo>
                    <a:pt x="6" y="2"/>
                  </a:lnTo>
                  <a:lnTo>
                    <a:pt x="4" y="5"/>
                  </a:lnTo>
                  <a:lnTo>
                    <a:pt x="2" y="7"/>
                  </a:lnTo>
                  <a:lnTo>
                    <a:pt x="1" y="9"/>
                  </a:lnTo>
                  <a:lnTo>
                    <a:pt x="0" y="12"/>
                  </a:lnTo>
                  <a:lnTo>
                    <a:pt x="0" y="15"/>
                  </a:lnTo>
                  <a:lnTo>
                    <a:pt x="0" y="286"/>
                  </a:lnTo>
                  <a:lnTo>
                    <a:pt x="0" y="289"/>
                  </a:lnTo>
                  <a:lnTo>
                    <a:pt x="1" y="292"/>
                  </a:lnTo>
                  <a:lnTo>
                    <a:pt x="2" y="294"/>
                  </a:lnTo>
                  <a:lnTo>
                    <a:pt x="4" y="296"/>
                  </a:lnTo>
                  <a:lnTo>
                    <a:pt x="6" y="298"/>
                  </a:lnTo>
                  <a:lnTo>
                    <a:pt x="8" y="300"/>
                  </a:lnTo>
                  <a:lnTo>
                    <a:pt x="11" y="301"/>
                  </a:lnTo>
                  <a:lnTo>
                    <a:pt x="15" y="301"/>
                  </a:lnTo>
                  <a:lnTo>
                    <a:pt x="285" y="301"/>
                  </a:lnTo>
                  <a:lnTo>
                    <a:pt x="288" y="301"/>
                  </a:lnTo>
                  <a:lnTo>
                    <a:pt x="291" y="300"/>
                  </a:lnTo>
                  <a:lnTo>
                    <a:pt x="293" y="298"/>
                  </a:lnTo>
                  <a:lnTo>
                    <a:pt x="296" y="296"/>
                  </a:lnTo>
                  <a:lnTo>
                    <a:pt x="298" y="294"/>
                  </a:lnTo>
                  <a:lnTo>
                    <a:pt x="299" y="292"/>
                  </a:lnTo>
                  <a:lnTo>
                    <a:pt x="300" y="289"/>
                  </a:lnTo>
                  <a:lnTo>
                    <a:pt x="300" y="286"/>
                  </a:lnTo>
                  <a:lnTo>
                    <a:pt x="300" y="15"/>
                  </a:lnTo>
                  <a:lnTo>
                    <a:pt x="300" y="12"/>
                  </a:lnTo>
                  <a:lnTo>
                    <a:pt x="299" y="9"/>
                  </a:lnTo>
                  <a:lnTo>
                    <a:pt x="298" y="7"/>
                  </a:lnTo>
                  <a:lnTo>
                    <a:pt x="296" y="5"/>
                  </a:lnTo>
                  <a:lnTo>
                    <a:pt x="293" y="2"/>
                  </a:lnTo>
                  <a:lnTo>
                    <a:pt x="291" y="1"/>
                  </a:lnTo>
                  <a:lnTo>
                    <a:pt x="288"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8" name="Freeform 111">
              <a:extLst>
                <a:ext uri="{FF2B5EF4-FFF2-40B4-BE49-F238E27FC236}">
                  <a16:creationId xmlns:a16="http://schemas.microsoft.com/office/drawing/2014/main" id="{E39794D5-563A-408F-B1B2-E66635406E0F}"/>
                </a:ext>
              </a:extLst>
            </p:cNvPr>
            <p:cNvSpPr>
              <a:spLocks noEditPoints="1"/>
            </p:cNvSpPr>
            <p:nvPr/>
          </p:nvSpPr>
          <p:spPr bwMode="auto">
            <a:xfrm>
              <a:off x="8181975" y="2515870"/>
              <a:ext cx="57150" cy="58738"/>
            </a:xfrm>
            <a:custGeom>
              <a:avLst/>
              <a:gdLst>
                <a:gd name="T0" fmla="*/ 30 w 180"/>
                <a:gd name="T1" fmla="*/ 30 h 181"/>
                <a:gd name="T2" fmla="*/ 150 w 180"/>
                <a:gd name="T3" fmla="*/ 30 h 181"/>
                <a:gd name="T4" fmla="*/ 150 w 180"/>
                <a:gd name="T5" fmla="*/ 151 h 181"/>
                <a:gd name="T6" fmla="*/ 30 w 180"/>
                <a:gd name="T7" fmla="*/ 151 h 181"/>
                <a:gd name="T8" fmla="*/ 30 w 180"/>
                <a:gd name="T9" fmla="*/ 30 h 181"/>
                <a:gd name="T10" fmla="*/ 15 w 180"/>
                <a:gd name="T11" fmla="*/ 181 h 181"/>
                <a:gd name="T12" fmla="*/ 165 w 180"/>
                <a:gd name="T13" fmla="*/ 181 h 181"/>
                <a:gd name="T14" fmla="*/ 168 w 180"/>
                <a:gd name="T15" fmla="*/ 181 h 181"/>
                <a:gd name="T16" fmla="*/ 171 w 180"/>
                <a:gd name="T17" fmla="*/ 179 h 181"/>
                <a:gd name="T18" fmla="*/ 173 w 180"/>
                <a:gd name="T19" fmla="*/ 178 h 181"/>
                <a:gd name="T20" fmla="*/ 176 w 180"/>
                <a:gd name="T21" fmla="*/ 176 h 181"/>
                <a:gd name="T22" fmla="*/ 178 w 180"/>
                <a:gd name="T23" fmla="*/ 174 h 181"/>
                <a:gd name="T24" fmla="*/ 179 w 180"/>
                <a:gd name="T25" fmla="*/ 171 h 181"/>
                <a:gd name="T26" fmla="*/ 180 w 180"/>
                <a:gd name="T27" fmla="*/ 169 h 181"/>
                <a:gd name="T28" fmla="*/ 180 w 180"/>
                <a:gd name="T29" fmla="*/ 166 h 181"/>
                <a:gd name="T30" fmla="*/ 180 w 180"/>
                <a:gd name="T31" fmla="*/ 15 h 181"/>
                <a:gd name="T32" fmla="*/ 180 w 180"/>
                <a:gd name="T33" fmla="*/ 12 h 181"/>
                <a:gd name="T34" fmla="*/ 179 w 180"/>
                <a:gd name="T35" fmla="*/ 9 h 181"/>
                <a:gd name="T36" fmla="*/ 178 w 180"/>
                <a:gd name="T37" fmla="*/ 7 h 181"/>
                <a:gd name="T38" fmla="*/ 176 w 180"/>
                <a:gd name="T39" fmla="*/ 5 h 181"/>
                <a:gd name="T40" fmla="*/ 173 w 180"/>
                <a:gd name="T41" fmla="*/ 3 h 181"/>
                <a:gd name="T42" fmla="*/ 171 w 180"/>
                <a:gd name="T43" fmla="*/ 1 h 181"/>
                <a:gd name="T44" fmla="*/ 168 w 180"/>
                <a:gd name="T45" fmla="*/ 0 h 181"/>
                <a:gd name="T46" fmla="*/ 165 w 180"/>
                <a:gd name="T47" fmla="*/ 0 h 181"/>
                <a:gd name="T48" fmla="*/ 15 w 180"/>
                <a:gd name="T49" fmla="*/ 0 h 181"/>
                <a:gd name="T50" fmla="*/ 11 w 180"/>
                <a:gd name="T51" fmla="*/ 0 h 181"/>
                <a:gd name="T52" fmla="*/ 9 w 180"/>
                <a:gd name="T53" fmla="*/ 1 h 181"/>
                <a:gd name="T54" fmla="*/ 6 w 180"/>
                <a:gd name="T55" fmla="*/ 3 h 181"/>
                <a:gd name="T56" fmla="*/ 4 w 180"/>
                <a:gd name="T57" fmla="*/ 5 h 181"/>
                <a:gd name="T58" fmla="*/ 2 w 180"/>
                <a:gd name="T59" fmla="*/ 7 h 181"/>
                <a:gd name="T60" fmla="*/ 1 w 180"/>
                <a:gd name="T61" fmla="*/ 9 h 181"/>
                <a:gd name="T62" fmla="*/ 0 w 180"/>
                <a:gd name="T63" fmla="*/ 12 h 181"/>
                <a:gd name="T64" fmla="*/ 0 w 180"/>
                <a:gd name="T65" fmla="*/ 15 h 181"/>
                <a:gd name="T66" fmla="*/ 0 w 180"/>
                <a:gd name="T67" fmla="*/ 166 h 181"/>
                <a:gd name="T68" fmla="*/ 0 w 180"/>
                <a:gd name="T69" fmla="*/ 169 h 181"/>
                <a:gd name="T70" fmla="*/ 1 w 180"/>
                <a:gd name="T71" fmla="*/ 171 h 181"/>
                <a:gd name="T72" fmla="*/ 2 w 180"/>
                <a:gd name="T73" fmla="*/ 174 h 181"/>
                <a:gd name="T74" fmla="*/ 4 w 180"/>
                <a:gd name="T75" fmla="*/ 176 h 181"/>
                <a:gd name="T76" fmla="*/ 6 w 180"/>
                <a:gd name="T77" fmla="*/ 178 h 181"/>
                <a:gd name="T78" fmla="*/ 9 w 180"/>
                <a:gd name="T79" fmla="*/ 179 h 181"/>
                <a:gd name="T80" fmla="*/ 11 w 180"/>
                <a:gd name="T81" fmla="*/ 181 h 181"/>
                <a:gd name="T82" fmla="*/ 15 w 180"/>
                <a:gd name="T8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81">
                  <a:moveTo>
                    <a:pt x="30" y="30"/>
                  </a:moveTo>
                  <a:lnTo>
                    <a:pt x="150" y="30"/>
                  </a:lnTo>
                  <a:lnTo>
                    <a:pt x="150" y="151"/>
                  </a:lnTo>
                  <a:lnTo>
                    <a:pt x="30" y="151"/>
                  </a:lnTo>
                  <a:lnTo>
                    <a:pt x="30" y="30"/>
                  </a:lnTo>
                  <a:close/>
                  <a:moveTo>
                    <a:pt x="15" y="181"/>
                  </a:moveTo>
                  <a:lnTo>
                    <a:pt x="165" y="181"/>
                  </a:lnTo>
                  <a:lnTo>
                    <a:pt x="168" y="181"/>
                  </a:lnTo>
                  <a:lnTo>
                    <a:pt x="171" y="179"/>
                  </a:lnTo>
                  <a:lnTo>
                    <a:pt x="173" y="178"/>
                  </a:lnTo>
                  <a:lnTo>
                    <a:pt x="176" y="176"/>
                  </a:lnTo>
                  <a:lnTo>
                    <a:pt x="178" y="174"/>
                  </a:lnTo>
                  <a:lnTo>
                    <a:pt x="179" y="171"/>
                  </a:lnTo>
                  <a:lnTo>
                    <a:pt x="180" y="169"/>
                  </a:lnTo>
                  <a:lnTo>
                    <a:pt x="180" y="166"/>
                  </a:lnTo>
                  <a:lnTo>
                    <a:pt x="180" y="15"/>
                  </a:lnTo>
                  <a:lnTo>
                    <a:pt x="180" y="12"/>
                  </a:lnTo>
                  <a:lnTo>
                    <a:pt x="179" y="9"/>
                  </a:lnTo>
                  <a:lnTo>
                    <a:pt x="178" y="7"/>
                  </a:lnTo>
                  <a:lnTo>
                    <a:pt x="176" y="5"/>
                  </a:lnTo>
                  <a:lnTo>
                    <a:pt x="173" y="3"/>
                  </a:lnTo>
                  <a:lnTo>
                    <a:pt x="171" y="1"/>
                  </a:lnTo>
                  <a:lnTo>
                    <a:pt x="168" y="0"/>
                  </a:lnTo>
                  <a:lnTo>
                    <a:pt x="165" y="0"/>
                  </a:lnTo>
                  <a:lnTo>
                    <a:pt x="15" y="0"/>
                  </a:lnTo>
                  <a:lnTo>
                    <a:pt x="11" y="0"/>
                  </a:lnTo>
                  <a:lnTo>
                    <a:pt x="9" y="1"/>
                  </a:lnTo>
                  <a:lnTo>
                    <a:pt x="6" y="3"/>
                  </a:lnTo>
                  <a:lnTo>
                    <a:pt x="4" y="5"/>
                  </a:lnTo>
                  <a:lnTo>
                    <a:pt x="2" y="7"/>
                  </a:lnTo>
                  <a:lnTo>
                    <a:pt x="1" y="9"/>
                  </a:lnTo>
                  <a:lnTo>
                    <a:pt x="0" y="12"/>
                  </a:lnTo>
                  <a:lnTo>
                    <a:pt x="0" y="15"/>
                  </a:lnTo>
                  <a:lnTo>
                    <a:pt x="0" y="166"/>
                  </a:lnTo>
                  <a:lnTo>
                    <a:pt x="0" y="169"/>
                  </a:lnTo>
                  <a:lnTo>
                    <a:pt x="1" y="171"/>
                  </a:lnTo>
                  <a:lnTo>
                    <a:pt x="2" y="174"/>
                  </a:lnTo>
                  <a:lnTo>
                    <a:pt x="4" y="176"/>
                  </a:lnTo>
                  <a:lnTo>
                    <a:pt x="6" y="178"/>
                  </a:lnTo>
                  <a:lnTo>
                    <a:pt x="9" y="179"/>
                  </a:lnTo>
                  <a:lnTo>
                    <a:pt x="11" y="181"/>
                  </a:lnTo>
                  <a:lnTo>
                    <a:pt x="15"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9" name="Freeform 112">
              <a:extLst>
                <a:ext uri="{FF2B5EF4-FFF2-40B4-BE49-F238E27FC236}">
                  <a16:creationId xmlns:a16="http://schemas.microsoft.com/office/drawing/2014/main" id="{66CC78FB-7139-4FA4-B333-1A80AF7474E9}"/>
                </a:ext>
              </a:extLst>
            </p:cNvPr>
            <p:cNvSpPr>
              <a:spLocks noEditPoints="1"/>
            </p:cNvSpPr>
            <p:nvPr/>
          </p:nvSpPr>
          <p:spPr bwMode="auto">
            <a:xfrm>
              <a:off x="8162925" y="2688908"/>
              <a:ext cx="95250" cy="95250"/>
            </a:xfrm>
            <a:custGeom>
              <a:avLst/>
              <a:gdLst>
                <a:gd name="T0" fmla="*/ 270 w 300"/>
                <a:gd name="T1" fmla="*/ 271 h 301"/>
                <a:gd name="T2" fmla="*/ 30 w 300"/>
                <a:gd name="T3" fmla="*/ 271 h 301"/>
                <a:gd name="T4" fmla="*/ 30 w 300"/>
                <a:gd name="T5" fmla="*/ 31 h 301"/>
                <a:gd name="T6" fmla="*/ 270 w 300"/>
                <a:gd name="T7" fmla="*/ 31 h 301"/>
                <a:gd name="T8" fmla="*/ 270 w 300"/>
                <a:gd name="T9" fmla="*/ 271 h 301"/>
                <a:gd name="T10" fmla="*/ 285 w 300"/>
                <a:gd name="T11" fmla="*/ 0 h 301"/>
                <a:gd name="T12" fmla="*/ 15 w 300"/>
                <a:gd name="T13" fmla="*/ 0 h 301"/>
                <a:gd name="T14" fmla="*/ 11 w 300"/>
                <a:gd name="T15" fmla="*/ 1 h 301"/>
                <a:gd name="T16" fmla="*/ 8 w 300"/>
                <a:gd name="T17" fmla="*/ 2 h 301"/>
                <a:gd name="T18" fmla="*/ 6 w 300"/>
                <a:gd name="T19" fmla="*/ 3 h 301"/>
                <a:gd name="T20" fmla="*/ 4 w 300"/>
                <a:gd name="T21" fmla="*/ 5 h 301"/>
                <a:gd name="T22" fmla="*/ 2 w 300"/>
                <a:gd name="T23" fmla="*/ 7 h 301"/>
                <a:gd name="T24" fmla="*/ 1 w 300"/>
                <a:gd name="T25" fmla="*/ 9 h 301"/>
                <a:gd name="T26" fmla="*/ 0 w 300"/>
                <a:gd name="T27" fmla="*/ 13 h 301"/>
                <a:gd name="T28" fmla="*/ 0 w 300"/>
                <a:gd name="T29" fmla="*/ 16 h 301"/>
                <a:gd name="T30" fmla="*/ 0 w 300"/>
                <a:gd name="T31" fmla="*/ 286 h 301"/>
                <a:gd name="T32" fmla="*/ 0 w 300"/>
                <a:gd name="T33" fmla="*/ 289 h 301"/>
                <a:gd name="T34" fmla="*/ 1 w 300"/>
                <a:gd name="T35" fmla="*/ 292 h 301"/>
                <a:gd name="T36" fmla="*/ 2 w 300"/>
                <a:gd name="T37" fmla="*/ 295 h 301"/>
                <a:gd name="T38" fmla="*/ 4 w 300"/>
                <a:gd name="T39" fmla="*/ 297 h 301"/>
                <a:gd name="T40" fmla="*/ 6 w 300"/>
                <a:gd name="T41" fmla="*/ 298 h 301"/>
                <a:gd name="T42" fmla="*/ 8 w 300"/>
                <a:gd name="T43" fmla="*/ 300 h 301"/>
                <a:gd name="T44" fmla="*/ 11 w 300"/>
                <a:gd name="T45" fmla="*/ 301 h 301"/>
                <a:gd name="T46" fmla="*/ 15 w 300"/>
                <a:gd name="T47" fmla="*/ 301 h 301"/>
                <a:gd name="T48" fmla="*/ 285 w 300"/>
                <a:gd name="T49" fmla="*/ 301 h 301"/>
                <a:gd name="T50" fmla="*/ 288 w 300"/>
                <a:gd name="T51" fmla="*/ 301 h 301"/>
                <a:gd name="T52" fmla="*/ 291 w 300"/>
                <a:gd name="T53" fmla="*/ 300 h 301"/>
                <a:gd name="T54" fmla="*/ 293 w 300"/>
                <a:gd name="T55" fmla="*/ 298 h 301"/>
                <a:gd name="T56" fmla="*/ 296 w 300"/>
                <a:gd name="T57" fmla="*/ 297 h 301"/>
                <a:gd name="T58" fmla="*/ 298 w 300"/>
                <a:gd name="T59" fmla="*/ 295 h 301"/>
                <a:gd name="T60" fmla="*/ 299 w 300"/>
                <a:gd name="T61" fmla="*/ 292 h 301"/>
                <a:gd name="T62" fmla="*/ 300 w 300"/>
                <a:gd name="T63" fmla="*/ 289 h 301"/>
                <a:gd name="T64" fmla="*/ 300 w 300"/>
                <a:gd name="T65" fmla="*/ 286 h 301"/>
                <a:gd name="T66" fmla="*/ 300 w 300"/>
                <a:gd name="T67" fmla="*/ 15 h 301"/>
                <a:gd name="T68" fmla="*/ 300 w 300"/>
                <a:gd name="T69" fmla="*/ 13 h 301"/>
                <a:gd name="T70" fmla="*/ 299 w 300"/>
                <a:gd name="T71" fmla="*/ 9 h 301"/>
                <a:gd name="T72" fmla="*/ 298 w 300"/>
                <a:gd name="T73" fmla="*/ 7 h 301"/>
                <a:gd name="T74" fmla="*/ 296 w 300"/>
                <a:gd name="T75" fmla="*/ 5 h 301"/>
                <a:gd name="T76" fmla="*/ 293 w 300"/>
                <a:gd name="T77" fmla="*/ 3 h 301"/>
                <a:gd name="T78" fmla="*/ 291 w 300"/>
                <a:gd name="T79" fmla="*/ 2 h 301"/>
                <a:gd name="T80" fmla="*/ 288 w 300"/>
                <a:gd name="T81" fmla="*/ 1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1"/>
                  </a:lnTo>
                  <a:lnTo>
                    <a:pt x="270" y="31"/>
                  </a:lnTo>
                  <a:lnTo>
                    <a:pt x="270" y="271"/>
                  </a:lnTo>
                  <a:close/>
                  <a:moveTo>
                    <a:pt x="285" y="0"/>
                  </a:moveTo>
                  <a:lnTo>
                    <a:pt x="15" y="0"/>
                  </a:lnTo>
                  <a:lnTo>
                    <a:pt x="11" y="1"/>
                  </a:lnTo>
                  <a:lnTo>
                    <a:pt x="8" y="2"/>
                  </a:lnTo>
                  <a:lnTo>
                    <a:pt x="6" y="3"/>
                  </a:lnTo>
                  <a:lnTo>
                    <a:pt x="4" y="5"/>
                  </a:lnTo>
                  <a:lnTo>
                    <a:pt x="2" y="7"/>
                  </a:lnTo>
                  <a:lnTo>
                    <a:pt x="1" y="9"/>
                  </a:lnTo>
                  <a:lnTo>
                    <a:pt x="0" y="13"/>
                  </a:lnTo>
                  <a:lnTo>
                    <a:pt x="0" y="16"/>
                  </a:lnTo>
                  <a:lnTo>
                    <a:pt x="0" y="286"/>
                  </a:lnTo>
                  <a:lnTo>
                    <a:pt x="0" y="289"/>
                  </a:lnTo>
                  <a:lnTo>
                    <a:pt x="1" y="292"/>
                  </a:lnTo>
                  <a:lnTo>
                    <a:pt x="2" y="295"/>
                  </a:lnTo>
                  <a:lnTo>
                    <a:pt x="4" y="297"/>
                  </a:lnTo>
                  <a:lnTo>
                    <a:pt x="6" y="298"/>
                  </a:lnTo>
                  <a:lnTo>
                    <a:pt x="8" y="300"/>
                  </a:lnTo>
                  <a:lnTo>
                    <a:pt x="11" y="301"/>
                  </a:lnTo>
                  <a:lnTo>
                    <a:pt x="15" y="301"/>
                  </a:lnTo>
                  <a:lnTo>
                    <a:pt x="285" y="301"/>
                  </a:lnTo>
                  <a:lnTo>
                    <a:pt x="288" y="301"/>
                  </a:lnTo>
                  <a:lnTo>
                    <a:pt x="291" y="300"/>
                  </a:lnTo>
                  <a:lnTo>
                    <a:pt x="293" y="298"/>
                  </a:lnTo>
                  <a:lnTo>
                    <a:pt x="296" y="297"/>
                  </a:lnTo>
                  <a:lnTo>
                    <a:pt x="298" y="295"/>
                  </a:lnTo>
                  <a:lnTo>
                    <a:pt x="299" y="292"/>
                  </a:lnTo>
                  <a:lnTo>
                    <a:pt x="300" y="289"/>
                  </a:lnTo>
                  <a:lnTo>
                    <a:pt x="300" y="286"/>
                  </a:lnTo>
                  <a:lnTo>
                    <a:pt x="300" y="15"/>
                  </a:lnTo>
                  <a:lnTo>
                    <a:pt x="300" y="13"/>
                  </a:lnTo>
                  <a:lnTo>
                    <a:pt x="299" y="9"/>
                  </a:lnTo>
                  <a:lnTo>
                    <a:pt x="298" y="7"/>
                  </a:lnTo>
                  <a:lnTo>
                    <a:pt x="296" y="5"/>
                  </a:lnTo>
                  <a:lnTo>
                    <a:pt x="293" y="3"/>
                  </a:lnTo>
                  <a:lnTo>
                    <a:pt x="291" y="2"/>
                  </a:lnTo>
                  <a:lnTo>
                    <a:pt x="288" y="1"/>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0" name="Freeform 113">
              <a:extLst>
                <a:ext uri="{FF2B5EF4-FFF2-40B4-BE49-F238E27FC236}">
                  <a16:creationId xmlns:a16="http://schemas.microsoft.com/office/drawing/2014/main" id="{A930D7CB-95B4-4D6F-A25B-81F6383EF10A}"/>
                </a:ext>
              </a:extLst>
            </p:cNvPr>
            <p:cNvSpPr>
              <a:spLocks noEditPoints="1"/>
            </p:cNvSpPr>
            <p:nvPr/>
          </p:nvSpPr>
          <p:spPr bwMode="auto">
            <a:xfrm>
              <a:off x="8181975" y="2707958"/>
              <a:ext cx="57150" cy="57150"/>
            </a:xfrm>
            <a:custGeom>
              <a:avLst/>
              <a:gdLst>
                <a:gd name="T0" fmla="*/ 30 w 180"/>
                <a:gd name="T1" fmla="*/ 30 h 180"/>
                <a:gd name="T2" fmla="*/ 150 w 180"/>
                <a:gd name="T3" fmla="*/ 30 h 180"/>
                <a:gd name="T4" fmla="*/ 150 w 180"/>
                <a:gd name="T5" fmla="*/ 150 h 180"/>
                <a:gd name="T6" fmla="*/ 30 w 180"/>
                <a:gd name="T7" fmla="*/ 150 h 180"/>
                <a:gd name="T8" fmla="*/ 30 w 180"/>
                <a:gd name="T9" fmla="*/ 30 h 180"/>
                <a:gd name="T10" fmla="*/ 15 w 180"/>
                <a:gd name="T11" fmla="*/ 180 h 180"/>
                <a:gd name="T12" fmla="*/ 165 w 180"/>
                <a:gd name="T13" fmla="*/ 180 h 180"/>
                <a:gd name="T14" fmla="*/ 168 w 180"/>
                <a:gd name="T15" fmla="*/ 180 h 180"/>
                <a:gd name="T16" fmla="*/ 171 w 180"/>
                <a:gd name="T17" fmla="*/ 179 h 180"/>
                <a:gd name="T18" fmla="*/ 173 w 180"/>
                <a:gd name="T19" fmla="*/ 177 h 180"/>
                <a:gd name="T20" fmla="*/ 176 w 180"/>
                <a:gd name="T21" fmla="*/ 176 h 180"/>
                <a:gd name="T22" fmla="*/ 178 w 180"/>
                <a:gd name="T23" fmla="*/ 174 h 180"/>
                <a:gd name="T24" fmla="*/ 179 w 180"/>
                <a:gd name="T25" fmla="*/ 170 h 180"/>
                <a:gd name="T26" fmla="*/ 180 w 180"/>
                <a:gd name="T27" fmla="*/ 168 h 180"/>
                <a:gd name="T28" fmla="*/ 180 w 180"/>
                <a:gd name="T29" fmla="*/ 165 h 180"/>
                <a:gd name="T30" fmla="*/ 180 w 180"/>
                <a:gd name="T31" fmla="*/ 15 h 180"/>
                <a:gd name="T32" fmla="*/ 180 w 180"/>
                <a:gd name="T33" fmla="*/ 12 h 180"/>
                <a:gd name="T34" fmla="*/ 179 w 180"/>
                <a:gd name="T35" fmla="*/ 9 h 180"/>
                <a:gd name="T36" fmla="*/ 178 w 180"/>
                <a:gd name="T37" fmla="*/ 6 h 180"/>
                <a:gd name="T38" fmla="*/ 176 w 180"/>
                <a:gd name="T39" fmla="*/ 4 h 180"/>
                <a:gd name="T40" fmla="*/ 173 w 180"/>
                <a:gd name="T41" fmla="*/ 2 h 180"/>
                <a:gd name="T42" fmla="*/ 171 w 180"/>
                <a:gd name="T43" fmla="*/ 1 h 180"/>
                <a:gd name="T44" fmla="*/ 168 w 180"/>
                <a:gd name="T45" fmla="*/ 0 h 180"/>
                <a:gd name="T46" fmla="*/ 165 w 180"/>
                <a:gd name="T47" fmla="*/ 0 h 180"/>
                <a:gd name="T48" fmla="*/ 15 w 180"/>
                <a:gd name="T49" fmla="*/ 0 h 180"/>
                <a:gd name="T50" fmla="*/ 11 w 180"/>
                <a:gd name="T51" fmla="*/ 0 h 180"/>
                <a:gd name="T52" fmla="*/ 9 w 180"/>
                <a:gd name="T53" fmla="*/ 1 h 180"/>
                <a:gd name="T54" fmla="*/ 6 w 180"/>
                <a:gd name="T55" fmla="*/ 2 h 180"/>
                <a:gd name="T56" fmla="*/ 4 w 180"/>
                <a:gd name="T57" fmla="*/ 4 h 180"/>
                <a:gd name="T58" fmla="*/ 2 w 180"/>
                <a:gd name="T59" fmla="*/ 6 h 180"/>
                <a:gd name="T60" fmla="*/ 1 w 180"/>
                <a:gd name="T61" fmla="*/ 9 h 180"/>
                <a:gd name="T62" fmla="*/ 0 w 180"/>
                <a:gd name="T63" fmla="*/ 12 h 180"/>
                <a:gd name="T64" fmla="*/ 0 w 180"/>
                <a:gd name="T65" fmla="*/ 15 h 180"/>
                <a:gd name="T66" fmla="*/ 0 w 180"/>
                <a:gd name="T67" fmla="*/ 165 h 180"/>
                <a:gd name="T68" fmla="*/ 0 w 180"/>
                <a:gd name="T69" fmla="*/ 168 h 180"/>
                <a:gd name="T70" fmla="*/ 1 w 180"/>
                <a:gd name="T71" fmla="*/ 170 h 180"/>
                <a:gd name="T72" fmla="*/ 2 w 180"/>
                <a:gd name="T73" fmla="*/ 174 h 180"/>
                <a:gd name="T74" fmla="*/ 4 w 180"/>
                <a:gd name="T75" fmla="*/ 176 h 180"/>
                <a:gd name="T76" fmla="*/ 6 w 180"/>
                <a:gd name="T77" fmla="*/ 177 h 180"/>
                <a:gd name="T78" fmla="*/ 9 w 180"/>
                <a:gd name="T79" fmla="*/ 179 h 180"/>
                <a:gd name="T80" fmla="*/ 11 w 180"/>
                <a:gd name="T81" fmla="*/ 180 h 180"/>
                <a:gd name="T82" fmla="*/ 15 w 180"/>
                <a:gd name="T8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80">
                  <a:moveTo>
                    <a:pt x="30" y="30"/>
                  </a:moveTo>
                  <a:lnTo>
                    <a:pt x="150" y="30"/>
                  </a:lnTo>
                  <a:lnTo>
                    <a:pt x="150" y="150"/>
                  </a:lnTo>
                  <a:lnTo>
                    <a:pt x="30" y="150"/>
                  </a:lnTo>
                  <a:lnTo>
                    <a:pt x="30" y="30"/>
                  </a:lnTo>
                  <a:close/>
                  <a:moveTo>
                    <a:pt x="15" y="180"/>
                  </a:moveTo>
                  <a:lnTo>
                    <a:pt x="165" y="180"/>
                  </a:lnTo>
                  <a:lnTo>
                    <a:pt x="168" y="180"/>
                  </a:lnTo>
                  <a:lnTo>
                    <a:pt x="171" y="179"/>
                  </a:lnTo>
                  <a:lnTo>
                    <a:pt x="173" y="177"/>
                  </a:lnTo>
                  <a:lnTo>
                    <a:pt x="176" y="176"/>
                  </a:lnTo>
                  <a:lnTo>
                    <a:pt x="178" y="174"/>
                  </a:lnTo>
                  <a:lnTo>
                    <a:pt x="179" y="170"/>
                  </a:lnTo>
                  <a:lnTo>
                    <a:pt x="180" y="168"/>
                  </a:lnTo>
                  <a:lnTo>
                    <a:pt x="180" y="165"/>
                  </a:lnTo>
                  <a:lnTo>
                    <a:pt x="180" y="15"/>
                  </a:lnTo>
                  <a:lnTo>
                    <a:pt x="180" y="12"/>
                  </a:lnTo>
                  <a:lnTo>
                    <a:pt x="179" y="9"/>
                  </a:lnTo>
                  <a:lnTo>
                    <a:pt x="178" y="6"/>
                  </a:lnTo>
                  <a:lnTo>
                    <a:pt x="176" y="4"/>
                  </a:lnTo>
                  <a:lnTo>
                    <a:pt x="173" y="2"/>
                  </a:lnTo>
                  <a:lnTo>
                    <a:pt x="171" y="1"/>
                  </a:lnTo>
                  <a:lnTo>
                    <a:pt x="168" y="0"/>
                  </a:lnTo>
                  <a:lnTo>
                    <a:pt x="165" y="0"/>
                  </a:lnTo>
                  <a:lnTo>
                    <a:pt x="15" y="0"/>
                  </a:lnTo>
                  <a:lnTo>
                    <a:pt x="11" y="0"/>
                  </a:lnTo>
                  <a:lnTo>
                    <a:pt x="9" y="1"/>
                  </a:lnTo>
                  <a:lnTo>
                    <a:pt x="6" y="2"/>
                  </a:lnTo>
                  <a:lnTo>
                    <a:pt x="4" y="4"/>
                  </a:lnTo>
                  <a:lnTo>
                    <a:pt x="2" y="6"/>
                  </a:lnTo>
                  <a:lnTo>
                    <a:pt x="1" y="9"/>
                  </a:lnTo>
                  <a:lnTo>
                    <a:pt x="0" y="12"/>
                  </a:lnTo>
                  <a:lnTo>
                    <a:pt x="0" y="15"/>
                  </a:lnTo>
                  <a:lnTo>
                    <a:pt x="0" y="165"/>
                  </a:lnTo>
                  <a:lnTo>
                    <a:pt x="0" y="168"/>
                  </a:lnTo>
                  <a:lnTo>
                    <a:pt x="1" y="170"/>
                  </a:lnTo>
                  <a:lnTo>
                    <a:pt x="2" y="174"/>
                  </a:lnTo>
                  <a:lnTo>
                    <a:pt x="4" y="176"/>
                  </a:lnTo>
                  <a:lnTo>
                    <a:pt x="6" y="177"/>
                  </a:lnTo>
                  <a:lnTo>
                    <a:pt x="9" y="179"/>
                  </a:lnTo>
                  <a:lnTo>
                    <a:pt x="11" y="180"/>
                  </a:lnTo>
                  <a:lnTo>
                    <a:pt x="15"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1" name="Freeform 114">
              <a:extLst>
                <a:ext uri="{FF2B5EF4-FFF2-40B4-BE49-F238E27FC236}">
                  <a16:creationId xmlns:a16="http://schemas.microsoft.com/office/drawing/2014/main" id="{37E6FF2A-3F2E-4284-933C-0509FA4DCB68}"/>
                </a:ext>
              </a:extLst>
            </p:cNvPr>
            <p:cNvSpPr>
              <a:spLocks noEditPoints="1"/>
            </p:cNvSpPr>
            <p:nvPr/>
          </p:nvSpPr>
          <p:spPr bwMode="auto">
            <a:xfrm>
              <a:off x="8353425" y="2688908"/>
              <a:ext cx="47625" cy="47625"/>
            </a:xfrm>
            <a:custGeom>
              <a:avLst/>
              <a:gdLst>
                <a:gd name="T0" fmla="*/ 120 w 150"/>
                <a:gd name="T1" fmla="*/ 121 h 151"/>
                <a:gd name="T2" fmla="*/ 30 w 150"/>
                <a:gd name="T3" fmla="*/ 121 h 151"/>
                <a:gd name="T4" fmla="*/ 30 w 150"/>
                <a:gd name="T5" fmla="*/ 31 h 151"/>
                <a:gd name="T6" fmla="*/ 120 w 150"/>
                <a:gd name="T7" fmla="*/ 31 h 151"/>
                <a:gd name="T8" fmla="*/ 120 w 150"/>
                <a:gd name="T9" fmla="*/ 121 h 151"/>
                <a:gd name="T10" fmla="*/ 150 w 150"/>
                <a:gd name="T11" fmla="*/ 15 h 151"/>
                <a:gd name="T12" fmla="*/ 150 w 150"/>
                <a:gd name="T13" fmla="*/ 13 h 151"/>
                <a:gd name="T14" fmla="*/ 149 w 150"/>
                <a:gd name="T15" fmla="*/ 9 h 151"/>
                <a:gd name="T16" fmla="*/ 147 w 150"/>
                <a:gd name="T17" fmla="*/ 7 h 151"/>
                <a:gd name="T18" fmla="*/ 146 w 150"/>
                <a:gd name="T19" fmla="*/ 5 h 151"/>
                <a:gd name="T20" fmla="*/ 144 w 150"/>
                <a:gd name="T21" fmla="*/ 3 h 151"/>
                <a:gd name="T22" fmla="*/ 141 w 150"/>
                <a:gd name="T23" fmla="*/ 2 h 151"/>
                <a:gd name="T24" fmla="*/ 138 w 150"/>
                <a:gd name="T25" fmla="*/ 1 h 151"/>
                <a:gd name="T26" fmla="*/ 135 w 150"/>
                <a:gd name="T27" fmla="*/ 1 h 151"/>
                <a:gd name="T28" fmla="*/ 15 w 150"/>
                <a:gd name="T29" fmla="*/ 0 h 151"/>
                <a:gd name="T30" fmla="*/ 12 w 150"/>
                <a:gd name="T31" fmla="*/ 1 h 151"/>
                <a:gd name="T32" fmla="*/ 9 w 150"/>
                <a:gd name="T33" fmla="*/ 2 h 151"/>
                <a:gd name="T34" fmla="*/ 7 w 150"/>
                <a:gd name="T35" fmla="*/ 3 h 151"/>
                <a:gd name="T36" fmla="*/ 4 w 150"/>
                <a:gd name="T37" fmla="*/ 5 h 151"/>
                <a:gd name="T38" fmla="*/ 2 w 150"/>
                <a:gd name="T39" fmla="*/ 7 h 151"/>
                <a:gd name="T40" fmla="*/ 1 w 150"/>
                <a:gd name="T41" fmla="*/ 9 h 151"/>
                <a:gd name="T42" fmla="*/ 0 w 150"/>
                <a:gd name="T43" fmla="*/ 13 h 151"/>
                <a:gd name="T44" fmla="*/ 0 w 150"/>
                <a:gd name="T45" fmla="*/ 16 h 151"/>
                <a:gd name="T46" fmla="*/ 0 w 150"/>
                <a:gd name="T47" fmla="*/ 136 h 151"/>
                <a:gd name="T48" fmla="*/ 0 w 150"/>
                <a:gd name="T49" fmla="*/ 138 h 151"/>
                <a:gd name="T50" fmla="*/ 1 w 150"/>
                <a:gd name="T51" fmla="*/ 141 h 151"/>
                <a:gd name="T52" fmla="*/ 2 w 150"/>
                <a:gd name="T53" fmla="*/ 144 h 151"/>
                <a:gd name="T54" fmla="*/ 4 w 150"/>
                <a:gd name="T55" fmla="*/ 147 h 151"/>
                <a:gd name="T56" fmla="*/ 7 w 150"/>
                <a:gd name="T57" fmla="*/ 148 h 151"/>
                <a:gd name="T58" fmla="*/ 9 w 150"/>
                <a:gd name="T59" fmla="*/ 150 h 151"/>
                <a:gd name="T60" fmla="*/ 12 w 150"/>
                <a:gd name="T61" fmla="*/ 150 h 151"/>
                <a:gd name="T62" fmla="*/ 15 w 150"/>
                <a:gd name="T63" fmla="*/ 151 h 151"/>
                <a:gd name="T64" fmla="*/ 135 w 150"/>
                <a:gd name="T65" fmla="*/ 151 h 151"/>
                <a:gd name="T66" fmla="*/ 138 w 150"/>
                <a:gd name="T67" fmla="*/ 150 h 151"/>
                <a:gd name="T68" fmla="*/ 141 w 150"/>
                <a:gd name="T69" fmla="*/ 150 h 151"/>
                <a:gd name="T70" fmla="*/ 144 w 150"/>
                <a:gd name="T71" fmla="*/ 148 h 151"/>
                <a:gd name="T72" fmla="*/ 146 w 150"/>
                <a:gd name="T73" fmla="*/ 147 h 151"/>
                <a:gd name="T74" fmla="*/ 147 w 150"/>
                <a:gd name="T75" fmla="*/ 144 h 151"/>
                <a:gd name="T76" fmla="*/ 149 w 150"/>
                <a:gd name="T77" fmla="*/ 141 h 151"/>
                <a:gd name="T78" fmla="*/ 150 w 150"/>
                <a:gd name="T79" fmla="*/ 138 h 151"/>
                <a:gd name="T80" fmla="*/ 150 w 150"/>
                <a:gd name="T81" fmla="*/ 136 h 151"/>
                <a:gd name="T82" fmla="*/ 150 w 150"/>
                <a:gd name="T83"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1">
                  <a:moveTo>
                    <a:pt x="120" y="121"/>
                  </a:moveTo>
                  <a:lnTo>
                    <a:pt x="30" y="121"/>
                  </a:lnTo>
                  <a:lnTo>
                    <a:pt x="30" y="31"/>
                  </a:lnTo>
                  <a:lnTo>
                    <a:pt x="120" y="31"/>
                  </a:lnTo>
                  <a:lnTo>
                    <a:pt x="120" y="121"/>
                  </a:lnTo>
                  <a:close/>
                  <a:moveTo>
                    <a:pt x="150" y="15"/>
                  </a:moveTo>
                  <a:lnTo>
                    <a:pt x="150" y="13"/>
                  </a:lnTo>
                  <a:lnTo>
                    <a:pt x="149" y="9"/>
                  </a:lnTo>
                  <a:lnTo>
                    <a:pt x="147" y="7"/>
                  </a:lnTo>
                  <a:lnTo>
                    <a:pt x="146" y="5"/>
                  </a:lnTo>
                  <a:lnTo>
                    <a:pt x="144" y="3"/>
                  </a:lnTo>
                  <a:lnTo>
                    <a:pt x="141" y="2"/>
                  </a:lnTo>
                  <a:lnTo>
                    <a:pt x="138" y="1"/>
                  </a:lnTo>
                  <a:lnTo>
                    <a:pt x="135" y="1"/>
                  </a:lnTo>
                  <a:lnTo>
                    <a:pt x="15" y="0"/>
                  </a:lnTo>
                  <a:lnTo>
                    <a:pt x="12" y="1"/>
                  </a:lnTo>
                  <a:lnTo>
                    <a:pt x="9" y="2"/>
                  </a:lnTo>
                  <a:lnTo>
                    <a:pt x="7" y="3"/>
                  </a:lnTo>
                  <a:lnTo>
                    <a:pt x="4" y="5"/>
                  </a:lnTo>
                  <a:lnTo>
                    <a:pt x="2" y="7"/>
                  </a:lnTo>
                  <a:lnTo>
                    <a:pt x="1" y="9"/>
                  </a:lnTo>
                  <a:lnTo>
                    <a:pt x="0" y="13"/>
                  </a:lnTo>
                  <a:lnTo>
                    <a:pt x="0" y="16"/>
                  </a:lnTo>
                  <a:lnTo>
                    <a:pt x="0" y="136"/>
                  </a:lnTo>
                  <a:lnTo>
                    <a:pt x="0" y="138"/>
                  </a:lnTo>
                  <a:lnTo>
                    <a:pt x="1" y="141"/>
                  </a:lnTo>
                  <a:lnTo>
                    <a:pt x="2" y="144"/>
                  </a:lnTo>
                  <a:lnTo>
                    <a:pt x="4" y="147"/>
                  </a:lnTo>
                  <a:lnTo>
                    <a:pt x="7" y="148"/>
                  </a:lnTo>
                  <a:lnTo>
                    <a:pt x="9" y="150"/>
                  </a:lnTo>
                  <a:lnTo>
                    <a:pt x="12" y="150"/>
                  </a:lnTo>
                  <a:lnTo>
                    <a:pt x="15" y="151"/>
                  </a:lnTo>
                  <a:lnTo>
                    <a:pt x="135" y="151"/>
                  </a:lnTo>
                  <a:lnTo>
                    <a:pt x="138" y="150"/>
                  </a:lnTo>
                  <a:lnTo>
                    <a:pt x="141" y="150"/>
                  </a:lnTo>
                  <a:lnTo>
                    <a:pt x="144" y="148"/>
                  </a:lnTo>
                  <a:lnTo>
                    <a:pt x="146" y="147"/>
                  </a:lnTo>
                  <a:lnTo>
                    <a:pt x="147" y="144"/>
                  </a:lnTo>
                  <a:lnTo>
                    <a:pt x="149" y="141"/>
                  </a:lnTo>
                  <a:lnTo>
                    <a:pt x="150" y="138"/>
                  </a:lnTo>
                  <a:lnTo>
                    <a:pt x="150" y="136"/>
                  </a:lnTo>
                  <a:lnTo>
                    <a:pt x="15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2" name="Freeform 115">
              <a:extLst>
                <a:ext uri="{FF2B5EF4-FFF2-40B4-BE49-F238E27FC236}">
                  <a16:creationId xmlns:a16="http://schemas.microsoft.com/office/drawing/2014/main" id="{FA8D1F33-7B6A-4B35-86F4-CFF5A78C2BCD}"/>
                </a:ext>
              </a:extLst>
            </p:cNvPr>
            <p:cNvSpPr>
              <a:spLocks noEditPoints="1"/>
            </p:cNvSpPr>
            <p:nvPr/>
          </p:nvSpPr>
          <p:spPr bwMode="auto">
            <a:xfrm>
              <a:off x="8353425" y="2496820"/>
              <a:ext cx="95250" cy="96838"/>
            </a:xfrm>
            <a:custGeom>
              <a:avLst/>
              <a:gdLst>
                <a:gd name="T0" fmla="*/ 270 w 300"/>
                <a:gd name="T1" fmla="*/ 271 h 301"/>
                <a:gd name="T2" fmla="*/ 30 w 300"/>
                <a:gd name="T3" fmla="*/ 271 h 301"/>
                <a:gd name="T4" fmla="*/ 30 w 300"/>
                <a:gd name="T5" fmla="*/ 30 h 301"/>
                <a:gd name="T6" fmla="*/ 270 w 300"/>
                <a:gd name="T7" fmla="*/ 30 h 301"/>
                <a:gd name="T8" fmla="*/ 270 w 300"/>
                <a:gd name="T9" fmla="*/ 271 h 301"/>
                <a:gd name="T10" fmla="*/ 285 w 300"/>
                <a:gd name="T11" fmla="*/ 0 h 301"/>
                <a:gd name="T12" fmla="*/ 15 w 300"/>
                <a:gd name="T13" fmla="*/ 0 h 301"/>
                <a:gd name="T14" fmla="*/ 12 w 300"/>
                <a:gd name="T15" fmla="*/ 0 h 301"/>
                <a:gd name="T16" fmla="*/ 9 w 300"/>
                <a:gd name="T17" fmla="*/ 1 h 301"/>
                <a:gd name="T18" fmla="*/ 7 w 300"/>
                <a:gd name="T19" fmla="*/ 2 h 301"/>
                <a:gd name="T20" fmla="*/ 4 w 300"/>
                <a:gd name="T21" fmla="*/ 5 h 301"/>
                <a:gd name="T22" fmla="*/ 2 w 300"/>
                <a:gd name="T23" fmla="*/ 7 h 301"/>
                <a:gd name="T24" fmla="*/ 1 w 300"/>
                <a:gd name="T25" fmla="*/ 9 h 301"/>
                <a:gd name="T26" fmla="*/ 0 w 300"/>
                <a:gd name="T27" fmla="*/ 12 h 301"/>
                <a:gd name="T28" fmla="*/ 0 w 300"/>
                <a:gd name="T29" fmla="*/ 15 h 301"/>
                <a:gd name="T30" fmla="*/ 0 w 300"/>
                <a:gd name="T31" fmla="*/ 286 h 301"/>
                <a:gd name="T32" fmla="*/ 0 w 300"/>
                <a:gd name="T33" fmla="*/ 289 h 301"/>
                <a:gd name="T34" fmla="*/ 1 w 300"/>
                <a:gd name="T35" fmla="*/ 292 h 301"/>
                <a:gd name="T36" fmla="*/ 2 w 300"/>
                <a:gd name="T37" fmla="*/ 294 h 301"/>
                <a:gd name="T38" fmla="*/ 4 w 300"/>
                <a:gd name="T39" fmla="*/ 296 h 301"/>
                <a:gd name="T40" fmla="*/ 7 w 300"/>
                <a:gd name="T41" fmla="*/ 298 h 301"/>
                <a:gd name="T42" fmla="*/ 9 w 300"/>
                <a:gd name="T43" fmla="*/ 300 h 301"/>
                <a:gd name="T44" fmla="*/ 12 w 300"/>
                <a:gd name="T45" fmla="*/ 301 h 301"/>
                <a:gd name="T46" fmla="*/ 15 w 300"/>
                <a:gd name="T47" fmla="*/ 301 h 301"/>
                <a:gd name="T48" fmla="*/ 285 w 300"/>
                <a:gd name="T49" fmla="*/ 301 h 301"/>
                <a:gd name="T50" fmla="*/ 289 w 300"/>
                <a:gd name="T51" fmla="*/ 301 h 301"/>
                <a:gd name="T52" fmla="*/ 291 w 300"/>
                <a:gd name="T53" fmla="*/ 300 h 301"/>
                <a:gd name="T54" fmla="*/ 294 w 300"/>
                <a:gd name="T55" fmla="*/ 298 h 301"/>
                <a:gd name="T56" fmla="*/ 296 w 300"/>
                <a:gd name="T57" fmla="*/ 296 h 301"/>
                <a:gd name="T58" fmla="*/ 298 w 300"/>
                <a:gd name="T59" fmla="*/ 294 h 301"/>
                <a:gd name="T60" fmla="*/ 299 w 300"/>
                <a:gd name="T61" fmla="*/ 292 h 301"/>
                <a:gd name="T62" fmla="*/ 300 w 300"/>
                <a:gd name="T63" fmla="*/ 289 h 301"/>
                <a:gd name="T64" fmla="*/ 300 w 300"/>
                <a:gd name="T65" fmla="*/ 286 h 301"/>
                <a:gd name="T66" fmla="*/ 300 w 300"/>
                <a:gd name="T67" fmla="*/ 15 h 301"/>
                <a:gd name="T68" fmla="*/ 300 w 300"/>
                <a:gd name="T69" fmla="*/ 12 h 301"/>
                <a:gd name="T70" fmla="*/ 299 w 300"/>
                <a:gd name="T71" fmla="*/ 9 h 301"/>
                <a:gd name="T72" fmla="*/ 298 w 300"/>
                <a:gd name="T73" fmla="*/ 7 h 301"/>
                <a:gd name="T74" fmla="*/ 296 w 300"/>
                <a:gd name="T75" fmla="*/ 5 h 301"/>
                <a:gd name="T76" fmla="*/ 294 w 300"/>
                <a:gd name="T77" fmla="*/ 2 h 301"/>
                <a:gd name="T78" fmla="*/ 291 w 300"/>
                <a:gd name="T79" fmla="*/ 1 h 301"/>
                <a:gd name="T80" fmla="*/ 289 w 300"/>
                <a:gd name="T81" fmla="*/ 0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0"/>
                  </a:lnTo>
                  <a:lnTo>
                    <a:pt x="270" y="30"/>
                  </a:lnTo>
                  <a:lnTo>
                    <a:pt x="270" y="271"/>
                  </a:lnTo>
                  <a:close/>
                  <a:moveTo>
                    <a:pt x="285" y="0"/>
                  </a:moveTo>
                  <a:lnTo>
                    <a:pt x="15" y="0"/>
                  </a:lnTo>
                  <a:lnTo>
                    <a:pt x="12" y="0"/>
                  </a:lnTo>
                  <a:lnTo>
                    <a:pt x="9" y="1"/>
                  </a:lnTo>
                  <a:lnTo>
                    <a:pt x="7" y="2"/>
                  </a:lnTo>
                  <a:lnTo>
                    <a:pt x="4" y="5"/>
                  </a:lnTo>
                  <a:lnTo>
                    <a:pt x="2" y="7"/>
                  </a:lnTo>
                  <a:lnTo>
                    <a:pt x="1" y="9"/>
                  </a:lnTo>
                  <a:lnTo>
                    <a:pt x="0" y="12"/>
                  </a:lnTo>
                  <a:lnTo>
                    <a:pt x="0" y="15"/>
                  </a:lnTo>
                  <a:lnTo>
                    <a:pt x="0" y="286"/>
                  </a:lnTo>
                  <a:lnTo>
                    <a:pt x="0" y="289"/>
                  </a:lnTo>
                  <a:lnTo>
                    <a:pt x="1" y="292"/>
                  </a:lnTo>
                  <a:lnTo>
                    <a:pt x="2" y="294"/>
                  </a:lnTo>
                  <a:lnTo>
                    <a:pt x="4" y="296"/>
                  </a:lnTo>
                  <a:lnTo>
                    <a:pt x="7" y="298"/>
                  </a:lnTo>
                  <a:lnTo>
                    <a:pt x="9" y="300"/>
                  </a:lnTo>
                  <a:lnTo>
                    <a:pt x="12" y="301"/>
                  </a:lnTo>
                  <a:lnTo>
                    <a:pt x="15" y="301"/>
                  </a:lnTo>
                  <a:lnTo>
                    <a:pt x="285" y="301"/>
                  </a:lnTo>
                  <a:lnTo>
                    <a:pt x="289" y="301"/>
                  </a:lnTo>
                  <a:lnTo>
                    <a:pt x="291" y="300"/>
                  </a:lnTo>
                  <a:lnTo>
                    <a:pt x="294" y="298"/>
                  </a:lnTo>
                  <a:lnTo>
                    <a:pt x="296" y="296"/>
                  </a:lnTo>
                  <a:lnTo>
                    <a:pt x="298" y="294"/>
                  </a:lnTo>
                  <a:lnTo>
                    <a:pt x="299" y="292"/>
                  </a:lnTo>
                  <a:lnTo>
                    <a:pt x="300" y="289"/>
                  </a:lnTo>
                  <a:lnTo>
                    <a:pt x="300" y="286"/>
                  </a:lnTo>
                  <a:lnTo>
                    <a:pt x="300" y="15"/>
                  </a:lnTo>
                  <a:lnTo>
                    <a:pt x="300" y="12"/>
                  </a:lnTo>
                  <a:lnTo>
                    <a:pt x="299" y="9"/>
                  </a:lnTo>
                  <a:lnTo>
                    <a:pt x="298" y="7"/>
                  </a:lnTo>
                  <a:lnTo>
                    <a:pt x="296" y="5"/>
                  </a:lnTo>
                  <a:lnTo>
                    <a:pt x="294" y="2"/>
                  </a:lnTo>
                  <a:lnTo>
                    <a:pt x="291" y="1"/>
                  </a:lnTo>
                  <a:lnTo>
                    <a:pt x="289"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3" name="Freeform 116">
              <a:extLst>
                <a:ext uri="{FF2B5EF4-FFF2-40B4-BE49-F238E27FC236}">
                  <a16:creationId xmlns:a16="http://schemas.microsoft.com/office/drawing/2014/main" id="{80E90F12-4EB6-4FE4-BE27-68FCFA9F61E0}"/>
                </a:ext>
              </a:extLst>
            </p:cNvPr>
            <p:cNvSpPr>
              <a:spLocks noEditPoints="1"/>
            </p:cNvSpPr>
            <p:nvPr/>
          </p:nvSpPr>
          <p:spPr bwMode="auto">
            <a:xfrm>
              <a:off x="8382000" y="2525395"/>
              <a:ext cx="38100" cy="39688"/>
            </a:xfrm>
            <a:custGeom>
              <a:avLst/>
              <a:gdLst>
                <a:gd name="T0" fmla="*/ 30 w 120"/>
                <a:gd name="T1" fmla="*/ 30 h 121"/>
                <a:gd name="T2" fmla="*/ 90 w 120"/>
                <a:gd name="T3" fmla="*/ 30 h 121"/>
                <a:gd name="T4" fmla="*/ 90 w 120"/>
                <a:gd name="T5" fmla="*/ 90 h 121"/>
                <a:gd name="T6" fmla="*/ 30 w 120"/>
                <a:gd name="T7" fmla="*/ 90 h 121"/>
                <a:gd name="T8" fmla="*/ 30 w 120"/>
                <a:gd name="T9" fmla="*/ 30 h 121"/>
                <a:gd name="T10" fmla="*/ 15 w 120"/>
                <a:gd name="T11" fmla="*/ 121 h 121"/>
                <a:gd name="T12" fmla="*/ 105 w 120"/>
                <a:gd name="T13" fmla="*/ 121 h 121"/>
                <a:gd name="T14" fmla="*/ 108 w 120"/>
                <a:gd name="T15" fmla="*/ 121 h 121"/>
                <a:gd name="T16" fmla="*/ 111 w 120"/>
                <a:gd name="T17" fmla="*/ 119 h 121"/>
                <a:gd name="T18" fmla="*/ 114 w 120"/>
                <a:gd name="T19" fmla="*/ 118 h 121"/>
                <a:gd name="T20" fmla="*/ 116 w 120"/>
                <a:gd name="T21" fmla="*/ 116 h 121"/>
                <a:gd name="T22" fmla="*/ 118 w 120"/>
                <a:gd name="T23" fmla="*/ 114 h 121"/>
                <a:gd name="T24" fmla="*/ 119 w 120"/>
                <a:gd name="T25" fmla="*/ 111 h 121"/>
                <a:gd name="T26" fmla="*/ 120 w 120"/>
                <a:gd name="T27" fmla="*/ 109 h 121"/>
                <a:gd name="T28" fmla="*/ 120 w 120"/>
                <a:gd name="T29" fmla="*/ 105 h 121"/>
                <a:gd name="T30" fmla="*/ 120 w 120"/>
                <a:gd name="T31" fmla="*/ 15 h 121"/>
                <a:gd name="T32" fmla="*/ 120 w 120"/>
                <a:gd name="T33" fmla="*/ 12 h 121"/>
                <a:gd name="T34" fmla="*/ 119 w 120"/>
                <a:gd name="T35" fmla="*/ 9 h 121"/>
                <a:gd name="T36" fmla="*/ 118 w 120"/>
                <a:gd name="T37" fmla="*/ 7 h 121"/>
                <a:gd name="T38" fmla="*/ 116 w 120"/>
                <a:gd name="T39" fmla="*/ 5 h 121"/>
                <a:gd name="T40" fmla="*/ 114 w 120"/>
                <a:gd name="T41" fmla="*/ 3 h 121"/>
                <a:gd name="T42" fmla="*/ 111 w 120"/>
                <a:gd name="T43" fmla="*/ 1 h 121"/>
                <a:gd name="T44" fmla="*/ 108 w 120"/>
                <a:gd name="T45" fmla="*/ 0 h 121"/>
                <a:gd name="T46" fmla="*/ 105 w 120"/>
                <a:gd name="T47" fmla="*/ 0 h 121"/>
                <a:gd name="T48" fmla="*/ 15 w 120"/>
                <a:gd name="T49" fmla="*/ 0 h 121"/>
                <a:gd name="T50" fmla="*/ 12 w 120"/>
                <a:gd name="T51" fmla="*/ 0 h 121"/>
                <a:gd name="T52" fmla="*/ 9 w 120"/>
                <a:gd name="T53" fmla="*/ 1 h 121"/>
                <a:gd name="T54" fmla="*/ 7 w 120"/>
                <a:gd name="T55" fmla="*/ 3 h 121"/>
                <a:gd name="T56" fmla="*/ 4 w 120"/>
                <a:gd name="T57" fmla="*/ 5 h 121"/>
                <a:gd name="T58" fmla="*/ 2 w 120"/>
                <a:gd name="T59" fmla="*/ 7 h 121"/>
                <a:gd name="T60" fmla="*/ 1 w 120"/>
                <a:gd name="T61" fmla="*/ 9 h 121"/>
                <a:gd name="T62" fmla="*/ 0 w 120"/>
                <a:gd name="T63" fmla="*/ 12 h 121"/>
                <a:gd name="T64" fmla="*/ 0 w 120"/>
                <a:gd name="T65" fmla="*/ 15 h 121"/>
                <a:gd name="T66" fmla="*/ 0 w 120"/>
                <a:gd name="T67" fmla="*/ 105 h 121"/>
                <a:gd name="T68" fmla="*/ 0 w 120"/>
                <a:gd name="T69" fmla="*/ 109 h 121"/>
                <a:gd name="T70" fmla="*/ 1 w 120"/>
                <a:gd name="T71" fmla="*/ 111 h 121"/>
                <a:gd name="T72" fmla="*/ 2 w 120"/>
                <a:gd name="T73" fmla="*/ 114 h 121"/>
                <a:gd name="T74" fmla="*/ 4 w 120"/>
                <a:gd name="T75" fmla="*/ 116 h 121"/>
                <a:gd name="T76" fmla="*/ 7 w 120"/>
                <a:gd name="T77" fmla="*/ 118 h 121"/>
                <a:gd name="T78" fmla="*/ 9 w 120"/>
                <a:gd name="T79" fmla="*/ 119 h 121"/>
                <a:gd name="T80" fmla="*/ 12 w 120"/>
                <a:gd name="T81" fmla="*/ 121 h 121"/>
                <a:gd name="T82" fmla="*/ 15 w 120"/>
                <a:gd name="T8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30" y="30"/>
                  </a:moveTo>
                  <a:lnTo>
                    <a:pt x="90" y="30"/>
                  </a:lnTo>
                  <a:lnTo>
                    <a:pt x="90" y="90"/>
                  </a:lnTo>
                  <a:lnTo>
                    <a:pt x="30" y="90"/>
                  </a:lnTo>
                  <a:lnTo>
                    <a:pt x="30" y="30"/>
                  </a:lnTo>
                  <a:close/>
                  <a:moveTo>
                    <a:pt x="15" y="121"/>
                  </a:moveTo>
                  <a:lnTo>
                    <a:pt x="105" y="121"/>
                  </a:lnTo>
                  <a:lnTo>
                    <a:pt x="108" y="121"/>
                  </a:lnTo>
                  <a:lnTo>
                    <a:pt x="111" y="119"/>
                  </a:lnTo>
                  <a:lnTo>
                    <a:pt x="114" y="118"/>
                  </a:lnTo>
                  <a:lnTo>
                    <a:pt x="116" y="116"/>
                  </a:lnTo>
                  <a:lnTo>
                    <a:pt x="118" y="114"/>
                  </a:lnTo>
                  <a:lnTo>
                    <a:pt x="119" y="111"/>
                  </a:lnTo>
                  <a:lnTo>
                    <a:pt x="120" y="109"/>
                  </a:lnTo>
                  <a:lnTo>
                    <a:pt x="120" y="105"/>
                  </a:lnTo>
                  <a:lnTo>
                    <a:pt x="120" y="15"/>
                  </a:lnTo>
                  <a:lnTo>
                    <a:pt x="120" y="12"/>
                  </a:lnTo>
                  <a:lnTo>
                    <a:pt x="119" y="9"/>
                  </a:lnTo>
                  <a:lnTo>
                    <a:pt x="118" y="7"/>
                  </a:lnTo>
                  <a:lnTo>
                    <a:pt x="116" y="5"/>
                  </a:lnTo>
                  <a:lnTo>
                    <a:pt x="114" y="3"/>
                  </a:lnTo>
                  <a:lnTo>
                    <a:pt x="111" y="1"/>
                  </a:lnTo>
                  <a:lnTo>
                    <a:pt x="108" y="0"/>
                  </a:lnTo>
                  <a:lnTo>
                    <a:pt x="105" y="0"/>
                  </a:lnTo>
                  <a:lnTo>
                    <a:pt x="15" y="0"/>
                  </a:lnTo>
                  <a:lnTo>
                    <a:pt x="12" y="0"/>
                  </a:lnTo>
                  <a:lnTo>
                    <a:pt x="9" y="1"/>
                  </a:lnTo>
                  <a:lnTo>
                    <a:pt x="7" y="3"/>
                  </a:lnTo>
                  <a:lnTo>
                    <a:pt x="4" y="5"/>
                  </a:lnTo>
                  <a:lnTo>
                    <a:pt x="2" y="7"/>
                  </a:lnTo>
                  <a:lnTo>
                    <a:pt x="1" y="9"/>
                  </a:lnTo>
                  <a:lnTo>
                    <a:pt x="0" y="12"/>
                  </a:lnTo>
                  <a:lnTo>
                    <a:pt x="0" y="15"/>
                  </a:lnTo>
                  <a:lnTo>
                    <a:pt x="0" y="105"/>
                  </a:lnTo>
                  <a:lnTo>
                    <a:pt x="0" y="109"/>
                  </a:lnTo>
                  <a:lnTo>
                    <a:pt x="1" y="111"/>
                  </a:lnTo>
                  <a:lnTo>
                    <a:pt x="2" y="114"/>
                  </a:lnTo>
                  <a:lnTo>
                    <a:pt x="4" y="116"/>
                  </a:lnTo>
                  <a:lnTo>
                    <a:pt x="7" y="118"/>
                  </a:lnTo>
                  <a:lnTo>
                    <a:pt x="9" y="119"/>
                  </a:lnTo>
                  <a:lnTo>
                    <a:pt x="12" y="121"/>
                  </a:lnTo>
                  <a:lnTo>
                    <a:pt x="1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4" name="Freeform 117">
              <a:extLst>
                <a:ext uri="{FF2B5EF4-FFF2-40B4-BE49-F238E27FC236}">
                  <a16:creationId xmlns:a16="http://schemas.microsoft.com/office/drawing/2014/main" id="{F579B8CB-1A68-4A2F-ABB3-50A8305F7637}"/>
                </a:ext>
              </a:extLst>
            </p:cNvPr>
            <p:cNvSpPr>
              <a:spLocks/>
            </p:cNvSpPr>
            <p:nvPr/>
          </p:nvSpPr>
          <p:spPr bwMode="auto">
            <a:xfrm>
              <a:off x="8270875" y="2603183"/>
              <a:ext cx="52388" cy="9525"/>
            </a:xfrm>
            <a:custGeom>
              <a:avLst/>
              <a:gdLst>
                <a:gd name="T0" fmla="*/ 163 w 163"/>
                <a:gd name="T1" fmla="*/ 15 h 30"/>
                <a:gd name="T2" fmla="*/ 163 w 163"/>
                <a:gd name="T3" fmla="*/ 11 h 30"/>
                <a:gd name="T4" fmla="*/ 161 w 163"/>
                <a:gd name="T5" fmla="*/ 9 h 30"/>
                <a:gd name="T6" fmla="*/ 159 w 163"/>
                <a:gd name="T7" fmla="*/ 6 h 30"/>
                <a:gd name="T8" fmla="*/ 158 w 163"/>
                <a:gd name="T9" fmla="*/ 4 h 30"/>
                <a:gd name="T10" fmla="*/ 156 w 163"/>
                <a:gd name="T11" fmla="*/ 3 h 30"/>
                <a:gd name="T12" fmla="*/ 153 w 163"/>
                <a:gd name="T13" fmla="*/ 1 h 30"/>
                <a:gd name="T14" fmla="*/ 151 w 163"/>
                <a:gd name="T15" fmla="*/ 0 h 30"/>
                <a:gd name="T16" fmla="*/ 148 w 163"/>
                <a:gd name="T17" fmla="*/ 0 h 30"/>
                <a:gd name="T18" fmla="*/ 15 w 163"/>
                <a:gd name="T19" fmla="*/ 0 h 30"/>
                <a:gd name="T20" fmla="*/ 11 w 163"/>
                <a:gd name="T21" fmla="*/ 0 h 30"/>
                <a:gd name="T22" fmla="*/ 9 w 163"/>
                <a:gd name="T23" fmla="*/ 1 h 30"/>
                <a:gd name="T24" fmla="*/ 6 w 163"/>
                <a:gd name="T25" fmla="*/ 3 h 30"/>
                <a:gd name="T26" fmla="*/ 4 w 163"/>
                <a:gd name="T27" fmla="*/ 4 h 30"/>
                <a:gd name="T28" fmla="*/ 2 w 163"/>
                <a:gd name="T29" fmla="*/ 6 h 30"/>
                <a:gd name="T30" fmla="*/ 1 w 163"/>
                <a:gd name="T31" fmla="*/ 9 h 30"/>
                <a:gd name="T32" fmla="*/ 0 w 163"/>
                <a:gd name="T33" fmla="*/ 11 h 30"/>
                <a:gd name="T34" fmla="*/ 0 w 163"/>
                <a:gd name="T35" fmla="*/ 15 h 30"/>
                <a:gd name="T36" fmla="*/ 0 w 163"/>
                <a:gd name="T37" fmla="*/ 18 h 30"/>
                <a:gd name="T38" fmla="*/ 1 w 163"/>
                <a:gd name="T39" fmla="*/ 21 h 30"/>
                <a:gd name="T40" fmla="*/ 2 w 163"/>
                <a:gd name="T41" fmla="*/ 23 h 30"/>
                <a:gd name="T42" fmla="*/ 4 w 163"/>
                <a:gd name="T43" fmla="*/ 25 h 30"/>
                <a:gd name="T44" fmla="*/ 6 w 163"/>
                <a:gd name="T45" fmla="*/ 27 h 30"/>
                <a:gd name="T46" fmla="*/ 9 w 163"/>
                <a:gd name="T47" fmla="*/ 29 h 30"/>
                <a:gd name="T48" fmla="*/ 11 w 163"/>
                <a:gd name="T49" fmla="*/ 30 h 30"/>
                <a:gd name="T50" fmla="*/ 15 w 163"/>
                <a:gd name="T51" fmla="*/ 30 h 30"/>
                <a:gd name="T52" fmla="*/ 148 w 163"/>
                <a:gd name="T53" fmla="*/ 30 h 30"/>
                <a:gd name="T54" fmla="*/ 151 w 163"/>
                <a:gd name="T55" fmla="*/ 30 h 30"/>
                <a:gd name="T56" fmla="*/ 153 w 163"/>
                <a:gd name="T57" fmla="*/ 29 h 30"/>
                <a:gd name="T58" fmla="*/ 156 w 163"/>
                <a:gd name="T59" fmla="*/ 27 h 30"/>
                <a:gd name="T60" fmla="*/ 158 w 163"/>
                <a:gd name="T61" fmla="*/ 25 h 30"/>
                <a:gd name="T62" fmla="*/ 159 w 163"/>
                <a:gd name="T63" fmla="*/ 23 h 30"/>
                <a:gd name="T64" fmla="*/ 161 w 163"/>
                <a:gd name="T65" fmla="*/ 21 h 30"/>
                <a:gd name="T66" fmla="*/ 163 w 163"/>
                <a:gd name="T67" fmla="*/ 18 h 30"/>
                <a:gd name="T68" fmla="*/ 163 w 163"/>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30">
                  <a:moveTo>
                    <a:pt x="163" y="15"/>
                  </a:moveTo>
                  <a:lnTo>
                    <a:pt x="163" y="11"/>
                  </a:lnTo>
                  <a:lnTo>
                    <a:pt x="161" y="9"/>
                  </a:lnTo>
                  <a:lnTo>
                    <a:pt x="159" y="6"/>
                  </a:lnTo>
                  <a:lnTo>
                    <a:pt x="158" y="4"/>
                  </a:lnTo>
                  <a:lnTo>
                    <a:pt x="156" y="3"/>
                  </a:lnTo>
                  <a:lnTo>
                    <a:pt x="153" y="1"/>
                  </a:lnTo>
                  <a:lnTo>
                    <a:pt x="151" y="0"/>
                  </a:lnTo>
                  <a:lnTo>
                    <a:pt x="148" y="0"/>
                  </a:lnTo>
                  <a:lnTo>
                    <a:pt x="15" y="0"/>
                  </a:lnTo>
                  <a:lnTo>
                    <a:pt x="11"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9"/>
                  </a:lnTo>
                  <a:lnTo>
                    <a:pt x="11" y="30"/>
                  </a:lnTo>
                  <a:lnTo>
                    <a:pt x="15" y="30"/>
                  </a:lnTo>
                  <a:lnTo>
                    <a:pt x="148" y="30"/>
                  </a:lnTo>
                  <a:lnTo>
                    <a:pt x="151" y="30"/>
                  </a:lnTo>
                  <a:lnTo>
                    <a:pt x="153" y="29"/>
                  </a:lnTo>
                  <a:lnTo>
                    <a:pt x="156" y="27"/>
                  </a:lnTo>
                  <a:lnTo>
                    <a:pt x="158" y="25"/>
                  </a:lnTo>
                  <a:lnTo>
                    <a:pt x="159" y="23"/>
                  </a:lnTo>
                  <a:lnTo>
                    <a:pt x="161" y="21"/>
                  </a:lnTo>
                  <a:lnTo>
                    <a:pt x="163" y="18"/>
                  </a:lnTo>
                  <a:lnTo>
                    <a:pt x="16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5" name="Freeform 118">
              <a:extLst>
                <a:ext uri="{FF2B5EF4-FFF2-40B4-BE49-F238E27FC236}">
                  <a16:creationId xmlns:a16="http://schemas.microsoft.com/office/drawing/2014/main" id="{30F637AA-8836-4DF4-A5F1-C8B4136B8122}"/>
                </a:ext>
              </a:extLst>
            </p:cNvPr>
            <p:cNvSpPr>
              <a:spLocks/>
            </p:cNvSpPr>
            <p:nvPr/>
          </p:nvSpPr>
          <p:spPr bwMode="auto">
            <a:xfrm>
              <a:off x="8267700" y="2630170"/>
              <a:ext cx="55563" cy="49213"/>
            </a:xfrm>
            <a:custGeom>
              <a:avLst/>
              <a:gdLst>
                <a:gd name="T0" fmla="*/ 15 w 174"/>
                <a:gd name="T1" fmla="*/ 154 h 154"/>
                <a:gd name="T2" fmla="*/ 159 w 174"/>
                <a:gd name="T3" fmla="*/ 154 h 154"/>
                <a:gd name="T4" fmla="*/ 162 w 174"/>
                <a:gd name="T5" fmla="*/ 154 h 154"/>
                <a:gd name="T6" fmla="*/ 164 w 174"/>
                <a:gd name="T7" fmla="*/ 153 h 154"/>
                <a:gd name="T8" fmla="*/ 167 w 174"/>
                <a:gd name="T9" fmla="*/ 152 h 154"/>
                <a:gd name="T10" fmla="*/ 169 w 174"/>
                <a:gd name="T11" fmla="*/ 150 h 154"/>
                <a:gd name="T12" fmla="*/ 170 w 174"/>
                <a:gd name="T13" fmla="*/ 147 h 154"/>
                <a:gd name="T14" fmla="*/ 172 w 174"/>
                <a:gd name="T15" fmla="*/ 145 h 154"/>
                <a:gd name="T16" fmla="*/ 174 w 174"/>
                <a:gd name="T17" fmla="*/ 142 h 154"/>
                <a:gd name="T18" fmla="*/ 174 w 174"/>
                <a:gd name="T19" fmla="*/ 139 h 154"/>
                <a:gd name="T20" fmla="*/ 174 w 174"/>
                <a:gd name="T21" fmla="*/ 137 h 154"/>
                <a:gd name="T22" fmla="*/ 172 w 174"/>
                <a:gd name="T23" fmla="*/ 133 h 154"/>
                <a:gd name="T24" fmla="*/ 170 w 174"/>
                <a:gd name="T25" fmla="*/ 131 h 154"/>
                <a:gd name="T26" fmla="*/ 169 w 174"/>
                <a:gd name="T27" fmla="*/ 129 h 154"/>
                <a:gd name="T28" fmla="*/ 167 w 174"/>
                <a:gd name="T29" fmla="*/ 127 h 154"/>
                <a:gd name="T30" fmla="*/ 164 w 174"/>
                <a:gd name="T31" fmla="*/ 126 h 154"/>
                <a:gd name="T32" fmla="*/ 162 w 174"/>
                <a:gd name="T33" fmla="*/ 125 h 154"/>
                <a:gd name="T34" fmla="*/ 159 w 174"/>
                <a:gd name="T35" fmla="*/ 124 h 154"/>
                <a:gd name="T36" fmla="*/ 30 w 174"/>
                <a:gd name="T37" fmla="*/ 124 h 154"/>
                <a:gd name="T38" fmla="*/ 30 w 174"/>
                <a:gd name="T39" fmla="*/ 15 h 154"/>
                <a:gd name="T40" fmla="*/ 30 w 174"/>
                <a:gd name="T41" fmla="*/ 12 h 154"/>
                <a:gd name="T42" fmla="*/ 29 w 174"/>
                <a:gd name="T43" fmla="*/ 9 h 154"/>
                <a:gd name="T44" fmla="*/ 28 w 174"/>
                <a:gd name="T45" fmla="*/ 7 h 154"/>
                <a:gd name="T46" fmla="*/ 26 w 174"/>
                <a:gd name="T47" fmla="*/ 5 h 154"/>
                <a:gd name="T48" fmla="*/ 23 w 174"/>
                <a:gd name="T49" fmla="*/ 3 h 154"/>
                <a:gd name="T50" fmla="*/ 21 w 174"/>
                <a:gd name="T51" fmla="*/ 2 h 154"/>
                <a:gd name="T52" fmla="*/ 18 w 174"/>
                <a:gd name="T53" fmla="*/ 0 h 154"/>
                <a:gd name="T54" fmla="*/ 15 w 174"/>
                <a:gd name="T55" fmla="*/ 0 h 154"/>
                <a:gd name="T56" fmla="*/ 12 w 174"/>
                <a:gd name="T57" fmla="*/ 0 h 154"/>
                <a:gd name="T58" fmla="*/ 10 w 174"/>
                <a:gd name="T59" fmla="*/ 2 h 154"/>
                <a:gd name="T60" fmla="*/ 6 w 174"/>
                <a:gd name="T61" fmla="*/ 3 h 154"/>
                <a:gd name="T62" fmla="*/ 4 w 174"/>
                <a:gd name="T63" fmla="*/ 5 h 154"/>
                <a:gd name="T64" fmla="*/ 3 w 174"/>
                <a:gd name="T65" fmla="*/ 7 h 154"/>
                <a:gd name="T66" fmla="*/ 1 w 174"/>
                <a:gd name="T67" fmla="*/ 9 h 154"/>
                <a:gd name="T68" fmla="*/ 1 w 174"/>
                <a:gd name="T69" fmla="*/ 12 h 154"/>
                <a:gd name="T70" fmla="*/ 0 w 174"/>
                <a:gd name="T71" fmla="*/ 15 h 154"/>
                <a:gd name="T72" fmla="*/ 0 w 174"/>
                <a:gd name="T73" fmla="*/ 139 h 154"/>
                <a:gd name="T74" fmla="*/ 1 w 174"/>
                <a:gd name="T75" fmla="*/ 142 h 154"/>
                <a:gd name="T76" fmla="*/ 1 w 174"/>
                <a:gd name="T77" fmla="*/ 145 h 154"/>
                <a:gd name="T78" fmla="*/ 3 w 174"/>
                <a:gd name="T79" fmla="*/ 147 h 154"/>
                <a:gd name="T80" fmla="*/ 4 w 174"/>
                <a:gd name="T81" fmla="*/ 150 h 154"/>
                <a:gd name="T82" fmla="*/ 6 w 174"/>
                <a:gd name="T83" fmla="*/ 152 h 154"/>
                <a:gd name="T84" fmla="*/ 10 w 174"/>
                <a:gd name="T85" fmla="*/ 153 h 154"/>
                <a:gd name="T86" fmla="*/ 12 w 174"/>
                <a:gd name="T87" fmla="*/ 154 h 154"/>
                <a:gd name="T88" fmla="*/ 15 w 174"/>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54">
                  <a:moveTo>
                    <a:pt x="15" y="154"/>
                  </a:moveTo>
                  <a:lnTo>
                    <a:pt x="159" y="154"/>
                  </a:lnTo>
                  <a:lnTo>
                    <a:pt x="162" y="154"/>
                  </a:lnTo>
                  <a:lnTo>
                    <a:pt x="164" y="153"/>
                  </a:lnTo>
                  <a:lnTo>
                    <a:pt x="167" y="152"/>
                  </a:lnTo>
                  <a:lnTo>
                    <a:pt x="169" y="150"/>
                  </a:lnTo>
                  <a:lnTo>
                    <a:pt x="170" y="147"/>
                  </a:lnTo>
                  <a:lnTo>
                    <a:pt x="172" y="145"/>
                  </a:lnTo>
                  <a:lnTo>
                    <a:pt x="174" y="142"/>
                  </a:lnTo>
                  <a:lnTo>
                    <a:pt x="174" y="139"/>
                  </a:lnTo>
                  <a:lnTo>
                    <a:pt x="174" y="137"/>
                  </a:lnTo>
                  <a:lnTo>
                    <a:pt x="172" y="133"/>
                  </a:lnTo>
                  <a:lnTo>
                    <a:pt x="170" y="131"/>
                  </a:lnTo>
                  <a:lnTo>
                    <a:pt x="169" y="129"/>
                  </a:lnTo>
                  <a:lnTo>
                    <a:pt x="167" y="127"/>
                  </a:lnTo>
                  <a:lnTo>
                    <a:pt x="164" y="126"/>
                  </a:lnTo>
                  <a:lnTo>
                    <a:pt x="162" y="125"/>
                  </a:lnTo>
                  <a:lnTo>
                    <a:pt x="159" y="124"/>
                  </a:lnTo>
                  <a:lnTo>
                    <a:pt x="30" y="124"/>
                  </a:lnTo>
                  <a:lnTo>
                    <a:pt x="30" y="15"/>
                  </a:lnTo>
                  <a:lnTo>
                    <a:pt x="30" y="12"/>
                  </a:lnTo>
                  <a:lnTo>
                    <a:pt x="29" y="9"/>
                  </a:lnTo>
                  <a:lnTo>
                    <a:pt x="28" y="7"/>
                  </a:lnTo>
                  <a:lnTo>
                    <a:pt x="26" y="5"/>
                  </a:lnTo>
                  <a:lnTo>
                    <a:pt x="23" y="3"/>
                  </a:lnTo>
                  <a:lnTo>
                    <a:pt x="21" y="2"/>
                  </a:lnTo>
                  <a:lnTo>
                    <a:pt x="18" y="0"/>
                  </a:lnTo>
                  <a:lnTo>
                    <a:pt x="15" y="0"/>
                  </a:lnTo>
                  <a:lnTo>
                    <a:pt x="12" y="0"/>
                  </a:lnTo>
                  <a:lnTo>
                    <a:pt x="10" y="2"/>
                  </a:lnTo>
                  <a:lnTo>
                    <a:pt x="6" y="3"/>
                  </a:lnTo>
                  <a:lnTo>
                    <a:pt x="4" y="5"/>
                  </a:lnTo>
                  <a:lnTo>
                    <a:pt x="3" y="7"/>
                  </a:lnTo>
                  <a:lnTo>
                    <a:pt x="1" y="9"/>
                  </a:lnTo>
                  <a:lnTo>
                    <a:pt x="1" y="12"/>
                  </a:lnTo>
                  <a:lnTo>
                    <a:pt x="0" y="15"/>
                  </a:lnTo>
                  <a:lnTo>
                    <a:pt x="0" y="139"/>
                  </a:lnTo>
                  <a:lnTo>
                    <a:pt x="1" y="142"/>
                  </a:lnTo>
                  <a:lnTo>
                    <a:pt x="1" y="145"/>
                  </a:lnTo>
                  <a:lnTo>
                    <a:pt x="3" y="147"/>
                  </a:lnTo>
                  <a:lnTo>
                    <a:pt x="4" y="150"/>
                  </a:lnTo>
                  <a:lnTo>
                    <a:pt x="6" y="152"/>
                  </a:lnTo>
                  <a:lnTo>
                    <a:pt x="10" y="153"/>
                  </a:lnTo>
                  <a:lnTo>
                    <a:pt x="12" y="154"/>
                  </a:lnTo>
                  <a:lnTo>
                    <a:pt x="1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6" name="Freeform 119">
              <a:extLst>
                <a:ext uri="{FF2B5EF4-FFF2-40B4-BE49-F238E27FC236}">
                  <a16:creationId xmlns:a16="http://schemas.microsoft.com/office/drawing/2014/main" id="{9892B0CC-5136-464E-A0F2-E5D0FE443169}"/>
                </a:ext>
              </a:extLst>
            </p:cNvPr>
            <p:cNvSpPr>
              <a:spLocks/>
            </p:cNvSpPr>
            <p:nvPr/>
          </p:nvSpPr>
          <p:spPr bwMode="auto">
            <a:xfrm>
              <a:off x="8162925" y="2603183"/>
              <a:ext cx="95250" cy="36513"/>
            </a:xfrm>
            <a:custGeom>
              <a:avLst/>
              <a:gdLst>
                <a:gd name="T0" fmla="*/ 285 w 300"/>
                <a:gd name="T1" fmla="*/ 0 h 116"/>
                <a:gd name="T2" fmla="*/ 15 w 300"/>
                <a:gd name="T3" fmla="*/ 0 h 116"/>
                <a:gd name="T4" fmla="*/ 11 w 300"/>
                <a:gd name="T5" fmla="*/ 0 h 116"/>
                <a:gd name="T6" fmla="*/ 8 w 300"/>
                <a:gd name="T7" fmla="*/ 1 h 116"/>
                <a:gd name="T8" fmla="*/ 6 w 300"/>
                <a:gd name="T9" fmla="*/ 3 h 116"/>
                <a:gd name="T10" fmla="*/ 4 w 300"/>
                <a:gd name="T11" fmla="*/ 4 h 116"/>
                <a:gd name="T12" fmla="*/ 2 w 300"/>
                <a:gd name="T13" fmla="*/ 6 h 116"/>
                <a:gd name="T14" fmla="*/ 1 w 300"/>
                <a:gd name="T15" fmla="*/ 9 h 116"/>
                <a:gd name="T16" fmla="*/ 0 w 300"/>
                <a:gd name="T17" fmla="*/ 11 h 116"/>
                <a:gd name="T18" fmla="*/ 0 w 300"/>
                <a:gd name="T19" fmla="*/ 15 h 116"/>
                <a:gd name="T20" fmla="*/ 0 w 300"/>
                <a:gd name="T21" fmla="*/ 18 h 116"/>
                <a:gd name="T22" fmla="*/ 1 w 300"/>
                <a:gd name="T23" fmla="*/ 21 h 116"/>
                <a:gd name="T24" fmla="*/ 2 w 300"/>
                <a:gd name="T25" fmla="*/ 23 h 116"/>
                <a:gd name="T26" fmla="*/ 4 w 300"/>
                <a:gd name="T27" fmla="*/ 25 h 116"/>
                <a:gd name="T28" fmla="*/ 6 w 300"/>
                <a:gd name="T29" fmla="*/ 27 h 116"/>
                <a:gd name="T30" fmla="*/ 8 w 300"/>
                <a:gd name="T31" fmla="*/ 29 h 116"/>
                <a:gd name="T32" fmla="*/ 11 w 300"/>
                <a:gd name="T33" fmla="*/ 30 h 116"/>
                <a:gd name="T34" fmla="*/ 15 w 300"/>
                <a:gd name="T35" fmla="*/ 30 h 116"/>
                <a:gd name="T36" fmla="*/ 270 w 300"/>
                <a:gd name="T37" fmla="*/ 30 h 116"/>
                <a:gd name="T38" fmla="*/ 270 w 300"/>
                <a:gd name="T39" fmla="*/ 101 h 116"/>
                <a:gd name="T40" fmla="*/ 271 w 300"/>
                <a:gd name="T41" fmla="*/ 104 h 116"/>
                <a:gd name="T42" fmla="*/ 271 w 300"/>
                <a:gd name="T43" fmla="*/ 107 h 116"/>
                <a:gd name="T44" fmla="*/ 273 w 300"/>
                <a:gd name="T45" fmla="*/ 109 h 116"/>
                <a:gd name="T46" fmla="*/ 274 w 300"/>
                <a:gd name="T47" fmla="*/ 112 h 116"/>
                <a:gd name="T48" fmla="*/ 276 w 300"/>
                <a:gd name="T49" fmla="*/ 113 h 116"/>
                <a:gd name="T50" fmla="*/ 279 w 300"/>
                <a:gd name="T51" fmla="*/ 115 h 116"/>
                <a:gd name="T52" fmla="*/ 282 w 300"/>
                <a:gd name="T53" fmla="*/ 115 h 116"/>
                <a:gd name="T54" fmla="*/ 285 w 300"/>
                <a:gd name="T55" fmla="*/ 116 h 116"/>
                <a:gd name="T56" fmla="*/ 288 w 300"/>
                <a:gd name="T57" fmla="*/ 115 h 116"/>
                <a:gd name="T58" fmla="*/ 291 w 300"/>
                <a:gd name="T59" fmla="*/ 115 h 116"/>
                <a:gd name="T60" fmla="*/ 293 w 300"/>
                <a:gd name="T61" fmla="*/ 113 h 116"/>
                <a:gd name="T62" fmla="*/ 296 w 300"/>
                <a:gd name="T63" fmla="*/ 112 h 116"/>
                <a:gd name="T64" fmla="*/ 298 w 300"/>
                <a:gd name="T65" fmla="*/ 109 h 116"/>
                <a:gd name="T66" fmla="*/ 299 w 300"/>
                <a:gd name="T67" fmla="*/ 107 h 116"/>
                <a:gd name="T68" fmla="*/ 300 w 300"/>
                <a:gd name="T69" fmla="*/ 104 h 116"/>
                <a:gd name="T70" fmla="*/ 300 w 300"/>
                <a:gd name="T71" fmla="*/ 101 h 116"/>
                <a:gd name="T72" fmla="*/ 300 w 300"/>
                <a:gd name="T73" fmla="*/ 15 h 116"/>
                <a:gd name="T74" fmla="*/ 300 w 300"/>
                <a:gd name="T75" fmla="*/ 11 h 116"/>
                <a:gd name="T76" fmla="*/ 299 w 300"/>
                <a:gd name="T77" fmla="*/ 9 h 116"/>
                <a:gd name="T78" fmla="*/ 298 w 300"/>
                <a:gd name="T79" fmla="*/ 6 h 116"/>
                <a:gd name="T80" fmla="*/ 296 w 300"/>
                <a:gd name="T81" fmla="*/ 4 h 116"/>
                <a:gd name="T82" fmla="*/ 293 w 300"/>
                <a:gd name="T83" fmla="*/ 3 h 116"/>
                <a:gd name="T84" fmla="*/ 291 w 300"/>
                <a:gd name="T85" fmla="*/ 1 h 116"/>
                <a:gd name="T86" fmla="*/ 288 w 300"/>
                <a:gd name="T87" fmla="*/ 0 h 116"/>
                <a:gd name="T88" fmla="*/ 285 w 300"/>
                <a:gd name="T8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0" h="116">
                  <a:moveTo>
                    <a:pt x="285" y="0"/>
                  </a:moveTo>
                  <a:lnTo>
                    <a:pt x="15" y="0"/>
                  </a:lnTo>
                  <a:lnTo>
                    <a:pt x="11" y="0"/>
                  </a:lnTo>
                  <a:lnTo>
                    <a:pt x="8" y="1"/>
                  </a:lnTo>
                  <a:lnTo>
                    <a:pt x="6" y="3"/>
                  </a:lnTo>
                  <a:lnTo>
                    <a:pt x="4" y="4"/>
                  </a:lnTo>
                  <a:lnTo>
                    <a:pt x="2" y="6"/>
                  </a:lnTo>
                  <a:lnTo>
                    <a:pt x="1" y="9"/>
                  </a:lnTo>
                  <a:lnTo>
                    <a:pt x="0" y="11"/>
                  </a:lnTo>
                  <a:lnTo>
                    <a:pt x="0" y="15"/>
                  </a:lnTo>
                  <a:lnTo>
                    <a:pt x="0" y="18"/>
                  </a:lnTo>
                  <a:lnTo>
                    <a:pt x="1" y="21"/>
                  </a:lnTo>
                  <a:lnTo>
                    <a:pt x="2" y="23"/>
                  </a:lnTo>
                  <a:lnTo>
                    <a:pt x="4" y="25"/>
                  </a:lnTo>
                  <a:lnTo>
                    <a:pt x="6" y="27"/>
                  </a:lnTo>
                  <a:lnTo>
                    <a:pt x="8" y="29"/>
                  </a:lnTo>
                  <a:lnTo>
                    <a:pt x="11" y="30"/>
                  </a:lnTo>
                  <a:lnTo>
                    <a:pt x="15" y="30"/>
                  </a:lnTo>
                  <a:lnTo>
                    <a:pt x="270" y="30"/>
                  </a:lnTo>
                  <a:lnTo>
                    <a:pt x="270" y="101"/>
                  </a:lnTo>
                  <a:lnTo>
                    <a:pt x="271" y="104"/>
                  </a:lnTo>
                  <a:lnTo>
                    <a:pt x="271" y="107"/>
                  </a:lnTo>
                  <a:lnTo>
                    <a:pt x="273" y="109"/>
                  </a:lnTo>
                  <a:lnTo>
                    <a:pt x="274" y="112"/>
                  </a:lnTo>
                  <a:lnTo>
                    <a:pt x="276" y="113"/>
                  </a:lnTo>
                  <a:lnTo>
                    <a:pt x="279" y="115"/>
                  </a:lnTo>
                  <a:lnTo>
                    <a:pt x="282" y="115"/>
                  </a:lnTo>
                  <a:lnTo>
                    <a:pt x="285" y="116"/>
                  </a:lnTo>
                  <a:lnTo>
                    <a:pt x="288" y="115"/>
                  </a:lnTo>
                  <a:lnTo>
                    <a:pt x="291" y="115"/>
                  </a:lnTo>
                  <a:lnTo>
                    <a:pt x="293" y="113"/>
                  </a:lnTo>
                  <a:lnTo>
                    <a:pt x="296" y="112"/>
                  </a:lnTo>
                  <a:lnTo>
                    <a:pt x="298" y="109"/>
                  </a:lnTo>
                  <a:lnTo>
                    <a:pt x="299" y="107"/>
                  </a:lnTo>
                  <a:lnTo>
                    <a:pt x="300" y="104"/>
                  </a:lnTo>
                  <a:lnTo>
                    <a:pt x="300" y="101"/>
                  </a:lnTo>
                  <a:lnTo>
                    <a:pt x="300" y="15"/>
                  </a:lnTo>
                  <a:lnTo>
                    <a:pt x="300" y="11"/>
                  </a:lnTo>
                  <a:lnTo>
                    <a:pt x="299" y="9"/>
                  </a:lnTo>
                  <a:lnTo>
                    <a:pt x="298" y="6"/>
                  </a:lnTo>
                  <a:lnTo>
                    <a:pt x="296" y="4"/>
                  </a:lnTo>
                  <a:lnTo>
                    <a:pt x="293" y="3"/>
                  </a:lnTo>
                  <a:lnTo>
                    <a:pt x="291" y="1"/>
                  </a:lnTo>
                  <a:lnTo>
                    <a:pt x="288"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7" name="Freeform 120">
              <a:extLst>
                <a:ext uri="{FF2B5EF4-FFF2-40B4-BE49-F238E27FC236}">
                  <a16:creationId xmlns:a16="http://schemas.microsoft.com/office/drawing/2014/main" id="{101CD998-6A55-462D-B7B5-06A0559BA185}"/>
                </a:ext>
              </a:extLst>
            </p:cNvPr>
            <p:cNvSpPr>
              <a:spLocks/>
            </p:cNvSpPr>
            <p:nvPr/>
          </p:nvSpPr>
          <p:spPr bwMode="auto">
            <a:xfrm>
              <a:off x="8421688" y="2603183"/>
              <a:ext cx="26988" cy="73025"/>
            </a:xfrm>
            <a:custGeom>
              <a:avLst/>
              <a:gdLst>
                <a:gd name="T0" fmla="*/ 72 w 87"/>
                <a:gd name="T1" fmla="*/ 0 h 230"/>
                <a:gd name="T2" fmla="*/ 16 w 87"/>
                <a:gd name="T3" fmla="*/ 0 h 230"/>
                <a:gd name="T4" fmla="*/ 12 w 87"/>
                <a:gd name="T5" fmla="*/ 0 h 230"/>
                <a:gd name="T6" fmla="*/ 10 w 87"/>
                <a:gd name="T7" fmla="*/ 1 h 230"/>
                <a:gd name="T8" fmla="*/ 7 w 87"/>
                <a:gd name="T9" fmla="*/ 3 h 230"/>
                <a:gd name="T10" fmla="*/ 5 w 87"/>
                <a:gd name="T11" fmla="*/ 4 h 230"/>
                <a:gd name="T12" fmla="*/ 3 w 87"/>
                <a:gd name="T13" fmla="*/ 6 h 230"/>
                <a:gd name="T14" fmla="*/ 2 w 87"/>
                <a:gd name="T15" fmla="*/ 9 h 230"/>
                <a:gd name="T16" fmla="*/ 0 w 87"/>
                <a:gd name="T17" fmla="*/ 11 h 230"/>
                <a:gd name="T18" fmla="*/ 0 w 87"/>
                <a:gd name="T19" fmla="*/ 15 h 230"/>
                <a:gd name="T20" fmla="*/ 0 w 87"/>
                <a:gd name="T21" fmla="*/ 215 h 230"/>
                <a:gd name="T22" fmla="*/ 0 w 87"/>
                <a:gd name="T23" fmla="*/ 217 h 230"/>
                <a:gd name="T24" fmla="*/ 2 w 87"/>
                <a:gd name="T25" fmla="*/ 221 h 230"/>
                <a:gd name="T26" fmla="*/ 3 w 87"/>
                <a:gd name="T27" fmla="*/ 223 h 230"/>
                <a:gd name="T28" fmla="*/ 5 w 87"/>
                <a:gd name="T29" fmla="*/ 226 h 230"/>
                <a:gd name="T30" fmla="*/ 7 w 87"/>
                <a:gd name="T31" fmla="*/ 227 h 230"/>
                <a:gd name="T32" fmla="*/ 10 w 87"/>
                <a:gd name="T33" fmla="*/ 229 h 230"/>
                <a:gd name="T34" fmla="*/ 12 w 87"/>
                <a:gd name="T35" fmla="*/ 229 h 230"/>
                <a:gd name="T36" fmla="*/ 16 w 87"/>
                <a:gd name="T37" fmla="*/ 230 h 230"/>
                <a:gd name="T38" fmla="*/ 19 w 87"/>
                <a:gd name="T39" fmla="*/ 229 h 230"/>
                <a:gd name="T40" fmla="*/ 21 w 87"/>
                <a:gd name="T41" fmla="*/ 229 h 230"/>
                <a:gd name="T42" fmla="*/ 24 w 87"/>
                <a:gd name="T43" fmla="*/ 227 h 230"/>
                <a:gd name="T44" fmla="*/ 26 w 87"/>
                <a:gd name="T45" fmla="*/ 226 h 230"/>
                <a:gd name="T46" fmla="*/ 28 w 87"/>
                <a:gd name="T47" fmla="*/ 224 h 230"/>
                <a:gd name="T48" fmla="*/ 29 w 87"/>
                <a:gd name="T49" fmla="*/ 221 h 230"/>
                <a:gd name="T50" fmla="*/ 31 w 87"/>
                <a:gd name="T51" fmla="*/ 217 h 230"/>
                <a:gd name="T52" fmla="*/ 31 w 87"/>
                <a:gd name="T53" fmla="*/ 215 h 230"/>
                <a:gd name="T54" fmla="*/ 31 w 87"/>
                <a:gd name="T55" fmla="*/ 30 h 230"/>
                <a:gd name="T56" fmla="*/ 72 w 87"/>
                <a:gd name="T57" fmla="*/ 30 h 230"/>
                <a:gd name="T58" fmla="*/ 76 w 87"/>
                <a:gd name="T59" fmla="*/ 30 h 230"/>
                <a:gd name="T60" fmla="*/ 78 w 87"/>
                <a:gd name="T61" fmla="*/ 29 h 230"/>
                <a:gd name="T62" fmla="*/ 81 w 87"/>
                <a:gd name="T63" fmla="*/ 27 h 230"/>
                <a:gd name="T64" fmla="*/ 83 w 87"/>
                <a:gd name="T65" fmla="*/ 25 h 230"/>
                <a:gd name="T66" fmla="*/ 85 w 87"/>
                <a:gd name="T67" fmla="*/ 23 h 230"/>
                <a:gd name="T68" fmla="*/ 86 w 87"/>
                <a:gd name="T69" fmla="*/ 21 h 230"/>
                <a:gd name="T70" fmla="*/ 87 w 87"/>
                <a:gd name="T71" fmla="*/ 18 h 230"/>
                <a:gd name="T72" fmla="*/ 87 w 87"/>
                <a:gd name="T73" fmla="*/ 15 h 230"/>
                <a:gd name="T74" fmla="*/ 87 w 87"/>
                <a:gd name="T75" fmla="*/ 11 h 230"/>
                <a:gd name="T76" fmla="*/ 86 w 87"/>
                <a:gd name="T77" fmla="*/ 9 h 230"/>
                <a:gd name="T78" fmla="*/ 85 w 87"/>
                <a:gd name="T79" fmla="*/ 6 h 230"/>
                <a:gd name="T80" fmla="*/ 83 w 87"/>
                <a:gd name="T81" fmla="*/ 4 h 230"/>
                <a:gd name="T82" fmla="*/ 81 w 87"/>
                <a:gd name="T83" fmla="*/ 3 h 230"/>
                <a:gd name="T84" fmla="*/ 78 w 87"/>
                <a:gd name="T85" fmla="*/ 1 h 230"/>
                <a:gd name="T86" fmla="*/ 76 w 87"/>
                <a:gd name="T87" fmla="*/ 0 h 230"/>
                <a:gd name="T88" fmla="*/ 72 w 87"/>
                <a:gd name="T8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230">
                  <a:moveTo>
                    <a:pt x="72" y="0"/>
                  </a:moveTo>
                  <a:lnTo>
                    <a:pt x="16" y="0"/>
                  </a:lnTo>
                  <a:lnTo>
                    <a:pt x="12" y="0"/>
                  </a:lnTo>
                  <a:lnTo>
                    <a:pt x="10" y="1"/>
                  </a:lnTo>
                  <a:lnTo>
                    <a:pt x="7" y="3"/>
                  </a:lnTo>
                  <a:lnTo>
                    <a:pt x="5" y="4"/>
                  </a:lnTo>
                  <a:lnTo>
                    <a:pt x="3" y="6"/>
                  </a:lnTo>
                  <a:lnTo>
                    <a:pt x="2" y="9"/>
                  </a:lnTo>
                  <a:lnTo>
                    <a:pt x="0" y="11"/>
                  </a:lnTo>
                  <a:lnTo>
                    <a:pt x="0" y="15"/>
                  </a:lnTo>
                  <a:lnTo>
                    <a:pt x="0" y="215"/>
                  </a:lnTo>
                  <a:lnTo>
                    <a:pt x="0" y="217"/>
                  </a:lnTo>
                  <a:lnTo>
                    <a:pt x="2" y="221"/>
                  </a:lnTo>
                  <a:lnTo>
                    <a:pt x="3" y="223"/>
                  </a:lnTo>
                  <a:lnTo>
                    <a:pt x="5" y="226"/>
                  </a:lnTo>
                  <a:lnTo>
                    <a:pt x="7" y="227"/>
                  </a:lnTo>
                  <a:lnTo>
                    <a:pt x="10" y="229"/>
                  </a:lnTo>
                  <a:lnTo>
                    <a:pt x="12" y="229"/>
                  </a:lnTo>
                  <a:lnTo>
                    <a:pt x="16" y="230"/>
                  </a:lnTo>
                  <a:lnTo>
                    <a:pt x="19" y="229"/>
                  </a:lnTo>
                  <a:lnTo>
                    <a:pt x="21" y="229"/>
                  </a:lnTo>
                  <a:lnTo>
                    <a:pt x="24" y="227"/>
                  </a:lnTo>
                  <a:lnTo>
                    <a:pt x="26" y="226"/>
                  </a:lnTo>
                  <a:lnTo>
                    <a:pt x="28" y="224"/>
                  </a:lnTo>
                  <a:lnTo>
                    <a:pt x="29" y="221"/>
                  </a:lnTo>
                  <a:lnTo>
                    <a:pt x="31" y="217"/>
                  </a:lnTo>
                  <a:lnTo>
                    <a:pt x="31" y="215"/>
                  </a:lnTo>
                  <a:lnTo>
                    <a:pt x="31" y="30"/>
                  </a:lnTo>
                  <a:lnTo>
                    <a:pt x="72" y="30"/>
                  </a:lnTo>
                  <a:lnTo>
                    <a:pt x="76" y="30"/>
                  </a:lnTo>
                  <a:lnTo>
                    <a:pt x="78" y="29"/>
                  </a:lnTo>
                  <a:lnTo>
                    <a:pt x="81" y="27"/>
                  </a:lnTo>
                  <a:lnTo>
                    <a:pt x="83" y="25"/>
                  </a:lnTo>
                  <a:lnTo>
                    <a:pt x="85" y="23"/>
                  </a:lnTo>
                  <a:lnTo>
                    <a:pt x="86" y="21"/>
                  </a:lnTo>
                  <a:lnTo>
                    <a:pt x="87" y="18"/>
                  </a:lnTo>
                  <a:lnTo>
                    <a:pt x="87" y="15"/>
                  </a:lnTo>
                  <a:lnTo>
                    <a:pt x="87" y="11"/>
                  </a:lnTo>
                  <a:lnTo>
                    <a:pt x="86" y="9"/>
                  </a:lnTo>
                  <a:lnTo>
                    <a:pt x="85" y="6"/>
                  </a:lnTo>
                  <a:lnTo>
                    <a:pt x="83" y="4"/>
                  </a:lnTo>
                  <a:lnTo>
                    <a:pt x="81" y="3"/>
                  </a:lnTo>
                  <a:lnTo>
                    <a:pt x="78" y="1"/>
                  </a:lnTo>
                  <a:lnTo>
                    <a:pt x="76"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8" name="Freeform 121">
              <a:extLst>
                <a:ext uri="{FF2B5EF4-FFF2-40B4-BE49-F238E27FC236}">
                  <a16:creationId xmlns:a16="http://schemas.microsoft.com/office/drawing/2014/main" id="{CB215CD3-50AE-4720-8F6B-95BCFFF6BE55}"/>
                </a:ext>
              </a:extLst>
            </p:cNvPr>
            <p:cNvSpPr>
              <a:spLocks/>
            </p:cNvSpPr>
            <p:nvPr/>
          </p:nvSpPr>
          <p:spPr bwMode="auto">
            <a:xfrm>
              <a:off x="8401050" y="2630170"/>
              <a:ext cx="9525" cy="46038"/>
            </a:xfrm>
            <a:custGeom>
              <a:avLst/>
              <a:gdLst>
                <a:gd name="T0" fmla="*/ 0 w 30"/>
                <a:gd name="T1" fmla="*/ 15 h 144"/>
                <a:gd name="T2" fmla="*/ 0 w 30"/>
                <a:gd name="T3" fmla="*/ 129 h 144"/>
                <a:gd name="T4" fmla="*/ 0 w 30"/>
                <a:gd name="T5" fmla="*/ 131 h 144"/>
                <a:gd name="T6" fmla="*/ 1 w 30"/>
                <a:gd name="T7" fmla="*/ 135 h 144"/>
                <a:gd name="T8" fmla="*/ 2 w 30"/>
                <a:gd name="T9" fmla="*/ 137 h 144"/>
                <a:gd name="T10" fmla="*/ 5 w 30"/>
                <a:gd name="T11" fmla="*/ 140 h 144"/>
                <a:gd name="T12" fmla="*/ 7 w 30"/>
                <a:gd name="T13" fmla="*/ 141 h 144"/>
                <a:gd name="T14" fmla="*/ 9 w 30"/>
                <a:gd name="T15" fmla="*/ 143 h 144"/>
                <a:gd name="T16" fmla="*/ 12 w 30"/>
                <a:gd name="T17" fmla="*/ 143 h 144"/>
                <a:gd name="T18" fmla="*/ 15 w 30"/>
                <a:gd name="T19" fmla="*/ 144 h 144"/>
                <a:gd name="T20" fmla="*/ 18 w 30"/>
                <a:gd name="T21" fmla="*/ 143 h 144"/>
                <a:gd name="T22" fmla="*/ 21 w 30"/>
                <a:gd name="T23" fmla="*/ 143 h 144"/>
                <a:gd name="T24" fmla="*/ 24 w 30"/>
                <a:gd name="T25" fmla="*/ 141 h 144"/>
                <a:gd name="T26" fmla="*/ 26 w 30"/>
                <a:gd name="T27" fmla="*/ 140 h 144"/>
                <a:gd name="T28" fmla="*/ 27 w 30"/>
                <a:gd name="T29" fmla="*/ 138 h 144"/>
                <a:gd name="T30" fmla="*/ 29 w 30"/>
                <a:gd name="T31" fmla="*/ 135 h 144"/>
                <a:gd name="T32" fmla="*/ 30 w 30"/>
                <a:gd name="T33" fmla="*/ 131 h 144"/>
                <a:gd name="T34" fmla="*/ 30 w 30"/>
                <a:gd name="T35" fmla="*/ 129 h 144"/>
                <a:gd name="T36" fmla="*/ 30 w 30"/>
                <a:gd name="T37" fmla="*/ 15 h 144"/>
                <a:gd name="T38" fmla="*/ 30 w 30"/>
                <a:gd name="T39" fmla="*/ 12 h 144"/>
                <a:gd name="T40" fmla="*/ 29 w 30"/>
                <a:gd name="T41" fmla="*/ 9 h 144"/>
                <a:gd name="T42" fmla="*/ 27 w 30"/>
                <a:gd name="T43" fmla="*/ 7 h 144"/>
                <a:gd name="T44" fmla="*/ 26 w 30"/>
                <a:gd name="T45" fmla="*/ 5 h 144"/>
                <a:gd name="T46" fmla="*/ 24 w 30"/>
                <a:gd name="T47" fmla="*/ 3 h 144"/>
                <a:gd name="T48" fmla="*/ 21 w 30"/>
                <a:gd name="T49" fmla="*/ 2 h 144"/>
                <a:gd name="T50" fmla="*/ 18 w 30"/>
                <a:gd name="T51" fmla="*/ 0 h 144"/>
                <a:gd name="T52" fmla="*/ 15 w 30"/>
                <a:gd name="T53" fmla="*/ 0 h 144"/>
                <a:gd name="T54" fmla="*/ 12 w 30"/>
                <a:gd name="T55" fmla="*/ 0 h 144"/>
                <a:gd name="T56" fmla="*/ 9 w 30"/>
                <a:gd name="T57" fmla="*/ 2 h 144"/>
                <a:gd name="T58" fmla="*/ 7 w 30"/>
                <a:gd name="T59" fmla="*/ 3 h 144"/>
                <a:gd name="T60" fmla="*/ 5 w 30"/>
                <a:gd name="T61" fmla="*/ 5 h 144"/>
                <a:gd name="T62" fmla="*/ 2 w 30"/>
                <a:gd name="T63" fmla="*/ 7 h 144"/>
                <a:gd name="T64" fmla="*/ 1 w 30"/>
                <a:gd name="T65" fmla="*/ 9 h 144"/>
                <a:gd name="T66" fmla="*/ 0 w 30"/>
                <a:gd name="T67" fmla="*/ 12 h 144"/>
                <a:gd name="T68" fmla="*/ 0 w 30"/>
                <a:gd name="T69" fmla="*/ 1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44">
                  <a:moveTo>
                    <a:pt x="0" y="15"/>
                  </a:moveTo>
                  <a:lnTo>
                    <a:pt x="0" y="129"/>
                  </a:lnTo>
                  <a:lnTo>
                    <a:pt x="0" y="131"/>
                  </a:lnTo>
                  <a:lnTo>
                    <a:pt x="1" y="135"/>
                  </a:lnTo>
                  <a:lnTo>
                    <a:pt x="2" y="137"/>
                  </a:lnTo>
                  <a:lnTo>
                    <a:pt x="5" y="140"/>
                  </a:lnTo>
                  <a:lnTo>
                    <a:pt x="7" y="141"/>
                  </a:lnTo>
                  <a:lnTo>
                    <a:pt x="9" y="143"/>
                  </a:lnTo>
                  <a:lnTo>
                    <a:pt x="12" y="143"/>
                  </a:lnTo>
                  <a:lnTo>
                    <a:pt x="15" y="144"/>
                  </a:lnTo>
                  <a:lnTo>
                    <a:pt x="18" y="143"/>
                  </a:lnTo>
                  <a:lnTo>
                    <a:pt x="21" y="143"/>
                  </a:lnTo>
                  <a:lnTo>
                    <a:pt x="24" y="141"/>
                  </a:lnTo>
                  <a:lnTo>
                    <a:pt x="26" y="140"/>
                  </a:lnTo>
                  <a:lnTo>
                    <a:pt x="27" y="138"/>
                  </a:lnTo>
                  <a:lnTo>
                    <a:pt x="29" y="135"/>
                  </a:lnTo>
                  <a:lnTo>
                    <a:pt x="30" y="131"/>
                  </a:lnTo>
                  <a:lnTo>
                    <a:pt x="30" y="129"/>
                  </a:lnTo>
                  <a:lnTo>
                    <a:pt x="30" y="15"/>
                  </a:lnTo>
                  <a:lnTo>
                    <a:pt x="30" y="12"/>
                  </a:lnTo>
                  <a:lnTo>
                    <a:pt x="29" y="9"/>
                  </a:lnTo>
                  <a:lnTo>
                    <a:pt x="27" y="7"/>
                  </a:lnTo>
                  <a:lnTo>
                    <a:pt x="26" y="5"/>
                  </a:lnTo>
                  <a:lnTo>
                    <a:pt x="24" y="3"/>
                  </a:lnTo>
                  <a:lnTo>
                    <a:pt x="21" y="2"/>
                  </a:lnTo>
                  <a:lnTo>
                    <a:pt x="18" y="0"/>
                  </a:lnTo>
                  <a:lnTo>
                    <a:pt x="15" y="0"/>
                  </a:lnTo>
                  <a:lnTo>
                    <a:pt x="12" y="0"/>
                  </a:lnTo>
                  <a:lnTo>
                    <a:pt x="9" y="2"/>
                  </a:lnTo>
                  <a:lnTo>
                    <a:pt x="7" y="3"/>
                  </a:lnTo>
                  <a:lnTo>
                    <a:pt x="5" y="5"/>
                  </a:lnTo>
                  <a:lnTo>
                    <a:pt x="2" y="7"/>
                  </a:lnTo>
                  <a:lnTo>
                    <a:pt x="1" y="9"/>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9" name="Freeform 122">
              <a:extLst>
                <a:ext uri="{FF2B5EF4-FFF2-40B4-BE49-F238E27FC236}">
                  <a16:creationId xmlns:a16="http://schemas.microsoft.com/office/drawing/2014/main" id="{FF59F2FD-17DD-44BB-B141-094ADFD8B850}"/>
                </a:ext>
              </a:extLst>
            </p:cNvPr>
            <p:cNvSpPr>
              <a:spLocks/>
            </p:cNvSpPr>
            <p:nvPr/>
          </p:nvSpPr>
          <p:spPr bwMode="auto">
            <a:xfrm>
              <a:off x="8334375" y="2603183"/>
              <a:ext cx="73025" cy="36513"/>
            </a:xfrm>
            <a:custGeom>
              <a:avLst/>
              <a:gdLst>
                <a:gd name="T0" fmla="*/ 212 w 227"/>
                <a:gd name="T1" fmla="*/ 0 h 116"/>
                <a:gd name="T2" fmla="*/ 15 w 227"/>
                <a:gd name="T3" fmla="*/ 0 h 116"/>
                <a:gd name="T4" fmla="*/ 12 w 227"/>
                <a:gd name="T5" fmla="*/ 0 h 116"/>
                <a:gd name="T6" fmla="*/ 9 w 227"/>
                <a:gd name="T7" fmla="*/ 1 h 116"/>
                <a:gd name="T8" fmla="*/ 7 w 227"/>
                <a:gd name="T9" fmla="*/ 3 h 116"/>
                <a:gd name="T10" fmla="*/ 4 w 227"/>
                <a:gd name="T11" fmla="*/ 4 h 116"/>
                <a:gd name="T12" fmla="*/ 2 w 227"/>
                <a:gd name="T13" fmla="*/ 6 h 116"/>
                <a:gd name="T14" fmla="*/ 1 w 227"/>
                <a:gd name="T15" fmla="*/ 9 h 116"/>
                <a:gd name="T16" fmla="*/ 0 w 227"/>
                <a:gd name="T17" fmla="*/ 11 h 116"/>
                <a:gd name="T18" fmla="*/ 0 w 227"/>
                <a:gd name="T19" fmla="*/ 15 h 116"/>
                <a:gd name="T20" fmla="*/ 0 w 227"/>
                <a:gd name="T21" fmla="*/ 101 h 116"/>
                <a:gd name="T22" fmla="*/ 0 w 227"/>
                <a:gd name="T23" fmla="*/ 104 h 116"/>
                <a:gd name="T24" fmla="*/ 1 w 227"/>
                <a:gd name="T25" fmla="*/ 107 h 116"/>
                <a:gd name="T26" fmla="*/ 2 w 227"/>
                <a:gd name="T27" fmla="*/ 109 h 116"/>
                <a:gd name="T28" fmla="*/ 4 w 227"/>
                <a:gd name="T29" fmla="*/ 112 h 116"/>
                <a:gd name="T30" fmla="*/ 7 w 227"/>
                <a:gd name="T31" fmla="*/ 113 h 116"/>
                <a:gd name="T32" fmla="*/ 9 w 227"/>
                <a:gd name="T33" fmla="*/ 115 h 116"/>
                <a:gd name="T34" fmla="*/ 12 w 227"/>
                <a:gd name="T35" fmla="*/ 115 h 116"/>
                <a:gd name="T36" fmla="*/ 15 w 227"/>
                <a:gd name="T37" fmla="*/ 116 h 116"/>
                <a:gd name="T38" fmla="*/ 17 w 227"/>
                <a:gd name="T39" fmla="*/ 115 h 116"/>
                <a:gd name="T40" fmla="*/ 20 w 227"/>
                <a:gd name="T41" fmla="*/ 115 h 116"/>
                <a:gd name="T42" fmla="*/ 23 w 227"/>
                <a:gd name="T43" fmla="*/ 113 h 116"/>
                <a:gd name="T44" fmla="*/ 26 w 227"/>
                <a:gd name="T45" fmla="*/ 112 h 116"/>
                <a:gd name="T46" fmla="*/ 27 w 227"/>
                <a:gd name="T47" fmla="*/ 109 h 116"/>
                <a:gd name="T48" fmla="*/ 29 w 227"/>
                <a:gd name="T49" fmla="*/ 107 h 116"/>
                <a:gd name="T50" fmla="*/ 29 w 227"/>
                <a:gd name="T51" fmla="*/ 104 h 116"/>
                <a:gd name="T52" fmla="*/ 30 w 227"/>
                <a:gd name="T53" fmla="*/ 101 h 116"/>
                <a:gd name="T54" fmla="*/ 30 w 227"/>
                <a:gd name="T55" fmla="*/ 30 h 116"/>
                <a:gd name="T56" fmla="*/ 212 w 227"/>
                <a:gd name="T57" fmla="*/ 30 h 116"/>
                <a:gd name="T58" fmla="*/ 216 w 227"/>
                <a:gd name="T59" fmla="*/ 30 h 116"/>
                <a:gd name="T60" fmla="*/ 219 w 227"/>
                <a:gd name="T61" fmla="*/ 29 h 116"/>
                <a:gd name="T62" fmla="*/ 221 w 227"/>
                <a:gd name="T63" fmla="*/ 27 h 116"/>
                <a:gd name="T64" fmla="*/ 223 w 227"/>
                <a:gd name="T65" fmla="*/ 25 h 116"/>
                <a:gd name="T66" fmla="*/ 225 w 227"/>
                <a:gd name="T67" fmla="*/ 23 h 116"/>
                <a:gd name="T68" fmla="*/ 226 w 227"/>
                <a:gd name="T69" fmla="*/ 21 h 116"/>
                <a:gd name="T70" fmla="*/ 227 w 227"/>
                <a:gd name="T71" fmla="*/ 18 h 116"/>
                <a:gd name="T72" fmla="*/ 227 w 227"/>
                <a:gd name="T73" fmla="*/ 15 h 116"/>
                <a:gd name="T74" fmla="*/ 227 w 227"/>
                <a:gd name="T75" fmla="*/ 11 h 116"/>
                <a:gd name="T76" fmla="*/ 226 w 227"/>
                <a:gd name="T77" fmla="*/ 9 h 116"/>
                <a:gd name="T78" fmla="*/ 225 w 227"/>
                <a:gd name="T79" fmla="*/ 6 h 116"/>
                <a:gd name="T80" fmla="*/ 223 w 227"/>
                <a:gd name="T81" fmla="*/ 4 h 116"/>
                <a:gd name="T82" fmla="*/ 221 w 227"/>
                <a:gd name="T83" fmla="*/ 3 h 116"/>
                <a:gd name="T84" fmla="*/ 219 w 227"/>
                <a:gd name="T85" fmla="*/ 1 h 116"/>
                <a:gd name="T86" fmla="*/ 216 w 227"/>
                <a:gd name="T87" fmla="*/ 0 h 116"/>
                <a:gd name="T88" fmla="*/ 212 w 227"/>
                <a:gd name="T8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 h="116">
                  <a:moveTo>
                    <a:pt x="212" y="0"/>
                  </a:moveTo>
                  <a:lnTo>
                    <a:pt x="15" y="0"/>
                  </a:lnTo>
                  <a:lnTo>
                    <a:pt x="12" y="0"/>
                  </a:lnTo>
                  <a:lnTo>
                    <a:pt x="9" y="1"/>
                  </a:lnTo>
                  <a:lnTo>
                    <a:pt x="7" y="3"/>
                  </a:lnTo>
                  <a:lnTo>
                    <a:pt x="4" y="4"/>
                  </a:lnTo>
                  <a:lnTo>
                    <a:pt x="2" y="6"/>
                  </a:lnTo>
                  <a:lnTo>
                    <a:pt x="1" y="9"/>
                  </a:lnTo>
                  <a:lnTo>
                    <a:pt x="0" y="11"/>
                  </a:lnTo>
                  <a:lnTo>
                    <a:pt x="0" y="15"/>
                  </a:lnTo>
                  <a:lnTo>
                    <a:pt x="0" y="101"/>
                  </a:lnTo>
                  <a:lnTo>
                    <a:pt x="0" y="104"/>
                  </a:lnTo>
                  <a:lnTo>
                    <a:pt x="1" y="107"/>
                  </a:lnTo>
                  <a:lnTo>
                    <a:pt x="2" y="109"/>
                  </a:lnTo>
                  <a:lnTo>
                    <a:pt x="4" y="112"/>
                  </a:lnTo>
                  <a:lnTo>
                    <a:pt x="7" y="113"/>
                  </a:lnTo>
                  <a:lnTo>
                    <a:pt x="9" y="115"/>
                  </a:lnTo>
                  <a:lnTo>
                    <a:pt x="12" y="115"/>
                  </a:lnTo>
                  <a:lnTo>
                    <a:pt x="15" y="116"/>
                  </a:lnTo>
                  <a:lnTo>
                    <a:pt x="17" y="115"/>
                  </a:lnTo>
                  <a:lnTo>
                    <a:pt x="20" y="115"/>
                  </a:lnTo>
                  <a:lnTo>
                    <a:pt x="23" y="113"/>
                  </a:lnTo>
                  <a:lnTo>
                    <a:pt x="26" y="112"/>
                  </a:lnTo>
                  <a:lnTo>
                    <a:pt x="27" y="109"/>
                  </a:lnTo>
                  <a:lnTo>
                    <a:pt x="29" y="107"/>
                  </a:lnTo>
                  <a:lnTo>
                    <a:pt x="29" y="104"/>
                  </a:lnTo>
                  <a:lnTo>
                    <a:pt x="30" y="101"/>
                  </a:lnTo>
                  <a:lnTo>
                    <a:pt x="30" y="30"/>
                  </a:lnTo>
                  <a:lnTo>
                    <a:pt x="212" y="30"/>
                  </a:lnTo>
                  <a:lnTo>
                    <a:pt x="216" y="30"/>
                  </a:lnTo>
                  <a:lnTo>
                    <a:pt x="219" y="29"/>
                  </a:lnTo>
                  <a:lnTo>
                    <a:pt x="221" y="27"/>
                  </a:lnTo>
                  <a:lnTo>
                    <a:pt x="223" y="25"/>
                  </a:lnTo>
                  <a:lnTo>
                    <a:pt x="225" y="23"/>
                  </a:lnTo>
                  <a:lnTo>
                    <a:pt x="226" y="21"/>
                  </a:lnTo>
                  <a:lnTo>
                    <a:pt x="227" y="18"/>
                  </a:lnTo>
                  <a:lnTo>
                    <a:pt x="227" y="15"/>
                  </a:lnTo>
                  <a:lnTo>
                    <a:pt x="227" y="11"/>
                  </a:lnTo>
                  <a:lnTo>
                    <a:pt x="226" y="9"/>
                  </a:lnTo>
                  <a:lnTo>
                    <a:pt x="225" y="6"/>
                  </a:lnTo>
                  <a:lnTo>
                    <a:pt x="223" y="4"/>
                  </a:lnTo>
                  <a:lnTo>
                    <a:pt x="221" y="3"/>
                  </a:lnTo>
                  <a:lnTo>
                    <a:pt x="219" y="1"/>
                  </a:lnTo>
                  <a:lnTo>
                    <a:pt x="216" y="0"/>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0" name="Freeform 123">
              <a:extLst>
                <a:ext uri="{FF2B5EF4-FFF2-40B4-BE49-F238E27FC236}">
                  <a16:creationId xmlns:a16="http://schemas.microsoft.com/office/drawing/2014/main" id="{64309393-53F0-4B4F-A675-C32D2C1C67FA}"/>
                </a:ext>
              </a:extLst>
            </p:cNvPr>
            <p:cNvSpPr>
              <a:spLocks/>
            </p:cNvSpPr>
            <p:nvPr/>
          </p:nvSpPr>
          <p:spPr bwMode="auto">
            <a:xfrm>
              <a:off x="8307388" y="2520633"/>
              <a:ext cx="36513" cy="63500"/>
            </a:xfrm>
            <a:custGeom>
              <a:avLst/>
              <a:gdLst>
                <a:gd name="T0" fmla="*/ 87 w 117"/>
                <a:gd name="T1" fmla="*/ 15 h 196"/>
                <a:gd name="T2" fmla="*/ 87 w 117"/>
                <a:gd name="T3" fmla="*/ 166 h 196"/>
                <a:gd name="T4" fmla="*/ 30 w 117"/>
                <a:gd name="T5" fmla="*/ 166 h 196"/>
                <a:gd name="T6" fmla="*/ 30 w 117"/>
                <a:gd name="T7" fmla="*/ 92 h 196"/>
                <a:gd name="T8" fmla="*/ 30 w 117"/>
                <a:gd name="T9" fmla="*/ 88 h 196"/>
                <a:gd name="T10" fmla="*/ 29 w 117"/>
                <a:gd name="T11" fmla="*/ 86 h 196"/>
                <a:gd name="T12" fmla="*/ 28 w 117"/>
                <a:gd name="T13" fmla="*/ 83 h 196"/>
                <a:gd name="T14" fmla="*/ 26 w 117"/>
                <a:gd name="T15" fmla="*/ 81 h 196"/>
                <a:gd name="T16" fmla="*/ 24 w 117"/>
                <a:gd name="T17" fmla="*/ 80 h 196"/>
                <a:gd name="T18" fmla="*/ 22 w 117"/>
                <a:gd name="T19" fmla="*/ 78 h 196"/>
                <a:gd name="T20" fmla="*/ 18 w 117"/>
                <a:gd name="T21" fmla="*/ 77 h 196"/>
                <a:gd name="T22" fmla="*/ 15 w 117"/>
                <a:gd name="T23" fmla="*/ 77 h 196"/>
                <a:gd name="T24" fmla="*/ 12 w 117"/>
                <a:gd name="T25" fmla="*/ 77 h 196"/>
                <a:gd name="T26" fmla="*/ 10 w 117"/>
                <a:gd name="T27" fmla="*/ 78 h 196"/>
                <a:gd name="T28" fmla="*/ 7 w 117"/>
                <a:gd name="T29" fmla="*/ 80 h 196"/>
                <a:gd name="T30" fmla="*/ 5 w 117"/>
                <a:gd name="T31" fmla="*/ 81 h 196"/>
                <a:gd name="T32" fmla="*/ 3 w 117"/>
                <a:gd name="T33" fmla="*/ 83 h 196"/>
                <a:gd name="T34" fmla="*/ 1 w 117"/>
                <a:gd name="T35" fmla="*/ 86 h 196"/>
                <a:gd name="T36" fmla="*/ 0 w 117"/>
                <a:gd name="T37" fmla="*/ 88 h 196"/>
                <a:gd name="T38" fmla="*/ 0 w 117"/>
                <a:gd name="T39" fmla="*/ 92 h 196"/>
                <a:gd name="T40" fmla="*/ 0 w 117"/>
                <a:gd name="T41" fmla="*/ 181 h 196"/>
                <a:gd name="T42" fmla="*/ 0 w 117"/>
                <a:gd name="T43" fmla="*/ 184 h 196"/>
                <a:gd name="T44" fmla="*/ 1 w 117"/>
                <a:gd name="T45" fmla="*/ 186 h 196"/>
                <a:gd name="T46" fmla="*/ 3 w 117"/>
                <a:gd name="T47" fmla="*/ 189 h 196"/>
                <a:gd name="T48" fmla="*/ 5 w 117"/>
                <a:gd name="T49" fmla="*/ 191 h 196"/>
                <a:gd name="T50" fmla="*/ 7 w 117"/>
                <a:gd name="T51" fmla="*/ 193 h 196"/>
                <a:gd name="T52" fmla="*/ 10 w 117"/>
                <a:gd name="T53" fmla="*/ 194 h 196"/>
                <a:gd name="T54" fmla="*/ 12 w 117"/>
                <a:gd name="T55" fmla="*/ 196 h 196"/>
                <a:gd name="T56" fmla="*/ 15 w 117"/>
                <a:gd name="T57" fmla="*/ 196 h 196"/>
                <a:gd name="T58" fmla="*/ 102 w 117"/>
                <a:gd name="T59" fmla="*/ 196 h 196"/>
                <a:gd name="T60" fmla="*/ 104 w 117"/>
                <a:gd name="T61" fmla="*/ 196 h 196"/>
                <a:gd name="T62" fmla="*/ 107 w 117"/>
                <a:gd name="T63" fmla="*/ 194 h 196"/>
                <a:gd name="T64" fmla="*/ 110 w 117"/>
                <a:gd name="T65" fmla="*/ 193 h 196"/>
                <a:gd name="T66" fmla="*/ 113 w 117"/>
                <a:gd name="T67" fmla="*/ 191 h 196"/>
                <a:gd name="T68" fmla="*/ 114 w 117"/>
                <a:gd name="T69" fmla="*/ 189 h 196"/>
                <a:gd name="T70" fmla="*/ 116 w 117"/>
                <a:gd name="T71" fmla="*/ 187 h 196"/>
                <a:gd name="T72" fmla="*/ 116 w 117"/>
                <a:gd name="T73" fmla="*/ 184 h 196"/>
                <a:gd name="T74" fmla="*/ 117 w 117"/>
                <a:gd name="T75" fmla="*/ 181 h 196"/>
                <a:gd name="T76" fmla="*/ 117 w 117"/>
                <a:gd name="T77" fmla="*/ 15 h 196"/>
                <a:gd name="T78" fmla="*/ 116 w 117"/>
                <a:gd name="T79" fmla="*/ 13 h 196"/>
                <a:gd name="T80" fmla="*/ 116 w 117"/>
                <a:gd name="T81" fmla="*/ 10 h 196"/>
                <a:gd name="T82" fmla="*/ 114 w 117"/>
                <a:gd name="T83" fmla="*/ 8 h 196"/>
                <a:gd name="T84" fmla="*/ 113 w 117"/>
                <a:gd name="T85" fmla="*/ 6 h 196"/>
                <a:gd name="T86" fmla="*/ 110 w 117"/>
                <a:gd name="T87" fmla="*/ 4 h 196"/>
                <a:gd name="T88" fmla="*/ 107 w 117"/>
                <a:gd name="T89" fmla="*/ 3 h 196"/>
                <a:gd name="T90" fmla="*/ 104 w 117"/>
                <a:gd name="T91" fmla="*/ 1 h 196"/>
                <a:gd name="T92" fmla="*/ 102 w 117"/>
                <a:gd name="T93" fmla="*/ 0 h 196"/>
                <a:gd name="T94" fmla="*/ 99 w 117"/>
                <a:gd name="T95" fmla="*/ 1 h 196"/>
                <a:gd name="T96" fmla="*/ 96 w 117"/>
                <a:gd name="T97" fmla="*/ 1 h 196"/>
                <a:gd name="T98" fmla="*/ 94 w 117"/>
                <a:gd name="T99" fmla="*/ 4 h 196"/>
                <a:gd name="T100" fmla="*/ 91 w 117"/>
                <a:gd name="T101" fmla="*/ 6 h 196"/>
                <a:gd name="T102" fmla="*/ 89 w 117"/>
                <a:gd name="T103" fmla="*/ 8 h 196"/>
                <a:gd name="T104" fmla="*/ 88 w 117"/>
                <a:gd name="T105" fmla="*/ 10 h 196"/>
                <a:gd name="T106" fmla="*/ 87 w 117"/>
                <a:gd name="T107" fmla="*/ 13 h 196"/>
                <a:gd name="T108" fmla="*/ 87 w 117"/>
                <a:gd name="T109" fmla="*/ 1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7" h="196">
                  <a:moveTo>
                    <a:pt x="87" y="15"/>
                  </a:moveTo>
                  <a:lnTo>
                    <a:pt x="87" y="166"/>
                  </a:lnTo>
                  <a:lnTo>
                    <a:pt x="30" y="166"/>
                  </a:lnTo>
                  <a:lnTo>
                    <a:pt x="30" y="92"/>
                  </a:lnTo>
                  <a:lnTo>
                    <a:pt x="30" y="88"/>
                  </a:lnTo>
                  <a:lnTo>
                    <a:pt x="29" y="86"/>
                  </a:lnTo>
                  <a:lnTo>
                    <a:pt x="28" y="83"/>
                  </a:lnTo>
                  <a:lnTo>
                    <a:pt x="26" y="81"/>
                  </a:lnTo>
                  <a:lnTo>
                    <a:pt x="24" y="80"/>
                  </a:lnTo>
                  <a:lnTo>
                    <a:pt x="22" y="78"/>
                  </a:lnTo>
                  <a:lnTo>
                    <a:pt x="18" y="77"/>
                  </a:lnTo>
                  <a:lnTo>
                    <a:pt x="15" y="77"/>
                  </a:lnTo>
                  <a:lnTo>
                    <a:pt x="12" y="77"/>
                  </a:lnTo>
                  <a:lnTo>
                    <a:pt x="10" y="78"/>
                  </a:lnTo>
                  <a:lnTo>
                    <a:pt x="7" y="80"/>
                  </a:lnTo>
                  <a:lnTo>
                    <a:pt x="5" y="81"/>
                  </a:lnTo>
                  <a:lnTo>
                    <a:pt x="3" y="83"/>
                  </a:lnTo>
                  <a:lnTo>
                    <a:pt x="1" y="86"/>
                  </a:lnTo>
                  <a:lnTo>
                    <a:pt x="0" y="88"/>
                  </a:lnTo>
                  <a:lnTo>
                    <a:pt x="0" y="92"/>
                  </a:lnTo>
                  <a:lnTo>
                    <a:pt x="0" y="181"/>
                  </a:lnTo>
                  <a:lnTo>
                    <a:pt x="0" y="184"/>
                  </a:lnTo>
                  <a:lnTo>
                    <a:pt x="1" y="186"/>
                  </a:lnTo>
                  <a:lnTo>
                    <a:pt x="3" y="189"/>
                  </a:lnTo>
                  <a:lnTo>
                    <a:pt x="5" y="191"/>
                  </a:lnTo>
                  <a:lnTo>
                    <a:pt x="7" y="193"/>
                  </a:lnTo>
                  <a:lnTo>
                    <a:pt x="10" y="194"/>
                  </a:lnTo>
                  <a:lnTo>
                    <a:pt x="12" y="196"/>
                  </a:lnTo>
                  <a:lnTo>
                    <a:pt x="15" y="196"/>
                  </a:lnTo>
                  <a:lnTo>
                    <a:pt x="102" y="196"/>
                  </a:lnTo>
                  <a:lnTo>
                    <a:pt x="104" y="196"/>
                  </a:lnTo>
                  <a:lnTo>
                    <a:pt x="107" y="194"/>
                  </a:lnTo>
                  <a:lnTo>
                    <a:pt x="110" y="193"/>
                  </a:lnTo>
                  <a:lnTo>
                    <a:pt x="113" y="191"/>
                  </a:lnTo>
                  <a:lnTo>
                    <a:pt x="114" y="189"/>
                  </a:lnTo>
                  <a:lnTo>
                    <a:pt x="116" y="187"/>
                  </a:lnTo>
                  <a:lnTo>
                    <a:pt x="116" y="184"/>
                  </a:lnTo>
                  <a:lnTo>
                    <a:pt x="117" y="181"/>
                  </a:lnTo>
                  <a:lnTo>
                    <a:pt x="117" y="15"/>
                  </a:lnTo>
                  <a:lnTo>
                    <a:pt x="116" y="13"/>
                  </a:lnTo>
                  <a:lnTo>
                    <a:pt x="116" y="10"/>
                  </a:lnTo>
                  <a:lnTo>
                    <a:pt x="114" y="8"/>
                  </a:lnTo>
                  <a:lnTo>
                    <a:pt x="113" y="6"/>
                  </a:lnTo>
                  <a:lnTo>
                    <a:pt x="110" y="4"/>
                  </a:lnTo>
                  <a:lnTo>
                    <a:pt x="107" y="3"/>
                  </a:lnTo>
                  <a:lnTo>
                    <a:pt x="104" y="1"/>
                  </a:lnTo>
                  <a:lnTo>
                    <a:pt x="102" y="0"/>
                  </a:lnTo>
                  <a:lnTo>
                    <a:pt x="99" y="1"/>
                  </a:lnTo>
                  <a:lnTo>
                    <a:pt x="96" y="1"/>
                  </a:lnTo>
                  <a:lnTo>
                    <a:pt x="94" y="4"/>
                  </a:lnTo>
                  <a:lnTo>
                    <a:pt x="91" y="6"/>
                  </a:lnTo>
                  <a:lnTo>
                    <a:pt x="89" y="8"/>
                  </a:lnTo>
                  <a:lnTo>
                    <a:pt x="88" y="10"/>
                  </a:lnTo>
                  <a:lnTo>
                    <a:pt x="87" y="13"/>
                  </a:lnTo>
                  <a:lnTo>
                    <a:pt x="8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1" name="Freeform 124">
              <a:extLst>
                <a:ext uri="{FF2B5EF4-FFF2-40B4-BE49-F238E27FC236}">
                  <a16:creationId xmlns:a16="http://schemas.microsoft.com/office/drawing/2014/main" id="{3C435ECE-54B0-4162-B580-39548E70E0AB}"/>
                </a:ext>
              </a:extLst>
            </p:cNvPr>
            <p:cNvSpPr>
              <a:spLocks/>
            </p:cNvSpPr>
            <p:nvPr/>
          </p:nvSpPr>
          <p:spPr bwMode="auto">
            <a:xfrm>
              <a:off x="8267700" y="2546033"/>
              <a:ext cx="9525" cy="44450"/>
            </a:xfrm>
            <a:custGeom>
              <a:avLst/>
              <a:gdLst>
                <a:gd name="T0" fmla="*/ 15 w 30"/>
                <a:gd name="T1" fmla="*/ 143 h 143"/>
                <a:gd name="T2" fmla="*/ 18 w 30"/>
                <a:gd name="T3" fmla="*/ 143 h 143"/>
                <a:gd name="T4" fmla="*/ 21 w 30"/>
                <a:gd name="T5" fmla="*/ 142 h 143"/>
                <a:gd name="T6" fmla="*/ 23 w 30"/>
                <a:gd name="T7" fmla="*/ 141 h 143"/>
                <a:gd name="T8" fmla="*/ 26 w 30"/>
                <a:gd name="T9" fmla="*/ 139 h 143"/>
                <a:gd name="T10" fmla="*/ 28 w 30"/>
                <a:gd name="T11" fmla="*/ 137 h 143"/>
                <a:gd name="T12" fmla="*/ 29 w 30"/>
                <a:gd name="T13" fmla="*/ 135 h 143"/>
                <a:gd name="T14" fmla="*/ 30 w 30"/>
                <a:gd name="T15" fmla="*/ 131 h 143"/>
                <a:gd name="T16" fmla="*/ 30 w 30"/>
                <a:gd name="T17" fmla="*/ 128 h 143"/>
                <a:gd name="T18" fmla="*/ 30 w 30"/>
                <a:gd name="T19" fmla="*/ 15 h 143"/>
                <a:gd name="T20" fmla="*/ 30 w 30"/>
                <a:gd name="T21" fmla="*/ 11 h 143"/>
                <a:gd name="T22" fmla="*/ 29 w 30"/>
                <a:gd name="T23" fmla="*/ 9 h 143"/>
                <a:gd name="T24" fmla="*/ 28 w 30"/>
                <a:gd name="T25" fmla="*/ 6 h 143"/>
                <a:gd name="T26" fmla="*/ 26 w 30"/>
                <a:gd name="T27" fmla="*/ 4 h 143"/>
                <a:gd name="T28" fmla="*/ 23 w 30"/>
                <a:gd name="T29" fmla="*/ 3 h 143"/>
                <a:gd name="T30" fmla="*/ 21 w 30"/>
                <a:gd name="T31" fmla="*/ 1 h 143"/>
                <a:gd name="T32" fmla="*/ 18 w 30"/>
                <a:gd name="T33" fmla="*/ 0 h 143"/>
                <a:gd name="T34" fmla="*/ 15 w 30"/>
                <a:gd name="T35" fmla="*/ 0 h 143"/>
                <a:gd name="T36" fmla="*/ 12 w 30"/>
                <a:gd name="T37" fmla="*/ 0 h 143"/>
                <a:gd name="T38" fmla="*/ 10 w 30"/>
                <a:gd name="T39" fmla="*/ 1 h 143"/>
                <a:gd name="T40" fmla="*/ 6 w 30"/>
                <a:gd name="T41" fmla="*/ 3 h 143"/>
                <a:gd name="T42" fmla="*/ 4 w 30"/>
                <a:gd name="T43" fmla="*/ 4 h 143"/>
                <a:gd name="T44" fmla="*/ 3 w 30"/>
                <a:gd name="T45" fmla="*/ 6 h 143"/>
                <a:gd name="T46" fmla="*/ 1 w 30"/>
                <a:gd name="T47" fmla="*/ 9 h 143"/>
                <a:gd name="T48" fmla="*/ 1 w 30"/>
                <a:gd name="T49" fmla="*/ 11 h 143"/>
                <a:gd name="T50" fmla="*/ 0 w 30"/>
                <a:gd name="T51" fmla="*/ 15 h 143"/>
                <a:gd name="T52" fmla="*/ 0 w 30"/>
                <a:gd name="T53" fmla="*/ 128 h 143"/>
                <a:gd name="T54" fmla="*/ 1 w 30"/>
                <a:gd name="T55" fmla="*/ 131 h 143"/>
                <a:gd name="T56" fmla="*/ 1 w 30"/>
                <a:gd name="T57" fmla="*/ 135 h 143"/>
                <a:gd name="T58" fmla="*/ 3 w 30"/>
                <a:gd name="T59" fmla="*/ 137 h 143"/>
                <a:gd name="T60" fmla="*/ 4 w 30"/>
                <a:gd name="T61" fmla="*/ 139 h 143"/>
                <a:gd name="T62" fmla="*/ 6 w 30"/>
                <a:gd name="T63" fmla="*/ 141 h 143"/>
                <a:gd name="T64" fmla="*/ 10 w 30"/>
                <a:gd name="T65" fmla="*/ 142 h 143"/>
                <a:gd name="T66" fmla="*/ 12 w 30"/>
                <a:gd name="T67" fmla="*/ 143 h 143"/>
                <a:gd name="T68" fmla="*/ 15 w 30"/>
                <a:gd name="T6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43">
                  <a:moveTo>
                    <a:pt x="15" y="143"/>
                  </a:moveTo>
                  <a:lnTo>
                    <a:pt x="18" y="143"/>
                  </a:lnTo>
                  <a:lnTo>
                    <a:pt x="21" y="142"/>
                  </a:lnTo>
                  <a:lnTo>
                    <a:pt x="23" y="141"/>
                  </a:lnTo>
                  <a:lnTo>
                    <a:pt x="26" y="139"/>
                  </a:lnTo>
                  <a:lnTo>
                    <a:pt x="28" y="137"/>
                  </a:lnTo>
                  <a:lnTo>
                    <a:pt x="29" y="135"/>
                  </a:lnTo>
                  <a:lnTo>
                    <a:pt x="30" y="131"/>
                  </a:lnTo>
                  <a:lnTo>
                    <a:pt x="30" y="128"/>
                  </a:lnTo>
                  <a:lnTo>
                    <a:pt x="30" y="15"/>
                  </a:lnTo>
                  <a:lnTo>
                    <a:pt x="30" y="11"/>
                  </a:lnTo>
                  <a:lnTo>
                    <a:pt x="29" y="9"/>
                  </a:lnTo>
                  <a:lnTo>
                    <a:pt x="28" y="6"/>
                  </a:lnTo>
                  <a:lnTo>
                    <a:pt x="26" y="4"/>
                  </a:lnTo>
                  <a:lnTo>
                    <a:pt x="23" y="3"/>
                  </a:lnTo>
                  <a:lnTo>
                    <a:pt x="21" y="1"/>
                  </a:lnTo>
                  <a:lnTo>
                    <a:pt x="18" y="0"/>
                  </a:lnTo>
                  <a:lnTo>
                    <a:pt x="15" y="0"/>
                  </a:lnTo>
                  <a:lnTo>
                    <a:pt x="12" y="0"/>
                  </a:lnTo>
                  <a:lnTo>
                    <a:pt x="10" y="1"/>
                  </a:lnTo>
                  <a:lnTo>
                    <a:pt x="6" y="3"/>
                  </a:lnTo>
                  <a:lnTo>
                    <a:pt x="4" y="4"/>
                  </a:lnTo>
                  <a:lnTo>
                    <a:pt x="3" y="6"/>
                  </a:lnTo>
                  <a:lnTo>
                    <a:pt x="1" y="9"/>
                  </a:lnTo>
                  <a:lnTo>
                    <a:pt x="1" y="11"/>
                  </a:lnTo>
                  <a:lnTo>
                    <a:pt x="0" y="15"/>
                  </a:lnTo>
                  <a:lnTo>
                    <a:pt x="0" y="128"/>
                  </a:lnTo>
                  <a:lnTo>
                    <a:pt x="1" y="131"/>
                  </a:lnTo>
                  <a:lnTo>
                    <a:pt x="1" y="135"/>
                  </a:lnTo>
                  <a:lnTo>
                    <a:pt x="3" y="137"/>
                  </a:lnTo>
                  <a:lnTo>
                    <a:pt x="4" y="139"/>
                  </a:lnTo>
                  <a:lnTo>
                    <a:pt x="6" y="141"/>
                  </a:lnTo>
                  <a:lnTo>
                    <a:pt x="10" y="142"/>
                  </a:lnTo>
                  <a:lnTo>
                    <a:pt x="12" y="143"/>
                  </a:lnTo>
                  <a:lnTo>
                    <a:pt x="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2" name="Freeform 125">
              <a:extLst>
                <a:ext uri="{FF2B5EF4-FFF2-40B4-BE49-F238E27FC236}">
                  <a16:creationId xmlns:a16="http://schemas.microsoft.com/office/drawing/2014/main" id="{084B28C1-3D84-477F-BF35-CF39BFE9CCAC}"/>
                </a:ext>
              </a:extLst>
            </p:cNvPr>
            <p:cNvSpPr>
              <a:spLocks/>
            </p:cNvSpPr>
            <p:nvPr/>
          </p:nvSpPr>
          <p:spPr bwMode="auto">
            <a:xfrm>
              <a:off x="8296275" y="2496820"/>
              <a:ext cx="44450" cy="9525"/>
            </a:xfrm>
            <a:custGeom>
              <a:avLst/>
              <a:gdLst>
                <a:gd name="T0" fmla="*/ 15 w 143"/>
                <a:gd name="T1" fmla="*/ 30 h 30"/>
                <a:gd name="T2" fmla="*/ 128 w 143"/>
                <a:gd name="T3" fmla="*/ 30 h 30"/>
                <a:gd name="T4" fmla="*/ 132 w 143"/>
                <a:gd name="T5" fmla="*/ 29 h 30"/>
                <a:gd name="T6" fmla="*/ 134 w 143"/>
                <a:gd name="T7" fmla="*/ 29 h 30"/>
                <a:gd name="T8" fmla="*/ 137 w 143"/>
                <a:gd name="T9" fmla="*/ 27 h 30"/>
                <a:gd name="T10" fmla="*/ 139 w 143"/>
                <a:gd name="T11" fmla="*/ 26 h 30"/>
                <a:gd name="T12" fmla="*/ 140 w 143"/>
                <a:gd name="T13" fmla="*/ 24 h 30"/>
                <a:gd name="T14" fmla="*/ 142 w 143"/>
                <a:gd name="T15" fmla="*/ 21 h 30"/>
                <a:gd name="T16" fmla="*/ 143 w 143"/>
                <a:gd name="T17" fmla="*/ 19 h 30"/>
                <a:gd name="T18" fmla="*/ 143 w 143"/>
                <a:gd name="T19" fmla="*/ 15 h 30"/>
                <a:gd name="T20" fmla="*/ 143 w 143"/>
                <a:gd name="T21" fmla="*/ 12 h 30"/>
                <a:gd name="T22" fmla="*/ 142 w 143"/>
                <a:gd name="T23" fmla="*/ 9 h 30"/>
                <a:gd name="T24" fmla="*/ 140 w 143"/>
                <a:gd name="T25" fmla="*/ 7 h 30"/>
                <a:gd name="T26" fmla="*/ 139 w 143"/>
                <a:gd name="T27" fmla="*/ 5 h 30"/>
                <a:gd name="T28" fmla="*/ 137 w 143"/>
                <a:gd name="T29" fmla="*/ 2 h 30"/>
                <a:gd name="T30" fmla="*/ 134 w 143"/>
                <a:gd name="T31" fmla="*/ 1 h 30"/>
                <a:gd name="T32" fmla="*/ 132 w 143"/>
                <a:gd name="T33" fmla="*/ 0 h 30"/>
                <a:gd name="T34" fmla="*/ 128 w 143"/>
                <a:gd name="T35" fmla="*/ 0 h 30"/>
                <a:gd name="T36" fmla="*/ 15 w 143"/>
                <a:gd name="T37" fmla="*/ 0 h 30"/>
                <a:gd name="T38" fmla="*/ 12 w 143"/>
                <a:gd name="T39" fmla="*/ 0 h 30"/>
                <a:gd name="T40" fmla="*/ 8 w 143"/>
                <a:gd name="T41" fmla="*/ 1 h 30"/>
                <a:gd name="T42" fmla="*/ 6 w 143"/>
                <a:gd name="T43" fmla="*/ 2 h 30"/>
                <a:gd name="T44" fmla="*/ 4 w 143"/>
                <a:gd name="T45" fmla="*/ 5 h 30"/>
                <a:gd name="T46" fmla="*/ 2 w 143"/>
                <a:gd name="T47" fmla="*/ 7 h 30"/>
                <a:gd name="T48" fmla="*/ 1 w 143"/>
                <a:gd name="T49" fmla="*/ 9 h 30"/>
                <a:gd name="T50" fmla="*/ 0 w 143"/>
                <a:gd name="T51" fmla="*/ 12 h 30"/>
                <a:gd name="T52" fmla="*/ 0 w 143"/>
                <a:gd name="T53" fmla="*/ 15 h 30"/>
                <a:gd name="T54" fmla="*/ 0 w 143"/>
                <a:gd name="T55" fmla="*/ 19 h 30"/>
                <a:gd name="T56" fmla="*/ 1 w 143"/>
                <a:gd name="T57" fmla="*/ 21 h 30"/>
                <a:gd name="T58" fmla="*/ 2 w 143"/>
                <a:gd name="T59" fmla="*/ 24 h 30"/>
                <a:gd name="T60" fmla="*/ 4 w 143"/>
                <a:gd name="T61" fmla="*/ 26 h 30"/>
                <a:gd name="T62" fmla="*/ 6 w 143"/>
                <a:gd name="T63" fmla="*/ 27 h 30"/>
                <a:gd name="T64" fmla="*/ 8 w 143"/>
                <a:gd name="T65" fmla="*/ 29 h 30"/>
                <a:gd name="T66" fmla="*/ 12 w 143"/>
                <a:gd name="T67" fmla="*/ 29 h 30"/>
                <a:gd name="T68" fmla="*/ 15 w 14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30">
                  <a:moveTo>
                    <a:pt x="15" y="30"/>
                  </a:moveTo>
                  <a:lnTo>
                    <a:pt x="128" y="30"/>
                  </a:lnTo>
                  <a:lnTo>
                    <a:pt x="132" y="29"/>
                  </a:lnTo>
                  <a:lnTo>
                    <a:pt x="134" y="29"/>
                  </a:lnTo>
                  <a:lnTo>
                    <a:pt x="137" y="27"/>
                  </a:lnTo>
                  <a:lnTo>
                    <a:pt x="139" y="26"/>
                  </a:lnTo>
                  <a:lnTo>
                    <a:pt x="140" y="24"/>
                  </a:lnTo>
                  <a:lnTo>
                    <a:pt x="142" y="21"/>
                  </a:lnTo>
                  <a:lnTo>
                    <a:pt x="143" y="19"/>
                  </a:lnTo>
                  <a:lnTo>
                    <a:pt x="143" y="15"/>
                  </a:lnTo>
                  <a:lnTo>
                    <a:pt x="143" y="12"/>
                  </a:lnTo>
                  <a:lnTo>
                    <a:pt x="142" y="9"/>
                  </a:lnTo>
                  <a:lnTo>
                    <a:pt x="140" y="7"/>
                  </a:lnTo>
                  <a:lnTo>
                    <a:pt x="139" y="5"/>
                  </a:lnTo>
                  <a:lnTo>
                    <a:pt x="137" y="2"/>
                  </a:lnTo>
                  <a:lnTo>
                    <a:pt x="134" y="1"/>
                  </a:lnTo>
                  <a:lnTo>
                    <a:pt x="132" y="0"/>
                  </a:lnTo>
                  <a:lnTo>
                    <a:pt x="128" y="0"/>
                  </a:ln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3" name="Freeform 126">
              <a:extLst>
                <a:ext uri="{FF2B5EF4-FFF2-40B4-BE49-F238E27FC236}">
                  <a16:creationId xmlns:a16="http://schemas.microsoft.com/office/drawing/2014/main" id="{F6EFB314-00A2-4071-8AFD-E5F359C9370A}"/>
                </a:ext>
              </a:extLst>
            </p:cNvPr>
            <p:cNvSpPr>
              <a:spLocks/>
            </p:cNvSpPr>
            <p:nvPr/>
          </p:nvSpPr>
          <p:spPr bwMode="auto">
            <a:xfrm>
              <a:off x="8267700" y="2496820"/>
              <a:ext cx="38100" cy="38100"/>
            </a:xfrm>
            <a:custGeom>
              <a:avLst/>
              <a:gdLst>
                <a:gd name="T0" fmla="*/ 15 w 117"/>
                <a:gd name="T1" fmla="*/ 120 h 120"/>
                <a:gd name="T2" fmla="*/ 102 w 117"/>
                <a:gd name="T3" fmla="*/ 120 h 120"/>
                <a:gd name="T4" fmla="*/ 105 w 117"/>
                <a:gd name="T5" fmla="*/ 120 h 120"/>
                <a:gd name="T6" fmla="*/ 107 w 117"/>
                <a:gd name="T7" fmla="*/ 119 h 120"/>
                <a:gd name="T8" fmla="*/ 110 w 117"/>
                <a:gd name="T9" fmla="*/ 117 h 120"/>
                <a:gd name="T10" fmla="*/ 112 w 117"/>
                <a:gd name="T11" fmla="*/ 116 h 120"/>
                <a:gd name="T12" fmla="*/ 114 w 117"/>
                <a:gd name="T13" fmla="*/ 114 h 120"/>
                <a:gd name="T14" fmla="*/ 116 w 117"/>
                <a:gd name="T15" fmla="*/ 111 h 120"/>
                <a:gd name="T16" fmla="*/ 117 w 117"/>
                <a:gd name="T17" fmla="*/ 109 h 120"/>
                <a:gd name="T18" fmla="*/ 117 w 117"/>
                <a:gd name="T19" fmla="*/ 105 h 120"/>
                <a:gd name="T20" fmla="*/ 117 w 117"/>
                <a:gd name="T21" fmla="*/ 102 h 120"/>
                <a:gd name="T22" fmla="*/ 116 w 117"/>
                <a:gd name="T23" fmla="*/ 99 h 120"/>
                <a:gd name="T24" fmla="*/ 114 w 117"/>
                <a:gd name="T25" fmla="*/ 97 h 120"/>
                <a:gd name="T26" fmla="*/ 112 w 117"/>
                <a:gd name="T27" fmla="*/ 95 h 120"/>
                <a:gd name="T28" fmla="*/ 110 w 117"/>
                <a:gd name="T29" fmla="*/ 93 h 120"/>
                <a:gd name="T30" fmla="*/ 107 w 117"/>
                <a:gd name="T31" fmla="*/ 91 h 120"/>
                <a:gd name="T32" fmla="*/ 105 w 117"/>
                <a:gd name="T33" fmla="*/ 90 h 120"/>
                <a:gd name="T34" fmla="*/ 102 w 117"/>
                <a:gd name="T35" fmla="*/ 90 h 120"/>
                <a:gd name="T36" fmla="*/ 30 w 117"/>
                <a:gd name="T37" fmla="*/ 90 h 120"/>
                <a:gd name="T38" fmla="*/ 30 w 117"/>
                <a:gd name="T39" fmla="*/ 15 h 120"/>
                <a:gd name="T40" fmla="*/ 30 w 117"/>
                <a:gd name="T41" fmla="*/ 12 h 120"/>
                <a:gd name="T42" fmla="*/ 29 w 117"/>
                <a:gd name="T43" fmla="*/ 9 h 120"/>
                <a:gd name="T44" fmla="*/ 28 w 117"/>
                <a:gd name="T45" fmla="*/ 7 h 120"/>
                <a:gd name="T46" fmla="*/ 26 w 117"/>
                <a:gd name="T47" fmla="*/ 5 h 120"/>
                <a:gd name="T48" fmla="*/ 23 w 117"/>
                <a:gd name="T49" fmla="*/ 2 h 120"/>
                <a:gd name="T50" fmla="*/ 21 w 117"/>
                <a:gd name="T51" fmla="*/ 1 h 120"/>
                <a:gd name="T52" fmla="*/ 18 w 117"/>
                <a:gd name="T53" fmla="*/ 0 h 120"/>
                <a:gd name="T54" fmla="*/ 15 w 117"/>
                <a:gd name="T55" fmla="*/ 0 h 120"/>
                <a:gd name="T56" fmla="*/ 12 w 117"/>
                <a:gd name="T57" fmla="*/ 0 h 120"/>
                <a:gd name="T58" fmla="*/ 10 w 117"/>
                <a:gd name="T59" fmla="*/ 1 h 120"/>
                <a:gd name="T60" fmla="*/ 6 w 117"/>
                <a:gd name="T61" fmla="*/ 2 h 120"/>
                <a:gd name="T62" fmla="*/ 4 w 117"/>
                <a:gd name="T63" fmla="*/ 5 h 120"/>
                <a:gd name="T64" fmla="*/ 3 w 117"/>
                <a:gd name="T65" fmla="*/ 7 h 120"/>
                <a:gd name="T66" fmla="*/ 1 w 117"/>
                <a:gd name="T67" fmla="*/ 9 h 120"/>
                <a:gd name="T68" fmla="*/ 1 w 117"/>
                <a:gd name="T69" fmla="*/ 12 h 120"/>
                <a:gd name="T70" fmla="*/ 0 w 117"/>
                <a:gd name="T71" fmla="*/ 15 h 120"/>
                <a:gd name="T72" fmla="*/ 0 w 117"/>
                <a:gd name="T73" fmla="*/ 105 h 120"/>
                <a:gd name="T74" fmla="*/ 1 w 117"/>
                <a:gd name="T75" fmla="*/ 109 h 120"/>
                <a:gd name="T76" fmla="*/ 1 w 117"/>
                <a:gd name="T77" fmla="*/ 111 h 120"/>
                <a:gd name="T78" fmla="*/ 3 w 117"/>
                <a:gd name="T79" fmla="*/ 114 h 120"/>
                <a:gd name="T80" fmla="*/ 4 w 117"/>
                <a:gd name="T81" fmla="*/ 116 h 120"/>
                <a:gd name="T82" fmla="*/ 6 w 117"/>
                <a:gd name="T83" fmla="*/ 117 h 120"/>
                <a:gd name="T84" fmla="*/ 10 w 117"/>
                <a:gd name="T85" fmla="*/ 119 h 120"/>
                <a:gd name="T86" fmla="*/ 12 w 117"/>
                <a:gd name="T87" fmla="*/ 120 h 120"/>
                <a:gd name="T88" fmla="*/ 15 w 117"/>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20">
                  <a:moveTo>
                    <a:pt x="15" y="120"/>
                  </a:moveTo>
                  <a:lnTo>
                    <a:pt x="102" y="120"/>
                  </a:lnTo>
                  <a:lnTo>
                    <a:pt x="105" y="120"/>
                  </a:lnTo>
                  <a:lnTo>
                    <a:pt x="107" y="119"/>
                  </a:lnTo>
                  <a:lnTo>
                    <a:pt x="110" y="117"/>
                  </a:lnTo>
                  <a:lnTo>
                    <a:pt x="112" y="116"/>
                  </a:lnTo>
                  <a:lnTo>
                    <a:pt x="114" y="114"/>
                  </a:lnTo>
                  <a:lnTo>
                    <a:pt x="116" y="111"/>
                  </a:lnTo>
                  <a:lnTo>
                    <a:pt x="117" y="109"/>
                  </a:lnTo>
                  <a:lnTo>
                    <a:pt x="117" y="105"/>
                  </a:lnTo>
                  <a:lnTo>
                    <a:pt x="117" y="102"/>
                  </a:lnTo>
                  <a:lnTo>
                    <a:pt x="116" y="99"/>
                  </a:lnTo>
                  <a:lnTo>
                    <a:pt x="114" y="97"/>
                  </a:lnTo>
                  <a:lnTo>
                    <a:pt x="112" y="95"/>
                  </a:lnTo>
                  <a:lnTo>
                    <a:pt x="110" y="93"/>
                  </a:lnTo>
                  <a:lnTo>
                    <a:pt x="107" y="91"/>
                  </a:lnTo>
                  <a:lnTo>
                    <a:pt x="105" y="90"/>
                  </a:lnTo>
                  <a:lnTo>
                    <a:pt x="102" y="90"/>
                  </a:lnTo>
                  <a:lnTo>
                    <a:pt x="30" y="90"/>
                  </a:lnTo>
                  <a:lnTo>
                    <a:pt x="30" y="15"/>
                  </a:lnTo>
                  <a:lnTo>
                    <a:pt x="30" y="12"/>
                  </a:lnTo>
                  <a:lnTo>
                    <a:pt x="29" y="9"/>
                  </a:lnTo>
                  <a:lnTo>
                    <a:pt x="28" y="7"/>
                  </a:lnTo>
                  <a:lnTo>
                    <a:pt x="26" y="5"/>
                  </a:lnTo>
                  <a:lnTo>
                    <a:pt x="23" y="2"/>
                  </a:lnTo>
                  <a:lnTo>
                    <a:pt x="21" y="1"/>
                  </a:lnTo>
                  <a:lnTo>
                    <a:pt x="18" y="0"/>
                  </a:lnTo>
                  <a:lnTo>
                    <a:pt x="15" y="0"/>
                  </a:lnTo>
                  <a:lnTo>
                    <a:pt x="12" y="0"/>
                  </a:lnTo>
                  <a:lnTo>
                    <a:pt x="10" y="1"/>
                  </a:lnTo>
                  <a:lnTo>
                    <a:pt x="6" y="2"/>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2"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4" name="Freeform 127">
              <a:extLst>
                <a:ext uri="{FF2B5EF4-FFF2-40B4-BE49-F238E27FC236}">
                  <a16:creationId xmlns:a16="http://schemas.microsoft.com/office/drawing/2014/main" id="{9942B2EC-CF77-4274-AA6D-3A3FF59C43E6}"/>
                </a:ext>
              </a:extLst>
            </p:cNvPr>
            <p:cNvSpPr>
              <a:spLocks/>
            </p:cNvSpPr>
            <p:nvPr/>
          </p:nvSpPr>
          <p:spPr bwMode="auto">
            <a:xfrm>
              <a:off x="8186738" y="2641283"/>
              <a:ext cx="46038" cy="9525"/>
            </a:xfrm>
            <a:custGeom>
              <a:avLst/>
              <a:gdLst>
                <a:gd name="T0" fmla="*/ 128 w 143"/>
                <a:gd name="T1" fmla="*/ 0 h 30"/>
                <a:gd name="T2" fmla="*/ 15 w 143"/>
                <a:gd name="T3" fmla="*/ 0 h 30"/>
                <a:gd name="T4" fmla="*/ 12 w 143"/>
                <a:gd name="T5" fmla="*/ 0 h 30"/>
                <a:gd name="T6" fmla="*/ 8 w 143"/>
                <a:gd name="T7" fmla="*/ 1 h 30"/>
                <a:gd name="T8" fmla="*/ 6 w 143"/>
                <a:gd name="T9" fmla="*/ 2 h 30"/>
                <a:gd name="T10" fmla="*/ 4 w 143"/>
                <a:gd name="T11" fmla="*/ 4 h 30"/>
                <a:gd name="T12" fmla="*/ 2 w 143"/>
                <a:gd name="T13" fmla="*/ 6 h 30"/>
                <a:gd name="T14" fmla="*/ 1 w 143"/>
                <a:gd name="T15" fmla="*/ 10 h 30"/>
                <a:gd name="T16" fmla="*/ 0 w 143"/>
                <a:gd name="T17" fmla="*/ 12 h 30"/>
                <a:gd name="T18" fmla="*/ 0 w 143"/>
                <a:gd name="T19" fmla="*/ 15 h 30"/>
                <a:gd name="T20" fmla="*/ 0 w 143"/>
                <a:gd name="T21" fmla="*/ 18 h 30"/>
                <a:gd name="T22" fmla="*/ 1 w 143"/>
                <a:gd name="T23" fmla="*/ 20 h 30"/>
                <a:gd name="T24" fmla="*/ 2 w 143"/>
                <a:gd name="T25" fmla="*/ 24 h 30"/>
                <a:gd name="T26" fmla="*/ 4 w 143"/>
                <a:gd name="T27" fmla="*/ 26 h 30"/>
                <a:gd name="T28" fmla="*/ 6 w 143"/>
                <a:gd name="T29" fmla="*/ 28 h 30"/>
                <a:gd name="T30" fmla="*/ 8 w 143"/>
                <a:gd name="T31" fmla="*/ 29 h 30"/>
                <a:gd name="T32" fmla="*/ 12 w 143"/>
                <a:gd name="T33" fmla="*/ 30 h 30"/>
                <a:gd name="T34" fmla="*/ 15 w 143"/>
                <a:gd name="T35" fmla="*/ 30 h 30"/>
                <a:gd name="T36" fmla="*/ 128 w 143"/>
                <a:gd name="T37" fmla="*/ 30 h 30"/>
                <a:gd name="T38" fmla="*/ 131 w 143"/>
                <a:gd name="T39" fmla="*/ 30 h 30"/>
                <a:gd name="T40" fmla="*/ 134 w 143"/>
                <a:gd name="T41" fmla="*/ 29 h 30"/>
                <a:gd name="T42" fmla="*/ 136 w 143"/>
                <a:gd name="T43" fmla="*/ 28 h 30"/>
                <a:gd name="T44" fmla="*/ 139 w 143"/>
                <a:gd name="T45" fmla="*/ 26 h 30"/>
                <a:gd name="T46" fmla="*/ 140 w 143"/>
                <a:gd name="T47" fmla="*/ 24 h 30"/>
                <a:gd name="T48" fmla="*/ 142 w 143"/>
                <a:gd name="T49" fmla="*/ 20 h 30"/>
                <a:gd name="T50" fmla="*/ 142 w 143"/>
                <a:gd name="T51" fmla="*/ 18 h 30"/>
                <a:gd name="T52" fmla="*/ 143 w 143"/>
                <a:gd name="T53" fmla="*/ 15 h 30"/>
                <a:gd name="T54" fmla="*/ 142 w 143"/>
                <a:gd name="T55" fmla="*/ 12 h 30"/>
                <a:gd name="T56" fmla="*/ 142 w 143"/>
                <a:gd name="T57" fmla="*/ 10 h 30"/>
                <a:gd name="T58" fmla="*/ 140 w 143"/>
                <a:gd name="T59" fmla="*/ 6 h 30"/>
                <a:gd name="T60" fmla="*/ 139 w 143"/>
                <a:gd name="T61" fmla="*/ 4 h 30"/>
                <a:gd name="T62" fmla="*/ 136 w 143"/>
                <a:gd name="T63" fmla="*/ 2 h 30"/>
                <a:gd name="T64" fmla="*/ 134 w 143"/>
                <a:gd name="T65" fmla="*/ 1 h 30"/>
                <a:gd name="T66" fmla="*/ 131 w 143"/>
                <a:gd name="T67" fmla="*/ 0 h 30"/>
                <a:gd name="T68" fmla="*/ 128 w 143"/>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30">
                  <a:moveTo>
                    <a:pt x="128" y="0"/>
                  </a:moveTo>
                  <a:lnTo>
                    <a:pt x="15" y="0"/>
                  </a:lnTo>
                  <a:lnTo>
                    <a:pt x="12"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2" y="30"/>
                  </a:lnTo>
                  <a:lnTo>
                    <a:pt x="15" y="30"/>
                  </a:lnTo>
                  <a:lnTo>
                    <a:pt x="128" y="30"/>
                  </a:lnTo>
                  <a:lnTo>
                    <a:pt x="131" y="30"/>
                  </a:lnTo>
                  <a:lnTo>
                    <a:pt x="134" y="29"/>
                  </a:lnTo>
                  <a:lnTo>
                    <a:pt x="136" y="28"/>
                  </a:lnTo>
                  <a:lnTo>
                    <a:pt x="139" y="26"/>
                  </a:lnTo>
                  <a:lnTo>
                    <a:pt x="140" y="24"/>
                  </a:lnTo>
                  <a:lnTo>
                    <a:pt x="142" y="20"/>
                  </a:lnTo>
                  <a:lnTo>
                    <a:pt x="142" y="18"/>
                  </a:lnTo>
                  <a:lnTo>
                    <a:pt x="143" y="15"/>
                  </a:lnTo>
                  <a:lnTo>
                    <a:pt x="142" y="12"/>
                  </a:lnTo>
                  <a:lnTo>
                    <a:pt x="142" y="10"/>
                  </a:lnTo>
                  <a:lnTo>
                    <a:pt x="140" y="6"/>
                  </a:lnTo>
                  <a:lnTo>
                    <a:pt x="139" y="4"/>
                  </a:lnTo>
                  <a:lnTo>
                    <a:pt x="136" y="2"/>
                  </a:lnTo>
                  <a:lnTo>
                    <a:pt x="134" y="1"/>
                  </a:lnTo>
                  <a:lnTo>
                    <a:pt x="131" y="0"/>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5" name="Freeform 128">
              <a:extLst>
                <a:ext uri="{FF2B5EF4-FFF2-40B4-BE49-F238E27FC236}">
                  <a16:creationId xmlns:a16="http://schemas.microsoft.com/office/drawing/2014/main" id="{2E3A18EF-3F6D-4EDB-8D09-988EE8BB6F83}"/>
                </a:ext>
              </a:extLst>
            </p:cNvPr>
            <p:cNvSpPr>
              <a:spLocks/>
            </p:cNvSpPr>
            <p:nvPr/>
          </p:nvSpPr>
          <p:spPr bwMode="auto">
            <a:xfrm>
              <a:off x="8162925" y="2630170"/>
              <a:ext cx="33338" cy="49213"/>
            </a:xfrm>
            <a:custGeom>
              <a:avLst/>
              <a:gdLst>
                <a:gd name="T0" fmla="*/ 15 w 106"/>
                <a:gd name="T1" fmla="*/ 154 h 154"/>
                <a:gd name="T2" fmla="*/ 91 w 106"/>
                <a:gd name="T3" fmla="*/ 154 h 154"/>
                <a:gd name="T4" fmla="*/ 93 w 106"/>
                <a:gd name="T5" fmla="*/ 154 h 154"/>
                <a:gd name="T6" fmla="*/ 96 w 106"/>
                <a:gd name="T7" fmla="*/ 153 h 154"/>
                <a:gd name="T8" fmla="*/ 98 w 106"/>
                <a:gd name="T9" fmla="*/ 152 h 154"/>
                <a:gd name="T10" fmla="*/ 101 w 106"/>
                <a:gd name="T11" fmla="*/ 150 h 154"/>
                <a:gd name="T12" fmla="*/ 103 w 106"/>
                <a:gd name="T13" fmla="*/ 147 h 154"/>
                <a:gd name="T14" fmla="*/ 105 w 106"/>
                <a:gd name="T15" fmla="*/ 145 h 154"/>
                <a:gd name="T16" fmla="*/ 105 w 106"/>
                <a:gd name="T17" fmla="*/ 142 h 154"/>
                <a:gd name="T18" fmla="*/ 106 w 106"/>
                <a:gd name="T19" fmla="*/ 139 h 154"/>
                <a:gd name="T20" fmla="*/ 105 w 106"/>
                <a:gd name="T21" fmla="*/ 137 h 154"/>
                <a:gd name="T22" fmla="*/ 105 w 106"/>
                <a:gd name="T23" fmla="*/ 133 h 154"/>
                <a:gd name="T24" fmla="*/ 103 w 106"/>
                <a:gd name="T25" fmla="*/ 131 h 154"/>
                <a:gd name="T26" fmla="*/ 101 w 106"/>
                <a:gd name="T27" fmla="*/ 129 h 154"/>
                <a:gd name="T28" fmla="*/ 98 w 106"/>
                <a:gd name="T29" fmla="*/ 127 h 154"/>
                <a:gd name="T30" fmla="*/ 96 w 106"/>
                <a:gd name="T31" fmla="*/ 126 h 154"/>
                <a:gd name="T32" fmla="*/ 93 w 106"/>
                <a:gd name="T33" fmla="*/ 125 h 154"/>
                <a:gd name="T34" fmla="*/ 91 w 106"/>
                <a:gd name="T35" fmla="*/ 124 h 154"/>
                <a:gd name="T36" fmla="*/ 30 w 106"/>
                <a:gd name="T37" fmla="*/ 124 h 154"/>
                <a:gd name="T38" fmla="*/ 30 w 106"/>
                <a:gd name="T39" fmla="*/ 15 h 154"/>
                <a:gd name="T40" fmla="*/ 30 w 106"/>
                <a:gd name="T41" fmla="*/ 12 h 154"/>
                <a:gd name="T42" fmla="*/ 29 w 106"/>
                <a:gd name="T43" fmla="*/ 9 h 154"/>
                <a:gd name="T44" fmla="*/ 28 w 106"/>
                <a:gd name="T45" fmla="*/ 7 h 154"/>
                <a:gd name="T46" fmla="*/ 25 w 106"/>
                <a:gd name="T47" fmla="*/ 5 h 154"/>
                <a:gd name="T48" fmla="*/ 23 w 106"/>
                <a:gd name="T49" fmla="*/ 3 h 154"/>
                <a:gd name="T50" fmla="*/ 20 w 106"/>
                <a:gd name="T51" fmla="*/ 2 h 154"/>
                <a:gd name="T52" fmla="*/ 18 w 106"/>
                <a:gd name="T53" fmla="*/ 0 h 154"/>
                <a:gd name="T54" fmla="*/ 15 w 106"/>
                <a:gd name="T55" fmla="*/ 0 h 154"/>
                <a:gd name="T56" fmla="*/ 11 w 106"/>
                <a:gd name="T57" fmla="*/ 0 h 154"/>
                <a:gd name="T58" fmla="*/ 8 w 106"/>
                <a:gd name="T59" fmla="*/ 2 h 154"/>
                <a:gd name="T60" fmla="*/ 6 w 106"/>
                <a:gd name="T61" fmla="*/ 3 h 154"/>
                <a:gd name="T62" fmla="*/ 4 w 106"/>
                <a:gd name="T63" fmla="*/ 5 h 154"/>
                <a:gd name="T64" fmla="*/ 2 w 106"/>
                <a:gd name="T65" fmla="*/ 7 h 154"/>
                <a:gd name="T66" fmla="*/ 1 w 106"/>
                <a:gd name="T67" fmla="*/ 9 h 154"/>
                <a:gd name="T68" fmla="*/ 0 w 106"/>
                <a:gd name="T69" fmla="*/ 12 h 154"/>
                <a:gd name="T70" fmla="*/ 0 w 106"/>
                <a:gd name="T71" fmla="*/ 15 h 154"/>
                <a:gd name="T72" fmla="*/ 0 w 106"/>
                <a:gd name="T73" fmla="*/ 139 h 154"/>
                <a:gd name="T74" fmla="*/ 0 w 106"/>
                <a:gd name="T75" fmla="*/ 142 h 154"/>
                <a:gd name="T76" fmla="*/ 1 w 106"/>
                <a:gd name="T77" fmla="*/ 145 h 154"/>
                <a:gd name="T78" fmla="*/ 2 w 106"/>
                <a:gd name="T79" fmla="*/ 147 h 154"/>
                <a:gd name="T80" fmla="*/ 4 w 106"/>
                <a:gd name="T81" fmla="*/ 150 h 154"/>
                <a:gd name="T82" fmla="*/ 6 w 106"/>
                <a:gd name="T83" fmla="*/ 152 h 154"/>
                <a:gd name="T84" fmla="*/ 8 w 106"/>
                <a:gd name="T85" fmla="*/ 153 h 154"/>
                <a:gd name="T86" fmla="*/ 11 w 106"/>
                <a:gd name="T87" fmla="*/ 154 h 154"/>
                <a:gd name="T88" fmla="*/ 15 w 106"/>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54">
                  <a:moveTo>
                    <a:pt x="15" y="154"/>
                  </a:moveTo>
                  <a:lnTo>
                    <a:pt x="91" y="154"/>
                  </a:lnTo>
                  <a:lnTo>
                    <a:pt x="93" y="154"/>
                  </a:lnTo>
                  <a:lnTo>
                    <a:pt x="96" y="153"/>
                  </a:lnTo>
                  <a:lnTo>
                    <a:pt x="98" y="152"/>
                  </a:lnTo>
                  <a:lnTo>
                    <a:pt x="101" y="150"/>
                  </a:lnTo>
                  <a:lnTo>
                    <a:pt x="103" y="147"/>
                  </a:lnTo>
                  <a:lnTo>
                    <a:pt x="105" y="145"/>
                  </a:lnTo>
                  <a:lnTo>
                    <a:pt x="105" y="142"/>
                  </a:lnTo>
                  <a:lnTo>
                    <a:pt x="106" y="139"/>
                  </a:lnTo>
                  <a:lnTo>
                    <a:pt x="105" y="137"/>
                  </a:lnTo>
                  <a:lnTo>
                    <a:pt x="105" y="133"/>
                  </a:lnTo>
                  <a:lnTo>
                    <a:pt x="103" y="131"/>
                  </a:lnTo>
                  <a:lnTo>
                    <a:pt x="101" y="129"/>
                  </a:lnTo>
                  <a:lnTo>
                    <a:pt x="98" y="127"/>
                  </a:lnTo>
                  <a:lnTo>
                    <a:pt x="96" y="126"/>
                  </a:lnTo>
                  <a:lnTo>
                    <a:pt x="93" y="125"/>
                  </a:lnTo>
                  <a:lnTo>
                    <a:pt x="91" y="124"/>
                  </a:lnTo>
                  <a:lnTo>
                    <a:pt x="30" y="124"/>
                  </a:lnTo>
                  <a:lnTo>
                    <a:pt x="30" y="15"/>
                  </a:lnTo>
                  <a:lnTo>
                    <a:pt x="30" y="12"/>
                  </a:lnTo>
                  <a:lnTo>
                    <a:pt x="29" y="9"/>
                  </a:lnTo>
                  <a:lnTo>
                    <a:pt x="28" y="7"/>
                  </a:lnTo>
                  <a:lnTo>
                    <a:pt x="25" y="5"/>
                  </a:lnTo>
                  <a:lnTo>
                    <a:pt x="23" y="3"/>
                  </a:lnTo>
                  <a:lnTo>
                    <a:pt x="20" y="2"/>
                  </a:lnTo>
                  <a:lnTo>
                    <a:pt x="18" y="0"/>
                  </a:lnTo>
                  <a:lnTo>
                    <a:pt x="15" y="0"/>
                  </a:lnTo>
                  <a:lnTo>
                    <a:pt x="11" y="0"/>
                  </a:lnTo>
                  <a:lnTo>
                    <a:pt x="8" y="2"/>
                  </a:lnTo>
                  <a:lnTo>
                    <a:pt x="6" y="3"/>
                  </a:lnTo>
                  <a:lnTo>
                    <a:pt x="4" y="5"/>
                  </a:lnTo>
                  <a:lnTo>
                    <a:pt x="2" y="7"/>
                  </a:lnTo>
                  <a:lnTo>
                    <a:pt x="1" y="9"/>
                  </a:lnTo>
                  <a:lnTo>
                    <a:pt x="0" y="12"/>
                  </a:lnTo>
                  <a:lnTo>
                    <a:pt x="0" y="15"/>
                  </a:lnTo>
                  <a:lnTo>
                    <a:pt x="0" y="139"/>
                  </a:lnTo>
                  <a:lnTo>
                    <a:pt x="0" y="142"/>
                  </a:lnTo>
                  <a:lnTo>
                    <a:pt x="1" y="145"/>
                  </a:lnTo>
                  <a:lnTo>
                    <a:pt x="2" y="147"/>
                  </a:lnTo>
                  <a:lnTo>
                    <a:pt x="4" y="150"/>
                  </a:lnTo>
                  <a:lnTo>
                    <a:pt x="6" y="152"/>
                  </a:lnTo>
                  <a:lnTo>
                    <a:pt x="8" y="153"/>
                  </a:lnTo>
                  <a:lnTo>
                    <a:pt x="11" y="154"/>
                  </a:lnTo>
                  <a:lnTo>
                    <a:pt x="1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6" name="Freeform 129">
              <a:extLst>
                <a:ext uri="{FF2B5EF4-FFF2-40B4-BE49-F238E27FC236}">
                  <a16:creationId xmlns:a16="http://schemas.microsoft.com/office/drawing/2014/main" id="{E0FCB5C9-97C0-46D5-955D-E2ACBE595C9D}"/>
                </a:ext>
              </a:extLst>
            </p:cNvPr>
            <p:cNvSpPr>
              <a:spLocks/>
            </p:cNvSpPr>
            <p:nvPr/>
          </p:nvSpPr>
          <p:spPr bwMode="auto">
            <a:xfrm>
              <a:off x="8307388" y="2688908"/>
              <a:ext cx="141288" cy="95250"/>
            </a:xfrm>
            <a:custGeom>
              <a:avLst/>
              <a:gdLst>
                <a:gd name="T0" fmla="*/ 342 w 447"/>
                <a:gd name="T1" fmla="*/ 0 h 301"/>
                <a:gd name="T2" fmla="*/ 336 w 447"/>
                <a:gd name="T3" fmla="*/ 2 h 301"/>
                <a:gd name="T4" fmla="*/ 332 w 447"/>
                <a:gd name="T5" fmla="*/ 5 h 301"/>
                <a:gd name="T6" fmla="*/ 328 w 447"/>
                <a:gd name="T7" fmla="*/ 9 h 301"/>
                <a:gd name="T8" fmla="*/ 327 w 447"/>
                <a:gd name="T9" fmla="*/ 16 h 301"/>
                <a:gd name="T10" fmla="*/ 15 w 447"/>
                <a:gd name="T11" fmla="*/ 271 h 301"/>
                <a:gd name="T12" fmla="*/ 10 w 447"/>
                <a:gd name="T13" fmla="*/ 272 h 301"/>
                <a:gd name="T14" fmla="*/ 5 w 447"/>
                <a:gd name="T15" fmla="*/ 275 h 301"/>
                <a:gd name="T16" fmla="*/ 1 w 447"/>
                <a:gd name="T17" fmla="*/ 280 h 301"/>
                <a:gd name="T18" fmla="*/ 0 w 447"/>
                <a:gd name="T19" fmla="*/ 286 h 301"/>
                <a:gd name="T20" fmla="*/ 1 w 447"/>
                <a:gd name="T21" fmla="*/ 292 h 301"/>
                <a:gd name="T22" fmla="*/ 5 w 447"/>
                <a:gd name="T23" fmla="*/ 297 h 301"/>
                <a:gd name="T24" fmla="*/ 10 w 447"/>
                <a:gd name="T25" fmla="*/ 300 h 301"/>
                <a:gd name="T26" fmla="*/ 15 w 447"/>
                <a:gd name="T27" fmla="*/ 301 h 301"/>
                <a:gd name="T28" fmla="*/ 345 w 447"/>
                <a:gd name="T29" fmla="*/ 301 h 301"/>
                <a:gd name="T30" fmla="*/ 351 w 447"/>
                <a:gd name="T31" fmla="*/ 298 h 301"/>
                <a:gd name="T32" fmla="*/ 355 w 447"/>
                <a:gd name="T33" fmla="*/ 295 h 301"/>
                <a:gd name="T34" fmla="*/ 357 w 447"/>
                <a:gd name="T35" fmla="*/ 289 h 301"/>
                <a:gd name="T36" fmla="*/ 357 w 447"/>
                <a:gd name="T37" fmla="*/ 31 h 301"/>
                <a:gd name="T38" fmla="*/ 417 w 447"/>
                <a:gd name="T39" fmla="*/ 134 h 301"/>
                <a:gd name="T40" fmla="*/ 418 w 447"/>
                <a:gd name="T41" fmla="*/ 140 h 301"/>
                <a:gd name="T42" fmla="*/ 422 w 447"/>
                <a:gd name="T43" fmla="*/ 145 h 301"/>
                <a:gd name="T44" fmla="*/ 427 w 447"/>
                <a:gd name="T45" fmla="*/ 148 h 301"/>
                <a:gd name="T46" fmla="*/ 432 w 447"/>
                <a:gd name="T47" fmla="*/ 149 h 301"/>
                <a:gd name="T48" fmla="*/ 438 w 447"/>
                <a:gd name="T49" fmla="*/ 148 h 301"/>
                <a:gd name="T50" fmla="*/ 443 w 447"/>
                <a:gd name="T51" fmla="*/ 145 h 301"/>
                <a:gd name="T52" fmla="*/ 446 w 447"/>
                <a:gd name="T53" fmla="*/ 140 h 301"/>
                <a:gd name="T54" fmla="*/ 447 w 447"/>
                <a:gd name="T55" fmla="*/ 134 h 301"/>
                <a:gd name="T56" fmla="*/ 447 w 447"/>
                <a:gd name="T57" fmla="*/ 13 h 301"/>
                <a:gd name="T58" fmla="*/ 445 w 447"/>
                <a:gd name="T59" fmla="*/ 7 h 301"/>
                <a:gd name="T60" fmla="*/ 441 w 447"/>
                <a:gd name="T61" fmla="*/ 3 h 301"/>
                <a:gd name="T62" fmla="*/ 436 w 447"/>
                <a:gd name="T63" fmla="*/ 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301">
                  <a:moveTo>
                    <a:pt x="432" y="0"/>
                  </a:moveTo>
                  <a:lnTo>
                    <a:pt x="342" y="0"/>
                  </a:lnTo>
                  <a:lnTo>
                    <a:pt x="339" y="1"/>
                  </a:lnTo>
                  <a:lnTo>
                    <a:pt x="336" y="2"/>
                  </a:lnTo>
                  <a:lnTo>
                    <a:pt x="334" y="3"/>
                  </a:lnTo>
                  <a:lnTo>
                    <a:pt x="332" y="5"/>
                  </a:lnTo>
                  <a:lnTo>
                    <a:pt x="329" y="7"/>
                  </a:lnTo>
                  <a:lnTo>
                    <a:pt x="328" y="9"/>
                  </a:lnTo>
                  <a:lnTo>
                    <a:pt x="327" y="13"/>
                  </a:lnTo>
                  <a:lnTo>
                    <a:pt x="327" y="16"/>
                  </a:lnTo>
                  <a:lnTo>
                    <a:pt x="327" y="271"/>
                  </a:lnTo>
                  <a:lnTo>
                    <a:pt x="15" y="271"/>
                  </a:lnTo>
                  <a:lnTo>
                    <a:pt x="12" y="271"/>
                  </a:lnTo>
                  <a:lnTo>
                    <a:pt x="10" y="272"/>
                  </a:lnTo>
                  <a:lnTo>
                    <a:pt x="7" y="273"/>
                  </a:lnTo>
                  <a:lnTo>
                    <a:pt x="5" y="275"/>
                  </a:lnTo>
                  <a:lnTo>
                    <a:pt x="3" y="278"/>
                  </a:lnTo>
                  <a:lnTo>
                    <a:pt x="1" y="280"/>
                  </a:lnTo>
                  <a:lnTo>
                    <a:pt x="0" y="283"/>
                  </a:lnTo>
                  <a:lnTo>
                    <a:pt x="0" y="286"/>
                  </a:lnTo>
                  <a:lnTo>
                    <a:pt x="0" y="289"/>
                  </a:lnTo>
                  <a:lnTo>
                    <a:pt x="1" y="292"/>
                  </a:lnTo>
                  <a:lnTo>
                    <a:pt x="3" y="295"/>
                  </a:lnTo>
                  <a:lnTo>
                    <a:pt x="5" y="297"/>
                  </a:lnTo>
                  <a:lnTo>
                    <a:pt x="7" y="298"/>
                  </a:lnTo>
                  <a:lnTo>
                    <a:pt x="10" y="300"/>
                  </a:lnTo>
                  <a:lnTo>
                    <a:pt x="12" y="301"/>
                  </a:lnTo>
                  <a:lnTo>
                    <a:pt x="15" y="301"/>
                  </a:lnTo>
                  <a:lnTo>
                    <a:pt x="342" y="301"/>
                  </a:lnTo>
                  <a:lnTo>
                    <a:pt x="345" y="301"/>
                  </a:lnTo>
                  <a:lnTo>
                    <a:pt x="348" y="300"/>
                  </a:lnTo>
                  <a:lnTo>
                    <a:pt x="351" y="298"/>
                  </a:lnTo>
                  <a:lnTo>
                    <a:pt x="353" y="297"/>
                  </a:lnTo>
                  <a:lnTo>
                    <a:pt x="355" y="295"/>
                  </a:lnTo>
                  <a:lnTo>
                    <a:pt x="356" y="292"/>
                  </a:lnTo>
                  <a:lnTo>
                    <a:pt x="357" y="289"/>
                  </a:lnTo>
                  <a:lnTo>
                    <a:pt x="357" y="286"/>
                  </a:lnTo>
                  <a:lnTo>
                    <a:pt x="357" y="31"/>
                  </a:lnTo>
                  <a:lnTo>
                    <a:pt x="417" y="31"/>
                  </a:lnTo>
                  <a:lnTo>
                    <a:pt x="417" y="134"/>
                  </a:lnTo>
                  <a:lnTo>
                    <a:pt x="417" y="137"/>
                  </a:lnTo>
                  <a:lnTo>
                    <a:pt x="418" y="140"/>
                  </a:lnTo>
                  <a:lnTo>
                    <a:pt x="419" y="142"/>
                  </a:lnTo>
                  <a:lnTo>
                    <a:pt x="422" y="145"/>
                  </a:lnTo>
                  <a:lnTo>
                    <a:pt x="424" y="147"/>
                  </a:lnTo>
                  <a:lnTo>
                    <a:pt x="427" y="148"/>
                  </a:lnTo>
                  <a:lnTo>
                    <a:pt x="429" y="149"/>
                  </a:lnTo>
                  <a:lnTo>
                    <a:pt x="432" y="149"/>
                  </a:lnTo>
                  <a:lnTo>
                    <a:pt x="436" y="149"/>
                  </a:lnTo>
                  <a:lnTo>
                    <a:pt x="438" y="148"/>
                  </a:lnTo>
                  <a:lnTo>
                    <a:pt x="441" y="147"/>
                  </a:lnTo>
                  <a:lnTo>
                    <a:pt x="443" y="145"/>
                  </a:lnTo>
                  <a:lnTo>
                    <a:pt x="445" y="142"/>
                  </a:lnTo>
                  <a:lnTo>
                    <a:pt x="446" y="140"/>
                  </a:lnTo>
                  <a:lnTo>
                    <a:pt x="447" y="137"/>
                  </a:lnTo>
                  <a:lnTo>
                    <a:pt x="447" y="134"/>
                  </a:lnTo>
                  <a:lnTo>
                    <a:pt x="447" y="15"/>
                  </a:lnTo>
                  <a:lnTo>
                    <a:pt x="447" y="13"/>
                  </a:lnTo>
                  <a:lnTo>
                    <a:pt x="446" y="9"/>
                  </a:lnTo>
                  <a:lnTo>
                    <a:pt x="445" y="7"/>
                  </a:lnTo>
                  <a:lnTo>
                    <a:pt x="443" y="5"/>
                  </a:lnTo>
                  <a:lnTo>
                    <a:pt x="441" y="3"/>
                  </a:lnTo>
                  <a:lnTo>
                    <a:pt x="438" y="2"/>
                  </a:lnTo>
                  <a:lnTo>
                    <a:pt x="436" y="1"/>
                  </a:lnTo>
                  <a:lnTo>
                    <a:pt x="4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7" name="Freeform 130">
              <a:extLst>
                <a:ext uri="{FF2B5EF4-FFF2-40B4-BE49-F238E27FC236}">
                  <a16:creationId xmlns:a16="http://schemas.microsoft.com/office/drawing/2014/main" id="{649F0B19-4419-46AC-8037-3EC6CD2C6E0C}"/>
                </a:ext>
              </a:extLst>
            </p:cNvPr>
            <p:cNvSpPr>
              <a:spLocks/>
            </p:cNvSpPr>
            <p:nvPr/>
          </p:nvSpPr>
          <p:spPr bwMode="auto">
            <a:xfrm>
              <a:off x="8267700" y="2701608"/>
              <a:ext cx="49213" cy="63500"/>
            </a:xfrm>
            <a:custGeom>
              <a:avLst/>
              <a:gdLst>
                <a:gd name="T0" fmla="*/ 154 w 154"/>
                <a:gd name="T1" fmla="*/ 182 h 197"/>
                <a:gd name="T2" fmla="*/ 154 w 154"/>
                <a:gd name="T3" fmla="*/ 179 h 197"/>
                <a:gd name="T4" fmla="*/ 153 w 154"/>
                <a:gd name="T5" fmla="*/ 176 h 197"/>
                <a:gd name="T6" fmla="*/ 152 w 154"/>
                <a:gd name="T7" fmla="*/ 174 h 197"/>
                <a:gd name="T8" fmla="*/ 150 w 154"/>
                <a:gd name="T9" fmla="*/ 171 h 197"/>
                <a:gd name="T10" fmla="*/ 148 w 154"/>
                <a:gd name="T11" fmla="*/ 169 h 197"/>
                <a:gd name="T12" fmla="*/ 146 w 154"/>
                <a:gd name="T13" fmla="*/ 168 h 197"/>
                <a:gd name="T14" fmla="*/ 142 w 154"/>
                <a:gd name="T15" fmla="*/ 167 h 197"/>
                <a:gd name="T16" fmla="*/ 139 w 154"/>
                <a:gd name="T17" fmla="*/ 167 h 197"/>
                <a:gd name="T18" fmla="*/ 30 w 154"/>
                <a:gd name="T19" fmla="*/ 167 h 197"/>
                <a:gd name="T20" fmla="*/ 30 w 154"/>
                <a:gd name="T21" fmla="*/ 15 h 197"/>
                <a:gd name="T22" fmla="*/ 30 w 154"/>
                <a:gd name="T23" fmla="*/ 12 h 197"/>
                <a:gd name="T24" fmla="*/ 29 w 154"/>
                <a:gd name="T25" fmla="*/ 8 h 197"/>
                <a:gd name="T26" fmla="*/ 28 w 154"/>
                <a:gd name="T27" fmla="*/ 6 h 197"/>
                <a:gd name="T28" fmla="*/ 26 w 154"/>
                <a:gd name="T29" fmla="*/ 4 h 197"/>
                <a:gd name="T30" fmla="*/ 23 w 154"/>
                <a:gd name="T31" fmla="*/ 2 h 197"/>
                <a:gd name="T32" fmla="*/ 21 w 154"/>
                <a:gd name="T33" fmla="*/ 1 h 197"/>
                <a:gd name="T34" fmla="*/ 18 w 154"/>
                <a:gd name="T35" fmla="*/ 0 h 197"/>
                <a:gd name="T36" fmla="*/ 15 w 154"/>
                <a:gd name="T37" fmla="*/ 0 h 197"/>
                <a:gd name="T38" fmla="*/ 12 w 154"/>
                <a:gd name="T39" fmla="*/ 0 h 197"/>
                <a:gd name="T40" fmla="*/ 10 w 154"/>
                <a:gd name="T41" fmla="*/ 1 h 197"/>
                <a:gd name="T42" fmla="*/ 6 w 154"/>
                <a:gd name="T43" fmla="*/ 2 h 197"/>
                <a:gd name="T44" fmla="*/ 4 w 154"/>
                <a:gd name="T45" fmla="*/ 4 h 197"/>
                <a:gd name="T46" fmla="*/ 3 w 154"/>
                <a:gd name="T47" fmla="*/ 6 h 197"/>
                <a:gd name="T48" fmla="*/ 1 w 154"/>
                <a:gd name="T49" fmla="*/ 8 h 197"/>
                <a:gd name="T50" fmla="*/ 1 w 154"/>
                <a:gd name="T51" fmla="*/ 12 h 197"/>
                <a:gd name="T52" fmla="*/ 0 w 154"/>
                <a:gd name="T53" fmla="*/ 15 h 197"/>
                <a:gd name="T54" fmla="*/ 0 w 154"/>
                <a:gd name="T55" fmla="*/ 182 h 197"/>
                <a:gd name="T56" fmla="*/ 1 w 154"/>
                <a:gd name="T57" fmla="*/ 185 h 197"/>
                <a:gd name="T58" fmla="*/ 1 w 154"/>
                <a:gd name="T59" fmla="*/ 187 h 197"/>
                <a:gd name="T60" fmla="*/ 3 w 154"/>
                <a:gd name="T61" fmla="*/ 191 h 197"/>
                <a:gd name="T62" fmla="*/ 4 w 154"/>
                <a:gd name="T63" fmla="*/ 193 h 197"/>
                <a:gd name="T64" fmla="*/ 6 w 154"/>
                <a:gd name="T65" fmla="*/ 194 h 197"/>
                <a:gd name="T66" fmla="*/ 10 w 154"/>
                <a:gd name="T67" fmla="*/ 196 h 197"/>
                <a:gd name="T68" fmla="*/ 12 w 154"/>
                <a:gd name="T69" fmla="*/ 197 h 197"/>
                <a:gd name="T70" fmla="*/ 15 w 154"/>
                <a:gd name="T71" fmla="*/ 197 h 197"/>
                <a:gd name="T72" fmla="*/ 139 w 154"/>
                <a:gd name="T73" fmla="*/ 197 h 197"/>
                <a:gd name="T74" fmla="*/ 142 w 154"/>
                <a:gd name="T75" fmla="*/ 197 h 197"/>
                <a:gd name="T76" fmla="*/ 146 w 154"/>
                <a:gd name="T77" fmla="*/ 196 h 197"/>
                <a:gd name="T78" fmla="*/ 148 w 154"/>
                <a:gd name="T79" fmla="*/ 194 h 197"/>
                <a:gd name="T80" fmla="*/ 150 w 154"/>
                <a:gd name="T81" fmla="*/ 193 h 197"/>
                <a:gd name="T82" fmla="*/ 152 w 154"/>
                <a:gd name="T83" fmla="*/ 191 h 197"/>
                <a:gd name="T84" fmla="*/ 153 w 154"/>
                <a:gd name="T85" fmla="*/ 187 h 197"/>
                <a:gd name="T86" fmla="*/ 154 w 154"/>
                <a:gd name="T87" fmla="*/ 185 h 197"/>
                <a:gd name="T88" fmla="*/ 154 w 154"/>
                <a:gd name="T89" fmla="*/ 18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 h="197">
                  <a:moveTo>
                    <a:pt x="154" y="182"/>
                  </a:moveTo>
                  <a:lnTo>
                    <a:pt x="154" y="179"/>
                  </a:lnTo>
                  <a:lnTo>
                    <a:pt x="153" y="176"/>
                  </a:lnTo>
                  <a:lnTo>
                    <a:pt x="152" y="174"/>
                  </a:lnTo>
                  <a:lnTo>
                    <a:pt x="150" y="171"/>
                  </a:lnTo>
                  <a:lnTo>
                    <a:pt x="148" y="169"/>
                  </a:lnTo>
                  <a:lnTo>
                    <a:pt x="146" y="168"/>
                  </a:lnTo>
                  <a:lnTo>
                    <a:pt x="142" y="167"/>
                  </a:lnTo>
                  <a:lnTo>
                    <a:pt x="139" y="167"/>
                  </a:lnTo>
                  <a:lnTo>
                    <a:pt x="30" y="167"/>
                  </a:lnTo>
                  <a:lnTo>
                    <a:pt x="30" y="15"/>
                  </a:lnTo>
                  <a:lnTo>
                    <a:pt x="30" y="12"/>
                  </a:lnTo>
                  <a:lnTo>
                    <a:pt x="29" y="8"/>
                  </a:lnTo>
                  <a:lnTo>
                    <a:pt x="28" y="6"/>
                  </a:lnTo>
                  <a:lnTo>
                    <a:pt x="26" y="4"/>
                  </a:lnTo>
                  <a:lnTo>
                    <a:pt x="23" y="2"/>
                  </a:lnTo>
                  <a:lnTo>
                    <a:pt x="21" y="1"/>
                  </a:lnTo>
                  <a:lnTo>
                    <a:pt x="18" y="0"/>
                  </a:lnTo>
                  <a:lnTo>
                    <a:pt x="15" y="0"/>
                  </a:lnTo>
                  <a:lnTo>
                    <a:pt x="12" y="0"/>
                  </a:lnTo>
                  <a:lnTo>
                    <a:pt x="10" y="1"/>
                  </a:lnTo>
                  <a:lnTo>
                    <a:pt x="6" y="2"/>
                  </a:lnTo>
                  <a:lnTo>
                    <a:pt x="4" y="4"/>
                  </a:lnTo>
                  <a:lnTo>
                    <a:pt x="3" y="6"/>
                  </a:lnTo>
                  <a:lnTo>
                    <a:pt x="1" y="8"/>
                  </a:lnTo>
                  <a:lnTo>
                    <a:pt x="1" y="12"/>
                  </a:lnTo>
                  <a:lnTo>
                    <a:pt x="0" y="15"/>
                  </a:lnTo>
                  <a:lnTo>
                    <a:pt x="0" y="182"/>
                  </a:lnTo>
                  <a:lnTo>
                    <a:pt x="1" y="185"/>
                  </a:lnTo>
                  <a:lnTo>
                    <a:pt x="1" y="187"/>
                  </a:lnTo>
                  <a:lnTo>
                    <a:pt x="3" y="191"/>
                  </a:lnTo>
                  <a:lnTo>
                    <a:pt x="4" y="193"/>
                  </a:lnTo>
                  <a:lnTo>
                    <a:pt x="6" y="194"/>
                  </a:lnTo>
                  <a:lnTo>
                    <a:pt x="10" y="196"/>
                  </a:lnTo>
                  <a:lnTo>
                    <a:pt x="12" y="197"/>
                  </a:lnTo>
                  <a:lnTo>
                    <a:pt x="15" y="197"/>
                  </a:lnTo>
                  <a:lnTo>
                    <a:pt x="139" y="197"/>
                  </a:lnTo>
                  <a:lnTo>
                    <a:pt x="142" y="197"/>
                  </a:lnTo>
                  <a:lnTo>
                    <a:pt x="146" y="196"/>
                  </a:lnTo>
                  <a:lnTo>
                    <a:pt x="148" y="194"/>
                  </a:lnTo>
                  <a:lnTo>
                    <a:pt x="150" y="193"/>
                  </a:lnTo>
                  <a:lnTo>
                    <a:pt x="152" y="191"/>
                  </a:lnTo>
                  <a:lnTo>
                    <a:pt x="153" y="187"/>
                  </a:lnTo>
                  <a:lnTo>
                    <a:pt x="154" y="185"/>
                  </a:lnTo>
                  <a:lnTo>
                    <a:pt x="15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8" name="Freeform 131">
              <a:extLst>
                <a:ext uri="{FF2B5EF4-FFF2-40B4-BE49-F238E27FC236}">
                  <a16:creationId xmlns:a16="http://schemas.microsoft.com/office/drawing/2014/main" id="{021668C0-E974-4578-8B7B-93D7D6422B58}"/>
                </a:ext>
              </a:extLst>
            </p:cNvPr>
            <p:cNvSpPr>
              <a:spLocks/>
            </p:cNvSpPr>
            <p:nvPr/>
          </p:nvSpPr>
          <p:spPr bwMode="auto">
            <a:xfrm>
              <a:off x="8334375" y="2720658"/>
              <a:ext cx="66675" cy="44450"/>
            </a:xfrm>
            <a:custGeom>
              <a:avLst/>
              <a:gdLst>
                <a:gd name="T0" fmla="*/ 15 w 209"/>
                <a:gd name="T1" fmla="*/ 140 h 140"/>
                <a:gd name="T2" fmla="*/ 194 w 209"/>
                <a:gd name="T3" fmla="*/ 140 h 140"/>
                <a:gd name="T4" fmla="*/ 196 w 209"/>
                <a:gd name="T5" fmla="*/ 140 h 140"/>
                <a:gd name="T6" fmla="*/ 200 w 209"/>
                <a:gd name="T7" fmla="*/ 139 h 140"/>
                <a:gd name="T8" fmla="*/ 202 w 209"/>
                <a:gd name="T9" fmla="*/ 137 h 140"/>
                <a:gd name="T10" fmla="*/ 205 w 209"/>
                <a:gd name="T11" fmla="*/ 136 h 140"/>
                <a:gd name="T12" fmla="*/ 206 w 209"/>
                <a:gd name="T13" fmla="*/ 134 h 140"/>
                <a:gd name="T14" fmla="*/ 208 w 209"/>
                <a:gd name="T15" fmla="*/ 130 h 140"/>
                <a:gd name="T16" fmla="*/ 208 w 209"/>
                <a:gd name="T17" fmla="*/ 128 h 140"/>
                <a:gd name="T18" fmla="*/ 209 w 209"/>
                <a:gd name="T19" fmla="*/ 125 h 140"/>
                <a:gd name="T20" fmla="*/ 208 w 209"/>
                <a:gd name="T21" fmla="*/ 122 h 140"/>
                <a:gd name="T22" fmla="*/ 208 w 209"/>
                <a:gd name="T23" fmla="*/ 119 h 140"/>
                <a:gd name="T24" fmla="*/ 206 w 209"/>
                <a:gd name="T25" fmla="*/ 117 h 140"/>
                <a:gd name="T26" fmla="*/ 205 w 209"/>
                <a:gd name="T27" fmla="*/ 114 h 140"/>
                <a:gd name="T28" fmla="*/ 202 w 209"/>
                <a:gd name="T29" fmla="*/ 112 h 140"/>
                <a:gd name="T30" fmla="*/ 200 w 209"/>
                <a:gd name="T31" fmla="*/ 111 h 140"/>
                <a:gd name="T32" fmla="*/ 196 w 209"/>
                <a:gd name="T33" fmla="*/ 110 h 140"/>
                <a:gd name="T34" fmla="*/ 194 w 209"/>
                <a:gd name="T35" fmla="*/ 110 h 140"/>
                <a:gd name="T36" fmla="*/ 30 w 209"/>
                <a:gd name="T37" fmla="*/ 110 h 140"/>
                <a:gd name="T38" fmla="*/ 30 w 209"/>
                <a:gd name="T39" fmla="*/ 15 h 140"/>
                <a:gd name="T40" fmla="*/ 29 w 209"/>
                <a:gd name="T41" fmla="*/ 11 h 140"/>
                <a:gd name="T42" fmla="*/ 29 w 209"/>
                <a:gd name="T43" fmla="*/ 8 h 140"/>
                <a:gd name="T44" fmla="*/ 27 w 209"/>
                <a:gd name="T45" fmla="*/ 6 h 140"/>
                <a:gd name="T46" fmla="*/ 26 w 209"/>
                <a:gd name="T47" fmla="*/ 4 h 140"/>
                <a:gd name="T48" fmla="*/ 23 w 209"/>
                <a:gd name="T49" fmla="*/ 2 h 140"/>
                <a:gd name="T50" fmla="*/ 20 w 209"/>
                <a:gd name="T51" fmla="*/ 1 h 140"/>
                <a:gd name="T52" fmla="*/ 17 w 209"/>
                <a:gd name="T53" fmla="*/ 0 h 140"/>
                <a:gd name="T54" fmla="*/ 15 w 209"/>
                <a:gd name="T55" fmla="*/ 0 h 140"/>
                <a:gd name="T56" fmla="*/ 12 w 209"/>
                <a:gd name="T57" fmla="*/ 0 h 140"/>
                <a:gd name="T58" fmla="*/ 9 w 209"/>
                <a:gd name="T59" fmla="*/ 1 h 140"/>
                <a:gd name="T60" fmla="*/ 7 w 209"/>
                <a:gd name="T61" fmla="*/ 2 h 140"/>
                <a:gd name="T62" fmla="*/ 4 w 209"/>
                <a:gd name="T63" fmla="*/ 4 h 140"/>
                <a:gd name="T64" fmla="*/ 2 w 209"/>
                <a:gd name="T65" fmla="*/ 6 h 140"/>
                <a:gd name="T66" fmla="*/ 1 w 209"/>
                <a:gd name="T67" fmla="*/ 8 h 140"/>
                <a:gd name="T68" fmla="*/ 0 w 209"/>
                <a:gd name="T69" fmla="*/ 11 h 140"/>
                <a:gd name="T70" fmla="*/ 0 w 209"/>
                <a:gd name="T71" fmla="*/ 15 h 140"/>
                <a:gd name="T72" fmla="*/ 0 w 209"/>
                <a:gd name="T73" fmla="*/ 125 h 140"/>
                <a:gd name="T74" fmla="*/ 0 w 209"/>
                <a:gd name="T75" fmla="*/ 128 h 140"/>
                <a:gd name="T76" fmla="*/ 1 w 209"/>
                <a:gd name="T77" fmla="*/ 130 h 140"/>
                <a:gd name="T78" fmla="*/ 2 w 209"/>
                <a:gd name="T79" fmla="*/ 134 h 140"/>
                <a:gd name="T80" fmla="*/ 4 w 209"/>
                <a:gd name="T81" fmla="*/ 136 h 140"/>
                <a:gd name="T82" fmla="*/ 7 w 209"/>
                <a:gd name="T83" fmla="*/ 137 h 140"/>
                <a:gd name="T84" fmla="*/ 9 w 209"/>
                <a:gd name="T85" fmla="*/ 139 h 140"/>
                <a:gd name="T86" fmla="*/ 12 w 209"/>
                <a:gd name="T87" fmla="*/ 140 h 140"/>
                <a:gd name="T88" fmla="*/ 15 w 209"/>
                <a:gd name="T8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9" h="140">
                  <a:moveTo>
                    <a:pt x="15" y="140"/>
                  </a:moveTo>
                  <a:lnTo>
                    <a:pt x="194" y="140"/>
                  </a:lnTo>
                  <a:lnTo>
                    <a:pt x="196" y="140"/>
                  </a:lnTo>
                  <a:lnTo>
                    <a:pt x="200" y="139"/>
                  </a:lnTo>
                  <a:lnTo>
                    <a:pt x="202" y="137"/>
                  </a:lnTo>
                  <a:lnTo>
                    <a:pt x="205" y="136"/>
                  </a:lnTo>
                  <a:lnTo>
                    <a:pt x="206" y="134"/>
                  </a:lnTo>
                  <a:lnTo>
                    <a:pt x="208" y="130"/>
                  </a:lnTo>
                  <a:lnTo>
                    <a:pt x="208" y="128"/>
                  </a:lnTo>
                  <a:lnTo>
                    <a:pt x="209" y="125"/>
                  </a:lnTo>
                  <a:lnTo>
                    <a:pt x="208" y="122"/>
                  </a:lnTo>
                  <a:lnTo>
                    <a:pt x="208" y="119"/>
                  </a:lnTo>
                  <a:lnTo>
                    <a:pt x="206" y="117"/>
                  </a:lnTo>
                  <a:lnTo>
                    <a:pt x="205" y="114"/>
                  </a:lnTo>
                  <a:lnTo>
                    <a:pt x="202" y="112"/>
                  </a:lnTo>
                  <a:lnTo>
                    <a:pt x="200" y="111"/>
                  </a:lnTo>
                  <a:lnTo>
                    <a:pt x="196" y="110"/>
                  </a:lnTo>
                  <a:lnTo>
                    <a:pt x="194" y="110"/>
                  </a:lnTo>
                  <a:lnTo>
                    <a:pt x="30" y="110"/>
                  </a:lnTo>
                  <a:lnTo>
                    <a:pt x="30" y="15"/>
                  </a:lnTo>
                  <a:lnTo>
                    <a:pt x="29" y="11"/>
                  </a:lnTo>
                  <a:lnTo>
                    <a:pt x="29" y="8"/>
                  </a:lnTo>
                  <a:lnTo>
                    <a:pt x="27" y="6"/>
                  </a:lnTo>
                  <a:lnTo>
                    <a:pt x="26" y="4"/>
                  </a:lnTo>
                  <a:lnTo>
                    <a:pt x="23" y="2"/>
                  </a:lnTo>
                  <a:lnTo>
                    <a:pt x="20" y="1"/>
                  </a:lnTo>
                  <a:lnTo>
                    <a:pt x="17" y="0"/>
                  </a:lnTo>
                  <a:lnTo>
                    <a:pt x="15" y="0"/>
                  </a:lnTo>
                  <a:lnTo>
                    <a:pt x="12" y="0"/>
                  </a:lnTo>
                  <a:lnTo>
                    <a:pt x="9" y="1"/>
                  </a:lnTo>
                  <a:lnTo>
                    <a:pt x="7" y="2"/>
                  </a:lnTo>
                  <a:lnTo>
                    <a:pt x="4" y="4"/>
                  </a:lnTo>
                  <a:lnTo>
                    <a:pt x="2" y="6"/>
                  </a:lnTo>
                  <a:lnTo>
                    <a:pt x="1" y="8"/>
                  </a:lnTo>
                  <a:lnTo>
                    <a:pt x="0" y="11"/>
                  </a:lnTo>
                  <a:lnTo>
                    <a:pt x="0" y="15"/>
                  </a:lnTo>
                  <a:lnTo>
                    <a:pt x="0" y="125"/>
                  </a:lnTo>
                  <a:lnTo>
                    <a:pt x="0" y="128"/>
                  </a:lnTo>
                  <a:lnTo>
                    <a:pt x="1" y="130"/>
                  </a:lnTo>
                  <a:lnTo>
                    <a:pt x="2" y="134"/>
                  </a:lnTo>
                  <a:lnTo>
                    <a:pt x="4" y="136"/>
                  </a:lnTo>
                  <a:lnTo>
                    <a:pt x="7" y="137"/>
                  </a:lnTo>
                  <a:lnTo>
                    <a:pt x="9" y="139"/>
                  </a:lnTo>
                  <a:lnTo>
                    <a:pt x="12" y="140"/>
                  </a:lnTo>
                  <a:lnTo>
                    <a:pt x="1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9" name="Freeform 132">
              <a:extLst>
                <a:ext uri="{FF2B5EF4-FFF2-40B4-BE49-F238E27FC236}">
                  <a16:creationId xmlns:a16="http://schemas.microsoft.com/office/drawing/2014/main" id="{565D57ED-847A-44BD-9CDC-E7F1496E755E}"/>
                </a:ext>
              </a:extLst>
            </p:cNvPr>
            <p:cNvSpPr>
              <a:spLocks/>
            </p:cNvSpPr>
            <p:nvPr/>
          </p:nvSpPr>
          <p:spPr bwMode="auto">
            <a:xfrm>
              <a:off x="8305800" y="2688908"/>
              <a:ext cx="34925" cy="46038"/>
            </a:xfrm>
            <a:custGeom>
              <a:avLst/>
              <a:gdLst>
                <a:gd name="T0" fmla="*/ 0 w 110"/>
                <a:gd name="T1" fmla="*/ 15 h 149"/>
                <a:gd name="T2" fmla="*/ 0 w 110"/>
                <a:gd name="T3" fmla="*/ 134 h 149"/>
                <a:gd name="T4" fmla="*/ 1 w 110"/>
                <a:gd name="T5" fmla="*/ 137 h 149"/>
                <a:gd name="T6" fmla="*/ 2 w 110"/>
                <a:gd name="T7" fmla="*/ 140 h 149"/>
                <a:gd name="T8" fmla="*/ 3 w 110"/>
                <a:gd name="T9" fmla="*/ 142 h 149"/>
                <a:gd name="T10" fmla="*/ 5 w 110"/>
                <a:gd name="T11" fmla="*/ 145 h 149"/>
                <a:gd name="T12" fmla="*/ 7 w 110"/>
                <a:gd name="T13" fmla="*/ 147 h 149"/>
                <a:gd name="T14" fmla="*/ 10 w 110"/>
                <a:gd name="T15" fmla="*/ 148 h 149"/>
                <a:gd name="T16" fmla="*/ 13 w 110"/>
                <a:gd name="T17" fmla="*/ 149 h 149"/>
                <a:gd name="T18" fmla="*/ 15 w 110"/>
                <a:gd name="T19" fmla="*/ 149 h 149"/>
                <a:gd name="T20" fmla="*/ 18 w 110"/>
                <a:gd name="T21" fmla="*/ 149 h 149"/>
                <a:gd name="T22" fmla="*/ 21 w 110"/>
                <a:gd name="T23" fmla="*/ 148 h 149"/>
                <a:gd name="T24" fmla="*/ 24 w 110"/>
                <a:gd name="T25" fmla="*/ 147 h 149"/>
                <a:gd name="T26" fmla="*/ 26 w 110"/>
                <a:gd name="T27" fmla="*/ 145 h 149"/>
                <a:gd name="T28" fmla="*/ 28 w 110"/>
                <a:gd name="T29" fmla="*/ 142 h 149"/>
                <a:gd name="T30" fmla="*/ 29 w 110"/>
                <a:gd name="T31" fmla="*/ 140 h 149"/>
                <a:gd name="T32" fmla="*/ 30 w 110"/>
                <a:gd name="T33" fmla="*/ 137 h 149"/>
                <a:gd name="T34" fmla="*/ 30 w 110"/>
                <a:gd name="T35" fmla="*/ 134 h 149"/>
                <a:gd name="T36" fmla="*/ 30 w 110"/>
                <a:gd name="T37" fmla="*/ 31 h 149"/>
                <a:gd name="T38" fmla="*/ 95 w 110"/>
                <a:gd name="T39" fmla="*/ 31 h 149"/>
                <a:gd name="T40" fmla="*/ 99 w 110"/>
                <a:gd name="T41" fmla="*/ 30 h 149"/>
                <a:gd name="T42" fmla="*/ 101 w 110"/>
                <a:gd name="T43" fmla="*/ 29 h 149"/>
                <a:gd name="T44" fmla="*/ 104 w 110"/>
                <a:gd name="T45" fmla="*/ 28 h 149"/>
                <a:gd name="T46" fmla="*/ 106 w 110"/>
                <a:gd name="T47" fmla="*/ 26 h 149"/>
                <a:gd name="T48" fmla="*/ 107 w 110"/>
                <a:gd name="T49" fmla="*/ 23 h 149"/>
                <a:gd name="T50" fmla="*/ 109 w 110"/>
                <a:gd name="T51" fmla="*/ 21 h 149"/>
                <a:gd name="T52" fmla="*/ 110 w 110"/>
                <a:gd name="T53" fmla="*/ 18 h 149"/>
                <a:gd name="T54" fmla="*/ 110 w 110"/>
                <a:gd name="T55" fmla="*/ 16 h 149"/>
                <a:gd name="T56" fmla="*/ 110 w 110"/>
                <a:gd name="T57" fmla="*/ 13 h 149"/>
                <a:gd name="T58" fmla="*/ 109 w 110"/>
                <a:gd name="T59" fmla="*/ 9 h 149"/>
                <a:gd name="T60" fmla="*/ 107 w 110"/>
                <a:gd name="T61" fmla="*/ 7 h 149"/>
                <a:gd name="T62" fmla="*/ 106 w 110"/>
                <a:gd name="T63" fmla="*/ 5 h 149"/>
                <a:gd name="T64" fmla="*/ 104 w 110"/>
                <a:gd name="T65" fmla="*/ 3 h 149"/>
                <a:gd name="T66" fmla="*/ 101 w 110"/>
                <a:gd name="T67" fmla="*/ 2 h 149"/>
                <a:gd name="T68" fmla="*/ 99 w 110"/>
                <a:gd name="T69" fmla="*/ 1 h 149"/>
                <a:gd name="T70" fmla="*/ 95 w 110"/>
                <a:gd name="T71" fmla="*/ 1 h 149"/>
                <a:gd name="T72" fmla="*/ 15 w 110"/>
                <a:gd name="T73" fmla="*/ 0 h 149"/>
                <a:gd name="T74" fmla="*/ 13 w 110"/>
                <a:gd name="T75" fmla="*/ 1 h 149"/>
                <a:gd name="T76" fmla="*/ 10 w 110"/>
                <a:gd name="T77" fmla="*/ 2 h 149"/>
                <a:gd name="T78" fmla="*/ 7 w 110"/>
                <a:gd name="T79" fmla="*/ 3 h 149"/>
                <a:gd name="T80" fmla="*/ 5 w 110"/>
                <a:gd name="T81" fmla="*/ 5 h 149"/>
                <a:gd name="T82" fmla="*/ 3 w 110"/>
                <a:gd name="T83" fmla="*/ 7 h 149"/>
                <a:gd name="T84" fmla="*/ 2 w 110"/>
                <a:gd name="T85" fmla="*/ 9 h 149"/>
                <a:gd name="T86" fmla="*/ 1 w 110"/>
                <a:gd name="T87" fmla="*/ 13 h 149"/>
                <a:gd name="T88" fmla="*/ 0 w 110"/>
                <a:gd name="T89" fmla="*/ 1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149">
                  <a:moveTo>
                    <a:pt x="0" y="15"/>
                  </a:moveTo>
                  <a:lnTo>
                    <a:pt x="0" y="134"/>
                  </a:lnTo>
                  <a:lnTo>
                    <a:pt x="1" y="137"/>
                  </a:lnTo>
                  <a:lnTo>
                    <a:pt x="2" y="140"/>
                  </a:lnTo>
                  <a:lnTo>
                    <a:pt x="3" y="142"/>
                  </a:lnTo>
                  <a:lnTo>
                    <a:pt x="5" y="145"/>
                  </a:lnTo>
                  <a:lnTo>
                    <a:pt x="7" y="147"/>
                  </a:lnTo>
                  <a:lnTo>
                    <a:pt x="10" y="148"/>
                  </a:lnTo>
                  <a:lnTo>
                    <a:pt x="13" y="149"/>
                  </a:lnTo>
                  <a:lnTo>
                    <a:pt x="15" y="149"/>
                  </a:lnTo>
                  <a:lnTo>
                    <a:pt x="18" y="149"/>
                  </a:lnTo>
                  <a:lnTo>
                    <a:pt x="21" y="148"/>
                  </a:lnTo>
                  <a:lnTo>
                    <a:pt x="24" y="147"/>
                  </a:lnTo>
                  <a:lnTo>
                    <a:pt x="26" y="145"/>
                  </a:lnTo>
                  <a:lnTo>
                    <a:pt x="28" y="142"/>
                  </a:lnTo>
                  <a:lnTo>
                    <a:pt x="29" y="140"/>
                  </a:lnTo>
                  <a:lnTo>
                    <a:pt x="30" y="137"/>
                  </a:lnTo>
                  <a:lnTo>
                    <a:pt x="30" y="134"/>
                  </a:lnTo>
                  <a:lnTo>
                    <a:pt x="30" y="31"/>
                  </a:lnTo>
                  <a:lnTo>
                    <a:pt x="95" y="31"/>
                  </a:lnTo>
                  <a:lnTo>
                    <a:pt x="99" y="30"/>
                  </a:lnTo>
                  <a:lnTo>
                    <a:pt x="101" y="29"/>
                  </a:lnTo>
                  <a:lnTo>
                    <a:pt x="104" y="28"/>
                  </a:lnTo>
                  <a:lnTo>
                    <a:pt x="106" y="26"/>
                  </a:lnTo>
                  <a:lnTo>
                    <a:pt x="107" y="23"/>
                  </a:lnTo>
                  <a:lnTo>
                    <a:pt x="109" y="21"/>
                  </a:lnTo>
                  <a:lnTo>
                    <a:pt x="110" y="18"/>
                  </a:lnTo>
                  <a:lnTo>
                    <a:pt x="110" y="16"/>
                  </a:lnTo>
                  <a:lnTo>
                    <a:pt x="110" y="13"/>
                  </a:lnTo>
                  <a:lnTo>
                    <a:pt x="109" y="9"/>
                  </a:lnTo>
                  <a:lnTo>
                    <a:pt x="107" y="7"/>
                  </a:lnTo>
                  <a:lnTo>
                    <a:pt x="106" y="5"/>
                  </a:lnTo>
                  <a:lnTo>
                    <a:pt x="104" y="3"/>
                  </a:lnTo>
                  <a:lnTo>
                    <a:pt x="101" y="2"/>
                  </a:lnTo>
                  <a:lnTo>
                    <a:pt x="99" y="1"/>
                  </a:lnTo>
                  <a:lnTo>
                    <a:pt x="95" y="1"/>
                  </a:lnTo>
                  <a:lnTo>
                    <a:pt x="15" y="0"/>
                  </a:lnTo>
                  <a:lnTo>
                    <a:pt x="13" y="1"/>
                  </a:lnTo>
                  <a:lnTo>
                    <a:pt x="10" y="2"/>
                  </a:lnTo>
                  <a:lnTo>
                    <a:pt x="7" y="3"/>
                  </a:lnTo>
                  <a:lnTo>
                    <a:pt x="5" y="5"/>
                  </a:lnTo>
                  <a:lnTo>
                    <a:pt x="3" y="7"/>
                  </a:lnTo>
                  <a:lnTo>
                    <a:pt x="2" y="9"/>
                  </a:lnTo>
                  <a:lnTo>
                    <a:pt x="1" y="13"/>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0" name="Freeform 133">
              <a:extLst>
                <a:ext uri="{FF2B5EF4-FFF2-40B4-BE49-F238E27FC236}">
                  <a16:creationId xmlns:a16="http://schemas.microsoft.com/office/drawing/2014/main" id="{F3EEBAEC-291D-4B94-BED9-C99FF9C2CA83}"/>
                </a:ext>
              </a:extLst>
            </p:cNvPr>
            <p:cNvSpPr>
              <a:spLocks/>
            </p:cNvSpPr>
            <p:nvPr/>
          </p:nvSpPr>
          <p:spPr bwMode="auto">
            <a:xfrm>
              <a:off x="8223250" y="2669858"/>
              <a:ext cx="33338" cy="9525"/>
            </a:xfrm>
            <a:custGeom>
              <a:avLst/>
              <a:gdLst>
                <a:gd name="T0" fmla="*/ 0 w 105"/>
                <a:gd name="T1" fmla="*/ 15 h 30"/>
                <a:gd name="T2" fmla="*/ 0 w 105"/>
                <a:gd name="T3" fmla="*/ 18 h 30"/>
                <a:gd name="T4" fmla="*/ 1 w 105"/>
                <a:gd name="T5" fmla="*/ 21 h 30"/>
                <a:gd name="T6" fmla="*/ 3 w 105"/>
                <a:gd name="T7" fmla="*/ 23 h 30"/>
                <a:gd name="T8" fmla="*/ 5 w 105"/>
                <a:gd name="T9" fmla="*/ 26 h 30"/>
                <a:gd name="T10" fmla="*/ 7 w 105"/>
                <a:gd name="T11" fmla="*/ 28 h 30"/>
                <a:gd name="T12" fmla="*/ 9 w 105"/>
                <a:gd name="T13" fmla="*/ 29 h 30"/>
                <a:gd name="T14" fmla="*/ 12 w 105"/>
                <a:gd name="T15" fmla="*/ 30 h 30"/>
                <a:gd name="T16" fmla="*/ 15 w 105"/>
                <a:gd name="T17" fmla="*/ 30 h 30"/>
                <a:gd name="T18" fmla="*/ 90 w 105"/>
                <a:gd name="T19" fmla="*/ 30 h 30"/>
                <a:gd name="T20" fmla="*/ 94 w 105"/>
                <a:gd name="T21" fmla="*/ 30 h 30"/>
                <a:gd name="T22" fmla="*/ 97 w 105"/>
                <a:gd name="T23" fmla="*/ 29 h 30"/>
                <a:gd name="T24" fmla="*/ 99 w 105"/>
                <a:gd name="T25" fmla="*/ 28 h 30"/>
                <a:gd name="T26" fmla="*/ 101 w 105"/>
                <a:gd name="T27" fmla="*/ 26 h 30"/>
                <a:gd name="T28" fmla="*/ 103 w 105"/>
                <a:gd name="T29" fmla="*/ 23 h 30"/>
                <a:gd name="T30" fmla="*/ 104 w 105"/>
                <a:gd name="T31" fmla="*/ 21 h 30"/>
                <a:gd name="T32" fmla="*/ 105 w 105"/>
                <a:gd name="T33" fmla="*/ 18 h 30"/>
                <a:gd name="T34" fmla="*/ 105 w 105"/>
                <a:gd name="T35" fmla="*/ 15 h 30"/>
                <a:gd name="T36" fmla="*/ 105 w 105"/>
                <a:gd name="T37" fmla="*/ 13 h 30"/>
                <a:gd name="T38" fmla="*/ 104 w 105"/>
                <a:gd name="T39" fmla="*/ 9 h 30"/>
                <a:gd name="T40" fmla="*/ 103 w 105"/>
                <a:gd name="T41" fmla="*/ 7 h 30"/>
                <a:gd name="T42" fmla="*/ 101 w 105"/>
                <a:gd name="T43" fmla="*/ 5 h 30"/>
                <a:gd name="T44" fmla="*/ 99 w 105"/>
                <a:gd name="T45" fmla="*/ 3 h 30"/>
                <a:gd name="T46" fmla="*/ 97 w 105"/>
                <a:gd name="T47" fmla="*/ 2 h 30"/>
                <a:gd name="T48" fmla="*/ 94 w 105"/>
                <a:gd name="T49" fmla="*/ 1 h 30"/>
                <a:gd name="T50" fmla="*/ 90 w 105"/>
                <a:gd name="T51" fmla="*/ 0 h 30"/>
                <a:gd name="T52" fmla="*/ 15 w 105"/>
                <a:gd name="T53" fmla="*/ 0 h 30"/>
                <a:gd name="T54" fmla="*/ 12 w 105"/>
                <a:gd name="T55" fmla="*/ 1 h 30"/>
                <a:gd name="T56" fmla="*/ 9 w 105"/>
                <a:gd name="T57" fmla="*/ 1 h 30"/>
                <a:gd name="T58" fmla="*/ 7 w 105"/>
                <a:gd name="T59" fmla="*/ 3 h 30"/>
                <a:gd name="T60" fmla="*/ 5 w 105"/>
                <a:gd name="T61" fmla="*/ 5 h 30"/>
                <a:gd name="T62" fmla="*/ 3 w 105"/>
                <a:gd name="T63" fmla="*/ 7 h 30"/>
                <a:gd name="T64" fmla="*/ 1 w 105"/>
                <a:gd name="T65" fmla="*/ 9 h 30"/>
                <a:gd name="T66" fmla="*/ 0 w 105"/>
                <a:gd name="T67" fmla="*/ 13 h 30"/>
                <a:gd name="T68" fmla="*/ 0 w 105"/>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0">
                  <a:moveTo>
                    <a:pt x="0" y="15"/>
                  </a:moveTo>
                  <a:lnTo>
                    <a:pt x="0" y="18"/>
                  </a:lnTo>
                  <a:lnTo>
                    <a:pt x="1" y="21"/>
                  </a:lnTo>
                  <a:lnTo>
                    <a:pt x="3" y="23"/>
                  </a:lnTo>
                  <a:lnTo>
                    <a:pt x="5" y="26"/>
                  </a:lnTo>
                  <a:lnTo>
                    <a:pt x="7" y="28"/>
                  </a:lnTo>
                  <a:lnTo>
                    <a:pt x="9" y="29"/>
                  </a:lnTo>
                  <a:lnTo>
                    <a:pt x="12" y="30"/>
                  </a:lnTo>
                  <a:lnTo>
                    <a:pt x="15" y="30"/>
                  </a:lnTo>
                  <a:lnTo>
                    <a:pt x="90" y="30"/>
                  </a:lnTo>
                  <a:lnTo>
                    <a:pt x="94" y="30"/>
                  </a:lnTo>
                  <a:lnTo>
                    <a:pt x="97" y="29"/>
                  </a:lnTo>
                  <a:lnTo>
                    <a:pt x="99" y="28"/>
                  </a:lnTo>
                  <a:lnTo>
                    <a:pt x="101" y="26"/>
                  </a:lnTo>
                  <a:lnTo>
                    <a:pt x="103" y="23"/>
                  </a:lnTo>
                  <a:lnTo>
                    <a:pt x="104" y="21"/>
                  </a:lnTo>
                  <a:lnTo>
                    <a:pt x="105" y="18"/>
                  </a:lnTo>
                  <a:lnTo>
                    <a:pt x="105" y="15"/>
                  </a:lnTo>
                  <a:lnTo>
                    <a:pt x="105" y="13"/>
                  </a:lnTo>
                  <a:lnTo>
                    <a:pt x="104" y="9"/>
                  </a:lnTo>
                  <a:lnTo>
                    <a:pt x="103" y="7"/>
                  </a:lnTo>
                  <a:lnTo>
                    <a:pt x="101" y="5"/>
                  </a:lnTo>
                  <a:lnTo>
                    <a:pt x="99" y="3"/>
                  </a:lnTo>
                  <a:lnTo>
                    <a:pt x="97" y="2"/>
                  </a:lnTo>
                  <a:lnTo>
                    <a:pt x="94" y="1"/>
                  </a:lnTo>
                  <a:lnTo>
                    <a:pt x="90" y="0"/>
                  </a:lnTo>
                  <a:lnTo>
                    <a:pt x="15" y="0"/>
                  </a:lnTo>
                  <a:lnTo>
                    <a:pt x="12" y="1"/>
                  </a:lnTo>
                  <a:lnTo>
                    <a:pt x="9" y="1"/>
                  </a:lnTo>
                  <a:lnTo>
                    <a:pt x="7" y="3"/>
                  </a:lnTo>
                  <a:lnTo>
                    <a:pt x="5" y="5"/>
                  </a:lnTo>
                  <a:lnTo>
                    <a:pt x="3" y="7"/>
                  </a:lnTo>
                  <a:lnTo>
                    <a:pt x="1" y="9"/>
                  </a:lnTo>
                  <a:lnTo>
                    <a:pt x="0" y="13"/>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1" name="Freeform 134">
              <a:extLst>
                <a:ext uri="{FF2B5EF4-FFF2-40B4-BE49-F238E27FC236}">
                  <a16:creationId xmlns:a16="http://schemas.microsoft.com/office/drawing/2014/main" id="{C58A0D51-F604-4981-9676-EC8F35F64E64}"/>
                </a:ext>
              </a:extLst>
            </p:cNvPr>
            <p:cNvSpPr>
              <a:spLocks/>
            </p:cNvSpPr>
            <p:nvPr/>
          </p:nvSpPr>
          <p:spPr bwMode="auto">
            <a:xfrm>
              <a:off x="8289925" y="2631758"/>
              <a:ext cx="33338" cy="9525"/>
            </a:xfrm>
            <a:custGeom>
              <a:avLst/>
              <a:gdLst>
                <a:gd name="T0" fmla="*/ 15 w 107"/>
                <a:gd name="T1" fmla="*/ 30 h 30"/>
                <a:gd name="T2" fmla="*/ 92 w 107"/>
                <a:gd name="T3" fmla="*/ 30 h 30"/>
                <a:gd name="T4" fmla="*/ 95 w 107"/>
                <a:gd name="T5" fmla="*/ 30 h 30"/>
                <a:gd name="T6" fmla="*/ 97 w 107"/>
                <a:gd name="T7" fmla="*/ 29 h 30"/>
                <a:gd name="T8" fmla="*/ 100 w 107"/>
                <a:gd name="T9" fmla="*/ 28 h 30"/>
                <a:gd name="T10" fmla="*/ 102 w 107"/>
                <a:gd name="T11" fmla="*/ 25 h 30"/>
                <a:gd name="T12" fmla="*/ 103 w 107"/>
                <a:gd name="T13" fmla="*/ 23 h 30"/>
                <a:gd name="T14" fmla="*/ 105 w 107"/>
                <a:gd name="T15" fmla="*/ 21 h 30"/>
                <a:gd name="T16" fmla="*/ 107 w 107"/>
                <a:gd name="T17" fmla="*/ 18 h 30"/>
                <a:gd name="T18" fmla="*/ 107 w 107"/>
                <a:gd name="T19" fmla="*/ 15 h 30"/>
                <a:gd name="T20" fmla="*/ 107 w 107"/>
                <a:gd name="T21" fmla="*/ 11 h 30"/>
                <a:gd name="T22" fmla="*/ 105 w 107"/>
                <a:gd name="T23" fmla="*/ 9 h 30"/>
                <a:gd name="T24" fmla="*/ 103 w 107"/>
                <a:gd name="T25" fmla="*/ 6 h 30"/>
                <a:gd name="T26" fmla="*/ 102 w 107"/>
                <a:gd name="T27" fmla="*/ 4 h 30"/>
                <a:gd name="T28" fmla="*/ 100 w 107"/>
                <a:gd name="T29" fmla="*/ 3 h 30"/>
                <a:gd name="T30" fmla="*/ 97 w 107"/>
                <a:gd name="T31" fmla="*/ 1 h 30"/>
                <a:gd name="T32" fmla="*/ 95 w 107"/>
                <a:gd name="T33" fmla="*/ 1 h 30"/>
                <a:gd name="T34" fmla="*/ 92 w 107"/>
                <a:gd name="T35" fmla="*/ 0 h 30"/>
                <a:gd name="T36" fmla="*/ 15 w 107"/>
                <a:gd name="T37" fmla="*/ 0 h 30"/>
                <a:gd name="T38" fmla="*/ 12 w 107"/>
                <a:gd name="T39" fmla="*/ 1 h 30"/>
                <a:gd name="T40" fmla="*/ 10 w 107"/>
                <a:gd name="T41" fmla="*/ 1 h 30"/>
                <a:gd name="T42" fmla="*/ 7 w 107"/>
                <a:gd name="T43" fmla="*/ 3 h 30"/>
                <a:gd name="T44" fmla="*/ 5 w 107"/>
                <a:gd name="T45" fmla="*/ 4 h 30"/>
                <a:gd name="T46" fmla="*/ 3 w 107"/>
                <a:gd name="T47" fmla="*/ 6 h 30"/>
                <a:gd name="T48" fmla="*/ 1 w 107"/>
                <a:gd name="T49" fmla="*/ 9 h 30"/>
                <a:gd name="T50" fmla="*/ 0 w 107"/>
                <a:gd name="T51" fmla="*/ 11 h 30"/>
                <a:gd name="T52" fmla="*/ 0 w 107"/>
                <a:gd name="T53" fmla="*/ 15 h 30"/>
                <a:gd name="T54" fmla="*/ 0 w 107"/>
                <a:gd name="T55" fmla="*/ 18 h 30"/>
                <a:gd name="T56" fmla="*/ 1 w 107"/>
                <a:gd name="T57" fmla="*/ 21 h 30"/>
                <a:gd name="T58" fmla="*/ 3 w 107"/>
                <a:gd name="T59" fmla="*/ 23 h 30"/>
                <a:gd name="T60" fmla="*/ 5 w 107"/>
                <a:gd name="T61" fmla="*/ 25 h 30"/>
                <a:gd name="T62" fmla="*/ 7 w 107"/>
                <a:gd name="T63" fmla="*/ 28 h 30"/>
                <a:gd name="T64" fmla="*/ 10 w 107"/>
                <a:gd name="T65" fmla="*/ 29 h 30"/>
                <a:gd name="T66" fmla="*/ 12 w 107"/>
                <a:gd name="T67" fmla="*/ 30 h 30"/>
                <a:gd name="T68" fmla="*/ 15 w 107"/>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30">
                  <a:moveTo>
                    <a:pt x="15" y="30"/>
                  </a:moveTo>
                  <a:lnTo>
                    <a:pt x="92" y="30"/>
                  </a:lnTo>
                  <a:lnTo>
                    <a:pt x="95" y="30"/>
                  </a:lnTo>
                  <a:lnTo>
                    <a:pt x="97" y="29"/>
                  </a:lnTo>
                  <a:lnTo>
                    <a:pt x="100" y="28"/>
                  </a:lnTo>
                  <a:lnTo>
                    <a:pt x="102" y="25"/>
                  </a:lnTo>
                  <a:lnTo>
                    <a:pt x="103" y="23"/>
                  </a:lnTo>
                  <a:lnTo>
                    <a:pt x="105" y="21"/>
                  </a:lnTo>
                  <a:lnTo>
                    <a:pt x="107" y="18"/>
                  </a:lnTo>
                  <a:lnTo>
                    <a:pt x="107" y="15"/>
                  </a:lnTo>
                  <a:lnTo>
                    <a:pt x="107" y="11"/>
                  </a:lnTo>
                  <a:lnTo>
                    <a:pt x="105" y="9"/>
                  </a:lnTo>
                  <a:lnTo>
                    <a:pt x="103" y="6"/>
                  </a:lnTo>
                  <a:lnTo>
                    <a:pt x="102" y="4"/>
                  </a:lnTo>
                  <a:lnTo>
                    <a:pt x="100" y="3"/>
                  </a:lnTo>
                  <a:lnTo>
                    <a:pt x="97" y="1"/>
                  </a:lnTo>
                  <a:lnTo>
                    <a:pt x="95" y="1"/>
                  </a:lnTo>
                  <a:lnTo>
                    <a:pt x="92" y="0"/>
                  </a:lnTo>
                  <a:lnTo>
                    <a:pt x="15" y="0"/>
                  </a:lnTo>
                  <a:lnTo>
                    <a:pt x="12" y="1"/>
                  </a:lnTo>
                  <a:lnTo>
                    <a:pt x="10" y="1"/>
                  </a:lnTo>
                  <a:lnTo>
                    <a:pt x="7" y="3"/>
                  </a:lnTo>
                  <a:lnTo>
                    <a:pt x="5" y="4"/>
                  </a:lnTo>
                  <a:lnTo>
                    <a:pt x="3" y="6"/>
                  </a:lnTo>
                  <a:lnTo>
                    <a:pt x="1" y="9"/>
                  </a:lnTo>
                  <a:lnTo>
                    <a:pt x="0" y="11"/>
                  </a:lnTo>
                  <a:lnTo>
                    <a:pt x="0" y="15"/>
                  </a:lnTo>
                  <a:lnTo>
                    <a:pt x="0" y="18"/>
                  </a:lnTo>
                  <a:lnTo>
                    <a:pt x="1" y="21"/>
                  </a:lnTo>
                  <a:lnTo>
                    <a:pt x="3"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2" name="Freeform 135">
              <a:extLst>
                <a:ext uri="{FF2B5EF4-FFF2-40B4-BE49-F238E27FC236}">
                  <a16:creationId xmlns:a16="http://schemas.microsoft.com/office/drawing/2014/main" id="{DF97F944-114A-47F0-90CA-D4ED29F9164B}"/>
                </a:ext>
              </a:extLst>
            </p:cNvPr>
            <p:cNvSpPr>
              <a:spLocks/>
            </p:cNvSpPr>
            <p:nvPr/>
          </p:nvSpPr>
          <p:spPr bwMode="auto">
            <a:xfrm>
              <a:off x="8337550" y="2641283"/>
              <a:ext cx="46038" cy="38100"/>
            </a:xfrm>
            <a:custGeom>
              <a:avLst/>
              <a:gdLst>
                <a:gd name="T0" fmla="*/ 66 w 143"/>
                <a:gd name="T1" fmla="*/ 0 h 116"/>
                <a:gd name="T2" fmla="*/ 63 w 143"/>
                <a:gd name="T3" fmla="*/ 0 h 116"/>
                <a:gd name="T4" fmla="*/ 60 w 143"/>
                <a:gd name="T5" fmla="*/ 1 h 116"/>
                <a:gd name="T6" fmla="*/ 58 w 143"/>
                <a:gd name="T7" fmla="*/ 2 h 116"/>
                <a:gd name="T8" fmla="*/ 55 w 143"/>
                <a:gd name="T9" fmla="*/ 4 h 116"/>
                <a:gd name="T10" fmla="*/ 53 w 143"/>
                <a:gd name="T11" fmla="*/ 6 h 116"/>
                <a:gd name="T12" fmla="*/ 52 w 143"/>
                <a:gd name="T13" fmla="*/ 10 h 116"/>
                <a:gd name="T14" fmla="*/ 51 w 143"/>
                <a:gd name="T15" fmla="*/ 12 h 116"/>
                <a:gd name="T16" fmla="*/ 51 w 143"/>
                <a:gd name="T17" fmla="*/ 15 h 116"/>
                <a:gd name="T18" fmla="*/ 51 w 143"/>
                <a:gd name="T19" fmla="*/ 86 h 116"/>
                <a:gd name="T20" fmla="*/ 15 w 143"/>
                <a:gd name="T21" fmla="*/ 86 h 116"/>
                <a:gd name="T22" fmla="*/ 11 w 143"/>
                <a:gd name="T23" fmla="*/ 87 h 116"/>
                <a:gd name="T24" fmla="*/ 8 w 143"/>
                <a:gd name="T25" fmla="*/ 87 h 116"/>
                <a:gd name="T26" fmla="*/ 6 w 143"/>
                <a:gd name="T27" fmla="*/ 89 h 116"/>
                <a:gd name="T28" fmla="*/ 4 w 143"/>
                <a:gd name="T29" fmla="*/ 91 h 116"/>
                <a:gd name="T30" fmla="*/ 2 w 143"/>
                <a:gd name="T31" fmla="*/ 93 h 116"/>
                <a:gd name="T32" fmla="*/ 1 w 143"/>
                <a:gd name="T33" fmla="*/ 95 h 116"/>
                <a:gd name="T34" fmla="*/ 0 w 143"/>
                <a:gd name="T35" fmla="*/ 99 h 116"/>
                <a:gd name="T36" fmla="*/ 0 w 143"/>
                <a:gd name="T37" fmla="*/ 101 h 116"/>
                <a:gd name="T38" fmla="*/ 0 w 143"/>
                <a:gd name="T39" fmla="*/ 104 h 116"/>
                <a:gd name="T40" fmla="*/ 1 w 143"/>
                <a:gd name="T41" fmla="*/ 107 h 116"/>
                <a:gd name="T42" fmla="*/ 2 w 143"/>
                <a:gd name="T43" fmla="*/ 109 h 116"/>
                <a:gd name="T44" fmla="*/ 4 w 143"/>
                <a:gd name="T45" fmla="*/ 112 h 116"/>
                <a:gd name="T46" fmla="*/ 6 w 143"/>
                <a:gd name="T47" fmla="*/ 114 h 116"/>
                <a:gd name="T48" fmla="*/ 8 w 143"/>
                <a:gd name="T49" fmla="*/ 115 h 116"/>
                <a:gd name="T50" fmla="*/ 11 w 143"/>
                <a:gd name="T51" fmla="*/ 116 h 116"/>
                <a:gd name="T52" fmla="*/ 15 w 143"/>
                <a:gd name="T53" fmla="*/ 116 h 116"/>
                <a:gd name="T54" fmla="*/ 128 w 143"/>
                <a:gd name="T55" fmla="*/ 116 h 116"/>
                <a:gd name="T56" fmla="*/ 130 w 143"/>
                <a:gd name="T57" fmla="*/ 116 h 116"/>
                <a:gd name="T58" fmla="*/ 134 w 143"/>
                <a:gd name="T59" fmla="*/ 115 h 116"/>
                <a:gd name="T60" fmla="*/ 136 w 143"/>
                <a:gd name="T61" fmla="*/ 114 h 116"/>
                <a:gd name="T62" fmla="*/ 138 w 143"/>
                <a:gd name="T63" fmla="*/ 112 h 116"/>
                <a:gd name="T64" fmla="*/ 140 w 143"/>
                <a:gd name="T65" fmla="*/ 109 h 116"/>
                <a:gd name="T66" fmla="*/ 141 w 143"/>
                <a:gd name="T67" fmla="*/ 107 h 116"/>
                <a:gd name="T68" fmla="*/ 142 w 143"/>
                <a:gd name="T69" fmla="*/ 104 h 116"/>
                <a:gd name="T70" fmla="*/ 143 w 143"/>
                <a:gd name="T71" fmla="*/ 101 h 116"/>
                <a:gd name="T72" fmla="*/ 142 w 143"/>
                <a:gd name="T73" fmla="*/ 99 h 116"/>
                <a:gd name="T74" fmla="*/ 141 w 143"/>
                <a:gd name="T75" fmla="*/ 95 h 116"/>
                <a:gd name="T76" fmla="*/ 140 w 143"/>
                <a:gd name="T77" fmla="*/ 93 h 116"/>
                <a:gd name="T78" fmla="*/ 138 w 143"/>
                <a:gd name="T79" fmla="*/ 91 h 116"/>
                <a:gd name="T80" fmla="*/ 136 w 143"/>
                <a:gd name="T81" fmla="*/ 89 h 116"/>
                <a:gd name="T82" fmla="*/ 134 w 143"/>
                <a:gd name="T83" fmla="*/ 88 h 116"/>
                <a:gd name="T84" fmla="*/ 130 w 143"/>
                <a:gd name="T85" fmla="*/ 87 h 116"/>
                <a:gd name="T86" fmla="*/ 128 w 143"/>
                <a:gd name="T87" fmla="*/ 86 h 116"/>
                <a:gd name="T88" fmla="*/ 81 w 143"/>
                <a:gd name="T89" fmla="*/ 86 h 116"/>
                <a:gd name="T90" fmla="*/ 81 w 143"/>
                <a:gd name="T91" fmla="*/ 15 h 116"/>
                <a:gd name="T92" fmla="*/ 80 w 143"/>
                <a:gd name="T93" fmla="*/ 12 h 116"/>
                <a:gd name="T94" fmla="*/ 80 w 143"/>
                <a:gd name="T95" fmla="*/ 10 h 116"/>
                <a:gd name="T96" fmla="*/ 78 w 143"/>
                <a:gd name="T97" fmla="*/ 6 h 116"/>
                <a:gd name="T98" fmla="*/ 77 w 143"/>
                <a:gd name="T99" fmla="*/ 4 h 116"/>
                <a:gd name="T100" fmla="*/ 75 w 143"/>
                <a:gd name="T101" fmla="*/ 2 h 116"/>
                <a:gd name="T102" fmla="*/ 71 w 143"/>
                <a:gd name="T103" fmla="*/ 1 h 116"/>
                <a:gd name="T104" fmla="*/ 68 w 143"/>
                <a:gd name="T105" fmla="*/ 0 h 116"/>
                <a:gd name="T106" fmla="*/ 66 w 143"/>
                <a:gd name="T10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116">
                  <a:moveTo>
                    <a:pt x="66" y="0"/>
                  </a:moveTo>
                  <a:lnTo>
                    <a:pt x="63" y="0"/>
                  </a:lnTo>
                  <a:lnTo>
                    <a:pt x="60" y="1"/>
                  </a:lnTo>
                  <a:lnTo>
                    <a:pt x="58" y="2"/>
                  </a:lnTo>
                  <a:lnTo>
                    <a:pt x="55" y="4"/>
                  </a:lnTo>
                  <a:lnTo>
                    <a:pt x="53" y="6"/>
                  </a:lnTo>
                  <a:lnTo>
                    <a:pt x="52" y="10"/>
                  </a:lnTo>
                  <a:lnTo>
                    <a:pt x="51" y="12"/>
                  </a:lnTo>
                  <a:lnTo>
                    <a:pt x="51" y="15"/>
                  </a:lnTo>
                  <a:lnTo>
                    <a:pt x="51" y="86"/>
                  </a:lnTo>
                  <a:lnTo>
                    <a:pt x="15" y="86"/>
                  </a:lnTo>
                  <a:lnTo>
                    <a:pt x="11" y="87"/>
                  </a:lnTo>
                  <a:lnTo>
                    <a:pt x="8" y="87"/>
                  </a:lnTo>
                  <a:lnTo>
                    <a:pt x="6" y="89"/>
                  </a:lnTo>
                  <a:lnTo>
                    <a:pt x="4" y="91"/>
                  </a:lnTo>
                  <a:lnTo>
                    <a:pt x="2" y="93"/>
                  </a:lnTo>
                  <a:lnTo>
                    <a:pt x="1" y="95"/>
                  </a:lnTo>
                  <a:lnTo>
                    <a:pt x="0" y="99"/>
                  </a:lnTo>
                  <a:lnTo>
                    <a:pt x="0" y="101"/>
                  </a:lnTo>
                  <a:lnTo>
                    <a:pt x="0" y="104"/>
                  </a:lnTo>
                  <a:lnTo>
                    <a:pt x="1" y="107"/>
                  </a:lnTo>
                  <a:lnTo>
                    <a:pt x="2" y="109"/>
                  </a:lnTo>
                  <a:lnTo>
                    <a:pt x="4" y="112"/>
                  </a:lnTo>
                  <a:lnTo>
                    <a:pt x="6" y="114"/>
                  </a:lnTo>
                  <a:lnTo>
                    <a:pt x="8" y="115"/>
                  </a:lnTo>
                  <a:lnTo>
                    <a:pt x="11" y="116"/>
                  </a:lnTo>
                  <a:lnTo>
                    <a:pt x="15" y="116"/>
                  </a:lnTo>
                  <a:lnTo>
                    <a:pt x="128" y="116"/>
                  </a:lnTo>
                  <a:lnTo>
                    <a:pt x="130" y="116"/>
                  </a:lnTo>
                  <a:lnTo>
                    <a:pt x="134" y="115"/>
                  </a:lnTo>
                  <a:lnTo>
                    <a:pt x="136" y="114"/>
                  </a:lnTo>
                  <a:lnTo>
                    <a:pt x="138" y="112"/>
                  </a:lnTo>
                  <a:lnTo>
                    <a:pt x="140" y="109"/>
                  </a:lnTo>
                  <a:lnTo>
                    <a:pt x="141" y="107"/>
                  </a:lnTo>
                  <a:lnTo>
                    <a:pt x="142" y="104"/>
                  </a:lnTo>
                  <a:lnTo>
                    <a:pt x="143" y="101"/>
                  </a:lnTo>
                  <a:lnTo>
                    <a:pt x="142" y="99"/>
                  </a:lnTo>
                  <a:lnTo>
                    <a:pt x="141" y="95"/>
                  </a:lnTo>
                  <a:lnTo>
                    <a:pt x="140" y="93"/>
                  </a:lnTo>
                  <a:lnTo>
                    <a:pt x="138" y="91"/>
                  </a:lnTo>
                  <a:lnTo>
                    <a:pt x="136" y="89"/>
                  </a:lnTo>
                  <a:lnTo>
                    <a:pt x="134" y="88"/>
                  </a:lnTo>
                  <a:lnTo>
                    <a:pt x="130" y="87"/>
                  </a:lnTo>
                  <a:lnTo>
                    <a:pt x="128" y="86"/>
                  </a:lnTo>
                  <a:lnTo>
                    <a:pt x="81" y="86"/>
                  </a:lnTo>
                  <a:lnTo>
                    <a:pt x="81" y="15"/>
                  </a:lnTo>
                  <a:lnTo>
                    <a:pt x="80" y="12"/>
                  </a:lnTo>
                  <a:lnTo>
                    <a:pt x="80" y="10"/>
                  </a:lnTo>
                  <a:lnTo>
                    <a:pt x="78" y="6"/>
                  </a:lnTo>
                  <a:lnTo>
                    <a:pt x="77" y="4"/>
                  </a:lnTo>
                  <a:lnTo>
                    <a:pt x="75" y="2"/>
                  </a:lnTo>
                  <a:lnTo>
                    <a:pt x="71" y="1"/>
                  </a:lnTo>
                  <a:lnTo>
                    <a:pt x="68"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83" name="Group 75">
            <a:extLst>
              <a:ext uri="{FF2B5EF4-FFF2-40B4-BE49-F238E27FC236}">
                <a16:creationId xmlns:a16="http://schemas.microsoft.com/office/drawing/2014/main" id="{1208BE37-C121-4D95-B47F-D19CBB76B8B7}"/>
              </a:ext>
            </a:extLst>
          </p:cNvPr>
          <p:cNvGrpSpPr>
            <a:grpSpLocks noChangeAspect="1"/>
          </p:cNvGrpSpPr>
          <p:nvPr/>
        </p:nvGrpSpPr>
        <p:grpSpPr>
          <a:xfrm>
            <a:off x="7471899" y="2233311"/>
            <a:ext cx="285619" cy="285619"/>
            <a:chOff x="6445250" y="781050"/>
            <a:chExt cx="285750" cy="285750"/>
          </a:xfrm>
          <a:solidFill>
            <a:schemeClr val="bg2"/>
          </a:solidFill>
          <a:effectLst/>
        </p:grpSpPr>
        <p:sp>
          <p:nvSpPr>
            <p:cNvPr id="1684" name="Freeform 82">
              <a:extLst>
                <a:ext uri="{FF2B5EF4-FFF2-40B4-BE49-F238E27FC236}">
                  <a16:creationId xmlns:a16="http://schemas.microsoft.com/office/drawing/2014/main" id="{8CE2CB9E-9375-4B5C-A753-F1FB30CDD6EC}"/>
                </a:ext>
              </a:extLst>
            </p:cNvPr>
            <p:cNvSpPr>
              <a:spLocks noEditPoints="1"/>
            </p:cNvSpPr>
            <p:nvPr/>
          </p:nvSpPr>
          <p:spPr bwMode="auto">
            <a:xfrm>
              <a:off x="6445250" y="781050"/>
              <a:ext cx="285750" cy="285750"/>
            </a:xfrm>
            <a:custGeom>
              <a:avLst/>
              <a:gdLst>
                <a:gd name="T0" fmla="*/ 30 w 902"/>
                <a:gd name="T1" fmla="*/ 722 h 903"/>
                <a:gd name="T2" fmla="*/ 116 w 902"/>
                <a:gd name="T3" fmla="*/ 482 h 903"/>
                <a:gd name="T4" fmla="*/ 36 w 902"/>
                <a:gd name="T5" fmla="*/ 692 h 903"/>
                <a:gd name="T6" fmla="*/ 782 w 902"/>
                <a:gd name="T7" fmla="*/ 241 h 903"/>
                <a:gd name="T8" fmla="*/ 120 w 902"/>
                <a:gd name="T9" fmla="*/ 241 h 903"/>
                <a:gd name="T10" fmla="*/ 361 w 902"/>
                <a:gd name="T11" fmla="*/ 211 h 903"/>
                <a:gd name="T12" fmla="*/ 571 w 902"/>
                <a:gd name="T13" fmla="*/ 106 h 903"/>
                <a:gd name="T14" fmla="*/ 572 w 902"/>
                <a:gd name="T15" fmla="*/ 39 h 903"/>
                <a:gd name="T16" fmla="*/ 578 w 902"/>
                <a:gd name="T17" fmla="*/ 33 h 903"/>
                <a:gd name="T18" fmla="*/ 586 w 902"/>
                <a:gd name="T19" fmla="*/ 31 h 903"/>
                <a:gd name="T20" fmla="*/ 772 w 902"/>
                <a:gd name="T21" fmla="*/ 32 h 903"/>
                <a:gd name="T22" fmla="*/ 779 w 902"/>
                <a:gd name="T23" fmla="*/ 37 h 903"/>
                <a:gd name="T24" fmla="*/ 782 w 902"/>
                <a:gd name="T25" fmla="*/ 46 h 903"/>
                <a:gd name="T26" fmla="*/ 781 w 902"/>
                <a:gd name="T27" fmla="*/ 111 h 903"/>
                <a:gd name="T28" fmla="*/ 776 w 902"/>
                <a:gd name="T29" fmla="*/ 117 h 903"/>
                <a:gd name="T30" fmla="*/ 767 w 902"/>
                <a:gd name="T31" fmla="*/ 121 h 903"/>
                <a:gd name="T32" fmla="*/ 581 w 902"/>
                <a:gd name="T33" fmla="*/ 120 h 903"/>
                <a:gd name="T34" fmla="*/ 574 w 902"/>
                <a:gd name="T35" fmla="*/ 114 h 903"/>
                <a:gd name="T36" fmla="*/ 571 w 902"/>
                <a:gd name="T37" fmla="*/ 106 h 903"/>
                <a:gd name="T38" fmla="*/ 901 w 902"/>
                <a:gd name="T39" fmla="*/ 701 h 903"/>
                <a:gd name="T40" fmla="*/ 812 w 902"/>
                <a:gd name="T41" fmla="*/ 222 h 903"/>
                <a:gd name="T42" fmla="*/ 808 w 902"/>
                <a:gd name="T43" fmla="*/ 215 h 903"/>
                <a:gd name="T44" fmla="*/ 800 w 902"/>
                <a:gd name="T45" fmla="*/ 211 h 903"/>
                <a:gd name="T46" fmla="*/ 692 w 902"/>
                <a:gd name="T47" fmla="*/ 151 h 903"/>
                <a:gd name="T48" fmla="*/ 784 w 902"/>
                <a:gd name="T49" fmla="*/ 146 h 903"/>
                <a:gd name="T50" fmla="*/ 805 w 902"/>
                <a:gd name="T51" fmla="*/ 130 h 903"/>
                <a:gd name="T52" fmla="*/ 812 w 902"/>
                <a:gd name="T53" fmla="*/ 106 h 903"/>
                <a:gd name="T54" fmla="*/ 809 w 902"/>
                <a:gd name="T55" fmla="*/ 27 h 903"/>
                <a:gd name="T56" fmla="*/ 792 w 902"/>
                <a:gd name="T57" fmla="*/ 8 h 903"/>
                <a:gd name="T58" fmla="*/ 767 w 902"/>
                <a:gd name="T59" fmla="*/ 0 h 903"/>
                <a:gd name="T60" fmla="*/ 569 w 902"/>
                <a:gd name="T61" fmla="*/ 4 h 903"/>
                <a:gd name="T62" fmla="*/ 550 w 902"/>
                <a:gd name="T63" fmla="*/ 20 h 903"/>
                <a:gd name="T64" fmla="*/ 541 w 902"/>
                <a:gd name="T65" fmla="*/ 46 h 903"/>
                <a:gd name="T66" fmla="*/ 545 w 902"/>
                <a:gd name="T67" fmla="*/ 123 h 903"/>
                <a:gd name="T68" fmla="*/ 561 w 902"/>
                <a:gd name="T69" fmla="*/ 143 h 903"/>
                <a:gd name="T70" fmla="*/ 586 w 902"/>
                <a:gd name="T71" fmla="*/ 151 h 903"/>
                <a:gd name="T72" fmla="*/ 391 w 902"/>
                <a:gd name="T73" fmla="*/ 211 h 903"/>
                <a:gd name="T74" fmla="*/ 389 w 902"/>
                <a:gd name="T75" fmla="*/ 68 h 903"/>
                <a:gd name="T76" fmla="*/ 381 w 902"/>
                <a:gd name="T77" fmla="*/ 61 h 903"/>
                <a:gd name="T78" fmla="*/ 371 w 902"/>
                <a:gd name="T79" fmla="*/ 62 h 903"/>
                <a:gd name="T80" fmla="*/ 213 w 902"/>
                <a:gd name="T81" fmla="*/ 127 h 903"/>
                <a:gd name="T82" fmla="*/ 211 w 902"/>
                <a:gd name="T83" fmla="*/ 211 h 903"/>
                <a:gd name="T84" fmla="*/ 100 w 902"/>
                <a:gd name="T85" fmla="*/ 212 h 903"/>
                <a:gd name="T86" fmla="*/ 93 w 902"/>
                <a:gd name="T87" fmla="*/ 217 h 903"/>
                <a:gd name="T88" fmla="*/ 90 w 902"/>
                <a:gd name="T89" fmla="*/ 226 h 903"/>
                <a:gd name="T90" fmla="*/ 0 w 902"/>
                <a:gd name="T91" fmla="*/ 703 h 903"/>
                <a:gd name="T92" fmla="*/ 0 w 902"/>
                <a:gd name="T93" fmla="*/ 707 h 903"/>
                <a:gd name="T94" fmla="*/ 1 w 902"/>
                <a:gd name="T95" fmla="*/ 893 h 903"/>
                <a:gd name="T96" fmla="*/ 6 w 902"/>
                <a:gd name="T97" fmla="*/ 899 h 903"/>
                <a:gd name="T98" fmla="*/ 15 w 902"/>
                <a:gd name="T99" fmla="*/ 903 h 903"/>
                <a:gd name="T100" fmla="*/ 893 w 902"/>
                <a:gd name="T101" fmla="*/ 900 h 903"/>
                <a:gd name="T102" fmla="*/ 900 w 902"/>
                <a:gd name="T103" fmla="*/ 895 h 903"/>
                <a:gd name="T104" fmla="*/ 902 w 902"/>
                <a:gd name="T105" fmla="*/ 888 h 903"/>
                <a:gd name="T106" fmla="*/ 902 w 902"/>
                <a:gd name="T107" fmla="*/ 70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2" h="903">
                  <a:moveTo>
                    <a:pt x="872" y="872"/>
                  </a:moveTo>
                  <a:lnTo>
                    <a:pt x="30" y="872"/>
                  </a:lnTo>
                  <a:lnTo>
                    <a:pt x="30" y="722"/>
                  </a:lnTo>
                  <a:lnTo>
                    <a:pt x="872" y="722"/>
                  </a:lnTo>
                  <a:lnTo>
                    <a:pt x="872" y="872"/>
                  </a:lnTo>
                  <a:close/>
                  <a:moveTo>
                    <a:pt x="116" y="482"/>
                  </a:moveTo>
                  <a:lnTo>
                    <a:pt x="786" y="482"/>
                  </a:lnTo>
                  <a:lnTo>
                    <a:pt x="866" y="692"/>
                  </a:lnTo>
                  <a:lnTo>
                    <a:pt x="36" y="692"/>
                  </a:lnTo>
                  <a:lnTo>
                    <a:pt x="116" y="482"/>
                  </a:lnTo>
                  <a:close/>
                  <a:moveTo>
                    <a:pt x="120" y="241"/>
                  </a:moveTo>
                  <a:lnTo>
                    <a:pt x="782" y="241"/>
                  </a:lnTo>
                  <a:lnTo>
                    <a:pt x="782" y="452"/>
                  </a:lnTo>
                  <a:lnTo>
                    <a:pt x="120" y="452"/>
                  </a:lnTo>
                  <a:lnTo>
                    <a:pt x="120" y="241"/>
                  </a:lnTo>
                  <a:close/>
                  <a:moveTo>
                    <a:pt x="241" y="145"/>
                  </a:moveTo>
                  <a:lnTo>
                    <a:pt x="361" y="97"/>
                  </a:lnTo>
                  <a:lnTo>
                    <a:pt x="361" y="211"/>
                  </a:lnTo>
                  <a:lnTo>
                    <a:pt x="241" y="211"/>
                  </a:lnTo>
                  <a:lnTo>
                    <a:pt x="241" y="145"/>
                  </a:lnTo>
                  <a:close/>
                  <a:moveTo>
                    <a:pt x="571" y="106"/>
                  </a:moveTo>
                  <a:lnTo>
                    <a:pt x="571" y="46"/>
                  </a:lnTo>
                  <a:lnTo>
                    <a:pt x="572" y="42"/>
                  </a:lnTo>
                  <a:lnTo>
                    <a:pt x="572" y="39"/>
                  </a:lnTo>
                  <a:lnTo>
                    <a:pt x="574" y="37"/>
                  </a:lnTo>
                  <a:lnTo>
                    <a:pt x="575" y="35"/>
                  </a:lnTo>
                  <a:lnTo>
                    <a:pt x="578" y="33"/>
                  </a:lnTo>
                  <a:lnTo>
                    <a:pt x="581" y="32"/>
                  </a:lnTo>
                  <a:lnTo>
                    <a:pt x="584" y="31"/>
                  </a:lnTo>
                  <a:lnTo>
                    <a:pt x="586" y="31"/>
                  </a:lnTo>
                  <a:lnTo>
                    <a:pt x="767" y="30"/>
                  </a:lnTo>
                  <a:lnTo>
                    <a:pt x="770" y="31"/>
                  </a:lnTo>
                  <a:lnTo>
                    <a:pt x="772" y="32"/>
                  </a:lnTo>
                  <a:lnTo>
                    <a:pt x="776" y="33"/>
                  </a:lnTo>
                  <a:lnTo>
                    <a:pt x="778" y="35"/>
                  </a:lnTo>
                  <a:lnTo>
                    <a:pt x="779" y="37"/>
                  </a:lnTo>
                  <a:lnTo>
                    <a:pt x="781" y="39"/>
                  </a:lnTo>
                  <a:lnTo>
                    <a:pt x="782" y="42"/>
                  </a:lnTo>
                  <a:lnTo>
                    <a:pt x="782" y="46"/>
                  </a:lnTo>
                  <a:lnTo>
                    <a:pt x="782" y="106"/>
                  </a:lnTo>
                  <a:lnTo>
                    <a:pt x="782" y="108"/>
                  </a:lnTo>
                  <a:lnTo>
                    <a:pt x="781" y="111"/>
                  </a:lnTo>
                  <a:lnTo>
                    <a:pt x="779" y="114"/>
                  </a:lnTo>
                  <a:lnTo>
                    <a:pt x="778" y="116"/>
                  </a:lnTo>
                  <a:lnTo>
                    <a:pt x="776" y="117"/>
                  </a:lnTo>
                  <a:lnTo>
                    <a:pt x="772" y="120"/>
                  </a:lnTo>
                  <a:lnTo>
                    <a:pt x="770" y="120"/>
                  </a:lnTo>
                  <a:lnTo>
                    <a:pt x="767" y="121"/>
                  </a:lnTo>
                  <a:lnTo>
                    <a:pt x="586" y="121"/>
                  </a:lnTo>
                  <a:lnTo>
                    <a:pt x="584" y="120"/>
                  </a:lnTo>
                  <a:lnTo>
                    <a:pt x="581" y="120"/>
                  </a:lnTo>
                  <a:lnTo>
                    <a:pt x="578" y="117"/>
                  </a:lnTo>
                  <a:lnTo>
                    <a:pt x="575" y="116"/>
                  </a:lnTo>
                  <a:lnTo>
                    <a:pt x="574" y="114"/>
                  </a:lnTo>
                  <a:lnTo>
                    <a:pt x="572" y="111"/>
                  </a:lnTo>
                  <a:lnTo>
                    <a:pt x="572" y="109"/>
                  </a:lnTo>
                  <a:lnTo>
                    <a:pt x="571" y="106"/>
                  </a:lnTo>
                  <a:close/>
                  <a:moveTo>
                    <a:pt x="902" y="707"/>
                  </a:moveTo>
                  <a:lnTo>
                    <a:pt x="902" y="703"/>
                  </a:lnTo>
                  <a:lnTo>
                    <a:pt x="901" y="701"/>
                  </a:lnTo>
                  <a:lnTo>
                    <a:pt x="812" y="463"/>
                  </a:lnTo>
                  <a:lnTo>
                    <a:pt x="812" y="226"/>
                  </a:lnTo>
                  <a:lnTo>
                    <a:pt x="812" y="222"/>
                  </a:lnTo>
                  <a:lnTo>
                    <a:pt x="811" y="220"/>
                  </a:lnTo>
                  <a:lnTo>
                    <a:pt x="810" y="217"/>
                  </a:lnTo>
                  <a:lnTo>
                    <a:pt x="808" y="215"/>
                  </a:lnTo>
                  <a:lnTo>
                    <a:pt x="806" y="213"/>
                  </a:lnTo>
                  <a:lnTo>
                    <a:pt x="802" y="212"/>
                  </a:lnTo>
                  <a:lnTo>
                    <a:pt x="800" y="211"/>
                  </a:lnTo>
                  <a:lnTo>
                    <a:pt x="797" y="211"/>
                  </a:lnTo>
                  <a:lnTo>
                    <a:pt x="692" y="211"/>
                  </a:lnTo>
                  <a:lnTo>
                    <a:pt x="692" y="151"/>
                  </a:lnTo>
                  <a:lnTo>
                    <a:pt x="767" y="151"/>
                  </a:lnTo>
                  <a:lnTo>
                    <a:pt x="776" y="150"/>
                  </a:lnTo>
                  <a:lnTo>
                    <a:pt x="784" y="146"/>
                  </a:lnTo>
                  <a:lnTo>
                    <a:pt x="792" y="143"/>
                  </a:lnTo>
                  <a:lnTo>
                    <a:pt x="799" y="137"/>
                  </a:lnTo>
                  <a:lnTo>
                    <a:pt x="805" y="130"/>
                  </a:lnTo>
                  <a:lnTo>
                    <a:pt x="809" y="123"/>
                  </a:lnTo>
                  <a:lnTo>
                    <a:pt x="811" y="114"/>
                  </a:lnTo>
                  <a:lnTo>
                    <a:pt x="812" y="106"/>
                  </a:lnTo>
                  <a:lnTo>
                    <a:pt x="812" y="46"/>
                  </a:lnTo>
                  <a:lnTo>
                    <a:pt x="811" y="36"/>
                  </a:lnTo>
                  <a:lnTo>
                    <a:pt x="809" y="27"/>
                  </a:lnTo>
                  <a:lnTo>
                    <a:pt x="805" y="20"/>
                  </a:lnTo>
                  <a:lnTo>
                    <a:pt x="799" y="14"/>
                  </a:lnTo>
                  <a:lnTo>
                    <a:pt x="792" y="8"/>
                  </a:lnTo>
                  <a:lnTo>
                    <a:pt x="784" y="4"/>
                  </a:lnTo>
                  <a:lnTo>
                    <a:pt x="776" y="1"/>
                  </a:lnTo>
                  <a:lnTo>
                    <a:pt x="767" y="0"/>
                  </a:lnTo>
                  <a:lnTo>
                    <a:pt x="586" y="0"/>
                  </a:lnTo>
                  <a:lnTo>
                    <a:pt x="577" y="1"/>
                  </a:lnTo>
                  <a:lnTo>
                    <a:pt x="569" y="4"/>
                  </a:lnTo>
                  <a:lnTo>
                    <a:pt x="561" y="8"/>
                  </a:lnTo>
                  <a:lnTo>
                    <a:pt x="555" y="14"/>
                  </a:lnTo>
                  <a:lnTo>
                    <a:pt x="550" y="20"/>
                  </a:lnTo>
                  <a:lnTo>
                    <a:pt x="545" y="27"/>
                  </a:lnTo>
                  <a:lnTo>
                    <a:pt x="542" y="36"/>
                  </a:lnTo>
                  <a:lnTo>
                    <a:pt x="541" y="46"/>
                  </a:lnTo>
                  <a:lnTo>
                    <a:pt x="541" y="106"/>
                  </a:lnTo>
                  <a:lnTo>
                    <a:pt x="542" y="114"/>
                  </a:lnTo>
                  <a:lnTo>
                    <a:pt x="545" y="123"/>
                  </a:lnTo>
                  <a:lnTo>
                    <a:pt x="550" y="130"/>
                  </a:lnTo>
                  <a:lnTo>
                    <a:pt x="555" y="137"/>
                  </a:lnTo>
                  <a:lnTo>
                    <a:pt x="561" y="143"/>
                  </a:lnTo>
                  <a:lnTo>
                    <a:pt x="569" y="147"/>
                  </a:lnTo>
                  <a:lnTo>
                    <a:pt x="577" y="150"/>
                  </a:lnTo>
                  <a:lnTo>
                    <a:pt x="586" y="151"/>
                  </a:lnTo>
                  <a:lnTo>
                    <a:pt x="662" y="151"/>
                  </a:lnTo>
                  <a:lnTo>
                    <a:pt x="662" y="211"/>
                  </a:lnTo>
                  <a:lnTo>
                    <a:pt x="391" y="211"/>
                  </a:lnTo>
                  <a:lnTo>
                    <a:pt x="391" y="76"/>
                  </a:lnTo>
                  <a:lnTo>
                    <a:pt x="391" y="71"/>
                  </a:lnTo>
                  <a:lnTo>
                    <a:pt x="389" y="68"/>
                  </a:lnTo>
                  <a:lnTo>
                    <a:pt x="387" y="65"/>
                  </a:lnTo>
                  <a:lnTo>
                    <a:pt x="385" y="63"/>
                  </a:lnTo>
                  <a:lnTo>
                    <a:pt x="381" y="61"/>
                  </a:lnTo>
                  <a:lnTo>
                    <a:pt x="377" y="61"/>
                  </a:lnTo>
                  <a:lnTo>
                    <a:pt x="374" y="61"/>
                  </a:lnTo>
                  <a:lnTo>
                    <a:pt x="371" y="62"/>
                  </a:lnTo>
                  <a:lnTo>
                    <a:pt x="220" y="122"/>
                  </a:lnTo>
                  <a:lnTo>
                    <a:pt x="216" y="124"/>
                  </a:lnTo>
                  <a:lnTo>
                    <a:pt x="213" y="127"/>
                  </a:lnTo>
                  <a:lnTo>
                    <a:pt x="211" y="131"/>
                  </a:lnTo>
                  <a:lnTo>
                    <a:pt x="211" y="136"/>
                  </a:lnTo>
                  <a:lnTo>
                    <a:pt x="211" y="211"/>
                  </a:lnTo>
                  <a:lnTo>
                    <a:pt x="105" y="211"/>
                  </a:lnTo>
                  <a:lnTo>
                    <a:pt x="102" y="211"/>
                  </a:lnTo>
                  <a:lnTo>
                    <a:pt x="100" y="212"/>
                  </a:lnTo>
                  <a:lnTo>
                    <a:pt x="96" y="213"/>
                  </a:lnTo>
                  <a:lnTo>
                    <a:pt x="94" y="215"/>
                  </a:lnTo>
                  <a:lnTo>
                    <a:pt x="93" y="217"/>
                  </a:lnTo>
                  <a:lnTo>
                    <a:pt x="91" y="220"/>
                  </a:lnTo>
                  <a:lnTo>
                    <a:pt x="91" y="222"/>
                  </a:lnTo>
                  <a:lnTo>
                    <a:pt x="90" y="226"/>
                  </a:lnTo>
                  <a:lnTo>
                    <a:pt x="90" y="463"/>
                  </a:lnTo>
                  <a:lnTo>
                    <a:pt x="1" y="701"/>
                  </a:lnTo>
                  <a:lnTo>
                    <a:pt x="0" y="703"/>
                  </a:lnTo>
                  <a:lnTo>
                    <a:pt x="0" y="707"/>
                  </a:lnTo>
                  <a:lnTo>
                    <a:pt x="0" y="707"/>
                  </a:lnTo>
                  <a:lnTo>
                    <a:pt x="0" y="707"/>
                  </a:lnTo>
                  <a:lnTo>
                    <a:pt x="0" y="888"/>
                  </a:lnTo>
                  <a:lnTo>
                    <a:pt x="0" y="890"/>
                  </a:lnTo>
                  <a:lnTo>
                    <a:pt x="1" y="893"/>
                  </a:lnTo>
                  <a:lnTo>
                    <a:pt x="2" y="895"/>
                  </a:lnTo>
                  <a:lnTo>
                    <a:pt x="4" y="897"/>
                  </a:lnTo>
                  <a:lnTo>
                    <a:pt x="6" y="899"/>
                  </a:lnTo>
                  <a:lnTo>
                    <a:pt x="10" y="900"/>
                  </a:lnTo>
                  <a:lnTo>
                    <a:pt x="12" y="902"/>
                  </a:lnTo>
                  <a:lnTo>
                    <a:pt x="15" y="903"/>
                  </a:lnTo>
                  <a:lnTo>
                    <a:pt x="887" y="903"/>
                  </a:lnTo>
                  <a:lnTo>
                    <a:pt x="890" y="902"/>
                  </a:lnTo>
                  <a:lnTo>
                    <a:pt x="893" y="900"/>
                  </a:lnTo>
                  <a:lnTo>
                    <a:pt x="896" y="899"/>
                  </a:lnTo>
                  <a:lnTo>
                    <a:pt x="898" y="897"/>
                  </a:lnTo>
                  <a:lnTo>
                    <a:pt x="900" y="895"/>
                  </a:lnTo>
                  <a:lnTo>
                    <a:pt x="901" y="893"/>
                  </a:lnTo>
                  <a:lnTo>
                    <a:pt x="902" y="890"/>
                  </a:lnTo>
                  <a:lnTo>
                    <a:pt x="902" y="888"/>
                  </a:lnTo>
                  <a:lnTo>
                    <a:pt x="902" y="707"/>
                  </a:lnTo>
                  <a:lnTo>
                    <a:pt x="902" y="707"/>
                  </a:lnTo>
                  <a:lnTo>
                    <a:pt x="902" y="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5" name="Freeform 83">
              <a:extLst>
                <a:ext uri="{FF2B5EF4-FFF2-40B4-BE49-F238E27FC236}">
                  <a16:creationId xmlns:a16="http://schemas.microsoft.com/office/drawing/2014/main" id="{F2AA0172-F042-4D01-A2C4-7467A320F728}"/>
                </a:ext>
              </a:extLst>
            </p:cNvPr>
            <p:cNvSpPr>
              <a:spLocks/>
            </p:cNvSpPr>
            <p:nvPr/>
          </p:nvSpPr>
          <p:spPr bwMode="auto">
            <a:xfrm>
              <a:off x="6540500" y="1019175"/>
              <a:ext cx="85725" cy="19050"/>
            </a:xfrm>
            <a:custGeom>
              <a:avLst/>
              <a:gdLst>
                <a:gd name="T0" fmla="*/ 15 w 270"/>
                <a:gd name="T1" fmla="*/ 60 h 60"/>
                <a:gd name="T2" fmla="*/ 18 w 270"/>
                <a:gd name="T3" fmla="*/ 60 h 60"/>
                <a:gd name="T4" fmla="*/ 20 w 270"/>
                <a:gd name="T5" fmla="*/ 59 h 60"/>
                <a:gd name="T6" fmla="*/ 24 w 270"/>
                <a:gd name="T7" fmla="*/ 57 h 60"/>
                <a:gd name="T8" fmla="*/ 26 w 270"/>
                <a:gd name="T9" fmla="*/ 55 h 60"/>
                <a:gd name="T10" fmla="*/ 27 w 270"/>
                <a:gd name="T11" fmla="*/ 53 h 60"/>
                <a:gd name="T12" fmla="*/ 29 w 270"/>
                <a:gd name="T13" fmla="*/ 51 h 60"/>
                <a:gd name="T14" fmla="*/ 30 w 270"/>
                <a:gd name="T15" fmla="*/ 48 h 60"/>
                <a:gd name="T16" fmla="*/ 30 w 270"/>
                <a:gd name="T17" fmla="*/ 45 h 60"/>
                <a:gd name="T18" fmla="*/ 30 w 270"/>
                <a:gd name="T19" fmla="*/ 30 h 60"/>
                <a:gd name="T20" fmla="*/ 240 w 270"/>
                <a:gd name="T21" fmla="*/ 30 h 60"/>
                <a:gd name="T22" fmla="*/ 240 w 270"/>
                <a:gd name="T23" fmla="*/ 45 h 60"/>
                <a:gd name="T24" fmla="*/ 241 w 270"/>
                <a:gd name="T25" fmla="*/ 48 h 60"/>
                <a:gd name="T26" fmla="*/ 241 w 270"/>
                <a:gd name="T27" fmla="*/ 51 h 60"/>
                <a:gd name="T28" fmla="*/ 243 w 270"/>
                <a:gd name="T29" fmla="*/ 53 h 60"/>
                <a:gd name="T30" fmla="*/ 244 w 270"/>
                <a:gd name="T31" fmla="*/ 55 h 60"/>
                <a:gd name="T32" fmla="*/ 247 w 270"/>
                <a:gd name="T33" fmla="*/ 57 h 60"/>
                <a:gd name="T34" fmla="*/ 250 w 270"/>
                <a:gd name="T35" fmla="*/ 59 h 60"/>
                <a:gd name="T36" fmla="*/ 253 w 270"/>
                <a:gd name="T37" fmla="*/ 60 h 60"/>
                <a:gd name="T38" fmla="*/ 255 w 270"/>
                <a:gd name="T39" fmla="*/ 60 h 60"/>
                <a:gd name="T40" fmla="*/ 258 w 270"/>
                <a:gd name="T41" fmla="*/ 60 h 60"/>
                <a:gd name="T42" fmla="*/ 261 w 270"/>
                <a:gd name="T43" fmla="*/ 59 h 60"/>
                <a:gd name="T44" fmla="*/ 264 w 270"/>
                <a:gd name="T45" fmla="*/ 57 h 60"/>
                <a:gd name="T46" fmla="*/ 266 w 270"/>
                <a:gd name="T47" fmla="*/ 55 h 60"/>
                <a:gd name="T48" fmla="*/ 268 w 270"/>
                <a:gd name="T49" fmla="*/ 53 h 60"/>
                <a:gd name="T50" fmla="*/ 269 w 270"/>
                <a:gd name="T51" fmla="*/ 51 h 60"/>
                <a:gd name="T52" fmla="*/ 270 w 270"/>
                <a:gd name="T53" fmla="*/ 48 h 60"/>
                <a:gd name="T54" fmla="*/ 270 w 270"/>
                <a:gd name="T55" fmla="*/ 45 h 60"/>
                <a:gd name="T56" fmla="*/ 270 w 270"/>
                <a:gd name="T57" fmla="*/ 15 h 60"/>
                <a:gd name="T58" fmla="*/ 270 w 270"/>
                <a:gd name="T59" fmla="*/ 11 h 60"/>
                <a:gd name="T60" fmla="*/ 269 w 270"/>
                <a:gd name="T61" fmla="*/ 9 h 60"/>
                <a:gd name="T62" fmla="*/ 268 w 270"/>
                <a:gd name="T63" fmla="*/ 6 h 60"/>
                <a:gd name="T64" fmla="*/ 266 w 270"/>
                <a:gd name="T65" fmla="*/ 4 h 60"/>
                <a:gd name="T66" fmla="*/ 264 w 270"/>
                <a:gd name="T67" fmla="*/ 3 h 60"/>
                <a:gd name="T68" fmla="*/ 261 w 270"/>
                <a:gd name="T69" fmla="*/ 1 h 60"/>
                <a:gd name="T70" fmla="*/ 258 w 270"/>
                <a:gd name="T71" fmla="*/ 1 h 60"/>
                <a:gd name="T72" fmla="*/ 255 w 270"/>
                <a:gd name="T73" fmla="*/ 0 h 60"/>
                <a:gd name="T74" fmla="*/ 15 w 270"/>
                <a:gd name="T75" fmla="*/ 0 h 60"/>
                <a:gd name="T76" fmla="*/ 12 w 270"/>
                <a:gd name="T77" fmla="*/ 0 h 60"/>
                <a:gd name="T78" fmla="*/ 9 w 270"/>
                <a:gd name="T79" fmla="*/ 1 h 60"/>
                <a:gd name="T80" fmla="*/ 6 w 270"/>
                <a:gd name="T81" fmla="*/ 3 h 60"/>
                <a:gd name="T82" fmla="*/ 4 w 270"/>
                <a:gd name="T83" fmla="*/ 4 h 60"/>
                <a:gd name="T84" fmla="*/ 2 w 270"/>
                <a:gd name="T85" fmla="*/ 6 h 60"/>
                <a:gd name="T86" fmla="*/ 1 w 270"/>
                <a:gd name="T87" fmla="*/ 9 h 60"/>
                <a:gd name="T88" fmla="*/ 0 w 270"/>
                <a:gd name="T89" fmla="*/ 11 h 60"/>
                <a:gd name="T90" fmla="*/ 0 w 270"/>
                <a:gd name="T91" fmla="*/ 15 h 60"/>
                <a:gd name="T92" fmla="*/ 0 w 270"/>
                <a:gd name="T93" fmla="*/ 45 h 60"/>
                <a:gd name="T94" fmla="*/ 0 w 270"/>
                <a:gd name="T95" fmla="*/ 48 h 60"/>
                <a:gd name="T96" fmla="*/ 1 w 270"/>
                <a:gd name="T97" fmla="*/ 51 h 60"/>
                <a:gd name="T98" fmla="*/ 2 w 270"/>
                <a:gd name="T99" fmla="*/ 53 h 60"/>
                <a:gd name="T100" fmla="*/ 4 w 270"/>
                <a:gd name="T101" fmla="*/ 55 h 60"/>
                <a:gd name="T102" fmla="*/ 6 w 270"/>
                <a:gd name="T103" fmla="*/ 57 h 60"/>
                <a:gd name="T104" fmla="*/ 9 w 270"/>
                <a:gd name="T105" fmla="*/ 59 h 60"/>
                <a:gd name="T106" fmla="*/ 12 w 270"/>
                <a:gd name="T107" fmla="*/ 60 h 60"/>
                <a:gd name="T108" fmla="*/ 15 w 270"/>
                <a:gd name="T109" fmla="*/ 60 h 60"/>
                <a:gd name="T110" fmla="*/ 15 w 270"/>
                <a:gd name="T11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0" h="60">
                  <a:moveTo>
                    <a:pt x="15" y="60"/>
                  </a:moveTo>
                  <a:lnTo>
                    <a:pt x="18" y="60"/>
                  </a:lnTo>
                  <a:lnTo>
                    <a:pt x="20" y="59"/>
                  </a:lnTo>
                  <a:lnTo>
                    <a:pt x="24" y="57"/>
                  </a:lnTo>
                  <a:lnTo>
                    <a:pt x="26" y="55"/>
                  </a:lnTo>
                  <a:lnTo>
                    <a:pt x="27" y="53"/>
                  </a:lnTo>
                  <a:lnTo>
                    <a:pt x="29" y="51"/>
                  </a:lnTo>
                  <a:lnTo>
                    <a:pt x="30" y="48"/>
                  </a:lnTo>
                  <a:lnTo>
                    <a:pt x="30" y="45"/>
                  </a:lnTo>
                  <a:lnTo>
                    <a:pt x="30" y="30"/>
                  </a:lnTo>
                  <a:lnTo>
                    <a:pt x="240" y="30"/>
                  </a:lnTo>
                  <a:lnTo>
                    <a:pt x="240" y="45"/>
                  </a:lnTo>
                  <a:lnTo>
                    <a:pt x="241" y="48"/>
                  </a:lnTo>
                  <a:lnTo>
                    <a:pt x="241" y="51"/>
                  </a:lnTo>
                  <a:lnTo>
                    <a:pt x="243" y="53"/>
                  </a:lnTo>
                  <a:lnTo>
                    <a:pt x="244" y="55"/>
                  </a:lnTo>
                  <a:lnTo>
                    <a:pt x="247" y="57"/>
                  </a:lnTo>
                  <a:lnTo>
                    <a:pt x="250" y="59"/>
                  </a:lnTo>
                  <a:lnTo>
                    <a:pt x="253" y="60"/>
                  </a:lnTo>
                  <a:lnTo>
                    <a:pt x="255" y="60"/>
                  </a:lnTo>
                  <a:lnTo>
                    <a:pt x="258" y="60"/>
                  </a:lnTo>
                  <a:lnTo>
                    <a:pt x="261" y="59"/>
                  </a:lnTo>
                  <a:lnTo>
                    <a:pt x="264" y="57"/>
                  </a:lnTo>
                  <a:lnTo>
                    <a:pt x="266" y="55"/>
                  </a:lnTo>
                  <a:lnTo>
                    <a:pt x="268" y="53"/>
                  </a:lnTo>
                  <a:lnTo>
                    <a:pt x="269" y="51"/>
                  </a:lnTo>
                  <a:lnTo>
                    <a:pt x="270" y="48"/>
                  </a:lnTo>
                  <a:lnTo>
                    <a:pt x="270" y="45"/>
                  </a:lnTo>
                  <a:lnTo>
                    <a:pt x="270" y="15"/>
                  </a:lnTo>
                  <a:lnTo>
                    <a:pt x="270" y="11"/>
                  </a:lnTo>
                  <a:lnTo>
                    <a:pt x="269" y="9"/>
                  </a:lnTo>
                  <a:lnTo>
                    <a:pt x="268" y="6"/>
                  </a:lnTo>
                  <a:lnTo>
                    <a:pt x="266" y="4"/>
                  </a:lnTo>
                  <a:lnTo>
                    <a:pt x="264" y="3"/>
                  </a:lnTo>
                  <a:lnTo>
                    <a:pt x="261" y="1"/>
                  </a:lnTo>
                  <a:lnTo>
                    <a:pt x="258" y="1"/>
                  </a:lnTo>
                  <a:lnTo>
                    <a:pt x="255" y="0"/>
                  </a:lnTo>
                  <a:lnTo>
                    <a:pt x="15" y="0"/>
                  </a:lnTo>
                  <a:lnTo>
                    <a:pt x="12" y="0"/>
                  </a:lnTo>
                  <a:lnTo>
                    <a:pt x="9" y="1"/>
                  </a:lnTo>
                  <a:lnTo>
                    <a:pt x="6" y="3"/>
                  </a:lnTo>
                  <a:lnTo>
                    <a:pt x="4" y="4"/>
                  </a:lnTo>
                  <a:lnTo>
                    <a:pt x="2" y="6"/>
                  </a:lnTo>
                  <a:lnTo>
                    <a:pt x="1" y="9"/>
                  </a:lnTo>
                  <a:lnTo>
                    <a:pt x="0" y="11"/>
                  </a:lnTo>
                  <a:lnTo>
                    <a:pt x="0" y="15"/>
                  </a:lnTo>
                  <a:lnTo>
                    <a:pt x="0" y="45"/>
                  </a:lnTo>
                  <a:lnTo>
                    <a:pt x="0" y="48"/>
                  </a:lnTo>
                  <a:lnTo>
                    <a:pt x="1" y="51"/>
                  </a:lnTo>
                  <a:lnTo>
                    <a:pt x="2" y="53"/>
                  </a:lnTo>
                  <a:lnTo>
                    <a:pt x="4" y="55"/>
                  </a:lnTo>
                  <a:lnTo>
                    <a:pt x="6" y="57"/>
                  </a:lnTo>
                  <a:lnTo>
                    <a:pt x="9" y="59"/>
                  </a:lnTo>
                  <a:lnTo>
                    <a:pt x="12" y="60"/>
                  </a:lnTo>
                  <a:lnTo>
                    <a:pt x="15" y="60"/>
                  </a:ln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6" name="Rectangle 84">
              <a:extLst>
                <a:ext uri="{FF2B5EF4-FFF2-40B4-BE49-F238E27FC236}">
                  <a16:creationId xmlns:a16="http://schemas.microsoft.com/office/drawing/2014/main" id="{854ED9D4-FF9E-4FF0-AF6C-621825DB2C45}"/>
                </a:ext>
              </a:extLst>
            </p:cNvPr>
            <p:cNvSpPr>
              <a:spLocks noChangeArrowheads="1"/>
            </p:cNvSpPr>
            <p:nvPr/>
          </p:nvSpPr>
          <p:spPr bwMode="auto">
            <a:xfrm>
              <a:off x="6510338"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7" name="Rectangle 85">
              <a:extLst>
                <a:ext uri="{FF2B5EF4-FFF2-40B4-BE49-F238E27FC236}">
                  <a16:creationId xmlns:a16="http://schemas.microsoft.com/office/drawing/2014/main" id="{86300B1F-AC06-43FE-8EA0-916364A79A40}"/>
                </a:ext>
              </a:extLst>
            </p:cNvPr>
            <p:cNvSpPr>
              <a:spLocks noChangeArrowheads="1"/>
            </p:cNvSpPr>
            <p:nvPr/>
          </p:nvSpPr>
          <p:spPr bwMode="auto">
            <a:xfrm>
              <a:off x="6546850"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8" name="Rectangle 86">
              <a:extLst>
                <a:ext uri="{FF2B5EF4-FFF2-40B4-BE49-F238E27FC236}">
                  <a16:creationId xmlns:a16="http://schemas.microsoft.com/office/drawing/2014/main" id="{095D9EF1-1937-43C1-B062-191B3C233CB2}"/>
                </a:ext>
              </a:extLst>
            </p:cNvPr>
            <p:cNvSpPr>
              <a:spLocks noChangeArrowheads="1"/>
            </p:cNvSpPr>
            <p:nvPr/>
          </p:nvSpPr>
          <p:spPr bwMode="auto">
            <a:xfrm>
              <a:off x="6581775" y="971550"/>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9" name="Rectangle 87">
              <a:extLst>
                <a:ext uri="{FF2B5EF4-FFF2-40B4-BE49-F238E27FC236}">
                  <a16:creationId xmlns:a16="http://schemas.microsoft.com/office/drawing/2014/main" id="{E6B6D071-81A7-4FF2-AFA5-F0FACD67724B}"/>
                </a:ext>
              </a:extLst>
            </p:cNvPr>
            <p:cNvSpPr>
              <a:spLocks noChangeArrowheads="1"/>
            </p:cNvSpPr>
            <p:nvPr/>
          </p:nvSpPr>
          <p:spPr bwMode="auto">
            <a:xfrm>
              <a:off x="6618288" y="971550"/>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0" name="Rectangle 88">
              <a:extLst>
                <a:ext uri="{FF2B5EF4-FFF2-40B4-BE49-F238E27FC236}">
                  <a16:creationId xmlns:a16="http://schemas.microsoft.com/office/drawing/2014/main" id="{B10491E2-955B-4ED9-8222-7CF951FEEA13}"/>
                </a:ext>
              </a:extLst>
            </p:cNvPr>
            <p:cNvSpPr>
              <a:spLocks noChangeArrowheads="1"/>
            </p:cNvSpPr>
            <p:nvPr/>
          </p:nvSpPr>
          <p:spPr bwMode="auto">
            <a:xfrm>
              <a:off x="6654800"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1" name="Rectangle 89">
              <a:extLst>
                <a:ext uri="{FF2B5EF4-FFF2-40B4-BE49-F238E27FC236}">
                  <a16:creationId xmlns:a16="http://schemas.microsoft.com/office/drawing/2014/main" id="{1FBD1490-F85C-42AA-9A15-B15E9EDB9F82}"/>
                </a:ext>
              </a:extLst>
            </p:cNvPr>
            <p:cNvSpPr>
              <a:spLocks noChangeArrowheads="1"/>
            </p:cNvSpPr>
            <p:nvPr/>
          </p:nvSpPr>
          <p:spPr bwMode="auto">
            <a:xfrm>
              <a:off x="6637338" y="954088"/>
              <a:ext cx="11113"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2" name="Rectangle 90">
              <a:extLst>
                <a:ext uri="{FF2B5EF4-FFF2-40B4-BE49-F238E27FC236}">
                  <a16:creationId xmlns:a16="http://schemas.microsoft.com/office/drawing/2014/main" id="{BDA54E70-EDF7-4EFD-ACFA-9C67FEE3E94D}"/>
                </a:ext>
              </a:extLst>
            </p:cNvPr>
            <p:cNvSpPr>
              <a:spLocks noChangeArrowheads="1"/>
            </p:cNvSpPr>
            <p:nvPr/>
          </p:nvSpPr>
          <p:spPr bwMode="auto">
            <a:xfrm>
              <a:off x="6600825" y="954088"/>
              <a:ext cx="11113"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3" name="Rectangle 91">
              <a:extLst>
                <a:ext uri="{FF2B5EF4-FFF2-40B4-BE49-F238E27FC236}">
                  <a16:creationId xmlns:a16="http://schemas.microsoft.com/office/drawing/2014/main" id="{4C59DAD5-9AE1-4DDF-8458-C1E3067956AF}"/>
                </a:ext>
              </a:extLst>
            </p:cNvPr>
            <p:cNvSpPr>
              <a:spLocks noChangeArrowheads="1"/>
            </p:cNvSpPr>
            <p:nvPr/>
          </p:nvSpPr>
          <p:spPr bwMode="auto">
            <a:xfrm>
              <a:off x="6564313" y="954088"/>
              <a:ext cx="1270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4" name="Rectangle 92">
              <a:extLst>
                <a:ext uri="{FF2B5EF4-FFF2-40B4-BE49-F238E27FC236}">
                  <a16:creationId xmlns:a16="http://schemas.microsoft.com/office/drawing/2014/main" id="{3823D01C-46F6-4C72-A42E-1C6D15477B80}"/>
                </a:ext>
              </a:extLst>
            </p:cNvPr>
            <p:cNvSpPr>
              <a:spLocks noChangeArrowheads="1"/>
            </p:cNvSpPr>
            <p:nvPr/>
          </p:nvSpPr>
          <p:spPr bwMode="auto">
            <a:xfrm>
              <a:off x="6527800" y="954088"/>
              <a:ext cx="1270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5" name="Freeform 93">
              <a:extLst>
                <a:ext uri="{FF2B5EF4-FFF2-40B4-BE49-F238E27FC236}">
                  <a16:creationId xmlns:a16="http://schemas.microsoft.com/office/drawing/2014/main" id="{BB4D84B1-D34C-4A13-8DBC-D593B5DD1BEE}"/>
                </a:ext>
              </a:extLst>
            </p:cNvPr>
            <p:cNvSpPr>
              <a:spLocks noEditPoints="1"/>
            </p:cNvSpPr>
            <p:nvPr/>
          </p:nvSpPr>
          <p:spPr bwMode="auto">
            <a:xfrm>
              <a:off x="6502400" y="866775"/>
              <a:ext cx="76200" cy="47625"/>
            </a:xfrm>
            <a:custGeom>
              <a:avLst/>
              <a:gdLst>
                <a:gd name="T0" fmla="*/ 211 w 241"/>
                <a:gd name="T1" fmla="*/ 120 h 150"/>
                <a:gd name="T2" fmla="*/ 31 w 241"/>
                <a:gd name="T3" fmla="*/ 120 h 150"/>
                <a:gd name="T4" fmla="*/ 31 w 241"/>
                <a:gd name="T5" fmla="*/ 30 h 150"/>
                <a:gd name="T6" fmla="*/ 211 w 241"/>
                <a:gd name="T7" fmla="*/ 30 h 150"/>
                <a:gd name="T8" fmla="*/ 211 w 241"/>
                <a:gd name="T9" fmla="*/ 120 h 150"/>
                <a:gd name="T10" fmla="*/ 226 w 241"/>
                <a:gd name="T11" fmla="*/ 0 h 150"/>
                <a:gd name="T12" fmla="*/ 15 w 241"/>
                <a:gd name="T13" fmla="*/ 0 h 150"/>
                <a:gd name="T14" fmla="*/ 13 w 241"/>
                <a:gd name="T15" fmla="*/ 0 h 150"/>
                <a:gd name="T16" fmla="*/ 10 w 241"/>
                <a:gd name="T17" fmla="*/ 1 h 150"/>
                <a:gd name="T18" fmla="*/ 7 w 241"/>
                <a:gd name="T19" fmla="*/ 2 h 150"/>
                <a:gd name="T20" fmla="*/ 5 w 241"/>
                <a:gd name="T21" fmla="*/ 4 h 150"/>
                <a:gd name="T22" fmla="*/ 3 w 241"/>
                <a:gd name="T23" fmla="*/ 6 h 150"/>
                <a:gd name="T24" fmla="*/ 2 w 241"/>
                <a:gd name="T25" fmla="*/ 9 h 150"/>
                <a:gd name="T26" fmla="*/ 1 w 241"/>
                <a:gd name="T27" fmla="*/ 11 h 150"/>
                <a:gd name="T28" fmla="*/ 0 w 241"/>
                <a:gd name="T29" fmla="*/ 15 h 150"/>
                <a:gd name="T30" fmla="*/ 0 w 241"/>
                <a:gd name="T31" fmla="*/ 135 h 150"/>
                <a:gd name="T32" fmla="*/ 1 w 241"/>
                <a:gd name="T33" fmla="*/ 138 h 150"/>
                <a:gd name="T34" fmla="*/ 2 w 241"/>
                <a:gd name="T35" fmla="*/ 141 h 150"/>
                <a:gd name="T36" fmla="*/ 3 w 241"/>
                <a:gd name="T37" fmla="*/ 143 h 150"/>
                <a:gd name="T38" fmla="*/ 5 w 241"/>
                <a:gd name="T39" fmla="*/ 145 h 150"/>
                <a:gd name="T40" fmla="*/ 7 w 241"/>
                <a:gd name="T41" fmla="*/ 147 h 150"/>
                <a:gd name="T42" fmla="*/ 10 w 241"/>
                <a:gd name="T43" fmla="*/ 149 h 150"/>
                <a:gd name="T44" fmla="*/ 13 w 241"/>
                <a:gd name="T45" fmla="*/ 150 h 150"/>
                <a:gd name="T46" fmla="*/ 15 w 241"/>
                <a:gd name="T47" fmla="*/ 150 h 150"/>
                <a:gd name="T48" fmla="*/ 226 w 241"/>
                <a:gd name="T49" fmla="*/ 150 h 150"/>
                <a:gd name="T50" fmla="*/ 229 w 241"/>
                <a:gd name="T51" fmla="*/ 150 h 150"/>
                <a:gd name="T52" fmla="*/ 231 w 241"/>
                <a:gd name="T53" fmla="*/ 149 h 150"/>
                <a:gd name="T54" fmla="*/ 235 w 241"/>
                <a:gd name="T55" fmla="*/ 147 h 150"/>
                <a:gd name="T56" fmla="*/ 237 w 241"/>
                <a:gd name="T57" fmla="*/ 145 h 150"/>
                <a:gd name="T58" fmla="*/ 239 w 241"/>
                <a:gd name="T59" fmla="*/ 143 h 150"/>
                <a:gd name="T60" fmla="*/ 240 w 241"/>
                <a:gd name="T61" fmla="*/ 141 h 150"/>
                <a:gd name="T62" fmla="*/ 241 w 241"/>
                <a:gd name="T63" fmla="*/ 138 h 150"/>
                <a:gd name="T64" fmla="*/ 241 w 241"/>
                <a:gd name="T65" fmla="*/ 135 h 150"/>
                <a:gd name="T66" fmla="*/ 241 w 241"/>
                <a:gd name="T67" fmla="*/ 15 h 150"/>
                <a:gd name="T68" fmla="*/ 241 w 241"/>
                <a:gd name="T69" fmla="*/ 11 h 150"/>
                <a:gd name="T70" fmla="*/ 240 w 241"/>
                <a:gd name="T71" fmla="*/ 9 h 150"/>
                <a:gd name="T72" fmla="*/ 239 w 241"/>
                <a:gd name="T73" fmla="*/ 6 h 150"/>
                <a:gd name="T74" fmla="*/ 237 w 241"/>
                <a:gd name="T75" fmla="*/ 4 h 150"/>
                <a:gd name="T76" fmla="*/ 235 w 241"/>
                <a:gd name="T77" fmla="*/ 2 h 150"/>
                <a:gd name="T78" fmla="*/ 231 w 241"/>
                <a:gd name="T79" fmla="*/ 1 h 150"/>
                <a:gd name="T80" fmla="*/ 229 w 241"/>
                <a:gd name="T81" fmla="*/ 0 h 150"/>
                <a:gd name="T82" fmla="*/ 226 w 241"/>
                <a:gd name="T83" fmla="*/ 0 h 150"/>
                <a:gd name="T84" fmla="*/ 226 w 241"/>
                <a:gd name="T8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150">
                  <a:moveTo>
                    <a:pt x="211" y="120"/>
                  </a:moveTo>
                  <a:lnTo>
                    <a:pt x="31" y="120"/>
                  </a:lnTo>
                  <a:lnTo>
                    <a:pt x="31" y="30"/>
                  </a:lnTo>
                  <a:lnTo>
                    <a:pt x="211" y="30"/>
                  </a:lnTo>
                  <a:lnTo>
                    <a:pt x="211" y="120"/>
                  </a:lnTo>
                  <a:close/>
                  <a:moveTo>
                    <a:pt x="226" y="0"/>
                  </a:moveTo>
                  <a:lnTo>
                    <a:pt x="15" y="0"/>
                  </a:lnTo>
                  <a:lnTo>
                    <a:pt x="13" y="0"/>
                  </a:lnTo>
                  <a:lnTo>
                    <a:pt x="10" y="1"/>
                  </a:lnTo>
                  <a:lnTo>
                    <a:pt x="7" y="2"/>
                  </a:lnTo>
                  <a:lnTo>
                    <a:pt x="5" y="4"/>
                  </a:lnTo>
                  <a:lnTo>
                    <a:pt x="3" y="6"/>
                  </a:lnTo>
                  <a:lnTo>
                    <a:pt x="2" y="9"/>
                  </a:lnTo>
                  <a:lnTo>
                    <a:pt x="1" y="11"/>
                  </a:lnTo>
                  <a:lnTo>
                    <a:pt x="0" y="15"/>
                  </a:lnTo>
                  <a:lnTo>
                    <a:pt x="0" y="135"/>
                  </a:lnTo>
                  <a:lnTo>
                    <a:pt x="1" y="138"/>
                  </a:lnTo>
                  <a:lnTo>
                    <a:pt x="2" y="141"/>
                  </a:lnTo>
                  <a:lnTo>
                    <a:pt x="3" y="143"/>
                  </a:lnTo>
                  <a:lnTo>
                    <a:pt x="5" y="145"/>
                  </a:lnTo>
                  <a:lnTo>
                    <a:pt x="7" y="147"/>
                  </a:lnTo>
                  <a:lnTo>
                    <a:pt x="10" y="149"/>
                  </a:lnTo>
                  <a:lnTo>
                    <a:pt x="13" y="150"/>
                  </a:lnTo>
                  <a:lnTo>
                    <a:pt x="15" y="150"/>
                  </a:lnTo>
                  <a:lnTo>
                    <a:pt x="226" y="150"/>
                  </a:lnTo>
                  <a:lnTo>
                    <a:pt x="229" y="150"/>
                  </a:lnTo>
                  <a:lnTo>
                    <a:pt x="231" y="149"/>
                  </a:lnTo>
                  <a:lnTo>
                    <a:pt x="235" y="147"/>
                  </a:lnTo>
                  <a:lnTo>
                    <a:pt x="237" y="145"/>
                  </a:lnTo>
                  <a:lnTo>
                    <a:pt x="239" y="143"/>
                  </a:lnTo>
                  <a:lnTo>
                    <a:pt x="240" y="141"/>
                  </a:lnTo>
                  <a:lnTo>
                    <a:pt x="241" y="138"/>
                  </a:lnTo>
                  <a:lnTo>
                    <a:pt x="241" y="135"/>
                  </a:lnTo>
                  <a:lnTo>
                    <a:pt x="241" y="15"/>
                  </a:lnTo>
                  <a:lnTo>
                    <a:pt x="241" y="11"/>
                  </a:lnTo>
                  <a:lnTo>
                    <a:pt x="240" y="9"/>
                  </a:lnTo>
                  <a:lnTo>
                    <a:pt x="239" y="6"/>
                  </a:lnTo>
                  <a:lnTo>
                    <a:pt x="237" y="4"/>
                  </a:lnTo>
                  <a:lnTo>
                    <a:pt x="235" y="2"/>
                  </a:lnTo>
                  <a:lnTo>
                    <a:pt x="231" y="1"/>
                  </a:lnTo>
                  <a:lnTo>
                    <a:pt x="229" y="0"/>
                  </a:lnTo>
                  <a:lnTo>
                    <a:pt x="226"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6" name="Freeform 94">
              <a:extLst>
                <a:ext uri="{FF2B5EF4-FFF2-40B4-BE49-F238E27FC236}">
                  <a16:creationId xmlns:a16="http://schemas.microsoft.com/office/drawing/2014/main" id="{4C2A5FA8-C765-4600-BDF5-D662D7C84743}"/>
                </a:ext>
              </a:extLst>
            </p:cNvPr>
            <p:cNvSpPr>
              <a:spLocks/>
            </p:cNvSpPr>
            <p:nvPr/>
          </p:nvSpPr>
          <p:spPr bwMode="auto">
            <a:xfrm>
              <a:off x="6611938" y="885825"/>
              <a:ext cx="57150" cy="9525"/>
            </a:xfrm>
            <a:custGeom>
              <a:avLst/>
              <a:gdLst>
                <a:gd name="T0" fmla="*/ 166 w 181"/>
                <a:gd name="T1" fmla="*/ 0 h 30"/>
                <a:gd name="T2" fmla="*/ 15 w 181"/>
                <a:gd name="T3" fmla="*/ 0 h 30"/>
                <a:gd name="T4" fmla="*/ 12 w 181"/>
                <a:gd name="T5" fmla="*/ 1 h 30"/>
                <a:gd name="T6" fmla="*/ 10 w 181"/>
                <a:gd name="T7" fmla="*/ 1 h 30"/>
                <a:gd name="T8" fmla="*/ 6 w 181"/>
                <a:gd name="T9" fmla="*/ 3 h 30"/>
                <a:gd name="T10" fmla="*/ 4 w 181"/>
                <a:gd name="T11" fmla="*/ 4 h 30"/>
                <a:gd name="T12" fmla="*/ 3 w 181"/>
                <a:gd name="T13" fmla="*/ 6 h 30"/>
                <a:gd name="T14" fmla="*/ 1 w 181"/>
                <a:gd name="T15" fmla="*/ 9 h 30"/>
                <a:gd name="T16" fmla="*/ 1 w 181"/>
                <a:gd name="T17" fmla="*/ 11 h 30"/>
                <a:gd name="T18" fmla="*/ 0 w 181"/>
                <a:gd name="T19" fmla="*/ 15 h 30"/>
                <a:gd name="T20" fmla="*/ 1 w 181"/>
                <a:gd name="T21" fmla="*/ 18 h 30"/>
                <a:gd name="T22" fmla="*/ 1 w 181"/>
                <a:gd name="T23" fmla="*/ 21 h 30"/>
                <a:gd name="T24" fmla="*/ 3 w 181"/>
                <a:gd name="T25" fmla="*/ 23 h 30"/>
                <a:gd name="T26" fmla="*/ 4 w 181"/>
                <a:gd name="T27" fmla="*/ 25 h 30"/>
                <a:gd name="T28" fmla="*/ 6 w 181"/>
                <a:gd name="T29" fmla="*/ 27 h 30"/>
                <a:gd name="T30" fmla="*/ 10 w 181"/>
                <a:gd name="T31" fmla="*/ 29 h 30"/>
                <a:gd name="T32" fmla="*/ 12 w 181"/>
                <a:gd name="T33" fmla="*/ 30 h 30"/>
                <a:gd name="T34" fmla="*/ 15 w 181"/>
                <a:gd name="T35" fmla="*/ 30 h 30"/>
                <a:gd name="T36" fmla="*/ 166 w 181"/>
                <a:gd name="T37" fmla="*/ 30 h 30"/>
                <a:gd name="T38" fmla="*/ 168 w 181"/>
                <a:gd name="T39" fmla="*/ 30 h 30"/>
                <a:gd name="T40" fmla="*/ 171 w 181"/>
                <a:gd name="T41" fmla="*/ 29 h 30"/>
                <a:gd name="T42" fmla="*/ 174 w 181"/>
                <a:gd name="T43" fmla="*/ 27 h 30"/>
                <a:gd name="T44" fmla="*/ 177 w 181"/>
                <a:gd name="T45" fmla="*/ 25 h 30"/>
                <a:gd name="T46" fmla="*/ 178 w 181"/>
                <a:gd name="T47" fmla="*/ 23 h 30"/>
                <a:gd name="T48" fmla="*/ 180 w 181"/>
                <a:gd name="T49" fmla="*/ 21 h 30"/>
                <a:gd name="T50" fmla="*/ 180 w 181"/>
                <a:gd name="T51" fmla="*/ 18 h 30"/>
                <a:gd name="T52" fmla="*/ 181 w 181"/>
                <a:gd name="T53" fmla="*/ 15 h 30"/>
                <a:gd name="T54" fmla="*/ 180 w 181"/>
                <a:gd name="T55" fmla="*/ 11 h 30"/>
                <a:gd name="T56" fmla="*/ 180 w 181"/>
                <a:gd name="T57" fmla="*/ 9 h 30"/>
                <a:gd name="T58" fmla="*/ 178 w 181"/>
                <a:gd name="T59" fmla="*/ 6 h 30"/>
                <a:gd name="T60" fmla="*/ 177 w 181"/>
                <a:gd name="T61" fmla="*/ 4 h 30"/>
                <a:gd name="T62" fmla="*/ 174 w 181"/>
                <a:gd name="T63" fmla="*/ 3 h 30"/>
                <a:gd name="T64" fmla="*/ 171 w 181"/>
                <a:gd name="T65" fmla="*/ 1 h 30"/>
                <a:gd name="T66" fmla="*/ 168 w 181"/>
                <a:gd name="T67" fmla="*/ 1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1"/>
                  </a:lnTo>
                  <a:lnTo>
                    <a:pt x="10" y="1"/>
                  </a:lnTo>
                  <a:lnTo>
                    <a:pt x="6" y="3"/>
                  </a:lnTo>
                  <a:lnTo>
                    <a:pt x="4" y="4"/>
                  </a:lnTo>
                  <a:lnTo>
                    <a:pt x="3" y="6"/>
                  </a:lnTo>
                  <a:lnTo>
                    <a:pt x="1" y="9"/>
                  </a:lnTo>
                  <a:lnTo>
                    <a:pt x="1" y="11"/>
                  </a:lnTo>
                  <a:lnTo>
                    <a:pt x="0" y="15"/>
                  </a:lnTo>
                  <a:lnTo>
                    <a:pt x="1" y="18"/>
                  </a:lnTo>
                  <a:lnTo>
                    <a:pt x="1" y="21"/>
                  </a:lnTo>
                  <a:lnTo>
                    <a:pt x="3" y="23"/>
                  </a:lnTo>
                  <a:lnTo>
                    <a:pt x="4" y="25"/>
                  </a:lnTo>
                  <a:lnTo>
                    <a:pt x="6" y="27"/>
                  </a:lnTo>
                  <a:lnTo>
                    <a:pt x="10" y="29"/>
                  </a:lnTo>
                  <a:lnTo>
                    <a:pt x="12" y="30"/>
                  </a:lnTo>
                  <a:lnTo>
                    <a:pt x="15" y="30"/>
                  </a:lnTo>
                  <a:lnTo>
                    <a:pt x="166" y="30"/>
                  </a:lnTo>
                  <a:lnTo>
                    <a:pt x="168" y="30"/>
                  </a:lnTo>
                  <a:lnTo>
                    <a:pt x="171" y="29"/>
                  </a:lnTo>
                  <a:lnTo>
                    <a:pt x="174" y="27"/>
                  </a:lnTo>
                  <a:lnTo>
                    <a:pt x="177" y="25"/>
                  </a:lnTo>
                  <a:lnTo>
                    <a:pt x="178" y="23"/>
                  </a:lnTo>
                  <a:lnTo>
                    <a:pt x="180" y="21"/>
                  </a:lnTo>
                  <a:lnTo>
                    <a:pt x="180" y="18"/>
                  </a:lnTo>
                  <a:lnTo>
                    <a:pt x="181" y="15"/>
                  </a:lnTo>
                  <a:lnTo>
                    <a:pt x="180" y="11"/>
                  </a:lnTo>
                  <a:lnTo>
                    <a:pt x="180" y="9"/>
                  </a:lnTo>
                  <a:lnTo>
                    <a:pt x="178" y="6"/>
                  </a:lnTo>
                  <a:lnTo>
                    <a:pt x="177" y="4"/>
                  </a:lnTo>
                  <a:lnTo>
                    <a:pt x="174" y="3"/>
                  </a:lnTo>
                  <a:lnTo>
                    <a:pt x="171" y="1"/>
                  </a:lnTo>
                  <a:lnTo>
                    <a:pt x="168" y="1"/>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06" name="Group 71">
            <a:extLst>
              <a:ext uri="{FF2B5EF4-FFF2-40B4-BE49-F238E27FC236}">
                <a16:creationId xmlns:a16="http://schemas.microsoft.com/office/drawing/2014/main" id="{A4C79041-600D-49D9-8753-1D9E9CF11CF7}"/>
              </a:ext>
            </a:extLst>
          </p:cNvPr>
          <p:cNvGrpSpPr>
            <a:grpSpLocks noChangeAspect="1"/>
          </p:cNvGrpSpPr>
          <p:nvPr/>
        </p:nvGrpSpPr>
        <p:grpSpPr>
          <a:xfrm>
            <a:off x="284400" y="4340505"/>
            <a:ext cx="329560" cy="285619"/>
            <a:chOff x="9309100" y="817245"/>
            <a:chExt cx="285750" cy="247650"/>
          </a:xfrm>
          <a:solidFill>
            <a:schemeClr val="bg2"/>
          </a:solidFill>
          <a:effectLst/>
        </p:grpSpPr>
        <p:sp>
          <p:nvSpPr>
            <p:cNvPr id="1107" name="Freeform 183">
              <a:extLst>
                <a:ext uri="{FF2B5EF4-FFF2-40B4-BE49-F238E27FC236}">
                  <a16:creationId xmlns:a16="http://schemas.microsoft.com/office/drawing/2014/main" id="{6B41A3E0-E55C-4FB7-984D-4BC482911E7B}"/>
                </a:ext>
              </a:extLst>
            </p:cNvPr>
            <p:cNvSpPr>
              <a:spLocks/>
            </p:cNvSpPr>
            <p:nvPr/>
          </p:nvSpPr>
          <p:spPr bwMode="auto">
            <a:xfrm>
              <a:off x="9309100" y="817245"/>
              <a:ext cx="285750" cy="190500"/>
            </a:xfrm>
            <a:custGeom>
              <a:avLst/>
              <a:gdLst>
                <a:gd name="T0" fmla="*/ 777 w 901"/>
                <a:gd name="T1" fmla="*/ 5 h 602"/>
                <a:gd name="T2" fmla="*/ 755 w 901"/>
                <a:gd name="T3" fmla="*/ 30 h 602"/>
                <a:gd name="T4" fmla="*/ 129 w 901"/>
                <a:gd name="T5" fmla="*/ 571 h 602"/>
                <a:gd name="T6" fmla="*/ 107 w 901"/>
                <a:gd name="T7" fmla="*/ 551 h 602"/>
                <a:gd name="T8" fmla="*/ 110 w 901"/>
                <a:gd name="T9" fmla="*/ 527 h 602"/>
                <a:gd name="T10" fmla="*/ 135 w 901"/>
                <a:gd name="T11" fmla="*/ 512 h 602"/>
                <a:gd name="T12" fmla="*/ 592 w 901"/>
                <a:gd name="T13" fmla="*/ 506 h 602"/>
                <a:gd name="T14" fmla="*/ 627 w 901"/>
                <a:gd name="T15" fmla="*/ 468 h 602"/>
                <a:gd name="T16" fmla="*/ 629 w 901"/>
                <a:gd name="T17" fmla="*/ 440 h 602"/>
                <a:gd name="T18" fmla="*/ 602 w 901"/>
                <a:gd name="T19" fmla="*/ 402 h 602"/>
                <a:gd name="T20" fmla="*/ 570 w 901"/>
                <a:gd name="T21" fmla="*/ 392 h 602"/>
                <a:gd name="T22" fmla="*/ 84 w 901"/>
                <a:gd name="T23" fmla="*/ 384 h 602"/>
                <a:gd name="T24" fmla="*/ 75 w 901"/>
                <a:gd name="T25" fmla="*/ 356 h 602"/>
                <a:gd name="T26" fmla="*/ 94 w 901"/>
                <a:gd name="T27" fmla="*/ 334 h 602"/>
                <a:gd name="T28" fmla="*/ 612 w 901"/>
                <a:gd name="T29" fmla="*/ 330 h 602"/>
                <a:gd name="T30" fmla="*/ 649 w 901"/>
                <a:gd name="T31" fmla="*/ 303 h 602"/>
                <a:gd name="T32" fmla="*/ 660 w 901"/>
                <a:gd name="T33" fmla="*/ 271 h 602"/>
                <a:gd name="T34" fmla="*/ 649 w 901"/>
                <a:gd name="T35" fmla="*/ 238 h 602"/>
                <a:gd name="T36" fmla="*/ 613 w 901"/>
                <a:gd name="T37" fmla="*/ 213 h 602"/>
                <a:gd name="T38" fmla="*/ 49 w 901"/>
                <a:gd name="T39" fmla="*/ 208 h 602"/>
                <a:gd name="T40" fmla="*/ 30 w 901"/>
                <a:gd name="T41" fmla="*/ 186 h 602"/>
                <a:gd name="T42" fmla="*/ 39 w 901"/>
                <a:gd name="T43" fmla="*/ 161 h 602"/>
                <a:gd name="T44" fmla="*/ 660 w 901"/>
                <a:gd name="T45" fmla="*/ 150 h 602"/>
                <a:gd name="T46" fmla="*/ 673 w 901"/>
                <a:gd name="T47" fmla="*/ 144 h 602"/>
                <a:gd name="T48" fmla="*/ 674 w 901"/>
                <a:gd name="T49" fmla="*/ 130 h 602"/>
                <a:gd name="T50" fmla="*/ 663 w 901"/>
                <a:gd name="T51" fmla="*/ 121 h 602"/>
                <a:gd name="T52" fmla="*/ 42 w 901"/>
                <a:gd name="T53" fmla="*/ 124 h 602"/>
                <a:gd name="T54" fmla="*/ 4 w 901"/>
                <a:gd name="T55" fmla="*/ 159 h 602"/>
                <a:gd name="T56" fmla="*/ 0 w 901"/>
                <a:gd name="T57" fmla="*/ 186 h 602"/>
                <a:gd name="T58" fmla="*/ 18 w 901"/>
                <a:gd name="T59" fmla="*/ 222 h 602"/>
                <a:gd name="T60" fmla="*/ 53 w 901"/>
                <a:gd name="T61" fmla="*/ 240 h 602"/>
                <a:gd name="T62" fmla="*/ 616 w 901"/>
                <a:gd name="T63" fmla="*/ 247 h 602"/>
                <a:gd name="T64" fmla="*/ 630 w 901"/>
                <a:gd name="T65" fmla="*/ 271 h 602"/>
                <a:gd name="T66" fmla="*/ 615 w 901"/>
                <a:gd name="T67" fmla="*/ 295 h 602"/>
                <a:gd name="T68" fmla="*/ 99 w 901"/>
                <a:gd name="T69" fmla="*/ 302 h 602"/>
                <a:gd name="T70" fmla="*/ 63 w 901"/>
                <a:gd name="T71" fmla="*/ 320 h 602"/>
                <a:gd name="T72" fmla="*/ 45 w 901"/>
                <a:gd name="T73" fmla="*/ 355 h 602"/>
                <a:gd name="T74" fmla="*/ 50 w 901"/>
                <a:gd name="T75" fmla="*/ 387 h 602"/>
                <a:gd name="T76" fmla="*/ 72 w 901"/>
                <a:gd name="T77" fmla="*/ 412 h 602"/>
                <a:gd name="T78" fmla="*/ 575 w 901"/>
                <a:gd name="T79" fmla="*/ 422 h 602"/>
                <a:gd name="T80" fmla="*/ 598 w 901"/>
                <a:gd name="T81" fmla="*/ 441 h 602"/>
                <a:gd name="T82" fmla="*/ 595 w 901"/>
                <a:gd name="T83" fmla="*/ 467 h 602"/>
                <a:gd name="T84" fmla="*/ 570 w 901"/>
                <a:gd name="T85" fmla="*/ 482 h 602"/>
                <a:gd name="T86" fmla="*/ 112 w 901"/>
                <a:gd name="T87" fmla="*/ 487 h 602"/>
                <a:gd name="T88" fmla="*/ 77 w 901"/>
                <a:gd name="T89" fmla="*/ 525 h 602"/>
                <a:gd name="T90" fmla="*/ 76 w 901"/>
                <a:gd name="T91" fmla="*/ 553 h 602"/>
                <a:gd name="T92" fmla="*/ 102 w 901"/>
                <a:gd name="T93" fmla="*/ 590 h 602"/>
                <a:gd name="T94" fmla="*/ 135 w 901"/>
                <a:gd name="T95" fmla="*/ 602 h 602"/>
                <a:gd name="T96" fmla="*/ 708 w 901"/>
                <a:gd name="T97" fmla="*/ 593 h 602"/>
                <a:gd name="T98" fmla="*/ 784 w 901"/>
                <a:gd name="T99" fmla="*/ 35 h 602"/>
                <a:gd name="T100" fmla="*/ 892 w 901"/>
                <a:gd name="T101" fmla="*/ 29 h 602"/>
                <a:gd name="T102" fmla="*/ 900 w 901"/>
                <a:gd name="T103" fmla="*/ 19 h 602"/>
                <a:gd name="T104" fmla="*/ 897 w 901"/>
                <a:gd name="T105" fmla="*/ 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602">
                  <a:moveTo>
                    <a:pt x="886" y="0"/>
                  </a:moveTo>
                  <a:lnTo>
                    <a:pt x="796" y="0"/>
                  </a:lnTo>
                  <a:lnTo>
                    <a:pt x="790" y="0"/>
                  </a:lnTo>
                  <a:lnTo>
                    <a:pt x="783" y="2"/>
                  </a:lnTo>
                  <a:lnTo>
                    <a:pt x="777" y="5"/>
                  </a:lnTo>
                  <a:lnTo>
                    <a:pt x="770" y="8"/>
                  </a:lnTo>
                  <a:lnTo>
                    <a:pt x="765" y="12"/>
                  </a:lnTo>
                  <a:lnTo>
                    <a:pt x="761" y="17"/>
                  </a:lnTo>
                  <a:lnTo>
                    <a:pt x="757" y="23"/>
                  </a:lnTo>
                  <a:lnTo>
                    <a:pt x="755" y="30"/>
                  </a:lnTo>
                  <a:lnTo>
                    <a:pt x="690" y="569"/>
                  </a:lnTo>
                  <a:lnTo>
                    <a:pt x="689" y="571"/>
                  </a:lnTo>
                  <a:lnTo>
                    <a:pt x="687" y="572"/>
                  </a:lnTo>
                  <a:lnTo>
                    <a:pt x="135" y="572"/>
                  </a:lnTo>
                  <a:lnTo>
                    <a:pt x="129" y="571"/>
                  </a:lnTo>
                  <a:lnTo>
                    <a:pt x="124" y="569"/>
                  </a:lnTo>
                  <a:lnTo>
                    <a:pt x="120" y="565"/>
                  </a:lnTo>
                  <a:lnTo>
                    <a:pt x="114" y="561"/>
                  </a:lnTo>
                  <a:lnTo>
                    <a:pt x="110" y="557"/>
                  </a:lnTo>
                  <a:lnTo>
                    <a:pt x="107" y="551"/>
                  </a:lnTo>
                  <a:lnTo>
                    <a:pt x="105" y="546"/>
                  </a:lnTo>
                  <a:lnTo>
                    <a:pt x="105" y="542"/>
                  </a:lnTo>
                  <a:lnTo>
                    <a:pt x="105" y="536"/>
                  </a:lnTo>
                  <a:lnTo>
                    <a:pt x="107" y="531"/>
                  </a:lnTo>
                  <a:lnTo>
                    <a:pt x="110" y="527"/>
                  </a:lnTo>
                  <a:lnTo>
                    <a:pt x="114" y="521"/>
                  </a:lnTo>
                  <a:lnTo>
                    <a:pt x="120" y="517"/>
                  </a:lnTo>
                  <a:lnTo>
                    <a:pt x="124" y="514"/>
                  </a:lnTo>
                  <a:lnTo>
                    <a:pt x="129" y="512"/>
                  </a:lnTo>
                  <a:lnTo>
                    <a:pt x="135" y="512"/>
                  </a:lnTo>
                  <a:lnTo>
                    <a:pt x="570" y="512"/>
                  </a:lnTo>
                  <a:lnTo>
                    <a:pt x="575" y="511"/>
                  </a:lnTo>
                  <a:lnTo>
                    <a:pt x="581" y="510"/>
                  </a:lnTo>
                  <a:lnTo>
                    <a:pt x="587" y="509"/>
                  </a:lnTo>
                  <a:lnTo>
                    <a:pt x="592" y="506"/>
                  </a:lnTo>
                  <a:lnTo>
                    <a:pt x="602" y="500"/>
                  </a:lnTo>
                  <a:lnTo>
                    <a:pt x="612" y="492"/>
                  </a:lnTo>
                  <a:lnTo>
                    <a:pt x="619" y="483"/>
                  </a:lnTo>
                  <a:lnTo>
                    <a:pt x="625" y="473"/>
                  </a:lnTo>
                  <a:lnTo>
                    <a:pt x="627" y="468"/>
                  </a:lnTo>
                  <a:lnTo>
                    <a:pt x="629" y="462"/>
                  </a:lnTo>
                  <a:lnTo>
                    <a:pt x="630" y="457"/>
                  </a:lnTo>
                  <a:lnTo>
                    <a:pt x="630" y="452"/>
                  </a:lnTo>
                  <a:lnTo>
                    <a:pt x="630" y="445"/>
                  </a:lnTo>
                  <a:lnTo>
                    <a:pt x="629" y="440"/>
                  </a:lnTo>
                  <a:lnTo>
                    <a:pt x="627" y="435"/>
                  </a:lnTo>
                  <a:lnTo>
                    <a:pt x="625" y="429"/>
                  </a:lnTo>
                  <a:lnTo>
                    <a:pt x="619" y="420"/>
                  </a:lnTo>
                  <a:lnTo>
                    <a:pt x="612" y="410"/>
                  </a:lnTo>
                  <a:lnTo>
                    <a:pt x="602" y="402"/>
                  </a:lnTo>
                  <a:lnTo>
                    <a:pt x="592" y="396"/>
                  </a:lnTo>
                  <a:lnTo>
                    <a:pt x="587" y="394"/>
                  </a:lnTo>
                  <a:lnTo>
                    <a:pt x="581" y="393"/>
                  </a:lnTo>
                  <a:lnTo>
                    <a:pt x="575" y="392"/>
                  </a:lnTo>
                  <a:lnTo>
                    <a:pt x="570" y="392"/>
                  </a:lnTo>
                  <a:lnTo>
                    <a:pt x="105" y="392"/>
                  </a:lnTo>
                  <a:lnTo>
                    <a:pt x="99" y="391"/>
                  </a:lnTo>
                  <a:lnTo>
                    <a:pt x="95" y="390"/>
                  </a:lnTo>
                  <a:lnTo>
                    <a:pt x="90" y="387"/>
                  </a:lnTo>
                  <a:lnTo>
                    <a:pt x="84" y="384"/>
                  </a:lnTo>
                  <a:lnTo>
                    <a:pt x="81" y="380"/>
                  </a:lnTo>
                  <a:lnTo>
                    <a:pt x="77" y="376"/>
                  </a:lnTo>
                  <a:lnTo>
                    <a:pt x="75" y="369"/>
                  </a:lnTo>
                  <a:lnTo>
                    <a:pt x="75" y="362"/>
                  </a:lnTo>
                  <a:lnTo>
                    <a:pt x="75" y="356"/>
                  </a:lnTo>
                  <a:lnTo>
                    <a:pt x="77" y="351"/>
                  </a:lnTo>
                  <a:lnTo>
                    <a:pt x="80" y="346"/>
                  </a:lnTo>
                  <a:lnTo>
                    <a:pt x="84" y="341"/>
                  </a:lnTo>
                  <a:lnTo>
                    <a:pt x="90" y="337"/>
                  </a:lnTo>
                  <a:lnTo>
                    <a:pt x="94" y="334"/>
                  </a:lnTo>
                  <a:lnTo>
                    <a:pt x="99" y="332"/>
                  </a:lnTo>
                  <a:lnTo>
                    <a:pt x="105" y="331"/>
                  </a:lnTo>
                  <a:lnTo>
                    <a:pt x="600" y="331"/>
                  </a:lnTo>
                  <a:lnTo>
                    <a:pt x="605" y="331"/>
                  </a:lnTo>
                  <a:lnTo>
                    <a:pt x="612" y="330"/>
                  </a:lnTo>
                  <a:lnTo>
                    <a:pt x="617" y="328"/>
                  </a:lnTo>
                  <a:lnTo>
                    <a:pt x="622" y="326"/>
                  </a:lnTo>
                  <a:lnTo>
                    <a:pt x="632" y="320"/>
                  </a:lnTo>
                  <a:lnTo>
                    <a:pt x="642" y="312"/>
                  </a:lnTo>
                  <a:lnTo>
                    <a:pt x="649" y="303"/>
                  </a:lnTo>
                  <a:lnTo>
                    <a:pt x="655" y="293"/>
                  </a:lnTo>
                  <a:lnTo>
                    <a:pt x="658" y="288"/>
                  </a:lnTo>
                  <a:lnTo>
                    <a:pt x="659" y="282"/>
                  </a:lnTo>
                  <a:lnTo>
                    <a:pt x="660" y="277"/>
                  </a:lnTo>
                  <a:lnTo>
                    <a:pt x="660" y="271"/>
                  </a:lnTo>
                  <a:lnTo>
                    <a:pt x="660" y="265"/>
                  </a:lnTo>
                  <a:lnTo>
                    <a:pt x="659" y="260"/>
                  </a:lnTo>
                  <a:lnTo>
                    <a:pt x="658" y="254"/>
                  </a:lnTo>
                  <a:lnTo>
                    <a:pt x="656" y="249"/>
                  </a:lnTo>
                  <a:lnTo>
                    <a:pt x="649" y="238"/>
                  </a:lnTo>
                  <a:lnTo>
                    <a:pt x="642" y="230"/>
                  </a:lnTo>
                  <a:lnTo>
                    <a:pt x="633" y="222"/>
                  </a:lnTo>
                  <a:lnTo>
                    <a:pt x="624" y="216"/>
                  </a:lnTo>
                  <a:lnTo>
                    <a:pt x="618" y="214"/>
                  </a:lnTo>
                  <a:lnTo>
                    <a:pt x="613" y="213"/>
                  </a:lnTo>
                  <a:lnTo>
                    <a:pt x="607" y="212"/>
                  </a:lnTo>
                  <a:lnTo>
                    <a:pt x="602" y="210"/>
                  </a:lnTo>
                  <a:lnTo>
                    <a:pt x="60" y="210"/>
                  </a:lnTo>
                  <a:lnTo>
                    <a:pt x="54" y="210"/>
                  </a:lnTo>
                  <a:lnTo>
                    <a:pt x="49" y="208"/>
                  </a:lnTo>
                  <a:lnTo>
                    <a:pt x="45" y="205"/>
                  </a:lnTo>
                  <a:lnTo>
                    <a:pt x="39" y="201"/>
                  </a:lnTo>
                  <a:lnTo>
                    <a:pt x="35" y="195"/>
                  </a:lnTo>
                  <a:lnTo>
                    <a:pt x="32" y="191"/>
                  </a:lnTo>
                  <a:lnTo>
                    <a:pt x="30" y="186"/>
                  </a:lnTo>
                  <a:lnTo>
                    <a:pt x="30" y="180"/>
                  </a:lnTo>
                  <a:lnTo>
                    <a:pt x="30" y="176"/>
                  </a:lnTo>
                  <a:lnTo>
                    <a:pt x="32" y="171"/>
                  </a:lnTo>
                  <a:lnTo>
                    <a:pt x="35" y="165"/>
                  </a:lnTo>
                  <a:lnTo>
                    <a:pt x="39" y="161"/>
                  </a:lnTo>
                  <a:lnTo>
                    <a:pt x="45" y="157"/>
                  </a:lnTo>
                  <a:lnTo>
                    <a:pt x="49" y="154"/>
                  </a:lnTo>
                  <a:lnTo>
                    <a:pt x="54" y="151"/>
                  </a:lnTo>
                  <a:lnTo>
                    <a:pt x="60" y="150"/>
                  </a:lnTo>
                  <a:lnTo>
                    <a:pt x="660" y="150"/>
                  </a:lnTo>
                  <a:lnTo>
                    <a:pt x="663" y="150"/>
                  </a:lnTo>
                  <a:lnTo>
                    <a:pt x="666" y="149"/>
                  </a:lnTo>
                  <a:lnTo>
                    <a:pt x="669" y="148"/>
                  </a:lnTo>
                  <a:lnTo>
                    <a:pt x="671" y="146"/>
                  </a:lnTo>
                  <a:lnTo>
                    <a:pt x="673" y="144"/>
                  </a:lnTo>
                  <a:lnTo>
                    <a:pt x="674" y="142"/>
                  </a:lnTo>
                  <a:lnTo>
                    <a:pt x="675" y="139"/>
                  </a:lnTo>
                  <a:lnTo>
                    <a:pt x="675" y="135"/>
                  </a:lnTo>
                  <a:lnTo>
                    <a:pt x="675" y="132"/>
                  </a:lnTo>
                  <a:lnTo>
                    <a:pt x="674" y="130"/>
                  </a:lnTo>
                  <a:lnTo>
                    <a:pt x="673" y="127"/>
                  </a:lnTo>
                  <a:lnTo>
                    <a:pt x="671" y="125"/>
                  </a:lnTo>
                  <a:lnTo>
                    <a:pt x="669" y="124"/>
                  </a:lnTo>
                  <a:lnTo>
                    <a:pt x="666" y="121"/>
                  </a:lnTo>
                  <a:lnTo>
                    <a:pt x="663" y="121"/>
                  </a:lnTo>
                  <a:lnTo>
                    <a:pt x="660" y="120"/>
                  </a:lnTo>
                  <a:lnTo>
                    <a:pt x="60" y="120"/>
                  </a:lnTo>
                  <a:lnTo>
                    <a:pt x="53" y="121"/>
                  </a:lnTo>
                  <a:lnTo>
                    <a:pt x="48" y="121"/>
                  </a:lnTo>
                  <a:lnTo>
                    <a:pt x="42" y="124"/>
                  </a:lnTo>
                  <a:lnTo>
                    <a:pt x="37" y="126"/>
                  </a:lnTo>
                  <a:lnTo>
                    <a:pt x="27" y="132"/>
                  </a:lnTo>
                  <a:lnTo>
                    <a:pt x="18" y="140"/>
                  </a:lnTo>
                  <a:lnTo>
                    <a:pt x="10" y="149"/>
                  </a:lnTo>
                  <a:lnTo>
                    <a:pt x="4" y="159"/>
                  </a:lnTo>
                  <a:lnTo>
                    <a:pt x="2" y="164"/>
                  </a:lnTo>
                  <a:lnTo>
                    <a:pt x="1" y="170"/>
                  </a:lnTo>
                  <a:lnTo>
                    <a:pt x="0" y="175"/>
                  </a:lnTo>
                  <a:lnTo>
                    <a:pt x="0" y="180"/>
                  </a:lnTo>
                  <a:lnTo>
                    <a:pt x="0" y="186"/>
                  </a:lnTo>
                  <a:lnTo>
                    <a:pt x="1" y="192"/>
                  </a:lnTo>
                  <a:lnTo>
                    <a:pt x="2" y="198"/>
                  </a:lnTo>
                  <a:lnTo>
                    <a:pt x="4" y="203"/>
                  </a:lnTo>
                  <a:lnTo>
                    <a:pt x="10" y="213"/>
                  </a:lnTo>
                  <a:lnTo>
                    <a:pt x="18" y="222"/>
                  </a:lnTo>
                  <a:lnTo>
                    <a:pt x="27" y="230"/>
                  </a:lnTo>
                  <a:lnTo>
                    <a:pt x="37" y="235"/>
                  </a:lnTo>
                  <a:lnTo>
                    <a:pt x="42" y="238"/>
                  </a:lnTo>
                  <a:lnTo>
                    <a:pt x="48" y="239"/>
                  </a:lnTo>
                  <a:lnTo>
                    <a:pt x="53" y="240"/>
                  </a:lnTo>
                  <a:lnTo>
                    <a:pt x="60" y="240"/>
                  </a:lnTo>
                  <a:lnTo>
                    <a:pt x="602" y="240"/>
                  </a:lnTo>
                  <a:lnTo>
                    <a:pt x="606" y="242"/>
                  </a:lnTo>
                  <a:lnTo>
                    <a:pt x="612" y="244"/>
                  </a:lnTo>
                  <a:lnTo>
                    <a:pt x="616" y="247"/>
                  </a:lnTo>
                  <a:lnTo>
                    <a:pt x="620" y="251"/>
                  </a:lnTo>
                  <a:lnTo>
                    <a:pt x="625" y="256"/>
                  </a:lnTo>
                  <a:lnTo>
                    <a:pt x="628" y="261"/>
                  </a:lnTo>
                  <a:lnTo>
                    <a:pt x="630" y="266"/>
                  </a:lnTo>
                  <a:lnTo>
                    <a:pt x="630" y="271"/>
                  </a:lnTo>
                  <a:lnTo>
                    <a:pt x="630" y="276"/>
                  </a:lnTo>
                  <a:lnTo>
                    <a:pt x="628" y="281"/>
                  </a:lnTo>
                  <a:lnTo>
                    <a:pt x="625" y="286"/>
                  </a:lnTo>
                  <a:lnTo>
                    <a:pt x="620" y="291"/>
                  </a:lnTo>
                  <a:lnTo>
                    <a:pt x="615" y="295"/>
                  </a:lnTo>
                  <a:lnTo>
                    <a:pt x="611" y="298"/>
                  </a:lnTo>
                  <a:lnTo>
                    <a:pt x="605" y="301"/>
                  </a:lnTo>
                  <a:lnTo>
                    <a:pt x="600" y="301"/>
                  </a:lnTo>
                  <a:lnTo>
                    <a:pt x="105" y="301"/>
                  </a:lnTo>
                  <a:lnTo>
                    <a:pt x="99" y="302"/>
                  </a:lnTo>
                  <a:lnTo>
                    <a:pt x="93" y="303"/>
                  </a:lnTo>
                  <a:lnTo>
                    <a:pt x="87" y="304"/>
                  </a:lnTo>
                  <a:lnTo>
                    <a:pt x="82" y="306"/>
                  </a:lnTo>
                  <a:lnTo>
                    <a:pt x="72" y="312"/>
                  </a:lnTo>
                  <a:lnTo>
                    <a:pt x="63" y="320"/>
                  </a:lnTo>
                  <a:lnTo>
                    <a:pt x="55" y="330"/>
                  </a:lnTo>
                  <a:lnTo>
                    <a:pt x="50" y="339"/>
                  </a:lnTo>
                  <a:lnTo>
                    <a:pt x="47" y="345"/>
                  </a:lnTo>
                  <a:lnTo>
                    <a:pt x="46" y="350"/>
                  </a:lnTo>
                  <a:lnTo>
                    <a:pt x="45" y="355"/>
                  </a:lnTo>
                  <a:lnTo>
                    <a:pt x="45" y="362"/>
                  </a:lnTo>
                  <a:lnTo>
                    <a:pt x="45" y="368"/>
                  </a:lnTo>
                  <a:lnTo>
                    <a:pt x="46" y="375"/>
                  </a:lnTo>
                  <a:lnTo>
                    <a:pt x="47" y="381"/>
                  </a:lnTo>
                  <a:lnTo>
                    <a:pt x="50" y="387"/>
                  </a:lnTo>
                  <a:lnTo>
                    <a:pt x="52" y="393"/>
                  </a:lnTo>
                  <a:lnTo>
                    <a:pt x="55" y="397"/>
                  </a:lnTo>
                  <a:lnTo>
                    <a:pt x="60" y="401"/>
                  </a:lnTo>
                  <a:lnTo>
                    <a:pt x="63" y="406"/>
                  </a:lnTo>
                  <a:lnTo>
                    <a:pt x="72" y="412"/>
                  </a:lnTo>
                  <a:lnTo>
                    <a:pt x="82" y="417"/>
                  </a:lnTo>
                  <a:lnTo>
                    <a:pt x="93" y="421"/>
                  </a:lnTo>
                  <a:lnTo>
                    <a:pt x="105" y="422"/>
                  </a:lnTo>
                  <a:lnTo>
                    <a:pt x="570" y="422"/>
                  </a:lnTo>
                  <a:lnTo>
                    <a:pt x="575" y="422"/>
                  </a:lnTo>
                  <a:lnTo>
                    <a:pt x="581" y="424"/>
                  </a:lnTo>
                  <a:lnTo>
                    <a:pt x="585" y="427"/>
                  </a:lnTo>
                  <a:lnTo>
                    <a:pt x="590" y="431"/>
                  </a:lnTo>
                  <a:lnTo>
                    <a:pt x="595" y="437"/>
                  </a:lnTo>
                  <a:lnTo>
                    <a:pt x="598" y="441"/>
                  </a:lnTo>
                  <a:lnTo>
                    <a:pt x="600" y="446"/>
                  </a:lnTo>
                  <a:lnTo>
                    <a:pt x="600" y="452"/>
                  </a:lnTo>
                  <a:lnTo>
                    <a:pt x="600" y="456"/>
                  </a:lnTo>
                  <a:lnTo>
                    <a:pt x="598" y="461"/>
                  </a:lnTo>
                  <a:lnTo>
                    <a:pt x="595" y="467"/>
                  </a:lnTo>
                  <a:lnTo>
                    <a:pt x="590" y="471"/>
                  </a:lnTo>
                  <a:lnTo>
                    <a:pt x="585" y="475"/>
                  </a:lnTo>
                  <a:lnTo>
                    <a:pt x="581" y="479"/>
                  </a:lnTo>
                  <a:lnTo>
                    <a:pt x="575" y="481"/>
                  </a:lnTo>
                  <a:lnTo>
                    <a:pt x="570" y="482"/>
                  </a:lnTo>
                  <a:lnTo>
                    <a:pt x="135" y="482"/>
                  </a:lnTo>
                  <a:lnTo>
                    <a:pt x="129" y="482"/>
                  </a:lnTo>
                  <a:lnTo>
                    <a:pt x="123" y="483"/>
                  </a:lnTo>
                  <a:lnTo>
                    <a:pt x="117" y="484"/>
                  </a:lnTo>
                  <a:lnTo>
                    <a:pt x="112" y="487"/>
                  </a:lnTo>
                  <a:lnTo>
                    <a:pt x="102" y="492"/>
                  </a:lnTo>
                  <a:lnTo>
                    <a:pt x="93" y="500"/>
                  </a:lnTo>
                  <a:lnTo>
                    <a:pt x="85" y="510"/>
                  </a:lnTo>
                  <a:lnTo>
                    <a:pt x="80" y="519"/>
                  </a:lnTo>
                  <a:lnTo>
                    <a:pt x="77" y="525"/>
                  </a:lnTo>
                  <a:lnTo>
                    <a:pt x="76" y="531"/>
                  </a:lnTo>
                  <a:lnTo>
                    <a:pt x="75" y="536"/>
                  </a:lnTo>
                  <a:lnTo>
                    <a:pt x="75" y="542"/>
                  </a:lnTo>
                  <a:lnTo>
                    <a:pt x="75" y="547"/>
                  </a:lnTo>
                  <a:lnTo>
                    <a:pt x="76" y="553"/>
                  </a:lnTo>
                  <a:lnTo>
                    <a:pt x="77" y="558"/>
                  </a:lnTo>
                  <a:lnTo>
                    <a:pt x="80" y="563"/>
                  </a:lnTo>
                  <a:lnTo>
                    <a:pt x="85" y="573"/>
                  </a:lnTo>
                  <a:lnTo>
                    <a:pt x="93" y="583"/>
                  </a:lnTo>
                  <a:lnTo>
                    <a:pt x="102" y="590"/>
                  </a:lnTo>
                  <a:lnTo>
                    <a:pt x="112" y="597"/>
                  </a:lnTo>
                  <a:lnTo>
                    <a:pt x="117" y="599"/>
                  </a:lnTo>
                  <a:lnTo>
                    <a:pt x="123" y="601"/>
                  </a:lnTo>
                  <a:lnTo>
                    <a:pt x="129" y="602"/>
                  </a:lnTo>
                  <a:lnTo>
                    <a:pt x="135" y="602"/>
                  </a:lnTo>
                  <a:lnTo>
                    <a:pt x="687" y="602"/>
                  </a:lnTo>
                  <a:lnTo>
                    <a:pt x="692" y="601"/>
                  </a:lnTo>
                  <a:lnTo>
                    <a:pt x="699" y="600"/>
                  </a:lnTo>
                  <a:lnTo>
                    <a:pt x="704" y="597"/>
                  </a:lnTo>
                  <a:lnTo>
                    <a:pt x="708" y="593"/>
                  </a:lnTo>
                  <a:lnTo>
                    <a:pt x="713" y="589"/>
                  </a:lnTo>
                  <a:lnTo>
                    <a:pt x="716" y="584"/>
                  </a:lnTo>
                  <a:lnTo>
                    <a:pt x="719" y="578"/>
                  </a:lnTo>
                  <a:lnTo>
                    <a:pt x="720" y="572"/>
                  </a:lnTo>
                  <a:lnTo>
                    <a:pt x="784" y="35"/>
                  </a:lnTo>
                  <a:lnTo>
                    <a:pt x="790" y="31"/>
                  </a:lnTo>
                  <a:lnTo>
                    <a:pt x="796" y="30"/>
                  </a:lnTo>
                  <a:lnTo>
                    <a:pt x="886" y="30"/>
                  </a:lnTo>
                  <a:lnTo>
                    <a:pt x="888" y="30"/>
                  </a:lnTo>
                  <a:lnTo>
                    <a:pt x="892" y="29"/>
                  </a:lnTo>
                  <a:lnTo>
                    <a:pt x="895" y="28"/>
                  </a:lnTo>
                  <a:lnTo>
                    <a:pt x="897" y="26"/>
                  </a:lnTo>
                  <a:lnTo>
                    <a:pt x="898" y="24"/>
                  </a:lnTo>
                  <a:lnTo>
                    <a:pt x="900" y="22"/>
                  </a:lnTo>
                  <a:lnTo>
                    <a:pt x="900" y="19"/>
                  </a:lnTo>
                  <a:lnTo>
                    <a:pt x="901" y="15"/>
                  </a:lnTo>
                  <a:lnTo>
                    <a:pt x="900" y="12"/>
                  </a:lnTo>
                  <a:lnTo>
                    <a:pt x="900" y="10"/>
                  </a:lnTo>
                  <a:lnTo>
                    <a:pt x="898" y="7"/>
                  </a:lnTo>
                  <a:lnTo>
                    <a:pt x="897" y="5"/>
                  </a:lnTo>
                  <a:lnTo>
                    <a:pt x="895" y="2"/>
                  </a:lnTo>
                  <a:lnTo>
                    <a:pt x="892" y="1"/>
                  </a:lnTo>
                  <a:lnTo>
                    <a:pt x="888"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84">
              <a:extLst>
                <a:ext uri="{FF2B5EF4-FFF2-40B4-BE49-F238E27FC236}">
                  <a16:creationId xmlns:a16="http://schemas.microsoft.com/office/drawing/2014/main" id="{D38B389B-338F-4E48-AB66-F40480EFC4CF}"/>
                </a:ext>
              </a:extLst>
            </p:cNvPr>
            <p:cNvSpPr>
              <a:spLocks noEditPoints="1"/>
            </p:cNvSpPr>
            <p:nvPr/>
          </p:nvSpPr>
          <p:spPr bwMode="auto">
            <a:xfrm>
              <a:off x="9485313" y="1017270"/>
              <a:ext cx="47625" cy="47625"/>
            </a:xfrm>
            <a:custGeom>
              <a:avLst/>
              <a:gdLst>
                <a:gd name="T0" fmla="*/ 66 w 150"/>
                <a:gd name="T1" fmla="*/ 119 h 150"/>
                <a:gd name="T2" fmla="*/ 50 w 150"/>
                <a:gd name="T3" fmla="*/ 113 h 150"/>
                <a:gd name="T4" fmla="*/ 37 w 150"/>
                <a:gd name="T5" fmla="*/ 100 h 150"/>
                <a:gd name="T6" fmla="*/ 31 w 150"/>
                <a:gd name="T7" fmla="*/ 84 h 150"/>
                <a:gd name="T8" fmla="*/ 31 w 150"/>
                <a:gd name="T9" fmla="*/ 65 h 150"/>
                <a:gd name="T10" fmla="*/ 37 w 150"/>
                <a:gd name="T11" fmla="*/ 49 h 150"/>
                <a:gd name="T12" fmla="*/ 50 w 150"/>
                <a:gd name="T13" fmla="*/ 37 h 150"/>
                <a:gd name="T14" fmla="*/ 66 w 150"/>
                <a:gd name="T15" fmla="*/ 31 h 150"/>
                <a:gd name="T16" fmla="*/ 85 w 150"/>
                <a:gd name="T17" fmla="*/ 31 h 150"/>
                <a:gd name="T18" fmla="*/ 101 w 150"/>
                <a:gd name="T19" fmla="*/ 37 h 150"/>
                <a:gd name="T20" fmla="*/ 113 w 150"/>
                <a:gd name="T21" fmla="*/ 49 h 150"/>
                <a:gd name="T22" fmla="*/ 120 w 150"/>
                <a:gd name="T23" fmla="*/ 65 h 150"/>
                <a:gd name="T24" fmla="*/ 120 w 150"/>
                <a:gd name="T25" fmla="*/ 84 h 150"/>
                <a:gd name="T26" fmla="*/ 113 w 150"/>
                <a:gd name="T27" fmla="*/ 100 h 150"/>
                <a:gd name="T28" fmla="*/ 101 w 150"/>
                <a:gd name="T29" fmla="*/ 113 h 150"/>
                <a:gd name="T30" fmla="*/ 85 w 150"/>
                <a:gd name="T31" fmla="*/ 119 h 150"/>
                <a:gd name="T32" fmla="*/ 75 w 150"/>
                <a:gd name="T33" fmla="*/ 0 h 150"/>
                <a:gd name="T34" fmla="*/ 60 w 150"/>
                <a:gd name="T35" fmla="*/ 1 h 150"/>
                <a:gd name="T36" fmla="*/ 46 w 150"/>
                <a:gd name="T37" fmla="*/ 5 h 150"/>
                <a:gd name="T38" fmla="*/ 33 w 150"/>
                <a:gd name="T39" fmla="*/ 13 h 150"/>
                <a:gd name="T40" fmla="*/ 22 w 150"/>
                <a:gd name="T41" fmla="*/ 21 h 150"/>
                <a:gd name="T42" fmla="*/ 13 w 150"/>
                <a:gd name="T43" fmla="*/ 33 h 150"/>
                <a:gd name="T44" fmla="*/ 6 w 150"/>
                <a:gd name="T45" fmla="*/ 46 h 150"/>
                <a:gd name="T46" fmla="*/ 2 w 150"/>
                <a:gd name="T47" fmla="*/ 60 h 150"/>
                <a:gd name="T48" fmla="*/ 0 w 150"/>
                <a:gd name="T49" fmla="*/ 75 h 150"/>
                <a:gd name="T50" fmla="*/ 2 w 150"/>
                <a:gd name="T51" fmla="*/ 90 h 150"/>
                <a:gd name="T52" fmla="*/ 6 w 150"/>
                <a:gd name="T53" fmla="*/ 104 h 150"/>
                <a:gd name="T54" fmla="*/ 13 w 150"/>
                <a:gd name="T55" fmla="*/ 117 h 150"/>
                <a:gd name="T56" fmla="*/ 22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5 w 150"/>
                <a:gd name="T69" fmla="*/ 145 h 150"/>
                <a:gd name="T70" fmla="*/ 117 w 150"/>
                <a:gd name="T71" fmla="*/ 137 h 150"/>
                <a:gd name="T72" fmla="*/ 129 w 150"/>
                <a:gd name="T73" fmla="*/ 128 h 150"/>
                <a:gd name="T74" fmla="*/ 137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1 h 150"/>
                <a:gd name="T90" fmla="*/ 117 w 150"/>
                <a:gd name="T91" fmla="*/ 13 h 150"/>
                <a:gd name="T92" fmla="*/ 105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4" y="107"/>
                  </a:lnTo>
                  <a:lnTo>
                    <a:pt x="37" y="100"/>
                  </a:lnTo>
                  <a:lnTo>
                    <a:pt x="34" y="92"/>
                  </a:lnTo>
                  <a:lnTo>
                    <a:pt x="31" y="84"/>
                  </a:lnTo>
                  <a:lnTo>
                    <a:pt x="30" y="75"/>
                  </a:lnTo>
                  <a:lnTo>
                    <a:pt x="31" y="65"/>
                  </a:lnTo>
                  <a:lnTo>
                    <a:pt x="34" y="58"/>
                  </a:lnTo>
                  <a:lnTo>
                    <a:pt x="37" y="49"/>
                  </a:lnTo>
                  <a:lnTo>
                    <a:pt x="44" y="43"/>
                  </a:lnTo>
                  <a:lnTo>
                    <a:pt x="50" y="37"/>
                  </a:lnTo>
                  <a:lnTo>
                    <a:pt x="58" y="33"/>
                  </a:lnTo>
                  <a:lnTo>
                    <a:pt x="66" y="31"/>
                  </a:lnTo>
                  <a:lnTo>
                    <a:pt x="75" y="30"/>
                  </a:lnTo>
                  <a:lnTo>
                    <a:pt x="85" y="31"/>
                  </a:lnTo>
                  <a:lnTo>
                    <a:pt x="93" y="33"/>
                  </a:lnTo>
                  <a:lnTo>
                    <a:pt x="101" y="37"/>
                  </a:lnTo>
                  <a:lnTo>
                    <a:pt x="107" y="43"/>
                  </a:lnTo>
                  <a:lnTo>
                    <a:pt x="113" y="49"/>
                  </a:lnTo>
                  <a:lnTo>
                    <a:pt x="117" y="58"/>
                  </a:lnTo>
                  <a:lnTo>
                    <a:pt x="120" y="65"/>
                  </a:lnTo>
                  <a:lnTo>
                    <a:pt x="120" y="75"/>
                  </a:lnTo>
                  <a:lnTo>
                    <a:pt x="120" y="84"/>
                  </a:lnTo>
                  <a:lnTo>
                    <a:pt x="117" y="92"/>
                  </a:lnTo>
                  <a:lnTo>
                    <a:pt x="113" y="100"/>
                  </a:lnTo>
                  <a:lnTo>
                    <a:pt x="107" y="107"/>
                  </a:lnTo>
                  <a:lnTo>
                    <a:pt x="101" y="113"/>
                  </a:lnTo>
                  <a:lnTo>
                    <a:pt x="93" y="117"/>
                  </a:lnTo>
                  <a:lnTo>
                    <a:pt x="85" y="119"/>
                  </a:lnTo>
                  <a:lnTo>
                    <a:pt x="75" y="120"/>
                  </a:lnTo>
                  <a:close/>
                  <a:moveTo>
                    <a:pt x="75" y="0"/>
                  </a:moveTo>
                  <a:lnTo>
                    <a:pt x="67" y="0"/>
                  </a:lnTo>
                  <a:lnTo>
                    <a:pt x="60" y="1"/>
                  </a:lnTo>
                  <a:lnTo>
                    <a:pt x="54" y="3"/>
                  </a:lnTo>
                  <a:lnTo>
                    <a:pt x="46" y="5"/>
                  </a:lnTo>
                  <a:lnTo>
                    <a:pt x="40" y="8"/>
                  </a:lnTo>
                  <a:lnTo>
                    <a:pt x="33" y="13"/>
                  </a:lnTo>
                  <a:lnTo>
                    <a:pt x="28" y="17"/>
                  </a:lnTo>
                  <a:lnTo>
                    <a:pt x="22" y="21"/>
                  </a:lnTo>
                  <a:lnTo>
                    <a:pt x="17" y="27"/>
                  </a:lnTo>
                  <a:lnTo>
                    <a:pt x="13" y="33"/>
                  </a:lnTo>
                  <a:lnTo>
                    <a:pt x="10" y="40"/>
                  </a:lnTo>
                  <a:lnTo>
                    <a:pt x="6" y="46"/>
                  </a:lnTo>
                  <a:lnTo>
                    <a:pt x="3" y="52"/>
                  </a:lnTo>
                  <a:lnTo>
                    <a:pt x="2" y="60"/>
                  </a:lnTo>
                  <a:lnTo>
                    <a:pt x="1" y="67"/>
                  </a:lnTo>
                  <a:lnTo>
                    <a:pt x="0" y="75"/>
                  </a:lnTo>
                  <a:lnTo>
                    <a:pt x="1" y="82"/>
                  </a:lnTo>
                  <a:lnTo>
                    <a:pt x="2" y="90"/>
                  </a:lnTo>
                  <a:lnTo>
                    <a:pt x="3" y="97"/>
                  </a:lnTo>
                  <a:lnTo>
                    <a:pt x="6" y="104"/>
                  </a:lnTo>
                  <a:lnTo>
                    <a:pt x="10" y="110"/>
                  </a:lnTo>
                  <a:lnTo>
                    <a:pt x="13" y="117"/>
                  </a:lnTo>
                  <a:lnTo>
                    <a:pt x="17" y="122"/>
                  </a:lnTo>
                  <a:lnTo>
                    <a:pt x="22" y="128"/>
                  </a:lnTo>
                  <a:lnTo>
                    <a:pt x="28" y="133"/>
                  </a:lnTo>
                  <a:lnTo>
                    <a:pt x="33" y="137"/>
                  </a:lnTo>
                  <a:lnTo>
                    <a:pt x="40" y="141"/>
                  </a:lnTo>
                  <a:lnTo>
                    <a:pt x="46" y="145"/>
                  </a:lnTo>
                  <a:lnTo>
                    <a:pt x="54" y="147"/>
                  </a:lnTo>
                  <a:lnTo>
                    <a:pt x="60" y="149"/>
                  </a:lnTo>
                  <a:lnTo>
                    <a:pt x="67" y="150"/>
                  </a:lnTo>
                  <a:lnTo>
                    <a:pt x="75" y="150"/>
                  </a:lnTo>
                  <a:lnTo>
                    <a:pt x="82" y="150"/>
                  </a:lnTo>
                  <a:lnTo>
                    <a:pt x="90" y="149"/>
                  </a:lnTo>
                  <a:lnTo>
                    <a:pt x="98" y="147"/>
                  </a:lnTo>
                  <a:lnTo>
                    <a:pt x="105" y="145"/>
                  </a:lnTo>
                  <a:lnTo>
                    <a:pt x="111" y="141"/>
                  </a:lnTo>
                  <a:lnTo>
                    <a:pt x="117" y="137"/>
                  </a:lnTo>
                  <a:lnTo>
                    <a:pt x="123" y="133"/>
                  </a:lnTo>
                  <a:lnTo>
                    <a:pt x="129" y="128"/>
                  </a:lnTo>
                  <a:lnTo>
                    <a:pt x="133" y="122"/>
                  </a:lnTo>
                  <a:lnTo>
                    <a:pt x="137" y="117"/>
                  </a:lnTo>
                  <a:lnTo>
                    <a:pt x="141" y="110"/>
                  </a:lnTo>
                  <a:lnTo>
                    <a:pt x="145" y="104"/>
                  </a:lnTo>
                  <a:lnTo>
                    <a:pt x="147" y="97"/>
                  </a:lnTo>
                  <a:lnTo>
                    <a:pt x="149" y="90"/>
                  </a:lnTo>
                  <a:lnTo>
                    <a:pt x="150" y="82"/>
                  </a:lnTo>
                  <a:lnTo>
                    <a:pt x="150" y="75"/>
                  </a:lnTo>
                  <a:lnTo>
                    <a:pt x="150" y="67"/>
                  </a:lnTo>
                  <a:lnTo>
                    <a:pt x="149" y="60"/>
                  </a:lnTo>
                  <a:lnTo>
                    <a:pt x="147" y="52"/>
                  </a:lnTo>
                  <a:lnTo>
                    <a:pt x="145" y="46"/>
                  </a:lnTo>
                  <a:lnTo>
                    <a:pt x="141" y="40"/>
                  </a:lnTo>
                  <a:lnTo>
                    <a:pt x="137" y="33"/>
                  </a:lnTo>
                  <a:lnTo>
                    <a:pt x="133" y="27"/>
                  </a:lnTo>
                  <a:lnTo>
                    <a:pt x="129" y="21"/>
                  </a:lnTo>
                  <a:lnTo>
                    <a:pt x="123" y="17"/>
                  </a:lnTo>
                  <a:lnTo>
                    <a:pt x="117" y="13"/>
                  </a:lnTo>
                  <a:lnTo>
                    <a:pt x="111" y="8"/>
                  </a:lnTo>
                  <a:lnTo>
                    <a:pt x="105" y="5"/>
                  </a:lnTo>
                  <a:lnTo>
                    <a:pt x="98"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85">
              <a:extLst>
                <a:ext uri="{FF2B5EF4-FFF2-40B4-BE49-F238E27FC236}">
                  <a16:creationId xmlns:a16="http://schemas.microsoft.com/office/drawing/2014/main" id="{1BE5A6C0-7E83-4EC3-9ADE-B8C3051F2C77}"/>
                </a:ext>
              </a:extLst>
            </p:cNvPr>
            <p:cNvSpPr>
              <a:spLocks noEditPoints="1"/>
            </p:cNvSpPr>
            <p:nvPr/>
          </p:nvSpPr>
          <p:spPr bwMode="auto">
            <a:xfrm>
              <a:off x="9347200" y="1017270"/>
              <a:ext cx="47625" cy="47625"/>
            </a:xfrm>
            <a:custGeom>
              <a:avLst/>
              <a:gdLst>
                <a:gd name="T0" fmla="*/ 65 w 150"/>
                <a:gd name="T1" fmla="*/ 119 h 150"/>
                <a:gd name="T2" fmla="*/ 49 w 150"/>
                <a:gd name="T3" fmla="*/ 113 h 150"/>
                <a:gd name="T4" fmla="*/ 37 w 150"/>
                <a:gd name="T5" fmla="*/ 100 h 150"/>
                <a:gd name="T6" fmla="*/ 31 w 150"/>
                <a:gd name="T7" fmla="*/ 84 h 150"/>
                <a:gd name="T8" fmla="*/ 31 w 150"/>
                <a:gd name="T9" fmla="*/ 65 h 150"/>
                <a:gd name="T10" fmla="*/ 37 w 150"/>
                <a:gd name="T11" fmla="*/ 49 h 150"/>
                <a:gd name="T12" fmla="*/ 49 w 150"/>
                <a:gd name="T13" fmla="*/ 37 h 150"/>
                <a:gd name="T14" fmla="*/ 65 w 150"/>
                <a:gd name="T15" fmla="*/ 31 h 150"/>
                <a:gd name="T16" fmla="*/ 83 w 150"/>
                <a:gd name="T17" fmla="*/ 31 h 150"/>
                <a:gd name="T18" fmla="*/ 99 w 150"/>
                <a:gd name="T19" fmla="*/ 37 h 150"/>
                <a:gd name="T20" fmla="*/ 112 w 150"/>
                <a:gd name="T21" fmla="*/ 49 h 150"/>
                <a:gd name="T22" fmla="*/ 119 w 150"/>
                <a:gd name="T23" fmla="*/ 65 h 150"/>
                <a:gd name="T24" fmla="*/ 119 w 150"/>
                <a:gd name="T25" fmla="*/ 84 h 150"/>
                <a:gd name="T26" fmla="*/ 112 w 150"/>
                <a:gd name="T27" fmla="*/ 100 h 150"/>
                <a:gd name="T28" fmla="*/ 99 w 150"/>
                <a:gd name="T29" fmla="*/ 113 h 150"/>
                <a:gd name="T30" fmla="*/ 83 w 150"/>
                <a:gd name="T31" fmla="*/ 119 h 150"/>
                <a:gd name="T32" fmla="*/ 75 w 150"/>
                <a:gd name="T33" fmla="*/ 0 h 150"/>
                <a:gd name="T34" fmla="*/ 60 w 150"/>
                <a:gd name="T35" fmla="*/ 1 h 150"/>
                <a:gd name="T36" fmla="*/ 46 w 150"/>
                <a:gd name="T37" fmla="*/ 5 h 150"/>
                <a:gd name="T38" fmla="*/ 33 w 150"/>
                <a:gd name="T39" fmla="*/ 13 h 150"/>
                <a:gd name="T40" fmla="*/ 21 w 150"/>
                <a:gd name="T41" fmla="*/ 21 h 150"/>
                <a:gd name="T42" fmla="*/ 12 w 150"/>
                <a:gd name="T43" fmla="*/ 33 h 150"/>
                <a:gd name="T44" fmla="*/ 5 w 150"/>
                <a:gd name="T45" fmla="*/ 46 h 150"/>
                <a:gd name="T46" fmla="*/ 1 w 150"/>
                <a:gd name="T47" fmla="*/ 60 h 150"/>
                <a:gd name="T48" fmla="*/ 0 w 150"/>
                <a:gd name="T49" fmla="*/ 75 h 150"/>
                <a:gd name="T50" fmla="*/ 1 w 150"/>
                <a:gd name="T51" fmla="*/ 90 h 150"/>
                <a:gd name="T52" fmla="*/ 5 w 150"/>
                <a:gd name="T53" fmla="*/ 104 h 150"/>
                <a:gd name="T54" fmla="*/ 12 w 150"/>
                <a:gd name="T55" fmla="*/ 117 h 150"/>
                <a:gd name="T56" fmla="*/ 21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6 w 150"/>
                <a:gd name="T71" fmla="*/ 137 h 150"/>
                <a:gd name="T72" fmla="*/ 127 w 150"/>
                <a:gd name="T73" fmla="*/ 128 h 150"/>
                <a:gd name="T74" fmla="*/ 137 w 150"/>
                <a:gd name="T75" fmla="*/ 117 h 150"/>
                <a:gd name="T76" fmla="*/ 143 w 150"/>
                <a:gd name="T77" fmla="*/ 104 h 150"/>
                <a:gd name="T78" fmla="*/ 148 w 150"/>
                <a:gd name="T79" fmla="*/ 90 h 150"/>
                <a:gd name="T80" fmla="*/ 150 w 150"/>
                <a:gd name="T81" fmla="*/ 75 h 150"/>
                <a:gd name="T82" fmla="*/ 148 w 150"/>
                <a:gd name="T83" fmla="*/ 60 h 150"/>
                <a:gd name="T84" fmla="*/ 143 w 150"/>
                <a:gd name="T85" fmla="*/ 46 h 150"/>
                <a:gd name="T86" fmla="*/ 137 w 150"/>
                <a:gd name="T87" fmla="*/ 33 h 150"/>
                <a:gd name="T88" fmla="*/ 127 w 150"/>
                <a:gd name="T89" fmla="*/ 21 h 150"/>
                <a:gd name="T90" fmla="*/ 116 w 150"/>
                <a:gd name="T91" fmla="*/ 13 h 150"/>
                <a:gd name="T92" fmla="*/ 104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5" y="119"/>
                  </a:lnTo>
                  <a:lnTo>
                    <a:pt x="56" y="117"/>
                  </a:lnTo>
                  <a:lnTo>
                    <a:pt x="49" y="113"/>
                  </a:lnTo>
                  <a:lnTo>
                    <a:pt x="43" y="107"/>
                  </a:lnTo>
                  <a:lnTo>
                    <a:pt x="37" y="100"/>
                  </a:lnTo>
                  <a:lnTo>
                    <a:pt x="33" y="92"/>
                  </a:lnTo>
                  <a:lnTo>
                    <a:pt x="31" y="84"/>
                  </a:lnTo>
                  <a:lnTo>
                    <a:pt x="30" y="75"/>
                  </a:lnTo>
                  <a:lnTo>
                    <a:pt x="31" y="65"/>
                  </a:lnTo>
                  <a:lnTo>
                    <a:pt x="33" y="58"/>
                  </a:lnTo>
                  <a:lnTo>
                    <a:pt x="37" y="49"/>
                  </a:lnTo>
                  <a:lnTo>
                    <a:pt x="43" y="43"/>
                  </a:lnTo>
                  <a:lnTo>
                    <a:pt x="49" y="37"/>
                  </a:lnTo>
                  <a:lnTo>
                    <a:pt x="56" y="33"/>
                  </a:lnTo>
                  <a:lnTo>
                    <a:pt x="65" y="31"/>
                  </a:lnTo>
                  <a:lnTo>
                    <a:pt x="75" y="30"/>
                  </a:lnTo>
                  <a:lnTo>
                    <a:pt x="83" y="31"/>
                  </a:lnTo>
                  <a:lnTo>
                    <a:pt x="92" y="33"/>
                  </a:lnTo>
                  <a:lnTo>
                    <a:pt x="99" y="37"/>
                  </a:lnTo>
                  <a:lnTo>
                    <a:pt x="107" y="43"/>
                  </a:lnTo>
                  <a:lnTo>
                    <a:pt x="112" y="49"/>
                  </a:lnTo>
                  <a:lnTo>
                    <a:pt x="116" y="58"/>
                  </a:lnTo>
                  <a:lnTo>
                    <a:pt x="119" y="65"/>
                  </a:lnTo>
                  <a:lnTo>
                    <a:pt x="120" y="75"/>
                  </a:lnTo>
                  <a:lnTo>
                    <a:pt x="119" y="84"/>
                  </a:lnTo>
                  <a:lnTo>
                    <a:pt x="116" y="92"/>
                  </a:lnTo>
                  <a:lnTo>
                    <a:pt x="112" y="100"/>
                  </a:lnTo>
                  <a:lnTo>
                    <a:pt x="107" y="107"/>
                  </a:lnTo>
                  <a:lnTo>
                    <a:pt x="99" y="113"/>
                  </a:lnTo>
                  <a:lnTo>
                    <a:pt x="92" y="117"/>
                  </a:lnTo>
                  <a:lnTo>
                    <a:pt x="83" y="119"/>
                  </a:lnTo>
                  <a:lnTo>
                    <a:pt x="75" y="120"/>
                  </a:lnTo>
                  <a:close/>
                  <a:moveTo>
                    <a:pt x="75" y="0"/>
                  </a:moveTo>
                  <a:lnTo>
                    <a:pt x="67" y="0"/>
                  </a:lnTo>
                  <a:lnTo>
                    <a:pt x="60" y="1"/>
                  </a:lnTo>
                  <a:lnTo>
                    <a:pt x="52" y="3"/>
                  </a:lnTo>
                  <a:lnTo>
                    <a:pt x="46" y="5"/>
                  </a:lnTo>
                  <a:lnTo>
                    <a:pt x="38" y="8"/>
                  </a:lnTo>
                  <a:lnTo>
                    <a:pt x="33" y="13"/>
                  </a:lnTo>
                  <a:lnTo>
                    <a:pt x="26" y="17"/>
                  </a:lnTo>
                  <a:lnTo>
                    <a:pt x="21" y="21"/>
                  </a:lnTo>
                  <a:lnTo>
                    <a:pt x="17" y="27"/>
                  </a:lnTo>
                  <a:lnTo>
                    <a:pt x="12" y="33"/>
                  </a:lnTo>
                  <a:lnTo>
                    <a:pt x="8" y="40"/>
                  </a:lnTo>
                  <a:lnTo>
                    <a:pt x="5" y="46"/>
                  </a:lnTo>
                  <a:lnTo>
                    <a:pt x="3" y="52"/>
                  </a:lnTo>
                  <a:lnTo>
                    <a:pt x="1" y="60"/>
                  </a:lnTo>
                  <a:lnTo>
                    <a:pt x="0" y="67"/>
                  </a:lnTo>
                  <a:lnTo>
                    <a:pt x="0" y="75"/>
                  </a:lnTo>
                  <a:lnTo>
                    <a:pt x="0" y="82"/>
                  </a:lnTo>
                  <a:lnTo>
                    <a:pt x="1" y="90"/>
                  </a:lnTo>
                  <a:lnTo>
                    <a:pt x="3" y="97"/>
                  </a:lnTo>
                  <a:lnTo>
                    <a:pt x="5" y="104"/>
                  </a:lnTo>
                  <a:lnTo>
                    <a:pt x="8" y="110"/>
                  </a:lnTo>
                  <a:lnTo>
                    <a:pt x="12" y="117"/>
                  </a:lnTo>
                  <a:lnTo>
                    <a:pt x="17" y="122"/>
                  </a:lnTo>
                  <a:lnTo>
                    <a:pt x="21" y="128"/>
                  </a:lnTo>
                  <a:lnTo>
                    <a:pt x="26" y="133"/>
                  </a:lnTo>
                  <a:lnTo>
                    <a:pt x="33" y="137"/>
                  </a:lnTo>
                  <a:lnTo>
                    <a:pt x="38" y="141"/>
                  </a:lnTo>
                  <a:lnTo>
                    <a:pt x="46" y="145"/>
                  </a:lnTo>
                  <a:lnTo>
                    <a:pt x="52" y="147"/>
                  </a:lnTo>
                  <a:lnTo>
                    <a:pt x="60" y="149"/>
                  </a:lnTo>
                  <a:lnTo>
                    <a:pt x="67" y="150"/>
                  </a:lnTo>
                  <a:lnTo>
                    <a:pt x="75" y="150"/>
                  </a:lnTo>
                  <a:lnTo>
                    <a:pt x="82" y="150"/>
                  </a:lnTo>
                  <a:lnTo>
                    <a:pt x="90" y="149"/>
                  </a:lnTo>
                  <a:lnTo>
                    <a:pt x="97" y="147"/>
                  </a:lnTo>
                  <a:lnTo>
                    <a:pt x="104" y="145"/>
                  </a:lnTo>
                  <a:lnTo>
                    <a:pt x="110" y="141"/>
                  </a:lnTo>
                  <a:lnTo>
                    <a:pt x="116" y="137"/>
                  </a:lnTo>
                  <a:lnTo>
                    <a:pt x="122" y="133"/>
                  </a:lnTo>
                  <a:lnTo>
                    <a:pt x="127" y="128"/>
                  </a:lnTo>
                  <a:lnTo>
                    <a:pt x="133" y="122"/>
                  </a:lnTo>
                  <a:lnTo>
                    <a:pt x="137" y="117"/>
                  </a:lnTo>
                  <a:lnTo>
                    <a:pt x="140" y="110"/>
                  </a:lnTo>
                  <a:lnTo>
                    <a:pt x="143" y="104"/>
                  </a:lnTo>
                  <a:lnTo>
                    <a:pt x="147" y="97"/>
                  </a:lnTo>
                  <a:lnTo>
                    <a:pt x="148" y="90"/>
                  </a:lnTo>
                  <a:lnTo>
                    <a:pt x="150" y="82"/>
                  </a:lnTo>
                  <a:lnTo>
                    <a:pt x="150" y="75"/>
                  </a:lnTo>
                  <a:lnTo>
                    <a:pt x="150" y="67"/>
                  </a:lnTo>
                  <a:lnTo>
                    <a:pt x="148" y="60"/>
                  </a:lnTo>
                  <a:lnTo>
                    <a:pt x="147" y="52"/>
                  </a:lnTo>
                  <a:lnTo>
                    <a:pt x="143" y="46"/>
                  </a:lnTo>
                  <a:lnTo>
                    <a:pt x="140" y="40"/>
                  </a:lnTo>
                  <a:lnTo>
                    <a:pt x="137" y="33"/>
                  </a:lnTo>
                  <a:lnTo>
                    <a:pt x="133" y="27"/>
                  </a:lnTo>
                  <a:lnTo>
                    <a:pt x="127" y="21"/>
                  </a:lnTo>
                  <a:lnTo>
                    <a:pt x="122" y="17"/>
                  </a:lnTo>
                  <a:lnTo>
                    <a:pt x="116" y="13"/>
                  </a:lnTo>
                  <a:lnTo>
                    <a:pt x="110" y="8"/>
                  </a:lnTo>
                  <a:lnTo>
                    <a:pt x="104" y="5"/>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0" name="Group 75">
            <a:extLst>
              <a:ext uri="{FF2B5EF4-FFF2-40B4-BE49-F238E27FC236}">
                <a16:creationId xmlns:a16="http://schemas.microsoft.com/office/drawing/2014/main" id="{D01FAE35-6C6B-4352-A8BD-978F8DC81A60}"/>
              </a:ext>
            </a:extLst>
          </p:cNvPr>
          <p:cNvGrpSpPr>
            <a:grpSpLocks noChangeAspect="1"/>
          </p:cNvGrpSpPr>
          <p:nvPr/>
        </p:nvGrpSpPr>
        <p:grpSpPr>
          <a:xfrm>
            <a:off x="671290" y="4340505"/>
            <a:ext cx="285619" cy="285619"/>
            <a:chOff x="7018338" y="779145"/>
            <a:chExt cx="285750" cy="285750"/>
          </a:xfrm>
          <a:solidFill>
            <a:schemeClr val="bg2"/>
          </a:solidFill>
          <a:effectLst/>
        </p:grpSpPr>
        <p:sp>
          <p:nvSpPr>
            <p:cNvPr id="1111" name="Freeform 194">
              <a:extLst>
                <a:ext uri="{FF2B5EF4-FFF2-40B4-BE49-F238E27FC236}">
                  <a16:creationId xmlns:a16="http://schemas.microsoft.com/office/drawing/2014/main" id="{4780AEC8-A1C2-493F-AFE1-E275408BEA7F}"/>
                </a:ext>
              </a:extLst>
            </p:cNvPr>
            <p:cNvSpPr>
              <a:spLocks noEditPoints="1"/>
            </p:cNvSpPr>
            <p:nvPr/>
          </p:nvSpPr>
          <p:spPr bwMode="auto">
            <a:xfrm>
              <a:off x="7018338" y="779145"/>
              <a:ext cx="285750" cy="285750"/>
            </a:xfrm>
            <a:custGeom>
              <a:avLst/>
              <a:gdLst>
                <a:gd name="T0" fmla="*/ 30 w 901"/>
                <a:gd name="T1" fmla="*/ 451 h 902"/>
                <a:gd name="T2" fmla="*/ 871 w 901"/>
                <a:gd name="T3" fmla="*/ 421 h 902"/>
                <a:gd name="T4" fmla="*/ 70 w 901"/>
                <a:gd name="T5" fmla="*/ 481 h 902"/>
                <a:gd name="T6" fmla="*/ 107 w 901"/>
                <a:gd name="T7" fmla="*/ 222 h 902"/>
                <a:gd name="T8" fmla="*/ 140 w 901"/>
                <a:gd name="T9" fmla="*/ 156 h 902"/>
                <a:gd name="T10" fmla="*/ 189 w 901"/>
                <a:gd name="T11" fmla="*/ 104 h 902"/>
                <a:gd name="T12" fmla="*/ 252 w 901"/>
                <a:gd name="T13" fmla="*/ 71 h 902"/>
                <a:gd name="T14" fmla="*/ 306 w 901"/>
                <a:gd name="T15" fmla="*/ 67 h 902"/>
                <a:gd name="T16" fmla="*/ 330 w 901"/>
                <a:gd name="T17" fmla="*/ 85 h 902"/>
                <a:gd name="T18" fmla="*/ 541 w 901"/>
                <a:gd name="T19" fmla="*/ 90 h 902"/>
                <a:gd name="T20" fmla="*/ 580 w 901"/>
                <a:gd name="T21" fmla="*/ 82 h 902"/>
                <a:gd name="T22" fmla="*/ 598 w 901"/>
                <a:gd name="T23" fmla="*/ 61 h 902"/>
                <a:gd name="T24" fmla="*/ 667 w 901"/>
                <a:gd name="T25" fmla="*/ 77 h 902"/>
                <a:gd name="T26" fmla="*/ 727 w 901"/>
                <a:gd name="T27" fmla="*/ 115 h 902"/>
                <a:gd name="T28" fmla="*/ 772 w 901"/>
                <a:gd name="T29" fmla="*/ 172 h 902"/>
                <a:gd name="T30" fmla="*/ 800 w 901"/>
                <a:gd name="T31" fmla="*/ 241 h 902"/>
                <a:gd name="T32" fmla="*/ 361 w 901"/>
                <a:gd name="T33" fmla="*/ 30 h 902"/>
                <a:gd name="T34" fmla="*/ 565 w 901"/>
                <a:gd name="T35" fmla="*/ 36 h 902"/>
                <a:gd name="T36" fmla="*/ 570 w 901"/>
                <a:gd name="T37" fmla="*/ 50 h 902"/>
                <a:gd name="T38" fmla="*/ 551 w 901"/>
                <a:gd name="T39" fmla="*/ 60 h 902"/>
                <a:gd name="T40" fmla="*/ 342 w 901"/>
                <a:gd name="T41" fmla="*/ 58 h 902"/>
                <a:gd name="T42" fmla="*/ 331 w 901"/>
                <a:gd name="T43" fmla="*/ 45 h 902"/>
                <a:gd name="T44" fmla="*/ 341 w 901"/>
                <a:gd name="T45" fmla="*/ 33 h 902"/>
                <a:gd name="T46" fmla="*/ 861 w 901"/>
                <a:gd name="T47" fmla="*/ 391 h 902"/>
                <a:gd name="T48" fmla="*/ 807 w 901"/>
                <a:gd name="T49" fmla="*/ 174 h 902"/>
                <a:gd name="T50" fmla="*/ 760 w 901"/>
                <a:gd name="T51" fmla="*/ 106 h 902"/>
                <a:gd name="T52" fmla="*/ 696 w 901"/>
                <a:gd name="T53" fmla="*/ 58 h 902"/>
                <a:gd name="T54" fmla="*/ 618 w 901"/>
                <a:gd name="T55" fmla="*/ 32 h 902"/>
                <a:gd name="T56" fmla="*/ 583 w 901"/>
                <a:gd name="T57" fmla="*/ 12 h 902"/>
                <a:gd name="T58" fmla="*/ 550 w 901"/>
                <a:gd name="T59" fmla="*/ 0 h 902"/>
                <a:gd name="T60" fmla="*/ 343 w 901"/>
                <a:gd name="T61" fmla="*/ 2 h 902"/>
                <a:gd name="T62" fmla="*/ 313 w 901"/>
                <a:gd name="T63" fmla="*/ 17 h 902"/>
                <a:gd name="T64" fmla="*/ 263 w 901"/>
                <a:gd name="T65" fmla="*/ 37 h 902"/>
                <a:gd name="T66" fmla="*/ 189 w 901"/>
                <a:gd name="T67" fmla="*/ 68 h 902"/>
                <a:gd name="T68" fmla="*/ 128 w 901"/>
                <a:gd name="T69" fmla="*/ 121 h 902"/>
                <a:gd name="T70" fmla="*/ 85 w 901"/>
                <a:gd name="T71" fmla="*/ 193 h 902"/>
                <a:gd name="T72" fmla="*/ 15 w 901"/>
                <a:gd name="T73" fmla="*/ 391 h 902"/>
                <a:gd name="T74" fmla="*/ 4 w 901"/>
                <a:gd name="T75" fmla="*/ 396 h 902"/>
                <a:gd name="T76" fmla="*/ 0 w 901"/>
                <a:gd name="T77" fmla="*/ 406 h 902"/>
                <a:gd name="T78" fmla="*/ 3 w 901"/>
                <a:gd name="T79" fmla="*/ 474 h 902"/>
                <a:gd name="T80" fmla="*/ 12 w 901"/>
                <a:gd name="T81" fmla="*/ 481 h 902"/>
                <a:gd name="T82" fmla="*/ 116 w 901"/>
                <a:gd name="T83" fmla="*/ 895 h 902"/>
                <a:gd name="T84" fmla="*/ 773 w 901"/>
                <a:gd name="T85" fmla="*/ 902 h 902"/>
                <a:gd name="T86" fmla="*/ 788 w 901"/>
                <a:gd name="T87" fmla="*/ 890 h 902"/>
                <a:gd name="T88" fmla="*/ 893 w 901"/>
                <a:gd name="T89" fmla="*/ 480 h 902"/>
                <a:gd name="T90" fmla="*/ 900 w 901"/>
                <a:gd name="T91" fmla="*/ 472 h 902"/>
                <a:gd name="T92" fmla="*/ 901 w 901"/>
                <a:gd name="T93" fmla="*/ 403 h 902"/>
                <a:gd name="T94" fmla="*/ 895 w 901"/>
                <a:gd name="T95" fmla="*/ 39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1" h="902">
                  <a:moveTo>
                    <a:pt x="871" y="451"/>
                  </a:moveTo>
                  <a:lnTo>
                    <a:pt x="849" y="451"/>
                  </a:lnTo>
                  <a:lnTo>
                    <a:pt x="53" y="451"/>
                  </a:lnTo>
                  <a:lnTo>
                    <a:pt x="30" y="451"/>
                  </a:lnTo>
                  <a:lnTo>
                    <a:pt x="30" y="421"/>
                  </a:lnTo>
                  <a:lnTo>
                    <a:pt x="53" y="421"/>
                  </a:lnTo>
                  <a:lnTo>
                    <a:pt x="849" y="421"/>
                  </a:lnTo>
                  <a:lnTo>
                    <a:pt x="871" y="421"/>
                  </a:lnTo>
                  <a:lnTo>
                    <a:pt x="871" y="451"/>
                  </a:lnTo>
                  <a:close/>
                  <a:moveTo>
                    <a:pt x="761" y="872"/>
                  </a:moveTo>
                  <a:lnTo>
                    <a:pt x="141" y="872"/>
                  </a:lnTo>
                  <a:lnTo>
                    <a:pt x="70" y="481"/>
                  </a:lnTo>
                  <a:lnTo>
                    <a:pt x="831" y="481"/>
                  </a:lnTo>
                  <a:lnTo>
                    <a:pt x="761" y="872"/>
                  </a:lnTo>
                  <a:close/>
                  <a:moveTo>
                    <a:pt x="103" y="241"/>
                  </a:moveTo>
                  <a:lnTo>
                    <a:pt x="107" y="222"/>
                  </a:lnTo>
                  <a:lnTo>
                    <a:pt x="113" y="205"/>
                  </a:lnTo>
                  <a:lnTo>
                    <a:pt x="121" y="188"/>
                  </a:lnTo>
                  <a:lnTo>
                    <a:pt x="129" y="172"/>
                  </a:lnTo>
                  <a:lnTo>
                    <a:pt x="140" y="156"/>
                  </a:lnTo>
                  <a:lnTo>
                    <a:pt x="151" y="142"/>
                  </a:lnTo>
                  <a:lnTo>
                    <a:pt x="163" y="128"/>
                  </a:lnTo>
                  <a:lnTo>
                    <a:pt x="176" y="115"/>
                  </a:lnTo>
                  <a:lnTo>
                    <a:pt x="189" y="104"/>
                  </a:lnTo>
                  <a:lnTo>
                    <a:pt x="203" y="93"/>
                  </a:lnTo>
                  <a:lnTo>
                    <a:pt x="220" y="85"/>
                  </a:lnTo>
                  <a:lnTo>
                    <a:pt x="235" y="77"/>
                  </a:lnTo>
                  <a:lnTo>
                    <a:pt x="252" y="71"/>
                  </a:lnTo>
                  <a:lnTo>
                    <a:pt x="269" y="66"/>
                  </a:lnTo>
                  <a:lnTo>
                    <a:pt x="286" y="62"/>
                  </a:lnTo>
                  <a:lnTo>
                    <a:pt x="303" y="61"/>
                  </a:lnTo>
                  <a:lnTo>
                    <a:pt x="306" y="67"/>
                  </a:lnTo>
                  <a:lnTo>
                    <a:pt x="311" y="72"/>
                  </a:lnTo>
                  <a:lnTo>
                    <a:pt x="316" y="77"/>
                  </a:lnTo>
                  <a:lnTo>
                    <a:pt x="321" y="82"/>
                  </a:lnTo>
                  <a:lnTo>
                    <a:pt x="330" y="85"/>
                  </a:lnTo>
                  <a:lnTo>
                    <a:pt x="339" y="88"/>
                  </a:lnTo>
                  <a:lnTo>
                    <a:pt x="349" y="89"/>
                  </a:lnTo>
                  <a:lnTo>
                    <a:pt x="361" y="90"/>
                  </a:lnTo>
                  <a:lnTo>
                    <a:pt x="541" y="90"/>
                  </a:lnTo>
                  <a:lnTo>
                    <a:pt x="553" y="89"/>
                  </a:lnTo>
                  <a:lnTo>
                    <a:pt x="564" y="88"/>
                  </a:lnTo>
                  <a:lnTo>
                    <a:pt x="572" y="85"/>
                  </a:lnTo>
                  <a:lnTo>
                    <a:pt x="580" y="82"/>
                  </a:lnTo>
                  <a:lnTo>
                    <a:pt x="586" y="77"/>
                  </a:lnTo>
                  <a:lnTo>
                    <a:pt x="592" y="72"/>
                  </a:lnTo>
                  <a:lnTo>
                    <a:pt x="596" y="67"/>
                  </a:lnTo>
                  <a:lnTo>
                    <a:pt x="598" y="61"/>
                  </a:lnTo>
                  <a:lnTo>
                    <a:pt x="616" y="62"/>
                  </a:lnTo>
                  <a:lnTo>
                    <a:pt x="633" y="66"/>
                  </a:lnTo>
                  <a:lnTo>
                    <a:pt x="651" y="71"/>
                  </a:lnTo>
                  <a:lnTo>
                    <a:pt x="667" y="77"/>
                  </a:lnTo>
                  <a:lnTo>
                    <a:pt x="683" y="85"/>
                  </a:lnTo>
                  <a:lnTo>
                    <a:pt x="698" y="93"/>
                  </a:lnTo>
                  <a:lnTo>
                    <a:pt x="713" y="104"/>
                  </a:lnTo>
                  <a:lnTo>
                    <a:pt x="727" y="115"/>
                  </a:lnTo>
                  <a:lnTo>
                    <a:pt x="740" y="128"/>
                  </a:lnTo>
                  <a:lnTo>
                    <a:pt x="751" y="142"/>
                  </a:lnTo>
                  <a:lnTo>
                    <a:pt x="762" y="156"/>
                  </a:lnTo>
                  <a:lnTo>
                    <a:pt x="772" y="172"/>
                  </a:lnTo>
                  <a:lnTo>
                    <a:pt x="780" y="188"/>
                  </a:lnTo>
                  <a:lnTo>
                    <a:pt x="789" y="205"/>
                  </a:lnTo>
                  <a:lnTo>
                    <a:pt x="794" y="222"/>
                  </a:lnTo>
                  <a:lnTo>
                    <a:pt x="800" y="241"/>
                  </a:lnTo>
                  <a:lnTo>
                    <a:pt x="831" y="391"/>
                  </a:lnTo>
                  <a:lnTo>
                    <a:pt x="72" y="391"/>
                  </a:lnTo>
                  <a:lnTo>
                    <a:pt x="103" y="241"/>
                  </a:lnTo>
                  <a:close/>
                  <a:moveTo>
                    <a:pt x="361" y="30"/>
                  </a:moveTo>
                  <a:lnTo>
                    <a:pt x="541" y="30"/>
                  </a:lnTo>
                  <a:lnTo>
                    <a:pt x="551" y="31"/>
                  </a:lnTo>
                  <a:lnTo>
                    <a:pt x="560" y="33"/>
                  </a:lnTo>
                  <a:lnTo>
                    <a:pt x="565" y="36"/>
                  </a:lnTo>
                  <a:lnTo>
                    <a:pt x="568" y="39"/>
                  </a:lnTo>
                  <a:lnTo>
                    <a:pt x="570" y="42"/>
                  </a:lnTo>
                  <a:lnTo>
                    <a:pt x="571" y="45"/>
                  </a:lnTo>
                  <a:lnTo>
                    <a:pt x="570" y="50"/>
                  </a:lnTo>
                  <a:lnTo>
                    <a:pt x="568" y="53"/>
                  </a:lnTo>
                  <a:lnTo>
                    <a:pt x="565" y="56"/>
                  </a:lnTo>
                  <a:lnTo>
                    <a:pt x="560" y="58"/>
                  </a:lnTo>
                  <a:lnTo>
                    <a:pt x="551" y="60"/>
                  </a:lnTo>
                  <a:lnTo>
                    <a:pt x="541" y="60"/>
                  </a:lnTo>
                  <a:lnTo>
                    <a:pt x="361" y="60"/>
                  </a:lnTo>
                  <a:lnTo>
                    <a:pt x="351" y="59"/>
                  </a:lnTo>
                  <a:lnTo>
                    <a:pt x="342" y="58"/>
                  </a:lnTo>
                  <a:lnTo>
                    <a:pt x="337" y="56"/>
                  </a:lnTo>
                  <a:lnTo>
                    <a:pt x="334" y="53"/>
                  </a:lnTo>
                  <a:lnTo>
                    <a:pt x="331" y="50"/>
                  </a:lnTo>
                  <a:lnTo>
                    <a:pt x="331" y="45"/>
                  </a:lnTo>
                  <a:lnTo>
                    <a:pt x="331" y="42"/>
                  </a:lnTo>
                  <a:lnTo>
                    <a:pt x="333" y="39"/>
                  </a:lnTo>
                  <a:lnTo>
                    <a:pt x="336" y="36"/>
                  </a:lnTo>
                  <a:lnTo>
                    <a:pt x="341" y="33"/>
                  </a:lnTo>
                  <a:lnTo>
                    <a:pt x="350" y="31"/>
                  </a:lnTo>
                  <a:lnTo>
                    <a:pt x="361" y="30"/>
                  </a:lnTo>
                  <a:close/>
                  <a:moveTo>
                    <a:pt x="886" y="391"/>
                  </a:moveTo>
                  <a:lnTo>
                    <a:pt x="861" y="391"/>
                  </a:lnTo>
                  <a:lnTo>
                    <a:pt x="829" y="235"/>
                  </a:lnTo>
                  <a:lnTo>
                    <a:pt x="823" y="214"/>
                  </a:lnTo>
                  <a:lnTo>
                    <a:pt x="816" y="193"/>
                  </a:lnTo>
                  <a:lnTo>
                    <a:pt x="807" y="174"/>
                  </a:lnTo>
                  <a:lnTo>
                    <a:pt x="797" y="156"/>
                  </a:lnTo>
                  <a:lnTo>
                    <a:pt x="786" y="137"/>
                  </a:lnTo>
                  <a:lnTo>
                    <a:pt x="774" y="121"/>
                  </a:lnTo>
                  <a:lnTo>
                    <a:pt x="760" y="106"/>
                  </a:lnTo>
                  <a:lnTo>
                    <a:pt x="745" y="92"/>
                  </a:lnTo>
                  <a:lnTo>
                    <a:pt x="729" y="80"/>
                  </a:lnTo>
                  <a:lnTo>
                    <a:pt x="713" y="68"/>
                  </a:lnTo>
                  <a:lnTo>
                    <a:pt x="696" y="58"/>
                  </a:lnTo>
                  <a:lnTo>
                    <a:pt x="677" y="48"/>
                  </a:lnTo>
                  <a:lnTo>
                    <a:pt x="658" y="42"/>
                  </a:lnTo>
                  <a:lnTo>
                    <a:pt x="639" y="37"/>
                  </a:lnTo>
                  <a:lnTo>
                    <a:pt x="618" y="32"/>
                  </a:lnTo>
                  <a:lnTo>
                    <a:pt x="598" y="31"/>
                  </a:lnTo>
                  <a:lnTo>
                    <a:pt x="595" y="24"/>
                  </a:lnTo>
                  <a:lnTo>
                    <a:pt x="589" y="17"/>
                  </a:lnTo>
                  <a:lnTo>
                    <a:pt x="583" y="12"/>
                  </a:lnTo>
                  <a:lnTo>
                    <a:pt x="575" y="8"/>
                  </a:lnTo>
                  <a:lnTo>
                    <a:pt x="568" y="4"/>
                  </a:lnTo>
                  <a:lnTo>
                    <a:pt x="559" y="2"/>
                  </a:lnTo>
                  <a:lnTo>
                    <a:pt x="550" y="0"/>
                  </a:lnTo>
                  <a:lnTo>
                    <a:pt x="541" y="0"/>
                  </a:lnTo>
                  <a:lnTo>
                    <a:pt x="361" y="0"/>
                  </a:lnTo>
                  <a:lnTo>
                    <a:pt x="351" y="0"/>
                  </a:lnTo>
                  <a:lnTo>
                    <a:pt x="343" y="2"/>
                  </a:lnTo>
                  <a:lnTo>
                    <a:pt x="334" y="4"/>
                  </a:lnTo>
                  <a:lnTo>
                    <a:pt x="326" y="8"/>
                  </a:lnTo>
                  <a:lnTo>
                    <a:pt x="319" y="12"/>
                  </a:lnTo>
                  <a:lnTo>
                    <a:pt x="313" y="17"/>
                  </a:lnTo>
                  <a:lnTo>
                    <a:pt x="307" y="24"/>
                  </a:lnTo>
                  <a:lnTo>
                    <a:pt x="303" y="31"/>
                  </a:lnTo>
                  <a:lnTo>
                    <a:pt x="283" y="32"/>
                  </a:lnTo>
                  <a:lnTo>
                    <a:pt x="263" y="37"/>
                  </a:lnTo>
                  <a:lnTo>
                    <a:pt x="244" y="42"/>
                  </a:lnTo>
                  <a:lnTo>
                    <a:pt x="225" y="48"/>
                  </a:lnTo>
                  <a:lnTo>
                    <a:pt x="207" y="58"/>
                  </a:lnTo>
                  <a:lnTo>
                    <a:pt x="189" y="68"/>
                  </a:lnTo>
                  <a:lnTo>
                    <a:pt x="172" y="80"/>
                  </a:lnTo>
                  <a:lnTo>
                    <a:pt x="156" y="92"/>
                  </a:lnTo>
                  <a:lnTo>
                    <a:pt x="142" y="106"/>
                  </a:lnTo>
                  <a:lnTo>
                    <a:pt x="128" y="121"/>
                  </a:lnTo>
                  <a:lnTo>
                    <a:pt x="116" y="139"/>
                  </a:lnTo>
                  <a:lnTo>
                    <a:pt x="105" y="156"/>
                  </a:lnTo>
                  <a:lnTo>
                    <a:pt x="94" y="174"/>
                  </a:lnTo>
                  <a:lnTo>
                    <a:pt x="85" y="193"/>
                  </a:lnTo>
                  <a:lnTo>
                    <a:pt x="78" y="214"/>
                  </a:lnTo>
                  <a:lnTo>
                    <a:pt x="73" y="235"/>
                  </a:lnTo>
                  <a:lnTo>
                    <a:pt x="40" y="391"/>
                  </a:lnTo>
                  <a:lnTo>
                    <a:pt x="15" y="391"/>
                  </a:lnTo>
                  <a:lnTo>
                    <a:pt x="12" y="392"/>
                  </a:lnTo>
                  <a:lnTo>
                    <a:pt x="9" y="392"/>
                  </a:lnTo>
                  <a:lnTo>
                    <a:pt x="6" y="394"/>
                  </a:lnTo>
                  <a:lnTo>
                    <a:pt x="4" y="396"/>
                  </a:lnTo>
                  <a:lnTo>
                    <a:pt x="3" y="398"/>
                  </a:lnTo>
                  <a:lnTo>
                    <a:pt x="1" y="400"/>
                  </a:lnTo>
                  <a:lnTo>
                    <a:pt x="1" y="403"/>
                  </a:lnTo>
                  <a:lnTo>
                    <a:pt x="0" y="406"/>
                  </a:lnTo>
                  <a:lnTo>
                    <a:pt x="0" y="466"/>
                  </a:lnTo>
                  <a:lnTo>
                    <a:pt x="1" y="469"/>
                  </a:lnTo>
                  <a:lnTo>
                    <a:pt x="1" y="472"/>
                  </a:lnTo>
                  <a:lnTo>
                    <a:pt x="3" y="474"/>
                  </a:lnTo>
                  <a:lnTo>
                    <a:pt x="4" y="476"/>
                  </a:lnTo>
                  <a:lnTo>
                    <a:pt x="6" y="478"/>
                  </a:lnTo>
                  <a:lnTo>
                    <a:pt x="9" y="480"/>
                  </a:lnTo>
                  <a:lnTo>
                    <a:pt x="12" y="481"/>
                  </a:lnTo>
                  <a:lnTo>
                    <a:pt x="15" y="482"/>
                  </a:lnTo>
                  <a:lnTo>
                    <a:pt x="40" y="481"/>
                  </a:lnTo>
                  <a:lnTo>
                    <a:pt x="113" y="890"/>
                  </a:lnTo>
                  <a:lnTo>
                    <a:pt x="116" y="895"/>
                  </a:lnTo>
                  <a:lnTo>
                    <a:pt x="119" y="899"/>
                  </a:lnTo>
                  <a:lnTo>
                    <a:pt x="123" y="901"/>
                  </a:lnTo>
                  <a:lnTo>
                    <a:pt x="128" y="902"/>
                  </a:lnTo>
                  <a:lnTo>
                    <a:pt x="773" y="902"/>
                  </a:lnTo>
                  <a:lnTo>
                    <a:pt x="778" y="901"/>
                  </a:lnTo>
                  <a:lnTo>
                    <a:pt x="782" y="899"/>
                  </a:lnTo>
                  <a:lnTo>
                    <a:pt x="786" y="895"/>
                  </a:lnTo>
                  <a:lnTo>
                    <a:pt x="788" y="890"/>
                  </a:lnTo>
                  <a:lnTo>
                    <a:pt x="862" y="481"/>
                  </a:lnTo>
                  <a:lnTo>
                    <a:pt x="886" y="481"/>
                  </a:lnTo>
                  <a:lnTo>
                    <a:pt x="890" y="481"/>
                  </a:lnTo>
                  <a:lnTo>
                    <a:pt x="893" y="480"/>
                  </a:lnTo>
                  <a:lnTo>
                    <a:pt x="895" y="478"/>
                  </a:lnTo>
                  <a:lnTo>
                    <a:pt x="897" y="476"/>
                  </a:lnTo>
                  <a:lnTo>
                    <a:pt x="899" y="474"/>
                  </a:lnTo>
                  <a:lnTo>
                    <a:pt x="900" y="472"/>
                  </a:lnTo>
                  <a:lnTo>
                    <a:pt x="901" y="469"/>
                  </a:lnTo>
                  <a:lnTo>
                    <a:pt x="901" y="467"/>
                  </a:lnTo>
                  <a:lnTo>
                    <a:pt x="901" y="406"/>
                  </a:lnTo>
                  <a:lnTo>
                    <a:pt x="901" y="403"/>
                  </a:lnTo>
                  <a:lnTo>
                    <a:pt x="900" y="400"/>
                  </a:lnTo>
                  <a:lnTo>
                    <a:pt x="899" y="398"/>
                  </a:lnTo>
                  <a:lnTo>
                    <a:pt x="897" y="396"/>
                  </a:lnTo>
                  <a:lnTo>
                    <a:pt x="895" y="394"/>
                  </a:lnTo>
                  <a:lnTo>
                    <a:pt x="893" y="393"/>
                  </a:lnTo>
                  <a:lnTo>
                    <a:pt x="890" y="392"/>
                  </a:lnTo>
                  <a:lnTo>
                    <a:pt x="886"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95">
              <a:extLst>
                <a:ext uri="{FF2B5EF4-FFF2-40B4-BE49-F238E27FC236}">
                  <a16:creationId xmlns:a16="http://schemas.microsoft.com/office/drawing/2014/main" id="{66785397-5460-4E12-B96D-DBCD3FB44BA1}"/>
                </a:ext>
              </a:extLst>
            </p:cNvPr>
            <p:cNvSpPr>
              <a:spLocks/>
            </p:cNvSpPr>
            <p:nvPr/>
          </p:nvSpPr>
          <p:spPr bwMode="auto">
            <a:xfrm>
              <a:off x="7189788" y="947420"/>
              <a:ext cx="9525" cy="82550"/>
            </a:xfrm>
            <a:custGeom>
              <a:avLst/>
              <a:gdLst>
                <a:gd name="T0" fmla="*/ 15 w 30"/>
                <a:gd name="T1" fmla="*/ 257 h 257"/>
                <a:gd name="T2" fmla="*/ 18 w 30"/>
                <a:gd name="T3" fmla="*/ 257 h 257"/>
                <a:gd name="T4" fmla="*/ 21 w 30"/>
                <a:gd name="T5" fmla="*/ 256 h 257"/>
                <a:gd name="T6" fmla="*/ 24 w 30"/>
                <a:gd name="T7" fmla="*/ 255 h 257"/>
                <a:gd name="T8" fmla="*/ 26 w 30"/>
                <a:gd name="T9" fmla="*/ 253 h 257"/>
                <a:gd name="T10" fmla="*/ 28 w 30"/>
                <a:gd name="T11" fmla="*/ 251 h 257"/>
                <a:gd name="T12" fmla="*/ 29 w 30"/>
                <a:gd name="T13" fmla="*/ 248 h 257"/>
                <a:gd name="T14" fmla="*/ 30 w 30"/>
                <a:gd name="T15" fmla="*/ 246 h 257"/>
                <a:gd name="T16" fmla="*/ 30 w 30"/>
                <a:gd name="T17" fmla="*/ 242 h 257"/>
                <a:gd name="T18" fmla="*/ 30 w 30"/>
                <a:gd name="T19" fmla="*/ 15 h 257"/>
                <a:gd name="T20" fmla="*/ 30 w 30"/>
                <a:gd name="T21" fmla="*/ 12 h 257"/>
                <a:gd name="T22" fmla="*/ 29 w 30"/>
                <a:gd name="T23" fmla="*/ 9 h 257"/>
                <a:gd name="T24" fmla="*/ 28 w 30"/>
                <a:gd name="T25" fmla="*/ 6 h 257"/>
                <a:gd name="T26" fmla="*/ 26 w 30"/>
                <a:gd name="T27" fmla="*/ 4 h 257"/>
                <a:gd name="T28" fmla="*/ 24 w 30"/>
                <a:gd name="T29" fmla="*/ 2 h 257"/>
                <a:gd name="T30" fmla="*/ 21 w 30"/>
                <a:gd name="T31" fmla="*/ 1 h 257"/>
                <a:gd name="T32" fmla="*/ 18 w 30"/>
                <a:gd name="T33" fmla="*/ 0 h 257"/>
                <a:gd name="T34" fmla="*/ 15 w 30"/>
                <a:gd name="T35" fmla="*/ 0 h 257"/>
                <a:gd name="T36" fmla="*/ 12 w 30"/>
                <a:gd name="T37" fmla="*/ 0 h 257"/>
                <a:gd name="T38" fmla="*/ 9 w 30"/>
                <a:gd name="T39" fmla="*/ 1 h 257"/>
                <a:gd name="T40" fmla="*/ 7 w 30"/>
                <a:gd name="T41" fmla="*/ 2 h 257"/>
                <a:gd name="T42" fmla="*/ 4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4 w 30"/>
                <a:gd name="T61" fmla="*/ 253 h 257"/>
                <a:gd name="T62" fmla="*/ 7 w 30"/>
                <a:gd name="T63" fmla="*/ 255 h 257"/>
                <a:gd name="T64" fmla="*/ 9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8" y="257"/>
                  </a:lnTo>
                  <a:lnTo>
                    <a:pt x="21" y="256"/>
                  </a:lnTo>
                  <a:lnTo>
                    <a:pt x="24" y="255"/>
                  </a:lnTo>
                  <a:lnTo>
                    <a:pt x="26" y="253"/>
                  </a:lnTo>
                  <a:lnTo>
                    <a:pt x="28" y="251"/>
                  </a:lnTo>
                  <a:lnTo>
                    <a:pt x="29" y="248"/>
                  </a:lnTo>
                  <a:lnTo>
                    <a:pt x="30" y="246"/>
                  </a:lnTo>
                  <a:lnTo>
                    <a:pt x="30" y="242"/>
                  </a:lnTo>
                  <a:lnTo>
                    <a:pt x="30" y="15"/>
                  </a:lnTo>
                  <a:lnTo>
                    <a:pt x="30" y="12"/>
                  </a:lnTo>
                  <a:lnTo>
                    <a:pt x="29" y="9"/>
                  </a:lnTo>
                  <a:lnTo>
                    <a:pt x="28" y="6"/>
                  </a:lnTo>
                  <a:lnTo>
                    <a:pt x="26" y="4"/>
                  </a:lnTo>
                  <a:lnTo>
                    <a:pt x="24" y="2"/>
                  </a:lnTo>
                  <a:lnTo>
                    <a:pt x="21" y="1"/>
                  </a:lnTo>
                  <a:lnTo>
                    <a:pt x="18" y="0"/>
                  </a:lnTo>
                  <a:lnTo>
                    <a:pt x="15" y="0"/>
                  </a:lnTo>
                  <a:lnTo>
                    <a:pt x="12" y="0"/>
                  </a:lnTo>
                  <a:lnTo>
                    <a:pt x="9" y="1"/>
                  </a:lnTo>
                  <a:lnTo>
                    <a:pt x="7" y="2"/>
                  </a:lnTo>
                  <a:lnTo>
                    <a:pt x="4" y="4"/>
                  </a:lnTo>
                  <a:lnTo>
                    <a:pt x="2" y="6"/>
                  </a:lnTo>
                  <a:lnTo>
                    <a:pt x="1" y="9"/>
                  </a:lnTo>
                  <a:lnTo>
                    <a:pt x="0" y="12"/>
                  </a:lnTo>
                  <a:lnTo>
                    <a:pt x="0" y="15"/>
                  </a:lnTo>
                  <a:lnTo>
                    <a:pt x="0" y="242"/>
                  </a:lnTo>
                  <a:lnTo>
                    <a:pt x="0" y="246"/>
                  </a:lnTo>
                  <a:lnTo>
                    <a:pt x="1" y="248"/>
                  </a:lnTo>
                  <a:lnTo>
                    <a:pt x="2" y="251"/>
                  </a:lnTo>
                  <a:lnTo>
                    <a:pt x="4" y="253"/>
                  </a:lnTo>
                  <a:lnTo>
                    <a:pt x="7" y="255"/>
                  </a:lnTo>
                  <a:lnTo>
                    <a:pt x="9"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96">
              <a:extLst>
                <a:ext uri="{FF2B5EF4-FFF2-40B4-BE49-F238E27FC236}">
                  <a16:creationId xmlns:a16="http://schemas.microsoft.com/office/drawing/2014/main" id="{155432B9-278B-44CA-90C6-BC672B17C9FC}"/>
                </a:ext>
              </a:extLst>
            </p:cNvPr>
            <p:cNvSpPr>
              <a:spLocks/>
            </p:cNvSpPr>
            <p:nvPr/>
          </p:nvSpPr>
          <p:spPr bwMode="auto">
            <a:xfrm>
              <a:off x="7227888" y="947420"/>
              <a:ext cx="9525" cy="82550"/>
            </a:xfrm>
            <a:custGeom>
              <a:avLst/>
              <a:gdLst>
                <a:gd name="T0" fmla="*/ 15 w 30"/>
                <a:gd name="T1" fmla="*/ 257 h 257"/>
                <a:gd name="T2" fmla="*/ 18 w 30"/>
                <a:gd name="T3" fmla="*/ 257 h 257"/>
                <a:gd name="T4" fmla="*/ 22 w 30"/>
                <a:gd name="T5" fmla="*/ 256 h 257"/>
                <a:gd name="T6" fmla="*/ 24 w 30"/>
                <a:gd name="T7" fmla="*/ 255 h 257"/>
                <a:gd name="T8" fmla="*/ 26 w 30"/>
                <a:gd name="T9" fmla="*/ 253 h 257"/>
                <a:gd name="T10" fmla="*/ 28 w 30"/>
                <a:gd name="T11" fmla="*/ 251 h 257"/>
                <a:gd name="T12" fmla="*/ 29 w 30"/>
                <a:gd name="T13" fmla="*/ 248 h 257"/>
                <a:gd name="T14" fmla="*/ 30 w 30"/>
                <a:gd name="T15" fmla="*/ 246 h 257"/>
                <a:gd name="T16" fmla="*/ 30 w 30"/>
                <a:gd name="T17" fmla="*/ 242 h 257"/>
                <a:gd name="T18" fmla="*/ 30 w 30"/>
                <a:gd name="T19" fmla="*/ 15 h 257"/>
                <a:gd name="T20" fmla="*/ 30 w 30"/>
                <a:gd name="T21" fmla="*/ 12 h 257"/>
                <a:gd name="T22" fmla="*/ 29 w 30"/>
                <a:gd name="T23" fmla="*/ 9 h 257"/>
                <a:gd name="T24" fmla="*/ 28 w 30"/>
                <a:gd name="T25" fmla="*/ 6 h 257"/>
                <a:gd name="T26" fmla="*/ 26 w 30"/>
                <a:gd name="T27" fmla="*/ 4 h 257"/>
                <a:gd name="T28" fmla="*/ 24 w 30"/>
                <a:gd name="T29" fmla="*/ 2 h 257"/>
                <a:gd name="T30" fmla="*/ 22 w 30"/>
                <a:gd name="T31" fmla="*/ 1 h 257"/>
                <a:gd name="T32" fmla="*/ 18 w 30"/>
                <a:gd name="T33" fmla="*/ 0 h 257"/>
                <a:gd name="T34" fmla="*/ 15 w 30"/>
                <a:gd name="T35" fmla="*/ 0 h 257"/>
                <a:gd name="T36" fmla="*/ 12 w 30"/>
                <a:gd name="T37" fmla="*/ 0 h 257"/>
                <a:gd name="T38" fmla="*/ 10 w 30"/>
                <a:gd name="T39" fmla="*/ 1 h 257"/>
                <a:gd name="T40" fmla="*/ 7 w 30"/>
                <a:gd name="T41" fmla="*/ 2 h 257"/>
                <a:gd name="T42" fmla="*/ 5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5 w 30"/>
                <a:gd name="T61" fmla="*/ 253 h 257"/>
                <a:gd name="T62" fmla="*/ 7 w 30"/>
                <a:gd name="T63" fmla="*/ 255 h 257"/>
                <a:gd name="T64" fmla="*/ 10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8" y="257"/>
                  </a:lnTo>
                  <a:lnTo>
                    <a:pt x="22" y="256"/>
                  </a:lnTo>
                  <a:lnTo>
                    <a:pt x="24" y="255"/>
                  </a:lnTo>
                  <a:lnTo>
                    <a:pt x="26" y="253"/>
                  </a:lnTo>
                  <a:lnTo>
                    <a:pt x="28" y="251"/>
                  </a:lnTo>
                  <a:lnTo>
                    <a:pt x="29" y="248"/>
                  </a:lnTo>
                  <a:lnTo>
                    <a:pt x="30" y="246"/>
                  </a:lnTo>
                  <a:lnTo>
                    <a:pt x="30" y="242"/>
                  </a:lnTo>
                  <a:lnTo>
                    <a:pt x="30" y="15"/>
                  </a:lnTo>
                  <a:lnTo>
                    <a:pt x="30" y="12"/>
                  </a:lnTo>
                  <a:lnTo>
                    <a:pt x="29" y="9"/>
                  </a:lnTo>
                  <a:lnTo>
                    <a:pt x="28" y="6"/>
                  </a:lnTo>
                  <a:lnTo>
                    <a:pt x="26" y="4"/>
                  </a:lnTo>
                  <a:lnTo>
                    <a:pt x="24" y="2"/>
                  </a:lnTo>
                  <a:lnTo>
                    <a:pt x="22" y="1"/>
                  </a:lnTo>
                  <a:lnTo>
                    <a:pt x="18" y="0"/>
                  </a:lnTo>
                  <a:lnTo>
                    <a:pt x="15" y="0"/>
                  </a:lnTo>
                  <a:lnTo>
                    <a:pt x="12" y="0"/>
                  </a:lnTo>
                  <a:lnTo>
                    <a:pt x="10" y="1"/>
                  </a:lnTo>
                  <a:lnTo>
                    <a:pt x="7" y="2"/>
                  </a:lnTo>
                  <a:lnTo>
                    <a:pt x="5" y="4"/>
                  </a:lnTo>
                  <a:lnTo>
                    <a:pt x="2" y="6"/>
                  </a:lnTo>
                  <a:lnTo>
                    <a:pt x="1" y="9"/>
                  </a:lnTo>
                  <a:lnTo>
                    <a:pt x="0" y="12"/>
                  </a:lnTo>
                  <a:lnTo>
                    <a:pt x="0" y="15"/>
                  </a:lnTo>
                  <a:lnTo>
                    <a:pt x="0" y="242"/>
                  </a:lnTo>
                  <a:lnTo>
                    <a:pt x="0" y="246"/>
                  </a:lnTo>
                  <a:lnTo>
                    <a:pt x="1" y="248"/>
                  </a:lnTo>
                  <a:lnTo>
                    <a:pt x="2" y="251"/>
                  </a:lnTo>
                  <a:lnTo>
                    <a:pt x="5" y="253"/>
                  </a:lnTo>
                  <a:lnTo>
                    <a:pt x="7" y="255"/>
                  </a:lnTo>
                  <a:lnTo>
                    <a:pt x="10"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97">
              <a:extLst>
                <a:ext uri="{FF2B5EF4-FFF2-40B4-BE49-F238E27FC236}">
                  <a16:creationId xmlns:a16="http://schemas.microsoft.com/office/drawing/2014/main" id="{7BB615E8-77B8-49BA-9F75-5B1BC1B53E6D}"/>
                </a:ext>
              </a:extLst>
            </p:cNvPr>
            <p:cNvSpPr>
              <a:spLocks/>
            </p:cNvSpPr>
            <p:nvPr/>
          </p:nvSpPr>
          <p:spPr bwMode="auto">
            <a:xfrm>
              <a:off x="7123113" y="947420"/>
              <a:ext cx="9525" cy="82550"/>
            </a:xfrm>
            <a:custGeom>
              <a:avLst/>
              <a:gdLst>
                <a:gd name="T0" fmla="*/ 15 w 30"/>
                <a:gd name="T1" fmla="*/ 257 h 257"/>
                <a:gd name="T2" fmla="*/ 17 w 30"/>
                <a:gd name="T3" fmla="*/ 257 h 257"/>
                <a:gd name="T4" fmla="*/ 20 w 30"/>
                <a:gd name="T5" fmla="*/ 256 h 257"/>
                <a:gd name="T6" fmla="*/ 23 w 30"/>
                <a:gd name="T7" fmla="*/ 255 h 257"/>
                <a:gd name="T8" fmla="*/ 26 w 30"/>
                <a:gd name="T9" fmla="*/ 253 h 257"/>
                <a:gd name="T10" fmla="*/ 27 w 30"/>
                <a:gd name="T11" fmla="*/ 251 h 257"/>
                <a:gd name="T12" fmla="*/ 29 w 30"/>
                <a:gd name="T13" fmla="*/ 248 h 257"/>
                <a:gd name="T14" fmla="*/ 29 w 30"/>
                <a:gd name="T15" fmla="*/ 246 h 257"/>
                <a:gd name="T16" fmla="*/ 30 w 30"/>
                <a:gd name="T17" fmla="*/ 242 h 257"/>
                <a:gd name="T18" fmla="*/ 30 w 30"/>
                <a:gd name="T19" fmla="*/ 15 h 257"/>
                <a:gd name="T20" fmla="*/ 29 w 30"/>
                <a:gd name="T21" fmla="*/ 12 h 257"/>
                <a:gd name="T22" fmla="*/ 29 w 30"/>
                <a:gd name="T23" fmla="*/ 9 h 257"/>
                <a:gd name="T24" fmla="*/ 27 w 30"/>
                <a:gd name="T25" fmla="*/ 6 h 257"/>
                <a:gd name="T26" fmla="*/ 26 w 30"/>
                <a:gd name="T27" fmla="*/ 4 h 257"/>
                <a:gd name="T28" fmla="*/ 23 w 30"/>
                <a:gd name="T29" fmla="*/ 2 h 257"/>
                <a:gd name="T30" fmla="*/ 20 w 30"/>
                <a:gd name="T31" fmla="*/ 1 h 257"/>
                <a:gd name="T32" fmla="*/ 17 w 30"/>
                <a:gd name="T33" fmla="*/ 0 h 257"/>
                <a:gd name="T34" fmla="*/ 15 w 30"/>
                <a:gd name="T35" fmla="*/ 0 h 257"/>
                <a:gd name="T36" fmla="*/ 12 w 30"/>
                <a:gd name="T37" fmla="*/ 0 h 257"/>
                <a:gd name="T38" fmla="*/ 9 w 30"/>
                <a:gd name="T39" fmla="*/ 1 h 257"/>
                <a:gd name="T40" fmla="*/ 6 w 30"/>
                <a:gd name="T41" fmla="*/ 2 h 257"/>
                <a:gd name="T42" fmla="*/ 4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4 w 30"/>
                <a:gd name="T61" fmla="*/ 253 h 257"/>
                <a:gd name="T62" fmla="*/ 6 w 30"/>
                <a:gd name="T63" fmla="*/ 255 h 257"/>
                <a:gd name="T64" fmla="*/ 9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7" y="257"/>
                  </a:lnTo>
                  <a:lnTo>
                    <a:pt x="20" y="256"/>
                  </a:lnTo>
                  <a:lnTo>
                    <a:pt x="23" y="255"/>
                  </a:lnTo>
                  <a:lnTo>
                    <a:pt x="26" y="253"/>
                  </a:lnTo>
                  <a:lnTo>
                    <a:pt x="27" y="251"/>
                  </a:lnTo>
                  <a:lnTo>
                    <a:pt x="29" y="248"/>
                  </a:lnTo>
                  <a:lnTo>
                    <a:pt x="29" y="246"/>
                  </a:lnTo>
                  <a:lnTo>
                    <a:pt x="30" y="242"/>
                  </a:lnTo>
                  <a:lnTo>
                    <a:pt x="30" y="15"/>
                  </a:lnTo>
                  <a:lnTo>
                    <a:pt x="29" y="12"/>
                  </a:lnTo>
                  <a:lnTo>
                    <a:pt x="29" y="9"/>
                  </a:lnTo>
                  <a:lnTo>
                    <a:pt x="27" y="6"/>
                  </a:lnTo>
                  <a:lnTo>
                    <a:pt x="26" y="4"/>
                  </a:lnTo>
                  <a:lnTo>
                    <a:pt x="23" y="2"/>
                  </a:lnTo>
                  <a:lnTo>
                    <a:pt x="20" y="1"/>
                  </a:lnTo>
                  <a:lnTo>
                    <a:pt x="17" y="0"/>
                  </a:lnTo>
                  <a:lnTo>
                    <a:pt x="15" y="0"/>
                  </a:lnTo>
                  <a:lnTo>
                    <a:pt x="12" y="0"/>
                  </a:lnTo>
                  <a:lnTo>
                    <a:pt x="9" y="1"/>
                  </a:lnTo>
                  <a:lnTo>
                    <a:pt x="6" y="2"/>
                  </a:lnTo>
                  <a:lnTo>
                    <a:pt x="4" y="4"/>
                  </a:lnTo>
                  <a:lnTo>
                    <a:pt x="2" y="6"/>
                  </a:lnTo>
                  <a:lnTo>
                    <a:pt x="1" y="9"/>
                  </a:lnTo>
                  <a:lnTo>
                    <a:pt x="0" y="12"/>
                  </a:lnTo>
                  <a:lnTo>
                    <a:pt x="0" y="15"/>
                  </a:lnTo>
                  <a:lnTo>
                    <a:pt x="0" y="242"/>
                  </a:lnTo>
                  <a:lnTo>
                    <a:pt x="0" y="246"/>
                  </a:lnTo>
                  <a:lnTo>
                    <a:pt x="1" y="248"/>
                  </a:lnTo>
                  <a:lnTo>
                    <a:pt x="2" y="251"/>
                  </a:lnTo>
                  <a:lnTo>
                    <a:pt x="4" y="253"/>
                  </a:lnTo>
                  <a:lnTo>
                    <a:pt x="6" y="255"/>
                  </a:lnTo>
                  <a:lnTo>
                    <a:pt x="9"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98">
              <a:extLst>
                <a:ext uri="{FF2B5EF4-FFF2-40B4-BE49-F238E27FC236}">
                  <a16:creationId xmlns:a16="http://schemas.microsoft.com/office/drawing/2014/main" id="{695F44A0-52FC-434D-B095-AD52104CFD81}"/>
                </a:ext>
              </a:extLst>
            </p:cNvPr>
            <p:cNvSpPr>
              <a:spLocks/>
            </p:cNvSpPr>
            <p:nvPr/>
          </p:nvSpPr>
          <p:spPr bwMode="auto">
            <a:xfrm>
              <a:off x="7085013" y="947420"/>
              <a:ext cx="9525" cy="82550"/>
            </a:xfrm>
            <a:custGeom>
              <a:avLst/>
              <a:gdLst>
                <a:gd name="T0" fmla="*/ 16 w 31"/>
                <a:gd name="T1" fmla="*/ 257 h 257"/>
                <a:gd name="T2" fmla="*/ 18 w 31"/>
                <a:gd name="T3" fmla="*/ 257 h 257"/>
                <a:gd name="T4" fmla="*/ 21 w 31"/>
                <a:gd name="T5" fmla="*/ 256 h 257"/>
                <a:gd name="T6" fmla="*/ 23 w 31"/>
                <a:gd name="T7" fmla="*/ 255 h 257"/>
                <a:gd name="T8" fmla="*/ 26 w 31"/>
                <a:gd name="T9" fmla="*/ 253 h 257"/>
                <a:gd name="T10" fmla="*/ 28 w 31"/>
                <a:gd name="T11" fmla="*/ 251 h 257"/>
                <a:gd name="T12" fmla="*/ 29 w 31"/>
                <a:gd name="T13" fmla="*/ 248 h 257"/>
                <a:gd name="T14" fmla="*/ 30 w 31"/>
                <a:gd name="T15" fmla="*/ 246 h 257"/>
                <a:gd name="T16" fmla="*/ 31 w 31"/>
                <a:gd name="T17" fmla="*/ 242 h 257"/>
                <a:gd name="T18" fmla="*/ 31 w 31"/>
                <a:gd name="T19" fmla="*/ 15 h 257"/>
                <a:gd name="T20" fmla="*/ 30 w 31"/>
                <a:gd name="T21" fmla="*/ 12 h 257"/>
                <a:gd name="T22" fmla="*/ 29 w 31"/>
                <a:gd name="T23" fmla="*/ 9 h 257"/>
                <a:gd name="T24" fmla="*/ 28 w 31"/>
                <a:gd name="T25" fmla="*/ 6 h 257"/>
                <a:gd name="T26" fmla="*/ 26 w 31"/>
                <a:gd name="T27" fmla="*/ 4 h 257"/>
                <a:gd name="T28" fmla="*/ 23 w 31"/>
                <a:gd name="T29" fmla="*/ 2 h 257"/>
                <a:gd name="T30" fmla="*/ 21 w 31"/>
                <a:gd name="T31" fmla="*/ 1 h 257"/>
                <a:gd name="T32" fmla="*/ 18 w 31"/>
                <a:gd name="T33" fmla="*/ 0 h 257"/>
                <a:gd name="T34" fmla="*/ 16 w 31"/>
                <a:gd name="T35" fmla="*/ 0 h 257"/>
                <a:gd name="T36" fmla="*/ 13 w 31"/>
                <a:gd name="T37" fmla="*/ 0 h 257"/>
                <a:gd name="T38" fmla="*/ 10 w 31"/>
                <a:gd name="T39" fmla="*/ 1 h 257"/>
                <a:gd name="T40" fmla="*/ 7 w 31"/>
                <a:gd name="T41" fmla="*/ 2 h 257"/>
                <a:gd name="T42" fmla="*/ 5 w 31"/>
                <a:gd name="T43" fmla="*/ 4 h 257"/>
                <a:gd name="T44" fmla="*/ 3 w 31"/>
                <a:gd name="T45" fmla="*/ 6 h 257"/>
                <a:gd name="T46" fmla="*/ 2 w 31"/>
                <a:gd name="T47" fmla="*/ 9 h 257"/>
                <a:gd name="T48" fmla="*/ 1 w 31"/>
                <a:gd name="T49" fmla="*/ 12 h 257"/>
                <a:gd name="T50" fmla="*/ 0 w 31"/>
                <a:gd name="T51" fmla="*/ 15 h 257"/>
                <a:gd name="T52" fmla="*/ 0 w 31"/>
                <a:gd name="T53" fmla="*/ 242 h 257"/>
                <a:gd name="T54" fmla="*/ 1 w 31"/>
                <a:gd name="T55" fmla="*/ 246 h 257"/>
                <a:gd name="T56" fmla="*/ 2 w 31"/>
                <a:gd name="T57" fmla="*/ 248 h 257"/>
                <a:gd name="T58" fmla="*/ 3 w 31"/>
                <a:gd name="T59" fmla="*/ 251 h 257"/>
                <a:gd name="T60" fmla="*/ 5 w 31"/>
                <a:gd name="T61" fmla="*/ 253 h 257"/>
                <a:gd name="T62" fmla="*/ 7 w 31"/>
                <a:gd name="T63" fmla="*/ 255 h 257"/>
                <a:gd name="T64" fmla="*/ 10 w 31"/>
                <a:gd name="T65" fmla="*/ 256 h 257"/>
                <a:gd name="T66" fmla="*/ 13 w 31"/>
                <a:gd name="T67" fmla="*/ 257 h 257"/>
                <a:gd name="T68" fmla="*/ 16 w 31"/>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57">
                  <a:moveTo>
                    <a:pt x="16" y="257"/>
                  </a:moveTo>
                  <a:lnTo>
                    <a:pt x="18" y="257"/>
                  </a:lnTo>
                  <a:lnTo>
                    <a:pt x="21" y="256"/>
                  </a:lnTo>
                  <a:lnTo>
                    <a:pt x="23" y="255"/>
                  </a:lnTo>
                  <a:lnTo>
                    <a:pt x="26" y="253"/>
                  </a:lnTo>
                  <a:lnTo>
                    <a:pt x="28" y="251"/>
                  </a:lnTo>
                  <a:lnTo>
                    <a:pt x="29" y="248"/>
                  </a:lnTo>
                  <a:lnTo>
                    <a:pt x="30" y="246"/>
                  </a:lnTo>
                  <a:lnTo>
                    <a:pt x="31" y="242"/>
                  </a:lnTo>
                  <a:lnTo>
                    <a:pt x="31" y="15"/>
                  </a:lnTo>
                  <a:lnTo>
                    <a:pt x="30" y="12"/>
                  </a:lnTo>
                  <a:lnTo>
                    <a:pt x="29" y="9"/>
                  </a:lnTo>
                  <a:lnTo>
                    <a:pt x="28" y="6"/>
                  </a:lnTo>
                  <a:lnTo>
                    <a:pt x="26" y="4"/>
                  </a:lnTo>
                  <a:lnTo>
                    <a:pt x="23" y="2"/>
                  </a:lnTo>
                  <a:lnTo>
                    <a:pt x="21" y="1"/>
                  </a:lnTo>
                  <a:lnTo>
                    <a:pt x="18" y="0"/>
                  </a:lnTo>
                  <a:lnTo>
                    <a:pt x="16" y="0"/>
                  </a:lnTo>
                  <a:lnTo>
                    <a:pt x="13" y="0"/>
                  </a:lnTo>
                  <a:lnTo>
                    <a:pt x="10" y="1"/>
                  </a:lnTo>
                  <a:lnTo>
                    <a:pt x="7" y="2"/>
                  </a:lnTo>
                  <a:lnTo>
                    <a:pt x="5" y="4"/>
                  </a:lnTo>
                  <a:lnTo>
                    <a:pt x="3" y="6"/>
                  </a:lnTo>
                  <a:lnTo>
                    <a:pt x="2" y="9"/>
                  </a:lnTo>
                  <a:lnTo>
                    <a:pt x="1" y="12"/>
                  </a:lnTo>
                  <a:lnTo>
                    <a:pt x="0" y="15"/>
                  </a:lnTo>
                  <a:lnTo>
                    <a:pt x="0" y="242"/>
                  </a:lnTo>
                  <a:lnTo>
                    <a:pt x="1" y="246"/>
                  </a:lnTo>
                  <a:lnTo>
                    <a:pt x="2" y="248"/>
                  </a:lnTo>
                  <a:lnTo>
                    <a:pt x="3" y="251"/>
                  </a:lnTo>
                  <a:lnTo>
                    <a:pt x="5" y="253"/>
                  </a:lnTo>
                  <a:lnTo>
                    <a:pt x="7" y="255"/>
                  </a:lnTo>
                  <a:lnTo>
                    <a:pt x="10" y="256"/>
                  </a:lnTo>
                  <a:lnTo>
                    <a:pt x="13" y="257"/>
                  </a:lnTo>
                  <a:lnTo>
                    <a:pt x="16"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8" name="Group 290">
            <a:extLst>
              <a:ext uri="{FF2B5EF4-FFF2-40B4-BE49-F238E27FC236}">
                <a16:creationId xmlns:a16="http://schemas.microsoft.com/office/drawing/2014/main" id="{7949E59F-6A88-4655-9A8A-CD9C868B706F}"/>
              </a:ext>
            </a:extLst>
          </p:cNvPr>
          <p:cNvGrpSpPr>
            <a:grpSpLocks noChangeAspect="1"/>
          </p:cNvGrpSpPr>
          <p:nvPr/>
        </p:nvGrpSpPr>
        <p:grpSpPr>
          <a:xfrm>
            <a:off x="1074069" y="4340505"/>
            <a:ext cx="290459" cy="285619"/>
            <a:chOff x="7018338" y="1356995"/>
            <a:chExt cx="285750" cy="280988"/>
          </a:xfrm>
          <a:solidFill>
            <a:schemeClr val="bg2"/>
          </a:solidFill>
          <a:effectLst/>
        </p:grpSpPr>
        <p:sp>
          <p:nvSpPr>
            <p:cNvPr id="1189" name="Freeform 231">
              <a:extLst>
                <a:ext uri="{FF2B5EF4-FFF2-40B4-BE49-F238E27FC236}">
                  <a16:creationId xmlns:a16="http://schemas.microsoft.com/office/drawing/2014/main" id="{73DC3B26-E8BB-48FD-978B-65FE03A5D967}"/>
                </a:ext>
              </a:extLst>
            </p:cNvPr>
            <p:cNvSpPr>
              <a:spLocks noEditPoints="1"/>
            </p:cNvSpPr>
            <p:nvPr/>
          </p:nvSpPr>
          <p:spPr bwMode="auto">
            <a:xfrm>
              <a:off x="7185025" y="1590358"/>
              <a:ext cx="47625" cy="47625"/>
            </a:xfrm>
            <a:custGeom>
              <a:avLst/>
              <a:gdLst>
                <a:gd name="T0" fmla="*/ 67 w 150"/>
                <a:gd name="T1" fmla="*/ 119 h 150"/>
                <a:gd name="T2" fmla="*/ 49 w 150"/>
                <a:gd name="T3" fmla="*/ 112 h 150"/>
                <a:gd name="T4" fmla="*/ 38 w 150"/>
                <a:gd name="T5" fmla="*/ 100 h 150"/>
                <a:gd name="T6" fmla="*/ 31 w 150"/>
                <a:gd name="T7" fmla="*/ 84 h 150"/>
                <a:gd name="T8" fmla="*/ 31 w 150"/>
                <a:gd name="T9" fmla="*/ 66 h 150"/>
                <a:gd name="T10" fmla="*/ 38 w 150"/>
                <a:gd name="T11" fmla="*/ 50 h 150"/>
                <a:gd name="T12" fmla="*/ 49 w 150"/>
                <a:gd name="T13" fmla="*/ 37 h 150"/>
                <a:gd name="T14" fmla="*/ 67 w 150"/>
                <a:gd name="T15" fmla="*/ 31 h 150"/>
                <a:gd name="T16" fmla="*/ 84 w 150"/>
                <a:gd name="T17" fmla="*/ 31 h 150"/>
                <a:gd name="T18" fmla="*/ 100 w 150"/>
                <a:gd name="T19" fmla="*/ 37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19 h 150"/>
                <a:gd name="T32" fmla="*/ 75 w 150"/>
                <a:gd name="T33" fmla="*/ 0 h 150"/>
                <a:gd name="T34" fmla="*/ 60 w 150"/>
                <a:gd name="T35" fmla="*/ 2 h 150"/>
                <a:gd name="T36" fmla="*/ 46 w 150"/>
                <a:gd name="T37" fmla="*/ 6 h 150"/>
                <a:gd name="T38" fmla="*/ 33 w 150"/>
                <a:gd name="T39" fmla="*/ 12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6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9 w 150"/>
                <a:gd name="T73" fmla="*/ 128 h 150"/>
                <a:gd name="T74" fmla="*/ 137 w 150"/>
                <a:gd name="T75" fmla="*/ 116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7" y="119"/>
                  </a:lnTo>
                  <a:lnTo>
                    <a:pt x="58" y="116"/>
                  </a:lnTo>
                  <a:lnTo>
                    <a:pt x="49" y="112"/>
                  </a:lnTo>
                  <a:lnTo>
                    <a:pt x="43" y="107"/>
                  </a:lnTo>
                  <a:lnTo>
                    <a:pt x="38" y="100"/>
                  </a:lnTo>
                  <a:lnTo>
                    <a:pt x="33" y="93"/>
                  </a:lnTo>
                  <a:lnTo>
                    <a:pt x="31" y="84"/>
                  </a:lnTo>
                  <a:lnTo>
                    <a:pt x="30" y="75"/>
                  </a:lnTo>
                  <a:lnTo>
                    <a:pt x="31" y="66"/>
                  </a:lnTo>
                  <a:lnTo>
                    <a:pt x="33" y="58"/>
                  </a:lnTo>
                  <a:lnTo>
                    <a:pt x="38" y="50"/>
                  </a:lnTo>
                  <a:lnTo>
                    <a:pt x="43" y="42"/>
                  </a:lnTo>
                  <a:lnTo>
                    <a:pt x="49" y="37"/>
                  </a:lnTo>
                  <a:lnTo>
                    <a:pt x="58" y="33"/>
                  </a:lnTo>
                  <a:lnTo>
                    <a:pt x="67" y="31"/>
                  </a:lnTo>
                  <a:lnTo>
                    <a:pt x="75" y="30"/>
                  </a:lnTo>
                  <a:lnTo>
                    <a:pt x="84" y="31"/>
                  </a:lnTo>
                  <a:lnTo>
                    <a:pt x="92" y="33"/>
                  </a:lnTo>
                  <a:lnTo>
                    <a:pt x="100" y="37"/>
                  </a:lnTo>
                  <a:lnTo>
                    <a:pt x="107" y="42"/>
                  </a:lnTo>
                  <a:lnTo>
                    <a:pt x="113" y="50"/>
                  </a:lnTo>
                  <a:lnTo>
                    <a:pt x="117" y="58"/>
                  </a:lnTo>
                  <a:lnTo>
                    <a:pt x="119" y="66"/>
                  </a:lnTo>
                  <a:lnTo>
                    <a:pt x="120" y="75"/>
                  </a:lnTo>
                  <a:lnTo>
                    <a:pt x="119" y="84"/>
                  </a:lnTo>
                  <a:lnTo>
                    <a:pt x="117" y="93"/>
                  </a:lnTo>
                  <a:lnTo>
                    <a:pt x="113" y="100"/>
                  </a:lnTo>
                  <a:lnTo>
                    <a:pt x="107" y="107"/>
                  </a:lnTo>
                  <a:lnTo>
                    <a:pt x="100" y="112"/>
                  </a:lnTo>
                  <a:lnTo>
                    <a:pt x="92" y="116"/>
                  </a:lnTo>
                  <a:lnTo>
                    <a:pt x="84" y="119"/>
                  </a:lnTo>
                  <a:lnTo>
                    <a:pt x="75" y="120"/>
                  </a:lnTo>
                  <a:close/>
                  <a:moveTo>
                    <a:pt x="75" y="0"/>
                  </a:moveTo>
                  <a:lnTo>
                    <a:pt x="68" y="0"/>
                  </a:lnTo>
                  <a:lnTo>
                    <a:pt x="60" y="2"/>
                  </a:lnTo>
                  <a:lnTo>
                    <a:pt x="53" y="3"/>
                  </a:lnTo>
                  <a:lnTo>
                    <a:pt x="46" y="6"/>
                  </a:lnTo>
                  <a:lnTo>
                    <a:pt x="40" y="9"/>
                  </a:lnTo>
                  <a:lnTo>
                    <a:pt x="33" y="12"/>
                  </a:lnTo>
                  <a:lnTo>
                    <a:pt x="27" y="17"/>
                  </a:lnTo>
                  <a:lnTo>
                    <a:pt x="22" y="22"/>
                  </a:lnTo>
                  <a:lnTo>
                    <a:pt x="17" y="27"/>
                  </a:lnTo>
                  <a:lnTo>
                    <a:pt x="13" y="33"/>
                  </a:lnTo>
                  <a:lnTo>
                    <a:pt x="9" y="39"/>
                  </a:lnTo>
                  <a:lnTo>
                    <a:pt x="6" y="46"/>
                  </a:lnTo>
                  <a:lnTo>
                    <a:pt x="3" y="52"/>
                  </a:lnTo>
                  <a:lnTo>
                    <a:pt x="1" y="60"/>
                  </a:lnTo>
                  <a:lnTo>
                    <a:pt x="0" y="67"/>
                  </a:lnTo>
                  <a:lnTo>
                    <a:pt x="0" y="75"/>
                  </a:lnTo>
                  <a:lnTo>
                    <a:pt x="0" y="82"/>
                  </a:lnTo>
                  <a:lnTo>
                    <a:pt x="1" y="90"/>
                  </a:lnTo>
                  <a:lnTo>
                    <a:pt x="3" y="97"/>
                  </a:lnTo>
                  <a:lnTo>
                    <a:pt x="6" y="104"/>
                  </a:lnTo>
                  <a:lnTo>
                    <a:pt x="9" y="111"/>
                  </a:lnTo>
                  <a:lnTo>
                    <a:pt x="13" y="116"/>
                  </a:lnTo>
                  <a:lnTo>
                    <a:pt x="17" y="123"/>
                  </a:lnTo>
                  <a:lnTo>
                    <a:pt x="22" y="128"/>
                  </a:lnTo>
                  <a:lnTo>
                    <a:pt x="27" y="133"/>
                  </a:lnTo>
                  <a:lnTo>
                    <a:pt x="33" y="137"/>
                  </a:lnTo>
                  <a:lnTo>
                    <a:pt x="40" y="141"/>
                  </a:lnTo>
                  <a:lnTo>
                    <a:pt x="46" y="144"/>
                  </a:lnTo>
                  <a:lnTo>
                    <a:pt x="53" y="147"/>
                  </a:lnTo>
                  <a:lnTo>
                    <a:pt x="60" y="149"/>
                  </a:lnTo>
                  <a:lnTo>
                    <a:pt x="68" y="150"/>
                  </a:lnTo>
                  <a:lnTo>
                    <a:pt x="75" y="150"/>
                  </a:lnTo>
                  <a:lnTo>
                    <a:pt x="83" y="150"/>
                  </a:lnTo>
                  <a:lnTo>
                    <a:pt x="90" y="149"/>
                  </a:lnTo>
                  <a:lnTo>
                    <a:pt x="98" y="147"/>
                  </a:lnTo>
                  <a:lnTo>
                    <a:pt x="104" y="144"/>
                  </a:lnTo>
                  <a:lnTo>
                    <a:pt x="111" y="141"/>
                  </a:lnTo>
                  <a:lnTo>
                    <a:pt x="117" y="137"/>
                  </a:lnTo>
                  <a:lnTo>
                    <a:pt x="123" y="133"/>
                  </a:lnTo>
                  <a:lnTo>
                    <a:pt x="129" y="128"/>
                  </a:lnTo>
                  <a:lnTo>
                    <a:pt x="133" y="123"/>
                  </a:lnTo>
                  <a:lnTo>
                    <a:pt x="137" y="116"/>
                  </a:lnTo>
                  <a:lnTo>
                    <a:pt x="142" y="111"/>
                  </a:lnTo>
                  <a:lnTo>
                    <a:pt x="145" y="104"/>
                  </a:lnTo>
                  <a:lnTo>
                    <a:pt x="147" y="97"/>
                  </a:lnTo>
                  <a:lnTo>
                    <a:pt x="149" y="90"/>
                  </a:lnTo>
                  <a:lnTo>
                    <a:pt x="150" y="82"/>
                  </a:lnTo>
                  <a:lnTo>
                    <a:pt x="150" y="75"/>
                  </a:lnTo>
                  <a:lnTo>
                    <a:pt x="150" y="67"/>
                  </a:lnTo>
                  <a:lnTo>
                    <a:pt x="149" y="60"/>
                  </a:lnTo>
                  <a:lnTo>
                    <a:pt x="147" y="52"/>
                  </a:lnTo>
                  <a:lnTo>
                    <a:pt x="145" y="46"/>
                  </a:lnTo>
                  <a:lnTo>
                    <a:pt x="142" y="39"/>
                  </a:lnTo>
                  <a:lnTo>
                    <a:pt x="137" y="33"/>
                  </a:lnTo>
                  <a:lnTo>
                    <a:pt x="133" y="27"/>
                  </a:lnTo>
                  <a:lnTo>
                    <a:pt x="129" y="22"/>
                  </a:lnTo>
                  <a:lnTo>
                    <a:pt x="123" y="17"/>
                  </a:lnTo>
                  <a:lnTo>
                    <a:pt x="117" y="12"/>
                  </a:lnTo>
                  <a:lnTo>
                    <a:pt x="111" y="9"/>
                  </a:lnTo>
                  <a:lnTo>
                    <a:pt x="104" y="6"/>
                  </a:lnTo>
                  <a:lnTo>
                    <a:pt x="98" y="3"/>
                  </a:lnTo>
                  <a:lnTo>
                    <a:pt x="90"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232">
              <a:extLst>
                <a:ext uri="{FF2B5EF4-FFF2-40B4-BE49-F238E27FC236}">
                  <a16:creationId xmlns:a16="http://schemas.microsoft.com/office/drawing/2014/main" id="{A77E58CD-51D3-4CF0-B143-F4F9222EC35A}"/>
                </a:ext>
              </a:extLst>
            </p:cNvPr>
            <p:cNvSpPr>
              <a:spLocks noEditPoints="1"/>
            </p:cNvSpPr>
            <p:nvPr/>
          </p:nvSpPr>
          <p:spPr bwMode="auto">
            <a:xfrm>
              <a:off x="7046913" y="1590358"/>
              <a:ext cx="47625" cy="47625"/>
            </a:xfrm>
            <a:custGeom>
              <a:avLst/>
              <a:gdLst>
                <a:gd name="T0" fmla="*/ 66 w 151"/>
                <a:gd name="T1" fmla="*/ 119 h 150"/>
                <a:gd name="T2" fmla="*/ 50 w 151"/>
                <a:gd name="T3" fmla="*/ 112 h 150"/>
                <a:gd name="T4" fmla="*/ 38 w 151"/>
                <a:gd name="T5" fmla="*/ 100 h 150"/>
                <a:gd name="T6" fmla="*/ 31 w 151"/>
                <a:gd name="T7" fmla="*/ 84 h 150"/>
                <a:gd name="T8" fmla="*/ 31 w 151"/>
                <a:gd name="T9" fmla="*/ 66 h 150"/>
                <a:gd name="T10" fmla="*/ 38 w 151"/>
                <a:gd name="T11" fmla="*/ 50 h 150"/>
                <a:gd name="T12" fmla="*/ 50 w 151"/>
                <a:gd name="T13" fmla="*/ 37 h 150"/>
                <a:gd name="T14" fmla="*/ 66 w 151"/>
                <a:gd name="T15" fmla="*/ 31 h 150"/>
                <a:gd name="T16" fmla="*/ 84 w 151"/>
                <a:gd name="T17" fmla="*/ 31 h 150"/>
                <a:gd name="T18" fmla="*/ 101 w 151"/>
                <a:gd name="T19" fmla="*/ 37 h 150"/>
                <a:gd name="T20" fmla="*/ 112 w 151"/>
                <a:gd name="T21" fmla="*/ 50 h 150"/>
                <a:gd name="T22" fmla="*/ 120 w 151"/>
                <a:gd name="T23" fmla="*/ 66 h 150"/>
                <a:gd name="T24" fmla="*/ 120 w 151"/>
                <a:gd name="T25" fmla="*/ 84 h 150"/>
                <a:gd name="T26" fmla="*/ 112 w 151"/>
                <a:gd name="T27" fmla="*/ 100 h 150"/>
                <a:gd name="T28" fmla="*/ 101 w 151"/>
                <a:gd name="T29" fmla="*/ 112 h 150"/>
                <a:gd name="T30" fmla="*/ 84 w 151"/>
                <a:gd name="T31" fmla="*/ 119 h 150"/>
                <a:gd name="T32" fmla="*/ 75 w 151"/>
                <a:gd name="T33" fmla="*/ 0 h 150"/>
                <a:gd name="T34" fmla="*/ 60 w 151"/>
                <a:gd name="T35" fmla="*/ 2 h 150"/>
                <a:gd name="T36" fmla="*/ 46 w 151"/>
                <a:gd name="T37" fmla="*/ 6 h 150"/>
                <a:gd name="T38" fmla="*/ 33 w 151"/>
                <a:gd name="T39" fmla="*/ 12 h 150"/>
                <a:gd name="T40" fmla="*/ 22 w 151"/>
                <a:gd name="T41" fmla="*/ 22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6 h 150"/>
                <a:gd name="T56" fmla="*/ 22 w 151"/>
                <a:gd name="T57" fmla="*/ 128 h 150"/>
                <a:gd name="T58" fmla="*/ 33 w 151"/>
                <a:gd name="T59" fmla="*/ 137 h 150"/>
                <a:gd name="T60" fmla="*/ 46 w 151"/>
                <a:gd name="T61" fmla="*/ 144 h 150"/>
                <a:gd name="T62" fmla="*/ 60 w 151"/>
                <a:gd name="T63" fmla="*/ 149 h 150"/>
                <a:gd name="T64" fmla="*/ 75 w 151"/>
                <a:gd name="T65" fmla="*/ 150 h 150"/>
                <a:gd name="T66" fmla="*/ 91 w 151"/>
                <a:gd name="T67" fmla="*/ 149 h 150"/>
                <a:gd name="T68" fmla="*/ 105 w 151"/>
                <a:gd name="T69" fmla="*/ 144 h 150"/>
                <a:gd name="T70" fmla="*/ 118 w 151"/>
                <a:gd name="T71" fmla="*/ 137 h 150"/>
                <a:gd name="T72" fmla="*/ 128 w 151"/>
                <a:gd name="T73" fmla="*/ 128 h 150"/>
                <a:gd name="T74" fmla="*/ 138 w 151"/>
                <a:gd name="T75" fmla="*/ 116 h 150"/>
                <a:gd name="T76" fmla="*/ 145 w 151"/>
                <a:gd name="T77" fmla="*/ 104 h 150"/>
                <a:gd name="T78" fmla="*/ 149 w 151"/>
                <a:gd name="T79" fmla="*/ 90 h 150"/>
                <a:gd name="T80" fmla="*/ 151 w 151"/>
                <a:gd name="T81" fmla="*/ 75 h 150"/>
                <a:gd name="T82" fmla="*/ 149 w 151"/>
                <a:gd name="T83" fmla="*/ 60 h 150"/>
                <a:gd name="T84" fmla="*/ 145 w 151"/>
                <a:gd name="T85" fmla="*/ 46 h 150"/>
                <a:gd name="T86" fmla="*/ 138 w 151"/>
                <a:gd name="T87" fmla="*/ 33 h 150"/>
                <a:gd name="T88" fmla="*/ 128 w 151"/>
                <a:gd name="T89" fmla="*/ 22 h 150"/>
                <a:gd name="T90" fmla="*/ 118 w 151"/>
                <a:gd name="T91" fmla="*/ 12 h 150"/>
                <a:gd name="T92" fmla="*/ 105 w 151"/>
                <a:gd name="T93" fmla="*/ 6 h 150"/>
                <a:gd name="T94" fmla="*/ 91 w 151"/>
                <a:gd name="T95" fmla="*/ 2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6" y="119"/>
                  </a:lnTo>
                  <a:lnTo>
                    <a:pt x="58" y="116"/>
                  </a:lnTo>
                  <a:lnTo>
                    <a:pt x="50" y="112"/>
                  </a:lnTo>
                  <a:lnTo>
                    <a:pt x="44" y="107"/>
                  </a:lnTo>
                  <a:lnTo>
                    <a:pt x="38" y="100"/>
                  </a:lnTo>
                  <a:lnTo>
                    <a:pt x="34" y="93"/>
                  </a:lnTo>
                  <a:lnTo>
                    <a:pt x="31" y="84"/>
                  </a:lnTo>
                  <a:lnTo>
                    <a:pt x="30" y="75"/>
                  </a:lnTo>
                  <a:lnTo>
                    <a:pt x="31" y="66"/>
                  </a:lnTo>
                  <a:lnTo>
                    <a:pt x="34" y="58"/>
                  </a:lnTo>
                  <a:lnTo>
                    <a:pt x="38" y="50"/>
                  </a:lnTo>
                  <a:lnTo>
                    <a:pt x="44" y="42"/>
                  </a:lnTo>
                  <a:lnTo>
                    <a:pt x="50" y="37"/>
                  </a:lnTo>
                  <a:lnTo>
                    <a:pt x="58" y="33"/>
                  </a:lnTo>
                  <a:lnTo>
                    <a:pt x="66" y="31"/>
                  </a:lnTo>
                  <a:lnTo>
                    <a:pt x="75" y="30"/>
                  </a:lnTo>
                  <a:lnTo>
                    <a:pt x="84" y="31"/>
                  </a:lnTo>
                  <a:lnTo>
                    <a:pt x="93" y="33"/>
                  </a:lnTo>
                  <a:lnTo>
                    <a:pt x="101" y="37"/>
                  </a:lnTo>
                  <a:lnTo>
                    <a:pt x="107" y="42"/>
                  </a:lnTo>
                  <a:lnTo>
                    <a:pt x="112" y="50"/>
                  </a:lnTo>
                  <a:lnTo>
                    <a:pt x="117" y="58"/>
                  </a:lnTo>
                  <a:lnTo>
                    <a:pt x="120" y="66"/>
                  </a:lnTo>
                  <a:lnTo>
                    <a:pt x="120" y="75"/>
                  </a:lnTo>
                  <a:lnTo>
                    <a:pt x="120" y="84"/>
                  </a:lnTo>
                  <a:lnTo>
                    <a:pt x="117" y="93"/>
                  </a:lnTo>
                  <a:lnTo>
                    <a:pt x="112" y="100"/>
                  </a:lnTo>
                  <a:lnTo>
                    <a:pt x="107" y="107"/>
                  </a:lnTo>
                  <a:lnTo>
                    <a:pt x="101" y="112"/>
                  </a:lnTo>
                  <a:lnTo>
                    <a:pt x="93" y="116"/>
                  </a:lnTo>
                  <a:lnTo>
                    <a:pt x="84" y="119"/>
                  </a:lnTo>
                  <a:lnTo>
                    <a:pt x="75" y="120"/>
                  </a:lnTo>
                  <a:close/>
                  <a:moveTo>
                    <a:pt x="75" y="0"/>
                  </a:moveTo>
                  <a:lnTo>
                    <a:pt x="67" y="0"/>
                  </a:lnTo>
                  <a:lnTo>
                    <a:pt x="60" y="2"/>
                  </a:lnTo>
                  <a:lnTo>
                    <a:pt x="53" y="3"/>
                  </a:lnTo>
                  <a:lnTo>
                    <a:pt x="46" y="6"/>
                  </a:lnTo>
                  <a:lnTo>
                    <a:pt x="39" y="9"/>
                  </a:lnTo>
                  <a:lnTo>
                    <a:pt x="33" y="12"/>
                  </a:lnTo>
                  <a:lnTo>
                    <a:pt x="28" y="17"/>
                  </a:lnTo>
                  <a:lnTo>
                    <a:pt x="22" y="22"/>
                  </a:lnTo>
                  <a:lnTo>
                    <a:pt x="17" y="27"/>
                  </a:lnTo>
                  <a:lnTo>
                    <a:pt x="13" y="33"/>
                  </a:lnTo>
                  <a:lnTo>
                    <a:pt x="9" y="39"/>
                  </a:lnTo>
                  <a:lnTo>
                    <a:pt x="6" y="46"/>
                  </a:lnTo>
                  <a:lnTo>
                    <a:pt x="3" y="52"/>
                  </a:lnTo>
                  <a:lnTo>
                    <a:pt x="2" y="60"/>
                  </a:lnTo>
                  <a:lnTo>
                    <a:pt x="1" y="67"/>
                  </a:lnTo>
                  <a:lnTo>
                    <a:pt x="0" y="75"/>
                  </a:lnTo>
                  <a:lnTo>
                    <a:pt x="1" y="82"/>
                  </a:lnTo>
                  <a:lnTo>
                    <a:pt x="2" y="90"/>
                  </a:lnTo>
                  <a:lnTo>
                    <a:pt x="3" y="97"/>
                  </a:lnTo>
                  <a:lnTo>
                    <a:pt x="6" y="104"/>
                  </a:lnTo>
                  <a:lnTo>
                    <a:pt x="9" y="111"/>
                  </a:lnTo>
                  <a:lnTo>
                    <a:pt x="13" y="116"/>
                  </a:lnTo>
                  <a:lnTo>
                    <a:pt x="17" y="123"/>
                  </a:lnTo>
                  <a:lnTo>
                    <a:pt x="22" y="128"/>
                  </a:lnTo>
                  <a:lnTo>
                    <a:pt x="28" y="133"/>
                  </a:lnTo>
                  <a:lnTo>
                    <a:pt x="33" y="137"/>
                  </a:lnTo>
                  <a:lnTo>
                    <a:pt x="39" y="141"/>
                  </a:lnTo>
                  <a:lnTo>
                    <a:pt x="46" y="144"/>
                  </a:lnTo>
                  <a:lnTo>
                    <a:pt x="53" y="147"/>
                  </a:lnTo>
                  <a:lnTo>
                    <a:pt x="60" y="149"/>
                  </a:lnTo>
                  <a:lnTo>
                    <a:pt x="67" y="150"/>
                  </a:lnTo>
                  <a:lnTo>
                    <a:pt x="75" y="150"/>
                  </a:lnTo>
                  <a:lnTo>
                    <a:pt x="83" y="150"/>
                  </a:lnTo>
                  <a:lnTo>
                    <a:pt x="91" y="149"/>
                  </a:lnTo>
                  <a:lnTo>
                    <a:pt x="97" y="147"/>
                  </a:lnTo>
                  <a:lnTo>
                    <a:pt x="105" y="144"/>
                  </a:lnTo>
                  <a:lnTo>
                    <a:pt x="111" y="141"/>
                  </a:lnTo>
                  <a:lnTo>
                    <a:pt x="118" y="137"/>
                  </a:lnTo>
                  <a:lnTo>
                    <a:pt x="123" y="133"/>
                  </a:lnTo>
                  <a:lnTo>
                    <a:pt x="128" y="128"/>
                  </a:lnTo>
                  <a:lnTo>
                    <a:pt x="134" y="123"/>
                  </a:lnTo>
                  <a:lnTo>
                    <a:pt x="138" y="116"/>
                  </a:lnTo>
                  <a:lnTo>
                    <a:pt x="141" y="111"/>
                  </a:lnTo>
                  <a:lnTo>
                    <a:pt x="145" y="104"/>
                  </a:lnTo>
                  <a:lnTo>
                    <a:pt x="147" y="97"/>
                  </a:lnTo>
                  <a:lnTo>
                    <a:pt x="149" y="90"/>
                  </a:lnTo>
                  <a:lnTo>
                    <a:pt x="150" y="82"/>
                  </a:lnTo>
                  <a:lnTo>
                    <a:pt x="151" y="75"/>
                  </a:lnTo>
                  <a:lnTo>
                    <a:pt x="150" y="67"/>
                  </a:lnTo>
                  <a:lnTo>
                    <a:pt x="149" y="60"/>
                  </a:lnTo>
                  <a:lnTo>
                    <a:pt x="147" y="52"/>
                  </a:lnTo>
                  <a:lnTo>
                    <a:pt x="145" y="46"/>
                  </a:lnTo>
                  <a:lnTo>
                    <a:pt x="141" y="39"/>
                  </a:lnTo>
                  <a:lnTo>
                    <a:pt x="138" y="33"/>
                  </a:lnTo>
                  <a:lnTo>
                    <a:pt x="134" y="27"/>
                  </a:lnTo>
                  <a:lnTo>
                    <a:pt x="128" y="22"/>
                  </a:lnTo>
                  <a:lnTo>
                    <a:pt x="123" y="17"/>
                  </a:lnTo>
                  <a:lnTo>
                    <a:pt x="118" y="12"/>
                  </a:lnTo>
                  <a:lnTo>
                    <a:pt x="111" y="9"/>
                  </a:lnTo>
                  <a:lnTo>
                    <a:pt x="105" y="6"/>
                  </a:lnTo>
                  <a:lnTo>
                    <a:pt x="97" y="3"/>
                  </a:lnTo>
                  <a:lnTo>
                    <a:pt x="91"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233">
              <a:extLst>
                <a:ext uri="{FF2B5EF4-FFF2-40B4-BE49-F238E27FC236}">
                  <a16:creationId xmlns:a16="http://schemas.microsoft.com/office/drawing/2014/main" id="{F6B7E23F-38B1-43DD-B9ED-7EE60A4AD9D1}"/>
                </a:ext>
              </a:extLst>
            </p:cNvPr>
            <p:cNvSpPr>
              <a:spLocks/>
            </p:cNvSpPr>
            <p:nvPr/>
          </p:nvSpPr>
          <p:spPr bwMode="auto">
            <a:xfrm>
              <a:off x="7018338" y="1390333"/>
              <a:ext cx="285750" cy="190500"/>
            </a:xfrm>
            <a:custGeom>
              <a:avLst/>
              <a:gdLst>
                <a:gd name="T0" fmla="*/ 886 w 901"/>
                <a:gd name="T1" fmla="*/ 0 h 602"/>
                <a:gd name="T2" fmla="*/ 830 w 901"/>
                <a:gd name="T3" fmla="*/ 0 h 602"/>
                <a:gd name="T4" fmla="*/ 824 w 901"/>
                <a:gd name="T5" fmla="*/ 1 h 602"/>
                <a:gd name="T6" fmla="*/ 820 w 901"/>
                <a:gd name="T7" fmla="*/ 4 h 602"/>
                <a:gd name="T8" fmla="*/ 817 w 901"/>
                <a:gd name="T9" fmla="*/ 9 h 602"/>
                <a:gd name="T10" fmla="*/ 815 w 901"/>
                <a:gd name="T11" fmla="*/ 14 h 602"/>
                <a:gd name="T12" fmla="*/ 741 w 901"/>
                <a:gd name="T13" fmla="*/ 572 h 602"/>
                <a:gd name="T14" fmla="*/ 15 w 901"/>
                <a:gd name="T15" fmla="*/ 572 h 602"/>
                <a:gd name="T16" fmla="*/ 12 w 901"/>
                <a:gd name="T17" fmla="*/ 572 h 602"/>
                <a:gd name="T18" fmla="*/ 9 w 901"/>
                <a:gd name="T19" fmla="*/ 573 h 602"/>
                <a:gd name="T20" fmla="*/ 6 w 901"/>
                <a:gd name="T21" fmla="*/ 574 h 602"/>
                <a:gd name="T22" fmla="*/ 4 w 901"/>
                <a:gd name="T23" fmla="*/ 576 h 602"/>
                <a:gd name="T24" fmla="*/ 3 w 901"/>
                <a:gd name="T25" fmla="*/ 578 h 602"/>
                <a:gd name="T26" fmla="*/ 1 w 901"/>
                <a:gd name="T27" fmla="*/ 581 h 602"/>
                <a:gd name="T28" fmla="*/ 1 w 901"/>
                <a:gd name="T29" fmla="*/ 583 h 602"/>
                <a:gd name="T30" fmla="*/ 0 w 901"/>
                <a:gd name="T31" fmla="*/ 587 h 602"/>
                <a:gd name="T32" fmla="*/ 1 w 901"/>
                <a:gd name="T33" fmla="*/ 590 h 602"/>
                <a:gd name="T34" fmla="*/ 1 w 901"/>
                <a:gd name="T35" fmla="*/ 593 h 602"/>
                <a:gd name="T36" fmla="*/ 3 w 901"/>
                <a:gd name="T37" fmla="*/ 595 h 602"/>
                <a:gd name="T38" fmla="*/ 4 w 901"/>
                <a:gd name="T39" fmla="*/ 597 h 602"/>
                <a:gd name="T40" fmla="*/ 6 w 901"/>
                <a:gd name="T41" fmla="*/ 599 h 602"/>
                <a:gd name="T42" fmla="*/ 9 w 901"/>
                <a:gd name="T43" fmla="*/ 600 h 602"/>
                <a:gd name="T44" fmla="*/ 12 w 901"/>
                <a:gd name="T45" fmla="*/ 602 h 602"/>
                <a:gd name="T46" fmla="*/ 15 w 901"/>
                <a:gd name="T47" fmla="*/ 602 h 602"/>
                <a:gd name="T48" fmla="*/ 755 w 901"/>
                <a:gd name="T49" fmla="*/ 602 h 602"/>
                <a:gd name="T50" fmla="*/ 760 w 901"/>
                <a:gd name="T51" fmla="*/ 600 h 602"/>
                <a:gd name="T52" fmla="*/ 764 w 901"/>
                <a:gd name="T53" fmla="*/ 598 h 602"/>
                <a:gd name="T54" fmla="*/ 767 w 901"/>
                <a:gd name="T55" fmla="*/ 594 h 602"/>
                <a:gd name="T56" fmla="*/ 770 w 901"/>
                <a:gd name="T57" fmla="*/ 589 h 602"/>
                <a:gd name="T58" fmla="*/ 844 w 901"/>
                <a:gd name="T59" fmla="*/ 30 h 602"/>
                <a:gd name="T60" fmla="*/ 886 w 901"/>
                <a:gd name="T61" fmla="*/ 30 h 602"/>
                <a:gd name="T62" fmla="*/ 890 w 901"/>
                <a:gd name="T63" fmla="*/ 30 h 602"/>
                <a:gd name="T64" fmla="*/ 893 w 901"/>
                <a:gd name="T65" fmla="*/ 29 h 602"/>
                <a:gd name="T66" fmla="*/ 895 w 901"/>
                <a:gd name="T67" fmla="*/ 28 h 602"/>
                <a:gd name="T68" fmla="*/ 897 w 901"/>
                <a:gd name="T69" fmla="*/ 26 h 602"/>
                <a:gd name="T70" fmla="*/ 899 w 901"/>
                <a:gd name="T71" fmla="*/ 24 h 602"/>
                <a:gd name="T72" fmla="*/ 900 w 901"/>
                <a:gd name="T73" fmla="*/ 21 h 602"/>
                <a:gd name="T74" fmla="*/ 901 w 901"/>
                <a:gd name="T75" fmla="*/ 18 h 602"/>
                <a:gd name="T76" fmla="*/ 901 w 901"/>
                <a:gd name="T77" fmla="*/ 15 h 602"/>
                <a:gd name="T78" fmla="*/ 901 w 901"/>
                <a:gd name="T79" fmla="*/ 13 h 602"/>
                <a:gd name="T80" fmla="*/ 900 w 901"/>
                <a:gd name="T81" fmla="*/ 10 h 602"/>
                <a:gd name="T82" fmla="*/ 899 w 901"/>
                <a:gd name="T83" fmla="*/ 7 h 602"/>
                <a:gd name="T84" fmla="*/ 897 w 901"/>
                <a:gd name="T85" fmla="*/ 4 h 602"/>
                <a:gd name="T86" fmla="*/ 895 w 901"/>
                <a:gd name="T87" fmla="*/ 3 h 602"/>
                <a:gd name="T88" fmla="*/ 893 w 901"/>
                <a:gd name="T89" fmla="*/ 1 h 602"/>
                <a:gd name="T90" fmla="*/ 890 w 901"/>
                <a:gd name="T91" fmla="*/ 1 h 602"/>
                <a:gd name="T92" fmla="*/ 886 w 901"/>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602">
                  <a:moveTo>
                    <a:pt x="886" y="0"/>
                  </a:moveTo>
                  <a:lnTo>
                    <a:pt x="830" y="0"/>
                  </a:lnTo>
                  <a:lnTo>
                    <a:pt x="824" y="1"/>
                  </a:lnTo>
                  <a:lnTo>
                    <a:pt x="820" y="4"/>
                  </a:lnTo>
                  <a:lnTo>
                    <a:pt x="817" y="9"/>
                  </a:lnTo>
                  <a:lnTo>
                    <a:pt x="815" y="14"/>
                  </a:lnTo>
                  <a:lnTo>
                    <a:pt x="741" y="572"/>
                  </a:lnTo>
                  <a:lnTo>
                    <a:pt x="15" y="572"/>
                  </a:lnTo>
                  <a:lnTo>
                    <a:pt x="12" y="572"/>
                  </a:lnTo>
                  <a:lnTo>
                    <a:pt x="9" y="573"/>
                  </a:lnTo>
                  <a:lnTo>
                    <a:pt x="6" y="574"/>
                  </a:lnTo>
                  <a:lnTo>
                    <a:pt x="4" y="576"/>
                  </a:lnTo>
                  <a:lnTo>
                    <a:pt x="3" y="578"/>
                  </a:lnTo>
                  <a:lnTo>
                    <a:pt x="1" y="581"/>
                  </a:lnTo>
                  <a:lnTo>
                    <a:pt x="1" y="583"/>
                  </a:lnTo>
                  <a:lnTo>
                    <a:pt x="0" y="587"/>
                  </a:lnTo>
                  <a:lnTo>
                    <a:pt x="1" y="590"/>
                  </a:lnTo>
                  <a:lnTo>
                    <a:pt x="1" y="593"/>
                  </a:lnTo>
                  <a:lnTo>
                    <a:pt x="3" y="595"/>
                  </a:lnTo>
                  <a:lnTo>
                    <a:pt x="4" y="597"/>
                  </a:lnTo>
                  <a:lnTo>
                    <a:pt x="6" y="599"/>
                  </a:lnTo>
                  <a:lnTo>
                    <a:pt x="9" y="600"/>
                  </a:lnTo>
                  <a:lnTo>
                    <a:pt x="12" y="602"/>
                  </a:lnTo>
                  <a:lnTo>
                    <a:pt x="15" y="602"/>
                  </a:lnTo>
                  <a:lnTo>
                    <a:pt x="755" y="602"/>
                  </a:lnTo>
                  <a:lnTo>
                    <a:pt x="760" y="600"/>
                  </a:lnTo>
                  <a:lnTo>
                    <a:pt x="764" y="598"/>
                  </a:lnTo>
                  <a:lnTo>
                    <a:pt x="767" y="594"/>
                  </a:lnTo>
                  <a:lnTo>
                    <a:pt x="770" y="589"/>
                  </a:lnTo>
                  <a:lnTo>
                    <a:pt x="844" y="30"/>
                  </a:lnTo>
                  <a:lnTo>
                    <a:pt x="886" y="30"/>
                  </a:lnTo>
                  <a:lnTo>
                    <a:pt x="890" y="30"/>
                  </a:lnTo>
                  <a:lnTo>
                    <a:pt x="893" y="29"/>
                  </a:lnTo>
                  <a:lnTo>
                    <a:pt x="895" y="28"/>
                  </a:lnTo>
                  <a:lnTo>
                    <a:pt x="897" y="26"/>
                  </a:lnTo>
                  <a:lnTo>
                    <a:pt x="899" y="24"/>
                  </a:lnTo>
                  <a:lnTo>
                    <a:pt x="900" y="21"/>
                  </a:lnTo>
                  <a:lnTo>
                    <a:pt x="901" y="18"/>
                  </a:lnTo>
                  <a:lnTo>
                    <a:pt x="901" y="15"/>
                  </a:lnTo>
                  <a:lnTo>
                    <a:pt x="901" y="13"/>
                  </a:lnTo>
                  <a:lnTo>
                    <a:pt x="900" y="10"/>
                  </a:lnTo>
                  <a:lnTo>
                    <a:pt x="899" y="7"/>
                  </a:lnTo>
                  <a:lnTo>
                    <a:pt x="897" y="4"/>
                  </a:lnTo>
                  <a:lnTo>
                    <a:pt x="895" y="3"/>
                  </a:lnTo>
                  <a:lnTo>
                    <a:pt x="893" y="1"/>
                  </a:lnTo>
                  <a:lnTo>
                    <a:pt x="890" y="1"/>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234">
              <a:extLst>
                <a:ext uri="{FF2B5EF4-FFF2-40B4-BE49-F238E27FC236}">
                  <a16:creationId xmlns:a16="http://schemas.microsoft.com/office/drawing/2014/main" id="{6CB2FACC-FDE8-4438-B82E-5426BD457938}"/>
                </a:ext>
              </a:extLst>
            </p:cNvPr>
            <p:cNvSpPr>
              <a:spLocks/>
            </p:cNvSpPr>
            <p:nvPr/>
          </p:nvSpPr>
          <p:spPr bwMode="auto">
            <a:xfrm>
              <a:off x="7070725" y="1356995"/>
              <a:ext cx="128588" cy="176213"/>
            </a:xfrm>
            <a:custGeom>
              <a:avLst/>
              <a:gdLst>
                <a:gd name="T0" fmla="*/ 196 w 406"/>
                <a:gd name="T1" fmla="*/ 51 h 556"/>
                <a:gd name="T2" fmla="*/ 196 w 406"/>
                <a:gd name="T3" fmla="*/ 545 h 556"/>
                <a:gd name="T4" fmla="*/ 198 w 406"/>
                <a:gd name="T5" fmla="*/ 550 h 556"/>
                <a:gd name="T6" fmla="*/ 202 w 406"/>
                <a:gd name="T7" fmla="*/ 553 h 556"/>
                <a:gd name="T8" fmla="*/ 208 w 406"/>
                <a:gd name="T9" fmla="*/ 556 h 556"/>
                <a:gd name="T10" fmla="*/ 214 w 406"/>
                <a:gd name="T11" fmla="*/ 556 h 556"/>
                <a:gd name="T12" fmla="*/ 220 w 406"/>
                <a:gd name="T13" fmla="*/ 553 h 556"/>
                <a:gd name="T14" fmla="*/ 223 w 406"/>
                <a:gd name="T15" fmla="*/ 550 h 556"/>
                <a:gd name="T16" fmla="*/ 225 w 406"/>
                <a:gd name="T17" fmla="*/ 545 h 556"/>
                <a:gd name="T18" fmla="*/ 226 w 406"/>
                <a:gd name="T19" fmla="*/ 54 h 556"/>
                <a:gd name="T20" fmla="*/ 383 w 406"/>
                <a:gd name="T21" fmla="*/ 223 h 556"/>
                <a:gd name="T22" fmla="*/ 388 w 406"/>
                <a:gd name="T23" fmla="*/ 225 h 556"/>
                <a:gd name="T24" fmla="*/ 397 w 406"/>
                <a:gd name="T25" fmla="*/ 225 h 556"/>
                <a:gd name="T26" fmla="*/ 403 w 406"/>
                <a:gd name="T27" fmla="*/ 220 h 556"/>
                <a:gd name="T28" fmla="*/ 406 w 406"/>
                <a:gd name="T29" fmla="*/ 214 h 556"/>
                <a:gd name="T30" fmla="*/ 406 w 406"/>
                <a:gd name="T31" fmla="*/ 208 h 556"/>
                <a:gd name="T32" fmla="*/ 404 w 406"/>
                <a:gd name="T33" fmla="*/ 203 h 556"/>
                <a:gd name="T34" fmla="*/ 222 w 406"/>
                <a:gd name="T35" fmla="*/ 5 h 556"/>
                <a:gd name="T36" fmla="*/ 222 w 406"/>
                <a:gd name="T37" fmla="*/ 5 h 556"/>
                <a:gd name="T38" fmla="*/ 219 w 406"/>
                <a:gd name="T39" fmla="*/ 2 h 556"/>
                <a:gd name="T40" fmla="*/ 216 w 406"/>
                <a:gd name="T41" fmla="*/ 1 h 556"/>
                <a:gd name="T42" fmla="*/ 213 w 406"/>
                <a:gd name="T43" fmla="*/ 1 h 556"/>
                <a:gd name="T44" fmla="*/ 211 w 406"/>
                <a:gd name="T45" fmla="*/ 0 h 556"/>
                <a:gd name="T46" fmla="*/ 211 w 406"/>
                <a:gd name="T47" fmla="*/ 0 h 556"/>
                <a:gd name="T48" fmla="*/ 211 w 406"/>
                <a:gd name="T49" fmla="*/ 0 h 556"/>
                <a:gd name="T50" fmla="*/ 205 w 406"/>
                <a:gd name="T51" fmla="*/ 1 h 556"/>
                <a:gd name="T52" fmla="*/ 200 w 406"/>
                <a:gd name="T53" fmla="*/ 4 h 556"/>
                <a:gd name="T54" fmla="*/ 3 w 406"/>
                <a:gd name="T55" fmla="*/ 203 h 556"/>
                <a:gd name="T56" fmla="*/ 1 w 406"/>
                <a:gd name="T57" fmla="*/ 208 h 556"/>
                <a:gd name="T58" fmla="*/ 1 w 406"/>
                <a:gd name="T59" fmla="*/ 213 h 556"/>
                <a:gd name="T60" fmla="*/ 3 w 406"/>
                <a:gd name="T61" fmla="*/ 219 h 556"/>
                <a:gd name="T62" fmla="*/ 7 w 406"/>
                <a:gd name="T63" fmla="*/ 223 h 556"/>
                <a:gd name="T64" fmla="*/ 13 w 406"/>
                <a:gd name="T65" fmla="*/ 225 h 556"/>
                <a:gd name="T66" fmla="*/ 18 w 406"/>
                <a:gd name="T67" fmla="*/ 225 h 556"/>
                <a:gd name="T68" fmla="*/ 23 w 406"/>
                <a:gd name="T69" fmla="*/ 223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556">
                  <a:moveTo>
                    <a:pt x="26" y="221"/>
                  </a:moveTo>
                  <a:lnTo>
                    <a:pt x="196" y="51"/>
                  </a:lnTo>
                  <a:lnTo>
                    <a:pt x="196" y="541"/>
                  </a:lnTo>
                  <a:lnTo>
                    <a:pt x="196" y="545"/>
                  </a:lnTo>
                  <a:lnTo>
                    <a:pt x="197" y="547"/>
                  </a:lnTo>
                  <a:lnTo>
                    <a:pt x="198" y="550"/>
                  </a:lnTo>
                  <a:lnTo>
                    <a:pt x="200" y="552"/>
                  </a:lnTo>
                  <a:lnTo>
                    <a:pt x="202" y="553"/>
                  </a:lnTo>
                  <a:lnTo>
                    <a:pt x="205" y="555"/>
                  </a:lnTo>
                  <a:lnTo>
                    <a:pt x="208" y="556"/>
                  </a:lnTo>
                  <a:lnTo>
                    <a:pt x="211" y="556"/>
                  </a:lnTo>
                  <a:lnTo>
                    <a:pt x="214" y="556"/>
                  </a:lnTo>
                  <a:lnTo>
                    <a:pt x="216" y="555"/>
                  </a:lnTo>
                  <a:lnTo>
                    <a:pt x="220" y="553"/>
                  </a:lnTo>
                  <a:lnTo>
                    <a:pt x="222" y="552"/>
                  </a:lnTo>
                  <a:lnTo>
                    <a:pt x="223" y="550"/>
                  </a:lnTo>
                  <a:lnTo>
                    <a:pt x="225" y="547"/>
                  </a:lnTo>
                  <a:lnTo>
                    <a:pt x="225" y="545"/>
                  </a:lnTo>
                  <a:lnTo>
                    <a:pt x="226" y="541"/>
                  </a:lnTo>
                  <a:lnTo>
                    <a:pt x="226" y="54"/>
                  </a:lnTo>
                  <a:lnTo>
                    <a:pt x="380" y="221"/>
                  </a:lnTo>
                  <a:lnTo>
                    <a:pt x="383" y="223"/>
                  </a:lnTo>
                  <a:lnTo>
                    <a:pt x="385" y="224"/>
                  </a:lnTo>
                  <a:lnTo>
                    <a:pt x="388" y="225"/>
                  </a:lnTo>
                  <a:lnTo>
                    <a:pt x="391" y="226"/>
                  </a:lnTo>
                  <a:lnTo>
                    <a:pt x="397" y="225"/>
                  </a:lnTo>
                  <a:lnTo>
                    <a:pt x="401" y="222"/>
                  </a:lnTo>
                  <a:lnTo>
                    <a:pt x="403" y="220"/>
                  </a:lnTo>
                  <a:lnTo>
                    <a:pt x="405" y="217"/>
                  </a:lnTo>
                  <a:lnTo>
                    <a:pt x="406" y="214"/>
                  </a:lnTo>
                  <a:lnTo>
                    <a:pt x="406" y="211"/>
                  </a:lnTo>
                  <a:lnTo>
                    <a:pt x="406" y="208"/>
                  </a:lnTo>
                  <a:lnTo>
                    <a:pt x="405" y="206"/>
                  </a:lnTo>
                  <a:lnTo>
                    <a:pt x="404" y="203"/>
                  </a:lnTo>
                  <a:lnTo>
                    <a:pt x="402" y="200"/>
                  </a:lnTo>
                  <a:lnTo>
                    <a:pt x="222" y="5"/>
                  </a:lnTo>
                  <a:lnTo>
                    <a:pt x="222" y="5"/>
                  </a:lnTo>
                  <a:lnTo>
                    <a:pt x="222" y="5"/>
                  </a:lnTo>
                  <a:lnTo>
                    <a:pt x="220" y="3"/>
                  </a:lnTo>
                  <a:lnTo>
                    <a:pt x="219" y="2"/>
                  </a:lnTo>
                  <a:lnTo>
                    <a:pt x="217" y="2"/>
                  </a:lnTo>
                  <a:lnTo>
                    <a:pt x="216" y="1"/>
                  </a:lnTo>
                  <a:lnTo>
                    <a:pt x="215" y="1"/>
                  </a:lnTo>
                  <a:lnTo>
                    <a:pt x="213" y="1"/>
                  </a:lnTo>
                  <a:lnTo>
                    <a:pt x="212" y="0"/>
                  </a:lnTo>
                  <a:lnTo>
                    <a:pt x="211" y="0"/>
                  </a:lnTo>
                  <a:lnTo>
                    <a:pt x="211" y="0"/>
                  </a:lnTo>
                  <a:lnTo>
                    <a:pt x="211" y="0"/>
                  </a:lnTo>
                  <a:lnTo>
                    <a:pt x="211" y="0"/>
                  </a:lnTo>
                  <a:lnTo>
                    <a:pt x="211" y="0"/>
                  </a:lnTo>
                  <a:lnTo>
                    <a:pt x="208" y="0"/>
                  </a:lnTo>
                  <a:lnTo>
                    <a:pt x="205" y="1"/>
                  </a:lnTo>
                  <a:lnTo>
                    <a:pt x="202" y="3"/>
                  </a:lnTo>
                  <a:lnTo>
                    <a:pt x="200" y="4"/>
                  </a:lnTo>
                  <a:lnTo>
                    <a:pt x="5" y="200"/>
                  </a:lnTo>
                  <a:lnTo>
                    <a:pt x="3" y="203"/>
                  </a:lnTo>
                  <a:lnTo>
                    <a:pt x="1" y="205"/>
                  </a:lnTo>
                  <a:lnTo>
                    <a:pt x="1" y="208"/>
                  </a:lnTo>
                  <a:lnTo>
                    <a:pt x="0" y="210"/>
                  </a:lnTo>
                  <a:lnTo>
                    <a:pt x="1" y="213"/>
                  </a:lnTo>
                  <a:lnTo>
                    <a:pt x="1" y="217"/>
                  </a:lnTo>
                  <a:lnTo>
                    <a:pt x="3" y="219"/>
                  </a:lnTo>
                  <a:lnTo>
                    <a:pt x="5" y="221"/>
                  </a:lnTo>
                  <a:lnTo>
                    <a:pt x="7" y="223"/>
                  </a:lnTo>
                  <a:lnTo>
                    <a:pt x="9" y="225"/>
                  </a:lnTo>
                  <a:lnTo>
                    <a:pt x="13" y="225"/>
                  </a:lnTo>
                  <a:lnTo>
                    <a:pt x="15" y="226"/>
                  </a:lnTo>
                  <a:lnTo>
                    <a:pt x="18" y="225"/>
                  </a:lnTo>
                  <a:lnTo>
                    <a:pt x="21" y="224"/>
                  </a:lnTo>
                  <a:lnTo>
                    <a:pt x="23" y="223"/>
                  </a:lnTo>
                  <a:lnTo>
                    <a:pt x="26"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3" name="Group 307">
            <a:extLst>
              <a:ext uri="{FF2B5EF4-FFF2-40B4-BE49-F238E27FC236}">
                <a16:creationId xmlns:a16="http://schemas.microsoft.com/office/drawing/2014/main" id="{3C437671-F6B9-4B2E-AA6C-C76B8ED4F754}"/>
              </a:ext>
            </a:extLst>
          </p:cNvPr>
          <p:cNvGrpSpPr>
            <a:grpSpLocks noChangeAspect="1"/>
          </p:cNvGrpSpPr>
          <p:nvPr/>
        </p:nvGrpSpPr>
        <p:grpSpPr>
          <a:xfrm>
            <a:off x="1449328" y="4340505"/>
            <a:ext cx="344646" cy="285619"/>
            <a:chOff x="9880600" y="826770"/>
            <a:chExt cx="287338" cy="238125"/>
          </a:xfrm>
          <a:solidFill>
            <a:schemeClr val="bg2"/>
          </a:solidFill>
          <a:effectLst/>
        </p:grpSpPr>
        <p:sp>
          <p:nvSpPr>
            <p:cNvPr id="1194" name="Freeform 179">
              <a:extLst>
                <a:ext uri="{FF2B5EF4-FFF2-40B4-BE49-F238E27FC236}">
                  <a16:creationId xmlns:a16="http://schemas.microsoft.com/office/drawing/2014/main" id="{58EE99FA-71F0-4CFA-BA1E-CF31F497D512}"/>
                </a:ext>
              </a:extLst>
            </p:cNvPr>
            <p:cNvSpPr>
              <a:spLocks/>
            </p:cNvSpPr>
            <p:nvPr/>
          </p:nvSpPr>
          <p:spPr bwMode="auto">
            <a:xfrm>
              <a:off x="9880600" y="826770"/>
              <a:ext cx="287338" cy="180975"/>
            </a:xfrm>
            <a:custGeom>
              <a:avLst/>
              <a:gdLst>
                <a:gd name="T0" fmla="*/ 784 w 902"/>
                <a:gd name="T1" fmla="*/ 1 h 572"/>
                <a:gd name="T2" fmla="*/ 768 w 902"/>
                <a:gd name="T3" fmla="*/ 9 h 572"/>
                <a:gd name="T4" fmla="*/ 757 w 902"/>
                <a:gd name="T5" fmla="*/ 24 h 572"/>
                <a:gd name="T6" fmla="*/ 742 w 902"/>
                <a:gd name="T7" fmla="*/ 137 h 572"/>
                <a:gd name="T8" fmla="*/ 735 w 902"/>
                <a:gd name="T9" fmla="*/ 146 h 572"/>
                <a:gd name="T10" fmla="*/ 725 w 902"/>
                <a:gd name="T11" fmla="*/ 152 h 572"/>
                <a:gd name="T12" fmla="*/ 63 w 902"/>
                <a:gd name="T13" fmla="*/ 153 h 572"/>
                <a:gd name="T14" fmla="*/ 40 w 902"/>
                <a:gd name="T15" fmla="*/ 160 h 572"/>
                <a:gd name="T16" fmla="*/ 19 w 902"/>
                <a:gd name="T17" fmla="*/ 175 h 572"/>
                <a:gd name="T18" fmla="*/ 5 w 902"/>
                <a:gd name="T19" fmla="*/ 197 h 572"/>
                <a:gd name="T20" fmla="*/ 0 w 902"/>
                <a:gd name="T21" fmla="*/ 220 h 572"/>
                <a:gd name="T22" fmla="*/ 3 w 902"/>
                <a:gd name="T23" fmla="*/ 245 h 572"/>
                <a:gd name="T24" fmla="*/ 66 w 902"/>
                <a:gd name="T25" fmla="*/ 445 h 572"/>
                <a:gd name="T26" fmla="*/ 81 w 902"/>
                <a:gd name="T27" fmla="*/ 465 h 572"/>
                <a:gd name="T28" fmla="*/ 113 w 902"/>
                <a:gd name="T29" fmla="*/ 481 h 572"/>
                <a:gd name="T30" fmla="*/ 130 w 902"/>
                <a:gd name="T31" fmla="*/ 482 h 572"/>
                <a:gd name="T32" fmla="*/ 681 w 902"/>
                <a:gd name="T33" fmla="*/ 483 h 572"/>
                <a:gd name="T34" fmla="*/ 688 w 902"/>
                <a:gd name="T35" fmla="*/ 494 h 572"/>
                <a:gd name="T36" fmla="*/ 692 w 902"/>
                <a:gd name="T37" fmla="*/ 517 h 572"/>
                <a:gd name="T38" fmla="*/ 687 w 902"/>
                <a:gd name="T39" fmla="*/ 530 h 572"/>
                <a:gd name="T40" fmla="*/ 679 w 902"/>
                <a:gd name="T41" fmla="*/ 539 h 572"/>
                <a:gd name="T42" fmla="*/ 145 w 902"/>
                <a:gd name="T43" fmla="*/ 542 h 572"/>
                <a:gd name="T44" fmla="*/ 137 w 902"/>
                <a:gd name="T45" fmla="*/ 546 h 572"/>
                <a:gd name="T46" fmla="*/ 133 w 902"/>
                <a:gd name="T47" fmla="*/ 554 h 572"/>
                <a:gd name="T48" fmla="*/ 134 w 902"/>
                <a:gd name="T49" fmla="*/ 562 h 572"/>
                <a:gd name="T50" fmla="*/ 139 w 902"/>
                <a:gd name="T51" fmla="*/ 569 h 572"/>
                <a:gd name="T52" fmla="*/ 148 w 902"/>
                <a:gd name="T53" fmla="*/ 572 h 572"/>
                <a:gd name="T54" fmla="*/ 694 w 902"/>
                <a:gd name="T55" fmla="*/ 565 h 572"/>
                <a:gd name="T56" fmla="*/ 713 w 902"/>
                <a:gd name="T57" fmla="*/ 546 h 572"/>
                <a:gd name="T58" fmla="*/ 720 w 902"/>
                <a:gd name="T59" fmla="*/ 521 h 572"/>
                <a:gd name="T60" fmla="*/ 718 w 902"/>
                <a:gd name="T61" fmla="*/ 489 h 572"/>
                <a:gd name="T62" fmla="*/ 704 w 902"/>
                <a:gd name="T63" fmla="*/ 464 h 572"/>
                <a:gd name="T64" fmla="*/ 681 w 902"/>
                <a:gd name="T65" fmla="*/ 452 h 572"/>
                <a:gd name="T66" fmla="*/ 126 w 902"/>
                <a:gd name="T67" fmla="*/ 452 h 572"/>
                <a:gd name="T68" fmla="*/ 107 w 902"/>
                <a:gd name="T69" fmla="*/ 446 h 572"/>
                <a:gd name="T70" fmla="*/ 93 w 902"/>
                <a:gd name="T71" fmla="*/ 432 h 572"/>
                <a:gd name="T72" fmla="*/ 31 w 902"/>
                <a:gd name="T73" fmla="*/ 232 h 572"/>
                <a:gd name="T74" fmla="*/ 30 w 902"/>
                <a:gd name="T75" fmla="*/ 217 h 572"/>
                <a:gd name="T76" fmla="*/ 35 w 902"/>
                <a:gd name="T77" fmla="*/ 203 h 572"/>
                <a:gd name="T78" fmla="*/ 45 w 902"/>
                <a:gd name="T79" fmla="*/ 192 h 572"/>
                <a:gd name="T80" fmla="*/ 57 w 902"/>
                <a:gd name="T81" fmla="*/ 185 h 572"/>
                <a:gd name="T82" fmla="*/ 72 w 902"/>
                <a:gd name="T83" fmla="*/ 183 h 572"/>
                <a:gd name="T84" fmla="*/ 740 w 902"/>
                <a:gd name="T85" fmla="*/ 178 h 572"/>
                <a:gd name="T86" fmla="*/ 762 w 902"/>
                <a:gd name="T87" fmla="*/ 162 h 572"/>
                <a:gd name="T88" fmla="*/ 773 w 902"/>
                <a:gd name="T89" fmla="*/ 135 h 572"/>
                <a:gd name="T90" fmla="*/ 790 w 902"/>
                <a:gd name="T91" fmla="*/ 30 h 572"/>
                <a:gd name="T92" fmla="*/ 892 w 902"/>
                <a:gd name="T93" fmla="*/ 29 h 572"/>
                <a:gd name="T94" fmla="*/ 900 w 902"/>
                <a:gd name="T95" fmla="*/ 24 h 572"/>
                <a:gd name="T96" fmla="*/ 902 w 902"/>
                <a:gd name="T97" fmla="*/ 15 h 572"/>
                <a:gd name="T98" fmla="*/ 900 w 902"/>
                <a:gd name="T99" fmla="*/ 7 h 572"/>
                <a:gd name="T100" fmla="*/ 892 w 902"/>
                <a:gd name="T101" fmla="*/ 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2" h="572">
                  <a:moveTo>
                    <a:pt x="887" y="0"/>
                  </a:moveTo>
                  <a:lnTo>
                    <a:pt x="790" y="0"/>
                  </a:lnTo>
                  <a:lnTo>
                    <a:pt x="784" y="1"/>
                  </a:lnTo>
                  <a:lnTo>
                    <a:pt x="777" y="2"/>
                  </a:lnTo>
                  <a:lnTo>
                    <a:pt x="772" y="6"/>
                  </a:lnTo>
                  <a:lnTo>
                    <a:pt x="768" y="9"/>
                  </a:lnTo>
                  <a:lnTo>
                    <a:pt x="763" y="13"/>
                  </a:lnTo>
                  <a:lnTo>
                    <a:pt x="760" y="19"/>
                  </a:lnTo>
                  <a:lnTo>
                    <a:pt x="757" y="24"/>
                  </a:lnTo>
                  <a:lnTo>
                    <a:pt x="756" y="30"/>
                  </a:lnTo>
                  <a:lnTo>
                    <a:pt x="743" y="132"/>
                  </a:lnTo>
                  <a:lnTo>
                    <a:pt x="742" y="137"/>
                  </a:lnTo>
                  <a:lnTo>
                    <a:pt x="741" y="140"/>
                  </a:lnTo>
                  <a:lnTo>
                    <a:pt x="739" y="143"/>
                  </a:lnTo>
                  <a:lnTo>
                    <a:pt x="735" y="146"/>
                  </a:lnTo>
                  <a:lnTo>
                    <a:pt x="732" y="148"/>
                  </a:lnTo>
                  <a:lnTo>
                    <a:pt x="729" y="150"/>
                  </a:lnTo>
                  <a:lnTo>
                    <a:pt x="725" y="152"/>
                  </a:lnTo>
                  <a:lnTo>
                    <a:pt x="720" y="153"/>
                  </a:lnTo>
                  <a:lnTo>
                    <a:pt x="72" y="153"/>
                  </a:lnTo>
                  <a:lnTo>
                    <a:pt x="63" y="153"/>
                  </a:lnTo>
                  <a:lnTo>
                    <a:pt x="55" y="154"/>
                  </a:lnTo>
                  <a:lnTo>
                    <a:pt x="47" y="157"/>
                  </a:lnTo>
                  <a:lnTo>
                    <a:pt x="40" y="160"/>
                  </a:lnTo>
                  <a:lnTo>
                    <a:pt x="32" y="164"/>
                  </a:lnTo>
                  <a:lnTo>
                    <a:pt x="26" y="169"/>
                  </a:lnTo>
                  <a:lnTo>
                    <a:pt x="19" y="175"/>
                  </a:lnTo>
                  <a:lnTo>
                    <a:pt x="14" y="182"/>
                  </a:lnTo>
                  <a:lnTo>
                    <a:pt x="10" y="189"/>
                  </a:lnTo>
                  <a:lnTo>
                    <a:pt x="5" y="197"/>
                  </a:lnTo>
                  <a:lnTo>
                    <a:pt x="3" y="204"/>
                  </a:lnTo>
                  <a:lnTo>
                    <a:pt x="1" y="213"/>
                  </a:lnTo>
                  <a:lnTo>
                    <a:pt x="0" y="220"/>
                  </a:lnTo>
                  <a:lnTo>
                    <a:pt x="0" y="229"/>
                  </a:lnTo>
                  <a:lnTo>
                    <a:pt x="1" y="237"/>
                  </a:lnTo>
                  <a:lnTo>
                    <a:pt x="3" y="245"/>
                  </a:lnTo>
                  <a:lnTo>
                    <a:pt x="62" y="435"/>
                  </a:lnTo>
                  <a:lnTo>
                    <a:pt x="64" y="440"/>
                  </a:lnTo>
                  <a:lnTo>
                    <a:pt x="66" y="445"/>
                  </a:lnTo>
                  <a:lnTo>
                    <a:pt x="70" y="451"/>
                  </a:lnTo>
                  <a:lnTo>
                    <a:pt x="73" y="456"/>
                  </a:lnTo>
                  <a:lnTo>
                    <a:pt x="81" y="465"/>
                  </a:lnTo>
                  <a:lnTo>
                    <a:pt x="91" y="471"/>
                  </a:lnTo>
                  <a:lnTo>
                    <a:pt x="101" y="476"/>
                  </a:lnTo>
                  <a:lnTo>
                    <a:pt x="113" y="481"/>
                  </a:lnTo>
                  <a:lnTo>
                    <a:pt x="118" y="482"/>
                  </a:lnTo>
                  <a:lnTo>
                    <a:pt x="124" y="482"/>
                  </a:lnTo>
                  <a:lnTo>
                    <a:pt x="130" y="482"/>
                  </a:lnTo>
                  <a:lnTo>
                    <a:pt x="136" y="482"/>
                  </a:lnTo>
                  <a:lnTo>
                    <a:pt x="677" y="482"/>
                  </a:lnTo>
                  <a:lnTo>
                    <a:pt x="681" y="483"/>
                  </a:lnTo>
                  <a:lnTo>
                    <a:pt x="684" y="486"/>
                  </a:lnTo>
                  <a:lnTo>
                    <a:pt x="686" y="489"/>
                  </a:lnTo>
                  <a:lnTo>
                    <a:pt x="688" y="494"/>
                  </a:lnTo>
                  <a:lnTo>
                    <a:pt x="690" y="502"/>
                  </a:lnTo>
                  <a:lnTo>
                    <a:pt x="692" y="512"/>
                  </a:lnTo>
                  <a:lnTo>
                    <a:pt x="692" y="517"/>
                  </a:lnTo>
                  <a:lnTo>
                    <a:pt x="690" y="521"/>
                  </a:lnTo>
                  <a:lnTo>
                    <a:pt x="689" y="526"/>
                  </a:lnTo>
                  <a:lnTo>
                    <a:pt x="687" y="530"/>
                  </a:lnTo>
                  <a:lnTo>
                    <a:pt x="685" y="533"/>
                  </a:lnTo>
                  <a:lnTo>
                    <a:pt x="682" y="536"/>
                  </a:lnTo>
                  <a:lnTo>
                    <a:pt x="679" y="539"/>
                  </a:lnTo>
                  <a:lnTo>
                    <a:pt x="674" y="542"/>
                  </a:lnTo>
                  <a:lnTo>
                    <a:pt x="148" y="542"/>
                  </a:lnTo>
                  <a:lnTo>
                    <a:pt x="145" y="542"/>
                  </a:lnTo>
                  <a:lnTo>
                    <a:pt x="141" y="543"/>
                  </a:lnTo>
                  <a:lnTo>
                    <a:pt x="139" y="544"/>
                  </a:lnTo>
                  <a:lnTo>
                    <a:pt x="137" y="546"/>
                  </a:lnTo>
                  <a:lnTo>
                    <a:pt x="135" y="548"/>
                  </a:lnTo>
                  <a:lnTo>
                    <a:pt x="134" y="550"/>
                  </a:lnTo>
                  <a:lnTo>
                    <a:pt x="133" y="554"/>
                  </a:lnTo>
                  <a:lnTo>
                    <a:pt x="133" y="557"/>
                  </a:lnTo>
                  <a:lnTo>
                    <a:pt x="133" y="560"/>
                  </a:lnTo>
                  <a:lnTo>
                    <a:pt x="134" y="562"/>
                  </a:lnTo>
                  <a:lnTo>
                    <a:pt x="135" y="565"/>
                  </a:lnTo>
                  <a:lnTo>
                    <a:pt x="137" y="568"/>
                  </a:lnTo>
                  <a:lnTo>
                    <a:pt x="139" y="569"/>
                  </a:lnTo>
                  <a:lnTo>
                    <a:pt x="141" y="571"/>
                  </a:lnTo>
                  <a:lnTo>
                    <a:pt x="145" y="572"/>
                  </a:lnTo>
                  <a:lnTo>
                    <a:pt x="148" y="572"/>
                  </a:lnTo>
                  <a:lnTo>
                    <a:pt x="682" y="572"/>
                  </a:lnTo>
                  <a:lnTo>
                    <a:pt x="685" y="570"/>
                  </a:lnTo>
                  <a:lnTo>
                    <a:pt x="694" y="565"/>
                  </a:lnTo>
                  <a:lnTo>
                    <a:pt x="701" y="559"/>
                  </a:lnTo>
                  <a:lnTo>
                    <a:pt x="708" y="554"/>
                  </a:lnTo>
                  <a:lnTo>
                    <a:pt x="713" y="546"/>
                  </a:lnTo>
                  <a:lnTo>
                    <a:pt x="716" y="539"/>
                  </a:lnTo>
                  <a:lnTo>
                    <a:pt x="719" y="531"/>
                  </a:lnTo>
                  <a:lnTo>
                    <a:pt x="720" y="521"/>
                  </a:lnTo>
                  <a:lnTo>
                    <a:pt x="722" y="512"/>
                  </a:lnTo>
                  <a:lnTo>
                    <a:pt x="720" y="500"/>
                  </a:lnTo>
                  <a:lnTo>
                    <a:pt x="718" y="489"/>
                  </a:lnTo>
                  <a:lnTo>
                    <a:pt x="715" y="480"/>
                  </a:lnTo>
                  <a:lnTo>
                    <a:pt x="711" y="471"/>
                  </a:lnTo>
                  <a:lnTo>
                    <a:pt x="704" y="464"/>
                  </a:lnTo>
                  <a:lnTo>
                    <a:pt x="698" y="458"/>
                  </a:lnTo>
                  <a:lnTo>
                    <a:pt x="690" y="454"/>
                  </a:lnTo>
                  <a:lnTo>
                    <a:pt x="681" y="452"/>
                  </a:lnTo>
                  <a:lnTo>
                    <a:pt x="135" y="452"/>
                  </a:lnTo>
                  <a:lnTo>
                    <a:pt x="133" y="452"/>
                  </a:lnTo>
                  <a:lnTo>
                    <a:pt x="126" y="452"/>
                  </a:lnTo>
                  <a:lnTo>
                    <a:pt x="120" y="451"/>
                  </a:lnTo>
                  <a:lnTo>
                    <a:pt x="114" y="450"/>
                  </a:lnTo>
                  <a:lnTo>
                    <a:pt x="107" y="446"/>
                  </a:lnTo>
                  <a:lnTo>
                    <a:pt x="102" y="442"/>
                  </a:lnTo>
                  <a:lnTo>
                    <a:pt x="98" y="438"/>
                  </a:lnTo>
                  <a:lnTo>
                    <a:pt x="93" y="432"/>
                  </a:lnTo>
                  <a:lnTo>
                    <a:pt x="91" y="426"/>
                  </a:lnTo>
                  <a:lnTo>
                    <a:pt x="32" y="236"/>
                  </a:lnTo>
                  <a:lnTo>
                    <a:pt x="31" y="232"/>
                  </a:lnTo>
                  <a:lnTo>
                    <a:pt x="30" y="227"/>
                  </a:lnTo>
                  <a:lnTo>
                    <a:pt x="30" y="222"/>
                  </a:lnTo>
                  <a:lnTo>
                    <a:pt x="30" y="217"/>
                  </a:lnTo>
                  <a:lnTo>
                    <a:pt x="31" y="213"/>
                  </a:lnTo>
                  <a:lnTo>
                    <a:pt x="33" y="207"/>
                  </a:lnTo>
                  <a:lnTo>
                    <a:pt x="35" y="203"/>
                  </a:lnTo>
                  <a:lnTo>
                    <a:pt x="37" y="199"/>
                  </a:lnTo>
                  <a:lnTo>
                    <a:pt x="41" y="195"/>
                  </a:lnTo>
                  <a:lnTo>
                    <a:pt x="45" y="192"/>
                  </a:lnTo>
                  <a:lnTo>
                    <a:pt x="48" y="189"/>
                  </a:lnTo>
                  <a:lnTo>
                    <a:pt x="52" y="187"/>
                  </a:lnTo>
                  <a:lnTo>
                    <a:pt x="57" y="185"/>
                  </a:lnTo>
                  <a:lnTo>
                    <a:pt x="62" y="184"/>
                  </a:lnTo>
                  <a:lnTo>
                    <a:pt x="66" y="183"/>
                  </a:lnTo>
                  <a:lnTo>
                    <a:pt x="72" y="183"/>
                  </a:lnTo>
                  <a:lnTo>
                    <a:pt x="720" y="183"/>
                  </a:lnTo>
                  <a:lnTo>
                    <a:pt x="730" y="182"/>
                  </a:lnTo>
                  <a:lnTo>
                    <a:pt x="740" y="178"/>
                  </a:lnTo>
                  <a:lnTo>
                    <a:pt x="748" y="174"/>
                  </a:lnTo>
                  <a:lnTo>
                    <a:pt x="756" y="169"/>
                  </a:lnTo>
                  <a:lnTo>
                    <a:pt x="762" y="162"/>
                  </a:lnTo>
                  <a:lnTo>
                    <a:pt x="768" y="154"/>
                  </a:lnTo>
                  <a:lnTo>
                    <a:pt x="771" y="145"/>
                  </a:lnTo>
                  <a:lnTo>
                    <a:pt x="773" y="135"/>
                  </a:lnTo>
                  <a:lnTo>
                    <a:pt x="786" y="34"/>
                  </a:lnTo>
                  <a:lnTo>
                    <a:pt x="787" y="31"/>
                  </a:lnTo>
                  <a:lnTo>
                    <a:pt x="790" y="30"/>
                  </a:lnTo>
                  <a:lnTo>
                    <a:pt x="887" y="30"/>
                  </a:lnTo>
                  <a:lnTo>
                    <a:pt x="890" y="30"/>
                  </a:lnTo>
                  <a:lnTo>
                    <a:pt x="892" y="29"/>
                  </a:lnTo>
                  <a:lnTo>
                    <a:pt x="895" y="28"/>
                  </a:lnTo>
                  <a:lnTo>
                    <a:pt x="897" y="26"/>
                  </a:lnTo>
                  <a:lnTo>
                    <a:pt x="900" y="24"/>
                  </a:lnTo>
                  <a:lnTo>
                    <a:pt x="901" y="22"/>
                  </a:lnTo>
                  <a:lnTo>
                    <a:pt x="902" y="19"/>
                  </a:lnTo>
                  <a:lnTo>
                    <a:pt x="902" y="15"/>
                  </a:lnTo>
                  <a:lnTo>
                    <a:pt x="902" y="12"/>
                  </a:lnTo>
                  <a:lnTo>
                    <a:pt x="901" y="10"/>
                  </a:lnTo>
                  <a:lnTo>
                    <a:pt x="900" y="7"/>
                  </a:lnTo>
                  <a:lnTo>
                    <a:pt x="897" y="5"/>
                  </a:lnTo>
                  <a:lnTo>
                    <a:pt x="895" y="4"/>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180">
              <a:extLst>
                <a:ext uri="{FF2B5EF4-FFF2-40B4-BE49-F238E27FC236}">
                  <a16:creationId xmlns:a16="http://schemas.microsoft.com/office/drawing/2014/main" id="{99363912-CE4D-4C4E-A335-104C1E3DC183}"/>
                </a:ext>
              </a:extLst>
            </p:cNvPr>
            <p:cNvSpPr>
              <a:spLocks/>
            </p:cNvSpPr>
            <p:nvPr/>
          </p:nvSpPr>
          <p:spPr bwMode="auto">
            <a:xfrm>
              <a:off x="10104438" y="899795"/>
              <a:ext cx="14288" cy="63500"/>
            </a:xfrm>
            <a:custGeom>
              <a:avLst/>
              <a:gdLst>
                <a:gd name="T0" fmla="*/ 36 w 49"/>
                <a:gd name="T1" fmla="*/ 0 h 200"/>
                <a:gd name="T2" fmla="*/ 32 w 49"/>
                <a:gd name="T3" fmla="*/ 0 h 200"/>
                <a:gd name="T4" fmla="*/ 30 w 49"/>
                <a:gd name="T5" fmla="*/ 1 h 200"/>
                <a:gd name="T6" fmla="*/ 27 w 49"/>
                <a:gd name="T7" fmla="*/ 2 h 200"/>
                <a:gd name="T8" fmla="*/ 25 w 49"/>
                <a:gd name="T9" fmla="*/ 3 h 200"/>
                <a:gd name="T10" fmla="*/ 23 w 49"/>
                <a:gd name="T11" fmla="*/ 5 h 200"/>
                <a:gd name="T12" fmla="*/ 21 w 49"/>
                <a:gd name="T13" fmla="*/ 7 h 200"/>
                <a:gd name="T14" fmla="*/ 19 w 49"/>
                <a:gd name="T15" fmla="*/ 10 h 200"/>
                <a:gd name="T16" fmla="*/ 19 w 49"/>
                <a:gd name="T17" fmla="*/ 14 h 200"/>
                <a:gd name="T18" fmla="*/ 0 w 49"/>
                <a:gd name="T19" fmla="*/ 184 h 200"/>
                <a:gd name="T20" fmla="*/ 0 w 49"/>
                <a:gd name="T21" fmla="*/ 187 h 200"/>
                <a:gd name="T22" fmla="*/ 0 w 49"/>
                <a:gd name="T23" fmla="*/ 189 h 200"/>
                <a:gd name="T24" fmla="*/ 1 w 49"/>
                <a:gd name="T25" fmla="*/ 193 h 200"/>
                <a:gd name="T26" fmla="*/ 3 w 49"/>
                <a:gd name="T27" fmla="*/ 195 h 200"/>
                <a:gd name="T28" fmla="*/ 6 w 49"/>
                <a:gd name="T29" fmla="*/ 197 h 200"/>
                <a:gd name="T30" fmla="*/ 8 w 49"/>
                <a:gd name="T31" fmla="*/ 199 h 200"/>
                <a:gd name="T32" fmla="*/ 11 w 49"/>
                <a:gd name="T33" fmla="*/ 200 h 200"/>
                <a:gd name="T34" fmla="*/ 13 w 49"/>
                <a:gd name="T35" fmla="*/ 200 h 200"/>
                <a:gd name="T36" fmla="*/ 14 w 49"/>
                <a:gd name="T37" fmla="*/ 200 h 200"/>
                <a:gd name="T38" fmla="*/ 15 w 49"/>
                <a:gd name="T39" fmla="*/ 200 h 200"/>
                <a:gd name="T40" fmla="*/ 21 w 49"/>
                <a:gd name="T41" fmla="*/ 199 h 200"/>
                <a:gd name="T42" fmla="*/ 25 w 49"/>
                <a:gd name="T43" fmla="*/ 197 h 200"/>
                <a:gd name="T44" fmla="*/ 28 w 49"/>
                <a:gd name="T45" fmla="*/ 193 h 200"/>
                <a:gd name="T46" fmla="*/ 30 w 49"/>
                <a:gd name="T47" fmla="*/ 187 h 200"/>
                <a:gd name="T48" fmla="*/ 49 w 49"/>
                <a:gd name="T49" fmla="*/ 17 h 200"/>
                <a:gd name="T50" fmla="*/ 49 w 49"/>
                <a:gd name="T51" fmla="*/ 14 h 200"/>
                <a:gd name="T52" fmla="*/ 48 w 49"/>
                <a:gd name="T53" fmla="*/ 10 h 200"/>
                <a:gd name="T54" fmla="*/ 47 w 49"/>
                <a:gd name="T55" fmla="*/ 8 h 200"/>
                <a:gd name="T56" fmla="*/ 46 w 49"/>
                <a:gd name="T57" fmla="*/ 5 h 200"/>
                <a:gd name="T58" fmla="*/ 44 w 49"/>
                <a:gd name="T59" fmla="*/ 4 h 200"/>
                <a:gd name="T60" fmla="*/ 41 w 49"/>
                <a:gd name="T61" fmla="*/ 2 h 200"/>
                <a:gd name="T62" fmla="*/ 39 w 49"/>
                <a:gd name="T63" fmla="*/ 1 h 200"/>
                <a:gd name="T64" fmla="*/ 36 w 49"/>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200">
                  <a:moveTo>
                    <a:pt x="36" y="0"/>
                  </a:moveTo>
                  <a:lnTo>
                    <a:pt x="32" y="0"/>
                  </a:lnTo>
                  <a:lnTo>
                    <a:pt x="30" y="1"/>
                  </a:lnTo>
                  <a:lnTo>
                    <a:pt x="27" y="2"/>
                  </a:lnTo>
                  <a:lnTo>
                    <a:pt x="25" y="3"/>
                  </a:lnTo>
                  <a:lnTo>
                    <a:pt x="23" y="5"/>
                  </a:lnTo>
                  <a:lnTo>
                    <a:pt x="21" y="7"/>
                  </a:lnTo>
                  <a:lnTo>
                    <a:pt x="19" y="10"/>
                  </a:lnTo>
                  <a:lnTo>
                    <a:pt x="19" y="14"/>
                  </a:lnTo>
                  <a:lnTo>
                    <a:pt x="0" y="184"/>
                  </a:lnTo>
                  <a:lnTo>
                    <a:pt x="0" y="187"/>
                  </a:lnTo>
                  <a:lnTo>
                    <a:pt x="0" y="189"/>
                  </a:lnTo>
                  <a:lnTo>
                    <a:pt x="1" y="193"/>
                  </a:lnTo>
                  <a:lnTo>
                    <a:pt x="3" y="195"/>
                  </a:lnTo>
                  <a:lnTo>
                    <a:pt x="6" y="197"/>
                  </a:lnTo>
                  <a:lnTo>
                    <a:pt x="8" y="199"/>
                  </a:lnTo>
                  <a:lnTo>
                    <a:pt x="11" y="200"/>
                  </a:lnTo>
                  <a:lnTo>
                    <a:pt x="13" y="200"/>
                  </a:lnTo>
                  <a:lnTo>
                    <a:pt x="14" y="200"/>
                  </a:lnTo>
                  <a:lnTo>
                    <a:pt x="15" y="200"/>
                  </a:lnTo>
                  <a:lnTo>
                    <a:pt x="21" y="199"/>
                  </a:lnTo>
                  <a:lnTo>
                    <a:pt x="25" y="197"/>
                  </a:lnTo>
                  <a:lnTo>
                    <a:pt x="28" y="193"/>
                  </a:lnTo>
                  <a:lnTo>
                    <a:pt x="30" y="187"/>
                  </a:lnTo>
                  <a:lnTo>
                    <a:pt x="49" y="17"/>
                  </a:lnTo>
                  <a:lnTo>
                    <a:pt x="49" y="14"/>
                  </a:lnTo>
                  <a:lnTo>
                    <a:pt x="48" y="10"/>
                  </a:lnTo>
                  <a:lnTo>
                    <a:pt x="47" y="8"/>
                  </a:lnTo>
                  <a:lnTo>
                    <a:pt x="46" y="5"/>
                  </a:lnTo>
                  <a:lnTo>
                    <a:pt x="44" y="4"/>
                  </a:lnTo>
                  <a:lnTo>
                    <a:pt x="41" y="2"/>
                  </a:lnTo>
                  <a:lnTo>
                    <a:pt x="39" y="1"/>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81">
              <a:extLst>
                <a:ext uri="{FF2B5EF4-FFF2-40B4-BE49-F238E27FC236}">
                  <a16:creationId xmlns:a16="http://schemas.microsoft.com/office/drawing/2014/main" id="{E845053F-57FE-43C1-B6AA-9F53B9723646}"/>
                </a:ext>
              </a:extLst>
            </p:cNvPr>
            <p:cNvSpPr>
              <a:spLocks noEditPoints="1"/>
            </p:cNvSpPr>
            <p:nvPr/>
          </p:nvSpPr>
          <p:spPr bwMode="auto">
            <a:xfrm>
              <a:off x="10063163" y="1017270"/>
              <a:ext cx="47625" cy="47625"/>
            </a:xfrm>
            <a:custGeom>
              <a:avLst/>
              <a:gdLst>
                <a:gd name="T0" fmla="*/ 66 w 151"/>
                <a:gd name="T1" fmla="*/ 119 h 150"/>
                <a:gd name="T2" fmla="*/ 50 w 151"/>
                <a:gd name="T3" fmla="*/ 113 h 150"/>
                <a:gd name="T4" fmla="*/ 38 w 151"/>
                <a:gd name="T5" fmla="*/ 100 h 150"/>
                <a:gd name="T6" fmla="*/ 30 w 151"/>
                <a:gd name="T7" fmla="*/ 84 h 150"/>
                <a:gd name="T8" fmla="*/ 30 w 151"/>
                <a:gd name="T9" fmla="*/ 65 h 150"/>
                <a:gd name="T10" fmla="*/ 38 w 151"/>
                <a:gd name="T11" fmla="*/ 49 h 150"/>
                <a:gd name="T12" fmla="*/ 50 w 151"/>
                <a:gd name="T13" fmla="*/ 37 h 150"/>
                <a:gd name="T14" fmla="*/ 66 w 151"/>
                <a:gd name="T15" fmla="*/ 31 h 150"/>
                <a:gd name="T16" fmla="*/ 84 w 151"/>
                <a:gd name="T17" fmla="*/ 31 h 150"/>
                <a:gd name="T18" fmla="*/ 100 w 151"/>
                <a:gd name="T19" fmla="*/ 37 h 150"/>
                <a:gd name="T20" fmla="*/ 113 w 151"/>
                <a:gd name="T21" fmla="*/ 49 h 150"/>
                <a:gd name="T22" fmla="*/ 119 w 151"/>
                <a:gd name="T23" fmla="*/ 65 h 150"/>
                <a:gd name="T24" fmla="*/ 119 w 151"/>
                <a:gd name="T25" fmla="*/ 84 h 150"/>
                <a:gd name="T26" fmla="*/ 113 w 151"/>
                <a:gd name="T27" fmla="*/ 100 h 150"/>
                <a:gd name="T28" fmla="*/ 100 w 151"/>
                <a:gd name="T29" fmla="*/ 113 h 150"/>
                <a:gd name="T30" fmla="*/ 84 w 151"/>
                <a:gd name="T31" fmla="*/ 119 h 150"/>
                <a:gd name="T32" fmla="*/ 75 w 151"/>
                <a:gd name="T33" fmla="*/ 0 h 150"/>
                <a:gd name="T34" fmla="*/ 60 w 151"/>
                <a:gd name="T35" fmla="*/ 1 h 150"/>
                <a:gd name="T36" fmla="*/ 45 w 151"/>
                <a:gd name="T37" fmla="*/ 5 h 150"/>
                <a:gd name="T38" fmla="*/ 34 w 151"/>
                <a:gd name="T39" fmla="*/ 13 h 150"/>
                <a:gd name="T40" fmla="*/ 22 w 151"/>
                <a:gd name="T41" fmla="*/ 21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7 h 150"/>
                <a:gd name="T56" fmla="*/ 22 w 151"/>
                <a:gd name="T57" fmla="*/ 128 h 150"/>
                <a:gd name="T58" fmla="*/ 34 w 151"/>
                <a:gd name="T59" fmla="*/ 137 h 150"/>
                <a:gd name="T60" fmla="*/ 45 w 151"/>
                <a:gd name="T61" fmla="*/ 145 h 150"/>
                <a:gd name="T62" fmla="*/ 60 w 151"/>
                <a:gd name="T63" fmla="*/ 149 h 150"/>
                <a:gd name="T64" fmla="*/ 75 w 151"/>
                <a:gd name="T65" fmla="*/ 150 h 150"/>
                <a:gd name="T66" fmla="*/ 90 w 151"/>
                <a:gd name="T67" fmla="*/ 149 h 150"/>
                <a:gd name="T68" fmla="*/ 104 w 151"/>
                <a:gd name="T69" fmla="*/ 145 h 150"/>
                <a:gd name="T70" fmla="*/ 117 w 151"/>
                <a:gd name="T71" fmla="*/ 137 h 150"/>
                <a:gd name="T72" fmla="*/ 128 w 151"/>
                <a:gd name="T73" fmla="*/ 128 h 150"/>
                <a:gd name="T74" fmla="*/ 138 w 151"/>
                <a:gd name="T75" fmla="*/ 117 h 150"/>
                <a:gd name="T76" fmla="*/ 144 w 151"/>
                <a:gd name="T77" fmla="*/ 104 h 150"/>
                <a:gd name="T78" fmla="*/ 148 w 151"/>
                <a:gd name="T79" fmla="*/ 90 h 150"/>
                <a:gd name="T80" fmla="*/ 151 w 151"/>
                <a:gd name="T81" fmla="*/ 75 h 150"/>
                <a:gd name="T82" fmla="*/ 148 w 151"/>
                <a:gd name="T83" fmla="*/ 60 h 150"/>
                <a:gd name="T84" fmla="*/ 144 w 151"/>
                <a:gd name="T85" fmla="*/ 46 h 150"/>
                <a:gd name="T86" fmla="*/ 138 w 151"/>
                <a:gd name="T87" fmla="*/ 33 h 150"/>
                <a:gd name="T88" fmla="*/ 128 w 151"/>
                <a:gd name="T89" fmla="*/ 21 h 150"/>
                <a:gd name="T90" fmla="*/ 117 w 151"/>
                <a:gd name="T91" fmla="*/ 13 h 150"/>
                <a:gd name="T92" fmla="*/ 104 w 151"/>
                <a:gd name="T93" fmla="*/ 5 h 150"/>
                <a:gd name="T94" fmla="*/ 90 w 151"/>
                <a:gd name="T95" fmla="*/ 1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6" y="119"/>
                  </a:lnTo>
                  <a:lnTo>
                    <a:pt x="57" y="117"/>
                  </a:lnTo>
                  <a:lnTo>
                    <a:pt x="50" y="113"/>
                  </a:lnTo>
                  <a:lnTo>
                    <a:pt x="43" y="107"/>
                  </a:lnTo>
                  <a:lnTo>
                    <a:pt x="38" y="100"/>
                  </a:lnTo>
                  <a:lnTo>
                    <a:pt x="34" y="92"/>
                  </a:lnTo>
                  <a:lnTo>
                    <a:pt x="30" y="84"/>
                  </a:lnTo>
                  <a:lnTo>
                    <a:pt x="30" y="75"/>
                  </a:lnTo>
                  <a:lnTo>
                    <a:pt x="30" y="65"/>
                  </a:lnTo>
                  <a:lnTo>
                    <a:pt x="34" y="58"/>
                  </a:lnTo>
                  <a:lnTo>
                    <a:pt x="38" y="49"/>
                  </a:lnTo>
                  <a:lnTo>
                    <a:pt x="43" y="43"/>
                  </a:lnTo>
                  <a:lnTo>
                    <a:pt x="50" y="37"/>
                  </a:lnTo>
                  <a:lnTo>
                    <a:pt x="57" y="33"/>
                  </a:lnTo>
                  <a:lnTo>
                    <a:pt x="66" y="31"/>
                  </a:lnTo>
                  <a:lnTo>
                    <a:pt x="75" y="30"/>
                  </a:lnTo>
                  <a:lnTo>
                    <a:pt x="84" y="31"/>
                  </a:lnTo>
                  <a:lnTo>
                    <a:pt x="93" y="33"/>
                  </a:lnTo>
                  <a:lnTo>
                    <a:pt x="100" y="37"/>
                  </a:lnTo>
                  <a:lnTo>
                    <a:pt x="107" y="43"/>
                  </a:lnTo>
                  <a:lnTo>
                    <a:pt x="113" y="49"/>
                  </a:lnTo>
                  <a:lnTo>
                    <a:pt x="116" y="58"/>
                  </a:lnTo>
                  <a:lnTo>
                    <a:pt x="119" y="65"/>
                  </a:lnTo>
                  <a:lnTo>
                    <a:pt x="121" y="75"/>
                  </a:lnTo>
                  <a:lnTo>
                    <a:pt x="119" y="84"/>
                  </a:lnTo>
                  <a:lnTo>
                    <a:pt x="116" y="92"/>
                  </a:lnTo>
                  <a:lnTo>
                    <a:pt x="113" y="100"/>
                  </a:lnTo>
                  <a:lnTo>
                    <a:pt x="107" y="107"/>
                  </a:lnTo>
                  <a:lnTo>
                    <a:pt x="100" y="113"/>
                  </a:lnTo>
                  <a:lnTo>
                    <a:pt x="93" y="117"/>
                  </a:lnTo>
                  <a:lnTo>
                    <a:pt x="84" y="119"/>
                  </a:lnTo>
                  <a:lnTo>
                    <a:pt x="75" y="120"/>
                  </a:lnTo>
                  <a:close/>
                  <a:moveTo>
                    <a:pt x="75" y="0"/>
                  </a:moveTo>
                  <a:lnTo>
                    <a:pt x="68" y="0"/>
                  </a:lnTo>
                  <a:lnTo>
                    <a:pt x="60" y="1"/>
                  </a:lnTo>
                  <a:lnTo>
                    <a:pt x="53" y="3"/>
                  </a:lnTo>
                  <a:lnTo>
                    <a:pt x="45" y="5"/>
                  </a:lnTo>
                  <a:lnTo>
                    <a:pt x="39" y="8"/>
                  </a:lnTo>
                  <a:lnTo>
                    <a:pt x="34" y="13"/>
                  </a:lnTo>
                  <a:lnTo>
                    <a:pt x="27" y="17"/>
                  </a:lnTo>
                  <a:lnTo>
                    <a:pt x="22" y="21"/>
                  </a:lnTo>
                  <a:lnTo>
                    <a:pt x="18" y="27"/>
                  </a:lnTo>
                  <a:lnTo>
                    <a:pt x="13" y="33"/>
                  </a:lnTo>
                  <a:lnTo>
                    <a:pt x="9" y="40"/>
                  </a:lnTo>
                  <a:lnTo>
                    <a:pt x="6" y="46"/>
                  </a:lnTo>
                  <a:lnTo>
                    <a:pt x="4" y="52"/>
                  </a:lnTo>
                  <a:lnTo>
                    <a:pt x="2" y="60"/>
                  </a:lnTo>
                  <a:lnTo>
                    <a:pt x="0" y="67"/>
                  </a:lnTo>
                  <a:lnTo>
                    <a:pt x="0" y="75"/>
                  </a:lnTo>
                  <a:lnTo>
                    <a:pt x="0" y="82"/>
                  </a:lnTo>
                  <a:lnTo>
                    <a:pt x="2" y="90"/>
                  </a:lnTo>
                  <a:lnTo>
                    <a:pt x="4" y="97"/>
                  </a:lnTo>
                  <a:lnTo>
                    <a:pt x="6" y="104"/>
                  </a:lnTo>
                  <a:lnTo>
                    <a:pt x="9" y="110"/>
                  </a:lnTo>
                  <a:lnTo>
                    <a:pt x="13" y="117"/>
                  </a:lnTo>
                  <a:lnTo>
                    <a:pt x="18" y="122"/>
                  </a:lnTo>
                  <a:lnTo>
                    <a:pt x="22" y="128"/>
                  </a:lnTo>
                  <a:lnTo>
                    <a:pt x="27" y="133"/>
                  </a:lnTo>
                  <a:lnTo>
                    <a:pt x="34" y="137"/>
                  </a:lnTo>
                  <a:lnTo>
                    <a:pt x="39" y="141"/>
                  </a:lnTo>
                  <a:lnTo>
                    <a:pt x="45" y="145"/>
                  </a:lnTo>
                  <a:lnTo>
                    <a:pt x="53" y="147"/>
                  </a:lnTo>
                  <a:lnTo>
                    <a:pt x="60" y="149"/>
                  </a:lnTo>
                  <a:lnTo>
                    <a:pt x="68" y="150"/>
                  </a:lnTo>
                  <a:lnTo>
                    <a:pt x="75" y="150"/>
                  </a:lnTo>
                  <a:lnTo>
                    <a:pt x="83" y="150"/>
                  </a:lnTo>
                  <a:lnTo>
                    <a:pt x="90" y="149"/>
                  </a:lnTo>
                  <a:lnTo>
                    <a:pt x="97" y="147"/>
                  </a:lnTo>
                  <a:lnTo>
                    <a:pt x="104" y="145"/>
                  </a:lnTo>
                  <a:lnTo>
                    <a:pt x="111" y="141"/>
                  </a:lnTo>
                  <a:lnTo>
                    <a:pt x="117" y="137"/>
                  </a:lnTo>
                  <a:lnTo>
                    <a:pt x="123" y="133"/>
                  </a:lnTo>
                  <a:lnTo>
                    <a:pt x="128" y="128"/>
                  </a:lnTo>
                  <a:lnTo>
                    <a:pt x="133" y="122"/>
                  </a:lnTo>
                  <a:lnTo>
                    <a:pt x="138" y="117"/>
                  </a:lnTo>
                  <a:lnTo>
                    <a:pt x="141" y="110"/>
                  </a:lnTo>
                  <a:lnTo>
                    <a:pt x="144" y="104"/>
                  </a:lnTo>
                  <a:lnTo>
                    <a:pt x="147" y="97"/>
                  </a:lnTo>
                  <a:lnTo>
                    <a:pt x="148" y="90"/>
                  </a:lnTo>
                  <a:lnTo>
                    <a:pt x="149" y="82"/>
                  </a:lnTo>
                  <a:lnTo>
                    <a:pt x="151" y="75"/>
                  </a:lnTo>
                  <a:lnTo>
                    <a:pt x="149" y="67"/>
                  </a:lnTo>
                  <a:lnTo>
                    <a:pt x="148" y="60"/>
                  </a:lnTo>
                  <a:lnTo>
                    <a:pt x="147" y="52"/>
                  </a:lnTo>
                  <a:lnTo>
                    <a:pt x="144" y="46"/>
                  </a:lnTo>
                  <a:lnTo>
                    <a:pt x="141" y="40"/>
                  </a:lnTo>
                  <a:lnTo>
                    <a:pt x="138" y="33"/>
                  </a:lnTo>
                  <a:lnTo>
                    <a:pt x="133" y="27"/>
                  </a:lnTo>
                  <a:lnTo>
                    <a:pt x="128" y="21"/>
                  </a:lnTo>
                  <a:lnTo>
                    <a:pt x="123" y="17"/>
                  </a:lnTo>
                  <a:lnTo>
                    <a:pt x="117" y="13"/>
                  </a:lnTo>
                  <a:lnTo>
                    <a:pt x="111" y="8"/>
                  </a:lnTo>
                  <a:lnTo>
                    <a:pt x="104" y="5"/>
                  </a:lnTo>
                  <a:lnTo>
                    <a:pt x="97"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Freeform 182">
              <a:extLst>
                <a:ext uri="{FF2B5EF4-FFF2-40B4-BE49-F238E27FC236}">
                  <a16:creationId xmlns:a16="http://schemas.microsoft.com/office/drawing/2014/main" id="{4FCBA2B5-ACE8-4937-A0A6-709B7C6C39A2}"/>
                </a:ext>
              </a:extLst>
            </p:cNvPr>
            <p:cNvSpPr>
              <a:spLocks noEditPoints="1"/>
            </p:cNvSpPr>
            <p:nvPr/>
          </p:nvSpPr>
          <p:spPr bwMode="auto">
            <a:xfrm>
              <a:off x="9928225" y="1017270"/>
              <a:ext cx="47625" cy="47625"/>
            </a:xfrm>
            <a:custGeom>
              <a:avLst/>
              <a:gdLst>
                <a:gd name="T0" fmla="*/ 67 w 150"/>
                <a:gd name="T1" fmla="*/ 119 h 150"/>
                <a:gd name="T2" fmla="*/ 50 w 150"/>
                <a:gd name="T3" fmla="*/ 113 h 150"/>
                <a:gd name="T4" fmla="*/ 38 w 150"/>
                <a:gd name="T5" fmla="*/ 100 h 150"/>
                <a:gd name="T6" fmla="*/ 31 w 150"/>
                <a:gd name="T7" fmla="*/ 84 h 150"/>
                <a:gd name="T8" fmla="*/ 31 w 150"/>
                <a:gd name="T9" fmla="*/ 65 h 150"/>
                <a:gd name="T10" fmla="*/ 38 w 150"/>
                <a:gd name="T11" fmla="*/ 49 h 150"/>
                <a:gd name="T12" fmla="*/ 50 w 150"/>
                <a:gd name="T13" fmla="*/ 37 h 150"/>
                <a:gd name="T14" fmla="*/ 67 w 150"/>
                <a:gd name="T15" fmla="*/ 31 h 150"/>
                <a:gd name="T16" fmla="*/ 85 w 150"/>
                <a:gd name="T17" fmla="*/ 31 h 150"/>
                <a:gd name="T18" fmla="*/ 101 w 150"/>
                <a:gd name="T19" fmla="*/ 37 h 150"/>
                <a:gd name="T20" fmla="*/ 113 w 150"/>
                <a:gd name="T21" fmla="*/ 49 h 150"/>
                <a:gd name="T22" fmla="*/ 119 w 150"/>
                <a:gd name="T23" fmla="*/ 65 h 150"/>
                <a:gd name="T24" fmla="*/ 119 w 150"/>
                <a:gd name="T25" fmla="*/ 84 h 150"/>
                <a:gd name="T26" fmla="*/ 113 w 150"/>
                <a:gd name="T27" fmla="*/ 100 h 150"/>
                <a:gd name="T28" fmla="*/ 101 w 150"/>
                <a:gd name="T29" fmla="*/ 113 h 150"/>
                <a:gd name="T30" fmla="*/ 85 w 150"/>
                <a:gd name="T31" fmla="*/ 119 h 150"/>
                <a:gd name="T32" fmla="*/ 75 w 150"/>
                <a:gd name="T33" fmla="*/ 0 h 150"/>
                <a:gd name="T34" fmla="*/ 60 w 150"/>
                <a:gd name="T35" fmla="*/ 1 h 150"/>
                <a:gd name="T36" fmla="*/ 46 w 150"/>
                <a:gd name="T37" fmla="*/ 5 h 150"/>
                <a:gd name="T38" fmla="*/ 33 w 150"/>
                <a:gd name="T39" fmla="*/ 13 h 150"/>
                <a:gd name="T40" fmla="*/ 23 w 150"/>
                <a:gd name="T41" fmla="*/ 21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7 h 150"/>
                <a:gd name="T56" fmla="*/ 23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9 w 150"/>
                <a:gd name="T73" fmla="*/ 128 h 150"/>
                <a:gd name="T74" fmla="*/ 137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1 h 150"/>
                <a:gd name="T90" fmla="*/ 117 w 150"/>
                <a:gd name="T91" fmla="*/ 13 h 150"/>
                <a:gd name="T92" fmla="*/ 104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7" y="119"/>
                  </a:lnTo>
                  <a:lnTo>
                    <a:pt x="58" y="117"/>
                  </a:lnTo>
                  <a:lnTo>
                    <a:pt x="50" y="113"/>
                  </a:lnTo>
                  <a:lnTo>
                    <a:pt x="43" y="107"/>
                  </a:lnTo>
                  <a:lnTo>
                    <a:pt x="38" y="100"/>
                  </a:lnTo>
                  <a:lnTo>
                    <a:pt x="33" y="92"/>
                  </a:lnTo>
                  <a:lnTo>
                    <a:pt x="31" y="84"/>
                  </a:lnTo>
                  <a:lnTo>
                    <a:pt x="30" y="75"/>
                  </a:lnTo>
                  <a:lnTo>
                    <a:pt x="31" y="65"/>
                  </a:lnTo>
                  <a:lnTo>
                    <a:pt x="33" y="58"/>
                  </a:lnTo>
                  <a:lnTo>
                    <a:pt x="38" y="49"/>
                  </a:lnTo>
                  <a:lnTo>
                    <a:pt x="43" y="43"/>
                  </a:lnTo>
                  <a:lnTo>
                    <a:pt x="50" y="37"/>
                  </a:lnTo>
                  <a:lnTo>
                    <a:pt x="58" y="33"/>
                  </a:lnTo>
                  <a:lnTo>
                    <a:pt x="67" y="31"/>
                  </a:lnTo>
                  <a:lnTo>
                    <a:pt x="75" y="30"/>
                  </a:lnTo>
                  <a:lnTo>
                    <a:pt x="85" y="31"/>
                  </a:lnTo>
                  <a:lnTo>
                    <a:pt x="92" y="33"/>
                  </a:lnTo>
                  <a:lnTo>
                    <a:pt x="101" y="37"/>
                  </a:lnTo>
                  <a:lnTo>
                    <a:pt x="107" y="43"/>
                  </a:lnTo>
                  <a:lnTo>
                    <a:pt x="113" y="49"/>
                  </a:lnTo>
                  <a:lnTo>
                    <a:pt x="117" y="58"/>
                  </a:lnTo>
                  <a:lnTo>
                    <a:pt x="119" y="65"/>
                  </a:lnTo>
                  <a:lnTo>
                    <a:pt x="120" y="75"/>
                  </a:lnTo>
                  <a:lnTo>
                    <a:pt x="119" y="84"/>
                  </a:lnTo>
                  <a:lnTo>
                    <a:pt x="117" y="92"/>
                  </a:lnTo>
                  <a:lnTo>
                    <a:pt x="113" y="100"/>
                  </a:lnTo>
                  <a:lnTo>
                    <a:pt x="107" y="107"/>
                  </a:lnTo>
                  <a:lnTo>
                    <a:pt x="101" y="113"/>
                  </a:lnTo>
                  <a:lnTo>
                    <a:pt x="92" y="117"/>
                  </a:lnTo>
                  <a:lnTo>
                    <a:pt x="85" y="119"/>
                  </a:lnTo>
                  <a:lnTo>
                    <a:pt x="75" y="120"/>
                  </a:lnTo>
                  <a:close/>
                  <a:moveTo>
                    <a:pt x="75" y="0"/>
                  </a:moveTo>
                  <a:lnTo>
                    <a:pt x="68" y="0"/>
                  </a:lnTo>
                  <a:lnTo>
                    <a:pt x="60" y="1"/>
                  </a:lnTo>
                  <a:lnTo>
                    <a:pt x="53" y="3"/>
                  </a:lnTo>
                  <a:lnTo>
                    <a:pt x="46" y="5"/>
                  </a:lnTo>
                  <a:lnTo>
                    <a:pt x="40" y="8"/>
                  </a:lnTo>
                  <a:lnTo>
                    <a:pt x="33" y="13"/>
                  </a:lnTo>
                  <a:lnTo>
                    <a:pt x="28" y="17"/>
                  </a:lnTo>
                  <a:lnTo>
                    <a:pt x="23" y="21"/>
                  </a:lnTo>
                  <a:lnTo>
                    <a:pt x="17" y="27"/>
                  </a:lnTo>
                  <a:lnTo>
                    <a:pt x="13" y="33"/>
                  </a:lnTo>
                  <a:lnTo>
                    <a:pt x="10" y="40"/>
                  </a:lnTo>
                  <a:lnTo>
                    <a:pt x="6" y="46"/>
                  </a:lnTo>
                  <a:lnTo>
                    <a:pt x="3" y="52"/>
                  </a:lnTo>
                  <a:lnTo>
                    <a:pt x="1" y="60"/>
                  </a:lnTo>
                  <a:lnTo>
                    <a:pt x="0" y="67"/>
                  </a:lnTo>
                  <a:lnTo>
                    <a:pt x="0" y="75"/>
                  </a:lnTo>
                  <a:lnTo>
                    <a:pt x="0" y="82"/>
                  </a:lnTo>
                  <a:lnTo>
                    <a:pt x="1" y="90"/>
                  </a:lnTo>
                  <a:lnTo>
                    <a:pt x="3" y="97"/>
                  </a:lnTo>
                  <a:lnTo>
                    <a:pt x="6" y="104"/>
                  </a:lnTo>
                  <a:lnTo>
                    <a:pt x="10" y="110"/>
                  </a:lnTo>
                  <a:lnTo>
                    <a:pt x="13" y="117"/>
                  </a:lnTo>
                  <a:lnTo>
                    <a:pt x="17" y="122"/>
                  </a:lnTo>
                  <a:lnTo>
                    <a:pt x="23" y="128"/>
                  </a:lnTo>
                  <a:lnTo>
                    <a:pt x="28" y="133"/>
                  </a:lnTo>
                  <a:lnTo>
                    <a:pt x="33" y="137"/>
                  </a:lnTo>
                  <a:lnTo>
                    <a:pt x="40" y="141"/>
                  </a:lnTo>
                  <a:lnTo>
                    <a:pt x="46" y="145"/>
                  </a:lnTo>
                  <a:lnTo>
                    <a:pt x="53" y="147"/>
                  </a:lnTo>
                  <a:lnTo>
                    <a:pt x="60" y="149"/>
                  </a:lnTo>
                  <a:lnTo>
                    <a:pt x="68" y="150"/>
                  </a:lnTo>
                  <a:lnTo>
                    <a:pt x="75" y="150"/>
                  </a:lnTo>
                  <a:lnTo>
                    <a:pt x="83" y="150"/>
                  </a:lnTo>
                  <a:lnTo>
                    <a:pt x="90" y="149"/>
                  </a:lnTo>
                  <a:lnTo>
                    <a:pt x="98" y="147"/>
                  </a:lnTo>
                  <a:lnTo>
                    <a:pt x="104" y="145"/>
                  </a:lnTo>
                  <a:lnTo>
                    <a:pt x="112" y="141"/>
                  </a:lnTo>
                  <a:lnTo>
                    <a:pt x="117" y="137"/>
                  </a:lnTo>
                  <a:lnTo>
                    <a:pt x="123" y="133"/>
                  </a:lnTo>
                  <a:lnTo>
                    <a:pt x="129" y="128"/>
                  </a:lnTo>
                  <a:lnTo>
                    <a:pt x="133" y="122"/>
                  </a:lnTo>
                  <a:lnTo>
                    <a:pt x="137" y="117"/>
                  </a:lnTo>
                  <a:lnTo>
                    <a:pt x="142" y="110"/>
                  </a:lnTo>
                  <a:lnTo>
                    <a:pt x="145" y="104"/>
                  </a:lnTo>
                  <a:lnTo>
                    <a:pt x="147" y="97"/>
                  </a:lnTo>
                  <a:lnTo>
                    <a:pt x="149" y="90"/>
                  </a:lnTo>
                  <a:lnTo>
                    <a:pt x="150" y="82"/>
                  </a:lnTo>
                  <a:lnTo>
                    <a:pt x="150" y="75"/>
                  </a:lnTo>
                  <a:lnTo>
                    <a:pt x="150" y="67"/>
                  </a:lnTo>
                  <a:lnTo>
                    <a:pt x="149" y="60"/>
                  </a:lnTo>
                  <a:lnTo>
                    <a:pt x="147" y="52"/>
                  </a:lnTo>
                  <a:lnTo>
                    <a:pt x="145" y="46"/>
                  </a:lnTo>
                  <a:lnTo>
                    <a:pt x="142" y="40"/>
                  </a:lnTo>
                  <a:lnTo>
                    <a:pt x="137" y="33"/>
                  </a:lnTo>
                  <a:lnTo>
                    <a:pt x="133" y="27"/>
                  </a:lnTo>
                  <a:lnTo>
                    <a:pt x="129" y="21"/>
                  </a:lnTo>
                  <a:lnTo>
                    <a:pt x="123" y="17"/>
                  </a:lnTo>
                  <a:lnTo>
                    <a:pt x="117" y="13"/>
                  </a:lnTo>
                  <a:lnTo>
                    <a:pt x="112" y="8"/>
                  </a:lnTo>
                  <a:lnTo>
                    <a:pt x="104" y="5"/>
                  </a:lnTo>
                  <a:lnTo>
                    <a:pt x="98"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0" name="Group 81">
            <a:extLst>
              <a:ext uri="{FF2B5EF4-FFF2-40B4-BE49-F238E27FC236}">
                <a16:creationId xmlns:a16="http://schemas.microsoft.com/office/drawing/2014/main" id="{6B291C5D-BE7B-4AB1-9381-5052C8190AD3}"/>
              </a:ext>
            </a:extLst>
          </p:cNvPr>
          <p:cNvGrpSpPr>
            <a:grpSpLocks noChangeAspect="1"/>
          </p:cNvGrpSpPr>
          <p:nvPr/>
        </p:nvGrpSpPr>
        <p:grpSpPr>
          <a:xfrm>
            <a:off x="1868328" y="4340505"/>
            <a:ext cx="336738" cy="285619"/>
            <a:chOff x="5522913" y="1498601"/>
            <a:chExt cx="658813" cy="558800"/>
          </a:xfrm>
          <a:solidFill>
            <a:schemeClr val="bg2"/>
          </a:solidFill>
          <a:effectLst/>
        </p:grpSpPr>
        <p:sp>
          <p:nvSpPr>
            <p:cNvPr id="1211" name="Freeform 21">
              <a:extLst>
                <a:ext uri="{FF2B5EF4-FFF2-40B4-BE49-F238E27FC236}">
                  <a16:creationId xmlns:a16="http://schemas.microsoft.com/office/drawing/2014/main" id="{E41E7381-524D-4EA0-8F98-CE1C6F0E552D}"/>
                </a:ext>
              </a:extLst>
            </p:cNvPr>
            <p:cNvSpPr>
              <a:spLocks/>
            </p:cNvSpPr>
            <p:nvPr/>
          </p:nvSpPr>
          <p:spPr bwMode="auto">
            <a:xfrm>
              <a:off x="5740400" y="1574801"/>
              <a:ext cx="184150" cy="139700"/>
            </a:xfrm>
            <a:custGeom>
              <a:avLst/>
              <a:gdLst>
                <a:gd name="T0" fmla="*/ 578 w 578"/>
                <a:gd name="T1" fmla="*/ 57 h 443"/>
                <a:gd name="T2" fmla="*/ 521 w 578"/>
                <a:gd name="T3" fmla="*/ 0 h 443"/>
                <a:gd name="T4" fmla="*/ 191 w 578"/>
                <a:gd name="T5" fmla="*/ 330 h 443"/>
                <a:gd name="T6" fmla="*/ 57 w 578"/>
                <a:gd name="T7" fmla="*/ 196 h 443"/>
                <a:gd name="T8" fmla="*/ 0 w 578"/>
                <a:gd name="T9" fmla="*/ 252 h 443"/>
                <a:gd name="T10" fmla="*/ 191 w 578"/>
                <a:gd name="T11" fmla="*/ 443 h 443"/>
                <a:gd name="T12" fmla="*/ 578 w 578"/>
                <a:gd name="T13" fmla="*/ 57 h 443"/>
              </a:gdLst>
              <a:ahLst/>
              <a:cxnLst>
                <a:cxn ang="0">
                  <a:pos x="T0" y="T1"/>
                </a:cxn>
                <a:cxn ang="0">
                  <a:pos x="T2" y="T3"/>
                </a:cxn>
                <a:cxn ang="0">
                  <a:pos x="T4" y="T5"/>
                </a:cxn>
                <a:cxn ang="0">
                  <a:pos x="T6" y="T7"/>
                </a:cxn>
                <a:cxn ang="0">
                  <a:pos x="T8" y="T9"/>
                </a:cxn>
                <a:cxn ang="0">
                  <a:pos x="T10" y="T11"/>
                </a:cxn>
                <a:cxn ang="0">
                  <a:pos x="T12" y="T13"/>
                </a:cxn>
              </a:cxnLst>
              <a:rect l="0" t="0" r="r" b="b"/>
              <a:pathLst>
                <a:path w="578" h="443">
                  <a:moveTo>
                    <a:pt x="578" y="57"/>
                  </a:moveTo>
                  <a:lnTo>
                    <a:pt x="521" y="0"/>
                  </a:lnTo>
                  <a:lnTo>
                    <a:pt x="191" y="330"/>
                  </a:lnTo>
                  <a:lnTo>
                    <a:pt x="57" y="196"/>
                  </a:lnTo>
                  <a:lnTo>
                    <a:pt x="0" y="252"/>
                  </a:lnTo>
                  <a:lnTo>
                    <a:pt x="191" y="443"/>
                  </a:lnTo>
                  <a:lnTo>
                    <a:pt x="57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22">
              <a:extLst>
                <a:ext uri="{FF2B5EF4-FFF2-40B4-BE49-F238E27FC236}">
                  <a16:creationId xmlns:a16="http://schemas.microsoft.com/office/drawing/2014/main" id="{B7BEB4BA-6504-499B-AB93-079DCA5D46C7}"/>
                </a:ext>
              </a:extLst>
            </p:cNvPr>
            <p:cNvSpPr>
              <a:spLocks noEditPoints="1"/>
            </p:cNvSpPr>
            <p:nvPr/>
          </p:nvSpPr>
          <p:spPr bwMode="auto">
            <a:xfrm>
              <a:off x="5522913" y="1498601"/>
              <a:ext cx="658813" cy="558800"/>
            </a:xfrm>
            <a:custGeom>
              <a:avLst/>
              <a:gdLst>
                <a:gd name="T0" fmla="*/ 508 w 2078"/>
                <a:gd name="T1" fmla="*/ 645 h 1760"/>
                <a:gd name="T2" fmla="*/ 620 w 2078"/>
                <a:gd name="T3" fmla="*/ 820 h 1760"/>
                <a:gd name="T4" fmla="*/ 794 w 2078"/>
                <a:gd name="T5" fmla="*/ 931 h 1760"/>
                <a:gd name="T6" fmla="*/ 1008 w 2078"/>
                <a:gd name="T7" fmla="*/ 958 h 1760"/>
                <a:gd name="T8" fmla="*/ 1207 w 2078"/>
                <a:gd name="T9" fmla="*/ 890 h 1760"/>
                <a:gd name="T10" fmla="*/ 1356 w 2078"/>
                <a:gd name="T11" fmla="*/ 748 h 1760"/>
                <a:gd name="T12" fmla="*/ 1433 w 2078"/>
                <a:gd name="T13" fmla="*/ 553 h 1760"/>
                <a:gd name="T14" fmla="*/ 979 w 2078"/>
                <a:gd name="T15" fmla="*/ 81 h 1760"/>
                <a:gd name="T16" fmla="*/ 1149 w 2078"/>
                <a:gd name="T17" fmla="*/ 129 h 1760"/>
                <a:gd name="T18" fmla="*/ 1279 w 2078"/>
                <a:gd name="T19" fmla="*/ 241 h 1760"/>
                <a:gd name="T20" fmla="*/ 1351 w 2078"/>
                <a:gd name="T21" fmla="*/ 400 h 1760"/>
                <a:gd name="T22" fmla="*/ 1346 w 2078"/>
                <a:gd name="T23" fmla="*/ 580 h 1760"/>
                <a:gd name="T24" fmla="*/ 1268 w 2078"/>
                <a:gd name="T25" fmla="*/ 735 h 1760"/>
                <a:gd name="T26" fmla="*/ 1132 w 2078"/>
                <a:gd name="T27" fmla="*/ 841 h 1760"/>
                <a:gd name="T28" fmla="*/ 959 w 2078"/>
                <a:gd name="T29" fmla="*/ 880 h 1760"/>
                <a:gd name="T30" fmla="*/ 785 w 2078"/>
                <a:gd name="T31" fmla="*/ 841 h 1760"/>
                <a:gd name="T32" fmla="*/ 650 w 2078"/>
                <a:gd name="T33" fmla="*/ 735 h 1760"/>
                <a:gd name="T34" fmla="*/ 572 w 2078"/>
                <a:gd name="T35" fmla="*/ 580 h 1760"/>
                <a:gd name="T36" fmla="*/ 567 w 2078"/>
                <a:gd name="T37" fmla="*/ 400 h 1760"/>
                <a:gd name="T38" fmla="*/ 639 w 2078"/>
                <a:gd name="T39" fmla="*/ 241 h 1760"/>
                <a:gd name="T40" fmla="*/ 769 w 2078"/>
                <a:gd name="T41" fmla="*/ 129 h 1760"/>
                <a:gd name="T42" fmla="*/ 939 w 2078"/>
                <a:gd name="T43" fmla="*/ 81 h 1760"/>
                <a:gd name="T44" fmla="*/ 1500 w 2078"/>
                <a:gd name="T45" fmla="*/ 1652 h 1760"/>
                <a:gd name="T46" fmla="*/ 1439 w 2078"/>
                <a:gd name="T47" fmla="*/ 1681 h 1760"/>
                <a:gd name="T48" fmla="*/ 1377 w 2078"/>
                <a:gd name="T49" fmla="*/ 1652 h 1760"/>
                <a:gd name="T50" fmla="*/ 1361 w 2078"/>
                <a:gd name="T51" fmla="*/ 1584 h 1760"/>
                <a:gd name="T52" fmla="*/ 1401 w 2078"/>
                <a:gd name="T53" fmla="*/ 1530 h 1760"/>
                <a:gd name="T54" fmla="*/ 1470 w 2078"/>
                <a:gd name="T55" fmla="*/ 1526 h 1760"/>
                <a:gd name="T56" fmla="*/ 1515 w 2078"/>
                <a:gd name="T57" fmla="*/ 1577 h 1760"/>
                <a:gd name="T58" fmla="*/ 630 w 2078"/>
                <a:gd name="T59" fmla="*/ 1638 h 1760"/>
                <a:gd name="T60" fmla="*/ 575 w 2078"/>
                <a:gd name="T61" fmla="*/ 1678 h 1760"/>
                <a:gd name="T62" fmla="*/ 508 w 2078"/>
                <a:gd name="T63" fmla="*/ 1662 h 1760"/>
                <a:gd name="T64" fmla="*/ 479 w 2078"/>
                <a:gd name="T65" fmla="*/ 1600 h 1760"/>
                <a:gd name="T66" fmla="*/ 508 w 2078"/>
                <a:gd name="T67" fmla="*/ 1538 h 1760"/>
                <a:gd name="T68" fmla="*/ 575 w 2078"/>
                <a:gd name="T69" fmla="*/ 1522 h 1760"/>
                <a:gd name="T70" fmla="*/ 630 w 2078"/>
                <a:gd name="T71" fmla="*/ 1562 h 1760"/>
                <a:gd name="T72" fmla="*/ 1703 w 2078"/>
                <a:gd name="T73" fmla="*/ 164 h 1760"/>
                <a:gd name="T74" fmla="*/ 1428 w 2078"/>
                <a:gd name="T75" fmla="*/ 379 h 1760"/>
                <a:gd name="T76" fmla="*/ 1353 w 2078"/>
                <a:gd name="T77" fmla="*/ 208 h 1760"/>
                <a:gd name="T78" fmla="*/ 1221 w 2078"/>
                <a:gd name="T79" fmla="*/ 78 h 1760"/>
                <a:gd name="T80" fmla="*/ 1046 w 2078"/>
                <a:gd name="T81" fmla="*/ 8 h 1760"/>
                <a:gd name="T82" fmla="*/ 851 w 2078"/>
                <a:gd name="T83" fmla="*/ 13 h 1760"/>
                <a:gd name="T84" fmla="*/ 680 w 2078"/>
                <a:gd name="T85" fmla="*/ 90 h 1760"/>
                <a:gd name="T86" fmla="*/ 554 w 2078"/>
                <a:gd name="T87" fmla="*/ 224 h 1760"/>
                <a:gd name="T88" fmla="*/ 487 w 2078"/>
                <a:gd name="T89" fmla="*/ 400 h 1760"/>
                <a:gd name="T90" fmla="*/ 6 w 2078"/>
                <a:gd name="T91" fmla="*/ 417 h 1760"/>
                <a:gd name="T92" fmla="*/ 321 w 2078"/>
                <a:gd name="T93" fmla="*/ 1334 h 1760"/>
                <a:gd name="T94" fmla="*/ 1678 w 2078"/>
                <a:gd name="T95" fmla="*/ 1360 h 1760"/>
                <a:gd name="T96" fmla="*/ 457 w 2078"/>
                <a:gd name="T97" fmla="*/ 1477 h 1760"/>
                <a:gd name="T98" fmla="*/ 399 w 2078"/>
                <a:gd name="T99" fmla="*/ 1600 h 1760"/>
                <a:gd name="T100" fmla="*/ 457 w 2078"/>
                <a:gd name="T101" fmla="*/ 1723 h 1760"/>
                <a:gd name="T102" fmla="*/ 591 w 2078"/>
                <a:gd name="T103" fmla="*/ 1757 h 1760"/>
                <a:gd name="T104" fmla="*/ 699 w 2078"/>
                <a:gd name="T105" fmla="*/ 1676 h 1760"/>
                <a:gd name="T106" fmla="*/ 713 w 2078"/>
                <a:gd name="T107" fmla="*/ 1559 h 1760"/>
                <a:gd name="T108" fmla="*/ 1285 w 2078"/>
                <a:gd name="T109" fmla="*/ 1559 h 1760"/>
                <a:gd name="T110" fmla="*/ 1298 w 2078"/>
                <a:gd name="T111" fmla="*/ 1676 h 1760"/>
                <a:gd name="T112" fmla="*/ 1406 w 2078"/>
                <a:gd name="T113" fmla="*/ 1757 h 1760"/>
                <a:gd name="T114" fmla="*/ 1541 w 2078"/>
                <a:gd name="T115" fmla="*/ 1723 h 1760"/>
                <a:gd name="T116" fmla="*/ 1599 w 2078"/>
                <a:gd name="T117" fmla="*/ 1600 h 1760"/>
                <a:gd name="T118" fmla="*/ 1719 w 2078"/>
                <a:gd name="T119" fmla="*/ 1521 h 1760"/>
                <a:gd name="T120" fmla="*/ 1759 w 2078"/>
                <a:gd name="T121" fmla="*/ 1320 h 1760"/>
                <a:gd name="T122" fmla="*/ 2076 w 2078"/>
                <a:gd name="T123" fmla="*/ 215 h 1760"/>
                <a:gd name="T124" fmla="*/ 2047 w 2078"/>
                <a:gd name="T125" fmla="*/ 16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8" h="1760">
                  <a:moveTo>
                    <a:pt x="96" y="481"/>
                  </a:moveTo>
                  <a:lnTo>
                    <a:pt x="479" y="481"/>
                  </a:lnTo>
                  <a:lnTo>
                    <a:pt x="480" y="505"/>
                  </a:lnTo>
                  <a:lnTo>
                    <a:pt x="481" y="529"/>
                  </a:lnTo>
                  <a:lnTo>
                    <a:pt x="484" y="553"/>
                  </a:lnTo>
                  <a:lnTo>
                    <a:pt x="489" y="577"/>
                  </a:lnTo>
                  <a:lnTo>
                    <a:pt x="494" y="600"/>
                  </a:lnTo>
                  <a:lnTo>
                    <a:pt x="501" y="623"/>
                  </a:lnTo>
                  <a:lnTo>
                    <a:pt x="508" y="645"/>
                  </a:lnTo>
                  <a:lnTo>
                    <a:pt x="517" y="666"/>
                  </a:lnTo>
                  <a:lnTo>
                    <a:pt x="527" y="688"/>
                  </a:lnTo>
                  <a:lnTo>
                    <a:pt x="537" y="709"/>
                  </a:lnTo>
                  <a:lnTo>
                    <a:pt x="548" y="729"/>
                  </a:lnTo>
                  <a:lnTo>
                    <a:pt x="562" y="748"/>
                  </a:lnTo>
                  <a:lnTo>
                    <a:pt x="575" y="767"/>
                  </a:lnTo>
                  <a:lnTo>
                    <a:pt x="588" y="785"/>
                  </a:lnTo>
                  <a:lnTo>
                    <a:pt x="604" y="803"/>
                  </a:lnTo>
                  <a:lnTo>
                    <a:pt x="620" y="820"/>
                  </a:lnTo>
                  <a:lnTo>
                    <a:pt x="637" y="835"/>
                  </a:lnTo>
                  <a:lnTo>
                    <a:pt x="653" y="850"/>
                  </a:lnTo>
                  <a:lnTo>
                    <a:pt x="672" y="865"/>
                  </a:lnTo>
                  <a:lnTo>
                    <a:pt x="690" y="878"/>
                  </a:lnTo>
                  <a:lnTo>
                    <a:pt x="710" y="890"/>
                  </a:lnTo>
                  <a:lnTo>
                    <a:pt x="731" y="903"/>
                  </a:lnTo>
                  <a:lnTo>
                    <a:pt x="751" y="913"/>
                  </a:lnTo>
                  <a:lnTo>
                    <a:pt x="772" y="923"/>
                  </a:lnTo>
                  <a:lnTo>
                    <a:pt x="794" y="931"/>
                  </a:lnTo>
                  <a:lnTo>
                    <a:pt x="817" y="938"/>
                  </a:lnTo>
                  <a:lnTo>
                    <a:pt x="839" y="945"/>
                  </a:lnTo>
                  <a:lnTo>
                    <a:pt x="863" y="951"/>
                  </a:lnTo>
                  <a:lnTo>
                    <a:pt x="886" y="955"/>
                  </a:lnTo>
                  <a:lnTo>
                    <a:pt x="910" y="958"/>
                  </a:lnTo>
                  <a:lnTo>
                    <a:pt x="934" y="960"/>
                  </a:lnTo>
                  <a:lnTo>
                    <a:pt x="959" y="960"/>
                  </a:lnTo>
                  <a:lnTo>
                    <a:pt x="983" y="960"/>
                  </a:lnTo>
                  <a:lnTo>
                    <a:pt x="1008" y="958"/>
                  </a:lnTo>
                  <a:lnTo>
                    <a:pt x="1032" y="955"/>
                  </a:lnTo>
                  <a:lnTo>
                    <a:pt x="1055" y="951"/>
                  </a:lnTo>
                  <a:lnTo>
                    <a:pt x="1079" y="945"/>
                  </a:lnTo>
                  <a:lnTo>
                    <a:pt x="1101" y="938"/>
                  </a:lnTo>
                  <a:lnTo>
                    <a:pt x="1123" y="931"/>
                  </a:lnTo>
                  <a:lnTo>
                    <a:pt x="1146" y="923"/>
                  </a:lnTo>
                  <a:lnTo>
                    <a:pt x="1167" y="913"/>
                  </a:lnTo>
                  <a:lnTo>
                    <a:pt x="1187" y="903"/>
                  </a:lnTo>
                  <a:lnTo>
                    <a:pt x="1207" y="890"/>
                  </a:lnTo>
                  <a:lnTo>
                    <a:pt x="1227" y="878"/>
                  </a:lnTo>
                  <a:lnTo>
                    <a:pt x="1245" y="865"/>
                  </a:lnTo>
                  <a:lnTo>
                    <a:pt x="1264" y="850"/>
                  </a:lnTo>
                  <a:lnTo>
                    <a:pt x="1281" y="835"/>
                  </a:lnTo>
                  <a:lnTo>
                    <a:pt x="1298" y="820"/>
                  </a:lnTo>
                  <a:lnTo>
                    <a:pt x="1314" y="803"/>
                  </a:lnTo>
                  <a:lnTo>
                    <a:pt x="1329" y="785"/>
                  </a:lnTo>
                  <a:lnTo>
                    <a:pt x="1343" y="767"/>
                  </a:lnTo>
                  <a:lnTo>
                    <a:pt x="1356" y="748"/>
                  </a:lnTo>
                  <a:lnTo>
                    <a:pt x="1370" y="729"/>
                  </a:lnTo>
                  <a:lnTo>
                    <a:pt x="1381" y="709"/>
                  </a:lnTo>
                  <a:lnTo>
                    <a:pt x="1391" y="688"/>
                  </a:lnTo>
                  <a:lnTo>
                    <a:pt x="1401" y="666"/>
                  </a:lnTo>
                  <a:lnTo>
                    <a:pt x="1410" y="645"/>
                  </a:lnTo>
                  <a:lnTo>
                    <a:pt x="1417" y="623"/>
                  </a:lnTo>
                  <a:lnTo>
                    <a:pt x="1423" y="600"/>
                  </a:lnTo>
                  <a:lnTo>
                    <a:pt x="1429" y="577"/>
                  </a:lnTo>
                  <a:lnTo>
                    <a:pt x="1433" y="553"/>
                  </a:lnTo>
                  <a:lnTo>
                    <a:pt x="1437" y="529"/>
                  </a:lnTo>
                  <a:lnTo>
                    <a:pt x="1438" y="505"/>
                  </a:lnTo>
                  <a:lnTo>
                    <a:pt x="1439" y="481"/>
                  </a:lnTo>
                  <a:lnTo>
                    <a:pt x="1678" y="481"/>
                  </a:lnTo>
                  <a:lnTo>
                    <a:pt x="1678" y="1280"/>
                  </a:lnTo>
                  <a:lnTo>
                    <a:pt x="387" y="1280"/>
                  </a:lnTo>
                  <a:lnTo>
                    <a:pt x="96" y="481"/>
                  </a:lnTo>
                  <a:close/>
                  <a:moveTo>
                    <a:pt x="959" y="80"/>
                  </a:moveTo>
                  <a:lnTo>
                    <a:pt x="979" y="81"/>
                  </a:lnTo>
                  <a:lnTo>
                    <a:pt x="999" y="82"/>
                  </a:lnTo>
                  <a:lnTo>
                    <a:pt x="1019" y="86"/>
                  </a:lnTo>
                  <a:lnTo>
                    <a:pt x="1039" y="89"/>
                  </a:lnTo>
                  <a:lnTo>
                    <a:pt x="1058" y="93"/>
                  </a:lnTo>
                  <a:lnTo>
                    <a:pt x="1077" y="98"/>
                  </a:lnTo>
                  <a:lnTo>
                    <a:pt x="1096" y="105"/>
                  </a:lnTo>
                  <a:lnTo>
                    <a:pt x="1114" y="112"/>
                  </a:lnTo>
                  <a:lnTo>
                    <a:pt x="1132" y="120"/>
                  </a:lnTo>
                  <a:lnTo>
                    <a:pt x="1149" y="129"/>
                  </a:lnTo>
                  <a:lnTo>
                    <a:pt x="1166" y="138"/>
                  </a:lnTo>
                  <a:lnTo>
                    <a:pt x="1183" y="148"/>
                  </a:lnTo>
                  <a:lnTo>
                    <a:pt x="1198" y="159"/>
                  </a:lnTo>
                  <a:lnTo>
                    <a:pt x="1213" y="172"/>
                  </a:lnTo>
                  <a:lnTo>
                    <a:pt x="1227" y="184"/>
                  </a:lnTo>
                  <a:lnTo>
                    <a:pt x="1242" y="197"/>
                  </a:lnTo>
                  <a:lnTo>
                    <a:pt x="1254" y="212"/>
                  </a:lnTo>
                  <a:lnTo>
                    <a:pt x="1268" y="227"/>
                  </a:lnTo>
                  <a:lnTo>
                    <a:pt x="1279" y="241"/>
                  </a:lnTo>
                  <a:lnTo>
                    <a:pt x="1290" y="257"/>
                  </a:lnTo>
                  <a:lnTo>
                    <a:pt x="1301" y="274"/>
                  </a:lnTo>
                  <a:lnTo>
                    <a:pt x="1310" y="290"/>
                  </a:lnTo>
                  <a:lnTo>
                    <a:pt x="1319" y="307"/>
                  </a:lnTo>
                  <a:lnTo>
                    <a:pt x="1327" y="325"/>
                  </a:lnTo>
                  <a:lnTo>
                    <a:pt x="1335" y="343"/>
                  </a:lnTo>
                  <a:lnTo>
                    <a:pt x="1340" y="362"/>
                  </a:lnTo>
                  <a:lnTo>
                    <a:pt x="1346" y="381"/>
                  </a:lnTo>
                  <a:lnTo>
                    <a:pt x="1351" y="400"/>
                  </a:lnTo>
                  <a:lnTo>
                    <a:pt x="1354" y="419"/>
                  </a:lnTo>
                  <a:lnTo>
                    <a:pt x="1356" y="439"/>
                  </a:lnTo>
                  <a:lnTo>
                    <a:pt x="1358" y="459"/>
                  </a:lnTo>
                  <a:lnTo>
                    <a:pt x="1358" y="481"/>
                  </a:lnTo>
                  <a:lnTo>
                    <a:pt x="1358" y="501"/>
                  </a:lnTo>
                  <a:lnTo>
                    <a:pt x="1356" y="521"/>
                  </a:lnTo>
                  <a:lnTo>
                    <a:pt x="1354" y="541"/>
                  </a:lnTo>
                  <a:lnTo>
                    <a:pt x="1351" y="561"/>
                  </a:lnTo>
                  <a:lnTo>
                    <a:pt x="1346" y="580"/>
                  </a:lnTo>
                  <a:lnTo>
                    <a:pt x="1340" y="599"/>
                  </a:lnTo>
                  <a:lnTo>
                    <a:pt x="1335" y="617"/>
                  </a:lnTo>
                  <a:lnTo>
                    <a:pt x="1327" y="636"/>
                  </a:lnTo>
                  <a:lnTo>
                    <a:pt x="1319" y="653"/>
                  </a:lnTo>
                  <a:lnTo>
                    <a:pt x="1310" y="671"/>
                  </a:lnTo>
                  <a:lnTo>
                    <a:pt x="1301" y="688"/>
                  </a:lnTo>
                  <a:lnTo>
                    <a:pt x="1290" y="703"/>
                  </a:lnTo>
                  <a:lnTo>
                    <a:pt x="1279" y="719"/>
                  </a:lnTo>
                  <a:lnTo>
                    <a:pt x="1268" y="735"/>
                  </a:lnTo>
                  <a:lnTo>
                    <a:pt x="1254" y="749"/>
                  </a:lnTo>
                  <a:lnTo>
                    <a:pt x="1242" y="763"/>
                  </a:lnTo>
                  <a:lnTo>
                    <a:pt x="1227" y="776"/>
                  </a:lnTo>
                  <a:lnTo>
                    <a:pt x="1213" y="788"/>
                  </a:lnTo>
                  <a:lnTo>
                    <a:pt x="1198" y="801"/>
                  </a:lnTo>
                  <a:lnTo>
                    <a:pt x="1183" y="812"/>
                  </a:lnTo>
                  <a:lnTo>
                    <a:pt x="1166" y="822"/>
                  </a:lnTo>
                  <a:lnTo>
                    <a:pt x="1149" y="832"/>
                  </a:lnTo>
                  <a:lnTo>
                    <a:pt x="1132" y="841"/>
                  </a:lnTo>
                  <a:lnTo>
                    <a:pt x="1114" y="849"/>
                  </a:lnTo>
                  <a:lnTo>
                    <a:pt x="1096" y="856"/>
                  </a:lnTo>
                  <a:lnTo>
                    <a:pt x="1077" y="862"/>
                  </a:lnTo>
                  <a:lnTo>
                    <a:pt x="1058" y="868"/>
                  </a:lnTo>
                  <a:lnTo>
                    <a:pt x="1039" y="872"/>
                  </a:lnTo>
                  <a:lnTo>
                    <a:pt x="1019" y="876"/>
                  </a:lnTo>
                  <a:lnTo>
                    <a:pt x="999" y="878"/>
                  </a:lnTo>
                  <a:lnTo>
                    <a:pt x="979" y="880"/>
                  </a:lnTo>
                  <a:lnTo>
                    <a:pt x="959" y="880"/>
                  </a:lnTo>
                  <a:lnTo>
                    <a:pt x="939" y="880"/>
                  </a:lnTo>
                  <a:lnTo>
                    <a:pt x="919" y="878"/>
                  </a:lnTo>
                  <a:lnTo>
                    <a:pt x="898" y="876"/>
                  </a:lnTo>
                  <a:lnTo>
                    <a:pt x="878" y="872"/>
                  </a:lnTo>
                  <a:lnTo>
                    <a:pt x="859" y="868"/>
                  </a:lnTo>
                  <a:lnTo>
                    <a:pt x="840" y="862"/>
                  </a:lnTo>
                  <a:lnTo>
                    <a:pt x="821" y="856"/>
                  </a:lnTo>
                  <a:lnTo>
                    <a:pt x="803" y="849"/>
                  </a:lnTo>
                  <a:lnTo>
                    <a:pt x="785" y="841"/>
                  </a:lnTo>
                  <a:lnTo>
                    <a:pt x="769" y="832"/>
                  </a:lnTo>
                  <a:lnTo>
                    <a:pt x="752" y="822"/>
                  </a:lnTo>
                  <a:lnTo>
                    <a:pt x="735" y="812"/>
                  </a:lnTo>
                  <a:lnTo>
                    <a:pt x="719" y="801"/>
                  </a:lnTo>
                  <a:lnTo>
                    <a:pt x="705" y="788"/>
                  </a:lnTo>
                  <a:lnTo>
                    <a:pt x="690" y="776"/>
                  </a:lnTo>
                  <a:lnTo>
                    <a:pt x="676" y="763"/>
                  </a:lnTo>
                  <a:lnTo>
                    <a:pt x="663" y="749"/>
                  </a:lnTo>
                  <a:lnTo>
                    <a:pt x="650" y="735"/>
                  </a:lnTo>
                  <a:lnTo>
                    <a:pt x="639" y="719"/>
                  </a:lnTo>
                  <a:lnTo>
                    <a:pt x="628" y="703"/>
                  </a:lnTo>
                  <a:lnTo>
                    <a:pt x="618" y="688"/>
                  </a:lnTo>
                  <a:lnTo>
                    <a:pt x="607" y="671"/>
                  </a:lnTo>
                  <a:lnTo>
                    <a:pt x="598" y="653"/>
                  </a:lnTo>
                  <a:lnTo>
                    <a:pt x="591" y="636"/>
                  </a:lnTo>
                  <a:lnTo>
                    <a:pt x="583" y="617"/>
                  </a:lnTo>
                  <a:lnTo>
                    <a:pt x="577" y="599"/>
                  </a:lnTo>
                  <a:lnTo>
                    <a:pt x="572" y="580"/>
                  </a:lnTo>
                  <a:lnTo>
                    <a:pt x="567" y="561"/>
                  </a:lnTo>
                  <a:lnTo>
                    <a:pt x="564" y="541"/>
                  </a:lnTo>
                  <a:lnTo>
                    <a:pt x="562" y="521"/>
                  </a:lnTo>
                  <a:lnTo>
                    <a:pt x="559" y="501"/>
                  </a:lnTo>
                  <a:lnTo>
                    <a:pt x="559" y="481"/>
                  </a:lnTo>
                  <a:lnTo>
                    <a:pt x="559" y="459"/>
                  </a:lnTo>
                  <a:lnTo>
                    <a:pt x="562" y="439"/>
                  </a:lnTo>
                  <a:lnTo>
                    <a:pt x="564" y="419"/>
                  </a:lnTo>
                  <a:lnTo>
                    <a:pt x="567" y="400"/>
                  </a:lnTo>
                  <a:lnTo>
                    <a:pt x="572" y="381"/>
                  </a:lnTo>
                  <a:lnTo>
                    <a:pt x="577" y="362"/>
                  </a:lnTo>
                  <a:lnTo>
                    <a:pt x="583" y="343"/>
                  </a:lnTo>
                  <a:lnTo>
                    <a:pt x="591" y="325"/>
                  </a:lnTo>
                  <a:lnTo>
                    <a:pt x="598" y="307"/>
                  </a:lnTo>
                  <a:lnTo>
                    <a:pt x="607" y="290"/>
                  </a:lnTo>
                  <a:lnTo>
                    <a:pt x="618" y="274"/>
                  </a:lnTo>
                  <a:lnTo>
                    <a:pt x="628" y="257"/>
                  </a:lnTo>
                  <a:lnTo>
                    <a:pt x="639" y="241"/>
                  </a:lnTo>
                  <a:lnTo>
                    <a:pt x="650" y="227"/>
                  </a:lnTo>
                  <a:lnTo>
                    <a:pt x="663" y="212"/>
                  </a:lnTo>
                  <a:lnTo>
                    <a:pt x="676" y="197"/>
                  </a:lnTo>
                  <a:lnTo>
                    <a:pt x="690" y="184"/>
                  </a:lnTo>
                  <a:lnTo>
                    <a:pt x="705" y="172"/>
                  </a:lnTo>
                  <a:lnTo>
                    <a:pt x="719" y="159"/>
                  </a:lnTo>
                  <a:lnTo>
                    <a:pt x="735" y="148"/>
                  </a:lnTo>
                  <a:lnTo>
                    <a:pt x="752" y="138"/>
                  </a:lnTo>
                  <a:lnTo>
                    <a:pt x="769" y="129"/>
                  </a:lnTo>
                  <a:lnTo>
                    <a:pt x="785" y="120"/>
                  </a:lnTo>
                  <a:lnTo>
                    <a:pt x="803" y="112"/>
                  </a:lnTo>
                  <a:lnTo>
                    <a:pt x="821" y="105"/>
                  </a:lnTo>
                  <a:lnTo>
                    <a:pt x="840" y="98"/>
                  </a:lnTo>
                  <a:lnTo>
                    <a:pt x="859" y="93"/>
                  </a:lnTo>
                  <a:lnTo>
                    <a:pt x="878" y="89"/>
                  </a:lnTo>
                  <a:lnTo>
                    <a:pt x="898" y="86"/>
                  </a:lnTo>
                  <a:lnTo>
                    <a:pt x="919" y="82"/>
                  </a:lnTo>
                  <a:lnTo>
                    <a:pt x="939" y="81"/>
                  </a:lnTo>
                  <a:lnTo>
                    <a:pt x="959" y="80"/>
                  </a:lnTo>
                  <a:close/>
                  <a:moveTo>
                    <a:pt x="1518" y="1600"/>
                  </a:moveTo>
                  <a:lnTo>
                    <a:pt x="1518" y="1608"/>
                  </a:lnTo>
                  <a:lnTo>
                    <a:pt x="1517" y="1617"/>
                  </a:lnTo>
                  <a:lnTo>
                    <a:pt x="1515" y="1624"/>
                  </a:lnTo>
                  <a:lnTo>
                    <a:pt x="1513" y="1631"/>
                  </a:lnTo>
                  <a:lnTo>
                    <a:pt x="1509" y="1638"/>
                  </a:lnTo>
                  <a:lnTo>
                    <a:pt x="1505" y="1645"/>
                  </a:lnTo>
                  <a:lnTo>
                    <a:pt x="1500" y="1652"/>
                  </a:lnTo>
                  <a:lnTo>
                    <a:pt x="1495" y="1657"/>
                  </a:lnTo>
                  <a:lnTo>
                    <a:pt x="1489" y="1662"/>
                  </a:lnTo>
                  <a:lnTo>
                    <a:pt x="1484" y="1666"/>
                  </a:lnTo>
                  <a:lnTo>
                    <a:pt x="1477" y="1671"/>
                  </a:lnTo>
                  <a:lnTo>
                    <a:pt x="1470" y="1674"/>
                  </a:lnTo>
                  <a:lnTo>
                    <a:pt x="1462" y="1676"/>
                  </a:lnTo>
                  <a:lnTo>
                    <a:pt x="1455" y="1678"/>
                  </a:lnTo>
                  <a:lnTo>
                    <a:pt x="1447" y="1679"/>
                  </a:lnTo>
                  <a:lnTo>
                    <a:pt x="1439" y="1681"/>
                  </a:lnTo>
                  <a:lnTo>
                    <a:pt x="1430" y="1679"/>
                  </a:lnTo>
                  <a:lnTo>
                    <a:pt x="1422" y="1678"/>
                  </a:lnTo>
                  <a:lnTo>
                    <a:pt x="1415" y="1676"/>
                  </a:lnTo>
                  <a:lnTo>
                    <a:pt x="1408" y="1674"/>
                  </a:lnTo>
                  <a:lnTo>
                    <a:pt x="1401" y="1671"/>
                  </a:lnTo>
                  <a:lnTo>
                    <a:pt x="1394" y="1666"/>
                  </a:lnTo>
                  <a:lnTo>
                    <a:pt x="1387" y="1662"/>
                  </a:lnTo>
                  <a:lnTo>
                    <a:pt x="1382" y="1657"/>
                  </a:lnTo>
                  <a:lnTo>
                    <a:pt x="1377" y="1652"/>
                  </a:lnTo>
                  <a:lnTo>
                    <a:pt x="1373" y="1645"/>
                  </a:lnTo>
                  <a:lnTo>
                    <a:pt x="1368" y="1638"/>
                  </a:lnTo>
                  <a:lnTo>
                    <a:pt x="1365" y="1631"/>
                  </a:lnTo>
                  <a:lnTo>
                    <a:pt x="1363" y="1624"/>
                  </a:lnTo>
                  <a:lnTo>
                    <a:pt x="1361" y="1617"/>
                  </a:lnTo>
                  <a:lnTo>
                    <a:pt x="1359" y="1608"/>
                  </a:lnTo>
                  <a:lnTo>
                    <a:pt x="1358" y="1600"/>
                  </a:lnTo>
                  <a:lnTo>
                    <a:pt x="1359" y="1592"/>
                  </a:lnTo>
                  <a:lnTo>
                    <a:pt x="1361" y="1584"/>
                  </a:lnTo>
                  <a:lnTo>
                    <a:pt x="1363" y="1577"/>
                  </a:lnTo>
                  <a:lnTo>
                    <a:pt x="1365" y="1569"/>
                  </a:lnTo>
                  <a:lnTo>
                    <a:pt x="1368" y="1562"/>
                  </a:lnTo>
                  <a:lnTo>
                    <a:pt x="1373" y="1555"/>
                  </a:lnTo>
                  <a:lnTo>
                    <a:pt x="1377" y="1550"/>
                  </a:lnTo>
                  <a:lnTo>
                    <a:pt x="1382" y="1544"/>
                  </a:lnTo>
                  <a:lnTo>
                    <a:pt x="1387" y="1538"/>
                  </a:lnTo>
                  <a:lnTo>
                    <a:pt x="1394" y="1534"/>
                  </a:lnTo>
                  <a:lnTo>
                    <a:pt x="1401" y="1530"/>
                  </a:lnTo>
                  <a:lnTo>
                    <a:pt x="1408" y="1526"/>
                  </a:lnTo>
                  <a:lnTo>
                    <a:pt x="1415" y="1524"/>
                  </a:lnTo>
                  <a:lnTo>
                    <a:pt x="1422" y="1522"/>
                  </a:lnTo>
                  <a:lnTo>
                    <a:pt x="1430" y="1521"/>
                  </a:lnTo>
                  <a:lnTo>
                    <a:pt x="1439" y="1521"/>
                  </a:lnTo>
                  <a:lnTo>
                    <a:pt x="1447" y="1521"/>
                  </a:lnTo>
                  <a:lnTo>
                    <a:pt x="1455" y="1522"/>
                  </a:lnTo>
                  <a:lnTo>
                    <a:pt x="1462" y="1524"/>
                  </a:lnTo>
                  <a:lnTo>
                    <a:pt x="1470" y="1526"/>
                  </a:lnTo>
                  <a:lnTo>
                    <a:pt x="1477" y="1530"/>
                  </a:lnTo>
                  <a:lnTo>
                    <a:pt x="1484" y="1534"/>
                  </a:lnTo>
                  <a:lnTo>
                    <a:pt x="1489" y="1538"/>
                  </a:lnTo>
                  <a:lnTo>
                    <a:pt x="1495" y="1544"/>
                  </a:lnTo>
                  <a:lnTo>
                    <a:pt x="1500" y="1550"/>
                  </a:lnTo>
                  <a:lnTo>
                    <a:pt x="1505" y="1555"/>
                  </a:lnTo>
                  <a:lnTo>
                    <a:pt x="1509" y="1562"/>
                  </a:lnTo>
                  <a:lnTo>
                    <a:pt x="1513" y="1569"/>
                  </a:lnTo>
                  <a:lnTo>
                    <a:pt x="1515" y="1577"/>
                  </a:lnTo>
                  <a:lnTo>
                    <a:pt x="1517" y="1584"/>
                  </a:lnTo>
                  <a:lnTo>
                    <a:pt x="1518" y="1592"/>
                  </a:lnTo>
                  <a:lnTo>
                    <a:pt x="1518" y="1600"/>
                  </a:lnTo>
                  <a:close/>
                  <a:moveTo>
                    <a:pt x="639" y="1600"/>
                  </a:moveTo>
                  <a:lnTo>
                    <a:pt x="639" y="1608"/>
                  </a:lnTo>
                  <a:lnTo>
                    <a:pt x="638" y="1617"/>
                  </a:lnTo>
                  <a:lnTo>
                    <a:pt x="635" y="1624"/>
                  </a:lnTo>
                  <a:lnTo>
                    <a:pt x="633" y="1631"/>
                  </a:lnTo>
                  <a:lnTo>
                    <a:pt x="630" y="1638"/>
                  </a:lnTo>
                  <a:lnTo>
                    <a:pt x="625" y="1645"/>
                  </a:lnTo>
                  <a:lnTo>
                    <a:pt x="621" y="1652"/>
                  </a:lnTo>
                  <a:lnTo>
                    <a:pt x="615" y="1657"/>
                  </a:lnTo>
                  <a:lnTo>
                    <a:pt x="610" y="1662"/>
                  </a:lnTo>
                  <a:lnTo>
                    <a:pt x="604" y="1666"/>
                  </a:lnTo>
                  <a:lnTo>
                    <a:pt x="597" y="1671"/>
                  </a:lnTo>
                  <a:lnTo>
                    <a:pt x="591" y="1674"/>
                  </a:lnTo>
                  <a:lnTo>
                    <a:pt x="583" y="1676"/>
                  </a:lnTo>
                  <a:lnTo>
                    <a:pt x="575" y="1678"/>
                  </a:lnTo>
                  <a:lnTo>
                    <a:pt x="567" y="1679"/>
                  </a:lnTo>
                  <a:lnTo>
                    <a:pt x="559" y="1681"/>
                  </a:lnTo>
                  <a:lnTo>
                    <a:pt x="550" y="1679"/>
                  </a:lnTo>
                  <a:lnTo>
                    <a:pt x="543" y="1678"/>
                  </a:lnTo>
                  <a:lnTo>
                    <a:pt x="535" y="1676"/>
                  </a:lnTo>
                  <a:lnTo>
                    <a:pt x="528" y="1674"/>
                  </a:lnTo>
                  <a:lnTo>
                    <a:pt x="521" y="1671"/>
                  </a:lnTo>
                  <a:lnTo>
                    <a:pt x="515" y="1666"/>
                  </a:lnTo>
                  <a:lnTo>
                    <a:pt x="508" y="1662"/>
                  </a:lnTo>
                  <a:lnTo>
                    <a:pt x="502" y="1657"/>
                  </a:lnTo>
                  <a:lnTo>
                    <a:pt x="498" y="1652"/>
                  </a:lnTo>
                  <a:lnTo>
                    <a:pt x="492" y="1645"/>
                  </a:lnTo>
                  <a:lnTo>
                    <a:pt x="489" y="1638"/>
                  </a:lnTo>
                  <a:lnTo>
                    <a:pt x="485" y="1631"/>
                  </a:lnTo>
                  <a:lnTo>
                    <a:pt x="482" y="1624"/>
                  </a:lnTo>
                  <a:lnTo>
                    <a:pt x="481" y="1617"/>
                  </a:lnTo>
                  <a:lnTo>
                    <a:pt x="480" y="1608"/>
                  </a:lnTo>
                  <a:lnTo>
                    <a:pt x="479" y="1600"/>
                  </a:lnTo>
                  <a:lnTo>
                    <a:pt x="480" y="1592"/>
                  </a:lnTo>
                  <a:lnTo>
                    <a:pt x="481" y="1584"/>
                  </a:lnTo>
                  <a:lnTo>
                    <a:pt x="482" y="1577"/>
                  </a:lnTo>
                  <a:lnTo>
                    <a:pt x="485" y="1569"/>
                  </a:lnTo>
                  <a:lnTo>
                    <a:pt x="489" y="1562"/>
                  </a:lnTo>
                  <a:lnTo>
                    <a:pt x="492" y="1555"/>
                  </a:lnTo>
                  <a:lnTo>
                    <a:pt x="498" y="1550"/>
                  </a:lnTo>
                  <a:lnTo>
                    <a:pt x="502" y="1544"/>
                  </a:lnTo>
                  <a:lnTo>
                    <a:pt x="508" y="1538"/>
                  </a:lnTo>
                  <a:lnTo>
                    <a:pt x="515" y="1534"/>
                  </a:lnTo>
                  <a:lnTo>
                    <a:pt x="521" y="1530"/>
                  </a:lnTo>
                  <a:lnTo>
                    <a:pt x="528" y="1526"/>
                  </a:lnTo>
                  <a:lnTo>
                    <a:pt x="535" y="1524"/>
                  </a:lnTo>
                  <a:lnTo>
                    <a:pt x="543" y="1522"/>
                  </a:lnTo>
                  <a:lnTo>
                    <a:pt x="550" y="1521"/>
                  </a:lnTo>
                  <a:lnTo>
                    <a:pt x="559" y="1521"/>
                  </a:lnTo>
                  <a:lnTo>
                    <a:pt x="567" y="1521"/>
                  </a:lnTo>
                  <a:lnTo>
                    <a:pt x="575" y="1522"/>
                  </a:lnTo>
                  <a:lnTo>
                    <a:pt x="583" y="1524"/>
                  </a:lnTo>
                  <a:lnTo>
                    <a:pt x="591" y="1526"/>
                  </a:lnTo>
                  <a:lnTo>
                    <a:pt x="597" y="1530"/>
                  </a:lnTo>
                  <a:lnTo>
                    <a:pt x="604" y="1534"/>
                  </a:lnTo>
                  <a:lnTo>
                    <a:pt x="610" y="1538"/>
                  </a:lnTo>
                  <a:lnTo>
                    <a:pt x="615" y="1544"/>
                  </a:lnTo>
                  <a:lnTo>
                    <a:pt x="621" y="1550"/>
                  </a:lnTo>
                  <a:lnTo>
                    <a:pt x="625" y="1555"/>
                  </a:lnTo>
                  <a:lnTo>
                    <a:pt x="630" y="1562"/>
                  </a:lnTo>
                  <a:lnTo>
                    <a:pt x="633" y="1569"/>
                  </a:lnTo>
                  <a:lnTo>
                    <a:pt x="635" y="1577"/>
                  </a:lnTo>
                  <a:lnTo>
                    <a:pt x="638" y="1584"/>
                  </a:lnTo>
                  <a:lnTo>
                    <a:pt x="639" y="1592"/>
                  </a:lnTo>
                  <a:lnTo>
                    <a:pt x="639" y="1600"/>
                  </a:lnTo>
                  <a:close/>
                  <a:moveTo>
                    <a:pt x="2039" y="161"/>
                  </a:moveTo>
                  <a:lnTo>
                    <a:pt x="1719" y="161"/>
                  </a:lnTo>
                  <a:lnTo>
                    <a:pt x="1711" y="162"/>
                  </a:lnTo>
                  <a:lnTo>
                    <a:pt x="1703" y="164"/>
                  </a:lnTo>
                  <a:lnTo>
                    <a:pt x="1696" y="167"/>
                  </a:lnTo>
                  <a:lnTo>
                    <a:pt x="1691" y="172"/>
                  </a:lnTo>
                  <a:lnTo>
                    <a:pt x="1685" y="178"/>
                  </a:lnTo>
                  <a:lnTo>
                    <a:pt x="1682" y="185"/>
                  </a:lnTo>
                  <a:lnTo>
                    <a:pt x="1680" y="192"/>
                  </a:lnTo>
                  <a:lnTo>
                    <a:pt x="1678" y="201"/>
                  </a:lnTo>
                  <a:lnTo>
                    <a:pt x="1678" y="400"/>
                  </a:lnTo>
                  <a:lnTo>
                    <a:pt x="1431" y="400"/>
                  </a:lnTo>
                  <a:lnTo>
                    <a:pt x="1428" y="379"/>
                  </a:lnTo>
                  <a:lnTo>
                    <a:pt x="1422" y="359"/>
                  </a:lnTo>
                  <a:lnTo>
                    <a:pt x="1417" y="338"/>
                  </a:lnTo>
                  <a:lnTo>
                    <a:pt x="1410" y="318"/>
                  </a:lnTo>
                  <a:lnTo>
                    <a:pt x="1402" y="298"/>
                  </a:lnTo>
                  <a:lnTo>
                    <a:pt x="1394" y="279"/>
                  </a:lnTo>
                  <a:lnTo>
                    <a:pt x="1385" y="260"/>
                  </a:lnTo>
                  <a:lnTo>
                    <a:pt x="1375" y="242"/>
                  </a:lnTo>
                  <a:lnTo>
                    <a:pt x="1364" y="224"/>
                  </a:lnTo>
                  <a:lnTo>
                    <a:pt x="1353" y="208"/>
                  </a:lnTo>
                  <a:lnTo>
                    <a:pt x="1340" y="191"/>
                  </a:lnTo>
                  <a:lnTo>
                    <a:pt x="1328" y="174"/>
                  </a:lnTo>
                  <a:lnTo>
                    <a:pt x="1314" y="158"/>
                  </a:lnTo>
                  <a:lnTo>
                    <a:pt x="1300" y="144"/>
                  </a:lnTo>
                  <a:lnTo>
                    <a:pt x="1286" y="129"/>
                  </a:lnTo>
                  <a:lnTo>
                    <a:pt x="1270" y="116"/>
                  </a:lnTo>
                  <a:lnTo>
                    <a:pt x="1254" y="102"/>
                  </a:lnTo>
                  <a:lnTo>
                    <a:pt x="1238" y="90"/>
                  </a:lnTo>
                  <a:lnTo>
                    <a:pt x="1221" y="78"/>
                  </a:lnTo>
                  <a:lnTo>
                    <a:pt x="1203" y="68"/>
                  </a:lnTo>
                  <a:lnTo>
                    <a:pt x="1185" y="56"/>
                  </a:lnTo>
                  <a:lnTo>
                    <a:pt x="1166" y="47"/>
                  </a:lnTo>
                  <a:lnTo>
                    <a:pt x="1147" y="38"/>
                  </a:lnTo>
                  <a:lnTo>
                    <a:pt x="1128" y="31"/>
                  </a:lnTo>
                  <a:lnTo>
                    <a:pt x="1108" y="24"/>
                  </a:lnTo>
                  <a:lnTo>
                    <a:pt x="1088" y="18"/>
                  </a:lnTo>
                  <a:lnTo>
                    <a:pt x="1066" y="13"/>
                  </a:lnTo>
                  <a:lnTo>
                    <a:pt x="1046" y="8"/>
                  </a:lnTo>
                  <a:lnTo>
                    <a:pt x="1025" y="5"/>
                  </a:lnTo>
                  <a:lnTo>
                    <a:pt x="1002" y="3"/>
                  </a:lnTo>
                  <a:lnTo>
                    <a:pt x="981" y="0"/>
                  </a:lnTo>
                  <a:lnTo>
                    <a:pt x="959" y="0"/>
                  </a:lnTo>
                  <a:lnTo>
                    <a:pt x="936" y="0"/>
                  </a:lnTo>
                  <a:lnTo>
                    <a:pt x="915" y="3"/>
                  </a:lnTo>
                  <a:lnTo>
                    <a:pt x="893" y="5"/>
                  </a:lnTo>
                  <a:lnTo>
                    <a:pt x="872" y="8"/>
                  </a:lnTo>
                  <a:lnTo>
                    <a:pt x="851" y="13"/>
                  </a:lnTo>
                  <a:lnTo>
                    <a:pt x="830" y="18"/>
                  </a:lnTo>
                  <a:lnTo>
                    <a:pt x="810" y="24"/>
                  </a:lnTo>
                  <a:lnTo>
                    <a:pt x="790" y="31"/>
                  </a:lnTo>
                  <a:lnTo>
                    <a:pt x="771" y="38"/>
                  </a:lnTo>
                  <a:lnTo>
                    <a:pt x="752" y="47"/>
                  </a:lnTo>
                  <a:lnTo>
                    <a:pt x="733" y="56"/>
                  </a:lnTo>
                  <a:lnTo>
                    <a:pt x="715" y="68"/>
                  </a:lnTo>
                  <a:lnTo>
                    <a:pt x="697" y="78"/>
                  </a:lnTo>
                  <a:lnTo>
                    <a:pt x="680" y="90"/>
                  </a:lnTo>
                  <a:lnTo>
                    <a:pt x="663" y="102"/>
                  </a:lnTo>
                  <a:lnTo>
                    <a:pt x="648" y="116"/>
                  </a:lnTo>
                  <a:lnTo>
                    <a:pt x="632" y="129"/>
                  </a:lnTo>
                  <a:lnTo>
                    <a:pt x="618" y="144"/>
                  </a:lnTo>
                  <a:lnTo>
                    <a:pt x="604" y="158"/>
                  </a:lnTo>
                  <a:lnTo>
                    <a:pt x="590" y="174"/>
                  </a:lnTo>
                  <a:lnTo>
                    <a:pt x="577" y="191"/>
                  </a:lnTo>
                  <a:lnTo>
                    <a:pt x="565" y="208"/>
                  </a:lnTo>
                  <a:lnTo>
                    <a:pt x="554" y="224"/>
                  </a:lnTo>
                  <a:lnTo>
                    <a:pt x="543" y="242"/>
                  </a:lnTo>
                  <a:lnTo>
                    <a:pt x="532" y="260"/>
                  </a:lnTo>
                  <a:lnTo>
                    <a:pt x="524" y="279"/>
                  </a:lnTo>
                  <a:lnTo>
                    <a:pt x="516" y="298"/>
                  </a:lnTo>
                  <a:lnTo>
                    <a:pt x="508" y="318"/>
                  </a:lnTo>
                  <a:lnTo>
                    <a:pt x="501" y="338"/>
                  </a:lnTo>
                  <a:lnTo>
                    <a:pt x="496" y="359"/>
                  </a:lnTo>
                  <a:lnTo>
                    <a:pt x="490" y="379"/>
                  </a:lnTo>
                  <a:lnTo>
                    <a:pt x="487" y="400"/>
                  </a:lnTo>
                  <a:lnTo>
                    <a:pt x="39" y="400"/>
                  </a:lnTo>
                  <a:lnTo>
                    <a:pt x="34" y="400"/>
                  </a:lnTo>
                  <a:lnTo>
                    <a:pt x="30" y="401"/>
                  </a:lnTo>
                  <a:lnTo>
                    <a:pt x="26" y="403"/>
                  </a:lnTo>
                  <a:lnTo>
                    <a:pt x="21" y="405"/>
                  </a:lnTo>
                  <a:lnTo>
                    <a:pt x="17" y="407"/>
                  </a:lnTo>
                  <a:lnTo>
                    <a:pt x="13" y="410"/>
                  </a:lnTo>
                  <a:lnTo>
                    <a:pt x="10" y="413"/>
                  </a:lnTo>
                  <a:lnTo>
                    <a:pt x="6" y="417"/>
                  </a:lnTo>
                  <a:lnTo>
                    <a:pt x="4" y="421"/>
                  </a:lnTo>
                  <a:lnTo>
                    <a:pt x="2" y="426"/>
                  </a:lnTo>
                  <a:lnTo>
                    <a:pt x="1" y="430"/>
                  </a:lnTo>
                  <a:lnTo>
                    <a:pt x="0" y="435"/>
                  </a:lnTo>
                  <a:lnTo>
                    <a:pt x="0" y="440"/>
                  </a:lnTo>
                  <a:lnTo>
                    <a:pt x="0" y="445"/>
                  </a:lnTo>
                  <a:lnTo>
                    <a:pt x="0" y="449"/>
                  </a:lnTo>
                  <a:lnTo>
                    <a:pt x="2" y="454"/>
                  </a:lnTo>
                  <a:lnTo>
                    <a:pt x="321" y="1334"/>
                  </a:lnTo>
                  <a:lnTo>
                    <a:pt x="324" y="1339"/>
                  </a:lnTo>
                  <a:lnTo>
                    <a:pt x="328" y="1345"/>
                  </a:lnTo>
                  <a:lnTo>
                    <a:pt x="331" y="1349"/>
                  </a:lnTo>
                  <a:lnTo>
                    <a:pt x="337" y="1353"/>
                  </a:lnTo>
                  <a:lnTo>
                    <a:pt x="341" y="1356"/>
                  </a:lnTo>
                  <a:lnTo>
                    <a:pt x="347" y="1358"/>
                  </a:lnTo>
                  <a:lnTo>
                    <a:pt x="353" y="1359"/>
                  </a:lnTo>
                  <a:lnTo>
                    <a:pt x="359" y="1360"/>
                  </a:lnTo>
                  <a:lnTo>
                    <a:pt x="1678" y="1360"/>
                  </a:lnTo>
                  <a:lnTo>
                    <a:pt x="1678" y="1440"/>
                  </a:lnTo>
                  <a:lnTo>
                    <a:pt x="559" y="1440"/>
                  </a:lnTo>
                  <a:lnTo>
                    <a:pt x="543" y="1441"/>
                  </a:lnTo>
                  <a:lnTo>
                    <a:pt x="527" y="1443"/>
                  </a:lnTo>
                  <a:lnTo>
                    <a:pt x="511" y="1448"/>
                  </a:lnTo>
                  <a:lnTo>
                    <a:pt x="497" y="1452"/>
                  </a:lnTo>
                  <a:lnTo>
                    <a:pt x="483" y="1460"/>
                  </a:lnTo>
                  <a:lnTo>
                    <a:pt x="470" y="1468"/>
                  </a:lnTo>
                  <a:lnTo>
                    <a:pt x="457" y="1477"/>
                  </a:lnTo>
                  <a:lnTo>
                    <a:pt x="446" y="1487"/>
                  </a:lnTo>
                  <a:lnTo>
                    <a:pt x="435" y="1498"/>
                  </a:lnTo>
                  <a:lnTo>
                    <a:pt x="426" y="1510"/>
                  </a:lnTo>
                  <a:lnTo>
                    <a:pt x="418" y="1524"/>
                  </a:lnTo>
                  <a:lnTo>
                    <a:pt x="412" y="1538"/>
                  </a:lnTo>
                  <a:lnTo>
                    <a:pt x="406" y="1553"/>
                  </a:lnTo>
                  <a:lnTo>
                    <a:pt x="403" y="1568"/>
                  </a:lnTo>
                  <a:lnTo>
                    <a:pt x="400" y="1584"/>
                  </a:lnTo>
                  <a:lnTo>
                    <a:pt x="399" y="1600"/>
                  </a:lnTo>
                  <a:lnTo>
                    <a:pt x="400" y="1617"/>
                  </a:lnTo>
                  <a:lnTo>
                    <a:pt x="403" y="1632"/>
                  </a:lnTo>
                  <a:lnTo>
                    <a:pt x="406" y="1648"/>
                  </a:lnTo>
                  <a:lnTo>
                    <a:pt x="412" y="1663"/>
                  </a:lnTo>
                  <a:lnTo>
                    <a:pt x="418" y="1676"/>
                  </a:lnTo>
                  <a:lnTo>
                    <a:pt x="426" y="1690"/>
                  </a:lnTo>
                  <a:lnTo>
                    <a:pt x="435" y="1702"/>
                  </a:lnTo>
                  <a:lnTo>
                    <a:pt x="446" y="1713"/>
                  </a:lnTo>
                  <a:lnTo>
                    <a:pt x="457" y="1723"/>
                  </a:lnTo>
                  <a:lnTo>
                    <a:pt x="470" y="1733"/>
                  </a:lnTo>
                  <a:lnTo>
                    <a:pt x="483" y="1741"/>
                  </a:lnTo>
                  <a:lnTo>
                    <a:pt x="497" y="1748"/>
                  </a:lnTo>
                  <a:lnTo>
                    <a:pt x="511" y="1753"/>
                  </a:lnTo>
                  <a:lnTo>
                    <a:pt x="527" y="1757"/>
                  </a:lnTo>
                  <a:lnTo>
                    <a:pt x="543" y="1759"/>
                  </a:lnTo>
                  <a:lnTo>
                    <a:pt x="559" y="1760"/>
                  </a:lnTo>
                  <a:lnTo>
                    <a:pt x="575" y="1759"/>
                  </a:lnTo>
                  <a:lnTo>
                    <a:pt x="591" y="1757"/>
                  </a:lnTo>
                  <a:lnTo>
                    <a:pt x="606" y="1753"/>
                  </a:lnTo>
                  <a:lnTo>
                    <a:pt x="621" y="1748"/>
                  </a:lnTo>
                  <a:lnTo>
                    <a:pt x="635" y="1741"/>
                  </a:lnTo>
                  <a:lnTo>
                    <a:pt x="649" y="1733"/>
                  </a:lnTo>
                  <a:lnTo>
                    <a:pt x="661" y="1723"/>
                  </a:lnTo>
                  <a:lnTo>
                    <a:pt x="672" y="1713"/>
                  </a:lnTo>
                  <a:lnTo>
                    <a:pt x="682" y="1702"/>
                  </a:lnTo>
                  <a:lnTo>
                    <a:pt x="691" y="1690"/>
                  </a:lnTo>
                  <a:lnTo>
                    <a:pt x="699" y="1676"/>
                  </a:lnTo>
                  <a:lnTo>
                    <a:pt x="706" y="1663"/>
                  </a:lnTo>
                  <a:lnTo>
                    <a:pt x="712" y="1648"/>
                  </a:lnTo>
                  <a:lnTo>
                    <a:pt x="716" y="1632"/>
                  </a:lnTo>
                  <a:lnTo>
                    <a:pt x="718" y="1617"/>
                  </a:lnTo>
                  <a:lnTo>
                    <a:pt x="719" y="1600"/>
                  </a:lnTo>
                  <a:lnTo>
                    <a:pt x="718" y="1589"/>
                  </a:lnTo>
                  <a:lnTo>
                    <a:pt x="717" y="1579"/>
                  </a:lnTo>
                  <a:lnTo>
                    <a:pt x="716" y="1569"/>
                  </a:lnTo>
                  <a:lnTo>
                    <a:pt x="713" y="1559"/>
                  </a:lnTo>
                  <a:lnTo>
                    <a:pt x="709" y="1549"/>
                  </a:lnTo>
                  <a:lnTo>
                    <a:pt x="706" y="1538"/>
                  </a:lnTo>
                  <a:lnTo>
                    <a:pt x="701" y="1530"/>
                  </a:lnTo>
                  <a:lnTo>
                    <a:pt x="697" y="1521"/>
                  </a:lnTo>
                  <a:lnTo>
                    <a:pt x="1301" y="1521"/>
                  </a:lnTo>
                  <a:lnTo>
                    <a:pt x="1296" y="1530"/>
                  </a:lnTo>
                  <a:lnTo>
                    <a:pt x="1291" y="1538"/>
                  </a:lnTo>
                  <a:lnTo>
                    <a:pt x="1288" y="1549"/>
                  </a:lnTo>
                  <a:lnTo>
                    <a:pt x="1285" y="1559"/>
                  </a:lnTo>
                  <a:lnTo>
                    <a:pt x="1282" y="1569"/>
                  </a:lnTo>
                  <a:lnTo>
                    <a:pt x="1280" y="1579"/>
                  </a:lnTo>
                  <a:lnTo>
                    <a:pt x="1279" y="1589"/>
                  </a:lnTo>
                  <a:lnTo>
                    <a:pt x="1279" y="1600"/>
                  </a:lnTo>
                  <a:lnTo>
                    <a:pt x="1280" y="1617"/>
                  </a:lnTo>
                  <a:lnTo>
                    <a:pt x="1282" y="1632"/>
                  </a:lnTo>
                  <a:lnTo>
                    <a:pt x="1286" y="1648"/>
                  </a:lnTo>
                  <a:lnTo>
                    <a:pt x="1291" y="1663"/>
                  </a:lnTo>
                  <a:lnTo>
                    <a:pt x="1298" y="1676"/>
                  </a:lnTo>
                  <a:lnTo>
                    <a:pt x="1306" y="1690"/>
                  </a:lnTo>
                  <a:lnTo>
                    <a:pt x="1316" y="1702"/>
                  </a:lnTo>
                  <a:lnTo>
                    <a:pt x="1326" y="1713"/>
                  </a:lnTo>
                  <a:lnTo>
                    <a:pt x="1337" y="1723"/>
                  </a:lnTo>
                  <a:lnTo>
                    <a:pt x="1349" y="1733"/>
                  </a:lnTo>
                  <a:lnTo>
                    <a:pt x="1363" y="1741"/>
                  </a:lnTo>
                  <a:lnTo>
                    <a:pt x="1376" y="1748"/>
                  </a:lnTo>
                  <a:lnTo>
                    <a:pt x="1391" y="1753"/>
                  </a:lnTo>
                  <a:lnTo>
                    <a:pt x="1406" y="1757"/>
                  </a:lnTo>
                  <a:lnTo>
                    <a:pt x="1422" y="1759"/>
                  </a:lnTo>
                  <a:lnTo>
                    <a:pt x="1439" y="1760"/>
                  </a:lnTo>
                  <a:lnTo>
                    <a:pt x="1455" y="1759"/>
                  </a:lnTo>
                  <a:lnTo>
                    <a:pt x="1471" y="1757"/>
                  </a:lnTo>
                  <a:lnTo>
                    <a:pt x="1486" y="1753"/>
                  </a:lnTo>
                  <a:lnTo>
                    <a:pt x="1500" y="1748"/>
                  </a:lnTo>
                  <a:lnTo>
                    <a:pt x="1515" y="1741"/>
                  </a:lnTo>
                  <a:lnTo>
                    <a:pt x="1528" y="1733"/>
                  </a:lnTo>
                  <a:lnTo>
                    <a:pt x="1541" y="1723"/>
                  </a:lnTo>
                  <a:lnTo>
                    <a:pt x="1552" y="1713"/>
                  </a:lnTo>
                  <a:lnTo>
                    <a:pt x="1562" y="1702"/>
                  </a:lnTo>
                  <a:lnTo>
                    <a:pt x="1571" y="1690"/>
                  </a:lnTo>
                  <a:lnTo>
                    <a:pt x="1579" y="1676"/>
                  </a:lnTo>
                  <a:lnTo>
                    <a:pt x="1586" y="1663"/>
                  </a:lnTo>
                  <a:lnTo>
                    <a:pt x="1591" y="1648"/>
                  </a:lnTo>
                  <a:lnTo>
                    <a:pt x="1596" y="1632"/>
                  </a:lnTo>
                  <a:lnTo>
                    <a:pt x="1598" y="1617"/>
                  </a:lnTo>
                  <a:lnTo>
                    <a:pt x="1599" y="1600"/>
                  </a:lnTo>
                  <a:lnTo>
                    <a:pt x="1598" y="1589"/>
                  </a:lnTo>
                  <a:lnTo>
                    <a:pt x="1597" y="1579"/>
                  </a:lnTo>
                  <a:lnTo>
                    <a:pt x="1596" y="1569"/>
                  </a:lnTo>
                  <a:lnTo>
                    <a:pt x="1592" y="1559"/>
                  </a:lnTo>
                  <a:lnTo>
                    <a:pt x="1589" y="1549"/>
                  </a:lnTo>
                  <a:lnTo>
                    <a:pt x="1586" y="1538"/>
                  </a:lnTo>
                  <a:lnTo>
                    <a:pt x="1581" y="1530"/>
                  </a:lnTo>
                  <a:lnTo>
                    <a:pt x="1577" y="1521"/>
                  </a:lnTo>
                  <a:lnTo>
                    <a:pt x="1719" y="1521"/>
                  </a:lnTo>
                  <a:lnTo>
                    <a:pt x="1727" y="1519"/>
                  </a:lnTo>
                  <a:lnTo>
                    <a:pt x="1734" y="1517"/>
                  </a:lnTo>
                  <a:lnTo>
                    <a:pt x="1741" y="1514"/>
                  </a:lnTo>
                  <a:lnTo>
                    <a:pt x="1747" y="1508"/>
                  </a:lnTo>
                  <a:lnTo>
                    <a:pt x="1751" y="1503"/>
                  </a:lnTo>
                  <a:lnTo>
                    <a:pt x="1756" y="1496"/>
                  </a:lnTo>
                  <a:lnTo>
                    <a:pt x="1758" y="1488"/>
                  </a:lnTo>
                  <a:lnTo>
                    <a:pt x="1759" y="1480"/>
                  </a:lnTo>
                  <a:lnTo>
                    <a:pt x="1759" y="1320"/>
                  </a:lnTo>
                  <a:lnTo>
                    <a:pt x="1759" y="440"/>
                  </a:lnTo>
                  <a:lnTo>
                    <a:pt x="1759" y="240"/>
                  </a:lnTo>
                  <a:lnTo>
                    <a:pt x="2039" y="240"/>
                  </a:lnTo>
                  <a:lnTo>
                    <a:pt x="2047" y="240"/>
                  </a:lnTo>
                  <a:lnTo>
                    <a:pt x="2054" y="237"/>
                  </a:lnTo>
                  <a:lnTo>
                    <a:pt x="2061" y="233"/>
                  </a:lnTo>
                  <a:lnTo>
                    <a:pt x="2067" y="229"/>
                  </a:lnTo>
                  <a:lnTo>
                    <a:pt x="2071" y="223"/>
                  </a:lnTo>
                  <a:lnTo>
                    <a:pt x="2076" y="215"/>
                  </a:lnTo>
                  <a:lnTo>
                    <a:pt x="2078" y="209"/>
                  </a:lnTo>
                  <a:lnTo>
                    <a:pt x="2078" y="201"/>
                  </a:lnTo>
                  <a:lnTo>
                    <a:pt x="2078" y="192"/>
                  </a:lnTo>
                  <a:lnTo>
                    <a:pt x="2076" y="185"/>
                  </a:lnTo>
                  <a:lnTo>
                    <a:pt x="2071" y="178"/>
                  </a:lnTo>
                  <a:lnTo>
                    <a:pt x="2067" y="172"/>
                  </a:lnTo>
                  <a:lnTo>
                    <a:pt x="2061" y="167"/>
                  </a:lnTo>
                  <a:lnTo>
                    <a:pt x="2054" y="164"/>
                  </a:lnTo>
                  <a:lnTo>
                    <a:pt x="2047" y="162"/>
                  </a:lnTo>
                  <a:lnTo>
                    <a:pt x="2039"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5" name="Freeform 313">
            <a:extLst>
              <a:ext uri="{FF2B5EF4-FFF2-40B4-BE49-F238E27FC236}">
                <a16:creationId xmlns:a16="http://schemas.microsoft.com/office/drawing/2014/main" id="{09E29DC9-ED45-4366-BD36-77988C21D72F}"/>
              </a:ext>
            </a:extLst>
          </p:cNvPr>
          <p:cNvSpPr>
            <a:spLocks noChangeAspect="1" noEditPoints="1"/>
          </p:cNvSpPr>
          <p:nvPr/>
        </p:nvSpPr>
        <p:spPr bwMode="auto">
          <a:xfrm>
            <a:off x="2301496" y="4340505"/>
            <a:ext cx="311583" cy="285619"/>
          </a:xfrm>
          <a:custGeom>
            <a:avLst/>
            <a:gdLst>
              <a:gd name="T0" fmla="*/ 140 w 902"/>
              <a:gd name="T1" fmla="*/ 617 h 827"/>
              <a:gd name="T2" fmla="*/ 35 w 902"/>
              <a:gd name="T3" fmla="*/ 68 h 827"/>
              <a:gd name="T4" fmla="*/ 361 w 902"/>
              <a:gd name="T5" fmla="*/ 165 h 827"/>
              <a:gd name="T6" fmla="*/ 541 w 902"/>
              <a:gd name="T7" fmla="*/ 161 h 827"/>
              <a:gd name="T8" fmla="*/ 569 w 902"/>
              <a:gd name="T9" fmla="*/ 794 h 827"/>
              <a:gd name="T10" fmla="*/ 542 w 902"/>
              <a:gd name="T11" fmla="*/ 761 h 827"/>
              <a:gd name="T12" fmla="*/ 555 w 902"/>
              <a:gd name="T13" fmla="*/ 720 h 827"/>
              <a:gd name="T14" fmla="*/ 595 w 902"/>
              <a:gd name="T15" fmla="*/ 708 h 827"/>
              <a:gd name="T16" fmla="*/ 628 w 902"/>
              <a:gd name="T17" fmla="*/ 735 h 827"/>
              <a:gd name="T18" fmla="*/ 623 w 902"/>
              <a:gd name="T19" fmla="*/ 777 h 827"/>
              <a:gd name="T20" fmla="*/ 587 w 902"/>
              <a:gd name="T21" fmla="*/ 797 h 827"/>
              <a:gd name="T22" fmla="*/ 213 w 902"/>
              <a:gd name="T23" fmla="*/ 784 h 827"/>
              <a:gd name="T24" fmla="*/ 172 w 902"/>
              <a:gd name="T25" fmla="*/ 796 h 827"/>
              <a:gd name="T26" fmla="*/ 139 w 902"/>
              <a:gd name="T27" fmla="*/ 769 h 827"/>
              <a:gd name="T28" fmla="*/ 143 w 902"/>
              <a:gd name="T29" fmla="*/ 726 h 827"/>
              <a:gd name="T30" fmla="*/ 180 w 902"/>
              <a:gd name="T31" fmla="*/ 707 h 827"/>
              <a:gd name="T32" fmla="*/ 218 w 902"/>
              <a:gd name="T33" fmla="*/ 726 h 827"/>
              <a:gd name="T34" fmla="*/ 754 w 902"/>
              <a:gd name="T35" fmla="*/ 45 h 827"/>
              <a:gd name="T36" fmla="*/ 693 w 902"/>
              <a:gd name="T37" fmla="*/ 249 h 827"/>
              <a:gd name="T38" fmla="*/ 565 w 902"/>
              <a:gd name="T39" fmla="*/ 102 h 827"/>
              <a:gd name="T40" fmla="*/ 525 w 902"/>
              <a:gd name="T41" fmla="*/ 135 h 827"/>
              <a:gd name="T42" fmla="*/ 335 w 902"/>
              <a:gd name="T43" fmla="*/ 140 h 827"/>
              <a:gd name="T44" fmla="*/ 331 w 902"/>
              <a:gd name="T45" fmla="*/ 255 h 827"/>
              <a:gd name="T46" fmla="*/ 118 w 902"/>
              <a:gd name="T47" fmla="*/ 2 h 827"/>
              <a:gd name="T48" fmla="*/ 103 w 902"/>
              <a:gd name="T49" fmla="*/ 1 h 827"/>
              <a:gd name="T50" fmla="*/ 1 w 902"/>
              <a:gd name="T51" fmla="*/ 55 h 827"/>
              <a:gd name="T52" fmla="*/ 83 w 902"/>
              <a:gd name="T53" fmla="*/ 255 h 827"/>
              <a:gd name="T54" fmla="*/ 2 w 902"/>
              <a:gd name="T55" fmla="*/ 262 h 827"/>
              <a:gd name="T56" fmla="*/ 115 w 902"/>
              <a:gd name="T57" fmla="*/ 636 h 827"/>
              <a:gd name="T58" fmla="*/ 596 w 902"/>
              <a:gd name="T59" fmla="*/ 647 h 827"/>
              <a:gd name="T60" fmla="*/ 158 w 902"/>
              <a:gd name="T61" fmla="*/ 680 h 827"/>
              <a:gd name="T62" fmla="*/ 128 w 902"/>
              <a:gd name="T63" fmla="*/ 698 h 827"/>
              <a:gd name="T64" fmla="*/ 109 w 902"/>
              <a:gd name="T65" fmla="*/ 729 h 827"/>
              <a:gd name="T66" fmla="*/ 106 w 902"/>
              <a:gd name="T67" fmla="*/ 767 h 827"/>
              <a:gd name="T68" fmla="*/ 123 w 902"/>
              <a:gd name="T69" fmla="*/ 799 h 827"/>
              <a:gd name="T70" fmla="*/ 151 w 902"/>
              <a:gd name="T71" fmla="*/ 822 h 827"/>
              <a:gd name="T72" fmla="*/ 188 w 902"/>
              <a:gd name="T73" fmla="*/ 827 h 827"/>
              <a:gd name="T74" fmla="*/ 222 w 902"/>
              <a:gd name="T75" fmla="*/ 814 h 827"/>
              <a:gd name="T76" fmla="*/ 247 w 902"/>
              <a:gd name="T77" fmla="*/ 787 h 827"/>
              <a:gd name="T78" fmla="*/ 255 w 902"/>
              <a:gd name="T79" fmla="*/ 752 h 827"/>
              <a:gd name="T80" fmla="*/ 527 w 902"/>
              <a:gd name="T81" fmla="*/ 707 h 827"/>
              <a:gd name="T82" fmla="*/ 512 w 902"/>
              <a:gd name="T83" fmla="*/ 759 h 827"/>
              <a:gd name="T84" fmla="*/ 524 w 902"/>
              <a:gd name="T85" fmla="*/ 794 h 827"/>
              <a:gd name="T86" fmla="*/ 550 w 902"/>
              <a:gd name="T87" fmla="*/ 818 h 827"/>
              <a:gd name="T88" fmla="*/ 587 w 902"/>
              <a:gd name="T89" fmla="*/ 827 h 827"/>
              <a:gd name="T90" fmla="*/ 622 w 902"/>
              <a:gd name="T91" fmla="*/ 818 h 827"/>
              <a:gd name="T92" fmla="*/ 649 w 902"/>
              <a:gd name="T93" fmla="*/ 794 h 827"/>
              <a:gd name="T94" fmla="*/ 661 w 902"/>
              <a:gd name="T95" fmla="*/ 759 h 827"/>
              <a:gd name="T96" fmla="*/ 650 w 902"/>
              <a:gd name="T97" fmla="*/ 711 h 827"/>
              <a:gd name="T98" fmla="*/ 630 w 902"/>
              <a:gd name="T99" fmla="*/ 638 h 827"/>
              <a:gd name="T100" fmla="*/ 766 w 902"/>
              <a:gd name="T101" fmla="*/ 75 h 827"/>
              <a:gd name="T102" fmla="*/ 898 w 902"/>
              <a:gd name="T103" fmla="*/ 71 h 827"/>
              <a:gd name="T104" fmla="*/ 902 w 902"/>
              <a:gd name="T105" fmla="*/ 57 h 827"/>
              <a:gd name="T106" fmla="*/ 892 w 902"/>
              <a:gd name="T107" fmla="*/ 46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2" h="827">
                <a:moveTo>
                  <a:pt x="140" y="617"/>
                </a:moveTo>
                <a:lnTo>
                  <a:pt x="36" y="285"/>
                </a:lnTo>
                <a:lnTo>
                  <a:pt x="684" y="285"/>
                </a:lnTo>
                <a:lnTo>
                  <a:pt x="604" y="617"/>
                </a:lnTo>
                <a:lnTo>
                  <a:pt x="140" y="617"/>
                </a:lnTo>
                <a:close/>
                <a:moveTo>
                  <a:pt x="35" y="68"/>
                </a:moveTo>
                <a:lnTo>
                  <a:pt x="102" y="36"/>
                </a:lnTo>
                <a:lnTo>
                  <a:pt x="202" y="255"/>
                </a:lnTo>
                <a:lnTo>
                  <a:pt x="115" y="255"/>
                </a:lnTo>
                <a:lnTo>
                  <a:pt x="35" y="68"/>
                </a:lnTo>
                <a:close/>
                <a:moveTo>
                  <a:pt x="361" y="165"/>
                </a:moveTo>
                <a:lnTo>
                  <a:pt x="493" y="165"/>
                </a:lnTo>
                <a:lnTo>
                  <a:pt x="400" y="255"/>
                </a:lnTo>
                <a:lnTo>
                  <a:pt x="361" y="255"/>
                </a:lnTo>
                <a:lnTo>
                  <a:pt x="361" y="165"/>
                </a:lnTo>
                <a:close/>
                <a:moveTo>
                  <a:pt x="563" y="140"/>
                </a:moveTo>
                <a:lnTo>
                  <a:pt x="660" y="255"/>
                </a:lnTo>
                <a:lnTo>
                  <a:pt x="443" y="255"/>
                </a:lnTo>
                <a:lnTo>
                  <a:pt x="541" y="161"/>
                </a:lnTo>
                <a:lnTo>
                  <a:pt x="541" y="161"/>
                </a:lnTo>
                <a:lnTo>
                  <a:pt x="541" y="161"/>
                </a:lnTo>
                <a:lnTo>
                  <a:pt x="563" y="140"/>
                </a:lnTo>
                <a:close/>
                <a:moveTo>
                  <a:pt x="587" y="797"/>
                </a:moveTo>
                <a:lnTo>
                  <a:pt x="577" y="796"/>
                </a:lnTo>
                <a:lnTo>
                  <a:pt x="569" y="794"/>
                </a:lnTo>
                <a:lnTo>
                  <a:pt x="561" y="790"/>
                </a:lnTo>
                <a:lnTo>
                  <a:pt x="555" y="784"/>
                </a:lnTo>
                <a:lnTo>
                  <a:pt x="549" y="777"/>
                </a:lnTo>
                <a:lnTo>
                  <a:pt x="545" y="769"/>
                </a:lnTo>
                <a:lnTo>
                  <a:pt x="542" y="761"/>
                </a:lnTo>
                <a:lnTo>
                  <a:pt x="542" y="752"/>
                </a:lnTo>
                <a:lnTo>
                  <a:pt x="542" y="742"/>
                </a:lnTo>
                <a:lnTo>
                  <a:pt x="545" y="735"/>
                </a:lnTo>
                <a:lnTo>
                  <a:pt x="549" y="726"/>
                </a:lnTo>
                <a:lnTo>
                  <a:pt x="555" y="720"/>
                </a:lnTo>
                <a:lnTo>
                  <a:pt x="561" y="714"/>
                </a:lnTo>
                <a:lnTo>
                  <a:pt x="569" y="710"/>
                </a:lnTo>
                <a:lnTo>
                  <a:pt x="577" y="708"/>
                </a:lnTo>
                <a:lnTo>
                  <a:pt x="587" y="707"/>
                </a:lnTo>
                <a:lnTo>
                  <a:pt x="595" y="708"/>
                </a:lnTo>
                <a:lnTo>
                  <a:pt x="604" y="710"/>
                </a:lnTo>
                <a:lnTo>
                  <a:pt x="611" y="714"/>
                </a:lnTo>
                <a:lnTo>
                  <a:pt x="618" y="720"/>
                </a:lnTo>
                <a:lnTo>
                  <a:pt x="623" y="726"/>
                </a:lnTo>
                <a:lnTo>
                  <a:pt x="628" y="735"/>
                </a:lnTo>
                <a:lnTo>
                  <a:pt x="631" y="742"/>
                </a:lnTo>
                <a:lnTo>
                  <a:pt x="632" y="752"/>
                </a:lnTo>
                <a:lnTo>
                  <a:pt x="631" y="761"/>
                </a:lnTo>
                <a:lnTo>
                  <a:pt x="628" y="769"/>
                </a:lnTo>
                <a:lnTo>
                  <a:pt x="623" y="777"/>
                </a:lnTo>
                <a:lnTo>
                  <a:pt x="618" y="784"/>
                </a:lnTo>
                <a:lnTo>
                  <a:pt x="611" y="790"/>
                </a:lnTo>
                <a:lnTo>
                  <a:pt x="604" y="794"/>
                </a:lnTo>
                <a:lnTo>
                  <a:pt x="595" y="796"/>
                </a:lnTo>
                <a:lnTo>
                  <a:pt x="587" y="797"/>
                </a:lnTo>
                <a:close/>
                <a:moveTo>
                  <a:pt x="225" y="752"/>
                </a:moveTo>
                <a:lnTo>
                  <a:pt x="224" y="761"/>
                </a:lnTo>
                <a:lnTo>
                  <a:pt x="222" y="769"/>
                </a:lnTo>
                <a:lnTo>
                  <a:pt x="218" y="777"/>
                </a:lnTo>
                <a:lnTo>
                  <a:pt x="213" y="784"/>
                </a:lnTo>
                <a:lnTo>
                  <a:pt x="206" y="790"/>
                </a:lnTo>
                <a:lnTo>
                  <a:pt x="198" y="794"/>
                </a:lnTo>
                <a:lnTo>
                  <a:pt x="190" y="796"/>
                </a:lnTo>
                <a:lnTo>
                  <a:pt x="180" y="797"/>
                </a:lnTo>
                <a:lnTo>
                  <a:pt x="172" y="796"/>
                </a:lnTo>
                <a:lnTo>
                  <a:pt x="163" y="794"/>
                </a:lnTo>
                <a:lnTo>
                  <a:pt x="156" y="790"/>
                </a:lnTo>
                <a:lnTo>
                  <a:pt x="148" y="784"/>
                </a:lnTo>
                <a:lnTo>
                  <a:pt x="143" y="777"/>
                </a:lnTo>
                <a:lnTo>
                  <a:pt x="139" y="769"/>
                </a:lnTo>
                <a:lnTo>
                  <a:pt x="136" y="761"/>
                </a:lnTo>
                <a:lnTo>
                  <a:pt x="135" y="752"/>
                </a:lnTo>
                <a:lnTo>
                  <a:pt x="136" y="742"/>
                </a:lnTo>
                <a:lnTo>
                  <a:pt x="139" y="735"/>
                </a:lnTo>
                <a:lnTo>
                  <a:pt x="143" y="726"/>
                </a:lnTo>
                <a:lnTo>
                  <a:pt x="148" y="720"/>
                </a:lnTo>
                <a:lnTo>
                  <a:pt x="156" y="714"/>
                </a:lnTo>
                <a:lnTo>
                  <a:pt x="163" y="710"/>
                </a:lnTo>
                <a:lnTo>
                  <a:pt x="172" y="708"/>
                </a:lnTo>
                <a:lnTo>
                  <a:pt x="180" y="707"/>
                </a:lnTo>
                <a:lnTo>
                  <a:pt x="190" y="708"/>
                </a:lnTo>
                <a:lnTo>
                  <a:pt x="198" y="710"/>
                </a:lnTo>
                <a:lnTo>
                  <a:pt x="206" y="714"/>
                </a:lnTo>
                <a:lnTo>
                  <a:pt x="213" y="720"/>
                </a:lnTo>
                <a:lnTo>
                  <a:pt x="218" y="726"/>
                </a:lnTo>
                <a:lnTo>
                  <a:pt x="222" y="735"/>
                </a:lnTo>
                <a:lnTo>
                  <a:pt x="224" y="742"/>
                </a:lnTo>
                <a:lnTo>
                  <a:pt x="225" y="752"/>
                </a:lnTo>
                <a:close/>
                <a:moveTo>
                  <a:pt x="887" y="45"/>
                </a:moveTo>
                <a:lnTo>
                  <a:pt x="754" y="45"/>
                </a:lnTo>
                <a:lnTo>
                  <a:pt x="750" y="46"/>
                </a:lnTo>
                <a:lnTo>
                  <a:pt x="745" y="49"/>
                </a:lnTo>
                <a:lnTo>
                  <a:pt x="741" y="52"/>
                </a:lnTo>
                <a:lnTo>
                  <a:pt x="740" y="57"/>
                </a:lnTo>
                <a:lnTo>
                  <a:pt x="693" y="249"/>
                </a:lnTo>
                <a:lnTo>
                  <a:pt x="576" y="107"/>
                </a:lnTo>
                <a:lnTo>
                  <a:pt x="574" y="105"/>
                </a:lnTo>
                <a:lnTo>
                  <a:pt x="572" y="104"/>
                </a:lnTo>
                <a:lnTo>
                  <a:pt x="569" y="103"/>
                </a:lnTo>
                <a:lnTo>
                  <a:pt x="565" y="102"/>
                </a:lnTo>
                <a:lnTo>
                  <a:pt x="562" y="102"/>
                </a:lnTo>
                <a:lnTo>
                  <a:pt x="560" y="103"/>
                </a:lnTo>
                <a:lnTo>
                  <a:pt x="557" y="104"/>
                </a:lnTo>
                <a:lnTo>
                  <a:pt x="555" y="106"/>
                </a:lnTo>
                <a:lnTo>
                  <a:pt x="525" y="135"/>
                </a:lnTo>
                <a:lnTo>
                  <a:pt x="346" y="135"/>
                </a:lnTo>
                <a:lnTo>
                  <a:pt x="342" y="135"/>
                </a:lnTo>
                <a:lnTo>
                  <a:pt x="340" y="136"/>
                </a:lnTo>
                <a:lnTo>
                  <a:pt x="337" y="139"/>
                </a:lnTo>
                <a:lnTo>
                  <a:pt x="335" y="140"/>
                </a:lnTo>
                <a:lnTo>
                  <a:pt x="334" y="142"/>
                </a:lnTo>
                <a:lnTo>
                  <a:pt x="332" y="145"/>
                </a:lnTo>
                <a:lnTo>
                  <a:pt x="332" y="147"/>
                </a:lnTo>
                <a:lnTo>
                  <a:pt x="331" y="150"/>
                </a:lnTo>
                <a:lnTo>
                  <a:pt x="331" y="255"/>
                </a:lnTo>
                <a:lnTo>
                  <a:pt x="235" y="255"/>
                </a:lnTo>
                <a:lnTo>
                  <a:pt x="124" y="9"/>
                </a:lnTo>
                <a:lnTo>
                  <a:pt x="123" y="7"/>
                </a:lnTo>
                <a:lnTo>
                  <a:pt x="120" y="5"/>
                </a:lnTo>
                <a:lnTo>
                  <a:pt x="118" y="2"/>
                </a:lnTo>
                <a:lnTo>
                  <a:pt x="115" y="1"/>
                </a:lnTo>
                <a:lnTo>
                  <a:pt x="112" y="0"/>
                </a:lnTo>
                <a:lnTo>
                  <a:pt x="110" y="0"/>
                </a:lnTo>
                <a:lnTo>
                  <a:pt x="106" y="0"/>
                </a:lnTo>
                <a:lnTo>
                  <a:pt x="103" y="1"/>
                </a:lnTo>
                <a:lnTo>
                  <a:pt x="9" y="46"/>
                </a:lnTo>
                <a:lnTo>
                  <a:pt x="6" y="49"/>
                </a:lnTo>
                <a:lnTo>
                  <a:pt x="4" y="51"/>
                </a:lnTo>
                <a:lnTo>
                  <a:pt x="2" y="53"/>
                </a:lnTo>
                <a:lnTo>
                  <a:pt x="1" y="55"/>
                </a:lnTo>
                <a:lnTo>
                  <a:pt x="0" y="58"/>
                </a:lnTo>
                <a:lnTo>
                  <a:pt x="0" y="60"/>
                </a:lnTo>
                <a:lnTo>
                  <a:pt x="0" y="64"/>
                </a:lnTo>
                <a:lnTo>
                  <a:pt x="1" y="67"/>
                </a:lnTo>
                <a:lnTo>
                  <a:pt x="83" y="255"/>
                </a:lnTo>
                <a:lnTo>
                  <a:pt x="15" y="255"/>
                </a:lnTo>
                <a:lnTo>
                  <a:pt x="12" y="257"/>
                </a:lnTo>
                <a:lnTo>
                  <a:pt x="8" y="258"/>
                </a:lnTo>
                <a:lnTo>
                  <a:pt x="6" y="260"/>
                </a:lnTo>
                <a:lnTo>
                  <a:pt x="2" y="262"/>
                </a:lnTo>
                <a:lnTo>
                  <a:pt x="1" y="265"/>
                </a:lnTo>
                <a:lnTo>
                  <a:pt x="0" y="268"/>
                </a:lnTo>
                <a:lnTo>
                  <a:pt x="0" y="272"/>
                </a:lnTo>
                <a:lnTo>
                  <a:pt x="1" y="276"/>
                </a:lnTo>
                <a:lnTo>
                  <a:pt x="115" y="636"/>
                </a:lnTo>
                <a:lnTo>
                  <a:pt x="117" y="640"/>
                </a:lnTo>
                <a:lnTo>
                  <a:pt x="120" y="644"/>
                </a:lnTo>
                <a:lnTo>
                  <a:pt x="124" y="646"/>
                </a:lnTo>
                <a:lnTo>
                  <a:pt x="129" y="647"/>
                </a:lnTo>
                <a:lnTo>
                  <a:pt x="596" y="647"/>
                </a:lnTo>
                <a:lnTo>
                  <a:pt x="590" y="677"/>
                </a:lnTo>
                <a:lnTo>
                  <a:pt x="180" y="677"/>
                </a:lnTo>
                <a:lnTo>
                  <a:pt x="173" y="677"/>
                </a:lnTo>
                <a:lnTo>
                  <a:pt x="165" y="678"/>
                </a:lnTo>
                <a:lnTo>
                  <a:pt x="158" y="680"/>
                </a:lnTo>
                <a:lnTo>
                  <a:pt x="151" y="682"/>
                </a:lnTo>
                <a:lnTo>
                  <a:pt x="145" y="685"/>
                </a:lnTo>
                <a:lnTo>
                  <a:pt x="139" y="690"/>
                </a:lnTo>
                <a:lnTo>
                  <a:pt x="132" y="694"/>
                </a:lnTo>
                <a:lnTo>
                  <a:pt x="128" y="698"/>
                </a:lnTo>
                <a:lnTo>
                  <a:pt x="123" y="704"/>
                </a:lnTo>
                <a:lnTo>
                  <a:pt x="118" y="710"/>
                </a:lnTo>
                <a:lnTo>
                  <a:pt x="114" y="717"/>
                </a:lnTo>
                <a:lnTo>
                  <a:pt x="111" y="723"/>
                </a:lnTo>
                <a:lnTo>
                  <a:pt x="109" y="729"/>
                </a:lnTo>
                <a:lnTo>
                  <a:pt x="106" y="737"/>
                </a:lnTo>
                <a:lnTo>
                  <a:pt x="105" y="744"/>
                </a:lnTo>
                <a:lnTo>
                  <a:pt x="105" y="752"/>
                </a:lnTo>
                <a:lnTo>
                  <a:pt x="105" y="759"/>
                </a:lnTo>
                <a:lnTo>
                  <a:pt x="106" y="767"/>
                </a:lnTo>
                <a:lnTo>
                  <a:pt x="109" y="774"/>
                </a:lnTo>
                <a:lnTo>
                  <a:pt x="111" y="781"/>
                </a:lnTo>
                <a:lnTo>
                  <a:pt x="114" y="787"/>
                </a:lnTo>
                <a:lnTo>
                  <a:pt x="118" y="794"/>
                </a:lnTo>
                <a:lnTo>
                  <a:pt x="123" y="799"/>
                </a:lnTo>
                <a:lnTo>
                  <a:pt x="128" y="805"/>
                </a:lnTo>
                <a:lnTo>
                  <a:pt x="132" y="810"/>
                </a:lnTo>
                <a:lnTo>
                  <a:pt x="139" y="814"/>
                </a:lnTo>
                <a:lnTo>
                  <a:pt x="145" y="818"/>
                </a:lnTo>
                <a:lnTo>
                  <a:pt x="151" y="822"/>
                </a:lnTo>
                <a:lnTo>
                  <a:pt x="158" y="824"/>
                </a:lnTo>
                <a:lnTo>
                  <a:pt x="165" y="826"/>
                </a:lnTo>
                <a:lnTo>
                  <a:pt x="173" y="827"/>
                </a:lnTo>
                <a:lnTo>
                  <a:pt x="180" y="827"/>
                </a:lnTo>
                <a:lnTo>
                  <a:pt x="188" y="827"/>
                </a:lnTo>
                <a:lnTo>
                  <a:pt x="195" y="826"/>
                </a:lnTo>
                <a:lnTo>
                  <a:pt x="203" y="824"/>
                </a:lnTo>
                <a:lnTo>
                  <a:pt x="209" y="822"/>
                </a:lnTo>
                <a:lnTo>
                  <a:pt x="216" y="818"/>
                </a:lnTo>
                <a:lnTo>
                  <a:pt x="222" y="814"/>
                </a:lnTo>
                <a:lnTo>
                  <a:pt x="229" y="810"/>
                </a:lnTo>
                <a:lnTo>
                  <a:pt x="234" y="805"/>
                </a:lnTo>
                <a:lnTo>
                  <a:pt x="238" y="799"/>
                </a:lnTo>
                <a:lnTo>
                  <a:pt x="243" y="794"/>
                </a:lnTo>
                <a:lnTo>
                  <a:pt x="247" y="787"/>
                </a:lnTo>
                <a:lnTo>
                  <a:pt x="250" y="781"/>
                </a:lnTo>
                <a:lnTo>
                  <a:pt x="252" y="774"/>
                </a:lnTo>
                <a:lnTo>
                  <a:pt x="254" y="767"/>
                </a:lnTo>
                <a:lnTo>
                  <a:pt x="255" y="759"/>
                </a:lnTo>
                <a:lnTo>
                  <a:pt x="255" y="752"/>
                </a:lnTo>
                <a:lnTo>
                  <a:pt x="254" y="739"/>
                </a:lnTo>
                <a:lnTo>
                  <a:pt x="251" y="727"/>
                </a:lnTo>
                <a:lnTo>
                  <a:pt x="247" y="717"/>
                </a:lnTo>
                <a:lnTo>
                  <a:pt x="240" y="707"/>
                </a:lnTo>
                <a:lnTo>
                  <a:pt x="527" y="707"/>
                </a:lnTo>
                <a:lnTo>
                  <a:pt x="520" y="717"/>
                </a:lnTo>
                <a:lnTo>
                  <a:pt x="515" y="727"/>
                </a:lnTo>
                <a:lnTo>
                  <a:pt x="512" y="739"/>
                </a:lnTo>
                <a:lnTo>
                  <a:pt x="511" y="752"/>
                </a:lnTo>
                <a:lnTo>
                  <a:pt x="512" y="759"/>
                </a:lnTo>
                <a:lnTo>
                  <a:pt x="513" y="767"/>
                </a:lnTo>
                <a:lnTo>
                  <a:pt x="515" y="774"/>
                </a:lnTo>
                <a:lnTo>
                  <a:pt x="517" y="781"/>
                </a:lnTo>
                <a:lnTo>
                  <a:pt x="520" y="787"/>
                </a:lnTo>
                <a:lnTo>
                  <a:pt x="524" y="794"/>
                </a:lnTo>
                <a:lnTo>
                  <a:pt x="529" y="799"/>
                </a:lnTo>
                <a:lnTo>
                  <a:pt x="533" y="805"/>
                </a:lnTo>
                <a:lnTo>
                  <a:pt x="539" y="810"/>
                </a:lnTo>
                <a:lnTo>
                  <a:pt x="544" y="814"/>
                </a:lnTo>
                <a:lnTo>
                  <a:pt x="550" y="818"/>
                </a:lnTo>
                <a:lnTo>
                  <a:pt x="557" y="822"/>
                </a:lnTo>
                <a:lnTo>
                  <a:pt x="564" y="824"/>
                </a:lnTo>
                <a:lnTo>
                  <a:pt x="571" y="826"/>
                </a:lnTo>
                <a:lnTo>
                  <a:pt x="578" y="827"/>
                </a:lnTo>
                <a:lnTo>
                  <a:pt x="587" y="827"/>
                </a:lnTo>
                <a:lnTo>
                  <a:pt x="594" y="827"/>
                </a:lnTo>
                <a:lnTo>
                  <a:pt x="602" y="826"/>
                </a:lnTo>
                <a:lnTo>
                  <a:pt x="608" y="824"/>
                </a:lnTo>
                <a:lnTo>
                  <a:pt x="616" y="822"/>
                </a:lnTo>
                <a:lnTo>
                  <a:pt x="622" y="818"/>
                </a:lnTo>
                <a:lnTo>
                  <a:pt x="629" y="814"/>
                </a:lnTo>
                <a:lnTo>
                  <a:pt x="634" y="810"/>
                </a:lnTo>
                <a:lnTo>
                  <a:pt x="639" y="805"/>
                </a:lnTo>
                <a:lnTo>
                  <a:pt x="645" y="799"/>
                </a:lnTo>
                <a:lnTo>
                  <a:pt x="649" y="794"/>
                </a:lnTo>
                <a:lnTo>
                  <a:pt x="652" y="787"/>
                </a:lnTo>
                <a:lnTo>
                  <a:pt x="655" y="781"/>
                </a:lnTo>
                <a:lnTo>
                  <a:pt x="659" y="774"/>
                </a:lnTo>
                <a:lnTo>
                  <a:pt x="660" y="767"/>
                </a:lnTo>
                <a:lnTo>
                  <a:pt x="661" y="759"/>
                </a:lnTo>
                <a:lnTo>
                  <a:pt x="662" y="752"/>
                </a:lnTo>
                <a:lnTo>
                  <a:pt x="661" y="741"/>
                </a:lnTo>
                <a:lnTo>
                  <a:pt x="659" y="731"/>
                </a:lnTo>
                <a:lnTo>
                  <a:pt x="654" y="721"/>
                </a:lnTo>
                <a:lnTo>
                  <a:pt x="650" y="711"/>
                </a:lnTo>
                <a:lnTo>
                  <a:pt x="644" y="703"/>
                </a:lnTo>
                <a:lnTo>
                  <a:pt x="636" y="696"/>
                </a:lnTo>
                <a:lnTo>
                  <a:pt x="628" y="690"/>
                </a:lnTo>
                <a:lnTo>
                  <a:pt x="619" y="684"/>
                </a:lnTo>
                <a:lnTo>
                  <a:pt x="630" y="638"/>
                </a:lnTo>
                <a:lnTo>
                  <a:pt x="631" y="635"/>
                </a:lnTo>
                <a:lnTo>
                  <a:pt x="632" y="632"/>
                </a:lnTo>
                <a:lnTo>
                  <a:pt x="632" y="632"/>
                </a:lnTo>
                <a:lnTo>
                  <a:pt x="632" y="632"/>
                </a:lnTo>
                <a:lnTo>
                  <a:pt x="766" y="75"/>
                </a:lnTo>
                <a:lnTo>
                  <a:pt x="887" y="75"/>
                </a:lnTo>
                <a:lnTo>
                  <a:pt x="890" y="75"/>
                </a:lnTo>
                <a:lnTo>
                  <a:pt x="892" y="74"/>
                </a:lnTo>
                <a:lnTo>
                  <a:pt x="896" y="73"/>
                </a:lnTo>
                <a:lnTo>
                  <a:pt x="898" y="71"/>
                </a:lnTo>
                <a:lnTo>
                  <a:pt x="900" y="69"/>
                </a:lnTo>
                <a:lnTo>
                  <a:pt x="901" y="67"/>
                </a:lnTo>
                <a:lnTo>
                  <a:pt x="902" y="64"/>
                </a:lnTo>
                <a:lnTo>
                  <a:pt x="902" y="60"/>
                </a:lnTo>
                <a:lnTo>
                  <a:pt x="902" y="57"/>
                </a:lnTo>
                <a:lnTo>
                  <a:pt x="901" y="55"/>
                </a:lnTo>
                <a:lnTo>
                  <a:pt x="900" y="52"/>
                </a:lnTo>
                <a:lnTo>
                  <a:pt x="898" y="50"/>
                </a:lnTo>
                <a:lnTo>
                  <a:pt x="896" y="47"/>
                </a:lnTo>
                <a:lnTo>
                  <a:pt x="892" y="46"/>
                </a:lnTo>
                <a:lnTo>
                  <a:pt x="890" y="45"/>
                </a:lnTo>
                <a:lnTo>
                  <a:pt x="887" y="4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96" name="Group 18">
            <a:extLst>
              <a:ext uri="{FF2B5EF4-FFF2-40B4-BE49-F238E27FC236}">
                <a16:creationId xmlns:a16="http://schemas.microsoft.com/office/drawing/2014/main" id="{31703C3D-4AD5-41D9-A700-8B0786AA8E49}"/>
              </a:ext>
            </a:extLst>
          </p:cNvPr>
          <p:cNvGrpSpPr>
            <a:grpSpLocks noChangeAspect="1"/>
          </p:cNvGrpSpPr>
          <p:nvPr/>
        </p:nvGrpSpPr>
        <p:grpSpPr>
          <a:xfrm>
            <a:off x="2714288" y="4340505"/>
            <a:ext cx="329560" cy="285619"/>
            <a:chOff x="8162925" y="1390333"/>
            <a:chExt cx="285750" cy="247650"/>
          </a:xfrm>
          <a:solidFill>
            <a:schemeClr val="bg2"/>
          </a:solidFill>
          <a:effectLst/>
        </p:grpSpPr>
        <p:sp>
          <p:nvSpPr>
            <p:cNvPr id="1497" name="Freeform 265">
              <a:extLst>
                <a:ext uri="{FF2B5EF4-FFF2-40B4-BE49-F238E27FC236}">
                  <a16:creationId xmlns:a16="http://schemas.microsoft.com/office/drawing/2014/main" id="{563E5A6A-6433-4422-A9E8-ECF71B48AA73}"/>
                </a:ext>
              </a:extLst>
            </p:cNvPr>
            <p:cNvSpPr>
              <a:spLocks noEditPoints="1"/>
            </p:cNvSpPr>
            <p:nvPr/>
          </p:nvSpPr>
          <p:spPr bwMode="auto">
            <a:xfrm>
              <a:off x="8329613" y="1590358"/>
              <a:ext cx="47625" cy="47625"/>
            </a:xfrm>
            <a:custGeom>
              <a:avLst/>
              <a:gdLst>
                <a:gd name="T0" fmla="*/ 65 w 150"/>
                <a:gd name="T1" fmla="*/ 119 h 150"/>
                <a:gd name="T2" fmla="*/ 49 w 150"/>
                <a:gd name="T3" fmla="*/ 112 h 150"/>
                <a:gd name="T4" fmla="*/ 38 w 150"/>
                <a:gd name="T5" fmla="*/ 100 h 150"/>
                <a:gd name="T6" fmla="*/ 30 w 150"/>
                <a:gd name="T7" fmla="*/ 84 h 150"/>
                <a:gd name="T8" fmla="*/ 30 w 150"/>
                <a:gd name="T9" fmla="*/ 66 h 150"/>
                <a:gd name="T10" fmla="*/ 38 w 150"/>
                <a:gd name="T11" fmla="*/ 50 h 150"/>
                <a:gd name="T12" fmla="*/ 49 w 150"/>
                <a:gd name="T13" fmla="*/ 37 h 150"/>
                <a:gd name="T14" fmla="*/ 65 w 150"/>
                <a:gd name="T15" fmla="*/ 31 h 150"/>
                <a:gd name="T16" fmla="*/ 84 w 150"/>
                <a:gd name="T17" fmla="*/ 31 h 150"/>
                <a:gd name="T18" fmla="*/ 100 w 150"/>
                <a:gd name="T19" fmla="*/ 37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19 h 150"/>
                <a:gd name="T32" fmla="*/ 75 w 150"/>
                <a:gd name="T33" fmla="*/ 0 h 150"/>
                <a:gd name="T34" fmla="*/ 60 w 150"/>
                <a:gd name="T35" fmla="*/ 2 h 150"/>
                <a:gd name="T36" fmla="*/ 45 w 150"/>
                <a:gd name="T37" fmla="*/ 6 h 150"/>
                <a:gd name="T38" fmla="*/ 32 w 150"/>
                <a:gd name="T39" fmla="*/ 12 h 150"/>
                <a:gd name="T40" fmla="*/ 22 w 150"/>
                <a:gd name="T41" fmla="*/ 22 h 150"/>
                <a:gd name="T42" fmla="*/ 13 w 150"/>
                <a:gd name="T43" fmla="*/ 33 h 150"/>
                <a:gd name="T44" fmla="*/ 5 w 150"/>
                <a:gd name="T45" fmla="*/ 46 h 150"/>
                <a:gd name="T46" fmla="*/ 1 w 150"/>
                <a:gd name="T47" fmla="*/ 60 h 150"/>
                <a:gd name="T48" fmla="*/ 0 w 150"/>
                <a:gd name="T49" fmla="*/ 75 h 150"/>
                <a:gd name="T50" fmla="*/ 1 w 150"/>
                <a:gd name="T51" fmla="*/ 90 h 150"/>
                <a:gd name="T52" fmla="*/ 5 w 150"/>
                <a:gd name="T53" fmla="*/ 104 h 150"/>
                <a:gd name="T54" fmla="*/ 13 w 150"/>
                <a:gd name="T55" fmla="*/ 116 h 150"/>
                <a:gd name="T56" fmla="*/ 22 w 150"/>
                <a:gd name="T57" fmla="*/ 128 h 150"/>
                <a:gd name="T58" fmla="*/ 32 w 150"/>
                <a:gd name="T59" fmla="*/ 137 h 150"/>
                <a:gd name="T60" fmla="*/ 45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8 w 150"/>
                <a:gd name="T73" fmla="*/ 128 h 150"/>
                <a:gd name="T74" fmla="*/ 137 w 150"/>
                <a:gd name="T75" fmla="*/ 116 h 150"/>
                <a:gd name="T76" fmla="*/ 144 w 150"/>
                <a:gd name="T77" fmla="*/ 104 h 150"/>
                <a:gd name="T78" fmla="*/ 148 w 150"/>
                <a:gd name="T79" fmla="*/ 90 h 150"/>
                <a:gd name="T80" fmla="*/ 150 w 150"/>
                <a:gd name="T81" fmla="*/ 75 h 150"/>
                <a:gd name="T82" fmla="*/ 148 w 150"/>
                <a:gd name="T83" fmla="*/ 60 h 150"/>
                <a:gd name="T84" fmla="*/ 144 w 150"/>
                <a:gd name="T85" fmla="*/ 46 h 150"/>
                <a:gd name="T86" fmla="*/ 137 w 150"/>
                <a:gd name="T87" fmla="*/ 33 h 150"/>
                <a:gd name="T88" fmla="*/ 128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5" y="119"/>
                  </a:lnTo>
                  <a:lnTo>
                    <a:pt x="57" y="116"/>
                  </a:lnTo>
                  <a:lnTo>
                    <a:pt x="49" y="112"/>
                  </a:lnTo>
                  <a:lnTo>
                    <a:pt x="43" y="107"/>
                  </a:lnTo>
                  <a:lnTo>
                    <a:pt x="38" y="100"/>
                  </a:lnTo>
                  <a:lnTo>
                    <a:pt x="33" y="93"/>
                  </a:lnTo>
                  <a:lnTo>
                    <a:pt x="30" y="84"/>
                  </a:lnTo>
                  <a:lnTo>
                    <a:pt x="30" y="75"/>
                  </a:lnTo>
                  <a:lnTo>
                    <a:pt x="30" y="66"/>
                  </a:lnTo>
                  <a:lnTo>
                    <a:pt x="33" y="58"/>
                  </a:lnTo>
                  <a:lnTo>
                    <a:pt x="38" y="50"/>
                  </a:lnTo>
                  <a:lnTo>
                    <a:pt x="43" y="42"/>
                  </a:lnTo>
                  <a:lnTo>
                    <a:pt x="49" y="37"/>
                  </a:lnTo>
                  <a:lnTo>
                    <a:pt x="57" y="33"/>
                  </a:lnTo>
                  <a:lnTo>
                    <a:pt x="65" y="31"/>
                  </a:lnTo>
                  <a:lnTo>
                    <a:pt x="75" y="30"/>
                  </a:lnTo>
                  <a:lnTo>
                    <a:pt x="84" y="31"/>
                  </a:lnTo>
                  <a:lnTo>
                    <a:pt x="92" y="33"/>
                  </a:lnTo>
                  <a:lnTo>
                    <a:pt x="100" y="37"/>
                  </a:lnTo>
                  <a:lnTo>
                    <a:pt x="106" y="42"/>
                  </a:lnTo>
                  <a:lnTo>
                    <a:pt x="113" y="50"/>
                  </a:lnTo>
                  <a:lnTo>
                    <a:pt x="116" y="58"/>
                  </a:lnTo>
                  <a:lnTo>
                    <a:pt x="119" y="66"/>
                  </a:lnTo>
                  <a:lnTo>
                    <a:pt x="120" y="75"/>
                  </a:lnTo>
                  <a:lnTo>
                    <a:pt x="119" y="84"/>
                  </a:lnTo>
                  <a:lnTo>
                    <a:pt x="116" y="93"/>
                  </a:lnTo>
                  <a:lnTo>
                    <a:pt x="113" y="100"/>
                  </a:lnTo>
                  <a:lnTo>
                    <a:pt x="106" y="107"/>
                  </a:lnTo>
                  <a:lnTo>
                    <a:pt x="100" y="112"/>
                  </a:lnTo>
                  <a:lnTo>
                    <a:pt x="92" y="116"/>
                  </a:lnTo>
                  <a:lnTo>
                    <a:pt x="84" y="119"/>
                  </a:lnTo>
                  <a:lnTo>
                    <a:pt x="75" y="120"/>
                  </a:lnTo>
                  <a:close/>
                  <a:moveTo>
                    <a:pt x="75" y="0"/>
                  </a:moveTo>
                  <a:lnTo>
                    <a:pt x="67" y="0"/>
                  </a:lnTo>
                  <a:lnTo>
                    <a:pt x="60" y="2"/>
                  </a:lnTo>
                  <a:lnTo>
                    <a:pt x="53" y="3"/>
                  </a:lnTo>
                  <a:lnTo>
                    <a:pt x="45" y="6"/>
                  </a:lnTo>
                  <a:lnTo>
                    <a:pt x="39" y="9"/>
                  </a:lnTo>
                  <a:lnTo>
                    <a:pt x="32" y="12"/>
                  </a:lnTo>
                  <a:lnTo>
                    <a:pt x="27" y="17"/>
                  </a:lnTo>
                  <a:lnTo>
                    <a:pt x="22" y="22"/>
                  </a:lnTo>
                  <a:lnTo>
                    <a:pt x="17" y="27"/>
                  </a:lnTo>
                  <a:lnTo>
                    <a:pt x="13" y="33"/>
                  </a:lnTo>
                  <a:lnTo>
                    <a:pt x="9" y="39"/>
                  </a:lnTo>
                  <a:lnTo>
                    <a:pt x="5" y="46"/>
                  </a:lnTo>
                  <a:lnTo>
                    <a:pt x="3" y="52"/>
                  </a:lnTo>
                  <a:lnTo>
                    <a:pt x="1" y="60"/>
                  </a:lnTo>
                  <a:lnTo>
                    <a:pt x="0" y="67"/>
                  </a:lnTo>
                  <a:lnTo>
                    <a:pt x="0" y="75"/>
                  </a:lnTo>
                  <a:lnTo>
                    <a:pt x="0" y="82"/>
                  </a:lnTo>
                  <a:lnTo>
                    <a:pt x="1" y="90"/>
                  </a:lnTo>
                  <a:lnTo>
                    <a:pt x="3" y="97"/>
                  </a:lnTo>
                  <a:lnTo>
                    <a:pt x="5" y="104"/>
                  </a:lnTo>
                  <a:lnTo>
                    <a:pt x="9" y="111"/>
                  </a:lnTo>
                  <a:lnTo>
                    <a:pt x="13" y="116"/>
                  </a:lnTo>
                  <a:lnTo>
                    <a:pt x="17" y="123"/>
                  </a:lnTo>
                  <a:lnTo>
                    <a:pt x="22" y="128"/>
                  </a:lnTo>
                  <a:lnTo>
                    <a:pt x="27" y="133"/>
                  </a:lnTo>
                  <a:lnTo>
                    <a:pt x="32" y="137"/>
                  </a:lnTo>
                  <a:lnTo>
                    <a:pt x="39" y="141"/>
                  </a:lnTo>
                  <a:lnTo>
                    <a:pt x="45" y="144"/>
                  </a:lnTo>
                  <a:lnTo>
                    <a:pt x="53" y="147"/>
                  </a:lnTo>
                  <a:lnTo>
                    <a:pt x="60" y="149"/>
                  </a:lnTo>
                  <a:lnTo>
                    <a:pt x="67" y="150"/>
                  </a:lnTo>
                  <a:lnTo>
                    <a:pt x="75" y="150"/>
                  </a:lnTo>
                  <a:lnTo>
                    <a:pt x="83" y="150"/>
                  </a:lnTo>
                  <a:lnTo>
                    <a:pt x="90" y="149"/>
                  </a:lnTo>
                  <a:lnTo>
                    <a:pt x="97" y="147"/>
                  </a:lnTo>
                  <a:lnTo>
                    <a:pt x="104" y="144"/>
                  </a:lnTo>
                  <a:lnTo>
                    <a:pt x="111" y="141"/>
                  </a:lnTo>
                  <a:lnTo>
                    <a:pt x="117" y="137"/>
                  </a:lnTo>
                  <a:lnTo>
                    <a:pt x="122" y="133"/>
                  </a:lnTo>
                  <a:lnTo>
                    <a:pt x="128" y="128"/>
                  </a:lnTo>
                  <a:lnTo>
                    <a:pt x="133" y="123"/>
                  </a:lnTo>
                  <a:lnTo>
                    <a:pt x="137" y="116"/>
                  </a:lnTo>
                  <a:lnTo>
                    <a:pt x="141" y="111"/>
                  </a:lnTo>
                  <a:lnTo>
                    <a:pt x="144" y="104"/>
                  </a:lnTo>
                  <a:lnTo>
                    <a:pt x="147" y="97"/>
                  </a:lnTo>
                  <a:lnTo>
                    <a:pt x="148" y="90"/>
                  </a:lnTo>
                  <a:lnTo>
                    <a:pt x="149" y="82"/>
                  </a:lnTo>
                  <a:lnTo>
                    <a:pt x="150" y="75"/>
                  </a:lnTo>
                  <a:lnTo>
                    <a:pt x="149" y="67"/>
                  </a:lnTo>
                  <a:lnTo>
                    <a:pt x="148" y="60"/>
                  </a:lnTo>
                  <a:lnTo>
                    <a:pt x="147" y="52"/>
                  </a:lnTo>
                  <a:lnTo>
                    <a:pt x="144" y="46"/>
                  </a:lnTo>
                  <a:lnTo>
                    <a:pt x="141" y="39"/>
                  </a:lnTo>
                  <a:lnTo>
                    <a:pt x="137" y="33"/>
                  </a:lnTo>
                  <a:lnTo>
                    <a:pt x="133" y="27"/>
                  </a:lnTo>
                  <a:lnTo>
                    <a:pt x="128" y="22"/>
                  </a:lnTo>
                  <a:lnTo>
                    <a:pt x="122" y="17"/>
                  </a:lnTo>
                  <a:lnTo>
                    <a:pt x="117" y="12"/>
                  </a:lnTo>
                  <a:lnTo>
                    <a:pt x="111" y="9"/>
                  </a:lnTo>
                  <a:lnTo>
                    <a:pt x="104" y="6"/>
                  </a:lnTo>
                  <a:lnTo>
                    <a:pt x="97" y="3"/>
                  </a:lnTo>
                  <a:lnTo>
                    <a:pt x="90"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266">
              <a:extLst>
                <a:ext uri="{FF2B5EF4-FFF2-40B4-BE49-F238E27FC236}">
                  <a16:creationId xmlns:a16="http://schemas.microsoft.com/office/drawing/2014/main" id="{08DE0529-AF62-4E4F-AF2F-E5F992E07796}"/>
                </a:ext>
              </a:extLst>
            </p:cNvPr>
            <p:cNvSpPr>
              <a:spLocks noEditPoints="1"/>
            </p:cNvSpPr>
            <p:nvPr/>
          </p:nvSpPr>
          <p:spPr bwMode="auto">
            <a:xfrm>
              <a:off x="8191500" y="1590358"/>
              <a:ext cx="47625" cy="47625"/>
            </a:xfrm>
            <a:custGeom>
              <a:avLst/>
              <a:gdLst>
                <a:gd name="T0" fmla="*/ 66 w 150"/>
                <a:gd name="T1" fmla="*/ 119 h 150"/>
                <a:gd name="T2" fmla="*/ 50 w 150"/>
                <a:gd name="T3" fmla="*/ 112 h 150"/>
                <a:gd name="T4" fmla="*/ 37 w 150"/>
                <a:gd name="T5" fmla="*/ 100 h 150"/>
                <a:gd name="T6" fmla="*/ 31 w 150"/>
                <a:gd name="T7" fmla="*/ 84 h 150"/>
                <a:gd name="T8" fmla="*/ 31 w 150"/>
                <a:gd name="T9" fmla="*/ 66 h 150"/>
                <a:gd name="T10" fmla="*/ 37 w 150"/>
                <a:gd name="T11" fmla="*/ 50 h 150"/>
                <a:gd name="T12" fmla="*/ 50 w 150"/>
                <a:gd name="T13" fmla="*/ 37 h 150"/>
                <a:gd name="T14" fmla="*/ 66 w 150"/>
                <a:gd name="T15" fmla="*/ 31 h 150"/>
                <a:gd name="T16" fmla="*/ 84 w 150"/>
                <a:gd name="T17" fmla="*/ 31 h 150"/>
                <a:gd name="T18" fmla="*/ 100 w 150"/>
                <a:gd name="T19" fmla="*/ 37 h 150"/>
                <a:gd name="T20" fmla="*/ 112 w 150"/>
                <a:gd name="T21" fmla="*/ 50 h 150"/>
                <a:gd name="T22" fmla="*/ 119 w 150"/>
                <a:gd name="T23" fmla="*/ 66 h 150"/>
                <a:gd name="T24" fmla="*/ 119 w 150"/>
                <a:gd name="T25" fmla="*/ 84 h 150"/>
                <a:gd name="T26" fmla="*/ 112 w 150"/>
                <a:gd name="T27" fmla="*/ 100 h 150"/>
                <a:gd name="T28" fmla="*/ 100 w 150"/>
                <a:gd name="T29" fmla="*/ 112 h 150"/>
                <a:gd name="T30" fmla="*/ 84 w 150"/>
                <a:gd name="T31" fmla="*/ 119 h 150"/>
                <a:gd name="T32" fmla="*/ 75 w 150"/>
                <a:gd name="T33" fmla="*/ 0 h 150"/>
                <a:gd name="T34" fmla="*/ 60 w 150"/>
                <a:gd name="T35" fmla="*/ 2 h 150"/>
                <a:gd name="T36" fmla="*/ 46 w 150"/>
                <a:gd name="T37" fmla="*/ 6 h 150"/>
                <a:gd name="T38" fmla="*/ 33 w 150"/>
                <a:gd name="T39" fmla="*/ 12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6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8 w 150"/>
                <a:gd name="T73" fmla="*/ 128 h 150"/>
                <a:gd name="T74" fmla="*/ 137 w 150"/>
                <a:gd name="T75" fmla="*/ 116 h 150"/>
                <a:gd name="T76" fmla="*/ 144 w 150"/>
                <a:gd name="T77" fmla="*/ 104 h 150"/>
                <a:gd name="T78" fmla="*/ 149 w 150"/>
                <a:gd name="T79" fmla="*/ 90 h 150"/>
                <a:gd name="T80" fmla="*/ 150 w 150"/>
                <a:gd name="T81" fmla="*/ 75 h 150"/>
                <a:gd name="T82" fmla="*/ 149 w 150"/>
                <a:gd name="T83" fmla="*/ 60 h 150"/>
                <a:gd name="T84" fmla="*/ 144 w 150"/>
                <a:gd name="T85" fmla="*/ 46 h 150"/>
                <a:gd name="T86" fmla="*/ 137 w 150"/>
                <a:gd name="T87" fmla="*/ 33 h 150"/>
                <a:gd name="T88" fmla="*/ 128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6"/>
                  </a:lnTo>
                  <a:lnTo>
                    <a:pt x="50" y="112"/>
                  </a:lnTo>
                  <a:lnTo>
                    <a:pt x="43" y="107"/>
                  </a:lnTo>
                  <a:lnTo>
                    <a:pt x="37" y="100"/>
                  </a:lnTo>
                  <a:lnTo>
                    <a:pt x="33" y="93"/>
                  </a:lnTo>
                  <a:lnTo>
                    <a:pt x="31" y="84"/>
                  </a:lnTo>
                  <a:lnTo>
                    <a:pt x="30" y="75"/>
                  </a:lnTo>
                  <a:lnTo>
                    <a:pt x="31" y="66"/>
                  </a:lnTo>
                  <a:lnTo>
                    <a:pt x="33" y="58"/>
                  </a:lnTo>
                  <a:lnTo>
                    <a:pt x="37" y="50"/>
                  </a:lnTo>
                  <a:lnTo>
                    <a:pt x="43" y="42"/>
                  </a:lnTo>
                  <a:lnTo>
                    <a:pt x="50" y="37"/>
                  </a:lnTo>
                  <a:lnTo>
                    <a:pt x="58" y="33"/>
                  </a:lnTo>
                  <a:lnTo>
                    <a:pt x="66" y="31"/>
                  </a:lnTo>
                  <a:lnTo>
                    <a:pt x="75" y="30"/>
                  </a:lnTo>
                  <a:lnTo>
                    <a:pt x="84" y="31"/>
                  </a:lnTo>
                  <a:lnTo>
                    <a:pt x="92" y="33"/>
                  </a:lnTo>
                  <a:lnTo>
                    <a:pt x="100" y="37"/>
                  </a:lnTo>
                  <a:lnTo>
                    <a:pt x="107" y="42"/>
                  </a:lnTo>
                  <a:lnTo>
                    <a:pt x="112" y="50"/>
                  </a:lnTo>
                  <a:lnTo>
                    <a:pt x="117" y="58"/>
                  </a:lnTo>
                  <a:lnTo>
                    <a:pt x="119" y="66"/>
                  </a:lnTo>
                  <a:lnTo>
                    <a:pt x="120" y="75"/>
                  </a:lnTo>
                  <a:lnTo>
                    <a:pt x="119" y="84"/>
                  </a:lnTo>
                  <a:lnTo>
                    <a:pt x="117" y="93"/>
                  </a:lnTo>
                  <a:lnTo>
                    <a:pt x="112" y="100"/>
                  </a:lnTo>
                  <a:lnTo>
                    <a:pt x="107" y="107"/>
                  </a:lnTo>
                  <a:lnTo>
                    <a:pt x="100" y="112"/>
                  </a:lnTo>
                  <a:lnTo>
                    <a:pt x="92" y="116"/>
                  </a:lnTo>
                  <a:lnTo>
                    <a:pt x="84" y="119"/>
                  </a:lnTo>
                  <a:lnTo>
                    <a:pt x="75" y="120"/>
                  </a:lnTo>
                  <a:close/>
                  <a:moveTo>
                    <a:pt x="75" y="0"/>
                  </a:moveTo>
                  <a:lnTo>
                    <a:pt x="67" y="0"/>
                  </a:lnTo>
                  <a:lnTo>
                    <a:pt x="60" y="2"/>
                  </a:lnTo>
                  <a:lnTo>
                    <a:pt x="52" y="3"/>
                  </a:lnTo>
                  <a:lnTo>
                    <a:pt x="46" y="6"/>
                  </a:lnTo>
                  <a:lnTo>
                    <a:pt x="39" y="9"/>
                  </a:lnTo>
                  <a:lnTo>
                    <a:pt x="33" y="12"/>
                  </a:lnTo>
                  <a:lnTo>
                    <a:pt x="28" y="17"/>
                  </a:lnTo>
                  <a:lnTo>
                    <a:pt x="22" y="22"/>
                  </a:lnTo>
                  <a:lnTo>
                    <a:pt x="17" y="27"/>
                  </a:lnTo>
                  <a:lnTo>
                    <a:pt x="13" y="33"/>
                  </a:lnTo>
                  <a:lnTo>
                    <a:pt x="8" y="39"/>
                  </a:lnTo>
                  <a:lnTo>
                    <a:pt x="6" y="46"/>
                  </a:lnTo>
                  <a:lnTo>
                    <a:pt x="3" y="52"/>
                  </a:lnTo>
                  <a:lnTo>
                    <a:pt x="1" y="60"/>
                  </a:lnTo>
                  <a:lnTo>
                    <a:pt x="0" y="67"/>
                  </a:lnTo>
                  <a:lnTo>
                    <a:pt x="0" y="75"/>
                  </a:lnTo>
                  <a:lnTo>
                    <a:pt x="0" y="82"/>
                  </a:lnTo>
                  <a:lnTo>
                    <a:pt x="1" y="90"/>
                  </a:lnTo>
                  <a:lnTo>
                    <a:pt x="3" y="97"/>
                  </a:lnTo>
                  <a:lnTo>
                    <a:pt x="6" y="104"/>
                  </a:lnTo>
                  <a:lnTo>
                    <a:pt x="8" y="111"/>
                  </a:lnTo>
                  <a:lnTo>
                    <a:pt x="13" y="116"/>
                  </a:lnTo>
                  <a:lnTo>
                    <a:pt x="17" y="123"/>
                  </a:lnTo>
                  <a:lnTo>
                    <a:pt x="22" y="128"/>
                  </a:lnTo>
                  <a:lnTo>
                    <a:pt x="28" y="133"/>
                  </a:lnTo>
                  <a:lnTo>
                    <a:pt x="33" y="137"/>
                  </a:lnTo>
                  <a:lnTo>
                    <a:pt x="39" y="141"/>
                  </a:lnTo>
                  <a:lnTo>
                    <a:pt x="46" y="144"/>
                  </a:lnTo>
                  <a:lnTo>
                    <a:pt x="52" y="147"/>
                  </a:lnTo>
                  <a:lnTo>
                    <a:pt x="60" y="149"/>
                  </a:lnTo>
                  <a:lnTo>
                    <a:pt x="67" y="150"/>
                  </a:lnTo>
                  <a:lnTo>
                    <a:pt x="75" y="150"/>
                  </a:lnTo>
                  <a:lnTo>
                    <a:pt x="82" y="150"/>
                  </a:lnTo>
                  <a:lnTo>
                    <a:pt x="90" y="149"/>
                  </a:lnTo>
                  <a:lnTo>
                    <a:pt x="97" y="147"/>
                  </a:lnTo>
                  <a:lnTo>
                    <a:pt x="104" y="144"/>
                  </a:lnTo>
                  <a:lnTo>
                    <a:pt x="110" y="141"/>
                  </a:lnTo>
                  <a:lnTo>
                    <a:pt x="117" y="137"/>
                  </a:lnTo>
                  <a:lnTo>
                    <a:pt x="123" y="133"/>
                  </a:lnTo>
                  <a:lnTo>
                    <a:pt x="128" y="128"/>
                  </a:lnTo>
                  <a:lnTo>
                    <a:pt x="133" y="123"/>
                  </a:lnTo>
                  <a:lnTo>
                    <a:pt x="137" y="116"/>
                  </a:lnTo>
                  <a:lnTo>
                    <a:pt x="141" y="111"/>
                  </a:lnTo>
                  <a:lnTo>
                    <a:pt x="144" y="104"/>
                  </a:lnTo>
                  <a:lnTo>
                    <a:pt x="147" y="97"/>
                  </a:lnTo>
                  <a:lnTo>
                    <a:pt x="149" y="90"/>
                  </a:lnTo>
                  <a:lnTo>
                    <a:pt x="150" y="82"/>
                  </a:lnTo>
                  <a:lnTo>
                    <a:pt x="150" y="75"/>
                  </a:lnTo>
                  <a:lnTo>
                    <a:pt x="150" y="67"/>
                  </a:lnTo>
                  <a:lnTo>
                    <a:pt x="149" y="60"/>
                  </a:lnTo>
                  <a:lnTo>
                    <a:pt x="147" y="52"/>
                  </a:lnTo>
                  <a:lnTo>
                    <a:pt x="144" y="46"/>
                  </a:lnTo>
                  <a:lnTo>
                    <a:pt x="141" y="39"/>
                  </a:lnTo>
                  <a:lnTo>
                    <a:pt x="137" y="33"/>
                  </a:lnTo>
                  <a:lnTo>
                    <a:pt x="133" y="27"/>
                  </a:lnTo>
                  <a:lnTo>
                    <a:pt x="128" y="22"/>
                  </a:lnTo>
                  <a:lnTo>
                    <a:pt x="123" y="17"/>
                  </a:lnTo>
                  <a:lnTo>
                    <a:pt x="117" y="12"/>
                  </a:lnTo>
                  <a:lnTo>
                    <a:pt x="110" y="9"/>
                  </a:lnTo>
                  <a:lnTo>
                    <a:pt x="104" y="6"/>
                  </a:lnTo>
                  <a:lnTo>
                    <a:pt x="97" y="3"/>
                  </a:lnTo>
                  <a:lnTo>
                    <a:pt x="90" y="2"/>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267">
              <a:extLst>
                <a:ext uri="{FF2B5EF4-FFF2-40B4-BE49-F238E27FC236}">
                  <a16:creationId xmlns:a16="http://schemas.microsoft.com/office/drawing/2014/main" id="{68EDA35E-EB24-4B23-AC0D-9C6AD2EA7B48}"/>
                </a:ext>
              </a:extLst>
            </p:cNvPr>
            <p:cNvSpPr>
              <a:spLocks/>
            </p:cNvSpPr>
            <p:nvPr/>
          </p:nvSpPr>
          <p:spPr bwMode="auto">
            <a:xfrm>
              <a:off x="8162925" y="1390333"/>
              <a:ext cx="285750" cy="190500"/>
            </a:xfrm>
            <a:custGeom>
              <a:avLst/>
              <a:gdLst>
                <a:gd name="T0" fmla="*/ 886 w 901"/>
                <a:gd name="T1" fmla="*/ 0 h 602"/>
                <a:gd name="T2" fmla="*/ 830 w 901"/>
                <a:gd name="T3" fmla="*/ 0 h 602"/>
                <a:gd name="T4" fmla="*/ 824 w 901"/>
                <a:gd name="T5" fmla="*/ 1 h 602"/>
                <a:gd name="T6" fmla="*/ 820 w 901"/>
                <a:gd name="T7" fmla="*/ 4 h 602"/>
                <a:gd name="T8" fmla="*/ 817 w 901"/>
                <a:gd name="T9" fmla="*/ 9 h 602"/>
                <a:gd name="T10" fmla="*/ 814 w 901"/>
                <a:gd name="T11" fmla="*/ 14 h 602"/>
                <a:gd name="T12" fmla="*/ 741 w 901"/>
                <a:gd name="T13" fmla="*/ 572 h 602"/>
                <a:gd name="T14" fmla="*/ 15 w 901"/>
                <a:gd name="T15" fmla="*/ 572 h 602"/>
                <a:gd name="T16" fmla="*/ 11 w 901"/>
                <a:gd name="T17" fmla="*/ 572 h 602"/>
                <a:gd name="T18" fmla="*/ 8 w 901"/>
                <a:gd name="T19" fmla="*/ 573 h 602"/>
                <a:gd name="T20" fmla="*/ 6 w 901"/>
                <a:gd name="T21" fmla="*/ 574 h 602"/>
                <a:gd name="T22" fmla="*/ 4 w 901"/>
                <a:gd name="T23" fmla="*/ 576 h 602"/>
                <a:gd name="T24" fmla="*/ 2 w 901"/>
                <a:gd name="T25" fmla="*/ 578 h 602"/>
                <a:gd name="T26" fmla="*/ 1 w 901"/>
                <a:gd name="T27" fmla="*/ 581 h 602"/>
                <a:gd name="T28" fmla="*/ 0 w 901"/>
                <a:gd name="T29" fmla="*/ 583 h 602"/>
                <a:gd name="T30" fmla="*/ 0 w 901"/>
                <a:gd name="T31" fmla="*/ 587 h 602"/>
                <a:gd name="T32" fmla="*/ 0 w 901"/>
                <a:gd name="T33" fmla="*/ 590 h 602"/>
                <a:gd name="T34" fmla="*/ 1 w 901"/>
                <a:gd name="T35" fmla="*/ 593 h 602"/>
                <a:gd name="T36" fmla="*/ 2 w 901"/>
                <a:gd name="T37" fmla="*/ 595 h 602"/>
                <a:gd name="T38" fmla="*/ 4 w 901"/>
                <a:gd name="T39" fmla="*/ 597 h 602"/>
                <a:gd name="T40" fmla="*/ 6 w 901"/>
                <a:gd name="T41" fmla="*/ 599 h 602"/>
                <a:gd name="T42" fmla="*/ 8 w 901"/>
                <a:gd name="T43" fmla="*/ 600 h 602"/>
                <a:gd name="T44" fmla="*/ 11 w 901"/>
                <a:gd name="T45" fmla="*/ 602 h 602"/>
                <a:gd name="T46" fmla="*/ 15 w 901"/>
                <a:gd name="T47" fmla="*/ 602 h 602"/>
                <a:gd name="T48" fmla="*/ 753 w 901"/>
                <a:gd name="T49" fmla="*/ 602 h 602"/>
                <a:gd name="T50" fmla="*/ 759 w 901"/>
                <a:gd name="T51" fmla="*/ 600 h 602"/>
                <a:gd name="T52" fmla="*/ 764 w 901"/>
                <a:gd name="T53" fmla="*/ 598 h 602"/>
                <a:gd name="T54" fmla="*/ 767 w 901"/>
                <a:gd name="T55" fmla="*/ 594 h 602"/>
                <a:gd name="T56" fmla="*/ 768 w 901"/>
                <a:gd name="T57" fmla="*/ 589 h 602"/>
                <a:gd name="T58" fmla="*/ 842 w 901"/>
                <a:gd name="T59" fmla="*/ 30 h 602"/>
                <a:gd name="T60" fmla="*/ 886 w 901"/>
                <a:gd name="T61" fmla="*/ 30 h 602"/>
                <a:gd name="T62" fmla="*/ 890 w 901"/>
                <a:gd name="T63" fmla="*/ 30 h 602"/>
                <a:gd name="T64" fmla="*/ 892 w 901"/>
                <a:gd name="T65" fmla="*/ 29 h 602"/>
                <a:gd name="T66" fmla="*/ 895 w 901"/>
                <a:gd name="T67" fmla="*/ 28 h 602"/>
                <a:gd name="T68" fmla="*/ 897 w 901"/>
                <a:gd name="T69" fmla="*/ 26 h 602"/>
                <a:gd name="T70" fmla="*/ 899 w 901"/>
                <a:gd name="T71" fmla="*/ 24 h 602"/>
                <a:gd name="T72" fmla="*/ 900 w 901"/>
                <a:gd name="T73" fmla="*/ 21 h 602"/>
                <a:gd name="T74" fmla="*/ 901 w 901"/>
                <a:gd name="T75" fmla="*/ 18 h 602"/>
                <a:gd name="T76" fmla="*/ 901 w 901"/>
                <a:gd name="T77" fmla="*/ 15 h 602"/>
                <a:gd name="T78" fmla="*/ 901 w 901"/>
                <a:gd name="T79" fmla="*/ 13 h 602"/>
                <a:gd name="T80" fmla="*/ 900 w 901"/>
                <a:gd name="T81" fmla="*/ 10 h 602"/>
                <a:gd name="T82" fmla="*/ 899 w 901"/>
                <a:gd name="T83" fmla="*/ 7 h 602"/>
                <a:gd name="T84" fmla="*/ 897 w 901"/>
                <a:gd name="T85" fmla="*/ 4 h 602"/>
                <a:gd name="T86" fmla="*/ 895 w 901"/>
                <a:gd name="T87" fmla="*/ 3 h 602"/>
                <a:gd name="T88" fmla="*/ 892 w 901"/>
                <a:gd name="T89" fmla="*/ 1 h 602"/>
                <a:gd name="T90" fmla="*/ 890 w 901"/>
                <a:gd name="T91" fmla="*/ 1 h 602"/>
                <a:gd name="T92" fmla="*/ 886 w 901"/>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602">
                  <a:moveTo>
                    <a:pt x="886" y="0"/>
                  </a:moveTo>
                  <a:lnTo>
                    <a:pt x="830" y="0"/>
                  </a:lnTo>
                  <a:lnTo>
                    <a:pt x="824" y="1"/>
                  </a:lnTo>
                  <a:lnTo>
                    <a:pt x="820" y="4"/>
                  </a:lnTo>
                  <a:lnTo>
                    <a:pt x="817" y="9"/>
                  </a:lnTo>
                  <a:lnTo>
                    <a:pt x="814" y="14"/>
                  </a:lnTo>
                  <a:lnTo>
                    <a:pt x="741" y="572"/>
                  </a:lnTo>
                  <a:lnTo>
                    <a:pt x="15" y="572"/>
                  </a:lnTo>
                  <a:lnTo>
                    <a:pt x="11" y="572"/>
                  </a:lnTo>
                  <a:lnTo>
                    <a:pt x="8" y="573"/>
                  </a:lnTo>
                  <a:lnTo>
                    <a:pt x="6" y="574"/>
                  </a:lnTo>
                  <a:lnTo>
                    <a:pt x="4" y="576"/>
                  </a:lnTo>
                  <a:lnTo>
                    <a:pt x="2" y="578"/>
                  </a:lnTo>
                  <a:lnTo>
                    <a:pt x="1" y="581"/>
                  </a:lnTo>
                  <a:lnTo>
                    <a:pt x="0" y="583"/>
                  </a:lnTo>
                  <a:lnTo>
                    <a:pt x="0" y="587"/>
                  </a:lnTo>
                  <a:lnTo>
                    <a:pt x="0" y="590"/>
                  </a:lnTo>
                  <a:lnTo>
                    <a:pt x="1" y="593"/>
                  </a:lnTo>
                  <a:lnTo>
                    <a:pt x="2" y="595"/>
                  </a:lnTo>
                  <a:lnTo>
                    <a:pt x="4" y="597"/>
                  </a:lnTo>
                  <a:lnTo>
                    <a:pt x="6" y="599"/>
                  </a:lnTo>
                  <a:lnTo>
                    <a:pt x="8" y="600"/>
                  </a:lnTo>
                  <a:lnTo>
                    <a:pt x="11" y="602"/>
                  </a:lnTo>
                  <a:lnTo>
                    <a:pt x="15" y="602"/>
                  </a:lnTo>
                  <a:lnTo>
                    <a:pt x="753" y="602"/>
                  </a:lnTo>
                  <a:lnTo>
                    <a:pt x="759" y="600"/>
                  </a:lnTo>
                  <a:lnTo>
                    <a:pt x="764" y="598"/>
                  </a:lnTo>
                  <a:lnTo>
                    <a:pt x="767" y="594"/>
                  </a:lnTo>
                  <a:lnTo>
                    <a:pt x="768" y="589"/>
                  </a:lnTo>
                  <a:lnTo>
                    <a:pt x="842" y="30"/>
                  </a:lnTo>
                  <a:lnTo>
                    <a:pt x="886" y="30"/>
                  </a:lnTo>
                  <a:lnTo>
                    <a:pt x="890" y="30"/>
                  </a:lnTo>
                  <a:lnTo>
                    <a:pt x="892" y="29"/>
                  </a:lnTo>
                  <a:lnTo>
                    <a:pt x="895" y="28"/>
                  </a:lnTo>
                  <a:lnTo>
                    <a:pt x="897" y="26"/>
                  </a:lnTo>
                  <a:lnTo>
                    <a:pt x="899" y="24"/>
                  </a:lnTo>
                  <a:lnTo>
                    <a:pt x="900" y="21"/>
                  </a:lnTo>
                  <a:lnTo>
                    <a:pt x="901" y="18"/>
                  </a:lnTo>
                  <a:lnTo>
                    <a:pt x="901" y="15"/>
                  </a:lnTo>
                  <a:lnTo>
                    <a:pt x="901" y="13"/>
                  </a:lnTo>
                  <a:lnTo>
                    <a:pt x="900" y="10"/>
                  </a:lnTo>
                  <a:lnTo>
                    <a:pt x="899" y="7"/>
                  </a:lnTo>
                  <a:lnTo>
                    <a:pt x="897" y="4"/>
                  </a:lnTo>
                  <a:lnTo>
                    <a:pt x="895" y="3"/>
                  </a:lnTo>
                  <a:lnTo>
                    <a:pt x="892" y="1"/>
                  </a:lnTo>
                  <a:lnTo>
                    <a:pt x="890" y="1"/>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268">
              <a:extLst>
                <a:ext uri="{FF2B5EF4-FFF2-40B4-BE49-F238E27FC236}">
                  <a16:creationId xmlns:a16="http://schemas.microsoft.com/office/drawing/2014/main" id="{65A41D80-DBB1-47EB-BEDA-94D37C638641}"/>
                </a:ext>
              </a:extLst>
            </p:cNvPr>
            <p:cNvSpPr>
              <a:spLocks noEditPoints="1"/>
            </p:cNvSpPr>
            <p:nvPr/>
          </p:nvSpPr>
          <p:spPr bwMode="auto">
            <a:xfrm>
              <a:off x="8172450" y="1409383"/>
              <a:ext cx="200025" cy="142875"/>
            </a:xfrm>
            <a:custGeom>
              <a:avLst/>
              <a:gdLst>
                <a:gd name="T0" fmla="*/ 75 w 631"/>
                <a:gd name="T1" fmla="*/ 301 h 451"/>
                <a:gd name="T2" fmla="*/ 360 w 631"/>
                <a:gd name="T3" fmla="*/ 301 h 451"/>
                <a:gd name="T4" fmla="*/ 30 w 631"/>
                <a:gd name="T5" fmla="*/ 421 h 451"/>
                <a:gd name="T6" fmla="*/ 90 w 631"/>
                <a:gd name="T7" fmla="*/ 181 h 451"/>
                <a:gd name="T8" fmla="*/ 270 w 631"/>
                <a:gd name="T9" fmla="*/ 271 h 451"/>
                <a:gd name="T10" fmla="*/ 90 w 631"/>
                <a:gd name="T11" fmla="*/ 181 h 451"/>
                <a:gd name="T12" fmla="*/ 601 w 631"/>
                <a:gd name="T13" fmla="*/ 30 h 451"/>
                <a:gd name="T14" fmla="*/ 390 w 631"/>
                <a:gd name="T15" fmla="*/ 421 h 451"/>
                <a:gd name="T16" fmla="*/ 390 w 631"/>
                <a:gd name="T17" fmla="*/ 30 h 451"/>
                <a:gd name="T18" fmla="*/ 375 w 631"/>
                <a:gd name="T19" fmla="*/ 451 h 451"/>
                <a:gd name="T20" fmla="*/ 619 w 631"/>
                <a:gd name="T21" fmla="*/ 451 h 451"/>
                <a:gd name="T22" fmla="*/ 625 w 631"/>
                <a:gd name="T23" fmla="*/ 449 h 451"/>
                <a:gd name="T24" fmla="*/ 628 w 631"/>
                <a:gd name="T25" fmla="*/ 445 h 451"/>
                <a:gd name="T26" fmla="*/ 630 w 631"/>
                <a:gd name="T27" fmla="*/ 440 h 451"/>
                <a:gd name="T28" fmla="*/ 631 w 631"/>
                <a:gd name="T29" fmla="*/ 15 h 451"/>
                <a:gd name="T30" fmla="*/ 630 w 631"/>
                <a:gd name="T31" fmla="*/ 10 h 451"/>
                <a:gd name="T32" fmla="*/ 627 w 631"/>
                <a:gd name="T33" fmla="*/ 5 h 451"/>
                <a:gd name="T34" fmla="*/ 622 w 631"/>
                <a:gd name="T35" fmla="*/ 2 h 451"/>
                <a:gd name="T36" fmla="*/ 616 w 631"/>
                <a:gd name="T37" fmla="*/ 0 h 451"/>
                <a:gd name="T38" fmla="*/ 373 w 631"/>
                <a:gd name="T39" fmla="*/ 1 h 451"/>
                <a:gd name="T40" fmla="*/ 367 w 631"/>
                <a:gd name="T41" fmla="*/ 3 h 451"/>
                <a:gd name="T42" fmla="*/ 363 w 631"/>
                <a:gd name="T43" fmla="*/ 8 h 451"/>
                <a:gd name="T44" fmla="*/ 361 w 631"/>
                <a:gd name="T45" fmla="*/ 13 h 451"/>
                <a:gd name="T46" fmla="*/ 360 w 631"/>
                <a:gd name="T47" fmla="*/ 271 h 451"/>
                <a:gd name="T48" fmla="*/ 300 w 631"/>
                <a:gd name="T49" fmla="*/ 166 h 451"/>
                <a:gd name="T50" fmla="*/ 299 w 631"/>
                <a:gd name="T51" fmla="*/ 160 h 451"/>
                <a:gd name="T52" fmla="*/ 296 w 631"/>
                <a:gd name="T53" fmla="*/ 156 h 451"/>
                <a:gd name="T54" fmla="*/ 291 w 631"/>
                <a:gd name="T55" fmla="*/ 152 h 451"/>
                <a:gd name="T56" fmla="*/ 285 w 631"/>
                <a:gd name="T57" fmla="*/ 151 h 451"/>
                <a:gd name="T58" fmla="*/ 71 w 631"/>
                <a:gd name="T59" fmla="*/ 151 h 451"/>
                <a:gd name="T60" fmla="*/ 66 w 631"/>
                <a:gd name="T61" fmla="*/ 153 h 451"/>
                <a:gd name="T62" fmla="*/ 62 w 631"/>
                <a:gd name="T63" fmla="*/ 158 h 451"/>
                <a:gd name="T64" fmla="*/ 60 w 631"/>
                <a:gd name="T65" fmla="*/ 163 h 451"/>
                <a:gd name="T66" fmla="*/ 60 w 631"/>
                <a:gd name="T67" fmla="*/ 271 h 451"/>
                <a:gd name="T68" fmla="*/ 11 w 631"/>
                <a:gd name="T69" fmla="*/ 271 h 451"/>
                <a:gd name="T70" fmla="*/ 6 w 631"/>
                <a:gd name="T71" fmla="*/ 273 h 451"/>
                <a:gd name="T72" fmla="*/ 2 w 631"/>
                <a:gd name="T73" fmla="*/ 278 h 451"/>
                <a:gd name="T74" fmla="*/ 0 w 631"/>
                <a:gd name="T75" fmla="*/ 283 h 451"/>
                <a:gd name="T76" fmla="*/ 0 w 631"/>
                <a:gd name="T77" fmla="*/ 436 h 451"/>
                <a:gd name="T78" fmla="*/ 1 w 631"/>
                <a:gd name="T79" fmla="*/ 442 h 451"/>
                <a:gd name="T80" fmla="*/ 4 w 631"/>
                <a:gd name="T81" fmla="*/ 447 h 451"/>
                <a:gd name="T82" fmla="*/ 8 w 631"/>
                <a:gd name="T83" fmla="*/ 450 h 451"/>
                <a:gd name="T84" fmla="*/ 15 w 631"/>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1" h="451">
                  <a:moveTo>
                    <a:pt x="30" y="301"/>
                  </a:moveTo>
                  <a:lnTo>
                    <a:pt x="75" y="301"/>
                  </a:lnTo>
                  <a:lnTo>
                    <a:pt x="285" y="301"/>
                  </a:lnTo>
                  <a:lnTo>
                    <a:pt x="360" y="301"/>
                  </a:lnTo>
                  <a:lnTo>
                    <a:pt x="360" y="421"/>
                  </a:lnTo>
                  <a:lnTo>
                    <a:pt x="30" y="421"/>
                  </a:lnTo>
                  <a:lnTo>
                    <a:pt x="30" y="301"/>
                  </a:lnTo>
                  <a:close/>
                  <a:moveTo>
                    <a:pt x="90" y="181"/>
                  </a:moveTo>
                  <a:lnTo>
                    <a:pt x="270" y="181"/>
                  </a:lnTo>
                  <a:lnTo>
                    <a:pt x="270" y="271"/>
                  </a:lnTo>
                  <a:lnTo>
                    <a:pt x="90" y="271"/>
                  </a:lnTo>
                  <a:lnTo>
                    <a:pt x="90" y="181"/>
                  </a:lnTo>
                  <a:close/>
                  <a:moveTo>
                    <a:pt x="390" y="30"/>
                  </a:moveTo>
                  <a:lnTo>
                    <a:pt x="601" y="30"/>
                  </a:lnTo>
                  <a:lnTo>
                    <a:pt x="601" y="421"/>
                  </a:lnTo>
                  <a:lnTo>
                    <a:pt x="390" y="421"/>
                  </a:lnTo>
                  <a:lnTo>
                    <a:pt x="390" y="286"/>
                  </a:lnTo>
                  <a:lnTo>
                    <a:pt x="390" y="30"/>
                  </a:lnTo>
                  <a:close/>
                  <a:moveTo>
                    <a:pt x="15" y="451"/>
                  </a:moveTo>
                  <a:lnTo>
                    <a:pt x="375" y="451"/>
                  </a:lnTo>
                  <a:lnTo>
                    <a:pt x="616" y="451"/>
                  </a:lnTo>
                  <a:lnTo>
                    <a:pt x="619" y="451"/>
                  </a:lnTo>
                  <a:lnTo>
                    <a:pt x="622" y="450"/>
                  </a:lnTo>
                  <a:lnTo>
                    <a:pt x="625" y="449"/>
                  </a:lnTo>
                  <a:lnTo>
                    <a:pt x="627" y="447"/>
                  </a:lnTo>
                  <a:lnTo>
                    <a:pt x="628" y="445"/>
                  </a:lnTo>
                  <a:lnTo>
                    <a:pt x="630" y="442"/>
                  </a:lnTo>
                  <a:lnTo>
                    <a:pt x="630" y="440"/>
                  </a:lnTo>
                  <a:lnTo>
                    <a:pt x="631" y="436"/>
                  </a:lnTo>
                  <a:lnTo>
                    <a:pt x="631" y="15"/>
                  </a:lnTo>
                  <a:lnTo>
                    <a:pt x="630" y="13"/>
                  </a:lnTo>
                  <a:lnTo>
                    <a:pt x="630" y="10"/>
                  </a:lnTo>
                  <a:lnTo>
                    <a:pt x="628" y="8"/>
                  </a:lnTo>
                  <a:lnTo>
                    <a:pt x="627" y="5"/>
                  </a:lnTo>
                  <a:lnTo>
                    <a:pt x="625" y="3"/>
                  </a:lnTo>
                  <a:lnTo>
                    <a:pt x="622" y="2"/>
                  </a:lnTo>
                  <a:lnTo>
                    <a:pt x="619" y="1"/>
                  </a:lnTo>
                  <a:lnTo>
                    <a:pt x="616" y="0"/>
                  </a:lnTo>
                  <a:lnTo>
                    <a:pt x="375" y="0"/>
                  </a:lnTo>
                  <a:lnTo>
                    <a:pt x="373" y="1"/>
                  </a:lnTo>
                  <a:lnTo>
                    <a:pt x="370" y="2"/>
                  </a:lnTo>
                  <a:lnTo>
                    <a:pt x="367" y="3"/>
                  </a:lnTo>
                  <a:lnTo>
                    <a:pt x="364" y="5"/>
                  </a:lnTo>
                  <a:lnTo>
                    <a:pt x="363" y="8"/>
                  </a:lnTo>
                  <a:lnTo>
                    <a:pt x="361" y="10"/>
                  </a:lnTo>
                  <a:lnTo>
                    <a:pt x="361" y="13"/>
                  </a:lnTo>
                  <a:lnTo>
                    <a:pt x="360" y="15"/>
                  </a:lnTo>
                  <a:lnTo>
                    <a:pt x="360" y="271"/>
                  </a:lnTo>
                  <a:lnTo>
                    <a:pt x="300" y="271"/>
                  </a:lnTo>
                  <a:lnTo>
                    <a:pt x="300" y="166"/>
                  </a:lnTo>
                  <a:lnTo>
                    <a:pt x="300" y="163"/>
                  </a:lnTo>
                  <a:lnTo>
                    <a:pt x="299" y="160"/>
                  </a:lnTo>
                  <a:lnTo>
                    <a:pt x="298" y="158"/>
                  </a:lnTo>
                  <a:lnTo>
                    <a:pt x="296" y="156"/>
                  </a:lnTo>
                  <a:lnTo>
                    <a:pt x="293" y="153"/>
                  </a:lnTo>
                  <a:lnTo>
                    <a:pt x="291" y="152"/>
                  </a:lnTo>
                  <a:lnTo>
                    <a:pt x="288" y="151"/>
                  </a:lnTo>
                  <a:lnTo>
                    <a:pt x="285" y="151"/>
                  </a:lnTo>
                  <a:lnTo>
                    <a:pt x="75" y="151"/>
                  </a:lnTo>
                  <a:lnTo>
                    <a:pt x="71" y="151"/>
                  </a:lnTo>
                  <a:lnTo>
                    <a:pt x="69" y="152"/>
                  </a:lnTo>
                  <a:lnTo>
                    <a:pt x="66" y="153"/>
                  </a:lnTo>
                  <a:lnTo>
                    <a:pt x="64" y="156"/>
                  </a:lnTo>
                  <a:lnTo>
                    <a:pt x="62" y="158"/>
                  </a:lnTo>
                  <a:lnTo>
                    <a:pt x="61" y="160"/>
                  </a:lnTo>
                  <a:lnTo>
                    <a:pt x="60" y="163"/>
                  </a:lnTo>
                  <a:lnTo>
                    <a:pt x="60" y="166"/>
                  </a:lnTo>
                  <a:lnTo>
                    <a:pt x="60" y="271"/>
                  </a:lnTo>
                  <a:lnTo>
                    <a:pt x="15" y="271"/>
                  </a:lnTo>
                  <a:lnTo>
                    <a:pt x="11" y="271"/>
                  </a:lnTo>
                  <a:lnTo>
                    <a:pt x="8" y="272"/>
                  </a:lnTo>
                  <a:lnTo>
                    <a:pt x="6" y="273"/>
                  </a:lnTo>
                  <a:lnTo>
                    <a:pt x="4" y="276"/>
                  </a:lnTo>
                  <a:lnTo>
                    <a:pt x="2" y="278"/>
                  </a:lnTo>
                  <a:lnTo>
                    <a:pt x="1" y="280"/>
                  </a:lnTo>
                  <a:lnTo>
                    <a:pt x="0" y="283"/>
                  </a:lnTo>
                  <a:lnTo>
                    <a:pt x="0" y="286"/>
                  </a:lnTo>
                  <a:lnTo>
                    <a:pt x="0" y="436"/>
                  </a:lnTo>
                  <a:lnTo>
                    <a:pt x="0" y="440"/>
                  </a:lnTo>
                  <a:lnTo>
                    <a:pt x="1" y="442"/>
                  </a:lnTo>
                  <a:lnTo>
                    <a:pt x="2" y="445"/>
                  </a:lnTo>
                  <a:lnTo>
                    <a:pt x="4" y="447"/>
                  </a:lnTo>
                  <a:lnTo>
                    <a:pt x="6" y="449"/>
                  </a:lnTo>
                  <a:lnTo>
                    <a:pt x="8" y="450"/>
                  </a:lnTo>
                  <a:lnTo>
                    <a:pt x="11" y="451"/>
                  </a:lnTo>
                  <a:lnTo>
                    <a:pt x="15"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1" name="Group 19">
            <a:extLst>
              <a:ext uri="{FF2B5EF4-FFF2-40B4-BE49-F238E27FC236}">
                <a16:creationId xmlns:a16="http://schemas.microsoft.com/office/drawing/2014/main" id="{3947FF6F-962A-418B-8176-39E9E59B5BC0}"/>
              </a:ext>
            </a:extLst>
          </p:cNvPr>
          <p:cNvGrpSpPr>
            <a:grpSpLocks noChangeAspect="1"/>
          </p:cNvGrpSpPr>
          <p:nvPr/>
        </p:nvGrpSpPr>
        <p:grpSpPr>
          <a:xfrm>
            <a:off x="3202636" y="4340505"/>
            <a:ext cx="285619" cy="285619"/>
            <a:chOff x="11026775" y="779145"/>
            <a:chExt cx="285750" cy="285750"/>
          </a:xfrm>
          <a:solidFill>
            <a:schemeClr val="bg2"/>
          </a:solidFill>
          <a:effectLst/>
        </p:grpSpPr>
        <p:sp>
          <p:nvSpPr>
            <p:cNvPr id="1502" name="Freeform 165">
              <a:extLst>
                <a:ext uri="{FF2B5EF4-FFF2-40B4-BE49-F238E27FC236}">
                  <a16:creationId xmlns:a16="http://schemas.microsoft.com/office/drawing/2014/main" id="{5EB23A26-8D5B-4BEB-B12D-D8A8FAD5E09B}"/>
                </a:ext>
              </a:extLst>
            </p:cNvPr>
            <p:cNvSpPr>
              <a:spLocks noEditPoints="1"/>
            </p:cNvSpPr>
            <p:nvPr/>
          </p:nvSpPr>
          <p:spPr bwMode="auto">
            <a:xfrm>
              <a:off x="11026775" y="817245"/>
              <a:ext cx="285750" cy="247650"/>
            </a:xfrm>
            <a:custGeom>
              <a:avLst/>
              <a:gdLst>
                <a:gd name="T0" fmla="*/ 604 w 902"/>
                <a:gd name="T1" fmla="*/ 572 h 782"/>
                <a:gd name="T2" fmla="*/ 568 w 902"/>
                <a:gd name="T3" fmla="*/ 749 h 782"/>
                <a:gd name="T4" fmla="*/ 545 w 902"/>
                <a:gd name="T5" fmla="*/ 724 h 782"/>
                <a:gd name="T6" fmla="*/ 545 w 902"/>
                <a:gd name="T7" fmla="*/ 690 h 782"/>
                <a:gd name="T8" fmla="*/ 568 w 902"/>
                <a:gd name="T9" fmla="*/ 665 h 782"/>
                <a:gd name="T10" fmla="*/ 604 w 902"/>
                <a:gd name="T11" fmla="*/ 665 h 782"/>
                <a:gd name="T12" fmla="*/ 627 w 902"/>
                <a:gd name="T13" fmla="*/ 690 h 782"/>
                <a:gd name="T14" fmla="*/ 627 w 902"/>
                <a:gd name="T15" fmla="*/ 724 h 782"/>
                <a:gd name="T16" fmla="*/ 604 w 902"/>
                <a:gd name="T17" fmla="*/ 749 h 782"/>
                <a:gd name="T18" fmla="*/ 224 w 902"/>
                <a:gd name="T19" fmla="*/ 716 h 782"/>
                <a:gd name="T20" fmla="*/ 205 w 902"/>
                <a:gd name="T21" fmla="*/ 745 h 782"/>
                <a:gd name="T22" fmla="*/ 170 w 902"/>
                <a:gd name="T23" fmla="*/ 751 h 782"/>
                <a:gd name="T24" fmla="*/ 142 w 902"/>
                <a:gd name="T25" fmla="*/ 732 h 782"/>
                <a:gd name="T26" fmla="*/ 136 w 902"/>
                <a:gd name="T27" fmla="*/ 697 h 782"/>
                <a:gd name="T28" fmla="*/ 154 w 902"/>
                <a:gd name="T29" fmla="*/ 669 h 782"/>
                <a:gd name="T30" fmla="*/ 189 w 902"/>
                <a:gd name="T31" fmla="*/ 663 h 782"/>
                <a:gd name="T32" fmla="*/ 218 w 902"/>
                <a:gd name="T33" fmla="*/ 681 h 782"/>
                <a:gd name="T34" fmla="*/ 887 w 902"/>
                <a:gd name="T35" fmla="*/ 0 h 782"/>
                <a:gd name="T36" fmla="*/ 741 w 902"/>
                <a:gd name="T37" fmla="*/ 7 h 782"/>
                <a:gd name="T38" fmla="*/ 11 w 902"/>
                <a:gd name="T39" fmla="*/ 212 h 782"/>
                <a:gd name="T40" fmla="*/ 1 w 902"/>
                <a:gd name="T41" fmla="*/ 220 h 782"/>
                <a:gd name="T42" fmla="*/ 114 w 902"/>
                <a:gd name="T43" fmla="*/ 591 h 782"/>
                <a:gd name="T44" fmla="*/ 129 w 902"/>
                <a:gd name="T45" fmla="*/ 602 h 782"/>
                <a:gd name="T46" fmla="*/ 172 w 902"/>
                <a:gd name="T47" fmla="*/ 632 h 782"/>
                <a:gd name="T48" fmla="*/ 144 w 902"/>
                <a:gd name="T49" fmla="*/ 640 h 782"/>
                <a:gd name="T50" fmla="*/ 122 w 902"/>
                <a:gd name="T51" fmla="*/ 659 h 782"/>
                <a:gd name="T52" fmla="*/ 108 w 902"/>
                <a:gd name="T53" fmla="*/ 684 h 782"/>
                <a:gd name="T54" fmla="*/ 105 w 902"/>
                <a:gd name="T55" fmla="*/ 714 h 782"/>
                <a:gd name="T56" fmla="*/ 114 w 902"/>
                <a:gd name="T57" fmla="*/ 742 h 782"/>
                <a:gd name="T58" fmla="*/ 132 w 902"/>
                <a:gd name="T59" fmla="*/ 765 h 782"/>
                <a:gd name="T60" fmla="*/ 157 w 902"/>
                <a:gd name="T61" fmla="*/ 779 h 782"/>
                <a:gd name="T62" fmla="*/ 188 w 902"/>
                <a:gd name="T63" fmla="*/ 782 h 782"/>
                <a:gd name="T64" fmla="*/ 215 w 902"/>
                <a:gd name="T65" fmla="*/ 773 h 782"/>
                <a:gd name="T66" fmla="*/ 238 w 902"/>
                <a:gd name="T67" fmla="*/ 754 h 782"/>
                <a:gd name="T68" fmla="*/ 252 w 902"/>
                <a:gd name="T69" fmla="*/ 729 h 782"/>
                <a:gd name="T70" fmla="*/ 254 w 902"/>
                <a:gd name="T71" fmla="*/ 694 h 782"/>
                <a:gd name="T72" fmla="*/ 525 w 902"/>
                <a:gd name="T73" fmla="*/ 662 h 782"/>
                <a:gd name="T74" fmla="*/ 510 w 902"/>
                <a:gd name="T75" fmla="*/ 707 h 782"/>
                <a:gd name="T76" fmla="*/ 517 w 902"/>
                <a:gd name="T77" fmla="*/ 736 h 782"/>
                <a:gd name="T78" fmla="*/ 533 w 902"/>
                <a:gd name="T79" fmla="*/ 760 h 782"/>
                <a:gd name="T80" fmla="*/ 556 w 902"/>
                <a:gd name="T81" fmla="*/ 777 h 782"/>
                <a:gd name="T82" fmla="*/ 585 w 902"/>
                <a:gd name="T83" fmla="*/ 782 h 782"/>
                <a:gd name="T84" fmla="*/ 615 w 902"/>
                <a:gd name="T85" fmla="*/ 777 h 782"/>
                <a:gd name="T86" fmla="*/ 639 w 902"/>
                <a:gd name="T87" fmla="*/ 760 h 782"/>
                <a:gd name="T88" fmla="*/ 655 w 902"/>
                <a:gd name="T89" fmla="*/ 736 h 782"/>
                <a:gd name="T90" fmla="*/ 660 w 902"/>
                <a:gd name="T91" fmla="*/ 707 h 782"/>
                <a:gd name="T92" fmla="*/ 649 w 902"/>
                <a:gd name="T93" fmla="*/ 666 h 782"/>
                <a:gd name="T94" fmla="*/ 617 w 902"/>
                <a:gd name="T95" fmla="*/ 639 h 782"/>
                <a:gd name="T96" fmla="*/ 630 w 902"/>
                <a:gd name="T97" fmla="*/ 587 h 782"/>
                <a:gd name="T98" fmla="*/ 889 w 902"/>
                <a:gd name="T99" fmla="*/ 30 h 782"/>
                <a:gd name="T100" fmla="*/ 898 w 902"/>
                <a:gd name="T101" fmla="*/ 24 h 782"/>
                <a:gd name="T102" fmla="*/ 901 w 902"/>
                <a:gd name="T103" fmla="*/ 12 h 782"/>
                <a:gd name="T104" fmla="*/ 894 w 902"/>
                <a:gd name="T105" fmla="*/ 2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782">
                  <a:moveTo>
                    <a:pt x="139" y="572"/>
                  </a:moveTo>
                  <a:lnTo>
                    <a:pt x="35" y="240"/>
                  </a:lnTo>
                  <a:lnTo>
                    <a:pt x="684" y="240"/>
                  </a:lnTo>
                  <a:lnTo>
                    <a:pt x="604" y="572"/>
                  </a:lnTo>
                  <a:lnTo>
                    <a:pt x="139" y="572"/>
                  </a:lnTo>
                  <a:close/>
                  <a:moveTo>
                    <a:pt x="585" y="752"/>
                  </a:moveTo>
                  <a:lnTo>
                    <a:pt x="577" y="751"/>
                  </a:lnTo>
                  <a:lnTo>
                    <a:pt x="568" y="749"/>
                  </a:lnTo>
                  <a:lnTo>
                    <a:pt x="561" y="745"/>
                  </a:lnTo>
                  <a:lnTo>
                    <a:pt x="554" y="739"/>
                  </a:lnTo>
                  <a:lnTo>
                    <a:pt x="548" y="732"/>
                  </a:lnTo>
                  <a:lnTo>
                    <a:pt x="545" y="724"/>
                  </a:lnTo>
                  <a:lnTo>
                    <a:pt x="541" y="716"/>
                  </a:lnTo>
                  <a:lnTo>
                    <a:pt x="540" y="707"/>
                  </a:lnTo>
                  <a:lnTo>
                    <a:pt x="541" y="697"/>
                  </a:lnTo>
                  <a:lnTo>
                    <a:pt x="545" y="690"/>
                  </a:lnTo>
                  <a:lnTo>
                    <a:pt x="548" y="681"/>
                  </a:lnTo>
                  <a:lnTo>
                    <a:pt x="554" y="675"/>
                  </a:lnTo>
                  <a:lnTo>
                    <a:pt x="561" y="669"/>
                  </a:lnTo>
                  <a:lnTo>
                    <a:pt x="568" y="665"/>
                  </a:lnTo>
                  <a:lnTo>
                    <a:pt x="577" y="663"/>
                  </a:lnTo>
                  <a:lnTo>
                    <a:pt x="585" y="662"/>
                  </a:lnTo>
                  <a:lnTo>
                    <a:pt x="595" y="663"/>
                  </a:lnTo>
                  <a:lnTo>
                    <a:pt x="604" y="665"/>
                  </a:lnTo>
                  <a:lnTo>
                    <a:pt x="611" y="669"/>
                  </a:lnTo>
                  <a:lnTo>
                    <a:pt x="617" y="675"/>
                  </a:lnTo>
                  <a:lnTo>
                    <a:pt x="623" y="681"/>
                  </a:lnTo>
                  <a:lnTo>
                    <a:pt x="627" y="690"/>
                  </a:lnTo>
                  <a:lnTo>
                    <a:pt x="629" y="697"/>
                  </a:lnTo>
                  <a:lnTo>
                    <a:pt x="630" y="707"/>
                  </a:lnTo>
                  <a:lnTo>
                    <a:pt x="629" y="716"/>
                  </a:lnTo>
                  <a:lnTo>
                    <a:pt x="627" y="724"/>
                  </a:lnTo>
                  <a:lnTo>
                    <a:pt x="623" y="732"/>
                  </a:lnTo>
                  <a:lnTo>
                    <a:pt x="617" y="739"/>
                  </a:lnTo>
                  <a:lnTo>
                    <a:pt x="611" y="745"/>
                  </a:lnTo>
                  <a:lnTo>
                    <a:pt x="604" y="749"/>
                  </a:lnTo>
                  <a:lnTo>
                    <a:pt x="595" y="751"/>
                  </a:lnTo>
                  <a:lnTo>
                    <a:pt x="585" y="752"/>
                  </a:lnTo>
                  <a:close/>
                  <a:moveTo>
                    <a:pt x="225" y="707"/>
                  </a:moveTo>
                  <a:lnTo>
                    <a:pt x="224" y="716"/>
                  </a:lnTo>
                  <a:lnTo>
                    <a:pt x="221" y="724"/>
                  </a:lnTo>
                  <a:lnTo>
                    <a:pt x="218" y="732"/>
                  </a:lnTo>
                  <a:lnTo>
                    <a:pt x="211" y="739"/>
                  </a:lnTo>
                  <a:lnTo>
                    <a:pt x="205" y="745"/>
                  </a:lnTo>
                  <a:lnTo>
                    <a:pt x="197" y="749"/>
                  </a:lnTo>
                  <a:lnTo>
                    <a:pt x="189" y="751"/>
                  </a:lnTo>
                  <a:lnTo>
                    <a:pt x="180" y="752"/>
                  </a:lnTo>
                  <a:lnTo>
                    <a:pt x="170" y="751"/>
                  </a:lnTo>
                  <a:lnTo>
                    <a:pt x="162" y="749"/>
                  </a:lnTo>
                  <a:lnTo>
                    <a:pt x="154" y="745"/>
                  </a:lnTo>
                  <a:lnTo>
                    <a:pt x="148" y="739"/>
                  </a:lnTo>
                  <a:lnTo>
                    <a:pt x="142" y="732"/>
                  </a:lnTo>
                  <a:lnTo>
                    <a:pt x="138" y="724"/>
                  </a:lnTo>
                  <a:lnTo>
                    <a:pt x="136" y="716"/>
                  </a:lnTo>
                  <a:lnTo>
                    <a:pt x="135" y="707"/>
                  </a:lnTo>
                  <a:lnTo>
                    <a:pt x="136" y="697"/>
                  </a:lnTo>
                  <a:lnTo>
                    <a:pt x="138" y="690"/>
                  </a:lnTo>
                  <a:lnTo>
                    <a:pt x="142" y="681"/>
                  </a:lnTo>
                  <a:lnTo>
                    <a:pt x="148" y="675"/>
                  </a:lnTo>
                  <a:lnTo>
                    <a:pt x="154" y="669"/>
                  </a:lnTo>
                  <a:lnTo>
                    <a:pt x="162" y="665"/>
                  </a:lnTo>
                  <a:lnTo>
                    <a:pt x="170" y="663"/>
                  </a:lnTo>
                  <a:lnTo>
                    <a:pt x="180" y="662"/>
                  </a:lnTo>
                  <a:lnTo>
                    <a:pt x="189" y="663"/>
                  </a:lnTo>
                  <a:lnTo>
                    <a:pt x="197" y="665"/>
                  </a:lnTo>
                  <a:lnTo>
                    <a:pt x="205" y="669"/>
                  </a:lnTo>
                  <a:lnTo>
                    <a:pt x="211" y="675"/>
                  </a:lnTo>
                  <a:lnTo>
                    <a:pt x="218" y="681"/>
                  </a:lnTo>
                  <a:lnTo>
                    <a:pt x="221" y="690"/>
                  </a:lnTo>
                  <a:lnTo>
                    <a:pt x="224" y="697"/>
                  </a:lnTo>
                  <a:lnTo>
                    <a:pt x="225" y="707"/>
                  </a:lnTo>
                  <a:close/>
                  <a:moveTo>
                    <a:pt x="887" y="0"/>
                  </a:moveTo>
                  <a:lnTo>
                    <a:pt x="754" y="0"/>
                  </a:lnTo>
                  <a:lnTo>
                    <a:pt x="748" y="1"/>
                  </a:lnTo>
                  <a:lnTo>
                    <a:pt x="744" y="4"/>
                  </a:lnTo>
                  <a:lnTo>
                    <a:pt x="741" y="7"/>
                  </a:lnTo>
                  <a:lnTo>
                    <a:pt x="739" y="12"/>
                  </a:lnTo>
                  <a:lnTo>
                    <a:pt x="690" y="210"/>
                  </a:lnTo>
                  <a:lnTo>
                    <a:pt x="15" y="210"/>
                  </a:lnTo>
                  <a:lnTo>
                    <a:pt x="11" y="212"/>
                  </a:lnTo>
                  <a:lnTo>
                    <a:pt x="7" y="213"/>
                  </a:lnTo>
                  <a:lnTo>
                    <a:pt x="4" y="215"/>
                  </a:lnTo>
                  <a:lnTo>
                    <a:pt x="2" y="217"/>
                  </a:lnTo>
                  <a:lnTo>
                    <a:pt x="1" y="220"/>
                  </a:lnTo>
                  <a:lnTo>
                    <a:pt x="0" y="223"/>
                  </a:lnTo>
                  <a:lnTo>
                    <a:pt x="0" y="227"/>
                  </a:lnTo>
                  <a:lnTo>
                    <a:pt x="0" y="231"/>
                  </a:lnTo>
                  <a:lnTo>
                    <a:pt x="114" y="591"/>
                  </a:lnTo>
                  <a:lnTo>
                    <a:pt x="116" y="595"/>
                  </a:lnTo>
                  <a:lnTo>
                    <a:pt x="119" y="599"/>
                  </a:lnTo>
                  <a:lnTo>
                    <a:pt x="123" y="601"/>
                  </a:lnTo>
                  <a:lnTo>
                    <a:pt x="129" y="602"/>
                  </a:lnTo>
                  <a:lnTo>
                    <a:pt x="596" y="602"/>
                  </a:lnTo>
                  <a:lnTo>
                    <a:pt x="589" y="632"/>
                  </a:lnTo>
                  <a:lnTo>
                    <a:pt x="180" y="632"/>
                  </a:lnTo>
                  <a:lnTo>
                    <a:pt x="172" y="632"/>
                  </a:lnTo>
                  <a:lnTo>
                    <a:pt x="165" y="633"/>
                  </a:lnTo>
                  <a:lnTo>
                    <a:pt x="157" y="635"/>
                  </a:lnTo>
                  <a:lnTo>
                    <a:pt x="150" y="637"/>
                  </a:lnTo>
                  <a:lnTo>
                    <a:pt x="144" y="640"/>
                  </a:lnTo>
                  <a:lnTo>
                    <a:pt x="138" y="645"/>
                  </a:lnTo>
                  <a:lnTo>
                    <a:pt x="132" y="649"/>
                  </a:lnTo>
                  <a:lnTo>
                    <a:pt x="126" y="653"/>
                  </a:lnTo>
                  <a:lnTo>
                    <a:pt x="122" y="659"/>
                  </a:lnTo>
                  <a:lnTo>
                    <a:pt x="118" y="665"/>
                  </a:lnTo>
                  <a:lnTo>
                    <a:pt x="114" y="672"/>
                  </a:lnTo>
                  <a:lnTo>
                    <a:pt x="110" y="678"/>
                  </a:lnTo>
                  <a:lnTo>
                    <a:pt x="108" y="684"/>
                  </a:lnTo>
                  <a:lnTo>
                    <a:pt x="106" y="692"/>
                  </a:lnTo>
                  <a:lnTo>
                    <a:pt x="105" y="699"/>
                  </a:lnTo>
                  <a:lnTo>
                    <a:pt x="105" y="707"/>
                  </a:lnTo>
                  <a:lnTo>
                    <a:pt x="105" y="714"/>
                  </a:lnTo>
                  <a:lnTo>
                    <a:pt x="106" y="722"/>
                  </a:lnTo>
                  <a:lnTo>
                    <a:pt x="108" y="729"/>
                  </a:lnTo>
                  <a:lnTo>
                    <a:pt x="110" y="736"/>
                  </a:lnTo>
                  <a:lnTo>
                    <a:pt x="114" y="742"/>
                  </a:lnTo>
                  <a:lnTo>
                    <a:pt x="118" y="749"/>
                  </a:lnTo>
                  <a:lnTo>
                    <a:pt x="122" y="754"/>
                  </a:lnTo>
                  <a:lnTo>
                    <a:pt x="126" y="760"/>
                  </a:lnTo>
                  <a:lnTo>
                    <a:pt x="132" y="765"/>
                  </a:lnTo>
                  <a:lnTo>
                    <a:pt x="138" y="769"/>
                  </a:lnTo>
                  <a:lnTo>
                    <a:pt x="144" y="773"/>
                  </a:lnTo>
                  <a:lnTo>
                    <a:pt x="150" y="777"/>
                  </a:lnTo>
                  <a:lnTo>
                    <a:pt x="157" y="779"/>
                  </a:lnTo>
                  <a:lnTo>
                    <a:pt x="165" y="781"/>
                  </a:lnTo>
                  <a:lnTo>
                    <a:pt x="172" y="782"/>
                  </a:lnTo>
                  <a:lnTo>
                    <a:pt x="180" y="782"/>
                  </a:lnTo>
                  <a:lnTo>
                    <a:pt x="188" y="782"/>
                  </a:lnTo>
                  <a:lnTo>
                    <a:pt x="195" y="781"/>
                  </a:lnTo>
                  <a:lnTo>
                    <a:pt x="203" y="779"/>
                  </a:lnTo>
                  <a:lnTo>
                    <a:pt x="209" y="777"/>
                  </a:lnTo>
                  <a:lnTo>
                    <a:pt x="215" y="773"/>
                  </a:lnTo>
                  <a:lnTo>
                    <a:pt x="222" y="769"/>
                  </a:lnTo>
                  <a:lnTo>
                    <a:pt x="227" y="765"/>
                  </a:lnTo>
                  <a:lnTo>
                    <a:pt x="233" y="760"/>
                  </a:lnTo>
                  <a:lnTo>
                    <a:pt x="238" y="754"/>
                  </a:lnTo>
                  <a:lnTo>
                    <a:pt x="242" y="749"/>
                  </a:lnTo>
                  <a:lnTo>
                    <a:pt x="245" y="742"/>
                  </a:lnTo>
                  <a:lnTo>
                    <a:pt x="249" y="736"/>
                  </a:lnTo>
                  <a:lnTo>
                    <a:pt x="252" y="729"/>
                  </a:lnTo>
                  <a:lnTo>
                    <a:pt x="253" y="722"/>
                  </a:lnTo>
                  <a:lnTo>
                    <a:pt x="254" y="714"/>
                  </a:lnTo>
                  <a:lnTo>
                    <a:pt x="255" y="707"/>
                  </a:lnTo>
                  <a:lnTo>
                    <a:pt x="254" y="694"/>
                  </a:lnTo>
                  <a:lnTo>
                    <a:pt x="251" y="682"/>
                  </a:lnTo>
                  <a:lnTo>
                    <a:pt x="245" y="672"/>
                  </a:lnTo>
                  <a:lnTo>
                    <a:pt x="239" y="662"/>
                  </a:lnTo>
                  <a:lnTo>
                    <a:pt x="525" y="662"/>
                  </a:lnTo>
                  <a:lnTo>
                    <a:pt x="520" y="672"/>
                  </a:lnTo>
                  <a:lnTo>
                    <a:pt x="515" y="682"/>
                  </a:lnTo>
                  <a:lnTo>
                    <a:pt x="511" y="694"/>
                  </a:lnTo>
                  <a:lnTo>
                    <a:pt x="510" y="707"/>
                  </a:lnTo>
                  <a:lnTo>
                    <a:pt x="511" y="714"/>
                  </a:lnTo>
                  <a:lnTo>
                    <a:pt x="512" y="722"/>
                  </a:lnTo>
                  <a:lnTo>
                    <a:pt x="513" y="729"/>
                  </a:lnTo>
                  <a:lnTo>
                    <a:pt x="517" y="736"/>
                  </a:lnTo>
                  <a:lnTo>
                    <a:pt x="520" y="742"/>
                  </a:lnTo>
                  <a:lnTo>
                    <a:pt x="523" y="749"/>
                  </a:lnTo>
                  <a:lnTo>
                    <a:pt x="527" y="754"/>
                  </a:lnTo>
                  <a:lnTo>
                    <a:pt x="533" y="760"/>
                  </a:lnTo>
                  <a:lnTo>
                    <a:pt x="538" y="765"/>
                  </a:lnTo>
                  <a:lnTo>
                    <a:pt x="543" y="769"/>
                  </a:lnTo>
                  <a:lnTo>
                    <a:pt x="550" y="773"/>
                  </a:lnTo>
                  <a:lnTo>
                    <a:pt x="556" y="777"/>
                  </a:lnTo>
                  <a:lnTo>
                    <a:pt x="563" y="779"/>
                  </a:lnTo>
                  <a:lnTo>
                    <a:pt x="570" y="781"/>
                  </a:lnTo>
                  <a:lnTo>
                    <a:pt x="578" y="782"/>
                  </a:lnTo>
                  <a:lnTo>
                    <a:pt x="585" y="782"/>
                  </a:lnTo>
                  <a:lnTo>
                    <a:pt x="593" y="782"/>
                  </a:lnTo>
                  <a:lnTo>
                    <a:pt x="600" y="781"/>
                  </a:lnTo>
                  <a:lnTo>
                    <a:pt x="608" y="779"/>
                  </a:lnTo>
                  <a:lnTo>
                    <a:pt x="615" y="777"/>
                  </a:lnTo>
                  <a:lnTo>
                    <a:pt x="622" y="773"/>
                  </a:lnTo>
                  <a:lnTo>
                    <a:pt x="627" y="769"/>
                  </a:lnTo>
                  <a:lnTo>
                    <a:pt x="634" y="765"/>
                  </a:lnTo>
                  <a:lnTo>
                    <a:pt x="639" y="760"/>
                  </a:lnTo>
                  <a:lnTo>
                    <a:pt x="643" y="754"/>
                  </a:lnTo>
                  <a:lnTo>
                    <a:pt x="647" y="749"/>
                  </a:lnTo>
                  <a:lnTo>
                    <a:pt x="652" y="742"/>
                  </a:lnTo>
                  <a:lnTo>
                    <a:pt x="655" y="736"/>
                  </a:lnTo>
                  <a:lnTo>
                    <a:pt x="657" y="729"/>
                  </a:lnTo>
                  <a:lnTo>
                    <a:pt x="659" y="722"/>
                  </a:lnTo>
                  <a:lnTo>
                    <a:pt x="660" y="714"/>
                  </a:lnTo>
                  <a:lnTo>
                    <a:pt x="660" y="707"/>
                  </a:lnTo>
                  <a:lnTo>
                    <a:pt x="660" y="696"/>
                  </a:lnTo>
                  <a:lnTo>
                    <a:pt x="657" y="686"/>
                  </a:lnTo>
                  <a:lnTo>
                    <a:pt x="654" y="676"/>
                  </a:lnTo>
                  <a:lnTo>
                    <a:pt x="649" y="666"/>
                  </a:lnTo>
                  <a:lnTo>
                    <a:pt x="642" y="658"/>
                  </a:lnTo>
                  <a:lnTo>
                    <a:pt x="636" y="651"/>
                  </a:lnTo>
                  <a:lnTo>
                    <a:pt x="627" y="645"/>
                  </a:lnTo>
                  <a:lnTo>
                    <a:pt x="617" y="639"/>
                  </a:lnTo>
                  <a:lnTo>
                    <a:pt x="629" y="593"/>
                  </a:lnTo>
                  <a:lnTo>
                    <a:pt x="630" y="590"/>
                  </a:lnTo>
                  <a:lnTo>
                    <a:pt x="630" y="587"/>
                  </a:lnTo>
                  <a:lnTo>
                    <a:pt x="630" y="587"/>
                  </a:lnTo>
                  <a:lnTo>
                    <a:pt x="630" y="587"/>
                  </a:lnTo>
                  <a:lnTo>
                    <a:pt x="765" y="30"/>
                  </a:lnTo>
                  <a:lnTo>
                    <a:pt x="887" y="30"/>
                  </a:lnTo>
                  <a:lnTo>
                    <a:pt x="889" y="30"/>
                  </a:lnTo>
                  <a:lnTo>
                    <a:pt x="892" y="29"/>
                  </a:lnTo>
                  <a:lnTo>
                    <a:pt x="894" y="28"/>
                  </a:lnTo>
                  <a:lnTo>
                    <a:pt x="897" y="26"/>
                  </a:lnTo>
                  <a:lnTo>
                    <a:pt x="898" y="24"/>
                  </a:lnTo>
                  <a:lnTo>
                    <a:pt x="901" y="22"/>
                  </a:lnTo>
                  <a:lnTo>
                    <a:pt x="901" y="19"/>
                  </a:lnTo>
                  <a:lnTo>
                    <a:pt x="902" y="15"/>
                  </a:lnTo>
                  <a:lnTo>
                    <a:pt x="901" y="12"/>
                  </a:lnTo>
                  <a:lnTo>
                    <a:pt x="901" y="10"/>
                  </a:lnTo>
                  <a:lnTo>
                    <a:pt x="898" y="7"/>
                  </a:lnTo>
                  <a:lnTo>
                    <a:pt x="897" y="5"/>
                  </a:lnTo>
                  <a:lnTo>
                    <a:pt x="894" y="2"/>
                  </a:lnTo>
                  <a:lnTo>
                    <a:pt x="892" y="1"/>
                  </a:lnTo>
                  <a:lnTo>
                    <a:pt x="889"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166">
              <a:extLst>
                <a:ext uri="{FF2B5EF4-FFF2-40B4-BE49-F238E27FC236}">
                  <a16:creationId xmlns:a16="http://schemas.microsoft.com/office/drawing/2014/main" id="{786F475D-D4BF-4AD2-8045-2021CADC6AE2}"/>
                </a:ext>
              </a:extLst>
            </p:cNvPr>
            <p:cNvSpPr>
              <a:spLocks/>
            </p:cNvSpPr>
            <p:nvPr/>
          </p:nvSpPr>
          <p:spPr bwMode="auto">
            <a:xfrm>
              <a:off x="11107738" y="779145"/>
              <a:ext cx="76200" cy="95250"/>
            </a:xfrm>
            <a:custGeom>
              <a:avLst/>
              <a:gdLst>
                <a:gd name="T0" fmla="*/ 109 w 240"/>
                <a:gd name="T1" fmla="*/ 296 h 300"/>
                <a:gd name="T2" fmla="*/ 110 w 240"/>
                <a:gd name="T3" fmla="*/ 297 h 300"/>
                <a:gd name="T4" fmla="*/ 114 w 240"/>
                <a:gd name="T5" fmla="*/ 299 h 300"/>
                <a:gd name="T6" fmla="*/ 117 w 240"/>
                <a:gd name="T7" fmla="*/ 300 h 300"/>
                <a:gd name="T8" fmla="*/ 123 w 240"/>
                <a:gd name="T9" fmla="*/ 300 h 300"/>
                <a:gd name="T10" fmla="*/ 127 w 240"/>
                <a:gd name="T11" fmla="*/ 299 h 300"/>
                <a:gd name="T12" fmla="*/ 130 w 240"/>
                <a:gd name="T13" fmla="*/ 297 h 300"/>
                <a:gd name="T14" fmla="*/ 131 w 240"/>
                <a:gd name="T15" fmla="*/ 296 h 300"/>
                <a:gd name="T16" fmla="*/ 237 w 240"/>
                <a:gd name="T17" fmla="*/ 175 h 300"/>
                <a:gd name="T18" fmla="*/ 239 w 240"/>
                <a:gd name="T19" fmla="*/ 171 h 300"/>
                <a:gd name="T20" fmla="*/ 240 w 240"/>
                <a:gd name="T21" fmla="*/ 164 h 300"/>
                <a:gd name="T22" fmla="*/ 239 w 240"/>
                <a:gd name="T23" fmla="*/ 159 h 300"/>
                <a:gd name="T24" fmla="*/ 235 w 240"/>
                <a:gd name="T25" fmla="*/ 155 h 300"/>
                <a:gd name="T26" fmla="*/ 231 w 240"/>
                <a:gd name="T27" fmla="*/ 151 h 300"/>
                <a:gd name="T28" fmla="*/ 224 w 240"/>
                <a:gd name="T29" fmla="*/ 150 h 300"/>
                <a:gd name="T30" fmla="*/ 219 w 240"/>
                <a:gd name="T31" fmla="*/ 151 h 300"/>
                <a:gd name="T32" fmla="*/ 214 w 240"/>
                <a:gd name="T33" fmla="*/ 156 h 300"/>
                <a:gd name="T34" fmla="*/ 135 w 240"/>
                <a:gd name="T35" fmla="*/ 15 h 300"/>
                <a:gd name="T36" fmla="*/ 134 w 240"/>
                <a:gd name="T37" fmla="*/ 9 h 300"/>
                <a:gd name="T38" fmla="*/ 131 w 240"/>
                <a:gd name="T39" fmla="*/ 4 h 300"/>
                <a:gd name="T40" fmla="*/ 125 w 240"/>
                <a:gd name="T41" fmla="*/ 1 h 300"/>
                <a:gd name="T42" fmla="*/ 120 w 240"/>
                <a:gd name="T43" fmla="*/ 0 h 300"/>
                <a:gd name="T44" fmla="*/ 115 w 240"/>
                <a:gd name="T45" fmla="*/ 1 h 300"/>
                <a:gd name="T46" fmla="*/ 109 w 240"/>
                <a:gd name="T47" fmla="*/ 4 h 300"/>
                <a:gd name="T48" fmla="*/ 106 w 240"/>
                <a:gd name="T49" fmla="*/ 9 h 300"/>
                <a:gd name="T50" fmla="*/ 105 w 240"/>
                <a:gd name="T51" fmla="*/ 15 h 300"/>
                <a:gd name="T52" fmla="*/ 26 w 240"/>
                <a:gd name="T53" fmla="*/ 156 h 300"/>
                <a:gd name="T54" fmla="*/ 21 w 240"/>
                <a:gd name="T55" fmla="*/ 151 h 300"/>
                <a:gd name="T56" fmla="*/ 16 w 240"/>
                <a:gd name="T57" fmla="*/ 150 h 300"/>
                <a:gd name="T58" fmla="*/ 10 w 240"/>
                <a:gd name="T59" fmla="*/ 151 h 300"/>
                <a:gd name="T60" fmla="*/ 5 w 240"/>
                <a:gd name="T61" fmla="*/ 155 h 300"/>
                <a:gd name="T62" fmla="*/ 1 w 240"/>
                <a:gd name="T63" fmla="*/ 159 h 300"/>
                <a:gd name="T64" fmla="*/ 0 w 240"/>
                <a:gd name="T65" fmla="*/ 164 h 300"/>
                <a:gd name="T66" fmla="*/ 1 w 240"/>
                <a:gd name="T67" fmla="*/ 171 h 300"/>
                <a:gd name="T68" fmla="*/ 3 w 240"/>
                <a:gd name="T69" fmla="*/ 1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300">
                  <a:moveTo>
                    <a:pt x="108" y="295"/>
                  </a:moveTo>
                  <a:lnTo>
                    <a:pt x="109" y="296"/>
                  </a:lnTo>
                  <a:lnTo>
                    <a:pt x="109" y="296"/>
                  </a:lnTo>
                  <a:lnTo>
                    <a:pt x="110" y="297"/>
                  </a:lnTo>
                  <a:lnTo>
                    <a:pt x="113" y="298"/>
                  </a:lnTo>
                  <a:lnTo>
                    <a:pt x="114" y="299"/>
                  </a:lnTo>
                  <a:lnTo>
                    <a:pt x="114" y="299"/>
                  </a:lnTo>
                  <a:lnTo>
                    <a:pt x="117" y="300"/>
                  </a:lnTo>
                  <a:lnTo>
                    <a:pt x="120" y="300"/>
                  </a:lnTo>
                  <a:lnTo>
                    <a:pt x="123" y="300"/>
                  </a:lnTo>
                  <a:lnTo>
                    <a:pt x="127" y="299"/>
                  </a:lnTo>
                  <a:lnTo>
                    <a:pt x="127" y="299"/>
                  </a:lnTo>
                  <a:lnTo>
                    <a:pt x="128" y="298"/>
                  </a:lnTo>
                  <a:lnTo>
                    <a:pt x="130" y="297"/>
                  </a:lnTo>
                  <a:lnTo>
                    <a:pt x="131" y="296"/>
                  </a:lnTo>
                  <a:lnTo>
                    <a:pt x="131" y="296"/>
                  </a:lnTo>
                  <a:lnTo>
                    <a:pt x="132" y="296"/>
                  </a:lnTo>
                  <a:lnTo>
                    <a:pt x="237" y="175"/>
                  </a:lnTo>
                  <a:lnTo>
                    <a:pt x="238" y="173"/>
                  </a:lnTo>
                  <a:lnTo>
                    <a:pt x="239" y="171"/>
                  </a:lnTo>
                  <a:lnTo>
                    <a:pt x="240" y="167"/>
                  </a:lnTo>
                  <a:lnTo>
                    <a:pt x="240" y="164"/>
                  </a:lnTo>
                  <a:lnTo>
                    <a:pt x="240" y="162"/>
                  </a:lnTo>
                  <a:lnTo>
                    <a:pt x="239" y="159"/>
                  </a:lnTo>
                  <a:lnTo>
                    <a:pt x="237" y="157"/>
                  </a:lnTo>
                  <a:lnTo>
                    <a:pt x="235" y="155"/>
                  </a:lnTo>
                  <a:lnTo>
                    <a:pt x="233" y="152"/>
                  </a:lnTo>
                  <a:lnTo>
                    <a:pt x="231" y="151"/>
                  </a:lnTo>
                  <a:lnTo>
                    <a:pt x="227" y="150"/>
                  </a:lnTo>
                  <a:lnTo>
                    <a:pt x="224" y="150"/>
                  </a:lnTo>
                  <a:lnTo>
                    <a:pt x="222" y="151"/>
                  </a:lnTo>
                  <a:lnTo>
                    <a:pt x="219" y="151"/>
                  </a:lnTo>
                  <a:lnTo>
                    <a:pt x="217" y="154"/>
                  </a:lnTo>
                  <a:lnTo>
                    <a:pt x="214" y="156"/>
                  </a:lnTo>
                  <a:lnTo>
                    <a:pt x="135" y="246"/>
                  </a:lnTo>
                  <a:lnTo>
                    <a:pt x="135" y="15"/>
                  </a:lnTo>
                  <a:lnTo>
                    <a:pt x="135" y="12"/>
                  </a:lnTo>
                  <a:lnTo>
                    <a:pt x="134" y="9"/>
                  </a:lnTo>
                  <a:lnTo>
                    <a:pt x="133" y="7"/>
                  </a:lnTo>
                  <a:lnTo>
                    <a:pt x="131" y="4"/>
                  </a:lnTo>
                  <a:lnTo>
                    <a:pt x="129" y="2"/>
                  </a:lnTo>
                  <a:lnTo>
                    <a:pt x="125" y="1"/>
                  </a:lnTo>
                  <a:lnTo>
                    <a:pt x="123" y="0"/>
                  </a:lnTo>
                  <a:lnTo>
                    <a:pt x="120" y="0"/>
                  </a:lnTo>
                  <a:lnTo>
                    <a:pt x="117" y="0"/>
                  </a:lnTo>
                  <a:lnTo>
                    <a:pt x="115" y="1"/>
                  </a:lnTo>
                  <a:lnTo>
                    <a:pt x="112" y="2"/>
                  </a:lnTo>
                  <a:lnTo>
                    <a:pt x="109" y="4"/>
                  </a:lnTo>
                  <a:lnTo>
                    <a:pt x="107" y="7"/>
                  </a:lnTo>
                  <a:lnTo>
                    <a:pt x="106" y="9"/>
                  </a:lnTo>
                  <a:lnTo>
                    <a:pt x="105" y="12"/>
                  </a:lnTo>
                  <a:lnTo>
                    <a:pt x="105" y="15"/>
                  </a:lnTo>
                  <a:lnTo>
                    <a:pt x="105" y="246"/>
                  </a:lnTo>
                  <a:lnTo>
                    <a:pt x="26" y="156"/>
                  </a:lnTo>
                  <a:lnTo>
                    <a:pt x="24" y="154"/>
                  </a:lnTo>
                  <a:lnTo>
                    <a:pt x="21" y="151"/>
                  </a:lnTo>
                  <a:lnTo>
                    <a:pt x="18" y="151"/>
                  </a:lnTo>
                  <a:lnTo>
                    <a:pt x="16" y="150"/>
                  </a:lnTo>
                  <a:lnTo>
                    <a:pt x="13" y="150"/>
                  </a:lnTo>
                  <a:lnTo>
                    <a:pt x="10" y="151"/>
                  </a:lnTo>
                  <a:lnTo>
                    <a:pt x="8" y="152"/>
                  </a:lnTo>
                  <a:lnTo>
                    <a:pt x="5" y="155"/>
                  </a:lnTo>
                  <a:lnTo>
                    <a:pt x="3" y="157"/>
                  </a:lnTo>
                  <a:lnTo>
                    <a:pt x="1" y="159"/>
                  </a:lnTo>
                  <a:lnTo>
                    <a:pt x="0" y="162"/>
                  </a:lnTo>
                  <a:lnTo>
                    <a:pt x="0" y="164"/>
                  </a:lnTo>
                  <a:lnTo>
                    <a:pt x="0" y="167"/>
                  </a:lnTo>
                  <a:lnTo>
                    <a:pt x="1" y="171"/>
                  </a:lnTo>
                  <a:lnTo>
                    <a:pt x="2" y="173"/>
                  </a:lnTo>
                  <a:lnTo>
                    <a:pt x="3" y="175"/>
                  </a:lnTo>
                  <a:lnTo>
                    <a:pt x="108"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4" name="Group 28">
            <a:extLst>
              <a:ext uri="{FF2B5EF4-FFF2-40B4-BE49-F238E27FC236}">
                <a16:creationId xmlns:a16="http://schemas.microsoft.com/office/drawing/2014/main" id="{41C23128-C638-4985-8047-EB3ADC949E04}"/>
              </a:ext>
            </a:extLst>
          </p:cNvPr>
          <p:cNvGrpSpPr>
            <a:grpSpLocks noChangeAspect="1"/>
          </p:cNvGrpSpPr>
          <p:nvPr/>
        </p:nvGrpSpPr>
        <p:grpSpPr>
          <a:xfrm>
            <a:off x="3671069" y="4340505"/>
            <a:ext cx="264991" cy="285619"/>
            <a:chOff x="10463213" y="1352233"/>
            <a:chExt cx="265113" cy="285750"/>
          </a:xfrm>
          <a:solidFill>
            <a:schemeClr val="bg2"/>
          </a:solidFill>
          <a:effectLst/>
        </p:grpSpPr>
        <p:sp>
          <p:nvSpPr>
            <p:cNvPr id="1505" name="Freeform 167">
              <a:extLst>
                <a:ext uri="{FF2B5EF4-FFF2-40B4-BE49-F238E27FC236}">
                  <a16:creationId xmlns:a16="http://schemas.microsoft.com/office/drawing/2014/main" id="{06361D4C-E6B1-4DB4-94F7-EF6B3FF8E555}"/>
                </a:ext>
              </a:extLst>
            </p:cNvPr>
            <p:cNvSpPr>
              <a:spLocks/>
            </p:cNvSpPr>
            <p:nvPr/>
          </p:nvSpPr>
          <p:spPr bwMode="auto">
            <a:xfrm>
              <a:off x="10463213" y="1457008"/>
              <a:ext cx="228600" cy="180975"/>
            </a:xfrm>
            <a:custGeom>
              <a:avLst/>
              <a:gdLst>
                <a:gd name="T0" fmla="*/ 607 w 722"/>
                <a:gd name="T1" fmla="*/ 0 h 571"/>
                <a:gd name="T2" fmla="*/ 601 w 722"/>
                <a:gd name="T3" fmla="*/ 1 h 571"/>
                <a:gd name="T4" fmla="*/ 597 w 722"/>
                <a:gd name="T5" fmla="*/ 5 h 571"/>
                <a:gd name="T6" fmla="*/ 593 w 722"/>
                <a:gd name="T7" fmla="*/ 9 h 571"/>
                <a:gd name="T8" fmla="*/ 592 w 722"/>
                <a:gd name="T9" fmla="*/ 15 h 571"/>
                <a:gd name="T10" fmla="*/ 593 w 722"/>
                <a:gd name="T11" fmla="*/ 21 h 571"/>
                <a:gd name="T12" fmla="*/ 597 w 722"/>
                <a:gd name="T13" fmla="*/ 26 h 571"/>
                <a:gd name="T14" fmla="*/ 601 w 722"/>
                <a:gd name="T15" fmla="*/ 29 h 571"/>
                <a:gd name="T16" fmla="*/ 607 w 722"/>
                <a:gd name="T17" fmla="*/ 30 h 571"/>
                <a:gd name="T18" fmla="*/ 692 w 722"/>
                <a:gd name="T19" fmla="*/ 541 h 571"/>
                <a:gd name="T20" fmla="*/ 30 w 722"/>
                <a:gd name="T21" fmla="*/ 30 h 571"/>
                <a:gd name="T22" fmla="*/ 117 w 722"/>
                <a:gd name="T23" fmla="*/ 29 h 571"/>
                <a:gd name="T24" fmla="*/ 123 w 722"/>
                <a:gd name="T25" fmla="*/ 27 h 571"/>
                <a:gd name="T26" fmla="*/ 127 w 722"/>
                <a:gd name="T27" fmla="*/ 23 h 571"/>
                <a:gd name="T28" fmla="*/ 129 w 722"/>
                <a:gd name="T29" fmla="*/ 17 h 571"/>
                <a:gd name="T30" fmla="*/ 129 w 722"/>
                <a:gd name="T31" fmla="*/ 12 h 571"/>
                <a:gd name="T32" fmla="*/ 127 w 722"/>
                <a:gd name="T33" fmla="*/ 7 h 571"/>
                <a:gd name="T34" fmla="*/ 123 w 722"/>
                <a:gd name="T35" fmla="*/ 2 h 571"/>
                <a:gd name="T36" fmla="*/ 117 w 722"/>
                <a:gd name="T37" fmla="*/ 0 h 571"/>
                <a:gd name="T38" fmla="*/ 15 w 722"/>
                <a:gd name="T39" fmla="*/ 0 h 571"/>
                <a:gd name="T40" fmla="*/ 10 w 722"/>
                <a:gd name="T41" fmla="*/ 1 h 571"/>
                <a:gd name="T42" fmla="*/ 5 w 722"/>
                <a:gd name="T43" fmla="*/ 5 h 571"/>
                <a:gd name="T44" fmla="*/ 1 w 722"/>
                <a:gd name="T45" fmla="*/ 9 h 571"/>
                <a:gd name="T46" fmla="*/ 0 w 722"/>
                <a:gd name="T47" fmla="*/ 15 h 571"/>
                <a:gd name="T48" fmla="*/ 1 w 722"/>
                <a:gd name="T49" fmla="*/ 559 h 571"/>
                <a:gd name="T50" fmla="*/ 4 w 722"/>
                <a:gd name="T51" fmla="*/ 564 h 571"/>
                <a:gd name="T52" fmla="*/ 7 w 722"/>
                <a:gd name="T53" fmla="*/ 569 h 571"/>
                <a:gd name="T54" fmla="*/ 12 w 722"/>
                <a:gd name="T55" fmla="*/ 571 h 571"/>
                <a:gd name="T56" fmla="*/ 707 w 722"/>
                <a:gd name="T57" fmla="*/ 571 h 571"/>
                <a:gd name="T58" fmla="*/ 713 w 722"/>
                <a:gd name="T59" fmla="*/ 570 h 571"/>
                <a:gd name="T60" fmla="*/ 718 w 722"/>
                <a:gd name="T61" fmla="*/ 566 h 571"/>
                <a:gd name="T62" fmla="*/ 721 w 722"/>
                <a:gd name="T63" fmla="*/ 562 h 571"/>
                <a:gd name="T64" fmla="*/ 722 w 722"/>
                <a:gd name="T65" fmla="*/ 556 h 571"/>
                <a:gd name="T66" fmla="*/ 722 w 722"/>
                <a:gd name="T67" fmla="*/ 12 h 571"/>
                <a:gd name="T68" fmla="*/ 720 w 722"/>
                <a:gd name="T69" fmla="*/ 7 h 571"/>
                <a:gd name="T70" fmla="*/ 716 w 722"/>
                <a:gd name="T71" fmla="*/ 2 h 571"/>
                <a:gd name="T72" fmla="*/ 710 w 722"/>
                <a:gd name="T7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2" h="571">
                  <a:moveTo>
                    <a:pt x="707" y="0"/>
                  </a:moveTo>
                  <a:lnTo>
                    <a:pt x="607" y="0"/>
                  </a:lnTo>
                  <a:lnTo>
                    <a:pt x="604" y="0"/>
                  </a:lnTo>
                  <a:lnTo>
                    <a:pt x="601" y="1"/>
                  </a:lnTo>
                  <a:lnTo>
                    <a:pt x="599" y="2"/>
                  </a:lnTo>
                  <a:lnTo>
                    <a:pt x="597" y="5"/>
                  </a:lnTo>
                  <a:lnTo>
                    <a:pt x="594" y="7"/>
                  </a:lnTo>
                  <a:lnTo>
                    <a:pt x="593" y="9"/>
                  </a:lnTo>
                  <a:lnTo>
                    <a:pt x="592" y="12"/>
                  </a:lnTo>
                  <a:lnTo>
                    <a:pt x="592" y="15"/>
                  </a:lnTo>
                  <a:lnTo>
                    <a:pt x="592" y="17"/>
                  </a:lnTo>
                  <a:lnTo>
                    <a:pt x="593" y="21"/>
                  </a:lnTo>
                  <a:lnTo>
                    <a:pt x="594" y="23"/>
                  </a:lnTo>
                  <a:lnTo>
                    <a:pt x="597" y="26"/>
                  </a:lnTo>
                  <a:lnTo>
                    <a:pt x="599" y="27"/>
                  </a:lnTo>
                  <a:lnTo>
                    <a:pt x="601" y="29"/>
                  </a:lnTo>
                  <a:lnTo>
                    <a:pt x="604" y="29"/>
                  </a:lnTo>
                  <a:lnTo>
                    <a:pt x="607" y="30"/>
                  </a:lnTo>
                  <a:lnTo>
                    <a:pt x="692" y="30"/>
                  </a:lnTo>
                  <a:lnTo>
                    <a:pt x="692" y="541"/>
                  </a:lnTo>
                  <a:lnTo>
                    <a:pt x="30" y="541"/>
                  </a:lnTo>
                  <a:lnTo>
                    <a:pt x="30" y="30"/>
                  </a:lnTo>
                  <a:lnTo>
                    <a:pt x="114" y="30"/>
                  </a:lnTo>
                  <a:lnTo>
                    <a:pt x="117" y="29"/>
                  </a:lnTo>
                  <a:lnTo>
                    <a:pt x="120" y="29"/>
                  </a:lnTo>
                  <a:lnTo>
                    <a:pt x="123" y="27"/>
                  </a:lnTo>
                  <a:lnTo>
                    <a:pt x="125" y="26"/>
                  </a:lnTo>
                  <a:lnTo>
                    <a:pt x="127" y="23"/>
                  </a:lnTo>
                  <a:lnTo>
                    <a:pt x="128" y="21"/>
                  </a:lnTo>
                  <a:lnTo>
                    <a:pt x="129" y="17"/>
                  </a:lnTo>
                  <a:lnTo>
                    <a:pt x="129" y="15"/>
                  </a:lnTo>
                  <a:lnTo>
                    <a:pt x="129" y="12"/>
                  </a:lnTo>
                  <a:lnTo>
                    <a:pt x="128" y="9"/>
                  </a:lnTo>
                  <a:lnTo>
                    <a:pt x="127" y="7"/>
                  </a:lnTo>
                  <a:lnTo>
                    <a:pt x="125" y="5"/>
                  </a:lnTo>
                  <a:lnTo>
                    <a:pt x="123" y="2"/>
                  </a:lnTo>
                  <a:lnTo>
                    <a:pt x="120" y="1"/>
                  </a:lnTo>
                  <a:lnTo>
                    <a:pt x="117" y="0"/>
                  </a:lnTo>
                  <a:lnTo>
                    <a:pt x="114" y="0"/>
                  </a:lnTo>
                  <a:lnTo>
                    <a:pt x="15" y="0"/>
                  </a:lnTo>
                  <a:lnTo>
                    <a:pt x="12" y="0"/>
                  </a:lnTo>
                  <a:lnTo>
                    <a:pt x="10" y="1"/>
                  </a:lnTo>
                  <a:lnTo>
                    <a:pt x="7" y="2"/>
                  </a:lnTo>
                  <a:lnTo>
                    <a:pt x="5" y="5"/>
                  </a:lnTo>
                  <a:lnTo>
                    <a:pt x="4" y="7"/>
                  </a:lnTo>
                  <a:lnTo>
                    <a:pt x="1" y="9"/>
                  </a:lnTo>
                  <a:lnTo>
                    <a:pt x="0" y="12"/>
                  </a:lnTo>
                  <a:lnTo>
                    <a:pt x="0" y="15"/>
                  </a:lnTo>
                  <a:lnTo>
                    <a:pt x="0" y="556"/>
                  </a:lnTo>
                  <a:lnTo>
                    <a:pt x="1" y="559"/>
                  </a:lnTo>
                  <a:lnTo>
                    <a:pt x="1" y="562"/>
                  </a:lnTo>
                  <a:lnTo>
                    <a:pt x="4" y="564"/>
                  </a:lnTo>
                  <a:lnTo>
                    <a:pt x="5" y="566"/>
                  </a:lnTo>
                  <a:lnTo>
                    <a:pt x="7" y="569"/>
                  </a:lnTo>
                  <a:lnTo>
                    <a:pt x="10" y="570"/>
                  </a:lnTo>
                  <a:lnTo>
                    <a:pt x="12" y="571"/>
                  </a:lnTo>
                  <a:lnTo>
                    <a:pt x="15" y="571"/>
                  </a:lnTo>
                  <a:lnTo>
                    <a:pt x="707" y="571"/>
                  </a:lnTo>
                  <a:lnTo>
                    <a:pt x="710" y="571"/>
                  </a:lnTo>
                  <a:lnTo>
                    <a:pt x="713" y="570"/>
                  </a:lnTo>
                  <a:lnTo>
                    <a:pt x="716" y="569"/>
                  </a:lnTo>
                  <a:lnTo>
                    <a:pt x="718" y="566"/>
                  </a:lnTo>
                  <a:lnTo>
                    <a:pt x="720" y="564"/>
                  </a:lnTo>
                  <a:lnTo>
                    <a:pt x="721" y="562"/>
                  </a:lnTo>
                  <a:lnTo>
                    <a:pt x="722" y="559"/>
                  </a:lnTo>
                  <a:lnTo>
                    <a:pt x="722" y="556"/>
                  </a:lnTo>
                  <a:lnTo>
                    <a:pt x="722" y="15"/>
                  </a:lnTo>
                  <a:lnTo>
                    <a:pt x="722" y="12"/>
                  </a:lnTo>
                  <a:lnTo>
                    <a:pt x="721" y="9"/>
                  </a:lnTo>
                  <a:lnTo>
                    <a:pt x="720" y="7"/>
                  </a:lnTo>
                  <a:lnTo>
                    <a:pt x="718" y="5"/>
                  </a:lnTo>
                  <a:lnTo>
                    <a:pt x="716" y="2"/>
                  </a:lnTo>
                  <a:lnTo>
                    <a:pt x="713" y="1"/>
                  </a:lnTo>
                  <a:lnTo>
                    <a:pt x="710" y="0"/>
                  </a:lnTo>
                  <a:lnTo>
                    <a:pt x="7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6" name="Freeform 168">
              <a:extLst>
                <a:ext uri="{FF2B5EF4-FFF2-40B4-BE49-F238E27FC236}">
                  <a16:creationId xmlns:a16="http://schemas.microsoft.com/office/drawing/2014/main" id="{52D907F4-1C87-4B7E-AA99-5310E4804A73}"/>
                </a:ext>
              </a:extLst>
            </p:cNvPr>
            <p:cNvSpPr>
              <a:spLocks/>
            </p:cNvSpPr>
            <p:nvPr/>
          </p:nvSpPr>
          <p:spPr bwMode="auto">
            <a:xfrm>
              <a:off x="10520363" y="1352233"/>
              <a:ext cx="114300" cy="128588"/>
            </a:xfrm>
            <a:custGeom>
              <a:avLst/>
              <a:gdLst>
                <a:gd name="T0" fmla="*/ 1 w 361"/>
                <a:gd name="T1" fmla="*/ 393 h 406"/>
                <a:gd name="T2" fmla="*/ 3 w 361"/>
                <a:gd name="T3" fmla="*/ 399 h 406"/>
                <a:gd name="T4" fmla="*/ 7 w 361"/>
                <a:gd name="T5" fmla="*/ 403 h 406"/>
                <a:gd name="T6" fmla="*/ 12 w 361"/>
                <a:gd name="T7" fmla="*/ 405 h 406"/>
                <a:gd name="T8" fmla="*/ 18 w 361"/>
                <a:gd name="T9" fmla="*/ 405 h 406"/>
                <a:gd name="T10" fmla="*/ 23 w 361"/>
                <a:gd name="T11" fmla="*/ 403 h 406"/>
                <a:gd name="T12" fmla="*/ 27 w 361"/>
                <a:gd name="T13" fmla="*/ 400 h 406"/>
                <a:gd name="T14" fmla="*/ 30 w 361"/>
                <a:gd name="T15" fmla="*/ 395 h 406"/>
                <a:gd name="T16" fmla="*/ 30 w 361"/>
                <a:gd name="T17" fmla="*/ 184 h 406"/>
                <a:gd name="T18" fmla="*/ 32 w 361"/>
                <a:gd name="T19" fmla="*/ 155 h 406"/>
                <a:gd name="T20" fmla="*/ 38 w 361"/>
                <a:gd name="T21" fmla="*/ 127 h 406"/>
                <a:gd name="T22" fmla="*/ 51 w 361"/>
                <a:gd name="T23" fmla="*/ 101 h 406"/>
                <a:gd name="T24" fmla="*/ 68 w 361"/>
                <a:gd name="T25" fmla="*/ 78 h 406"/>
                <a:gd name="T26" fmla="*/ 92 w 361"/>
                <a:gd name="T27" fmla="*/ 58 h 406"/>
                <a:gd name="T28" fmla="*/ 119 w 361"/>
                <a:gd name="T29" fmla="*/ 43 h 406"/>
                <a:gd name="T30" fmla="*/ 149 w 361"/>
                <a:gd name="T31" fmla="*/ 33 h 406"/>
                <a:gd name="T32" fmla="*/ 180 w 361"/>
                <a:gd name="T33" fmla="*/ 30 h 406"/>
                <a:gd name="T34" fmla="*/ 211 w 361"/>
                <a:gd name="T35" fmla="*/ 33 h 406"/>
                <a:gd name="T36" fmla="*/ 240 w 361"/>
                <a:gd name="T37" fmla="*/ 43 h 406"/>
                <a:gd name="T38" fmla="*/ 268 w 361"/>
                <a:gd name="T39" fmla="*/ 57 h 406"/>
                <a:gd name="T40" fmla="*/ 290 w 361"/>
                <a:gd name="T41" fmla="*/ 77 h 406"/>
                <a:gd name="T42" fmla="*/ 309 w 361"/>
                <a:gd name="T43" fmla="*/ 101 h 406"/>
                <a:gd name="T44" fmla="*/ 322 w 361"/>
                <a:gd name="T45" fmla="*/ 127 h 406"/>
                <a:gd name="T46" fmla="*/ 329 w 361"/>
                <a:gd name="T47" fmla="*/ 155 h 406"/>
                <a:gd name="T48" fmla="*/ 331 w 361"/>
                <a:gd name="T49" fmla="*/ 185 h 406"/>
                <a:gd name="T50" fmla="*/ 331 w 361"/>
                <a:gd name="T51" fmla="*/ 393 h 406"/>
                <a:gd name="T52" fmla="*/ 333 w 361"/>
                <a:gd name="T53" fmla="*/ 399 h 406"/>
                <a:gd name="T54" fmla="*/ 337 w 361"/>
                <a:gd name="T55" fmla="*/ 403 h 406"/>
                <a:gd name="T56" fmla="*/ 343 w 361"/>
                <a:gd name="T57" fmla="*/ 405 h 406"/>
                <a:gd name="T58" fmla="*/ 349 w 361"/>
                <a:gd name="T59" fmla="*/ 405 h 406"/>
                <a:gd name="T60" fmla="*/ 354 w 361"/>
                <a:gd name="T61" fmla="*/ 403 h 406"/>
                <a:gd name="T62" fmla="*/ 359 w 361"/>
                <a:gd name="T63" fmla="*/ 400 h 406"/>
                <a:gd name="T64" fmla="*/ 361 w 361"/>
                <a:gd name="T65" fmla="*/ 395 h 406"/>
                <a:gd name="T66" fmla="*/ 361 w 361"/>
                <a:gd name="T67" fmla="*/ 186 h 406"/>
                <a:gd name="T68" fmla="*/ 359 w 361"/>
                <a:gd name="T69" fmla="*/ 150 h 406"/>
                <a:gd name="T70" fmla="*/ 350 w 361"/>
                <a:gd name="T71" fmla="*/ 117 h 406"/>
                <a:gd name="T72" fmla="*/ 334 w 361"/>
                <a:gd name="T73" fmla="*/ 85 h 406"/>
                <a:gd name="T74" fmla="*/ 313 w 361"/>
                <a:gd name="T75" fmla="*/ 57 h 406"/>
                <a:gd name="T76" fmla="*/ 285 w 361"/>
                <a:gd name="T77" fmla="*/ 32 h 406"/>
                <a:gd name="T78" fmla="*/ 253 w 361"/>
                <a:gd name="T79" fmla="*/ 15 h 406"/>
                <a:gd name="T80" fmla="*/ 217 w 361"/>
                <a:gd name="T81" fmla="*/ 4 h 406"/>
                <a:gd name="T82" fmla="*/ 180 w 361"/>
                <a:gd name="T83" fmla="*/ 0 h 406"/>
                <a:gd name="T84" fmla="*/ 142 w 361"/>
                <a:gd name="T85" fmla="*/ 4 h 406"/>
                <a:gd name="T86" fmla="*/ 107 w 361"/>
                <a:gd name="T87" fmla="*/ 15 h 406"/>
                <a:gd name="T88" fmla="*/ 75 w 361"/>
                <a:gd name="T89" fmla="*/ 33 h 406"/>
                <a:gd name="T90" fmla="*/ 47 w 361"/>
                <a:gd name="T91" fmla="*/ 57 h 406"/>
                <a:gd name="T92" fmla="*/ 25 w 361"/>
                <a:gd name="T93" fmla="*/ 86 h 406"/>
                <a:gd name="T94" fmla="*/ 10 w 361"/>
                <a:gd name="T95" fmla="*/ 117 h 406"/>
                <a:gd name="T96" fmla="*/ 2 w 361"/>
                <a:gd name="T97" fmla="*/ 151 h 406"/>
                <a:gd name="T98" fmla="*/ 0 w 361"/>
                <a:gd name="T99"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406">
                  <a:moveTo>
                    <a:pt x="0" y="391"/>
                  </a:moveTo>
                  <a:lnTo>
                    <a:pt x="1" y="393"/>
                  </a:lnTo>
                  <a:lnTo>
                    <a:pt x="2" y="397"/>
                  </a:lnTo>
                  <a:lnTo>
                    <a:pt x="3" y="399"/>
                  </a:lnTo>
                  <a:lnTo>
                    <a:pt x="5" y="402"/>
                  </a:lnTo>
                  <a:lnTo>
                    <a:pt x="7" y="403"/>
                  </a:lnTo>
                  <a:lnTo>
                    <a:pt x="9" y="405"/>
                  </a:lnTo>
                  <a:lnTo>
                    <a:pt x="12" y="405"/>
                  </a:lnTo>
                  <a:lnTo>
                    <a:pt x="15" y="406"/>
                  </a:lnTo>
                  <a:lnTo>
                    <a:pt x="18" y="405"/>
                  </a:lnTo>
                  <a:lnTo>
                    <a:pt x="21" y="405"/>
                  </a:lnTo>
                  <a:lnTo>
                    <a:pt x="23" y="403"/>
                  </a:lnTo>
                  <a:lnTo>
                    <a:pt x="25" y="402"/>
                  </a:lnTo>
                  <a:lnTo>
                    <a:pt x="27" y="400"/>
                  </a:lnTo>
                  <a:lnTo>
                    <a:pt x="28" y="397"/>
                  </a:lnTo>
                  <a:lnTo>
                    <a:pt x="30" y="395"/>
                  </a:lnTo>
                  <a:lnTo>
                    <a:pt x="30" y="391"/>
                  </a:lnTo>
                  <a:lnTo>
                    <a:pt x="30" y="184"/>
                  </a:lnTo>
                  <a:lnTo>
                    <a:pt x="30" y="169"/>
                  </a:lnTo>
                  <a:lnTo>
                    <a:pt x="32" y="155"/>
                  </a:lnTo>
                  <a:lnTo>
                    <a:pt x="34" y="141"/>
                  </a:lnTo>
                  <a:lnTo>
                    <a:pt x="38" y="127"/>
                  </a:lnTo>
                  <a:lnTo>
                    <a:pt x="43" y="114"/>
                  </a:lnTo>
                  <a:lnTo>
                    <a:pt x="51" y="101"/>
                  </a:lnTo>
                  <a:lnTo>
                    <a:pt x="58" y="89"/>
                  </a:lnTo>
                  <a:lnTo>
                    <a:pt x="68" y="78"/>
                  </a:lnTo>
                  <a:lnTo>
                    <a:pt x="80" y="67"/>
                  </a:lnTo>
                  <a:lnTo>
                    <a:pt x="92" y="58"/>
                  </a:lnTo>
                  <a:lnTo>
                    <a:pt x="105" y="49"/>
                  </a:lnTo>
                  <a:lnTo>
                    <a:pt x="119" y="43"/>
                  </a:lnTo>
                  <a:lnTo>
                    <a:pt x="134" y="37"/>
                  </a:lnTo>
                  <a:lnTo>
                    <a:pt x="149" y="33"/>
                  </a:lnTo>
                  <a:lnTo>
                    <a:pt x="164" y="31"/>
                  </a:lnTo>
                  <a:lnTo>
                    <a:pt x="180" y="30"/>
                  </a:lnTo>
                  <a:lnTo>
                    <a:pt x="196" y="31"/>
                  </a:lnTo>
                  <a:lnTo>
                    <a:pt x="211" y="33"/>
                  </a:lnTo>
                  <a:lnTo>
                    <a:pt x="226" y="37"/>
                  </a:lnTo>
                  <a:lnTo>
                    <a:pt x="240" y="43"/>
                  </a:lnTo>
                  <a:lnTo>
                    <a:pt x="254" y="49"/>
                  </a:lnTo>
                  <a:lnTo>
                    <a:pt x="268" y="57"/>
                  </a:lnTo>
                  <a:lnTo>
                    <a:pt x="279" y="66"/>
                  </a:lnTo>
                  <a:lnTo>
                    <a:pt x="290" y="77"/>
                  </a:lnTo>
                  <a:lnTo>
                    <a:pt x="301" y="89"/>
                  </a:lnTo>
                  <a:lnTo>
                    <a:pt x="309" y="101"/>
                  </a:lnTo>
                  <a:lnTo>
                    <a:pt x="316" y="114"/>
                  </a:lnTo>
                  <a:lnTo>
                    <a:pt x="322" y="127"/>
                  </a:lnTo>
                  <a:lnTo>
                    <a:pt x="327" y="141"/>
                  </a:lnTo>
                  <a:lnTo>
                    <a:pt x="329" y="155"/>
                  </a:lnTo>
                  <a:lnTo>
                    <a:pt x="331" y="170"/>
                  </a:lnTo>
                  <a:lnTo>
                    <a:pt x="331" y="185"/>
                  </a:lnTo>
                  <a:lnTo>
                    <a:pt x="331" y="391"/>
                  </a:lnTo>
                  <a:lnTo>
                    <a:pt x="331" y="393"/>
                  </a:lnTo>
                  <a:lnTo>
                    <a:pt x="332" y="397"/>
                  </a:lnTo>
                  <a:lnTo>
                    <a:pt x="333" y="399"/>
                  </a:lnTo>
                  <a:lnTo>
                    <a:pt x="335" y="402"/>
                  </a:lnTo>
                  <a:lnTo>
                    <a:pt x="337" y="403"/>
                  </a:lnTo>
                  <a:lnTo>
                    <a:pt x="339" y="405"/>
                  </a:lnTo>
                  <a:lnTo>
                    <a:pt x="343" y="405"/>
                  </a:lnTo>
                  <a:lnTo>
                    <a:pt x="346" y="406"/>
                  </a:lnTo>
                  <a:lnTo>
                    <a:pt x="349" y="405"/>
                  </a:lnTo>
                  <a:lnTo>
                    <a:pt x="351" y="405"/>
                  </a:lnTo>
                  <a:lnTo>
                    <a:pt x="354" y="403"/>
                  </a:lnTo>
                  <a:lnTo>
                    <a:pt x="357" y="402"/>
                  </a:lnTo>
                  <a:lnTo>
                    <a:pt x="359" y="400"/>
                  </a:lnTo>
                  <a:lnTo>
                    <a:pt x="360" y="397"/>
                  </a:lnTo>
                  <a:lnTo>
                    <a:pt x="361" y="395"/>
                  </a:lnTo>
                  <a:lnTo>
                    <a:pt x="361" y="391"/>
                  </a:lnTo>
                  <a:lnTo>
                    <a:pt x="361" y="186"/>
                  </a:lnTo>
                  <a:lnTo>
                    <a:pt x="361" y="168"/>
                  </a:lnTo>
                  <a:lnTo>
                    <a:pt x="359" y="150"/>
                  </a:lnTo>
                  <a:lnTo>
                    <a:pt x="355" y="133"/>
                  </a:lnTo>
                  <a:lnTo>
                    <a:pt x="350" y="117"/>
                  </a:lnTo>
                  <a:lnTo>
                    <a:pt x="343" y="101"/>
                  </a:lnTo>
                  <a:lnTo>
                    <a:pt x="334" y="85"/>
                  </a:lnTo>
                  <a:lnTo>
                    <a:pt x="324" y="71"/>
                  </a:lnTo>
                  <a:lnTo>
                    <a:pt x="313" y="57"/>
                  </a:lnTo>
                  <a:lnTo>
                    <a:pt x="299" y="44"/>
                  </a:lnTo>
                  <a:lnTo>
                    <a:pt x="285" y="32"/>
                  </a:lnTo>
                  <a:lnTo>
                    <a:pt x="269" y="22"/>
                  </a:lnTo>
                  <a:lnTo>
                    <a:pt x="253" y="15"/>
                  </a:lnTo>
                  <a:lnTo>
                    <a:pt x="234" y="8"/>
                  </a:lnTo>
                  <a:lnTo>
                    <a:pt x="217" y="4"/>
                  </a:lnTo>
                  <a:lnTo>
                    <a:pt x="198" y="1"/>
                  </a:lnTo>
                  <a:lnTo>
                    <a:pt x="180" y="0"/>
                  </a:lnTo>
                  <a:lnTo>
                    <a:pt x="161" y="1"/>
                  </a:lnTo>
                  <a:lnTo>
                    <a:pt x="142" y="4"/>
                  </a:lnTo>
                  <a:lnTo>
                    <a:pt x="124" y="8"/>
                  </a:lnTo>
                  <a:lnTo>
                    <a:pt x="107" y="15"/>
                  </a:lnTo>
                  <a:lnTo>
                    <a:pt x="91" y="23"/>
                  </a:lnTo>
                  <a:lnTo>
                    <a:pt x="75" y="33"/>
                  </a:lnTo>
                  <a:lnTo>
                    <a:pt x="61" y="44"/>
                  </a:lnTo>
                  <a:lnTo>
                    <a:pt x="47" y="57"/>
                  </a:lnTo>
                  <a:lnTo>
                    <a:pt x="35" y="71"/>
                  </a:lnTo>
                  <a:lnTo>
                    <a:pt x="25" y="86"/>
                  </a:lnTo>
                  <a:lnTo>
                    <a:pt x="17" y="101"/>
                  </a:lnTo>
                  <a:lnTo>
                    <a:pt x="10" y="117"/>
                  </a:lnTo>
                  <a:lnTo>
                    <a:pt x="5" y="134"/>
                  </a:lnTo>
                  <a:lnTo>
                    <a:pt x="2" y="151"/>
                  </a:lnTo>
                  <a:lnTo>
                    <a:pt x="0" y="168"/>
                  </a:lnTo>
                  <a:lnTo>
                    <a:pt x="0" y="185"/>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7" name="Freeform 169">
              <a:extLst>
                <a:ext uri="{FF2B5EF4-FFF2-40B4-BE49-F238E27FC236}">
                  <a16:creationId xmlns:a16="http://schemas.microsoft.com/office/drawing/2014/main" id="{2A063867-8794-46F8-8C97-23CE53FE2E0C}"/>
                </a:ext>
              </a:extLst>
            </p:cNvPr>
            <p:cNvSpPr>
              <a:spLocks/>
            </p:cNvSpPr>
            <p:nvPr/>
          </p:nvSpPr>
          <p:spPr bwMode="auto">
            <a:xfrm>
              <a:off x="10544175" y="1457008"/>
              <a:ext cx="66675" cy="9525"/>
            </a:xfrm>
            <a:custGeom>
              <a:avLst/>
              <a:gdLst>
                <a:gd name="T0" fmla="*/ 195 w 210"/>
                <a:gd name="T1" fmla="*/ 30 h 30"/>
                <a:gd name="T2" fmla="*/ 198 w 210"/>
                <a:gd name="T3" fmla="*/ 29 h 30"/>
                <a:gd name="T4" fmla="*/ 200 w 210"/>
                <a:gd name="T5" fmla="*/ 29 h 30"/>
                <a:gd name="T6" fmla="*/ 203 w 210"/>
                <a:gd name="T7" fmla="*/ 27 h 30"/>
                <a:gd name="T8" fmla="*/ 206 w 210"/>
                <a:gd name="T9" fmla="*/ 26 h 30"/>
                <a:gd name="T10" fmla="*/ 207 w 210"/>
                <a:gd name="T11" fmla="*/ 23 h 30"/>
                <a:gd name="T12" fmla="*/ 209 w 210"/>
                <a:gd name="T13" fmla="*/ 21 h 30"/>
                <a:gd name="T14" fmla="*/ 210 w 210"/>
                <a:gd name="T15" fmla="*/ 17 h 30"/>
                <a:gd name="T16" fmla="*/ 210 w 210"/>
                <a:gd name="T17" fmla="*/ 15 h 30"/>
                <a:gd name="T18" fmla="*/ 210 w 210"/>
                <a:gd name="T19" fmla="*/ 12 h 30"/>
                <a:gd name="T20" fmla="*/ 209 w 210"/>
                <a:gd name="T21" fmla="*/ 9 h 30"/>
                <a:gd name="T22" fmla="*/ 207 w 210"/>
                <a:gd name="T23" fmla="*/ 7 h 30"/>
                <a:gd name="T24" fmla="*/ 206 w 210"/>
                <a:gd name="T25" fmla="*/ 5 h 30"/>
                <a:gd name="T26" fmla="*/ 203 w 210"/>
                <a:gd name="T27" fmla="*/ 2 h 30"/>
                <a:gd name="T28" fmla="*/ 200 w 210"/>
                <a:gd name="T29" fmla="*/ 1 h 30"/>
                <a:gd name="T30" fmla="*/ 198 w 210"/>
                <a:gd name="T31" fmla="*/ 0 h 30"/>
                <a:gd name="T32" fmla="*/ 195 w 210"/>
                <a:gd name="T33" fmla="*/ 0 h 30"/>
                <a:gd name="T34" fmla="*/ 15 w 210"/>
                <a:gd name="T35" fmla="*/ 0 h 30"/>
                <a:gd name="T36" fmla="*/ 11 w 210"/>
                <a:gd name="T37" fmla="*/ 0 h 30"/>
                <a:gd name="T38" fmla="*/ 8 w 210"/>
                <a:gd name="T39" fmla="*/ 1 h 30"/>
                <a:gd name="T40" fmla="*/ 6 w 210"/>
                <a:gd name="T41" fmla="*/ 2 h 30"/>
                <a:gd name="T42" fmla="*/ 4 w 210"/>
                <a:gd name="T43" fmla="*/ 5 h 30"/>
                <a:gd name="T44" fmla="*/ 2 w 210"/>
                <a:gd name="T45" fmla="*/ 7 h 30"/>
                <a:gd name="T46" fmla="*/ 1 w 210"/>
                <a:gd name="T47" fmla="*/ 9 h 30"/>
                <a:gd name="T48" fmla="*/ 0 w 210"/>
                <a:gd name="T49" fmla="*/ 12 h 30"/>
                <a:gd name="T50" fmla="*/ 0 w 210"/>
                <a:gd name="T51" fmla="*/ 15 h 30"/>
                <a:gd name="T52" fmla="*/ 0 w 210"/>
                <a:gd name="T53" fmla="*/ 17 h 30"/>
                <a:gd name="T54" fmla="*/ 1 w 210"/>
                <a:gd name="T55" fmla="*/ 21 h 30"/>
                <a:gd name="T56" fmla="*/ 2 w 210"/>
                <a:gd name="T57" fmla="*/ 23 h 30"/>
                <a:gd name="T58" fmla="*/ 4 w 210"/>
                <a:gd name="T59" fmla="*/ 26 h 30"/>
                <a:gd name="T60" fmla="*/ 6 w 210"/>
                <a:gd name="T61" fmla="*/ 27 h 30"/>
                <a:gd name="T62" fmla="*/ 8 w 210"/>
                <a:gd name="T63" fmla="*/ 29 h 30"/>
                <a:gd name="T64" fmla="*/ 11 w 210"/>
                <a:gd name="T65" fmla="*/ 29 h 30"/>
                <a:gd name="T66" fmla="*/ 15 w 210"/>
                <a:gd name="T67" fmla="*/ 30 h 30"/>
                <a:gd name="T68" fmla="*/ 195 w 21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30"/>
                  </a:moveTo>
                  <a:lnTo>
                    <a:pt x="198" y="29"/>
                  </a:lnTo>
                  <a:lnTo>
                    <a:pt x="200" y="29"/>
                  </a:lnTo>
                  <a:lnTo>
                    <a:pt x="203" y="27"/>
                  </a:lnTo>
                  <a:lnTo>
                    <a:pt x="206" y="26"/>
                  </a:lnTo>
                  <a:lnTo>
                    <a:pt x="207" y="23"/>
                  </a:lnTo>
                  <a:lnTo>
                    <a:pt x="209" y="21"/>
                  </a:lnTo>
                  <a:lnTo>
                    <a:pt x="210" y="17"/>
                  </a:lnTo>
                  <a:lnTo>
                    <a:pt x="210" y="15"/>
                  </a:lnTo>
                  <a:lnTo>
                    <a:pt x="210" y="12"/>
                  </a:lnTo>
                  <a:lnTo>
                    <a:pt x="209" y="9"/>
                  </a:lnTo>
                  <a:lnTo>
                    <a:pt x="207" y="7"/>
                  </a:lnTo>
                  <a:lnTo>
                    <a:pt x="206" y="5"/>
                  </a:lnTo>
                  <a:lnTo>
                    <a:pt x="203" y="2"/>
                  </a:lnTo>
                  <a:lnTo>
                    <a:pt x="200" y="1"/>
                  </a:lnTo>
                  <a:lnTo>
                    <a:pt x="198" y="0"/>
                  </a:lnTo>
                  <a:lnTo>
                    <a:pt x="195" y="0"/>
                  </a:lnTo>
                  <a:lnTo>
                    <a:pt x="15" y="0"/>
                  </a:lnTo>
                  <a:lnTo>
                    <a:pt x="11" y="0"/>
                  </a:lnTo>
                  <a:lnTo>
                    <a:pt x="8" y="1"/>
                  </a:lnTo>
                  <a:lnTo>
                    <a:pt x="6" y="2"/>
                  </a:lnTo>
                  <a:lnTo>
                    <a:pt x="4" y="5"/>
                  </a:lnTo>
                  <a:lnTo>
                    <a:pt x="2" y="7"/>
                  </a:lnTo>
                  <a:lnTo>
                    <a:pt x="1" y="9"/>
                  </a:lnTo>
                  <a:lnTo>
                    <a:pt x="0" y="12"/>
                  </a:lnTo>
                  <a:lnTo>
                    <a:pt x="0" y="15"/>
                  </a:lnTo>
                  <a:lnTo>
                    <a:pt x="0" y="17"/>
                  </a:lnTo>
                  <a:lnTo>
                    <a:pt x="1" y="21"/>
                  </a:lnTo>
                  <a:lnTo>
                    <a:pt x="2" y="23"/>
                  </a:lnTo>
                  <a:lnTo>
                    <a:pt x="4" y="26"/>
                  </a:lnTo>
                  <a:lnTo>
                    <a:pt x="6" y="27"/>
                  </a:lnTo>
                  <a:lnTo>
                    <a:pt x="8" y="29"/>
                  </a:lnTo>
                  <a:lnTo>
                    <a:pt x="11" y="29"/>
                  </a:lnTo>
                  <a:lnTo>
                    <a:pt x="15" y="30"/>
                  </a:lnTo>
                  <a:lnTo>
                    <a:pt x="19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8" name="Freeform 170">
              <a:extLst>
                <a:ext uri="{FF2B5EF4-FFF2-40B4-BE49-F238E27FC236}">
                  <a16:creationId xmlns:a16="http://schemas.microsoft.com/office/drawing/2014/main" id="{D852C474-8DDB-4C7D-8829-1801D2178F5B}"/>
                </a:ext>
              </a:extLst>
            </p:cNvPr>
            <p:cNvSpPr>
              <a:spLocks noEditPoints="1"/>
            </p:cNvSpPr>
            <p:nvPr/>
          </p:nvSpPr>
          <p:spPr bwMode="auto">
            <a:xfrm>
              <a:off x="10529888" y="1504633"/>
              <a:ext cx="95250" cy="85725"/>
            </a:xfrm>
            <a:custGeom>
              <a:avLst/>
              <a:gdLst>
                <a:gd name="T0" fmla="*/ 31 w 301"/>
                <a:gd name="T1" fmla="*/ 30 h 271"/>
                <a:gd name="T2" fmla="*/ 271 w 301"/>
                <a:gd name="T3" fmla="*/ 30 h 271"/>
                <a:gd name="T4" fmla="*/ 271 w 301"/>
                <a:gd name="T5" fmla="*/ 241 h 271"/>
                <a:gd name="T6" fmla="*/ 31 w 301"/>
                <a:gd name="T7" fmla="*/ 241 h 271"/>
                <a:gd name="T8" fmla="*/ 31 w 301"/>
                <a:gd name="T9" fmla="*/ 30 h 271"/>
                <a:gd name="T10" fmla="*/ 0 w 301"/>
                <a:gd name="T11" fmla="*/ 271 h 271"/>
                <a:gd name="T12" fmla="*/ 301 w 301"/>
                <a:gd name="T13" fmla="*/ 271 h 271"/>
                <a:gd name="T14" fmla="*/ 301 w 301"/>
                <a:gd name="T15" fmla="*/ 0 h 271"/>
                <a:gd name="T16" fmla="*/ 0 w 301"/>
                <a:gd name="T17" fmla="*/ 0 h 271"/>
                <a:gd name="T18" fmla="*/ 0 w 301"/>
                <a:gd name="T1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271">
                  <a:moveTo>
                    <a:pt x="31" y="30"/>
                  </a:moveTo>
                  <a:lnTo>
                    <a:pt x="271" y="30"/>
                  </a:lnTo>
                  <a:lnTo>
                    <a:pt x="271" y="241"/>
                  </a:lnTo>
                  <a:lnTo>
                    <a:pt x="31" y="241"/>
                  </a:lnTo>
                  <a:lnTo>
                    <a:pt x="31" y="30"/>
                  </a:lnTo>
                  <a:close/>
                  <a:moveTo>
                    <a:pt x="0" y="271"/>
                  </a:moveTo>
                  <a:lnTo>
                    <a:pt x="301" y="271"/>
                  </a:lnTo>
                  <a:lnTo>
                    <a:pt x="301" y="0"/>
                  </a:lnTo>
                  <a:lnTo>
                    <a:pt x="0" y="0"/>
                  </a:lnTo>
                  <a:lnTo>
                    <a:pt x="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9" name="Freeform 171">
              <a:extLst>
                <a:ext uri="{FF2B5EF4-FFF2-40B4-BE49-F238E27FC236}">
                  <a16:creationId xmlns:a16="http://schemas.microsoft.com/office/drawing/2014/main" id="{FA11AB7F-2A51-4BCE-BE9C-D33A2D779CBC}"/>
                </a:ext>
              </a:extLst>
            </p:cNvPr>
            <p:cNvSpPr>
              <a:spLocks noEditPoints="1"/>
            </p:cNvSpPr>
            <p:nvPr/>
          </p:nvSpPr>
          <p:spPr bwMode="auto">
            <a:xfrm>
              <a:off x="10653713" y="1368108"/>
              <a:ext cx="74613" cy="79375"/>
            </a:xfrm>
            <a:custGeom>
              <a:avLst/>
              <a:gdLst>
                <a:gd name="T0" fmla="*/ 84 w 235"/>
                <a:gd name="T1" fmla="*/ 220 h 250"/>
                <a:gd name="T2" fmla="*/ 30 w 235"/>
                <a:gd name="T3" fmla="*/ 220 h 250"/>
                <a:gd name="T4" fmla="*/ 30 w 235"/>
                <a:gd name="T5" fmla="*/ 165 h 250"/>
                <a:gd name="T6" fmla="*/ 140 w 235"/>
                <a:gd name="T7" fmla="*/ 37 h 250"/>
                <a:gd name="T8" fmla="*/ 198 w 235"/>
                <a:gd name="T9" fmla="*/ 96 h 250"/>
                <a:gd name="T10" fmla="*/ 84 w 235"/>
                <a:gd name="T11" fmla="*/ 220 h 250"/>
                <a:gd name="T12" fmla="*/ 230 w 235"/>
                <a:gd name="T13" fmla="*/ 85 h 250"/>
                <a:gd name="T14" fmla="*/ 150 w 235"/>
                <a:gd name="T15" fmla="*/ 5 h 250"/>
                <a:gd name="T16" fmla="*/ 148 w 235"/>
                <a:gd name="T17" fmla="*/ 2 h 250"/>
                <a:gd name="T18" fmla="*/ 145 w 235"/>
                <a:gd name="T19" fmla="*/ 1 h 250"/>
                <a:gd name="T20" fmla="*/ 141 w 235"/>
                <a:gd name="T21" fmla="*/ 0 h 250"/>
                <a:gd name="T22" fmla="*/ 138 w 235"/>
                <a:gd name="T23" fmla="*/ 0 h 250"/>
                <a:gd name="T24" fmla="*/ 135 w 235"/>
                <a:gd name="T25" fmla="*/ 0 h 250"/>
                <a:gd name="T26" fmla="*/ 133 w 235"/>
                <a:gd name="T27" fmla="*/ 1 h 250"/>
                <a:gd name="T28" fmla="*/ 130 w 235"/>
                <a:gd name="T29" fmla="*/ 2 h 250"/>
                <a:gd name="T30" fmla="*/ 127 w 235"/>
                <a:gd name="T31" fmla="*/ 5 h 250"/>
                <a:gd name="T32" fmla="*/ 3 w 235"/>
                <a:gd name="T33" fmla="*/ 149 h 250"/>
                <a:gd name="T34" fmla="*/ 1 w 235"/>
                <a:gd name="T35" fmla="*/ 155 h 250"/>
                <a:gd name="T36" fmla="*/ 0 w 235"/>
                <a:gd name="T37" fmla="*/ 159 h 250"/>
                <a:gd name="T38" fmla="*/ 0 w 235"/>
                <a:gd name="T39" fmla="*/ 235 h 250"/>
                <a:gd name="T40" fmla="*/ 0 w 235"/>
                <a:gd name="T41" fmla="*/ 237 h 250"/>
                <a:gd name="T42" fmla="*/ 1 w 235"/>
                <a:gd name="T43" fmla="*/ 241 h 250"/>
                <a:gd name="T44" fmla="*/ 2 w 235"/>
                <a:gd name="T45" fmla="*/ 243 h 250"/>
                <a:gd name="T46" fmla="*/ 4 w 235"/>
                <a:gd name="T47" fmla="*/ 245 h 250"/>
                <a:gd name="T48" fmla="*/ 6 w 235"/>
                <a:gd name="T49" fmla="*/ 247 h 250"/>
                <a:gd name="T50" fmla="*/ 10 w 235"/>
                <a:gd name="T51" fmla="*/ 248 h 250"/>
                <a:gd name="T52" fmla="*/ 12 w 235"/>
                <a:gd name="T53" fmla="*/ 249 h 250"/>
                <a:gd name="T54" fmla="*/ 15 w 235"/>
                <a:gd name="T55" fmla="*/ 250 h 250"/>
                <a:gd name="T56" fmla="*/ 90 w 235"/>
                <a:gd name="T57" fmla="*/ 250 h 250"/>
                <a:gd name="T58" fmla="*/ 93 w 235"/>
                <a:gd name="T59" fmla="*/ 249 h 250"/>
                <a:gd name="T60" fmla="*/ 96 w 235"/>
                <a:gd name="T61" fmla="*/ 248 h 250"/>
                <a:gd name="T62" fmla="*/ 99 w 235"/>
                <a:gd name="T63" fmla="*/ 247 h 250"/>
                <a:gd name="T64" fmla="*/ 101 w 235"/>
                <a:gd name="T65" fmla="*/ 245 h 250"/>
                <a:gd name="T66" fmla="*/ 230 w 235"/>
                <a:gd name="T67" fmla="*/ 105 h 250"/>
                <a:gd name="T68" fmla="*/ 233 w 235"/>
                <a:gd name="T69" fmla="*/ 103 h 250"/>
                <a:gd name="T70" fmla="*/ 234 w 235"/>
                <a:gd name="T71" fmla="*/ 101 h 250"/>
                <a:gd name="T72" fmla="*/ 235 w 235"/>
                <a:gd name="T73" fmla="*/ 98 h 250"/>
                <a:gd name="T74" fmla="*/ 235 w 235"/>
                <a:gd name="T75" fmla="*/ 95 h 250"/>
                <a:gd name="T76" fmla="*/ 235 w 235"/>
                <a:gd name="T77" fmla="*/ 93 h 250"/>
                <a:gd name="T78" fmla="*/ 234 w 235"/>
                <a:gd name="T79" fmla="*/ 89 h 250"/>
                <a:gd name="T80" fmla="*/ 233 w 235"/>
                <a:gd name="T81" fmla="*/ 87 h 250"/>
                <a:gd name="T82" fmla="*/ 230 w 235"/>
                <a:gd name="T83"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250">
                  <a:moveTo>
                    <a:pt x="84" y="220"/>
                  </a:moveTo>
                  <a:lnTo>
                    <a:pt x="30" y="220"/>
                  </a:lnTo>
                  <a:lnTo>
                    <a:pt x="30" y="165"/>
                  </a:lnTo>
                  <a:lnTo>
                    <a:pt x="140" y="37"/>
                  </a:lnTo>
                  <a:lnTo>
                    <a:pt x="198" y="96"/>
                  </a:lnTo>
                  <a:lnTo>
                    <a:pt x="84" y="220"/>
                  </a:lnTo>
                  <a:close/>
                  <a:moveTo>
                    <a:pt x="230" y="85"/>
                  </a:moveTo>
                  <a:lnTo>
                    <a:pt x="150" y="5"/>
                  </a:lnTo>
                  <a:lnTo>
                    <a:pt x="148" y="2"/>
                  </a:lnTo>
                  <a:lnTo>
                    <a:pt x="145" y="1"/>
                  </a:lnTo>
                  <a:lnTo>
                    <a:pt x="141" y="0"/>
                  </a:lnTo>
                  <a:lnTo>
                    <a:pt x="138" y="0"/>
                  </a:lnTo>
                  <a:lnTo>
                    <a:pt x="135" y="0"/>
                  </a:lnTo>
                  <a:lnTo>
                    <a:pt x="133" y="1"/>
                  </a:lnTo>
                  <a:lnTo>
                    <a:pt x="130" y="2"/>
                  </a:lnTo>
                  <a:lnTo>
                    <a:pt x="127" y="5"/>
                  </a:lnTo>
                  <a:lnTo>
                    <a:pt x="3" y="149"/>
                  </a:lnTo>
                  <a:lnTo>
                    <a:pt x="1" y="155"/>
                  </a:lnTo>
                  <a:lnTo>
                    <a:pt x="0" y="159"/>
                  </a:lnTo>
                  <a:lnTo>
                    <a:pt x="0" y="235"/>
                  </a:lnTo>
                  <a:lnTo>
                    <a:pt x="0" y="237"/>
                  </a:lnTo>
                  <a:lnTo>
                    <a:pt x="1" y="241"/>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3"/>
                  </a:lnTo>
                  <a:lnTo>
                    <a:pt x="234" y="89"/>
                  </a:lnTo>
                  <a:lnTo>
                    <a:pt x="233" y="87"/>
                  </a:lnTo>
                  <a:lnTo>
                    <a:pt x="23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638" name="Group 7">
            <a:extLst>
              <a:ext uri="{FF2B5EF4-FFF2-40B4-BE49-F238E27FC236}">
                <a16:creationId xmlns:a16="http://schemas.microsoft.com/office/drawing/2014/main" id="{162107FA-4300-48DE-AEDC-78F8EE1B6CC7}"/>
              </a:ext>
            </a:extLst>
          </p:cNvPr>
          <p:cNvGrpSpPr>
            <a:grpSpLocks noChangeAspect="1"/>
          </p:cNvGrpSpPr>
          <p:nvPr/>
        </p:nvGrpSpPr>
        <p:grpSpPr>
          <a:xfrm>
            <a:off x="4907779" y="4340505"/>
            <a:ext cx="285619" cy="285619"/>
            <a:chOff x="6445250" y="1925320"/>
            <a:chExt cx="285750" cy="285750"/>
          </a:xfrm>
          <a:solidFill>
            <a:schemeClr val="bg2"/>
          </a:solidFill>
          <a:effectLst/>
        </p:grpSpPr>
        <p:sp>
          <p:nvSpPr>
            <p:cNvPr id="1639" name="Freeform 54">
              <a:extLst>
                <a:ext uri="{FF2B5EF4-FFF2-40B4-BE49-F238E27FC236}">
                  <a16:creationId xmlns:a16="http://schemas.microsoft.com/office/drawing/2014/main" id="{39D1AD96-3C15-46CC-9A16-DB6A0BF6521A}"/>
                </a:ext>
              </a:extLst>
            </p:cNvPr>
            <p:cNvSpPr>
              <a:spLocks noEditPoints="1"/>
            </p:cNvSpPr>
            <p:nvPr/>
          </p:nvSpPr>
          <p:spPr bwMode="auto">
            <a:xfrm>
              <a:off x="6445250" y="1925320"/>
              <a:ext cx="285750" cy="285750"/>
            </a:xfrm>
            <a:custGeom>
              <a:avLst/>
              <a:gdLst>
                <a:gd name="T0" fmla="*/ 729 w 902"/>
                <a:gd name="T1" fmla="*/ 812 h 902"/>
                <a:gd name="T2" fmla="*/ 786 w 902"/>
                <a:gd name="T3" fmla="*/ 745 h 902"/>
                <a:gd name="T4" fmla="*/ 872 w 902"/>
                <a:gd name="T5" fmla="*/ 714 h 902"/>
                <a:gd name="T6" fmla="*/ 860 w 902"/>
                <a:gd name="T7" fmla="*/ 816 h 902"/>
                <a:gd name="T8" fmla="*/ 819 w 902"/>
                <a:gd name="T9" fmla="*/ 859 h 902"/>
                <a:gd name="T10" fmla="*/ 30 w 902"/>
                <a:gd name="T11" fmla="*/ 766 h 902"/>
                <a:gd name="T12" fmla="*/ 103 w 902"/>
                <a:gd name="T13" fmla="*/ 736 h 902"/>
                <a:gd name="T14" fmla="*/ 165 w 902"/>
                <a:gd name="T15" fmla="*/ 800 h 902"/>
                <a:gd name="T16" fmla="*/ 129 w 902"/>
                <a:gd name="T17" fmla="*/ 872 h 902"/>
                <a:gd name="T18" fmla="*/ 74 w 902"/>
                <a:gd name="T19" fmla="*/ 853 h 902"/>
                <a:gd name="T20" fmla="*/ 38 w 902"/>
                <a:gd name="T21" fmla="*/ 807 h 902"/>
                <a:gd name="T22" fmla="*/ 240 w 902"/>
                <a:gd name="T23" fmla="*/ 361 h 902"/>
                <a:gd name="T24" fmla="*/ 247 w 902"/>
                <a:gd name="T25" fmla="*/ 445 h 902"/>
                <a:gd name="T26" fmla="*/ 264 w 902"/>
                <a:gd name="T27" fmla="*/ 445 h 902"/>
                <a:gd name="T28" fmla="*/ 270 w 902"/>
                <a:gd name="T29" fmla="*/ 361 h 902"/>
                <a:gd name="T30" fmla="*/ 636 w 902"/>
                <a:gd name="T31" fmla="*/ 442 h 902"/>
                <a:gd name="T32" fmla="*/ 652 w 902"/>
                <a:gd name="T33" fmla="*/ 446 h 902"/>
                <a:gd name="T34" fmla="*/ 662 w 902"/>
                <a:gd name="T35" fmla="*/ 432 h 902"/>
                <a:gd name="T36" fmla="*/ 782 w 902"/>
                <a:gd name="T37" fmla="*/ 379 h 902"/>
                <a:gd name="T38" fmla="*/ 847 w 902"/>
                <a:gd name="T39" fmla="*/ 439 h 902"/>
                <a:gd name="T40" fmla="*/ 872 w 902"/>
                <a:gd name="T41" fmla="*/ 527 h 902"/>
                <a:gd name="T42" fmla="*/ 785 w 902"/>
                <a:gd name="T43" fmla="*/ 709 h 902"/>
                <a:gd name="T44" fmla="*/ 710 w 902"/>
                <a:gd name="T45" fmla="*/ 785 h 902"/>
                <a:gd name="T46" fmla="*/ 219 w 902"/>
                <a:gd name="T47" fmla="*/ 872 h 902"/>
                <a:gd name="T48" fmla="*/ 183 w 902"/>
                <a:gd name="T49" fmla="*/ 770 h 902"/>
                <a:gd name="T50" fmla="*/ 101 w 902"/>
                <a:gd name="T51" fmla="*/ 702 h 902"/>
                <a:gd name="T52" fmla="*/ 31 w 902"/>
                <a:gd name="T53" fmla="*/ 511 h 902"/>
                <a:gd name="T54" fmla="*/ 64 w 902"/>
                <a:gd name="T55" fmla="*/ 426 h 902"/>
                <a:gd name="T56" fmla="*/ 135 w 902"/>
                <a:gd name="T57" fmla="*/ 373 h 902"/>
                <a:gd name="T58" fmla="*/ 276 w 902"/>
                <a:gd name="T59" fmla="*/ 170 h 902"/>
                <a:gd name="T60" fmla="*/ 327 w 902"/>
                <a:gd name="T61" fmla="*/ 81 h 902"/>
                <a:gd name="T62" fmla="*/ 416 w 902"/>
                <a:gd name="T63" fmla="*/ 34 h 902"/>
                <a:gd name="T64" fmla="*/ 519 w 902"/>
                <a:gd name="T65" fmla="*/ 44 h 902"/>
                <a:gd name="T66" fmla="*/ 598 w 902"/>
                <a:gd name="T67" fmla="*/ 107 h 902"/>
                <a:gd name="T68" fmla="*/ 632 w 902"/>
                <a:gd name="T69" fmla="*/ 204 h 902"/>
                <a:gd name="T70" fmla="*/ 722 w 902"/>
                <a:gd name="T71" fmla="*/ 331 h 902"/>
                <a:gd name="T72" fmla="*/ 641 w 902"/>
                <a:gd name="T73" fmla="*/ 124 h 902"/>
                <a:gd name="T74" fmla="*/ 565 w 902"/>
                <a:gd name="T75" fmla="*/ 34 h 902"/>
                <a:gd name="T76" fmla="*/ 451 w 902"/>
                <a:gd name="T77" fmla="*/ 0 h 902"/>
                <a:gd name="T78" fmla="*/ 337 w 902"/>
                <a:gd name="T79" fmla="*/ 35 h 902"/>
                <a:gd name="T80" fmla="*/ 261 w 902"/>
                <a:gd name="T81" fmla="*/ 124 h 902"/>
                <a:gd name="T82" fmla="*/ 180 w 902"/>
                <a:gd name="T83" fmla="*/ 331 h 902"/>
                <a:gd name="T84" fmla="*/ 108 w 902"/>
                <a:gd name="T85" fmla="*/ 352 h 902"/>
                <a:gd name="T86" fmla="*/ 30 w 902"/>
                <a:gd name="T87" fmla="*/ 424 h 902"/>
                <a:gd name="T88" fmla="*/ 0 w 902"/>
                <a:gd name="T89" fmla="*/ 527 h 902"/>
                <a:gd name="T90" fmla="*/ 16 w 902"/>
                <a:gd name="T91" fmla="*/ 831 h 902"/>
                <a:gd name="T92" fmla="*/ 68 w 902"/>
                <a:gd name="T93" fmla="*/ 885 h 902"/>
                <a:gd name="T94" fmla="*/ 773 w 902"/>
                <a:gd name="T95" fmla="*/ 902 h 902"/>
                <a:gd name="T96" fmla="*/ 845 w 902"/>
                <a:gd name="T97" fmla="*/ 879 h 902"/>
                <a:gd name="T98" fmla="*/ 891 w 902"/>
                <a:gd name="T99" fmla="*/ 819 h 902"/>
                <a:gd name="T100" fmla="*/ 901 w 902"/>
                <a:gd name="T101" fmla="*/ 508 h 902"/>
                <a:gd name="T102" fmla="*/ 862 w 902"/>
                <a:gd name="T103" fmla="*/ 409 h 902"/>
                <a:gd name="T104" fmla="*/ 778 w 902"/>
                <a:gd name="T105" fmla="*/ 34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902">
                  <a:moveTo>
                    <a:pt x="773" y="872"/>
                  </a:moveTo>
                  <a:lnTo>
                    <a:pt x="713" y="872"/>
                  </a:lnTo>
                  <a:lnTo>
                    <a:pt x="715" y="856"/>
                  </a:lnTo>
                  <a:lnTo>
                    <a:pt x="719" y="841"/>
                  </a:lnTo>
                  <a:lnTo>
                    <a:pt x="723" y="826"/>
                  </a:lnTo>
                  <a:lnTo>
                    <a:pt x="729" y="812"/>
                  </a:lnTo>
                  <a:lnTo>
                    <a:pt x="736" y="800"/>
                  </a:lnTo>
                  <a:lnTo>
                    <a:pt x="744" y="787"/>
                  </a:lnTo>
                  <a:lnTo>
                    <a:pt x="754" y="775"/>
                  </a:lnTo>
                  <a:lnTo>
                    <a:pt x="764" y="764"/>
                  </a:lnTo>
                  <a:lnTo>
                    <a:pt x="774" y="753"/>
                  </a:lnTo>
                  <a:lnTo>
                    <a:pt x="786" y="745"/>
                  </a:lnTo>
                  <a:lnTo>
                    <a:pt x="799" y="736"/>
                  </a:lnTo>
                  <a:lnTo>
                    <a:pt x="813" y="729"/>
                  </a:lnTo>
                  <a:lnTo>
                    <a:pt x="827" y="723"/>
                  </a:lnTo>
                  <a:lnTo>
                    <a:pt x="841" y="719"/>
                  </a:lnTo>
                  <a:lnTo>
                    <a:pt x="856" y="715"/>
                  </a:lnTo>
                  <a:lnTo>
                    <a:pt x="872" y="714"/>
                  </a:lnTo>
                  <a:lnTo>
                    <a:pt x="872" y="766"/>
                  </a:lnTo>
                  <a:lnTo>
                    <a:pt x="872" y="777"/>
                  </a:lnTo>
                  <a:lnTo>
                    <a:pt x="870" y="788"/>
                  </a:lnTo>
                  <a:lnTo>
                    <a:pt x="868" y="797"/>
                  </a:lnTo>
                  <a:lnTo>
                    <a:pt x="864" y="807"/>
                  </a:lnTo>
                  <a:lnTo>
                    <a:pt x="860" y="816"/>
                  </a:lnTo>
                  <a:lnTo>
                    <a:pt x="855" y="824"/>
                  </a:lnTo>
                  <a:lnTo>
                    <a:pt x="848" y="833"/>
                  </a:lnTo>
                  <a:lnTo>
                    <a:pt x="842" y="840"/>
                  </a:lnTo>
                  <a:lnTo>
                    <a:pt x="836" y="848"/>
                  </a:lnTo>
                  <a:lnTo>
                    <a:pt x="828" y="853"/>
                  </a:lnTo>
                  <a:lnTo>
                    <a:pt x="819" y="859"/>
                  </a:lnTo>
                  <a:lnTo>
                    <a:pt x="811" y="864"/>
                  </a:lnTo>
                  <a:lnTo>
                    <a:pt x="802" y="867"/>
                  </a:lnTo>
                  <a:lnTo>
                    <a:pt x="793" y="870"/>
                  </a:lnTo>
                  <a:lnTo>
                    <a:pt x="783" y="871"/>
                  </a:lnTo>
                  <a:lnTo>
                    <a:pt x="773" y="872"/>
                  </a:lnTo>
                  <a:close/>
                  <a:moveTo>
                    <a:pt x="30" y="766"/>
                  </a:moveTo>
                  <a:lnTo>
                    <a:pt x="30" y="714"/>
                  </a:lnTo>
                  <a:lnTo>
                    <a:pt x="45" y="715"/>
                  </a:lnTo>
                  <a:lnTo>
                    <a:pt x="61" y="719"/>
                  </a:lnTo>
                  <a:lnTo>
                    <a:pt x="75" y="723"/>
                  </a:lnTo>
                  <a:lnTo>
                    <a:pt x="89" y="729"/>
                  </a:lnTo>
                  <a:lnTo>
                    <a:pt x="103" y="736"/>
                  </a:lnTo>
                  <a:lnTo>
                    <a:pt x="116" y="745"/>
                  </a:lnTo>
                  <a:lnTo>
                    <a:pt x="128" y="753"/>
                  </a:lnTo>
                  <a:lnTo>
                    <a:pt x="139" y="764"/>
                  </a:lnTo>
                  <a:lnTo>
                    <a:pt x="148" y="775"/>
                  </a:lnTo>
                  <a:lnTo>
                    <a:pt x="158" y="787"/>
                  </a:lnTo>
                  <a:lnTo>
                    <a:pt x="165" y="800"/>
                  </a:lnTo>
                  <a:lnTo>
                    <a:pt x="173" y="812"/>
                  </a:lnTo>
                  <a:lnTo>
                    <a:pt x="179" y="826"/>
                  </a:lnTo>
                  <a:lnTo>
                    <a:pt x="184" y="841"/>
                  </a:lnTo>
                  <a:lnTo>
                    <a:pt x="187" y="856"/>
                  </a:lnTo>
                  <a:lnTo>
                    <a:pt x="189" y="872"/>
                  </a:lnTo>
                  <a:lnTo>
                    <a:pt x="129" y="872"/>
                  </a:lnTo>
                  <a:lnTo>
                    <a:pt x="119" y="871"/>
                  </a:lnTo>
                  <a:lnTo>
                    <a:pt x="110" y="870"/>
                  </a:lnTo>
                  <a:lnTo>
                    <a:pt x="100" y="867"/>
                  </a:lnTo>
                  <a:lnTo>
                    <a:pt x="91" y="864"/>
                  </a:lnTo>
                  <a:lnTo>
                    <a:pt x="83" y="859"/>
                  </a:lnTo>
                  <a:lnTo>
                    <a:pt x="74" y="853"/>
                  </a:lnTo>
                  <a:lnTo>
                    <a:pt x="67" y="848"/>
                  </a:lnTo>
                  <a:lnTo>
                    <a:pt x="60" y="840"/>
                  </a:lnTo>
                  <a:lnTo>
                    <a:pt x="54" y="833"/>
                  </a:lnTo>
                  <a:lnTo>
                    <a:pt x="47" y="824"/>
                  </a:lnTo>
                  <a:lnTo>
                    <a:pt x="42" y="816"/>
                  </a:lnTo>
                  <a:lnTo>
                    <a:pt x="38" y="807"/>
                  </a:lnTo>
                  <a:lnTo>
                    <a:pt x="35" y="797"/>
                  </a:lnTo>
                  <a:lnTo>
                    <a:pt x="32" y="788"/>
                  </a:lnTo>
                  <a:lnTo>
                    <a:pt x="30" y="777"/>
                  </a:lnTo>
                  <a:lnTo>
                    <a:pt x="30" y="766"/>
                  </a:lnTo>
                  <a:close/>
                  <a:moveTo>
                    <a:pt x="181" y="361"/>
                  </a:moveTo>
                  <a:lnTo>
                    <a:pt x="240" y="361"/>
                  </a:lnTo>
                  <a:lnTo>
                    <a:pt x="240" y="432"/>
                  </a:lnTo>
                  <a:lnTo>
                    <a:pt x="240" y="435"/>
                  </a:lnTo>
                  <a:lnTo>
                    <a:pt x="242" y="438"/>
                  </a:lnTo>
                  <a:lnTo>
                    <a:pt x="244" y="440"/>
                  </a:lnTo>
                  <a:lnTo>
                    <a:pt x="245" y="442"/>
                  </a:lnTo>
                  <a:lnTo>
                    <a:pt x="247" y="445"/>
                  </a:lnTo>
                  <a:lnTo>
                    <a:pt x="250" y="446"/>
                  </a:lnTo>
                  <a:lnTo>
                    <a:pt x="252" y="447"/>
                  </a:lnTo>
                  <a:lnTo>
                    <a:pt x="255" y="447"/>
                  </a:lnTo>
                  <a:lnTo>
                    <a:pt x="259" y="447"/>
                  </a:lnTo>
                  <a:lnTo>
                    <a:pt x="262" y="446"/>
                  </a:lnTo>
                  <a:lnTo>
                    <a:pt x="264" y="445"/>
                  </a:lnTo>
                  <a:lnTo>
                    <a:pt x="266" y="442"/>
                  </a:lnTo>
                  <a:lnTo>
                    <a:pt x="268" y="440"/>
                  </a:lnTo>
                  <a:lnTo>
                    <a:pt x="269" y="438"/>
                  </a:lnTo>
                  <a:lnTo>
                    <a:pt x="270" y="435"/>
                  </a:lnTo>
                  <a:lnTo>
                    <a:pt x="270" y="432"/>
                  </a:lnTo>
                  <a:lnTo>
                    <a:pt x="270" y="361"/>
                  </a:lnTo>
                  <a:lnTo>
                    <a:pt x="632" y="361"/>
                  </a:lnTo>
                  <a:lnTo>
                    <a:pt x="632" y="432"/>
                  </a:lnTo>
                  <a:lnTo>
                    <a:pt x="632" y="435"/>
                  </a:lnTo>
                  <a:lnTo>
                    <a:pt x="633" y="438"/>
                  </a:lnTo>
                  <a:lnTo>
                    <a:pt x="634" y="440"/>
                  </a:lnTo>
                  <a:lnTo>
                    <a:pt x="636" y="442"/>
                  </a:lnTo>
                  <a:lnTo>
                    <a:pt x="638" y="445"/>
                  </a:lnTo>
                  <a:lnTo>
                    <a:pt x="640" y="446"/>
                  </a:lnTo>
                  <a:lnTo>
                    <a:pt x="644" y="447"/>
                  </a:lnTo>
                  <a:lnTo>
                    <a:pt x="647" y="447"/>
                  </a:lnTo>
                  <a:lnTo>
                    <a:pt x="650" y="447"/>
                  </a:lnTo>
                  <a:lnTo>
                    <a:pt x="652" y="446"/>
                  </a:lnTo>
                  <a:lnTo>
                    <a:pt x="655" y="445"/>
                  </a:lnTo>
                  <a:lnTo>
                    <a:pt x="658" y="442"/>
                  </a:lnTo>
                  <a:lnTo>
                    <a:pt x="659" y="440"/>
                  </a:lnTo>
                  <a:lnTo>
                    <a:pt x="661" y="438"/>
                  </a:lnTo>
                  <a:lnTo>
                    <a:pt x="661" y="435"/>
                  </a:lnTo>
                  <a:lnTo>
                    <a:pt x="662" y="432"/>
                  </a:lnTo>
                  <a:lnTo>
                    <a:pt x="662" y="361"/>
                  </a:lnTo>
                  <a:lnTo>
                    <a:pt x="721" y="361"/>
                  </a:lnTo>
                  <a:lnTo>
                    <a:pt x="737" y="363"/>
                  </a:lnTo>
                  <a:lnTo>
                    <a:pt x="753" y="367"/>
                  </a:lnTo>
                  <a:lnTo>
                    <a:pt x="767" y="373"/>
                  </a:lnTo>
                  <a:lnTo>
                    <a:pt x="782" y="379"/>
                  </a:lnTo>
                  <a:lnTo>
                    <a:pt x="795" y="387"/>
                  </a:lnTo>
                  <a:lnTo>
                    <a:pt x="808" y="395"/>
                  </a:lnTo>
                  <a:lnTo>
                    <a:pt x="818" y="405"/>
                  </a:lnTo>
                  <a:lnTo>
                    <a:pt x="829" y="416"/>
                  </a:lnTo>
                  <a:lnTo>
                    <a:pt x="839" y="426"/>
                  </a:lnTo>
                  <a:lnTo>
                    <a:pt x="847" y="439"/>
                  </a:lnTo>
                  <a:lnTo>
                    <a:pt x="855" y="452"/>
                  </a:lnTo>
                  <a:lnTo>
                    <a:pt x="860" y="466"/>
                  </a:lnTo>
                  <a:lnTo>
                    <a:pt x="866" y="480"/>
                  </a:lnTo>
                  <a:lnTo>
                    <a:pt x="869" y="495"/>
                  </a:lnTo>
                  <a:lnTo>
                    <a:pt x="871" y="511"/>
                  </a:lnTo>
                  <a:lnTo>
                    <a:pt x="872" y="527"/>
                  </a:lnTo>
                  <a:lnTo>
                    <a:pt x="872" y="683"/>
                  </a:lnTo>
                  <a:lnTo>
                    <a:pt x="854" y="686"/>
                  </a:lnTo>
                  <a:lnTo>
                    <a:pt x="836" y="689"/>
                  </a:lnTo>
                  <a:lnTo>
                    <a:pt x="817" y="694"/>
                  </a:lnTo>
                  <a:lnTo>
                    <a:pt x="801" y="702"/>
                  </a:lnTo>
                  <a:lnTo>
                    <a:pt x="785" y="709"/>
                  </a:lnTo>
                  <a:lnTo>
                    <a:pt x="770" y="719"/>
                  </a:lnTo>
                  <a:lnTo>
                    <a:pt x="756" y="731"/>
                  </a:lnTo>
                  <a:lnTo>
                    <a:pt x="742" y="743"/>
                  </a:lnTo>
                  <a:lnTo>
                    <a:pt x="730" y="756"/>
                  </a:lnTo>
                  <a:lnTo>
                    <a:pt x="720" y="770"/>
                  </a:lnTo>
                  <a:lnTo>
                    <a:pt x="710" y="785"/>
                  </a:lnTo>
                  <a:lnTo>
                    <a:pt x="702" y="801"/>
                  </a:lnTo>
                  <a:lnTo>
                    <a:pt x="695" y="818"/>
                  </a:lnTo>
                  <a:lnTo>
                    <a:pt x="690" y="835"/>
                  </a:lnTo>
                  <a:lnTo>
                    <a:pt x="685" y="853"/>
                  </a:lnTo>
                  <a:lnTo>
                    <a:pt x="683" y="872"/>
                  </a:lnTo>
                  <a:lnTo>
                    <a:pt x="219" y="872"/>
                  </a:lnTo>
                  <a:lnTo>
                    <a:pt x="217" y="853"/>
                  </a:lnTo>
                  <a:lnTo>
                    <a:pt x="213" y="835"/>
                  </a:lnTo>
                  <a:lnTo>
                    <a:pt x="207" y="818"/>
                  </a:lnTo>
                  <a:lnTo>
                    <a:pt x="201" y="801"/>
                  </a:lnTo>
                  <a:lnTo>
                    <a:pt x="192" y="785"/>
                  </a:lnTo>
                  <a:lnTo>
                    <a:pt x="183" y="770"/>
                  </a:lnTo>
                  <a:lnTo>
                    <a:pt x="172" y="756"/>
                  </a:lnTo>
                  <a:lnTo>
                    <a:pt x="160" y="743"/>
                  </a:lnTo>
                  <a:lnTo>
                    <a:pt x="146" y="731"/>
                  </a:lnTo>
                  <a:lnTo>
                    <a:pt x="132" y="719"/>
                  </a:lnTo>
                  <a:lnTo>
                    <a:pt x="117" y="709"/>
                  </a:lnTo>
                  <a:lnTo>
                    <a:pt x="101" y="702"/>
                  </a:lnTo>
                  <a:lnTo>
                    <a:pt x="85" y="694"/>
                  </a:lnTo>
                  <a:lnTo>
                    <a:pt x="67" y="689"/>
                  </a:lnTo>
                  <a:lnTo>
                    <a:pt x="49" y="686"/>
                  </a:lnTo>
                  <a:lnTo>
                    <a:pt x="30" y="683"/>
                  </a:lnTo>
                  <a:lnTo>
                    <a:pt x="30" y="527"/>
                  </a:lnTo>
                  <a:lnTo>
                    <a:pt x="31" y="511"/>
                  </a:lnTo>
                  <a:lnTo>
                    <a:pt x="34" y="495"/>
                  </a:lnTo>
                  <a:lnTo>
                    <a:pt x="37" y="480"/>
                  </a:lnTo>
                  <a:lnTo>
                    <a:pt x="41" y="466"/>
                  </a:lnTo>
                  <a:lnTo>
                    <a:pt x="47" y="452"/>
                  </a:lnTo>
                  <a:lnTo>
                    <a:pt x="55" y="439"/>
                  </a:lnTo>
                  <a:lnTo>
                    <a:pt x="64" y="426"/>
                  </a:lnTo>
                  <a:lnTo>
                    <a:pt x="73" y="416"/>
                  </a:lnTo>
                  <a:lnTo>
                    <a:pt x="84" y="405"/>
                  </a:lnTo>
                  <a:lnTo>
                    <a:pt x="95" y="395"/>
                  </a:lnTo>
                  <a:lnTo>
                    <a:pt x="108" y="387"/>
                  </a:lnTo>
                  <a:lnTo>
                    <a:pt x="120" y="379"/>
                  </a:lnTo>
                  <a:lnTo>
                    <a:pt x="135" y="373"/>
                  </a:lnTo>
                  <a:lnTo>
                    <a:pt x="149" y="367"/>
                  </a:lnTo>
                  <a:lnTo>
                    <a:pt x="165" y="363"/>
                  </a:lnTo>
                  <a:lnTo>
                    <a:pt x="181" y="361"/>
                  </a:lnTo>
                  <a:close/>
                  <a:moveTo>
                    <a:pt x="270" y="205"/>
                  </a:moveTo>
                  <a:lnTo>
                    <a:pt x="273" y="187"/>
                  </a:lnTo>
                  <a:lnTo>
                    <a:pt x="276" y="170"/>
                  </a:lnTo>
                  <a:lnTo>
                    <a:pt x="281" y="153"/>
                  </a:lnTo>
                  <a:lnTo>
                    <a:pt x="288" y="137"/>
                  </a:lnTo>
                  <a:lnTo>
                    <a:pt x="296" y="121"/>
                  </a:lnTo>
                  <a:lnTo>
                    <a:pt x="305" y="107"/>
                  </a:lnTo>
                  <a:lnTo>
                    <a:pt x="316" y="93"/>
                  </a:lnTo>
                  <a:lnTo>
                    <a:pt x="327" y="81"/>
                  </a:lnTo>
                  <a:lnTo>
                    <a:pt x="340" y="69"/>
                  </a:lnTo>
                  <a:lnTo>
                    <a:pt x="353" y="60"/>
                  </a:lnTo>
                  <a:lnTo>
                    <a:pt x="368" y="51"/>
                  </a:lnTo>
                  <a:lnTo>
                    <a:pt x="383" y="44"/>
                  </a:lnTo>
                  <a:lnTo>
                    <a:pt x="399" y="38"/>
                  </a:lnTo>
                  <a:lnTo>
                    <a:pt x="416" y="34"/>
                  </a:lnTo>
                  <a:lnTo>
                    <a:pt x="433" y="31"/>
                  </a:lnTo>
                  <a:lnTo>
                    <a:pt x="451" y="31"/>
                  </a:lnTo>
                  <a:lnTo>
                    <a:pt x="469" y="31"/>
                  </a:lnTo>
                  <a:lnTo>
                    <a:pt x="486" y="34"/>
                  </a:lnTo>
                  <a:lnTo>
                    <a:pt x="503" y="38"/>
                  </a:lnTo>
                  <a:lnTo>
                    <a:pt x="519" y="44"/>
                  </a:lnTo>
                  <a:lnTo>
                    <a:pt x="534" y="51"/>
                  </a:lnTo>
                  <a:lnTo>
                    <a:pt x="549" y="60"/>
                  </a:lnTo>
                  <a:lnTo>
                    <a:pt x="562" y="69"/>
                  </a:lnTo>
                  <a:lnTo>
                    <a:pt x="575" y="81"/>
                  </a:lnTo>
                  <a:lnTo>
                    <a:pt x="587" y="93"/>
                  </a:lnTo>
                  <a:lnTo>
                    <a:pt x="598" y="107"/>
                  </a:lnTo>
                  <a:lnTo>
                    <a:pt x="606" y="121"/>
                  </a:lnTo>
                  <a:lnTo>
                    <a:pt x="615" y="136"/>
                  </a:lnTo>
                  <a:lnTo>
                    <a:pt x="621" y="152"/>
                  </a:lnTo>
                  <a:lnTo>
                    <a:pt x="626" y="169"/>
                  </a:lnTo>
                  <a:lnTo>
                    <a:pt x="630" y="186"/>
                  </a:lnTo>
                  <a:lnTo>
                    <a:pt x="632" y="204"/>
                  </a:lnTo>
                  <a:lnTo>
                    <a:pt x="632" y="331"/>
                  </a:lnTo>
                  <a:lnTo>
                    <a:pt x="270" y="331"/>
                  </a:lnTo>
                  <a:lnTo>
                    <a:pt x="270" y="205"/>
                  </a:lnTo>
                  <a:close/>
                  <a:moveTo>
                    <a:pt x="723" y="331"/>
                  </a:moveTo>
                  <a:lnTo>
                    <a:pt x="723" y="331"/>
                  </a:lnTo>
                  <a:lnTo>
                    <a:pt x="722" y="331"/>
                  </a:lnTo>
                  <a:lnTo>
                    <a:pt x="662" y="331"/>
                  </a:lnTo>
                  <a:lnTo>
                    <a:pt x="662" y="203"/>
                  </a:lnTo>
                  <a:lnTo>
                    <a:pt x="660" y="183"/>
                  </a:lnTo>
                  <a:lnTo>
                    <a:pt x="655" y="163"/>
                  </a:lnTo>
                  <a:lnTo>
                    <a:pt x="649" y="142"/>
                  </a:lnTo>
                  <a:lnTo>
                    <a:pt x="641" y="124"/>
                  </a:lnTo>
                  <a:lnTo>
                    <a:pt x="633" y="106"/>
                  </a:lnTo>
                  <a:lnTo>
                    <a:pt x="621" y="89"/>
                  </a:lnTo>
                  <a:lnTo>
                    <a:pt x="609" y="74"/>
                  </a:lnTo>
                  <a:lnTo>
                    <a:pt x="595" y="59"/>
                  </a:lnTo>
                  <a:lnTo>
                    <a:pt x="581" y="46"/>
                  </a:lnTo>
                  <a:lnTo>
                    <a:pt x="565" y="34"/>
                  </a:lnTo>
                  <a:lnTo>
                    <a:pt x="548" y="24"/>
                  </a:lnTo>
                  <a:lnTo>
                    <a:pt x="530" y="16"/>
                  </a:lnTo>
                  <a:lnTo>
                    <a:pt x="512" y="9"/>
                  </a:lnTo>
                  <a:lnTo>
                    <a:pt x="492" y="4"/>
                  </a:lnTo>
                  <a:lnTo>
                    <a:pt x="472" y="1"/>
                  </a:lnTo>
                  <a:lnTo>
                    <a:pt x="451" y="0"/>
                  </a:lnTo>
                  <a:lnTo>
                    <a:pt x="430" y="1"/>
                  </a:lnTo>
                  <a:lnTo>
                    <a:pt x="410" y="4"/>
                  </a:lnTo>
                  <a:lnTo>
                    <a:pt x="391" y="9"/>
                  </a:lnTo>
                  <a:lnTo>
                    <a:pt x="372" y="16"/>
                  </a:lnTo>
                  <a:lnTo>
                    <a:pt x="354" y="24"/>
                  </a:lnTo>
                  <a:lnTo>
                    <a:pt x="337" y="35"/>
                  </a:lnTo>
                  <a:lnTo>
                    <a:pt x="321" y="46"/>
                  </a:lnTo>
                  <a:lnTo>
                    <a:pt x="307" y="60"/>
                  </a:lnTo>
                  <a:lnTo>
                    <a:pt x="293" y="74"/>
                  </a:lnTo>
                  <a:lnTo>
                    <a:pt x="281" y="90"/>
                  </a:lnTo>
                  <a:lnTo>
                    <a:pt x="269" y="106"/>
                  </a:lnTo>
                  <a:lnTo>
                    <a:pt x="261" y="124"/>
                  </a:lnTo>
                  <a:lnTo>
                    <a:pt x="253" y="143"/>
                  </a:lnTo>
                  <a:lnTo>
                    <a:pt x="247" y="163"/>
                  </a:lnTo>
                  <a:lnTo>
                    <a:pt x="243" y="183"/>
                  </a:lnTo>
                  <a:lnTo>
                    <a:pt x="240" y="204"/>
                  </a:lnTo>
                  <a:lnTo>
                    <a:pt x="240" y="331"/>
                  </a:lnTo>
                  <a:lnTo>
                    <a:pt x="180" y="331"/>
                  </a:lnTo>
                  <a:lnTo>
                    <a:pt x="179" y="331"/>
                  </a:lnTo>
                  <a:lnTo>
                    <a:pt x="179" y="331"/>
                  </a:lnTo>
                  <a:lnTo>
                    <a:pt x="160" y="334"/>
                  </a:lnTo>
                  <a:lnTo>
                    <a:pt x="142" y="338"/>
                  </a:lnTo>
                  <a:lnTo>
                    <a:pt x="125" y="345"/>
                  </a:lnTo>
                  <a:lnTo>
                    <a:pt x="108" y="352"/>
                  </a:lnTo>
                  <a:lnTo>
                    <a:pt x="93" y="361"/>
                  </a:lnTo>
                  <a:lnTo>
                    <a:pt x="77" y="372"/>
                  </a:lnTo>
                  <a:lnTo>
                    <a:pt x="64" y="382"/>
                  </a:lnTo>
                  <a:lnTo>
                    <a:pt x="52" y="395"/>
                  </a:lnTo>
                  <a:lnTo>
                    <a:pt x="40" y="409"/>
                  </a:lnTo>
                  <a:lnTo>
                    <a:pt x="30" y="424"/>
                  </a:lnTo>
                  <a:lnTo>
                    <a:pt x="21" y="439"/>
                  </a:lnTo>
                  <a:lnTo>
                    <a:pt x="14" y="455"/>
                  </a:lnTo>
                  <a:lnTo>
                    <a:pt x="8" y="472"/>
                  </a:lnTo>
                  <a:lnTo>
                    <a:pt x="4" y="490"/>
                  </a:lnTo>
                  <a:lnTo>
                    <a:pt x="1" y="508"/>
                  </a:lnTo>
                  <a:lnTo>
                    <a:pt x="0" y="527"/>
                  </a:lnTo>
                  <a:lnTo>
                    <a:pt x="0" y="766"/>
                  </a:lnTo>
                  <a:lnTo>
                    <a:pt x="1" y="780"/>
                  </a:lnTo>
                  <a:lnTo>
                    <a:pt x="2" y="793"/>
                  </a:lnTo>
                  <a:lnTo>
                    <a:pt x="6" y="806"/>
                  </a:lnTo>
                  <a:lnTo>
                    <a:pt x="11" y="819"/>
                  </a:lnTo>
                  <a:lnTo>
                    <a:pt x="16" y="831"/>
                  </a:lnTo>
                  <a:lnTo>
                    <a:pt x="23" y="841"/>
                  </a:lnTo>
                  <a:lnTo>
                    <a:pt x="30" y="852"/>
                  </a:lnTo>
                  <a:lnTo>
                    <a:pt x="39" y="862"/>
                  </a:lnTo>
                  <a:lnTo>
                    <a:pt x="47" y="870"/>
                  </a:lnTo>
                  <a:lnTo>
                    <a:pt x="57" y="879"/>
                  </a:lnTo>
                  <a:lnTo>
                    <a:pt x="68" y="885"/>
                  </a:lnTo>
                  <a:lnTo>
                    <a:pt x="80" y="892"/>
                  </a:lnTo>
                  <a:lnTo>
                    <a:pt x="91" y="896"/>
                  </a:lnTo>
                  <a:lnTo>
                    <a:pt x="103" y="899"/>
                  </a:lnTo>
                  <a:lnTo>
                    <a:pt x="116" y="901"/>
                  </a:lnTo>
                  <a:lnTo>
                    <a:pt x="129" y="902"/>
                  </a:lnTo>
                  <a:lnTo>
                    <a:pt x="773" y="902"/>
                  </a:lnTo>
                  <a:lnTo>
                    <a:pt x="786" y="901"/>
                  </a:lnTo>
                  <a:lnTo>
                    <a:pt x="799" y="899"/>
                  </a:lnTo>
                  <a:lnTo>
                    <a:pt x="811" y="896"/>
                  </a:lnTo>
                  <a:lnTo>
                    <a:pt x="823" y="891"/>
                  </a:lnTo>
                  <a:lnTo>
                    <a:pt x="834" y="885"/>
                  </a:lnTo>
                  <a:lnTo>
                    <a:pt x="845" y="879"/>
                  </a:lnTo>
                  <a:lnTo>
                    <a:pt x="855" y="870"/>
                  </a:lnTo>
                  <a:lnTo>
                    <a:pt x="863" y="862"/>
                  </a:lnTo>
                  <a:lnTo>
                    <a:pt x="872" y="852"/>
                  </a:lnTo>
                  <a:lnTo>
                    <a:pt x="879" y="841"/>
                  </a:lnTo>
                  <a:lnTo>
                    <a:pt x="886" y="831"/>
                  </a:lnTo>
                  <a:lnTo>
                    <a:pt x="891" y="819"/>
                  </a:lnTo>
                  <a:lnTo>
                    <a:pt x="897" y="806"/>
                  </a:lnTo>
                  <a:lnTo>
                    <a:pt x="900" y="794"/>
                  </a:lnTo>
                  <a:lnTo>
                    <a:pt x="901" y="780"/>
                  </a:lnTo>
                  <a:lnTo>
                    <a:pt x="902" y="766"/>
                  </a:lnTo>
                  <a:lnTo>
                    <a:pt x="902" y="527"/>
                  </a:lnTo>
                  <a:lnTo>
                    <a:pt x="901" y="508"/>
                  </a:lnTo>
                  <a:lnTo>
                    <a:pt x="899" y="490"/>
                  </a:lnTo>
                  <a:lnTo>
                    <a:pt x="895" y="472"/>
                  </a:lnTo>
                  <a:lnTo>
                    <a:pt x="888" y="455"/>
                  </a:lnTo>
                  <a:lnTo>
                    <a:pt x="882" y="439"/>
                  </a:lnTo>
                  <a:lnTo>
                    <a:pt x="872" y="423"/>
                  </a:lnTo>
                  <a:lnTo>
                    <a:pt x="862" y="409"/>
                  </a:lnTo>
                  <a:lnTo>
                    <a:pt x="851" y="395"/>
                  </a:lnTo>
                  <a:lnTo>
                    <a:pt x="839" y="382"/>
                  </a:lnTo>
                  <a:lnTo>
                    <a:pt x="825" y="372"/>
                  </a:lnTo>
                  <a:lnTo>
                    <a:pt x="810" y="361"/>
                  </a:lnTo>
                  <a:lnTo>
                    <a:pt x="795" y="352"/>
                  </a:lnTo>
                  <a:lnTo>
                    <a:pt x="778" y="345"/>
                  </a:lnTo>
                  <a:lnTo>
                    <a:pt x="760" y="338"/>
                  </a:lnTo>
                  <a:lnTo>
                    <a:pt x="742" y="334"/>
                  </a:lnTo>
                  <a:lnTo>
                    <a:pt x="72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0" name="Freeform 55">
              <a:extLst>
                <a:ext uri="{FF2B5EF4-FFF2-40B4-BE49-F238E27FC236}">
                  <a16:creationId xmlns:a16="http://schemas.microsoft.com/office/drawing/2014/main" id="{A451F898-260D-4355-BEA0-3BC90107FFE4}"/>
                </a:ext>
              </a:extLst>
            </p:cNvPr>
            <p:cNvSpPr>
              <a:spLocks/>
            </p:cNvSpPr>
            <p:nvPr/>
          </p:nvSpPr>
          <p:spPr bwMode="auto">
            <a:xfrm>
              <a:off x="6469063" y="2096770"/>
              <a:ext cx="238125" cy="9525"/>
            </a:xfrm>
            <a:custGeom>
              <a:avLst/>
              <a:gdLst>
                <a:gd name="T0" fmla="*/ 15 w 750"/>
                <a:gd name="T1" fmla="*/ 30 h 30"/>
                <a:gd name="T2" fmla="*/ 735 w 750"/>
                <a:gd name="T3" fmla="*/ 30 h 30"/>
                <a:gd name="T4" fmla="*/ 738 w 750"/>
                <a:gd name="T5" fmla="*/ 30 h 30"/>
                <a:gd name="T6" fmla="*/ 741 w 750"/>
                <a:gd name="T7" fmla="*/ 29 h 30"/>
                <a:gd name="T8" fmla="*/ 743 w 750"/>
                <a:gd name="T9" fmla="*/ 28 h 30"/>
                <a:gd name="T10" fmla="*/ 746 w 750"/>
                <a:gd name="T11" fmla="*/ 26 h 30"/>
                <a:gd name="T12" fmla="*/ 748 w 750"/>
                <a:gd name="T13" fmla="*/ 24 h 30"/>
                <a:gd name="T14" fmla="*/ 749 w 750"/>
                <a:gd name="T15" fmla="*/ 22 h 30"/>
                <a:gd name="T16" fmla="*/ 750 w 750"/>
                <a:gd name="T17" fmla="*/ 18 h 30"/>
                <a:gd name="T18" fmla="*/ 750 w 750"/>
                <a:gd name="T19" fmla="*/ 15 h 30"/>
                <a:gd name="T20" fmla="*/ 750 w 750"/>
                <a:gd name="T21" fmla="*/ 12 h 30"/>
                <a:gd name="T22" fmla="*/ 749 w 750"/>
                <a:gd name="T23" fmla="*/ 10 h 30"/>
                <a:gd name="T24" fmla="*/ 748 w 750"/>
                <a:gd name="T25" fmla="*/ 7 h 30"/>
                <a:gd name="T26" fmla="*/ 746 w 750"/>
                <a:gd name="T27" fmla="*/ 4 h 30"/>
                <a:gd name="T28" fmla="*/ 743 w 750"/>
                <a:gd name="T29" fmla="*/ 3 h 30"/>
                <a:gd name="T30" fmla="*/ 741 w 750"/>
                <a:gd name="T31" fmla="*/ 1 h 30"/>
                <a:gd name="T32" fmla="*/ 738 w 750"/>
                <a:gd name="T33" fmla="*/ 0 h 30"/>
                <a:gd name="T34" fmla="*/ 735 w 750"/>
                <a:gd name="T35" fmla="*/ 0 h 30"/>
                <a:gd name="T36" fmla="*/ 15 w 750"/>
                <a:gd name="T37" fmla="*/ 0 h 30"/>
                <a:gd name="T38" fmla="*/ 12 w 750"/>
                <a:gd name="T39" fmla="*/ 0 h 30"/>
                <a:gd name="T40" fmla="*/ 9 w 750"/>
                <a:gd name="T41" fmla="*/ 1 h 30"/>
                <a:gd name="T42" fmla="*/ 7 w 750"/>
                <a:gd name="T43" fmla="*/ 3 h 30"/>
                <a:gd name="T44" fmla="*/ 5 w 750"/>
                <a:gd name="T45" fmla="*/ 4 h 30"/>
                <a:gd name="T46" fmla="*/ 3 w 750"/>
                <a:gd name="T47" fmla="*/ 7 h 30"/>
                <a:gd name="T48" fmla="*/ 1 w 750"/>
                <a:gd name="T49" fmla="*/ 10 h 30"/>
                <a:gd name="T50" fmla="*/ 0 w 750"/>
                <a:gd name="T51" fmla="*/ 12 h 30"/>
                <a:gd name="T52" fmla="*/ 0 w 750"/>
                <a:gd name="T53" fmla="*/ 15 h 30"/>
                <a:gd name="T54" fmla="*/ 0 w 750"/>
                <a:gd name="T55" fmla="*/ 18 h 30"/>
                <a:gd name="T56" fmla="*/ 1 w 750"/>
                <a:gd name="T57" fmla="*/ 22 h 30"/>
                <a:gd name="T58" fmla="*/ 3 w 750"/>
                <a:gd name="T59" fmla="*/ 24 h 30"/>
                <a:gd name="T60" fmla="*/ 5 w 750"/>
                <a:gd name="T61" fmla="*/ 26 h 30"/>
                <a:gd name="T62" fmla="*/ 7 w 750"/>
                <a:gd name="T63" fmla="*/ 28 h 30"/>
                <a:gd name="T64" fmla="*/ 9 w 750"/>
                <a:gd name="T65" fmla="*/ 29 h 30"/>
                <a:gd name="T66" fmla="*/ 12 w 750"/>
                <a:gd name="T67" fmla="*/ 30 h 30"/>
                <a:gd name="T68" fmla="*/ 15 w 75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0" h="30">
                  <a:moveTo>
                    <a:pt x="15" y="30"/>
                  </a:moveTo>
                  <a:lnTo>
                    <a:pt x="735" y="30"/>
                  </a:lnTo>
                  <a:lnTo>
                    <a:pt x="738" y="30"/>
                  </a:lnTo>
                  <a:lnTo>
                    <a:pt x="741" y="29"/>
                  </a:lnTo>
                  <a:lnTo>
                    <a:pt x="743" y="28"/>
                  </a:lnTo>
                  <a:lnTo>
                    <a:pt x="746" y="26"/>
                  </a:lnTo>
                  <a:lnTo>
                    <a:pt x="748" y="24"/>
                  </a:lnTo>
                  <a:lnTo>
                    <a:pt x="749" y="22"/>
                  </a:lnTo>
                  <a:lnTo>
                    <a:pt x="750" y="18"/>
                  </a:lnTo>
                  <a:lnTo>
                    <a:pt x="750" y="15"/>
                  </a:lnTo>
                  <a:lnTo>
                    <a:pt x="750" y="12"/>
                  </a:lnTo>
                  <a:lnTo>
                    <a:pt x="749" y="10"/>
                  </a:lnTo>
                  <a:lnTo>
                    <a:pt x="748" y="7"/>
                  </a:lnTo>
                  <a:lnTo>
                    <a:pt x="746" y="4"/>
                  </a:lnTo>
                  <a:lnTo>
                    <a:pt x="743" y="3"/>
                  </a:lnTo>
                  <a:lnTo>
                    <a:pt x="741" y="1"/>
                  </a:lnTo>
                  <a:lnTo>
                    <a:pt x="738" y="0"/>
                  </a:lnTo>
                  <a:lnTo>
                    <a:pt x="735" y="0"/>
                  </a:lnTo>
                  <a:lnTo>
                    <a:pt x="15" y="0"/>
                  </a:lnTo>
                  <a:lnTo>
                    <a:pt x="12" y="0"/>
                  </a:lnTo>
                  <a:lnTo>
                    <a:pt x="9" y="1"/>
                  </a:lnTo>
                  <a:lnTo>
                    <a:pt x="7" y="3"/>
                  </a:lnTo>
                  <a:lnTo>
                    <a:pt x="5" y="4"/>
                  </a:lnTo>
                  <a:lnTo>
                    <a:pt x="3" y="7"/>
                  </a:lnTo>
                  <a:lnTo>
                    <a:pt x="1" y="10"/>
                  </a:lnTo>
                  <a:lnTo>
                    <a:pt x="0" y="12"/>
                  </a:lnTo>
                  <a:lnTo>
                    <a:pt x="0" y="15"/>
                  </a:lnTo>
                  <a:lnTo>
                    <a:pt x="0" y="18"/>
                  </a:lnTo>
                  <a:lnTo>
                    <a:pt x="1" y="22"/>
                  </a:lnTo>
                  <a:lnTo>
                    <a:pt x="3"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1" name="Freeform 56">
              <a:extLst>
                <a:ext uri="{FF2B5EF4-FFF2-40B4-BE49-F238E27FC236}">
                  <a16:creationId xmlns:a16="http://schemas.microsoft.com/office/drawing/2014/main" id="{8E4197D6-49D4-4986-9A69-A970F22FFD73}"/>
                </a:ext>
              </a:extLst>
            </p:cNvPr>
            <p:cNvSpPr>
              <a:spLocks/>
            </p:cNvSpPr>
            <p:nvPr/>
          </p:nvSpPr>
          <p:spPr bwMode="auto">
            <a:xfrm>
              <a:off x="6492875" y="2111058"/>
              <a:ext cx="9525" cy="22225"/>
            </a:xfrm>
            <a:custGeom>
              <a:avLst/>
              <a:gdLst>
                <a:gd name="T0" fmla="*/ 15 w 30"/>
                <a:gd name="T1" fmla="*/ 0 h 69"/>
                <a:gd name="T2" fmla="*/ 13 w 30"/>
                <a:gd name="T3" fmla="*/ 1 h 69"/>
                <a:gd name="T4" fmla="*/ 10 w 30"/>
                <a:gd name="T5" fmla="*/ 2 h 69"/>
                <a:gd name="T6" fmla="*/ 7 w 30"/>
                <a:gd name="T7" fmla="*/ 3 h 69"/>
                <a:gd name="T8" fmla="*/ 5 w 30"/>
                <a:gd name="T9" fmla="*/ 6 h 69"/>
                <a:gd name="T10" fmla="*/ 4 w 30"/>
                <a:gd name="T11" fmla="*/ 8 h 69"/>
                <a:gd name="T12" fmla="*/ 2 w 30"/>
                <a:gd name="T13" fmla="*/ 10 h 69"/>
                <a:gd name="T14" fmla="*/ 2 w 30"/>
                <a:gd name="T15" fmla="*/ 13 h 69"/>
                <a:gd name="T16" fmla="*/ 0 w 30"/>
                <a:gd name="T17" fmla="*/ 15 h 69"/>
                <a:gd name="T18" fmla="*/ 0 w 30"/>
                <a:gd name="T19" fmla="*/ 54 h 69"/>
                <a:gd name="T20" fmla="*/ 2 w 30"/>
                <a:gd name="T21" fmla="*/ 57 h 69"/>
                <a:gd name="T22" fmla="*/ 2 w 30"/>
                <a:gd name="T23" fmla="*/ 59 h 69"/>
                <a:gd name="T24" fmla="*/ 4 w 30"/>
                <a:gd name="T25" fmla="*/ 62 h 69"/>
                <a:gd name="T26" fmla="*/ 5 w 30"/>
                <a:gd name="T27" fmla="*/ 65 h 69"/>
                <a:gd name="T28" fmla="*/ 7 w 30"/>
                <a:gd name="T29" fmla="*/ 66 h 69"/>
                <a:gd name="T30" fmla="*/ 10 w 30"/>
                <a:gd name="T31" fmla="*/ 68 h 69"/>
                <a:gd name="T32" fmla="*/ 13 w 30"/>
                <a:gd name="T33" fmla="*/ 69 h 69"/>
                <a:gd name="T34" fmla="*/ 15 w 30"/>
                <a:gd name="T35" fmla="*/ 69 h 69"/>
                <a:gd name="T36" fmla="*/ 19 w 30"/>
                <a:gd name="T37" fmla="*/ 69 h 69"/>
                <a:gd name="T38" fmla="*/ 22 w 30"/>
                <a:gd name="T39" fmla="*/ 68 h 69"/>
                <a:gd name="T40" fmla="*/ 24 w 30"/>
                <a:gd name="T41" fmla="*/ 66 h 69"/>
                <a:gd name="T42" fmla="*/ 26 w 30"/>
                <a:gd name="T43" fmla="*/ 65 h 69"/>
                <a:gd name="T44" fmla="*/ 28 w 30"/>
                <a:gd name="T45" fmla="*/ 62 h 69"/>
                <a:gd name="T46" fmla="*/ 29 w 30"/>
                <a:gd name="T47" fmla="*/ 59 h 69"/>
                <a:gd name="T48" fmla="*/ 30 w 30"/>
                <a:gd name="T49" fmla="*/ 57 h 69"/>
                <a:gd name="T50" fmla="*/ 30 w 30"/>
                <a:gd name="T51" fmla="*/ 54 h 69"/>
                <a:gd name="T52" fmla="*/ 30 w 30"/>
                <a:gd name="T53" fmla="*/ 15 h 69"/>
                <a:gd name="T54" fmla="*/ 30 w 30"/>
                <a:gd name="T55" fmla="*/ 13 h 69"/>
                <a:gd name="T56" fmla="*/ 29 w 30"/>
                <a:gd name="T57" fmla="*/ 10 h 69"/>
                <a:gd name="T58" fmla="*/ 28 w 30"/>
                <a:gd name="T59" fmla="*/ 8 h 69"/>
                <a:gd name="T60" fmla="*/ 26 w 30"/>
                <a:gd name="T61" fmla="*/ 6 h 69"/>
                <a:gd name="T62" fmla="*/ 24 w 30"/>
                <a:gd name="T63" fmla="*/ 3 h 69"/>
                <a:gd name="T64" fmla="*/ 22 w 30"/>
                <a:gd name="T65" fmla="*/ 2 h 69"/>
                <a:gd name="T66" fmla="*/ 19 w 30"/>
                <a:gd name="T67" fmla="*/ 1 h 69"/>
                <a:gd name="T68" fmla="*/ 15 w 30"/>
                <a:gd name="T6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69">
                  <a:moveTo>
                    <a:pt x="15" y="0"/>
                  </a:moveTo>
                  <a:lnTo>
                    <a:pt x="13" y="1"/>
                  </a:lnTo>
                  <a:lnTo>
                    <a:pt x="10" y="2"/>
                  </a:lnTo>
                  <a:lnTo>
                    <a:pt x="7" y="3"/>
                  </a:lnTo>
                  <a:lnTo>
                    <a:pt x="5" y="6"/>
                  </a:lnTo>
                  <a:lnTo>
                    <a:pt x="4" y="8"/>
                  </a:lnTo>
                  <a:lnTo>
                    <a:pt x="2" y="10"/>
                  </a:lnTo>
                  <a:lnTo>
                    <a:pt x="2" y="13"/>
                  </a:lnTo>
                  <a:lnTo>
                    <a:pt x="0" y="15"/>
                  </a:lnTo>
                  <a:lnTo>
                    <a:pt x="0" y="54"/>
                  </a:lnTo>
                  <a:lnTo>
                    <a:pt x="2" y="57"/>
                  </a:lnTo>
                  <a:lnTo>
                    <a:pt x="2" y="59"/>
                  </a:lnTo>
                  <a:lnTo>
                    <a:pt x="4" y="62"/>
                  </a:lnTo>
                  <a:lnTo>
                    <a:pt x="5" y="65"/>
                  </a:lnTo>
                  <a:lnTo>
                    <a:pt x="7" y="66"/>
                  </a:lnTo>
                  <a:lnTo>
                    <a:pt x="10" y="68"/>
                  </a:lnTo>
                  <a:lnTo>
                    <a:pt x="13" y="69"/>
                  </a:lnTo>
                  <a:lnTo>
                    <a:pt x="15" y="69"/>
                  </a:lnTo>
                  <a:lnTo>
                    <a:pt x="19" y="69"/>
                  </a:lnTo>
                  <a:lnTo>
                    <a:pt x="22" y="68"/>
                  </a:lnTo>
                  <a:lnTo>
                    <a:pt x="24" y="66"/>
                  </a:lnTo>
                  <a:lnTo>
                    <a:pt x="26" y="65"/>
                  </a:lnTo>
                  <a:lnTo>
                    <a:pt x="28" y="62"/>
                  </a:lnTo>
                  <a:lnTo>
                    <a:pt x="29" y="59"/>
                  </a:lnTo>
                  <a:lnTo>
                    <a:pt x="30" y="57"/>
                  </a:lnTo>
                  <a:lnTo>
                    <a:pt x="30" y="54"/>
                  </a:lnTo>
                  <a:lnTo>
                    <a:pt x="30" y="15"/>
                  </a:lnTo>
                  <a:lnTo>
                    <a:pt x="30" y="13"/>
                  </a:lnTo>
                  <a:lnTo>
                    <a:pt x="29" y="10"/>
                  </a:lnTo>
                  <a:lnTo>
                    <a:pt x="28" y="8"/>
                  </a:lnTo>
                  <a:lnTo>
                    <a:pt x="26" y="6"/>
                  </a:lnTo>
                  <a:lnTo>
                    <a:pt x="24" y="3"/>
                  </a:lnTo>
                  <a:lnTo>
                    <a:pt x="22" y="2"/>
                  </a:lnTo>
                  <a:lnTo>
                    <a:pt x="19"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42" name="Group 11">
            <a:extLst>
              <a:ext uri="{FF2B5EF4-FFF2-40B4-BE49-F238E27FC236}">
                <a16:creationId xmlns:a16="http://schemas.microsoft.com/office/drawing/2014/main" id="{0D70D168-9744-4DAE-AF33-DCE04ED7D08F}"/>
              </a:ext>
            </a:extLst>
          </p:cNvPr>
          <p:cNvGrpSpPr>
            <a:grpSpLocks noChangeAspect="1"/>
          </p:cNvGrpSpPr>
          <p:nvPr/>
        </p:nvGrpSpPr>
        <p:grpSpPr>
          <a:xfrm>
            <a:off x="4428208" y="4340505"/>
            <a:ext cx="329561" cy="285619"/>
            <a:chOff x="8736013" y="1390333"/>
            <a:chExt cx="285750" cy="247650"/>
          </a:xfrm>
          <a:solidFill>
            <a:schemeClr val="bg2"/>
          </a:solidFill>
          <a:effectLst/>
        </p:grpSpPr>
        <p:sp>
          <p:nvSpPr>
            <p:cNvPr id="1643" name="Freeform 47">
              <a:extLst>
                <a:ext uri="{FF2B5EF4-FFF2-40B4-BE49-F238E27FC236}">
                  <a16:creationId xmlns:a16="http://schemas.microsoft.com/office/drawing/2014/main" id="{26FBE61A-7238-49CC-A5EE-2C324C22793E}"/>
                </a:ext>
              </a:extLst>
            </p:cNvPr>
            <p:cNvSpPr>
              <a:spLocks noEditPoints="1"/>
            </p:cNvSpPr>
            <p:nvPr/>
          </p:nvSpPr>
          <p:spPr bwMode="auto">
            <a:xfrm>
              <a:off x="8902700" y="1590358"/>
              <a:ext cx="47625" cy="47625"/>
            </a:xfrm>
            <a:custGeom>
              <a:avLst/>
              <a:gdLst>
                <a:gd name="T0" fmla="*/ 67 w 151"/>
                <a:gd name="T1" fmla="*/ 119 h 150"/>
                <a:gd name="T2" fmla="*/ 50 w 151"/>
                <a:gd name="T3" fmla="*/ 112 h 150"/>
                <a:gd name="T4" fmla="*/ 38 w 151"/>
                <a:gd name="T5" fmla="*/ 100 h 150"/>
                <a:gd name="T6" fmla="*/ 32 w 151"/>
                <a:gd name="T7" fmla="*/ 84 h 150"/>
                <a:gd name="T8" fmla="*/ 32 w 151"/>
                <a:gd name="T9" fmla="*/ 66 h 150"/>
                <a:gd name="T10" fmla="*/ 38 w 151"/>
                <a:gd name="T11" fmla="*/ 50 h 150"/>
                <a:gd name="T12" fmla="*/ 50 w 151"/>
                <a:gd name="T13" fmla="*/ 37 h 150"/>
                <a:gd name="T14" fmla="*/ 67 w 151"/>
                <a:gd name="T15" fmla="*/ 31 h 150"/>
                <a:gd name="T16" fmla="*/ 84 w 151"/>
                <a:gd name="T17" fmla="*/ 31 h 150"/>
                <a:gd name="T18" fmla="*/ 100 w 151"/>
                <a:gd name="T19" fmla="*/ 37 h 150"/>
                <a:gd name="T20" fmla="*/ 113 w 151"/>
                <a:gd name="T21" fmla="*/ 50 h 150"/>
                <a:gd name="T22" fmla="*/ 120 w 151"/>
                <a:gd name="T23" fmla="*/ 66 h 150"/>
                <a:gd name="T24" fmla="*/ 120 w 151"/>
                <a:gd name="T25" fmla="*/ 84 h 150"/>
                <a:gd name="T26" fmla="*/ 113 w 151"/>
                <a:gd name="T27" fmla="*/ 100 h 150"/>
                <a:gd name="T28" fmla="*/ 100 w 151"/>
                <a:gd name="T29" fmla="*/ 112 h 150"/>
                <a:gd name="T30" fmla="*/ 84 w 151"/>
                <a:gd name="T31" fmla="*/ 119 h 150"/>
                <a:gd name="T32" fmla="*/ 76 w 151"/>
                <a:gd name="T33" fmla="*/ 0 h 150"/>
                <a:gd name="T34" fmla="*/ 61 w 151"/>
                <a:gd name="T35" fmla="*/ 2 h 150"/>
                <a:gd name="T36" fmla="*/ 47 w 151"/>
                <a:gd name="T37" fmla="*/ 6 h 150"/>
                <a:gd name="T38" fmla="*/ 34 w 151"/>
                <a:gd name="T39" fmla="*/ 12 h 150"/>
                <a:gd name="T40" fmla="*/ 22 w 151"/>
                <a:gd name="T41" fmla="*/ 22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6 h 150"/>
                <a:gd name="T56" fmla="*/ 22 w 151"/>
                <a:gd name="T57" fmla="*/ 128 h 150"/>
                <a:gd name="T58" fmla="*/ 34 w 151"/>
                <a:gd name="T59" fmla="*/ 137 h 150"/>
                <a:gd name="T60" fmla="*/ 47 w 151"/>
                <a:gd name="T61" fmla="*/ 144 h 150"/>
                <a:gd name="T62" fmla="*/ 61 w 151"/>
                <a:gd name="T63" fmla="*/ 149 h 150"/>
                <a:gd name="T64" fmla="*/ 76 w 151"/>
                <a:gd name="T65" fmla="*/ 150 h 150"/>
                <a:gd name="T66" fmla="*/ 91 w 151"/>
                <a:gd name="T67" fmla="*/ 149 h 150"/>
                <a:gd name="T68" fmla="*/ 104 w 151"/>
                <a:gd name="T69" fmla="*/ 144 h 150"/>
                <a:gd name="T70" fmla="*/ 117 w 151"/>
                <a:gd name="T71" fmla="*/ 137 h 150"/>
                <a:gd name="T72" fmla="*/ 129 w 151"/>
                <a:gd name="T73" fmla="*/ 128 h 150"/>
                <a:gd name="T74" fmla="*/ 138 w 151"/>
                <a:gd name="T75" fmla="*/ 116 h 150"/>
                <a:gd name="T76" fmla="*/ 145 w 151"/>
                <a:gd name="T77" fmla="*/ 104 h 150"/>
                <a:gd name="T78" fmla="*/ 150 w 151"/>
                <a:gd name="T79" fmla="*/ 90 h 150"/>
                <a:gd name="T80" fmla="*/ 151 w 151"/>
                <a:gd name="T81" fmla="*/ 75 h 150"/>
                <a:gd name="T82" fmla="*/ 150 w 151"/>
                <a:gd name="T83" fmla="*/ 60 h 150"/>
                <a:gd name="T84" fmla="*/ 145 w 151"/>
                <a:gd name="T85" fmla="*/ 46 h 150"/>
                <a:gd name="T86" fmla="*/ 138 w 151"/>
                <a:gd name="T87" fmla="*/ 33 h 150"/>
                <a:gd name="T88" fmla="*/ 129 w 151"/>
                <a:gd name="T89" fmla="*/ 22 h 150"/>
                <a:gd name="T90" fmla="*/ 117 w 151"/>
                <a:gd name="T91" fmla="*/ 12 h 150"/>
                <a:gd name="T92" fmla="*/ 104 w 151"/>
                <a:gd name="T93" fmla="*/ 6 h 150"/>
                <a:gd name="T94" fmla="*/ 91 w 151"/>
                <a:gd name="T95" fmla="*/ 2 h 150"/>
                <a:gd name="T96" fmla="*/ 76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6" y="120"/>
                  </a:moveTo>
                  <a:lnTo>
                    <a:pt x="67" y="119"/>
                  </a:lnTo>
                  <a:lnTo>
                    <a:pt x="58" y="116"/>
                  </a:lnTo>
                  <a:lnTo>
                    <a:pt x="50" y="112"/>
                  </a:lnTo>
                  <a:lnTo>
                    <a:pt x="43" y="107"/>
                  </a:lnTo>
                  <a:lnTo>
                    <a:pt x="38" y="100"/>
                  </a:lnTo>
                  <a:lnTo>
                    <a:pt x="34" y="93"/>
                  </a:lnTo>
                  <a:lnTo>
                    <a:pt x="32" y="84"/>
                  </a:lnTo>
                  <a:lnTo>
                    <a:pt x="31" y="75"/>
                  </a:lnTo>
                  <a:lnTo>
                    <a:pt x="32" y="66"/>
                  </a:lnTo>
                  <a:lnTo>
                    <a:pt x="34" y="58"/>
                  </a:lnTo>
                  <a:lnTo>
                    <a:pt x="38" y="50"/>
                  </a:lnTo>
                  <a:lnTo>
                    <a:pt x="43" y="42"/>
                  </a:lnTo>
                  <a:lnTo>
                    <a:pt x="50" y="37"/>
                  </a:lnTo>
                  <a:lnTo>
                    <a:pt x="58" y="33"/>
                  </a:lnTo>
                  <a:lnTo>
                    <a:pt x="67" y="31"/>
                  </a:lnTo>
                  <a:lnTo>
                    <a:pt x="76" y="30"/>
                  </a:lnTo>
                  <a:lnTo>
                    <a:pt x="84" y="31"/>
                  </a:lnTo>
                  <a:lnTo>
                    <a:pt x="93" y="33"/>
                  </a:lnTo>
                  <a:lnTo>
                    <a:pt x="100" y="37"/>
                  </a:lnTo>
                  <a:lnTo>
                    <a:pt x="108" y="42"/>
                  </a:lnTo>
                  <a:lnTo>
                    <a:pt x="113" y="50"/>
                  </a:lnTo>
                  <a:lnTo>
                    <a:pt x="117" y="58"/>
                  </a:lnTo>
                  <a:lnTo>
                    <a:pt x="120" y="66"/>
                  </a:lnTo>
                  <a:lnTo>
                    <a:pt x="121" y="75"/>
                  </a:lnTo>
                  <a:lnTo>
                    <a:pt x="120" y="84"/>
                  </a:lnTo>
                  <a:lnTo>
                    <a:pt x="117" y="93"/>
                  </a:lnTo>
                  <a:lnTo>
                    <a:pt x="113" y="100"/>
                  </a:lnTo>
                  <a:lnTo>
                    <a:pt x="108" y="107"/>
                  </a:lnTo>
                  <a:lnTo>
                    <a:pt x="100" y="112"/>
                  </a:lnTo>
                  <a:lnTo>
                    <a:pt x="93" y="116"/>
                  </a:lnTo>
                  <a:lnTo>
                    <a:pt x="84" y="119"/>
                  </a:lnTo>
                  <a:lnTo>
                    <a:pt x="76" y="120"/>
                  </a:lnTo>
                  <a:close/>
                  <a:moveTo>
                    <a:pt x="76" y="0"/>
                  </a:moveTo>
                  <a:lnTo>
                    <a:pt x="68" y="0"/>
                  </a:lnTo>
                  <a:lnTo>
                    <a:pt x="61" y="2"/>
                  </a:lnTo>
                  <a:lnTo>
                    <a:pt x="53" y="3"/>
                  </a:lnTo>
                  <a:lnTo>
                    <a:pt x="47" y="6"/>
                  </a:lnTo>
                  <a:lnTo>
                    <a:pt x="40" y="9"/>
                  </a:lnTo>
                  <a:lnTo>
                    <a:pt x="34" y="12"/>
                  </a:lnTo>
                  <a:lnTo>
                    <a:pt x="27" y="17"/>
                  </a:lnTo>
                  <a:lnTo>
                    <a:pt x="22" y="22"/>
                  </a:lnTo>
                  <a:lnTo>
                    <a:pt x="18" y="27"/>
                  </a:lnTo>
                  <a:lnTo>
                    <a:pt x="13" y="33"/>
                  </a:lnTo>
                  <a:lnTo>
                    <a:pt x="9" y="39"/>
                  </a:lnTo>
                  <a:lnTo>
                    <a:pt x="6" y="46"/>
                  </a:lnTo>
                  <a:lnTo>
                    <a:pt x="4" y="52"/>
                  </a:lnTo>
                  <a:lnTo>
                    <a:pt x="2" y="60"/>
                  </a:lnTo>
                  <a:lnTo>
                    <a:pt x="0" y="67"/>
                  </a:lnTo>
                  <a:lnTo>
                    <a:pt x="0" y="75"/>
                  </a:lnTo>
                  <a:lnTo>
                    <a:pt x="0" y="82"/>
                  </a:lnTo>
                  <a:lnTo>
                    <a:pt x="2" y="90"/>
                  </a:lnTo>
                  <a:lnTo>
                    <a:pt x="4" y="97"/>
                  </a:lnTo>
                  <a:lnTo>
                    <a:pt x="6" y="104"/>
                  </a:lnTo>
                  <a:lnTo>
                    <a:pt x="9" y="111"/>
                  </a:lnTo>
                  <a:lnTo>
                    <a:pt x="13" y="116"/>
                  </a:lnTo>
                  <a:lnTo>
                    <a:pt x="18" y="123"/>
                  </a:lnTo>
                  <a:lnTo>
                    <a:pt x="22" y="128"/>
                  </a:lnTo>
                  <a:lnTo>
                    <a:pt x="27" y="133"/>
                  </a:lnTo>
                  <a:lnTo>
                    <a:pt x="34" y="137"/>
                  </a:lnTo>
                  <a:lnTo>
                    <a:pt x="40" y="141"/>
                  </a:lnTo>
                  <a:lnTo>
                    <a:pt x="47" y="144"/>
                  </a:lnTo>
                  <a:lnTo>
                    <a:pt x="53" y="147"/>
                  </a:lnTo>
                  <a:lnTo>
                    <a:pt x="61" y="149"/>
                  </a:lnTo>
                  <a:lnTo>
                    <a:pt x="68" y="150"/>
                  </a:lnTo>
                  <a:lnTo>
                    <a:pt x="76" y="150"/>
                  </a:lnTo>
                  <a:lnTo>
                    <a:pt x="83" y="150"/>
                  </a:lnTo>
                  <a:lnTo>
                    <a:pt x="91" y="149"/>
                  </a:lnTo>
                  <a:lnTo>
                    <a:pt x="98" y="147"/>
                  </a:lnTo>
                  <a:lnTo>
                    <a:pt x="104" y="144"/>
                  </a:lnTo>
                  <a:lnTo>
                    <a:pt x="111" y="141"/>
                  </a:lnTo>
                  <a:lnTo>
                    <a:pt x="117" y="137"/>
                  </a:lnTo>
                  <a:lnTo>
                    <a:pt x="124" y="133"/>
                  </a:lnTo>
                  <a:lnTo>
                    <a:pt x="129" y="128"/>
                  </a:lnTo>
                  <a:lnTo>
                    <a:pt x="133" y="123"/>
                  </a:lnTo>
                  <a:lnTo>
                    <a:pt x="138" y="116"/>
                  </a:lnTo>
                  <a:lnTo>
                    <a:pt x="142" y="111"/>
                  </a:lnTo>
                  <a:lnTo>
                    <a:pt x="145" y="104"/>
                  </a:lnTo>
                  <a:lnTo>
                    <a:pt x="147" y="97"/>
                  </a:lnTo>
                  <a:lnTo>
                    <a:pt x="150" y="90"/>
                  </a:lnTo>
                  <a:lnTo>
                    <a:pt x="151" y="82"/>
                  </a:lnTo>
                  <a:lnTo>
                    <a:pt x="151" y="75"/>
                  </a:lnTo>
                  <a:lnTo>
                    <a:pt x="151" y="67"/>
                  </a:lnTo>
                  <a:lnTo>
                    <a:pt x="150" y="60"/>
                  </a:lnTo>
                  <a:lnTo>
                    <a:pt x="147" y="52"/>
                  </a:lnTo>
                  <a:lnTo>
                    <a:pt x="145" y="46"/>
                  </a:lnTo>
                  <a:lnTo>
                    <a:pt x="142" y="39"/>
                  </a:lnTo>
                  <a:lnTo>
                    <a:pt x="138" y="33"/>
                  </a:lnTo>
                  <a:lnTo>
                    <a:pt x="133" y="27"/>
                  </a:lnTo>
                  <a:lnTo>
                    <a:pt x="129" y="22"/>
                  </a:lnTo>
                  <a:lnTo>
                    <a:pt x="124" y="17"/>
                  </a:lnTo>
                  <a:lnTo>
                    <a:pt x="117" y="12"/>
                  </a:lnTo>
                  <a:lnTo>
                    <a:pt x="111" y="9"/>
                  </a:lnTo>
                  <a:lnTo>
                    <a:pt x="104" y="6"/>
                  </a:lnTo>
                  <a:lnTo>
                    <a:pt x="98" y="3"/>
                  </a:lnTo>
                  <a:lnTo>
                    <a:pt x="91" y="2"/>
                  </a:lnTo>
                  <a:lnTo>
                    <a:pt x="83"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4" name="Freeform 48">
              <a:extLst>
                <a:ext uri="{FF2B5EF4-FFF2-40B4-BE49-F238E27FC236}">
                  <a16:creationId xmlns:a16="http://schemas.microsoft.com/office/drawing/2014/main" id="{5899FB09-1113-40AA-B1B5-CD78EFF43B9B}"/>
                </a:ext>
              </a:extLst>
            </p:cNvPr>
            <p:cNvSpPr>
              <a:spLocks noEditPoints="1"/>
            </p:cNvSpPr>
            <p:nvPr/>
          </p:nvSpPr>
          <p:spPr bwMode="auto">
            <a:xfrm>
              <a:off x="8764588" y="1590358"/>
              <a:ext cx="47625" cy="47625"/>
            </a:xfrm>
            <a:custGeom>
              <a:avLst/>
              <a:gdLst>
                <a:gd name="T0" fmla="*/ 67 w 151"/>
                <a:gd name="T1" fmla="*/ 119 h 150"/>
                <a:gd name="T2" fmla="*/ 51 w 151"/>
                <a:gd name="T3" fmla="*/ 112 h 150"/>
                <a:gd name="T4" fmla="*/ 39 w 151"/>
                <a:gd name="T5" fmla="*/ 100 h 150"/>
                <a:gd name="T6" fmla="*/ 31 w 151"/>
                <a:gd name="T7" fmla="*/ 84 h 150"/>
                <a:gd name="T8" fmla="*/ 31 w 151"/>
                <a:gd name="T9" fmla="*/ 66 h 150"/>
                <a:gd name="T10" fmla="*/ 39 w 151"/>
                <a:gd name="T11" fmla="*/ 50 h 150"/>
                <a:gd name="T12" fmla="*/ 51 w 151"/>
                <a:gd name="T13" fmla="*/ 37 h 150"/>
                <a:gd name="T14" fmla="*/ 67 w 151"/>
                <a:gd name="T15" fmla="*/ 31 h 150"/>
                <a:gd name="T16" fmla="*/ 85 w 151"/>
                <a:gd name="T17" fmla="*/ 31 h 150"/>
                <a:gd name="T18" fmla="*/ 101 w 151"/>
                <a:gd name="T19" fmla="*/ 37 h 150"/>
                <a:gd name="T20" fmla="*/ 113 w 151"/>
                <a:gd name="T21" fmla="*/ 50 h 150"/>
                <a:gd name="T22" fmla="*/ 120 w 151"/>
                <a:gd name="T23" fmla="*/ 66 h 150"/>
                <a:gd name="T24" fmla="*/ 120 w 151"/>
                <a:gd name="T25" fmla="*/ 84 h 150"/>
                <a:gd name="T26" fmla="*/ 113 w 151"/>
                <a:gd name="T27" fmla="*/ 100 h 150"/>
                <a:gd name="T28" fmla="*/ 101 w 151"/>
                <a:gd name="T29" fmla="*/ 112 h 150"/>
                <a:gd name="T30" fmla="*/ 85 w 151"/>
                <a:gd name="T31" fmla="*/ 119 h 150"/>
                <a:gd name="T32" fmla="*/ 75 w 151"/>
                <a:gd name="T33" fmla="*/ 0 h 150"/>
                <a:gd name="T34" fmla="*/ 60 w 151"/>
                <a:gd name="T35" fmla="*/ 2 h 150"/>
                <a:gd name="T36" fmla="*/ 46 w 151"/>
                <a:gd name="T37" fmla="*/ 6 h 150"/>
                <a:gd name="T38" fmla="*/ 33 w 151"/>
                <a:gd name="T39" fmla="*/ 12 h 150"/>
                <a:gd name="T40" fmla="*/ 23 w 151"/>
                <a:gd name="T41" fmla="*/ 22 h 150"/>
                <a:gd name="T42" fmla="*/ 13 w 151"/>
                <a:gd name="T43" fmla="*/ 33 h 150"/>
                <a:gd name="T44" fmla="*/ 7 w 151"/>
                <a:gd name="T45" fmla="*/ 46 h 150"/>
                <a:gd name="T46" fmla="*/ 2 w 151"/>
                <a:gd name="T47" fmla="*/ 60 h 150"/>
                <a:gd name="T48" fmla="*/ 0 w 151"/>
                <a:gd name="T49" fmla="*/ 75 h 150"/>
                <a:gd name="T50" fmla="*/ 2 w 151"/>
                <a:gd name="T51" fmla="*/ 90 h 150"/>
                <a:gd name="T52" fmla="*/ 7 w 151"/>
                <a:gd name="T53" fmla="*/ 104 h 150"/>
                <a:gd name="T54" fmla="*/ 13 w 151"/>
                <a:gd name="T55" fmla="*/ 116 h 150"/>
                <a:gd name="T56" fmla="*/ 23 w 151"/>
                <a:gd name="T57" fmla="*/ 128 h 150"/>
                <a:gd name="T58" fmla="*/ 33 w 151"/>
                <a:gd name="T59" fmla="*/ 137 h 150"/>
                <a:gd name="T60" fmla="*/ 46 w 151"/>
                <a:gd name="T61" fmla="*/ 144 h 150"/>
                <a:gd name="T62" fmla="*/ 60 w 151"/>
                <a:gd name="T63" fmla="*/ 149 h 150"/>
                <a:gd name="T64" fmla="*/ 75 w 151"/>
                <a:gd name="T65" fmla="*/ 150 h 150"/>
                <a:gd name="T66" fmla="*/ 91 w 151"/>
                <a:gd name="T67" fmla="*/ 149 h 150"/>
                <a:gd name="T68" fmla="*/ 105 w 151"/>
                <a:gd name="T69" fmla="*/ 144 h 150"/>
                <a:gd name="T70" fmla="*/ 118 w 151"/>
                <a:gd name="T71" fmla="*/ 137 h 150"/>
                <a:gd name="T72" fmla="*/ 129 w 151"/>
                <a:gd name="T73" fmla="*/ 128 h 150"/>
                <a:gd name="T74" fmla="*/ 138 w 151"/>
                <a:gd name="T75" fmla="*/ 116 h 150"/>
                <a:gd name="T76" fmla="*/ 145 w 151"/>
                <a:gd name="T77" fmla="*/ 104 h 150"/>
                <a:gd name="T78" fmla="*/ 149 w 151"/>
                <a:gd name="T79" fmla="*/ 90 h 150"/>
                <a:gd name="T80" fmla="*/ 151 w 151"/>
                <a:gd name="T81" fmla="*/ 75 h 150"/>
                <a:gd name="T82" fmla="*/ 149 w 151"/>
                <a:gd name="T83" fmla="*/ 60 h 150"/>
                <a:gd name="T84" fmla="*/ 145 w 151"/>
                <a:gd name="T85" fmla="*/ 46 h 150"/>
                <a:gd name="T86" fmla="*/ 138 w 151"/>
                <a:gd name="T87" fmla="*/ 33 h 150"/>
                <a:gd name="T88" fmla="*/ 129 w 151"/>
                <a:gd name="T89" fmla="*/ 22 h 150"/>
                <a:gd name="T90" fmla="*/ 118 w 151"/>
                <a:gd name="T91" fmla="*/ 12 h 150"/>
                <a:gd name="T92" fmla="*/ 105 w 151"/>
                <a:gd name="T93" fmla="*/ 6 h 150"/>
                <a:gd name="T94" fmla="*/ 91 w 151"/>
                <a:gd name="T95" fmla="*/ 2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7" y="119"/>
                  </a:lnTo>
                  <a:lnTo>
                    <a:pt x="58" y="116"/>
                  </a:lnTo>
                  <a:lnTo>
                    <a:pt x="51" y="112"/>
                  </a:lnTo>
                  <a:lnTo>
                    <a:pt x="44" y="107"/>
                  </a:lnTo>
                  <a:lnTo>
                    <a:pt x="39" y="100"/>
                  </a:lnTo>
                  <a:lnTo>
                    <a:pt x="34" y="93"/>
                  </a:lnTo>
                  <a:lnTo>
                    <a:pt x="31" y="84"/>
                  </a:lnTo>
                  <a:lnTo>
                    <a:pt x="30" y="75"/>
                  </a:lnTo>
                  <a:lnTo>
                    <a:pt x="31" y="66"/>
                  </a:lnTo>
                  <a:lnTo>
                    <a:pt x="34" y="58"/>
                  </a:lnTo>
                  <a:lnTo>
                    <a:pt x="39" y="50"/>
                  </a:lnTo>
                  <a:lnTo>
                    <a:pt x="44" y="42"/>
                  </a:lnTo>
                  <a:lnTo>
                    <a:pt x="51" y="37"/>
                  </a:lnTo>
                  <a:lnTo>
                    <a:pt x="58" y="33"/>
                  </a:lnTo>
                  <a:lnTo>
                    <a:pt x="67" y="31"/>
                  </a:lnTo>
                  <a:lnTo>
                    <a:pt x="75" y="30"/>
                  </a:lnTo>
                  <a:lnTo>
                    <a:pt x="85" y="31"/>
                  </a:lnTo>
                  <a:lnTo>
                    <a:pt x="93" y="33"/>
                  </a:lnTo>
                  <a:lnTo>
                    <a:pt x="101" y="37"/>
                  </a:lnTo>
                  <a:lnTo>
                    <a:pt x="107" y="42"/>
                  </a:lnTo>
                  <a:lnTo>
                    <a:pt x="113" y="50"/>
                  </a:lnTo>
                  <a:lnTo>
                    <a:pt x="117" y="58"/>
                  </a:lnTo>
                  <a:lnTo>
                    <a:pt x="120" y="66"/>
                  </a:lnTo>
                  <a:lnTo>
                    <a:pt x="120" y="75"/>
                  </a:lnTo>
                  <a:lnTo>
                    <a:pt x="120" y="84"/>
                  </a:lnTo>
                  <a:lnTo>
                    <a:pt x="117" y="93"/>
                  </a:lnTo>
                  <a:lnTo>
                    <a:pt x="113" y="100"/>
                  </a:lnTo>
                  <a:lnTo>
                    <a:pt x="107" y="107"/>
                  </a:lnTo>
                  <a:lnTo>
                    <a:pt x="101" y="112"/>
                  </a:lnTo>
                  <a:lnTo>
                    <a:pt x="93" y="116"/>
                  </a:lnTo>
                  <a:lnTo>
                    <a:pt x="85" y="119"/>
                  </a:lnTo>
                  <a:lnTo>
                    <a:pt x="75" y="120"/>
                  </a:lnTo>
                  <a:close/>
                  <a:moveTo>
                    <a:pt x="75" y="0"/>
                  </a:moveTo>
                  <a:lnTo>
                    <a:pt x="68" y="0"/>
                  </a:lnTo>
                  <a:lnTo>
                    <a:pt x="60" y="2"/>
                  </a:lnTo>
                  <a:lnTo>
                    <a:pt x="54" y="3"/>
                  </a:lnTo>
                  <a:lnTo>
                    <a:pt x="46" y="6"/>
                  </a:lnTo>
                  <a:lnTo>
                    <a:pt x="40" y="9"/>
                  </a:lnTo>
                  <a:lnTo>
                    <a:pt x="33" y="12"/>
                  </a:lnTo>
                  <a:lnTo>
                    <a:pt x="28" y="17"/>
                  </a:lnTo>
                  <a:lnTo>
                    <a:pt x="23" y="22"/>
                  </a:lnTo>
                  <a:lnTo>
                    <a:pt x="17" y="27"/>
                  </a:lnTo>
                  <a:lnTo>
                    <a:pt x="13" y="33"/>
                  </a:lnTo>
                  <a:lnTo>
                    <a:pt x="10" y="39"/>
                  </a:lnTo>
                  <a:lnTo>
                    <a:pt x="7" y="46"/>
                  </a:lnTo>
                  <a:lnTo>
                    <a:pt x="3" y="52"/>
                  </a:lnTo>
                  <a:lnTo>
                    <a:pt x="2" y="60"/>
                  </a:lnTo>
                  <a:lnTo>
                    <a:pt x="1" y="67"/>
                  </a:lnTo>
                  <a:lnTo>
                    <a:pt x="0" y="75"/>
                  </a:lnTo>
                  <a:lnTo>
                    <a:pt x="1" y="82"/>
                  </a:lnTo>
                  <a:lnTo>
                    <a:pt x="2" y="90"/>
                  </a:lnTo>
                  <a:lnTo>
                    <a:pt x="3" y="97"/>
                  </a:lnTo>
                  <a:lnTo>
                    <a:pt x="7" y="104"/>
                  </a:lnTo>
                  <a:lnTo>
                    <a:pt x="10" y="111"/>
                  </a:lnTo>
                  <a:lnTo>
                    <a:pt x="13" y="116"/>
                  </a:lnTo>
                  <a:lnTo>
                    <a:pt x="17" y="123"/>
                  </a:lnTo>
                  <a:lnTo>
                    <a:pt x="23" y="128"/>
                  </a:lnTo>
                  <a:lnTo>
                    <a:pt x="28" y="133"/>
                  </a:lnTo>
                  <a:lnTo>
                    <a:pt x="33" y="137"/>
                  </a:lnTo>
                  <a:lnTo>
                    <a:pt x="40" y="141"/>
                  </a:lnTo>
                  <a:lnTo>
                    <a:pt x="46" y="144"/>
                  </a:lnTo>
                  <a:lnTo>
                    <a:pt x="54" y="147"/>
                  </a:lnTo>
                  <a:lnTo>
                    <a:pt x="60" y="149"/>
                  </a:lnTo>
                  <a:lnTo>
                    <a:pt x="68" y="150"/>
                  </a:lnTo>
                  <a:lnTo>
                    <a:pt x="75" y="150"/>
                  </a:lnTo>
                  <a:lnTo>
                    <a:pt x="84" y="150"/>
                  </a:lnTo>
                  <a:lnTo>
                    <a:pt x="91" y="149"/>
                  </a:lnTo>
                  <a:lnTo>
                    <a:pt x="98" y="147"/>
                  </a:lnTo>
                  <a:lnTo>
                    <a:pt x="105" y="144"/>
                  </a:lnTo>
                  <a:lnTo>
                    <a:pt x="112" y="141"/>
                  </a:lnTo>
                  <a:lnTo>
                    <a:pt x="118" y="137"/>
                  </a:lnTo>
                  <a:lnTo>
                    <a:pt x="123" y="133"/>
                  </a:lnTo>
                  <a:lnTo>
                    <a:pt x="129" y="128"/>
                  </a:lnTo>
                  <a:lnTo>
                    <a:pt x="133" y="123"/>
                  </a:lnTo>
                  <a:lnTo>
                    <a:pt x="138" y="116"/>
                  </a:lnTo>
                  <a:lnTo>
                    <a:pt x="142" y="111"/>
                  </a:lnTo>
                  <a:lnTo>
                    <a:pt x="145" y="104"/>
                  </a:lnTo>
                  <a:lnTo>
                    <a:pt x="147" y="97"/>
                  </a:lnTo>
                  <a:lnTo>
                    <a:pt x="149" y="90"/>
                  </a:lnTo>
                  <a:lnTo>
                    <a:pt x="150" y="82"/>
                  </a:lnTo>
                  <a:lnTo>
                    <a:pt x="151" y="75"/>
                  </a:lnTo>
                  <a:lnTo>
                    <a:pt x="150" y="67"/>
                  </a:lnTo>
                  <a:lnTo>
                    <a:pt x="149" y="60"/>
                  </a:lnTo>
                  <a:lnTo>
                    <a:pt x="147" y="52"/>
                  </a:lnTo>
                  <a:lnTo>
                    <a:pt x="145" y="46"/>
                  </a:lnTo>
                  <a:lnTo>
                    <a:pt x="142" y="39"/>
                  </a:lnTo>
                  <a:lnTo>
                    <a:pt x="138" y="33"/>
                  </a:lnTo>
                  <a:lnTo>
                    <a:pt x="133" y="27"/>
                  </a:lnTo>
                  <a:lnTo>
                    <a:pt x="129" y="22"/>
                  </a:lnTo>
                  <a:lnTo>
                    <a:pt x="123" y="17"/>
                  </a:lnTo>
                  <a:lnTo>
                    <a:pt x="118" y="12"/>
                  </a:lnTo>
                  <a:lnTo>
                    <a:pt x="112" y="9"/>
                  </a:lnTo>
                  <a:lnTo>
                    <a:pt x="105" y="6"/>
                  </a:lnTo>
                  <a:lnTo>
                    <a:pt x="98" y="3"/>
                  </a:lnTo>
                  <a:lnTo>
                    <a:pt x="91" y="2"/>
                  </a:lnTo>
                  <a:lnTo>
                    <a:pt x="84"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5" name="Freeform 49">
              <a:extLst>
                <a:ext uri="{FF2B5EF4-FFF2-40B4-BE49-F238E27FC236}">
                  <a16:creationId xmlns:a16="http://schemas.microsoft.com/office/drawing/2014/main" id="{5CA02337-C357-4A5F-BD58-3963CE981C8E}"/>
                </a:ext>
              </a:extLst>
            </p:cNvPr>
            <p:cNvSpPr>
              <a:spLocks/>
            </p:cNvSpPr>
            <p:nvPr/>
          </p:nvSpPr>
          <p:spPr bwMode="auto">
            <a:xfrm>
              <a:off x="8736013" y="1390333"/>
              <a:ext cx="285750" cy="190500"/>
            </a:xfrm>
            <a:custGeom>
              <a:avLst/>
              <a:gdLst>
                <a:gd name="T0" fmla="*/ 887 w 902"/>
                <a:gd name="T1" fmla="*/ 0 h 602"/>
                <a:gd name="T2" fmla="*/ 830 w 902"/>
                <a:gd name="T3" fmla="*/ 0 h 602"/>
                <a:gd name="T4" fmla="*/ 825 w 902"/>
                <a:gd name="T5" fmla="*/ 1 h 602"/>
                <a:gd name="T6" fmla="*/ 820 w 902"/>
                <a:gd name="T7" fmla="*/ 4 h 602"/>
                <a:gd name="T8" fmla="*/ 817 w 902"/>
                <a:gd name="T9" fmla="*/ 9 h 602"/>
                <a:gd name="T10" fmla="*/ 815 w 902"/>
                <a:gd name="T11" fmla="*/ 14 h 602"/>
                <a:gd name="T12" fmla="*/ 741 w 902"/>
                <a:gd name="T13" fmla="*/ 572 h 602"/>
                <a:gd name="T14" fmla="*/ 15 w 902"/>
                <a:gd name="T15" fmla="*/ 572 h 602"/>
                <a:gd name="T16" fmla="*/ 12 w 902"/>
                <a:gd name="T17" fmla="*/ 572 h 602"/>
                <a:gd name="T18" fmla="*/ 10 w 902"/>
                <a:gd name="T19" fmla="*/ 573 h 602"/>
                <a:gd name="T20" fmla="*/ 6 w 902"/>
                <a:gd name="T21" fmla="*/ 574 h 602"/>
                <a:gd name="T22" fmla="*/ 4 w 902"/>
                <a:gd name="T23" fmla="*/ 576 h 602"/>
                <a:gd name="T24" fmla="*/ 3 w 902"/>
                <a:gd name="T25" fmla="*/ 578 h 602"/>
                <a:gd name="T26" fmla="*/ 1 w 902"/>
                <a:gd name="T27" fmla="*/ 581 h 602"/>
                <a:gd name="T28" fmla="*/ 0 w 902"/>
                <a:gd name="T29" fmla="*/ 583 h 602"/>
                <a:gd name="T30" fmla="*/ 0 w 902"/>
                <a:gd name="T31" fmla="*/ 587 h 602"/>
                <a:gd name="T32" fmla="*/ 0 w 902"/>
                <a:gd name="T33" fmla="*/ 590 h 602"/>
                <a:gd name="T34" fmla="*/ 1 w 902"/>
                <a:gd name="T35" fmla="*/ 593 h 602"/>
                <a:gd name="T36" fmla="*/ 3 w 902"/>
                <a:gd name="T37" fmla="*/ 595 h 602"/>
                <a:gd name="T38" fmla="*/ 4 w 902"/>
                <a:gd name="T39" fmla="*/ 597 h 602"/>
                <a:gd name="T40" fmla="*/ 6 w 902"/>
                <a:gd name="T41" fmla="*/ 599 h 602"/>
                <a:gd name="T42" fmla="*/ 10 w 902"/>
                <a:gd name="T43" fmla="*/ 600 h 602"/>
                <a:gd name="T44" fmla="*/ 12 w 902"/>
                <a:gd name="T45" fmla="*/ 602 h 602"/>
                <a:gd name="T46" fmla="*/ 15 w 902"/>
                <a:gd name="T47" fmla="*/ 602 h 602"/>
                <a:gd name="T48" fmla="*/ 755 w 902"/>
                <a:gd name="T49" fmla="*/ 602 h 602"/>
                <a:gd name="T50" fmla="*/ 760 w 902"/>
                <a:gd name="T51" fmla="*/ 600 h 602"/>
                <a:gd name="T52" fmla="*/ 765 w 902"/>
                <a:gd name="T53" fmla="*/ 598 h 602"/>
                <a:gd name="T54" fmla="*/ 768 w 902"/>
                <a:gd name="T55" fmla="*/ 594 h 602"/>
                <a:gd name="T56" fmla="*/ 769 w 902"/>
                <a:gd name="T57" fmla="*/ 589 h 602"/>
                <a:gd name="T58" fmla="*/ 844 w 902"/>
                <a:gd name="T59" fmla="*/ 30 h 602"/>
                <a:gd name="T60" fmla="*/ 887 w 902"/>
                <a:gd name="T61" fmla="*/ 30 h 602"/>
                <a:gd name="T62" fmla="*/ 890 w 902"/>
                <a:gd name="T63" fmla="*/ 30 h 602"/>
                <a:gd name="T64" fmla="*/ 893 w 902"/>
                <a:gd name="T65" fmla="*/ 29 h 602"/>
                <a:gd name="T66" fmla="*/ 895 w 902"/>
                <a:gd name="T67" fmla="*/ 28 h 602"/>
                <a:gd name="T68" fmla="*/ 897 w 902"/>
                <a:gd name="T69" fmla="*/ 26 h 602"/>
                <a:gd name="T70" fmla="*/ 900 w 902"/>
                <a:gd name="T71" fmla="*/ 24 h 602"/>
                <a:gd name="T72" fmla="*/ 901 w 902"/>
                <a:gd name="T73" fmla="*/ 21 h 602"/>
                <a:gd name="T74" fmla="*/ 902 w 902"/>
                <a:gd name="T75" fmla="*/ 18 h 602"/>
                <a:gd name="T76" fmla="*/ 902 w 902"/>
                <a:gd name="T77" fmla="*/ 15 h 602"/>
                <a:gd name="T78" fmla="*/ 902 w 902"/>
                <a:gd name="T79" fmla="*/ 13 h 602"/>
                <a:gd name="T80" fmla="*/ 901 w 902"/>
                <a:gd name="T81" fmla="*/ 10 h 602"/>
                <a:gd name="T82" fmla="*/ 900 w 902"/>
                <a:gd name="T83" fmla="*/ 7 h 602"/>
                <a:gd name="T84" fmla="*/ 897 w 902"/>
                <a:gd name="T85" fmla="*/ 4 h 602"/>
                <a:gd name="T86" fmla="*/ 895 w 902"/>
                <a:gd name="T87" fmla="*/ 3 h 602"/>
                <a:gd name="T88" fmla="*/ 893 w 902"/>
                <a:gd name="T89" fmla="*/ 1 h 602"/>
                <a:gd name="T90" fmla="*/ 890 w 902"/>
                <a:gd name="T91" fmla="*/ 1 h 602"/>
                <a:gd name="T92" fmla="*/ 887 w 902"/>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2">
                  <a:moveTo>
                    <a:pt x="887" y="0"/>
                  </a:moveTo>
                  <a:lnTo>
                    <a:pt x="830" y="0"/>
                  </a:lnTo>
                  <a:lnTo>
                    <a:pt x="825" y="1"/>
                  </a:lnTo>
                  <a:lnTo>
                    <a:pt x="820" y="4"/>
                  </a:lnTo>
                  <a:lnTo>
                    <a:pt x="817" y="9"/>
                  </a:lnTo>
                  <a:lnTo>
                    <a:pt x="815" y="14"/>
                  </a:lnTo>
                  <a:lnTo>
                    <a:pt x="741" y="572"/>
                  </a:lnTo>
                  <a:lnTo>
                    <a:pt x="15" y="572"/>
                  </a:lnTo>
                  <a:lnTo>
                    <a:pt x="12" y="572"/>
                  </a:lnTo>
                  <a:lnTo>
                    <a:pt x="10" y="573"/>
                  </a:lnTo>
                  <a:lnTo>
                    <a:pt x="6" y="574"/>
                  </a:lnTo>
                  <a:lnTo>
                    <a:pt x="4" y="576"/>
                  </a:lnTo>
                  <a:lnTo>
                    <a:pt x="3" y="578"/>
                  </a:lnTo>
                  <a:lnTo>
                    <a:pt x="1" y="581"/>
                  </a:lnTo>
                  <a:lnTo>
                    <a:pt x="0" y="583"/>
                  </a:lnTo>
                  <a:lnTo>
                    <a:pt x="0" y="587"/>
                  </a:lnTo>
                  <a:lnTo>
                    <a:pt x="0" y="590"/>
                  </a:lnTo>
                  <a:lnTo>
                    <a:pt x="1" y="593"/>
                  </a:lnTo>
                  <a:lnTo>
                    <a:pt x="3" y="595"/>
                  </a:lnTo>
                  <a:lnTo>
                    <a:pt x="4" y="597"/>
                  </a:lnTo>
                  <a:lnTo>
                    <a:pt x="6" y="599"/>
                  </a:lnTo>
                  <a:lnTo>
                    <a:pt x="10" y="600"/>
                  </a:lnTo>
                  <a:lnTo>
                    <a:pt x="12" y="602"/>
                  </a:lnTo>
                  <a:lnTo>
                    <a:pt x="15" y="602"/>
                  </a:lnTo>
                  <a:lnTo>
                    <a:pt x="755" y="602"/>
                  </a:lnTo>
                  <a:lnTo>
                    <a:pt x="760" y="600"/>
                  </a:lnTo>
                  <a:lnTo>
                    <a:pt x="765" y="598"/>
                  </a:lnTo>
                  <a:lnTo>
                    <a:pt x="768" y="594"/>
                  </a:lnTo>
                  <a:lnTo>
                    <a:pt x="769" y="589"/>
                  </a:lnTo>
                  <a:lnTo>
                    <a:pt x="844" y="30"/>
                  </a:lnTo>
                  <a:lnTo>
                    <a:pt x="887" y="30"/>
                  </a:lnTo>
                  <a:lnTo>
                    <a:pt x="890" y="30"/>
                  </a:lnTo>
                  <a:lnTo>
                    <a:pt x="893" y="29"/>
                  </a:lnTo>
                  <a:lnTo>
                    <a:pt x="895" y="28"/>
                  </a:lnTo>
                  <a:lnTo>
                    <a:pt x="897" y="26"/>
                  </a:lnTo>
                  <a:lnTo>
                    <a:pt x="900" y="24"/>
                  </a:lnTo>
                  <a:lnTo>
                    <a:pt x="901" y="21"/>
                  </a:lnTo>
                  <a:lnTo>
                    <a:pt x="902" y="18"/>
                  </a:lnTo>
                  <a:lnTo>
                    <a:pt x="902" y="15"/>
                  </a:lnTo>
                  <a:lnTo>
                    <a:pt x="902" y="13"/>
                  </a:lnTo>
                  <a:lnTo>
                    <a:pt x="901" y="10"/>
                  </a:lnTo>
                  <a:lnTo>
                    <a:pt x="900" y="7"/>
                  </a:lnTo>
                  <a:lnTo>
                    <a:pt x="897" y="4"/>
                  </a:lnTo>
                  <a:lnTo>
                    <a:pt x="895" y="3"/>
                  </a:lnTo>
                  <a:lnTo>
                    <a:pt x="893" y="1"/>
                  </a:lnTo>
                  <a:lnTo>
                    <a:pt x="890" y="1"/>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6" name="Freeform 50">
              <a:extLst>
                <a:ext uri="{FF2B5EF4-FFF2-40B4-BE49-F238E27FC236}">
                  <a16:creationId xmlns:a16="http://schemas.microsoft.com/office/drawing/2014/main" id="{EDCB1E8C-6FE7-42A9-9CF3-53264958673B}"/>
                </a:ext>
              </a:extLst>
            </p:cNvPr>
            <p:cNvSpPr>
              <a:spLocks noEditPoints="1"/>
            </p:cNvSpPr>
            <p:nvPr/>
          </p:nvSpPr>
          <p:spPr bwMode="auto">
            <a:xfrm>
              <a:off x="8755063" y="1390333"/>
              <a:ext cx="190500" cy="161925"/>
            </a:xfrm>
            <a:custGeom>
              <a:avLst/>
              <a:gdLst>
                <a:gd name="T0" fmla="*/ 34 w 602"/>
                <a:gd name="T1" fmla="*/ 177 h 510"/>
                <a:gd name="T2" fmla="*/ 50 w 602"/>
                <a:gd name="T3" fmla="*/ 158 h 510"/>
                <a:gd name="T4" fmla="*/ 75 w 602"/>
                <a:gd name="T5" fmla="*/ 150 h 510"/>
                <a:gd name="T6" fmla="*/ 544 w 602"/>
                <a:gd name="T7" fmla="*/ 153 h 510"/>
                <a:gd name="T8" fmla="*/ 564 w 602"/>
                <a:gd name="T9" fmla="*/ 169 h 510"/>
                <a:gd name="T10" fmla="*/ 572 w 602"/>
                <a:gd name="T11" fmla="*/ 195 h 510"/>
                <a:gd name="T12" fmla="*/ 568 w 602"/>
                <a:gd name="T13" fmla="*/ 453 h 510"/>
                <a:gd name="T14" fmla="*/ 551 w 602"/>
                <a:gd name="T15" fmla="*/ 473 h 510"/>
                <a:gd name="T16" fmla="*/ 527 w 602"/>
                <a:gd name="T17" fmla="*/ 480 h 510"/>
                <a:gd name="T18" fmla="*/ 58 w 602"/>
                <a:gd name="T19" fmla="*/ 477 h 510"/>
                <a:gd name="T20" fmla="*/ 39 w 602"/>
                <a:gd name="T21" fmla="*/ 460 h 510"/>
                <a:gd name="T22" fmla="*/ 30 w 602"/>
                <a:gd name="T23" fmla="*/ 435 h 510"/>
                <a:gd name="T24" fmla="*/ 211 w 602"/>
                <a:gd name="T25" fmla="*/ 54 h 510"/>
                <a:gd name="T26" fmla="*/ 220 w 602"/>
                <a:gd name="T27" fmla="*/ 39 h 510"/>
                <a:gd name="T28" fmla="*/ 235 w 602"/>
                <a:gd name="T29" fmla="*/ 31 h 510"/>
                <a:gd name="T30" fmla="*/ 367 w 602"/>
                <a:gd name="T31" fmla="*/ 30 h 510"/>
                <a:gd name="T32" fmla="*/ 383 w 602"/>
                <a:gd name="T33" fmla="*/ 39 h 510"/>
                <a:gd name="T34" fmla="*/ 390 w 602"/>
                <a:gd name="T35" fmla="*/ 54 h 510"/>
                <a:gd name="T36" fmla="*/ 211 w 602"/>
                <a:gd name="T37" fmla="*/ 120 h 510"/>
                <a:gd name="T38" fmla="*/ 527 w 602"/>
                <a:gd name="T39" fmla="*/ 510 h 510"/>
                <a:gd name="T40" fmla="*/ 549 w 602"/>
                <a:gd name="T41" fmla="*/ 507 h 510"/>
                <a:gd name="T42" fmla="*/ 568 w 602"/>
                <a:gd name="T43" fmla="*/ 498 h 510"/>
                <a:gd name="T44" fmla="*/ 584 w 602"/>
                <a:gd name="T45" fmla="*/ 483 h 510"/>
                <a:gd name="T46" fmla="*/ 596 w 602"/>
                <a:gd name="T47" fmla="*/ 464 h 510"/>
                <a:gd name="T48" fmla="*/ 602 w 602"/>
                <a:gd name="T49" fmla="*/ 443 h 510"/>
                <a:gd name="T50" fmla="*/ 602 w 602"/>
                <a:gd name="T51" fmla="*/ 187 h 510"/>
                <a:gd name="T52" fmla="*/ 596 w 602"/>
                <a:gd name="T53" fmla="*/ 165 h 510"/>
                <a:gd name="T54" fmla="*/ 584 w 602"/>
                <a:gd name="T55" fmla="*/ 147 h 510"/>
                <a:gd name="T56" fmla="*/ 568 w 602"/>
                <a:gd name="T57" fmla="*/ 132 h 510"/>
                <a:gd name="T58" fmla="*/ 549 w 602"/>
                <a:gd name="T59" fmla="*/ 123 h 510"/>
                <a:gd name="T60" fmla="*/ 527 w 602"/>
                <a:gd name="T61" fmla="*/ 120 h 510"/>
                <a:gd name="T62" fmla="*/ 421 w 602"/>
                <a:gd name="T63" fmla="*/ 54 h 510"/>
                <a:gd name="T64" fmla="*/ 416 w 602"/>
                <a:gd name="T65" fmla="*/ 37 h 510"/>
                <a:gd name="T66" fmla="*/ 408 w 602"/>
                <a:gd name="T67" fmla="*/ 21 h 510"/>
                <a:gd name="T68" fmla="*/ 395 w 602"/>
                <a:gd name="T69" fmla="*/ 11 h 510"/>
                <a:gd name="T70" fmla="*/ 379 w 602"/>
                <a:gd name="T71" fmla="*/ 2 h 510"/>
                <a:gd name="T72" fmla="*/ 361 w 602"/>
                <a:gd name="T73" fmla="*/ 0 h 510"/>
                <a:gd name="T74" fmla="*/ 228 w 602"/>
                <a:gd name="T75" fmla="*/ 1 h 510"/>
                <a:gd name="T76" fmla="*/ 212 w 602"/>
                <a:gd name="T77" fmla="*/ 8 h 510"/>
                <a:gd name="T78" fmla="*/ 198 w 602"/>
                <a:gd name="T79" fmla="*/ 17 h 510"/>
                <a:gd name="T80" fmla="*/ 188 w 602"/>
                <a:gd name="T81" fmla="*/ 31 h 510"/>
                <a:gd name="T82" fmla="*/ 182 w 602"/>
                <a:gd name="T83" fmla="*/ 48 h 510"/>
                <a:gd name="T84" fmla="*/ 181 w 602"/>
                <a:gd name="T85" fmla="*/ 120 h 510"/>
                <a:gd name="T86" fmla="*/ 60 w 602"/>
                <a:gd name="T87" fmla="*/ 121 h 510"/>
                <a:gd name="T88" fmla="*/ 40 w 602"/>
                <a:gd name="T89" fmla="*/ 129 h 510"/>
                <a:gd name="T90" fmla="*/ 23 w 602"/>
                <a:gd name="T91" fmla="*/ 142 h 510"/>
                <a:gd name="T92" fmla="*/ 10 w 602"/>
                <a:gd name="T93" fmla="*/ 159 h 510"/>
                <a:gd name="T94" fmla="*/ 2 w 602"/>
                <a:gd name="T95" fmla="*/ 179 h 510"/>
                <a:gd name="T96" fmla="*/ 0 w 602"/>
                <a:gd name="T97" fmla="*/ 435 h 510"/>
                <a:gd name="T98" fmla="*/ 3 w 602"/>
                <a:gd name="T99" fmla="*/ 458 h 510"/>
                <a:gd name="T100" fmla="*/ 13 w 602"/>
                <a:gd name="T101" fmla="*/ 477 h 510"/>
                <a:gd name="T102" fmla="*/ 28 w 602"/>
                <a:gd name="T103" fmla="*/ 493 h 510"/>
                <a:gd name="T104" fmla="*/ 46 w 602"/>
                <a:gd name="T105" fmla="*/ 504 h 510"/>
                <a:gd name="T106" fmla="*/ 68 w 602"/>
                <a:gd name="T107"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2" h="510">
                  <a:moveTo>
                    <a:pt x="30" y="195"/>
                  </a:moveTo>
                  <a:lnTo>
                    <a:pt x="31" y="186"/>
                  </a:lnTo>
                  <a:lnTo>
                    <a:pt x="34" y="177"/>
                  </a:lnTo>
                  <a:lnTo>
                    <a:pt x="39" y="169"/>
                  </a:lnTo>
                  <a:lnTo>
                    <a:pt x="44" y="163"/>
                  </a:lnTo>
                  <a:lnTo>
                    <a:pt x="50" y="158"/>
                  </a:lnTo>
                  <a:lnTo>
                    <a:pt x="58" y="153"/>
                  </a:lnTo>
                  <a:lnTo>
                    <a:pt x="67" y="150"/>
                  </a:lnTo>
                  <a:lnTo>
                    <a:pt x="75" y="150"/>
                  </a:lnTo>
                  <a:lnTo>
                    <a:pt x="527" y="150"/>
                  </a:lnTo>
                  <a:lnTo>
                    <a:pt x="535" y="150"/>
                  </a:lnTo>
                  <a:lnTo>
                    <a:pt x="544" y="153"/>
                  </a:lnTo>
                  <a:lnTo>
                    <a:pt x="551" y="158"/>
                  </a:lnTo>
                  <a:lnTo>
                    <a:pt x="559" y="163"/>
                  </a:lnTo>
                  <a:lnTo>
                    <a:pt x="564" y="169"/>
                  </a:lnTo>
                  <a:lnTo>
                    <a:pt x="568" y="177"/>
                  </a:lnTo>
                  <a:lnTo>
                    <a:pt x="570" y="186"/>
                  </a:lnTo>
                  <a:lnTo>
                    <a:pt x="572" y="195"/>
                  </a:lnTo>
                  <a:lnTo>
                    <a:pt x="572" y="435"/>
                  </a:lnTo>
                  <a:lnTo>
                    <a:pt x="570" y="444"/>
                  </a:lnTo>
                  <a:lnTo>
                    <a:pt x="568" y="453"/>
                  </a:lnTo>
                  <a:lnTo>
                    <a:pt x="564" y="460"/>
                  </a:lnTo>
                  <a:lnTo>
                    <a:pt x="559" y="468"/>
                  </a:lnTo>
                  <a:lnTo>
                    <a:pt x="551" y="473"/>
                  </a:lnTo>
                  <a:lnTo>
                    <a:pt x="544" y="477"/>
                  </a:lnTo>
                  <a:lnTo>
                    <a:pt x="535" y="479"/>
                  </a:lnTo>
                  <a:lnTo>
                    <a:pt x="527" y="480"/>
                  </a:lnTo>
                  <a:lnTo>
                    <a:pt x="75" y="480"/>
                  </a:lnTo>
                  <a:lnTo>
                    <a:pt x="67" y="479"/>
                  </a:lnTo>
                  <a:lnTo>
                    <a:pt x="58" y="477"/>
                  </a:lnTo>
                  <a:lnTo>
                    <a:pt x="50" y="473"/>
                  </a:lnTo>
                  <a:lnTo>
                    <a:pt x="44" y="468"/>
                  </a:lnTo>
                  <a:lnTo>
                    <a:pt x="39" y="460"/>
                  </a:lnTo>
                  <a:lnTo>
                    <a:pt x="34" y="453"/>
                  </a:lnTo>
                  <a:lnTo>
                    <a:pt x="31" y="444"/>
                  </a:lnTo>
                  <a:lnTo>
                    <a:pt x="30" y="435"/>
                  </a:lnTo>
                  <a:lnTo>
                    <a:pt x="30" y="195"/>
                  </a:lnTo>
                  <a:close/>
                  <a:moveTo>
                    <a:pt x="211" y="60"/>
                  </a:moveTo>
                  <a:lnTo>
                    <a:pt x="211" y="54"/>
                  </a:lnTo>
                  <a:lnTo>
                    <a:pt x="213" y="48"/>
                  </a:lnTo>
                  <a:lnTo>
                    <a:pt x="216" y="43"/>
                  </a:lnTo>
                  <a:lnTo>
                    <a:pt x="220" y="39"/>
                  </a:lnTo>
                  <a:lnTo>
                    <a:pt x="224" y="35"/>
                  </a:lnTo>
                  <a:lnTo>
                    <a:pt x="230" y="32"/>
                  </a:lnTo>
                  <a:lnTo>
                    <a:pt x="235" y="31"/>
                  </a:lnTo>
                  <a:lnTo>
                    <a:pt x="241" y="30"/>
                  </a:lnTo>
                  <a:lnTo>
                    <a:pt x="361" y="30"/>
                  </a:lnTo>
                  <a:lnTo>
                    <a:pt x="367" y="30"/>
                  </a:lnTo>
                  <a:lnTo>
                    <a:pt x="373" y="32"/>
                  </a:lnTo>
                  <a:lnTo>
                    <a:pt x="378" y="35"/>
                  </a:lnTo>
                  <a:lnTo>
                    <a:pt x="383" y="39"/>
                  </a:lnTo>
                  <a:lnTo>
                    <a:pt x="386" y="43"/>
                  </a:lnTo>
                  <a:lnTo>
                    <a:pt x="389" y="48"/>
                  </a:lnTo>
                  <a:lnTo>
                    <a:pt x="390" y="54"/>
                  </a:lnTo>
                  <a:lnTo>
                    <a:pt x="391" y="60"/>
                  </a:lnTo>
                  <a:lnTo>
                    <a:pt x="391" y="120"/>
                  </a:lnTo>
                  <a:lnTo>
                    <a:pt x="211" y="120"/>
                  </a:lnTo>
                  <a:lnTo>
                    <a:pt x="211" y="60"/>
                  </a:lnTo>
                  <a:close/>
                  <a:moveTo>
                    <a:pt x="75" y="510"/>
                  </a:moveTo>
                  <a:lnTo>
                    <a:pt x="527" y="510"/>
                  </a:lnTo>
                  <a:lnTo>
                    <a:pt x="534" y="510"/>
                  </a:lnTo>
                  <a:lnTo>
                    <a:pt x="542" y="509"/>
                  </a:lnTo>
                  <a:lnTo>
                    <a:pt x="549" y="507"/>
                  </a:lnTo>
                  <a:lnTo>
                    <a:pt x="555" y="504"/>
                  </a:lnTo>
                  <a:lnTo>
                    <a:pt x="562" y="501"/>
                  </a:lnTo>
                  <a:lnTo>
                    <a:pt x="568" y="498"/>
                  </a:lnTo>
                  <a:lnTo>
                    <a:pt x="575" y="493"/>
                  </a:lnTo>
                  <a:lnTo>
                    <a:pt x="579" y="488"/>
                  </a:lnTo>
                  <a:lnTo>
                    <a:pt x="584" y="483"/>
                  </a:lnTo>
                  <a:lnTo>
                    <a:pt x="589" y="477"/>
                  </a:lnTo>
                  <a:lnTo>
                    <a:pt x="593" y="471"/>
                  </a:lnTo>
                  <a:lnTo>
                    <a:pt x="596" y="464"/>
                  </a:lnTo>
                  <a:lnTo>
                    <a:pt x="598" y="458"/>
                  </a:lnTo>
                  <a:lnTo>
                    <a:pt x="601" y="450"/>
                  </a:lnTo>
                  <a:lnTo>
                    <a:pt x="602" y="443"/>
                  </a:lnTo>
                  <a:lnTo>
                    <a:pt x="602" y="435"/>
                  </a:lnTo>
                  <a:lnTo>
                    <a:pt x="602" y="195"/>
                  </a:lnTo>
                  <a:lnTo>
                    <a:pt x="602" y="187"/>
                  </a:lnTo>
                  <a:lnTo>
                    <a:pt x="601" y="179"/>
                  </a:lnTo>
                  <a:lnTo>
                    <a:pt x="598" y="173"/>
                  </a:lnTo>
                  <a:lnTo>
                    <a:pt x="596" y="165"/>
                  </a:lnTo>
                  <a:lnTo>
                    <a:pt x="593" y="159"/>
                  </a:lnTo>
                  <a:lnTo>
                    <a:pt x="589" y="152"/>
                  </a:lnTo>
                  <a:lnTo>
                    <a:pt x="584" y="147"/>
                  </a:lnTo>
                  <a:lnTo>
                    <a:pt x="579" y="142"/>
                  </a:lnTo>
                  <a:lnTo>
                    <a:pt x="575" y="136"/>
                  </a:lnTo>
                  <a:lnTo>
                    <a:pt x="568" y="132"/>
                  </a:lnTo>
                  <a:lnTo>
                    <a:pt x="562" y="129"/>
                  </a:lnTo>
                  <a:lnTo>
                    <a:pt x="555" y="126"/>
                  </a:lnTo>
                  <a:lnTo>
                    <a:pt x="549" y="123"/>
                  </a:lnTo>
                  <a:lnTo>
                    <a:pt x="542" y="121"/>
                  </a:lnTo>
                  <a:lnTo>
                    <a:pt x="534" y="120"/>
                  </a:lnTo>
                  <a:lnTo>
                    <a:pt x="527" y="120"/>
                  </a:lnTo>
                  <a:lnTo>
                    <a:pt x="421" y="120"/>
                  </a:lnTo>
                  <a:lnTo>
                    <a:pt x="421" y="60"/>
                  </a:lnTo>
                  <a:lnTo>
                    <a:pt x="421" y="54"/>
                  </a:lnTo>
                  <a:lnTo>
                    <a:pt x="420" y="48"/>
                  </a:lnTo>
                  <a:lnTo>
                    <a:pt x="418" y="42"/>
                  </a:lnTo>
                  <a:lnTo>
                    <a:pt x="416" y="37"/>
                  </a:lnTo>
                  <a:lnTo>
                    <a:pt x="414" y="31"/>
                  </a:lnTo>
                  <a:lnTo>
                    <a:pt x="411" y="27"/>
                  </a:lnTo>
                  <a:lnTo>
                    <a:pt x="408" y="21"/>
                  </a:lnTo>
                  <a:lnTo>
                    <a:pt x="403" y="17"/>
                  </a:lnTo>
                  <a:lnTo>
                    <a:pt x="399" y="14"/>
                  </a:lnTo>
                  <a:lnTo>
                    <a:pt x="395" y="11"/>
                  </a:lnTo>
                  <a:lnTo>
                    <a:pt x="389" y="8"/>
                  </a:lnTo>
                  <a:lnTo>
                    <a:pt x="385" y="4"/>
                  </a:lnTo>
                  <a:lnTo>
                    <a:pt x="379" y="2"/>
                  </a:lnTo>
                  <a:lnTo>
                    <a:pt x="373" y="1"/>
                  </a:lnTo>
                  <a:lnTo>
                    <a:pt x="367" y="0"/>
                  </a:lnTo>
                  <a:lnTo>
                    <a:pt x="361" y="0"/>
                  </a:lnTo>
                  <a:lnTo>
                    <a:pt x="241" y="0"/>
                  </a:lnTo>
                  <a:lnTo>
                    <a:pt x="235" y="0"/>
                  </a:lnTo>
                  <a:lnTo>
                    <a:pt x="228" y="1"/>
                  </a:lnTo>
                  <a:lnTo>
                    <a:pt x="223" y="2"/>
                  </a:lnTo>
                  <a:lnTo>
                    <a:pt x="218" y="4"/>
                  </a:lnTo>
                  <a:lnTo>
                    <a:pt x="212" y="8"/>
                  </a:lnTo>
                  <a:lnTo>
                    <a:pt x="207" y="11"/>
                  </a:lnTo>
                  <a:lnTo>
                    <a:pt x="203" y="14"/>
                  </a:lnTo>
                  <a:lnTo>
                    <a:pt x="198" y="17"/>
                  </a:lnTo>
                  <a:lnTo>
                    <a:pt x="194" y="21"/>
                  </a:lnTo>
                  <a:lnTo>
                    <a:pt x="191" y="27"/>
                  </a:lnTo>
                  <a:lnTo>
                    <a:pt x="188" y="31"/>
                  </a:lnTo>
                  <a:lnTo>
                    <a:pt x="186" y="37"/>
                  </a:lnTo>
                  <a:lnTo>
                    <a:pt x="183" y="42"/>
                  </a:lnTo>
                  <a:lnTo>
                    <a:pt x="182" y="48"/>
                  </a:lnTo>
                  <a:lnTo>
                    <a:pt x="181" y="54"/>
                  </a:lnTo>
                  <a:lnTo>
                    <a:pt x="181" y="60"/>
                  </a:lnTo>
                  <a:lnTo>
                    <a:pt x="181" y="120"/>
                  </a:lnTo>
                  <a:lnTo>
                    <a:pt x="75" y="120"/>
                  </a:lnTo>
                  <a:lnTo>
                    <a:pt x="68" y="120"/>
                  </a:lnTo>
                  <a:lnTo>
                    <a:pt x="60" y="121"/>
                  </a:lnTo>
                  <a:lnTo>
                    <a:pt x="54" y="123"/>
                  </a:lnTo>
                  <a:lnTo>
                    <a:pt x="46" y="126"/>
                  </a:lnTo>
                  <a:lnTo>
                    <a:pt x="40" y="129"/>
                  </a:lnTo>
                  <a:lnTo>
                    <a:pt x="33" y="132"/>
                  </a:lnTo>
                  <a:lnTo>
                    <a:pt x="28" y="137"/>
                  </a:lnTo>
                  <a:lnTo>
                    <a:pt x="23" y="142"/>
                  </a:lnTo>
                  <a:lnTo>
                    <a:pt x="17" y="147"/>
                  </a:lnTo>
                  <a:lnTo>
                    <a:pt x="13" y="152"/>
                  </a:lnTo>
                  <a:lnTo>
                    <a:pt x="10" y="159"/>
                  </a:lnTo>
                  <a:lnTo>
                    <a:pt x="7" y="165"/>
                  </a:lnTo>
                  <a:lnTo>
                    <a:pt x="3" y="173"/>
                  </a:lnTo>
                  <a:lnTo>
                    <a:pt x="2" y="179"/>
                  </a:lnTo>
                  <a:lnTo>
                    <a:pt x="1" y="187"/>
                  </a:lnTo>
                  <a:lnTo>
                    <a:pt x="0" y="195"/>
                  </a:lnTo>
                  <a:lnTo>
                    <a:pt x="0" y="435"/>
                  </a:lnTo>
                  <a:lnTo>
                    <a:pt x="1" y="443"/>
                  </a:lnTo>
                  <a:lnTo>
                    <a:pt x="2" y="450"/>
                  </a:lnTo>
                  <a:lnTo>
                    <a:pt x="3" y="458"/>
                  </a:lnTo>
                  <a:lnTo>
                    <a:pt x="7" y="464"/>
                  </a:lnTo>
                  <a:lnTo>
                    <a:pt x="10" y="471"/>
                  </a:lnTo>
                  <a:lnTo>
                    <a:pt x="13" y="477"/>
                  </a:lnTo>
                  <a:lnTo>
                    <a:pt x="17" y="483"/>
                  </a:lnTo>
                  <a:lnTo>
                    <a:pt x="23" y="488"/>
                  </a:lnTo>
                  <a:lnTo>
                    <a:pt x="28" y="493"/>
                  </a:lnTo>
                  <a:lnTo>
                    <a:pt x="33" y="498"/>
                  </a:lnTo>
                  <a:lnTo>
                    <a:pt x="40" y="501"/>
                  </a:lnTo>
                  <a:lnTo>
                    <a:pt x="46" y="504"/>
                  </a:lnTo>
                  <a:lnTo>
                    <a:pt x="54" y="507"/>
                  </a:lnTo>
                  <a:lnTo>
                    <a:pt x="60" y="509"/>
                  </a:lnTo>
                  <a:lnTo>
                    <a:pt x="68" y="510"/>
                  </a:lnTo>
                  <a:lnTo>
                    <a:pt x="75"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7" name="Freeform 51">
              <a:extLst>
                <a:ext uri="{FF2B5EF4-FFF2-40B4-BE49-F238E27FC236}">
                  <a16:creationId xmlns:a16="http://schemas.microsoft.com/office/drawing/2014/main" id="{0DBEFCC3-CD1A-417A-9C2F-EE1B3ABE5286}"/>
                </a:ext>
              </a:extLst>
            </p:cNvPr>
            <p:cNvSpPr>
              <a:spLocks/>
            </p:cNvSpPr>
            <p:nvPr/>
          </p:nvSpPr>
          <p:spPr bwMode="auto">
            <a:xfrm>
              <a:off x="8783638" y="1457008"/>
              <a:ext cx="133350" cy="9525"/>
            </a:xfrm>
            <a:custGeom>
              <a:avLst/>
              <a:gdLst>
                <a:gd name="T0" fmla="*/ 15 w 420"/>
                <a:gd name="T1" fmla="*/ 30 h 30"/>
                <a:gd name="T2" fmla="*/ 405 w 420"/>
                <a:gd name="T3" fmla="*/ 30 h 30"/>
                <a:gd name="T4" fmla="*/ 408 w 420"/>
                <a:gd name="T5" fmla="*/ 29 h 30"/>
                <a:gd name="T6" fmla="*/ 410 w 420"/>
                <a:gd name="T7" fmla="*/ 29 h 30"/>
                <a:gd name="T8" fmla="*/ 413 w 420"/>
                <a:gd name="T9" fmla="*/ 27 h 30"/>
                <a:gd name="T10" fmla="*/ 415 w 420"/>
                <a:gd name="T11" fmla="*/ 26 h 30"/>
                <a:gd name="T12" fmla="*/ 417 w 420"/>
                <a:gd name="T13" fmla="*/ 23 h 30"/>
                <a:gd name="T14" fmla="*/ 418 w 420"/>
                <a:gd name="T15" fmla="*/ 21 h 30"/>
                <a:gd name="T16" fmla="*/ 420 w 420"/>
                <a:gd name="T17" fmla="*/ 17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2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2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7 h 30"/>
                <a:gd name="T56" fmla="*/ 1 w 420"/>
                <a:gd name="T57" fmla="*/ 21 h 30"/>
                <a:gd name="T58" fmla="*/ 2 w 420"/>
                <a:gd name="T59" fmla="*/ 23 h 30"/>
                <a:gd name="T60" fmla="*/ 5 w 420"/>
                <a:gd name="T61" fmla="*/ 26 h 30"/>
                <a:gd name="T62" fmla="*/ 7 w 420"/>
                <a:gd name="T63" fmla="*/ 27 h 30"/>
                <a:gd name="T64" fmla="*/ 9 w 420"/>
                <a:gd name="T65" fmla="*/ 29 h 30"/>
                <a:gd name="T66" fmla="*/ 12 w 420"/>
                <a:gd name="T67" fmla="*/ 29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29"/>
                  </a:lnTo>
                  <a:lnTo>
                    <a:pt x="410" y="29"/>
                  </a:lnTo>
                  <a:lnTo>
                    <a:pt x="413" y="27"/>
                  </a:lnTo>
                  <a:lnTo>
                    <a:pt x="415" y="26"/>
                  </a:lnTo>
                  <a:lnTo>
                    <a:pt x="417" y="23"/>
                  </a:lnTo>
                  <a:lnTo>
                    <a:pt x="418" y="21"/>
                  </a:lnTo>
                  <a:lnTo>
                    <a:pt x="420" y="17"/>
                  </a:lnTo>
                  <a:lnTo>
                    <a:pt x="420" y="15"/>
                  </a:lnTo>
                  <a:lnTo>
                    <a:pt x="420" y="12"/>
                  </a:lnTo>
                  <a:lnTo>
                    <a:pt x="418" y="9"/>
                  </a:lnTo>
                  <a:lnTo>
                    <a:pt x="417" y="7"/>
                  </a:lnTo>
                  <a:lnTo>
                    <a:pt x="415" y="5"/>
                  </a:lnTo>
                  <a:lnTo>
                    <a:pt x="413" y="2"/>
                  </a:lnTo>
                  <a:lnTo>
                    <a:pt x="410" y="1"/>
                  </a:lnTo>
                  <a:lnTo>
                    <a:pt x="408" y="0"/>
                  </a:lnTo>
                  <a:lnTo>
                    <a:pt x="405" y="0"/>
                  </a:lnTo>
                  <a:lnTo>
                    <a:pt x="15" y="0"/>
                  </a:lnTo>
                  <a:lnTo>
                    <a:pt x="12" y="0"/>
                  </a:lnTo>
                  <a:lnTo>
                    <a:pt x="9" y="1"/>
                  </a:lnTo>
                  <a:lnTo>
                    <a:pt x="7" y="2"/>
                  </a:lnTo>
                  <a:lnTo>
                    <a:pt x="5" y="5"/>
                  </a:lnTo>
                  <a:lnTo>
                    <a:pt x="2" y="7"/>
                  </a:lnTo>
                  <a:lnTo>
                    <a:pt x="1" y="9"/>
                  </a:lnTo>
                  <a:lnTo>
                    <a:pt x="0" y="12"/>
                  </a:lnTo>
                  <a:lnTo>
                    <a:pt x="0" y="15"/>
                  </a:lnTo>
                  <a:lnTo>
                    <a:pt x="0" y="17"/>
                  </a:lnTo>
                  <a:lnTo>
                    <a:pt x="1" y="21"/>
                  </a:lnTo>
                  <a:lnTo>
                    <a:pt x="2" y="23"/>
                  </a:lnTo>
                  <a:lnTo>
                    <a:pt x="5" y="26"/>
                  </a:lnTo>
                  <a:lnTo>
                    <a:pt x="7"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8" name="Freeform 52">
              <a:extLst>
                <a:ext uri="{FF2B5EF4-FFF2-40B4-BE49-F238E27FC236}">
                  <a16:creationId xmlns:a16="http://schemas.microsoft.com/office/drawing/2014/main" id="{B48A76DC-95C0-4C90-82A8-3D242BBA682E}"/>
                </a:ext>
              </a:extLst>
            </p:cNvPr>
            <p:cNvSpPr>
              <a:spLocks/>
            </p:cNvSpPr>
            <p:nvPr/>
          </p:nvSpPr>
          <p:spPr bwMode="auto">
            <a:xfrm>
              <a:off x="8783638" y="1485583"/>
              <a:ext cx="133350" cy="9525"/>
            </a:xfrm>
            <a:custGeom>
              <a:avLst/>
              <a:gdLst>
                <a:gd name="T0" fmla="*/ 15 w 420"/>
                <a:gd name="T1" fmla="*/ 30 h 30"/>
                <a:gd name="T2" fmla="*/ 405 w 420"/>
                <a:gd name="T3" fmla="*/ 30 h 30"/>
                <a:gd name="T4" fmla="*/ 408 w 420"/>
                <a:gd name="T5" fmla="*/ 29 h 30"/>
                <a:gd name="T6" fmla="*/ 410 w 420"/>
                <a:gd name="T7" fmla="*/ 29 h 30"/>
                <a:gd name="T8" fmla="*/ 413 w 420"/>
                <a:gd name="T9" fmla="*/ 27 h 30"/>
                <a:gd name="T10" fmla="*/ 415 w 420"/>
                <a:gd name="T11" fmla="*/ 26 h 30"/>
                <a:gd name="T12" fmla="*/ 417 w 420"/>
                <a:gd name="T13" fmla="*/ 24 h 30"/>
                <a:gd name="T14" fmla="*/ 418 w 420"/>
                <a:gd name="T15" fmla="*/ 21 h 30"/>
                <a:gd name="T16" fmla="*/ 420 w 420"/>
                <a:gd name="T17" fmla="*/ 19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2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2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9 h 30"/>
                <a:gd name="T56" fmla="*/ 1 w 420"/>
                <a:gd name="T57" fmla="*/ 21 h 30"/>
                <a:gd name="T58" fmla="*/ 2 w 420"/>
                <a:gd name="T59" fmla="*/ 24 h 30"/>
                <a:gd name="T60" fmla="*/ 5 w 420"/>
                <a:gd name="T61" fmla="*/ 26 h 30"/>
                <a:gd name="T62" fmla="*/ 7 w 420"/>
                <a:gd name="T63" fmla="*/ 27 h 30"/>
                <a:gd name="T64" fmla="*/ 9 w 420"/>
                <a:gd name="T65" fmla="*/ 29 h 30"/>
                <a:gd name="T66" fmla="*/ 12 w 420"/>
                <a:gd name="T67" fmla="*/ 29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29"/>
                  </a:lnTo>
                  <a:lnTo>
                    <a:pt x="410" y="29"/>
                  </a:lnTo>
                  <a:lnTo>
                    <a:pt x="413" y="27"/>
                  </a:lnTo>
                  <a:lnTo>
                    <a:pt x="415" y="26"/>
                  </a:lnTo>
                  <a:lnTo>
                    <a:pt x="417" y="24"/>
                  </a:lnTo>
                  <a:lnTo>
                    <a:pt x="418" y="21"/>
                  </a:lnTo>
                  <a:lnTo>
                    <a:pt x="420" y="19"/>
                  </a:lnTo>
                  <a:lnTo>
                    <a:pt x="420" y="15"/>
                  </a:lnTo>
                  <a:lnTo>
                    <a:pt x="420" y="12"/>
                  </a:lnTo>
                  <a:lnTo>
                    <a:pt x="418" y="9"/>
                  </a:lnTo>
                  <a:lnTo>
                    <a:pt x="417" y="7"/>
                  </a:lnTo>
                  <a:lnTo>
                    <a:pt x="415" y="5"/>
                  </a:lnTo>
                  <a:lnTo>
                    <a:pt x="413" y="2"/>
                  </a:lnTo>
                  <a:lnTo>
                    <a:pt x="410" y="1"/>
                  </a:lnTo>
                  <a:lnTo>
                    <a:pt x="408" y="0"/>
                  </a:lnTo>
                  <a:lnTo>
                    <a:pt x="405" y="0"/>
                  </a:lnTo>
                  <a:lnTo>
                    <a:pt x="15" y="0"/>
                  </a:lnTo>
                  <a:lnTo>
                    <a:pt x="12" y="0"/>
                  </a:lnTo>
                  <a:lnTo>
                    <a:pt x="9" y="1"/>
                  </a:lnTo>
                  <a:lnTo>
                    <a:pt x="7" y="2"/>
                  </a:lnTo>
                  <a:lnTo>
                    <a:pt x="5" y="5"/>
                  </a:lnTo>
                  <a:lnTo>
                    <a:pt x="2" y="7"/>
                  </a:lnTo>
                  <a:lnTo>
                    <a:pt x="1" y="9"/>
                  </a:lnTo>
                  <a:lnTo>
                    <a:pt x="0" y="12"/>
                  </a:lnTo>
                  <a:lnTo>
                    <a:pt x="0" y="15"/>
                  </a:lnTo>
                  <a:lnTo>
                    <a:pt x="0" y="19"/>
                  </a:lnTo>
                  <a:lnTo>
                    <a:pt x="1" y="21"/>
                  </a:lnTo>
                  <a:lnTo>
                    <a:pt x="2" y="24"/>
                  </a:lnTo>
                  <a:lnTo>
                    <a:pt x="5" y="26"/>
                  </a:lnTo>
                  <a:lnTo>
                    <a:pt x="7"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9" name="Freeform 53">
              <a:extLst>
                <a:ext uri="{FF2B5EF4-FFF2-40B4-BE49-F238E27FC236}">
                  <a16:creationId xmlns:a16="http://schemas.microsoft.com/office/drawing/2014/main" id="{BEEC7E02-1245-4F58-8B46-82E24938B6EA}"/>
                </a:ext>
              </a:extLst>
            </p:cNvPr>
            <p:cNvSpPr>
              <a:spLocks/>
            </p:cNvSpPr>
            <p:nvPr/>
          </p:nvSpPr>
          <p:spPr bwMode="auto">
            <a:xfrm>
              <a:off x="8783638" y="1514158"/>
              <a:ext cx="133350" cy="9525"/>
            </a:xfrm>
            <a:custGeom>
              <a:avLst/>
              <a:gdLst>
                <a:gd name="T0" fmla="*/ 15 w 420"/>
                <a:gd name="T1" fmla="*/ 30 h 30"/>
                <a:gd name="T2" fmla="*/ 405 w 420"/>
                <a:gd name="T3" fmla="*/ 30 h 30"/>
                <a:gd name="T4" fmla="*/ 408 w 420"/>
                <a:gd name="T5" fmla="*/ 30 h 30"/>
                <a:gd name="T6" fmla="*/ 410 w 420"/>
                <a:gd name="T7" fmla="*/ 29 h 30"/>
                <a:gd name="T8" fmla="*/ 413 w 420"/>
                <a:gd name="T9" fmla="*/ 27 h 30"/>
                <a:gd name="T10" fmla="*/ 415 w 420"/>
                <a:gd name="T11" fmla="*/ 26 h 30"/>
                <a:gd name="T12" fmla="*/ 417 w 420"/>
                <a:gd name="T13" fmla="*/ 24 h 30"/>
                <a:gd name="T14" fmla="*/ 418 w 420"/>
                <a:gd name="T15" fmla="*/ 21 h 30"/>
                <a:gd name="T16" fmla="*/ 420 w 420"/>
                <a:gd name="T17" fmla="*/ 19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3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3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9 h 30"/>
                <a:gd name="T56" fmla="*/ 1 w 420"/>
                <a:gd name="T57" fmla="*/ 21 h 30"/>
                <a:gd name="T58" fmla="*/ 2 w 420"/>
                <a:gd name="T59" fmla="*/ 24 h 30"/>
                <a:gd name="T60" fmla="*/ 5 w 420"/>
                <a:gd name="T61" fmla="*/ 26 h 30"/>
                <a:gd name="T62" fmla="*/ 7 w 420"/>
                <a:gd name="T63" fmla="*/ 27 h 30"/>
                <a:gd name="T64" fmla="*/ 9 w 420"/>
                <a:gd name="T65" fmla="*/ 29 h 30"/>
                <a:gd name="T66" fmla="*/ 12 w 420"/>
                <a:gd name="T67" fmla="*/ 30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30"/>
                  </a:lnTo>
                  <a:lnTo>
                    <a:pt x="410" y="29"/>
                  </a:lnTo>
                  <a:lnTo>
                    <a:pt x="413" y="27"/>
                  </a:lnTo>
                  <a:lnTo>
                    <a:pt x="415" y="26"/>
                  </a:lnTo>
                  <a:lnTo>
                    <a:pt x="417" y="24"/>
                  </a:lnTo>
                  <a:lnTo>
                    <a:pt x="418" y="21"/>
                  </a:lnTo>
                  <a:lnTo>
                    <a:pt x="420" y="19"/>
                  </a:lnTo>
                  <a:lnTo>
                    <a:pt x="420" y="15"/>
                  </a:lnTo>
                  <a:lnTo>
                    <a:pt x="420" y="12"/>
                  </a:lnTo>
                  <a:lnTo>
                    <a:pt x="418" y="9"/>
                  </a:lnTo>
                  <a:lnTo>
                    <a:pt x="417" y="7"/>
                  </a:lnTo>
                  <a:lnTo>
                    <a:pt x="415" y="5"/>
                  </a:lnTo>
                  <a:lnTo>
                    <a:pt x="413" y="3"/>
                  </a:lnTo>
                  <a:lnTo>
                    <a:pt x="410" y="1"/>
                  </a:lnTo>
                  <a:lnTo>
                    <a:pt x="408" y="0"/>
                  </a:lnTo>
                  <a:lnTo>
                    <a:pt x="405" y="0"/>
                  </a:lnTo>
                  <a:lnTo>
                    <a:pt x="15" y="0"/>
                  </a:lnTo>
                  <a:lnTo>
                    <a:pt x="12" y="0"/>
                  </a:lnTo>
                  <a:lnTo>
                    <a:pt x="9" y="1"/>
                  </a:lnTo>
                  <a:lnTo>
                    <a:pt x="7" y="3"/>
                  </a:lnTo>
                  <a:lnTo>
                    <a:pt x="5" y="5"/>
                  </a:lnTo>
                  <a:lnTo>
                    <a:pt x="2" y="7"/>
                  </a:lnTo>
                  <a:lnTo>
                    <a:pt x="1" y="9"/>
                  </a:lnTo>
                  <a:lnTo>
                    <a:pt x="0" y="12"/>
                  </a:lnTo>
                  <a:lnTo>
                    <a:pt x="0" y="15"/>
                  </a:lnTo>
                  <a:lnTo>
                    <a:pt x="0" y="19"/>
                  </a:lnTo>
                  <a:lnTo>
                    <a:pt x="1" y="21"/>
                  </a:lnTo>
                  <a:lnTo>
                    <a:pt x="2" y="24"/>
                  </a:lnTo>
                  <a:lnTo>
                    <a:pt x="5" y="26"/>
                  </a:lnTo>
                  <a:lnTo>
                    <a:pt x="7" y="27"/>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50" name="Group 25">
            <a:extLst>
              <a:ext uri="{FF2B5EF4-FFF2-40B4-BE49-F238E27FC236}">
                <a16:creationId xmlns:a16="http://schemas.microsoft.com/office/drawing/2014/main" id="{E33F46E6-28CA-44C4-BC26-7CE3C8BCCC3D}"/>
              </a:ext>
            </a:extLst>
          </p:cNvPr>
          <p:cNvGrpSpPr>
            <a:grpSpLocks noChangeAspect="1"/>
          </p:cNvGrpSpPr>
          <p:nvPr/>
        </p:nvGrpSpPr>
        <p:grpSpPr>
          <a:xfrm>
            <a:off x="4007759" y="4340505"/>
            <a:ext cx="359006" cy="285619"/>
            <a:chOff x="9880600" y="1409383"/>
            <a:chExt cx="287338" cy="228600"/>
          </a:xfrm>
          <a:solidFill>
            <a:schemeClr val="bg2"/>
          </a:solidFill>
          <a:effectLst/>
        </p:grpSpPr>
        <p:sp>
          <p:nvSpPr>
            <p:cNvPr id="1651" name="Freeform 26">
              <a:extLst>
                <a:ext uri="{FF2B5EF4-FFF2-40B4-BE49-F238E27FC236}">
                  <a16:creationId xmlns:a16="http://schemas.microsoft.com/office/drawing/2014/main" id="{00AAA931-462E-4C83-B31D-4A3C21BD77AB}"/>
                </a:ext>
              </a:extLst>
            </p:cNvPr>
            <p:cNvSpPr>
              <a:spLocks/>
            </p:cNvSpPr>
            <p:nvPr/>
          </p:nvSpPr>
          <p:spPr bwMode="auto">
            <a:xfrm>
              <a:off x="9880600" y="1471295"/>
              <a:ext cx="287338" cy="166688"/>
            </a:xfrm>
            <a:custGeom>
              <a:avLst/>
              <a:gdLst>
                <a:gd name="T0" fmla="*/ 720 w 902"/>
                <a:gd name="T1" fmla="*/ 12 h 526"/>
                <a:gd name="T2" fmla="*/ 717 w 902"/>
                <a:gd name="T3" fmla="*/ 5 h 526"/>
                <a:gd name="T4" fmla="*/ 710 w 902"/>
                <a:gd name="T5" fmla="*/ 0 h 526"/>
                <a:gd name="T6" fmla="*/ 700 w 902"/>
                <a:gd name="T7" fmla="*/ 1 h 526"/>
                <a:gd name="T8" fmla="*/ 694 w 902"/>
                <a:gd name="T9" fmla="*/ 7 h 526"/>
                <a:gd name="T10" fmla="*/ 692 w 902"/>
                <a:gd name="T11" fmla="*/ 15 h 526"/>
                <a:gd name="T12" fmla="*/ 722 w 902"/>
                <a:gd name="T13" fmla="*/ 105 h 526"/>
                <a:gd name="T14" fmla="*/ 767 w 902"/>
                <a:gd name="T15" fmla="*/ 117 h 526"/>
                <a:gd name="T16" fmla="*/ 807 w 902"/>
                <a:gd name="T17" fmla="*/ 142 h 526"/>
                <a:gd name="T18" fmla="*/ 841 w 902"/>
                <a:gd name="T19" fmla="*/ 180 h 526"/>
                <a:gd name="T20" fmla="*/ 863 w 902"/>
                <a:gd name="T21" fmla="*/ 234 h 526"/>
                <a:gd name="T22" fmla="*/ 872 w 902"/>
                <a:gd name="T23" fmla="*/ 303 h 526"/>
                <a:gd name="T24" fmla="*/ 863 w 902"/>
                <a:gd name="T25" fmla="*/ 360 h 526"/>
                <a:gd name="T26" fmla="*/ 838 w 902"/>
                <a:gd name="T27" fmla="*/ 411 h 526"/>
                <a:gd name="T28" fmla="*/ 801 w 902"/>
                <a:gd name="T29" fmla="*/ 452 h 526"/>
                <a:gd name="T30" fmla="*/ 753 w 902"/>
                <a:gd name="T31" fmla="*/ 481 h 526"/>
                <a:gd name="T32" fmla="*/ 696 w 902"/>
                <a:gd name="T33" fmla="*/ 495 h 526"/>
                <a:gd name="T34" fmla="*/ 206 w 902"/>
                <a:gd name="T35" fmla="*/ 495 h 526"/>
                <a:gd name="T36" fmla="*/ 149 w 902"/>
                <a:gd name="T37" fmla="*/ 481 h 526"/>
                <a:gd name="T38" fmla="*/ 101 w 902"/>
                <a:gd name="T39" fmla="*/ 452 h 526"/>
                <a:gd name="T40" fmla="*/ 63 w 902"/>
                <a:gd name="T41" fmla="*/ 411 h 526"/>
                <a:gd name="T42" fmla="*/ 39 w 902"/>
                <a:gd name="T43" fmla="*/ 360 h 526"/>
                <a:gd name="T44" fmla="*/ 30 w 902"/>
                <a:gd name="T45" fmla="*/ 303 h 526"/>
                <a:gd name="T46" fmla="*/ 39 w 902"/>
                <a:gd name="T47" fmla="*/ 234 h 526"/>
                <a:gd name="T48" fmla="*/ 60 w 902"/>
                <a:gd name="T49" fmla="*/ 180 h 526"/>
                <a:gd name="T50" fmla="*/ 93 w 902"/>
                <a:gd name="T51" fmla="*/ 142 h 526"/>
                <a:gd name="T52" fmla="*/ 135 w 902"/>
                <a:gd name="T53" fmla="*/ 117 h 526"/>
                <a:gd name="T54" fmla="*/ 180 w 902"/>
                <a:gd name="T55" fmla="*/ 105 h 526"/>
                <a:gd name="T56" fmla="*/ 210 w 902"/>
                <a:gd name="T57" fmla="*/ 15 h 526"/>
                <a:gd name="T58" fmla="*/ 208 w 902"/>
                <a:gd name="T59" fmla="*/ 7 h 526"/>
                <a:gd name="T60" fmla="*/ 202 w 902"/>
                <a:gd name="T61" fmla="*/ 1 h 526"/>
                <a:gd name="T62" fmla="*/ 192 w 902"/>
                <a:gd name="T63" fmla="*/ 0 h 526"/>
                <a:gd name="T64" fmla="*/ 184 w 902"/>
                <a:gd name="T65" fmla="*/ 5 h 526"/>
                <a:gd name="T66" fmla="*/ 180 w 902"/>
                <a:gd name="T67" fmla="*/ 12 h 526"/>
                <a:gd name="T68" fmla="*/ 161 w 902"/>
                <a:gd name="T69" fmla="*/ 77 h 526"/>
                <a:gd name="T70" fmla="*/ 107 w 902"/>
                <a:gd name="T71" fmla="*/ 97 h 526"/>
                <a:gd name="T72" fmla="*/ 62 w 902"/>
                <a:gd name="T73" fmla="*/ 130 h 526"/>
                <a:gd name="T74" fmla="*/ 29 w 902"/>
                <a:gd name="T75" fmla="*/ 176 h 526"/>
                <a:gd name="T76" fmla="*/ 7 w 902"/>
                <a:gd name="T77" fmla="*/ 235 h 526"/>
                <a:gd name="T78" fmla="*/ 0 w 902"/>
                <a:gd name="T79" fmla="*/ 303 h 526"/>
                <a:gd name="T80" fmla="*/ 2 w 902"/>
                <a:gd name="T81" fmla="*/ 337 h 526"/>
                <a:gd name="T82" fmla="*/ 10 w 902"/>
                <a:gd name="T83" fmla="*/ 369 h 526"/>
                <a:gd name="T84" fmla="*/ 27 w 902"/>
                <a:gd name="T85" fmla="*/ 409 h 526"/>
                <a:gd name="T86" fmla="*/ 66 w 902"/>
                <a:gd name="T87" fmla="*/ 460 h 526"/>
                <a:gd name="T88" fmla="*/ 118 w 902"/>
                <a:gd name="T89" fmla="*/ 499 h 526"/>
                <a:gd name="T90" fmla="*/ 159 w 902"/>
                <a:gd name="T91" fmla="*/ 516 h 526"/>
                <a:gd name="T92" fmla="*/ 191 w 902"/>
                <a:gd name="T93" fmla="*/ 524 h 526"/>
                <a:gd name="T94" fmla="*/ 225 w 902"/>
                <a:gd name="T95" fmla="*/ 526 h 526"/>
                <a:gd name="T96" fmla="*/ 699 w 902"/>
                <a:gd name="T97" fmla="*/ 525 h 526"/>
                <a:gd name="T98" fmla="*/ 732 w 902"/>
                <a:gd name="T99" fmla="*/ 519 h 526"/>
                <a:gd name="T100" fmla="*/ 763 w 902"/>
                <a:gd name="T101" fmla="*/ 509 h 526"/>
                <a:gd name="T102" fmla="*/ 819 w 902"/>
                <a:gd name="T103" fmla="*/ 475 h 526"/>
                <a:gd name="T104" fmla="*/ 863 w 902"/>
                <a:gd name="T105" fmla="*/ 427 h 526"/>
                <a:gd name="T106" fmla="*/ 888 w 902"/>
                <a:gd name="T107" fmla="*/ 379 h 526"/>
                <a:gd name="T108" fmla="*/ 897 w 902"/>
                <a:gd name="T109" fmla="*/ 348 h 526"/>
                <a:gd name="T110" fmla="*/ 902 w 902"/>
                <a:gd name="T111" fmla="*/ 314 h 526"/>
                <a:gd name="T112" fmla="*/ 898 w 902"/>
                <a:gd name="T113" fmla="*/ 257 h 526"/>
                <a:gd name="T114" fmla="*/ 881 w 902"/>
                <a:gd name="T115" fmla="*/ 194 h 526"/>
                <a:gd name="T116" fmla="*/ 851 w 902"/>
                <a:gd name="T117" fmla="*/ 144 h 526"/>
                <a:gd name="T118" fmla="*/ 811 w 902"/>
                <a:gd name="T119" fmla="*/ 105 h 526"/>
                <a:gd name="T120" fmla="*/ 760 w 902"/>
                <a:gd name="T121" fmla="*/ 8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526">
                  <a:moveTo>
                    <a:pt x="722" y="75"/>
                  </a:moveTo>
                  <a:lnTo>
                    <a:pt x="722" y="15"/>
                  </a:lnTo>
                  <a:lnTo>
                    <a:pt x="720" y="12"/>
                  </a:lnTo>
                  <a:lnTo>
                    <a:pt x="720" y="9"/>
                  </a:lnTo>
                  <a:lnTo>
                    <a:pt x="718" y="7"/>
                  </a:lnTo>
                  <a:lnTo>
                    <a:pt x="717" y="5"/>
                  </a:lnTo>
                  <a:lnTo>
                    <a:pt x="715" y="2"/>
                  </a:lnTo>
                  <a:lnTo>
                    <a:pt x="712" y="1"/>
                  </a:lnTo>
                  <a:lnTo>
                    <a:pt x="710" y="0"/>
                  </a:lnTo>
                  <a:lnTo>
                    <a:pt x="707" y="0"/>
                  </a:lnTo>
                  <a:lnTo>
                    <a:pt x="703" y="0"/>
                  </a:lnTo>
                  <a:lnTo>
                    <a:pt x="700" y="1"/>
                  </a:lnTo>
                  <a:lnTo>
                    <a:pt x="698" y="2"/>
                  </a:lnTo>
                  <a:lnTo>
                    <a:pt x="696" y="5"/>
                  </a:lnTo>
                  <a:lnTo>
                    <a:pt x="694" y="7"/>
                  </a:lnTo>
                  <a:lnTo>
                    <a:pt x="693" y="9"/>
                  </a:lnTo>
                  <a:lnTo>
                    <a:pt x="692" y="12"/>
                  </a:lnTo>
                  <a:lnTo>
                    <a:pt x="692" y="15"/>
                  </a:lnTo>
                  <a:lnTo>
                    <a:pt x="692" y="105"/>
                  </a:lnTo>
                  <a:lnTo>
                    <a:pt x="707" y="105"/>
                  </a:lnTo>
                  <a:lnTo>
                    <a:pt x="722" y="105"/>
                  </a:lnTo>
                  <a:lnTo>
                    <a:pt x="737" y="108"/>
                  </a:lnTo>
                  <a:lnTo>
                    <a:pt x="752" y="112"/>
                  </a:lnTo>
                  <a:lnTo>
                    <a:pt x="767" y="117"/>
                  </a:lnTo>
                  <a:lnTo>
                    <a:pt x="782" y="124"/>
                  </a:lnTo>
                  <a:lnTo>
                    <a:pt x="794" y="132"/>
                  </a:lnTo>
                  <a:lnTo>
                    <a:pt x="807" y="142"/>
                  </a:lnTo>
                  <a:lnTo>
                    <a:pt x="820" y="153"/>
                  </a:lnTo>
                  <a:lnTo>
                    <a:pt x="831" y="165"/>
                  </a:lnTo>
                  <a:lnTo>
                    <a:pt x="841" y="180"/>
                  </a:lnTo>
                  <a:lnTo>
                    <a:pt x="850" y="197"/>
                  </a:lnTo>
                  <a:lnTo>
                    <a:pt x="858" y="214"/>
                  </a:lnTo>
                  <a:lnTo>
                    <a:pt x="863" y="234"/>
                  </a:lnTo>
                  <a:lnTo>
                    <a:pt x="867" y="254"/>
                  </a:lnTo>
                  <a:lnTo>
                    <a:pt x="871" y="278"/>
                  </a:lnTo>
                  <a:lnTo>
                    <a:pt x="872" y="303"/>
                  </a:lnTo>
                  <a:lnTo>
                    <a:pt x="871" y="322"/>
                  </a:lnTo>
                  <a:lnTo>
                    <a:pt x="867" y="341"/>
                  </a:lnTo>
                  <a:lnTo>
                    <a:pt x="863" y="360"/>
                  </a:lnTo>
                  <a:lnTo>
                    <a:pt x="857" y="378"/>
                  </a:lnTo>
                  <a:lnTo>
                    <a:pt x="848" y="395"/>
                  </a:lnTo>
                  <a:lnTo>
                    <a:pt x="838" y="411"/>
                  </a:lnTo>
                  <a:lnTo>
                    <a:pt x="827" y="426"/>
                  </a:lnTo>
                  <a:lnTo>
                    <a:pt x="815" y="439"/>
                  </a:lnTo>
                  <a:lnTo>
                    <a:pt x="801" y="452"/>
                  </a:lnTo>
                  <a:lnTo>
                    <a:pt x="786" y="462"/>
                  </a:lnTo>
                  <a:lnTo>
                    <a:pt x="770" y="472"/>
                  </a:lnTo>
                  <a:lnTo>
                    <a:pt x="753" y="481"/>
                  </a:lnTo>
                  <a:lnTo>
                    <a:pt x="734" y="487"/>
                  </a:lnTo>
                  <a:lnTo>
                    <a:pt x="715" y="492"/>
                  </a:lnTo>
                  <a:lnTo>
                    <a:pt x="696" y="495"/>
                  </a:lnTo>
                  <a:lnTo>
                    <a:pt x="677" y="496"/>
                  </a:lnTo>
                  <a:lnTo>
                    <a:pt x="225" y="496"/>
                  </a:lnTo>
                  <a:lnTo>
                    <a:pt x="206" y="495"/>
                  </a:lnTo>
                  <a:lnTo>
                    <a:pt x="185" y="492"/>
                  </a:lnTo>
                  <a:lnTo>
                    <a:pt x="167" y="487"/>
                  </a:lnTo>
                  <a:lnTo>
                    <a:pt x="149" y="481"/>
                  </a:lnTo>
                  <a:lnTo>
                    <a:pt x="132" y="472"/>
                  </a:lnTo>
                  <a:lnTo>
                    <a:pt x="116" y="462"/>
                  </a:lnTo>
                  <a:lnTo>
                    <a:pt x="101" y="452"/>
                  </a:lnTo>
                  <a:lnTo>
                    <a:pt x="87" y="439"/>
                  </a:lnTo>
                  <a:lnTo>
                    <a:pt x="75" y="426"/>
                  </a:lnTo>
                  <a:lnTo>
                    <a:pt x="63" y="411"/>
                  </a:lnTo>
                  <a:lnTo>
                    <a:pt x="54" y="395"/>
                  </a:lnTo>
                  <a:lnTo>
                    <a:pt x="45" y="378"/>
                  </a:lnTo>
                  <a:lnTo>
                    <a:pt x="39" y="360"/>
                  </a:lnTo>
                  <a:lnTo>
                    <a:pt x="34" y="341"/>
                  </a:lnTo>
                  <a:lnTo>
                    <a:pt x="31" y="322"/>
                  </a:lnTo>
                  <a:lnTo>
                    <a:pt x="30" y="303"/>
                  </a:lnTo>
                  <a:lnTo>
                    <a:pt x="31" y="278"/>
                  </a:lnTo>
                  <a:lnTo>
                    <a:pt x="33" y="254"/>
                  </a:lnTo>
                  <a:lnTo>
                    <a:pt x="39" y="234"/>
                  </a:lnTo>
                  <a:lnTo>
                    <a:pt x="44" y="214"/>
                  </a:lnTo>
                  <a:lnTo>
                    <a:pt x="51" y="197"/>
                  </a:lnTo>
                  <a:lnTo>
                    <a:pt x="60" y="180"/>
                  </a:lnTo>
                  <a:lnTo>
                    <a:pt x="71" y="165"/>
                  </a:lnTo>
                  <a:lnTo>
                    <a:pt x="81" y="153"/>
                  </a:lnTo>
                  <a:lnTo>
                    <a:pt x="93" y="142"/>
                  </a:lnTo>
                  <a:lnTo>
                    <a:pt x="107" y="132"/>
                  </a:lnTo>
                  <a:lnTo>
                    <a:pt x="120" y="124"/>
                  </a:lnTo>
                  <a:lnTo>
                    <a:pt x="135" y="117"/>
                  </a:lnTo>
                  <a:lnTo>
                    <a:pt x="149" y="112"/>
                  </a:lnTo>
                  <a:lnTo>
                    <a:pt x="164" y="109"/>
                  </a:lnTo>
                  <a:lnTo>
                    <a:pt x="180" y="105"/>
                  </a:lnTo>
                  <a:lnTo>
                    <a:pt x="195" y="105"/>
                  </a:lnTo>
                  <a:lnTo>
                    <a:pt x="210" y="105"/>
                  </a:lnTo>
                  <a:lnTo>
                    <a:pt x="210" y="15"/>
                  </a:lnTo>
                  <a:lnTo>
                    <a:pt x="210" y="12"/>
                  </a:lnTo>
                  <a:lnTo>
                    <a:pt x="209" y="9"/>
                  </a:lnTo>
                  <a:lnTo>
                    <a:pt x="208" y="7"/>
                  </a:lnTo>
                  <a:lnTo>
                    <a:pt x="206" y="5"/>
                  </a:lnTo>
                  <a:lnTo>
                    <a:pt x="204" y="2"/>
                  </a:lnTo>
                  <a:lnTo>
                    <a:pt x="202" y="1"/>
                  </a:lnTo>
                  <a:lnTo>
                    <a:pt x="198" y="0"/>
                  </a:lnTo>
                  <a:lnTo>
                    <a:pt x="195" y="0"/>
                  </a:lnTo>
                  <a:lnTo>
                    <a:pt x="192" y="0"/>
                  </a:lnTo>
                  <a:lnTo>
                    <a:pt x="190" y="1"/>
                  </a:lnTo>
                  <a:lnTo>
                    <a:pt x="187" y="2"/>
                  </a:lnTo>
                  <a:lnTo>
                    <a:pt x="184" y="5"/>
                  </a:lnTo>
                  <a:lnTo>
                    <a:pt x="182" y="7"/>
                  </a:lnTo>
                  <a:lnTo>
                    <a:pt x="181" y="9"/>
                  </a:lnTo>
                  <a:lnTo>
                    <a:pt x="180" y="12"/>
                  </a:lnTo>
                  <a:lnTo>
                    <a:pt x="180" y="15"/>
                  </a:lnTo>
                  <a:lnTo>
                    <a:pt x="180" y="75"/>
                  </a:lnTo>
                  <a:lnTo>
                    <a:pt x="161" y="77"/>
                  </a:lnTo>
                  <a:lnTo>
                    <a:pt x="141" y="82"/>
                  </a:lnTo>
                  <a:lnTo>
                    <a:pt x="124" y="88"/>
                  </a:lnTo>
                  <a:lnTo>
                    <a:pt x="107" y="97"/>
                  </a:lnTo>
                  <a:lnTo>
                    <a:pt x="91" y="105"/>
                  </a:lnTo>
                  <a:lnTo>
                    <a:pt x="76" y="117"/>
                  </a:lnTo>
                  <a:lnTo>
                    <a:pt x="62" y="130"/>
                  </a:lnTo>
                  <a:lnTo>
                    <a:pt x="50" y="144"/>
                  </a:lnTo>
                  <a:lnTo>
                    <a:pt x="39" y="160"/>
                  </a:lnTo>
                  <a:lnTo>
                    <a:pt x="29" y="176"/>
                  </a:lnTo>
                  <a:lnTo>
                    <a:pt x="20" y="194"/>
                  </a:lnTo>
                  <a:lnTo>
                    <a:pt x="13" y="214"/>
                  </a:lnTo>
                  <a:lnTo>
                    <a:pt x="7" y="235"/>
                  </a:lnTo>
                  <a:lnTo>
                    <a:pt x="3" y="257"/>
                  </a:lnTo>
                  <a:lnTo>
                    <a:pt x="1" y="279"/>
                  </a:lnTo>
                  <a:lnTo>
                    <a:pt x="0" y="303"/>
                  </a:lnTo>
                  <a:lnTo>
                    <a:pt x="0" y="314"/>
                  </a:lnTo>
                  <a:lnTo>
                    <a:pt x="1" y="325"/>
                  </a:lnTo>
                  <a:lnTo>
                    <a:pt x="2" y="337"/>
                  </a:lnTo>
                  <a:lnTo>
                    <a:pt x="4" y="348"/>
                  </a:lnTo>
                  <a:lnTo>
                    <a:pt x="6" y="358"/>
                  </a:lnTo>
                  <a:lnTo>
                    <a:pt x="10" y="369"/>
                  </a:lnTo>
                  <a:lnTo>
                    <a:pt x="14" y="379"/>
                  </a:lnTo>
                  <a:lnTo>
                    <a:pt x="17" y="390"/>
                  </a:lnTo>
                  <a:lnTo>
                    <a:pt x="27" y="409"/>
                  </a:lnTo>
                  <a:lnTo>
                    <a:pt x="39" y="427"/>
                  </a:lnTo>
                  <a:lnTo>
                    <a:pt x="51" y="444"/>
                  </a:lnTo>
                  <a:lnTo>
                    <a:pt x="66" y="460"/>
                  </a:lnTo>
                  <a:lnTo>
                    <a:pt x="81" y="475"/>
                  </a:lnTo>
                  <a:lnTo>
                    <a:pt x="100" y="488"/>
                  </a:lnTo>
                  <a:lnTo>
                    <a:pt x="118" y="499"/>
                  </a:lnTo>
                  <a:lnTo>
                    <a:pt x="137" y="509"/>
                  </a:lnTo>
                  <a:lnTo>
                    <a:pt x="148" y="513"/>
                  </a:lnTo>
                  <a:lnTo>
                    <a:pt x="159" y="516"/>
                  </a:lnTo>
                  <a:lnTo>
                    <a:pt x="169" y="519"/>
                  </a:lnTo>
                  <a:lnTo>
                    <a:pt x="180" y="521"/>
                  </a:lnTo>
                  <a:lnTo>
                    <a:pt x="191" y="524"/>
                  </a:lnTo>
                  <a:lnTo>
                    <a:pt x="203" y="525"/>
                  </a:lnTo>
                  <a:lnTo>
                    <a:pt x="213" y="526"/>
                  </a:lnTo>
                  <a:lnTo>
                    <a:pt x="225" y="526"/>
                  </a:lnTo>
                  <a:lnTo>
                    <a:pt x="677" y="526"/>
                  </a:lnTo>
                  <a:lnTo>
                    <a:pt x="688" y="526"/>
                  </a:lnTo>
                  <a:lnTo>
                    <a:pt x="699" y="525"/>
                  </a:lnTo>
                  <a:lnTo>
                    <a:pt x="711" y="524"/>
                  </a:lnTo>
                  <a:lnTo>
                    <a:pt x="722" y="521"/>
                  </a:lnTo>
                  <a:lnTo>
                    <a:pt x="732" y="519"/>
                  </a:lnTo>
                  <a:lnTo>
                    <a:pt x="743" y="516"/>
                  </a:lnTo>
                  <a:lnTo>
                    <a:pt x="754" y="513"/>
                  </a:lnTo>
                  <a:lnTo>
                    <a:pt x="763" y="509"/>
                  </a:lnTo>
                  <a:lnTo>
                    <a:pt x="784" y="499"/>
                  </a:lnTo>
                  <a:lnTo>
                    <a:pt x="802" y="488"/>
                  </a:lnTo>
                  <a:lnTo>
                    <a:pt x="819" y="475"/>
                  </a:lnTo>
                  <a:lnTo>
                    <a:pt x="835" y="460"/>
                  </a:lnTo>
                  <a:lnTo>
                    <a:pt x="850" y="444"/>
                  </a:lnTo>
                  <a:lnTo>
                    <a:pt x="863" y="427"/>
                  </a:lnTo>
                  <a:lnTo>
                    <a:pt x="875" y="409"/>
                  </a:lnTo>
                  <a:lnTo>
                    <a:pt x="883" y="390"/>
                  </a:lnTo>
                  <a:lnTo>
                    <a:pt x="888" y="379"/>
                  </a:lnTo>
                  <a:lnTo>
                    <a:pt x="892" y="369"/>
                  </a:lnTo>
                  <a:lnTo>
                    <a:pt x="894" y="358"/>
                  </a:lnTo>
                  <a:lnTo>
                    <a:pt x="897" y="348"/>
                  </a:lnTo>
                  <a:lnTo>
                    <a:pt x="900" y="337"/>
                  </a:lnTo>
                  <a:lnTo>
                    <a:pt x="901" y="325"/>
                  </a:lnTo>
                  <a:lnTo>
                    <a:pt x="902" y="314"/>
                  </a:lnTo>
                  <a:lnTo>
                    <a:pt x="902" y="303"/>
                  </a:lnTo>
                  <a:lnTo>
                    <a:pt x="901" y="279"/>
                  </a:lnTo>
                  <a:lnTo>
                    <a:pt x="898" y="257"/>
                  </a:lnTo>
                  <a:lnTo>
                    <a:pt x="894" y="235"/>
                  </a:lnTo>
                  <a:lnTo>
                    <a:pt x="889" y="214"/>
                  </a:lnTo>
                  <a:lnTo>
                    <a:pt x="881" y="194"/>
                  </a:lnTo>
                  <a:lnTo>
                    <a:pt x="873" y="176"/>
                  </a:lnTo>
                  <a:lnTo>
                    <a:pt x="863" y="160"/>
                  </a:lnTo>
                  <a:lnTo>
                    <a:pt x="851" y="144"/>
                  </a:lnTo>
                  <a:lnTo>
                    <a:pt x="839" y="130"/>
                  </a:lnTo>
                  <a:lnTo>
                    <a:pt x="826" y="117"/>
                  </a:lnTo>
                  <a:lnTo>
                    <a:pt x="811" y="105"/>
                  </a:lnTo>
                  <a:lnTo>
                    <a:pt x="794" y="97"/>
                  </a:lnTo>
                  <a:lnTo>
                    <a:pt x="777" y="88"/>
                  </a:lnTo>
                  <a:lnTo>
                    <a:pt x="760" y="82"/>
                  </a:lnTo>
                  <a:lnTo>
                    <a:pt x="741" y="77"/>
                  </a:lnTo>
                  <a:lnTo>
                    <a:pt x="7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2" name="Freeform 27">
              <a:extLst>
                <a:ext uri="{FF2B5EF4-FFF2-40B4-BE49-F238E27FC236}">
                  <a16:creationId xmlns:a16="http://schemas.microsoft.com/office/drawing/2014/main" id="{B4BB474B-7CD9-48E9-A434-5E474A3C894E}"/>
                </a:ext>
              </a:extLst>
            </p:cNvPr>
            <p:cNvSpPr>
              <a:spLocks noEditPoints="1"/>
            </p:cNvSpPr>
            <p:nvPr/>
          </p:nvSpPr>
          <p:spPr bwMode="auto">
            <a:xfrm>
              <a:off x="9918700" y="1409383"/>
              <a:ext cx="211138" cy="73025"/>
            </a:xfrm>
            <a:custGeom>
              <a:avLst/>
              <a:gdLst>
                <a:gd name="T0" fmla="*/ 203 w 662"/>
                <a:gd name="T1" fmla="*/ 50 h 231"/>
                <a:gd name="T2" fmla="*/ 232 w 662"/>
                <a:gd name="T3" fmla="*/ 31 h 231"/>
                <a:gd name="T4" fmla="*/ 266 w 662"/>
                <a:gd name="T5" fmla="*/ 39 h 231"/>
                <a:gd name="T6" fmla="*/ 285 w 662"/>
                <a:gd name="T7" fmla="*/ 67 h 231"/>
                <a:gd name="T8" fmla="*/ 278 w 662"/>
                <a:gd name="T9" fmla="*/ 101 h 231"/>
                <a:gd name="T10" fmla="*/ 250 w 662"/>
                <a:gd name="T11" fmla="*/ 120 h 231"/>
                <a:gd name="T12" fmla="*/ 216 w 662"/>
                <a:gd name="T13" fmla="*/ 113 h 231"/>
                <a:gd name="T14" fmla="*/ 196 w 662"/>
                <a:gd name="T15" fmla="*/ 85 h 231"/>
                <a:gd name="T16" fmla="*/ 365 w 662"/>
                <a:gd name="T17" fmla="*/ 58 h 231"/>
                <a:gd name="T18" fmla="*/ 389 w 662"/>
                <a:gd name="T19" fmla="*/ 34 h 231"/>
                <a:gd name="T20" fmla="*/ 424 w 662"/>
                <a:gd name="T21" fmla="*/ 34 h 231"/>
                <a:gd name="T22" fmla="*/ 448 w 662"/>
                <a:gd name="T23" fmla="*/ 58 h 231"/>
                <a:gd name="T24" fmla="*/ 448 w 662"/>
                <a:gd name="T25" fmla="*/ 93 h 231"/>
                <a:gd name="T26" fmla="*/ 424 w 662"/>
                <a:gd name="T27" fmla="*/ 117 h 231"/>
                <a:gd name="T28" fmla="*/ 389 w 662"/>
                <a:gd name="T29" fmla="*/ 117 h 231"/>
                <a:gd name="T30" fmla="*/ 365 w 662"/>
                <a:gd name="T31" fmla="*/ 93 h 231"/>
                <a:gd name="T32" fmla="*/ 18 w 662"/>
                <a:gd name="T33" fmla="*/ 231 h 231"/>
                <a:gd name="T34" fmla="*/ 28 w 662"/>
                <a:gd name="T35" fmla="*/ 224 h 231"/>
                <a:gd name="T36" fmla="*/ 30 w 662"/>
                <a:gd name="T37" fmla="*/ 181 h 231"/>
                <a:gd name="T38" fmla="*/ 39 w 662"/>
                <a:gd name="T39" fmla="*/ 163 h 231"/>
                <a:gd name="T40" fmla="*/ 75 w 662"/>
                <a:gd name="T41" fmla="*/ 151 h 231"/>
                <a:gd name="T42" fmla="*/ 617 w 662"/>
                <a:gd name="T43" fmla="*/ 159 h 231"/>
                <a:gd name="T44" fmla="*/ 630 w 662"/>
                <a:gd name="T45" fmla="*/ 178 h 231"/>
                <a:gd name="T46" fmla="*/ 633 w 662"/>
                <a:gd name="T47" fmla="*/ 217 h 231"/>
                <a:gd name="T48" fmla="*/ 640 w 662"/>
                <a:gd name="T49" fmla="*/ 225 h 231"/>
                <a:gd name="T50" fmla="*/ 652 w 662"/>
                <a:gd name="T51" fmla="*/ 225 h 231"/>
                <a:gd name="T52" fmla="*/ 661 w 662"/>
                <a:gd name="T53" fmla="*/ 217 h 231"/>
                <a:gd name="T54" fmla="*/ 661 w 662"/>
                <a:gd name="T55" fmla="*/ 172 h 231"/>
                <a:gd name="T56" fmla="*/ 648 w 662"/>
                <a:gd name="T57" fmla="*/ 146 h 231"/>
                <a:gd name="T58" fmla="*/ 626 w 662"/>
                <a:gd name="T59" fmla="*/ 130 h 231"/>
                <a:gd name="T60" fmla="*/ 596 w 662"/>
                <a:gd name="T61" fmla="*/ 121 h 231"/>
                <a:gd name="T62" fmla="*/ 477 w 662"/>
                <a:gd name="T63" fmla="*/ 100 h 231"/>
                <a:gd name="T64" fmla="*/ 480 w 662"/>
                <a:gd name="T65" fmla="*/ 60 h 231"/>
                <a:gd name="T66" fmla="*/ 469 w 662"/>
                <a:gd name="T67" fmla="*/ 33 h 231"/>
                <a:gd name="T68" fmla="*/ 448 w 662"/>
                <a:gd name="T69" fmla="*/ 13 h 231"/>
                <a:gd name="T70" fmla="*/ 421 w 662"/>
                <a:gd name="T71" fmla="*/ 2 h 231"/>
                <a:gd name="T72" fmla="*/ 391 w 662"/>
                <a:gd name="T73" fmla="*/ 2 h 231"/>
                <a:gd name="T74" fmla="*/ 365 w 662"/>
                <a:gd name="T75" fmla="*/ 13 h 231"/>
                <a:gd name="T76" fmla="*/ 344 w 662"/>
                <a:gd name="T77" fmla="*/ 33 h 231"/>
                <a:gd name="T78" fmla="*/ 332 w 662"/>
                <a:gd name="T79" fmla="*/ 60 h 231"/>
                <a:gd name="T80" fmla="*/ 336 w 662"/>
                <a:gd name="T81" fmla="*/ 100 h 231"/>
                <a:gd name="T82" fmla="*/ 307 w 662"/>
                <a:gd name="T83" fmla="*/ 110 h 231"/>
                <a:gd name="T84" fmla="*/ 315 w 662"/>
                <a:gd name="T85" fmla="*/ 68 h 231"/>
                <a:gd name="T86" fmla="*/ 307 w 662"/>
                <a:gd name="T87" fmla="*/ 40 h 231"/>
                <a:gd name="T88" fmla="*/ 288 w 662"/>
                <a:gd name="T89" fmla="*/ 17 h 231"/>
                <a:gd name="T90" fmla="*/ 263 w 662"/>
                <a:gd name="T91" fmla="*/ 4 h 231"/>
                <a:gd name="T92" fmla="*/ 233 w 662"/>
                <a:gd name="T93" fmla="*/ 1 h 231"/>
                <a:gd name="T94" fmla="*/ 205 w 662"/>
                <a:gd name="T95" fmla="*/ 10 h 231"/>
                <a:gd name="T96" fmla="*/ 182 w 662"/>
                <a:gd name="T97" fmla="*/ 28 h 231"/>
                <a:gd name="T98" fmla="*/ 168 w 662"/>
                <a:gd name="T99" fmla="*/ 54 h 231"/>
                <a:gd name="T100" fmla="*/ 166 w 662"/>
                <a:gd name="T101" fmla="*/ 88 h 231"/>
                <a:gd name="T102" fmla="*/ 75 w 662"/>
                <a:gd name="T103" fmla="*/ 121 h 231"/>
                <a:gd name="T104" fmla="*/ 42 w 662"/>
                <a:gd name="T105" fmla="*/ 127 h 231"/>
                <a:gd name="T106" fmla="*/ 18 w 662"/>
                <a:gd name="T107" fmla="*/ 142 h 231"/>
                <a:gd name="T108" fmla="*/ 4 w 662"/>
                <a:gd name="T109" fmla="*/ 161 h 231"/>
                <a:gd name="T110" fmla="*/ 0 w 662"/>
                <a:gd name="T111" fmla="*/ 219 h 231"/>
                <a:gd name="T112" fmla="*/ 6 w 662"/>
                <a:gd name="T113" fmla="*/ 2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2" h="231">
                  <a:moveTo>
                    <a:pt x="195" y="76"/>
                  </a:moveTo>
                  <a:lnTo>
                    <a:pt x="196" y="67"/>
                  </a:lnTo>
                  <a:lnTo>
                    <a:pt x="199" y="58"/>
                  </a:lnTo>
                  <a:lnTo>
                    <a:pt x="203" y="50"/>
                  </a:lnTo>
                  <a:lnTo>
                    <a:pt x="209" y="44"/>
                  </a:lnTo>
                  <a:lnTo>
                    <a:pt x="216" y="39"/>
                  </a:lnTo>
                  <a:lnTo>
                    <a:pt x="223" y="34"/>
                  </a:lnTo>
                  <a:lnTo>
                    <a:pt x="232" y="31"/>
                  </a:lnTo>
                  <a:lnTo>
                    <a:pt x="240" y="30"/>
                  </a:lnTo>
                  <a:lnTo>
                    <a:pt x="250" y="31"/>
                  </a:lnTo>
                  <a:lnTo>
                    <a:pt x="258" y="34"/>
                  </a:lnTo>
                  <a:lnTo>
                    <a:pt x="266" y="39"/>
                  </a:lnTo>
                  <a:lnTo>
                    <a:pt x="272" y="44"/>
                  </a:lnTo>
                  <a:lnTo>
                    <a:pt x="278" y="50"/>
                  </a:lnTo>
                  <a:lnTo>
                    <a:pt x="282" y="58"/>
                  </a:lnTo>
                  <a:lnTo>
                    <a:pt x="285" y="67"/>
                  </a:lnTo>
                  <a:lnTo>
                    <a:pt x="285" y="76"/>
                  </a:lnTo>
                  <a:lnTo>
                    <a:pt x="285" y="85"/>
                  </a:lnTo>
                  <a:lnTo>
                    <a:pt x="282" y="93"/>
                  </a:lnTo>
                  <a:lnTo>
                    <a:pt x="278" y="101"/>
                  </a:lnTo>
                  <a:lnTo>
                    <a:pt x="272" y="107"/>
                  </a:lnTo>
                  <a:lnTo>
                    <a:pt x="266" y="113"/>
                  </a:lnTo>
                  <a:lnTo>
                    <a:pt x="258" y="117"/>
                  </a:lnTo>
                  <a:lnTo>
                    <a:pt x="250" y="120"/>
                  </a:lnTo>
                  <a:lnTo>
                    <a:pt x="240" y="121"/>
                  </a:lnTo>
                  <a:lnTo>
                    <a:pt x="232" y="120"/>
                  </a:lnTo>
                  <a:lnTo>
                    <a:pt x="223" y="117"/>
                  </a:lnTo>
                  <a:lnTo>
                    <a:pt x="216" y="113"/>
                  </a:lnTo>
                  <a:lnTo>
                    <a:pt x="209" y="107"/>
                  </a:lnTo>
                  <a:lnTo>
                    <a:pt x="203" y="101"/>
                  </a:lnTo>
                  <a:lnTo>
                    <a:pt x="199" y="93"/>
                  </a:lnTo>
                  <a:lnTo>
                    <a:pt x="196" y="85"/>
                  </a:lnTo>
                  <a:lnTo>
                    <a:pt x="195" y="76"/>
                  </a:lnTo>
                  <a:close/>
                  <a:moveTo>
                    <a:pt x="361" y="76"/>
                  </a:moveTo>
                  <a:lnTo>
                    <a:pt x="362" y="67"/>
                  </a:lnTo>
                  <a:lnTo>
                    <a:pt x="365" y="58"/>
                  </a:lnTo>
                  <a:lnTo>
                    <a:pt x="369" y="50"/>
                  </a:lnTo>
                  <a:lnTo>
                    <a:pt x="374" y="44"/>
                  </a:lnTo>
                  <a:lnTo>
                    <a:pt x="382" y="39"/>
                  </a:lnTo>
                  <a:lnTo>
                    <a:pt x="389" y="34"/>
                  </a:lnTo>
                  <a:lnTo>
                    <a:pt x="398" y="31"/>
                  </a:lnTo>
                  <a:lnTo>
                    <a:pt x="406" y="30"/>
                  </a:lnTo>
                  <a:lnTo>
                    <a:pt x="416" y="31"/>
                  </a:lnTo>
                  <a:lnTo>
                    <a:pt x="424" y="34"/>
                  </a:lnTo>
                  <a:lnTo>
                    <a:pt x="432" y="39"/>
                  </a:lnTo>
                  <a:lnTo>
                    <a:pt x="439" y="44"/>
                  </a:lnTo>
                  <a:lnTo>
                    <a:pt x="444" y="50"/>
                  </a:lnTo>
                  <a:lnTo>
                    <a:pt x="448" y="58"/>
                  </a:lnTo>
                  <a:lnTo>
                    <a:pt x="450" y="67"/>
                  </a:lnTo>
                  <a:lnTo>
                    <a:pt x="451" y="76"/>
                  </a:lnTo>
                  <a:lnTo>
                    <a:pt x="450" y="85"/>
                  </a:lnTo>
                  <a:lnTo>
                    <a:pt x="448" y="93"/>
                  </a:lnTo>
                  <a:lnTo>
                    <a:pt x="444" y="101"/>
                  </a:lnTo>
                  <a:lnTo>
                    <a:pt x="439" y="107"/>
                  </a:lnTo>
                  <a:lnTo>
                    <a:pt x="432" y="113"/>
                  </a:lnTo>
                  <a:lnTo>
                    <a:pt x="424" y="117"/>
                  </a:lnTo>
                  <a:lnTo>
                    <a:pt x="416" y="120"/>
                  </a:lnTo>
                  <a:lnTo>
                    <a:pt x="406" y="121"/>
                  </a:lnTo>
                  <a:lnTo>
                    <a:pt x="398" y="120"/>
                  </a:lnTo>
                  <a:lnTo>
                    <a:pt x="389" y="117"/>
                  </a:lnTo>
                  <a:lnTo>
                    <a:pt x="382" y="113"/>
                  </a:lnTo>
                  <a:lnTo>
                    <a:pt x="374" y="107"/>
                  </a:lnTo>
                  <a:lnTo>
                    <a:pt x="369" y="101"/>
                  </a:lnTo>
                  <a:lnTo>
                    <a:pt x="365" y="93"/>
                  </a:lnTo>
                  <a:lnTo>
                    <a:pt x="362" y="85"/>
                  </a:lnTo>
                  <a:lnTo>
                    <a:pt x="361" y="76"/>
                  </a:lnTo>
                  <a:close/>
                  <a:moveTo>
                    <a:pt x="15" y="231"/>
                  </a:moveTo>
                  <a:lnTo>
                    <a:pt x="18" y="231"/>
                  </a:lnTo>
                  <a:lnTo>
                    <a:pt x="20" y="230"/>
                  </a:lnTo>
                  <a:lnTo>
                    <a:pt x="24" y="228"/>
                  </a:lnTo>
                  <a:lnTo>
                    <a:pt x="26" y="226"/>
                  </a:lnTo>
                  <a:lnTo>
                    <a:pt x="28" y="224"/>
                  </a:lnTo>
                  <a:lnTo>
                    <a:pt x="29" y="221"/>
                  </a:lnTo>
                  <a:lnTo>
                    <a:pt x="30" y="219"/>
                  </a:lnTo>
                  <a:lnTo>
                    <a:pt x="30" y="216"/>
                  </a:lnTo>
                  <a:lnTo>
                    <a:pt x="30" y="181"/>
                  </a:lnTo>
                  <a:lnTo>
                    <a:pt x="30" y="178"/>
                  </a:lnTo>
                  <a:lnTo>
                    <a:pt x="32" y="174"/>
                  </a:lnTo>
                  <a:lnTo>
                    <a:pt x="34" y="168"/>
                  </a:lnTo>
                  <a:lnTo>
                    <a:pt x="39" y="163"/>
                  </a:lnTo>
                  <a:lnTo>
                    <a:pt x="44" y="159"/>
                  </a:lnTo>
                  <a:lnTo>
                    <a:pt x="53" y="154"/>
                  </a:lnTo>
                  <a:lnTo>
                    <a:pt x="62" y="152"/>
                  </a:lnTo>
                  <a:lnTo>
                    <a:pt x="75" y="151"/>
                  </a:lnTo>
                  <a:lnTo>
                    <a:pt x="587" y="151"/>
                  </a:lnTo>
                  <a:lnTo>
                    <a:pt x="599" y="152"/>
                  </a:lnTo>
                  <a:lnTo>
                    <a:pt x="609" y="154"/>
                  </a:lnTo>
                  <a:lnTo>
                    <a:pt x="617" y="159"/>
                  </a:lnTo>
                  <a:lnTo>
                    <a:pt x="623" y="163"/>
                  </a:lnTo>
                  <a:lnTo>
                    <a:pt x="627" y="168"/>
                  </a:lnTo>
                  <a:lnTo>
                    <a:pt x="629" y="174"/>
                  </a:lnTo>
                  <a:lnTo>
                    <a:pt x="630" y="178"/>
                  </a:lnTo>
                  <a:lnTo>
                    <a:pt x="632" y="181"/>
                  </a:lnTo>
                  <a:lnTo>
                    <a:pt x="632" y="211"/>
                  </a:lnTo>
                  <a:lnTo>
                    <a:pt x="632" y="213"/>
                  </a:lnTo>
                  <a:lnTo>
                    <a:pt x="633" y="217"/>
                  </a:lnTo>
                  <a:lnTo>
                    <a:pt x="634" y="219"/>
                  </a:lnTo>
                  <a:lnTo>
                    <a:pt x="636" y="222"/>
                  </a:lnTo>
                  <a:lnTo>
                    <a:pt x="638" y="223"/>
                  </a:lnTo>
                  <a:lnTo>
                    <a:pt x="640" y="225"/>
                  </a:lnTo>
                  <a:lnTo>
                    <a:pt x="643" y="225"/>
                  </a:lnTo>
                  <a:lnTo>
                    <a:pt x="647" y="226"/>
                  </a:lnTo>
                  <a:lnTo>
                    <a:pt x="650" y="225"/>
                  </a:lnTo>
                  <a:lnTo>
                    <a:pt x="652" y="225"/>
                  </a:lnTo>
                  <a:lnTo>
                    <a:pt x="655" y="223"/>
                  </a:lnTo>
                  <a:lnTo>
                    <a:pt x="657" y="222"/>
                  </a:lnTo>
                  <a:lnTo>
                    <a:pt x="658" y="220"/>
                  </a:lnTo>
                  <a:lnTo>
                    <a:pt x="661" y="217"/>
                  </a:lnTo>
                  <a:lnTo>
                    <a:pt x="662" y="215"/>
                  </a:lnTo>
                  <a:lnTo>
                    <a:pt x="662" y="211"/>
                  </a:lnTo>
                  <a:lnTo>
                    <a:pt x="662" y="181"/>
                  </a:lnTo>
                  <a:lnTo>
                    <a:pt x="661" y="172"/>
                  </a:lnTo>
                  <a:lnTo>
                    <a:pt x="657" y="161"/>
                  </a:lnTo>
                  <a:lnTo>
                    <a:pt x="654" y="156"/>
                  </a:lnTo>
                  <a:lnTo>
                    <a:pt x="651" y="151"/>
                  </a:lnTo>
                  <a:lnTo>
                    <a:pt x="648" y="146"/>
                  </a:lnTo>
                  <a:lnTo>
                    <a:pt x="643" y="142"/>
                  </a:lnTo>
                  <a:lnTo>
                    <a:pt x="638" y="137"/>
                  </a:lnTo>
                  <a:lnTo>
                    <a:pt x="633" y="133"/>
                  </a:lnTo>
                  <a:lnTo>
                    <a:pt x="626" y="130"/>
                  </a:lnTo>
                  <a:lnTo>
                    <a:pt x="620" y="127"/>
                  </a:lnTo>
                  <a:lnTo>
                    <a:pt x="612" y="124"/>
                  </a:lnTo>
                  <a:lnTo>
                    <a:pt x="605" y="122"/>
                  </a:lnTo>
                  <a:lnTo>
                    <a:pt x="596" y="121"/>
                  </a:lnTo>
                  <a:lnTo>
                    <a:pt x="587" y="121"/>
                  </a:lnTo>
                  <a:lnTo>
                    <a:pt x="466" y="121"/>
                  </a:lnTo>
                  <a:lnTo>
                    <a:pt x="473" y="110"/>
                  </a:lnTo>
                  <a:lnTo>
                    <a:pt x="477" y="100"/>
                  </a:lnTo>
                  <a:lnTo>
                    <a:pt x="480" y="88"/>
                  </a:lnTo>
                  <a:lnTo>
                    <a:pt x="481" y="76"/>
                  </a:lnTo>
                  <a:lnTo>
                    <a:pt x="481" y="68"/>
                  </a:lnTo>
                  <a:lnTo>
                    <a:pt x="480" y="60"/>
                  </a:lnTo>
                  <a:lnTo>
                    <a:pt x="478" y="54"/>
                  </a:lnTo>
                  <a:lnTo>
                    <a:pt x="476" y="46"/>
                  </a:lnTo>
                  <a:lnTo>
                    <a:pt x="473" y="40"/>
                  </a:lnTo>
                  <a:lnTo>
                    <a:pt x="469" y="33"/>
                  </a:lnTo>
                  <a:lnTo>
                    <a:pt x="464" y="28"/>
                  </a:lnTo>
                  <a:lnTo>
                    <a:pt x="460" y="23"/>
                  </a:lnTo>
                  <a:lnTo>
                    <a:pt x="455" y="17"/>
                  </a:lnTo>
                  <a:lnTo>
                    <a:pt x="448" y="13"/>
                  </a:lnTo>
                  <a:lnTo>
                    <a:pt x="443" y="10"/>
                  </a:lnTo>
                  <a:lnTo>
                    <a:pt x="435" y="6"/>
                  </a:lnTo>
                  <a:lnTo>
                    <a:pt x="429" y="4"/>
                  </a:lnTo>
                  <a:lnTo>
                    <a:pt x="421" y="2"/>
                  </a:lnTo>
                  <a:lnTo>
                    <a:pt x="414" y="1"/>
                  </a:lnTo>
                  <a:lnTo>
                    <a:pt x="406" y="0"/>
                  </a:lnTo>
                  <a:lnTo>
                    <a:pt x="399" y="1"/>
                  </a:lnTo>
                  <a:lnTo>
                    <a:pt x="391" y="2"/>
                  </a:lnTo>
                  <a:lnTo>
                    <a:pt x="384" y="4"/>
                  </a:lnTo>
                  <a:lnTo>
                    <a:pt x="377" y="6"/>
                  </a:lnTo>
                  <a:lnTo>
                    <a:pt x="371" y="10"/>
                  </a:lnTo>
                  <a:lnTo>
                    <a:pt x="365" y="13"/>
                  </a:lnTo>
                  <a:lnTo>
                    <a:pt x="359" y="17"/>
                  </a:lnTo>
                  <a:lnTo>
                    <a:pt x="354" y="23"/>
                  </a:lnTo>
                  <a:lnTo>
                    <a:pt x="349" y="28"/>
                  </a:lnTo>
                  <a:lnTo>
                    <a:pt x="344" y="33"/>
                  </a:lnTo>
                  <a:lnTo>
                    <a:pt x="341" y="40"/>
                  </a:lnTo>
                  <a:lnTo>
                    <a:pt x="338" y="46"/>
                  </a:lnTo>
                  <a:lnTo>
                    <a:pt x="335" y="54"/>
                  </a:lnTo>
                  <a:lnTo>
                    <a:pt x="332" y="60"/>
                  </a:lnTo>
                  <a:lnTo>
                    <a:pt x="331" y="68"/>
                  </a:lnTo>
                  <a:lnTo>
                    <a:pt x="331" y="76"/>
                  </a:lnTo>
                  <a:lnTo>
                    <a:pt x="332" y="88"/>
                  </a:lnTo>
                  <a:lnTo>
                    <a:pt x="336" y="100"/>
                  </a:lnTo>
                  <a:lnTo>
                    <a:pt x="340" y="110"/>
                  </a:lnTo>
                  <a:lnTo>
                    <a:pt x="346" y="121"/>
                  </a:lnTo>
                  <a:lnTo>
                    <a:pt x="300" y="121"/>
                  </a:lnTo>
                  <a:lnTo>
                    <a:pt x="307" y="110"/>
                  </a:lnTo>
                  <a:lnTo>
                    <a:pt x="312" y="100"/>
                  </a:lnTo>
                  <a:lnTo>
                    <a:pt x="314" y="88"/>
                  </a:lnTo>
                  <a:lnTo>
                    <a:pt x="315" y="76"/>
                  </a:lnTo>
                  <a:lnTo>
                    <a:pt x="315" y="68"/>
                  </a:lnTo>
                  <a:lnTo>
                    <a:pt x="314" y="60"/>
                  </a:lnTo>
                  <a:lnTo>
                    <a:pt x="312" y="54"/>
                  </a:lnTo>
                  <a:lnTo>
                    <a:pt x="310" y="46"/>
                  </a:lnTo>
                  <a:lnTo>
                    <a:pt x="307" y="40"/>
                  </a:lnTo>
                  <a:lnTo>
                    <a:pt x="302" y="33"/>
                  </a:lnTo>
                  <a:lnTo>
                    <a:pt x="298" y="28"/>
                  </a:lnTo>
                  <a:lnTo>
                    <a:pt x="294" y="23"/>
                  </a:lnTo>
                  <a:lnTo>
                    <a:pt x="288" y="17"/>
                  </a:lnTo>
                  <a:lnTo>
                    <a:pt x="282" y="13"/>
                  </a:lnTo>
                  <a:lnTo>
                    <a:pt x="277" y="10"/>
                  </a:lnTo>
                  <a:lnTo>
                    <a:pt x="270" y="6"/>
                  </a:lnTo>
                  <a:lnTo>
                    <a:pt x="263" y="4"/>
                  </a:lnTo>
                  <a:lnTo>
                    <a:pt x="255" y="2"/>
                  </a:lnTo>
                  <a:lnTo>
                    <a:pt x="248" y="1"/>
                  </a:lnTo>
                  <a:lnTo>
                    <a:pt x="240" y="0"/>
                  </a:lnTo>
                  <a:lnTo>
                    <a:pt x="233" y="1"/>
                  </a:lnTo>
                  <a:lnTo>
                    <a:pt x="225" y="2"/>
                  </a:lnTo>
                  <a:lnTo>
                    <a:pt x="218" y="4"/>
                  </a:lnTo>
                  <a:lnTo>
                    <a:pt x="211" y="6"/>
                  </a:lnTo>
                  <a:lnTo>
                    <a:pt x="205" y="10"/>
                  </a:lnTo>
                  <a:lnTo>
                    <a:pt x="198" y="13"/>
                  </a:lnTo>
                  <a:lnTo>
                    <a:pt x="193" y="17"/>
                  </a:lnTo>
                  <a:lnTo>
                    <a:pt x="188" y="23"/>
                  </a:lnTo>
                  <a:lnTo>
                    <a:pt x="182" y="28"/>
                  </a:lnTo>
                  <a:lnTo>
                    <a:pt x="178" y="33"/>
                  </a:lnTo>
                  <a:lnTo>
                    <a:pt x="175" y="40"/>
                  </a:lnTo>
                  <a:lnTo>
                    <a:pt x="172" y="46"/>
                  </a:lnTo>
                  <a:lnTo>
                    <a:pt x="168" y="54"/>
                  </a:lnTo>
                  <a:lnTo>
                    <a:pt x="167" y="60"/>
                  </a:lnTo>
                  <a:lnTo>
                    <a:pt x="166" y="68"/>
                  </a:lnTo>
                  <a:lnTo>
                    <a:pt x="165" y="76"/>
                  </a:lnTo>
                  <a:lnTo>
                    <a:pt x="166" y="88"/>
                  </a:lnTo>
                  <a:lnTo>
                    <a:pt x="169" y="100"/>
                  </a:lnTo>
                  <a:lnTo>
                    <a:pt x="175" y="110"/>
                  </a:lnTo>
                  <a:lnTo>
                    <a:pt x="181" y="121"/>
                  </a:lnTo>
                  <a:lnTo>
                    <a:pt x="75" y="121"/>
                  </a:lnTo>
                  <a:lnTo>
                    <a:pt x="65" y="121"/>
                  </a:lnTo>
                  <a:lnTo>
                    <a:pt x="57" y="122"/>
                  </a:lnTo>
                  <a:lnTo>
                    <a:pt x="49" y="124"/>
                  </a:lnTo>
                  <a:lnTo>
                    <a:pt x="42" y="127"/>
                  </a:lnTo>
                  <a:lnTo>
                    <a:pt x="34" y="130"/>
                  </a:lnTo>
                  <a:lnTo>
                    <a:pt x="29" y="133"/>
                  </a:lnTo>
                  <a:lnTo>
                    <a:pt x="24" y="137"/>
                  </a:lnTo>
                  <a:lnTo>
                    <a:pt x="18" y="142"/>
                  </a:lnTo>
                  <a:lnTo>
                    <a:pt x="14" y="146"/>
                  </a:lnTo>
                  <a:lnTo>
                    <a:pt x="10" y="151"/>
                  </a:lnTo>
                  <a:lnTo>
                    <a:pt x="8" y="156"/>
                  </a:lnTo>
                  <a:lnTo>
                    <a:pt x="4" y="161"/>
                  </a:lnTo>
                  <a:lnTo>
                    <a:pt x="1" y="172"/>
                  </a:lnTo>
                  <a:lnTo>
                    <a:pt x="0" y="181"/>
                  </a:lnTo>
                  <a:lnTo>
                    <a:pt x="0" y="216"/>
                  </a:lnTo>
                  <a:lnTo>
                    <a:pt x="0" y="219"/>
                  </a:lnTo>
                  <a:lnTo>
                    <a:pt x="1" y="221"/>
                  </a:lnTo>
                  <a:lnTo>
                    <a:pt x="2" y="224"/>
                  </a:lnTo>
                  <a:lnTo>
                    <a:pt x="4" y="226"/>
                  </a:lnTo>
                  <a:lnTo>
                    <a:pt x="6" y="228"/>
                  </a:lnTo>
                  <a:lnTo>
                    <a:pt x="10" y="230"/>
                  </a:lnTo>
                  <a:lnTo>
                    <a:pt x="12" y="231"/>
                  </a:lnTo>
                  <a:lnTo>
                    <a:pt x="15"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97" name="Group 73">
            <a:extLst>
              <a:ext uri="{FF2B5EF4-FFF2-40B4-BE49-F238E27FC236}">
                <a16:creationId xmlns:a16="http://schemas.microsoft.com/office/drawing/2014/main" id="{E0611D74-A9FA-434F-A8EF-582E02D8D754}"/>
              </a:ext>
            </a:extLst>
          </p:cNvPr>
          <p:cNvGrpSpPr>
            <a:grpSpLocks noChangeAspect="1"/>
          </p:cNvGrpSpPr>
          <p:nvPr/>
        </p:nvGrpSpPr>
        <p:grpSpPr>
          <a:xfrm>
            <a:off x="5378197" y="4340505"/>
            <a:ext cx="285619" cy="285619"/>
            <a:chOff x="8162925" y="779145"/>
            <a:chExt cx="285750" cy="285750"/>
          </a:xfrm>
          <a:solidFill>
            <a:schemeClr val="bg2"/>
          </a:solidFill>
          <a:effectLst/>
        </p:grpSpPr>
        <p:sp>
          <p:nvSpPr>
            <p:cNvPr id="1698" name="Freeform 100">
              <a:extLst>
                <a:ext uri="{FF2B5EF4-FFF2-40B4-BE49-F238E27FC236}">
                  <a16:creationId xmlns:a16="http://schemas.microsoft.com/office/drawing/2014/main" id="{AD0DBCA7-80C9-4B99-B73E-1993B6009B6C}"/>
                </a:ext>
              </a:extLst>
            </p:cNvPr>
            <p:cNvSpPr>
              <a:spLocks noEditPoints="1"/>
            </p:cNvSpPr>
            <p:nvPr/>
          </p:nvSpPr>
          <p:spPr bwMode="auto">
            <a:xfrm>
              <a:off x="8162925" y="864870"/>
              <a:ext cx="247650" cy="142875"/>
            </a:xfrm>
            <a:custGeom>
              <a:avLst/>
              <a:gdLst>
                <a:gd name="T0" fmla="*/ 30 w 781"/>
                <a:gd name="T1" fmla="*/ 30 h 452"/>
                <a:gd name="T2" fmla="*/ 751 w 781"/>
                <a:gd name="T3" fmla="*/ 30 h 452"/>
                <a:gd name="T4" fmla="*/ 751 w 781"/>
                <a:gd name="T5" fmla="*/ 60 h 452"/>
                <a:gd name="T6" fmla="*/ 735 w 781"/>
                <a:gd name="T7" fmla="*/ 60 h 452"/>
                <a:gd name="T8" fmla="*/ 52 w 781"/>
                <a:gd name="T9" fmla="*/ 60 h 452"/>
                <a:gd name="T10" fmla="*/ 30 w 781"/>
                <a:gd name="T11" fmla="*/ 60 h 452"/>
                <a:gd name="T12" fmla="*/ 30 w 781"/>
                <a:gd name="T13" fmla="*/ 30 h 452"/>
                <a:gd name="T14" fmla="*/ 71 w 781"/>
                <a:gd name="T15" fmla="*/ 90 h 452"/>
                <a:gd name="T16" fmla="*/ 716 w 781"/>
                <a:gd name="T17" fmla="*/ 90 h 452"/>
                <a:gd name="T18" fmla="*/ 699 w 781"/>
                <a:gd name="T19" fmla="*/ 178 h 452"/>
                <a:gd name="T20" fmla="*/ 729 w 781"/>
                <a:gd name="T21" fmla="*/ 184 h 452"/>
                <a:gd name="T22" fmla="*/ 747 w 781"/>
                <a:gd name="T23" fmla="*/ 90 h 452"/>
                <a:gd name="T24" fmla="*/ 766 w 781"/>
                <a:gd name="T25" fmla="*/ 90 h 452"/>
                <a:gd name="T26" fmla="*/ 769 w 781"/>
                <a:gd name="T27" fmla="*/ 90 h 452"/>
                <a:gd name="T28" fmla="*/ 772 w 781"/>
                <a:gd name="T29" fmla="*/ 89 h 452"/>
                <a:gd name="T30" fmla="*/ 775 w 781"/>
                <a:gd name="T31" fmla="*/ 88 h 452"/>
                <a:gd name="T32" fmla="*/ 777 w 781"/>
                <a:gd name="T33" fmla="*/ 86 h 452"/>
                <a:gd name="T34" fmla="*/ 778 w 781"/>
                <a:gd name="T35" fmla="*/ 84 h 452"/>
                <a:gd name="T36" fmla="*/ 780 w 781"/>
                <a:gd name="T37" fmla="*/ 82 h 452"/>
                <a:gd name="T38" fmla="*/ 781 w 781"/>
                <a:gd name="T39" fmla="*/ 79 h 452"/>
                <a:gd name="T40" fmla="*/ 781 w 781"/>
                <a:gd name="T41" fmla="*/ 75 h 452"/>
                <a:gd name="T42" fmla="*/ 781 w 781"/>
                <a:gd name="T43" fmla="*/ 15 h 452"/>
                <a:gd name="T44" fmla="*/ 781 w 781"/>
                <a:gd name="T45" fmla="*/ 12 h 452"/>
                <a:gd name="T46" fmla="*/ 780 w 781"/>
                <a:gd name="T47" fmla="*/ 10 h 452"/>
                <a:gd name="T48" fmla="*/ 778 w 781"/>
                <a:gd name="T49" fmla="*/ 7 h 452"/>
                <a:gd name="T50" fmla="*/ 777 w 781"/>
                <a:gd name="T51" fmla="*/ 5 h 452"/>
                <a:gd name="T52" fmla="*/ 775 w 781"/>
                <a:gd name="T53" fmla="*/ 4 h 452"/>
                <a:gd name="T54" fmla="*/ 772 w 781"/>
                <a:gd name="T55" fmla="*/ 1 h 452"/>
                <a:gd name="T56" fmla="*/ 769 w 781"/>
                <a:gd name="T57" fmla="*/ 1 h 452"/>
                <a:gd name="T58" fmla="*/ 766 w 781"/>
                <a:gd name="T59" fmla="*/ 0 h 452"/>
                <a:gd name="T60" fmla="*/ 15 w 781"/>
                <a:gd name="T61" fmla="*/ 0 h 452"/>
                <a:gd name="T62" fmla="*/ 11 w 781"/>
                <a:gd name="T63" fmla="*/ 1 h 452"/>
                <a:gd name="T64" fmla="*/ 8 w 781"/>
                <a:gd name="T65" fmla="*/ 1 h 452"/>
                <a:gd name="T66" fmla="*/ 6 w 781"/>
                <a:gd name="T67" fmla="*/ 4 h 452"/>
                <a:gd name="T68" fmla="*/ 4 w 781"/>
                <a:gd name="T69" fmla="*/ 5 h 452"/>
                <a:gd name="T70" fmla="*/ 2 w 781"/>
                <a:gd name="T71" fmla="*/ 7 h 452"/>
                <a:gd name="T72" fmla="*/ 1 w 781"/>
                <a:gd name="T73" fmla="*/ 10 h 452"/>
                <a:gd name="T74" fmla="*/ 0 w 781"/>
                <a:gd name="T75" fmla="*/ 12 h 452"/>
                <a:gd name="T76" fmla="*/ 0 w 781"/>
                <a:gd name="T77" fmla="*/ 15 h 452"/>
                <a:gd name="T78" fmla="*/ 0 w 781"/>
                <a:gd name="T79" fmla="*/ 75 h 452"/>
                <a:gd name="T80" fmla="*/ 0 w 781"/>
                <a:gd name="T81" fmla="*/ 79 h 452"/>
                <a:gd name="T82" fmla="*/ 1 w 781"/>
                <a:gd name="T83" fmla="*/ 82 h 452"/>
                <a:gd name="T84" fmla="*/ 2 w 781"/>
                <a:gd name="T85" fmla="*/ 84 h 452"/>
                <a:gd name="T86" fmla="*/ 4 w 781"/>
                <a:gd name="T87" fmla="*/ 86 h 452"/>
                <a:gd name="T88" fmla="*/ 6 w 781"/>
                <a:gd name="T89" fmla="*/ 88 h 452"/>
                <a:gd name="T90" fmla="*/ 8 w 781"/>
                <a:gd name="T91" fmla="*/ 89 h 452"/>
                <a:gd name="T92" fmla="*/ 11 w 781"/>
                <a:gd name="T93" fmla="*/ 90 h 452"/>
                <a:gd name="T94" fmla="*/ 15 w 781"/>
                <a:gd name="T95" fmla="*/ 90 h 452"/>
                <a:gd name="T96" fmla="*/ 40 w 781"/>
                <a:gd name="T97" fmla="*/ 90 h 452"/>
                <a:gd name="T98" fmla="*/ 113 w 781"/>
                <a:gd name="T99" fmla="*/ 440 h 452"/>
                <a:gd name="T100" fmla="*/ 115 w 781"/>
                <a:gd name="T101" fmla="*/ 444 h 452"/>
                <a:gd name="T102" fmla="*/ 119 w 781"/>
                <a:gd name="T103" fmla="*/ 449 h 452"/>
                <a:gd name="T104" fmla="*/ 123 w 781"/>
                <a:gd name="T105" fmla="*/ 451 h 452"/>
                <a:gd name="T106" fmla="*/ 128 w 781"/>
                <a:gd name="T107" fmla="*/ 452 h 452"/>
                <a:gd name="T108" fmla="*/ 432 w 781"/>
                <a:gd name="T109" fmla="*/ 452 h 452"/>
                <a:gd name="T110" fmla="*/ 432 w 781"/>
                <a:gd name="T111" fmla="*/ 422 h 452"/>
                <a:gd name="T112" fmla="*/ 140 w 781"/>
                <a:gd name="T113" fmla="*/ 422 h 452"/>
                <a:gd name="T114" fmla="*/ 71 w 781"/>
                <a:gd name="T115" fmla="*/ 9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452">
                  <a:moveTo>
                    <a:pt x="30" y="30"/>
                  </a:moveTo>
                  <a:lnTo>
                    <a:pt x="751" y="30"/>
                  </a:lnTo>
                  <a:lnTo>
                    <a:pt x="751" y="60"/>
                  </a:lnTo>
                  <a:lnTo>
                    <a:pt x="735" y="60"/>
                  </a:lnTo>
                  <a:lnTo>
                    <a:pt x="52" y="60"/>
                  </a:lnTo>
                  <a:lnTo>
                    <a:pt x="30" y="60"/>
                  </a:lnTo>
                  <a:lnTo>
                    <a:pt x="30" y="30"/>
                  </a:lnTo>
                  <a:close/>
                  <a:moveTo>
                    <a:pt x="71" y="90"/>
                  </a:moveTo>
                  <a:lnTo>
                    <a:pt x="716" y="90"/>
                  </a:lnTo>
                  <a:lnTo>
                    <a:pt x="699" y="178"/>
                  </a:lnTo>
                  <a:lnTo>
                    <a:pt x="729" y="184"/>
                  </a:lnTo>
                  <a:lnTo>
                    <a:pt x="747" y="90"/>
                  </a:lnTo>
                  <a:lnTo>
                    <a:pt x="766" y="90"/>
                  </a:lnTo>
                  <a:lnTo>
                    <a:pt x="769" y="90"/>
                  </a:lnTo>
                  <a:lnTo>
                    <a:pt x="772" y="89"/>
                  </a:lnTo>
                  <a:lnTo>
                    <a:pt x="775" y="88"/>
                  </a:lnTo>
                  <a:lnTo>
                    <a:pt x="777" y="86"/>
                  </a:lnTo>
                  <a:lnTo>
                    <a:pt x="778" y="84"/>
                  </a:lnTo>
                  <a:lnTo>
                    <a:pt x="780" y="82"/>
                  </a:lnTo>
                  <a:lnTo>
                    <a:pt x="781" y="79"/>
                  </a:lnTo>
                  <a:lnTo>
                    <a:pt x="781" y="75"/>
                  </a:lnTo>
                  <a:lnTo>
                    <a:pt x="781" y="15"/>
                  </a:lnTo>
                  <a:lnTo>
                    <a:pt x="781" y="12"/>
                  </a:lnTo>
                  <a:lnTo>
                    <a:pt x="780" y="10"/>
                  </a:lnTo>
                  <a:lnTo>
                    <a:pt x="778" y="7"/>
                  </a:lnTo>
                  <a:lnTo>
                    <a:pt x="777" y="5"/>
                  </a:lnTo>
                  <a:lnTo>
                    <a:pt x="775" y="4"/>
                  </a:lnTo>
                  <a:lnTo>
                    <a:pt x="772" y="1"/>
                  </a:lnTo>
                  <a:lnTo>
                    <a:pt x="769" y="1"/>
                  </a:lnTo>
                  <a:lnTo>
                    <a:pt x="766" y="0"/>
                  </a:lnTo>
                  <a:lnTo>
                    <a:pt x="15" y="0"/>
                  </a:lnTo>
                  <a:lnTo>
                    <a:pt x="11" y="1"/>
                  </a:lnTo>
                  <a:lnTo>
                    <a:pt x="8" y="1"/>
                  </a:lnTo>
                  <a:lnTo>
                    <a:pt x="6" y="4"/>
                  </a:lnTo>
                  <a:lnTo>
                    <a:pt x="4" y="5"/>
                  </a:lnTo>
                  <a:lnTo>
                    <a:pt x="2" y="7"/>
                  </a:lnTo>
                  <a:lnTo>
                    <a:pt x="1" y="10"/>
                  </a:lnTo>
                  <a:lnTo>
                    <a:pt x="0" y="12"/>
                  </a:lnTo>
                  <a:lnTo>
                    <a:pt x="0" y="15"/>
                  </a:lnTo>
                  <a:lnTo>
                    <a:pt x="0" y="75"/>
                  </a:lnTo>
                  <a:lnTo>
                    <a:pt x="0" y="79"/>
                  </a:lnTo>
                  <a:lnTo>
                    <a:pt x="1" y="82"/>
                  </a:lnTo>
                  <a:lnTo>
                    <a:pt x="2" y="84"/>
                  </a:lnTo>
                  <a:lnTo>
                    <a:pt x="4" y="86"/>
                  </a:lnTo>
                  <a:lnTo>
                    <a:pt x="6" y="88"/>
                  </a:lnTo>
                  <a:lnTo>
                    <a:pt x="8" y="89"/>
                  </a:lnTo>
                  <a:lnTo>
                    <a:pt x="11" y="90"/>
                  </a:lnTo>
                  <a:lnTo>
                    <a:pt x="15" y="90"/>
                  </a:lnTo>
                  <a:lnTo>
                    <a:pt x="40" y="90"/>
                  </a:lnTo>
                  <a:lnTo>
                    <a:pt x="113" y="440"/>
                  </a:lnTo>
                  <a:lnTo>
                    <a:pt x="115" y="444"/>
                  </a:lnTo>
                  <a:lnTo>
                    <a:pt x="119" y="449"/>
                  </a:lnTo>
                  <a:lnTo>
                    <a:pt x="123" y="451"/>
                  </a:lnTo>
                  <a:lnTo>
                    <a:pt x="128" y="452"/>
                  </a:lnTo>
                  <a:lnTo>
                    <a:pt x="432" y="452"/>
                  </a:lnTo>
                  <a:lnTo>
                    <a:pt x="432" y="422"/>
                  </a:lnTo>
                  <a:lnTo>
                    <a:pt x="140" y="422"/>
                  </a:lnTo>
                  <a:lnTo>
                    <a:pt x="71"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9" name="Freeform 101">
              <a:extLst>
                <a:ext uri="{FF2B5EF4-FFF2-40B4-BE49-F238E27FC236}">
                  <a16:creationId xmlns:a16="http://schemas.microsoft.com/office/drawing/2014/main" id="{DD7189C7-C048-46DB-91F8-D968D85F3A1F}"/>
                </a:ext>
              </a:extLst>
            </p:cNvPr>
            <p:cNvSpPr>
              <a:spLocks/>
            </p:cNvSpPr>
            <p:nvPr/>
          </p:nvSpPr>
          <p:spPr bwMode="auto">
            <a:xfrm>
              <a:off x="8199438" y="779145"/>
              <a:ext cx="80963" cy="69850"/>
            </a:xfrm>
            <a:custGeom>
              <a:avLst/>
              <a:gdLst>
                <a:gd name="T0" fmla="*/ 15 w 258"/>
                <a:gd name="T1" fmla="*/ 220 h 220"/>
                <a:gd name="T2" fmla="*/ 21 w 258"/>
                <a:gd name="T3" fmla="*/ 219 h 220"/>
                <a:gd name="T4" fmla="*/ 25 w 258"/>
                <a:gd name="T5" fmla="*/ 217 h 220"/>
                <a:gd name="T6" fmla="*/ 252 w 258"/>
                <a:gd name="T7" fmla="*/ 27 h 220"/>
                <a:gd name="T8" fmla="*/ 254 w 258"/>
                <a:gd name="T9" fmla="*/ 25 h 220"/>
                <a:gd name="T10" fmla="*/ 257 w 258"/>
                <a:gd name="T11" fmla="*/ 22 h 220"/>
                <a:gd name="T12" fmla="*/ 258 w 258"/>
                <a:gd name="T13" fmla="*/ 19 h 220"/>
                <a:gd name="T14" fmla="*/ 258 w 258"/>
                <a:gd name="T15" fmla="*/ 16 h 220"/>
                <a:gd name="T16" fmla="*/ 258 w 258"/>
                <a:gd name="T17" fmla="*/ 13 h 220"/>
                <a:gd name="T18" fmla="*/ 257 w 258"/>
                <a:gd name="T19" fmla="*/ 11 h 220"/>
                <a:gd name="T20" fmla="*/ 255 w 258"/>
                <a:gd name="T21" fmla="*/ 8 h 220"/>
                <a:gd name="T22" fmla="*/ 254 w 258"/>
                <a:gd name="T23" fmla="*/ 6 h 220"/>
                <a:gd name="T24" fmla="*/ 252 w 258"/>
                <a:gd name="T25" fmla="*/ 3 h 220"/>
                <a:gd name="T26" fmla="*/ 249 w 258"/>
                <a:gd name="T27" fmla="*/ 1 h 220"/>
                <a:gd name="T28" fmla="*/ 247 w 258"/>
                <a:gd name="T29" fmla="*/ 0 h 220"/>
                <a:gd name="T30" fmla="*/ 244 w 258"/>
                <a:gd name="T31" fmla="*/ 0 h 220"/>
                <a:gd name="T32" fmla="*/ 242 w 258"/>
                <a:gd name="T33" fmla="*/ 0 h 220"/>
                <a:gd name="T34" fmla="*/ 238 w 258"/>
                <a:gd name="T35" fmla="*/ 1 h 220"/>
                <a:gd name="T36" fmla="*/ 235 w 258"/>
                <a:gd name="T37" fmla="*/ 2 h 220"/>
                <a:gd name="T38" fmla="*/ 233 w 258"/>
                <a:gd name="T39" fmla="*/ 3 h 220"/>
                <a:gd name="T40" fmla="*/ 6 w 258"/>
                <a:gd name="T41" fmla="*/ 193 h 220"/>
                <a:gd name="T42" fmla="*/ 3 w 258"/>
                <a:gd name="T43" fmla="*/ 195 h 220"/>
                <a:gd name="T44" fmla="*/ 1 w 258"/>
                <a:gd name="T45" fmla="*/ 198 h 220"/>
                <a:gd name="T46" fmla="*/ 0 w 258"/>
                <a:gd name="T47" fmla="*/ 201 h 220"/>
                <a:gd name="T48" fmla="*/ 0 w 258"/>
                <a:gd name="T49" fmla="*/ 203 h 220"/>
                <a:gd name="T50" fmla="*/ 0 w 258"/>
                <a:gd name="T51" fmla="*/ 206 h 220"/>
                <a:gd name="T52" fmla="*/ 1 w 258"/>
                <a:gd name="T53" fmla="*/ 209 h 220"/>
                <a:gd name="T54" fmla="*/ 2 w 258"/>
                <a:gd name="T55" fmla="*/ 211 h 220"/>
                <a:gd name="T56" fmla="*/ 3 w 258"/>
                <a:gd name="T57" fmla="*/ 215 h 220"/>
                <a:gd name="T58" fmla="*/ 6 w 258"/>
                <a:gd name="T59" fmla="*/ 217 h 220"/>
                <a:gd name="T60" fmla="*/ 9 w 258"/>
                <a:gd name="T61" fmla="*/ 218 h 220"/>
                <a:gd name="T62" fmla="*/ 12 w 258"/>
                <a:gd name="T63" fmla="*/ 219 h 220"/>
                <a:gd name="T64" fmla="*/ 15 w 258"/>
                <a:gd name="T6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 h="220">
                  <a:moveTo>
                    <a:pt x="15" y="220"/>
                  </a:moveTo>
                  <a:lnTo>
                    <a:pt x="21" y="219"/>
                  </a:lnTo>
                  <a:lnTo>
                    <a:pt x="25" y="217"/>
                  </a:lnTo>
                  <a:lnTo>
                    <a:pt x="252" y="27"/>
                  </a:lnTo>
                  <a:lnTo>
                    <a:pt x="254" y="25"/>
                  </a:lnTo>
                  <a:lnTo>
                    <a:pt x="257" y="22"/>
                  </a:lnTo>
                  <a:lnTo>
                    <a:pt x="258" y="19"/>
                  </a:lnTo>
                  <a:lnTo>
                    <a:pt x="258" y="16"/>
                  </a:lnTo>
                  <a:lnTo>
                    <a:pt x="258" y="13"/>
                  </a:lnTo>
                  <a:lnTo>
                    <a:pt x="257" y="11"/>
                  </a:lnTo>
                  <a:lnTo>
                    <a:pt x="255" y="8"/>
                  </a:lnTo>
                  <a:lnTo>
                    <a:pt x="254" y="6"/>
                  </a:lnTo>
                  <a:lnTo>
                    <a:pt x="252" y="3"/>
                  </a:lnTo>
                  <a:lnTo>
                    <a:pt x="249" y="1"/>
                  </a:lnTo>
                  <a:lnTo>
                    <a:pt x="247" y="0"/>
                  </a:lnTo>
                  <a:lnTo>
                    <a:pt x="244" y="0"/>
                  </a:lnTo>
                  <a:lnTo>
                    <a:pt x="242" y="0"/>
                  </a:lnTo>
                  <a:lnTo>
                    <a:pt x="238" y="1"/>
                  </a:lnTo>
                  <a:lnTo>
                    <a:pt x="235" y="2"/>
                  </a:lnTo>
                  <a:lnTo>
                    <a:pt x="233" y="3"/>
                  </a:lnTo>
                  <a:lnTo>
                    <a:pt x="6" y="193"/>
                  </a:lnTo>
                  <a:lnTo>
                    <a:pt x="3" y="195"/>
                  </a:lnTo>
                  <a:lnTo>
                    <a:pt x="1" y="198"/>
                  </a:lnTo>
                  <a:lnTo>
                    <a:pt x="0" y="201"/>
                  </a:lnTo>
                  <a:lnTo>
                    <a:pt x="0" y="203"/>
                  </a:lnTo>
                  <a:lnTo>
                    <a:pt x="0" y="206"/>
                  </a:lnTo>
                  <a:lnTo>
                    <a:pt x="1" y="209"/>
                  </a:lnTo>
                  <a:lnTo>
                    <a:pt x="2" y="211"/>
                  </a:lnTo>
                  <a:lnTo>
                    <a:pt x="3" y="215"/>
                  </a:lnTo>
                  <a:lnTo>
                    <a:pt x="6" y="217"/>
                  </a:lnTo>
                  <a:lnTo>
                    <a:pt x="9" y="218"/>
                  </a:lnTo>
                  <a:lnTo>
                    <a:pt x="12" y="219"/>
                  </a:lnTo>
                  <a:lnTo>
                    <a:pt x="15"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0" name="Freeform 102">
              <a:extLst>
                <a:ext uri="{FF2B5EF4-FFF2-40B4-BE49-F238E27FC236}">
                  <a16:creationId xmlns:a16="http://schemas.microsoft.com/office/drawing/2014/main" id="{95E4E4D8-D946-4266-8644-D3D0422D1972}"/>
                </a:ext>
              </a:extLst>
            </p:cNvPr>
            <p:cNvSpPr>
              <a:spLocks/>
            </p:cNvSpPr>
            <p:nvPr/>
          </p:nvSpPr>
          <p:spPr bwMode="auto">
            <a:xfrm>
              <a:off x="8296275" y="779145"/>
              <a:ext cx="80963" cy="69850"/>
            </a:xfrm>
            <a:custGeom>
              <a:avLst/>
              <a:gdLst>
                <a:gd name="T0" fmla="*/ 232 w 257"/>
                <a:gd name="T1" fmla="*/ 216 h 220"/>
                <a:gd name="T2" fmla="*/ 237 w 257"/>
                <a:gd name="T3" fmla="*/ 219 h 220"/>
                <a:gd name="T4" fmla="*/ 242 w 257"/>
                <a:gd name="T5" fmla="*/ 220 h 220"/>
                <a:gd name="T6" fmla="*/ 245 w 257"/>
                <a:gd name="T7" fmla="*/ 219 h 220"/>
                <a:gd name="T8" fmla="*/ 248 w 257"/>
                <a:gd name="T9" fmla="*/ 218 h 220"/>
                <a:gd name="T10" fmla="*/ 251 w 257"/>
                <a:gd name="T11" fmla="*/ 217 h 220"/>
                <a:gd name="T12" fmla="*/ 254 w 257"/>
                <a:gd name="T13" fmla="*/ 215 h 220"/>
                <a:gd name="T14" fmla="*/ 255 w 257"/>
                <a:gd name="T15" fmla="*/ 211 h 220"/>
                <a:gd name="T16" fmla="*/ 256 w 257"/>
                <a:gd name="T17" fmla="*/ 209 h 220"/>
                <a:gd name="T18" fmla="*/ 257 w 257"/>
                <a:gd name="T19" fmla="*/ 206 h 220"/>
                <a:gd name="T20" fmla="*/ 257 w 257"/>
                <a:gd name="T21" fmla="*/ 203 h 220"/>
                <a:gd name="T22" fmla="*/ 256 w 257"/>
                <a:gd name="T23" fmla="*/ 201 h 220"/>
                <a:gd name="T24" fmla="*/ 255 w 257"/>
                <a:gd name="T25" fmla="*/ 198 h 220"/>
                <a:gd name="T26" fmla="*/ 254 w 257"/>
                <a:gd name="T27" fmla="*/ 195 h 220"/>
                <a:gd name="T28" fmla="*/ 252 w 257"/>
                <a:gd name="T29" fmla="*/ 193 h 220"/>
                <a:gd name="T30" fmla="*/ 24 w 257"/>
                <a:gd name="T31" fmla="*/ 3 h 220"/>
                <a:gd name="T32" fmla="*/ 21 w 257"/>
                <a:gd name="T33" fmla="*/ 2 h 220"/>
                <a:gd name="T34" fmla="*/ 19 w 257"/>
                <a:gd name="T35" fmla="*/ 0 h 220"/>
                <a:gd name="T36" fmla="*/ 16 w 257"/>
                <a:gd name="T37" fmla="*/ 0 h 220"/>
                <a:gd name="T38" fmla="*/ 14 w 257"/>
                <a:gd name="T39" fmla="*/ 0 h 220"/>
                <a:gd name="T40" fmla="*/ 10 w 257"/>
                <a:gd name="T41" fmla="*/ 0 h 220"/>
                <a:gd name="T42" fmla="*/ 7 w 257"/>
                <a:gd name="T43" fmla="*/ 1 h 220"/>
                <a:gd name="T44" fmla="*/ 5 w 257"/>
                <a:gd name="T45" fmla="*/ 3 h 220"/>
                <a:gd name="T46" fmla="*/ 3 w 257"/>
                <a:gd name="T47" fmla="*/ 6 h 220"/>
                <a:gd name="T48" fmla="*/ 1 w 257"/>
                <a:gd name="T49" fmla="*/ 8 h 220"/>
                <a:gd name="T50" fmla="*/ 0 w 257"/>
                <a:gd name="T51" fmla="*/ 11 h 220"/>
                <a:gd name="T52" fmla="*/ 0 w 257"/>
                <a:gd name="T53" fmla="*/ 13 h 220"/>
                <a:gd name="T54" fmla="*/ 0 w 257"/>
                <a:gd name="T55" fmla="*/ 16 h 220"/>
                <a:gd name="T56" fmla="*/ 0 w 257"/>
                <a:gd name="T57" fmla="*/ 19 h 220"/>
                <a:gd name="T58" fmla="*/ 1 w 257"/>
                <a:gd name="T59" fmla="*/ 22 h 220"/>
                <a:gd name="T60" fmla="*/ 3 w 257"/>
                <a:gd name="T61" fmla="*/ 25 h 220"/>
                <a:gd name="T62" fmla="*/ 5 w 257"/>
                <a:gd name="T63" fmla="*/ 27 h 220"/>
                <a:gd name="T64" fmla="*/ 232 w 257"/>
                <a:gd name="T65" fmla="*/ 2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232" y="216"/>
                  </a:moveTo>
                  <a:lnTo>
                    <a:pt x="237" y="219"/>
                  </a:lnTo>
                  <a:lnTo>
                    <a:pt x="242" y="220"/>
                  </a:lnTo>
                  <a:lnTo>
                    <a:pt x="245" y="219"/>
                  </a:lnTo>
                  <a:lnTo>
                    <a:pt x="248" y="218"/>
                  </a:lnTo>
                  <a:lnTo>
                    <a:pt x="251" y="217"/>
                  </a:lnTo>
                  <a:lnTo>
                    <a:pt x="254" y="215"/>
                  </a:lnTo>
                  <a:lnTo>
                    <a:pt x="255" y="211"/>
                  </a:lnTo>
                  <a:lnTo>
                    <a:pt x="256" y="209"/>
                  </a:lnTo>
                  <a:lnTo>
                    <a:pt x="257" y="206"/>
                  </a:lnTo>
                  <a:lnTo>
                    <a:pt x="257" y="203"/>
                  </a:lnTo>
                  <a:lnTo>
                    <a:pt x="256" y="201"/>
                  </a:lnTo>
                  <a:lnTo>
                    <a:pt x="255" y="198"/>
                  </a:lnTo>
                  <a:lnTo>
                    <a:pt x="254" y="195"/>
                  </a:lnTo>
                  <a:lnTo>
                    <a:pt x="252" y="193"/>
                  </a:lnTo>
                  <a:lnTo>
                    <a:pt x="24" y="3"/>
                  </a:lnTo>
                  <a:lnTo>
                    <a:pt x="21" y="2"/>
                  </a:lnTo>
                  <a:lnTo>
                    <a:pt x="19" y="0"/>
                  </a:lnTo>
                  <a:lnTo>
                    <a:pt x="16" y="0"/>
                  </a:lnTo>
                  <a:lnTo>
                    <a:pt x="14" y="0"/>
                  </a:lnTo>
                  <a:lnTo>
                    <a:pt x="10" y="0"/>
                  </a:lnTo>
                  <a:lnTo>
                    <a:pt x="7" y="1"/>
                  </a:lnTo>
                  <a:lnTo>
                    <a:pt x="5" y="3"/>
                  </a:lnTo>
                  <a:lnTo>
                    <a:pt x="3" y="6"/>
                  </a:lnTo>
                  <a:lnTo>
                    <a:pt x="1" y="8"/>
                  </a:lnTo>
                  <a:lnTo>
                    <a:pt x="0" y="11"/>
                  </a:lnTo>
                  <a:lnTo>
                    <a:pt x="0" y="13"/>
                  </a:lnTo>
                  <a:lnTo>
                    <a:pt x="0" y="16"/>
                  </a:lnTo>
                  <a:lnTo>
                    <a:pt x="0" y="19"/>
                  </a:lnTo>
                  <a:lnTo>
                    <a:pt x="1" y="22"/>
                  </a:lnTo>
                  <a:lnTo>
                    <a:pt x="3" y="25"/>
                  </a:lnTo>
                  <a:lnTo>
                    <a:pt x="5" y="27"/>
                  </a:lnTo>
                  <a:lnTo>
                    <a:pt x="23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1" name="Freeform 103">
              <a:extLst>
                <a:ext uri="{FF2B5EF4-FFF2-40B4-BE49-F238E27FC236}">
                  <a16:creationId xmlns:a16="http://schemas.microsoft.com/office/drawing/2014/main" id="{2047426C-EB76-424E-899C-F732A9824FA9}"/>
                </a:ext>
              </a:extLst>
            </p:cNvPr>
            <p:cNvSpPr>
              <a:spLocks noEditPoints="1"/>
            </p:cNvSpPr>
            <p:nvPr/>
          </p:nvSpPr>
          <p:spPr bwMode="auto">
            <a:xfrm>
              <a:off x="8324850" y="941070"/>
              <a:ext cx="123825" cy="123825"/>
            </a:xfrm>
            <a:custGeom>
              <a:avLst/>
              <a:gdLst>
                <a:gd name="T0" fmla="*/ 162 w 390"/>
                <a:gd name="T1" fmla="*/ 357 h 390"/>
                <a:gd name="T2" fmla="*/ 116 w 390"/>
                <a:gd name="T3" fmla="*/ 340 h 390"/>
                <a:gd name="T4" fmla="*/ 78 w 390"/>
                <a:gd name="T5" fmla="*/ 312 h 390"/>
                <a:gd name="T6" fmla="*/ 49 w 390"/>
                <a:gd name="T7" fmla="*/ 273 h 390"/>
                <a:gd name="T8" fmla="*/ 33 w 390"/>
                <a:gd name="T9" fmla="*/ 228 h 390"/>
                <a:gd name="T10" fmla="*/ 30 w 390"/>
                <a:gd name="T11" fmla="*/ 178 h 390"/>
                <a:gd name="T12" fmla="*/ 43 w 390"/>
                <a:gd name="T13" fmla="*/ 131 h 390"/>
                <a:gd name="T14" fmla="*/ 68 w 390"/>
                <a:gd name="T15" fmla="*/ 90 h 390"/>
                <a:gd name="T16" fmla="*/ 103 w 390"/>
                <a:gd name="T17" fmla="*/ 58 h 390"/>
                <a:gd name="T18" fmla="*/ 146 w 390"/>
                <a:gd name="T19" fmla="*/ 37 h 390"/>
                <a:gd name="T20" fmla="*/ 195 w 390"/>
                <a:gd name="T21" fmla="*/ 30 h 390"/>
                <a:gd name="T22" fmla="*/ 245 w 390"/>
                <a:gd name="T23" fmla="*/ 37 h 390"/>
                <a:gd name="T24" fmla="*/ 287 w 390"/>
                <a:gd name="T25" fmla="*/ 58 h 390"/>
                <a:gd name="T26" fmla="*/ 323 w 390"/>
                <a:gd name="T27" fmla="*/ 90 h 390"/>
                <a:gd name="T28" fmla="*/ 347 w 390"/>
                <a:gd name="T29" fmla="*/ 131 h 390"/>
                <a:gd name="T30" fmla="*/ 359 w 390"/>
                <a:gd name="T31" fmla="*/ 178 h 390"/>
                <a:gd name="T32" fmla="*/ 357 w 390"/>
                <a:gd name="T33" fmla="*/ 228 h 390"/>
                <a:gd name="T34" fmla="*/ 340 w 390"/>
                <a:gd name="T35" fmla="*/ 273 h 390"/>
                <a:gd name="T36" fmla="*/ 312 w 390"/>
                <a:gd name="T37" fmla="*/ 312 h 390"/>
                <a:gd name="T38" fmla="*/ 273 w 390"/>
                <a:gd name="T39" fmla="*/ 340 h 390"/>
                <a:gd name="T40" fmla="*/ 228 w 390"/>
                <a:gd name="T41" fmla="*/ 357 h 390"/>
                <a:gd name="T42" fmla="*/ 195 w 390"/>
                <a:gd name="T43" fmla="*/ 0 h 390"/>
                <a:gd name="T44" fmla="*/ 137 w 390"/>
                <a:gd name="T45" fmla="*/ 8 h 390"/>
                <a:gd name="T46" fmla="*/ 86 w 390"/>
                <a:gd name="T47" fmla="*/ 33 h 390"/>
                <a:gd name="T48" fmla="*/ 44 w 390"/>
                <a:gd name="T49" fmla="*/ 70 h 390"/>
                <a:gd name="T50" fmla="*/ 15 w 390"/>
                <a:gd name="T51" fmla="*/ 119 h 390"/>
                <a:gd name="T52" fmla="*/ 0 w 390"/>
                <a:gd name="T53" fmla="*/ 174 h 390"/>
                <a:gd name="T54" fmla="*/ 3 w 390"/>
                <a:gd name="T55" fmla="*/ 233 h 390"/>
                <a:gd name="T56" fmla="*/ 24 w 390"/>
                <a:gd name="T57" fmla="*/ 288 h 390"/>
                <a:gd name="T58" fmla="*/ 57 w 390"/>
                <a:gd name="T59" fmla="*/ 333 h 390"/>
                <a:gd name="T60" fmla="*/ 102 w 390"/>
                <a:gd name="T61" fmla="*/ 366 h 390"/>
                <a:gd name="T62" fmla="*/ 156 w 390"/>
                <a:gd name="T63" fmla="*/ 386 h 390"/>
                <a:gd name="T64" fmla="*/ 215 w 390"/>
                <a:gd name="T65" fmla="*/ 389 h 390"/>
                <a:gd name="T66" fmla="*/ 271 w 390"/>
                <a:gd name="T67" fmla="*/ 375 h 390"/>
                <a:gd name="T68" fmla="*/ 320 w 390"/>
                <a:gd name="T69" fmla="*/ 345 h 390"/>
                <a:gd name="T70" fmla="*/ 357 w 390"/>
                <a:gd name="T71" fmla="*/ 304 h 390"/>
                <a:gd name="T72" fmla="*/ 382 w 390"/>
                <a:gd name="T73" fmla="*/ 253 h 390"/>
                <a:gd name="T74" fmla="*/ 390 w 390"/>
                <a:gd name="T75" fmla="*/ 195 h 390"/>
                <a:gd name="T76" fmla="*/ 382 w 390"/>
                <a:gd name="T77" fmla="*/ 137 h 390"/>
                <a:gd name="T78" fmla="*/ 357 w 390"/>
                <a:gd name="T79" fmla="*/ 85 h 390"/>
                <a:gd name="T80" fmla="*/ 320 w 390"/>
                <a:gd name="T81" fmla="*/ 44 h 390"/>
                <a:gd name="T82" fmla="*/ 271 w 390"/>
                <a:gd name="T83" fmla="*/ 15 h 390"/>
                <a:gd name="T84" fmla="*/ 215 w 390"/>
                <a:gd name="T8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390">
                  <a:moveTo>
                    <a:pt x="195" y="360"/>
                  </a:moveTo>
                  <a:lnTo>
                    <a:pt x="178" y="359"/>
                  </a:lnTo>
                  <a:lnTo>
                    <a:pt x="162" y="357"/>
                  </a:lnTo>
                  <a:lnTo>
                    <a:pt x="146" y="353"/>
                  </a:lnTo>
                  <a:lnTo>
                    <a:pt x="131" y="347"/>
                  </a:lnTo>
                  <a:lnTo>
                    <a:pt x="116" y="340"/>
                  </a:lnTo>
                  <a:lnTo>
                    <a:pt x="103" y="332"/>
                  </a:lnTo>
                  <a:lnTo>
                    <a:pt x="90" y="322"/>
                  </a:lnTo>
                  <a:lnTo>
                    <a:pt x="78" y="312"/>
                  </a:lnTo>
                  <a:lnTo>
                    <a:pt x="68" y="300"/>
                  </a:lnTo>
                  <a:lnTo>
                    <a:pt x="58" y="287"/>
                  </a:lnTo>
                  <a:lnTo>
                    <a:pt x="49" y="273"/>
                  </a:lnTo>
                  <a:lnTo>
                    <a:pt x="43" y="259"/>
                  </a:lnTo>
                  <a:lnTo>
                    <a:pt x="38" y="244"/>
                  </a:lnTo>
                  <a:lnTo>
                    <a:pt x="33" y="228"/>
                  </a:lnTo>
                  <a:lnTo>
                    <a:pt x="30" y="212"/>
                  </a:lnTo>
                  <a:lnTo>
                    <a:pt x="30" y="195"/>
                  </a:lnTo>
                  <a:lnTo>
                    <a:pt x="30" y="178"/>
                  </a:lnTo>
                  <a:lnTo>
                    <a:pt x="33" y="162"/>
                  </a:lnTo>
                  <a:lnTo>
                    <a:pt x="38" y="146"/>
                  </a:lnTo>
                  <a:lnTo>
                    <a:pt x="43" y="131"/>
                  </a:lnTo>
                  <a:lnTo>
                    <a:pt x="49" y="116"/>
                  </a:lnTo>
                  <a:lnTo>
                    <a:pt x="58" y="103"/>
                  </a:lnTo>
                  <a:lnTo>
                    <a:pt x="68" y="90"/>
                  </a:lnTo>
                  <a:lnTo>
                    <a:pt x="78" y="78"/>
                  </a:lnTo>
                  <a:lnTo>
                    <a:pt x="90" y="67"/>
                  </a:lnTo>
                  <a:lnTo>
                    <a:pt x="103" y="58"/>
                  </a:lnTo>
                  <a:lnTo>
                    <a:pt x="116" y="49"/>
                  </a:lnTo>
                  <a:lnTo>
                    <a:pt x="131" y="43"/>
                  </a:lnTo>
                  <a:lnTo>
                    <a:pt x="146" y="37"/>
                  </a:lnTo>
                  <a:lnTo>
                    <a:pt x="162" y="33"/>
                  </a:lnTo>
                  <a:lnTo>
                    <a:pt x="178" y="30"/>
                  </a:lnTo>
                  <a:lnTo>
                    <a:pt x="195" y="30"/>
                  </a:lnTo>
                  <a:lnTo>
                    <a:pt x="212" y="30"/>
                  </a:lnTo>
                  <a:lnTo>
                    <a:pt x="228" y="33"/>
                  </a:lnTo>
                  <a:lnTo>
                    <a:pt x="245" y="37"/>
                  </a:lnTo>
                  <a:lnTo>
                    <a:pt x="260" y="43"/>
                  </a:lnTo>
                  <a:lnTo>
                    <a:pt x="273" y="49"/>
                  </a:lnTo>
                  <a:lnTo>
                    <a:pt x="287" y="58"/>
                  </a:lnTo>
                  <a:lnTo>
                    <a:pt x="300" y="67"/>
                  </a:lnTo>
                  <a:lnTo>
                    <a:pt x="312" y="78"/>
                  </a:lnTo>
                  <a:lnTo>
                    <a:pt x="323" y="90"/>
                  </a:lnTo>
                  <a:lnTo>
                    <a:pt x="332" y="103"/>
                  </a:lnTo>
                  <a:lnTo>
                    <a:pt x="340" y="116"/>
                  </a:lnTo>
                  <a:lnTo>
                    <a:pt x="347" y="131"/>
                  </a:lnTo>
                  <a:lnTo>
                    <a:pt x="353" y="146"/>
                  </a:lnTo>
                  <a:lnTo>
                    <a:pt x="357" y="162"/>
                  </a:lnTo>
                  <a:lnTo>
                    <a:pt x="359" y="178"/>
                  </a:lnTo>
                  <a:lnTo>
                    <a:pt x="360" y="195"/>
                  </a:lnTo>
                  <a:lnTo>
                    <a:pt x="359" y="212"/>
                  </a:lnTo>
                  <a:lnTo>
                    <a:pt x="357" y="228"/>
                  </a:lnTo>
                  <a:lnTo>
                    <a:pt x="353" y="244"/>
                  </a:lnTo>
                  <a:lnTo>
                    <a:pt x="347" y="259"/>
                  </a:lnTo>
                  <a:lnTo>
                    <a:pt x="340" y="273"/>
                  </a:lnTo>
                  <a:lnTo>
                    <a:pt x="332" y="287"/>
                  </a:lnTo>
                  <a:lnTo>
                    <a:pt x="323" y="300"/>
                  </a:lnTo>
                  <a:lnTo>
                    <a:pt x="312" y="312"/>
                  </a:lnTo>
                  <a:lnTo>
                    <a:pt x="300" y="322"/>
                  </a:lnTo>
                  <a:lnTo>
                    <a:pt x="287" y="332"/>
                  </a:lnTo>
                  <a:lnTo>
                    <a:pt x="273" y="340"/>
                  </a:lnTo>
                  <a:lnTo>
                    <a:pt x="260" y="347"/>
                  </a:lnTo>
                  <a:lnTo>
                    <a:pt x="245" y="353"/>
                  </a:lnTo>
                  <a:lnTo>
                    <a:pt x="228" y="357"/>
                  </a:lnTo>
                  <a:lnTo>
                    <a:pt x="212" y="359"/>
                  </a:lnTo>
                  <a:lnTo>
                    <a:pt x="195" y="360"/>
                  </a:lnTo>
                  <a:close/>
                  <a:moveTo>
                    <a:pt x="195" y="0"/>
                  </a:moveTo>
                  <a:lnTo>
                    <a:pt x="175" y="0"/>
                  </a:lnTo>
                  <a:lnTo>
                    <a:pt x="156" y="3"/>
                  </a:lnTo>
                  <a:lnTo>
                    <a:pt x="137" y="8"/>
                  </a:lnTo>
                  <a:lnTo>
                    <a:pt x="119" y="15"/>
                  </a:lnTo>
                  <a:lnTo>
                    <a:pt x="102" y="23"/>
                  </a:lnTo>
                  <a:lnTo>
                    <a:pt x="86" y="33"/>
                  </a:lnTo>
                  <a:lnTo>
                    <a:pt x="71" y="44"/>
                  </a:lnTo>
                  <a:lnTo>
                    <a:pt x="57" y="57"/>
                  </a:lnTo>
                  <a:lnTo>
                    <a:pt x="44" y="70"/>
                  </a:lnTo>
                  <a:lnTo>
                    <a:pt x="33" y="85"/>
                  </a:lnTo>
                  <a:lnTo>
                    <a:pt x="24" y="102"/>
                  </a:lnTo>
                  <a:lnTo>
                    <a:pt x="15" y="119"/>
                  </a:lnTo>
                  <a:lnTo>
                    <a:pt x="9" y="137"/>
                  </a:lnTo>
                  <a:lnTo>
                    <a:pt x="3" y="155"/>
                  </a:lnTo>
                  <a:lnTo>
                    <a:pt x="0" y="174"/>
                  </a:lnTo>
                  <a:lnTo>
                    <a:pt x="0" y="195"/>
                  </a:lnTo>
                  <a:lnTo>
                    <a:pt x="0" y="214"/>
                  </a:lnTo>
                  <a:lnTo>
                    <a:pt x="3" y="233"/>
                  </a:lnTo>
                  <a:lnTo>
                    <a:pt x="9" y="253"/>
                  </a:lnTo>
                  <a:lnTo>
                    <a:pt x="15" y="271"/>
                  </a:lnTo>
                  <a:lnTo>
                    <a:pt x="24" y="288"/>
                  </a:lnTo>
                  <a:lnTo>
                    <a:pt x="33" y="304"/>
                  </a:lnTo>
                  <a:lnTo>
                    <a:pt x="44" y="319"/>
                  </a:lnTo>
                  <a:lnTo>
                    <a:pt x="57" y="333"/>
                  </a:lnTo>
                  <a:lnTo>
                    <a:pt x="71" y="345"/>
                  </a:lnTo>
                  <a:lnTo>
                    <a:pt x="86" y="357"/>
                  </a:lnTo>
                  <a:lnTo>
                    <a:pt x="102" y="366"/>
                  </a:lnTo>
                  <a:lnTo>
                    <a:pt x="119" y="375"/>
                  </a:lnTo>
                  <a:lnTo>
                    <a:pt x="137" y="381"/>
                  </a:lnTo>
                  <a:lnTo>
                    <a:pt x="156" y="386"/>
                  </a:lnTo>
                  <a:lnTo>
                    <a:pt x="175" y="389"/>
                  </a:lnTo>
                  <a:lnTo>
                    <a:pt x="195" y="390"/>
                  </a:lnTo>
                  <a:lnTo>
                    <a:pt x="215" y="389"/>
                  </a:lnTo>
                  <a:lnTo>
                    <a:pt x="234" y="386"/>
                  </a:lnTo>
                  <a:lnTo>
                    <a:pt x="253" y="381"/>
                  </a:lnTo>
                  <a:lnTo>
                    <a:pt x="271" y="375"/>
                  </a:lnTo>
                  <a:lnTo>
                    <a:pt x="288" y="366"/>
                  </a:lnTo>
                  <a:lnTo>
                    <a:pt x="305" y="357"/>
                  </a:lnTo>
                  <a:lnTo>
                    <a:pt x="320" y="345"/>
                  </a:lnTo>
                  <a:lnTo>
                    <a:pt x="334" y="333"/>
                  </a:lnTo>
                  <a:lnTo>
                    <a:pt x="345" y="319"/>
                  </a:lnTo>
                  <a:lnTo>
                    <a:pt x="357" y="304"/>
                  </a:lnTo>
                  <a:lnTo>
                    <a:pt x="367" y="288"/>
                  </a:lnTo>
                  <a:lnTo>
                    <a:pt x="375" y="271"/>
                  </a:lnTo>
                  <a:lnTo>
                    <a:pt x="382" y="253"/>
                  </a:lnTo>
                  <a:lnTo>
                    <a:pt x="386" y="235"/>
                  </a:lnTo>
                  <a:lnTo>
                    <a:pt x="389" y="214"/>
                  </a:lnTo>
                  <a:lnTo>
                    <a:pt x="390" y="195"/>
                  </a:lnTo>
                  <a:lnTo>
                    <a:pt x="389" y="174"/>
                  </a:lnTo>
                  <a:lnTo>
                    <a:pt x="386" y="155"/>
                  </a:lnTo>
                  <a:lnTo>
                    <a:pt x="382" y="137"/>
                  </a:lnTo>
                  <a:lnTo>
                    <a:pt x="375" y="119"/>
                  </a:lnTo>
                  <a:lnTo>
                    <a:pt x="367" y="102"/>
                  </a:lnTo>
                  <a:lnTo>
                    <a:pt x="357" y="85"/>
                  </a:lnTo>
                  <a:lnTo>
                    <a:pt x="345" y="70"/>
                  </a:lnTo>
                  <a:lnTo>
                    <a:pt x="334" y="57"/>
                  </a:lnTo>
                  <a:lnTo>
                    <a:pt x="320" y="44"/>
                  </a:lnTo>
                  <a:lnTo>
                    <a:pt x="305" y="33"/>
                  </a:lnTo>
                  <a:lnTo>
                    <a:pt x="288" y="23"/>
                  </a:lnTo>
                  <a:lnTo>
                    <a:pt x="271" y="15"/>
                  </a:lnTo>
                  <a:lnTo>
                    <a:pt x="253" y="8"/>
                  </a:lnTo>
                  <a:lnTo>
                    <a:pt x="234" y="3"/>
                  </a:lnTo>
                  <a:lnTo>
                    <a:pt x="215" y="0"/>
                  </a:lnTo>
                  <a:lnTo>
                    <a:pt x="1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2" name="Freeform 104">
              <a:extLst>
                <a:ext uri="{FF2B5EF4-FFF2-40B4-BE49-F238E27FC236}">
                  <a16:creationId xmlns:a16="http://schemas.microsoft.com/office/drawing/2014/main" id="{DD7C1A90-C9C1-494D-92BC-DF6CB8FCB50D}"/>
                </a:ext>
              </a:extLst>
            </p:cNvPr>
            <p:cNvSpPr>
              <a:spLocks/>
            </p:cNvSpPr>
            <p:nvPr/>
          </p:nvSpPr>
          <p:spPr bwMode="auto">
            <a:xfrm>
              <a:off x="8353425" y="969645"/>
              <a:ext cx="66675" cy="66675"/>
            </a:xfrm>
            <a:custGeom>
              <a:avLst/>
              <a:gdLst>
                <a:gd name="T0" fmla="*/ 120 w 210"/>
                <a:gd name="T1" fmla="*/ 90 h 210"/>
                <a:gd name="T2" fmla="*/ 120 w 210"/>
                <a:gd name="T3" fmla="*/ 12 h 210"/>
                <a:gd name="T4" fmla="*/ 117 w 210"/>
                <a:gd name="T5" fmla="*/ 6 h 210"/>
                <a:gd name="T6" fmla="*/ 114 w 210"/>
                <a:gd name="T7" fmla="*/ 2 h 210"/>
                <a:gd name="T8" fmla="*/ 108 w 210"/>
                <a:gd name="T9" fmla="*/ 0 h 210"/>
                <a:gd name="T10" fmla="*/ 102 w 210"/>
                <a:gd name="T11" fmla="*/ 0 h 210"/>
                <a:gd name="T12" fmla="*/ 97 w 210"/>
                <a:gd name="T13" fmla="*/ 2 h 210"/>
                <a:gd name="T14" fmla="*/ 92 w 210"/>
                <a:gd name="T15" fmla="*/ 6 h 210"/>
                <a:gd name="T16" fmla="*/ 90 w 210"/>
                <a:gd name="T17" fmla="*/ 12 h 210"/>
                <a:gd name="T18" fmla="*/ 90 w 210"/>
                <a:gd name="T19" fmla="*/ 90 h 210"/>
                <a:gd name="T20" fmla="*/ 12 w 210"/>
                <a:gd name="T21" fmla="*/ 90 h 210"/>
                <a:gd name="T22" fmla="*/ 7 w 210"/>
                <a:gd name="T23" fmla="*/ 92 h 210"/>
                <a:gd name="T24" fmla="*/ 2 w 210"/>
                <a:gd name="T25" fmla="*/ 96 h 210"/>
                <a:gd name="T26" fmla="*/ 0 w 210"/>
                <a:gd name="T27" fmla="*/ 102 h 210"/>
                <a:gd name="T28" fmla="*/ 0 w 210"/>
                <a:gd name="T29" fmla="*/ 108 h 210"/>
                <a:gd name="T30" fmla="*/ 2 w 210"/>
                <a:gd name="T31" fmla="*/ 113 h 210"/>
                <a:gd name="T32" fmla="*/ 7 w 210"/>
                <a:gd name="T33" fmla="*/ 117 h 210"/>
                <a:gd name="T34" fmla="*/ 12 w 210"/>
                <a:gd name="T35" fmla="*/ 120 h 210"/>
                <a:gd name="T36" fmla="*/ 90 w 210"/>
                <a:gd name="T37" fmla="*/ 120 h 210"/>
                <a:gd name="T38" fmla="*/ 90 w 210"/>
                <a:gd name="T39" fmla="*/ 198 h 210"/>
                <a:gd name="T40" fmla="*/ 92 w 210"/>
                <a:gd name="T41" fmla="*/ 204 h 210"/>
                <a:gd name="T42" fmla="*/ 97 w 210"/>
                <a:gd name="T43" fmla="*/ 208 h 210"/>
                <a:gd name="T44" fmla="*/ 102 w 210"/>
                <a:gd name="T45" fmla="*/ 210 h 210"/>
                <a:gd name="T46" fmla="*/ 108 w 210"/>
                <a:gd name="T47" fmla="*/ 210 h 210"/>
                <a:gd name="T48" fmla="*/ 114 w 210"/>
                <a:gd name="T49" fmla="*/ 208 h 210"/>
                <a:gd name="T50" fmla="*/ 117 w 210"/>
                <a:gd name="T51" fmla="*/ 204 h 210"/>
                <a:gd name="T52" fmla="*/ 120 w 210"/>
                <a:gd name="T53" fmla="*/ 198 h 210"/>
                <a:gd name="T54" fmla="*/ 120 w 210"/>
                <a:gd name="T55" fmla="*/ 120 h 210"/>
                <a:gd name="T56" fmla="*/ 198 w 210"/>
                <a:gd name="T57" fmla="*/ 120 h 210"/>
                <a:gd name="T58" fmla="*/ 204 w 210"/>
                <a:gd name="T59" fmla="*/ 117 h 210"/>
                <a:gd name="T60" fmla="*/ 208 w 210"/>
                <a:gd name="T61" fmla="*/ 113 h 210"/>
                <a:gd name="T62" fmla="*/ 210 w 210"/>
                <a:gd name="T63" fmla="*/ 108 h 210"/>
                <a:gd name="T64" fmla="*/ 210 w 210"/>
                <a:gd name="T65" fmla="*/ 102 h 210"/>
                <a:gd name="T66" fmla="*/ 208 w 210"/>
                <a:gd name="T67" fmla="*/ 96 h 210"/>
                <a:gd name="T68" fmla="*/ 204 w 210"/>
                <a:gd name="T69" fmla="*/ 92 h 210"/>
                <a:gd name="T70" fmla="*/ 198 w 210"/>
                <a:gd name="T71" fmla="*/ 9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 h="210">
                  <a:moveTo>
                    <a:pt x="195" y="90"/>
                  </a:moveTo>
                  <a:lnTo>
                    <a:pt x="120" y="90"/>
                  </a:lnTo>
                  <a:lnTo>
                    <a:pt x="120" y="15"/>
                  </a:lnTo>
                  <a:lnTo>
                    <a:pt x="120" y="12"/>
                  </a:lnTo>
                  <a:lnTo>
                    <a:pt x="119" y="8"/>
                  </a:lnTo>
                  <a:lnTo>
                    <a:pt x="117" y="6"/>
                  </a:lnTo>
                  <a:lnTo>
                    <a:pt x="116" y="4"/>
                  </a:lnTo>
                  <a:lnTo>
                    <a:pt x="114" y="2"/>
                  </a:lnTo>
                  <a:lnTo>
                    <a:pt x="111" y="1"/>
                  </a:lnTo>
                  <a:lnTo>
                    <a:pt x="108" y="0"/>
                  </a:lnTo>
                  <a:lnTo>
                    <a:pt x="105" y="0"/>
                  </a:lnTo>
                  <a:lnTo>
                    <a:pt x="102" y="0"/>
                  </a:lnTo>
                  <a:lnTo>
                    <a:pt x="99" y="1"/>
                  </a:lnTo>
                  <a:lnTo>
                    <a:pt x="97" y="2"/>
                  </a:lnTo>
                  <a:lnTo>
                    <a:pt x="94" y="4"/>
                  </a:lnTo>
                  <a:lnTo>
                    <a:pt x="92" y="6"/>
                  </a:lnTo>
                  <a:lnTo>
                    <a:pt x="91" y="8"/>
                  </a:lnTo>
                  <a:lnTo>
                    <a:pt x="90" y="12"/>
                  </a:lnTo>
                  <a:lnTo>
                    <a:pt x="90" y="15"/>
                  </a:lnTo>
                  <a:lnTo>
                    <a:pt x="90" y="90"/>
                  </a:lnTo>
                  <a:lnTo>
                    <a:pt x="15" y="90"/>
                  </a:lnTo>
                  <a:lnTo>
                    <a:pt x="12" y="90"/>
                  </a:lnTo>
                  <a:lnTo>
                    <a:pt x="9" y="91"/>
                  </a:lnTo>
                  <a:lnTo>
                    <a:pt x="7" y="92"/>
                  </a:lnTo>
                  <a:lnTo>
                    <a:pt x="4" y="94"/>
                  </a:lnTo>
                  <a:lnTo>
                    <a:pt x="2" y="96"/>
                  </a:lnTo>
                  <a:lnTo>
                    <a:pt x="1" y="98"/>
                  </a:lnTo>
                  <a:lnTo>
                    <a:pt x="0" y="102"/>
                  </a:lnTo>
                  <a:lnTo>
                    <a:pt x="0" y="105"/>
                  </a:lnTo>
                  <a:lnTo>
                    <a:pt x="0" y="108"/>
                  </a:lnTo>
                  <a:lnTo>
                    <a:pt x="1" y="110"/>
                  </a:lnTo>
                  <a:lnTo>
                    <a:pt x="2" y="113"/>
                  </a:lnTo>
                  <a:lnTo>
                    <a:pt x="4" y="116"/>
                  </a:lnTo>
                  <a:lnTo>
                    <a:pt x="7" y="117"/>
                  </a:lnTo>
                  <a:lnTo>
                    <a:pt x="9" y="119"/>
                  </a:lnTo>
                  <a:lnTo>
                    <a:pt x="12" y="120"/>
                  </a:lnTo>
                  <a:lnTo>
                    <a:pt x="15" y="120"/>
                  </a:lnTo>
                  <a:lnTo>
                    <a:pt x="90" y="120"/>
                  </a:lnTo>
                  <a:lnTo>
                    <a:pt x="90" y="195"/>
                  </a:lnTo>
                  <a:lnTo>
                    <a:pt x="90" y="198"/>
                  </a:lnTo>
                  <a:lnTo>
                    <a:pt x="91" y="200"/>
                  </a:lnTo>
                  <a:lnTo>
                    <a:pt x="92" y="204"/>
                  </a:lnTo>
                  <a:lnTo>
                    <a:pt x="94" y="206"/>
                  </a:lnTo>
                  <a:lnTo>
                    <a:pt x="97" y="208"/>
                  </a:lnTo>
                  <a:lnTo>
                    <a:pt x="99" y="209"/>
                  </a:lnTo>
                  <a:lnTo>
                    <a:pt x="102" y="210"/>
                  </a:lnTo>
                  <a:lnTo>
                    <a:pt x="105" y="210"/>
                  </a:lnTo>
                  <a:lnTo>
                    <a:pt x="108" y="210"/>
                  </a:lnTo>
                  <a:lnTo>
                    <a:pt x="111" y="209"/>
                  </a:lnTo>
                  <a:lnTo>
                    <a:pt x="114" y="208"/>
                  </a:lnTo>
                  <a:lnTo>
                    <a:pt x="116" y="206"/>
                  </a:lnTo>
                  <a:lnTo>
                    <a:pt x="117" y="204"/>
                  </a:lnTo>
                  <a:lnTo>
                    <a:pt x="119" y="200"/>
                  </a:lnTo>
                  <a:lnTo>
                    <a:pt x="120" y="198"/>
                  </a:lnTo>
                  <a:lnTo>
                    <a:pt x="120" y="195"/>
                  </a:lnTo>
                  <a:lnTo>
                    <a:pt x="120" y="120"/>
                  </a:lnTo>
                  <a:lnTo>
                    <a:pt x="195" y="120"/>
                  </a:lnTo>
                  <a:lnTo>
                    <a:pt x="198" y="120"/>
                  </a:lnTo>
                  <a:lnTo>
                    <a:pt x="201" y="119"/>
                  </a:lnTo>
                  <a:lnTo>
                    <a:pt x="204" y="117"/>
                  </a:lnTo>
                  <a:lnTo>
                    <a:pt x="206" y="116"/>
                  </a:lnTo>
                  <a:lnTo>
                    <a:pt x="208" y="113"/>
                  </a:lnTo>
                  <a:lnTo>
                    <a:pt x="209" y="110"/>
                  </a:lnTo>
                  <a:lnTo>
                    <a:pt x="210" y="108"/>
                  </a:lnTo>
                  <a:lnTo>
                    <a:pt x="210" y="105"/>
                  </a:lnTo>
                  <a:lnTo>
                    <a:pt x="210" y="102"/>
                  </a:lnTo>
                  <a:lnTo>
                    <a:pt x="209" y="98"/>
                  </a:lnTo>
                  <a:lnTo>
                    <a:pt x="208" y="96"/>
                  </a:lnTo>
                  <a:lnTo>
                    <a:pt x="206" y="94"/>
                  </a:lnTo>
                  <a:lnTo>
                    <a:pt x="204" y="92"/>
                  </a:lnTo>
                  <a:lnTo>
                    <a:pt x="201" y="91"/>
                  </a:lnTo>
                  <a:lnTo>
                    <a:pt x="198" y="90"/>
                  </a:lnTo>
                  <a:lnTo>
                    <a:pt x="19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03" name="Group 74">
            <a:extLst>
              <a:ext uri="{FF2B5EF4-FFF2-40B4-BE49-F238E27FC236}">
                <a16:creationId xmlns:a16="http://schemas.microsoft.com/office/drawing/2014/main" id="{C917479D-FD8C-421F-9049-E69AFA8D20E5}"/>
              </a:ext>
            </a:extLst>
          </p:cNvPr>
          <p:cNvGrpSpPr>
            <a:grpSpLocks noChangeAspect="1"/>
          </p:cNvGrpSpPr>
          <p:nvPr/>
        </p:nvGrpSpPr>
        <p:grpSpPr>
          <a:xfrm>
            <a:off x="5791954" y="4340505"/>
            <a:ext cx="285619" cy="285619"/>
            <a:chOff x="8736013" y="779145"/>
            <a:chExt cx="285750" cy="285750"/>
          </a:xfrm>
          <a:solidFill>
            <a:schemeClr val="bg2"/>
          </a:solidFill>
          <a:effectLst/>
        </p:grpSpPr>
        <p:sp>
          <p:nvSpPr>
            <p:cNvPr id="1704" name="Freeform 95">
              <a:extLst>
                <a:ext uri="{FF2B5EF4-FFF2-40B4-BE49-F238E27FC236}">
                  <a16:creationId xmlns:a16="http://schemas.microsoft.com/office/drawing/2014/main" id="{24EE4054-2246-4EFC-B96B-FC1770E0C25D}"/>
                </a:ext>
              </a:extLst>
            </p:cNvPr>
            <p:cNvSpPr>
              <a:spLocks noEditPoints="1"/>
            </p:cNvSpPr>
            <p:nvPr/>
          </p:nvSpPr>
          <p:spPr bwMode="auto">
            <a:xfrm>
              <a:off x="8736013" y="864870"/>
              <a:ext cx="247650" cy="142875"/>
            </a:xfrm>
            <a:custGeom>
              <a:avLst/>
              <a:gdLst>
                <a:gd name="T0" fmla="*/ 30 w 782"/>
                <a:gd name="T1" fmla="*/ 30 h 452"/>
                <a:gd name="T2" fmla="*/ 752 w 782"/>
                <a:gd name="T3" fmla="*/ 30 h 452"/>
                <a:gd name="T4" fmla="*/ 752 w 782"/>
                <a:gd name="T5" fmla="*/ 60 h 452"/>
                <a:gd name="T6" fmla="*/ 736 w 782"/>
                <a:gd name="T7" fmla="*/ 60 h 452"/>
                <a:gd name="T8" fmla="*/ 54 w 782"/>
                <a:gd name="T9" fmla="*/ 60 h 452"/>
                <a:gd name="T10" fmla="*/ 30 w 782"/>
                <a:gd name="T11" fmla="*/ 60 h 452"/>
                <a:gd name="T12" fmla="*/ 30 w 782"/>
                <a:gd name="T13" fmla="*/ 30 h 452"/>
                <a:gd name="T14" fmla="*/ 72 w 782"/>
                <a:gd name="T15" fmla="*/ 90 h 452"/>
                <a:gd name="T16" fmla="*/ 717 w 782"/>
                <a:gd name="T17" fmla="*/ 90 h 452"/>
                <a:gd name="T18" fmla="*/ 700 w 782"/>
                <a:gd name="T19" fmla="*/ 178 h 452"/>
                <a:gd name="T20" fmla="*/ 729 w 782"/>
                <a:gd name="T21" fmla="*/ 184 h 452"/>
                <a:gd name="T22" fmla="*/ 747 w 782"/>
                <a:gd name="T23" fmla="*/ 90 h 452"/>
                <a:gd name="T24" fmla="*/ 767 w 782"/>
                <a:gd name="T25" fmla="*/ 90 h 452"/>
                <a:gd name="T26" fmla="*/ 770 w 782"/>
                <a:gd name="T27" fmla="*/ 90 h 452"/>
                <a:gd name="T28" fmla="*/ 773 w 782"/>
                <a:gd name="T29" fmla="*/ 89 h 452"/>
                <a:gd name="T30" fmla="*/ 775 w 782"/>
                <a:gd name="T31" fmla="*/ 88 h 452"/>
                <a:gd name="T32" fmla="*/ 777 w 782"/>
                <a:gd name="T33" fmla="*/ 86 h 452"/>
                <a:gd name="T34" fmla="*/ 780 w 782"/>
                <a:gd name="T35" fmla="*/ 84 h 452"/>
                <a:gd name="T36" fmla="*/ 781 w 782"/>
                <a:gd name="T37" fmla="*/ 82 h 452"/>
                <a:gd name="T38" fmla="*/ 782 w 782"/>
                <a:gd name="T39" fmla="*/ 79 h 452"/>
                <a:gd name="T40" fmla="*/ 782 w 782"/>
                <a:gd name="T41" fmla="*/ 75 h 452"/>
                <a:gd name="T42" fmla="*/ 782 w 782"/>
                <a:gd name="T43" fmla="*/ 15 h 452"/>
                <a:gd name="T44" fmla="*/ 782 w 782"/>
                <a:gd name="T45" fmla="*/ 12 h 452"/>
                <a:gd name="T46" fmla="*/ 781 w 782"/>
                <a:gd name="T47" fmla="*/ 10 h 452"/>
                <a:gd name="T48" fmla="*/ 780 w 782"/>
                <a:gd name="T49" fmla="*/ 7 h 452"/>
                <a:gd name="T50" fmla="*/ 777 w 782"/>
                <a:gd name="T51" fmla="*/ 5 h 452"/>
                <a:gd name="T52" fmla="*/ 775 w 782"/>
                <a:gd name="T53" fmla="*/ 4 h 452"/>
                <a:gd name="T54" fmla="*/ 773 w 782"/>
                <a:gd name="T55" fmla="*/ 1 h 452"/>
                <a:gd name="T56" fmla="*/ 770 w 782"/>
                <a:gd name="T57" fmla="*/ 1 h 452"/>
                <a:gd name="T58" fmla="*/ 767 w 782"/>
                <a:gd name="T59" fmla="*/ 0 h 452"/>
                <a:gd name="T60" fmla="*/ 15 w 782"/>
                <a:gd name="T61" fmla="*/ 0 h 452"/>
                <a:gd name="T62" fmla="*/ 12 w 782"/>
                <a:gd name="T63" fmla="*/ 1 h 452"/>
                <a:gd name="T64" fmla="*/ 10 w 782"/>
                <a:gd name="T65" fmla="*/ 1 h 452"/>
                <a:gd name="T66" fmla="*/ 6 w 782"/>
                <a:gd name="T67" fmla="*/ 4 h 452"/>
                <a:gd name="T68" fmla="*/ 4 w 782"/>
                <a:gd name="T69" fmla="*/ 5 h 452"/>
                <a:gd name="T70" fmla="*/ 3 w 782"/>
                <a:gd name="T71" fmla="*/ 7 h 452"/>
                <a:gd name="T72" fmla="*/ 1 w 782"/>
                <a:gd name="T73" fmla="*/ 10 h 452"/>
                <a:gd name="T74" fmla="*/ 0 w 782"/>
                <a:gd name="T75" fmla="*/ 12 h 452"/>
                <a:gd name="T76" fmla="*/ 0 w 782"/>
                <a:gd name="T77" fmla="*/ 15 h 452"/>
                <a:gd name="T78" fmla="*/ 0 w 782"/>
                <a:gd name="T79" fmla="*/ 75 h 452"/>
                <a:gd name="T80" fmla="*/ 0 w 782"/>
                <a:gd name="T81" fmla="*/ 79 h 452"/>
                <a:gd name="T82" fmla="*/ 1 w 782"/>
                <a:gd name="T83" fmla="*/ 82 h 452"/>
                <a:gd name="T84" fmla="*/ 3 w 782"/>
                <a:gd name="T85" fmla="*/ 84 h 452"/>
                <a:gd name="T86" fmla="*/ 4 w 782"/>
                <a:gd name="T87" fmla="*/ 86 h 452"/>
                <a:gd name="T88" fmla="*/ 6 w 782"/>
                <a:gd name="T89" fmla="*/ 88 h 452"/>
                <a:gd name="T90" fmla="*/ 10 w 782"/>
                <a:gd name="T91" fmla="*/ 89 h 452"/>
                <a:gd name="T92" fmla="*/ 12 w 782"/>
                <a:gd name="T93" fmla="*/ 90 h 452"/>
                <a:gd name="T94" fmla="*/ 15 w 782"/>
                <a:gd name="T95" fmla="*/ 90 h 452"/>
                <a:gd name="T96" fmla="*/ 41 w 782"/>
                <a:gd name="T97" fmla="*/ 90 h 452"/>
                <a:gd name="T98" fmla="*/ 115 w 782"/>
                <a:gd name="T99" fmla="*/ 440 h 452"/>
                <a:gd name="T100" fmla="*/ 116 w 782"/>
                <a:gd name="T101" fmla="*/ 444 h 452"/>
                <a:gd name="T102" fmla="*/ 119 w 782"/>
                <a:gd name="T103" fmla="*/ 449 h 452"/>
                <a:gd name="T104" fmla="*/ 124 w 782"/>
                <a:gd name="T105" fmla="*/ 451 h 452"/>
                <a:gd name="T106" fmla="*/ 129 w 782"/>
                <a:gd name="T107" fmla="*/ 452 h 452"/>
                <a:gd name="T108" fmla="*/ 432 w 782"/>
                <a:gd name="T109" fmla="*/ 452 h 452"/>
                <a:gd name="T110" fmla="*/ 432 w 782"/>
                <a:gd name="T111" fmla="*/ 422 h 452"/>
                <a:gd name="T112" fmla="*/ 142 w 782"/>
                <a:gd name="T113" fmla="*/ 422 h 452"/>
                <a:gd name="T114" fmla="*/ 72 w 782"/>
                <a:gd name="T115" fmla="*/ 9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452">
                  <a:moveTo>
                    <a:pt x="30" y="30"/>
                  </a:moveTo>
                  <a:lnTo>
                    <a:pt x="752" y="30"/>
                  </a:lnTo>
                  <a:lnTo>
                    <a:pt x="752" y="60"/>
                  </a:lnTo>
                  <a:lnTo>
                    <a:pt x="736" y="60"/>
                  </a:lnTo>
                  <a:lnTo>
                    <a:pt x="54" y="60"/>
                  </a:lnTo>
                  <a:lnTo>
                    <a:pt x="30" y="60"/>
                  </a:lnTo>
                  <a:lnTo>
                    <a:pt x="30" y="30"/>
                  </a:lnTo>
                  <a:close/>
                  <a:moveTo>
                    <a:pt x="72" y="90"/>
                  </a:moveTo>
                  <a:lnTo>
                    <a:pt x="717" y="90"/>
                  </a:lnTo>
                  <a:lnTo>
                    <a:pt x="700" y="178"/>
                  </a:lnTo>
                  <a:lnTo>
                    <a:pt x="729" y="184"/>
                  </a:lnTo>
                  <a:lnTo>
                    <a:pt x="747" y="90"/>
                  </a:lnTo>
                  <a:lnTo>
                    <a:pt x="767" y="90"/>
                  </a:lnTo>
                  <a:lnTo>
                    <a:pt x="770" y="90"/>
                  </a:lnTo>
                  <a:lnTo>
                    <a:pt x="773" y="89"/>
                  </a:lnTo>
                  <a:lnTo>
                    <a:pt x="775" y="88"/>
                  </a:lnTo>
                  <a:lnTo>
                    <a:pt x="777" y="86"/>
                  </a:lnTo>
                  <a:lnTo>
                    <a:pt x="780" y="84"/>
                  </a:lnTo>
                  <a:lnTo>
                    <a:pt x="781" y="82"/>
                  </a:lnTo>
                  <a:lnTo>
                    <a:pt x="782" y="79"/>
                  </a:lnTo>
                  <a:lnTo>
                    <a:pt x="782" y="75"/>
                  </a:lnTo>
                  <a:lnTo>
                    <a:pt x="782" y="15"/>
                  </a:lnTo>
                  <a:lnTo>
                    <a:pt x="782" y="12"/>
                  </a:lnTo>
                  <a:lnTo>
                    <a:pt x="781" y="10"/>
                  </a:lnTo>
                  <a:lnTo>
                    <a:pt x="780" y="7"/>
                  </a:lnTo>
                  <a:lnTo>
                    <a:pt x="777" y="5"/>
                  </a:lnTo>
                  <a:lnTo>
                    <a:pt x="775" y="4"/>
                  </a:lnTo>
                  <a:lnTo>
                    <a:pt x="773" y="1"/>
                  </a:lnTo>
                  <a:lnTo>
                    <a:pt x="770" y="1"/>
                  </a:lnTo>
                  <a:lnTo>
                    <a:pt x="767" y="0"/>
                  </a:lnTo>
                  <a:lnTo>
                    <a:pt x="15" y="0"/>
                  </a:lnTo>
                  <a:lnTo>
                    <a:pt x="12" y="1"/>
                  </a:lnTo>
                  <a:lnTo>
                    <a:pt x="10" y="1"/>
                  </a:lnTo>
                  <a:lnTo>
                    <a:pt x="6" y="4"/>
                  </a:lnTo>
                  <a:lnTo>
                    <a:pt x="4" y="5"/>
                  </a:lnTo>
                  <a:lnTo>
                    <a:pt x="3" y="7"/>
                  </a:lnTo>
                  <a:lnTo>
                    <a:pt x="1" y="10"/>
                  </a:lnTo>
                  <a:lnTo>
                    <a:pt x="0" y="12"/>
                  </a:lnTo>
                  <a:lnTo>
                    <a:pt x="0" y="15"/>
                  </a:lnTo>
                  <a:lnTo>
                    <a:pt x="0" y="75"/>
                  </a:lnTo>
                  <a:lnTo>
                    <a:pt x="0" y="79"/>
                  </a:lnTo>
                  <a:lnTo>
                    <a:pt x="1" y="82"/>
                  </a:lnTo>
                  <a:lnTo>
                    <a:pt x="3" y="84"/>
                  </a:lnTo>
                  <a:lnTo>
                    <a:pt x="4" y="86"/>
                  </a:lnTo>
                  <a:lnTo>
                    <a:pt x="6" y="88"/>
                  </a:lnTo>
                  <a:lnTo>
                    <a:pt x="10" y="89"/>
                  </a:lnTo>
                  <a:lnTo>
                    <a:pt x="12" y="90"/>
                  </a:lnTo>
                  <a:lnTo>
                    <a:pt x="15" y="90"/>
                  </a:lnTo>
                  <a:lnTo>
                    <a:pt x="41" y="90"/>
                  </a:lnTo>
                  <a:lnTo>
                    <a:pt x="115" y="440"/>
                  </a:lnTo>
                  <a:lnTo>
                    <a:pt x="116" y="444"/>
                  </a:lnTo>
                  <a:lnTo>
                    <a:pt x="119" y="449"/>
                  </a:lnTo>
                  <a:lnTo>
                    <a:pt x="124" y="451"/>
                  </a:lnTo>
                  <a:lnTo>
                    <a:pt x="129" y="452"/>
                  </a:lnTo>
                  <a:lnTo>
                    <a:pt x="432" y="452"/>
                  </a:lnTo>
                  <a:lnTo>
                    <a:pt x="432" y="422"/>
                  </a:lnTo>
                  <a:lnTo>
                    <a:pt x="142" y="422"/>
                  </a:lnTo>
                  <a:lnTo>
                    <a:pt x="7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5" name="Freeform 96">
              <a:extLst>
                <a:ext uri="{FF2B5EF4-FFF2-40B4-BE49-F238E27FC236}">
                  <a16:creationId xmlns:a16="http://schemas.microsoft.com/office/drawing/2014/main" id="{70C9857D-F6C1-4773-A255-D8F726530D44}"/>
                </a:ext>
              </a:extLst>
            </p:cNvPr>
            <p:cNvSpPr>
              <a:spLocks/>
            </p:cNvSpPr>
            <p:nvPr/>
          </p:nvSpPr>
          <p:spPr bwMode="auto">
            <a:xfrm>
              <a:off x="8772525" y="779145"/>
              <a:ext cx="80963" cy="69850"/>
            </a:xfrm>
            <a:custGeom>
              <a:avLst/>
              <a:gdLst>
                <a:gd name="T0" fmla="*/ 15 w 257"/>
                <a:gd name="T1" fmla="*/ 220 h 220"/>
                <a:gd name="T2" fmla="*/ 20 w 257"/>
                <a:gd name="T3" fmla="*/ 219 h 220"/>
                <a:gd name="T4" fmla="*/ 24 w 257"/>
                <a:gd name="T5" fmla="*/ 217 h 220"/>
                <a:gd name="T6" fmla="*/ 252 w 257"/>
                <a:gd name="T7" fmla="*/ 27 h 220"/>
                <a:gd name="T8" fmla="*/ 254 w 257"/>
                <a:gd name="T9" fmla="*/ 25 h 220"/>
                <a:gd name="T10" fmla="*/ 256 w 257"/>
                <a:gd name="T11" fmla="*/ 22 h 220"/>
                <a:gd name="T12" fmla="*/ 257 w 257"/>
                <a:gd name="T13" fmla="*/ 19 h 220"/>
                <a:gd name="T14" fmla="*/ 257 w 257"/>
                <a:gd name="T15" fmla="*/ 16 h 220"/>
                <a:gd name="T16" fmla="*/ 257 w 257"/>
                <a:gd name="T17" fmla="*/ 13 h 220"/>
                <a:gd name="T18" fmla="*/ 257 w 257"/>
                <a:gd name="T19" fmla="*/ 11 h 220"/>
                <a:gd name="T20" fmla="*/ 256 w 257"/>
                <a:gd name="T21" fmla="*/ 8 h 220"/>
                <a:gd name="T22" fmla="*/ 254 w 257"/>
                <a:gd name="T23" fmla="*/ 6 h 220"/>
                <a:gd name="T24" fmla="*/ 252 w 257"/>
                <a:gd name="T25" fmla="*/ 3 h 220"/>
                <a:gd name="T26" fmla="*/ 250 w 257"/>
                <a:gd name="T27" fmla="*/ 1 h 220"/>
                <a:gd name="T28" fmla="*/ 246 w 257"/>
                <a:gd name="T29" fmla="*/ 0 h 220"/>
                <a:gd name="T30" fmla="*/ 244 w 257"/>
                <a:gd name="T31" fmla="*/ 0 h 220"/>
                <a:gd name="T32" fmla="*/ 241 w 257"/>
                <a:gd name="T33" fmla="*/ 0 h 220"/>
                <a:gd name="T34" fmla="*/ 238 w 257"/>
                <a:gd name="T35" fmla="*/ 1 h 220"/>
                <a:gd name="T36" fmla="*/ 236 w 257"/>
                <a:gd name="T37" fmla="*/ 2 h 220"/>
                <a:gd name="T38" fmla="*/ 232 w 257"/>
                <a:gd name="T39" fmla="*/ 3 h 220"/>
                <a:gd name="T40" fmla="*/ 5 w 257"/>
                <a:gd name="T41" fmla="*/ 193 h 220"/>
                <a:gd name="T42" fmla="*/ 3 w 257"/>
                <a:gd name="T43" fmla="*/ 195 h 220"/>
                <a:gd name="T44" fmla="*/ 2 w 257"/>
                <a:gd name="T45" fmla="*/ 198 h 220"/>
                <a:gd name="T46" fmla="*/ 1 w 257"/>
                <a:gd name="T47" fmla="*/ 201 h 220"/>
                <a:gd name="T48" fmla="*/ 0 w 257"/>
                <a:gd name="T49" fmla="*/ 203 h 220"/>
                <a:gd name="T50" fmla="*/ 0 w 257"/>
                <a:gd name="T51" fmla="*/ 206 h 220"/>
                <a:gd name="T52" fmla="*/ 1 w 257"/>
                <a:gd name="T53" fmla="*/ 209 h 220"/>
                <a:gd name="T54" fmla="*/ 2 w 257"/>
                <a:gd name="T55" fmla="*/ 211 h 220"/>
                <a:gd name="T56" fmla="*/ 4 w 257"/>
                <a:gd name="T57" fmla="*/ 215 h 220"/>
                <a:gd name="T58" fmla="*/ 6 w 257"/>
                <a:gd name="T59" fmla="*/ 217 h 220"/>
                <a:gd name="T60" fmla="*/ 8 w 257"/>
                <a:gd name="T61" fmla="*/ 218 h 220"/>
                <a:gd name="T62" fmla="*/ 11 w 257"/>
                <a:gd name="T63" fmla="*/ 219 h 220"/>
                <a:gd name="T64" fmla="*/ 15 w 257"/>
                <a:gd name="T6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15" y="220"/>
                  </a:moveTo>
                  <a:lnTo>
                    <a:pt x="20" y="219"/>
                  </a:lnTo>
                  <a:lnTo>
                    <a:pt x="24" y="217"/>
                  </a:lnTo>
                  <a:lnTo>
                    <a:pt x="252" y="27"/>
                  </a:lnTo>
                  <a:lnTo>
                    <a:pt x="254" y="25"/>
                  </a:lnTo>
                  <a:lnTo>
                    <a:pt x="256" y="22"/>
                  </a:lnTo>
                  <a:lnTo>
                    <a:pt x="257" y="19"/>
                  </a:lnTo>
                  <a:lnTo>
                    <a:pt x="257" y="16"/>
                  </a:lnTo>
                  <a:lnTo>
                    <a:pt x="257" y="13"/>
                  </a:lnTo>
                  <a:lnTo>
                    <a:pt x="257" y="11"/>
                  </a:lnTo>
                  <a:lnTo>
                    <a:pt x="256" y="8"/>
                  </a:lnTo>
                  <a:lnTo>
                    <a:pt x="254" y="6"/>
                  </a:lnTo>
                  <a:lnTo>
                    <a:pt x="252" y="3"/>
                  </a:lnTo>
                  <a:lnTo>
                    <a:pt x="250" y="1"/>
                  </a:lnTo>
                  <a:lnTo>
                    <a:pt x="246" y="0"/>
                  </a:lnTo>
                  <a:lnTo>
                    <a:pt x="244" y="0"/>
                  </a:lnTo>
                  <a:lnTo>
                    <a:pt x="241" y="0"/>
                  </a:lnTo>
                  <a:lnTo>
                    <a:pt x="238" y="1"/>
                  </a:lnTo>
                  <a:lnTo>
                    <a:pt x="236" y="2"/>
                  </a:lnTo>
                  <a:lnTo>
                    <a:pt x="232" y="3"/>
                  </a:lnTo>
                  <a:lnTo>
                    <a:pt x="5" y="193"/>
                  </a:lnTo>
                  <a:lnTo>
                    <a:pt x="3" y="195"/>
                  </a:lnTo>
                  <a:lnTo>
                    <a:pt x="2" y="198"/>
                  </a:lnTo>
                  <a:lnTo>
                    <a:pt x="1" y="201"/>
                  </a:lnTo>
                  <a:lnTo>
                    <a:pt x="0" y="203"/>
                  </a:lnTo>
                  <a:lnTo>
                    <a:pt x="0" y="206"/>
                  </a:lnTo>
                  <a:lnTo>
                    <a:pt x="1" y="209"/>
                  </a:lnTo>
                  <a:lnTo>
                    <a:pt x="2" y="211"/>
                  </a:lnTo>
                  <a:lnTo>
                    <a:pt x="4" y="215"/>
                  </a:lnTo>
                  <a:lnTo>
                    <a:pt x="6" y="217"/>
                  </a:lnTo>
                  <a:lnTo>
                    <a:pt x="8" y="218"/>
                  </a:lnTo>
                  <a:lnTo>
                    <a:pt x="11" y="219"/>
                  </a:lnTo>
                  <a:lnTo>
                    <a:pt x="15"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6" name="Freeform 97">
              <a:extLst>
                <a:ext uri="{FF2B5EF4-FFF2-40B4-BE49-F238E27FC236}">
                  <a16:creationId xmlns:a16="http://schemas.microsoft.com/office/drawing/2014/main" id="{6FB164E5-B655-441E-AFA4-3479E97160F7}"/>
                </a:ext>
              </a:extLst>
            </p:cNvPr>
            <p:cNvSpPr>
              <a:spLocks/>
            </p:cNvSpPr>
            <p:nvPr/>
          </p:nvSpPr>
          <p:spPr bwMode="auto">
            <a:xfrm>
              <a:off x="8867775" y="779145"/>
              <a:ext cx="82550" cy="69850"/>
            </a:xfrm>
            <a:custGeom>
              <a:avLst/>
              <a:gdLst>
                <a:gd name="T0" fmla="*/ 233 w 257"/>
                <a:gd name="T1" fmla="*/ 216 h 220"/>
                <a:gd name="T2" fmla="*/ 238 w 257"/>
                <a:gd name="T3" fmla="*/ 219 h 220"/>
                <a:gd name="T4" fmla="*/ 242 w 257"/>
                <a:gd name="T5" fmla="*/ 220 h 220"/>
                <a:gd name="T6" fmla="*/ 246 w 257"/>
                <a:gd name="T7" fmla="*/ 219 h 220"/>
                <a:gd name="T8" fmla="*/ 249 w 257"/>
                <a:gd name="T9" fmla="*/ 218 h 220"/>
                <a:gd name="T10" fmla="*/ 252 w 257"/>
                <a:gd name="T11" fmla="*/ 217 h 220"/>
                <a:gd name="T12" fmla="*/ 254 w 257"/>
                <a:gd name="T13" fmla="*/ 215 h 220"/>
                <a:gd name="T14" fmla="*/ 256 w 257"/>
                <a:gd name="T15" fmla="*/ 211 h 220"/>
                <a:gd name="T16" fmla="*/ 257 w 257"/>
                <a:gd name="T17" fmla="*/ 209 h 220"/>
                <a:gd name="T18" fmla="*/ 257 w 257"/>
                <a:gd name="T19" fmla="*/ 206 h 220"/>
                <a:gd name="T20" fmla="*/ 257 w 257"/>
                <a:gd name="T21" fmla="*/ 203 h 220"/>
                <a:gd name="T22" fmla="*/ 257 w 257"/>
                <a:gd name="T23" fmla="*/ 201 h 220"/>
                <a:gd name="T24" fmla="*/ 256 w 257"/>
                <a:gd name="T25" fmla="*/ 198 h 220"/>
                <a:gd name="T26" fmla="*/ 254 w 257"/>
                <a:gd name="T27" fmla="*/ 195 h 220"/>
                <a:gd name="T28" fmla="*/ 252 w 257"/>
                <a:gd name="T29" fmla="*/ 193 h 220"/>
                <a:gd name="T30" fmla="*/ 25 w 257"/>
                <a:gd name="T31" fmla="*/ 3 h 220"/>
                <a:gd name="T32" fmla="*/ 23 w 257"/>
                <a:gd name="T33" fmla="*/ 2 h 220"/>
                <a:gd name="T34" fmla="*/ 19 w 257"/>
                <a:gd name="T35" fmla="*/ 0 h 220"/>
                <a:gd name="T36" fmla="*/ 17 w 257"/>
                <a:gd name="T37" fmla="*/ 0 h 220"/>
                <a:gd name="T38" fmla="*/ 14 w 257"/>
                <a:gd name="T39" fmla="*/ 0 h 220"/>
                <a:gd name="T40" fmla="*/ 11 w 257"/>
                <a:gd name="T41" fmla="*/ 0 h 220"/>
                <a:gd name="T42" fmla="*/ 9 w 257"/>
                <a:gd name="T43" fmla="*/ 1 h 220"/>
                <a:gd name="T44" fmla="*/ 5 w 257"/>
                <a:gd name="T45" fmla="*/ 3 h 220"/>
                <a:gd name="T46" fmla="*/ 3 w 257"/>
                <a:gd name="T47" fmla="*/ 6 h 220"/>
                <a:gd name="T48" fmla="*/ 2 w 257"/>
                <a:gd name="T49" fmla="*/ 8 h 220"/>
                <a:gd name="T50" fmla="*/ 1 w 257"/>
                <a:gd name="T51" fmla="*/ 11 h 220"/>
                <a:gd name="T52" fmla="*/ 0 w 257"/>
                <a:gd name="T53" fmla="*/ 13 h 220"/>
                <a:gd name="T54" fmla="*/ 0 w 257"/>
                <a:gd name="T55" fmla="*/ 16 h 220"/>
                <a:gd name="T56" fmla="*/ 1 w 257"/>
                <a:gd name="T57" fmla="*/ 19 h 220"/>
                <a:gd name="T58" fmla="*/ 2 w 257"/>
                <a:gd name="T59" fmla="*/ 22 h 220"/>
                <a:gd name="T60" fmla="*/ 3 w 257"/>
                <a:gd name="T61" fmla="*/ 25 h 220"/>
                <a:gd name="T62" fmla="*/ 5 w 257"/>
                <a:gd name="T63" fmla="*/ 27 h 220"/>
                <a:gd name="T64" fmla="*/ 233 w 257"/>
                <a:gd name="T65" fmla="*/ 2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233" y="216"/>
                  </a:moveTo>
                  <a:lnTo>
                    <a:pt x="238" y="219"/>
                  </a:lnTo>
                  <a:lnTo>
                    <a:pt x="242" y="220"/>
                  </a:lnTo>
                  <a:lnTo>
                    <a:pt x="246" y="219"/>
                  </a:lnTo>
                  <a:lnTo>
                    <a:pt x="249" y="218"/>
                  </a:lnTo>
                  <a:lnTo>
                    <a:pt x="252" y="217"/>
                  </a:lnTo>
                  <a:lnTo>
                    <a:pt x="254" y="215"/>
                  </a:lnTo>
                  <a:lnTo>
                    <a:pt x="256" y="211"/>
                  </a:lnTo>
                  <a:lnTo>
                    <a:pt x="257" y="209"/>
                  </a:lnTo>
                  <a:lnTo>
                    <a:pt x="257" y="206"/>
                  </a:lnTo>
                  <a:lnTo>
                    <a:pt x="257" y="203"/>
                  </a:lnTo>
                  <a:lnTo>
                    <a:pt x="257" y="201"/>
                  </a:lnTo>
                  <a:lnTo>
                    <a:pt x="256" y="198"/>
                  </a:lnTo>
                  <a:lnTo>
                    <a:pt x="254" y="195"/>
                  </a:lnTo>
                  <a:lnTo>
                    <a:pt x="252" y="193"/>
                  </a:lnTo>
                  <a:lnTo>
                    <a:pt x="25" y="3"/>
                  </a:lnTo>
                  <a:lnTo>
                    <a:pt x="23" y="2"/>
                  </a:lnTo>
                  <a:lnTo>
                    <a:pt x="19" y="0"/>
                  </a:lnTo>
                  <a:lnTo>
                    <a:pt x="17" y="0"/>
                  </a:lnTo>
                  <a:lnTo>
                    <a:pt x="14" y="0"/>
                  </a:lnTo>
                  <a:lnTo>
                    <a:pt x="11" y="0"/>
                  </a:lnTo>
                  <a:lnTo>
                    <a:pt x="9" y="1"/>
                  </a:lnTo>
                  <a:lnTo>
                    <a:pt x="5" y="3"/>
                  </a:lnTo>
                  <a:lnTo>
                    <a:pt x="3" y="6"/>
                  </a:lnTo>
                  <a:lnTo>
                    <a:pt x="2" y="8"/>
                  </a:lnTo>
                  <a:lnTo>
                    <a:pt x="1" y="11"/>
                  </a:lnTo>
                  <a:lnTo>
                    <a:pt x="0" y="13"/>
                  </a:lnTo>
                  <a:lnTo>
                    <a:pt x="0" y="16"/>
                  </a:lnTo>
                  <a:lnTo>
                    <a:pt x="1" y="19"/>
                  </a:lnTo>
                  <a:lnTo>
                    <a:pt x="2" y="22"/>
                  </a:lnTo>
                  <a:lnTo>
                    <a:pt x="3" y="25"/>
                  </a:lnTo>
                  <a:lnTo>
                    <a:pt x="5" y="27"/>
                  </a:lnTo>
                  <a:lnTo>
                    <a:pt x="233"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7" name="Freeform 98">
              <a:extLst>
                <a:ext uri="{FF2B5EF4-FFF2-40B4-BE49-F238E27FC236}">
                  <a16:creationId xmlns:a16="http://schemas.microsoft.com/office/drawing/2014/main" id="{ACE0BD99-EC25-4C12-AACD-BB8A5B0551B3}"/>
                </a:ext>
              </a:extLst>
            </p:cNvPr>
            <p:cNvSpPr>
              <a:spLocks noEditPoints="1"/>
            </p:cNvSpPr>
            <p:nvPr/>
          </p:nvSpPr>
          <p:spPr bwMode="auto">
            <a:xfrm>
              <a:off x="8897938" y="941070"/>
              <a:ext cx="123825" cy="123825"/>
            </a:xfrm>
            <a:custGeom>
              <a:avLst/>
              <a:gdLst>
                <a:gd name="T0" fmla="*/ 162 w 391"/>
                <a:gd name="T1" fmla="*/ 357 h 390"/>
                <a:gd name="T2" fmla="*/ 117 w 391"/>
                <a:gd name="T3" fmla="*/ 340 h 390"/>
                <a:gd name="T4" fmla="*/ 79 w 391"/>
                <a:gd name="T5" fmla="*/ 312 h 390"/>
                <a:gd name="T6" fmla="*/ 51 w 391"/>
                <a:gd name="T7" fmla="*/ 273 h 390"/>
                <a:gd name="T8" fmla="*/ 34 w 391"/>
                <a:gd name="T9" fmla="*/ 228 h 390"/>
                <a:gd name="T10" fmla="*/ 32 w 391"/>
                <a:gd name="T11" fmla="*/ 178 h 390"/>
                <a:gd name="T12" fmla="*/ 43 w 391"/>
                <a:gd name="T13" fmla="*/ 131 h 390"/>
                <a:gd name="T14" fmla="*/ 68 w 391"/>
                <a:gd name="T15" fmla="*/ 90 h 390"/>
                <a:gd name="T16" fmla="*/ 103 w 391"/>
                <a:gd name="T17" fmla="*/ 58 h 390"/>
                <a:gd name="T18" fmla="*/ 146 w 391"/>
                <a:gd name="T19" fmla="*/ 37 h 390"/>
                <a:gd name="T20" fmla="*/ 196 w 391"/>
                <a:gd name="T21" fmla="*/ 30 h 390"/>
                <a:gd name="T22" fmla="*/ 245 w 391"/>
                <a:gd name="T23" fmla="*/ 37 h 390"/>
                <a:gd name="T24" fmla="*/ 288 w 391"/>
                <a:gd name="T25" fmla="*/ 58 h 390"/>
                <a:gd name="T26" fmla="*/ 323 w 391"/>
                <a:gd name="T27" fmla="*/ 90 h 390"/>
                <a:gd name="T28" fmla="*/ 348 w 391"/>
                <a:gd name="T29" fmla="*/ 131 h 390"/>
                <a:gd name="T30" fmla="*/ 361 w 391"/>
                <a:gd name="T31" fmla="*/ 178 h 390"/>
                <a:gd name="T32" fmla="*/ 358 w 391"/>
                <a:gd name="T33" fmla="*/ 228 h 390"/>
                <a:gd name="T34" fmla="*/ 341 w 391"/>
                <a:gd name="T35" fmla="*/ 273 h 390"/>
                <a:gd name="T36" fmla="*/ 312 w 391"/>
                <a:gd name="T37" fmla="*/ 312 h 390"/>
                <a:gd name="T38" fmla="*/ 275 w 391"/>
                <a:gd name="T39" fmla="*/ 340 h 390"/>
                <a:gd name="T40" fmla="*/ 229 w 391"/>
                <a:gd name="T41" fmla="*/ 357 h 390"/>
                <a:gd name="T42" fmla="*/ 196 w 391"/>
                <a:gd name="T43" fmla="*/ 0 h 390"/>
                <a:gd name="T44" fmla="*/ 138 w 391"/>
                <a:gd name="T45" fmla="*/ 8 h 390"/>
                <a:gd name="T46" fmla="*/ 86 w 391"/>
                <a:gd name="T47" fmla="*/ 33 h 390"/>
                <a:gd name="T48" fmla="*/ 46 w 391"/>
                <a:gd name="T49" fmla="*/ 70 h 390"/>
                <a:gd name="T50" fmla="*/ 15 w 391"/>
                <a:gd name="T51" fmla="*/ 119 h 390"/>
                <a:gd name="T52" fmla="*/ 2 w 391"/>
                <a:gd name="T53" fmla="*/ 174 h 390"/>
                <a:gd name="T54" fmla="*/ 5 w 391"/>
                <a:gd name="T55" fmla="*/ 233 h 390"/>
                <a:gd name="T56" fmla="*/ 24 w 391"/>
                <a:gd name="T57" fmla="*/ 288 h 390"/>
                <a:gd name="T58" fmla="*/ 57 w 391"/>
                <a:gd name="T59" fmla="*/ 333 h 390"/>
                <a:gd name="T60" fmla="*/ 102 w 391"/>
                <a:gd name="T61" fmla="*/ 366 h 390"/>
                <a:gd name="T62" fmla="*/ 156 w 391"/>
                <a:gd name="T63" fmla="*/ 386 h 390"/>
                <a:gd name="T64" fmla="*/ 216 w 391"/>
                <a:gd name="T65" fmla="*/ 389 h 390"/>
                <a:gd name="T66" fmla="*/ 272 w 391"/>
                <a:gd name="T67" fmla="*/ 375 h 390"/>
                <a:gd name="T68" fmla="*/ 320 w 391"/>
                <a:gd name="T69" fmla="*/ 345 h 390"/>
                <a:gd name="T70" fmla="*/ 358 w 391"/>
                <a:gd name="T71" fmla="*/ 304 h 390"/>
                <a:gd name="T72" fmla="*/ 382 w 391"/>
                <a:gd name="T73" fmla="*/ 253 h 390"/>
                <a:gd name="T74" fmla="*/ 391 w 391"/>
                <a:gd name="T75" fmla="*/ 195 h 390"/>
                <a:gd name="T76" fmla="*/ 382 w 391"/>
                <a:gd name="T77" fmla="*/ 137 h 390"/>
                <a:gd name="T78" fmla="*/ 358 w 391"/>
                <a:gd name="T79" fmla="*/ 85 h 390"/>
                <a:gd name="T80" fmla="*/ 320 w 391"/>
                <a:gd name="T81" fmla="*/ 44 h 390"/>
                <a:gd name="T82" fmla="*/ 272 w 391"/>
                <a:gd name="T83" fmla="*/ 15 h 390"/>
                <a:gd name="T84" fmla="*/ 216 w 391"/>
                <a:gd name="T8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0">
                  <a:moveTo>
                    <a:pt x="196" y="360"/>
                  </a:moveTo>
                  <a:lnTo>
                    <a:pt x="178" y="359"/>
                  </a:lnTo>
                  <a:lnTo>
                    <a:pt x="162" y="357"/>
                  </a:lnTo>
                  <a:lnTo>
                    <a:pt x="146" y="353"/>
                  </a:lnTo>
                  <a:lnTo>
                    <a:pt x="131" y="347"/>
                  </a:lnTo>
                  <a:lnTo>
                    <a:pt x="117" y="340"/>
                  </a:lnTo>
                  <a:lnTo>
                    <a:pt x="103" y="332"/>
                  </a:lnTo>
                  <a:lnTo>
                    <a:pt x="91" y="322"/>
                  </a:lnTo>
                  <a:lnTo>
                    <a:pt x="79" y="312"/>
                  </a:lnTo>
                  <a:lnTo>
                    <a:pt x="68" y="300"/>
                  </a:lnTo>
                  <a:lnTo>
                    <a:pt x="58" y="287"/>
                  </a:lnTo>
                  <a:lnTo>
                    <a:pt x="51" y="273"/>
                  </a:lnTo>
                  <a:lnTo>
                    <a:pt x="43" y="259"/>
                  </a:lnTo>
                  <a:lnTo>
                    <a:pt x="38" y="244"/>
                  </a:lnTo>
                  <a:lnTo>
                    <a:pt x="34" y="228"/>
                  </a:lnTo>
                  <a:lnTo>
                    <a:pt x="32" y="212"/>
                  </a:lnTo>
                  <a:lnTo>
                    <a:pt x="31" y="195"/>
                  </a:lnTo>
                  <a:lnTo>
                    <a:pt x="32" y="178"/>
                  </a:lnTo>
                  <a:lnTo>
                    <a:pt x="34" y="162"/>
                  </a:lnTo>
                  <a:lnTo>
                    <a:pt x="38" y="146"/>
                  </a:lnTo>
                  <a:lnTo>
                    <a:pt x="43" y="131"/>
                  </a:lnTo>
                  <a:lnTo>
                    <a:pt x="51" y="116"/>
                  </a:lnTo>
                  <a:lnTo>
                    <a:pt x="58" y="103"/>
                  </a:lnTo>
                  <a:lnTo>
                    <a:pt x="68" y="90"/>
                  </a:lnTo>
                  <a:lnTo>
                    <a:pt x="79" y="78"/>
                  </a:lnTo>
                  <a:lnTo>
                    <a:pt x="91" y="67"/>
                  </a:lnTo>
                  <a:lnTo>
                    <a:pt x="103" y="58"/>
                  </a:lnTo>
                  <a:lnTo>
                    <a:pt x="117" y="49"/>
                  </a:lnTo>
                  <a:lnTo>
                    <a:pt x="131" y="43"/>
                  </a:lnTo>
                  <a:lnTo>
                    <a:pt x="146" y="37"/>
                  </a:lnTo>
                  <a:lnTo>
                    <a:pt x="162" y="33"/>
                  </a:lnTo>
                  <a:lnTo>
                    <a:pt x="178" y="30"/>
                  </a:lnTo>
                  <a:lnTo>
                    <a:pt x="196" y="30"/>
                  </a:lnTo>
                  <a:lnTo>
                    <a:pt x="213" y="30"/>
                  </a:lnTo>
                  <a:lnTo>
                    <a:pt x="229" y="33"/>
                  </a:lnTo>
                  <a:lnTo>
                    <a:pt x="245" y="37"/>
                  </a:lnTo>
                  <a:lnTo>
                    <a:pt x="260" y="43"/>
                  </a:lnTo>
                  <a:lnTo>
                    <a:pt x="275" y="49"/>
                  </a:lnTo>
                  <a:lnTo>
                    <a:pt x="288" y="58"/>
                  </a:lnTo>
                  <a:lnTo>
                    <a:pt x="301" y="67"/>
                  </a:lnTo>
                  <a:lnTo>
                    <a:pt x="312" y="78"/>
                  </a:lnTo>
                  <a:lnTo>
                    <a:pt x="323" y="90"/>
                  </a:lnTo>
                  <a:lnTo>
                    <a:pt x="333" y="103"/>
                  </a:lnTo>
                  <a:lnTo>
                    <a:pt x="341" y="116"/>
                  </a:lnTo>
                  <a:lnTo>
                    <a:pt x="348" y="131"/>
                  </a:lnTo>
                  <a:lnTo>
                    <a:pt x="353" y="146"/>
                  </a:lnTo>
                  <a:lnTo>
                    <a:pt x="358" y="162"/>
                  </a:lnTo>
                  <a:lnTo>
                    <a:pt x="361" y="178"/>
                  </a:lnTo>
                  <a:lnTo>
                    <a:pt x="361" y="195"/>
                  </a:lnTo>
                  <a:lnTo>
                    <a:pt x="361" y="212"/>
                  </a:lnTo>
                  <a:lnTo>
                    <a:pt x="358" y="228"/>
                  </a:lnTo>
                  <a:lnTo>
                    <a:pt x="353" y="244"/>
                  </a:lnTo>
                  <a:lnTo>
                    <a:pt x="348" y="259"/>
                  </a:lnTo>
                  <a:lnTo>
                    <a:pt x="341" y="273"/>
                  </a:lnTo>
                  <a:lnTo>
                    <a:pt x="333" y="287"/>
                  </a:lnTo>
                  <a:lnTo>
                    <a:pt x="323" y="300"/>
                  </a:lnTo>
                  <a:lnTo>
                    <a:pt x="312" y="312"/>
                  </a:lnTo>
                  <a:lnTo>
                    <a:pt x="301" y="322"/>
                  </a:lnTo>
                  <a:lnTo>
                    <a:pt x="288" y="332"/>
                  </a:lnTo>
                  <a:lnTo>
                    <a:pt x="275" y="340"/>
                  </a:lnTo>
                  <a:lnTo>
                    <a:pt x="260" y="347"/>
                  </a:lnTo>
                  <a:lnTo>
                    <a:pt x="245" y="353"/>
                  </a:lnTo>
                  <a:lnTo>
                    <a:pt x="229" y="357"/>
                  </a:lnTo>
                  <a:lnTo>
                    <a:pt x="213" y="359"/>
                  </a:lnTo>
                  <a:lnTo>
                    <a:pt x="196" y="360"/>
                  </a:lnTo>
                  <a:close/>
                  <a:moveTo>
                    <a:pt x="196" y="0"/>
                  </a:moveTo>
                  <a:lnTo>
                    <a:pt x="176" y="0"/>
                  </a:lnTo>
                  <a:lnTo>
                    <a:pt x="156" y="3"/>
                  </a:lnTo>
                  <a:lnTo>
                    <a:pt x="138" y="8"/>
                  </a:lnTo>
                  <a:lnTo>
                    <a:pt x="119" y="15"/>
                  </a:lnTo>
                  <a:lnTo>
                    <a:pt x="102" y="23"/>
                  </a:lnTo>
                  <a:lnTo>
                    <a:pt x="86" y="33"/>
                  </a:lnTo>
                  <a:lnTo>
                    <a:pt x="71" y="44"/>
                  </a:lnTo>
                  <a:lnTo>
                    <a:pt x="57" y="57"/>
                  </a:lnTo>
                  <a:lnTo>
                    <a:pt x="46" y="70"/>
                  </a:lnTo>
                  <a:lnTo>
                    <a:pt x="34" y="85"/>
                  </a:lnTo>
                  <a:lnTo>
                    <a:pt x="24" y="102"/>
                  </a:lnTo>
                  <a:lnTo>
                    <a:pt x="15" y="119"/>
                  </a:lnTo>
                  <a:lnTo>
                    <a:pt x="9" y="137"/>
                  </a:lnTo>
                  <a:lnTo>
                    <a:pt x="5" y="155"/>
                  </a:lnTo>
                  <a:lnTo>
                    <a:pt x="2" y="174"/>
                  </a:lnTo>
                  <a:lnTo>
                    <a:pt x="0" y="195"/>
                  </a:lnTo>
                  <a:lnTo>
                    <a:pt x="2" y="214"/>
                  </a:lnTo>
                  <a:lnTo>
                    <a:pt x="5" y="233"/>
                  </a:lnTo>
                  <a:lnTo>
                    <a:pt x="9" y="253"/>
                  </a:lnTo>
                  <a:lnTo>
                    <a:pt x="15" y="271"/>
                  </a:lnTo>
                  <a:lnTo>
                    <a:pt x="24" y="288"/>
                  </a:lnTo>
                  <a:lnTo>
                    <a:pt x="34" y="304"/>
                  </a:lnTo>
                  <a:lnTo>
                    <a:pt x="46" y="319"/>
                  </a:lnTo>
                  <a:lnTo>
                    <a:pt x="57" y="333"/>
                  </a:lnTo>
                  <a:lnTo>
                    <a:pt x="71" y="345"/>
                  </a:lnTo>
                  <a:lnTo>
                    <a:pt x="86" y="357"/>
                  </a:lnTo>
                  <a:lnTo>
                    <a:pt x="102" y="366"/>
                  </a:lnTo>
                  <a:lnTo>
                    <a:pt x="119" y="375"/>
                  </a:lnTo>
                  <a:lnTo>
                    <a:pt x="138" y="381"/>
                  </a:lnTo>
                  <a:lnTo>
                    <a:pt x="156" y="386"/>
                  </a:lnTo>
                  <a:lnTo>
                    <a:pt x="175" y="389"/>
                  </a:lnTo>
                  <a:lnTo>
                    <a:pt x="196" y="390"/>
                  </a:lnTo>
                  <a:lnTo>
                    <a:pt x="216" y="389"/>
                  </a:lnTo>
                  <a:lnTo>
                    <a:pt x="235" y="386"/>
                  </a:lnTo>
                  <a:lnTo>
                    <a:pt x="254" y="381"/>
                  </a:lnTo>
                  <a:lnTo>
                    <a:pt x="272" y="375"/>
                  </a:lnTo>
                  <a:lnTo>
                    <a:pt x="289" y="366"/>
                  </a:lnTo>
                  <a:lnTo>
                    <a:pt x="305" y="357"/>
                  </a:lnTo>
                  <a:lnTo>
                    <a:pt x="320" y="345"/>
                  </a:lnTo>
                  <a:lnTo>
                    <a:pt x="334" y="333"/>
                  </a:lnTo>
                  <a:lnTo>
                    <a:pt x="347" y="319"/>
                  </a:lnTo>
                  <a:lnTo>
                    <a:pt x="358" y="304"/>
                  </a:lnTo>
                  <a:lnTo>
                    <a:pt x="367" y="288"/>
                  </a:lnTo>
                  <a:lnTo>
                    <a:pt x="376" y="271"/>
                  </a:lnTo>
                  <a:lnTo>
                    <a:pt x="382" y="253"/>
                  </a:lnTo>
                  <a:lnTo>
                    <a:pt x="388" y="235"/>
                  </a:lnTo>
                  <a:lnTo>
                    <a:pt x="390" y="214"/>
                  </a:lnTo>
                  <a:lnTo>
                    <a:pt x="391" y="195"/>
                  </a:lnTo>
                  <a:lnTo>
                    <a:pt x="390" y="174"/>
                  </a:lnTo>
                  <a:lnTo>
                    <a:pt x="388" y="155"/>
                  </a:lnTo>
                  <a:lnTo>
                    <a:pt x="382" y="137"/>
                  </a:lnTo>
                  <a:lnTo>
                    <a:pt x="376" y="119"/>
                  </a:lnTo>
                  <a:lnTo>
                    <a:pt x="367" y="102"/>
                  </a:lnTo>
                  <a:lnTo>
                    <a:pt x="358" y="85"/>
                  </a:lnTo>
                  <a:lnTo>
                    <a:pt x="347" y="70"/>
                  </a:lnTo>
                  <a:lnTo>
                    <a:pt x="334" y="57"/>
                  </a:lnTo>
                  <a:lnTo>
                    <a:pt x="320" y="44"/>
                  </a:lnTo>
                  <a:lnTo>
                    <a:pt x="305" y="33"/>
                  </a:lnTo>
                  <a:lnTo>
                    <a:pt x="289" y="23"/>
                  </a:lnTo>
                  <a:lnTo>
                    <a:pt x="272" y="15"/>
                  </a:lnTo>
                  <a:lnTo>
                    <a:pt x="254" y="8"/>
                  </a:lnTo>
                  <a:lnTo>
                    <a:pt x="235" y="3"/>
                  </a:lnTo>
                  <a:lnTo>
                    <a:pt x="216"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8" name="Freeform 99">
              <a:extLst>
                <a:ext uri="{FF2B5EF4-FFF2-40B4-BE49-F238E27FC236}">
                  <a16:creationId xmlns:a16="http://schemas.microsoft.com/office/drawing/2014/main" id="{746C1310-6E5E-4156-B369-BD8047D7C770}"/>
                </a:ext>
              </a:extLst>
            </p:cNvPr>
            <p:cNvSpPr>
              <a:spLocks/>
            </p:cNvSpPr>
            <p:nvPr/>
          </p:nvSpPr>
          <p:spPr bwMode="auto">
            <a:xfrm>
              <a:off x="8926513" y="998220"/>
              <a:ext cx="66675" cy="9525"/>
            </a:xfrm>
            <a:custGeom>
              <a:avLst/>
              <a:gdLst>
                <a:gd name="T0" fmla="*/ 195 w 210"/>
                <a:gd name="T1" fmla="*/ 0 h 30"/>
                <a:gd name="T2" fmla="*/ 15 w 210"/>
                <a:gd name="T3" fmla="*/ 0 h 30"/>
                <a:gd name="T4" fmla="*/ 11 w 210"/>
                <a:gd name="T5" fmla="*/ 0 h 30"/>
                <a:gd name="T6" fmla="*/ 9 w 210"/>
                <a:gd name="T7" fmla="*/ 1 h 30"/>
                <a:gd name="T8" fmla="*/ 6 w 210"/>
                <a:gd name="T9" fmla="*/ 2 h 30"/>
                <a:gd name="T10" fmla="*/ 4 w 210"/>
                <a:gd name="T11" fmla="*/ 4 h 30"/>
                <a:gd name="T12" fmla="*/ 2 w 210"/>
                <a:gd name="T13" fmla="*/ 6 h 30"/>
                <a:gd name="T14" fmla="*/ 1 w 210"/>
                <a:gd name="T15" fmla="*/ 8 h 30"/>
                <a:gd name="T16" fmla="*/ 0 w 210"/>
                <a:gd name="T17" fmla="*/ 12 h 30"/>
                <a:gd name="T18" fmla="*/ 0 w 210"/>
                <a:gd name="T19" fmla="*/ 15 h 30"/>
                <a:gd name="T20" fmla="*/ 0 w 210"/>
                <a:gd name="T21" fmla="*/ 18 h 30"/>
                <a:gd name="T22" fmla="*/ 1 w 210"/>
                <a:gd name="T23" fmla="*/ 20 h 30"/>
                <a:gd name="T24" fmla="*/ 2 w 210"/>
                <a:gd name="T25" fmla="*/ 23 h 30"/>
                <a:gd name="T26" fmla="*/ 4 w 210"/>
                <a:gd name="T27" fmla="*/ 26 h 30"/>
                <a:gd name="T28" fmla="*/ 6 w 210"/>
                <a:gd name="T29" fmla="*/ 27 h 30"/>
                <a:gd name="T30" fmla="*/ 9 w 210"/>
                <a:gd name="T31" fmla="*/ 29 h 30"/>
                <a:gd name="T32" fmla="*/ 11 w 210"/>
                <a:gd name="T33" fmla="*/ 30 h 30"/>
                <a:gd name="T34" fmla="*/ 15 w 210"/>
                <a:gd name="T35" fmla="*/ 30 h 30"/>
                <a:gd name="T36" fmla="*/ 195 w 210"/>
                <a:gd name="T37" fmla="*/ 30 h 30"/>
                <a:gd name="T38" fmla="*/ 198 w 210"/>
                <a:gd name="T39" fmla="*/ 30 h 30"/>
                <a:gd name="T40" fmla="*/ 201 w 210"/>
                <a:gd name="T41" fmla="*/ 29 h 30"/>
                <a:gd name="T42" fmla="*/ 203 w 210"/>
                <a:gd name="T43" fmla="*/ 27 h 30"/>
                <a:gd name="T44" fmla="*/ 205 w 210"/>
                <a:gd name="T45" fmla="*/ 26 h 30"/>
                <a:gd name="T46" fmla="*/ 208 w 210"/>
                <a:gd name="T47" fmla="*/ 23 h 30"/>
                <a:gd name="T48" fmla="*/ 209 w 210"/>
                <a:gd name="T49" fmla="*/ 20 h 30"/>
                <a:gd name="T50" fmla="*/ 210 w 210"/>
                <a:gd name="T51" fmla="*/ 18 h 30"/>
                <a:gd name="T52" fmla="*/ 210 w 210"/>
                <a:gd name="T53" fmla="*/ 15 h 30"/>
                <a:gd name="T54" fmla="*/ 210 w 210"/>
                <a:gd name="T55" fmla="*/ 12 h 30"/>
                <a:gd name="T56" fmla="*/ 209 w 210"/>
                <a:gd name="T57" fmla="*/ 8 h 30"/>
                <a:gd name="T58" fmla="*/ 208 w 210"/>
                <a:gd name="T59" fmla="*/ 6 h 30"/>
                <a:gd name="T60" fmla="*/ 205 w 210"/>
                <a:gd name="T61" fmla="*/ 4 h 30"/>
                <a:gd name="T62" fmla="*/ 203 w 210"/>
                <a:gd name="T63" fmla="*/ 2 h 30"/>
                <a:gd name="T64" fmla="*/ 201 w 210"/>
                <a:gd name="T65" fmla="*/ 1 h 30"/>
                <a:gd name="T66" fmla="*/ 198 w 210"/>
                <a:gd name="T67" fmla="*/ 0 h 30"/>
                <a:gd name="T68" fmla="*/ 195 w 21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0"/>
                  </a:moveTo>
                  <a:lnTo>
                    <a:pt x="15" y="0"/>
                  </a:lnTo>
                  <a:lnTo>
                    <a:pt x="11" y="0"/>
                  </a:lnTo>
                  <a:lnTo>
                    <a:pt x="9" y="1"/>
                  </a:lnTo>
                  <a:lnTo>
                    <a:pt x="6" y="2"/>
                  </a:lnTo>
                  <a:lnTo>
                    <a:pt x="4" y="4"/>
                  </a:lnTo>
                  <a:lnTo>
                    <a:pt x="2" y="6"/>
                  </a:lnTo>
                  <a:lnTo>
                    <a:pt x="1" y="8"/>
                  </a:lnTo>
                  <a:lnTo>
                    <a:pt x="0" y="12"/>
                  </a:lnTo>
                  <a:lnTo>
                    <a:pt x="0" y="15"/>
                  </a:lnTo>
                  <a:lnTo>
                    <a:pt x="0" y="18"/>
                  </a:lnTo>
                  <a:lnTo>
                    <a:pt x="1" y="20"/>
                  </a:lnTo>
                  <a:lnTo>
                    <a:pt x="2" y="23"/>
                  </a:lnTo>
                  <a:lnTo>
                    <a:pt x="4" y="26"/>
                  </a:lnTo>
                  <a:lnTo>
                    <a:pt x="6" y="27"/>
                  </a:lnTo>
                  <a:lnTo>
                    <a:pt x="9" y="29"/>
                  </a:lnTo>
                  <a:lnTo>
                    <a:pt x="11" y="30"/>
                  </a:lnTo>
                  <a:lnTo>
                    <a:pt x="15" y="30"/>
                  </a:lnTo>
                  <a:lnTo>
                    <a:pt x="195" y="30"/>
                  </a:lnTo>
                  <a:lnTo>
                    <a:pt x="198" y="30"/>
                  </a:lnTo>
                  <a:lnTo>
                    <a:pt x="201" y="29"/>
                  </a:lnTo>
                  <a:lnTo>
                    <a:pt x="203" y="27"/>
                  </a:lnTo>
                  <a:lnTo>
                    <a:pt x="205" y="26"/>
                  </a:lnTo>
                  <a:lnTo>
                    <a:pt x="208" y="23"/>
                  </a:lnTo>
                  <a:lnTo>
                    <a:pt x="209" y="20"/>
                  </a:lnTo>
                  <a:lnTo>
                    <a:pt x="210" y="18"/>
                  </a:lnTo>
                  <a:lnTo>
                    <a:pt x="210" y="15"/>
                  </a:lnTo>
                  <a:lnTo>
                    <a:pt x="210" y="12"/>
                  </a:lnTo>
                  <a:lnTo>
                    <a:pt x="209" y="8"/>
                  </a:lnTo>
                  <a:lnTo>
                    <a:pt x="208" y="6"/>
                  </a:lnTo>
                  <a:lnTo>
                    <a:pt x="205" y="4"/>
                  </a:lnTo>
                  <a:lnTo>
                    <a:pt x="203" y="2"/>
                  </a:lnTo>
                  <a:lnTo>
                    <a:pt x="201" y="1"/>
                  </a:lnTo>
                  <a:lnTo>
                    <a:pt x="198" y="0"/>
                  </a:lnTo>
                  <a:lnTo>
                    <a:pt x="1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26" name="Group 14">
            <a:extLst>
              <a:ext uri="{FF2B5EF4-FFF2-40B4-BE49-F238E27FC236}">
                <a16:creationId xmlns:a16="http://schemas.microsoft.com/office/drawing/2014/main" id="{522C6530-47B1-40E9-BC34-AE7D8301B943}"/>
              </a:ext>
            </a:extLst>
          </p:cNvPr>
          <p:cNvGrpSpPr>
            <a:grpSpLocks noChangeAspect="1"/>
          </p:cNvGrpSpPr>
          <p:nvPr/>
        </p:nvGrpSpPr>
        <p:grpSpPr>
          <a:xfrm>
            <a:off x="6166006" y="4340505"/>
            <a:ext cx="326873" cy="285619"/>
            <a:chOff x="2013401" y="5221325"/>
            <a:chExt cx="449901" cy="393118"/>
          </a:xfrm>
          <a:solidFill>
            <a:schemeClr val="bg2"/>
          </a:solidFill>
          <a:effectLst/>
        </p:grpSpPr>
        <p:sp>
          <p:nvSpPr>
            <p:cNvPr id="1727" name="Freeform 445">
              <a:extLst>
                <a:ext uri="{FF2B5EF4-FFF2-40B4-BE49-F238E27FC236}">
                  <a16:creationId xmlns:a16="http://schemas.microsoft.com/office/drawing/2014/main" id="{DC2D293B-9210-47AB-9F70-A6033A13010F}"/>
                </a:ext>
              </a:extLst>
            </p:cNvPr>
            <p:cNvSpPr>
              <a:spLocks noEditPoints="1"/>
            </p:cNvSpPr>
            <p:nvPr/>
          </p:nvSpPr>
          <p:spPr bwMode="auto">
            <a:xfrm>
              <a:off x="2070184" y="5538731"/>
              <a:ext cx="74256" cy="75712"/>
            </a:xfrm>
            <a:custGeom>
              <a:avLst/>
              <a:gdLst>
                <a:gd name="T0" fmla="*/ 69 w 154"/>
                <a:gd name="T1" fmla="*/ 39 h 155"/>
                <a:gd name="T2" fmla="*/ 55 w 154"/>
                <a:gd name="T3" fmla="*/ 46 h 155"/>
                <a:gd name="T4" fmla="*/ 45 w 154"/>
                <a:gd name="T5" fmla="*/ 57 h 155"/>
                <a:gd name="T6" fmla="*/ 39 w 154"/>
                <a:gd name="T7" fmla="*/ 70 h 155"/>
                <a:gd name="T8" fmla="*/ 39 w 154"/>
                <a:gd name="T9" fmla="*/ 85 h 155"/>
                <a:gd name="T10" fmla="*/ 45 w 154"/>
                <a:gd name="T11" fmla="*/ 100 h 155"/>
                <a:gd name="T12" fmla="*/ 55 w 154"/>
                <a:gd name="T13" fmla="*/ 110 h 155"/>
                <a:gd name="T14" fmla="*/ 69 w 154"/>
                <a:gd name="T15" fmla="*/ 116 h 155"/>
                <a:gd name="T16" fmla="*/ 85 w 154"/>
                <a:gd name="T17" fmla="*/ 116 h 155"/>
                <a:gd name="T18" fmla="*/ 98 w 154"/>
                <a:gd name="T19" fmla="*/ 110 h 155"/>
                <a:gd name="T20" fmla="*/ 108 w 154"/>
                <a:gd name="T21" fmla="*/ 100 h 155"/>
                <a:gd name="T22" fmla="*/ 114 w 154"/>
                <a:gd name="T23" fmla="*/ 85 h 155"/>
                <a:gd name="T24" fmla="*/ 114 w 154"/>
                <a:gd name="T25" fmla="*/ 70 h 155"/>
                <a:gd name="T26" fmla="*/ 108 w 154"/>
                <a:gd name="T27" fmla="*/ 57 h 155"/>
                <a:gd name="T28" fmla="*/ 98 w 154"/>
                <a:gd name="T29" fmla="*/ 46 h 155"/>
                <a:gd name="T30" fmla="*/ 85 w 154"/>
                <a:gd name="T31" fmla="*/ 39 h 155"/>
                <a:gd name="T32" fmla="*/ 76 w 154"/>
                <a:gd name="T33" fmla="*/ 155 h 155"/>
                <a:gd name="T34" fmla="*/ 61 w 154"/>
                <a:gd name="T35" fmla="*/ 153 h 155"/>
                <a:gd name="T36" fmla="*/ 46 w 154"/>
                <a:gd name="T37" fmla="*/ 149 h 155"/>
                <a:gd name="T38" fmla="*/ 22 w 154"/>
                <a:gd name="T39" fmla="*/ 133 h 155"/>
                <a:gd name="T40" fmla="*/ 6 w 154"/>
                <a:gd name="T41" fmla="*/ 108 h 155"/>
                <a:gd name="T42" fmla="*/ 2 w 154"/>
                <a:gd name="T43" fmla="*/ 94 h 155"/>
                <a:gd name="T44" fmla="*/ 0 w 154"/>
                <a:gd name="T45" fmla="*/ 78 h 155"/>
                <a:gd name="T46" fmla="*/ 2 w 154"/>
                <a:gd name="T47" fmla="*/ 62 h 155"/>
                <a:gd name="T48" fmla="*/ 6 w 154"/>
                <a:gd name="T49" fmla="*/ 48 h 155"/>
                <a:gd name="T50" fmla="*/ 22 w 154"/>
                <a:gd name="T51" fmla="*/ 23 h 155"/>
                <a:gd name="T52" fmla="*/ 46 w 154"/>
                <a:gd name="T53" fmla="*/ 6 h 155"/>
                <a:gd name="T54" fmla="*/ 61 w 154"/>
                <a:gd name="T55" fmla="*/ 2 h 155"/>
                <a:gd name="T56" fmla="*/ 76 w 154"/>
                <a:gd name="T57" fmla="*/ 0 h 155"/>
                <a:gd name="T58" fmla="*/ 92 w 154"/>
                <a:gd name="T59" fmla="*/ 2 h 155"/>
                <a:gd name="T60" fmla="*/ 107 w 154"/>
                <a:gd name="T61" fmla="*/ 6 h 155"/>
                <a:gd name="T62" fmla="*/ 131 w 154"/>
                <a:gd name="T63" fmla="*/ 23 h 155"/>
                <a:gd name="T64" fmla="*/ 148 w 154"/>
                <a:gd name="T65" fmla="*/ 48 h 155"/>
                <a:gd name="T66" fmla="*/ 153 w 154"/>
                <a:gd name="T67" fmla="*/ 62 h 155"/>
                <a:gd name="T68" fmla="*/ 154 w 154"/>
                <a:gd name="T69" fmla="*/ 78 h 155"/>
                <a:gd name="T70" fmla="*/ 153 w 154"/>
                <a:gd name="T71" fmla="*/ 94 h 155"/>
                <a:gd name="T72" fmla="*/ 148 w 154"/>
                <a:gd name="T73" fmla="*/ 108 h 155"/>
                <a:gd name="T74" fmla="*/ 131 w 154"/>
                <a:gd name="T75" fmla="*/ 133 h 155"/>
                <a:gd name="T76" fmla="*/ 107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5" y="46"/>
                  </a:lnTo>
                  <a:lnTo>
                    <a:pt x="49" y="51"/>
                  </a:lnTo>
                  <a:lnTo>
                    <a:pt x="45" y="57"/>
                  </a:lnTo>
                  <a:lnTo>
                    <a:pt x="40" y="62"/>
                  </a:lnTo>
                  <a:lnTo>
                    <a:pt x="39" y="70"/>
                  </a:lnTo>
                  <a:lnTo>
                    <a:pt x="38" y="78"/>
                  </a:lnTo>
                  <a:lnTo>
                    <a:pt x="39" y="85"/>
                  </a:lnTo>
                  <a:lnTo>
                    <a:pt x="40" y="93"/>
                  </a:lnTo>
                  <a:lnTo>
                    <a:pt x="45" y="100"/>
                  </a:lnTo>
                  <a:lnTo>
                    <a:pt x="49" y="106"/>
                  </a:lnTo>
                  <a:lnTo>
                    <a:pt x="55" y="110"/>
                  </a:lnTo>
                  <a:lnTo>
                    <a:pt x="62" y="113"/>
                  </a:lnTo>
                  <a:lnTo>
                    <a:pt x="69" y="116"/>
                  </a:lnTo>
                  <a:lnTo>
                    <a:pt x="76" y="117"/>
                  </a:lnTo>
                  <a:lnTo>
                    <a:pt x="85" y="116"/>
                  </a:lnTo>
                  <a:lnTo>
                    <a:pt x="92" y="113"/>
                  </a:lnTo>
                  <a:lnTo>
                    <a:pt x="98" y="110"/>
                  </a:lnTo>
                  <a:lnTo>
                    <a:pt x="104" y="106"/>
                  </a:lnTo>
                  <a:lnTo>
                    <a:pt x="108" y="100"/>
                  </a:lnTo>
                  <a:lnTo>
                    <a:pt x="112" y="93"/>
                  </a:lnTo>
                  <a:lnTo>
                    <a:pt x="114" y="85"/>
                  </a:lnTo>
                  <a:lnTo>
                    <a:pt x="115" y="78"/>
                  </a:lnTo>
                  <a:lnTo>
                    <a:pt x="114" y="70"/>
                  </a:lnTo>
                  <a:lnTo>
                    <a:pt x="112" y="62"/>
                  </a:lnTo>
                  <a:lnTo>
                    <a:pt x="108" y="57"/>
                  </a:lnTo>
                  <a:lnTo>
                    <a:pt x="104" y="51"/>
                  </a:lnTo>
                  <a:lnTo>
                    <a:pt x="98" y="46"/>
                  </a:lnTo>
                  <a:lnTo>
                    <a:pt x="92" y="42"/>
                  </a:lnTo>
                  <a:lnTo>
                    <a:pt x="85" y="39"/>
                  </a:lnTo>
                  <a:lnTo>
                    <a:pt x="76" y="39"/>
                  </a:lnTo>
                  <a:close/>
                  <a:moveTo>
                    <a:pt x="76" y="155"/>
                  </a:moveTo>
                  <a:lnTo>
                    <a:pt x="69" y="155"/>
                  </a:lnTo>
                  <a:lnTo>
                    <a:pt x="61" y="153"/>
                  </a:lnTo>
                  <a:lnTo>
                    <a:pt x="53" y="152"/>
                  </a:lnTo>
                  <a:lnTo>
                    <a:pt x="46" y="149"/>
                  </a:lnTo>
                  <a:lnTo>
                    <a:pt x="33" y="142"/>
                  </a:lnTo>
                  <a:lnTo>
                    <a:pt x="22" y="133"/>
                  </a:lnTo>
                  <a:lnTo>
                    <a:pt x="13" y="121"/>
                  </a:lnTo>
                  <a:lnTo>
                    <a:pt x="6" y="108"/>
                  </a:lnTo>
                  <a:lnTo>
                    <a:pt x="3" y="101"/>
                  </a:lnTo>
                  <a:lnTo>
                    <a:pt x="2" y="94"/>
                  </a:lnTo>
                  <a:lnTo>
                    <a:pt x="0" y="85"/>
                  </a:lnTo>
                  <a:lnTo>
                    <a:pt x="0" y="78"/>
                  </a:lnTo>
                  <a:lnTo>
                    <a:pt x="0" y="70"/>
                  </a:lnTo>
                  <a:lnTo>
                    <a:pt x="2" y="62"/>
                  </a:lnTo>
                  <a:lnTo>
                    <a:pt x="3" y="55"/>
                  </a:lnTo>
                  <a:lnTo>
                    <a:pt x="6" y="48"/>
                  </a:lnTo>
                  <a:lnTo>
                    <a:pt x="13" y="35"/>
                  </a:lnTo>
                  <a:lnTo>
                    <a:pt x="22" y="23"/>
                  </a:lnTo>
                  <a:lnTo>
                    <a:pt x="33" y="13"/>
                  </a:lnTo>
                  <a:lnTo>
                    <a:pt x="46" y="6"/>
                  </a:lnTo>
                  <a:lnTo>
                    <a:pt x="53" y="5"/>
                  </a:lnTo>
                  <a:lnTo>
                    <a:pt x="61" y="2"/>
                  </a:lnTo>
                  <a:lnTo>
                    <a:pt x="69" y="0"/>
                  </a:lnTo>
                  <a:lnTo>
                    <a:pt x="76" y="0"/>
                  </a:lnTo>
                  <a:lnTo>
                    <a:pt x="85" y="0"/>
                  </a:lnTo>
                  <a:lnTo>
                    <a:pt x="92" y="2"/>
                  </a:lnTo>
                  <a:lnTo>
                    <a:pt x="100" y="5"/>
                  </a:lnTo>
                  <a:lnTo>
                    <a:pt x="107" y="6"/>
                  </a:lnTo>
                  <a:lnTo>
                    <a:pt x="120" y="13"/>
                  </a:lnTo>
                  <a:lnTo>
                    <a:pt x="131" y="23"/>
                  </a:lnTo>
                  <a:lnTo>
                    <a:pt x="141" y="35"/>
                  </a:lnTo>
                  <a:lnTo>
                    <a:pt x="148" y="48"/>
                  </a:lnTo>
                  <a:lnTo>
                    <a:pt x="150" y="55"/>
                  </a:lnTo>
                  <a:lnTo>
                    <a:pt x="153" y="62"/>
                  </a:lnTo>
                  <a:lnTo>
                    <a:pt x="154" y="70"/>
                  </a:lnTo>
                  <a:lnTo>
                    <a:pt x="154" y="78"/>
                  </a:lnTo>
                  <a:lnTo>
                    <a:pt x="154" y="85"/>
                  </a:lnTo>
                  <a:lnTo>
                    <a:pt x="153" y="94"/>
                  </a:lnTo>
                  <a:lnTo>
                    <a:pt x="150" y="101"/>
                  </a:lnTo>
                  <a:lnTo>
                    <a:pt x="148" y="108"/>
                  </a:lnTo>
                  <a:lnTo>
                    <a:pt x="141" y="121"/>
                  </a:lnTo>
                  <a:lnTo>
                    <a:pt x="131" y="133"/>
                  </a:lnTo>
                  <a:lnTo>
                    <a:pt x="120" y="142"/>
                  </a:lnTo>
                  <a:lnTo>
                    <a:pt x="107" y="149"/>
                  </a:lnTo>
                  <a:lnTo>
                    <a:pt x="100" y="152"/>
                  </a:lnTo>
                  <a:lnTo>
                    <a:pt x="92" y="153"/>
                  </a:lnTo>
                  <a:lnTo>
                    <a:pt x="85" y="155"/>
                  </a:lnTo>
                  <a:lnTo>
                    <a:pt x="76" y="1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28" name="Freeform 446">
              <a:extLst>
                <a:ext uri="{FF2B5EF4-FFF2-40B4-BE49-F238E27FC236}">
                  <a16:creationId xmlns:a16="http://schemas.microsoft.com/office/drawing/2014/main" id="{7CC66F0D-CC9A-4576-9D30-061F7271DCE2}"/>
                </a:ext>
              </a:extLst>
            </p:cNvPr>
            <p:cNvSpPr>
              <a:spLocks noEditPoints="1"/>
            </p:cNvSpPr>
            <p:nvPr/>
          </p:nvSpPr>
          <p:spPr bwMode="auto">
            <a:xfrm>
              <a:off x="2275479" y="5538731"/>
              <a:ext cx="75712" cy="75712"/>
            </a:xfrm>
            <a:custGeom>
              <a:avLst/>
              <a:gdLst>
                <a:gd name="T0" fmla="*/ 69 w 154"/>
                <a:gd name="T1" fmla="*/ 39 h 155"/>
                <a:gd name="T2" fmla="*/ 55 w 154"/>
                <a:gd name="T3" fmla="*/ 46 h 155"/>
                <a:gd name="T4" fmla="*/ 45 w 154"/>
                <a:gd name="T5" fmla="*/ 57 h 155"/>
                <a:gd name="T6" fmla="*/ 39 w 154"/>
                <a:gd name="T7" fmla="*/ 70 h 155"/>
                <a:gd name="T8" fmla="*/ 39 w 154"/>
                <a:gd name="T9" fmla="*/ 85 h 155"/>
                <a:gd name="T10" fmla="*/ 45 w 154"/>
                <a:gd name="T11" fmla="*/ 100 h 155"/>
                <a:gd name="T12" fmla="*/ 55 w 154"/>
                <a:gd name="T13" fmla="*/ 110 h 155"/>
                <a:gd name="T14" fmla="*/ 69 w 154"/>
                <a:gd name="T15" fmla="*/ 116 h 155"/>
                <a:gd name="T16" fmla="*/ 85 w 154"/>
                <a:gd name="T17" fmla="*/ 116 h 155"/>
                <a:gd name="T18" fmla="*/ 98 w 154"/>
                <a:gd name="T19" fmla="*/ 110 h 155"/>
                <a:gd name="T20" fmla="*/ 108 w 154"/>
                <a:gd name="T21" fmla="*/ 100 h 155"/>
                <a:gd name="T22" fmla="*/ 114 w 154"/>
                <a:gd name="T23" fmla="*/ 85 h 155"/>
                <a:gd name="T24" fmla="*/ 114 w 154"/>
                <a:gd name="T25" fmla="*/ 70 h 155"/>
                <a:gd name="T26" fmla="*/ 108 w 154"/>
                <a:gd name="T27" fmla="*/ 57 h 155"/>
                <a:gd name="T28" fmla="*/ 98 w 154"/>
                <a:gd name="T29" fmla="*/ 46 h 155"/>
                <a:gd name="T30" fmla="*/ 85 w 154"/>
                <a:gd name="T31" fmla="*/ 39 h 155"/>
                <a:gd name="T32" fmla="*/ 76 w 154"/>
                <a:gd name="T33" fmla="*/ 155 h 155"/>
                <a:gd name="T34" fmla="*/ 60 w 154"/>
                <a:gd name="T35" fmla="*/ 153 h 155"/>
                <a:gd name="T36" fmla="*/ 46 w 154"/>
                <a:gd name="T37" fmla="*/ 149 h 155"/>
                <a:gd name="T38" fmla="*/ 22 w 154"/>
                <a:gd name="T39" fmla="*/ 133 h 155"/>
                <a:gd name="T40" fmla="*/ 6 w 154"/>
                <a:gd name="T41" fmla="*/ 108 h 155"/>
                <a:gd name="T42" fmla="*/ 1 w 154"/>
                <a:gd name="T43" fmla="*/ 94 h 155"/>
                <a:gd name="T44" fmla="*/ 0 w 154"/>
                <a:gd name="T45" fmla="*/ 78 h 155"/>
                <a:gd name="T46" fmla="*/ 1 w 154"/>
                <a:gd name="T47" fmla="*/ 62 h 155"/>
                <a:gd name="T48" fmla="*/ 6 w 154"/>
                <a:gd name="T49" fmla="*/ 48 h 155"/>
                <a:gd name="T50" fmla="*/ 22 w 154"/>
                <a:gd name="T51" fmla="*/ 23 h 155"/>
                <a:gd name="T52" fmla="*/ 46 w 154"/>
                <a:gd name="T53" fmla="*/ 6 h 155"/>
                <a:gd name="T54" fmla="*/ 60 w 154"/>
                <a:gd name="T55" fmla="*/ 2 h 155"/>
                <a:gd name="T56" fmla="*/ 76 w 154"/>
                <a:gd name="T57" fmla="*/ 0 h 155"/>
                <a:gd name="T58" fmla="*/ 92 w 154"/>
                <a:gd name="T59" fmla="*/ 2 h 155"/>
                <a:gd name="T60" fmla="*/ 107 w 154"/>
                <a:gd name="T61" fmla="*/ 6 h 155"/>
                <a:gd name="T62" fmla="*/ 131 w 154"/>
                <a:gd name="T63" fmla="*/ 23 h 155"/>
                <a:gd name="T64" fmla="*/ 148 w 154"/>
                <a:gd name="T65" fmla="*/ 48 h 155"/>
                <a:gd name="T66" fmla="*/ 153 w 154"/>
                <a:gd name="T67" fmla="*/ 62 h 155"/>
                <a:gd name="T68" fmla="*/ 154 w 154"/>
                <a:gd name="T69" fmla="*/ 78 h 155"/>
                <a:gd name="T70" fmla="*/ 153 w 154"/>
                <a:gd name="T71" fmla="*/ 94 h 155"/>
                <a:gd name="T72" fmla="*/ 148 w 154"/>
                <a:gd name="T73" fmla="*/ 108 h 155"/>
                <a:gd name="T74" fmla="*/ 131 w 154"/>
                <a:gd name="T75" fmla="*/ 133 h 155"/>
                <a:gd name="T76" fmla="*/ 107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5" y="46"/>
                  </a:lnTo>
                  <a:lnTo>
                    <a:pt x="49" y="51"/>
                  </a:lnTo>
                  <a:lnTo>
                    <a:pt x="45" y="57"/>
                  </a:lnTo>
                  <a:lnTo>
                    <a:pt x="40" y="62"/>
                  </a:lnTo>
                  <a:lnTo>
                    <a:pt x="39" y="70"/>
                  </a:lnTo>
                  <a:lnTo>
                    <a:pt x="37" y="78"/>
                  </a:lnTo>
                  <a:lnTo>
                    <a:pt x="39" y="85"/>
                  </a:lnTo>
                  <a:lnTo>
                    <a:pt x="40" y="93"/>
                  </a:lnTo>
                  <a:lnTo>
                    <a:pt x="45" y="100"/>
                  </a:lnTo>
                  <a:lnTo>
                    <a:pt x="49" y="106"/>
                  </a:lnTo>
                  <a:lnTo>
                    <a:pt x="55" y="110"/>
                  </a:lnTo>
                  <a:lnTo>
                    <a:pt x="62" y="113"/>
                  </a:lnTo>
                  <a:lnTo>
                    <a:pt x="69" y="116"/>
                  </a:lnTo>
                  <a:lnTo>
                    <a:pt x="76" y="117"/>
                  </a:lnTo>
                  <a:lnTo>
                    <a:pt x="85" y="116"/>
                  </a:lnTo>
                  <a:lnTo>
                    <a:pt x="92" y="113"/>
                  </a:lnTo>
                  <a:lnTo>
                    <a:pt x="98" y="110"/>
                  </a:lnTo>
                  <a:lnTo>
                    <a:pt x="104" y="106"/>
                  </a:lnTo>
                  <a:lnTo>
                    <a:pt x="108" y="100"/>
                  </a:lnTo>
                  <a:lnTo>
                    <a:pt x="112" y="93"/>
                  </a:lnTo>
                  <a:lnTo>
                    <a:pt x="114" y="85"/>
                  </a:lnTo>
                  <a:lnTo>
                    <a:pt x="115" y="78"/>
                  </a:lnTo>
                  <a:lnTo>
                    <a:pt x="114" y="70"/>
                  </a:lnTo>
                  <a:lnTo>
                    <a:pt x="112" y="62"/>
                  </a:lnTo>
                  <a:lnTo>
                    <a:pt x="108" y="57"/>
                  </a:lnTo>
                  <a:lnTo>
                    <a:pt x="104" y="51"/>
                  </a:lnTo>
                  <a:lnTo>
                    <a:pt x="98" y="46"/>
                  </a:lnTo>
                  <a:lnTo>
                    <a:pt x="92" y="42"/>
                  </a:lnTo>
                  <a:lnTo>
                    <a:pt x="85" y="39"/>
                  </a:lnTo>
                  <a:lnTo>
                    <a:pt x="76" y="39"/>
                  </a:lnTo>
                  <a:close/>
                  <a:moveTo>
                    <a:pt x="76" y="155"/>
                  </a:moveTo>
                  <a:lnTo>
                    <a:pt x="69" y="155"/>
                  </a:lnTo>
                  <a:lnTo>
                    <a:pt x="60" y="153"/>
                  </a:lnTo>
                  <a:lnTo>
                    <a:pt x="53" y="152"/>
                  </a:lnTo>
                  <a:lnTo>
                    <a:pt x="46" y="149"/>
                  </a:lnTo>
                  <a:lnTo>
                    <a:pt x="33" y="142"/>
                  </a:lnTo>
                  <a:lnTo>
                    <a:pt x="22" y="133"/>
                  </a:lnTo>
                  <a:lnTo>
                    <a:pt x="13" y="121"/>
                  </a:lnTo>
                  <a:lnTo>
                    <a:pt x="6" y="108"/>
                  </a:lnTo>
                  <a:lnTo>
                    <a:pt x="3" y="101"/>
                  </a:lnTo>
                  <a:lnTo>
                    <a:pt x="1" y="94"/>
                  </a:lnTo>
                  <a:lnTo>
                    <a:pt x="0" y="85"/>
                  </a:lnTo>
                  <a:lnTo>
                    <a:pt x="0" y="78"/>
                  </a:lnTo>
                  <a:lnTo>
                    <a:pt x="0" y="70"/>
                  </a:lnTo>
                  <a:lnTo>
                    <a:pt x="1" y="62"/>
                  </a:lnTo>
                  <a:lnTo>
                    <a:pt x="3" y="55"/>
                  </a:lnTo>
                  <a:lnTo>
                    <a:pt x="6" y="48"/>
                  </a:lnTo>
                  <a:lnTo>
                    <a:pt x="13" y="35"/>
                  </a:lnTo>
                  <a:lnTo>
                    <a:pt x="22" y="23"/>
                  </a:lnTo>
                  <a:lnTo>
                    <a:pt x="33" y="13"/>
                  </a:lnTo>
                  <a:lnTo>
                    <a:pt x="46" y="6"/>
                  </a:lnTo>
                  <a:lnTo>
                    <a:pt x="53" y="5"/>
                  </a:lnTo>
                  <a:lnTo>
                    <a:pt x="60" y="2"/>
                  </a:lnTo>
                  <a:lnTo>
                    <a:pt x="69" y="0"/>
                  </a:lnTo>
                  <a:lnTo>
                    <a:pt x="76" y="0"/>
                  </a:lnTo>
                  <a:lnTo>
                    <a:pt x="85" y="0"/>
                  </a:lnTo>
                  <a:lnTo>
                    <a:pt x="92" y="2"/>
                  </a:lnTo>
                  <a:lnTo>
                    <a:pt x="99" y="5"/>
                  </a:lnTo>
                  <a:lnTo>
                    <a:pt x="107" y="6"/>
                  </a:lnTo>
                  <a:lnTo>
                    <a:pt x="119" y="13"/>
                  </a:lnTo>
                  <a:lnTo>
                    <a:pt x="131" y="23"/>
                  </a:lnTo>
                  <a:lnTo>
                    <a:pt x="141" y="35"/>
                  </a:lnTo>
                  <a:lnTo>
                    <a:pt x="148" y="48"/>
                  </a:lnTo>
                  <a:lnTo>
                    <a:pt x="150" y="55"/>
                  </a:lnTo>
                  <a:lnTo>
                    <a:pt x="153" y="62"/>
                  </a:lnTo>
                  <a:lnTo>
                    <a:pt x="154" y="70"/>
                  </a:lnTo>
                  <a:lnTo>
                    <a:pt x="154" y="78"/>
                  </a:lnTo>
                  <a:lnTo>
                    <a:pt x="154" y="85"/>
                  </a:lnTo>
                  <a:lnTo>
                    <a:pt x="153" y="94"/>
                  </a:lnTo>
                  <a:lnTo>
                    <a:pt x="150" y="101"/>
                  </a:lnTo>
                  <a:lnTo>
                    <a:pt x="148" y="108"/>
                  </a:lnTo>
                  <a:lnTo>
                    <a:pt x="141" y="121"/>
                  </a:lnTo>
                  <a:lnTo>
                    <a:pt x="131" y="133"/>
                  </a:lnTo>
                  <a:lnTo>
                    <a:pt x="119" y="142"/>
                  </a:lnTo>
                  <a:lnTo>
                    <a:pt x="107" y="149"/>
                  </a:lnTo>
                  <a:lnTo>
                    <a:pt x="99" y="152"/>
                  </a:lnTo>
                  <a:lnTo>
                    <a:pt x="92" y="153"/>
                  </a:lnTo>
                  <a:lnTo>
                    <a:pt x="85" y="155"/>
                  </a:lnTo>
                  <a:lnTo>
                    <a:pt x="76" y="1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29" name="Freeform 449">
              <a:extLst>
                <a:ext uri="{FF2B5EF4-FFF2-40B4-BE49-F238E27FC236}">
                  <a16:creationId xmlns:a16="http://schemas.microsoft.com/office/drawing/2014/main" id="{CA78C4F0-8679-4E88-96B3-BD402A587966}"/>
                </a:ext>
              </a:extLst>
            </p:cNvPr>
            <p:cNvSpPr>
              <a:spLocks/>
            </p:cNvSpPr>
            <p:nvPr/>
          </p:nvSpPr>
          <p:spPr bwMode="auto">
            <a:xfrm>
              <a:off x="2097848" y="5221325"/>
              <a:ext cx="365454" cy="336334"/>
            </a:xfrm>
            <a:custGeom>
              <a:avLst/>
              <a:gdLst>
                <a:gd name="T0" fmla="*/ 443 w 753"/>
                <a:gd name="T1" fmla="*/ 695 h 695"/>
                <a:gd name="T2" fmla="*/ 18 w 753"/>
                <a:gd name="T3" fmla="*/ 695 h 695"/>
                <a:gd name="T4" fmla="*/ 14 w 753"/>
                <a:gd name="T5" fmla="*/ 695 h 695"/>
                <a:gd name="T6" fmla="*/ 11 w 753"/>
                <a:gd name="T7" fmla="*/ 694 h 695"/>
                <a:gd name="T8" fmla="*/ 8 w 753"/>
                <a:gd name="T9" fmla="*/ 692 h 695"/>
                <a:gd name="T10" fmla="*/ 6 w 753"/>
                <a:gd name="T11" fmla="*/ 690 h 695"/>
                <a:gd name="T12" fmla="*/ 3 w 753"/>
                <a:gd name="T13" fmla="*/ 687 h 695"/>
                <a:gd name="T14" fmla="*/ 1 w 753"/>
                <a:gd name="T15" fmla="*/ 684 h 695"/>
                <a:gd name="T16" fmla="*/ 0 w 753"/>
                <a:gd name="T17" fmla="*/ 679 h 695"/>
                <a:gd name="T18" fmla="*/ 0 w 753"/>
                <a:gd name="T19" fmla="*/ 677 h 695"/>
                <a:gd name="T20" fmla="*/ 0 w 753"/>
                <a:gd name="T21" fmla="*/ 672 h 695"/>
                <a:gd name="T22" fmla="*/ 1 w 753"/>
                <a:gd name="T23" fmla="*/ 668 h 695"/>
                <a:gd name="T24" fmla="*/ 3 w 753"/>
                <a:gd name="T25" fmla="*/ 665 h 695"/>
                <a:gd name="T26" fmla="*/ 6 w 753"/>
                <a:gd name="T27" fmla="*/ 662 h 695"/>
                <a:gd name="T28" fmla="*/ 8 w 753"/>
                <a:gd name="T29" fmla="*/ 659 h 695"/>
                <a:gd name="T30" fmla="*/ 11 w 753"/>
                <a:gd name="T31" fmla="*/ 658 h 695"/>
                <a:gd name="T32" fmla="*/ 14 w 753"/>
                <a:gd name="T33" fmla="*/ 656 h 695"/>
                <a:gd name="T34" fmla="*/ 18 w 753"/>
                <a:gd name="T35" fmla="*/ 656 h 695"/>
                <a:gd name="T36" fmla="*/ 429 w 753"/>
                <a:gd name="T37" fmla="*/ 656 h 695"/>
                <a:gd name="T38" fmla="*/ 579 w 753"/>
                <a:gd name="T39" fmla="*/ 15 h 695"/>
                <a:gd name="T40" fmla="*/ 582 w 753"/>
                <a:gd name="T41" fmla="*/ 8 h 695"/>
                <a:gd name="T42" fmla="*/ 586 w 753"/>
                <a:gd name="T43" fmla="*/ 4 h 695"/>
                <a:gd name="T44" fmla="*/ 592 w 753"/>
                <a:gd name="T45" fmla="*/ 1 h 695"/>
                <a:gd name="T46" fmla="*/ 597 w 753"/>
                <a:gd name="T47" fmla="*/ 0 h 695"/>
                <a:gd name="T48" fmla="*/ 733 w 753"/>
                <a:gd name="T49" fmla="*/ 0 h 695"/>
                <a:gd name="T50" fmla="*/ 737 w 753"/>
                <a:gd name="T51" fmla="*/ 0 h 695"/>
                <a:gd name="T52" fmla="*/ 741 w 753"/>
                <a:gd name="T53" fmla="*/ 1 h 695"/>
                <a:gd name="T54" fmla="*/ 744 w 753"/>
                <a:gd name="T55" fmla="*/ 2 h 695"/>
                <a:gd name="T56" fmla="*/ 747 w 753"/>
                <a:gd name="T57" fmla="*/ 5 h 695"/>
                <a:gd name="T58" fmla="*/ 749 w 753"/>
                <a:gd name="T59" fmla="*/ 8 h 695"/>
                <a:gd name="T60" fmla="*/ 751 w 753"/>
                <a:gd name="T61" fmla="*/ 11 h 695"/>
                <a:gd name="T62" fmla="*/ 751 w 753"/>
                <a:gd name="T63" fmla="*/ 15 h 695"/>
                <a:gd name="T64" fmla="*/ 753 w 753"/>
                <a:gd name="T65" fmla="*/ 20 h 695"/>
                <a:gd name="T66" fmla="*/ 751 w 753"/>
                <a:gd name="T67" fmla="*/ 23 h 695"/>
                <a:gd name="T68" fmla="*/ 751 w 753"/>
                <a:gd name="T69" fmla="*/ 27 h 695"/>
                <a:gd name="T70" fmla="*/ 749 w 753"/>
                <a:gd name="T71" fmla="*/ 30 h 695"/>
                <a:gd name="T72" fmla="*/ 747 w 753"/>
                <a:gd name="T73" fmla="*/ 33 h 695"/>
                <a:gd name="T74" fmla="*/ 744 w 753"/>
                <a:gd name="T75" fmla="*/ 36 h 695"/>
                <a:gd name="T76" fmla="*/ 741 w 753"/>
                <a:gd name="T77" fmla="*/ 37 h 695"/>
                <a:gd name="T78" fmla="*/ 737 w 753"/>
                <a:gd name="T79" fmla="*/ 38 h 695"/>
                <a:gd name="T80" fmla="*/ 733 w 753"/>
                <a:gd name="T81" fmla="*/ 38 h 695"/>
                <a:gd name="T82" fmla="*/ 613 w 753"/>
                <a:gd name="T83" fmla="*/ 38 h 695"/>
                <a:gd name="T84" fmla="*/ 462 w 753"/>
                <a:gd name="T85" fmla="*/ 681 h 695"/>
                <a:gd name="T86" fmla="*/ 459 w 753"/>
                <a:gd name="T87" fmla="*/ 687 h 695"/>
                <a:gd name="T88" fmla="*/ 455 w 753"/>
                <a:gd name="T89" fmla="*/ 691 h 695"/>
                <a:gd name="T90" fmla="*/ 450 w 753"/>
                <a:gd name="T91" fmla="*/ 694 h 695"/>
                <a:gd name="T92" fmla="*/ 443 w 753"/>
                <a:gd name="T93"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3" h="695">
                  <a:moveTo>
                    <a:pt x="443" y="695"/>
                  </a:moveTo>
                  <a:lnTo>
                    <a:pt x="18" y="695"/>
                  </a:lnTo>
                  <a:lnTo>
                    <a:pt x="14" y="695"/>
                  </a:lnTo>
                  <a:lnTo>
                    <a:pt x="11" y="694"/>
                  </a:lnTo>
                  <a:lnTo>
                    <a:pt x="8" y="692"/>
                  </a:lnTo>
                  <a:lnTo>
                    <a:pt x="6" y="690"/>
                  </a:lnTo>
                  <a:lnTo>
                    <a:pt x="3" y="687"/>
                  </a:lnTo>
                  <a:lnTo>
                    <a:pt x="1" y="684"/>
                  </a:lnTo>
                  <a:lnTo>
                    <a:pt x="0" y="679"/>
                  </a:lnTo>
                  <a:lnTo>
                    <a:pt x="0" y="677"/>
                  </a:lnTo>
                  <a:lnTo>
                    <a:pt x="0" y="672"/>
                  </a:lnTo>
                  <a:lnTo>
                    <a:pt x="1" y="668"/>
                  </a:lnTo>
                  <a:lnTo>
                    <a:pt x="3" y="665"/>
                  </a:lnTo>
                  <a:lnTo>
                    <a:pt x="6" y="662"/>
                  </a:lnTo>
                  <a:lnTo>
                    <a:pt x="8" y="659"/>
                  </a:lnTo>
                  <a:lnTo>
                    <a:pt x="11" y="658"/>
                  </a:lnTo>
                  <a:lnTo>
                    <a:pt x="14" y="656"/>
                  </a:lnTo>
                  <a:lnTo>
                    <a:pt x="18" y="656"/>
                  </a:lnTo>
                  <a:lnTo>
                    <a:pt x="429" y="656"/>
                  </a:lnTo>
                  <a:lnTo>
                    <a:pt x="579" y="15"/>
                  </a:lnTo>
                  <a:lnTo>
                    <a:pt x="582" y="8"/>
                  </a:lnTo>
                  <a:lnTo>
                    <a:pt x="586" y="4"/>
                  </a:lnTo>
                  <a:lnTo>
                    <a:pt x="592" y="1"/>
                  </a:lnTo>
                  <a:lnTo>
                    <a:pt x="597" y="0"/>
                  </a:lnTo>
                  <a:lnTo>
                    <a:pt x="733" y="0"/>
                  </a:lnTo>
                  <a:lnTo>
                    <a:pt x="737" y="0"/>
                  </a:lnTo>
                  <a:lnTo>
                    <a:pt x="741" y="1"/>
                  </a:lnTo>
                  <a:lnTo>
                    <a:pt x="744" y="2"/>
                  </a:lnTo>
                  <a:lnTo>
                    <a:pt x="747" y="5"/>
                  </a:lnTo>
                  <a:lnTo>
                    <a:pt x="749" y="8"/>
                  </a:lnTo>
                  <a:lnTo>
                    <a:pt x="751" y="11"/>
                  </a:lnTo>
                  <a:lnTo>
                    <a:pt x="751" y="15"/>
                  </a:lnTo>
                  <a:lnTo>
                    <a:pt x="753" y="20"/>
                  </a:lnTo>
                  <a:lnTo>
                    <a:pt x="751" y="23"/>
                  </a:lnTo>
                  <a:lnTo>
                    <a:pt x="751" y="27"/>
                  </a:lnTo>
                  <a:lnTo>
                    <a:pt x="749" y="30"/>
                  </a:lnTo>
                  <a:lnTo>
                    <a:pt x="747" y="33"/>
                  </a:lnTo>
                  <a:lnTo>
                    <a:pt x="744" y="36"/>
                  </a:lnTo>
                  <a:lnTo>
                    <a:pt x="741" y="37"/>
                  </a:lnTo>
                  <a:lnTo>
                    <a:pt x="737" y="38"/>
                  </a:lnTo>
                  <a:lnTo>
                    <a:pt x="733" y="38"/>
                  </a:lnTo>
                  <a:lnTo>
                    <a:pt x="613" y="38"/>
                  </a:lnTo>
                  <a:lnTo>
                    <a:pt x="462" y="681"/>
                  </a:lnTo>
                  <a:lnTo>
                    <a:pt x="459" y="687"/>
                  </a:lnTo>
                  <a:lnTo>
                    <a:pt x="455" y="691"/>
                  </a:lnTo>
                  <a:lnTo>
                    <a:pt x="450" y="694"/>
                  </a:lnTo>
                  <a:lnTo>
                    <a:pt x="443" y="6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30" name="Freeform 450">
              <a:extLst>
                <a:ext uri="{FF2B5EF4-FFF2-40B4-BE49-F238E27FC236}">
                  <a16:creationId xmlns:a16="http://schemas.microsoft.com/office/drawing/2014/main" id="{D8619783-3BF6-4AB4-83E7-A7EBFCDE3685}"/>
                </a:ext>
              </a:extLst>
            </p:cNvPr>
            <p:cNvSpPr>
              <a:spLocks/>
            </p:cNvSpPr>
            <p:nvPr/>
          </p:nvSpPr>
          <p:spPr bwMode="auto">
            <a:xfrm>
              <a:off x="2013401" y="5333436"/>
              <a:ext cx="356718" cy="187823"/>
            </a:xfrm>
            <a:custGeom>
              <a:avLst/>
              <a:gdLst>
                <a:gd name="T0" fmla="*/ 637 w 734"/>
                <a:gd name="T1" fmla="*/ 387 h 387"/>
                <a:gd name="T2" fmla="*/ 135 w 734"/>
                <a:gd name="T3" fmla="*/ 387 h 387"/>
                <a:gd name="T4" fmla="*/ 129 w 734"/>
                <a:gd name="T5" fmla="*/ 387 h 387"/>
                <a:gd name="T6" fmla="*/ 123 w 734"/>
                <a:gd name="T7" fmla="*/ 384 h 387"/>
                <a:gd name="T8" fmla="*/ 119 w 734"/>
                <a:gd name="T9" fmla="*/ 379 h 387"/>
                <a:gd name="T10" fmla="*/ 116 w 734"/>
                <a:gd name="T11" fmla="*/ 374 h 387"/>
                <a:gd name="T12" fmla="*/ 1 w 734"/>
                <a:gd name="T13" fmla="*/ 26 h 387"/>
                <a:gd name="T14" fmla="*/ 0 w 734"/>
                <a:gd name="T15" fmla="*/ 22 h 387"/>
                <a:gd name="T16" fmla="*/ 0 w 734"/>
                <a:gd name="T17" fmla="*/ 16 h 387"/>
                <a:gd name="T18" fmla="*/ 1 w 734"/>
                <a:gd name="T19" fmla="*/ 12 h 387"/>
                <a:gd name="T20" fmla="*/ 4 w 734"/>
                <a:gd name="T21" fmla="*/ 9 h 387"/>
                <a:gd name="T22" fmla="*/ 7 w 734"/>
                <a:gd name="T23" fmla="*/ 5 h 387"/>
                <a:gd name="T24" fmla="*/ 10 w 734"/>
                <a:gd name="T25" fmla="*/ 3 h 387"/>
                <a:gd name="T26" fmla="*/ 14 w 734"/>
                <a:gd name="T27" fmla="*/ 0 h 387"/>
                <a:gd name="T28" fmla="*/ 18 w 734"/>
                <a:gd name="T29" fmla="*/ 0 h 387"/>
                <a:gd name="T30" fmla="*/ 714 w 734"/>
                <a:gd name="T31" fmla="*/ 0 h 387"/>
                <a:gd name="T32" fmla="*/ 718 w 734"/>
                <a:gd name="T33" fmla="*/ 0 h 387"/>
                <a:gd name="T34" fmla="*/ 721 w 734"/>
                <a:gd name="T35" fmla="*/ 2 h 387"/>
                <a:gd name="T36" fmla="*/ 725 w 734"/>
                <a:gd name="T37" fmla="*/ 3 h 387"/>
                <a:gd name="T38" fmla="*/ 728 w 734"/>
                <a:gd name="T39" fmla="*/ 6 h 387"/>
                <a:gd name="T40" fmla="*/ 730 w 734"/>
                <a:gd name="T41" fmla="*/ 9 h 387"/>
                <a:gd name="T42" fmla="*/ 732 w 734"/>
                <a:gd name="T43" fmla="*/ 12 h 387"/>
                <a:gd name="T44" fmla="*/ 732 w 734"/>
                <a:gd name="T45" fmla="*/ 16 h 387"/>
                <a:gd name="T46" fmla="*/ 734 w 734"/>
                <a:gd name="T47" fmla="*/ 21 h 387"/>
                <a:gd name="T48" fmla="*/ 732 w 734"/>
                <a:gd name="T49" fmla="*/ 24 h 387"/>
                <a:gd name="T50" fmla="*/ 732 w 734"/>
                <a:gd name="T51" fmla="*/ 28 h 387"/>
                <a:gd name="T52" fmla="*/ 730 w 734"/>
                <a:gd name="T53" fmla="*/ 31 h 387"/>
                <a:gd name="T54" fmla="*/ 728 w 734"/>
                <a:gd name="T55" fmla="*/ 34 h 387"/>
                <a:gd name="T56" fmla="*/ 725 w 734"/>
                <a:gd name="T57" fmla="*/ 36 h 387"/>
                <a:gd name="T58" fmla="*/ 721 w 734"/>
                <a:gd name="T59" fmla="*/ 38 h 387"/>
                <a:gd name="T60" fmla="*/ 718 w 734"/>
                <a:gd name="T61" fmla="*/ 39 h 387"/>
                <a:gd name="T62" fmla="*/ 714 w 734"/>
                <a:gd name="T63" fmla="*/ 39 h 387"/>
                <a:gd name="T64" fmla="*/ 46 w 734"/>
                <a:gd name="T65" fmla="*/ 39 h 387"/>
                <a:gd name="T66" fmla="*/ 149 w 734"/>
                <a:gd name="T67" fmla="*/ 348 h 387"/>
                <a:gd name="T68" fmla="*/ 637 w 734"/>
                <a:gd name="T69" fmla="*/ 348 h 387"/>
                <a:gd name="T70" fmla="*/ 640 w 734"/>
                <a:gd name="T71" fmla="*/ 349 h 387"/>
                <a:gd name="T72" fmla="*/ 645 w 734"/>
                <a:gd name="T73" fmla="*/ 350 h 387"/>
                <a:gd name="T74" fmla="*/ 648 w 734"/>
                <a:gd name="T75" fmla="*/ 352 h 387"/>
                <a:gd name="T76" fmla="*/ 650 w 734"/>
                <a:gd name="T77" fmla="*/ 353 h 387"/>
                <a:gd name="T78" fmla="*/ 653 w 734"/>
                <a:gd name="T79" fmla="*/ 356 h 387"/>
                <a:gd name="T80" fmla="*/ 655 w 734"/>
                <a:gd name="T81" fmla="*/ 361 h 387"/>
                <a:gd name="T82" fmla="*/ 656 w 734"/>
                <a:gd name="T83" fmla="*/ 363 h 387"/>
                <a:gd name="T84" fmla="*/ 656 w 734"/>
                <a:gd name="T85" fmla="*/ 368 h 387"/>
                <a:gd name="T86" fmla="*/ 656 w 734"/>
                <a:gd name="T87" fmla="*/ 372 h 387"/>
                <a:gd name="T88" fmla="*/ 655 w 734"/>
                <a:gd name="T89" fmla="*/ 375 h 387"/>
                <a:gd name="T90" fmla="*/ 653 w 734"/>
                <a:gd name="T91" fmla="*/ 378 h 387"/>
                <a:gd name="T92" fmla="*/ 650 w 734"/>
                <a:gd name="T93" fmla="*/ 381 h 387"/>
                <a:gd name="T94" fmla="*/ 648 w 734"/>
                <a:gd name="T95" fmla="*/ 384 h 387"/>
                <a:gd name="T96" fmla="*/ 645 w 734"/>
                <a:gd name="T97" fmla="*/ 385 h 387"/>
                <a:gd name="T98" fmla="*/ 640 w 734"/>
                <a:gd name="T99" fmla="*/ 387 h 387"/>
                <a:gd name="T100" fmla="*/ 637 w 734"/>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4" h="387">
                  <a:moveTo>
                    <a:pt x="637" y="387"/>
                  </a:moveTo>
                  <a:lnTo>
                    <a:pt x="135" y="387"/>
                  </a:lnTo>
                  <a:lnTo>
                    <a:pt x="129" y="387"/>
                  </a:lnTo>
                  <a:lnTo>
                    <a:pt x="123" y="384"/>
                  </a:lnTo>
                  <a:lnTo>
                    <a:pt x="119" y="379"/>
                  </a:lnTo>
                  <a:lnTo>
                    <a:pt x="116" y="374"/>
                  </a:lnTo>
                  <a:lnTo>
                    <a:pt x="1" y="26"/>
                  </a:lnTo>
                  <a:lnTo>
                    <a:pt x="0" y="22"/>
                  </a:lnTo>
                  <a:lnTo>
                    <a:pt x="0" y="16"/>
                  </a:lnTo>
                  <a:lnTo>
                    <a:pt x="1" y="12"/>
                  </a:lnTo>
                  <a:lnTo>
                    <a:pt x="4" y="9"/>
                  </a:lnTo>
                  <a:lnTo>
                    <a:pt x="7" y="5"/>
                  </a:lnTo>
                  <a:lnTo>
                    <a:pt x="10" y="3"/>
                  </a:lnTo>
                  <a:lnTo>
                    <a:pt x="14" y="0"/>
                  </a:lnTo>
                  <a:lnTo>
                    <a:pt x="18" y="0"/>
                  </a:lnTo>
                  <a:lnTo>
                    <a:pt x="714" y="0"/>
                  </a:lnTo>
                  <a:lnTo>
                    <a:pt x="718" y="0"/>
                  </a:lnTo>
                  <a:lnTo>
                    <a:pt x="721" y="2"/>
                  </a:lnTo>
                  <a:lnTo>
                    <a:pt x="725" y="3"/>
                  </a:lnTo>
                  <a:lnTo>
                    <a:pt x="728" y="6"/>
                  </a:lnTo>
                  <a:lnTo>
                    <a:pt x="730" y="9"/>
                  </a:lnTo>
                  <a:lnTo>
                    <a:pt x="732" y="12"/>
                  </a:lnTo>
                  <a:lnTo>
                    <a:pt x="732" y="16"/>
                  </a:lnTo>
                  <a:lnTo>
                    <a:pt x="734" y="21"/>
                  </a:lnTo>
                  <a:lnTo>
                    <a:pt x="732" y="24"/>
                  </a:lnTo>
                  <a:lnTo>
                    <a:pt x="732" y="28"/>
                  </a:lnTo>
                  <a:lnTo>
                    <a:pt x="730" y="31"/>
                  </a:lnTo>
                  <a:lnTo>
                    <a:pt x="728" y="34"/>
                  </a:lnTo>
                  <a:lnTo>
                    <a:pt x="725" y="36"/>
                  </a:lnTo>
                  <a:lnTo>
                    <a:pt x="721" y="38"/>
                  </a:lnTo>
                  <a:lnTo>
                    <a:pt x="718" y="39"/>
                  </a:lnTo>
                  <a:lnTo>
                    <a:pt x="714" y="39"/>
                  </a:lnTo>
                  <a:lnTo>
                    <a:pt x="46" y="39"/>
                  </a:lnTo>
                  <a:lnTo>
                    <a:pt x="149" y="348"/>
                  </a:lnTo>
                  <a:lnTo>
                    <a:pt x="637" y="348"/>
                  </a:lnTo>
                  <a:lnTo>
                    <a:pt x="640" y="349"/>
                  </a:lnTo>
                  <a:lnTo>
                    <a:pt x="645" y="350"/>
                  </a:lnTo>
                  <a:lnTo>
                    <a:pt x="648" y="352"/>
                  </a:lnTo>
                  <a:lnTo>
                    <a:pt x="650" y="353"/>
                  </a:lnTo>
                  <a:lnTo>
                    <a:pt x="653" y="356"/>
                  </a:lnTo>
                  <a:lnTo>
                    <a:pt x="655" y="361"/>
                  </a:lnTo>
                  <a:lnTo>
                    <a:pt x="656" y="363"/>
                  </a:lnTo>
                  <a:lnTo>
                    <a:pt x="656" y="368"/>
                  </a:lnTo>
                  <a:lnTo>
                    <a:pt x="656" y="372"/>
                  </a:lnTo>
                  <a:lnTo>
                    <a:pt x="655" y="375"/>
                  </a:lnTo>
                  <a:lnTo>
                    <a:pt x="653" y="378"/>
                  </a:lnTo>
                  <a:lnTo>
                    <a:pt x="650" y="381"/>
                  </a:lnTo>
                  <a:lnTo>
                    <a:pt x="648" y="384"/>
                  </a:lnTo>
                  <a:lnTo>
                    <a:pt x="645" y="385"/>
                  </a:lnTo>
                  <a:lnTo>
                    <a:pt x="640" y="387"/>
                  </a:lnTo>
                  <a:lnTo>
                    <a:pt x="637" y="3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1803" name="Freeform 135">
            <a:extLst>
              <a:ext uri="{FF2B5EF4-FFF2-40B4-BE49-F238E27FC236}">
                <a16:creationId xmlns:a16="http://schemas.microsoft.com/office/drawing/2014/main" id="{FCD921F0-8A78-4324-81AD-CD0F9DFBEA39}"/>
              </a:ext>
            </a:extLst>
          </p:cNvPr>
          <p:cNvSpPr>
            <a:spLocks noChangeAspect="1" noEditPoints="1"/>
          </p:cNvSpPr>
          <p:nvPr/>
        </p:nvSpPr>
        <p:spPr bwMode="auto">
          <a:xfrm>
            <a:off x="6637662" y="4879041"/>
            <a:ext cx="285619" cy="285619"/>
          </a:xfrm>
          <a:custGeom>
            <a:avLst/>
            <a:gdLst>
              <a:gd name="T0" fmla="*/ 783 w 903"/>
              <a:gd name="T1" fmla="*/ 533 h 903"/>
              <a:gd name="T2" fmla="*/ 853 w 903"/>
              <a:gd name="T3" fmla="*/ 505 h 903"/>
              <a:gd name="T4" fmla="*/ 853 w 903"/>
              <a:gd name="T5" fmla="*/ 580 h 903"/>
              <a:gd name="T6" fmla="*/ 435 w 903"/>
              <a:gd name="T7" fmla="*/ 504 h 903"/>
              <a:gd name="T8" fmla="*/ 376 w 903"/>
              <a:gd name="T9" fmla="*/ 392 h 903"/>
              <a:gd name="T10" fmla="*/ 435 w 903"/>
              <a:gd name="T11" fmla="*/ 280 h 903"/>
              <a:gd name="T12" fmla="*/ 564 w 903"/>
              <a:gd name="T13" fmla="*/ 267 h 903"/>
              <a:gd name="T14" fmla="*/ 644 w 903"/>
              <a:gd name="T15" fmla="*/ 365 h 903"/>
              <a:gd name="T16" fmla="*/ 607 w 903"/>
              <a:gd name="T17" fmla="*/ 488 h 903"/>
              <a:gd name="T18" fmla="*/ 65 w 903"/>
              <a:gd name="T19" fmla="*/ 873 h 903"/>
              <a:gd name="T20" fmla="*/ 37 w 903"/>
              <a:gd name="T21" fmla="*/ 803 h 903"/>
              <a:gd name="T22" fmla="*/ 112 w 903"/>
              <a:gd name="T23" fmla="*/ 803 h 903"/>
              <a:gd name="T24" fmla="*/ 84 w 903"/>
              <a:gd name="T25" fmla="*/ 873 h 903"/>
              <a:gd name="T26" fmla="*/ 873 w 903"/>
              <a:gd name="T27" fmla="*/ 76 h 903"/>
              <a:gd name="T28" fmla="*/ 810 w 903"/>
              <a:gd name="T29" fmla="*/ 117 h 903"/>
              <a:gd name="T30" fmla="*/ 796 w 903"/>
              <a:gd name="T31" fmla="*/ 44 h 903"/>
              <a:gd name="T32" fmla="*/ 559 w 903"/>
              <a:gd name="T33" fmla="*/ 860 h 903"/>
              <a:gd name="T34" fmla="*/ 485 w 903"/>
              <a:gd name="T35" fmla="*/ 846 h 903"/>
              <a:gd name="T36" fmla="*/ 526 w 903"/>
              <a:gd name="T37" fmla="*/ 783 h 903"/>
              <a:gd name="T38" fmla="*/ 65 w 903"/>
              <a:gd name="T39" fmla="*/ 255 h 903"/>
              <a:gd name="T40" fmla="*/ 37 w 903"/>
              <a:gd name="T41" fmla="*/ 186 h 903"/>
              <a:gd name="T42" fmla="*/ 112 w 903"/>
              <a:gd name="T43" fmla="*/ 186 h 903"/>
              <a:gd name="T44" fmla="*/ 84 w 903"/>
              <a:gd name="T45" fmla="*/ 255 h 903"/>
              <a:gd name="T46" fmla="*/ 768 w 903"/>
              <a:gd name="T47" fmla="*/ 498 h 903"/>
              <a:gd name="T48" fmla="*/ 662 w 903"/>
              <a:gd name="T49" fmla="*/ 322 h 903"/>
              <a:gd name="T50" fmla="*/ 843 w 903"/>
              <a:gd name="T51" fmla="*/ 149 h 903"/>
              <a:gd name="T52" fmla="*/ 896 w 903"/>
              <a:gd name="T53" fmla="*/ 105 h 903"/>
              <a:gd name="T54" fmla="*/ 890 w 903"/>
              <a:gd name="T55" fmla="*/ 33 h 903"/>
              <a:gd name="T56" fmla="*/ 828 w 903"/>
              <a:gd name="T57" fmla="*/ 0 h 903"/>
              <a:gd name="T58" fmla="*/ 765 w 903"/>
              <a:gd name="T59" fmla="*/ 33 h 903"/>
              <a:gd name="T60" fmla="*/ 765 w 903"/>
              <a:gd name="T61" fmla="*/ 117 h 903"/>
              <a:gd name="T62" fmla="*/ 500 w 903"/>
              <a:gd name="T63" fmla="*/ 226 h 903"/>
              <a:gd name="T64" fmla="*/ 399 w 903"/>
              <a:gd name="T65" fmla="*/ 272 h 903"/>
              <a:gd name="T66" fmla="*/ 149 w 903"/>
              <a:gd name="T67" fmla="*/ 196 h 903"/>
              <a:gd name="T68" fmla="*/ 104 w 903"/>
              <a:gd name="T69" fmla="*/ 142 h 903"/>
              <a:gd name="T70" fmla="*/ 33 w 903"/>
              <a:gd name="T71" fmla="*/ 149 h 903"/>
              <a:gd name="T72" fmla="*/ 0 w 903"/>
              <a:gd name="T73" fmla="*/ 211 h 903"/>
              <a:gd name="T74" fmla="*/ 33 w 903"/>
              <a:gd name="T75" fmla="*/ 274 h 903"/>
              <a:gd name="T76" fmla="*/ 110 w 903"/>
              <a:gd name="T77" fmla="*/ 278 h 903"/>
              <a:gd name="T78" fmla="*/ 346 w 903"/>
              <a:gd name="T79" fmla="*/ 407 h 903"/>
              <a:gd name="T80" fmla="*/ 96 w 903"/>
              <a:gd name="T81" fmla="*/ 756 h 903"/>
              <a:gd name="T82" fmla="*/ 21 w 903"/>
              <a:gd name="T83" fmla="*/ 776 h 903"/>
              <a:gd name="T84" fmla="*/ 1 w 903"/>
              <a:gd name="T85" fmla="*/ 843 h 903"/>
              <a:gd name="T86" fmla="*/ 46 w 903"/>
              <a:gd name="T87" fmla="*/ 898 h 903"/>
              <a:gd name="T88" fmla="*/ 117 w 903"/>
              <a:gd name="T89" fmla="*/ 890 h 903"/>
              <a:gd name="T90" fmla="*/ 150 w 903"/>
              <a:gd name="T91" fmla="*/ 828 h 903"/>
              <a:gd name="T92" fmla="*/ 467 w 903"/>
              <a:gd name="T93" fmla="*/ 551 h 903"/>
              <a:gd name="T94" fmla="*/ 469 w 903"/>
              <a:gd name="T95" fmla="*/ 781 h 903"/>
              <a:gd name="T96" fmla="*/ 452 w 903"/>
              <a:gd name="T97" fmla="*/ 843 h 903"/>
              <a:gd name="T98" fmla="*/ 498 w 903"/>
              <a:gd name="T99" fmla="*/ 898 h 903"/>
              <a:gd name="T100" fmla="*/ 568 w 903"/>
              <a:gd name="T101" fmla="*/ 890 h 903"/>
              <a:gd name="T102" fmla="*/ 602 w 903"/>
              <a:gd name="T103" fmla="*/ 828 h 903"/>
              <a:gd name="T104" fmla="*/ 565 w 903"/>
              <a:gd name="T105" fmla="*/ 764 h 903"/>
              <a:gd name="T106" fmla="*/ 620 w 903"/>
              <a:gd name="T107" fmla="*/ 516 h 903"/>
              <a:gd name="T108" fmla="*/ 758 w 903"/>
              <a:gd name="T109" fmla="*/ 572 h 903"/>
              <a:gd name="T110" fmla="*/ 812 w 903"/>
              <a:gd name="T111" fmla="*/ 616 h 903"/>
              <a:gd name="T112" fmla="*/ 880 w 903"/>
              <a:gd name="T113" fmla="*/ 595 h 903"/>
              <a:gd name="T114" fmla="*/ 901 w 903"/>
              <a:gd name="T115" fmla="*/ 528 h 903"/>
              <a:gd name="T116" fmla="*/ 857 w 903"/>
              <a:gd name="T117" fmla="*/ 4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903">
                <a:moveTo>
                  <a:pt x="828" y="588"/>
                </a:moveTo>
                <a:lnTo>
                  <a:pt x="818" y="587"/>
                </a:lnTo>
                <a:lnTo>
                  <a:pt x="810" y="584"/>
                </a:lnTo>
                <a:lnTo>
                  <a:pt x="802" y="580"/>
                </a:lnTo>
                <a:lnTo>
                  <a:pt x="796" y="574"/>
                </a:lnTo>
                <a:lnTo>
                  <a:pt x="790" y="567"/>
                </a:lnTo>
                <a:lnTo>
                  <a:pt x="786" y="560"/>
                </a:lnTo>
                <a:lnTo>
                  <a:pt x="783" y="551"/>
                </a:lnTo>
                <a:lnTo>
                  <a:pt x="783" y="543"/>
                </a:lnTo>
                <a:lnTo>
                  <a:pt x="783" y="533"/>
                </a:lnTo>
                <a:lnTo>
                  <a:pt x="786" y="525"/>
                </a:lnTo>
                <a:lnTo>
                  <a:pt x="790" y="517"/>
                </a:lnTo>
                <a:lnTo>
                  <a:pt x="796" y="511"/>
                </a:lnTo>
                <a:lnTo>
                  <a:pt x="802" y="505"/>
                </a:lnTo>
                <a:lnTo>
                  <a:pt x="810" y="501"/>
                </a:lnTo>
                <a:lnTo>
                  <a:pt x="818" y="498"/>
                </a:lnTo>
                <a:lnTo>
                  <a:pt x="828" y="498"/>
                </a:lnTo>
                <a:lnTo>
                  <a:pt x="836" y="498"/>
                </a:lnTo>
                <a:lnTo>
                  <a:pt x="845" y="501"/>
                </a:lnTo>
                <a:lnTo>
                  <a:pt x="853" y="505"/>
                </a:lnTo>
                <a:lnTo>
                  <a:pt x="859" y="511"/>
                </a:lnTo>
                <a:lnTo>
                  <a:pt x="864" y="517"/>
                </a:lnTo>
                <a:lnTo>
                  <a:pt x="869" y="525"/>
                </a:lnTo>
                <a:lnTo>
                  <a:pt x="872" y="533"/>
                </a:lnTo>
                <a:lnTo>
                  <a:pt x="873" y="543"/>
                </a:lnTo>
                <a:lnTo>
                  <a:pt x="872" y="551"/>
                </a:lnTo>
                <a:lnTo>
                  <a:pt x="869" y="560"/>
                </a:lnTo>
                <a:lnTo>
                  <a:pt x="865" y="567"/>
                </a:lnTo>
                <a:lnTo>
                  <a:pt x="859" y="574"/>
                </a:lnTo>
                <a:lnTo>
                  <a:pt x="853" y="580"/>
                </a:lnTo>
                <a:lnTo>
                  <a:pt x="845" y="584"/>
                </a:lnTo>
                <a:lnTo>
                  <a:pt x="836" y="587"/>
                </a:lnTo>
                <a:lnTo>
                  <a:pt x="828" y="588"/>
                </a:lnTo>
                <a:close/>
                <a:moveTo>
                  <a:pt x="511" y="528"/>
                </a:moveTo>
                <a:lnTo>
                  <a:pt x="498" y="527"/>
                </a:lnTo>
                <a:lnTo>
                  <a:pt x="484" y="525"/>
                </a:lnTo>
                <a:lnTo>
                  <a:pt x="471" y="521"/>
                </a:lnTo>
                <a:lnTo>
                  <a:pt x="459" y="517"/>
                </a:lnTo>
                <a:lnTo>
                  <a:pt x="447" y="511"/>
                </a:lnTo>
                <a:lnTo>
                  <a:pt x="435" y="504"/>
                </a:lnTo>
                <a:lnTo>
                  <a:pt x="426" y="497"/>
                </a:lnTo>
                <a:lnTo>
                  <a:pt x="416" y="488"/>
                </a:lnTo>
                <a:lnTo>
                  <a:pt x="406" y="478"/>
                </a:lnTo>
                <a:lnTo>
                  <a:pt x="399" y="468"/>
                </a:lnTo>
                <a:lnTo>
                  <a:pt x="392" y="456"/>
                </a:lnTo>
                <a:lnTo>
                  <a:pt x="387" y="444"/>
                </a:lnTo>
                <a:lnTo>
                  <a:pt x="382" y="432"/>
                </a:lnTo>
                <a:lnTo>
                  <a:pt x="378" y="420"/>
                </a:lnTo>
                <a:lnTo>
                  <a:pt x="376" y="406"/>
                </a:lnTo>
                <a:lnTo>
                  <a:pt x="376" y="392"/>
                </a:lnTo>
                <a:lnTo>
                  <a:pt x="376" y="378"/>
                </a:lnTo>
                <a:lnTo>
                  <a:pt x="378" y="365"/>
                </a:lnTo>
                <a:lnTo>
                  <a:pt x="382" y="352"/>
                </a:lnTo>
                <a:lnTo>
                  <a:pt x="387" y="339"/>
                </a:lnTo>
                <a:lnTo>
                  <a:pt x="392" y="327"/>
                </a:lnTo>
                <a:lnTo>
                  <a:pt x="399" y="317"/>
                </a:lnTo>
                <a:lnTo>
                  <a:pt x="406" y="306"/>
                </a:lnTo>
                <a:lnTo>
                  <a:pt x="416" y="296"/>
                </a:lnTo>
                <a:lnTo>
                  <a:pt x="426" y="288"/>
                </a:lnTo>
                <a:lnTo>
                  <a:pt x="435" y="280"/>
                </a:lnTo>
                <a:lnTo>
                  <a:pt x="447" y="273"/>
                </a:lnTo>
                <a:lnTo>
                  <a:pt x="459" y="267"/>
                </a:lnTo>
                <a:lnTo>
                  <a:pt x="471" y="263"/>
                </a:lnTo>
                <a:lnTo>
                  <a:pt x="484" y="260"/>
                </a:lnTo>
                <a:lnTo>
                  <a:pt x="498" y="258"/>
                </a:lnTo>
                <a:lnTo>
                  <a:pt x="511" y="257"/>
                </a:lnTo>
                <a:lnTo>
                  <a:pt x="525" y="258"/>
                </a:lnTo>
                <a:lnTo>
                  <a:pt x="538" y="260"/>
                </a:lnTo>
                <a:lnTo>
                  <a:pt x="551" y="263"/>
                </a:lnTo>
                <a:lnTo>
                  <a:pt x="564" y="267"/>
                </a:lnTo>
                <a:lnTo>
                  <a:pt x="576" y="273"/>
                </a:lnTo>
                <a:lnTo>
                  <a:pt x="587" y="280"/>
                </a:lnTo>
                <a:lnTo>
                  <a:pt x="597" y="288"/>
                </a:lnTo>
                <a:lnTo>
                  <a:pt x="607" y="296"/>
                </a:lnTo>
                <a:lnTo>
                  <a:pt x="615" y="306"/>
                </a:lnTo>
                <a:lnTo>
                  <a:pt x="624" y="317"/>
                </a:lnTo>
                <a:lnTo>
                  <a:pt x="630" y="327"/>
                </a:lnTo>
                <a:lnTo>
                  <a:pt x="636" y="339"/>
                </a:lnTo>
                <a:lnTo>
                  <a:pt x="640" y="352"/>
                </a:lnTo>
                <a:lnTo>
                  <a:pt x="644" y="365"/>
                </a:lnTo>
                <a:lnTo>
                  <a:pt x="647" y="378"/>
                </a:lnTo>
                <a:lnTo>
                  <a:pt x="647" y="392"/>
                </a:lnTo>
                <a:lnTo>
                  <a:pt x="647" y="406"/>
                </a:lnTo>
                <a:lnTo>
                  <a:pt x="644" y="420"/>
                </a:lnTo>
                <a:lnTo>
                  <a:pt x="640" y="432"/>
                </a:lnTo>
                <a:lnTo>
                  <a:pt x="636" y="444"/>
                </a:lnTo>
                <a:lnTo>
                  <a:pt x="630" y="456"/>
                </a:lnTo>
                <a:lnTo>
                  <a:pt x="624" y="468"/>
                </a:lnTo>
                <a:lnTo>
                  <a:pt x="615" y="478"/>
                </a:lnTo>
                <a:lnTo>
                  <a:pt x="607" y="488"/>
                </a:lnTo>
                <a:lnTo>
                  <a:pt x="597" y="497"/>
                </a:lnTo>
                <a:lnTo>
                  <a:pt x="587" y="504"/>
                </a:lnTo>
                <a:lnTo>
                  <a:pt x="576" y="511"/>
                </a:lnTo>
                <a:lnTo>
                  <a:pt x="564" y="517"/>
                </a:lnTo>
                <a:lnTo>
                  <a:pt x="551" y="521"/>
                </a:lnTo>
                <a:lnTo>
                  <a:pt x="538" y="525"/>
                </a:lnTo>
                <a:lnTo>
                  <a:pt x="525" y="527"/>
                </a:lnTo>
                <a:lnTo>
                  <a:pt x="511" y="528"/>
                </a:lnTo>
                <a:close/>
                <a:moveTo>
                  <a:pt x="75" y="873"/>
                </a:moveTo>
                <a:lnTo>
                  <a:pt x="65" y="873"/>
                </a:lnTo>
                <a:lnTo>
                  <a:pt x="58" y="870"/>
                </a:lnTo>
                <a:lnTo>
                  <a:pt x="49" y="866"/>
                </a:lnTo>
                <a:lnTo>
                  <a:pt x="43" y="860"/>
                </a:lnTo>
                <a:lnTo>
                  <a:pt x="37" y="854"/>
                </a:lnTo>
                <a:lnTo>
                  <a:pt x="33" y="846"/>
                </a:lnTo>
                <a:lnTo>
                  <a:pt x="31" y="838"/>
                </a:lnTo>
                <a:lnTo>
                  <a:pt x="30" y="828"/>
                </a:lnTo>
                <a:lnTo>
                  <a:pt x="31" y="819"/>
                </a:lnTo>
                <a:lnTo>
                  <a:pt x="33" y="811"/>
                </a:lnTo>
                <a:lnTo>
                  <a:pt x="37" y="803"/>
                </a:lnTo>
                <a:lnTo>
                  <a:pt x="43" y="796"/>
                </a:lnTo>
                <a:lnTo>
                  <a:pt x="49" y="791"/>
                </a:lnTo>
                <a:lnTo>
                  <a:pt x="58" y="786"/>
                </a:lnTo>
                <a:lnTo>
                  <a:pt x="65" y="784"/>
                </a:lnTo>
                <a:lnTo>
                  <a:pt x="75" y="783"/>
                </a:lnTo>
                <a:lnTo>
                  <a:pt x="84" y="784"/>
                </a:lnTo>
                <a:lnTo>
                  <a:pt x="92" y="787"/>
                </a:lnTo>
                <a:lnTo>
                  <a:pt x="100" y="791"/>
                </a:lnTo>
                <a:lnTo>
                  <a:pt x="107" y="797"/>
                </a:lnTo>
                <a:lnTo>
                  <a:pt x="112" y="803"/>
                </a:lnTo>
                <a:lnTo>
                  <a:pt x="117" y="811"/>
                </a:lnTo>
                <a:lnTo>
                  <a:pt x="119" y="819"/>
                </a:lnTo>
                <a:lnTo>
                  <a:pt x="120" y="828"/>
                </a:lnTo>
                <a:lnTo>
                  <a:pt x="119" y="838"/>
                </a:lnTo>
                <a:lnTo>
                  <a:pt x="117" y="846"/>
                </a:lnTo>
                <a:lnTo>
                  <a:pt x="112" y="854"/>
                </a:lnTo>
                <a:lnTo>
                  <a:pt x="107" y="860"/>
                </a:lnTo>
                <a:lnTo>
                  <a:pt x="100" y="866"/>
                </a:lnTo>
                <a:lnTo>
                  <a:pt x="92" y="870"/>
                </a:lnTo>
                <a:lnTo>
                  <a:pt x="84" y="873"/>
                </a:lnTo>
                <a:lnTo>
                  <a:pt x="75" y="873"/>
                </a:lnTo>
                <a:close/>
                <a:moveTo>
                  <a:pt x="828" y="30"/>
                </a:moveTo>
                <a:lnTo>
                  <a:pt x="836" y="31"/>
                </a:lnTo>
                <a:lnTo>
                  <a:pt x="845" y="35"/>
                </a:lnTo>
                <a:lnTo>
                  <a:pt x="853" y="39"/>
                </a:lnTo>
                <a:lnTo>
                  <a:pt x="859" y="44"/>
                </a:lnTo>
                <a:lnTo>
                  <a:pt x="864" y="51"/>
                </a:lnTo>
                <a:lnTo>
                  <a:pt x="869" y="58"/>
                </a:lnTo>
                <a:lnTo>
                  <a:pt x="872" y="67"/>
                </a:lnTo>
                <a:lnTo>
                  <a:pt x="873" y="76"/>
                </a:lnTo>
                <a:lnTo>
                  <a:pt x="872" y="85"/>
                </a:lnTo>
                <a:lnTo>
                  <a:pt x="869" y="94"/>
                </a:lnTo>
                <a:lnTo>
                  <a:pt x="865" y="101"/>
                </a:lnTo>
                <a:lnTo>
                  <a:pt x="859" y="107"/>
                </a:lnTo>
                <a:lnTo>
                  <a:pt x="853" y="113"/>
                </a:lnTo>
                <a:lnTo>
                  <a:pt x="845" y="117"/>
                </a:lnTo>
                <a:lnTo>
                  <a:pt x="836" y="120"/>
                </a:lnTo>
                <a:lnTo>
                  <a:pt x="828" y="121"/>
                </a:lnTo>
                <a:lnTo>
                  <a:pt x="818" y="120"/>
                </a:lnTo>
                <a:lnTo>
                  <a:pt x="810" y="117"/>
                </a:lnTo>
                <a:lnTo>
                  <a:pt x="802" y="113"/>
                </a:lnTo>
                <a:lnTo>
                  <a:pt x="796" y="107"/>
                </a:lnTo>
                <a:lnTo>
                  <a:pt x="790" y="101"/>
                </a:lnTo>
                <a:lnTo>
                  <a:pt x="786" y="94"/>
                </a:lnTo>
                <a:lnTo>
                  <a:pt x="783" y="85"/>
                </a:lnTo>
                <a:lnTo>
                  <a:pt x="783" y="76"/>
                </a:lnTo>
                <a:lnTo>
                  <a:pt x="783" y="67"/>
                </a:lnTo>
                <a:lnTo>
                  <a:pt x="786" y="58"/>
                </a:lnTo>
                <a:lnTo>
                  <a:pt x="790" y="51"/>
                </a:lnTo>
                <a:lnTo>
                  <a:pt x="796" y="44"/>
                </a:lnTo>
                <a:lnTo>
                  <a:pt x="802" y="39"/>
                </a:lnTo>
                <a:lnTo>
                  <a:pt x="810" y="35"/>
                </a:lnTo>
                <a:lnTo>
                  <a:pt x="818" y="31"/>
                </a:lnTo>
                <a:lnTo>
                  <a:pt x="828" y="30"/>
                </a:lnTo>
                <a:lnTo>
                  <a:pt x="828" y="30"/>
                </a:lnTo>
                <a:close/>
                <a:moveTo>
                  <a:pt x="572" y="828"/>
                </a:moveTo>
                <a:lnTo>
                  <a:pt x="570" y="838"/>
                </a:lnTo>
                <a:lnTo>
                  <a:pt x="568" y="846"/>
                </a:lnTo>
                <a:lnTo>
                  <a:pt x="564" y="854"/>
                </a:lnTo>
                <a:lnTo>
                  <a:pt x="559" y="860"/>
                </a:lnTo>
                <a:lnTo>
                  <a:pt x="551" y="866"/>
                </a:lnTo>
                <a:lnTo>
                  <a:pt x="544" y="870"/>
                </a:lnTo>
                <a:lnTo>
                  <a:pt x="535" y="873"/>
                </a:lnTo>
                <a:lnTo>
                  <a:pt x="526" y="873"/>
                </a:lnTo>
                <a:lnTo>
                  <a:pt x="517" y="873"/>
                </a:lnTo>
                <a:lnTo>
                  <a:pt x="509" y="870"/>
                </a:lnTo>
                <a:lnTo>
                  <a:pt x="501" y="866"/>
                </a:lnTo>
                <a:lnTo>
                  <a:pt x="494" y="860"/>
                </a:lnTo>
                <a:lnTo>
                  <a:pt x="489" y="854"/>
                </a:lnTo>
                <a:lnTo>
                  <a:pt x="485" y="846"/>
                </a:lnTo>
                <a:lnTo>
                  <a:pt x="482" y="838"/>
                </a:lnTo>
                <a:lnTo>
                  <a:pt x="481" y="828"/>
                </a:lnTo>
                <a:lnTo>
                  <a:pt x="482" y="819"/>
                </a:lnTo>
                <a:lnTo>
                  <a:pt x="485" y="811"/>
                </a:lnTo>
                <a:lnTo>
                  <a:pt x="489" y="803"/>
                </a:lnTo>
                <a:lnTo>
                  <a:pt x="494" y="796"/>
                </a:lnTo>
                <a:lnTo>
                  <a:pt x="501" y="791"/>
                </a:lnTo>
                <a:lnTo>
                  <a:pt x="509" y="786"/>
                </a:lnTo>
                <a:lnTo>
                  <a:pt x="517" y="784"/>
                </a:lnTo>
                <a:lnTo>
                  <a:pt x="526" y="783"/>
                </a:lnTo>
                <a:lnTo>
                  <a:pt x="535" y="784"/>
                </a:lnTo>
                <a:lnTo>
                  <a:pt x="544" y="787"/>
                </a:lnTo>
                <a:lnTo>
                  <a:pt x="551" y="791"/>
                </a:lnTo>
                <a:lnTo>
                  <a:pt x="559" y="797"/>
                </a:lnTo>
                <a:lnTo>
                  <a:pt x="564" y="803"/>
                </a:lnTo>
                <a:lnTo>
                  <a:pt x="568" y="811"/>
                </a:lnTo>
                <a:lnTo>
                  <a:pt x="570" y="819"/>
                </a:lnTo>
                <a:lnTo>
                  <a:pt x="572" y="828"/>
                </a:lnTo>
                <a:close/>
                <a:moveTo>
                  <a:pt x="75" y="257"/>
                </a:moveTo>
                <a:lnTo>
                  <a:pt x="65" y="255"/>
                </a:lnTo>
                <a:lnTo>
                  <a:pt x="58" y="253"/>
                </a:lnTo>
                <a:lnTo>
                  <a:pt x="49" y="249"/>
                </a:lnTo>
                <a:lnTo>
                  <a:pt x="43" y="244"/>
                </a:lnTo>
                <a:lnTo>
                  <a:pt x="37" y="236"/>
                </a:lnTo>
                <a:lnTo>
                  <a:pt x="33" y="229"/>
                </a:lnTo>
                <a:lnTo>
                  <a:pt x="31" y="220"/>
                </a:lnTo>
                <a:lnTo>
                  <a:pt x="30" y="211"/>
                </a:lnTo>
                <a:lnTo>
                  <a:pt x="31" y="202"/>
                </a:lnTo>
                <a:lnTo>
                  <a:pt x="33" y="193"/>
                </a:lnTo>
                <a:lnTo>
                  <a:pt x="37" y="186"/>
                </a:lnTo>
                <a:lnTo>
                  <a:pt x="43" y="179"/>
                </a:lnTo>
                <a:lnTo>
                  <a:pt x="49" y="174"/>
                </a:lnTo>
                <a:lnTo>
                  <a:pt x="58" y="170"/>
                </a:lnTo>
                <a:lnTo>
                  <a:pt x="65" y="168"/>
                </a:lnTo>
                <a:lnTo>
                  <a:pt x="75" y="166"/>
                </a:lnTo>
                <a:lnTo>
                  <a:pt x="84" y="168"/>
                </a:lnTo>
                <a:lnTo>
                  <a:pt x="92" y="170"/>
                </a:lnTo>
                <a:lnTo>
                  <a:pt x="100" y="174"/>
                </a:lnTo>
                <a:lnTo>
                  <a:pt x="107" y="179"/>
                </a:lnTo>
                <a:lnTo>
                  <a:pt x="112" y="186"/>
                </a:lnTo>
                <a:lnTo>
                  <a:pt x="117" y="193"/>
                </a:lnTo>
                <a:lnTo>
                  <a:pt x="119" y="202"/>
                </a:lnTo>
                <a:lnTo>
                  <a:pt x="120" y="211"/>
                </a:lnTo>
                <a:lnTo>
                  <a:pt x="119" y="220"/>
                </a:lnTo>
                <a:lnTo>
                  <a:pt x="117" y="229"/>
                </a:lnTo>
                <a:lnTo>
                  <a:pt x="112" y="236"/>
                </a:lnTo>
                <a:lnTo>
                  <a:pt x="107" y="244"/>
                </a:lnTo>
                <a:lnTo>
                  <a:pt x="100" y="249"/>
                </a:lnTo>
                <a:lnTo>
                  <a:pt x="92" y="253"/>
                </a:lnTo>
                <a:lnTo>
                  <a:pt x="84" y="255"/>
                </a:lnTo>
                <a:lnTo>
                  <a:pt x="75" y="257"/>
                </a:lnTo>
                <a:close/>
                <a:moveTo>
                  <a:pt x="828" y="467"/>
                </a:moveTo>
                <a:lnTo>
                  <a:pt x="818" y="468"/>
                </a:lnTo>
                <a:lnTo>
                  <a:pt x="810" y="469"/>
                </a:lnTo>
                <a:lnTo>
                  <a:pt x="801" y="472"/>
                </a:lnTo>
                <a:lnTo>
                  <a:pt x="794" y="475"/>
                </a:lnTo>
                <a:lnTo>
                  <a:pt x="786" y="480"/>
                </a:lnTo>
                <a:lnTo>
                  <a:pt x="780" y="485"/>
                </a:lnTo>
                <a:lnTo>
                  <a:pt x="773" y="490"/>
                </a:lnTo>
                <a:lnTo>
                  <a:pt x="768" y="498"/>
                </a:lnTo>
                <a:lnTo>
                  <a:pt x="667" y="450"/>
                </a:lnTo>
                <a:lnTo>
                  <a:pt x="671" y="436"/>
                </a:lnTo>
                <a:lnTo>
                  <a:pt x="674" y="422"/>
                </a:lnTo>
                <a:lnTo>
                  <a:pt x="677" y="407"/>
                </a:lnTo>
                <a:lnTo>
                  <a:pt x="677" y="392"/>
                </a:lnTo>
                <a:lnTo>
                  <a:pt x="677" y="377"/>
                </a:lnTo>
                <a:lnTo>
                  <a:pt x="674" y="363"/>
                </a:lnTo>
                <a:lnTo>
                  <a:pt x="671" y="349"/>
                </a:lnTo>
                <a:lnTo>
                  <a:pt x="667" y="335"/>
                </a:lnTo>
                <a:lnTo>
                  <a:pt x="662" y="322"/>
                </a:lnTo>
                <a:lnTo>
                  <a:pt x="654" y="309"/>
                </a:lnTo>
                <a:lnTo>
                  <a:pt x="647" y="297"/>
                </a:lnTo>
                <a:lnTo>
                  <a:pt x="638" y="285"/>
                </a:lnTo>
                <a:lnTo>
                  <a:pt x="786" y="139"/>
                </a:lnTo>
                <a:lnTo>
                  <a:pt x="796" y="144"/>
                </a:lnTo>
                <a:lnTo>
                  <a:pt x="805" y="148"/>
                </a:lnTo>
                <a:lnTo>
                  <a:pt x="816" y="150"/>
                </a:lnTo>
                <a:lnTo>
                  <a:pt x="828" y="151"/>
                </a:lnTo>
                <a:lnTo>
                  <a:pt x="835" y="150"/>
                </a:lnTo>
                <a:lnTo>
                  <a:pt x="843" y="149"/>
                </a:lnTo>
                <a:lnTo>
                  <a:pt x="849" y="148"/>
                </a:lnTo>
                <a:lnTo>
                  <a:pt x="857" y="145"/>
                </a:lnTo>
                <a:lnTo>
                  <a:pt x="863" y="142"/>
                </a:lnTo>
                <a:lnTo>
                  <a:pt x="870" y="139"/>
                </a:lnTo>
                <a:lnTo>
                  <a:pt x="875" y="134"/>
                </a:lnTo>
                <a:lnTo>
                  <a:pt x="880" y="129"/>
                </a:lnTo>
                <a:lnTo>
                  <a:pt x="886" y="124"/>
                </a:lnTo>
                <a:lnTo>
                  <a:pt x="890" y="118"/>
                </a:lnTo>
                <a:lnTo>
                  <a:pt x="893" y="112"/>
                </a:lnTo>
                <a:lnTo>
                  <a:pt x="896" y="105"/>
                </a:lnTo>
                <a:lnTo>
                  <a:pt x="900" y="98"/>
                </a:lnTo>
                <a:lnTo>
                  <a:pt x="901" y="91"/>
                </a:lnTo>
                <a:lnTo>
                  <a:pt x="902" y="84"/>
                </a:lnTo>
                <a:lnTo>
                  <a:pt x="903" y="76"/>
                </a:lnTo>
                <a:lnTo>
                  <a:pt x="902" y="68"/>
                </a:lnTo>
                <a:lnTo>
                  <a:pt x="901" y="60"/>
                </a:lnTo>
                <a:lnTo>
                  <a:pt x="900" y="54"/>
                </a:lnTo>
                <a:lnTo>
                  <a:pt x="896" y="46"/>
                </a:lnTo>
                <a:lnTo>
                  <a:pt x="893" y="40"/>
                </a:lnTo>
                <a:lnTo>
                  <a:pt x="890" y="33"/>
                </a:lnTo>
                <a:lnTo>
                  <a:pt x="886" y="28"/>
                </a:lnTo>
                <a:lnTo>
                  <a:pt x="880" y="23"/>
                </a:lnTo>
                <a:lnTo>
                  <a:pt x="875" y="17"/>
                </a:lnTo>
                <a:lnTo>
                  <a:pt x="870" y="13"/>
                </a:lnTo>
                <a:lnTo>
                  <a:pt x="863" y="10"/>
                </a:lnTo>
                <a:lnTo>
                  <a:pt x="857" y="7"/>
                </a:lnTo>
                <a:lnTo>
                  <a:pt x="849" y="5"/>
                </a:lnTo>
                <a:lnTo>
                  <a:pt x="843" y="2"/>
                </a:lnTo>
                <a:lnTo>
                  <a:pt x="835" y="1"/>
                </a:lnTo>
                <a:lnTo>
                  <a:pt x="828" y="0"/>
                </a:lnTo>
                <a:lnTo>
                  <a:pt x="819" y="1"/>
                </a:lnTo>
                <a:lnTo>
                  <a:pt x="812" y="2"/>
                </a:lnTo>
                <a:lnTo>
                  <a:pt x="805" y="5"/>
                </a:lnTo>
                <a:lnTo>
                  <a:pt x="798" y="7"/>
                </a:lnTo>
                <a:lnTo>
                  <a:pt x="791" y="10"/>
                </a:lnTo>
                <a:lnTo>
                  <a:pt x="785" y="13"/>
                </a:lnTo>
                <a:lnTo>
                  <a:pt x="780" y="17"/>
                </a:lnTo>
                <a:lnTo>
                  <a:pt x="774" y="23"/>
                </a:lnTo>
                <a:lnTo>
                  <a:pt x="769" y="28"/>
                </a:lnTo>
                <a:lnTo>
                  <a:pt x="765" y="33"/>
                </a:lnTo>
                <a:lnTo>
                  <a:pt x="761" y="40"/>
                </a:lnTo>
                <a:lnTo>
                  <a:pt x="758" y="46"/>
                </a:lnTo>
                <a:lnTo>
                  <a:pt x="756" y="54"/>
                </a:lnTo>
                <a:lnTo>
                  <a:pt x="754" y="60"/>
                </a:lnTo>
                <a:lnTo>
                  <a:pt x="753" y="68"/>
                </a:lnTo>
                <a:lnTo>
                  <a:pt x="752" y="76"/>
                </a:lnTo>
                <a:lnTo>
                  <a:pt x="753" y="87"/>
                </a:lnTo>
                <a:lnTo>
                  <a:pt x="756" y="98"/>
                </a:lnTo>
                <a:lnTo>
                  <a:pt x="759" y="107"/>
                </a:lnTo>
                <a:lnTo>
                  <a:pt x="765" y="117"/>
                </a:lnTo>
                <a:lnTo>
                  <a:pt x="618" y="265"/>
                </a:lnTo>
                <a:lnTo>
                  <a:pt x="606" y="257"/>
                </a:lnTo>
                <a:lnTo>
                  <a:pt x="594" y="249"/>
                </a:lnTo>
                <a:lnTo>
                  <a:pt x="581" y="243"/>
                </a:lnTo>
                <a:lnTo>
                  <a:pt x="568" y="236"/>
                </a:lnTo>
                <a:lnTo>
                  <a:pt x="554" y="232"/>
                </a:lnTo>
                <a:lnTo>
                  <a:pt x="540" y="229"/>
                </a:lnTo>
                <a:lnTo>
                  <a:pt x="526" y="228"/>
                </a:lnTo>
                <a:lnTo>
                  <a:pt x="511" y="226"/>
                </a:lnTo>
                <a:lnTo>
                  <a:pt x="500" y="226"/>
                </a:lnTo>
                <a:lnTo>
                  <a:pt x="488" y="228"/>
                </a:lnTo>
                <a:lnTo>
                  <a:pt x="476" y="230"/>
                </a:lnTo>
                <a:lnTo>
                  <a:pt x="465" y="233"/>
                </a:lnTo>
                <a:lnTo>
                  <a:pt x="455" y="236"/>
                </a:lnTo>
                <a:lnTo>
                  <a:pt x="444" y="240"/>
                </a:lnTo>
                <a:lnTo>
                  <a:pt x="434" y="246"/>
                </a:lnTo>
                <a:lnTo>
                  <a:pt x="425" y="251"/>
                </a:lnTo>
                <a:lnTo>
                  <a:pt x="415" y="258"/>
                </a:lnTo>
                <a:lnTo>
                  <a:pt x="406" y="264"/>
                </a:lnTo>
                <a:lnTo>
                  <a:pt x="399" y="272"/>
                </a:lnTo>
                <a:lnTo>
                  <a:pt x="390" y="279"/>
                </a:lnTo>
                <a:lnTo>
                  <a:pt x="383" y="288"/>
                </a:lnTo>
                <a:lnTo>
                  <a:pt x="376" y="296"/>
                </a:lnTo>
                <a:lnTo>
                  <a:pt x="370" y="306"/>
                </a:lnTo>
                <a:lnTo>
                  <a:pt x="365" y="315"/>
                </a:lnTo>
                <a:lnTo>
                  <a:pt x="149" y="225"/>
                </a:lnTo>
                <a:lnTo>
                  <a:pt x="150" y="219"/>
                </a:lnTo>
                <a:lnTo>
                  <a:pt x="150" y="211"/>
                </a:lnTo>
                <a:lnTo>
                  <a:pt x="150" y="204"/>
                </a:lnTo>
                <a:lnTo>
                  <a:pt x="149" y="196"/>
                </a:lnTo>
                <a:lnTo>
                  <a:pt x="147" y="189"/>
                </a:lnTo>
                <a:lnTo>
                  <a:pt x="145" y="183"/>
                </a:lnTo>
                <a:lnTo>
                  <a:pt x="141" y="175"/>
                </a:lnTo>
                <a:lnTo>
                  <a:pt x="137" y="170"/>
                </a:lnTo>
                <a:lnTo>
                  <a:pt x="133" y="163"/>
                </a:lnTo>
                <a:lnTo>
                  <a:pt x="127" y="158"/>
                </a:lnTo>
                <a:lnTo>
                  <a:pt x="122" y="154"/>
                </a:lnTo>
                <a:lnTo>
                  <a:pt x="117" y="149"/>
                </a:lnTo>
                <a:lnTo>
                  <a:pt x="110" y="145"/>
                </a:lnTo>
                <a:lnTo>
                  <a:pt x="104" y="142"/>
                </a:lnTo>
                <a:lnTo>
                  <a:pt x="97" y="140"/>
                </a:lnTo>
                <a:lnTo>
                  <a:pt x="90" y="137"/>
                </a:lnTo>
                <a:lnTo>
                  <a:pt x="82" y="136"/>
                </a:lnTo>
                <a:lnTo>
                  <a:pt x="75" y="136"/>
                </a:lnTo>
                <a:lnTo>
                  <a:pt x="67" y="136"/>
                </a:lnTo>
                <a:lnTo>
                  <a:pt x="60" y="137"/>
                </a:lnTo>
                <a:lnTo>
                  <a:pt x="52" y="140"/>
                </a:lnTo>
                <a:lnTo>
                  <a:pt x="46" y="142"/>
                </a:lnTo>
                <a:lnTo>
                  <a:pt x="38" y="145"/>
                </a:lnTo>
                <a:lnTo>
                  <a:pt x="33" y="149"/>
                </a:lnTo>
                <a:lnTo>
                  <a:pt x="27" y="154"/>
                </a:lnTo>
                <a:lnTo>
                  <a:pt x="21" y="158"/>
                </a:lnTo>
                <a:lnTo>
                  <a:pt x="17" y="163"/>
                </a:lnTo>
                <a:lnTo>
                  <a:pt x="13" y="170"/>
                </a:lnTo>
                <a:lnTo>
                  <a:pt x="8" y="175"/>
                </a:lnTo>
                <a:lnTo>
                  <a:pt x="5" y="183"/>
                </a:lnTo>
                <a:lnTo>
                  <a:pt x="3" y="189"/>
                </a:lnTo>
                <a:lnTo>
                  <a:pt x="1" y="196"/>
                </a:lnTo>
                <a:lnTo>
                  <a:pt x="0" y="204"/>
                </a:lnTo>
                <a:lnTo>
                  <a:pt x="0" y="211"/>
                </a:lnTo>
                <a:lnTo>
                  <a:pt x="0" y="219"/>
                </a:lnTo>
                <a:lnTo>
                  <a:pt x="1" y="226"/>
                </a:lnTo>
                <a:lnTo>
                  <a:pt x="3" y="234"/>
                </a:lnTo>
                <a:lnTo>
                  <a:pt x="5" y="240"/>
                </a:lnTo>
                <a:lnTo>
                  <a:pt x="8" y="247"/>
                </a:lnTo>
                <a:lnTo>
                  <a:pt x="13" y="253"/>
                </a:lnTo>
                <a:lnTo>
                  <a:pt x="17" y="259"/>
                </a:lnTo>
                <a:lnTo>
                  <a:pt x="21" y="264"/>
                </a:lnTo>
                <a:lnTo>
                  <a:pt x="27" y="269"/>
                </a:lnTo>
                <a:lnTo>
                  <a:pt x="33" y="274"/>
                </a:lnTo>
                <a:lnTo>
                  <a:pt x="38" y="278"/>
                </a:lnTo>
                <a:lnTo>
                  <a:pt x="46" y="281"/>
                </a:lnTo>
                <a:lnTo>
                  <a:pt x="52" y="283"/>
                </a:lnTo>
                <a:lnTo>
                  <a:pt x="60" y="285"/>
                </a:lnTo>
                <a:lnTo>
                  <a:pt x="67" y="287"/>
                </a:lnTo>
                <a:lnTo>
                  <a:pt x="75" y="287"/>
                </a:lnTo>
                <a:lnTo>
                  <a:pt x="85" y="285"/>
                </a:lnTo>
                <a:lnTo>
                  <a:pt x="93" y="284"/>
                </a:lnTo>
                <a:lnTo>
                  <a:pt x="103" y="281"/>
                </a:lnTo>
                <a:lnTo>
                  <a:pt x="110" y="278"/>
                </a:lnTo>
                <a:lnTo>
                  <a:pt x="118" y="273"/>
                </a:lnTo>
                <a:lnTo>
                  <a:pt x="125" y="267"/>
                </a:lnTo>
                <a:lnTo>
                  <a:pt x="132" y="261"/>
                </a:lnTo>
                <a:lnTo>
                  <a:pt x="137" y="253"/>
                </a:lnTo>
                <a:lnTo>
                  <a:pt x="353" y="342"/>
                </a:lnTo>
                <a:lnTo>
                  <a:pt x="350" y="354"/>
                </a:lnTo>
                <a:lnTo>
                  <a:pt x="347" y="367"/>
                </a:lnTo>
                <a:lnTo>
                  <a:pt x="346" y="379"/>
                </a:lnTo>
                <a:lnTo>
                  <a:pt x="345" y="392"/>
                </a:lnTo>
                <a:lnTo>
                  <a:pt x="346" y="407"/>
                </a:lnTo>
                <a:lnTo>
                  <a:pt x="348" y="422"/>
                </a:lnTo>
                <a:lnTo>
                  <a:pt x="352" y="436"/>
                </a:lnTo>
                <a:lnTo>
                  <a:pt x="356" y="450"/>
                </a:lnTo>
                <a:lnTo>
                  <a:pt x="361" y="462"/>
                </a:lnTo>
                <a:lnTo>
                  <a:pt x="368" y="474"/>
                </a:lnTo>
                <a:lnTo>
                  <a:pt x="375" y="487"/>
                </a:lnTo>
                <a:lnTo>
                  <a:pt x="384" y="498"/>
                </a:lnTo>
                <a:lnTo>
                  <a:pt x="116" y="766"/>
                </a:lnTo>
                <a:lnTo>
                  <a:pt x="107" y="761"/>
                </a:lnTo>
                <a:lnTo>
                  <a:pt x="96" y="756"/>
                </a:lnTo>
                <a:lnTo>
                  <a:pt x="86" y="754"/>
                </a:lnTo>
                <a:lnTo>
                  <a:pt x="75" y="753"/>
                </a:lnTo>
                <a:lnTo>
                  <a:pt x="67" y="753"/>
                </a:lnTo>
                <a:lnTo>
                  <a:pt x="60" y="755"/>
                </a:lnTo>
                <a:lnTo>
                  <a:pt x="52" y="756"/>
                </a:lnTo>
                <a:lnTo>
                  <a:pt x="46" y="759"/>
                </a:lnTo>
                <a:lnTo>
                  <a:pt x="38" y="763"/>
                </a:lnTo>
                <a:lnTo>
                  <a:pt x="33" y="766"/>
                </a:lnTo>
                <a:lnTo>
                  <a:pt x="27" y="770"/>
                </a:lnTo>
                <a:lnTo>
                  <a:pt x="21" y="776"/>
                </a:lnTo>
                <a:lnTo>
                  <a:pt x="17" y="781"/>
                </a:lnTo>
                <a:lnTo>
                  <a:pt x="13" y="786"/>
                </a:lnTo>
                <a:lnTo>
                  <a:pt x="8" y="793"/>
                </a:lnTo>
                <a:lnTo>
                  <a:pt x="5" y="799"/>
                </a:lnTo>
                <a:lnTo>
                  <a:pt x="3" y="806"/>
                </a:lnTo>
                <a:lnTo>
                  <a:pt x="1" y="813"/>
                </a:lnTo>
                <a:lnTo>
                  <a:pt x="0" y="821"/>
                </a:lnTo>
                <a:lnTo>
                  <a:pt x="0" y="828"/>
                </a:lnTo>
                <a:lnTo>
                  <a:pt x="0" y="836"/>
                </a:lnTo>
                <a:lnTo>
                  <a:pt x="1" y="843"/>
                </a:lnTo>
                <a:lnTo>
                  <a:pt x="3" y="851"/>
                </a:lnTo>
                <a:lnTo>
                  <a:pt x="5" y="858"/>
                </a:lnTo>
                <a:lnTo>
                  <a:pt x="8" y="865"/>
                </a:lnTo>
                <a:lnTo>
                  <a:pt x="13" y="870"/>
                </a:lnTo>
                <a:lnTo>
                  <a:pt x="17" y="876"/>
                </a:lnTo>
                <a:lnTo>
                  <a:pt x="21" y="882"/>
                </a:lnTo>
                <a:lnTo>
                  <a:pt x="27" y="886"/>
                </a:lnTo>
                <a:lnTo>
                  <a:pt x="33" y="890"/>
                </a:lnTo>
                <a:lnTo>
                  <a:pt x="38" y="895"/>
                </a:lnTo>
                <a:lnTo>
                  <a:pt x="46" y="898"/>
                </a:lnTo>
                <a:lnTo>
                  <a:pt x="52" y="900"/>
                </a:lnTo>
                <a:lnTo>
                  <a:pt x="60" y="902"/>
                </a:lnTo>
                <a:lnTo>
                  <a:pt x="67" y="903"/>
                </a:lnTo>
                <a:lnTo>
                  <a:pt x="75" y="903"/>
                </a:lnTo>
                <a:lnTo>
                  <a:pt x="82" y="903"/>
                </a:lnTo>
                <a:lnTo>
                  <a:pt x="90" y="902"/>
                </a:lnTo>
                <a:lnTo>
                  <a:pt x="97" y="900"/>
                </a:lnTo>
                <a:lnTo>
                  <a:pt x="104" y="898"/>
                </a:lnTo>
                <a:lnTo>
                  <a:pt x="110" y="895"/>
                </a:lnTo>
                <a:lnTo>
                  <a:pt x="117" y="890"/>
                </a:lnTo>
                <a:lnTo>
                  <a:pt x="122" y="886"/>
                </a:lnTo>
                <a:lnTo>
                  <a:pt x="127" y="882"/>
                </a:lnTo>
                <a:lnTo>
                  <a:pt x="133" y="876"/>
                </a:lnTo>
                <a:lnTo>
                  <a:pt x="137" y="870"/>
                </a:lnTo>
                <a:lnTo>
                  <a:pt x="141" y="865"/>
                </a:lnTo>
                <a:lnTo>
                  <a:pt x="145" y="858"/>
                </a:lnTo>
                <a:lnTo>
                  <a:pt x="147" y="851"/>
                </a:lnTo>
                <a:lnTo>
                  <a:pt x="149" y="843"/>
                </a:lnTo>
                <a:lnTo>
                  <a:pt x="150" y="836"/>
                </a:lnTo>
                <a:lnTo>
                  <a:pt x="150" y="828"/>
                </a:lnTo>
                <a:lnTo>
                  <a:pt x="149" y="817"/>
                </a:lnTo>
                <a:lnTo>
                  <a:pt x="147" y="807"/>
                </a:lnTo>
                <a:lnTo>
                  <a:pt x="143" y="796"/>
                </a:lnTo>
                <a:lnTo>
                  <a:pt x="137" y="787"/>
                </a:lnTo>
                <a:lnTo>
                  <a:pt x="405" y="519"/>
                </a:lnTo>
                <a:lnTo>
                  <a:pt x="417" y="528"/>
                </a:lnTo>
                <a:lnTo>
                  <a:pt x="429" y="535"/>
                </a:lnTo>
                <a:lnTo>
                  <a:pt x="441" y="542"/>
                </a:lnTo>
                <a:lnTo>
                  <a:pt x="454" y="547"/>
                </a:lnTo>
                <a:lnTo>
                  <a:pt x="467" y="551"/>
                </a:lnTo>
                <a:lnTo>
                  <a:pt x="481" y="555"/>
                </a:lnTo>
                <a:lnTo>
                  <a:pt x="496" y="557"/>
                </a:lnTo>
                <a:lnTo>
                  <a:pt x="511" y="558"/>
                </a:lnTo>
                <a:lnTo>
                  <a:pt x="511" y="754"/>
                </a:lnTo>
                <a:lnTo>
                  <a:pt x="505" y="756"/>
                </a:lnTo>
                <a:lnTo>
                  <a:pt x="499" y="758"/>
                </a:lnTo>
                <a:lnTo>
                  <a:pt x="493" y="761"/>
                </a:lnTo>
                <a:lnTo>
                  <a:pt x="488" y="764"/>
                </a:lnTo>
                <a:lnTo>
                  <a:pt x="477" y="771"/>
                </a:lnTo>
                <a:lnTo>
                  <a:pt x="469" y="781"/>
                </a:lnTo>
                <a:lnTo>
                  <a:pt x="464" y="785"/>
                </a:lnTo>
                <a:lnTo>
                  <a:pt x="461" y="791"/>
                </a:lnTo>
                <a:lnTo>
                  <a:pt x="458" y="797"/>
                </a:lnTo>
                <a:lnTo>
                  <a:pt x="456" y="802"/>
                </a:lnTo>
                <a:lnTo>
                  <a:pt x="454" y="809"/>
                </a:lnTo>
                <a:lnTo>
                  <a:pt x="452" y="815"/>
                </a:lnTo>
                <a:lnTo>
                  <a:pt x="451" y="822"/>
                </a:lnTo>
                <a:lnTo>
                  <a:pt x="451" y="828"/>
                </a:lnTo>
                <a:lnTo>
                  <a:pt x="451" y="836"/>
                </a:lnTo>
                <a:lnTo>
                  <a:pt x="452" y="843"/>
                </a:lnTo>
                <a:lnTo>
                  <a:pt x="455" y="851"/>
                </a:lnTo>
                <a:lnTo>
                  <a:pt x="457" y="858"/>
                </a:lnTo>
                <a:lnTo>
                  <a:pt x="460" y="865"/>
                </a:lnTo>
                <a:lnTo>
                  <a:pt x="464" y="870"/>
                </a:lnTo>
                <a:lnTo>
                  <a:pt x="469" y="876"/>
                </a:lnTo>
                <a:lnTo>
                  <a:pt x="473" y="882"/>
                </a:lnTo>
                <a:lnTo>
                  <a:pt x="478" y="886"/>
                </a:lnTo>
                <a:lnTo>
                  <a:pt x="485" y="890"/>
                </a:lnTo>
                <a:lnTo>
                  <a:pt x="490" y="895"/>
                </a:lnTo>
                <a:lnTo>
                  <a:pt x="498" y="898"/>
                </a:lnTo>
                <a:lnTo>
                  <a:pt x="504" y="900"/>
                </a:lnTo>
                <a:lnTo>
                  <a:pt x="511" y="902"/>
                </a:lnTo>
                <a:lnTo>
                  <a:pt x="519" y="903"/>
                </a:lnTo>
                <a:lnTo>
                  <a:pt x="526" y="903"/>
                </a:lnTo>
                <a:lnTo>
                  <a:pt x="534" y="903"/>
                </a:lnTo>
                <a:lnTo>
                  <a:pt x="541" y="902"/>
                </a:lnTo>
                <a:lnTo>
                  <a:pt x="549" y="900"/>
                </a:lnTo>
                <a:lnTo>
                  <a:pt x="555" y="898"/>
                </a:lnTo>
                <a:lnTo>
                  <a:pt x="562" y="895"/>
                </a:lnTo>
                <a:lnTo>
                  <a:pt x="568" y="890"/>
                </a:lnTo>
                <a:lnTo>
                  <a:pt x="575" y="886"/>
                </a:lnTo>
                <a:lnTo>
                  <a:pt x="580" y="882"/>
                </a:lnTo>
                <a:lnTo>
                  <a:pt x="584" y="876"/>
                </a:lnTo>
                <a:lnTo>
                  <a:pt x="589" y="870"/>
                </a:lnTo>
                <a:lnTo>
                  <a:pt x="593" y="865"/>
                </a:lnTo>
                <a:lnTo>
                  <a:pt x="596" y="858"/>
                </a:lnTo>
                <a:lnTo>
                  <a:pt x="598" y="851"/>
                </a:lnTo>
                <a:lnTo>
                  <a:pt x="600" y="843"/>
                </a:lnTo>
                <a:lnTo>
                  <a:pt x="602" y="836"/>
                </a:lnTo>
                <a:lnTo>
                  <a:pt x="602" y="828"/>
                </a:lnTo>
                <a:lnTo>
                  <a:pt x="602" y="822"/>
                </a:lnTo>
                <a:lnTo>
                  <a:pt x="600" y="815"/>
                </a:lnTo>
                <a:lnTo>
                  <a:pt x="599" y="809"/>
                </a:lnTo>
                <a:lnTo>
                  <a:pt x="597" y="802"/>
                </a:lnTo>
                <a:lnTo>
                  <a:pt x="595" y="797"/>
                </a:lnTo>
                <a:lnTo>
                  <a:pt x="592" y="791"/>
                </a:lnTo>
                <a:lnTo>
                  <a:pt x="589" y="785"/>
                </a:lnTo>
                <a:lnTo>
                  <a:pt x="584" y="781"/>
                </a:lnTo>
                <a:lnTo>
                  <a:pt x="576" y="771"/>
                </a:lnTo>
                <a:lnTo>
                  <a:pt x="565" y="764"/>
                </a:lnTo>
                <a:lnTo>
                  <a:pt x="560" y="761"/>
                </a:lnTo>
                <a:lnTo>
                  <a:pt x="554" y="758"/>
                </a:lnTo>
                <a:lnTo>
                  <a:pt x="548" y="756"/>
                </a:lnTo>
                <a:lnTo>
                  <a:pt x="541" y="755"/>
                </a:lnTo>
                <a:lnTo>
                  <a:pt x="541" y="555"/>
                </a:lnTo>
                <a:lnTo>
                  <a:pt x="559" y="550"/>
                </a:lnTo>
                <a:lnTo>
                  <a:pt x="576" y="544"/>
                </a:lnTo>
                <a:lnTo>
                  <a:pt x="592" y="536"/>
                </a:lnTo>
                <a:lnTo>
                  <a:pt x="606" y="527"/>
                </a:lnTo>
                <a:lnTo>
                  <a:pt x="620" y="516"/>
                </a:lnTo>
                <a:lnTo>
                  <a:pt x="633" y="504"/>
                </a:lnTo>
                <a:lnTo>
                  <a:pt x="643" y="490"/>
                </a:lnTo>
                <a:lnTo>
                  <a:pt x="653" y="476"/>
                </a:lnTo>
                <a:lnTo>
                  <a:pt x="755" y="525"/>
                </a:lnTo>
                <a:lnTo>
                  <a:pt x="753" y="533"/>
                </a:lnTo>
                <a:lnTo>
                  <a:pt x="752" y="543"/>
                </a:lnTo>
                <a:lnTo>
                  <a:pt x="753" y="550"/>
                </a:lnTo>
                <a:lnTo>
                  <a:pt x="754" y="558"/>
                </a:lnTo>
                <a:lnTo>
                  <a:pt x="756" y="564"/>
                </a:lnTo>
                <a:lnTo>
                  <a:pt x="758" y="572"/>
                </a:lnTo>
                <a:lnTo>
                  <a:pt x="761" y="578"/>
                </a:lnTo>
                <a:lnTo>
                  <a:pt x="765" y="585"/>
                </a:lnTo>
                <a:lnTo>
                  <a:pt x="769" y="590"/>
                </a:lnTo>
                <a:lnTo>
                  <a:pt x="774" y="595"/>
                </a:lnTo>
                <a:lnTo>
                  <a:pt x="780" y="601"/>
                </a:lnTo>
                <a:lnTo>
                  <a:pt x="785" y="605"/>
                </a:lnTo>
                <a:lnTo>
                  <a:pt x="791" y="608"/>
                </a:lnTo>
                <a:lnTo>
                  <a:pt x="798" y="611"/>
                </a:lnTo>
                <a:lnTo>
                  <a:pt x="805" y="615"/>
                </a:lnTo>
                <a:lnTo>
                  <a:pt x="812" y="616"/>
                </a:lnTo>
                <a:lnTo>
                  <a:pt x="819" y="617"/>
                </a:lnTo>
                <a:lnTo>
                  <a:pt x="828" y="618"/>
                </a:lnTo>
                <a:lnTo>
                  <a:pt x="835" y="617"/>
                </a:lnTo>
                <a:lnTo>
                  <a:pt x="843" y="616"/>
                </a:lnTo>
                <a:lnTo>
                  <a:pt x="849" y="615"/>
                </a:lnTo>
                <a:lnTo>
                  <a:pt x="857" y="611"/>
                </a:lnTo>
                <a:lnTo>
                  <a:pt x="863" y="608"/>
                </a:lnTo>
                <a:lnTo>
                  <a:pt x="870" y="605"/>
                </a:lnTo>
                <a:lnTo>
                  <a:pt x="875" y="601"/>
                </a:lnTo>
                <a:lnTo>
                  <a:pt x="880" y="595"/>
                </a:lnTo>
                <a:lnTo>
                  <a:pt x="886" y="590"/>
                </a:lnTo>
                <a:lnTo>
                  <a:pt x="890" y="585"/>
                </a:lnTo>
                <a:lnTo>
                  <a:pt x="893" y="578"/>
                </a:lnTo>
                <a:lnTo>
                  <a:pt x="896" y="572"/>
                </a:lnTo>
                <a:lnTo>
                  <a:pt x="900" y="564"/>
                </a:lnTo>
                <a:lnTo>
                  <a:pt x="901" y="558"/>
                </a:lnTo>
                <a:lnTo>
                  <a:pt x="902" y="550"/>
                </a:lnTo>
                <a:lnTo>
                  <a:pt x="903" y="543"/>
                </a:lnTo>
                <a:lnTo>
                  <a:pt x="902" y="534"/>
                </a:lnTo>
                <a:lnTo>
                  <a:pt x="901" y="528"/>
                </a:lnTo>
                <a:lnTo>
                  <a:pt x="900" y="520"/>
                </a:lnTo>
                <a:lnTo>
                  <a:pt x="896" y="513"/>
                </a:lnTo>
                <a:lnTo>
                  <a:pt x="893" y="506"/>
                </a:lnTo>
                <a:lnTo>
                  <a:pt x="890" y="500"/>
                </a:lnTo>
                <a:lnTo>
                  <a:pt x="886" y="495"/>
                </a:lnTo>
                <a:lnTo>
                  <a:pt x="880" y="489"/>
                </a:lnTo>
                <a:lnTo>
                  <a:pt x="875" y="484"/>
                </a:lnTo>
                <a:lnTo>
                  <a:pt x="870" y="480"/>
                </a:lnTo>
                <a:lnTo>
                  <a:pt x="863" y="476"/>
                </a:lnTo>
                <a:lnTo>
                  <a:pt x="857" y="473"/>
                </a:lnTo>
                <a:lnTo>
                  <a:pt x="849" y="471"/>
                </a:lnTo>
                <a:lnTo>
                  <a:pt x="843" y="469"/>
                </a:lnTo>
                <a:lnTo>
                  <a:pt x="835" y="468"/>
                </a:lnTo>
                <a:lnTo>
                  <a:pt x="828" y="4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62" name="Group 90">
            <a:extLst>
              <a:ext uri="{FF2B5EF4-FFF2-40B4-BE49-F238E27FC236}">
                <a16:creationId xmlns:a16="http://schemas.microsoft.com/office/drawing/2014/main" id="{180F34D1-CE16-4F5A-A439-EE0537F25B60}"/>
              </a:ext>
            </a:extLst>
          </p:cNvPr>
          <p:cNvGrpSpPr>
            <a:grpSpLocks noChangeAspect="1"/>
          </p:cNvGrpSpPr>
          <p:nvPr/>
        </p:nvGrpSpPr>
        <p:grpSpPr>
          <a:xfrm>
            <a:off x="284400" y="3801969"/>
            <a:ext cx="258211" cy="285619"/>
            <a:chOff x="3182936" y="1336675"/>
            <a:chExt cx="284163" cy="285750"/>
          </a:xfrm>
          <a:solidFill>
            <a:schemeClr val="bg2"/>
          </a:solidFill>
          <a:effectLst/>
        </p:grpSpPr>
        <p:sp>
          <p:nvSpPr>
            <p:cNvPr id="1163" name="Rectangle 62">
              <a:extLst>
                <a:ext uri="{FF2B5EF4-FFF2-40B4-BE49-F238E27FC236}">
                  <a16:creationId xmlns:a16="http://schemas.microsoft.com/office/drawing/2014/main" id="{5ED31AE5-2005-4B32-B8FB-EED7C4D8D277}"/>
                </a:ext>
              </a:extLst>
            </p:cNvPr>
            <p:cNvSpPr>
              <a:spLocks noChangeArrowheads="1"/>
            </p:cNvSpPr>
            <p:nvPr/>
          </p:nvSpPr>
          <p:spPr bwMode="auto">
            <a:xfrm>
              <a:off x="3336925" y="1365250"/>
              <a:ext cx="539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4" name="Rectangle 63">
              <a:extLst>
                <a:ext uri="{FF2B5EF4-FFF2-40B4-BE49-F238E27FC236}">
                  <a16:creationId xmlns:a16="http://schemas.microsoft.com/office/drawing/2014/main" id="{30AA35B7-52D2-4405-890B-123B0D1848AA}"/>
                </a:ext>
              </a:extLst>
            </p:cNvPr>
            <p:cNvSpPr>
              <a:spLocks noChangeArrowheads="1"/>
            </p:cNvSpPr>
            <p:nvPr/>
          </p:nvSpPr>
          <p:spPr bwMode="auto">
            <a:xfrm>
              <a:off x="3336925" y="1384300"/>
              <a:ext cx="84138"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5" name="Freeform 64">
              <a:extLst>
                <a:ext uri="{FF2B5EF4-FFF2-40B4-BE49-F238E27FC236}">
                  <a16:creationId xmlns:a16="http://schemas.microsoft.com/office/drawing/2014/main" id="{CCEF71F3-19F0-4A93-93C8-38097F4F584C}"/>
                </a:ext>
              </a:extLst>
            </p:cNvPr>
            <p:cNvSpPr>
              <a:spLocks noEditPoints="1"/>
            </p:cNvSpPr>
            <p:nvPr/>
          </p:nvSpPr>
          <p:spPr bwMode="auto">
            <a:xfrm>
              <a:off x="3182936" y="1336675"/>
              <a:ext cx="284163" cy="285750"/>
            </a:xfrm>
            <a:custGeom>
              <a:avLst/>
              <a:gdLst>
                <a:gd name="T0" fmla="*/ 861 w 898"/>
                <a:gd name="T1" fmla="*/ 759 h 900"/>
                <a:gd name="T2" fmla="*/ 832 w 898"/>
                <a:gd name="T3" fmla="*/ 778 h 900"/>
                <a:gd name="T4" fmla="*/ 823 w 898"/>
                <a:gd name="T5" fmla="*/ 240 h 900"/>
                <a:gd name="T6" fmla="*/ 846 w 898"/>
                <a:gd name="T7" fmla="*/ 244 h 900"/>
                <a:gd name="T8" fmla="*/ 867 w 898"/>
                <a:gd name="T9" fmla="*/ 268 h 900"/>
                <a:gd name="T10" fmla="*/ 449 w 898"/>
                <a:gd name="T11" fmla="*/ 30 h 900"/>
                <a:gd name="T12" fmla="*/ 449 w 898"/>
                <a:gd name="T13" fmla="*/ 210 h 900"/>
                <a:gd name="T14" fmla="*/ 328 w 898"/>
                <a:gd name="T15" fmla="*/ 822 h 900"/>
                <a:gd name="T16" fmla="*/ 320 w 898"/>
                <a:gd name="T17" fmla="*/ 843 h 900"/>
                <a:gd name="T18" fmla="*/ 304 w 898"/>
                <a:gd name="T19" fmla="*/ 859 h 900"/>
                <a:gd name="T20" fmla="*/ 282 w 898"/>
                <a:gd name="T21" fmla="*/ 868 h 900"/>
                <a:gd name="T22" fmla="*/ 139 w 898"/>
                <a:gd name="T23" fmla="*/ 869 h 900"/>
                <a:gd name="T24" fmla="*/ 109 w 898"/>
                <a:gd name="T25" fmla="*/ 861 h 900"/>
                <a:gd name="T26" fmla="*/ 93 w 898"/>
                <a:gd name="T27" fmla="*/ 844 h 900"/>
                <a:gd name="T28" fmla="*/ 90 w 898"/>
                <a:gd name="T29" fmla="*/ 195 h 900"/>
                <a:gd name="T30" fmla="*/ 97 w 898"/>
                <a:gd name="T31" fmla="*/ 168 h 900"/>
                <a:gd name="T32" fmla="*/ 115 w 898"/>
                <a:gd name="T33" fmla="*/ 155 h 900"/>
                <a:gd name="T34" fmla="*/ 150 w 898"/>
                <a:gd name="T35" fmla="*/ 150 h 900"/>
                <a:gd name="T36" fmla="*/ 288 w 898"/>
                <a:gd name="T37" fmla="*/ 152 h 900"/>
                <a:gd name="T38" fmla="*/ 309 w 898"/>
                <a:gd name="T39" fmla="*/ 163 h 900"/>
                <a:gd name="T40" fmla="*/ 323 w 898"/>
                <a:gd name="T41" fmla="*/ 180 h 900"/>
                <a:gd name="T42" fmla="*/ 329 w 898"/>
                <a:gd name="T43" fmla="*/ 203 h 900"/>
                <a:gd name="T44" fmla="*/ 48 w 898"/>
                <a:gd name="T45" fmla="*/ 793 h 900"/>
                <a:gd name="T46" fmla="*/ 34 w 898"/>
                <a:gd name="T47" fmla="*/ 783 h 900"/>
                <a:gd name="T48" fmla="*/ 30 w 898"/>
                <a:gd name="T49" fmla="*/ 279 h 900"/>
                <a:gd name="T50" fmla="*/ 36 w 898"/>
                <a:gd name="T51" fmla="*/ 263 h 900"/>
                <a:gd name="T52" fmla="*/ 52 w 898"/>
                <a:gd name="T53" fmla="*/ 257 h 900"/>
                <a:gd name="T54" fmla="*/ 823 w 898"/>
                <a:gd name="T55" fmla="*/ 210 h 900"/>
                <a:gd name="T56" fmla="*/ 419 w 898"/>
                <a:gd name="T57" fmla="*/ 0 h 900"/>
                <a:gd name="T58" fmla="*/ 357 w 898"/>
                <a:gd name="T59" fmla="*/ 192 h 900"/>
                <a:gd name="T60" fmla="*/ 344 w 898"/>
                <a:gd name="T61" fmla="*/ 158 h 900"/>
                <a:gd name="T62" fmla="*/ 321 w 898"/>
                <a:gd name="T63" fmla="*/ 135 h 900"/>
                <a:gd name="T64" fmla="*/ 288 w 898"/>
                <a:gd name="T65" fmla="*/ 122 h 900"/>
                <a:gd name="T66" fmla="*/ 150 w 898"/>
                <a:gd name="T67" fmla="*/ 15 h 900"/>
                <a:gd name="T68" fmla="*/ 145 w 898"/>
                <a:gd name="T69" fmla="*/ 4 h 900"/>
                <a:gd name="T70" fmla="*/ 135 w 898"/>
                <a:gd name="T71" fmla="*/ 0 h 900"/>
                <a:gd name="T72" fmla="*/ 124 w 898"/>
                <a:gd name="T73" fmla="*/ 4 h 900"/>
                <a:gd name="T74" fmla="*/ 120 w 898"/>
                <a:gd name="T75" fmla="*/ 15 h 900"/>
                <a:gd name="T76" fmla="*/ 89 w 898"/>
                <a:gd name="T77" fmla="*/ 136 h 900"/>
                <a:gd name="T78" fmla="*/ 71 w 898"/>
                <a:gd name="T79" fmla="*/ 152 h 900"/>
                <a:gd name="T80" fmla="*/ 62 w 898"/>
                <a:gd name="T81" fmla="*/ 174 h 900"/>
                <a:gd name="T82" fmla="*/ 60 w 898"/>
                <a:gd name="T83" fmla="*/ 227 h 900"/>
                <a:gd name="T84" fmla="*/ 23 w 898"/>
                <a:gd name="T85" fmla="*/ 235 h 900"/>
                <a:gd name="T86" fmla="*/ 1 w 898"/>
                <a:gd name="T87" fmla="*/ 269 h 900"/>
                <a:gd name="T88" fmla="*/ 4 w 898"/>
                <a:gd name="T89" fmla="*/ 792 h 900"/>
                <a:gd name="T90" fmla="*/ 32 w 898"/>
                <a:gd name="T91" fmla="*/ 820 h 900"/>
                <a:gd name="T92" fmla="*/ 60 w 898"/>
                <a:gd name="T93" fmla="*/ 824 h 900"/>
                <a:gd name="T94" fmla="*/ 66 w 898"/>
                <a:gd name="T95" fmla="*/ 856 h 900"/>
                <a:gd name="T96" fmla="*/ 83 w 898"/>
                <a:gd name="T97" fmla="*/ 879 h 900"/>
                <a:gd name="T98" fmla="*/ 111 w 898"/>
                <a:gd name="T99" fmla="*/ 894 h 900"/>
                <a:gd name="T100" fmla="*/ 150 w 898"/>
                <a:gd name="T101" fmla="*/ 900 h 900"/>
                <a:gd name="T102" fmla="*/ 297 w 898"/>
                <a:gd name="T103" fmla="*/ 895 h 900"/>
                <a:gd name="T104" fmla="*/ 327 w 898"/>
                <a:gd name="T105" fmla="*/ 879 h 900"/>
                <a:gd name="T106" fmla="*/ 349 w 898"/>
                <a:gd name="T107" fmla="*/ 854 h 900"/>
                <a:gd name="T108" fmla="*/ 359 w 898"/>
                <a:gd name="T109" fmla="*/ 818 h 900"/>
                <a:gd name="T110" fmla="*/ 838 w 898"/>
                <a:gd name="T111" fmla="*/ 808 h 900"/>
                <a:gd name="T112" fmla="*/ 864 w 898"/>
                <a:gd name="T113" fmla="*/ 796 h 900"/>
                <a:gd name="T114" fmla="*/ 886 w 898"/>
                <a:gd name="T115" fmla="*/ 775 h 900"/>
                <a:gd name="T116" fmla="*/ 897 w 898"/>
                <a:gd name="T117" fmla="*/ 749 h 900"/>
                <a:gd name="T118" fmla="*/ 898 w 898"/>
                <a:gd name="T119" fmla="*/ 269 h 900"/>
                <a:gd name="T120" fmla="*/ 886 w 898"/>
                <a:gd name="T121" fmla="*/ 240 h 900"/>
                <a:gd name="T122" fmla="*/ 865 w 898"/>
                <a:gd name="T123" fmla="*/ 220 h 900"/>
                <a:gd name="T124" fmla="*/ 834 w 898"/>
                <a:gd name="T125" fmla="*/ 211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900">
                  <a:moveTo>
                    <a:pt x="868" y="734"/>
                  </a:moveTo>
                  <a:lnTo>
                    <a:pt x="867" y="742"/>
                  </a:lnTo>
                  <a:lnTo>
                    <a:pt x="865" y="751"/>
                  </a:lnTo>
                  <a:lnTo>
                    <a:pt x="861" y="759"/>
                  </a:lnTo>
                  <a:lnTo>
                    <a:pt x="854" y="765"/>
                  </a:lnTo>
                  <a:lnTo>
                    <a:pt x="848" y="771"/>
                  </a:lnTo>
                  <a:lnTo>
                    <a:pt x="841" y="776"/>
                  </a:lnTo>
                  <a:lnTo>
                    <a:pt x="832" y="778"/>
                  </a:lnTo>
                  <a:lnTo>
                    <a:pt x="823" y="779"/>
                  </a:lnTo>
                  <a:lnTo>
                    <a:pt x="359" y="779"/>
                  </a:lnTo>
                  <a:lnTo>
                    <a:pt x="359" y="240"/>
                  </a:lnTo>
                  <a:lnTo>
                    <a:pt x="823" y="240"/>
                  </a:lnTo>
                  <a:lnTo>
                    <a:pt x="830" y="240"/>
                  </a:lnTo>
                  <a:lnTo>
                    <a:pt x="836" y="241"/>
                  </a:lnTo>
                  <a:lnTo>
                    <a:pt x="842" y="242"/>
                  </a:lnTo>
                  <a:lnTo>
                    <a:pt x="846" y="244"/>
                  </a:lnTo>
                  <a:lnTo>
                    <a:pt x="853" y="248"/>
                  </a:lnTo>
                  <a:lnTo>
                    <a:pt x="860" y="255"/>
                  </a:lnTo>
                  <a:lnTo>
                    <a:pt x="864" y="261"/>
                  </a:lnTo>
                  <a:lnTo>
                    <a:pt x="867" y="268"/>
                  </a:lnTo>
                  <a:lnTo>
                    <a:pt x="868" y="274"/>
                  </a:lnTo>
                  <a:lnTo>
                    <a:pt x="868" y="279"/>
                  </a:lnTo>
                  <a:lnTo>
                    <a:pt x="868" y="734"/>
                  </a:lnTo>
                  <a:close/>
                  <a:moveTo>
                    <a:pt x="449" y="30"/>
                  </a:moveTo>
                  <a:lnTo>
                    <a:pt x="713" y="30"/>
                  </a:lnTo>
                  <a:lnTo>
                    <a:pt x="779" y="96"/>
                  </a:lnTo>
                  <a:lnTo>
                    <a:pt x="779" y="210"/>
                  </a:lnTo>
                  <a:lnTo>
                    <a:pt x="449" y="210"/>
                  </a:lnTo>
                  <a:lnTo>
                    <a:pt x="449" y="30"/>
                  </a:lnTo>
                  <a:close/>
                  <a:moveTo>
                    <a:pt x="329" y="809"/>
                  </a:moveTo>
                  <a:lnTo>
                    <a:pt x="329" y="815"/>
                  </a:lnTo>
                  <a:lnTo>
                    <a:pt x="328" y="822"/>
                  </a:lnTo>
                  <a:lnTo>
                    <a:pt x="327" y="827"/>
                  </a:lnTo>
                  <a:lnTo>
                    <a:pt x="325" y="833"/>
                  </a:lnTo>
                  <a:lnTo>
                    <a:pt x="323" y="839"/>
                  </a:lnTo>
                  <a:lnTo>
                    <a:pt x="320" y="843"/>
                  </a:lnTo>
                  <a:lnTo>
                    <a:pt x="316" y="848"/>
                  </a:lnTo>
                  <a:lnTo>
                    <a:pt x="312" y="853"/>
                  </a:lnTo>
                  <a:lnTo>
                    <a:pt x="309" y="856"/>
                  </a:lnTo>
                  <a:lnTo>
                    <a:pt x="304" y="859"/>
                  </a:lnTo>
                  <a:lnTo>
                    <a:pt x="299" y="862"/>
                  </a:lnTo>
                  <a:lnTo>
                    <a:pt x="294" y="864"/>
                  </a:lnTo>
                  <a:lnTo>
                    <a:pt x="288" y="867"/>
                  </a:lnTo>
                  <a:lnTo>
                    <a:pt x="282" y="868"/>
                  </a:lnTo>
                  <a:lnTo>
                    <a:pt x="276" y="869"/>
                  </a:lnTo>
                  <a:lnTo>
                    <a:pt x="269" y="870"/>
                  </a:lnTo>
                  <a:lnTo>
                    <a:pt x="150" y="869"/>
                  </a:lnTo>
                  <a:lnTo>
                    <a:pt x="139" y="869"/>
                  </a:lnTo>
                  <a:lnTo>
                    <a:pt x="129" y="868"/>
                  </a:lnTo>
                  <a:lnTo>
                    <a:pt x="122" y="867"/>
                  </a:lnTo>
                  <a:lnTo>
                    <a:pt x="115" y="863"/>
                  </a:lnTo>
                  <a:lnTo>
                    <a:pt x="109" y="861"/>
                  </a:lnTo>
                  <a:lnTo>
                    <a:pt x="105" y="858"/>
                  </a:lnTo>
                  <a:lnTo>
                    <a:pt x="100" y="855"/>
                  </a:lnTo>
                  <a:lnTo>
                    <a:pt x="97" y="852"/>
                  </a:lnTo>
                  <a:lnTo>
                    <a:pt x="93" y="844"/>
                  </a:lnTo>
                  <a:lnTo>
                    <a:pt x="91" y="837"/>
                  </a:lnTo>
                  <a:lnTo>
                    <a:pt x="90" y="830"/>
                  </a:lnTo>
                  <a:lnTo>
                    <a:pt x="90" y="824"/>
                  </a:lnTo>
                  <a:lnTo>
                    <a:pt x="90" y="195"/>
                  </a:lnTo>
                  <a:lnTo>
                    <a:pt x="90" y="189"/>
                  </a:lnTo>
                  <a:lnTo>
                    <a:pt x="91" y="183"/>
                  </a:lnTo>
                  <a:lnTo>
                    <a:pt x="93" y="176"/>
                  </a:lnTo>
                  <a:lnTo>
                    <a:pt x="97" y="168"/>
                  </a:lnTo>
                  <a:lnTo>
                    <a:pt x="100" y="164"/>
                  </a:lnTo>
                  <a:lnTo>
                    <a:pt x="105" y="161"/>
                  </a:lnTo>
                  <a:lnTo>
                    <a:pt x="109" y="157"/>
                  </a:lnTo>
                  <a:lnTo>
                    <a:pt x="115" y="155"/>
                  </a:lnTo>
                  <a:lnTo>
                    <a:pt x="122" y="153"/>
                  </a:lnTo>
                  <a:lnTo>
                    <a:pt x="129" y="151"/>
                  </a:lnTo>
                  <a:lnTo>
                    <a:pt x="139" y="150"/>
                  </a:lnTo>
                  <a:lnTo>
                    <a:pt x="150" y="150"/>
                  </a:lnTo>
                  <a:lnTo>
                    <a:pt x="269" y="150"/>
                  </a:lnTo>
                  <a:lnTo>
                    <a:pt x="276" y="150"/>
                  </a:lnTo>
                  <a:lnTo>
                    <a:pt x="282" y="151"/>
                  </a:lnTo>
                  <a:lnTo>
                    <a:pt x="288" y="152"/>
                  </a:lnTo>
                  <a:lnTo>
                    <a:pt x="294" y="154"/>
                  </a:lnTo>
                  <a:lnTo>
                    <a:pt x="299" y="156"/>
                  </a:lnTo>
                  <a:lnTo>
                    <a:pt x="304" y="159"/>
                  </a:lnTo>
                  <a:lnTo>
                    <a:pt x="309" y="163"/>
                  </a:lnTo>
                  <a:lnTo>
                    <a:pt x="312" y="167"/>
                  </a:lnTo>
                  <a:lnTo>
                    <a:pt x="316" y="171"/>
                  </a:lnTo>
                  <a:lnTo>
                    <a:pt x="320" y="176"/>
                  </a:lnTo>
                  <a:lnTo>
                    <a:pt x="323" y="180"/>
                  </a:lnTo>
                  <a:lnTo>
                    <a:pt x="325" y="185"/>
                  </a:lnTo>
                  <a:lnTo>
                    <a:pt x="327" y="192"/>
                  </a:lnTo>
                  <a:lnTo>
                    <a:pt x="328" y="197"/>
                  </a:lnTo>
                  <a:lnTo>
                    <a:pt x="329" y="203"/>
                  </a:lnTo>
                  <a:lnTo>
                    <a:pt x="329" y="210"/>
                  </a:lnTo>
                  <a:lnTo>
                    <a:pt x="329" y="809"/>
                  </a:lnTo>
                  <a:close/>
                  <a:moveTo>
                    <a:pt x="52" y="794"/>
                  </a:moveTo>
                  <a:lnTo>
                    <a:pt x="48" y="793"/>
                  </a:lnTo>
                  <a:lnTo>
                    <a:pt x="44" y="792"/>
                  </a:lnTo>
                  <a:lnTo>
                    <a:pt x="39" y="790"/>
                  </a:lnTo>
                  <a:lnTo>
                    <a:pt x="36" y="786"/>
                  </a:lnTo>
                  <a:lnTo>
                    <a:pt x="34" y="783"/>
                  </a:lnTo>
                  <a:lnTo>
                    <a:pt x="32" y="780"/>
                  </a:lnTo>
                  <a:lnTo>
                    <a:pt x="30" y="776"/>
                  </a:lnTo>
                  <a:lnTo>
                    <a:pt x="30" y="770"/>
                  </a:lnTo>
                  <a:lnTo>
                    <a:pt x="30" y="279"/>
                  </a:lnTo>
                  <a:lnTo>
                    <a:pt x="30" y="275"/>
                  </a:lnTo>
                  <a:lnTo>
                    <a:pt x="32" y="271"/>
                  </a:lnTo>
                  <a:lnTo>
                    <a:pt x="34" y="266"/>
                  </a:lnTo>
                  <a:lnTo>
                    <a:pt x="36" y="263"/>
                  </a:lnTo>
                  <a:lnTo>
                    <a:pt x="39" y="261"/>
                  </a:lnTo>
                  <a:lnTo>
                    <a:pt x="44" y="259"/>
                  </a:lnTo>
                  <a:lnTo>
                    <a:pt x="48" y="257"/>
                  </a:lnTo>
                  <a:lnTo>
                    <a:pt x="52" y="257"/>
                  </a:lnTo>
                  <a:lnTo>
                    <a:pt x="60" y="257"/>
                  </a:lnTo>
                  <a:lnTo>
                    <a:pt x="60" y="794"/>
                  </a:lnTo>
                  <a:lnTo>
                    <a:pt x="52" y="794"/>
                  </a:lnTo>
                  <a:close/>
                  <a:moveTo>
                    <a:pt x="823" y="210"/>
                  </a:moveTo>
                  <a:lnTo>
                    <a:pt x="808" y="210"/>
                  </a:lnTo>
                  <a:lnTo>
                    <a:pt x="808" y="84"/>
                  </a:lnTo>
                  <a:lnTo>
                    <a:pt x="725" y="0"/>
                  </a:lnTo>
                  <a:lnTo>
                    <a:pt x="419" y="0"/>
                  </a:lnTo>
                  <a:lnTo>
                    <a:pt x="419" y="210"/>
                  </a:lnTo>
                  <a:lnTo>
                    <a:pt x="359" y="210"/>
                  </a:lnTo>
                  <a:lnTo>
                    <a:pt x="359" y="200"/>
                  </a:lnTo>
                  <a:lnTo>
                    <a:pt x="357" y="192"/>
                  </a:lnTo>
                  <a:lnTo>
                    <a:pt x="355" y="182"/>
                  </a:lnTo>
                  <a:lnTo>
                    <a:pt x="353" y="174"/>
                  </a:lnTo>
                  <a:lnTo>
                    <a:pt x="349" y="166"/>
                  </a:lnTo>
                  <a:lnTo>
                    <a:pt x="344" y="158"/>
                  </a:lnTo>
                  <a:lnTo>
                    <a:pt x="339" y="152"/>
                  </a:lnTo>
                  <a:lnTo>
                    <a:pt x="334" y="146"/>
                  </a:lnTo>
                  <a:lnTo>
                    <a:pt x="327" y="140"/>
                  </a:lnTo>
                  <a:lnTo>
                    <a:pt x="321" y="135"/>
                  </a:lnTo>
                  <a:lnTo>
                    <a:pt x="313" y="131"/>
                  </a:lnTo>
                  <a:lnTo>
                    <a:pt x="305" y="126"/>
                  </a:lnTo>
                  <a:lnTo>
                    <a:pt x="297" y="124"/>
                  </a:lnTo>
                  <a:lnTo>
                    <a:pt x="288" y="122"/>
                  </a:lnTo>
                  <a:lnTo>
                    <a:pt x="279" y="120"/>
                  </a:lnTo>
                  <a:lnTo>
                    <a:pt x="269" y="120"/>
                  </a:lnTo>
                  <a:lnTo>
                    <a:pt x="150" y="120"/>
                  </a:lnTo>
                  <a:lnTo>
                    <a:pt x="150" y="15"/>
                  </a:lnTo>
                  <a:lnTo>
                    <a:pt x="150" y="12"/>
                  </a:lnTo>
                  <a:lnTo>
                    <a:pt x="149" y="10"/>
                  </a:lnTo>
                  <a:lnTo>
                    <a:pt x="147" y="7"/>
                  </a:lnTo>
                  <a:lnTo>
                    <a:pt x="145" y="4"/>
                  </a:lnTo>
                  <a:lnTo>
                    <a:pt x="143" y="2"/>
                  </a:lnTo>
                  <a:lnTo>
                    <a:pt x="140" y="1"/>
                  </a:lnTo>
                  <a:lnTo>
                    <a:pt x="138" y="0"/>
                  </a:lnTo>
                  <a:lnTo>
                    <a:pt x="135" y="0"/>
                  </a:lnTo>
                  <a:lnTo>
                    <a:pt x="131" y="0"/>
                  </a:lnTo>
                  <a:lnTo>
                    <a:pt x="129" y="1"/>
                  </a:lnTo>
                  <a:lnTo>
                    <a:pt x="126" y="2"/>
                  </a:lnTo>
                  <a:lnTo>
                    <a:pt x="124" y="4"/>
                  </a:lnTo>
                  <a:lnTo>
                    <a:pt x="122" y="7"/>
                  </a:lnTo>
                  <a:lnTo>
                    <a:pt x="121" y="10"/>
                  </a:lnTo>
                  <a:lnTo>
                    <a:pt x="120" y="12"/>
                  </a:lnTo>
                  <a:lnTo>
                    <a:pt x="120" y="15"/>
                  </a:lnTo>
                  <a:lnTo>
                    <a:pt x="120" y="123"/>
                  </a:lnTo>
                  <a:lnTo>
                    <a:pt x="106" y="127"/>
                  </a:lnTo>
                  <a:lnTo>
                    <a:pt x="94" y="133"/>
                  </a:lnTo>
                  <a:lnTo>
                    <a:pt x="89" y="136"/>
                  </a:lnTo>
                  <a:lnTo>
                    <a:pt x="83" y="139"/>
                  </a:lnTo>
                  <a:lnTo>
                    <a:pt x="79" y="143"/>
                  </a:lnTo>
                  <a:lnTo>
                    <a:pt x="76" y="148"/>
                  </a:lnTo>
                  <a:lnTo>
                    <a:pt x="71" y="152"/>
                  </a:lnTo>
                  <a:lnTo>
                    <a:pt x="68" y="157"/>
                  </a:lnTo>
                  <a:lnTo>
                    <a:pt x="66" y="163"/>
                  </a:lnTo>
                  <a:lnTo>
                    <a:pt x="64" y="169"/>
                  </a:lnTo>
                  <a:lnTo>
                    <a:pt x="62" y="174"/>
                  </a:lnTo>
                  <a:lnTo>
                    <a:pt x="61" y="181"/>
                  </a:lnTo>
                  <a:lnTo>
                    <a:pt x="60" y="187"/>
                  </a:lnTo>
                  <a:lnTo>
                    <a:pt x="60" y="195"/>
                  </a:lnTo>
                  <a:lnTo>
                    <a:pt x="60" y="227"/>
                  </a:lnTo>
                  <a:lnTo>
                    <a:pt x="52" y="227"/>
                  </a:lnTo>
                  <a:lnTo>
                    <a:pt x="42" y="228"/>
                  </a:lnTo>
                  <a:lnTo>
                    <a:pt x="32" y="231"/>
                  </a:lnTo>
                  <a:lnTo>
                    <a:pt x="23" y="235"/>
                  </a:lnTo>
                  <a:lnTo>
                    <a:pt x="15" y="242"/>
                  </a:lnTo>
                  <a:lnTo>
                    <a:pt x="8" y="250"/>
                  </a:lnTo>
                  <a:lnTo>
                    <a:pt x="4" y="259"/>
                  </a:lnTo>
                  <a:lnTo>
                    <a:pt x="1" y="269"/>
                  </a:lnTo>
                  <a:lnTo>
                    <a:pt x="0" y="279"/>
                  </a:lnTo>
                  <a:lnTo>
                    <a:pt x="0" y="770"/>
                  </a:lnTo>
                  <a:lnTo>
                    <a:pt x="1" y="781"/>
                  </a:lnTo>
                  <a:lnTo>
                    <a:pt x="4" y="792"/>
                  </a:lnTo>
                  <a:lnTo>
                    <a:pt x="8" y="800"/>
                  </a:lnTo>
                  <a:lnTo>
                    <a:pt x="15" y="808"/>
                  </a:lnTo>
                  <a:lnTo>
                    <a:pt x="23" y="814"/>
                  </a:lnTo>
                  <a:lnTo>
                    <a:pt x="32" y="820"/>
                  </a:lnTo>
                  <a:lnTo>
                    <a:pt x="42" y="823"/>
                  </a:lnTo>
                  <a:lnTo>
                    <a:pt x="52" y="824"/>
                  </a:lnTo>
                  <a:lnTo>
                    <a:pt x="60" y="824"/>
                  </a:lnTo>
                  <a:lnTo>
                    <a:pt x="60" y="824"/>
                  </a:lnTo>
                  <a:lnTo>
                    <a:pt x="60" y="833"/>
                  </a:lnTo>
                  <a:lnTo>
                    <a:pt x="61" y="841"/>
                  </a:lnTo>
                  <a:lnTo>
                    <a:pt x="63" y="848"/>
                  </a:lnTo>
                  <a:lnTo>
                    <a:pt x="66" y="856"/>
                  </a:lnTo>
                  <a:lnTo>
                    <a:pt x="69" y="862"/>
                  </a:lnTo>
                  <a:lnTo>
                    <a:pt x="73" y="869"/>
                  </a:lnTo>
                  <a:lnTo>
                    <a:pt x="78" y="874"/>
                  </a:lnTo>
                  <a:lnTo>
                    <a:pt x="83" y="879"/>
                  </a:lnTo>
                  <a:lnTo>
                    <a:pt x="90" y="884"/>
                  </a:lnTo>
                  <a:lnTo>
                    <a:pt x="96" y="888"/>
                  </a:lnTo>
                  <a:lnTo>
                    <a:pt x="104" y="891"/>
                  </a:lnTo>
                  <a:lnTo>
                    <a:pt x="111" y="894"/>
                  </a:lnTo>
                  <a:lnTo>
                    <a:pt x="120" y="897"/>
                  </a:lnTo>
                  <a:lnTo>
                    <a:pt x="129" y="898"/>
                  </a:lnTo>
                  <a:lnTo>
                    <a:pt x="139" y="899"/>
                  </a:lnTo>
                  <a:lnTo>
                    <a:pt x="150" y="900"/>
                  </a:lnTo>
                  <a:lnTo>
                    <a:pt x="269" y="899"/>
                  </a:lnTo>
                  <a:lnTo>
                    <a:pt x="279" y="899"/>
                  </a:lnTo>
                  <a:lnTo>
                    <a:pt x="289" y="898"/>
                  </a:lnTo>
                  <a:lnTo>
                    <a:pt x="297" y="895"/>
                  </a:lnTo>
                  <a:lnTo>
                    <a:pt x="306" y="892"/>
                  </a:lnTo>
                  <a:lnTo>
                    <a:pt x="313" y="889"/>
                  </a:lnTo>
                  <a:lnTo>
                    <a:pt x="321" y="885"/>
                  </a:lnTo>
                  <a:lnTo>
                    <a:pt x="327" y="879"/>
                  </a:lnTo>
                  <a:lnTo>
                    <a:pt x="334" y="874"/>
                  </a:lnTo>
                  <a:lnTo>
                    <a:pt x="339" y="868"/>
                  </a:lnTo>
                  <a:lnTo>
                    <a:pt x="344" y="860"/>
                  </a:lnTo>
                  <a:lnTo>
                    <a:pt x="349" y="854"/>
                  </a:lnTo>
                  <a:lnTo>
                    <a:pt x="353" y="845"/>
                  </a:lnTo>
                  <a:lnTo>
                    <a:pt x="355" y="837"/>
                  </a:lnTo>
                  <a:lnTo>
                    <a:pt x="357" y="828"/>
                  </a:lnTo>
                  <a:lnTo>
                    <a:pt x="359" y="818"/>
                  </a:lnTo>
                  <a:lnTo>
                    <a:pt x="359" y="809"/>
                  </a:lnTo>
                  <a:lnTo>
                    <a:pt x="823" y="809"/>
                  </a:lnTo>
                  <a:lnTo>
                    <a:pt x="831" y="809"/>
                  </a:lnTo>
                  <a:lnTo>
                    <a:pt x="838" y="808"/>
                  </a:lnTo>
                  <a:lnTo>
                    <a:pt x="845" y="806"/>
                  </a:lnTo>
                  <a:lnTo>
                    <a:pt x="852" y="803"/>
                  </a:lnTo>
                  <a:lnTo>
                    <a:pt x="859" y="799"/>
                  </a:lnTo>
                  <a:lnTo>
                    <a:pt x="864" y="796"/>
                  </a:lnTo>
                  <a:lnTo>
                    <a:pt x="871" y="792"/>
                  </a:lnTo>
                  <a:lnTo>
                    <a:pt x="876" y="786"/>
                  </a:lnTo>
                  <a:lnTo>
                    <a:pt x="881" y="781"/>
                  </a:lnTo>
                  <a:lnTo>
                    <a:pt x="886" y="775"/>
                  </a:lnTo>
                  <a:lnTo>
                    <a:pt x="889" y="769"/>
                  </a:lnTo>
                  <a:lnTo>
                    <a:pt x="893" y="763"/>
                  </a:lnTo>
                  <a:lnTo>
                    <a:pt x="895" y="755"/>
                  </a:lnTo>
                  <a:lnTo>
                    <a:pt x="897" y="749"/>
                  </a:lnTo>
                  <a:lnTo>
                    <a:pt x="898" y="741"/>
                  </a:lnTo>
                  <a:lnTo>
                    <a:pt x="898" y="734"/>
                  </a:lnTo>
                  <a:lnTo>
                    <a:pt x="898" y="279"/>
                  </a:lnTo>
                  <a:lnTo>
                    <a:pt x="898" y="269"/>
                  </a:lnTo>
                  <a:lnTo>
                    <a:pt x="895" y="257"/>
                  </a:lnTo>
                  <a:lnTo>
                    <a:pt x="892" y="251"/>
                  </a:lnTo>
                  <a:lnTo>
                    <a:pt x="890" y="246"/>
                  </a:lnTo>
                  <a:lnTo>
                    <a:pt x="886" y="240"/>
                  </a:lnTo>
                  <a:lnTo>
                    <a:pt x="882" y="234"/>
                  </a:lnTo>
                  <a:lnTo>
                    <a:pt x="877" y="229"/>
                  </a:lnTo>
                  <a:lnTo>
                    <a:pt x="872" y="225"/>
                  </a:lnTo>
                  <a:lnTo>
                    <a:pt x="865" y="220"/>
                  </a:lnTo>
                  <a:lnTo>
                    <a:pt x="859" y="217"/>
                  </a:lnTo>
                  <a:lnTo>
                    <a:pt x="851" y="214"/>
                  </a:lnTo>
                  <a:lnTo>
                    <a:pt x="843" y="212"/>
                  </a:lnTo>
                  <a:lnTo>
                    <a:pt x="834" y="211"/>
                  </a:lnTo>
                  <a:lnTo>
                    <a:pt x="823" y="210"/>
                  </a:lnTo>
                  <a:lnTo>
                    <a:pt x="82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6" name="Freeform 65">
              <a:extLst>
                <a:ext uri="{FF2B5EF4-FFF2-40B4-BE49-F238E27FC236}">
                  <a16:creationId xmlns:a16="http://schemas.microsoft.com/office/drawing/2014/main" id="{091A95A8-7D24-4A31-9427-FB93779E961E}"/>
                </a:ext>
              </a:extLst>
            </p:cNvPr>
            <p:cNvSpPr>
              <a:spLocks noEditPoints="1"/>
            </p:cNvSpPr>
            <p:nvPr/>
          </p:nvSpPr>
          <p:spPr bwMode="auto">
            <a:xfrm>
              <a:off x="3333750" y="1433513"/>
              <a:ext cx="85725" cy="36513"/>
            </a:xfrm>
            <a:custGeom>
              <a:avLst/>
              <a:gdLst>
                <a:gd name="T0" fmla="*/ 239 w 269"/>
                <a:gd name="T1" fmla="*/ 86 h 116"/>
                <a:gd name="T2" fmla="*/ 30 w 269"/>
                <a:gd name="T3" fmla="*/ 86 h 116"/>
                <a:gd name="T4" fmla="*/ 30 w 269"/>
                <a:gd name="T5" fmla="*/ 30 h 116"/>
                <a:gd name="T6" fmla="*/ 239 w 269"/>
                <a:gd name="T7" fmla="*/ 30 h 116"/>
                <a:gd name="T8" fmla="*/ 239 w 269"/>
                <a:gd name="T9" fmla="*/ 86 h 116"/>
                <a:gd name="T10" fmla="*/ 269 w 269"/>
                <a:gd name="T11" fmla="*/ 0 h 116"/>
                <a:gd name="T12" fmla="*/ 0 w 269"/>
                <a:gd name="T13" fmla="*/ 0 h 116"/>
                <a:gd name="T14" fmla="*/ 0 w 269"/>
                <a:gd name="T15" fmla="*/ 116 h 116"/>
                <a:gd name="T16" fmla="*/ 269 w 269"/>
                <a:gd name="T17" fmla="*/ 116 h 116"/>
                <a:gd name="T18" fmla="*/ 269 w 269"/>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116">
                  <a:moveTo>
                    <a:pt x="239" y="86"/>
                  </a:moveTo>
                  <a:lnTo>
                    <a:pt x="30" y="86"/>
                  </a:lnTo>
                  <a:lnTo>
                    <a:pt x="30" y="30"/>
                  </a:lnTo>
                  <a:lnTo>
                    <a:pt x="239" y="30"/>
                  </a:lnTo>
                  <a:lnTo>
                    <a:pt x="239" y="86"/>
                  </a:lnTo>
                  <a:close/>
                  <a:moveTo>
                    <a:pt x="269" y="0"/>
                  </a:moveTo>
                  <a:lnTo>
                    <a:pt x="0" y="0"/>
                  </a:lnTo>
                  <a:lnTo>
                    <a:pt x="0" y="116"/>
                  </a:lnTo>
                  <a:lnTo>
                    <a:pt x="269" y="116"/>
                  </a:lnTo>
                  <a:lnTo>
                    <a:pt x="2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7" name="Rectangle 66">
              <a:extLst>
                <a:ext uri="{FF2B5EF4-FFF2-40B4-BE49-F238E27FC236}">
                  <a16:creationId xmlns:a16="http://schemas.microsoft.com/office/drawing/2014/main" id="{DB315F17-E0D5-4843-8E93-83F3EA61A531}"/>
                </a:ext>
              </a:extLst>
            </p:cNvPr>
            <p:cNvSpPr>
              <a:spLocks noChangeArrowheads="1"/>
            </p:cNvSpPr>
            <p:nvPr/>
          </p:nvSpPr>
          <p:spPr bwMode="auto">
            <a:xfrm>
              <a:off x="33337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8" name="Rectangle 67">
              <a:extLst>
                <a:ext uri="{FF2B5EF4-FFF2-40B4-BE49-F238E27FC236}">
                  <a16:creationId xmlns:a16="http://schemas.microsoft.com/office/drawing/2014/main" id="{85B0B193-7A4D-4C4C-B552-F5D06A26308D}"/>
                </a:ext>
              </a:extLst>
            </p:cNvPr>
            <p:cNvSpPr>
              <a:spLocks noChangeArrowheads="1"/>
            </p:cNvSpPr>
            <p:nvPr/>
          </p:nvSpPr>
          <p:spPr bwMode="auto">
            <a:xfrm>
              <a:off x="33718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9" name="Rectangle 68">
              <a:extLst>
                <a:ext uri="{FF2B5EF4-FFF2-40B4-BE49-F238E27FC236}">
                  <a16:creationId xmlns:a16="http://schemas.microsoft.com/office/drawing/2014/main" id="{F78FC0E4-B9F7-4789-ABAB-793A59EEF485}"/>
                </a:ext>
              </a:extLst>
            </p:cNvPr>
            <p:cNvSpPr>
              <a:spLocks noChangeArrowheads="1"/>
            </p:cNvSpPr>
            <p:nvPr/>
          </p:nvSpPr>
          <p:spPr bwMode="auto">
            <a:xfrm>
              <a:off x="34099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0" name="Rectangle 69">
              <a:extLst>
                <a:ext uri="{FF2B5EF4-FFF2-40B4-BE49-F238E27FC236}">
                  <a16:creationId xmlns:a16="http://schemas.microsoft.com/office/drawing/2014/main" id="{E5F39A5B-C3E3-4409-9965-B911AEC92F5C}"/>
                </a:ext>
              </a:extLst>
            </p:cNvPr>
            <p:cNvSpPr>
              <a:spLocks noChangeArrowheads="1"/>
            </p:cNvSpPr>
            <p:nvPr/>
          </p:nvSpPr>
          <p:spPr bwMode="auto">
            <a:xfrm>
              <a:off x="33337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1" name="Rectangle 70">
              <a:extLst>
                <a:ext uri="{FF2B5EF4-FFF2-40B4-BE49-F238E27FC236}">
                  <a16:creationId xmlns:a16="http://schemas.microsoft.com/office/drawing/2014/main" id="{0B347312-797F-47BC-887D-503D1E9CABFD}"/>
                </a:ext>
              </a:extLst>
            </p:cNvPr>
            <p:cNvSpPr>
              <a:spLocks noChangeArrowheads="1"/>
            </p:cNvSpPr>
            <p:nvPr/>
          </p:nvSpPr>
          <p:spPr bwMode="auto">
            <a:xfrm>
              <a:off x="33718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2" name="Rectangle 71">
              <a:extLst>
                <a:ext uri="{FF2B5EF4-FFF2-40B4-BE49-F238E27FC236}">
                  <a16:creationId xmlns:a16="http://schemas.microsoft.com/office/drawing/2014/main" id="{8F02ABB5-D364-40B7-9B36-FF2694AFB2BE}"/>
                </a:ext>
              </a:extLst>
            </p:cNvPr>
            <p:cNvSpPr>
              <a:spLocks noChangeArrowheads="1"/>
            </p:cNvSpPr>
            <p:nvPr/>
          </p:nvSpPr>
          <p:spPr bwMode="auto">
            <a:xfrm>
              <a:off x="34099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3" name="Rectangle 72">
              <a:extLst>
                <a:ext uri="{FF2B5EF4-FFF2-40B4-BE49-F238E27FC236}">
                  <a16:creationId xmlns:a16="http://schemas.microsoft.com/office/drawing/2014/main" id="{CBA0BB1C-57C1-4EA6-AB9C-3277526D58B3}"/>
                </a:ext>
              </a:extLst>
            </p:cNvPr>
            <p:cNvSpPr>
              <a:spLocks noChangeArrowheads="1"/>
            </p:cNvSpPr>
            <p:nvPr/>
          </p:nvSpPr>
          <p:spPr bwMode="auto">
            <a:xfrm>
              <a:off x="33337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4" name="Rectangle 73">
              <a:extLst>
                <a:ext uri="{FF2B5EF4-FFF2-40B4-BE49-F238E27FC236}">
                  <a16:creationId xmlns:a16="http://schemas.microsoft.com/office/drawing/2014/main" id="{3332486A-5279-44EB-91F9-3A1EE2C54D99}"/>
                </a:ext>
              </a:extLst>
            </p:cNvPr>
            <p:cNvSpPr>
              <a:spLocks noChangeArrowheads="1"/>
            </p:cNvSpPr>
            <p:nvPr/>
          </p:nvSpPr>
          <p:spPr bwMode="auto">
            <a:xfrm>
              <a:off x="33718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5" name="Rectangle 74">
              <a:extLst>
                <a:ext uri="{FF2B5EF4-FFF2-40B4-BE49-F238E27FC236}">
                  <a16:creationId xmlns:a16="http://schemas.microsoft.com/office/drawing/2014/main" id="{9D33B5A2-052A-4EBA-8337-59B3775566CD}"/>
                </a:ext>
              </a:extLst>
            </p:cNvPr>
            <p:cNvSpPr>
              <a:spLocks noChangeArrowheads="1"/>
            </p:cNvSpPr>
            <p:nvPr/>
          </p:nvSpPr>
          <p:spPr bwMode="auto">
            <a:xfrm>
              <a:off x="34099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176" name="Group 75">
            <a:extLst>
              <a:ext uri="{FF2B5EF4-FFF2-40B4-BE49-F238E27FC236}">
                <a16:creationId xmlns:a16="http://schemas.microsoft.com/office/drawing/2014/main" id="{E655561F-1C83-436E-8AAE-28F45B8E7EC4}"/>
              </a:ext>
            </a:extLst>
          </p:cNvPr>
          <p:cNvGrpSpPr>
            <a:grpSpLocks noChangeAspect="1"/>
          </p:cNvGrpSpPr>
          <p:nvPr/>
        </p:nvGrpSpPr>
        <p:grpSpPr>
          <a:xfrm>
            <a:off x="671290" y="3801969"/>
            <a:ext cx="285619" cy="285619"/>
            <a:chOff x="1470025" y="766763"/>
            <a:chExt cx="284163" cy="284163"/>
          </a:xfrm>
          <a:solidFill>
            <a:schemeClr val="bg2"/>
          </a:solidFill>
          <a:effectLst/>
        </p:grpSpPr>
        <p:sp>
          <p:nvSpPr>
            <p:cNvPr id="1177" name="Freeform 5">
              <a:extLst>
                <a:ext uri="{FF2B5EF4-FFF2-40B4-BE49-F238E27FC236}">
                  <a16:creationId xmlns:a16="http://schemas.microsoft.com/office/drawing/2014/main" id="{3B5D7A7B-9E95-462B-8B86-FE5A98FBFFCA}"/>
                </a:ext>
              </a:extLst>
            </p:cNvPr>
            <p:cNvSpPr>
              <a:spLocks noEditPoints="1"/>
            </p:cNvSpPr>
            <p:nvPr/>
          </p:nvSpPr>
          <p:spPr bwMode="auto">
            <a:xfrm>
              <a:off x="1470025" y="814388"/>
              <a:ext cx="236538" cy="236538"/>
            </a:xfrm>
            <a:custGeom>
              <a:avLst/>
              <a:gdLst>
                <a:gd name="T0" fmla="*/ 634 w 749"/>
                <a:gd name="T1" fmla="*/ 708 h 748"/>
                <a:gd name="T2" fmla="*/ 588 w 749"/>
                <a:gd name="T3" fmla="*/ 718 h 748"/>
                <a:gd name="T4" fmla="*/ 540 w 749"/>
                <a:gd name="T5" fmla="*/ 707 h 748"/>
                <a:gd name="T6" fmla="*/ 394 w 749"/>
                <a:gd name="T7" fmla="*/ 600 h 748"/>
                <a:gd name="T8" fmla="*/ 235 w 749"/>
                <a:gd name="T9" fmla="*/ 452 h 748"/>
                <a:gd name="T10" fmla="*/ 96 w 749"/>
                <a:gd name="T11" fmla="*/ 286 h 748"/>
                <a:gd name="T12" fmla="*/ 35 w 749"/>
                <a:gd name="T13" fmla="*/ 192 h 748"/>
                <a:gd name="T14" fmla="*/ 30 w 749"/>
                <a:gd name="T15" fmla="*/ 152 h 748"/>
                <a:gd name="T16" fmla="*/ 43 w 749"/>
                <a:gd name="T17" fmla="*/ 112 h 748"/>
                <a:gd name="T18" fmla="*/ 107 w 749"/>
                <a:gd name="T19" fmla="*/ 44 h 748"/>
                <a:gd name="T20" fmla="*/ 133 w 749"/>
                <a:gd name="T21" fmla="*/ 31 h 748"/>
                <a:gd name="T22" fmla="*/ 163 w 749"/>
                <a:gd name="T23" fmla="*/ 33 h 748"/>
                <a:gd name="T24" fmla="*/ 189 w 749"/>
                <a:gd name="T25" fmla="*/ 48 h 748"/>
                <a:gd name="T26" fmla="*/ 282 w 749"/>
                <a:gd name="T27" fmla="*/ 148 h 748"/>
                <a:gd name="T28" fmla="*/ 286 w 749"/>
                <a:gd name="T29" fmla="*/ 176 h 748"/>
                <a:gd name="T30" fmla="*/ 276 w 749"/>
                <a:gd name="T31" fmla="*/ 204 h 748"/>
                <a:gd name="T32" fmla="*/ 238 w 749"/>
                <a:gd name="T33" fmla="*/ 250 h 748"/>
                <a:gd name="T34" fmla="*/ 328 w 749"/>
                <a:gd name="T35" fmla="*/ 359 h 748"/>
                <a:gd name="T36" fmla="*/ 488 w 749"/>
                <a:gd name="T37" fmla="*/ 508 h 748"/>
                <a:gd name="T38" fmla="*/ 535 w 749"/>
                <a:gd name="T39" fmla="*/ 480 h 748"/>
                <a:gd name="T40" fmla="*/ 560 w 749"/>
                <a:gd name="T41" fmla="*/ 465 h 748"/>
                <a:gd name="T42" fmla="*/ 590 w 749"/>
                <a:gd name="T43" fmla="*/ 464 h 748"/>
                <a:gd name="T44" fmla="*/ 617 w 749"/>
                <a:gd name="T45" fmla="*/ 477 h 748"/>
                <a:gd name="T46" fmla="*/ 712 w 749"/>
                <a:gd name="T47" fmla="*/ 575 h 748"/>
                <a:gd name="T48" fmla="*/ 719 w 749"/>
                <a:gd name="T49" fmla="*/ 603 h 748"/>
                <a:gd name="T50" fmla="*/ 712 w 749"/>
                <a:gd name="T51" fmla="*/ 632 h 748"/>
                <a:gd name="T52" fmla="*/ 636 w 749"/>
                <a:gd name="T53" fmla="*/ 453 h 748"/>
                <a:gd name="T54" fmla="*/ 596 w 749"/>
                <a:gd name="T55" fmla="*/ 434 h 748"/>
                <a:gd name="T56" fmla="*/ 551 w 749"/>
                <a:gd name="T57" fmla="*/ 436 h 748"/>
                <a:gd name="T58" fmla="*/ 514 w 749"/>
                <a:gd name="T59" fmla="*/ 460 h 748"/>
                <a:gd name="T60" fmla="*/ 380 w 749"/>
                <a:gd name="T61" fmla="*/ 369 h 748"/>
                <a:gd name="T62" fmla="*/ 289 w 749"/>
                <a:gd name="T63" fmla="*/ 235 h 748"/>
                <a:gd name="T64" fmla="*/ 313 w 749"/>
                <a:gd name="T65" fmla="*/ 196 h 748"/>
                <a:gd name="T66" fmla="*/ 315 w 749"/>
                <a:gd name="T67" fmla="*/ 154 h 748"/>
                <a:gd name="T68" fmla="*/ 296 w 749"/>
                <a:gd name="T69" fmla="*/ 113 h 748"/>
                <a:gd name="T70" fmla="*/ 188 w 749"/>
                <a:gd name="T71" fmla="*/ 10 h 748"/>
                <a:gd name="T72" fmla="*/ 146 w 749"/>
                <a:gd name="T73" fmla="*/ 0 h 748"/>
                <a:gd name="T74" fmla="*/ 103 w 749"/>
                <a:gd name="T75" fmla="*/ 10 h 748"/>
                <a:gd name="T76" fmla="*/ 29 w 749"/>
                <a:gd name="T77" fmla="*/ 79 h 748"/>
                <a:gd name="T78" fmla="*/ 5 w 749"/>
                <a:gd name="T79" fmla="*/ 127 h 748"/>
                <a:gd name="T80" fmla="*/ 1 w 749"/>
                <a:gd name="T81" fmla="*/ 180 h 748"/>
                <a:gd name="T82" fmla="*/ 21 w 749"/>
                <a:gd name="T83" fmla="*/ 232 h 748"/>
                <a:gd name="T84" fmla="*/ 154 w 749"/>
                <a:gd name="T85" fmla="*/ 407 h 748"/>
                <a:gd name="T86" fmla="*/ 308 w 749"/>
                <a:gd name="T87" fmla="*/ 566 h 748"/>
                <a:gd name="T88" fmla="*/ 481 w 749"/>
                <a:gd name="T89" fmla="*/ 702 h 748"/>
                <a:gd name="T90" fmla="*/ 550 w 749"/>
                <a:gd name="T91" fmla="*/ 743 h 748"/>
                <a:gd name="T92" fmla="*/ 600 w 749"/>
                <a:gd name="T93" fmla="*/ 748 h 748"/>
                <a:gd name="T94" fmla="*/ 658 w 749"/>
                <a:gd name="T95" fmla="*/ 727 h 748"/>
                <a:gd name="T96" fmla="*/ 734 w 749"/>
                <a:gd name="T97" fmla="*/ 653 h 748"/>
                <a:gd name="T98" fmla="*/ 748 w 749"/>
                <a:gd name="T99" fmla="*/ 612 h 748"/>
                <a:gd name="T100" fmla="*/ 742 w 749"/>
                <a:gd name="T101" fmla="*/ 569 h 748"/>
                <a:gd name="T102" fmla="*/ 642 w 749"/>
                <a:gd name="T103" fmla="*/ 45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748">
                  <a:moveTo>
                    <a:pt x="701" y="646"/>
                  </a:moveTo>
                  <a:lnTo>
                    <a:pt x="657" y="691"/>
                  </a:lnTo>
                  <a:lnTo>
                    <a:pt x="650" y="697"/>
                  </a:lnTo>
                  <a:lnTo>
                    <a:pt x="642" y="702"/>
                  </a:lnTo>
                  <a:lnTo>
                    <a:pt x="634" y="708"/>
                  </a:lnTo>
                  <a:lnTo>
                    <a:pt x="625" y="711"/>
                  </a:lnTo>
                  <a:lnTo>
                    <a:pt x="617" y="714"/>
                  </a:lnTo>
                  <a:lnTo>
                    <a:pt x="607" y="717"/>
                  </a:lnTo>
                  <a:lnTo>
                    <a:pt x="597" y="718"/>
                  </a:lnTo>
                  <a:lnTo>
                    <a:pt x="588" y="718"/>
                  </a:lnTo>
                  <a:lnTo>
                    <a:pt x="573" y="717"/>
                  </a:lnTo>
                  <a:lnTo>
                    <a:pt x="559" y="714"/>
                  </a:lnTo>
                  <a:lnTo>
                    <a:pt x="552" y="712"/>
                  </a:lnTo>
                  <a:lnTo>
                    <a:pt x="546" y="710"/>
                  </a:lnTo>
                  <a:lnTo>
                    <a:pt x="540" y="707"/>
                  </a:lnTo>
                  <a:lnTo>
                    <a:pt x="533" y="702"/>
                  </a:lnTo>
                  <a:lnTo>
                    <a:pt x="498" y="678"/>
                  </a:lnTo>
                  <a:lnTo>
                    <a:pt x="462" y="653"/>
                  </a:lnTo>
                  <a:lnTo>
                    <a:pt x="428" y="627"/>
                  </a:lnTo>
                  <a:lnTo>
                    <a:pt x="394" y="600"/>
                  </a:lnTo>
                  <a:lnTo>
                    <a:pt x="361" y="572"/>
                  </a:lnTo>
                  <a:lnTo>
                    <a:pt x="329" y="543"/>
                  </a:lnTo>
                  <a:lnTo>
                    <a:pt x="297" y="514"/>
                  </a:lnTo>
                  <a:lnTo>
                    <a:pt x="266" y="483"/>
                  </a:lnTo>
                  <a:lnTo>
                    <a:pt x="235" y="452"/>
                  </a:lnTo>
                  <a:lnTo>
                    <a:pt x="206" y="420"/>
                  </a:lnTo>
                  <a:lnTo>
                    <a:pt x="177" y="388"/>
                  </a:lnTo>
                  <a:lnTo>
                    <a:pt x="149" y="355"/>
                  </a:lnTo>
                  <a:lnTo>
                    <a:pt x="122" y="321"/>
                  </a:lnTo>
                  <a:lnTo>
                    <a:pt x="96" y="286"/>
                  </a:lnTo>
                  <a:lnTo>
                    <a:pt x="71" y="251"/>
                  </a:lnTo>
                  <a:lnTo>
                    <a:pt x="46" y="216"/>
                  </a:lnTo>
                  <a:lnTo>
                    <a:pt x="42" y="208"/>
                  </a:lnTo>
                  <a:lnTo>
                    <a:pt x="38" y="201"/>
                  </a:lnTo>
                  <a:lnTo>
                    <a:pt x="35" y="192"/>
                  </a:lnTo>
                  <a:lnTo>
                    <a:pt x="32" y="185"/>
                  </a:lnTo>
                  <a:lnTo>
                    <a:pt x="31" y="176"/>
                  </a:lnTo>
                  <a:lnTo>
                    <a:pt x="30" y="168"/>
                  </a:lnTo>
                  <a:lnTo>
                    <a:pt x="30" y="160"/>
                  </a:lnTo>
                  <a:lnTo>
                    <a:pt x="30" y="152"/>
                  </a:lnTo>
                  <a:lnTo>
                    <a:pt x="31" y="143"/>
                  </a:lnTo>
                  <a:lnTo>
                    <a:pt x="34" y="135"/>
                  </a:lnTo>
                  <a:lnTo>
                    <a:pt x="36" y="127"/>
                  </a:lnTo>
                  <a:lnTo>
                    <a:pt x="39" y="119"/>
                  </a:lnTo>
                  <a:lnTo>
                    <a:pt x="43" y="112"/>
                  </a:lnTo>
                  <a:lnTo>
                    <a:pt x="47" y="104"/>
                  </a:lnTo>
                  <a:lnTo>
                    <a:pt x="53" y="98"/>
                  </a:lnTo>
                  <a:lnTo>
                    <a:pt x="58" y="92"/>
                  </a:lnTo>
                  <a:lnTo>
                    <a:pt x="103" y="48"/>
                  </a:lnTo>
                  <a:lnTo>
                    <a:pt x="107" y="44"/>
                  </a:lnTo>
                  <a:lnTo>
                    <a:pt x="112" y="40"/>
                  </a:lnTo>
                  <a:lnTo>
                    <a:pt x="117" y="37"/>
                  </a:lnTo>
                  <a:lnTo>
                    <a:pt x="122" y="35"/>
                  </a:lnTo>
                  <a:lnTo>
                    <a:pt x="128" y="33"/>
                  </a:lnTo>
                  <a:lnTo>
                    <a:pt x="133" y="31"/>
                  </a:lnTo>
                  <a:lnTo>
                    <a:pt x="139" y="31"/>
                  </a:lnTo>
                  <a:lnTo>
                    <a:pt x="146" y="30"/>
                  </a:lnTo>
                  <a:lnTo>
                    <a:pt x="151" y="31"/>
                  </a:lnTo>
                  <a:lnTo>
                    <a:pt x="158" y="31"/>
                  </a:lnTo>
                  <a:lnTo>
                    <a:pt x="163" y="33"/>
                  </a:lnTo>
                  <a:lnTo>
                    <a:pt x="168" y="35"/>
                  </a:lnTo>
                  <a:lnTo>
                    <a:pt x="174" y="37"/>
                  </a:lnTo>
                  <a:lnTo>
                    <a:pt x="179" y="40"/>
                  </a:lnTo>
                  <a:lnTo>
                    <a:pt x="183" y="44"/>
                  </a:lnTo>
                  <a:lnTo>
                    <a:pt x="189" y="48"/>
                  </a:lnTo>
                  <a:lnTo>
                    <a:pt x="269" y="128"/>
                  </a:lnTo>
                  <a:lnTo>
                    <a:pt x="272" y="132"/>
                  </a:lnTo>
                  <a:lnTo>
                    <a:pt x="276" y="138"/>
                  </a:lnTo>
                  <a:lnTo>
                    <a:pt x="280" y="143"/>
                  </a:lnTo>
                  <a:lnTo>
                    <a:pt x="282" y="148"/>
                  </a:lnTo>
                  <a:lnTo>
                    <a:pt x="284" y="154"/>
                  </a:lnTo>
                  <a:lnTo>
                    <a:pt x="285" y="159"/>
                  </a:lnTo>
                  <a:lnTo>
                    <a:pt x="286" y="164"/>
                  </a:lnTo>
                  <a:lnTo>
                    <a:pt x="286" y="171"/>
                  </a:lnTo>
                  <a:lnTo>
                    <a:pt x="286" y="176"/>
                  </a:lnTo>
                  <a:lnTo>
                    <a:pt x="285" y="183"/>
                  </a:lnTo>
                  <a:lnTo>
                    <a:pt x="284" y="188"/>
                  </a:lnTo>
                  <a:lnTo>
                    <a:pt x="282" y="193"/>
                  </a:lnTo>
                  <a:lnTo>
                    <a:pt x="280" y="199"/>
                  </a:lnTo>
                  <a:lnTo>
                    <a:pt x="276" y="204"/>
                  </a:lnTo>
                  <a:lnTo>
                    <a:pt x="272" y="209"/>
                  </a:lnTo>
                  <a:lnTo>
                    <a:pt x="269" y="214"/>
                  </a:lnTo>
                  <a:lnTo>
                    <a:pt x="242" y="240"/>
                  </a:lnTo>
                  <a:lnTo>
                    <a:pt x="239" y="245"/>
                  </a:lnTo>
                  <a:lnTo>
                    <a:pt x="238" y="250"/>
                  </a:lnTo>
                  <a:lnTo>
                    <a:pt x="238" y="255"/>
                  </a:lnTo>
                  <a:lnTo>
                    <a:pt x="241" y="261"/>
                  </a:lnTo>
                  <a:lnTo>
                    <a:pt x="269" y="294"/>
                  </a:lnTo>
                  <a:lnTo>
                    <a:pt x="298" y="326"/>
                  </a:lnTo>
                  <a:lnTo>
                    <a:pt x="328" y="359"/>
                  </a:lnTo>
                  <a:lnTo>
                    <a:pt x="359" y="390"/>
                  </a:lnTo>
                  <a:lnTo>
                    <a:pt x="390" y="421"/>
                  </a:lnTo>
                  <a:lnTo>
                    <a:pt x="422" y="451"/>
                  </a:lnTo>
                  <a:lnTo>
                    <a:pt x="455" y="480"/>
                  </a:lnTo>
                  <a:lnTo>
                    <a:pt x="488" y="508"/>
                  </a:lnTo>
                  <a:lnTo>
                    <a:pt x="494" y="511"/>
                  </a:lnTo>
                  <a:lnTo>
                    <a:pt x="499" y="511"/>
                  </a:lnTo>
                  <a:lnTo>
                    <a:pt x="504" y="510"/>
                  </a:lnTo>
                  <a:lnTo>
                    <a:pt x="508" y="507"/>
                  </a:lnTo>
                  <a:lnTo>
                    <a:pt x="535" y="480"/>
                  </a:lnTo>
                  <a:lnTo>
                    <a:pt x="540" y="476"/>
                  </a:lnTo>
                  <a:lnTo>
                    <a:pt x="545" y="472"/>
                  </a:lnTo>
                  <a:lnTo>
                    <a:pt x="549" y="469"/>
                  </a:lnTo>
                  <a:lnTo>
                    <a:pt x="554" y="467"/>
                  </a:lnTo>
                  <a:lnTo>
                    <a:pt x="560" y="465"/>
                  </a:lnTo>
                  <a:lnTo>
                    <a:pt x="566" y="464"/>
                  </a:lnTo>
                  <a:lnTo>
                    <a:pt x="572" y="463"/>
                  </a:lnTo>
                  <a:lnTo>
                    <a:pt x="578" y="463"/>
                  </a:lnTo>
                  <a:lnTo>
                    <a:pt x="584" y="463"/>
                  </a:lnTo>
                  <a:lnTo>
                    <a:pt x="590" y="464"/>
                  </a:lnTo>
                  <a:lnTo>
                    <a:pt x="595" y="465"/>
                  </a:lnTo>
                  <a:lnTo>
                    <a:pt x="602" y="467"/>
                  </a:lnTo>
                  <a:lnTo>
                    <a:pt x="607" y="469"/>
                  </a:lnTo>
                  <a:lnTo>
                    <a:pt x="611" y="472"/>
                  </a:lnTo>
                  <a:lnTo>
                    <a:pt x="617" y="477"/>
                  </a:lnTo>
                  <a:lnTo>
                    <a:pt x="621" y="480"/>
                  </a:lnTo>
                  <a:lnTo>
                    <a:pt x="701" y="560"/>
                  </a:lnTo>
                  <a:lnTo>
                    <a:pt x="705" y="564"/>
                  </a:lnTo>
                  <a:lnTo>
                    <a:pt x="709" y="570"/>
                  </a:lnTo>
                  <a:lnTo>
                    <a:pt x="712" y="575"/>
                  </a:lnTo>
                  <a:lnTo>
                    <a:pt x="714" y="581"/>
                  </a:lnTo>
                  <a:lnTo>
                    <a:pt x="716" y="586"/>
                  </a:lnTo>
                  <a:lnTo>
                    <a:pt x="717" y="591"/>
                  </a:lnTo>
                  <a:lnTo>
                    <a:pt x="718" y="598"/>
                  </a:lnTo>
                  <a:lnTo>
                    <a:pt x="719" y="603"/>
                  </a:lnTo>
                  <a:lnTo>
                    <a:pt x="718" y="609"/>
                  </a:lnTo>
                  <a:lnTo>
                    <a:pt x="717" y="615"/>
                  </a:lnTo>
                  <a:lnTo>
                    <a:pt x="716" y="620"/>
                  </a:lnTo>
                  <a:lnTo>
                    <a:pt x="714" y="627"/>
                  </a:lnTo>
                  <a:lnTo>
                    <a:pt x="712" y="632"/>
                  </a:lnTo>
                  <a:lnTo>
                    <a:pt x="709" y="636"/>
                  </a:lnTo>
                  <a:lnTo>
                    <a:pt x="705" y="641"/>
                  </a:lnTo>
                  <a:lnTo>
                    <a:pt x="701" y="646"/>
                  </a:lnTo>
                  <a:close/>
                  <a:moveTo>
                    <a:pt x="642" y="459"/>
                  </a:moveTo>
                  <a:lnTo>
                    <a:pt x="636" y="453"/>
                  </a:lnTo>
                  <a:lnTo>
                    <a:pt x="628" y="448"/>
                  </a:lnTo>
                  <a:lnTo>
                    <a:pt x="621" y="444"/>
                  </a:lnTo>
                  <a:lnTo>
                    <a:pt x="612" y="439"/>
                  </a:lnTo>
                  <a:lnTo>
                    <a:pt x="605" y="436"/>
                  </a:lnTo>
                  <a:lnTo>
                    <a:pt x="596" y="434"/>
                  </a:lnTo>
                  <a:lnTo>
                    <a:pt x="587" y="433"/>
                  </a:lnTo>
                  <a:lnTo>
                    <a:pt x="578" y="433"/>
                  </a:lnTo>
                  <a:lnTo>
                    <a:pt x="569" y="433"/>
                  </a:lnTo>
                  <a:lnTo>
                    <a:pt x="560" y="434"/>
                  </a:lnTo>
                  <a:lnTo>
                    <a:pt x="551" y="436"/>
                  </a:lnTo>
                  <a:lnTo>
                    <a:pt x="544" y="439"/>
                  </a:lnTo>
                  <a:lnTo>
                    <a:pt x="535" y="444"/>
                  </a:lnTo>
                  <a:lnTo>
                    <a:pt x="528" y="448"/>
                  </a:lnTo>
                  <a:lnTo>
                    <a:pt x="520" y="453"/>
                  </a:lnTo>
                  <a:lnTo>
                    <a:pt x="514" y="460"/>
                  </a:lnTo>
                  <a:lnTo>
                    <a:pt x="497" y="476"/>
                  </a:lnTo>
                  <a:lnTo>
                    <a:pt x="467" y="451"/>
                  </a:lnTo>
                  <a:lnTo>
                    <a:pt x="437" y="424"/>
                  </a:lnTo>
                  <a:lnTo>
                    <a:pt x="408" y="397"/>
                  </a:lnTo>
                  <a:lnTo>
                    <a:pt x="380" y="369"/>
                  </a:lnTo>
                  <a:lnTo>
                    <a:pt x="351" y="341"/>
                  </a:lnTo>
                  <a:lnTo>
                    <a:pt x="324" y="311"/>
                  </a:lnTo>
                  <a:lnTo>
                    <a:pt x="298" y="282"/>
                  </a:lnTo>
                  <a:lnTo>
                    <a:pt x="272" y="252"/>
                  </a:lnTo>
                  <a:lnTo>
                    <a:pt x="289" y="235"/>
                  </a:lnTo>
                  <a:lnTo>
                    <a:pt x="296" y="227"/>
                  </a:lnTo>
                  <a:lnTo>
                    <a:pt x="301" y="220"/>
                  </a:lnTo>
                  <a:lnTo>
                    <a:pt x="305" y="213"/>
                  </a:lnTo>
                  <a:lnTo>
                    <a:pt x="310" y="205"/>
                  </a:lnTo>
                  <a:lnTo>
                    <a:pt x="313" y="196"/>
                  </a:lnTo>
                  <a:lnTo>
                    <a:pt x="315" y="188"/>
                  </a:lnTo>
                  <a:lnTo>
                    <a:pt x="316" y="179"/>
                  </a:lnTo>
                  <a:lnTo>
                    <a:pt x="316" y="171"/>
                  </a:lnTo>
                  <a:lnTo>
                    <a:pt x="316" y="162"/>
                  </a:lnTo>
                  <a:lnTo>
                    <a:pt x="315" y="154"/>
                  </a:lnTo>
                  <a:lnTo>
                    <a:pt x="313" y="145"/>
                  </a:lnTo>
                  <a:lnTo>
                    <a:pt x="310" y="137"/>
                  </a:lnTo>
                  <a:lnTo>
                    <a:pt x="305" y="129"/>
                  </a:lnTo>
                  <a:lnTo>
                    <a:pt x="301" y="121"/>
                  </a:lnTo>
                  <a:lnTo>
                    <a:pt x="296" y="113"/>
                  </a:lnTo>
                  <a:lnTo>
                    <a:pt x="289" y="107"/>
                  </a:lnTo>
                  <a:lnTo>
                    <a:pt x="209" y="26"/>
                  </a:lnTo>
                  <a:lnTo>
                    <a:pt x="203" y="20"/>
                  </a:lnTo>
                  <a:lnTo>
                    <a:pt x="196" y="15"/>
                  </a:lnTo>
                  <a:lnTo>
                    <a:pt x="188" y="10"/>
                  </a:lnTo>
                  <a:lnTo>
                    <a:pt x="180" y="7"/>
                  </a:lnTo>
                  <a:lnTo>
                    <a:pt x="172" y="4"/>
                  </a:lnTo>
                  <a:lnTo>
                    <a:pt x="163" y="2"/>
                  </a:lnTo>
                  <a:lnTo>
                    <a:pt x="154" y="1"/>
                  </a:lnTo>
                  <a:lnTo>
                    <a:pt x="146" y="0"/>
                  </a:lnTo>
                  <a:lnTo>
                    <a:pt x="136" y="1"/>
                  </a:lnTo>
                  <a:lnTo>
                    <a:pt x="128" y="2"/>
                  </a:lnTo>
                  <a:lnTo>
                    <a:pt x="119" y="4"/>
                  </a:lnTo>
                  <a:lnTo>
                    <a:pt x="111" y="7"/>
                  </a:lnTo>
                  <a:lnTo>
                    <a:pt x="103" y="10"/>
                  </a:lnTo>
                  <a:lnTo>
                    <a:pt x="96" y="15"/>
                  </a:lnTo>
                  <a:lnTo>
                    <a:pt x="88" y="20"/>
                  </a:lnTo>
                  <a:lnTo>
                    <a:pt x="82" y="26"/>
                  </a:lnTo>
                  <a:lnTo>
                    <a:pt x="38" y="70"/>
                  </a:lnTo>
                  <a:lnTo>
                    <a:pt x="29" y="79"/>
                  </a:lnTo>
                  <a:lnTo>
                    <a:pt x="23" y="87"/>
                  </a:lnTo>
                  <a:lnTo>
                    <a:pt x="17" y="97"/>
                  </a:lnTo>
                  <a:lnTo>
                    <a:pt x="12" y="107"/>
                  </a:lnTo>
                  <a:lnTo>
                    <a:pt x="8" y="116"/>
                  </a:lnTo>
                  <a:lnTo>
                    <a:pt x="5" y="127"/>
                  </a:lnTo>
                  <a:lnTo>
                    <a:pt x="3" y="138"/>
                  </a:lnTo>
                  <a:lnTo>
                    <a:pt x="0" y="148"/>
                  </a:lnTo>
                  <a:lnTo>
                    <a:pt x="0" y="159"/>
                  </a:lnTo>
                  <a:lnTo>
                    <a:pt x="0" y="170"/>
                  </a:lnTo>
                  <a:lnTo>
                    <a:pt x="1" y="180"/>
                  </a:lnTo>
                  <a:lnTo>
                    <a:pt x="4" y="191"/>
                  </a:lnTo>
                  <a:lnTo>
                    <a:pt x="7" y="202"/>
                  </a:lnTo>
                  <a:lnTo>
                    <a:pt x="10" y="213"/>
                  </a:lnTo>
                  <a:lnTo>
                    <a:pt x="15" y="222"/>
                  </a:lnTo>
                  <a:lnTo>
                    <a:pt x="21" y="232"/>
                  </a:lnTo>
                  <a:lnTo>
                    <a:pt x="46" y="268"/>
                  </a:lnTo>
                  <a:lnTo>
                    <a:pt x="72" y="305"/>
                  </a:lnTo>
                  <a:lnTo>
                    <a:pt x="98" y="339"/>
                  </a:lnTo>
                  <a:lnTo>
                    <a:pt x="126" y="374"/>
                  </a:lnTo>
                  <a:lnTo>
                    <a:pt x="154" y="407"/>
                  </a:lnTo>
                  <a:lnTo>
                    <a:pt x="183" y="440"/>
                  </a:lnTo>
                  <a:lnTo>
                    <a:pt x="213" y="472"/>
                  </a:lnTo>
                  <a:lnTo>
                    <a:pt x="244" y="505"/>
                  </a:lnTo>
                  <a:lnTo>
                    <a:pt x="275" y="536"/>
                  </a:lnTo>
                  <a:lnTo>
                    <a:pt x="308" y="566"/>
                  </a:lnTo>
                  <a:lnTo>
                    <a:pt x="342" y="594"/>
                  </a:lnTo>
                  <a:lnTo>
                    <a:pt x="375" y="623"/>
                  </a:lnTo>
                  <a:lnTo>
                    <a:pt x="410" y="651"/>
                  </a:lnTo>
                  <a:lnTo>
                    <a:pt x="444" y="677"/>
                  </a:lnTo>
                  <a:lnTo>
                    <a:pt x="481" y="702"/>
                  </a:lnTo>
                  <a:lnTo>
                    <a:pt x="517" y="727"/>
                  </a:lnTo>
                  <a:lnTo>
                    <a:pt x="525" y="732"/>
                  </a:lnTo>
                  <a:lnTo>
                    <a:pt x="533" y="737"/>
                  </a:lnTo>
                  <a:lnTo>
                    <a:pt x="542" y="740"/>
                  </a:lnTo>
                  <a:lnTo>
                    <a:pt x="550" y="743"/>
                  </a:lnTo>
                  <a:lnTo>
                    <a:pt x="560" y="745"/>
                  </a:lnTo>
                  <a:lnTo>
                    <a:pt x="568" y="747"/>
                  </a:lnTo>
                  <a:lnTo>
                    <a:pt x="578" y="748"/>
                  </a:lnTo>
                  <a:lnTo>
                    <a:pt x="588" y="748"/>
                  </a:lnTo>
                  <a:lnTo>
                    <a:pt x="600" y="748"/>
                  </a:lnTo>
                  <a:lnTo>
                    <a:pt x="612" y="746"/>
                  </a:lnTo>
                  <a:lnTo>
                    <a:pt x="625" y="743"/>
                  </a:lnTo>
                  <a:lnTo>
                    <a:pt x="637" y="739"/>
                  </a:lnTo>
                  <a:lnTo>
                    <a:pt x="648" y="733"/>
                  </a:lnTo>
                  <a:lnTo>
                    <a:pt x="658" y="727"/>
                  </a:lnTo>
                  <a:lnTo>
                    <a:pt x="669" y="720"/>
                  </a:lnTo>
                  <a:lnTo>
                    <a:pt x="679" y="711"/>
                  </a:lnTo>
                  <a:lnTo>
                    <a:pt x="722" y="667"/>
                  </a:lnTo>
                  <a:lnTo>
                    <a:pt x="729" y="661"/>
                  </a:lnTo>
                  <a:lnTo>
                    <a:pt x="734" y="653"/>
                  </a:lnTo>
                  <a:lnTo>
                    <a:pt x="738" y="646"/>
                  </a:lnTo>
                  <a:lnTo>
                    <a:pt x="742" y="637"/>
                  </a:lnTo>
                  <a:lnTo>
                    <a:pt x="745" y="629"/>
                  </a:lnTo>
                  <a:lnTo>
                    <a:pt x="747" y="620"/>
                  </a:lnTo>
                  <a:lnTo>
                    <a:pt x="748" y="612"/>
                  </a:lnTo>
                  <a:lnTo>
                    <a:pt x="749" y="603"/>
                  </a:lnTo>
                  <a:lnTo>
                    <a:pt x="748" y="594"/>
                  </a:lnTo>
                  <a:lnTo>
                    <a:pt x="747" y="586"/>
                  </a:lnTo>
                  <a:lnTo>
                    <a:pt x="745" y="577"/>
                  </a:lnTo>
                  <a:lnTo>
                    <a:pt x="742" y="569"/>
                  </a:lnTo>
                  <a:lnTo>
                    <a:pt x="738" y="561"/>
                  </a:lnTo>
                  <a:lnTo>
                    <a:pt x="734" y="554"/>
                  </a:lnTo>
                  <a:lnTo>
                    <a:pt x="729" y="546"/>
                  </a:lnTo>
                  <a:lnTo>
                    <a:pt x="722" y="539"/>
                  </a:lnTo>
                  <a:lnTo>
                    <a:pt x="642"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6">
              <a:extLst>
                <a:ext uri="{FF2B5EF4-FFF2-40B4-BE49-F238E27FC236}">
                  <a16:creationId xmlns:a16="http://schemas.microsoft.com/office/drawing/2014/main" id="{34BD75DD-CED4-4D08-91E1-C2D995935497}"/>
                </a:ext>
              </a:extLst>
            </p:cNvPr>
            <p:cNvSpPr>
              <a:spLocks/>
            </p:cNvSpPr>
            <p:nvPr/>
          </p:nvSpPr>
          <p:spPr bwMode="auto">
            <a:xfrm>
              <a:off x="1608138" y="766763"/>
              <a:ext cx="146050" cy="146050"/>
            </a:xfrm>
            <a:custGeom>
              <a:avLst/>
              <a:gdLst>
                <a:gd name="T0" fmla="*/ 11 w 464"/>
                <a:gd name="T1" fmla="*/ 0 h 464"/>
                <a:gd name="T2" fmla="*/ 6 w 464"/>
                <a:gd name="T3" fmla="*/ 2 h 464"/>
                <a:gd name="T4" fmla="*/ 2 w 464"/>
                <a:gd name="T5" fmla="*/ 6 h 464"/>
                <a:gd name="T6" fmla="*/ 0 w 464"/>
                <a:gd name="T7" fmla="*/ 12 h 464"/>
                <a:gd name="T8" fmla="*/ 0 w 464"/>
                <a:gd name="T9" fmla="*/ 18 h 464"/>
                <a:gd name="T10" fmla="*/ 2 w 464"/>
                <a:gd name="T11" fmla="*/ 23 h 464"/>
                <a:gd name="T12" fmla="*/ 6 w 464"/>
                <a:gd name="T13" fmla="*/ 28 h 464"/>
                <a:gd name="T14" fmla="*/ 11 w 464"/>
                <a:gd name="T15" fmla="*/ 30 h 464"/>
                <a:gd name="T16" fmla="*/ 36 w 464"/>
                <a:gd name="T17" fmla="*/ 30 h 464"/>
                <a:gd name="T18" fmla="*/ 78 w 464"/>
                <a:gd name="T19" fmla="*/ 34 h 464"/>
                <a:gd name="T20" fmla="*/ 119 w 464"/>
                <a:gd name="T21" fmla="*/ 43 h 464"/>
                <a:gd name="T22" fmla="*/ 158 w 464"/>
                <a:gd name="T23" fmla="*/ 56 h 464"/>
                <a:gd name="T24" fmla="*/ 196 w 464"/>
                <a:gd name="T25" fmla="*/ 72 h 464"/>
                <a:gd name="T26" fmla="*/ 232 w 464"/>
                <a:gd name="T27" fmla="*/ 91 h 464"/>
                <a:gd name="T28" fmla="*/ 265 w 464"/>
                <a:gd name="T29" fmla="*/ 113 h 464"/>
                <a:gd name="T30" fmla="*/ 296 w 464"/>
                <a:gd name="T31" fmla="*/ 139 h 464"/>
                <a:gd name="T32" fmla="*/ 325 w 464"/>
                <a:gd name="T33" fmla="*/ 168 h 464"/>
                <a:gd name="T34" fmla="*/ 351 w 464"/>
                <a:gd name="T35" fmla="*/ 199 h 464"/>
                <a:gd name="T36" fmla="*/ 373 w 464"/>
                <a:gd name="T37" fmla="*/ 232 h 464"/>
                <a:gd name="T38" fmla="*/ 392 w 464"/>
                <a:gd name="T39" fmla="*/ 267 h 464"/>
                <a:gd name="T40" fmla="*/ 408 w 464"/>
                <a:gd name="T41" fmla="*/ 305 h 464"/>
                <a:gd name="T42" fmla="*/ 421 w 464"/>
                <a:gd name="T43" fmla="*/ 344 h 464"/>
                <a:gd name="T44" fmla="*/ 429 w 464"/>
                <a:gd name="T45" fmla="*/ 386 h 464"/>
                <a:gd name="T46" fmla="*/ 434 w 464"/>
                <a:gd name="T47" fmla="*/ 428 h 464"/>
                <a:gd name="T48" fmla="*/ 434 w 464"/>
                <a:gd name="T49" fmla="*/ 452 h 464"/>
                <a:gd name="T50" fmla="*/ 436 w 464"/>
                <a:gd name="T51" fmla="*/ 458 h 464"/>
                <a:gd name="T52" fmla="*/ 440 w 464"/>
                <a:gd name="T53" fmla="*/ 462 h 464"/>
                <a:gd name="T54" fmla="*/ 446 w 464"/>
                <a:gd name="T55" fmla="*/ 464 h 464"/>
                <a:gd name="T56" fmla="*/ 452 w 464"/>
                <a:gd name="T57" fmla="*/ 464 h 464"/>
                <a:gd name="T58" fmla="*/ 457 w 464"/>
                <a:gd name="T59" fmla="*/ 462 h 464"/>
                <a:gd name="T60" fmla="*/ 462 w 464"/>
                <a:gd name="T61" fmla="*/ 458 h 464"/>
                <a:gd name="T62" fmla="*/ 464 w 464"/>
                <a:gd name="T63" fmla="*/ 452 h 464"/>
                <a:gd name="T64" fmla="*/ 463 w 464"/>
                <a:gd name="T65" fmla="*/ 427 h 464"/>
                <a:gd name="T66" fmla="*/ 459 w 464"/>
                <a:gd name="T67" fmla="*/ 381 h 464"/>
                <a:gd name="T68" fmla="*/ 450 w 464"/>
                <a:gd name="T69" fmla="*/ 337 h 464"/>
                <a:gd name="T70" fmla="*/ 436 w 464"/>
                <a:gd name="T71" fmla="*/ 295 h 464"/>
                <a:gd name="T72" fmla="*/ 420 w 464"/>
                <a:gd name="T73" fmla="*/ 254 h 464"/>
                <a:gd name="T74" fmla="*/ 399 w 464"/>
                <a:gd name="T75" fmla="*/ 216 h 464"/>
                <a:gd name="T76" fmla="*/ 374 w 464"/>
                <a:gd name="T77" fmla="*/ 181 h 464"/>
                <a:gd name="T78" fmla="*/ 347 w 464"/>
                <a:gd name="T79" fmla="*/ 148 h 464"/>
                <a:gd name="T80" fmla="*/ 316 w 464"/>
                <a:gd name="T81" fmla="*/ 116 h 464"/>
                <a:gd name="T82" fmla="*/ 283 w 464"/>
                <a:gd name="T83" fmla="*/ 90 h 464"/>
                <a:gd name="T84" fmla="*/ 248 w 464"/>
                <a:gd name="T85" fmla="*/ 65 h 464"/>
                <a:gd name="T86" fmla="*/ 209 w 464"/>
                <a:gd name="T87" fmla="*/ 44 h 464"/>
                <a:gd name="T88" fmla="*/ 169 w 464"/>
                <a:gd name="T89" fmla="*/ 27 h 464"/>
                <a:gd name="T90" fmla="*/ 127 w 464"/>
                <a:gd name="T91" fmla="*/ 14 h 464"/>
                <a:gd name="T92" fmla="*/ 83 w 464"/>
                <a:gd name="T93" fmla="*/ 5 h 464"/>
                <a:gd name="T94" fmla="*/ 37 w 464"/>
                <a:gd name="T95" fmla="*/ 0 h 464"/>
                <a:gd name="T96" fmla="*/ 15 w 464"/>
                <a:gd name="T97"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4" h="464">
                  <a:moveTo>
                    <a:pt x="15" y="0"/>
                  </a:moveTo>
                  <a:lnTo>
                    <a:pt x="11" y="0"/>
                  </a:lnTo>
                  <a:lnTo>
                    <a:pt x="8" y="1"/>
                  </a:lnTo>
                  <a:lnTo>
                    <a:pt x="6" y="2"/>
                  </a:lnTo>
                  <a:lnTo>
                    <a:pt x="4" y="4"/>
                  </a:lnTo>
                  <a:lnTo>
                    <a:pt x="2" y="6"/>
                  </a:lnTo>
                  <a:lnTo>
                    <a:pt x="1" y="8"/>
                  </a:lnTo>
                  <a:lnTo>
                    <a:pt x="0" y="12"/>
                  </a:lnTo>
                  <a:lnTo>
                    <a:pt x="0" y="15"/>
                  </a:lnTo>
                  <a:lnTo>
                    <a:pt x="0" y="18"/>
                  </a:lnTo>
                  <a:lnTo>
                    <a:pt x="1" y="20"/>
                  </a:lnTo>
                  <a:lnTo>
                    <a:pt x="2" y="23"/>
                  </a:lnTo>
                  <a:lnTo>
                    <a:pt x="4" y="26"/>
                  </a:lnTo>
                  <a:lnTo>
                    <a:pt x="6" y="28"/>
                  </a:lnTo>
                  <a:lnTo>
                    <a:pt x="8" y="29"/>
                  </a:lnTo>
                  <a:lnTo>
                    <a:pt x="11" y="30"/>
                  </a:lnTo>
                  <a:lnTo>
                    <a:pt x="15" y="30"/>
                  </a:lnTo>
                  <a:lnTo>
                    <a:pt x="36" y="30"/>
                  </a:lnTo>
                  <a:lnTo>
                    <a:pt x="57" y="32"/>
                  </a:lnTo>
                  <a:lnTo>
                    <a:pt x="78" y="34"/>
                  </a:lnTo>
                  <a:lnTo>
                    <a:pt x="99" y="38"/>
                  </a:lnTo>
                  <a:lnTo>
                    <a:pt x="119" y="43"/>
                  </a:lnTo>
                  <a:lnTo>
                    <a:pt x="139" y="49"/>
                  </a:lnTo>
                  <a:lnTo>
                    <a:pt x="158" y="56"/>
                  </a:lnTo>
                  <a:lnTo>
                    <a:pt x="177" y="63"/>
                  </a:lnTo>
                  <a:lnTo>
                    <a:pt x="196" y="72"/>
                  </a:lnTo>
                  <a:lnTo>
                    <a:pt x="215" y="80"/>
                  </a:lnTo>
                  <a:lnTo>
                    <a:pt x="232" y="91"/>
                  </a:lnTo>
                  <a:lnTo>
                    <a:pt x="249" y="102"/>
                  </a:lnTo>
                  <a:lnTo>
                    <a:pt x="265" y="113"/>
                  </a:lnTo>
                  <a:lnTo>
                    <a:pt x="281" y="126"/>
                  </a:lnTo>
                  <a:lnTo>
                    <a:pt x="296" y="139"/>
                  </a:lnTo>
                  <a:lnTo>
                    <a:pt x="311" y="153"/>
                  </a:lnTo>
                  <a:lnTo>
                    <a:pt x="325" y="168"/>
                  </a:lnTo>
                  <a:lnTo>
                    <a:pt x="338" y="183"/>
                  </a:lnTo>
                  <a:lnTo>
                    <a:pt x="351" y="199"/>
                  </a:lnTo>
                  <a:lnTo>
                    <a:pt x="362" y="215"/>
                  </a:lnTo>
                  <a:lnTo>
                    <a:pt x="373" y="232"/>
                  </a:lnTo>
                  <a:lnTo>
                    <a:pt x="384" y="249"/>
                  </a:lnTo>
                  <a:lnTo>
                    <a:pt x="392" y="267"/>
                  </a:lnTo>
                  <a:lnTo>
                    <a:pt x="401" y="287"/>
                  </a:lnTo>
                  <a:lnTo>
                    <a:pt x="408" y="305"/>
                  </a:lnTo>
                  <a:lnTo>
                    <a:pt x="415" y="325"/>
                  </a:lnTo>
                  <a:lnTo>
                    <a:pt x="421" y="344"/>
                  </a:lnTo>
                  <a:lnTo>
                    <a:pt x="425" y="365"/>
                  </a:lnTo>
                  <a:lnTo>
                    <a:pt x="429" y="386"/>
                  </a:lnTo>
                  <a:lnTo>
                    <a:pt x="432" y="406"/>
                  </a:lnTo>
                  <a:lnTo>
                    <a:pt x="434" y="428"/>
                  </a:lnTo>
                  <a:lnTo>
                    <a:pt x="434" y="449"/>
                  </a:lnTo>
                  <a:lnTo>
                    <a:pt x="434" y="452"/>
                  </a:lnTo>
                  <a:lnTo>
                    <a:pt x="435" y="456"/>
                  </a:lnTo>
                  <a:lnTo>
                    <a:pt x="436" y="458"/>
                  </a:lnTo>
                  <a:lnTo>
                    <a:pt x="438" y="460"/>
                  </a:lnTo>
                  <a:lnTo>
                    <a:pt x="440" y="462"/>
                  </a:lnTo>
                  <a:lnTo>
                    <a:pt x="444" y="463"/>
                  </a:lnTo>
                  <a:lnTo>
                    <a:pt x="446" y="464"/>
                  </a:lnTo>
                  <a:lnTo>
                    <a:pt x="449" y="464"/>
                  </a:lnTo>
                  <a:lnTo>
                    <a:pt x="452" y="464"/>
                  </a:lnTo>
                  <a:lnTo>
                    <a:pt x="454" y="463"/>
                  </a:lnTo>
                  <a:lnTo>
                    <a:pt x="457" y="462"/>
                  </a:lnTo>
                  <a:lnTo>
                    <a:pt x="460" y="460"/>
                  </a:lnTo>
                  <a:lnTo>
                    <a:pt x="462" y="458"/>
                  </a:lnTo>
                  <a:lnTo>
                    <a:pt x="463" y="456"/>
                  </a:lnTo>
                  <a:lnTo>
                    <a:pt x="464" y="452"/>
                  </a:lnTo>
                  <a:lnTo>
                    <a:pt x="464" y="449"/>
                  </a:lnTo>
                  <a:lnTo>
                    <a:pt x="463" y="427"/>
                  </a:lnTo>
                  <a:lnTo>
                    <a:pt x="462" y="403"/>
                  </a:lnTo>
                  <a:lnTo>
                    <a:pt x="459" y="381"/>
                  </a:lnTo>
                  <a:lnTo>
                    <a:pt x="454" y="359"/>
                  </a:lnTo>
                  <a:lnTo>
                    <a:pt x="450" y="337"/>
                  </a:lnTo>
                  <a:lnTo>
                    <a:pt x="444" y="315"/>
                  </a:lnTo>
                  <a:lnTo>
                    <a:pt x="436" y="295"/>
                  </a:lnTo>
                  <a:lnTo>
                    <a:pt x="429" y="275"/>
                  </a:lnTo>
                  <a:lnTo>
                    <a:pt x="420" y="254"/>
                  </a:lnTo>
                  <a:lnTo>
                    <a:pt x="409" y="235"/>
                  </a:lnTo>
                  <a:lnTo>
                    <a:pt x="399" y="216"/>
                  </a:lnTo>
                  <a:lnTo>
                    <a:pt x="387" y="198"/>
                  </a:lnTo>
                  <a:lnTo>
                    <a:pt x="374" y="181"/>
                  </a:lnTo>
                  <a:lnTo>
                    <a:pt x="361" y="164"/>
                  </a:lnTo>
                  <a:lnTo>
                    <a:pt x="347" y="148"/>
                  </a:lnTo>
                  <a:lnTo>
                    <a:pt x="332" y="131"/>
                  </a:lnTo>
                  <a:lnTo>
                    <a:pt x="316" y="116"/>
                  </a:lnTo>
                  <a:lnTo>
                    <a:pt x="300" y="103"/>
                  </a:lnTo>
                  <a:lnTo>
                    <a:pt x="283" y="90"/>
                  </a:lnTo>
                  <a:lnTo>
                    <a:pt x="266" y="77"/>
                  </a:lnTo>
                  <a:lnTo>
                    <a:pt x="248" y="65"/>
                  </a:lnTo>
                  <a:lnTo>
                    <a:pt x="229" y="54"/>
                  </a:lnTo>
                  <a:lnTo>
                    <a:pt x="209" y="44"/>
                  </a:lnTo>
                  <a:lnTo>
                    <a:pt x="189" y="35"/>
                  </a:lnTo>
                  <a:lnTo>
                    <a:pt x="169" y="27"/>
                  </a:lnTo>
                  <a:lnTo>
                    <a:pt x="148" y="20"/>
                  </a:lnTo>
                  <a:lnTo>
                    <a:pt x="127" y="14"/>
                  </a:lnTo>
                  <a:lnTo>
                    <a:pt x="105" y="8"/>
                  </a:lnTo>
                  <a:lnTo>
                    <a:pt x="83" y="5"/>
                  </a:lnTo>
                  <a:lnTo>
                    <a:pt x="61" y="2"/>
                  </a:lnTo>
                  <a:lnTo>
                    <a:pt x="37"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7">
              <a:extLst>
                <a:ext uri="{FF2B5EF4-FFF2-40B4-BE49-F238E27FC236}">
                  <a16:creationId xmlns:a16="http://schemas.microsoft.com/office/drawing/2014/main" id="{8752C96D-36B3-4AB7-B981-3E167BDB631C}"/>
                </a:ext>
              </a:extLst>
            </p:cNvPr>
            <p:cNvSpPr>
              <a:spLocks/>
            </p:cNvSpPr>
            <p:nvPr/>
          </p:nvSpPr>
          <p:spPr bwMode="auto">
            <a:xfrm>
              <a:off x="1608138" y="814388"/>
              <a:ext cx="98425" cy="98425"/>
            </a:xfrm>
            <a:custGeom>
              <a:avLst/>
              <a:gdLst>
                <a:gd name="T0" fmla="*/ 29 w 313"/>
                <a:gd name="T1" fmla="*/ 31 h 313"/>
                <a:gd name="T2" fmla="*/ 55 w 313"/>
                <a:gd name="T3" fmla="*/ 33 h 313"/>
                <a:gd name="T4" fmla="*/ 81 w 313"/>
                <a:gd name="T5" fmla="*/ 38 h 313"/>
                <a:gd name="T6" fmla="*/ 107 w 313"/>
                <a:gd name="T7" fmla="*/ 46 h 313"/>
                <a:gd name="T8" fmla="*/ 130 w 313"/>
                <a:gd name="T9" fmla="*/ 56 h 313"/>
                <a:gd name="T10" fmla="*/ 154 w 313"/>
                <a:gd name="T11" fmla="*/ 69 h 313"/>
                <a:gd name="T12" fmla="*/ 175 w 313"/>
                <a:gd name="T13" fmla="*/ 83 h 313"/>
                <a:gd name="T14" fmla="*/ 194 w 313"/>
                <a:gd name="T15" fmla="*/ 99 h 313"/>
                <a:gd name="T16" fmla="*/ 213 w 313"/>
                <a:gd name="T17" fmla="*/ 118 h 313"/>
                <a:gd name="T18" fmla="*/ 230 w 313"/>
                <a:gd name="T19" fmla="*/ 138 h 313"/>
                <a:gd name="T20" fmla="*/ 244 w 313"/>
                <a:gd name="T21" fmla="*/ 159 h 313"/>
                <a:gd name="T22" fmla="*/ 256 w 313"/>
                <a:gd name="T23" fmla="*/ 182 h 313"/>
                <a:gd name="T24" fmla="*/ 266 w 313"/>
                <a:gd name="T25" fmla="*/ 206 h 313"/>
                <a:gd name="T26" fmla="*/ 275 w 313"/>
                <a:gd name="T27" fmla="*/ 232 h 313"/>
                <a:gd name="T28" fmla="*/ 280 w 313"/>
                <a:gd name="T29" fmla="*/ 258 h 313"/>
                <a:gd name="T30" fmla="*/ 282 w 313"/>
                <a:gd name="T31" fmla="*/ 284 h 313"/>
                <a:gd name="T32" fmla="*/ 283 w 313"/>
                <a:gd name="T33" fmla="*/ 301 h 313"/>
                <a:gd name="T34" fmla="*/ 285 w 313"/>
                <a:gd name="T35" fmla="*/ 307 h 313"/>
                <a:gd name="T36" fmla="*/ 290 w 313"/>
                <a:gd name="T37" fmla="*/ 311 h 313"/>
                <a:gd name="T38" fmla="*/ 295 w 313"/>
                <a:gd name="T39" fmla="*/ 313 h 313"/>
                <a:gd name="T40" fmla="*/ 301 w 313"/>
                <a:gd name="T41" fmla="*/ 313 h 313"/>
                <a:gd name="T42" fmla="*/ 307 w 313"/>
                <a:gd name="T43" fmla="*/ 311 h 313"/>
                <a:gd name="T44" fmla="*/ 310 w 313"/>
                <a:gd name="T45" fmla="*/ 307 h 313"/>
                <a:gd name="T46" fmla="*/ 312 w 313"/>
                <a:gd name="T47" fmla="*/ 301 h 313"/>
                <a:gd name="T48" fmla="*/ 312 w 313"/>
                <a:gd name="T49" fmla="*/ 283 h 313"/>
                <a:gd name="T50" fmla="*/ 309 w 313"/>
                <a:gd name="T51" fmla="*/ 253 h 313"/>
                <a:gd name="T52" fmla="*/ 303 w 313"/>
                <a:gd name="T53" fmla="*/ 224 h 313"/>
                <a:gd name="T54" fmla="*/ 295 w 313"/>
                <a:gd name="T55" fmla="*/ 195 h 313"/>
                <a:gd name="T56" fmla="*/ 283 w 313"/>
                <a:gd name="T57" fmla="*/ 169 h 313"/>
                <a:gd name="T58" fmla="*/ 269 w 313"/>
                <a:gd name="T59" fmla="*/ 144 h 313"/>
                <a:gd name="T60" fmla="*/ 253 w 313"/>
                <a:gd name="T61" fmla="*/ 120 h 313"/>
                <a:gd name="T62" fmla="*/ 235 w 313"/>
                <a:gd name="T63" fmla="*/ 98 h 313"/>
                <a:gd name="T64" fmla="*/ 215 w 313"/>
                <a:gd name="T65" fmla="*/ 78 h 313"/>
                <a:gd name="T66" fmla="*/ 193 w 313"/>
                <a:gd name="T67" fmla="*/ 60 h 313"/>
                <a:gd name="T68" fmla="*/ 169 w 313"/>
                <a:gd name="T69" fmla="*/ 44 h 313"/>
                <a:gd name="T70" fmla="*/ 144 w 313"/>
                <a:gd name="T71" fmla="*/ 30 h 313"/>
                <a:gd name="T72" fmla="*/ 117 w 313"/>
                <a:gd name="T73" fmla="*/ 18 h 313"/>
                <a:gd name="T74" fmla="*/ 88 w 313"/>
                <a:gd name="T75" fmla="*/ 9 h 313"/>
                <a:gd name="T76" fmla="*/ 60 w 313"/>
                <a:gd name="T77" fmla="*/ 3 h 313"/>
                <a:gd name="T78" fmla="*/ 30 w 313"/>
                <a:gd name="T79" fmla="*/ 1 h 313"/>
                <a:gd name="T80" fmla="*/ 11 w 313"/>
                <a:gd name="T81" fmla="*/ 1 h 313"/>
                <a:gd name="T82" fmla="*/ 6 w 313"/>
                <a:gd name="T83" fmla="*/ 3 h 313"/>
                <a:gd name="T84" fmla="*/ 2 w 313"/>
                <a:gd name="T85" fmla="*/ 6 h 313"/>
                <a:gd name="T86" fmla="*/ 0 w 313"/>
                <a:gd name="T87" fmla="*/ 11 h 313"/>
                <a:gd name="T88" fmla="*/ 0 w 313"/>
                <a:gd name="T89" fmla="*/ 18 h 313"/>
                <a:gd name="T90" fmla="*/ 2 w 313"/>
                <a:gd name="T91" fmla="*/ 23 h 313"/>
                <a:gd name="T92" fmla="*/ 6 w 313"/>
                <a:gd name="T93" fmla="*/ 28 h 313"/>
                <a:gd name="T94" fmla="*/ 11 w 313"/>
                <a:gd name="T95" fmla="*/ 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3" h="313">
                  <a:moveTo>
                    <a:pt x="15" y="30"/>
                  </a:moveTo>
                  <a:lnTo>
                    <a:pt x="29" y="31"/>
                  </a:lnTo>
                  <a:lnTo>
                    <a:pt x="41" y="32"/>
                  </a:lnTo>
                  <a:lnTo>
                    <a:pt x="55" y="33"/>
                  </a:lnTo>
                  <a:lnTo>
                    <a:pt x="68" y="35"/>
                  </a:lnTo>
                  <a:lnTo>
                    <a:pt x="81" y="38"/>
                  </a:lnTo>
                  <a:lnTo>
                    <a:pt x="94" y="43"/>
                  </a:lnTo>
                  <a:lnTo>
                    <a:pt x="107" y="46"/>
                  </a:lnTo>
                  <a:lnTo>
                    <a:pt x="118" y="51"/>
                  </a:lnTo>
                  <a:lnTo>
                    <a:pt x="130" y="56"/>
                  </a:lnTo>
                  <a:lnTo>
                    <a:pt x="142" y="63"/>
                  </a:lnTo>
                  <a:lnTo>
                    <a:pt x="154" y="69"/>
                  </a:lnTo>
                  <a:lnTo>
                    <a:pt x="164" y="76"/>
                  </a:lnTo>
                  <a:lnTo>
                    <a:pt x="175" y="83"/>
                  </a:lnTo>
                  <a:lnTo>
                    <a:pt x="185" y="92"/>
                  </a:lnTo>
                  <a:lnTo>
                    <a:pt x="194" y="99"/>
                  </a:lnTo>
                  <a:lnTo>
                    <a:pt x="204" y="109"/>
                  </a:lnTo>
                  <a:lnTo>
                    <a:pt x="213" y="118"/>
                  </a:lnTo>
                  <a:lnTo>
                    <a:pt x="221" y="128"/>
                  </a:lnTo>
                  <a:lnTo>
                    <a:pt x="230" y="138"/>
                  </a:lnTo>
                  <a:lnTo>
                    <a:pt x="237" y="148"/>
                  </a:lnTo>
                  <a:lnTo>
                    <a:pt x="244" y="159"/>
                  </a:lnTo>
                  <a:lnTo>
                    <a:pt x="250" y="171"/>
                  </a:lnTo>
                  <a:lnTo>
                    <a:pt x="256" y="182"/>
                  </a:lnTo>
                  <a:lnTo>
                    <a:pt x="262" y="194"/>
                  </a:lnTo>
                  <a:lnTo>
                    <a:pt x="266" y="206"/>
                  </a:lnTo>
                  <a:lnTo>
                    <a:pt x="270" y="219"/>
                  </a:lnTo>
                  <a:lnTo>
                    <a:pt x="275" y="232"/>
                  </a:lnTo>
                  <a:lnTo>
                    <a:pt x="278" y="245"/>
                  </a:lnTo>
                  <a:lnTo>
                    <a:pt x="280" y="258"/>
                  </a:lnTo>
                  <a:lnTo>
                    <a:pt x="281" y="271"/>
                  </a:lnTo>
                  <a:lnTo>
                    <a:pt x="282" y="284"/>
                  </a:lnTo>
                  <a:lnTo>
                    <a:pt x="283" y="298"/>
                  </a:lnTo>
                  <a:lnTo>
                    <a:pt x="283" y="301"/>
                  </a:lnTo>
                  <a:lnTo>
                    <a:pt x="284" y="305"/>
                  </a:lnTo>
                  <a:lnTo>
                    <a:pt x="285" y="307"/>
                  </a:lnTo>
                  <a:lnTo>
                    <a:pt x="287" y="309"/>
                  </a:lnTo>
                  <a:lnTo>
                    <a:pt x="290" y="311"/>
                  </a:lnTo>
                  <a:lnTo>
                    <a:pt x="292" y="312"/>
                  </a:lnTo>
                  <a:lnTo>
                    <a:pt x="295" y="313"/>
                  </a:lnTo>
                  <a:lnTo>
                    <a:pt x="298" y="313"/>
                  </a:lnTo>
                  <a:lnTo>
                    <a:pt x="301" y="313"/>
                  </a:lnTo>
                  <a:lnTo>
                    <a:pt x="303" y="312"/>
                  </a:lnTo>
                  <a:lnTo>
                    <a:pt x="307" y="311"/>
                  </a:lnTo>
                  <a:lnTo>
                    <a:pt x="309" y="309"/>
                  </a:lnTo>
                  <a:lnTo>
                    <a:pt x="310" y="307"/>
                  </a:lnTo>
                  <a:lnTo>
                    <a:pt x="312" y="305"/>
                  </a:lnTo>
                  <a:lnTo>
                    <a:pt x="312" y="301"/>
                  </a:lnTo>
                  <a:lnTo>
                    <a:pt x="313" y="298"/>
                  </a:lnTo>
                  <a:lnTo>
                    <a:pt x="312" y="283"/>
                  </a:lnTo>
                  <a:lnTo>
                    <a:pt x="311" y="268"/>
                  </a:lnTo>
                  <a:lnTo>
                    <a:pt x="309" y="253"/>
                  </a:lnTo>
                  <a:lnTo>
                    <a:pt x="307" y="238"/>
                  </a:lnTo>
                  <a:lnTo>
                    <a:pt x="303" y="224"/>
                  </a:lnTo>
                  <a:lnTo>
                    <a:pt x="299" y="209"/>
                  </a:lnTo>
                  <a:lnTo>
                    <a:pt x="295" y="195"/>
                  </a:lnTo>
                  <a:lnTo>
                    <a:pt x="290" y="183"/>
                  </a:lnTo>
                  <a:lnTo>
                    <a:pt x="283" y="169"/>
                  </a:lnTo>
                  <a:lnTo>
                    <a:pt x="277" y="156"/>
                  </a:lnTo>
                  <a:lnTo>
                    <a:pt x="269" y="144"/>
                  </a:lnTo>
                  <a:lnTo>
                    <a:pt x="262" y="131"/>
                  </a:lnTo>
                  <a:lnTo>
                    <a:pt x="253" y="120"/>
                  </a:lnTo>
                  <a:lnTo>
                    <a:pt x="245" y="109"/>
                  </a:lnTo>
                  <a:lnTo>
                    <a:pt x="235" y="98"/>
                  </a:lnTo>
                  <a:lnTo>
                    <a:pt x="225" y="87"/>
                  </a:lnTo>
                  <a:lnTo>
                    <a:pt x="215" y="78"/>
                  </a:lnTo>
                  <a:lnTo>
                    <a:pt x="204" y="68"/>
                  </a:lnTo>
                  <a:lnTo>
                    <a:pt x="193" y="60"/>
                  </a:lnTo>
                  <a:lnTo>
                    <a:pt x="182" y="51"/>
                  </a:lnTo>
                  <a:lnTo>
                    <a:pt x="169" y="44"/>
                  </a:lnTo>
                  <a:lnTo>
                    <a:pt x="157" y="36"/>
                  </a:lnTo>
                  <a:lnTo>
                    <a:pt x="144" y="30"/>
                  </a:lnTo>
                  <a:lnTo>
                    <a:pt x="130" y="23"/>
                  </a:lnTo>
                  <a:lnTo>
                    <a:pt x="117" y="18"/>
                  </a:lnTo>
                  <a:lnTo>
                    <a:pt x="103" y="14"/>
                  </a:lnTo>
                  <a:lnTo>
                    <a:pt x="88" y="9"/>
                  </a:lnTo>
                  <a:lnTo>
                    <a:pt x="75" y="6"/>
                  </a:lnTo>
                  <a:lnTo>
                    <a:pt x="60" y="3"/>
                  </a:lnTo>
                  <a:lnTo>
                    <a:pt x="45" y="2"/>
                  </a:lnTo>
                  <a:lnTo>
                    <a:pt x="30" y="1"/>
                  </a:lnTo>
                  <a:lnTo>
                    <a:pt x="15" y="0"/>
                  </a:lnTo>
                  <a:lnTo>
                    <a:pt x="11" y="1"/>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8">
              <a:extLst>
                <a:ext uri="{FF2B5EF4-FFF2-40B4-BE49-F238E27FC236}">
                  <a16:creationId xmlns:a16="http://schemas.microsoft.com/office/drawing/2014/main" id="{13D4B481-4960-45AB-BC0A-6BF582F6117B}"/>
                </a:ext>
              </a:extLst>
            </p:cNvPr>
            <p:cNvSpPr>
              <a:spLocks/>
            </p:cNvSpPr>
            <p:nvPr/>
          </p:nvSpPr>
          <p:spPr bwMode="auto">
            <a:xfrm>
              <a:off x="1608138" y="862013"/>
              <a:ext cx="50800" cy="50800"/>
            </a:xfrm>
            <a:custGeom>
              <a:avLst/>
              <a:gdLst>
                <a:gd name="T0" fmla="*/ 26 w 161"/>
                <a:gd name="T1" fmla="*/ 31 h 162"/>
                <a:gd name="T2" fmla="*/ 49 w 161"/>
                <a:gd name="T3" fmla="*/ 35 h 162"/>
                <a:gd name="T4" fmla="*/ 70 w 161"/>
                <a:gd name="T5" fmla="*/ 44 h 162"/>
                <a:gd name="T6" fmla="*/ 88 w 161"/>
                <a:gd name="T7" fmla="*/ 57 h 162"/>
                <a:gd name="T8" fmla="*/ 105 w 161"/>
                <a:gd name="T9" fmla="*/ 72 h 162"/>
                <a:gd name="T10" fmla="*/ 117 w 161"/>
                <a:gd name="T11" fmla="*/ 92 h 162"/>
                <a:gd name="T12" fmla="*/ 126 w 161"/>
                <a:gd name="T13" fmla="*/ 113 h 162"/>
                <a:gd name="T14" fmla="*/ 131 w 161"/>
                <a:gd name="T15" fmla="*/ 135 h 162"/>
                <a:gd name="T16" fmla="*/ 132 w 161"/>
                <a:gd name="T17" fmla="*/ 150 h 162"/>
                <a:gd name="T18" fmla="*/ 134 w 161"/>
                <a:gd name="T19" fmla="*/ 156 h 162"/>
                <a:gd name="T20" fmla="*/ 139 w 161"/>
                <a:gd name="T21" fmla="*/ 160 h 162"/>
                <a:gd name="T22" fmla="*/ 144 w 161"/>
                <a:gd name="T23" fmla="*/ 162 h 162"/>
                <a:gd name="T24" fmla="*/ 149 w 161"/>
                <a:gd name="T25" fmla="*/ 162 h 162"/>
                <a:gd name="T26" fmla="*/ 155 w 161"/>
                <a:gd name="T27" fmla="*/ 160 h 162"/>
                <a:gd name="T28" fmla="*/ 159 w 161"/>
                <a:gd name="T29" fmla="*/ 156 h 162"/>
                <a:gd name="T30" fmla="*/ 161 w 161"/>
                <a:gd name="T31" fmla="*/ 150 h 162"/>
                <a:gd name="T32" fmla="*/ 161 w 161"/>
                <a:gd name="T33" fmla="*/ 132 h 162"/>
                <a:gd name="T34" fmla="*/ 155 w 161"/>
                <a:gd name="T35" fmla="*/ 103 h 162"/>
                <a:gd name="T36" fmla="*/ 144 w 161"/>
                <a:gd name="T37" fmla="*/ 78 h 162"/>
                <a:gd name="T38" fmla="*/ 128 w 161"/>
                <a:gd name="T39" fmla="*/ 54 h 162"/>
                <a:gd name="T40" fmla="*/ 108 w 161"/>
                <a:gd name="T41" fmla="*/ 34 h 162"/>
                <a:gd name="T42" fmla="*/ 84 w 161"/>
                <a:gd name="T43" fmla="*/ 18 h 162"/>
                <a:gd name="T44" fmla="*/ 59 w 161"/>
                <a:gd name="T45" fmla="*/ 7 h 162"/>
                <a:gd name="T46" fmla="*/ 30 w 161"/>
                <a:gd name="T47" fmla="*/ 1 h 162"/>
                <a:gd name="T48" fmla="*/ 11 w 161"/>
                <a:gd name="T49" fmla="*/ 1 h 162"/>
                <a:gd name="T50" fmla="*/ 6 w 161"/>
                <a:gd name="T51" fmla="*/ 3 h 162"/>
                <a:gd name="T52" fmla="*/ 2 w 161"/>
                <a:gd name="T53" fmla="*/ 7 h 162"/>
                <a:gd name="T54" fmla="*/ 0 w 161"/>
                <a:gd name="T55" fmla="*/ 12 h 162"/>
                <a:gd name="T56" fmla="*/ 0 w 161"/>
                <a:gd name="T57" fmla="*/ 18 h 162"/>
                <a:gd name="T58" fmla="*/ 2 w 161"/>
                <a:gd name="T59" fmla="*/ 23 h 162"/>
                <a:gd name="T60" fmla="*/ 6 w 161"/>
                <a:gd name="T61" fmla="*/ 27 h 162"/>
                <a:gd name="T62" fmla="*/ 11 w 161"/>
                <a:gd name="T63" fmla="*/ 2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1" h="162">
                  <a:moveTo>
                    <a:pt x="15" y="29"/>
                  </a:moveTo>
                  <a:lnTo>
                    <a:pt x="26" y="31"/>
                  </a:lnTo>
                  <a:lnTo>
                    <a:pt x="38" y="33"/>
                  </a:lnTo>
                  <a:lnTo>
                    <a:pt x="49" y="35"/>
                  </a:lnTo>
                  <a:lnTo>
                    <a:pt x="60" y="39"/>
                  </a:lnTo>
                  <a:lnTo>
                    <a:pt x="70" y="44"/>
                  </a:lnTo>
                  <a:lnTo>
                    <a:pt x="80" y="50"/>
                  </a:lnTo>
                  <a:lnTo>
                    <a:pt x="88" y="57"/>
                  </a:lnTo>
                  <a:lnTo>
                    <a:pt x="97" y="65"/>
                  </a:lnTo>
                  <a:lnTo>
                    <a:pt x="105" y="72"/>
                  </a:lnTo>
                  <a:lnTo>
                    <a:pt x="112" y="82"/>
                  </a:lnTo>
                  <a:lnTo>
                    <a:pt x="117" y="92"/>
                  </a:lnTo>
                  <a:lnTo>
                    <a:pt x="123" y="102"/>
                  </a:lnTo>
                  <a:lnTo>
                    <a:pt x="126" y="113"/>
                  </a:lnTo>
                  <a:lnTo>
                    <a:pt x="129" y="124"/>
                  </a:lnTo>
                  <a:lnTo>
                    <a:pt x="131" y="135"/>
                  </a:lnTo>
                  <a:lnTo>
                    <a:pt x="131" y="147"/>
                  </a:lnTo>
                  <a:lnTo>
                    <a:pt x="132" y="150"/>
                  </a:lnTo>
                  <a:lnTo>
                    <a:pt x="132" y="154"/>
                  </a:lnTo>
                  <a:lnTo>
                    <a:pt x="134" y="156"/>
                  </a:lnTo>
                  <a:lnTo>
                    <a:pt x="136" y="158"/>
                  </a:lnTo>
                  <a:lnTo>
                    <a:pt x="139" y="160"/>
                  </a:lnTo>
                  <a:lnTo>
                    <a:pt x="141" y="161"/>
                  </a:lnTo>
                  <a:lnTo>
                    <a:pt x="144" y="162"/>
                  </a:lnTo>
                  <a:lnTo>
                    <a:pt x="146" y="162"/>
                  </a:lnTo>
                  <a:lnTo>
                    <a:pt x="149" y="162"/>
                  </a:lnTo>
                  <a:lnTo>
                    <a:pt x="153" y="161"/>
                  </a:lnTo>
                  <a:lnTo>
                    <a:pt x="155" y="160"/>
                  </a:lnTo>
                  <a:lnTo>
                    <a:pt x="157" y="158"/>
                  </a:lnTo>
                  <a:lnTo>
                    <a:pt x="159" y="156"/>
                  </a:lnTo>
                  <a:lnTo>
                    <a:pt x="160" y="154"/>
                  </a:lnTo>
                  <a:lnTo>
                    <a:pt x="161" y="150"/>
                  </a:lnTo>
                  <a:lnTo>
                    <a:pt x="161" y="147"/>
                  </a:lnTo>
                  <a:lnTo>
                    <a:pt x="161" y="132"/>
                  </a:lnTo>
                  <a:lnTo>
                    <a:pt x="159" y="117"/>
                  </a:lnTo>
                  <a:lnTo>
                    <a:pt x="155" y="103"/>
                  </a:lnTo>
                  <a:lnTo>
                    <a:pt x="150" y="90"/>
                  </a:lnTo>
                  <a:lnTo>
                    <a:pt x="144" y="78"/>
                  </a:lnTo>
                  <a:lnTo>
                    <a:pt x="137" y="65"/>
                  </a:lnTo>
                  <a:lnTo>
                    <a:pt x="128" y="54"/>
                  </a:lnTo>
                  <a:lnTo>
                    <a:pt x="118" y="43"/>
                  </a:lnTo>
                  <a:lnTo>
                    <a:pt x="108" y="34"/>
                  </a:lnTo>
                  <a:lnTo>
                    <a:pt x="97" y="25"/>
                  </a:lnTo>
                  <a:lnTo>
                    <a:pt x="84" y="18"/>
                  </a:lnTo>
                  <a:lnTo>
                    <a:pt x="71" y="11"/>
                  </a:lnTo>
                  <a:lnTo>
                    <a:pt x="59" y="7"/>
                  </a:lnTo>
                  <a:lnTo>
                    <a:pt x="44" y="3"/>
                  </a:lnTo>
                  <a:lnTo>
                    <a:pt x="30" y="1"/>
                  </a:lnTo>
                  <a:lnTo>
                    <a:pt x="15" y="0"/>
                  </a:lnTo>
                  <a:lnTo>
                    <a:pt x="11" y="1"/>
                  </a:lnTo>
                  <a:lnTo>
                    <a:pt x="8" y="2"/>
                  </a:lnTo>
                  <a:lnTo>
                    <a:pt x="6" y="3"/>
                  </a:lnTo>
                  <a:lnTo>
                    <a:pt x="4" y="5"/>
                  </a:lnTo>
                  <a:lnTo>
                    <a:pt x="2" y="7"/>
                  </a:lnTo>
                  <a:lnTo>
                    <a:pt x="1" y="9"/>
                  </a:lnTo>
                  <a:lnTo>
                    <a:pt x="0" y="12"/>
                  </a:lnTo>
                  <a:lnTo>
                    <a:pt x="0" y="15"/>
                  </a:lnTo>
                  <a:lnTo>
                    <a:pt x="0" y="18"/>
                  </a:lnTo>
                  <a:lnTo>
                    <a:pt x="1" y="21"/>
                  </a:lnTo>
                  <a:lnTo>
                    <a:pt x="2" y="23"/>
                  </a:lnTo>
                  <a:lnTo>
                    <a:pt x="4" y="25"/>
                  </a:lnTo>
                  <a:lnTo>
                    <a:pt x="6" y="27"/>
                  </a:lnTo>
                  <a:lnTo>
                    <a:pt x="8" y="28"/>
                  </a:lnTo>
                  <a:lnTo>
                    <a:pt x="11"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7" name="Freeform 16">
            <a:extLst>
              <a:ext uri="{FF2B5EF4-FFF2-40B4-BE49-F238E27FC236}">
                <a16:creationId xmlns:a16="http://schemas.microsoft.com/office/drawing/2014/main" id="{6AD09B02-044B-4AEF-84B7-9CF0D3633C34}"/>
              </a:ext>
            </a:extLst>
          </p:cNvPr>
          <p:cNvSpPr>
            <a:spLocks noChangeAspect="1" noEditPoints="1"/>
          </p:cNvSpPr>
          <p:nvPr/>
        </p:nvSpPr>
        <p:spPr bwMode="auto">
          <a:xfrm>
            <a:off x="1075692" y="3801969"/>
            <a:ext cx="287214" cy="285619"/>
          </a:xfrm>
          <a:custGeom>
            <a:avLst/>
            <a:gdLst>
              <a:gd name="T0" fmla="*/ 483 w 900"/>
              <a:gd name="T1" fmla="*/ 639 h 898"/>
              <a:gd name="T2" fmla="*/ 300 w 900"/>
              <a:gd name="T3" fmla="*/ 465 h 898"/>
              <a:gd name="T4" fmla="*/ 199 w 900"/>
              <a:gd name="T5" fmla="*/ 322 h 898"/>
              <a:gd name="T6" fmla="*/ 257 w 900"/>
              <a:gd name="T7" fmla="*/ 211 h 898"/>
              <a:gd name="T8" fmla="*/ 318 w 900"/>
              <a:gd name="T9" fmla="*/ 206 h 898"/>
              <a:gd name="T10" fmla="*/ 378 w 900"/>
              <a:gd name="T11" fmla="*/ 320 h 898"/>
              <a:gd name="T12" fmla="*/ 391 w 900"/>
              <a:gd name="T13" fmla="*/ 417 h 898"/>
              <a:gd name="T14" fmla="*/ 541 w 900"/>
              <a:gd name="T15" fmla="*/ 553 h 898"/>
              <a:gd name="T16" fmla="*/ 612 w 900"/>
              <a:gd name="T17" fmla="*/ 512 h 898"/>
              <a:gd name="T18" fmla="*/ 703 w 900"/>
              <a:gd name="T19" fmla="*/ 611 h 898"/>
              <a:gd name="T20" fmla="*/ 633 w 900"/>
              <a:gd name="T21" fmla="*/ 693 h 898"/>
              <a:gd name="T22" fmla="*/ 404 w 900"/>
              <a:gd name="T23" fmla="*/ 2 h 898"/>
              <a:gd name="T24" fmla="*/ 236 w 900"/>
              <a:gd name="T25" fmla="*/ 54 h 898"/>
              <a:gd name="T26" fmla="*/ 103 w 900"/>
              <a:gd name="T27" fmla="*/ 164 h 898"/>
              <a:gd name="T28" fmla="*/ 21 w 900"/>
              <a:gd name="T29" fmla="*/ 315 h 898"/>
              <a:gd name="T30" fmla="*/ 2 w 900"/>
              <a:gd name="T31" fmla="*/ 495 h 898"/>
              <a:gd name="T32" fmla="*/ 55 w 900"/>
              <a:gd name="T33" fmla="*/ 663 h 898"/>
              <a:gd name="T34" fmla="*/ 164 w 900"/>
              <a:gd name="T35" fmla="*/ 796 h 898"/>
              <a:gd name="T36" fmla="*/ 316 w 900"/>
              <a:gd name="T37" fmla="*/ 879 h 898"/>
              <a:gd name="T38" fmla="*/ 506 w 900"/>
              <a:gd name="T39" fmla="*/ 896 h 898"/>
              <a:gd name="T40" fmla="*/ 651 w 900"/>
              <a:gd name="T41" fmla="*/ 845 h 898"/>
              <a:gd name="T42" fmla="*/ 703 w 900"/>
              <a:gd name="T43" fmla="*/ 755 h 898"/>
              <a:gd name="T44" fmla="*/ 715 w 900"/>
              <a:gd name="T45" fmla="*/ 658 h 898"/>
              <a:gd name="T46" fmla="*/ 733 w 900"/>
              <a:gd name="T47" fmla="*/ 604 h 898"/>
              <a:gd name="T48" fmla="*/ 655 w 900"/>
              <a:gd name="T49" fmla="*/ 502 h 898"/>
              <a:gd name="T50" fmla="*/ 607 w 900"/>
              <a:gd name="T51" fmla="*/ 482 h 898"/>
              <a:gd name="T52" fmla="*/ 551 w 900"/>
              <a:gd name="T53" fmla="*/ 506 h 898"/>
              <a:gd name="T54" fmla="*/ 399 w 900"/>
              <a:gd name="T55" fmla="*/ 381 h 898"/>
              <a:gd name="T56" fmla="*/ 415 w 900"/>
              <a:gd name="T57" fmla="*/ 310 h 898"/>
              <a:gd name="T58" fmla="*/ 407 w 900"/>
              <a:gd name="T59" fmla="*/ 254 h 898"/>
              <a:gd name="T60" fmla="*/ 312 w 900"/>
              <a:gd name="T61" fmla="*/ 169 h 898"/>
              <a:gd name="T62" fmla="*/ 255 w 900"/>
              <a:gd name="T63" fmla="*/ 175 h 898"/>
              <a:gd name="T64" fmla="*/ 179 w 900"/>
              <a:gd name="T65" fmla="*/ 256 h 898"/>
              <a:gd name="T66" fmla="*/ 168 w 900"/>
              <a:gd name="T67" fmla="*/ 323 h 898"/>
              <a:gd name="T68" fmla="*/ 256 w 900"/>
              <a:gd name="T69" fmla="*/ 460 h 898"/>
              <a:gd name="T70" fmla="*/ 439 w 900"/>
              <a:gd name="T71" fmla="*/ 643 h 898"/>
              <a:gd name="T72" fmla="*/ 595 w 900"/>
              <a:gd name="T73" fmla="*/ 733 h 898"/>
              <a:gd name="T74" fmla="*/ 671 w 900"/>
              <a:gd name="T75" fmla="*/ 702 h 898"/>
              <a:gd name="T76" fmla="*/ 663 w 900"/>
              <a:gd name="T77" fmla="*/ 781 h 898"/>
              <a:gd name="T78" fmla="*/ 589 w 900"/>
              <a:gd name="T79" fmla="*/ 846 h 898"/>
              <a:gd name="T80" fmla="*/ 450 w 900"/>
              <a:gd name="T81" fmla="*/ 868 h 898"/>
              <a:gd name="T82" fmla="*/ 287 w 900"/>
              <a:gd name="T83" fmla="*/ 836 h 898"/>
              <a:gd name="T84" fmla="*/ 153 w 900"/>
              <a:gd name="T85" fmla="*/ 745 h 898"/>
              <a:gd name="T86" fmla="*/ 63 w 900"/>
              <a:gd name="T87" fmla="*/ 613 h 898"/>
              <a:gd name="T88" fmla="*/ 30 w 900"/>
              <a:gd name="T89" fmla="*/ 449 h 898"/>
              <a:gd name="T90" fmla="*/ 63 w 900"/>
              <a:gd name="T91" fmla="*/ 287 h 898"/>
              <a:gd name="T92" fmla="*/ 153 w 900"/>
              <a:gd name="T93" fmla="*/ 153 h 898"/>
              <a:gd name="T94" fmla="*/ 287 w 900"/>
              <a:gd name="T95" fmla="*/ 63 h 898"/>
              <a:gd name="T96" fmla="*/ 450 w 900"/>
              <a:gd name="T97" fmla="*/ 30 h 898"/>
              <a:gd name="T98" fmla="*/ 613 w 900"/>
              <a:gd name="T99" fmla="*/ 63 h 898"/>
              <a:gd name="T100" fmla="*/ 746 w 900"/>
              <a:gd name="T101" fmla="*/ 153 h 898"/>
              <a:gd name="T102" fmla="*/ 837 w 900"/>
              <a:gd name="T103" fmla="*/ 287 h 898"/>
              <a:gd name="T104" fmla="*/ 869 w 900"/>
              <a:gd name="T105" fmla="*/ 449 h 898"/>
              <a:gd name="T106" fmla="*/ 851 w 900"/>
              <a:gd name="T107" fmla="*/ 573 h 898"/>
              <a:gd name="T108" fmla="*/ 796 w 900"/>
              <a:gd name="T109" fmla="*/ 687 h 898"/>
              <a:gd name="T110" fmla="*/ 800 w 900"/>
              <a:gd name="T111" fmla="*/ 707 h 898"/>
              <a:gd name="T112" fmla="*/ 821 w 900"/>
              <a:gd name="T113" fmla="*/ 704 h 898"/>
              <a:gd name="T114" fmla="*/ 880 w 900"/>
              <a:gd name="T115" fmla="*/ 583 h 898"/>
              <a:gd name="T116" fmla="*/ 900 w 900"/>
              <a:gd name="T117" fmla="*/ 449 h 898"/>
              <a:gd name="T118" fmla="*/ 863 w 900"/>
              <a:gd name="T119" fmla="*/ 275 h 898"/>
              <a:gd name="T120" fmla="*/ 767 w 900"/>
              <a:gd name="T121" fmla="*/ 131 h 898"/>
              <a:gd name="T122" fmla="*/ 625 w 900"/>
              <a:gd name="T123" fmla="*/ 35 h 898"/>
              <a:gd name="T124" fmla="*/ 450 w 900"/>
              <a:gd name="T12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 h="898">
                <a:moveTo>
                  <a:pt x="595" y="703"/>
                </a:moveTo>
                <a:lnTo>
                  <a:pt x="586" y="702"/>
                </a:lnTo>
                <a:lnTo>
                  <a:pt x="577" y="701"/>
                </a:lnTo>
                <a:lnTo>
                  <a:pt x="568" y="697"/>
                </a:lnTo>
                <a:lnTo>
                  <a:pt x="561" y="693"/>
                </a:lnTo>
                <a:lnTo>
                  <a:pt x="534" y="676"/>
                </a:lnTo>
                <a:lnTo>
                  <a:pt x="508" y="658"/>
                </a:lnTo>
                <a:lnTo>
                  <a:pt x="483" y="639"/>
                </a:lnTo>
                <a:lnTo>
                  <a:pt x="458" y="619"/>
                </a:lnTo>
                <a:lnTo>
                  <a:pt x="433" y="600"/>
                </a:lnTo>
                <a:lnTo>
                  <a:pt x="410" y="579"/>
                </a:lnTo>
                <a:lnTo>
                  <a:pt x="386" y="557"/>
                </a:lnTo>
                <a:lnTo>
                  <a:pt x="364" y="536"/>
                </a:lnTo>
                <a:lnTo>
                  <a:pt x="341" y="512"/>
                </a:lnTo>
                <a:lnTo>
                  <a:pt x="320" y="490"/>
                </a:lnTo>
                <a:lnTo>
                  <a:pt x="300" y="465"/>
                </a:lnTo>
                <a:lnTo>
                  <a:pt x="279" y="442"/>
                </a:lnTo>
                <a:lnTo>
                  <a:pt x="260" y="416"/>
                </a:lnTo>
                <a:lnTo>
                  <a:pt x="241" y="391"/>
                </a:lnTo>
                <a:lnTo>
                  <a:pt x="224" y="365"/>
                </a:lnTo>
                <a:lnTo>
                  <a:pt x="207" y="339"/>
                </a:lnTo>
                <a:lnTo>
                  <a:pt x="203" y="334"/>
                </a:lnTo>
                <a:lnTo>
                  <a:pt x="201" y="328"/>
                </a:lnTo>
                <a:lnTo>
                  <a:pt x="199" y="322"/>
                </a:lnTo>
                <a:lnTo>
                  <a:pt x="198" y="317"/>
                </a:lnTo>
                <a:lnTo>
                  <a:pt x="197" y="305"/>
                </a:lnTo>
                <a:lnTo>
                  <a:pt x="197" y="292"/>
                </a:lnTo>
                <a:lnTo>
                  <a:pt x="200" y="280"/>
                </a:lnTo>
                <a:lnTo>
                  <a:pt x="206" y="268"/>
                </a:lnTo>
                <a:lnTo>
                  <a:pt x="212" y="257"/>
                </a:lnTo>
                <a:lnTo>
                  <a:pt x="221" y="247"/>
                </a:lnTo>
                <a:lnTo>
                  <a:pt x="257" y="211"/>
                </a:lnTo>
                <a:lnTo>
                  <a:pt x="264" y="204"/>
                </a:lnTo>
                <a:lnTo>
                  <a:pt x="273" y="200"/>
                </a:lnTo>
                <a:lnTo>
                  <a:pt x="282" y="197"/>
                </a:lnTo>
                <a:lnTo>
                  <a:pt x="291" y="196"/>
                </a:lnTo>
                <a:lnTo>
                  <a:pt x="299" y="197"/>
                </a:lnTo>
                <a:lnTo>
                  <a:pt x="306" y="199"/>
                </a:lnTo>
                <a:lnTo>
                  <a:pt x="313" y="202"/>
                </a:lnTo>
                <a:lnTo>
                  <a:pt x="318" y="206"/>
                </a:lnTo>
                <a:lnTo>
                  <a:pt x="377" y="265"/>
                </a:lnTo>
                <a:lnTo>
                  <a:pt x="381" y="272"/>
                </a:lnTo>
                <a:lnTo>
                  <a:pt x="384" y="278"/>
                </a:lnTo>
                <a:lnTo>
                  <a:pt x="386" y="285"/>
                </a:lnTo>
                <a:lnTo>
                  <a:pt x="387" y="294"/>
                </a:lnTo>
                <a:lnTo>
                  <a:pt x="385" y="303"/>
                </a:lnTo>
                <a:lnTo>
                  <a:pt x="383" y="311"/>
                </a:lnTo>
                <a:lnTo>
                  <a:pt x="378" y="320"/>
                </a:lnTo>
                <a:lnTo>
                  <a:pt x="372" y="326"/>
                </a:lnTo>
                <a:lnTo>
                  <a:pt x="350" y="348"/>
                </a:lnTo>
                <a:lnTo>
                  <a:pt x="347" y="353"/>
                </a:lnTo>
                <a:lnTo>
                  <a:pt x="346" y="358"/>
                </a:lnTo>
                <a:lnTo>
                  <a:pt x="347" y="364"/>
                </a:lnTo>
                <a:lnTo>
                  <a:pt x="349" y="368"/>
                </a:lnTo>
                <a:lnTo>
                  <a:pt x="369" y="392"/>
                </a:lnTo>
                <a:lnTo>
                  <a:pt x="391" y="417"/>
                </a:lnTo>
                <a:lnTo>
                  <a:pt x="413" y="441"/>
                </a:lnTo>
                <a:lnTo>
                  <a:pt x="436" y="464"/>
                </a:lnTo>
                <a:lnTo>
                  <a:pt x="458" y="487"/>
                </a:lnTo>
                <a:lnTo>
                  <a:pt x="483" y="508"/>
                </a:lnTo>
                <a:lnTo>
                  <a:pt x="506" y="529"/>
                </a:lnTo>
                <a:lnTo>
                  <a:pt x="531" y="550"/>
                </a:lnTo>
                <a:lnTo>
                  <a:pt x="536" y="552"/>
                </a:lnTo>
                <a:lnTo>
                  <a:pt x="541" y="553"/>
                </a:lnTo>
                <a:lnTo>
                  <a:pt x="547" y="552"/>
                </a:lnTo>
                <a:lnTo>
                  <a:pt x="551" y="549"/>
                </a:lnTo>
                <a:lnTo>
                  <a:pt x="573" y="527"/>
                </a:lnTo>
                <a:lnTo>
                  <a:pt x="580" y="521"/>
                </a:lnTo>
                <a:lnTo>
                  <a:pt x="587" y="517"/>
                </a:lnTo>
                <a:lnTo>
                  <a:pt x="596" y="514"/>
                </a:lnTo>
                <a:lnTo>
                  <a:pt x="605" y="512"/>
                </a:lnTo>
                <a:lnTo>
                  <a:pt x="612" y="512"/>
                </a:lnTo>
                <a:lnTo>
                  <a:pt x="621" y="514"/>
                </a:lnTo>
                <a:lnTo>
                  <a:pt x="628" y="518"/>
                </a:lnTo>
                <a:lnTo>
                  <a:pt x="633" y="523"/>
                </a:lnTo>
                <a:lnTo>
                  <a:pt x="692" y="581"/>
                </a:lnTo>
                <a:lnTo>
                  <a:pt x="698" y="587"/>
                </a:lnTo>
                <a:lnTo>
                  <a:pt x="701" y="595"/>
                </a:lnTo>
                <a:lnTo>
                  <a:pt x="703" y="602"/>
                </a:lnTo>
                <a:lnTo>
                  <a:pt x="703" y="611"/>
                </a:lnTo>
                <a:lnTo>
                  <a:pt x="702" y="619"/>
                </a:lnTo>
                <a:lnTo>
                  <a:pt x="699" y="628"/>
                </a:lnTo>
                <a:lnTo>
                  <a:pt x="694" y="635"/>
                </a:lnTo>
                <a:lnTo>
                  <a:pt x="688" y="643"/>
                </a:lnTo>
                <a:lnTo>
                  <a:pt x="653" y="678"/>
                </a:lnTo>
                <a:lnTo>
                  <a:pt x="646" y="683"/>
                </a:lnTo>
                <a:lnTo>
                  <a:pt x="640" y="689"/>
                </a:lnTo>
                <a:lnTo>
                  <a:pt x="633" y="693"/>
                </a:lnTo>
                <a:lnTo>
                  <a:pt x="626" y="696"/>
                </a:lnTo>
                <a:lnTo>
                  <a:pt x="619" y="698"/>
                </a:lnTo>
                <a:lnTo>
                  <a:pt x="611" y="701"/>
                </a:lnTo>
                <a:lnTo>
                  <a:pt x="604" y="703"/>
                </a:lnTo>
                <a:lnTo>
                  <a:pt x="595" y="703"/>
                </a:lnTo>
                <a:close/>
                <a:moveTo>
                  <a:pt x="450" y="0"/>
                </a:moveTo>
                <a:lnTo>
                  <a:pt x="427" y="0"/>
                </a:lnTo>
                <a:lnTo>
                  <a:pt x="404" y="2"/>
                </a:lnTo>
                <a:lnTo>
                  <a:pt x="381" y="5"/>
                </a:lnTo>
                <a:lnTo>
                  <a:pt x="360" y="8"/>
                </a:lnTo>
                <a:lnTo>
                  <a:pt x="337" y="14"/>
                </a:lnTo>
                <a:lnTo>
                  <a:pt x="316" y="20"/>
                </a:lnTo>
                <a:lnTo>
                  <a:pt x="295" y="27"/>
                </a:lnTo>
                <a:lnTo>
                  <a:pt x="275" y="35"/>
                </a:lnTo>
                <a:lnTo>
                  <a:pt x="255" y="44"/>
                </a:lnTo>
                <a:lnTo>
                  <a:pt x="236" y="54"/>
                </a:lnTo>
                <a:lnTo>
                  <a:pt x="216" y="65"/>
                </a:lnTo>
                <a:lnTo>
                  <a:pt x="198" y="77"/>
                </a:lnTo>
                <a:lnTo>
                  <a:pt x="181" y="89"/>
                </a:lnTo>
                <a:lnTo>
                  <a:pt x="164" y="103"/>
                </a:lnTo>
                <a:lnTo>
                  <a:pt x="148" y="116"/>
                </a:lnTo>
                <a:lnTo>
                  <a:pt x="132" y="131"/>
                </a:lnTo>
                <a:lnTo>
                  <a:pt x="117" y="148"/>
                </a:lnTo>
                <a:lnTo>
                  <a:pt x="103" y="164"/>
                </a:lnTo>
                <a:lnTo>
                  <a:pt x="90" y="181"/>
                </a:lnTo>
                <a:lnTo>
                  <a:pt x="77" y="198"/>
                </a:lnTo>
                <a:lnTo>
                  <a:pt x="65" y="216"/>
                </a:lnTo>
                <a:lnTo>
                  <a:pt x="55" y="235"/>
                </a:lnTo>
                <a:lnTo>
                  <a:pt x="44" y="254"/>
                </a:lnTo>
                <a:lnTo>
                  <a:pt x="36" y="275"/>
                </a:lnTo>
                <a:lnTo>
                  <a:pt x="27" y="295"/>
                </a:lnTo>
                <a:lnTo>
                  <a:pt x="21" y="315"/>
                </a:lnTo>
                <a:lnTo>
                  <a:pt x="14" y="337"/>
                </a:lnTo>
                <a:lnTo>
                  <a:pt x="10" y="359"/>
                </a:lnTo>
                <a:lnTo>
                  <a:pt x="6" y="381"/>
                </a:lnTo>
                <a:lnTo>
                  <a:pt x="2" y="403"/>
                </a:lnTo>
                <a:lnTo>
                  <a:pt x="0" y="427"/>
                </a:lnTo>
                <a:lnTo>
                  <a:pt x="0" y="449"/>
                </a:lnTo>
                <a:lnTo>
                  <a:pt x="0" y="473"/>
                </a:lnTo>
                <a:lnTo>
                  <a:pt x="2" y="495"/>
                </a:lnTo>
                <a:lnTo>
                  <a:pt x="6" y="518"/>
                </a:lnTo>
                <a:lnTo>
                  <a:pt x="10" y="540"/>
                </a:lnTo>
                <a:lnTo>
                  <a:pt x="14" y="561"/>
                </a:lnTo>
                <a:lnTo>
                  <a:pt x="21" y="583"/>
                </a:lnTo>
                <a:lnTo>
                  <a:pt x="27" y="604"/>
                </a:lnTo>
                <a:lnTo>
                  <a:pt x="36" y="625"/>
                </a:lnTo>
                <a:lnTo>
                  <a:pt x="44" y="644"/>
                </a:lnTo>
                <a:lnTo>
                  <a:pt x="55" y="663"/>
                </a:lnTo>
                <a:lnTo>
                  <a:pt x="65" y="682"/>
                </a:lnTo>
                <a:lnTo>
                  <a:pt x="77" y="701"/>
                </a:lnTo>
                <a:lnTo>
                  <a:pt x="90" y="718"/>
                </a:lnTo>
                <a:lnTo>
                  <a:pt x="103" y="735"/>
                </a:lnTo>
                <a:lnTo>
                  <a:pt x="117" y="752"/>
                </a:lnTo>
                <a:lnTo>
                  <a:pt x="132" y="767"/>
                </a:lnTo>
                <a:lnTo>
                  <a:pt x="148" y="782"/>
                </a:lnTo>
                <a:lnTo>
                  <a:pt x="164" y="796"/>
                </a:lnTo>
                <a:lnTo>
                  <a:pt x="181" y="810"/>
                </a:lnTo>
                <a:lnTo>
                  <a:pt x="198" y="823"/>
                </a:lnTo>
                <a:lnTo>
                  <a:pt x="216" y="834"/>
                </a:lnTo>
                <a:lnTo>
                  <a:pt x="236" y="845"/>
                </a:lnTo>
                <a:lnTo>
                  <a:pt x="255" y="855"/>
                </a:lnTo>
                <a:lnTo>
                  <a:pt x="275" y="863"/>
                </a:lnTo>
                <a:lnTo>
                  <a:pt x="295" y="872"/>
                </a:lnTo>
                <a:lnTo>
                  <a:pt x="316" y="879"/>
                </a:lnTo>
                <a:lnTo>
                  <a:pt x="337" y="885"/>
                </a:lnTo>
                <a:lnTo>
                  <a:pt x="360" y="890"/>
                </a:lnTo>
                <a:lnTo>
                  <a:pt x="381" y="894"/>
                </a:lnTo>
                <a:lnTo>
                  <a:pt x="404" y="896"/>
                </a:lnTo>
                <a:lnTo>
                  <a:pt x="427" y="898"/>
                </a:lnTo>
                <a:lnTo>
                  <a:pt x="450" y="898"/>
                </a:lnTo>
                <a:lnTo>
                  <a:pt x="479" y="898"/>
                </a:lnTo>
                <a:lnTo>
                  <a:pt x="506" y="896"/>
                </a:lnTo>
                <a:lnTo>
                  <a:pt x="531" y="893"/>
                </a:lnTo>
                <a:lnTo>
                  <a:pt x="553" y="889"/>
                </a:lnTo>
                <a:lnTo>
                  <a:pt x="575" y="883"/>
                </a:lnTo>
                <a:lnTo>
                  <a:pt x="593" y="877"/>
                </a:lnTo>
                <a:lnTo>
                  <a:pt x="610" y="870"/>
                </a:lnTo>
                <a:lnTo>
                  <a:pt x="625" y="862"/>
                </a:lnTo>
                <a:lnTo>
                  <a:pt x="639" y="854"/>
                </a:lnTo>
                <a:lnTo>
                  <a:pt x="651" y="845"/>
                </a:lnTo>
                <a:lnTo>
                  <a:pt x="660" y="835"/>
                </a:lnTo>
                <a:lnTo>
                  <a:pt x="670" y="826"/>
                </a:lnTo>
                <a:lnTo>
                  <a:pt x="677" y="816"/>
                </a:lnTo>
                <a:lnTo>
                  <a:pt x="684" y="806"/>
                </a:lnTo>
                <a:lnTo>
                  <a:pt x="689" y="797"/>
                </a:lnTo>
                <a:lnTo>
                  <a:pt x="693" y="787"/>
                </a:lnTo>
                <a:lnTo>
                  <a:pt x="699" y="771"/>
                </a:lnTo>
                <a:lnTo>
                  <a:pt x="703" y="755"/>
                </a:lnTo>
                <a:lnTo>
                  <a:pt x="704" y="740"/>
                </a:lnTo>
                <a:lnTo>
                  <a:pt x="705" y="725"/>
                </a:lnTo>
                <a:lnTo>
                  <a:pt x="704" y="711"/>
                </a:lnTo>
                <a:lnTo>
                  <a:pt x="702" y="698"/>
                </a:lnTo>
                <a:lnTo>
                  <a:pt x="699" y="688"/>
                </a:lnTo>
                <a:lnTo>
                  <a:pt x="694" y="678"/>
                </a:lnTo>
                <a:lnTo>
                  <a:pt x="709" y="663"/>
                </a:lnTo>
                <a:lnTo>
                  <a:pt x="715" y="658"/>
                </a:lnTo>
                <a:lnTo>
                  <a:pt x="719" y="652"/>
                </a:lnTo>
                <a:lnTo>
                  <a:pt x="722" y="646"/>
                </a:lnTo>
                <a:lnTo>
                  <a:pt x="727" y="640"/>
                </a:lnTo>
                <a:lnTo>
                  <a:pt x="729" y="633"/>
                </a:lnTo>
                <a:lnTo>
                  <a:pt x="731" y="626"/>
                </a:lnTo>
                <a:lnTo>
                  <a:pt x="732" y="619"/>
                </a:lnTo>
                <a:lnTo>
                  <a:pt x="733" y="612"/>
                </a:lnTo>
                <a:lnTo>
                  <a:pt x="733" y="604"/>
                </a:lnTo>
                <a:lnTo>
                  <a:pt x="732" y="597"/>
                </a:lnTo>
                <a:lnTo>
                  <a:pt x="731" y="590"/>
                </a:lnTo>
                <a:lnTo>
                  <a:pt x="729" y="583"/>
                </a:lnTo>
                <a:lnTo>
                  <a:pt x="725" y="576"/>
                </a:lnTo>
                <a:lnTo>
                  <a:pt x="722" y="571"/>
                </a:lnTo>
                <a:lnTo>
                  <a:pt x="718" y="566"/>
                </a:lnTo>
                <a:lnTo>
                  <a:pt x="714" y="560"/>
                </a:lnTo>
                <a:lnTo>
                  <a:pt x="655" y="502"/>
                </a:lnTo>
                <a:lnTo>
                  <a:pt x="651" y="497"/>
                </a:lnTo>
                <a:lnTo>
                  <a:pt x="645" y="493"/>
                </a:lnTo>
                <a:lnTo>
                  <a:pt x="639" y="490"/>
                </a:lnTo>
                <a:lnTo>
                  <a:pt x="633" y="487"/>
                </a:lnTo>
                <a:lnTo>
                  <a:pt x="627" y="484"/>
                </a:lnTo>
                <a:lnTo>
                  <a:pt x="621" y="483"/>
                </a:lnTo>
                <a:lnTo>
                  <a:pt x="614" y="482"/>
                </a:lnTo>
                <a:lnTo>
                  <a:pt x="607" y="482"/>
                </a:lnTo>
                <a:lnTo>
                  <a:pt x="599" y="482"/>
                </a:lnTo>
                <a:lnTo>
                  <a:pt x="592" y="483"/>
                </a:lnTo>
                <a:lnTo>
                  <a:pt x="584" y="486"/>
                </a:lnTo>
                <a:lnTo>
                  <a:pt x="578" y="489"/>
                </a:lnTo>
                <a:lnTo>
                  <a:pt x="570" y="492"/>
                </a:lnTo>
                <a:lnTo>
                  <a:pt x="564" y="495"/>
                </a:lnTo>
                <a:lnTo>
                  <a:pt x="558" y="501"/>
                </a:lnTo>
                <a:lnTo>
                  <a:pt x="551" y="506"/>
                </a:lnTo>
                <a:lnTo>
                  <a:pt x="539" y="518"/>
                </a:lnTo>
                <a:lnTo>
                  <a:pt x="518" y="499"/>
                </a:lnTo>
                <a:lnTo>
                  <a:pt x="498" y="481"/>
                </a:lnTo>
                <a:lnTo>
                  <a:pt x="476" y="462"/>
                </a:lnTo>
                <a:lnTo>
                  <a:pt x="457" y="443"/>
                </a:lnTo>
                <a:lnTo>
                  <a:pt x="437" y="422"/>
                </a:lnTo>
                <a:lnTo>
                  <a:pt x="417" y="402"/>
                </a:lnTo>
                <a:lnTo>
                  <a:pt x="399" y="381"/>
                </a:lnTo>
                <a:lnTo>
                  <a:pt x="381" y="359"/>
                </a:lnTo>
                <a:lnTo>
                  <a:pt x="393" y="348"/>
                </a:lnTo>
                <a:lnTo>
                  <a:pt x="398" y="342"/>
                </a:lnTo>
                <a:lnTo>
                  <a:pt x="402" y="336"/>
                </a:lnTo>
                <a:lnTo>
                  <a:pt x="407" y="330"/>
                </a:lnTo>
                <a:lnTo>
                  <a:pt x="410" y="324"/>
                </a:lnTo>
                <a:lnTo>
                  <a:pt x="413" y="317"/>
                </a:lnTo>
                <a:lnTo>
                  <a:pt x="415" y="310"/>
                </a:lnTo>
                <a:lnTo>
                  <a:pt x="416" y="303"/>
                </a:lnTo>
                <a:lnTo>
                  <a:pt x="417" y="296"/>
                </a:lnTo>
                <a:lnTo>
                  <a:pt x="417" y="289"/>
                </a:lnTo>
                <a:lnTo>
                  <a:pt x="416" y="281"/>
                </a:lnTo>
                <a:lnTo>
                  <a:pt x="415" y="274"/>
                </a:lnTo>
                <a:lnTo>
                  <a:pt x="413" y="267"/>
                </a:lnTo>
                <a:lnTo>
                  <a:pt x="410" y="261"/>
                </a:lnTo>
                <a:lnTo>
                  <a:pt x="407" y="254"/>
                </a:lnTo>
                <a:lnTo>
                  <a:pt x="402" y="249"/>
                </a:lnTo>
                <a:lnTo>
                  <a:pt x="398" y="244"/>
                </a:lnTo>
                <a:lnTo>
                  <a:pt x="339" y="185"/>
                </a:lnTo>
                <a:lnTo>
                  <a:pt x="334" y="181"/>
                </a:lnTo>
                <a:lnTo>
                  <a:pt x="329" y="177"/>
                </a:lnTo>
                <a:lnTo>
                  <a:pt x="323" y="174"/>
                </a:lnTo>
                <a:lnTo>
                  <a:pt x="317" y="171"/>
                </a:lnTo>
                <a:lnTo>
                  <a:pt x="312" y="169"/>
                </a:lnTo>
                <a:lnTo>
                  <a:pt x="305" y="168"/>
                </a:lnTo>
                <a:lnTo>
                  <a:pt x="298" y="167"/>
                </a:lnTo>
                <a:lnTo>
                  <a:pt x="291" y="166"/>
                </a:lnTo>
                <a:lnTo>
                  <a:pt x="284" y="167"/>
                </a:lnTo>
                <a:lnTo>
                  <a:pt x="276" y="168"/>
                </a:lnTo>
                <a:lnTo>
                  <a:pt x="269" y="170"/>
                </a:lnTo>
                <a:lnTo>
                  <a:pt x="261" y="172"/>
                </a:lnTo>
                <a:lnTo>
                  <a:pt x="255" y="175"/>
                </a:lnTo>
                <a:lnTo>
                  <a:pt x="247" y="180"/>
                </a:lnTo>
                <a:lnTo>
                  <a:pt x="241" y="185"/>
                </a:lnTo>
                <a:lnTo>
                  <a:pt x="236" y="190"/>
                </a:lnTo>
                <a:lnTo>
                  <a:pt x="200" y="226"/>
                </a:lnTo>
                <a:lnTo>
                  <a:pt x="194" y="232"/>
                </a:lnTo>
                <a:lnTo>
                  <a:pt x="187" y="239"/>
                </a:lnTo>
                <a:lnTo>
                  <a:pt x="183" y="247"/>
                </a:lnTo>
                <a:lnTo>
                  <a:pt x="179" y="256"/>
                </a:lnTo>
                <a:lnTo>
                  <a:pt x="175" y="263"/>
                </a:lnTo>
                <a:lnTo>
                  <a:pt x="171" y="272"/>
                </a:lnTo>
                <a:lnTo>
                  <a:pt x="169" y="280"/>
                </a:lnTo>
                <a:lnTo>
                  <a:pt x="168" y="289"/>
                </a:lnTo>
                <a:lnTo>
                  <a:pt x="167" y="297"/>
                </a:lnTo>
                <a:lnTo>
                  <a:pt x="167" y="306"/>
                </a:lnTo>
                <a:lnTo>
                  <a:pt x="167" y="314"/>
                </a:lnTo>
                <a:lnTo>
                  <a:pt x="168" y="323"/>
                </a:lnTo>
                <a:lnTo>
                  <a:pt x="170" y="331"/>
                </a:lnTo>
                <a:lnTo>
                  <a:pt x="174" y="339"/>
                </a:lnTo>
                <a:lnTo>
                  <a:pt x="177" y="348"/>
                </a:lnTo>
                <a:lnTo>
                  <a:pt x="181" y="355"/>
                </a:lnTo>
                <a:lnTo>
                  <a:pt x="198" y="382"/>
                </a:lnTo>
                <a:lnTo>
                  <a:pt x="217" y="409"/>
                </a:lnTo>
                <a:lnTo>
                  <a:pt x="237" y="434"/>
                </a:lnTo>
                <a:lnTo>
                  <a:pt x="256" y="460"/>
                </a:lnTo>
                <a:lnTo>
                  <a:pt x="276" y="486"/>
                </a:lnTo>
                <a:lnTo>
                  <a:pt x="298" y="509"/>
                </a:lnTo>
                <a:lnTo>
                  <a:pt x="320" y="534"/>
                </a:lnTo>
                <a:lnTo>
                  <a:pt x="343" y="556"/>
                </a:lnTo>
                <a:lnTo>
                  <a:pt x="366" y="580"/>
                </a:lnTo>
                <a:lnTo>
                  <a:pt x="390" y="601"/>
                </a:lnTo>
                <a:lnTo>
                  <a:pt x="414" y="622"/>
                </a:lnTo>
                <a:lnTo>
                  <a:pt x="439" y="643"/>
                </a:lnTo>
                <a:lnTo>
                  <a:pt x="464" y="663"/>
                </a:lnTo>
                <a:lnTo>
                  <a:pt x="491" y="682"/>
                </a:lnTo>
                <a:lnTo>
                  <a:pt x="517" y="701"/>
                </a:lnTo>
                <a:lnTo>
                  <a:pt x="545" y="718"/>
                </a:lnTo>
                <a:lnTo>
                  <a:pt x="556" y="724"/>
                </a:lnTo>
                <a:lnTo>
                  <a:pt x="568" y="729"/>
                </a:lnTo>
                <a:lnTo>
                  <a:pt x="582" y="732"/>
                </a:lnTo>
                <a:lnTo>
                  <a:pt x="595" y="733"/>
                </a:lnTo>
                <a:lnTo>
                  <a:pt x="606" y="732"/>
                </a:lnTo>
                <a:lnTo>
                  <a:pt x="616" y="731"/>
                </a:lnTo>
                <a:lnTo>
                  <a:pt x="626" y="728"/>
                </a:lnTo>
                <a:lnTo>
                  <a:pt x="636" y="724"/>
                </a:lnTo>
                <a:lnTo>
                  <a:pt x="645" y="720"/>
                </a:lnTo>
                <a:lnTo>
                  <a:pt x="655" y="714"/>
                </a:lnTo>
                <a:lnTo>
                  <a:pt x="663" y="708"/>
                </a:lnTo>
                <a:lnTo>
                  <a:pt x="671" y="702"/>
                </a:lnTo>
                <a:lnTo>
                  <a:pt x="673" y="708"/>
                </a:lnTo>
                <a:lnTo>
                  <a:pt x="674" y="717"/>
                </a:lnTo>
                <a:lnTo>
                  <a:pt x="675" y="726"/>
                </a:lnTo>
                <a:lnTo>
                  <a:pt x="675" y="736"/>
                </a:lnTo>
                <a:lnTo>
                  <a:pt x="674" y="747"/>
                </a:lnTo>
                <a:lnTo>
                  <a:pt x="672" y="757"/>
                </a:lnTo>
                <a:lnTo>
                  <a:pt x="669" y="769"/>
                </a:lnTo>
                <a:lnTo>
                  <a:pt x="663" y="781"/>
                </a:lnTo>
                <a:lnTo>
                  <a:pt x="658" y="791"/>
                </a:lnTo>
                <a:lnTo>
                  <a:pt x="652" y="801"/>
                </a:lnTo>
                <a:lnTo>
                  <a:pt x="643" y="811"/>
                </a:lnTo>
                <a:lnTo>
                  <a:pt x="635" y="819"/>
                </a:lnTo>
                <a:lnTo>
                  <a:pt x="625" y="827"/>
                </a:lnTo>
                <a:lnTo>
                  <a:pt x="614" y="834"/>
                </a:lnTo>
                <a:lnTo>
                  <a:pt x="601" y="841"/>
                </a:lnTo>
                <a:lnTo>
                  <a:pt x="589" y="846"/>
                </a:lnTo>
                <a:lnTo>
                  <a:pt x="575" y="851"/>
                </a:lnTo>
                <a:lnTo>
                  <a:pt x="560" y="857"/>
                </a:lnTo>
                <a:lnTo>
                  <a:pt x="544" y="860"/>
                </a:lnTo>
                <a:lnTo>
                  <a:pt x="527" y="863"/>
                </a:lnTo>
                <a:lnTo>
                  <a:pt x="509" y="865"/>
                </a:lnTo>
                <a:lnTo>
                  <a:pt x="490" y="867"/>
                </a:lnTo>
                <a:lnTo>
                  <a:pt x="471" y="868"/>
                </a:lnTo>
                <a:lnTo>
                  <a:pt x="450" y="868"/>
                </a:lnTo>
                <a:lnTo>
                  <a:pt x="428" y="868"/>
                </a:lnTo>
                <a:lnTo>
                  <a:pt x="407" y="866"/>
                </a:lnTo>
                <a:lnTo>
                  <a:pt x="386" y="864"/>
                </a:lnTo>
                <a:lnTo>
                  <a:pt x="365" y="860"/>
                </a:lnTo>
                <a:lnTo>
                  <a:pt x="345" y="856"/>
                </a:lnTo>
                <a:lnTo>
                  <a:pt x="325" y="850"/>
                </a:lnTo>
                <a:lnTo>
                  <a:pt x="305" y="844"/>
                </a:lnTo>
                <a:lnTo>
                  <a:pt x="287" y="836"/>
                </a:lnTo>
                <a:lnTo>
                  <a:pt x="268" y="828"/>
                </a:lnTo>
                <a:lnTo>
                  <a:pt x="249" y="818"/>
                </a:lnTo>
                <a:lnTo>
                  <a:pt x="232" y="809"/>
                </a:lnTo>
                <a:lnTo>
                  <a:pt x="215" y="797"/>
                </a:lnTo>
                <a:lnTo>
                  <a:pt x="199" y="785"/>
                </a:lnTo>
                <a:lnTo>
                  <a:pt x="183" y="773"/>
                </a:lnTo>
                <a:lnTo>
                  <a:pt x="168" y="759"/>
                </a:lnTo>
                <a:lnTo>
                  <a:pt x="153" y="745"/>
                </a:lnTo>
                <a:lnTo>
                  <a:pt x="139" y="732"/>
                </a:lnTo>
                <a:lnTo>
                  <a:pt x="126" y="717"/>
                </a:lnTo>
                <a:lnTo>
                  <a:pt x="114" y="701"/>
                </a:lnTo>
                <a:lnTo>
                  <a:pt x="102" y="683"/>
                </a:lnTo>
                <a:lnTo>
                  <a:pt x="91" y="666"/>
                </a:lnTo>
                <a:lnTo>
                  <a:pt x="80" y="649"/>
                </a:lnTo>
                <a:lnTo>
                  <a:pt x="72" y="631"/>
                </a:lnTo>
                <a:lnTo>
                  <a:pt x="63" y="613"/>
                </a:lnTo>
                <a:lnTo>
                  <a:pt x="56" y="594"/>
                </a:lnTo>
                <a:lnTo>
                  <a:pt x="49" y="574"/>
                </a:lnTo>
                <a:lnTo>
                  <a:pt x="43" y="554"/>
                </a:lnTo>
                <a:lnTo>
                  <a:pt x="39" y="534"/>
                </a:lnTo>
                <a:lnTo>
                  <a:pt x="34" y="513"/>
                </a:lnTo>
                <a:lnTo>
                  <a:pt x="32" y="492"/>
                </a:lnTo>
                <a:lnTo>
                  <a:pt x="30" y="471"/>
                </a:lnTo>
                <a:lnTo>
                  <a:pt x="30" y="449"/>
                </a:lnTo>
                <a:lnTo>
                  <a:pt x="30" y="428"/>
                </a:lnTo>
                <a:lnTo>
                  <a:pt x="32" y="406"/>
                </a:lnTo>
                <a:lnTo>
                  <a:pt x="34" y="386"/>
                </a:lnTo>
                <a:lnTo>
                  <a:pt x="39" y="365"/>
                </a:lnTo>
                <a:lnTo>
                  <a:pt x="43" y="344"/>
                </a:lnTo>
                <a:lnTo>
                  <a:pt x="49" y="325"/>
                </a:lnTo>
                <a:lnTo>
                  <a:pt x="56" y="305"/>
                </a:lnTo>
                <a:lnTo>
                  <a:pt x="63" y="287"/>
                </a:lnTo>
                <a:lnTo>
                  <a:pt x="72" y="267"/>
                </a:lnTo>
                <a:lnTo>
                  <a:pt x="80" y="249"/>
                </a:lnTo>
                <a:lnTo>
                  <a:pt x="91" y="232"/>
                </a:lnTo>
                <a:lnTo>
                  <a:pt x="102" y="215"/>
                </a:lnTo>
                <a:lnTo>
                  <a:pt x="114" y="199"/>
                </a:lnTo>
                <a:lnTo>
                  <a:pt x="126" y="183"/>
                </a:lnTo>
                <a:lnTo>
                  <a:pt x="139" y="168"/>
                </a:lnTo>
                <a:lnTo>
                  <a:pt x="153" y="153"/>
                </a:lnTo>
                <a:lnTo>
                  <a:pt x="168" y="139"/>
                </a:lnTo>
                <a:lnTo>
                  <a:pt x="183" y="126"/>
                </a:lnTo>
                <a:lnTo>
                  <a:pt x="199" y="113"/>
                </a:lnTo>
                <a:lnTo>
                  <a:pt x="215" y="102"/>
                </a:lnTo>
                <a:lnTo>
                  <a:pt x="232" y="91"/>
                </a:lnTo>
                <a:lnTo>
                  <a:pt x="249" y="80"/>
                </a:lnTo>
                <a:lnTo>
                  <a:pt x="268" y="72"/>
                </a:lnTo>
                <a:lnTo>
                  <a:pt x="287" y="63"/>
                </a:lnTo>
                <a:lnTo>
                  <a:pt x="305" y="56"/>
                </a:lnTo>
                <a:lnTo>
                  <a:pt x="325" y="49"/>
                </a:lnTo>
                <a:lnTo>
                  <a:pt x="345" y="43"/>
                </a:lnTo>
                <a:lnTo>
                  <a:pt x="365" y="38"/>
                </a:lnTo>
                <a:lnTo>
                  <a:pt x="386" y="34"/>
                </a:lnTo>
                <a:lnTo>
                  <a:pt x="407" y="32"/>
                </a:lnTo>
                <a:lnTo>
                  <a:pt x="428" y="30"/>
                </a:lnTo>
                <a:lnTo>
                  <a:pt x="450" y="30"/>
                </a:lnTo>
                <a:lnTo>
                  <a:pt x="471" y="30"/>
                </a:lnTo>
                <a:lnTo>
                  <a:pt x="492" y="32"/>
                </a:lnTo>
                <a:lnTo>
                  <a:pt x="514" y="34"/>
                </a:lnTo>
                <a:lnTo>
                  <a:pt x="534" y="38"/>
                </a:lnTo>
                <a:lnTo>
                  <a:pt x="554" y="43"/>
                </a:lnTo>
                <a:lnTo>
                  <a:pt x="575" y="49"/>
                </a:lnTo>
                <a:lnTo>
                  <a:pt x="594" y="56"/>
                </a:lnTo>
                <a:lnTo>
                  <a:pt x="613" y="63"/>
                </a:lnTo>
                <a:lnTo>
                  <a:pt x="631" y="72"/>
                </a:lnTo>
                <a:lnTo>
                  <a:pt x="650" y="80"/>
                </a:lnTo>
                <a:lnTo>
                  <a:pt x="667" y="91"/>
                </a:lnTo>
                <a:lnTo>
                  <a:pt x="684" y="102"/>
                </a:lnTo>
                <a:lnTo>
                  <a:pt x="701" y="113"/>
                </a:lnTo>
                <a:lnTo>
                  <a:pt x="717" y="126"/>
                </a:lnTo>
                <a:lnTo>
                  <a:pt x="732" y="139"/>
                </a:lnTo>
                <a:lnTo>
                  <a:pt x="746" y="153"/>
                </a:lnTo>
                <a:lnTo>
                  <a:pt x="760" y="168"/>
                </a:lnTo>
                <a:lnTo>
                  <a:pt x="774" y="183"/>
                </a:lnTo>
                <a:lnTo>
                  <a:pt x="785" y="199"/>
                </a:lnTo>
                <a:lnTo>
                  <a:pt x="797" y="215"/>
                </a:lnTo>
                <a:lnTo>
                  <a:pt x="809" y="232"/>
                </a:lnTo>
                <a:lnTo>
                  <a:pt x="819" y="249"/>
                </a:lnTo>
                <a:lnTo>
                  <a:pt x="828" y="267"/>
                </a:lnTo>
                <a:lnTo>
                  <a:pt x="837" y="287"/>
                </a:lnTo>
                <a:lnTo>
                  <a:pt x="844" y="305"/>
                </a:lnTo>
                <a:lnTo>
                  <a:pt x="851" y="325"/>
                </a:lnTo>
                <a:lnTo>
                  <a:pt x="856" y="344"/>
                </a:lnTo>
                <a:lnTo>
                  <a:pt x="861" y="365"/>
                </a:lnTo>
                <a:lnTo>
                  <a:pt x="865" y="386"/>
                </a:lnTo>
                <a:lnTo>
                  <a:pt x="867" y="406"/>
                </a:lnTo>
                <a:lnTo>
                  <a:pt x="869" y="428"/>
                </a:lnTo>
                <a:lnTo>
                  <a:pt x="869" y="449"/>
                </a:lnTo>
                <a:lnTo>
                  <a:pt x="869" y="465"/>
                </a:lnTo>
                <a:lnTo>
                  <a:pt x="868" y="481"/>
                </a:lnTo>
                <a:lnTo>
                  <a:pt x="867" y="497"/>
                </a:lnTo>
                <a:lnTo>
                  <a:pt x="865" y="512"/>
                </a:lnTo>
                <a:lnTo>
                  <a:pt x="862" y="528"/>
                </a:lnTo>
                <a:lnTo>
                  <a:pt x="859" y="543"/>
                </a:lnTo>
                <a:lnTo>
                  <a:pt x="855" y="558"/>
                </a:lnTo>
                <a:lnTo>
                  <a:pt x="851" y="573"/>
                </a:lnTo>
                <a:lnTo>
                  <a:pt x="845" y="588"/>
                </a:lnTo>
                <a:lnTo>
                  <a:pt x="840" y="603"/>
                </a:lnTo>
                <a:lnTo>
                  <a:pt x="835" y="617"/>
                </a:lnTo>
                <a:lnTo>
                  <a:pt x="828" y="632"/>
                </a:lnTo>
                <a:lnTo>
                  <a:pt x="821" y="646"/>
                </a:lnTo>
                <a:lnTo>
                  <a:pt x="813" y="660"/>
                </a:lnTo>
                <a:lnTo>
                  <a:pt x="805" y="673"/>
                </a:lnTo>
                <a:lnTo>
                  <a:pt x="796" y="687"/>
                </a:lnTo>
                <a:lnTo>
                  <a:pt x="795" y="689"/>
                </a:lnTo>
                <a:lnTo>
                  <a:pt x="794" y="692"/>
                </a:lnTo>
                <a:lnTo>
                  <a:pt x="793" y="695"/>
                </a:lnTo>
                <a:lnTo>
                  <a:pt x="794" y="697"/>
                </a:lnTo>
                <a:lnTo>
                  <a:pt x="794" y="701"/>
                </a:lnTo>
                <a:lnTo>
                  <a:pt x="796" y="703"/>
                </a:lnTo>
                <a:lnTo>
                  <a:pt x="797" y="705"/>
                </a:lnTo>
                <a:lnTo>
                  <a:pt x="800" y="707"/>
                </a:lnTo>
                <a:lnTo>
                  <a:pt x="803" y="709"/>
                </a:lnTo>
                <a:lnTo>
                  <a:pt x="806" y="710"/>
                </a:lnTo>
                <a:lnTo>
                  <a:pt x="808" y="710"/>
                </a:lnTo>
                <a:lnTo>
                  <a:pt x="811" y="710"/>
                </a:lnTo>
                <a:lnTo>
                  <a:pt x="814" y="709"/>
                </a:lnTo>
                <a:lnTo>
                  <a:pt x="816" y="708"/>
                </a:lnTo>
                <a:lnTo>
                  <a:pt x="819" y="706"/>
                </a:lnTo>
                <a:lnTo>
                  <a:pt x="821" y="704"/>
                </a:lnTo>
                <a:lnTo>
                  <a:pt x="830" y="689"/>
                </a:lnTo>
                <a:lnTo>
                  <a:pt x="839" y="675"/>
                </a:lnTo>
                <a:lnTo>
                  <a:pt x="847" y="660"/>
                </a:lnTo>
                <a:lnTo>
                  <a:pt x="855" y="645"/>
                </a:lnTo>
                <a:lnTo>
                  <a:pt x="861" y="630"/>
                </a:lnTo>
                <a:lnTo>
                  <a:pt x="868" y="614"/>
                </a:lnTo>
                <a:lnTo>
                  <a:pt x="874" y="599"/>
                </a:lnTo>
                <a:lnTo>
                  <a:pt x="880" y="583"/>
                </a:lnTo>
                <a:lnTo>
                  <a:pt x="884" y="567"/>
                </a:lnTo>
                <a:lnTo>
                  <a:pt x="888" y="550"/>
                </a:lnTo>
                <a:lnTo>
                  <a:pt x="891" y="534"/>
                </a:lnTo>
                <a:lnTo>
                  <a:pt x="894" y="517"/>
                </a:lnTo>
                <a:lnTo>
                  <a:pt x="897" y="501"/>
                </a:lnTo>
                <a:lnTo>
                  <a:pt x="898" y="483"/>
                </a:lnTo>
                <a:lnTo>
                  <a:pt x="899" y="466"/>
                </a:lnTo>
                <a:lnTo>
                  <a:pt x="900" y="449"/>
                </a:lnTo>
                <a:lnTo>
                  <a:pt x="899" y="427"/>
                </a:lnTo>
                <a:lnTo>
                  <a:pt x="897" y="403"/>
                </a:lnTo>
                <a:lnTo>
                  <a:pt x="894" y="381"/>
                </a:lnTo>
                <a:lnTo>
                  <a:pt x="890" y="359"/>
                </a:lnTo>
                <a:lnTo>
                  <a:pt x="885" y="337"/>
                </a:lnTo>
                <a:lnTo>
                  <a:pt x="880" y="315"/>
                </a:lnTo>
                <a:lnTo>
                  <a:pt x="872" y="295"/>
                </a:lnTo>
                <a:lnTo>
                  <a:pt x="863" y="275"/>
                </a:lnTo>
                <a:lnTo>
                  <a:pt x="855" y="254"/>
                </a:lnTo>
                <a:lnTo>
                  <a:pt x="845" y="235"/>
                </a:lnTo>
                <a:lnTo>
                  <a:pt x="835" y="216"/>
                </a:lnTo>
                <a:lnTo>
                  <a:pt x="823" y="198"/>
                </a:lnTo>
                <a:lnTo>
                  <a:pt x="810" y="181"/>
                </a:lnTo>
                <a:lnTo>
                  <a:pt x="796" y="164"/>
                </a:lnTo>
                <a:lnTo>
                  <a:pt x="782" y="148"/>
                </a:lnTo>
                <a:lnTo>
                  <a:pt x="767" y="131"/>
                </a:lnTo>
                <a:lnTo>
                  <a:pt x="752" y="116"/>
                </a:lnTo>
                <a:lnTo>
                  <a:pt x="735" y="103"/>
                </a:lnTo>
                <a:lnTo>
                  <a:pt x="719" y="90"/>
                </a:lnTo>
                <a:lnTo>
                  <a:pt x="701" y="77"/>
                </a:lnTo>
                <a:lnTo>
                  <a:pt x="683" y="65"/>
                </a:lnTo>
                <a:lnTo>
                  <a:pt x="663" y="54"/>
                </a:lnTo>
                <a:lnTo>
                  <a:pt x="644" y="44"/>
                </a:lnTo>
                <a:lnTo>
                  <a:pt x="625" y="35"/>
                </a:lnTo>
                <a:lnTo>
                  <a:pt x="605" y="27"/>
                </a:lnTo>
                <a:lnTo>
                  <a:pt x="583" y="20"/>
                </a:lnTo>
                <a:lnTo>
                  <a:pt x="562" y="14"/>
                </a:lnTo>
                <a:lnTo>
                  <a:pt x="540" y="8"/>
                </a:lnTo>
                <a:lnTo>
                  <a:pt x="518" y="5"/>
                </a:lnTo>
                <a:lnTo>
                  <a:pt x="496" y="2"/>
                </a:lnTo>
                <a:lnTo>
                  <a:pt x="473" y="0"/>
                </a:lnTo>
                <a:lnTo>
                  <a:pt x="450" y="0"/>
                </a:lnTo>
                <a:lnTo>
                  <a:pt x="450"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473" name="Freeform 168">
            <a:extLst>
              <a:ext uri="{FF2B5EF4-FFF2-40B4-BE49-F238E27FC236}">
                <a16:creationId xmlns:a16="http://schemas.microsoft.com/office/drawing/2014/main" id="{F9BEAF0F-7C99-4046-9C63-B19451CC1A26}"/>
              </a:ext>
            </a:extLst>
          </p:cNvPr>
          <p:cNvSpPr>
            <a:spLocks noChangeAspect="1" noEditPoints="1"/>
          </p:cNvSpPr>
          <p:nvPr/>
        </p:nvSpPr>
        <p:spPr bwMode="auto">
          <a:xfrm>
            <a:off x="1478842" y="3801969"/>
            <a:ext cx="285619" cy="285619"/>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804" name="Group 77">
            <a:extLst>
              <a:ext uri="{FF2B5EF4-FFF2-40B4-BE49-F238E27FC236}">
                <a16:creationId xmlns:a16="http://schemas.microsoft.com/office/drawing/2014/main" id="{45A53BC4-D307-4281-A5D6-80C85B44DBEB}"/>
              </a:ext>
            </a:extLst>
          </p:cNvPr>
          <p:cNvGrpSpPr>
            <a:grpSpLocks noChangeAspect="1"/>
          </p:cNvGrpSpPr>
          <p:nvPr/>
        </p:nvGrpSpPr>
        <p:grpSpPr>
          <a:xfrm>
            <a:off x="1907592" y="3824501"/>
            <a:ext cx="258211" cy="240555"/>
            <a:chOff x="-619125" y="2546350"/>
            <a:chExt cx="371475" cy="346075"/>
          </a:xfrm>
          <a:solidFill>
            <a:schemeClr val="bg2"/>
          </a:solidFill>
        </p:grpSpPr>
        <p:sp>
          <p:nvSpPr>
            <p:cNvPr id="1805" name="Freeform 10">
              <a:extLst>
                <a:ext uri="{FF2B5EF4-FFF2-40B4-BE49-F238E27FC236}">
                  <a16:creationId xmlns:a16="http://schemas.microsoft.com/office/drawing/2014/main" id="{06811F6F-7B82-4AA9-B471-BE18459210E9}"/>
                </a:ext>
              </a:extLst>
            </p:cNvPr>
            <p:cNvSpPr>
              <a:spLocks noEditPoints="1"/>
            </p:cNvSpPr>
            <p:nvPr/>
          </p:nvSpPr>
          <p:spPr bwMode="auto">
            <a:xfrm>
              <a:off x="-619125" y="2546350"/>
              <a:ext cx="371475" cy="144463"/>
            </a:xfrm>
            <a:custGeom>
              <a:avLst/>
              <a:gdLst>
                <a:gd name="T0" fmla="*/ 86 w 96"/>
                <a:gd name="T1" fmla="*/ 37 h 37"/>
                <a:gd name="T2" fmla="*/ 74 w 96"/>
                <a:gd name="T3" fmla="*/ 37 h 37"/>
                <a:gd name="T4" fmla="*/ 64 w 96"/>
                <a:gd name="T5" fmla="*/ 27 h 37"/>
                <a:gd name="T6" fmla="*/ 64 w 96"/>
                <a:gd name="T7" fmla="*/ 23 h 37"/>
                <a:gd name="T8" fmla="*/ 32 w 96"/>
                <a:gd name="T9" fmla="*/ 23 h 37"/>
                <a:gd name="T10" fmla="*/ 32 w 96"/>
                <a:gd name="T11" fmla="*/ 27 h 37"/>
                <a:gd name="T12" fmla="*/ 22 w 96"/>
                <a:gd name="T13" fmla="*/ 37 h 37"/>
                <a:gd name="T14" fmla="*/ 10 w 96"/>
                <a:gd name="T15" fmla="*/ 37 h 37"/>
                <a:gd name="T16" fmla="*/ 0 w 96"/>
                <a:gd name="T17" fmla="*/ 27 h 37"/>
                <a:gd name="T18" fmla="*/ 0 w 96"/>
                <a:gd name="T19" fmla="*/ 19 h 37"/>
                <a:gd name="T20" fmla="*/ 12 w 96"/>
                <a:gd name="T21" fmla="*/ 5 h 37"/>
                <a:gd name="T22" fmla="*/ 84 w 96"/>
                <a:gd name="T23" fmla="*/ 5 h 37"/>
                <a:gd name="T24" fmla="*/ 96 w 96"/>
                <a:gd name="T25" fmla="*/ 19 h 37"/>
                <a:gd name="T26" fmla="*/ 96 w 96"/>
                <a:gd name="T27" fmla="*/ 27 h 37"/>
                <a:gd name="T28" fmla="*/ 86 w 96"/>
                <a:gd name="T29" fmla="*/ 37 h 37"/>
                <a:gd name="T30" fmla="*/ 48 w 96"/>
                <a:gd name="T31" fmla="*/ 18 h 37"/>
                <a:gd name="T32" fmla="*/ 66 w 96"/>
                <a:gd name="T33" fmla="*/ 19 h 37"/>
                <a:gd name="T34" fmla="*/ 68 w 96"/>
                <a:gd name="T35" fmla="*/ 21 h 37"/>
                <a:gd name="T36" fmla="*/ 68 w 96"/>
                <a:gd name="T37" fmla="*/ 27 h 37"/>
                <a:gd name="T38" fmla="*/ 74 w 96"/>
                <a:gd name="T39" fmla="*/ 33 h 37"/>
                <a:gd name="T40" fmla="*/ 86 w 96"/>
                <a:gd name="T41" fmla="*/ 33 h 37"/>
                <a:gd name="T42" fmla="*/ 92 w 96"/>
                <a:gd name="T43" fmla="*/ 27 h 37"/>
                <a:gd name="T44" fmla="*/ 92 w 96"/>
                <a:gd name="T45" fmla="*/ 19 h 37"/>
                <a:gd name="T46" fmla="*/ 84 w 96"/>
                <a:gd name="T47" fmla="*/ 9 h 37"/>
                <a:gd name="T48" fmla="*/ 12 w 96"/>
                <a:gd name="T49" fmla="*/ 9 h 37"/>
                <a:gd name="T50" fmla="*/ 4 w 96"/>
                <a:gd name="T51" fmla="*/ 19 h 37"/>
                <a:gd name="T52" fmla="*/ 4 w 96"/>
                <a:gd name="T53" fmla="*/ 27 h 37"/>
                <a:gd name="T54" fmla="*/ 10 w 96"/>
                <a:gd name="T55" fmla="*/ 33 h 37"/>
                <a:gd name="T56" fmla="*/ 22 w 96"/>
                <a:gd name="T57" fmla="*/ 33 h 37"/>
                <a:gd name="T58" fmla="*/ 28 w 96"/>
                <a:gd name="T59" fmla="*/ 27 h 37"/>
                <a:gd name="T60" fmla="*/ 28 w 96"/>
                <a:gd name="T61" fmla="*/ 21 h 37"/>
                <a:gd name="T62" fmla="*/ 30 w 96"/>
                <a:gd name="T63" fmla="*/ 19 h 37"/>
                <a:gd name="T64" fmla="*/ 48 w 96"/>
                <a:gd name="T65"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7">
                  <a:moveTo>
                    <a:pt x="86" y="37"/>
                  </a:moveTo>
                  <a:cubicBezTo>
                    <a:pt x="74" y="37"/>
                    <a:pt x="74" y="37"/>
                    <a:pt x="74" y="37"/>
                  </a:cubicBezTo>
                  <a:cubicBezTo>
                    <a:pt x="68" y="37"/>
                    <a:pt x="64" y="33"/>
                    <a:pt x="64" y="27"/>
                  </a:cubicBezTo>
                  <a:cubicBezTo>
                    <a:pt x="64" y="23"/>
                    <a:pt x="64" y="23"/>
                    <a:pt x="64" y="23"/>
                  </a:cubicBezTo>
                  <a:cubicBezTo>
                    <a:pt x="53" y="22"/>
                    <a:pt x="43" y="22"/>
                    <a:pt x="32" y="23"/>
                  </a:cubicBezTo>
                  <a:cubicBezTo>
                    <a:pt x="32" y="27"/>
                    <a:pt x="32" y="27"/>
                    <a:pt x="32" y="27"/>
                  </a:cubicBezTo>
                  <a:cubicBezTo>
                    <a:pt x="32" y="33"/>
                    <a:pt x="28" y="37"/>
                    <a:pt x="22" y="37"/>
                  </a:cubicBezTo>
                  <a:cubicBezTo>
                    <a:pt x="10" y="37"/>
                    <a:pt x="10" y="37"/>
                    <a:pt x="10" y="37"/>
                  </a:cubicBezTo>
                  <a:cubicBezTo>
                    <a:pt x="4" y="37"/>
                    <a:pt x="0" y="33"/>
                    <a:pt x="0" y="27"/>
                  </a:cubicBezTo>
                  <a:cubicBezTo>
                    <a:pt x="0" y="19"/>
                    <a:pt x="0" y="19"/>
                    <a:pt x="0" y="19"/>
                  </a:cubicBezTo>
                  <a:cubicBezTo>
                    <a:pt x="0" y="12"/>
                    <a:pt x="5" y="6"/>
                    <a:pt x="12" y="5"/>
                  </a:cubicBezTo>
                  <a:cubicBezTo>
                    <a:pt x="36" y="0"/>
                    <a:pt x="60" y="0"/>
                    <a:pt x="84" y="5"/>
                  </a:cubicBezTo>
                  <a:cubicBezTo>
                    <a:pt x="91" y="6"/>
                    <a:pt x="96" y="12"/>
                    <a:pt x="96" y="19"/>
                  </a:cubicBezTo>
                  <a:cubicBezTo>
                    <a:pt x="96" y="27"/>
                    <a:pt x="96" y="27"/>
                    <a:pt x="96" y="27"/>
                  </a:cubicBezTo>
                  <a:cubicBezTo>
                    <a:pt x="96" y="33"/>
                    <a:pt x="92" y="37"/>
                    <a:pt x="86" y="37"/>
                  </a:cubicBezTo>
                  <a:close/>
                  <a:moveTo>
                    <a:pt x="48" y="18"/>
                  </a:moveTo>
                  <a:cubicBezTo>
                    <a:pt x="54" y="18"/>
                    <a:pt x="60" y="18"/>
                    <a:pt x="66" y="19"/>
                  </a:cubicBezTo>
                  <a:cubicBezTo>
                    <a:pt x="67" y="19"/>
                    <a:pt x="68" y="20"/>
                    <a:pt x="68" y="21"/>
                  </a:cubicBezTo>
                  <a:cubicBezTo>
                    <a:pt x="68" y="27"/>
                    <a:pt x="68" y="27"/>
                    <a:pt x="68" y="27"/>
                  </a:cubicBezTo>
                  <a:cubicBezTo>
                    <a:pt x="68" y="30"/>
                    <a:pt x="71" y="33"/>
                    <a:pt x="74" y="33"/>
                  </a:cubicBezTo>
                  <a:cubicBezTo>
                    <a:pt x="86" y="33"/>
                    <a:pt x="86" y="33"/>
                    <a:pt x="86" y="33"/>
                  </a:cubicBezTo>
                  <a:cubicBezTo>
                    <a:pt x="89" y="33"/>
                    <a:pt x="92" y="30"/>
                    <a:pt x="92" y="27"/>
                  </a:cubicBezTo>
                  <a:cubicBezTo>
                    <a:pt x="92" y="19"/>
                    <a:pt x="92" y="19"/>
                    <a:pt x="92" y="19"/>
                  </a:cubicBezTo>
                  <a:cubicBezTo>
                    <a:pt x="92" y="14"/>
                    <a:pt x="88" y="10"/>
                    <a:pt x="84" y="9"/>
                  </a:cubicBezTo>
                  <a:cubicBezTo>
                    <a:pt x="60" y="4"/>
                    <a:pt x="36" y="4"/>
                    <a:pt x="12" y="9"/>
                  </a:cubicBezTo>
                  <a:cubicBezTo>
                    <a:pt x="8" y="10"/>
                    <a:pt x="4" y="14"/>
                    <a:pt x="4" y="19"/>
                  </a:cubicBezTo>
                  <a:cubicBezTo>
                    <a:pt x="4" y="27"/>
                    <a:pt x="4" y="27"/>
                    <a:pt x="4" y="27"/>
                  </a:cubicBezTo>
                  <a:cubicBezTo>
                    <a:pt x="4" y="30"/>
                    <a:pt x="7" y="33"/>
                    <a:pt x="10" y="33"/>
                  </a:cubicBezTo>
                  <a:cubicBezTo>
                    <a:pt x="22" y="33"/>
                    <a:pt x="22" y="33"/>
                    <a:pt x="22" y="33"/>
                  </a:cubicBezTo>
                  <a:cubicBezTo>
                    <a:pt x="25" y="33"/>
                    <a:pt x="28" y="30"/>
                    <a:pt x="28" y="27"/>
                  </a:cubicBezTo>
                  <a:cubicBezTo>
                    <a:pt x="28" y="21"/>
                    <a:pt x="28" y="21"/>
                    <a:pt x="28" y="21"/>
                  </a:cubicBezTo>
                  <a:cubicBezTo>
                    <a:pt x="28" y="20"/>
                    <a:pt x="29" y="19"/>
                    <a:pt x="30" y="19"/>
                  </a:cubicBezTo>
                  <a:cubicBezTo>
                    <a:pt x="36" y="18"/>
                    <a:pt x="42" y="18"/>
                    <a:pt x="4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6" name="Freeform 11">
              <a:extLst>
                <a:ext uri="{FF2B5EF4-FFF2-40B4-BE49-F238E27FC236}">
                  <a16:creationId xmlns:a16="http://schemas.microsoft.com/office/drawing/2014/main" id="{F69E9477-DC85-4E60-B5BE-2A2603883DAC}"/>
                </a:ext>
              </a:extLst>
            </p:cNvPr>
            <p:cNvSpPr>
              <a:spLocks noEditPoints="1"/>
            </p:cNvSpPr>
            <p:nvPr/>
          </p:nvSpPr>
          <p:spPr bwMode="auto">
            <a:xfrm>
              <a:off x="-541338"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7" name="Freeform 12">
              <a:extLst>
                <a:ext uri="{FF2B5EF4-FFF2-40B4-BE49-F238E27FC236}">
                  <a16:creationId xmlns:a16="http://schemas.microsoft.com/office/drawing/2014/main" id="{66FA6387-A6DD-4DF4-B0DC-4959DCDBC8C1}"/>
                </a:ext>
              </a:extLst>
            </p:cNvPr>
            <p:cNvSpPr>
              <a:spLocks noEditPoints="1"/>
            </p:cNvSpPr>
            <p:nvPr/>
          </p:nvSpPr>
          <p:spPr bwMode="auto">
            <a:xfrm>
              <a:off x="-463550"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8" name="Freeform 13">
              <a:extLst>
                <a:ext uri="{FF2B5EF4-FFF2-40B4-BE49-F238E27FC236}">
                  <a16:creationId xmlns:a16="http://schemas.microsoft.com/office/drawing/2014/main" id="{03C65A5A-138B-4E95-AB34-5FAC61AA5708}"/>
                </a:ext>
              </a:extLst>
            </p:cNvPr>
            <p:cNvSpPr>
              <a:spLocks noEditPoints="1"/>
            </p:cNvSpPr>
            <p:nvPr/>
          </p:nvSpPr>
          <p:spPr bwMode="auto">
            <a:xfrm>
              <a:off x="-387350"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9" name="Freeform 14">
              <a:extLst>
                <a:ext uri="{FF2B5EF4-FFF2-40B4-BE49-F238E27FC236}">
                  <a16:creationId xmlns:a16="http://schemas.microsoft.com/office/drawing/2014/main" id="{F8F45951-8948-4C51-94BD-75F3450A3B89}"/>
                </a:ext>
              </a:extLst>
            </p:cNvPr>
            <p:cNvSpPr>
              <a:spLocks noEditPoints="1"/>
            </p:cNvSpPr>
            <p:nvPr/>
          </p:nvSpPr>
          <p:spPr bwMode="auto">
            <a:xfrm>
              <a:off x="-541338"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0" name="Freeform 15">
              <a:extLst>
                <a:ext uri="{FF2B5EF4-FFF2-40B4-BE49-F238E27FC236}">
                  <a16:creationId xmlns:a16="http://schemas.microsoft.com/office/drawing/2014/main" id="{78E7D0AB-12E1-485B-9E43-95069E86AC53}"/>
                </a:ext>
              </a:extLst>
            </p:cNvPr>
            <p:cNvSpPr>
              <a:spLocks noEditPoints="1"/>
            </p:cNvSpPr>
            <p:nvPr/>
          </p:nvSpPr>
          <p:spPr bwMode="auto">
            <a:xfrm>
              <a:off x="-463550"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1" name="Freeform 16">
              <a:extLst>
                <a:ext uri="{FF2B5EF4-FFF2-40B4-BE49-F238E27FC236}">
                  <a16:creationId xmlns:a16="http://schemas.microsoft.com/office/drawing/2014/main" id="{2D0FEC19-77B3-4FCC-820C-5AD42936295D}"/>
                </a:ext>
              </a:extLst>
            </p:cNvPr>
            <p:cNvSpPr>
              <a:spLocks noEditPoints="1"/>
            </p:cNvSpPr>
            <p:nvPr/>
          </p:nvSpPr>
          <p:spPr bwMode="auto">
            <a:xfrm>
              <a:off x="-387350"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2" name="Freeform 17">
              <a:extLst>
                <a:ext uri="{FF2B5EF4-FFF2-40B4-BE49-F238E27FC236}">
                  <a16:creationId xmlns:a16="http://schemas.microsoft.com/office/drawing/2014/main" id="{8FC7ECE5-A0EF-4B83-BA91-F8A365112800}"/>
                </a:ext>
              </a:extLst>
            </p:cNvPr>
            <p:cNvSpPr>
              <a:spLocks noEditPoints="1"/>
            </p:cNvSpPr>
            <p:nvPr/>
          </p:nvSpPr>
          <p:spPr bwMode="auto">
            <a:xfrm>
              <a:off x="-541338"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3" name="Freeform 18">
              <a:extLst>
                <a:ext uri="{FF2B5EF4-FFF2-40B4-BE49-F238E27FC236}">
                  <a16:creationId xmlns:a16="http://schemas.microsoft.com/office/drawing/2014/main" id="{E193A0C6-FB86-4347-AADF-9A5FD2271713}"/>
                </a:ext>
              </a:extLst>
            </p:cNvPr>
            <p:cNvSpPr>
              <a:spLocks noEditPoints="1"/>
            </p:cNvSpPr>
            <p:nvPr/>
          </p:nvSpPr>
          <p:spPr bwMode="auto">
            <a:xfrm>
              <a:off x="-463550"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4" name="Freeform 19">
              <a:extLst>
                <a:ext uri="{FF2B5EF4-FFF2-40B4-BE49-F238E27FC236}">
                  <a16:creationId xmlns:a16="http://schemas.microsoft.com/office/drawing/2014/main" id="{12830DED-E43E-463B-9DD6-345B8873E114}"/>
                </a:ext>
              </a:extLst>
            </p:cNvPr>
            <p:cNvSpPr>
              <a:spLocks noEditPoints="1"/>
            </p:cNvSpPr>
            <p:nvPr/>
          </p:nvSpPr>
          <p:spPr bwMode="auto">
            <a:xfrm>
              <a:off x="-387350"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74" name="Group 19">
            <a:extLst>
              <a:ext uri="{FF2B5EF4-FFF2-40B4-BE49-F238E27FC236}">
                <a16:creationId xmlns:a16="http://schemas.microsoft.com/office/drawing/2014/main" id="{E752D77E-960B-49C1-BD70-07C8625A7487}"/>
              </a:ext>
            </a:extLst>
          </p:cNvPr>
          <p:cNvGrpSpPr>
            <a:grpSpLocks noChangeAspect="1"/>
          </p:cNvGrpSpPr>
          <p:nvPr/>
        </p:nvGrpSpPr>
        <p:grpSpPr>
          <a:xfrm>
            <a:off x="284400" y="3263433"/>
            <a:ext cx="285619" cy="285619"/>
            <a:chOff x="8743951" y="1343025"/>
            <a:chExt cx="287338" cy="287338"/>
          </a:xfrm>
          <a:solidFill>
            <a:schemeClr val="bg2"/>
          </a:solidFill>
          <a:effectLst/>
        </p:grpSpPr>
        <p:sp>
          <p:nvSpPr>
            <p:cNvPr id="1075" name="Freeform 369">
              <a:extLst>
                <a:ext uri="{FF2B5EF4-FFF2-40B4-BE49-F238E27FC236}">
                  <a16:creationId xmlns:a16="http://schemas.microsoft.com/office/drawing/2014/main" id="{54411F7C-8D74-44F6-B561-F2D292C5CBCC}"/>
                </a:ext>
              </a:extLst>
            </p:cNvPr>
            <p:cNvSpPr>
              <a:spLocks noEditPoints="1"/>
            </p:cNvSpPr>
            <p:nvPr/>
          </p:nvSpPr>
          <p:spPr bwMode="auto">
            <a:xfrm>
              <a:off x="8767763" y="1343025"/>
              <a:ext cx="171450" cy="53975"/>
            </a:xfrm>
            <a:custGeom>
              <a:avLst/>
              <a:gdLst>
                <a:gd name="T0" fmla="*/ 209 w 541"/>
                <a:gd name="T1" fmla="*/ 33 h 167"/>
                <a:gd name="T2" fmla="*/ 267 w 541"/>
                <a:gd name="T3" fmla="*/ 47 h 167"/>
                <a:gd name="T4" fmla="*/ 356 w 541"/>
                <a:gd name="T5" fmla="*/ 75 h 167"/>
                <a:gd name="T6" fmla="*/ 402 w 541"/>
                <a:gd name="T7" fmla="*/ 84 h 167"/>
                <a:gd name="T8" fmla="*/ 442 w 541"/>
                <a:gd name="T9" fmla="*/ 83 h 167"/>
                <a:gd name="T10" fmla="*/ 449 w 541"/>
                <a:gd name="T11" fmla="*/ 92 h 167"/>
                <a:gd name="T12" fmla="*/ 398 w 541"/>
                <a:gd name="T13" fmla="*/ 122 h 167"/>
                <a:gd name="T14" fmla="*/ 344 w 541"/>
                <a:gd name="T15" fmla="*/ 136 h 167"/>
                <a:gd name="T16" fmla="*/ 289 w 541"/>
                <a:gd name="T17" fmla="*/ 134 h 167"/>
                <a:gd name="T18" fmla="*/ 218 w 541"/>
                <a:gd name="T19" fmla="*/ 116 h 167"/>
                <a:gd name="T20" fmla="*/ 125 w 541"/>
                <a:gd name="T21" fmla="*/ 85 h 167"/>
                <a:gd name="T22" fmla="*/ 82 w 541"/>
                <a:gd name="T23" fmla="*/ 77 h 167"/>
                <a:gd name="T24" fmla="*/ 66 w 541"/>
                <a:gd name="T25" fmla="*/ 76 h 167"/>
                <a:gd name="T26" fmla="*/ 108 w 541"/>
                <a:gd name="T27" fmla="*/ 48 h 167"/>
                <a:gd name="T28" fmla="*/ 151 w 541"/>
                <a:gd name="T29" fmla="*/ 33 h 167"/>
                <a:gd name="T30" fmla="*/ 181 w 541"/>
                <a:gd name="T31" fmla="*/ 31 h 167"/>
                <a:gd name="T32" fmla="*/ 43 w 541"/>
                <a:gd name="T33" fmla="*/ 109 h 167"/>
                <a:gd name="T34" fmla="*/ 80 w 541"/>
                <a:gd name="T35" fmla="*/ 107 h 167"/>
                <a:gd name="T36" fmla="*/ 119 w 541"/>
                <a:gd name="T37" fmla="*/ 115 h 167"/>
                <a:gd name="T38" fmla="*/ 210 w 541"/>
                <a:gd name="T39" fmla="*/ 145 h 167"/>
                <a:gd name="T40" fmla="*/ 285 w 541"/>
                <a:gd name="T41" fmla="*/ 164 h 167"/>
                <a:gd name="T42" fmla="*/ 339 w 541"/>
                <a:gd name="T43" fmla="*/ 166 h 167"/>
                <a:gd name="T44" fmla="*/ 383 w 541"/>
                <a:gd name="T45" fmla="*/ 159 h 167"/>
                <a:gd name="T46" fmla="*/ 425 w 541"/>
                <a:gd name="T47" fmla="*/ 143 h 167"/>
                <a:gd name="T48" fmla="*/ 465 w 541"/>
                <a:gd name="T49" fmla="*/ 118 h 167"/>
                <a:gd name="T50" fmla="*/ 503 w 541"/>
                <a:gd name="T51" fmla="*/ 84 h 167"/>
                <a:gd name="T52" fmla="*/ 539 w 541"/>
                <a:gd name="T53" fmla="*/ 40 h 167"/>
                <a:gd name="T54" fmla="*/ 540 w 541"/>
                <a:gd name="T55" fmla="*/ 25 h 167"/>
                <a:gd name="T56" fmla="*/ 527 w 541"/>
                <a:gd name="T57" fmla="*/ 16 h 167"/>
                <a:gd name="T58" fmla="*/ 506 w 541"/>
                <a:gd name="T59" fmla="*/ 27 h 167"/>
                <a:gd name="T60" fmla="*/ 469 w 541"/>
                <a:gd name="T61" fmla="*/ 45 h 167"/>
                <a:gd name="T62" fmla="*/ 432 w 541"/>
                <a:gd name="T63" fmla="*/ 54 h 167"/>
                <a:gd name="T64" fmla="*/ 390 w 541"/>
                <a:gd name="T65" fmla="*/ 51 h 167"/>
                <a:gd name="T66" fmla="*/ 333 w 541"/>
                <a:gd name="T67" fmla="*/ 37 h 167"/>
                <a:gd name="T68" fmla="*/ 244 w 541"/>
                <a:gd name="T69" fmla="*/ 10 h 167"/>
                <a:gd name="T70" fmla="*/ 197 w 541"/>
                <a:gd name="T71" fmla="*/ 1 h 167"/>
                <a:gd name="T72" fmla="*/ 156 w 541"/>
                <a:gd name="T73" fmla="*/ 2 h 167"/>
                <a:gd name="T74" fmla="*/ 122 w 541"/>
                <a:gd name="T75" fmla="*/ 10 h 167"/>
                <a:gd name="T76" fmla="*/ 89 w 541"/>
                <a:gd name="T77" fmla="*/ 24 h 167"/>
                <a:gd name="T78" fmla="*/ 56 w 541"/>
                <a:gd name="T79" fmla="*/ 45 h 167"/>
                <a:gd name="T80" fmla="*/ 24 w 541"/>
                <a:gd name="T81" fmla="*/ 73 h 167"/>
                <a:gd name="T82" fmla="*/ 1 w 541"/>
                <a:gd name="T83" fmla="*/ 101 h 167"/>
                <a:gd name="T84" fmla="*/ 3 w 541"/>
                <a:gd name="T85" fmla="*/ 116 h 167"/>
                <a:gd name="T86" fmla="*/ 18 w 541"/>
                <a:gd name="T87" fmla="*/ 12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1" h="167">
                  <a:moveTo>
                    <a:pt x="181" y="31"/>
                  </a:moveTo>
                  <a:lnTo>
                    <a:pt x="195" y="31"/>
                  </a:lnTo>
                  <a:lnTo>
                    <a:pt x="209" y="33"/>
                  </a:lnTo>
                  <a:lnTo>
                    <a:pt x="224" y="35"/>
                  </a:lnTo>
                  <a:lnTo>
                    <a:pt x="238" y="39"/>
                  </a:lnTo>
                  <a:lnTo>
                    <a:pt x="267" y="47"/>
                  </a:lnTo>
                  <a:lnTo>
                    <a:pt x="296" y="57"/>
                  </a:lnTo>
                  <a:lnTo>
                    <a:pt x="324" y="66"/>
                  </a:lnTo>
                  <a:lnTo>
                    <a:pt x="356" y="75"/>
                  </a:lnTo>
                  <a:lnTo>
                    <a:pt x="371" y="78"/>
                  </a:lnTo>
                  <a:lnTo>
                    <a:pt x="387" y="81"/>
                  </a:lnTo>
                  <a:lnTo>
                    <a:pt x="402" y="84"/>
                  </a:lnTo>
                  <a:lnTo>
                    <a:pt x="418" y="84"/>
                  </a:lnTo>
                  <a:lnTo>
                    <a:pt x="430" y="84"/>
                  </a:lnTo>
                  <a:lnTo>
                    <a:pt x="442" y="83"/>
                  </a:lnTo>
                  <a:lnTo>
                    <a:pt x="453" y="80"/>
                  </a:lnTo>
                  <a:lnTo>
                    <a:pt x="465" y="77"/>
                  </a:lnTo>
                  <a:lnTo>
                    <a:pt x="449" y="92"/>
                  </a:lnTo>
                  <a:lnTo>
                    <a:pt x="433" y="104"/>
                  </a:lnTo>
                  <a:lnTo>
                    <a:pt x="416" y="114"/>
                  </a:lnTo>
                  <a:lnTo>
                    <a:pt x="398" y="122"/>
                  </a:lnTo>
                  <a:lnTo>
                    <a:pt x="380" y="129"/>
                  </a:lnTo>
                  <a:lnTo>
                    <a:pt x="363" y="133"/>
                  </a:lnTo>
                  <a:lnTo>
                    <a:pt x="344" y="136"/>
                  </a:lnTo>
                  <a:lnTo>
                    <a:pt x="324" y="137"/>
                  </a:lnTo>
                  <a:lnTo>
                    <a:pt x="307" y="136"/>
                  </a:lnTo>
                  <a:lnTo>
                    <a:pt x="289" y="134"/>
                  </a:lnTo>
                  <a:lnTo>
                    <a:pt x="271" y="131"/>
                  </a:lnTo>
                  <a:lnTo>
                    <a:pt x="254" y="127"/>
                  </a:lnTo>
                  <a:lnTo>
                    <a:pt x="218" y="116"/>
                  </a:lnTo>
                  <a:lnTo>
                    <a:pt x="184" y="104"/>
                  </a:lnTo>
                  <a:lnTo>
                    <a:pt x="154" y="94"/>
                  </a:lnTo>
                  <a:lnTo>
                    <a:pt x="125" y="85"/>
                  </a:lnTo>
                  <a:lnTo>
                    <a:pt x="110" y="81"/>
                  </a:lnTo>
                  <a:lnTo>
                    <a:pt x="96" y="78"/>
                  </a:lnTo>
                  <a:lnTo>
                    <a:pt x="82" y="77"/>
                  </a:lnTo>
                  <a:lnTo>
                    <a:pt x="68" y="76"/>
                  </a:lnTo>
                  <a:lnTo>
                    <a:pt x="67" y="76"/>
                  </a:lnTo>
                  <a:lnTo>
                    <a:pt x="66" y="76"/>
                  </a:lnTo>
                  <a:lnTo>
                    <a:pt x="80" y="65"/>
                  </a:lnTo>
                  <a:lnTo>
                    <a:pt x="94" y="56"/>
                  </a:lnTo>
                  <a:lnTo>
                    <a:pt x="108" y="48"/>
                  </a:lnTo>
                  <a:lnTo>
                    <a:pt x="122" y="42"/>
                  </a:lnTo>
                  <a:lnTo>
                    <a:pt x="136" y="36"/>
                  </a:lnTo>
                  <a:lnTo>
                    <a:pt x="151" y="33"/>
                  </a:lnTo>
                  <a:lnTo>
                    <a:pt x="166" y="31"/>
                  </a:lnTo>
                  <a:lnTo>
                    <a:pt x="181" y="31"/>
                  </a:lnTo>
                  <a:lnTo>
                    <a:pt x="181" y="31"/>
                  </a:lnTo>
                  <a:close/>
                  <a:moveTo>
                    <a:pt x="23" y="119"/>
                  </a:moveTo>
                  <a:lnTo>
                    <a:pt x="33" y="114"/>
                  </a:lnTo>
                  <a:lnTo>
                    <a:pt x="43" y="109"/>
                  </a:lnTo>
                  <a:lnTo>
                    <a:pt x="55" y="107"/>
                  </a:lnTo>
                  <a:lnTo>
                    <a:pt x="68" y="106"/>
                  </a:lnTo>
                  <a:lnTo>
                    <a:pt x="80" y="107"/>
                  </a:lnTo>
                  <a:lnTo>
                    <a:pt x="93" y="108"/>
                  </a:lnTo>
                  <a:lnTo>
                    <a:pt x="106" y="112"/>
                  </a:lnTo>
                  <a:lnTo>
                    <a:pt x="119" y="115"/>
                  </a:lnTo>
                  <a:lnTo>
                    <a:pt x="145" y="123"/>
                  </a:lnTo>
                  <a:lnTo>
                    <a:pt x="174" y="133"/>
                  </a:lnTo>
                  <a:lnTo>
                    <a:pt x="210" y="145"/>
                  </a:lnTo>
                  <a:lnTo>
                    <a:pt x="246" y="155"/>
                  </a:lnTo>
                  <a:lnTo>
                    <a:pt x="265" y="161"/>
                  </a:lnTo>
                  <a:lnTo>
                    <a:pt x="285" y="164"/>
                  </a:lnTo>
                  <a:lnTo>
                    <a:pt x="305" y="166"/>
                  </a:lnTo>
                  <a:lnTo>
                    <a:pt x="324" y="167"/>
                  </a:lnTo>
                  <a:lnTo>
                    <a:pt x="339" y="166"/>
                  </a:lnTo>
                  <a:lnTo>
                    <a:pt x="355" y="165"/>
                  </a:lnTo>
                  <a:lnTo>
                    <a:pt x="370" y="163"/>
                  </a:lnTo>
                  <a:lnTo>
                    <a:pt x="383" y="159"/>
                  </a:lnTo>
                  <a:lnTo>
                    <a:pt x="397" y="154"/>
                  </a:lnTo>
                  <a:lnTo>
                    <a:pt x="411" y="149"/>
                  </a:lnTo>
                  <a:lnTo>
                    <a:pt x="425" y="143"/>
                  </a:lnTo>
                  <a:lnTo>
                    <a:pt x="438" y="135"/>
                  </a:lnTo>
                  <a:lnTo>
                    <a:pt x="451" y="127"/>
                  </a:lnTo>
                  <a:lnTo>
                    <a:pt x="465" y="118"/>
                  </a:lnTo>
                  <a:lnTo>
                    <a:pt x="478" y="107"/>
                  </a:lnTo>
                  <a:lnTo>
                    <a:pt x="490" y="95"/>
                  </a:lnTo>
                  <a:lnTo>
                    <a:pt x="503" y="84"/>
                  </a:lnTo>
                  <a:lnTo>
                    <a:pt x="514" y="70"/>
                  </a:lnTo>
                  <a:lnTo>
                    <a:pt x="527" y="55"/>
                  </a:lnTo>
                  <a:lnTo>
                    <a:pt x="539" y="40"/>
                  </a:lnTo>
                  <a:lnTo>
                    <a:pt x="541" y="34"/>
                  </a:lnTo>
                  <a:lnTo>
                    <a:pt x="541" y="29"/>
                  </a:lnTo>
                  <a:lnTo>
                    <a:pt x="540" y="25"/>
                  </a:lnTo>
                  <a:lnTo>
                    <a:pt x="537" y="20"/>
                  </a:lnTo>
                  <a:lnTo>
                    <a:pt x="533" y="17"/>
                  </a:lnTo>
                  <a:lnTo>
                    <a:pt x="527" y="16"/>
                  </a:lnTo>
                  <a:lnTo>
                    <a:pt x="522" y="16"/>
                  </a:lnTo>
                  <a:lnTo>
                    <a:pt x="518" y="18"/>
                  </a:lnTo>
                  <a:lnTo>
                    <a:pt x="506" y="27"/>
                  </a:lnTo>
                  <a:lnTo>
                    <a:pt x="493" y="34"/>
                  </a:lnTo>
                  <a:lnTo>
                    <a:pt x="481" y="41"/>
                  </a:lnTo>
                  <a:lnTo>
                    <a:pt x="469" y="45"/>
                  </a:lnTo>
                  <a:lnTo>
                    <a:pt x="456" y="49"/>
                  </a:lnTo>
                  <a:lnTo>
                    <a:pt x="445" y="51"/>
                  </a:lnTo>
                  <a:lnTo>
                    <a:pt x="432" y="54"/>
                  </a:lnTo>
                  <a:lnTo>
                    <a:pt x="418" y="54"/>
                  </a:lnTo>
                  <a:lnTo>
                    <a:pt x="404" y="54"/>
                  </a:lnTo>
                  <a:lnTo>
                    <a:pt x="390" y="51"/>
                  </a:lnTo>
                  <a:lnTo>
                    <a:pt x="376" y="49"/>
                  </a:lnTo>
                  <a:lnTo>
                    <a:pt x="362" y="46"/>
                  </a:lnTo>
                  <a:lnTo>
                    <a:pt x="333" y="37"/>
                  </a:lnTo>
                  <a:lnTo>
                    <a:pt x="305" y="28"/>
                  </a:lnTo>
                  <a:lnTo>
                    <a:pt x="275" y="18"/>
                  </a:lnTo>
                  <a:lnTo>
                    <a:pt x="244" y="10"/>
                  </a:lnTo>
                  <a:lnTo>
                    <a:pt x="228" y="5"/>
                  </a:lnTo>
                  <a:lnTo>
                    <a:pt x="213" y="3"/>
                  </a:lnTo>
                  <a:lnTo>
                    <a:pt x="197" y="1"/>
                  </a:lnTo>
                  <a:lnTo>
                    <a:pt x="181" y="0"/>
                  </a:lnTo>
                  <a:lnTo>
                    <a:pt x="168" y="1"/>
                  </a:lnTo>
                  <a:lnTo>
                    <a:pt x="156" y="2"/>
                  </a:lnTo>
                  <a:lnTo>
                    <a:pt x="145" y="3"/>
                  </a:lnTo>
                  <a:lnTo>
                    <a:pt x="134" y="6"/>
                  </a:lnTo>
                  <a:lnTo>
                    <a:pt x="122" y="10"/>
                  </a:lnTo>
                  <a:lnTo>
                    <a:pt x="111" y="14"/>
                  </a:lnTo>
                  <a:lnTo>
                    <a:pt x="99" y="18"/>
                  </a:lnTo>
                  <a:lnTo>
                    <a:pt x="89" y="24"/>
                  </a:lnTo>
                  <a:lnTo>
                    <a:pt x="78" y="30"/>
                  </a:lnTo>
                  <a:lnTo>
                    <a:pt x="67" y="37"/>
                  </a:lnTo>
                  <a:lnTo>
                    <a:pt x="56" y="45"/>
                  </a:lnTo>
                  <a:lnTo>
                    <a:pt x="46" y="54"/>
                  </a:lnTo>
                  <a:lnTo>
                    <a:pt x="35" y="63"/>
                  </a:lnTo>
                  <a:lnTo>
                    <a:pt x="24" y="73"/>
                  </a:lnTo>
                  <a:lnTo>
                    <a:pt x="13" y="84"/>
                  </a:lnTo>
                  <a:lnTo>
                    <a:pt x="3" y="95"/>
                  </a:lnTo>
                  <a:lnTo>
                    <a:pt x="1" y="101"/>
                  </a:lnTo>
                  <a:lnTo>
                    <a:pt x="0" y="106"/>
                  </a:lnTo>
                  <a:lnTo>
                    <a:pt x="1" y="110"/>
                  </a:lnTo>
                  <a:lnTo>
                    <a:pt x="3" y="116"/>
                  </a:lnTo>
                  <a:lnTo>
                    <a:pt x="7" y="119"/>
                  </a:lnTo>
                  <a:lnTo>
                    <a:pt x="12" y="121"/>
                  </a:lnTo>
                  <a:lnTo>
                    <a:pt x="18" y="120"/>
                  </a:lnTo>
                  <a:lnTo>
                    <a:pt x="2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370">
              <a:extLst>
                <a:ext uri="{FF2B5EF4-FFF2-40B4-BE49-F238E27FC236}">
                  <a16:creationId xmlns:a16="http://schemas.microsoft.com/office/drawing/2014/main" id="{EA533EEF-E124-49D1-B701-DC7BA7AB5763}"/>
                </a:ext>
              </a:extLst>
            </p:cNvPr>
            <p:cNvSpPr>
              <a:spLocks/>
            </p:cNvSpPr>
            <p:nvPr/>
          </p:nvSpPr>
          <p:spPr bwMode="auto">
            <a:xfrm>
              <a:off x="8829676" y="1563688"/>
              <a:ext cx="28575" cy="9525"/>
            </a:xfrm>
            <a:custGeom>
              <a:avLst/>
              <a:gdLst>
                <a:gd name="T0" fmla="*/ 76 w 91"/>
                <a:gd name="T1" fmla="*/ 0 h 30"/>
                <a:gd name="T2" fmla="*/ 16 w 91"/>
                <a:gd name="T3" fmla="*/ 0 h 30"/>
                <a:gd name="T4" fmla="*/ 13 w 91"/>
                <a:gd name="T5" fmla="*/ 0 h 30"/>
                <a:gd name="T6" fmla="*/ 9 w 91"/>
                <a:gd name="T7" fmla="*/ 1 h 30"/>
                <a:gd name="T8" fmla="*/ 7 w 91"/>
                <a:gd name="T9" fmla="*/ 2 h 30"/>
                <a:gd name="T10" fmla="*/ 5 w 91"/>
                <a:gd name="T11" fmla="*/ 4 h 30"/>
                <a:gd name="T12" fmla="*/ 3 w 91"/>
                <a:gd name="T13" fmla="*/ 6 h 30"/>
                <a:gd name="T14" fmla="*/ 2 w 91"/>
                <a:gd name="T15" fmla="*/ 10 h 30"/>
                <a:gd name="T16" fmla="*/ 1 w 91"/>
                <a:gd name="T17" fmla="*/ 12 h 30"/>
                <a:gd name="T18" fmla="*/ 0 w 91"/>
                <a:gd name="T19" fmla="*/ 15 h 30"/>
                <a:gd name="T20" fmla="*/ 1 w 91"/>
                <a:gd name="T21" fmla="*/ 18 h 30"/>
                <a:gd name="T22" fmla="*/ 2 w 91"/>
                <a:gd name="T23" fmla="*/ 21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1 h 30"/>
                <a:gd name="T50" fmla="*/ 90 w 91"/>
                <a:gd name="T51" fmla="*/ 18 h 30"/>
                <a:gd name="T52" fmla="*/ 91 w 91"/>
                <a:gd name="T53" fmla="*/ 15 h 30"/>
                <a:gd name="T54" fmla="*/ 90 w 91"/>
                <a:gd name="T55" fmla="*/ 12 h 30"/>
                <a:gd name="T56" fmla="*/ 90 w 91"/>
                <a:gd name="T57" fmla="*/ 10 h 30"/>
                <a:gd name="T58" fmla="*/ 88 w 91"/>
                <a:gd name="T59" fmla="*/ 6 h 30"/>
                <a:gd name="T60" fmla="*/ 87 w 91"/>
                <a:gd name="T61" fmla="*/ 4 h 30"/>
                <a:gd name="T62" fmla="*/ 83 w 91"/>
                <a:gd name="T63" fmla="*/ 2 h 30"/>
                <a:gd name="T64" fmla="*/ 81 w 91"/>
                <a:gd name="T65" fmla="*/ 1 h 30"/>
                <a:gd name="T66" fmla="*/ 78 w 91"/>
                <a:gd name="T67" fmla="*/ 0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0"/>
                  </a:lnTo>
                  <a:lnTo>
                    <a:pt x="9" y="1"/>
                  </a:lnTo>
                  <a:lnTo>
                    <a:pt x="7" y="2"/>
                  </a:lnTo>
                  <a:lnTo>
                    <a:pt x="5" y="4"/>
                  </a:lnTo>
                  <a:lnTo>
                    <a:pt x="3" y="6"/>
                  </a:lnTo>
                  <a:lnTo>
                    <a:pt x="2" y="10"/>
                  </a:lnTo>
                  <a:lnTo>
                    <a:pt x="1" y="12"/>
                  </a:lnTo>
                  <a:lnTo>
                    <a:pt x="0" y="15"/>
                  </a:lnTo>
                  <a:lnTo>
                    <a:pt x="1" y="18"/>
                  </a:lnTo>
                  <a:lnTo>
                    <a:pt x="2" y="21"/>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1"/>
                  </a:lnTo>
                  <a:lnTo>
                    <a:pt x="90" y="18"/>
                  </a:lnTo>
                  <a:lnTo>
                    <a:pt x="91" y="15"/>
                  </a:lnTo>
                  <a:lnTo>
                    <a:pt x="90" y="12"/>
                  </a:lnTo>
                  <a:lnTo>
                    <a:pt x="90" y="10"/>
                  </a:lnTo>
                  <a:lnTo>
                    <a:pt x="88" y="6"/>
                  </a:lnTo>
                  <a:lnTo>
                    <a:pt x="87" y="4"/>
                  </a:lnTo>
                  <a:lnTo>
                    <a:pt x="83" y="2"/>
                  </a:lnTo>
                  <a:lnTo>
                    <a:pt x="81" y="1"/>
                  </a:lnTo>
                  <a:lnTo>
                    <a:pt x="78"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371">
              <a:extLst>
                <a:ext uri="{FF2B5EF4-FFF2-40B4-BE49-F238E27FC236}">
                  <a16:creationId xmlns:a16="http://schemas.microsoft.com/office/drawing/2014/main" id="{64CA3CA8-39C2-4603-AB8A-2BBFA38FF93C}"/>
                </a:ext>
              </a:extLst>
            </p:cNvPr>
            <p:cNvSpPr>
              <a:spLocks/>
            </p:cNvSpPr>
            <p:nvPr/>
          </p:nvSpPr>
          <p:spPr bwMode="auto">
            <a:xfrm>
              <a:off x="8829676" y="1592263"/>
              <a:ext cx="28575" cy="9525"/>
            </a:xfrm>
            <a:custGeom>
              <a:avLst/>
              <a:gdLst>
                <a:gd name="T0" fmla="*/ 76 w 91"/>
                <a:gd name="T1" fmla="*/ 0 h 30"/>
                <a:gd name="T2" fmla="*/ 16 w 91"/>
                <a:gd name="T3" fmla="*/ 0 h 30"/>
                <a:gd name="T4" fmla="*/ 13 w 91"/>
                <a:gd name="T5" fmla="*/ 1 h 30"/>
                <a:gd name="T6" fmla="*/ 9 w 91"/>
                <a:gd name="T7" fmla="*/ 1 h 30"/>
                <a:gd name="T8" fmla="*/ 7 w 91"/>
                <a:gd name="T9" fmla="*/ 3 h 30"/>
                <a:gd name="T10" fmla="*/ 5 w 91"/>
                <a:gd name="T11" fmla="*/ 4 h 30"/>
                <a:gd name="T12" fmla="*/ 3 w 91"/>
                <a:gd name="T13" fmla="*/ 8 h 30"/>
                <a:gd name="T14" fmla="*/ 2 w 91"/>
                <a:gd name="T15" fmla="*/ 10 h 30"/>
                <a:gd name="T16" fmla="*/ 1 w 91"/>
                <a:gd name="T17" fmla="*/ 13 h 30"/>
                <a:gd name="T18" fmla="*/ 0 w 91"/>
                <a:gd name="T19" fmla="*/ 15 h 30"/>
                <a:gd name="T20" fmla="*/ 1 w 91"/>
                <a:gd name="T21" fmla="*/ 18 h 30"/>
                <a:gd name="T22" fmla="*/ 2 w 91"/>
                <a:gd name="T23" fmla="*/ 22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2 h 30"/>
                <a:gd name="T50" fmla="*/ 90 w 91"/>
                <a:gd name="T51" fmla="*/ 18 h 30"/>
                <a:gd name="T52" fmla="*/ 91 w 91"/>
                <a:gd name="T53" fmla="*/ 15 h 30"/>
                <a:gd name="T54" fmla="*/ 90 w 91"/>
                <a:gd name="T55" fmla="*/ 13 h 30"/>
                <a:gd name="T56" fmla="*/ 90 w 91"/>
                <a:gd name="T57" fmla="*/ 10 h 30"/>
                <a:gd name="T58" fmla="*/ 88 w 91"/>
                <a:gd name="T59" fmla="*/ 8 h 30"/>
                <a:gd name="T60" fmla="*/ 87 w 91"/>
                <a:gd name="T61" fmla="*/ 4 h 30"/>
                <a:gd name="T62" fmla="*/ 83 w 91"/>
                <a:gd name="T63" fmla="*/ 3 h 30"/>
                <a:gd name="T64" fmla="*/ 81 w 91"/>
                <a:gd name="T65" fmla="*/ 1 h 30"/>
                <a:gd name="T66" fmla="*/ 78 w 91"/>
                <a:gd name="T67" fmla="*/ 1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1"/>
                  </a:lnTo>
                  <a:lnTo>
                    <a:pt x="9" y="1"/>
                  </a:lnTo>
                  <a:lnTo>
                    <a:pt x="7" y="3"/>
                  </a:lnTo>
                  <a:lnTo>
                    <a:pt x="5" y="4"/>
                  </a:lnTo>
                  <a:lnTo>
                    <a:pt x="3" y="8"/>
                  </a:lnTo>
                  <a:lnTo>
                    <a:pt x="2" y="10"/>
                  </a:lnTo>
                  <a:lnTo>
                    <a:pt x="1" y="13"/>
                  </a:lnTo>
                  <a:lnTo>
                    <a:pt x="0" y="15"/>
                  </a:lnTo>
                  <a:lnTo>
                    <a:pt x="1" y="18"/>
                  </a:lnTo>
                  <a:lnTo>
                    <a:pt x="2" y="22"/>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2"/>
                  </a:lnTo>
                  <a:lnTo>
                    <a:pt x="90" y="18"/>
                  </a:lnTo>
                  <a:lnTo>
                    <a:pt x="91" y="15"/>
                  </a:lnTo>
                  <a:lnTo>
                    <a:pt x="90" y="13"/>
                  </a:lnTo>
                  <a:lnTo>
                    <a:pt x="90" y="10"/>
                  </a:lnTo>
                  <a:lnTo>
                    <a:pt x="88" y="8"/>
                  </a:lnTo>
                  <a:lnTo>
                    <a:pt x="87" y="4"/>
                  </a:lnTo>
                  <a:lnTo>
                    <a:pt x="83" y="3"/>
                  </a:lnTo>
                  <a:lnTo>
                    <a:pt x="81" y="1"/>
                  </a:lnTo>
                  <a:lnTo>
                    <a:pt x="78"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372">
              <a:extLst>
                <a:ext uri="{FF2B5EF4-FFF2-40B4-BE49-F238E27FC236}">
                  <a16:creationId xmlns:a16="http://schemas.microsoft.com/office/drawing/2014/main" id="{748C1B01-6C92-4A02-937D-204D89240CF3}"/>
                </a:ext>
              </a:extLst>
            </p:cNvPr>
            <p:cNvSpPr>
              <a:spLocks/>
            </p:cNvSpPr>
            <p:nvPr/>
          </p:nvSpPr>
          <p:spPr bwMode="auto">
            <a:xfrm>
              <a:off x="8901113" y="15636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2 h 30"/>
                <a:gd name="T10" fmla="*/ 4 w 90"/>
                <a:gd name="T11" fmla="*/ 4 h 30"/>
                <a:gd name="T12" fmla="*/ 2 w 90"/>
                <a:gd name="T13" fmla="*/ 6 h 30"/>
                <a:gd name="T14" fmla="*/ 1 w 90"/>
                <a:gd name="T15" fmla="*/ 10 h 30"/>
                <a:gd name="T16" fmla="*/ 0 w 90"/>
                <a:gd name="T17" fmla="*/ 12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1 h 30"/>
                <a:gd name="T50" fmla="*/ 90 w 90"/>
                <a:gd name="T51" fmla="*/ 18 h 30"/>
                <a:gd name="T52" fmla="*/ 90 w 90"/>
                <a:gd name="T53" fmla="*/ 15 h 30"/>
                <a:gd name="T54" fmla="*/ 90 w 90"/>
                <a:gd name="T55" fmla="*/ 12 h 30"/>
                <a:gd name="T56" fmla="*/ 89 w 90"/>
                <a:gd name="T57" fmla="*/ 10 h 30"/>
                <a:gd name="T58" fmla="*/ 88 w 90"/>
                <a:gd name="T59" fmla="*/ 6 h 30"/>
                <a:gd name="T60" fmla="*/ 86 w 90"/>
                <a:gd name="T61" fmla="*/ 4 h 30"/>
                <a:gd name="T62" fmla="*/ 84 w 90"/>
                <a:gd name="T63" fmla="*/ 2 h 30"/>
                <a:gd name="T64" fmla="*/ 82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10" y="1"/>
                  </a:lnTo>
                  <a:lnTo>
                    <a:pt x="6" y="2"/>
                  </a:lnTo>
                  <a:lnTo>
                    <a:pt x="4" y="4"/>
                  </a:lnTo>
                  <a:lnTo>
                    <a:pt x="2" y="6"/>
                  </a:lnTo>
                  <a:lnTo>
                    <a:pt x="1" y="10"/>
                  </a:lnTo>
                  <a:lnTo>
                    <a:pt x="0" y="12"/>
                  </a:lnTo>
                  <a:lnTo>
                    <a:pt x="0" y="15"/>
                  </a:lnTo>
                  <a:lnTo>
                    <a:pt x="0" y="18"/>
                  </a:lnTo>
                  <a:lnTo>
                    <a:pt x="1" y="21"/>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1"/>
                  </a:lnTo>
                  <a:lnTo>
                    <a:pt x="90" y="18"/>
                  </a:lnTo>
                  <a:lnTo>
                    <a:pt x="90" y="15"/>
                  </a:lnTo>
                  <a:lnTo>
                    <a:pt x="90" y="12"/>
                  </a:lnTo>
                  <a:lnTo>
                    <a:pt x="89" y="10"/>
                  </a:lnTo>
                  <a:lnTo>
                    <a:pt x="88" y="6"/>
                  </a:lnTo>
                  <a:lnTo>
                    <a:pt x="86" y="4"/>
                  </a:lnTo>
                  <a:lnTo>
                    <a:pt x="84" y="2"/>
                  </a:lnTo>
                  <a:lnTo>
                    <a:pt x="82"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373">
              <a:extLst>
                <a:ext uri="{FF2B5EF4-FFF2-40B4-BE49-F238E27FC236}">
                  <a16:creationId xmlns:a16="http://schemas.microsoft.com/office/drawing/2014/main" id="{C1AEAC9C-73E6-4A21-885C-8FEC03DEA1AA}"/>
                </a:ext>
              </a:extLst>
            </p:cNvPr>
            <p:cNvSpPr>
              <a:spLocks/>
            </p:cNvSpPr>
            <p:nvPr/>
          </p:nvSpPr>
          <p:spPr bwMode="auto">
            <a:xfrm>
              <a:off x="8901113" y="1592263"/>
              <a:ext cx="28575" cy="9525"/>
            </a:xfrm>
            <a:custGeom>
              <a:avLst/>
              <a:gdLst>
                <a:gd name="T0" fmla="*/ 75 w 90"/>
                <a:gd name="T1" fmla="*/ 0 h 30"/>
                <a:gd name="T2" fmla="*/ 15 w 90"/>
                <a:gd name="T3" fmla="*/ 0 h 30"/>
                <a:gd name="T4" fmla="*/ 12 w 90"/>
                <a:gd name="T5" fmla="*/ 1 h 30"/>
                <a:gd name="T6" fmla="*/ 10 w 90"/>
                <a:gd name="T7" fmla="*/ 1 h 30"/>
                <a:gd name="T8" fmla="*/ 6 w 90"/>
                <a:gd name="T9" fmla="*/ 3 h 30"/>
                <a:gd name="T10" fmla="*/ 4 w 90"/>
                <a:gd name="T11" fmla="*/ 4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2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2 h 30"/>
                <a:gd name="T50" fmla="*/ 90 w 90"/>
                <a:gd name="T51" fmla="*/ 18 h 30"/>
                <a:gd name="T52" fmla="*/ 90 w 90"/>
                <a:gd name="T53" fmla="*/ 15 h 30"/>
                <a:gd name="T54" fmla="*/ 90 w 90"/>
                <a:gd name="T55" fmla="*/ 13 h 30"/>
                <a:gd name="T56" fmla="*/ 89 w 90"/>
                <a:gd name="T57" fmla="*/ 10 h 30"/>
                <a:gd name="T58" fmla="*/ 88 w 90"/>
                <a:gd name="T59" fmla="*/ 8 h 30"/>
                <a:gd name="T60" fmla="*/ 86 w 90"/>
                <a:gd name="T61" fmla="*/ 4 h 30"/>
                <a:gd name="T62" fmla="*/ 84 w 90"/>
                <a:gd name="T63" fmla="*/ 3 h 30"/>
                <a:gd name="T64" fmla="*/ 82 w 90"/>
                <a:gd name="T65" fmla="*/ 1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10" y="1"/>
                  </a:lnTo>
                  <a:lnTo>
                    <a:pt x="6" y="3"/>
                  </a:lnTo>
                  <a:lnTo>
                    <a:pt x="4" y="4"/>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2"/>
                  </a:lnTo>
                  <a:lnTo>
                    <a:pt x="90" y="18"/>
                  </a:lnTo>
                  <a:lnTo>
                    <a:pt x="90" y="15"/>
                  </a:lnTo>
                  <a:lnTo>
                    <a:pt x="90" y="13"/>
                  </a:lnTo>
                  <a:lnTo>
                    <a:pt x="89" y="10"/>
                  </a:lnTo>
                  <a:lnTo>
                    <a:pt x="88" y="8"/>
                  </a:lnTo>
                  <a:lnTo>
                    <a:pt x="86" y="4"/>
                  </a:lnTo>
                  <a:lnTo>
                    <a:pt x="84" y="3"/>
                  </a:lnTo>
                  <a:lnTo>
                    <a:pt x="82" y="1"/>
                  </a:lnTo>
                  <a:lnTo>
                    <a:pt x="78" y="1"/>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374">
              <a:extLst>
                <a:ext uri="{FF2B5EF4-FFF2-40B4-BE49-F238E27FC236}">
                  <a16:creationId xmlns:a16="http://schemas.microsoft.com/office/drawing/2014/main" id="{2598B2A1-2DA4-4247-AF0C-EDAF141BB556}"/>
                </a:ext>
              </a:extLst>
            </p:cNvPr>
            <p:cNvSpPr>
              <a:spLocks/>
            </p:cNvSpPr>
            <p:nvPr/>
          </p:nvSpPr>
          <p:spPr bwMode="auto">
            <a:xfrm>
              <a:off x="8974138" y="1563688"/>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1 h 30"/>
                <a:gd name="T16" fmla="*/ 89 w 90"/>
                <a:gd name="T17" fmla="*/ 18 h 30"/>
                <a:gd name="T18" fmla="*/ 90 w 90"/>
                <a:gd name="T19" fmla="*/ 15 h 30"/>
                <a:gd name="T20" fmla="*/ 89 w 90"/>
                <a:gd name="T21" fmla="*/ 12 h 30"/>
                <a:gd name="T22" fmla="*/ 89 w 90"/>
                <a:gd name="T23" fmla="*/ 10 h 30"/>
                <a:gd name="T24" fmla="*/ 87 w 90"/>
                <a:gd name="T25" fmla="*/ 6 h 30"/>
                <a:gd name="T26" fmla="*/ 86 w 90"/>
                <a:gd name="T27" fmla="*/ 4 h 30"/>
                <a:gd name="T28" fmla="*/ 84 w 90"/>
                <a:gd name="T29" fmla="*/ 3 h 30"/>
                <a:gd name="T30" fmla="*/ 81 w 90"/>
                <a:gd name="T31" fmla="*/ 1 h 30"/>
                <a:gd name="T32" fmla="*/ 79 w 90"/>
                <a:gd name="T33" fmla="*/ 0 h 30"/>
                <a:gd name="T34" fmla="*/ 75 w 90"/>
                <a:gd name="T35" fmla="*/ 0 h 30"/>
                <a:gd name="T36" fmla="*/ 15 w 90"/>
                <a:gd name="T37" fmla="*/ 0 h 30"/>
                <a:gd name="T38" fmla="*/ 12 w 90"/>
                <a:gd name="T39" fmla="*/ 0 h 30"/>
                <a:gd name="T40" fmla="*/ 9 w 90"/>
                <a:gd name="T41" fmla="*/ 1 h 30"/>
                <a:gd name="T42" fmla="*/ 7 w 90"/>
                <a:gd name="T43" fmla="*/ 2 h 30"/>
                <a:gd name="T44" fmla="*/ 5 w 90"/>
                <a:gd name="T45" fmla="*/ 4 h 30"/>
                <a:gd name="T46" fmla="*/ 2 w 90"/>
                <a:gd name="T47" fmla="*/ 6 h 30"/>
                <a:gd name="T48" fmla="*/ 1 w 90"/>
                <a:gd name="T49" fmla="*/ 10 h 30"/>
                <a:gd name="T50" fmla="*/ 0 w 90"/>
                <a:gd name="T51" fmla="*/ 12 h 30"/>
                <a:gd name="T52" fmla="*/ 0 w 90"/>
                <a:gd name="T53" fmla="*/ 15 h 30"/>
                <a:gd name="T54" fmla="*/ 0 w 90"/>
                <a:gd name="T55" fmla="*/ 18 h 30"/>
                <a:gd name="T56" fmla="*/ 1 w 90"/>
                <a:gd name="T57" fmla="*/ 21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 name="T70" fmla="*/ 15 w 9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15" y="30"/>
                  </a:moveTo>
                  <a:lnTo>
                    <a:pt x="75" y="30"/>
                  </a:lnTo>
                  <a:lnTo>
                    <a:pt x="79" y="30"/>
                  </a:lnTo>
                  <a:lnTo>
                    <a:pt x="81" y="29"/>
                  </a:lnTo>
                  <a:lnTo>
                    <a:pt x="84" y="28"/>
                  </a:lnTo>
                  <a:lnTo>
                    <a:pt x="86" y="26"/>
                  </a:lnTo>
                  <a:lnTo>
                    <a:pt x="87" y="24"/>
                  </a:lnTo>
                  <a:lnTo>
                    <a:pt x="89" y="21"/>
                  </a:lnTo>
                  <a:lnTo>
                    <a:pt x="89" y="18"/>
                  </a:lnTo>
                  <a:lnTo>
                    <a:pt x="90" y="15"/>
                  </a:lnTo>
                  <a:lnTo>
                    <a:pt x="89" y="12"/>
                  </a:lnTo>
                  <a:lnTo>
                    <a:pt x="89" y="10"/>
                  </a:lnTo>
                  <a:lnTo>
                    <a:pt x="87" y="6"/>
                  </a:lnTo>
                  <a:lnTo>
                    <a:pt x="86" y="4"/>
                  </a:lnTo>
                  <a:lnTo>
                    <a:pt x="84" y="3"/>
                  </a:lnTo>
                  <a:lnTo>
                    <a:pt x="81" y="1"/>
                  </a:lnTo>
                  <a:lnTo>
                    <a:pt x="79" y="0"/>
                  </a:lnTo>
                  <a:lnTo>
                    <a:pt x="75" y="0"/>
                  </a:lnTo>
                  <a:lnTo>
                    <a:pt x="15" y="0"/>
                  </a:lnTo>
                  <a:lnTo>
                    <a:pt x="12" y="0"/>
                  </a:lnTo>
                  <a:lnTo>
                    <a:pt x="9" y="1"/>
                  </a:lnTo>
                  <a:lnTo>
                    <a:pt x="7" y="2"/>
                  </a:lnTo>
                  <a:lnTo>
                    <a:pt x="5" y="4"/>
                  </a:lnTo>
                  <a:lnTo>
                    <a:pt x="2" y="6"/>
                  </a:lnTo>
                  <a:lnTo>
                    <a:pt x="1" y="10"/>
                  </a:lnTo>
                  <a:lnTo>
                    <a:pt x="0" y="12"/>
                  </a:lnTo>
                  <a:lnTo>
                    <a:pt x="0" y="15"/>
                  </a:lnTo>
                  <a:lnTo>
                    <a:pt x="0" y="18"/>
                  </a:lnTo>
                  <a:lnTo>
                    <a:pt x="1" y="21"/>
                  </a:lnTo>
                  <a:lnTo>
                    <a:pt x="2" y="24"/>
                  </a:lnTo>
                  <a:lnTo>
                    <a:pt x="5" y="26"/>
                  </a:lnTo>
                  <a:lnTo>
                    <a:pt x="7" y="28"/>
                  </a:lnTo>
                  <a:lnTo>
                    <a:pt x="9"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375">
              <a:extLst>
                <a:ext uri="{FF2B5EF4-FFF2-40B4-BE49-F238E27FC236}">
                  <a16:creationId xmlns:a16="http://schemas.microsoft.com/office/drawing/2014/main" id="{483C1D15-E0B0-4CCD-8747-B968F1CC2908}"/>
                </a:ext>
              </a:extLst>
            </p:cNvPr>
            <p:cNvSpPr>
              <a:spLocks/>
            </p:cNvSpPr>
            <p:nvPr/>
          </p:nvSpPr>
          <p:spPr bwMode="auto">
            <a:xfrm>
              <a:off x="8974138" y="1592263"/>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2 h 30"/>
                <a:gd name="T16" fmla="*/ 89 w 90"/>
                <a:gd name="T17" fmla="*/ 18 h 30"/>
                <a:gd name="T18" fmla="*/ 90 w 90"/>
                <a:gd name="T19" fmla="*/ 15 h 30"/>
                <a:gd name="T20" fmla="*/ 89 w 90"/>
                <a:gd name="T21" fmla="*/ 13 h 30"/>
                <a:gd name="T22" fmla="*/ 89 w 90"/>
                <a:gd name="T23" fmla="*/ 10 h 30"/>
                <a:gd name="T24" fmla="*/ 87 w 90"/>
                <a:gd name="T25" fmla="*/ 8 h 30"/>
                <a:gd name="T26" fmla="*/ 86 w 90"/>
                <a:gd name="T27" fmla="*/ 4 h 30"/>
                <a:gd name="T28" fmla="*/ 84 w 90"/>
                <a:gd name="T29" fmla="*/ 3 h 30"/>
                <a:gd name="T30" fmla="*/ 81 w 90"/>
                <a:gd name="T31" fmla="*/ 1 h 30"/>
                <a:gd name="T32" fmla="*/ 79 w 90"/>
                <a:gd name="T33" fmla="*/ 1 h 30"/>
                <a:gd name="T34" fmla="*/ 75 w 90"/>
                <a:gd name="T35" fmla="*/ 0 h 30"/>
                <a:gd name="T36" fmla="*/ 15 w 90"/>
                <a:gd name="T37" fmla="*/ 0 h 30"/>
                <a:gd name="T38" fmla="*/ 12 w 90"/>
                <a:gd name="T39" fmla="*/ 1 h 30"/>
                <a:gd name="T40" fmla="*/ 9 w 90"/>
                <a:gd name="T41" fmla="*/ 1 h 30"/>
                <a:gd name="T42" fmla="*/ 7 w 90"/>
                <a:gd name="T43" fmla="*/ 3 h 30"/>
                <a:gd name="T44" fmla="*/ 5 w 90"/>
                <a:gd name="T45" fmla="*/ 4 h 30"/>
                <a:gd name="T46" fmla="*/ 2 w 90"/>
                <a:gd name="T47" fmla="*/ 8 h 30"/>
                <a:gd name="T48" fmla="*/ 1 w 90"/>
                <a:gd name="T49" fmla="*/ 10 h 30"/>
                <a:gd name="T50" fmla="*/ 0 w 90"/>
                <a:gd name="T51" fmla="*/ 13 h 30"/>
                <a:gd name="T52" fmla="*/ 0 w 90"/>
                <a:gd name="T53" fmla="*/ 15 h 30"/>
                <a:gd name="T54" fmla="*/ 0 w 90"/>
                <a:gd name="T55" fmla="*/ 18 h 30"/>
                <a:gd name="T56" fmla="*/ 1 w 90"/>
                <a:gd name="T57" fmla="*/ 22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15" y="30"/>
                  </a:moveTo>
                  <a:lnTo>
                    <a:pt x="75" y="30"/>
                  </a:lnTo>
                  <a:lnTo>
                    <a:pt x="79" y="30"/>
                  </a:lnTo>
                  <a:lnTo>
                    <a:pt x="81" y="29"/>
                  </a:lnTo>
                  <a:lnTo>
                    <a:pt x="84" y="28"/>
                  </a:lnTo>
                  <a:lnTo>
                    <a:pt x="86" y="26"/>
                  </a:lnTo>
                  <a:lnTo>
                    <a:pt x="87" y="24"/>
                  </a:lnTo>
                  <a:lnTo>
                    <a:pt x="89" y="22"/>
                  </a:lnTo>
                  <a:lnTo>
                    <a:pt x="89" y="18"/>
                  </a:lnTo>
                  <a:lnTo>
                    <a:pt x="90" y="15"/>
                  </a:lnTo>
                  <a:lnTo>
                    <a:pt x="89" y="13"/>
                  </a:lnTo>
                  <a:lnTo>
                    <a:pt x="89" y="10"/>
                  </a:lnTo>
                  <a:lnTo>
                    <a:pt x="87" y="8"/>
                  </a:lnTo>
                  <a:lnTo>
                    <a:pt x="86" y="4"/>
                  </a:lnTo>
                  <a:lnTo>
                    <a:pt x="84" y="3"/>
                  </a:lnTo>
                  <a:lnTo>
                    <a:pt x="81" y="1"/>
                  </a:lnTo>
                  <a:lnTo>
                    <a:pt x="79" y="1"/>
                  </a:lnTo>
                  <a:lnTo>
                    <a:pt x="75" y="0"/>
                  </a:lnTo>
                  <a:lnTo>
                    <a:pt x="15" y="0"/>
                  </a:lnTo>
                  <a:lnTo>
                    <a:pt x="12" y="1"/>
                  </a:lnTo>
                  <a:lnTo>
                    <a:pt x="9" y="1"/>
                  </a:lnTo>
                  <a:lnTo>
                    <a:pt x="7" y="3"/>
                  </a:lnTo>
                  <a:lnTo>
                    <a:pt x="5" y="4"/>
                  </a:lnTo>
                  <a:lnTo>
                    <a:pt x="2" y="8"/>
                  </a:lnTo>
                  <a:lnTo>
                    <a:pt x="1" y="10"/>
                  </a:lnTo>
                  <a:lnTo>
                    <a:pt x="0" y="13"/>
                  </a:lnTo>
                  <a:lnTo>
                    <a:pt x="0" y="15"/>
                  </a:lnTo>
                  <a:lnTo>
                    <a:pt x="0" y="18"/>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376">
              <a:extLst>
                <a:ext uri="{FF2B5EF4-FFF2-40B4-BE49-F238E27FC236}">
                  <a16:creationId xmlns:a16="http://schemas.microsoft.com/office/drawing/2014/main" id="{73823160-ACCE-4CD5-BBFF-361E9C61D6C2}"/>
                </a:ext>
              </a:extLst>
            </p:cNvPr>
            <p:cNvSpPr>
              <a:spLocks noEditPoints="1"/>
            </p:cNvSpPr>
            <p:nvPr/>
          </p:nvSpPr>
          <p:spPr bwMode="auto">
            <a:xfrm>
              <a:off x="8743951" y="1401763"/>
              <a:ext cx="287338" cy="228600"/>
            </a:xfrm>
            <a:custGeom>
              <a:avLst/>
              <a:gdLst>
                <a:gd name="T0" fmla="*/ 873 w 903"/>
                <a:gd name="T1" fmla="*/ 692 h 722"/>
                <a:gd name="T2" fmla="*/ 30 w 903"/>
                <a:gd name="T3" fmla="*/ 692 h 722"/>
                <a:gd name="T4" fmla="*/ 30 w 903"/>
                <a:gd name="T5" fmla="*/ 394 h 722"/>
                <a:gd name="T6" fmla="*/ 86 w 903"/>
                <a:gd name="T7" fmla="*/ 30 h 722"/>
                <a:gd name="T8" fmla="*/ 126 w 903"/>
                <a:gd name="T9" fmla="*/ 30 h 722"/>
                <a:gd name="T10" fmla="*/ 197 w 903"/>
                <a:gd name="T11" fmla="*/ 397 h 722"/>
                <a:gd name="T12" fmla="*/ 205 w 903"/>
                <a:gd name="T13" fmla="*/ 442 h 722"/>
                <a:gd name="T14" fmla="*/ 243 w 903"/>
                <a:gd name="T15" fmla="*/ 417 h 722"/>
                <a:gd name="T16" fmla="*/ 422 w 903"/>
                <a:gd name="T17" fmla="*/ 297 h 722"/>
                <a:gd name="T18" fmla="*/ 422 w 903"/>
                <a:gd name="T19" fmla="*/ 392 h 722"/>
                <a:gd name="T20" fmla="*/ 422 w 903"/>
                <a:gd name="T21" fmla="*/ 448 h 722"/>
                <a:gd name="T22" fmla="*/ 468 w 903"/>
                <a:gd name="T23" fmla="*/ 417 h 722"/>
                <a:gd name="T24" fmla="*/ 647 w 903"/>
                <a:gd name="T25" fmla="*/ 297 h 722"/>
                <a:gd name="T26" fmla="*/ 647 w 903"/>
                <a:gd name="T27" fmla="*/ 392 h 722"/>
                <a:gd name="T28" fmla="*/ 647 w 903"/>
                <a:gd name="T29" fmla="*/ 448 h 722"/>
                <a:gd name="T30" fmla="*/ 694 w 903"/>
                <a:gd name="T31" fmla="*/ 417 h 722"/>
                <a:gd name="T32" fmla="*/ 873 w 903"/>
                <a:gd name="T33" fmla="*/ 297 h 722"/>
                <a:gd name="T34" fmla="*/ 873 w 903"/>
                <a:gd name="T35" fmla="*/ 692 h 722"/>
                <a:gd name="T36" fmla="*/ 677 w 903"/>
                <a:gd name="T37" fmla="*/ 392 h 722"/>
                <a:gd name="T38" fmla="*/ 677 w 903"/>
                <a:gd name="T39" fmla="*/ 241 h 722"/>
                <a:gd name="T40" fmla="*/ 452 w 903"/>
                <a:gd name="T41" fmla="*/ 392 h 722"/>
                <a:gd name="T42" fmla="*/ 452 w 903"/>
                <a:gd name="T43" fmla="*/ 241 h 722"/>
                <a:gd name="T44" fmla="*/ 226 w 903"/>
                <a:gd name="T45" fmla="*/ 392 h 722"/>
                <a:gd name="T46" fmla="*/ 151 w 903"/>
                <a:gd name="T47" fmla="*/ 0 h 722"/>
                <a:gd name="T48" fmla="*/ 60 w 903"/>
                <a:gd name="T49" fmla="*/ 0 h 722"/>
                <a:gd name="T50" fmla="*/ 0 w 903"/>
                <a:gd name="T51" fmla="*/ 392 h 722"/>
                <a:gd name="T52" fmla="*/ 0 w 903"/>
                <a:gd name="T53" fmla="*/ 722 h 722"/>
                <a:gd name="T54" fmla="*/ 903 w 903"/>
                <a:gd name="T55" fmla="*/ 722 h 722"/>
                <a:gd name="T56" fmla="*/ 903 w 903"/>
                <a:gd name="T57" fmla="*/ 241 h 722"/>
                <a:gd name="T58" fmla="*/ 677 w 903"/>
                <a:gd name="T59" fmla="*/ 39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3" h="722">
                  <a:moveTo>
                    <a:pt x="873" y="692"/>
                  </a:moveTo>
                  <a:lnTo>
                    <a:pt x="30" y="692"/>
                  </a:lnTo>
                  <a:lnTo>
                    <a:pt x="30" y="394"/>
                  </a:lnTo>
                  <a:lnTo>
                    <a:pt x="86" y="30"/>
                  </a:lnTo>
                  <a:lnTo>
                    <a:pt x="126" y="30"/>
                  </a:lnTo>
                  <a:lnTo>
                    <a:pt x="197" y="397"/>
                  </a:lnTo>
                  <a:lnTo>
                    <a:pt x="205" y="442"/>
                  </a:lnTo>
                  <a:lnTo>
                    <a:pt x="243" y="417"/>
                  </a:lnTo>
                  <a:lnTo>
                    <a:pt x="422" y="297"/>
                  </a:lnTo>
                  <a:lnTo>
                    <a:pt x="422" y="392"/>
                  </a:lnTo>
                  <a:lnTo>
                    <a:pt x="422" y="448"/>
                  </a:lnTo>
                  <a:lnTo>
                    <a:pt x="468" y="417"/>
                  </a:lnTo>
                  <a:lnTo>
                    <a:pt x="647" y="297"/>
                  </a:lnTo>
                  <a:lnTo>
                    <a:pt x="647" y="392"/>
                  </a:lnTo>
                  <a:lnTo>
                    <a:pt x="647" y="448"/>
                  </a:lnTo>
                  <a:lnTo>
                    <a:pt x="694" y="417"/>
                  </a:lnTo>
                  <a:lnTo>
                    <a:pt x="873" y="297"/>
                  </a:lnTo>
                  <a:lnTo>
                    <a:pt x="873" y="692"/>
                  </a:lnTo>
                  <a:close/>
                  <a:moveTo>
                    <a:pt x="677" y="392"/>
                  </a:moveTo>
                  <a:lnTo>
                    <a:pt x="677" y="241"/>
                  </a:lnTo>
                  <a:lnTo>
                    <a:pt x="452" y="392"/>
                  </a:lnTo>
                  <a:lnTo>
                    <a:pt x="452" y="241"/>
                  </a:lnTo>
                  <a:lnTo>
                    <a:pt x="226" y="392"/>
                  </a:lnTo>
                  <a:lnTo>
                    <a:pt x="151" y="0"/>
                  </a:lnTo>
                  <a:lnTo>
                    <a:pt x="60" y="0"/>
                  </a:lnTo>
                  <a:lnTo>
                    <a:pt x="0" y="392"/>
                  </a:lnTo>
                  <a:lnTo>
                    <a:pt x="0" y="722"/>
                  </a:lnTo>
                  <a:lnTo>
                    <a:pt x="903" y="722"/>
                  </a:lnTo>
                  <a:lnTo>
                    <a:pt x="903" y="241"/>
                  </a:lnTo>
                  <a:lnTo>
                    <a:pt x="67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1" name="Group 227">
            <a:extLst>
              <a:ext uri="{FF2B5EF4-FFF2-40B4-BE49-F238E27FC236}">
                <a16:creationId xmlns:a16="http://schemas.microsoft.com/office/drawing/2014/main" id="{77082F66-C021-4991-BCB2-AF399B1C12FF}"/>
              </a:ext>
            </a:extLst>
          </p:cNvPr>
          <p:cNvGrpSpPr>
            <a:grpSpLocks noChangeAspect="1"/>
          </p:cNvGrpSpPr>
          <p:nvPr/>
        </p:nvGrpSpPr>
        <p:grpSpPr>
          <a:xfrm>
            <a:off x="671290" y="3263433"/>
            <a:ext cx="285619" cy="285619"/>
            <a:chOff x="7023101" y="1343025"/>
            <a:chExt cx="287338" cy="287338"/>
          </a:xfrm>
          <a:solidFill>
            <a:schemeClr val="bg2"/>
          </a:solidFill>
          <a:effectLst/>
        </p:grpSpPr>
        <p:sp>
          <p:nvSpPr>
            <p:cNvPr id="1182" name="Freeform 252">
              <a:extLst>
                <a:ext uri="{FF2B5EF4-FFF2-40B4-BE49-F238E27FC236}">
                  <a16:creationId xmlns:a16="http://schemas.microsoft.com/office/drawing/2014/main" id="{D53BB6FF-7BC1-4CBE-B0F5-4EF45542072F}"/>
                </a:ext>
              </a:extLst>
            </p:cNvPr>
            <p:cNvSpPr>
              <a:spLocks/>
            </p:cNvSpPr>
            <p:nvPr/>
          </p:nvSpPr>
          <p:spPr bwMode="auto">
            <a:xfrm>
              <a:off x="7023101" y="1620838"/>
              <a:ext cx="287338" cy="9525"/>
            </a:xfrm>
            <a:custGeom>
              <a:avLst/>
              <a:gdLst>
                <a:gd name="T0" fmla="*/ 888 w 903"/>
                <a:gd name="T1" fmla="*/ 0 h 31"/>
                <a:gd name="T2" fmla="*/ 15 w 903"/>
                <a:gd name="T3" fmla="*/ 0 h 31"/>
                <a:gd name="T4" fmla="*/ 12 w 903"/>
                <a:gd name="T5" fmla="*/ 1 h 31"/>
                <a:gd name="T6" fmla="*/ 10 w 903"/>
                <a:gd name="T7" fmla="*/ 2 h 31"/>
                <a:gd name="T8" fmla="*/ 7 w 903"/>
                <a:gd name="T9" fmla="*/ 4 h 31"/>
                <a:gd name="T10" fmla="*/ 4 w 903"/>
                <a:gd name="T11" fmla="*/ 6 h 31"/>
                <a:gd name="T12" fmla="*/ 3 w 903"/>
                <a:gd name="T13" fmla="*/ 8 h 31"/>
                <a:gd name="T14" fmla="*/ 1 w 903"/>
                <a:gd name="T15" fmla="*/ 10 h 31"/>
                <a:gd name="T16" fmla="*/ 1 w 903"/>
                <a:gd name="T17" fmla="*/ 13 h 31"/>
                <a:gd name="T18" fmla="*/ 0 w 903"/>
                <a:gd name="T19" fmla="*/ 16 h 31"/>
                <a:gd name="T20" fmla="*/ 1 w 903"/>
                <a:gd name="T21" fmla="*/ 19 h 31"/>
                <a:gd name="T22" fmla="*/ 1 w 903"/>
                <a:gd name="T23" fmla="*/ 22 h 31"/>
                <a:gd name="T24" fmla="*/ 3 w 903"/>
                <a:gd name="T25" fmla="*/ 24 h 31"/>
                <a:gd name="T26" fmla="*/ 4 w 903"/>
                <a:gd name="T27" fmla="*/ 26 h 31"/>
                <a:gd name="T28" fmla="*/ 7 w 903"/>
                <a:gd name="T29" fmla="*/ 28 h 31"/>
                <a:gd name="T30" fmla="*/ 10 w 903"/>
                <a:gd name="T31" fmla="*/ 29 h 31"/>
                <a:gd name="T32" fmla="*/ 12 w 903"/>
                <a:gd name="T33" fmla="*/ 30 h 31"/>
                <a:gd name="T34" fmla="*/ 15 w 903"/>
                <a:gd name="T35" fmla="*/ 31 h 31"/>
                <a:gd name="T36" fmla="*/ 888 w 903"/>
                <a:gd name="T37" fmla="*/ 30 h 31"/>
                <a:gd name="T38" fmla="*/ 891 w 903"/>
                <a:gd name="T39" fmla="*/ 30 h 31"/>
                <a:gd name="T40" fmla="*/ 895 w 903"/>
                <a:gd name="T41" fmla="*/ 29 h 31"/>
                <a:gd name="T42" fmla="*/ 897 w 903"/>
                <a:gd name="T43" fmla="*/ 28 h 31"/>
                <a:gd name="T44" fmla="*/ 899 w 903"/>
                <a:gd name="T45" fmla="*/ 26 h 31"/>
                <a:gd name="T46" fmla="*/ 901 w 903"/>
                <a:gd name="T47" fmla="*/ 24 h 31"/>
                <a:gd name="T48" fmla="*/ 902 w 903"/>
                <a:gd name="T49" fmla="*/ 22 h 31"/>
                <a:gd name="T50" fmla="*/ 903 w 903"/>
                <a:gd name="T51" fmla="*/ 19 h 31"/>
                <a:gd name="T52" fmla="*/ 903 w 903"/>
                <a:gd name="T53" fmla="*/ 16 h 31"/>
                <a:gd name="T54" fmla="*/ 903 w 903"/>
                <a:gd name="T55" fmla="*/ 13 h 31"/>
                <a:gd name="T56" fmla="*/ 902 w 903"/>
                <a:gd name="T57" fmla="*/ 10 h 31"/>
                <a:gd name="T58" fmla="*/ 901 w 903"/>
                <a:gd name="T59" fmla="*/ 8 h 31"/>
                <a:gd name="T60" fmla="*/ 899 w 903"/>
                <a:gd name="T61" fmla="*/ 6 h 31"/>
                <a:gd name="T62" fmla="*/ 897 w 903"/>
                <a:gd name="T63" fmla="*/ 4 h 31"/>
                <a:gd name="T64" fmla="*/ 895 w 903"/>
                <a:gd name="T65" fmla="*/ 2 h 31"/>
                <a:gd name="T66" fmla="*/ 891 w 903"/>
                <a:gd name="T67" fmla="*/ 1 h 31"/>
                <a:gd name="T68" fmla="*/ 888 w 903"/>
                <a:gd name="T69" fmla="*/ 1 h 31"/>
                <a:gd name="T70" fmla="*/ 888 w 903"/>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3" h="31">
                  <a:moveTo>
                    <a:pt x="888" y="0"/>
                  </a:moveTo>
                  <a:lnTo>
                    <a:pt x="15" y="0"/>
                  </a:lnTo>
                  <a:lnTo>
                    <a:pt x="12" y="1"/>
                  </a:lnTo>
                  <a:lnTo>
                    <a:pt x="10" y="2"/>
                  </a:lnTo>
                  <a:lnTo>
                    <a:pt x="7" y="4"/>
                  </a:lnTo>
                  <a:lnTo>
                    <a:pt x="4" y="6"/>
                  </a:lnTo>
                  <a:lnTo>
                    <a:pt x="3" y="8"/>
                  </a:lnTo>
                  <a:lnTo>
                    <a:pt x="1" y="10"/>
                  </a:lnTo>
                  <a:lnTo>
                    <a:pt x="1" y="13"/>
                  </a:lnTo>
                  <a:lnTo>
                    <a:pt x="0" y="16"/>
                  </a:lnTo>
                  <a:lnTo>
                    <a:pt x="1" y="19"/>
                  </a:lnTo>
                  <a:lnTo>
                    <a:pt x="1" y="22"/>
                  </a:lnTo>
                  <a:lnTo>
                    <a:pt x="3" y="24"/>
                  </a:lnTo>
                  <a:lnTo>
                    <a:pt x="4" y="26"/>
                  </a:lnTo>
                  <a:lnTo>
                    <a:pt x="7" y="28"/>
                  </a:lnTo>
                  <a:lnTo>
                    <a:pt x="10" y="29"/>
                  </a:lnTo>
                  <a:lnTo>
                    <a:pt x="12" y="30"/>
                  </a:lnTo>
                  <a:lnTo>
                    <a:pt x="15" y="31"/>
                  </a:lnTo>
                  <a:lnTo>
                    <a:pt x="888" y="30"/>
                  </a:lnTo>
                  <a:lnTo>
                    <a:pt x="891" y="30"/>
                  </a:lnTo>
                  <a:lnTo>
                    <a:pt x="895" y="29"/>
                  </a:lnTo>
                  <a:lnTo>
                    <a:pt x="897" y="28"/>
                  </a:lnTo>
                  <a:lnTo>
                    <a:pt x="899" y="26"/>
                  </a:lnTo>
                  <a:lnTo>
                    <a:pt x="901" y="24"/>
                  </a:lnTo>
                  <a:lnTo>
                    <a:pt x="902" y="22"/>
                  </a:lnTo>
                  <a:lnTo>
                    <a:pt x="903" y="19"/>
                  </a:lnTo>
                  <a:lnTo>
                    <a:pt x="903" y="16"/>
                  </a:lnTo>
                  <a:lnTo>
                    <a:pt x="903" y="13"/>
                  </a:lnTo>
                  <a:lnTo>
                    <a:pt x="902" y="10"/>
                  </a:lnTo>
                  <a:lnTo>
                    <a:pt x="901" y="8"/>
                  </a:lnTo>
                  <a:lnTo>
                    <a:pt x="899" y="6"/>
                  </a:lnTo>
                  <a:lnTo>
                    <a:pt x="897" y="4"/>
                  </a:lnTo>
                  <a:lnTo>
                    <a:pt x="895" y="2"/>
                  </a:lnTo>
                  <a:lnTo>
                    <a:pt x="891" y="1"/>
                  </a:lnTo>
                  <a:lnTo>
                    <a:pt x="888" y="1"/>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253">
              <a:extLst>
                <a:ext uri="{FF2B5EF4-FFF2-40B4-BE49-F238E27FC236}">
                  <a16:creationId xmlns:a16="http://schemas.microsoft.com/office/drawing/2014/main" id="{8BB0BA25-1618-4A02-BB54-94BD0BAAEB30}"/>
                </a:ext>
              </a:extLst>
            </p:cNvPr>
            <p:cNvSpPr>
              <a:spLocks noEditPoints="1"/>
            </p:cNvSpPr>
            <p:nvPr/>
          </p:nvSpPr>
          <p:spPr bwMode="auto">
            <a:xfrm>
              <a:off x="7023101" y="1343025"/>
              <a:ext cx="287338" cy="258762"/>
            </a:xfrm>
            <a:custGeom>
              <a:avLst/>
              <a:gdLst>
                <a:gd name="T0" fmla="*/ 768 w 903"/>
                <a:gd name="T1" fmla="*/ 723 h 813"/>
                <a:gd name="T2" fmla="*/ 90 w 903"/>
                <a:gd name="T3" fmla="*/ 783 h 813"/>
                <a:gd name="T4" fmla="*/ 181 w 903"/>
                <a:gd name="T5" fmla="*/ 331 h 813"/>
                <a:gd name="T6" fmla="*/ 151 w 903"/>
                <a:gd name="T7" fmla="*/ 331 h 813"/>
                <a:gd name="T8" fmla="*/ 843 w 903"/>
                <a:gd name="T9" fmla="*/ 301 h 813"/>
                <a:gd name="T10" fmla="*/ 60 w 903"/>
                <a:gd name="T11" fmla="*/ 301 h 813"/>
                <a:gd name="T12" fmla="*/ 797 w 903"/>
                <a:gd name="T13" fmla="*/ 211 h 813"/>
                <a:gd name="T14" fmla="*/ 211 w 903"/>
                <a:gd name="T15" fmla="*/ 693 h 813"/>
                <a:gd name="T16" fmla="*/ 301 w 903"/>
                <a:gd name="T17" fmla="*/ 693 h 813"/>
                <a:gd name="T18" fmla="*/ 331 w 903"/>
                <a:gd name="T19" fmla="*/ 331 h 813"/>
                <a:gd name="T20" fmla="*/ 331 w 903"/>
                <a:gd name="T21" fmla="*/ 693 h 813"/>
                <a:gd name="T22" fmla="*/ 512 w 903"/>
                <a:gd name="T23" fmla="*/ 331 h 813"/>
                <a:gd name="T24" fmla="*/ 542 w 903"/>
                <a:gd name="T25" fmla="*/ 693 h 813"/>
                <a:gd name="T26" fmla="*/ 573 w 903"/>
                <a:gd name="T27" fmla="*/ 693 h 813"/>
                <a:gd name="T28" fmla="*/ 603 w 903"/>
                <a:gd name="T29" fmla="*/ 331 h 813"/>
                <a:gd name="T30" fmla="*/ 603 w 903"/>
                <a:gd name="T31" fmla="*/ 693 h 813"/>
                <a:gd name="T32" fmla="*/ 723 w 903"/>
                <a:gd name="T33" fmla="*/ 331 h 813"/>
                <a:gd name="T34" fmla="*/ 15 w 903"/>
                <a:gd name="T35" fmla="*/ 813 h 813"/>
                <a:gd name="T36" fmla="*/ 888 w 903"/>
                <a:gd name="T37" fmla="*/ 813 h 813"/>
                <a:gd name="T38" fmla="*/ 897 w 903"/>
                <a:gd name="T39" fmla="*/ 811 h 813"/>
                <a:gd name="T40" fmla="*/ 902 w 903"/>
                <a:gd name="T41" fmla="*/ 805 h 813"/>
                <a:gd name="T42" fmla="*/ 903 w 903"/>
                <a:gd name="T43" fmla="*/ 796 h 813"/>
                <a:gd name="T44" fmla="*/ 899 w 903"/>
                <a:gd name="T45" fmla="*/ 787 h 813"/>
                <a:gd name="T46" fmla="*/ 891 w 903"/>
                <a:gd name="T47" fmla="*/ 784 h 813"/>
                <a:gd name="T48" fmla="*/ 843 w 903"/>
                <a:gd name="T49" fmla="*/ 708 h 813"/>
                <a:gd name="T50" fmla="*/ 841 w 903"/>
                <a:gd name="T51" fmla="*/ 699 h 813"/>
                <a:gd name="T52" fmla="*/ 834 w 903"/>
                <a:gd name="T53" fmla="*/ 694 h 813"/>
                <a:gd name="T54" fmla="*/ 783 w 903"/>
                <a:gd name="T55" fmla="*/ 693 h 813"/>
                <a:gd name="T56" fmla="*/ 861 w 903"/>
                <a:gd name="T57" fmla="*/ 331 h 813"/>
                <a:gd name="T58" fmla="*/ 869 w 903"/>
                <a:gd name="T59" fmla="*/ 327 h 813"/>
                <a:gd name="T60" fmla="*/ 873 w 903"/>
                <a:gd name="T61" fmla="*/ 320 h 813"/>
                <a:gd name="T62" fmla="*/ 873 w 903"/>
                <a:gd name="T63" fmla="*/ 227 h 813"/>
                <a:gd name="T64" fmla="*/ 871 w 903"/>
                <a:gd name="T65" fmla="*/ 218 h 813"/>
                <a:gd name="T66" fmla="*/ 459 w 903"/>
                <a:gd name="T67" fmla="*/ 2 h 813"/>
                <a:gd name="T68" fmla="*/ 448 w 903"/>
                <a:gd name="T69" fmla="*/ 1 h 813"/>
                <a:gd name="T70" fmla="*/ 38 w 903"/>
                <a:gd name="T71" fmla="*/ 213 h 813"/>
                <a:gd name="T72" fmla="*/ 34 w 903"/>
                <a:gd name="T73" fmla="*/ 216 h 813"/>
                <a:gd name="T74" fmla="*/ 31 w 903"/>
                <a:gd name="T75" fmla="*/ 221 h 813"/>
                <a:gd name="T76" fmla="*/ 30 w 903"/>
                <a:gd name="T77" fmla="*/ 225 h 813"/>
                <a:gd name="T78" fmla="*/ 30 w 903"/>
                <a:gd name="T79" fmla="*/ 316 h 813"/>
                <a:gd name="T80" fmla="*/ 33 w 903"/>
                <a:gd name="T81" fmla="*/ 325 h 813"/>
                <a:gd name="T82" fmla="*/ 40 w 903"/>
                <a:gd name="T83" fmla="*/ 330 h 813"/>
                <a:gd name="T84" fmla="*/ 121 w 903"/>
                <a:gd name="T85" fmla="*/ 331 h 813"/>
                <a:gd name="T86" fmla="*/ 73 w 903"/>
                <a:gd name="T87" fmla="*/ 693 h 813"/>
                <a:gd name="T88" fmla="*/ 64 w 903"/>
                <a:gd name="T89" fmla="*/ 697 h 813"/>
                <a:gd name="T90" fmla="*/ 61 w 903"/>
                <a:gd name="T91" fmla="*/ 705 h 813"/>
                <a:gd name="T92" fmla="*/ 15 w 903"/>
                <a:gd name="T93" fmla="*/ 783 h 813"/>
                <a:gd name="T94" fmla="*/ 7 w 903"/>
                <a:gd name="T95" fmla="*/ 786 h 813"/>
                <a:gd name="T96" fmla="*/ 1 w 903"/>
                <a:gd name="T97" fmla="*/ 793 h 813"/>
                <a:gd name="T98" fmla="*/ 1 w 903"/>
                <a:gd name="T99" fmla="*/ 801 h 813"/>
                <a:gd name="T100" fmla="*/ 4 w 903"/>
                <a:gd name="T101" fmla="*/ 809 h 813"/>
                <a:gd name="T102" fmla="*/ 12 w 903"/>
                <a:gd name="T103"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3" h="813">
                  <a:moveTo>
                    <a:pt x="90" y="723"/>
                  </a:moveTo>
                  <a:lnTo>
                    <a:pt x="136" y="723"/>
                  </a:lnTo>
                  <a:lnTo>
                    <a:pt x="768" y="723"/>
                  </a:lnTo>
                  <a:lnTo>
                    <a:pt x="813" y="723"/>
                  </a:lnTo>
                  <a:lnTo>
                    <a:pt x="813" y="783"/>
                  </a:lnTo>
                  <a:lnTo>
                    <a:pt x="90" y="783"/>
                  </a:lnTo>
                  <a:lnTo>
                    <a:pt x="90" y="723"/>
                  </a:lnTo>
                  <a:close/>
                  <a:moveTo>
                    <a:pt x="151" y="331"/>
                  </a:moveTo>
                  <a:lnTo>
                    <a:pt x="181" y="331"/>
                  </a:lnTo>
                  <a:lnTo>
                    <a:pt x="181" y="693"/>
                  </a:lnTo>
                  <a:lnTo>
                    <a:pt x="151" y="693"/>
                  </a:lnTo>
                  <a:lnTo>
                    <a:pt x="151" y="331"/>
                  </a:lnTo>
                  <a:close/>
                  <a:moveTo>
                    <a:pt x="60" y="241"/>
                  </a:moveTo>
                  <a:lnTo>
                    <a:pt x="843" y="241"/>
                  </a:lnTo>
                  <a:lnTo>
                    <a:pt x="843" y="301"/>
                  </a:lnTo>
                  <a:lnTo>
                    <a:pt x="768" y="301"/>
                  </a:lnTo>
                  <a:lnTo>
                    <a:pt x="136" y="301"/>
                  </a:lnTo>
                  <a:lnTo>
                    <a:pt x="60" y="301"/>
                  </a:lnTo>
                  <a:lnTo>
                    <a:pt x="60" y="241"/>
                  </a:lnTo>
                  <a:close/>
                  <a:moveTo>
                    <a:pt x="452" y="32"/>
                  </a:moveTo>
                  <a:lnTo>
                    <a:pt x="797" y="211"/>
                  </a:lnTo>
                  <a:lnTo>
                    <a:pt x="107" y="211"/>
                  </a:lnTo>
                  <a:lnTo>
                    <a:pt x="452" y="32"/>
                  </a:lnTo>
                  <a:close/>
                  <a:moveTo>
                    <a:pt x="211" y="693"/>
                  </a:moveTo>
                  <a:lnTo>
                    <a:pt x="211" y="331"/>
                  </a:lnTo>
                  <a:lnTo>
                    <a:pt x="301" y="331"/>
                  </a:lnTo>
                  <a:lnTo>
                    <a:pt x="301" y="693"/>
                  </a:lnTo>
                  <a:lnTo>
                    <a:pt x="211" y="693"/>
                  </a:lnTo>
                  <a:close/>
                  <a:moveTo>
                    <a:pt x="331" y="693"/>
                  </a:moveTo>
                  <a:lnTo>
                    <a:pt x="331" y="331"/>
                  </a:lnTo>
                  <a:lnTo>
                    <a:pt x="362" y="331"/>
                  </a:lnTo>
                  <a:lnTo>
                    <a:pt x="362" y="693"/>
                  </a:lnTo>
                  <a:lnTo>
                    <a:pt x="331" y="693"/>
                  </a:lnTo>
                  <a:close/>
                  <a:moveTo>
                    <a:pt x="392" y="693"/>
                  </a:moveTo>
                  <a:lnTo>
                    <a:pt x="392" y="331"/>
                  </a:lnTo>
                  <a:lnTo>
                    <a:pt x="512" y="331"/>
                  </a:lnTo>
                  <a:lnTo>
                    <a:pt x="512" y="693"/>
                  </a:lnTo>
                  <a:lnTo>
                    <a:pt x="392" y="693"/>
                  </a:lnTo>
                  <a:close/>
                  <a:moveTo>
                    <a:pt x="542" y="693"/>
                  </a:moveTo>
                  <a:lnTo>
                    <a:pt x="542" y="331"/>
                  </a:lnTo>
                  <a:lnTo>
                    <a:pt x="573" y="331"/>
                  </a:lnTo>
                  <a:lnTo>
                    <a:pt x="573" y="693"/>
                  </a:lnTo>
                  <a:lnTo>
                    <a:pt x="542" y="693"/>
                  </a:lnTo>
                  <a:close/>
                  <a:moveTo>
                    <a:pt x="603" y="693"/>
                  </a:moveTo>
                  <a:lnTo>
                    <a:pt x="603" y="331"/>
                  </a:lnTo>
                  <a:lnTo>
                    <a:pt x="693" y="331"/>
                  </a:lnTo>
                  <a:lnTo>
                    <a:pt x="693" y="693"/>
                  </a:lnTo>
                  <a:lnTo>
                    <a:pt x="603" y="693"/>
                  </a:lnTo>
                  <a:close/>
                  <a:moveTo>
                    <a:pt x="753" y="693"/>
                  </a:moveTo>
                  <a:lnTo>
                    <a:pt x="723" y="693"/>
                  </a:lnTo>
                  <a:lnTo>
                    <a:pt x="723" y="331"/>
                  </a:lnTo>
                  <a:lnTo>
                    <a:pt x="753" y="331"/>
                  </a:lnTo>
                  <a:lnTo>
                    <a:pt x="753" y="693"/>
                  </a:lnTo>
                  <a:close/>
                  <a:moveTo>
                    <a:pt x="15" y="813"/>
                  </a:moveTo>
                  <a:lnTo>
                    <a:pt x="75" y="813"/>
                  </a:lnTo>
                  <a:lnTo>
                    <a:pt x="828" y="813"/>
                  </a:lnTo>
                  <a:lnTo>
                    <a:pt x="888" y="813"/>
                  </a:lnTo>
                  <a:lnTo>
                    <a:pt x="891" y="813"/>
                  </a:lnTo>
                  <a:lnTo>
                    <a:pt x="895" y="812"/>
                  </a:lnTo>
                  <a:lnTo>
                    <a:pt x="897" y="811"/>
                  </a:lnTo>
                  <a:lnTo>
                    <a:pt x="899" y="809"/>
                  </a:lnTo>
                  <a:lnTo>
                    <a:pt x="901" y="807"/>
                  </a:lnTo>
                  <a:lnTo>
                    <a:pt x="902" y="805"/>
                  </a:lnTo>
                  <a:lnTo>
                    <a:pt x="903" y="801"/>
                  </a:lnTo>
                  <a:lnTo>
                    <a:pt x="903" y="798"/>
                  </a:lnTo>
                  <a:lnTo>
                    <a:pt x="903" y="796"/>
                  </a:lnTo>
                  <a:lnTo>
                    <a:pt x="902" y="793"/>
                  </a:lnTo>
                  <a:lnTo>
                    <a:pt x="901" y="791"/>
                  </a:lnTo>
                  <a:lnTo>
                    <a:pt x="899" y="787"/>
                  </a:lnTo>
                  <a:lnTo>
                    <a:pt x="897" y="786"/>
                  </a:lnTo>
                  <a:lnTo>
                    <a:pt x="895" y="784"/>
                  </a:lnTo>
                  <a:lnTo>
                    <a:pt x="891" y="784"/>
                  </a:lnTo>
                  <a:lnTo>
                    <a:pt x="888" y="783"/>
                  </a:lnTo>
                  <a:lnTo>
                    <a:pt x="843" y="783"/>
                  </a:lnTo>
                  <a:lnTo>
                    <a:pt x="843" y="708"/>
                  </a:lnTo>
                  <a:lnTo>
                    <a:pt x="843" y="705"/>
                  </a:lnTo>
                  <a:lnTo>
                    <a:pt x="842" y="703"/>
                  </a:lnTo>
                  <a:lnTo>
                    <a:pt x="841" y="699"/>
                  </a:lnTo>
                  <a:lnTo>
                    <a:pt x="839" y="697"/>
                  </a:lnTo>
                  <a:lnTo>
                    <a:pt x="837" y="696"/>
                  </a:lnTo>
                  <a:lnTo>
                    <a:pt x="834" y="694"/>
                  </a:lnTo>
                  <a:lnTo>
                    <a:pt x="831" y="693"/>
                  </a:lnTo>
                  <a:lnTo>
                    <a:pt x="828" y="693"/>
                  </a:lnTo>
                  <a:lnTo>
                    <a:pt x="783" y="693"/>
                  </a:lnTo>
                  <a:lnTo>
                    <a:pt x="783" y="331"/>
                  </a:lnTo>
                  <a:lnTo>
                    <a:pt x="858" y="331"/>
                  </a:lnTo>
                  <a:lnTo>
                    <a:pt x="861" y="331"/>
                  </a:lnTo>
                  <a:lnTo>
                    <a:pt x="865" y="330"/>
                  </a:lnTo>
                  <a:lnTo>
                    <a:pt x="867" y="329"/>
                  </a:lnTo>
                  <a:lnTo>
                    <a:pt x="869" y="327"/>
                  </a:lnTo>
                  <a:lnTo>
                    <a:pt x="871" y="325"/>
                  </a:lnTo>
                  <a:lnTo>
                    <a:pt x="872" y="323"/>
                  </a:lnTo>
                  <a:lnTo>
                    <a:pt x="873" y="320"/>
                  </a:lnTo>
                  <a:lnTo>
                    <a:pt x="873" y="316"/>
                  </a:lnTo>
                  <a:lnTo>
                    <a:pt x="873" y="227"/>
                  </a:lnTo>
                  <a:lnTo>
                    <a:pt x="873" y="227"/>
                  </a:lnTo>
                  <a:lnTo>
                    <a:pt x="874" y="226"/>
                  </a:lnTo>
                  <a:lnTo>
                    <a:pt x="873" y="222"/>
                  </a:lnTo>
                  <a:lnTo>
                    <a:pt x="871" y="218"/>
                  </a:lnTo>
                  <a:lnTo>
                    <a:pt x="868" y="215"/>
                  </a:lnTo>
                  <a:lnTo>
                    <a:pt x="863" y="212"/>
                  </a:lnTo>
                  <a:lnTo>
                    <a:pt x="459" y="2"/>
                  </a:lnTo>
                  <a:lnTo>
                    <a:pt x="456" y="1"/>
                  </a:lnTo>
                  <a:lnTo>
                    <a:pt x="452" y="0"/>
                  </a:lnTo>
                  <a:lnTo>
                    <a:pt x="448" y="1"/>
                  </a:lnTo>
                  <a:lnTo>
                    <a:pt x="445" y="2"/>
                  </a:lnTo>
                  <a:lnTo>
                    <a:pt x="39" y="213"/>
                  </a:lnTo>
                  <a:lnTo>
                    <a:pt x="38" y="213"/>
                  </a:lnTo>
                  <a:lnTo>
                    <a:pt x="35" y="215"/>
                  </a:lnTo>
                  <a:lnTo>
                    <a:pt x="35" y="216"/>
                  </a:lnTo>
                  <a:lnTo>
                    <a:pt x="34" y="216"/>
                  </a:lnTo>
                  <a:lnTo>
                    <a:pt x="33" y="218"/>
                  </a:lnTo>
                  <a:lnTo>
                    <a:pt x="32" y="220"/>
                  </a:lnTo>
                  <a:lnTo>
                    <a:pt x="31" y="221"/>
                  </a:lnTo>
                  <a:lnTo>
                    <a:pt x="31" y="222"/>
                  </a:lnTo>
                  <a:lnTo>
                    <a:pt x="31" y="223"/>
                  </a:lnTo>
                  <a:lnTo>
                    <a:pt x="30" y="225"/>
                  </a:lnTo>
                  <a:lnTo>
                    <a:pt x="30" y="226"/>
                  </a:lnTo>
                  <a:lnTo>
                    <a:pt x="30" y="226"/>
                  </a:lnTo>
                  <a:lnTo>
                    <a:pt x="30" y="316"/>
                  </a:lnTo>
                  <a:lnTo>
                    <a:pt x="31" y="320"/>
                  </a:lnTo>
                  <a:lnTo>
                    <a:pt x="31" y="323"/>
                  </a:lnTo>
                  <a:lnTo>
                    <a:pt x="33" y="325"/>
                  </a:lnTo>
                  <a:lnTo>
                    <a:pt x="34" y="327"/>
                  </a:lnTo>
                  <a:lnTo>
                    <a:pt x="38" y="329"/>
                  </a:lnTo>
                  <a:lnTo>
                    <a:pt x="40" y="330"/>
                  </a:lnTo>
                  <a:lnTo>
                    <a:pt x="43" y="331"/>
                  </a:lnTo>
                  <a:lnTo>
                    <a:pt x="45" y="331"/>
                  </a:lnTo>
                  <a:lnTo>
                    <a:pt x="121" y="331"/>
                  </a:lnTo>
                  <a:lnTo>
                    <a:pt x="121" y="693"/>
                  </a:lnTo>
                  <a:lnTo>
                    <a:pt x="75" y="693"/>
                  </a:lnTo>
                  <a:lnTo>
                    <a:pt x="73" y="693"/>
                  </a:lnTo>
                  <a:lnTo>
                    <a:pt x="70" y="694"/>
                  </a:lnTo>
                  <a:lnTo>
                    <a:pt x="68" y="695"/>
                  </a:lnTo>
                  <a:lnTo>
                    <a:pt x="64" y="697"/>
                  </a:lnTo>
                  <a:lnTo>
                    <a:pt x="63" y="699"/>
                  </a:lnTo>
                  <a:lnTo>
                    <a:pt x="61" y="703"/>
                  </a:lnTo>
                  <a:lnTo>
                    <a:pt x="61" y="705"/>
                  </a:lnTo>
                  <a:lnTo>
                    <a:pt x="60" y="708"/>
                  </a:lnTo>
                  <a:lnTo>
                    <a:pt x="60" y="783"/>
                  </a:lnTo>
                  <a:lnTo>
                    <a:pt x="15" y="783"/>
                  </a:lnTo>
                  <a:lnTo>
                    <a:pt x="12" y="784"/>
                  </a:lnTo>
                  <a:lnTo>
                    <a:pt x="10" y="784"/>
                  </a:lnTo>
                  <a:lnTo>
                    <a:pt x="7" y="786"/>
                  </a:lnTo>
                  <a:lnTo>
                    <a:pt x="4" y="787"/>
                  </a:lnTo>
                  <a:lnTo>
                    <a:pt x="3" y="791"/>
                  </a:lnTo>
                  <a:lnTo>
                    <a:pt x="1" y="793"/>
                  </a:lnTo>
                  <a:lnTo>
                    <a:pt x="1" y="796"/>
                  </a:lnTo>
                  <a:lnTo>
                    <a:pt x="0" y="798"/>
                  </a:lnTo>
                  <a:lnTo>
                    <a:pt x="1" y="801"/>
                  </a:lnTo>
                  <a:lnTo>
                    <a:pt x="1" y="805"/>
                  </a:lnTo>
                  <a:lnTo>
                    <a:pt x="3" y="807"/>
                  </a:lnTo>
                  <a:lnTo>
                    <a:pt x="4" y="809"/>
                  </a:lnTo>
                  <a:lnTo>
                    <a:pt x="7" y="811"/>
                  </a:lnTo>
                  <a:lnTo>
                    <a:pt x="10" y="812"/>
                  </a:lnTo>
                  <a:lnTo>
                    <a:pt x="12" y="813"/>
                  </a:lnTo>
                  <a:lnTo>
                    <a:pt x="15"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4" name="Group 230">
            <a:extLst>
              <a:ext uri="{FF2B5EF4-FFF2-40B4-BE49-F238E27FC236}">
                <a16:creationId xmlns:a16="http://schemas.microsoft.com/office/drawing/2014/main" id="{9E922A3F-E57E-4554-A4B7-4DF5C38FC2FD}"/>
              </a:ext>
            </a:extLst>
          </p:cNvPr>
          <p:cNvGrpSpPr>
            <a:grpSpLocks noChangeAspect="1"/>
          </p:cNvGrpSpPr>
          <p:nvPr/>
        </p:nvGrpSpPr>
        <p:grpSpPr>
          <a:xfrm>
            <a:off x="1066348" y="3263433"/>
            <a:ext cx="305901" cy="285619"/>
            <a:chOff x="8743951" y="788988"/>
            <a:chExt cx="287338" cy="268287"/>
          </a:xfrm>
          <a:solidFill>
            <a:schemeClr val="bg2"/>
          </a:solidFill>
          <a:effectLst/>
        </p:grpSpPr>
        <p:sp>
          <p:nvSpPr>
            <p:cNvPr id="1185" name="Freeform 314">
              <a:extLst>
                <a:ext uri="{FF2B5EF4-FFF2-40B4-BE49-F238E27FC236}">
                  <a16:creationId xmlns:a16="http://schemas.microsoft.com/office/drawing/2014/main" id="{EB484E7F-7631-4078-A8E3-CADC34D466D2}"/>
                </a:ext>
              </a:extLst>
            </p:cNvPr>
            <p:cNvSpPr>
              <a:spLocks/>
            </p:cNvSpPr>
            <p:nvPr/>
          </p:nvSpPr>
          <p:spPr bwMode="auto">
            <a:xfrm>
              <a:off x="8782051" y="931863"/>
              <a:ext cx="211138" cy="125412"/>
            </a:xfrm>
            <a:custGeom>
              <a:avLst/>
              <a:gdLst>
                <a:gd name="T0" fmla="*/ 647 w 662"/>
                <a:gd name="T1" fmla="*/ 0 h 392"/>
                <a:gd name="T2" fmla="*/ 644 w 662"/>
                <a:gd name="T3" fmla="*/ 1 h 392"/>
                <a:gd name="T4" fmla="*/ 641 w 662"/>
                <a:gd name="T5" fmla="*/ 2 h 392"/>
                <a:gd name="T6" fmla="*/ 639 w 662"/>
                <a:gd name="T7" fmla="*/ 3 h 392"/>
                <a:gd name="T8" fmla="*/ 637 w 662"/>
                <a:gd name="T9" fmla="*/ 5 h 392"/>
                <a:gd name="T10" fmla="*/ 634 w 662"/>
                <a:gd name="T11" fmla="*/ 7 h 392"/>
                <a:gd name="T12" fmla="*/ 633 w 662"/>
                <a:gd name="T13" fmla="*/ 10 h 392"/>
                <a:gd name="T14" fmla="*/ 632 w 662"/>
                <a:gd name="T15" fmla="*/ 13 h 392"/>
                <a:gd name="T16" fmla="*/ 632 w 662"/>
                <a:gd name="T17" fmla="*/ 16 h 392"/>
                <a:gd name="T18" fmla="*/ 632 w 662"/>
                <a:gd name="T19" fmla="*/ 361 h 392"/>
                <a:gd name="T20" fmla="*/ 451 w 662"/>
                <a:gd name="T21" fmla="*/ 361 h 392"/>
                <a:gd name="T22" fmla="*/ 451 w 662"/>
                <a:gd name="T23" fmla="*/ 91 h 392"/>
                <a:gd name="T24" fmla="*/ 211 w 662"/>
                <a:gd name="T25" fmla="*/ 91 h 392"/>
                <a:gd name="T26" fmla="*/ 211 w 662"/>
                <a:gd name="T27" fmla="*/ 361 h 392"/>
                <a:gd name="T28" fmla="*/ 30 w 662"/>
                <a:gd name="T29" fmla="*/ 361 h 392"/>
                <a:gd name="T30" fmla="*/ 30 w 662"/>
                <a:gd name="T31" fmla="*/ 15 h 392"/>
                <a:gd name="T32" fmla="*/ 30 w 662"/>
                <a:gd name="T33" fmla="*/ 13 h 392"/>
                <a:gd name="T34" fmla="*/ 29 w 662"/>
                <a:gd name="T35" fmla="*/ 10 h 392"/>
                <a:gd name="T36" fmla="*/ 27 w 662"/>
                <a:gd name="T37" fmla="*/ 7 h 392"/>
                <a:gd name="T38" fmla="*/ 25 w 662"/>
                <a:gd name="T39" fmla="*/ 5 h 392"/>
                <a:gd name="T40" fmla="*/ 23 w 662"/>
                <a:gd name="T41" fmla="*/ 3 h 392"/>
                <a:gd name="T42" fmla="*/ 21 w 662"/>
                <a:gd name="T43" fmla="*/ 2 h 392"/>
                <a:gd name="T44" fmla="*/ 18 w 662"/>
                <a:gd name="T45" fmla="*/ 1 h 392"/>
                <a:gd name="T46" fmla="*/ 15 w 662"/>
                <a:gd name="T47" fmla="*/ 0 h 392"/>
                <a:gd name="T48" fmla="*/ 11 w 662"/>
                <a:gd name="T49" fmla="*/ 1 h 392"/>
                <a:gd name="T50" fmla="*/ 9 w 662"/>
                <a:gd name="T51" fmla="*/ 2 h 392"/>
                <a:gd name="T52" fmla="*/ 6 w 662"/>
                <a:gd name="T53" fmla="*/ 3 h 392"/>
                <a:gd name="T54" fmla="*/ 4 w 662"/>
                <a:gd name="T55" fmla="*/ 5 h 392"/>
                <a:gd name="T56" fmla="*/ 3 w 662"/>
                <a:gd name="T57" fmla="*/ 7 h 392"/>
                <a:gd name="T58" fmla="*/ 1 w 662"/>
                <a:gd name="T59" fmla="*/ 10 h 392"/>
                <a:gd name="T60" fmla="*/ 0 w 662"/>
                <a:gd name="T61" fmla="*/ 13 h 392"/>
                <a:gd name="T62" fmla="*/ 0 w 662"/>
                <a:gd name="T63" fmla="*/ 16 h 392"/>
                <a:gd name="T64" fmla="*/ 0 w 662"/>
                <a:gd name="T65" fmla="*/ 392 h 392"/>
                <a:gd name="T66" fmla="*/ 241 w 662"/>
                <a:gd name="T67" fmla="*/ 392 h 392"/>
                <a:gd name="T68" fmla="*/ 241 w 662"/>
                <a:gd name="T69" fmla="*/ 121 h 392"/>
                <a:gd name="T70" fmla="*/ 421 w 662"/>
                <a:gd name="T71" fmla="*/ 121 h 392"/>
                <a:gd name="T72" fmla="*/ 421 w 662"/>
                <a:gd name="T73" fmla="*/ 392 h 392"/>
                <a:gd name="T74" fmla="*/ 662 w 662"/>
                <a:gd name="T75" fmla="*/ 392 h 392"/>
                <a:gd name="T76" fmla="*/ 662 w 662"/>
                <a:gd name="T77" fmla="*/ 15 h 392"/>
                <a:gd name="T78" fmla="*/ 661 w 662"/>
                <a:gd name="T79" fmla="*/ 13 h 392"/>
                <a:gd name="T80" fmla="*/ 661 w 662"/>
                <a:gd name="T81" fmla="*/ 10 h 392"/>
                <a:gd name="T82" fmla="*/ 659 w 662"/>
                <a:gd name="T83" fmla="*/ 7 h 392"/>
                <a:gd name="T84" fmla="*/ 658 w 662"/>
                <a:gd name="T85" fmla="*/ 5 h 392"/>
                <a:gd name="T86" fmla="*/ 655 w 662"/>
                <a:gd name="T87" fmla="*/ 3 h 392"/>
                <a:gd name="T88" fmla="*/ 653 w 662"/>
                <a:gd name="T89" fmla="*/ 2 h 392"/>
                <a:gd name="T90" fmla="*/ 649 w 662"/>
                <a:gd name="T91" fmla="*/ 1 h 392"/>
                <a:gd name="T92" fmla="*/ 647 w 662"/>
                <a:gd name="T93" fmla="*/ 0 h 392"/>
                <a:gd name="T94" fmla="*/ 647 w 662"/>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2" h="392">
                  <a:moveTo>
                    <a:pt x="647" y="0"/>
                  </a:moveTo>
                  <a:lnTo>
                    <a:pt x="644" y="1"/>
                  </a:lnTo>
                  <a:lnTo>
                    <a:pt x="641" y="2"/>
                  </a:lnTo>
                  <a:lnTo>
                    <a:pt x="639" y="3"/>
                  </a:lnTo>
                  <a:lnTo>
                    <a:pt x="637" y="5"/>
                  </a:lnTo>
                  <a:lnTo>
                    <a:pt x="634" y="7"/>
                  </a:lnTo>
                  <a:lnTo>
                    <a:pt x="633" y="10"/>
                  </a:lnTo>
                  <a:lnTo>
                    <a:pt x="632" y="13"/>
                  </a:lnTo>
                  <a:lnTo>
                    <a:pt x="632" y="16"/>
                  </a:lnTo>
                  <a:lnTo>
                    <a:pt x="632" y="361"/>
                  </a:lnTo>
                  <a:lnTo>
                    <a:pt x="451" y="361"/>
                  </a:lnTo>
                  <a:lnTo>
                    <a:pt x="451" y="91"/>
                  </a:lnTo>
                  <a:lnTo>
                    <a:pt x="211" y="91"/>
                  </a:lnTo>
                  <a:lnTo>
                    <a:pt x="211" y="361"/>
                  </a:lnTo>
                  <a:lnTo>
                    <a:pt x="30" y="361"/>
                  </a:lnTo>
                  <a:lnTo>
                    <a:pt x="30" y="15"/>
                  </a:lnTo>
                  <a:lnTo>
                    <a:pt x="30" y="13"/>
                  </a:lnTo>
                  <a:lnTo>
                    <a:pt x="29" y="10"/>
                  </a:lnTo>
                  <a:lnTo>
                    <a:pt x="27" y="7"/>
                  </a:lnTo>
                  <a:lnTo>
                    <a:pt x="25" y="5"/>
                  </a:lnTo>
                  <a:lnTo>
                    <a:pt x="23" y="3"/>
                  </a:lnTo>
                  <a:lnTo>
                    <a:pt x="21" y="2"/>
                  </a:lnTo>
                  <a:lnTo>
                    <a:pt x="18" y="1"/>
                  </a:lnTo>
                  <a:lnTo>
                    <a:pt x="15" y="0"/>
                  </a:lnTo>
                  <a:lnTo>
                    <a:pt x="11" y="1"/>
                  </a:lnTo>
                  <a:lnTo>
                    <a:pt x="9" y="2"/>
                  </a:lnTo>
                  <a:lnTo>
                    <a:pt x="6" y="3"/>
                  </a:lnTo>
                  <a:lnTo>
                    <a:pt x="4" y="5"/>
                  </a:lnTo>
                  <a:lnTo>
                    <a:pt x="3" y="7"/>
                  </a:lnTo>
                  <a:lnTo>
                    <a:pt x="1" y="10"/>
                  </a:lnTo>
                  <a:lnTo>
                    <a:pt x="0" y="13"/>
                  </a:lnTo>
                  <a:lnTo>
                    <a:pt x="0" y="16"/>
                  </a:lnTo>
                  <a:lnTo>
                    <a:pt x="0" y="392"/>
                  </a:lnTo>
                  <a:lnTo>
                    <a:pt x="241" y="392"/>
                  </a:lnTo>
                  <a:lnTo>
                    <a:pt x="241" y="121"/>
                  </a:lnTo>
                  <a:lnTo>
                    <a:pt x="421" y="121"/>
                  </a:lnTo>
                  <a:lnTo>
                    <a:pt x="421" y="392"/>
                  </a:lnTo>
                  <a:lnTo>
                    <a:pt x="662" y="392"/>
                  </a:lnTo>
                  <a:lnTo>
                    <a:pt x="662" y="15"/>
                  </a:lnTo>
                  <a:lnTo>
                    <a:pt x="661" y="13"/>
                  </a:lnTo>
                  <a:lnTo>
                    <a:pt x="661" y="10"/>
                  </a:lnTo>
                  <a:lnTo>
                    <a:pt x="659" y="7"/>
                  </a:lnTo>
                  <a:lnTo>
                    <a:pt x="658" y="5"/>
                  </a:lnTo>
                  <a:lnTo>
                    <a:pt x="655" y="3"/>
                  </a:lnTo>
                  <a:lnTo>
                    <a:pt x="653" y="2"/>
                  </a:lnTo>
                  <a:lnTo>
                    <a:pt x="649" y="1"/>
                  </a:lnTo>
                  <a:lnTo>
                    <a:pt x="647" y="0"/>
                  </a:lnTo>
                  <a:lnTo>
                    <a:pt x="6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315">
              <a:extLst>
                <a:ext uri="{FF2B5EF4-FFF2-40B4-BE49-F238E27FC236}">
                  <a16:creationId xmlns:a16="http://schemas.microsoft.com/office/drawing/2014/main" id="{248BF3E7-A149-45C8-B21C-BDCAB4779A02}"/>
                </a:ext>
              </a:extLst>
            </p:cNvPr>
            <p:cNvSpPr>
              <a:spLocks/>
            </p:cNvSpPr>
            <p:nvPr/>
          </p:nvSpPr>
          <p:spPr bwMode="auto">
            <a:xfrm>
              <a:off x="8743951" y="788988"/>
              <a:ext cx="287338" cy="149225"/>
            </a:xfrm>
            <a:custGeom>
              <a:avLst/>
              <a:gdLst>
                <a:gd name="T0" fmla="*/ 899 w 903"/>
                <a:gd name="T1" fmla="*/ 441 h 468"/>
                <a:gd name="T2" fmla="*/ 463 w 903"/>
                <a:gd name="T3" fmla="*/ 4 h 468"/>
                <a:gd name="T4" fmla="*/ 461 w 903"/>
                <a:gd name="T5" fmla="*/ 3 h 468"/>
                <a:gd name="T6" fmla="*/ 457 w 903"/>
                <a:gd name="T7" fmla="*/ 1 h 468"/>
                <a:gd name="T8" fmla="*/ 455 w 903"/>
                <a:gd name="T9" fmla="*/ 1 h 468"/>
                <a:gd name="T10" fmla="*/ 452 w 903"/>
                <a:gd name="T11" fmla="*/ 0 h 468"/>
                <a:gd name="T12" fmla="*/ 449 w 903"/>
                <a:gd name="T13" fmla="*/ 1 h 468"/>
                <a:gd name="T14" fmla="*/ 447 w 903"/>
                <a:gd name="T15" fmla="*/ 1 h 468"/>
                <a:gd name="T16" fmla="*/ 443 w 903"/>
                <a:gd name="T17" fmla="*/ 3 h 468"/>
                <a:gd name="T18" fmla="*/ 441 w 903"/>
                <a:gd name="T19" fmla="*/ 4 h 468"/>
                <a:gd name="T20" fmla="*/ 5 w 903"/>
                <a:gd name="T21" fmla="*/ 441 h 468"/>
                <a:gd name="T22" fmla="*/ 3 w 903"/>
                <a:gd name="T23" fmla="*/ 444 h 468"/>
                <a:gd name="T24" fmla="*/ 2 w 903"/>
                <a:gd name="T25" fmla="*/ 447 h 468"/>
                <a:gd name="T26" fmla="*/ 0 w 903"/>
                <a:gd name="T27" fmla="*/ 450 h 468"/>
                <a:gd name="T28" fmla="*/ 0 w 903"/>
                <a:gd name="T29" fmla="*/ 452 h 468"/>
                <a:gd name="T30" fmla="*/ 0 w 903"/>
                <a:gd name="T31" fmla="*/ 455 h 468"/>
                <a:gd name="T32" fmla="*/ 2 w 903"/>
                <a:gd name="T33" fmla="*/ 458 h 468"/>
                <a:gd name="T34" fmla="*/ 3 w 903"/>
                <a:gd name="T35" fmla="*/ 460 h 468"/>
                <a:gd name="T36" fmla="*/ 5 w 903"/>
                <a:gd name="T37" fmla="*/ 463 h 468"/>
                <a:gd name="T38" fmla="*/ 7 w 903"/>
                <a:gd name="T39" fmla="*/ 465 h 468"/>
                <a:gd name="T40" fmla="*/ 10 w 903"/>
                <a:gd name="T41" fmla="*/ 466 h 468"/>
                <a:gd name="T42" fmla="*/ 12 w 903"/>
                <a:gd name="T43" fmla="*/ 467 h 468"/>
                <a:gd name="T44" fmla="*/ 15 w 903"/>
                <a:gd name="T45" fmla="*/ 468 h 468"/>
                <a:gd name="T46" fmla="*/ 19 w 903"/>
                <a:gd name="T47" fmla="*/ 467 h 468"/>
                <a:gd name="T48" fmla="*/ 21 w 903"/>
                <a:gd name="T49" fmla="*/ 467 h 468"/>
                <a:gd name="T50" fmla="*/ 24 w 903"/>
                <a:gd name="T51" fmla="*/ 465 h 468"/>
                <a:gd name="T52" fmla="*/ 26 w 903"/>
                <a:gd name="T53" fmla="*/ 463 h 468"/>
                <a:gd name="T54" fmla="*/ 452 w 903"/>
                <a:gd name="T55" fmla="*/ 37 h 468"/>
                <a:gd name="T56" fmla="*/ 878 w 903"/>
                <a:gd name="T57" fmla="*/ 463 h 468"/>
                <a:gd name="T58" fmla="*/ 880 w 903"/>
                <a:gd name="T59" fmla="*/ 465 h 468"/>
                <a:gd name="T60" fmla="*/ 883 w 903"/>
                <a:gd name="T61" fmla="*/ 466 h 468"/>
                <a:gd name="T62" fmla="*/ 885 w 903"/>
                <a:gd name="T63" fmla="*/ 467 h 468"/>
                <a:gd name="T64" fmla="*/ 888 w 903"/>
                <a:gd name="T65" fmla="*/ 468 h 468"/>
                <a:gd name="T66" fmla="*/ 892 w 903"/>
                <a:gd name="T67" fmla="*/ 467 h 468"/>
                <a:gd name="T68" fmla="*/ 894 w 903"/>
                <a:gd name="T69" fmla="*/ 466 h 468"/>
                <a:gd name="T70" fmla="*/ 897 w 903"/>
                <a:gd name="T71" fmla="*/ 465 h 468"/>
                <a:gd name="T72" fmla="*/ 899 w 903"/>
                <a:gd name="T73" fmla="*/ 463 h 468"/>
                <a:gd name="T74" fmla="*/ 901 w 903"/>
                <a:gd name="T75" fmla="*/ 460 h 468"/>
                <a:gd name="T76" fmla="*/ 902 w 903"/>
                <a:gd name="T77" fmla="*/ 458 h 468"/>
                <a:gd name="T78" fmla="*/ 903 w 903"/>
                <a:gd name="T79" fmla="*/ 455 h 468"/>
                <a:gd name="T80" fmla="*/ 903 w 903"/>
                <a:gd name="T81" fmla="*/ 452 h 468"/>
                <a:gd name="T82" fmla="*/ 903 w 903"/>
                <a:gd name="T83" fmla="*/ 450 h 468"/>
                <a:gd name="T84" fmla="*/ 902 w 903"/>
                <a:gd name="T85" fmla="*/ 447 h 468"/>
                <a:gd name="T86" fmla="*/ 901 w 903"/>
                <a:gd name="T87" fmla="*/ 444 h 468"/>
                <a:gd name="T88" fmla="*/ 899 w 903"/>
                <a:gd name="T89" fmla="*/ 442 h 468"/>
                <a:gd name="T90" fmla="*/ 899 w 903"/>
                <a:gd name="T91"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3" h="468">
                  <a:moveTo>
                    <a:pt x="899" y="441"/>
                  </a:moveTo>
                  <a:lnTo>
                    <a:pt x="463" y="4"/>
                  </a:lnTo>
                  <a:lnTo>
                    <a:pt x="461" y="3"/>
                  </a:lnTo>
                  <a:lnTo>
                    <a:pt x="457" y="1"/>
                  </a:lnTo>
                  <a:lnTo>
                    <a:pt x="455" y="1"/>
                  </a:lnTo>
                  <a:lnTo>
                    <a:pt x="452" y="0"/>
                  </a:lnTo>
                  <a:lnTo>
                    <a:pt x="449" y="1"/>
                  </a:lnTo>
                  <a:lnTo>
                    <a:pt x="447" y="1"/>
                  </a:lnTo>
                  <a:lnTo>
                    <a:pt x="443" y="3"/>
                  </a:lnTo>
                  <a:lnTo>
                    <a:pt x="441" y="4"/>
                  </a:lnTo>
                  <a:lnTo>
                    <a:pt x="5" y="441"/>
                  </a:lnTo>
                  <a:lnTo>
                    <a:pt x="3" y="444"/>
                  </a:lnTo>
                  <a:lnTo>
                    <a:pt x="2" y="447"/>
                  </a:lnTo>
                  <a:lnTo>
                    <a:pt x="0" y="450"/>
                  </a:lnTo>
                  <a:lnTo>
                    <a:pt x="0" y="452"/>
                  </a:lnTo>
                  <a:lnTo>
                    <a:pt x="0" y="455"/>
                  </a:lnTo>
                  <a:lnTo>
                    <a:pt x="2" y="458"/>
                  </a:lnTo>
                  <a:lnTo>
                    <a:pt x="3" y="460"/>
                  </a:lnTo>
                  <a:lnTo>
                    <a:pt x="5" y="463"/>
                  </a:lnTo>
                  <a:lnTo>
                    <a:pt x="7" y="465"/>
                  </a:lnTo>
                  <a:lnTo>
                    <a:pt x="10" y="466"/>
                  </a:lnTo>
                  <a:lnTo>
                    <a:pt x="12" y="467"/>
                  </a:lnTo>
                  <a:lnTo>
                    <a:pt x="15" y="468"/>
                  </a:lnTo>
                  <a:lnTo>
                    <a:pt x="19" y="467"/>
                  </a:lnTo>
                  <a:lnTo>
                    <a:pt x="21" y="467"/>
                  </a:lnTo>
                  <a:lnTo>
                    <a:pt x="24" y="465"/>
                  </a:lnTo>
                  <a:lnTo>
                    <a:pt x="26" y="463"/>
                  </a:lnTo>
                  <a:lnTo>
                    <a:pt x="452" y="37"/>
                  </a:lnTo>
                  <a:lnTo>
                    <a:pt x="878" y="463"/>
                  </a:lnTo>
                  <a:lnTo>
                    <a:pt x="880" y="465"/>
                  </a:lnTo>
                  <a:lnTo>
                    <a:pt x="883" y="466"/>
                  </a:lnTo>
                  <a:lnTo>
                    <a:pt x="885" y="467"/>
                  </a:lnTo>
                  <a:lnTo>
                    <a:pt x="888" y="468"/>
                  </a:lnTo>
                  <a:lnTo>
                    <a:pt x="892" y="467"/>
                  </a:lnTo>
                  <a:lnTo>
                    <a:pt x="894" y="466"/>
                  </a:lnTo>
                  <a:lnTo>
                    <a:pt x="897" y="465"/>
                  </a:lnTo>
                  <a:lnTo>
                    <a:pt x="899" y="463"/>
                  </a:lnTo>
                  <a:lnTo>
                    <a:pt x="901" y="460"/>
                  </a:lnTo>
                  <a:lnTo>
                    <a:pt x="902" y="458"/>
                  </a:lnTo>
                  <a:lnTo>
                    <a:pt x="903" y="455"/>
                  </a:lnTo>
                  <a:lnTo>
                    <a:pt x="903" y="452"/>
                  </a:lnTo>
                  <a:lnTo>
                    <a:pt x="903" y="450"/>
                  </a:lnTo>
                  <a:lnTo>
                    <a:pt x="902" y="447"/>
                  </a:lnTo>
                  <a:lnTo>
                    <a:pt x="901" y="444"/>
                  </a:lnTo>
                  <a:lnTo>
                    <a:pt x="899" y="442"/>
                  </a:lnTo>
                  <a:lnTo>
                    <a:pt x="899" y="4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316">
              <a:extLst>
                <a:ext uri="{FF2B5EF4-FFF2-40B4-BE49-F238E27FC236}">
                  <a16:creationId xmlns:a16="http://schemas.microsoft.com/office/drawing/2014/main" id="{E7C10D47-E0E8-445D-B03C-C9C284B1ACBE}"/>
                </a:ext>
              </a:extLst>
            </p:cNvPr>
            <p:cNvSpPr>
              <a:spLocks/>
            </p:cNvSpPr>
            <p:nvPr/>
          </p:nvSpPr>
          <p:spPr bwMode="auto">
            <a:xfrm>
              <a:off x="8924926" y="798513"/>
              <a:ext cx="58738" cy="57150"/>
            </a:xfrm>
            <a:custGeom>
              <a:avLst/>
              <a:gdLst>
                <a:gd name="T0" fmla="*/ 15 w 181"/>
                <a:gd name="T1" fmla="*/ 30 h 182"/>
                <a:gd name="T2" fmla="*/ 151 w 181"/>
                <a:gd name="T3" fmla="*/ 30 h 182"/>
                <a:gd name="T4" fmla="*/ 151 w 181"/>
                <a:gd name="T5" fmla="*/ 167 h 182"/>
                <a:gd name="T6" fmla="*/ 151 w 181"/>
                <a:gd name="T7" fmla="*/ 170 h 182"/>
                <a:gd name="T8" fmla="*/ 152 w 181"/>
                <a:gd name="T9" fmla="*/ 172 h 182"/>
                <a:gd name="T10" fmla="*/ 153 w 181"/>
                <a:gd name="T11" fmla="*/ 175 h 182"/>
                <a:gd name="T12" fmla="*/ 156 w 181"/>
                <a:gd name="T13" fmla="*/ 177 h 182"/>
                <a:gd name="T14" fmla="*/ 158 w 181"/>
                <a:gd name="T15" fmla="*/ 178 h 182"/>
                <a:gd name="T16" fmla="*/ 160 w 181"/>
                <a:gd name="T17" fmla="*/ 180 h 182"/>
                <a:gd name="T18" fmla="*/ 163 w 181"/>
                <a:gd name="T19" fmla="*/ 182 h 182"/>
                <a:gd name="T20" fmla="*/ 166 w 181"/>
                <a:gd name="T21" fmla="*/ 182 h 182"/>
                <a:gd name="T22" fmla="*/ 168 w 181"/>
                <a:gd name="T23" fmla="*/ 182 h 182"/>
                <a:gd name="T24" fmla="*/ 172 w 181"/>
                <a:gd name="T25" fmla="*/ 180 h 182"/>
                <a:gd name="T26" fmla="*/ 174 w 181"/>
                <a:gd name="T27" fmla="*/ 178 h 182"/>
                <a:gd name="T28" fmla="*/ 176 w 181"/>
                <a:gd name="T29" fmla="*/ 177 h 182"/>
                <a:gd name="T30" fmla="*/ 178 w 181"/>
                <a:gd name="T31" fmla="*/ 175 h 182"/>
                <a:gd name="T32" fmla="*/ 179 w 181"/>
                <a:gd name="T33" fmla="*/ 172 h 182"/>
                <a:gd name="T34" fmla="*/ 180 w 181"/>
                <a:gd name="T35" fmla="*/ 170 h 182"/>
                <a:gd name="T36" fmla="*/ 181 w 181"/>
                <a:gd name="T37" fmla="*/ 167 h 182"/>
                <a:gd name="T38" fmla="*/ 181 w 181"/>
                <a:gd name="T39" fmla="*/ 0 h 182"/>
                <a:gd name="T40" fmla="*/ 15 w 181"/>
                <a:gd name="T41" fmla="*/ 0 h 182"/>
                <a:gd name="T42" fmla="*/ 12 w 181"/>
                <a:gd name="T43" fmla="*/ 1 h 182"/>
                <a:gd name="T44" fmla="*/ 10 w 181"/>
                <a:gd name="T45" fmla="*/ 2 h 182"/>
                <a:gd name="T46" fmla="*/ 7 w 181"/>
                <a:gd name="T47" fmla="*/ 3 h 182"/>
                <a:gd name="T48" fmla="*/ 4 w 181"/>
                <a:gd name="T49" fmla="*/ 6 h 182"/>
                <a:gd name="T50" fmla="*/ 3 w 181"/>
                <a:gd name="T51" fmla="*/ 8 h 182"/>
                <a:gd name="T52" fmla="*/ 1 w 181"/>
                <a:gd name="T53" fmla="*/ 10 h 182"/>
                <a:gd name="T54" fmla="*/ 0 w 181"/>
                <a:gd name="T55" fmla="*/ 13 h 182"/>
                <a:gd name="T56" fmla="*/ 0 w 181"/>
                <a:gd name="T57" fmla="*/ 16 h 182"/>
                <a:gd name="T58" fmla="*/ 0 w 181"/>
                <a:gd name="T59" fmla="*/ 18 h 182"/>
                <a:gd name="T60" fmla="*/ 1 w 181"/>
                <a:gd name="T61" fmla="*/ 22 h 182"/>
                <a:gd name="T62" fmla="*/ 3 w 181"/>
                <a:gd name="T63" fmla="*/ 24 h 182"/>
                <a:gd name="T64" fmla="*/ 4 w 181"/>
                <a:gd name="T65" fmla="*/ 26 h 182"/>
                <a:gd name="T66" fmla="*/ 7 w 181"/>
                <a:gd name="T67" fmla="*/ 28 h 182"/>
                <a:gd name="T68" fmla="*/ 10 w 181"/>
                <a:gd name="T69" fmla="*/ 29 h 182"/>
                <a:gd name="T70" fmla="*/ 12 w 181"/>
                <a:gd name="T71" fmla="*/ 30 h 182"/>
                <a:gd name="T72" fmla="*/ 15 w 181"/>
                <a:gd name="T73" fmla="*/ 31 h 182"/>
                <a:gd name="T74" fmla="*/ 15 w 181"/>
                <a:gd name="T75" fmla="*/ 3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15" y="30"/>
                  </a:moveTo>
                  <a:lnTo>
                    <a:pt x="151" y="30"/>
                  </a:lnTo>
                  <a:lnTo>
                    <a:pt x="151" y="167"/>
                  </a:lnTo>
                  <a:lnTo>
                    <a:pt x="151" y="170"/>
                  </a:lnTo>
                  <a:lnTo>
                    <a:pt x="152" y="172"/>
                  </a:lnTo>
                  <a:lnTo>
                    <a:pt x="153" y="175"/>
                  </a:lnTo>
                  <a:lnTo>
                    <a:pt x="156" y="177"/>
                  </a:lnTo>
                  <a:lnTo>
                    <a:pt x="158" y="178"/>
                  </a:lnTo>
                  <a:lnTo>
                    <a:pt x="160" y="180"/>
                  </a:lnTo>
                  <a:lnTo>
                    <a:pt x="163" y="182"/>
                  </a:lnTo>
                  <a:lnTo>
                    <a:pt x="166" y="182"/>
                  </a:lnTo>
                  <a:lnTo>
                    <a:pt x="168" y="182"/>
                  </a:lnTo>
                  <a:lnTo>
                    <a:pt x="172" y="180"/>
                  </a:lnTo>
                  <a:lnTo>
                    <a:pt x="174" y="178"/>
                  </a:lnTo>
                  <a:lnTo>
                    <a:pt x="176" y="177"/>
                  </a:lnTo>
                  <a:lnTo>
                    <a:pt x="178" y="175"/>
                  </a:lnTo>
                  <a:lnTo>
                    <a:pt x="179" y="172"/>
                  </a:lnTo>
                  <a:lnTo>
                    <a:pt x="180" y="170"/>
                  </a:lnTo>
                  <a:lnTo>
                    <a:pt x="181" y="167"/>
                  </a:lnTo>
                  <a:lnTo>
                    <a:pt x="181" y="0"/>
                  </a:lnTo>
                  <a:lnTo>
                    <a:pt x="15" y="0"/>
                  </a:lnTo>
                  <a:lnTo>
                    <a:pt x="12" y="1"/>
                  </a:lnTo>
                  <a:lnTo>
                    <a:pt x="10" y="2"/>
                  </a:lnTo>
                  <a:lnTo>
                    <a:pt x="7" y="3"/>
                  </a:lnTo>
                  <a:lnTo>
                    <a:pt x="4" y="6"/>
                  </a:lnTo>
                  <a:lnTo>
                    <a:pt x="3" y="8"/>
                  </a:lnTo>
                  <a:lnTo>
                    <a:pt x="1" y="10"/>
                  </a:lnTo>
                  <a:lnTo>
                    <a:pt x="0" y="13"/>
                  </a:lnTo>
                  <a:lnTo>
                    <a:pt x="0" y="16"/>
                  </a:lnTo>
                  <a:lnTo>
                    <a:pt x="0" y="18"/>
                  </a:lnTo>
                  <a:lnTo>
                    <a:pt x="1" y="22"/>
                  </a:lnTo>
                  <a:lnTo>
                    <a:pt x="3" y="24"/>
                  </a:lnTo>
                  <a:lnTo>
                    <a:pt x="4" y="26"/>
                  </a:lnTo>
                  <a:lnTo>
                    <a:pt x="7" y="28"/>
                  </a:lnTo>
                  <a:lnTo>
                    <a:pt x="10" y="29"/>
                  </a:lnTo>
                  <a:lnTo>
                    <a:pt x="12" y="30"/>
                  </a:lnTo>
                  <a:lnTo>
                    <a:pt x="15" y="31"/>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1" name="Freeform 253">
            <a:extLst>
              <a:ext uri="{FF2B5EF4-FFF2-40B4-BE49-F238E27FC236}">
                <a16:creationId xmlns:a16="http://schemas.microsoft.com/office/drawing/2014/main" id="{606905B5-0F03-4500-B61C-46528D18B6A9}"/>
              </a:ext>
            </a:extLst>
          </p:cNvPr>
          <p:cNvSpPr>
            <a:spLocks noChangeAspect="1" noEditPoints="1"/>
          </p:cNvSpPr>
          <p:nvPr/>
        </p:nvSpPr>
        <p:spPr bwMode="auto">
          <a:xfrm>
            <a:off x="1463070" y="3263433"/>
            <a:ext cx="317161" cy="285619"/>
          </a:xfrm>
          <a:custGeom>
            <a:avLst/>
            <a:gdLst>
              <a:gd name="T0" fmla="*/ 768 w 903"/>
              <a:gd name="T1" fmla="*/ 723 h 813"/>
              <a:gd name="T2" fmla="*/ 90 w 903"/>
              <a:gd name="T3" fmla="*/ 783 h 813"/>
              <a:gd name="T4" fmla="*/ 181 w 903"/>
              <a:gd name="T5" fmla="*/ 331 h 813"/>
              <a:gd name="T6" fmla="*/ 151 w 903"/>
              <a:gd name="T7" fmla="*/ 331 h 813"/>
              <a:gd name="T8" fmla="*/ 843 w 903"/>
              <a:gd name="T9" fmla="*/ 301 h 813"/>
              <a:gd name="T10" fmla="*/ 60 w 903"/>
              <a:gd name="T11" fmla="*/ 301 h 813"/>
              <a:gd name="T12" fmla="*/ 797 w 903"/>
              <a:gd name="T13" fmla="*/ 211 h 813"/>
              <a:gd name="T14" fmla="*/ 211 w 903"/>
              <a:gd name="T15" fmla="*/ 693 h 813"/>
              <a:gd name="T16" fmla="*/ 301 w 903"/>
              <a:gd name="T17" fmla="*/ 693 h 813"/>
              <a:gd name="T18" fmla="*/ 331 w 903"/>
              <a:gd name="T19" fmla="*/ 331 h 813"/>
              <a:gd name="T20" fmla="*/ 331 w 903"/>
              <a:gd name="T21" fmla="*/ 693 h 813"/>
              <a:gd name="T22" fmla="*/ 512 w 903"/>
              <a:gd name="T23" fmla="*/ 331 h 813"/>
              <a:gd name="T24" fmla="*/ 542 w 903"/>
              <a:gd name="T25" fmla="*/ 693 h 813"/>
              <a:gd name="T26" fmla="*/ 573 w 903"/>
              <a:gd name="T27" fmla="*/ 693 h 813"/>
              <a:gd name="T28" fmla="*/ 603 w 903"/>
              <a:gd name="T29" fmla="*/ 331 h 813"/>
              <a:gd name="T30" fmla="*/ 603 w 903"/>
              <a:gd name="T31" fmla="*/ 693 h 813"/>
              <a:gd name="T32" fmla="*/ 723 w 903"/>
              <a:gd name="T33" fmla="*/ 331 h 813"/>
              <a:gd name="T34" fmla="*/ 15 w 903"/>
              <a:gd name="T35" fmla="*/ 813 h 813"/>
              <a:gd name="T36" fmla="*/ 888 w 903"/>
              <a:gd name="T37" fmla="*/ 813 h 813"/>
              <a:gd name="T38" fmla="*/ 897 w 903"/>
              <a:gd name="T39" fmla="*/ 811 h 813"/>
              <a:gd name="T40" fmla="*/ 902 w 903"/>
              <a:gd name="T41" fmla="*/ 805 h 813"/>
              <a:gd name="T42" fmla="*/ 903 w 903"/>
              <a:gd name="T43" fmla="*/ 796 h 813"/>
              <a:gd name="T44" fmla="*/ 899 w 903"/>
              <a:gd name="T45" fmla="*/ 787 h 813"/>
              <a:gd name="T46" fmla="*/ 891 w 903"/>
              <a:gd name="T47" fmla="*/ 784 h 813"/>
              <a:gd name="T48" fmla="*/ 843 w 903"/>
              <a:gd name="T49" fmla="*/ 708 h 813"/>
              <a:gd name="T50" fmla="*/ 841 w 903"/>
              <a:gd name="T51" fmla="*/ 699 h 813"/>
              <a:gd name="T52" fmla="*/ 834 w 903"/>
              <a:gd name="T53" fmla="*/ 694 h 813"/>
              <a:gd name="T54" fmla="*/ 783 w 903"/>
              <a:gd name="T55" fmla="*/ 693 h 813"/>
              <a:gd name="T56" fmla="*/ 861 w 903"/>
              <a:gd name="T57" fmla="*/ 331 h 813"/>
              <a:gd name="T58" fmla="*/ 869 w 903"/>
              <a:gd name="T59" fmla="*/ 327 h 813"/>
              <a:gd name="T60" fmla="*/ 873 w 903"/>
              <a:gd name="T61" fmla="*/ 320 h 813"/>
              <a:gd name="T62" fmla="*/ 873 w 903"/>
              <a:gd name="T63" fmla="*/ 227 h 813"/>
              <a:gd name="T64" fmla="*/ 871 w 903"/>
              <a:gd name="T65" fmla="*/ 218 h 813"/>
              <a:gd name="T66" fmla="*/ 459 w 903"/>
              <a:gd name="T67" fmla="*/ 2 h 813"/>
              <a:gd name="T68" fmla="*/ 448 w 903"/>
              <a:gd name="T69" fmla="*/ 1 h 813"/>
              <a:gd name="T70" fmla="*/ 38 w 903"/>
              <a:gd name="T71" fmla="*/ 213 h 813"/>
              <a:gd name="T72" fmla="*/ 34 w 903"/>
              <a:gd name="T73" fmla="*/ 216 h 813"/>
              <a:gd name="T74" fmla="*/ 31 w 903"/>
              <a:gd name="T75" fmla="*/ 221 h 813"/>
              <a:gd name="T76" fmla="*/ 30 w 903"/>
              <a:gd name="T77" fmla="*/ 225 h 813"/>
              <a:gd name="T78" fmla="*/ 30 w 903"/>
              <a:gd name="T79" fmla="*/ 316 h 813"/>
              <a:gd name="T80" fmla="*/ 33 w 903"/>
              <a:gd name="T81" fmla="*/ 325 h 813"/>
              <a:gd name="T82" fmla="*/ 40 w 903"/>
              <a:gd name="T83" fmla="*/ 330 h 813"/>
              <a:gd name="T84" fmla="*/ 121 w 903"/>
              <a:gd name="T85" fmla="*/ 331 h 813"/>
              <a:gd name="T86" fmla="*/ 73 w 903"/>
              <a:gd name="T87" fmla="*/ 693 h 813"/>
              <a:gd name="T88" fmla="*/ 64 w 903"/>
              <a:gd name="T89" fmla="*/ 697 h 813"/>
              <a:gd name="T90" fmla="*/ 61 w 903"/>
              <a:gd name="T91" fmla="*/ 705 h 813"/>
              <a:gd name="T92" fmla="*/ 15 w 903"/>
              <a:gd name="T93" fmla="*/ 783 h 813"/>
              <a:gd name="T94" fmla="*/ 7 w 903"/>
              <a:gd name="T95" fmla="*/ 786 h 813"/>
              <a:gd name="T96" fmla="*/ 1 w 903"/>
              <a:gd name="T97" fmla="*/ 793 h 813"/>
              <a:gd name="T98" fmla="*/ 1 w 903"/>
              <a:gd name="T99" fmla="*/ 801 h 813"/>
              <a:gd name="T100" fmla="*/ 4 w 903"/>
              <a:gd name="T101" fmla="*/ 809 h 813"/>
              <a:gd name="T102" fmla="*/ 12 w 903"/>
              <a:gd name="T103"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3" h="813">
                <a:moveTo>
                  <a:pt x="90" y="723"/>
                </a:moveTo>
                <a:lnTo>
                  <a:pt x="136" y="723"/>
                </a:lnTo>
                <a:lnTo>
                  <a:pt x="768" y="723"/>
                </a:lnTo>
                <a:lnTo>
                  <a:pt x="813" y="723"/>
                </a:lnTo>
                <a:lnTo>
                  <a:pt x="813" y="783"/>
                </a:lnTo>
                <a:lnTo>
                  <a:pt x="90" y="783"/>
                </a:lnTo>
                <a:lnTo>
                  <a:pt x="90" y="723"/>
                </a:lnTo>
                <a:close/>
                <a:moveTo>
                  <a:pt x="151" y="331"/>
                </a:moveTo>
                <a:lnTo>
                  <a:pt x="181" y="331"/>
                </a:lnTo>
                <a:lnTo>
                  <a:pt x="181" y="693"/>
                </a:lnTo>
                <a:lnTo>
                  <a:pt x="151" y="693"/>
                </a:lnTo>
                <a:lnTo>
                  <a:pt x="151" y="331"/>
                </a:lnTo>
                <a:close/>
                <a:moveTo>
                  <a:pt x="60" y="241"/>
                </a:moveTo>
                <a:lnTo>
                  <a:pt x="843" y="241"/>
                </a:lnTo>
                <a:lnTo>
                  <a:pt x="843" y="301"/>
                </a:lnTo>
                <a:lnTo>
                  <a:pt x="768" y="301"/>
                </a:lnTo>
                <a:lnTo>
                  <a:pt x="136" y="301"/>
                </a:lnTo>
                <a:lnTo>
                  <a:pt x="60" y="301"/>
                </a:lnTo>
                <a:lnTo>
                  <a:pt x="60" y="241"/>
                </a:lnTo>
                <a:close/>
                <a:moveTo>
                  <a:pt x="452" y="32"/>
                </a:moveTo>
                <a:lnTo>
                  <a:pt x="797" y="211"/>
                </a:lnTo>
                <a:lnTo>
                  <a:pt x="107" y="211"/>
                </a:lnTo>
                <a:lnTo>
                  <a:pt x="452" y="32"/>
                </a:lnTo>
                <a:close/>
                <a:moveTo>
                  <a:pt x="211" y="693"/>
                </a:moveTo>
                <a:lnTo>
                  <a:pt x="211" y="331"/>
                </a:lnTo>
                <a:lnTo>
                  <a:pt x="301" y="331"/>
                </a:lnTo>
                <a:lnTo>
                  <a:pt x="301" y="693"/>
                </a:lnTo>
                <a:lnTo>
                  <a:pt x="211" y="693"/>
                </a:lnTo>
                <a:close/>
                <a:moveTo>
                  <a:pt x="331" y="693"/>
                </a:moveTo>
                <a:lnTo>
                  <a:pt x="331" y="331"/>
                </a:lnTo>
                <a:lnTo>
                  <a:pt x="362" y="331"/>
                </a:lnTo>
                <a:lnTo>
                  <a:pt x="362" y="693"/>
                </a:lnTo>
                <a:lnTo>
                  <a:pt x="331" y="693"/>
                </a:lnTo>
                <a:close/>
                <a:moveTo>
                  <a:pt x="392" y="693"/>
                </a:moveTo>
                <a:lnTo>
                  <a:pt x="392" y="331"/>
                </a:lnTo>
                <a:lnTo>
                  <a:pt x="512" y="331"/>
                </a:lnTo>
                <a:lnTo>
                  <a:pt x="512" y="693"/>
                </a:lnTo>
                <a:lnTo>
                  <a:pt x="392" y="693"/>
                </a:lnTo>
                <a:close/>
                <a:moveTo>
                  <a:pt x="542" y="693"/>
                </a:moveTo>
                <a:lnTo>
                  <a:pt x="542" y="331"/>
                </a:lnTo>
                <a:lnTo>
                  <a:pt x="573" y="331"/>
                </a:lnTo>
                <a:lnTo>
                  <a:pt x="573" y="693"/>
                </a:lnTo>
                <a:lnTo>
                  <a:pt x="542" y="693"/>
                </a:lnTo>
                <a:close/>
                <a:moveTo>
                  <a:pt x="603" y="693"/>
                </a:moveTo>
                <a:lnTo>
                  <a:pt x="603" y="331"/>
                </a:lnTo>
                <a:lnTo>
                  <a:pt x="693" y="331"/>
                </a:lnTo>
                <a:lnTo>
                  <a:pt x="693" y="693"/>
                </a:lnTo>
                <a:lnTo>
                  <a:pt x="603" y="693"/>
                </a:lnTo>
                <a:close/>
                <a:moveTo>
                  <a:pt x="753" y="693"/>
                </a:moveTo>
                <a:lnTo>
                  <a:pt x="723" y="693"/>
                </a:lnTo>
                <a:lnTo>
                  <a:pt x="723" y="331"/>
                </a:lnTo>
                <a:lnTo>
                  <a:pt x="753" y="331"/>
                </a:lnTo>
                <a:lnTo>
                  <a:pt x="753" y="693"/>
                </a:lnTo>
                <a:close/>
                <a:moveTo>
                  <a:pt x="15" y="813"/>
                </a:moveTo>
                <a:lnTo>
                  <a:pt x="75" y="813"/>
                </a:lnTo>
                <a:lnTo>
                  <a:pt x="828" y="813"/>
                </a:lnTo>
                <a:lnTo>
                  <a:pt x="888" y="813"/>
                </a:lnTo>
                <a:lnTo>
                  <a:pt x="891" y="813"/>
                </a:lnTo>
                <a:lnTo>
                  <a:pt x="895" y="812"/>
                </a:lnTo>
                <a:lnTo>
                  <a:pt x="897" y="811"/>
                </a:lnTo>
                <a:lnTo>
                  <a:pt x="899" y="809"/>
                </a:lnTo>
                <a:lnTo>
                  <a:pt x="901" y="807"/>
                </a:lnTo>
                <a:lnTo>
                  <a:pt x="902" y="805"/>
                </a:lnTo>
                <a:lnTo>
                  <a:pt x="903" y="801"/>
                </a:lnTo>
                <a:lnTo>
                  <a:pt x="903" y="798"/>
                </a:lnTo>
                <a:lnTo>
                  <a:pt x="903" y="796"/>
                </a:lnTo>
                <a:lnTo>
                  <a:pt x="902" y="793"/>
                </a:lnTo>
                <a:lnTo>
                  <a:pt x="901" y="791"/>
                </a:lnTo>
                <a:lnTo>
                  <a:pt x="899" y="787"/>
                </a:lnTo>
                <a:lnTo>
                  <a:pt x="897" y="786"/>
                </a:lnTo>
                <a:lnTo>
                  <a:pt x="895" y="784"/>
                </a:lnTo>
                <a:lnTo>
                  <a:pt x="891" y="784"/>
                </a:lnTo>
                <a:lnTo>
                  <a:pt x="888" y="783"/>
                </a:lnTo>
                <a:lnTo>
                  <a:pt x="843" y="783"/>
                </a:lnTo>
                <a:lnTo>
                  <a:pt x="843" y="708"/>
                </a:lnTo>
                <a:lnTo>
                  <a:pt x="843" y="705"/>
                </a:lnTo>
                <a:lnTo>
                  <a:pt x="842" y="703"/>
                </a:lnTo>
                <a:lnTo>
                  <a:pt x="841" y="699"/>
                </a:lnTo>
                <a:lnTo>
                  <a:pt x="839" y="697"/>
                </a:lnTo>
                <a:lnTo>
                  <a:pt x="837" y="696"/>
                </a:lnTo>
                <a:lnTo>
                  <a:pt x="834" y="694"/>
                </a:lnTo>
                <a:lnTo>
                  <a:pt x="831" y="693"/>
                </a:lnTo>
                <a:lnTo>
                  <a:pt x="828" y="693"/>
                </a:lnTo>
                <a:lnTo>
                  <a:pt x="783" y="693"/>
                </a:lnTo>
                <a:lnTo>
                  <a:pt x="783" y="331"/>
                </a:lnTo>
                <a:lnTo>
                  <a:pt x="858" y="331"/>
                </a:lnTo>
                <a:lnTo>
                  <a:pt x="861" y="331"/>
                </a:lnTo>
                <a:lnTo>
                  <a:pt x="865" y="330"/>
                </a:lnTo>
                <a:lnTo>
                  <a:pt x="867" y="329"/>
                </a:lnTo>
                <a:lnTo>
                  <a:pt x="869" y="327"/>
                </a:lnTo>
                <a:lnTo>
                  <a:pt x="871" y="325"/>
                </a:lnTo>
                <a:lnTo>
                  <a:pt x="872" y="323"/>
                </a:lnTo>
                <a:lnTo>
                  <a:pt x="873" y="320"/>
                </a:lnTo>
                <a:lnTo>
                  <a:pt x="873" y="316"/>
                </a:lnTo>
                <a:lnTo>
                  <a:pt x="873" y="227"/>
                </a:lnTo>
                <a:lnTo>
                  <a:pt x="873" y="227"/>
                </a:lnTo>
                <a:lnTo>
                  <a:pt x="874" y="226"/>
                </a:lnTo>
                <a:lnTo>
                  <a:pt x="873" y="222"/>
                </a:lnTo>
                <a:lnTo>
                  <a:pt x="871" y="218"/>
                </a:lnTo>
                <a:lnTo>
                  <a:pt x="868" y="215"/>
                </a:lnTo>
                <a:lnTo>
                  <a:pt x="863" y="212"/>
                </a:lnTo>
                <a:lnTo>
                  <a:pt x="459" y="2"/>
                </a:lnTo>
                <a:lnTo>
                  <a:pt x="456" y="1"/>
                </a:lnTo>
                <a:lnTo>
                  <a:pt x="452" y="0"/>
                </a:lnTo>
                <a:lnTo>
                  <a:pt x="448" y="1"/>
                </a:lnTo>
                <a:lnTo>
                  <a:pt x="445" y="2"/>
                </a:lnTo>
                <a:lnTo>
                  <a:pt x="39" y="213"/>
                </a:lnTo>
                <a:lnTo>
                  <a:pt x="38" y="213"/>
                </a:lnTo>
                <a:lnTo>
                  <a:pt x="35" y="215"/>
                </a:lnTo>
                <a:lnTo>
                  <a:pt x="35" y="216"/>
                </a:lnTo>
                <a:lnTo>
                  <a:pt x="34" y="216"/>
                </a:lnTo>
                <a:lnTo>
                  <a:pt x="33" y="218"/>
                </a:lnTo>
                <a:lnTo>
                  <a:pt x="32" y="220"/>
                </a:lnTo>
                <a:lnTo>
                  <a:pt x="31" y="221"/>
                </a:lnTo>
                <a:lnTo>
                  <a:pt x="31" y="222"/>
                </a:lnTo>
                <a:lnTo>
                  <a:pt x="31" y="223"/>
                </a:lnTo>
                <a:lnTo>
                  <a:pt x="30" y="225"/>
                </a:lnTo>
                <a:lnTo>
                  <a:pt x="30" y="226"/>
                </a:lnTo>
                <a:lnTo>
                  <a:pt x="30" y="226"/>
                </a:lnTo>
                <a:lnTo>
                  <a:pt x="30" y="316"/>
                </a:lnTo>
                <a:lnTo>
                  <a:pt x="31" y="320"/>
                </a:lnTo>
                <a:lnTo>
                  <a:pt x="31" y="323"/>
                </a:lnTo>
                <a:lnTo>
                  <a:pt x="33" y="325"/>
                </a:lnTo>
                <a:lnTo>
                  <a:pt x="34" y="327"/>
                </a:lnTo>
                <a:lnTo>
                  <a:pt x="38" y="329"/>
                </a:lnTo>
                <a:lnTo>
                  <a:pt x="40" y="330"/>
                </a:lnTo>
                <a:lnTo>
                  <a:pt x="43" y="331"/>
                </a:lnTo>
                <a:lnTo>
                  <a:pt x="45" y="331"/>
                </a:lnTo>
                <a:lnTo>
                  <a:pt x="121" y="331"/>
                </a:lnTo>
                <a:lnTo>
                  <a:pt x="121" y="693"/>
                </a:lnTo>
                <a:lnTo>
                  <a:pt x="75" y="693"/>
                </a:lnTo>
                <a:lnTo>
                  <a:pt x="73" y="693"/>
                </a:lnTo>
                <a:lnTo>
                  <a:pt x="70" y="694"/>
                </a:lnTo>
                <a:lnTo>
                  <a:pt x="68" y="695"/>
                </a:lnTo>
                <a:lnTo>
                  <a:pt x="64" y="697"/>
                </a:lnTo>
                <a:lnTo>
                  <a:pt x="63" y="699"/>
                </a:lnTo>
                <a:lnTo>
                  <a:pt x="61" y="703"/>
                </a:lnTo>
                <a:lnTo>
                  <a:pt x="61" y="705"/>
                </a:lnTo>
                <a:lnTo>
                  <a:pt x="60" y="708"/>
                </a:lnTo>
                <a:lnTo>
                  <a:pt x="60" y="783"/>
                </a:lnTo>
                <a:lnTo>
                  <a:pt x="15" y="783"/>
                </a:lnTo>
                <a:lnTo>
                  <a:pt x="12" y="784"/>
                </a:lnTo>
                <a:lnTo>
                  <a:pt x="10" y="784"/>
                </a:lnTo>
                <a:lnTo>
                  <a:pt x="7" y="786"/>
                </a:lnTo>
                <a:lnTo>
                  <a:pt x="4" y="787"/>
                </a:lnTo>
                <a:lnTo>
                  <a:pt x="3" y="791"/>
                </a:lnTo>
                <a:lnTo>
                  <a:pt x="1" y="793"/>
                </a:lnTo>
                <a:lnTo>
                  <a:pt x="1" y="796"/>
                </a:lnTo>
                <a:lnTo>
                  <a:pt x="0" y="798"/>
                </a:lnTo>
                <a:lnTo>
                  <a:pt x="1" y="801"/>
                </a:lnTo>
                <a:lnTo>
                  <a:pt x="1" y="805"/>
                </a:lnTo>
                <a:lnTo>
                  <a:pt x="3" y="807"/>
                </a:lnTo>
                <a:lnTo>
                  <a:pt x="4" y="809"/>
                </a:lnTo>
                <a:lnTo>
                  <a:pt x="7" y="811"/>
                </a:lnTo>
                <a:lnTo>
                  <a:pt x="10" y="812"/>
                </a:lnTo>
                <a:lnTo>
                  <a:pt x="12" y="813"/>
                </a:lnTo>
                <a:lnTo>
                  <a:pt x="15" y="81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205" name="Freeform 247">
            <a:extLst>
              <a:ext uri="{FF2B5EF4-FFF2-40B4-BE49-F238E27FC236}">
                <a16:creationId xmlns:a16="http://schemas.microsoft.com/office/drawing/2014/main" id="{FCC74621-4AA3-414E-8DE7-DD831C72F052}"/>
              </a:ext>
            </a:extLst>
          </p:cNvPr>
          <p:cNvSpPr>
            <a:spLocks noChangeAspect="1" noEditPoints="1"/>
          </p:cNvSpPr>
          <p:nvPr/>
        </p:nvSpPr>
        <p:spPr bwMode="auto">
          <a:xfrm>
            <a:off x="1922291" y="3263433"/>
            <a:ext cx="228812" cy="285619"/>
          </a:xfrm>
          <a:custGeom>
            <a:avLst/>
            <a:gdLst>
              <a:gd name="T0" fmla="*/ 632 w 723"/>
              <a:gd name="T1" fmla="*/ 765 h 904"/>
              <a:gd name="T2" fmla="*/ 625 w 723"/>
              <a:gd name="T3" fmla="*/ 756 h 904"/>
              <a:gd name="T4" fmla="*/ 497 w 723"/>
              <a:gd name="T5" fmla="*/ 753 h 904"/>
              <a:gd name="T6" fmla="*/ 486 w 723"/>
              <a:gd name="T7" fmla="*/ 757 h 904"/>
              <a:gd name="T8" fmla="*/ 482 w 723"/>
              <a:gd name="T9" fmla="*/ 768 h 904"/>
              <a:gd name="T10" fmla="*/ 421 w 723"/>
              <a:gd name="T11" fmla="*/ 343 h 904"/>
              <a:gd name="T12" fmla="*/ 415 w 723"/>
              <a:gd name="T13" fmla="*/ 335 h 904"/>
              <a:gd name="T14" fmla="*/ 331 w 723"/>
              <a:gd name="T15" fmla="*/ 331 h 904"/>
              <a:gd name="T16" fmla="*/ 442 w 723"/>
              <a:gd name="T17" fmla="*/ 300 h 904"/>
              <a:gd name="T18" fmla="*/ 450 w 723"/>
              <a:gd name="T19" fmla="*/ 293 h 904"/>
              <a:gd name="T20" fmla="*/ 450 w 723"/>
              <a:gd name="T21" fmla="*/ 281 h 904"/>
              <a:gd name="T22" fmla="*/ 442 w 723"/>
              <a:gd name="T23" fmla="*/ 272 h 904"/>
              <a:gd name="T24" fmla="*/ 331 w 723"/>
              <a:gd name="T25" fmla="*/ 211 h 904"/>
              <a:gd name="T26" fmla="*/ 505 w 723"/>
              <a:gd name="T27" fmla="*/ 209 h 904"/>
              <a:gd name="T28" fmla="*/ 512 w 723"/>
              <a:gd name="T29" fmla="*/ 199 h 904"/>
              <a:gd name="T30" fmla="*/ 509 w 723"/>
              <a:gd name="T31" fmla="*/ 188 h 904"/>
              <a:gd name="T32" fmla="*/ 500 w 723"/>
              <a:gd name="T33" fmla="*/ 181 h 904"/>
              <a:gd name="T34" fmla="*/ 557 w 723"/>
              <a:gd name="T35" fmla="*/ 121 h 904"/>
              <a:gd name="T36" fmla="*/ 567 w 723"/>
              <a:gd name="T37" fmla="*/ 117 h 904"/>
              <a:gd name="T38" fmla="*/ 572 w 723"/>
              <a:gd name="T39" fmla="*/ 106 h 904"/>
              <a:gd name="T40" fmla="*/ 567 w 723"/>
              <a:gd name="T41" fmla="*/ 95 h 904"/>
              <a:gd name="T42" fmla="*/ 557 w 723"/>
              <a:gd name="T43" fmla="*/ 91 h 904"/>
              <a:gd name="T44" fmla="*/ 693 w 723"/>
              <a:gd name="T45" fmla="*/ 873 h 904"/>
              <a:gd name="T46" fmla="*/ 602 w 723"/>
              <a:gd name="T47" fmla="*/ 873 h 904"/>
              <a:gd name="T48" fmla="*/ 210 w 723"/>
              <a:gd name="T49" fmla="*/ 783 h 904"/>
              <a:gd name="T50" fmla="*/ 105 w 723"/>
              <a:gd name="T51" fmla="*/ 633 h 904"/>
              <a:gd name="T52" fmla="*/ 116 w 723"/>
              <a:gd name="T53" fmla="*/ 629 h 904"/>
              <a:gd name="T54" fmla="*/ 120 w 723"/>
              <a:gd name="T55" fmla="*/ 618 h 904"/>
              <a:gd name="T56" fmla="*/ 116 w 723"/>
              <a:gd name="T57" fmla="*/ 607 h 904"/>
              <a:gd name="T58" fmla="*/ 105 w 723"/>
              <a:gd name="T59" fmla="*/ 603 h 904"/>
              <a:gd name="T60" fmla="*/ 168 w 723"/>
              <a:gd name="T61" fmla="*/ 542 h 904"/>
              <a:gd name="T62" fmla="*/ 178 w 723"/>
              <a:gd name="T63" fmla="*/ 536 h 904"/>
              <a:gd name="T64" fmla="*/ 180 w 723"/>
              <a:gd name="T65" fmla="*/ 525 h 904"/>
              <a:gd name="T66" fmla="*/ 174 w 723"/>
              <a:gd name="T67" fmla="*/ 515 h 904"/>
              <a:gd name="T68" fmla="*/ 30 w 723"/>
              <a:gd name="T69" fmla="*/ 513 h 904"/>
              <a:gd name="T70" fmla="*/ 202 w 723"/>
              <a:gd name="T71" fmla="*/ 451 h 904"/>
              <a:gd name="T72" fmla="*/ 209 w 723"/>
              <a:gd name="T73" fmla="*/ 443 h 904"/>
              <a:gd name="T74" fmla="*/ 209 w 723"/>
              <a:gd name="T75" fmla="*/ 431 h 904"/>
              <a:gd name="T76" fmla="*/ 202 w 723"/>
              <a:gd name="T77" fmla="*/ 424 h 904"/>
              <a:gd name="T78" fmla="*/ 30 w 723"/>
              <a:gd name="T79" fmla="*/ 361 h 904"/>
              <a:gd name="T80" fmla="*/ 241 w 723"/>
              <a:gd name="T81" fmla="*/ 768 h 904"/>
              <a:gd name="T82" fmla="*/ 236 w 723"/>
              <a:gd name="T83" fmla="*/ 757 h 904"/>
              <a:gd name="T84" fmla="*/ 225 w 723"/>
              <a:gd name="T85" fmla="*/ 753 h 904"/>
              <a:gd name="T86" fmla="*/ 97 w 723"/>
              <a:gd name="T87" fmla="*/ 756 h 904"/>
              <a:gd name="T88" fmla="*/ 90 w 723"/>
              <a:gd name="T89" fmla="*/ 765 h 904"/>
              <a:gd name="T90" fmla="*/ 30 w 723"/>
              <a:gd name="T91" fmla="*/ 633 h 904"/>
              <a:gd name="T92" fmla="*/ 310 w 723"/>
              <a:gd name="T93" fmla="*/ 2 h 904"/>
              <a:gd name="T94" fmla="*/ 302 w 723"/>
              <a:gd name="T95" fmla="*/ 10 h 904"/>
              <a:gd name="T96" fmla="*/ 15 w 723"/>
              <a:gd name="T97" fmla="*/ 331 h 904"/>
              <a:gd name="T98" fmla="*/ 4 w 723"/>
              <a:gd name="T99" fmla="*/ 336 h 904"/>
              <a:gd name="T100" fmla="*/ 0 w 723"/>
              <a:gd name="T101" fmla="*/ 346 h 904"/>
              <a:gd name="T102" fmla="*/ 2 w 723"/>
              <a:gd name="T103" fmla="*/ 897 h 904"/>
              <a:gd name="T104" fmla="*/ 12 w 723"/>
              <a:gd name="T105" fmla="*/ 903 h 904"/>
              <a:gd name="T106" fmla="*/ 406 w 723"/>
              <a:gd name="T107" fmla="*/ 903 h 904"/>
              <a:gd name="T108" fmla="*/ 710 w 723"/>
              <a:gd name="T109" fmla="*/ 903 h 904"/>
              <a:gd name="T110" fmla="*/ 720 w 723"/>
              <a:gd name="T111" fmla="*/ 897 h 904"/>
              <a:gd name="T112" fmla="*/ 723 w 723"/>
              <a:gd name="T113" fmla="*/ 15 h 904"/>
              <a:gd name="T114" fmla="*/ 719 w 723"/>
              <a:gd name="T115" fmla="*/ 5 h 904"/>
              <a:gd name="T116" fmla="*/ 708 w 723"/>
              <a:gd name="T1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3" h="904">
                <a:moveTo>
                  <a:pt x="693" y="873"/>
                </a:moveTo>
                <a:lnTo>
                  <a:pt x="632" y="873"/>
                </a:lnTo>
                <a:lnTo>
                  <a:pt x="632" y="768"/>
                </a:lnTo>
                <a:lnTo>
                  <a:pt x="632" y="765"/>
                </a:lnTo>
                <a:lnTo>
                  <a:pt x="631" y="763"/>
                </a:lnTo>
                <a:lnTo>
                  <a:pt x="630" y="760"/>
                </a:lnTo>
                <a:lnTo>
                  <a:pt x="627" y="757"/>
                </a:lnTo>
                <a:lnTo>
                  <a:pt x="625" y="756"/>
                </a:lnTo>
                <a:lnTo>
                  <a:pt x="623" y="754"/>
                </a:lnTo>
                <a:lnTo>
                  <a:pt x="620" y="754"/>
                </a:lnTo>
                <a:lnTo>
                  <a:pt x="617" y="753"/>
                </a:lnTo>
                <a:lnTo>
                  <a:pt x="497" y="753"/>
                </a:lnTo>
                <a:lnTo>
                  <a:pt x="493" y="753"/>
                </a:lnTo>
                <a:lnTo>
                  <a:pt x="491" y="754"/>
                </a:lnTo>
                <a:lnTo>
                  <a:pt x="488" y="756"/>
                </a:lnTo>
                <a:lnTo>
                  <a:pt x="486" y="757"/>
                </a:lnTo>
                <a:lnTo>
                  <a:pt x="484" y="760"/>
                </a:lnTo>
                <a:lnTo>
                  <a:pt x="483" y="763"/>
                </a:lnTo>
                <a:lnTo>
                  <a:pt x="482" y="765"/>
                </a:lnTo>
                <a:lnTo>
                  <a:pt x="482" y="768"/>
                </a:lnTo>
                <a:lnTo>
                  <a:pt x="482" y="873"/>
                </a:lnTo>
                <a:lnTo>
                  <a:pt x="421" y="873"/>
                </a:lnTo>
                <a:lnTo>
                  <a:pt x="421" y="346"/>
                </a:lnTo>
                <a:lnTo>
                  <a:pt x="421" y="343"/>
                </a:lnTo>
                <a:lnTo>
                  <a:pt x="420" y="341"/>
                </a:lnTo>
                <a:lnTo>
                  <a:pt x="419" y="338"/>
                </a:lnTo>
                <a:lnTo>
                  <a:pt x="417" y="336"/>
                </a:lnTo>
                <a:lnTo>
                  <a:pt x="415" y="335"/>
                </a:lnTo>
                <a:lnTo>
                  <a:pt x="412" y="333"/>
                </a:lnTo>
                <a:lnTo>
                  <a:pt x="410" y="333"/>
                </a:lnTo>
                <a:lnTo>
                  <a:pt x="406" y="331"/>
                </a:lnTo>
                <a:lnTo>
                  <a:pt x="331" y="331"/>
                </a:lnTo>
                <a:lnTo>
                  <a:pt x="331" y="301"/>
                </a:lnTo>
                <a:lnTo>
                  <a:pt x="436" y="301"/>
                </a:lnTo>
                <a:lnTo>
                  <a:pt x="440" y="301"/>
                </a:lnTo>
                <a:lnTo>
                  <a:pt x="442" y="300"/>
                </a:lnTo>
                <a:lnTo>
                  <a:pt x="445" y="299"/>
                </a:lnTo>
                <a:lnTo>
                  <a:pt x="447" y="297"/>
                </a:lnTo>
                <a:lnTo>
                  <a:pt x="449" y="295"/>
                </a:lnTo>
                <a:lnTo>
                  <a:pt x="450" y="293"/>
                </a:lnTo>
                <a:lnTo>
                  <a:pt x="452" y="290"/>
                </a:lnTo>
                <a:lnTo>
                  <a:pt x="452" y="286"/>
                </a:lnTo>
                <a:lnTo>
                  <a:pt x="452" y="283"/>
                </a:lnTo>
                <a:lnTo>
                  <a:pt x="450" y="281"/>
                </a:lnTo>
                <a:lnTo>
                  <a:pt x="449" y="278"/>
                </a:lnTo>
                <a:lnTo>
                  <a:pt x="447" y="276"/>
                </a:lnTo>
                <a:lnTo>
                  <a:pt x="445" y="275"/>
                </a:lnTo>
                <a:lnTo>
                  <a:pt x="442" y="272"/>
                </a:lnTo>
                <a:lnTo>
                  <a:pt x="440" y="271"/>
                </a:lnTo>
                <a:lnTo>
                  <a:pt x="436" y="271"/>
                </a:lnTo>
                <a:lnTo>
                  <a:pt x="331" y="271"/>
                </a:lnTo>
                <a:lnTo>
                  <a:pt x="331" y="211"/>
                </a:lnTo>
                <a:lnTo>
                  <a:pt x="497" y="211"/>
                </a:lnTo>
                <a:lnTo>
                  <a:pt x="500" y="211"/>
                </a:lnTo>
                <a:lnTo>
                  <a:pt x="503" y="210"/>
                </a:lnTo>
                <a:lnTo>
                  <a:pt x="505" y="209"/>
                </a:lnTo>
                <a:lnTo>
                  <a:pt x="507" y="207"/>
                </a:lnTo>
                <a:lnTo>
                  <a:pt x="509" y="205"/>
                </a:lnTo>
                <a:lnTo>
                  <a:pt x="510" y="202"/>
                </a:lnTo>
                <a:lnTo>
                  <a:pt x="512" y="199"/>
                </a:lnTo>
                <a:lnTo>
                  <a:pt x="512" y="196"/>
                </a:lnTo>
                <a:lnTo>
                  <a:pt x="512" y="193"/>
                </a:lnTo>
                <a:lnTo>
                  <a:pt x="510" y="190"/>
                </a:lnTo>
                <a:lnTo>
                  <a:pt x="509" y="188"/>
                </a:lnTo>
                <a:lnTo>
                  <a:pt x="507" y="186"/>
                </a:lnTo>
                <a:lnTo>
                  <a:pt x="505" y="183"/>
                </a:lnTo>
                <a:lnTo>
                  <a:pt x="503" y="182"/>
                </a:lnTo>
                <a:lnTo>
                  <a:pt x="500" y="181"/>
                </a:lnTo>
                <a:lnTo>
                  <a:pt x="497" y="181"/>
                </a:lnTo>
                <a:lnTo>
                  <a:pt x="331" y="181"/>
                </a:lnTo>
                <a:lnTo>
                  <a:pt x="331" y="121"/>
                </a:lnTo>
                <a:lnTo>
                  <a:pt x="557" y="121"/>
                </a:lnTo>
                <a:lnTo>
                  <a:pt x="560" y="120"/>
                </a:lnTo>
                <a:lnTo>
                  <a:pt x="563" y="120"/>
                </a:lnTo>
                <a:lnTo>
                  <a:pt x="565" y="118"/>
                </a:lnTo>
                <a:lnTo>
                  <a:pt x="567" y="117"/>
                </a:lnTo>
                <a:lnTo>
                  <a:pt x="569" y="115"/>
                </a:lnTo>
                <a:lnTo>
                  <a:pt x="571" y="112"/>
                </a:lnTo>
                <a:lnTo>
                  <a:pt x="572" y="109"/>
                </a:lnTo>
                <a:lnTo>
                  <a:pt x="572" y="106"/>
                </a:lnTo>
                <a:lnTo>
                  <a:pt x="572" y="103"/>
                </a:lnTo>
                <a:lnTo>
                  <a:pt x="571" y="100"/>
                </a:lnTo>
                <a:lnTo>
                  <a:pt x="569" y="98"/>
                </a:lnTo>
                <a:lnTo>
                  <a:pt x="567" y="95"/>
                </a:lnTo>
                <a:lnTo>
                  <a:pt x="565" y="93"/>
                </a:lnTo>
                <a:lnTo>
                  <a:pt x="563" y="92"/>
                </a:lnTo>
                <a:lnTo>
                  <a:pt x="560" y="91"/>
                </a:lnTo>
                <a:lnTo>
                  <a:pt x="557" y="91"/>
                </a:lnTo>
                <a:lnTo>
                  <a:pt x="331" y="91"/>
                </a:lnTo>
                <a:lnTo>
                  <a:pt x="331" y="31"/>
                </a:lnTo>
                <a:lnTo>
                  <a:pt x="693" y="31"/>
                </a:lnTo>
                <a:lnTo>
                  <a:pt x="693" y="873"/>
                </a:lnTo>
                <a:close/>
                <a:moveTo>
                  <a:pt x="512" y="873"/>
                </a:moveTo>
                <a:lnTo>
                  <a:pt x="512" y="783"/>
                </a:lnTo>
                <a:lnTo>
                  <a:pt x="602" y="783"/>
                </a:lnTo>
                <a:lnTo>
                  <a:pt x="602" y="873"/>
                </a:lnTo>
                <a:lnTo>
                  <a:pt x="512" y="873"/>
                </a:lnTo>
                <a:close/>
                <a:moveTo>
                  <a:pt x="120" y="873"/>
                </a:moveTo>
                <a:lnTo>
                  <a:pt x="120" y="783"/>
                </a:lnTo>
                <a:lnTo>
                  <a:pt x="210" y="783"/>
                </a:lnTo>
                <a:lnTo>
                  <a:pt x="210" y="873"/>
                </a:lnTo>
                <a:lnTo>
                  <a:pt x="120" y="873"/>
                </a:lnTo>
                <a:close/>
                <a:moveTo>
                  <a:pt x="30" y="633"/>
                </a:moveTo>
                <a:lnTo>
                  <a:pt x="105" y="633"/>
                </a:lnTo>
                <a:lnTo>
                  <a:pt x="108" y="633"/>
                </a:lnTo>
                <a:lnTo>
                  <a:pt x="112" y="632"/>
                </a:lnTo>
                <a:lnTo>
                  <a:pt x="114" y="630"/>
                </a:lnTo>
                <a:lnTo>
                  <a:pt x="116" y="629"/>
                </a:lnTo>
                <a:lnTo>
                  <a:pt x="118" y="627"/>
                </a:lnTo>
                <a:lnTo>
                  <a:pt x="119" y="623"/>
                </a:lnTo>
                <a:lnTo>
                  <a:pt x="120" y="621"/>
                </a:lnTo>
                <a:lnTo>
                  <a:pt x="120" y="618"/>
                </a:lnTo>
                <a:lnTo>
                  <a:pt x="120" y="615"/>
                </a:lnTo>
                <a:lnTo>
                  <a:pt x="119" y="611"/>
                </a:lnTo>
                <a:lnTo>
                  <a:pt x="118" y="609"/>
                </a:lnTo>
                <a:lnTo>
                  <a:pt x="116" y="607"/>
                </a:lnTo>
                <a:lnTo>
                  <a:pt x="114" y="605"/>
                </a:lnTo>
                <a:lnTo>
                  <a:pt x="112" y="604"/>
                </a:lnTo>
                <a:lnTo>
                  <a:pt x="108" y="603"/>
                </a:lnTo>
                <a:lnTo>
                  <a:pt x="105" y="603"/>
                </a:lnTo>
                <a:lnTo>
                  <a:pt x="30" y="603"/>
                </a:lnTo>
                <a:lnTo>
                  <a:pt x="30" y="543"/>
                </a:lnTo>
                <a:lnTo>
                  <a:pt x="165" y="543"/>
                </a:lnTo>
                <a:lnTo>
                  <a:pt x="168" y="542"/>
                </a:lnTo>
                <a:lnTo>
                  <a:pt x="172" y="542"/>
                </a:lnTo>
                <a:lnTo>
                  <a:pt x="174" y="540"/>
                </a:lnTo>
                <a:lnTo>
                  <a:pt x="176" y="539"/>
                </a:lnTo>
                <a:lnTo>
                  <a:pt x="178" y="536"/>
                </a:lnTo>
                <a:lnTo>
                  <a:pt x="179" y="533"/>
                </a:lnTo>
                <a:lnTo>
                  <a:pt x="180" y="531"/>
                </a:lnTo>
                <a:lnTo>
                  <a:pt x="180" y="528"/>
                </a:lnTo>
                <a:lnTo>
                  <a:pt x="180" y="525"/>
                </a:lnTo>
                <a:lnTo>
                  <a:pt x="179" y="521"/>
                </a:lnTo>
                <a:lnTo>
                  <a:pt x="178" y="519"/>
                </a:lnTo>
                <a:lnTo>
                  <a:pt x="176" y="517"/>
                </a:lnTo>
                <a:lnTo>
                  <a:pt x="174" y="515"/>
                </a:lnTo>
                <a:lnTo>
                  <a:pt x="172" y="514"/>
                </a:lnTo>
                <a:lnTo>
                  <a:pt x="168" y="513"/>
                </a:lnTo>
                <a:lnTo>
                  <a:pt x="165" y="513"/>
                </a:lnTo>
                <a:lnTo>
                  <a:pt x="30" y="513"/>
                </a:lnTo>
                <a:lnTo>
                  <a:pt x="30" y="452"/>
                </a:lnTo>
                <a:lnTo>
                  <a:pt x="195" y="452"/>
                </a:lnTo>
                <a:lnTo>
                  <a:pt x="198" y="452"/>
                </a:lnTo>
                <a:lnTo>
                  <a:pt x="202" y="451"/>
                </a:lnTo>
                <a:lnTo>
                  <a:pt x="204" y="449"/>
                </a:lnTo>
                <a:lnTo>
                  <a:pt x="206" y="447"/>
                </a:lnTo>
                <a:lnTo>
                  <a:pt x="208" y="445"/>
                </a:lnTo>
                <a:lnTo>
                  <a:pt x="209" y="443"/>
                </a:lnTo>
                <a:lnTo>
                  <a:pt x="210" y="440"/>
                </a:lnTo>
                <a:lnTo>
                  <a:pt x="210" y="438"/>
                </a:lnTo>
                <a:lnTo>
                  <a:pt x="210" y="434"/>
                </a:lnTo>
                <a:lnTo>
                  <a:pt x="209" y="431"/>
                </a:lnTo>
                <a:lnTo>
                  <a:pt x="208" y="429"/>
                </a:lnTo>
                <a:lnTo>
                  <a:pt x="206" y="427"/>
                </a:lnTo>
                <a:lnTo>
                  <a:pt x="204" y="425"/>
                </a:lnTo>
                <a:lnTo>
                  <a:pt x="202" y="424"/>
                </a:lnTo>
                <a:lnTo>
                  <a:pt x="198" y="423"/>
                </a:lnTo>
                <a:lnTo>
                  <a:pt x="195" y="422"/>
                </a:lnTo>
                <a:lnTo>
                  <a:pt x="30" y="422"/>
                </a:lnTo>
                <a:lnTo>
                  <a:pt x="30" y="361"/>
                </a:lnTo>
                <a:lnTo>
                  <a:pt x="391" y="361"/>
                </a:lnTo>
                <a:lnTo>
                  <a:pt x="391" y="873"/>
                </a:lnTo>
                <a:lnTo>
                  <a:pt x="241" y="873"/>
                </a:lnTo>
                <a:lnTo>
                  <a:pt x="241" y="768"/>
                </a:lnTo>
                <a:lnTo>
                  <a:pt x="240" y="765"/>
                </a:lnTo>
                <a:lnTo>
                  <a:pt x="239" y="763"/>
                </a:lnTo>
                <a:lnTo>
                  <a:pt x="238" y="760"/>
                </a:lnTo>
                <a:lnTo>
                  <a:pt x="236" y="757"/>
                </a:lnTo>
                <a:lnTo>
                  <a:pt x="234" y="756"/>
                </a:lnTo>
                <a:lnTo>
                  <a:pt x="232" y="754"/>
                </a:lnTo>
                <a:lnTo>
                  <a:pt x="228" y="754"/>
                </a:lnTo>
                <a:lnTo>
                  <a:pt x="225" y="753"/>
                </a:lnTo>
                <a:lnTo>
                  <a:pt x="105" y="753"/>
                </a:lnTo>
                <a:lnTo>
                  <a:pt x="102" y="753"/>
                </a:lnTo>
                <a:lnTo>
                  <a:pt x="100" y="754"/>
                </a:lnTo>
                <a:lnTo>
                  <a:pt x="97" y="756"/>
                </a:lnTo>
                <a:lnTo>
                  <a:pt x="94" y="757"/>
                </a:lnTo>
                <a:lnTo>
                  <a:pt x="93" y="760"/>
                </a:lnTo>
                <a:lnTo>
                  <a:pt x="91" y="763"/>
                </a:lnTo>
                <a:lnTo>
                  <a:pt x="90" y="765"/>
                </a:lnTo>
                <a:lnTo>
                  <a:pt x="90" y="768"/>
                </a:lnTo>
                <a:lnTo>
                  <a:pt x="90" y="873"/>
                </a:lnTo>
                <a:lnTo>
                  <a:pt x="30" y="873"/>
                </a:lnTo>
                <a:lnTo>
                  <a:pt x="30" y="633"/>
                </a:lnTo>
                <a:close/>
                <a:moveTo>
                  <a:pt x="708" y="0"/>
                </a:moveTo>
                <a:lnTo>
                  <a:pt x="316" y="0"/>
                </a:lnTo>
                <a:lnTo>
                  <a:pt x="313" y="1"/>
                </a:lnTo>
                <a:lnTo>
                  <a:pt x="310" y="2"/>
                </a:lnTo>
                <a:lnTo>
                  <a:pt x="308" y="3"/>
                </a:lnTo>
                <a:lnTo>
                  <a:pt x="306" y="5"/>
                </a:lnTo>
                <a:lnTo>
                  <a:pt x="304" y="7"/>
                </a:lnTo>
                <a:lnTo>
                  <a:pt x="302" y="10"/>
                </a:lnTo>
                <a:lnTo>
                  <a:pt x="301" y="13"/>
                </a:lnTo>
                <a:lnTo>
                  <a:pt x="301" y="16"/>
                </a:lnTo>
                <a:lnTo>
                  <a:pt x="301" y="331"/>
                </a:lnTo>
                <a:lnTo>
                  <a:pt x="15" y="331"/>
                </a:lnTo>
                <a:lnTo>
                  <a:pt x="12" y="331"/>
                </a:lnTo>
                <a:lnTo>
                  <a:pt x="10" y="333"/>
                </a:lnTo>
                <a:lnTo>
                  <a:pt x="6" y="335"/>
                </a:lnTo>
                <a:lnTo>
                  <a:pt x="4" y="336"/>
                </a:lnTo>
                <a:lnTo>
                  <a:pt x="2" y="338"/>
                </a:lnTo>
                <a:lnTo>
                  <a:pt x="1" y="341"/>
                </a:lnTo>
                <a:lnTo>
                  <a:pt x="0" y="343"/>
                </a:lnTo>
                <a:lnTo>
                  <a:pt x="0" y="346"/>
                </a:lnTo>
                <a:lnTo>
                  <a:pt x="0" y="888"/>
                </a:lnTo>
                <a:lnTo>
                  <a:pt x="0" y="892"/>
                </a:lnTo>
                <a:lnTo>
                  <a:pt x="1" y="895"/>
                </a:lnTo>
                <a:lnTo>
                  <a:pt x="2" y="897"/>
                </a:lnTo>
                <a:lnTo>
                  <a:pt x="4" y="899"/>
                </a:lnTo>
                <a:lnTo>
                  <a:pt x="6" y="901"/>
                </a:lnTo>
                <a:lnTo>
                  <a:pt x="10" y="902"/>
                </a:lnTo>
                <a:lnTo>
                  <a:pt x="12" y="903"/>
                </a:lnTo>
                <a:lnTo>
                  <a:pt x="15" y="904"/>
                </a:lnTo>
                <a:lnTo>
                  <a:pt x="105" y="903"/>
                </a:lnTo>
                <a:lnTo>
                  <a:pt x="225" y="903"/>
                </a:lnTo>
                <a:lnTo>
                  <a:pt x="406" y="903"/>
                </a:lnTo>
                <a:lnTo>
                  <a:pt x="497" y="903"/>
                </a:lnTo>
                <a:lnTo>
                  <a:pt x="617" y="903"/>
                </a:lnTo>
                <a:lnTo>
                  <a:pt x="708" y="903"/>
                </a:lnTo>
                <a:lnTo>
                  <a:pt x="710" y="903"/>
                </a:lnTo>
                <a:lnTo>
                  <a:pt x="713" y="902"/>
                </a:lnTo>
                <a:lnTo>
                  <a:pt x="715" y="901"/>
                </a:lnTo>
                <a:lnTo>
                  <a:pt x="719" y="899"/>
                </a:lnTo>
                <a:lnTo>
                  <a:pt x="720" y="897"/>
                </a:lnTo>
                <a:lnTo>
                  <a:pt x="722" y="895"/>
                </a:lnTo>
                <a:lnTo>
                  <a:pt x="722" y="892"/>
                </a:lnTo>
                <a:lnTo>
                  <a:pt x="723" y="889"/>
                </a:lnTo>
                <a:lnTo>
                  <a:pt x="723" y="15"/>
                </a:lnTo>
                <a:lnTo>
                  <a:pt x="722" y="13"/>
                </a:lnTo>
                <a:lnTo>
                  <a:pt x="722" y="10"/>
                </a:lnTo>
                <a:lnTo>
                  <a:pt x="720" y="7"/>
                </a:lnTo>
                <a:lnTo>
                  <a:pt x="719" y="5"/>
                </a:lnTo>
                <a:lnTo>
                  <a:pt x="715" y="3"/>
                </a:lnTo>
                <a:lnTo>
                  <a:pt x="713" y="2"/>
                </a:lnTo>
                <a:lnTo>
                  <a:pt x="710" y="1"/>
                </a:lnTo>
                <a:lnTo>
                  <a:pt x="708" y="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1206" name="Group 225">
            <a:extLst>
              <a:ext uri="{FF2B5EF4-FFF2-40B4-BE49-F238E27FC236}">
                <a16:creationId xmlns:a16="http://schemas.microsoft.com/office/drawing/2014/main" id="{A1309CA3-4FA1-4353-9E62-B96DFE38E752}"/>
              </a:ext>
            </a:extLst>
          </p:cNvPr>
          <p:cNvGrpSpPr>
            <a:grpSpLocks noChangeAspect="1"/>
          </p:cNvGrpSpPr>
          <p:nvPr/>
        </p:nvGrpSpPr>
        <p:grpSpPr>
          <a:xfrm>
            <a:off x="2286104" y="3263433"/>
            <a:ext cx="342365" cy="285619"/>
            <a:chOff x="10464801" y="817563"/>
            <a:chExt cx="287338" cy="239712"/>
          </a:xfrm>
          <a:solidFill>
            <a:schemeClr val="bg2"/>
          </a:solidFill>
          <a:effectLst/>
        </p:grpSpPr>
        <p:sp>
          <p:nvSpPr>
            <p:cNvPr id="1207" name="Freeform 334">
              <a:extLst>
                <a:ext uri="{FF2B5EF4-FFF2-40B4-BE49-F238E27FC236}">
                  <a16:creationId xmlns:a16="http://schemas.microsoft.com/office/drawing/2014/main" id="{D62DCDAD-B7BE-451C-A418-A7BFFBFD7FC1}"/>
                </a:ext>
              </a:extLst>
            </p:cNvPr>
            <p:cNvSpPr>
              <a:spLocks noEditPoints="1"/>
            </p:cNvSpPr>
            <p:nvPr/>
          </p:nvSpPr>
          <p:spPr bwMode="auto">
            <a:xfrm>
              <a:off x="10464801" y="817563"/>
              <a:ext cx="287338" cy="239712"/>
            </a:xfrm>
            <a:custGeom>
              <a:avLst/>
              <a:gdLst>
                <a:gd name="T0" fmla="*/ 723 w 904"/>
                <a:gd name="T1" fmla="*/ 602 h 753"/>
                <a:gd name="T2" fmla="*/ 512 w 904"/>
                <a:gd name="T3" fmla="*/ 602 h 753"/>
                <a:gd name="T4" fmla="*/ 512 w 904"/>
                <a:gd name="T5" fmla="*/ 722 h 753"/>
                <a:gd name="T6" fmla="*/ 181 w 904"/>
                <a:gd name="T7" fmla="*/ 542 h 753"/>
                <a:gd name="T8" fmla="*/ 181 w 904"/>
                <a:gd name="T9" fmla="*/ 722 h 753"/>
                <a:gd name="T10" fmla="*/ 391 w 904"/>
                <a:gd name="T11" fmla="*/ 722 h 753"/>
                <a:gd name="T12" fmla="*/ 331 w 904"/>
                <a:gd name="T13" fmla="*/ 524 h 753"/>
                <a:gd name="T14" fmla="*/ 327 w 904"/>
                <a:gd name="T15" fmla="*/ 516 h 753"/>
                <a:gd name="T16" fmla="*/ 319 w 904"/>
                <a:gd name="T17" fmla="*/ 512 h 753"/>
                <a:gd name="T18" fmla="*/ 163 w 904"/>
                <a:gd name="T19" fmla="*/ 512 h 753"/>
                <a:gd name="T20" fmla="*/ 155 w 904"/>
                <a:gd name="T21" fmla="*/ 516 h 753"/>
                <a:gd name="T22" fmla="*/ 151 w 904"/>
                <a:gd name="T23" fmla="*/ 524 h 753"/>
                <a:gd name="T24" fmla="*/ 91 w 904"/>
                <a:gd name="T25" fmla="*/ 722 h 753"/>
                <a:gd name="T26" fmla="*/ 813 w 904"/>
                <a:gd name="T27" fmla="*/ 722 h 753"/>
                <a:gd name="T28" fmla="*/ 753 w 904"/>
                <a:gd name="T29" fmla="*/ 584 h 753"/>
                <a:gd name="T30" fmla="*/ 748 w 904"/>
                <a:gd name="T31" fmla="*/ 577 h 753"/>
                <a:gd name="T32" fmla="*/ 741 w 904"/>
                <a:gd name="T33" fmla="*/ 572 h 753"/>
                <a:gd name="T34" fmla="*/ 494 w 904"/>
                <a:gd name="T35" fmla="*/ 572 h 753"/>
                <a:gd name="T36" fmla="*/ 487 w 904"/>
                <a:gd name="T37" fmla="*/ 577 h 753"/>
                <a:gd name="T38" fmla="*/ 482 w 904"/>
                <a:gd name="T39" fmla="*/ 584 h 753"/>
                <a:gd name="T40" fmla="*/ 421 w 904"/>
                <a:gd name="T41" fmla="*/ 722 h 753"/>
                <a:gd name="T42" fmla="*/ 723 w 904"/>
                <a:gd name="T43" fmla="*/ 121 h 753"/>
                <a:gd name="T44" fmla="*/ 723 w 904"/>
                <a:gd name="T45" fmla="*/ 241 h 753"/>
                <a:gd name="T46" fmla="*/ 843 w 904"/>
                <a:gd name="T47" fmla="*/ 722 h 753"/>
                <a:gd name="T48" fmla="*/ 885 w 904"/>
                <a:gd name="T49" fmla="*/ 376 h 753"/>
                <a:gd name="T50" fmla="*/ 895 w 904"/>
                <a:gd name="T51" fmla="*/ 375 h 753"/>
                <a:gd name="T52" fmla="*/ 903 w 904"/>
                <a:gd name="T53" fmla="*/ 366 h 753"/>
                <a:gd name="T54" fmla="*/ 903 w 904"/>
                <a:gd name="T55" fmla="*/ 358 h 753"/>
                <a:gd name="T56" fmla="*/ 898 w 904"/>
                <a:gd name="T57" fmla="*/ 350 h 753"/>
                <a:gd name="T58" fmla="*/ 813 w 904"/>
                <a:gd name="T59" fmla="*/ 106 h 753"/>
                <a:gd name="T60" fmla="*/ 811 w 904"/>
                <a:gd name="T61" fmla="*/ 97 h 753"/>
                <a:gd name="T62" fmla="*/ 804 w 904"/>
                <a:gd name="T63" fmla="*/ 92 h 753"/>
                <a:gd name="T64" fmla="*/ 708 w 904"/>
                <a:gd name="T65" fmla="*/ 91 h 753"/>
                <a:gd name="T66" fmla="*/ 699 w 904"/>
                <a:gd name="T67" fmla="*/ 93 h 753"/>
                <a:gd name="T68" fmla="*/ 694 w 904"/>
                <a:gd name="T69" fmla="*/ 99 h 753"/>
                <a:gd name="T70" fmla="*/ 693 w 904"/>
                <a:gd name="T71" fmla="*/ 221 h 753"/>
                <a:gd name="T72" fmla="*/ 333 w 904"/>
                <a:gd name="T73" fmla="*/ 0 h 753"/>
                <a:gd name="T74" fmla="*/ 325 w 904"/>
                <a:gd name="T75" fmla="*/ 1 h 753"/>
                <a:gd name="T76" fmla="*/ 318 w 904"/>
                <a:gd name="T77" fmla="*/ 7 h 753"/>
                <a:gd name="T78" fmla="*/ 316 w 904"/>
                <a:gd name="T79" fmla="*/ 15 h 753"/>
                <a:gd name="T80" fmla="*/ 319 w 904"/>
                <a:gd name="T81" fmla="*/ 24 h 753"/>
                <a:gd name="T82" fmla="*/ 391 w 904"/>
                <a:gd name="T83" fmla="*/ 70 h 753"/>
                <a:gd name="T84" fmla="*/ 69 w 904"/>
                <a:gd name="T85" fmla="*/ 394 h 753"/>
                <a:gd name="T86" fmla="*/ 6 w 904"/>
                <a:gd name="T87" fmla="*/ 424 h 753"/>
                <a:gd name="T88" fmla="*/ 1 w 904"/>
                <a:gd name="T89" fmla="*/ 432 h 753"/>
                <a:gd name="T90" fmla="*/ 1 w 904"/>
                <a:gd name="T91" fmla="*/ 440 h 753"/>
                <a:gd name="T92" fmla="*/ 7 w 904"/>
                <a:gd name="T93" fmla="*/ 450 h 753"/>
                <a:gd name="T94" fmla="*/ 19 w 904"/>
                <a:gd name="T95" fmla="*/ 451 h 753"/>
                <a:gd name="T96" fmla="*/ 61 w 904"/>
                <a:gd name="T97" fmla="*/ 722 h 753"/>
                <a:gd name="T98" fmla="*/ 9 w 904"/>
                <a:gd name="T99" fmla="*/ 724 h 753"/>
                <a:gd name="T100" fmla="*/ 3 w 904"/>
                <a:gd name="T101" fmla="*/ 730 h 753"/>
                <a:gd name="T102" fmla="*/ 0 w 904"/>
                <a:gd name="T103" fmla="*/ 738 h 753"/>
                <a:gd name="T104" fmla="*/ 3 w 904"/>
                <a:gd name="T105" fmla="*/ 746 h 753"/>
                <a:gd name="T106" fmla="*/ 9 w 904"/>
                <a:gd name="T107" fmla="*/ 751 h 753"/>
                <a:gd name="T108" fmla="*/ 166 w 904"/>
                <a:gd name="T109" fmla="*/ 753 h 753"/>
                <a:gd name="T110" fmla="*/ 738 w 904"/>
                <a:gd name="T111" fmla="*/ 753 h 753"/>
                <a:gd name="T112" fmla="*/ 894 w 904"/>
                <a:gd name="T113" fmla="*/ 751 h 753"/>
                <a:gd name="T114" fmla="*/ 901 w 904"/>
                <a:gd name="T115" fmla="*/ 746 h 753"/>
                <a:gd name="T116" fmla="*/ 904 w 904"/>
                <a:gd name="T117" fmla="*/ 738 h 753"/>
                <a:gd name="T118" fmla="*/ 901 w 904"/>
                <a:gd name="T119" fmla="*/ 730 h 753"/>
                <a:gd name="T120" fmla="*/ 894 w 904"/>
                <a:gd name="T121" fmla="*/ 72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753">
                  <a:moveTo>
                    <a:pt x="632" y="722"/>
                  </a:moveTo>
                  <a:lnTo>
                    <a:pt x="632" y="602"/>
                  </a:lnTo>
                  <a:lnTo>
                    <a:pt x="723" y="602"/>
                  </a:lnTo>
                  <a:lnTo>
                    <a:pt x="723" y="722"/>
                  </a:lnTo>
                  <a:lnTo>
                    <a:pt x="632" y="722"/>
                  </a:lnTo>
                  <a:close/>
                  <a:moveTo>
                    <a:pt x="512" y="602"/>
                  </a:moveTo>
                  <a:lnTo>
                    <a:pt x="602" y="602"/>
                  </a:lnTo>
                  <a:lnTo>
                    <a:pt x="602" y="722"/>
                  </a:lnTo>
                  <a:lnTo>
                    <a:pt x="512" y="722"/>
                  </a:lnTo>
                  <a:lnTo>
                    <a:pt x="512" y="602"/>
                  </a:lnTo>
                  <a:close/>
                  <a:moveTo>
                    <a:pt x="181" y="722"/>
                  </a:moveTo>
                  <a:lnTo>
                    <a:pt x="181" y="542"/>
                  </a:lnTo>
                  <a:lnTo>
                    <a:pt x="301" y="542"/>
                  </a:lnTo>
                  <a:lnTo>
                    <a:pt x="301" y="722"/>
                  </a:lnTo>
                  <a:lnTo>
                    <a:pt x="181" y="722"/>
                  </a:lnTo>
                  <a:close/>
                  <a:moveTo>
                    <a:pt x="91" y="417"/>
                  </a:moveTo>
                  <a:lnTo>
                    <a:pt x="391" y="273"/>
                  </a:lnTo>
                  <a:lnTo>
                    <a:pt x="391" y="722"/>
                  </a:lnTo>
                  <a:lnTo>
                    <a:pt x="331" y="722"/>
                  </a:lnTo>
                  <a:lnTo>
                    <a:pt x="331" y="527"/>
                  </a:lnTo>
                  <a:lnTo>
                    <a:pt x="331" y="524"/>
                  </a:lnTo>
                  <a:lnTo>
                    <a:pt x="330" y="521"/>
                  </a:lnTo>
                  <a:lnTo>
                    <a:pt x="329" y="519"/>
                  </a:lnTo>
                  <a:lnTo>
                    <a:pt x="327" y="516"/>
                  </a:lnTo>
                  <a:lnTo>
                    <a:pt x="325" y="514"/>
                  </a:lnTo>
                  <a:lnTo>
                    <a:pt x="323" y="513"/>
                  </a:lnTo>
                  <a:lnTo>
                    <a:pt x="319" y="512"/>
                  </a:lnTo>
                  <a:lnTo>
                    <a:pt x="316" y="512"/>
                  </a:lnTo>
                  <a:lnTo>
                    <a:pt x="166" y="512"/>
                  </a:lnTo>
                  <a:lnTo>
                    <a:pt x="163" y="512"/>
                  </a:lnTo>
                  <a:lnTo>
                    <a:pt x="160" y="513"/>
                  </a:lnTo>
                  <a:lnTo>
                    <a:pt x="157" y="514"/>
                  </a:lnTo>
                  <a:lnTo>
                    <a:pt x="155" y="516"/>
                  </a:lnTo>
                  <a:lnTo>
                    <a:pt x="153" y="519"/>
                  </a:lnTo>
                  <a:lnTo>
                    <a:pt x="152" y="521"/>
                  </a:lnTo>
                  <a:lnTo>
                    <a:pt x="151" y="524"/>
                  </a:lnTo>
                  <a:lnTo>
                    <a:pt x="151" y="527"/>
                  </a:lnTo>
                  <a:lnTo>
                    <a:pt x="151" y="722"/>
                  </a:lnTo>
                  <a:lnTo>
                    <a:pt x="91" y="722"/>
                  </a:lnTo>
                  <a:lnTo>
                    <a:pt x="91" y="417"/>
                  </a:lnTo>
                  <a:close/>
                  <a:moveTo>
                    <a:pt x="813" y="332"/>
                  </a:moveTo>
                  <a:lnTo>
                    <a:pt x="813" y="722"/>
                  </a:lnTo>
                  <a:lnTo>
                    <a:pt x="753" y="722"/>
                  </a:lnTo>
                  <a:lnTo>
                    <a:pt x="753" y="587"/>
                  </a:lnTo>
                  <a:lnTo>
                    <a:pt x="753" y="584"/>
                  </a:lnTo>
                  <a:lnTo>
                    <a:pt x="752" y="582"/>
                  </a:lnTo>
                  <a:lnTo>
                    <a:pt x="750" y="579"/>
                  </a:lnTo>
                  <a:lnTo>
                    <a:pt x="748" y="577"/>
                  </a:lnTo>
                  <a:lnTo>
                    <a:pt x="746" y="574"/>
                  </a:lnTo>
                  <a:lnTo>
                    <a:pt x="744" y="573"/>
                  </a:lnTo>
                  <a:lnTo>
                    <a:pt x="741" y="572"/>
                  </a:lnTo>
                  <a:lnTo>
                    <a:pt x="738" y="572"/>
                  </a:lnTo>
                  <a:lnTo>
                    <a:pt x="497" y="572"/>
                  </a:lnTo>
                  <a:lnTo>
                    <a:pt x="494" y="572"/>
                  </a:lnTo>
                  <a:lnTo>
                    <a:pt x="491" y="573"/>
                  </a:lnTo>
                  <a:lnTo>
                    <a:pt x="489" y="574"/>
                  </a:lnTo>
                  <a:lnTo>
                    <a:pt x="487" y="577"/>
                  </a:lnTo>
                  <a:lnTo>
                    <a:pt x="484" y="579"/>
                  </a:lnTo>
                  <a:lnTo>
                    <a:pt x="483" y="582"/>
                  </a:lnTo>
                  <a:lnTo>
                    <a:pt x="482" y="584"/>
                  </a:lnTo>
                  <a:lnTo>
                    <a:pt x="482" y="587"/>
                  </a:lnTo>
                  <a:lnTo>
                    <a:pt x="482" y="722"/>
                  </a:lnTo>
                  <a:lnTo>
                    <a:pt x="421" y="722"/>
                  </a:lnTo>
                  <a:lnTo>
                    <a:pt x="421" y="89"/>
                  </a:lnTo>
                  <a:lnTo>
                    <a:pt x="813" y="332"/>
                  </a:lnTo>
                  <a:close/>
                  <a:moveTo>
                    <a:pt x="723" y="121"/>
                  </a:moveTo>
                  <a:lnTo>
                    <a:pt x="783" y="121"/>
                  </a:lnTo>
                  <a:lnTo>
                    <a:pt x="783" y="278"/>
                  </a:lnTo>
                  <a:lnTo>
                    <a:pt x="723" y="241"/>
                  </a:lnTo>
                  <a:lnTo>
                    <a:pt x="723" y="121"/>
                  </a:lnTo>
                  <a:close/>
                  <a:moveTo>
                    <a:pt x="889" y="722"/>
                  </a:moveTo>
                  <a:lnTo>
                    <a:pt x="843" y="722"/>
                  </a:lnTo>
                  <a:lnTo>
                    <a:pt x="843" y="351"/>
                  </a:lnTo>
                  <a:lnTo>
                    <a:pt x="880" y="374"/>
                  </a:lnTo>
                  <a:lnTo>
                    <a:pt x="885" y="376"/>
                  </a:lnTo>
                  <a:lnTo>
                    <a:pt x="889" y="377"/>
                  </a:lnTo>
                  <a:lnTo>
                    <a:pt x="892" y="376"/>
                  </a:lnTo>
                  <a:lnTo>
                    <a:pt x="895" y="375"/>
                  </a:lnTo>
                  <a:lnTo>
                    <a:pt x="898" y="373"/>
                  </a:lnTo>
                  <a:lnTo>
                    <a:pt x="901" y="369"/>
                  </a:lnTo>
                  <a:lnTo>
                    <a:pt x="903" y="366"/>
                  </a:lnTo>
                  <a:lnTo>
                    <a:pt x="903" y="364"/>
                  </a:lnTo>
                  <a:lnTo>
                    <a:pt x="904" y="361"/>
                  </a:lnTo>
                  <a:lnTo>
                    <a:pt x="903" y="358"/>
                  </a:lnTo>
                  <a:lnTo>
                    <a:pt x="902" y="356"/>
                  </a:lnTo>
                  <a:lnTo>
                    <a:pt x="901" y="352"/>
                  </a:lnTo>
                  <a:lnTo>
                    <a:pt x="898" y="350"/>
                  </a:lnTo>
                  <a:lnTo>
                    <a:pt x="896" y="349"/>
                  </a:lnTo>
                  <a:lnTo>
                    <a:pt x="813" y="297"/>
                  </a:lnTo>
                  <a:lnTo>
                    <a:pt x="813" y="106"/>
                  </a:lnTo>
                  <a:lnTo>
                    <a:pt x="813" y="102"/>
                  </a:lnTo>
                  <a:lnTo>
                    <a:pt x="812" y="99"/>
                  </a:lnTo>
                  <a:lnTo>
                    <a:pt x="811" y="97"/>
                  </a:lnTo>
                  <a:lnTo>
                    <a:pt x="808" y="95"/>
                  </a:lnTo>
                  <a:lnTo>
                    <a:pt x="806" y="93"/>
                  </a:lnTo>
                  <a:lnTo>
                    <a:pt x="804" y="92"/>
                  </a:lnTo>
                  <a:lnTo>
                    <a:pt x="801" y="91"/>
                  </a:lnTo>
                  <a:lnTo>
                    <a:pt x="798" y="91"/>
                  </a:lnTo>
                  <a:lnTo>
                    <a:pt x="708" y="91"/>
                  </a:lnTo>
                  <a:lnTo>
                    <a:pt x="704" y="91"/>
                  </a:lnTo>
                  <a:lnTo>
                    <a:pt x="702" y="92"/>
                  </a:lnTo>
                  <a:lnTo>
                    <a:pt x="699" y="93"/>
                  </a:lnTo>
                  <a:lnTo>
                    <a:pt x="697" y="95"/>
                  </a:lnTo>
                  <a:lnTo>
                    <a:pt x="695" y="97"/>
                  </a:lnTo>
                  <a:lnTo>
                    <a:pt x="694" y="99"/>
                  </a:lnTo>
                  <a:lnTo>
                    <a:pt x="693" y="102"/>
                  </a:lnTo>
                  <a:lnTo>
                    <a:pt x="693" y="106"/>
                  </a:lnTo>
                  <a:lnTo>
                    <a:pt x="693" y="221"/>
                  </a:lnTo>
                  <a:lnTo>
                    <a:pt x="340" y="3"/>
                  </a:lnTo>
                  <a:lnTo>
                    <a:pt x="336" y="0"/>
                  </a:lnTo>
                  <a:lnTo>
                    <a:pt x="333" y="0"/>
                  </a:lnTo>
                  <a:lnTo>
                    <a:pt x="331" y="0"/>
                  </a:lnTo>
                  <a:lnTo>
                    <a:pt x="328" y="0"/>
                  </a:lnTo>
                  <a:lnTo>
                    <a:pt x="325" y="1"/>
                  </a:lnTo>
                  <a:lnTo>
                    <a:pt x="323" y="3"/>
                  </a:lnTo>
                  <a:lnTo>
                    <a:pt x="320" y="5"/>
                  </a:lnTo>
                  <a:lnTo>
                    <a:pt x="318" y="7"/>
                  </a:lnTo>
                  <a:lnTo>
                    <a:pt x="317" y="10"/>
                  </a:lnTo>
                  <a:lnTo>
                    <a:pt x="316" y="12"/>
                  </a:lnTo>
                  <a:lnTo>
                    <a:pt x="316" y="15"/>
                  </a:lnTo>
                  <a:lnTo>
                    <a:pt x="317" y="19"/>
                  </a:lnTo>
                  <a:lnTo>
                    <a:pt x="317" y="21"/>
                  </a:lnTo>
                  <a:lnTo>
                    <a:pt x="319" y="24"/>
                  </a:lnTo>
                  <a:lnTo>
                    <a:pt x="321" y="26"/>
                  </a:lnTo>
                  <a:lnTo>
                    <a:pt x="324" y="28"/>
                  </a:lnTo>
                  <a:lnTo>
                    <a:pt x="391" y="70"/>
                  </a:lnTo>
                  <a:lnTo>
                    <a:pt x="391" y="239"/>
                  </a:lnTo>
                  <a:lnTo>
                    <a:pt x="72" y="393"/>
                  </a:lnTo>
                  <a:lnTo>
                    <a:pt x="69" y="394"/>
                  </a:lnTo>
                  <a:lnTo>
                    <a:pt x="67" y="395"/>
                  </a:lnTo>
                  <a:lnTo>
                    <a:pt x="8" y="423"/>
                  </a:lnTo>
                  <a:lnTo>
                    <a:pt x="6" y="424"/>
                  </a:lnTo>
                  <a:lnTo>
                    <a:pt x="4" y="426"/>
                  </a:lnTo>
                  <a:lnTo>
                    <a:pt x="2" y="429"/>
                  </a:lnTo>
                  <a:lnTo>
                    <a:pt x="1" y="432"/>
                  </a:lnTo>
                  <a:lnTo>
                    <a:pt x="1" y="435"/>
                  </a:lnTo>
                  <a:lnTo>
                    <a:pt x="1" y="437"/>
                  </a:lnTo>
                  <a:lnTo>
                    <a:pt x="1" y="440"/>
                  </a:lnTo>
                  <a:lnTo>
                    <a:pt x="2" y="444"/>
                  </a:lnTo>
                  <a:lnTo>
                    <a:pt x="4" y="447"/>
                  </a:lnTo>
                  <a:lnTo>
                    <a:pt x="7" y="450"/>
                  </a:lnTo>
                  <a:lnTo>
                    <a:pt x="12" y="451"/>
                  </a:lnTo>
                  <a:lnTo>
                    <a:pt x="16" y="452"/>
                  </a:lnTo>
                  <a:lnTo>
                    <a:pt x="19" y="451"/>
                  </a:lnTo>
                  <a:lnTo>
                    <a:pt x="22" y="450"/>
                  </a:lnTo>
                  <a:lnTo>
                    <a:pt x="61" y="432"/>
                  </a:lnTo>
                  <a:lnTo>
                    <a:pt x="61" y="722"/>
                  </a:lnTo>
                  <a:lnTo>
                    <a:pt x="16" y="722"/>
                  </a:lnTo>
                  <a:lnTo>
                    <a:pt x="13" y="724"/>
                  </a:lnTo>
                  <a:lnTo>
                    <a:pt x="9" y="724"/>
                  </a:lnTo>
                  <a:lnTo>
                    <a:pt x="7" y="726"/>
                  </a:lnTo>
                  <a:lnTo>
                    <a:pt x="5" y="727"/>
                  </a:lnTo>
                  <a:lnTo>
                    <a:pt x="3" y="730"/>
                  </a:lnTo>
                  <a:lnTo>
                    <a:pt x="2" y="732"/>
                  </a:lnTo>
                  <a:lnTo>
                    <a:pt x="1" y="735"/>
                  </a:lnTo>
                  <a:lnTo>
                    <a:pt x="0" y="738"/>
                  </a:lnTo>
                  <a:lnTo>
                    <a:pt x="1" y="741"/>
                  </a:lnTo>
                  <a:lnTo>
                    <a:pt x="2" y="744"/>
                  </a:lnTo>
                  <a:lnTo>
                    <a:pt x="3" y="746"/>
                  </a:lnTo>
                  <a:lnTo>
                    <a:pt x="5" y="748"/>
                  </a:lnTo>
                  <a:lnTo>
                    <a:pt x="7" y="750"/>
                  </a:lnTo>
                  <a:lnTo>
                    <a:pt x="9" y="751"/>
                  </a:lnTo>
                  <a:lnTo>
                    <a:pt x="13" y="753"/>
                  </a:lnTo>
                  <a:lnTo>
                    <a:pt x="16" y="753"/>
                  </a:lnTo>
                  <a:lnTo>
                    <a:pt x="166" y="753"/>
                  </a:lnTo>
                  <a:lnTo>
                    <a:pt x="316" y="753"/>
                  </a:lnTo>
                  <a:lnTo>
                    <a:pt x="497" y="753"/>
                  </a:lnTo>
                  <a:lnTo>
                    <a:pt x="738" y="753"/>
                  </a:lnTo>
                  <a:lnTo>
                    <a:pt x="889" y="753"/>
                  </a:lnTo>
                  <a:lnTo>
                    <a:pt x="891" y="753"/>
                  </a:lnTo>
                  <a:lnTo>
                    <a:pt x="894" y="751"/>
                  </a:lnTo>
                  <a:lnTo>
                    <a:pt x="896" y="750"/>
                  </a:lnTo>
                  <a:lnTo>
                    <a:pt x="898" y="748"/>
                  </a:lnTo>
                  <a:lnTo>
                    <a:pt x="901" y="746"/>
                  </a:lnTo>
                  <a:lnTo>
                    <a:pt x="902" y="744"/>
                  </a:lnTo>
                  <a:lnTo>
                    <a:pt x="903" y="741"/>
                  </a:lnTo>
                  <a:lnTo>
                    <a:pt x="904" y="738"/>
                  </a:lnTo>
                  <a:lnTo>
                    <a:pt x="903" y="735"/>
                  </a:lnTo>
                  <a:lnTo>
                    <a:pt x="902" y="732"/>
                  </a:lnTo>
                  <a:lnTo>
                    <a:pt x="901" y="730"/>
                  </a:lnTo>
                  <a:lnTo>
                    <a:pt x="898" y="727"/>
                  </a:lnTo>
                  <a:lnTo>
                    <a:pt x="896" y="726"/>
                  </a:lnTo>
                  <a:lnTo>
                    <a:pt x="894" y="724"/>
                  </a:lnTo>
                  <a:lnTo>
                    <a:pt x="891" y="724"/>
                  </a:lnTo>
                  <a:lnTo>
                    <a:pt x="889" y="7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8" name="Freeform 335">
              <a:extLst>
                <a:ext uri="{FF2B5EF4-FFF2-40B4-BE49-F238E27FC236}">
                  <a16:creationId xmlns:a16="http://schemas.microsoft.com/office/drawing/2014/main" id="{4DE69F77-2743-43DE-B4A7-40FBDD13ADDF}"/>
                </a:ext>
              </a:extLst>
            </p:cNvPr>
            <p:cNvSpPr>
              <a:spLocks/>
            </p:cNvSpPr>
            <p:nvPr/>
          </p:nvSpPr>
          <p:spPr bwMode="auto">
            <a:xfrm>
              <a:off x="10512426" y="962025"/>
              <a:ext cx="57150" cy="9525"/>
            </a:xfrm>
            <a:custGeom>
              <a:avLst/>
              <a:gdLst>
                <a:gd name="T0" fmla="*/ 15 w 180"/>
                <a:gd name="T1" fmla="*/ 30 h 30"/>
                <a:gd name="T2" fmla="*/ 165 w 180"/>
                <a:gd name="T3" fmla="*/ 30 h 30"/>
                <a:gd name="T4" fmla="*/ 168 w 180"/>
                <a:gd name="T5" fmla="*/ 29 h 30"/>
                <a:gd name="T6" fmla="*/ 172 w 180"/>
                <a:gd name="T7" fmla="*/ 29 h 30"/>
                <a:gd name="T8" fmla="*/ 174 w 180"/>
                <a:gd name="T9" fmla="*/ 27 h 30"/>
                <a:gd name="T10" fmla="*/ 176 w 180"/>
                <a:gd name="T11" fmla="*/ 26 h 30"/>
                <a:gd name="T12" fmla="*/ 178 w 180"/>
                <a:gd name="T13" fmla="*/ 24 h 30"/>
                <a:gd name="T14" fmla="*/ 179 w 180"/>
                <a:gd name="T15" fmla="*/ 20 h 30"/>
                <a:gd name="T16" fmla="*/ 180 w 180"/>
                <a:gd name="T17" fmla="*/ 18 h 30"/>
                <a:gd name="T18" fmla="*/ 180 w 180"/>
                <a:gd name="T19" fmla="*/ 15 h 30"/>
                <a:gd name="T20" fmla="*/ 180 w 180"/>
                <a:gd name="T21" fmla="*/ 12 h 30"/>
                <a:gd name="T22" fmla="*/ 179 w 180"/>
                <a:gd name="T23" fmla="*/ 9 h 30"/>
                <a:gd name="T24" fmla="*/ 178 w 180"/>
                <a:gd name="T25" fmla="*/ 7 h 30"/>
                <a:gd name="T26" fmla="*/ 176 w 180"/>
                <a:gd name="T27" fmla="*/ 4 h 30"/>
                <a:gd name="T28" fmla="*/ 174 w 180"/>
                <a:gd name="T29" fmla="*/ 2 h 30"/>
                <a:gd name="T30" fmla="*/ 172 w 180"/>
                <a:gd name="T31" fmla="*/ 1 h 30"/>
                <a:gd name="T32" fmla="*/ 168 w 180"/>
                <a:gd name="T33" fmla="*/ 0 h 30"/>
                <a:gd name="T34" fmla="*/ 165 w 180"/>
                <a:gd name="T35" fmla="*/ 0 h 30"/>
                <a:gd name="T36" fmla="*/ 15 w 180"/>
                <a:gd name="T37" fmla="*/ 0 h 30"/>
                <a:gd name="T38" fmla="*/ 12 w 180"/>
                <a:gd name="T39" fmla="*/ 0 h 30"/>
                <a:gd name="T40" fmla="*/ 9 w 180"/>
                <a:gd name="T41" fmla="*/ 1 h 30"/>
                <a:gd name="T42" fmla="*/ 6 w 180"/>
                <a:gd name="T43" fmla="*/ 2 h 30"/>
                <a:gd name="T44" fmla="*/ 4 w 180"/>
                <a:gd name="T45" fmla="*/ 4 h 30"/>
                <a:gd name="T46" fmla="*/ 2 w 180"/>
                <a:gd name="T47" fmla="*/ 7 h 30"/>
                <a:gd name="T48" fmla="*/ 1 w 180"/>
                <a:gd name="T49" fmla="*/ 9 h 30"/>
                <a:gd name="T50" fmla="*/ 0 w 180"/>
                <a:gd name="T51" fmla="*/ 12 h 30"/>
                <a:gd name="T52" fmla="*/ 0 w 180"/>
                <a:gd name="T53" fmla="*/ 15 h 30"/>
                <a:gd name="T54" fmla="*/ 0 w 180"/>
                <a:gd name="T55" fmla="*/ 18 h 30"/>
                <a:gd name="T56" fmla="*/ 1 w 180"/>
                <a:gd name="T57" fmla="*/ 20 h 30"/>
                <a:gd name="T58" fmla="*/ 2 w 180"/>
                <a:gd name="T59" fmla="*/ 24 h 30"/>
                <a:gd name="T60" fmla="*/ 4 w 180"/>
                <a:gd name="T61" fmla="*/ 26 h 30"/>
                <a:gd name="T62" fmla="*/ 6 w 180"/>
                <a:gd name="T63" fmla="*/ 27 h 30"/>
                <a:gd name="T64" fmla="*/ 9 w 180"/>
                <a:gd name="T65" fmla="*/ 29 h 30"/>
                <a:gd name="T66" fmla="*/ 12 w 180"/>
                <a:gd name="T67" fmla="*/ 29 h 30"/>
                <a:gd name="T68" fmla="*/ 15 w 180"/>
                <a:gd name="T69" fmla="*/ 30 h 30"/>
                <a:gd name="T70" fmla="*/ 15 w 18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5" y="30"/>
                  </a:moveTo>
                  <a:lnTo>
                    <a:pt x="165" y="30"/>
                  </a:lnTo>
                  <a:lnTo>
                    <a:pt x="168" y="29"/>
                  </a:lnTo>
                  <a:lnTo>
                    <a:pt x="172" y="29"/>
                  </a:lnTo>
                  <a:lnTo>
                    <a:pt x="174" y="27"/>
                  </a:lnTo>
                  <a:lnTo>
                    <a:pt x="176" y="26"/>
                  </a:lnTo>
                  <a:lnTo>
                    <a:pt x="178" y="24"/>
                  </a:lnTo>
                  <a:lnTo>
                    <a:pt x="179" y="20"/>
                  </a:lnTo>
                  <a:lnTo>
                    <a:pt x="180" y="18"/>
                  </a:lnTo>
                  <a:lnTo>
                    <a:pt x="180" y="15"/>
                  </a:lnTo>
                  <a:lnTo>
                    <a:pt x="180" y="12"/>
                  </a:lnTo>
                  <a:lnTo>
                    <a:pt x="179" y="9"/>
                  </a:lnTo>
                  <a:lnTo>
                    <a:pt x="178" y="7"/>
                  </a:lnTo>
                  <a:lnTo>
                    <a:pt x="176" y="4"/>
                  </a:lnTo>
                  <a:lnTo>
                    <a:pt x="174" y="2"/>
                  </a:lnTo>
                  <a:lnTo>
                    <a:pt x="172" y="1"/>
                  </a:lnTo>
                  <a:lnTo>
                    <a:pt x="168" y="0"/>
                  </a:lnTo>
                  <a:lnTo>
                    <a:pt x="165" y="0"/>
                  </a:lnTo>
                  <a:lnTo>
                    <a:pt x="15" y="0"/>
                  </a:lnTo>
                  <a:lnTo>
                    <a:pt x="12" y="0"/>
                  </a:lnTo>
                  <a:lnTo>
                    <a:pt x="9" y="1"/>
                  </a:lnTo>
                  <a:lnTo>
                    <a:pt x="6" y="2"/>
                  </a:lnTo>
                  <a:lnTo>
                    <a:pt x="4" y="4"/>
                  </a:lnTo>
                  <a:lnTo>
                    <a:pt x="2" y="7"/>
                  </a:lnTo>
                  <a:lnTo>
                    <a:pt x="1" y="9"/>
                  </a:lnTo>
                  <a:lnTo>
                    <a:pt x="0" y="12"/>
                  </a:lnTo>
                  <a:lnTo>
                    <a:pt x="0" y="15"/>
                  </a:lnTo>
                  <a:lnTo>
                    <a:pt x="0" y="18"/>
                  </a:lnTo>
                  <a:lnTo>
                    <a:pt x="1" y="20"/>
                  </a:lnTo>
                  <a:lnTo>
                    <a:pt x="2" y="24"/>
                  </a:lnTo>
                  <a:lnTo>
                    <a:pt x="4" y="26"/>
                  </a:lnTo>
                  <a:lnTo>
                    <a:pt x="6" y="27"/>
                  </a:lnTo>
                  <a:lnTo>
                    <a:pt x="9" y="29"/>
                  </a:lnTo>
                  <a:lnTo>
                    <a:pt x="12" y="29"/>
                  </a:lnTo>
                  <a:lnTo>
                    <a:pt x="15" y="30"/>
                  </a:lnTo>
                  <a:lnTo>
                    <a:pt x="15" y="3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9" name="Freeform 336">
              <a:extLst>
                <a:ext uri="{FF2B5EF4-FFF2-40B4-BE49-F238E27FC236}">
                  <a16:creationId xmlns:a16="http://schemas.microsoft.com/office/drawing/2014/main" id="{3B976C17-8837-4426-A37A-4578295FFDB5}"/>
                </a:ext>
              </a:extLst>
            </p:cNvPr>
            <p:cNvSpPr>
              <a:spLocks noEditPoints="1"/>
            </p:cNvSpPr>
            <p:nvPr/>
          </p:nvSpPr>
          <p:spPr bwMode="auto">
            <a:xfrm>
              <a:off x="10607676" y="893763"/>
              <a:ext cx="47625" cy="49212"/>
            </a:xfrm>
            <a:custGeom>
              <a:avLst/>
              <a:gdLst>
                <a:gd name="T0" fmla="*/ 84 w 150"/>
                <a:gd name="T1" fmla="*/ 31 h 151"/>
                <a:gd name="T2" fmla="*/ 100 w 150"/>
                <a:gd name="T3" fmla="*/ 37 h 151"/>
                <a:gd name="T4" fmla="*/ 113 w 150"/>
                <a:gd name="T5" fmla="*/ 50 h 151"/>
                <a:gd name="T6" fmla="*/ 119 w 150"/>
                <a:gd name="T7" fmla="*/ 66 h 151"/>
                <a:gd name="T8" fmla="*/ 119 w 150"/>
                <a:gd name="T9" fmla="*/ 84 h 151"/>
                <a:gd name="T10" fmla="*/ 113 w 150"/>
                <a:gd name="T11" fmla="*/ 101 h 151"/>
                <a:gd name="T12" fmla="*/ 100 w 150"/>
                <a:gd name="T13" fmla="*/ 112 h 151"/>
                <a:gd name="T14" fmla="*/ 84 w 150"/>
                <a:gd name="T15" fmla="*/ 120 h 151"/>
                <a:gd name="T16" fmla="*/ 66 w 150"/>
                <a:gd name="T17" fmla="*/ 120 h 151"/>
                <a:gd name="T18" fmla="*/ 50 w 150"/>
                <a:gd name="T19" fmla="*/ 112 h 151"/>
                <a:gd name="T20" fmla="*/ 38 w 150"/>
                <a:gd name="T21" fmla="*/ 101 h 151"/>
                <a:gd name="T22" fmla="*/ 30 w 150"/>
                <a:gd name="T23" fmla="*/ 84 h 151"/>
                <a:gd name="T24" fmla="*/ 30 w 150"/>
                <a:gd name="T25" fmla="*/ 66 h 151"/>
                <a:gd name="T26" fmla="*/ 38 w 150"/>
                <a:gd name="T27" fmla="*/ 50 h 151"/>
                <a:gd name="T28" fmla="*/ 50 w 150"/>
                <a:gd name="T29" fmla="*/ 37 h 151"/>
                <a:gd name="T30" fmla="*/ 66 w 150"/>
                <a:gd name="T31" fmla="*/ 31 h 151"/>
                <a:gd name="T32" fmla="*/ 75 w 150"/>
                <a:gd name="T33" fmla="*/ 150 h 151"/>
                <a:gd name="T34" fmla="*/ 90 w 150"/>
                <a:gd name="T35" fmla="*/ 149 h 151"/>
                <a:gd name="T36" fmla="*/ 104 w 150"/>
                <a:gd name="T37" fmla="*/ 145 h 151"/>
                <a:gd name="T38" fmla="*/ 117 w 150"/>
                <a:gd name="T39" fmla="*/ 137 h 151"/>
                <a:gd name="T40" fmla="*/ 128 w 150"/>
                <a:gd name="T41" fmla="*/ 128 h 151"/>
                <a:gd name="T42" fmla="*/ 138 w 150"/>
                <a:gd name="T43" fmla="*/ 118 h 151"/>
                <a:gd name="T44" fmla="*/ 144 w 150"/>
                <a:gd name="T45" fmla="*/ 105 h 151"/>
                <a:gd name="T46" fmla="*/ 148 w 150"/>
                <a:gd name="T47" fmla="*/ 90 h 151"/>
                <a:gd name="T48" fmla="*/ 150 w 150"/>
                <a:gd name="T49" fmla="*/ 75 h 151"/>
                <a:gd name="T50" fmla="*/ 148 w 150"/>
                <a:gd name="T51" fmla="*/ 60 h 151"/>
                <a:gd name="T52" fmla="*/ 144 w 150"/>
                <a:gd name="T53" fmla="*/ 46 h 151"/>
                <a:gd name="T54" fmla="*/ 138 w 150"/>
                <a:gd name="T55" fmla="*/ 33 h 151"/>
                <a:gd name="T56" fmla="*/ 128 w 150"/>
                <a:gd name="T57" fmla="*/ 22 h 151"/>
                <a:gd name="T58" fmla="*/ 117 w 150"/>
                <a:gd name="T59" fmla="*/ 13 h 151"/>
                <a:gd name="T60" fmla="*/ 104 w 150"/>
                <a:gd name="T61" fmla="*/ 6 h 151"/>
                <a:gd name="T62" fmla="*/ 90 w 150"/>
                <a:gd name="T63" fmla="*/ 2 h 151"/>
                <a:gd name="T64" fmla="*/ 75 w 150"/>
                <a:gd name="T65" fmla="*/ 0 h 151"/>
                <a:gd name="T66" fmla="*/ 60 w 150"/>
                <a:gd name="T67" fmla="*/ 2 h 151"/>
                <a:gd name="T68" fmla="*/ 45 w 150"/>
                <a:gd name="T69" fmla="*/ 6 h 151"/>
                <a:gd name="T70" fmla="*/ 32 w 150"/>
                <a:gd name="T71" fmla="*/ 13 h 151"/>
                <a:gd name="T72" fmla="*/ 22 w 150"/>
                <a:gd name="T73" fmla="*/ 22 h 151"/>
                <a:gd name="T74" fmla="*/ 13 w 150"/>
                <a:gd name="T75" fmla="*/ 33 h 151"/>
                <a:gd name="T76" fmla="*/ 6 w 150"/>
                <a:gd name="T77" fmla="*/ 46 h 151"/>
                <a:gd name="T78" fmla="*/ 1 w 150"/>
                <a:gd name="T79" fmla="*/ 60 h 151"/>
                <a:gd name="T80" fmla="*/ 0 w 150"/>
                <a:gd name="T81" fmla="*/ 75 h 151"/>
                <a:gd name="T82" fmla="*/ 1 w 150"/>
                <a:gd name="T83" fmla="*/ 90 h 151"/>
                <a:gd name="T84" fmla="*/ 6 w 150"/>
                <a:gd name="T85" fmla="*/ 105 h 151"/>
                <a:gd name="T86" fmla="*/ 13 w 150"/>
                <a:gd name="T87" fmla="*/ 117 h 151"/>
                <a:gd name="T88" fmla="*/ 22 w 150"/>
                <a:gd name="T89" fmla="*/ 128 h 151"/>
                <a:gd name="T90" fmla="*/ 32 w 150"/>
                <a:gd name="T91" fmla="*/ 137 h 151"/>
                <a:gd name="T92" fmla="*/ 45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0" y="37"/>
                  </a:lnTo>
                  <a:lnTo>
                    <a:pt x="106" y="44"/>
                  </a:lnTo>
                  <a:lnTo>
                    <a:pt x="113" y="50"/>
                  </a:lnTo>
                  <a:lnTo>
                    <a:pt x="116" y="58"/>
                  </a:lnTo>
                  <a:lnTo>
                    <a:pt x="119" y="66"/>
                  </a:lnTo>
                  <a:lnTo>
                    <a:pt x="120" y="75"/>
                  </a:lnTo>
                  <a:lnTo>
                    <a:pt x="119" y="84"/>
                  </a:lnTo>
                  <a:lnTo>
                    <a:pt x="116" y="93"/>
                  </a:lnTo>
                  <a:lnTo>
                    <a:pt x="113" y="101"/>
                  </a:lnTo>
                  <a:lnTo>
                    <a:pt x="106" y="107"/>
                  </a:lnTo>
                  <a:lnTo>
                    <a:pt x="100" y="112"/>
                  </a:lnTo>
                  <a:lnTo>
                    <a:pt x="93" y="117"/>
                  </a:lnTo>
                  <a:lnTo>
                    <a:pt x="84" y="120"/>
                  </a:lnTo>
                  <a:lnTo>
                    <a:pt x="75" y="120"/>
                  </a:lnTo>
                  <a:lnTo>
                    <a:pt x="66" y="120"/>
                  </a:lnTo>
                  <a:lnTo>
                    <a:pt x="57" y="117"/>
                  </a:lnTo>
                  <a:lnTo>
                    <a:pt x="50" y="112"/>
                  </a:lnTo>
                  <a:lnTo>
                    <a:pt x="43" y="107"/>
                  </a:lnTo>
                  <a:lnTo>
                    <a:pt x="38" y="101"/>
                  </a:lnTo>
                  <a:lnTo>
                    <a:pt x="34" y="93"/>
                  </a:lnTo>
                  <a:lnTo>
                    <a:pt x="30" y="84"/>
                  </a:lnTo>
                  <a:lnTo>
                    <a:pt x="30" y="75"/>
                  </a:lnTo>
                  <a:lnTo>
                    <a:pt x="30" y="66"/>
                  </a:lnTo>
                  <a:lnTo>
                    <a:pt x="34" y="58"/>
                  </a:lnTo>
                  <a:lnTo>
                    <a:pt x="38" y="50"/>
                  </a:lnTo>
                  <a:lnTo>
                    <a:pt x="43" y="44"/>
                  </a:lnTo>
                  <a:lnTo>
                    <a:pt x="50" y="37"/>
                  </a:lnTo>
                  <a:lnTo>
                    <a:pt x="57" y="34"/>
                  </a:lnTo>
                  <a:lnTo>
                    <a:pt x="66" y="31"/>
                  </a:lnTo>
                  <a:lnTo>
                    <a:pt x="75" y="30"/>
                  </a:lnTo>
                  <a:close/>
                  <a:moveTo>
                    <a:pt x="75" y="150"/>
                  </a:moveTo>
                  <a:lnTo>
                    <a:pt x="83" y="150"/>
                  </a:lnTo>
                  <a:lnTo>
                    <a:pt x="90" y="149"/>
                  </a:lnTo>
                  <a:lnTo>
                    <a:pt x="98" y="147"/>
                  </a:lnTo>
                  <a:lnTo>
                    <a:pt x="104" y="145"/>
                  </a:lnTo>
                  <a:lnTo>
                    <a:pt x="111" y="141"/>
                  </a:lnTo>
                  <a:lnTo>
                    <a:pt x="117" y="137"/>
                  </a:lnTo>
                  <a:lnTo>
                    <a:pt x="123" y="133"/>
                  </a:lnTo>
                  <a:lnTo>
                    <a:pt x="128" y="128"/>
                  </a:lnTo>
                  <a:lnTo>
                    <a:pt x="133" y="123"/>
                  </a:lnTo>
                  <a:lnTo>
                    <a:pt x="138" y="118"/>
                  </a:lnTo>
                  <a:lnTo>
                    <a:pt x="141" y="111"/>
                  </a:lnTo>
                  <a:lnTo>
                    <a:pt x="144" y="105"/>
                  </a:lnTo>
                  <a:lnTo>
                    <a:pt x="147" y="97"/>
                  </a:lnTo>
                  <a:lnTo>
                    <a:pt x="148" y="90"/>
                  </a:lnTo>
                  <a:lnTo>
                    <a:pt x="150" y="83"/>
                  </a:lnTo>
                  <a:lnTo>
                    <a:pt x="150" y="75"/>
                  </a:lnTo>
                  <a:lnTo>
                    <a:pt x="150" y="67"/>
                  </a:lnTo>
                  <a:lnTo>
                    <a:pt x="148" y="60"/>
                  </a:lnTo>
                  <a:lnTo>
                    <a:pt x="147" y="52"/>
                  </a:lnTo>
                  <a:lnTo>
                    <a:pt x="144" y="46"/>
                  </a:lnTo>
                  <a:lnTo>
                    <a:pt x="141" y="39"/>
                  </a:lnTo>
                  <a:lnTo>
                    <a:pt x="138" y="33"/>
                  </a:lnTo>
                  <a:lnTo>
                    <a:pt x="133" y="28"/>
                  </a:lnTo>
                  <a:lnTo>
                    <a:pt x="128" y="22"/>
                  </a:lnTo>
                  <a:lnTo>
                    <a:pt x="123" y="17"/>
                  </a:lnTo>
                  <a:lnTo>
                    <a:pt x="117" y="13"/>
                  </a:lnTo>
                  <a:lnTo>
                    <a:pt x="111" y="9"/>
                  </a:lnTo>
                  <a:lnTo>
                    <a:pt x="104" y="6"/>
                  </a:lnTo>
                  <a:lnTo>
                    <a:pt x="98" y="3"/>
                  </a:lnTo>
                  <a:lnTo>
                    <a:pt x="90" y="2"/>
                  </a:lnTo>
                  <a:lnTo>
                    <a:pt x="83" y="1"/>
                  </a:lnTo>
                  <a:lnTo>
                    <a:pt x="75" y="0"/>
                  </a:lnTo>
                  <a:lnTo>
                    <a:pt x="68" y="1"/>
                  </a:lnTo>
                  <a:lnTo>
                    <a:pt x="60" y="2"/>
                  </a:lnTo>
                  <a:lnTo>
                    <a:pt x="53" y="3"/>
                  </a:lnTo>
                  <a:lnTo>
                    <a:pt x="45" y="6"/>
                  </a:lnTo>
                  <a:lnTo>
                    <a:pt x="39" y="9"/>
                  </a:lnTo>
                  <a:lnTo>
                    <a:pt x="32" y="13"/>
                  </a:lnTo>
                  <a:lnTo>
                    <a:pt x="27" y="17"/>
                  </a:lnTo>
                  <a:lnTo>
                    <a:pt x="22" y="22"/>
                  </a:lnTo>
                  <a:lnTo>
                    <a:pt x="17" y="28"/>
                  </a:lnTo>
                  <a:lnTo>
                    <a:pt x="13" y="33"/>
                  </a:lnTo>
                  <a:lnTo>
                    <a:pt x="9" y="39"/>
                  </a:lnTo>
                  <a:lnTo>
                    <a:pt x="6" y="46"/>
                  </a:lnTo>
                  <a:lnTo>
                    <a:pt x="4" y="53"/>
                  </a:lnTo>
                  <a:lnTo>
                    <a:pt x="1" y="60"/>
                  </a:lnTo>
                  <a:lnTo>
                    <a:pt x="0" y="67"/>
                  </a:lnTo>
                  <a:lnTo>
                    <a:pt x="0" y="75"/>
                  </a:lnTo>
                  <a:lnTo>
                    <a:pt x="0" y="83"/>
                  </a:lnTo>
                  <a:lnTo>
                    <a:pt x="1" y="90"/>
                  </a:lnTo>
                  <a:lnTo>
                    <a:pt x="4" y="97"/>
                  </a:lnTo>
                  <a:lnTo>
                    <a:pt x="6" y="105"/>
                  </a:lnTo>
                  <a:lnTo>
                    <a:pt x="9" y="111"/>
                  </a:lnTo>
                  <a:lnTo>
                    <a:pt x="13" y="117"/>
                  </a:lnTo>
                  <a:lnTo>
                    <a:pt x="17" y="123"/>
                  </a:lnTo>
                  <a:lnTo>
                    <a:pt x="22" y="128"/>
                  </a:lnTo>
                  <a:lnTo>
                    <a:pt x="27" y="133"/>
                  </a:lnTo>
                  <a:lnTo>
                    <a:pt x="32" y="137"/>
                  </a:lnTo>
                  <a:lnTo>
                    <a:pt x="39" y="141"/>
                  </a:lnTo>
                  <a:lnTo>
                    <a:pt x="45" y="145"/>
                  </a:lnTo>
                  <a:lnTo>
                    <a:pt x="53" y="147"/>
                  </a:lnTo>
                  <a:lnTo>
                    <a:pt x="60" y="149"/>
                  </a:lnTo>
                  <a:lnTo>
                    <a:pt x="68" y="150"/>
                  </a:lnTo>
                  <a:lnTo>
                    <a:pt x="75" y="151"/>
                  </a:lnTo>
                  <a:lnTo>
                    <a:pt x="75" y="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1221" name="Group 68">
            <a:extLst>
              <a:ext uri="{FF2B5EF4-FFF2-40B4-BE49-F238E27FC236}">
                <a16:creationId xmlns:a16="http://schemas.microsoft.com/office/drawing/2014/main" id="{47C4E5DC-E1AA-44BE-A99A-F117699CEABA}"/>
              </a:ext>
            </a:extLst>
          </p:cNvPr>
          <p:cNvGrpSpPr>
            <a:grpSpLocks noChangeAspect="1"/>
          </p:cNvGrpSpPr>
          <p:nvPr/>
        </p:nvGrpSpPr>
        <p:grpSpPr>
          <a:xfrm>
            <a:off x="2736259" y="3263433"/>
            <a:ext cx="285619" cy="285619"/>
            <a:chOff x="7023101" y="1917700"/>
            <a:chExt cx="287338" cy="287337"/>
          </a:xfrm>
          <a:solidFill>
            <a:schemeClr val="bg2"/>
          </a:solidFill>
          <a:effectLst/>
        </p:grpSpPr>
        <p:sp>
          <p:nvSpPr>
            <p:cNvPr id="1222" name="Freeform 274">
              <a:extLst>
                <a:ext uri="{FF2B5EF4-FFF2-40B4-BE49-F238E27FC236}">
                  <a16:creationId xmlns:a16="http://schemas.microsoft.com/office/drawing/2014/main" id="{09F566A6-AEC6-44ED-8B59-11DB909E4F08}"/>
                </a:ext>
              </a:extLst>
            </p:cNvPr>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3" name="Freeform 275">
              <a:extLst>
                <a:ext uri="{FF2B5EF4-FFF2-40B4-BE49-F238E27FC236}">
                  <a16:creationId xmlns:a16="http://schemas.microsoft.com/office/drawing/2014/main" id="{F0FB00A3-D2C1-496D-968A-0CCCA348E755}"/>
                </a:ext>
              </a:extLst>
            </p:cNvPr>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4" name="Freeform 276">
              <a:extLst>
                <a:ext uri="{FF2B5EF4-FFF2-40B4-BE49-F238E27FC236}">
                  <a16:creationId xmlns:a16="http://schemas.microsoft.com/office/drawing/2014/main" id="{DDB542B5-4786-4706-B6C4-26E85EED06CD}"/>
                </a:ext>
              </a:extLst>
            </p:cNvPr>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5" name="Freeform 277">
              <a:extLst>
                <a:ext uri="{FF2B5EF4-FFF2-40B4-BE49-F238E27FC236}">
                  <a16:creationId xmlns:a16="http://schemas.microsoft.com/office/drawing/2014/main" id="{90DBCFAC-C0D9-4A2C-AF0E-5EB71C73DA3F}"/>
                </a:ext>
              </a:extLst>
            </p:cNvPr>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6" name="Freeform 278">
              <a:extLst>
                <a:ext uri="{FF2B5EF4-FFF2-40B4-BE49-F238E27FC236}">
                  <a16:creationId xmlns:a16="http://schemas.microsoft.com/office/drawing/2014/main" id="{F2285B84-CC38-46C0-BC22-64467E93CF90}"/>
                </a:ext>
              </a:extLst>
            </p:cNvPr>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7" name="Freeform 279">
              <a:extLst>
                <a:ext uri="{FF2B5EF4-FFF2-40B4-BE49-F238E27FC236}">
                  <a16:creationId xmlns:a16="http://schemas.microsoft.com/office/drawing/2014/main" id="{4537EA8E-27D9-4A53-A888-9E6E959F9C10}"/>
                </a:ext>
              </a:extLst>
            </p:cNvPr>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8" name="Freeform 280">
              <a:extLst>
                <a:ext uri="{FF2B5EF4-FFF2-40B4-BE49-F238E27FC236}">
                  <a16:creationId xmlns:a16="http://schemas.microsoft.com/office/drawing/2014/main" id="{EA53B19D-D332-47E0-A8C2-E15B27F7D362}"/>
                </a:ext>
              </a:extLst>
            </p:cNvPr>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9" name="Freeform 281">
              <a:extLst>
                <a:ext uri="{FF2B5EF4-FFF2-40B4-BE49-F238E27FC236}">
                  <a16:creationId xmlns:a16="http://schemas.microsoft.com/office/drawing/2014/main" id="{0E39AD85-2DDE-457D-983F-A075C43443F5}"/>
                </a:ext>
              </a:extLst>
            </p:cNvPr>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0" name="Freeform 282">
              <a:extLst>
                <a:ext uri="{FF2B5EF4-FFF2-40B4-BE49-F238E27FC236}">
                  <a16:creationId xmlns:a16="http://schemas.microsoft.com/office/drawing/2014/main" id="{2365B7EE-8AB8-4BF7-9859-0CA6CCCED22F}"/>
                </a:ext>
              </a:extLst>
            </p:cNvPr>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1" name="Freeform 283">
              <a:extLst>
                <a:ext uri="{FF2B5EF4-FFF2-40B4-BE49-F238E27FC236}">
                  <a16:creationId xmlns:a16="http://schemas.microsoft.com/office/drawing/2014/main" id="{776ED6CC-9EB2-48C7-855B-5248237E03A0}"/>
                </a:ext>
              </a:extLst>
            </p:cNvPr>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2" name="Freeform 284">
              <a:extLst>
                <a:ext uri="{FF2B5EF4-FFF2-40B4-BE49-F238E27FC236}">
                  <a16:creationId xmlns:a16="http://schemas.microsoft.com/office/drawing/2014/main" id="{905D19F1-8D2C-423A-990F-F55C75EFD8E5}"/>
                </a:ext>
              </a:extLst>
            </p:cNvPr>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3" name="Freeform 285">
              <a:extLst>
                <a:ext uri="{FF2B5EF4-FFF2-40B4-BE49-F238E27FC236}">
                  <a16:creationId xmlns:a16="http://schemas.microsoft.com/office/drawing/2014/main" id="{1E300682-5D5F-4083-8F3B-A710C4450C53}"/>
                </a:ext>
              </a:extLst>
            </p:cNvPr>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4" name="Freeform 286">
              <a:extLst>
                <a:ext uri="{FF2B5EF4-FFF2-40B4-BE49-F238E27FC236}">
                  <a16:creationId xmlns:a16="http://schemas.microsoft.com/office/drawing/2014/main" id="{807117C4-7C5A-407F-9D83-0ADEDF2291F6}"/>
                </a:ext>
              </a:extLst>
            </p:cNvPr>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5" name="Freeform 287">
              <a:extLst>
                <a:ext uri="{FF2B5EF4-FFF2-40B4-BE49-F238E27FC236}">
                  <a16:creationId xmlns:a16="http://schemas.microsoft.com/office/drawing/2014/main" id="{351C8248-4E30-4F5D-AC02-F62BC1CA919B}"/>
                </a:ext>
              </a:extLst>
            </p:cNvPr>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6" name="Freeform 288">
              <a:extLst>
                <a:ext uri="{FF2B5EF4-FFF2-40B4-BE49-F238E27FC236}">
                  <a16:creationId xmlns:a16="http://schemas.microsoft.com/office/drawing/2014/main" id="{15F67F18-002E-427A-999D-7B9C2824B2F5}"/>
                </a:ext>
              </a:extLst>
            </p:cNvPr>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7" name="Freeform 289">
              <a:extLst>
                <a:ext uri="{FF2B5EF4-FFF2-40B4-BE49-F238E27FC236}">
                  <a16:creationId xmlns:a16="http://schemas.microsoft.com/office/drawing/2014/main" id="{EA04B3BB-2D66-40D3-A677-F3EBC8639D0A}"/>
                </a:ext>
              </a:extLst>
            </p:cNvPr>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8" name="Freeform 290">
              <a:extLst>
                <a:ext uri="{FF2B5EF4-FFF2-40B4-BE49-F238E27FC236}">
                  <a16:creationId xmlns:a16="http://schemas.microsoft.com/office/drawing/2014/main" id="{05D6C7F4-5895-4BA3-8BC6-04913CFD3315}"/>
                </a:ext>
              </a:extLst>
            </p:cNvPr>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9" name="Freeform 291">
              <a:extLst>
                <a:ext uri="{FF2B5EF4-FFF2-40B4-BE49-F238E27FC236}">
                  <a16:creationId xmlns:a16="http://schemas.microsoft.com/office/drawing/2014/main" id="{DD2C63BE-D90F-4869-BCAB-8338E18DFD25}"/>
                </a:ext>
              </a:extLst>
            </p:cNvPr>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250" name="Group 150">
            <a:extLst>
              <a:ext uri="{FF2B5EF4-FFF2-40B4-BE49-F238E27FC236}">
                <a16:creationId xmlns:a16="http://schemas.microsoft.com/office/drawing/2014/main" id="{670C676D-BB4C-4D4F-8607-68CED3F35001}"/>
              </a:ext>
            </a:extLst>
          </p:cNvPr>
          <p:cNvGrpSpPr>
            <a:grpSpLocks noChangeAspect="1"/>
          </p:cNvGrpSpPr>
          <p:nvPr/>
        </p:nvGrpSpPr>
        <p:grpSpPr>
          <a:xfrm>
            <a:off x="3262047" y="3263433"/>
            <a:ext cx="166795" cy="285619"/>
            <a:chOff x="-14534" y="5587044"/>
            <a:chExt cx="416963" cy="714003"/>
          </a:xfrm>
          <a:solidFill>
            <a:schemeClr val="bg2"/>
          </a:solidFill>
          <a:effectLst/>
        </p:grpSpPr>
        <p:sp>
          <p:nvSpPr>
            <p:cNvPr id="1251" name="Freeform 14">
              <a:extLst>
                <a:ext uri="{FF2B5EF4-FFF2-40B4-BE49-F238E27FC236}">
                  <a16:creationId xmlns:a16="http://schemas.microsoft.com/office/drawing/2014/main" id="{56957B95-3F9E-4AE1-BCD9-543AEF31717E}"/>
                </a:ext>
              </a:extLst>
            </p:cNvPr>
            <p:cNvSpPr>
              <a:spLocks noEditPoints="1"/>
            </p:cNvSpPr>
            <p:nvPr/>
          </p:nvSpPr>
          <p:spPr bwMode="auto">
            <a:xfrm>
              <a:off x="-14534" y="5736487"/>
              <a:ext cx="416963" cy="564560"/>
            </a:xfrm>
            <a:custGeom>
              <a:avLst/>
              <a:gdLst>
                <a:gd name="T0" fmla="*/ 40 w 679"/>
                <a:gd name="T1" fmla="*/ 879 h 919"/>
                <a:gd name="T2" fmla="*/ 640 w 679"/>
                <a:gd name="T3" fmla="*/ 879 h 919"/>
                <a:gd name="T4" fmla="*/ 640 w 679"/>
                <a:gd name="T5" fmla="*/ 39 h 919"/>
                <a:gd name="T6" fmla="*/ 40 w 679"/>
                <a:gd name="T7" fmla="*/ 39 h 919"/>
                <a:gd name="T8" fmla="*/ 40 w 679"/>
                <a:gd name="T9" fmla="*/ 879 h 919"/>
                <a:gd name="T10" fmla="*/ 660 w 679"/>
                <a:gd name="T11" fmla="*/ 919 h 919"/>
                <a:gd name="T12" fmla="*/ 20 w 679"/>
                <a:gd name="T13" fmla="*/ 919 h 919"/>
                <a:gd name="T14" fmla="*/ 16 w 679"/>
                <a:gd name="T15" fmla="*/ 919 h 919"/>
                <a:gd name="T16" fmla="*/ 12 w 679"/>
                <a:gd name="T17" fmla="*/ 918 h 919"/>
                <a:gd name="T18" fmla="*/ 9 w 679"/>
                <a:gd name="T19" fmla="*/ 915 h 919"/>
                <a:gd name="T20" fmla="*/ 6 w 679"/>
                <a:gd name="T21" fmla="*/ 913 h 919"/>
                <a:gd name="T22" fmla="*/ 4 w 679"/>
                <a:gd name="T23" fmla="*/ 910 h 919"/>
                <a:gd name="T24" fmla="*/ 1 w 679"/>
                <a:gd name="T25" fmla="*/ 907 h 919"/>
                <a:gd name="T26" fmla="*/ 0 w 679"/>
                <a:gd name="T27" fmla="*/ 903 h 919"/>
                <a:gd name="T28" fmla="*/ 0 w 679"/>
                <a:gd name="T29" fmla="*/ 899 h 919"/>
                <a:gd name="T30" fmla="*/ 0 w 679"/>
                <a:gd name="T31" fmla="*/ 20 h 919"/>
                <a:gd name="T32" fmla="*/ 0 w 679"/>
                <a:gd name="T33" fmla="*/ 15 h 919"/>
                <a:gd name="T34" fmla="*/ 1 w 679"/>
                <a:gd name="T35" fmla="*/ 11 h 919"/>
                <a:gd name="T36" fmla="*/ 4 w 679"/>
                <a:gd name="T37" fmla="*/ 8 h 919"/>
                <a:gd name="T38" fmla="*/ 6 w 679"/>
                <a:gd name="T39" fmla="*/ 5 h 919"/>
                <a:gd name="T40" fmla="*/ 9 w 679"/>
                <a:gd name="T41" fmla="*/ 2 h 919"/>
                <a:gd name="T42" fmla="*/ 12 w 679"/>
                <a:gd name="T43" fmla="*/ 1 h 919"/>
                <a:gd name="T44" fmla="*/ 16 w 679"/>
                <a:gd name="T45" fmla="*/ 0 h 919"/>
                <a:gd name="T46" fmla="*/ 20 w 679"/>
                <a:gd name="T47" fmla="*/ 0 h 919"/>
                <a:gd name="T48" fmla="*/ 660 w 679"/>
                <a:gd name="T49" fmla="*/ 0 h 919"/>
                <a:gd name="T50" fmla="*/ 663 w 679"/>
                <a:gd name="T51" fmla="*/ 0 h 919"/>
                <a:gd name="T52" fmla="*/ 667 w 679"/>
                <a:gd name="T53" fmla="*/ 1 h 919"/>
                <a:gd name="T54" fmla="*/ 671 w 679"/>
                <a:gd name="T55" fmla="*/ 2 h 919"/>
                <a:gd name="T56" fmla="*/ 674 w 679"/>
                <a:gd name="T57" fmla="*/ 5 h 919"/>
                <a:gd name="T58" fmla="*/ 677 w 679"/>
                <a:gd name="T59" fmla="*/ 8 h 919"/>
                <a:gd name="T60" fmla="*/ 678 w 679"/>
                <a:gd name="T61" fmla="*/ 11 h 919"/>
                <a:gd name="T62" fmla="*/ 679 w 679"/>
                <a:gd name="T63" fmla="*/ 15 h 919"/>
                <a:gd name="T64" fmla="*/ 679 w 679"/>
                <a:gd name="T65" fmla="*/ 20 h 919"/>
                <a:gd name="T66" fmla="*/ 679 w 679"/>
                <a:gd name="T67" fmla="*/ 899 h 919"/>
                <a:gd name="T68" fmla="*/ 679 w 679"/>
                <a:gd name="T69" fmla="*/ 903 h 919"/>
                <a:gd name="T70" fmla="*/ 678 w 679"/>
                <a:gd name="T71" fmla="*/ 907 h 919"/>
                <a:gd name="T72" fmla="*/ 677 w 679"/>
                <a:gd name="T73" fmla="*/ 910 h 919"/>
                <a:gd name="T74" fmla="*/ 674 w 679"/>
                <a:gd name="T75" fmla="*/ 913 h 919"/>
                <a:gd name="T76" fmla="*/ 671 w 679"/>
                <a:gd name="T77" fmla="*/ 915 h 919"/>
                <a:gd name="T78" fmla="*/ 667 w 679"/>
                <a:gd name="T79" fmla="*/ 918 h 919"/>
                <a:gd name="T80" fmla="*/ 663 w 679"/>
                <a:gd name="T81" fmla="*/ 919 h 919"/>
                <a:gd name="T82" fmla="*/ 660 w 679"/>
                <a:gd name="T83"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919">
                  <a:moveTo>
                    <a:pt x="40" y="879"/>
                  </a:moveTo>
                  <a:lnTo>
                    <a:pt x="640" y="879"/>
                  </a:lnTo>
                  <a:lnTo>
                    <a:pt x="640" y="39"/>
                  </a:lnTo>
                  <a:lnTo>
                    <a:pt x="40" y="39"/>
                  </a:lnTo>
                  <a:lnTo>
                    <a:pt x="40" y="879"/>
                  </a:lnTo>
                  <a:close/>
                  <a:moveTo>
                    <a:pt x="660" y="919"/>
                  </a:moveTo>
                  <a:lnTo>
                    <a:pt x="20" y="919"/>
                  </a:lnTo>
                  <a:lnTo>
                    <a:pt x="16" y="919"/>
                  </a:lnTo>
                  <a:lnTo>
                    <a:pt x="12" y="918"/>
                  </a:lnTo>
                  <a:lnTo>
                    <a:pt x="9" y="915"/>
                  </a:lnTo>
                  <a:lnTo>
                    <a:pt x="6" y="913"/>
                  </a:lnTo>
                  <a:lnTo>
                    <a:pt x="4" y="910"/>
                  </a:lnTo>
                  <a:lnTo>
                    <a:pt x="1" y="907"/>
                  </a:lnTo>
                  <a:lnTo>
                    <a:pt x="0" y="903"/>
                  </a:lnTo>
                  <a:lnTo>
                    <a:pt x="0" y="899"/>
                  </a:lnTo>
                  <a:lnTo>
                    <a:pt x="0" y="20"/>
                  </a:lnTo>
                  <a:lnTo>
                    <a:pt x="0" y="15"/>
                  </a:lnTo>
                  <a:lnTo>
                    <a:pt x="1" y="11"/>
                  </a:lnTo>
                  <a:lnTo>
                    <a:pt x="4" y="8"/>
                  </a:lnTo>
                  <a:lnTo>
                    <a:pt x="6" y="5"/>
                  </a:lnTo>
                  <a:lnTo>
                    <a:pt x="9" y="2"/>
                  </a:lnTo>
                  <a:lnTo>
                    <a:pt x="12" y="1"/>
                  </a:lnTo>
                  <a:lnTo>
                    <a:pt x="16" y="0"/>
                  </a:lnTo>
                  <a:lnTo>
                    <a:pt x="20" y="0"/>
                  </a:lnTo>
                  <a:lnTo>
                    <a:pt x="660" y="0"/>
                  </a:lnTo>
                  <a:lnTo>
                    <a:pt x="663" y="0"/>
                  </a:lnTo>
                  <a:lnTo>
                    <a:pt x="667" y="1"/>
                  </a:lnTo>
                  <a:lnTo>
                    <a:pt x="671" y="2"/>
                  </a:lnTo>
                  <a:lnTo>
                    <a:pt x="674" y="5"/>
                  </a:lnTo>
                  <a:lnTo>
                    <a:pt x="677" y="8"/>
                  </a:lnTo>
                  <a:lnTo>
                    <a:pt x="678" y="11"/>
                  </a:lnTo>
                  <a:lnTo>
                    <a:pt x="679" y="15"/>
                  </a:lnTo>
                  <a:lnTo>
                    <a:pt x="679" y="20"/>
                  </a:lnTo>
                  <a:lnTo>
                    <a:pt x="679" y="899"/>
                  </a:lnTo>
                  <a:lnTo>
                    <a:pt x="679" y="903"/>
                  </a:lnTo>
                  <a:lnTo>
                    <a:pt x="678" y="907"/>
                  </a:lnTo>
                  <a:lnTo>
                    <a:pt x="677" y="910"/>
                  </a:lnTo>
                  <a:lnTo>
                    <a:pt x="674" y="913"/>
                  </a:lnTo>
                  <a:lnTo>
                    <a:pt x="671" y="915"/>
                  </a:lnTo>
                  <a:lnTo>
                    <a:pt x="667" y="918"/>
                  </a:lnTo>
                  <a:lnTo>
                    <a:pt x="663" y="919"/>
                  </a:lnTo>
                  <a:lnTo>
                    <a:pt x="660" y="9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5">
              <a:extLst>
                <a:ext uri="{FF2B5EF4-FFF2-40B4-BE49-F238E27FC236}">
                  <a16:creationId xmlns:a16="http://schemas.microsoft.com/office/drawing/2014/main" id="{5759053D-93ED-41FE-8CAB-9F39F9F338DB}"/>
                </a:ext>
              </a:extLst>
            </p:cNvPr>
            <p:cNvSpPr>
              <a:spLocks noEditPoints="1"/>
            </p:cNvSpPr>
            <p:nvPr/>
          </p:nvSpPr>
          <p:spPr bwMode="auto">
            <a:xfrm>
              <a:off x="33435" y="6029837"/>
              <a:ext cx="321024" cy="73799"/>
            </a:xfrm>
            <a:custGeom>
              <a:avLst/>
              <a:gdLst>
                <a:gd name="T0" fmla="*/ 41 w 521"/>
                <a:gd name="T1" fmla="*/ 80 h 119"/>
                <a:gd name="T2" fmla="*/ 481 w 521"/>
                <a:gd name="T3" fmla="*/ 80 h 119"/>
                <a:gd name="T4" fmla="*/ 481 w 521"/>
                <a:gd name="T5" fmla="*/ 40 h 119"/>
                <a:gd name="T6" fmla="*/ 41 w 521"/>
                <a:gd name="T7" fmla="*/ 40 h 119"/>
                <a:gd name="T8" fmla="*/ 41 w 521"/>
                <a:gd name="T9" fmla="*/ 80 h 119"/>
                <a:gd name="T10" fmla="*/ 501 w 521"/>
                <a:gd name="T11" fmla="*/ 119 h 119"/>
                <a:gd name="T12" fmla="*/ 20 w 521"/>
                <a:gd name="T13" fmla="*/ 119 h 119"/>
                <a:gd name="T14" fmla="*/ 17 w 521"/>
                <a:gd name="T15" fmla="*/ 119 h 119"/>
                <a:gd name="T16" fmla="*/ 13 w 521"/>
                <a:gd name="T17" fmla="*/ 118 h 119"/>
                <a:gd name="T18" fmla="*/ 9 w 521"/>
                <a:gd name="T19" fmla="*/ 117 h 119"/>
                <a:gd name="T20" fmla="*/ 7 w 521"/>
                <a:gd name="T21" fmla="*/ 115 h 119"/>
                <a:gd name="T22" fmla="*/ 4 w 521"/>
                <a:gd name="T23" fmla="*/ 111 h 119"/>
                <a:gd name="T24" fmla="*/ 3 w 521"/>
                <a:gd name="T25" fmla="*/ 108 h 119"/>
                <a:gd name="T26" fmla="*/ 2 w 521"/>
                <a:gd name="T27" fmla="*/ 105 h 119"/>
                <a:gd name="T28" fmla="*/ 0 w 521"/>
                <a:gd name="T29" fmla="*/ 100 h 119"/>
                <a:gd name="T30" fmla="*/ 0 w 521"/>
                <a:gd name="T31" fmla="*/ 20 h 119"/>
                <a:gd name="T32" fmla="*/ 2 w 521"/>
                <a:gd name="T33" fmla="*/ 16 h 119"/>
                <a:gd name="T34" fmla="*/ 3 w 521"/>
                <a:gd name="T35" fmla="*/ 13 h 119"/>
                <a:gd name="T36" fmla="*/ 4 w 521"/>
                <a:gd name="T37" fmla="*/ 9 h 119"/>
                <a:gd name="T38" fmla="*/ 7 w 521"/>
                <a:gd name="T39" fmla="*/ 6 h 119"/>
                <a:gd name="T40" fmla="*/ 9 w 521"/>
                <a:gd name="T41" fmla="*/ 4 h 119"/>
                <a:gd name="T42" fmla="*/ 13 w 521"/>
                <a:gd name="T43" fmla="*/ 1 h 119"/>
                <a:gd name="T44" fmla="*/ 17 w 521"/>
                <a:gd name="T45" fmla="*/ 0 h 119"/>
                <a:gd name="T46" fmla="*/ 20 w 521"/>
                <a:gd name="T47" fmla="*/ 0 h 119"/>
                <a:gd name="T48" fmla="*/ 501 w 521"/>
                <a:gd name="T49" fmla="*/ 0 h 119"/>
                <a:gd name="T50" fmla="*/ 505 w 521"/>
                <a:gd name="T51" fmla="*/ 0 h 119"/>
                <a:gd name="T52" fmla="*/ 508 w 521"/>
                <a:gd name="T53" fmla="*/ 1 h 119"/>
                <a:gd name="T54" fmla="*/ 512 w 521"/>
                <a:gd name="T55" fmla="*/ 4 h 119"/>
                <a:gd name="T56" fmla="*/ 515 w 521"/>
                <a:gd name="T57" fmla="*/ 6 h 119"/>
                <a:gd name="T58" fmla="*/ 517 w 521"/>
                <a:gd name="T59" fmla="*/ 9 h 119"/>
                <a:gd name="T60" fmla="*/ 520 w 521"/>
                <a:gd name="T61" fmla="*/ 13 h 119"/>
                <a:gd name="T62" fmla="*/ 521 w 521"/>
                <a:gd name="T63" fmla="*/ 16 h 119"/>
                <a:gd name="T64" fmla="*/ 521 w 521"/>
                <a:gd name="T65" fmla="*/ 20 h 119"/>
                <a:gd name="T66" fmla="*/ 521 w 521"/>
                <a:gd name="T67" fmla="*/ 100 h 119"/>
                <a:gd name="T68" fmla="*/ 521 w 521"/>
                <a:gd name="T69" fmla="*/ 105 h 119"/>
                <a:gd name="T70" fmla="*/ 520 w 521"/>
                <a:gd name="T71" fmla="*/ 108 h 119"/>
                <a:gd name="T72" fmla="*/ 517 w 521"/>
                <a:gd name="T73" fmla="*/ 111 h 119"/>
                <a:gd name="T74" fmla="*/ 515 w 521"/>
                <a:gd name="T75" fmla="*/ 115 h 119"/>
                <a:gd name="T76" fmla="*/ 512 w 521"/>
                <a:gd name="T77" fmla="*/ 117 h 119"/>
                <a:gd name="T78" fmla="*/ 508 w 521"/>
                <a:gd name="T79" fmla="*/ 118 h 119"/>
                <a:gd name="T80" fmla="*/ 505 w 521"/>
                <a:gd name="T81" fmla="*/ 119 h 119"/>
                <a:gd name="T82" fmla="*/ 501 w 521"/>
                <a:gd name="T8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19">
                  <a:moveTo>
                    <a:pt x="41" y="80"/>
                  </a:moveTo>
                  <a:lnTo>
                    <a:pt x="481" y="80"/>
                  </a:lnTo>
                  <a:lnTo>
                    <a:pt x="481" y="40"/>
                  </a:lnTo>
                  <a:lnTo>
                    <a:pt x="41" y="40"/>
                  </a:lnTo>
                  <a:lnTo>
                    <a:pt x="41" y="80"/>
                  </a:lnTo>
                  <a:close/>
                  <a:moveTo>
                    <a:pt x="501" y="119"/>
                  </a:moveTo>
                  <a:lnTo>
                    <a:pt x="20" y="119"/>
                  </a:lnTo>
                  <a:lnTo>
                    <a:pt x="17" y="119"/>
                  </a:lnTo>
                  <a:lnTo>
                    <a:pt x="13" y="118"/>
                  </a:lnTo>
                  <a:lnTo>
                    <a:pt x="9" y="117"/>
                  </a:lnTo>
                  <a:lnTo>
                    <a:pt x="7" y="115"/>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5"/>
                  </a:lnTo>
                  <a:lnTo>
                    <a:pt x="512" y="117"/>
                  </a:lnTo>
                  <a:lnTo>
                    <a:pt x="508" y="118"/>
                  </a:lnTo>
                  <a:lnTo>
                    <a:pt x="505" y="119"/>
                  </a:lnTo>
                  <a:lnTo>
                    <a:pt x="50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6">
              <a:extLst>
                <a:ext uri="{FF2B5EF4-FFF2-40B4-BE49-F238E27FC236}">
                  <a16:creationId xmlns:a16="http://schemas.microsoft.com/office/drawing/2014/main" id="{9E038B16-A190-40DD-AAC2-B0FF1A948A95}"/>
                </a:ext>
              </a:extLst>
            </p:cNvPr>
            <p:cNvSpPr>
              <a:spLocks noEditPoints="1"/>
            </p:cNvSpPr>
            <p:nvPr/>
          </p:nvSpPr>
          <p:spPr bwMode="auto">
            <a:xfrm>
              <a:off x="33435" y="5908069"/>
              <a:ext cx="321024" cy="71954"/>
            </a:xfrm>
            <a:custGeom>
              <a:avLst/>
              <a:gdLst>
                <a:gd name="T0" fmla="*/ 41 w 521"/>
                <a:gd name="T1" fmla="*/ 80 h 119"/>
                <a:gd name="T2" fmla="*/ 481 w 521"/>
                <a:gd name="T3" fmla="*/ 80 h 119"/>
                <a:gd name="T4" fmla="*/ 481 w 521"/>
                <a:gd name="T5" fmla="*/ 40 h 119"/>
                <a:gd name="T6" fmla="*/ 41 w 521"/>
                <a:gd name="T7" fmla="*/ 40 h 119"/>
                <a:gd name="T8" fmla="*/ 41 w 521"/>
                <a:gd name="T9" fmla="*/ 80 h 119"/>
                <a:gd name="T10" fmla="*/ 501 w 521"/>
                <a:gd name="T11" fmla="*/ 119 h 119"/>
                <a:gd name="T12" fmla="*/ 20 w 521"/>
                <a:gd name="T13" fmla="*/ 119 h 119"/>
                <a:gd name="T14" fmla="*/ 17 w 521"/>
                <a:gd name="T15" fmla="*/ 119 h 119"/>
                <a:gd name="T16" fmla="*/ 13 w 521"/>
                <a:gd name="T17" fmla="*/ 118 h 119"/>
                <a:gd name="T18" fmla="*/ 9 w 521"/>
                <a:gd name="T19" fmla="*/ 117 h 119"/>
                <a:gd name="T20" fmla="*/ 7 w 521"/>
                <a:gd name="T21" fmla="*/ 114 h 119"/>
                <a:gd name="T22" fmla="*/ 4 w 521"/>
                <a:gd name="T23" fmla="*/ 111 h 119"/>
                <a:gd name="T24" fmla="*/ 3 w 521"/>
                <a:gd name="T25" fmla="*/ 108 h 119"/>
                <a:gd name="T26" fmla="*/ 2 w 521"/>
                <a:gd name="T27" fmla="*/ 105 h 119"/>
                <a:gd name="T28" fmla="*/ 0 w 521"/>
                <a:gd name="T29" fmla="*/ 100 h 119"/>
                <a:gd name="T30" fmla="*/ 0 w 521"/>
                <a:gd name="T31" fmla="*/ 20 h 119"/>
                <a:gd name="T32" fmla="*/ 2 w 521"/>
                <a:gd name="T33" fmla="*/ 16 h 119"/>
                <a:gd name="T34" fmla="*/ 3 w 521"/>
                <a:gd name="T35" fmla="*/ 13 h 119"/>
                <a:gd name="T36" fmla="*/ 4 w 521"/>
                <a:gd name="T37" fmla="*/ 9 h 119"/>
                <a:gd name="T38" fmla="*/ 7 w 521"/>
                <a:gd name="T39" fmla="*/ 6 h 119"/>
                <a:gd name="T40" fmla="*/ 9 w 521"/>
                <a:gd name="T41" fmla="*/ 4 h 119"/>
                <a:gd name="T42" fmla="*/ 13 w 521"/>
                <a:gd name="T43" fmla="*/ 1 h 119"/>
                <a:gd name="T44" fmla="*/ 17 w 521"/>
                <a:gd name="T45" fmla="*/ 0 h 119"/>
                <a:gd name="T46" fmla="*/ 20 w 521"/>
                <a:gd name="T47" fmla="*/ 0 h 119"/>
                <a:gd name="T48" fmla="*/ 501 w 521"/>
                <a:gd name="T49" fmla="*/ 0 h 119"/>
                <a:gd name="T50" fmla="*/ 505 w 521"/>
                <a:gd name="T51" fmla="*/ 0 h 119"/>
                <a:gd name="T52" fmla="*/ 508 w 521"/>
                <a:gd name="T53" fmla="*/ 1 h 119"/>
                <a:gd name="T54" fmla="*/ 512 w 521"/>
                <a:gd name="T55" fmla="*/ 4 h 119"/>
                <a:gd name="T56" fmla="*/ 515 w 521"/>
                <a:gd name="T57" fmla="*/ 6 h 119"/>
                <a:gd name="T58" fmla="*/ 517 w 521"/>
                <a:gd name="T59" fmla="*/ 9 h 119"/>
                <a:gd name="T60" fmla="*/ 520 w 521"/>
                <a:gd name="T61" fmla="*/ 13 h 119"/>
                <a:gd name="T62" fmla="*/ 521 w 521"/>
                <a:gd name="T63" fmla="*/ 16 h 119"/>
                <a:gd name="T64" fmla="*/ 521 w 521"/>
                <a:gd name="T65" fmla="*/ 20 h 119"/>
                <a:gd name="T66" fmla="*/ 521 w 521"/>
                <a:gd name="T67" fmla="*/ 100 h 119"/>
                <a:gd name="T68" fmla="*/ 521 w 521"/>
                <a:gd name="T69" fmla="*/ 105 h 119"/>
                <a:gd name="T70" fmla="*/ 520 w 521"/>
                <a:gd name="T71" fmla="*/ 108 h 119"/>
                <a:gd name="T72" fmla="*/ 517 w 521"/>
                <a:gd name="T73" fmla="*/ 111 h 119"/>
                <a:gd name="T74" fmla="*/ 515 w 521"/>
                <a:gd name="T75" fmla="*/ 114 h 119"/>
                <a:gd name="T76" fmla="*/ 512 w 521"/>
                <a:gd name="T77" fmla="*/ 117 h 119"/>
                <a:gd name="T78" fmla="*/ 508 w 521"/>
                <a:gd name="T79" fmla="*/ 118 h 119"/>
                <a:gd name="T80" fmla="*/ 505 w 521"/>
                <a:gd name="T81" fmla="*/ 119 h 119"/>
                <a:gd name="T82" fmla="*/ 501 w 521"/>
                <a:gd name="T8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19">
                  <a:moveTo>
                    <a:pt x="41" y="80"/>
                  </a:moveTo>
                  <a:lnTo>
                    <a:pt x="481" y="80"/>
                  </a:lnTo>
                  <a:lnTo>
                    <a:pt x="481" y="40"/>
                  </a:lnTo>
                  <a:lnTo>
                    <a:pt x="41" y="40"/>
                  </a:lnTo>
                  <a:lnTo>
                    <a:pt x="41" y="80"/>
                  </a:lnTo>
                  <a:close/>
                  <a:moveTo>
                    <a:pt x="501" y="119"/>
                  </a:moveTo>
                  <a:lnTo>
                    <a:pt x="20" y="119"/>
                  </a:lnTo>
                  <a:lnTo>
                    <a:pt x="17" y="119"/>
                  </a:lnTo>
                  <a:lnTo>
                    <a:pt x="13" y="118"/>
                  </a:lnTo>
                  <a:lnTo>
                    <a:pt x="9" y="117"/>
                  </a:lnTo>
                  <a:lnTo>
                    <a:pt x="7" y="114"/>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4"/>
                  </a:lnTo>
                  <a:lnTo>
                    <a:pt x="512" y="117"/>
                  </a:lnTo>
                  <a:lnTo>
                    <a:pt x="508" y="118"/>
                  </a:lnTo>
                  <a:lnTo>
                    <a:pt x="505" y="119"/>
                  </a:lnTo>
                  <a:lnTo>
                    <a:pt x="50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7">
              <a:extLst>
                <a:ext uri="{FF2B5EF4-FFF2-40B4-BE49-F238E27FC236}">
                  <a16:creationId xmlns:a16="http://schemas.microsoft.com/office/drawing/2014/main" id="{56F63943-38D6-42C5-A411-52015BFCB11F}"/>
                </a:ext>
              </a:extLst>
            </p:cNvPr>
            <p:cNvSpPr>
              <a:spLocks noEditPoints="1"/>
            </p:cNvSpPr>
            <p:nvPr/>
          </p:nvSpPr>
          <p:spPr bwMode="auto">
            <a:xfrm>
              <a:off x="33435" y="5784456"/>
              <a:ext cx="321024" cy="73799"/>
            </a:xfrm>
            <a:custGeom>
              <a:avLst/>
              <a:gdLst>
                <a:gd name="T0" fmla="*/ 41 w 521"/>
                <a:gd name="T1" fmla="*/ 80 h 121"/>
                <a:gd name="T2" fmla="*/ 481 w 521"/>
                <a:gd name="T3" fmla="*/ 80 h 121"/>
                <a:gd name="T4" fmla="*/ 481 w 521"/>
                <a:gd name="T5" fmla="*/ 40 h 121"/>
                <a:gd name="T6" fmla="*/ 41 w 521"/>
                <a:gd name="T7" fmla="*/ 40 h 121"/>
                <a:gd name="T8" fmla="*/ 41 w 521"/>
                <a:gd name="T9" fmla="*/ 80 h 121"/>
                <a:gd name="T10" fmla="*/ 501 w 521"/>
                <a:gd name="T11" fmla="*/ 121 h 121"/>
                <a:gd name="T12" fmla="*/ 20 w 521"/>
                <a:gd name="T13" fmla="*/ 121 h 121"/>
                <a:gd name="T14" fmla="*/ 17 w 521"/>
                <a:gd name="T15" fmla="*/ 119 h 121"/>
                <a:gd name="T16" fmla="*/ 13 w 521"/>
                <a:gd name="T17" fmla="*/ 118 h 121"/>
                <a:gd name="T18" fmla="*/ 9 w 521"/>
                <a:gd name="T19" fmla="*/ 117 h 121"/>
                <a:gd name="T20" fmla="*/ 7 w 521"/>
                <a:gd name="T21" fmla="*/ 114 h 121"/>
                <a:gd name="T22" fmla="*/ 4 w 521"/>
                <a:gd name="T23" fmla="*/ 111 h 121"/>
                <a:gd name="T24" fmla="*/ 3 w 521"/>
                <a:gd name="T25" fmla="*/ 108 h 121"/>
                <a:gd name="T26" fmla="*/ 2 w 521"/>
                <a:gd name="T27" fmla="*/ 105 h 121"/>
                <a:gd name="T28" fmla="*/ 0 w 521"/>
                <a:gd name="T29" fmla="*/ 100 h 121"/>
                <a:gd name="T30" fmla="*/ 0 w 521"/>
                <a:gd name="T31" fmla="*/ 20 h 121"/>
                <a:gd name="T32" fmla="*/ 2 w 521"/>
                <a:gd name="T33" fmla="*/ 16 h 121"/>
                <a:gd name="T34" fmla="*/ 3 w 521"/>
                <a:gd name="T35" fmla="*/ 13 h 121"/>
                <a:gd name="T36" fmla="*/ 4 w 521"/>
                <a:gd name="T37" fmla="*/ 9 h 121"/>
                <a:gd name="T38" fmla="*/ 7 w 521"/>
                <a:gd name="T39" fmla="*/ 6 h 121"/>
                <a:gd name="T40" fmla="*/ 9 w 521"/>
                <a:gd name="T41" fmla="*/ 4 h 121"/>
                <a:gd name="T42" fmla="*/ 13 w 521"/>
                <a:gd name="T43" fmla="*/ 1 h 121"/>
                <a:gd name="T44" fmla="*/ 17 w 521"/>
                <a:gd name="T45" fmla="*/ 0 h 121"/>
                <a:gd name="T46" fmla="*/ 20 w 521"/>
                <a:gd name="T47" fmla="*/ 0 h 121"/>
                <a:gd name="T48" fmla="*/ 501 w 521"/>
                <a:gd name="T49" fmla="*/ 0 h 121"/>
                <a:gd name="T50" fmla="*/ 505 w 521"/>
                <a:gd name="T51" fmla="*/ 0 h 121"/>
                <a:gd name="T52" fmla="*/ 508 w 521"/>
                <a:gd name="T53" fmla="*/ 1 h 121"/>
                <a:gd name="T54" fmla="*/ 512 w 521"/>
                <a:gd name="T55" fmla="*/ 4 h 121"/>
                <a:gd name="T56" fmla="*/ 515 w 521"/>
                <a:gd name="T57" fmla="*/ 6 h 121"/>
                <a:gd name="T58" fmla="*/ 517 w 521"/>
                <a:gd name="T59" fmla="*/ 9 h 121"/>
                <a:gd name="T60" fmla="*/ 520 w 521"/>
                <a:gd name="T61" fmla="*/ 13 h 121"/>
                <a:gd name="T62" fmla="*/ 521 w 521"/>
                <a:gd name="T63" fmla="*/ 16 h 121"/>
                <a:gd name="T64" fmla="*/ 521 w 521"/>
                <a:gd name="T65" fmla="*/ 20 h 121"/>
                <a:gd name="T66" fmla="*/ 521 w 521"/>
                <a:gd name="T67" fmla="*/ 100 h 121"/>
                <a:gd name="T68" fmla="*/ 521 w 521"/>
                <a:gd name="T69" fmla="*/ 105 h 121"/>
                <a:gd name="T70" fmla="*/ 520 w 521"/>
                <a:gd name="T71" fmla="*/ 108 h 121"/>
                <a:gd name="T72" fmla="*/ 517 w 521"/>
                <a:gd name="T73" fmla="*/ 111 h 121"/>
                <a:gd name="T74" fmla="*/ 515 w 521"/>
                <a:gd name="T75" fmla="*/ 114 h 121"/>
                <a:gd name="T76" fmla="*/ 512 w 521"/>
                <a:gd name="T77" fmla="*/ 117 h 121"/>
                <a:gd name="T78" fmla="*/ 508 w 521"/>
                <a:gd name="T79" fmla="*/ 118 h 121"/>
                <a:gd name="T80" fmla="*/ 505 w 521"/>
                <a:gd name="T81" fmla="*/ 119 h 121"/>
                <a:gd name="T82" fmla="*/ 501 w 521"/>
                <a:gd name="T8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21">
                  <a:moveTo>
                    <a:pt x="41" y="80"/>
                  </a:moveTo>
                  <a:lnTo>
                    <a:pt x="481" y="80"/>
                  </a:lnTo>
                  <a:lnTo>
                    <a:pt x="481" y="40"/>
                  </a:lnTo>
                  <a:lnTo>
                    <a:pt x="41" y="40"/>
                  </a:lnTo>
                  <a:lnTo>
                    <a:pt x="41" y="80"/>
                  </a:lnTo>
                  <a:close/>
                  <a:moveTo>
                    <a:pt x="501" y="121"/>
                  </a:moveTo>
                  <a:lnTo>
                    <a:pt x="20" y="121"/>
                  </a:lnTo>
                  <a:lnTo>
                    <a:pt x="17" y="119"/>
                  </a:lnTo>
                  <a:lnTo>
                    <a:pt x="13" y="118"/>
                  </a:lnTo>
                  <a:lnTo>
                    <a:pt x="9" y="117"/>
                  </a:lnTo>
                  <a:lnTo>
                    <a:pt x="7" y="114"/>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4"/>
                  </a:lnTo>
                  <a:lnTo>
                    <a:pt x="512" y="117"/>
                  </a:lnTo>
                  <a:lnTo>
                    <a:pt x="508" y="118"/>
                  </a:lnTo>
                  <a:lnTo>
                    <a:pt x="505" y="119"/>
                  </a:lnTo>
                  <a:lnTo>
                    <a:pt x="50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8">
              <a:extLst>
                <a:ext uri="{FF2B5EF4-FFF2-40B4-BE49-F238E27FC236}">
                  <a16:creationId xmlns:a16="http://schemas.microsoft.com/office/drawing/2014/main" id="{0968E398-0594-4A72-9CA4-11DD70FC5ABD}"/>
                </a:ext>
              </a:extLst>
            </p:cNvPr>
            <p:cNvSpPr>
              <a:spLocks noEditPoints="1"/>
            </p:cNvSpPr>
            <p:nvPr/>
          </p:nvSpPr>
          <p:spPr bwMode="auto">
            <a:xfrm>
              <a:off x="109079" y="6129465"/>
              <a:ext cx="171582" cy="171582"/>
            </a:xfrm>
            <a:custGeom>
              <a:avLst/>
              <a:gdLst>
                <a:gd name="T0" fmla="*/ 40 w 279"/>
                <a:gd name="T1" fmla="*/ 240 h 280"/>
                <a:gd name="T2" fmla="*/ 240 w 279"/>
                <a:gd name="T3" fmla="*/ 240 h 280"/>
                <a:gd name="T4" fmla="*/ 240 w 279"/>
                <a:gd name="T5" fmla="*/ 40 h 280"/>
                <a:gd name="T6" fmla="*/ 40 w 279"/>
                <a:gd name="T7" fmla="*/ 40 h 280"/>
                <a:gd name="T8" fmla="*/ 40 w 279"/>
                <a:gd name="T9" fmla="*/ 240 h 280"/>
                <a:gd name="T10" fmla="*/ 260 w 279"/>
                <a:gd name="T11" fmla="*/ 280 h 280"/>
                <a:gd name="T12" fmla="*/ 20 w 279"/>
                <a:gd name="T13" fmla="*/ 280 h 280"/>
                <a:gd name="T14" fmla="*/ 16 w 279"/>
                <a:gd name="T15" fmla="*/ 280 h 280"/>
                <a:gd name="T16" fmla="*/ 12 w 279"/>
                <a:gd name="T17" fmla="*/ 279 h 280"/>
                <a:gd name="T18" fmla="*/ 9 w 279"/>
                <a:gd name="T19" fmla="*/ 276 h 280"/>
                <a:gd name="T20" fmla="*/ 6 w 279"/>
                <a:gd name="T21" fmla="*/ 274 h 280"/>
                <a:gd name="T22" fmla="*/ 4 w 279"/>
                <a:gd name="T23" fmla="*/ 271 h 280"/>
                <a:gd name="T24" fmla="*/ 1 w 279"/>
                <a:gd name="T25" fmla="*/ 268 h 280"/>
                <a:gd name="T26" fmla="*/ 0 w 279"/>
                <a:gd name="T27" fmla="*/ 264 h 280"/>
                <a:gd name="T28" fmla="*/ 0 w 279"/>
                <a:gd name="T29" fmla="*/ 260 h 280"/>
                <a:gd name="T30" fmla="*/ 0 w 279"/>
                <a:gd name="T31" fmla="*/ 20 h 280"/>
                <a:gd name="T32" fmla="*/ 0 w 279"/>
                <a:gd name="T33" fmla="*/ 17 h 280"/>
                <a:gd name="T34" fmla="*/ 1 w 279"/>
                <a:gd name="T35" fmla="*/ 12 h 280"/>
                <a:gd name="T36" fmla="*/ 4 w 279"/>
                <a:gd name="T37" fmla="*/ 9 h 280"/>
                <a:gd name="T38" fmla="*/ 6 w 279"/>
                <a:gd name="T39" fmla="*/ 5 h 280"/>
                <a:gd name="T40" fmla="*/ 9 w 279"/>
                <a:gd name="T41" fmla="*/ 3 h 280"/>
                <a:gd name="T42" fmla="*/ 12 w 279"/>
                <a:gd name="T43" fmla="*/ 2 h 280"/>
                <a:gd name="T44" fmla="*/ 16 w 279"/>
                <a:gd name="T45" fmla="*/ 0 h 280"/>
                <a:gd name="T46" fmla="*/ 20 w 279"/>
                <a:gd name="T47" fmla="*/ 0 h 280"/>
                <a:gd name="T48" fmla="*/ 260 w 279"/>
                <a:gd name="T49" fmla="*/ 0 h 280"/>
                <a:gd name="T50" fmla="*/ 263 w 279"/>
                <a:gd name="T51" fmla="*/ 0 h 280"/>
                <a:gd name="T52" fmla="*/ 267 w 279"/>
                <a:gd name="T53" fmla="*/ 2 h 280"/>
                <a:gd name="T54" fmla="*/ 271 w 279"/>
                <a:gd name="T55" fmla="*/ 3 h 280"/>
                <a:gd name="T56" fmla="*/ 274 w 279"/>
                <a:gd name="T57" fmla="*/ 5 h 280"/>
                <a:gd name="T58" fmla="*/ 277 w 279"/>
                <a:gd name="T59" fmla="*/ 9 h 280"/>
                <a:gd name="T60" fmla="*/ 278 w 279"/>
                <a:gd name="T61" fmla="*/ 12 h 280"/>
                <a:gd name="T62" fmla="*/ 279 w 279"/>
                <a:gd name="T63" fmla="*/ 17 h 280"/>
                <a:gd name="T64" fmla="*/ 279 w 279"/>
                <a:gd name="T65" fmla="*/ 20 h 280"/>
                <a:gd name="T66" fmla="*/ 279 w 279"/>
                <a:gd name="T67" fmla="*/ 260 h 280"/>
                <a:gd name="T68" fmla="*/ 279 w 279"/>
                <a:gd name="T69" fmla="*/ 264 h 280"/>
                <a:gd name="T70" fmla="*/ 278 w 279"/>
                <a:gd name="T71" fmla="*/ 268 h 280"/>
                <a:gd name="T72" fmla="*/ 277 w 279"/>
                <a:gd name="T73" fmla="*/ 271 h 280"/>
                <a:gd name="T74" fmla="*/ 274 w 279"/>
                <a:gd name="T75" fmla="*/ 274 h 280"/>
                <a:gd name="T76" fmla="*/ 271 w 279"/>
                <a:gd name="T77" fmla="*/ 276 h 280"/>
                <a:gd name="T78" fmla="*/ 267 w 279"/>
                <a:gd name="T79" fmla="*/ 279 h 280"/>
                <a:gd name="T80" fmla="*/ 263 w 279"/>
                <a:gd name="T81" fmla="*/ 280 h 280"/>
                <a:gd name="T82" fmla="*/ 260 w 279"/>
                <a:gd name="T8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9" h="280">
                  <a:moveTo>
                    <a:pt x="40" y="240"/>
                  </a:moveTo>
                  <a:lnTo>
                    <a:pt x="240" y="240"/>
                  </a:lnTo>
                  <a:lnTo>
                    <a:pt x="240" y="40"/>
                  </a:lnTo>
                  <a:lnTo>
                    <a:pt x="40" y="40"/>
                  </a:lnTo>
                  <a:lnTo>
                    <a:pt x="40" y="240"/>
                  </a:lnTo>
                  <a:close/>
                  <a:moveTo>
                    <a:pt x="260" y="280"/>
                  </a:moveTo>
                  <a:lnTo>
                    <a:pt x="20" y="280"/>
                  </a:lnTo>
                  <a:lnTo>
                    <a:pt x="16" y="280"/>
                  </a:lnTo>
                  <a:lnTo>
                    <a:pt x="12" y="279"/>
                  </a:lnTo>
                  <a:lnTo>
                    <a:pt x="9" y="276"/>
                  </a:lnTo>
                  <a:lnTo>
                    <a:pt x="6" y="274"/>
                  </a:lnTo>
                  <a:lnTo>
                    <a:pt x="4" y="271"/>
                  </a:lnTo>
                  <a:lnTo>
                    <a:pt x="1" y="268"/>
                  </a:lnTo>
                  <a:lnTo>
                    <a:pt x="0" y="264"/>
                  </a:lnTo>
                  <a:lnTo>
                    <a:pt x="0" y="260"/>
                  </a:lnTo>
                  <a:lnTo>
                    <a:pt x="0" y="20"/>
                  </a:lnTo>
                  <a:lnTo>
                    <a:pt x="0" y="17"/>
                  </a:lnTo>
                  <a:lnTo>
                    <a:pt x="1" y="12"/>
                  </a:lnTo>
                  <a:lnTo>
                    <a:pt x="4" y="9"/>
                  </a:lnTo>
                  <a:lnTo>
                    <a:pt x="6" y="5"/>
                  </a:lnTo>
                  <a:lnTo>
                    <a:pt x="9" y="3"/>
                  </a:lnTo>
                  <a:lnTo>
                    <a:pt x="12" y="2"/>
                  </a:lnTo>
                  <a:lnTo>
                    <a:pt x="16" y="0"/>
                  </a:lnTo>
                  <a:lnTo>
                    <a:pt x="20" y="0"/>
                  </a:lnTo>
                  <a:lnTo>
                    <a:pt x="260" y="0"/>
                  </a:lnTo>
                  <a:lnTo>
                    <a:pt x="263" y="0"/>
                  </a:lnTo>
                  <a:lnTo>
                    <a:pt x="267" y="2"/>
                  </a:lnTo>
                  <a:lnTo>
                    <a:pt x="271" y="3"/>
                  </a:lnTo>
                  <a:lnTo>
                    <a:pt x="274" y="5"/>
                  </a:lnTo>
                  <a:lnTo>
                    <a:pt x="277" y="9"/>
                  </a:lnTo>
                  <a:lnTo>
                    <a:pt x="278" y="12"/>
                  </a:lnTo>
                  <a:lnTo>
                    <a:pt x="279" y="17"/>
                  </a:lnTo>
                  <a:lnTo>
                    <a:pt x="279" y="20"/>
                  </a:lnTo>
                  <a:lnTo>
                    <a:pt x="279" y="260"/>
                  </a:lnTo>
                  <a:lnTo>
                    <a:pt x="279" y="264"/>
                  </a:lnTo>
                  <a:lnTo>
                    <a:pt x="278" y="268"/>
                  </a:lnTo>
                  <a:lnTo>
                    <a:pt x="277" y="271"/>
                  </a:lnTo>
                  <a:lnTo>
                    <a:pt x="274" y="274"/>
                  </a:lnTo>
                  <a:lnTo>
                    <a:pt x="271" y="276"/>
                  </a:lnTo>
                  <a:lnTo>
                    <a:pt x="267" y="279"/>
                  </a:lnTo>
                  <a:lnTo>
                    <a:pt x="263" y="280"/>
                  </a:lnTo>
                  <a:lnTo>
                    <a:pt x="26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9">
              <a:extLst>
                <a:ext uri="{FF2B5EF4-FFF2-40B4-BE49-F238E27FC236}">
                  <a16:creationId xmlns:a16="http://schemas.microsoft.com/office/drawing/2014/main" id="{43ACA7DF-EDAB-404B-8CCA-F28A18F45FBE}"/>
                </a:ext>
              </a:extLst>
            </p:cNvPr>
            <p:cNvSpPr>
              <a:spLocks noEditPoints="1"/>
            </p:cNvSpPr>
            <p:nvPr/>
          </p:nvSpPr>
          <p:spPr bwMode="auto">
            <a:xfrm>
              <a:off x="59265" y="5686673"/>
              <a:ext cx="271210" cy="73799"/>
            </a:xfrm>
            <a:custGeom>
              <a:avLst/>
              <a:gdLst>
                <a:gd name="T0" fmla="*/ 40 w 440"/>
                <a:gd name="T1" fmla="*/ 81 h 120"/>
                <a:gd name="T2" fmla="*/ 400 w 440"/>
                <a:gd name="T3" fmla="*/ 81 h 120"/>
                <a:gd name="T4" fmla="*/ 400 w 440"/>
                <a:gd name="T5" fmla="*/ 40 h 120"/>
                <a:gd name="T6" fmla="*/ 40 w 440"/>
                <a:gd name="T7" fmla="*/ 40 h 120"/>
                <a:gd name="T8" fmla="*/ 40 w 440"/>
                <a:gd name="T9" fmla="*/ 81 h 120"/>
                <a:gd name="T10" fmla="*/ 420 w 440"/>
                <a:gd name="T11" fmla="*/ 120 h 120"/>
                <a:gd name="T12" fmla="*/ 20 w 440"/>
                <a:gd name="T13" fmla="*/ 120 h 120"/>
                <a:gd name="T14" fmla="*/ 15 w 440"/>
                <a:gd name="T15" fmla="*/ 119 h 120"/>
                <a:gd name="T16" fmla="*/ 12 w 440"/>
                <a:gd name="T17" fmla="*/ 119 h 120"/>
                <a:gd name="T18" fmla="*/ 9 w 440"/>
                <a:gd name="T19" fmla="*/ 117 h 120"/>
                <a:gd name="T20" fmla="*/ 5 w 440"/>
                <a:gd name="T21" fmla="*/ 114 h 120"/>
                <a:gd name="T22" fmla="*/ 3 w 440"/>
                <a:gd name="T23" fmla="*/ 112 h 120"/>
                <a:gd name="T24" fmla="*/ 2 w 440"/>
                <a:gd name="T25" fmla="*/ 108 h 120"/>
                <a:gd name="T26" fmla="*/ 0 w 440"/>
                <a:gd name="T27" fmla="*/ 104 h 120"/>
                <a:gd name="T28" fmla="*/ 0 w 440"/>
                <a:gd name="T29" fmla="*/ 101 h 120"/>
                <a:gd name="T30" fmla="*/ 0 w 440"/>
                <a:gd name="T31" fmla="*/ 20 h 120"/>
                <a:gd name="T32" fmla="*/ 0 w 440"/>
                <a:gd name="T33" fmla="*/ 16 h 120"/>
                <a:gd name="T34" fmla="*/ 2 w 440"/>
                <a:gd name="T35" fmla="*/ 12 h 120"/>
                <a:gd name="T36" fmla="*/ 3 w 440"/>
                <a:gd name="T37" fmla="*/ 9 h 120"/>
                <a:gd name="T38" fmla="*/ 5 w 440"/>
                <a:gd name="T39" fmla="*/ 6 h 120"/>
                <a:gd name="T40" fmla="*/ 9 w 440"/>
                <a:gd name="T41" fmla="*/ 4 h 120"/>
                <a:gd name="T42" fmla="*/ 12 w 440"/>
                <a:gd name="T43" fmla="*/ 1 h 120"/>
                <a:gd name="T44" fmla="*/ 15 w 440"/>
                <a:gd name="T45" fmla="*/ 1 h 120"/>
                <a:gd name="T46" fmla="*/ 20 w 440"/>
                <a:gd name="T47" fmla="*/ 0 h 120"/>
                <a:gd name="T48" fmla="*/ 420 w 440"/>
                <a:gd name="T49" fmla="*/ 0 h 120"/>
                <a:gd name="T50" fmla="*/ 424 w 440"/>
                <a:gd name="T51" fmla="*/ 1 h 120"/>
                <a:gd name="T52" fmla="*/ 428 w 440"/>
                <a:gd name="T53" fmla="*/ 1 h 120"/>
                <a:gd name="T54" fmla="*/ 431 w 440"/>
                <a:gd name="T55" fmla="*/ 4 h 120"/>
                <a:gd name="T56" fmla="*/ 434 w 440"/>
                <a:gd name="T57" fmla="*/ 6 h 120"/>
                <a:gd name="T58" fmla="*/ 436 w 440"/>
                <a:gd name="T59" fmla="*/ 9 h 120"/>
                <a:gd name="T60" fmla="*/ 438 w 440"/>
                <a:gd name="T61" fmla="*/ 12 h 120"/>
                <a:gd name="T62" fmla="*/ 439 w 440"/>
                <a:gd name="T63" fmla="*/ 16 h 120"/>
                <a:gd name="T64" fmla="*/ 440 w 440"/>
                <a:gd name="T65" fmla="*/ 20 h 120"/>
                <a:gd name="T66" fmla="*/ 440 w 440"/>
                <a:gd name="T67" fmla="*/ 101 h 120"/>
                <a:gd name="T68" fmla="*/ 439 w 440"/>
                <a:gd name="T69" fmla="*/ 104 h 120"/>
                <a:gd name="T70" fmla="*/ 438 w 440"/>
                <a:gd name="T71" fmla="*/ 108 h 120"/>
                <a:gd name="T72" fmla="*/ 436 w 440"/>
                <a:gd name="T73" fmla="*/ 112 h 120"/>
                <a:gd name="T74" fmla="*/ 434 w 440"/>
                <a:gd name="T75" fmla="*/ 114 h 120"/>
                <a:gd name="T76" fmla="*/ 431 w 440"/>
                <a:gd name="T77" fmla="*/ 117 h 120"/>
                <a:gd name="T78" fmla="*/ 428 w 440"/>
                <a:gd name="T79" fmla="*/ 119 h 120"/>
                <a:gd name="T80" fmla="*/ 424 w 440"/>
                <a:gd name="T81" fmla="*/ 119 h 120"/>
                <a:gd name="T82" fmla="*/ 420 w 440"/>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0" h="120">
                  <a:moveTo>
                    <a:pt x="40" y="81"/>
                  </a:moveTo>
                  <a:lnTo>
                    <a:pt x="400" y="81"/>
                  </a:lnTo>
                  <a:lnTo>
                    <a:pt x="400" y="40"/>
                  </a:lnTo>
                  <a:lnTo>
                    <a:pt x="40" y="40"/>
                  </a:lnTo>
                  <a:lnTo>
                    <a:pt x="40" y="81"/>
                  </a:lnTo>
                  <a:close/>
                  <a:moveTo>
                    <a:pt x="420" y="120"/>
                  </a:moveTo>
                  <a:lnTo>
                    <a:pt x="20" y="120"/>
                  </a:lnTo>
                  <a:lnTo>
                    <a:pt x="15" y="119"/>
                  </a:lnTo>
                  <a:lnTo>
                    <a:pt x="12" y="119"/>
                  </a:lnTo>
                  <a:lnTo>
                    <a:pt x="9" y="117"/>
                  </a:lnTo>
                  <a:lnTo>
                    <a:pt x="5" y="114"/>
                  </a:lnTo>
                  <a:lnTo>
                    <a:pt x="3" y="112"/>
                  </a:lnTo>
                  <a:lnTo>
                    <a:pt x="2" y="108"/>
                  </a:lnTo>
                  <a:lnTo>
                    <a:pt x="0" y="104"/>
                  </a:lnTo>
                  <a:lnTo>
                    <a:pt x="0" y="101"/>
                  </a:lnTo>
                  <a:lnTo>
                    <a:pt x="0" y="20"/>
                  </a:lnTo>
                  <a:lnTo>
                    <a:pt x="0" y="16"/>
                  </a:lnTo>
                  <a:lnTo>
                    <a:pt x="2" y="12"/>
                  </a:lnTo>
                  <a:lnTo>
                    <a:pt x="3" y="9"/>
                  </a:lnTo>
                  <a:lnTo>
                    <a:pt x="5" y="6"/>
                  </a:lnTo>
                  <a:lnTo>
                    <a:pt x="9" y="4"/>
                  </a:lnTo>
                  <a:lnTo>
                    <a:pt x="12" y="1"/>
                  </a:lnTo>
                  <a:lnTo>
                    <a:pt x="15" y="1"/>
                  </a:lnTo>
                  <a:lnTo>
                    <a:pt x="20" y="0"/>
                  </a:lnTo>
                  <a:lnTo>
                    <a:pt x="420" y="0"/>
                  </a:lnTo>
                  <a:lnTo>
                    <a:pt x="424" y="1"/>
                  </a:lnTo>
                  <a:lnTo>
                    <a:pt x="428" y="1"/>
                  </a:lnTo>
                  <a:lnTo>
                    <a:pt x="431" y="4"/>
                  </a:lnTo>
                  <a:lnTo>
                    <a:pt x="434" y="6"/>
                  </a:lnTo>
                  <a:lnTo>
                    <a:pt x="436" y="9"/>
                  </a:lnTo>
                  <a:lnTo>
                    <a:pt x="438" y="12"/>
                  </a:lnTo>
                  <a:lnTo>
                    <a:pt x="439" y="16"/>
                  </a:lnTo>
                  <a:lnTo>
                    <a:pt x="440" y="20"/>
                  </a:lnTo>
                  <a:lnTo>
                    <a:pt x="440" y="101"/>
                  </a:lnTo>
                  <a:lnTo>
                    <a:pt x="439" y="104"/>
                  </a:lnTo>
                  <a:lnTo>
                    <a:pt x="438" y="108"/>
                  </a:lnTo>
                  <a:lnTo>
                    <a:pt x="436" y="112"/>
                  </a:lnTo>
                  <a:lnTo>
                    <a:pt x="434" y="114"/>
                  </a:lnTo>
                  <a:lnTo>
                    <a:pt x="431" y="117"/>
                  </a:lnTo>
                  <a:lnTo>
                    <a:pt x="428" y="119"/>
                  </a:lnTo>
                  <a:lnTo>
                    <a:pt x="424" y="119"/>
                  </a:lnTo>
                  <a:lnTo>
                    <a:pt x="42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20">
              <a:extLst>
                <a:ext uri="{FF2B5EF4-FFF2-40B4-BE49-F238E27FC236}">
                  <a16:creationId xmlns:a16="http://schemas.microsoft.com/office/drawing/2014/main" id="{F4F1EF61-2DE2-49CE-83BE-D204E0A11898}"/>
                </a:ext>
              </a:extLst>
            </p:cNvPr>
            <p:cNvSpPr>
              <a:spLocks/>
            </p:cNvSpPr>
            <p:nvPr/>
          </p:nvSpPr>
          <p:spPr bwMode="auto">
            <a:xfrm>
              <a:off x="182878" y="5587044"/>
              <a:ext cx="23985" cy="123613"/>
            </a:xfrm>
            <a:custGeom>
              <a:avLst/>
              <a:gdLst>
                <a:gd name="T0" fmla="*/ 20 w 40"/>
                <a:gd name="T1" fmla="*/ 200 h 200"/>
                <a:gd name="T2" fmla="*/ 15 w 40"/>
                <a:gd name="T3" fmla="*/ 200 h 200"/>
                <a:gd name="T4" fmla="*/ 12 w 40"/>
                <a:gd name="T5" fmla="*/ 198 h 200"/>
                <a:gd name="T6" fmla="*/ 9 w 40"/>
                <a:gd name="T7" fmla="*/ 197 h 200"/>
                <a:gd name="T8" fmla="*/ 5 w 40"/>
                <a:gd name="T9" fmla="*/ 195 h 200"/>
                <a:gd name="T10" fmla="*/ 3 w 40"/>
                <a:gd name="T11" fmla="*/ 191 h 200"/>
                <a:gd name="T12" fmla="*/ 2 w 40"/>
                <a:gd name="T13" fmla="*/ 188 h 200"/>
                <a:gd name="T14" fmla="*/ 0 w 40"/>
                <a:gd name="T15" fmla="*/ 185 h 200"/>
                <a:gd name="T16" fmla="*/ 0 w 40"/>
                <a:gd name="T17" fmla="*/ 180 h 200"/>
                <a:gd name="T18" fmla="*/ 0 w 40"/>
                <a:gd name="T19" fmla="*/ 21 h 200"/>
                <a:gd name="T20" fmla="*/ 0 w 40"/>
                <a:gd name="T21" fmla="*/ 16 h 200"/>
                <a:gd name="T22" fmla="*/ 2 w 40"/>
                <a:gd name="T23" fmla="*/ 12 h 200"/>
                <a:gd name="T24" fmla="*/ 3 w 40"/>
                <a:gd name="T25" fmla="*/ 10 h 200"/>
                <a:gd name="T26" fmla="*/ 5 w 40"/>
                <a:gd name="T27" fmla="*/ 6 h 200"/>
                <a:gd name="T28" fmla="*/ 9 w 40"/>
                <a:gd name="T29" fmla="*/ 3 h 200"/>
                <a:gd name="T30" fmla="*/ 12 w 40"/>
                <a:gd name="T31" fmla="*/ 2 h 200"/>
                <a:gd name="T32" fmla="*/ 15 w 40"/>
                <a:gd name="T33" fmla="*/ 1 h 200"/>
                <a:gd name="T34" fmla="*/ 20 w 40"/>
                <a:gd name="T35" fmla="*/ 0 h 200"/>
                <a:gd name="T36" fmla="*/ 24 w 40"/>
                <a:gd name="T37" fmla="*/ 1 h 200"/>
                <a:gd name="T38" fmla="*/ 28 w 40"/>
                <a:gd name="T39" fmla="*/ 2 h 200"/>
                <a:gd name="T40" fmla="*/ 31 w 40"/>
                <a:gd name="T41" fmla="*/ 3 h 200"/>
                <a:gd name="T42" fmla="*/ 34 w 40"/>
                <a:gd name="T43" fmla="*/ 6 h 200"/>
                <a:gd name="T44" fmla="*/ 36 w 40"/>
                <a:gd name="T45" fmla="*/ 10 h 200"/>
                <a:gd name="T46" fmla="*/ 38 w 40"/>
                <a:gd name="T47" fmla="*/ 12 h 200"/>
                <a:gd name="T48" fmla="*/ 39 w 40"/>
                <a:gd name="T49" fmla="*/ 16 h 200"/>
                <a:gd name="T50" fmla="*/ 40 w 40"/>
                <a:gd name="T51" fmla="*/ 21 h 200"/>
                <a:gd name="T52" fmla="*/ 40 w 40"/>
                <a:gd name="T53" fmla="*/ 180 h 200"/>
                <a:gd name="T54" fmla="*/ 39 w 40"/>
                <a:gd name="T55" fmla="*/ 185 h 200"/>
                <a:gd name="T56" fmla="*/ 38 w 40"/>
                <a:gd name="T57" fmla="*/ 188 h 200"/>
                <a:gd name="T58" fmla="*/ 36 w 40"/>
                <a:gd name="T59" fmla="*/ 191 h 200"/>
                <a:gd name="T60" fmla="*/ 34 w 40"/>
                <a:gd name="T61" fmla="*/ 195 h 200"/>
                <a:gd name="T62" fmla="*/ 31 w 40"/>
                <a:gd name="T63" fmla="*/ 197 h 200"/>
                <a:gd name="T64" fmla="*/ 28 w 40"/>
                <a:gd name="T65" fmla="*/ 198 h 200"/>
                <a:gd name="T66" fmla="*/ 24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5" y="200"/>
                  </a:lnTo>
                  <a:lnTo>
                    <a:pt x="12" y="198"/>
                  </a:lnTo>
                  <a:lnTo>
                    <a:pt x="9" y="197"/>
                  </a:lnTo>
                  <a:lnTo>
                    <a:pt x="5" y="195"/>
                  </a:lnTo>
                  <a:lnTo>
                    <a:pt x="3" y="191"/>
                  </a:lnTo>
                  <a:lnTo>
                    <a:pt x="2" y="188"/>
                  </a:lnTo>
                  <a:lnTo>
                    <a:pt x="0" y="185"/>
                  </a:lnTo>
                  <a:lnTo>
                    <a:pt x="0" y="180"/>
                  </a:lnTo>
                  <a:lnTo>
                    <a:pt x="0" y="21"/>
                  </a:lnTo>
                  <a:lnTo>
                    <a:pt x="0" y="16"/>
                  </a:lnTo>
                  <a:lnTo>
                    <a:pt x="2" y="12"/>
                  </a:lnTo>
                  <a:lnTo>
                    <a:pt x="3" y="10"/>
                  </a:lnTo>
                  <a:lnTo>
                    <a:pt x="5" y="6"/>
                  </a:lnTo>
                  <a:lnTo>
                    <a:pt x="9" y="3"/>
                  </a:lnTo>
                  <a:lnTo>
                    <a:pt x="12" y="2"/>
                  </a:lnTo>
                  <a:lnTo>
                    <a:pt x="15" y="1"/>
                  </a:lnTo>
                  <a:lnTo>
                    <a:pt x="20" y="0"/>
                  </a:lnTo>
                  <a:lnTo>
                    <a:pt x="24" y="1"/>
                  </a:lnTo>
                  <a:lnTo>
                    <a:pt x="28" y="2"/>
                  </a:lnTo>
                  <a:lnTo>
                    <a:pt x="31" y="3"/>
                  </a:lnTo>
                  <a:lnTo>
                    <a:pt x="34" y="6"/>
                  </a:lnTo>
                  <a:lnTo>
                    <a:pt x="36" y="10"/>
                  </a:lnTo>
                  <a:lnTo>
                    <a:pt x="38" y="12"/>
                  </a:lnTo>
                  <a:lnTo>
                    <a:pt x="39" y="16"/>
                  </a:lnTo>
                  <a:lnTo>
                    <a:pt x="40" y="21"/>
                  </a:lnTo>
                  <a:lnTo>
                    <a:pt x="40" y="180"/>
                  </a:lnTo>
                  <a:lnTo>
                    <a:pt x="39" y="185"/>
                  </a:lnTo>
                  <a:lnTo>
                    <a:pt x="38" y="188"/>
                  </a:lnTo>
                  <a:lnTo>
                    <a:pt x="36" y="191"/>
                  </a:lnTo>
                  <a:lnTo>
                    <a:pt x="34" y="195"/>
                  </a:lnTo>
                  <a:lnTo>
                    <a:pt x="31" y="197"/>
                  </a:lnTo>
                  <a:lnTo>
                    <a:pt x="28" y="198"/>
                  </a:lnTo>
                  <a:lnTo>
                    <a:pt x="24"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Rectangle 21">
              <a:extLst>
                <a:ext uri="{FF2B5EF4-FFF2-40B4-BE49-F238E27FC236}">
                  <a16:creationId xmlns:a16="http://schemas.microsoft.com/office/drawing/2014/main" id="{D3DAB7CB-7D1C-4C17-B922-A841C09577F4}"/>
                </a:ext>
              </a:extLst>
            </p:cNvPr>
            <p:cNvSpPr>
              <a:spLocks noChangeArrowheads="1"/>
            </p:cNvSpPr>
            <p:nvPr/>
          </p:nvSpPr>
          <p:spPr bwMode="auto">
            <a:xfrm>
              <a:off x="182878" y="6140535"/>
              <a:ext cx="23985" cy="1475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59" name="Group 159">
            <a:extLst>
              <a:ext uri="{FF2B5EF4-FFF2-40B4-BE49-F238E27FC236}">
                <a16:creationId xmlns:a16="http://schemas.microsoft.com/office/drawing/2014/main" id="{85C7FACE-473C-48D8-8E81-A5B15CA1F150}"/>
              </a:ext>
            </a:extLst>
          </p:cNvPr>
          <p:cNvGrpSpPr>
            <a:grpSpLocks noChangeAspect="1"/>
          </p:cNvGrpSpPr>
          <p:nvPr/>
        </p:nvGrpSpPr>
        <p:grpSpPr>
          <a:xfrm>
            <a:off x="3680681" y="3263433"/>
            <a:ext cx="245766" cy="285619"/>
            <a:chOff x="673639" y="5587044"/>
            <a:chExt cx="614374" cy="714003"/>
          </a:xfrm>
          <a:solidFill>
            <a:schemeClr val="bg2"/>
          </a:solidFill>
          <a:effectLst/>
        </p:grpSpPr>
        <p:sp>
          <p:nvSpPr>
            <p:cNvPr id="1260" name="Freeform 22">
              <a:extLst>
                <a:ext uri="{FF2B5EF4-FFF2-40B4-BE49-F238E27FC236}">
                  <a16:creationId xmlns:a16="http://schemas.microsoft.com/office/drawing/2014/main" id="{AC5E5469-6598-4456-BB42-EA5AE80189D1}"/>
                </a:ext>
              </a:extLst>
            </p:cNvPr>
            <p:cNvSpPr>
              <a:spLocks noEditPoints="1"/>
            </p:cNvSpPr>
            <p:nvPr/>
          </p:nvSpPr>
          <p:spPr bwMode="auto">
            <a:xfrm>
              <a:off x="821237" y="5736487"/>
              <a:ext cx="319179" cy="564560"/>
            </a:xfrm>
            <a:custGeom>
              <a:avLst/>
              <a:gdLst>
                <a:gd name="T0" fmla="*/ 40 w 519"/>
                <a:gd name="T1" fmla="*/ 879 h 919"/>
                <a:gd name="T2" fmla="*/ 479 w 519"/>
                <a:gd name="T3" fmla="*/ 879 h 919"/>
                <a:gd name="T4" fmla="*/ 479 w 519"/>
                <a:gd name="T5" fmla="*/ 39 h 919"/>
                <a:gd name="T6" fmla="*/ 40 w 519"/>
                <a:gd name="T7" fmla="*/ 39 h 919"/>
                <a:gd name="T8" fmla="*/ 40 w 519"/>
                <a:gd name="T9" fmla="*/ 879 h 919"/>
                <a:gd name="T10" fmla="*/ 499 w 519"/>
                <a:gd name="T11" fmla="*/ 919 h 919"/>
                <a:gd name="T12" fmla="*/ 20 w 519"/>
                <a:gd name="T13" fmla="*/ 919 h 919"/>
                <a:gd name="T14" fmla="*/ 15 w 519"/>
                <a:gd name="T15" fmla="*/ 919 h 919"/>
                <a:gd name="T16" fmla="*/ 11 w 519"/>
                <a:gd name="T17" fmla="*/ 918 h 919"/>
                <a:gd name="T18" fmla="*/ 9 w 519"/>
                <a:gd name="T19" fmla="*/ 915 h 919"/>
                <a:gd name="T20" fmla="*/ 5 w 519"/>
                <a:gd name="T21" fmla="*/ 913 h 919"/>
                <a:gd name="T22" fmla="*/ 2 w 519"/>
                <a:gd name="T23" fmla="*/ 910 h 919"/>
                <a:gd name="T24" fmla="*/ 1 w 519"/>
                <a:gd name="T25" fmla="*/ 907 h 919"/>
                <a:gd name="T26" fmla="*/ 0 w 519"/>
                <a:gd name="T27" fmla="*/ 903 h 919"/>
                <a:gd name="T28" fmla="*/ 0 w 519"/>
                <a:gd name="T29" fmla="*/ 899 h 919"/>
                <a:gd name="T30" fmla="*/ 0 w 519"/>
                <a:gd name="T31" fmla="*/ 20 h 919"/>
                <a:gd name="T32" fmla="*/ 0 w 519"/>
                <a:gd name="T33" fmla="*/ 15 h 919"/>
                <a:gd name="T34" fmla="*/ 1 w 519"/>
                <a:gd name="T35" fmla="*/ 11 h 919"/>
                <a:gd name="T36" fmla="*/ 2 w 519"/>
                <a:gd name="T37" fmla="*/ 8 h 919"/>
                <a:gd name="T38" fmla="*/ 5 w 519"/>
                <a:gd name="T39" fmla="*/ 5 h 919"/>
                <a:gd name="T40" fmla="*/ 9 w 519"/>
                <a:gd name="T41" fmla="*/ 2 h 919"/>
                <a:gd name="T42" fmla="*/ 11 w 519"/>
                <a:gd name="T43" fmla="*/ 1 h 919"/>
                <a:gd name="T44" fmla="*/ 15 w 519"/>
                <a:gd name="T45" fmla="*/ 0 h 919"/>
                <a:gd name="T46" fmla="*/ 20 w 519"/>
                <a:gd name="T47" fmla="*/ 0 h 919"/>
                <a:gd name="T48" fmla="*/ 499 w 519"/>
                <a:gd name="T49" fmla="*/ 0 h 919"/>
                <a:gd name="T50" fmla="*/ 503 w 519"/>
                <a:gd name="T51" fmla="*/ 0 h 919"/>
                <a:gd name="T52" fmla="*/ 507 w 519"/>
                <a:gd name="T53" fmla="*/ 1 h 919"/>
                <a:gd name="T54" fmla="*/ 510 w 519"/>
                <a:gd name="T55" fmla="*/ 2 h 919"/>
                <a:gd name="T56" fmla="*/ 513 w 519"/>
                <a:gd name="T57" fmla="*/ 5 h 919"/>
                <a:gd name="T58" fmla="*/ 515 w 519"/>
                <a:gd name="T59" fmla="*/ 8 h 919"/>
                <a:gd name="T60" fmla="*/ 518 w 519"/>
                <a:gd name="T61" fmla="*/ 11 h 919"/>
                <a:gd name="T62" fmla="*/ 519 w 519"/>
                <a:gd name="T63" fmla="*/ 15 h 919"/>
                <a:gd name="T64" fmla="*/ 519 w 519"/>
                <a:gd name="T65" fmla="*/ 20 h 919"/>
                <a:gd name="T66" fmla="*/ 519 w 519"/>
                <a:gd name="T67" fmla="*/ 899 h 919"/>
                <a:gd name="T68" fmla="*/ 519 w 519"/>
                <a:gd name="T69" fmla="*/ 903 h 919"/>
                <a:gd name="T70" fmla="*/ 518 w 519"/>
                <a:gd name="T71" fmla="*/ 907 h 919"/>
                <a:gd name="T72" fmla="*/ 515 w 519"/>
                <a:gd name="T73" fmla="*/ 910 h 919"/>
                <a:gd name="T74" fmla="*/ 513 w 519"/>
                <a:gd name="T75" fmla="*/ 913 h 919"/>
                <a:gd name="T76" fmla="*/ 510 w 519"/>
                <a:gd name="T77" fmla="*/ 915 h 919"/>
                <a:gd name="T78" fmla="*/ 507 w 519"/>
                <a:gd name="T79" fmla="*/ 918 h 919"/>
                <a:gd name="T80" fmla="*/ 503 w 519"/>
                <a:gd name="T81" fmla="*/ 919 h 919"/>
                <a:gd name="T82" fmla="*/ 499 w 519"/>
                <a:gd name="T83"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9" h="919">
                  <a:moveTo>
                    <a:pt x="40" y="879"/>
                  </a:moveTo>
                  <a:lnTo>
                    <a:pt x="479" y="879"/>
                  </a:lnTo>
                  <a:lnTo>
                    <a:pt x="479" y="39"/>
                  </a:lnTo>
                  <a:lnTo>
                    <a:pt x="40" y="39"/>
                  </a:lnTo>
                  <a:lnTo>
                    <a:pt x="40" y="879"/>
                  </a:lnTo>
                  <a:close/>
                  <a:moveTo>
                    <a:pt x="499" y="919"/>
                  </a:moveTo>
                  <a:lnTo>
                    <a:pt x="20" y="919"/>
                  </a:lnTo>
                  <a:lnTo>
                    <a:pt x="15" y="919"/>
                  </a:lnTo>
                  <a:lnTo>
                    <a:pt x="11" y="918"/>
                  </a:lnTo>
                  <a:lnTo>
                    <a:pt x="9" y="915"/>
                  </a:lnTo>
                  <a:lnTo>
                    <a:pt x="5" y="913"/>
                  </a:lnTo>
                  <a:lnTo>
                    <a:pt x="2" y="910"/>
                  </a:lnTo>
                  <a:lnTo>
                    <a:pt x="1" y="907"/>
                  </a:lnTo>
                  <a:lnTo>
                    <a:pt x="0" y="903"/>
                  </a:lnTo>
                  <a:lnTo>
                    <a:pt x="0" y="899"/>
                  </a:lnTo>
                  <a:lnTo>
                    <a:pt x="0" y="20"/>
                  </a:lnTo>
                  <a:lnTo>
                    <a:pt x="0" y="15"/>
                  </a:lnTo>
                  <a:lnTo>
                    <a:pt x="1" y="11"/>
                  </a:lnTo>
                  <a:lnTo>
                    <a:pt x="2" y="8"/>
                  </a:lnTo>
                  <a:lnTo>
                    <a:pt x="5" y="5"/>
                  </a:lnTo>
                  <a:lnTo>
                    <a:pt x="9" y="2"/>
                  </a:lnTo>
                  <a:lnTo>
                    <a:pt x="11" y="1"/>
                  </a:lnTo>
                  <a:lnTo>
                    <a:pt x="15" y="0"/>
                  </a:lnTo>
                  <a:lnTo>
                    <a:pt x="20" y="0"/>
                  </a:lnTo>
                  <a:lnTo>
                    <a:pt x="499" y="0"/>
                  </a:lnTo>
                  <a:lnTo>
                    <a:pt x="503" y="0"/>
                  </a:lnTo>
                  <a:lnTo>
                    <a:pt x="507" y="1"/>
                  </a:lnTo>
                  <a:lnTo>
                    <a:pt x="510" y="2"/>
                  </a:lnTo>
                  <a:lnTo>
                    <a:pt x="513" y="5"/>
                  </a:lnTo>
                  <a:lnTo>
                    <a:pt x="515" y="8"/>
                  </a:lnTo>
                  <a:lnTo>
                    <a:pt x="518" y="11"/>
                  </a:lnTo>
                  <a:lnTo>
                    <a:pt x="519" y="15"/>
                  </a:lnTo>
                  <a:lnTo>
                    <a:pt x="519" y="20"/>
                  </a:lnTo>
                  <a:lnTo>
                    <a:pt x="519" y="899"/>
                  </a:lnTo>
                  <a:lnTo>
                    <a:pt x="519" y="903"/>
                  </a:lnTo>
                  <a:lnTo>
                    <a:pt x="518" y="907"/>
                  </a:lnTo>
                  <a:lnTo>
                    <a:pt x="515" y="910"/>
                  </a:lnTo>
                  <a:lnTo>
                    <a:pt x="513" y="913"/>
                  </a:lnTo>
                  <a:lnTo>
                    <a:pt x="510" y="915"/>
                  </a:lnTo>
                  <a:lnTo>
                    <a:pt x="507" y="918"/>
                  </a:lnTo>
                  <a:lnTo>
                    <a:pt x="503" y="919"/>
                  </a:lnTo>
                  <a:lnTo>
                    <a:pt x="499" y="9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23">
              <a:extLst>
                <a:ext uri="{FF2B5EF4-FFF2-40B4-BE49-F238E27FC236}">
                  <a16:creationId xmlns:a16="http://schemas.microsoft.com/office/drawing/2014/main" id="{4A27BC91-50C0-48DC-B120-3DB30ED30DC0}"/>
                </a:ext>
              </a:extLst>
            </p:cNvPr>
            <p:cNvSpPr>
              <a:spLocks noEditPoints="1"/>
            </p:cNvSpPr>
            <p:nvPr/>
          </p:nvSpPr>
          <p:spPr bwMode="auto">
            <a:xfrm>
              <a:off x="673639" y="5882239"/>
              <a:ext cx="173427" cy="418808"/>
            </a:xfrm>
            <a:custGeom>
              <a:avLst/>
              <a:gdLst>
                <a:gd name="T0" fmla="*/ 41 w 281"/>
                <a:gd name="T1" fmla="*/ 640 h 680"/>
                <a:gd name="T2" fmla="*/ 241 w 281"/>
                <a:gd name="T3" fmla="*/ 640 h 680"/>
                <a:gd name="T4" fmla="*/ 241 w 281"/>
                <a:gd name="T5" fmla="*/ 40 h 680"/>
                <a:gd name="T6" fmla="*/ 41 w 281"/>
                <a:gd name="T7" fmla="*/ 40 h 680"/>
                <a:gd name="T8" fmla="*/ 41 w 281"/>
                <a:gd name="T9" fmla="*/ 640 h 680"/>
                <a:gd name="T10" fmla="*/ 261 w 281"/>
                <a:gd name="T11" fmla="*/ 680 h 680"/>
                <a:gd name="T12" fmla="*/ 21 w 281"/>
                <a:gd name="T13" fmla="*/ 680 h 680"/>
                <a:gd name="T14" fmla="*/ 16 w 281"/>
                <a:gd name="T15" fmla="*/ 680 h 680"/>
                <a:gd name="T16" fmla="*/ 12 w 281"/>
                <a:gd name="T17" fmla="*/ 679 h 680"/>
                <a:gd name="T18" fmla="*/ 10 w 281"/>
                <a:gd name="T19" fmla="*/ 676 h 680"/>
                <a:gd name="T20" fmla="*/ 6 w 281"/>
                <a:gd name="T21" fmla="*/ 674 h 680"/>
                <a:gd name="T22" fmla="*/ 4 w 281"/>
                <a:gd name="T23" fmla="*/ 671 h 680"/>
                <a:gd name="T24" fmla="*/ 3 w 281"/>
                <a:gd name="T25" fmla="*/ 668 h 680"/>
                <a:gd name="T26" fmla="*/ 1 w 281"/>
                <a:gd name="T27" fmla="*/ 664 h 680"/>
                <a:gd name="T28" fmla="*/ 0 w 281"/>
                <a:gd name="T29" fmla="*/ 660 h 680"/>
                <a:gd name="T30" fmla="*/ 0 w 281"/>
                <a:gd name="T31" fmla="*/ 20 h 680"/>
                <a:gd name="T32" fmla="*/ 1 w 281"/>
                <a:gd name="T33" fmla="*/ 17 h 680"/>
                <a:gd name="T34" fmla="*/ 3 w 281"/>
                <a:gd name="T35" fmla="*/ 13 h 680"/>
                <a:gd name="T36" fmla="*/ 4 w 281"/>
                <a:gd name="T37" fmla="*/ 9 h 680"/>
                <a:gd name="T38" fmla="*/ 6 w 281"/>
                <a:gd name="T39" fmla="*/ 5 h 680"/>
                <a:gd name="T40" fmla="*/ 10 w 281"/>
                <a:gd name="T41" fmla="*/ 3 h 680"/>
                <a:gd name="T42" fmla="*/ 12 w 281"/>
                <a:gd name="T43" fmla="*/ 2 h 680"/>
                <a:gd name="T44" fmla="*/ 16 w 281"/>
                <a:gd name="T45" fmla="*/ 0 h 680"/>
                <a:gd name="T46" fmla="*/ 21 w 281"/>
                <a:gd name="T47" fmla="*/ 0 h 680"/>
                <a:gd name="T48" fmla="*/ 261 w 281"/>
                <a:gd name="T49" fmla="*/ 0 h 680"/>
                <a:gd name="T50" fmla="*/ 265 w 281"/>
                <a:gd name="T51" fmla="*/ 0 h 680"/>
                <a:gd name="T52" fmla="*/ 268 w 281"/>
                <a:gd name="T53" fmla="*/ 2 h 680"/>
                <a:gd name="T54" fmla="*/ 272 w 281"/>
                <a:gd name="T55" fmla="*/ 3 h 680"/>
                <a:gd name="T56" fmla="*/ 275 w 281"/>
                <a:gd name="T57" fmla="*/ 5 h 680"/>
                <a:gd name="T58" fmla="*/ 277 w 281"/>
                <a:gd name="T59" fmla="*/ 9 h 680"/>
                <a:gd name="T60" fmla="*/ 278 w 281"/>
                <a:gd name="T61" fmla="*/ 13 h 680"/>
                <a:gd name="T62" fmla="*/ 279 w 281"/>
                <a:gd name="T63" fmla="*/ 17 h 680"/>
                <a:gd name="T64" fmla="*/ 281 w 281"/>
                <a:gd name="T65" fmla="*/ 20 h 680"/>
                <a:gd name="T66" fmla="*/ 281 w 281"/>
                <a:gd name="T67" fmla="*/ 660 h 680"/>
                <a:gd name="T68" fmla="*/ 279 w 281"/>
                <a:gd name="T69" fmla="*/ 664 h 680"/>
                <a:gd name="T70" fmla="*/ 278 w 281"/>
                <a:gd name="T71" fmla="*/ 668 h 680"/>
                <a:gd name="T72" fmla="*/ 277 w 281"/>
                <a:gd name="T73" fmla="*/ 671 h 680"/>
                <a:gd name="T74" fmla="*/ 275 w 281"/>
                <a:gd name="T75" fmla="*/ 674 h 680"/>
                <a:gd name="T76" fmla="*/ 272 w 281"/>
                <a:gd name="T77" fmla="*/ 676 h 680"/>
                <a:gd name="T78" fmla="*/ 268 w 281"/>
                <a:gd name="T79" fmla="*/ 679 h 680"/>
                <a:gd name="T80" fmla="*/ 265 w 281"/>
                <a:gd name="T81" fmla="*/ 680 h 680"/>
                <a:gd name="T82" fmla="*/ 261 w 281"/>
                <a:gd name="T8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1" h="680">
                  <a:moveTo>
                    <a:pt x="41" y="640"/>
                  </a:moveTo>
                  <a:lnTo>
                    <a:pt x="241" y="640"/>
                  </a:lnTo>
                  <a:lnTo>
                    <a:pt x="241" y="40"/>
                  </a:lnTo>
                  <a:lnTo>
                    <a:pt x="41" y="40"/>
                  </a:lnTo>
                  <a:lnTo>
                    <a:pt x="41" y="640"/>
                  </a:lnTo>
                  <a:close/>
                  <a:moveTo>
                    <a:pt x="261" y="680"/>
                  </a:moveTo>
                  <a:lnTo>
                    <a:pt x="21" y="680"/>
                  </a:lnTo>
                  <a:lnTo>
                    <a:pt x="16" y="680"/>
                  </a:lnTo>
                  <a:lnTo>
                    <a:pt x="12" y="679"/>
                  </a:lnTo>
                  <a:lnTo>
                    <a:pt x="10" y="676"/>
                  </a:lnTo>
                  <a:lnTo>
                    <a:pt x="6" y="674"/>
                  </a:lnTo>
                  <a:lnTo>
                    <a:pt x="4" y="671"/>
                  </a:lnTo>
                  <a:lnTo>
                    <a:pt x="3" y="668"/>
                  </a:lnTo>
                  <a:lnTo>
                    <a:pt x="1" y="664"/>
                  </a:lnTo>
                  <a:lnTo>
                    <a:pt x="0" y="660"/>
                  </a:lnTo>
                  <a:lnTo>
                    <a:pt x="0" y="20"/>
                  </a:lnTo>
                  <a:lnTo>
                    <a:pt x="1" y="17"/>
                  </a:lnTo>
                  <a:lnTo>
                    <a:pt x="3" y="13"/>
                  </a:lnTo>
                  <a:lnTo>
                    <a:pt x="4" y="9"/>
                  </a:lnTo>
                  <a:lnTo>
                    <a:pt x="6" y="5"/>
                  </a:lnTo>
                  <a:lnTo>
                    <a:pt x="10" y="3"/>
                  </a:lnTo>
                  <a:lnTo>
                    <a:pt x="12" y="2"/>
                  </a:lnTo>
                  <a:lnTo>
                    <a:pt x="16" y="0"/>
                  </a:lnTo>
                  <a:lnTo>
                    <a:pt x="21" y="0"/>
                  </a:lnTo>
                  <a:lnTo>
                    <a:pt x="261" y="0"/>
                  </a:lnTo>
                  <a:lnTo>
                    <a:pt x="265" y="0"/>
                  </a:lnTo>
                  <a:lnTo>
                    <a:pt x="268" y="2"/>
                  </a:lnTo>
                  <a:lnTo>
                    <a:pt x="272" y="3"/>
                  </a:lnTo>
                  <a:lnTo>
                    <a:pt x="275" y="5"/>
                  </a:lnTo>
                  <a:lnTo>
                    <a:pt x="277" y="9"/>
                  </a:lnTo>
                  <a:lnTo>
                    <a:pt x="278" y="13"/>
                  </a:lnTo>
                  <a:lnTo>
                    <a:pt x="279" y="17"/>
                  </a:lnTo>
                  <a:lnTo>
                    <a:pt x="281" y="20"/>
                  </a:lnTo>
                  <a:lnTo>
                    <a:pt x="281" y="660"/>
                  </a:lnTo>
                  <a:lnTo>
                    <a:pt x="279" y="664"/>
                  </a:lnTo>
                  <a:lnTo>
                    <a:pt x="278" y="668"/>
                  </a:lnTo>
                  <a:lnTo>
                    <a:pt x="277" y="671"/>
                  </a:lnTo>
                  <a:lnTo>
                    <a:pt x="275" y="674"/>
                  </a:lnTo>
                  <a:lnTo>
                    <a:pt x="272" y="676"/>
                  </a:lnTo>
                  <a:lnTo>
                    <a:pt x="268" y="679"/>
                  </a:lnTo>
                  <a:lnTo>
                    <a:pt x="265" y="680"/>
                  </a:lnTo>
                  <a:lnTo>
                    <a:pt x="26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24">
              <a:extLst>
                <a:ext uri="{FF2B5EF4-FFF2-40B4-BE49-F238E27FC236}">
                  <a16:creationId xmlns:a16="http://schemas.microsoft.com/office/drawing/2014/main" id="{54955747-8E94-471E-A7DA-E8A7D7519D77}"/>
                </a:ext>
              </a:extLst>
            </p:cNvPr>
            <p:cNvSpPr>
              <a:spLocks noEditPoints="1"/>
            </p:cNvSpPr>
            <p:nvPr/>
          </p:nvSpPr>
          <p:spPr bwMode="auto">
            <a:xfrm>
              <a:off x="1116431" y="5932053"/>
              <a:ext cx="171582" cy="368994"/>
            </a:xfrm>
            <a:custGeom>
              <a:avLst/>
              <a:gdLst>
                <a:gd name="T0" fmla="*/ 40 w 280"/>
                <a:gd name="T1" fmla="*/ 560 h 600"/>
                <a:gd name="T2" fmla="*/ 240 w 280"/>
                <a:gd name="T3" fmla="*/ 560 h 600"/>
                <a:gd name="T4" fmla="*/ 240 w 280"/>
                <a:gd name="T5" fmla="*/ 40 h 600"/>
                <a:gd name="T6" fmla="*/ 40 w 280"/>
                <a:gd name="T7" fmla="*/ 40 h 600"/>
                <a:gd name="T8" fmla="*/ 40 w 280"/>
                <a:gd name="T9" fmla="*/ 560 h 600"/>
                <a:gd name="T10" fmla="*/ 260 w 280"/>
                <a:gd name="T11" fmla="*/ 600 h 600"/>
                <a:gd name="T12" fmla="*/ 20 w 280"/>
                <a:gd name="T13" fmla="*/ 600 h 600"/>
                <a:gd name="T14" fmla="*/ 17 w 280"/>
                <a:gd name="T15" fmla="*/ 600 h 600"/>
                <a:gd name="T16" fmla="*/ 13 w 280"/>
                <a:gd name="T17" fmla="*/ 599 h 600"/>
                <a:gd name="T18" fmla="*/ 9 w 280"/>
                <a:gd name="T19" fmla="*/ 596 h 600"/>
                <a:gd name="T20" fmla="*/ 7 w 280"/>
                <a:gd name="T21" fmla="*/ 594 h 600"/>
                <a:gd name="T22" fmla="*/ 4 w 280"/>
                <a:gd name="T23" fmla="*/ 591 h 600"/>
                <a:gd name="T24" fmla="*/ 2 w 280"/>
                <a:gd name="T25" fmla="*/ 588 h 600"/>
                <a:gd name="T26" fmla="*/ 0 w 280"/>
                <a:gd name="T27" fmla="*/ 584 h 600"/>
                <a:gd name="T28" fmla="*/ 0 w 280"/>
                <a:gd name="T29" fmla="*/ 580 h 600"/>
                <a:gd name="T30" fmla="*/ 0 w 280"/>
                <a:gd name="T31" fmla="*/ 20 h 600"/>
                <a:gd name="T32" fmla="*/ 0 w 280"/>
                <a:gd name="T33" fmla="*/ 16 h 600"/>
                <a:gd name="T34" fmla="*/ 2 w 280"/>
                <a:gd name="T35" fmla="*/ 12 h 600"/>
                <a:gd name="T36" fmla="*/ 4 w 280"/>
                <a:gd name="T37" fmla="*/ 9 h 600"/>
                <a:gd name="T38" fmla="*/ 7 w 280"/>
                <a:gd name="T39" fmla="*/ 6 h 600"/>
                <a:gd name="T40" fmla="*/ 9 w 280"/>
                <a:gd name="T41" fmla="*/ 4 h 600"/>
                <a:gd name="T42" fmla="*/ 13 w 280"/>
                <a:gd name="T43" fmla="*/ 1 h 600"/>
                <a:gd name="T44" fmla="*/ 17 w 280"/>
                <a:gd name="T45" fmla="*/ 0 h 600"/>
                <a:gd name="T46" fmla="*/ 20 w 280"/>
                <a:gd name="T47" fmla="*/ 0 h 600"/>
                <a:gd name="T48" fmla="*/ 260 w 280"/>
                <a:gd name="T49" fmla="*/ 0 h 600"/>
                <a:gd name="T50" fmla="*/ 264 w 280"/>
                <a:gd name="T51" fmla="*/ 0 h 600"/>
                <a:gd name="T52" fmla="*/ 267 w 280"/>
                <a:gd name="T53" fmla="*/ 1 h 600"/>
                <a:gd name="T54" fmla="*/ 271 w 280"/>
                <a:gd name="T55" fmla="*/ 4 h 600"/>
                <a:gd name="T56" fmla="*/ 275 w 280"/>
                <a:gd name="T57" fmla="*/ 6 h 600"/>
                <a:gd name="T58" fmla="*/ 276 w 280"/>
                <a:gd name="T59" fmla="*/ 9 h 600"/>
                <a:gd name="T60" fmla="*/ 279 w 280"/>
                <a:gd name="T61" fmla="*/ 12 h 600"/>
                <a:gd name="T62" fmla="*/ 280 w 280"/>
                <a:gd name="T63" fmla="*/ 16 h 600"/>
                <a:gd name="T64" fmla="*/ 280 w 280"/>
                <a:gd name="T65" fmla="*/ 20 h 600"/>
                <a:gd name="T66" fmla="*/ 280 w 280"/>
                <a:gd name="T67" fmla="*/ 580 h 600"/>
                <a:gd name="T68" fmla="*/ 280 w 280"/>
                <a:gd name="T69" fmla="*/ 584 h 600"/>
                <a:gd name="T70" fmla="*/ 279 w 280"/>
                <a:gd name="T71" fmla="*/ 588 h 600"/>
                <a:gd name="T72" fmla="*/ 276 w 280"/>
                <a:gd name="T73" fmla="*/ 591 h 600"/>
                <a:gd name="T74" fmla="*/ 275 w 280"/>
                <a:gd name="T75" fmla="*/ 594 h 600"/>
                <a:gd name="T76" fmla="*/ 271 w 280"/>
                <a:gd name="T77" fmla="*/ 596 h 600"/>
                <a:gd name="T78" fmla="*/ 267 w 280"/>
                <a:gd name="T79" fmla="*/ 599 h 600"/>
                <a:gd name="T80" fmla="*/ 264 w 280"/>
                <a:gd name="T81" fmla="*/ 600 h 600"/>
                <a:gd name="T82" fmla="*/ 260 w 280"/>
                <a:gd name="T83"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0" h="600">
                  <a:moveTo>
                    <a:pt x="40" y="560"/>
                  </a:moveTo>
                  <a:lnTo>
                    <a:pt x="240" y="560"/>
                  </a:lnTo>
                  <a:lnTo>
                    <a:pt x="240" y="40"/>
                  </a:lnTo>
                  <a:lnTo>
                    <a:pt x="40" y="40"/>
                  </a:lnTo>
                  <a:lnTo>
                    <a:pt x="40" y="560"/>
                  </a:lnTo>
                  <a:close/>
                  <a:moveTo>
                    <a:pt x="260" y="600"/>
                  </a:moveTo>
                  <a:lnTo>
                    <a:pt x="20" y="600"/>
                  </a:lnTo>
                  <a:lnTo>
                    <a:pt x="17" y="600"/>
                  </a:lnTo>
                  <a:lnTo>
                    <a:pt x="13" y="599"/>
                  </a:lnTo>
                  <a:lnTo>
                    <a:pt x="9" y="596"/>
                  </a:lnTo>
                  <a:lnTo>
                    <a:pt x="7" y="594"/>
                  </a:lnTo>
                  <a:lnTo>
                    <a:pt x="4" y="591"/>
                  </a:lnTo>
                  <a:lnTo>
                    <a:pt x="2" y="588"/>
                  </a:lnTo>
                  <a:lnTo>
                    <a:pt x="0" y="584"/>
                  </a:lnTo>
                  <a:lnTo>
                    <a:pt x="0" y="580"/>
                  </a:lnTo>
                  <a:lnTo>
                    <a:pt x="0" y="20"/>
                  </a:lnTo>
                  <a:lnTo>
                    <a:pt x="0" y="16"/>
                  </a:lnTo>
                  <a:lnTo>
                    <a:pt x="2" y="12"/>
                  </a:lnTo>
                  <a:lnTo>
                    <a:pt x="4" y="9"/>
                  </a:lnTo>
                  <a:lnTo>
                    <a:pt x="7" y="6"/>
                  </a:lnTo>
                  <a:lnTo>
                    <a:pt x="9" y="4"/>
                  </a:lnTo>
                  <a:lnTo>
                    <a:pt x="13" y="1"/>
                  </a:lnTo>
                  <a:lnTo>
                    <a:pt x="17" y="0"/>
                  </a:lnTo>
                  <a:lnTo>
                    <a:pt x="20" y="0"/>
                  </a:lnTo>
                  <a:lnTo>
                    <a:pt x="260" y="0"/>
                  </a:lnTo>
                  <a:lnTo>
                    <a:pt x="264" y="0"/>
                  </a:lnTo>
                  <a:lnTo>
                    <a:pt x="267" y="1"/>
                  </a:lnTo>
                  <a:lnTo>
                    <a:pt x="271" y="4"/>
                  </a:lnTo>
                  <a:lnTo>
                    <a:pt x="275" y="6"/>
                  </a:lnTo>
                  <a:lnTo>
                    <a:pt x="276" y="9"/>
                  </a:lnTo>
                  <a:lnTo>
                    <a:pt x="279" y="12"/>
                  </a:lnTo>
                  <a:lnTo>
                    <a:pt x="280" y="16"/>
                  </a:lnTo>
                  <a:lnTo>
                    <a:pt x="280" y="20"/>
                  </a:lnTo>
                  <a:lnTo>
                    <a:pt x="280" y="580"/>
                  </a:lnTo>
                  <a:lnTo>
                    <a:pt x="280" y="584"/>
                  </a:lnTo>
                  <a:lnTo>
                    <a:pt x="279" y="588"/>
                  </a:lnTo>
                  <a:lnTo>
                    <a:pt x="276" y="591"/>
                  </a:lnTo>
                  <a:lnTo>
                    <a:pt x="275" y="594"/>
                  </a:lnTo>
                  <a:lnTo>
                    <a:pt x="271" y="596"/>
                  </a:lnTo>
                  <a:lnTo>
                    <a:pt x="267" y="599"/>
                  </a:lnTo>
                  <a:lnTo>
                    <a:pt x="264" y="600"/>
                  </a:lnTo>
                  <a:lnTo>
                    <a:pt x="260"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25">
              <a:extLst>
                <a:ext uri="{FF2B5EF4-FFF2-40B4-BE49-F238E27FC236}">
                  <a16:creationId xmlns:a16="http://schemas.microsoft.com/office/drawing/2014/main" id="{82C50A53-C705-40BA-A452-0B482A333452}"/>
                </a:ext>
              </a:extLst>
            </p:cNvPr>
            <p:cNvSpPr>
              <a:spLocks noEditPoints="1"/>
            </p:cNvSpPr>
            <p:nvPr/>
          </p:nvSpPr>
          <p:spPr bwMode="auto">
            <a:xfrm>
              <a:off x="1116431" y="5882239"/>
              <a:ext cx="123613" cy="73799"/>
            </a:xfrm>
            <a:custGeom>
              <a:avLst/>
              <a:gdLst>
                <a:gd name="T0" fmla="*/ 40 w 200"/>
                <a:gd name="T1" fmla="*/ 80 h 120"/>
                <a:gd name="T2" fmla="*/ 161 w 200"/>
                <a:gd name="T3" fmla="*/ 80 h 120"/>
                <a:gd name="T4" fmla="*/ 161 w 200"/>
                <a:gd name="T5" fmla="*/ 40 h 120"/>
                <a:gd name="T6" fmla="*/ 40 w 200"/>
                <a:gd name="T7" fmla="*/ 40 h 120"/>
                <a:gd name="T8" fmla="*/ 40 w 200"/>
                <a:gd name="T9" fmla="*/ 80 h 120"/>
                <a:gd name="T10" fmla="*/ 180 w 200"/>
                <a:gd name="T11" fmla="*/ 120 h 120"/>
                <a:gd name="T12" fmla="*/ 20 w 200"/>
                <a:gd name="T13" fmla="*/ 120 h 120"/>
                <a:gd name="T14" fmla="*/ 17 w 200"/>
                <a:gd name="T15" fmla="*/ 120 h 120"/>
                <a:gd name="T16" fmla="*/ 13 w 200"/>
                <a:gd name="T17" fmla="*/ 118 h 120"/>
                <a:gd name="T18" fmla="*/ 9 w 200"/>
                <a:gd name="T19" fmla="*/ 117 h 120"/>
                <a:gd name="T20" fmla="*/ 7 w 200"/>
                <a:gd name="T21" fmla="*/ 115 h 120"/>
                <a:gd name="T22" fmla="*/ 4 w 200"/>
                <a:gd name="T23" fmla="*/ 111 h 120"/>
                <a:gd name="T24" fmla="*/ 2 w 200"/>
                <a:gd name="T25" fmla="*/ 107 h 120"/>
                <a:gd name="T26" fmla="*/ 0 w 200"/>
                <a:gd name="T27" fmla="*/ 104 h 120"/>
                <a:gd name="T28" fmla="*/ 0 w 200"/>
                <a:gd name="T29" fmla="*/ 100 h 120"/>
                <a:gd name="T30" fmla="*/ 0 w 200"/>
                <a:gd name="T31" fmla="*/ 20 h 120"/>
                <a:gd name="T32" fmla="*/ 0 w 200"/>
                <a:gd name="T33" fmla="*/ 17 h 120"/>
                <a:gd name="T34" fmla="*/ 2 w 200"/>
                <a:gd name="T35" fmla="*/ 13 h 120"/>
                <a:gd name="T36" fmla="*/ 4 w 200"/>
                <a:gd name="T37" fmla="*/ 9 h 120"/>
                <a:gd name="T38" fmla="*/ 7 w 200"/>
                <a:gd name="T39" fmla="*/ 5 h 120"/>
                <a:gd name="T40" fmla="*/ 9 w 200"/>
                <a:gd name="T41" fmla="*/ 3 h 120"/>
                <a:gd name="T42" fmla="*/ 13 w 200"/>
                <a:gd name="T43" fmla="*/ 2 h 120"/>
                <a:gd name="T44" fmla="*/ 17 w 200"/>
                <a:gd name="T45" fmla="*/ 0 h 120"/>
                <a:gd name="T46" fmla="*/ 20 w 200"/>
                <a:gd name="T47" fmla="*/ 0 h 120"/>
                <a:gd name="T48" fmla="*/ 180 w 200"/>
                <a:gd name="T49" fmla="*/ 0 h 120"/>
                <a:gd name="T50" fmla="*/ 184 w 200"/>
                <a:gd name="T51" fmla="*/ 0 h 120"/>
                <a:gd name="T52" fmla="*/ 188 w 200"/>
                <a:gd name="T53" fmla="*/ 2 h 120"/>
                <a:gd name="T54" fmla="*/ 192 w 200"/>
                <a:gd name="T55" fmla="*/ 3 h 120"/>
                <a:gd name="T56" fmla="*/ 194 w 200"/>
                <a:gd name="T57" fmla="*/ 5 h 120"/>
                <a:gd name="T58" fmla="*/ 197 w 200"/>
                <a:gd name="T59" fmla="*/ 9 h 120"/>
                <a:gd name="T60" fmla="*/ 199 w 200"/>
                <a:gd name="T61" fmla="*/ 13 h 120"/>
                <a:gd name="T62" fmla="*/ 200 w 200"/>
                <a:gd name="T63" fmla="*/ 17 h 120"/>
                <a:gd name="T64" fmla="*/ 200 w 200"/>
                <a:gd name="T65" fmla="*/ 20 h 120"/>
                <a:gd name="T66" fmla="*/ 200 w 200"/>
                <a:gd name="T67" fmla="*/ 100 h 120"/>
                <a:gd name="T68" fmla="*/ 200 w 200"/>
                <a:gd name="T69" fmla="*/ 104 h 120"/>
                <a:gd name="T70" fmla="*/ 199 w 200"/>
                <a:gd name="T71" fmla="*/ 107 h 120"/>
                <a:gd name="T72" fmla="*/ 197 w 200"/>
                <a:gd name="T73" fmla="*/ 111 h 120"/>
                <a:gd name="T74" fmla="*/ 194 w 200"/>
                <a:gd name="T75" fmla="*/ 115 h 120"/>
                <a:gd name="T76" fmla="*/ 192 w 200"/>
                <a:gd name="T77" fmla="*/ 117 h 120"/>
                <a:gd name="T78" fmla="*/ 188 w 200"/>
                <a:gd name="T79" fmla="*/ 118 h 120"/>
                <a:gd name="T80" fmla="*/ 184 w 200"/>
                <a:gd name="T81" fmla="*/ 120 h 120"/>
                <a:gd name="T82" fmla="*/ 180 w 200"/>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 h="120">
                  <a:moveTo>
                    <a:pt x="40" y="80"/>
                  </a:moveTo>
                  <a:lnTo>
                    <a:pt x="161" y="80"/>
                  </a:lnTo>
                  <a:lnTo>
                    <a:pt x="161" y="40"/>
                  </a:lnTo>
                  <a:lnTo>
                    <a:pt x="40" y="40"/>
                  </a:lnTo>
                  <a:lnTo>
                    <a:pt x="40" y="80"/>
                  </a:lnTo>
                  <a:close/>
                  <a:moveTo>
                    <a:pt x="180" y="120"/>
                  </a:moveTo>
                  <a:lnTo>
                    <a:pt x="20" y="120"/>
                  </a:lnTo>
                  <a:lnTo>
                    <a:pt x="17" y="120"/>
                  </a:lnTo>
                  <a:lnTo>
                    <a:pt x="13" y="118"/>
                  </a:lnTo>
                  <a:lnTo>
                    <a:pt x="9" y="117"/>
                  </a:lnTo>
                  <a:lnTo>
                    <a:pt x="7" y="115"/>
                  </a:lnTo>
                  <a:lnTo>
                    <a:pt x="4" y="111"/>
                  </a:lnTo>
                  <a:lnTo>
                    <a:pt x="2" y="107"/>
                  </a:lnTo>
                  <a:lnTo>
                    <a:pt x="0" y="104"/>
                  </a:lnTo>
                  <a:lnTo>
                    <a:pt x="0" y="100"/>
                  </a:lnTo>
                  <a:lnTo>
                    <a:pt x="0" y="20"/>
                  </a:lnTo>
                  <a:lnTo>
                    <a:pt x="0" y="17"/>
                  </a:lnTo>
                  <a:lnTo>
                    <a:pt x="2" y="13"/>
                  </a:lnTo>
                  <a:lnTo>
                    <a:pt x="4" y="9"/>
                  </a:lnTo>
                  <a:lnTo>
                    <a:pt x="7" y="5"/>
                  </a:lnTo>
                  <a:lnTo>
                    <a:pt x="9" y="3"/>
                  </a:lnTo>
                  <a:lnTo>
                    <a:pt x="13" y="2"/>
                  </a:lnTo>
                  <a:lnTo>
                    <a:pt x="17" y="0"/>
                  </a:lnTo>
                  <a:lnTo>
                    <a:pt x="20" y="0"/>
                  </a:lnTo>
                  <a:lnTo>
                    <a:pt x="180" y="0"/>
                  </a:lnTo>
                  <a:lnTo>
                    <a:pt x="184" y="0"/>
                  </a:lnTo>
                  <a:lnTo>
                    <a:pt x="188" y="2"/>
                  </a:lnTo>
                  <a:lnTo>
                    <a:pt x="192" y="3"/>
                  </a:lnTo>
                  <a:lnTo>
                    <a:pt x="194" y="5"/>
                  </a:lnTo>
                  <a:lnTo>
                    <a:pt x="197" y="9"/>
                  </a:lnTo>
                  <a:lnTo>
                    <a:pt x="199" y="13"/>
                  </a:lnTo>
                  <a:lnTo>
                    <a:pt x="200" y="17"/>
                  </a:lnTo>
                  <a:lnTo>
                    <a:pt x="200" y="20"/>
                  </a:lnTo>
                  <a:lnTo>
                    <a:pt x="200" y="100"/>
                  </a:lnTo>
                  <a:lnTo>
                    <a:pt x="200" y="104"/>
                  </a:lnTo>
                  <a:lnTo>
                    <a:pt x="199" y="107"/>
                  </a:lnTo>
                  <a:lnTo>
                    <a:pt x="197" y="111"/>
                  </a:lnTo>
                  <a:lnTo>
                    <a:pt x="194" y="115"/>
                  </a:lnTo>
                  <a:lnTo>
                    <a:pt x="192" y="117"/>
                  </a:lnTo>
                  <a:lnTo>
                    <a:pt x="188" y="118"/>
                  </a:lnTo>
                  <a:lnTo>
                    <a:pt x="184" y="120"/>
                  </a:lnTo>
                  <a:lnTo>
                    <a:pt x="1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26">
              <a:extLst>
                <a:ext uri="{FF2B5EF4-FFF2-40B4-BE49-F238E27FC236}">
                  <a16:creationId xmlns:a16="http://schemas.microsoft.com/office/drawing/2014/main" id="{66C151DE-1059-440B-ABFF-2611ABC861B4}"/>
                </a:ext>
              </a:extLst>
            </p:cNvPr>
            <p:cNvSpPr>
              <a:spLocks noEditPoints="1"/>
            </p:cNvSpPr>
            <p:nvPr/>
          </p:nvSpPr>
          <p:spPr bwMode="auto">
            <a:xfrm>
              <a:off x="871051" y="5686673"/>
              <a:ext cx="221396" cy="73799"/>
            </a:xfrm>
            <a:custGeom>
              <a:avLst/>
              <a:gdLst>
                <a:gd name="T0" fmla="*/ 40 w 361"/>
                <a:gd name="T1" fmla="*/ 81 h 120"/>
                <a:gd name="T2" fmla="*/ 321 w 361"/>
                <a:gd name="T3" fmla="*/ 81 h 120"/>
                <a:gd name="T4" fmla="*/ 321 w 361"/>
                <a:gd name="T5" fmla="*/ 40 h 120"/>
                <a:gd name="T6" fmla="*/ 40 w 361"/>
                <a:gd name="T7" fmla="*/ 40 h 120"/>
                <a:gd name="T8" fmla="*/ 40 w 361"/>
                <a:gd name="T9" fmla="*/ 81 h 120"/>
                <a:gd name="T10" fmla="*/ 341 w 361"/>
                <a:gd name="T11" fmla="*/ 120 h 120"/>
                <a:gd name="T12" fmla="*/ 20 w 361"/>
                <a:gd name="T13" fmla="*/ 120 h 120"/>
                <a:gd name="T14" fmla="*/ 17 w 361"/>
                <a:gd name="T15" fmla="*/ 119 h 120"/>
                <a:gd name="T16" fmla="*/ 13 w 361"/>
                <a:gd name="T17" fmla="*/ 119 h 120"/>
                <a:gd name="T18" fmla="*/ 9 w 361"/>
                <a:gd name="T19" fmla="*/ 117 h 120"/>
                <a:gd name="T20" fmla="*/ 7 w 361"/>
                <a:gd name="T21" fmla="*/ 114 h 120"/>
                <a:gd name="T22" fmla="*/ 4 w 361"/>
                <a:gd name="T23" fmla="*/ 112 h 120"/>
                <a:gd name="T24" fmla="*/ 2 w 361"/>
                <a:gd name="T25" fmla="*/ 108 h 120"/>
                <a:gd name="T26" fmla="*/ 0 w 361"/>
                <a:gd name="T27" fmla="*/ 104 h 120"/>
                <a:gd name="T28" fmla="*/ 0 w 361"/>
                <a:gd name="T29" fmla="*/ 101 h 120"/>
                <a:gd name="T30" fmla="*/ 0 w 361"/>
                <a:gd name="T31" fmla="*/ 20 h 120"/>
                <a:gd name="T32" fmla="*/ 0 w 361"/>
                <a:gd name="T33" fmla="*/ 16 h 120"/>
                <a:gd name="T34" fmla="*/ 2 w 361"/>
                <a:gd name="T35" fmla="*/ 12 h 120"/>
                <a:gd name="T36" fmla="*/ 4 w 361"/>
                <a:gd name="T37" fmla="*/ 9 h 120"/>
                <a:gd name="T38" fmla="*/ 7 w 361"/>
                <a:gd name="T39" fmla="*/ 6 h 120"/>
                <a:gd name="T40" fmla="*/ 9 w 361"/>
                <a:gd name="T41" fmla="*/ 4 h 120"/>
                <a:gd name="T42" fmla="*/ 13 w 361"/>
                <a:gd name="T43" fmla="*/ 1 h 120"/>
                <a:gd name="T44" fmla="*/ 17 w 361"/>
                <a:gd name="T45" fmla="*/ 1 h 120"/>
                <a:gd name="T46" fmla="*/ 20 w 361"/>
                <a:gd name="T47" fmla="*/ 0 h 120"/>
                <a:gd name="T48" fmla="*/ 341 w 361"/>
                <a:gd name="T49" fmla="*/ 0 h 120"/>
                <a:gd name="T50" fmla="*/ 345 w 361"/>
                <a:gd name="T51" fmla="*/ 1 h 120"/>
                <a:gd name="T52" fmla="*/ 348 w 361"/>
                <a:gd name="T53" fmla="*/ 1 h 120"/>
                <a:gd name="T54" fmla="*/ 352 w 361"/>
                <a:gd name="T55" fmla="*/ 4 h 120"/>
                <a:gd name="T56" fmla="*/ 354 w 361"/>
                <a:gd name="T57" fmla="*/ 6 h 120"/>
                <a:gd name="T58" fmla="*/ 357 w 361"/>
                <a:gd name="T59" fmla="*/ 9 h 120"/>
                <a:gd name="T60" fmla="*/ 358 w 361"/>
                <a:gd name="T61" fmla="*/ 12 h 120"/>
                <a:gd name="T62" fmla="*/ 359 w 361"/>
                <a:gd name="T63" fmla="*/ 16 h 120"/>
                <a:gd name="T64" fmla="*/ 361 w 361"/>
                <a:gd name="T65" fmla="*/ 20 h 120"/>
                <a:gd name="T66" fmla="*/ 361 w 361"/>
                <a:gd name="T67" fmla="*/ 101 h 120"/>
                <a:gd name="T68" fmla="*/ 359 w 361"/>
                <a:gd name="T69" fmla="*/ 104 h 120"/>
                <a:gd name="T70" fmla="*/ 358 w 361"/>
                <a:gd name="T71" fmla="*/ 108 h 120"/>
                <a:gd name="T72" fmla="*/ 357 w 361"/>
                <a:gd name="T73" fmla="*/ 112 h 120"/>
                <a:gd name="T74" fmla="*/ 354 w 361"/>
                <a:gd name="T75" fmla="*/ 114 h 120"/>
                <a:gd name="T76" fmla="*/ 352 w 361"/>
                <a:gd name="T77" fmla="*/ 117 h 120"/>
                <a:gd name="T78" fmla="*/ 348 w 361"/>
                <a:gd name="T79" fmla="*/ 119 h 120"/>
                <a:gd name="T80" fmla="*/ 345 w 361"/>
                <a:gd name="T81" fmla="*/ 119 h 120"/>
                <a:gd name="T82" fmla="*/ 341 w 361"/>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120">
                  <a:moveTo>
                    <a:pt x="40" y="81"/>
                  </a:moveTo>
                  <a:lnTo>
                    <a:pt x="321" y="81"/>
                  </a:lnTo>
                  <a:lnTo>
                    <a:pt x="321" y="40"/>
                  </a:lnTo>
                  <a:lnTo>
                    <a:pt x="40" y="40"/>
                  </a:lnTo>
                  <a:lnTo>
                    <a:pt x="40" y="81"/>
                  </a:lnTo>
                  <a:close/>
                  <a:moveTo>
                    <a:pt x="341" y="120"/>
                  </a:moveTo>
                  <a:lnTo>
                    <a:pt x="20" y="120"/>
                  </a:lnTo>
                  <a:lnTo>
                    <a:pt x="17" y="119"/>
                  </a:lnTo>
                  <a:lnTo>
                    <a:pt x="13" y="119"/>
                  </a:lnTo>
                  <a:lnTo>
                    <a:pt x="9" y="117"/>
                  </a:lnTo>
                  <a:lnTo>
                    <a:pt x="7" y="114"/>
                  </a:lnTo>
                  <a:lnTo>
                    <a:pt x="4" y="112"/>
                  </a:lnTo>
                  <a:lnTo>
                    <a:pt x="2" y="108"/>
                  </a:lnTo>
                  <a:lnTo>
                    <a:pt x="0" y="104"/>
                  </a:lnTo>
                  <a:lnTo>
                    <a:pt x="0" y="101"/>
                  </a:lnTo>
                  <a:lnTo>
                    <a:pt x="0" y="20"/>
                  </a:lnTo>
                  <a:lnTo>
                    <a:pt x="0" y="16"/>
                  </a:lnTo>
                  <a:lnTo>
                    <a:pt x="2" y="12"/>
                  </a:lnTo>
                  <a:lnTo>
                    <a:pt x="4" y="9"/>
                  </a:lnTo>
                  <a:lnTo>
                    <a:pt x="7" y="6"/>
                  </a:lnTo>
                  <a:lnTo>
                    <a:pt x="9" y="4"/>
                  </a:lnTo>
                  <a:lnTo>
                    <a:pt x="13" y="1"/>
                  </a:lnTo>
                  <a:lnTo>
                    <a:pt x="17" y="1"/>
                  </a:lnTo>
                  <a:lnTo>
                    <a:pt x="20" y="0"/>
                  </a:lnTo>
                  <a:lnTo>
                    <a:pt x="341" y="0"/>
                  </a:lnTo>
                  <a:lnTo>
                    <a:pt x="345" y="1"/>
                  </a:lnTo>
                  <a:lnTo>
                    <a:pt x="348" y="1"/>
                  </a:lnTo>
                  <a:lnTo>
                    <a:pt x="352" y="4"/>
                  </a:lnTo>
                  <a:lnTo>
                    <a:pt x="354" y="6"/>
                  </a:lnTo>
                  <a:lnTo>
                    <a:pt x="357" y="9"/>
                  </a:lnTo>
                  <a:lnTo>
                    <a:pt x="358" y="12"/>
                  </a:lnTo>
                  <a:lnTo>
                    <a:pt x="359" y="16"/>
                  </a:lnTo>
                  <a:lnTo>
                    <a:pt x="361" y="20"/>
                  </a:lnTo>
                  <a:lnTo>
                    <a:pt x="361" y="101"/>
                  </a:lnTo>
                  <a:lnTo>
                    <a:pt x="359" y="104"/>
                  </a:lnTo>
                  <a:lnTo>
                    <a:pt x="358" y="108"/>
                  </a:lnTo>
                  <a:lnTo>
                    <a:pt x="357" y="112"/>
                  </a:lnTo>
                  <a:lnTo>
                    <a:pt x="354" y="114"/>
                  </a:lnTo>
                  <a:lnTo>
                    <a:pt x="352" y="117"/>
                  </a:lnTo>
                  <a:lnTo>
                    <a:pt x="348" y="119"/>
                  </a:lnTo>
                  <a:lnTo>
                    <a:pt x="345" y="119"/>
                  </a:lnTo>
                  <a:lnTo>
                    <a:pt x="341"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27">
              <a:extLst>
                <a:ext uri="{FF2B5EF4-FFF2-40B4-BE49-F238E27FC236}">
                  <a16:creationId xmlns:a16="http://schemas.microsoft.com/office/drawing/2014/main" id="{2170AD33-5154-4D67-9B07-B4B6E1CF32FC}"/>
                </a:ext>
              </a:extLst>
            </p:cNvPr>
            <p:cNvSpPr>
              <a:spLocks/>
            </p:cNvSpPr>
            <p:nvPr/>
          </p:nvSpPr>
          <p:spPr bwMode="auto">
            <a:xfrm>
              <a:off x="968834" y="5587044"/>
              <a:ext cx="23985" cy="123613"/>
            </a:xfrm>
            <a:custGeom>
              <a:avLst/>
              <a:gdLst>
                <a:gd name="T0" fmla="*/ 20 w 39"/>
                <a:gd name="T1" fmla="*/ 200 h 200"/>
                <a:gd name="T2" fmla="*/ 16 w 39"/>
                <a:gd name="T3" fmla="*/ 200 h 200"/>
                <a:gd name="T4" fmla="*/ 12 w 39"/>
                <a:gd name="T5" fmla="*/ 198 h 200"/>
                <a:gd name="T6" fmla="*/ 8 w 39"/>
                <a:gd name="T7" fmla="*/ 197 h 200"/>
                <a:gd name="T8" fmla="*/ 5 w 39"/>
                <a:gd name="T9" fmla="*/ 195 h 200"/>
                <a:gd name="T10" fmla="*/ 2 w 39"/>
                <a:gd name="T11" fmla="*/ 191 h 200"/>
                <a:gd name="T12" fmla="*/ 1 w 39"/>
                <a:gd name="T13" fmla="*/ 188 h 200"/>
                <a:gd name="T14" fmla="*/ 0 w 39"/>
                <a:gd name="T15" fmla="*/ 185 h 200"/>
                <a:gd name="T16" fmla="*/ 0 w 39"/>
                <a:gd name="T17" fmla="*/ 180 h 200"/>
                <a:gd name="T18" fmla="*/ 0 w 39"/>
                <a:gd name="T19" fmla="*/ 21 h 200"/>
                <a:gd name="T20" fmla="*/ 0 w 39"/>
                <a:gd name="T21" fmla="*/ 16 h 200"/>
                <a:gd name="T22" fmla="*/ 1 w 39"/>
                <a:gd name="T23" fmla="*/ 12 h 200"/>
                <a:gd name="T24" fmla="*/ 2 w 39"/>
                <a:gd name="T25" fmla="*/ 10 h 200"/>
                <a:gd name="T26" fmla="*/ 5 w 39"/>
                <a:gd name="T27" fmla="*/ 6 h 200"/>
                <a:gd name="T28" fmla="*/ 8 w 39"/>
                <a:gd name="T29" fmla="*/ 3 h 200"/>
                <a:gd name="T30" fmla="*/ 12 w 39"/>
                <a:gd name="T31" fmla="*/ 2 h 200"/>
                <a:gd name="T32" fmla="*/ 16 w 39"/>
                <a:gd name="T33" fmla="*/ 1 h 200"/>
                <a:gd name="T34" fmla="*/ 20 w 39"/>
                <a:gd name="T35" fmla="*/ 0 h 200"/>
                <a:gd name="T36" fmla="*/ 23 w 39"/>
                <a:gd name="T37" fmla="*/ 1 h 200"/>
                <a:gd name="T38" fmla="*/ 27 w 39"/>
                <a:gd name="T39" fmla="*/ 2 h 200"/>
                <a:gd name="T40" fmla="*/ 31 w 39"/>
                <a:gd name="T41" fmla="*/ 3 h 200"/>
                <a:gd name="T42" fmla="*/ 33 w 39"/>
                <a:gd name="T43" fmla="*/ 6 h 200"/>
                <a:gd name="T44" fmla="*/ 36 w 39"/>
                <a:gd name="T45" fmla="*/ 10 h 200"/>
                <a:gd name="T46" fmla="*/ 38 w 39"/>
                <a:gd name="T47" fmla="*/ 12 h 200"/>
                <a:gd name="T48" fmla="*/ 39 w 39"/>
                <a:gd name="T49" fmla="*/ 16 h 200"/>
                <a:gd name="T50" fmla="*/ 39 w 39"/>
                <a:gd name="T51" fmla="*/ 21 h 200"/>
                <a:gd name="T52" fmla="*/ 39 w 39"/>
                <a:gd name="T53" fmla="*/ 180 h 200"/>
                <a:gd name="T54" fmla="*/ 39 w 39"/>
                <a:gd name="T55" fmla="*/ 185 h 200"/>
                <a:gd name="T56" fmla="*/ 38 w 39"/>
                <a:gd name="T57" fmla="*/ 188 h 200"/>
                <a:gd name="T58" fmla="*/ 36 w 39"/>
                <a:gd name="T59" fmla="*/ 191 h 200"/>
                <a:gd name="T60" fmla="*/ 33 w 39"/>
                <a:gd name="T61" fmla="*/ 195 h 200"/>
                <a:gd name="T62" fmla="*/ 31 w 39"/>
                <a:gd name="T63" fmla="*/ 197 h 200"/>
                <a:gd name="T64" fmla="*/ 27 w 39"/>
                <a:gd name="T65" fmla="*/ 198 h 200"/>
                <a:gd name="T66" fmla="*/ 23 w 39"/>
                <a:gd name="T67" fmla="*/ 200 h 200"/>
                <a:gd name="T68" fmla="*/ 20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20" y="200"/>
                  </a:moveTo>
                  <a:lnTo>
                    <a:pt x="16" y="200"/>
                  </a:lnTo>
                  <a:lnTo>
                    <a:pt x="12" y="198"/>
                  </a:lnTo>
                  <a:lnTo>
                    <a:pt x="8" y="197"/>
                  </a:lnTo>
                  <a:lnTo>
                    <a:pt x="5" y="195"/>
                  </a:lnTo>
                  <a:lnTo>
                    <a:pt x="2" y="191"/>
                  </a:lnTo>
                  <a:lnTo>
                    <a:pt x="1" y="188"/>
                  </a:lnTo>
                  <a:lnTo>
                    <a:pt x="0" y="185"/>
                  </a:lnTo>
                  <a:lnTo>
                    <a:pt x="0" y="180"/>
                  </a:lnTo>
                  <a:lnTo>
                    <a:pt x="0" y="21"/>
                  </a:lnTo>
                  <a:lnTo>
                    <a:pt x="0" y="16"/>
                  </a:lnTo>
                  <a:lnTo>
                    <a:pt x="1" y="12"/>
                  </a:lnTo>
                  <a:lnTo>
                    <a:pt x="2" y="10"/>
                  </a:lnTo>
                  <a:lnTo>
                    <a:pt x="5" y="6"/>
                  </a:lnTo>
                  <a:lnTo>
                    <a:pt x="8" y="3"/>
                  </a:lnTo>
                  <a:lnTo>
                    <a:pt x="12" y="2"/>
                  </a:lnTo>
                  <a:lnTo>
                    <a:pt x="16" y="1"/>
                  </a:lnTo>
                  <a:lnTo>
                    <a:pt x="20" y="0"/>
                  </a:lnTo>
                  <a:lnTo>
                    <a:pt x="23" y="1"/>
                  </a:lnTo>
                  <a:lnTo>
                    <a:pt x="27" y="2"/>
                  </a:lnTo>
                  <a:lnTo>
                    <a:pt x="31" y="3"/>
                  </a:lnTo>
                  <a:lnTo>
                    <a:pt x="33" y="6"/>
                  </a:lnTo>
                  <a:lnTo>
                    <a:pt x="36" y="10"/>
                  </a:lnTo>
                  <a:lnTo>
                    <a:pt x="38" y="12"/>
                  </a:lnTo>
                  <a:lnTo>
                    <a:pt x="39" y="16"/>
                  </a:lnTo>
                  <a:lnTo>
                    <a:pt x="39" y="21"/>
                  </a:lnTo>
                  <a:lnTo>
                    <a:pt x="39" y="180"/>
                  </a:lnTo>
                  <a:lnTo>
                    <a:pt x="39" y="185"/>
                  </a:lnTo>
                  <a:lnTo>
                    <a:pt x="38" y="188"/>
                  </a:lnTo>
                  <a:lnTo>
                    <a:pt x="36" y="191"/>
                  </a:lnTo>
                  <a:lnTo>
                    <a:pt x="33" y="195"/>
                  </a:lnTo>
                  <a:lnTo>
                    <a:pt x="31" y="197"/>
                  </a:lnTo>
                  <a:lnTo>
                    <a:pt x="27" y="198"/>
                  </a:lnTo>
                  <a:lnTo>
                    <a:pt x="23"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28">
              <a:extLst>
                <a:ext uri="{FF2B5EF4-FFF2-40B4-BE49-F238E27FC236}">
                  <a16:creationId xmlns:a16="http://schemas.microsoft.com/office/drawing/2014/main" id="{FBD5B190-EB53-479F-BF1B-06B0A5216887}"/>
                </a:ext>
              </a:extLst>
            </p:cNvPr>
            <p:cNvSpPr>
              <a:spLocks/>
            </p:cNvSpPr>
            <p:nvPr/>
          </p:nvSpPr>
          <p:spPr bwMode="auto">
            <a:xfrm>
              <a:off x="747438" y="5784456"/>
              <a:ext cx="23985" cy="123613"/>
            </a:xfrm>
            <a:custGeom>
              <a:avLst/>
              <a:gdLst>
                <a:gd name="T0" fmla="*/ 19 w 39"/>
                <a:gd name="T1" fmla="*/ 200 h 200"/>
                <a:gd name="T2" fmla="*/ 16 w 39"/>
                <a:gd name="T3" fmla="*/ 200 h 200"/>
                <a:gd name="T4" fmla="*/ 12 w 39"/>
                <a:gd name="T5" fmla="*/ 199 h 200"/>
                <a:gd name="T6" fmla="*/ 8 w 39"/>
                <a:gd name="T7" fmla="*/ 196 h 200"/>
                <a:gd name="T8" fmla="*/ 6 w 39"/>
                <a:gd name="T9" fmla="*/ 194 h 200"/>
                <a:gd name="T10" fmla="*/ 3 w 39"/>
                <a:gd name="T11" fmla="*/ 191 h 200"/>
                <a:gd name="T12" fmla="*/ 1 w 39"/>
                <a:gd name="T13" fmla="*/ 188 h 200"/>
                <a:gd name="T14" fmla="*/ 0 w 39"/>
                <a:gd name="T15" fmla="*/ 184 h 200"/>
                <a:gd name="T16" fmla="*/ 0 w 39"/>
                <a:gd name="T17" fmla="*/ 180 h 200"/>
                <a:gd name="T18" fmla="*/ 0 w 39"/>
                <a:gd name="T19" fmla="*/ 20 h 200"/>
                <a:gd name="T20" fmla="*/ 0 w 39"/>
                <a:gd name="T21" fmla="*/ 16 h 200"/>
                <a:gd name="T22" fmla="*/ 1 w 39"/>
                <a:gd name="T23" fmla="*/ 13 h 200"/>
                <a:gd name="T24" fmla="*/ 3 w 39"/>
                <a:gd name="T25" fmla="*/ 9 h 200"/>
                <a:gd name="T26" fmla="*/ 6 w 39"/>
                <a:gd name="T27" fmla="*/ 6 h 200"/>
                <a:gd name="T28" fmla="*/ 8 w 39"/>
                <a:gd name="T29" fmla="*/ 4 h 200"/>
                <a:gd name="T30" fmla="*/ 12 w 39"/>
                <a:gd name="T31" fmla="*/ 1 h 200"/>
                <a:gd name="T32" fmla="*/ 16 w 39"/>
                <a:gd name="T33" fmla="*/ 0 h 200"/>
                <a:gd name="T34" fmla="*/ 19 w 39"/>
                <a:gd name="T35" fmla="*/ 0 h 200"/>
                <a:gd name="T36" fmla="*/ 23 w 39"/>
                <a:gd name="T37" fmla="*/ 0 h 200"/>
                <a:gd name="T38" fmla="*/ 27 w 39"/>
                <a:gd name="T39" fmla="*/ 1 h 200"/>
                <a:gd name="T40" fmla="*/ 31 w 39"/>
                <a:gd name="T41" fmla="*/ 4 h 200"/>
                <a:gd name="T42" fmla="*/ 33 w 39"/>
                <a:gd name="T43" fmla="*/ 6 h 200"/>
                <a:gd name="T44" fmla="*/ 36 w 39"/>
                <a:gd name="T45" fmla="*/ 9 h 200"/>
                <a:gd name="T46" fmla="*/ 38 w 39"/>
                <a:gd name="T47" fmla="*/ 13 h 200"/>
                <a:gd name="T48" fmla="*/ 39 w 39"/>
                <a:gd name="T49" fmla="*/ 16 h 200"/>
                <a:gd name="T50" fmla="*/ 39 w 39"/>
                <a:gd name="T51" fmla="*/ 20 h 200"/>
                <a:gd name="T52" fmla="*/ 39 w 39"/>
                <a:gd name="T53" fmla="*/ 180 h 200"/>
                <a:gd name="T54" fmla="*/ 39 w 39"/>
                <a:gd name="T55" fmla="*/ 184 h 200"/>
                <a:gd name="T56" fmla="*/ 38 w 39"/>
                <a:gd name="T57" fmla="*/ 188 h 200"/>
                <a:gd name="T58" fmla="*/ 36 w 39"/>
                <a:gd name="T59" fmla="*/ 191 h 200"/>
                <a:gd name="T60" fmla="*/ 33 w 39"/>
                <a:gd name="T61" fmla="*/ 194 h 200"/>
                <a:gd name="T62" fmla="*/ 31 w 39"/>
                <a:gd name="T63" fmla="*/ 196 h 200"/>
                <a:gd name="T64" fmla="*/ 27 w 39"/>
                <a:gd name="T65" fmla="*/ 199 h 200"/>
                <a:gd name="T66" fmla="*/ 23 w 39"/>
                <a:gd name="T67" fmla="*/ 200 h 200"/>
                <a:gd name="T68" fmla="*/ 19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19" y="200"/>
                  </a:moveTo>
                  <a:lnTo>
                    <a:pt x="16" y="200"/>
                  </a:lnTo>
                  <a:lnTo>
                    <a:pt x="12" y="199"/>
                  </a:lnTo>
                  <a:lnTo>
                    <a:pt x="8" y="196"/>
                  </a:lnTo>
                  <a:lnTo>
                    <a:pt x="6" y="194"/>
                  </a:lnTo>
                  <a:lnTo>
                    <a:pt x="3" y="191"/>
                  </a:lnTo>
                  <a:lnTo>
                    <a:pt x="1" y="188"/>
                  </a:lnTo>
                  <a:lnTo>
                    <a:pt x="0" y="184"/>
                  </a:lnTo>
                  <a:lnTo>
                    <a:pt x="0" y="180"/>
                  </a:lnTo>
                  <a:lnTo>
                    <a:pt x="0" y="20"/>
                  </a:lnTo>
                  <a:lnTo>
                    <a:pt x="0" y="16"/>
                  </a:lnTo>
                  <a:lnTo>
                    <a:pt x="1" y="13"/>
                  </a:lnTo>
                  <a:lnTo>
                    <a:pt x="3" y="9"/>
                  </a:lnTo>
                  <a:lnTo>
                    <a:pt x="6" y="6"/>
                  </a:lnTo>
                  <a:lnTo>
                    <a:pt x="8" y="4"/>
                  </a:lnTo>
                  <a:lnTo>
                    <a:pt x="12" y="1"/>
                  </a:lnTo>
                  <a:lnTo>
                    <a:pt x="16" y="0"/>
                  </a:lnTo>
                  <a:lnTo>
                    <a:pt x="19" y="0"/>
                  </a:lnTo>
                  <a:lnTo>
                    <a:pt x="23" y="0"/>
                  </a:lnTo>
                  <a:lnTo>
                    <a:pt x="27" y="1"/>
                  </a:lnTo>
                  <a:lnTo>
                    <a:pt x="31" y="4"/>
                  </a:lnTo>
                  <a:lnTo>
                    <a:pt x="33" y="6"/>
                  </a:lnTo>
                  <a:lnTo>
                    <a:pt x="36" y="9"/>
                  </a:lnTo>
                  <a:lnTo>
                    <a:pt x="38" y="13"/>
                  </a:lnTo>
                  <a:lnTo>
                    <a:pt x="39" y="16"/>
                  </a:lnTo>
                  <a:lnTo>
                    <a:pt x="39" y="20"/>
                  </a:lnTo>
                  <a:lnTo>
                    <a:pt x="39" y="180"/>
                  </a:lnTo>
                  <a:lnTo>
                    <a:pt x="39" y="184"/>
                  </a:lnTo>
                  <a:lnTo>
                    <a:pt x="38" y="188"/>
                  </a:lnTo>
                  <a:lnTo>
                    <a:pt x="36" y="191"/>
                  </a:lnTo>
                  <a:lnTo>
                    <a:pt x="33" y="194"/>
                  </a:lnTo>
                  <a:lnTo>
                    <a:pt x="31" y="196"/>
                  </a:lnTo>
                  <a:lnTo>
                    <a:pt x="27" y="199"/>
                  </a:lnTo>
                  <a:lnTo>
                    <a:pt x="23" y="200"/>
                  </a:lnTo>
                  <a:lnTo>
                    <a:pt x="19"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29">
              <a:extLst>
                <a:ext uri="{FF2B5EF4-FFF2-40B4-BE49-F238E27FC236}">
                  <a16:creationId xmlns:a16="http://schemas.microsoft.com/office/drawing/2014/main" id="{81F6732C-5DB5-493E-B775-7062B97859A4}"/>
                </a:ext>
              </a:extLst>
            </p:cNvPr>
            <p:cNvSpPr>
              <a:spLocks/>
            </p:cNvSpPr>
            <p:nvPr/>
          </p:nvSpPr>
          <p:spPr bwMode="auto">
            <a:xfrm>
              <a:off x="1166246" y="5784456"/>
              <a:ext cx="23985" cy="123613"/>
            </a:xfrm>
            <a:custGeom>
              <a:avLst/>
              <a:gdLst>
                <a:gd name="T0" fmla="*/ 20 w 40"/>
                <a:gd name="T1" fmla="*/ 200 h 200"/>
                <a:gd name="T2" fmla="*/ 16 w 40"/>
                <a:gd name="T3" fmla="*/ 200 h 200"/>
                <a:gd name="T4" fmla="*/ 12 w 40"/>
                <a:gd name="T5" fmla="*/ 199 h 200"/>
                <a:gd name="T6" fmla="*/ 9 w 40"/>
                <a:gd name="T7" fmla="*/ 196 h 200"/>
                <a:gd name="T8" fmla="*/ 6 w 40"/>
                <a:gd name="T9" fmla="*/ 194 h 200"/>
                <a:gd name="T10" fmla="*/ 4 w 40"/>
                <a:gd name="T11" fmla="*/ 191 h 200"/>
                <a:gd name="T12" fmla="*/ 2 w 40"/>
                <a:gd name="T13" fmla="*/ 188 h 200"/>
                <a:gd name="T14" fmla="*/ 1 w 40"/>
                <a:gd name="T15" fmla="*/ 184 h 200"/>
                <a:gd name="T16" fmla="*/ 0 w 40"/>
                <a:gd name="T17" fmla="*/ 180 h 200"/>
                <a:gd name="T18" fmla="*/ 0 w 40"/>
                <a:gd name="T19" fmla="*/ 20 h 200"/>
                <a:gd name="T20" fmla="*/ 1 w 40"/>
                <a:gd name="T21" fmla="*/ 16 h 200"/>
                <a:gd name="T22" fmla="*/ 2 w 40"/>
                <a:gd name="T23" fmla="*/ 13 h 200"/>
                <a:gd name="T24" fmla="*/ 4 w 40"/>
                <a:gd name="T25" fmla="*/ 9 h 200"/>
                <a:gd name="T26" fmla="*/ 6 w 40"/>
                <a:gd name="T27" fmla="*/ 6 h 200"/>
                <a:gd name="T28" fmla="*/ 9 w 40"/>
                <a:gd name="T29" fmla="*/ 4 h 200"/>
                <a:gd name="T30" fmla="*/ 12 w 40"/>
                <a:gd name="T31" fmla="*/ 1 h 200"/>
                <a:gd name="T32" fmla="*/ 16 w 40"/>
                <a:gd name="T33" fmla="*/ 0 h 200"/>
                <a:gd name="T34" fmla="*/ 20 w 40"/>
                <a:gd name="T35" fmla="*/ 0 h 200"/>
                <a:gd name="T36" fmla="*/ 25 w 40"/>
                <a:gd name="T37" fmla="*/ 0 h 200"/>
                <a:gd name="T38" fmla="*/ 28 w 40"/>
                <a:gd name="T39" fmla="*/ 1 h 200"/>
                <a:gd name="T40" fmla="*/ 31 w 40"/>
                <a:gd name="T41" fmla="*/ 4 h 200"/>
                <a:gd name="T42" fmla="*/ 35 w 40"/>
                <a:gd name="T43" fmla="*/ 6 h 200"/>
                <a:gd name="T44" fmla="*/ 37 w 40"/>
                <a:gd name="T45" fmla="*/ 9 h 200"/>
                <a:gd name="T46" fmla="*/ 38 w 40"/>
                <a:gd name="T47" fmla="*/ 13 h 200"/>
                <a:gd name="T48" fmla="*/ 40 w 40"/>
                <a:gd name="T49" fmla="*/ 16 h 200"/>
                <a:gd name="T50" fmla="*/ 40 w 40"/>
                <a:gd name="T51" fmla="*/ 20 h 200"/>
                <a:gd name="T52" fmla="*/ 40 w 40"/>
                <a:gd name="T53" fmla="*/ 180 h 200"/>
                <a:gd name="T54" fmla="*/ 40 w 40"/>
                <a:gd name="T55" fmla="*/ 184 h 200"/>
                <a:gd name="T56" fmla="*/ 38 w 40"/>
                <a:gd name="T57" fmla="*/ 188 h 200"/>
                <a:gd name="T58" fmla="*/ 37 w 40"/>
                <a:gd name="T59" fmla="*/ 191 h 200"/>
                <a:gd name="T60" fmla="*/ 35 w 40"/>
                <a:gd name="T61" fmla="*/ 194 h 200"/>
                <a:gd name="T62" fmla="*/ 31 w 40"/>
                <a:gd name="T63" fmla="*/ 196 h 200"/>
                <a:gd name="T64" fmla="*/ 28 w 40"/>
                <a:gd name="T65" fmla="*/ 199 h 200"/>
                <a:gd name="T66" fmla="*/ 25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6" y="200"/>
                  </a:lnTo>
                  <a:lnTo>
                    <a:pt x="12" y="199"/>
                  </a:lnTo>
                  <a:lnTo>
                    <a:pt x="9" y="196"/>
                  </a:lnTo>
                  <a:lnTo>
                    <a:pt x="6" y="194"/>
                  </a:lnTo>
                  <a:lnTo>
                    <a:pt x="4" y="191"/>
                  </a:lnTo>
                  <a:lnTo>
                    <a:pt x="2" y="188"/>
                  </a:lnTo>
                  <a:lnTo>
                    <a:pt x="1" y="184"/>
                  </a:lnTo>
                  <a:lnTo>
                    <a:pt x="0" y="180"/>
                  </a:lnTo>
                  <a:lnTo>
                    <a:pt x="0" y="20"/>
                  </a:lnTo>
                  <a:lnTo>
                    <a:pt x="1" y="16"/>
                  </a:lnTo>
                  <a:lnTo>
                    <a:pt x="2" y="13"/>
                  </a:lnTo>
                  <a:lnTo>
                    <a:pt x="4" y="9"/>
                  </a:lnTo>
                  <a:lnTo>
                    <a:pt x="6" y="6"/>
                  </a:lnTo>
                  <a:lnTo>
                    <a:pt x="9" y="4"/>
                  </a:lnTo>
                  <a:lnTo>
                    <a:pt x="12" y="1"/>
                  </a:lnTo>
                  <a:lnTo>
                    <a:pt x="16" y="0"/>
                  </a:lnTo>
                  <a:lnTo>
                    <a:pt x="20" y="0"/>
                  </a:lnTo>
                  <a:lnTo>
                    <a:pt x="25" y="0"/>
                  </a:lnTo>
                  <a:lnTo>
                    <a:pt x="28" y="1"/>
                  </a:lnTo>
                  <a:lnTo>
                    <a:pt x="31" y="4"/>
                  </a:lnTo>
                  <a:lnTo>
                    <a:pt x="35" y="6"/>
                  </a:lnTo>
                  <a:lnTo>
                    <a:pt x="37" y="9"/>
                  </a:lnTo>
                  <a:lnTo>
                    <a:pt x="38" y="13"/>
                  </a:lnTo>
                  <a:lnTo>
                    <a:pt x="40" y="16"/>
                  </a:lnTo>
                  <a:lnTo>
                    <a:pt x="40" y="20"/>
                  </a:lnTo>
                  <a:lnTo>
                    <a:pt x="40" y="180"/>
                  </a:lnTo>
                  <a:lnTo>
                    <a:pt x="40" y="184"/>
                  </a:lnTo>
                  <a:lnTo>
                    <a:pt x="38" y="188"/>
                  </a:lnTo>
                  <a:lnTo>
                    <a:pt x="37" y="191"/>
                  </a:lnTo>
                  <a:lnTo>
                    <a:pt x="35" y="194"/>
                  </a:lnTo>
                  <a:lnTo>
                    <a:pt x="31" y="196"/>
                  </a:lnTo>
                  <a:lnTo>
                    <a:pt x="28" y="199"/>
                  </a:lnTo>
                  <a:lnTo>
                    <a:pt x="25"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30">
              <a:extLst>
                <a:ext uri="{FF2B5EF4-FFF2-40B4-BE49-F238E27FC236}">
                  <a16:creationId xmlns:a16="http://schemas.microsoft.com/office/drawing/2014/main" id="{24AA73C6-BF5F-429E-8396-7E27B9111B37}"/>
                </a:ext>
              </a:extLst>
            </p:cNvPr>
            <p:cNvSpPr>
              <a:spLocks/>
            </p:cNvSpPr>
            <p:nvPr/>
          </p:nvSpPr>
          <p:spPr bwMode="auto">
            <a:xfrm>
              <a:off x="871051" y="5808440"/>
              <a:ext cx="221396" cy="25830"/>
            </a:xfrm>
            <a:custGeom>
              <a:avLst/>
              <a:gdLst>
                <a:gd name="T0" fmla="*/ 341 w 361"/>
                <a:gd name="T1" fmla="*/ 40 h 40"/>
                <a:gd name="T2" fmla="*/ 20 w 361"/>
                <a:gd name="T3" fmla="*/ 40 h 40"/>
                <a:gd name="T4" fmla="*/ 17 w 361"/>
                <a:gd name="T5" fmla="*/ 40 h 40"/>
                <a:gd name="T6" fmla="*/ 13 w 361"/>
                <a:gd name="T7" fmla="*/ 38 h 40"/>
                <a:gd name="T8" fmla="*/ 9 w 361"/>
                <a:gd name="T9" fmla="*/ 37 h 40"/>
                <a:gd name="T10" fmla="*/ 7 w 361"/>
                <a:gd name="T11" fmla="*/ 35 h 40"/>
                <a:gd name="T12" fmla="*/ 4 w 361"/>
                <a:gd name="T13" fmla="*/ 31 h 40"/>
                <a:gd name="T14" fmla="*/ 2 w 361"/>
                <a:gd name="T15" fmla="*/ 28 h 40"/>
                <a:gd name="T16" fmla="*/ 0 w 361"/>
                <a:gd name="T17" fmla="*/ 24 h 40"/>
                <a:gd name="T18" fmla="*/ 0 w 361"/>
                <a:gd name="T19" fmla="*/ 20 h 40"/>
                <a:gd name="T20" fmla="*/ 0 w 361"/>
                <a:gd name="T21" fmla="*/ 16 h 40"/>
                <a:gd name="T22" fmla="*/ 2 w 361"/>
                <a:gd name="T23" fmla="*/ 12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2 h 40"/>
                <a:gd name="T50" fmla="*/ 359 w 361"/>
                <a:gd name="T51" fmla="*/ 16 h 40"/>
                <a:gd name="T52" fmla="*/ 361 w 361"/>
                <a:gd name="T53" fmla="*/ 20 h 40"/>
                <a:gd name="T54" fmla="*/ 359 w 361"/>
                <a:gd name="T55" fmla="*/ 24 h 40"/>
                <a:gd name="T56" fmla="*/ 358 w 361"/>
                <a:gd name="T57" fmla="*/ 28 h 40"/>
                <a:gd name="T58" fmla="*/ 357 w 361"/>
                <a:gd name="T59" fmla="*/ 31 h 40"/>
                <a:gd name="T60" fmla="*/ 354 w 361"/>
                <a:gd name="T61" fmla="*/ 35 h 40"/>
                <a:gd name="T62" fmla="*/ 352 w 361"/>
                <a:gd name="T63" fmla="*/ 37 h 40"/>
                <a:gd name="T64" fmla="*/ 348 w 361"/>
                <a:gd name="T65" fmla="*/ 38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8"/>
                  </a:lnTo>
                  <a:lnTo>
                    <a:pt x="9" y="37"/>
                  </a:lnTo>
                  <a:lnTo>
                    <a:pt x="7" y="35"/>
                  </a:lnTo>
                  <a:lnTo>
                    <a:pt x="4" y="31"/>
                  </a:lnTo>
                  <a:lnTo>
                    <a:pt x="2" y="28"/>
                  </a:lnTo>
                  <a:lnTo>
                    <a:pt x="0" y="24"/>
                  </a:lnTo>
                  <a:lnTo>
                    <a:pt x="0" y="20"/>
                  </a:lnTo>
                  <a:lnTo>
                    <a:pt x="0" y="16"/>
                  </a:lnTo>
                  <a:lnTo>
                    <a:pt x="2" y="12"/>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2"/>
                  </a:lnTo>
                  <a:lnTo>
                    <a:pt x="359" y="16"/>
                  </a:lnTo>
                  <a:lnTo>
                    <a:pt x="361" y="20"/>
                  </a:lnTo>
                  <a:lnTo>
                    <a:pt x="359" y="24"/>
                  </a:lnTo>
                  <a:lnTo>
                    <a:pt x="358" y="28"/>
                  </a:lnTo>
                  <a:lnTo>
                    <a:pt x="357" y="31"/>
                  </a:lnTo>
                  <a:lnTo>
                    <a:pt x="354" y="35"/>
                  </a:lnTo>
                  <a:lnTo>
                    <a:pt x="352" y="37"/>
                  </a:lnTo>
                  <a:lnTo>
                    <a:pt x="348" y="38"/>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31">
              <a:extLst>
                <a:ext uri="{FF2B5EF4-FFF2-40B4-BE49-F238E27FC236}">
                  <a16:creationId xmlns:a16="http://schemas.microsoft.com/office/drawing/2014/main" id="{3DDB219B-0030-48B6-91B9-04B360E9E172}"/>
                </a:ext>
              </a:extLst>
            </p:cNvPr>
            <p:cNvSpPr>
              <a:spLocks/>
            </p:cNvSpPr>
            <p:nvPr/>
          </p:nvSpPr>
          <p:spPr bwMode="auto">
            <a:xfrm>
              <a:off x="871051" y="5882239"/>
              <a:ext cx="221396" cy="25830"/>
            </a:xfrm>
            <a:custGeom>
              <a:avLst/>
              <a:gdLst>
                <a:gd name="T0" fmla="*/ 341 w 361"/>
                <a:gd name="T1" fmla="*/ 40 h 40"/>
                <a:gd name="T2" fmla="*/ 20 w 361"/>
                <a:gd name="T3" fmla="*/ 40 h 40"/>
                <a:gd name="T4" fmla="*/ 17 w 361"/>
                <a:gd name="T5" fmla="*/ 40 h 40"/>
                <a:gd name="T6" fmla="*/ 13 w 361"/>
                <a:gd name="T7" fmla="*/ 39 h 40"/>
                <a:gd name="T8" fmla="*/ 9 w 361"/>
                <a:gd name="T9" fmla="*/ 36 h 40"/>
                <a:gd name="T10" fmla="*/ 7 w 361"/>
                <a:gd name="T11" fmla="*/ 34 h 40"/>
                <a:gd name="T12" fmla="*/ 4 w 361"/>
                <a:gd name="T13" fmla="*/ 31 h 40"/>
                <a:gd name="T14" fmla="*/ 2 w 361"/>
                <a:gd name="T15" fmla="*/ 28 h 40"/>
                <a:gd name="T16" fmla="*/ 0 w 361"/>
                <a:gd name="T17" fmla="*/ 24 h 40"/>
                <a:gd name="T18" fmla="*/ 0 w 361"/>
                <a:gd name="T19" fmla="*/ 20 h 40"/>
                <a:gd name="T20" fmla="*/ 0 w 361"/>
                <a:gd name="T21" fmla="*/ 17 h 40"/>
                <a:gd name="T22" fmla="*/ 2 w 361"/>
                <a:gd name="T23" fmla="*/ 13 h 40"/>
                <a:gd name="T24" fmla="*/ 4 w 361"/>
                <a:gd name="T25" fmla="*/ 9 h 40"/>
                <a:gd name="T26" fmla="*/ 7 w 361"/>
                <a:gd name="T27" fmla="*/ 5 h 40"/>
                <a:gd name="T28" fmla="*/ 9 w 361"/>
                <a:gd name="T29" fmla="*/ 3 h 40"/>
                <a:gd name="T30" fmla="*/ 13 w 361"/>
                <a:gd name="T31" fmla="*/ 2 h 40"/>
                <a:gd name="T32" fmla="*/ 17 w 361"/>
                <a:gd name="T33" fmla="*/ 0 h 40"/>
                <a:gd name="T34" fmla="*/ 20 w 361"/>
                <a:gd name="T35" fmla="*/ 0 h 40"/>
                <a:gd name="T36" fmla="*/ 341 w 361"/>
                <a:gd name="T37" fmla="*/ 0 h 40"/>
                <a:gd name="T38" fmla="*/ 345 w 361"/>
                <a:gd name="T39" fmla="*/ 0 h 40"/>
                <a:gd name="T40" fmla="*/ 348 w 361"/>
                <a:gd name="T41" fmla="*/ 2 h 40"/>
                <a:gd name="T42" fmla="*/ 352 w 361"/>
                <a:gd name="T43" fmla="*/ 3 h 40"/>
                <a:gd name="T44" fmla="*/ 354 w 361"/>
                <a:gd name="T45" fmla="*/ 5 h 40"/>
                <a:gd name="T46" fmla="*/ 357 w 361"/>
                <a:gd name="T47" fmla="*/ 9 h 40"/>
                <a:gd name="T48" fmla="*/ 358 w 361"/>
                <a:gd name="T49" fmla="*/ 13 h 40"/>
                <a:gd name="T50" fmla="*/ 359 w 361"/>
                <a:gd name="T51" fmla="*/ 17 h 40"/>
                <a:gd name="T52" fmla="*/ 361 w 361"/>
                <a:gd name="T53" fmla="*/ 20 h 40"/>
                <a:gd name="T54" fmla="*/ 359 w 361"/>
                <a:gd name="T55" fmla="*/ 24 h 40"/>
                <a:gd name="T56" fmla="*/ 358 w 361"/>
                <a:gd name="T57" fmla="*/ 28 h 40"/>
                <a:gd name="T58" fmla="*/ 357 w 361"/>
                <a:gd name="T59" fmla="*/ 31 h 40"/>
                <a:gd name="T60" fmla="*/ 354 w 361"/>
                <a:gd name="T61" fmla="*/ 34 h 40"/>
                <a:gd name="T62" fmla="*/ 352 w 361"/>
                <a:gd name="T63" fmla="*/ 36 h 40"/>
                <a:gd name="T64" fmla="*/ 348 w 361"/>
                <a:gd name="T65" fmla="*/ 39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9"/>
                  </a:lnTo>
                  <a:lnTo>
                    <a:pt x="9" y="36"/>
                  </a:lnTo>
                  <a:lnTo>
                    <a:pt x="7" y="34"/>
                  </a:lnTo>
                  <a:lnTo>
                    <a:pt x="4" y="31"/>
                  </a:lnTo>
                  <a:lnTo>
                    <a:pt x="2" y="28"/>
                  </a:lnTo>
                  <a:lnTo>
                    <a:pt x="0" y="24"/>
                  </a:lnTo>
                  <a:lnTo>
                    <a:pt x="0" y="20"/>
                  </a:lnTo>
                  <a:lnTo>
                    <a:pt x="0" y="17"/>
                  </a:lnTo>
                  <a:lnTo>
                    <a:pt x="2" y="13"/>
                  </a:lnTo>
                  <a:lnTo>
                    <a:pt x="4" y="9"/>
                  </a:lnTo>
                  <a:lnTo>
                    <a:pt x="7" y="5"/>
                  </a:lnTo>
                  <a:lnTo>
                    <a:pt x="9" y="3"/>
                  </a:lnTo>
                  <a:lnTo>
                    <a:pt x="13" y="2"/>
                  </a:lnTo>
                  <a:lnTo>
                    <a:pt x="17" y="0"/>
                  </a:lnTo>
                  <a:lnTo>
                    <a:pt x="20" y="0"/>
                  </a:lnTo>
                  <a:lnTo>
                    <a:pt x="341" y="0"/>
                  </a:lnTo>
                  <a:lnTo>
                    <a:pt x="345" y="0"/>
                  </a:lnTo>
                  <a:lnTo>
                    <a:pt x="348" y="2"/>
                  </a:lnTo>
                  <a:lnTo>
                    <a:pt x="352" y="3"/>
                  </a:lnTo>
                  <a:lnTo>
                    <a:pt x="354" y="5"/>
                  </a:lnTo>
                  <a:lnTo>
                    <a:pt x="357" y="9"/>
                  </a:lnTo>
                  <a:lnTo>
                    <a:pt x="358" y="13"/>
                  </a:lnTo>
                  <a:lnTo>
                    <a:pt x="359" y="17"/>
                  </a:lnTo>
                  <a:lnTo>
                    <a:pt x="361" y="20"/>
                  </a:lnTo>
                  <a:lnTo>
                    <a:pt x="359" y="24"/>
                  </a:lnTo>
                  <a:lnTo>
                    <a:pt x="358" y="28"/>
                  </a:lnTo>
                  <a:lnTo>
                    <a:pt x="357" y="31"/>
                  </a:lnTo>
                  <a:lnTo>
                    <a:pt x="354" y="34"/>
                  </a:lnTo>
                  <a:lnTo>
                    <a:pt x="352" y="36"/>
                  </a:lnTo>
                  <a:lnTo>
                    <a:pt x="348" y="39"/>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32">
              <a:extLst>
                <a:ext uri="{FF2B5EF4-FFF2-40B4-BE49-F238E27FC236}">
                  <a16:creationId xmlns:a16="http://schemas.microsoft.com/office/drawing/2014/main" id="{C0FF3F62-65DD-4DDE-90F1-5877F0FD1849}"/>
                </a:ext>
              </a:extLst>
            </p:cNvPr>
            <p:cNvSpPr>
              <a:spLocks/>
            </p:cNvSpPr>
            <p:nvPr/>
          </p:nvSpPr>
          <p:spPr bwMode="auto">
            <a:xfrm>
              <a:off x="871051" y="5956038"/>
              <a:ext cx="221396" cy="23985"/>
            </a:xfrm>
            <a:custGeom>
              <a:avLst/>
              <a:gdLst>
                <a:gd name="T0" fmla="*/ 341 w 361"/>
                <a:gd name="T1" fmla="*/ 39 h 39"/>
                <a:gd name="T2" fmla="*/ 20 w 361"/>
                <a:gd name="T3" fmla="*/ 39 h 39"/>
                <a:gd name="T4" fmla="*/ 17 w 361"/>
                <a:gd name="T5" fmla="*/ 39 h 39"/>
                <a:gd name="T6" fmla="*/ 13 w 361"/>
                <a:gd name="T7" fmla="*/ 38 h 39"/>
                <a:gd name="T8" fmla="*/ 9 w 361"/>
                <a:gd name="T9" fmla="*/ 37 h 39"/>
                <a:gd name="T10" fmla="*/ 7 w 361"/>
                <a:gd name="T11" fmla="*/ 34 h 39"/>
                <a:gd name="T12" fmla="*/ 4 w 361"/>
                <a:gd name="T13" fmla="*/ 31 h 39"/>
                <a:gd name="T14" fmla="*/ 2 w 361"/>
                <a:gd name="T15" fmla="*/ 28 h 39"/>
                <a:gd name="T16" fmla="*/ 0 w 361"/>
                <a:gd name="T17" fmla="*/ 25 h 39"/>
                <a:gd name="T18" fmla="*/ 0 w 361"/>
                <a:gd name="T19" fmla="*/ 20 h 39"/>
                <a:gd name="T20" fmla="*/ 0 w 361"/>
                <a:gd name="T21" fmla="*/ 16 h 39"/>
                <a:gd name="T22" fmla="*/ 2 w 361"/>
                <a:gd name="T23" fmla="*/ 12 h 39"/>
                <a:gd name="T24" fmla="*/ 4 w 361"/>
                <a:gd name="T25" fmla="*/ 8 h 39"/>
                <a:gd name="T26" fmla="*/ 7 w 361"/>
                <a:gd name="T27" fmla="*/ 6 h 39"/>
                <a:gd name="T28" fmla="*/ 9 w 361"/>
                <a:gd name="T29" fmla="*/ 3 h 39"/>
                <a:gd name="T30" fmla="*/ 13 w 361"/>
                <a:gd name="T31" fmla="*/ 2 h 39"/>
                <a:gd name="T32" fmla="*/ 17 w 361"/>
                <a:gd name="T33" fmla="*/ 1 h 39"/>
                <a:gd name="T34" fmla="*/ 20 w 361"/>
                <a:gd name="T35" fmla="*/ 0 h 39"/>
                <a:gd name="T36" fmla="*/ 341 w 361"/>
                <a:gd name="T37" fmla="*/ 0 h 39"/>
                <a:gd name="T38" fmla="*/ 345 w 361"/>
                <a:gd name="T39" fmla="*/ 1 h 39"/>
                <a:gd name="T40" fmla="*/ 348 w 361"/>
                <a:gd name="T41" fmla="*/ 2 h 39"/>
                <a:gd name="T42" fmla="*/ 352 w 361"/>
                <a:gd name="T43" fmla="*/ 3 h 39"/>
                <a:gd name="T44" fmla="*/ 354 w 361"/>
                <a:gd name="T45" fmla="*/ 6 h 39"/>
                <a:gd name="T46" fmla="*/ 357 w 361"/>
                <a:gd name="T47" fmla="*/ 8 h 39"/>
                <a:gd name="T48" fmla="*/ 358 w 361"/>
                <a:gd name="T49" fmla="*/ 12 h 39"/>
                <a:gd name="T50" fmla="*/ 359 w 361"/>
                <a:gd name="T51" fmla="*/ 16 h 39"/>
                <a:gd name="T52" fmla="*/ 361 w 361"/>
                <a:gd name="T53" fmla="*/ 20 h 39"/>
                <a:gd name="T54" fmla="*/ 359 w 361"/>
                <a:gd name="T55" fmla="*/ 25 h 39"/>
                <a:gd name="T56" fmla="*/ 358 w 361"/>
                <a:gd name="T57" fmla="*/ 28 h 39"/>
                <a:gd name="T58" fmla="*/ 357 w 361"/>
                <a:gd name="T59" fmla="*/ 31 h 39"/>
                <a:gd name="T60" fmla="*/ 354 w 361"/>
                <a:gd name="T61" fmla="*/ 34 h 39"/>
                <a:gd name="T62" fmla="*/ 352 w 361"/>
                <a:gd name="T63" fmla="*/ 37 h 39"/>
                <a:gd name="T64" fmla="*/ 348 w 361"/>
                <a:gd name="T65" fmla="*/ 38 h 39"/>
                <a:gd name="T66" fmla="*/ 345 w 361"/>
                <a:gd name="T67" fmla="*/ 39 h 39"/>
                <a:gd name="T68" fmla="*/ 341 w 361"/>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9">
                  <a:moveTo>
                    <a:pt x="341" y="39"/>
                  </a:moveTo>
                  <a:lnTo>
                    <a:pt x="20" y="39"/>
                  </a:lnTo>
                  <a:lnTo>
                    <a:pt x="17" y="39"/>
                  </a:lnTo>
                  <a:lnTo>
                    <a:pt x="13" y="38"/>
                  </a:lnTo>
                  <a:lnTo>
                    <a:pt x="9" y="37"/>
                  </a:lnTo>
                  <a:lnTo>
                    <a:pt x="7" y="34"/>
                  </a:lnTo>
                  <a:lnTo>
                    <a:pt x="4" y="31"/>
                  </a:lnTo>
                  <a:lnTo>
                    <a:pt x="2" y="28"/>
                  </a:lnTo>
                  <a:lnTo>
                    <a:pt x="0" y="25"/>
                  </a:lnTo>
                  <a:lnTo>
                    <a:pt x="0" y="20"/>
                  </a:lnTo>
                  <a:lnTo>
                    <a:pt x="0" y="16"/>
                  </a:lnTo>
                  <a:lnTo>
                    <a:pt x="2" y="12"/>
                  </a:lnTo>
                  <a:lnTo>
                    <a:pt x="4" y="8"/>
                  </a:lnTo>
                  <a:lnTo>
                    <a:pt x="7" y="6"/>
                  </a:lnTo>
                  <a:lnTo>
                    <a:pt x="9" y="3"/>
                  </a:lnTo>
                  <a:lnTo>
                    <a:pt x="13" y="2"/>
                  </a:lnTo>
                  <a:lnTo>
                    <a:pt x="17" y="1"/>
                  </a:lnTo>
                  <a:lnTo>
                    <a:pt x="20" y="0"/>
                  </a:lnTo>
                  <a:lnTo>
                    <a:pt x="341" y="0"/>
                  </a:lnTo>
                  <a:lnTo>
                    <a:pt x="345" y="1"/>
                  </a:lnTo>
                  <a:lnTo>
                    <a:pt x="348" y="2"/>
                  </a:lnTo>
                  <a:lnTo>
                    <a:pt x="352" y="3"/>
                  </a:lnTo>
                  <a:lnTo>
                    <a:pt x="354" y="6"/>
                  </a:lnTo>
                  <a:lnTo>
                    <a:pt x="357" y="8"/>
                  </a:lnTo>
                  <a:lnTo>
                    <a:pt x="358" y="12"/>
                  </a:lnTo>
                  <a:lnTo>
                    <a:pt x="359" y="16"/>
                  </a:lnTo>
                  <a:lnTo>
                    <a:pt x="361" y="20"/>
                  </a:lnTo>
                  <a:lnTo>
                    <a:pt x="359" y="25"/>
                  </a:lnTo>
                  <a:lnTo>
                    <a:pt x="358" y="28"/>
                  </a:lnTo>
                  <a:lnTo>
                    <a:pt x="357" y="31"/>
                  </a:lnTo>
                  <a:lnTo>
                    <a:pt x="354" y="34"/>
                  </a:lnTo>
                  <a:lnTo>
                    <a:pt x="352" y="37"/>
                  </a:lnTo>
                  <a:lnTo>
                    <a:pt x="348" y="38"/>
                  </a:lnTo>
                  <a:lnTo>
                    <a:pt x="345" y="39"/>
                  </a:lnTo>
                  <a:lnTo>
                    <a:pt x="341"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33">
              <a:extLst>
                <a:ext uri="{FF2B5EF4-FFF2-40B4-BE49-F238E27FC236}">
                  <a16:creationId xmlns:a16="http://schemas.microsoft.com/office/drawing/2014/main" id="{EE31C8AA-8AE5-4A6B-9D95-1C8E2282ECA6}"/>
                </a:ext>
              </a:extLst>
            </p:cNvPr>
            <p:cNvSpPr>
              <a:spLocks/>
            </p:cNvSpPr>
            <p:nvPr/>
          </p:nvSpPr>
          <p:spPr bwMode="auto">
            <a:xfrm>
              <a:off x="871051" y="6029837"/>
              <a:ext cx="221396" cy="25830"/>
            </a:xfrm>
            <a:custGeom>
              <a:avLst/>
              <a:gdLst>
                <a:gd name="T0" fmla="*/ 341 w 361"/>
                <a:gd name="T1" fmla="*/ 40 h 40"/>
                <a:gd name="T2" fmla="*/ 20 w 361"/>
                <a:gd name="T3" fmla="*/ 40 h 40"/>
                <a:gd name="T4" fmla="*/ 17 w 361"/>
                <a:gd name="T5" fmla="*/ 40 h 40"/>
                <a:gd name="T6" fmla="*/ 13 w 361"/>
                <a:gd name="T7" fmla="*/ 39 h 40"/>
                <a:gd name="T8" fmla="*/ 9 w 361"/>
                <a:gd name="T9" fmla="*/ 36 h 40"/>
                <a:gd name="T10" fmla="*/ 7 w 361"/>
                <a:gd name="T11" fmla="*/ 34 h 40"/>
                <a:gd name="T12" fmla="*/ 4 w 361"/>
                <a:gd name="T13" fmla="*/ 31 h 40"/>
                <a:gd name="T14" fmla="*/ 2 w 361"/>
                <a:gd name="T15" fmla="*/ 28 h 40"/>
                <a:gd name="T16" fmla="*/ 0 w 361"/>
                <a:gd name="T17" fmla="*/ 24 h 40"/>
                <a:gd name="T18" fmla="*/ 0 w 361"/>
                <a:gd name="T19" fmla="*/ 20 h 40"/>
                <a:gd name="T20" fmla="*/ 0 w 361"/>
                <a:gd name="T21" fmla="*/ 16 h 40"/>
                <a:gd name="T22" fmla="*/ 2 w 361"/>
                <a:gd name="T23" fmla="*/ 13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3 h 40"/>
                <a:gd name="T50" fmla="*/ 359 w 361"/>
                <a:gd name="T51" fmla="*/ 16 h 40"/>
                <a:gd name="T52" fmla="*/ 361 w 361"/>
                <a:gd name="T53" fmla="*/ 20 h 40"/>
                <a:gd name="T54" fmla="*/ 359 w 361"/>
                <a:gd name="T55" fmla="*/ 24 h 40"/>
                <a:gd name="T56" fmla="*/ 358 w 361"/>
                <a:gd name="T57" fmla="*/ 28 h 40"/>
                <a:gd name="T58" fmla="*/ 357 w 361"/>
                <a:gd name="T59" fmla="*/ 31 h 40"/>
                <a:gd name="T60" fmla="*/ 354 w 361"/>
                <a:gd name="T61" fmla="*/ 34 h 40"/>
                <a:gd name="T62" fmla="*/ 352 w 361"/>
                <a:gd name="T63" fmla="*/ 36 h 40"/>
                <a:gd name="T64" fmla="*/ 348 w 361"/>
                <a:gd name="T65" fmla="*/ 39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9"/>
                  </a:lnTo>
                  <a:lnTo>
                    <a:pt x="9" y="36"/>
                  </a:lnTo>
                  <a:lnTo>
                    <a:pt x="7" y="34"/>
                  </a:lnTo>
                  <a:lnTo>
                    <a:pt x="4" y="31"/>
                  </a:lnTo>
                  <a:lnTo>
                    <a:pt x="2" y="28"/>
                  </a:lnTo>
                  <a:lnTo>
                    <a:pt x="0" y="24"/>
                  </a:lnTo>
                  <a:lnTo>
                    <a:pt x="0" y="20"/>
                  </a:lnTo>
                  <a:lnTo>
                    <a:pt x="0" y="16"/>
                  </a:lnTo>
                  <a:lnTo>
                    <a:pt x="2" y="13"/>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3"/>
                  </a:lnTo>
                  <a:lnTo>
                    <a:pt x="359" y="16"/>
                  </a:lnTo>
                  <a:lnTo>
                    <a:pt x="361" y="20"/>
                  </a:lnTo>
                  <a:lnTo>
                    <a:pt x="359" y="24"/>
                  </a:lnTo>
                  <a:lnTo>
                    <a:pt x="358" y="28"/>
                  </a:lnTo>
                  <a:lnTo>
                    <a:pt x="357" y="31"/>
                  </a:lnTo>
                  <a:lnTo>
                    <a:pt x="354" y="34"/>
                  </a:lnTo>
                  <a:lnTo>
                    <a:pt x="352" y="36"/>
                  </a:lnTo>
                  <a:lnTo>
                    <a:pt x="348" y="39"/>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34">
              <a:extLst>
                <a:ext uri="{FF2B5EF4-FFF2-40B4-BE49-F238E27FC236}">
                  <a16:creationId xmlns:a16="http://schemas.microsoft.com/office/drawing/2014/main" id="{F10498A9-838A-4B43-B75D-ACC36053CE3D}"/>
                </a:ext>
              </a:extLst>
            </p:cNvPr>
            <p:cNvSpPr>
              <a:spLocks/>
            </p:cNvSpPr>
            <p:nvPr/>
          </p:nvSpPr>
          <p:spPr bwMode="auto">
            <a:xfrm>
              <a:off x="871051" y="6103635"/>
              <a:ext cx="221396" cy="25830"/>
            </a:xfrm>
            <a:custGeom>
              <a:avLst/>
              <a:gdLst>
                <a:gd name="T0" fmla="*/ 341 w 361"/>
                <a:gd name="T1" fmla="*/ 41 h 41"/>
                <a:gd name="T2" fmla="*/ 20 w 361"/>
                <a:gd name="T3" fmla="*/ 41 h 41"/>
                <a:gd name="T4" fmla="*/ 17 w 361"/>
                <a:gd name="T5" fmla="*/ 40 h 41"/>
                <a:gd name="T6" fmla="*/ 13 w 361"/>
                <a:gd name="T7" fmla="*/ 39 h 41"/>
                <a:gd name="T8" fmla="*/ 9 w 361"/>
                <a:gd name="T9" fmla="*/ 38 h 41"/>
                <a:gd name="T10" fmla="*/ 7 w 361"/>
                <a:gd name="T11" fmla="*/ 35 h 41"/>
                <a:gd name="T12" fmla="*/ 4 w 361"/>
                <a:gd name="T13" fmla="*/ 33 h 41"/>
                <a:gd name="T14" fmla="*/ 2 w 361"/>
                <a:gd name="T15" fmla="*/ 29 h 41"/>
                <a:gd name="T16" fmla="*/ 0 w 361"/>
                <a:gd name="T17" fmla="*/ 25 h 41"/>
                <a:gd name="T18" fmla="*/ 0 w 361"/>
                <a:gd name="T19" fmla="*/ 22 h 41"/>
                <a:gd name="T20" fmla="*/ 0 w 361"/>
                <a:gd name="T21" fmla="*/ 17 h 41"/>
                <a:gd name="T22" fmla="*/ 2 w 361"/>
                <a:gd name="T23" fmla="*/ 13 h 41"/>
                <a:gd name="T24" fmla="*/ 4 w 361"/>
                <a:gd name="T25" fmla="*/ 10 h 41"/>
                <a:gd name="T26" fmla="*/ 7 w 361"/>
                <a:gd name="T27" fmla="*/ 7 h 41"/>
                <a:gd name="T28" fmla="*/ 9 w 361"/>
                <a:gd name="T29" fmla="*/ 4 h 41"/>
                <a:gd name="T30" fmla="*/ 13 w 361"/>
                <a:gd name="T31" fmla="*/ 3 h 41"/>
                <a:gd name="T32" fmla="*/ 17 w 361"/>
                <a:gd name="T33" fmla="*/ 2 h 41"/>
                <a:gd name="T34" fmla="*/ 20 w 361"/>
                <a:gd name="T35" fmla="*/ 0 h 41"/>
                <a:gd name="T36" fmla="*/ 341 w 361"/>
                <a:gd name="T37" fmla="*/ 0 h 41"/>
                <a:gd name="T38" fmla="*/ 345 w 361"/>
                <a:gd name="T39" fmla="*/ 2 h 41"/>
                <a:gd name="T40" fmla="*/ 348 w 361"/>
                <a:gd name="T41" fmla="*/ 3 h 41"/>
                <a:gd name="T42" fmla="*/ 352 w 361"/>
                <a:gd name="T43" fmla="*/ 4 h 41"/>
                <a:gd name="T44" fmla="*/ 354 w 361"/>
                <a:gd name="T45" fmla="*/ 7 h 41"/>
                <a:gd name="T46" fmla="*/ 357 w 361"/>
                <a:gd name="T47" fmla="*/ 10 h 41"/>
                <a:gd name="T48" fmla="*/ 358 w 361"/>
                <a:gd name="T49" fmla="*/ 13 h 41"/>
                <a:gd name="T50" fmla="*/ 359 w 361"/>
                <a:gd name="T51" fmla="*/ 17 h 41"/>
                <a:gd name="T52" fmla="*/ 361 w 361"/>
                <a:gd name="T53" fmla="*/ 22 h 41"/>
                <a:gd name="T54" fmla="*/ 359 w 361"/>
                <a:gd name="T55" fmla="*/ 25 h 41"/>
                <a:gd name="T56" fmla="*/ 358 w 361"/>
                <a:gd name="T57" fmla="*/ 29 h 41"/>
                <a:gd name="T58" fmla="*/ 357 w 361"/>
                <a:gd name="T59" fmla="*/ 33 h 41"/>
                <a:gd name="T60" fmla="*/ 354 w 361"/>
                <a:gd name="T61" fmla="*/ 35 h 41"/>
                <a:gd name="T62" fmla="*/ 352 w 361"/>
                <a:gd name="T63" fmla="*/ 38 h 41"/>
                <a:gd name="T64" fmla="*/ 348 w 361"/>
                <a:gd name="T65" fmla="*/ 39 h 41"/>
                <a:gd name="T66" fmla="*/ 345 w 361"/>
                <a:gd name="T67" fmla="*/ 40 h 41"/>
                <a:gd name="T68" fmla="*/ 341 w 361"/>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1">
                  <a:moveTo>
                    <a:pt x="341" y="41"/>
                  </a:moveTo>
                  <a:lnTo>
                    <a:pt x="20" y="41"/>
                  </a:lnTo>
                  <a:lnTo>
                    <a:pt x="17" y="40"/>
                  </a:lnTo>
                  <a:lnTo>
                    <a:pt x="13" y="39"/>
                  </a:lnTo>
                  <a:lnTo>
                    <a:pt x="9" y="38"/>
                  </a:lnTo>
                  <a:lnTo>
                    <a:pt x="7" y="35"/>
                  </a:lnTo>
                  <a:lnTo>
                    <a:pt x="4" y="33"/>
                  </a:lnTo>
                  <a:lnTo>
                    <a:pt x="2" y="29"/>
                  </a:lnTo>
                  <a:lnTo>
                    <a:pt x="0" y="25"/>
                  </a:lnTo>
                  <a:lnTo>
                    <a:pt x="0" y="22"/>
                  </a:lnTo>
                  <a:lnTo>
                    <a:pt x="0" y="17"/>
                  </a:lnTo>
                  <a:lnTo>
                    <a:pt x="2" y="13"/>
                  </a:lnTo>
                  <a:lnTo>
                    <a:pt x="4" y="10"/>
                  </a:lnTo>
                  <a:lnTo>
                    <a:pt x="7" y="7"/>
                  </a:lnTo>
                  <a:lnTo>
                    <a:pt x="9" y="4"/>
                  </a:lnTo>
                  <a:lnTo>
                    <a:pt x="13" y="3"/>
                  </a:lnTo>
                  <a:lnTo>
                    <a:pt x="17" y="2"/>
                  </a:lnTo>
                  <a:lnTo>
                    <a:pt x="20" y="0"/>
                  </a:lnTo>
                  <a:lnTo>
                    <a:pt x="341" y="0"/>
                  </a:lnTo>
                  <a:lnTo>
                    <a:pt x="345" y="2"/>
                  </a:lnTo>
                  <a:lnTo>
                    <a:pt x="348" y="3"/>
                  </a:lnTo>
                  <a:lnTo>
                    <a:pt x="352" y="4"/>
                  </a:lnTo>
                  <a:lnTo>
                    <a:pt x="354" y="7"/>
                  </a:lnTo>
                  <a:lnTo>
                    <a:pt x="357" y="10"/>
                  </a:lnTo>
                  <a:lnTo>
                    <a:pt x="358" y="13"/>
                  </a:lnTo>
                  <a:lnTo>
                    <a:pt x="359" y="17"/>
                  </a:lnTo>
                  <a:lnTo>
                    <a:pt x="361" y="22"/>
                  </a:lnTo>
                  <a:lnTo>
                    <a:pt x="359" y="25"/>
                  </a:lnTo>
                  <a:lnTo>
                    <a:pt x="358" y="29"/>
                  </a:lnTo>
                  <a:lnTo>
                    <a:pt x="357" y="33"/>
                  </a:lnTo>
                  <a:lnTo>
                    <a:pt x="354" y="35"/>
                  </a:lnTo>
                  <a:lnTo>
                    <a:pt x="352" y="38"/>
                  </a:lnTo>
                  <a:lnTo>
                    <a:pt x="348" y="39"/>
                  </a:lnTo>
                  <a:lnTo>
                    <a:pt x="345" y="40"/>
                  </a:lnTo>
                  <a:lnTo>
                    <a:pt x="341"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35">
              <a:extLst>
                <a:ext uri="{FF2B5EF4-FFF2-40B4-BE49-F238E27FC236}">
                  <a16:creationId xmlns:a16="http://schemas.microsoft.com/office/drawing/2014/main" id="{D1926B08-8891-4604-9FB5-43B0D63B3672}"/>
                </a:ext>
              </a:extLst>
            </p:cNvPr>
            <p:cNvSpPr>
              <a:spLocks/>
            </p:cNvSpPr>
            <p:nvPr/>
          </p:nvSpPr>
          <p:spPr bwMode="auto">
            <a:xfrm>
              <a:off x="871051" y="6177434"/>
              <a:ext cx="221396" cy="25830"/>
            </a:xfrm>
            <a:custGeom>
              <a:avLst/>
              <a:gdLst>
                <a:gd name="T0" fmla="*/ 341 w 361"/>
                <a:gd name="T1" fmla="*/ 40 h 40"/>
                <a:gd name="T2" fmla="*/ 20 w 361"/>
                <a:gd name="T3" fmla="*/ 40 h 40"/>
                <a:gd name="T4" fmla="*/ 17 w 361"/>
                <a:gd name="T5" fmla="*/ 40 h 40"/>
                <a:gd name="T6" fmla="*/ 13 w 361"/>
                <a:gd name="T7" fmla="*/ 38 h 40"/>
                <a:gd name="T8" fmla="*/ 9 w 361"/>
                <a:gd name="T9" fmla="*/ 36 h 40"/>
                <a:gd name="T10" fmla="*/ 7 w 361"/>
                <a:gd name="T11" fmla="*/ 35 h 40"/>
                <a:gd name="T12" fmla="*/ 4 w 361"/>
                <a:gd name="T13" fmla="*/ 31 h 40"/>
                <a:gd name="T14" fmla="*/ 2 w 361"/>
                <a:gd name="T15" fmla="*/ 27 h 40"/>
                <a:gd name="T16" fmla="*/ 0 w 361"/>
                <a:gd name="T17" fmla="*/ 24 h 40"/>
                <a:gd name="T18" fmla="*/ 0 w 361"/>
                <a:gd name="T19" fmla="*/ 20 h 40"/>
                <a:gd name="T20" fmla="*/ 0 w 361"/>
                <a:gd name="T21" fmla="*/ 16 h 40"/>
                <a:gd name="T22" fmla="*/ 2 w 361"/>
                <a:gd name="T23" fmla="*/ 12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2 h 40"/>
                <a:gd name="T50" fmla="*/ 359 w 361"/>
                <a:gd name="T51" fmla="*/ 16 h 40"/>
                <a:gd name="T52" fmla="*/ 361 w 361"/>
                <a:gd name="T53" fmla="*/ 20 h 40"/>
                <a:gd name="T54" fmla="*/ 359 w 361"/>
                <a:gd name="T55" fmla="*/ 24 h 40"/>
                <a:gd name="T56" fmla="*/ 358 w 361"/>
                <a:gd name="T57" fmla="*/ 27 h 40"/>
                <a:gd name="T58" fmla="*/ 357 w 361"/>
                <a:gd name="T59" fmla="*/ 31 h 40"/>
                <a:gd name="T60" fmla="*/ 354 w 361"/>
                <a:gd name="T61" fmla="*/ 35 h 40"/>
                <a:gd name="T62" fmla="*/ 352 w 361"/>
                <a:gd name="T63" fmla="*/ 36 h 40"/>
                <a:gd name="T64" fmla="*/ 348 w 361"/>
                <a:gd name="T65" fmla="*/ 38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8"/>
                  </a:lnTo>
                  <a:lnTo>
                    <a:pt x="9" y="36"/>
                  </a:lnTo>
                  <a:lnTo>
                    <a:pt x="7" y="35"/>
                  </a:lnTo>
                  <a:lnTo>
                    <a:pt x="4" y="31"/>
                  </a:lnTo>
                  <a:lnTo>
                    <a:pt x="2" y="27"/>
                  </a:lnTo>
                  <a:lnTo>
                    <a:pt x="0" y="24"/>
                  </a:lnTo>
                  <a:lnTo>
                    <a:pt x="0" y="20"/>
                  </a:lnTo>
                  <a:lnTo>
                    <a:pt x="0" y="16"/>
                  </a:lnTo>
                  <a:lnTo>
                    <a:pt x="2" y="12"/>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2"/>
                  </a:lnTo>
                  <a:lnTo>
                    <a:pt x="359" y="16"/>
                  </a:lnTo>
                  <a:lnTo>
                    <a:pt x="361" y="20"/>
                  </a:lnTo>
                  <a:lnTo>
                    <a:pt x="359" y="24"/>
                  </a:lnTo>
                  <a:lnTo>
                    <a:pt x="358" y="27"/>
                  </a:lnTo>
                  <a:lnTo>
                    <a:pt x="357" y="31"/>
                  </a:lnTo>
                  <a:lnTo>
                    <a:pt x="354" y="35"/>
                  </a:lnTo>
                  <a:lnTo>
                    <a:pt x="352" y="36"/>
                  </a:lnTo>
                  <a:lnTo>
                    <a:pt x="348" y="38"/>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4" name="Group 174">
            <a:extLst>
              <a:ext uri="{FF2B5EF4-FFF2-40B4-BE49-F238E27FC236}">
                <a16:creationId xmlns:a16="http://schemas.microsoft.com/office/drawing/2014/main" id="{50C5CB37-1491-4A90-B773-66D9591CB254}"/>
              </a:ext>
            </a:extLst>
          </p:cNvPr>
          <p:cNvGrpSpPr>
            <a:grpSpLocks noChangeAspect="1"/>
          </p:cNvGrpSpPr>
          <p:nvPr/>
        </p:nvGrpSpPr>
        <p:grpSpPr>
          <a:xfrm>
            <a:off x="4026601" y="3263433"/>
            <a:ext cx="321323" cy="285619"/>
            <a:chOff x="1435611" y="5636858"/>
            <a:chExt cx="664188" cy="590390"/>
          </a:xfrm>
          <a:solidFill>
            <a:schemeClr val="bg2"/>
          </a:solidFill>
          <a:effectLst/>
        </p:grpSpPr>
        <p:sp>
          <p:nvSpPr>
            <p:cNvPr id="1275" name="Freeform 36">
              <a:extLst>
                <a:ext uri="{FF2B5EF4-FFF2-40B4-BE49-F238E27FC236}">
                  <a16:creationId xmlns:a16="http://schemas.microsoft.com/office/drawing/2014/main" id="{5BC246DC-F888-4BB4-94F2-92849D6A1C0F}"/>
                </a:ext>
              </a:extLst>
            </p:cNvPr>
            <p:cNvSpPr>
              <a:spLocks noEditPoints="1"/>
            </p:cNvSpPr>
            <p:nvPr/>
          </p:nvSpPr>
          <p:spPr bwMode="auto">
            <a:xfrm>
              <a:off x="1435611" y="5636858"/>
              <a:ext cx="664188" cy="590390"/>
            </a:xfrm>
            <a:custGeom>
              <a:avLst/>
              <a:gdLst>
                <a:gd name="T0" fmla="*/ 1039 w 1080"/>
                <a:gd name="T1" fmla="*/ 480 h 959"/>
                <a:gd name="T2" fmla="*/ 932 w 1080"/>
                <a:gd name="T3" fmla="*/ 479 h 959"/>
                <a:gd name="T4" fmla="*/ 760 w 1080"/>
                <a:gd name="T5" fmla="*/ 308 h 959"/>
                <a:gd name="T6" fmla="*/ 756 w 1080"/>
                <a:gd name="T7" fmla="*/ 471 h 959"/>
                <a:gd name="T8" fmla="*/ 742 w 1080"/>
                <a:gd name="T9" fmla="*/ 480 h 959"/>
                <a:gd name="T10" fmla="*/ 726 w 1080"/>
                <a:gd name="T11" fmla="*/ 474 h 959"/>
                <a:gd name="T12" fmla="*/ 560 w 1080"/>
                <a:gd name="T13" fmla="*/ 464 h 959"/>
                <a:gd name="T14" fmla="*/ 553 w 1080"/>
                <a:gd name="T15" fmla="*/ 474 h 959"/>
                <a:gd name="T16" fmla="*/ 544 w 1080"/>
                <a:gd name="T17" fmla="*/ 480 h 959"/>
                <a:gd name="T18" fmla="*/ 376 w 1080"/>
                <a:gd name="T19" fmla="*/ 480 h 959"/>
                <a:gd name="T20" fmla="*/ 366 w 1080"/>
                <a:gd name="T21" fmla="*/ 474 h 959"/>
                <a:gd name="T22" fmla="*/ 360 w 1080"/>
                <a:gd name="T23" fmla="*/ 464 h 959"/>
                <a:gd name="T24" fmla="*/ 280 w 1080"/>
                <a:gd name="T25" fmla="*/ 40 h 959"/>
                <a:gd name="T26" fmla="*/ 278 w 1080"/>
                <a:gd name="T27" fmla="*/ 468 h 959"/>
                <a:gd name="T28" fmla="*/ 272 w 1080"/>
                <a:gd name="T29" fmla="*/ 476 h 959"/>
                <a:gd name="T30" fmla="*/ 260 w 1080"/>
                <a:gd name="T31" fmla="*/ 480 h 959"/>
                <a:gd name="T32" fmla="*/ 132 w 1080"/>
                <a:gd name="T33" fmla="*/ 479 h 959"/>
                <a:gd name="T34" fmla="*/ 124 w 1080"/>
                <a:gd name="T35" fmla="*/ 471 h 959"/>
                <a:gd name="T36" fmla="*/ 120 w 1080"/>
                <a:gd name="T37" fmla="*/ 460 h 959"/>
                <a:gd name="T38" fmla="*/ 41 w 1080"/>
                <a:gd name="T39" fmla="*/ 920 h 959"/>
                <a:gd name="T40" fmla="*/ 16 w 1080"/>
                <a:gd name="T41" fmla="*/ 959 h 959"/>
                <a:gd name="T42" fmla="*/ 6 w 1080"/>
                <a:gd name="T43" fmla="*/ 955 h 959"/>
                <a:gd name="T44" fmla="*/ 1 w 1080"/>
                <a:gd name="T45" fmla="*/ 945 h 959"/>
                <a:gd name="T46" fmla="*/ 1 w 1080"/>
                <a:gd name="T47" fmla="*/ 17 h 959"/>
                <a:gd name="T48" fmla="*/ 6 w 1080"/>
                <a:gd name="T49" fmla="*/ 7 h 959"/>
                <a:gd name="T50" fmla="*/ 16 w 1080"/>
                <a:gd name="T51" fmla="*/ 0 h 959"/>
                <a:gd name="T52" fmla="*/ 144 w 1080"/>
                <a:gd name="T53" fmla="*/ 0 h 959"/>
                <a:gd name="T54" fmla="*/ 154 w 1080"/>
                <a:gd name="T55" fmla="*/ 7 h 959"/>
                <a:gd name="T56" fmla="*/ 160 w 1080"/>
                <a:gd name="T57" fmla="*/ 17 h 959"/>
                <a:gd name="T58" fmla="*/ 241 w 1080"/>
                <a:gd name="T59" fmla="*/ 440 h 959"/>
                <a:gd name="T60" fmla="*/ 242 w 1080"/>
                <a:gd name="T61" fmla="*/ 13 h 959"/>
                <a:gd name="T62" fmla="*/ 249 w 1080"/>
                <a:gd name="T63" fmla="*/ 4 h 959"/>
                <a:gd name="T64" fmla="*/ 260 w 1080"/>
                <a:gd name="T65" fmla="*/ 0 h 959"/>
                <a:gd name="T66" fmla="*/ 388 w 1080"/>
                <a:gd name="T67" fmla="*/ 2 h 959"/>
                <a:gd name="T68" fmla="*/ 397 w 1080"/>
                <a:gd name="T69" fmla="*/ 9 h 959"/>
                <a:gd name="T70" fmla="*/ 399 w 1080"/>
                <a:gd name="T71" fmla="*/ 20 h 959"/>
                <a:gd name="T72" fmla="*/ 520 w 1080"/>
                <a:gd name="T73" fmla="*/ 260 h 959"/>
                <a:gd name="T74" fmla="*/ 527 w 1080"/>
                <a:gd name="T75" fmla="*/ 245 h 959"/>
                <a:gd name="T76" fmla="*/ 544 w 1080"/>
                <a:gd name="T77" fmla="*/ 240 h 959"/>
                <a:gd name="T78" fmla="*/ 720 w 1080"/>
                <a:gd name="T79" fmla="*/ 412 h 959"/>
                <a:gd name="T80" fmla="*/ 724 w 1080"/>
                <a:gd name="T81" fmla="*/ 249 h 959"/>
                <a:gd name="T82" fmla="*/ 737 w 1080"/>
                <a:gd name="T83" fmla="*/ 240 h 959"/>
                <a:gd name="T84" fmla="*/ 753 w 1080"/>
                <a:gd name="T85" fmla="*/ 246 h 959"/>
                <a:gd name="T86" fmla="*/ 1064 w 1080"/>
                <a:gd name="T87" fmla="*/ 440 h 959"/>
                <a:gd name="T88" fmla="*/ 1074 w 1080"/>
                <a:gd name="T89" fmla="*/ 446 h 959"/>
                <a:gd name="T90" fmla="*/ 1079 w 1080"/>
                <a:gd name="T91" fmla="*/ 456 h 959"/>
                <a:gd name="T92" fmla="*/ 1079 w 1080"/>
                <a:gd name="T93" fmla="*/ 945 h 959"/>
                <a:gd name="T94" fmla="*/ 1074 w 1080"/>
                <a:gd name="T95" fmla="*/ 955 h 959"/>
                <a:gd name="T96" fmla="*/ 1064 w 1080"/>
                <a:gd name="T97"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0" h="959">
                  <a:moveTo>
                    <a:pt x="41" y="920"/>
                  </a:moveTo>
                  <a:lnTo>
                    <a:pt x="1039" y="920"/>
                  </a:lnTo>
                  <a:lnTo>
                    <a:pt x="1039" y="480"/>
                  </a:lnTo>
                  <a:lnTo>
                    <a:pt x="940" y="480"/>
                  </a:lnTo>
                  <a:lnTo>
                    <a:pt x="936" y="480"/>
                  </a:lnTo>
                  <a:lnTo>
                    <a:pt x="932" y="479"/>
                  </a:lnTo>
                  <a:lnTo>
                    <a:pt x="929" y="476"/>
                  </a:lnTo>
                  <a:lnTo>
                    <a:pt x="926" y="474"/>
                  </a:lnTo>
                  <a:lnTo>
                    <a:pt x="760" y="308"/>
                  </a:lnTo>
                  <a:lnTo>
                    <a:pt x="760" y="460"/>
                  </a:lnTo>
                  <a:lnTo>
                    <a:pt x="758" y="466"/>
                  </a:lnTo>
                  <a:lnTo>
                    <a:pt x="756" y="471"/>
                  </a:lnTo>
                  <a:lnTo>
                    <a:pt x="752" y="475"/>
                  </a:lnTo>
                  <a:lnTo>
                    <a:pt x="747" y="479"/>
                  </a:lnTo>
                  <a:lnTo>
                    <a:pt x="742" y="480"/>
                  </a:lnTo>
                  <a:lnTo>
                    <a:pt x="736" y="480"/>
                  </a:lnTo>
                  <a:lnTo>
                    <a:pt x="730" y="477"/>
                  </a:lnTo>
                  <a:lnTo>
                    <a:pt x="726" y="474"/>
                  </a:lnTo>
                  <a:lnTo>
                    <a:pt x="560" y="308"/>
                  </a:lnTo>
                  <a:lnTo>
                    <a:pt x="560" y="460"/>
                  </a:lnTo>
                  <a:lnTo>
                    <a:pt x="560" y="464"/>
                  </a:lnTo>
                  <a:lnTo>
                    <a:pt x="558" y="468"/>
                  </a:lnTo>
                  <a:lnTo>
                    <a:pt x="556" y="471"/>
                  </a:lnTo>
                  <a:lnTo>
                    <a:pt x="553" y="474"/>
                  </a:lnTo>
                  <a:lnTo>
                    <a:pt x="551" y="476"/>
                  </a:lnTo>
                  <a:lnTo>
                    <a:pt x="547" y="479"/>
                  </a:lnTo>
                  <a:lnTo>
                    <a:pt x="544" y="480"/>
                  </a:lnTo>
                  <a:lnTo>
                    <a:pt x="540" y="480"/>
                  </a:lnTo>
                  <a:lnTo>
                    <a:pt x="380" y="480"/>
                  </a:lnTo>
                  <a:lnTo>
                    <a:pt x="376" y="480"/>
                  </a:lnTo>
                  <a:lnTo>
                    <a:pt x="372" y="479"/>
                  </a:lnTo>
                  <a:lnTo>
                    <a:pt x="368" y="476"/>
                  </a:lnTo>
                  <a:lnTo>
                    <a:pt x="366" y="474"/>
                  </a:lnTo>
                  <a:lnTo>
                    <a:pt x="363" y="471"/>
                  </a:lnTo>
                  <a:lnTo>
                    <a:pt x="361" y="468"/>
                  </a:lnTo>
                  <a:lnTo>
                    <a:pt x="360" y="464"/>
                  </a:lnTo>
                  <a:lnTo>
                    <a:pt x="360" y="460"/>
                  </a:lnTo>
                  <a:lnTo>
                    <a:pt x="360" y="40"/>
                  </a:lnTo>
                  <a:lnTo>
                    <a:pt x="280" y="40"/>
                  </a:lnTo>
                  <a:lnTo>
                    <a:pt x="280" y="460"/>
                  </a:lnTo>
                  <a:lnTo>
                    <a:pt x="279" y="464"/>
                  </a:lnTo>
                  <a:lnTo>
                    <a:pt x="278" y="468"/>
                  </a:lnTo>
                  <a:lnTo>
                    <a:pt x="277" y="471"/>
                  </a:lnTo>
                  <a:lnTo>
                    <a:pt x="274" y="474"/>
                  </a:lnTo>
                  <a:lnTo>
                    <a:pt x="272" y="476"/>
                  </a:lnTo>
                  <a:lnTo>
                    <a:pt x="268" y="479"/>
                  </a:lnTo>
                  <a:lnTo>
                    <a:pt x="264" y="480"/>
                  </a:lnTo>
                  <a:lnTo>
                    <a:pt x="260" y="480"/>
                  </a:lnTo>
                  <a:lnTo>
                    <a:pt x="140" y="480"/>
                  </a:lnTo>
                  <a:lnTo>
                    <a:pt x="136" y="480"/>
                  </a:lnTo>
                  <a:lnTo>
                    <a:pt x="132" y="479"/>
                  </a:lnTo>
                  <a:lnTo>
                    <a:pt x="129" y="476"/>
                  </a:lnTo>
                  <a:lnTo>
                    <a:pt x="126" y="474"/>
                  </a:lnTo>
                  <a:lnTo>
                    <a:pt x="124" y="471"/>
                  </a:lnTo>
                  <a:lnTo>
                    <a:pt x="121" y="468"/>
                  </a:lnTo>
                  <a:lnTo>
                    <a:pt x="120" y="464"/>
                  </a:lnTo>
                  <a:lnTo>
                    <a:pt x="120" y="460"/>
                  </a:lnTo>
                  <a:lnTo>
                    <a:pt x="120" y="40"/>
                  </a:lnTo>
                  <a:lnTo>
                    <a:pt x="41" y="40"/>
                  </a:lnTo>
                  <a:lnTo>
                    <a:pt x="41" y="920"/>
                  </a:lnTo>
                  <a:close/>
                  <a:moveTo>
                    <a:pt x="1060" y="959"/>
                  </a:moveTo>
                  <a:lnTo>
                    <a:pt x="21" y="959"/>
                  </a:lnTo>
                  <a:lnTo>
                    <a:pt x="16" y="959"/>
                  </a:lnTo>
                  <a:lnTo>
                    <a:pt x="12" y="958"/>
                  </a:lnTo>
                  <a:lnTo>
                    <a:pt x="8" y="957"/>
                  </a:lnTo>
                  <a:lnTo>
                    <a:pt x="6" y="955"/>
                  </a:lnTo>
                  <a:lnTo>
                    <a:pt x="3" y="951"/>
                  </a:lnTo>
                  <a:lnTo>
                    <a:pt x="2" y="948"/>
                  </a:lnTo>
                  <a:lnTo>
                    <a:pt x="1" y="945"/>
                  </a:lnTo>
                  <a:lnTo>
                    <a:pt x="0" y="940"/>
                  </a:lnTo>
                  <a:lnTo>
                    <a:pt x="0" y="20"/>
                  </a:lnTo>
                  <a:lnTo>
                    <a:pt x="1" y="17"/>
                  </a:lnTo>
                  <a:lnTo>
                    <a:pt x="2" y="13"/>
                  </a:lnTo>
                  <a:lnTo>
                    <a:pt x="3" y="9"/>
                  </a:lnTo>
                  <a:lnTo>
                    <a:pt x="6" y="7"/>
                  </a:lnTo>
                  <a:lnTo>
                    <a:pt x="8" y="4"/>
                  </a:lnTo>
                  <a:lnTo>
                    <a:pt x="12" y="2"/>
                  </a:lnTo>
                  <a:lnTo>
                    <a:pt x="16" y="0"/>
                  </a:lnTo>
                  <a:lnTo>
                    <a:pt x="21" y="0"/>
                  </a:lnTo>
                  <a:lnTo>
                    <a:pt x="140" y="0"/>
                  </a:lnTo>
                  <a:lnTo>
                    <a:pt x="144" y="0"/>
                  </a:lnTo>
                  <a:lnTo>
                    <a:pt x="147" y="2"/>
                  </a:lnTo>
                  <a:lnTo>
                    <a:pt x="151" y="4"/>
                  </a:lnTo>
                  <a:lnTo>
                    <a:pt x="154" y="7"/>
                  </a:lnTo>
                  <a:lnTo>
                    <a:pt x="156" y="9"/>
                  </a:lnTo>
                  <a:lnTo>
                    <a:pt x="159" y="13"/>
                  </a:lnTo>
                  <a:lnTo>
                    <a:pt x="160" y="17"/>
                  </a:lnTo>
                  <a:lnTo>
                    <a:pt x="160" y="20"/>
                  </a:lnTo>
                  <a:lnTo>
                    <a:pt x="160" y="440"/>
                  </a:lnTo>
                  <a:lnTo>
                    <a:pt x="241" y="440"/>
                  </a:lnTo>
                  <a:lnTo>
                    <a:pt x="241" y="20"/>
                  </a:lnTo>
                  <a:lnTo>
                    <a:pt x="241" y="17"/>
                  </a:lnTo>
                  <a:lnTo>
                    <a:pt x="242" y="13"/>
                  </a:lnTo>
                  <a:lnTo>
                    <a:pt x="243" y="9"/>
                  </a:lnTo>
                  <a:lnTo>
                    <a:pt x="245" y="7"/>
                  </a:lnTo>
                  <a:lnTo>
                    <a:pt x="249" y="4"/>
                  </a:lnTo>
                  <a:lnTo>
                    <a:pt x="252" y="2"/>
                  </a:lnTo>
                  <a:lnTo>
                    <a:pt x="255" y="0"/>
                  </a:lnTo>
                  <a:lnTo>
                    <a:pt x="260" y="0"/>
                  </a:lnTo>
                  <a:lnTo>
                    <a:pt x="380" y="0"/>
                  </a:lnTo>
                  <a:lnTo>
                    <a:pt x="383" y="0"/>
                  </a:lnTo>
                  <a:lnTo>
                    <a:pt x="388" y="2"/>
                  </a:lnTo>
                  <a:lnTo>
                    <a:pt x="391" y="4"/>
                  </a:lnTo>
                  <a:lnTo>
                    <a:pt x="395" y="7"/>
                  </a:lnTo>
                  <a:lnTo>
                    <a:pt x="397" y="9"/>
                  </a:lnTo>
                  <a:lnTo>
                    <a:pt x="398" y="13"/>
                  </a:lnTo>
                  <a:lnTo>
                    <a:pt x="399" y="17"/>
                  </a:lnTo>
                  <a:lnTo>
                    <a:pt x="399" y="20"/>
                  </a:lnTo>
                  <a:lnTo>
                    <a:pt x="399" y="440"/>
                  </a:lnTo>
                  <a:lnTo>
                    <a:pt x="520" y="440"/>
                  </a:lnTo>
                  <a:lnTo>
                    <a:pt x="520" y="260"/>
                  </a:lnTo>
                  <a:lnTo>
                    <a:pt x="521" y="254"/>
                  </a:lnTo>
                  <a:lnTo>
                    <a:pt x="524" y="249"/>
                  </a:lnTo>
                  <a:lnTo>
                    <a:pt x="527" y="245"/>
                  </a:lnTo>
                  <a:lnTo>
                    <a:pt x="532" y="241"/>
                  </a:lnTo>
                  <a:lnTo>
                    <a:pt x="537" y="240"/>
                  </a:lnTo>
                  <a:lnTo>
                    <a:pt x="544" y="240"/>
                  </a:lnTo>
                  <a:lnTo>
                    <a:pt x="550" y="243"/>
                  </a:lnTo>
                  <a:lnTo>
                    <a:pt x="553" y="246"/>
                  </a:lnTo>
                  <a:lnTo>
                    <a:pt x="720" y="412"/>
                  </a:lnTo>
                  <a:lnTo>
                    <a:pt x="720" y="260"/>
                  </a:lnTo>
                  <a:lnTo>
                    <a:pt x="721" y="254"/>
                  </a:lnTo>
                  <a:lnTo>
                    <a:pt x="724" y="249"/>
                  </a:lnTo>
                  <a:lnTo>
                    <a:pt x="727" y="245"/>
                  </a:lnTo>
                  <a:lnTo>
                    <a:pt x="732" y="241"/>
                  </a:lnTo>
                  <a:lnTo>
                    <a:pt x="737" y="240"/>
                  </a:lnTo>
                  <a:lnTo>
                    <a:pt x="744" y="240"/>
                  </a:lnTo>
                  <a:lnTo>
                    <a:pt x="750" y="243"/>
                  </a:lnTo>
                  <a:lnTo>
                    <a:pt x="753" y="246"/>
                  </a:lnTo>
                  <a:lnTo>
                    <a:pt x="948" y="440"/>
                  </a:lnTo>
                  <a:lnTo>
                    <a:pt x="1060" y="440"/>
                  </a:lnTo>
                  <a:lnTo>
                    <a:pt x="1064" y="440"/>
                  </a:lnTo>
                  <a:lnTo>
                    <a:pt x="1068" y="441"/>
                  </a:lnTo>
                  <a:lnTo>
                    <a:pt x="1071" y="444"/>
                  </a:lnTo>
                  <a:lnTo>
                    <a:pt x="1074" y="446"/>
                  </a:lnTo>
                  <a:lnTo>
                    <a:pt x="1076" y="449"/>
                  </a:lnTo>
                  <a:lnTo>
                    <a:pt x="1078" y="453"/>
                  </a:lnTo>
                  <a:lnTo>
                    <a:pt x="1079" y="456"/>
                  </a:lnTo>
                  <a:lnTo>
                    <a:pt x="1080" y="460"/>
                  </a:lnTo>
                  <a:lnTo>
                    <a:pt x="1080" y="940"/>
                  </a:lnTo>
                  <a:lnTo>
                    <a:pt x="1079" y="945"/>
                  </a:lnTo>
                  <a:lnTo>
                    <a:pt x="1078" y="948"/>
                  </a:lnTo>
                  <a:lnTo>
                    <a:pt x="1076" y="951"/>
                  </a:lnTo>
                  <a:lnTo>
                    <a:pt x="1074" y="955"/>
                  </a:lnTo>
                  <a:lnTo>
                    <a:pt x="1071" y="957"/>
                  </a:lnTo>
                  <a:lnTo>
                    <a:pt x="1068" y="958"/>
                  </a:lnTo>
                  <a:lnTo>
                    <a:pt x="1064" y="959"/>
                  </a:lnTo>
                  <a:lnTo>
                    <a:pt x="1060" y="9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37">
              <a:extLst>
                <a:ext uri="{FF2B5EF4-FFF2-40B4-BE49-F238E27FC236}">
                  <a16:creationId xmlns:a16="http://schemas.microsoft.com/office/drawing/2014/main" id="{003F62E9-C13C-4665-8FD9-3AF779AF5C31}"/>
                </a:ext>
              </a:extLst>
            </p:cNvPr>
            <p:cNvSpPr>
              <a:spLocks noEditPoints="1"/>
            </p:cNvSpPr>
            <p:nvPr/>
          </p:nvSpPr>
          <p:spPr bwMode="auto">
            <a:xfrm>
              <a:off x="1509410" y="5980023"/>
              <a:ext cx="394823" cy="99628"/>
            </a:xfrm>
            <a:custGeom>
              <a:avLst/>
              <a:gdLst>
                <a:gd name="T0" fmla="*/ 40 w 640"/>
                <a:gd name="T1" fmla="*/ 121 h 161"/>
                <a:gd name="T2" fmla="*/ 600 w 640"/>
                <a:gd name="T3" fmla="*/ 121 h 161"/>
                <a:gd name="T4" fmla="*/ 600 w 640"/>
                <a:gd name="T5" fmla="*/ 41 h 161"/>
                <a:gd name="T6" fmla="*/ 40 w 640"/>
                <a:gd name="T7" fmla="*/ 41 h 161"/>
                <a:gd name="T8" fmla="*/ 40 w 640"/>
                <a:gd name="T9" fmla="*/ 121 h 161"/>
                <a:gd name="T10" fmla="*/ 620 w 640"/>
                <a:gd name="T11" fmla="*/ 161 h 161"/>
                <a:gd name="T12" fmla="*/ 20 w 640"/>
                <a:gd name="T13" fmla="*/ 161 h 161"/>
                <a:gd name="T14" fmla="*/ 16 w 640"/>
                <a:gd name="T15" fmla="*/ 161 h 161"/>
                <a:gd name="T16" fmla="*/ 12 w 640"/>
                <a:gd name="T17" fmla="*/ 159 h 161"/>
                <a:gd name="T18" fmla="*/ 9 w 640"/>
                <a:gd name="T19" fmla="*/ 158 h 161"/>
                <a:gd name="T20" fmla="*/ 6 w 640"/>
                <a:gd name="T21" fmla="*/ 156 h 161"/>
                <a:gd name="T22" fmla="*/ 4 w 640"/>
                <a:gd name="T23" fmla="*/ 152 h 161"/>
                <a:gd name="T24" fmla="*/ 1 w 640"/>
                <a:gd name="T25" fmla="*/ 148 h 161"/>
                <a:gd name="T26" fmla="*/ 0 w 640"/>
                <a:gd name="T27" fmla="*/ 145 h 161"/>
                <a:gd name="T28" fmla="*/ 0 w 640"/>
                <a:gd name="T29" fmla="*/ 141 h 161"/>
                <a:gd name="T30" fmla="*/ 0 w 640"/>
                <a:gd name="T31" fmla="*/ 22 h 161"/>
                <a:gd name="T32" fmla="*/ 0 w 640"/>
                <a:gd name="T33" fmla="*/ 17 h 161"/>
                <a:gd name="T34" fmla="*/ 1 w 640"/>
                <a:gd name="T35" fmla="*/ 13 h 161"/>
                <a:gd name="T36" fmla="*/ 4 w 640"/>
                <a:gd name="T37" fmla="*/ 10 h 161"/>
                <a:gd name="T38" fmla="*/ 6 w 640"/>
                <a:gd name="T39" fmla="*/ 7 h 161"/>
                <a:gd name="T40" fmla="*/ 9 w 640"/>
                <a:gd name="T41" fmla="*/ 4 h 161"/>
                <a:gd name="T42" fmla="*/ 12 w 640"/>
                <a:gd name="T43" fmla="*/ 3 h 161"/>
                <a:gd name="T44" fmla="*/ 16 w 640"/>
                <a:gd name="T45" fmla="*/ 2 h 161"/>
                <a:gd name="T46" fmla="*/ 20 w 640"/>
                <a:gd name="T47" fmla="*/ 0 h 161"/>
                <a:gd name="T48" fmla="*/ 620 w 640"/>
                <a:gd name="T49" fmla="*/ 0 h 161"/>
                <a:gd name="T50" fmla="*/ 624 w 640"/>
                <a:gd name="T51" fmla="*/ 2 h 161"/>
                <a:gd name="T52" fmla="*/ 627 w 640"/>
                <a:gd name="T53" fmla="*/ 3 h 161"/>
                <a:gd name="T54" fmla="*/ 631 w 640"/>
                <a:gd name="T55" fmla="*/ 4 h 161"/>
                <a:gd name="T56" fmla="*/ 633 w 640"/>
                <a:gd name="T57" fmla="*/ 7 h 161"/>
                <a:gd name="T58" fmla="*/ 636 w 640"/>
                <a:gd name="T59" fmla="*/ 10 h 161"/>
                <a:gd name="T60" fmla="*/ 638 w 640"/>
                <a:gd name="T61" fmla="*/ 13 h 161"/>
                <a:gd name="T62" fmla="*/ 640 w 640"/>
                <a:gd name="T63" fmla="*/ 17 h 161"/>
                <a:gd name="T64" fmla="*/ 640 w 640"/>
                <a:gd name="T65" fmla="*/ 22 h 161"/>
                <a:gd name="T66" fmla="*/ 640 w 640"/>
                <a:gd name="T67" fmla="*/ 141 h 161"/>
                <a:gd name="T68" fmla="*/ 640 w 640"/>
                <a:gd name="T69" fmla="*/ 145 h 161"/>
                <a:gd name="T70" fmla="*/ 638 w 640"/>
                <a:gd name="T71" fmla="*/ 148 h 161"/>
                <a:gd name="T72" fmla="*/ 636 w 640"/>
                <a:gd name="T73" fmla="*/ 152 h 161"/>
                <a:gd name="T74" fmla="*/ 633 w 640"/>
                <a:gd name="T75" fmla="*/ 156 h 161"/>
                <a:gd name="T76" fmla="*/ 631 w 640"/>
                <a:gd name="T77" fmla="*/ 158 h 161"/>
                <a:gd name="T78" fmla="*/ 627 w 640"/>
                <a:gd name="T79" fmla="*/ 159 h 161"/>
                <a:gd name="T80" fmla="*/ 624 w 640"/>
                <a:gd name="T81" fmla="*/ 161 h 161"/>
                <a:gd name="T82" fmla="*/ 620 w 640"/>
                <a:gd name="T8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 h="161">
                  <a:moveTo>
                    <a:pt x="40" y="121"/>
                  </a:moveTo>
                  <a:lnTo>
                    <a:pt x="600" y="121"/>
                  </a:lnTo>
                  <a:lnTo>
                    <a:pt x="600" y="41"/>
                  </a:lnTo>
                  <a:lnTo>
                    <a:pt x="40" y="41"/>
                  </a:lnTo>
                  <a:lnTo>
                    <a:pt x="40" y="121"/>
                  </a:lnTo>
                  <a:close/>
                  <a:moveTo>
                    <a:pt x="620" y="161"/>
                  </a:moveTo>
                  <a:lnTo>
                    <a:pt x="20" y="161"/>
                  </a:lnTo>
                  <a:lnTo>
                    <a:pt x="16" y="161"/>
                  </a:lnTo>
                  <a:lnTo>
                    <a:pt x="12" y="159"/>
                  </a:lnTo>
                  <a:lnTo>
                    <a:pt x="9" y="158"/>
                  </a:lnTo>
                  <a:lnTo>
                    <a:pt x="6" y="156"/>
                  </a:lnTo>
                  <a:lnTo>
                    <a:pt x="4" y="152"/>
                  </a:lnTo>
                  <a:lnTo>
                    <a:pt x="1" y="148"/>
                  </a:lnTo>
                  <a:lnTo>
                    <a:pt x="0" y="145"/>
                  </a:lnTo>
                  <a:lnTo>
                    <a:pt x="0" y="141"/>
                  </a:lnTo>
                  <a:lnTo>
                    <a:pt x="0" y="22"/>
                  </a:lnTo>
                  <a:lnTo>
                    <a:pt x="0" y="17"/>
                  </a:lnTo>
                  <a:lnTo>
                    <a:pt x="1" y="13"/>
                  </a:lnTo>
                  <a:lnTo>
                    <a:pt x="4" y="10"/>
                  </a:lnTo>
                  <a:lnTo>
                    <a:pt x="6" y="7"/>
                  </a:lnTo>
                  <a:lnTo>
                    <a:pt x="9" y="4"/>
                  </a:lnTo>
                  <a:lnTo>
                    <a:pt x="12" y="3"/>
                  </a:lnTo>
                  <a:lnTo>
                    <a:pt x="16" y="2"/>
                  </a:lnTo>
                  <a:lnTo>
                    <a:pt x="20" y="0"/>
                  </a:lnTo>
                  <a:lnTo>
                    <a:pt x="620" y="0"/>
                  </a:lnTo>
                  <a:lnTo>
                    <a:pt x="624" y="2"/>
                  </a:lnTo>
                  <a:lnTo>
                    <a:pt x="627" y="3"/>
                  </a:lnTo>
                  <a:lnTo>
                    <a:pt x="631" y="4"/>
                  </a:lnTo>
                  <a:lnTo>
                    <a:pt x="633" y="7"/>
                  </a:lnTo>
                  <a:lnTo>
                    <a:pt x="636" y="10"/>
                  </a:lnTo>
                  <a:lnTo>
                    <a:pt x="638" y="13"/>
                  </a:lnTo>
                  <a:lnTo>
                    <a:pt x="640" y="17"/>
                  </a:lnTo>
                  <a:lnTo>
                    <a:pt x="640" y="22"/>
                  </a:lnTo>
                  <a:lnTo>
                    <a:pt x="640" y="141"/>
                  </a:lnTo>
                  <a:lnTo>
                    <a:pt x="640" y="145"/>
                  </a:lnTo>
                  <a:lnTo>
                    <a:pt x="638" y="148"/>
                  </a:lnTo>
                  <a:lnTo>
                    <a:pt x="636" y="152"/>
                  </a:lnTo>
                  <a:lnTo>
                    <a:pt x="633" y="156"/>
                  </a:lnTo>
                  <a:lnTo>
                    <a:pt x="631" y="158"/>
                  </a:lnTo>
                  <a:lnTo>
                    <a:pt x="627" y="159"/>
                  </a:lnTo>
                  <a:lnTo>
                    <a:pt x="624" y="161"/>
                  </a:lnTo>
                  <a:lnTo>
                    <a:pt x="620"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2" name="Group 46">
            <a:extLst>
              <a:ext uri="{FF2B5EF4-FFF2-40B4-BE49-F238E27FC236}">
                <a16:creationId xmlns:a16="http://schemas.microsoft.com/office/drawing/2014/main" id="{DF79E703-50BB-4645-8513-5E2BAECA7035}"/>
              </a:ext>
            </a:extLst>
          </p:cNvPr>
          <p:cNvGrpSpPr>
            <a:grpSpLocks noChangeAspect="1"/>
          </p:cNvGrpSpPr>
          <p:nvPr/>
        </p:nvGrpSpPr>
        <p:grpSpPr>
          <a:xfrm>
            <a:off x="4450180" y="3312604"/>
            <a:ext cx="285619" cy="187278"/>
            <a:chOff x="3921126" y="2395538"/>
            <a:chExt cx="530225" cy="347663"/>
          </a:xfrm>
          <a:solidFill>
            <a:schemeClr val="bg2"/>
          </a:solidFill>
          <a:effectLst/>
        </p:grpSpPr>
        <p:sp>
          <p:nvSpPr>
            <p:cNvPr id="1283" name="Freeform 12">
              <a:extLst>
                <a:ext uri="{FF2B5EF4-FFF2-40B4-BE49-F238E27FC236}">
                  <a16:creationId xmlns:a16="http://schemas.microsoft.com/office/drawing/2014/main" id="{DD6E0DF4-F0C5-417D-B961-054B99B096D7}"/>
                </a:ext>
              </a:extLst>
            </p:cNvPr>
            <p:cNvSpPr>
              <a:spLocks noEditPoints="1"/>
            </p:cNvSpPr>
            <p:nvPr/>
          </p:nvSpPr>
          <p:spPr bwMode="auto">
            <a:xfrm>
              <a:off x="3994151" y="2395538"/>
              <a:ext cx="384175" cy="73025"/>
            </a:xfrm>
            <a:custGeom>
              <a:avLst/>
              <a:gdLst>
                <a:gd name="T0" fmla="*/ 46 w 967"/>
                <a:gd name="T1" fmla="*/ 139 h 184"/>
                <a:gd name="T2" fmla="*/ 922 w 967"/>
                <a:gd name="T3" fmla="*/ 139 h 184"/>
                <a:gd name="T4" fmla="*/ 922 w 967"/>
                <a:gd name="T5" fmla="*/ 47 h 184"/>
                <a:gd name="T6" fmla="*/ 46 w 967"/>
                <a:gd name="T7" fmla="*/ 47 h 184"/>
                <a:gd name="T8" fmla="*/ 46 w 967"/>
                <a:gd name="T9" fmla="*/ 139 h 184"/>
                <a:gd name="T10" fmla="*/ 944 w 967"/>
                <a:gd name="T11" fmla="*/ 184 h 184"/>
                <a:gd name="T12" fmla="*/ 23 w 967"/>
                <a:gd name="T13" fmla="*/ 184 h 184"/>
                <a:gd name="T14" fmla="*/ 18 w 967"/>
                <a:gd name="T15" fmla="*/ 184 h 184"/>
                <a:gd name="T16" fmla="*/ 14 w 967"/>
                <a:gd name="T17" fmla="*/ 183 h 184"/>
                <a:gd name="T18" fmla="*/ 11 w 967"/>
                <a:gd name="T19" fmla="*/ 181 h 184"/>
                <a:gd name="T20" fmla="*/ 7 w 967"/>
                <a:gd name="T21" fmla="*/ 178 h 184"/>
                <a:gd name="T22" fmla="*/ 3 w 967"/>
                <a:gd name="T23" fmla="*/ 175 h 184"/>
                <a:gd name="T24" fmla="*/ 2 w 967"/>
                <a:gd name="T25" fmla="*/ 171 h 184"/>
                <a:gd name="T26" fmla="*/ 1 w 967"/>
                <a:gd name="T27" fmla="*/ 166 h 184"/>
                <a:gd name="T28" fmla="*/ 0 w 967"/>
                <a:gd name="T29" fmla="*/ 162 h 184"/>
                <a:gd name="T30" fmla="*/ 0 w 967"/>
                <a:gd name="T31" fmla="*/ 24 h 184"/>
                <a:gd name="T32" fmla="*/ 1 w 967"/>
                <a:gd name="T33" fmla="*/ 19 h 184"/>
                <a:gd name="T34" fmla="*/ 2 w 967"/>
                <a:gd name="T35" fmla="*/ 15 h 184"/>
                <a:gd name="T36" fmla="*/ 3 w 967"/>
                <a:gd name="T37" fmla="*/ 10 h 184"/>
                <a:gd name="T38" fmla="*/ 7 w 967"/>
                <a:gd name="T39" fmla="*/ 8 h 184"/>
                <a:gd name="T40" fmla="*/ 11 w 967"/>
                <a:gd name="T41" fmla="*/ 4 h 184"/>
                <a:gd name="T42" fmla="*/ 14 w 967"/>
                <a:gd name="T43" fmla="*/ 3 h 184"/>
                <a:gd name="T44" fmla="*/ 18 w 967"/>
                <a:gd name="T45" fmla="*/ 0 h 184"/>
                <a:gd name="T46" fmla="*/ 23 w 967"/>
                <a:gd name="T47" fmla="*/ 0 h 184"/>
                <a:gd name="T48" fmla="*/ 944 w 967"/>
                <a:gd name="T49" fmla="*/ 0 h 184"/>
                <a:gd name="T50" fmla="*/ 949 w 967"/>
                <a:gd name="T51" fmla="*/ 0 h 184"/>
                <a:gd name="T52" fmla="*/ 954 w 967"/>
                <a:gd name="T53" fmla="*/ 3 h 184"/>
                <a:gd name="T54" fmla="*/ 958 w 967"/>
                <a:gd name="T55" fmla="*/ 4 h 184"/>
                <a:gd name="T56" fmla="*/ 961 w 967"/>
                <a:gd name="T57" fmla="*/ 8 h 184"/>
                <a:gd name="T58" fmla="*/ 964 w 967"/>
                <a:gd name="T59" fmla="*/ 10 h 184"/>
                <a:gd name="T60" fmla="*/ 966 w 967"/>
                <a:gd name="T61" fmla="*/ 15 h 184"/>
                <a:gd name="T62" fmla="*/ 967 w 967"/>
                <a:gd name="T63" fmla="*/ 19 h 184"/>
                <a:gd name="T64" fmla="*/ 967 w 967"/>
                <a:gd name="T65" fmla="*/ 24 h 184"/>
                <a:gd name="T66" fmla="*/ 967 w 967"/>
                <a:gd name="T67" fmla="*/ 162 h 184"/>
                <a:gd name="T68" fmla="*/ 967 w 967"/>
                <a:gd name="T69" fmla="*/ 166 h 184"/>
                <a:gd name="T70" fmla="*/ 966 w 967"/>
                <a:gd name="T71" fmla="*/ 171 h 184"/>
                <a:gd name="T72" fmla="*/ 964 w 967"/>
                <a:gd name="T73" fmla="*/ 175 h 184"/>
                <a:gd name="T74" fmla="*/ 961 w 967"/>
                <a:gd name="T75" fmla="*/ 178 h 184"/>
                <a:gd name="T76" fmla="*/ 958 w 967"/>
                <a:gd name="T77" fmla="*/ 181 h 184"/>
                <a:gd name="T78" fmla="*/ 954 w 967"/>
                <a:gd name="T79" fmla="*/ 183 h 184"/>
                <a:gd name="T80" fmla="*/ 949 w 967"/>
                <a:gd name="T81" fmla="*/ 184 h 184"/>
                <a:gd name="T82" fmla="*/ 944 w 967"/>
                <a:gd name="T8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7" h="184">
                  <a:moveTo>
                    <a:pt x="46" y="139"/>
                  </a:moveTo>
                  <a:lnTo>
                    <a:pt x="922" y="139"/>
                  </a:lnTo>
                  <a:lnTo>
                    <a:pt x="922" y="47"/>
                  </a:lnTo>
                  <a:lnTo>
                    <a:pt x="46" y="47"/>
                  </a:lnTo>
                  <a:lnTo>
                    <a:pt x="46" y="139"/>
                  </a:lnTo>
                  <a:close/>
                  <a:moveTo>
                    <a:pt x="944" y="184"/>
                  </a:moveTo>
                  <a:lnTo>
                    <a:pt x="23" y="184"/>
                  </a:lnTo>
                  <a:lnTo>
                    <a:pt x="18" y="184"/>
                  </a:lnTo>
                  <a:lnTo>
                    <a:pt x="14" y="183"/>
                  </a:lnTo>
                  <a:lnTo>
                    <a:pt x="11" y="181"/>
                  </a:lnTo>
                  <a:lnTo>
                    <a:pt x="7" y="178"/>
                  </a:lnTo>
                  <a:lnTo>
                    <a:pt x="3" y="175"/>
                  </a:lnTo>
                  <a:lnTo>
                    <a:pt x="2" y="171"/>
                  </a:lnTo>
                  <a:lnTo>
                    <a:pt x="1" y="166"/>
                  </a:lnTo>
                  <a:lnTo>
                    <a:pt x="0" y="162"/>
                  </a:lnTo>
                  <a:lnTo>
                    <a:pt x="0" y="24"/>
                  </a:lnTo>
                  <a:lnTo>
                    <a:pt x="1" y="19"/>
                  </a:lnTo>
                  <a:lnTo>
                    <a:pt x="2" y="15"/>
                  </a:lnTo>
                  <a:lnTo>
                    <a:pt x="3" y="10"/>
                  </a:lnTo>
                  <a:lnTo>
                    <a:pt x="7" y="8"/>
                  </a:lnTo>
                  <a:lnTo>
                    <a:pt x="11" y="4"/>
                  </a:lnTo>
                  <a:lnTo>
                    <a:pt x="14" y="3"/>
                  </a:lnTo>
                  <a:lnTo>
                    <a:pt x="18" y="0"/>
                  </a:lnTo>
                  <a:lnTo>
                    <a:pt x="23" y="0"/>
                  </a:lnTo>
                  <a:lnTo>
                    <a:pt x="944" y="0"/>
                  </a:lnTo>
                  <a:lnTo>
                    <a:pt x="949" y="0"/>
                  </a:lnTo>
                  <a:lnTo>
                    <a:pt x="954" y="3"/>
                  </a:lnTo>
                  <a:lnTo>
                    <a:pt x="958" y="4"/>
                  </a:lnTo>
                  <a:lnTo>
                    <a:pt x="961" y="8"/>
                  </a:lnTo>
                  <a:lnTo>
                    <a:pt x="964" y="10"/>
                  </a:lnTo>
                  <a:lnTo>
                    <a:pt x="966" y="15"/>
                  </a:lnTo>
                  <a:lnTo>
                    <a:pt x="967" y="19"/>
                  </a:lnTo>
                  <a:lnTo>
                    <a:pt x="967" y="24"/>
                  </a:lnTo>
                  <a:lnTo>
                    <a:pt x="967" y="162"/>
                  </a:lnTo>
                  <a:lnTo>
                    <a:pt x="967" y="166"/>
                  </a:lnTo>
                  <a:lnTo>
                    <a:pt x="966" y="171"/>
                  </a:lnTo>
                  <a:lnTo>
                    <a:pt x="964" y="175"/>
                  </a:lnTo>
                  <a:lnTo>
                    <a:pt x="961" y="178"/>
                  </a:lnTo>
                  <a:lnTo>
                    <a:pt x="958" y="181"/>
                  </a:lnTo>
                  <a:lnTo>
                    <a:pt x="954" y="183"/>
                  </a:lnTo>
                  <a:lnTo>
                    <a:pt x="949" y="184"/>
                  </a:lnTo>
                  <a:lnTo>
                    <a:pt x="94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3">
              <a:extLst>
                <a:ext uri="{FF2B5EF4-FFF2-40B4-BE49-F238E27FC236}">
                  <a16:creationId xmlns:a16="http://schemas.microsoft.com/office/drawing/2014/main" id="{D4C54BEB-B95E-4B74-83C8-F5346CE99EA5}"/>
                </a:ext>
              </a:extLst>
            </p:cNvPr>
            <p:cNvSpPr>
              <a:spLocks noEditPoints="1"/>
            </p:cNvSpPr>
            <p:nvPr/>
          </p:nvSpPr>
          <p:spPr bwMode="auto">
            <a:xfrm>
              <a:off x="3994151" y="2541588"/>
              <a:ext cx="384175" cy="201613"/>
            </a:xfrm>
            <a:custGeom>
              <a:avLst/>
              <a:gdLst>
                <a:gd name="T0" fmla="*/ 46 w 967"/>
                <a:gd name="T1" fmla="*/ 460 h 506"/>
                <a:gd name="T2" fmla="*/ 922 w 967"/>
                <a:gd name="T3" fmla="*/ 460 h 506"/>
                <a:gd name="T4" fmla="*/ 922 w 967"/>
                <a:gd name="T5" fmla="*/ 45 h 506"/>
                <a:gd name="T6" fmla="*/ 46 w 967"/>
                <a:gd name="T7" fmla="*/ 45 h 506"/>
                <a:gd name="T8" fmla="*/ 46 w 967"/>
                <a:gd name="T9" fmla="*/ 460 h 506"/>
                <a:gd name="T10" fmla="*/ 944 w 967"/>
                <a:gd name="T11" fmla="*/ 506 h 506"/>
                <a:gd name="T12" fmla="*/ 23 w 967"/>
                <a:gd name="T13" fmla="*/ 506 h 506"/>
                <a:gd name="T14" fmla="*/ 18 w 967"/>
                <a:gd name="T15" fmla="*/ 505 h 506"/>
                <a:gd name="T16" fmla="*/ 14 w 967"/>
                <a:gd name="T17" fmla="*/ 504 h 506"/>
                <a:gd name="T18" fmla="*/ 11 w 967"/>
                <a:gd name="T19" fmla="*/ 503 h 506"/>
                <a:gd name="T20" fmla="*/ 7 w 967"/>
                <a:gd name="T21" fmla="*/ 499 h 506"/>
                <a:gd name="T22" fmla="*/ 3 w 967"/>
                <a:gd name="T23" fmla="*/ 496 h 506"/>
                <a:gd name="T24" fmla="*/ 2 w 967"/>
                <a:gd name="T25" fmla="*/ 492 h 506"/>
                <a:gd name="T26" fmla="*/ 1 w 967"/>
                <a:gd name="T27" fmla="*/ 488 h 506"/>
                <a:gd name="T28" fmla="*/ 0 w 967"/>
                <a:gd name="T29" fmla="*/ 483 h 506"/>
                <a:gd name="T30" fmla="*/ 0 w 967"/>
                <a:gd name="T31" fmla="*/ 22 h 506"/>
                <a:gd name="T32" fmla="*/ 1 w 967"/>
                <a:gd name="T33" fmla="*/ 18 h 506"/>
                <a:gd name="T34" fmla="*/ 2 w 967"/>
                <a:gd name="T35" fmla="*/ 13 h 506"/>
                <a:gd name="T36" fmla="*/ 3 w 967"/>
                <a:gd name="T37" fmla="*/ 9 h 506"/>
                <a:gd name="T38" fmla="*/ 7 w 967"/>
                <a:gd name="T39" fmla="*/ 6 h 506"/>
                <a:gd name="T40" fmla="*/ 11 w 967"/>
                <a:gd name="T41" fmla="*/ 3 h 506"/>
                <a:gd name="T42" fmla="*/ 14 w 967"/>
                <a:gd name="T43" fmla="*/ 1 h 506"/>
                <a:gd name="T44" fmla="*/ 18 w 967"/>
                <a:gd name="T45" fmla="*/ 0 h 506"/>
                <a:gd name="T46" fmla="*/ 23 w 967"/>
                <a:gd name="T47" fmla="*/ 0 h 506"/>
                <a:gd name="T48" fmla="*/ 944 w 967"/>
                <a:gd name="T49" fmla="*/ 0 h 506"/>
                <a:gd name="T50" fmla="*/ 949 w 967"/>
                <a:gd name="T51" fmla="*/ 0 h 506"/>
                <a:gd name="T52" fmla="*/ 954 w 967"/>
                <a:gd name="T53" fmla="*/ 1 h 506"/>
                <a:gd name="T54" fmla="*/ 958 w 967"/>
                <a:gd name="T55" fmla="*/ 3 h 506"/>
                <a:gd name="T56" fmla="*/ 961 w 967"/>
                <a:gd name="T57" fmla="*/ 6 h 506"/>
                <a:gd name="T58" fmla="*/ 964 w 967"/>
                <a:gd name="T59" fmla="*/ 9 h 506"/>
                <a:gd name="T60" fmla="*/ 966 w 967"/>
                <a:gd name="T61" fmla="*/ 13 h 506"/>
                <a:gd name="T62" fmla="*/ 967 w 967"/>
                <a:gd name="T63" fmla="*/ 18 h 506"/>
                <a:gd name="T64" fmla="*/ 967 w 967"/>
                <a:gd name="T65" fmla="*/ 22 h 506"/>
                <a:gd name="T66" fmla="*/ 967 w 967"/>
                <a:gd name="T67" fmla="*/ 483 h 506"/>
                <a:gd name="T68" fmla="*/ 967 w 967"/>
                <a:gd name="T69" fmla="*/ 488 h 506"/>
                <a:gd name="T70" fmla="*/ 966 w 967"/>
                <a:gd name="T71" fmla="*/ 492 h 506"/>
                <a:gd name="T72" fmla="*/ 964 w 967"/>
                <a:gd name="T73" fmla="*/ 496 h 506"/>
                <a:gd name="T74" fmla="*/ 961 w 967"/>
                <a:gd name="T75" fmla="*/ 499 h 506"/>
                <a:gd name="T76" fmla="*/ 958 w 967"/>
                <a:gd name="T77" fmla="*/ 503 h 506"/>
                <a:gd name="T78" fmla="*/ 954 w 967"/>
                <a:gd name="T79" fmla="*/ 504 h 506"/>
                <a:gd name="T80" fmla="*/ 949 w 967"/>
                <a:gd name="T81" fmla="*/ 505 h 506"/>
                <a:gd name="T82" fmla="*/ 944 w 967"/>
                <a:gd name="T83" fmla="*/ 50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7" h="506">
                  <a:moveTo>
                    <a:pt x="46" y="460"/>
                  </a:moveTo>
                  <a:lnTo>
                    <a:pt x="922" y="460"/>
                  </a:lnTo>
                  <a:lnTo>
                    <a:pt x="922" y="45"/>
                  </a:lnTo>
                  <a:lnTo>
                    <a:pt x="46" y="45"/>
                  </a:lnTo>
                  <a:lnTo>
                    <a:pt x="46" y="460"/>
                  </a:lnTo>
                  <a:close/>
                  <a:moveTo>
                    <a:pt x="944" y="506"/>
                  </a:moveTo>
                  <a:lnTo>
                    <a:pt x="23" y="506"/>
                  </a:lnTo>
                  <a:lnTo>
                    <a:pt x="18" y="505"/>
                  </a:lnTo>
                  <a:lnTo>
                    <a:pt x="14" y="504"/>
                  </a:lnTo>
                  <a:lnTo>
                    <a:pt x="11" y="503"/>
                  </a:lnTo>
                  <a:lnTo>
                    <a:pt x="7" y="499"/>
                  </a:lnTo>
                  <a:lnTo>
                    <a:pt x="3" y="496"/>
                  </a:lnTo>
                  <a:lnTo>
                    <a:pt x="2" y="492"/>
                  </a:lnTo>
                  <a:lnTo>
                    <a:pt x="1" y="488"/>
                  </a:lnTo>
                  <a:lnTo>
                    <a:pt x="0" y="483"/>
                  </a:lnTo>
                  <a:lnTo>
                    <a:pt x="0" y="22"/>
                  </a:lnTo>
                  <a:lnTo>
                    <a:pt x="1" y="18"/>
                  </a:lnTo>
                  <a:lnTo>
                    <a:pt x="2" y="13"/>
                  </a:lnTo>
                  <a:lnTo>
                    <a:pt x="3" y="9"/>
                  </a:lnTo>
                  <a:lnTo>
                    <a:pt x="7" y="6"/>
                  </a:lnTo>
                  <a:lnTo>
                    <a:pt x="11" y="3"/>
                  </a:lnTo>
                  <a:lnTo>
                    <a:pt x="14" y="1"/>
                  </a:lnTo>
                  <a:lnTo>
                    <a:pt x="18" y="0"/>
                  </a:lnTo>
                  <a:lnTo>
                    <a:pt x="23" y="0"/>
                  </a:lnTo>
                  <a:lnTo>
                    <a:pt x="944" y="0"/>
                  </a:lnTo>
                  <a:lnTo>
                    <a:pt x="949" y="0"/>
                  </a:lnTo>
                  <a:lnTo>
                    <a:pt x="954" y="1"/>
                  </a:lnTo>
                  <a:lnTo>
                    <a:pt x="958" y="3"/>
                  </a:lnTo>
                  <a:lnTo>
                    <a:pt x="961" y="6"/>
                  </a:lnTo>
                  <a:lnTo>
                    <a:pt x="964" y="9"/>
                  </a:lnTo>
                  <a:lnTo>
                    <a:pt x="966" y="13"/>
                  </a:lnTo>
                  <a:lnTo>
                    <a:pt x="967" y="18"/>
                  </a:lnTo>
                  <a:lnTo>
                    <a:pt x="967" y="22"/>
                  </a:lnTo>
                  <a:lnTo>
                    <a:pt x="967" y="483"/>
                  </a:lnTo>
                  <a:lnTo>
                    <a:pt x="967" y="488"/>
                  </a:lnTo>
                  <a:lnTo>
                    <a:pt x="966" y="492"/>
                  </a:lnTo>
                  <a:lnTo>
                    <a:pt x="964" y="496"/>
                  </a:lnTo>
                  <a:lnTo>
                    <a:pt x="961" y="499"/>
                  </a:lnTo>
                  <a:lnTo>
                    <a:pt x="958" y="503"/>
                  </a:lnTo>
                  <a:lnTo>
                    <a:pt x="954" y="504"/>
                  </a:lnTo>
                  <a:lnTo>
                    <a:pt x="949" y="505"/>
                  </a:lnTo>
                  <a:lnTo>
                    <a:pt x="944"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4">
              <a:extLst>
                <a:ext uri="{FF2B5EF4-FFF2-40B4-BE49-F238E27FC236}">
                  <a16:creationId xmlns:a16="http://schemas.microsoft.com/office/drawing/2014/main" id="{0EC8CCD5-7BC5-4277-8BEB-FB05B9EAF2CD}"/>
                </a:ext>
              </a:extLst>
            </p:cNvPr>
            <p:cNvSpPr>
              <a:spLocks noEditPoints="1"/>
            </p:cNvSpPr>
            <p:nvPr/>
          </p:nvSpPr>
          <p:spPr bwMode="auto">
            <a:xfrm>
              <a:off x="3921126" y="2451100"/>
              <a:ext cx="530225" cy="109538"/>
            </a:xfrm>
            <a:custGeom>
              <a:avLst/>
              <a:gdLst>
                <a:gd name="T0" fmla="*/ 71 w 1337"/>
                <a:gd name="T1" fmla="*/ 231 h 276"/>
                <a:gd name="T2" fmla="*/ 1264 w 1337"/>
                <a:gd name="T3" fmla="*/ 231 h 276"/>
                <a:gd name="T4" fmla="*/ 1117 w 1337"/>
                <a:gd name="T5" fmla="*/ 45 h 276"/>
                <a:gd name="T6" fmla="*/ 218 w 1337"/>
                <a:gd name="T7" fmla="*/ 45 h 276"/>
                <a:gd name="T8" fmla="*/ 71 w 1337"/>
                <a:gd name="T9" fmla="*/ 231 h 276"/>
                <a:gd name="T10" fmla="*/ 1313 w 1337"/>
                <a:gd name="T11" fmla="*/ 276 h 276"/>
                <a:gd name="T12" fmla="*/ 1313 w 1337"/>
                <a:gd name="T13" fmla="*/ 276 h 276"/>
                <a:gd name="T14" fmla="*/ 1313 w 1337"/>
                <a:gd name="T15" fmla="*/ 276 h 276"/>
                <a:gd name="T16" fmla="*/ 23 w 1337"/>
                <a:gd name="T17" fmla="*/ 276 h 276"/>
                <a:gd name="T18" fmla="*/ 17 w 1337"/>
                <a:gd name="T19" fmla="*/ 275 h 276"/>
                <a:gd name="T20" fmla="*/ 11 w 1337"/>
                <a:gd name="T21" fmla="*/ 272 h 276"/>
                <a:gd name="T22" fmla="*/ 6 w 1337"/>
                <a:gd name="T23" fmla="*/ 269 h 276"/>
                <a:gd name="T24" fmla="*/ 2 w 1337"/>
                <a:gd name="T25" fmla="*/ 264 h 276"/>
                <a:gd name="T26" fmla="*/ 0 w 1337"/>
                <a:gd name="T27" fmla="*/ 256 h 276"/>
                <a:gd name="T28" fmla="*/ 0 w 1337"/>
                <a:gd name="T29" fmla="*/ 250 h 276"/>
                <a:gd name="T30" fmla="*/ 1 w 1337"/>
                <a:gd name="T31" fmla="*/ 244 h 276"/>
                <a:gd name="T32" fmla="*/ 5 w 1337"/>
                <a:gd name="T33" fmla="*/ 239 h 276"/>
                <a:gd name="T34" fmla="*/ 189 w 1337"/>
                <a:gd name="T35" fmla="*/ 9 h 276"/>
                <a:gd name="T36" fmla="*/ 192 w 1337"/>
                <a:gd name="T37" fmla="*/ 5 h 276"/>
                <a:gd name="T38" fmla="*/ 197 w 1337"/>
                <a:gd name="T39" fmla="*/ 2 h 276"/>
                <a:gd name="T40" fmla="*/ 202 w 1337"/>
                <a:gd name="T41" fmla="*/ 0 h 276"/>
                <a:gd name="T42" fmla="*/ 207 w 1337"/>
                <a:gd name="T43" fmla="*/ 0 h 276"/>
                <a:gd name="T44" fmla="*/ 1128 w 1337"/>
                <a:gd name="T45" fmla="*/ 0 h 276"/>
                <a:gd name="T46" fmla="*/ 1134 w 1337"/>
                <a:gd name="T47" fmla="*/ 0 h 276"/>
                <a:gd name="T48" fmla="*/ 1138 w 1337"/>
                <a:gd name="T49" fmla="*/ 2 h 276"/>
                <a:gd name="T50" fmla="*/ 1143 w 1337"/>
                <a:gd name="T51" fmla="*/ 5 h 276"/>
                <a:gd name="T52" fmla="*/ 1147 w 1337"/>
                <a:gd name="T53" fmla="*/ 9 h 276"/>
                <a:gd name="T54" fmla="*/ 1328 w 1337"/>
                <a:gd name="T55" fmla="*/ 236 h 276"/>
                <a:gd name="T56" fmla="*/ 1332 w 1337"/>
                <a:gd name="T57" fmla="*/ 239 h 276"/>
                <a:gd name="T58" fmla="*/ 1334 w 1337"/>
                <a:gd name="T59" fmla="*/ 244 h 276"/>
                <a:gd name="T60" fmla="*/ 1335 w 1337"/>
                <a:gd name="T61" fmla="*/ 248 h 276"/>
                <a:gd name="T62" fmla="*/ 1337 w 1337"/>
                <a:gd name="T63" fmla="*/ 253 h 276"/>
                <a:gd name="T64" fmla="*/ 1335 w 1337"/>
                <a:gd name="T65" fmla="*/ 258 h 276"/>
                <a:gd name="T66" fmla="*/ 1334 w 1337"/>
                <a:gd name="T67" fmla="*/ 263 h 276"/>
                <a:gd name="T68" fmla="*/ 1333 w 1337"/>
                <a:gd name="T69" fmla="*/ 266 h 276"/>
                <a:gd name="T70" fmla="*/ 1329 w 1337"/>
                <a:gd name="T71" fmla="*/ 270 h 276"/>
                <a:gd name="T72" fmla="*/ 1326 w 1337"/>
                <a:gd name="T73" fmla="*/ 272 h 276"/>
                <a:gd name="T74" fmla="*/ 1322 w 1337"/>
                <a:gd name="T75" fmla="*/ 275 h 276"/>
                <a:gd name="T76" fmla="*/ 1318 w 1337"/>
                <a:gd name="T77" fmla="*/ 276 h 276"/>
                <a:gd name="T78" fmla="*/ 1313 w 1337"/>
                <a:gd name="T7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7" h="276">
                  <a:moveTo>
                    <a:pt x="71" y="231"/>
                  </a:moveTo>
                  <a:lnTo>
                    <a:pt x="1264" y="231"/>
                  </a:lnTo>
                  <a:lnTo>
                    <a:pt x="1117" y="45"/>
                  </a:lnTo>
                  <a:lnTo>
                    <a:pt x="218" y="45"/>
                  </a:lnTo>
                  <a:lnTo>
                    <a:pt x="71" y="231"/>
                  </a:lnTo>
                  <a:close/>
                  <a:moveTo>
                    <a:pt x="1313" y="276"/>
                  </a:moveTo>
                  <a:lnTo>
                    <a:pt x="1313" y="276"/>
                  </a:lnTo>
                  <a:lnTo>
                    <a:pt x="1313" y="276"/>
                  </a:lnTo>
                  <a:lnTo>
                    <a:pt x="23" y="276"/>
                  </a:lnTo>
                  <a:lnTo>
                    <a:pt x="17" y="275"/>
                  </a:lnTo>
                  <a:lnTo>
                    <a:pt x="11" y="272"/>
                  </a:lnTo>
                  <a:lnTo>
                    <a:pt x="6" y="269"/>
                  </a:lnTo>
                  <a:lnTo>
                    <a:pt x="2" y="264"/>
                  </a:lnTo>
                  <a:lnTo>
                    <a:pt x="0" y="256"/>
                  </a:lnTo>
                  <a:lnTo>
                    <a:pt x="0" y="250"/>
                  </a:lnTo>
                  <a:lnTo>
                    <a:pt x="1" y="244"/>
                  </a:lnTo>
                  <a:lnTo>
                    <a:pt x="5" y="239"/>
                  </a:lnTo>
                  <a:lnTo>
                    <a:pt x="189" y="9"/>
                  </a:lnTo>
                  <a:lnTo>
                    <a:pt x="192" y="5"/>
                  </a:lnTo>
                  <a:lnTo>
                    <a:pt x="197" y="2"/>
                  </a:lnTo>
                  <a:lnTo>
                    <a:pt x="202" y="0"/>
                  </a:lnTo>
                  <a:lnTo>
                    <a:pt x="207" y="0"/>
                  </a:lnTo>
                  <a:lnTo>
                    <a:pt x="1128" y="0"/>
                  </a:lnTo>
                  <a:lnTo>
                    <a:pt x="1134" y="0"/>
                  </a:lnTo>
                  <a:lnTo>
                    <a:pt x="1138" y="2"/>
                  </a:lnTo>
                  <a:lnTo>
                    <a:pt x="1143" y="5"/>
                  </a:lnTo>
                  <a:lnTo>
                    <a:pt x="1147" y="9"/>
                  </a:lnTo>
                  <a:lnTo>
                    <a:pt x="1328" y="236"/>
                  </a:lnTo>
                  <a:lnTo>
                    <a:pt x="1332" y="239"/>
                  </a:lnTo>
                  <a:lnTo>
                    <a:pt x="1334" y="244"/>
                  </a:lnTo>
                  <a:lnTo>
                    <a:pt x="1335" y="248"/>
                  </a:lnTo>
                  <a:lnTo>
                    <a:pt x="1337" y="253"/>
                  </a:lnTo>
                  <a:lnTo>
                    <a:pt x="1335" y="258"/>
                  </a:lnTo>
                  <a:lnTo>
                    <a:pt x="1334" y="263"/>
                  </a:lnTo>
                  <a:lnTo>
                    <a:pt x="1333" y="266"/>
                  </a:lnTo>
                  <a:lnTo>
                    <a:pt x="1329" y="270"/>
                  </a:lnTo>
                  <a:lnTo>
                    <a:pt x="1326" y="272"/>
                  </a:lnTo>
                  <a:lnTo>
                    <a:pt x="1322" y="275"/>
                  </a:lnTo>
                  <a:lnTo>
                    <a:pt x="1318" y="276"/>
                  </a:lnTo>
                  <a:lnTo>
                    <a:pt x="131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5">
              <a:extLst>
                <a:ext uri="{FF2B5EF4-FFF2-40B4-BE49-F238E27FC236}">
                  <a16:creationId xmlns:a16="http://schemas.microsoft.com/office/drawing/2014/main" id="{A99B3659-6E7B-49DE-BC11-9C92F23368E3}"/>
                </a:ext>
              </a:extLst>
            </p:cNvPr>
            <p:cNvSpPr>
              <a:spLocks noEditPoints="1"/>
            </p:cNvSpPr>
            <p:nvPr/>
          </p:nvSpPr>
          <p:spPr bwMode="auto">
            <a:xfrm>
              <a:off x="4030663" y="2541588"/>
              <a:ext cx="311150" cy="165100"/>
            </a:xfrm>
            <a:custGeom>
              <a:avLst/>
              <a:gdLst>
                <a:gd name="T0" fmla="*/ 46 w 783"/>
                <a:gd name="T1" fmla="*/ 368 h 414"/>
                <a:gd name="T2" fmla="*/ 737 w 783"/>
                <a:gd name="T3" fmla="*/ 368 h 414"/>
                <a:gd name="T4" fmla="*/ 737 w 783"/>
                <a:gd name="T5" fmla="*/ 45 h 414"/>
                <a:gd name="T6" fmla="*/ 46 w 783"/>
                <a:gd name="T7" fmla="*/ 45 h 414"/>
                <a:gd name="T8" fmla="*/ 46 w 783"/>
                <a:gd name="T9" fmla="*/ 368 h 414"/>
                <a:gd name="T10" fmla="*/ 760 w 783"/>
                <a:gd name="T11" fmla="*/ 414 h 414"/>
                <a:gd name="T12" fmla="*/ 23 w 783"/>
                <a:gd name="T13" fmla="*/ 414 h 414"/>
                <a:gd name="T14" fmla="*/ 18 w 783"/>
                <a:gd name="T15" fmla="*/ 413 h 414"/>
                <a:gd name="T16" fmla="*/ 14 w 783"/>
                <a:gd name="T17" fmla="*/ 412 h 414"/>
                <a:gd name="T18" fmla="*/ 11 w 783"/>
                <a:gd name="T19" fmla="*/ 409 h 414"/>
                <a:gd name="T20" fmla="*/ 7 w 783"/>
                <a:gd name="T21" fmla="*/ 407 h 414"/>
                <a:gd name="T22" fmla="*/ 5 w 783"/>
                <a:gd name="T23" fmla="*/ 403 h 414"/>
                <a:gd name="T24" fmla="*/ 2 w 783"/>
                <a:gd name="T25" fmla="*/ 400 h 414"/>
                <a:gd name="T26" fmla="*/ 1 w 783"/>
                <a:gd name="T27" fmla="*/ 396 h 414"/>
                <a:gd name="T28" fmla="*/ 0 w 783"/>
                <a:gd name="T29" fmla="*/ 391 h 414"/>
                <a:gd name="T30" fmla="*/ 0 w 783"/>
                <a:gd name="T31" fmla="*/ 22 h 414"/>
                <a:gd name="T32" fmla="*/ 1 w 783"/>
                <a:gd name="T33" fmla="*/ 18 h 414"/>
                <a:gd name="T34" fmla="*/ 2 w 783"/>
                <a:gd name="T35" fmla="*/ 13 h 414"/>
                <a:gd name="T36" fmla="*/ 5 w 783"/>
                <a:gd name="T37" fmla="*/ 9 h 414"/>
                <a:gd name="T38" fmla="*/ 7 w 783"/>
                <a:gd name="T39" fmla="*/ 6 h 414"/>
                <a:gd name="T40" fmla="*/ 11 w 783"/>
                <a:gd name="T41" fmla="*/ 3 h 414"/>
                <a:gd name="T42" fmla="*/ 14 w 783"/>
                <a:gd name="T43" fmla="*/ 1 h 414"/>
                <a:gd name="T44" fmla="*/ 18 w 783"/>
                <a:gd name="T45" fmla="*/ 0 h 414"/>
                <a:gd name="T46" fmla="*/ 23 w 783"/>
                <a:gd name="T47" fmla="*/ 0 h 414"/>
                <a:gd name="T48" fmla="*/ 760 w 783"/>
                <a:gd name="T49" fmla="*/ 0 h 414"/>
                <a:gd name="T50" fmla="*/ 765 w 783"/>
                <a:gd name="T51" fmla="*/ 0 h 414"/>
                <a:gd name="T52" fmla="*/ 770 w 783"/>
                <a:gd name="T53" fmla="*/ 1 h 414"/>
                <a:gd name="T54" fmla="*/ 774 w 783"/>
                <a:gd name="T55" fmla="*/ 3 h 414"/>
                <a:gd name="T56" fmla="*/ 776 w 783"/>
                <a:gd name="T57" fmla="*/ 6 h 414"/>
                <a:gd name="T58" fmla="*/ 780 w 783"/>
                <a:gd name="T59" fmla="*/ 9 h 414"/>
                <a:gd name="T60" fmla="*/ 782 w 783"/>
                <a:gd name="T61" fmla="*/ 13 h 414"/>
                <a:gd name="T62" fmla="*/ 783 w 783"/>
                <a:gd name="T63" fmla="*/ 18 h 414"/>
                <a:gd name="T64" fmla="*/ 783 w 783"/>
                <a:gd name="T65" fmla="*/ 22 h 414"/>
                <a:gd name="T66" fmla="*/ 783 w 783"/>
                <a:gd name="T67" fmla="*/ 391 h 414"/>
                <a:gd name="T68" fmla="*/ 783 w 783"/>
                <a:gd name="T69" fmla="*/ 396 h 414"/>
                <a:gd name="T70" fmla="*/ 782 w 783"/>
                <a:gd name="T71" fmla="*/ 400 h 414"/>
                <a:gd name="T72" fmla="*/ 780 w 783"/>
                <a:gd name="T73" fmla="*/ 403 h 414"/>
                <a:gd name="T74" fmla="*/ 776 w 783"/>
                <a:gd name="T75" fmla="*/ 407 h 414"/>
                <a:gd name="T76" fmla="*/ 774 w 783"/>
                <a:gd name="T77" fmla="*/ 409 h 414"/>
                <a:gd name="T78" fmla="*/ 770 w 783"/>
                <a:gd name="T79" fmla="*/ 412 h 414"/>
                <a:gd name="T80" fmla="*/ 765 w 783"/>
                <a:gd name="T81" fmla="*/ 413 h 414"/>
                <a:gd name="T82" fmla="*/ 760 w 783"/>
                <a:gd name="T83"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3" h="414">
                  <a:moveTo>
                    <a:pt x="46" y="368"/>
                  </a:moveTo>
                  <a:lnTo>
                    <a:pt x="737" y="368"/>
                  </a:lnTo>
                  <a:lnTo>
                    <a:pt x="737" y="45"/>
                  </a:lnTo>
                  <a:lnTo>
                    <a:pt x="46" y="45"/>
                  </a:lnTo>
                  <a:lnTo>
                    <a:pt x="46" y="368"/>
                  </a:lnTo>
                  <a:close/>
                  <a:moveTo>
                    <a:pt x="760" y="414"/>
                  </a:moveTo>
                  <a:lnTo>
                    <a:pt x="23" y="414"/>
                  </a:lnTo>
                  <a:lnTo>
                    <a:pt x="18" y="413"/>
                  </a:lnTo>
                  <a:lnTo>
                    <a:pt x="14" y="412"/>
                  </a:lnTo>
                  <a:lnTo>
                    <a:pt x="11" y="409"/>
                  </a:lnTo>
                  <a:lnTo>
                    <a:pt x="7" y="407"/>
                  </a:lnTo>
                  <a:lnTo>
                    <a:pt x="5" y="403"/>
                  </a:lnTo>
                  <a:lnTo>
                    <a:pt x="2" y="400"/>
                  </a:lnTo>
                  <a:lnTo>
                    <a:pt x="1" y="396"/>
                  </a:lnTo>
                  <a:lnTo>
                    <a:pt x="0" y="391"/>
                  </a:lnTo>
                  <a:lnTo>
                    <a:pt x="0" y="22"/>
                  </a:lnTo>
                  <a:lnTo>
                    <a:pt x="1" y="18"/>
                  </a:lnTo>
                  <a:lnTo>
                    <a:pt x="2" y="13"/>
                  </a:lnTo>
                  <a:lnTo>
                    <a:pt x="5" y="9"/>
                  </a:lnTo>
                  <a:lnTo>
                    <a:pt x="7" y="6"/>
                  </a:lnTo>
                  <a:lnTo>
                    <a:pt x="11" y="3"/>
                  </a:lnTo>
                  <a:lnTo>
                    <a:pt x="14" y="1"/>
                  </a:lnTo>
                  <a:lnTo>
                    <a:pt x="18" y="0"/>
                  </a:lnTo>
                  <a:lnTo>
                    <a:pt x="23" y="0"/>
                  </a:lnTo>
                  <a:lnTo>
                    <a:pt x="760" y="0"/>
                  </a:lnTo>
                  <a:lnTo>
                    <a:pt x="765" y="0"/>
                  </a:lnTo>
                  <a:lnTo>
                    <a:pt x="770" y="1"/>
                  </a:lnTo>
                  <a:lnTo>
                    <a:pt x="774" y="3"/>
                  </a:lnTo>
                  <a:lnTo>
                    <a:pt x="776" y="6"/>
                  </a:lnTo>
                  <a:lnTo>
                    <a:pt x="780" y="9"/>
                  </a:lnTo>
                  <a:lnTo>
                    <a:pt x="782" y="13"/>
                  </a:lnTo>
                  <a:lnTo>
                    <a:pt x="783" y="18"/>
                  </a:lnTo>
                  <a:lnTo>
                    <a:pt x="783" y="22"/>
                  </a:lnTo>
                  <a:lnTo>
                    <a:pt x="783" y="391"/>
                  </a:lnTo>
                  <a:lnTo>
                    <a:pt x="783" y="396"/>
                  </a:lnTo>
                  <a:lnTo>
                    <a:pt x="782" y="400"/>
                  </a:lnTo>
                  <a:lnTo>
                    <a:pt x="780" y="403"/>
                  </a:lnTo>
                  <a:lnTo>
                    <a:pt x="776" y="407"/>
                  </a:lnTo>
                  <a:lnTo>
                    <a:pt x="774" y="409"/>
                  </a:lnTo>
                  <a:lnTo>
                    <a:pt x="770" y="412"/>
                  </a:lnTo>
                  <a:lnTo>
                    <a:pt x="765" y="413"/>
                  </a:lnTo>
                  <a:lnTo>
                    <a:pt x="760"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25">
              <a:extLst>
                <a:ext uri="{FF2B5EF4-FFF2-40B4-BE49-F238E27FC236}">
                  <a16:creationId xmlns:a16="http://schemas.microsoft.com/office/drawing/2014/main" id="{AC8A83F4-7195-4B94-8753-202EBA21894D}"/>
                </a:ext>
              </a:extLst>
            </p:cNvPr>
            <p:cNvSpPr>
              <a:spLocks/>
            </p:cNvSpPr>
            <p:nvPr/>
          </p:nvSpPr>
          <p:spPr bwMode="auto">
            <a:xfrm>
              <a:off x="4011613" y="2451100"/>
              <a:ext cx="73025" cy="109538"/>
            </a:xfrm>
            <a:custGeom>
              <a:avLst/>
              <a:gdLst>
                <a:gd name="T0" fmla="*/ 24 w 184"/>
                <a:gd name="T1" fmla="*/ 276 h 276"/>
                <a:gd name="T2" fmla="*/ 18 w 184"/>
                <a:gd name="T3" fmla="*/ 276 h 276"/>
                <a:gd name="T4" fmla="*/ 11 w 184"/>
                <a:gd name="T5" fmla="*/ 272 h 276"/>
                <a:gd name="T6" fmla="*/ 8 w 184"/>
                <a:gd name="T7" fmla="*/ 270 h 276"/>
                <a:gd name="T8" fmla="*/ 4 w 184"/>
                <a:gd name="T9" fmla="*/ 266 h 276"/>
                <a:gd name="T10" fmla="*/ 3 w 184"/>
                <a:gd name="T11" fmla="*/ 263 h 276"/>
                <a:gd name="T12" fmla="*/ 0 w 184"/>
                <a:gd name="T13" fmla="*/ 259 h 276"/>
                <a:gd name="T14" fmla="*/ 0 w 184"/>
                <a:gd name="T15" fmla="*/ 254 h 276"/>
                <a:gd name="T16" fmla="*/ 0 w 184"/>
                <a:gd name="T17" fmla="*/ 250 h 276"/>
                <a:gd name="T18" fmla="*/ 2 w 184"/>
                <a:gd name="T19" fmla="*/ 245 h 276"/>
                <a:gd name="T20" fmla="*/ 4 w 184"/>
                <a:gd name="T21" fmla="*/ 242 h 276"/>
                <a:gd name="T22" fmla="*/ 141 w 184"/>
                <a:gd name="T23" fmla="*/ 11 h 276"/>
                <a:gd name="T24" fmla="*/ 144 w 184"/>
                <a:gd name="T25" fmla="*/ 7 h 276"/>
                <a:gd name="T26" fmla="*/ 148 w 184"/>
                <a:gd name="T27" fmla="*/ 4 h 276"/>
                <a:gd name="T28" fmla="*/ 151 w 184"/>
                <a:gd name="T29" fmla="*/ 2 h 276"/>
                <a:gd name="T30" fmla="*/ 156 w 184"/>
                <a:gd name="T31" fmla="*/ 0 h 276"/>
                <a:gd name="T32" fmla="*/ 160 w 184"/>
                <a:gd name="T33" fmla="*/ 0 h 276"/>
                <a:gd name="T34" fmla="*/ 165 w 184"/>
                <a:gd name="T35" fmla="*/ 0 h 276"/>
                <a:gd name="T36" fmla="*/ 170 w 184"/>
                <a:gd name="T37" fmla="*/ 1 h 276"/>
                <a:gd name="T38" fmla="*/ 173 w 184"/>
                <a:gd name="T39" fmla="*/ 2 h 276"/>
                <a:gd name="T40" fmla="*/ 177 w 184"/>
                <a:gd name="T41" fmla="*/ 6 h 276"/>
                <a:gd name="T42" fmla="*/ 179 w 184"/>
                <a:gd name="T43" fmla="*/ 9 h 276"/>
                <a:gd name="T44" fmla="*/ 182 w 184"/>
                <a:gd name="T45" fmla="*/ 14 h 276"/>
                <a:gd name="T46" fmla="*/ 184 w 184"/>
                <a:gd name="T47" fmla="*/ 17 h 276"/>
                <a:gd name="T48" fmla="*/ 184 w 184"/>
                <a:gd name="T49" fmla="*/ 22 h 276"/>
                <a:gd name="T50" fmla="*/ 184 w 184"/>
                <a:gd name="T51" fmla="*/ 26 h 276"/>
                <a:gd name="T52" fmla="*/ 183 w 184"/>
                <a:gd name="T53" fmla="*/ 31 h 276"/>
                <a:gd name="T54" fmla="*/ 181 w 184"/>
                <a:gd name="T55" fmla="*/ 34 h 276"/>
                <a:gd name="T56" fmla="*/ 43 w 184"/>
                <a:gd name="T57" fmla="*/ 265 h 276"/>
                <a:gd name="T58" fmla="*/ 40 w 184"/>
                <a:gd name="T59" fmla="*/ 270 h 276"/>
                <a:gd name="T60" fmla="*/ 35 w 184"/>
                <a:gd name="T61" fmla="*/ 274 h 276"/>
                <a:gd name="T62" fmla="*/ 29 w 184"/>
                <a:gd name="T63" fmla="*/ 276 h 276"/>
                <a:gd name="T64" fmla="*/ 24 w 184"/>
                <a:gd name="T6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276">
                  <a:moveTo>
                    <a:pt x="24" y="276"/>
                  </a:moveTo>
                  <a:lnTo>
                    <a:pt x="18" y="276"/>
                  </a:lnTo>
                  <a:lnTo>
                    <a:pt x="11" y="272"/>
                  </a:lnTo>
                  <a:lnTo>
                    <a:pt x="8" y="270"/>
                  </a:lnTo>
                  <a:lnTo>
                    <a:pt x="4" y="266"/>
                  </a:lnTo>
                  <a:lnTo>
                    <a:pt x="3" y="263"/>
                  </a:lnTo>
                  <a:lnTo>
                    <a:pt x="0" y="259"/>
                  </a:lnTo>
                  <a:lnTo>
                    <a:pt x="0" y="254"/>
                  </a:lnTo>
                  <a:lnTo>
                    <a:pt x="0" y="250"/>
                  </a:lnTo>
                  <a:lnTo>
                    <a:pt x="2" y="245"/>
                  </a:lnTo>
                  <a:lnTo>
                    <a:pt x="4" y="242"/>
                  </a:lnTo>
                  <a:lnTo>
                    <a:pt x="141" y="11"/>
                  </a:lnTo>
                  <a:lnTo>
                    <a:pt x="144" y="7"/>
                  </a:lnTo>
                  <a:lnTo>
                    <a:pt x="148" y="4"/>
                  </a:lnTo>
                  <a:lnTo>
                    <a:pt x="151" y="2"/>
                  </a:lnTo>
                  <a:lnTo>
                    <a:pt x="156" y="0"/>
                  </a:lnTo>
                  <a:lnTo>
                    <a:pt x="160" y="0"/>
                  </a:lnTo>
                  <a:lnTo>
                    <a:pt x="165" y="0"/>
                  </a:lnTo>
                  <a:lnTo>
                    <a:pt x="170" y="1"/>
                  </a:lnTo>
                  <a:lnTo>
                    <a:pt x="173" y="2"/>
                  </a:lnTo>
                  <a:lnTo>
                    <a:pt x="177" y="6"/>
                  </a:lnTo>
                  <a:lnTo>
                    <a:pt x="179" y="9"/>
                  </a:lnTo>
                  <a:lnTo>
                    <a:pt x="182" y="14"/>
                  </a:lnTo>
                  <a:lnTo>
                    <a:pt x="184" y="17"/>
                  </a:lnTo>
                  <a:lnTo>
                    <a:pt x="184" y="22"/>
                  </a:lnTo>
                  <a:lnTo>
                    <a:pt x="184" y="26"/>
                  </a:lnTo>
                  <a:lnTo>
                    <a:pt x="183" y="31"/>
                  </a:lnTo>
                  <a:lnTo>
                    <a:pt x="181" y="34"/>
                  </a:lnTo>
                  <a:lnTo>
                    <a:pt x="43" y="265"/>
                  </a:lnTo>
                  <a:lnTo>
                    <a:pt x="40" y="270"/>
                  </a:lnTo>
                  <a:lnTo>
                    <a:pt x="35" y="274"/>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26">
              <a:extLst>
                <a:ext uri="{FF2B5EF4-FFF2-40B4-BE49-F238E27FC236}">
                  <a16:creationId xmlns:a16="http://schemas.microsoft.com/office/drawing/2014/main" id="{436F9F41-5926-416D-BDEA-CDADD003B435}"/>
                </a:ext>
              </a:extLst>
            </p:cNvPr>
            <p:cNvSpPr>
              <a:spLocks/>
            </p:cNvSpPr>
            <p:nvPr/>
          </p:nvSpPr>
          <p:spPr bwMode="auto">
            <a:xfrm>
              <a:off x="4286251" y="2451100"/>
              <a:ext cx="73025" cy="109538"/>
            </a:xfrm>
            <a:custGeom>
              <a:avLst/>
              <a:gdLst>
                <a:gd name="T0" fmla="*/ 162 w 185"/>
                <a:gd name="T1" fmla="*/ 276 h 276"/>
                <a:gd name="T2" fmla="*/ 156 w 185"/>
                <a:gd name="T3" fmla="*/ 276 h 276"/>
                <a:gd name="T4" fmla="*/ 151 w 185"/>
                <a:gd name="T5" fmla="*/ 274 h 276"/>
                <a:gd name="T6" fmla="*/ 146 w 185"/>
                <a:gd name="T7" fmla="*/ 270 h 276"/>
                <a:gd name="T8" fmla="*/ 142 w 185"/>
                <a:gd name="T9" fmla="*/ 265 h 276"/>
                <a:gd name="T10" fmla="*/ 4 w 185"/>
                <a:gd name="T11" fmla="*/ 34 h 276"/>
                <a:gd name="T12" fmla="*/ 1 w 185"/>
                <a:gd name="T13" fmla="*/ 31 h 276"/>
                <a:gd name="T14" fmla="*/ 0 w 185"/>
                <a:gd name="T15" fmla="*/ 26 h 276"/>
                <a:gd name="T16" fmla="*/ 0 w 185"/>
                <a:gd name="T17" fmla="*/ 22 h 276"/>
                <a:gd name="T18" fmla="*/ 1 w 185"/>
                <a:gd name="T19" fmla="*/ 17 h 276"/>
                <a:gd name="T20" fmla="*/ 2 w 185"/>
                <a:gd name="T21" fmla="*/ 14 h 276"/>
                <a:gd name="T22" fmla="*/ 5 w 185"/>
                <a:gd name="T23" fmla="*/ 9 h 276"/>
                <a:gd name="T24" fmla="*/ 7 w 185"/>
                <a:gd name="T25" fmla="*/ 6 h 276"/>
                <a:gd name="T26" fmla="*/ 11 w 185"/>
                <a:gd name="T27" fmla="*/ 2 h 276"/>
                <a:gd name="T28" fmla="*/ 16 w 185"/>
                <a:gd name="T29" fmla="*/ 1 h 276"/>
                <a:gd name="T30" fmla="*/ 19 w 185"/>
                <a:gd name="T31" fmla="*/ 0 h 276"/>
                <a:gd name="T32" fmla="*/ 24 w 185"/>
                <a:gd name="T33" fmla="*/ 0 h 276"/>
                <a:gd name="T34" fmla="*/ 29 w 185"/>
                <a:gd name="T35" fmla="*/ 0 h 276"/>
                <a:gd name="T36" fmla="*/ 33 w 185"/>
                <a:gd name="T37" fmla="*/ 2 h 276"/>
                <a:gd name="T38" fmla="*/ 37 w 185"/>
                <a:gd name="T39" fmla="*/ 4 h 276"/>
                <a:gd name="T40" fmla="*/ 40 w 185"/>
                <a:gd name="T41" fmla="*/ 7 h 276"/>
                <a:gd name="T42" fmla="*/ 43 w 185"/>
                <a:gd name="T43" fmla="*/ 11 h 276"/>
                <a:gd name="T44" fmla="*/ 181 w 185"/>
                <a:gd name="T45" fmla="*/ 242 h 276"/>
                <a:gd name="T46" fmla="*/ 183 w 185"/>
                <a:gd name="T47" fmla="*/ 245 h 276"/>
                <a:gd name="T48" fmla="*/ 184 w 185"/>
                <a:gd name="T49" fmla="*/ 250 h 276"/>
                <a:gd name="T50" fmla="*/ 185 w 185"/>
                <a:gd name="T51" fmla="*/ 254 h 276"/>
                <a:gd name="T52" fmla="*/ 184 w 185"/>
                <a:gd name="T53" fmla="*/ 259 h 276"/>
                <a:gd name="T54" fmla="*/ 183 w 185"/>
                <a:gd name="T55" fmla="*/ 263 h 276"/>
                <a:gd name="T56" fmla="*/ 180 w 185"/>
                <a:gd name="T57" fmla="*/ 266 h 276"/>
                <a:gd name="T58" fmla="*/ 176 w 185"/>
                <a:gd name="T59" fmla="*/ 270 h 276"/>
                <a:gd name="T60" fmla="*/ 173 w 185"/>
                <a:gd name="T61" fmla="*/ 272 h 276"/>
                <a:gd name="T62" fmla="*/ 168 w 185"/>
                <a:gd name="T63" fmla="*/ 276 h 276"/>
                <a:gd name="T64" fmla="*/ 162 w 185"/>
                <a:gd name="T6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276">
                  <a:moveTo>
                    <a:pt x="162" y="276"/>
                  </a:moveTo>
                  <a:lnTo>
                    <a:pt x="156" y="276"/>
                  </a:lnTo>
                  <a:lnTo>
                    <a:pt x="151" y="274"/>
                  </a:lnTo>
                  <a:lnTo>
                    <a:pt x="146" y="270"/>
                  </a:lnTo>
                  <a:lnTo>
                    <a:pt x="142" y="265"/>
                  </a:lnTo>
                  <a:lnTo>
                    <a:pt x="4" y="34"/>
                  </a:lnTo>
                  <a:lnTo>
                    <a:pt x="1" y="31"/>
                  </a:lnTo>
                  <a:lnTo>
                    <a:pt x="0" y="26"/>
                  </a:lnTo>
                  <a:lnTo>
                    <a:pt x="0" y="22"/>
                  </a:lnTo>
                  <a:lnTo>
                    <a:pt x="1" y="17"/>
                  </a:lnTo>
                  <a:lnTo>
                    <a:pt x="2" y="14"/>
                  </a:lnTo>
                  <a:lnTo>
                    <a:pt x="5" y="9"/>
                  </a:lnTo>
                  <a:lnTo>
                    <a:pt x="7" y="6"/>
                  </a:lnTo>
                  <a:lnTo>
                    <a:pt x="11" y="2"/>
                  </a:lnTo>
                  <a:lnTo>
                    <a:pt x="16" y="1"/>
                  </a:lnTo>
                  <a:lnTo>
                    <a:pt x="19" y="0"/>
                  </a:lnTo>
                  <a:lnTo>
                    <a:pt x="24" y="0"/>
                  </a:lnTo>
                  <a:lnTo>
                    <a:pt x="29" y="0"/>
                  </a:lnTo>
                  <a:lnTo>
                    <a:pt x="33" y="2"/>
                  </a:lnTo>
                  <a:lnTo>
                    <a:pt x="37" y="4"/>
                  </a:lnTo>
                  <a:lnTo>
                    <a:pt x="40" y="7"/>
                  </a:lnTo>
                  <a:lnTo>
                    <a:pt x="43" y="11"/>
                  </a:lnTo>
                  <a:lnTo>
                    <a:pt x="181" y="242"/>
                  </a:lnTo>
                  <a:lnTo>
                    <a:pt x="183" y="245"/>
                  </a:lnTo>
                  <a:lnTo>
                    <a:pt x="184" y="250"/>
                  </a:lnTo>
                  <a:lnTo>
                    <a:pt x="185" y="254"/>
                  </a:lnTo>
                  <a:lnTo>
                    <a:pt x="184" y="259"/>
                  </a:lnTo>
                  <a:lnTo>
                    <a:pt x="183" y="263"/>
                  </a:lnTo>
                  <a:lnTo>
                    <a:pt x="180" y="266"/>
                  </a:lnTo>
                  <a:lnTo>
                    <a:pt x="176" y="270"/>
                  </a:lnTo>
                  <a:lnTo>
                    <a:pt x="173" y="272"/>
                  </a:lnTo>
                  <a:lnTo>
                    <a:pt x="168" y="276"/>
                  </a:lnTo>
                  <a:lnTo>
                    <a:pt x="16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27">
              <a:extLst>
                <a:ext uri="{FF2B5EF4-FFF2-40B4-BE49-F238E27FC236}">
                  <a16:creationId xmlns:a16="http://schemas.microsoft.com/office/drawing/2014/main" id="{48EA4920-4434-410A-8469-8DC9A0712F76}"/>
                </a:ext>
              </a:extLst>
            </p:cNvPr>
            <p:cNvSpPr>
              <a:spLocks/>
            </p:cNvSpPr>
            <p:nvPr/>
          </p:nvSpPr>
          <p:spPr bwMode="auto">
            <a:xfrm>
              <a:off x="4176713" y="2451100"/>
              <a:ext cx="17463" cy="109538"/>
            </a:xfrm>
            <a:custGeom>
              <a:avLst/>
              <a:gdLst>
                <a:gd name="T0" fmla="*/ 23 w 45"/>
                <a:gd name="T1" fmla="*/ 276 h 276"/>
                <a:gd name="T2" fmla="*/ 18 w 45"/>
                <a:gd name="T3" fmla="*/ 276 h 276"/>
                <a:gd name="T4" fmla="*/ 13 w 45"/>
                <a:gd name="T5" fmla="*/ 275 h 276"/>
                <a:gd name="T6" fmla="*/ 10 w 45"/>
                <a:gd name="T7" fmla="*/ 272 h 276"/>
                <a:gd name="T8" fmla="*/ 6 w 45"/>
                <a:gd name="T9" fmla="*/ 270 h 276"/>
                <a:gd name="T10" fmla="*/ 4 w 45"/>
                <a:gd name="T11" fmla="*/ 266 h 276"/>
                <a:gd name="T12" fmla="*/ 1 w 45"/>
                <a:gd name="T13" fmla="*/ 263 h 276"/>
                <a:gd name="T14" fmla="*/ 0 w 45"/>
                <a:gd name="T15" fmla="*/ 258 h 276"/>
                <a:gd name="T16" fmla="*/ 0 w 45"/>
                <a:gd name="T17" fmla="*/ 253 h 276"/>
                <a:gd name="T18" fmla="*/ 0 w 45"/>
                <a:gd name="T19" fmla="*/ 23 h 276"/>
                <a:gd name="T20" fmla="*/ 0 w 45"/>
                <a:gd name="T21" fmla="*/ 18 h 276"/>
                <a:gd name="T22" fmla="*/ 1 w 45"/>
                <a:gd name="T23" fmla="*/ 14 h 276"/>
                <a:gd name="T24" fmla="*/ 4 w 45"/>
                <a:gd name="T25" fmla="*/ 10 h 276"/>
                <a:gd name="T26" fmla="*/ 6 w 45"/>
                <a:gd name="T27" fmla="*/ 6 h 276"/>
                <a:gd name="T28" fmla="*/ 10 w 45"/>
                <a:gd name="T29" fmla="*/ 4 h 276"/>
                <a:gd name="T30" fmla="*/ 13 w 45"/>
                <a:gd name="T31" fmla="*/ 1 h 276"/>
                <a:gd name="T32" fmla="*/ 18 w 45"/>
                <a:gd name="T33" fmla="*/ 0 h 276"/>
                <a:gd name="T34" fmla="*/ 23 w 45"/>
                <a:gd name="T35" fmla="*/ 0 h 276"/>
                <a:gd name="T36" fmla="*/ 27 w 45"/>
                <a:gd name="T37" fmla="*/ 0 h 276"/>
                <a:gd name="T38" fmla="*/ 32 w 45"/>
                <a:gd name="T39" fmla="*/ 1 h 276"/>
                <a:gd name="T40" fmla="*/ 35 w 45"/>
                <a:gd name="T41" fmla="*/ 4 h 276"/>
                <a:gd name="T42" fmla="*/ 39 w 45"/>
                <a:gd name="T43" fmla="*/ 6 h 276"/>
                <a:gd name="T44" fmla="*/ 42 w 45"/>
                <a:gd name="T45" fmla="*/ 10 h 276"/>
                <a:gd name="T46" fmla="*/ 44 w 45"/>
                <a:gd name="T47" fmla="*/ 14 h 276"/>
                <a:gd name="T48" fmla="*/ 45 w 45"/>
                <a:gd name="T49" fmla="*/ 18 h 276"/>
                <a:gd name="T50" fmla="*/ 45 w 45"/>
                <a:gd name="T51" fmla="*/ 23 h 276"/>
                <a:gd name="T52" fmla="*/ 45 w 45"/>
                <a:gd name="T53" fmla="*/ 253 h 276"/>
                <a:gd name="T54" fmla="*/ 45 w 45"/>
                <a:gd name="T55" fmla="*/ 258 h 276"/>
                <a:gd name="T56" fmla="*/ 44 w 45"/>
                <a:gd name="T57" fmla="*/ 263 h 276"/>
                <a:gd name="T58" fmla="*/ 42 w 45"/>
                <a:gd name="T59" fmla="*/ 266 h 276"/>
                <a:gd name="T60" fmla="*/ 39 w 45"/>
                <a:gd name="T61" fmla="*/ 270 h 276"/>
                <a:gd name="T62" fmla="*/ 35 w 45"/>
                <a:gd name="T63" fmla="*/ 272 h 276"/>
                <a:gd name="T64" fmla="*/ 32 w 45"/>
                <a:gd name="T65" fmla="*/ 275 h 276"/>
                <a:gd name="T66" fmla="*/ 27 w 45"/>
                <a:gd name="T67" fmla="*/ 276 h 276"/>
                <a:gd name="T68" fmla="*/ 23 w 45"/>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6">
                  <a:moveTo>
                    <a:pt x="23" y="276"/>
                  </a:moveTo>
                  <a:lnTo>
                    <a:pt x="18" y="276"/>
                  </a:lnTo>
                  <a:lnTo>
                    <a:pt x="13" y="275"/>
                  </a:lnTo>
                  <a:lnTo>
                    <a:pt x="10" y="272"/>
                  </a:lnTo>
                  <a:lnTo>
                    <a:pt x="6" y="270"/>
                  </a:lnTo>
                  <a:lnTo>
                    <a:pt x="4" y="266"/>
                  </a:lnTo>
                  <a:lnTo>
                    <a:pt x="1" y="263"/>
                  </a:lnTo>
                  <a:lnTo>
                    <a:pt x="0" y="258"/>
                  </a:lnTo>
                  <a:lnTo>
                    <a:pt x="0" y="253"/>
                  </a:lnTo>
                  <a:lnTo>
                    <a:pt x="0" y="23"/>
                  </a:lnTo>
                  <a:lnTo>
                    <a:pt x="0" y="18"/>
                  </a:lnTo>
                  <a:lnTo>
                    <a:pt x="1" y="14"/>
                  </a:lnTo>
                  <a:lnTo>
                    <a:pt x="4" y="10"/>
                  </a:lnTo>
                  <a:lnTo>
                    <a:pt x="6" y="6"/>
                  </a:lnTo>
                  <a:lnTo>
                    <a:pt x="10" y="4"/>
                  </a:lnTo>
                  <a:lnTo>
                    <a:pt x="13" y="1"/>
                  </a:lnTo>
                  <a:lnTo>
                    <a:pt x="18" y="0"/>
                  </a:lnTo>
                  <a:lnTo>
                    <a:pt x="23" y="0"/>
                  </a:lnTo>
                  <a:lnTo>
                    <a:pt x="27" y="0"/>
                  </a:lnTo>
                  <a:lnTo>
                    <a:pt x="32" y="1"/>
                  </a:lnTo>
                  <a:lnTo>
                    <a:pt x="35" y="4"/>
                  </a:lnTo>
                  <a:lnTo>
                    <a:pt x="39" y="6"/>
                  </a:lnTo>
                  <a:lnTo>
                    <a:pt x="42" y="10"/>
                  </a:lnTo>
                  <a:lnTo>
                    <a:pt x="44" y="14"/>
                  </a:lnTo>
                  <a:lnTo>
                    <a:pt x="45" y="18"/>
                  </a:lnTo>
                  <a:lnTo>
                    <a:pt x="45" y="23"/>
                  </a:lnTo>
                  <a:lnTo>
                    <a:pt x="45" y="253"/>
                  </a:lnTo>
                  <a:lnTo>
                    <a:pt x="45" y="258"/>
                  </a:lnTo>
                  <a:lnTo>
                    <a:pt x="44" y="263"/>
                  </a:lnTo>
                  <a:lnTo>
                    <a:pt x="42" y="266"/>
                  </a:lnTo>
                  <a:lnTo>
                    <a:pt x="39" y="270"/>
                  </a:lnTo>
                  <a:lnTo>
                    <a:pt x="35" y="272"/>
                  </a:lnTo>
                  <a:lnTo>
                    <a:pt x="32" y="275"/>
                  </a:lnTo>
                  <a:lnTo>
                    <a:pt x="27" y="276"/>
                  </a:lnTo>
                  <a:lnTo>
                    <a:pt x="2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28">
              <a:extLst>
                <a:ext uri="{FF2B5EF4-FFF2-40B4-BE49-F238E27FC236}">
                  <a16:creationId xmlns:a16="http://schemas.microsoft.com/office/drawing/2014/main" id="{A52972F2-AADB-4913-84A8-0389EDA574DD}"/>
                </a:ext>
              </a:extLst>
            </p:cNvPr>
            <p:cNvSpPr>
              <a:spLocks/>
            </p:cNvSpPr>
            <p:nvPr/>
          </p:nvSpPr>
          <p:spPr bwMode="auto">
            <a:xfrm>
              <a:off x="4103688" y="2451100"/>
              <a:ext cx="36513" cy="109538"/>
            </a:xfrm>
            <a:custGeom>
              <a:avLst/>
              <a:gdLst>
                <a:gd name="T0" fmla="*/ 22 w 92"/>
                <a:gd name="T1" fmla="*/ 276 h 276"/>
                <a:gd name="T2" fmla="*/ 21 w 92"/>
                <a:gd name="T3" fmla="*/ 276 h 276"/>
                <a:gd name="T4" fmla="*/ 18 w 92"/>
                <a:gd name="T5" fmla="*/ 276 h 276"/>
                <a:gd name="T6" fmla="*/ 13 w 92"/>
                <a:gd name="T7" fmla="*/ 275 h 276"/>
                <a:gd name="T8" fmla="*/ 10 w 92"/>
                <a:gd name="T9" fmla="*/ 272 h 276"/>
                <a:gd name="T10" fmla="*/ 6 w 92"/>
                <a:gd name="T11" fmla="*/ 270 h 276"/>
                <a:gd name="T12" fmla="*/ 4 w 92"/>
                <a:gd name="T13" fmla="*/ 266 h 276"/>
                <a:gd name="T14" fmla="*/ 1 w 92"/>
                <a:gd name="T15" fmla="*/ 263 h 276"/>
                <a:gd name="T16" fmla="*/ 0 w 92"/>
                <a:gd name="T17" fmla="*/ 258 h 276"/>
                <a:gd name="T18" fmla="*/ 0 w 92"/>
                <a:gd name="T19" fmla="*/ 253 h 276"/>
                <a:gd name="T20" fmla="*/ 0 w 92"/>
                <a:gd name="T21" fmla="*/ 249 h 276"/>
                <a:gd name="T22" fmla="*/ 47 w 92"/>
                <a:gd name="T23" fmla="*/ 18 h 276"/>
                <a:gd name="T24" fmla="*/ 48 w 92"/>
                <a:gd name="T25" fmla="*/ 14 h 276"/>
                <a:gd name="T26" fmla="*/ 49 w 92"/>
                <a:gd name="T27" fmla="*/ 10 h 276"/>
                <a:gd name="T28" fmla="*/ 53 w 92"/>
                <a:gd name="T29" fmla="*/ 6 h 276"/>
                <a:gd name="T30" fmla="*/ 56 w 92"/>
                <a:gd name="T31" fmla="*/ 4 h 276"/>
                <a:gd name="T32" fmla="*/ 60 w 92"/>
                <a:gd name="T33" fmla="*/ 1 h 276"/>
                <a:gd name="T34" fmla="*/ 64 w 92"/>
                <a:gd name="T35" fmla="*/ 0 h 276"/>
                <a:gd name="T36" fmla="*/ 69 w 92"/>
                <a:gd name="T37" fmla="*/ 0 h 276"/>
                <a:gd name="T38" fmla="*/ 74 w 92"/>
                <a:gd name="T39" fmla="*/ 0 h 276"/>
                <a:gd name="T40" fmla="*/ 77 w 92"/>
                <a:gd name="T41" fmla="*/ 1 h 276"/>
                <a:gd name="T42" fmla="*/ 82 w 92"/>
                <a:gd name="T43" fmla="*/ 4 h 276"/>
                <a:gd name="T44" fmla="*/ 85 w 92"/>
                <a:gd name="T45" fmla="*/ 6 h 276"/>
                <a:gd name="T46" fmla="*/ 88 w 92"/>
                <a:gd name="T47" fmla="*/ 10 h 276"/>
                <a:gd name="T48" fmla="*/ 89 w 92"/>
                <a:gd name="T49" fmla="*/ 14 h 276"/>
                <a:gd name="T50" fmla="*/ 91 w 92"/>
                <a:gd name="T51" fmla="*/ 18 h 276"/>
                <a:gd name="T52" fmla="*/ 92 w 92"/>
                <a:gd name="T53" fmla="*/ 22 h 276"/>
                <a:gd name="T54" fmla="*/ 91 w 92"/>
                <a:gd name="T55" fmla="*/ 27 h 276"/>
                <a:gd name="T56" fmla="*/ 45 w 92"/>
                <a:gd name="T57" fmla="*/ 258 h 276"/>
                <a:gd name="T58" fmla="*/ 44 w 92"/>
                <a:gd name="T59" fmla="*/ 261 h 276"/>
                <a:gd name="T60" fmla="*/ 42 w 92"/>
                <a:gd name="T61" fmla="*/ 265 h 276"/>
                <a:gd name="T62" fmla="*/ 40 w 92"/>
                <a:gd name="T63" fmla="*/ 269 h 276"/>
                <a:gd name="T64" fmla="*/ 37 w 92"/>
                <a:gd name="T65" fmla="*/ 271 h 276"/>
                <a:gd name="T66" fmla="*/ 34 w 92"/>
                <a:gd name="T67" fmla="*/ 274 h 276"/>
                <a:gd name="T68" fmla="*/ 31 w 92"/>
                <a:gd name="T69" fmla="*/ 275 h 276"/>
                <a:gd name="T70" fmla="*/ 27 w 92"/>
                <a:gd name="T71" fmla="*/ 276 h 276"/>
                <a:gd name="T72" fmla="*/ 22 w 92"/>
                <a:gd name="T7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276">
                  <a:moveTo>
                    <a:pt x="22" y="276"/>
                  </a:moveTo>
                  <a:lnTo>
                    <a:pt x="21" y="276"/>
                  </a:lnTo>
                  <a:lnTo>
                    <a:pt x="18" y="276"/>
                  </a:lnTo>
                  <a:lnTo>
                    <a:pt x="13" y="275"/>
                  </a:lnTo>
                  <a:lnTo>
                    <a:pt x="10" y="272"/>
                  </a:lnTo>
                  <a:lnTo>
                    <a:pt x="6" y="270"/>
                  </a:lnTo>
                  <a:lnTo>
                    <a:pt x="4" y="266"/>
                  </a:lnTo>
                  <a:lnTo>
                    <a:pt x="1" y="263"/>
                  </a:lnTo>
                  <a:lnTo>
                    <a:pt x="0" y="258"/>
                  </a:lnTo>
                  <a:lnTo>
                    <a:pt x="0" y="253"/>
                  </a:lnTo>
                  <a:lnTo>
                    <a:pt x="0" y="249"/>
                  </a:lnTo>
                  <a:lnTo>
                    <a:pt x="47" y="18"/>
                  </a:lnTo>
                  <a:lnTo>
                    <a:pt x="48" y="14"/>
                  </a:lnTo>
                  <a:lnTo>
                    <a:pt x="49" y="10"/>
                  </a:lnTo>
                  <a:lnTo>
                    <a:pt x="53" y="6"/>
                  </a:lnTo>
                  <a:lnTo>
                    <a:pt x="56" y="4"/>
                  </a:lnTo>
                  <a:lnTo>
                    <a:pt x="60" y="1"/>
                  </a:lnTo>
                  <a:lnTo>
                    <a:pt x="64" y="0"/>
                  </a:lnTo>
                  <a:lnTo>
                    <a:pt x="69" y="0"/>
                  </a:lnTo>
                  <a:lnTo>
                    <a:pt x="74" y="0"/>
                  </a:lnTo>
                  <a:lnTo>
                    <a:pt x="77" y="1"/>
                  </a:lnTo>
                  <a:lnTo>
                    <a:pt x="82" y="4"/>
                  </a:lnTo>
                  <a:lnTo>
                    <a:pt x="85" y="6"/>
                  </a:lnTo>
                  <a:lnTo>
                    <a:pt x="88" y="10"/>
                  </a:lnTo>
                  <a:lnTo>
                    <a:pt x="89" y="14"/>
                  </a:lnTo>
                  <a:lnTo>
                    <a:pt x="91" y="18"/>
                  </a:lnTo>
                  <a:lnTo>
                    <a:pt x="92" y="22"/>
                  </a:lnTo>
                  <a:lnTo>
                    <a:pt x="91" y="27"/>
                  </a:lnTo>
                  <a:lnTo>
                    <a:pt x="45" y="258"/>
                  </a:lnTo>
                  <a:lnTo>
                    <a:pt x="44" y="261"/>
                  </a:lnTo>
                  <a:lnTo>
                    <a:pt x="42" y="265"/>
                  </a:lnTo>
                  <a:lnTo>
                    <a:pt x="40" y="269"/>
                  </a:lnTo>
                  <a:lnTo>
                    <a:pt x="37" y="271"/>
                  </a:lnTo>
                  <a:lnTo>
                    <a:pt x="34" y="274"/>
                  </a:lnTo>
                  <a:lnTo>
                    <a:pt x="31" y="275"/>
                  </a:lnTo>
                  <a:lnTo>
                    <a:pt x="27" y="276"/>
                  </a:lnTo>
                  <a:lnTo>
                    <a:pt x="2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29">
              <a:extLst>
                <a:ext uri="{FF2B5EF4-FFF2-40B4-BE49-F238E27FC236}">
                  <a16:creationId xmlns:a16="http://schemas.microsoft.com/office/drawing/2014/main" id="{F9774A64-3E67-48CC-98C5-0090E4D0D142}"/>
                </a:ext>
              </a:extLst>
            </p:cNvPr>
            <p:cNvSpPr>
              <a:spLocks/>
            </p:cNvSpPr>
            <p:nvPr/>
          </p:nvSpPr>
          <p:spPr bwMode="auto">
            <a:xfrm>
              <a:off x="4232276" y="2451100"/>
              <a:ext cx="36513" cy="109538"/>
            </a:xfrm>
            <a:custGeom>
              <a:avLst/>
              <a:gdLst>
                <a:gd name="T0" fmla="*/ 68 w 91"/>
                <a:gd name="T1" fmla="*/ 276 h 276"/>
                <a:gd name="T2" fmla="*/ 65 w 91"/>
                <a:gd name="T3" fmla="*/ 276 h 276"/>
                <a:gd name="T4" fmla="*/ 61 w 91"/>
                <a:gd name="T5" fmla="*/ 275 h 276"/>
                <a:gd name="T6" fmla="*/ 57 w 91"/>
                <a:gd name="T7" fmla="*/ 274 h 276"/>
                <a:gd name="T8" fmla="*/ 53 w 91"/>
                <a:gd name="T9" fmla="*/ 271 h 276"/>
                <a:gd name="T10" fmla="*/ 51 w 91"/>
                <a:gd name="T11" fmla="*/ 269 h 276"/>
                <a:gd name="T12" fmla="*/ 49 w 91"/>
                <a:gd name="T13" fmla="*/ 265 h 276"/>
                <a:gd name="T14" fmla="*/ 46 w 91"/>
                <a:gd name="T15" fmla="*/ 261 h 276"/>
                <a:gd name="T16" fmla="*/ 46 w 91"/>
                <a:gd name="T17" fmla="*/ 258 h 276"/>
                <a:gd name="T18" fmla="*/ 0 w 91"/>
                <a:gd name="T19" fmla="*/ 27 h 276"/>
                <a:gd name="T20" fmla="*/ 0 w 91"/>
                <a:gd name="T21" fmla="*/ 22 h 276"/>
                <a:gd name="T22" fmla="*/ 0 w 91"/>
                <a:gd name="T23" fmla="*/ 18 h 276"/>
                <a:gd name="T24" fmla="*/ 1 w 91"/>
                <a:gd name="T25" fmla="*/ 14 h 276"/>
                <a:gd name="T26" fmla="*/ 3 w 91"/>
                <a:gd name="T27" fmla="*/ 10 h 276"/>
                <a:gd name="T28" fmla="*/ 6 w 91"/>
                <a:gd name="T29" fmla="*/ 6 h 276"/>
                <a:gd name="T30" fmla="*/ 9 w 91"/>
                <a:gd name="T31" fmla="*/ 4 h 276"/>
                <a:gd name="T32" fmla="*/ 13 w 91"/>
                <a:gd name="T33" fmla="*/ 1 h 276"/>
                <a:gd name="T34" fmla="*/ 18 w 91"/>
                <a:gd name="T35" fmla="*/ 0 h 276"/>
                <a:gd name="T36" fmla="*/ 22 w 91"/>
                <a:gd name="T37" fmla="*/ 0 h 276"/>
                <a:gd name="T38" fmla="*/ 26 w 91"/>
                <a:gd name="T39" fmla="*/ 0 h 276"/>
                <a:gd name="T40" fmla="*/ 31 w 91"/>
                <a:gd name="T41" fmla="*/ 1 h 276"/>
                <a:gd name="T42" fmla="*/ 35 w 91"/>
                <a:gd name="T43" fmla="*/ 4 h 276"/>
                <a:gd name="T44" fmla="*/ 39 w 91"/>
                <a:gd name="T45" fmla="*/ 6 h 276"/>
                <a:gd name="T46" fmla="*/ 41 w 91"/>
                <a:gd name="T47" fmla="*/ 10 h 276"/>
                <a:gd name="T48" fmla="*/ 44 w 91"/>
                <a:gd name="T49" fmla="*/ 14 h 276"/>
                <a:gd name="T50" fmla="*/ 45 w 91"/>
                <a:gd name="T51" fmla="*/ 18 h 276"/>
                <a:gd name="T52" fmla="*/ 90 w 91"/>
                <a:gd name="T53" fmla="*/ 249 h 276"/>
                <a:gd name="T54" fmla="*/ 91 w 91"/>
                <a:gd name="T55" fmla="*/ 253 h 276"/>
                <a:gd name="T56" fmla="*/ 90 w 91"/>
                <a:gd name="T57" fmla="*/ 258 h 276"/>
                <a:gd name="T58" fmla="*/ 89 w 91"/>
                <a:gd name="T59" fmla="*/ 263 h 276"/>
                <a:gd name="T60" fmla="*/ 88 w 91"/>
                <a:gd name="T61" fmla="*/ 266 h 276"/>
                <a:gd name="T62" fmla="*/ 84 w 91"/>
                <a:gd name="T63" fmla="*/ 270 h 276"/>
                <a:gd name="T64" fmla="*/ 82 w 91"/>
                <a:gd name="T65" fmla="*/ 272 h 276"/>
                <a:gd name="T66" fmla="*/ 77 w 91"/>
                <a:gd name="T67" fmla="*/ 275 h 276"/>
                <a:gd name="T68" fmla="*/ 73 w 91"/>
                <a:gd name="T69" fmla="*/ 276 h 276"/>
                <a:gd name="T70" fmla="*/ 71 w 91"/>
                <a:gd name="T71" fmla="*/ 276 h 276"/>
                <a:gd name="T72" fmla="*/ 68 w 91"/>
                <a:gd name="T7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1" h="276">
                  <a:moveTo>
                    <a:pt x="68" y="276"/>
                  </a:moveTo>
                  <a:lnTo>
                    <a:pt x="65" y="276"/>
                  </a:lnTo>
                  <a:lnTo>
                    <a:pt x="61" y="275"/>
                  </a:lnTo>
                  <a:lnTo>
                    <a:pt x="57" y="274"/>
                  </a:lnTo>
                  <a:lnTo>
                    <a:pt x="53" y="271"/>
                  </a:lnTo>
                  <a:lnTo>
                    <a:pt x="51" y="269"/>
                  </a:lnTo>
                  <a:lnTo>
                    <a:pt x="49" y="265"/>
                  </a:lnTo>
                  <a:lnTo>
                    <a:pt x="46" y="261"/>
                  </a:lnTo>
                  <a:lnTo>
                    <a:pt x="46" y="258"/>
                  </a:lnTo>
                  <a:lnTo>
                    <a:pt x="0" y="27"/>
                  </a:lnTo>
                  <a:lnTo>
                    <a:pt x="0" y="22"/>
                  </a:lnTo>
                  <a:lnTo>
                    <a:pt x="0" y="18"/>
                  </a:lnTo>
                  <a:lnTo>
                    <a:pt x="1" y="14"/>
                  </a:lnTo>
                  <a:lnTo>
                    <a:pt x="3" y="10"/>
                  </a:lnTo>
                  <a:lnTo>
                    <a:pt x="6" y="6"/>
                  </a:lnTo>
                  <a:lnTo>
                    <a:pt x="9" y="4"/>
                  </a:lnTo>
                  <a:lnTo>
                    <a:pt x="13" y="1"/>
                  </a:lnTo>
                  <a:lnTo>
                    <a:pt x="18" y="0"/>
                  </a:lnTo>
                  <a:lnTo>
                    <a:pt x="22" y="0"/>
                  </a:lnTo>
                  <a:lnTo>
                    <a:pt x="26" y="0"/>
                  </a:lnTo>
                  <a:lnTo>
                    <a:pt x="31" y="1"/>
                  </a:lnTo>
                  <a:lnTo>
                    <a:pt x="35" y="4"/>
                  </a:lnTo>
                  <a:lnTo>
                    <a:pt x="39" y="6"/>
                  </a:lnTo>
                  <a:lnTo>
                    <a:pt x="41" y="10"/>
                  </a:lnTo>
                  <a:lnTo>
                    <a:pt x="44" y="14"/>
                  </a:lnTo>
                  <a:lnTo>
                    <a:pt x="45" y="18"/>
                  </a:lnTo>
                  <a:lnTo>
                    <a:pt x="90" y="249"/>
                  </a:lnTo>
                  <a:lnTo>
                    <a:pt x="91" y="253"/>
                  </a:lnTo>
                  <a:lnTo>
                    <a:pt x="90" y="258"/>
                  </a:lnTo>
                  <a:lnTo>
                    <a:pt x="89" y="263"/>
                  </a:lnTo>
                  <a:lnTo>
                    <a:pt x="88" y="266"/>
                  </a:lnTo>
                  <a:lnTo>
                    <a:pt x="84" y="270"/>
                  </a:lnTo>
                  <a:lnTo>
                    <a:pt x="82" y="272"/>
                  </a:lnTo>
                  <a:lnTo>
                    <a:pt x="77" y="275"/>
                  </a:lnTo>
                  <a:lnTo>
                    <a:pt x="73" y="276"/>
                  </a:lnTo>
                  <a:lnTo>
                    <a:pt x="71" y="276"/>
                  </a:lnTo>
                  <a:lnTo>
                    <a:pt x="6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92" name="Gruppieren 1291">
            <a:extLst>
              <a:ext uri="{FF2B5EF4-FFF2-40B4-BE49-F238E27FC236}">
                <a16:creationId xmlns:a16="http://schemas.microsoft.com/office/drawing/2014/main" id="{1BDFB40E-A42E-46C8-BA9E-71B06A4D5939}"/>
              </a:ext>
            </a:extLst>
          </p:cNvPr>
          <p:cNvGrpSpPr>
            <a:grpSpLocks noChangeAspect="1"/>
          </p:cNvGrpSpPr>
          <p:nvPr/>
        </p:nvGrpSpPr>
        <p:grpSpPr>
          <a:xfrm>
            <a:off x="4886197" y="3263433"/>
            <a:ext cx="328783" cy="285619"/>
            <a:chOff x="6493104" y="5207792"/>
            <a:chExt cx="568325" cy="493713"/>
          </a:xfrm>
          <a:solidFill>
            <a:schemeClr val="bg2"/>
          </a:solidFill>
          <a:effectLst/>
        </p:grpSpPr>
        <p:sp>
          <p:nvSpPr>
            <p:cNvPr id="1293" name="Freeform 36">
              <a:extLst>
                <a:ext uri="{FF2B5EF4-FFF2-40B4-BE49-F238E27FC236}">
                  <a16:creationId xmlns:a16="http://schemas.microsoft.com/office/drawing/2014/main" id="{C8C656B5-29FD-4C1D-9CF5-F97533927C9B}"/>
                </a:ext>
              </a:extLst>
            </p:cNvPr>
            <p:cNvSpPr>
              <a:spLocks noEditPoints="1"/>
            </p:cNvSpPr>
            <p:nvPr/>
          </p:nvSpPr>
          <p:spPr bwMode="auto">
            <a:xfrm>
              <a:off x="6677254" y="5207792"/>
              <a:ext cx="200025" cy="55563"/>
            </a:xfrm>
            <a:custGeom>
              <a:avLst/>
              <a:gdLst>
                <a:gd name="T0" fmla="*/ 46 w 501"/>
                <a:gd name="T1" fmla="*/ 95 h 141"/>
                <a:gd name="T2" fmla="*/ 455 w 501"/>
                <a:gd name="T3" fmla="*/ 95 h 141"/>
                <a:gd name="T4" fmla="*/ 455 w 501"/>
                <a:gd name="T5" fmla="*/ 46 h 141"/>
                <a:gd name="T6" fmla="*/ 46 w 501"/>
                <a:gd name="T7" fmla="*/ 46 h 141"/>
                <a:gd name="T8" fmla="*/ 46 w 501"/>
                <a:gd name="T9" fmla="*/ 95 h 141"/>
                <a:gd name="T10" fmla="*/ 478 w 501"/>
                <a:gd name="T11" fmla="*/ 141 h 141"/>
                <a:gd name="T12" fmla="*/ 23 w 501"/>
                <a:gd name="T13" fmla="*/ 141 h 141"/>
                <a:gd name="T14" fmla="*/ 18 w 501"/>
                <a:gd name="T15" fmla="*/ 140 h 141"/>
                <a:gd name="T16" fmla="*/ 15 w 501"/>
                <a:gd name="T17" fmla="*/ 139 h 141"/>
                <a:gd name="T18" fmla="*/ 10 w 501"/>
                <a:gd name="T19" fmla="*/ 138 h 141"/>
                <a:gd name="T20" fmla="*/ 7 w 501"/>
                <a:gd name="T21" fmla="*/ 134 h 141"/>
                <a:gd name="T22" fmla="*/ 4 w 501"/>
                <a:gd name="T23" fmla="*/ 130 h 141"/>
                <a:gd name="T24" fmla="*/ 2 w 501"/>
                <a:gd name="T25" fmla="*/ 127 h 141"/>
                <a:gd name="T26" fmla="*/ 1 w 501"/>
                <a:gd name="T27" fmla="*/ 123 h 141"/>
                <a:gd name="T28" fmla="*/ 0 w 501"/>
                <a:gd name="T29" fmla="*/ 118 h 141"/>
                <a:gd name="T30" fmla="*/ 0 w 501"/>
                <a:gd name="T31" fmla="*/ 24 h 141"/>
                <a:gd name="T32" fmla="*/ 1 w 501"/>
                <a:gd name="T33" fmla="*/ 19 h 141"/>
                <a:gd name="T34" fmla="*/ 2 w 501"/>
                <a:gd name="T35" fmla="*/ 14 h 141"/>
                <a:gd name="T36" fmla="*/ 4 w 501"/>
                <a:gd name="T37" fmla="*/ 10 h 141"/>
                <a:gd name="T38" fmla="*/ 7 w 501"/>
                <a:gd name="T39" fmla="*/ 7 h 141"/>
                <a:gd name="T40" fmla="*/ 10 w 501"/>
                <a:gd name="T41" fmla="*/ 4 h 141"/>
                <a:gd name="T42" fmla="*/ 15 w 501"/>
                <a:gd name="T43" fmla="*/ 2 h 141"/>
                <a:gd name="T44" fmla="*/ 18 w 501"/>
                <a:gd name="T45" fmla="*/ 0 h 141"/>
                <a:gd name="T46" fmla="*/ 23 w 501"/>
                <a:gd name="T47" fmla="*/ 0 h 141"/>
                <a:gd name="T48" fmla="*/ 478 w 501"/>
                <a:gd name="T49" fmla="*/ 0 h 141"/>
                <a:gd name="T50" fmla="*/ 483 w 501"/>
                <a:gd name="T51" fmla="*/ 0 h 141"/>
                <a:gd name="T52" fmla="*/ 487 w 501"/>
                <a:gd name="T53" fmla="*/ 2 h 141"/>
                <a:gd name="T54" fmla="*/ 492 w 501"/>
                <a:gd name="T55" fmla="*/ 4 h 141"/>
                <a:gd name="T56" fmla="*/ 494 w 501"/>
                <a:gd name="T57" fmla="*/ 7 h 141"/>
                <a:gd name="T58" fmla="*/ 498 w 501"/>
                <a:gd name="T59" fmla="*/ 10 h 141"/>
                <a:gd name="T60" fmla="*/ 499 w 501"/>
                <a:gd name="T61" fmla="*/ 14 h 141"/>
                <a:gd name="T62" fmla="*/ 501 w 501"/>
                <a:gd name="T63" fmla="*/ 19 h 141"/>
                <a:gd name="T64" fmla="*/ 501 w 501"/>
                <a:gd name="T65" fmla="*/ 24 h 141"/>
                <a:gd name="T66" fmla="*/ 501 w 501"/>
                <a:gd name="T67" fmla="*/ 118 h 141"/>
                <a:gd name="T68" fmla="*/ 501 w 501"/>
                <a:gd name="T69" fmla="*/ 123 h 141"/>
                <a:gd name="T70" fmla="*/ 499 w 501"/>
                <a:gd name="T71" fmla="*/ 127 h 141"/>
                <a:gd name="T72" fmla="*/ 498 w 501"/>
                <a:gd name="T73" fmla="*/ 130 h 141"/>
                <a:gd name="T74" fmla="*/ 494 w 501"/>
                <a:gd name="T75" fmla="*/ 134 h 141"/>
                <a:gd name="T76" fmla="*/ 492 w 501"/>
                <a:gd name="T77" fmla="*/ 138 h 141"/>
                <a:gd name="T78" fmla="*/ 487 w 501"/>
                <a:gd name="T79" fmla="*/ 139 h 141"/>
                <a:gd name="T80" fmla="*/ 483 w 501"/>
                <a:gd name="T81" fmla="*/ 140 h 141"/>
                <a:gd name="T82" fmla="*/ 478 w 501"/>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1" h="141">
                  <a:moveTo>
                    <a:pt x="46" y="95"/>
                  </a:moveTo>
                  <a:lnTo>
                    <a:pt x="455" y="95"/>
                  </a:lnTo>
                  <a:lnTo>
                    <a:pt x="455" y="46"/>
                  </a:lnTo>
                  <a:lnTo>
                    <a:pt x="46" y="46"/>
                  </a:lnTo>
                  <a:lnTo>
                    <a:pt x="46" y="95"/>
                  </a:lnTo>
                  <a:close/>
                  <a:moveTo>
                    <a:pt x="478" y="141"/>
                  </a:moveTo>
                  <a:lnTo>
                    <a:pt x="23" y="141"/>
                  </a:lnTo>
                  <a:lnTo>
                    <a:pt x="18" y="140"/>
                  </a:lnTo>
                  <a:lnTo>
                    <a:pt x="15" y="139"/>
                  </a:lnTo>
                  <a:lnTo>
                    <a:pt x="10" y="138"/>
                  </a:lnTo>
                  <a:lnTo>
                    <a:pt x="7" y="134"/>
                  </a:lnTo>
                  <a:lnTo>
                    <a:pt x="4" y="130"/>
                  </a:lnTo>
                  <a:lnTo>
                    <a:pt x="2" y="127"/>
                  </a:lnTo>
                  <a:lnTo>
                    <a:pt x="1" y="123"/>
                  </a:lnTo>
                  <a:lnTo>
                    <a:pt x="0" y="118"/>
                  </a:lnTo>
                  <a:lnTo>
                    <a:pt x="0" y="24"/>
                  </a:lnTo>
                  <a:lnTo>
                    <a:pt x="1" y="19"/>
                  </a:lnTo>
                  <a:lnTo>
                    <a:pt x="2" y="14"/>
                  </a:lnTo>
                  <a:lnTo>
                    <a:pt x="4" y="10"/>
                  </a:lnTo>
                  <a:lnTo>
                    <a:pt x="7" y="7"/>
                  </a:lnTo>
                  <a:lnTo>
                    <a:pt x="10" y="4"/>
                  </a:lnTo>
                  <a:lnTo>
                    <a:pt x="15" y="2"/>
                  </a:lnTo>
                  <a:lnTo>
                    <a:pt x="18" y="0"/>
                  </a:lnTo>
                  <a:lnTo>
                    <a:pt x="23" y="0"/>
                  </a:lnTo>
                  <a:lnTo>
                    <a:pt x="478" y="0"/>
                  </a:lnTo>
                  <a:lnTo>
                    <a:pt x="483" y="0"/>
                  </a:lnTo>
                  <a:lnTo>
                    <a:pt x="487" y="2"/>
                  </a:lnTo>
                  <a:lnTo>
                    <a:pt x="492" y="4"/>
                  </a:lnTo>
                  <a:lnTo>
                    <a:pt x="494" y="7"/>
                  </a:lnTo>
                  <a:lnTo>
                    <a:pt x="498" y="10"/>
                  </a:lnTo>
                  <a:lnTo>
                    <a:pt x="499" y="14"/>
                  </a:lnTo>
                  <a:lnTo>
                    <a:pt x="501" y="19"/>
                  </a:lnTo>
                  <a:lnTo>
                    <a:pt x="501" y="24"/>
                  </a:lnTo>
                  <a:lnTo>
                    <a:pt x="501" y="118"/>
                  </a:lnTo>
                  <a:lnTo>
                    <a:pt x="501" y="123"/>
                  </a:lnTo>
                  <a:lnTo>
                    <a:pt x="499" y="127"/>
                  </a:lnTo>
                  <a:lnTo>
                    <a:pt x="498" y="130"/>
                  </a:lnTo>
                  <a:lnTo>
                    <a:pt x="494" y="134"/>
                  </a:lnTo>
                  <a:lnTo>
                    <a:pt x="492" y="138"/>
                  </a:lnTo>
                  <a:lnTo>
                    <a:pt x="487" y="139"/>
                  </a:lnTo>
                  <a:lnTo>
                    <a:pt x="483" y="140"/>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37">
              <a:extLst>
                <a:ext uri="{FF2B5EF4-FFF2-40B4-BE49-F238E27FC236}">
                  <a16:creationId xmlns:a16="http://schemas.microsoft.com/office/drawing/2014/main" id="{9AC19AC4-5552-42FD-8AEB-0ED580368E96}"/>
                </a:ext>
              </a:extLst>
            </p:cNvPr>
            <p:cNvSpPr>
              <a:spLocks noEditPoints="1"/>
            </p:cNvSpPr>
            <p:nvPr/>
          </p:nvSpPr>
          <p:spPr bwMode="auto">
            <a:xfrm>
              <a:off x="6677254" y="5299867"/>
              <a:ext cx="200025" cy="109538"/>
            </a:xfrm>
            <a:custGeom>
              <a:avLst/>
              <a:gdLst>
                <a:gd name="T0" fmla="*/ 46 w 501"/>
                <a:gd name="T1" fmla="*/ 229 h 276"/>
                <a:gd name="T2" fmla="*/ 455 w 501"/>
                <a:gd name="T3" fmla="*/ 229 h 276"/>
                <a:gd name="T4" fmla="*/ 455 w 501"/>
                <a:gd name="T5" fmla="*/ 45 h 276"/>
                <a:gd name="T6" fmla="*/ 46 w 501"/>
                <a:gd name="T7" fmla="*/ 45 h 276"/>
                <a:gd name="T8" fmla="*/ 46 w 501"/>
                <a:gd name="T9" fmla="*/ 229 h 276"/>
                <a:gd name="T10" fmla="*/ 478 w 501"/>
                <a:gd name="T11" fmla="*/ 276 h 276"/>
                <a:gd name="T12" fmla="*/ 23 w 501"/>
                <a:gd name="T13" fmla="*/ 276 h 276"/>
                <a:gd name="T14" fmla="*/ 18 w 501"/>
                <a:gd name="T15" fmla="*/ 276 h 276"/>
                <a:gd name="T16" fmla="*/ 15 w 501"/>
                <a:gd name="T17" fmla="*/ 275 h 276"/>
                <a:gd name="T18" fmla="*/ 10 w 501"/>
                <a:gd name="T19" fmla="*/ 272 h 276"/>
                <a:gd name="T20" fmla="*/ 7 w 501"/>
                <a:gd name="T21" fmla="*/ 270 h 276"/>
                <a:gd name="T22" fmla="*/ 4 w 501"/>
                <a:gd name="T23" fmla="*/ 266 h 276"/>
                <a:gd name="T24" fmla="*/ 2 w 501"/>
                <a:gd name="T25" fmla="*/ 263 h 276"/>
                <a:gd name="T26" fmla="*/ 1 w 501"/>
                <a:gd name="T27" fmla="*/ 258 h 276"/>
                <a:gd name="T28" fmla="*/ 0 w 501"/>
                <a:gd name="T29" fmla="*/ 253 h 276"/>
                <a:gd name="T30" fmla="*/ 0 w 501"/>
                <a:gd name="T31" fmla="*/ 22 h 276"/>
                <a:gd name="T32" fmla="*/ 1 w 501"/>
                <a:gd name="T33" fmla="*/ 18 h 276"/>
                <a:gd name="T34" fmla="*/ 2 w 501"/>
                <a:gd name="T35" fmla="*/ 14 h 276"/>
                <a:gd name="T36" fmla="*/ 4 w 501"/>
                <a:gd name="T37" fmla="*/ 10 h 276"/>
                <a:gd name="T38" fmla="*/ 7 w 501"/>
                <a:gd name="T39" fmla="*/ 6 h 276"/>
                <a:gd name="T40" fmla="*/ 10 w 501"/>
                <a:gd name="T41" fmla="*/ 4 h 276"/>
                <a:gd name="T42" fmla="*/ 15 w 501"/>
                <a:gd name="T43" fmla="*/ 1 h 276"/>
                <a:gd name="T44" fmla="*/ 18 w 501"/>
                <a:gd name="T45" fmla="*/ 0 h 276"/>
                <a:gd name="T46" fmla="*/ 23 w 501"/>
                <a:gd name="T47" fmla="*/ 0 h 276"/>
                <a:gd name="T48" fmla="*/ 478 w 501"/>
                <a:gd name="T49" fmla="*/ 0 h 276"/>
                <a:gd name="T50" fmla="*/ 483 w 501"/>
                <a:gd name="T51" fmla="*/ 0 h 276"/>
                <a:gd name="T52" fmla="*/ 487 w 501"/>
                <a:gd name="T53" fmla="*/ 1 h 276"/>
                <a:gd name="T54" fmla="*/ 492 w 501"/>
                <a:gd name="T55" fmla="*/ 4 h 276"/>
                <a:gd name="T56" fmla="*/ 494 w 501"/>
                <a:gd name="T57" fmla="*/ 6 h 276"/>
                <a:gd name="T58" fmla="*/ 498 w 501"/>
                <a:gd name="T59" fmla="*/ 10 h 276"/>
                <a:gd name="T60" fmla="*/ 499 w 501"/>
                <a:gd name="T61" fmla="*/ 14 h 276"/>
                <a:gd name="T62" fmla="*/ 501 w 501"/>
                <a:gd name="T63" fmla="*/ 18 h 276"/>
                <a:gd name="T64" fmla="*/ 501 w 501"/>
                <a:gd name="T65" fmla="*/ 22 h 276"/>
                <a:gd name="T66" fmla="*/ 501 w 501"/>
                <a:gd name="T67" fmla="*/ 253 h 276"/>
                <a:gd name="T68" fmla="*/ 501 w 501"/>
                <a:gd name="T69" fmla="*/ 258 h 276"/>
                <a:gd name="T70" fmla="*/ 499 w 501"/>
                <a:gd name="T71" fmla="*/ 263 h 276"/>
                <a:gd name="T72" fmla="*/ 498 w 501"/>
                <a:gd name="T73" fmla="*/ 266 h 276"/>
                <a:gd name="T74" fmla="*/ 494 w 501"/>
                <a:gd name="T75" fmla="*/ 270 h 276"/>
                <a:gd name="T76" fmla="*/ 492 w 501"/>
                <a:gd name="T77" fmla="*/ 272 h 276"/>
                <a:gd name="T78" fmla="*/ 487 w 501"/>
                <a:gd name="T79" fmla="*/ 275 h 276"/>
                <a:gd name="T80" fmla="*/ 483 w 501"/>
                <a:gd name="T81" fmla="*/ 276 h 276"/>
                <a:gd name="T82" fmla="*/ 478 w 501"/>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1" h="276">
                  <a:moveTo>
                    <a:pt x="46" y="229"/>
                  </a:moveTo>
                  <a:lnTo>
                    <a:pt x="455" y="229"/>
                  </a:lnTo>
                  <a:lnTo>
                    <a:pt x="455" y="45"/>
                  </a:lnTo>
                  <a:lnTo>
                    <a:pt x="46" y="45"/>
                  </a:lnTo>
                  <a:lnTo>
                    <a:pt x="46" y="229"/>
                  </a:lnTo>
                  <a:close/>
                  <a:moveTo>
                    <a:pt x="478" y="276"/>
                  </a:moveTo>
                  <a:lnTo>
                    <a:pt x="23" y="276"/>
                  </a:lnTo>
                  <a:lnTo>
                    <a:pt x="18" y="276"/>
                  </a:lnTo>
                  <a:lnTo>
                    <a:pt x="15" y="275"/>
                  </a:lnTo>
                  <a:lnTo>
                    <a:pt x="10" y="272"/>
                  </a:lnTo>
                  <a:lnTo>
                    <a:pt x="7" y="270"/>
                  </a:lnTo>
                  <a:lnTo>
                    <a:pt x="4" y="266"/>
                  </a:lnTo>
                  <a:lnTo>
                    <a:pt x="2" y="263"/>
                  </a:lnTo>
                  <a:lnTo>
                    <a:pt x="1" y="258"/>
                  </a:lnTo>
                  <a:lnTo>
                    <a:pt x="0" y="253"/>
                  </a:lnTo>
                  <a:lnTo>
                    <a:pt x="0" y="22"/>
                  </a:lnTo>
                  <a:lnTo>
                    <a:pt x="1" y="18"/>
                  </a:lnTo>
                  <a:lnTo>
                    <a:pt x="2" y="14"/>
                  </a:lnTo>
                  <a:lnTo>
                    <a:pt x="4" y="10"/>
                  </a:lnTo>
                  <a:lnTo>
                    <a:pt x="7" y="6"/>
                  </a:lnTo>
                  <a:lnTo>
                    <a:pt x="10" y="4"/>
                  </a:lnTo>
                  <a:lnTo>
                    <a:pt x="15" y="1"/>
                  </a:lnTo>
                  <a:lnTo>
                    <a:pt x="18" y="0"/>
                  </a:lnTo>
                  <a:lnTo>
                    <a:pt x="23" y="0"/>
                  </a:lnTo>
                  <a:lnTo>
                    <a:pt x="478" y="0"/>
                  </a:lnTo>
                  <a:lnTo>
                    <a:pt x="483" y="0"/>
                  </a:lnTo>
                  <a:lnTo>
                    <a:pt x="487" y="1"/>
                  </a:lnTo>
                  <a:lnTo>
                    <a:pt x="492" y="4"/>
                  </a:lnTo>
                  <a:lnTo>
                    <a:pt x="494" y="6"/>
                  </a:lnTo>
                  <a:lnTo>
                    <a:pt x="498" y="10"/>
                  </a:lnTo>
                  <a:lnTo>
                    <a:pt x="499" y="14"/>
                  </a:lnTo>
                  <a:lnTo>
                    <a:pt x="501" y="18"/>
                  </a:lnTo>
                  <a:lnTo>
                    <a:pt x="501" y="22"/>
                  </a:lnTo>
                  <a:lnTo>
                    <a:pt x="501" y="253"/>
                  </a:lnTo>
                  <a:lnTo>
                    <a:pt x="501" y="258"/>
                  </a:lnTo>
                  <a:lnTo>
                    <a:pt x="499" y="263"/>
                  </a:lnTo>
                  <a:lnTo>
                    <a:pt x="498" y="266"/>
                  </a:lnTo>
                  <a:lnTo>
                    <a:pt x="494" y="270"/>
                  </a:lnTo>
                  <a:lnTo>
                    <a:pt x="492" y="272"/>
                  </a:lnTo>
                  <a:lnTo>
                    <a:pt x="487" y="275"/>
                  </a:lnTo>
                  <a:lnTo>
                    <a:pt x="483"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38">
              <a:extLst>
                <a:ext uri="{FF2B5EF4-FFF2-40B4-BE49-F238E27FC236}">
                  <a16:creationId xmlns:a16="http://schemas.microsoft.com/office/drawing/2014/main" id="{F1CB15AE-A9B8-4FD9-9ADA-0D04DFD63E47}"/>
                </a:ext>
              </a:extLst>
            </p:cNvPr>
            <p:cNvSpPr>
              <a:spLocks noEditPoints="1"/>
            </p:cNvSpPr>
            <p:nvPr/>
          </p:nvSpPr>
          <p:spPr bwMode="auto">
            <a:xfrm>
              <a:off x="6639154" y="5245892"/>
              <a:ext cx="276225" cy="71438"/>
            </a:xfrm>
            <a:custGeom>
              <a:avLst/>
              <a:gdLst>
                <a:gd name="T0" fmla="*/ 67 w 697"/>
                <a:gd name="T1" fmla="*/ 136 h 181"/>
                <a:gd name="T2" fmla="*/ 628 w 697"/>
                <a:gd name="T3" fmla="*/ 136 h 181"/>
                <a:gd name="T4" fmla="*/ 564 w 697"/>
                <a:gd name="T5" fmla="*/ 46 h 181"/>
                <a:gd name="T6" fmla="*/ 132 w 697"/>
                <a:gd name="T7" fmla="*/ 46 h 181"/>
                <a:gd name="T8" fmla="*/ 67 w 697"/>
                <a:gd name="T9" fmla="*/ 136 h 181"/>
                <a:gd name="T10" fmla="*/ 673 w 697"/>
                <a:gd name="T11" fmla="*/ 181 h 181"/>
                <a:gd name="T12" fmla="*/ 673 w 697"/>
                <a:gd name="T13" fmla="*/ 181 h 181"/>
                <a:gd name="T14" fmla="*/ 673 w 697"/>
                <a:gd name="T15" fmla="*/ 181 h 181"/>
                <a:gd name="T16" fmla="*/ 22 w 697"/>
                <a:gd name="T17" fmla="*/ 181 h 181"/>
                <a:gd name="T18" fmla="*/ 16 w 697"/>
                <a:gd name="T19" fmla="*/ 180 h 181"/>
                <a:gd name="T20" fmla="*/ 11 w 697"/>
                <a:gd name="T21" fmla="*/ 178 h 181"/>
                <a:gd name="T22" fmla="*/ 6 w 697"/>
                <a:gd name="T23" fmla="*/ 174 h 181"/>
                <a:gd name="T24" fmla="*/ 2 w 697"/>
                <a:gd name="T25" fmla="*/ 169 h 181"/>
                <a:gd name="T26" fmla="*/ 0 w 697"/>
                <a:gd name="T27" fmla="*/ 163 h 181"/>
                <a:gd name="T28" fmla="*/ 0 w 697"/>
                <a:gd name="T29" fmla="*/ 157 h 181"/>
                <a:gd name="T30" fmla="*/ 1 w 697"/>
                <a:gd name="T31" fmla="*/ 151 h 181"/>
                <a:gd name="T32" fmla="*/ 4 w 697"/>
                <a:gd name="T33" fmla="*/ 145 h 181"/>
                <a:gd name="T34" fmla="*/ 102 w 697"/>
                <a:gd name="T35" fmla="*/ 10 h 181"/>
                <a:gd name="T36" fmla="*/ 105 w 697"/>
                <a:gd name="T37" fmla="*/ 6 h 181"/>
                <a:gd name="T38" fmla="*/ 109 w 697"/>
                <a:gd name="T39" fmla="*/ 2 h 181"/>
                <a:gd name="T40" fmla="*/ 115 w 697"/>
                <a:gd name="T41" fmla="*/ 1 h 181"/>
                <a:gd name="T42" fmla="*/ 120 w 697"/>
                <a:gd name="T43" fmla="*/ 0 h 181"/>
                <a:gd name="T44" fmla="*/ 575 w 697"/>
                <a:gd name="T45" fmla="*/ 0 h 181"/>
                <a:gd name="T46" fmla="*/ 581 w 697"/>
                <a:gd name="T47" fmla="*/ 1 h 181"/>
                <a:gd name="T48" fmla="*/ 586 w 697"/>
                <a:gd name="T49" fmla="*/ 2 h 181"/>
                <a:gd name="T50" fmla="*/ 590 w 697"/>
                <a:gd name="T51" fmla="*/ 6 h 181"/>
                <a:gd name="T52" fmla="*/ 594 w 697"/>
                <a:gd name="T53" fmla="*/ 10 h 181"/>
                <a:gd name="T54" fmla="*/ 689 w 697"/>
                <a:gd name="T55" fmla="*/ 142 h 181"/>
                <a:gd name="T56" fmla="*/ 693 w 697"/>
                <a:gd name="T57" fmla="*/ 146 h 181"/>
                <a:gd name="T58" fmla="*/ 694 w 697"/>
                <a:gd name="T59" fmla="*/ 150 h 181"/>
                <a:gd name="T60" fmla="*/ 695 w 697"/>
                <a:gd name="T61" fmla="*/ 154 h 181"/>
                <a:gd name="T62" fmla="*/ 697 w 697"/>
                <a:gd name="T63" fmla="*/ 158 h 181"/>
                <a:gd name="T64" fmla="*/ 695 w 697"/>
                <a:gd name="T65" fmla="*/ 163 h 181"/>
                <a:gd name="T66" fmla="*/ 694 w 697"/>
                <a:gd name="T67" fmla="*/ 168 h 181"/>
                <a:gd name="T68" fmla="*/ 693 w 697"/>
                <a:gd name="T69" fmla="*/ 172 h 181"/>
                <a:gd name="T70" fmla="*/ 689 w 697"/>
                <a:gd name="T71" fmla="*/ 175 h 181"/>
                <a:gd name="T72" fmla="*/ 687 w 697"/>
                <a:gd name="T73" fmla="*/ 178 h 181"/>
                <a:gd name="T74" fmla="*/ 682 w 697"/>
                <a:gd name="T75" fmla="*/ 180 h 181"/>
                <a:gd name="T76" fmla="*/ 678 w 697"/>
                <a:gd name="T77" fmla="*/ 181 h 181"/>
                <a:gd name="T78" fmla="*/ 673 w 697"/>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7" h="181">
                  <a:moveTo>
                    <a:pt x="67" y="136"/>
                  </a:moveTo>
                  <a:lnTo>
                    <a:pt x="628" y="136"/>
                  </a:lnTo>
                  <a:lnTo>
                    <a:pt x="564" y="46"/>
                  </a:lnTo>
                  <a:lnTo>
                    <a:pt x="132" y="46"/>
                  </a:lnTo>
                  <a:lnTo>
                    <a:pt x="67" y="136"/>
                  </a:lnTo>
                  <a:close/>
                  <a:moveTo>
                    <a:pt x="673" y="181"/>
                  </a:moveTo>
                  <a:lnTo>
                    <a:pt x="673" y="181"/>
                  </a:lnTo>
                  <a:lnTo>
                    <a:pt x="673" y="181"/>
                  </a:lnTo>
                  <a:lnTo>
                    <a:pt x="22" y="181"/>
                  </a:lnTo>
                  <a:lnTo>
                    <a:pt x="16" y="180"/>
                  </a:lnTo>
                  <a:lnTo>
                    <a:pt x="11" y="178"/>
                  </a:lnTo>
                  <a:lnTo>
                    <a:pt x="6" y="174"/>
                  </a:lnTo>
                  <a:lnTo>
                    <a:pt x="2" y="169"/>
                  </a:lnTo>
                  <a:lnTo>
                    <a:pt x="0" y="163"/>
                  </a:lnTo>
                  <a:lnTo>
                    <a:pt x="0" y="157"/>
                  </a:lnTo>
                  <a:lnTo>
                    <a:pt x="1" y="151"/>
                  </a:lnTo>
                  <a:lnTo>
                    <a:pt x="4" y="145"/>
                  </a:lnTo>
                  <a:lnTo>
                    <a:pt x="102" y="10"/>
                  </a:lnTo>
                  <a:lnTo>
                    <a:pt x="105" y="6"/>
                  </a:lnTo>
                  <a:lnTo>
                    <a:pt x="109" y="2"/>
                  </a:lnTo>
                  <a:lnTo>
                    <a:pt x="115" y="1"/>
                  </a:lnTo>
                  <a:lnTo>
                    <a:pt x="120" y="0"/>
                  </a:lnTo>
                  <a:lnTo>
                    <a:pt x="575" y="0"/>
                  </a:lnTo>
                  <a:lnTo>
                    <a:pt x="581" y="1"/>
                  </a:lnTo>
                  <a:lnTo>
                    <a:pt x="586" y="2"/>
                  </a:lnTo>
                  <a:lnTo>
                    <a:pt x="590" y="6"/>
                  </a:lnTo>
                  <a:lnTo>
                    <a:pt x="594" y="10"/>
                  </a:lnTo>
                  <a:lnTo>
                    <a:pt x="689" y="142"/>
                  </a:lnTo>
                  <a:lnTo>
                    <a:pt x="693" y="146"/>
                  </a:lnTo>
                  <a:lnTo>
                    <a:pt x="694" y="150"/>
                  </a:lnTo>
                  <a:lnTo>
                    <a:pt x="695" y="154"/>
                  </a:lnTo>
                  <a:lnTo>
                    <a:pt x="697" y="158"/>
                  </a:lnTo>
                  <a:lnTo>
                    <a:pt x="695" y="163"/>
                  </a:lnTo>
                  <a:lnTo>
                    <a:pt x="694" y="168"/>
                  </a:lnTo>
                  <a:lnTo>
                    <a:pt x="693" y="172"/>
                  </a:lnTo>
                  <a:lnTo>
                    <a:pt x="689" y="175"/>
                  </a:lnTo>
                  <a:lnTo>
                    <a:pt x="687" y="178"/>
                  </a:lnTo>
                  <a:lnTo>
                    <a:pt x="682" y="180"/>
                  </a:lnTo>
                  <a:lnTo>
                    <a:pt x="678" y="181"/>
                  </a:lnTo>
                  <a:lnTo>
                    <a:pt x="67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39">
              <a:extLst>
                <a:ext uri="{FF2B5EF4-FFF2-40B4-BE49-F238E27FC236}">
                  <a16:creationId xmlns:a16="http://schemas.microsoft.com/office/drawing/2014/main" id="{1D262C8C-4788-47BC-A668-C84A7CC197DD}"/>
                </a:ext>
              </a:extLst>
            </p:cNvPr>
            <p:cNvSpPr>
              <a:spLocks/>
            </p:cNvSpPr>
            <p:nvPr/>
          </p:nvSpPr>
          <p:spPr bwMode="auto">
            <a:xfrm>
              <a:off x="6804254" y="5299867"/>
              <a:ext cx="17463" cy="109538"/>
            </a:xfrm>
            <a:custGeom>
              <a:avLst/>
              <a:gdLst>
                <a:gd name="T0" fmla="*/ 23 w 46"/>
                <a:gd name="T1" fmla="*/ 276 h 276"/>
                <a:gd name="T2" fmla="*/ 19 w 46"/>
                <a:gd name="T3" fmla="*/ 276 h 276"/>
                <a:gd name="T4" fmla="*/ 14 w 46"/>
                <a:gd name="T5" fmla="*/ 275 h 276"/>
                <a:gd name="T6" fmla="*/ 10 w 46"/>
                <a:gd name="T7" fmla="*/ 272 h 276"/>
                <a:gd name="T8" fmla="*/ 7 w 46"/>
                <a:gd name="T9" fmla="*/ 270 h 276"/>
                <a:gd name="T10" fmla="*/ 4 w 46"/>
                <a:gd name="T11" fmla="*/ 266 h 276"/>
                <a:gd name="T12" fmla="*/ 2 w 46"/>
                <a:gd name="T13" fmla="*/ 263 h 276"/>
                <a:gd name="T14" fmla="*/ 0 w 46"/>
                <a:gd name="T15" fmla="*/ 258 h 276"/>
                <a:gd name="T16" fmla="*/ 0 w 46"/>
                <a:gd name="T17" fmla="*/ 253 h 276"/>
                <a:gd name="T18" fmla="*/ 0 w 46"/>
                <a:gd name="T19" fmla="*/ 22 h 276"/>
                <a:gd name="T20" fmla="*/ 0 w 46"/>
                <a:gd name="T21" fmla="*/ 18 h 276"/>
                <a:gd name="T22" fmla="*/ 2 w 46"/>
                <a:gd name="T23" fmla="*/ 14 h 276"/>
                <a:gd name="T24" fmla="*/ 4 w 46"/>
                <a:gd name="T25" fmla="*/ 10 h 276"/>
                <a:gd name="T26" fmla="*/ 7 w 46"/>
                <a:gd name="T27" fmla="*/ 6 h 276"/>
                <a:gd name="T28" fmla="*/ 10 w 46"/>
                <a:gd name="T29" fmla="*/ 4 h 276"/>
                <a:gd name="T30" fmla="*/ 14 w 46"/>
                <a:gd name="T31" fmla="*/ 1 h 276"/>
                <a:gd name="T32" fmla="*/ 19 w 46"/>
                <a:gd name="T33" fmla="*/ 0 h 276"/>
                <a:gd name="T34" fmla="*/ 23 w 46"/>
                <a:gd name="T35" fmla="*/ 0 h 276"/>
                <a:gd name="T36" fmla="*/ 27 w 46"/>
                <a:gd name="T37" fmla="*/ 0 h 276"/>
                <a:gd name="T38" fmla="*/ 32 w 46"/>
                <a:gd name="T39" fmla="*/ 1 h 276"/>
                <a:gd name="T40" fmla="*/ 36 w 46"/>
                <a:gd name="T41" fmla="*/ 4 h 276"/>
                <a:gd name="T42" fmla="*/ 40 w 46"/>
                <a:gd name="T43" fmla="*/ 6 h 276"/>
                <a:gd name="T44" fmla="*/ 42 w 46"/>
                <a:gd name="T45" fmla="*/ 10 h 276"/>
                <a:gd name="T46" fmla="*/ 45 w 46"/>
                <a:gd name="T47" fmla="*/ 14 h 276"/>
                <a:gd name="T48" fmla="*/ 46 w 46"/>
                <a:gd name="T49" fmla="*/ 18 h 276"/>
                <a:gd name="T50" fmla="*/ 46 w 46"/>
                <a:gd name="T51" fmla="*/ 22 h 276"/>
                <a:gd name="T52" fmla="*/ 46 w 46"/>
                <a:gd name="T53" fmla="*/ 253 h 276"/>
                <a:gd name="T54" fmla="*/ 46 w 46"/>
                <a:gd name="T55" fmla="*/ 258 h 276"/>
                <a:gd name="T56" fmla="*/ 45 w 46"/>
                <a:gd name="T57" fmla="*/ 263 h 276"/>
                <a:gd name="T58" fmla="*/ 42 w 46"/>
                <a:gd name="T59" fmla="*/ 266 h 276"/>
                <a:gd name="T60" fmla="*/ 40 w 46"/>
                <a:gd name="T61" fmla="*/ 270 h 276"/>
                <a:gd name="T62" fmla="*/ 36 w 46"/>
                <a:gd name="T63" fmla="*/ 272 h 276"/>
                <a:gd name="T64" fmla="*/ 32 w 46"/>
                <a:gd name="T65" fmla="*/ 275 h 276"/>
                <a:gd name="T66" fmla="*/ 27 w 46"/>
                <a:gd name="T67" fmla="*/ 276 h 276"/>
                <a:gd name="T68" fmla="*/ 23 w 46"/>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276">
                  <a:moveTo>
                    <a:pt x="23" y="276"/>
                  </a:moveTo>
                  <a:lnTo>
                    <a:pt x="19" y="276"/>
                  </a:lnTo>
                  <a:lnTo>
                    <a:pt x="14" y="275"/>
                  </a:lnTo>
                  <a:lnTo>
                    <a:pt x="10" y="272"/>
                  </a:lnTo>
                  <a:lnTo>
                    <a:pt x="7" y="270"/>
                  </a:lnTo>
                  <a:lnTo>
                    <a:pt x="4" y="266"/>
                  </a:lnTo>
                  <a:lnTo>
                    <a:pt x="2" y="263"/>
                  </a:lnTo>
                  <a:lnTo>
                    <a:pt x="0" y="258"/>
                  </a:lnTo>
                  <a:lnTo>
                    <a:pt x="0" y="253"/>
                  </a:lnTo>
                  <a:lnTo>
                    <a:pt x="0" y="22"/>
                  </a:lnTo>
                  <a:lnTo>
                    <a:pt x="0" y="18"/>
                  </a:lnTo>
                  <a:lnTo>
                    <a:pt x="2" y="14"/>
                  </a:lnTo>
                  <a:lnTo>
                    <a:pt x="4" y="10"/>
                  </a:lnTo>
                  <a:lnTo>
                    <a:pt x="7" y="6"/>
                  </a:lnTo>
                  <a:lnTo>
                    <a:pt x="10" y="4"/>
                  </a:lnTo>
                  <a:lnTo>
                    <a:pt x="14" y="1"/>
                  </a:lnTo>
                  <a:lnTo>
                    <a:pt x="19" y="0"/>
                  </a:lnTo>
                  <a:lnTo>
                    <a:pt x="23" y="0"/>
                  </a:lnTo>
                  <a:lnTo>
                    <a:pt x="27" y="0"/>
                  </a:lnTo>
                  <a:lnTo>
                    <a:pt x="32" y="1"/>
                  </a:lnTo>
                  <a:lnTo>
                    <a:pt x="36" y="4"/>
                  </a:lnTo>
                  <a:lnTo>
                    <a:pt x="40" y="6"/>
                  </a:lnTo>
                  <a:lnTo>
                    <a:pt x="42" y="10"/>
                  </a:lnTo>
                  <a:lnTo>
                    <a:pt x="45" y="14"/>
                  </a:lnTo>
                  <a:lnTo>
                    <a:pt x="46" y="18"/>
                  </a:lnTo>
                  <a:lnTo>
                    <a:pt x="46" y="22"/>
                  </a:lnTo>
                  <a:lnTo>
                    <a:pt x="46" y="253"/>
                  </a:lnTo>
                  <a:lnTo>
                    <a:pt x="46" y="258"/>
                  </a:lnTo>
                  <a:lnTo>
                    <a:pt x="45" y="263"/>
                  </a:lnTo>
                  <a:lnTo>
                    <a:pt x="42" y="266"/>
                  </a:lnTo>
                  <a:lnTo>
                    <a:pt x="40" y="270"/>
                  </a:lnTo>
                  <a:lnTo>
                    <a:pt x="36" y="272"/>
                  </a:lnTo>
                  <a:lnTo>
                    <a:pt x="32" y="275"/>
                  </a:lnTo>
                  <a:lnTo>
                    <a:pt x="27" y="276"/>
                  </a:lnTo>
                  <a:lnTo>
                    <a:pt x="2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40">
              <a:extLst>
                <a:ext uri="{FF2B5EF4-FFF2-40B4-BE49-F238E27FC236}">
                  <a16:creationId xmlns:a16="http://schemas.microsoft.com/office/drawing/2014/main" id="{46590584-D67A-4F3D-A83B-C6E4B55F0B9E}"/>
                </a:ext>
              </a:extLst>
            </p:cNvPr>
            <p:cNvSpPr>
              <a:spLocks/>
            </p:cNvSpPr>
            <p:nvPr/>
          </p:nvSpPr>
          <p:spPr bwMode="auto">
            <a:xfrm>
              <a:off x="6712179" y="5336379"/>
              <a:ext cx="73025" cy="17463"/>
            </a:xfrm>
            <a:custGeom>
              <a:avLst/>
              <a:gdLst>
                <a:gd name="T0" fmla="*/ 161 w 184"/>
                <a:gd name="T1" fmla="*/ 45 h 45"/>
                <a:gd name="T2" fmla="*/ 23 w 184"/>
                <a:gd name="T3" fmla="*/ 45 h 45"/>
                <a:gd name="T4" fmla="*/ 18 w 184"/>
                <a:gd name="T5" fmla="*/ 45 h 45"/>
                <a:gd name="T6" fmla="*/ 13 w 184"/>
                <a:gd name="T7" fmla="*/ 44 h 45"/>
                <a:gd name="T8" fmla="*/ 10 w 184"/>
                <a:gd name="T9" fmla="*/ 42 h 45"/>
                <a:gd name="T10" fmla="*/ 6 w 184"/>
                <a:gd name="T11" fmla="*/ 39 h 45"/>
                <a:gd name="T12" fmla="*/ 4 w 184"/>
                <a:gd name="T13" fmla="*/ 36 h 45"/>
                <a:gd name="T14" fmla="*/ 1 w 184"/>
                <a:gd name="T15" fmla="*/ 32 h 45"/>
                <a:gd name="T16" fmla="*/ 0 w 184"/>
                <a:gd name="T17" fmla="*/ 27 h 45"/>
                <a:gd name="T18" fmla="*/ 0 w 184"/>
                <a:gd name="T19" fmla="*/ 23 h 45"/>
                <a:gd name="T20" fmla="*/ 0 w 184"/>
                <a:gd name="T21" fmla="*/ 18 h 45"/>
                <a:gd name="T22" fmla="*/ 1 w 184"/>
                <a:gd name="T23" fmla="*/ 14 h 45"/>
                <a:gd name="T24" fmla="*/ 4 w 184"/>
                <a:gd name="T25" fmla="*/ 10 h 45"/>
                <a:gd name="T26" fmla="*/ 6 w 184"/>
                <a:gd name="T27" fmla="*/ 6 h 45"/>
                <a:gd name="T28" fmla="*/ 10 w 184"/>
                <a:gd name="T29" fmla="*/ 4 h 45"/>
                <a:gd name="T30" fmla="*/ 13 w 184"/>
                <a:gd name="T31" fmla="*/ 1 h 45"/>
                <a:gd name="T32" fmla="*/ 18 w 184"/>
                <a:gd name="T33" fmla="*/ 0 h 45"/>
                <a:gd name="T34" fmla="*/ 23 w 184"/>
                <a:gd name="T35" fmla="*/ 0 h 45"/>
                <a:gd name="T36" fmla="*/ 161 w 184"/>
                <a:gd name="T37" fmla="*/ 0 h 45"/>
                <a:gd name="T38" fmla="*/ 165 w 184"/>
                <a:gd name="T39" fmla="*/ 0 h 45"/>
                <a:gd name="T40" fmla="*/ 170 w 184"/>
                <a:gd name="T41" fmla="*/ 1 h 45"/>
                <a:gd name="T42" fmla="*/ 174 w 184"/>
                <a:gd name="T43" fmla="*/ 4 h 45"/>
                <a:gd name="T44" fmla="*/ 178 w 184"/>
                <a:gd name="T45" fmla="*/ 6 h 45"/>
                <a:gd name="T46" fmla="*/ 180 w 184"/>
                <a:gd name="T47" fmla="*/ 10 h 45"/>
                <a:gd name="T48" fmla="*/ 183 w 184"/>
                <a:gd name="T49" fmla="*/ 14 h 45"/>
                <a:gd name="T50" fmla="*/ 184 w 184"/>
                <a:gd name="T51" fmla="*/ 18 h 45"/>
                <a:gd name="T52" fmla="*/ 184 w 184"/>
                <a:gd name="T53" fmla="*/ 23 h 45"/>
                <a:gd name="T54" fmla="*/ 184 w 184"/>
                <a:gd name="T55" fmla="*/ 27 h 45"/>
                <a:gd name="T56" fmla="*/ 183 w 184"/>
                <a:gd name="T57" fmla="*/ 32 h 45"/>
                <a:gd name="T58" fmla="*/ 180 w 184"/>
                <a:gd name="T59" fmla="*/ 36 h 45"/>
                <a:gd name="T60" fmla="*/ 178 w 184"/>
                <a:gd name="T61" fmla="*/ 39 h 45"/>
                <a:gd name="T62" fmla="*/ 174 w 184"/>
                <a:gd name="T63" fmla="*/ 42 h 45"/>
                <a:gd name="T64" fmla="*/ 170 w 184"/>
                <a:gd name="T65" fmla="*/ 44 h 45"/>
                <a:gd name="T66" fmla="*/ 165 w 184"/>
                <a:gd name="T67" fmla="*/ 45 h 45"/>
                <a:gd name="T68" fmla="*/ 161 w 184"/>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45">
                  <a:moveTo>
                    <a:pt x="161" y="45"/>
                  </a:moveTo>
                  <a:lnTo>
                    <a:pt x="23" y="45"/>
                  </a:lnTo>
                  <a:lnTo>
                    <a:pt x="18" y="45"/>
                  </a:lnTo>
                  <a:lnTo>
                    <a:pt x="13" y="44"/>
                  </a:lnTo>
                  <a:lnTo>
                    <a:pt x="10" y="42"/>
                  </a:lnTo>
                  <a:lnTo>
                    <a:pt x="6" y="39"/>
                  </a:lnTo>
                  <a:lnTo>
                    <a:pt x="4" y="36"/>
                  </a:lnTo>
                  <a:lnTo>
                    <a:pt x="1" y="32"/>
                  </a:lnTo>
                  <a:lnTo>
                    <a:pt x="0" y="27"/>
                  </a:lnTo>
                  <a:lnTo>
                    <a:pt x="0" y="23"/>
                  </a:lnTo>
                  <a:lnTo>
                    <a:pt x="0" y="18"/>
                  </a:lnTo>
                  <a:lnTo>
                    <a:pt x="1" y="14"/>
                  </a:lnTo>
                  <a:lnTo>
                    <a:pt x="4" y="10"/>
                  </a:lnTo>
                  <a:lnTo>
                    <a:pt x="6" y="6"/>
                  </a:lnTo>
                  <a:lnTo>
                    <a:pt x="10" y="4"/>
                  </a:lnTo>
                  <a:lnTo>
                    <a:pt x="13" y="1"/>
                  </a:lnTo>
                  <a:lnTo>
                    <a:pt x="18" y="0"/>
                  </a:lnTo>
                  <a:lnTo>
                    <a:pt x="23" y="0"/>
                  </a:lnTo>
                  <a:lnTo>
                    <a:pt x="161" y="0"/>
                  </a:lnTo>
                  <a:lnTo>
                    <a:pt x="165" y="0"/>
                  </a:lnTo>
                  <a:lnTo>
                    <a:pt x="170" y="1"/>
                  </a:lnTo>
                  <a:lnTo>
                    <a:pt x="174" y="4"/>
                  </a:lnTo>
                  <a:lnTo>
                    <a:pt x="178" y="6"/>
                  </a:lnTo>
                  <a:lnTo>
                    <a:pt x="180" y="10"/>
                  </a:lnTo>
                  <a:lnTo>
                    <a:pt x="183" y="14"/>
                  </a:lnTo>
                  <a:lnTo>
                    <a:pt x="184" y="18"/>
                  </a:lnTo>
                  <a:lnTo>
                    <a:pt x="184" y="23"/>
                  </a:lnTo>
                  <a:lnTo>
                    <a:pt x="184" y="27"/>
                  </a:lnTo>
                  <a:lnTo>
                    <a:pt x="183" y="32"/>
                  </a:lnTo>
                  <a:lnTo>
                    <a:pt x="180" y="36"/>
                  </a:lnTo>
                  <a:lnTo>
                    <a:pt x="178" y="39"/>
                  </a:lnTo>
                  <a:lnTo>
                    <a:pt x="174" y="42"/>
                  </a:lnTo>
                  <a:lnTo>
                    <a:pt x="170" y="44"/>
                  </a:lnTo>
                  <a:lnTo>
                    <a:pt x="165" y="45"/>
                  </a:lnTo>
                  <a:lnTo>
                    <a:pt x="16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41">
              <a:extLst>
                <a:ext uri="{FF2B5EF4-FFF2-40B4-BE49-F238E27FC236}">
                  <a16:creationId xmlns:a16="http://schemas.microsoft.com/office/drawing/2014/main" id="{45E08AA1-AA54-44A9-B769-8C619932980F}"/>
                </a:ext>
              </a:extLst>
            </p:cNvPr>
            <p:cNvSpPr>
              <a:spLocks noEditPoints="1"/>
            </p:cNvSpPr>
            <p:nvPr/>
          </p:nvSpPr>
          <p:spPr bwMode="auto">
            <a:xfrm>
              <a:off x="6531204" y="5499892"/>
              <a:ext cx="200025" cy="57150"/>
            </a:xfrm>
            <a:custGeom>
              <a:avLst/>
              <a:gdLst>
                <a:gd name="T0" fmla="*/ 45 w 500"/>
                <a:gd name="T1" fmla="*/ 94 h 141"/>
                <a:gd name="T2" fmla="*/ 455 w 500"/>
                <a:gd name="T3" fmla="*/ 94 h 141"/>
                <a:gd name="T4" fmla="*/ 455 w 500"/>
                <a:gd name="T5" fmla="*/ 45 h 141"/>
                <a:gd name="T6" fmla="*/ 45 w 500"/>
                <a:gd name="T7" fmla="*/ 45 h 141"/>
                <a:gd name="T8" fmla="*/ 45 w 500"/>
                <a:gd name="T9" fmla="*/ 94 h 141"/>
                <a:gd name="T10" fmla="*/ 478 w 500"/>
                <a:gd name="T11" fmla="*/ 141 h 141"/>
                <a:gd name="T12" fmla="*/ 22 w 500"/>
                <a:gd name="T13" fmla="*/ 141 h 141"/>
                <a:gd name="T14" fmla="*/ 18 w 500"/>
                <a:gd name="T15" fmla="*/ 139 h 141"/>
                <a:gd name="T16" fmla="*/ 13 w 500"/>
                <a:gd name="T17" fmla="*/ 138 h 141"/>
                <a:gd name="T18" fmla="*/ 10 w 500"/>
                <a:gd name="T19" fmla="*/ 137 h 141"/>
                <a:gd name="T20" fmla="*/ 6 w 500"/>
                <a:gd name="T21" fmla="*/ 133 h 141"/>
                <a:gd name="T22" fmla="*/ 4 w 500"/>
                <a:gd name="T23" fmla="*/ 130 h 141"/>
                <a:gd name="T24" fmla="*/ 1 w 500"/>
                <a:gd name="T25" fmla="*/ 126 h 141"/>
                <a:gd name="T26" fmla="*/ 0 w 500"/>
                <a:gd name="T27" fmla="*/ 122 h 141"/>
                <a:gd name="T28" fmla="*/ 0 w 500"/>
                <a:gd name="T29" fmla="*/ 117 h 141"/>
                <a:gd name="T30" fmla="*/ 0 w 500"/>
                <a:gd name="T31" fmla="*/ 23 h 141"/>
                <a:gd name="T32" fmla="*/ 0 w 500"/>
                <a:gd name="T33" fmla="*/ 18 h 141"/>
                <a:gd name="T34" fmla="*/ 1 w 500"/>
                <a:gd name="T35" fmla="*/ 13 h 141"/>
                <a:gd name="T36" fmla="*/ 4 w 500"/>
                <a:gd name="T37" fmla="*/ 9 h 141"/>
                <a:gd name="T38" fmla="*/ 6 w 500"/>
                <a:gd name="T39" fmla="*/ 6 h 141"/>
                <a:gd name="T40" fmla="*/ 10 w 500"/>
                <a:gd name="T41" fmla="*/ 3 h 141"/>
                <a:gd name="T42" fmla="*/ 13 w 500"/>
                <a:gd name="T43" fmla="*/ 1 h 141"/>
                <a:gd name="T44" fmla="*/ 18 w 500"/>
                <a:gd name="T45" fmla="*/ 0 h 141"/>
                <a:gd name="T46" fmla="*/ 22 w 500"/>
                <a:gd name="T47" fmla="*/ 0 h 141"/>
                <a:gd name="T48" fmla="*/ 478 w 500"/>
                <a:gd name="T49" fmla="*/ 0 h 141"/>
                <a:gd name="T50" fmla="*/ 482 w 500"/>
                <a:gd name="T51" fmla="*/ 0 h 141"/>
                <a:gd name="T52" fmla="*/ 487 w 500"/>
                <a:gd name="T53" fmla="*/ 1 h 141"/>
                <a:gd name="T54" fmla="*/ 490 w 500"/>
                <a:gd name="T55" fmla="*/ 3 h 141"/>
                <a:gd name="T56" fmla="*/ 494 w 500"/>
                <a:gd name="T57" fmla="*/ 6 h 141"/>
                <a:gd name="T58" fmla="*/ 497 w 500"/>
                <a:gd name="T59" fmla="*/ 9 h 141"/>
                <a:gd name="T60" fmla="*/ 499 w 500"/>
                <a:gd name="T61" fmla="*/ 13 h 141"/>
                <a:gd name="T62" fmla="*/ 500 w 500"/>
                <a:gd name="T63" fmla="*/ 18 h 141"/>
                <a:gd name="T64" fmla="*/ 500 w 500"/>
                <a:gd name="T65" fmla="*/ 23 h 141"/>
                <a:gd name="T66" fmla="*/ 500 w 500"/>
                <a:gd name="T67" fmla="*/ 117 h 141"/>
                <a:gd name="T68" fmla="*/ 500 w 500"/>
                <a:gd name="T69" fmla="*/ 122 h 141"/>
                <a:gd name="T70" fmla="*/ 499 w 500"/>
                <a:gd name="T71" fmla="*/ 126 h 141"/>
                <a:gd name="T72" fmla="*/ 497 w 500"/>
                <a:gd name="T73" fmla="*/ 130 h 141"/>
                <a:gd name="T74" fmla="*/ 494 w 500"/>
                <a:gd name="T75" fmla="*/ 133 h 141"/>
                <a:gd name="T76" fmla="*/ 490 w 500"/>
                <a:gd name="T77" fmla="*/ 137 h 141"/>
                <a:gd name="T78" fmla="*/ 487 w 500"/>
                <a:gd name="T79" fmla="*/ 138 h 141"/>
                <a:gd name="T80" fmla="*/ 482 w 500"/>
                <a:gd name="T81" fmla="*/ 139 h 141"/>
                <a:gd name="T82" fmla="*/ 478 w 500"/>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141">
                  <a:moveTo>
                    <a:pt x="45" y="94"/>
                  </a:moveTo>
                  <a:lnTo>
                    <a:pt x="455" y="94"/>
                  </a:lnTo>
                  <a:lnTo>
                    <a:pt x="455" y="45"/>
                  </a:lnTo>
                  <a:lnTo>
                    <a:pt x="45" y="45"/>
                  </a:lnTo>
                  <a:lnTo>
                    <a:pt x="45" y="94"/>
                  </a:lnTo>
                  <a:close/>
                  <a:moveTo>
                    <a:pt x="478" y="141"/>
                  </a:moveTo>
                  <a:lnTo>
                    <a:pt x="22" y="141"/>
                  </a:lnTo>
                  <a:lnTo>
                    <a:pt x="18" y="139"/>
                  </a:lnTo>
                  <a:lnTo>
                    <a:pt x="13" y="138"/>
                  </a:lnTo>
                  <a:lnTo>
                    <a:pt x="10" y="137"/>
                  </a:lnTo>
                  <a:lnTo>
                    <a:pt x="6" y="133"/>
                  </a:lnTo>
                  <a:lnTo>
                    <a:pt x="4" y="130"/>
                  </a:lnTo>
                  <a:lnTo>
                    <a:pt x="1" y="126"/>
                  </a:lnTo>
                  <a:lnTo>
                    <a:pt x="0" y="122"/>
                  </a:lnTo>
                  <a:lnTo>
                    <a:pt x="0" y="117"/>
                  </a:lnTo>
                  <a:lnTo>
                    <a:pt x="0" y="23"/>
                  </a:lnTo>
                  <a:lnTo>
                    <a:pt x="0" y="18"/>
                  </a:lnTo>
                  <a:lnTo>
                    <a:pt x="1" y="13"/>
                  </a:lnTo>
                  <a:lnTo>
                    <a:pt x="4" y="9"/>
                  </a:lnTo>
                  <a:lnTo>
                    <a:pt x="6" y="6"/>
                  </a:lnTo>
                  <a:lnTo>
                    <a:pt x="10" y="3"/>
                  </a:lnTo>
                  <a:lnTo>
                    <a:pt x="13" y="1"/>
                  </a:lnTo>
                  <a:lnTo>
                    <a:pt x="18" y="0"/>
                  </a:lnTo>
                  <a:lnTo>
                    <a:pt x="22" y="0"/>
                  </a:lnTo>
                  <a:lnTo>
                    <a:pt x="478" y="0"/>
                  </a:lnTo>
                  <a:lnTo>
                    <a:pt x="482" y="0"/>
                  </a:lnTo>
                  <a:lnTo>
                    <a:pt x="487" y="1"/>
                  </a:lnTo>
                  <a:lnTo>
                    <a:pt x="490" y="3"/>
                  </a:lnTo>
                  <a:lnTo>
                    <a:pt x="494" y="6"/>
                  </a:lnTo>
                  <a:lnTo>
                    <a:pt x="497" y="9"/>
                  </a:lnTo>
                  <a:lnTo>
                    <a:pt x="499" y="13"/>
                  </a:lnTo>
                  <a:lnTo>
                    <a:pt x="500" y="18"/>
                  </a:lnTo>
                  <a:lnTo>
                    <a:pt x="500" y="23"/>
                  </a:lnTo>
                  <a:lnTo>
                    <a:pt x="500" y="117"/>
                  </a:lnTo>
                  <a:lnTo>
                    <a:pt x="500" y="122"/>
                  </a:lnTo>
                  <a:lnTo>
                    <a:pt x="499" y="126"/>
                  </a:lnTo>
                  <a:lnTo>
                    <a:pt x="497" y="130"/>
                  </a:lnTo>
                  <a:lnTo>
                    <a:pt x="494" y="133"/>
                  </a:lnTo>
                  <a:lnTo>
                    <a:pt x="490" y="137"/>
                  </a:lnTo>
                  <a:lnTo>
                    <a:pt x="487" y="138"/>
                  </a:lnTo>
                  <a:lnTo>
                    <a:pt x="482" y="139"/>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42">
              <a:extLst>
                <a:ext uri="{FF2B5EF4-FFF2-40B4-BE49-F238E27FC236}">
                  <a16:creationId xmlns:a16="http://schemas.microsoft.com/office/drawing/2014/main" id="{B8426704-07A0-4CE1-A6BB-CEEB8BA2DDEF}"/>
                </a:ext>
              </a:extLst>
            </p:cNvPr>
            <p:cNvSpPr>
              <a:spLocks noEditPoints="1"/>
            </p:cNvSpPr>
            <p:nvPr/>
          </p:nvSpPr>
          <p:spPr bwMode="auto">
            <a:xfrm>
              <a:off x="6531204" y="5591967"/>
              <a:ext cx="200025" cy="109538"/>
            </a:xfrm>
            <a:custGeom>
              <a:avLst/>
              <a:gdLst>
                <a:gd name="T0" fmla="*/ 45 w 500"/>
                <a:gd name="T1" fmla="*/ 231 h 276"/>
                <a:gd name="T2" fmla="*/ 455 w 500"/>
                <a:gd name="T3" fmla="*/ 231 h 276"/>
                <a:gd name="T4" fmla="*/ 455 w 500"/>
                <a:gd name="T5" fmla="*/ 46 h 276"/>
                <a:gd name="T6" fmla="*/ 45 w 500"/>
                <a:gd name="T7" fmla="*/ 46 h 276"/>
                <a:gd name="T8" fmla="*/ 45 w 500"/>
                <a:gd name="T9" fmla="*/ 231 h 276"/>
                <a:gd name="T10" fmla="*/ 478 w 500"/>
                <a:gd name="T11" fmla="*/ 276 h 276"/>
                <a:gd name="T12" fmla="*/ 22 w 500"/>
                <a:gd name="T13" fmla="*/ 276 h 276"/>
                <a:gd name="T14" fmla="*/ 18 w 500"/>
                <a:gd name="T15" fmla="*/ 276 h 276"/>
                <a:gd name="T16" fmla="*/ 13 w 500"/>
                <a:gd name="T17" fmla="*/ 275 h 276"/>
                <a:gd name="T18" fmla="*/ 10 w 500"/>
                <a:gd name="T19" fmla="*/ 273 h 276"/>
                <a:gd name="T20" fmla="*/ 6 w 500"/>
                <a:gd name="T21" fmla="*/ 270 h 276"/>
                <a:gd name="T22" fmla="*/ 4 w 500"/>
                <a:gd name="T23" fmla="*/ 266 h 276"/>
                <a:gd name="T24" fmla="*/ 1 w 500"/>
                <a:gd name="T25" fmla="*/ 263 h 276"/>
                <a:gd name="T26" fmla="*/ 0 w 500"/>
                <a:gd name="T27" fmla="*/ 258 h 276"/>
                <a:gd name="T28" fmla="*/ 0 w 500"/>
                <a:gd name="T29" fmla="*/ 253 h 276"/>
                <a:gd name="T30" fmla="*/ 0 w 500"/>
                <a:gd name="T31" fmla="*/ 22 h 276"/>
                <a:gd name="T32" fmla="*/ 0 w 500"/>
                <a:gd name="T33" fmla="*/ 19 h 276"/>
                <a:gd name="T34" fmla="*/ 1 w 500"/>
                <a:gd name="T35" fmla="*/ 14 h 276"/>
                <a:gd name="T36" fmla="*/ 4 w 500"/>
                <a:gd name="T37" fmla="*/ 10 h 276"/>
                <a:gd name="T38" fmla="*/ 6 w 500"/>
                <a:gd name="T39" fmla="*/ 6 h 276"/>
                <a:gd name="T40" fmla="*/ 10 w 500"/>
                <a:gd name="T41" fmla="*/ 4 h 276"/>
                <a:gd name="T42" fmla="*/ 13 w 500"/>
                <a:gd name="T43" fmla="*/ 1 h 276"/>
                <a:gd name="T44" fmla="*/ 18 w 500"/>
                <a:gd name="T45" fmla="*/ 0 h 276"/>
                <a:gd name="T46" fmla="*/ 22 w 500"/>
                <a:gd name="T47" fmla="*/ 0 h 276"/>
                <a:gd name="T48" fmla="*/ 478 w 500"/>
                <a:gd name="T49" fmla="*/ 0 h 276"/>
                <a:gd name="T50" fmla="*/ 482 w 500"/>
                <a:gd name="T51" fmla="*/ 0 h 276"/>
                <a:gd name="T52" fmla="*/ 487 w 500"/>
                <a:gd name="T53" fmla="*/ 1 h 276"/>
                <a:gd name="T54" fmla="*/ 490 w 500"/>
                <a:gd name="T55" fmla="*/ 4 h 276"/>
                <a:gd name="T56" fmla="*/ 494 w 500"/>
                <a:gd name="T57" fmla="*/ 6 h 276"/>
                <a:gd name="T58" fmla="*/ 497 w 500"/>
                <a:gd name="T59" fmla="*/ 10 h 276"/>
                <a:gd name="T60" fmla="*/ 499 w 500"/>
                <a:gd name="T61" fmla="*/ 14 h 276"/>
                <a:gd name="T62" fmla="*/ 500 w 500"/>
                <a:gd name="T63" fmla="*/ 19 h 276"/>
                <a:gd name="T64" fmla="*/ 500 w 500"/>
                <a:gd name="T65" fmla="*/ 22 h 276"/>
                <a:gd name="T66" fmla="*/ 500 w 500"/>
                <a:gd name="T67" fmla="*/ 253 h 276"/>
                <a:gd name="T68" fmla="*/ 500 w 500"/>
                <a:gd name="T69" fmla="*/ 258 h 276"/>
                <a:gd name="T70" fmla="*/ 499 w 500"/>
                <a:gd name="T71" fmla="*/ 263 h 276"/>
                <a:gd name="T72" fmla="*/ 497 w 500"/>
                <a:gd name="T73" fmla="*/ 266 h 276"/>
                <a:gd name="T74" fmla="*/ 494 w 500"/>
                <a:gd name="T75" fmla="*/ 270 h 276"/>
                <a:gd name="T76" fmla="*/ 490 w 500"/>
                <a:gd name="T77" fmla="*/ 273 h 276"/>
                <a:gd name="T78" fmla="*/ 487 w 500"/>
                <a:gd name="T79" fmla="*/ 275 h 276"/>
                <a:gd name="T80" fmla="*/ 482 w 500"/>
                <a:gd name="T81" fmla="*/ 276 h 276"/>
                <a:gd name="T82" fmla="*/ 478 w 500"/>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276">
                  <a:moveTo>
                    <a:pt x="45" y="231"/>
                  </a:moveTo>
                  <a:lnTo>
                    <a:pt x="455" y="231"/>
                  </a:lnTo>
                  <a:lnTo>
                    <a:pt x="455" y="46"/>
                  </a:lnTo>
                  <a:lnTo>
                    <a:pt x="45" y="46"/>
                  </a:lnTo>
                  <a:lnTo>
                    <a:pt x="45" y="231"/>
                  </a:lnTo>
                  <a:close/>
                  <a:moveTo>
                    <a:pt x="478" y="276"/>
                  </a:moveTo>
                  <a:lnTo>
                    <a:pt x="22" y="276"/>
                  </a:lnTo>
                  <a:lnTo>
                    <a:pt x="18" y="276"/>
                  </a:lnTo>
                  <a:lnTo>
                    <a:pt x="13" y="275"/>
                  </a:lnTo>
                  <a:lnTo>
                    <a:pt x="10" y="273"/>
                  </a:lnTo>
                  <a:lnTo>
                    <a:pt x="6" y="270"/>
                  </a:lnTo>
                  <a:lnTo>
                    <a:pt x="4" y="266"/>
                  </a:lnTo>
                  <a:lnTo>
                    <a:pt x="1" y="263"/>
                  </a:lnTo>
                  <a:lnTo>
                    <a:pt x="0" y="258"/>
                  </a:lnTo>
                  <a:lnTo>
                    <a:pt x="0" y="253"/>
                  </a:lnTo>
                  <a:lnTo>
                    <a:pt x="0" y="22"/>
                  </a:lnTo>
                  <a:lnTo>
                    <a:pt x="0" y="19"/>
                  </a:lnTo>
                  <a:lnTo>
                    <a:pt x="1" y="14"/>
                  </a:lnTo>
                  <a:lnTo>
                    <a:pt x="4" y="10"/>
                  </a:lnTo>
                  <a:lnTo>
                    <a:pt x="6" y="6"/>
                  </a:lnTo>
                  <a:lnTo>
                    <a:pt x="10" y="4"/>
                  </a:lnTo>
                  <a:lnTo>
                    <a:pt x="13" y="1"/>
                  </a:lnTo>
                  <a:lnTo>
                    <a:pt x="18" y="0"/>
                  </a:lnTo>
                  <a:lnTo>
                    <a:pt x="22" y="0"/>
                  </a:lnTo>
                  <a:lnTo>
                    <a:pt x="478" y="0"/>
                  </a:lnTo>
                  <a:lnTo>
                    <a:pt x="482" y="0"/>
                  </a:lnTo>
                  <a:lnTo>
                    <a:pt x="487" y="1"/>
                  </a:lnTo>
                  <a:lnTo>
                    <a:pt x="490" y="4"/>
                  </a:lnTo>
                  <a:lnTo>
                    <a:pt x="494" y="6"/>
                  </a:lnTo>
                  <a:lnTo>
                    <a:pt x="497" y="10"/>
                  </a:lnTo>
                  <a:lnTo>
                    <a:pt x="499" y="14"/>
                  </a:lnTo>
                  <a:lnTo>
                    <a:pt x="500" y="19"/>
                  </a:lnTo>
                  <a:lnTo>
                    <a:pt x="500" y="22"/>
                  </a:lnTo>
                  <a:lnTo>
                    <a:pt x="500" y="253"/>
                  </a:lnTo>
                  <a:lnTo>
                    <a:pt x="500" y="258"/>
                  </a:lnTo>
                  <a:lnTo>
                    <a:pt x="499" y="263"/>
                  </a:lnTo>
                  <a:lnTo>
                    <a:pt x="497" y="266"/>
                  </a:lnTo>
                  <a:lnTo>
                    <a:pt x="494" y="270"/>
                  </a:lnTo>
                  <a:lnTo>
                    <a:pt x="490" y="273"/>
                  </a:lnTo>
                  <a:lnTo>
                    <a:pt x="487" y="275"/>
                  </a:lnTo>
                  <a:lnTo>
                    <a:pt x="482"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43">
              <a:extLst>
                <a:ext uri="{FF2B5EF4-FFF2-40B4-BE49-F238E27FC236}">
                  <a16:creationId xmlns:a16="http://schemas.microsoft.com/office/drawing/2014/main" id="{8A88A269-CD0F-4227-BEF9-A75609449CEC}"/>
                </a:ext>
              </a:extLst>
            </p:cNvPr>
            <p:cNvSpPr>
              <a:spLocks noEditPoints="1"/>
            </p:cNvSpPr>
            <p:nvPr/>
          </p:nvSpPr>
          <p:spPr bwMode="auto">
            <a:xfrm>
              <a:off x="6493104" y="5537992"/>
              <a:ext cx="276225" cy="71438"/>
            </a:xfrm>
            <a:custGeom>
              <a:avLst/>
              <a:gdLst>
                <a:gd name="T0" fmla="*/ 68 w 696"/>
                <a:gd name="T1" fmla="*/ 136 h 182"/>
                <a:gd name="T2" fmla="*/ 629 w 696"/>
                <a:gd name="T3" fmla="*/ 136 h 182"/>
                <a:gd name="T4" fmla="*/ 564 w 696"/>
                <a:gd name="T5" fmla="*/ 47 h 182"/>
                <a:gd name="T6" fmla="*/ 132 w 696"/>
                <a:gd name="T7" fmla="*/ 47 h 182"/>
                <a:gd name="T8" fmla="*/ 68 w 696"/>
                <a:gd name="T9" fmla="*/ 136 h 182"/>
                <a:gd name="T10" fmla="*/ 674 w 696"/>
                <a:gd name="T11" fmla="*/ 182 h 182"/>
                <a:gd name="T12" fmla="*/ 673 w 696"/>
                <a:gd name="T13" fmla="*/ 182 h 182"/>
                <a:gd name="T14" fmla="*/ 673 w 696"/>
                <a:gd name="T15" fmla="*/ 182 h 182"/>
                <a:gd name="T16" fmla="*/ 23 w 696"/>
                <a:gd name="T17" fmla="*/ 182 h 182"/>
                <a:gd name="T18" fmla="*/ 17 w 696"/>
                <a:gd name="T19" fmla="*/ 182 h 182"/>
                <a:gd name="T20" fmla="*/ 11 w 696"/>
                <a:gd name="T21" fmla="*/ 179 h 182"/>
                <a:gd name="T22" fmla="*/ 6 w 696"/>
                <a:gd name="T23" fmla="*/ 174 h 182"/>
                <a:gd name="T24" fmla="*/ 2 w 696"/>
                <a:gd name="T25" fmla="*/ 169 h 182"/>
                <a:gd name="T26" fmla="*/ 0 w 696"/>
                <a:gd name="T27" fmla="*/ 163 h 182"/>
                <a:gd name="T28" fmla="*/ 0 w 696"/>
                <a:gd name="T29" fmla="*/ 157 h 182"/>
                <a:gd name="T30" fmla="*/ 1 w 696"/>
                <a:gd name="T31" fmla="*/ 151 h 182"/>
                <a:gd name="T32" fmla="*/ 5 w 696"/>
                <a:gd name="T33" fmla="*/ 145 h 182"/>
                <a:gd name="T34" fmla="*/ 102 w 696"/>
                <a:gd name="T35" fmla="*/ 10 h 182"/>
                <a:gd name="T36" fmla="*/ 105 w 696"/>
                <a:gd name="T37" fmla="*/ 6 h 182"/>
                <a:gd name="T38" fmla="*/ 110 w 696"/>
                <a:gd name="T39" fmla="*/ 3 h 182"/>
                <a:gd name="T40" fmla="*/ 115 w 696"/>
                <a:gd name="T41" fmla="*/ 1 h 182"/>
                <a:gd name="T42" fmla="*/ 120 w 696"/>
                <a:gd name="T43" fmla="*/ 0 h 182"/>
                <a:gd name="T44" fmla="*/ 576 w 696"/>
                <a:gd name="T45" fmla="*/ 0 h 182"/>
                <a:gd name="T46" fmla="*/ 581 w 696"/>
                <a:gd name="T47" fmla="*/ 1 h 182"/>
                <a:gd name="T48" fmla="*/ 586 w 696"/>
                <a:gd name="T49" fmla="*/ 3 h 182"/>
                <a:gd name="T50" fmla="*/ 591 w 696"/>
                <a:gd name="T51" fmla="*/ 6 h 182"/>
                <a:gd name="T52" fmla="*/ 595 w 696"/>
                <a:gd name="T53" fmla="*/ 10 h 182"/>
                <a:gd name="T54" fmla="*/ 690 w 696"/>
                <a:gd name="T55" fmla="*/ 142 h 182"/>
                <a:gd name="T56" fmla="*/ 693 w 696"/>
                <a:gd name="T57" fmla="*/ 146 h 182"/>
                <a:gd name="T58" fmla="*/ 695 w 696"/>
                <a:gd name="T59" fmla="*/ 150 h 182"/>
                <a:gd name="T60" fmla="*/ 696 w 696"/>
                <a:gd name="T61" fmla="*/ 155 h 182"/>
                <a:gd name="T62" fmla="*/ 696 w 696"/>
                <a:gd name="T63" fmla="*/ 158 h 182"/>
                <a:gd name="T64" fmla="*/ 696 w 696"/>
                <a:gd name="T65" fmla="*/ 163 h 182"/>
                <a:gd name="T66" fmla="*/ 695 w 696"/>
                <a:gd name="T67" fmla="*/ 168 h 182"/>
                <a:gd name="T68" fmla="*/ 693 w 696"/>
                <a:gd name="T69" fmla="*/ 172 h 182"/>
                <a:gd name="T70" fmla="*/ 690 w 696"/>
                <a:gd name="T71" fmla="*/ 175 h 182"/>
                <a:gd name="T72" fmla="*/ 687 w 696"/>
                <a:gd name="T73" fmla="*/ 178 h 182"/>
                <a:gd name="T74" fmla="*/ 683 w 696"/>
                <a:gd name="T75" fmla="*/ 180 h 182"/>
                <a:gd name="T76" fmla="*/ 678 w 696"/>
                <a:gd name="T77" fmla="*/ 182 h 182"/>
                <a:gd name="T78" fmla="*/ 674 w 696"/>
                <a:gd name="T7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6" h="182">
                  <a:moveTo>
                    <a:pt x="68" y="136"/>
                  </a:moveTo>
                  <a:lnTo>
                    <a:pt x="629" y="136"/>
                  </a:lnTo>
                  <a:lnTo>
                    <a:pt x="564" y="47"/>
                  </a:lnTo>
                  <a:lnTo>
                    <a:pt x="132" y="47"/>
                  </a:lnTo>
                  <a:lnTo>
                    <a:pt x="68" y="136"/>
                  </a:lnTo>
                  <a:close/>
                  <a:moveTo>
                    <a:pt x="674" y="182"/>
                  </a:moveTo>
                  <a:lnTo>
                    <a:pt x="673" y="182"/>
                  </a:lnTo>
                  <a:lnTo>
                    <a:pt x="673" y="182"/>
                  </a:lnTo>
                  <a:lnTo>
                    <a:pt x="23" y="182"/>
                  </a:lnTo>
                  <a:lnTo>
                    <a:pt x="17" y="182"/>
                  </a:lnTo>
                  <a:lnTo>
                    <a:pt x="11" y="179"/>
                  </a:lnTo>
                  <a:lnTo>
                    <a:pt x="6" y="174"/>
                  </a:lnTo>
                  <a:lnTo>
                    <a:pt x="2" y="169"/>
                  </a:lnTo>
                  <a:lnTo>
                    <a:pt x="0" y="163"/>
                  </a:lnTo>
                  <a:lnTo>
                    <a:pt x="0" y="157"/>
                  </a:lnTo>
                  <a:lnTo>
                    <a:pt x="1" y="151"/>
                  </a:lnTo>
                  <a:lnTo>
                    <a:pt x="5" y="145"/>
                  </a:lnTo>
                  <a:lnTo>
                    <a:pt x="102" y="10"/>
                  </a:lnTo>
                  <a:lnTo>
                    <a:pt x="105" y="6"/>
                  </a:lnTo>
                  <a:lnTo>
                    <a:pt x="110" y="3"/>
                  </a:lnTo>
                  <a:lnTo>
                    <a:pt x="115" y="1"/>
                  </a:lnTo>
                  <a:lnTo>
                    <a:pt x="120" y="0"/>
                  </a:lnTo>
                  <a:lnTo>
                    <a:pt x="576" y="0"/>
                  </a:lnTo>
                  <a:lnTo>
                    <a:pt x="581" y="1"/>
                  </a:lnTo>
                  <a:lnTo>
                    <a:pt x="586" y="3"/>
                  </a:lnTo>
                  <a:lnTo>
                    <a:pt x="591" y="6"/>
                  </a:lnTo>
                  <a:lnTo>
                    <a:pt x="595" y="10"/>
                  </a:lnTo>
                  <a:lnTo>
                    <a:pt x="690" y="142"/>
                  </a:lnTo>
                  <a:lnTo>
                    <a:pt x="693" y="146"/>
                  </a:lnTo>
                  <a:lnTo>
                    <a:pt x="695" y="150"/>
                  </a:lnTo>
                  <a:lnTo>
                    <a:pt x="696" y="155"/>
                  </a:lnTo>
                  <a:lnTo>
                    <a:pt x="696" y="158"/>
                  </a:lnTo>
                  <a:lnTo>
                    <a:pt x="696" y="163"/>
                  </a:lnTo>
                  <a:lnTo>
                    <a:pt x="695" y="168"/>
                  </a:lnTo>
                  <a:lnTo>
                    <a:pt x="693" y="172"/>
                  </a:lnTo>
                  <a:lnTo>
                    <a:pt x="690" y="175"/>
                  </a:lnTo>
                  <a:lnTo>
                    <a:pt x="687" y="178"/>
                  </a:lnTo>
                  <a:lnTo>
                    <a:pt x="683" y="180"/>
                  </a:lnTo>
                  <a:lnTo>
                    <a:pt x="678" y="182"/>
                  </a:lnTo>
                  <a:lnTo>
                    <a:pt x="67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44">
              <a:extLst>
                <a:ext uri="{FF2B5EF4-FFF2-40B4-BE49-F238E27FC236}">
                  <a16:creationId xmlns:a16="http://schemas.microsoft.com/office/drawing/2014/main" id="{A371C939-EEB4-44C6-BA30-E17D8AC51773}"/>
                </a:ext>
              </a:extLst>
            </p:cNvPr>
            <p:cNvSpPr>
              <a:spLocks/>
            </p:cNvSpPr>
            <p:nvPr/>
          </p:nvSpPr>
          <p:spPr bwMode="auto">
            <a:xfrm>
              <a:off x="6658204" y="5591967"/>
              <a:ext cx="17463" cy="109538"/>
            </a:xfrm>
            <a:custGeom>
              <a:avLst/>
              <a:gdLst>
                <a:gd name="T0" fmla="*/ 24 w 47"/>
                <a:gd name="T1" fmla="*/ 276 h 276"/>
                <a:gd name="T2" fmla="*/ 19 w 47"/>
                <a:gd name="T3" fmla="*/ 276 h 276"/>
                <a:gd name="T4" fmla="*/ 15 w 47"/>
                <a:gd name="T5" fmla="*/ 275 h 276"/>
                <a:gd name="T6" fmla="*/ 10 w 47"/>
                <a:gd name="T7" fmla="*/ 273 h 276"/>
                <a:gd name="T8" fmla="*/ 8 w 47"/>
                <a:gd name="T9" fmla="*/ 270 h 276"/>
                <a:gd name="T10" fmla="*/ 4 w 47"/>
                <a:gd name="T11" fmla="*/ 266 h 276"/>
                <a:gd name="T12" fmla="*/ 3 w 47"/>
                <a:gd name="T13" fmla="*/ 263 h 276"/>
                <a:gd name="T14" fmla="*/ 2 w 47"/>
                <a:gd name="T15" fmla="*/ 258 h 276"/>
                <a:gd name="T16" fmla="*/ 0 w 47"/>
                <a:gd name="T17" fmla="*/ 253 h 276"/>
                <a:gd name="T18" fmla="*/ 0 w 47"/>
                <a:gd name="T19" fmla="*/ 22 h 276"/>
                <a:gd name="T20" fmla="*/ 2 w 47"/>
                <a:gd name="T21" fmla="*/ 19 h 276"/>
                <a:gd name="T22" fmla="*/ 3 w 47"/>
                <a:gd name="T23" fmla="*/ 14 h 276"/>
                <a:gd name="T24" fmla="*/ 4 w 47"/>
                <a:gd name="T25" fmla="*/ 10 h 276"/>
                <a:gd name="T26" fmla="*/ 8 w 47"/>
                <a:gd name="T27" fmla="*/ 6 h 276"/>
                <a:gd name="T28" fmla="*/ 10 w 47"/>
                <a:gd name="T29" fmla="*/ 4 h 276"/>
                <a:gd name="T30" fmla="*/ 15 w 47"/>
                <a:gd name="T31" fmla="*/ 1 h 276"/>
                <a:gd name="T32" fmla="*/ 19 w 47"/>
                <a:gd name="T33" fmla="*/ 0 h 276"/>
                <a:gd name="T34" fmla="*/ 24 w 47"/>
                <a:gd name="T35" fmla="*/ 0 h 276"/>
                <a:gd name="T36" fmla="*/ 29 w 47"/>
                <a:gd name="T37" fmla="*/ 0 h 276"/>
                <a:gd name="T38" fmla="*/ 32 w 47"/>
                <a:gd name="T39" fmla="*/ 1 h 276"/>
                <a:gd name="T40" fmla="*/ 36 w 47"/>
                <a:gd name="T41" fmla="*/ 4 h 276"/>
                <a:gd name="T42" fmla="*/ 40 w 47"/>
                <a:gd name="T43" fmla="*/ 6 h 276"/>
                <a:gd name="T44" fmla="*/ 43 w 47"/>
                <a:gd name="T45" fmla="*/ 10 h 276"/>
                <a:gd name="T46" fmla="*/ 44 w 47"/>
                <a:gd name="T47" fmla="*/ 14 h 276"/>
                <a:gd name="T48" fmla="*/ 46 w 47"/>
                <a:gd name="T49" fmla="*/ 19 h 276"/>
                <a:gd name="T50" fmla="*/ 47 w 47"/>
                <a:gd name="T51" fmla="*/ 22 h 276"/>
                <a:gd name="T52" fmla="*/ 47 w 47"/>
                <a:gd name="T53" fmla="*/ 253 h 276"/>
                <a:gd name="T54" fmla="*/ 46 w 47"/>
                <a:gd name="T55" fmla="*/ 258 h 276"/>
                <a:gd name="T56" fmla="*/ 44 w 47"/>
                <a:gd name="T57" fmla="*/ 263 h 276"/>
                <a:gd name="T58" fmla="*/ 43 w 47"/>
                <a:gd name="T59" fmla="*/ 266 h 276"/>
                <a:gd name="T60" fmla="*/ 40 w 47"/>
                <a:gd name="T61" fmla="*/ 270 h 276"/>
                <a:gd name="T62" fmla="*/ 36 w 47"/>
                <a:gd name="T63" fmla="*/ 273 h 276"/>
                <a:gd name="T64" fmla="*/ 32 w 47"/>
                <a:gd name="T65" fmla="*/ 275 h 276"/>
                <a:gd name="T66" fmla="*/ 29 w 47"/>
                <a:gd name="T67" fmla="*/ 276 h 276"/>
                <a:gd name="T68" fmla="*/ 24 w 47"/>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276">
                  <a:moveTo>
                    <a:pt x="24" y="276"/>
                  </a:moveTo>
                  <a:lnTo>
                    <a:pt x="19" y="276"/>
                  </a:lnTo>
                  <a:lnTo>
                    <a:pt x="15" y="275"/>
                  </a:lnTo>
                  <a:lnTo>
                    <a:pt x="10" y="273"/>
                  </a:lnTo>
                  <a:lnTo>
                    <a:pt x="8" y="270"/>
                  </a:lnTo>
                  <a:lnTo>
                    <a:pt x="4" y="266"/>
                  </a:lnTo>
                  <a:lnTo>
                    <a:pt x="3" y="263"/>
                  </a:lnTo>
                  <a:lnTo>
                    <a:pt x="2" y="258"/>
                  </a:lnTo>
                  <a:lnTo>
                    <a:pt x="0" y="253"/>
                  </a:lnTo>
                  <a:lnTo>
                    <a:pt x="0" y="22"/>
                  </a:lnTo>
                  <a:lnTo>
                    <a:pt x="2" y="19"/>
                  </a:lnTo>
                  <a:lnTo>
                    <a:pt x="3" y="14"/>
                  </a:lnTo>
                  <a:lnTo>
                    <a:pt x="4" y="10"/>
                  </a:lnTo>
                  <a:lnTo>
                    <a:pt x="8" y="6"/>
                  </a:lnTo>
                  <a:lnTo>
                    <a:pt x="10" y="4"/>
                  </a:lnTo>
                  <a:lnTo>
                    <a:pt x="15" y="1"/>
                  </a:lnTo>
                  <a:lnTo>
                    <a:pt x="19" y="0"/>
                  </a:lnTo>
                  <a:lnTo>
                    <a:pt x="24" y="0"/>
                  </a:lnTo>
                  <a:lnTo>
                    <a:pt x="29" y="0"/>
                  </a:lnTo>
                  <a:lnTo>
                    <a:pt x="32" y="1"/>
                  </a:lnTo>
                  <a:lnTo>
                    <a:pt x="36" y="4"/>
                  </a:lnTo>
                  <a:lnTo>
                    <a:pt x="40" y="6"/>
                  </a:lnTo>
                  <a:lnTo>
                    <a:pt x="43" y="10"/>
                  </a:lnTo>
                  <a:lnTo>
                    <a:pt x="44" y="14"/>
                  </a:lnTo>
                  <a:lnTo>
                    <a:pt x="46" y="19"/>
                  </a:lnTo>
                  <a:lnTo>
                    <a:pt x="47" y="22"/>
                  </a:lnTo>
                  <a:lnTo>
                    <a:pt x="47" y="253"/>
                  </a:lnTo>
                  <a:lnTo>
                    <a:pt x="46" y="258"/>
                  </a:lnTo>
                  <a:lnTo>
                    <a:pt x="44" y="263"/>
                  </a:lnTo>
                  <a:lnTo>
                    <a:pt x="43" y="266"/>
                  </a:lnTo>
                  <a:lnTo>
                    <a:pt x="40" y="270"/>
                  </a:lnTo>
                  <a:lnTo>
                    <a:pt x="36" y="273"/>
                  </a:lnTo>
                  <a:lnTo>
                    <a:pt x="32" y="275"/>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45">
              <a:extLst>
                <a:ext uri="{FF2B5EF4-FFF2-40B4-BE49-F238E27FC236}">
                  <a16:creationId xmlns:a16="http://schemas.microsoft.com/office/drawing/2014/main" id="{52022794-6244-46D8-9D0C-71321F0559E4}"/>
                </a:ext>
              </a:extLst>
            </p:cNvPr>
            <p:cNvSpPr>
              <a:spLocks/>
            </p:cNvSpPr>
            <p:nvPr/>
          </p:nvSpPr>
          <p:spPr bwMode="auto">
            <a:xfrm>
              <a:off x="6566129" y="5628479"/>
              <a:ext cx="73025" cy="17463"/>
            </a:xfrm>
            <a:custGeom>
              <a:avLst/>
              <a:gdLst>
                <a:gd name="T0" fmla="*/ 162 w 185"/>
                <a:gd name="T1" fmla="*/ 46 h 46"/>
                <a:gd name="T2" fmla="*/ 23 w 185"/>
                <a:gd name="T3" fmla="*/ 46 h 46"/>
                <a:gd name="T4" fmla="*/ 18 w 185"/>
                <a:gd name="T5" fmla="*/ 46 h 46"/>
                <a:gd name="T6" fmla="*/ 14 w 185"/>
                <a:gd name="T7" fmla="*/ 44 h 46"/>
                <a:gd name="T8" fmla="*/ 11 w 185"/>
                <a:gd name="T9" fmla="*/ 42 h 46"/>
                <a:gd name="T10" fmla="*/ 7 w 185"/>
                <a:gd name="T11" fmla="*/ 39 h 46"/>
                <a:gd name="T12" fmla="*/ 5 w 185"/>
                <a:gd name="T13" fmla="*/ 36 h 46"/>
                <a:gd name="T14" fmla="*/ 2 w 185"/>
                <a:gd name="T15" fmla="*/ 32 h 46"/>
                <a:gd name="T16" fmla="*/ 1 w 185"/>
                <a:gd name="T17" fmla="*/ 27 h 46"/>
                <a:gd name="T18" fmla="*/ 0 w 185"/>
                <a:gd name="T19" fmla="*/ 24 h 46"/>
                <a:gd name="T20" fmla="*/ 1 w 185"/>
                <a:gd name="T21" fmla="*/ 19 h 46"/>
                <a:gd name="T22" fmla="*/ 2 w 185"/>
                <a:gd name="T23" fmla="*/ 14 h 46"/>
                <a:gd name="T24" fmla="*/ 5 w 185"/>
                <a:gd name="T25" fmla="*/ 10 h 46"/>
                <a:gd name="T26" fmla="*/ 7 w 185"/>
                <a:gd name="T27" fmla="*/ 6 h 46"/>
                <a:gd name="T28" fmla="*/ 11 w 185"/>
                <a:gd name="T29" fmla="*/ 4 h 46"/>
                <a:gd name="T30" fmla="*/ 14 w 185"/>
                <a:gd name="T31" fmla="*/ 1 h 46"/>
                <a:gd name="T32" fmla="*/ 18 w 185"/>
                <a:gd name="T33" fmla="*/ 0 h 46"/>
                <a:gd name="T34" fmla="*/ 23 w 185"/>
                <a:gd name="T35" fmla="*/ 0 h 46"/>
                <a:gd name="T36" fmla="*/ 162 w 185"/>
                <a:gd name="T37" fmla="*/ 0 h 46"/>
                <a:gd name="T38" fmla="*/ 167 w 185"/>
                <a:gd name="T39" fmla="*/ 0 h 46"/>
                <a:gd name="T40" fmla="*/ 170 w 185"/>
                <a:gd name="T41" fmla="*/ 1 h 46"/>
                <a:gd name="T42" fmla="*/ 174 w 185"/>
                <a:gd name="T43" fmla="*/ 4 h 46"/>
                <a:gd name="T44" fmla="*/ 178 w 185"/>
                <a:gd name="T45" fmla="*/ 6 h 46"/>
                <a:gd name="T46" fmla="*/ 180 w 185"/>
                <a:gd name="T47" fmla="*/ 10 h 46"/>
                <a:gd name="T48" fmla="*/ 182 w 185"/>
                <a:gd name="T49" fmla="*/ 14 h 46"/>
                <a:gd name="T50" fmla="*/ 184 w 185"/>
                <a:gd name="T51" fmla="*/ 19 h 46"/>
                <a:gd name="T52" fmla="*/ 185 w 185"/>
                <a:gd name="T53" fmla="*/ 24 h 46"/>
                <a:gd name="T54" fmla="*/ 184 w 185"/>
                <a:gd name="T55" fmla="*/ 27 h 46"/>
                <a:gd name="T56" fmla="*/ 182 w 185"/>
                <a:gd name="T57" fmla="*/ 32 h 46"/>
                <a:gd name="T58" fmla="*/ 180 w 185"/>
                <a:gd name="T59" fmla="*/ 36 h 46"/>
                <a:gd name="T60" fmla="*/ 178 w 185"/>
                <a:gd name="T61" fmla="*/ 39 h 46"/>
                <a:gd name="T62" fmla="*/ 174 w 185"/>
                <a:gd name="T63" fmla="*/ 42 h 46"/>
                <a:gd name="T64" fmla="*/ 170 w 185"/>
                <a:gd name="T65" fmla="*/ 44 h 46"/>
                <a:gd name="T66" fmla="*/ 167 w 185"/>
                <a:gd name="T67" fmla="*/ 46 h 46"/>
                <a:gd name="T68" fmla="*/ 162 w 185"/>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 h="46">
                  <a:moveTo>
                    <a:pt x="162" y="46"/>
                  </a:moveTo>
                  <a:lnTo>
                    <a:pt x="23" y="46"/>
                  </a:lnTo>
                  <a:lnTo>
                    <a:pt x="18" y="46"/>
                  </a:lnTo>
                  <a:lnTo>
                    <a:pt x="14" y="44"/>
                  </a:lnTo>
                  <a:lnTo>
                    <a:pt x="11" y="42"/>
                  </a:lnTo>
                  <a:lnTo>
                    <a:pt x="7" y="39"/>
                  </a:lnTo>
                  <a:lnTo>
                    <a:pt x="5" y="36"/>
                  </a:lnTo>
                  <a:lnTo>
                    <a:pt x="2" y="32"/>
                  </a:lnTo>
                  <a:lnTo>
                    <a:pt x="1" y="27"/>
                  </a:lnTo>
                  <a:lnTo>
                    <a:pt x="0" y="24"/>
                  </a:lnTo>
                  <a:lnTo>
                    <a:pt x="1" y="19"/>
                  </a:lnTo>
                  <a:lnTo>
                    <a:pt x="2" y="14"/>
                  </a:lnTo>
                  <a:lnTo>
                    <a:pt x="5" y="10"/>
                  </a:lnTo>
                  <a:lnTo>
                    <a:pt x="7" y="6"/>
                  </a:lnTo>
                  <a:lnTo>
                    <a:pt x="11" y="4"/>
                  </a:lnTo>
                  <a:lnTo>
                    <a:pt x="14" y="1"/>
                  </a:lnTo>
                  <a:lnTo>
                    <a:pt x="18" y="0"/>
                  </a:lnTo>
                  <a:lnTo>
                    <a:pt x="23" y="0"/>
                  </a:lnTo>
                  <a:lnTo>
                    <a:pt x="162" y="0"/>
                  </a:lnTo>
                  <a:lnTo>
                    <a:pt x="167" y="0"/>
                  </a:lnTo>
                  <a:lnTo>
                    <a:pt x="170" y="1"/>
                  </a:lnTo>
                  <a:lnTo>
                    <a:pt x="174" y="4"/>
                  </a:lnTo>
                  <a:lnTo>
                    <a:pt x="178" y="6"/>
                  </a:lnTo>
                  <a:lnTo>
                    <a:pt x="180" y="10"/>
                  </a:lnTo>
                  <a:lnTo>
                    <a:pt x="182" y="14"/>
                  </a:lnTo>
                  <a:lnTo>
                    <a:pt x="184" y="19"/>
                  </a:lnTo>
                  <a:lnTo>
                    <a:pt x="185" y="24"/>
                  </a:lnTo>
                  <a:lnTo>
                    <a:pt x="184" y="27"/>
                  </a:lnTo>
                  <a:lnTo>
                    <a:pt x="182" y="32"/>
                  </a:lnTo>
                  <a:lnTo>
                    <a:pt x="180" y="36"/>
                  </a:lnTo>
                  <a:lnTo>
                    <a:pt x="178" y="39"/>
                  </a:lnTo>
                  <a:lnTo>
                    <a:pt x="174" y="42"/>
                  </a:lnTo>
                  <a:lnTo>
                    <a:pt x="170" y="44"/>
                  </a:lnTo>
                  <a:lnTo>
                    <a:pt x="167" y="46"/>
                  </a:lnTo>
                  <a:lnTo>
                    <a:pt x="16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46">
              <a:extLst>
                <a:ext uri="{FF2B5EF4-FFF2-40B4-BE49-F238E27FC236}">
                  <a16:creationId xmlns:a16="http://schemas.microsoft.com/office/drawing/2014/main" id="{1B0B92CE-A060-4E20-A68A-904503A2D93D}"/>
                </a:ext>
              </a:extLst>
            </p:cNvPr>
            <p:cNvSpPr>
              <a:spLocks noEditPoints="1"/>
            </p:cNvSpPr>
            <p:nvPr/>
          </p:nvSpPr>
          <p:spPr bwMode="auto">
            <a:xfrm>
              <a:off x="6824891" y="5499892"/>
              <a:ext cx="198438" cy="57150"/>
            </a:xfrm>
            <a:custGeom>
              <a:avLst/>
              <a:gdLst>
                <a:gd name="T0" fmla="*/ 45 w 500"/>
                <a:gd name="T1" fmla="*/ 94 h 141"/>
                <a:gd name="T2" fmla="*/ 455 w 500"/>
                <a:gd name="T3" fmla="*/ 94 h 141"/>
                <a:gd name="T4" fmla="*/ 455 w 500"/>
                <a:gd name="T5" fmla="*/ 45 h 141"/>
                <a:gd name="T6" fmla="*/ 45 w 500"/>
                <a:gd name="T7" fmla="*/ 45 h 141"/>
                <a:gd name="T8" fmla="*/ 45 w 500"/>
                <a:gd name="T9" fmla="*/ 94 h 141"/>
                <a:gd name="T10" fmla="*/ 478 w 500"/>
                <a:gd name="T11" fmla="*/ 141 h 141"/>
                <a:gd name="T12" fmla="*/ 22 w 500"/>
                <a:gd name="T13" fmla="*/ 141 h 141"/>
                <a:gd name="T14" fmla="*/ 18 w 500"/>
                <a:gd name="T15" fmla="*/ 139 h 141"/>
                <a:gd name="T16" fmla="*/ 14 w 500"/>
                <a:gd name="T17" fmla="*/ 138 h 141"/>
                <a:gd name="T18" fmla="*/ 10 w 500"/>
                <a:gd name="T19" fmla="*/ 137 h 141"/>
                <a:gd name="T20" fmla="*/ 6 w 500"/>
                <a:gd name="T21" fmla="*/ 133 h 141"/>
                <a:gd name="T22" fmla="*/ 4 w 500"/>
                <a:gd name="T23" fmla="*/ 130 h 141"/>
                <a:gd name="T24" fmla="*/ 1 w 500"/>
                <a:gd name="T25" fmla="*/ 126 h 141"/>
                <a:gd name="T26" fmla="*/ 0 w 500"/>
                <a:gd name="T27" fmla="*/ 122 h 141"/>
                <a:gd name="T28" fmla="*/ 0 w 500"/>
                <a:gd name="T29" fmla="*/ 117 h 141"/>
                <a:gd name="T30" fmla="*/ 0 w 500"/>
                <a:gd name="T31" fmla="*/ 23 h 141"/>
                <a:gd name="T32" fmla="*/ 0 w 500"/>
                <a:gd name="T33" fmla="*/ 18 h 141"/>
                <a:gd name="T34" fmla="*/ 1 w 500"/>
                <a:gd name="T35" fmla="*/ 13 h 141"/>
                <a:gd name="T36" fmla="*/ 4 w 500"/>
                <a:gd name="T37" fmla="*/ 9 h 141"/>
                <a:gd name="T38" fmla="*/ 6 w 500"/>
                <a:gd name="T39" fmla="*/ 6 h 141"/>
                <a:gd name="T40" fmla="*/ 10 w 500"/>
                <a:gd name="T41" fmla="*/ 3 h 141"/>
                <a:gd name="T42" fmla="*/ 14 w 500"/>
                <a:gd name="T43" fmla="*/ 1 h 141"/>
                <a:gd name="T44" fmla="*/ 18 w 500"/>
                <a:gd name="T45" fmla="*/ 0 h 141"/>
                <a:gd name="T46" fmla="*/ 22 w 500"/>
                <a:gd name="T47" fmla="*/ 0 h 141"/>
                <a:gd name="T48" fmla="*/ 478 w 500"/>
                <a:gd name="T49" fmla="*/ 0 h 141"/>
                <a:gd name="T50" fmla="*/ 482 w 500"/>
                <a:gd name="T51" fmla="*/ 0 h 141"/>
                <a:gd name="T52" fmla="*/ 487 w 500"/>
                <a:gd name="T53" fmla="*/ 1 h 141"/>
                <a:gd name="T54" fmla="*/ 491 w 500"/>
                <a:gd name="T55" fmla="*/ 3 h 141"/>
                <a:gd name="T56" fmla="*/ 494 w 500"/>
                <a:gd name="T57" fmla="*/ 6 h 141"/>
                <a:gd name="T58" fmla="*/ 497 w 500"/>
                <a:gd name="T59" fmla="*/ 9 h 141"/>
                <a:gd name="T60" fmla="*/ 499 w 500"/>
                <a:gd name="T61" fmla="*/ 13 h 141"/>
                <a:gd name="T62" fmla="*/ 500 w 500"/>
                <a:gd name="T63" fmla="*/ 18 h 141"/>
                <a:gd name="T64" fmla="*/ 500 w 500"/>
                <a:gd name="T65" fmla="*/ 23 h 141"/>
                <a:gd name="T66" fmla="*/ 500 w 500"/>
                <a:gd name="T67" fmla="*/ 117 h 141"/>
                <a:gd name="T68" fmla="*/ 500 w 500"/>
                <a:gd name="T69" fmla="*/ 122 h 141"/>
                <a:gd name="T70" fmla="*/ 499 w 500"/>
                <a:gd name="T71" fmla="*/ 126 h 141"/>
                <a:gd name="T72" fmla="*/ 497 w 500"/>
                <a:gd name="T73" fmla="*/ 130 h 141"/>
                <a:gd name="T74" fmla="*/ 494 w 500"/>
                <a:gd name="T75" fmla="*/ 133 h 141"/>
                <a:gd name="T76" fmla="*/ 491 w 500"/>
                <a:gd name="T77" fmla="*/ 137 h 141"/>
                <a:gd name="T78" fmla="*/ 487 w 500"/>
                <a:gd name="T79" fmla="*/ 138 h 141"/>
                <a:gd name="T80" fmla="*/ 482 w 500"/>
                <a:gd name="T81" fmla="*/ 139 h 141"/>
                <a:gd name="T82" fmla="*/ 478 w 500"/>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141">
                  <a:moveTo>
                    <a:pt x="45" y="94"/>
                  </a:moveTo>
                  <a:lnTo>
                    <a:pt x="455" y="94"/>
                  </a:lnTo>
                  <a:lnTo>
                    <a:pt x="455" y="45"/>
                  </a:lnTo>
                  <a:lnTo>
                    <a:pt x="45" y="45"/>
                  </a:lnTo>
                  <a:lnTo>
                    <a:pt x="45" y="94"/>
                  </a:lnTo>
                  <a:close/>
                  <a:moveTo>
                    <a:pt x="478" y="141"/>
                  </a:moveTo>
                  <a:lnTo>
                    <a:pt x="22" y="141"/>
                  </a:lnTo>
                  <a:lnTo>
                    <a:pt x="18" y="139"/>
                  </a:lnTo>
                  <a:lnTo>
                    <a:pt x="14" y="138"/>
                  </a:lnTo>
                  <a:lnTo>
                    <a:pt x="10" y="137"/>
                  </a:lnTo>
                  <a:lnTo>
                    <a:pt x="6" y="133"/>
                  </a:lnTo>
                  <a:lnTo>
                    <a:pt x="4" y="130"/>
                  </a:lnTo>
                  <a:lnTo>
                    <a:pt x="1" y="126"/>
                  </a:lnTo>
                  <a:lnTo>
                    <a:pt x="0" y="122"/>
                  </a:lnTo>
                  <a:lnTo>
                    <a:pt x="0" y="117"/>
                  </a:lnTo>
                  <a:lnTo>
                    <a:pt x="0" y="23"/>
                  </a:lnTo>
                  <a:lnTo>
                    <a:pt x="0" y="18"/>
                  </a:lnTo>
                  <a:lnTo>
                    <a:pt x="1" y="13"/>
                  </a:lnTo>
                  <a:lnTo>
                    <a:pt x="4" y="9"/>
                  </a:lnTo>
                  <a:lnTo>
                    <a:pt x="6" y="6"/>
                  </a:lnTo>
                  <a:lnTo>
                    <a:pt x="10" y="3"/>
                  </a:lnTo>
                  <a:lnTo>
                    <a:pt x="14" y="1"/>
                  </a:lnTo>
                  <a:lnTo>
                    <a:pt x="18" y="0"/>
                  </a:lnTo>
                  <a:lnTo>
                    <a:pt x="22" y="0"/>
                  </a:lnTo>
                  <a:lnTo>
                    <a:pt x="478" y="0"/>
                  </a:lnTo>
                  <a:lnTo>
                    <a:pt x="482" y="0"/>
                  </a:lnTo>
                  <a:lnTo>
                    <a:pt x="487" y="1"/>
                  </a:lnTo>
                  <a:lnTo>
                    <a:pt x="491" y="3"/>
                  </a:lnTo>
                  <a:lnTo>
                    <a:pt x="494" y="6"/>
                  </a:lnTo>
                  <a:lnTo>
                    <a:pt x="497" y="9"/>
                  </a:lnTo>
                  <a:lnTo>
                    <a:pt x="499" y="13"/>
                  </a:lnTo>
                  <a:lnTo>
                    <a:pt x="500" y="18"/>
                  </a:lnTo>
                  <a:lnTo>
                    <a:pt x="500" y="23"/>
                  </a:lnTo>
                  <a:lnTo>
                    <a:pt x="500" y="117"/>
                  </a:lnTo>
                  <a:lnTo>
                    <a:pt x="500" y="122"/>
                  </a:lnTo>
                  <a:lnTo>
                    <a:pt x="499" y="126"/>
                  </a:lnTo>
                  <a:lnTo>
                    <a:pt x="497" y="130"/>
                  </a:lnTo>
                  <a:lnTo>
                    <a:pt x="494" y="133"/>
                  </a:lnTo>
                  <a:lnTo>
                    <a:pt x="491" y="137"/>
                  </a:lnTo>
                  <a:lnTo>
                    <a:pt x="487" y="138"/>
                  </a:lnTo>
                  <a:lnTo>
                    <a:pt x="482" y="139"/>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47">
              <a:extLst>
                <a:ext uri="{FF2B5EF4-FFF2-40B4-BE49-F238E27FC236}">
                  <a16:creationId xmlns:a16="http://schemas.microsoft.com/office/drawing/2014/main" id="{C9B24C3E-AA47-40FA-AE63-97474688023D}"/>
                </a:ext>
              </a:extLst>
            </p:cNvPr>
            <p:cNvSpPr>
              <a:spLocks noEditPoints="1"/>
            </p:cNvSpPr>
            <p:nvPr/>
          </p:nvSpPr>
          <p:spPr bwMode="auto">
            <a:xfrm>
              <a:off x="6824891" y="5591967"/>
              <a:ext cx="198438" cy="109538"/>
            </a:xfrm>
            <a:custGeom>
              <a:avLst/>
              <a:gdLst>
                <a:gd name="T0" fmla="*/ 45 w 500"/>
                <a:gd name="T1" fmla="*/ 231 h 276"/>
                <a:gd name="T2" fmla="*/ 455 w 500"/>
                <a:gd name="T3" fmla="*/ 231 h 276"/>
                <a:gd name="T4" fmla="*/ 455 w 500"/>
                <a:gd name="T5" fmla="*/ 46 h 276"/>
                <a:gd name="T6" fmla="*/ 45 w 500"/>
                <a:gd name="T7" fmla="*/ 46 h 276"/>
                <a:gd name="T8" fmla="*/ 45 w 500"/>
                <a:gd name="T9" fmla="*/ 231 h 276"/>
                <a:gd name="T10" fmla="*/ 478 w 500"/>
                <a:gd name="T11" fmla="*/ 276 h 276"/>
                <a:gd name="T12" fmla="*/ 22 w 500"/>
                <a:gd name="T13" fmla="*/ 276 h 276"/>
                <a:gd name="T14" fmla="*/ 18 w 500"/>
                <a:gd name="T15" fmla="*/ 276 h 276"/>
                <a:gd name="T16" fmla="*/ 14 w 500"/>
                <a:gd name="T17" fmla="*/ 275 h 276"/>
                <a:gd name="T18" fmla="*/ 10 w 500"/>
                <a:gd name="T19" fmla="*/ 273 h 276"/>
                <a:gd name="T20" fmla="*/ 6 w 500"/>
                <a:gd name="T21" fmla="*/ 270 h 276"/>
                <a:gd name="T22" fmla="*/ 4 w 500"/>
                <a:gd name="T23" fmla="*/ 266 h 276"/>
                <a:gd name="T24" fmla="*/ 1 w 500"/>
                <a:gd name="T25" fmla="*/ 263 h 276"/>
                <a:gd name="T26" fmla="*/ 0 w 500"/>
                <a:gd name="T27" fmla="*/ 258 h 276"/>
                <a:gd name="T28" fmla="*/ 0 w 500"/>
                <a:gd name="T29" fmla="*/ 253 h 276"/>
                <a:gd name="T30" fmla="*/ 0 w 500"/>
                <a:gd name="T31" fmla="*/ 22 h 276"/>
                <a:gd name="T32" fmla="*/ 0 w 500"/>
                <a:gd name="T33" fmla="*/ 19 h 276"/>
                <a:gd name="T34" fmla="*/ 1 w 500"/>
                <a:gd name="T35" fmla="*/ 14 h 276"/>
                <a:gd name="T36" fmla="*/ 4 w 500"/>
                <a:gd name="T37" fmla="*/ 10 h 276"/>
                <a:gd name="T38" fmla="*/ 6 w 500"/>
                <a:gd name="T39" fmla="*/ 6 h 276"/>
                <a:gd name="T40" fmla="*/ 10 w 500"/>
                <a:gd name="T41" fmla="*/ 4 h 276"/>
                <a:gd name="T42" fmla="*/ 14 w 500"/>
                <a:gd name="T43" fmla="*/ 1 h 276"/>
                <a:gd name="T44" fmla="*/ 18 w 500"/>
                <a:gd name="T45" fmla="*/ 0 h 276"/>
                <a:gd name="T46" fmla="*/ 22 w 500"/>
                <a:gd name="T47" fmla="*/ 0 h 276"/>
                <a:gd name="T48" fmla="*/ 478 w 500"/>
                <a:gd name="T49" fmla="*/ 0 h 276"/>
                <a:gd name="T50" fmla="*/ 482 w 500"/>
                <a:gd name="T51" fmla="*/ 0 h 276"/>
                <a:gd name="T52" fmla="*/ 487 w 500"/>
                <a:gd name="T53" fmla="*/ 1 h 276"/>
                <a:gd name="T54" fmla="*/ 491 w 500"/>
                <a:gd name="T55" fmla="*/ 4 h 276"/>
                <a:gd name="T56" fmla="*/ 494 w 500"/>
                <a:gd name="T57" fmla="*/ 6 h 276"/>
                <a:gd name="T58" fmla="*/ 497 w 500"/>
                <a:gd name="T59" fmla="*/ 10 h 276"/>
                <a:gd name="T60" fmla="*/ 499 w 500"/>
                <a:gd name="T61" fmla="*/ 14 h 276"/>
                <a:gd name="T62" fmla="*/ 500 w 500"/>
                <a:gd name="T63" fmla="*/ 19 h 276"/>
                <a:gd name="T64" fmla="*/ 500 w 500"/>
                <a:gd name="T65" fmla="*/ 22 h 276"/>
                <a:gd name="T66" fmla="*/ 500 w 500"/>
                <a:gd name="T67" fmla="*/ 253 h 276"/>
                <a:gd name="T68" fmla="*/ 500 w 500"/>
                <a:gd name="T69" fmla="*/ 258 h 276"/>
                <a:gd name="T70" fmla="*/ 499 w 500"/>
                <a:gd name="T71" fmla="*/ 263 h 276"/>
                <a:gd name="T72" fmla="*/ 497 w 500"/>
                <a:gd name="T73" fmla="*/ 266 h 276"/>
                <a:gd name="T74" fmla="*/ 494 w 500"/>
                <a:gd name="T75" fmla="*/ 270 h 276"/>
                <a:gd name="T76" fmla="*/ 491 w 500"/>
                <a:gd name="T77" fmla="*/ 273 h 276"/>
                <a:gd name="T78" fmla="*/ 487 w 500"/>
                <a:gd name="T79" fmla="*/ 275 h 276"/>
                <a:gd name="T80" fmla="*/ 482 w 500"/>
                <a:gd name="T81" fmla="*/ 276 h 276"/>
                <a:gd name="T82" fmla="*/ 478 w 500"/>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276">
                  <a:moveTo>
                    <a:pt x="45" y="231"/>
                  </a:moveTo>
                  <a:lnTo>
                    <a:pt x="455" y="231"/>
                  </a:lnTo>
                  <a:lnTo>
                    <a:pt x="455" y="46"/>
                  </a:lnTo>
                  <a:lnTo>
                    <a:pt x="45" y="46"/>
                  </a:lnTo>
                  <a:lnTo>
                    <a:pt x="45" y="231"/>
                  </a:lnTo>
                  <a:close/>
                  <a:moveTo>
                    <a:pt x="478" y="276"/>
                  </a:moveTo>
                  <a:lnTo>
                    <a:pt x="22" y="276"/>
                  </a:lnTo>
                  <a:lnTo>
                    <a:pt x="18" y="276"/>
                  </a:lnTo>
                  <a:lnTo>
                    <a:pt x="14" y="275"/>
                  </a:lnTo>
                  <a:lnTo>
                    <a:pt x="10" y="273"/>
                  </a:lnTo>
                  <a:lnTo>
                    <a:pt x="6" y="270"/>
                  </a:lnTo>
                  <a:lnTo>
                    <a:pt x="4" y="266"/>
                  </a:lnTo>
                  <a:lnTo>
                    <a:pt x="1" y="263"/>
                  </a:lnTo>
                  <a:lnTo>
                    <a:pt x="0" y="258"/>
                  </a:lnTo>
                  <a:lnTo>
                    <a:pt x="0" y="253"/>
                  </a:lnTo>
                  <a:lnTo>
                    <a:pt x="0" y="22"/>
                  </a:lnTo>
                  <a:lnTo>
                    <a:pt x="0" y="19"/>
                  </a:lnTo>
                  <a:lnTo>
                    <a:pt x="1" y="14"/>
                  </a:lnTo>
                  <a:lnTo>
                    <a:pt x="4" y="10"/>
                  </a:lnTo>
                  <a:lnTo>
                    <a:pt x="6" y="6"/>
                  </a:lnTo>
                  <a:lnTo>
                    <a:pt x="10" y="4"/>
                  </a:lnTo>
                  <a:lnTo>
                    <a:pt x="14" y="1"/>
                  </a:lnTo>
                  <a:lnTo>
                    <a:pt x="18" y="0"/>
                  </a:lnTo>
                  <a:lnTo>
                    <a:pt x="22" y="0"/>
                  </a:lnTo>
                  <a:lnTo>
                    <a:pt x="478" y="0"/>
                  </a:lnTo>
                  <a:lnTo>
                    <a:pt x="482" y="0"/>
                  </a:lnTo>
                  <a:lnTo>
                    <a:pt x="487" y="1"/>
                  </a:lnTo>
                  <a:lnTo>
                    <a:pt x="491" y="4"/>
                  </a:lnTo>
                  <a:lnTo>
                    <a:pt x="494" y="6"/>
                  </a:lnTo>
                  <a:lnTo>
                    <a:pt x="497" y="10"/>
                  </a:lnTo>
                  <a:lnTo>
                    <a:pt x="499" y="14"/>
                  </a:lnTo>
                  <a:lnTo>
                    <a:pt x="500" y="19"/>
                  </a:lnTo>
                  <a:lnTo>
                    <a:pt x="500" y="22"/>
                  </a:lnTo>
                  <a:lnTo>
                    <a:pt x="500" y="253"/>
                  </a:lnTo>
                  <a:lnTo>
                    <a:pt x="500" y="258"/>
                  </a:lnTo>
                  <a:lnTo>
                    <a:pt x="499" y="263"/>
                  </a:lnTo>
                  <a:lnTo>
                    <a:pt x="497" y="266"/>
                  </a:lnTo>
                  <a:lnTo>
                    <a:pt x="494" y="270"/>
                  </a:lnTo>
                  <a:lnTo>
                    <a:pt x="491" y="273"/>
                  </a:lnTo>
                  <a:lnTo>
                    <a:pt x="487" y="275"/>
                  </a:lnTo>
                  <a:lnTo>
                    <a:pt x="482"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48">
              <a:extLst>
                <a:ext uri="{FF2B5EF4-FFF2-40B4-BE49-F238E27FC236}">
                  <a16:creationId xmlns:a16="http://schemas.microsoft.com/office/drawing/2014/main" id="{6E8B750D-9399-40A4-9BD3-0CEE7DEA96E1}"/>
                </a:ext>
              </a:extLst>
            </p:cNvPr>
            <p:cNvSpPr>
              <a:spLocks noEditPoints="1"/>
            </p:cNvSpPr>
            <p:nvPr/>
          </p:nvSpPr>
          <p:spPr bwMode="auto">
            <a:xfrm>
              <a:off x="6785204" y="5537992"/>
              <a:ext cx="276225" cy="71438"/>
            </a:xfrm>
            <a:custGeom>
              <a:avLst/>
              <a:gdLst>
                <a:gd name="T0" fmla="*/ 69 w 697"/>
                <a:gd name="T1" fmla="*/ 136 h 182"/>
                <a:gd name="T2" fmla="*/ 629 w 697"/>
                <a:gd name="T3" fmla="*/ 136 h 182"/>
                <a:gd name="T4" fmla="*/ 564 w 697"/>
                <a:gd name="T5" fmla="*/ 47 h 182"/>
                <a:gd name="T6" fmla="*/ 132 w 697"/>
                <a:gd name="T7" fmla="*/ 47 h 182"/>
                <a:gd name="T8" fmla="*/ 69 w 697"/>
                <a:gd name="T9" fmla="*/ 136 h 182"/>
                <a:gd name="T10" fmla="*/ 674 w 697"/>
                <a:gd name="T11" fmla="*/ 182 h 182"/>
                <a:gd name="T12" fmla="*/ 673 w 697"/>
                <a:gd name="T13" fmla="*/ 182 h 182"/>
                <a:gd name="T14" fmla="*/ 673 w 697"/>
                <a:gd name="T15" fmla="*/ 182 h 182"/>
                <a:gd name="T16" fmla="*/ 23 w 697"/>
                <a:gd name="T17" fmla="*/ 182 h 182"/>
                <a:gd name="T18" fmla="*/ 17 w 697"/>
                <a:gd name="T19" fmla="*/ 182 h 182"/>
                <a:gd name="T20" fmla="*/ 11 w 697"/>
                <a:gd name="T21" fmla="*/ 179 h 182"/>
                <a:gd name="T22" fmla="*/ 6 w 697"/>
                <a:gd name="T23" fmla="*/ 174 h 182"/>
                <a:gd name="T24" fmla="*/ 2 w 697"/>
                <a:gd name="T25" fmla="*/ 169 h 182"/>
                <a:gd name="T26" fmla="*/ 1 w 697"/>
                <a:gd name="T27" fmla="*/ 163 h 182"/>
                <a:gd name="T28" fmla="*/ 0 w 697"/>
                <a:gd name="T29" fmla="*/ 157 h 182"/>
                <a:gd name="T30" fmla="*/ 1 w 697"/>
                <a:gd name="T31" fmla="*/ 151 h 182"/>
                <a:gd name="T32" fmla="*/ 5 w 697"/>
                <a:gd name="T33" fmla="*/ 145 h 182"/>
                <a:gd name="T34" fmla="*/ 102 w 697"/>
                <a:gd name="T35" fmla="*/ 10 h 182"/>
                <a:gd name="T36" fmla="*/ 105 w 697"/>
                <a:gd name="T37" fmla="*/ 6 h 182"/>
                <a:gd name="T38" fmla="*/ 110 w 697"/>
                <a:gd name="T39" fmla="*/ 3 h 182"/>
                <a:gd name="T40" fmla="*/ 115 w 697"/>
                <a:gd name="T41" fmla="*/ 1 h 182"/>
                <a:gd name="T42" fmla="*/ 120 w 697"/>
                <a:gd name="T43" fmla="*/ 0 h 182"/>
                <a:gd name="T44" fmla="*/ 576 w 697"/>
                <a:gd name="T45" fmla="*/ 0 h 182"/>
                <a:gd name="T46" fmla="*/ 581 w 697"/>
                <a:gd name="T47" fmla="*/ 1 h 182"/>
                <a:gd name="T48" fmla="*/ 586 w 697"/>
                <a:gd name="T49" fmla="*/ 3 h 182"/>
                <a:gd name="T50" fmla="*/ 591 w 697"/>
                <a:gd name="T51" fmla="*/ 6 h 182"/>
                <a:gd name="T52" fmla="*/ 595 w 697"/>
                <a:gd name="T53" fmla="*/ 10 h 182"/>
                <a:gd name="T54" fmla="*/ 690 w 697"/>
                <a:gd name="T55" fmla="*/ 142 h 182"/>
                <a:gd name="T56" fmla="*/ 693 w 697"/>
                <a:gd name="T57" fmla="*/ 146 h 182"/>
                <a:gd name="T58" fmla="*/ 695 w 697"/>
                <a:gd name="T59" fmla="*/ 150 h 182"/>
                <a:gd name="T60" fmla="*/ 697 w 697"/>
                <a:gd name="T61" fmla="*/ 155 h 182"/>
                <a:gd name="T62" fmla="*/ 697 w 697"/>
                <a:gd name="T63" fmla="*/ 158 h 182"/>
                <a:gd name="T64" fmla="*/ 697 w 697"/>
                <a:gd name="T65" fmla="*/ 163 h 182"/>
                <a:gd name="T66" fmla="*/ 695 w 697"/>
                <a:gd name="T67" fmla="*/ 168 h 182"/>
                <a:gd name="T68" fmla="*/ 693 w 697"/>
                <a:gd name="T69" fmla="*/ 172 h 182"/>
                <a:gd name="T70" fmla="*/ 690 w 697"/>
                <a:gd name="T71" fmla="*/ 175 h 182"/>
                <a:gd name="T72" fmla="*/ 687 w 697"/>
                <a:gd name="T73" fmla="*/ 178 h 182"/>
                <a:gd name="T74" fmla="*/ 683 w 697"/>
                <a:gd name="T75" fmla="*/ 180 h 182"/>
                <a:gd name="T76" fmla="*/ 678 w 697"/>
                <a:gd name="T77" fmla="*/ 182 h 182"/>
                <a:gd name="T78" fmla="*/ 674 w 697"/>
                <a:gd name="T7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7" h="182">
                  <a:moveTo>
                    <a:pt x="69" y="136"/>
                  </a:moveTo>
                  <a:lnTo>
                    <a:pt x="629" y="136"/>
                  </a:lnTo>
                  <a:lnTo>
                    <a:pt x="564" y="47"/>
                  </a:lnTo>
                  <a:lnTo>
                    <a:pt x="132" y="47"/>
                  </a:lnTo>
                  <a:lnTo>
                    <a:pt x="69" y="136"/>
                  </a:lnTo>
                  <a:close/>
                  <a:moveTo>
                    <a:pt x="674" y="182"/>
                  </a:moveTo>
                  <a:lnTo>
                    <a:pt x="673" y="182"/>
                  </a:lnTo>
                  <a:lnTo>
                    <a:pt x="673" y="182"/>
                  </a:lnTo>
                  <a:lnTo>
                    <a:pt x="23" y="182"/>
                  </a:lnTo>
                  <a:lnTo>
                    <a:pt x="17" y="182"/>
                  </a:lnTo>
                  <a:lnTo>
                    <a:pt x="11" y="179"/>
                  </a:lnTo>
                  <a:lnTo>
                    <a:pt x="6" y="174"/>
                  </a:lnTo>
                  <a:lnTo>
                    <a:pt x="2" y="169"/>
                  </a:lnTo>
                  <a:lnTo>
                    <a:pt x="1" y="163"/>
                  </a:lnTo>
                  <a:lnTo>
                    <a:pt x="0" y="157"/>
                  </a:lnTo>
                  <a:lnTo>
                    <a:pt x="1" y="151"/>
                  </a:lnTo>
                  <a:lnTo>
                    <a:pt x="5" y="145"/>
                  </a:lnTo>
                  <a:lnTo>
                    <a:pt x="102" y="10"/>
                  </a:lnTo>
                  <a:lnTo>
                    <a:pt x="105" y="6"/>
                  </a:lnTo>
                  <a:lnTo>
                    <a:pt x="110" y="3"/>
                  </a:lnTo>
                  <a:lnTo>
                    <a:pt x="115" y="1"/>
                  </a:lnTo>
                  <a:lnTo>
                    <a:pt x="120" y="0"/>
                  </a:lnTo>
                  <a:lnTo>
                    <a:pt x="576" y="0"/>
                  </a:lnTo>
                  <a:lnTo>
                    <a:pt x="581" y="1"/>
                  </a:lnTo>
                  <a:lnTo>
                    <a:pt x="586" y="3"/>
                  </a:lnTo>
                  <a:lnTo>
                    <a:pt x="591" y="6"/>
                  </a:lnTo>
                  <a:lnTo>
                    <a:pt x="595" y="10"/>
                  </a:lnTo>
                  <a:lnTo>
                    <a:pt x="690" y="142"/>
                  </a:lnTo>
                  <a:lnTo>
                    <a:pt x="693" y="146"/>
                  </a:lnTo>
                  <a:lnTo>
                    <a:pt x="695" y="150"/>
                  </a:lnTo>
                  <a:lnTo>
                    <a:pt x="697" y="155"/>
                  </a:lnTo>
                  <a:lnTo>
                    <a:pt x="697" y="158"/>
                  </a:lnTo>
                  <a:lnTo>
                    <a:pt x="697" y="163"/>
                  </a:lnTo>
                  <a:lnTo>
                    <a:pt x="695" y="168"/>
                  </a:lnTo>
                  <a:lnTo>
                    <a:pt x="693" y="172"/>
                  </a:lnTo>
                  <a:lnTo>
                    <a:pt x="690" y="175"/>
                  </a:lnTo>
                  <a:lnTo>
                    <a:pt x="687" y="178"/>
                  </a:lnTo>
                  <a:lnTo>
                    <a:pt x="683" y="180"/>
                  </a:lnTo>
                  <a:lnTo>
                    <a:pt x="678" y="182"/>
                  </a:lnTo>
                  <a:lnTo>
                    <a:pt x="67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49">
              <a:extLst>
                <a:ext uri="{FF2B5EF4-FFF2-40B4-BE49-F238E27FC236}">
                  <a16:creationId xmlns:a16="http://schemas.microsoft.com/office/drawing/2014/main" id="{51901ECF-33A1-4459-8F3E-EEF8C5BC86C4}"/>
                </a:ext>
              </a:extLst>
            </p:cNvPr>
            <p:cNvSpPr>
              <a:spLocks/>
            </p:cNvSpPr>
            <p:nvPr/>
          </p:nvSpPr>
          <p:spPr bwMode="auto">
            <a:xfrm>
              <a:off x="6950304" y="5591967"/>
              <a:ext cx="19050" cy="109538"/>
            </a:xfrm>
            <a:custGeom>
              <a:avLst/>
              <a:gdLst>
                <a:gd name="T0" fmla="*/ 24 w 47"/>
                <a:gd name="T1" fmla="*/ 276 h 276"/>
                <a:gd name="T2" fmla="*/ 19 w 47"/>
                <a:gd name="T3" fmla="*/ 276 h 276"/>
                <a:gd name="T4" fmla="*/ 15 w 47"/>
                <a:gd name="T5" fmla="*/ 275 h 276"/>
                <a:gd name="T6" fmla="*/ 10 w 47"/>
                <a:gd name="T7" fmla="*/ 273 h 276"/>
                <a:gd name="T8" fmla="*/ 8 w 47"/>
                <a:gd name="T9" fmla="*/ 270 h 276"/>
                <a:gd name="T10" fmla="*/ 4 w 47"/>
                <a:gd name="T11" fmla="*/ 266 h 276"/>
                <a:gd name="T12" fmla="*/ 3 w 47"/>
                <a:gd name="T13" fmla="*/ 263 h 276"/>
                <a:gd name="T14" fmla="*/ 2 w 47"/>
                <a:gd name="T15" fmla="*/ 258 h 276"/>
                <a:gd name="T16" fmla="*/ 0 w 47"/>
                <a:gd name="T17" fmla="*/ 253 h 276"/>
                <a:gd name="T18" fmla="*/ 0 w 47"/>
                <a:gd name="T19" fmla="*/ 22 h 276"/>
                <a:gd name="T20" fmla="*/ 2 w 47"/>
                <a:gd name="T21" fmla="*/ 19 h 276"/>
                <a:gd name="T22" fmla="*/ 3 w 47"/>
                <a:gd name="T23" fmla="*/ 14 h 276"/>
                <a:gd name="T24" fmla="*/ 4 w 47"/>
                <a:gd name="T25" fmla="*/ 10 h 276"/>
                <a:gd name="T26" fmla="*/ 8 w 47"/>
                <a:gd name="T27" fmla="*/ 6 h 276"/>
                <a:gd name="T28" fmla="*/ 10 w 47"/>
                <a:gd name="T29" fmla="*/ 4 h 276"/>
                <a:gd name="T30" fmla="*/ 15 w 47"/>
                <a:gd name="T31" fmla="*/ 1 h 276"/>
                <a:gd name="T32" fmla="*/ 19 w 47"/>
                <a:gd name="T33" fmla="*/ 0 h 276"/>
                <a:gd name="T34" fmla="*/ 24 w 47"/>
                <a:gd name="T35" fmla="*/ 0 h 276"/>
                <a:gd name="T36" fmla="*/ 29 w 47"/>
                <a:gd name="T37" fmla="*/ 0 h 276"/>
                <a:gd name="T38" fmla="*/ 32 w 47"/>
                <a:gd name="T39" fmla="*/ 1 h 276"/>
                <a:gd name="T40" fmla="*/ 36 w 47"/>
                <a:gd name="T41" fmla="*/ 4 h 276"/>
                <a:gd name="T42" fmla="*/ 40 w 47"/>
                <a:gd name="T43" fmla="*/ 6 h 276"/>
                <a:gd name="T44" fmla="*/ 43 w 47"/>
                <a:gd name="T45" fmla="*/ 10 h 276"/>
                <a:gd name="T46" fmla="*/ 45 w 47"/>
                <a:gd name="T47" fmla="*/ 14 h 276"/>
                <a:gd name="T48" fmla="*/ 46 w 47"/>
                <a:gd name="T49" fmla="*/ 19 h 276"/>
                <a:gd name="T50" fmla="*/ 47 w 47"/>
                <a:gd name="T51" fmla="*/ 22 h 276"/>
                <a:gd name="T52" fmla="*/ 47 w 47"/>
                <a:gd name="T53" fmla="*/ 253 h 276"/>
                <a:gd name="T54" fmla="*/ 46 w 47"/>
                <a:gd name="T55" fmla="*/ 258 h 276"/>
                <a:gd name="T56" fmla="*/ 45 w 47"/>
                <a:gd name="T57" fmla="*/ 263 h 276"/>
                <a:gd name="T58" fmla="*/ 43 w 47"/>
                <a:gd name="T59" fmla="*/ 266 h 276"/>
                <a:gd name="T60" fmla="*/ 40 w 47"/>
                <a:gd name="T61" fmla="*/ 270 h 276"/>
                <a:gd name="T62" fmla="*/ 37 w 47"/>
                <a:gd name="T63" fmla="*/ 273 h 276"/>
                <a:gd name="T64" fmla="*/ 32 w 47"/>
                <a:gd name="T65" fmla="*/ 275 h 276"/>
                <a:gd name="T66" fmla="*/ 29 w 47"/>
                <a:gd name="T67" fmla="*/ 276 h 276"/>
                <a:gd name="T68" fmla="*/ 24 w 47"/>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276">
                  <a:moveTo>
                    <a:pt x="24" y="276"/>
                  </a:moveTo>
                  <a:lnTo>
                    <a:pt x="19" y="276"/>
                  </a:lnTo>
                  <a:lnTo>
                    <a:pt x="15" y="275"/>
                  </a:lnTo>
                  <a:lnTo>
                    <a:pt x="10" y="273"/>
                  </a:lnTo>
                  <a:lnTo>
                    <a:pt x="8" y="270"/>
                  </a:lnTo>
                  <a:lnTo>
                    <a:pt x="4" y="266"/>
                  </a:lnTo>
                  <a:lnTo>
                    <a:pt x="3" y="263"/>
                  </a:lnTo>
                  <a:lnTo>
                    <a:pt x="2" y="258"/>
                  </a:lnTo>
                  <a:lnTo>
                    <a:pt x="0" y="253"/>
                  </a:lnTo>
                  <a:lnTo>
                    <a:pt x="0" y="22"/>
                  </a:lnTo>
                  <a:lnTo>
                    <a:pt x="2" y="19"/>
                  </a:lnTo>
                  <a:lnTo>
                    <a:pt x="3" y="14"/>
                  </a:lnTo>
                  <a:lnTo>
                    <a:pt x="4" y="10"/>
                  </a:lnTo>
                  <a:lnTo>
                    <a:pt x="8" y="6"/>
                  </a:lnTo>
                  <a:lnTo>
                    <a:pt x="10" y="4"/>
                  </a:lnTo>
                  <a:lnTo>
                    <a:pt x="15" y="1"/>
                  </a:lnTo>
                  <a:lnTo>
                    <a:pt x="19" y="0"/>
                  </a:lnTo>
                  <a:lnTo>
                    <a:pt x="24" y="0"/>
                  </a:lnTo>
                  <a:lnTo>
                    <a:pt x="29" y="0"/>
                  </a:lnTo>
                  <a:lnTo>
                    <a:pt x="32" y="1"/>
                  </a:lnTo>
                  <a:lnTo>
                    <a:pt x="36" y="4"/>
                  </a:lnTo>
                  <a:lnTo>
                    <a:pt x="40" y="6"/>
                  </a:lnTo>
                  <a:lnTo>
                    <a:pt x="43" y="10"/>
                  </a:lnTo>
                  <a:lnTo>
                    <a:pt x="45" y="14"/>
                  </a:lnTo>
                  <a:lnTo>
                    <a:pt x="46" y="19"/>
                  </a:lnTo>
                  <a:lnTo>
                    <a:pt x="47" y="22"/>
                  </a:lnTo>
                  <a:lnTo>
                    <a:pt x="47" y="253"/>
                  </a:lnTo>
                  <a:lnTo>
                    <a:pt x="46" y="258"/>
                  </a:lnTo>
                  <a:lnTo>
                    <a:pt x="45" y="263"/>
                  </a:lnTo>
                  <a:lnTo>
                    <a:pt x="43" y="266"/>
                  </a:lnTo>
                  <a:lnTo>
                    <a:pt x="40" y="270"/>
                  </a:lnTo>
                  <a:lnTo>
                    <a:pt x="37" y="273"/>
                  </a:lnTo>
                  <a:lnTo>
                    <a:pt x="32" y="275"/>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50">
              <a:extLst>
                <a:ext uri="{FF2B5EF4-FFF2-40B4-BE49-F238E27FC236}">
                  <a16:creationId xmlns:a16="http://schemas.microsoft.com/office/drawing/2014/main" id="{011225D7-83B2-4EB6-AF01-24F2CD61C7E3}"/>
                </a:ext>
              </a:extLst>
            </p:cNvPr>
            <p:cNvSpPr>
              <a:spLocks/>
            </p:cNvSpPr>
            <p:nvPr/>
          </p:nvSpPr>
          <p:spPr bwMode="auto">
            <a:xfrm>
              <a:off x="6858229" y="5628479"/>
              <a:ext cx="74613" cy="17463"/>
            </a:xfrm>
            <a:custGeom>
              <a:avLst/>
              <a:gdLst>
                <a:gd name="T0" fmla="*/ 162 w 185"/>
                <a:gd name="T1" fmla="*/ 46 h 46"/>
                <a:gd name="T2" fmla="*/ 23 w 185"/>
                <a:gd name="T3" fmla="*/ 46 h 46"/>
                <a:gd name="T4" fmla="*/ 18 w 185"/>
                <a:gd name="T5" fmla="*/ 46 h 46"/>
                <a:gd name="T6" fmla="*/ 15 w 185"/>
                <a:gd name="T7" fmla="*/ 44 h 46"/>
                <a:gd name="T8" fmla="*/ 11 w 185"/>
                <a:gd name="T9" fmla="*/ 42 h 46"/>
                <a:gd name="T10" fmla="*/ 7 w 185"/>
                <a:gd name="T11" fmla="*/ 39 h 46"/>
                <a:gd name="T12" fmla="*/ 5 w 185"/>
                <a:gd name="T13" fmla="*/ 36 h 46"/>
                <a:gd name="T14" fmla="*/ 2 w 185"/>
                <a:gd name="T15" fmla="*/ 32 h 46"/>
                <a:gd name="T16" fmla="*/ 1 w 185"/>
                <a:gd name="T17" fmla="*/ 27 h 46"/>
                <a:gd name="T18" fmla="*/ 0 w 185"/>
                <a:gd name="T19" fmla="*/ 24 h 46"/>
                <a:gd name="T20" fmla="*/ 1 w 185"/>
                <a:gd name="T21" fmla="*/ 19 h 46"/>
                <a:gd name="T22" fmla="*/ 2 w 185"/>
                <a:gd name="T23" fmla="*/ 14 h 46"/>
                <a:gd name="T24" fmla="*/ 5 w 185"/>
                <a:gd name="T25" fmla="*/ 10 h 46"/>
                <a:gd name="T26" fmla="*/ 7 w 185"/>
                <a:gd name="T27" fmla="*/ 6 h 46"/>
                <a:gd name="T28" fmla="*/ 11 w 185"/>
                <a:gd name="T29" fmla="*/ 4 h 46"/>
                <a:gd name="T30" fmla="*/ 15 w 185"/>
                <a:gd name="T31" fmla="*/ 1 h 46"/>
                <a:gd name="T32" fmla="*/ 18 w 185"/>
                <a:gd name="T33" fmla="*/ 0 h 46"/>
                <a:gd name="T34" fmla="*/ 23 w 185"/>
                <a:gd name="T35" fmla="*/ 0 h 46"/>
                <a:gd name="T36" fmla="*/ 162 w 185"/>
                <a:gd name="T37" fmla="*/ 0 h 46"/>
                <a:gd name="T38" fmla="*/ 167 w 185"/>
                <a:gd name="T39" fmla="*/ 0 h 46"/>
                <a:gd name="T40" fmla="*/ 170 w 185"/>
                <a:gd name="T41" fmla="*/ 1 h 46"/>
                <a:gd name="T42" fmla="*/ 174 w 185"/>
                <a:gd name="T43" fmla="*/ 4 h 46"/>
                <a:gd name="T44" fmla="*/ 178 w 185"/>
                <a:gd name="T45" fmla="*/ 6 h 46"/>
                <a:gd name="T46" fmla="*/ 180 w 185"/>
                <a:gd name="T47" fmla="*/ 10 h 46"/>
                <a:gd name="T48" fmla="*/ 183 w 185"/>
                <a:gd name="T49" fmla="*/ 14 h 46"/>
                <a:gd name="T50" fmla="*/ 184 w 185"/>
                <a:gd name="T51" fmla="*/ 19 h 46"/>
                <a:gd name="T52" fmla="*/ 185 w 185"/>
                <a:gd name="T53" fmla="*/ 24 h 46"/>
                <a:gd name="T54" fmla="*/ 184 w 185"/>
                <a:gd name="T55" fmla="*/ 27 h 46"/>
                <a:gd name="T56" fmla="*/ 183 w 185"/>
                <a:gd name="T57" fmla="*/ 32 h 46"/>
                <a:gd name="T58" fmla="*/ 180 w 185"/>
                <a:gd name="T59" fmla="*/ 36 h 46"/>
                <a:gd name="T60" fmla="*/ 178 w 185"/>
                <a:gd name="T61" fmla="*/ 39 h 46"/>
                <a:gd name="T62" fmla="*/ 174 w 185"/>
                <a:gd name="T63" fmla="*/ 42 h 46"/>
                <a:gd name="T64" fmla="*/ 170 w 185"/>
                <a:gd name="T65" fmla="*/ 44 h 46"/>
                <a:gd name="T66" fmla="*/ 167 w 185"/>
                <a:gd name="T67" fmla="*/ 46 h 46"/>
                <a:gd name="T68" fmla="*/ 162 w 185"/>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 h="46">
                  <a:moveTo>
                    <a:pt x="162" y="46"/>
                  </a:moveTo>
                  <a:lnTo>
                    <a:pt x="23" y="46"/>
                  </a:lnTo>
                  <a:lnTo>
                    <a:pt x="18" y="46"/>
                  </a:lnTo>
                  <a:lnTo>
                    <a:pt x="15" y="44"/>
                  </a:lnTo>
                  <a:lnTo>
                    <a:pt x="11" y="42"/>
                  </a:lnTo>
                  <a:lnTo>
                    <a:pt x="7" y="39"/>
                  </a:lnTo>
                  <a:lnTo>
                    <a:pt x="5" y="36"/>
                  </a:lnTo>
                  <a:lnTo>
                    <a:pt x="2" y="32"/>
                  </a:lnTo>
                  <a:lnTo>
                    <a:pt x="1" y="27"/>
                  </a:lnTo>
                  <a:lnTo>
                    <a:pt x="0" y="24"/>
                  </a:lnTo>
                  <a:lnTo>
                    <a:pt x="1" y="19"/>
                  </a:lnTo>
                  <a:lnTo>
                    <a:pt x="2" y="14"/>
                  </a:lnTo>
                  <a:lnTo>
                    <a:pt x="5" y="10"/>
                  </a:lnTo>
                  <a:lnTo>
                    <a:pt x="7" y="6"/>
                  </a:lnTo>
                  <a:lnTo>
                    <a:pt x="11" y="4"/>
                  </a:lnTo>
                  <a:lnTo>
                    <a:pt x="15" y="1"/>
                  </a:lnTo>
                  <a:lnTo>
                    <a:pt x="18" y="0"/>
                  </a:lnTo>
                  <a:lnTo>
                    <a:pt x="23" y="0"/>
                  </a:lnTo>
                  <a:lnTo>
                    <a:pt x="162" y="0"/>
                  </a:lnTo>
                  <a:lnTo>
                    <a:pt x="167" y="0"/>
                  </a:lnTo>
                  <a:lnTo>
                    <a:pt x="170" y="1"/>
                  </a:lnTo>
                  <a:lnTo>
                    <a:pt x="174" y="4"/>
                  </a:lnTo>
                  <a:lnTo>
                    <a:pt x="178" y="6"/>
                  </a:lnTo>
                  <a:lnTo>
                    <a:pt x="180" y="10"/>
                  </a:lnTo>
                  <a:lnTo>
                    <a:pt x="183" y="14"/>
                  </a:lnTo>
                  <a:lnTo>
                    <a:pt x="184" y="19"/>
                  </a:lnTo>
                  <a:lnTo>
                    <a:pt x="185" y="24"/>
                  </a:lnTo>
                  <a:lnTo>
                    <a:pt x="184" y="27"/>
                  </a:lnTo>
                  <a:lnTo>
                    <a:pt x="183" y="32"/>
                  </a:lnTo>
                  <a:lnTo>
                    <a:pt x="180" y="36"/>
                  </a:lnTo>
                  <a:lnTo>
                    <a:pt x="178" y="39"/>
                  </a:lnTo>
                  <a:lnTo>
                    <a:pt x="174" y="42"/>
                  </a:lnTo>
                  <a:lnTo>
                    <a:pt x="170" y="44"/>
                  </a:lnTo>
                  <a:lnTo>
                    <a:pt x="167" y="46"/>
                  </a:lnTo>
                  <a:lnTo>
                    <a:pt x="16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51">
              <a:extLst>
                <a:ext uri="{FF2B5EF4-FFF2-40B4-BE49-F238E27FC236}">
                  <a16:creationId xmlns:a16="http://schemas.microsoft.com/office/drawing/2014/main" id="{19DEE7A8-6C47-4896-8BE4-54F599717BA4}"/>
                </a:ext>
              </a:extLst>
            </p:cNvPr>
            <p:cNvSpPr>
              <a:spLocks/>
            </p:cNvSpPr>
            <p:nvPr/>
          </p:nvSpPr>
          <p:spPr bwMode="auto">
            <a:xfrm>
              <a:off x="6621691" y="5445917"/>
              <a:ext cx="311150" cy="73025"/>
            </a:xfrm>
            <a:custGeom>
              <a:avLst/>
              <a:gdLst>
                <a:gd name="T0" fmla="*/ 761 w 784"/>
                <a:gd name="T1" fmla="*/ 184 h 184"/>
                <a:gd name="T2" fmla="*/ 756 w 784"/>
                <a:gd name="T3" fmla="*/ 184 h 184"/>
                <a:gd name="T4" fmla="*/ 752 w 784"/>
                <a:gd name="T5" fmla="*/ 183 h 184"/>
                <a:gd name="T6" fmla="*/ 747 w 784"/>
                <a:gd name="T7" fmla="*/ 180 h 184"/>
                <a:gd name="T8" fmla="*/ 745 w 784"/>
                <a:gd name="T9" fmla="*/ 178 h 184"/>
                <a:gd name="T10" fmla="*/ 741 w 784"/>
                <a:gd name="T11" fmla="*/ 174 h 184"/>
                <a:gd name="T12" fmla="*/ 740 w 784"/>
                <a:gd name="T13" fmla="*/ 171 h 184"/>
                <a:gd name="T14" fmla="*/ 737 w 784"/>
                <a:gd name="T15" fmla="*/ 166 h 184"/>
                <a:gd name="T16" fmla="*/ 737 w 784"/>
                <a:gd name="T17" fmla="*/ 162 h 184"/>
                <a:gd name="T18" fmla="*/ 737 w 784"/>
                <a:gd name="T19" fmla="*/ 47 h 184"/>
                <a:gd name="T20" fmla="*/ 47 w 784"/>
                <a:gd name="T21" fmla="*/ 47 h 184"/>
                <a:gd name="T22" fmla="*/ 47 w 784"/>
                <a:gd name="T23" fmla="*/ 162 h 184"/>
                <a:gd name="T24" fmla="*/ 46 w 784"/>
                <a:gd name="T25" fmla="*/ 166 h 184"/>
                <a:gd name="T26" fmla="*/ 44 w 784"/>
                <a:gd name="T27" fmla="*/ 171 h 184"/>
                <a:gd name="T28" fmla="*/ 42 w 784"/>
                <a:gd name="T29" fmla="*/ 174 h 184"/>
                <a:gd name="T30" fmla="*/ 40 w 784"/>
                <a:gd name="T31" fmla="*/ 178 h 184"/>
                <a:gd name="T32" fmla="*/ 36 w 784"/>
                <a:gd name="T33" fmla="*/ 180 h 184"/>
                <a:gd name="T34" fmla="*/ 32 w 784"/>
                <a:gd name="T35" fmla="*/ 183 h 184"/>
                <a:gd name="T36" fmla="*/ 29 w 784"/>
                <a:gd name="T37" fmla="*/ 184 h 184"/>
                <a:gd name="T38" fmla="*/ 24 w 784"/>
                <a:gd name="T39" fmla="*/ 184 h 184"/>
                <a:gd name="T40" fmla="*/ 19 w 784"/>
                <a:gd name="T41" fmla="*/ 184 h 184"/>
                <a:gd name="T42" fmla="*/ 15 w 784"/>
                <a:gd name="T43" fmla="*/ 183 h 184"/>
                <a:gd name="T44" fmla="*/ 10 w 784"/>
                <a:gd name="T45" fmla="*/ 180 h 184"/>
                <a:gd name="T46" fmla="*/ 8 w 784"/>
                <a:gd name="T47" fmla="*/ 178 h 184"/>
                <a:gd name="T48" fmla="*/ 4 w 784"/>
                <a:gd name="T49" fmla="*/ 174 h 184"/>
                <a:gd name="T50" fmla="*/ 3 w 784"/>
                <a:gd name="T51" fmla="*/ 171 h 184"/>
                <a:gd name="T52" fmla="*/ 0 w 784"/>
                <a:gd name="T53" fmla="*/ 166 h 184"/>
                <a:gd name="T54" fmla="*/ 0 w 784"/>
                <a:gd name="T55" fmla="*/ 162 h 184"/>
                <a:gd name="T56" fmla="*/ 0 w 784"/>
                <a:gd name="T57" fmla="*/ 23 h 184"/>
                <a:gd name="T58" fmla="*/ 0 w 784"/>
                <a:gd name="T59" fmla="*/ 18 h 184"/>
                <a:gd name="T60" fmla="*/ 3 w 784"/>
                <a:gd name="T61" fmla="*/ 15 h 184"/>
                <a:gd name="T62" fmla="*/ 4 w 784"/>
                <a:gd name="T63" fmla="*/ 10 h 184"/>
                <a:gd name="T64" fmla="*/ 8 w 784"/>
                <a:gd name="T65" fmla="*/ 7 h 184"/>
                <a:gd name="T66" fmla="*/ 10 w 784"/>
                <a:gd name="T67" fmla="*/ 4 h 184"/>
                <a:gd name="T68" fmla="*/ 15 w 784"/>
                <a:gd name="T69" fmla="*/ 2 h 184"/>
                <a:gd name="T70" fmla="*/ 19 w 784"/>
                <a:gd name="T71" fmla="*/ 1 h 184"/>
                <a:gd name="T72" fmla="*/ 24 w 784"/>
                <a:gd name="T73" fmla="*/ 0 h 184"/>
                <a:gd name="T74" fmla="*/ 761 w 784"/>
                <a:gd name="T75" fmla="*/ 0 h 184"/>
                <a:gd name="T76" fmla="*/ 766 w 784"/>
                <a:gd name="T77" fmla="*/ 1 h 184"/>
                <a:gd name="T78" fmla="*/ 769 w 784"/>
                <a:gd name="T79" fmla="*/ 2 h 184"/>
                <a:gd name="T80" fmla="*/ 773 w 784"/>
                <a:gd name="T81" fmla="*/ 4 h 184"/>
                <a:gd name="T82" fmla="*/ 777 w 784"/>
                <a:gd name="T83" fmla="*/ 7 h 184"/>
                <a:gd name="T84" fmla="*/ 779 w 784"/>
                <a:gd name="T85" fmla="*/ 10 h 184"/>
                <a:gd name="T86" fmla="*/ 782 w 784"/>
                <a:gd name="T87" fmla="*/ 15 h 184"/>
                <a:gd name="T88" fmla="*/ 783 w 784"/>
                <a:gd name="T89" fmla="*/ 18 h 184"/>
                <a:gd name="T90" fmla="*/ 784 w 784"/>
                <a:gd name="T91" fmla="*/ 23 h 184"/>
                <a:gd name="T92" fmla="*/ 784 w 784"/>
                <a:gd name="T93" fmla="*/ 162 h 184"/>
                <a:gd name="T94" fmla="*/ 783 w 784"/>
                <a:gd name="T95" fmla="*/ 166 h 184"/>
                <a:gd name="T96" fmla="*/ 782 w 784"/>
                <a:gd name="T97" fmla="*/ 171 h 184"/>
                <a:gd name="T98" fmla="*/ 779 w 784"/>
                <a:gd name="T99" fmla="*/ 174 h 184"/>
                <a:gd name="T100" fmla="*/ 777 w 784"/>
                <a:gd name="T101" fmla="*/ 178 h 184"/>
                <a:gd name="T102" fmla="*/ 773 w 784"/>
                <a:gd name="T103" fmla="*/ 180 h 184"/>
                <a:gd name="T104" fmla="*/ 769 w 784"/>
                <a:gd name="T105" fmla="*/ 183 h 184"/>
                <a:gd name="T106" fmla="*/ 766 w 784"/>
                <a:gd name="T107" fmla="*/ 184 h 184"/>
                <a:gd name="T108" fmla="*/ 761 w 784"/>
                <a:gd name="T10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84">
                  <a:moveTo>
                    <a:pt x="761" y="184"/>
                  </a:moveTo>
                  <a:lnTo>
                    <a:pt x="756" y="184"/>
                  </a:lnTo>
                  <a:lnTo>
                    <a:pt x="752" y="183"/>
                  </a:lnTo>
                  <a:lnTo>
                    <a:pt x="747" y="180"/>
                  </a:lnTo>
                  <a:lnTo>
                    <a:pt x="745" y="178"/>
                  </a:lnTo>
                  <a:lnTo>
                    <a:pt x="741" y="174"/>
                  </a:lnTo>
                  <a:lnTo>
                    <a:pt x="740" y="171"/>
                  </a:lnTo>
                  <a:lnTo>
                    <a:pt x="737" y="166"/>
                  </a:lnTo>
                  <a:lnTo>
                    <a:pt x="737" y="162"/>
                  </a:lnTo>
                  <a:lnTo>
                    <a:pt x="737" y="47"/>
                  </a:lnTo>
                  <a:lnTo>
                    <a:pt x="47" y="47"/>
                  </a:lnTo>
                  <a:lnTo>
                    <a:pt x="47" y="162"/>
                  </a:lnTo>
                  <a:lnTo>
                    <a:pt x="46" y="166"/>
                  </a:lnTo>
                  <a:lnTo>
                    <a:pt x="44" y="171"/>
                  </a:lnTo>
                  <a:lnTo>
                    <a:pt x="42" y="174"/>
                  </a:lnTo>
                  <a:lnTo>
                    <a:pt x="40" y="178"/>
                  </a:lnTo>
                  <a:lnTo>
                    <a:pt x="36" y="180"/>
                  </a:lnTo>
                  <a:lnTo>
                    <a:pt x="32" y="183"/>
                  </a:lnTo>
                  <a:lnTo>
                    <a:pt x="29" y="184"/>
                  </a:lnTo>
                  <a:lnTo>
                    <a:pt x="24" y="184"/>
                  </a:lnTo>
                  <a:lnTo>
                    <a:pt x="19" y="184"/>
                  </a:lnTo>
                  <a:lnTo>
                    <a:pt x="15" y="183"/>
                  </a:lnTo>
                  <a:lnTo>
                    <a:pt x="10" y="180"/>
                  </a:lnTo>
                  <a:lnTo>
                    <a:pt x="8" y="178"/>
                  </a:lnTo>
                  <a:lnTo>
                    <a:pt x="4" y="174"/>
                  </a:lnTo>
                  <a:lnTo>
                    <a:pt x="3" y="171"/>
                  </a:lnTo>
                  <a:lnTo>
                    <a:pt x="0" y="166"/>
                  </a:lnTo>
                  <a:lnTo>
                    <a:pt x="0" y="162"/>
                  </a:lnTo>
                  <a:lnTo>
                    <a:pt x="0" y="23"/>
                  </a:lnTo>
                  <a:lnTo>
                    <a:pt x="0" y="18"/>
                  </a:lnTo>
                  <a:lnTo>
                    <a:pt x="3" y="15"/>
                  </a:lnTo>
                  <a:lnTo>
                    <a:pt x="4" y="10"/>
                  </a:lnTo>
                  <a:lnTo>
                    <a:pt x="8" y="7"/>
                  </a:lnTo>
                  <a:lnTo>
                    <a:pt x="10" y="4"/>
                  </a:lnTo>
                  <a:lnTo>
                    <a:pt x="15" y="2"/>
                  </a:lnTo>
                  <a:lnTo>
                    <a:pt x="19" y="1"/>
                  </a:lnTo>
                  <a:lnTo>
                    <a:pt x="24" y="0"/>
                  </a:lnTo>
                  <a:lnTo>
                    <a:pt x="761" y="0"/>
                  </a:lnTo>
                  <a:lnTo>
                    <a:pt x="766" y="1"/>
                  </a:lnTo>
                  <a:lnTo>
                    <a:pt x="769" y="2"/>
                  </a:lnTo>
                  <a:lnTo>
                    <a:pt x="773" y="4"/>
                  </a:lnTo>
                  <a:lnTo>
                    <a:pt x="777" y="7"/>
                  </a:lnTo>
                  <a:lnTo>
                    <a:pt x="779" y="10"/>
                  </a:lnTo>
                  <a:lnTo>
                    <a:pt x="782" y="15"/>
                  </a:lnTo>
                  <a:lnTo>
                    <a:pt x="783" y="18"/>
                  </a:lnTo>
                  <a:lnTo>
                    <a:pt x="784" y="23"/>
                  </a:lnTo>
                  <a:lnTo>
                    <a:pt x="784" y="162"/>
                  </a:lnTo>
                  <a:lnTo>
                    <a:pt x="783" y="166"/>
                  </a:lnTo>
                  <a:lnTo>
                    <a:pt x="782" y="171"/>
                  </a:lnTo>
                  <a:lnTo>
                    <a:pt x="779" y="174"/>
                  </a:lnTo>
                  <a:lnTo>
                    <a:pt x="777" y="178"/>
                  </a:lnTo>
                  <a:lnTo>
                    <a:pt x="773" y="180"/>
                  </a:lnTo>
                  <a:lnTo>
                    <a:pt x="769" y="183"/>
                  </a:lnTo>
                  <a:lnTo>
                    <a:pt x="766" y="184"/>
                  </a:lnTo>
                  <a:lnTo>
                    <a:pt x="761"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52">
              <a:extLst>
                <a:ext uri="{FF2B5EF4-FFF2-40B4-BE49-F238E27FC236}">
                  <a16:creationId xmlns:a16="http://schemas.microsoft.com/office/drawing/2014/main" id="{16BAAEF2-275A-4453-8C6F-DCE65A2CAAD4}"/>
                </a:ext>
              </a:extLst>
            </p:cNvPr>
            <p:cNvSpPr>
              <a:spLocks/>
            </p:cNvSpPr>
            <p:nvPr/>
          </p:nvSpPr>
          <p:spPr bwMode="auto">
            <a:xfrm>
              <a:off x="6767741" y="5390354"/>
              <a:ext cx="17463" cy="73025"/>
            </a:xfrm>
            <a:custGeom>
              <a:avLst/>
              <a:gdLst>
                <a:gd name="T0" fmla="*/ 22 w 45"/>
                <a:gd name="T1" fmla="*/ 186 h 186"/>
                <a:gd name="T2" fmla="*/ 18 w 45"/>
                <a:gd name="T3" fmla="*/ 184 h 186"/>
                <a:gd name="T4" fmla="*/ 13 w 45"/>
                <a:gd name="T5" fmla="*/ 183 h 186"/>
                <a:gd name="T6" fmla="*/ 9 w 45"/>
                <a:gd name="T7" fmla="*/ 182 h 186"/>
                <a:gd name="T8" fmla="*/ 6 w 45"/>
                <a:gd name="T9" fmla="*/ 178 h 186"/>
                <a:gd name="T10" fmla="*/ 3 w 45"/>
                <a:gd name="T11" fmla="*/ 175 h 186"/>
                <a:gd name="T12" fmla="*/ 1 w 45"/>
                <a:gd name="T13" fmla="*/ 171 h 186"/>
                <a:gd name="T14" fmla="*/ 0 w 45"/>
                <a:gd name="T15" fmla="*/ 167 h 186"/>
                <a:gd name="T16" fmla="*/ 0 w 45"/>
                <a:gd name="T17" fmla="*/ 162 h 186"/>
                <a:gd name="T18" fmla="*/ 0 w 45"/>
                <a:gd name="T19" fmla="*/ 24 h 186"/>
                <a:gd name="T20" fmla="*/ 0 w 45"/>
                <a:gd name="T21" fmla="*/ 19 h 186"/>
                <a:gd name="T22" fmla="*/ 1 w 45"/>
                <a:gd name="T23" fmla="*/ 15 h 186"/>
                <a:gd name="T24" fmla="*/ 3 w 45"/>
                <a:gd name="T25" fmla="*/ 11 h 186"/>
                <a:gd name="T26" fmla="*/ 6 w 45"/>
                <a:gd name="T27" fmla="*/ 8 h 186"/>
                <a:gd name="T28" fmla="*/ 9 w 45"/>
                <a:gd name="T29" fmla="*/ 5 h 186"/>
                <a:gd name="T30" fmla="*/ 13 w 45"/>
                <a:gd name="T31" fmla="*/ 3 h 186"/>
                <a:gd name="T32" fmla="*/ 18 w 45"/>
                <a:gd name="T33" fmla="*/ 2 h 186"/>
                <a:gd name="T34" fmla="*/ 22 w 45"/>
                <a:gd name="T35" fmla="*/ 0 h 186"/>
                <a:gd name="T36" fmla="*/ 26 w 45"/>
                <a:gd name="T37" fmla="*/ 2 h 186"/>
                <a:gd name="T38" fmla="*/ 31 w 45"/>
                <a:gd name="T39" fmla="*/ 3 h 186"/>
                <a:gd name="T40" fmla="*/ 35 w 45"/>
                <a:gd name="T41" fmla="*/ 5 h 186"/>
                <a:gd name="T42" fmla="*/ 39 w 45"/>
                <a:gd name="T43" fmla="*/ 8 h 186"/>
                <a:gd name="T44" fmla="*/ 41 w 45"/>
                <a:gd name="T45" fmla="*/ 11 h 186"/>
                <a:gd name="T46" fmla="*/ 44 w 45"/>
                <a:gd name="T47" fmla="*/ 15 h 186"/>
                <a:gd name="T48" fmla="*/ 45 w 45"/>
                <a:gd name="T49" fmla="*/ 19 h 186"/>
                <a:gd name="T50" fmla="*/ 45 w 45"/>
                <a:gd name="T51" fmla="*/ 24 h 186"/>
                <a:gd name="T52" fmla="*/ 45 w 45"/>
                <a:gd name="T53" fmla="*/ 162 h 186"/>
                <a:gd name="T54" fmla="*/ 45 w 45"/>
                <a:gd name="T55" fmla="*/ 167 h 186"/>
                <a:gd name="T56" fmla="*/ 44 w 45"/>
                <a:gd name="T57" fmla="*/ 171 h 186"/>
                <a:gd name="T58" fmla="*/ 41 w 45"/>
                <a:gd name="T59" fmla="*/ 175 h 186"/>
                <a:gd name="T60" fmla="*/ 39 w 45"/>
                <a:gd name="T61" fmla="*/ 178 h 186"/>
                <a:gd name="T62" fmla="*/ 35 w 45"/>
                <a:gd name="T63" fmla="*/ 182 h 186"/>
                <a:gd name="T64" fmla="*/ 31 w 45"/>
                <a:gd name="T65" fmla="*/ 183 h 186"/>
                <a:gd name="T66" fmla="*/ 26 w 45"/>
                <a:gd name="T67" fmla="*/ 184 h 186"/>
                <a:gd name="T68" fmla="*/ 22 w 45"/>
                <a:gd name="T6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186">
                  <a:moveTo>
                    <a:pt x="22" y="186"/>
                  </a:moveTo>
                  <a:lnTo>
                    <a:pt x="18" y="184"/>
                  </a:lnTo>
                  <a:lnTo>
                    <a:pt x="13" y="183"/>
                  </a:lnTo>
                  <a:lnTo>
                    <a:pt x="9" y="182"/>
                  </a:lnTo>
                  <a:lnTo>
                    <a:pt x="6" y="178"/>
                  </a:lnTo>
                  <a:lnTo>
                    <a:pt x="3" y="175"/>
                  </a:lnTo>
                  <a:lnTo>
                    <a:pt x="1" y="171"/>
                  </a:lnTo>
                  <a:lnTo>
                    <a:pt x="0" y="167"/>
                  </a:lnTo>
                  <a:lnTo>
                    <a:pt x="0" y="162"/>
                  </a:lnTo>
                  <a:lnTo>
                    <a:pt x="0" y="24"/>
                  </a:lnTo>
                  <a:lnTo>
                    <a:pt x="0" y="19"/>
                  </a:lnTo>
                  <a:lnTo>
                    <a:pt x="1" y="15"/>
                  </a:lnTo>
                  <a:lnTo>
                    <a:pt x="3" y="11"/>
                  </a:lnTo>
                  <a:lnTo>
                    <a:pt x="6" y="8"/>
                  </a:lnTo>
                  <a:lnTo>
                    <a:pt x="9" y="5"/>
                  </a:lnTo>
                  <a:lnTo>
                    <a:pt x="13" y="3"/>
                  </a:lnTo>
                  <a:lnTo>
                    <a:pt x="18" y="2"/>
                  </a:lnTo>
                  <a:lnTo>
                    <a:pt x="22" y="0"/>
                  </a:lnTo>
                  <a:lnTo>
                    <a:pt x="26" y="2"/>
                  </a:lnTo>
                  <a:lnTo>
                    <a:pt x="31" y="3"/>
                  </a:lnTo>
                  <a:lnTo>
                    <a:pt x="35" y="5"/>
                  </a:lnTo>
                  <a:lnTo>
                    <a:pt x="39" y="8"/>
                  </a:lnTo>
                  <a:lnTo>
                    <a:pt x="41" y="11"/>
                  </a:lnTo>
                  <a:lnTo>
                    <a:pt x="44" y="15"/>
                  </a:lnTo>
                  <a:lnTo>
                    <a:pt x="45" y="19"/>
                  </a:lnTo>
                  <a:lnTo>
                    <a:pt x="45" y="24"/>
                  </a:lnTo>
                  <a:lnTo>
                    <a:pt x="45" y="162"/>
                  </a:lnTo>
                  <a:lnTo>
                    <a:pt x="45" y="167"/>
                  </a:lnTo>
                  <a:lnTo>
                    <a:pt x="44" y="171"/>
                  </a:lnTo>
                  <a:lnTo>
                    <a:pt x="41" y="175"/>
                  </a:lnTo>
                  <a:lnTo>
                    <a:pt x="39" y="178"/>
                  </a:lnTo>
                  <a:lnTo>
                    <a:pt x="35" y="182"/>
                  </a:lnTo>
                  <a:lnTo>
                    <a:pt x="31" y="183"/>
                  </a:lnTo>
                  <a:lnTo>
                    <a:pt x="26" y="184"/>
                  </a:lnTo>
                  <a:lnTo>
                    <a:pt x="22"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76" name="Group 80">
            <a:extLst>
              <a:ext uri="{FF2B5EF4-FFF2-40B4-BE49-F238E27FC236}">
                <a16:creationId xmlns:a16="http://schemas.microsoft.com/office/drawing/2014/main" id="{33D3FFD7-CD9A-45ED-9E41-3AC5CBE0E7CE}"/>
              </a:ext>
            </a:extLst>
          </p:cNvPr>
          <p:cNvGrpSpPr>
            <a:grpSpLocks noChangeAspect="1"/>
          </p:cNvGrpSpPr>
          <p:nvPr/>
        </p:nvGrpSpPr>
        <p:grpSpPr>
          <a:xfrm>
            <a:off x="5361718" y="3263433"/>
            <a:ext cx="318577" cy="285619"/>
            <a:chOff x="11028363" y="3683000"/>
            <a:chExt cx="276225" cy="247650"/>
          </a:xfrm>
          <a:solidFill>
            <a:schemeClr val="bg2"/>
          </a:solidFill>
          <a:effectLst/>
        </p:grpSpPr>
        <p:sp>
          <p:nvSpPr>
            <p:cNvPr id="1477" name="Freeform 48">
              <a:extLst>
                <a:ext uri="{FF2B5EF4-FFF2-40B4-BE49-F238E27FC236}">
                  <a16:creationId xmlns:a16="http://schemas.microsoft.com/office/drawing/2014/main" id="{C7E49BE7-2E62-4AA9-A885-6B01073BFEF6}"/>
                </a:ext>
              </a:extLst>
            </p:cNvPr>
            <p:cNvSpPr>
              <a:spLocks/>
            </p:cNvSpPr>
            <p:nvPr/>
          </p:nvSpPr>
          <p:spPr bwMode="auto">
            <a:xfrm>
              <a:off x="11028363" y="3921125"/>
              <a:ext cx="276225" cy="9525"/>
            </a:xfrm>
            <a:custGeom>
              <a:avLst/>
              <a:gdLst>
                <a:gd name="T0" fmla="*/ 857 w 872"/>
                <a:gd name="T1" fmla="*/ 0 h 30"/>
                <a:gd name="T2" fmla="*/ 15 w 872"/>
                <a:gd name="T3" fmla="*/ 0 h 30"/>
                <a:gd name="T4" fmla="*/ 12 w 872"/>
                <a:gd name="T5" fmla="*/ 0 h 30"/>
                <a:gd name="T6" fmla="*/ 9 w 872"/>
                <a:gd name="T7" fmla="*/ 1 h 30"/>
                <a:gd name="T8" fmla="*/ 6 w 872"/>
                <a:gd name="T9" fmla="*/ 2 h 30"/>
                <a:gd name="T10" fmla="*/ 4 w 872"/>
                <a:gd name="T11" fmla="*/ 4 h 30"/>
                <a:gd name="T12" fmla="*/ 2 w 872"/>
                <a:gd name="T13" fmla="*/ 7 h 30"/>
                <a:gd name="T14" fmla="*/ 1 w 872"/>
                <a:gd name="T15" fmla="*/ 9 h 30"/>
                <a:gd name="T16" fmla="*/ 0 w 872"/>
                <a:gd name="T17" fmla="*/ 12 h 30"/>
                <a:gd name="T18" fmla="*/ 0 w 872"/>
                <a:gd name="T19" fmla="*/ 15 h 30"/>
                <a:gd name="T20" fmla="*/ 0 w 872"/>
                <a:gd name="T21" fmla="*/ 17 h 30"/>
                <a:gd name="T22" fmla="*/ 1 w 872"/>
                <a:gd name="T23" fmla="*/ 21 h 30"/>
                <a:gd name="T24" fmla="*/ 2 w 872"/>
                <a:gd name="T25" fmla="*/ 23 h 30"/>
                <a:gd name="T26" fmla="*/ 4 w 872"/>
                <a:gd name="T27" fmla="*/ 25 h 30"/>
                <a:gd name="T28" fmla="*/ 6 w 872"/>
                <a:gd name="T29" fmla="*/ 27 h 30"/>
                <a:gd name="T30" fmla="*/ 9 w 872"/>
                <a:gd name="T31" fmla="*/ 28 h 30"/>
                <a:gd name="T32" fmla="*/ 12 w 872"/>
                <a:gd name="T33" fmla="*/ 29 h 30"/>
                <a:gd name="T34" fmla="*/ 15 w 872"/>
                <a:gd name="T35" fmla="*/ 30 h 30"/>
                <a:gd name="T36" fmla="*/ 857 w 872"/>
                <a:gd name="T37" fmla="*/ 30 h 30"/>
                <a:gd name="T38" fmla="*/ 860 w 872"/>
                <a:gd name="T39" fmla="*/ 29 h 30"/>
                <a:gd name="T40" fmla="*/ 862 w 872"/>
                <a:gd name="T41" fmla="*/ 28 h 30"/>
                <a:gd name="T42" fmla="*/ 866 w 872"/>
                <a:gd name="T43" fmla="*/ 27 h 30"/>
                <a:gd name="T44" fmla="*/ 868 w 872"/>
                <a:gd name="T45" fmla="*/ 25 h 30"/>
                <a:gd name="T46" fmla="*/ 869 w 872"/>
                <a:gd name="T47" fmla="*/ 23 h 30"/>
                <a:gd name="T48" fmla="*/ 871 w 872"/>
                <a:gd name="T49" fmla="*/ 21 h 30"/>
                <a:gd name="T50" fmla="*/ 871 w 872"/>
                <a:gd name="T51" fmla="*/ 17 h 30"/>
                <a:gd name="T52" fmla="*/ 872 w 872"/>
                <a:gd name="T53" fmla="*/ 15 h 30"/>
                <a:gd name="T54" fmla="*/ 871 w 872"/>
                <a:gd name="T55" fmla="*/ 12 h 30"/>
                <a:gd name="T56" fmla="*/ 871 w 872"/>
                <a:gd name="T57" fmla="*/ 9 h 30"/>
                <a:gd name="T58" fmla="*/ 869 w 872"/>
                <a:gd name="T59" fmla="*/ 7 h 30"/>
                <a:gd name="T60" fmla="*/ 868 w 872"/>
                <a:gd name="T61" fmla="*/ 4 h 30"/>
                <a:gd name="T62" fmla="*/ 866 w 872"/>
                <a:gd name="T63" fmla="*/ 2 h 30"/>
                <a:gd name="T64" fmla="*/ 862 w 872"/>
                <a:gd name="T65" fmla="*/ 1 h 30"/>
                <a:gd name="T66" fmla="*/ 860 w 872"/>
                <a:gd name="T67" fmla="*/ 0 h 30"/>
                <a:gd name="T68" fmla="*/ 857 w 87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2" h="30">
                  <a:moveTo>
                    <a:pt x="857" y="0"/>
                  </a:moveTo>
                  <a:lnTo>
                    <a:pt x="15" y="0"/>
                  </a:lnTo>
                  <a:lnTo>
                    <a:pt x="12" y="0"/>
                  </a:lnTo>
                  <a:lnTo>
                    <a:pt x="9" y="1"/>
                  </a:lnTo>
                  <a:lnTo>
                    <a:pt x="6" y="2"/>
                  </a:lnTo>
                  <a:lnTo>
                    <a:pt x="4" y="4"/>
                  </a:lnTo>
                  <a:lnTo>
                    <a:pt x="2" y="7"/>
                  </a:lnTo>
                  <a:lnTo>
                    <a:pt x="1" y="9"/>
                  </a:lnTo>
                  <a:lnTo>
                    <a:pt x="0" y="12"/>
                  </a:lnTo>
                  <a:lnTo>
                    <a:pt x="0" y="15"/>
                  </a:lnTo>
                  <a:lnTo>
                    <a:pt x="0" y="17"/>
                  </a:lnTo>
                  <a:lnTo>
                    <a:pt x="1" y="21"/>
                  </a:lnTo>
                  <a:lnTo>
                    <a:pt x="2" y="23"/>
                  </a:lnTo>
                  <a:lnTo>
                    <a:pt x="4" y="25"/>
                  </a:lnTo>
                  <a:lnTo>
                    <a:pt x="6" y="27"/>
                  </a:lnTo>
                  <a:lnTo>
                    <a:pt x="9" y="28"/>
                  </a:lnTo>
                  <a:lnTo>
                    <a:pt x="12" y="29"/>
                  </a:lnTo>
                  <a:lnTo>
                    <a:pt x="15" y="30"/>
                  </a:lnTo>
                  <a:lnTo>
                    <a:pt x="857" y="30"/>
                  </a:lnTo>
                  <a:lnTo>
                    <a:pt x="860" y="29"/>
                  </a:lnTo>
                  <a:lnTo>
                    <a:pt x="862" y="28"/>
                  </a:lnTo>
                  <a:lnTo>
                    <a:pt x="866" y="27"/>
                  </a:lnTo>
                  <a:lnTo>
                    <a:pt x="868" y="25"/>
                  </a:lnTo>
                  <a:lnTo>
                    <a:pt x="869" y="23"/>
                  </a:lnTo>
                  <a:lnTo>
                    <a:pt x="871" y="21"/>
                  </a:lnTo>
                  <a:lnTo>
                    <a:pt x="871" y="17"/>
                  </a:lnTo>
                  <a:lnTo>
                    <a:pt x="872" y="15"/>
                  </a:lnTo>
                  <a:lnTo>
                    <a:pt x="871" y="12"/>
                  </a:lnTo>
                  <a:lnTo>
                    <a:pt x="871" y="9"/>
                  </a:lnTo>
                  <a:lnTo>
                    <a:pt x="869" y="7"/>
                  </a:lnTo>
                  <a:lnTo>
                    <a:pt x="868" y="4"/>
                  </a:lnTo>
                  <a:lnTo>
                    <a:pt x="866" y="2"/>
                  </a:lnTo>
                  <a:lnTo>
                    <a:pt x="862" y="1"/>
                  </a:lnTo>
                  <a:lnTo>
                    <a:pt x="860" y="0"/>
                  </a:lnTo>
                  <a:lnTo>
                    <a:pt x="8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78" name="Freeform 49">
              <a:extLst>
                <a:ext uri="{FF2B5EF4-FFF2-40B4-BE49-F238E27FC236}">
                  <a16:creationId xmlns:a16="http://schemas.microsoft.com/office/drawing/2014/main" id="{765BF18F-F187-4A75-8455-9F106D16492A}"/>
                </a:ext>
              </a:extLst>
            </p:cNvPr>
            <p:cNvSpPr>
              <a:spLocks noEditPoints="1"/>
            </p:cNvSpPr>
            <p:nvPr/>
          </p:nvSpPr>
          <p:spPr bwMode="auto">
            <a:xfrm>
              <a:off x="11218863" y="3797300"/>
              <a:ext cx="66675" cy="114300"/>
            </a:xfrm>
            <a:custGeom>
              <a:avLst/>
              <a:gdLst>
                <a:gd name="T0" fmla="*/ 120 w 211"/>
                <a:gd name="T1" fmla="*/ 330 h 360"/>
                <a:gd name="T2" fmla="*/ 150 w 211"/>
                <a:gd name="T3" fmla="*/ 30 h 360"/>
                <a:gd name="T4" fmla="*/ 60 w 211"/>
                <a:gd name="T5" fmla="*/ 30 h 360"/>
                <a:gd name="T6" fmla="*/ 90 w 211"/>
                <a:gd name="T7" fmla="*/ 330 h 360"/>
                <a:gd name="T8" fmla="*/ 60 w 211"/>
                <a:gd name="T9" fmla="*/ 30 h 360"/>
                <a:gd name="T10" fmla="*/ 198 w 211"/>
                <a:gd name="T11" fmla="*/ 29 h 360"/>
                <a:gd name="T12" fmla="*/ 204 w 211"/>
                <a:gd name="T13" fmla="*/ 27 h 360"/>
                <a:gd name="T14" fmla="*/ 208 w 211"/>
                <a:gd name="T15" fmla="*/ 23 h 360"/>
                <a:gd name="T16" fmla="*/ 210 w 211"/>
                <a:gd name="T17" fmla="*/ 17 h 360"/>
                <a:gd name="T18" fmla="*/ 210 w 211"/>
                <a:gd name="T19" fmla="*/ 12 h 360"/>
                <a:gd name="T20" fmla="*/ 208 w 211"/>
                <a:gd name="T21" fmla="*/ 7 h 360"/>
                <a:gd name="T22" fmla="*/ 204 w 211"/>
                <a:gd name="T23" fmla="*/ 2 h 360"/>
                <a:gd name="T24" fmla="*/ 198 w 211"/>
                <a:gd name="T25" fmla="*/ 0 h 360"/>
                <a:gd name="T26" fmla="*/ 15 w 211"/>
                <a:gd name="T27" fmla="*/ 0 h 360"/>
                <a:gd name="T28" fmla="*/ 10 w 211"/>
                <a:gd name="T29" fmla="*/ 1 h 360"/>
                <a:gd name="T30" fmla="*/ 4 w 211"/>
                <a:gd name="T31" fmla="*/ 5 h 360"/>
                <a:gd name="T32" fmla="*/ 1 w 211"/>
                <a:gd name="T33" fmla="*/ 9 h 360"/>
                <a:gd name="T34" fmla="*/ 0 w 211"/>
                <a:gd name="T35" fmla="*/ 15 h 360"/>
                <a:gd name="T36" fmla="*/ 1 w 211"/>
                <a:gd name="T37" fmla="*/ 21 h 360"/>
                <a:gd name="T38" fmla="*/ 4 w 211"/>
                <a:gd name="T39" fmla="*/ 26 h 360"/>
                <a:gd name="T40" fmla="*/ 10 w 211"/>
                <a:gd name="T41" fmla="*/ 29 h 360"/>
                <a:gd name="T42" fmla="*/ 15 w 211"/>
                <a:gd name="T43" fmla="*/ 30 h 360"/>
                <a:gd name="T44" fmla="*/ 30 w 211"/>
                <a:gd name="T45" fmla="*/ 330 h 360"/>
                <a:gd name="T46" fmla="*/ 12 w 211"/>
                <a:gd name="T47" fmla="*/ 331 h 360"/>
                <a:gd name="T48" fmla="*/ 6 w 211"/>
                <a:gd name="T49" fmla="*/ 333 h 360"/>
                <a:gd name="T50" fmla="*/ 2 w 211"/>
                <a:gd name="T51" fmla="*/ 338 h 360"/>
                <a:gd name="T52" fmla="*/ 0 w 211"/>
                <a:gd name="T53" fmla="*/ 343 h 360"/>
                <a:gd name="T54" fmla="*/ 0 w 211"/>
                <a:gd name="T55" fmla="*/ 348 h 360"/>
                <a:gd name="T56" fmla="*/ 2 w 211"/>
                <a:gd name="T57" fmla="*/ 354 h 360"/>
                <a:gd name="T58" fmla="*/ 6 w 211"/>
                <a:gd name="T59" fmla="*/ 358 h 360"/>
                <a:gd name="T60" fmla="*/ 12 w 211"/>
                <a:gd name="T61" fmla="*/ 360 h 360"/>
                <a:gd name="T62" fmla="*/ 196 w 211"/>
                <a:gd name="T63" fmla="*/ 360 h 360"/>
                <a:gd name="T64" fmla="*/ 201 w 211"/>
                <a:gd name="T65" fmla="*/ 359 h 360"/>
                <a:gd name="T66" fmla="*/ 206 w 211"/>
                <a:gd name="T67" fmla="*/ 356 h 360"/>
                <a:gd name="T68" fmla="*/ 209 w 211"/>
                <a:gd name="T69" fmla="*/ 352 h 360"/>
                <a:gd name="T70" fmla="*/ 211 w 211"/>
                <a:gd name="T71" fmla="*/ 345 h 360"/>
                <a:gd name="T72" fmla="*/ 209 w 211"/>
                <a:gd name="T73" fmla="*/ 340 h 360"/>
                <a:gd name="T74" fmla="*/ 206 w 211"/>
                <a:gd name="T75" fmla="*/ 334 h 360"/>
                <a:gd name="T76" fmla="*/ 201 w 211"/>
                <a:gd name="T77" fmla="*/ 331 h 360"/>
                <a:gd name="T78" fmla="*/ 196 w 211"/>
                <a:gd name="T79" fmla="*/ 330 h 360"/>
                <a:gd name="T80" fmla="*/ 181 w 211"/>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360">
                  <a:moveTo>
                    <a:pt x="150" y="330"/>
                  </a:moveTo>
                  <a:lnTo>
                    <a:pt x="120" y="330"/>
                  </a:lnTo>
                  <a:lnTo>
                    <a:pt x="120" y="30"/>
                  </a:lnTo>
                  <a:lnTo>
                    <a:pt x="150" y="30"/>
                  </a:lnTo>
                  <a:lnTo>
                    <a:pt x="150" y="330"/>
                  </a:lnTo>
                  <a:close/>
                  <a:moveTo>
                    <a:pt x="60" y="30"/>
                  </a:moveTo>
                  <a:lnTo>
                    <a:pt x="90" y="30"/>
                  </a:lnTo>
                  <a:lnTo>
                    <a:pt x="90" y="330"/>
                  </a:lnTo>
                  <a:lnTo>
                    <a:pt x="60" y="330"/>
                  </a:lnTo>
                  <a:lnTo>
                    <a:pt x="60" y="30"/>
                  </a:lnTo>
                  <a:close/>
                  <a:moveTo>
                    <a:pt x="196" y="30"/>
                  </a:moveTo>
                  <a:lnTo>
                    <a:pt x="198" y="29"/>
                  </a:lnTo>
                  <a:lnTo>
                    <a:pt x="201" y="29"/>
                  </a:lnTo>
                  <a:lnTo>
                    <a:pt x="204" y="27"/>
                  </a:lnTo>
                  <a:lnTo>
                    <a:pt x="206" y="26"/>
                  </a:lnTo>
                  <a:lnTo>
                    <a:pt x="208" y="23"/>
                  </a:lnTo>
                  <a:lnTo>
                    <a:pt x="209" y="21"/>
                  </a:lnTo>
                  <a:lnTo>
                    <a:pt x="210" y="17"/>
                  </a:lnTo>
                  <a:lnTo>
                    <a:pt x="211" y="15"/>
                  </a:lnTo>
                  <a:lnTo>
                    <a:pt x="210" y="12"/>
                  </a:lnTo>
                  <a:lnTo>
                    <a:pt x="209" y="9"/>
                  </a:lnTo>
                  <a:lnTo>
                    <a:pt x="208" y="7"/>
                  </a:lnTo>
                  <a:lnTo>
                    <a:pt x="206" y="5"/>
                  </a:lnTo>
                  <a:lnTo>
                    <a:pt x="204" y="2"/>
                  </a:lnTo>
                  <a:lnTo>
                    <a:pt x="201" y="1"/>
                  </a:lnTo>
                  <a:lnTo>
                    <a:pt x="198" y="0"/>
                  </a:lnTo>
                  <a:lnTo>
                    <a:pt x="196" y="0"/>
                  </a:lnTo>
                  <a:lnTo>
                    <a:pt x="15" y="0"/>
                  </a:lnTo>
                  <a:lnTo>
                    <a:pt x="12" y="0"/>
                  </a:lnTo>
                  <a:lnTo>
                    <a:pt x="10" y="1"/>
                  </a:lnTo>
                  <a:lnTo>
                    <a:pt x="6" y="2"/>
                  </a:lnTo>
                  <a:lnTo>
                    <a:pt x="4" y="5"/>
                  </a:lnTo>
                  <a:lnTo>
                    <a:pt x="2" y="7"/>
                  </a:lnTo>
                  <a:lnTo>
                    <a:pt x="1" y="9"/>
                  </a:lnTo>
                  <a:lnTo>
                    <a:pt x="0" y="12"/>
                  </a:lnTo>
                  <a:lnTo>
                    <a:pt x="0" y="15"/>
                  </a:lnTo>
                  <a:lnTo>
                    <a:pt x="0" y="17"/>
                  </a:lnTo>
                  <a:lnTo>
                    <a:pt x="1" y="21"/>
                  </a:lnTo>
                  <a:lnTo>
                    <a:pt x="2" y="23"/>
                  </a:lnTo>
                  <a:lnTo>
                    <a:pt x="4" y="26"/>
                  </a:lnTo>
                  <a:lnTo>
                    <a:pt x="6" y="27"/>
                  </a:lnTo>
                  <a:lnTo>
                    <a:pt x="10" y="29"/>
                  </a:lnTo>
                  <a:lnTo>
                    <a:pt x="12" y="29"/>
                  </a:lnTo>
                  <a:lnTo>
                    <a:pt x="15" y="30"/>
                  </a:lnTo>
                  <a:lnTo>
                    <a:pt x="30" y="30"/>
                  </a:lnTo>
                  <a:lnTo>
                    <a:pt x="30" y="330"/>
                  </a:lnTo>
                  <a:lnTo>
                    <a:pt x="15" y="330"/>
                  </a:lnTo>
                  <a:lnTo>
                    <a:pt x="12" y="331"/>
                  </a:lnTo>
                  <a:lnTo>
                    <a:pt x="10" y="331"/>
                  </a:lnTo>
                  <a:lnTo>
                    <a:pt x="6" y="333"/>
                  </a:lnTo>
                  <a:lnTo>
                    <a:pt x="4" y="334"/>
                  </a:lnTo>
                  <a:lnTo>
                    <a:pt x="2" y="338"/>
                  </a:lnTo>
                  <a:lnTo>
                    <a:pt x="1" y="340"/>
                  </a:lnTo>
                  <a:lnTo>
                    <a:pt x="0" y="343"/>
                  </a:lnTo>
                  <a:lnTo>
                    <a:pt x="0" y="345"/>
                  </a:lnTo>
                  <a:lnTo>
                    <a:pt x="0" y="348"/>
                  </a:lnTo>
                  <a:lnTo>
                    <a:pt x="1" y="352"/>
                  </a:lnTo>
                  <a:lnTo>
                    <a:pt x="2" y="354"/>
                  </a:lnTo>
                  <a:lnTo>
                    <a:pt x="4" y="356"/>
                  </a:lnTo>
                  <a:lnTo>
                    <a:pt x="6" y="358"/>
                  </a:lnTo>
                  <a:lnTo>
                    <a:pt x="10" y="359"/>
                  </a:lnTo>
                  <a:lnTo>
                    <a:pt x="12" y="360"/>
                  </a:lnTo>
                  <a:lnTo>
                    <a:pt x="15" y="360"/>
                  </a:lnTo>
                  <a:lnTo>
                    <a:pt x="196" y="360"/>
                  </a:lnTo>
                  <a:lnTo>
                    <a:pt x="198" y="360"/>
                  </a:lnTo>
                  <a:lnTo>
                    <a:pt x="201" y="359"/>
                  </a:lnTo>
                  <a:lnTo>
                    <a:pt x="204" y="358"/>
                  </a:lnTo>
                  <a:lnTo>
                    <a:pt x="206" y="356"/>
                  </a:lnTo>
                  <a:lnTo>
                    <a:pt x="208" y="354"/>
                  </a:lnTo>
                  <a:lnTo>
                    <a:pt x="209" y="352"/>
                  </a:lnTo>
                  <a:lnTo>
                    <a:pt x="210" y="348"/>
                  </a:lnTo>
                  <a:lnTo>
                    <a:pt x="211" y="345"/>
                  </a:lnTo>
                  <a:lnTo>
                    <a:pt x="210" y="343"/>
                  </a:lnTo>
                  <a:lnTo>
                    <a:pt x="209" y="340"/>
                  </a:lnTo>
                  <a:lnTo>
                    <a:pt x="208" y="338"/>
                  </a:lnTo>
                  <a:lnTo>
                    <a:pt x="206" y="334"/>
                  </a:lnTo>
                  <a:lnTo>
                    <a:pt x="204" y="333"/>
                  </a:lnTo>
                  <a:lnTo>
                    <a:pt x="201" y="331"/>
                  </a:lnTo>
                  <a:lnTo>
                    <a:pt x="198" y="331"/>
                  </a:lnTo>
                  <a:lnTo>
                    <a:pt x="196" y="330"/>
                  </a:lnTo>
                  <a:lnTo>
                    <a:pt x="181" y="330"/>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79" name="Freeform 50">
              <a:extLst>
                <a:ext uri="{FF2B5EF4-FFF2-40B4-BE49-F238E27FC236}">
                  <a16:creationId xmlns:a16="http://schemas.microsoft.com/office/drawing/2014/main" id="{84C36F6E-9AA2-4FCA-A390-8046725F9032}"/>
                </a:ext>
              </a:extLst>
            </p:cNvPr>
            <p:cNvSpPr>
              <a:spLocks noEditPoints="1"/>
            </p:cNvSpPr>
            <p:nvPr/>
          </p:nvSpPr>
          <p:spPr bwMode="auto">
            <a:xfrm>
              <a:off x="11047413" y="3797300"/>
              <a:ext cx="66675" cy="114300"/>
            </a:xfrm>
            <a:custGeom>
              <a:avLst/>
              <a:gdLst>
                <a:gd name="T0" fmla="*/ 120 w 210"/>
                <a:gd name="T1" fmla="*/ 330 h 360"/>
                <a:gd name="T2" fmla="*/ 150 w 210"/>
                <a:gd name="T3" fmla="*/ 30 h 360"/>
                <a:gd name="T4" fmla="*/ 60 w 210"/>
                <a:gd name="T5" fmla="*/ 30 h 360"/>
                <a:gd name="T6" fmla="*/ 90 w 210"/>
                <a:gd name="T7" fmla="*/ 330 h 360"/>
                <a:gd name="T8" fmla="*/ 60 w 210"/>
                <a:gd name="T9" fmla="*/ 30 h 360"/>
                <a:gd name="T10" fmla="*/ 198 w 210"/>
                <a:gd name="T11" fmla="*/ 29 h 360"/>
                <a:gd name="T12" fmla="*/ 204 w 210"/>
                <a:gd name="T13" fmla="*/ 27 h 360"/>
                <a:gd name="T14" fmla="*/ 208 w 210"/>
                <a:gd name="T15" fmla="*/ 23 h 360"/>
                <a:gd name="T16" fmla="*/ 210 w 210"/>
                <a:gd name="T17" fmla="*/ 17 h 360"/>
                <a:gd name="T18" fmla="*/ 210 w 210"/>
                <a:gd name="T19" fmla="*/ 12 h 360"/>
                <a:gd name="T20" fmla="*/ 208 w 210"/>
                <a:gd name="T21" fmla="*/ 7 h 360"/>
                <a:gd name="T22" fmla="*/ 204 w 210"/>
                <a:gd name="T23" fmla="*/ 2 h 360"/>
                <a:gd name="T24" fmla="*/ 198 w 210"/>
                <a:gd name="T25" fmla="*/ 0 h 360"/>
                <a:gd name="T26" fmla="*/ 15 w 210"/>
                <a:gd name="T27" fmla="*/ 0 h 360"/>
                <a:gd name="T28" fmla="*/ 9 w 210"/>
                <a:gd name="T29" fmla="*/ 1 h 360"/>
                <a:gd name="T30" fmla="*/ 4 w 210"/>
                <a:gd name="T31" fmla="*/ 5 h 360"/>
                <a:gd name="T32" fmla="*/ 1 w 210"/>
                <a:gd name="T33" fmla="*/ 9 h 360"/>
                <a:gd name="T34" fmla="*/ 0 w 210"/>
                <a:gd name="T35" fmla="*/ 15 h 360"/>
                <a:gd name="T36" fmla="*/ 1 w 210"/>
                <a:gd name="T37" fmla="*/ 21 h 360"/>
                <a:gd name="T38" fmla="*/ 4 w 210"/>
                <a:gd name="T39" fmla="*/ 26 h 360"/>
                <a:gd name="T40" fmla="*/ 9 w 210"/>
                <a:gd name="T41" fmla="*/ 29 h 360"/>
                <a:gd name="T42" fmla="*/ 15 w 210"/>
                <a:gd name="T43" fmla="*/ 30 h 360"/>
                <a:gd name="T44" fmla="*/ 30 w 210"/>
                <a:gd name="T45" fmla="*/ 330 h 360"/>
                <a:gd name="T46" fmla="*/ 12 w 210"/>
                <a:gd name="T47" fmla="*/ 331 h 360"/>
                <a:gd name="T48" fmla="*/ 6 w 210"/>
                <a:gd name="T49" fmla="*/ 333 h 360"/>
                <a:gd name="T50" fmla="*/ 2 w 210"/>
                <a:gd name="T51" fmla="*/ 338 h 360"/>
                <a:gd name="T52" fmla="*/ 0 w 210"/>
                <a:gd name="T53" fmla="*/ 343 h 360"/>
                <a:gd name="T54" fmla="*/ 0 w 210"/>
                <a:gd name="T55" fmla="*/ 348 h 360"/>
                <a:gd name="T56" fmla="*/ 2 w 210"/>
                <a:gd name="T57" fmla="*/ 354 h 360"/>
                <a:gd name="T58" fmla="*/ 6 w 210"/>
                <a:gd name="T59" fmla="*/ 358 h 360"/>
                <a:gd name="T60" fmla="*/ 12 w 210"/>
                <a:gd name="T61" fmla="*/ 360 h 360"/>
                <a:gd name="T62" fmla="*/ 195 w 210"/>
                <a:gd name="T63" fmla="*/ 360 h 360"/>
                <a:gd name="T64" fmla="*/ 201 w 210"/>
                <a:gd name="T65" fmla="*/ 359 h 360"/>
                <a:gd name="T66" fmla="*/ 206 w 210"/>
                <a:gd name="T67" fmla="*/ 356 h 360"/>
                <a:gd name="T68" fmla="*/ 209 w 210"/>
                <a:gd name="T69" fmla="*/ 352 h 360"/>
                <a:gd name="T70" fmla="*/ 210 w 210"/>
                <a:gd name="T71" fmla="*/ 345 h 360"/>
                <a:gd name="T72" fmla="*/ 209 w 210"/>
                <a:gd name="T73" fmla="*/ 340 h 360"/>
                <a:gd name="T74" fmla="*/ 206 w 210"/>
                <a:gd name="T75" fmla="*/ 334 h 360"/>
                <a:gd name="T76" fmla="*/ 201 w 210"/>
                <a:gd name="T77" fmla="*/ 331 h 360"/>
                <a:gd name="T78" fmla="*/ 195 w 210"/>
                <a:gd name="T79" fmla="*/ 330 h 360"/>
                <a:gd name="T80" fmla="*/ 180 w 210"/>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0" h="360">
                  <a:moveTo>
                    <a:pt x="150" y="330"/>
                  </a:moveTo>
                  <a:lnTo>
                    <a:pt x="120" y="330"/>
                  </a:lnTo>
                  <a:lnTo>
                    <a:pt x="120" y="30"/>
                  </a:lnTo>
                  <a:lnTo>
                    <a:pt x="150" y="30"/>
                  </a:lnTo>
                  <a:lnTo>
                    <a:pt x="150" y="330"/>
                  </a:lnTo>
                  <a:close/>
                  <a:moveTo>
                    <a:pt x="60" y="30"/>
                  </a:moveTo>
                  <a:lnTo>
                    <a:pt x="90" y="30"/>
                  </a:lnTo>
                  <a:lnTo>
                    <a:pt x="90" y="330"/>
                  </a:lnTo>
                  <a:lnTo>
                    <a:pt x="60" y="330"/>
                  </a:lnTo>
                  <a:lnTo>
                    <a:pt x="60" y="30"/>
                  </a:lnTo>
                  <a:close/>
                  <a:moveTo>
                    <a:pt x="195" y="30"/>
                  </a:moveTo>
                  <a:lnTo>
                    <a:pt x="198" y="29"/>
                  </a:lnTo>
                  <a:lnTo>
                    <a:pt x="201" y="29"/>
                  </a:lnTo>
                  <a:lnTo>
                    <a:pt x="204" y="27"/>
                  </a:lnTo>
                  <a:lnTo>
                    <a:pt x="206" y="26"/>
                  </a:lnTo>
                  <a:lnTo>
                    <a:pt x="208" y="23"/>
                  </a:lnTo>
                  <a:lnTo>
                    <a:pt x="209" y="21"/>
                  </a:lnTo>
                  <a:lnTo>
                    <a:pt x="210" y="17"/>
                  </a:lnTo>
                  <a:lnTo>
                    <a:pt x="210" y="15"/>
                  </a:lnTo>
                  <a:lnTo>
                    <a:pt x="210" y="12"/>
                  </a:lnTo>
                  <a:lnTo>
                    <a:pt x="209" y="9"/>
                  </a:lnTo>
                  <a:lnTo>
                    <a:pt x="208" y="7"/>
                  </a:lnTo>
                  <a:lnTo>
                    <a:pt x="206" y="5"/>
                  </a:lnTo>
                  <a:lnTo>
                    <a:pt x="204" y="2"/>
                  </a:lnTo>
                  <a:lnTo>
                    <a:pt x="201" y="1"/>
                  </a:lnTo>
                  <a:lnTo>
                    <a:pt x="198" y="0"/>
                  </a:lnTo>
                  <a:lnTo>
                    <a:pt x="195" y="0"/>
                  </a:lnTo>
                  <a:lnTo>
                    <a:pt x="15" y="0"/>
                  </a:lnTo>
                  <a:lnTo>
                    <a:pt x="12"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2" y="29"/>
                  </a:lnTo>
                  <a:lnTo>
                    <a:pt x="15" y="30"/>
                  </a:lnTo>
                  <a:lnTo>
                    <a:pt x="30" y="30"/>
                  </a:lnTo>
                  <a:lnTo>
                    <a:pt x="30" y="330"/>
                  </a:lnTo>
                  <a:lnTo>
                    <a:pt x="15" y="330"/>
                  </a:lnTo>
                  <a:lnTo>
                    <a:pt x="12" y="331"/>
                  </a:lnTo>
                  <a:lnTo>
                    <a:pt x="9" y="331"/>
                  </a:lnTo>
                  <a:lnTo>
                    <a:pt x="6" y="333"/>
                  </a:lnTo>
                  <a:lnTo>
                    <a:pt x="4" y="334"/>
                  </a:lnTo>
                  <a:lnTo>
                    <a:pt x="2" y="338"/>
                  </a:lnTo>
                  <a:lnTo>
                    <a:pt x="1" y="340"/>
                  </a:lnTo>
                  <a:lnTo>
                    <a:pt x="0" y="343"/>
                  </a:lnTo>
                  <a:lnTo>
                    <a:pt x="0" y="345"/>
                  </a:lnTo>
                  <a:lnTo>
                    <a:pt x="0" y="348"/>
                  </a:lnTo>
                  <a:lnTo>
                    <a:pt x="1" y="352"/>
                  </a:lnTo>
                  <a:lnTo>
                    <a:pt x="2" y="354"/>
                  </a:lnTo>
                  <a:lnTo>
                    <a:pt x="4" y="356"/>
                  </a:lnTo>
                  <a:lnTo>
                    <a:pt x="6" y="358"/>
                  </a:lnTo>
                  <a:lnTo>
                    <a:pt x="9" y="359"/>
                  </a:lnTo>
                  <a:lnTo>
                    <a:pt x="12" y="360"/>
                  </a:lnTo>
                  <a:lnTo>
                    <a:pt x="15" y="360"/>
                  </a:lnTo>
                  <a:lnTo>
                    <a:pt x="195" y="360"/>
                  </a:lnTo>
                  <a:lnTo>
                    <a:pt x="198" y="360"/>
                  </a:lnTo>
                  <a:lnTo>
                    <a:pt x="201" y="359"/>
                  </a:lnTo>
                  <a:lnTo>
                    <a:pt x="204" y="358"/>
                  </a:lnTo>
                  <a:lnTo>
                    <a:pt x="206" y="356"/>
                  </a:lnTo>
                  <a:lnTo>
                    <a:pt x="208" y="354"/>
                  </a:lnTo>
                  <a:lnTo>
                    <a:pt x="209" y="352"/>
                  </a:lnTo>
                  <a:lnTo>
                    <a:pt x="210" y="348"/>
                  </a:lnTo>
                  <a:lnTo>
                    <a:pt x="210" y="345"/>
                  </a:lnTo>
                  <a:lnTo>
                    <a:pt x="210" y="343"/>
                  </a:lnTo>
                  <a:lnTo>
                    <a:pt x="209" y="340"/>
                  </a:lnTo>
                  <a:lnTo>
                    <a:pt x="208" y="338"/>
                  </a:lnTo>
                  <a:lnTo>
                    <a:pt x="206" y="334"/>
                  </a:lnTo>
                  <a:lnTo>
                    <a:pt x="204" y="333"/>
                  </a:lnTo>
                  <a:lnTo>
                    <a:pt x="201" y="331"/>
                  </a:lnTo>
                  <a:lnTo>
                    <a:pt x="198" y="331"/>
                  </a:lnTo>
                  <a:lnTo>
                    <a:pt x="195" y="330"/>
                  </a:lnTo>
                  <a:lnTo>
                    <a:pt x="180" y="330"/>
                  </a:lnTo>
                  <a:lnTo>
                    <a:pt x="180" y="30"/>
                  </a:lnTo>
                  <a:lnTo>
                    <a:pt x="19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80" name="Freeform 51">
              <a:extLst>
                <a:ext uri="{FF2B5EF4-FFF2-40B4-BE49-F238E27FC236}">
                  <a16:creationId xmlns:a16="http://schemas.microsoft.com/office/drawing/2014/main" id="{F4303D85-C0ED-445A-8B52-668F001C8E9C}"/>
                </a:ext>
              </a:extLst>
            </p:cNvPr>
            <p:cNvSpPr>
              <a:spLocks noEditPoints="1"/>
            </p:cNvSpPr>
            <p:nvPr/>
          </p:nvSpPr>
          <p:spPr bwMode="auto">
            <a:xfrm>
              <a:off x="11133138" y="3797300"/>
              <a:ext cx="66675" cy="114300"/>
            </a:xfrm>
            <a:custGeom>
              <a:avLst/>
              <a:gdLst>
                <a:gd name="T0" fmla="*/ 121 w 211"/>
                <a:gd name="T1" fmla="*/ 330 h 360"/>
                <a:gd name="T2" fmla="*/ 151 w 211"/>
                <a:gd name="T3" fmla="*/ 30 h 360"/>
                <a:gd name="T4" fmla="*/ 61 w 211"/>
                <a:gd name="T5" fmla="*/ 30 h 360"/>
                <a:gd name="T6" fmla="*/ 91 w 211"/>
                <a:gd name="T7" fmla="*/ 330 h 360"/>
                <a:gd name="T8" fmla="*/ 61 w 211"/>
                <a:gd name="T9" fmla="*/ 30 h 360"/>
                <a:gd name="T10" fmla="*/ 199 w 211"/>
                <a:gd name="T11" fmla="*/ 29 h 360"/>
                <a:gd name="T12" fmla="*/ 205 w 211"/>
                <a:gd name="T13" fmla="*/ 27 h 360"/>
                <a:gd name="T14" fmla="*/ 209 w 211"/>
                <a:gd name="T15" fmla="*/ 23 h 360"/>
                <a:gd name="T16" fmla="*/ 211 w 211"/>
                <a:gd name="T17" fmla="*/ 17 h 360"/>
                <a:gd name="T18" fmla="*/ 211 w 211"/>
                <a:gd name="T19" fmla="*/ 12 h 360"/>
                <a:gd name="T20" fmla="*/ 209 w 211"/>
                <a:gd name="T21" fmla="*/ 7 h 360"/>
                <a:gd name="T22" fmla="*/ 205 w 211"/>
                <a:gd name="T23" fmla="*/ 2 h 360"/>
                <a:gd name="T24" fmla="*/ 199 w 211"/>
                <a:gd name="T25" fmla="*/ 0 h 360"/>
                <a:gd name="T26" fmla="*/ 15 w 211"/>
                <a:gd name="T27" fmla="*/ 0 h 360"/>
                <a:gd name="T28" fmla="*/ 10 w 211"/>
                <a:gd name="T29" fmla="*/ 1 h 360"/>
                <a:gd name="T30" fmla="*/ 5 w 211"/>
                <a:gd name="T31" fmla="*/ 5 h 360"/>
                <a:gd name="T32" fmla="*/ 2 w 211"/>
                <a:gd name="T33" fmla="*/ 9 h 360"/>
                <a:gd name="T34" fmla="*/ 0 w 211"/>
                <a:gd name="T35" fmla="*/ 15 h 360"/>
                <a:gd name="T36" fmla="*/ 2 w 211"/>
                <a:gd name="T37" fmla="*/ 21 h 360"/>
                <a:gd name="T38" fmla="*/ 5 w 211"/>
                <a:gd name="T39" fmla="*/ 26 h 360"/>
                <a:gd name="T40" fmla="*/ 10 w 211"/>
                <a:gd name="T41" fmla="*/ 29 h 360"/>
                <a:gd name="T42" fmla="*/ 15 w 211"/>
                <a:gd name="T43" fmla="*/ 30 h 360"/>
                <a:gd name="T44" fmla="*/ 31 w 211"/>
                <a:gd name="T45" fmla="*/ 330 h 360"/>
                <a:gd name="T46" fmla="*/ 13 w 211"/>
                <a:gd name="T47" fmla="*/ 331 h 360"/>
                <a:gd name="T48" fmla="*/ 7 w 211"/>
                <a:gd name="T49" fmla="*/ 333 h 360"/>
                <a:gd name="T50" fmla="*/ 3 w 211"/>
                <a:gd name="T51" fmla="*/ 338 h 360"/>
                <a:gd name="T52" fmla="*/ 1 w 211"/>
                <a:gd name="T53" fmla="*/ 343 h 360"/>
                <a:gd name="T54" fmla="*/ 1 w 211"/>
                <a:gd name="T55" fmla="*/ 348 h 360"/>
                <a:gd name="T56" fmla="*/ 3 w 211"/>
                <a:gd name="T57" fmla="*/ 354 h 360"/>
                <a:gd name="T58" fmla="*/ 7 w 211"/>
                <a:gd name="T59" fmla="*/ 358 h 360"/>
                <a:gd name="T60" fmla="*/ 13 w 211"/>
                <a:gd name="T61" fmla="*/ 360 h 360"/>
                <a:gd name="T62" fmla="*/ 196 w 211"/>
                <a:gd name="T63" fmla="*/ 360 h 360"/>
                <a:gd name="T64" fmla="*/ 201 w 211"/>
                <a:gd name="T65" fmla="*/ 359 h 360"/>
                <a:gd name="T66" fmla="*/ 207 w 211"/>
                <a:gd name="T67" fmla="*/ 356 h 360"/>
                <a:gd name="T68" fmla="*/ 210 w 211"/>
                <a:gd name="T69" fmla="*/ 352 h 360"/>
                <a:gd name="T70" fmla="*/ 211 w 211"/>
                <a:gd name="T71" fmla="*/ 345 h 360"/>
                <a:gd name="T72" fmla="*/ 210 w 211"/>
                <a:gd name="T73" fmla="*/ 340 h 360"/>
                <a:gd name="T74" fmla="*/ 207 w 211"/>
                <a:gd name="T75" fmla="*/ 334 h 360"/>
                <a:gd name="T76" fmla="*/ 201 w 211"/>
                <a:gd name="T77" fmla="*/ 331 h 360"/>
                <a:gd name="T78" fmla="*/ 196 w 211"/>
                <a:gd name="T79" fmla="*/ 330 h 360"/>
                <a:gd name="T80" fmla="*/ 181 w 211"/>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360">
                  <a:moveTo>
                    <a:pt x="151" y="330"/>
                  </a:moveTo>
                  <a:lnTo>
                    <a:pt x="121" y="330"/>
                  </a:lnTo>
                  <a:lnTo>
                    <a:pt x="121" y="30"/>
                  </a:lnTo>
                  <a:lnTo>
                    <a:pt x="151" y="30"/>
                  </a:lnTo>
                  <a:lnTo>
                    <a:pt x="151" y="330"/>
                  </a:lnTo>
                  <a:close/>
                  <a:moveTo>
                    <a:pt x="61" y="30"/>
                  </a:moveTo>
                  <a:lnTo>
                    <a:pt x="91" y="30"/>
                  </a:lnTo>
                  <a:lnTo>
                    <a:pt x="91" y="330"/>
                  </a:lnTo>
                  <a:lnTo>
                    <a:pt x="61" y="330"/>
                  </a:lnTo>
                  <a:lnTo>
                    <a:pt x="61" y="30"/>
                  </a:lnTo>
                  <a:close/>
                  <a:moveTo>
                    <a:pt x="196" y="30"/>
                  </a:moveTo>
                  <a:lnTo>
                    <a:pt x="199" y="29"/>
                  </a:lnTo>
                  <a:lnTo>
                    <a:pt x="201" y="29"/>
                  </a:lnTo>
                  <a:lnTo>
                    <a:pt x="205" y="27"/>
                  </a:lnTo>
                  <a:lnTo>
                    <a:pt x="207" y="26"/>
                  </a:lnTo>
                  <a:lnTo>
                    <a:pt x="209" y="23"/>
                  </a:lnTo>
                  <a:lnTo>
                    <a:pt x="210" y="21"/>
                  </a:lnTo>
                  <a:lnTo>
                    <a:pt x="211" y="17"/>
                  </a:lnTo>
                  <a:lnTo>
                    <a:pt x="211" y="15"/>
                  </a:lnTo>
                  <a:lnTo>
                    <a:pt x="211" y="12"/>
                  </a:lnTo>
                  <a:lnTo>
                    <a:pt x="210" y="9"/>
                  </a:lnTo>
                  <a:lnTo>
                    <a:pt x="209" y="7"/>
                  </a:lnTo>
                  <a:lnTo>
                    <a:pt x="207" y="5"/>
                  </a:lnTo>
                  <a:lnTo>
                    <a:pt x="205" y="2"/>
                  </a:lnTo>
                  <a:lnTo>
                    <a:pt x="201" y="1"/>
                  </a:lnTo>
                  <a:lnTo>
                    <a:pt x="199" y="0"/>
                  </a:lnTo>
                  <a:lnTo>
                    <a:pt x="196" y="0"/>
                  </a:lnTo>
                  <a:lnTo>
                    <a:pt x="15" y="0"/>
                  </a:lnTo>
                  <a:lnTo>
                    <a:pt x="13" y="0"/>
                  </a:lnTo>
                  <a:lnTo>
                    <a:pt x="10" y="1"/>
                  </a:lnTo>
                  <a:lnTo>
                    <a:pt x="7" y="2"/>
                  </a:lnTo>
                  <a:lnTo>
                    <a:pt x="5" y="5"/>
                  </a:lnTo>
                  <a:lnTo>
                    <a:pt x="3" y="7"/>
                  </a:lnTo>
                  <a:lnTo>
                    <a:pt x="2" y="9"/>
                  </a:lnTo>
                  <a:lnTo>
                    <a:pt x="1" y="12"/>
                  </a:lnTo>
                  <a:lnTo>
                    <a:pt x="0" y="15"/>
                  </a:lnTo>
                  <a:lnTo>
                    <a:pt x="1" y="17"/>
                  </a:lnTo>
                  <a:lnTo>
                    <a:pt x="2" y="21"/>
                  </a:lnTo>
                  <a:lnTo>
                    <a:pt x="3" y="23"/>
                  </a:lnTo>
                  <a:lnTo>
                    <a:pt x="5" y="26"/>
                  </a:lnTo>
                  <a:lnTo>
                    <a:pt x="7" y="27"/>
                  </a:lnTo>
                  <a:lnTo>
                    <a:pt x="10" y="29"/>
                  </a:lnTo>
                  <a:lnTo>
                    <a:pt x="13" y="29"/>
                  </a:lnTo>
                  <a:lnTo>
                    <a:pt x="15" y="30"/>
                  </a:lnTo>
                  <a:lnTo>
                    <a:pt x="31" y="30"/>
                  </a:lnTo>
                  <a:lnTo>
                    <a:pt x="31" y="330"/>
                  </a:lnTo>
                  <a:lnTo>
                    <a:pt x="15" y="330"/>
                  </a:lnTo>
                  <a:lnTo>
                    <a:pt x="13" y="331"/>
                  </a:lnTo>
                  <a:lnTo>
                    <a:pt x="10" y="331"/>
                  </a:lnTo>
                  <a:lnTo>
                    <a:pt x="7" y="333"/>
                  </a:lnTo>
                  <a:lnTo>
                    <a:pt x="5" y="334"/>
                  </a:lnTo>
                  <a:lnTo>
                    <a:pt x="3" y="338"/>
                  </a:lnTo>
                  <a:lnTo>
                    <a:pt x="2" y="340"/>
                  </a:lnTo>
                  <a:lnTo>
                    <a:pt x="1" y="343"/>
                  </a:lnTo>
                  <a:lnTo>
                    <a:pt x="0" y="345"/>
                  </a:lnTo>
                  <a:lnTo>
                    <a:pt x="1" y="348"/>
                  </a:lnTo>
                  <a:lnTo>
                    <a:pt x="2" y="352"/>
                  </a:lnTo>
                  <a:lnTo>
                    <a:pt x="3" y="354"/>
                  </a:lnTo>
                  <a:lnTo>
                    <a:pt x="5" y="356"/>
                  </a:lnTo>
                  <a:lnTo>
                    <a:pt x="7" y="358"/>
                  </a:lnTo>
                  <a:lnTo>
                    <a:pt x="10" y="359"/>
                  </a:lnTo>
                  <a:lnTo>
                    <a:pt x="13" y="360"/>
                  </a:lnTo>
                  <a:lnTo>
                    <a:pt x="15" y="360"/>
                  </a:lnTo>
                  <a:lnTo>
                    <a:pt x="196" y="360"/>
                  </a:lnTo>
                  <a:lnTo>
                    <a:pt x="199" y="360"/>
                  </a:lnTo>
                  <a:lnTo>
                    <a:pt x="201" y="359"/>
                  </a:lnTo>
                  <a:lnTo>
                    <a:pt x="205" y="358"/>
                  </a:lnTo>
                  <a:lnTo>
                    <a:pt x="207" y="356"/>
                  </a:lnTo>
                  <a:lnTo>
                    <a:pt x="209" y="354"/>
                  </a:lnTo>
                  <a:lnTo>
                    <a:pt x="210" y="352"/>
                  </a:lnTo>
                  <a:lnTo>
                    <a:pt x="211" y="348"/>
                  </a:lnTo>
                  <a:lnTo>
                    <a:pt x="211" y="345"/>
                  </a:lnTo>
                  <a:lnTo>
                    <a:pt x="211" y="343"/>
                  </a:lnTo>
                  <a:lnTo>
                    <a:pt x="210" y="340"/>
                  </a:lnTo>
                  <a:lnTo>
                    <a:pt x="209" y="338"/>
                  </a:lnTo>
                  <a:lnTo>
                    <a:pt x="207" y="334"/>
                  </a:lnTo>
                  <a:lnTo>
                    <a:pt x="205" y="333"/>
                  </a:lnTo>
                  <a:lnTo>
                    <a:pt x="201" y="331"/>
                  </a:lnTo>
                  <a:lnTo>
                    <a:pt x="199" y="331"/>
                  </a:lnTo>
                  <a:lnTo>
                    <a:pt x="196" y="330"/>
                  </a:lnTo>
                  <a:lnTo>
                    <a:pt x="181" y="330"/>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81" name="Freeform 52">
              <a:extLst>
                <a:ext uri="{FF2B5EF4-FFF2-40B4-BE49-F238E27FC236}">
                  <a16:creationId xmlns:a16="http://schemas.microsoft.com/office/drawing/2014/main" id="{2FC09282-007B-4E60-8533-47531989C261}"/>
                </a:ext>
              </a:extLst>
            </p:cNvPr>
            <p:cNvSpPr>
              <a:spLocks noEditPoints="1"/>
            </p:cNvSpPr>
            <p:nvPr/>
          </p:nvSpPr>
          <p:spPr bwMode="auto">
            <a:xfrm>
              <a:off x="11028363" y="3683000"/>
              <a:ext cx="276225" cy="104775"/>
            </a:xfrm>
            <a:custGeom>
              <a:avLst/>
              <a:gdLst>
                <a:gd name="T0" fmla="*/ 436 w 872"/>
                <a:gd name="T1" fmla="*/ 33 h 331"/>
                <a:gd name="T2" fmla="*/ 810 w 872"/>
                <a:gd name="T3" fmla="*/ 300 h 331"/>
                <a:gd name="T4" fmla="*/ 62 w 872"/>
                <a:gd name="T5" fmla="*/ 300 h 331"/>
                <a:gd name="T6" fmla="*/ 436 w 872"/>
                <a:gd name="T7" fmla="*/ 33 h 331"/>
                <a:gd name="T8" fmla="*/ 15 w 872"/>
                <a:gd name="T9" fmla="*/ 330 h 331"/>
                <a:gd name="T10" fmla="*/ 857 w 872"/>
                <a:gd name="T11" fmla="*/ 330 h 331"/>
                <a:gd name="T12" fmla="*/ 861 w 872"/>
                <a:gd name="T13" fmla="*/ 330 h 331"/>
                <a:gd name="T14" fmla="*/ 866 w 872"/>
                <a:gd name="T15" fmla="*/ 328 h 331"/>
                <a:gd name="T16" fmla="*/ 869 w 872"/>
                <a:gd name="T17" fmla="*/ 325 h 331"/>
                <a:gd name="T18" fmla="*/ 871 w 872"/>
                <a:gd name="T19" fmla="*/ 321 h 331"/>
                <a:gd name="T20" fmla="*/ 872 w 872"/>
                <a:gd name="T21" fmla="*/ 315 h 331"/>
                <a:gd name="T22" fmla="*/ 871 w 872"/>
                <a:gd name="T23" fmla="*/ 311 h 331"/>
                <a:gd name="T24" fmla="*/ 869 w 872"/>
                <a:gd name="T25" fmla="*/ 307 h 331"/>
                <a:gd name="T26" fmla="*/ 866 w 872"/>
                <a:gd name="T27" fmla="*/ 303 h 331"/>
                <a:gd name="T28" fmla="*/ 445 w 872"/>
                <a:gd name="T29" fmla="*/ 2 h 331"/>
                <a:gd name="T30" fmla="*/ 440 w 872"/>
                <a:gd name="T31" fmla="*/ 0 h 331"/>
                <a:gd name="T32" fmla="*/ 436 w 872"/>
                <a:gd name="T33" fmla="*/ 0 h 331"/>
                <a:gd name="T34" fmla="*/ 431 w 872"/>
                <a:gd name="T35" fmla="*/ 0 h 331"/>
                <a:gd name="T36" fmla="*/ 427 w 872"/>
                <a:gd name="T37" fmla="*/ 2 h 331"/>
                <a:gd name="T38" fmla="*/ 6 w 872"/>
                <a:gd name="T39" fmla="*/ 303 h 331"/>
                <a:gd name="T40" fmla="*/ 2 w 872"/>
                <a:gd name="T41" fmla="*/ 307 h 331"/>
                <a:gd name="T42" fmla="*/ 0 w 872"/>
                <a:gd name="T43" fmla="*/ 311 h 331"/>
                <a:gd name="T44" fmla="*/ 0 w 872"/>
                <a:gd name="T45" fmla="*/ 315 h 331"/>
                <a:gd name="T46" fmla="*/ 0 w 872"/>
                <a:gd name="T47" fmla="*/ 321 h 331"/>
                <a:gd name="T48" fmla="*/ 2 w 872"/>
                <a:gd name="T49" fmla="*/ 325 h 331"/>
                <a:gd name="T50" fmla="*/ 5 w 872"/>
                <a:gd name="T51" fmla="*/ 328 h 331"/>
                <a:gd name="T52" fmla="*/ 10 w 872"/>
                <a:gd name="T53" fmla="*/ 330 h 331"/>
                <a:gd name="T54" fmla="*/ 15 w 872"/>
                <a:gd name="T55" fmla="*/ 331 h 331"/>
                <a:gd name="T56" fmla="*/ 15 w 872"/>
                <a:gd name="T57" fmla="*/ 33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2" h="331">
                  <a:moveTo>
                    <a:pt x="436" y="33"/>
                  </a:moveTo>
                  <a:lnTo>
                    <a:pt x="810" y="300"/>
                  </a:lnTo>
                  <a:lnTo>
                    <a:pt x="62" y="300"/>
                  </a:lnTo>
                  <a:lnTo>
                    <a:pt x="436" y="33"/>
                  </a:lnTo>
                  <a:close/>
                  <a:moveTo>
                    <a:pt x="15" y="330"/>
                  </a:moveTo>
                  <a:lnTo>
                    <a:pt x="857" y="330"/>
                  </a:lnTo>
                  <a:lnTo>
                    <a:pt x="861" y="330"/>
                  </a:lnTo>
                  <a:lnTo>
                    <a:pt x="866" y="328"/>
                  </a:lnTo>
                  <a:lnTo>
                    <a:pt x="869" y="325"/>
                  </a:lnTo>
                  <a:lnTo>
                    <a:pt x="871" y="321"/>
                  </a:lnTo>
                  <a:lnTo>
                    <a:pt x="872" y="315"/>
                  </a:lnTo>
                  <a:lnTo>
                    <a:pt x="871" y="311"/>
                  </a:lnTo>
                  <a:lnTo>
                    <a:pt x="869" y="307"/>
                  </a:lnTo>
                  <a:lnTo>
                    <a:pt x="866" y="303"/>
                  </a:lnTo>
                  <a:lnTo>
                    <a:pt x="445" y="2"/>
                  </a:lnTo>
                  <a:lnTo>
                    <a:pt x="440" y="0"/>
                  </a:lnTo>
                  <a:lnTo>
                    <a:pt x="436" y="0"/>
                  </a:lnTo>
                  <a:lnTo>
                    <a:pt x="431" y="0"/>
                  </a:lnTo>
                  <a:lnTo>
                    <a:pt x="427" y="2"/>
                  </a:lnTo>
                  <a:lnTo>
                    <a:pt x="6" y="303"/>
                  </a:lnTo>
                  <a:lnTo>
                    <a:pt x="2" y="307"/>
                  </a:lnTo>
                  <a:lnTo>
                    <a:pt x="0" y="311"/>
                  </a:lnTo>
                  <a:lnTo>
                    <a:pt x="0" y="315"/>
                  </a:lnTo>
                  <a:lnTo>
                    <a:pt x="0" y="321"/>
                  </a:lnTo>
                  <a:lnTo>
                    <a:pt x="2" y="325"/>
                  </a:lnTo>
                  <a:lnTo>
                    <a:pt x="5" y="328"/>
                  </a:lnTo>
                  <a:lnTo>
                    <a:pt x="10" y="330"/>
                  </a:lnTo>
                  <a:lnTo>
                    <a:pt x="15" y="331"/>
                  </a:lnTo>
                  <a:lnTo>
                    <a:pt x="1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522" name="Group 37">
            <a:extLst>
              <a:ext uri="{FF2B5EF4-FFF2-40B4-BE49-F238E27FC236}">
                <a16:creationId xmlns:a16="http://schemas.microsoft.com/office/drawing/2014/main" id="{12A0D060-4C17-49F7-8DD1-6C8EC2D5E59D}"/>
              </a:ext>
            </a:extLst>
          </p:cNvPr>
          <p:cNvGrpSpPr>
            <a:grpSpLocks noChangeAspect="1"/>
          </p:cNvGrpSpPr>
          <p:nvPr/>
        </p:nvGrpSpPr>
        <p:grpSpPr>
          <a:xfrm>
            <a:off x="5791954" y="3263433"/>
            <a:ext cx="285619" cy="285619"/>
            <a:chOff x="9891713" y="1344613"/>
            <a:chExt cx="285750" cy="285750"/>
          </a:xfrm>
          <a:solidFill>
            <a:schemeClr val="bg2"/>
          </a:solidFill>
          <a:effectLst/>
        </p:grpSpPr>
        <p:sp>
          <p:nvSpPr>
            <p:cNvPr id="1523" name="Freeform 298">
              <a:extLst>
                <a:ext uri="{FF2B5EF4-FFF2-40B4-BE49-F238E27FC236}">
                  <a16:creationId xmlns:a16="http://schemas.microsoft.com/office/drawing/2014/main" id="{B9A7A462-6180-4E5F-9DB1-FA84C66EBC72}"/>
                </a:ext>
              </a:extLst>
            </p:cNvPr>
            <p:cNvSpPr>
              <a:spLocks noEditPoints="1"/>
            </p:cNvSpPr>
            <p:nvPr/>
          </p:nvSpPr>
          <p:spPr bwMode="auto">
            <a:xfrm>
              <a:off x="9891713" y="1344613"/>
              <a:ext cx="285750" cy="285750"/>
            </a:xfrm>
            <a:custGeom>
              <a:avLst/>
              <a:gdLst>
                <a:gd name="T0" fmla="*/ 542 w 903"/>
                <a:gd name="T1" fmla="*/ 707 h 903"/>
                <a:gd name="T2" fmla="*/ 540 w 903"/>
                <a:gd name="T3" fmla="*/ 702 h 903"/>
                <a:gd name="T4" fmla="*/ 537 w 903"/>
                <a:gd name="T5" fmla="*/ 696 h 903"/>
                <a:gd name="T6" fmla="*/ 533 w 903"/>
                <a:gd name="T7" fmla="*/ 693 h 903"/>
                <a:gd name="T8" fmla="*/ 526 w 903"/>
                <a:gd name="T9" fmla="*/ 692 h 903"/>
                <a:gd name="T10" fmla="*/ 373 w 903"/>
                <a:gd name="T11" fmla="*/ 692 h 903"/>
                <a:gd name="T12" fmla="*/ 367 w 903"/>
                <a:gd name="T13" fmla="*/ 694 h 903"/>
                <a:gd name="T14" fmla="*/ 364 w 903"/>
                <a:gd name="T15" fmla="*/ 698 h 903"/>
                <a:gd name="T16" fmla="*/ 361 w 903"/>
                <a:gd name="T17" fmla="*/ 704 h 903"/>
                <a:gd name="T18" fmla="*/ 361 w 903"/>
                <a:gd name="T19" fmla="*/ 872 h 903"/>
                <a:gd name="T20" fmla="*/ 181 w 903"/>
                <a:gd name="T21" fmla="*/ 210 h 903"/>
                <a:gd name="T22" fmla="*/ 722 w 903"/>
                <a:gd name="T23" fmla="*/ 872 h 903"/>
                <a:gd name="T24" fmla="*/ 391 w 903"/>
                <a:gd name="T25" fmla="*/ 872 h 903"/>
                <a:gd name="T26" fmla="*/ 511 w 903"/>
                <a:gd name="T27" fmla="*/ 722 h 903"/>
                <a:gd name="T28" fmla="*/ 391 w 903"/>
                <a:gd name="T29" fmla="*/ 872 h 903"/>
                <a:gd name="T30" fmla="*/ 451 w 903"/>
                <a:gd name="T31" fmla="*/ 31 h 903"/>
                <a:gd name="T32" fmla="*/ 783 w 903"/>
                <a:gd name="T33" fmla="*/ 180 h 903"/>
                <a:gd name="T34" fmla="*/ 166 w 903"/>
                <a:gd name="T35" fmla="*/ 180 h 903"/>
                <a:gd name="T36" fmla="*/ 121 w 903"/>
                <a:gd name="T37" fmla="*/ 160 h 903"/>
                <a:gd name="T38" fmla="*/ 753 w 903"/>
                <a:gd name="T39" fmla="*/ 872 h 903"/>
                <a:gd name="T40" fmla="*/ 798 w 903"/>
                <a:gd name="T41" fmla="*/ 210 h 903"/>
                <a:gd name="T42" fmla="*/ 804 w 903"/>
                <a:gd name="T43" fmla="*/ 209 h 903"/>
                <a:gd name="T44" fmla="*/ 808 w 903"/>
                <a:gd name="T45" fmla="*/ 206 h 903"/>
                <a:gd name="T46" fmla="*/ 811 w 903"/>
                <a:gd name="T47" fmla="*/ 201 h 903"/>
                <a:gd name="T48" fmla="*/ 813 w 903"/>
                <a:gd name="T49" fmla="*/ 195 h 903"/>
                <a:gd name="T50" fmla="*/ 813 w 903"/>
                <a:gd name="T51" fmla="*/ 146 h 903"/>
                <a:gd name="T52" fmla="*/ 807 w 903"/>
                <a:gd name="T53" fmla="*/ 138 h 903"/>
                <a:gd name="T54" fmla="*/ 456 w 903"/>
                <a:gd name="T55" fmla="*/ 0 h 903"/>
                <a:gd name="T56" fmla="*/ 446 w 903"/>
                <a:gd name="T57" fmla="*/ 0 h 903"/>
                <a:gd name="T58" fmla="*/ 96 w 903"/>
                <a:gd name="T59" fmla="*/ 138 h 903"/>
                <a:gd name="T60" fmla="*/ 91 w 903"/>
                <a:gd name="T61" fmla="*/ 146 h 903"/>
                <a:gd name="T62" fmla="*/ 90 w 903"/>
                <a:gd name="T63" fmla="*/ 195 h 903"/>
                <a:gd name="T64" fmla="*/ 92 w 903"/>
                <a:gd name="T65" fmla="*/ 201 h 903"/>
                <a:gd name="T66" fmla="*/ 95 w 903"/>
                <a:gd name="T67" fmla="*/ 206 h 903"/>
                <a:gd name="T68" fmla="*/ 99 w 903"/>
                <a:gd name="T69" fmla="*/ 209 h 903"/>
                <a:gd name="T70" fmla="*/ 106 w 903"/>
                <a:gd name="T71" fmla="*/ 210 h 903"/>
                <a:gd name="T72" fmla="*/ 151 w 903"/>
                <a:gd name="T73" fmla="*/ 872 h 903"/>
                <a:gd name="T74" fmla="*/ 11 w 903"/>
                <a:gd name="T75" fmla="*/ 873 h 903"/>
                <a:gd name="T76" fmla="*/ 6 w 903"/>
                <a:gd name="T77" fmla="*/ 876 h 903"/>
                <a:gd name="T78" fmla="*/ 3 w 903"/>
                <a:gd name="T79" fmla="*/ 880 h 903"/>
                <a:gd name="T80" fmla="*/ 1 w 903"/>
                <a:gd name="T81" fmla="*/ 885 h 903"/>
                <a:gd name="T82" fmla="*/ 1 w 903"/>
                <a:gd name="T83" fmla="*/ 891 h 903"/>
                <a:gd name="T84" fmla="*/ 3 w 903"/>
                <a:gd name="T85" fmla="*/ 896 h 903"/>
                <a:gd name="T86" fmla="*/ 6 w 903"/>
                <a:gd name="T87" fmla="*/ 900 h 903"/>
                <a:gd name="T88" fmla="*/ 11 w 903"/>
                <a:gd name="T89" fmla="*/ 902 h 903"/>
                <a:gd name="T90" fmla="*/ 166 w 903"/>
                <a:gd name="T91" fmla="*/ 902 h 903"/>
                <a:gd name="T92" fmla="*/ 527 w 903"/>
                <a:gd name="T93" fmla="*/ 902 h 903"/>
                <a:gd name="T94" fmla="*/ 888 w 903"/>
                <a:gd name="T95" fmla="*/ 902 h 903"/>
                <a:gd name="T96" fmla="*/ 894 w 903"/>
                <a:gd name="T97" fmla="*/ 901 h 903"/>
                <a:gd name="T98" fmla="*/ 898 w 903"/>
                <a:gd name="T99" fmla="*/ 898 h 903"/>
                <a:gd name="T100" fmla="*/ 902 w 903"/>
                <a:gd name="T101" fmla="*/ 894 h 903"/>
                <a:gd name="T102" fmla="*/ 903 w 903"/>
                <a:gd name="T103" fmla="*/ 888 h 903"/>
                <a:gd name="T104" fmla="*/ 902 w 903"/>
                <a:gd name="T105" fmla="*/ 882 h 903"/>
                <a:gd name="T106" fmla="*/ 898 w 903"/>
                <a:gd name="T107" fmla="*/ 878 h 903"/>
                <a:gd name="T108" fmla="*/ 894 w 903"/>
                <a:gd name="T109" fmla="*/ 874 h 903"/>
                <a:gd name="T110" fmla="*/ 888 w 903"/>
                <a:gd name="T111" fmla="*/ 8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903">
                  <a:moveTo>
                    <a:pt x="542" y="872"/>
                  </a:moveTo>
                  <a:lnTo>
                    <a:pt x="542" y="707"/>
                  </a:lnTo>
                  <a:lnTo>
                    <a:pt x="541" y="704"/>
                  </a:lnTo>
                  <a:lnTo>
                    <a:pt x="540" y="702"/>
                  </a:lnTo>
                  <a:lnTo>
                    <a:pt x="539" y="698"/>
                  </a:lnTo>
                  <a:lnTo>
                    <a:pt x="537" y="696"/>
                  </a:lnTo>
                  <a:lnTo>
                    <a:pt x="535" y="695"/>
                  </a:lnTo>
                  <a:lnTo>
                    <a:pt x="533" y="693"/>
                  </a:lnTo>
                  <a:lnTo>
                    <a:pt x="529" y="692"/>
                  </a:lnTo>
                  <a:lnTo>
                    <a:pt x="526" y="692"/>
                  </a:lnTo>
                  <a:lnTo>
                    <a:pt x="376" y="692"/>
                  </a:lnTo>
                  <a:lnTo>
                    <a:pt x="373" y="692"/>
                  </a:lnTo>
                  <a:lnTo>
                    <a:pt x="371" y="693"/>
                  </a:lnTo>
                  <a:lnTo>
                    <a:pt x="367" y="694"/>
                  </a:lnTo>
                  <a:lnTo>
                    <a:pt x="365" y="696"/>
                  </a:lnTo>
                  <a:lnTo>
                    <a:pt x="364" y="698"/>
                  </a:lnTo>
                  <a:lnTo>
                    <a:pt x="362" y="702"/>
                  </a:lnTo>
                  <a:lnTo>
                    <a:pt x="361" y="704"/>
                  </a:lnTo>
                  <a:lnTo>
                    <a:pt x="361" y="707"/>
                  </a:lnTo>
                  <a:lnTo>
                    <a:pt x="361" y="872"/>
                  </a:lnTo>
                  <a:lnTo>
                    <a:pt x="181" y="872"/>
                  </a:lnTo>
                  <a:lnTo>
                    <a:pt x="181" y="210"/>
                  </a:lnTo>
                  <a:lnTo>
                    <a:pt x="722" y="210"/>
                  </a:lnTo>
                  <a:lnTo>
                    <a:pt x="722" y="872"/>
                  </a:lnTo>
                  <a:lnTo>
                    <a:pt x="542" y="872"/>
                  </a:lnTo>
                  <a:close/>
                  <a:moveTo>
                    <a:pt x="391" y="872"/>
                  </a:moveTo>
                  <a:lnTo>
                    <a:pt x="391" y="722"/>
                  </a:lnTo>
                  <a:lnTo>
                    <a:pt x="511" y="722"/>
                  </a:lnTo>
                  <a:lnTo>
                    <a:pt x="511" y="872"/>
                  </a:lnTo>
                  <a:lnTo>
                    <a:pt x="391" y="872"/>
                  </a:lnTo>
                  <a:close/>
                  <a:moveTo>
                    <a:pt x="121" y="160"/>
                  </a:moveTo>
                  <a:lnTo>
                    <a:pt x="451" y="31"/>
                  </a:lnTo>
                  <a:lnTo>
                    <a:pt x="783" y="160"/>
                  </a:lnTo>
                  <a:lnTo>
                    <a:pt x="783" y="180"/>
                  </a:lnTo>
                  <a:lnTo>
                    <a:pt x="737" y="180"/>
                  </a:lnTo>
                  <a:lnTo>
                    <a:pt x="166" y="180"/>
                  </a:lnTo>
                  <a:lnTo>
                    <a:pt x="121" y="180"/>
                  </a:lnTo>
                  <a:lnTo>
                    <a:pt x="121" y="160"/>
                  </a:lnTo>
                  <a:close/>
                  <a:moveTo>
                    <a:pt x="888" y="872"/>
                  </a:moveTo>
                  <a:lnTo>
                    <a:pt x="753" y="872"/>
                  </a:lnTo>
                  <a:lnTo>
                    <a:pt x="753" y="210"/>
                  </a:lnTo>
                  <a:lnTo>
                    <a:pt x="798" y="210"/>
                  </a:lnTo>
                  <a:lnTo>
                    <a:pt x="801" y="210"/>
                  </a:lnTo>
                  <a:lnTo>
                    <a:pt x="804" y="209"/>
                  </a:lnTo>
                  <a:lnTo>
                    <a:pt x="806" y="208"/>
                  </a:lnTo>
                  <a:lnTo>
                    <a:pt x="808" y="206"/>
                  </a:lnTo>
                  <a:lnTo>
                    <a:pt x="810" y="204"/>
                  </a:lnTo>
                  <a:lnTo>
                    <a:pt x="811" y="201"/>
                  </a:lnTo>
                  <a:lnTo>
                    <a:pt x="813" y="198"/>
                  </a:lnTo>
                  <a:lnTo>
                    <a:pt x="813" y="195"/>
                  </a:lnTo>
                  <a:lnTo>
                    <a:pt x="813" y="150"/>
                  </a:lnTo>
                  <a:lnTo>
                    <a:pt x="813" y="146"/>
                  </a:lnTo>
                  <a:lnTo>
                    <a:pt x="810" y="142"/>
                  </a:lnTo>
                  <a:lnTo>
                    <a:pt x="807" y="138"/>
                  </a:lnTo>
                  <a:lnTo>
                    <a:pt x="803" y="136"/>
                  </a:lnTo>
                  <a:lnTo>
                    <a:pt x="456" y="0"/>
                  </a:lnTo>
                  <a:lnTo>
                    <a:pt x="451" y="0"/>
                  </a:lnTo>
                  <a:lnTo>
                    <a:pt x="446" y="0"/>
                  </a:lnTo>
                  <a:lnTo>
                    <a:pt x="99" y="136"/>
                  </a:lnTo>
                  <a:lnTo>
                    <a:pt x="96" y="138"/>
                  </a:lnTo>
                  <a:lnTo>
                    <a:pt x="93" y="142"/>
                  </a:lnTo>
                  <a:lnTo>
                    <a:pt x="91" y="146"/>
                  </a:lnTo>
                  <a:lnTo>
                    <a:pt x="90" y="150"/>
                  </a:lnTo>
                  <a:lnTo>
                    <a:pt x="90" y="195"/>
                  </a:lnTo>
                  <a:lnTo>
                    <a:pt x="91" y="198"/>
                  </a:lnTo>
                  <a:lnTo>
                    <a:pt x="92" y="201"/>
                  </a:lnTo>
                  <a:lnTo>
                    <a:pt x="93" y="204"/>
                  </a:lnTo>
                  <a:lnTo>
                    <a:pt x="95" y="206"/>
                  </a:lnTo>
                  <a:lnTo>
                    <a:pt x="97" y="208"/>
                  </a:lnTo>
                  <a:lnTo>
                    <a:pt x="99" y="209"/>
                  </a:lnTo>
                  <a:lnTo>
                    <a:pt x="103" y="210"/>
                  </a:lnTo>
                  <a:lnTo>
                    <a:pt x="106" y="210"/>
                  </a:lnTo>
                  <a:lnTo>
                    <a:pt x="151" y="210"/>
                  </a:lnTo>
                  <a:lnTo>
                    <a:pt x="151" y="872"/>
                  </a:lnTo>
                  <a:lnTo>
                    <a:pt x="15" y="872"/>
                  </a:lnTo>
                  <a:lnTo>
                    <a:pt x="11" y="873"/>
                  </a:lnTo>
                  <a:lnTo>
                    <a:pt x="9" y="874"/>
                  </a:lnTo>
                  <a:lnTo>
                    <a:pt x="6" y="876"/>
                  </a:lnTo>
                  <a:lnTo>
                    <a:pt x="4" y="878"/>
                  </a:lnTo>
                  <a:lnTo>
                    <a:pt x="3" y="880"/>
                  </a:lnTo>
                  <a:lnTo>
                    <a:pt x="1" y="882"/>
                  </a:lnTo>
                  <a:lnTo>
                    <a:pt x="1" y="885"/>
                  </a:lnTo>
                  <a:lnTo>
                    <a:pt x="0" y="888"/>
                  </a:lnTo>
                  <a:lnTo>
                    <a:pt x="1" y="891"/>
                  </a:lnTo>
                  <a:lnTo>
                    <a:pt x="1" y="894"/>
                  </a:lnTo>
                  <a:lnTo>
                    <a:pt x="3" y="896"/>
                  </a:lnTo>
                  <a:lnTo>
                    <a:pt x="4" y="898"/>
                  </a:lnTo>
                  <a:lnTo>
                    <a:pt x="6" y="900"/>
                  </a:lnTo>
                  <a:lnTo>
                    <a:pt x="9" y="901"/>
                  </a:lnTo>
                  <a:lnTo>
                    <a:pt x="11" y="902"/>
                  </a:lnTo>
                  <a:lnTo>
                    <a:pt x="15" y="903"/>
                  </a:lnTo>
                  <a:lnTo>
                    <a:pt x="166" y="902"/>
                  </a:lnTo>
                  <a:lnTo>
                    <a:pt x="376" y="902"/>
                  </a:lnTo>
                  <a:lnTo>
                    <a:pt x="527" y="902"/>
                  </a:lnTo>
                  <a:lnTo>
                    <a:pt x="737" y="902"/>
                  </a:lnTo>
                  <a:lnTo>
                    <a:pt x="888" y="902"/>
                  </a:lnTo>
                  <a:lnTo>
                    <a:pt x="891" y="902"/>
                  </a:lnTo>
                  <a:lnTo>
                    <a:pt x="894" y="901"/>
                  </a:lnTo>
                  <a:lnTo>
                    <a:pt x="896" y="900"/>
                  </a:lnTo>
                  <a:lnTo>
                    <a:pt x="898" y="898"/>
                  </a:lnTo>
                  <a:lnTo>
                    <a:pt x="901" y="896"/>
                  </a:lnTo>
                  <a:lnTo>
                    <a:pt x="902" y="894"/>
                  </a:lnTo>
                  <a:lnTo>
                    <a:pt x="903" y="891"/>
                  </a:lnTo>
                  <a:lnTo>
                    <a:pt x="903" y="888"/>
                  </a:lnTo>
                  <a:lnTo>
                    <a:pt x="903" y="885"/>
                  </a:lnTo>
                  <a:lnTo>
                    <a:pt x="902" y="882"/>
                  </a:lnTo>
                  <a:lnTo>
                    <a:pt x="901" y="880"/>
                  </a:lnTo>
                  <a:lnTo>
                    <a:pt x="898" y="878"/>
                  </a:lnTo>
                  <a:lnTo>
                    <a:pt x="896" y="876"/>
                  </a:lnTo>
                  <a:lnTo>
                    <a:pt x="894" y="874"/>
                  </a:lnTo>
                  <a:lnTo>
                    <a:pt x="891" y="873"/>
                  </a:lnTo>
                  <a:lnTo>
                    <a:pt x="888" y="873"/>
                  </a:lnTo>
                  <a:lnTo>
                    <a:pt x="888" y="8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299">
              <a:extLst>
                <a:ext uri="{FF2B5EF4-FFF2-40B4-BE49-F238E27FC236}">
                  <a16:creationId xmlns:a16="http://schemas.microsoft.com/office/drawing/2014/main" id="{AA47FCD2-C561-43BD-A784-B956F571071C}"/>
                </a:ext>
              </a:extLst>
            </p:cNvPr>
            <p:cNvSpPr>
              <a:spLocks noEditPoints="1"/>
            </p:cNvSpPr>
            <p:nvPr/>
          </p:nvSpPr>
          <p:spPr bwMode="auto">
            <a:xfrm>
              <a:off x="10006013" y="1516063"/>
              <a:ext cx="57150" cy="38100"/>
            </a:xfrm>
            <a:custGeom>
              <a:avLst/>
              <a:gdLst>
                <a:gd name="T0" fmla="*/ 150 w 181"/>
                <a:gd name="T1" fmla="*/ 90 h 120"/>
                <a:gd name="T2" fmla="*/ 30 w 181"/>
                <a:gd name="T3" fmla="*/ 90 h 120"/>
                <a:gd name="T4" fmla="*/ 30 w 181"/>
                <a:gd name="T5" fmla="*/ 30 h 120"/>
                <a:gd name="T6" fmla="*/ 150 w 181"/>
                <a:gd name="T7" fmla="*/ 30 h 120"/>
                <a:gd name="T8" fmla="*/ 150 w 181"/>
                <a:gd name="T9" fmla="*/ 90 h 120"/>
                <a:gd name="T10" fmla="*/ 166 w 181"/>
                <a:gd name="T11" fmla="*/ 0 h 120"/>
                <a:gd name="T12" fmla="*/ 15 w 181"/>
                <a:gd name="T13" fmla="*/ 0 h 120"/>
                <a:gd name="T14" fmla="*/ 12 w 181"/>
                <a:gd name="T15" fmla="*/ 0 h 120"/>
                <a:gd name="T16" fmla="*/ 10 w 181"/>
                <a:gd name="T17" fmla="*/ 1 h 120"/>
                <a:gd name="T18" fmla="*/ 6 w 181"/>
                <a:gd name="T19" fmla="*/ 2 h 120"/>
                <a:gd name="T20" fmla="*/ 4 w 181"/>
                <a:gd name="T21" fmla="*/ 4 h 120"/>
                <a:gd name="T22" fmla="*/ 3 w 181"/>
                <a:gd name="T23" fmla="*/ 6 h 120"/>
                <a:gd name="T24" fmla="*/ 1 w 181"/>
                <a:gd name="T25" fmla="*/ 8 h 120"/>
                <a:gd name="T26" fmla="*/ 0 w 181"/>
                <a:gd name="T27" fmla="*/ 12 h 120"/>
                <a:gd name="T28" fmla="*/ 0 w 181"/>
                <a:gd name="T29" fmla="*/ 15 h 120"/>
                <a:gd name="T30" fmla="*/ 0 w 181"/>
                <a:gd name="T31" fmla="*/ 105 h 120"/>
                <a:gd name="T32" fmla="*/ 0 w 181"/>
                <a:gd name="T33" fmla="*/ 108 h 120"/>
                <a:gd name="T34" fmla="*/ 1 w 181"/>
                <a:gd name="T35" fmla="*/ 110 h 120"/>
                <a:gd name="T36" fmla="*/ 3 w 181"/>
                <a:gd name="T37" fmla="*/ 114 h 120"/>
                <a:gd name="T38" fmla="*/ 4 w 181"/>
                <a:gd name="T39" fmla="*/ 116 h 120"/>
                <a:gd name="T40" fmla="*/ 6 w 181"/>
                <a:gd name="T41" fmla="*/ 118 h 120"/>
                <a:gd name="T42" fmla="*/ 10 w 181"/>
                <a:gd name="T43" fmla="*/ 119 h 120"/>
                <a:gd name="T44" fmla="*/ 12 w 181"/>
                <a:gd name="T45" fmla="*/ 120 h 120"/>
                <a:gd name="T46" fmla="*/ 15 w 181"/>
                <a:gd name="T47" fmla="*/ 120 h 120"/>
                <a:gd name="T48" fmla="*/ 166 w 181"/>
                <a:gd name="T49" fmla="*/ 120 h 120"/>
                <a:gd name="T50" fmla="*/ 168 w 181"/>
                <a:gd name="T51" fmla="*/ 120 h 120"/>
                <a:gd name="T52" fmla="*/ 172 w 181"/>
                <a:gd name="T53" fmla="*/ 119 h 120"/>
                <a:gd name="T54" fmla="*/ 174 w 181"/>
                <a:gd name="T55" fmla="*/ 118 h 120"/>
                <a:gd name="T56" fmla="*/ 176 w 181"/>
                <a:gd name="T57" fmla="*/ 116 h 120"/>
                <a:gd name="T58" fmla="*/ 178 w 181"/>
                <a:gd name="T59" fmla="*/ 114 h 120"/>
                <a:gd name="T60" fmla="*/ 179 w 181"/>
                <a:gd name="T61" fmla="*/ 110 h 120"/>
                <a:gd name="T62" fmla="*/ 180 w 181"/>
                <a:gd name="T63" fmla="*/ 108 h 120"/>
                <a:gd name="T64" fmla="*/ 181 w 181"/>
                <a:gd name="T65" fmla="*/ 105 h 120"/>
                <a:gd name="T66" fmla="*/ 181 w 181"/>
                <a:gd name="T67" fmla="*/ 15 h 120"/>
                <a:gd name="T68" fmla="*/ 180 w 181"/>
                <a:gd name="T69" fmla="*/ 12 h 120"/>
                <a:gd name="T70" fmla="*/ 179 w 181"/>
                <a:gd name="T71" fmla="*/ 8 h 120"/>
                <a:gd name="T72" fmla="*/ 178 w 181"/>
                <a:gd name="T73" fmla="*/ 6 h 120"/>
                <a:gd name="T74" fmla="*/ 176 w 181"/>
                <a:gd name="T75" fmla="*/ 4 h 120"/>
                <a:gd name="T76" fmla="*/ 174 w 181"/>
                <a:gd name="T77" fmla="*/ 2 h 120"/>
                <a:gd name="T78" fmla="*/ 172 w 181"/>
                <a:gd name="T79" fmla="*/ 1 h 120"/>
                <a:gd name="T80" fmla="*/ 168 w 181"/>
                <a:gd name="T81" fmla="*/ 0 h 120"/>
                <a:gd name="T82" fmla="*/ 166 w 181"/>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0">
                  <a:moveTo>
                    <a:pt x="150" y="90"/>
                  </a:moveTo>
                  <a:lnTo>
                    <a:pt x="30" y="90"/>
                  </a:lnTo>
                  <a:lnTo>
                    <a:pt x="30" y="30"/>
                  </a:lnTo>
                  <a:lnTo>
                    <a:pt x="150" y="30"/>
                  </a:lnTo>
                  <a:lnTo>
                    <a:pt x="150" y="90"/>
                  </a:lnTo>
                  <a:close/>
                  <a:moveTo>
                    <a:pt x="166" y="0"/>
                  </a:moveTo>
                  <a:lnTo>
                    <a:pt x="15" y="0"/>
                  </a:lnTo>
                  <a:lnTo>
                    <a:pt x="12" y="0"/>
                  </a:lnTo>
                  <a:lnTo>
                    <a:pt x="10" y="1"/>
                  </a:lnTo>
                  <a:lnTo>
                    <a:pt x="6" y="2"/>
                  </a:lnTo>
                  <a:lnTo>
                    <a:pt x="4" y="4"/>
                  </a:lnTo>
                  <a:lnTo>
                    <a:pt x="3" y="6"/>
                  </a:lnTo>
                  <a:lnTo>
                    <a:pt x="1" y="8"/>
                  </a:lnTo>
                  <a:lnTo>
                    <a:pt x="0" y="12"/>
                  </a:lnTo>
                  <a:lnTo>
                    <a:pt x="0" y="15"/>
                  </a:lnTo>
                  <a:lnTo>
                    <a:pt x="0" y="105"/>
                  </a:lnTo>
                  <a:lnTo>
                    <a:pt x="0" y="108"/>
                  </a:lnTo>
                  <a:lnTo>
                    <a:pt x="1" y="110"/>
                  </a:lnTo>
                  <a:lnTo>
                    <a:pt x="3" y="114"/>
                  </a:lnTo>
                  <a:lnTo>
                    <a:pt x="4" y="116"/>
                  </a:lnTo>
                  <a:lnTo>
                    <a:pt x="6" y="118"/>
                  </a:lnTo>
                  <a:lnTo>
                    <a:pt x="10" y="119"/>
                  </a:lnTo>
                  <a:lnTo>
                    <a:pt x="12" y="120"/>
                  </a:lnTo>
                  <a:lnTo>
                    <a:pt x="15" y="120"/>
                  </a:lnTo>
                  <a:lnTo>
                    <a:pt x="166" y="120"/>
                  </a:lnTo>
                  <a:lnTo>
                    <a:pt x="168" y="120"/>
                  </a:lnTo>
                  <a:lnTo>
                    <a:pt x="172" y="119"/>
                  </a:lnTo>
                  <a:lnTo>
                    <a:pt x="174" y="118"/>
                  </a:lnTo>
                  <a:lnTo>
                    <a:pt x="176" y="116"/>
                  </a:lnTo>
                  <a:lnTo>
                    <a:pt x="178" y="114"/>
                  </a:lnTo>
                  <a:lnTo>
                    <a:pt x="179" y="110"/>
                  </a:lnTo>
                  <a:lnTo>
                    <a:pt x="180" y="108"/>
                  </a:lnTo>
                  <a:lnTo>
                    <a:pt x="181" y="105"/>
                  </a:lnTo>
                  <a:lnTo>
                    <a:pt x="181" y="15"/>
                  </a:lnTo>
                  <a:lnTo>
                    <a:pt x="180" y="12"/>
                  </a:lnTo>
                  <a:lnTo>
                    <a:pt x="179" y="8"/>
                  </a:lnTo>
                  <a:lnTo>
                    <a:pt x="178" y="6"/>
                  </a:lnTo>
                  <a:lnTo>
                    <a:pt x="176" y="4"/>
                  </a:lnTo>
                  <a:lnTo>
                    <a:pt x="174" y="2"/>
                  </a:lnTo>
                  <a:lnTo>
                    <a:pt x="172" y="1"/>
                  </a:lnTo>
                  <a:lnTo>
                    <a:pt x="168"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00">
              <a:extLst>
                <a:ext uri="{FF2B5EF4-FFF2-40B4-BE49-F238E27FC236}">
                  <a16:creationId xmlns:a16="http://schemas.microsoft.com/office/drawing/2014/main" id="{EBACDD8B-C3BE-41E2-A763-5E610F05B652}"/>
                </a:ext>
              </a:extLst>
            </p:cNvPr>
            <p:cNvSpPr>
              <a:spLocks noEditPoints="1"/>
            </p:cNvSpPr>
            <p:nvPr/>
          </p:nvSpPr>
          <p:spPr bwMode="auto">
            <a:xfrm>
              <a:off x="10006013" y="1468438"/>
              <a:ext cx="57150" cy="38100"/>
            </a:xfrm>
            <a:custGeom>
              <a:avLst/>
              <a:gdLst>
                <a:gd name="T0" fmla="*/ 150 w 181"/>
                <a:gd name="T1" fmla="*/ 91 h 121"/>
                <a:gd name="T2" fmla="*/ 30 w 181"/>
                <a:gd name="T3" fmla="*/ 91 h 121"/>
                <a:gd name="T4" fmla="*/ 30 w 181"/>
                <a:gd name="T5" fmla="*/ 30 h 121"/>
                <a:gd name="T6" fmla="*/ 150 w 181"/>
                <a:gd name="T7" fmla="*/ 30 h 121"/>
                <a:gd name="T8" fmla="*/ 150 w 181"/>
                <a:gd name="T9" fmla="*/ 91 h 121"/>
                <a:gd name="T10" fmla="*/ 166 w 181"/>
                <a:gd name="T11" fmla="*/ 0 h 121"/>
                <a:gd name="T12" fmla="*/ 15 w 181"/>
                <a:gd name="T13" fmla="*/ 0 h 121"/>
                <a:gd name="T14" fmla="*/ 12 w 181"/>
                <a:gd name="T15" fmla="*/ 1 h 121"/>
                <a:gd name="T16" fmla="*/ 10 w 181"/>
                <a:gd name="T17" fmla="*/ 2 h 121"/>
                <a:gd name="T18" fmla="*/ 6 w 181"/>
                <a:gd name="T19" fmla="*/ 3 h 121"/>
                <a:gd name="T20" fmla="*/ 4 w 181"/>
                <a:gd name="T21" fmla="*/ 5 h 121"/>
                <a:gd name="T22" fmla="*/ 3 w 181"/>
                <a:gd name="T23" fmla="*/ 7 h 121"/>
                <a:gd name="T24" fmla="*/ 1 w 181"/>
                <a:gd name="T25" fmla="*/ 9 h 121"/>
                <a:gd name="T26" fmla="*/ 0 w 181"/>
                <a:gd name="T27" fmla="*/ 12 h 121"/>
                <a:gd name="T28" fmla="*/ 0 w 181"/>
                <a:gd name="T29" fmla="*/ 15 h 121"/>
                <a:gd name="T30" fmla="*/ 0 w 181"/>
                <a:gd name="T31" fmla="*/ 106 h 121"/>
                <a:gd name="T32" fmla="*/ 0 w 181"/>
                <a:gd name="T33" fmla="*/ 108 h 121"/>
                <a:gd name="T34" fmla="*/ 1 w 181"/>
                <a:gd name="T35" fmla="*/ 111 h 121"/>
                <a:gd name="T36" fmla="*/ 3 w 181"/>
                <a:gd name="T37" fmla="*/ 113 h 121"/>
                <a:gd name="T38" fmla="*/ 4 w 181"/>
                <a:gd name="T39" fmla="*/ 116 h 121"/>
                <a:gd name="T40" fmla="*/ 6 w 181"/>
                <a:gd name="T41" fmla="*/ 118 h 121"/>
                <a:gd name="T42" fmla="*/ 10 w 181"/>
                <a:gd name="T43" fmla="*/ 120 h 121"/>
                <a:gd name="T44" fmla="*/ 12 w 181"/>
                <a:gd name="T45" fmla="*/ 120 h 121"/>
                <a:gd name="T46" fmla="*/ 15 w 181"/>
                <a:gd name="T47" fmla="*/ 121 h 121"/>
                <a:gd name="T48" fmla="*/ 166 w 181"/>
                <a:gd name="T49" fmla="*/ 121 h 121"/>
                <a:gd name="T50" fmla="*/ 168 w 181"/>
                <a:gd name="T51" fmla="*/ 120 h 121"/>
                <a:gd name="T52" fmla="*/ 172 w 181"/>
                <a:gd name="T53" fmla="*/ 120 h 121"/>
                <a:gd name="T54" fmla="*/ 174 w 181"/>
                <a:gd name="T55" fmla="*/ 118 h 121"/>
                <a:gd name="T56" fmla="*/ 176 w 181"/>
                <a:gd name="T57" fmla="*/ 116 h 121"/>
                <a:gd name="T58" fmla="*/ 178 w 181"/>
                <a:gd name="T59" fmla="*/ 113 h 121"/>
                <a:gd name="T60" fmla="*/ 179 w 181"/>
                <a:gd name="T61" fmla="*/ 111 h 121"/>
                <a:gd name="T62" fmla="*/ 180 w 181"/>
                <a:gd name="T63" fmla="*/ 108 h 121"/>
                <a:gd name="T64" fmla="*/ 181 w 181"/>
                <a:gd name="T65" fmla="*/ 106 h 121"/>
                <a:gd name="T66" fmla="*/ 181 w 181"/>
                <a:gd name="T67" fmla="*/ 15 h 121"/>
                <a:gd name="T68" fmla="*/ 180 w 181"/>
                <a:gd name="T69" fmla="*/ 12 h 121"/>
                <a:gd name="T70" fmla="*/ 179 w 181"/>
                <a:gd name="T71" fmla="*/ 9 h 121"/>
                <a:gd name="T72" fmla="*/ 178 w 181"/>
                <a:gd name="T73" fmla="*/ 7 h 121"/>
                <a:gd name="T74" fmla="*/ 176 w 181"/>
                <a:gd name="T75" fmla="*/ 5 h 121"/>
                <a:gd name="T76" fmla="*/ 174 w 181"/>
                <a:gd name="T77" fmla="*/ 3 h 121"/>
                <a:gd name="T78" fmla="*/ 172 w 181"/>
                <a:gd name="T79" fmla="*/ 2 h 121"/>
                <a:gd name="T80" fmla="*/ 168 w 181"/>
                <a:gd name="T81" fmla="*/ 1 h 121"/>
                <a:gd name="T82" fmla="*/ 166 w 181"/>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1">
                  <a:moveTo>
                    <a:pt x="150" y="91"/>
                  </a:moveTo>
                  <a:lnTo>
                    <a:pt x="30" y="91"/>
                  </a:lnTo>
                  <a:lnTo>
                    <a:pt x="30" y="30"/>
                  </a:lnTo>
                  <a:lnTo>
                    <a:pt x="150" y="30"/>
                  </a:lnTo>
                  <a:lnTo>
                    <a:pt x="150" y="91"/>
                  </a:lnTo>
                  <a:close/>
                  <a:moveTo>
                    <a:pt x="166" y="0"/>
                  </a:moveTo>
                  <a:lnTo>
                    <a:pt x="15" y="0"/>
                  </a:lnTo>
                  <a:lnTo>
                    <a:pt x="12" y="1"/>
                  </a:lnTo>
                  <a:lnTo>
                    <a:pt x="10" y="2"/>
                  </a:lnTo>
                  <a:lnTo>
                    <a:pt x="6" y="3"/>
                  </a:lnTo>
                  <a:lnTo>
                    <a:pt x="4" y="5"/>
                  </a:lnTo>
                  <a:lnTo>
                    <a:pt x="3" y="7"/>
                  </a:lnTo>
                  <a:lnTo>
                    <a:pt x="1" y="9"/>
                  </a:lnTo>
                  <a:lnTo>
                    <a:pt x="0" y="12"/>
                  </a:lnTo>
                  <a:lnTo>
                    <a:pt x="0" y="15"/>
                  </a:lnTo>
                  <a:lnTo>
                    <a:pt x="0" y="106"/>
                  </a:lnTo>
                  <a:lnTo>
                    <a:pt x="0" y="108"/>
                  </a:lnTo>
                  <a:lnTo>
                    <a:pt x="1" y="111"/>
                  </a:lnTo>
                  <a:lnTo>
                    <a:pt x="3" y="113"/>
                  </a:lnTo>
                  <a:lnTo>
                    <a:pt x="4" y="116"/>
                  </a:lnTo>
                  <a:lnTo>
                    <a:pt x="6" y="118"/>
                  </a:lnTo>
                  <a:lnTo>
                    <a:pt x="10" y="120"/>
                  </a:lnTo>
                  <a:lnTo>
                    <a:pt x="12" y="120"/>
                  </a:lnTo>
                  <a:lnTo>
                    <a:pt x="15" y="121"/>
                  </a:lnTo>
                  <a:lnTo>
                    <a:pt x="166" y="121"/>
                  </a:lnTo>
                  <a:lnTo>
                    <a:pt x="168" y="120"/>
                  </a:lnTo>
                  <a:lnTo>
                    <a:pt x="172" y="120"/>
                  </a:lnTo>
                  <a:lnTo>
                    <a:pt x="174" y="118"/>
                  </a:lnTo>
                  <a:lnTo>
                    <a:pt x="176" y="116"/>
                  </a:lnTo>
                  <a:lnTo>
                    <a:pt x="178" y="113"/>
                  </a:lnTo>
                  <a:lnTo>
                    <a:pt x="179" y="111"/>
                  </a:lnTo>
                  <a:lnTo>
                    <a:pt x="180" y="108"/>
                  </a:lnTo>
                  <a:lnTo>
                    <a:pt x="181" y="106"/>
                  </a:lnTo>
                  <a:lnTo>
                    <a:pt x="181" y="15"/>
                  </a:lnTo>
                  <a:lnTo>
                    <a:pt x="180" y="12"/>
                  </a:lnTo>
                  <a:lnTo>
                    <a:pt x="179" y="9"/>
                  </a:lnTo>
                  <a:lnTo>
                    <a:pt x="178" y="7"/>
                  </a:lnTo>
                  <a:lnTo>
                    <a:pt x="176" y="5"/>
                  </a:lnTo>
                  <a:lnTo>
                    <a:pt x="174" y="3"/>
                  </a:lnTo>
                  <a:lnTo>
                    <a:pt x="172" y="2"/>
                  </a:lnTo>
                  <a:lnTo>
                    <a:pt x="168" y="1"/>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01">
              <a:extLst>
                <a:ext uri="{FF2B5EF4-FFF2-40B4-BE49-F238E27FC236}">
                  <a16:creationId xmlns:a16="http://schemas.microsoft.com/office/drawing/2014/main" id="{C77D330E-1459-4247-BAFF-2BC7D35DA0B2}"/>
                </a:ext>
              </a:extLst>
            </p:cNvPr>
            <p:cNvSpPr>
              <a:spLocks noEditPoints="1"/>
            </p:cNvSpPr>
            <p:nvPr/>
          </p:nvSpPr>
          <p:spPr bwMode="auto">
            <a:xfrm>
              <a:off x="10006013" y="1420813"/>
              <a:ext cx="57150" cy="38100"/>
            </a:xfrm>
            <a:custGeom>
              <a:avLst/>
              <a:gdLst>
                <a:gd name="T0" fmla="*/ 150 w 181"/>
                <a:gd name="T1" fmla="*/ 90 h 120"/>
                <a:gd name="T2" fmla="*/ 30 w 181"/>
                <a:gd name="T3" fmla="*/ 90 h 120"/>
                <a:gd name="T4" fmla="*/ 30 w 181"/>
                <a:gd name="T5" fmla="*/ 30 h 120"/>
                <a:gd name="T6" fmla="*/ 150 w 181"/>
                <a:gd name="T7" fmla="*/ 30 h 120"/>
                <a:gd name="T8" fmla="*/ 150 w 181"/>
                <a:gd name="T9" fmla="*/ 90 h 120"/>
                <a:gd name="T10" fmla="*/ 166 w 181"/>
                <a:gd name="T11" fmla="*/ 0 h 120"/>
                <a:gd name="T12" fmla="*/ 15 w 181"/>
                <a:gd name="T13" fmla="*/ 0 h 120"/>
                <a:gd name="T14" fmla="*/ 12 w 181"/>
                <a:gd name="T15" fmla="*/ 0 h 120"/>
                <a:gd name="T16" fmla="*/ 10 w 181"/>
                <a:gd name="T17" fmla="*/ 1 h 120"/>
                <a:gd name="T18" fmla="*/ 6 w 181"/>
                <a:gd name="T19" fmla="*/ 2 h 120"/>
                <a:gd name="T20" fmla="*/ 4 w 181"/>
                <a:gd name="T21" fmla="*/ 5 h 120"/>
                <a:gd name="T22" fmla="*/ 3 w 181"/>
                <a:gd name="T23" fmla="*/ 7 h 120"/>
                <a:gd name="T24" fmla="*/ 1 w 181"/>
                <a:gd name="T25" fmla="*/ 10 h 120"/>
                <a:gd name="T26" fmla="*/ 0 w 181"/>
                <a:gd name="T27" fmla="*/ 12 h 120"/>
                <a:gd name="T28" fmla="*/ 0 w 181"/>
                <a:gd name="T29" fmla="*/ 15 h 120"/>
                <a:gd name="T30" fmla="*/ 0 w 181"/>
                <a:gd name="T31" fmla="*/ 105 h 120"/>
                <a:gd name="T32" fmla="*/ 0 w 181"/>
                <a:gd name="T33" fmla="*/ 109 h 120"/>
                <a:gd name="T34" fmla="*/ 1 w 181"/>
                <a:gd name="T35" fmla="*/ 112 h 120"/>
                <a:gd name="T36" fmla="*/ 3 w 181"/>
                <a:gd name="T37" fmla="*/ 114 h 120"/>
                <a:gd name="T38" fmla="*/ 4 w 181"/>
                <a:gd name="T39" fmla="*/ 116 h 120"/>
                <a:gd name="T40" fmla="*/ 6 w 181"/>
                <a:gd name="T41" fmla="*/ 118 h 120"/>
                <a:gd name="T42" fmla="*/ 10 w 181"/>
                <a:gd name="T43" fmla="*/ 119 h 120"/>
                <a:gd name="T44" fmla="*/ 12 w 181"/>
                <a:gd name="T45" fmla="*/ 120 h 120"/>
                <a:gd name="T46" fmla="*/ 15 w 181"/>
                <a:gd name="T47" fmla="*/ 120 h 120"/>
                <a:gd name="T48" fmla="*/ 166 w 181"/>
                <a:gd name="T49" fmla="*/ 120 h 120"/>
                <a:gd name="T50" fmla="*/ 168 w 181"/>
                <a:gd name="T51" fmla="*/ 120 h 120"/>
                <a:gd name="T52" fmla="*/ 172 w 181"/>
                <a:gd name="T53" fmla="*/ 119 h 120"/>
                <a:gd name="T54" fmla="*/ 174 w 181"/>
                <a:gd name="T55" fmla="*/ 118 h 120"/>
                <a:gd name="T56" fmla="*/ 176 w 181"/>
                <a:gd name="T57" fmla="*/ 116 h 120"/>
                <a:gd name="T58" fmla="*/ 178 w 181"/>
                <a:gd name="T59" fmla="*/ 114 h 120"/>
                <a:gd name="T60" fmla="*/ 179 w 181"/>
                <a:gd name="T61" fmla="*/ 112 h 120"/>
                <a:gd name="T62" fmla="*/ 180 w 181"/>
                <a:gd name="T63" fmla="*/ 109 h 120"/>
                <a:gd name="T64" fmla="*/ 181 w 181"/>
                <a:gd name="T65" fmla="*/ 105 h 120"/>
                <a:gd name="T66" fmla="*/ 181 w 181"/>
                <a:gd name="T67" fmla="*/ 15 h 120"/>
                <a:gd name="T68" fmla="*/ 180 w 181"/>
                <a:gd name="T69" fmla="*/ 12 h 120"/>
                <a:gd name="T70" fmla="*/ 179 w 181"/>
                <a:gd name="T71" fmla="*/ 10 h 120"/>
                <a:gd name="T72" fmla="*/ 178 w 181"/>
                <a:gd name="T73" fmla="*/ 7 h 120"/>
                <a:gd name="T74" fmla="*/ 176 w 181"/>
                <a:gd name="T75" fmla="*/ 5 h 120"/>
                <a:gd name="T76" fmla="*/ 174 w 181"/>
                <a:gd name="T77" fmla="*/ 2 h 120"/>
                <a:gd name="T78" fmla="*/ 172 w 181"/>
                <a:gd name="T79" fmla="*/ 1 h 120"/>
                <a:gd name="T80" fmla="*/ 168 w 181"/>
                <a:gd name="T81" fmla="*/ 0 h 120"/>
                <a:gd name="T82" fmla="*/ 166 w 181"/>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0">
                  <a:moveTo>
                    <a:pt x="150" y="90"/>
                  </a:moveTo>
                  <a:lnTo>
                    <a:pt x="30" y="90"/>
                  </a:lnTo>
                  <a:lnTo>
                    <a:pt x="30" y="30"/>
                  </a:lnTo>
                  <a:lnTo>
                    <a:pt x="150" y="30"/>
                  </a:lnTo>
                  <a:lnTo>
                    <a:pt x="150" y="90"/>
                  </a:lnTo>
                  <a:close/>
                  <a:moveTo>
                    <a:pt x="166" y="0"/>
                  </a:moveTo>
                  <a:lnTo>
                    <a:pt x="15" y="0"/>
                  </a:lnTo>
                  <a:lnTo>
                    <a:pt x="12" y="0"/>
                  </a:lnTo>
                  <a:lnTo>
                    <a:pt x="10" y="1"/>
                  </a:lnTo>
                  <a:lnTo>
                    <a:pt x="6" y="2"/>
                  </a:lnTo>
                  <a:lnTo>
                    <a:pt x="4" y="5"/>
                  </a:lnTo>
                  <a:lnTo>
                    <a:pt x="3" y="7"/>
                  </a:lnTo>
                  <a:lnTo>
                    <a:pt x="1" y="10"/>
                  </a:lnTo>
                  <a:lnTo>
                    <a:pt x="0" y="12"/>
                  </a:lnTo>
                  <a:lnTo>
                    <a:pt x="0" y="15"/>
                  </a:lnTo>
                  <a:lnTo>
                    <a:pt x="0" y="105"/>
                  </a:lnTo>
                  <a:lnTo>
                    <a:pt x="0" y="109"/>
                  </a:lnTo>
                  <a:lnTo>
                    <a:pt x="1" y="112"/>
                  </a:lnTo>
                  <a:lnTo>
                    <a:pt x="3" y="114"/>
                  </a:lnTo>
                  <a:lnTo>
                    <a:pt x="4" y="116"/>
                  </a:lnTo>
                  <a:lnTo>
                    <a:pt x="6" y="118"/>
                  </a:lnTo>
                  <a:lnTo>
                    <a:pt x="10" y="119"/>
                  </a:lnTo>
                  <a:lnTo>
                    <a:pt x="12" y="120"/>
                  </a:lnTo>
                  <a:lnTo>
                    <a:pt x="15" y="120"/>
                  </a:lnTo>
                  <a:lnTo>
                    <a:pt x="166" y="120"/>
                  </a:lnTo>
                  <a:lnTo>
                    <a:pt x="168" y="120"/>
                  </a:lnTo>
                  <a:lnTo>
                    <a:pt x="172" y="119"/>
                  </a:lnTo>
                  <a:lnTo>
                    <a:pt x="174" y="118"/>
                  </a:lnTo>
                  <a:lnTo>
                    <a:pt x="176" y="116"/>
                  </a:lnTo>
                  <a:lnTo>
                    <a:pt x="178" y="114"/>
                  </a:lnTo>
                  <a:lnTo>
                    <a:pt x="179" y="112"/>
                  </a:lnTo>
                  <a:lnTo>
                    <a:pt x="180" y="109"/>
                  </a:lnTo>
                  <a:lnTo>
                    <a:pt x="181" y="105"/>
                  </a:lnTo>
                  <a:lnTo>
                    <a:pt x="181" y="15"/>
                  </a:lnTo>
                  <a:lnTo>
                    <a:pt x="180" y="12"/>
                  </a:lnTo>
                  <a:lnTo>
                    <a:pt x="179" y="10"/>
                  </a:lnTo>
                  <a:lnTo>
                    <a:pt x="178" y="7"/>
                  </a:lnTo>
                  <a:lnTo>
                    <a:pt x="176" y="5"/>
                  </a:lnTo>
                  <a:lnTo>
                    <a:pt x="174" y="2"/>
                  </a:lnTo>
                  <a:lnTo>
                    <a:pt x="172" y="1"/>
                  </a:lnTo>
                  <a:lnTo>
                    <a:pt x="168"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02">
              <a:extLst>
                <a:ext uri="{FF2B5EF4-FFF2-40B4-BE49-F238E27FC236}">
                  <a16:creationId xmlns:a16="http://schemas.microsoft.com/office/drawing/2014/main" id="{AEE0E239-DBBF-4D3A-9E76-2B0C2B74C0F6}"/>
                </a:ext>
              </a:extLst>
            </p:cNvPr>
            <p:cNvSpPr>
              <a:spLocks noEditPoints="1"/>
            </p:cNvSpPr>
            <p:nvPr/>
          </p:nvSpPr>
          <p:spPr bwMode="auto">
            <a:xfrm>
              <a:off x="10072688" y="1563688"/>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4 h 120"/>
                <a:gd name="T22" fmla="*/ 2 w 120"/>
                <a:gd name="T23" fmla="*/ 6 h 120"/>
                <a:gd name="T24" fmla="*/ 1 w 120"/>
                <a:gd name="T25" fmla="*/ 10 h 120"/>
                <a:gd name="T26" fmla="*/ 0 w 120"/>
                <a:gd name="T27" fmla="*/ 12 h 120"/>
                <a:gd name="T28" fmla="*/ 0 w 120"/>
                <a:gd name="T29" fmla="*/ 15 h 120"/>
                <a:gd name="T30" fmla="*/ 0 w 120"/>
                <a:gd name="T31" fmla="*/ 105 h 120"/>
                <a:gd name="T32" fmla="*/ 0 w 120"/>
                <a:gd name="T33" fmla="*/ 108 h 120"/>
                <a:gd name="T34" fmla="*/ 1 w 120"/>
                <a:gd name="T35" fmla="*/ 112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2 h 120"/>
                <a:gd name="T62" fmla="*/ 120 w 120"/>
                <a:gd name="T63" fmla="*/ 108 h 120"/>
                <a:gd name="T64" fmla="*/ 120 w 120"/>
                <a:gd name="T65" fmla="*/ 105 h 120"/>
                <a:gd name="T66" fmla="*/ 120 w 120"/>
                <a:gd name="T67" fmla="*/ 15 h 120"/>
                <a:gd name="T68" fmla="*/ 120 w 120"/>
                <a:gd name="T69" fmla="*/ 12 h 120"/>
                <a:gd name="T70" fmla="*/ 119 w 120"/>
                <a:gd name="T71" fmla="*/ 10 h 120"/>
                <a:gd name="T72" fmla="*/ 117 w 120"/>
                <a:gd name="T73" fmla="*/ 6 h 120"/>
                <a:gd name="T74" fmla="*/ 116 w 120"/>
                <a:gd name="T75" fmla="*/ 4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4"/>
                  </a:lnTo>
                  <a:lnTo>
                    <a:pt x="2" y="6"/>
                  </a:lnTo>
                  <a:lnTo>
                    <a:pt x="1" y="10"/>
                  </a:lnTo>
                  <a:lnTo>
                    <a:pt x="0" y="12"/>
                  </a:lnTo>
                  <a:lnTo>
                    <a:pt x="0" y="15"/>
                  </a:lnTo>
                  <a:lnTo>
                    <a:pt x="0" y="105"/>
                  </a:lnTo>
                  <a:lnTo>
                    <a:pt x="0" y="108"/>
                  </a:lnTo>
                  <a:lnTo>
                    <a:pt x="1" y="112"/>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2"/>
                  </a:lnTo>
                  <a:lnTo>
                    <a:pt x="120" y="108"/>
                  </a:lnTo>
                  <a:lnTo>
                    <a:pt x="120" y="105"/>
                  </a:lnTo>
                  <a:lnTo>
                    <a:pt x="120" y="15"/>
                  </a:lnTo>
                  <a:lnTo>
                    <a:pt x="120" y="12"/>
                  </a:lnTo>
                  <a:lnTo>
                    <a:pt x="119" y="10"/>
                  </a:lnTo>
                  <a:lnTo>
                    <a:pt x="117"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03">
              <a:extLst>
                <a:ext uri="{FF2B5EF4-FFF2-40B4-BE49-F238E27FC236}">
                  <a16:creationId xmlns:a16="http://schemas.microsoft.com/office/drawing/2014/main" id="{A3D2EE1C-C3CB-4120-BDC2-63B8EED25C10}"/>
                </a:ext>
              </a:extLst>
            </p:cNvPr>
            <p:cNvSpPr>
              <a:spLocks noEditPoints="1"/>
            </p:cNvSpPr>
            <p:nvPr/>
          </p:nvSpPr>
          <p:spPr bwMode="auto">
            <a:xfrm>
              <a:off x="9958388" y="1563688"/>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4 h 120"/>
                <a:gd name="T22" fmla="*/ 2 w 120"/>
                <a:gd name="T23" fmla="*/ 6 h 120"/>
                <a:gd name="T24" fmla="*/ 1 w 120"/>
                <a:gd name="T25" fmla="*/ 10 h 120"/>
                <a:gd name="T26" fmla="*/ 0 w 120"/>
                <a:gd name="T27" fmla="*/ 12 h 120"/>
                <a:gd name="T28" fmla="*/ 0 w 120"/>
                <a:gd name="T29" fmla="*/ 15 h 120"/>
                <a:gd name="T30" fmla="*/ 0 w 120"/>
                <a:gd name="T31" fmla="*/ 105 h 120"/>
                <a:gd name="T32" fmla="*/ 0 w 120"/>
                <a:gd name="T33" fmla="*/ 108 h 120"/>
                <a:gd name="T34" fmla="*/ 1 w 120"/>
                <a:gd name="T35" fmla="*/ 112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2 h 120"/>
                <a:gd name="T62" fmla="*/ 120 w 120"/>
                <a:gd name="T63" fmla="*/ 108 h 120"/>
                <a:gd name="T64" fmla="*/ 120 w 120"/>
                <a:gd name="T65" fmla="*/ 105 h 120"/>
                <a:gd name="T66" fmla="*/ 120 w 120"/>
                <a:gd name="T67" fmla="*/ 15 h 120"/>
                <a:gd name="T68" fmla="*/ 120 w 120"/>
                <a:gd name="T69" fmla="*/ 12 h 120"/>
                <a:gd name="T70" fmla="*/ 119 w 120"/>
                <a:gd name="T71" fmla="*/ 10 h 120"/>
                <a:gd name="T72" fmla="*/ 118 w 120"/>
                <a:gd name="T73" fmla="*/ 6 h 120"/>
                <a:gd name="T74" fmla="*/ 116 w 120"/>
                <a:gd name="T75" fmla="*/ 4 h 120"/>
                <a:gd name="T76" fmla="*/ 114 w 120"/>
                <a:gd name="T77" fmla="*/ 3 h 120"/>
                <a:gd name="T78" fmla="*/ 110 w 120"/>
                <a:gd name="T79" fmla="*/ 1 h 120"/>
                <a:gd name="T80" fmla="*/ 108 w 120"/>
                <a:gd name="T81" fmla="*/ 0 h 120"/>
                <a:gd name="T82" fmla="*/ 105 w 120"/>
                <a:gd name="T83" fmla="*/ 0 h 120"/>
                <a:gd name="T84" fmla="*/ 105 w 120"/>
                <a:gd name="T8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4"/>
                  </a:lnTo>
                  <a:lnTo>
                    <a:pt x="2" y="6"/>
                  </a:lnTo>
                  <a:lnTo>
                    <a:pt x="1" y="10"/>
                  </a:lnTo>
                  <a:lnTo>
                    <a:pt x="0" y="12"/>
                  </a:lnTo>
                  <a:lnTo>
                    <a:pt x="0" y="15"/>
                  </a:lnTo>
                  <a:lnTo>
                    <a:pt x="0" y="105"/>
                  </a:lnTo>
                  <a:lnTo>
                    <a:pt x="0" y="108"/>
                  </a:lnTo>
                  <a:lnTo>
                    <a:pt x="1" y="112"/>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2"/>
                  </a:lnTo>
                  <a:lnTo>
                    <a:pt x="120" y="108"/>
                  </a:lnTo>
                  <a:lnTo>
                    <a:pt x="120" y="105"/>
                  </a:lnTo>
                  <a:lnTo>
                    <a:pt x="120" y="15"/>
                  </a:lnTo>
                  <a:lnTo>
                    <a:pt x="120" y="12"/>
                  </a:lnTo>
                  <a:lnTo>
                    <a:pt x="119" y="10"/>
                  </a:lnTo>
                  <a:lnTo>
                    <a:pt x="118" y="6"/>
                  </a:lnTo>
                  <a:lnTo>
                    <a:pt x="116" y="4"/>
                  </a:lnTo>
                  <a:lnTo>
                    <a:pt x="114" y="3"/>
                  </a:lnTo>
                  <a:lnTo>
                    <a:pt x="110" y="1"/>
                  </a:lnTo>
                  <a:lnTo>
                    <a:pt x="108"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04">
              <a:extLst>
                <a:ext uri="{FF2B5EF4-FFF2-40B4-BE49-F238E27FC236}">
                  <a16:creationId xmlns:a16="http://schemas.microsoft.com/office/drawing/2014/main" id="{A253BBC4-1AEA-4ADF-BFF4-E8CFAA191BC5}"/>
                </a:ext>
              </a:extLst>
            </p:cNvPr>
            <p:cNvSpPr>
              <a:spLocks noEditPoints="1"/>
            </p:cNvSpPr>
            <p:nvPr/>
          </p:nvSpPr>
          <p:spPr bwMode="auto">
            <a:xfrm>
              <a:off x="10072688" y="151606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4 h 120"/>
                <a:gd name="T22" fmla="*/ 2 w 120"/>
                <a:gd name="T23" fmla="*/ 6 h 120"/>
                <a:gd name="T24" fmla="*/ 1 w 120"/>
                <a:gd name="T25" fmla="*/ 8 h 120"/>
                <a:gd name="T26" fmla="*/ 0 w 120"/>
                <a:gd name="T27" fmla="*/ 12 h 120"/>
                <a:gd name="T28" fmla="*/ 0 w 120"/>
                <a:gd name="T29" fmla="*/ 15 h 120"/>
                <a:gd name="T30" fmla="*/ 0 w 120"/>
                <a:gd name="T31" fmla="*/ 105 h 120"/>
                <a:gd name="T32" fmla="*/ 0 w 120"/>
                <a:gd name="T33" fmla="*/ 108 h 120"/>
                <a:gd name="T34" fmla="*/ 1 w 120"/>
                <a:gd name="T35" fmla="*/ 110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0 h 120"/>
                <a:gd name="T62" fmla="*/ 120 w 120"/>
                <a:gd name="T63" fmla="*/ 108 h 120"/>
                <a:gd name="T64" fmla="*/ 120 w 120"/>
                <a:gd name="T65" fmla="*/ 105 h 120"/>
                <a:gd name="T66" fmla="*/ 120 w 120"/>
                <a:gd name="T67" fmla="*/ 15 h 120"/>
                <a:gd name="T68" fmla="*/ 120 w 120"/>
                <a:gd name="T69" fmla="*/ 12 h 120"/>
                <a:gd name="T70" fmla="*/ 119 w 120"/>
                <a:gd name="T71" fmla="*/ 8 h 120"/>
                <a:gd name="T72" fmla="*/ 117 w 120"/>
                <a:gd name="T73" fmla="*/ 6 h 120"/>
                <a:gd name="T74" fmla="*/ 116 w 120"/>
                <a:gd name="T75" fmla="*/ 4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4"/>
                  </a:lnTo>
                  <a:lnTo>
                    <a:pt x="2" y="6"/>
                  </a:lnTo>
                  <a:lnTo>
                    <a:pt x="1" y="8"/>
                  </a:lnTo>
                  <a:lnTo>
                    <a:pt x="0" y="12"/>
                  </a:lnTo>
                  <a:lnTo>
                    <a:pt x="0" y="15"/>
                  </a:lnTo>
                  <a:lnTo>
                    <a:pt x="0" y="105"/>
                  </a:lnTo>
                  <a:lnTo>
                    <a:pt x="0" y="108"/>
                  </a:lnTo>
                  <a:lnTo>
                    <a:pt x="1" y="110"/>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0"/>
                  </a:lnTo>
                  <a:lnTo>
                    <a:pt x="120" y="108"/>
                  </a:lnTo>
                  <a:lnTo>
                    <a:pt x="120" y="105"/>
                  </a:lnTo>
                  <a:lnTo>
                    <a:pt x="120" y="15"/>
                  </a:lnTo>
                  <a:lnTo>
                    <a:pt x="120" y="12"/>
                  </a:lnTo>
                  <a:lnTo>
                    <a:pt x="119" y="8"/>
                  </a:lnTo>
                  <a:lnTo>
                    <a:pt x="117"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05">
              <a:extLst>
                <a:ext uri="{FF2B5EF4-FFF2-40B4-BE49-F238E27FC236}">
                  <a16:creationId xmlns:a16="http://schemas.microsoft.com/office/drawing/2014/main" id="{0FF368EF-6502-4F37-A79E-E97999D352B2}"/>
                </a:ext>
              </a:extLst>
            </p:cNvPr>
            <p:cNvSpPr>
              <a:spLocks noEditPoints="1"/>
            </p:cNvSpPr>
            <p:nvPr/>
          </p:nvSpPr>
          <p:spPr bwMode="auto">
            <a:xfrm>
              <a:off x="9958388" y="151606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4 h 120"/>
                <a:gd name="T22" fmla="*/ 2 w 120"/>
                <a:gd name="T23" fmla="*/ 6 h 120"/>
                <a:gd name="T24" fmla="*/ 1 w 120"/>
                <a:gd name="T25" fmla="*/ 8 h 120"/>
                <a:gd name="T26" fmla="*/ 0 w 120"/>
                <a:gd name="T27" fmla="*/ 12 h 120"/>
                <a:gd name="T28" fmla="*/ 0 w 120"/>
                <a:gd name="T29" fmla="*/ 15 h 120"/>
                <a:gd name="T30" fmla="*/ 0 w 120"/>
                <a:gd name="T31" fmla="*/ 105 h 120"/>
                <a:gd name="T32" fmla="*/ 0 w 120"/>
                <a:gd name="T33" fmla="*/ 108 h 120"/>
                <a:gd name="T34" fmla="*/ 1 w 120"/>
                <a:gd name="T35" fmla="*/ 110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0 h 120"/>
                <a:gd name="T62" fmla="*/ 120 w 120"/>
                <a:gd name="T63" fmla="*/ 108 h 120"/>
                <a:gd name="T64" fmla="*/ 120 w 120"/>
                <a:gd name="T65" fmla="*/ 105 h 120"/>
                <a:gd name="T66" fmla="*/ 120 w 120"/>
                <a:gd name="T67" fmla="*/ 15 h 120"/>
                <a:gd name="T68" fmla="*/ 120 w 120"/>
                <a:gd name="T69" fmla="*/ 12 h 120"/>
                <a:gd name="T70" fmla="*/ 119 w 120"/>
                <a:gd name="T71" fmla="*/ 8 h 120"/>
                <a:gd name="T72" fmla="*/ 118 w 120"/>
                <a:gd name="T73" fmla="*/ 6 h 120"/>
                <a:gd name="T74" fmla="*/ 116 w 120"/>
                <a:gd name="T75" fmla="*/ 4 h 120"/>
                <a:gd name="T76" fmla="*/ 114 w 120"/>
                <a:gd name="T77" fmla="*/ 2 h 120"/>
                <a:gd name="T78" fmla="*/ 110 w 120"/>
                <a:gd name="T79" fmla="*/ 1 h 120"/>
                <a:gd name="T80" fmla="*/ 108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4"/>
                  </a:lnTo>
                  <a:lnTo>
                    <a:pt x="2" y="6"/>
                  </a:lnTo>
                  <a:lnTo>
                    <a:pt x="1" y="8"/>
                  </a:lnTo>
                  <a:lnTo>
                    <a:pt x="0" y="12"/>
                  </a:lnTo>
                  <a:lnTo>
                    <a:pt x="0" y="15"/>
                  </a:lnTo>
                  <a:lnTo>
                    <a:pt x="0" y="105"/>
                  </a:lnTo>
                  <a:lnTo>
                    <a:pt x="0" y="108"/>
                  </a:lnTo>
                  <a:lnTo>
                    <a:pt x="1" y="110"/>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0"/>
                  </a:lnTo>
                  <a:lnTo>
                    <a:pt x="120" y="108"/>
                  </a:lnTo>
                  <a:lnTo>
                    <a:pt x="120" y="105"/>
                  </a:lnTo>
                  <a:lnTo>
                    <a:pt x="120" y="15"/>
                  </a:lnTo>
                  <a:lnTo>
                    <a:pt x="120" y="12"/>
                  </a:lnTo>
                  <a:lnTo>
                    <a:pt x="119" y="8"/>
                  </a:lnTo>
                  <a:lnTo>
                    <a:pt x="118" y="6"/>
                  </a:lnTo>
                  <a:lnTo>
                    <a:pt x="116" y="4"/>
                  </a:lnTo>
                  <a:lnTo>
                    <a:pt x="114" y="2"/>
                  </a:lnTo>
                  <a:lnTo>
                    <a:pt x="110"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06">
              <a:extLst>
                <a:ext uri="{FF2B5EF4-FFF2-40B4-BE49-F238E27FC236}">
                  <a16:creationId xmlns:a16="http://schemas.microsoft.com/office/drawing/2014/main" id="{A59A0011-76F1-499C-BF19-3E8A62ED1293}"/>
                </a:ext>
              </a:extLst>
            </p:cNvPr>
            <p:cNvSpPr>
              <a:spLocks noEditPoints="1"/>
            </p:cNvSpPr>
            <p:nvPr/>
          </p:nvSpPr>
          <p:spPr bwMode="auto">
            <a:xfrm>
              <a:off x="10072688" y="1468438"/>
              <a:ext cx="38100" cy="38100"/>
            </a:xfrm>
            <a:custGeom>
              <a:avLst/>
              <a:gdLst>
                <a:gd name="T0" fmla="*/ 90 w 120"/>
                <a:gd name="T1" fmla="*/ 91 h 121"/>
                <a:gd name="T2" fmla="*/ 30 w 120"/>
                <a:gd name="T3" fmla="*/ 91 h 121"/>
                <a:gd name="T4" fmla="*/ 30 w 120"/>
                <a:gd name="T5" fmla="*/ 30 h 121"/>
                <a:gd name="T6" fmla="*/ 90 w 120"/>
                <a:gd name="T7" fmla="*/ 30 h 121"/>
                <a:gd name="T8" fmla="*/ 90 w 120"/>
                <a:gd name="T9" fmla="*/ 91 h 121"/>
                <a:gd name="T10" fmla="*/ 105 w 120"/>
                <a:gd name="T11" fmla="*/ 0 h 121"/>
                <a:gd name="T12" fmla="*/ 15 w 120"/>
                <a:gd name="T13" fmla="*/ 0 h 121"/>
                <a:gd name="T14" fmla="*/ 12 w 120"/>
                <a:gd name="T15" fmla="*/ 1 h 121"/>
                <a:gd name="T16" fmla="*/ 9 w 120"/>
                <a:gd name="T17" fmla="*/ 2 h 121"/>
                <a:gd name="T18" fmla="*/ 7 w 120"/>
                <a:gd name="T19" fmla="*/ 3 h 121"/>
                <a:gd name="T20" fmla="*/ 5 w 120"/>
                <a:gd name="T21" fmla="*/ 5 h 121"/>
                <a:gd name="T22" fmla="*/ 2 w 120"/>
                <a:gd name="T23" fmla="*/ 7 h 121"/>
                <a:gd name="T24" fmla="*/ 1 w 120"/>
                <a:gd name="T25" fmla="*/ 9 h 121"/>
                <a:gd name="T26" fmla="*/ 0 w 120"/>
                <a:gd name="T27" fmla="*/ 12 h 121"/>
                <a:gd name="T28" fmla="*/ 0 w 120"/>
                <a:gd name="T29" fmla="*/ 15 h 121"/>
                <a:gd name="T30" fmla="*/ 0 w 120"/>
                <a:gd name="T31" fmla="*/ 106 h 121"/>
                <a:gd name="T32" fmla="*/ 0 w 120"/>
                <a:gd name="T33" fmla="*/ 108 h 121"/>
                <a:gd name="T34" fmla="*/ 1 w 120"/>
                <a:gd name="T35" fmla="*/ 111 h 121"/>
                <a:gd name="T36" fmla="*/ 2 w 120"/>
                <a:gd name="T37" fmla="*/ 113 h 121"/>
                <a:gd name="T38" fmla="*/ 5 w 120"/>
                <a:gd name="T39" fmla="*/ 116 h 121"/>
                <a:gd name="T40" fmla="*/ 7 w 120"/>
                <a:gd name="T41" fmla="*/ 118 h 121"/>
                <a:gd name="T42" fmla="*/ 9 w 120"/>
                <a:gd name="T43" fmla="*/ 120 h 121"/>
                <a:gd name="T44" fmla="*/ 12 w 120"/>
                <a:gd name="T45" fmla="*/ 120 h 121"/>
                <a:gd name="T46" fmla="*/ 15 w 120"/>
                <a:gd name="T47" fmla="*/ 121 h 121"/>
                <a:gd name="T48" fmla="*/ 105 w 120"/>
                <a:gd name="T49" fmla="*/ 121 h 121"/>
                <a:gd name="T50" fmla="*/ 109 w 120"/>
                <a:gd name="T51" fmla="*/ 120 h 121"/>
                <a:gd name="T52" fmla="*/ 111 w 120"/>
                <a:gd name="T53" fmla="*/ 120 h 121"/>
                <a:gd name="T54" fmla="*/ 114 w 120"/>
                <a:gd name="T55" fmla="*/ 118 h 121"/>
                <a:gd name="T56" fmla="*/ 116 w 120"/>
                <a:gd name="T57" fmla="*/ 116 h 121"/>
                <a:gd name="T58" fmla="*/ 117 w 120"/>
                <a:gd name="T59" fmla="*/ 113 h 121"/>
                <a:gd name="T60" fmla="*/ 119 w 120"/>
                <a:gd name="T61" fmla="*/ 111 h 121"/>
                <a:gd name="T62" fmla="*/ 120 w 120"/>
                <a:gd name="T63" fmla="*/ 108 h 121"/>
                <a:gd name="T64" fmla="*/ 120 w 120"/>
                <a:gd name="T65" fmla="*/ 106 h 121"/>
                <a:gd name="T66" fmla="*/ 120 w 120"/>
                <a:gd name="T67" fmla="*/ 15 h 121"/>
                <a:gd name="T68" fmla="*/ 120 w 120"/>
                <a:gd name="T69" fmla="*/ 12 h 121"/>
                <a:gd name="T70" fmla="*/ 119 w 120"/>
                <a:gd name="T71" fmla="*/ 9 h 121"/>
                <a:gd name="T72" fmla="*/ 117 w 120"/>
                <a:gd name="T73" fmla="*/ 7 h 121"/>
                <a:gd name="T74" fmla="*/ 116 w 120"/>
                <a:gd name="T75" fmla="*/ 5 h 121"/>
                <a:gd name="T76" fmla="*/ 114 w 120"/>
                <a:gd name="T77" fmla="*/ 3 h 121"/>
                <a:gd name="T78" fmla="*/ 111 w 120"/>
                <a:gd name="T79" fmla="*/ 2 h 121"/>
                <a:gd name="T80" fmla="*/ 109 w 120"/>
                <a:gd name="T81" fmla="*/ 1 h 121"/>
                <a:gd name="T82" fmla="*/ 105 w 120"/>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90" y="91"/>
                  </a:moveTo>
                  <a:lnTo>
                    <a:pt x="30" y="91"/>
                  </a:lnTo>
                  <a:lnTo>
                    <a:pt x="30" y="30"/>
                  </a:lnTo>
                  <a:lnTo>
                    <a:pt x="90" y="30"/>
                  </a:lnTo>
                  <a:lnTo>
                    <a:pt x="90" y="91"/>
                  </a:lnTo>
                  <a:close/>
                  <a:moveTo>
                    <a:pt x="105" y="0"/>
                  </a:moveTo>
                  <a:lnTo>
                    <a:pt x="15" y="0"/>
                  </a:lnTo>
                  <a:lnTo>
                    <a:pt x="12" y="1"/>
                  </a:lnTo>
                  <a:lnTo>
                    <a:pt x="9" y="2"/>
                  </a:lnTo>
                  <a:lnTo>
                    <a:pt x="7" y="3"/>
                  </a:lnTo>
                  <a:lnTo>
                    <a:pt x="5" y="5"/>
                  </a:lnTo>
                  <a:lnTo>
                    <a:pt x="2" y="7"/>
                  </a:lnTo>
                  <a:lnTo>
                    <a:pt x="1" y="9"/>
                  </a:lnTo>
                  <a:lnTo>
                    <a:pt x="0" y="12"/>
                  </a:lnTo>
                  <a:lnTo>
                    <a:pt x="0" y="15"/>
                  </a:lnTo>
                  <a:lnTo>
                    <a:pt x="0" y="106"/>
                  </a:lnTo>
                  <a:lnTo>
                    <a:pt x="0" y="108"/>
                  </a:lnTo>
                  <a:lnTo>
                    <a:pt x="1" y="111"/>
                  </a:lnTo>
                  <a:lnTo>
                    <a:pt x="2" y="113"/>
                  </a:lnTo>
                  <a:lnTo>
                    <a:pt x="5" y="116"/>
                  </a:lnTo>
                  <a:lnTo>
                    <a:pt x="7" y="118"/>
                  </a:lnTo>
                  <a:lnTo>
                    <a:pt x="9" y="120"/>
                  </a:lnTo>
                  <a:lnTo>
                    <a:pt x="12" y="120"/>
                  </a:lnTo>
                  <a:lnTo>
                    <a:pt x="15" y="121"/>
                  </a:lnTo>
                  <a:lnTo>
                    <a:pt x="105" y="121"/>
                  </a:lnTo>
                  <a:lnTo>
                    <a:pt x="109" y="120"/>
                  </a:lnTo>
                  <a:lnTo>
                    <a:pt x="111" y="120"/>
                  </a:lnTo>
                  <a:lnTo>
                    <a:pt x="114" y="118"/>
                  </a:lnTo>
                  <a:lnTo>
                    <a:pt x="116" y="116"/>
                  </a:lnTo>
                  <a:lnTo>
                    <a:pt x="117" y="113"/>
                  </a:lnTo>
                  <a:lnTo>
                    <a:pt x="119" y="111"/>
                  </a:lnTo>
                  <a:lnTo>
                    <a:pt x="120" y="108"/>
                  </a:lnTo>
                  <a:lnTo>
                    <a:pt x="120" y="106"/>
                  </a:lnTo>
                  <a:lnTo>
                    <a:pt x="120" y="15"/>
                  </a:lnTo>
                  <a:lnTo>
                    <a:pt x="120" y="12"/>
                  </a:lnTo>
                  <a:lnTo>
                    <a:pt x="119" y="9"/>
                  </a:lnTo>
                  <a:lnTo>
                    <a:pt x="117" y="7"/>
                  </a:lnTo>
                  <a:lnTo>
                    <a:pt x="116" y="5"/>
                  </a:lnTo>
                  <a:lnTo>
                    <a:pt x="114" y="3"/>
                  </a:lnTo>
                  <a:lnTo>
                    <a:pt x="111" y="2"/>
                  </a:lnTo>
                  <a:lnTo>
                    <a:pt x="109"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07">
              <a:extLst>
                <a:ext uri="{FF2B5EF4-FFF2-40B4-BE49-F238E27FC236}">
                  <a16:creationId xmlns:a16="http://schemas.microsoft.com/office/drawing/2014/main" id="{4F644067-1875-47A0-A0BF-FF39B6090B95}"/>
                </a:ext>
              </a:extLst>
            </p:cNvPr>
            <p:cNvSpPr>
              <a:spLocks noEditPoints="1"/>
            </p:cNvSpPr>
            <p:nvPr/>
          </p:nvSpPr>
          <p:spPr bwMode="auto">
            <a:xfrm>
              <a:off x="9958388" y="1468438"/>
              <a:ext cx="38100" cy="38100"/>
            </a:xfrm>
            <a:custGeom>
              <a:avLst/>
              <a:gdLst>
                <a:gd name="T0" fmla="*/ 90 w 120"/>
                <a:gd name="T1" fmla="*/ 91 h 121"/>
                <a:gd name="T2" fmla="*/ 30 w 120"/>
                <a:gd name="T3" fmla="*/ 91 h 121"/>
                <a:gd name="T4" fmla="*/ 30 w 120"/>
                <a:gd name="T5" fmla="*/ 30 h 121"/>
                <a:gd name="T6" fmla="*/ 90 w 120"/>
                <a:gd name="T7" fmla="*/ 30 h 121"/>
                <a:gd name="T8" fmla="*/ 90 w 120"/>
                <a:gd name="T9" fmla="*/ 91 h 121"/>
                <a:gd name="T10" fmla="*/ 105 w 120"/>
                <a:gd name="T11" fmla="*/ 0 h 121"/>
                <a:gd name="T12" fmla="*/ 15 w 120"/>
                <a:gd name="T13" fmla="*/ 0 h 121"/>
                <a:gd name="T14" fmla="*/ 12 w 120"/>
                <a:gd name="T15" fmla="*/ 1 h 121"/>
                <a:gd name="T16" fmla="*/ 8 w 120"/>
                <a:gd name="T17" fmla="*/ 2 h 121"/>
                <a:gd name="T18" fmla="*/ 6 w 120"/>
                <a:gd name="T19" fmla="*/ 3 h 121"/>
                <a:gd name="T20" fmla="*/ 4 w 120"/>
                <a:gd name="T21" fmla="*/ 5 h 121"/>
                <a:gd name="T22" fmla="*/ 2 w 120"/>
                <a:gd name="T23" fmla="*/ 7 h 121"/>
                <a:gd name="T24" fmla="*/ 1 w 120"/>
                <a:gd name="T25" fmla="*/ 9 h 121"/>
                <a:gd name="T26" fmla="*/ 0 w 120"/>
                <a:gd name="T27" fmla="*/ 12 h 121"/>
                <a:gd name="T28" fmla="*/ 0 w 120"/>
                <a:gd name="T29" fmla="*/ 15 h 121"/>
                <a:gd name="T30" fmla="*/ 0 w 120"/>
                <a:gd name="T31" fmla="*/ 106 h 121"/>
                <a:gd name="T32" fmla="*/ 0 w 120"/>
                <a:gd name="T33" fmla="*/ 108 h 121"/>
                <a:gd name="T34" fmla="*/ 1 w 120"/>
                <a:gd name="T35" fmla="*/ 111 h 121"/>
                <a:gd name="T36" fmla="*/ 2 w 120"/>
                <a:gd name="T37" fmla="*/ 113 h 121"/>
                <a:gd name="T38" fmla="*/ 4 w 120"/>
                <a:gd name="T39" fmla="*/ 116 h 121"/>
                <a:gd name="T40" fmla="*/ 6 w 120"/>
                <a:gd name="T41" fmla="*/ 118 h 121"/>
                <a:gd name="T42" fmla="*/ 8 w 120"/>
                <a:gd name="T43" fmla="*/ 120 h 121"/>
                <a:gd name="T44" fmla="*/ 12 w 120"/>
                <a:gd name="T45" fmla="*/ 120 h 121"/>
                <a:gd name="T46" fmla="*/ 15 w 120"/>
                <a:gd name="T47" fmla="*/ 121 h 121"/>
                <a:gd name="T48" fmla="*/ 105 w 120"/>
                <a:gd name="T49" fmla="*/ 121 h 121"/>
                <a:gd name="T50" fmla="*/ 108 w 120"/>
                <a:gd name="T51" fmla="*/ 120 h 121"/>
                <a:gd name="T52" fmla="*/ 110 w 120"/>
                <a:gd name="T53" fmla="*/ 120 h 121"/>
                <a:gd name="T54" fmla="*/ 114 w 120"/>
                <a:gd name="T55" fmla="*/ 118 h 121"/>
                <a:gd name="T56" fmla="*/ 116 w 120"/>
                <a:gd name="T57" fmla="*/ 116 h 121"/>
                <a:gd name="T58" fmla="*/ 118 w 120"/>
                <a:gd name="T59" fmla="*/ 113 h 121"/>
                <a:gd name="T60" fmla="*/ 119 w 120"/>
                <a:gd name="T61" fmla="*/ 111 h 121"/>
                <a:gd name="T62" fmla="*/ 120 w 120"/>
                <a:gd name="T63" fmla="*/ 108 h 121"/>
                <a:gd name="T64" fmla="*/ 120 w 120"/>
                <a:gd name="T65" fmla="*/ 106 h 121"/>
                <a:gd name="T66" fmla="*/ 120 w 120"/>
                <a:gd name="T67" fmla="*/ 15 h 121"/>
                <a:gd name="T68" fmla="*/ 120 w 120"/>
                <a:gd name="T69" fmla="*/ 12 h 121"/>
                <a:gd name="T70" fmla="*/ 119 w 120"/>
                <a:gd name="T71" fmla="*/ 9 h 121"/>
                <a:gd name="T72" fmla="*/ 118 w 120"/>
                <a:gd name="T73" fmla="*/ 7 h 121"/>
                <a:gd name="T74" fmla="*/ 116 w 120"/>
                <a:gd name="T75" fmla="*/ 5 h 121"/>
                <a:gd name="T76" fmla="*/ 114 w 120"/>
                <a:gd name="T77" fmla="*/ 3 h 121"/>
                <a:gd name="T78" fmla="*/ 110 w 120"/>
                <a:gd name="T79" fmla="*/ 2 h 121"/>
                <a:gd name="T80" fmla="*/ 108 w 120"/>
                <a:gd name="T81" fmla="*/ 1 h 121"/>
                <a:gd name="T82" fmla="*/ 105 w 120"/>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90" y="91"/>
                  </a:moveTo>
                  <a:lnTo>
                    <a:pt x="30" y="91"/>
                  </a:lnTo>
                  <a:lnTo>
                    <a:pt x="30" y="30"/>
                  </a:lnTo>
                  <a:lnTo>
                    <a:pt x="90" y="30"/>
                  </a:lnTo>
                  <a:lnTo>
                    <a:pt x="90" y="91"/>
                  </a:lnTo>
                  <a:close/>
                  <a:moveTo>
                    <a:pt x="105" y="0"/>
                  </a:moveTo>
                  <a:lnTo>
                    <a:pt x="15" y="0"/>
                  </a:lnTo>
                  <a:lnTo>
                    <a:pt x="12" y="1"/>
                  </a:lnTo>
                  <a:lnTo>
                    <a:pt x="8" y="2"/>
                  </a:lnTo>
                  <a:lnTo>
                    <a:pt x="6" y="3"/>
                  </a:lnTo>
                  <a:lnTo>
                    <a:pt x="4" y="5"/>
                  </a:lnTo>
                  <a:lnTo>
                    <a:pt x="2" y="7"/>
                  </a:lnTo>
                  <a:lnTo>
                    <a:pt x="1" y="9"/>
                  </a:lnTo>
                  <a:lnTo>
                    <a:pt x="0" y="12"/>
                  </a:lnTo>
                  <a:lnTo>
                    <a:pt x="0" y="15"/>
                  </a:lnTo>
                  <a:lnTo>
                    <a:pt x="0" y="106"/>
                  </a:lnTo>
                  <a:lnTo>
                    <a:pt x="0" y="108"/>
                  </a:lnTo>
                  <a:lnTo>
                    <a:pt x="1" y="111"/>
                  </a:lnTo>
                  <a:lnTo>
                    <a:pt x="2" y="113"/>
                  </a:lnTo>
                  <a:lnTo>
                    <a:pt x="4" y="116"/>
                  </a:lnTo>
                  <a:lnTo>
                    <a:pt x="6" y="118"/>
                  </a:lnTo>
                  <a:lnTo>
                    <a:pt x="8" y="120"/>
                  </a:lnTo>
                  <a:lnTo>
                    <a:pt x="12" y="120"/>
                  </a:lnTo>
                  <a:lnTo>
                    <a:pt x="15" y="121"/>
                  </a:lnTo>
                  <a:lnTo>
                    <a:pt x="105" y="121"/>
                  </a:lnTo>
                  <a:lnTo>
                    <a:pt x="108" y="120"/>
                  </a:lnTo>
                  <a:lnTo>
                    <a:pt x="110" y="120"/>
                  </a:lnTo>
                  <a:lnTo>
                    <a:pt x="114" y="118"/>
                  </a:lnTo>
                  <a:lnTo>
                    <a:pt x="116" y="116"/>
                  </a:lnTo>
                  <a:lnTo>
                    <a:pt x="118" y="113"/>
                  </a:lnTo>
                  <a:lnTo>
                    <a:pt x="119" y="111"/>
                  </a:lnTo>
                  <a:lnTo>
                    <a:pt x="120" y="108"/>
                  </a:lnTo>
                  <a:lnTo>
                    <a:pt x="120" y="106"/>
                  </a:lnTo>
                  <a:lnTo>
                    <a:pt x="120" y="15"/>
                  </a:lnTo>
                  <a:lnTo>
                    <a:pt x="120" y="12"/>
                  </a:lnTo>
                  <a:lnTo>
                    <a:pt x="119" y="9"/>
                  </a:lnTo>
                  <a:lnTo>
                    <a:pt x="118" y="7"/>
                  </a:lnTo>
                  <a:lnTo>
                    <a:pt x="116" y="5"/>
                  </a:lnTo>
                  <a:lnTo>
                    <a:pt x="114" y="3"/>
                  </a:lnTo>
                  <a:lnTo>
                    <a:pt x="110" y="2"/>
                  </a:lnTo>
                  <a:lnTo>
                    <a:pt x="108"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08">
              <a:extLst>
                <a:ext uri="{FF2B5EF4-FFF2-40B4-BE49-F238E27FC236}">
                  <a16:creationId xmlns:a16="http://schemas.microsoft.com/office/drawing/2014/main" id="{52BD4F38-9319-4C01-AE1F-588B2865711A}"/>
                </a:ext>
              </a:extLst>
            </p:cNvPr>
            <p:cNvSpPr>
              <a:spLocks noEditPoints="1"/>
            </p:cNvSpPr>
            <p:nvPr/>
          </p:nvSpPr>
          <p:spPr bwMode="auto">
            <a:xfrm>
              <a:off x="10072688" y="142081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5 h 120"/>
                <a:gd name="T22" fmla="*/ 2 w 120"/>
                <a:gd name="T23" fmla="*/ 7 h 120"/>
                <a:gd name="T24" fmla="*/ 1 w 120"/>
                <a:gd name="T25" fmla="*/ 10 h 120"/>
                <a:gd name="T26" fmla="*/ 0 w 120"/>
                <a:gd name="T27" fmla="*/ 12 h 120"/>
                <a:gd name="T28" fmla="*/ 0 w 120"/>
                <a:gd name="T29" fmla="*/ 15 h 120"/>
                <a:gd name="T30" fmla="*/ 0 w 120"/>
                <a:gd name="T31" fmla="*/ 105 h 120"/>
                <a:gd name="T32" fmla="*/ 0 w 120"/>
                <a:gd name="T33" fmla="*/ 109 h 120"/>
                <a:gd name="T34" fmla="*/ 1 w 120"/>
                <a:gd name="T35" fmla="*/ 112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2 h 120"/>
                <a:gd name="T62" fmla="*/ 120 w 120"/>
                <a:gd name="T63" fmla="*/ 109 h 120"/>
                <a:gd name="T64" fmla="*/ 120 w 120"/>
                <a:gd name="T65" fmla="*/ 105 h 120"/>
                <a:gd name="T66" fmla="*/ 120 w 120"/>
                <a:gd name="T67" fmla="*/ 15 h 120"/>
                <a:gd name="T68" fmla="*/ 120 w 120"/>
                <a:gd name="T69" fmla="*/ 12 h 120"/>
                <a:gd name="T70" fmla="*/ 119 w 120"/>
                <a:gd name="T71" fmla="*/ 10 h 120"/>
                <a:gd name="T72" fmla="*/ 117 w 120"/>
                <a:gd name="T73" fmla="*/ 7 h 120"/>
                <a:gd name="T74" fmla="*/ 116 w 120"/>
                <a:gd name="T75" fmla="*/ 5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5"/>
                  </a:lnTo>
                  <a:lnTo>
                    <a:pt x="2" y="7"/>
                  </a:lnTo>
                  <a:lnTo>
                    <a:pt x="1" y="10"/>
                  </a:lnTo>
                  <a:lnTo>
                    <a:pt x="0" y="12"/>
                  </a:lnTo>
                  <a:lnTo>
                    <a:pt x="0" y="15"/>
                  </a:lnTo>
                  <a:lnTo>
                    <a:pt x="0" y="105"/>
                  </a:lnTo>
                  <a:lnTo>
                    <a:pt x="0" y="109"/>
                  </a:lnTo>
                  <a:lnTo>
                    <a:pt x="1" y="112"/>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2"/>
                  </a:lnTo>
                  <a:lnTo>
                    <a:pt x="120" y="109"/>
                  </a:lnTo>
                  <a:lnTo>
                    <a:pt x="120" y="105"/>
                  </a:lnTo>
                  <a:lnTo>
                    <a:pt x="120" y="15"/>
                  </a:lnTo>
                  <a:lnTo>
                    <a:pt x="120" y="12"/>
                  </a:lnTo>
                  <a:lnTo>
                    <a:pt x="119" y="10"/>
                  </a:lnTo>
                  <a:lnTo>
                    <a:pt x="117" y="7"/>
                  </a:lnTo>
                  <a:lnTo>
                    <a:pt x="116" y="5"/>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09">
              <a:extLst>
                <a:ext uri="{FF2B5EF4-FFF2-40B4-BE49-F238E27FC236}">
                  <a16:creationId xmlns:a16="http://schemas.microsoft.com/office/drawing/2014/main" id="{64414FAB-09F0-4F6B-8A08-FEF553422B47}"/>
                </a:ext>
              </a:extLst>
            </p:cNvPr>
            <p:cNvSpPr>
              <a:spLocks noEditPoints="1"/>
            </p:cNvSpPr>
            <p:nvPr/>
          </p:nvSpPr>
          <p:spPr bwMode="auto">
            <a:xfrm>
              <a:off x="9958388" y="142081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5 h 120"/>
                <a:gd name="T22" fmla="*/ 2 w 120"/>
                <a:gd name="T23" fmla="*/ 7 h 120"/>
                <a:gd name="T24" fmla="*/ 1 w 120"/>
                <a:gd name="T25" fmla="*/ 10 h 120"/>
                <a:gd name="T26" fmla="*/ 0 w 120"/>
                <a:gd name="T27" fmla="*/ 12 h 120"/>
                <a:gd name="T28" fmla="*/ 0 w 120"/>
                <a:gd name="T29" fmla="*/ 15 h 120"/>
                <a:gd name="T30" fmla="*/ 0 w 120"/>
                <a:gd name="T31" fmla="*/ 105 h 120"/>
                <a:gd name="T32" fmla="*/ 0 w 120"/>
                <a:gd name="T33" fmla="*/ 109 h 120"/>
                <a:gd name="T34" fmla="*/ 1 w 120"/>
                <a:gd name="T35" fmla="*/ 112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2 h 120"/>
                <a:gd name="T62" fmla="*/ 120 w 120"/>
                <a:gd name="T63" fmla="*/ 109 h 120"/>
                <a:gd name="T64" fmla="*/ 120 w 120"/>
                <a:gd name="T65" fmla="*/ 105 h 120"/>
                <a:gd name="T66" fmla="*/ 120 w 120"/>
                <a:gd name="T67" fmla="*/ 15 h 120"/>
                <a:gd name="T68" fmla="*/ 120 w 120"/>
                <a:gd name="T69" fmla="*/ 12 h 120"/>
                <a:gd name="T70" fmla="*/ 119 w 120"/>
                <a:gd name="T71" fmla="*/ 10 h 120"/>
                <a:gd name="T72" fmla="*/ 118 w 120"/>
                <a:gd name="T73" fmla="*/ 7 h 120"/>
                <a:gd name="T74" fmla="*/ 116 w 120"/>
                <a:gd name="T75" fmla="*/ 5 h 120"/>
                <a:gd name="T76" fmla="*/ 114 w 120"/>
                <a:gd name="T77" fmla="*/ 2 h 120"/>
                <a:gd name="T78" fmla="*/ 110 w 120"/>
                <a:gd name="T79" fmla="*/ 1 h 120"/>
                <a:gd name="T80" fmla="*/ 108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5"/>
                  </a:lnTo>
                  <a:lnTo>
                    <a:pt x="2" y="7"/>
                  </a:lnTo>
                  <a:lnTo>
                    <a:pt x="1" y="10"/>
                  </a:lnTo>
                  <a:lnTo>
                    <a:pt x="0" y="12"/>
                  </a:lnTo>
                  <a:lnTo>
                    <a:pt x="0" y="15"/>
                  </a:lnTo>
                  <a:lnTo>
                    <a:pt x="0" y="105"/>
                  </a:lnTo>
                  <a:lnTo>
                    <a:pt x="0" y="109"/>
                  </a:lnTo>
                  <a:lnTo>
                    <a:pt x="1" y="112"/>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2"/>
                  </a:lnTo>
                  <a:lnTo>
                    <a:pt x="120" y="109"/>
                  </a:lnTo>
                  <a:lnTo>
                    <a:pt x="120" y="105"/>
                  </a:lnTo>
                  <a:lnTo>
                    <a:pt x="120" y="15"/>
                  </a:lnTo>
                  <a:lnTo>
                    <a:pt x="120" y="12"/>
                  </a:lnTo>
                  <a:lnTo>
                    <a:pt x="119" y="10"/>
                  </a:lnTo>
                  <a:lnTo>
                    <a:pt x="118" y="7"/>
                  </a:lnTo>
                  <a:lnTo>
                    <a:pt x="116" y="5"/>
                  </a:lnTo>
                  <a:lnTo>
                    <a:pt x="114" y="2"/>
                  </a:lnTo>
                  <a:lnTo>
                    <a:pt x="110"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64" name="Group 70">
            <a:extLst>
              <a:ext uri="{FF2B5EF4-FFF2-40B4-BE49-F238E27FC236}">
                <a16:creationId xmlns:a16="http://schemas.microsoft.com/office/drawing/2014/main" id="{FFF2A7E2-E64F-4C68-8C43-CCDDF1AC2717}"/>
              </a:ext>
            </a:extLst>
          </p:cNvPr>
          <p:cNvGrpSpPr>
            <a:grpSpLocks noChangeAspect="1"/>
          </p:cNvGrpSpPr>
          <p:nvPr/>
        </p:nvGrpSpPr>
        <p:grpSpPr>
          <a:xfrm>
            <a:off x="6156485" y="3263433"/>
            <a:ext cx="345915" cy="285619"/>
            <a:chOff x="7726363" y="1871663"/>
            <a:chExt cx="346076" cy="285751"/>
          </a:xfrm>
          <a:noFill/>
          <a:effectLst/>
        </p:grpSpPr>
        <p:sp>
          <p:nvSpPr>
            <p:cNvPr id="1765" name="Freeform 308">
              <a:extLst>
                <a:ext uri="{FF2B5EF4-FFF2-40B4-BE49-F238E27FC236}">
                  <a16:creationId xmlns:a16="http://schemas.microsoft.com/office/drawing/2014/main" id="{4D9BBBC2-102D-4B54-9E58-2353DE7D2FFB}"/>
                </a:ext>
              </a:extLst>
            </p:cNvPr>
            <p:cNvSpPr>
              <a:spLocks/>
            </p:cNvSpPr>
            <p:nvPr/>
          </p:nvSpPr>
          <p:spPr bwMode="auto">
            <a:xfrm>
              <a:off x="7756526" y="2036763"/>
              <a:ext cx="285750" cy="120650"/>
            </a:xfrm>
            <a:custGeom>
              <a:avLst/>
              <a:gdLst>
                <a:gd name="T0" fmla="*/ 57 w 180"/>
                <a:gd name="T1" fmla="*/ 0 h 76"/>
                <a:gd name="T2" fmla="*/ 0 w 180"/>
                <a:gd name="T3" fmla="*/ 0 h 76"/>
                <a:gd name="T4" fmla="*/ 0 w 180"/>
                <a:gd name="T5" fmla="*/ 76 h 76"/>
                <a:gd name="T6" fmla="*/ 180 w 180"/>
                <a:gd name="T7" fmla="*/ 76 h 76"/>
                <a:gd name="T8" fmla="*/ 180 w 180"/>
                <a:gd name="T9" fmla="*/ 0 h 76"/>
                <a:gd name="T10" fmla="*/ 123 w 180"/>
                <a:gd name="T11" fmla="*/ 0 h 76"/>
              </a:gdLst>
              <a:ahLst/>
              <a:cxnLst>
                <a:cxn ang="0">
                  <a:pos x="T0" y="T1"/>
                </a:cxn>
                <a:cxn ang="0">
                  <a:pos x="T2" y="T3"/>
                </a:cxn>
                <a:cxn ang="0">
                  <a:pos x="T4" y="T5"/>
                </a:cxn>
                <a:cxn ang="0">
                  <a:pos x="T6" y="T7"/>
                </a:cxn>
                <a:cxn ang="0">
                  <a:pos x="T8" y="T9"/>
                </a:cxn>
                <a:cxn ang="0">
                  <a:pos x="T10" y="T11"/>
                </a:cxn>
              </a:cxnLst>
              <a:rect l="0" t="0" r="r" b="b"/>
              <a:pathLst>
                <a:path w="180" h="76">
                  <a:moveTo>
                    <a:pt x="57" y="0"/>
                  </a:moveTo>
                  <a:lnTo>
                    <a:pt x="0" y="0"/>
                  </a:lnTo>
                  <a:lnTo>
                    <a:pt x="0" y="76"/>
                  </a:lnTo>
                  <a:lnTo>
                    <a:pt x="180" y="76"/>
                  </a:lnTo>
                  <a:lnTo>
                    <a:pt x="180" y="0"/>
                  </a:lnTo>
                  <a:lnTo>
                    <a:pt x="123" y="0"/>
                  </a:lnTo>
                </a:path>
              </a:pathLst>
            </a:cu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6" name="Freeform 309">
              <a:extLst>
                <a:ext uri="{FF2B5EF4-FFF2-40B4-BE49-F238E27FC236}">
                  <a16:creationId xmlns:a16="http://schemas.microsoft.com/office/drawing/2014/main" id="{68F0CC1E-22A1-4C3C-BC9E-B3EBF42C813C}"/>
                </a:ext>
              </a:extLst>
            </p:cNvPr>
            <p:cNvSpPr>
              <a:spLocks/>
            </p:cNvSpPr>
            <p:nvPr/>
          </p:nvSpPr>
          <p:spPr bwMode="auto">
            <a:xfrm>
              <a:off x="7726363" y="1931988"/>
              <a:ext cx="139700" cy="104775"/>
            </a:xfrm>
            <a:custGeom>
              <a:avLst/>
              <a:gdLst>
                <a:gd name="T0" fmla="*/ 71 w 88"/>
                <a:gd name="T1" fmla="*/ 66 h 66"/>
                <a:gd name="T2" fmla="*/ 0 w 88"/>
                <a:gd name="T3" fmla="*/ 66 h 66"/>
                <a:gd name="T4" fmla="*/ 28 w 88"/>
                <a:gd name="T5" fmla="*/ 0 h 66"/>
                <a:gd name="T6" fmla="*/ 88 w 88"/>
                <a:gd name="T7" fmla="*/ 0 h 66"/>
              </a:gdLst>
              <a:ahLst/>
              <a:cxnLst>
                <a:cxn ang="0">
                  <a:pos x="T0" y="T1"/>
                </a:cxn>
                <a:cxn ang="0">
                  <a:pos x="T2" y="T3"/>
                </a:cxn>
                <a:cxn ang="0">
                  <a:pos x="T4" y="T5"/>
                </a:cxn>
                <a:cxn ang="0">
                  <a:pos x="T6" y="T7"/>
                </a:cxn>
              </a:cxnLst>
              <a:rect l="0" t="0" r="r" b="b"/>
              <a:pathLst>
                <a:path w="88" h="66">
                  <a:moveTo>
                    <a:pt x="71" y="66"/>
                  </a:moveTo>
                  <a:lnTo>
                    <a:pt x="0" y="66"/>
                  </a:lnTo>
                  <a:lnTo>
                    <a:pt x="28" y="0"/>
                  </a:lnTo>
                  <a:lnTo>
                    <a:pt x="88" y="0"/>
                  </a:lnTo>
                </a:path>
              </a:pathLst>
            </a:cu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7" name="Freeform 310">
              <a:extLst>
                <a:ext uri="{FF2B5EF4-FFF2-40B4-BE49-F238E27FC236}">
                  <a16:creationId xmlns:a16="http://schemas.microsoft.com/office/drawing/2014/main" id="{48E43131-14D6-4E84-9A38-D1CE2384107F}"/>
                </a:ext>
              </a:extLst>
            </p:cNvPr>
            <p:cNvSpPr>
              <a:spLocks/>
            </p:cNvSpPr>
            <p:nvPr/>
          </p:nvSpPr>
          <p:spPr bwMode="auto">
            <a:xfrm>
              <a:off x="7937501" y="1931988"/>
              <a:ext cx="134938" cy="104775"/>
            </a:xfrm>
            <a:custGeom>
              <a:avLst/>
              <a:gdLst>
                <a:gd name="T0" fmla="*/ 0 w 85"/>
                <a:gd name="T1" fmla="*/ 0 h 66"/>
                <a:gd name="T2" fmla="*/ 56 w 85"/>
                <a:gd name="T3" fmla="*/ 0 h 66"/>
                <a:gd name="T4" fmla="*/ 85 w 85"/>
                <a:gd name="T5" fmla="*/ 66 h 66"/>
                <a:gd name="T6" fmla="*/ 14 w 85"/>
                <a:gd name="T7" fmla="*/ 66 h 66"/>
              </a:gdLst>
              <a:ahLst/>
              <a:cxnLst>
                <a:cxn ang="0">
                  <a:pos x="T0" y="T1"/>
                </a:cxn>
                <a:cxn ang="0">
                  <a:pos x="T2" y="T3"/>
                </a:cxn>
                <a:cxn ang="0">
                  <a:pos x="T4" y="T5"/>
                </a:cxn>
                <a:cxn ang="0">
                  <a:pos x="T6" y="T7"/>
                </a:cxn>
              </a:cxnLst>
              <a:rect l="0" t="0" r="r" b="b"/>
              <a:pathLst>
                <a:path w="85" h="66">
                  <a:moveTo>
                    <a:pt x="0" y="0"/>
                  </a:moveTo>
                  <a:lnTo>
                    <a:pt x="56" y="0"/>
                  </a:lnTo>
                  <a:lnTo>
                    <a:pt x="85" y="66"/>
                  </a:lnTo>
                  <a:lnTo>
                    <a:pt x="14" y="66"/>
                  </a:lnTo>
                </a:path>
              </a:pathLst>
            </a:cu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8" name="Rectangle 311">
              <a:extLst>
                <a:ext uri="{FF2B5EF4-FFF2-40B4-BE49-F238E27FC236}">
                  <a16:creationId xmlns:a16="http://schemas.microsoft.com/office/drawing/2014/main" id="{3FB0B57A-2A50-4823-9611-05D26D10CE4C}"/>
                </a:ext>
              </a:extLst>
            </p:cNvPr>
            <p:cNvSpPr>
              <a:spLocks noChangeArrowheads="1"/>
            </p:cNvSpPr>
            <p:nvPr/>
          </p:nvSpPr>
          <p:spPr bwMode="auto">
            <a:xfrm>
              <a:off x="7786688" y="1871663"/>
              <a:ext cx="30163" cy="60325"/>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9" name="Line 312">
              <a:extLst>
                <a:ext uri="{FF2B5EF4-FFF2-40B4-BE49-F238E27FC236}">
                  <a16:creationId xmlns:a16="http://schemas.microsoft.com/office/drawing/2014/main" id="{ED59375B-744F-46DE-8545-DDA5E6AABDE6}"/>
                </a:ext>
              </a:extLst>
            </p:cNvPr>
            <p:cNvSpPr>
              <a:spLocks noChangeShapeType="1"/>
            </p:cNvSpPr>
            <p:nvPr/>
          </p:nvSpPr>
          <p:spPr bwMode="auto">
            <a:xfrm>
              <a:off x="7770813" y="1871663"/>
              <a:ext cx="60325" cy="0"/>
            </a:xfrm>
            <a:prstGeom prst="line">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0" name="Rectangle 313">
              <a:extLst>
                <a:ext uri="{FF2B5EF4-FFF2-40B4-BE49-F238E27FC236}">
                  <a16:creationId xmlns:a16="http://schemas.microsoft.com/office/drawing/2014/main" id="{16DAC524-CC57-41A1-8643-83C24851521D}"/>
                </a:ext>
              </a:extLst>
            </p:cNvPr>
            <p:cNvSpPr>
              <a:spLocks noChangeArrowheads="1"/>
            </p:cNvSpPr>
            <p:nvPr/>
          </p:nvSpPr>
          <p:spPr bwMode="auto">
            <a:xfrm>
              <a:off x="7981951" y="1871663"/>
              <a:ext cx="30163" cy="60325"/>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1" name="Line 314">
              <a:extLst>
                <a:ext uri="{FF2B5EF4-FFF2-40B4-BE49-F238E27FC236}">
                  <a16:creationId xmlns:a16="http://schemas.microsoft.com/office/drawing/2014/main" id="{36CE6B83-4D2C-436A-80F5-DB094990201C}"/>
                </a:ext>
              </a:extLst>
            </p:cNvPr>
            <p:cNvSpPr>
              <a:spLocks noChangeShapeType="1"/>
            </p:cNvSpPr>
            <p:nvPr/>
          </p:nvSpPr>
          <p:spPr bwMode="auto">
            <a:xfrm>
              <a:off x="7966076" y="1871663"/>
              <a:ext cx="60325" cy="0"/>
            </a:xfrm>
            <a:prstGeom prst="line">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2" name="Rectangle 315">
              <a:extLst>
                <a:ext uri="{FF2B5EF4-FFF2-40B4-BE49-F238E27FC236}">
                  <a16:creationId xmlns:a16="http://schemas.microsoft.com/office/drawing/2014/main" id="{1AA2F543-E956-435A-84E9-7A152C9A0A59}"/>
                </a:ext>
              </a:extLst>
            </p:cNvPr>
            <p:cNvSpPr>
              <a:spLocks noChangeArrowheads="1"/>
            </p:cNvSpPr>
            <p:nvPr/>
          </p:nvSpPr>
          <p:spPr bwMode="auto">
            <a:xfrm>
              <a:off x="7847013" y="1992313"/>
              <a:ext cx="104775" cy="165100"/>
            </a:xfrm>
            <a:prstGeom prst="rect">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3" name="Freeform 316">
              <a:extLst>
                <a:ext uri="{FF2B5EF4-FFF2-40B4-BE49-F238E27FC236}">
                  <a16:creationId xmlns:a16="http://schemas.microsoft.com/office/drawing/2014/main" id="{557EE770-0062-411A-B18A-9CD1DCE71D54}"/>
                </a:ext>
              </a:extLst>
            </p:cNvPr>
            <p:cNvSpPr>
              <a:spLocks/>
            </p:cNvSpPr>
            <p:nvPr/>
          </p:nvSpPr>
          <p:spPr bwMode="auto">
            <a:xfrm>
              <a:off x="7816851" y="1885951"/>
              <a:ext cx="165100" cy="106363"/>
            </a:xfrm>
            <a:custGeom>
              <a:avLst/>
              <a:gdLst>
                <a:gd name="T0" fmla="*/ 52 w 104"/>
                <a:gd name="T1" fmla="*/ 0 h 67"/>
                <a:gd name="T2" fmla="*/ 104 w 104"/>
                <a:gd name="T3" fmla="*/ 67 h 67"/>
                <a:gd name="T4" fmla="*/ 0 w 104"/>
                <a:gd name="T5" fmla="*/ 67 h 67"/>
                <a:gd name="T6" fmla="*/ 52 w 104"/>
                <a:gd name="T7" fmla="*/ 0 h 67"/>
              </a:gdLst>
              <a:ahLst/>
              <a:cxnLst>
                <a:cxn ang="0">
                  <a:pos x="T0" y="T1"/>
                </a:cxn>
                <a:cxn ang="0">
                  <a:pos x="T2" y="T3"/>
                </a:cxn>
                <a:cxn ang="0">
                  <a:pos x="T4" y="T5"/>
                </a:cxn>
                <a:cxn ang="0">
                  <a:pos x="T6" y="T7"/>
                </a:cxn>
              </a:cxnLst>
              <a:rect l="0" t="0" r="r" b="b"/>
              <a:pathLst>
                <a:path w="104" h="67">
                  <a:moveTo>
                    <a:pt x="52" y="0"/>
                  </a:moveTo>
                  <a:lnTo>
                    <a:pt x="104" y="67"/>
                  </a:lnTo>
                  <a:lnTo>
                    <a:pt x="0" y="67"/>
                  </a:lnTo>
                  <a:lnTo>
                    <a:pt x="52" y="0"/>
                  </a:lnTo>
                  <a:close/>
                </a:path>
              </a:pathLst>
            </a:cu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4" name="Rectangle 317">
              <a:extLst>
                <a:ext uri="{FF2B5EF4-FFF2-40B4-BE49-F238E27FC236}">
                  <a16:creationId xmlns:a16="http://schemas.microsoft.com/office/drawing/2014/main" id="{9029114E-DA16-4AD9-8CAE-6B9B072DA588}"/>
                </a:ext>
              </a:extLst>
            </p:cNvPr>
            <p:cNvSpPr>
              <a:spLocks noChangeArrowheads="1"/>
            </p:cNvSpPr>
            <p:nvPr/>
          </p:nvSpPr>
          <p:spPr bwMode="auto">
            <a:xfrm>
              <a:off x="7981951" y="2066926"/>
              <a:ext cx="30163"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5" name="Rectangle 318">
              <a:extLst>
                <a:ext uri="{FF2B5EF4-FFF2-40B4-BE49-F238E27FC236}">
                  <a16:creationId xmlns:a16="http://schemas.microsoft.com/office/drawing/2014/main" id="{F645A4BC-C8C4-4AB8-B4CA-C16D892A9BA7}"/>
                </a:ext>
              </a:extLst>
            </p:cNvPr>
            <p:cNvSpPr>
              <a:spLocks noChangeArrowheads="1"/>
            </p:cNvSpPr>
            <p:nvPr/>
          </p:nvSpPr>
          <p:spPr bwMode="auto">
            <a:xfrm>
              <a:off x="7786688" y="2066926"/>
              <a:ext cx="30163"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6" name="Rectangle 319">
              <a:extLst>
                <a:ext uri="{FF2B5EF4-FFF2-40B4-BE49-F238E27FC236}">
                  <a16:creationId xmlns:a16="http://schemas.microsoft.com/office/drawing/2014/main" id="{F0E00AF1-937A-4F42-9997-AD68F1E571F5}"/>
                </a:ext>
              </a:extLst>
            </p:cNvPr>
            <p:cNvSpPr>
              <a:spLocks noChangeArrowheads="1"/>
            </p:cNvSpPr>
            <p:nvPr/>
          </p:nvSpPr>
          <p:spPr bwMode="auto">
            <a:xfrm>
              <a:off x="7877176" y="2066926"/>
              <a:ext cx="44450" cy="90488"/>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77" name="Group 123">
            <a:extLst>
              <a:ext uri="{FF2B5EF4-FFF2-40B4-BE49-F238E27FC236}">
                <a16:creationId xmlns:a16="http://schemas.microsoft.com/office/drawing/2014/main" id="{29F83191-C6C5-4B59-9EE1-DFA52CEF34C8}"/>
              </a:ext>
            </a:extLst>
          </p:cNvPr>
          <p:cNvGrpSpPr>
            <a:grpSpLocks noChangeAspect="1"/>
          </p:cNvGrpSpPr>
          <p:nvPr/>
        </p:nvGrpSpPr>
        <p:grpSpPr>
          <a:xfrm>
            <a:off x="6637662" y="3263433"/>
            <a:ext cx="285618" cy="285619"/>
            <a:chOff x="2678113" y="2171701"/>
            <a:chExt cx="346075" cy="346076"/>
          </a:xfrm>
          <a:noFill/>
          <a:effectLst/>
        </p:grpSpPr>
        <p:sp>
          <p:nvSpPr>
            <p:cNvPr id="1778" name="Rectangle 61">
              <a:extLst>
                <a:ext uri="{FF2B5EF4-FFF2-40B4-BE49-F238E27FC236}">
                  <a16:creationId xmlns:a16="http://schemas.microsoft.com/office/drawing/2014/main" id="{087E62D4-8AAC-4D94-8127-B9D14D214EFF}"/>
                </a:ext>
              </a:extLst>
            </p:cNvPr>
            <p:cNvSpPr>
              <a:spLocks noChangeArrowheads="1"/>
            </p:cNvSpPr>
            <p:nvPr/>
          </p:nvSpPr>
          <p:spPr bwMode="auto">
            <a:xfrm>
              <a:off x="2708276" y="2276476"/>
              <a:ext cx="285750" cy="241300"/>
            </a:xfrm>
            <a:prstGeom prst="rect">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9" name="Line 62">
              <a:extLst>
                <a:ext uri="{FF2B5EF4-FFF2-40B4-BE49-F238E27FC236}">
                  <a16:creationId xmlns:a16="http://schemas.microsoft.com/office/drawing/2014/main" id="{266A76C1-AC3B-4770-9EF5-86F34F8F4168}"/>
                </a:ext>
              </a:extLst>
            </p:cNvPr>
            <p:cNvSpPr>
              <a:spLocks noChangeShapeType="1"/>
            </p:cNvSpPr>
            <p:nvPr/>
          </p:nvSpPr>
          <p:spPr bwMode="auto">
            <a:xfrm>
              <a:off x="2678113" y="2366964"/>
              <a:ext cx="346075" cy="0"/>
            </a:xfrm>
            <a:prstGeom prst="line">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0" name="Line 63">
              <a:extLst>
                <a:ext uri="{FF2B5EF4-FFF2-40B4-BE49-F238E27FC236}">
                  <a16:creationId xmlns:a16="http://schemas.microsoft.com/office/drawing/2014/main" id="{B97A38D1-BD6F-4924-9D35-83D480A7AC45}"/>
                </a:ext>
              </a:extLst>
            </p:cNvPr>
            <p:cNvSpPr>
              <a:spLocks noChangeShapeType="1"/>
            </p:cNvSpPr>
            <p:nvPr/>
          </p:nvSpPr>
          <p:spPr bwMode="auto">
            <a:xfrm>
              <a:off x="2678113" y="2276476"/>
              <a:ext cx="346075" cy="0"/>
            </a:xfrm>
            <a:prstGeom prst="line">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1" name="Line 64">
              <a:extLst>
                <a:ext uri="{FF2B5EF4-FFF2-40B4-BE49-F238E27FC236}">
                  <a16:creationId xmlns:a16="http://schemas.microsoft.com/office/drawing/2014/main" id="{CF385325-3AFF-47CB-9EE2-19EC94CAB8F3}"/>
                </a:ext>
              </a:extLst>
            </p:cNvPr>
            <p:cNvSpPr>
              <a:spLocks noChangeShapeType="1"/>
            </p:cNvSpPr>
            <p:nvPr/>
          </p:nvSpPr>
          <p:spPr bwMode="auto">
            <a:xfrm>
              <a:off x="2813051" y="2201864"/>
              <a:ext cx="74613" cy="0"/>
            </a:xfrm>
            <a:prstGeom prst="line">
              <a:avLst/>
            </a:pr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2" name="Freeform 65">
              <a:extLst>
                <a:ext uri="{FF2B5EF4-FFF2-40B4-BE49-F238E27FC236}">
                  <a16:creationId xmlns:a16="http://schemas.microsoft.com/office/drawing/2014/main" id="{887DABF3-3860-4F67-91E0-84E7057FC385}"/>
                </a:ext>
              </a:extLst>
            </p:cNvPr>
            <p:cNvSpPr>
              <a:spLocks/>
            </p:cNvSpPr>
            <p:nvPr/>
          </p:nvSpPr>
          <p:spPr bwMode="auto">
            <a:xfrm>
              <a:off x="2692401" y="2201864"/>
              <a:ext cx="315913" cy="74613"/>
            </a:xfrm>
            <a:custGeom>
              <a:avLst/>
              <a:gdLst>
                <a:gd name="T0" fmla="*/ 152 w 199"/>
                <a:gd name="T1" fmla="*/ 0 h 47"/>
                <a:gd name="T2" fmla="*/ 175 w 199"/>
                <a:gd name="T3" fmla="*/ 0 h 47"/>
                <a:gd name="T4" fmla="*/ 199 w 199"/>
                <a:gd name="T5" fmla="*/ 47 h 47"/>
                <a:gd name="T6" fmla="*/ 0 w 199"/>
                <a:gd name="T7" fmla="*/ 47 h 47"/>
                <a:gd name="T8" fmla="*/ 24 w 199"/>
                <a:gd name="T9" fmla="*/ 0 h 47"/>
                <a:gd name="T10" fmla="*/ 48 w 199"/>
                <a:gd name="T11" fmla="*/ 0 h 47"/>
              </a:gdLst>
              <a:ahLst/>
              <a:cxnLst>
                <a:cxn ang="0">
                  <a:pos x="T0" y="T1"/>
                </a:cxn>
                <a:cxn ang="0">
                  <a:pos x="T2" y="T3"/>
                </a:cxn>
                <a:cxn ang="0">
                  <a:pos x="T4" y="T5"/>
                </a:cxn>
                <a:cxn ang="0">
                  <a:pos x="T6" y="T7"/>
                </a:cxn>
                <a:cxn ang="0">
                  <a:pos x="T8" y="T9"/>
                </a:cxn>
                <a:cxn ang="0">
                  <a:pos x="T10" y="T11"/>
                </a:cxn>
              </a:cxnLst>
              <a:rect l="0" t="0" r="r" b="b"/>
              <a:pathLst>
                <a:path w="199" h="47">
                  <a:moveTo>
                    <a:pt x="152" y="0"/>
                  </a:moveTo>
                  <a:lnTo>
                    <a:pt x="175" y="0"/>
                  </a:lnTo>
                  <a:lnTo>
                    <a:pt x="199" y="47"/>
                  </a:lnTo>
                  <a:lnTo>
                    <a:pt x="0" y="47"/>
                  </a:lnTo>
                  <a:lnTo>
                    <a:pt x="24" y="0"/>
                  </a:lnTo>
                  <a:lnTo>
                    <a:pt x="48" y="0"/>
                  </a:lnTo>
                </a:path>
              </a:pathLst>
            </a:custGeom>
            <a:grpFill/>
            <a:ln w="12700" cap="rnd"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3" name="Rectangle 66">
              <a:extLst>
                <a:ext uri="{FF2B5EF4-FFF2-40B4-BE49-F238E27FC236}">
                  <a16:creationId xmlns:a16="http://schemas.microsoft.com/office/drawing/2014/main" id="{93F537EA-D85B-4AF4-B292-7F2C0746DBD8}"/>
                </a:ext>
              </a:extLst>
            </p:cNvPr>
            <p:cNvSpPr>
              <a:spLocks noChangeArrowheads="1"/>
            </p:cNvSpPr>
            <p:nvPr/>
          </p:nvSpPr>
          <p:spPr bwMode="auto">
            <a:xfrm>
              <a:off x="2933701" y="2306639"/>
              <a:ext cx="30163"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4" name="Rectangle 67">
              <a:extLst>
                <a:ext uri="{FF2B5EF4-FFF2-40B4-BE49-F238E27FC236}">
                  <a16:creationId xmlns:a16="http://schemas.microsoft.com/office/drawing/2014/main" id="{4725116C-6EA8-48E9-904C-71381DC761CB}"/>
                </a:ext>
              </a:extLst>
            </p:cNvPr>
            <p:cNvSpPr>
              <a:spLocks noChangeArrowheads="1"/>
            </p:cNvSpPr>
            <p:nvPr/>
          </p:nvSpPr>
          <p:spPr bwMode="auto">
            <a:xfrm>
              <a:off x="2873376" y="2306639"/>
              <a:ext cx="30163"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5" name="Rectangle 68">
              <a:extLst>
                <a:ext uri="{FF2B5EF4-FFF2-40B4-BE49-F238E27FC236}">
                  <a16:creationId xmlns:a16="http://schemas.microsoft.com/office/drawing/2014/main" id="{BAB4687B-320F-45BF-8F3C-52516041E1E2}"/>
                </a:ext>
              </a:extLst>
            </p:cNvPr>
            <p:cNvSpPr>
              <a:spLocks noChangeArrowheads="1"/>
            </p:cNvSpPr>
            <p:nvPr/>
          </p:nvSpPr>
          <p:spPr bwMode="auto">
            <a:xfrm>
              <a:off x="2798763" y="2306639"/>
              <a:ext cx="28575"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6" name="Rectangle 69">
              <a:extLst>
                <a:ext uri="{FF2B5EF4-FFF2-40B4-BE49-F238E27FC236}">
                  <a16:creationId xmlns:a16="http://schemas.microsoft.com/office/drawing/2014/main" id="{6D8D7BFC-5FA1-4F24-9DED-5BA893F780F5}"/>
                </a:ext>
              </a:extLst>
            </p:cNvPr>
            <p:cNvSpPr>
              <a:spLocks noChangeArrowheads="1"/>
            </p:cNvSpPr>
            <p:nvPr/>
          </p:nvSpPr>
          <p:spPr bwMode="auto">
            <a:xfrm>
              <a:off x="2738438" y="2306639"/>
              <a:ext cx="30163" cy="3016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7" name="Rectangle 70">
              <a:extLst>
                <a:ext uri="{FF2B5EF4-FFF2-40B4-BE49-F238E27FC236}">
                  <a16:creationId xmlns:a16="http://schemas.microsoft.com/office/drawing/2014/main" id="{48A5347C-BF8E-41EA-9598-71CECB254E3A}"/>
                </a:ext>
              </a:extLst>
            </p:cNvPr>
            <p:cNvSpPr>
              <a:spLocks noChangeArrowheads="1"/>
            </p:cNvSpPr>
            <p:nvPr/>
          </p:nvSpPr>
          <p:spPr bwMode="auto">
            <a:xfrm>
              <a:off x="2813051" y="2443164"/>
              <a:ext cx="74613" cy="7461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8" name="Rectangle 71">
              <a:extLst>
                <a:ext uri="{FF2B5EF4-FFF2-40B4-BE49-F238E27FC236}">
                  <a16:creationId xmlns:a16="http://schemas.microsoft.com/office/drawing/2014/main" id="{BAF31CB3-2C00-4F8C-8333-2F40DE956785}"/>
                </a:ext>
              </a:extLst>
            </p:cNvPr>
            <p:cNvSpPr>
              <a:spLocks noChangeArrowheads="1"/>
            </p:cNvSpPr>
            <p:nvPr/>
          </p:nvSpPr>
          <p:spPr bwMode="auto">
            <a:xfrm>
              <a:off x="2917826" y="2397126"/>
              <a:ext cx="46038" cy="46038"/>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9" name="Rectangle 72">
              <a:extLst>
                <a:ext uri="{FF2B5EF4-FFF2-40B4-BE49-F238E27FC236}">
                  <a16:creationId xmlns:a16="http://schemas.microsoft.com/office/drawing/2014/main" id="{B581591B-17C2-40DB-9D95-968BEC6A3B32}"/>
                </a:ext>
              </a:extLst>
            </p:cNvPr>
            <p:cNvSpPr>
              <a:spLocks noChangeArrowheads="1"/>
            </p:cNvSpPr>
            <p:nvPr/>
          </p:nvSpPr>
          <p:spPr bwMode="auto">
            <a:xfrm>
              <a:off x="2738438" y="2397126"/>
              <a:ext cx="44450" cy="46038"/>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90" name="Rectangle 73">
              <a:extLst>
                <a:ext uri="{FF2B5EF4-FFF2-40B4-BE49-F238E27FC236}">
                  <a16:creationId xmlns:a16="http://schemas.microsoft.com/office/drawing/2014/main" id="{16ED6202-9E8B-473B-A8A3-4A28102AA99C}"/>
                </a:ext>
              </a:extLst>
            </p:cNvPr>
            <p:cNvSpPr>
              <a:spLocks noChangeArrowheads="1"/>
            </p:cNvSpPr>
            <p:nvPr/>
          </p:nvSpPr>
          <p:spPr bwMode="auto">
            <a:xfrm>
              <a:off x="2887663" y="2171701"/>
              <a:ext cx="46038" cy="7461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91" name="Rectangle 74">
              <a:extLst>
                <a:ext uri="{FF2B5EF4-FFF2-40B4-BE49-F238E27FC236}">
                  <a16:creationId xmlns:a16="http://schemas.microsoft.com/office/drawing/2014/main" id="{E9DD27D4-521F-4AE8-9E38-B86CCC8C4D2B}"/>
                </a:ext>
              </a:extLst>
            </p:cNvPr>
            <p:cNvSpPr>
              <a:spLocks noChangeArrowheads="1"/>
            </p:cNvSpPr>
            <p:nvPr/>
          </p:nvSpPr>
          <p:spPr bwMode="auto">
            <a:xfrm>
              <a:off x="2768601" y="2171701"/>
              <a:ext cx="44450" cy="74613"/>
            </a:xfrm>
            <a:prstGeom prst="rect">
              <a:avLst/>
            </a:prstGeom>
            <a:grpFill/>
            <a:ln w="12700" cap="flat" cmpd="sng" algn="ctr">
              <a:solidFill>
                <a:schemeClr val="bg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15" name="Group 58">
            <a:extLst>
              <a:ext uri="{FF2B5EF4-FFF2-40B4-BE49-F238E27FC236}">
                <a16:creationId xmlns:a16="http://schemas.microsoft.com/office/drawing/2014/main" id="{47EC9AC9-0DF8-4688-84BC-C5C23CAD252E}"/>
              </a:ext>
            </a:extLst>
          </p:cNvPr>
          <p:cNvGrpSpPr>
            <a:grpSpLocks noChangeAspect="1"/>
          </p:cNvGrpSpPr>
          <p:nvPr/>
        </p:nvGrpSpPr>
        <p:grpSpPr>
          <a:xfrm>
            <a:off x="7064617" y="3263433"/>
            <a:ext cx="297095" cy="285619"/>
            <a:chOff x="6805613" y="922338"/>
            <a:chExt cx="369887" cy="355600"/>
          </a:xfrm>
          <a:solidFill>
            <a:schemeClr val="bg2"/>
          </a:solidFill>
        </p:grpSpPr>
        <p:sp>
          <p:nvSpPr>
            <p:cNvPr id="1816" name="Freeform 48">
              <a:extLst>
                <a:ext uri="{FF2B5EF4-FFF2-40B4-BE49-F238E27FC236}">
                  <a16:creationId xmlns:a16="http://schemas.microsoft.com/office/drawing/2014/main" id="{518EBF5A-C72E-4AC9-AEDA-91A3E483F972}"/>
                </a:ext>
              </a:extLst>
            </p:cNvPr>
            <p:cNvSpPr>
              <a:spLocks noEditPoints="1"/>
            </p:cNvSpPr>
            <p:nvPr/>
          </p:nvSpPr>
          <p:spPr bwMode="auto">
            <a:xfrm>
              <a:off x="6883400" y="1122363"/>
              <a:ext cx="92075" cy="155575"/>
            </a:xfrm>
            <a:custGeom>
              <a:avLst/>
              <a:gdLst>
                <a:gd name="T0" fmla="*/ 18 w 24"/>
                <a:gd name="T1" fmla="*/ 40 h 40"/>
                <a:gd name="T2" fmla="*/ 6 w 24"/>
                <a:gd name="T3" fmla="*/ 40 h 40"/>
                <a:gd name="T4" fmla="*/ 4 w 24"/>
                <a:gd name="T5" fmla="*/ 38 h 40"/>
                <a:gd name="T6" fmla="*/ 4 w 24"/>
                <a:gd name="T7" fmla="*/ 22 h 40"/>
                <a:gd name="T8" fmla="*/ 0 w 24"/>
                <a:gd name="T9" fmla="*/ 14 h 40"/>
                <a:gd name="T10" fmla="*/ 0 w 24"/>
                <a:gd name="T11" fmla="*/ 2 h 40"/>
                <a:gd name="T12" fmla="*/ 2 w 24"/>
                <a:gd name="T13" fmla="*/ 0 h 40"/>
                <a:gd name="T14" fmla="*/ 22 w 24"/>
                <a:gd name="T15" fmla="*/ 0 h 40"/>
                <a:gd name="T16" fmla="*/ 24 w 24"/>
                <a:gd name="T17" fmla="*/ 2 h 40"/>
                <a:gd name="T18" fmla="*/ 24 w 24"/>
                <a:gd name="T19" fmla="*/ 14 h 40"/>
                <a:gd name="T20" fmla="*/ 20 w 24"/>
                <a:gd name="T21" fmla="*/ 22 h 40"/>
                <a:gd name="T22" fmla="*/ 20 w 24"/>
                <a:gd name="T23" fmla="*/ 38 h 40"/>
                <a:gd name="T24" fmla="*/ 18 w 24"/>
                <a:gd name="T25" fmla="*/ 40 h 40"/>
                <a:gd name="T26" fmla="*/ 8 w 24"/>
                <a:gd name="T27" fmla="*/ 36 h 40"/>
                <a:gd name="T28" fmla="*/ 16 w 24"/>
                <a:gd name="T29" fmla="*/ 36 h 40"/>
                <a:gd name="T30" fmla="*/ 16 w 24"/>
                <a:gd name="T31" fmla="*/ 20 h 40"/>
                <a:gd name="T32" fmla="*/ 18 w 24"/>
                <a:gd name="T33" fmla="*/ 18 h 40"/>
                <a:gd name="T34" fmla="*/ 20 w 24"/>
                <a:gd name="T35" fmla="*/ 14 h 40"/>
                <a:gd name="T36" fmla="*/ 20 w 24"/>
                <a:gd name="T37" fmla="*/ 4 h 40"/>
                <a:gd name="T38" fmla="*/ 4 w 24"/>
                <a:gd name="T39" fmla="*/ 4 h 40"/>
                <a:gd name="T40" fmla="*/ 4 w 24"/>
                <a:gd name="T41" fmla="*/ 14 h 40"/>
                <a:gd name="T42" fmla="*/ 6 w 24"/>
                <a:gd name="T43" fmla="*/ 18 h 40"/>
                <a:gd name="T44" fmla="*/ 8 w 24"/>
                <a:gd name="T45" fmla="*/ 20 h 40"/>
                <a:gd name="T46" fmla="*/ 8 w 24"/>
                <a:gd name="T4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40">
                  <a:moveTo>
                    <a:pt x="18" y="40"/>
                  </a:moveTo>
                  <a:cubicBezTo>
                    <a:pt x="6" y="40"/>
                    <a:pt x="6" y="40"/>
                    <a:pt x="6" y="40"/>
                  </a:cubicBezTo>
                  <a:cubicBezTo>
                    <a:pt x="5" y="40"/>
                    <a:pt x="4" y="39"/>
                    <a:pt x="4" y="38"/>
                  </a:cubicBezTo>
                  <a:cubicBezTo>
                    <a:pt x="4" y="22"/>
                    <a:pt x="4" y="22"/>
                    <a:pt x="4" y="22"/>
                  </a:cubicBezTo>
                  <a:cubicBezTo>
                    <a:pt x="1" y="21"/>
                    <a:pt x="0" y="18"/>
                    <a:pt x="0" y="14"/>
                  </a:cubicBezTo>
                  <a:cubicBezTo>
                    <a:pt x="0" y="2"/>
                    <a:pt x="0" y="2"/>
                    <a:pt x="0" y="2"/>
                  </a:cubicBezTo>
                  <a:cubicBezTo>
                    <a:pt x="0" y="1"/>
                    <a:pt x="1" y="0"/>
                    <a:pt x="2" y="0"/>
                  </a:cubicBezTo>
                  <a:cubicBezTo>
                    <a:pt x="22" y="0"/>
                    <a:pt x="22" y="0"/>
                    <a:pt x="22" y="0"/>
                  </a:cubicBezTo>
                  <a:cubicBezTo>
                    <a:pt x="23" y="0"/>
                    <a:pt x="24" y="1"/>
                    <a:pt x="24" y="2"/>
                  </a:cubicBezTo>
                  <a:cubicBezTo>
                    <a:pt x="24" y="14"/>
                    <a:pt x="24" y="14"/>
                    <a:pt x="24" y="14"/>
                  </a:cubicBezTo>
                  <a:cubicBezTo>
                    <a:pt x="24" y="18"/>
                    <a:pt x="23" y="21"/>
                    <a:pt x="20" y="22"/>
                  </a:cubicBezTo>
                  <a:cubicBezTo>
                    <a:pt x="20" y="38"/>
                    <a:pt x="20" y="38"/>
                    <a:pt x="20" y="38"/>
                  </a:cubicBezTo>
                  <a:cubicBezTo>
                    <a:pt x="20" y="39"/>
                    <a:pt x="19" y="40"/>
                    <a:pt x="18" y="40"/>
                  </a:cubicBezTo>
                  <a:close/>
                  <a:moveTo>
                    <a:pt x="8" y="36"/>
                  </a:moveTo>
                  <a:cubicBezTo>
                    <a:pt x="16" y="36"/>
                    <a:pt x="16" y="36"/>
                    <a:pt x="16" y="36"/>
                  </a:cubicBezTo>
                  <a:cubicBezTo>
                    <a:pt x="16" y="20"/>
                    <a:pt x="16" y="20"/>
                    <a:pt x="16" y="20"/>
                  </a:cubicBezTo>
                  <a:cubicBezTo>
                    <a:pt x="16" y="19"/>
                    <a:pt x="17"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7" y="18"/>
                    <a:pt x="8" y="19"/>
                    <a:pt x="8" y="20"/>
                  </a:cubicBez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7" name="Freeform 49">
              <a:extLst>
                <a:ext uri="{FF2B5EF4-FFF2-40B4-BE49-F238E27FC236}">
                  <a16:creationId xmlns:a16="http://schemas.microsoft.com/office/drawing/2014/main" id="{4BC1C485-F91D-4AE9-95C9-73666AB96E40}"/>
                </a:ext>
              </a:extLst>
            </p:cNvPr>
            <p:cNvSpPr>
              <a:spLocks noEditPoints="1"/>
            </p:cNvSpPr>
            <p:nvPr/>
          </p:nvSpPr>
          <p:spPr bwMode="auto">
            <a:xfrm>
              <a:off x="6897688" y="1046163"/>
              <a:ext cx="61912"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8" name="Freeform 50">
              <a:extLst>
                <a:ext uri="{FF2B5EF4-FFF2-40B4-BE49-F238E27FC236}">
                  <a16:creationId xmlns:a16="http://schemas.microsoft.com/office/drawing/2014/main" id="{2EDA690B-66FB-4989-BD80-7605077A2D74}"/>
                </a:ext>
              </a:extLst>
            </p:cNvPr>
            <p:cNvSpPr>
              <a:spLocks noEditPoints="1"/>
            </p:cNvSpPr>
            <p:nvPr/>
          </p:nvSpPr>
          <p:spPr bwMode="auto">
            <a:xfrm>
              <a:off x="7005638" y="1122363"/>
              <a:ext cx="93662" cy="155575"/>
            </a:xfrm>
            <a:custGeom>
              <a:avLst/>
              <a:gdLst>
                <a:gd name="T0" fmla="*/ 18 w 24"/>
                <a:gd name="T1" fmla="*/ 40 h 40"/>
                <a:gd name="T2" fmla="*/ 6 w 24"/>
                <a:gd name="T3" fmla="*/ 40 h 40"/>
                <a:gd name="T4" fmla="*/ 4 w 24"/>
                <a:gd name="T5" fmla="*/ 38 h 40"/>
                <a:gd name="T6" fmla="*/ 4 w 24"/>
                <a:gd name="T7" fmla="*/ 22 h 40"/>
                <a:gd name="T8" fmla="*/ 0 w 24"/>
                <a:gd name="T9" fmla="*/ 14 h 40"/>
                <a:gd name="T10" fmla="*/ 0 w 24"/>
                <a:gd name="T11" fmla="*/ 2 h 40"/>
                <a:gd name="T12" fmla="*/ 2 w 24"/>
                <a:gd name="T13" fmla="*/ 0 h 40"/>
                <a:gd name="T14" fmla="*/ 22 w 24"/>
                <a:gd name="T15" fmla="*/ 0 h 40"/>
                <a:gd name="T16" fmla="*/ 24 w 24"/>
                <a:gd name="T17" fmla="*/ 2 h 40"/>
                <a:gd name="T18" fmla="*/ 24 w 24"/>
                <a:gd name="T19" fmla="*/ 14 h 40"/>
                <a:gd name="T20" fmla="*/ 20 w 24"/>
                <a:gd name="T21" fmla="*/ 22 h 40"/>
                <a:gd name="T22" fmla="*/ 20 w 24"/>
                <a:gd name="T23" fmla="*/ 38 h 40"/>
                <a:gd name="T24" fmla="*/ 18 w 24"/>
                <a:gd name="T25" fmla="*/ 40 h 40"/>
                <a:gd name="T26" fmla="*/ 8 w 24"/>
                <a:gd name="T27" fmla="*/ 36 h 40"/>
                <a:gd name="T28" fmla="*/ 16 w 24"/>
                <a:gd name="T29" fmla="*/ 36 h 40"/>
                <a:gd name="T30" fmla="*/ 16 w 24"/>
                <a:gd name="T31" fmla="*/ 20 h 40"/>
                <a:gd name="T32" fmla="*/ 18 w 24"/>
                <a:gd name="T33" fmla="*/ 18 h 40"/>
                <a:gd name="T34" fmla="*/ 20 w 24"/>
                <a:gd name="T35" fmla="*/ 14 h 40"/>
                <a:gd name="T36" fmla="*/ 20 w 24"/>
                <a:gd name="T37" fmla="*/ 4 h 40"/>
                <a:gd name="T38" fmla="*/ 4 w 24"/>
                <a:gd name="T39" fmla="*/ 4 h 40"/>
                <a:gd name="T40" fmla="*/ 4 w 24"/>
                <a:gd name="T41" fmla="*/ 14 h 40"/>
                <a:gd name="T42" fmla="*/ 6 w 24"/>
                <a:gd name="T43" fmla="*/ 18 h 40"/>
                <a:gd name="T44" fmla="*/ 8 w 24"/>
                <a:gd name="T45" fmla="*/ 20 h 40"/>
                <a:gd name="T46" fmla="*/ 8 w 24"/>
                <a:gd name="T4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40">
                  <a:moveTo>
                    <a:pt x="18" y="40"/>
                  </a:moveTo>
                  <a:cubicBezTo>
                    <a:pt x="6" y="40"/>
                    <a:pt x="6" y="40"/>
                    <a:pt x="6" y="40"/>
                  </a:cubicBezTo>
                  <a:cubicBezTo>
                    <a:pt x="5" y="40"/>
                    <a:pt x="4" y="39"/>
                    <a:pt x="4" y="38"/>
                  </a:cubicBezTo>
                  <a:cubicBezTo>
                    <a:pt x="4" y="22"/>
                    <a:pt x="4" y="22"/>
                    <a:pt x="4" y="22"/>
                  </a:cubicBezTo>
                  <a:cubicBezTo>
                    <a:pt x="1" y="21"/>
                    <a:pt x="0" y="18"/>
                    <a:pt x="0" y="14"/>
                  </a:cubicBezTo>
                  <a:cubicBezTo>
                    <a:pt x="0" y="2"/>
                    <a:pt x="0" y="2"/>
                    <a:pt x="0" y="2"/>
                  </a:cubicBezTo>
                  <a:cubicBezTo>
                    <a:pt x="0" y="1"/>
                    <a:pt x="1" y="0"/>
                    <a:pt x="2" y="0"/>
                  </a:cubicBezTo>
                  <a:cubicBezTo>
                    <a:pt x="22" y="0"/>
                    <a:pt x="22" y="0"/>
                    <a:pt x="22" y="0"/>
                  </a:cubicBezTo>
                  <a:cubicBezTo>
                    <a:pt x="23" y="0"/>
                    <a:pt x="24" y="1"/>
                    <a:pt x="24" y="2"/>
                  </a:cubicBezTo>
                  <a:cubicBezTo>
                    <a:pt x="24" y="14"/>
                    <a:pt x="24" y="14"/>
                    <a:pt x="24" y="14"/>
                  </a:cubicBezTo>
                  <a:cubicBezTo>
                    <a:pt x="24" y="18"/>
                    <a:pt x="23" y="21"/>
                    <a:pt x="20" y="22"/>
                  </a:cubicBezTo>
                  <a:cubicBezTo>
                    <a:pt x="20" y="38"/>
                    <a:pt x="20" y="38"/>
                    <a:pt x="20" y="38"/>
                  </a:cubicBezTo>
                  <a:cubicBezTo>
                    <a:pt x="20" y="39"/>
                    <a:pt x="19" y="40"/>
                    <a:pt x="18" y="40"/>
                  </a:cubicBezTo>
                  <a:close/>
                  <a:moveTo>
                    <a:pt x="8" y="36"/>
                  </a:moveTo>
                  <a:cubicBezTo>
                    <a:pt x="16" y="36"/>
                    <a:pt x="16" y="36"/>
                    <a:pt x="16" y="36"/>
                  </a:cubicBezTo>
                  <a:cubicBezTo>
                    <a:pt x="16" y="20"/>
                    <a:pt x="16" y="20"/>
                    <a:pt x="16" y="20"/>
                  </a:cubicBezTo>
                  <a:cubicBezTo>
                    <a:pt x="16" y="19"/>
                    <a:pt x="17"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7" y="18"/>
                    <a:pt x="8" y="19"/>
                    <a:pt x="8" y="20"/>
                  </a:cubicBez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9" name="Freeform 51">
              <a:extLst>
                <a:ext uri="{FF2B5EF4-FFF2-40B4-BE49-F238E27FC236}">
                  <a16:creationId xmlns:a16="http://schemas.microsoft.com/office/drawing/2014/main" id="{5865E0A7-5F55-41A1-B54F-1DB47F1DE741}"/>
                </a:ext>
              </a:extLst>
            </p:cNvPr>
            <p:cNvSpPr>
              <a:spLocks noEditPoints="1"/>
            </p:cNvSpPr>
            <p:nvPr/>
          </p:nvSpPr>
          <p:spPr bwMode="auto">
            <a:xfrm>
              <a:off x="7021513" y="1046163"/>
              <a:ext cx="61912"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0" name="Freeform 52">
              <a:extLst>
                <a:ext uri="{FF2B5EF4-FFF2-40B4-BE49-F238E27FC236}">
                  <a16:creationId xmlns:a16="http://schemas.microsoft.com/office/drawing/2014/main" id="{5759B8D6-0C15-4E89-AB67-3ABBAA5E2BB0}"/>
                </a:ext>
              </a:extLst>
            </p:cNvPr>
            <p:cNvSpPr>
              <a:spLocks/>
            </p:cNvSpPr>
            <p:nvPr/>
          </p:nvSpPr>
          <p:spPr bwMode="auto">
            <a:xfrm>
              <a:off x="6851650" y="1092200"/>
              <a:ext cx="15875" cy="185738"/>
            </a:xfrm>
            <a:custGeom>
              <a:avLst/>
              <a:gdLst>
                <a:gd name="T0" fmla="*/ 2 w 4"/>
                <a:gd name="T1" fmla="*/ 48 h 48"/>
                <a:gd name="T2" fmla="*/ 0 w 4"/>
                <a:gd name="T3" fmla="*/ 46 h 48"/>
                <a:gd name="T4" fmla="*/ 0 w 4"/>
                <a:gd name="T5" fmla="*/ 2 h 48"/>
                <a:gd name="T6" fmla="*/ 2 w 4"/>
                <a:gd name="T7" fmla="*/ 0 h 48"/>
                <a:gd name="T8" fmla="*/ 4 w 4"/>
                <a:gd name="T9" fmla="*/ 2 h 48"/>
                <a:gd name="T10" fmla="*/ 4 w 4"/>
                <a:gd name="T11" fmla="*/ 46 h 48"/>
                <a:gd name="T12" fmla="*/ 2 w 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 h="48">
                  <a:moveTo>
                    <a:pt x="2" y="48"/>
                  </a:moveTo>
                  <a:cubicBezTo>
                    <a:pt x="1" y="48"/>
                    <a:pt x="0" y="47"/>
                    <a:pt x="0" y="46"/>
                  </a:cubicBezTo>
                  <a:cubicBezTo>
                    <a:pt x="0" y="2"/>
                    <a:pt x="0" y="2"/>
                    <a:pt x="0" y="2"/>
                  </a:cubicBezTo>
                  <a:cubicBezTo>
                    <a:pt x="0" y="1"/>
                    <a:pt x="1" y="0"/>
                    <a:pt x="2" y="0"/>
                  </a:cubicBezTo>
                  <a:cubicBezTo>
                    <a:pt x="3" y="0"/>
                    <a:pt x="4" y="1"/>
                    <a:pt x="4" y="2"/>
                  </a:cubicBezTo>
                  <a:cubicBezTo>
                    <a:pt x="4" y="46"/>
                    <a:pt x="4" y="46"/>
                    <a:pt x="4" y="46"/>
                  </a:cubicBezTo>
                  <a:cubicBezTo>
                    <a:pt x="4" y="47"/>
                    <a:pt x="3"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1" name="Freeform 53">
              <a:extLst>
                <a:ext uri="{FF2B5EF4-FFF2-40B4-BE49-F238E27FC236}">
                  <a16:creationId xmlns:a16="http://schemas.microsoft.com/office/drawing/2014/main" id="{38B7285A-8872-4ACA-8A05-B142D5FC6250}"/>
                </a:ext>
              </a:extLst>
            </p:cNvPr>
            <p:cNvSpPr>
              <a:spLocks/>
            </p:cNvSpPr>
            <p:nvPr/>
          </p:nvSpPr>
          <p:spPr bwMode="auto">
            <a:xfrm>
              <a:off x="7113588" y="1092200"/>
              <a:ext cx="15875" cy="185738"/>
            </a:xfrm>
            <a:custGeom>
              <a:avLst/>
              <a:gdLst>
                <a:gd name="T0" fmla="*/ 2 w 4"/>
                <a:gd name="T1" fmla="*/ 48 h 48"/>
                <a:gd name="T2" fmla="*/ 0 w 4"/>
                <a:gd name="T3" fmla="*/ 46 h 48"/>
                <a:gd name="T4" fmla="*/ 0 w 4"/>
                <a:gd name="T5" fmla="*/ 2 h 48"/>
                <a:gd name="T6" fmla="*/ 2 w 4"/>
                <a:gd name="T7" fmla="*/ 0 h 48"/>
                <a:gd name="T8" fmla="*/ 4 w 4"/>
                <a:gd name="T9" fmla="*/ 2 h 48"/>
                <a:gd name="T10" fmla="*/ 4 w 4"/>
                <a:gd name="T11" fmla="*/ 46 h 48"/>
                <a:gd name="T12" fmla="*/ 2 w 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 h="48">
                  <a:moveTo>
                    <a:pt x="2" y="48"/>
                  </a:moveTo>
                  <a:cubicBezTo>
                    <a:pt x="1" y="48"/>
                    <a:pt x="0" y="47"/>
                    <a:pt x="0" y="46"/>
                  </a:cubicBezTo>
                  <a:cubicBezTo>
                    <a:pt x="0" y="2"/>
                    <a:pt x="0" y="2"/>
                    <a:pt x="0" y="2"/>
                  </a:cubicBezTo>
                  <a:cubicBezTo>
                    <a:pt x="0" y="1"/>
                    <a:pt x="1" y="0"/>
                    <a:pt x="2" y="0"/>
                  </a:cubicBezTo>
                  <a:cubicBezTo>
                    <a:pt x="3" y="0"/>
                    <a:pt x="4" y="1"/>
                    <a:pt x="4" y="2"/>
                  </a:cubicBezTo>
                  <a:cubicBezTo>
                    <a:pt x="4" y="46"/>
                    <a:pt x="4" y="46"/>
                    <a:pt x="4" y="46"/>
                  </a:cubicBezTo>
                  <a:cubicBezTo>
                    <a:pt x="4" y="47"/>
                    <a:pt x="3"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2" name="Freeform 54">
              <a:extLst>
                <a:ext uri="{FF2B5EF4-FFF2-40B4-BE49-F238E27FC236}">
                  <a16:creationId xmlns:a16="http://schemas.microsoft.com/office/drawing/2014/main" id="{53F23820-589F-419F-B808-05CE8AD3D8D1}"/>
                </a:ext>
              </a:extLst>
            </p:cNvPr>
            <p:cNvSpPr>
              <a:spLocks/>
            </p:cNvSpPr>
            <p:nvPr/>
          </p:nvSpPr>
          <p:spPr bwMode="auto">
            <a:xfrm>
              <a:off x="6805613" y="922338"/>
              <a:ext cx="369887" cy="177800"/>
            </a:xfrm>
            <a:custGeom>
              <a:avLst/>
              <a:gdLst>
                <a:gd name="T0" fmla="*/ 94 w 96"/>
                <a:gd name="T1" fmla="*/ 46 h 46"/>
                <a:gd name="T2" fmla="*/ 93 w 96"/>
                <a:gd name="T3" fmla="*/ 45 h 46"/>
                <a:gd name="T4" fmla="*/ 48 w 96"/>
                <a:gd name="T5" fmla="*/ 5 h 46"/>
                <a:gd name="T6" fmla="*/ 3 w 96"/>
                <a:gd name="T7" fmla="*/ 45 h 46"/>
                <a:gd name="T8" fmla="*/ 1 w 96"/>
                <a:gd name="T9" fmla="*/ 45 h 46"/>
                <a:gd name="T10" fmla="*/ 1 w 96"/>
                <a:gd name="T11" fmla="*/ 43 h 46"/>
                <a:gd name="T12" fmla="*/ 47 w 96"/>
                <a:gd name="T13" fmla="*/ 1 h 46"/>
                <a:gd name="T14" fmla="*/ 49 w 96"/>
                <a:gd name="T15" fmla="*/ 1 h 46"/>
                <a:gd name="T16" fmla="*/ 95 w 96"/>
                <a:gd name="T17" fmla="*/ 43 h 46"/>
                <a:gd name="T18" fmla="*/ 95 w 96"/>
                <a:gd name="T19" fmla="*/ 45 h 46"/>
                <a:gd name="T20" fmla="*/ 94 w 96"/>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46">
                  <a:moveTo>
                    <a:pt x="94" y="46"/>
                  </a:moveTo>
                  <a:cubicBezTo>
                    <a:pt x="94" y="46"/>
                    <a:pt x="93" y="46"/>
                    <a:pt x="93" y="45"/>
                  </a:cubicBezTo>
                  <a:cubicBezTo>
                    <a:pt x="48" y="5"/>
                    <a:pt x="48" y="5"/>
                    <a:pt x="48" y="5"/>
                  </a:cubicBezTo>
                  <a:cubicBezTo>
                    <a:pt x="3" y="45"/>
                    <a:pt x="3" y="45"/>
                    <a:pt x="3" y="45"/>
                  </a:cubicBezTo>
                  <a:cubicBezTo>
                    <a:pt x="3" y="46"/>
                    <a:pt x="1" y="46"/>
                    <a:pt x="1" y="45"/>
                  </a:cubicBezTo>
                  <a:cubicBezTo>
                    <a:pt x="0" y="45"/>
                    <a:pt x="0" y="43"/>
                    <a:pt x="1" y="43"/>
                  </a:cubicBezTo>
                  <a:cubicBezTo>
                    <a:pt x="47" y="1"/>
                    <a:pt x="47" y="1"/>
                    <a:pt x="47" y="1"/>
                  </a:cubicBezTo>
                  <a:cubicBezTo>
                    <a:pt x="47" y="0"/>
                    <a:pt x="49" y="0"/>
                    <a:pt x="49" y="1"/>
                  </a:cubicBezTo>
                  <a:cubicBezTo>
                    <a:pt x="95" y="43"/>
                    <a:pt x="95" y="43"/>
                    <a:pt x="95" y="43"/>
                  </a:cubicBezTo>
                  <a:cubicBezTo>
                    <a:pt x="96" y="43"/>
                    <a:pt x="96" y="45"/>
                    <a:pt x="95" y="45"/>
                  </a:cubicBezTo>
                  <a:cubicBezTo>
                    <a:pt x="95" y="46"/>
                    <a:pt x="95" y="46"/>
                    <a:pt x="9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158" name="Group 89">
            <a:extLst>
              <a:ext uri="{FF2B5EF4-FFF2-40B4-BE49-F238E27FC236}">
                <a16:creationId xmlns:a16="http://schemas.microsoft.com/office/drawing/2014/main" id="{51654BAD-4BD7-4D14-8B6F-0AAF54A73F73}"/>
              </a:ext>
            </a:extLst>
          </p:cNvPr>
          <p:cNvGrpSpPr>
            <a:grpSpLocks noChangeAspect="1"/>
          </p:cNvGrpSpPr>
          <p:nvPr/>
        </p:nvGrpSpPr>
        <p:grpSpPr>
          <a:xfrm>
            <a:off x="284400" y="1647825"/>
            <a:ext cx="287224" cy="285619"/>
            <a:chOff x="2041525" y="4192588"/>
            <a:chExt cx="284163" cy="282575"/>
          </a:xfrm>
          <a:solidFill>
            <a:schemeClr val="bg2"/>
          </a:solidFill>
          <a:effectLst/>
        </p:grpSpPr>
        <p:sp>
          <p:nvSpPr>
            <p:cNvPr id="1159" name="Freeform 224">
              <a:extLst>
                <a:ext uri="{FF2B5EF4-FFF2-40B4-BE49-F238E27FC236}">
                  <a16:creationId xmlns:a16="http://schemas.microsoft.com/office/drawing/2014/main" id="{87A85E7B-E6A8-4C1D-B560-5DA0B586BD16}"/>
                </a:ext>
              </a:extLst>
            </p:cNvPr>
            <p:cNvSpPr>
              <a:spLocks noEditPoints="1"/>
            </p:cNvSpPr>
            <p:nvPr/>
          </p:nvSpPr>
          <p:spPr bwMode="auto">
            <a:xfrm>
              <a:off x="2062163" y="4192588"/>
              <a:ext cx="263525" cy="263525"/>
            </a:xfrm>
            <a:custGeom>
              <a:avLst/>
              <a:gdLst>
                <a:gd name="T0" fmla="*/ 602 w 831"/>
                <a:gd name="T1" fmla="*/ 517 h 831"/>
                <a:gd name="T2" fmla="*/ 319 w 831"/>
                <a:gd name="T3" fmla="*/ 512 h 831"/>
                <a:gd name="T4" fmla="*/ 345 w 831"/>
                <a:gd name="T5" fmla="*/ 346 h 831"/>
                <a:gd name="T6" fmla="*/ 476 w 831"/>
                <a:gd name="T7" fmla="*/ 222 h 831"/>
                <a:gd name="T8" fmla="*/ 533 w 831"/>
                <a:gd name="T9" fmla="*/ 211 h 831"/>
                <a:gd name="T10" fmla="*/ 585 w 831"/>
                <a:gd name="T11" fmla="*/ 232 h 831"/>
                <a:gd name="T12" fmla="*/ 617 w 831"/>
                <a:gd name="T13" fmla="*/ 280 h 831"/>
                <a:gd name="T14" fmla="*/ 617 w 831"/>
                <a:gd name="T15" fmla="*/ 336 h 831"/>
                <a:gd name="T16" fmla="*/ 486 w 831"/>
                <a:gd name="T17" fmla="*/ 485 h 831"/>
                <a:gd name="T18" fmla="*/ 308 w 831"/>
                <a:gd name="T19" fmla="*/ 714 h 831"/>
                <a:gd name="T20" fmla="*/ 167 w 831"/>
                <a:gd name="T21" fmla="*/ 498 h 831"/>
                <a:gd name="T22" fmla="*/ 242 w 831"/>
                <a:gd name="T23" fmla="*/ 499 h 831"/>
                <a:gd name="T24" fmla="*/ 298 w 831"/>
                <a:gd name="T25" fmla="*/ 533 h 831"/>
                <a:gd name="T26" fmla="*/ 334 w 831"/>
                <a:gd name="T27" fmla="*/ 598 h 831"/>
                <a:gd name="T28" fmla="*/ 332 w 831"/>
                <a:gd name="T29" fmla="*/ 670 h 831"/>
                <a:gd name="T30" fmla="*/ 686 w 831"/>
                <a:gd name="T31" fmla="*/ 140 h 831"/>
                <a:gd name="T32" fmla="*/ 686 w 831"/>
                <a:gd name="T33" fmla="*/ 155 h 831"/>
                <a:gd name="T34" fmla="*/ 676 w 831"/>
                <a:gd name="T35" fmla="*/ 145 h 831"/>
                <a:gd name="T36" fmla="*/ 122 w 831"/>
                <a:gd name="T37" fmla="*/ 36 h 831"/>
                <a:gd name="T38" fmla="*/ 609 w 831"/>
                <a:gd name="T39" fmla="*/ 482 h 831"/>
                <a:gd name="T40" fmla="*/ 591 w 831"/>
                <a:gd name="T41" fmla="*/ 485 h 831"/>
                <a:gd name="T42" fmla="*/ 634 w 831"/>
                <a:gd name="T43" fmla="*/ 370 h 831"/>
                <a:gd name="T44" fmla="*/ 650 w 831"/>
                <a:gd name="T45" fmla="*/ 304 h 831"/>
                <a:gd name="T46" fmla="*/ 630 w 831"/>
                <a:gd name="T47" fmla="*/ 239 h 831"/>
                <a:gd name="T48" fmla="*/ 697 w 831"/>
                <a:gd name="T49" fmla="*/ 183 h 831"/>
                <a:gd name="T50" fmla="*/ 721 w 831"/>
                <a:gd name="T51" fmla="*/ 148 h 831"/>
                <a:gd name="T52" fmla="*/ 697 w 831"/>
                <a:gd name="T53" fmla="*/ 114 h 831"/>
                <a:gd name="T54" fmla="*/ 656 w 831"/>
                <a:gd name="T55" fmla="*/ 121 h 831"/>
                <a:gd name="T56" fmla="*/ 647 w 831"/>
                <a:gd name="T57" fmla="*/ 162 h 831"/>
                <a:gd name="T58" fmla="*/ 554 w 831"/>
                <a:gd name="T59" fmla="*/ 184 h 831"/>
                <a:gd name="T60" fmla="*/ 484 w 831"/>
                <a:gd name="T61" fmla="*/ 185 h 831"/>
                <a:gd name="T62" fmla="*/ 336 w 831"/>
                <a:gd name="T63" fmla="*/ 314 h 831"/>
                <a:gd name="T64" fmla="*/ 351 w 831"/>
                <a:gd name="T65" fmla="*/ 228 h 831"/>
                <a:gd name="T66" fmla="*/ 129 w 831"/>
                <a:gd name="T67" fmla="*/ 2 h 831"/>
                <a:gd name="T68" fmla="*/ 113 w 831"/>
                <a:gd name="T69" fmla="*/ 2 h 831"/>
                <a:gd name="T70" fmla="*/ 0 w 831"/>
                <a:gd name="T71" fmla="*/ 121 h 831"/>
                <a:gd name="T72" fmla="*/ 220 w 831"/>
                <a:gd name="T73" fmla="*/ 348 h 831"/>
                <a:gd name="T74" fmla="*/ 236 w 831"/>
                <a:gd name="T75" fmla="*/ 348 h 831"/>
                <a:gd name="T76" fmla="*/ 215 w 831"/>
                <a:gd name="T77" fmla="*/ 437 h 831"/>
                <a:gd name="T78" fmla="*/ 218 w 831"/>
                <a:gd name="T79" fmla="*/ 453 h 831"/>
                <a:gd name="T80" fmla="*/ 153 w 831"/>
                <a:gd name="T81" fmla="*/ 470 h 831"/>
                <a:gd name="T82" fmla="*/ 82 w 831"/>
                <a:gd name="T83" fmla="*/ 514 h 831"/>
                <a:gd name="T84" fmla="*/ 82 w 831"/>
                <a:gd name="T85" fmla="*/ 531 h 831"/>
                <a:gd name="T86" fmla="*/ 309 w 831"/>
                <a:gd name="T87" fmla="*/ 751 h 831"/>
                <a:gd name="T88" fmla="*/ 333 w 831"/>
                <a:gd name="T89" fmla="*/ 731 h 831"/>
                <a:gd name="T90" fmla="*/ 360 w 831"/>
                <a:gd name="T91" fmla="*/ 677 h 831"/>
                <a:gd name="T92" fmla="*/ 367 w 831"/>
                <a:gd name="T93" fmla="*/ 620 h 831"/>
                <a:gd name="T94" fmla="*/ 386 w 831"/>
                <a:gd name="T95" fmla="*/ 617 h 831"/>
                <a:gd name="T96" fmla="*/ 495 w 831"/>
                <a:gd name="T97" fmla="*/ 517 h 831"/>
                <a:gd name="T98" fmla="*/ 480 w 831"/>
                <a:gd name="T99" fmla="*/ 602 h 831"/>
                <a:gd name="T100" fmla="*/ 701 w 831"/>
                <a:gd name="T101" fmla="*/ 828 h 831"/>
                <a:gd name="T102" fmla="*/ 718 w 831"/>
                <a:gd name="T103" fmla="*/ 828 h 831"/>
                <a:gd name="T104" fmla="*/ 831 w 831"/>
                <a:gd name="T105" fmla="*/ 7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831">
                  <a:moveTo>
                    <a:pt x="709" y="795"/>
                  </a:moveTo>
                  <a:lnTo>
                    <a:pt x="517" y="602"/>
                  </a:lnTo>
                  <a:lnTo>
                    <a:pt x="559" y="560"/>
                  </a:lnTo>
                  <a:lnTo>
                    <a:pt x="559" y="560"/>
                  </a:lnTo>
                  <a:lnTo>
                    <a:pt x="559" y="560"/>
                  </a:lnTo>
                  <a:lnTo>
                    <a:pt x="602" y="517"/>
                  </a:lnTo>
                  <a:lnTo>
                    <a:pt x="795" y="709"/>
                  </a:lnTo>
                  <a:lnTo>
                    <a:pt x="709" y="795"/>
                  </a:lnTo>
                  <a:close/>
                  <a:moveTo>
                    <a:pt x="388" y="581"/>
                  </a:moveTo>
                  <a:lnTo>
                    <a:pt x="319" y="512"/>
                  </a:lnTo>
                  <a:lnTo>
                    <a:pt x="319" y="512"/>
                  </a:lnTo>
                  <a:lnTo>
                    <a:pt x="319" y="512"/>
                  </a:lnTo>
                  <a:lnTo>
                    <a:pt x="319" y="512"/>
                  </a:lnTo>
                  <a:lnTo>
                    <a:pt x="319" y="512"/>
                  </a:lnTo>
                  <a:lnTo>
                    <a:pt x="249" y="442"/>
                  </a:lnTo>
                  <a:lnTo>
                    <a:pt x="345" y="346"/>
                  </a:lnTo>
                  <a:lnTo>
                    <a:pt x="345" y="346"/>
                  </a:lnTo>
                  <a:lnTo>
                    <a:pt x="345" y="346"/>
                  </a:lnTo>
                  <a:lnTo>
                    <a:pt x="345" y="346"/>
                  </a:lnTo>
                  <a:lnTo>
                    <a:pt x="345" y="346"/>
                  </a:lnTo>
                  <a:lnTo>
                    <a:pt x="452" y="239"/>
                  </a:lnTo>
                  <a:lnTo>
                    <a:pt x="460" y="232"/>
                  </a:lnTo>
                  <a:lnTo>
                    <a:pt x="467" y="227"/>
                  </a:lnTo>
                  <a:lnTo>
                    <a:pt x="476" y="222"/>
                  </a:lnTo>
                  <a:lnTo>
                    <a:pt x="484" y="217"/>
                  </a:lnTo>
                  <a:lnTo>
                    <a:pt x="494" y="214"/>
                  </a:lnTo>
                  <a:lnTo>
                    <a:pt x="503" y="212"/>
                  </a:lnTo>
                  <a:lnTo>
                    <a:pt x="512" y="211"/>
                  </a:lnTo>
                  <a:lnTo>
                    <a:pt x="522" y="210"/>
                  </a:lnTo>
                  <a:lnTo>
                    <a:pt x="533" y="211"/>
                  </a:lnTo>
                  <a:lnTo>
                    <a:pt x="541" y="212"/>
                  </a:lnTo>
                  <a:lnTo>
                    <a:pt x="551" y="214"/>
                  </a:lnTo>
                  <a:lnTo>
                    <a:pt x="560" y="217"/>
                  </a:lnTo>
                  <a:lnTo>
                    <a:pt x="569" y="222"/>
                  </a:lnTo>
                  <a:lnTo>
                    <a:pt x="576" y="227"/>
                  </a:lnTo>
                  <a:lnTo>
                    <a:pt x="585" y="232"/>
                  </a:lnTo>
                  <a:lnTo>
                    <a:pt x="591" y="239"/>
                  </a:lnTo>
                  <a:lnTo>
                    <a:pt x="599" y="246"/>
                  </a:lnTo>
                  <a:lnTo>
                    <a:pt x="604" y="255"/>
                  </a:lnTo>
                  <a:lnTo>
                    <a:pt x="610" y="262"/>
                  </a:lnTo>
                  <a:lnTo>
                    <a:pt x="614" y="272"/>
                  </a:lnTo>
                  <a:lnTo>
                    <a:pt x="617" y="280"/>
                  </a:lnTo>
                  <a:lnTo>
                    <a:pt x="619" y="290"/>
                  </a:lnTo>
                  <a:lnTo>
                    <a:pt x="620" y="299"/>
                  </a:lnTo>
                  <a:lnTo>
                    <a:pt x="620" y="308"/>
                  </a:lnTo>
                  <a:lnTo>
                    <a:pt x="620" y="318"/>
                  </a:lnTo>
                  <a:lnTo>
                    <a:pt x="619" y="328"/>
                  </a:lnTo>
                  <a:lnTo>
                    <a:pt x="617" y="336"/>
                  </a:lnTo>
                  <a:lnTo>
                    <a:pt x="614" y="346"/>
                  </a:lnTo>
                  <a:lnTo>
                    <a:pt x="610" y="354"/>
                  </a:lnTo>
                  <a:lnTo>
                    <a:pt x="604" y="363"/>
                  </a:lnTo>
                  <a:lnTo>
                    <a:pt x="599" y="370"/>
                  </a:lnTo>
                  <a:lnTo>
                    <a:pt x="591" y="378"/>
                  </a:lnTo>
                  <a:lnTo>
                    <a:pt x="486" y="485"/>
                  </a:lnTo>
                  <a:lnTo>
                    <a:pt x="486" y="485"/>
                  </a:lnTo>
                  <a:lnTo>
                    <a:pt x="484" y="485"/>
                  </a:lnTo>
                  <a:lnTo>
                    <a:pt x="484" y="485"/>
                  </a:lnTo>
                  <a:lnTo>
                    <a:pt x="484" y="485"/>
                  </a:lnTo>
                  <a:lnTo>
                    <a:pt x="388" y="581"/>
                  </a:lnTo>
                  <a:close/>
                  <a:moveTo>
                    <a:pt x="308" y="714"/>
                  </a:moveTo>
                  <a:lnTo>
                    <a:pt x="117" y="523"/>
                  </a:lnTo>
                  <a:lnTo>
                    <a:pt x="126" y="516"/>
                  </a:lnTo>
                  <a:lnTo>
                    <a:pt x="136" y="510"/>
                  </a:lnTo>
                  <a:lnTo>
                    <a:pt x="145" y="505"/>
                  </a:lnTo>
                  <a:lnTo>
                    <a:pt x="156" y="501"/>
                  </a:lnTo>
                  <a:lnTo>
                    <a:pt x="167" y="498"/>
                  </a:lnTo>
                  <a:lnTo>
                    <a:pt x="179" y="494"/>
                  </a:lnTo>
                  <a:lnTo>
                    <a:pt x="190" y="493"/>
                  </a:lnTo>
                  <a:lnTo>
                    <a:pt x="202" y="493"/>
                  </a:lnTo>
                  <a:lnTo>
                    <a:pt x="215" y="493"/>
                  </a:lnTo>
                  <a:lnTo>
                    <a:pt x="229" y="496"/>
                  </a:lnTo>
                  <a:lnTo>
                    <a:pt x="242" y="499"/>
                  </a:lnTo>
                  <a:lnTo>
                    <a:pt x="253" y="503"/>
                  </a:lnTo>
                  <a:lnTo>
                    <a:pt x="265" y="509"/>
                  </a:lnTo>
                  <a:lnTo>
                    <a:pt x="277" y="516"/>
                  </a:lnTo>
                  <a:lnTo>
                    <a:pt x="288" y="523"/>
                  </a:lnTo>
                  <a:lnTo>
                    <a:pt x="298" y="533"/>
                  </a:lnTo>
                  <a:lnTo>
                    <a:pt x="298" y="533"/>
                  </a:lnTo>
                  <a:lnTo>
                    <a:pt x="307" y="543"/>
                  </a:lnTo>
                  <a:lnTo>
                    <a:pt x="314" y="552"/>
                  </a:lnTo>
                  <a:lnTo>
                    <a:pt x="321" y="564"/>
                  </a:lnTo>
                  <a:lnTo>
                    <a:pt x="326" y="575"/>
                  </a:lnTo>
                  <a:lnTo>
                    <a:pt x="330" y="586"/>
                  </a:lnTo>
                  <a:lnTo>
                    <a:pt x="334" y="598"/>
                  </a:lnTo>
                  <a:lnTo>
                    <a:pt x="337" y="610"/>
                  </a:lnTo>
                  <a:lnTo>
                    <a:pt x="338" y="622"/>
                  </a:lnTo>
                  <a:lnTo>
                    <a:pt x="338" y="635"/>
                  </a:lnTo>
                  <a:lnTo>
                    <a:pt x="337" y="646"/>
                  </a:lnTo>
                  <a:lnTo>
                    <a:pt x="335" y="658"/>
                  </a:lnTo>
                  <a:lnTo>
                    <a:pt x="332" y="670"/>
                  </a:lnTo>
                  <a:lnTo>
                    <a:pt x="327" y="682"/>
                  </a:lnTo>
                  <a:lnTo>
                    <a:pt x="322" y="693"/>
                  </a:lnTo>
                  <a:lnTo>
                    <a:pt x="315" y="704"/>
                  </a:lnTo>
                  <a:lnTo>
                    <a:pt x="308" y="714"/>
                  </a:lnTo>
                  <a:close/>
                  <a:moveTo>
                    <a:pt x="682" y="140"/>
                  </a:moveTo>
                  <a:lnTo>
                    <a:pt x="686" y="140"/>
                  </a:lnTo>
                  <a:lnTo>
                    <a:pt x="688" y="142"/>
                  </a:lnTo>
                  <a:lnTo>
                    <a:pt x="690" y="145"/>
                  </a:lnTo>
                  <a:lnTo>
                    <a:pt x="691" y="148"/>
                  </a:lnTo>
                  <a:lnTo>
                    <a:pt x="690" y="151"/>
                  </a:lnTo>
                  <a:lnTo>
                    <a:pt x="688" y="153"/>
                  </a:lnTo>
                  <a:lnTo>
                    <a:pt x="686" y="155"/>
                  </a:lnTo>
                  <a:lnTo>
                    <a:pt x="682" y="156"/>
                  </a:lnTo>
                  <a:lnTo>
                    <a:pt x="679" y="155"/>
                  </a:lnTo>
                  <a:lnTo>
                    <a:pt x="677" y="153"/>
                  </a:lnTo>
                  <a:lnTo>
                    <a:pt x="676" y="151"/>
                  </a:lnTo>
                  <a:lnTo>
                    <a:pt x="675" y="148"/>
                  </a:lnTo>
                  <a:lnTo>
                    <a:pt x="676" y="145"/>
                  </a:lnTo>
                  <a:lnTo>
                    <a:pt x="677" y="142"/>
                  </a:lnTo>
                  <a:lnTo>
                    <a:pt x="679" y="141"/>
                  </a:lnTo>
                  <a:lnTo>
                    <a:pt x="682" y="140"/>
                  </a:lnTo>
                  <a:close/>
                  <a:moveTo>
                    <a:pt x="229" y="314"/>
                  </a:moveTo>
                  <a:lnTo>
                    <a:pt x="36" y="121"/>
                  </a:lnTo>
                  <a:lnTo>
                    <a:pt x="122" y="36"/>
                  </a:lnTo>
                  <a:lnTo>
                    <a:pt x="314" y="228"/>
                  </a:lnTo>
                  <a:lnTo>
                    <a:pt x="229" y="314"/>
                  </a:lnTo>
                  <a:close/>
                  <a:moveTo>
                    <a:pt x="827" y="699"/>
                  </a:moveTo>
                  <a:lnTo>
                    <a:pt x="613" y="485"/>
                  </a:lnTo>
                  <a:lnTo>
                    <a:pt x="611" y="483"/>
                  </a:lnTo>
                  <a:lnTo>
                    <a:pt x="609" y="482"/>
                  </a:lnTo>
                  <a:lnTo>
                    <a:pt x="605" y="481"/>
                  </a:lnTo>
                  <a:lnTo>
                    <a:pt x="602" y="481"/>
                  </a:lnTo>
                  <a:lnTo>
                    <a:pt x="600" y="481"/>
                  </a:lnTo>
                  <a:lnTo>
                    <a:pt x="597" y="482"/>
                  </a:lnTo>
                  <a:lnTo>
                    <a:pt x="595" y="483"/>
                  </a:lnTo>
                  <a:lnTo>
                    <a:pt x="591" y="485"/>
                  </a:lnTo>
                  <a:lnTo>
                    <a:pt x="549" y="528"/>
                  </a:lnTo>
                  <a:lnTo>
                    <a:pt x="517" y="496"/>
                  </a:lnTo>
                  <a:lnTo>
                    <a:pt x="613" y="399"/>
                  </a:lnTo>
                  <a:lnTo>
                    <a:pt x="621" y="391"/>
                  </a:lnTo>
                  <a:lnTo>
                    <a:pt x="629" y="381"/>
                  </a:lnTo>
                  <a:lnTo>
                    <a:pt x="634" y="370"/>
                  </a:lnTo>
                  <a:lnTo>
                    <a:pt x="640" y="360"/>
                  </a:lnTo>
                  <a:lnTo>
                    <a:pt x="644" y="349"/>
                  </a:lnTo>
                  <a:lnTo>
                    <a:pt x="647" y="338"/>
                  </a:lnTo>
                  <a:lnTo>
                    <a:pt x="649" y="326"/>
                  </a:lnTo>
                  <a:lnTo>
                    <a:pt x="650" y="316"/>
                  </a:lnTo>
                  <a:lnTo>
                    <a:pt x="650" y="304"/>
                  </a:lnTo>
                  <a:lnTo>
                    <a:pt x="649" y="292"/>
                  </a:lnTo>
                  <a:lnTo>
                    <a:pt x="648" y="282"/>
                  </a:lnTo>
                  <a:lnTo>
                    <a:pt x="645" y="270"/>
                  </a:lnTo>
                  <a:lnTo>
                    <a:pt x="641" y="259"/>
                  </a:lnTo>
                  <a:lnTo>
                    <a:pt x="636" y="248"/>
                  </a:lnTo>
                  <a:lnTo>
                    <a:pt x="630" y="239"/>
                  </a:lnTo>
                  <a:lnTo>
                    <a:pt x="624" y="229"/>
                  </a:lnTo>
                  <a:lnTo>
                    <a:pt x="668" y="183"/>
                  </a:lnTo>
                  <a:lnTo>
                    <a:pt x="676" y="185"/>
                  </a:lnTo>
                  <a:lnTo>
                    <a:pt x="682" y="186"/>
                  </a:lnTo>
                  <a:lnTo>
                    <a:pt x="690" y="185"/>
                  </a:lnTo>
                  <a:lnTo>
                    <a:pt x="697" y="183"/>
                  </a:lnTo>
                  <a:lnTo>
                    <a:pt x="704" y="180"/>
                  </a:lnTo>
                  <a:lnTo>
                    <a:pt x="709" y="175"/>
                  </a:lnTo>
                  <a:lnTo>
                    <a:pt x="714" y="169"/>
                  </a:lnTo>
                  <a:lnTo>
                    <a:pt x="718" y="163"/>
                  </a:lnTo>
                  <a:lnTo>
                    <a:pt x="720" y="155"/>
                  </a:lnTo>
                  <a:lnTo>
                    <a:pt x="721" y="148"/>
                  </a:lnTo>
                  <a:lnTo>
                    <a:pt x="720" y="140"/>
                  </a:lnTo>
                  <a:lnTo>
                    <a:pt x="718" y="134"/>
                  </a:lnTo>
                  <a:lnTo>
                    <a:pt x="714" y="128"/>
                  </a:lnTo>
                  <a:lnTo>
                    <a:pt x="709" y="121"/>
                  </a:lnTo>
                  <a:lnTo>
                    <a:pt x="704" y="117"/>
                  </a:lnTo>
                  <a:lnTo>
                    <a:pt x="697" y="114"/>
                  </a:lnTo>
                  <a:lnTo>
                    <a:pt x="690" y="111"/>
                  </a:lnTo>
                  <a:lnTo>
                    <a:pt x="682" y="110"/>
                  </a:lnTo>
                  <a:lnTo>
                    <a:pt x="675" y="111"/>
                  </a:lnTo>
                  <a:lnTo>
                    <a:pt x="668" y="114"/>
                  </a:lnTo>
                  <a:lnTo>
                    <a:pt x="662" y="117"/>
                  </a:lnTo>
                  <a:lnTo>
                    <a:pt x="656" y="121"/>
                  </a:lnTo>
                  <a:lnTo>
                    <a:pt x="651" y="128"/>
                  </a:lnTo>
                  <a:lnTo>
                    <a:pt x="648" y="134"/>
                  </a:lnTo>
                  <a:lnTo>
                    <a:pt x="646" y="140"/>
                  </a:lnTo>
                  <a:lnTo>
                    <a:pt x="645" y="148"/>
                  </a:lnTo>
                  <a:lnTo>
                    <a:pt x="646" y="155"/>
                  </a:lnTo>
                  <a:lnTo>
                    <a:pt x="647" y="162"/>
                  </a:lnTo>
                  <a:lnTo>
                    <a:pt x="602" y="208"/>
                  </a:lnTo>
                  <a:lnTo>
                    <a:pt x="594" y="201"/>
                  </a:lnTo>
                  <a:lnTo>
                    <a:pt x="584" y="196"/>
                  </a:lnTo>
                  <a:lnTo>
                    <a:pt x="574" y="191"/>
                  </a:lnTo>
                  <a:lnTo>
                    <a:pt x="565" y="187"/>
                  </a:lnTo>
                  <a:lnTo>
                    <a:pt x="554" y="184"/>
                  </a:lnTo>
                  <a:lnTo>
                    <a:pt x="544" y="182"/>
                  </a:lnTo>
                  <a:lnTo>
                    <a:pt x="534" y="181"/>
                  </a:lnTo>
                  <a:lnTo>
                    <a:pt x="522" y="180"/>
                  </a:lnTo>
                  <a:lnTo>
                    <a:pt x="509" y="181"/>
                  </a:lnTo>
                  <a:lnTo>
                    <a:pt x="497" y="182"/>
                  </a:lnTo>
                  <a:lnTo>
                    <a:pt x="484" y="185"/>
                  </a:lnTo>
                  <a:lnTo>
                    <a:pt x="473" y="190"/>
                  </a:lnTo>
                  <a:lnTo>
                    <a:pt x="462" y="195"/>
                  </a:lnTo>
                  <a:lnTo>
                    <a:pt x="451" y="201"/>
                  </a:lnTo>
                  <a:lnTo>
                    <a:pt x="441" y="209"/>
                  </a:lnTo>
                  <a:lnTo>
                    <a:pt x="432" y="217"/>
                  </a:lnTo>
                  <a:lnTo>
                    <a:pt x="336" y="314"/>
                  </a:lnTo>
                  <a:lnTo>
                    <a:pt x="303" y="282"/>
                  </a:lnTo>
                  <a:lnTo>
                    <a:pt x="345" y="239"/>
                  </a:lnTo>
                  <a:lnTo>
                    <a:pt x="348" y="237"/>
                  </a:lnTo>
                  <a:lnTo>
                    <a:pt x="349" y="234"/>
                  </a:lnTo>
                  <a:lnTo>
                    <a:pt x="350" y="231"/>
                  </a:lnTo>
                  <a:lnTo>
                    <a:pt x="351" y="228"/>
                  </a:lnTo>
                  <a:lnTo>
                    <a:pt x="350" y="225"/>
                  </a:lnTo>
                  <a:lnTo>
                    <a:pt x="349" y="223"/>
                  </a:lnTo>
                  <a:lnTo>
                    <a:pt x="348" y="220"/>
                  </a:lnTo>
                  <a:lnTo>
                    <a:pt x="345" y="217"/>
                  </a:lnTo>
                  <a:lnTo>
                    <a:pt x="133" y="3"/>
                  </a:lnTo>
                  <a:lnTo>
                    <a:pt x="129" y="2"/>
                  </a:lnTo>
                  <a:lnTo>
                    <a:pt x="127" y="1"/>
                  </a:lnTo>
                  <a:lnTo>
                    <a:pt x="124" y="0"/>
                  </a:lnTo>
                  <a:lnTo>
                    <a:pt x="122" y="0"/>
                  </a:lnTo>
                  <a:lnTo>
                    <a:pt x="119" y="0"/>
                  </a:lnTo>
                  <a:lnTo>
                    <a:pt x="115" y="1"/>
                  </a:lnTo>
                  <a:lnTo>
                    <a:pt x="113" y="2"/>
                  </a:lnTo>
                  <a:lnTo>
                    <a:pt x="111" y="3"/>
                  </a:lnTo>
                  <a:lnTo>
                    <a:pt x="4" y="110"/>
                  </a:lnTo>
                  <a:lnTo>
                    <a:pt x="2" y="114"/>
                  </a:lnTo>
                  <a:lnTo>
                    <a:pt x="1" y="116"/>
                  </a:lnTo>
                  <a:lnTo>
                    <a:pt x="0" y="119"/>
                  </a:lnTo>
                  <a:lnTo>
                    <a:pt x="0" y="121"/>
                  </a:lnTo>
                  <a:lnTo>
                    <a:pt x="0" y="124"/>
                  </a:lnTo>
                  <a:lnTo>
                    <a:pt x="1" y="128"/>
                  </a:lnTo>
                  <a:lnTo>
                    <a:pt x="2" y="130"/>
                  </a:lnTo>
                  <a:lnTo>
                    <a:pt x="4" y="132"/>
                  </a:lnTo>
                  <a:lnTo>
                    <a:pt x="218" y="346"/>
                  </a:lnTo>
                  <a:lnTo>
                    <a:pt x="220" y="348"/>
                  </a:lnTo>
                  <a:lnTo>
                    <a:pt x="222" y="349"/>
                  </a:lnTo>
                  <a:lnTo>
                    <a:pt x="226" y="350"/>
                  </a:lnTo>
                  <a:lnTo>
                    <a:pt x="229" y="350"/>
                  </a:lnTo>
                  <a:lnTo>
                    <a:pt x="231" y="350"/>
                  </a:lnTo>
                  <a:lnTo>
                    <a:pt x="234" y="349"/>
                  </a:lnTo>
                  <a:lnTo>
                    <a:pt x="236" y="348"/>
                  </a:lnTo>
                  <a:lnTo>
                    <a:pt x="238" y="346"/>
                  </a:lnTo>
                  <a:lnTo>
                    <a:pt x="282" y="303"/>
                  </a:lnTo>
                  <a:lnTo>
                    <a:pt x="314" y="335"/>
                  </a:lnTo>
                  <a:lnTo>
                    <a:pt x="218" y="431"/>
                  </a:lnTo>
                  <a:lnTo>
                    <a:pt x="216" y="433"/>
                  </a:lnTo>
                  <a:lnTo>
                    <a:pt x="215" y="437"/>
                  </a:lnTo>
                  <a:lnTo>
                    <a:pt x="214" y="439"/>
                  </a:lnTo>
                  <a:lnTo>
                    <a:pt x="214" y="442"/>
                  </a:lnTo>
                  <a:lnTo>
                    <a:pt x="214" y="445"/>
                  </a:lnTo>
                  <a:lnTo>
                    <a:pt x="215" y="447"/>
                  </a:lnTo>
                  <a:lnTo>
                    <a:pt x="216" y="451"/>
                  </a:lnTo>
                  <a:lnTo>
                    <a:pt x="218" y="453"/>
                  </a:lnTo>
                  <a:lnTo>
                    <a:pt x="231" y="466"/>
                  </a:lnTo>
                  <a:lnTo>
                    <a:pt x="216" y="463"/>
                  </a:lnTo>
                  <a:lnTo>
                    <a:pt x="202" y="463"/>
                  </a:lnTo>
                  <a:lnTo>
                    <a:pt x="185" y="463"/>
                  </a:lnTo>
                  <a:lnTo>
                    <a:pt x="169" y="467"/>
                  </a:lnTo>
                  <a:lnTo>
                    <a:pt x="153" y="470"/>
                  </a:lnTo>
                  <a:lnTo>
                    <a:pt x="138" y="475"/>
                  </a:lnTo>
                  <a:lnTo>
                    <a:pt x="123" y="483"/>
                  </a:lnTo>
                  <a:lnTo>
                    <a:pt x="109" y="491"/>
                  </a:lnTo>
                  <a:lnTo>
                    <a:pt x="96" y="501"/>
                  </a:lnTo>
                  <a:lnTo>
                    <a:pt x="84" y="512"/>
                  </a:lnTo>
                  <a:lnTo>
                    <a:pt x="82" y="514"/>
                  </a:lnTo>
                  <a:lnTo>
                    <a:pt x="81" y="517"/>
                  </a:lnTo>
                  <a:lnTo>
                    <a:pt x="80" y="519"/>
                  </a:lnTo>
                  <a:lnTo>
                    <a:pt x="80" y="522"/>
                  </a:lnTo>
                  <a:lnTo>
                    <a:pt x="80" y="525"/>
                  </a:lnTo>
                  <a:lnTo>
                    <a:pt x="81" y="528"/>
                  </a:lnTo>
                  <a:lnTo>
                    <a:pt x="82" y="531"/>
                  </a:lnTo>
                  <a:lnTo>
                    <a:pt x="84" y="533"/>
                  </a:lnTo>
                  <a:lnTo>
                    <a:pt x="298" y="747"/>
                  </a:lnTo>
                  <a:lnTo>
                    <a:pt x="300" y="748"/>
                  </a:lnTo>
                  <a:lnTo>
                    <a:pt x="303" y="750"/>
                  </a:lnTo>
                  <a:lnTo>
                    <a:pt x="306" y="751"/>
                  </a:lnTo>
                  <a:lnTo>
                    <a:pt x="309" y="751"/>
                  </a:lnTo>
                  <a:lnTo>
                    <a:pt x="311" y="751"/>
                  </a:lnTo>
                  <a:lnTo>
                    <a:pt x="314" y="750"/>
                  </a:lnTo>
                  <a:lnTo>
                    <a:pt x="317" y="748"/>
                  </a:lnTo>
                  <a:lnTo>
                    <a:pt x="319" y="747"/>
                  </a:lnTo>
                  <a:lnTo>
                    <a:pt x="326" y="739"/>
                  </a:lnTo>
                  <a:lnTo>
                    <a:pt x="333" y="731"/>
                  </a:lnTo>
                  <a:lnTo>
                    <a:pt x="339" y="722"/>
                  </a:lnTo>
                  <a:lnTo>
                    <a:pt x="344" y="714"/>
                  </a:lnTo>
                  <a:lnTo>
                    <a:pt x="350" y="705"/>
                  </a:lnTo>
                  <a:lnTo>
                    <a:pt x="354" y="697"/>
                  </a:lnTo>
                  <a:lnTo>
                    <a:pt x="357" y="687"/>
                  </a:lnTo>
                  <a:lnTo>
                    <a:pt x="360" y="677"/>
                  </a:lnTo>
                  <a:lnTo>
                    <a:pt x="363" y="668"/>
                  </a:lnTo>
                  <a:lnTo>
                    <a:pt x="365" y="658"/>
                  </a:lnTo>
                  <a:lnTo>
                    <a:pt x="367" y="648"/>
                  </a:lnTo>
                  <a:lnTo>
                    <a:pt x="367" y="639"/>
                  </a:lnTo>
                  <a:lnTo>
                    <a:pt x="368" y="629"/>
                  </a:lnTo>
                  <a:lnTo>
                    <a:pt x="367" y="620"/>
                  </a:lnTo>
                  <a:lnTo>
                    <a:pt x="367" y="610"/>
                  </a:lnTo>
                  <a:lnTo>
                    <a:pt x="365" y="600"/>
                  </a:lnTo>
                  <a:lnTo>
                    <a:pt x="379" y="613"/>
                  </a:lnTo>
                  <a:lnTo>
                    <a:pt x="381" y="615"/>
                  </a:lnTo>
                  <a:lnTo>
                    <a:pt x="383" y="616"/>
                  </a:lnTo>
                  <a:lnTo>
                    <a:pt x="386" y="617"/>
                  </a:lnTo>
                  <a:lnTo>
                    <a:pt x="388" y="617"/>
                  </a:lnTo>
                  <a:lnTo>
                    <a:pt x="391" y="617"/>
                  </a:lnTo>
                  <a:lnTo>
                    <a:pt x="395" y="616"/>
                  </a:lnTo>
                  <a:lnTo>
                    <a:pt x="397" y="615"/>
                  </a:lnTo>
                  <a:lnTo>
                    <a:pt x="399" y="613"/>
                  </a:lnTo>
                  <a:lnTo>
                    <a:pt x="495" y="517"/>
                  </a:lnTo>
                  <a:lnTo>
                    <a:pt x="528" y="549"/>
                  </a:lnTo>
                  <a:lnTo>
                    <a:pt x="484" y="592"/>
                  </a:lnTo>
                  <a:lnTo>
                    <a:pt x="483" y="594"/>
                  </a:lnTo>
                  <a:lnTo>
                    <a:pt x="481" y="597"/>
                  </a:lnTo>
                  <a:lnTo>
                    <a:pt x="481" y="599"/>
                  </a:lnTo>
                  <a:lnTo>
                    <a:pt x="480" y="602"/>
                  </a:lnTo>
                  <a:lnTo>
                    <a:pt x="481" y="606"/>
                  </a:lnTo>
                  <a:lnTo>
                    <a:pt x="481" y="608"/>
                  </a:lnTo>
                  <a:lnTo>
                    <a:pt x="483" y="611"/>
                  </a:lnTo>
                  <a:lnTo>
                    <a:pt x="484" y="613"/>
                  </a:lnTo>
                  <a:lnTo>
                    <a:pt x="698" y="827"/>
                  </a:lnTo>
                  <a:lnTo>
                    <a:pt x="701" y="828"/>
                  </a:lnTo>
                  <a:lnTo>
                    <a:pt x="704" y="830"/>
                  </a:lnTo>
                  <a:lnTo>
                    <a:pt x="706" y="830"/>
                  </a:lnTo>
                  <a:lnTo>
                    <a:pt x="709" y="831"/>
                  </a:lnTo>
                  <a:lnTo>
                    <a:pt x="712" y="830"/>
                  </a:lnTo>
                  <a:lnTo>
                    <a:pt x="716" y="830"/>
                  </a:lnTo>
                  <a:lnTo>
                    <a:pt x="718" y="828"/>
                  </a:lnTo>
                  <a:lnTo>
                    <a:pt x="720" y="827"/>
                  </a:lnTo>
                  <a:lnTo>
                    <a:pt x="827" y="720"/>
                  </a:lnTo>
                  <a:lnTo>
                    <a:pt x="829" y="718"/>
                  </a:lnTo>
                  <a:lnTo>
                    <a:pt x="830" y="715"/>
                  </a:lnTo>
                  <a:lnTo>
                    <a:pt x="831" y="713"/>
                  </a:lnTo>
                  <a:lnTo>
                    <a:pt x="831" y="709"/>
                  </a:lnTo>
                  <a:lnTo>
                    <a:pt x="831" y="706"/>
                  </a:lnTo>
                  <a:lnTo>
                    <a:pt x="830" y="704"/>
                  </a:lnTo>
                  <a:lnTo>
                    <a:pt x="829" y="701"/>
                  </a:lnTo>
                  <a:lnTo>
                    <a:pt x="827"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0" name="Freeform 225">
              <a:extLst>
                <a:ext uri="{FF2B5EF4-FFF2-40B4-BE49-F238E27FC236}">
                  <a16:creationId xmlns:a16="http://schemas.microsoft.com/office/drawing/2014/main" id="{15305250-26AB-47BC-BD75-DD2C4A7FD54B}"/>
                </a:ext>
              </a:extLst>
            </p:cNvPr>
            <p:cNvSpPr>
              <a:spLocks/>
            </p:cNvSpPr>
            <p:nvPr/>
          </p:nvSpPr>
          <p:spPr bwMode="auto">
            <a:xfrm>
              <a:off x="2041525" y="4394200"/>
              <a:ext cx="82550" cy="80963"/>
            </a:xfrm>
            <a:custGeom>
              <a:avLst/>
              <a:gdLst>
                <a:gd name="T0" fmla="*/ 221 w 256"/>
                <a:gd name="T1" fmla="*/ 199 h 255"/>
                <a:gd name="T2" fmla="*/ 202 w 256"/>
                <a:gd name="T3" fmla="*/ 212 h 255"/>
                <a:gd name="T4" fmla="*/ 181 w 256"/>
                <a:gd name="T5" fmla="*/ 220 h 255"/>
                <a:gd name="T6" fmla="*/ 158 w 256"/>
                <a:gd name="T7" fmla="*/ 224 h 255"/>
                <a:gd name="T8" fmla="*/ 135 w 256"/>
                <a:gd name="T9" fmla="*/ 224 h 255"/>
                <a:gd name="T10" fmla="*/ 112 w 256"/>
                <a:gd name="T11" fmla="*/ 220 h 255"/>
                <a:gd name="T12" fmla="*/ 92 w 256"/>
                <a:gd name="T13" fmla="*/ 212 h 255"/>
                <a:gd name="T14" fmla="*/ 73 w 256"/>
                <a:gd name="T15" fmla="*/ 199 h 255"/>
                <a:gd name="T16" fmla="*/ 55 w 256"/>
                <a:gd name="T17" fmla="*/ 183 h 255"/>
                <a:gd name="T18" fmla="*/ 43 w 256"/>
                <a:gd name="T19" fmla="*/ 163 h 255"/>
                <a:gd name="T20" fmla="*/ 34 w 256"/>
                <a:gd name="T21" fmla="*/ 142 h 255"/>
                <a:gd name="T22" fmla="*/ 30 w 256"/>
                <a:gd name="T23" fmla="*/ 120 h 255"/>
                <a:gd name="T24" fmla="*/ 30 w 256"/>
                <a:gd name="T25" fmla="*/ 96 h 255"/>
                <a:gd name="T26" fmla="*/ 34 w 256"/>
                <a:gd name="T27" fmla="*/ 74 h 255"/>
                <a:gd name="T28" fmla="*/ 43 w 256"/>
                <a:gd name="T29" fmla="*/ 53 h 255"/>
                <a:gd name="T30" fmla="*/ 55 w 256"/>
                <a:gd name="T31" fmla="*/ 34 h 255"/>
                <a:gd name="T32" fmla="*/ 66 w 256"/>
                <a:gd name="T33" fmla="*/ 23 h 255"/>
                <a:gd name="T34" fmla="*/ 68 w 256"/>
                <a:gd name="T35" fmla="*/ 17 h 255"/>
                <a:gd name="T36" fmla="*/ 68 w 256"/>
                <a:gd name="T37" fmla="*/ 12 h 255"/>
                <a:gd name="T38" fmla="*/ 66 w 256"/>
                <a:gd name="T39" fmla="*/ 6 h 255"/>
                <a:gd name="T40" fmla="*/ 62 w 256"/>
                <a:gd name="T41" fmla="*/ 2 h 255"/>
                <a:gd name="T42" fmla="*/ 55 w 256"/>
                <a:gd name="T43" fmla="*/ 0 h 255"/>
                <a:gd name="T44" fmla="*/ 50 w 256"/>
                <a:gd name="T45" fmla="*/ 0 h 255"/>
                <a:gd name="T46" fmla="*/ 45 w 256"/>
                <a:gd name="T47" fmla="*/ 2 h 255"/>
                <a:gd name="T48" fmla="*/ 33 w 256"/>
                <a:gd name="T49" fmla="*/ 15 h 255"/>
                <a:gd name="T50" fmla="*/ 17 w 256"/>
                <a:gd name="T51" fmla="*/ 38 h 255"/>
                <a:gd name="T52" fmla="*/ 5 w 256"/>
                <a:gd name="T53" fmla="*/ 65 h 255"/>
                <a:gd name="T54" fmla="*/ 0 w 256"/>
                <a:gd name="T55" fmla="*/ 94 h 255"/>
                <a:gd name="T56" fmla="*/ 0 w 256"/>
                <a:gd name="T57" fmla="*/ 123 h 255"/>
                <a:gd name="T58" fmla="*/ 5 w 256"/>
                <a:gd name="T59" fmla="*/ 151 h 255"/>
                <a:gd name="T60" fmla="*/ 17 w 256"/>
                <a:gd name="T61" fmla="*/ 177 h 255"/>
                <a:gd name="T62" fmla="*/ 33 w 256"/>
                <a:gd name="T63" fmla="*/ 202 h 255"/>
                <a:gd name="T64" fmla="*/ 53 w 256"/>
                <a:gd name="T65" fmla="*/ 222 h 255"/>
                <a:gd name="T66" fmla="*/ 77 w 256"/>
                <a:gd name="T67" fmla="*/ 238 h 255"/>
                <a:gd name="T68" fmla="*/ 104 w 256"/>
                <a:gd name="T69" fmla="*/ 249 h 255"/>
                <a:gd name="T70" fmla="*/ 133 w 256"/>
                <a:gd name="T71" fmla="*/ 254 h 255"/>
                <a:gd name="T72" fmla="*/ 161 w 256"/>
                <a:gd name="T73" fmla="*/ 254 h 255"/>
                <a:gd name="T74" fmla="*/ 189 w 256"/>
                <a:gd name="T75" fmla="*/ 249 h 255"/>
                <a:gd name="T76" fmla="*/ 216 w 256"/>
                <a:gd name="T77" fmla="*/ 238 h 255"/>
                <a:gd name="T78" fmla="*/ 239 w 256"/>
                <a:gd name="T79" fmla="*/ 222 h 255"/>
                <a:gd name="T80" fmla="*/ 252 w 256"/>
                <a:gd name="T81" fmla="*/ 209 h 255"/>
                <a:gd name="T82" fmla="*/ 254 w 256"/>
                <a:gd name="T83" fmla="*/ 204 h 255"/>
                <a:gd name="T84" fmla="*/ 254 w 256"/>
                <a:gd name="T85" fmla="*/ 199 h 255"/>
                <a:gd name="T86" fmla="*/ 252 w 256"/>
                <a:gd name="T87" fmla="*/ 193 h 255"/>
                <a:gd name="T88" fmla="*/ 248 w 256"/>
                <a:gd name="T89" fmla="*/ 189 h 255"/>
                <a:gd name="T90" fmla="*/ 243 w 256"/>
                <a:gd name="T91" fmla="*/ 187 h 255"/>
                <a:gd name="T92" fmla="*/ 237 w 256"/>
                <a:gd name="T93" fmla="*/ 187 h 255"/>
                <a:gd name="T94" fmla="*/ 232 w 256"/>
                <a:gd name="T95" fmla="*/ 18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5">
                  <a:moveTo>
                    <a:pt x="230" y="191"/>
                  </a:moveTo>
                  <a:lnTo>
                    <a:pt x="221" y="199"/>
                  </a:lnTo>
                  <a:lnTo>
                    <a:pt x="212" y="206"/>
                  </a:lnTo>
                  <a:lnTo>
                    <a:pt x="202" y="212"/>
                  </a:lnTo>
                  <a:lnTo>
                    <a:pt x="191" y="217"/>
                  </a:lnTo>
                  <a:lnTo>
                    <a:pt x="181" y="220"/>
                  </a:lnTo>
                  <a:lnTo>
                    <a:pt x="170" y="223"/>
                  </a:lnTo>
                  <a:lnTo>
                    <a:pt x="158" y="224"/>
                  </a:lnTo>
                  <a:lnTo>
                    <a:pt x="146" y="225"/>
                  </a:lnTo>
                  <a:lnTo>
                    <a:pt x="135" y="224"/>
                  </a:lnTo>
                  <a:lnTo>
                    <a:pt x="124" y="223"/>
                  </a:lnTo>
                  <a:lnTo>
                    <a:pt x="112" y="220"/>
                  </a:lnTo>
                  <a:lnTo>
                    <a:pt x="101" y="217"/>
                  </a:lnTo>
                  <a:lnTo>
                    <a:pt x="92" y="212"/>
                  </a:lnTo>
                  <a:lnTo>
                    <a:pt x="81" y="206"/>
                  </a:lnTo>
                  <a:lnTo>
                    <a:pt x="73" y="199"/>
                  </a:lnTo>
                  <a:lnTo>
                    <a:pt x="64" y="191"/>
                  </a:lnTo>
                  <a:lnTo>
                    <a:pt x="55" y="183"/>
                  </a:lnTo>
                  <a:lnTo>
                    <a:pt x="49" y="173"/>
                  </a:lnTo>
                  <a:lnTo>
                    <a:pt x="43" y="163"/>
                  </a:lnTo>
                  <a:lnTo>
                    <a:pt x="38" y="153"/>
                  </a:lnTo>
                  <a:lnTo>
                    <a:pt x="34" y="142"/>
                  </a:lnTo>
                  <a:lnTo>
                    <a:pt x="32" y="131"/>
                  </a:lnTo>
                  <a:lnTo>
                    <a:pt x="30" y="120"/>
                  </a:lnTo>
                  <a:lnTo>
                    <a:pt x="30" y="108"/>
                  </a:lnTo>
                  <a:lnTo>
                    <a:pt x="30" y="96"/>
                  </a:lnTo>
                  <a:lnTo>
                    <a:pt x="32" y="85"/>
                  </a:lnTo>
                  <a:lnTo>
                    <a:pt x="34" y="74"/>
                  </a:lnTo>
                  <a:lnTo>
                    <a:pt x="38" y="63"/>
                  </a:lnTo>
                  <a:lnTo>
                    <a:pt x="43" y="53"/>
                  </a:lnTo>
                  <a:lnTo>
                    <a:pt x="49" y="43"/>
                  </a:lnTo>
                  <a:lnTo>
                    <a:pt x="55" y="34"/>
                  </a:lnTo>
                  <a:lnTo>
                    <a:pt x="64" y="25"/>
                  </a:lnTo>
                  <a:lnTo>
                    <a:pt x="66" y="23"/>
                  </a:lnTo>
                  <a:lnTo>
                    <a:pt x="67" y="20"/>
                  </a:lnTo>
                  <a:lnTo>
                    <a:pt x="68" y="17"/>
                  </a:lnTo>
                  <a:lnTo>
                    <a:pt x="68" y="15"/>
                  </a:lnTo>
                  <a:lnTo>
                    <a:pt x="68" y="12"/>
                  </a:lnTo>
                  <a:lnTo>
                    <a:pt x="67" y="9"/>
                  </a:lnTo>
                  <a:lnTo>
                    <a:pt x="66" y="6"/>
                  </a:lnTo>
                  <a:lnTo>
                    <a:pt x="64" y="4"/>
                  </a:lnTo>
                  <a:lnTo>
                    <a:pt x="62" y="2"/>
                  </a:lnTo>
                  <a:lnTo>
                    <a:pt x="59" y="1"/>
                  </a:lnTo>
                  <a:lnTo>
                    <a:pt x="55" y="0"/>
                  </a:lnTo>
                  <a:lnTo>
                    <a:pt x="53" y="0"/>
                  </a:lnTo>
                  <a:lnTo>
                    <a:pt x="50" y="0"/>
                  </a:lnTo>
                  <a:lnTo>
                    <a:pt x="48" y="1"/>
                  </a:lnTo>
                  <a:lnTo>
                    <a:pt x="45" y="2"/>
                  </a:lnTo>
                  <a:lnTo>
                    <a:pt x="43" y="4"/>
                  </a:lnTo>
                  <a:lnTo>
                    <a:pt x="33" y="15"/>
                  </a:lnTo>
                  <a:lnTo>
                    <a:pt x="24" y="27"/>
                  </a:lnTo>
                  <a:lnTo>
                    <a:pt x="17" y="38"/>
                  </a:lnTo>
                  <a:lnTo>
                    <a:pt x="11" y="52"/>
                  </a:lnTo>
                  <a:lnTo>
                    <a:pt x="5" y="65"/>
                  </a:lnTo>
                  <a:lnTo>
                    <a:pt x="2" y="79"/>
                  </a:lnTo>
                  <a:lnTo>
                    <a:pt x="0" y="94"/>
                  </a:lnTo>
                  <a:lnTo>
                    <a:pt x="0" y="108"/>
                  </a:lnTo>
                  <a:lnTo>
                    <a:pt x="0" y="123"/>
                  </a:lnTo>
                  <a:lnTo>
                    <a:pt x="2" y="137"/>
                  </a:lnTo>
                  <a:lnTo>
                    <a:pt x="5" y="151"/>
                  </a:lnTo>
                  <a:lnTo>
                    <a:pt x="11" y="165"/>
                  </a:lnTo>
                  <a:lnTo>
                    <a:pt x="17" y="177"/>
                  </a:lnTo>
                  <a:lnTo>
                    <a:pt x="24" y="190"/>
                  </a:lnTo>
                  <a:lnTo>
                    <a:pt x="33" y="202"/>
                  </a:lnTo>
                  <a:lnTo>
                    <a:pt x="43" y="213"/>
                  </a:lnTo>
                  <a:lnTo>
                    <a:pt x="53" y="222"/>
                  </a:lnTo>
                  <a:lnTo>
                    <a:pt x="65" y="231"/>
                  </a:lnTo>
                  <a:lnTo>
                    <a:pt x="77" y="238"/>
                  </a:lnTo>
                  <a:lnTo>
                    <a:pt x="91" y="244"/>
                  </a:lnTo>
                  <a:lnTo>
                    <a:pt x="104" y="249"/>
                  </a:lnTo>
                  <a:lnTo>
                    <a:pt x="118" y="252"/>
                  </a:lnTo>
                  <a:lnTo>
                    <a:pt x="133" y="254"/>
                  </a:lnTo>
                  <a:lnTo>
                    <a:pt x="146" y="255"/>
                  </a:lnTo>
                  <a:lnTo>
                    <a:pt x="161" y="254"/>
                  </a:lnTo>
                  <a:lnTo>
                    <a:pt x="175" y="252"/>
                  </a:lnTo>
                  <a:lnTo>
                    <a:pt x="189" y="249"/>
                  </a:lnTo>
                  <a:lnTo>
                    <a:pt x="203" y="244"/>
                  </a:lnTo>
                  <a:lnTo>
                    <a:pt x="216" y="238"/>
                  </a:lnTo>
                  <a:lnTo>
                    <a:pt x="229" y="231"/>
                  </a:lnTo>
                  <a:lnTo>
                    <a:pt x="239" y="222"/>
                  </a:lnTo>
                  <a:lnTo>
                    <a:pt x="251" y="213"/>
                  </a:lnTo>
                  <a:lnTo>
                    <a:pt x="252" y="209"/>
                  </a:lnTo>
                  <a:lnTo>
                    <a:pt x="254" y="207"/>
                  </a:lnTo>
                  <a:lnTo>
                    <a:pt x="254" y="204"/>
                  </a:lnTo>
                  <a:lnTo>
                    <a:pt x="256" y="202"/>
                  </a:lnTo>
                  <a:lnTo>
                    <a:pt x="254" y="199"/>
                  </a:lnTo>
                  <a:lnTo>
                    <a:pt x="254" y="196"/>
                  </a:lnTo>
                  <a:lnTo>
                    <a:pt x="252" y="193"/>
                  </a:lnTo>
                  <a:lnTo>
                    <a:pt x="251" y="191"/>
                  </a:lnTo>
                  <a:lnTo>
                    <a:pt x="248" y="189"/>
                  </a:lnTo>
                  <a:lnTo>
                    <a:pt x="246" y="188"/>
                  </a:lnTo>
                  <a:lnTo>
                    <a:pt x="243" y="187"/>
                  </a:lnTo>
                  <a:lnTo>
                    <a:pt x="241" y="187"/>
                  </a:lnTo>
                  <a:lnTo>
                    <a:pt x="237" y="187"/>
                  </a:lnTo>
                  <a:lnTo>
                    <a:pt x="234" y="188"/>
                  </a:lnTo>
                  <a:lnTo>
                    <a:pt x="232" y="189"/>
                  </a:lnTo>
                  <a:lnTo>
                    <a:pt x="2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1" name="Freeform 226">
              <a:extLst>
                <a:ext uri="{FF2B5EF4-FFF2-40B4-BE49-F238E27FC236}">
                  <a16:creationId xmlns:a16="http://schemas.microsoft.com/office/drawing/2014/main" id="{81EE1C83-13AB-488E-88FC-E0E05CB7FE0D}"/>
                </a:ext>
              </a:extLst>
            </p:cNvPr>
            <p:cNvSpPr>
              <a:spLocks/>
            </p:cNvSpPr>
            <p:nvPr/>
          </p:nvSpPr>
          <p:spPr bwMode="auto">
            <a:xfrm>
              <a:off x="2071688" y="4406900"/>
              <a:ext cx="39688" cy="39688"/>
            </a:xfrm>
            <a:custGeom>
              <a:avLst/>
              <a:gdLst>
                <a:gd name="T0" fmla="*/ 40 w 126"/>
                <a:gd name="T1" fmla="*/ 2 h 128"/>
                <a:gd name="T2" fmla="*/ 34 w 126"/>
                <a:gd name="T3" fmla="*/ 0 h 128"/>
                <a:gd name="T4" fmla="*/ 29 w 126"/>
                <a:gd name="T5" fmla="*/ 0 h 128"/>
                <a:gd name="T6" fmla="*/ 23 w 126"/>
                <a:gd name="T7" fmla="*/ 2 h 128"/>
                <a:gd name="T8" fmla="*/ 16 w 126"/>
                <a:gd name="T9" fmla="*/ 10 h 128"/>
                <a:gd name="T10" fmla="*/ 8 w 126"/>
                <a:gd name="T11" fmla="*/ 22 h 128"/>
                <a:gd name="T12" fmla="*/ 3 w 126"/>
                <a:gd name="T13" fmla="*/ 34 h 128"/>
                <a:gd name="T14" fmla="*/ 0 w 126"/>
                <a:gd name="T15" fmla="*/ 48 h 128"/>
                <a:gd name="T16" fmla="*/ 0 w 126"/>
                <a:gd name="T17" fmla="*/ 62 h 128"/>
                <a:gd name="T18" fmla="*/ 3 w 126"/>
                <a:gd name="T19" fmla="*/ 76 h 128"/>
                <a:gd name="T20" fmla="*/ 8 w 126"/>
                <a:gd name="T21" fmla="*/ 89 h 128"/>
                <a:gd name="T22" fmla="*/ 16 w 126"/>
                <a:gd name="T23" fmla="*/ 101 h 128"/>
                <a:gd name="T24" fmla="*/ 27 w 126"/>
                <a:gd name="T25" fmla="*/ 111 h 128"/>
                <a:gd name="T26" fmla="*/ 38 w 126"/>
                <a:gd name="T27" fmla="*/ 119 h 128"/>
                <a:gd name="T28" fmla="*/ 51 w 126"/>
                <a:gd name="T29" fmla="*/ 124 h 128"/>
                <a:gd name="T30" fmla="*/ 65 w 126"/>
                <a:gd name="T31" fmla="*/ 126 h 128"/>
                <a:gd name="T32" fmla="*/ 78 w 126"/>
                <a:gd name="T33" fmla="*/ 126 h 128"/>
                <a:gd name="T34" fmla="*/ 92 w 126"/>
                <a:gd name="T35" fmla="*/ 124 h 128"/>
                <a:gd name="T36" fmla="*/ 105 w 126"/>
                <a:gd name="T37" fmla="*/ 119 h 128"/>
                <a:gd name="T38" fmla="*/ 117 w 126"/>
                <a:gd name="T39" fmla="*/ 111 h 128"/>
                <a:gd name="T40" fmla="*/ 124 w 126"/>
                <a:gd name="T41" fmla="*/ 104 h 128"/>
                <a:gd name="T42" fmla="*/ 126 w 126"/>
                <a:gd name="T43" fmla="*/ 99 h 128"/>
                <a:gd name="T44" fmla="*/ 126 w 126"/>
                <a:gd name="T45" fmla="*/ 92 h 128"/>
                <a:gd name="T46" fmla="*/ 124 w 126"/>
                <a:gd name="T47" fmla="*/ 87 h 128"/>
                <a:gd name="T48" fmla="*/ 120 w 126"/>
                <a:gd name="T49" fmla="*/ 83 h 128"/>
                <a:gd name="T50" fmla="*/ 114 w 126"/>
                <a:gd name="T51" fmla="*/ 80 h 128"/>
                <a:gd name="T52" fmla="*/ 109 w 126"/>
                <a:gd name="T53" fmla="*/ 80 h 128"/>
                <a:gd name="T54" fmla="*/ 104 w 126"/>
                <a:gd name="T55" fmla="*/ 83 h 128"/>
                <a:gd name="T56" fmla="*/ 94 w 126"/>
                <a:gd name="T57" fmla="*/ 90 h 128"/>
                <a:gd name="T58" fmla="*/ 79 w 126"/>
                <a:gd name="T59" fmla="*/ 96 h 128"/>
                <a:gd name="T60" fmla="*/ 64 w 126"/>
                <a:gd name="T61" fmla="*/ 96 h 128"/>
                <a:gd name="T62" fmla="*/ 49 w 126"/>
                <a:gd name="T63" fmla="*/ 90 h 128"/>
                <a:gd name="T64" fmla="*/ 37 w 126"/>
                <a:gd name="T65" fmla="*/ 78 h 128"/>
                <a:gd name="T66" fmla="*/ 31 w 126"/>
                <a:gd name="T67" fmla="*/ 63 h 128"/>
                <a:gd name="T68" fmla="*/ 31 w 126"/>
                <a:gd name="T69" fmla="*/ 47 h 128"/>
                <a:gd name="T70" fmla="*/ 37 w 126"/>
                <a:gd name="T71" fmla="*/ 32 h 128"/>
                <a:gd name="T72" fmla="*/ 44 w 126"/>
                <a:gd name="T73" fmla="*/ 24 h 128"/>
                <a:gd name="T74" fmla="*/ 46 w 126"/>
                <a:gd name="T75" fmla="*/ 18 h 128"/>
                <a:gd name="T76" fmla="*/ 46 w 126"/>
                <a:gd name="T77" fmla="*/ 12 h 128"/>
                <a:gd name="T78" fmla="*/ 44 w 126"/>
                <a:gd name="T79"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6" h="128">
                  <a:moveTo>
                    <a:pt x="42" y="4"/>
                  </a:moveTo>
                  <a:lnTo>
                    <a:pt x="40" y="2"/>
                  </a:lnTo>
                  <a:lnTo>
                    <a:pt x="37" y="1"/>
                  </a:lnTo>
                  <a:lnTo>
                    <a:pt x="34" y="0"/>
                  </a:lnTo>
                  <a:lnTo>
                    <a:pt x="32" y="0"/>
                  </a:lnTo>
                  <a:lnTo>
                    <a:pt x="29" y="0"/>
                  </a:lnTo>
                  <a:lnTo>
                    <a:pt x="26" y="1"/>
                  </a:lnTo>
                  <a:lnTo>
                    <a:pt x="23" y="2"/>
                  </a:lnTo>
                  <a:lnTo>
                    <a:pt x="21" y="4"/>
                  </a:lnTo>
                  <a:lnTo>
                    <a:pt x="16" y="10"/>
                  </a:lnTo>
                  <a:lnTo>
                    <a:pt x="12" y="16"/>
                  </a:lnTo>
                  <a:lnTo>
                    <a:pt x="8" y="22"/>
                  </a:lnTo>
                  <a:lnTo>
                    <a:pt x="5" y="28"/>
                  </a:lnTo>
                  <a:lnTo>
                    <a:pt x="3" y="34"/>
                  </a:lnTo>
                  <a:lnTo>
                    <a:pt x="1" y="41"/>
                  </a:lnTo>
                  <a:lnTo>
                    <a:pt x="0" y="48"/>
                  </a:lnTo>
                  <a:lnTo>
                    <a:pt x="0" y="56"/>
                  </a:lnTo>
                  <a:lnTo>
                    <a:pt x="0" y="62"/>
                  </a:lnTo>
                  <a:lnTo>
                    <a:pt x="1" y="70"/>
                  </a:lnTo>
                  <a:lnTo>
                    <a:pt x="3" y="76"/>
                  </a:lnTo>
                  <a:lnTo>
                    <a:pt x="5" y="83"/>
                  </a:lnTo>
                  <a:lnTo>
                    <a:pt x="8" y="89"/>
                  </a:lnTo>
                  <a:lnTo>
                    <a:pt x="12" y="95"/>
                  </a:lnTo>
                  <a:lnTo>
                    <a:pt x="16" y="101"/>
                  </a:lnTo>
                  <a:lnTo>
                    <a:pt x="21" y="106"/>
                  </a:lnTo>
                  <a:lnTo>
                    <a:pt x="27" y="111"/>
                  </a:lnTo>
                  <a:lnTo>
                    <a:pt x="32" y="116"/>
                  </a:lnTo>
                  <a:lnTo>
                    <a:pt x="38" y="119"/>
                  </a:lnTo>
                  <a:lnTo>
                    <a:pt x="45" y="122"/>
                  </a:lnTo>
                  <a:lnTo>
                    <a:pt x="51" y="124"/>
                  </a:lnTo>
                  <a:lnTo>
                    <a:pt x="58" y="125"/>
                  </a:lnTo>
                  <a:lnTo>
                    <a:pt x="65" y="126"/>
                  </a:lnTo>
                  <a:lnTo>
                    <a:pt x="72" y="128"/>
                  </a:lnTo>
                  <a:lnTo>
                    <a:pt x="78" y="126"/>
                  </a:lnTo>
                  <a:lnTo>
                    <a:pt x="86" y="125"/>
                  </a:lnTo>
                  <a:lnTo>
                    <a:pt x="92" y="124"/>
                  </a:lnTo>
                  <a:lnTo>
                    <a:pt x="98" y="122"/>
                  </a:lnTo>
                  <a:lnTo>
                    <a:pt x="105" y="119"/>
                  </a:lnTo>
                  <a:lnTo>
                    <a:pt x="111" y="116"/>
                  </a:lnTo>
                  <a:lnTo>
                    <a:pt x="117" y="111"/>
                  </a:lnTo>
                  <a:lnTo>
                    <a:pt x="122" y="106"/>
                  </a:lnTo>
                  <a:lnTo>
                    <a:pt x="124" y="104"/>
                  </a:lnTo>
                  <a:lnTo>
                    <a:pt x="125" y="101"/>
                  </a:lnTo>
                  <a:lnTo>
                    <a:pt x="126" y="99"/>
                  </a:lnTo>
                  <a:lnTo>
                    <a:pt x="126" y="95"/>
                  </a:lnTo>
                  <a:lnTo>
                    <a:pt x="126" y="92"/>
                  </a:lnTo>
                  <a:lnTo>
                    <a:pt x="125" y="90"/>
                  </a:lnTo>
                  <a:lnTo>
                    <a:pt x="124" y="87"/>
                  </a:lnTo>
                  <a:lnTo>
                    <a:pt x="122" y="85"/>
                  </a:lnTo>
                  <a:lnTo>
                    <a:pt x="120" y="83"/>
                  </a:lnTo>
                  <a:lnTo>
                    <a:pt x="118" y="82"/>
                  </a:lnTo>
                  <a:lnTo>
                    <a:pt x="114" y="80"/>
                  </a:lnTo>
                  <a:lnTo>
                    <a:pt x="111" y="80"/>
                  </a:lnTo>
                  <a:lnTo>
                    <a:pt x="109" y="80"/>
                  </a:lnTo>
                  <a:lnTo>
                    <a:pt x="106" y="82"/>
                  </a:lnTo>
                  <a:lnTo>
                    <a:pt x="104" y="83"/>
                  </a:lnTo>
                  <a:lnTo>
                    <a:pt x="102" y="85"/>
                  </a:lnTo>
                  <a:lnTo>
                    <a:pt x="94" y="90"/>
                  </a:lnTo>
                  <a:lnTo>
                    <a:pt x="88" y="94"/>
                  </a:lnTo>
                  <a:lnTo>
                    <a:pt x="79" y="96"/>
                  </a:lnTo>
                  <a:lnTo>
                    <a:pt x="72" y="98"/>
                  </a:lnTo>
                  <a:lnTo>
                    <a:pt x="64" y="96"/>
                  </a:lnTo>
                  <a:lnTo>
                    <a:pt x="56" y="94"/>
                  </a:lnTo>
                  <a:lnTo>
                    <a:pt x="49" y="90"/>
                  </a:lnTo>
                  <a:lnTo>
                    <a:pt x="42" y="85"/>
                  </a:lnTo>
                  <a:lnTo>
                    <a:pt x="37" y="78"/>
                  </a:lnTo>
                  <a:lnTo>
                    <a:pt x="33" y="72"/>
                  </a:lnTo>
                  <a:lnTo>
                    <a:pt x="31" y="63"/>
                  </a:lnTo>
                  <a:lnTo>
                    <a:pt x="30" y="56"/>
                  </a:lnTo>
                  <a:lnTo>
                    <a:pt x="31" y="47"/>
                  </a:lnTo>
                  <a:lnTo>
                    <a:pt x="33" y="40"/>
                  </a:lnTo>
                  <a:lnTo>
                    <a:pt x="37" y="32"/>
                  </a:lnTo>
                  <a:lnTo>
                    <a:pt x="42" y="26"/>
                  </a:lnTo>
                  <a:lnTo>
                    <a:pt x="44" y="24"/>
                  </a:lnTo>
                  <a:lnTo>
                    <a:pt x="46" y="21"/>
                  </a:lnTo>
                  <a:lnTo>
                    <a:pt x="46" y="18"/>
                  </a:lnTo>
                  <a:lnTo>
                    <a:pt x="47" y="15"/>
                  </a:lnTo>
                  <a:lnTo>
                    <a:pt x="46" y="12"/>
                  </a:lnTo>
                  <a:lnTo>
                    <a:pt x="46" y="10"/>
                  </a:lnTo>
                  <a:lnTo>
                    <a:pt x="44" y="7"/>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202" name="Group 28">
            <a:extLst>
              <a:ext uri="{FF2B5EF4-FFF2-40B4-BE49-F238E27FC236}">
                <a16:creationId xmlns:a16="http://schemas.microsoft.com/office/drawing/2014/main" id="{2A63B11D-D21E-428E-ADFF-EB59E4339A81}"/>
              </a:ext>
            </a:extLst>
          </p:cNvPr>
          <p:cNvGrpSpPr>
            <a:grpSpLocks noChangeAspect="1"/>
          </p:cNvGrpSpPr>
          <p:nvPr/>
        </p:nvGrpSpPr>
        <p:grpSpPr>
          <a:xfrm>
            <a:off x="671290" y="1647825"/>
            <a:ext cx="285619" cy="285619"/>
            <a:chOff x="4906963" y="3335338"/>
            <a:chExt cx="276225" cy="276225"/>
          </a:xfrm>
          <a:solidFill>
            <a:schemeClr val="bg2"/>
          </a:solidFill>
          <a:effectLst/>
        </p:grpSpPr>
        <p:sp>
          <p:nvSpPr>
            <p:cNvPr id="1203" name="Freeform 106">
              <a:extLst>
                <a:ext uri="{FF2B5EF4-FFF2-40B4-BE49-F238E27FC236}">
                  <a16:creationId xmlns:a16="http://schemas.microsoft.com/office/drawing/2014/main" id="{0942109B-4225-48AB-A680-8A516D22286A}"/>
                </a:ext>
              </a:extLst>
            </p:cNvPr>
            <p:cNvSpPr>
              <a:spLocks noEditPoints="1"/>
            </p:cNvSpPr>
            <p:nvPr/>
          </p:nvSpPr>
          <p:spPr bwMode="auto">
            <a:xfrm>
              <a:off x="4911725" y="3335338"/>
              <a:ext cx="271463" cy="271463"/>
            </a:xfrm>
            <a:custGeom>
              <a:avLst/>
              <a:gdLst>
                <a:gd name="T0" fmla="*/ 661 w 852"/>
                <a:gd name="T1" fmla="*/ 306 h 853"/>
                <a:gd name="T2" fmla="*/ 437 w 852"/>
                <a:gd name="T3" fmla="*/ 531 h 853"/>
                <a:gd name="T4" fmla="*/ 415 w 852"/>
                <a:gd name="T5" fmla="*/ 325 h 853"/>
                <a:gd name="T6" fmla="*/ 666 w 852"/>
                <a:gd name="T7" fmla="*/ 77 h 853"/>
                <a:gd name="T8" fmla="*/ 728 w 852"/>
                <a:gd name="T9" fmla="*/ 53 h 853"/>
                <a:gd name="T10" fmla="*/ 820 w 852"/>
                <a:gd name="T11" fmla="*/ 33 h 853"/>
                <a:gd name="T12" fmla="*/ 800 w 852"/>
                <a:gd name="T13" fmla="*/ 126 h 853"/>
                <a:gd name="T14" fmla="*/ 776 w 852"/>
                <a:gd name="T15" fmla="*/ 187 h 853"/>
                <a:gd name="T16" fmla="*/ 500 w 852"/>
                <a:gd name="T17" fmla="*/ 634 h 853"/>
                <a:gd name="T18" fmla="*/ 468 w 852"/>
                <a:gd name="T19" fmla="*/ 683 h 853"/>
                <a:gd name="T20" fmla="*/ 374 w 852"/>
                <a:gd name="T21" fmla="*/ 777 h 853"/>
                <a:gd name="T22" fmla="*/ 400 w 852"/>
                <a:gd name="T23" fmla="*/ 609 h 853"/>
                <a:gd name="T24" fmla="*/ 426 w 852"/>
                <a:gd name="T25" fmla="*/ 583 h 853"/>
                <a:gd name="T26" fmla="*/ 520 w 852"/>
                <a:gd name="T27" fmla="*/ 524 h 853"/>
                <a:gd name="T28" fmla="*/ 507 w 852"/>
                <a:gd name="T29" fmla="*/ 612 h 853"/>
                <a:gd name="T30" fmla="*/ 367 w 852"/>
                <a:gd name="T31" fmla="*/ 599 h 853"/>
                <a:gd name="T32" fmla="*/ 329 w 852"/>
                <a:gd name="T33" fmla="*/ 638 h 853"/>
                <a:gd name="T34" fmla="*/ 191 w 852"/>
                <a:gd name="T35" fmla="*/ 370 h 853"/>
                <a:gd name="T36" fmla="*/ 227 w 852"/>
                <a:gd name="T37" fmla="*/ 349 h 853"/>
                <a:gd name="T38" fmla="*/ 290 w 852"/>
                <a:gd name="T39" fmla="*/ 338 h 853"/>
                <a:gd name="T40" fmla="*/ 55 w 852"/>
                <a:gd name="T41" fmla="*/ 503 h 853"/>
                <a:gd name="T42" fmla="*/ 154 w 852"/>
                <a:gd name="T43" fmla="*/ 400 h 853"/>
                <a:gd name="T44" fmla="*/ 840 w 852"/>
                <a:gd name="T45" fmla="*/ 1 h 853"/>
                <a:gd name="T46" fmla="*/ 775 w 852"/>
                <a:gd name="T47" fmla="*/ 11 h 853"/>
                <a:gd name="T48" fmla="*/ 695 w 852"/>
                <a:gd name="T49" fmla="*/ 32 h 853"/>
                <a:gd name="T50" fmla="*/ 642 w 852"/>
                <a:gd name="T51" fmla="*/ 57 h 853"/>
                <a:gd name="T52" fmla="*/ 362 w 852"/>
                <a:gd name="T53" fmla="*/ 302 h 853"/>
                <a:gd name="T54" fmla="*/ 259 w 852"/>
                <a:gd name="T55" fmla="*/ 311 h 853"/>
                <a:gd name="T56" fmla="*/ 195 w 852"/>
                <a:gd name="T57" fmla="*/ 332 h 853"/>
                <a:gd name="T58" fmla="*/ 133 w 852"/>
                <a:gd name="T59" fmla="*/ 379 h 853"/>
                <a:gd name="T60" fmla="*/ 3 w 852"/>
                <a:gd name="T61" fmla="*/ 515 h 853"/>
                <a:gd name="T62" fmla="*/ 1 w 852"/>
                <a:gd name="T63" fmla="*/ 532 h 853"/>
                <a:gd name="T64" fmla="*/ 14 w 852"/>
                <a:gd name="T65" fmla="*/ 539 h 853"/>
                <a:gd name="T66" fmla="*/ 180 w 852"/>
                <a:gd name="T67" fmla="*/ 520 h 853"/>
                <a:gd name="T68" fmla="*/ 318 w 852"/>
                <a:gd name="T69" fmla="*/ 669 h 853"/>
                <a:gd name="T70" fmla="*/ 329 w 852"/>
                <a:gd name="T71" fmla="*/ 674 h 853"/>
                <a:gd name="T72" fmla="*/ 338 w 852"/>
                <a:gd name="T73" fmla="*/ 671 h 853"/>
                <a:gd name="T74" fmla="*/ 318 w 852"/>
                <a:gd name="T75" fmla="*/ 849 h 853"/>
                <a:gd name="T76" fmla="*/ 334 w 852"/>
                <a:gd name="T77" fmla="*/ 853 h 853"/>
                <a:gd name="T78" fmla="*/ 432 w 852"/>
                <a:gd name="T79" fmla="*/ 762 h 853"/>
                <a:gd name="T80" fmla="*/ 514 w 852"/>
                <a:gd name="T81" fmla="*/ 670 h 853"/>
                <a:gd name="T82" fmla="*/ 537 w 852"/>
                <a:gd name="T83" fmla="*/ 616 h 853"/>
                <a:gd name="T84" fmla="*/ 550 w 852"/>
                <a:gd name="T85" fmla="*/ 517 h 853"/>
                <a:gd name="T86" fmla="*/ 592 w 852"/>
                <a:gd name="T87" fmla="*/ 418 h 853"/>
                <a:gd name="T88" fmla="*/ 729 w 852"/>
                <a:gd name="T89" fmla="*/ 280 h 853"/>
                <a:gd name="T90" fmla="*/ 796 w 852"/>
                <a:gd name="T91" fmla="*/ 212 h 853"/>
                <a:gd name="T92" fmla="*/ 821 w 852"/>
                <a:gd name="T93" fmla="*/ 158 h 853"/>
                <a:gd name="T94" fmla="*/ 843 w 852"/>
                <a:gd name="T95" fmla="*/ 78 h 853"/>
                <a:gd name="T96" fmla="*/ 852 w 852"/>
                <a:gd name="T97" fmla="*/ 15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2" h="853">
                  <a:moveTo>
                    <a:pt x="767" y="199"/>
                  </a:moveTo>
                  <a:lnTo>
                    <a:pt x="744" y="222"/>
                  </a:lnTo>
                  <a:lnTo>
                    <a:pt x="708" y="259"/>
                  </a:lnTo>
                  <a:lnTo>
                    <a:pt x="661" y="306"/>
                  </a:lnTo>
                  <a:lnTo>
                    <a:pt x="607" y="361"/>
                  </a:lnTo>
                  <a:lnTo>
                    <a:pt x="550" y="417"/>
                  </a:lnTo>
                  <a:lnTo>
                    <a:pt x="492" y="476"/>
                  </a:lnTo>
                  <a:lnTo>
                    <a:pt x="437" y="531"/>
                  </a:lnTo>
                  <a:lnTo>
                    <a:pt x="389" y="578"/>
                  </a:lnTo>
                  <a:lnTo>
                    <a:pt x="275" y="464"/>
                  </a:lnTo>
                  <a:lnTo>
                    <a:pt x="415" y="325"/>
                  </a:lnTo>
                  <a:lnTo>
                    <a:pt x="415" y="325"/>
                  </a:lnTo>
                  <a:lnTo>
                    <a:pt x="415" y="325"/>
                  </a:lnTo>
                  <a:lnTo>
                    <a:pt x="654" y="85"/>
                  </a:lnTo>
                  <a:lnTo>
                    <a:pt x="660" y="81"/>
                  </a:lnTo>
                  <a:lnTo>
                    <a:pt x="666" y="77"/>
                  </a:lnTo>
                  <a:lnTo>
                    <a:pt x="675" y="73"/>
                  </a:lnTo>
                  <a:lnTo>
                    <a:pt x="683" y="68"/>
                  </a:lnTo>
                  <a:lnTo>
                    <a:pt x="705" y="60"/>
                  </a:lnTo>
                  <a:lnTo>
                    <a:pt x="728" y="53"/>
                  </a:lnTo>
                  <a:lnTo>
                    <a:pt x="752" y="47"/>
                  </a:lnTo>
                  <a:lnTo>
                    <a:pt x="776" y="42"/>
                  </a:lnTo>
                  <a:lnTo>
                    <a:pt x="800" y="37"/>
                  </a:lnTo>
                  <a:lnTo>
                    <a:pt x="820" y="33"/>
                  </a:lnTo>
                  <a:lnTo>
                    <a:pt x="817" y="54"/>
                  </a:lnTo>
                  <a:lnTo>
                    <a:pt x="812" y="77"/>
                  </a:lnTo>
                  <a:lnTo>
                    <a:pt x="806" y="102"/>
                  </a:lnTo>
                  <a:lnTo>
                    <a:pt x="800" y="126"/>
                  </a:lnTo>
                  <a:lnTo>
                    <a:pt x="794" y="149"/>
                  </a:lnTo>
                  <a:lnTo>
                    <a:pt x="785" y="170"/>
                  </a:lnTo>
                  <a:lnTo>
                    <a:pt x="781" y="179"/>
                  </a:lnTo>
                  <a:lnTo>
                    <a:pt x="776" y="187"/>
                  </a:lnTo>
                  <a:lnTo>
                    <a:pt x="772" y="194"/>
                  </a:lnTo>
                  <a:lnTo>
                    <a:pt x="767" y="199"/>
                  </a:lnTo>
                  <a:close/>
                  <a:moveTo>
                    <a:pt x="503" y="624"/>
                  </a:moveTo>
                  <a:lnTo>
                    <a:pt x="500" y="634"/>
                  </a:lnTo>
                  <a:lnTo>
                    <a:pt x="495" y="643"/>
                  </a:lnTo>
                  <a:lnTo>
                    <a:pt x="490" y="653"/>
                  </a:lnTo>
                  <a:lnTo>
                    <a:pt x="482" y="663"/>
                  </a:lnTo>
                  <a:lnTo>
                    <a:pt x="468" y="683"/>
                  </a:lnTo>
                  <a:lnTo>
                    <a:pt x="453" y="699"/>
                  </a:lnTo>
                  <a:lnTo>
                    <a:pt x="429" y="724"/>
                  </a:lnTo>
                  <a:lnTo>
                    <a:pt x="401" y="751"/>
                  </a:lnTo>
                  <a:lnTo>
                    <a:pt x="374" y="777"/>
                  </a:lnTo>
                  <a:lnTo>
                    <a:pt x="349" y="799"/>
                  </a:lnTo>
                  <a:lnTo>
                    <a:pt x="373" y="637"/>
                  </a:lnTo>
                  <a:lnTo>
                    <a:pt x="386" y="624"/>
                  </a:lnTo>
                  <a:lnTo>
                    <a:pt x="400" y="609"/>
                  </a:lnTo>
                  <a:lnTo>
                    <a:pt x="400" y="609"/>
                  </a:lnTo>
                  <a:lnTo>
                    <a:pt x="400" y="609"/>
                  </a:lnTo>
                  <a:lnTo>
                    <a:pt x="400" y="609"/>
                  </a:lnTo>
                  <a:lnTo>
                    <a:pt x="426" y="583"/>
                  </a:lnTo>
                  <a:lnTo>
                    <a:pt x="455" y="553"/>
                  </a:lnTo>
                  <a:lnTo>
                    <a:pt x="487" y="521"/>
                  </a:lnTo>
                  <a:lnTo>
                    <a:pt x="522" y="488"/>
                  </a:lnTo>
                  <a:lnTo>
                    <a:pt x="520" y="524"/>
                  </a:lnTo>
                  <a:lnTo>
                    <a:pt x="515" y="563"/>
                  </a:lnTo>
                  <a:lnTo>
                    <a:pt x="512" y="581"/>
                  </a:lnTo>
                  <a:lnTo>
                    <a:pt x="510" y="598"/>
                  </a:lnTo>
                  <a:lnTo>
                    <a:pt x="507" y="612"/>
                  </a:lnTo>
                  <a:lnTo>
                    <a:pt x="503" y="624"/>
                  </a:lnTo>
                  <a:close/>
                  <a:moveTo>
                    <a:pt x="215" y="524"/>
                  </a:moveTo>
                  <a:lnTo>
                    <a:pt x="254" y="487"/>
                  </a:lnTo>
                  <a:lnTo>
                    <a:pt x="367" y="599"/>
                  </a:lnTo>
                  <a:lnTo>
                    <a:pt x="356" y="611"/>
                  </a:lnTo>
                  <a:lnTo>
                    <a:pt x="345" y="623"/>
                  </a:lnTo>
                  <a:lnTo>
                    <a:pt x="336" y="631"/>
                  </a:lnTo>
                  <a:lnTo>
                    <a:pt x="329" y="638"/>
                  </a:lnTo>
                  <a:lnTo>
                    <a:pt x="215" y="524"/>
                  </a:lnTo>
                  <a:close/>
                  <a:moveTo>
                    <a:pt x="154" y="400"/>
                  </a:moveTo>
                  <a:lnTo>
                    <a:pt x="172" y="385"/>
                  </a:lnTo>
                  <a:lnTo>
                    <a:pt x="191" y="370"/>
                  </a:lnTo>
                  <a:lnTo>
                    <a:pt x="200" y="364"/>
                  </a:lnTo>
                  <a:lnTo>
                    <a:pt x="210" y="357"/>
                  </a:lnTo>
                  <a:lnTo>
                    <a:pt x="220" y="353"/>
                  </a:lnTo>
                  <a:lnTo>
                    <a:pt x="227" y="349"/>
                  </a:lnTo>
                  <a:lnTo>
                    <a:pt x="239" y="346"/>
                  </a:lnTo>
                  <a:lnTo>
                    <a:pt x="254" y="342"/>
                  </a:lnTo>
                  <a:lnTo>
                    <a:pt x="271" y="340"/>
                  </a:lnTo>
                  <a:lnTo>
                    <a:pt x="290" y="338"/>
                  </a:lnTo>
                  <a:lnTo>
                    <a:pt x="329" y="334"/>
                  </a:lnTo>
                  <a:lnTo>
                    <a:pt x="366" y="331"/>
                  </a:lnTo>
                  <a:lnTo>
                    <a:pt x="218" y="480"/>
                  </a:lnTo>
                  <a:lnTo>
                    <a:pt x="55" y="503"/>
                  </a:lnTo>
                  <a:lnTo>
                    <a:pt x="77" y="479"/>
                  </a:lnTo>
                  <a:lnTo>
                    <a:pt x="103" y="453"/>
                  </a:lnTo>
                  <a:lnTo>
                    <a:pt x="130" y="425"/>
                  </a:lnTo>
                  <a:lnTo>
                    <a:pt x="154" y="400"/>
                  </a:lnTo>
                  <a:close/>
                  <a:moveTo>
                    <a:pt x="848" y="5"/>
                  </a:moveTo>
                  <a:lnTo>
                    <a:pt x="846" y="3"/>
                  </a:lnTo>
                  <a:lnTo>
                    <a:pt x="843" y="2"/>
                  </a:lnTo>
                  <a:lnTo>
                    <a:pt x="840" y="1"/>
                  </a:lnTo>
                  <a:lnTo>
                    <a:pt x="836" y="0"/>
                  </a:lnTo>
                  <a:lnTo>
                    <a:pt x="825" y="2"/>
                  </a:lnTo>
                  <a:lnTo>
                    <a:pt x="803" y="6"/>
                  </a:lnTo>
                  <a:lnTo>
                    <a:pt x="775" y="11"/>
                  </a:lnTo>
                  <a:lnTo>
                    <a:pt x="744" y="18"/>
                  </a:lnTo>
                  <a:lnTo>
                    <a:pt x="727" y="22"/>
                  </a:lnTo>
                  <a:lnTo>
                    <a:pt x="711" y="27"/>
                  </a:lnTo>
                  <a:lnTo>
                    <a:pt x="695" y="32"/>
                  </a:lnTo>
                  <a:lnTo>
                    <a:pt x="680" y="37"/>
                  </a:lnTo>
                  <a:lnTo>
                    <a:pt x="666" y="44"/>
                  </a:lnTo>
                  <a:lnTo>
                    <a:pt x="653" y="50"/>
                  </a:lnTo>
                  <a:lnTo>
                    <a:pt x="642" y="57"/>
                  </a:lnTo>
                  <a:lnTo>
                    <a:pt x="633" y="65"/>
                  </a:lnTo>
                  <a:lnTo>
                    <a:pt x="397" y="300"/>
                  </a:lnTo>
                  <a:lnTo>
                    <a:pt x="382" y="301"/>
                  </a:lnTo>
                  <a:lnTo>
                    <a:pt x="362" y="302"/>
                  </a:lnTo>
                  <a:lnTo>
                    <a:pt x="338" y="304"/>
                  </a:lnTo>
                  <a:lnTo>
                    <a:pt x="312" y="306"/>
                  </a:lnTo>
                  <a:lnTo>
                    <a:pt x="285" y="308"/>
                  </a:lnTo>
                  <a:lnTo>
                    <a:pt x="259" y="311"/>
                  </a:lnTo>
                  <a:lnTo>
                    <a:pt x="237" y="316"/>
                  </a:lnTo>
                  <a:lnTo>
                    <a:pt x="219" y="321"/>
                  </a:lnTo>
                  <a:lnTo>
                    <a:pt x="207" y="325"/>
                  </a:lnTo>
                  <a:lnTo>
                    <a:pt x="195" y="332"/>
                  </a:lnTo>
                  <a:lnTo>
                    <a:pt x="183" y="339"/>
                  </a:lnTo>
                  <a:lnTo>
                    <a:pt x="172" y="347"/>
                  </a:lnTo>
                  <a:lnTo>
                    <a:pt x="150" y="364"/>
                  </a:lnTo>
                  <a:lnTo>
                    <a:pt x="133" y="379"/>
                  </a:lnTo>
                  <a:lnTo>
                    <a:pt x="91" y="423"/>
                  </a:lnTo>
                  <a:lnTo>
                    <a:pt x="50" y="467"/>
                  </a:lnTo>
                  <a:lnTo>
                    <a:pt x="17" y="501"/>
                  </a:lnTo>
                  <a:lnTo>
                    <a:pt x="3" y="515"/>
                  </a:lnTo>
                  <a:lnTo>
                    <a:pt x="1" y="519"/>
                  </a:lnTo>
                  <a:lnTo>
                    <a:pt x="0" y="523"/>
                  </a:lnTo>
                  <a:lnTo>
                    <a:pt x="0" y="528"/>
                  </a:lnTo>
                  <a:lnTo>
                    <a:pt x="1" y="532"/>
                  </a:lnTo>
                  <a:lnTo>
                    <a:pt x="3" y="535"/>
                  </a:lnTo>
                  <a:lnTo>
                    <a:pt x="7" y="537"/>
                  </a:lnTo>
                  <a:lnTo>
                    <a:pt x="11" y="538"/>
                  </a:lnTo>
                  <a:lnTo>
                    <a:pt x="14" y="539"/>
                  </a:lnTo>
                  <a:lnTo>
                    <a:pt x="15" y="539"/>
                  </a:lnTo>
                  <a:lnTo>
                    <a:pt x="16" y="539"/>
                  </a:lnTo>
                  <a:lnTo>
                    <a:pt x="182" y="515"/>
                  </a:lnTo>
                  <a:lnTo>
                    <a:pt x="180" y="520"/>
                  </a:lnTo>
                  <a:lnTo>
                    <a:pt x="179" y="525"/>
                  </a:lnTo>
                  <a:lnTo>
                    <a:pt x="180" y="531"/>
                  </a:lnTo>
                  <a:lnTo>
                    <a:pt x="183" y="535"/>
                  </a:lnTo>
                  <a:lnTo>
                    <a:pt x="318" y="669"/>
                  </a:lnTo>
                  <a:lnTo>
                    <a:pt x="320" y="671"/>
                  </a:lnTo>
                  <a:lnTo>
                    <a:pt x="324" y="673"/>
                  </a:lnTo>
                  <a:lnTo>
                    <a:pt x="326" y="673"/>
                  </a:lnTo>
                  <a:lnTo>
                    <a:pt x="329" y="674"/>
                  </a:lnTo>
                  <a:lnTo>
                    <a:pt x="331" y="674"/>
                  </a:lnTo>
                  <a:lnTo>
                    <a:pt x="333" y="673"/>
                  </a:lnTo>
                  <a:lnTo>
                    <a:pt x="335" y="672"/>
                  </a:lnTo>
                  <a:lnTo>
                    <a:pt x="338" y="671"/>
                  </a:lnTo>
                  <a:lnTo>
                    <a:pt x="314" y="837"/>
                  </a:lnTo>
                  <a:lnTo>
                    <a:pt x="314" y="841"/>
                  </a:lnTo>
                  <a:lnTo>
                    <a:pt x="316" y="845"/>
                  </a:lnTo>
                  <a:lnTo>
                    <a:pt x="318" y="849"/>
                  </a:lnTo>
                  <a:lnTo>
                    <a:pt x="323" y="852"/>
                  </a:lnTo>
                  <a:lnTo>
                    <a:pt x="326" y="853"/>
                  </a:lnTo>
                  <a:lnTo>
                    <a:pt x="329" y="853"/>
                  </a:lnTo>
                  <a:lnTo>
                    <a:pt x="334" y="853"/>
                  </a:lnTo>
                  <a:lnTo>
                    <a:pt x="339" y="851"/>
                  </a:lnTo>
                  <a:lnTo>
                    <a:pt x="354" y="837"/>
                  </a:lnTo>
                  <a:lnTo>
                    <a:pt x="388" y="805"/>
                  </a:lnTo>
                  <a:lnTo>
                    <a:pt x="432" y="762"/>
                  </a:lnTo>
                  <a:lnTo>
                    <a:pt x="475" y="720"/>
                  </a:lnTo>
                  <a:lnTo>
                    <a:pt x="490" y="703"/>
                  </a:lnTo>
                  <a:lnTo>
                    <a:pt x="506" y="682"/>
                  </a:lnTo>
                  <a:lnTo>
                    <a:pt x="514" y="670"/>
                  </a:lnTo>
                  <a:lnTo>
                    <a:pt x="521" y="658"/>
                  </a:lnTo>
                  <a:lnTo>
                    <a:pt x="527" y="646"/>
                  </a:lnTo>
                  <a:lnTo>
                    <a:pt x="531" y="635"/>
                  </a:lnTo>
                  <a:lnTo>
                    <a:pt x="537" y="616"/>
                  </a:lnTo>
                  <a:lnTo>
                    <a:pt x="541" y="594"/>
                  </a:lnTo>
                  <a:lnTo>
                    <a:pt x="544" y="569"/>
                  </a:lnTo>
                  <a:lnTo>
                    <a:pt x="547" y="543"/>
                  </a:lnTo>
                  <a:lnTo>
                    <a:pt x="550" y="517"/>
                  </a:lnTo>
                  <a:lnTo>
                    <a:pt x="552" y="492"/>
                  </a:lnTo>
                  <a:lnTo>
                    <a:pt x="553" y="472"/>
                  </a:lnTo>
                  <a:lnTo>
                    <a:pt x="554" y="457"/>
                  </a:lnTo>
                  <a:lnTo>
                    <a:pt x="592" y="418"/>
                  </a:lnTo>
                  <a:lnTo>
                    <a:pt x="630" y="380"/>
                  </a:lnTo>
                  <a:lnTo>
                    <a:pt x="666" y="343"/>
                  </a:lnTo>
                  <a:lnTo>
                    <a:pt x="699" y="310"/>
                  </a:lnTo>
                  <a:lnTo>
                    <a:pt x="729" y="280"/>
                  </a:lnTo>
                  <a:lnTo>
                    <a:pt x="755" y="255"/>
                  </a:lnTo>
                  <a:lnTo>
                    <a:pt x="775" y="234"/>
                  </a:lnTo>
                  <a:lnTo>
                    <a:pt x="788" y="220"/>
                  </a:lnTo>
                  <a:lnTo>
                    <a:pt x="796" y="212"/>
                  </a:lnTo>
                  <a:lnTo>
                    <a:pt x="803" y="200"/>
                  </a:lnTo>
                  <a:lnTo>
                    <a:pt x="810" y="187"/>
                  </a:lnTo>
                  <a:lnTo>
                    <a:pt x="816" y="173"/>
                  </a:lnTo>
                  <a:lnTo>
                    <a:pt x="821" y="158"/>
                  </a:lnTo>
                  <a:lnTo>
                    <a:pt x="827" y="142"/>
                  </a:lnTo>
                  <a:lnTo>
                    <a:pt x="831" y="126"/>
                  </a:lnTo>
                  <a:lnTo>
                    <a:pt x="835" y="110"/>
                  </a:lnTo>
                  <a:lnTo>
                    <a:pt x="843" y="78"/>
                  </a:lnTo>
                  <a:lnTo>
                    <a:pt x="848" y="51"/>
                  </a:lnTo>
                  <a:lnTo>
                    <a:pt x="851" y="30"/>
                  </a:lnTo>
                  <a:lnTo>
                    <a:pt x="852" y="18"/>
                  </a:lnTo>
                  <a:lnTo>
                    <a:pt x="852" y="15"/>
                  </a:lnTo>
                  <a:lnTo>
                    <a:pt x="852" y="11"/>
                  </a:lnTo>
                  <a:lnTo>
                    <a:pt x="850" y="7"/>
                  </a:lnTo>
                  <a:lnTo>
                    <a:pt x="848"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4" name="Freeform 107">
              <a:extLst>
                <a:ext uri="{FF2B5EF4-FFF2-40B4-BE49-F238E27FC236}">
                  <a16:creationId xmlns:a16="http://schemas.microsoft.com/office/drawing/2014/main" id="{CD90A119-F486-4E3C-A5F3-131A6A663B3A}"/>
                </a:ext>
              </a:extLst>
            </p:cNvPr>
            <p:cNvSpPr>
              <a:spLocks/>
            </p:cNvSpPr>
            <p:nvPr/>
          </p:nvSpPr>
          <p:spPr bwMode="auto">
            <a:xfrm>
              <a:off x="4906963" y="3517900"/>
              <a:ext cx="93663" cy="93663"/>
            </a:xfrm>
            <a:custGeom>
              <a:avLst/>
              <a:gdLst>
                <a:gd name="T0" fmla="*/ 253 w 297"/>
                <a:gd name="T1" fmla="*/ 79 h 296"/>
                <a:gd name="T2" fmla="*/ 252 w 297"/>
                <a:gd name="T3" fmla="*/ 86 h 296"/>
                <a:gd name="T4" fmla="*/ 256 w 297"/>
                <a:gd name="T5" fmla="*/ 95 h 296"/>
                <a:gd name="T6" fmla="*/ 265 w 297"/>
                <a:gd name="T7" fmla="*/ 108 h 296"/>
                <a:gd name="T8" fmla="*/ 267 w 297"/>
                <a:gd name="T9" fmla="*/ 121 h 296"/>
                <a:gd name="T10" fmla="*/ 261 w 297"/>
                <a:gd name="T11" fmla="*/ 141 h 296"/>
                <a:gd name="T12" fmla="*/ 242 w 297"/>
                <a:gd name="T13" fmla="*/ 167 h 296"/>
                <a:gd name="T14" fmla="*/ 221 w 297"/>
                <a:gd name="T15" fmla="*/ 182 h 296"/>
                <a:gd name="T16" fmla="*/ 158 w 297"/>
                <a:gd name="T17" fmla="*/ 214 h 296"/>
                <a:gd name="T18" fmla="*/ 67 w 297"/>
                <a:gd name="T19" fmla="*/ 248 h 296"/>
                <a:gd name="T20" fmla="*/ 60 w 297"/>
                <a:gd name="T21" fmla="*/ 202 h 296"/>
                <a:gd name="T22" fmla="*/ 98 w 297"/>
                <a:gd name="T23" fmla="*/ 113 h 296"/>
                <a:gd name="T24" fmla="*/ 120 w 297"/>
                <a:gd name="T25" fmla="*/ 68 h 296"/>
                <a:gd name="T26" fmla="*/ 138 w 297"/>
                <a:gd name="T27" fmla="*/ 48 h 296"/>
                <a:gd name="T28" fmla="*/ 166 w 297"/>
                <a:gd name="T29" fmla="*/ 33 h 296"/>
                <a:gd name="T30" fmla="*/ 180 w 297"/>
                <a:gd name="T31" fmla="*/ 30 h 296"/>
                <a:gd name="T32" fmla="*/ 194 w 297"/>
                <a:gd name="T33" fmla="*/ 35 h 296"/>
                <a:gd name="T34" fmla="*/ 205 w 297"/>
                <a:gd name="T35" fmla="*/ 44 h 296"/>
                <a:gd name="T36" fmla="*/ 213 w 297"/>
                <a:gd name="T37" fmla="*/ 47 h 296"/>
                <a:gd name="T38" fmla="*/ 222 w 297"/>
                <a:gd name="T39" fmla="*/ 44 h 296"/>
                <a:gd name="T40" fmla="*/ 227 w 297"/>
                <a:gd name="T41" fmla="*/ 37 h 296"/>
                <a:gd name="T42" fmla="*/ 228 w 297"/>
                <a:gd name="T43" fmla="*/ 28 h 296"/>
                <a:gd name="T44" fmla="*/ 224 w 297"/>
                <a:gd name="T45" fmla="*/ 21 h 296"/>
                <a:gd name="T46" fmla="*/ 206 w 297"/>
                <a:gd name="T47" fmla="*/ 7 h 296"/>
                <a:gd name="T48" fmla="*/ 184 w 297"/>
                <a:gd name="T49" fmla="*/ 2 h 296"/>
                <a:gd name="T50" fmla="*/ 162 w 297"/>
                <a:gd name="T51" fmla="*/ 3 h 296"/>
                <a:gd name="T52" fmla="*/ 139 w 297"/>
                <a:gd name="T53" fmla="*/ 11 h 296"/>
                <a:gd name="T54" fmla="*/ 117 w 297"/>
                <a:gd name="T55" fmla="*/ 27 h 296"/>
                <a:gd name="T56" fmla="*/ 94 w 297"/>
                <a:gd name="T57" fmla="*/ 55 h 296"/>
                <a:gd name="T58" fmla="*/ 60 w 297"/>
                <a:gd name="T59" fmla="*/ 123 h 296"/>
                <a:gd name="T60" fmla="*/ 16 w 297"/>
                <a:gd name="T61" fmla="*/ 235 h 296"/>
                <a:gd name="T62" fmla="*/ 0 w 297"/>
                <a:gd name="T63" fmla="*/ 281 h 296"/>
                <a:gd name="T64" fmla="*/ 4 w 297"/>
                <a:gd name="T65" fmla="*/ 292 h 296"/>
                <a:gd name="T66" fmla="*/ 13 w 297"/>
                <a:gd name="T67" fmla="*/ 296 h 296"/>
                <a:gd name="T68" fmla="*/ 21 w 297"/>
                <a:gd name="T69" fmla="*/ 296 h 296"/>
                <a:gd name="T70" fmla="*/ 97 w 297"/>
                <a:gd name="T71" fmla="*/ 269 h 296"/>
                <a:gd name="T72" fmla="*/ 212 w 297"/>
                <a:gd name="T73" fmla="*/ 220 h 296"/>
                <a:gd name="T74" fmla="*/ 255 w 297"/>
                <a:gd name="T75" fmla="*/ 196 h 296"/>
                <a:gd name="T76" fmla="*/ 276 w 297"/>
                <a:gd name="T77" fmla="*/ 174 h 296"/>
                <a:gd name="T78" fmla="*/ 290 w 297"/>
                <a:gd name="T79" fmla="*/ 150 h 296"/>
                <a:gd name="T80" fmla="*/ 297 w 297"/>
                <a:gd name="T81" fmla="*/ 128 h 296"/>
                <a:gd name="T82" fmla="*/ 296 w 297"/>
                <a:gd name="T83" fmla="*/ 105 h 296"/>
                <a:gd name="T84" fmla="*/ 287 w 297"/>
                <a:gd name="T85" fmla="*/ 85 h 296"/>
                <a:gd name="T86" fmla="*/ 275 w 297"/>
                <a:gd name="T87" fmla="*/ 71 h 296"/>
                <a:gd name="T88" fmla="*/ 267 w 297"/>
                <a:gd name="T89" fmla="*/ 69 h 296"/>
                <a:gd name="T90" fmla="*/ 258 w 297"/>
                <a:gd name="T91" fmla="*/ 7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7" h="296">
                  <a:moveTo>
                    <a:pt x="256" y="73"/>
                  </a:moveTo>
                  <a:lnTo>
                    <a:pt x="254" y="75"/>
                  </a:lnTo>
                  <a:lnTo>
                    <a:pt x="253" y="79"/>
                  </a:lnTo>
                  <a:lnTo>
                    <a:pt x="252" y="81"/>
                  </a:lnTo>
                  <a:lnTo>
                    <a:pt x="252" y="84"/>
                  </a:lnTo>
                  <a:lnTo>
                    <a:pt x="252" y="86"/>
                  </a:lnTo>
                  <a:lnTo>
                    <a:pt x="253" y="89"/>
                  </a:lnTo>
                  <a:lnTo>
                    <a:pt x="254" y="91"/>
                  </a:lnTo>
                  <a:lnTo>
                    <a:pt x="256" y="95"/>
                  </a:lnTo>
                  <a:lnTo>
                    <a:pt x="259" y="99"/>
                  </a:lnTo>
                  <a:lnTo>
                    <a:pt x="263" y="103"/>
                  </a:lnTo>
                  <a:lnTo>
                    <a:pt x="265" y="108"/>
                  </a:lnTo>
                  <a:lnTo>
                    <a:pt x="266" y="112"/>
                  </a:lnTo>
                  <a:lnTo>
                    <a:pt x="267" y="117"/>
                  </a:lnTo>
                  <a:lnTo>
                    <a:pt x="267" y="121"/>
                  </a:lnTo>
                  <a:lnTo>
                    <a:pt x="267" y="127"/>
                  </a:lnTo>
                  <a:lnTo>
                    <a:pt x="266" y="131"/>
                  </a:lnTo>
                  <a:lnTo>
                    <a:pt x="261" y="141"/>
                  </a:lnTo>
                  <a:lnTo>
                    <a:pt x="256" y="150"/>
                  </a:lnTo>
                  <a:lnTo>
                    <a:pt x="250" y="159"/>
                  </a:lnTo>
                  <a:lnTo>
                    <a:pt x="242" y="167"/>
                  </a:lnTo>
                  <a:lnTo>
                    <a:pt x="237" y="173"/>
                  </a:lnTo>
                  <a:lnTo>
                    <a:pt x="229" y="177"/>
                  </a:lnTo>
                  <a:lnTo>
                    <a:pt x="221" y="182"/>
                  </a:lnTo>
                  <a:lnTo>
                    <a:pt x="210" y="189"/>
                  </a:lnTo>
                  <a:lnTo>
                    <a:pt x="185" y="201"/>
                  </a:lnTo>
                  <a:lnTo>
                    <a:pt x="158" y="214"/>
                  </a:lnTo>
                  <a:lnTo>
                    <a:pt x="127" y="225"/>
                  </a:lnTo>
                  <a:lnTo>
                    <a:pt x="97" y="237"/>
                  </a:lnTo>
                  <a:lnTo>
                    <a:pt x="67" y="248"/>
                  </a:lnTo>
                  <a:lnTo>
                    <a:pt x="40" y="257"/>
                  </a:lnTo>
                  <a:lnTo>
                    <a:pt x="49" y="231"/>
                  </a:lnTo>
                  <a:lnTo>
                    <a:pt x="60" y="202"/>
                  </a:lnTo>
                  <a:lnTo>
                    <a:pt x="72" y="171"/>
                  </a:lnTo>
                  <a:lnTo>
                    <a:pt x="85" y="141"/>
                  </a:lnTo>
                  <a:lnTo>
                    <a:pt x="98" y="113"/>
                  </a:lnTo>
                  <a:lnTo>
                    <a:pt x="109" y="88"/>
                  </a:lnTo>
                  <a:lnTo>
                    <a:pt x="115" y="78"/>
                  </a:lnTo>
                  <a:lnTo>
                    <a:pt x="120" y="68"/>
                  </a:lnTo>
                  <a:lnTo>
                    <a:pt x="125" y="60"/>
                  </a:lnTo>
                  <a:lnTo>
                    <a:pt x="131" y="55"/>
                  </a:lnTo>
                  <a:lnTo>
                    <a:pt x="138" y="48"/>
                  </a:lnTo>
                  <a:lnTo>
                    <a:pt x="147" y="41"/>
                  </a:lnTo>
                  <a:lnTo>
                    <a:pt x="157" y="36"/>
                  </a:lnTo>
                  <a:lnTo>
                    <a:pt x="166" y="33"/>
                  </a:lnTo>
                  <a:lnTo>
                    <a:pt x="172" y="32"/>
                  </a:lnTo>
                  <a:lnTo>
                    <a:pt x="176" y="30"/>
                  </a:lnTo>
                  <a:lnTo>
                    <a:pt x="180" y="30"/>
                  </a:lnTo>
                  <a:lnTo>
                    <a:pt x="185" y="32"/>
                  </a:lnTo>
                  <a:lnTo>
                    <a:pt x="190" y="33"/>
                  </a:lnTo>
                  <a:lnTo>
                    <a:pt x="194" y="35"/>
                  </a:lnTo>
                  <a:lnTo>
                    <a:pt x="198" y="38"/>
                  </a:lnTo>
                  <a:lnTo>
                    <a:pt x="203" y="42"/>
                  </a:lnTo>
                  <a:lnTo>
                    <a:pt x="205" y="44"/>
                  </a:lnTo>
                  <a:lnTo>
                    <a:pt x="208" y="45"/>
                  </a:lnTo>
                  <a:lnTo>
                    <a:pt x="210" y="47"/>
                  </a:lnTo>
                  <a:lnTo>
                    <a:pt x="213" y="47"/>
                  </a:lnTo>
                  <a:lnTo>
                    <a:pt x="216" y="47"/>
                  </a:lnTo>
                  <a:lnTo>
                    <a:pt x="219" y="45"/>
                  </a:lnTo>
                  <a:lnTo>
                    <a:pt x="222" y="44"/>
                  </a:lnTo>
                  <a:lnTo>
                    <a:pt x="224" y="42"/>
                  </a:lnTo>
                  <a:lnTo>
                    <a:pt x="226" y="39"/>
                  </a:lnTo>
                  <a:lnTo>
                    <a:pt x="227" y="37"/>
                  </a:lnTo>
                  <a:lnTo>
                    <a:pt x="228" y="34"/>
                  </a:lnTo>
                  <a:lnTo>
                    <a:pt x="228" y="30"/>
                  </a:lnTo>
                  <a:lnTo>
                    <a:pt x="228" y="28"/>
                  </a:lnTo>
                  <a:lnTo>
                    <a:pt x="227" y="25"/>
                  </a:lnTo>
                  <a:lnTo>
                    <a:pt x="226" y="23"/>
                  </a:lnTo>
                  <a:lnTo>
                    <a:pt x="224" y="21"/>
                  </a:lnTo>
                  <a:lnTo>
                    <a:pt x="218" y="15"/>
                  </a:lnTo>
                  <a:lnTo>
                    <a:pt x="212" y="11"/>
                  </a:lnTo>
                  <a:lnTo>
                    <a:pt x="206" y="7"/>
                  </a:lnTo>
                  <a:lnTo>
                    <a:pt x="198" y="5"/>
                  </a:lnTo>
                  <a:lnTo>
                    <a:pt x="192" y="3"/>
                  </a:lnTo>
                  <a:lnTo>
                    <a:pt x="184" y="2"/>
                  </a:lnTo>
                  <a:lnTo>
                    <a:pt x="177" y="0"/>
                  </a:lnTo>
                  <a:lnTo>
                    <a:pt x="169" y="2"/>
                  </a:lnTo>
                  <a:lnTo>
                    <a:pt x="162" y="3"/>
                  </a:lnTo>
                  <a:lnTo>
                    <a:pt x="154" y="5"/>
                  </a:lnTo>
                  <a:lnTo>
                    <a:pt x="147" y="8"/>
                  </a:lnTo>
                  <a:lnTo>
                    <a:pt x="139" y="11"/>
                  </a:lnTo>
                  <a:lnTo>
                    <a:pt x="132" y="17"/>
                  </a:lnTo>
                  <a:lnTo>
                    <a:pt x="124" y="22"/>
                  </a:lnTo>
                  <a:lnTo>
                    <a:pt x="117" y="27"/>
                  </a:lnTo>
                  <a:lnTo>
                    <a:pt x="109" y="35"/>
                  </a:lnTo>
                  <a:lnTo>
                    <a:pt x="102" y="43"/>
                  </a:lnTo>
                  <a:lnTo>
                    <a:pt x="94" y="55"/>
                  </a:lnTo>
                  <a:lnTo>
                    <a:pt x="86" y="69"/>
                  </a:lnTo>
                  <a:lnTo>
                    <a:pt x="77" y="85"/>
                  </a:lnTo>
                  <a:lnTo>
                    <a:pt x="60" y="123"/>
                  </a:lnTo>
                  <a:lnTo>
                    <a:pt x="44" y="162"/>
                  </a:lnTo>
                  <a:lnTo>
                    <a:pt x="28" y="201"/>
                  </a:lnTo>
                  <a:lnTo>
                    <a:pt x="16" y="235"/>
                  </a:lnTo>
                  <a:lnTo>
                    <a:pt x="7" y="262"/>
                  </a:lnTo>
                  <a:lnTo>
                    <a:pt x="1" y="277"/>
                  </a:lnTo>
                  <a:lnTo>
                    <a:pt x="0" y="281"/>
                  </a:lnTo>
                  <a:lnTo>
                    <a:pt x="1" y="285"/>
                  </a:lnTo>
                  <a:lnTo>
                    <a:pt x="2" y="290"/>
                  </a:lnTo>
                  <a:lnTo>
                    <a:pt x="4" y="292"/>
                  </a:lnTo>
                  <a:lnTo>
                    <a:pt x="8" y="294"/>
                  </a:lnTo>
                  <a:lnTo>
                    <a:pt x="10" y="295"/>
                  </a:lnTo>
                  <a:lnTo>
                    <a:pt x="13" y="296"/>
                  </a:lnTo>
                  <a:lnTo>
                    <a:pt x="15" y="296"/>
                  </a:lnTo>
                  <a:lnTo>
                    <a:pt x="18" y="296"/>
                  </a:lnTo>
                  <a:lnTo>
                    <a:pt x="21" y="296"/>
                  </a:lnTo>
                  <a:lnTo>
                    <a:pt x="36" y="291"/>
                  </a:lnTo>
                  <a:lnTo>
                    <a:pt x="62" y="282"/>
                  </a:lnTo>
                  <a:lnTo>
                    <a:pt x="97" y="269"/>
                  </a:lnTo>
                  <a:lnTo>
                    <a:pt x="135" y="254"/>
                  </a:lnTo>
                  <a:lnTo>
                    <a:pt x="176" y="237"/>
                  </a:lnTo>
                  <a:lnTo>
                    <a:pt x="212" y="220"/>
                  </a:lnTo>
                  <a:lnTo>
                    <a:pt x="229" y="211"/>
                  </a:lnTo>
                  <a:lnTo>
                    <a:pt x="243" y="204"/>
                  </a:lnTo>
                  <a:lnTo>
                    <a:pt x="255" y="196"/>
                  </a:lnTo>
                  <a:lnTo>
                    <a:pt x="264" y="189"/>
                  </a:lnTo>
                  <a:lnTo>
                    <a:pt x="271" y="181"/>
                  </a:lnTo>
                  <a:lnTo>
                    <a:pt x="276" y="174"/>
                  </a:lnTo>
                  <a:lnTo>
                    <a:pt x="282" y="166"/>
                  </a:lnTo>
                  <a:lnTo>
                    <a:pt x="286" y="158"/>
                  </a:lnTo>
                  <a:lnTo>
                    <a:pt x="290" y="150"/>
                  </a:lnTo>
                  <a:lnTo>
                    <a:pt x="292" y="143"/>
                  </a:lnTo>
                  <a:lnTo>
                    <a:pt x="295" y="135"/>
                  </a:lnTo>
                  <a:lnTo>
                    <a:pt x="297" y="128"/>
                  </a:lnTo>
                  <a:lnTo>
                    <a:pt x="297" y="120"/>
                  </a:lnTo>
                  <a:lnTo>
                    <a:pt x="297" y="113"/>
                  </a:lnTo>
                  <a:lnTo>
                    <a:pt x="296" y="105"/>
                  </a:lnTo>
                  <a:lnTo>
                    <a:pt x="294" y="99"/>
                  </a:lnTo>
                  <a:lnTo>
                    <a:pt x="290" y="91"/>
                  </a:lnTo>
                  <a:lnTo>
                    <a:pt x="287" y="85"/>
                  </a:lnTo>
                  <a:lnTo>
                    <a:pt x="283" y="79"/>
                  </a:lnTo>
                  <a:lnTo>
                    <a:pt x="278" y="73"/>
                  </a:lnTo>
                  <a:lnTo>
                    <a:pt x="275" y="71"/>
                  </a:lnTo>
                  <a:lnTo>
                    <a:pt x="272" y="70"/>
                  </a:lnTo>
                  <a:lnTo>
                    <a:pt x="270" y="69"/>
                  </a:lnTo>
                  <a:lnTo>
                    <a:pt x="267" y="69"/>
                  </a:lnTo>
                  <a:lnTo>
                    <a:pt x="264" y="69"/>
                  </a:lnTo>
                  <a:lnTo>
                    <a:pt x="261" y="70"/>
                  </a:lnTo>
                  <a:lnTo>
                    <a:pt x="258" y="71"/>
                  </a:lnTo>
                  <a:lnTo>
                    <a:pt x="256" y="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1310" name="Group 69">
            <a:extLst>
              <a:ext uri="{FF2B5EF4-FFF2-40B4-BE49-F238E27FC236}">
                <a16:creationId xmlns:a16="http://schemas.microsoft.com/office/drawing/2014/main" id="{78DFF371-9099-40F7-9EE4-A1EA4656FAB8}"/>
              </a:ext>
            </a:extLst>
          </p:cNvPr>
          <p:cNvGrpSpPr>
            <a:grpSpLocks noChangeAspect="1"/>
          </p:cNvGrpSpPr>
          <p:nvPr/>
        </p:nvGrpSpPr>
        <p:grpSpPr>
          <a:xfrm>
            <a:off x="1076489" y="1647825"/>
            <a:ext cx="285619" cy="285619"/>
            <a:chOff x="8094663" y="4038600"/>
            <a:chExt cx="1136650" cy="1136650"/>
          </a:xfrm>
          <a:solidFill>
            <a:schemeClr val="bg2"/>
          </a:solidFill>
          <a:effectLst/>
        </p:grpSpPr>
        <p:sp>
          <p:nvSpPr>
            <p:cNvPr id="1311" name="Freeform 39">
              <a:extLst>
                <a:ext uri="{FF2B5EF4-FFF2-40B4-BE49-F238E27FC236}">
                  <a16:creationId xmlns:a16="http://schemas.microsoft.com/office/drawing/2014/main" id="{BED09F08-9626-4A04-BB18-29484A274007}"/>
                </a:ext>
              </a:extLst>
            </p:cNvPr>
            <p:cNvSpPr>
              <a:spLocks/>
            </p:cNvSpPr>
            <p:nvPr/>
          </p:nvSpPr>
          <p:spPr bwMode="auto">
            <a:xfrm>
              <a:off x="8499475" y="4845050"/>
              <a:ext cx="214313" cy="330200"/>
            </a:xfrm>
            <a:custGeom>
              <a:avLst/>
              <a:gdLst>
                <a:gd name="T0" fmla="*/ 39 w 405"/>
                <a:gd name="T1" fmla="*/ 624 h 624"/>
                <a:gd name="T2" fmla="*/ 32 w 405"/>
                <a:gd name="T3" fmla="*/ 623 h 624"/>
                <a:gd name="T4" fmla="*/ 25 w 405"/>
                <a:gd name="T5" fmla="*/ 621 h 624"/>
                <a:gd name="T6" fmla="*/ 19 w 405"/>
                <a:gd name="T7" fmla="*/ 619 h 624"/>
                <a:gd name="T8" fmla="*/ 14 w 405"/>
                <a:gd name="T9" fmla="*/ 615 h 624"/>
                <a:gd name="T10" fmla="*/ 11 w 405"/>
                <a:gd name="T11" fmla="*/ 611 h 624"/>
                <a:gd name="T12" fmla="*/ 7 w 405"/>
                <a:gd name="T13" fmla="*/ 607 h 624"/>
                <a:gd name="T14" fmla="*/ 4 w 405"/>
                <a:gd name="T15" fmla="*/ 602 h 624"/>
                <a:gd name="T16" fmla="*/ 2 w 405"/>
                <a:gd name="T17" fmla="*/ 596 h 624"/>
                <a:gd name="T18" fmla="*/ 1 w 405"/>
                <a:gd name="T19" fmla="*/ 591 h 624"/>
                <a:gd name="T20" fmla="*/ 0 w 405"/>
                <a:gd name="T21" fmla="*/ 586 h 624"/>
                <a:gd name="T22" fmla="*/ 0 w 405"/>
                <a:gd name="T23" fmla="*/ 227 h 624"/>
                <a:gd name="T24" fmla="*/ 1 w 405"/>
                <a:gd name="T25" fmla="*/ 219 h 624"/>
                <a:gd name="T26" fmla="*/ 3 w 405"/>
                <a:gd name="T27" fmla="*/ 212 h 624"/>
                <a:gd name="T28" fmla="*/ 7 w 405"/>
                <a:gd name="T29" fmla="*/ 205 h 624"/>
                <a:gd name="T30" fmla="*/ 12 w 405"/>
                <a:gd name="T31" fmla="*/ 199 h 624"/>
                <a:gd name="T32" fmla="*/ 17 w 405"/>
                <a:gd name="T33" fmla="*/ 195 h 624"/>
                <a:gd name="T34" fmla="*/ 24 w 405"/>
                <a:gd name="T35" fmla="*/ 191 h 624"/>
                <a:gd name="T36" fmla="*/ 31 w 405"/>
                <a:gd name="T37" fmla="*/ 188 h 624"/>
                <a:gd name="T38" fmla="*/ 39 w 405"/>
                <a:gd name="T39" fmla="*/ 188 h 624"/>
                <a:gd name="T40" fmla="*/ 47 w 405"/>
                <a:gd name="T41" fmla="*/ 188 h 624"/>
                <a:gd name="T42" fmla="*/ 54 w 405"/>
                <a:gd name="T43" fmla="*/ 191 h 624"/>
                <a:gd name="T44" fmla="*/ 61 w 405"/>
                <a:gd name="T45" fmla="*/ 195 h 624"/>
                <a:gd name="T46" fmla="*/ 66 w 405"/>
                <a:gd name="T47" fmla="*/ 199 h 624"/>
                <a:gd name="T48" fmla="*/ 71 w 405"/>
                <a:gd name="T49" fmla="*/ 205 h 624"/>
                <a:gd name="T50" fmla="*/ 75 w 405"/>
                <a:gd name="T51" fmla="*/ 212 h 624"/>
                <a:gd name="T52" fmla="*/ 77 w 405"/>
                <a:gd name="T53" fmla="*/ 219 h 624"/>
                <a:gd name="T54" fmla="*/ 78 w 405"/>
                <a:gd name="T55" fmla="*/ 227 h 624"/>
                <a:gd name="T56" fmla="*/ 78 w 405"/>
                <a:gd name="T57" fmla="*/ 492 h 624"/>
                <a:gd name="T58" fmla="*/ 303 w 405"/>
                <a:gd name="T59" fmla="*/ 267 h 624"/>
                <a:gd name="T60" fmla="*/ 329 w 405"/>
                <a:gd name="T61" fmla="*/ 34 h 624"/>
                <a:gd name="T62" fmla="*/ 331 w 405"/>
                <a:gd name="T63" fmla="*/ 27 h 624"/>
                <a:gd name="T64" fmla="*/ 333 w 405"/>
                <a:gd name="T65" fmla="*/ 20 h 624"/>
                <a:gd name="T66" fmla="*/ 338 w 405"/>
                <a:gd name="T67" fmla="*/ 14 h 624"/>
                <a:gd name="T68" fmla="*/ 343 w 405"/>
                <a:gd name="T69" fmla="*/ 9 h 624"/>
                <a:gd name="T70" fmla="*/ 349 w 405"/>
                <a:gd name="T71" fmla="*/ 4 h 624"/>
                <a:gd name="T72" fmla="*/ 356 w 405"/>
                <a:gd name="T73" fmla="*/ 2 h 624"/>
                <a:gd name="T74" fmla="*/ 364 w 405"/>
                <a:gd name="T75" fmla="*/ 0 h 624"/>
                <a:gd name="T76" fmla="*/ 371 w 405"/>
                <a:gd name="T77" fmla="*/ 0 h 624"/>
                <a:gd name="T78" fmla="*/ 378 w 405"/>
                <a:gd name="T79" fmla="*/ 2 h 624"/>
                <a:gd name="T80" fmla="*/ 386 w 405"/>
                <a:gd name="T81" fmla="*/ 5 h 624"/>
                <a:gd name="T82" fmla="*/ 392 w 405"/>
                <a:gd name="T83" fmla="*/ 10 h 624"/>
                <a:gd name="T84" fmla="*/ 398 w 405"/>
                <a:gd name="T85" fmla="*/ 15 h 624"/>
                <a:gd name="T86" fmla="*/ 401 w 405"/>
                <a:gd name="T87" fmla="*/ 21 h 624"/>
                <a:gd name="T88" fmla="*/ 404 w 405"/>
                <a:gd name="T89" fmla="*/ 28 h 624"/>
                <a:gd name="T90" fmla="*/ 405 w 405"/>
                <a:gd name="T91" fmla="*/ 35 h 624"/>
                <a:gd name="T92" fmla="*/ 405 w 405"/>
                <a:gd name="T93" fmla="*/ 43 h 624"/>
                <a:gd name="T94" fmla="*/ 378 w 405"/>
                <a:gd name="T95" fmla="*/ 289 h 624"/>
                <a:gd name="T96" fmla="*/ 376 w 405"/>
                <a:gd name="T97" fmla="*/ 296 h 624"/>
                <a:gd name="T98" fmla="*/ 374 w 405"/>
                <a:gd name="T99" fmla="*/ 302 h 624"/>
                <a:gd name="T100" fmla="*/ 371 w 405"/>
                <a:gd name="T101" fmla="*/ 307 h 624"/>
                <a:gd name="T102" fmla="*/ 367 w 405"/>
                <a:gd name="T103" fmla="*/ 313 h 624"/>
                <a:gd name="T104" fmla="*/ 66 w 405"/>
                <a:gd name="T105" fmla="*/ 612 h 624"/>
                <a:gd name="T106" fmla="*/ 61 w 405"/>
                <a:gd name="T107" fmla="*/ 618 h 624"/>
                <a:gd name="T108" fmla="*/ 53 w 405"/>
                <a:gd name="T109" fmla="*/ 621 h 624"/>
                <a:gd name="T110" fmla="*/ 47 w 405"/>
                <a:gd name="T111" fmla="*/ 623 h 624"/>
                <a:gd name="T112" fmla="*/ 39 w 405"/>
                <a:gd name="T113"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624">
                  <a:moveTo>
                    <a:pt x="39" y="624"/>
                  </a:moveTo>
                  <a:lnTo>
                    <a:pt x="32" y="623"/>
                  </a:lnTo>
                  <a:lnTo>
                    <a:pt x="25" y="621"/>
                  </a:lnTo>
                  <a:lnTo>
                    <a:pt x="19" y="619"/>
                  </a:lnTo>
                  <a:lnTo>
                    <a:pt x="14" y="615"/>
                  </a:lnTo>
                  <a:lnTo>
                    <a:pt x="11" y="611"/>
                  </a:lnTo>
                  <a:lnTo>
                    <a:pt x="7" y="607"/>
                  </a:lnTo>
                  <a:lnTo>
                    <a:pt x="4" y="602"/>
                  </a:lnTo>
                  <a:lnTo>
                    <a:pt x="2" y="596"/>
                  </a:lnTo>
                  <a:lnTo>
                    <a:pt x="1" y="591"/>
                  </a:lnTo>
                  <a:lnTo>
                    <a:pt x="0" y="586"/>
                  </a:lnTo>
                  <a:lnTo>
                    <a:pt x="0" y="227"/>
                  </a:lnTo>
                  <a:lnTo>
                    <a:pt x="1" y="219"/>
                  </a:lnTo>
                  <a:lnTo>
                    <a:pt x="3" y="212"/>
                  </a:lnTo>
                  <a:lnTo>
                    <a:pt x="7" y="205"/>
                  </a:lnTo>
                  <a:lnTo>
                    <a:pt x="12" y="199"/>
                  </a:lnTo>
                  <a:lnTo>
                    <a:pt x="17" y="195"/>
                  </a:lnTo>
                  <a:lnTo>
                    <a:pt x="24" y="191"/>
                  </a:lnTo>
                  <a:lnTo>
                    <a:pt x="31" y="188"/>
                  </a:lnTo>
                  <a:lnTo>
                    <a:pt x="39" y="188"/>
                  </a:lnTo>
                  <a:lnTo>
                    <a:pt x="47" y="188"/>
                  </a:lnTo>
                  <a:lnTo>
                    <a:pt x="54" y="191"/>
                  </a:lnTo>
                  <a:lnTo>
                    <a:pt x="61" y="195"/>
                  </a:lnTo>
                  <a:lnTo>
                    <a:pt x="66" y="199"/>
                  </a:lnTo>
                  <a:lnTo>
                    <a:pt x="71" y="205"/>
                  </a:lnTo>
                  <a:lnTo>
                    <a:pt x="75" y="212"/>
                  </a:lnTo>
                  <a:lnTo>
                    <a:pt x="77" y="219"/>
                  </a:lnTo>
                  <a:lnTo>
                    <a:pt x="78" y="227"/>
                  </a:lnTo>
                  <a:lnTo>
                    <a:pt x="78" y="492"/>
                  </a:lnTo>
                  <a:lnTo>
                    <a:pt x="303" y="267"/>
                  </a:lnTo>
                  <a:lnTo>
                    <a:pt x="329" y="34"/>
                  </a:lnTo>
                  <a:lnTo>
                    <a:pt x="331" y="27"/>
                  </a:lnTo>
                  <a:lnTo>
                    <a:pt x="333" y="20"/>
                  </a:lnTo>
                  <a:lnTo>
                    <a:pt x="338" y="14"/>
                  </a:lnTo>
                  <a:lnTo>
                    <a:pt x="343" y="9"/>
                  </a:lnTo>
                  <a:lnTo>
                    <a:pt x="349" y="4"/>
                  </a:lnTo>
                  <a:lnTo>
                    <a:pt x="356" y="2"/>
                  </a:lnTo>
                  <a:lnTo>
                    <a:pt x="364" y="0"/>
                  </a:lnTo>
                  <a:lnTo>
                    <a:pt x="371" y="0"/>
                  </a:lnTo>
                  <a:lnTo>
                    <a:pt x="378" y="2"/>
                  </a:lnTo>
                  <a:lnTo>
                    <a:pt x="386" y="5"/>
                  </a:lnTo>
                  <a:lnTo>
                    <a:pt x="392" y="10"/>
                  </a:lnTo>
                  <a:lnTo>
                    <a:pt x="398" y="15"/>
                  </a:lnTo>
                  <a:lnTo>
                    <a:pt x="401" y="21"/>
                  </a:lnTo>
                  <a:lnTo>
                    <a:pt x="404" y="28"/>
                  </a:lnTo>
                  <a:lnTo>
                    <a:pt x="405" y="35"/>
                  </a:lnTo>
                  <a:lnTo>
                    <a:pt x="405" y="43"/>
                  </a:lnTo>
                  <a:lnTo>
                    <a:pt x="378" y="289"/>
                  </a:lnTo>
                  <a:lnTo>
                    <a:pt x="376" y="296"/>
                  </a:lnTo>
                  <a:lnTo>
                    <a:pt x="374" y="302"/>
                  </a:lnTo>
                  <a:lnTo>
                    <a:pt x="371" y="307"/>
                  </a:lnTo>
                  <a:lnTo>
                    <a:pt x="367" y="313"/>
                  </a:lnTo>
                  <a:lnTo>
                    <a:pt x="66" y="612"/>
                  </a:lnTo>
                  <a:lnTo>
                    <a:pt x="61" y="618"/>
                  </a:lnTo>
                  <a:lnTo>
                    <a:pt x="53" y="621"/>
                  </a:lnTo>
                  <a:lnTo>
                    <a:pt x="47" y="623"/>
                  </a:lnTo>
                  <a:lnTo>
                    <a:pt x="39" y="6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40">
              <a:extLst>
                <a:ext uri="{FF2B5EF4-FFF2-40B4-BE49-F238E27FC236}">
                  <a16:creationId xmlns:a16="http://schemas.microsoft.com/office/drawing/2014/main" id="{BA13E913-9E26-4267-B578-DE1CD2477E40}"/>
                </a:ext>
              </a:extLst>
            </p:cNvPr>
            <p:cNvSpPr>
              <a:spLocks/>
            </p:cNvSpPr>
            <p:nvPr/>
          </p:nvSpPr>
          <p:spPr bwMode="auto">
            <a:xfrm>
              <a:off x="8094663" y="4556125"/>
              <a:ext cx="330200" cy="214313"/>
            </a:xfrm>
            <a:custGeom>
              <a:avLst/>
              <a:gdLst>
                <a:gd name="T0" fmla="*/ 406 w 624"/>
                <a:gd name="T1" fmla="*/ 405 h 405"/>
                <a:gd name="T2" fmla="*/ 39 w 624"/>
                <a:gd name="T3" fmla="*/ 405 h 405"/>
                <a:gd name="T4" fmla="*/ 33 w 624"/>
                <a:gd name="T5" fmla="*/ 405 h 405"/>
                <a:gd name="T6" fmla="*/ 28 w 624"/>
                <a:gd name="T7" fmla="*/ 403 h 405"/>
                <a:gd name="T8" fmla="*/ 22 w 624"/>
                <a:gd name="T9" fmla="*/ 402 h 405"/>
                <a:gd name="T10" fmla="*/ 17 w 624"/>
                <a:gd name="T11" fmla="*/ 398 h 405"/>
                <a:gd name="T12" fmla="*/ 13 w 624"/>
                <a:gd name="T13" fmla="*/ 395 h 405"/>
                <a:gd name="T14" fmla="*/ 10 w 624"/>
                <a:gd name="T15" fmla="*/ 391 h 405"/>
                <a:gd name="T16" fmla="*/ 6 w 624"/>
                <a:gd name="T17" fmla="*/ 386 h 405"/>
                <a:gd name="T18" fmla="*/ 3 w 624"/>
                <a:gd name="T19" fmla="*/ 381 h 405"/>
                <a:gd name="T20" fmla="*/ 1 w 624"/>
                <a:gd name="T21" fmla="*/ 375 h 405"/>
                <a:gd name="T22" fmla="*/ 0 w 624"/>
                <a:gd name="T23" fmla="*/ 370 h 405"/>
                <a:gd name="T24" fmla="*/ 0 w 624"/>
                <a:gd name="T25" fmla="*/ 364 h 405"/>
                <a:gd name="T26" fmla="*/ 1 w 624"/>
                <a:gd name="T27" fmla="*/ 359 h 405"/>
                <a:gd name="T28" fmla="*/ 2 w 624"/>
                <a:gd name="T29" fmla="*/ 354 h 405"/>
                <a:gd name="T30" fmla="*/ 5 w 624"/>
                <a:gd name="T31" fmla="*/ 348 h 405"/>
                <a:gd name="T32" fmla="*/ 7 w 624"/>
                <a:gd name="T33" fmla="*/ 343 h 405"/>
                <a:gd name="T34" fmla="*/ 12 w 624"/>
                <a:gd name="T35" fmla="*/ 339 h 405"/>
                <a:gd name="T36" fmla="*/ 312 w 624"/>
                <a:gd name="T37" fmla="*/ 38 h 405"/>
                <a:gd name="T38" fmla="*/ 317 w 624"/>
                <a:gd name="T39" fmla="*/ 34 h 405"/>
                <a:gd name="T40" fmla="*/ 323 w 624"/>
                <a:gd name="T41" fmla="*/ 31 h 405"/>
                <a:gd name="T42" fmla="*/ 328 w 624"/>
                <a:gd name="T43" fmla="*/ 29 h 405"/>
                <a:gd name="T44" fmla="*/ 336 w 624"/>
                <a:gd name="T45" fmla="*/ 27 h 405"/>
                <a:gd name="T46" fmla="*/ 581 w 624"/>
                <a:gd name="T47" fmla="*/ 0 h 405"/>
                <a:gd name="T48" fmla="*/ 589 w 624"/>
                <a:gd name="T49" fmla="*/ 0 h 405"/>
                <a:gd name="T50" fmla="*/ 596 w 624"/>
                <a:gd name="T51" fmla="*/ 1 h 405"/>
                <a:gd name="T52" fmla="*/ 604 w 624"/>
                <a:gd name="T53" fmla="*/ 4 h 405"/>
                <a:gd name="T54" fmla="*/ 610 w 624"/>
                <a:gd name="T55" fmla="*/ 8 h 405"/>
                <a:gd name="T56" fmla="*/ 615 w 624"/>
                <a:gd name="T57" fmla="*/ 14 h 405"/>
                <a:gd name="T58" fmla="*/ 620 w 624"/>
                <a:gd name="T59" fmla="*/ 19 h 405"/>
                <a:gd name="T60" fmla="*/ 623 w 624"/>
                <a:gd name="T61" fmla="*/ 26 h 405"/>
                <a:gd name="T62" fmla="*/ 624 w 624"/>
                <a:gd name="T63" fmla="*/ 34 h 405"/>
                <a:gd name="T64" fmla="*/ 624 w 624"/>
                <a:gd name="T65" fmla="*/ 41 h 405"/>
                <a:gd name="T66" fmla="*/ 623 w 624"/>
                <a:gd name="T67" fmla="*/ 50 h 405"/>
                <a:gd name="T68" fmla="*/ 620 w 624"/>
                <a:gd name="T69" fmla="*/ 56 h 405"/>
                <a:gd name="T70" fmla="*/ 615 w 624"/>
                <a:gd name="T71" fmla="*/ 63 h 405"/>
                <a:gd name="T72" fmla="*/ 610 w 624"/>
                <a:gd name="T73" fmla="*/ 68 h 405"/>
                <a:gd name="T74" fmla="*/ 605 w 624"/>
                <a:gd name="T75" fmla="*/ 72 h 405"/>
                <a:gd name="T76" fmla="*/ 597 w 624"/>
                <a:gd name="T77" fmla="*/ 75 h 405"/>
                <a:gd name="T78" fmla="*/ 590 w 624"/>
                <a:gd name="T79" fmla="*/ 76 h 405"/>
                <a:gd name="T80" fmla="*/ 357 w 624"/>
                <a:gd name="T81" fmla="*/ 103 h 405"/>
                <a:gd name="T82" fmla="*/ 132 w 624"/>
                <a:gd name="T83" fmla="*/ 327 h 405"/>
                <a:gd name="T84" fmla="*/ 406 w 624"/>
                <a:gd name="T85" fmla="*/ 327 h 405"/>
                <a:gd name="T86" fmla="*/ 413 w 624"/>
                <a:gd name="T87" fmla="*/ 328 h 405"/>
                <a:gd name="T88" fmla="*/ 421 w 624"/>
                <a:gd name="T89" fmla="*/ 330 h 405"/>
                <a:gd name="T90" fmla="*/ 427 w 624"/>
                <a:gd name="T91" fmla="*/ 335 h 405"/>
                <a:gd name="T92" fmla="*/ 432 w 624"/>
                <a:gd name="T93" fmla="*/ 339 h 405"/>
                <a:gd name="T94" fmla="*/ 438 w 624"/>
                <a:gd name="T95" fmla="*/ 344 h 405"/>
                <a:gd name="T96" fmla="*/ 441 w 624"/>
                <a:gd name="T97" fmla="*/ 352 h 405"/>
                <a:gd name="T98" fmla="*/ 443 w 624"/>
                <a:gd name="T99" fmla="*/ 358 h 405"/>
                <a:gd name="T100" fmla="*/ 444 w 624"/>
                <a:gd name="T101" fmla="*/ 367 h 405"/>
                <a:gd name="T102" fmla="*/ 443 w 624"/>
                <a:gd name="T103" fmla="*/ 374 h 405"/>
                <a:gd name="T104" fmla="*/ 441 w 624"/>
                <a:gd name="T105" fmla="*/ 381 h 405"/>
                <a:gd name="T106" fmla="*/ 438 w 624"/>
                <a:gd name="T107" fmla="*/ 388 h 405"/>
                <a:gd name="T108" fmla="*/ 432 w 624"/>
                <a:gd name="T109" fmla="*/ 393 h 405"/>
                <a:gd name="T110" fmla="*/ 427 w 624"/>
                <a:gd name="T111" fmla="*/ 398 h 405"/>
                <a:gd name="T112" fmla="*/ 421 w 624"/>
                <a:gd name="T113" fmla="*/ 402 h 405"/>
                <a:gd name="T114" fmla="*/ 413 w 624"/>
                <a:gd name="T115" fmla="*/ 404 h 405"/>
                <a:gd name="T116" fmla="*/ 406 w 624"/>
                <a:gd name="T117"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4" h="405">
                  <a:moveTo>
                    <a:pt x="406" y="405"/>
                  </a:moveTo>
                  <a:lnTo>
                    <a:pt x="39" y="405"/>
                  </a:lnTo>
                  <a:lnTo>
                    <a:pt x="33" y="405"/>
                  </a:lnTo>
                  <a:lnTo>
                    <a:pt x="28" y="403"/>
                  </a:lnTo>
                  <a:lnTo>
                    <a:pt x="22" y="402"/>
                  </a:lnTo>
                  <a:lnTo>
                    <a:pt x="17" y="398"/>
                  </a:lnTo>
                  <a:lnTo>
                    <a:pt x="13" y="395"/>
                  </a:lnTo>
                  <a:lnTo>
                    <a:pt x="10" y="391"/>
                  </a:lnTo>
                  <a:lnTo>
                    <a:pt x="6" y="386"/>
                  </a:lnTo>
                  <a:lnTo>
                    <a:pt x="3" y="381"/>
                  </a:lnTo>
                  <a:lnTo>
                    <a:pt x="1" y="375"/>
                  </a:lnTo>
                  <a:lnTo>
                    <a:pt x="0" y="370"/>
                  </a:lnTo>
                  <a:lnTo>
                    <a:pt x="0" y="364"/>
                  </a:lnTo>
                  <a:lnTo>
                    <a:pt x="1" y="359"/>
                  </a:lnTo>
                  <a:lnTo>
                    <a:pt x="2" y="354"/>
                  </a:lnTo>
                  <a:lnTo>
                    <a:pt x="5" y="348"/>
                  </a:lnTo>
                  <a:lnTo>
                    <a:pt x="7" y="343"/>
                  </a:lnTo>
                  <a:lnTo>
                    <a:pt x="12" y="339"/>
                  </a:lnTo>
                  <a:lnTo>
                    <a:pt x="312" y="38"/>
                  </a:lnTo>
                  <a:lnTo>
                    <a:pt x="317" y="34"/>
                  </a:lnTo>
                  <a:lnTo>
                    <a:pt x="323" y="31"/>
                  </a:lnTo>
                  <a:lnTo>
                    <a:pt x="328" y="29"/>
                  </a:lnTo>
                  <a:lnTo>
                    <a:pt x="336" y="27"/>
                  </a:lnTo>
                  <a:lnTo>
                    <a:pt x="581" y="0"/>
                  </a:lnTo>
                  <a:lnTo>
                    <a:pt x="589" y="0"/>
                  </a:lnTo>
                  <a:lnTo>
                    <a:pt x="596" y="1"/>
                  </a:lnTo>
                  <a:lnTo>
                    <a:pt x="604" y="4"/>
                  </a:lnTo>
                  <a:lnTo>
                    <a:pt x="610" y="8"/>
                  </a:lnTo>
                  <a:lnTo>
                    <a:pt x="615" y="14"/>
                  </a:lnTo>
                  <a:lnTo>
                    <a:pt x="620" y="19"/>
                  </a:lnTo>
                  <a:lnTo>
                    <a:pt x="623" y="26"/>
                  </a:lnTo>
                  <a:lnTo>
                    <a:pt x="624" y="34"/>
                  </a:lnTo>
                  <a:lnTo>
                    <a:pt x="624" y="41"/>
                  </a:lnTo>
                  <a:lnTo>
                    <a:pt x="623" y="50"/>
                  </a:lnTo>
                  <a:lnTo>
                    <a:pt x="620" y="56"/>
                  </a:lnTo>
                  <a:lnTo>
                    <a:pt x="615" y="63"/>
                  </a:lnTo>
                  <a:lnTo>
                    <a:pt x="610" y="68"/>
                  </a:lnTo>
                  <a:lnTo>
                    <a:pt x="605" y="72"/>
                  </a:lnTo>
                  <a:lnTo>
                    <a:pt x="597" y="75"/>
                  </a:lnTo>
                  <a:lnTo>
                    <a:pt x="590" y="76"/>
                  </a:lnTo>
                  <a:lnTo>
                    <a:pt x="357" y="103"/>
                  </a:lnTo>
                  <a:lnTo>
                    <a:pt x="132" y="327"/>
                  </a:lnTo>
                  <a:lnTo>
                    <a:pt x="406" y="327"/>
                  </a:lnTo>
                  <a:lnTo>
                    <a:pt x="413" y="328"/>
                  </a:lnTo>
                  <a:lnTo>
                    <a:pt x="421" y="330"/>
                  </a:lnTo>
                  <a:lnTo>
                    <a:pt x="427" y="335"/>
                  </a:lnTo>
                  <a:lnTo>
                    <a:pt x="432" y="339"/>
                  </a:lnTo>
                  <a:lnTo>
                    <a:pt x="438" y="344"/>
                  </a:lnTo>
                  <a:lnTo>
                    <a:pt x="441" y="352"/>
                  </a:lnTo>
                  <a:lnTo>
                    <a:pt x="443" y="358"/>
                  </a:lnTo>
                  <a:lnTo>
                    <a:pt x="444" y="367"/>
                  </a:lnTo>
                  <a:lnTo>
                    <a:pt x="443" y="374"/>
                  </a:lnTo>
                  <a:lnTo>
                    <a:pt x="441" y="381"/>
                  </a:lnTo>
                  <a:lnTo>
                    <a:pt x="438" y="388"/>
                  </a:lnTo>
                  <a:lnTo>
                    <a:pt x="432" y="393"/>
                  </a:lnTo>
                  <a:lnTo>
                    <a:pt x="427" y="398"/>
                  </a:lnTo>
                  <a:lnTo>
                    <a:pt x="421" y="402"/>
                  </a:lnTo>
                  <a:lnTo>
                    <a:pt x="413" y="404"/>
                  </a:lnTo>
                  <a:lnTo>
                    <a:pt x="406"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41">
              <a:extLst>
                <a:ext uri="{FF2B5EF4-FFF2-40B4-BE49-F238E27FC236}">
                  <a16:creationId xmlns:a16="http://schemas.microsoft.com/office/drawing/2014/main" id="{47754C52-0CCD-44E8-AAE7-1B696A013F9B}"/>
                </a:ext>
              </a:extLst>
            </p:cNvPr>
            <p:cNvSpPr>
              <a:spLocks/>
            </p:cNvSpPr>
            <p:nvPr/>
          </p:nvSpPr>
          <p:spPr bwMode="auto">
            <a:xfrm>
              <a:off x="8216900" y="4729163"/>
              <a:ext cx="323850" cy="323850"/>
            </a:xfrm>
            <a:custGeom>
              <a:avLst/>
              <a:gdLst>
                <a:gd name="T0" fmla="*/ 39 w 612"/>
                <a:gd name="T1" fmla="*/ 612 h 612"/>
                <a:gd name="T2" fmla="*/ 31 w 612"/>
                <a:gd name="T3" fmla="*/ 611 h 612"/>
                <a:gd name="T4" fmla="*/ 24 w 612"/>
                <a:gd name="T5" fmla="*/ 609 h 612"/>
                <a:gd name="T6" fmla="*/ 18 w 612"/>
                <a:gd name="T7" fmla="*/ 606 h 612"/>
                <a:gd name="T8" fmla="*/ 11 w 612"/>
                <a:gd name="T9" fmla="*/ 601 h 612"/>
                <a:gd name="T10" fmla="*/ 6 w 612"/>
                <a:gd name="T11" fmla="*/ 595 h 612"/>
                <a:gd name="T12" fmla="*/ 3 w 612"/>
                <a:gd name="T13" fmla="*/ 588 h 612"/>
                <a:gd name="T14" fmla="*/ 1 w 612"/>
                <a:gd name="T15" fmla="*/ 580 h 612"/>
                <a:gd name="T16" fmla="*/ 0 w 612"/>
                <a:gd name="T17" fmla="*/ 573 h 612"/>
                <a:gd name="T18" fmla="*/ 1 w 612"/>
                <a:gd name="T19" fmla="*/ 567 h 612"/>
                <a:gd name="T20" fmla="*/ 3 w 612"/>
                <a:gd name="T21" fmla="*/ 559 h 612"/>
                <a:gd name="T22" fmla="*/ 6 w 612"/>
                <a:gd name="T23" fmla="*/ 552 h 612"/>
                <a:gd name="T24" fmla="*/ 11 w 612"/>
                <a:gd name="T25" fmla="*/ 546 h 612"/>
                <a:gd name="T26" fmla="*/ 546 w 612"/>
                <a:gd name="T27" fmla="*/ 12 h 612"/>
                <a:gd name="T28" fmla="*/ 552 w 612"/>
                <a:gd name="T29" fmla="*/ 7 h 612"/>
                <a:gd name="T30" fmla="*/ 559 w 612"/>
                <a:gd name="T31" fmla="*/ 3 h 612"/>
                <a:gd name="T32" fmla="*/ 566 w 612"/>
                <a:gd name="T33" fmla="*/ 1 h 612"/>
                <a:gd name="T34" fmla="*/ 573 w 612"/>
                <a:gd name="T35" fmla="*/ 0 h 612"/>
                <a:gd name="T36" fmla="*/ 581 w 612"/>
                <a:gd name="T37" fmla="*/ 1 h 612"/>
                <a:gd name="T38" fmla="*/ 587 w 612"/>
                <a:gd name="T39" fmla="*/ 3 h 612"/>
                <a:gd name="T40" fmla="*/ 595 w 612"/>
                <a:gd name="T41" fmla="*/ 7 h 612"/>
                <a:gd name="T42" fmla="*/ 600 w 612"/>
                <a:gd name="T43" fmla="*/ 12 h 612"/>
                <a:gd name="T44" fmla="*/ 605 w 612"/>
                <a:gd name="T45" fmla="*/ 18 h 612"/>
                <a:gd name="T46" fmla="*/ 609 w 612"/>
                <a:gd name="T47" fmla="*/ 25 h 612"/>
                <a:gd name="T48" fmla="*/ 611 w 612"/>
                <a:gd name="T49" fmla="*/ 32 h 612"/>
                <a:gd name="T50" fmla="*/ 612 w 612"/>
                <a:gd name="T51" fmla="*/ 40 h 612"/>
                <a:gd name="T52" fmla="*/ 611 w 612"/>
                <a:gd name="T53" fmla="*/ 47 h 612"/>
                <a:gd name="T54" fmla="*/ 609 w 612"/>
                <a:gd name="T55" fmla="*/ 53 h 612"/>
                <a:gd name="T56" fmla="*/ 605 w 612"/>
                <a:gd name="T57" fmla="*/ 61 h 612"/>
                <a:gd name="T58" fmla="*/ 600 w 612"/>
                <a:gd name="T59" fmla="*/ 66 h 612"/>
                <a:gd name="T60" fmla="*/ 67 w 612"/>
                <a:gd name="T61" fmla="*/ 601 h 612"/>
                <a:gd name="T62" fmla="*/ 60 w 612"/>
                <a:gd name="T63" fmla="*/ 606 h 612"/>
                <a:gd name="T64" fmla="*/ 53 w 612"/>
                <a:gd name="T65" fmla="*/ 609 h 612"/>
                <a:gd name="T66" fmla="*/ 46 w 612"/>
                <a:gd name="T67" fmla="*/ 611 h 612"/>
                <a:gd name="T68" fmla="*/ 39 w 612"/>
                <a:gd name="T69"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2" h="612">
                  <a:moveTo>
                    <a:pt x="39" y="612"/>
                  </a:moveTo>
                  <a:lnTo>
                    <a:pt x="31" y="611"/>
                  </a:lnTo>
                  <a:lnTo>
                    <a:pt x="24" y="609"/>
                  </a:lnTo>
                  <a:lnTo>
                    <a:pt x="18" y="606"/>
                  </a:lnTo>
                  <a:lnTo>
                    <a:pt x="11" y="601"/>
                  </a:lnTo>
                  <a:lnTo>
                    <a:pt x="6" y="595"/>
                  </a:lnTo>
                  <a:lnTo>
                    <a:pt x="3" y="588"/>
                  </a:lnTo>
                  <a:lnTo>
                    <a:pt x="1" y="580"/>
                  </a:lnTo>
                  <a:lnTo>
                    <a:pt x="0" y="573"/>
                  </a:lnTo>
                  <a:lnTo>
                    <a:pt x="1" y="567"/>
                  </a:lnTo>
                  <a:lnTo>
                    <a:pt x="3" y="559"/>
                  </a:lnTo>
                  <a:lnTo>
                    <a:pt x="6" y="552"/>
                  </a:lnTo>
                  <a:lnTo>
                    <a:pt x="11" y="546"/>
                  </a:lnTo>
                  <a:lnTo>
                    <a:pt x="546" y="12"/>
                  </a:lnTo>
                  <a:lnTo>
                    <a:pt x="552" y="7"/>
                  </a:lnTo>
                  <a:lnTo>
                    <a:pt x="559" y="3"/>
                  </a:lnTo>
                  <a:lnTo>
                    <a:pt x="566" y="1"/>
                  </a:lnTo>
                  <a:lnTo>
                    <a:pt x="573" y="0"/>
                  </a:lnTo>
                  <a:lnTo>
                    <a:pt x="581" y="1"/>
                  </a:lnTo>
                  <a:lnTo>
                    <a:pt x="587" y="3"/>
                  </a:lnTo>
                  <a:lnTo>
                    <a:pt x="595" y="7"/>
                  </a:lnTo>
                  <a:lnTo>
                    <a:pt x="600" y="12"/>
                  </a:lnTo>
                  <a:lnTo>
                    <a:pt x="605" y="18"/>
                  </a:lnTo>
                  <a:lnTo>
                    <a:pt x="609" y="25"/>
                  </a:lnTo>
                  <a:lnTo>
                    <a:pt x="611" y="32"/>
                  </a:lnTo>
                  <a:lnTo>
                    <a:pt x="612" y="40"/>
                  </a:lnTo>
                  <a:lnTo>
                    <a:pt x="611" y="47"/>
                  </a:lnTo>
                  <a:lnTo>
                    <a:pt x="609" y="53"/>
                  </a:lnTo>
                  <a:lnTo>
                    <a:pt x="605" y="61"/>
                  </a:lnTo>
                  <a:lnTo>
                    <a:pt x="600" y="66"/>
                  </a:lnTo>
                  <a:lnTo>
                    <a:pt x="67" y="601"/>
                  </a:lnTo>
                  <a:lnTo>
                    <a:pt x="60" y="606"/>
                  </a:lnTo>
                  <a:lnTo>
                    <a:pt x="53" y="609"/>
                  </a:lnTo>
                  <a:lnTo>
                    <a:pt x="46" y="611"/>
                  </a:lnTo>
                  <a:lnTo>
                    <a:pt x="39"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42">
              <a:extLst>
                <a:ext uri="{FF2B5EF4-FFF2-40B4-BE49-F238E27FC236}">
                  <a16:creationId xmlns:a16="http://schemas.microsoft.com/office/drawing/2014/main" id="{FEB1EC94-6518-4D57-9008-BBB0DD27F9B2}"/>
                </a:ext>
              </a:extLst>
            </p:cNvPr>
            <p:cNvSpPr>
              <a:spLocks/>
            </p:cNvSpPr>
            <p:nvPr/>
          </p:nvSpPr>
          <p:spPr bwMode="auto">
            <a:xfrm>
              <a:off x="9077325" y="4038600"/>
              <a:ext cx="153988" cy="153988"/>
            </a:xfrm>
            <a:custGeom>
              <a:avLst/>
              <a:gdLst>
                <a:gd name="T0" fmla="*/ 38 w 291"/>
                <a:gd name="T1" fmla="*/ 291 h 291"/>
                <a:gd name="T2" fmla="*/ 31 w 291"/>
                <a:gd name="T3" fmla="*/ 290 h 291"/>
                <a:gd name="T4" fmla="*/ 24 w 291"/>
                <a:gd name="T5" fmla="*/ 288 h 291"/>
                <a:gd name="T6" fmla="*/ 17 w 291"/>
                <a:gd name="T7" fmla="*/ 285 h 291"/>
                <a:gd name="T8" fmla="*/ 11 w 291"/>
                <a:gd name="T9" fmla="*/ 280 h 291"/>
                <a:gd name="T10" fmla="*/ 6 w 291"/>
                <a:gd name="T11" fmla="*/ 273 h 291"/>
                <a:gd name="T12" fmla="*/ 3 w 291"/>
                <a:gd name="T13" fmla="*/ 267 h 291"/>
                <a:gd name="T14" fmla="*/ 1 w 291"/>
                <a:gd name="T15" fmla="*/ 259 h 291"/>
                <a:gd name="T16" fmla="*/ 0 w 291"/>
                <a:gd name="T17" fmla="*/ 252 h 291"/>
                <a:gd name="T18" fmla="*/ 1 w 291"/>
                <a:gd name="T19" fmla="*/ 244 h 291"/>
                <a:gd name="T20" fmla="*/ 3 w 291"/>
                <a:gd name="T21" fmla="*/ 238 h 291"/>
                <a:gd name="T22" fmla="*/ 6 w 291"/>
                <a:gd name="T23" fmla="*/ 231 h 291"/>
                <a:gd name="T24" fmla="*/ 11 w 291"/>
                <a:gd name="T25" fmla="*/ 225 h 291"/>
                <a:gd name="T26" fmla="*/ 224 w 291"/>
                <a:gd name="T27" fmla="*/ 12 h 291"/>
                <a:gd name="T28" fmla="*/ 230 w 291"/>
                <a:gd name="T29" fmla="*/ 6 h 291"/>
                <a:gd name="T30" fmla="*/ 237 w 291"/>
                <a:gd name="T31" fmla="*/ 3 h 291"/>
                <a:gd name="T32" fmla="*/ 244 w 291"/>
                <a:gd name="T33" fmla="*/ 1 h 291"/>
                <a:gd name="T34" fmla="*/ 252 w 291"/>
                <a:gd name="T35" fmla="*/ 0 h 291"/>
                <a:gd name="T36" fmla="*/ 259 w 291"/>
                <a:gd name="T37" fmla="*/ 1 h 291"/>
                <a:gd name="T38" fmla="*/ 266 w 291"/>
                <a:gd name="T39" fmla="*/ 3 h 291"/>
                <a:gd name="T40" fmla="*/ 273 w 291"/>
                <a:gd name="T41" fmla="*/ 6 h 291"/>
                <a:gd name="T42" fmla="*/ 279 w 291"/>
                <a:gd name="T43" fmla="*/ 12 h 291"/>
                <a:gd name="T44" fmla="*/ 285 w 291"/>
                <a:gd name="T45" fmla="*/ 18 h 291"/>
                <a:gd name="T46" fmla="*/ 288 w 291"/>
                <a:gd name="T47" fmla="*/ 24 h 291"/>
                <a:gd name="T48" fmla="*/ 290 w 291"/>
                <a:gd name="T49" fmla="*/ 32 h 291"/>
                <a:gd name="T50" fmla="*/ 291 w 291"/>
                <a:gd name="T51" fmla="*/ 39 h 291"/>
                <a:gd name="T52" fmla="*/ 290 w 291"/>
                <a:gd name="T53" fmla="*/ 47 h 291"/>
                <a:gd name="T54" fmla="*/ 288 w 291"/>
                <a:gd name="T55" fmla="*/ 53 h 291"/>
                <a:gd name="T56" fmla="*/ 285 w 291"/>
                <a:gd name="T57" fmla="*/ 61 h 291"/>
                <a:gd name="T58" fmla="*/ 279 w 291"/>
                <a:gd name="T59" fmla="*/ 66 h 291"/>
                <a:gd name="T60" fmla="*/ 66 w 291"/>
                <a:gd name="T61" fmla="*/ 280 h 291"/>
                <a:gd name="T62" fmla="*/ 59 w 291"/>
                <a:gd name="T63" fmla="*/ 285 h 291"/>
                <a:gd name="T64" fmla="*/ 53 w 291"/>
                <a:gd name="T65" fmla="*/ 288 h 291"/>
                <a:gd name="T66" fmla="*/ 45 w 291"/>
                <a:gd name="T67" fmla="*/ 290 h 291"/>
                <a:gd name="T68" fmla="*/ 38 w 291"/>
                <a:gd name="T6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1" h="291">
                  <a:moveTo>
                    <a:pt x="38" y="291"/>
                  </a:moveTo>
                  <a:lnTo>
                    <a:pt x="31" y="290"/>
                  </a:lnTo>
                  <a:lnTo>
                    <a:pt x="24" y="288"/>
                  </a:lnTo>
                  <a:lnTo>
                    <a:pt x="17" y="285"/>
                  </a:lnTo>
                  <a:lnTo>
                    <a:pt x="11" y="280"/>
                  </a:lnTo>
                  <a:lnTo>
                    <a:pt x="6" y="273"/>
                  </a:lnTo>
                  <a:lnTo>
                    <a:pt x="3" y="267"/>
                  </a:lnTo>
                  <a:lnTo>
                    <a:pt x="1" y="259"/>
                  </a:lnTo>
                  <a:lnTo>
                    <a:pt x="0" y="252"/>
                  </a:lnTo>
                  <a:lnTo>
                    <a:pt x="1" y="244"/>
                  </a:lnTo>
                  <a:lnTo>
                    <a:pt x="3" y="238"/>
                  </a:lnTo>
                  <a:lnTo>
                    <a:pt x="6" y="231"/>
                  </a:lnTo>
                  <a:lnTo>
                    <a:pt x="11" y="225"/>
                  </a:lnTo>
                  <a:lnTo>
                    <a:pt x="224" y="12"/>
                  </a:lnTo>
                  <a:lnTo>
                    <a:pt x="230" y="6"/>
                  </a:lnTo>
                  <a:lnTo>
                    <a:pt x="237" y="3"/>
                  </a:lnTo>
                  <a:lnTo>
                    <a:pt x="244" y="1"/>
                  </a:lnTo>
                  <a:lnTo>
                    <a:pt x="252" y="0"/>
                  </a:lnTo>
                  <a:lnTo>
                    <a:pt x="259" y="1"/>
                  </a:lnTo>
                  <a:lnTo>
                    <a:pt x="266" y="3"/>
                  </a:lnTo>
                  <a:lnTo>
                    <a:pt x="273" y="6"/>
                  </a:lnTo>
                  <a:lnTo>
                    <a:pt x="279" y="12"/>
                  </a:lnTo>
                  <a:lnTo>
                    <a:pt x="285" y="18"/>
                  </a:lnTo>
                  <a:lnTo>
                    <a:pt x="288" y="24"/>
                  </a:lnTo>
                  <a:lnTo>
                    <a:pt x="290" y="32"/>
                  </a:lnTo>
                  <a:lnTo>
                    <a:pt x="291" y="39"/>
                  </a:lnTo>
                  <a:lnTo>
                    <a:pt x="290" y="47"/>
                  </a:lnTo>
                  <a:lnTo>
                    <a:pt x="288" y="53"/>
                  </a:lnTo>
                  <a:lnTo>
                    <a:pt x="285" y="61"/>
                  </a:lnTo>
                  <a:lnTo>
                    <a:pt x="279" y="66"/>
                  </a:lnTo>
                  <a:lnTo>
                    <a:pt x="66" y="280"/>
                  </a:lnTo>
                  <a:lnTo>
                    <a:pt x="59" y="285"/>
                  </a:lnTo>
                  <a:lnTo>
                    <a:pt x="53" y="288"/>
                  </a:lnTo>
                  <a:lnTo>
                    <a:pt x="45" y="290"/>
                  </a:lnTo>
                  <a:lnTo>
                    <a:pt x="38"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43">
              <a:extLst>
                <a:ext uri="{FF2B5EF4-FFF2-40B4-BE49-F238E27FC236}">
                  <a16:creationId xmlns:a16="http://schemas.microsoft.com/office/drawing/2014/main" id="{C7003F44-203F-4094-A849-086412E1E46E}"/>
                </a:ext>
              </a:extLst>
            </p:cNvPr>
            <p:cNvSpPr>
              <a:spLocks noEditPoints="1"/>
            </p:cNvSpPr>
            <p:nvPr/>
          </p:nvSpPr>
          <p:spPr bwMode="auto">
            <a:xfrm>
              <a:off x="8713788" y="4351338"/>
              <a:ext cx="204788" cy="204788"/>
            </a:xfrm>
            <a:custGeom>
              <a:avLst/>
              <a:gdLst>
                <a:gd name="T0" fmla="*/ 169 w 386"/>
                <a:gd name="T1" fmla="*/ 80 h 387"/>
                <a:gd name="T2" fmla="*/ 137 w 386"/>
                <a:gd name="T3" fmla="*/ 91 h 387"/>
                <a:gd name="T4" fmla="*/ 111 w 386"/>
                <a:gd name="T5" fmla="*/ 112 h 387"/>
                <a:gd name="T6" fmla="*/ 90 w 386"/>
                <a:gd name="T7" fmla="*/ 138 h 387"/>
                <a:gd name="T8" fmla="*/ 79 w 386"/>
                <a:gd name="T9" fmla="*/ 170 h 387"/>
                <a:gd name="T10" fmla="*/ 78 w 386"/>
                <a:gd name="T11" fmla="*/ 205 h 387"/>
                <a:gd name="T12" fmla="*/ 86 w 386"/>
                <a:gd name="T13" fmla="*/ 238 h 387"/>
                <a:gd name="T14" fmla="*/ 103 w 386"/>
                <a:gd name="T15" fmla="*/ 267 h 387"/>
                <a:gd name="T16" fmla="*/ 128 w 386"/>
                <a:gd name="T17" fmla="*/ 289 h 387"/>
                <a:gd name="T18" fmla="*/ 158 w 386"/>
                <a:gd name="T19" fmla="*/ 304 h 387"/>
                <a:gd name="T20" fmla="*/ 192 w 386"/>
                <a:gd name="T21" fmla="*/ 309 h 387"/>
                <a:gd name="T22" fmla="*/ 228 w 386"/>
                <a:gd name="T23" fmla="*/ 304 h 387"/>
                <a:gd name="T24" fmla="*/ 257 w 386"/>
                <a:gd name="T25" fmla="*/ 289 h 387"/>
                <a:gd name="T26" fmla="*/ 283 w 386"/>
                <a:gd name="T27" fmla="*/ 267 h 387"/>
                <a:gd name="T28" fmla="*/ 300 w 386"/>
                <a:gd name="T29" fmla="*/ 238 h 387"/>
                <a:gd name="T30" fmla="*/ 308 w 386"/>
                <a:gd name="T31" fmla="*/ 205 h 387"/>
                <a:gd name="T32" fmla="*/ 306 w 386"/>
                <a:gd name="T33" fmla="*/ 170 h 387"/>
                <a:gd name="T34" fmla="*/ 294 w 386"/>
                <a:gd name="T35" fmla="*/ 138 h 387"/>
                <a:gd name="T36" fmla="*/ 274 w 386"/>
                <a:gd name="T37" fmla="*/ 112 h 387"/>
                <a:gd name="T38" fmla="*/ 248 w 386"/>
                <a:gd name="T39" fmla="*/ 91 h 387"/>
                <a:gd name="T40" fmla="*/ 216 w 386"/>
                <a:gd name="T41" fmla="*/ 80 h 387"/>
                <a:gd name="T42" fmla="*/ 192 w 386"/>
                <a:gd name="T43" fmla="*/ 387 h 387"/>
                <a:gd name="T44" fmla="*/ 135 w 386"/>
                <a:gd name="T45" fmla="*/ 378 h 387"/>
                <a:gd name="T46" fmla="*/ 85 w 386"/>
                <a:gd name="T47" fmla="*/ 354 h 387"/>
                <a:gd name="T48" fmla="*/ 44 w 386"/>
                <a:gd name="T49" fmla="*/ 317 h 387"/>
                <a:gd name="T50" fmla="*/ 15 w 386"/>
                <a:gd name="T51" fmla="*/ 269 h 387"/>
                <a:gd name="T52" fmla="*/ 0 w 386"/>
                <a:gd name="T53" fmla="*/ 214 h 387"/>
                <a:gd name="T54" fmla="*/ 3 w 386"/>
                <a:gd name="T55" fmla="*/ 154 h 387"/>
                <a:gd name="T56" fmla="*/ 23 w 386"/>
                <a:gd name="T57" fmla="*/ 101 h 387"/>
                <a:gd name="T58" fmla="*/ 56 w 386"/>
                <a:gd name="T59" fmla="*/ 56 h 387"/>
                <a:gd name="T60" fmla="*/ 101 w 386"/>
                <a:gd name="T61" fmla="*/ 23 h 387"/>
                <a:gd name="T62" fmla="*/ 154 w 386"/>
                <a:gd name="T63" fmla="*/ 4 h 387"/>
                <a:gd name="T64" fmla="*/ 213 w 386"/>
                <a:gd name="T65" fmla="*/ 1 h 387"/>
                <a:gd name="T66" fmla="*/ 268 w 386"/>
                <a:gd name="T67" fmla="*/ 15 h 387"/>
                <a:gd name="T68" fmla="*/ 316 w 386"/>
                <a:gd name="T69" fmla="*/ 45 h 387"/>
                <a:gd name="T70" fmla="*/ 353 w 386"/>
                <a:gd name="T71" fmla="*/ 85 h 387"/>
                <a:gd name="T72" fmla="*/ 377 w 386"/>
                <a:gd name="T73" fmla="*/ 136 h 387"/>
                <a:gd name="T74" fmla="*/ 386 w 386"/>
                <a:gd name="T75" fmla="*/ 193 h 387"/>
                <a:gd name="T76" fmla="*/ 377 w 386"/>
                <a:gd name="T77" fmla="*/ 251 h 387"/>
                <a:gd name="T78" fmla="*/ 353 w 386"/>
                <a:gd name="T79" fmla="*/ 302 h 387"/>
                <a:gd name="T80" fmla="*/ 316 w 386"/>
                <a:gd name="T81" fmla="*/ 342 h 387"/>
                <a:gd name="T82" fmla="*/ 268 w 386"/>
                <a:gd name="T83" fmla="*/ 371 h 387"/>
                <a:gd name="T84" fmla="*/ 213 w 386"/>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87">
                  <a:moveTo>
                    <a:pt x="192" y="78"/>
                  </a:moveTo>
                  <a:lnTo>
                    <a:pt x="181" y="78"/>
                  </a:lnTo>
                  <a:lnTo>
                    <a:pt x="169" y="80"/>
                  </a:lnTo>
                  <a:lnTo>
                    <a:pt x="158" y="83"/>
                  </a:lnTo>
                  <a:lnTo>
                    <a:pt x="148" y="86"/>
                  </a:lnTo>
                  <a:lnTo>
                    <a:pt x="137" y="91"/>
                  </a:lnTo>
                  <a:lnTo>
                    <a:pt x="128" y="98"/>
                  </a:lnTo>
                  <a:lnTo>
                    <a:pt x="119" y="104"/>
                  </a:lnTo>
                  <a:lnTo>
                    <a:pt x="111" y="112"/>
                  </a:lnTo>
                  <a:lnTo>
                    <a:pt x="103" y="120"/>
                  </a:lnTo>
                  <a:lnTo>
                    <a:pt x="97" y="129"/>
                  </a:lnTo>
                  <a:lnTo>
                    <a:pt x="90" y="138"/>
                  </a:lnTo>
                  <a:lnTo>
                    <a:pt x="86" y="149"/>
                  </a:lnTo>
                  <a:lnTo>
                    <a:pt x="82" y="159"/>
                  </a:lnTo>
                  <a:lnTo>
                    <a:pt x="79" y="170"/>
                  </a:lnTo>
                  <a:lnTo>
                    <a:pt x="78" y="182"/>
                  </a:lnTo>
                  <a:lnTo>
                    <a:pt x="77" y="193"/>
                  </a:lnTo>
                  <a:lnTo>
                    <a:pt x="78" y="205"/>
                  </a:lnTo>
                  <a:lnTo>
                    <a:pt x="79" y="217"/>
                  </a:lnTo>
                  <a:lnTo>
                    <a:pt x="82" y="227"/>
                  </a:lnTo>
                  <a:lnTo>
                    <a:pt x="86" y="238"/>
                  </a:lnTo>
                  <a:lnTo>
                    <a:pt x="90" y="249"/>
                  </a:lnTo>
                  <a:lnTo>
                    <a:pt x="97" y="258"/>
                  </a:lnTo>
                  <a:lnTo>
                    <a:pt x="103" y="267"/>
                  </a:lnTo>
                  <a:lnTo>
                    <a:pt x="111" y="275"/>
                  </a:lnTo>
                  <a:lnTo>
                    <a:pt x="119" y="283"/>
                  </a:lnTo>
                  <a:lnTo>
                    <a:pt x="128" y="289"/>
                  </a:lnTo>
                  <a:lnTo>
                    <a:pt x="137" y="295"/>
                  </a:lnTo>
                  <a:lnTo>
                    <a:pt x="148" y="300"/>
                  </a:lnTo>
                  <a:lnTo>
                    <a:pt x="158" y="304"/>
                  </a:lnTo>
                  <a:lnTo>
                    <a:pt x="169" y="307"/>
                  </a:lnTo>
                  <a:lnTo>
                    <a:pt x="181" y="308"/>
                  </a:lnTo>
                  <a:lnTo>
                    <a:pt x="192" y="309"/>
                  </a:lnTo>
                  <a:lnTo>
                    <a:pt x="204" y="308"/>
                  </a:lnTo>
                  <a:lnTo>
                    <a:pt x="216" y="307"/>
                  </a:lnTo>
                  <a:lnTo>
                    <a:pt x="228" y="304"/>
                  </a:lnTo>
                  <a:lnTo>
                    <a:pt x="238" y="300"/>
                  </a:lnTo>
                  <a:lnTo>
                    <a:pt x="248" y="295"/>
                  </a:lnTo>
                  <a:lnTo>
                    <a:pt x="257" y="289"/>
                  </a:lnTo>
                  <a:lnTo>
                    <a:pt x="267" y="283"/>
                  </a:lnTo>
                  <a:lnTo>
                    <a:pt x="274" y="275"/>
                  </a:lnTo>
                  <a:lnTo>
                    <a:pt x="283" y="267"/>
                  </a:lnTo>
                  <a:lnTo>
                    <a:pt x="289" y="258"/>
                  </a:lnTo>
                  <a:lnTo>
                    <a:pt x="294" y="249"/>
                  </a:lnTo>
                  <a:lnTo>
                    <a:pt x="300" y="238"/>
                  </a:lnTo>
                  <a:lnTo>
                    <a:pt x="304" y="227"/>
                  </a:lnTo>
                  <a:lnTo>
                    <a:pt x="306" y="217"/>
                  </a:lnTo>
                  <a:lnTo>
                    <a:pt x="308" y="205"/>
                  </a:lnTo>
                  <a:lnTo>
                    <a:pt x="308" y="193"/>
                  </a:lnTo>
                  <a:lnTo>
                    <a:pt x="308" y="182"/>
                  </a:lnTo>
                  <a:lnTo>
                    <a:pt x="306" y="170"/>
                  </a:lnTo>
                  <a:lnTo>
                    <a:pt x="304" y="159"/>
                  </a:lnTo>
                  <a:lnTo>
                    <a:pt x="300" y="149"/>
                  </a:lnTo>
                  <a:lnTo>
                    <a:pt x="294" y="138"/>
                  </a:lnTo>
                  <a:lnTo>
                    <a:pt x="289" y="129"/>
                  </a:lnTo>
                  <a:lnTo>
                    <a:pt x="283" y="120"/>
                  </a:lnTo>
                  <a:lnTo>
                    <a:pt x="274" y="112"/>
                  </a:lnTo>
                  <a:lnTo>
                    <a:pt x="267" y="104"/>
                  </a:lnTo>
                  <a:lnTo>
                    <a:pt x="257" y="98"/>
                  </a:lnTo>
                  <a:lnTo>
                    <a:pt x="248" y="91"/>
                  </a:lnTo>
                  <a:lnTo>
                    <a:pt x="238" y="86"/>
                  </a:lnTo>
                  <a:lnTo>
                    <a:pt x="228" y="83"/>
                  </a:lnTo>
                  <a:lnTo>
                    <a:pt x="216" y="80"/>
                  </a:lnTo>
                  <a:lnTo>
                    <a:pt x="204" y="78"/>
                  </a:lnTo>
                  <a:lnTo>
                    <a:pt x="192" y="78"/>
                  </a:lnTo>
                  <a:close/>
                  <a:moveTo>
                    <a:pt x="192" y="387"/>
                  </a:moveTo>
                  <a:lnTo>
                    <a:pt x="173" y="386"/>
                  </a:lnTo>
                  <a:lnTo>
                    <a:pt x="154" y="383"/>
                  </a:lnTo>
                  <a:lnTo>
                    <a:pt x="135" y="378"/>
                  </a:lnTo>
                  <a:lnTo>
                    <a:pt x="118" y="371"/>
                  </a:lnTo>
                  <a:lnTo>
                    <a:pt x="101" y="363"/>
                  </a:lnTo>
                  <a:lnTo>
                    <a:pt x="85" y="354"/>
                  </a:lnTo>
                  <a:lnTo>
                    <a:pt x="70" y="342"/>
                  </a:lnTo>
                  <a:lnTo>
                    <a:pt x="56" y="329"/>
                  </a:lnTo>
                  <a:lnTo>
                    <a:pt x="44" y="317"/>
                  </a:lnTo>
                  <a:lnTo>
                    <a:pt x="33" y="302"/>
                  </a:lnTo>
                  <a:lnTo>
                    <a:pt x="23" y="286"/>
                  </a:lnTo>
                  <a:lnTo>
                    <a:pt x="15" y="269"/>
                  </a:lnTo>
                  <a:lnTo>
                    <a:pt x="9" y="251"/>
                  </a:lnTo>
                  <a:lnTo>
                    <a:pt x="3" y="233"/>
                  </a:lnTo>
                  <a:lnTo>
                    <a:pt x="0" y="214"/>
                  </a:lnTo>
                  <a:lnTo>
                    <a:pt x="0" y="193"/>
                  </a:lnTo>
                  <a:lnTo>
                    <a:pt x="0" y="173"/>
                  </a:lnTo>
                  <a:lnTo>
                    <a:pt x="3" y="154"/>
                  </a:lnTo>
                  <a:lnTo>
                    <a:pt x="9" y="136"/>
                  </a:lnTo>
                  <a:lnTo>
                    <a:pt x="15" y="118"/>
                  </a:lnTo>
                  <a:lnTo>
                    <a:pt x="23" y="101"/>
                  </a:lnTo>
                  <a:lnTo>
                    <a:pt x="33" y="85"/>
                  </a:lnTo>
                  <a:lnTo>
                    <a:pt x="44" y="70"/>
                  </a:lnTo>
                  <a:lnTo>
                    <a:pt x="56" y="56"/>
                  </a:lnTo>
                  <a:lnTo>
                    <a:pt x="70" y="45"/>
                  </a:lnTo>
                  <a:lnTo>
                    <a:pt x="85" y="33"/>
                  </a:lnTo>
                  <a:lnTo>
                    <a:pt x="101" y="23"/>
                  </a:lnTo>
                  <a:lnTo>
                    <a:pt x="118" y="15"/>
                  </a:lnTo>
                  <a:lnTo>
                    <a:pt x="135" y="8"/>
                  </a:lnTo>
                  <a:lnTo>
                    <a:pt x="154" y="4"/>
                  </a:lnTo>
                  <a:lnTo>
                    <a:pt x="173" y="1"/>
                  </a:lnTo>
                  <a:lnTo>
                    <a:pt x="192" y="0"/>
                  </a:lnTo>
                  <a:lnTo>
                    <a:pt x="213" y="1"/>
                  </a:lnTo>
                  <a:lnTo>
                    <a:pt x="232" y="4"/>
                  </a:lnTo>
                  <a:lnTo>
                    <a:pt x="250" y="8"/>
                  </a:lnTo>
                  <a:lnTo>
                    <a:pt x="268" y="15"/>
                  </a:lnTo>
                  <a:lnTo>
                    <a:pt x="285" y="23"/>
                  </a:lnTo>
                  <a:lnTo>
                    <a:pt x="301" y="33"/>
                  </a:lnTo>
                  <a:lnTo>
                    <a:pt x="316" y="45"/>
                  </a:lnTo>
                  <a:lnTo>
                    <a:pt x="330" y="56"/>
                  </a:lnTo>
                  <a:lnTo>
                    <a:pt x="342" y="70"/>
                  </a:lnTo>
                  <a:lnTo>
                    <a:pt x="353" y="85"/>
                  </a:lnTo>
                  <a:lnTo>
                    <a:pt x="362" y="101"/>
                  </a:lnTo>
                  <a:lnTo>
                    <a:pt x="371" y="118"/>
                  </a:lnTo>
                  <a:lnTo>
                    <a:pt x="377" y="136"/>
                  </a:lnTo>
                  <a:lnTo>
                    <a:pt x="382" y="154"/>
                  </a:lnTo>
                  <a:lnTo>
                    <a:pt x="385" y="173"/>
                  </a:lnTo>
                  <a:lnTo>
                    <a:pt x="386" y="193"/>
                  </a:lnTo>
                  <a:lnTo>
                    <a:pt x="385" y="214"/>
                  </a:lnTo>
                  <a:lnTo>
                    <a:pt x="382" y="233"/>
                  </a:lnTo>
                  <a:lnTo>
                    <a:pt x="377" y="251"/>
                  </a:lnTo>
                  <a:lnTo>
                    <a:pt x="371" y="269"/>
                  </a:lnTo>
                  <a:lnTo>
                    <a:pt x="362" y="286"/>
                  </a:lnTo>
                  <a:lnTo>
                    <a:pt x="353" y="302"/>
                  </a:lnTo>
                  <a:lnTo>
                    <a:pt x="342" y="317"/>
                  </a:lnTo>
                  <a:lnTo>
                    <a:pt x="330" y="329"/>
                  </a:lnTo>
                  <a:lnTo>
                    <a:pt x="316" y="342"/>
                  </a:lnTo>
                  <a:lnTo>
                    <a:pt x="301" y="354"/>
                  </a:lnTo>
                  <a:lnTo>
                    <a:pt x="285" y="363"/>
                  </a:lnTo>
                  <a:lnTo>
                    <a:pt x="268" y="371"/>
                  </a:lnTo>
                  <a:lnTo>
                    <a:pt x="250" y="378"/>
                  </a:lnTo>
                  <a:lnTo>
                    <a:pt x="232" y="383"/>
                  </a:lnTo>
                  <a:lnTo>
                    <a:pt x="213" y="386"/>
                  </a:lnTo>
                  <a:lnTo>
                    <a:pt x="1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45">
              <a:extLst>
                <a:ext uri="{FF2B5EF4-FFF2-40B4-BE49-F238E27FC236}">
                  <a16:creationId xmlns:a16="http://schemas.microsoft.com/office/drawing/2014/main" id="{30320766-2305-494A-BA57-36BB52E78F29}"/>
                </a:ext>
              </a:extLst>
            </p:cNvPr>
            <p:cNvSpPr>
              <a:spLocks noEditPoints="1"/>
            </p:cNvSpPr>
            <p:nvPr/>
          </p:nvSpPr>
          <p:spPr bwMode="auto">
            <a:xfrm>
              <a:off x="8278813" y="4140200"/>
              <a:ext cx="849313" cy="849313"/>
            </a:xfrm>
            <a:custGeom>
              <a:avLst/>
              <a:gdLst>
                <a:gd name="T0" fmla="*/ 1393 w 1605"/>
                <a:gd name="T1" fmla="*/ 92 h 1606"/>
                <a:gd name="T2" fmla="*/ 1244 w 1605"/>
                <a:gd name="T3" fmla="*/ 145 h 1606"/>
                <a:gd name="T4" fmla="*/ 1067 w 1605"/>
                <a:gd name="T5" fmla="*/ 231 h 1606"/>
                <a:gd name="T6" fmla="*/ 874 w 1605"/>
                <a:gd name="T7" fmla="*/ 344 h 1606"/>
                <a:gd name="T8" fmla="*/ 680 w 1605"/>
                <a:gd name="T9" fmla="*/ 477 h 1606"/>
                <a:gd name="T10" fmla="*/ 497 w 1605"/>
                <a:gd name="T11" fmla="*/ 623 h 1606"/>
                <a:gd name="T12" fmla="*/ 338 w 1605"/>
                <a:gd name="T13" fmla="*/ 778 h 1606"/>
                <a:gd name="T14" fmla="*/ 212 w 1605"/>
                <a:gd name="T15" fmla="*/ 931 h 1606"/>
                <a:gd name="T16" fmla="*/ 127 w 1605"/>
                <a:gd name="T17" fmla="*/ 1073 h 1606"/>
                <a:gd name="T18" fmla="*/ 84 w 1605"/>
                <a:gd name="T19" fmla="*/ 1199 h 1606"/>
                <a:gd name="T20" fmla="*/ 78 w 1605"/>
                <a:gd name="T21" fmla="*/ 1295 h 1606"/>
                <a:gd name="T22" fmla="*/ 102 w 1605"/>
                <a:gd name="T23" fmla="*/ 1380 h 1606"/>
                <a:gd name="T24" fmla="*/ 154 w 1605"/>
                <a:gd name="T25" fmla="*/ 1453 h 1606"/>
                <a:gd name="T26" fmla="*/ 234 w 1605"/>
                <a:gd name="T27" fmla="*/ 1509 h 1606"/>
                <a:gd name="T28" fmla="*/ 331 w 1605"/>
                <a:gd name="T29" fmla="*/ 1528 h 1606"/>
                <a:gd name="T30" fmla="*/ 441 w 1605"/>
                <a:gd name="T31" fmla="*/ 1513 h 1606"/>
                <a:gd name="T32" fmla="*/ 562 w 1605"/>
                <a:gd name="T33" fmla="*/ 1463 h 1606"/>
                <a:gd name="T34" fmla="*/ 694 w 1605"/>
                <a:gd name="T35" fmla="*/ 1380 h 1606"/>
                <a:gd name="T36" fmla="*/ 833 w 1605"/>
                <a:gd name="T37" fmla="*/ 1263 h 1606"/>
                <a:gd name="T38" fmla="*/ 989 w 1605"/>
                <a:gd name="T39" fmla="*/ 1102 h 1606"/>
                <a:gd name="T40" fmla="*/ 1151 w 1605"/>
                <a:gd name="T41" fmla="*/ 897 h 1606"/>
                <a:gd name="T42" fmla="*/ 1301 w 1605"/>
                <a:gd name="T43" fmla="*/ 669 h 1606"/>
                <a:gd name="T44" fmla="*/ 1430 w 1605"/>
                <a:gd name="T45" fmla="*/ 431 h 1606"/>
                <a:gd name="T46" fmla="*/ 1507 w 1605"/>
                <a:gd name="T47" fmla="*/ 242 h 1606"/>
                <a:gd name="T48" fmla="*/ 1529 w 1605"/>
                <a:gd name="T49" fmla="*/ 127 h 1606"/>
                <a:gd name="T50" fmla="*/ 1521 w 1605"/>
                <a:gd name="T51" fmla="*/ 89 h 1606"/>
                <a:gd name="T52" fmla="*/ 1482 w 1605"/>
                <a:gd name="T53" fmla="*/ 78 h 1606"/>
                <a:gd name="T54" fmla="*/ 272 w 1605"/>
                <a:gd name="T55" fmla="*/ 1601 h 1606"/>
                <a:gd name="T56" fmla="*/ 194 w 1605"/>
                <a:gd name="T57" fmla="*/ 1576 h 1606"/>
                <a:gd name="T58" fmla="*/ 124 w 1605"/>
                <a:gd name="T59" fmla="*/ 1531 h 1606"/>
                <a:gd name="T60" fmla="*/ 55 w 1605"/>
                <a:gd name="T61" fmla="*/ 1453 h 1606"/>
                <a:gd name="T62" fmla="*/ 9 w 1605"/>
                <a:gd name="T63" fmla="*/ 1351 h 1606"/>
                <a:gd name="T64" fmla="*/ 1 w 1605"/>
                <a:gd name="T65" fmla="*/ 1234 h 1606"/>
                <a:gd name="T66" fmla="*/ 31 w 1605"/>
                <a:gd name="T67" fmla="*/ 1103 h 1606"/>
                <a:gd name="T68" fmla="*/ 105 w 1605"/>
                <a:gd name="T69" fmla="*/ 954 h 1606"/>
                <a:gd name="T70" fmla="*/ 222 w 1605"/>
                <a:gd name="T71" fmla="*/ 794 h 1606"/>
                <a:gd name="T72" fmla="*/ 376 w 1605"/>
                <a:gd name="T73" fmla="*/ 631 h 1606"/>
                <a:gd name="T74" fmla="*/ 549 w 1605"/>
                <a:gd name="T75" fmla="*/ 481 h 1606"/>
                <a:gd name="T76" fmla="*/ 744 w 1605"/>
                <a:gd name="T77" fmla="*/ 337 h 1606"/>
                <a:gd name="T78" fmla="*/ 947 w 1605"/>
                <a:gd name="T79" fmla="*/ 210 h 1606"/>
                <a:gd name="T80" fmla="*/ 1142 w 1605"/>
                <a:gd name="T81" fmla="*/ 107 h 1606"/>
                <a:gd name="T82" fmla="*/ 1318 w 1605"/>
                <a:gd name="T83" fmla="*/ 34 h 1606"/>
                <a:gd name="T84" fmla="*/ 1459 w 1605"/>
                <a:gd name="T85" fmla="*/ 2 h 1606"/>
                <a:gd name="T86" fmla="*/ 1535 w 1605"/>
                <a:gd name="T87" fmla="*/ 8 h 1606"/>
                <a:gd name="T88" fmla="*/ 1582 w 1605"/>
                <a:gd name="T89" fmla="*/ 40 h 1606"/>
                <a:gd name="T90" fmla="*/ 1603 w 1605"/>
                <a:gd name="T91" fmla="*/ 96 h 1606"/>
                <a:gd name="T92" fmla="*/ 1602 w 1605"/>
                <a:gd name="T93" fmla="*/ 169 h 1606"/>
                <a:gd name="T94" fmla="*/ 1558 w 1605"/>
                <a:gd name="T95" fmla="*/ 332 h 1606"/>
                <a:gd name="T96" fmla="*/ 1469 w 1605"/>
                <a:gd name="T97" fmla="*/ 527 h 1606"/>
                <a:gd name="T98" fmla="*/ 1338 w 1605"/>
                <a:gd name="T99" fmla="*/ 757 h 1606"/>
                <a:gd name="T100" fmla="*/ 1180 w 1605"/>
                <a:gd name="T101" fmla="*/ 988 h 1606"/>
                <a:gd name="T102" fmla="*/ 1013 w 1605"/>
                <a:gd name="T103" fmla="*/ 1191 h 1606"/>
                <a:gd name="T104" fmla="*/ 820 w 1605"/>
                <a:gd name="T105" fmla="*/ 1379 h 1606"/>
                <a:gd name="T106" fmla="*/ 621 w 1605"/>
                <a:gd name="T107" fmla="*/ 1520 h 1606"/>
                <a:gd name="T108" fmla="*/ 493 w 1605"/>
                <a:gd name="T109" fmla="*/ 1580 h 1606"/>
                <a:gd name="T110" fmla="*/ 406 w 1605"/>
                <a:gd name="T111" fmla="*/ 1601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5" h="1606">
                  <a:moveTo>
                    <a:pt x="1482" y="78"/>
                  </a:moveTo>
                  <a:lnTo>
                    <a:pt x="1462" y="79"/>
                  </a:lnTo>
                  <a:lnTo>
                    <a:pt x="1441" y="81"/>
                  </a:lnTo>
                  <a:lnTo>
                    <a:pt x="1417" y="85"/>
                  </a:lnTo>
                  <a:lnTo>
                    <a:pt x="1393" y="92"/>
                  </a:lnTo>
                  <a:lnTo>
                    <a:pt x="1366" y="99"/>
                  </a:lnTo>
                  <a:lnTo>
                    <a:pt x="1338" y="109"/>
                  </a:lnTo>
                  <a:lnTo>
                    <a:pt x="1308" y="119"/>
                  </a:lnTo>
                  <a:lnTo>
                    <a:pt x="1277" y="131"/>
                  </a:lnTo>
                  <a:lnTo>
                    <a:pt x="1244" y="145"/>
                  </a:lnTo>
                  <a:lnTo>
                    <a:pt x="1210" y="160"/>
                  </a:lnTo>
                  <a:lnTo>
                    <a:pt x="1176" y="176"/>
                  </a:lnTo>
                  <a:lnTo>
                    <a:pt x="1140" y="193"/>
                  </a:lnTo>
                  <a:lnTo>
                    <a:pt x="1104" y="212"/>
                  </a:lnTo>
                  <a:lnTo>
                    <a:pt x="1067" y="231"/>
                  </a:lnTo>
                  <a:lnTo>
                    <a:pt x="1029" y="251"/>
                  </a:lnTo>
                  <a:lnTo>
                    <a:pt x="991" y="274"/>
                  </a:lnTo>
                  <a:lnTo>
                    <a:pt x="952" y="296"/>
                  </a:lnTo>
                  <a:lnTo>
                    <a:pt x="914" y="319"/>
                  </a:lnTo>
                  <a:lnTo>
                    <a:pt x="874" y="344"/>
                  </a:lnTo>
                  <a:lnTo>
                    <a:pt x="835" y="369"/>
                  </a:lnTo>
                  <a:lnTo>
                    <a:pt x="796" y="395"/>
                  </a:lnTo>
                  <a:lnTo>
                    <a:pt x="756" y="421"/>
                  </a:lnTo>
                  <a:lnTo>
                    <a:pt x="718" y="449"/>
                  </a:lnTo>
                  <a:lnTo>
                    <a:pt x="680" y="477"/>
                  </a:lnTo>
                  <a:lnTo>
                    <a:pt x="641" y="505"/>
                  </a:lnTo>
                  <a:lnTo>
                    <a:pt x="604" y="534"/>
                  </a:lnTo>
                  <a:lnTo>
                    <a:pt x="568" y="564"/>
                  </a:lnTo>
                  <a:lnTo>
                    <a:pt x="532" y="593"/>
                  </a:lnTo>
                  <a:lnTo>
                    <a:pt x="497" y="623"/>
                  </a:lnTo>
                  <a:lnTo>
                    <a:pt x="464" y="654"/>
                  </a:lnTo>
                  <a:lnTo>
                    <a:pt x="431" y="684"/>
                  </a:lnTo>
                  <a:lnTo>
                    <a:pt x="399" y="715"/>
                  </a:lnTo>
                  <a:lnTo>
                    <a:pt x="368" y="748"/>
                  </a:lnTo>
                  <a:lnTo>
                    <a:pt x="338" y="778"/>
                  </a:lnTo>
                  <a:lnTo>
                    <a:pt x="310" y="810"/>
                  </a:lnTo>
                  <a:lnTo>
                    <a:pt x="283" y="841"/>
                  </a:lnTo>
                  <a:lnTo>
                    <a:pt x="258" y="872"/>
                  </a:lnTo>
                  <a:lnTo>
                    <a:pt x="234" y="902"/>
                  </a:lnTo>
                  <a:lnTo>
                    <a:pt x="212" y="931"/>
                  </a:lnTo>
                  <a:lnTo>
                    <a:pt x="192" y="960"/>
                  </a:lnTo>
                  <a:lnTo>
                    <a:pt x="174" y="990"/>
                  </a:lnTo>
                  <a:lnTo>
                    <a:pt x="156" y="1018"/>
                  </a:lnTo>
                  <a:lnTo>
                    <a:pt x="141" y="1045"/>
                  </a:lnTo>
                  <a:lnTo>
                    <a:pt x="127" y="1073"/>
                  </a:lnTo>
                  <a:lnTo>
                    <a:pt x="115" y="1100"/>
                  </a:lnTo>
                  <a:lnTo>
                    <a:pt x="105" y="1127"/>
                  </a:lnTo>
                  <a:lnTo>
                    <a:pt x="95" y="1153"/>
                  </a:lnTo>
                  <a:lnTo>
                    <a:pt x="89" y="1178"/>
                  </a:lnTo>
                  <a:lnTo>
                    <a:pt x="84" y="1199"/>
                  </a:lnTo>
                  <a:lnTo>
                    <a:pt x="80" y="1219"/>
                  </a:lnTo>
                  <a:lnTo>
                    <a:pt x="78" y="1239"/>
                  </a:lnTo>
                  <a:lnTo>
                    <a:pt x="77" y="1258"/>
                  </a:lnTo>
                  <a:lnTo>
                    <a:pt x="77" y="1277"/>
                  </a:lnTo>
                  <a:lnTo>
                    <a:pt x="78" y="1295"/>
                  </a:lnTo>
                  <a:lnTo>
                    <a:pt x="80" y="1313"/>
                  </a:lnTo>
                  <a:lnTo>
                    <a:pt x="84" y="1331"/>
                  </a:lnTo>
                  <a:lnTo>
                    <a:pt x="89" y="1347"/>
                  </a:lnTo>
                  <a:lnTo>
                    <a:pt x="94" y="1364"/>
                  </a:lnTo>
                  <a:lnTo>
                    <a:pt x="102" y="1380"/>
                  </a:lnTo>
                  <a:lnTo>
                    <a:pt x="109" y="1396"/>
                  </a:lnTo>
                  <a:lnTo>
                    <a:pt x="119" y="1411"/>
                  </a:lnTo>
                  <a:lnTo>
                    <a:pt x="129" y="1426"/>
                  </a:lnTo>
                  <a:lnTo>
                    <a:pt x="141" y="1439"/>
                  </a:lnTo>
                  <a:lnTo>
                    <a:pt x="154" y="1453"/>
                  </a:lnTo>
                  <a:lnTo>
                    <a:pt x="169" y="1467"/>
                  </a:lnTo>
                  <a:lnTo>
                    <a:pt x="185" y="1479"/>
                  </a:lnTo>
                  <a:lnTo>
                    <a:pt x="200" y="1490"/>
                  </a:lnTo>
                  <a:lnTo>
                    <a:pt x="217" y="1500"/>
                  </a:lnTo>
                  <a:lnTo>
                    <a:pt x="234" y="1509"/>
                  </a:lnTo>
                  <a:lnTo>
                    <a:pt x="253" y="1515"/>
                  </a:lnTo>
                  <a:lnTo>
                    <a:pt x="272" y="1520"/>
                  </a:lnTo>
                  <a:lnTo>
                    <a:pt x="291" y="1525"/>
                  </a:lnTo>
                  <a:lnTo>
                    <a:pt x="311" y="1527"/>
                  </a:lnTo>
                  <a:lnTo>
                    <a:pt x="331" y="1528"/>
                  </a:lnTo>
                  <a:lnTo>
                    <a:pt x="352" y="1528"/>
                  </a:lnTo>
                  <a:lnTo>
                    <a:pt x="374" y="1527"/>
                  </a:lnTo>
                  <a:lnTo>
                    <a:pt x="395" y="1523"/>
                  </a:lnTo>
                  <a:lnTo>
                    <a:pt x="418" y="1519"/>
                  </a:lnTo>
                  <a:lnTo>
                    <a:pt x="441" y="1513"/>
                  </a:lnTo>
                  <a:lnTo>
                    <a:pt x="464" y="1505"/>
                  </a:lnTo>
                  <a:lnTo>
                    <a:pt x="487" y="1497"/>
                  </a:lnTo>
                  <a:lnTo>
                    <a:pt x="512" y="1487"/>
                  </a:lnTo>
                  <a:lnTo>
                    <a:pt x="536" y="1476"/>
                  </a:lnTo>
                  <a:lnTo>
                    <a:pt x="562" y="1463"/>
                  </a:lnTo>
                  <a:lnTo>
                    <a:pt x="587" y="1449"/>
                  </a:lnTo>
                  <a:lnTo>
                    <a:pt x="613" y="1434"/>
                  </a:lnTo>
                  <a:lnTo>
                    <a:pt x="639" y="1417"/>
                  </a:lnTo>
                  <a:lnTo>
                    <a:pt x="666" y="1399"/>
                  </a:lnTo>
                  <a:lnTo>
                    <a:pt x="694" y="1380"/>
                  </a:lnTo>
                  <a:lnTo>
                    <a:pt x="720" y="1359"/>
                  </a:lnTo>
                  <a:lnTo>
                    <a:pt x="748" y="1337"/>
                  </a:lnTo>
                  <a:lnTo>
                    <a:pt x="776" y="1314"/>
                  </a:lnTo>
                  <a:lnTo>
                    <a:pt x="804" y="1289"/>
                  </a:lnTo>
                  <a:lnTo>
                    <a:pt x="833" y="1263"/>
                  </a:lnTo>
                  <a:lnTo>
                    <a:pt x="863" y="1235"/>
                  </a:lnTo>
                  <a:lnTo>
                    <a:pt x="891" y="1207"/>
                  </a:lnTo>
                  <a:lnTo>
                    <a:pt x="924" y="1174"/>
                  </a:lnTo>
                  <a:lnTo>
                    <a:pt x="956" y="1139"/>
                  </a:lnTo>
                  <a:lnTo>
                    <a:pt x="989" y="1102"/>
                  </a:lnTo>
                  <a:lnTo>
                    <a:pt x="1022" y="1063"/>
                  </a:lnTo>
                  <a:lnTo>
                    <a:pt x="1055" y="1024"/>
                  </a:lnTo>
                  <a:lnTo>
                    <a:pt x="1087" y="982"/>
                  </a:lnTo>
                  <a:lnTo>
                    <a:pt x="1119" y="940"/>
                  </a:lnTo>
                  <a:lnTo>
                    <a:pt x="1151" y="897"/>
                  </a:lnTo>
                  <a:lnTo>
                    <a:pt x="1182" y="853"/>
                  </a:lnTo>
                  <a:lnTo>
                    <a:pt x="1213" y="808"/>
                  </a:lnTo>
                  <a:lnTo>
                    <a:pt x="1243" y="762"/>
                  </a:lnTo>
                  <a:lnTo>
                    <a:pt x="1273" y="716"/>
                  </a:lnTo>
                  <a:lnTo>
                    <a:pt x="1301" y="669"/>
                  </a:lnTo>
                  <a:lnTo>
                    <a:pt x="1329" y="622"/>
                  </a:lnTo>
                  <a:lnTo>
                    <a:pt x="1356" y="575"/>
                  </a:lnTo>
                  <a:lnTo>
                    <a:pt x="1381" y="528"/>
                  </a:lnTo>
                  <a:lnTo>
                    <a:pt x="1407" y="478"/>
                  </a:lnTo>
                  <a:lnTo>
                    <a:pt x="1430" y="431"/>
                  </a:lnTo>
                  <a:lnTo>
                    <a:pt x="1450" y="387"/>
                  </a:lnTo>
                  <a:lnTo>
                    <a:pt x="1468" y="346"/>
                  </a:lnTo>
                  <a:lnTo>
                    <a:pt x="1483" y="308"/>
                  </a:lnTo>
                  <a:lnTo>
                    <a:pt x="1496" y="274"/>
                  </a:lnTo>
                  <a:lnTo>
                    <a:pt x="1507" y="242"/>
                  </a:lnTo>
                  <a:lnTo>
                    <a:pt x="1514" y="213"/>
                  </a:lnTo>
                  <a:lnTo>
                    <a:pt x="1520" y="186"/>
                  </a:lnTo>
                  <a:lnTo>
                    <a:pt x="1526" y="164"/>
                  </a:lnTo>
                  <a:lnTo>
                    <a:pt x="1528" y="144"/>
                  </a:lnTo>
                  <a:lnTo>
                    <a:pt x="1529" y="127"/>
                  </a:lnTo>
                  <a:lnTo>
                    <a:pt x="1529" y="112"/>
                  </a:lnTo>
                  <a:lnTo>
                    <a:pt x="1527" y="101"/>
                  </a:lnTo>
                  <a:lnTo>
                    <a:pt x="1526" y="96"/>
                  </a:lnTo>
                  <a:lnTo>
                    <a:pt x="1524" y="92"/>
                  </a:lnTo>
                  <a:lnTo>
                    <a:pt x="1521" y="89"/>
                  </a:lnTo>
                  <a:lnTo>
                    <a:pt x="1519" y="87"/>
                  </a:lnTo>
                  <a:lnTo>
                    <a:pt x="1517" y="84"/>
                  </a:lnTo>
                  <a:lnTo>
                    <a:pt x="1510" y="81"/>
                  </a:lnTo>
                  <a:lnTo>
                    <a:pt x="1499" y="79"/>
                  </a:lnTo>
                  <a:lnTo>
                    <a:pt x="1482" y="78"/>
                  </a:lnTo>
                  <a:close/>
                  <a:moveTo>
                    <a:pt x="339" y="1606"/>
                  </a:moveTo>
                  <a:lnTo>
                    <a:pt x="322" y="1606"/>
                  </a:lnTo>
                  <a:lnTo>
                    <a:pt x="305" y="1605"/>
                  </a:lnTo>
                  <a:lnTo>
                    <a:pt x="288" y="1603"/>
                  </a:lnTo>
                  <a:lnTo>
                    <a:pt x="272" y="1601"/>
                  </a:lnTo>
                  <a:lnTo>
                    <a:pt x="255" y="1597"/>
                  </a:lnTo>
                  <a:lnTo>
                    <a:pt x="240" y="1593"/>
                  </a:lnTo>
                  <a:lnTo>
                    <a:pt x="224" y="1587"/>
                  </a:lnTo>
                  <a:lnTo>
                    <a:pt x="209" y="1582"/>
                  </a:lnTo>
                  <a:lnTo>
                    <a:pt x="194" y="1576"/>
                  </a:lnTo>
                  <a:lnTo>
                    <a:pt x="179" y="1568"/>
                  </a:lnTo>
                  <a:lnTo>
                    <a:pt x="165" y="1560"/>
                  </a:lnTo>
                  <a:lnTo>
                    <a:pt x="151" y="1551"/>
                  </a:lnTo>
                  <a:lnTo>
                    <a:pt x="138" y="1542"/>
                  </a:lnTo>
                  <a:lnTo>
                    <a:pt x="124" y="1531"/>
                  </a:lnTo>
                  <a:lnTo>
                    <a:pt x="111" y="1519"/>
                  </a:lnTo>
                  <a:lnTo>
                    <a:pt x="98" y="1507"/>
                  </a:lnTo>
                  <a:lnTo>
                    <a:pt x="82" y="1490"/>
                  </a:lnTo>
                  <a:lnTo>
                    <a:pt x="68" y="1472"/>
                  </a:lnTo>
                  <a:lnTo>
                    <a:pt x="55" y="1453"/>
                  </a:lnTo>
                  <a:lnTo>
                    <a:pt x="42" y="1434"/>
                  </a:lnTo>
                  <a:lnTo>
                    <a:pt x="33" y="1414"/>
                  </a:lnTo>
                  <a:lnTo>
                    <a:pt x="23" y="1394"/>
                  </a:lnTo>
                  <a:lnTo>
                    <a:pt x="16" y="1373"/>
                  </a:lnTo>
                  <a:lnTo>
                    <a:pt x="9" y="1351"/>
                  </a:lnTo>
                  <a:lnTo>
                    <a:pt x="5" y="1329"/>
                  </a:lnTo>
                  <a:lnTo>
                    <a:pt x="2" y="1306"/>
                  </a:lnTo>
                  <a:lnTo>
                    <a:pt x="0" y="1283"/>
                  </a:lnTo>
                  <a:lnTo>
                    <a:pt x="0" y="1259"/>
                  </a:lnTo>
                  <a:lnTo>
                    <a:pt x="1" y="1234"/>
                  </a:lnTo>
                  <a:lnTo>
                    <a:pt x="4" y="1210"/>
                  </a:lnTo>
                  <a:lnTo>
                    <a:pt x="8" y="1184"/>
                  </a:lnTo>
                  <a:lnTo>
                    <a:pt x="13" y="1159"/>
                  </a:lnTo>
                  <a:lnTo>
                    <a:pt x="22" y="1131"/>
                  </a:lnTo>
                  <a:lnTo>
                    <a:pt x="31" y="1103"/>
                  </a:lnTo>
                  <a:lnTo>
                    <a:pt x="42" y="1074"/>
                  </a:lnTo>
                  <a:lnTo>
                    <a:pt x="56" y="1044"/>
                  </a:lnTo>
                  <a:lnTo>
                    <a:pt x="70" y="1014"/>
                  </a:lnTo>
                  <a:lnTo>
                    <a:pt x="87" y="985"/>
                  </a:lnTo>
                  <a:lnTo>
                    <a:pt x="105" y="954"/>
                  </a:lnTo>
                  <a:lnTo>
                    <a:pt x="125" y="923"/>
                  </a:lnTo>
                  <a:lnTo>
                    <a:pt x="146" y="891"/>
                  </a:lnTo>
                  <a:lnTo>
                    <a:pt x="170" y="859"/>
                  </a:lnTo>
                  <a:lnTo>
                    <a:pt x="195" y="827"/>
                  </a:lnTo>
                  <a:lnTo>
                    <a:pt x="222" y="794"/>
                  </a:lnTo>
                  <a:lnTo>
                    <a:pt x="249" y="761"/>
                  </a:lnTo>
                  <a:lnTo>
                    <a:pt x="280" y="728"/>
                  </a:lnTo>
                  <a:lnTo>
                    <a:pt x="311" y="694"/>
                  </a:lnTo>
                  <a:lnTo>
                    <a:pt x="345" y="660"/>
                  </a:lnTo>
                  <a:lnTo>
                    <a:pt x="376" y="631"/>
                  </a:lnTo>
                  <a:lnTo>
                    <a:pt x="408" y="600"/>
                  </a:lnTo>
                  <a:lnTo>
                    <a:pt x="442" y="570"/>
                  </a:lnTo>
                  <a:lnTo>
                    <a:pt x="476" y="540"/>
                  </a:lnTo>
                  <a:lnTo>
                    <a:pt x="512" y="510"/>
                  </a:lnTo>
                  <a:lnTo>
                    <a:pt x="549" y="481"/>
                  </a:lnTo>
                  <a:lnTo>
                    <a:pt x="586" y="451"/>
                  </a:lnTo>
                  <a:lnTo>
                    <a:pt x="624" y="422"/>
                  </a:lnTo>
                  <a:lnTo>
                    <a:pt x="664" y="394"/>
                  </a:lnTo>
                  <a:lnTo>
                    <a:pt x="704" y="365"/>
                  </a:lnTo>
                  <a:lnTo>
                    <a:pt x="744" y="337"/>
                  </a:lnTo>
                  <a:lnTo>
                    <a:pt x="784" y="311"/>
                  </a:lnTo>
                  <a:lnTo>
                    <a:pt x="824" y="284"/>
                  </a:lnTo>
                  <a:lnTo>
                    <a:pt x="866" y="259"/>
                  </a:lnTo>
                  <a:lnTo>
                    <a:pt x="906" y="234"/>
                  </a:lnTo>
                  <a:lnTo>
                    <a:pt x="947" y="210"/>
                  </a:lnTo>
                  <a:lnTo>
                    <a:pt x="987" y="187"/>
                  </a:lnTo>
                  <a:lnTo>
                    <a:pt x="1026" y="165"/>
                  </a:lnTo>
                  <a:lnTo>
                    <a:pt x="1066" y="145"/>
                  </a:lnTo>
                  <a:lnTo>
                    <a:pt x="1105" y="125"/>
                  </a:lnTo>
                  <a:lnTo>
                    <a:pt x="1142" y="107"/>
                  </a:lnTo>
                  <a:lnTo>
                    <a:pt x="1179" y="89"/>
                  </a:lnTo>
                  <a:lnTo>
                    <a:pt x="1216" y="73"/>
                  </a:lnTo>
                  <a:lnTo>
                    <a:pt x="1252" y="59"/>
                  </a:lnTo>
                  <a:lnTo>
                    <a:pt x="1286" y="45"/>
                  </a:lnTo>
                  <a:lnTo>
                    <a:pt x="1318" y="34"/>
                  </a:lnTo>
                  <a:lnTo>
                    <a:pt x="1349" y="24"/>
                  </a:lnTo>
                  <a:lnTo>
                    <a:pt x="1379" y="15"/>
                  </a:lnTo>
                  <a:lnTo>
                    <a:pt x="1408" y="9"/>
                  </a:lnTo>
                  <a:lnTo>
                    <a:pt x="1434" y="5"/>
                  </a:lnTo>
                  <a:lnTo>
                    <a:pt x="1459" y="2"/>
                  </a:lnTo>
                  <a:lnTo>
                    <a:pt x="1482" y="0"/>
                  </a:lnTo>
                  <a:lnTo>
                    <a:pt x="1497" y="2"/>
                  </a:lnTo>
                  <a:lnTo>
                    <a:pt x="1511" y="3"/>
                  </a:lnTo>
                  <a:lnTo>
                    <a:pt x="1524" y="5"/>
                  </a:lnTo>
                  <a:lnTo>
                    <a:pt x="1535" y="8"/>
                  </a:lnTo>
                  <a:lnTo>
                    <a:pt x="1547" y="13"/>
                  </a:lnTo>
                  <a:lnTo>
                    <a:pt x="1557" y="19"/>
                  </a:lnTo>
                  <a:lnTo>
                    <a:pt x="1566" y="25"/>
                  </a:lnTo>
                  <a:lnTo>
                    <a:pt x="1575" y="31"/>
                  </a:lnTo>
                  <a:lnTo>
                    <a:pt x="1582" y="40"/>
                  </a:lnTo>
                  <a:lnTo>
                    <a:pt x="1588" y="49"/>
                  </a:lnTo>
                  <a:lnTo>
                    <a:pt x="1594" y="60"/>
                  </a:lnTo>
                  <a:lnTo>
                    <a:pt x="1598" y="71"/>
                  </a:lnTo>
                  <a:lnTo>
                    <a:pt x="1601" y="83"/>
                  </a:lnTo>
                  <a:lnTo>
                    <a:pt x="1603" y="96"/>
                  </a:lnTo>
                  <a:lnTo>
                    <a:pt x="1604" y="109"/>
                  </a:lnTo>
                  <a:lnTo>
                    <a:pt x="1605" y="124"/>
                  </a:lnTo>
                  <a:lnTo>
                    <a:pt x="1605" y="139"/>
                  </a:lnTo>
                  <a:lnTo>
                    <a:pt x="1604" y="153"/>
                  </a:lnTo>
                  <a:lnTo>
                    <a:pt x="1602" y="169"/>
                  </a:lnTo>
                  <a:lnTo>
                    <a:pt x="1600" y="186"/>
                  </a:lnTo>
                  <a:lnTo>
                    <a:pt x="1593" y="220"/>
                  </a:lnTo>
                  <a:lnTo>
                    <a:pt x="1583" y="257"/>
                  </a:lnTo>
                  <a:lnTo>
                    <a:pt x="1571" y="294"/>
                  </a:lnTo>
                  <a:lnTo>
                    <a:pt x="1558" y="332"/>
                  </a:lnTo>
                  <a:lnTo>
                    <a:pt x="1542" y="371"/>
                  </a:lnTo>
                  <a:lnTo>
                    <a:pt x="1525" y="411"/>
                  </a:lnTo>
                  <a:lnTo>
                    <a:pt x="1507" y="450"/>
                  </a:lnTo>
                  <a:lnTo>
                    <a:pt x="1489" y="488"/>
                  </a:lnTo>
                  <a:lnTo>
                    <a:pt x="1469" y="527"/>
                  </a:lnTo>
                  <a:lnTo>
                    <a:pt x="1449" y="564"/>
                  </a:lnTo>
                  <a:lnTo>
                    <a:pt x="1424" y="613"/>
                  </a:lnTo>
                  <a:lnTo>
                    <a:pt x="1396" y="662"/>
                  </a:lnTo>
                  <a:lnTo>
                    <a:pt x="1367" y="709"/>
                  </a:lnTo>
                  <a:lnTo>
                    <a:pt x="1338" y="757"/>
                  </a:lnTo>
                  <a:lnTo>
                    <a:pt x="1308" y="805"/>
                  </a:lnTo>
                  <a:lnTo>
                    <a:pt x="1277" y="852"/>
                  </a:lnTo>
                  <a:lnTo>
                    <a:pt x="1245" y="897"/>
                  </a:lnTo>
                  <a:lnTo>
                    <a:pt x="1213" y="943"/>
                  </a:lnTo>
                  <a:lnTo>
                    <a:pt x="1180" y="988"/>
                  </a:lnTo>
                  <a:lnTo>
                    <a:pt x="1147" y="1030"/>
                  </a:lnTo>
                  <a:lnTo>
                    <a:pt x="1114" y="1073"/>
                  </a:lnTo>
                  <a:lnTo>
                    <a:pt x="1080" y="1114"/>
                  </a:lnTo>
                  <a:lnTo>
                    <a:pt x="1046" y="1154"/>
                  </a:lnTo>
                  <a:lnTo>
                    <a:pt x="1013" y="1191"/>
                  </a:lnTo>
                  <a:lnTo>
                    <a:pt x="979" y="1227"/>
                  </a:lnTo>
                  <a:lnTo>
                    <a:pt x="945" y="1262"/>
                  </a:lnTo>
                  <a:lnTo>
                    <a:pt x="903" y="1303"/>
                  </a:lnTo>
                  <a:lnTo>
                    <a:pt x="861" y="1342"/>
                  </a:lnTo>
                  <a:lnTo>
                    <a:pt x="820" y="1379"/>
                  </a:lnTo>
                  <a:lnTo>
                    <a:pt x="779" y="1412"/>
                  </a:lnTo>
                  <a:lnTo>
                    <a:pt x="738" y="1443"/>
                  </a:lnTo>
                  <a:lnTo>
                    <a:pt x="699" y="1471"/>
                  </a:lnTo>
                  <a:lnTo>
                    <a:pt x="660" y="1497"/>
                  </a:lnTo>
                  <a:lnTo>
                    <a:pt x="621" y="1520"/>
                  </a:lnTo>
                  <a:lnTo>
                    <a:pt x="584" y="1540"/>
                  </a:lnTo>
                  <a:lnTo>
                    <a:pt x="547" y="1557"/>
                  </a:lnTo>
                  <a:lnTo>
                    <a:pt x="529" y="1566"/>
                  </a:lnTo>
                  <a:lnTo>
                    <a:pt x="511" y="1572"/>
                  </a:lnTo>
                  <a:lnTo>
                    <a:pt x="493" y="1580"/>
                  </a:lnTo>
                  <a:lnTo>
                    <a:pt x="475" y="1585"/>
                  </a:lnTo>
                  <a:lnTo>
                    <a:pt x="458" y="1590"/>
                  </a:lnTo>
                  <a:lnTo>
                    <a:pt x="440" y="1595"/>
                  </a:lnTo>
                  <a:lnTo>
                    <a:pt x="423" y="1598"/>
                  </a:lnTo>
                  <a:lnTo>
                    <a:pt x="406" y="1601"/>
                  </a:lnTo>
                  <a:lnTo>
                    <a:pt x="389" y="1604"/>
                  </a:lnTo>
                  <a:lnTo>
                    <a:pt x="372" y="1605"/>
                  </a:lnTo>
                  <a:lnTo>
                    <a:pt x="356" y="1606"/>
                  </a:lnTo>
                  <a:lnTo>
                    <a:pt x="339" y="16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31" name="Group 167">
            <a:extLst>
              <a:ext uri="{FF2B5EF4-FFF2-40B4-BE49-F238E27FC236}">
                <a16:creationId xmlns:a16="http://schemas.microsoft.com/office/drawing/2014/main" id="{3304ABCE-09B7-423D-981C-F0B5EFF1A426}"/>
              </a:ext>
            </a:extLst>
          </p:cNvPr>
          <p:cNvGrpSpPr>
            <a:grpSpLocks noChangeAspect="1"/>
          </p:cNvGrpSpPr>
          <p:nvPr/>
        </p:nvGrpSpPr>
        <p:grpSpPr>
          <a:xfrm>
            <a:off x="1477611" y="1647825"/>
            <a:ext cx="288080" cy="285619"/>
            <a:chOff x="4386263" y="3246438"/>
            <a:chExt cx="371475" cy="368301"/>
          </a:xfrm>
          <a:solidFill>
            <a:schemeClr val="bg2"/>
          </a:solidFill>
        </p:grpSpPr>
        <p:sp>
          <p:nvSpPr>
            <p:cNvPr id="1832" name="Freeform 30">
              <a:extLst>
                <a:ext uri="{FF2B5EF4-FFF2-40B4-BE49-F238E27FC236}">
                  <a16:creationId xmlns:a16="http://schemas.microsoft.com/office/drawing/2014/main" id="{35406CF2-E3AD-4AE8-BB98-CB62C19C9F3B}"/>
                </a:ext>
              </a:extLst>
            </p:cNvPr>
            <p:cNvSpPr>
              <a:spLocks/>
            </p:cNvSpPr>
            <p:nvPr/>
          </p:nvSpPr>
          <p:spPr bwMode="auto">
            <a:xfrm>
              <a:off x="4386263" y="3246438"/>
              <a:ext cx="371475" cy="322263"/>
            </a:xfrm>
            <a:custGeom>
              <a:avLst/>
              <a:gdLst>
                <a:gd name="T0" fmla="*/ 87 w 96"/>
                <a:gd name="T1" fmla="*/ 83 h 83"/>
                <a:gd name="T2" fmla="*/ 78 w 96"/>
                <a:gd name="T3" fmla="*/ 83 h 83"/>
                <a:gd name="T4" fmla="*/ 76 w 96"/>
                <a:gd name="T5" fmla="*/ 81 h 83"/>
                <a:gd name="T6" fmla="*/ 78 w 96"/>
                <a:gd name="T7" fmla="*/ 79 h 83"/>
                <a:gd name="T8" fmla="*/ 87 w 96"/>
                <a:gd name="T9" fmla="*/ 79 h 83"/>
                <a:gd name="T10" fmla="*/ 92 w 96"/>
                <a:gd name="T11" fmla="*/ 73 h 83"/>
                <a:gd name="T12" fmla="*/ 91 w 96"/>
                <a:gd name="T13" fmla="*/ 69 h 83"/>
                <a:gd name="T14" fmla="*/ 59 w 96"/>
                <a:gd name="T15" fmla="*/ 37 h 83"/>
                <a:gd name="T16" fmla="*/ 58 w 96"/>
                <a:gd name="T17" fmla="*/ 36 h 83"/>
                <a:gd name="T18" fmla="*/ 56 w 96"/>
                <a:gd name="T19" fmla="*/ 14 h 83"/>
                <a:gd name="T20" fmla="*/ 48 w 96"/>
                <a:gd name="T21" fmla="*/ 4 h 83"/>
                <a:gd name="T22" fmla="*/ 40 w 96"/>
                <a:gd name="T23" fmla="*/ 14 h 83"/>
                <a:gd name="T24" fmla="*/ 38 w 96"/>
                <a:gd name="T25" fmla="*/ 36 h 83"/>
                <a:gd name="T26" fmla="*/ 37 w 96"/>
                <a:gd name="T27" fmla="*/ 37 h 83"/>
                <a:gd name="T28" fmla="*/ 5 w 96"/>
                <a:gd name="T29" fmla="*/ 69 h 83"/>
                <a:gd name="T30" fmla="*/ 4 w 96"/>
                <a:gd name="T31" fmla="*/ 73 h 83"/>
                <a:gd name="T32" fmla="*/ 9 w 96"/>
                <a:gd name="T33" fmla="*/ 79 h 83"/>
                <a:gd name="T34" fmla="*/ 18 w 96"/>
                <a:gd name="T35" fmla="*/ 79 h 83"/>
                <a:gd name="T36" fmla="*/ 20 w 96"/>
                <a:gd name="T37" fmla="*/ 81 h 83"/>
                <a:gd name="T38" fmla="*/ 18 w 96"/>
                <a:gd name="T39" fmla="*/ 83 h 83"/>
                <a:gd name="T40" fmla="*/ 9 w 96"/>
                <a:gd name="T41" fmla="*/ 83 h 83"/>
                <a:gd name="T42" fmla="*/ 0 w 96"/>
                <a:gd name="T43" fmla="*/ 73 h 83"/>
                <a:gd name="T44" fmla="*/ 3 w 96"/>
                <a:gd name="T45" fmla="*/ 67 h 83"/>
                <a:gd name="T46" fmla="*/ 34 w 96"/>
                <a:gd name="T47" fmla="*/ 35 h 83"/>
                <a:gd name="T48" fmla="*/ 36 w 96"/>
                <a:gd name="T49" fmla="*/ 14 h 83"/>
                <a:gd name="T50" fmla="*/ 47 w 96"/>
                <a:gd name="T51" fmla="*/ 0 h 83"/>
                <a:gd name="T52" fmla="*/ 49 w 96"/>
                <a:gd name="T53" fmla="*/ 0 h 83"/>
                <a:gd name="T54" fmla="*/ 60 w 96"/>
                <a:gd name="T55" fmla="*/ 13 h 83"/>
                <a:gd name="T56" fmla="*/ 62 w 96"/>
                <a:gd name="T57" fmla="*/ 35 h 83"/>
                <a:gd name="T58" fmla="*/ 93 w 96"/>
                <a:gd name="T59" fmla="*/ 67 h 83"/>
                <a:gd name="T60" fmla="*/ 96 w 96"/>
                <a:gd name="T61" fmla="*/ 73 h 83"/>
                <a:gd name="T62" fmla="*/ 87 w 96"/>
                <a:gd name="T6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83">
                  <a:moveTo>
                    <a:pt x="87" y="83"/>
                  </a:moveTo>
                  <a:cubicBezTo>
                    <a:pt x="78" y="83"/>
                    <a:pt x="78" y="83"/>
                    <a:pt x="78" y="83"/>
                  </a:cubicBezTo>
                  <a:cubicBezTo>
                    <a:pt x="77" y="83"/>
                    <a:pt x="76" y="82"/>
                    <a:pt x="76" y="81"/>
                  </a:cubicBezTo>
                  <a:cubicBezTo>
                    <a:pt x="76" y="80"/>
                    <a:pt x="77" y="79"/>
                    <a:pt x="78" y="79"/>
                  </a:cubicBezTo>
                  <a:cubicBezTo>
                    <a:pt x="87" y="79"/>
                    <a:pt x="87" y="79"/>
                    <a:pt x="87" y="79"/>
                  </a:cubicBezTo>
                  <a:cubicBezTo>
                    <a:pt x="90" y="79"/>
                    <a:pt x="92" y="76"/>
                    <a:pt x="92" y="73"/>
                  </a:cubicBezTo>
                  <a:cubicBezTo>
                    <a:pt x="92" y="72"/>
                    <a:pt x="91" y="70"/>
                    <a:pt x="91" y="69"/>
                  </a:cubicBezTo>
                  <a:cubicBezTo>
                    <a:pt x="59" y="37"/>
                    <a:pt x="59" y="37"/>
                    <a:pt x="59" y="37"/>
                  </a:cubicBezTo>
                  <a:cubicBezTo>
                    <a:pt x="58" y="37"/>
                    <a:pt x="58" y="36"/>
                    <a:pt x="58" y="36"/>
                  </a:cubicBezTo>
                  <a:cubicBezTo>
                    <a:pt x="56" y="14"/>
                    <a:pt x="56" y="14"/>
                    <a:pt x="56" y="14"/>
                  </a:cubicBezTo>
                  <a:cubicBezTo>
                    <a:pt x="55" y="9"/>
                    <a:pt x="50" y="6"/>
                    <a:pt x="48" y="4"/>
                  </a:cubicBezTo>
                  <a:cubicBezTo>
                    <a:pt x="46" y="6"/>
                    <a:pt x="41" y="9"/>
                    <a:pt x="40" y="14"/>
                  </a:cubicBezTo>
                  <a:cubicBezTo>
                    <a:pt x="38" y="36"/>
                    <a:pt x="38" y="36"/>
                    <a:pt x="38" y="36"/>
                  </a:cubicBezTo>
                  <a:cubicBezTo>
                    <a:pt x="38" y="36"/>
                    <a:pt x="38" y="37"/>
                    <a:pt x="37" y="37"/>
                  </a:cubicBezTo>
                  <a:cubicBezTo>
                    <a:pt x="5" y="69"/>
                    <a:pt x="5" y="69"/>
                    <a:pt x="5" y="69"/>
                  </a:cubicBezTo>
                  <a:cubicBezTo>
                    <a:pt x="4" y="70"/>
                    <a:pt x="4" y="72"/>
                    <a:pt x="4" y="73"/>
                  </a:cubicBezTo>
                  <a:cubicBezTo>
                    <a:pt x="4" y="76"/>
                    <a:pt x="6" y="79"/>
                    <a:pt x="9" y="79"/>
                  </a:cubicBezTo>
                  <a:cubicBezTo>
                    <a:pt x="18" y="79"/>
                    <a:pt x="18" y="79"/>
                    <a:pt x="18" y="79"/>
                  </a:cubicBezTo>
                  <a:cubicBezTo>
                    <a:pt x="19" y="79"/>
                    <a:pt x="20" y="80"/>
                    <a:pt x="20" y="81"/>
                  </a:cubicBezTo>
                  <a:cubicBezTo>
                    <a:pt x="20" y="82"/>
                    <a:pt x="19" y="83"/>
                    <a:pt x="18" y="83"/>
                  </a:cubicBezTo>
                  <a:cubicBezTo>
                    <a:pt x="9" y="83"/>
                    <a:pt x="9" y="83"/>
                    <a:pt x="9" y="83"/>
                  </a:cubicBezTo>
                  <a:cubicBezTo>
                    <a:pt x="4" y="83"/>
                    <a:pt x="0" y="78"/>
                    <a:pt x="0" y="73"/>
                  </a:cubicBezTo>
                  <a:cubicBezTo>
                    <a:pt x="0" y="71"/>
                    <a:pt x="1" y="68"/>
                    <a:pt x="3" y="67"/>
                  </a:cubicBezTo>
                  <a:cubicBezTo>
                    <a:pt x="34" y="35"/>
                    <a:pt x="34" y="35"/>
                    <a:pt x="34" y="35"/>
                  </a:cubicBezTo>
                  <a:cubicBezTo>
                    <a:pt x="36" y="14"/>
                    <a:pt x="36" y="14"/>
                    <a:pt x="36" y="14"/>
                  </a:cubicBezTo>
                  <a:cubicBezTo>
                    <a:pt x="38" y="5"/>
                    <a:pt x="47" y="0"/>
                    <a:pt x="47" y="0"/>
                  </a:cubicBezTo>
                  <a:cubicBezTo>
                    <a:pt x="48" y="0"/>
                    <a:pt x="48" y="0"/>
                    <a:pt x="49" y="0"/>
                  </a:cubicBezTo>
                  <a:cubicBezTo>
                    <a:pt x="49" y="0"/>
                    <a:pt x="58" y="5"/>
                    <a:pt x="60" y="13"/>
                  </a:cubicBezTo>
                  <a:cubicBezTo>
                    <a:pt x="62" y="35"/>
                    <a:pt x="62" y="35"/>
                    <a:pt x="62" y="35"/>
                  </a:cubicBezTo>
                  <a:cubicBezTo>
                    <a:pt x="93" y="67"/>
                    <a:pt x="93" y="67"/>
                    <a:pt x="93" y="67"/>
                  </a:cubicBezTo>
                  <a:cubicBezTo>
                    <a:pt x="95" y="68"/>
                    <a:pt x="96" y="71"/>
                    <a:pt x="96" y="73"/>
                  </a:cubicBezTo>
                  <a:cubicBezTo>
                    <a:pt x="96" y="78"/>
                    <a:pt x="92" y="83"/>
                    <a:pt x="87"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3" name="Freeform 31">
              <a:extLst>
                <a:ext uri="{FF2B5EF4-FFF2-40B4-BE49-F238E27FC236}">
                  <a16:creationId xmlns:a16="http://schemas.microsoft.com/office/drawing/2014/main" id="{A673BAA6-68BA-491F-B7B0-9A4B973EF120}"/>
                </a:ext>
              </a:extLst>
            </p:cNvPr>
            <p:cNvSpPr>
              <a:spLocks noEditPoints="1"/>
            </p:cNvSpPr>
            <p:nvPr/>
          </p:nvSpPr>
          <p:spPr bwMode="auto">
            <a:xfrm>
              <a:off x="4548188" y="3294063"/>
              <a:ext cx="47625" cy="107950"/>
            </a:xfrm>
            <a:custGeom>
              <a:avLst/>
              <a:gdLst>
                <a:gd name="T0" fmla="*/ 6 w 12"/>
                <a:gd name="T1" fmla="*/ 28 h 28"/>
                <a:gd name="T2" fmla="*/ 0 w 12"/>
                <a:gd name="T3" fmla="*/ 22 h 28"/>
                <a:gd name="T4" fmla="*/ 0 w 12"/>
                <a:gd name="T5" fmla="*/ 6 h 28"/>
                <a:gd name="T6" fmla="*/ 6 w 12"/>
                <a:gd name="T7" fmla="*/ 0 h 28"/>
                <a:gd name="T8" fmla="*/ 12 w 12"/>
                <a:gd name="T9" fmla="*/ 6 h 28"/>
                <a:gd name="T10" fmla="*/ 12 w 12"/>
                <a:gd name="T11" fmla="*/ 22 h 28"/>
                <a:gd name="T12" fmla="*/ 6 w 12"/>
                <a:gd name="T13" fmla="*/ 28 h 28"/>
                <a:gd name="T14" fmla="*/ 6 w 12"/>
                <a:gd name="T15" fmla="*/ 4 h 28"/>
                <a:gd name="T16" fmla="*/ 4 w 12"/>
                <a:gd name="T17" fmla="*/ 6 h 28"/>
                <a:gd name="T18" fmla="*/ 4 w 12"/>
                <a:gd name="T19" fmla="*/ 22 h 28"/>
                <a:gd name="T20" fmla="*/ 6 w 12"/>
                <a:gd name="T21" fmla="*/ 24 h 28"/>
                <a:gd name="T22" fmla="*/ 8 w 12"/>
                <a:gd name="T23" fmla="*/ 22 h 28"/>
                <a:gd name="T24" fmla="*/ 8 w 12"/>
                <a:gd name="T25" fmla="*/ 6 h 28"/>
                <a:gd name="T26" fmla="*/ 6 w 1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8">
                  <a:moveTo>
                    <a:pt x="6" y="28"/>
                  </a:moveTo>
                  <a:cubicBezTo>
                    <a:pt x="3" y="28"/>
                    <a:pt x="0" y="25"/>
                    <a:pt x="0" y="22"/>
                  </a:cubicBezTo>
                  <a:cubicBezTo>
                    <a:pt x="0" y="6"/>
                    <a:pt x="0" y="6"/>
                    <a:pt x="0" y="6"/>
                  </a:cubicBezTo>
                  <a:cubicBezTo>
                    <a:pt x="0" y="3"/>
                    <a:pt x="3" y="0"/>
                    <a:pt x="6" y="0"/>
                  </a:cubicBezTo>
                  <a:cubicBezTo>
                    <a:pt x="9" y="0"/>
                    <a:pt x="12" y="3"/>
                    <a:pt x="12" y="6"/>
                  </a:cubicBezTo>
                  <a:cubicBezTo>
                    <a:pt x="12" y="22"/>
                    <a:pt x="12" y="22"/>
                    <a:pt x="12" y="22"/>
                  </a:cubicBezTo>
                  <a:cubicBezTo>
                    <a:pt x="12" y="25"/>
                    <a:pt x="9" y="28"/>
                    <a:pt x="6" y="28"/>
                  </a:cubicBezTo>
                  <a:close/>
                  <a:moveTo>
                    <a:pt x="6" y="4"/>
                  </a:moveTo>
                  <a:cubicBezTo>
                    <a:pt x="5" y="4"/>
                    <a:pt x="4" y="5"/>
                    <a:pt x="4" y="6"/>
                  </a:cubicBezTo>
                  <a:cubicBezTo>
                    <a:pt x="4" y="22"/>
                    <a:pt x="4" y="22"/>
                    <a:pt x="4" y="22"/>
                  </a:cubicBezTo>
                  <a:cubicBezTo>
                    <a:pt x="4" y="23"/>
                    <a:pt x="5" y="24"/>
                    <a:pt x="6" y="24"/>
                  </a:cubicBezTo>
                  <a:cubicBezTo>
                    <a:pt x="7" y="24"/>
                    <a:pt x="8" y="23"/>
                    <a:pt x="8" y="22"/>
                  </a:cubicBezTo>
                  <a:cubicBezTo>
                    <a:pt x="8" y="6"/>
                    <a:pt x="8" y="6"/>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4" name="Rectangle 32">
              <a:extLst>
                <a:ext uri="{FF2B5EF4-FFF2-40B4-BE49-F238E27FC236}">
                  <a16:creationId xmlns:a16="http://schemas.microsoft.com/office/drawing/2014/main" id="{CE6CB9A2-5EBA-49AA-BE05-CFD16EF64D9F}"/>
                </a:ext>
              </a:extLst>
            </p:cNvPr>
            <p:cNvSpPr>
              <a:spLocks noChangeArrowheads="1"/>
            </p:cNvSpPr>
            <p:nvPr/>
          </p:nvSpPr>
          <p:spPr bwMode="auto">
            <a:xfrm>
              <a:off x="4541838" y="3275013"/>
              <a:ext cx="619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5" name="Freeform 33">
              <a:extLst>
                <a:ext uri="{FF2B5EF4-FFF2-40B4-BE49-F238E27FC236}">
                  <a16:creationId xmlns:a16="http://schemas.microsoft.com/office/drawing/2014/main" id="{3DD13DFF-5D6E-4E04-B72D-F3EEC0BD3AC2}"/>
                </a:ext>
              </a:extLst>
            </p:cNvPr>
            <p:cNvSpPr>
              <a:spLocks noEditPoints="1"/>
            </p:cNvSpPr>
            <p:nvPr/>
          </p:nvSpPr>
          <p:spPr bwMode="auto">
            <a:xfrm>
              <a:off x="4448176" y="3506788"/>
              <a:ext cx="77788" cy="77788"/>
            </a:xfrm>
            <a:custGeom>
              <a:avLst/>
              <a:gdLst>
                <a:gd name="T0" fmla="*/ 18 w 20"/>
                <a:gd name="T1" fmla="*/ 20 h 20"/>
                <a:gd name="T2" fmla="*/ 2 w 20"/>
                <a:gd name="T3" fmla="*/ 20 h 20"/>
                <a:gd name="T4" fmla="*/ 0 w 20"/>
                <a:gd name="T5" fmla="*/ 18 h 20"/>
                <a:gd name="T6" fmla="*/ 0 w 20"/>
                <a:gd name="T7" fmla="*/ 2 h 20"/>
                <a:gd name="T8" fmla="*/ 2 w 20"/>
                <a:gd name="T9" fmla="*/ 0 h 20"/>
                <a:gd name="T10" fmla="*/ 18 w 20"/>
                <a:gd name="T11" fmla="*/ 0 h 20"/>
                <a:gd name="T12" fmla="*/ 20 w 20"/>
                <a:gd name="T13" fmla="*/ 2 h 20"/>
                <a:gd name="T14" fmla="*/ 20 w 20"/>
                <a:gd name="T15" fmla="*/ 18 h 20"/>
                <a:gd name="T16" fmla="*/ 18 w 20"/>
                <a:gd name="T17" fmla="*/ 20 h 20"/>
                <a:gd name="T18" fmla="*/ 4 w 20"/>
                <a:gd name="T19" fmla="*/ 16 h 20"/>
                <a:gd name="T20" fmla="*/ 16 w 20"/>
                <a:gd name="T21" fmla="*/ 16 h 20"/>
                <a:gd name="T22" fmla="*/ 16 w 20"/>
                <a:gd name="T23" fmla="*/ 4 h 20"/>
                <a:gd name="T24" fmla="*/ 4 w 20"/>
                <a:gd name="T25" fmla="*/ 4 h 20"/>
                <a:gd name="T26" fmla="*/ 4 w 20"/>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8" y="20"/>
                  </a:moveTo>
                  <a:cubicBezTo>
                    <a:pt x="2" y="20"/>
                    <a:pt x="2" y="20"/>
                    <a:pt x="2" y="20"/>
                  </a:cubicBezTo>
                  <a:cubicBezTo>
                    <a:pt x="1" y="20"/>
                    <a:pt x="0" y="19"/>
                    <a:pt x="0" y="18"/>
                  </a:cubicBezTo>
                  <a:cubicBezTo>
                    <a:pt x="0" y="2"/>
                    <a:pt x="0" y="2"/>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moveTo>
                    <a:pt x="4" y="16"/>
                  </a:moveTo>
                  <a:cubicBezTo>
                    <a:pt x="16" y="16"/>
                    <a:pt x="16" y="16"/>
                    <a:pt x="16" y="16"/>
                  </a:cubicBezTo>
                  <a:cubicBezTo>
                    <a:pt x="16" y="4"/>
                    <a:pt x="16" y="4"/>
                    <a:pt x="16"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6" name="Freeform 34">
              <a:extLst>
                <a:ext uri="{FF2B5EF4-FFF2-40B4-BE49-F238E27FC236}">
                  <a16:creationId xmlns:a16="http://schemas.microsoft.com/office/drawing/2014/main" id="{F1E73FDB-FFCE-4D54-88B7-1345B7BB32FE}"/>
                </a:ext>
              </a:extLst>
            </p:cNvPr>
            <p:cNvSpPr>
              <a:spLocks noEditPoints="1"/>
            </p:cNvSpPr>
            <p:nvPr/>
          </p:nvSpPr>
          <p:spPr bwMode="auto">
            <a:xfrm>
              <a:off x="4618038" y="3506788"/>
              <a:ext cx="77788" cy="77788"/>
            </a:xfrm>
            <a:custGeom>
              <a:avLst/>
              <a:gdLst>
                <a:gd name="T0" fmla="*/ 18 w 20"/>
                <a:gd name="T1" fmla="*/ 20 h 20"/>
                <a:gd name="T2" fmla="*/ 2 w 20"/>
                <a:gd name="T3" fmla="*/ 20 h 20"/>
                <a:gd name="T4" fmla="*/ 0 w 20"/>
                <a:gd name="T5" fmla="*/ 18 h 20"/>
                <a:gd name="T6" fmla="*/ 0 w 20"/>
                <a:gd name="T7" fmla="*/ 2 h 20"/>
                <a:gd name="T8" fmla="*/ 2 w 20"/>
                <a:gd name="T9" fmla="*/ 0 h 20"/>
                <a:gd name="T10" fmla="*/ 18 w 20"/>
                <a:gd name="T11" fmla="*/ 0 h 20"/>
                <a:gd name="T12" fmla="*/ 20 w 20"/>
                <a:gd name="T13" fmla="*/ 2 h 20"/>
                <a:gd name="T14" fmla="*/ 20 w 20"/>
                <a:gd name="T15" fmla="*/ 18 h 20"/>
                <a:gd name="T16" fmla="*/ 18 w 20"/>
                <a:gd name="T17" fmla="*/ 20 h 20"/>
                <a:gd name="T18" fmla="*/ 4 w 20"/>
                <a:gd name="T19" fmla="*/ 16 h 20"/>
                <a:gd name="T20" fmla="*/ 16 w 20"/>
                <a:gd name="T21" fmla="*/ 16 h 20"/>
                <a:gd name="T22" fmla="*/ 16 w 20"/>
                <a:gd name="T23" fmla="*/ 4 h 20"/>
                <a:gd name="T24" fmla="*/ 4 w 20"/>
                <a:gd name="T25" fmla="*/ 4 h 20"/>
                <a:gd name="T26" fmla="*/ 4 w 20"/>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8" y="20"/>
                  </a:moveTo>
                  <a:cubicBezTo>
                    <a:pt x="2" y="20"/>
                    <a:pt x="2" y="20"/>
                    <a:pt x="2" y="20"/>
                  </a:cubicBezTo>
                  <a:cubicBezTo>
                    <a:pt x="1" y="20"/>
                    <a:pt x="0" y="19"/>
                    <a:pt x="0" y="18"/>
                  </a:cubicBezTo>
                  <a:cubicBezTo>
                    <a:pt x="0" y="2"/>
                    <a:pt x="0" y="2"/>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moveTo>
                    <a:pt x="4" y="16"/>
                  </a:moveTo>
                  <a:cubicBezTo>
                    <a:pt x="16" y="16"/>
                    <a:pt x="16" y="16"/>
                    <a:pt x="16" y="16"/>
                  </a:cubicBezTo>
                  <a:cubicBezTo>
                    <a:pt x="16" y="4"/>
                    <a:pt x="16" y="4"/>
                    <a:pt x="16"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7" name="Freeform 35">
              <a:extLst>
                <a:ext uri="{FF2B5EF4-FFF2-40B4-BE49-F238E27FC236}">
                  <a16:creationId xmlns:a16="http://schemas.microsoft.com/office/drawing/2014/main" id="{F4973AF6-6CA4-4141-B7DA-97272F441839}"/>
                </a:ext>
              </a:extLst>
            </p:cNvPr>
            <p:cNvSpPr>
              <a:spLocks/>
            </p:cNvSpPr>
            <p:nvPr/>
          </p:nvSpPr>
          <p:spPr bwMode="auto">
            <a:xfrm>
              <a:off x="4510088" y="3552826"/>
              <a:ext cx="69850" cy="42863"/>
            </a:xfrm>
            <a:custGeom>
              <a:avLst/>
              <a:gdLst>
                <a:gd name="T0" fmla="*/ 16 w 18"/>
                <a:gd name="T1" fmla="*/ 11 h 11"/>
                <a:gd name="T2" fmla="*/ 14 w 18"/>
                <a:gd name="T3" fmla="*/ 9 h 11"/>
                <a:gd name="T4" fmla="*/ 9 w 18"/>
                <a:gd name="T5" fmla="*/ 4 h 11"/>
                <a:gd name="T6" fmla="*/ 2 w 18"/>
                <a:gd name="T7" fmla="*/ 4 h 11"/>
                <a:gd name="T8" fmla="*/ 0 w 18"/>
                <a:gd name="T9" fmla="*/ 2 h 11"/>
                <a:gd name="T10" fmla="*/ 2 w 18"/>
                <a:gd name="T11" fmla="*/ 0 h 11"/>
                <a:gd name="T12" fmla="*/ 9 w 18"/>
                <a:gd name="T13" fmla="*/ 0 h 11"/>
                <a:gd name="T14" fmla="*/ 18 w 18"/>
                <a:gd name="T15" fmla="*/ 9 h 11"/>
                <a:gd name="T16" fmla="*/ 16 w 18"/>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6" y="11"/>
                  </a:moveTo>
                  <a:cubicBezTo>
                    <a:pt x="15" y="11"/>
                    <a:pt x="14" y="10"/>
                    <a:pt x="14" y="9"/>
                  </a:cubicBezTo>
                  <a:cubicBezTo>
                    <a:pt x="14" y="6"/>
                    <a:pt x="12" y="4"/>
                    <a:pt x="9" y="4"/>
                  </a:cubicBezTo>
                  <a:cubicBezTo>
                    <a:pt x="2" y="4"/>
                    <a:pt x="2" y="4"/>
                    <a:pt x="2" y="4"/>
                  </a:cubicBezTo>
                  <a:cubicBezTo>
                    <a:pt x="1" y="4"/>
                    <a:pt x="0" y="3"/>
                    <a:pt x="0" y="2"/>
                  </a:cubicBezTo>
                  <a:cubicBezTo>
                    <a:pt x="0" y="1"/>
                    <a:pt x="1" y="0"/>
                    <a:pt x="2" y="0"/>
                  </a:cubicBezTo>
                  <a:cubicBezTo>
                    <a:pt x="9" y="0"/>
                    <a:pt x="9" y="0"/>
                    <a:pt x="9" y="0"/>
                  </a:cubicBezTo>
                  <a:cubicBezTo>
                    <a:pt x="14" y="0"/>
                    <a:pt x="18" y="4"/>
                    <a:pt x="18" y="9"/>
                  </a:cubicBezTo>
                  <a:cubicBezTo>
                    <a:pt x="18" y="10"/>
                    <a:pt x="17" y="11"/>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8" name="Freeform 36">
              <a:extLst>
                <a:ext uri="{FF2B5EF4-FFF2-40B4-BE49-F238E27FC236}">
                  <a16:creationId xmlns:a16="http://schemas.microsoft.com/office/drawing/2014/main" id="{CA884549-E767-4D5F-80C7-9FF8FA3F2DE4}"/>
                </a:ext>
              </a:extLst>
            </p:cNvPr>
            <p:cNvSpPr>
              <a:spLocks/>
            </p:cNvSpPr>
            <p:nvPr/>
          </p:nvSpPr>
          <p:spPr bwMode="auto">
            <a:xfrm>
              <a:off x="4564063" y="3552826"/>
              <a:ext cx="69850" cy="42863"/>
            </a:xfrm>
            <a:custGeom>
              <a:avLst/>
              <a:gdLst>
                <a:gd name="T0" fmla="*/ 2 w 18"/>
                <a:gd name="T1" fmla="*/ 11 h 11"/>
                <a:gd name="T2" fmla="*/ 0 w 18"/>
                <a:gd name="T3" fmla="*/ 9 h 11"/>
                <a:gd name="T4" fmla="*/ 9 w 18"/>
                <a:gd name="T5" fmla="*/ 0 h 11"/>
                <a:gd name="T6" fmla="*/ 16 w 18"/>
                <a:gd name="T7" fmla="*/ 0 h 11"/>
                <a:gd name="T8" fmla="*/ 18 w 18"/>
                <a:gd name="T9" fmla="*/ 2 h 11"/>
                <a:gd name="T10" fmla="*/ 16 w 18"/>
                <a:gd name="T11" fmla="*/ 4 h 11"/>
                <a:gd name="T12" fmla="*/ 9 w 18"/>
                <a:gd name="T13" fmla="*/ 4 h 11"/>
                <a:gd name="T14" fmla="*/ 4 w 18"/>
                <a:gd name="T15" fmla="*/ 9 h 11"/>
                <a:gd name="T16" fmla="*/ 2 w 18"/>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2" y="11"/>
                  </a:moveTo>
                  <a:cubicBezTo>
                    <a:pt x="1" y="11"/>
                    <a:pt x="0" y="10"/>
                    <a:pt x="0" y="9"/>
                  </a:cubicBezTo>
                  <a:cubicBezTo>
                    <a:pt x="0" y="4"/>
                    <a:pt x="4" y="0"/>
                    <a:pt x="9" y="0"/>
                  </a:cubicBezTo>
                  <a:cubicBezTo>
                    <a:pt x="16" y="0"/>
                    <a:pt x="16" y="0"/>
                    <a:pt x="16" y="0"/>
                  </a:cubicBezTo>
                  <a:cubicBezTo>
                    <a:pt x="17" y="0"/>
                    <a:pt x="18" y="1"/>
                    <a:pt x="18" y="2"/>
                  </a:cubicBezTo>
                  <a:cubicBezTo>
                    <a:pt x="18" y="3"/>
                    <a:pt x="17" y="4"/>
                    <a:pt x="16" y="4"/>
                  </a:cubicBezTo>
                  <a:cubicBezTo>
                    <a:pt x="9" y="4"/>
                    <a:pt x="9" y="4"/>
                    <a:pt x="9" y="4"/>
                  </a:cubicBezTo>
                  <a:cubicBezTo>
                    <a:pt x="6" y="4"/>
                    <a:pt x="4" y="6"/>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9" name="Freeform 37">
              <a:extLst>
                <a:ext uri="{FF2B5EF4-FFF2-40B4-BE49-F238E27FC236}">
                  <a16:creationId xmlns:a16="http://schemas.microsoft.com/office/drawing/2014/main" id="{9A8BFA34-9B33-449D-90E8-5EC0D0F9A644}"/>
                </a:ext>
              </a:extLst>
            </p:cNvPr>
            <p:cNvSpPr>
              <a:spLocks/>
            </p:cNvSpPr>
            <p:nvPr/>
          </p:nvSpPr>
          <p:spPr bwMode="auto">
            <a:xfrm>
              <a:off x="4479926" y="3506788"/>
              <a:ext cx="14288" cy="38100"/>
            </a:xfrm>
            <a:custGeom>
              <a:avLst/>
              <a:gdLst>
                <a:gd name="T0" fmla="*/ 2 w 4"/>
                <a:gd name="T1" fmla="*/ 10 h 10"/>
                <a:gd name="T2" fmla="*/ 0 w 4"/>
                <a:gd name="T3" fmla="*/ 8 h 10"/>
                <a:gd name="T4" fmla="*/ 0 w 4"/>
                <a:gd name="T5" fmla="*/ 2 h 10"/>
                <a:gd name="T6" fmla="*/ 2 w 4"/>
                <a:gd name="T7" fmla="*/ 0 h 10"/>
                <a:gd name="T8" fmla="*/ 4 w 4"/>
                <a:gd name="T9" fmla="*/ 2 h 10"/>
                <a:gd name="T10" fmla="*/ 4 w 4"/>
                <a:gd name="T11" fmla="*/ 8 h 10"/>
                <a:gd name="T12" fmla="*/ 2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10"/>
                  </a:moveTo>
                  <a:cubicBezTo>
                    <a:pt x="1" y="10"/>
                    <a:pt x="0" y="9"/>
                    <a:pt x="0" y="8"/>
                  </a:cubicBezTo>
                  <a:cubicBezTo>
                    <a:pt x="0" y="2"/>
                    <a:pt x="0" y="2"/>
                    <a:pt x="0" y="2"/>
                  </a:cubicBezTo>
                  <a:cubicBezTo>
                    <a:pt x="0" y="1"/>
                    <a:pt x="1" y="0"/>
                    <a:pt x="2" y="0"/>
                  </a:cubicBezTo>
                  <a:cubicBezTo>
                    <a:pt x="3" y="0"/>
                    <a:pt x="4" y="1"/>
                    <a:pt x="4" y="2"/>
                  </a:cubicBezTo>
                  <a:cubicBezTo>
                    <a:pt x="4" y="8"/>
                    <a:pt x="4" y="8"/>
                    <a:pt x="4" y="8"/>
                  </a:cubicBezTo>
                  <a:cubicBezTo>
                    <a:pt x="4"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0" name="Freeform 38">
              <a:extLst>
                <a:ext uri="{FF2B5EF4-FFF2-40B4-BE49-F238E27FC236}">
                  <a16:creationId xmlns:a16="http://schemas.microsoft.com/office/drawing/2014/main" id="{04DED636-FAF7-4E16-9FCE-E34315813D62}"/>
                </a:ext>
              </a:extLst>
            </p:cNvPr>
            <p:cNvSpPr>
              <a:spLocks/>
            </p:cNvSpPr>
            <p:nvPr/>
          </p:nvSpPr>
          <p:spPr bwMode="auto">
            <a:xfrm>
              <a:off x="4649788" y="3506788"/>
              <a:ext cx="15875" cy="38100"/>
            </a:xfrm>
            <a:custGeom>
              <a:avLst/>
              <a:gdLst>
                <a:gd name="T0" fmla="*/ 2 w 4"/>
                <a:gd name="T1" fmla="*/ 10 h 10"/>
                <a:gd name="T2" fmla="*/ 0 w 4"/>
                <a:gd name="T3" fmla="*/ 8 h 10"/>
                <a:gd name="T4" fmla="*/ 0 w 4"/>
                <a:gd name="T5" fmla="*/ 2 h 10"/>
                <a:gd name="T6" fmla="*/ 2 w 4"/>
                <a:gd name="T7" fmla="*/ 0 h 10"/>
                <a:gd name="T8" fmla="*/ 4 w 4"/>
                <a:gd name="T9" fmla="*/ 2 h 10"/>
                <a:gd name="T10" fmla="*/ 4 w 4"/>
                <a:gd name="T11" fmla="*/ 8 h 10"/>
                <a:gd name="T12" fmla="*/ 2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10"/>
                  </a:moveTo>
                  <a:cubicBezTo>
                    <a:pt x="1" y="10"/>
                    <a:pt x="0" y="9"/>
                    <a:pt x="0" y="8"/>
                  </a:cubicBezTo>
                  <a:cubicBezTo>
                    <a:pt x="0" y="2"/>
                    <a:pt x="0" y="2"/>
                    <a:pt x="0" y="2"/>
                  </a:cubicBezTo>
                  <a:cubicBezTo>
                    <a:pt x="0" y="1"/>
                    <a:pt x="1" y="0"/>
                    <a:pt x="2" y="0"/>
                  </a:cubicBezTo>
                  <a:cubicBezTo>
                    <a:pt x="3" y="0"/>
                    <a:pt x="4" y="1"/>
                    <a:pt x="4" y="2"/>
                  </a:cubicBezTo>
                  <a:cubicBezTo>
                    <a:pt x="4" y="8"/>
                    <a:pt x="4" y="8"/>
                    <a:pt x="4" y="8"/>
                  </a:cubicBezTo>
                  <a:cubicBezTo>
                    <a:pt x="4"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1" name="Freeform 39">
              <a:extLst>
                <a:ext uri="{FF2B5EF4-FFF2-40B4-BE49-F238E27FC236}">
                  <a16:creationId xmlns:a16="http://schemas.microsoft.com/office/drawing/2014/main" id="{DE8036DA-D931-44A7-AD52-E78CD63EDBBE}"/>
                </a:ext>
              </a:extLst>
            </p:cNvPr>
            <p:cNvSpPr>
              <a:spLocks/>
            </p:cNvSpPr>
            <p:nvPr/>
          </p:nvSpPr>
          <p:spPr bwMode="auto">
            <a:xfrm>
              <a:off x="4510088" y="3436938"/>
              <a:ext cx="15875" cy="53975"/>
            </a:xfrm>
            <a:custGeom>
              <a:avLst/>
              <a:gdLst>
                <a:gd name="T0" fmla="*/ 2 w 4"/>
                <a:gd name="T1" fmla="*/ 14 h 14"/>
                <a:gd name="T2" fmla="*/ 0 w 4"/>
                <a:gd name="T3" fmla="*/ 12 h 14"/>
                <a:gd name="T4" fmla="*/ 0 w 4"/>
                <a:gd name="T5" fmla="*/ 2 h 14"/>
                <a:gd name="T6" fmla="*/ 2 w 4"/>
                <a:gd name="T7" fmla="*/ 0 h 14"/>
                <a:gd name="T8" fmla="*/ 4 w 4"/>
                <a:gd name="T9" fmla="*/ 2 h 14"/>
                <a:gd name="T10" fmla="*/ 4 w 4"/>
                <a:gd name="T11" fmla="*/ 12 h 14"/>
                <a:gd name="T12" fmla="*/ 2 w 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2" y="14"/>
                  </a:moveTo>
                  <a:cubicBezTo>
                    <a:pt x="1" y="14"/>
                    <a:pt x="0" y="13"/>
                    <a:pt x="0" y="12"/>
                  </a:cubicBezTo>
                  <a:cubicBezTo>
                    <a:pt x="0" y="2"/>
                    <a:pt x="0" y="2"/>
                    <a:pt x="0" y="2"/>
                  </a:cubicBezTo>
                  <a:cubicBezTo>
                    <a:pt x="0" y="1"/>
                    <a:pt x="1" y="0"/>
                    <a:pt x="2" y="0"/>
                  </a:cubicBezTo>
                  <a:cubicBezTo>
                    <a:pt x="3" y="0"/>
                    <a:pt x="4" y="1"/>
                    <a:pt x="4" y="2"/>
                  </a:cubicBezTo>
                  <a:cubicBezTo>
                    <a:pt x="4" y="12"/>
                    <a:pt x="4" y="12"/>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2" name="Freeform 40">
              <a:extLst>
                <a:ext uri="{FF2B5EF4-FFF2-40B4-BE49-F238E27FC236}">
                  <a16:creationId xmlns:a16="http://schemas.microsoft.com/office/drawing/2014/main" id="{8EDD3685-699A-4FED-84F4-A38F27D4213E}"/>
                </a:ext>
              </a:extLst>
            </p:cNvPr>
            <p:cNvSpPr>
              <a:spLocks/>
            </p:cNvSpPr>
            <p:nvPr/>
          </p:nvSpPr>
          <p:spPr bwMode="auto">
            <a:xfrm>
              <a:off x="4618038" y="3436938"/>
              <a:ext cx="15875" cy="53975"/>
            </a:xfrm>
            <a:custGeom>
              <a:avLst/>
              <a:gdLst>
                <a:gd name="T0" fmla="*/ 2 w 4"/>
                <a:gd name="T1" fmla="*/ 14 h 14"/>
                <a:gd name="T2" fmla="*/ 0 w 4"/>
                <a:gd name="T3" fmla="*/ 12 h 14"/>
                <a:gd name="T4" fmla="*/ 0 w 4"/>
                <a:gd name="T5" fmla="*/ 2 h 14"/>
                <a:gd name="T6" fmla="*/ 2 w 4"/>
                <a:gd name="T7" fmla="*/ 0 h 14"/>
                <a:gd name="T8" fmla="*/ 4 w 4"/>
                <a:gd name="T9" fmla="*/ 2 h 14"/>
                <a:gd name="T10" fmla="*/ 4 w 4"/>
                <a:gd name="T11" fmla="*/ 12 h 14"/>
                <a:gd name="T12" fmla="*/ 2 w 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2" y="14"/>
                  </a:moveTo>
                  <a:cubicBezTo>
                    <a:pt x="1" y="14"/>
                    <a:pt x="0" y="13"/>
                    <a:pt x="0" y="12"/>
                  </a:cubicBezTo>
                  <a:cubicBezTo>
                    <a:pt x="0" y="2"/>
                    <a:pt x="0" y="2"/>
                    <a:pt x="0" y="2"/>
                  </a:cubicBezTo>
                  <a:cubicBezTo>
                    <a:pt x="0" y="1"/>
                    <a:pt x="1" y="0"/>
                    <a:pt x="2" y="0"/>
                  </a:cubicBezTo>
                  <a:cubicBezTo>
                    <a:pt x="3" y="0"/>
                    <a:pt x="4" y="1"/>
                    <a:pt x="4" y="2"/>
                  </a:cubicBezTo>
                  <a:cubicBezTo>
                    <a:pt x="4" y="12"/>
                    <a:pt x="4" y="12"/>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3" name="Freeform 41">
              <a:extLst>
                <a:ext uri="{FF2B5EF4-FFF2-40B4-BE49-F238E27FC236}">
                  <a16:creationId xmlns:a16="http://schemas.microsoft.com/office/drawing/2014/main" id="{BAD5E712-0D0A-4CAA-ABA8-5E96B8428B6E}"/>
                </a:ext>
              </a:extLst>
            </p:cNvPr>
            <p:cNvSpPr>
              <a:spLocks/>
            </p:cNvSpPr>
            <p:nvPr/>
          </p:nvSpPr>
          <p:spPr bwMode="auto">
            <a:xfrm>
              <a:off x="4479926" y="3568701"/>
              <a:ext cx="14288"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4" name="Freeform 42">
              <a:extLst>
                <a:ext uri="{FF2B5EF4-FFF2-40B4-BE49-F238E27FC236}">
                  <a16:creationId xmlns:a16="http://schemas.microsoft.com/office/drawing/2014/main" id="{3B936B45-4CD6-4037-8084-537018C8999F}"/>
                </a:ext>
              </a:extLst>
            </p:cNvPr>
            <p:cNvSpPr>
              <a:spLocks/>
            </p:cNvSpPr>
            <p:nvPr/>
          </p:nvSpPr>
          <p:spPr bwMode="auto">
            <a:xfrm>
              <a:off x="4649788" y="3568701"/>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5" name="Freeform 43">
              <a:extLst>
                <a:ext uri="{FF2B5EF4-FFF2-40B4-BE49-F238E27FC236}">
                  <a16:creationId xmlns:a16="http://schemas.microsoft.com/office/drawing/2014/main" id="{37B6651C-1520-4028-873C-9C998B964CE9}"/>
                </a:ext>
              </a:extLst>
            </p:cNvPr>
            <p:cNvSpPr>
              <a:spLocks/>
            </p:cNvSpPr>
            <p:nvPr/>
          </p:nvSpPr>
          <p:spPr bwMode="auto">
            <a:xfrm>
              <a:off x="4448176"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6" name="Freeform 44">
              <a:extLst>
                <a:ext uri="{FF2B5EF4-FFF2-40B4-BE49-F238E27FC236}">
                  <a16:creationId xmlns:a16="http://schemas.microsoft.com/office/drawing/2014/main" id="{774B8AA4-EC52-4645-A114-FD10653C9EA4}"/>
                </a:ext>
              </a:extLst>
            </p:cNvPr>
            <p:cNvSpPr>
              <a:spLocks/>
            </p:cNvSpPr>
            <p:nvPr/>
          </p:nvSpPr>
          <p:spPr bwMode="auto">
            <a:xfrm>
              <a:off x="4510088"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7" name="Freeform 45">
              <a:extLst>
                <a:ext uri="{FF2B5EF4-FFF2-40B4-BE49-F238E27FC236}">
                  <a16:creationId xmlns:a16="http://schemas.microsoft.com/office/drawing/2014/main" id="{2C9CA8D3-2004-4795-BE00-3E15DFE5D9D9}"/>
                </a:ext>
              </a:extLst>
            </p:cNvPr>
            <p:cNvSpPr>
              <a:spLocks/>
            </p:cNvSpPr>
            <p:nvPr/>
          </p:nvSpPr>
          <p:spPr bwMode="auto">
            <a:xfrm>
              <a:off x="4618038"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8" name="Freeform 46">
              <a:extLst>
                <a:ext uri="{FF2B5EF4-FFF2-40B4-BE49-F238E27FC236}">
                  <a16:creationId xmlns:a16="http://schemas.microsoft.com/office/drawing/2014/main" id="{3560F2D4-3264-455C-B728-A0E47B15F9D6}"/>
                </a:ext>
              </a:extLst>
            </p:cNvPr>
            <p:cNvSpPr>
              <a:spLocks/>
            </p:cNvSpPr>
            <p:nvPr/>
          </p:nvSpPr>
          <p:spPr bwMode="auto">
            <a:xfrm>
              <a:off x="4679951" y="3563938"/>
              <a:ext cx="15875" cy="34925"/>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15" name="Group 42">
            <a:extLst>
              <a:ext uri="{FF2B5EF4-FFF2-40B4-BE49-F238E27FC236}">
                <a16:creationId xmlns:a16="http://schemas.microsoft.com/office/drawing/2014/main" id="{0B898C6E-0489-4F02-96DF-3801349EF3C9}"/>
              </a:ext>
            </a:extLst>
          </p:cNvPr>
          <p:cNvGrpSpPr>
            <a:grpSpLocks noChangeAspect="1"/>
          </p:cNvGrpSpPr>
          <p:nvPr/>
        </p:nvGrpSpPr>
        <p:grpSpPr>
          <a:xfrm>
            <a:off x="4044453" y="4879041"/>
            <a:ext cx="285619" cy="285619"/>
            <a:chOff x="4386263" y="2338388"/>
            <a:chExt cx="371475" cy="371475"/>
          </a:xfrm>
          <a:solidFill>
            <a:schemeClr val="bg2"/>
          </a:solidFill>
          <a:effectLst/>
        </p:grpSpPr>
        <p:sp>
          <p:nvSpPr>
            <p:cNvPr id="1916" name="Freeform 5">
              <a:extLst>
                <a:ext uri="{FF2B5EF4-FFF2-40B4-BE49-F238E27FC236}">
                  <a16:creationId xmlns:a16="http://schemas.microsoft.com/office/drawing/2014/main" id="{A405043A-2C90-4094-9623-B49F09D7AFD1}"/>
                </a:ext>
              </a:extLst>
            </p:cNvPr>
            <p:cNvSpPr>
              <a:spLocks noEditPoints="1"/>
            </p:cNvSpPr>
            <p:nvPr/>
          </p:nvSpPr>
          <p:spPr bwMode="auto">
            <a:xfrm>
              <a:off x="4386263" y="2338388"/>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7" name="Freeform 6">
              <a:extLst>
                <a:ext uri="{FF2B5EF4-FFF2-40B4-BE49-F238E27FC236}">
                  <a16:creationId xmlns:a16="http://schemas.microsoft.com/office/drawing/2014/main" id="{80467DE6-B43D-41B9-BA69-EAF1907C27DE}"/>
                </a:ext>
              </a:extLst>
            </p:cNvPr>
            <p:cNvSpPr>
              <a:spLocks/>
            </p:cNvSpPr>
            <p:nvPr/>
          </p:nvSpPr>
          <p:spPr bwMode="auto">
            <a:xfrm>
              <a:off x="4510088" y="2354263"/>
              <a:ext cx="23813" cy="38100"/>
            </a:xfrm>
            <a:custGeom>
              <a:avLst/>
              <a:gdLst>
                <a:gd name="T0" fmla="*/ 2 w 6"/>
                <a:gd name="T1" fmla="*/ 10 h 10"/>
                <a:gd name="T2" fmla="*/ 0 w 6"/>
                <a:gd name="T3" fmla="*/ 0 h 10"/>
                <a:gd name="T4" fmla="*/ 4 w 6"/>
                <a:gd name="T5" fmla="*/ 0 h 10"/>
                <a:gd name="T6" fmla="*/ 6 w 6"/>
                <a:gd name="T7" fmla="*/ 8 h 10"/>
                <a:gd name="T8" fmla="*/ 2 w 6"/>
                <a:gd name="T9" fmla="*/ 10 h 10"/>
              </a:gdLst>
              <a:ahLst/>
              <a:cxnLst>
                <a:cxn ang="0">
                  <a:pos x="T0" y="T1"/>
                </a:cxn>
                <a:cxn ang="0">
                  <a:pos x="T2" y="T3"/>
                </a:cxn>
                <a:cxn ang="0">
                  <a:pos x="T4" y="T5"/>
                </a:cxn>
                <a:cxn ang="0">
                  <a:pos x="T6" y="T7"/>
                </a:cxn>
                <a:cxn ang="0">
                  <a:pos x="T8" y="T9"/>
                </a:cxn>
              </a:cxnLst>
              <a:rect l="0" t="0" r="r" b="b"/>
              <a:pathLst>
                <a:path w="6" h="10">
                  <a:moveTo>
                    <a:pt x="2" y="10"/>
                  </a:moveTo>
                  <a:cubicBezTo>
                    <a:pt x="1" y="7"/>
                    <a:pt x="0" y="3"/>
                    <a:pt x="0" y="0"/>
                  </a:cubicBezTo>
                  <a:cubicBezTo>
                    <a:pt x="4" y="0"/>
                    <a:pt x="4" y="0"/>
                    <a:pt x="4" y="0"/>
                  </a:cubicBezTo>
                  <a:cubicBezTo>
                    <a:pt x="4" y="3"/>
                    <a:pt x="5" y="6"/>
                    <a:pt x="6" y="8"/>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8" name="Freeform 7">
              <a:extLst>
                <a:ext uri="{FF2B5EF4-FFF2-40B4-BE49-F238E27FC236}">
                  <a16:creationId xmlns:a16="http://schemas.microsoft.com/office/drawing/2014/main" id="{7E7BB8F8-58A8-4DB1-9A4E-F59C915C3323}"/>
                </a:ext>
              </a:extLst>
            </p:cNvPr>
            <p:cNvSpPr>
              <a:spLocks/>
            </p:cNvSpPr>
            <p:nvPr/>
          </p:nvSpPr>
          <p:spPr bwMode="auto">
            <a:xfrm>
              <a:off x="4545013" y="2438401"/>
              <a:ext cx="115888" cy="85725"/>
            </a:xfrm>
            <a:custGeom>
              <a:avLst/>
              <a:gdLst>
                <a:gd name="T0" fmla="*/ 29 w 30"/>
                <a:gd name="T1" fmla="*/ 22 h 22"/>
                <a:gd name="T2" fmla="*/ 0 w 30"/>
                <a:gd name="T3" fmla="*/ 3 h 22"/>
                <a:gd name="T4" fmla="*/ 3 w 30"/>
                <a:gd name="T5" fmla="*/ 0 h 22"/>
                <a:gd name="T6" fmla="*/ 30 w 30"/>
                <a:gd name="T7" fmla="*/ 18 h 22"/>
                <a:gd name="T8" fmla="*/ 29 w 30"/>
                <a:gd name="T9" fmla="*/ 22 h 22"/>
              </a:gdLst>
              <a:ahLst/>
              <a:cxnLst>
                <a:cxn ang="0">
                  <a:pos x="T0" y="T1"/>
                </a:cxn>
                <a:cxn ang="0">
                  <a:pos x="T2" y="T3"/>
                </a:cxn>
                <a:cxn ang="0">
                  <a:pos x="T4" y="T5"/>
                </a:cxn>
                <a:cxn ang="0">
                  <a:pos x="T6" y="T7"/>
                </a:cxn>
                <a:cxn ang="0">
                  <a:pos x="T8" y="T9"/>
                </a:cxn>
              </a:cxnLst>
              <a:rect l="0" t="0" r="r" b="b"/>
              <a:pathLst>
                <a:path w="30" h="22">
                  <a:moveTo>
                    <a:pt x="29" y="22"/>
                  </a:moveTo>
                  <a:cubicBezTo>
                    <a:pt x="18" y="19"/>
                    <a:pt x="7" y="12"/>
                    <a:pt x="0" y="3"/>
                  </a:cubicBezTo>
                  <a:cubicBezTo>
                    <a:pt x="3" y="0"/>
                    <a:pt x="3" y="0"/>
                    <a:pt x="3" y="0"/>
                  </a:cubicBezTo>
                  <a:cubicBezTo>
                    <a:pt x="10" y="9"/>
                    <a:pt x="20" y="16"/>
                    <a:pt x="30" y="18"/>
                  </a:cubicBezTo>
                  <a:lnTo>
                    <a:pt x="2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9" name="Freeform 8">
              <a:extLst>
                <a:ext uri="{FF2B5EF4-FFF2-40B4-BE49-F238E27FC236}">
                  <a16:creationId xmlns:a16="http://schemas.microsoft.com/office/drawing/2014/main" id="{E7BC70DC-F9DB-4919-A39E-982854ADE7E4}"/>
                </a:ext>
              </a:extLst>
            </p:cNvPr>
            <p:cNvSpPr>
              <a:spLocks/>
            </p:cNvSpPr>
            <p:nvPr/>
          </p:nvSpPr>
          <p:spPr bwMode="auto">
            <a:xfrm>
              <a:off x="4722813" y="2500313"/>
              <a:ext cx="26988" cy="23813"/>
            </a:xfrm>
            <a:custGeom>
              <a:avLst/>
              <a:gdLst>
                <a:gd name="T0" fmla="*/ 0 w 7"/>
                <a:gd name="T1" fmla="*/ 6 h 6"/>
                <a:gd name="T2" fmla="*/ 0 w 7"/>
                <a:gd name="T3" fmla="*/ 2 h 6"/>
                <a:gd name="T4" fmla="*/ 4 w 7"/>
                <a:gd name="T5" fmla="*/ 0 h 6"/>
                <a:gd name="T6" fmla="*/ 6 w 7"/>
                <a:gd name="T7" fmla="*/ 0 h 6"/>
                <a:gd name="T8" fmla="*/ 7 w 7"/>
                <a:gd name="T9" fmla="*/ 4 h 6"/>
                <a:gd name="T10" fmla="*/ 6 w 7"/>
                <a:gd name="T11" fmla="*/ 4 h 6"/>
                <a:gd name="T12" fmla="*/ 0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6"/>
                  </a:moveTo>
                  <a:cubicBezTo>
                    <a:pt x="0" y="2"/>
                    <a:pt x="0" y="2"/>
                    <a:pt x="0" y="2"/>
                  </a:cubicBezTo>
                  <a:cubicBezTo>
                    <a:pt x="1" y="2"/>
                    <a:pt x="3" y="1"/>
                    <a:pt x="4" y="0"/>
                  </a:cubicBezTo>
                  <a:cubicBezTo>
                    <a:pt x="6" y="0"/>
                    <a:pt x="6" y="0"/>
                    <a:pt x="6" y="0"/>
                  </a:cubicBezTo>
                  <a:cubicBezTo>
                    <a:pt x="7" y="4"/>
                    <a:pt x="7" y="4"/>
                    <a:pt x="7" y="4"/>
                  </a:cubicBezTo>
                  <a:cubicBezTo>
                    <a:pt x="6" y="4"/>
                    <a:pt x="6" y="4"/>
                    <a:pt x="6" y="4"/>
                  </a:cubicBezTo>
                  <a:cubicBezTo>
                    <a:pt x="4" y="5"/>
                    <a:pt x="2"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0" name="Freeform 9">
              <a:extLst>
                <a:ext uri="{FF2B5EF4-FFF2-40B4-BE49-F238E27FC236}">
                  <a16:creationId xmlns:a16="http://schemas.microsoft.com/office/drawing/2014/main" id="{732FD199-F1FE-465B-B33A-1A23802DA8AA}"/>
                </a:ext>
              </a:extLst>
            </p:cNvPr>
            <p:cNvSpPr>
              <a:spLocks/>
            </p:cNvSpPr>
            <p:nvPr/>
          </p:nvSpPr>
          <p:spPr bwMode="auto">
            <a:xfrm>
              <a:off x="4525963" y="2613026"/>
              <a:ext cx="104775" cy="88900"/>
            </a:xfrm>
            <a:custGeom>
              <a:avLst/>
              <a:gdLst>
                <a:gd name="T0" fmla="*/ 2 w 27"/>
                <a:gd name="T1" fmla="*/ 23 h 23"/>
                <a:gd name="T2" fmla="*/ 0 w 27"/>
                <a:gd name="T3" fmla="*/ 20 h 23"/>
                <a:gd name="T4" fmla="*/ 24 w 27"/>
                <a:gd name="T5" fmla="*/ 0 h 23"/>
                <a:gd name="T6" fmla="*/ 27 w 27"/>
                <a:gd name="T7" fmla="*/ 3 h 23"/>
                <a:gd name="T8" fmla="*/ 2 w 27"/>
                <a:gd name="T9" fmla="*/ 23 h 23"/>
              </a:gdLst>
              <a:ahLst/>
              <a:cxnLst>
                <a:cxn ang="0">
                  <a:pos x="T0" y="T1"/>
                </a:cxn>
                <a:cxn ang="0">
                  <a:pos x="T2" y="T3"/>
                </a:cxn>
                <a:cxn ang="0">
                  <a:pos x="T4" y="T5"/>
                </a:cxn>
                <a:cxn ang="0">
                  <a:pos x="T6" y="T7"/>
                </a:cxn>
                <a:cxn ang="0">
                  <a:pos x="T8" y="T9"/>
                </a:cxn>
              </a:cxnLst>
              <a:rect l="0" t="0" r="r" b="b"/>
              <a:pathLst>
                <a:path w="27" h="23">
                  <a:moveTo>
                    <a:pt x="2" y="23"/>
                  </a:moveTo>
                  <a:cubicBezTo>
                    <a:pt x="0" y="20"/>
                    <a:pt x="0" y="20"/>
                    <a:pt x="0" y="20"/>
                  </a:cubicBezTo>
                  <a:cubicBezTo>
                    <a:pt x="9" y="15"/>
                    <a:pt x="17" y="8"/>
                    <a:pt x="24" y="0"/>
                  </a:cubicBezTo>
                  <a:cubicBezTo>
                    <a:pt x="27" y="3"/>
                    <a:pt x="27" y="3"/>
                    <a:pt x="27" y="3"/>
                  </a:cubicBezTo>
                  <a:cubicBezTo>
                    <a:pt x="20" y="11"/>
                    <a:pt x="12" y="18"/>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1" name="Freeform 10">
              <a:extLst>
                <a:ext uri="{FF2B5EF4-FFF2-40B4-BE49-F238E27FC236}">
                  <a16:creationId xmlns:a16="http://schemas.microsoft.com/office/drawing/2014/main" id="{F46710AC-AD16-4AE0-9D27-00A71E601D2F}"/>
                </a:ext>
              </a:extLst>
            </p:cNvPr>
            <p:cNvSpPr>
              <a:spLocks/>
            </p:cNvSpPr>
            <p:nvPr/>
          </p:nvSpPr>
          <p:spPr bwMode="auto">
            <a:xfrm>
              <a:off x="4649788" y="2540001"/>
              <a:ext cx="34925" cy="46038"/>
            </a:xfrm>
            <a:custGeom>
              <a:avLst/>
              <a:gdLst>
                <a:gd name="T0" fmla="*/ 3 w 9"/>
                <a:gd name="T1" fmla="*/ 12 h 12"/>
                <a:gd name="T2" fmla="*/ 0 w 9"/>
                <a:gd name="T3" fmla="*/ 10 h 12"/>
                <a:gd name="T4" fmla="*/ 5 w 9"/>
                <a:gd name="T5" fmla="*/ 0 h 12"/>
                <a:gd name="T6" fmla="*/ 9 w 9"/>
                <a:gd name="T7" fmla="*/ 2 h 12"/>
                <a:gd name="T8" fmla="*/ 3 w 9"/>
                <a:gd name="T9" fmla="*/ 12 h 12"/>
              </a:gdLst>
              <a:ahLst/>
              <a:cxnLst>
                <a:cxn ang="0">
                  <a:pos x="T0" y="T1"/>
                </a:cxn>
                <a:cxn ang="0">
                  <a:pos x="T2" y="T3"/>
                </a:cxn>
                <a:cxn ang="0">
                  <a:pos x="T4" y="T5"/>
                </a:cxn>
                <a:cxn ang="0">
                  <a:pos x="T6" y="T7"/>
                </a:cxn>
                <a:cxn ang="0">
                  <a:pos x="T8" y="T9"/>
                </a:cxn>
              </a:cxnLst>
              <a:rect l="0" t="0" r="r" b="b"/>
              <a:pathLst>
                <a:path w="9" h="12">
                  <a:moveTo>
                    <a:pt x="3" y="12"/>
                  </a:moveTo>
                  <a:cubicBezTo>
                    <a:pt x="0" y="10"/>
                    <a:pt x="0" y="10"/>
                    <a:pt x="0" y="10"/>
                  </a:cubicBezTo>
                  <a:cubicBezTo>
                    <a:pt x="2" y="7"/>
                    <a:pt x="4" y="3"/>
                    <a:pt x="5" y="0"/>
                  </a:cubicBezTo>
                  <a:cubicBezTo>
                    <a:pt x="9" y="2"/>
                    <a:pt x="9" y="2"/>
                    <a:pt x="9" y="2"/>
                  </a:cubicBezTo>
                  <a:cubicBezTo>
                    <a:pt x="7" y="5"/>
                    <a:pt x="5" y="9"/>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2" name="Freeform 11">
              <a:extLst>
                <a:ext uri="{FF2B5EF4-FFF2-40B4-BE49-F238E27FC236}">
                  <a16:creationId xmlns:a16="http://schemas.microsoft.com/office/drawing/2014/main" id="{4A425C6A-D559-45B5-B81D-197B0790702E}"/>
                </a:ext>
              </a:extLst>
            </p:cNvPr>
            <p:cNvSpPr>
              <a:spLocks/>
            </p:cNvSpPr>
            <p:nvPr/>
          </p:nvSpPr>
          <p:spPr bwMode="auto">
            <a:xfrm>
              <a:off x="4695826" y="2419351"/>
              <a:ext cx="26988" cy="69850"/>
            </a:xfrm>
            <a:custGeom>
              <a:avLst/>
              <a:gdLst>
                <a:gd name="T0" fmla="*/ 3 w 7"/>
                <a:gd name="T1" fmla="*/ 18 h 18"/>
                <a:gd name="T2" fmla="*/ 0 w 7"/>
                <a:gd name="T3" fmla="*/ 17 h 18"/>
                <a:gd name="T4" fmla="*/ 3 w 7"/>
                <a:gd name="T5" fmla="*/ 0 h 18"/>
                <a:gd name="T6" fmla="*/ 7 w 7"/>
                <a:gd name="T7" fmla="*/ 0 h 18"/>
                <a:gd name="T8" fmla="*/ 3 w 7"/>
                <a:gd name="T9" fmla="*/ 18 h 18"/>
              </a:gdLst>
              <a:ahLst/>
              <a:cxnLst>
                <a:cxn ang="0">
                  <a:pos x="T0" y="T1"/>
                </a:cxn>
                <a:cxn ang="0">
                  <a:pos x="T2" y="T3"/>
                </a:cxn>
                <a:cxn ang="0">
                  <a:pos x="T4" y="T5"/>
                </a:cxn>
                <a:cxn ang="0">
                  <a:pos x="T6" y="T7"/>
                </a:cxn>
                <a:cxn ang="0">
                  <a:pos x="T8" y="T9"/>
                </a:cxn>
              </a:cxnLst>
              <a:rect l="0" t="0" r="r" b="b"/>
              <a:pathLst>
                <a:path w="7" h="18">
                  <a:moveTo>
                    <a:pt x="3" y="18"/>
                  </a:moveTo>
                  <a:cubicBezTo>
                    <a:pt x="0" y="17"/>
                    <a:pt x="0" y="17"/>
                    <a:pt x="0" y="17"/>
                  </a:cubicBezTo>
                  <a:cubicBezTo>
                    <a:pt x="1" y="11"/>
                    <a:pt x="2" y="6"/>
                    <a:pt x="3" y="0"/>
                  </a:cubicBezTo>
                  <a:cubicBezTo>
                    <a:pt x="7" y="0"/>
                    <a:pt x="7" y="0"/>
                    <a:pt x="7" y="0"/>
                  </a:cubicBezTo>
                  <a:cubicBezTo>
                    <a:pt x="6" y="6"/>
                    <a:pt x="5" y="12"/>
                    <a:pt x="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3" name="Freeform 12">
              <a:extLst>
                <a:ext uri="{FF2B5EF4-FFF2-40B4-BE49-F238E27FC236}">
                  <a16:creationId xmlns:a16="http://schemas.microsoft.com/office/drawing/2014/main" id="{F11ECB90-58F5-4A92-AD48-06C418D7AF99}"/>
                </a:ext>
              </a:extLst>
            </p:cNvPr>
            <p:cNvSpPr>
              <a:spLocks/>
            </p:cNvSpPr>
            <p:nvPr/>
          </p:nvSpPr>
          <p:spPr bwMode="auto">
            <a:xfrm>
              <a:off x="4402138" y="2578101"/>
              <a:ext cx="46038" cy="23813"/>
            </a:xfrm>
            <a:custGeom>
              <a:avLst/>
              <a:gdLst>
                <a:gd name="T0" fmla="*/ 11 w 12"/>
                <a:gd name="T1" fmla="*/ 6 h 6"/>
                <a:gd name="T2" fmla="*/ 8 w 12"/>
                <a:gd name="T3" fmla="*/ 6 h 6"/>
                <a:gd name="T4" fmla="*/ 0 w 12"/>
                <a:gd name="T5" fmla="*/ 4 h 6"/>
                <a:gd name="T6" fmla="*/ 1 w 12"/>
                <a:gd name="T7" fmla="*/ 0 h 6"/>
                <a:gd name="T8" fmla="*/ 9 w 12"/>
                <a:gd name="T9" fmla="*/ 2 h 6"/>
                <a:gd name="T10" fmla="*/ 12 w 12"/>
                <a:gd name="T11" fmla="*/ 2 h 6"/>
                <a:gd name="T12" fmla="*/ 11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1" y="6"/>
                  </a:moveTo>
                  <a:cubicBezTo>
                    <a:pt x="8" y="6"/>
                    <a:pt x="8" y="6"/>
                    <a:pt x="8" y="6"/>
                  </a:cubicBezTo>
                  <a:cubicBezTo>
                    <a:pt x="6" y="5"/>
                    <a:pt x="3" y="4"/>
                    <a:pt x="0" y="4"/>
                  </a:cubicBezTo>
                  <a:cubicBezTo>
                    <a:pt x="1" y="0"/>
                    <a:pt x="1" y="0"/>
                    <a:pt x="1" y="0"/>
                  </a:cubicBezTo>
                  <a:cubicBezTo>
                    <a:pt x="4" y="1"/>
                    <a:pt x="7" y="1"/>
                    <a:pt x="9" y="2"/>
                  </a:cubicBezTo>
                  <a:cubicBezTo>
                    <a:pt x="12" y="2"/>
                    <a:pt x="12" y="2"/>
                    <a:pt x="12" y="2"/>
                  </a:cubicBez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4" name="Freeform 13">
              <a:extLst>
                <a:ext uri="{FF2B5EF4-FFF2-40B4-BE49-F238E27FC236}">
                  <a16:creationId xmlns:a16="http://schemas.microsoft.com/office/drawing/2014/main" id="{68321C8E-9BA2-41BE-9DC2-860FAE880A84}"/>
                </a:ext>
              </a:extLst>
            </p:cNvPr>
            <p:cNvSpPr>
              <a:spLocks/>
            </p:cNvSpPr>
            <p:nvPr/>
          </p:nvSpPr>
          <p:spPr bwMode="auto">
            <a:xfrm>
              <a:off x="4471988" y="2593976"/>
              <a:ext cx="76200" cy="23813"/>
            </a:xfrm>
            <a:custGeom>
              <a:avLst/>
              <a:gdLst>
                <a:gd name="T0" fmla="*/ 20 w 20"/>
                <a:gd name="T1" fmla="*/ 6 h 6"/>
                <a:gd name="T2" fmla="*/ 0 w 20"/>
                <a:gd name="T3" fmla="*/ 4 h 6"/>
                <a:gd name="T4" fmla="*/ 1 w 20"/>
                <a:gd name="T5" fmla="*/ 0 h 6"/>
                <a:gd name="T6" fmla="*/ 20 w 20"/>
                <a:gd name="T7" fmla="*/ 2 h 6"/>
                <a:gd name="T8" fmla="*/ 20 w 20"/>
                <a:gd name="T9" fmla="*/ 6 h 6"/>
              </a:gdLst>
              <a:ahLst/>
              <a:cxnLst>
                <a:cxn ang="0">
                  <a:pos x="T0" y="T1"/>
                </a:cxn>
                <a:cxn ang="0">
                  <a:pos x="T2" y="T3"/>
                </a:cxn>
                <a:cxn ang="0">
                  <a:pos x="T4" y="T5"/>
                </a:cxn>
                <a:cxn ang="0">
                  <a:pos x="T6" y="T7"/>
                </a:cxn>
                <a:cxn ang="0">
                  <a:pos x="T8" y="T9"/>
                </a:cxn>
              </a:cxnLst>
              <a:rect l="0" t="0" r="r" b="b"/>
              <a:pathLst>
                <a:path w="20" h="6">
                  <a:moveTo>
                    <a:pt x="20" y="6"/>
                  </a:moveTo>
                  <a:cubicBezTo>
                    <a:pt x="14" y="6"/>
                    <a:pt x="7" y="5"/>
                    <a:pt x="0" y="4"/>
                  </a:cubicBezTo>
                  <a:cubicBezTo>
                    <a:pt x="1" y="0"/>
                    <a:pt x="1" y="0"/>
                    <a:pt x="1" y="0"/>
                  </a:cubicBezTo>
                  <a:cubicBezTo>
                    <a:pt x="8" y="1"/>
                    <a:pt x="14" y="2"/>
                    <a:pt x="20" y="2"/>
                  </a:cubicBez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5" name="Freeform 14">
              <a:extLst>
                <a:ext uri="{FF2B5EF4-FFF2-40B4-BE49-F238E27FC236}">
                  <a16:creationId xmlns:a16="http://schemas.microsoft.com/office/drawing/2014/main" id="{74AEE2DA-FEAC-47BF-9FE9-7CB1994408B6}"/>
                </a:ext>
              </a:extLst>
            </p:cNvPr>
            <p:cNvSpPr>
              <a:spLocks/>
            </p:cNvSpPr>
            <p:nvPr/>
          </p:nvSpPr>
          <p:spPr bwMode="auto">
            <a:xfrm>
              <a:off x="4595813" y="2601913"/>
              <a:ext cx="22225" cy="15875"/>
            </a:xfrm>
            <a:custGeom>
              <a:avLst/>
              <a:gdLst>
                <a:gd name="T0" fmla="*/ 4 w 6"/>
                <a:gd name="T1" fmla="*/ 4 h 4"/>
                <a:gd name="T2" fmla="*/ 3 w 6"/>
                <a:gd name="T3" fmla="*/ 4 h 4"/>
                <a:gd name="T4" fmla="*/ 0 w 6"/>
                <a:gd name="T5" fmla="*/ 4 h 4"/>
                <a:gd name="T6" fmla="*/ 0 w 6"/>
                <a:gd name="T7" fmla="*/ 0 h 4"/>
                <a:gd name="T8" fmla="*/ 3 w 6"/>
                <a:gd name="T9" fmla="*/ 0 h 4"/>
                <a:gd name="T10" fmla="*/ 6 w 6"/>
                <a:gd name="T11" fmla="*/ 0 h 4"/>
                <a:gd name="T12" fmla="*/ 6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cubicBezTo>
                    <a:pt x="4" y="4"/>
                    <a:pt x="3" y="4"/>
                    <a:pt x="3" y="4"/>
                  </a:cubicBezTo>
                  <a:cubicBezTo>
                    <a:pt x="2" y="4"/>
                    <a:pt x="1" y="4"/>
                    <a:pt x="0" y="4"/>
                  </a:cubicBezTo>
                  <a:cubicBezTo>
                    <a:pt x="0" y="0"/>
                    <a:pt x="0" y="0"/>
                    <a:pt x="0" y="0"/>
                  </a:cubicBezTo>
                  <a:cubicBezTo>
                    <a:pt x="1" y="0"/>
                    <a:pt x="2" y="0"/>
                    <a:pt x="3" y="0"/>
                  </a:cubicBezTo>
                  <a:cubicBezTo>
                    <a:pt x="4" y="0"/>
                    <a:pt x="5" y="0"/>
                    <a:pt x="6" y="0"/>
                  </a:cubicBezTo>
                  <a:cubicBezTo>
                    <a:pt x="6" y="4"/>
                    <a:pt x="6" y="4"/>
                    <a:pt x="6" y="4"/>
                  </a:cubicBezTo>
                  <a:cubicBezTo>
                    <a:pt x="5" y="4"/>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6" name="Freeform 15">
              <a:extLst>
                <a:ext uri="{FF2B5EF4-FFF2-40B4-BE49-F238E27FC236}">
                  <a16:creationId xmlns:a16="http://schemas.microsoft.com/office/drawing/2014/main" id="{335F9925-EA3E-4517-BA48-B7243C9F005B}"/>
                </a:ext>
              </a:extLst>
            </p:cNvPr>
            <p:cNvSpPr>
              <a:spLocks/>
            </p:cNvSpPr>
            <p:nvPr/>
          </p:nvSpPr>
          <p:spPr bwMode="auto">
            <a:xfrm>
              <a:off x="4660901" y="2582863"/>
              <a:ext cx="77788" cy="26988"/>
            </a:xfrm>
            <a:custGeom>
              <a:avLst/>
              <a:gdLst>
                <a:gd name="T0" fmla="*/ 1 w 20"/>
                <a:gd name="T1" fmla="*/ 7 h 7"/>
                <a:gd name="T2" fmla="*/ 0 w 20"/>
                <a:gd name="T3" fmla="*/ 3 h 7"/>
                <a:gd name="T4" fmla="*/ 2 w 20"/>
                <a:gd name="T5" fmla="*/ 3 h 7"/>
                <a:gd name="T6" fmla="*/ 19 w 20"/>
                <a:gd name="T7" fmla="*/ 0 h 7"/>
                <a:gd name="T8" fmla="*/ 20 w 20"/>
                <a:gd name="T9" fmla="*/ 4 h 7"/>
                <a:gd name="T10" fmla="*/ 3 w 20"/>
                <a:gd name="T11" fmla="*/ 7 h 7"/>
                <a:gd name="T12" fmla="*/ 1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 y="7"/>
                  </a:moveTo>
                  <a:cubicBezTo>
                    <a:pt x="0" y="3"/>
                    <a:pt x="0" y="3"/>
                    <a:pt x="0" y="3"/>
                  </a:cubicBezTo>
                  <a:cubicBezTo>
                    <a:pt x="2" y="3"/>
                    <a:pt x="2" y="3"/>
                    <a:pt x="2" y="3"/>
                  </a:cubicBezTo>
                  <a:cubicBezTo>
                    <a:pt x="8" y="2"/>
                    <a:pt x="14" y="1"/>
                    <a:pt x="19" y="0"/>
                  </a:cubicBezTo>
                  <a:cubicBezTo>
                    <a:pt x="20" y="4"/>
                    <a:pt x="20" y="4"/>
                    <a:pt x="20" y="4"/>
                  </a:cubicBezTo>
                  <a:cubicBezTo>
                    <a:pt x="14" y="5"/>
                    <a:pt x="8" y="6"/>
                    <a:pt x="3" y="7"/>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7" name="Freeform 16">
              <a:extLst>
                <a:ext uri="{FF2B5EF4-FFF2-40B4-BE49-F238E27FC236}">
                  <a16:creationId xmlns:a16="http://schemas.microsoft.com/office/drawing/2014/main" id="{45A7206F-0967-404F-935D-ACE3AB6EE8EB}"/>
                </a:ext>
              </a:extLst>
            </p:cNvPr>
            <p:cNvSpPr>
              <a:spLocks/>
            </p:cNvSpPr>
            <p:nvPr/>
          </p:nvSpPr>
          <p:spPr bwMode="auto">
            <a:xfrm>
              <a:off x="4448176" y="2384426"/>
              <a:ext cx="58738" cy="34925"/>
            </a:xfrm>
            <a:custGeom>
              <a:avLst/>
              <a:gdLst>
                <a:gd name="T0" fmla="*/ 14 w 15"/>
                <a:gd name="T1" fmla="*/ 9 h 9"/>
                <a:gd name="T2" fmla="*/ 0 w 15"/>
                <a:gd name="T3" fmla="*/ 3 h 9"/>
                <a:gd name="T4" fmla="*/ 2 w 15"/>
                <a:gd name="T5" fmla="*/ 0 h 9"/>
                <a:gd name="T6" fmla="*/ 15 w 15"/>
                <a:gd name="T7" fmla="*/ 5 h 9"/>
                <a:gd name="T8" fmla="*/ 14 w 15"/>
                <a:gd name="T9" fmla="*/ 9 h 9"/>
              </a:gdLst>
              <a:ahLst/>
              <a:cxnLst>
                <a:cxn ang="0">
                  <a:pos x="T0" y="T1"/>
                </a:cxn>
                <a:cxn ang="0">
                  <a:pos x="T2" y="T3"/>
                </a:cxn>
                <a:cxn ang="0">
                  <a:pos x="T4" y="T5"/>
                </a:cxn>
                <a:cxn ang="0">
                  <a:pos x="T6" y="T7"/>
                </a:cxn>
                <a:cxn ang="0">
                  <a:pos x="T8" y="T9"/>
                </a:cxn>
              </a:cxnLst>
              <a:rect l="0" t="0" r="r" b="b"/>
              <a:pathLst>
                <a:path w="15" h="9">
                  <a:moveTo>
                    <a:pt x="14" y="9"/>
                  </a:moveTo>
                  <a:cubicBezTo>
                    <a:pt x="9" y="8"/>
                    <a:pt x="5" y="6"/>
                    <a:pt x="0" y="3"/>
                  </a:cubicBezTo>
                  <a:cubicBezTo>
                    <a:pt x="2" y="0"/>
                    <a:pt x="2" y="0"/>
                    <a:pt x="2" y="0"/>
                  </a:cubicBezTo>
                  <a:cubicBezTo>
                    <a:pt x="6" y="2"/>
                    <a:pt x="11" y="4"/>
                    <a:pt x="15" y="5"/>
                  </a:cubicBezTo>
                  <a:lnTo>
                    <a:pt x="1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8" name="Freeform 17">
              <a:extLst>
                <a:ext uri="{FF2B5EF4-FFF2-40B4-BE49-F238E27FC236}">
                  <a16:creationId xmlns:a16="http://schemas.microsoft.com/office/drawing/2014/main" id="{61E40602-2CD1-45F7-B2A3-C7A0162E1EC7}"/>
                </a:ext>
              </a:extLst>
            </p:cNvPr>
            <p:cNvSpPr>
              <a:spLocks/>
            </p:cNvSpPr>
            <p:nvPr/>
          </p:nvSpPr>
          <p:spPr bwMode="auto">
            <a:xfrm>
              <a:off x="4568826" y="2365376"/>
              <a:ext cx="103188" cy="58738"/>
            </a:xfrm>
            <a:custGeom>
              <a:avLst/>
              <a:gdLst>
                <a:gd name="T0" fmla="*/ 0 w 27"/>
                <a:gd name="T1" fmla="*/ 15 h 15"/>
                <a:gd name="T2" fmla="*/ 0 w 27"/>
                <a:gd name="T3" fmla="*/ 12 h 15"/>
                <a:gd name="T4" fmla="*/ 24 w 27"/>
                <a:gd name="T5" fmla="*/ 0 h 15"/>
                <a:gd name="T6" fmla="*/ 27 w 27"/>
                <a:gd name="T7" fmla="*/ 3 h 15"/>
                <a:gd name="T8" fmla="*/ 0 w 27"/>
                <a:gd name="T9" fmla="*/ 15 h 15"/>
              </a:gdLst>
              <a:ahLst/>
              <a:cxnLst>
                <a:cxn ang="0">
                  <a:pos x="T0" y="T1"/>
                </a:cxn>
                <a:cxn ang="0">
                  <a:pos x="T2" y="T3"/>
                </a:cxn>
                <a:cxn ang="0">
                  <a:pos x="T4" y="T5"/>
                </a:cxn>
                <a:cxn ang="0">
                  <a:pos x="T6" y="T7"/>
                </a:cxn>
                <a:cxn ang="0">
                  <a:pos x="T8" y="T9"/>
                </a:cxn>
              </a:cxnLst>
              <a:rect l="0" t="0" r="r" b="b"/>
              <a:pathLst>
                <a:path w="27" h="15">
                  <a:moveTo>
                    <a:pt x="0" y="15"/>
                  </a:moveTo>
                  <a:cubicBezTo>
                    <a:pt x="0" y="12"/>
                    <a:pt x="0" y="12"/>
                    <a:pt x="0" y="12"/>
                  </a:cubicBezTo>
                  <a:cubicBezTo>
                    <a:pt x="8" y="11"/>
                    <a:pt x="17" y="7"/>
                    <a:pt x="24" y="0"/>
                  </a:cubicBezTo>
                  <a:cubicBezTo>
                    <a:pt x="27" y="3"/>
                    <a:pt x="27" y="3"/>
                    <a:pt x="27" y="3"/>
                  </a:cubicBezTo>
                  <a:cubicBezTo>
                    <a:pt x="19" y="10"/>
                    <a:pt x="10" y="1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9" name="Freeform 18">
              <a:extLst>
                <a:ext uri="{FF2B5EF4-FFF2-40B4-BE49-F238E27FC236}">
                  <a16:creationId xmlns:a16="http://schemas.microsoft.com/office/drawing/2014/main" id="{EC05704C-522C-4722-A298-843C4A81979F}"/>
                </a:ext>
              </a:extLst>
            </p:cNvPr>
            <p:cNvSpPr>
              <a:spLocks/>
            </p:cNvSpPr>
            <p:nvPr/>
          </p:nvSpPr>
          <p:spPr bwMode="auto">
            <a:xfrm>
              <a:off x="4579938" y="2624138"/>
              <a:ext cx="46038" cy="74613"/>
            </a:xfrm>
            <a:custGeom>
              <a:avLst/>
              <a:gdLst>
                <a:gd name="T0" fmla="*/ 9 w 12"/>
                <a:gd name="T1" fmla="*/ 19 h 19"/>
                <a:gd name="T2" fmla="*/ 0 w 12"/>
                <a:gd name="T3" fmla="*/ 2 h 19"/>
                <a:gd name="T4" fmla="*/ 3 w 12"/>
                <a:gd name="T5" fmla="*/ 0 h 19"/>
                <a:gd name="T6" fmla="*/ 12 w 12"/>
                <a:gd name="T7" fmla="*/ 18 h 19"/>
                <a:gd name="T8" fmla="*/ 9 w 12"/>
                <a:gd name="T9" fmla="*/ 19 h 19"/>
              </a:gdLst>
              <a:ahLst/>
              <a:cxnLst>
                <a:cxn ang="0">
                  <a:pos x="T0" y="T1"/>
                </a:cxn>
                <a:cxn ang="0">
                  <a:pos x="T2" y="T3"/>
                </a:cxn>
                <a:cxn ang="0">
                  <a:pos x="T4" y="T5"/>
                </a:cxn>
                <a:cxn ang="0">
                  <a:pos x="T6" y="T7"/>
                </a:cxn>
                <a:cxn ang="0">
                  <a:pos x="T8" y="T9"/>
                </a:cxn>
              </a:cxnLst>
              <a:rect l="0" t="0" r="r" b="b"/>
              <a:pathLst>
                <a:path w="12" h="19">
                  <a:moveTo>
                    <a:pt x="9" y="19"/>
                  </a:moveTo>
                  <a:cubicBezTo>
                    <a:pt x="7" y="14"/>
                    <a:pt x="4" y="9"/>
                    <a:pt x="0" y="2"/>
                  </a:cubicBezTo>
                  <a:cubicBezTo>
                    <a:pt x="3" y="0"/>
                    <a:pt x="3" y="0"/>
                    <a:pt x="3" y="0"/>
                  </a:cubicBezTo>
                  <a:cubicBezTo>
                    <a:pt x="8" y="7"/>
                    <a:pt x="11" y="13"/>
                    <a:pt x="12" y="18"/>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0" name="Freeform 19">
              <a:extLst>
                <a:ext uri="{FF2B5EF4-FFF2-40B4-BE49-F238E27FC236}">
                  <a16:creationId xmlns:a16="http://schemas.microsoft.com/office/drawing/2014/main" id="{45612EB0-C054-4C87-B6D0-4EF7D9408CCD}"/>
                </a:ext>
              </a:extLst>
            </p:cNvPr>
            <p:cNvSpPr>
              <a:spLocks/>
            </p:cNvSpPr>
            <p:nvPr/>
          </p:nvSpPr>
          <p:spPr bwMode="auto">
            <a:xfrm>
              <a:off x="4498976" y="2540001"/>
              <a:ext cx="65088" cy="57150"/>
            </a:xfrm>
            <a:custGeom>
              <a:avLst/>
              <a:gdLst>
                <a:gd name="T0" fmla="*/ 14 w 17"/>
                <a:gd name="T1" fmla="*/ 15 h 15"/>
                <a:gd name="T2" fmla="*/ 0 w 17"/>
                <a:gd name="T3" fmla="*/ 3 h 15"/>
                <a:gd name="T4" fmla="*/ 2 w 17"/>
                <a:gd name="T5" fmla="*/ 0 h 15"/>
                <a:gd name="T6" fmla="*/ 17 w 17"/>
                <a:gd name="T7" fmla="*/ 12 h 15"/>
                <a:gd name="T8" fmla="*/ 14 w 17"/>
                <a:gd name="T9" fmla="*/ 15 h 15"/>
              </a:gdLst>
              <a:ahLst/>
              <a:cxnLst>
                <a:cxn ang="0">
                  <a:pos x="T0" y="T1"/>
                </a:cxn>
                <a:cxn ang="0">
                  <a:pos x="T2" y="T3"/>
                </a:cxn>
                <a:cxn ang="0">
                  <a:pos x="T4" y="T5"/>
                </a:cxn>
                <a:cxn ang="0">
                  <a:pos x="T6" y="T7"/>
                </a:cxn>
                <a:cxn ang="0">
                  <a:pos x="T8" y="T9"/>
                </a:cxn>
              </a:cxnLst>
              <a:rect l="0" t="0" r="r" b="b"/>
              <a:pathLst>
                <a:path w="17" h="15">
                  <a:moveTo>
                    <a:pt x="14" y="15"/>
                  </a:moveTo>
                  <a:cubicBezTo>
                    <a:pt x="10" y="11"/>
                    <a:pt x="5" y="6"/>
                    <a:pt x="0" y="3"/>
                  </a:cubicBezTo>
                  <a:cubicBezTo>
                    <a:pt x="2" y="0"/>
                    <a:pt x="2" y="0"/>
                    <a:pt x="2" y="0"/>
                  </a:cubicBezTo>
                  <a:cubicBezTo>
                    <a:pt x="8" y="4"/>
                    <a:pt x="15" y="10"/>
                    <a:pt x="17" y="12"/>
                  </a:cubicBezTo>
                  <a:lnTo>
                    <a:pt x="1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1" name="Freeform 20">
              <a:extLst>
                <a:ext uri="{FF2B5EF4-FFF2-40B4-BE49-F238E27FC236}">
                  <a16:creationId xmlns:a16="http://schemas.microsoft.com/office/drawing/2014/main" id="{DCA1EE29-716B-4F40-9544-A01757CC869C}"/>
                </a:ext>
              </a:extLst>
            </p:cNvPr>
            <p:cNvSpPr>
              <a:spLocks/>
            </p:cNvSpPr>
            <p:nvPr/>
          </p:nvSpPr>
          <p:spPr bwMode="auto">
            <a:xfrm>
              <a:off x="4394201" y="2497138"/>
              <a:ext cx="53975" cy="26988"/>
            </a:xfrm>
            <a:custGeom>
              <a:avLst/>
              <a:gdLst>
                <a:gd name="T0" fmla="*/ 13 w 14"/>
                <a:gd name="T1" fmla="*/ 7 h 7"/>
                <a:gd name="T2" fmla="*/ 0 w 14"/>
                <a:gd name="T3" fmla="*/ 4 h 7"/>
                <a:gd name="T4" fmla="*/ 1 w 14"/>
                <a:gd name="T5" fmla="*/ 0 h 7"/>
                <a:gd name="T6" fmla="*/ 14 w 14"/>
                <a:gd name="T7" fmla="*/ 4 h 7"/>
                <a:gd name="T8" fmla="*/ 13 w 14"/>
                <a:gd name="T9" fmla="*/ 7 h 7"/>
              </a:gdLst>
              <a:ahLst/>
              <a:cxnLst>
                <a:cxn ang="0">
                  <a:pos x="T0" y="T1"/>
                </a:cxn>
                <a:cxn ang="0">
                  <a:pos x="T2" y="T3"/>
                </a:cxn>
                <a:cxn ang="0">
                  <a:pos x="T4" y="T5"/>
                </a:cxn>
                <a:cxn ang="0">
                  <a:pos x="T6" y="T7"/>
                </a:cxn>
                <a:cxn ang="0">
                  <a:pos x="T8" y="T9"/>
                </a:cxn>
              </a:cxnLst>
              <a:rect l="0" t="0" r="r" b="b"/>
              <a:pathLst>
                <a:path w="14" h="7">
                  <a:moveTo>
                    <a:pt x="13" y="7"/>
                  </a:moveTo>
                  <a:cubicBezTo>
                    <a:pt x="8" y="6"/>
                    <a:pt x="4" y="5"/>
                    <a:pt x="0" y="4"/>
                  </a:cubicBezTo>
                  <a:cubicBezTo>
                    <a:pt x="1" y="0"/>
                    <a:pt x="1" y="0"/>
                    <a:pt x="1" y="0"/>
                  </a:cubicBezTo>
                  <a:cubicBezTo>
                    <a:pt x="5" y="1"/>
                    <a:pt x="9" y="2"/>
                    <a:pt x="14" y="4"/>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2" name="Freeform 21">
              <a:extLst>
                <a:ext uri="{FF2B5EF4-FFF2-40B4-BE49-F238E27FC236}">
                  <a16:creationId xmlns:a16="http://schemas.microsoft.com/office/drawing/2014/main" id="{C1110833-5E9D-4B15-84D4-395D8BDA0E92}"/>
                </a:ext>
              </a:extLst>
            </p:cNvPr>
            <p:cNvSpPr>
              <a:spLocks/>
            </p:cNvSpPr>
            <p:nvPr/>
          </p:nvSpPr>
          <p:spPr bwMode="auto">
            <a:xfrm>
              <a:off x="4432301" y="2613026"/>
              <a:ext cx="26988" cy="31750"/>
            </a:xfrm>
            <a:custGeom>
              <a:avLst/>
              <a:gdLst>
                <a:gd name="T0" fmla="*/ 3 w 7"/>
                <a:gd name="T1" fmla="*/ 8 h 8"/>
                <a:gd name="T2" fmla="*/ 0 w 7"/>
                <a:gd name="T3" fmla="*/ 6 h 8"/>
                <a:gd name="T4" fmla="*/ 4 w 7"/>
                <a:gd name="T5" fmla="*/ 0 h 8"/>
                <a:gd name="T6" fmla="*/ 7 w 7"/>
                <a:gd name="T7" fmla="*/ 2 h 8"/>
                <a:gd name="T8" fmla="*/ 3 w 7"/>
                <a:gd name="T9" fmla="*/ 8 h 8"/>
              </a:gdLst>
              <a:ahLst/>
              <a:cxnLst>
                <a:cxn ang="0">
                  <a:pos x="T0" y="T1"/>
                </a:cxn>
                <a:cxn ang="0">
                  <a:pos x="T2" y="T3"/>
                </a:cxn>
                <a:cxn ang="0">
                  <a:pos x="T4" y="T5"/>
                </a:cxn>
                <a:cxn ang="0">
                  <a:pos x="T6" y="T7"/>
                </a:cxn>
                <a:cxn ang="0">
                  <a:pos x="T8" y="T9"/>
                </a:cxn>
              </a:cxnLst>
              <a:rect l="0" t="0" r="r" b="b"/>
              <a:pathLst>
                <a:path w="7" h="8">
                  <a:moveTo>
                    <a:pt x="3" y="8"/>
                  </a:moveTo>
                  <a:cubicBezTo>
                    <a:pt x="0" y="6"/>
                    <a:pt x="0" y="6"/>
                    <a:pt x="0" y="6"/>
                  </a:cubicBezTo>
                  <a:cubicBezTo>
                    <a:pt x="1" y="4"/>
                    <a:pt x="2" y="2"/>
                    <a:pt x="4" y="0"/>
                  </a:cubicBezTo>
                  <a:cubicBezTo>
                    <a:pt x="7" y="2"/>
                    <a:pt x="7" y="2"/>
                    <a:pt x="7" y="2"/>
                  </a:cubicBezTo>
                  <a:cubicBezTo>
                    <a:pt x="6" y="4"/>
                    <a:pt x="4" y="6"/>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3" name="Freeform 22">
              <a:extLst>
                <a:ext uri="{FF2B5EF4-FFF2-40B4-BE49-F238E27FC236}">
                  <a16:creationId xmlns:a16="http://schemas.microsoft.com/office/drawing/2014/main" id="{74F946F0-4B1F-44BC-A9BB-52E0D6E2C5DD}"/>
                </a:ext>
              </a:extLst>
            </p:cNvPr>
            <p:cNvSpPr>
              <a:spLocks/>
            </p:cNvSpPr>
            <p:nvPr/>
          </p:nvSpPr>
          <p:spPr bwMode="auto">
            <a:xfrm>
              <a:off x="4459288" y="2559051"/>
              <a:ext cx="20638" cy="30163"/>
            </a:xfrm>
            <a:custGeom>
              <a:avLst/>
              <a:gdLst>
                <a:gd name="T0" fmla="*/ 3 w 5"/>
                <a:gd name="T1" fmla="*/ 8 h 8"/>
                <a:gd name="T2" fmla="*/ 0 w 5"/>
                <a:gd name="T3" fmla="*/ 7 h 8"/>
                <a:gd name="T4" fmla="*/ 1 w 5"/>
                <a:gd name="T5" fmla="*/ 0 h 8"/>
                <a:gd name="T6" fmla="*/ 5 w 5"/>
                <a:gd name="T7" fmla="*/ 1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0" y="7"/>
                    <a:pt x="0" y="7"/>
                    <a:pt x="0" y="7"/>
                  </a:cubicBezTo>
                  <a:cubicBezTo>
                    <a:pt x="0" y="5"/>
                    <a:pt x="0" y="3"/>
                    <a:pt x="1" y="0"/>
                  </a:cubicBezTo>
                  <a:cubicBezTo>
                    <a:pt x="5" y="1"/>
                    <a:pt x="5" y="1"/>
                    <a:pt x="5" y="1"/>
                  </a:cubicBezTo>
                  <a:cubicBezTo>
                    <a:pt x="4" y="4"/>
                    <a:pt x="4" y="6"/>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4" name="Freeform 23">
              <a:extLst>
                <a:ext uri="{FF2B5EF4-FFF2-40B4-BE49-F238E27FC236}">
                  <a16:creationId xmlns:a16="http://schemas.microsoft.com/office/drawing/2014/main" id="{4A5E00DD-1FD0-48A6-8235-CDF77D9B01F8}"/>
                </a:ext>
              </a:extLst>
            </p:cNvPr>
            <p:cNvSpPr>
              <a:spLocks/>
            </p:cNvSpPr>
            <p:nvPr/>
          </p:nvSpPr>
          <p:spPr bwMode="auto">
            <a:xfrm>
              <a:off x="4429126" y="2408238"/>
              <a:ext cx="50800" cy="92075"/>
            </a:xfrm>
            <a:custGeom>
              <a:avLst/>
              <a:gdLst>
                <a:gd name="T0" fmla="*/ 9 w 13"/>
                <a:gd name="T1" fmla="*/ 24 h 24"/>
                <a:gd name="T2" fmla="*/ 0 w 13"/>
                <a:gd name="T3" fmla="*/ 2 h 24"/>
                <a:gd name="T4" fmla="*/ 3 w 13"/>
                <a:gd name="T5" fmla="*/ 0 h 24"/>
                <a:gd name="T6" fmla="*/ 13 w 13"/>
                <a:gd name="T7" fmla="*/ 23 h 24"/>
                <a:gd name="T8" fmla="*/ 9 w 13"/>
                <a:gd name="T9" fmla="*/ 24 h 24"/>
              </a:gdLst>
              <a:ahLst/>
              <a:cxnLst>
                <a:cxn ang="0">
                  <a:pos x="T0" y="T1"/>
                </a:cxn>
                <a:cxn ang="0">
                  <a:pos x="T2" y="T3"/>
                </a:cxn>
                <a:cxn ang="0">
                  <a:pos x="T4" y="T5"/>
                </a:cxn>
                <a:cxn ang="0">
                  <a:pos x="T6" y="T7"/>
                </a:cxn>
                <a:cxn ang="0">
                  <a:pos x="T8" y="T9"/>
                </a:cxn>
              </a:cxnLst>
              <a:rect l="0" t="0" r="r" b="b"/>
              <a:pathLst>
                <a:path w="13" h="24">
                  <a:moveTo>
                    <a:pt x="9" y="24"/>
                  </a:moveTo>
                  <a:cubicBezTo>
                    <a:pt x="8" y="16"/>
                    <a:pt x="4" y="9"/>
                    <a:pt x="0" y="2"/>
                  </a:cubicBezTo>
                  <a:cubicBezTo>
                    <a:pt x="3" y="0"/>
                    <a:pt x="3" y="0"/>
                    <a:pt x="3" y="0"/>
                  </a:cubicBezTo>
                  <a:cubicBezTo>
                    <a:pt x="8" y="7"/>
                    <a:pt x="12" y="15"/>
                    <a:pt x="13" y="23"/>
                  </a:cubicBezTo>
                  <a:lnTo>
                    <a:pt x="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5" name="Freeform 24">
              <a:extLst>
                <a:ext uri="{FF2B5EF4-FFF2-40B4-BE49-F238E27FC236}">
                  <a16:creationId xmlns:a16="http://schemas.microsoft.com/office/drawing/2014/main" id="{DF11D8BA-1835-425C-9BA1-DB8390917EB5}"/>
                </a:ext>
              </a:extLst>
            </p:cNvPr>
            <p:cNvSpPr>
              <a:spLocks noEditPoints="1"/>
            </p:cNvSpPr>
            <p:nvPr/>
          </p:nvSpPr>
          <p:spPr bwMode="auto">
            <a:xfrm>
              <a:off x="4498976" y="2381251"/>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6" y="4"/>
                    <a:pt x="4" y="6"/>
                    <a:pt x="4" y="10"/>
                  </a:cubicBezTo>
                  <a:cubicBezTo>
                    <a:pt x="4" y="13"/>
                    <a:pt x="6"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6" name="Freeform 25">
              <a:extLst>
                <a:ext uri="{FF2B5EF4-FFF2-40B4-BE49-F238E27FC236}">
                  <a16:creationId xmlns:a16="http://schemas.microsoft.com/office/drawing/2014/main" id="{533CEEAC-2A4C-4230-A95F-8DF90A076F2B}"/>
                </a:ext>
              </a:extLst>
            </p:cNvPr>
            <p:cNvSpPr>
              <a:spLocks noEditPoints="1"/>
            </p:cNvSpPr>
            <p:nvPr/>
          </p:nvSpPr>
          <p:spPr bwMode="auto">
            <a:xfrm>
              <a:off x="4437063" y="2493963"/>
              <a:ext cx="76200" cy="76200"/>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6"/>
                    <a:pt x="4" y="10"/>
                  </a:cubicBezTo>
                  <a:cubicBezTo>
                    <a:pt x="4" y="13"/>
                    <a:pt x="7"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7" name="Freeform 26">
              <a:extLst>
                <a:ext uri="{FF2B5EF4-FFF2-40B4-BE49-F238E27FC236}">
                  <a16:creationId xmlns:a16="http://schemas.microsoft.com/office/drawing/2014/main" id="{D0C08561-5DCF-4EAA-86D0-115A742C5AC7}"/>
                </a:ext>
              </a:extLst>
            </p:cNvPr>
            <p:cNvSpPr>
              <a:spLocks noEditPoints="1"/>
            </p:cNvSpPr>
            <p:nvPr/>
          </p:nvSpPr>
          <p:spPr bwMode="auto">
            <a:xfrm>
              <a:off x="4437063" y="2578101"/>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8" name="Freeform 27">
              <a:extLst>
                <a:ext uri="{FF2B5EF4-FFF2-40B4-BE49-F238E27FC236}">
                  <a16:creationId xmlns:a16="http://schemas.microsoft.com/office/drawing/2014/main" id="{51711604-6E39-48D7-89A3-36C62D0E33B6}"/>
                </a:ext>
              </a:extLst>
            </p:cNvPr>
            <p:cNvSpPr>
              <a:spLocks noEditPoints="1"/>
            </p:cNvSpPr>
            <p:nvPr/>
          </p:nvSpPr>
          <p:spPr bwMode="auto">
            <a:xfrm>
              <a:off x="4541838" y="257810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9" name="Freeform 28">
              <a:extLst>
                <a:ext uri="{FF2B5EF4-FFF2-40B4-BE49-F238E27FC236}">
                  <a16:creationId xmlns:a16="http://schemas.microsoft.com/office/drawing/2014/main" id="{C2C5E966-36C1-41FE-AB87-84EBA7921A97}"/>
                </a:ext>
              </a:extLst>
            </p:cNvPr>
            <p:cNvSpPr>
              <a:spLocks noEditPoints="1"/>
            </p:cNvSpPr>
            <p:nvPr/>
          </p:nvSpPr>
          <p:spPr bwMode="auto">
            <a:xfrm>
              <a:off x="4610101" y="25701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5" y="4"/>
                    <a:pt x="4" y="6"/>
                    <a:pt x="4" y="8"/>
                  </a:cubicBezTo>
                  <a:cubicBezTo>
                    <a:pt x="4" y="10"/>
                    <a:pt x="5"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0" name="Freeform 29">
              <a:extLst>
                <a:ext uri="{FF2B5EF4-FFF2-40B4-BE49-F238E27FC236}">
                  <a16:creationId xmlns:a16="http://schemas.microsoft.com/office/drawing/2014/main" id="{148C338B-E5C5-4037-AE31-F49644591C20}"/>
                </a:ext>
              </a:extLst>
            </p:cNvPr>
            <p:cNvSpPr>
              <a:spLocks noEditPoints="1"/>
            </p:cNvSpPr>
            <p:nvPr/>
          </p:nvSpPr>
          <p:spPr bwMode="auto">
            <a:xfrm>
              <a:off x="4652963" y="24780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6"/>
                    <a:pt x="4" y="10"/>
                  </a:cubicBezTo>
                  <a:cubicBezTo>
                    <a:pt x="4" y="13"/>
                    <a:pt x="7"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83" name="Group 41">
            <a:extLst>
              <a:ext uri="{FF2B5EF4-FFF2-40B4-BE49-F238E27FC236}">
                <a16:creationId xmlns:a16="http://schemas.microsoft.com/office/drawing/2014/main" id="{B7586EDA-2AC7-420B-8100-09676595EB9A}"/>
              </a:ext>
            </a:extLst>
          </p:cNvPr>
          <p:cNvGrpSpPr>
            <a:grpSpLocks noChangeAspect="1"/>
          </p:cNvGrpSpPr>
          <p:nvPr/>
        </p:nvGrpSpPr>
        <p:grpSpPr>
          <a:xfrm>
            <a:off x="284400" y="5417577"/>
            <a:ext cx="305900" cy="285619"/>
            <a:chOff x="304800" y="806450"/>
            <a:chExt cx="287338" cy="268288"/>
          </a:xfrm>
          <a:solidFill>
            <a:schemeClr val="bg2"/>
          </a:solidFill>
          <a:effectLst/>
        </p:grpSpPr>
        <p:sp>
          <p:nvSpPr>
            <p:cNvPr id="1084" name="Freeform 57">
              <a:extLst>
                <a:ext uri="{FF2B5EF4-FFF2-40B4-BE49-F238E27FC236}">
                  <a16:creationId xmlns:a16="http://schemas.microsoft.com/office/drawing/2014/main" id="{2AB4666D-4530-46EF-B86A-A5CE40BCA5C0}"/>
                </a:ext>
              </a:extLst>
            </p:cNvPr>
            <p:cNvSpPr>
              <a:spLocks noEditPoints="1"/>
            </p:cNvSpPr>
            <p:nvPr/>
          </p:nvSpPr>
          <p:spPr bwMode="auto">
            <a:xfrm>
              <a:off x="333375" y="835025"/>
              <a:ext cx="230188" cy="163513"/>
            </a:xfrm>
            <a:custGeom>
              <a:avLst/>
              <a:gdLst>
                <a:gd name="T0" fmla="*/ 30 w 723"/>
                <a:gd name="T1" fmla="*/ 30 h 512"/>
                <a:gd name="T2" fmla="*/ 693 w 723"/>
                <a:gd name="T3" fmla="*/ 30 h 512"/>
                <a:gd name="T4" fmla="*/ 693 w 723"/>
                <a:gd name="T5" fmla="*/ 482 h 512"/>
                <a:gd name="T6" fmla="*/ 30 w 723"/>
                <a:gd name="T7" fmla="*/ 482 h 512"/>
                <a:gd name="T8" fmla="*/ 30 w 723"/>
                <a:gd name="T9" fmla="*/ 30 h 512"/>
                <a:gd name="T10" fmla="*/ 0 w 723"/>
                <a:gd name="T11" fmla="*/ 512 h 512"/>
                <a:gd name="T12" fmla="*/ 723 w 723"/>
                <a:gd name="T13" fmla="*/ 512 h 512"/>
                <a:gd name="T14" fmla="*/ 723 w 723"/>
                <a:gd name="T15" fmla="*/ 0 h 512"/>
                <a:gd name="T16" fmla="*/ 0 w 723"/>
                <a:gd name="T17" fmla="*/ 0 h 512"/>
                <a:gd name="T18" fmla="*/ 0 w 723"/>
                <a:gd name="T1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12">
                  <a:moveTo>
                    <a:pt x="30" y="30"/>
                  </a:moveTo>
                  <a:lnTo>
                    <a:pt x="693" y="30"/>
                  </a:lnTo>
                  <a:lnTo>
                    <a:pt x="693" y="482"/>
                  </a:lnTo>
                  <a:lnTo>
                    <a:pt x="30" y="482"/>
                  </a:lnTo>
                  <a:lnTo>
                    <a:pt x="30" y="30"/>
                  </a:lnTo>
                  <a:close/>
                  <a:moveTo>
                    <a:pt x="0" y="512"/>
                  </a:moveTo>
                  <a:lnTo>
                    <a:pt x="723" y="512"/>
                  </a:lnTo>
                  <a:lnTo>
                    <a:pt x="723" y="0"/>
                  </a:lnTo>
                  <a:lnTo>
                    <a:pt x="0" y="0"/>
                  </a:lnTo>
                  <a:lnTo>
                    <a:pt x="0"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58">
              <a:extLst>
                <a:ext uri="{FF2B5EF4-FFF2-40B4-BE49-F238E27FC236}">
                  <a16:creationId xmlns:a16="http://schemas.microsoft.com/office/drawing/2014/main" id="{F70B2CBE-3435-4C84-AF6D-CB8E82305065}"/>
                </a:ext>
              </a:extLst>
            </p:cNvPr>
            <p:cNvSpPr>
              <a:spLocks noEditPoints="1"/>
            </p:cNvSpPr>
            <p:nvPr/>
          </p:nvSpPr>
          <p:spPr bwMode="auto">
            <a:xfrm>
              <a:off x="438150" y="1003300"/>
              <a:ext cx="19050" cy="19050"/>
            </a:xfrm>
            <a:custGeom>
              <a:avLst/>
              <a:gdLst>
                <a:gd name="T0" fmla="*/ 31 w 61"/>
                <a:gd name="T1" fmla="*/ 45 h 60"/>
                <a:gd name="T2" fmla="*/ 31 w 61"/>
                <a:gd name="T3" fmla="*/ 30 h 60"/>
                <a:gd name="T4" fmla="*/ 31 w 61"/>
                <a:gd name="T5" fmla="*/ 30 h 60"/>
                <a:gd name="T6" fmla="*/ 31 w 61"/>
                <a:gd name="T7" fmla="*/ 30 h 60"/>
                <a:gd name="T8" fmla="*/ 31 w 61"/>
                <a:gd name="T9" fmla="*/ 45 h 60"/>
                <a:gd name="T10" fmla="*/ 31 w 61"/>
                <a:gd name="T11" fmla="*/ 0 h 60"/>
                <a:gd name="T12" fmla="*/ 24 w 61"/>
                <a:gd name="T13" fmla="*/ 0 h 60"/>
                <a:gd name="T14" fmla="*/ 19 w 61"/>
                <a:gd name="T15" fmla="*/ 2 h 60"/>
                <a:gd name="T16" fmla="*/ 13 w 61"/>
                <a:gd name="T17" fmla="*/ 5 h 60"/>
                <a:gd name="T18" fmla="*/ 9 w 61"/>
                <a:gd name="T19" fmla="*/ 8 h 60"/>
                <a:gd name="T20" fmla="*/ 6 w 61"/>
                <a:gd name="T21" fmla="*/ 12 h 60"/>
                <a:gd name="T22" fmla="*/ 3 w 61"/>
                <a:gd name="T23" fmla="*/ 18 h 60"/>
                <a:gd name="T24" fmla="*/ 2 w 61"/>
                <a:gd name="T25" fmla="*/ 23 h 60"/>
                <a:gd name="T26" fmla="*/ 0 w 61"/>
                <a:gd name="T27" fmla="*/ 30 h 60"/>
                <a:gd name="T28" fmla="*/ 2 w 61"/>
                <a:gd name="T29" fmla="*/ 35 h 60"/>
                <a:gd name="T30" fmla="*/ 3 w 61"/>
                <a:gd name="T31" fmla="*/ 41 h 60"/>
                <a:gd name="T32" fmla="*/ 6 w 61"/>
                <a:gd name="T33" fmla="*/ 47 h 60"/>
                <a:gd name="T34" fmla="*/ 9 w 61"/>
                <a:gd name="T35" fmla="*/ 51 h 60"/>
                <a:gd name="T36" fmla="*/ 13 w 61"/>
                <a:gd name="T37" fmla="*/ 54 h 60"/>
                <a:gd name="T38" fmla="*/ 19 w 61"/>
                <a:gd name="T39" fmla="*/ 58 h 60"/>
                <a:gd name="T40" fmla="*/ 24 w 61"/>
                <a:gd name="T41" fmla="*/ 59 h 60"/>
                <a:gd name="T42" fmla="*/ 31 w 61"/>
                <a:gd name="T43" fmla="*/ 60 h 60"/>
                <a:gd name="T44" fmla="*/ 37 w 61"/>
                <a:gd name="T45" fmla="*/ 59 h 60"/>
                <a:gd name="T46" fmla="*/ 42 w 61"/>
                <a:gd name="T47" fmla="*/ 58 h 60"/>
                <a:gd name="T48" fmla="*/ 48 w 61"/>
                <a:gd name="T49" fmla="*/ 54 h 60"/>
                <a:gd name="T50" fmla="*/ 52 w 61"/>
                <a:gd name="T51" fmla="*/ 51 h 60"/>
                <a:gd name="T52" fmla="*/ 55 w 61"/>
                <a:gd name="T53" fmla="*/ 47 h 60"/>
                <a:gd name="T54" fmla="*/ 58 w 61"/>
                <a:gd name="T55" fmla="*/ 41 h 60"/>
                <a:gd name="T56" fmla="*/ 61 w 61"/>
                <a:gd name="T57" fmla="*/ 35 h 60"/>
                <a:gd name="T58" fmla="*/ 61 w 61"/>
                <a:gd name="T59" fmla="*/ 30 h 60"/>
                <a:gd name="T60" fmla="*/ 61 w 61"/>
                <a:gd name="T61" fmla="*/ 23 h 60"/>
                <a:gd name="T62" fmla="*/ 58 w 61"/>
                <a:gd name="T63" fmla="*/ 18 h 60"/>
                <a:gd name="T64" fmla="*/ 55 w 61"/>
                <a:gd name="T65" fmla="*/ 12 h 60"/>
                <a:gd name="T66" fmla="*/ 52 w 61"/>
                <a:gd name="T67" fmla="*/ 8 h 60"/>
                <a:gd name="T68" fmla="*/ 48 w 61"/>
                <a:gd name="T69" fmla="*/ 5 h 60"/>
                <a:gd name="T70" fmla="*/ 42 w 61"/>
                <a:gd name="T71" fmla="*/ 2 h 60"/>
                <a:gd name="T72" fmla="*/ 37 w 61"/>
                <a:gd name="T73" fmla="*/ 0 h 60"/>
                <a:gd name="T74" fmla="*/ 31 w 61"/>
                <a:gd name="T75" fmla="*/ 0 h 60"/>
                <a:gd name="T76" fmla="*/ 31 w 61"/>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60">
                  <a:moveTo>
                    <a:pt x="31" y="45"/>
                  </a:moveTo>
                  <a:lnTo>
                    <a:pt x="31" y="30"/>
                  </a:lnTo>
                  <a:lnTo>
                    <a:pt x="31" y="30"/>
                  </a:lnTo>
                  <a:lnTo>
                    <a:pt x="31" y="30"/>
                  </a:lnTo>
                  <a:lnTo>
                    <a:pt x="31" y="45"/>
                  </a:lnTo>
                  <a:close/>
                  <a:moveTo>
                    <a:pt x="31" y="0"/>
                  </a:moveTo>
                  <a:lnTo>
                    <a:pt x="24" y="0"/>
                  </a:lnTo>
                  <a:lnTo>
                    <a:pt x="19" y="2"/>
                  </a:lnTo>
                  <a:lnTo>
                    <a:pt x="13" y="5"/>
                  </a:lnTo>
                  <a:lnTo>
                    <a:pt x="9" y="8"/>
                  </a:lnTo>
                  <a:lnTo>
                    <a:pt x="6" y="12"/>
                  </a:lnTo>
                  <a:lnTo>
                    <a:pt x="3" y="18"/>
                  </a:lnTo>
                  <a:lnTo>
                    <a:pt x="2" y="23"/>
                  </a:lnTo>
                  <a:lnTo>
                    <a:pt x="0" y="30"/>
                  </a:lnTo>
                  <a:lnTo>
                    <a:pt x="2" y="35"/>
                  </a:lnTo>
                  <a:lnTo>
                    <a:pt x="3" y="41"/>
                  </a:lnTo>
                  <a:lnTo>
                    <a:pt x="6" y="47"/>
                  </a:lnTo>
                  <a:lnTo>
                    <a:pt x="9" y="51"/>
                  </a:lnTo>
                  <a:lnTo>
                    <a:pt x="13" y="54"/>
                  </a:lnTo>
                  <a:lnTo>
                    <a:pt x="19" y="58"/>
                  </a:lnTo>
                  <a:lnTo>
                    <a:pt x="24" y="59"/>
                  </a:lnTo>
                  <a:lnTo>
                    <a:pt x="31" y="60"/>
                  </a:lnTo>
                  <a:lnTo>
                    <a:pt x="37" y="59"/>
                  </a:lnTo>
                  <a:lnTo>
                    <a:pt x="42" y="58"/>
                  </a:lnTo>
                  <a:lnTo>
                    <a:pt x="48" y="54"/>
                  </a:lnTo>
                  <a:lnTo>
                    <a:pt x="52" y="51"/>
                  </a:lnTo>
                  <a:lnTo>
                    <a:pt x="55" y="47"/>
                  </a:lnTo>
                  <a:lnTo>
                    <a:pt x="58" y="41"/>
                  </a:lnTo>
                  <a:lnTo>
                    <a:pt x="61" y="35"/>
                  </a:lnTo>
                  <a:lnTo>
                    <a:pt x="61" y="30"/>
                  </a:lnTo>
                  <a:lnTo>
                    <a:pt x="61" y="23"/>
                  </a:lnTo>
                  <a:lnTo>
                    <a:pt x="58" y="18"/>
                  </a:lnTo>
                  <a:lnTo>
                    <a:pt x="55" y="12"/>
                  </a:lnTo>
                  <a:lnTo>
                    <a:pt x="52" y="8"/>
                  </a:lnTo>
                  <a:lnTo>
                    <a:pt x="48" y="5"/>
                  </a:lnTo>
                  <a:lnTo>
                    <a:pt x="42" y="2"/>
                  </a:lnTo>
                  <a:lnTo>
                    <a:pt x="37" y="0"/>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59">
              <a:extLst>
                <a:ext uri="{FF2B5EF4-FFF2-40B4-BE49-F238E27FC236}">
                  <a16:creationId xmlns:a16="http://schemas.microsoft.com/office/drawing/2014/main" id="{0A597FF0-6041-471D-BB4F-3B2688AB51A6}"/>
                </a:ext>
              </a:extLst>
            </p:cNvPr>
            <p:cNvSpPr>
              <a:spLocks noEditPoints="1"/>
            </p:cNvSpPr>
            <p:nvPr/>
          </p:nvSpPr>
          <p:spPr bwMode="auto">
            <a:xfrm>
              <a:off x="304800" y="806450"/>
              <a:ext cx="287338" cy="268288"/>
            </a:xfrm>
            <a:custGeom>
              <a:avLst/>
              <a:gdLst>
                <a:gd name="T0" fmla="*/ 870 w 903"/>
                <a:gd name="T1" fmla="*/ 665 h 843"/>
                <a:gd name="T2" fmla="*/ 853 w 903"/>
                <a:gd name="T3" fmla="*/ 685 h 843"/>
                <a:gd name="T4" fmla="*/ 828 w 903"/>
                <a:gd name="T5" fmla="*/ 693 h 843"/>
                <a:gd name="T6" fmla="*/ 75 w 903"/>
                <a:gd name="T7" fmla="*/ 693 h 843"/>
                <a:gd name="T8" fmla="*/ 50 w 903"/>
                <a:gd name="T9" fmla="*/ 685 h 843"/>
                <a:gd name="T10" fmla="*/ 33 w 903"/>
                <a:gd name="T11" fmla="*/ 665 h 843"/>
                <a:gd name="T12" fmla="*/ 30 w 903"/>
                <a:gd name="T13" fmla="*/ 75 h 843"/>
                <a:gd name="T14" fmla="*/ 38 w 903"/>
                <a:gd name="T15" fmla="*/ 50 h 843"/>
                <a:gd name="T16" fmla="*/ 58 w 903"/>
                <a:gd name="T17" fmla="*/ 34 h 843"/>
                <a:gd name="T18" fmla="*/ 828 w 903"/>
                <a:gd name="T19" fmla="*/ 30 h 843"/>
                <a:gd name="T20" fmla="*/ 853 w 903"/>
                <a:gd name="T21" fmla="*/ 38 h 843"/>
                <a:gd name="T22" fmla="*/ 870 w 903"/>
                <a:gd name="T23" fmla="*/ 58 h 843"/>
                <a:gd name="T24" fmla="*/ 873 w 903"/>
                <a:gd name="T25" fmla="*/ 648 h 843"/>
                <a:gd name="T26" fmla="*/ 372 w 903"/>
                <a:gd name="T27" fmla="*/ 723 h 843"/>
                <a:gd name="T28" fmla="*/ 828 w 903"/>
                <a:gd name="T29" fmla="*/ 0 h 843"/>
                <a:gd name="T30" fmla="*/ 60 w 903"/>
                <a:gd name="T31" fmla="*/ 2 h 843"/>
                <a:gd name="T32" fmla="*/ 40 w 903"/>
                <a:gd name="T33" fmla="*/ 9 h 843"/>
                <a:gd name="T34" fmla="*/ 23 w 903"/>
                <a:gd name="T35" fmla="*/ 22 h 843"/>
                <a:gd name="T36" fmla="*/ 9 w 903"/>
                <a:gd name="T37" fmla="*/ 39 h 843"/>
                <a:gd name="T38" fmla="*/ 1 w 903"/>
                <a:gd name="T39" fmla="*/ 60 h 843"/>
                <a:gd name="T40" fmla="*/ 0 w 903"/>
                <a:gd name="T41" fmla="*/ 648 h 843"/>
                <a:gd name="T42" fmla="*/ 3 w 903"/>
                <a:gd name="T43" fmla="*/ 670 h 843"/>
                <a:gd name="T44" fmla="*/ 13 w 903"/>
                <a:gd name="T45" fmla="*/ 689 h 843"/>
                <a:gd name="T46" fmla="*/ 28 w 903"/>
                <a:gd name="T47" fmla="*/ 706 h 843"/>
                <a:gd name="T48" fmla="*/ 46 w 903"/>
                <a:gd name="T49" fmla="*/ 716 h 843"/>
                <a:gd name="T50" fmla="*/ 68 w 903"/>
                <a:gd name="T51" fmla="*/ 723 h 843"/>
                <a:gd name="T52" fmla="*/ 306 w 903"/>
                <a:gd name="T53" fmla="*/ 813 h 843"/>
                <a:gd name="T54" fmla="*/ 175 w 903"/>
                <a:gd name="T55" fmla="*/ 814 h 843"/>
                <a:gd name="T56" fmla="*/ 168 w 903"/>
                <a:gd name="T57" fmla="*/ 819 h 843"/>
                <a:gd name="T58" fmla="*/ 165 w 903"/>
                <a:gd name="T59" fmla="*/ 828 h 843"/>
                <a:gd name="T60" fmla="*/ 168 w 903"/>
                <a:gd name="T61" fmla="*/ 836 h 843"/>
                <a:gd name="T62" fmla="*/ 175 w 903"/>
                <a:gd name="T63" fmla="*/ 842 h 843"/>
                <a:gd name="T64" fmla="*/ 316 w 903"/>
                <a:gd name="T65" fmla="*/ 843 h 843"/>
                <a:gd name="T66" fmla="*/ 723 w 903"/>
                <a:gd name="T67" fmla="*/ 843 h 843"/>
                <a:gd name="T68" fmla="*/ 731 w 903"/>
                <a:gd name="T69" fmla="*/ 841 h 843"/>
                <a:gd name="T70" fmla="*/ 737 w 903"/>
                <a:gd name="T71" fmla="*/ 834 h 843"/>
                <a:gd name="T72" fmla="*/ 737 w 903"/>
                <a:gd name="T73" fmla="*/ 825 h 843"/>
                <a:gd name="T74" fmla="*/ 734 w 903"/>
                <a:gd name="T75" fmla="*/ 817 h 843"/>
                <a:gd name="T76" fmla="*/ 726 w 903"/>
                <a:gd name="T77" fmla="*/ 814 h 843"/>
                <a:gd name="T78" fmla="*/ 563 w 903"/>
                <a:gd name="T79" fmla="*/ 723 h 843"/>
                <a:gd name="T80" fmla="*/ 843 w 903"/>
                <a:gd name="T81" fmla="*/ 722 h 843"/>
                <a:gd name="T82" fmla="*/ 863 w 903"/>
                <a:gd name="T83" fmla="*/ 713 h 843"/>
                <a:gd name="T84" fmla="*/ 882 w 903"/>
                <a:gd name="T85" fmla="*/ 700 h 843"/>
                <a:gd name="T86" fmla="*/ 894 w 903"/>
                <a:gd name="T87" fmla="*/ 683 h 843"/>
                <a:gd name="T88" fmla="*/ 902 w 903"/>
                <a:gd name="T89" fmla="*/ 663 h 843"/>
                <a:gd name="T90" fmla="*/ 903 w 903"/>
                <a:gd name="T91" fmla="*/ 75 h 843"/>
                <a:gd name="T92" fmla="*/ 900 w 903"/>
                <a:gd name="T93" fmla="*/ 53 h 843"/>
                <a:gd name="T94" fmla="*/ 890 w 903"/>
                <a:gd name="T95" fmla="*/ 33 h 843"/>
                <a:gd name="T96" fmla="*/ 876 w 903"/>
                <a:gd name="T97" fmla="*/ 17 h 843"/>
                <a:gd name="T98" fmla="*/ 857 w 903"/>
                <a:gd name="T99" fmla="*/ 6 h 843"/>
                <a:gd name="T100" fmla="*/ 835 w 903"/>
                <a:gd name="T101" fmla="*/ 1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843">
                  <a:moveTo>
                    <a:pt x="873" y="648"/>
                  </a:moveTo>
                  <a:lnTo>
                    <a:pt x="872" y="656"/>
                  </a:lnTo>
                  <a:lnTo>
                    <a:pt x="870" y="665"/>
                  </a:lnTo>
                  <a:lnTo>
                    <a:pt x="866" y="672"/>
                  </a:lnTo>
                  <a:lnTo>
                    <a:pt x="860" y="680"/>
                  </a:lnTo>
                  <a:lnTo>
                    <a:pt x="853" y="685"/>
                  </a:lnTo>
                  <a:lnTo>
                    <a:pt x="845" y="689"/>
                  </a:lnTo>
                  <a:lnTo>
                    <a:pt x="837" y="692"/>
                  </a:lnTo>
                  <a:lnTo>
                    <a:pt x="828" y="693"/>
                  </a:lnTo>
                  <a:lnTo>
                    <a:pt x="542" y="693"/>
                  </a:lnTo>
                  <a:lnTo>
                    <a:pt x="361" y="693"/>
                  </a:lnTo>
                  <a:lnTo>
                    <a:pt x="75" y="693"/>
                  </a:lnTo>
                  <a:lnTo>
                    <a:pt x="66" y="692"/>
                  </a:lnTo>
                  <a:lnTo>
                    <a:pt x="58" y="689"/>
                  </a:lnTo>
                  <a:lnTo>
                    <a:pt x="50" y="685"/>
                  </a:lnTo>
                  <a:lnTo>
                    <a:pt x="43" y="680"/>
                  </a:lnTo>
                  <a:lnTo>
                    <a:pt x="38" y="672"/>
                  </a:lnTo>
                  <a:lnTo>
                    <a:pt x="33" y="665"/>
                  </a:lnTo>
                  <a:lnTo>
                    <a:pt x="31" y="656"/>
                  </a:lnTo>
                  <a:lnTo>
                    <a:pt x="30" y="648"/>
                  </a:lnTo>
                  <a:lnTo>
                    <a:pt x="30" y="75"/>
                  </a:lnTo>
                  <a:lnTo>
                    <a:pt x="31" y="66"/>
                  </a:lnTo>
                  <a:lnTo>
                    <a:pt x="33" y="58"/>
                  </a:lnTo>
                  <a:lnTo>
                    <a:pt x="38" y="50"/>
                  </a:lnTo>
                  <a:lnTo>
                    <a:pt x="43" y="44"/>
                  </a:lnTo>
                  <a:lnTo>
                    <a:pt x="50" y="38"/>
                  </a:lnTo>
                  <a:lnTo>
                    <a:pt x="58" y="34"/>
                  </a:lnTo>
                  <a:lnTo>
                    <a:pt x="66" y="31"/>
                  </a:lnTo>
                  <a:lnTo>
                    <a:pt x="75" y="30"/>
                  </a:lnTo>
                  <a:lnTo>
                    <a:pt x="828" y="30"/>
                  </a:lnTo>
                  <a:lnTo>
                    <a:pt x="837" y="31"/>
                  </a:lnTo>
                  <a:lnTo>
                    <a:pt x="845" y="34"/>
                  </a:lnTo>
                  <a:lnTo>
                    <a:pt x="853" y="38"/>
                  </a:lnTo>
                  <a:lnTo>
                    <a:pt x="860" y="44"/>
                  </a:lnTo>
                  <a:lnTo>
                    <a:pt x="866" y="50"/>
                  </a:lnTo>
                  <a:lnTo>
                    <a:pt x="870" y="58"/>
                  </a:lnTo>
                  <a:lnTo>
                    <a:pt x="872" y="66"/>
                  </a:lnTo>
                  <a:lnTo>
                    <a:pt x="873" y="76"/>
                  </a:lnTo>
                  <a:lnTo>
                    <a:pt x="873" y="648"/>
                  </a:lnTo>
                  <a:close/>
                  <a:moveTo>
                    <a:pt x="565" y="813"/>
                  </a:moveTo>
                  <a:lnTo>
                    <a:pt x="338" y="813"/>
                  </a:lnTo>
                  <a:lnTo>
                    <a:pt x="372" y="723"/>
                  </a:lnTo>
                  <a:lnTo>
                    <a:pt x="532" y="723"/>
                  </a:lnTo>
                  <a:lnTo>
                    <a:pt x="565" y="813"/>
                  </a:lnTo>
                  <a:close/>
                  <a:moveTo>
                    <a:pt x="828" y="0"/>
                  </a:moveTo>
                  <a:lnTo>
                    <a:pt x="75" y="0"/>
                  </a:lnTo>
                  <a:lnTo>
                    <a:pt x="68" y="1"/>
                  </a:lnTo>
                  <a:lnTo>
                    <a:pt x="60" y="2"/>
                  </a:lnTo>
                  <a:lnTo>
                    <a:pt x="53" y="4"/>
                  </a:lnTo>
                  <a:lnTo>
                    <a:pt x="46" y="6"/>
                  </a:lnTo>
                  <a:lnTo>
                    <a:pt x="40" y="9"/>
                  </a:lnTo>
                  <a:lnTo>
                    <a:pt x="33" y="13"/>
                  </a:lnTo>
                  <a:lnTo>
                    <a:pt x="28" y="17"/>
                  </a:lnTo>
                  <a:lnTo>
                    <a:pt x="23" y="22"/>
                  </a:lnTo>
                  <a:lnTo>
                    <a:pt x="17" y="28"/>
                  </a:lnTo>
                  <a:lnTo>
                    <a:pt x="13" y="33"/>
                  </a:lnTo>
                  <a:lnTo>
                    <a:pt x="9" y="39"/>
                  </a:lnTo>
                  <a:lnTo>
                    <a:pt x="6" y="46"/>
                  </a:lnTo>
                  <a:lnTo>
                    <a:pt x="3" y="53"/>
                  </a:lnTo>
                  <a:lnTo>
                    <a:pt x="1" y="60"/>
                  </a:lnTo>
                  <a:lnTo>
                    <a:pt x="0" y="67"/>
                  </a:lnTo>
                  <a:lnTo>
                    <a:pt x="0" y="76"/>
                  </a:lnTo>
                  <a:lnTo>
                    <a:pt x="0" y="648"/>
                  </a:lnTo>
                  <a:lnTo>
                    <a:pt x="0" y="655"/>
                  </a:lnTo>
                  <a:lnTo>
                    <a:pt x="1" y="663"/>
                  </a:lnTo>
                  <a:lnTo>
                    <a:pt x="3" y="670"/>
                  </a:lnTo>
                  <a:lnTo>
                    <a:pt x="6" y="677"/>
                  </a:lnTo>
                  <a:lnTo>
                    <a:pt x="9" y="683"/>
                  </a:lnTo>
                  <a:lnTo>
                    <a:pt x="13" y="689"/>
                  </a:lnTo>
                  <a:lnTo>
                    <a:pt x="17" y="695"/>
                  </a:lnTo>
                  <a:lnTo>
                    <a:pt x="23" y="700"/>
                  </a:lnTo>
                  <a:lnTo>
                    <a:pt x="28" y="706"/>
                  </a:lnTo>
                  <a:lnTo>
                    <a:pt x="33" y="710"/>
                  </a:lnTo>
                  <a:lnTo>
                    <a:pt x="40" y="714"/>
                  </a:lnTo>
                  <a:lnTo>
                    <a:pt x="46" y="716"/>
                  </a:lnTo>
                  <a:lnTo>
                    <a:pt x="53" y="719"/>
                  </a:lnTo>
                  <a:lnTo>
                    <a:pt x="60" y="722"/>
                  </a:lnTo>
                  <a:lnTo>
                    <a:pt x="68" y="723"/>
                  </a:lnTo>
                  <a:lnTo>
                    <a:pt x="75" y="723"/>
                  </a:lnTo>
                  <a:lnTo>
                    <a:pt x="340" y="723"/>
                  </a:lnTo>
                  <a:lnTo>
                    <a:pt x="306" y="813"/>
                  </a:lnTo>
                  <a:lnTo>
                    <a:pt x="180" y="813"/>
                  </a:lnTo>
                  <a:lnTo>
                    <a:pt x="178" y="814"/>
                  </a:lnTo>
                  <a:lnTo>
                    <a:pt x="175" y="814"/>
                  </a:lnTo>
                  <a:lnTo>
                    <a:pt x="173" y="816"/>
                  </a:lnTo>
                  <a:lnTo>
                    <a:pt x="171" y="817"/>
                  </a:lnTo>
                  <a:lnTo>
                    <a:pt x="168" y="819"/>
                  </a:lnTo>
                  <a:lnTo>
                    <a:pt x="166" y="822"/>
                  </a:lnTo>
                  <a:lnTo>
                    <a:pt x="166" y="825"/>
                  </a:lnTo>
                  <a:lnTo>
                    <a:pt x="165" y="828"/>
                  </a:lnTo>
                  <a:lnTo>
                    <a:pt x="166" y="831"/>
                  </a:lnTo>
                  <a:lnTo>
                    <a:pt x="166" y="834"/>
                  </a:lnTo>
                  <a:lnTo>
                    <a:pt x="168" y="836"/>
                  </a:lnTo>
                  <a:lnTo>
                    <a:pt x="171" y="839"/>
                  </a:lnTo>
                  <a:lnTo>
                    <a:pt x="173" y="841"/>
                  </a:lnTo>
                  <a:lnTo>
                    <a:pt x="175" y="842"/>
                  </a:lnTo>
                  <a:lnTo>
                    <a:pt x="178" y="843"/>
                  </a:lnTo>
                  <a:lnTo>
                    <a:pt x="180" y="843"/>
                  </a:lnTo>
                  <a:lnTo>
                    <a:pt x="316" y="843"/>
                  </a:lnTo>
                  <a:lnTo>
                    <a:pt x="587" y="843"/>
                  </a:lnTo>
                  <a:lnTo>
                    <a:pt x="588" y="843"/>
                  </a:lnTo>
                  <a:lnTo>
                    <a:pt x="723" y="843"/>
                  </a:lnTo>
                  <a:lnTo>
                    <a:pt x="726" y="843"/>
                  </a:lnTo>
                  <a:lnTo>
                    <a:pt x="728" y="842"/>
                  </a:lnTo>
                  <a:lnTo>
                    <a:pt x="731" y="841"/>
                  </a:lnTo>
                  <a:lnTo>
                    <a:pt x="734" y="839"/>
                  </a:lnTo>
                  <a:lnTo>
                    <a:pt x="735" y="836"/>
                  </a:lnTo>
                  <a:lnTo>
                    <a:pt x="737" y="834"/>
                  </a:lnTo>
                  <a:lnTo>
                    <a:pt x="737" y="831"/>
                  </a:lnTo>
                  <a:lnTo>
                    <a:pt x="738" y="828"/>
                  </a:lnTo>
                  <a:lnTo>
                    <a:pt x="737" y="825"/>
                  </a:lnTo>
                  <a:lnTo>
                    <a:pt x="737" y="822"/>
                  </a:lnTo>
                  <a:lnTo>
                    <a:pt x="735" y="819"/>
                  </a:lnTo>
                  <a:lnTo>
                    <a:pt x="734" y="817"/>
                  </a:lnTo>
                  <a:lnTo>
                    <a:pt x="731" y="816"/>
                  </a:lnTo>
                  <a:lnTo>
                    <a:pt x="728" y="814"/>
                  </a:lnTo>
                  <a:lnTo>
                    <a:pt x="726" y="814"/>
                  </a:lnTo>
                  <a:lnTo>
                    <a:pt x="723" y="813"/>
                  </a:lnTo>
                  <a:lnTo>
                    <a:pt x="597" y="813"/>
                  </a:lnTo>
                  <a:lnTo>
                    <a:pt x="563" y="723"/>
                  </a:lnTo>
                  <a:lnTo>
                    <a:pt x="828" y="723"/>
                  </a:lnTo>
                  <a:lnTo>
                    <a:pt x="835" y="723"/>
                  </a:lnTo>
                  <a:lnTo>
                    <a:pt x="843" y="722"/>
                  </a:lnTo>
                  <a:lnTo>
                    <a:pt x="850" y="719"/>
                  </a:lnTo>
                  <a:lnTo>
                    <a:pt x="857" y="716"/>
                  </a:lnTo>
                  <a:lnTo>
                    <a:pt x="863" y="713"/>
                  </a:lnTo>
                  <a:lnTo>
                    <a:pt x="870" y="710"/>
                  </a:lnTo>
                  <a:lnTo>
                    <a:pt x="876" y="706"/>
                  </a:lnTo>
                  <a:lnTo>
                    <a:pt x="882" y="700"/>
                  </a:lnTo>
                  <a:lnTo>
                    <a:pt x="886" y="695"/>
                  </a:lnTo>
                  <a:lnTo>
                    <a:pt x="890" y="689"/>
                  </a:lnTo>
                  <a:lnTo>
                    <a:pt x="894" y="683"/>
                  </a:lnTo>
                  <a:lnTo>
                    <a:pt x="898" y="677"/>
                  </a:lnTo>
                  <a:lnTo>
                    <a:pt x="900" y="670"/>
                  </a:lnTo>
                  <a:lnTo>
                    <a:pt x="902" y="663"/>
                  </a:lnTo>
                  <a:lnTo>
                    <a:pt x="903" y="655"/>
                  </a:lnTo>
                  <a:lnTo>
                    <a:pt x="903" y="648"/>
                  </a:lnTo>
                  <a:lnTo>
                    <a:pt x="903" y="75"/>
                  </a:lnTo>
                  <a:lnTo>
                    <a:pt x="903" y="67"/>
                  </a:lnTo>
                  <a:lnTo>
                    <a:pt x="902" y="60"/>
                  </a:lnTo>
                  <a:lnTo>
                    <a:pt x="900" y="53"/>
                  </a:lnTo>
                  <a:lnTo>
                    <a:pt x="898" y="46"/>
                  </a:lnTo>
                  <a:lnTo>
                    <a:pt x="894" y="39"/>
                  </a:lnTo>
                  <a:lnTo>
                    <a:pt x="890" y="33"/>
                  </a:lnTo>
                  <a:lnTo>
                    <a:pt x="886" y="28"/>
                  </a:lnTo>
                  <a:lnTo>
                    <a:pt x="882" y="22"/>
                  </a:lnTo>
                  <a:lnTo>
                    <a:pt x="876" y="17"/>
                  </a:lnTo>
                  <a:lnTo>
                    <a:pt x="870" y="13"/>
                  </a:lnTo>
                  <a:lnTo>
                    <a:pt x="863" y="9"/>
                  </a:lnTo>
                  <a:lnTo>
                    <a:pt x="857" y="6"/>
                  </a:lnTo>
                  <a:lnTo>
                    <a:pt x="850" y="4"/>
                  </a:lnTo>
                  <a:lnTo>
                    <a:pt x="843" y="2"/>
                  </a:lnTo>
                  <a:lnTo>
                    <a:pt x="835"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7" name="Group 45">
            <a:extLst>
              <a:ext uri="{FF2B5EF4-FFF2-40B4-BE49-F238E27FC236}">
                <a16:creationId xmlns:a16="http://schemas.microsoft.com/office/drawing/2014/main" id="{CA6A0A9A-5C50-4D03-9E4B-8B880E0BC380}"/>
              </a:ext>
            </a:extLst>
          </p:cNvPr>
          <p:cNvGrpSpPr>
            <a:grpSpLocks noChangeAspect="1"/>
          </p:cNvGrpSpPr>
          <p:nvPr/>
        </p:nvGrpSpPr>
        <p:grpSpPr>
          <a:xfrm>
            <a:off x="1060719" y="5422647"/>
            <a:ext cx="305900" cy="275479"/>
            <a:chOff x="877888" y="815975"/>
            <a:chExt cx="287338" cy="258763"/>
          </a:xfrm>
          <a:solidFill>
            <a:schemeClr val="bg2"/>
          </a:solidFill>
          <a:effectLst/>
        </p:grpSpPr>
        <p:sp>
          <p:nvSpPr>
            <p:cNvPr id="1088" name="Freeform 60">
              <a:extLst>
                <a:ext uri="{FF2B5EF4-FFF2-40B4-BE49-F238E27FC236}">
                  <a16:creationId xmlns:a16="http://schemas.microsoft.com/office/drawing/2014/main" id="{BF9BEAA8-6EF1-404A-8053-72A5CE29A035}"/>
                </a:ext>
              </a:extLst>
            </p:cNvPr>
            <p:cNvSpPr>
              <a:spLocks noEditPoints="1"/>
            </p:cNvSpPr>
            <p:nvPr/>
          </p:nvSpPr>
          <p:spPr bwMode="auto">
            <a:xfrm>
              <a:off x="877888" y="815975"/>
              <a:ext cx="287338" cy="258763"/>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61">
              <a:extLst>
                <a:ext uri="{FF2B5EF4-FFF2-40B4-BE49-F238E27FC236}">
                  <a16:creationId xmlns:a16="http://schemas.microsoft.com/office/drawing/2014/main" id="{872E6A8A-DC8B-4FEE-A510-23E70B48FCF4}"/>
                </a:ext>
              </a:extLst>
            </p:cNvPr>
            <p:cNvSpPr>
              <a:spLocks noEditPoints="1"/>
            </p:cNvSpPr>
            <p:nvPr/>
          </p:nvSpPr>
          <p:spPr bwMode="auto">
            <a:xfrm>
              <a:off x="1012825" y="1008063"/>
              <a:ext cx="19050" cy="19050"/>
            </a:xfrm>
            <a:custGeom>
              <a:avLst/>
              <a:gdLst>
                <a:gd name="T0" fmla="*/ 30 w 60"/>
                <a:gd name="T1" fmla="*/ 45 h 60"/>
                <a:gd name="T2" fmla="*/ 30 w 60"/>
                <a:gd name="T3" fmla="*/ 30 h 60"/>
                <a:gd name="T4" fmla="*/ 30 w 60"/>
                <a:gd name="T5" fmla="*/ 30 h 60"/>
                <a:gd name="T6" fmla="*/ 30 w 60"/>
                <a:gd name="T7" fmla="*/ 30 h 60"/>
                <a:gd name="T8" fmla="*/ 30 w 60"/>
                <a:gd name="T9" fmla="*/ 45 h 60"/>
                <a:gd name="T10" fmla="*/ 30 w 60"/>
                <a:gd name="T11" fmla="*/ 0 h 60"/>
                <a:gd name="T12" fmla="*/ 24 w 60"/>
                <a:gd name="T13" fmla="*/ 0 h 60"/>
                <a:gd name="T14" fmla="*/ 18 w 60"/>
                <a:gd name="T15" fmla="*/ 2 h 60"/>
                <a:gd name="T16" fmla="*/ 14 w 60"/>
                <a:gd name="T17" fmla="*/ 5 h 60"/>
                <a:gd name="T18" fmla="*/ 8 w 60"/>
                <a:gd name="T19" fmla="*/ 8 h 60"/>
                <a:gd name="T20" fmla="*/ 5 w 60"/>
                <a:gd name="T21" fmla="*/ 12 h 60"/>
                <a:gd name="T22" fmla="*/ 2 w 60"/>
                <a:gd name="T23" fmla="*/ 18 h 60"/>
                <a:gd name="T24" fmla="*/ 1 w 60"/>
                <a:gd name="T25" fmla="*/ 23 h 60"/>
                <a:gd name="T26" fmla="*/ 0 w 60"/>
                <a:gd name="T27" fmla="*/ 30 h 60"/>
                <a:gd name="T28" fmla="*/ 1 w 60"/>
                <a:gd name="T29" fmla="*/ 36 h 60"/>
                <a:gd name="T30" fmla="*/ 2 w 60"/>
                <a:gd name="T31" fmla="*/ 41 h 60"/>
                <a:gd name="T32" fmla="*/ 5 w 60"/>
                <a:gd name="T33" fmla="*/ 47 h 60"/>
                <a:gd name="T34" fmla="*/ 8 w 60"/>
                <a:gd name="T35" fmla="*/ 51 h 60"/>
                <a:gd name="T36" fmla="*/ 14 w 60"/>
                <a:gd name="T37" fmla="*/ 54 h 60"/>
                <a:gd name="T38" fmla="*/ 18 w 60"/>
                <a:gd name="T39" fmla="*/ 58 h 60"/>
                <a:gd name="T40" fmla="*/ 24 w 60"/>
                <a:gd name="T41" fmla="*/ 59 h 60"/>
                <a:gd name="T42" fmla="*/ 30 w 60"/>
                <a:gd name="T43" fmla="*/ 60 h 60"/>
                <a:gd name="T44" fmla="*/ 36 w 60"/>
                <a:gd name="T45" fmla="*/ 59 h 60"/>
                <a:gd name="T46" fmla="*/ 41 w 60"/>
                <a:gd name="T47" fmla="*/ 58 h 60"/>
                <a:gd name="T48" fmla="*/ 47 w 60"/>
                <a:gd name="T49" fmla="*/ 54 h 60"/>
                <a:gd name="T50" fmla="*/ 51 w 60"/>
                <a:gd name="T51" fmla="*/ 51 h 60"/>
                <a:gd name="T52" fmla="*/ 55 w 60"/>
                <a:gd name="T53" fmla="*/ 47 h 60"/>
                <a:gd name="T54" fmla="*/ 57 w 60"/>
                <a:gd name="T55" fmla="*/ 41 h 60"/>
                <a:gd name="T56" fmla="*/ 60 w 60"/>
                <a:gd name="T57" fmla="*/ 36 h 60"/>
                <a:gd name="T58" fmla="*/ 60 w 60"/>
                <a:gd name="T59" fmla="*/ 30 h 60"/>
                <a:gd name="T60" fmla="*/ 60 w 60"/>
                <a:gd name="T61" fmla="*/ 23 h 60"/>
                <a:gd name="T62" fmla="*/ 57 w 60"/>
                <a:gd name="T63" fmla="*/ 18 h 60"/>
                <a:gd name="T64" fmla="*/ 55 w 60"/>
                <a:gd name="T65" fmla="*/ 12 h 60"/>
                <a:gd name="T66" fmla="*/ 51 w 60"/>
                <a:gd name="T67" fmla="*/ 8 h 60"/>
                <a:gd name="T68" fmla="*/ 47 w 60"/>
                <a:gd name="T69" fmla="*/ 5 h 60"/>
                <a:gd name="T70" fmla="*/ 41 w 60"/>
                <a:gd name="T71" fmla="*/ 2 h 60"/>
                <a:gd name="T72" fmla="*/ 36 w 60"/>
                <a:gd name="T73" fmla="*/ 0 h 60"/>
                <a:gd name="T74" fmla="*/ 30 w 60"/>
                <a:gd name="T75" fmla="*/ 0 h 60"/>
                <a:gd name="T76" fmla="*/ 30 w 60"/>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0">
                  <a:moveTo>
                    <a:pt x="30" y="45"/>
                  </a:moveTo>
                  <a:lnTo>
                    <a:pt x="30" y="30"/>
                  </a:lnTo>
                  <a:lnTo>
                    <a:pt x="30" y="30"/>
                  </a:lnTo>
                  <a:lnTo>
                    <a:pt x="30" y="30"/>
                  </a:lnTo>
                  <a:lnTo>
                    <a:pt x="30" y="45"/>
                  </a:lnTo>
                  <a:close/>
                  <a:moveTo>
                    <a:pt x="30" y="0"/>
                  </a:moveTo>
                  <a:lnTo>
                    <a:pt x="24" y="0"/>
                  </a:lnTo>
                  <a:lnTo>
                    <a:pt x="18" y="2"/>
                  </a:lnTo>
                  <a:lnTo>
                    <a:pt x="14" y="5"/>
                  </a:lnTo>
                  <a:lnTo>
                    <a:pt x="8" y="8"/>
                  </a:lnTo>
                  <a:lnTo>
                    <a:pt x="5" y="12"/>
                  </a:lnTo>
                  <a:lnTo>
                    <a:pt x="2" y="18"/>
                  </a:lnTo>
                  <a:lnTo>
                    <a:pt x="1" y="23"/>
                  </a:lnTo>
                  <a:lnTo>
                    <a:pt x="0" y="30"/>
                  </a:lnTo>
                  <a:lnTo>
                    <a:pt x="1" y="36"/>
                  </a:lnTo>
                  <a:lnTo>
                    <a:pt x="2" y="41"/>
                  </a:lnTo>
                  <a:lnTo>
                    <a:pt x="5" y="47"/>
                  </a:lnTo>
                  <a:lnTo>
                    <a:pt x="8" y="51"/>
                  </a:lnTo>
                  <a:lnTo>
                    <a:pt x="14" y="54"/>
                  </a:lnTo>
                  <a:lnTo>
                    <a:pt x="18" y="58"/>
                  </a:lnTo>
                  <a:lnTo>
                    <a:pt x="24" y="59"/>
                  </a:lnTo>
                  <a:lnTo>
                    <a:pt x="30" y="60"/>
                  </a:lnTo>
                  <a:lnTo>
                    <a:pt x="36" y="59"/>
                  </a:lnTo>
                  <a:lnTo>
                    <a:pt x="41" y="58"/>
                  </a:lnTo>
                  <a:lnTo>
                    <a:pt x="47" y="54"/>
                  </a:lnTo>
                  <a:lnTo>
                    <a:pt x="51" y="51"/>
                  </a:lnTo>
                  <a:lnTo>
                    <a:pt x="55" y="47"/>
                  </a:lnTo>
                  <a:lnTo>
                    <a:pt x="57" y="41"/>
                  </a:lnTo>
                  <a:lnTo>
                    <a:pt x="60" y="36"/>
                  </a:lnTo>
                  <a:lnTo>
                    <a:pt x="60" y="30"/>
                  </a:lnTo>
                  <a:lnTo>
                    <a:pt x="60" y="23"/>
                  </a:lnTo>
                  <a:lnTo>
                    <a:pt x="57" y="18"/>
                  </a:lnTo>
                  <a:lnTo>
                    <a:pt x="55" y="12"/>
                  </a:lnTo>
                  <a:lnTo>
                    <a:pt x="51" y="8"/>
                  </a:lnTo>
                  <a:lnTo>
                    <a:pt x="47" y="5"/>
                  </a:lnTo>
                  <a:lnTo>
                    <a:pt x="41"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0" name="Group 48">
            <a:extLst>
              <a:ext uri="{FF2B5EF4-FFF2-40B4-BE49-F238E27FC236}">
                <a16:creationId xmlns:a16="http://schemas.microsoft.com/office/drawing/2014/main" id="{DEAE8C76-A9AA-4395-ADD5-4D37A1730793}"/>
              </a:ext>
            </a:extLst>
          </p:cNvPr>
          <p:cNvGrpSpPr>
            <a:grpSpLocks noChangeAspect="1"/>
          </p:cNvGrpSpPr>
          <p:nvPr/>
        </p:nvGrpSpPr>
        <p:grpSpPr>
          <a:xfrm>
            <a:off x="1450469" y="5432787"/>
            <a:ext cx="305900" cy="255199"/>
            <a:chOff x="3171825" y="835025"/>
            <a:chExt cx="287338" cy="239713"/>
          </a:xfrm>
          <a:solidFill>
            <a:schemeClr val="bg2"/>
          </a:solidFill>
          <a:effectLst/>
        </p:grpSpPr>
        <p:sp>
          <p:nvSpPr>
            <p:cNvPr id="1091" name="Freeform 70">
              <a:extLst>
                <a:ext uri="{FF2B5EF4-FFF2-40B4-BE49-F238E27FC236}">
                  <a16:creationId xmlns:a16="http://schemas.microsoft.com/office/drawing/2014/main" id="{E01EA44B-2CA9-49B1-9994-662FC7381725}"/>
                </a:ext>
              </a:extLst>
            </p:cNvPr>
            <p:cNvSpPr>
              <a:spLocks noEditPoints="1"/>
            </p:cNvSpPr>
            <p:nvPr/>
          </p:nvSpPr>
          <p:spPr bwMode="auto">
            <a:xfrm>
              <a:off x="3171825" y="835025"/>
              <a:ext cx="287338" cy="239713"/>
            </a:xfrm>
            <a:custGeom>
              <a:avLst/>
              <a:gdLst>
                <a:gd name="T0" fmla="*/ 871 w 903"/>
                <a:gd name="T1" fmla="*/ 488 h 752"/>
                <a:gd name="T2" fmla="*/ 865 w 903"/>
                <a:gd name="T3" fmla="*/ 497 h 752"/>
                <a:gd name="T4" fmla="*/ 855 w 903"/>
                <a:gd name="T5" fmla="*/ 502 h 752"/>
                <a:gd name="T6" fmla="*/ 451 w 903"/>
                <a:gd name="T7" fmla="*/ 568 h 752"/>
                <a:gd name="T8" fmla="*/ 47 w 903"/>
                <a:gd name="T9" fmla="*/ 502 h 752"/>
                <a:gd name="T10" fmla="*/ 37 w 903"/>
                <a:gd name="T11" fmla="*/ 497 h 752"/>
                <a:gd name="T12" fmla="*/ 31 w 903"/>
                <a:gd name="T13" fmla="*/ 488 h 752"/>
                <a:gd name="T14" fmla="*/ 30 w 903"/>
                <a:gd name="T15" fmla="*/ 45 h 752"/>
                <a:gd name="T16" fmla="*/ 33 w 903"/>
                <a:gd name="T17" fmla="*/ 36 h 752"/>
                <a:gd name="T18" fmla="*/ 39 w 903"/>
                <a:gd name="T19" fmla="*/ 31 h 752"/>
                <a:gd name="T20" fmla="*/ 858 w 903"/>
                <a:gd name="T21" fmla="*/ 30 h 752"/>
                <a:gd name="T22" fmla="*/ 866 w 903"/>
                <a:gd name="T23" fmla="*/ 32 h 752"/>
                <a:gd name="T24" fmla="*/ 871 w 903"/>
                <a:gd name="T25" fmla="*/ 39 h 752"/>
                <a:gd name="T26" fmla="*/ 873 w 903"/>
                <a:gd name="T27" fmla="*/ 482 h 752"/>
                <a:gd name="T28" fmla="*/ 482 w 903"/>
                <a:gd name="T29" fmla="*/ 663 h 752"/>
                <a:gd name="T30" fmla="*/ 436 w 903"/>
                <a:gd name="T31" fmla="*/ 662 h 752"/>
                <a:gd name="T32" fmla="*/ 390 w 903"/>
                <a:gd name="T33" fmla="*/ 664 h 752"/>
                <a:gd name="T34" fmla="*/ 426 w 903"/>
                <a:gd name="T35" fmla="*/ 597 h 752"/>
                <a:gd name="T36" fmla="*/ 451 w 903"/>
                <a:gd name="T37" fmla="*/ 598 h 752"/>
                <a:gd name="T38" fmla="*/ 477 w 903"/>
                <a:gd name="T39" fmla="*/ 597 h 752"/>
                <a:gd name="T40" fmla="*/ 512 w 903"/>
                <a:gd name="T41" fmla="*/ 664 h 752"/>
                <a:gd name="T42" fmla="*/ 36 w 903"/>
                <a:gd name="T43" fmla="*/ 0 h 752"/>
                <a:gd name="T44" fmla="*/ 12 w 903"/>
                <a:gd name="T45" fmla="*/ 13 h 752"/>
                <a:gd name="T46" fmla="*/ 1 w 903"/>
                <a:gd name="T47" fmla="*/ 35 h 752"/>
                <a:gd name="T48" fmla="*/ 1 w 903"/>
                <a:gd name="T49" fmla="*/ 490 h 752"/>
                <a:gd name="T50" fmla="*/ 11 w 903"/>
                <a:gd name="T51" fmla="*/ 514 h 752"/>
                <a:gd name="T52" fmla="*/ 33 w 903"/>
                <a:gd name="T53" fmla="*/ 529 h 752"/>
                <a:gd name="T54" fmla="*/ 360 w 903"/>
                <a:gd name="T55" fmla="*/ 667 h 752"/>
                <a:gd name="T56" fmla="*/ 278 w 903"/>
                <a:gd name="T57" fmla="*/ 681 h 752"/>
                <a:gd name="T58" fmla="*/ 203 w 903"/>
                <a:gd name="T59" fmla="*/ 704 h 752"/>
                <a:gd name="T60" fmla="*/ 155 w 903"/>
                <a:gd name="T61" fmla="*/ 725 h 752"/>
                <a:gd name="T62" fmla="*/ 151 w 903"/>
                <a:gd name="T63" fmla="*/ 733 h 752"/>
                <a:gd name="T64" fmla="*/ 151 w 903"/>
                <a:gd name="T65" fmla="*/ 741 h 752"/>
                <a:gd name="T66" fmla="*/ 155 w 903"/>
                <a:gd name="T67" fmla="*/ 749 h 752"/>
                <a:gd name="T68" fmla="*/ 163 w 903"/>
                <a:gd name="T69" fmla="*/ 752 h 752"/>
                <a:gd name="T70" fmla="*/ 171 w 903"/>
                <a:gd name="T71" fmla="*/ 751 h 752"/>
                <a:gd name="T72" fmla="*/ 216 w 903"/>
                <a:gd name="T73" fmla="*/ 731 h 752"/>
                <a:gd name="T74" fmla="*/ 301 w 903"/>
                <a:gd name="T75" fmla="*/ 707 h 752"/>
                <a:gd name="T76" fmla="*/ 412 w 903"/>
                <a:gd name="T77" fmla="*/ 693 h 752"/>
                <a:gd name="T78" fmla="*/ 528 w 903"/>
                <a:gd name="T79" fmla="*/ 696 h 752"/>
                <a:gd name="T80" fmla="*/ 637 w 903"/>
                <a:gd name="T81" fmla="*/ 715 h 752"/>
                <a:gd name="T82" fmla="*/ 701 w 903"/>
                <a:gd name="T83" fmla="*/ 737 h 752"/>
                <a:gd name="T84" fmla="*/ 734 w 903"/>
                <a:gd name="T85" fmla="*/ 752 h 752"/>
                <a:gd name="T86" fmla="*/ 745 w 903"/>
                <a:gd name="T87" fmla="*/ 750 h 752"/>
                <a:gd name="T88" fmla="*/ 752 w 903"/>
                <a:gd name="T89" fmla="*/ 741 h 752"/>
                <a:gd name="T90" fmla="*/ 751 w 903"/>
                <a:gd name="T91" fmla="*/ 733 h 752"/>
                <a:gd name="T92" fmla="*/ 747 w 903"/>
                <a:gd name="T93" fmla="*/ 725 h 752"/>
                <a:gd name="T94" fmla="*/ 699 w 903"/>
                <a:gd name="T95" fmla="*/ 704 h 752"/>
                <a:gd name="T96" fmla="*/ 624 w 903"/>
                <a:gd name="T97" fmla="*/ 681 h 752"/>
                <a:gd name="T98" fmla="*/ 542 w 903"/>
                <a:gd name="T99" fmla="*/ 667 h 752"/>
                <a:gd name="T100" fmla="*/ 869 w 903"/>
                <a:gd name="T101" fmla="*/ 529 h 752"/>
                <a:gd name="T102" fmla="*/ 891 w 903"/>
                <a:gd name="T103" fmla="*/ 514 h 752"/>
                <a:gd name="T104" fmla="*/ 901 w 903"/>
                <a:gd name="T105" fmla="*/ 490 h 752"/>
                <a:gd name="T106" fmla="*/ 901 w 903"/>
                <a:gd name="T107" fmla="*/ 35 h 752"/>
                <a:gd name="T108" fmla="*/ 890 w 903"/>
                <a:gd name="T109" fmla="*/ 13 h 752"/>
                <a:gd name="T110" fmla="*/ 867 w 903"/>
                <a:gd name="T111"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752">
                  <a:moveTo>
                    <a:pt x="873" y="482"/>
                  </a:moveTo>
                  <a:lnTo>
                    <a:pt x="873" y="485"/>
                  </a:lnTo>
                  <a:lnTo>
                    <a:pt x="871" y="488"/>
                  </a:lnTo>
                  <a:lnTo>
                    <a:pt x="869" y="491"/>
                  </a:lnTo>
                  <a:lnTo>
                    <a:pt x="867" y="494"/>
                  </a:lnTo>
                  <a:lnTo>
                    <a:pt x="865" y="497"/>
                  </a:lnTo>
                  <a:lnTo>
                    <a:pt x="862" y="499"/>
                  </a:lnTo>
                  <a:lnTo>
                    <a:pt x="859" y="501"/>
                  </a:lnTo>
                  <a:lnTo>
                    <a:pt x="855" y="502"/>
                  </a:lnTo>
                  <a:lnTo>
                    <a:pt x="478" y="566"/>
                  </a:lnTo>
                  <a:lnTo>
                    <a:pt x="466" y="568"/>
                  </a:lnTo>
                  <a:lnTo>
                    <a:pt x="451" y="568"/>
                  </a:lnTo>
                  <a:lnTo>
                    <a:pt x="436" y="568"/>
                  </a:lnTo>
                  <a:lnTo>
                    <a:pt x="424" y="566"/>
                  </a:lnTo>
                  <a:lnTo>
                    <a:pt x="47" y="502"/>
                  </a:lnTo>
                  <a:lnTo>
                    <a:pt x="43" y="501"/>
                  </a:lnTo>
                  <a:lnTo>
                    <a:pt x="40" y="499"/>
                  </a:lnTo>
                  <a:lnTo>
                    <a:pt x="37" y="497"/>
                  </a:lnTo>
                  <a:lnTo>
                    <a:pt x="35" y="494"/>
                  </a:lnTo>
                  <a:lnTo>
                    <a:pt x="33" y="491"/>
                  </a:lnTo>
                  <a:lnTo>
                    <a:pt x="31" y="488"/>
                  </a:lnTo>
                  <a:lnTo>
                    <a:pt x="30" y="485"/>
                  </a:lnTo>
                  <a:lnTo>
                    <a:pt x="30" y="482"/>
                  </a:lnTo>
                  <a:lnTo>
                    <a:pt x="30" y="45"/>
                  </a:lnTo>
                  <a:lnTo>
                    <a:pt x="30" y="42"/>
                  </a:lnTo>
                  <a:lnTo>
                    <a:pt x="31" y="39"/>
                  </a:lnTo>
                  <a:lnTo>
                    <a:pt x="33" y="36"/>
                  </a:lnTo>
                  <a:lnTo>
                    <a:pt x="34" y="34"/>
                  </a:lnTo>
                  <a:lnTo>
                    <a:pt x="36" y="32"/>
                  </a:lnTo>
                  <a:lnTo>
                    <a:pt x="39" y="31"/>
                  </a:lnTo>
                  <a:lnTo>
                    <a:pt x="41" y="30"/>
                  </a:lnTo>
                  <a:lnTo>
                    <a:pt x="45" y="30"/>
                  </a:lnTo>
                  <a:lnTo>
                    <a:pt x="858" y="30"/>
                  </a:lnTo>
                  <a:lnTo>
                    <a:pt x="861" y="30"/>
                  </a:lnTo>
                  <a:lnTo>
                    <a:pt x="864" y="31"/>
                  </a:lnTo>
                  <a:lnTo>
                    <a:pt x="866" y="32"/>
                  </a:lnTo>
                  <a:lnTo>
                    <a:pt x="868" y="34"/>
                  </a:lnTo>
                  <a:lnTo>
                    <a:pt x="870" y="36"/>
                  </a:lnTo>
                  <a:lnTo>
                    <a:pt x="871" y="39"/>
                  </a:lnTo>
                  <a:lnTo>
                    <a:pt x="873" y="42"/>
                  </a:lnTo>
                  <a:lnTo>
                    <a:pt x="873" y="45"/>
                  </a:lnTo>
                  <a:lnTo>
                    <a:pt x="873" y="482"/>
                  </a:lnTo>
                  <a:close/>
                  <a:moveTo>
                    <a:pt x="512" y="664"/>
                  </a:moveTo>
                  <a:lnTo>
                    <a:pt x="497" y="663"/>
                  </a:lnTo>
                  <a:lnTo>
                    <a:pt x="482" y="663"/>
                  </a:lnTo>
                  <a:lnTo>
                    <a:pt x="466" y="662"/>
                  </a:lnTo>
                  <a:lnTo>
                    <a:pt x="451" y="662"/>
                  </a:lnTo>
                  <a:lnTo>
                    <a:pt x="436" y="662"/>
                  </a:lnTo>
                  <a:lnTo>
                    <a:pt x="421" y="663"/>
                  </a:lnTo>
                  <a:lnTo>
                    <a:pt x="405" y="664"/>
                  </a:lnTo>
                  <a:lnTo>
                    <a:pt x="390" y="664"/>
                  </a:lnTo>
                  <a:lnTo>
                    <a:pt x="390" y="591"/>
                  </a:lnTo>
                  <a:lnTo>
                    <a:pt x="419" y="596"/>
                  </a:lnTo>
                  <a:lnTo>
                    <a:pt x="426" y="597"/>
                  </a:lnTo>
                  <a:lnTo>
                    <a:pt x="434" y="598"/>
                  </a:lnTo>
                  <a:lnTo>
                    <a:pt x="442" y="598"/>
                  </a:lnTo>
                  <a:lnTo>
                    <a:pt x="451" y="598"/>
                  </a:lnTo>
                  <a:lnTo>
                    <a:pt x="460" y="598"/>
                  </a:lnTo>
                  <a:lnTo>
                    <a:pt x="468" y="598"/>
                  </a:lnTo>
                  <a:lnTo>
                    <a:pt x="477" y="597"/>
                  </a:lnTo>
                  <a:lnTo>
                    <a:pt x="483" y="596"/>
                  </a:lnTo>
                  <a:lnTo>
                    <a:pt x="512" y="591"/>
                  </a:lnTo>
                  <a:lnTo>
                    <a:pt x="512" y="664"/>
                  </a:lnTo>
                  <a:close/>
                  <a:moveTo>
                    <a:pt x="858" y="0"/>
                  </a:moveTo>
                  <a:lnTo>
                    <a:pt x="45" y="0"/>
                  </a:lnTo>
                  <a:lnTo>
                    <a:pt x="36" y="0"/>
                  </a:lnTo>
                  <a:lnTo>
                    <a:pt x="27" y="3"/>
                  </a:lnTo>
                  <a:lnTo>
                    <a:pt x="20" y="7"/>
                  </a:lnTo>
                  <a:lnTo>
                    <a:pt x="12" y="13"/>
                  </a:lnTo>
                  <a:lnTo>
                    <a:pt x="7" y="19"/>
                  </a:lnTo>
                  <a:lnTo>
                    <a:pt x="3" y="27"/>
                  </a:lnTo>
                  <a:lnTo>
                    <a:pt x="1" y="35"/>
                  </a:lnTo>
                  <a:lnTo>
                    <a:pt x="0" y="45"/>
                  </a:lnTo>
                  <a:lnTo>
                    <a:pt x="0" y="482"/>
                  </a:lnTo>
                  <a:lnTo>
                    <a:pt x="1" y="490"/>
                  </a:lnTo>
                  <a:lnTo>
                    <a:pt x="3" y="499"/>
                  </a:lnTo>
                  <a:lnTo>
                    <a:pt x="7" y="506"/>
                  </a:lnTo>
                  <a:lnTo>
                    <a:pt x="11" y="514"/>
                  </a:lnTo>
                  <a:lnTo>
                    <a:pt x="18" y="520"/>
                  </a:lnTo>
                  <a:lnTo>
                    <a:pt x="25" y="526"/>
                  </a:lnTo>
                  <a:lnTo>
                    <a:pt x="33" y="529"/>
                  </a:lnTo>
                  <a:lnTo>
                    <a:pt x="41" y="531"/>
                  </a:lnTo>
                  <a:lnTo>
                    <a:pt x="360" y="586"/>
                  </a:lnTo>
                  <a:lnTo>
                    <a:pt x="360" y="667"/>
                  </a:lnTo>
                  <a:lnTo>
                    <a:pt x="332" y="671"/>
                  </a:lnTo>
                  <a:lnTo>
                    <a:pt x="305" y="676"/>
                  </a:lnTo>
                  <a:lnTo>
                    <a:pt x="278" y="681"/>
                  </a:lnTo>
                  <a:lnTo>
                    <a:pt x="253" y="687"/>
                  </a:lnTo>
                  <a:lnTo>
                    <a:pt x="228" y="695"/>
                  </a:lnTo>
                  <a:lnTo>
                    <a:pt x="203" y="704"/>
                  </a:lnTo>
                  <a:lnTo>
                    <a:pt x="180" y="713"/>
                  </a:lnTo>
                  <a:lnTo>
                    <a:pt x="158" y="724"/>
                  </a:lnTo>
                  <a:lnTo>
                    <a:pt x="155" y="725"/>
                  </a:lnTo>
                  <a:lnTo>
                    <a:pt x="153" y="727"/>
                  </a:lnTo>
                  <a:lnTo>
                    <a:pt x="152" y="729"/>
                  </a:lnTo>
                  <a:lnTo>
                    <a:pt x="151" y="733"/>
                  </a:lnTo>
                  <a:lnTo>
                    <a:pt x="150" y="735"/>
                  </a:lnTo>
                  <a:lnTo>
                    <a:pt x="150" y="738"/>
                  </a:lnTo>
                  <a:lnTo>
                    <a:pt x="151" y="741"/>
                  </a:lnTo>
                  <a:lnTo>
                    <a:pt x="152" y="743"/>
                  </a:lnTo>
                  <a:lnTo>
                    <a:pt x="153" y="746"/>
                  </a:lnTo>
                  <a:lnTo>
                    <a:pt x="155" y="749"/>
                  </a:lnTo>
                  <a:lnTo>
                    <a:pt x="157" y="750"/>
                  </a:lnTo>
                  <a:lnTo>
                    <a:pt x="160" y="752"/>
                  </a:lnTo>
                  <a:lnTo>
                    <a:pt x="163" y="752"/>
                  </a:lnTo>
                  <a:lnTo>
                    <a:pt x="166" y="752"/>
                  </a:lnTo>
                  <a:lnTo>
                    <a:pt x="169" y="752"/>
                  </a:lnTo>
                  <a:lnTo>
                    <a:pt x="171" y="751"/>
                  </a:lnTo>
                  <a:lnTo>
                    <a:pt x="186" y="743"/>
                  </a:lnTo>
                  <a:lnTo>
                    <a:pt x="201" y="737"/>
                  </a:lnTo>
                  <a:lnTo>
                    <a:pt x="216" y="731"/>
                  </a:lnTo>
                  <a:lnTo>
                    <a:pt x="232" y="725"/>
                  </a:lnTo>
                  <a:lnTo>
                    <a:pt x="266" y="715"/>
                  </a:lnTo>
                  <a:lnTo>
                    <a:pt x="301" y="707"/>
                  </a:lnTo>
                  <a:lnTo>
                    <a:pt x="337" y="700"/>
                  </a:lnTo>
                  <a:lnTo>
                    <a:pt x="374" y="696"/>
                  </a:lnTo>
                  <a:lnTo>
                    <a:pt x="412" y="693"/>
                  </a:lnTo>
                  <a:lnTo>
                    <a:pt x="451" y="692"/>
                  </a:lnTo>
                  <a:lnTo>
                    <a:pt x="490" y="693"/>
                  </a:lnTo>
                  <a:lnTo>
                    <a:pt x="528" y="696"/>
                  </a:lnTo>
                  <a:lnTo>
                    <a:pt x="566" y="700"/>
                  </a:lnTo>
                  <a:lnTo>
                    <a:pt x="601" y="707"/>
                  </a:lnTo>
                  <a:lnTo>
                    <a:pt x="637" y="715"/>
                  </a:lnTo>
                  <a:lnTo>
                    <a:pt x="670" y="725"/>
                  </a:lnTo>
                  <a:lnTo>
                    <a:pt x="686" y="731"/>
                  </a:lnTo>
                  <a:lnTo>
                    <a:pt x="701" y="737"/>
                  </a:lnTo>
                  <a:lnTo>
                    <a:pt x="716" y="743"/>
                  </a:lnTo>
                  <a:lnTo>
                    <a:pt x="731" y="751"/>
                  </a:lnTo>
                  <a:lnTo>
                    <a:pt x="734" y="752"/>
                  </a:lnTo>
                  <a:lnTo>
                    <a:pt x="737" y="752"/>
                  </a:lnTo>
                  <a:lnTo>
                    <a:pt x="742" y="752"/>
                  </a:lnTo>
                  <a:lnTo>
                    <a:pt x="745" y="750"/>
                  </a:lnTo>
                  <a:lnTo>
                    <a:pt x="748" y="748"/>
                  </a:lnTo>
                  <a:lnTo>
                    <a:pt x="751" y="743"/>
                  </a:lnTo>
                  <a:lnTo>
                    <a:pt x="752" y="741"/>
                  </a:lnTo>
                  <a:lnTo>
                    <a:pt x="752" y="738"/>
                  </a:lnTo>
                  <a:lnTo>
                    <a:pt x="752" y="735"/>
                  </a:lnTo>
                  <a:lnTo>
                    <a:pt x="751" y="733"/>
                  </a:lnTo>
                  <a:lnTo>
                    <a:pt x="750" y="729"/>
                  </a:lnTo>
                  <a:lnTo>
                    <a:pt x="749" y="727"/>
                  </a:lnTo>
                  <a:lnTo>
                    <a:pt x="747" y="725"/>
                  </a:lnTo>
                  <a:lnTo>
                    <a:pt x="744" y="724"/>
                  </a:lnTo>
                  <a:lnTo>
                    <a:pt x="722" y="713"/>
                  </a:lnTo>
                  <a:lnTo>
                    <a:pt x="699" y="704"/>
                  </a:lnTo>
                  <a:lnTo>
                    <a:pt x="675" y="695"/>
                  </a:lnTo>
                  <a:lnTo>
                    <a:pt x="649" y="687"/>
                  </a:lnTo>
                  <a:lnTo>
                    <a:pt x="624" y="681"/>
                  </a:lnTo>
                  <a:lnTo>
                    <a:pt x="597" y="676"/>
                  </a:lnTo>
                  <a:lnTo>
                    <a:pt x="570" y="671"/>
                  </a:lnTo>
                  <a:lnTo>
                    <a:pt x="542" y="667"/>
                  </a:lnTo>
                  <a:lnTo>
                    <a:pt x="542" y="586"/>
                  </a:lnTo>
                  <a:lnTo>
                    <a:pt x="861" y="531"/>
                  </a:lnTo>
                  <a:lnTo>
                    <a:pt x="869" y="529"/>
                  </a:lnTo>
                  <a:lnTo>
                    <a:pt x="877" y="526"/>
                  </a:lnTo>
                  <a:lnTo>
                    <a:pt x="884" y="520"/>
                  </a:lnTo>
                  <a:lnTo>
                    <a:pt x="891" y="514"/>
                  </a:lnTo>
                  <a:lnTo>
                    <a:pt x="896" y="506"/>
                  </a:lnTo>
                  <a:lnTo>
                    <a:pt x="899" y="499"/>
                  </a:lnTo>
                  <a:lnTo>
                    <a:pt x="901" y="490"/>
                  </a:lnTo>
                  <a:lnTo>
                    <a:pt x="903" y="482"/>
                  </a:lnTo>
                  <a:lnTo>
                    <a:pt x="903" y="45"/>
                  </a:lnTo>
                  <a:lnTo>
                    <a:pt x="901" y="35"/>
                  </a:lnTo>
                  <a:lnTo>
                    <a:pt x="899" y="27"/>
                  </a:lnTo>
                  <a:lnTo>
                    <a:pt x="895" y="19"/>
                  </a:lnTo>
                  <a:lnTo>
                    <a:pt x="890" y="13"/>
                  </a:lnTo>
                  <a:lnTo>
                    <a:pt x="883" y="7"/>
                  </a:lnTo>
                  <a:lnTo>
                    <a:pt x="875" y="3"/>
                  </a:lnTo>
                  <a:lnTo>
                    <a:pt x="867" y="0"/>
                  </a:lnTo>
                  <a:lnTo>
                    <a:pt x="858"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71">
              <a:extLst>
                <a:ext uri="{FF2B5EF4-FFF2-40B4-BE49-F238E27FC236}">
                  <a16:creationId xmlns:a16="http://schemas.microsoft.com/office/drawing/2014/main" id="{D99878DE-0690-404B-83AC-D1F7C227C4D2}"/>
                </a:ext>
              </a:extLst>
            </p:cNvPr>
            <p:cNvSpPr>
              <a:spLocks noEditPoints="1"/>
            </p:cNvSpPr>
            <p:nvPr/>
          </p:nvSpPr>
          <p:spPr bwMode="auto">
            <a:xfrm>
              <a:off x="3190875" y="854075"/>
              <a:ext cx="249238" cy="125413"/>
            </a:xfrm>
            <a:custGeom>
              <a:avLst/>
              <a:gdLst>
                <a:gd name="T0" fmla="*/ 30 w 783"/>
                <a:gd name="T1" fmla="*/ 30 h 392"/>
                <a:gd name="T2" fmla="*/ 752 w 783"/>
                <a:gd name="T3" fmla="*/ 30 h 392"/>
                <a:gd name="T4" fmla="*/ 752 w 783"/>
                <a:gd name="T5" fmla="*/ 360 h 392"/>
                <a:gd name="T6" fmla="*/ 30 w 783"/>
                <a:gd name="T7" fmla="*/ 360 h 392"/>
                <a:gd name="T8" fmla="*/ 30 w 783"/>
                <a:gd name="T9" fmla="*/ 30 h 392"/>
                <a:gd name="T10" fmla="*/ 0 w 783"/>
                <a:gd name="T11" fmla="*/ 392 h 392"/>
                <a:gd name="T12" fmla="*/ 783 w 783"/>
                <a:gd name="T13" fmla="*/ 392 h 392"/>
                <a:gd name="T14" fmla="*/ 783 w 783"/>
                <a:gd name="T15" fmla="*/ 0 h 392"/>
                <a:gd name="T16" fmla="*/ 0 w 783"/>
                <a:gd name="T17" fmla="*/ 0 h 392"/>
                <a:gd name="T18" fmla="*/ 0 w 783"/>
                <a:gd name="T19"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3" h="392">
                  <a:moveTo>
                    <a:pt x="30" y="30"/>
                  </a:moveTo>
                  <a:lnTo>
                    <a:pt x="752" y="30"/>
                  </a:lnTo>
                  <a:lnTo>
                    <a:pt x="752" y="360"/>
                  </a:lnTo>
                  <a:lnTo>
                    <a:pt x="30" y="360"/>
                  </a:lnTo>
                  <a:lnTo>
                    <a:pt x="30" y="30"/>
                  </a:lnTo>
                  <a:close/>
                  <a:moveTo>
                    <a:pt x="0" y="392"/>
                  </a:moveTo>
                  <a:lnTo>
                    <a:pt x="783" y="392"/>
                  </a:lnTo>
                  <a:lnTo>
                    <a:pt x="783" y="0"/>
                  </a:lnTo>
                  <a:lnTo>
                    <a:pt x="0" y="0"/>
                  </a:lnTo>
                  <a:lnTo>
                    <a:pt x="0"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72">
              <a:extLst>
                <a:ext uri="{FF2B5EF4-FFF2-40B4-BE49-F238E27FC236}">
                  <a16:creationId xmlns:a16="http://schemas.microsoft.com/office/drawing/2014/main" id="{0432646C-6FF7-4848-9C26-85D4CF23917A}"/>
                </a:ext>
              </a:extLst>
            </p:cNvPr>
            <p:cNvSpPr>
              <a:spLocks/>
            </p:cNvSpPr>
            <p:nvPr/>
          </p:nvSpPr>
          <p:spPr bwMode="auto">
            <a:xfrm>
              <a:off x="3306763" y="989013"/>
              <a:ext cx="19050" cy="19050"/>
            </a:xfrm>
            <a:custGeom>
              <a:avLst/>
              <a:gdLst>
                <a:gd name="T0" fmla="*/ 30 w 60"/>
                <a:gd name="T1" fmla="*/ 0 h 60"/>
                <a:gd name="T2" fmla="*/ 24 w 60"/>
                <a:gd name="T3" fmla="*/ 0 h 60"/>
                <a:gd name="T4" fmla="*/ 18 w 60"/>
                <a:gd name="T5" fmla="*/ 2 h 60"/>
                <a:gd name="T6" fmla="*/ 13 w 60"/>
                <a:gd name="T7" fmla="*/ 4 h 60"/>
                <a:gd name="T8" fmla="*/ 9 w 60"/>
                <a:gd name="T9" fmla="*/ 8 h 60"/>
                <a:gd name="T10" fmla="*/ 5 w 60"/>
                <a:gd name="T11" fmla="*/ 12 h 60"/>
                <a:gd name="T12" fmla="*/ 2 w 60"/>
                <a:gd name="T13" fmla="*/ 18 h 60"/>
                <a:gd name="T14" fmla="*/ 1 w 60"/>
                <a:gd name="T15" fmla="*/ 23 h 60"/>
                <a:gd name="T16" fmla="*/ 0 w 60"/>
                <a:gd name="T17" fmla="*/ 30 h 60"/>
                <a:gd name="T18" fmla="*/ 1 w 60"/>
                <a:gd name="T19" fmla="*/ 35 h 60"/>
                <a:gd name="T20" fmla="*/ 2 w 60"/>
                <a:gd name="T21" fmla="*/ 41 h 60"/>
                <a:gd name="T22" fmla="*/ 5 w 60"/>
                <a:gd name="T23" fmla="*/ 46 h 60"/>
                <a:gd name="T24" fmla="*/ 9 w 60"/>
                <a:gd name="T25" fmla="*/ 51 h 60"/>
                <a:gd name="T26" fmla="*/ 13 w 60"/>
                <a:gd name="T27" fmla="*/ 54 h 60"/>
                <a:gd name="T28" fmla="*/ 18 w 60"/>
                <a:gd name="T29" fmla="*/ 57 h 60"/>
                <a:gd name="T30" fmla="*/ 24 w 60"/>
                <a:gd name="T31" fmla="*/ 59 h 60"/>
                <a:gd name="T32" fmla="*/ 30 w 60"/>
                <a:gd name="T33" fmla="*/ 60 h 60"/>
                <a:gd name="T34" fmla="*/ 36 w 60"/>
                <a:gd name="T35" fmla="*/ 59 h 60"/>
                <a:gd name="T36" fmla="*/ 42 w 60"/>
                <a:gd name="T37" fmla="*/ 57 h 60"/>
                <a:gd name="T38" fmla="*/ 47 w 60"/>
                <a:gd name="T39" fmla="*/ 54 h 60"/>
                <a:gd name="T40" fmla="*/ 51 w 60"/>
                <a:gd name="T41" fmla="*/ 51 h 60"/>
                <a:gd name="T42" fmla="*/ 55 w 60"/>
                <a:gd name="T43" fmla="*/ 46 h 60"/>
                <a:gd name="T44" fmla="*/ 58 w 60"/>
                <a:gd name="T45" fmla="*/ 41 h 60"/>
                <a:gd name="T46" fmla="*/ 60 w 60"/>
                <a:gd name="T47" fmla="*/ 35 h 60"/>
                <a:gd name="T48" fmla="*/ 60 w 60"/>
                <a:gd name="T49" fmla="*/ 30 h 60"/>
                <a:gd name="T50" fmla="*/ 60 w 60"/>
                <a:gd name="T51" fmla="*/ 23 h 60"/>
                <a:gd name="T52" fmla="*/ 58 w 60"/>
                <a:gd name="T53" fmla="*/ 18 h 60"/>
                <a:gd name="T54" fmla="*/ 55 w 60"/>
                <a:gd name="T55" fmla="*/ 12 h 60"/>
                <a:gd name="T56" fmla="*/ 51 w 60"/>
                <a:gd name="T57" fmla="*/ 8 h 60"/>
                <a:gd name="T58" fmla="*/ 47 w 60"/>
                <a:gd name="T59" fmla="*/ 4 h 60"/>
                <a:gd name="T60" fmla="*/ 42 w 60"/>
                <a:gd name="T61" fmla="*/ 2 h 60"/>
                <a:gd name="T62" fmla="*/ 36 w 60"/>
                <a:gd name="T63" fmla="*/ 0 h 60"/>
                <a:gd name="T64" fmla="*/ 30 w 60"/>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0"/>
                  </a:moveTo>
                  <a:lnTo>
                    <a:pt x="24" y="0"/>
                  </a:lnTo>
                  <a:lnTo>
                    <a:pt x="18" y="2"/>
                  </a:lnTo>
                  <a:lnTo>
                    <a:pt x="13" y="4"/>
                  </a:lnTo>
                  <a:lnTo>
                    <a:pt x="9" y="8"/>
                  </a:lnTo>
                  <a:lnTo>
                    <a:pt x="5" y="12"/>
                  </a:lnTo>
                  <a:lnTo>
                    <a:pt x="2" y="18"/>
                  </a:lnTo>
                  <a:lnTo>
                    <a:pt x="1" y="23"/>
                  </a:lnTo>
                  <a:lnTo>
                    <a:pt x="0" y="30"/>
                  </a:lnTo>
                  <a:lnTo>
                    <a:pt x="1" y="35"/>
                  </a:lnTo>
                  <a:lnTo>
                    <a:pt x="2" y="41"/>
                  </a:lnTo>
                  <a:lnTo>
                    <a:pt x="5" y="46"/>
                  </a:lnTo>
                  <a:lnTo>
                    <a:pt x="9" y="51"/>
                  </a:lnTo>
                  <a:lnTo>
                    <a:pt x="13" y="54"/>
                  </a:lnTo>
                  <a:lnTo>
                    <a:pt x="18" y="57"/>
                  </a:lnTo>
                  <a:lnTo>
                    <a:pt x="24" y="59"/>
                  </a:lnTo>
                  <a:lnTo>
                    <a:pt x="30" y="60"/>
                  </a:lnTo>
                  <a:lnTo>
                    <a:pt x="36" y="59"/>
                  </a:lnTo>
                  <a:lnTo>
                    <a:pt x="42" y="57"/>
                  </a:lnTo>
                  <a:lnTo>
                    <a:pt x="47" y="54"/>
                  </a:lnTo>
                  <a:lnTo>
                    <a:pt x="51" y="51"/>
                  </a:lnTo>
                  <a:lnTo>
                    <a:pt x="55" y="46"/>
                  </a:lnTo>
                  <a:lnTo>
                    <a:pt x="58" y="41"/>
                  </a:lnTo>
                  <a:lnTo>
                    <a:pt x="60" y="35"/>
                  </a:lnTo>
                  <a:lnTo>
                    <a:pt x="60" y="30"/>
                  </a:lnTo>
                  <a:lnTo>
                    <a:pt x="60" y="23"/>
                  </a:lnTo>
                  <a:lnTo>
                    <a:pt x="58" y="18"/>
                  </a:lnTo>
                  <a:lnTo>
                    <a:pt x="55" y="12"/>
                  </a:lnTo>
                  <a:lnTo>
                    <a:pt x="51" y="8"/>
                  </a:lnTo>
                  <a:lnTo>
                    <a:pt x="47" y="4"/>
                  </a:lnTo>
                  <a:lnTo>
                    <a:pt x="42" y="2"/>
                  </a:lnTo>
                  <a:lnTo>
                    <a:pt x="36"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6" name="Freeform 60">
            <a:extLst>
              <a:ext uri="{FF2B5EF4-FFF2-40B4-BE49-F238E27FC236}">
                <a16:creationId xmlns:a16="http://schemas.microsoft.com/office/drawing/2014/main" id="{B47BD750-04C1-49DE-AA2E-A0CE0DA5612C}"/>
              </a:ext>
            </a:extLst>
          </p:cNvPr>
          <p:cNvSpPr>
            <a:spLocks noChangeAspect="1" noEditPoints="1"/>
          </p:cNvSpPr>
          <p:nvPr/>
        </p:nvSpPr>
        <p:spPr bwMode="auto">
          <a:xfrm>
            <a:off x="1878117" y="5422647"/>
            <a:ext cx="305900" cy="275479"/>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ndParaRPr>
          </a:p>
        </p:txBody>
      </p:sp>
      <p:grpSp>
        <p:nvGrpSpPr>
          <p:cNvPr id="1213" name="Group 5120">
            <a:extLst>
              <a:ext uri="{FF2B5EF4-FFF2-40B4-BE49-F238E27FC236}">
                <a16:creationId xmlns:a16="http://schemas.microsoft.com/office/drawing/2014/main" id="{0D574686-FB2B-4D35-8A91-8F5684FC3839}"/>
              </a:ext>
            </a:extLst>
          </p:cNvPr>
          <p:cNvGrpSpPr>
            <a:grpSpLocks noChangeAspect="1"/>
          </p:cNvGrpSpPr>
          <p:nvPr/>
        </p:nvGrpSpPr>
        <p:grpSpPr>
          <a:xfrm>
            <a:off x="2295068" y="5425737"/>
            <a:ext cx="305900" cy="269299"/>
            <a:chOff x="5640388" y="5537200"/>
            <a:chExt cx="371475" cy="327026"/>
          </a:xfrm>
          <a:solidFill>
            <a:schemeClr val="bg2"/>
          </a:solidFill>
          <a:effectLst/>
        </p:grpSpPr>
        <p:sp>
          <p:nvSpPr>
            <p:cNvPr id="1214" name="Freeform 8">
              <a:extLst>
                <a:ext uri="{FF2B5EF4-FFF2-40B4-BE49-F238E27FC236}">
                  <a16:creationId xmlns:a16="http://schemas.microsoft.com/office/drawing/2014/main" id="{244943F8-8BE6-4503-9FB6-F3FD7B1CEC52}"/>
                </a:ext>
              </a:extLst>
            </p:cNvPr>
            <p:cNvSpPr>
              <a:spLocks noEditPoints="1"/>
            </p:cNvSpPr>
            <p:nvPr/>
          </p:nvSpPr>
          <p:spPr bwMode="auto">
            <a:xfrm>
              <a:off x="5640388" y="5537200"/>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9">
              <a:extLst>
                <a:ext uri="{FF2B5EF4-FFF2-40B4-BE49-F238E27FC236}">
                  <a16:creationId xmlns:a16="http://schemas.microsoft.com/office/drawing/2014/main" id="{31E76C2E-5533-42EB-8610-7F31D72DE0C2}"/>
                </a:ext>
              </a:extLst>
            </p:cNvPr>
            <p:cNvSpPr>
              <a:spLocks/>
            </p:cNvSpPr>
            <p:nvPr/>
          </p:nvSpPr>
          <p:spPr bwMode="auto">
            <a:xfrm>
              <a:off x="5710238" y="5848350"/>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0">
              <a:extLst>
                <a:ext uri="{FF2B5EF4-FFF2-40B4-BE49-F238E27FC236}">
                  <a16:creationId xmlns:a16="http://schemas.microsoft.com/office/drawing/2014/main" id="{318D2951-2B73-4CEA-85EE-8F4E9EC44E98}"/>
                </a:ext>
              </a:extLst>
            </p:cNvPr>
            <p:cNvSpPr>
              <a:spLocks/>
            </p:cNvSpPr>
            <p:nvPr/>
          </p:nvSpPr>
          <p:spPr bwMode="auto">
            <a:xfrm>
              <a:off x="5818188" y="58181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Oval 11">
              <a:extLst>
                <a:ext uri="{FF2B5EF4-FFF2-40B4-BE49-F238E27FC236}">
                  <a16:creationId xmlns:a16="http://schemas.microsoft.com/office/drawing/2014/main" id="{D0ED8B4A-7318-4977-8BBA-E1018D559B98}"/>
                </a:ext>
              </a:extLst>
            </p:cNvPr>
            <p:cNvSpPr>
              <a:spLocks noChangeArrowheads="1"/>
            </p:cNvSpPr>
            <p:nvPr/>
          </p:nvSpPr>
          <p:spPr bwMode="auto">
            <a:xfrm>
              <a:off x="5810251" y="577850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Rectangle 12">
              <a:extLst>
                <a:ext uri="{FF2B5EF4-FFF2-40B4-BE49-F238E27FC236}">
                  <a16:creationId xmlns:a16="http://schemas.microsoft.com/office/drawing/2014/main" id="{080F9363-DC74-4977-9E61-E71F50D841ED}"/>
                </a:ext>
              </a:extLst>
            </p:cNvPr>
            <p:cNvSpPr>
              <a:spLocks noChangeArrowheads="1"/>
            </p:cNvSpPr>
            <p:nvPr/>
          </p:nvSpPr>
          <p:spPr bwMode="auto">
            <a:xfrm>
              <a:off x="5648326" y="5754688"/>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13">
              <a:extLst>
                <a:ext uri="{FF2B5EF4-FFF2-40B4-BE49-F238E27FC236}">
                  <a16:creationId xmlns:a16="http://schemas.microsoft.com/office/drawing/2014/main" id="{FD3139C3-225F-40B6-AF69-C507B70CBA24}"/>
                </a:ext>
              </a:extLst>
            </p:cNvPr>
            <p:cNvSpPr>
              <a:spLocks/>
            </p:cNvSpPr>
            <p:nvPr/>
          </p:nvSpPr>
          <p:spPr bwMode="auto">
            <a:xfrm>
              <a:off x="5780088" y="5614988"/>
              <a:ext cx="107950" cy="77788"/>
            </a:xfrm>
            <a:custGeom>
              <a:avLst/>
              <a:gdLst>
                <a:gd name="T0" fmla="*/ 10 w 28"/>
                <a:gd name="T1" fmla="*/ 20 h 20"/>
                <a:gd name="T2" fmla="*/ 9 w 28"/>
                <a:gd name="T3" fmla="*/ 19 h 20"/>
                <a:gd name="T4" fmla="*/ 1 w 28"/>
                <a:gd name="T5" fmla="*/ 11 h 20"/>
                <a:gd name="T6" fmla="*/ 1 w 28"/>
                <a:gd name="T7" fmla="*/ 9 h 20"/>
                <a:gd name="T8" fmla="*/ 3 w 28"/>
                <a:gd name="T9" fmla="*/ 9 h 20"/>
                <a:gd name="T10" fmla="*/ 10 w 28"/>
                <a:gd name="T11" fmla="*/ 15 h 20"/>
                <a:gd name="T12" fmla="*/ 25 w 28"/>
                <a:gd name="T13" fmla="*/ 1 h 20"/>
                <a:gd name="T14" fmla="*/ 27 w 28"/>
                <a:gd name="T15" fmla="*/ 1 h 20"/>
                <a:gd name="T16" fmla="*/ 27 w 28"/>
                <a:gd name="T17" fmla="*/ 3 h 20"/>
                <a:gd name="T18" fmla="*/ 11 w 28"/>
                <a:gd name="T19" fmla="*/ 19 h 20"/>
                <a:gd name="T20" fmla="*/ 10 w 28"/>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0">
                  <a:moveTo>
                    <a:pt x="10" y="20"/>
                  </a:moveTo>
                  <a:cubicBezTo>
                    <a:pt x="9" y="20"/>
                    <a:pt x="9" y="20"/>
                    <a:pt x="9" y="19"/>
                  </a:cubicBezTo>
                  <a:cubicBezTo>
                    <a:pt x="1" y="11"/>
                    <a:pt x="1" y="11"/>
                    <a:pt x="1" y="11"/>
                  </a:cubicBezTo>
                  <a:cubicBezTo>
                    <a:pt x="0" y="11"/>
                    <a:pt x="0" y="9"/>
                    <a:pt x="1" y="9"/>
                  </a:cubicBezTo>
                  <a:cubicBezTo>
                    <a:pt x="1" y="8"/>
                    <a:pt x="3" y="8"/>
                    <a:pt x="3" y="9"/>
                  </a:cubicBezTo>
                  <a:cubicBezTo>
                    <a:pt x="10" y="15"/>
                    <a:pt x="10" y="15"/>
                    <a:pt x="10" y="15"/>
                  </a:cubicBezTo>
                  <a:cubicBezTo>
                    <a:pt x="25" y="1"/>
                    <a:pt x="25" y="1"/>
                    <a:pt x="25" y="1"/>
                  </a:cubicBezTo>
                  <a:cubicBezTo>
                    <a:pt x="25" y="0"/>
                    <a:pt x="27" y="0"/>
                    <a:pt x="27" y="1"/>
                  </a:cubicBezTo>
                  <a:cubicBezTo>
                    <a:pt x="28" y="1"/>
                    <a:pt x="28" y="3"/>
                    <a:pt x="27" y="3"/>
                  </a:cubicBezTo>
                  <a:cubicBezTo>
                    <a:pt x="11" y="19"/>
                    <a:pt x="11" y="19"/>
                    <a:pt x="11" y="19"/>
                  </a:cubicBezTo>
                  <a:cubicBezTo>
                    <a:pt x="11" y="20"/>
                    <a:pt x="11"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4">
              <a:extLst>
                <a:ext uri="{FF2B5EF4-FFF2-40B4-BE49-F238E27FC236}">
                  <a16:creationId xmlns:a16="http://schemas.microsoft.com/office/drawing/2014/main" id="{46E49999-95E0-4D50-92A8-54EE71B4C631}"/>
                </a:ext>
              </a:extLst>
            </p:cNvPr>
            <p:cNvSpPr>
              <a:spLocks/>
            </p:cNvSpPr>
            <p:nvPr/>
          </p:nvSpPr>
          <p:spPr bwMode="auto">
            <a:xfrm>
              <a:off x="5748338" y="5576888"/>
              <a:ext cx="155575" cy="155575"/>
            </a:xfrm>
            <a:custGeom>
              <a:avLst/>
              <a:gdLst>
                <a:gd name="T0" fmla="*/ 20 w 40"/>
                <a:gd name="T1" fmla="*/ 40 h 40"/>
                <a:gd name="T2" fmla="*/ 0 w 40"/>
                <a:gd name="T3" fmla="*/ 20 h 40"/>
                <a:gd name="T4" fmla="*/ 20 w 40"/>
                <a:gd name="T5" fmla="*/ 0 h 40"/>
                <a:gd name="T6" fmla="*/ 29 w 40"/>
                <a:gd name="T7" fmla="*/ 2 h 40"/>
                <a:gd name="T8" fmla="*/ 30 w 40"/>
                <a:gd name="T9" fmla="*/ 5 h 40"/>
                <a:gd name="T10" fmla="*/ 27 w 40"/>
                <a:gd name="T11" fmla="*/ 6 h 40"/>
                <a:gd name="T12" fmla="*/ 20 w 40"/>
                <a:gd name="T13" fmla="*/ 4 h 40"/>
                <a:gd name="T14" fmla="*/ 4 w 40"/>
                <a:gd name="T15" fmla="*/ 20 h 40"/>
                <a:gd name="T16" fmla="*/ 20 w 40"/>
                <a:gd name="T17" fmla="*/ 36 h 40"/>
                <a:gd name="T18" fmla="*/ 36 w 40"/>
                <a:gd name="T19" fmla="*/ 20 h 40"/>
                <a:gd name="T20" fmla="*/ 38 w 40"/>
                <a:gd name="T21" fmla="*/ 18 h 40"/>
                <a:gd name="T22" fmla="*/ 40 w 40"/>
                <a:gd name="T23" fmla="*/ 20 h 40"/>
                <a:gd name="T24" fmla="*/ 20 w 40"/>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0">
                  <a:moveTo>
                    <a:pt x="20" y="40"/>
                  </a:moveTo>
                  <a:cubicBezTo>
                    <a:pt x="9" y="40"/>
                    <a:pt x="0" y="31"/>
                    <a:pt x="0" y="20"/>
                  </a:cubicBezTo>
                  <a:cubicBezTo>
                    <a:pt x="0" y="9"/>
                    <a:pt x="9" y="0"/>
                    <a:pt x="20" y="0"/>
                  </a:cubicBezTo>
                  <a:cubicBezTo>
                    <a:pt x="23" y="0"/>
                    <a:pt x="26" y="1"/>
                    <a:pt x="29" y="2"/>
                  </a:cubicBezTo>
                  <a:cubicBezTo>
                    <a:pt x="30" y="3"/>
                    <a:pt x="31" y="4"/>
                    <a:pt x="30" y="5"/>
                  </a:cubicBezTo>
                  <a:cubicBezTo>
                    <a:pt x="30" y="6"/>
                    <a:pt x="28" y="6"/>
                    <a:pt x="27" y="6"/>
                  </a:cubicBezTo>
                  <a:cubicBezTo>
                    <a:pt x="25" y="5"/>
                    <a:pt x="23" y="4"/>
                    <a:pt x="20" y="4"/>
                  </a:cubicBezTo>
                  <a:cubicBezTo>
                    <a:pt x="11" y="4"/>
                    <a:pt x="4" y="11"/>
                    <a:pt x="4" y="20"/>
                  </a:cubicBezTo>
                  <a:cubicBezTo>
                    <a:pt x="4" y="29"/>
                    <a:pt x="11" y="36"/>
                    <a:pt x="20" y="36"/>
                  </a:cubicBezTo>
                  <a:cubicBezTo>
                    <a:pt x="29" y="36"/>
                    <a:pt x="36" y="29"/>
                    <a:pt x="36" y="20"/>
                  </a:cubicBezTo>
                  <a:cubicBezTo>
                    <a:pt x="36" y="19"/>
                    <a:pt x="37" y="18"/>
                    <a:pt x="38" y="18"/>
                  </a:cubicBezTo>
                  <a:cubicBezTo>
                    <a:pt x="39" y="18"/>
                    <a:pt x="40" y="19"/>
                    <a:pt x="40" y="20"/>
                  </a:cubicBezTo>
                  <a:cubicBezTo>
                    <a:pt x="40" y="31"/>
                    <a:pt x="31" y="40"/>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17" name="Group 22">
            <a:extLst>
              <a:ext uri="{FF2B5EF4-FFF2-40B4-BE49-F238E27FC236}">
                <a16:creationId xmlns:a16="http://schemas.microsoft.com/office/drawing/2014/main" id="{8B91C876-5234-43CE-B730-F21D9D3C1658}"/>
              </a:ext>
            </a:extLst>
          </p:cNvPr>
          <p:cNvGrpSpPr>
            <a:grpSpLocks noChangeAspect="1"/>
          </p:cNvGrpSpPr>
          <p:nvPr/>
        </p:nvGrpSpPr>
        <p:grpSpPr>
          <a:xfrm>
            <a:off x="2736258" y="5407437"/>
            <a:ext cx="305900" cy="305900"/>
            <a:chOff x="1450975" y="787400"/>
            <a:chExt cx="287338" cy="287338"/>
          </a:xfrm>
          <a:solidFill>
            <a:schemeClr val="bg2"/>
          </a:solidFill>
          <a:effectLst/>
        </p:grpSpPr>
        <p:sp>
          <p:nvSpPr>
            <p:cNvPr id="1318" name="Freeform 62">
              <a:extLst>
                <a:ext uri="{FF2B5EF4-FFF2-40B4-BE49-F238E27FC236}">
                  <a16:creationId xmlns:a16="http://schemas.microsoft.com/office/drawing/2014/main" id="{75F4F2F6-3838-45D4-9863-DF979E348B30}"/>
                </a:ext>
              </a:extLst>
            </p:cNvPr>
            <p:cNvSpPr>
              <a:spLocks noEditPoints="1"/>
            </p:cNvSpPr>
            <p:nvPr/>
          </p:nvSpPr>
          <p:spPr bwMode="auto">
            <a:xfrm>
              <a:off x="1490663" y="815975"/>
              <a:ext cx="209550" cy="123825"/>
            </a:xfrm>
            <a:custGeom>
              <a:avLst/>
              <a:gdLst>
                <a:gd name="T0" fmla="*/ 632 w 662"/>
                <a:gd name="T1" fmla="*/ 361 h 391"/>
                <a:gd name="T2" fmla="*/ 30 w 662"/>
                <a:gd name="T3" fmla="*/ 361 h 391"/>
                <a:gd name="T4" fmla="*/ 30 w 662"/>
                <a:gd name="T5" fmla="*/ 30 h 391"/>
                <a:gd name="T6" fmla="*/ 632 w 662"/>
                <a:gd name="T7" fmla="*/ 30 h 391"/>
                <a:gd name="T8" fmla="*/ 632 w 662"/>
                <a:gd name="T9" fmla="*/ 361 h 391"/>
                <a:gd name="T10" fmla="*/ 662 w 662"/>
                <a:gd name="T11" fmla="*/ 0 h 391"/>
                <a:gd name="T12" fmla="*/ 0 w 662"/>
                <a:gd name="T13" fmla="*/ 0 h 391"/>
                <a:gd name="T14" fmla="*/ 0 w 662"/>
                <a:gd name="T15" fmla="*/ 391 h 391"/>
                <a:gd name="T16" fmla="*/ 662 w 662"/>
                <a:gd name="T17" fmla="*/ 391 h 391"/>
                <a:gd name="T18" fmla="*/ 662 w 662"/>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391">
                  <a:moveTo>
                    <a:pt x="632" y="361"/>
                  </a:moveTo>
                  <a:lnTo>
                    <a:pt x="30" y="361"/>
                  </a:lnTo>
                  <a:lnTo>
                    <a:pt x="30" y="30"/>
                  </a:lnTo>
                  <a:lnTo>
                    <a:pt x="632" y="30"/>
                  </a:lnTo>
                  <a:lnTo>
                    <a:pt x="632" y="361"/>
                  </a:lnTo>
                  <a:close/>
                  <a:moveTo>
                    <a:pt x="662" y="0"/>
                  </a:moveTo>
                  <a:lnTo>
                    <a:pt x="0" y="0"/>
                  </a:lnTo>
                  <a:lnTo>
                    <a:pt x="0" y="391"/>
                  </a:lnTo>
                  <a:lnTo>
                    <a:pt x="662" y="391"/>
                  </a:lnTo>
                  <a:lnTo>
                    <a:pt x="6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63">
              <a:extLst>
                <a:ext uri="{FF2B5EF4-FFF2-40B4-BE49-F238E27FC236}">
                  <a16:creationId xmlns:a16="http://schemas.microsoft.com/office/drawing/2014/main" id="{8F9D08B6-BCBB-4B81-BEAB-43D556C8C538}"/>
                </a:ext>
              </a:extLst>
            </p:cNvPr>
            <p:cNvSpPr>
              <a:spLocks/>
            </p:cNvSpPr>
            <p:nvPr/>
          </p:nvSpPr>
          <p:spPr bwMode="auto">
            <a:xfrm>
              <a:off x="1481138" y="1008063"/>
              <a:ext cx="76200" cy="9525"/>
            </a:xfrm>
            <a:custGeom>
              <a:avLst/>
              <a:gdLst>
                <a:gd name="T0" fmla="*/ 226 w 241"/>
                <a:gd name="T1" fmla="*/ 0 h 30"/>
                <a:gd name="T2" fmla="*/ 15 w 241"/>
                <a:gd name="T3" fmla="*/ 0 h 30"/>
                <a:gd name="T4" fmla="*/ 12 w 241"/>
                <a:gd name="T5" fmla="*/ 0 h 30"/>
                <a:gd name="T6" fmla="*/ 9 w 241"/>
                <a:gd name="T7" fmla="*/ 1 h 30"/>
                <a:gd name="T8" fmla="*/ 7 w 241"/>
                <a:gd name="T9" fmla="*/ 2 h 30"/>
                <a:gd name="T10" fmla="*/ 5 w 241"/>
                <a:gd name="T11" fmla="*/ 4 h 30"/>
                <a:gd name="T12" fmla="*/ 2 w 241"/>
                <a:gd name="T13" fmla="*/ 6 h 30"/>
                <a:gd name="T14" fmla="*/ 1 w 241"/>
                <a:gd name="T15" fmla="*/ 8 h 30"/>
                <a:gd name="T16" fmla="*/ 0 w 241"/>
                <a:gd name="T17" fmla="*/ 11 h 30"/>
                <a:gd name="T18" fmla="*/ 0 w 241"/>
                <a:gd name="T19" fmla="*/ 15 h 30"/>
                <a:gd name="T20" fmla="*/ 0 w 241"/>
                <a:gd name="T21" fmla="*/ 18 h 30"/>
                <a:gd name="T22" fmla="*/ 1 w 241"/>
                <a:gd name="T23" fmla="*/ 20 h 30"/>
                <a:gd name="T24" fmla="*/ 2 w 241"/>
                <a:gd name="T25" fmla="*/ 23 h 30"/>
                <a:gd name="T26" fmla="*/ 5 w 241"/>
                <a:gd name="T27" fmla="*/ 25 h 30"/>
                <a:gd name="T28" fmla="*/ 7 w 241"/>
                <a:gd name="T29" fmla="*/ 26 h 30"/>
                <a:gd name="T30" fmla="*/ 9 w 241"/>
                <a:gd name="T31" fmla="*/ 29 h 30"/>
                <a:gd name="T32" fmla="*/ 12 w 241"/>
                <a:gd name="T33" fmla="*/ 30 h 30"/>
                <a:gd name="T34" fmla="*/ 15 w 241"/>
                <a:gd name="T35" fmla="*/ 30 h 30"/>
                <a:gd name="T36" fmla="*/ 226 w 241"/>
                <a:gd name="T37" fmla="*/ 30 h 30"/>
                <a:gd name="T38" fmla="*/ 229 w 241"/>
                <a:gd name="T39" fmla="*/ 29 h 30"/>
                <a:gd name="T40" fmla="*/ 232 w 241"/>
                <a:gd name="T41" fmla="*/ 29 h 30"/>
                <a:gd name="T42" fmla="*/ 234 w 241"/>
                <a:gd name="T43" fmla="*/ 26 h 30"/>
                <a:gd name="T44" fmla="*/ 236 w 241"/>
                <a:gd name="T45" fmla="*/ 25 h 30"/>
                <a:gd name="T46" fmla="*/ 238 w 241"/>
                <a:gd name="T47" fmla="*/ 23 h 30"/>
                <a:gd name="T48" fmla="*/ 240 w 241"/>
                <a:gd name="T49" fmla="*/ 20 h 30"/>
                <a:gd name="T50" fmla="*/ 241 w 241"/>
                <a:gd name="T51" fmla="*/ 18 h 30"/>
                <a:gd name="T52" fmla="*/ 241 w 241"/>
                <a:gd name="T53" fmla="*/ 15 h 30"/>
                <a:gd name="T54" fmla="*/ 241 w 241"/>
                <a:gd name="T55" fmla="*/ 11 h 30"/>
                <a:gd name="T56" fmla="*/ 240 w 241"/>
                <a:gd name="T57" fmla="*/ 8 h 30"/>
                <a:gd name="T58" fmla="*/ 238 w 241"/>
                <a:gd name="T59" fmla="*/ 6 h 30"/>
                <a:gd name="T60" fmla="*/ 236 w 241"/>
                <a:gd name="T61" fmla="*/ 4 h 30"/>
                <a:gd name="T62" fmla="*/ 234 w 241"/>
                <a:gd name="T63" fmla="*/ 2 h 30"/>
                <a:gd name="T64" fmla="*/ 232 w 241"/>
                <a:gd name="T65" fmla="*/ 1 h 30"/>
                <a:gd name="T66" fmla="*/ 229 w 241"/>
                <a:gd name="T67" fmla="*/ 0 h 30"/>
                <a:gd name="T68" fmla="*/ 226 w 241"/>
                <a:gd name="T69" fmla="*/ 0 h 30"/>
                <a:gd name="T70" fmla="*/ 226 w 24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226"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30"/>
                  </a:lnTo>
                  <a:lnTo>
                    <a:pt x="15" y="30"/>
                  </a:lnTo>
                  <a:lnTo>
                    <a:pt x="226" y="30"/>
                  </a:lnTo>
                  <a:lnTo>
                    <a:pt x="229" y="29"/>
                  </a:lnTo>
                  <a:lnTo>
                    <a:pt x="232" y="29"/>
                  </a:lnTo>
                  <a:lnTo>
                    <a:pt x="234" y="26"/>
                  </a:lnTo>
                  <a:lnTo>
                    <a:pt x="236" y="25"/>
                  </a:lnTo>
                  <a:lnTo>
                    <a:pt x="238" y="23"/>
                  </a:lnTo>
                  <a:lnTo>
                    <a:pt x="240" y="20"/>
                  </a:lnTo>
                  <a:lnTo>
                    <a:pt x="241" y="18"/>
                  </a:lnTo>
                  <a:lnTo>
                    <a:pt x="241" y="15"/>
                  </a:lnTo>
                  <a:lnTo>
                    <a:pt x="241" y="11"/>
                  </a:lnTo>
                  <a:lnTo>
                    <a:pt x="240" y="8"/>
                  </a:lnTo>
                  <a:lnTo>
                    <a:pt x="238" y="6"/>
                  </a:lnTo>
                  <a:lnTo>
                    <a:pt x="236" y="4"/>
                  </a:lnTo>
                  <a:lnTo>
                    <a:pt x="234" y="2"/>
                  </a:lnTo>
                  <a:lnTo>
                    <a:pt x="232" y="1"/>
                  </a:lnTo>
                  <a:lnTo>
                    <a:pt x="229" y="0"/>
                  </a:lnTo>
                  <a:lnTo>
                    <a:pt x="226"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64">
              <a:extLst>
                <a:ext uri="{FF2B5EF4-FFF2-40B4-BE49-F238E27FC236}">
                  <a16:creationId xmlns:a16="http://schemas.microsoft.com/office/drawing/2014/main" id="{281A5034-7609-460F-BDD2-064B10E9A0E0}"/>
                </a:ext>
              </a:extLst>
            </p:cNvPr>
            <p:cNvSpPr>
              <a:spLocks/>
            </p:cNvSpPr>
            <p:nvPr/>
          </p:nvSpPr>
          <p:spPr bwMode="auto">
            <a:xfrm>
              <a:off x="1481138" y="1027113"/>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9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9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9"/>
                  </a:lnTo>
                  <a:lnTo>
                    <a:pt x="0" y="11"/>
                  </a:lnTo>
                  <a:lnTo>
                    <a:pt x="0" y="15"/>
                  </a:lnTo>
                  <a:lnTo>
                    <a:pt x="0" y="18"/>
                  </a:lnTo>
                  <a:lnTo>
                    <a:pt x="1" y="20"/>
                  </a:lnTo>
                  <a:lnTo>
                    <a:pt x="2" y="23"/>
                  </a:lnTo>
                  <a:lnTo>
                    <a:pt x="5" y="25"/>
                  </a:lnTo>
                  <a:lnTo>
                    <a:pt x="7" y="28"/>
                  </a:lnTo>
                  <a:lnTo>
                    <a:pt x="9" y="29"/>
                  </a:lnTo>
                  <a:lnTo>
                    <a:pt x="12" y="30"/>
                  </a:lnTo>
                  <a:lnTo>
                    <a:pt x="15" y="30"/>
                  </a:lnTo>
                  <a:lnTo>
                    <a:pt x="105" y="30"/>
                  </a:lnTo>
                  <a:lnTo>
                    <a:pt x="109" y="30"/>
                  </a:lnTo>
                  <a:lnTo>
                    <a:pt x="111" y="29"/>
                  </a:lnTo>
                  <a:lnTo>
                    <a:pt x="114" y="28"/>
                  </a:lnTo>
                  <a:lnTo>
                    <a:pt x="116" y="25"/>
                  </a:lnTo>
                  <a:lnTo>
                    <a:pt x="118" y="23"/>
                  </a:lnTo>
                  <a:lnTo>
                    <a:pt x="119" y="20"/>
                  </a:lnTo>
                  <a:lnTo>
                    <a:pt x="120" y="18"/>
                  </a:lnTo>
                  <a:lnTo>
                    <a:pt x="120" y="15"/>
                  </a:lnTo>
                  <a:lnTo>
                    <a:pt x="120" y="11"/>
                  </a:lnTo>
                  <a:lnTo>
                    <a:pt x="119" y="9"/>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65">
              <a:extLst>
                <a:ext uri="{FF2B5EF4-FFF2-40B4-BE49-F238E27FC236}">
                  <a16:creationId xmlns:a16="http://schemas.microsoft.com/office/drawing/2014/main" id="{1B4CDD14-43F1-4DAF-B097-799C0400055E}"/>
                </a:ext>
              </a:extLst>
            </p:cNvPr>
            <p:cNvSpPr>
              <a:spLocks noEditPoints="1"/>
            </p:cNvSpPr>
            <p:nvPr/>
          </p:nvSpPr>
          <p:spPr bwMode="auto">
            <a:xfrm>
              <a:off x="1595438" y="998538"/>
              <a:ext cx="114300" cy="28575"/>
            </a:xfrm>
            <a:custGeom>
              <a:avLst/>
              <a:gdLst>
                <a:gd name="T0" fmla="*/ 31 w 361"/>
                <a:gd name="T1" fmla="*/ 30 h 90"/>
                <a:gd name="T2" fmla="*/ 331 w 361"/>
                <a:gd name="T3" fmla="*/ 30 h 90"/>
                <a:gd name="T4" fmla="*/ 331 w 361"/>
                <a:gd name="T5" fmla="*/ 60 h 90"/>
                <a:gd name="T6" fmla="*/ 31 w 361"/>
                <a:gd name="T7" fmla="*/ 60 h 90"/>
                <a:gd name="T8" fmla="*/ 31 w 361"/>
                <a:gd name="T9" fmla="*/ 30 h 90"/>
                <a:gd name="T10" fmla="*/ 0 w 361"/>
                <a:gd name="T11" fmla="*/ 90 h 90"/>
                <a:gd name="T12" fmla="*/ 361 w 361"/>
                <a:gd name="T13" fmla="*/ 90 h 90"/>
                <a:gd name="T14" fmla="*/ 361 w 361"/>
                <a:gd name="T15" fmla="*/ 0 h 90"/>
                <a:gd name="T16" fmla="*/ 0 w 361"/>
                <a:gd name="T17" fmla="*/ 0 h 90"/>
                <a:gd name="T18" fmla="*/ 0 w 361"/>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90">
                  <a:moveTo>
                    <a:pt x="31" y="30"/>
                  </a:moveTo>
                  <a:lnTo>
                    <a:pt x="331" y="30"/>
                  </a:lnTo>
                  <a:lnTo>
                    <a:pt x="331" y="60"/>
                  </a:lnTo>
                  <a:lnTo>
                    <a:pt x="31" y="60"/>
                  </a:lnTo>
                  <a:lnTo>
                    <a:pt x="31" y="30"/>
                  </a:lnTo>
                  <a:close/>
                  <a:moveTo>
                    <a:pt x="0" y="90"/>
                  </a:moveTo>
                  <a:lnTo>
                    <a:pt x="361" y="90"/>
                  </a:lnTo>
                  <a:lnTo>
                    <a:pt x="361" y="0"/>
                  </a:lnTo>
                  <a:lnTo>
                    <a:pt x="0" y="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66">
              <a:extLst>
                <a:ext uri="{FF2B5EF4-FFF2-40B4-BE49-F238E27FC236}">
                  <a16:creationId xmlns:a16="http://schemas.microsoft.com/office/drawing/2014/main" id="{9B620BC0-E8F9-47C3-A96E-266FD5C2334A}"/>
                </a:ext>
              </a:extLst>
            </p:cNvPr>
            <p:cNvSpPr>
              <a:spLocks noEditPoints="1"/>
            </p:cNvSpPr>
            <p:nvPr/>
          </p:nvSpPr>
          <p:spPr bwMode="auto">
            <a:xfrm>
              <a:off x="1450975" y="979488"/>
              <a:ext cx="287338" cy="95250"/>
            </a:xfrm>
            <a:custGeom>
              <a:avLst/>
              <a:gdLst>
                <a:gd name="T0" fmla="*/ 31 w 904"/>
                <a:gd name="T1" fmla="*/ 270 h 300"/>
                <a:gd name="T2" fmla="*/ 31 w 904"/>
                <a:gd name="T3" fmla="*/ 65 h 300"/>
                <a:gd name="T4" fmla="*/ 39 w 904"/>
                <a:gd name="T5" fmla="*/ 49 h 300"/>
                <a:gd name="T6" fmla="*/ 51 w 904"/>
                <a:gd name="T7" fmla="*/ 37 h 300"/>
                <a:gd name="T8" fmla="*/ 67 w 904"/>
                <a:gd name="T9" fmla="*/ 31 h 300"/>
                <a:gd name="T10" fmla="*/ 828 w 904"/>
                <a:gd name="T11" fmla="*/ 30 h 300"/>
                <a:gd name="T12" fmla="*/ 846 w 904"/>
                <a:gd name="T13" fmla="*/ 33 h 300"/>
                <a:gd name="T14" fmla="*/ 860 w 904"/>
                <a:gd name="T15" fmla="*/ 42 h 300"/>
                <a:gd name="T16" fmla="*/ 870 w 904"/>
                <a:gd name="T17" fmla="*/ 56 h 300"/>
                <a:gd name="T18" fmla="*/ 873 w 904"/>
                <a:gd name="T19" fmla="*/ 75 h 300"/>
                <a:gd name="T20" fmla="*/ 828 w 904"/>
                <a:gd name="T21" fmla="*/ 0 h 300"/>
                <a:gd name="T22" fmla="*/ 68 w 904"/>
                <a:gd name="T23" fmla="*/ 0 h 300"/>
                <a:gd name="T24" fmla="*/ 54 w 904"/>
                <a:gd name="T25" fmla="*/ 3 h 300"/>
                <a:gd name="T26" fmla="*/ 40 w 904"/>
                <a:gd name="T27" fmla="*/ 8 h 300"/>
                <a:gd name="T28" fmla="*/ 28 w 904"/>
                <a:gd name="T29" fmla="*/ 17 h 300"/>
                <a:gd name="T30" fmla="*/ 17 w 904"/>
                <a:gd name="T31" fmla="*/ 26 h 300"/>
                <a:gd name="T32" fmla="*/ 10 w 904"/>
                <a:gd name="T33" fmla="*/ 38 h 300"/>
                <a:gd name="T34" fmla="*/ 4 w 904"/>
                <a:gd name="T35" fmla="*/ 52 h 300"/>
                <a:gd name="T36" fmla="*/ 1 w 904"/>
                <a:gd name="T37" fmla="*/ 67 h 300"/>
                <a:gd name="T38" fmla="*/ 0 w 904"/>
                <a:gd name="T39" fmla="*/ 285 h 300"/>
                <a:gd name="T40" fmla="*/ 2 w 904"/>
                <a:gd name="T41" fmla="*/ 291 h 300"/>
                <a:gd name="T42" fmla="*/ 6 w 904"/>
                <a:gd name="T43" fmla="*/ 296 h 300"/>
                <a:gd name="T44" fmla="*/ 10 w 904"/>
                <a:gd name="T45" fmla="*/ 299 h 300"/>
                <a:gd name="T46" fmla="*/ 15 w 904"/>
                <a:gd name="T47" fmla="*/ 300 h 300"/>
                <a:gd name="T48" fmla="*/ 891 w 904"/>
                <a:gd name="T49" fmla="*/ 300 h 300"/>
                <a:gd name="T50" fmla="*/ 897 w 904"/>
                <a:gd name="T51" fmla="*/ 298 h 300"/>
                <a:gd name="T52" fmla="*/ 901 w 904"/>
                <a:gd name="T53" fmla="*/ 293 h 300"/>
                <a:gd name="T54" fmla="*/ 903 w 904"/>
                <a:gd name="T55" fmla="*/ 288 h 300"/>
                <a:gd name="T56" fmla="*/ 904 w 904"/>
                <a:gd name="T57" fmla="*/ 75 h 300"/>
                <a:gd name="T58" fmla="*/ 902 w 904"/>
                <a:gd name="T59" fmla="*/ 60 h 300"/>
                <a:gd name="T60" fmla="*/ 898 w 904"/>
                <a:gd name="T61" fmla="*/ 45 h 300"/>
                <a:gd name="T62" fmla="*/ 891 w 904"/>
                <a:gd name="T63" fmla="*/ 33 h 300"/>
                <a:gd name="T64" fmla="*/ 882 w 904"/>
                <a:gd name="T65" fmla="*/ 21 h 300"/>
                <a:gd name="T66" fmla="*/ 871 w 904"/>
                <a:gd name="T67" fmla="*/ 12 h 300"/>
                <a:gd name="T68" fmla="*/ 858 w 904"/>
                <a:gd name="T69" fmla="*/ 5 h 300"/>
                <a:gd name="T70" fmla="*/ 843 w 904"/>
                <a:gd name="T71" fmla="*/ 1 h 300"/>
                <a:gd name="T72" fmla="*/ 828 w 904"/>
                <a:gd name="T73"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300">
                  <a:moveTo>
                    <a:pt x="873" y="270"/>
                  </a:moveTo>
                  <a:lnTo>
                    <a:pt x="31" y="270"/>
                  </a:lnTo>
                  <a:lnTo>
                    <a:pt x="31" y="75"/>
                  </a:lnTo>
                  <a:lnTo>
                    <a:pt x="31" y="65"/>
                  </a:lnTo>
                  <a:lnTo>
                    <a:pt x="35" y="56"/>
                  </a:lnTo>
                  <a:lnTo>
                    <a:pt x="39" y="49"/>
                  </a:lnTo>
                  <a:lnTo>
                    <a:pt x="44" y="42"/>
                  </a:lnTo>
                  <a:lnTo>
                    <a:pt x="51" y="37"/>
                  </a:lnTo>
                  <a:lnTo>
                    <a:pt x="58" y="33"/>
                  </a:lnTo>
                  <a:lnTo>
                    <a:pt x="67" y="31"/>
                  </a:lnTo>
                  <a:lnTo>
                    <a:pt x="76" y="30"/>
                  </a:lnTo>
                  <a:lnTo>
                    <a:pt x="828" y="30"/>
                  </a:lnTo>
                  <a:lnTo>
                    <a:pt x="838" y="31"/>
                  </a:lnTo>
                  <a:lnTo>
                    <a:pt x="846" y="33"/>
                  </a:lnTo>
                  <a:lnTo>
                    <a:pt x="854" y="37"/>
                  </a:lnTo>
                  <a:lnTo>
                    <a:pt x="860" y="42"/>
                  </a:lnTo>
                  <a:lnTo>
                    <a:pt x="866" y="49"/>
                  </a:lnTo>
                  <a:lnTo>
                    <a:pt x="870" y="56"/>
                  </a:lnTo>
                  <a:lnTo>
                    <a:pt x="873" y="65"/>
                  </a:lnTo>
                  <a:lnTo>
                    <a:pt x="873" y="75"/>
                  </a:lnTo>
                  <a:lnTo>
                    <a:pt x="873" y="270"/>
                  </a:lnTo>
                  <a:close/>
                  <a:moveTo>
                    <a:pt x="828" y="0"/>
                  </a:moveTo>
                  <a:lnTo>
                    <a:pt x="76" y="0"/>
                  </a:lnTo>
                  <a:lnTo>
                    <a:pt x="68" y="0"/>
                  </a:lnTo>
                  <a:lnTo>
                    <a:pt x="60" y="1"/>
                  </a:lnTo>
                  <a:lnTo>
                    <a:pt x="54" y="3"/>
                  </a:lnTo>
                  <a:lnTo>
                    <a:pt x="46" y="5"/>
                  </a:lnTo>
                  <a:lnTo>
                    <a:pt x="40" y="8"/>
                  </a:lnTo>
                  <a:lnTo>
                    <a:pt x="33" y="12"/>
                  </a:lnTo>
                  <a:lnTo>
                    <a:pt x="28" y="17"/>
                  </a:lnTo>
                  <a:lnTo>
                    <a:pt x="23" y="21"/>
                  </a:lnTo>
                  <a:lnTo>
                    <a:pt x="17" y="26"/>
                  </a:lnTo>
                  <a:lnTo>
                    <a:pt x="13" y="33"/>
                  </a:lnTo>
                  <a:lnTo>
                    <a:pt x="10" y="38"/>
                  </a:lnTo>
                  <a:lnTo>
                    <a:pt x="7" y="45"/>
                  </a:lnTo>
                  <a:lnTo>
                    <a:pt x="4" y="52"/>
                  </a:lnTo>
                  <a:lnTo>
                    <a:pt x="2" y="60"/>
                  </a:lnTo>
                  <a:lnTo>
                    <a:pt x="1" y="67"/>
                  </a:lnTo>
                  <a:lnTo>
                    <a:pt x="0" y="75"/>
                  </a:lnTo>
                  <a:lnTo>
                    <a:pt x="0" y="285"/>
                  </a:lnTo>
                  <a:lnTo>
                    <a:pt x="1" y="288"/>
                  </a:lnTo>
                  <a:lnTo>
                    <a:pt x="2" y="291"/>
                  </a:lnTo>
                  <a:lnTo>
                    <a:pt x="3" y="293"/>
                  </a:lnTo>
                  <a:lnTo>
                    <a:pt x="6" y="296"/>
                  </a:lnTo>
                  <a:lnTo>
                    <a:pt x="8" y="298"/>
                  </a:lnTo>
                  <a:lnTo>
                    <a:pt x="10" y="299"/>
                  </a:lnTo>
                  <a:lnTo>
                    <a:pt x="13" y="300"/>
                  </a:lnTo>
                  <a:lnTo>
                    <a:pt x="15" y="300"/>
                  </a:lnTo>
                  <a:lnTo>
                    <a:pt x="888" y="300"/>
                  </a:lnTo>
                  <a:lnTo>
                    <a:pt x="891" y="300"/>
                  </a:lnTo>
                  <a:lnTo>
                    <a:pt x="895" y="299"/>
                  </a:lnTo>
                  <a:lnTo>
                    <a:pt x="897" y="298"/>
                  </a:lnTo>
                  <a:lnTo>
                    <a:pt x="899" y="296"/>
                  </a:lnTo>
                  <a:lnTo>
                    <a:pt x="901" y="293"/>
                  </a:lnTo>
                  <a:lnTo>
                    <a:pt x="902" y="291"/>
                  </a:lnTo>
                  <a:lnTo>
                    <a:pt x="903" y="288"/>
                  </a:lnTo>
                  <a:lnTo>
                    <a:pt x="904" y="285"/>
                  </a:lnTo>
                  <a:lnTo>
                    <a:pt x="904" y="75"/>
                  </a:lnTo>
                  <a:lnTo>
                    <a:pt x="903" y="67"/>
                  </a:lnTo>
                  <a:lnTo>
                    <a:pt x="902" y="60"/>
                  </a:lnTo>
                  <a:lnTo>
                    <a:pt x="900" y="52"/>
                  </a:lnTo>
                  <a:lnTo>
                    <a:pt x="898" y="45"/>
                  </a:lnTo>
                  <a:lnTo>
                    <a:pt x="895" y="38"/>
                  </a:lnTo>
                  <a:lnTo>
                    <a:pt x="891" y="33"/>
                  </a:lnTo>
                  <a:lnTo>
                    <a:pt x="886" y="26"/>
                  </a:lnTo>
                  <a:lnTo>
                    <a:pt x="882" y="21"/>
                  </a:lnTo>
                  <a:lnTo>
                    <a:pt x="876" y="17"/>
                  </a:lnTo>
                  <a:lnTo>
                    <a:pt x="871" y="12"/>
                  </a:lnTo>
                  <a:lnTo>
                    <a:pt x="865" y="8"/>
                  </a:lnTo>
                  <a:lnTo>
                    <a:pt x="858" y="5"/>
                  </a:lnTo>
                  <a:lnTo>
                    <a:pt x="851" y="3"/>
                  </a:lnTo>
                  <a:lnTo>
                    <a:pt x="843" y="1"/>
                  </a:lnTo>
                  <a:lnTo>
                    <a:pt x="837"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67">
              <a:extLst>
                <a:ext uri="{FF2B5EF4-FFF2-40B4-BE49-F238E27FC236}">
                  <a16:creationId xmlns:a16="http://schemas.microsoft.com/office/drawing/2014/main" id="{D94EA380-DF12-4A29-BCE0-78D3D9AFB360}"/>
                </a:ext>
              </a:extLst>
            </p:cNvPr>
            <p:cNvSpPr>
              <a:spLocks noEditPoints="1"/>
            </p:cNvSpPr>
            <p:nvPr/>
          </p:nvSpPr>
          <p:spPr bwMode="auto">
            <a:xfrm>
              <a:off x="1460500" y="787400"/>
              <a:ext cx="268288" cy="180975"/>
            </a:xfrm>
            <a:custGeom>
              <a:avLst/>
              <a:gdLst>
                <a:gd name="T0" fmla="*/ 31 w 843"/>
                <a:gd name="T1" fmla="*/ 66 h 572"/>
                <a:gd name="T2" fmla="*/ 39 w 843"/>
                <a:gd name="T3" fmla="*/ 50 h 572"/>
                <a:gd name="T4" fmla="*/ 51 w 843"/>
                <a:gd name="T5" fmla="*/ 37 h 572"/>
                <a:gd name="T6" fmla="*/ 67 w 843"/>
                <a:gd name="T7" fmla="*/ 31 h 572"/>
                <a:gd name="T8" fmla="*/ 768 w 843"/>
                <a:gd name="T9" fmla="*/ 30 h 572"/>
                <a:gd name="T10" fmla="*/ 786 w 843"/>
                <a:gd name="T11" fmla="*/ 34 h 572"/>
                <a:gd name="T12" fmla="*/ 800 w 843"/>
                <a:gd name="T13" fmla="*/ 44 h 572"/>
                <a:gd name="T14" fmla="*/ 810 w 843"/>
                <a:gd name="T15" fmla="*/ 58 h 572"/>
                <a:gd name="T16" fmla="*/ 813 w 843"/>
                <a:gd name="T17" fmla="*/ 75 h 572"/>
                <a:gd name="T18" fmla="*/ 813 w 843"/>
                <a:gd name="T19" fmla="*/ 506 h 572"/>
                <a:gd name="T20" fmla="*/ 806 w 843"/>
                <a:gd name="T21" fmla="*/ 522 h 572"/>
                <a:gd name="T22" fmla="*/ 794 w 843"/>
                <a:gd name="T23" fmla="*/ 534 h 572"/>
                <a:gd name="T24" fmla="*/ 778 w 843"/>
                <a:gd name="T25" fmla="*/ 541 h 572"/>
                <a:gd name="T26" fmla="*/ 76 w 843"/>
                <a:gd name="T27" fmla="*/ 541 h 572"/>
                <a:gd name="T28" fmla="*/ 58 w 843"/>
                <a:gd name="T29" fmla="*/ 538 h 572"/>
                <a:gd name="T30" fmla="*/ 44 w 843"/>
                <a:gd name="T31" fmla="*/ 528 h 572"/>
                <a:gd name="T32" fmla="*/ 35 w 843"/>
                <a:gd name="T33" fmla="*/ 515 h 572"/>
                <a:gd name="T34" fmla="*/ 31 w 843"/>
                <a:gd name="T35" fmla="*/ 496 h 572"/>
                <a:gd name="T36" fmla="*/ 76 w 843"/>
                <a:gd name="T37" fmla="*/ 571 h 572"/>
                <a:gd name="T38" fmla="*/ 776 w 843"/>
                <a:gd name="T39" fmla="*/ 571 h 572"/>
                <a:gd name="T40" fmla="*/ 791 w 843"/>
                <a:gd name="T41" fmla="*/ 568 h 572"/>
                <a:gd name="T42" fmla="*/ 805 w 843"/>
                <a:gd name="T43" fmla="*/ 563 h 572"/>
                <a:gd name="T44" fmla="*/ 816 w 843"/>
                <a:gd name="T45" fmla="*/ 554 h 572"/>
                <a:gd name="T46" fmla="*/ 826 w 843"/>
                <a:gd name="T47" fmla="*/ 545 h 572"/>
                <a:gd name="T48" fmla="*/ 835 w 843"/>
                <a:gd name="T49" fmla="*/ 533 h 572"/>
                <a:gd name="T50" fmla="*/ 840 w 843"/>
                <a:gd name="T51" fmla="*/ 519 h 572"/>
                <a:gd name="T52" fmla="*/ 843 w 843"/>
                <a:gd name="T53" fmla="*/ 505 h 572"/>
                <a:gd name="T54" fmla="*/ 843 w 843"/>
                <a:gd name="T55" fmla="*/ 75 h 572"/>
                <a:gd name="T56" fmla="*/ 842 w 843"/>
                <a:gd name="T57" fmla="*/ 60 h 572"/>
                <a:gd name="T58" fmla="*/ 838 w 843"/>
                <a:gd name="T59" fmla="*/ 46 h 572"/>
                <a:gd name="T60" fmla="*/ 830 w 843"/>
                <a:gd name="T61" fmla="*/ 33 h 572"/>
                <a:gd name="T62" fmla="*/ 822 w 843"/>
                <a:gd name="T63" fmla="*/ 22 h 572"/>
                <a:gd name="T64" fmla="*/ 811 w 843"/>
                <a:gd name="T65" fmla="*/ 13 h 572"/>
                <a:gd name="T66" fmla="*/ 798 w 843"/>
                <a:gd name="T67" fmla="*/ 6 h 572"/>
                <a:gd name="T68" fmla="*/ 783 w 843"/>
                <a:gd name="T69" fmla="*/ 2 h 572"/>
                <a:gd name="T70" fmla="*/ 768 w 843"/>
                <a:gd name="T71" fmla="*/ 0 h 572"/>
                <a:gd name="T72" fmla="*/ 68 w 843"/>
                <a:gd name="T73" fmla="*/ 1 h 572"/>
                <a:gd name="T74" fmla="*/ 54 w 843"/>
                <a:gd name="T75" fmla="*/ 3 h 572"/>
                <a:gd name="T76" fmla="*/ 40 w 843"/>
                <a:gd name="T77" fmla="*/ 9 h 572"/>
                <a:gd name="T78" fmla="*/ 28 w 843"/>
                <a:gd name="T79" fmla="*/ 17 h 572"/>
                <a:gd name="T80" fmla="*/ 18 w 843"/>
                <a:gd name="T81" fmla="*/ 28 h 572"/>
                <a:gd name="T82" fmla="*/ 10 w 843"/>
                <a:gd name="T83" fmla="*/ 39 h 572"/>
                <a:gd name="T84" fmla="*/ 5 w 843"/>
                <a:gd name="T85" fmla="*/ 53 h 572"/>
                <a:gd name="T86" fmla="*/ 1 w 843"/>
                <a:gd name="T87" fmla="*/ 67 h 572"/>
                <a:gd name="T88" fmla="*/ 1 w 843"/>
                <a:gd name="T89" fmla="*/ 496 h 572"/>
                <a:gd name="T90" fmla="*/ 2 w 843"/>
                <a:gd name="T91" fmla="*/ 511 h 572"/>
                <a:gd name="T92" fmla="*/ 7 w 843"/>
                <a:gd name="T93" fmla="*/ 526 h 572"/>
                <a:gd name="T94" fmla="*/ 13 w 843"/>
                <a:gd name="T95" fmla="*/ 538 h 572"/>
                <a:gd name="T96" fmla="*/ 23 w 843"/>
                <a:gd name="T97" fmla="*/ 550 h 572"/>
                <a:gd name="T98" fmla="*/ 33 w 843"/>
                <a:gd name="T99" fmla="*/ 559 h 572"/>
                <a:gd name="T100" fmla="*/ 46 w 843"/>
                <a:gd name="T101" fmla="*/ 566 h 572"/>
                <a:gd name="T102" fmla="*/ 61 w 843"/>
                <a:gd name="T103" fmla="*/ 570 h 572"/>
                <a:gd name="T104" fmla="*/ 76 w 843"/>
                <a:gd name="T105" fmla="*/ 57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 h="572">
                  <a:moveTo>
                    <a:pt x="31" y="75"/>
                  </a:moveTo>
                  <a:lnTo>
                    <a:pt x="31" y="66"/>
                  </a:lnTo>
                  <a:lnTo>
                    <a:pt x="35" y="58"/>
                  </a:lnTo>
                  <a:lnTo>
                    <a:pt x="39" y="50"/>
                  </a:lnTo>
                  <a:lnTo>
                    <a:pt x="44" y="44"/>
                  </a:lnTo>
                  <a:lnTo>
                    <a:pt x="51" y="37"/>
                  </a:lnTo>
                  <a:lnTo>
                    <a:pt x="58" y="34"/>
                  </a:lnTo>
                  <a:lnTo>
                    <a:pt x="67" y="31"/>
                  </a:lnTo>
                  <a:lnTo>
                    <a:pt x="76" y="30"/>
                  </a:lnTo>
                  <a:lnTo>
                    <a:pt x="768" y="30"/>
                  </a:lnTo>
                  <a:lnTo>
                    <a:pt x="778" y="31"/>
                  </a:lnTo>
                  <a:lnTo>
                    <a:pt x="786" y="34"/>
                  </a:lnTo>
                  <a:lnTo>
                    <a:pt x="794" y="37"/>
                  </a:lnTo>
                  <a:lnTo>
                    <a:pt x="800" y="44"/>
                  </a:lnTo>
                  <a:lnTo>
                    <a:pt x="806" y="50"/>
                  </a:lnTo>
                  <a:lnTo>
                    <a:pt x="810" y="58"/>
                  </a:lnTo>
                  <a:lnTo>
                    <a:pt x="813" y="66"/>
                  </a:lnTo>
                  <a:lnTo>
                    <a:pt x="813" y="75"/>
                  </a:lnTo>
                  <a:lnTo>
                    <a:pt x="813" y="496"/>
                  </a:lnTo>
                  <a:lnTo>
                    <a:pt x="813" y="506"/>
                  </a:lnTo>
                  <a:lnTo>
                    <a:pt x="810" y="515"/>
                  </a:lnTo>
                  <a:lnTo>
                    <a:pt x="806" y="522"/>
                  </a:lnTo>
                  <a:lnTo>
                    <a:pt x="800" y="528"/>
                  </a:lnTo>
                  <a:lnTo>
                    <a:pt x="794" y="534"/>
                  </a:lnTo>
                  <a:lnTo>
                    <a:pt x="786" y="538"/>
                  </a:lnTo>
                  <a:lnTo>
                    <a:pt x="778" y="541"/>
                  </a:lnTo>
                  <a:lnTo>
                    <a:pt x="768" y="541"/>
                  </a:lnTo>
                  <a:lnTo>
                    <a:pt x="76" y="541"/>
                  </a:lnTo>
                  <a:lnTo>
                    <a:pt x="67" y="541"/>
                  </a:lnTo>
                  <a:lnTo>
                    <a:pt x="58" y="538"/>
                  </a:lnTo>
                  <a:lnTo>
                    <a:pt x="51" y="534"/>
                  </a:lnTo>
                  <a:lnTo>
                    <a:pt x="44" y="528"/>
                  </a:lnTo>
                  <a:lnTo>
                    <a:pt x="39" y="522"/>
                  </a:lnTo>
                  <a:lnTo>
                    <a:pt x="35" y="515"/>
                  </a:lnTo>
                  <a:lnTo>
                    <a:pt x="31" y="506"/>
                  </a:lnTo>
                  <a:lnTo>
                    <a:pt x="31" y="496"/>
                  </a:lnTo>
                  <a:lnTo>
                    <a:pt x="31" y="75"/>
                  </a:lnTo>
                  <a:close/>
                  <a:moveTo>
                    <a:pt x="76" y="571"/>
                  </a:moveTo>
                  <a:lnTo>
                    <a:pt x="768" y="571"/>
                  </a:lnTo>
                  <a:lnTo>
                    <a:pt x="776" y="571"/>
                  </a:lnTo>
                  <a:lnTo>
                    <a:pt x="783" y="570"/>
                  </a:lnTo>
                  <a:lnTo>
                    <a:pt x="791" y="568"/>
                  </a:lnTo>
                  <a:lnTo>
                    <a:pt x="798" y="566"/>
                  </a:lnTo>
                  <a:lnTo>
                    <a:pt x="805" y="563"/>
                  </a:lnTo>
                  <a:lnTo>
                    <a:pt x="811" y="559"/>
                  </a:lnTo>
                  <a:lnTo>
                    <a:pt x="816" y="554"/>
                  </a:lnTo>
                  <a:lnTo>
                    <a:pt x="822" y="550"/>
                  </a:lnTo>
                  <a:lnTo>
                    <a:pt x="826" y="545"/>
                  </a:lnTo>
                  <a:lnTo>
                    <a:pt x="830" y="539"/>
                  </a:lnTo>
                  <a:lnTo>
                    <a:pt x="835" y="533"/>
                  </a:lnTo>
                  <a:lnTo>
                    <a:pt x="838" y="526"/>
                  </a:lnTo>
                  <a:lnTo>
                    <a:pt x="840" y="519"/>
                  </a:lnTo>
                  <a:lnTo>
                    <a:pt x="842" y="511"/>
                  </a:lnTo>
                  <a:lnTo>
                    <a:pt x="843" y="505"/>
                  </a:lnTo>
                  <a:lnTo>
                    <a:pt x="843" y="496"/>
                  </a:lnTo>
                  <a:lnTo>
                    <a:pt x="843" y="75"/>
                  </a:lnTo>
                  <a:lnTo>
                    <a:pt x="843" y="67"/>
                  </a:lnTo>
                  <a:lnTo>
                    <a:pt x="842" y="60"/>
                  </a:lnTo>
                  <a:lnTo>
                    <a:pt x="840" y="53"/>
                  </a:lnTo>
                  <a:lnTo>
                    <a:pt x="838" y="46"/>
                  </a:lnTo>
                  <a:lnTo>
                    <a:pt x="835" y="39"/>
                  </a:lnTo>
                  <a:lnTo>
                    <a:pt x="830" y="33"/>
                  </a:lnTo>
                  <a:lnTo>
                    <a:pt x="826" y="28"/>
                  </a:lnTo>
                  <a:lnTo>
                    <a:pt x="822" y="22"/>
                  </a:lnTo>
                  <a:lnTo>
                    <a:pt x="816" y="17"/>
                  </a:lnTo>
                  <a:lnTo>
                    <a:pt x="811" y="13"/>
                  </a:lnTo>
                  <a:lnTo>
                    <a:pt x="805" y="9"/>
                  </a:lnTo>
                  <a:lnTo>
                    <a:pt x="798" y="6"/>
                  </a:lnTo>
                  <a:lnTo>
                    <a:pt x="791" y="3"/>
                  </a:lnTo>
                  <a:lnTo>
                    <a:pt x="783" y="2"/>
                  </a:lnTo>
                  <a:lnTo>
                    <a:pt x="776" y="1"/>
                  </a:lnTo>
                  <a:lnTo>
                    <a:pt x="768" y="0"/>
                  </a:lnTo>
                  <a:lnTo>
                    <a:pt x="76" y="0"/>
                  </a:lnTo>
                  <a:lnTo>
                    <a:pt x="68" y="1"/>
                  </a:lnTo>
                  <a:lnTo>
                    <a:pt x="61" y="2"/>
                  </a:lnTo>
                  <a:lnTo>
                    <a:pt x="54" y="3"/>
                  </a:lnTo>
                  <a:lnTo>
                    <a:pt x="46" y="6"/>
                  </a:lnTo>
                  <a:lnTo>
                    <a:pt x="40" y="9"/>
                  </a:lnTo>
                  <a:lnTo>
                    <a:pt x="33" y="13"/>
                  </a:lnTo>
                  <a:lnTo>
                    <a:pt x="28" y="17"/>
                  </a:lnTo>
                  <a:lnTo>
                    <a:pt x="23" y="22"/>
                  </a:lnTo>
                  <a:lnTo>
                    <a:pt x="18" y="28"/>
                  </a:lnTo>
                  <a:lnTo>
                    <a:pt x="13" y="33"/>
                  </a:lnTo>
                  <a:lnTo>
                    <a:pt x="10" y="39"/>
                  </a:lnTo>
                  <a:lnTo>
                    <a:pt x="7" y="46"/>
                  </a:lnTo>
                  <a:lnTo>
                    <a:pt x="5" y="53"/>
                  </a:lnTo>
                  <a:lnTo>
                    <a:pt x="2" y="60"/>
                  </a:lnTo>
                  <a:lnTo>
                    <a:pt x="1" y="67"/>
                  </a:lnTo>
                  <a:lnTo>
                    <a:pt x="0" y="75"/>
                  </a:lnTo>
                  <a:lnTo>
                    <a:pt x="1" y="496"/>
                  </a:lnTo>
                  <a:lnTo>
                    <a:pt x="1" y="504"/>
                  </a:lnTo>
                  <a:lnTo>
                    <a:pt x="2" y="511"/>
                  </a:lnTo>
                  <a:lnTo>
                    <a:pt x="5" y="519"/>
                  </a:lnTo>
                  <a:lnTo>
                    <a:pt x="7" y="526"/>
                  </a:lnTo>
                  <a:lnTo>
                    <a:pt x="10" y="533"/>
                  </a:lnTo>
                  <a:lnTo>
                    <a:pt x="13" y="538"/>
                  </a:lnTo>
                  <a:lnTo>
                    <a:pt x="18" y="545"/>
                  </a:lnTo>
                  <a:lnTo>
                    <a:pt x="23" y="550"/>
                  </a:lnTo>
                  <a:lnTo>
                    <a:pt x="28" y="554"/>
                  </a:lnTo>
                  <a:lnTo>
                    <a:pt x="33" y="559"/>
                  </a:lnTo>
                  <a:lnTo>
                    <a:pt x="40" y="563"/>
                  </a:lnTo>
                  <a:lnTo>
                    <a:pt x="46" y="566"/>
                  </a:lnTo>
                  <a:lnTo>
                    <a:pt x="54" y="568"/>
                  </a:lnTo>
                  <a:lnTo>
                    <a:pt x="61" y="570"/>
                  </a:lnTo>
                  <a:lnTo>
                    <a:pt x="68" y="571"/>
                  </a:lnTo>
                  <a:lnTo>
                    <a:pt x="76" y="572"/>
                  </a:lnTo>
                  <a:lnTo>
                    <a:pt x="76"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4" name="Group 41">
            <a:extLst>
              <a:ext uri="{FF2B5EF4-FFF2-40B4-BE49-F238E27FC236}">
                <a16:creationId xmlns:a16="http://schemas.microsoft.com/office/drawing/2014/main" id="{A861BF19-CA58-4AB6-A8D5-713ECD901EAC}"/>
              </a:ext>
            </a:extLst>
          </p:cNvPr>
          <p:cNvGrpSpPr>
            <a:grpSpLocks noChangeAspect="1"/>
          </p:cNvGrpSpPr>
          <p:nvPr/>
        </p:nvGrpSpPr>
        <p:grpSpPr>
          <a:xfrm>
            <a:off x="3168165" y="5437177"/>
            <a:ext cx="305900" cy="246420"/>
            <a:chOff x="2025650" y="844550"/>
            <a:chExt cx="285750" cy="230188"/>
          </a:xfrm>
          <a:solidFill>
            <a:schemeClr val="bg2"/>
          </a:solidFill>
          <a:effectLst/>
        </p:grpSpPr>
        <p:sp>
          <p:nvSpPr>
            <p:cNvPr id="1325" name="Freeform 68">
              <a:extLst>
                <a:ext uri="{FF2B5EF4-FFF2-40B4-BE49-F238E27FC236}">
                  <a16:creationId xmlns:a16="http://schemas.microsoft.com/office/drawing/2014/main" id="{2A3B58A0-0C37-4F91-89B9-1628573496AD}"/>
                </a:ext>
              </a:extLst>
            </p:cNvPr>
            <p:cNvSpPr>
              <a:spLocks noEditPoints="1"/>
            </p:cNvSpPr>
            <p:nvPr/>
          </p:nvSpPr>
          <p:spPr bwMode="auto">
            <a:xfrm>
              <a:off x="2025650" y="844550"/>
              <a:ext cx="285750" cy="230188"/>
            </a:xfrm>
            <a:custGeom>
              <a:avLst/>
              <a:gdLst>
                <a:gd name="T0" fmla="*/ 872 w 903"/>
                <a:gd name="T1" fmla="*/ 532 h 722"/>
                <a:gd name="T2" fmla="*/ 866 w 903"/>
                <a:gd name="T3" fmla="*/ 538 h 722"/>
                <a:gd name="T4" fmla="*/ 858 w 903"/>
                <a:gd name="T5" fmla="*/ 542 h 722"/>
                <a:gd name="T6" fmla="*/ 39 w 903"/>
                <a:gd name="T7" fmla="*/ 541 h 722"/>
                <a:gd name="T8" fmla="*/ 33 w 903"/>
                <a:gd name="T9" fmla="*/ 535 h 722"/>
                <a:gd name="T10" fmla="*/ 30 w 903"/>
                <a:gd name="T11" fmla="*/ 527 h 722"/>
                <a:gd name="T12" fmla="*/ 31 w 903"/>
                <a:gd name="T13" fmla="*/ 39 h 722"/>
                <a:gd name="T14" fmla="*/ 37 w 903"/>
                <a:gd name="T15" fmla="*/ 32 h 722"/>
                <a:gd name="T16" fmla="*/ 45 w 903"/>
                <a:gd name="T17" fmla="*/ 30 h 722"/>
                <a:gd name="T18" fmla="*/ 864 w 903"/>
                <a:gd name="T19" fmla="*/ 31 h 722"/>
                <a:gd name="T20" fmla="*/ 870 w 903"/>
                <a:gd name="T21" fmla="*/ 36 h 722"/>
                <a:gd name="T22" fmla="*/ 873 w 903"/>
                <a:gd name="T23" fmla="*/ 45 h 722"/>
                <a:gd name="T24" fmla="*/ 467 w 903"/>
                <a:gd name="T25" fmla="*/ 632 h 722"/>
                <a:gd name="T26" fmla="*/ 422 w 903"/>
                <a:gd name="T27" fmla="*/ 633 h 722"/>
                <a:gd name="T28" fmla="*/ 482 w 903"/>
                <a:gd name="T29" fmla="*/ 633 h 722"/>
                <a:gd name="T30" fmla="*/ 36 w 903"/>
                <a:gd name="T31" fmla="*/ 0 h 722"/>
                <a:gd name="T32" fmla="*/ 13 w 903"/>
                <a:gd name="T33" fmla="*/ 13 h 722"/>
                <a:gd name="T34" fmla="*/ 0 w 903"/>
                <a:gd name="T35" fmla="*/ 35 h 722"/>
                <a:gd name="T36" fmla="*/ 0 w 903"/>
                <a:gd name="T37" fmla="*/ 535 h 722"/>
                <a:gd name="T38" fmla="*/ 13 w 903"/>
                <a:gd name="T39" fmla="*/ 559 h 722"/>
                <a:gd name="T40" fmla="*/ 36 w 903"/>
                <a:gd name="T41" fmla="*/ 571 h 722"/>
                <a:gd name="T42" fmla="*/ 392 w 903"/>
                <a:gd name="T43" fmla="*/ 634 h 722"/>
                <a:gd name="T44" fmla="*/ 296 w 903"/>
                <a:gd name="T45" fmla="*/ 648 h 722"/>
                <a:gd name="T46" fmla="*/ 211 w 903"/>
                <a:gd name="T47" fmla="*/ 671 h 722"/>
                <a:gd name="T48" fmla="*/ 156 w 903"/>
                <a:gd name="T49" fmla="*/ 695 h 722"/>
                <a:gd name="T50" fmla="*/ 150 w 903"/>
                <a:gd name="T51" fmla="*/ 703 h 722"/>
                <a:gd name="T52" fmla="*/ 150 w 903"/>
                <a:gd name="T53" fmla="*/ 711 h 722"/>
                <a:gd name="T54" fmla="*/ 155 w 903"/>
                <a:gd name="T55" fmla="*/ 719 h 722"/>
                <a:gd name="T56" fmla="*/ 163 w 903"/>
                <a:gd name="T57" fmla="*/ 722 h 722"/>
                <a:gd name="T58" fmla="*/ 172 w 903"/>
                <a:gd name="T59" fmla="*/ 721 h 722"/>
                <a:gd name="T60" fmla="*/ 217 w 903"/>
                <a:gd name="T61" fmla="*/ 701 h 722"/>
                <a:gd name="T62" fmla="*/ 301 w 903"/>
                <a:gd name="T63" fmla="*/ 677 h 722"/>
                <a:gd name="T64" fmla="*/ 412 w 903"/>
                <a:gd name="T65" fmla="*/ 663 h 722"/>
                <a:gd name="T66" fmla="*/ 528 w 903"/>
                <a:gd name="T67" fmla="*/ 666 h 722"/>
                <a:gd name="T68" fmla="*/ 636 w 903"/>
                <a:gd name="T69" fmla="*/ 685 h 722"/>
                <a:gd name="T70" fmla="*/ 702 w 903"/>
                <a:gd name="T71" fmla="*/ 707 h 722"/>
                <a:gd name="T72" fmla="*/ 735 w 903"/>
                <a:gd name="T73" fmla="*/ 722 h 722"/>
                <a:gd name="T74" fmla="*/ 746 w 903"/>
                <a:gd name="T75" fmla="*/ 720 h 722"/>
                <a:gd name="T76" fmla="*/ 752 w 903"/>
                <a:gd name="T77" fmla="*/ 711 h 722"/>
                <a:gd name="T78" fmla="*/ 752 w 903"/>
                <a:gd name="T79" fmla="*/ 703 h 722"/>
                <a:gd name="T80" fmla="*/ 747 w 903"/>
                <a:gd name="T81" fmla="*/ 695 h 722"/>
                <a:gd name="T82" fmla="*/ 693 w 903"/>
                <a:gd name="T83" fmla="*/ 671 h 722"/>
                <a:gd name="T84" fmla="*/ 606 w 903"/>
                <a:gd name="T85" fmla="*/ 648 h 722"/>
                <a:gd name="T86" fmla="*/ 512 w 903"/>
                <a:gd name="T87" fmla="*/ 634 h 722"/>
                <a:gd name="T88" fmla="*/ 867 w 903"/>
                <a:gd name="T89" fmla="*/ 571 h 722"/>
                <a:gd name="T90" fmla="*/ 889 w 903"/>
                <a:gd name="T91" fmla="*/ 559 h 722"/>
                <a:gd name="T92" fmla="*/ 902 w 903"/>
                <a:gd name="T93" fmla="*/ 535 h 722"/>
                <a:gd name="T94" fmla="*/ 902 w 903"/>
                <a:gd name="T95" fmla="*/ 35 h 722"/>
                <a:gd name="T96" fmla="*/ 889 w 903"/>
                <a:gd name="T97" fmla="*/ 13 h 722"/>
                <a:gd name="T98" fmla="*/ 867 w 903"/>
                <a:gd name="T99" fmla="*/ 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722">
                  <a:moveTo>
                    <a:pt x="873" y="527"/>
                  </a:moveTo>
                  <a:lnTo>
                    <a:pt x="872" y="530"/>
                  </a:lnTo>
                  <a:lnTo>
                    <a:pt x="872" y="532"/>
                  </a:lnTo>
                  <a:lnTo>
                    <a:pt x="870" y="535"/>
                  </a:lnTo>
                  <a:lnTo>
                    <a:pt x="869" y="537"/>
                  </a:lnTo>
                  <a:lnTo>
                    <a:pt x="866" y="538"/>
                  </a:lnTo>
                  <a:lnTo>
                    <a:pt x="864" y="541"/>
                  </a:lnTo>
                  <a:lnTo>
                    <a:pt x="860" y="542"/>
                  </a:lnTo>
                  <a:lnTo>
                    <a:pt x="858" y="542"/>
                  </a:lnTo>
                  <a:lnTo>
                    <a:pt x="45" y="542"/>
                  </a:lnTo>
                  <a:lnTo>
                    <a:pt x="42" y="541"/>
                  </a:lnTo>
                  <a:lnTo>
                    <a:pt x="39" y="541"/>
                  </a:lnTo>
                  <a:lnTo>
                    <a:pt x="37" y="538"/>
                  </a:lnTo>
                  <a:lnTo>
                    <a:pt x="35" y="537"/>
                  </a:lnTo>
                  <a:lnTo>
                    <a:pt x="33" y="535"/>
                  </a:lnTo>
                  <a:lnTo>
                    <a:pt x="31" y="532"/>
                  </a:lnTo>
                  <a:lnTo>
                    <a:pt x="30" y="530"/>
                  </a:lnTo>
                  <a:lnTo>
                    <a:pt x="30" y="527"/>
                  </a:lnTo>
                  <a:lnTo>
                    <a:pt x="30" y="45"/>
                  </a:lnTo>
                  <a:lnTo>
                    <a:pt x="30" y="42"/>
                  </a:lnTo>
                  <a:lnTo>
                    <a:pt x="31" y="39"/>
                  </a:lnTo>
                  <a:lnTo>
                    <a:pt x="33" y="36"/>
                  </a:lnTo>
                  <a:lnTo>
                    <a:pt x="35" y="34"/>
                  </a:lnTo>
                  <a:lnTo>
                    <a:pt x="37" y="32"/>
                  </a:lnTo>
                  <a:lnTo>
                    <a:pt x="39" y="31"/>
                  </a:lnTo>
                  <a:lnTo>
                    <a:pt x="42" y="30"/>
                  </a:lnTo>
                  <a:lnTo>
                    <a:pt x="45" y="30"/>
                  </a:lnTo>
                  <a:lnTo>
                    <a:pt x="858" y="30"/>
                  </a:lnTo>
                  <a:lnTo>
                    <a:pt x="860" y="30"/>
                  </a:lnTo>
                  <a:lnTo>
                    <a:pt x="864" y="31"/>
                  </a:lnTo>
                  <a:lnTo>
                    <a:pt x="866" y="32"/>
                  </a:lnTo>
                  <a:lnTo>
                    <a:pt x="869" y="34"/>
                  </a:lnTo>
                  <a:lnTo>
                    <a:pt x="870" y="36"/>
                  </a:lnTo>
                  <a:lnTo>
                    <a:pt x="872" y="39"/>
                  </a:lnTo>
                  <a:lnTo>
                    <a:pt x="872" y="42"/>
                  </a:lnTo>
                  <a:lnTo>
                    <a:pt x="873" y="45"/>
                  </a:lnTo>
                  <a:lnTo>
                    <a:pt x="873" y="527"/>
                  </a:lnTo>
                  <a:close/>
                  <a:moveTo>
                    <a:pt x="482" y="633"/>
                  </a:moveTo>
                  <a:lnTo>
                    <a:pt x="467" y="632"/>
                  </a:lnTo>
                  <a:lnTo>
                    <a:pt x="452" y="632"/>
                  </a:lnTo>
                  <a:lnTo>
                    <a:pt x="437" y="632"/>
                  </a:lnTo>
                  <a:lnTo>
                    <a:pt x="422" y="633"/>
                  </a:lnTo>
                  <a:lnTo>
                    <a:pt x="422" y="572"/>
                  </a:lnTo>
                  <a:lnTo>
                    <a:pt x="482" y="572"/>
                  </a:lnTo>
                  <a:lnTo>
                    <a:pt x="482" y="633"/>
                  </a:lnTo>
                  <a:close/>
                  <a:moveTo>
                    <a:pt x="858" y="0"/>
                  </a:moveTo>
                  <a:lnTo>
                    <a:pt x="45" y="0"/>
                  </a:lnTo>
                  <a:lnTo>
                    <a:pt x="36" y="0"/>
                  </a:lnTo>
                  <a:lnTo>
                    <a:pt x="27" y="3"/>
                  </a:lnTo>
                  <a:lnTo>
                    <a:pt x="20" y="7"/>
                  </a:lnTo>
                  <a:lnTo>
                    <a:pt x="13" y="13"/>
                  </a:lnTo>
                  <a:lnTo>
                    <a:pt x="8" y="19"/>
                  </a:lnTo>
                  <a:lnTo>
                    <a:pt x="4" y="27"/>
                  </a:lnTo>
                  <a:lnTo>
                    <a:pt x="0" y="35"/>
                  </a:lnTo>
                  <a:lnTo>
                    <a:pt x="0" y="45"/>
                  </a:lnTo>
                  <a:lnTo>
                    <a:pt x="0" y="527"/>
                  </a:lnTo>
                  <a:lnTo>
                    <a:pt x="0" y="535"/>
                  </a:lnTo>
                  <a:lnTo>
                    <a:pt x="4" y="544"/>
                  </a:lnTo>
                  <a:lnTo>
                    <a:pt x="8" y="551"/>
                  </a:lnTo>
                  <a:lnTo>
                    <a:pt x="13" y="559"/>
                  </a:lnTo>
                  <a:lnTo>
                    <a:pt x="20" y="564"/>
                  </a:lnTo>
                  <a:lnTo>
                    <a:pt x="27" y="568"/>
                  </a:lnTo>
                  <a:lnTo>
                    <a:pt x="36" y="571"/>
                  </a:lnTo>
                  <a:lnTo>
                    <a:pt x="45" y="572"/>
                  </a:lnTo>
                  <a:lnTo>
                    <a:pt x="392" y="572"/>
                  </a:lnTo>
                  <a:lnTo>
                    <a:pt x="392" y="634"/>
                  </a:lnTo>
                  <a:lnTo>
                    <a:pt x="360" y="637"/>
                  </a:lnTo>
                  <a:lnTo>
                    <a:pt x="327" y="641"/>
                  </a:lnTo>
                  <a:lnTo>
                    <a:pt x="296" y="648"/>
                  </a:lnTo>
                  <a:lnTo>
                    <a:pt x="266" y="654"/>
                  </a:lnTo>
                  <a:lnTo>
                    <a:pt x="238" y="663"/>
                  </a:lnTo>
                  <a:lnTo>
                    <a:pt x="211" y="671"/>
                  </a:lnTo>
                  <a:lnTo>
                    <a:pt x="184" y="682"/>
                  </a:lnTo>
                  <a:lnTo>
                    <a:pt x="158" y="694"/>
                  </a:lnTo>
                  <a:lnTo>
                    <a:pt x="156" y="695"/>
                  </a:lnTo>
                  <a:lnTo>
                    <a:pt x="154" y="697"/>
                  </a:lnTo>
                  <a:lnTo>
                    <a:pt x="152" y="699"/>
                  </a:lnTo>
                  <a:lnTo>
                    <a:pt x="150" y="703"/>
                  </a:lnTo>
                  <a:lnTo>
                    <a:pt x="150" y="705"/>
                  </a:lnTo>
                  <a:lnTo>
                    <a:pt x="150" y="708"/>
                  </a:lnTo>
                  <a:lnTo>
                    <a:pt x="150" y="711"/>
                  </a:lnTo>
                  <a:lnTo>
                    <a:pt x="152" y="713"/>
                  </a:lnTo>
                  <a:lnTo>
                    <a:pt x="153" y="716"/>
                  </a:lnTo>
                  <a:lnTo>
                    <a:pt x="155" y="719"/>
                  </a:lnTo>
                  <a:lnTo>
                    <a:pt x="158" y="720"/>
                  </a:lnTo>
                  <a:lnTo>
                    <a:pt x="160" y="722"/>
                  </a:lnTo>
                  <a:lnTo>
                    <a:pt x="163" y="722"/>
                  </a:lnTo>
                  <a:lnTo>
                    <a:pt x="166" y="722"/>
                  </a:lnTo>
                  <a:lnTo>
                    <a:pt x="169" y="722"/>
                  </a:lnTo>
                  <a:lnTo>
                    <a:pt x="172" y="721"/>
                  </a:lnTo>
                  <a:lnTo>
                    <a:pt x="186" y="713"/>
                  </a:lnTo>
                  <a:lnTo>
                    <a:pt x="201" y="707"/>
                  </a:lnTo>
                  <a:lnTo>
                    <a:pt x="217" y="701"/>
                  </a:lnTo>
                  <a:lnTo>
                    <a:pt x="233" y="695"/>
                  </a:lnTo>
                  <a:lnTo>
                    <a:pt x="266" y="685"/>
                  </a:lnTo>
                  <a:lnTo>
                    <a:pt x="301" y="677"/>
                  </a:lnTo>
                  <a:lnTo>
                    <a:pt x="337" y="670"/>
                  </a:lnTo>
                  <a:lnTo>
                    <a:pt x="375" y="666"/>
                  </a:lnTo>
                  <a:lnTo>
                    <a:pt x="412" y="663"/>
                  </a:lnTo>
                  <a:lnTo>
                    <a:pt x="452" y="662"/>
                  </a:lnTo>
                  <a:lnTo>
                    <a:pt x="490" y="663"/>
                  </a:lnTo>
                  <a:lnTo>
                    <a:pt x="528" y="666"/>
                  </a:lnTo>
                  <a:lnTo>
                    <a:pt x="566" y="670"/>
                  </a:lnTo>
                  <a:lnTo>
                    <a:pt x="602" y="677"/>
                  </a:lnTo>
                  <a:lnTo>
                    <a:pt x="636" y="685"/>
                  </a:lnTo>
                  <a:lnTo>
                    <a:pt x="670" y="695"/>
                  </a:lnTo>
                  <a:lnTo>
                    <a:pt x="686" y="701"/>
                  </a:lnTo>
                  <a:lnTo>
                    <a:pt x="702" y="707"/>
                  </a:lnTo>
                  <a:lnTo>
                    <a:pt x="717" y="713"/>
                  </a:lnTo>
                  <a:lnTo>
                    <a:pt x="731" y="721"/>
                  </a:lnTo>
                  <a:lnTo>
                    <a:pt x="735" y="722"/>
                  </a:lnTo>
                  <a:lnTo>
                    <a:pt x="738" y="722"/>
                  </a:lnTo>
                  <a:lnTo>
                    <a:pt x="743" y="722"/>
                  </a:lnTo>
                  <a:lnTo>
                    <a:pt x="746" y="720"/>
                  </a:lnTo>
                  <a:lnTo>
                    <a:pt x="749" y="718"/>
                  </a:lnTo>
                  <a:lnTo>
                    <a:pt x="751" y="713"/>
                  </a:lnTo>
                  <a:lnTo>
                    <a:pt x="752" y="711"/>
                  </a:lnTo>
                  <a:lnTo>
                    <a:pt x="753" y="708"/>
                  </a:lnTo>
                  <a:lnTo>
                    <a:pt x="753" y="705"/>
                  </a:lnTo>
                  <a:lnTo>
                    <a:pt x="752" y="703"/>
                  </a:lnTo>
                  <a:lnTo>
                    <a:pt x="751" y="699"/>
                  </a:lnTo>
                  <a:lnTo>
                    <a:pt x="749" y="697"/>
                  </a:lnTo>
                  <a:lnTo>
                    <a:pt x="747" y="695"/>
                  </a:lnTo>
                  <a:lnTo>
                    <a:pt x="745" y="694"/>
                  </a:lnTo>
                  <a:lnTo>
                    <a:pt x="719" y="682"/>
                  </a:lnTo>
                  <a:lnTo>
                    <a:pt x="693" y="671"/>
                  </a:lnTo>
                  <a:lnTo>
                    <a:pt x="665" y="663"/>
                  </a:lnTo>
                  <a:lnTo>
                    <a:pt x="636" y="654"/>
                  </a:lnTo>
                  <a:lnTo>
                    <a:pt x="606" y="648"/>
                  </a:lnTo>
                  <a:lnTo>
                    <a:pt x="575" y="641"/>
                  </a:lnTo>
                  <a:lnTo>
                    <a:pt x="544" y="637"/>
                  </a:lnTo>
                  <a:lnTo>
                    <a:pt x="512" y="634"/>
                  </a:lnTo>
                  <a:lnTo>
                    <a:pt x="512" y="572"/>
                  </a:lnTo>
                  <a:lnTo>
                    <a:pt x="858" y="572"/>
                  </a:lnTo>
                  <a:lnTo>
                    <a:pt x="867" y="571"/>
                  </a:lnTo>
                  <a:lnTo>
                    <a:pt x="876" y="568"/>
                  </a:lnTo>
                  <a:lnTo>
                    <a:pt x="883" y="564"/>
                  </a:lnTo>
                  <a:lnTo>
                    <a:pt x="889" y="559"/>
                  </a:lnTo>
                  <a:lnTo>
                    <a:pt x="896" y="551"/>
                  </a:lnTo>
                  <a:lnTo>
                    <a:pt x="899" y="544"/>
                  </a:lnTo>
                  <a:lnTo>
                    <a:pt x="902" y="535"/>
                  </a:lnTo>
                  <a:lnTo>
                    <a:pt x="903" y="527"/>
                  </a:lnTo>
                  <a:lnTo>
                    <a:pt x="903" y="45"/>
                  </a:lnTo>
                  <a:lnTo>
                    <a:pt x="902" y="35"/>
                  </a:lnTo>
                  <a:lnTo>
                    <a:pt x="899" y="27"/>
                  </a:lnTo>
                  <a:lnTo>
                    <a:pt x="896" y="19"/>
                  </a:lnTo>
                  <a:lnTo>
                    <a:pt x="889" y="13"/>
                  </a:lnTo>
                  <a:lnTo>
                    <a:pt x="883" y="7"/>
                  </a:lnTo>
                  <a:lnTo>
                    <a:pt x="876" y="3"/>
                  </a:lnTo>
                  <a:lnTo>
                    <a:pt x="867" y="1"/>
                  </a:lnTo>
                  <a:lnTo>
                    <a:pt x="858"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69">
              <a:extLst>
                <a:ext uri="{FF2B5EF4-FFF2-40B4-BE49-F238E27FC236}">
                  <a16:creationId xmlns:a16="http://schemas.microsoft.com/office/drawing/2014/main" id="{59B45053-59EA-4725-91A7-25B8B12A36EB}"/>
                </a:ext>
              </a:extLst>
            </p:cNvPr>
            <p:cNvSpPr>
              <a:spLocks noEditPoints="1"/>
            </p:cNvSpPr>
            <p:nvPr/>
          </p:nvSpPr>
          <p:spPr bwMode="auto">
            <a:xfrm>
              <a:off x="2044700" y="863600"/>
              <a:ext cx="247650" cy="144463"/>
            </a:xfrm>
            <a:custGeom>
              <a:avLst/>
              <a:gdLst>
                <a:gd name="T0" fmla="*/ 30 w 783"/>
                <a:gd name="T1" fmla="*/ 30 h 452"/>
                <a:gd name="T2" fmla="*/ 753 w 783"/>
                <a:gd name="T3" fmla="*/ 30 h 452"/>
                <a:gd name="T4" fmla="*/ 753 w 783"/>
                <a:gd name="T5" fmla="*/ 422 h 452"/>
                <a:gd name="T6" fmla="*/ 30 w 783"/>
                <a:gd name="T7" fmla="*/ 422 h 452"/>
                <a:gd name="T8" fmla="*/ 30 w 783"/>
                <a:gd name="T9" fmla="*/ 30 h 452"/>
                <a:gd name="T10" fmla="*/ 0 w 783"/>
                <a:gd name="T11" fmla="*/ 452 h 452"/>
                <a:gd name="T12" fmla="*/ 783 w 783"/>
                <a:gd name="T13" fmla="*/ 452 h 452"/>
                <a:gd name="T14" fmla="*/ 783 w 783"/>
                <a:gd name="T15" fmla="*/ 0 h 452"/>
                <a:gd name="T16" fmla="*/ 0 w 783"/>
                <a:gd name="T17" fmla="*/ 0 h 452"/>
                <a:gd name="T18" fmla="*/ 0 w 783"/>
                <a:gd name="T19"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3" h="452">
                  <a:moveTo>
                    <a:pt x="30" y="30"/>
                  </a:moveTo>
                  <a:lnTo>
                    <a:pt x="753" y="30"/>
                  </a:lnTo>
                  <a:lnTo>
                    <a:pt x="753" y="422"/>
                  </a:lnTo>
                  <a:lnTo>
                    <a:pt x="30" y="422"/>
                  </a:lnTo>
                  <a:lnTo>
                    <a:pt x="30" y="30"/>
                  </a:lnTo>
                  <a:close/>
                  <a:moveTo>
                    <a:pt x="0" y="452"/>
                  </a:moveTo>
                  <a:lnTo>
                    <a:pt x="783" y="452"/>
                  </a:lnTo>
                  <a:lnTo>
                    <a:pt x="783" y="0"/>
                  </a:lnTo>
                  <a:lnTo>
                    <a:pt x="0" y="0"/>
                  </a:lnTo>
                  <a:lnTo>
                    <a:pt x="0"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6" name="Group 6214">
            <a:extLst>
              <a:ext uri="{FF2B5EF4-FFF2-40B4-BE49-F238E27FC236}">
                <a16:creationId xmlns:a16="http://schemas.microsoft.com/office/drawing/2014/main" id="{4C881470-C40C-4DDA-AAA4-927EA7E9D207}"/>
              </a:ext>
            </a:extLst>
          </p:cNvPr>
          <p:cNvGrpSpPr>
            <a:grpSpLocks noChangeAspect="1"/>
          </p:cNvGrpSpPr>
          <p:nvPr/>
        </p:nvGrpSpPr>
        <p:grpSpPr>
          <a:xfrm>
            <a:off x="3646822" y="5421032"/>
            <a:ext cx="305900" cy="278709"/>
            <a:chOff x="7588250" y="3267075"/>
            <a:chExt cx="357188" cy="325438"/>
          </a:xfrm>
          <a:solidFill>
            <a:schemeClr val="bg2"/>
          </a:solidFill>
          <a:effectLst/>
        </p:grpSpPr>
        <p:sp>
          <p:nvSpPr>
            <p:cNvPr id="1547" name="Freeform 49">
              <a:extLst>
                <a:ext uri="{FF2B5EF4-FFF2-40B4-BE49-F238E27FC236}">
                  <a16:creationId xmlns:a16="http://schemas.microsoft.com/office/drawing/2014/main" id="{3C6EF156-0172-4188-B6C2-0AB0CE30F65A}"/>
                </a:ext>
              </a:extLst>
            </p:cNvPr>
            <p:cNvSpPr>
              <a:spLocks noEditPoints="1"/>
            </p:cNvSpPr>
            <p:nvPr/>
          </p:nvSpPr>
          <p:spPr bwMode="auto">
            <a:xfrm>
              <a:off x="7588250" y="3267075"/>
              <a:ext cx="357188" cy="295275"/>
            </a:xfrm>
            <a:custGeom>
              <a:avLst/>
              <a:gdLst>
                <a:gd name="T0" fmla="*/ 84 w 92"/>
                <a:gd name="T1" fmla="*/ 76 h 76"/>
                <a:gd name="T2" fmla="*/ 8 w 92"/>
                <a:gd name="T3" fmla="*/ 76 h 76"/>
                <a:gd name="T4" fmla="*/ 0 w 92"/>
                <a:gd name="T5" fmla="*/ 68 h 76"/>
                <a:gd name="T6" fmla="*/ 0 w 92"/>
                <a:gd name="T7" fmla="*/ 8 h 76"/>
                <a:gd name="T8" fmla="*/ 8 w 92"/>
                <a:gd name="T9" fmla="*/ 0 h 76"/>
                <a:gd name="T10" fmla="*/ 84 w 92"/>
                <a:gd name="T11" fmla="*/ 0 h 76"/>
                <a:gd name="T12" fmla="*/ 92 w 92"/>
                <a:gd name="T13" fmla="*/ 8 h 76"/>
                <a:gd name="T14" fmla="*/ 92 w 92"/>
                <a:gd name="T15" fmla="*/ 68 h 76"/>
                <a:gd name="T16" fmla="*/ 84 w 92"/>
                <a:gd name="T17" fmla="*/ 76 h 76"/>
                <a:gd name="T18" fmla="*/ 8 w 92"/>
                <a:gd name="T19" fmla="*/ 4 h 76"/>
                <a:gd name="T20" fmla="*/ 4 w 92"/>
                <a:gd name="T21" fmla="*/ 8 h 76"/>
                <a:gd name="T22" fmla="*/ 4 w 92"/>
                <a:gd name="T23" fmla="*/ 68 h 76"/>
                <a:gd name="T24" fmla="*/ 8 w 92"/>
                <a:gd name="T25" fmla="*/ 72 h 76"/>
                <a:gd name="T26" fmla="*/ 84 w 92"/>
                <a:gd name="T27" fmla="*/ 72 h 76"/>
                <a:gd name="T28" fmla="*/ 88 w 92"/>
                <a:gd name="T29" fmla="*/ 68 h 76"/>
                <a:gd name="T30" fmla="*/ 88 w 92"/>
                <a:gd name="T31" fmla="*/ 8 h 76"/>
                <a:gd name="T32" fmla="*/ 84 w 92"/>
                <a:gd name="T33" fmla="*/ 4 h 76"/>
                <a:gd name="T34" fmla="*/ 8 w 92"/>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76">
                  <a:moveTo>
                    <a:pt x="84" y="76"/>
                  </a:moveTo>
                  <a:cubicBezTo>
                    <a:pt x="8" y="76"/>
                    <a:pt x="8" y="76"/>
                    <a:pt x="8" y="76"/>
                  </a:cubicBezTo>
                  <a:cubicBezTo>
                    <a:pt x="4" y="76"/>
                    <a:pt x="0" y="72"/>
                    <a:pt x="0" y="68"/>
                  </a:cubicBezTo>
                  <a:cubicBezTo>
                    <a:pt x="0" y="8"/>
                    <a:pt x="0" y="8"/>
                    <a:pt x="0" y="8"/>
                  </a:cubicBezTo>
                  <a:cubicBezTo>
                    <a:pt x="0" y="4"/>
                    <a:pt x="4" y="0"/>
                    <a:pt x="8" y="0"/>
                  </a:cubicBezTo>
                  <a:cubicBezTo>
                    <a:pt x="84" y="0"/>
                    <a:pt x="84" y="0"/>
                    <a:pt x="84" y="0"/>
                  </a:cubicBezTo>
                  <a:cubicBezTo>
                    <a:pt x="88" y="0"/>
                    <a:pt x="92" y="4"/>
                    <a:pt x="92" y="8"/>
                  </a:cubicBezTo>
                  <a:cubicBezTo>
                    <a:pt x="92" y="68"/>
                    <a:pt x="92" y="68"/>
                    <a:pt x="92" y="68"/>
                  </a:cubicBezTo>
                  <a:cubicBezTo>
                    <a:pt x="92" y="72"/>
                    <a:pt x="88" y="76"/>
                    <a:pt x="84" y="76"/>
                  </a:cubicBezTo>
                  <a:close/>
                  <a:moveTo>
                    <a:pt x="8" y="4"/>
                  </a:moveTo>
                  <a:cubicBezTo>
                    <a:pt x="6" y="4"/>
                    <a:pt x="4" y="6"/>
                    <a:pt x="4" y="8"/>
                  </a:cubicBezTo>
                  <a:cubicBezTo>
                    <a:pt x="4" y="68"/>
                    <a:pt x="4" y="68"/>
                    <a:pt x="4" y="68"/>
                  </a:cubicBezTo>
                  <a:cubicBezTo>
                    <a:pt x="4" y="70"/>
                    <a:pt x="6" y="72"/>
                    <a:pt x="8" y="72"/>
                  </a:cubicBezTo>
                  <a:cubicBezTo>
                    <a:pt x="84" y="72"/>
                    <a:pt x="84" y="72"/>
                    <a:pt x="84" y="72"/>
                  </a:cubicBezTo>
                  <a:cubicBezTo>
                    <a:pt x="86" y="72"/>
                    <a:pt x="88" y="70"/>
                    <a:pt x="88" y="68"/>
                  </a:cubicBezTo>
                  <a:cubicBezTo>
                    <a:pt x="88" y="8"/>
                    <a:pt x="88" y="8"/>
                    <a:pt x="88" y="8"/>
                  </a:cubicBezTo>
                  <a:cubicBezTo>
                    <a:pt x="88" y="6"/>
                    <a:pt x="86" y="4"/>
                    <a:pt x="84"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8" name="Freeform 50">
              <a:extLst>
                <a:ext uri="{FF2B5EF4-FFF2-40B4-BE49-F238E27FC236}">
                  <a16:creationId xmlns:a16="http://schemas.microsoft.com/office/drawing/2014/main" id="{EE2D86AB-5E87-4B77-AE72-2FF16092B0DE}"/>
                </a:ext>
              </a:extLst>
            </p:cNvPr>
            <p:cNvSpPr>
              <a:spLocks/>
            </p:cNvSpPr>
            <p:nvPr/>
          </p:nvSpPr>
          <p:spPr bwMode="auto">
            <a:xfrm>
              <a:off x="7658100" y="3576638"/>
              <a:ext cx="217488" cy="15875"/>
            </a:xfrm>
            <a:custGeom>
              <a:avLst/>
              <a:gdLst>
                <a:gd name="T0" fmla="*/ 54 w 56"/>
                <a:gd name="T1" fmla="*/ 4 h 4"/>
                <a:gd name="T2" fmla="*/ 2 w 56"/>
                <a:gd name="T3" fmla="*/ 4 h 4"/>
                <a:gd name="T4" fmla="*/ 0 w 56"/>
                <a:gd name="T5" fmla="*/ 2 h 4"/>
                <a:gd name="T6" fmla="*/ 2 w 56"/>
                <a:gd name="T7" fmla="*/ 0 h 4"/>
                <a:gd name="T8" fmla="*/ 54 w 56"/>
                <a:gd name="T9" fmla="*/ 0 h 4"/>
                <a:gd name="T10" fmla="*/ 56 w 56"/>
                <a:gd name="T11" fmla="*/ 2 h 4"/>
                <a:gd name="T12" fmla="*/ 54 w 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6" h="4">
                  <a:moveTo>
                    <a:pt x="54" y="4"/>
                  </a:moveTo>
                  <a:cubicBezTo>
                    <a:pt x="2" y="4"/>
                    <a:pt x="2" y="4"/>
                    <a:pt x="2" y="4"/>
                  </a:cubicBezTo>
                  <a:cubicBezTo>
                    <a:pt x="1" y="4"/>
                    <a:pt x="0" y="3"/>
                    <a:pt x="0" y="2"/>
                  </a:cubicBezTo>
                  <a:cubicBezTo>
                    <a:pt x="0" y="1"/>
                    <a:pt x="1" y="0"/>
                    <a:pt x="2" y="0"/>
                  </a:cubicBezTo>
                  <a:cubicBezTo>
                    <a:pt x="54" y="0"/>
                    <a:pt x="54" y="0"/>
                    <a:pt x="54" y="0"/>
                  </a:cubicBezTo>
                  <a:cubicBezTo>
                    <a:pt x="55" y="0"/>
                    <a:pt x="56" y="1"/>
                    <a:pt x="56" y="2"/>
                  </a:cubicBezTo>
                  <a:cubicBezTo>
                    <a:pt x="56" y="3"/>
                    <a:pt x="55" y="4"/>
                    <a:pt x="5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9" name="Freeform 51">
              <a:extLst>
                <a:ext uri="{FF2B5EF4-FFF2-40B4-BE49-F238E27FC236}">
                  <a16:creationId xmlns:a16="http://schemas.microsoft.com/office/drawing/2014/main" id="{9CA60C64-D28B-4D13-AAF0-B52991505A38}"/>
                </a:ext>
              </a:extLst>
            </p:cNvPr>
            <p:cNvSpPr>
              <a:spLocks/>
            </p:cNvSpPr>
            <p:nvPr/>
          </p:nvSpPr>
          <p:spPr bwMode="auto">
            <a:xfrm>
              <a:off x="7758113" y="3546475"/>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0" name="Oval 52">
              <a:extLst>
                <a:ext uri="{FF2B5EF4-FFF2-40B4-BE49-F238E27FC236}">
                  <a16:creationId xmlns:a16="http://schemas.microsoft.com/office/drawing/2014/main" id="{C19EFA39-0752-46FB-BA3B-ECE333996E32}"/>
                </a:ext>
              </a:extLst>
            </p:cNvPr>
            <p:cNvSpPr>
              <a:spLocks noChangeArrowheads="1"/>
            </p:cNvSpPr>
            <p:nvPr/>
          </p:nvSpPr>
          <p:spPr bwMode="auto">
            <a:xfrm>
              <a:off x="7751763" y="3506788"/>
              <a:ext cx="30163"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1" name="Rectangle 53">
              <a:extLst>
                <a:ext uri="{FF2B5EF4-FFF2-40B4-BE49-F238E27FC236}">
                  <a16:creationId xmlns:a16="http://schemas.microsoft.com/office/drawing/2014/main" id="{E158E695-E185-48E0-AE1C-C1A2ABB50F1A}"/>
                </a:ext>
              </a:extLst>
            </p:cNvPr>
            <p:cNvSpPr>
              <a:spLocks noChangeArrowheads="1"/>
            </p:cNvSpPr>
            <p:nvPr/>
          </p:nvSpPr>
          <p:spPr bwMode="auto">
            <a:xfrm>
              <a:off x="7596188" y="3484563"/>
              <a:ext cx="3413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2" name="Freeform 54">
              <a:extLst>
                <a:ext uri="{FF2B5EF4-FFF2-40B4-BE49-F238E27FC236}">
                  <a16:creationId xmlns:a16="http://schemas.microsoft.com/office/drawing/2014/main" id="{B993CDB9-CBFF-47E7-9C57-EE06A13BC7C5}"/>
                </a:ext>
              </a:extLst>
            </p:cNvPr>
            <p:cNvSpPr>
              <a:spLocks/>
            </p:cNvSpPr>
            <p:nvPr/>
          </p:nvSpPr>
          <p:spPr bwMode="auto">
            <a:xfrm>
              <a:off x="7666038"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3" name="Freeform 55">
              <a:extLst>
                <a:ext uri="{FF2B5EF4-FFF2-40B4-BE49-F238E27FC236}">
                  <a16:creationId xmlns:a16="http://schemas.microsoft.com/office/drawing/2014/main" id="{ED2F31AA-4EC1-4A04-923A-08E41A1E19D2}"/>
                </a:ext>
              </a:extLst>
            </p:cNvPr>
            <p:cNvSpPr>
              <a:spLocks/>
            </p:cNvSpPr>
            <p:nvPr/>
          </p:nvSpPr>
          <p:spPr bwMode="auto">
            <a:xfrm>
              <a:off x="7696200"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4" name="Freeform 56">
              <a:extLst>
                <a:ext uri="{FF2B5EF4-FFF2-40B4-BE49-F238E27FC236}">
                  <a16:creationId xmlns:a16="http://schemas.microsoft.com/office/drawing/2014/main" id="{FF6C820D-B23B-4A2A-8859-F526A2A7E820}"/>
                </a:ext>
              </a:extLst>
            </p:cNvPr>
            <p:cNvSpPr>
              <a:spLocks/>
            </p:cNvSpPr>
            <p:nvPr/>
          </p:nvSpPr>
          <p:spPr bwMode="auto">
            <a:xfrm>
              <a:off x="7727950"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5" name="Freeform 57">
              <a:extLst>
                <a:ext uri="{FF2B5EF4-FFF2-40B4-BE49-F238E27FC236}">
                  <a16:creationId xmlns:a16="http://schemas.microsoft.com/office/drawing/2014/main" id="{B4948AFC-693D-4884-ACAA-AD01CB626D9A}"/>
                </a:ext>
              </a:extLst>
            </p:cNvPr>
            <p:cNvSpPr>
              <a:spLocks/>
            </p:cNvSpPr>
            <p:nvPr/>
          </p:nvSpPr>
          <p:spPr bwMode="auto">
            <a:xfrm>
              <a:off x="7758113"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6" name="Freeform 58">
              <a:extLst>
                <a:ext uri="{FF2B5EF4-FFF2-40B4-BE49-F238E27FC236}">
                  <a16:creationId xmlns:a16="http://schemas.microsoft.com/office/drawing/2014/main" id="{EE802351-4D36-4F00-BDF6-0F3198536510}"/>
                </a:ext>
              </a:extLst>
            </p:cNvPr>
            <p:cNvSpPr>
              <a:spLocks/>
            </p:cNvSpPr>
            <p:nvPr/>
          </p:nvSpPr>
          <p:spPr bwMode="auto">
            <a:xfrm>
              <a:off x="7789863"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7" name="Freeform 59">
              <a:extLst>
                <a:ext uri="{FF2B5EF4-FFF2-40B4-BE49-F238E27FC236}">
                  <a16:creationId xmlns:a16="http://schemas.microsoft.com/office/drawing/2014/main" id="{D6A220DE-CEED-4545-A95B-A46262314494}"/>
                </a:ext>
              </a:extLst>
            </p:cNvPr>
            <p:cNvSpPr>
              <a:spLocks/>
            </p:cNvSpPr>
            <p:nvPr/>
          </p:nvSpPr>
          <p:spPr bwMode="auto">
            <a:xfrm>
              <a:off x="7820025"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8" name="Freeform 60">
              <a:extLst>
                <a:ext uri="{FF2B5EF4-FFF2-40B4-BE49-F238E27FC236}">
                  <a16:creationId xmlns:a16="http://schemas.microsoft.com/office/drawing/2014/main" id="{A55306D9-F0A3-49D8-9FC5-CC2099832B63}"/>
                </a:ext>
              </a:extLst>
            </p:cNvPr>
            <p:cNvSpPr>
              <a:spLocks/>
            </p:cNvSpPr>
            <p:nvPr/>
          </p:nvSpPr>
          <p:spPr bwMode="auto">
            <a:xfrm>
              <a:off x="7851775"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9" name="Freeform 61">
              <a:extLst>
                <a:ext uri="{FF2B5EF4-FFF2-40B4-BE49-F238E27FC236}">
                  <a16:creationId xmlns:a16="http://schemas.microsoft.com/office/drawing/2014/main" id="{4EE6E65A-11A4-4DBF-AD80-50D8E0A9206A}"/>
                </a:ext>
              </a:extLst>
            </p:cNvPr>
            <p:cNvSpPr>
              <a:spLocks/>
            </p:cNvSpPr>
            <p:nvPr/>
          </p:nvSpPr>
          <p:spPr bwMode="auto">
            <a:xfrm>
              <a:off x="7681913"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0" name="Freeform 62">
              <a:extLst>
                <a:ext uri="{FF2B5EF4-FFF2-40B4-BE49-F238E27FC236}">
                  <a16:creationId xmlns:a16="http://schemas.microsoft.com/office/drawing/2014/main" id="{F1599569-4BCB-436F-A7AC-256199A3F7C5}"/>
                </a:ext>
              </a:extLst>
            </p:cNvPr>
            <p:cNvSpPr>
              <a:spLocks/>
            </p:cNvSpPr>
            <p:nvPr/>
          </p:nvSpPr>
          <p:spPr bwMode="auto">
            <a:xfrm>
              <a:off x="7712075"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1" name="Freeform 63">
              <a:extLst>
                <a:ext uri="{FF2B5EF4-FFF2-40B4-BE49-F238E27FC236}">
                  <a16:creationId xmlns:a16="http://schemas.microsoft.com/office/drawing/2014/main" id="{8556E21A-6CD6-4A03-AEB8-6DB615A00E22}"/>
                </a:ext>
              </a:extLst>
            </p:cNvPr>
            <p:cNvSpPr>
              <a:spLocks/>
            </p:cNvSpPr>
            <p:nvPr/>
          </p:nvSpPr>
          <p:spPr bwMode="auto">
            <a:xfrm>
              <a:off x="7743825"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2" name="Freeform 64">
              <a:extLst>
                <a:ext uri="{FF2B5EF4-FFF2-40B4-BE49-F238E27FC236}">
                  <a16:creationId xmlns:a16="http://schemas.microsoft.com/office/drawing/2014/main" id="{8D8ED0AD-C80D-4180-8D45-039E6DB4DA5A}"/>
                </a:ext>
              </a:extLst>
            </p:cNvPr>
            <p:cNvSpPr>
              <a:spLocks/>
            </p:cNvSpPr>
            <p:nvPr/>
          </p:nvSpPr>
          <p:spPr bwMode="auto">
            <a:xfrm>
              <a:off x="7773988"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3" name="Freeform 65">
              <a:extLst>
                <a:ext uri="{FF2B5EF4-FFF2-40B4-BE49-F238E27FC236}">
                  <a16:creationId xmlns:a16="http://schemas.microsoft.com/office/drawing/2014/main" id="{89532E87-7425-4017-B5A1-FA1F1F0B749A}"/>
                </a:ext>
              </a:extLst>
            </p:cNvPr>
            <p:cNvSpPr>
              <a:spLocks/>
            </p:cNvSpPr>
            <p:nvPr/>
          </p:nvSpPr>
          <p:spPr bwMode="auto">
            <a:xfrm>
              <a:off x="7805738"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4" name="Freeform 66">
              <a:extLst>
                <a:ext uri="{FF2B5EF4-FFF2-40B4-BE49-F238E27FC236}">
                  <a16:creationId xmlns:a16="http://schemas.microsoft.com/office/drawing/2014/main" id="{CECD6552-B2E6-42D3-A0F1-D47623A2FE49}"/>
                </a:ext>
              </a:extLst>
            </p:cNvPr>
            <p:cNvSpPr>
              <a:spLocks/>
            </p:cNvSpPr>
            <p:nvPr/>
          </p:nvSpPr>
          <p:spPr bwMode="auto">
            <a:xfrm>
              <a:off x="7835900"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5" name="Freeform 67">
              <a:extLst>
                <a:ext uri="{FF2B5EF4-FFF2-40B4-BE49-F238E27FC236}">
                  <a16:creationId xmlns:a16="http://schemas.microsoft.com/office/drawing/2014/main" id="{C3BDCA70-98A9-47CB-A92B-A39CFC114232}"/>
                </a:ext>
              </a:extLst>
            </p:cNvPr>
            <p:cNvSpPr>
              <a:spLocks/>
            </p:cNvSpPr>
            <p:nvPr/>
          </p:nvSpPr>
          <p:spPr bwMode="auto">
            <a:xfrm>
              <a:off x="7666038"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6" name="Freeform 68">
              <a:extLst>
                <a:ext uri="{FF2B5EF4-FFF2-40B4-BE49-F238E27FC236}">
                  <a16:creationId xmlns:a16="http://schemas.microsoft.com/office/drawing/2014/main" id="{B4B239D8-627C-4934-BCAE-89CC9BA5802A}"/>
                </a:ext>
              </a:extLst>
            </p:cNvPr>
            <p:cNvSpPr>
              <a:spLocks/>
            </p:cNvSpPr>
            <p:nvPr/>
          </p:nvSpPr>
          <p:spPr bwMode="auto">
            <a:xfrm>
              <a:off x="7696200"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7" name="Freeform 69">
              <a:extLst>
                <a:ext uri="{FF2B5EF4-FFF2-40B4-BE49-F238E27FC236}">
                  <a16:creationId xmlns:a16="http://schemas.microsoft.com/office/drawing/2014/main" id="{606D886A-3C59-4846-99CA-53E18FB850E4}"/>
                </a:ext>
              </a:extLst>
            </p:cNvPr>
            <p:cNvSpPr>
              <a:spLocks/>
            </p:cNvSpPr>
            <p:nvPr/>
          </p:nvSpPr>
          <p:spPr bwMode="auto">
            <a:xfrm>
              <a:off x="7727950"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8" name="Freeform 70">
              <a:extLst>
                <a:ext uri="{FF2B5EF4-FFF2-40B4-BE49-F238E27FC236}">
                  <a16:creationId xmlns:a16="http://schemas.microsoft.com/office/drawing/2014/main" id="{CD6D5853-6869-427F-94A8-B5F3B3E2FAC6}"/>
                </a:ext>
              </a:extLst>
            </p:cNvPr>
            <p:cNvSpPr>
              <a:spLocks/>
            </p:cNvSpPr>
            <p:nvPr/>
          </p:nvSpPr>
          <p:spPr bwMode="auto">
            <a:xfrm>
              <a:off x="7758113"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9" name="Freeform 71">
              <a:extLst>
                <a:ext uri="{FF2B5EF4-FFF2-40B4-BE49-F238E27FC236}">
                  <a16:creationId xmlns:a16="http://schemas.microsoft.com/office/drawing/2014/main" id="{4DC59DC9-5A43-4294-8A5F-0ED404966F71}"/>
                </a:ext>
              </a:extLst>
            </p:cNvPr>
            <p:cNvSpPr>
              <a:spLocks/>
            </p:cNvSpPr>
            <p:nvPr/>
          </p:nvSpPr>
          <p:spPr bwMode="auto">
            <a:xfrm>
              <a:off x="7789863"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0" name="Freeform 72">
              <a:extLst>
                <a:ext uri="{FF2B5EF4-FFF2-40B4-BE49-F238E27FC236}">
                  <a16:creationId xmlns:a16="http://schemas.microsoft.com/office/drawing/2014/main" id="{D5D1C2B6-FFD9-474B-AC6C-642C84B7FB8F}"/>
                </a:ext>
              </a:extLst>
            </p:cNvPr>
            <p:cNvSpPr>
              <a:spLocks/>
            </p:cNvSpPr>
            <p:nvPr/>
          </p:nvSpPr>
          <p:spPr bwMode="auto">
            <a:xfrm>
              <a:off x="7820025"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1" name="Freeform 73">
              <a:extLst>
                <a:ext uri="{FF2B5EF4-FFF2-40B4-BE49-F238E27FC236}">
                  <a16:creationId xmlns:a16="http://schemas.microsoft.com/office/drawing/2014/main" id="{D4B363EF-389A-4B10-8046-F82B904B9CE7}"/>
                </a:ext>
              </a:extLst>
            </p:cNvPr>
            <p:cNvSpPr>
              <a:spLocks/>
            </p:cNvSpPr>
            <p:nvPr/>
          </p:nvSpPr>
          <p:spPr bwMode="auto">
            <a:xfrm>
              <a:off x="7851775"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2" name="Freeform 74">
              <a:extLst>
                <a:ext uri="{FF2B5EF4-FFF2-40B4-BE49-F238E27FC236}">
                  <a16:creationId xmlns:a16="http://schemas.microsoft.com/office/drawing/2014/main" id="{EEEBBF47-BC4A-44C0-992F-572BDC2BB2A8}"/>
                </a:ext>
              </a:extLst>
            </p:cNvPr>
            <p:cNvSpPr>
              <a:spLocks/>
            </p:cNvSpPr>
            <p:nvPr/>
          </p:nvSpPr>
          <p:spPr bwMode="auto">
            <a:xfrm>
              <a:off x="7681913"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3" name="Freeform 75">
              <a:extLst>
                <a:ext uri="{FF2B5EF4-FFF2-40B4-BE49-F238E27FC236}">
                  <a16:creationId xmlns:a16="http://schemas.microsoft.com/office/drawing/2014/main" id="{1CBEEEFF-DC29-4E63-9197-5847393B159D}"/>
                </a:ext>
              </a:extLst>
            </p:cNvPr>
            <p:cNvSpPr>
              <a:spLocks/>
            </p:cNvSpPr>
            <p:nvPr/>
          </p:nvSpPr>
          <p:spPr bwMode="auto">
            <a:xfrm>
              <a:off x="7712075"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4" name="Freeform 76">
              <a:extLst>
                <a:ext uri="{FF2B5EF4-FFF2-40B4-BE49-F238E27FC236}">
                  <a16:creationId xmlns:a16="http://schemas.microsoft.com/office/drawing/2014/main" id="{0D5D3A7D-52A4-4A75-8C99-DD274DA5D6D5}"/>
                </a:ext>
              </a:extLst>
            </p:cNvPr>
            <p:cNvSpPr>
              <a:spLocks/>
            </p:cNvSpPr>
            <p:nvPr/>
          </p:nvSpPr>
          <p:spPr bwMode="auto">
            <a:xfrm>
              <a:off x="7743825"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5" name="Freeform 77">
              <a:extLst>
                <a:ext uri="{FF2B5EF4-FFF2-40B4-BE49-F238E27FC236}">
                  <a16:creationId xmlns:a16="http://schemas.microsoft.com/office/drawing/2014/main" id="{11131F49-3A57-4D2B-BCF7-3F81BE785AA3}"/>
                </a:ext>
              </a:extLst>
            </p:cNvPr>
            <p:cNvSpPr>
              <a:spLocks/>
            </p:cNvSpPr>
            <p:nvPr/>
          </p:nvSpPr>
          <p:spPr bwMode="auto">
            <a:xfrm>
              <a:off x="7773988"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6" name="Freeform 78">
              <a:extLst>
                <a:ext uri="{FF2B5EF4-FFF2-40B4-BE49-F238E27FC236}">
                  <a16:creationId xmlns:a16="http://schemas.microsoft.com/office/drawing/2014/main" id="{200B26B8-C558-4AAD-AF9E-E6CD110D13DA}"/>
                </a:ext>
              </a:extLst>
            </p:cNvPr>
            <p:cNvSpPr>
              <a:spLocks/>
            </p:cNvSpPr>
            <p:nvPr/>
          </p:nvSpPr>
          <p:spPr bwMode="auto">
            <a:xfrm>
              <a:off x="7805738"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7" name="Freeform 79">
              <a:extLst>
                <a:ext uri="{FF2B5EF4-FFF2-40B4-BE49-F238E27FC236}">
                  <a16:creationId xmlns:a16="http://schemas.microsoft.com/office/drawing/2014/main" id="{D17DF3E3-FE65-4C50-8B9B-FB52B89D2C88}"/>
                </a:ext>
              </a:extLst>
            </p:cNvPr>
            <p:cNvSpPr>
              <a:spLocks/>
            </p:cNvSpPr>
            <p:nvPr/>
          </p:nvSpPr>
          <p:spPr bwMode="auto">
            <a:xfrm>
              <a:off x="7835900"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8" name="Freeform 80">
              <a:extLst>
                <a:ext uri="{FF2B5EF4-FFF2-40B4-BE49-F238E27FC236}">
                  <a16:creationId xmlns:a16="http://schemas.microsoft.com/office/drawing/2014/main" id="{F8750A16-4404-427D-9813-08A9B87E4374}"/>
                </a:ext>
              </a:extLst>
            </p:cNvPr>
            <p:cNvSpPr>
              <a:spLocks/>
            </p:cNvSpPr>
            <p:nvPr/>
          </p:nvSpPr>
          <p:spPr bwMode="auto">
            <a:xfrm>
              <a:off x="7666038"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9" name="Freeform 81">
              <a:extLst>
                <a:ext uri="{FF2B5EF4-FFF2-40B4-BE49-F238E27FC236}">
                  <a16:creationId xmlns:a16="http://schemas.microsoft.com/office/drawing/2014/main" id="{540CDA4A-2E08-4E37-99B9-157021E781CC}"/>
                </a:ext>
              </a:extLst>
            </p:cNvPr>
            <p:cNvSpPr>
              <a:spLocks/>
            </p:cNvSpPr>
            <p:nvPr/>
          </p:nvSpPr>
          <p:spPr bwMode="auto">
            <a:xfrm>
              <a:off x="7696200"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0" name="Freeform 82">
              <a:extLst>
                <a:ext uri="{FF2B5EF4-FFF2-40B4-BE49-F238E27FC236}">
                  <a16:creationId xmlns:a16="http://schemas.microsoft.com/office/drawing/2014/main" id="{080D4462-3B0B-4DCF-A499-9B3C593CEE00}"/>
                </a:ext>
              </a:extLst>
            </p:cNvPr>
            <p:cNvSpPr>
              <a:spLocks/>
            </p:cNvSpPr>
            <p:nvPr/>
          </p:nvSpPr>
          <p:spPr bwMode="auto">
            <a:xfrm>
              <a:off x="7727950"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1" name="Freeform 83">
              <a:extLst>
                <a:ext uri="{FF2B5EF4-FFF2-40B4-BE49-F238E27FC236}">
                  <a16:creationId xmlns:a16="http://schemas.microsoft.com/office/drawing/2014/main" id="{4EA1E641-04EB-4CD7-861B-FA276FC52323}"/>
                </a:ext>
              </a:extLst>
            </p:cNvPr>
            <p:cNvSpPr>
              <a:spLocks/>
            </p:cNvSpPr>
            <p:nvPr/>
          </p:nvSpPr>
          <p:spPr bwMode="auto">
            <a:xfrm>
              <a:off x="7758113"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2" name="Freeform 84">
              <a:extLst>
                <a:ext uri="{FF2B5EF4-FFF2-40B4-BE49-F238E27FC236}">
                  <a16:creationId xmlns:a16="http://schemas.microsoft.com/office/drawing/2014/main" id="{15A91019-D2FC-4F68-ACFF-C8E4853BDE4D}"/>
                </a:ext>
              </a:extLst>
            </p:cNvPr>
            <p:cNvSpPr>
              <a:spLocks/>
            </p:cNvSpPr>
            <p:nvPr/>
          </p:nvSpPr>
          <p:spPr bwMode="auto">
            <a:xfrm>
              <a:off x="7789863"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3" name="Freeform 85">
              <a:extLst>
                <a:ext uri="{FF2B5EF4-FFF2-40B4-BE49-F238E27FC236}">
                  <a16:creationId xmlns:a16="http://schemas.microsoft.com/office/drawing/2014/main" id="{EBC301DE-001C-4FCC-92C9-105027510F31}"/>
                </a:ext>
              </a:extLst>
            </p:cNvPr>
            <p:cNvSpPr>
              <a:spLocks/>
            </p:cNvSpPr>
            <p:nvPr/>
          </p:nvSpPr>
          <p:spPr bwMode="auto">
            <a:xfrm>
              <a:off x="7820025"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4" name="Freeform 86">
              <a:extLst>
                <a:ext uri="{FF2B5EF4-FFF2-40B4-BE49-F238E27FC236}">
                  <a16:creationId xmlns:a16="http://schemas.microsoft.com/office/drawing/2014/main" id="{D72ED9AB-39F5-4FC4-B3BF-1976A7603C72}"/>
                </a:ext>
              </a:extLst>
            </p:cNvPr>
            <p:cNvSpPr>
              <a:spLocks/>
            </p:cNvSpPr>
            <p:nvPr/>
          </p:nvSpPr>
          <p:spPr bwMode="auto">
            <a:xfrm>
              <a:off x="7851775"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5" name="Freeform 87">
              <a:extLst>
                <a:ext uri="{FF2B5EF4-FFF2-40B4-BE49-F238E27FC236}">
                  <a16:creationId xmlns:a16="http://schemas.microsoft.com/office/drawing/2014/main" id="{755782D6-CE3E-4D8C-A042-EB9BF336A474}"/>
                </a:ext>
              </a:extLst>
            </p:cNvPr>
            <p:cNvSpPr>
              <a:spLocks/>
            </p:cNvSpPr>
            <p:nvPr/>
          </p:nvSpPr>
          <p:spPr bwMode="auto">
            <a:xfrm>
              <a:off x="7681913"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6" name="Freeform 88">
              <a:extLst>
                <a:ext uri="{FF2B5EF4-FFF2-40B4-BE49-F238E27FC236}">
                  <a16:creationId xmlns:a16="http://schemas.microsoft.com/office/drawing/2014/main" id="{6CC8FD8C-B80B-448C-BA3F-B80E8B744063}"/>
                </a:ext>
              </a:extLst>
            </p:cNvPr>
            <p:cNvSpPr>
              <a:spLocks/>
            </p:cNvSpPr>
            <p:nvPr/>
          </p:nvSpPr>
          <p:spPr bwMode="auto">
            <a:xfrm>
              <a:off x="7712075"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7" name="Freeform 89">
              <a:extLst>
                <a:ext uri="{FF2B5EF4-FFF2-40B4-BE49-F238E27FC236}">
                  <a16:creationId xmlns:a16="http://schemas.microsoft.com/office/drawing/2014/main" id="{D033378F-184F-400A-9607-28D29B854667}"/>
                </a:ext>
              </a:extLst>
            </p:cNvPr>
            <p:cNvSpPr>
              <a:spLocks/>
            </p:cNvSpPr>
            <p:nvPr/>
          </p:nvSpPr>
          <p:spPr bwMode="auto">
            <a:xfrm>
              <a:off x="7743825"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8" name="Freeform 90">
              <a:extLst>
                <a:ext uri="{FF2B5EF4-FFF2-40B4-BE49-F238E27FC236}">
                  <a16:creationId xmlns:a16="http://schemas.microsoft.com/office/drawing/2014/main" id="{69B73787-17EC-4519-B176-0DDC55E8171A}"/>
                </a:ext>
              </a:extLst>
            </p:cNvPr>
            <p:cNvSpPr>
              <a:spLocks/>
            </p:cNvSpPr>
            <p:nvPr/>
          </p:nvSpPr>
          <p:spPr bwMode="auto">
            <a:xfrm>
              <a:off x="7773988"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9" name="Freeform 91">
              <a:extLst>
                <a:ext uri="{FF2B5EF4-FFF2-40B4-BE49-F238E27FC236}">
                  <a16:creationId xmlns:a16="http://schemas.microsoft.com/office/drawing/2014/main" id="{24FABFE9-ABA2-48BA-A196-918D86B2FFBD}"/>
                </a:ext>
              </a:extLst>
            </p:cNvPr>
            <p:cNvSpPr>
              <a:spLocks/>
            </p:cNvSpPr>
            <p:nvPr/>
          </p:nvSpPr>
          <p:spPr bwMode="auto">
            <a:xfrm>
              <a:off x="7805738"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0" name="Freeform 92">
              <a:extLst>
                <a:ext uri="{FF2B5EF4-FFF2-40B4-BE49-F238E27FC236}">
                  <a16:creationId xmlns:a16="http://schemas.microsoft.com/office/drawing/2014/main" id="{85E815E7-A6B9-4E76-9D04-AA190B49818E}"/>
                </a:ext>
              </a:extLst>
            </p:cNvPr>
            <p:cNvSpPr>
              <a:spLocks/>
            </p:cNvSpPr>
            <p:nvPr/>
          </p:nvSpPr>
          <p:spPr bwMode="auto">
            <a:xfrm>
              <a:off x="7835900"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1" name="Freeform 93">
              <a:extLst>
                <a:ext uri="{FF2B5EF4-FFF2-40B4-BE49-F238E27FC236}">
                  <a16:creationId xmlns:a16="http://schemas.microsoft.com/office/drawing/2014/main" id="{EED4431B-8E40-4A30-84F8-234942174A53}"/>
                </a:ext>
              </a:extLst>
            </p:cNvPr>
            <p:cNvSpPr>
              <a:spLocks/>
            </p:cNvSpPr>
            <p:nvPr/>
          </p:nvSpPr>
          <p:spPr bwMode="auto">
            <a:xfrm>
              <a:off x="7666038"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2" name="Freeform 94">
              <a:extLst>
                <a:ext uri="{FF2B5EF4-FFF2-40B4-BE49-F238E27FC236}">
                  <a16:creationId xmlns:a16="http://schemas.microsoft.com/office/drawing/2014/main" id="{A6033B2D-AC81-4FB3-A21D-DE1E013EF8EB}"/>
                </a:ext>
              </a:extLst>
            </p:cNvPr>
            <p:cNvSpPr>
              <a:spLocks/>
            </p:cNvSpPr>
            <p:nvPr/>
          </p:nvSpPr>
          <p:spPr bwMode="auto">
            <a:xfrm>
              <a:off x="7696200"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3" name="Freeform 95">
              <a:extLst>
                <a:ext uri="{FF2B5EF4-FFF2-40B4-BE49-F238E27FC236}">
                  <a16:creationId xmlns:a16="http://schemas.microsoft.com/office/drawing/2014/main" id="{2988434B-03CC-4556-AB7D-676EC1084ED2}"/>
                </a:ext>
              </a:extLst>
            </p:cNvPr>
            <p:cNvSpPr>
              <a:spLocks/>
            </p:cNvSpPr>
            <p:nvPr/>
          </p:nvSpPr>
          <p:spPr bwMode="auto">
            <a:xfrm>
              <a:off x="7727950"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4" name="Freeform 96">
              <a:extLst>
                <a:ext uri="{FF2B5EF4-FFF2-40B4-BE49-F238E27FC236}">
                  <a16:creationId xmlns:a16="http://schemas.microsoft.com/office/drawing/2014/main" id="{7798D550-737E-4061-A47C-116D28FAF278}"/>
                </a:ext>
              </a:extLst>
            </p:cNvPr>
            <p:cNvSpPr>
              <a:spLocks/>
            </p:cNvSpPr>
            <p:nvPr/>
          </p:nvSpPr>
          <p:spPr bwMode="auto">
            <a:xfrm>
              <a:off x="7758113"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5" name="Freeform 97">
              <a:extLst>
                <a:ext uri="{FF2B5EF4-FFF2-40B4-BE49-F238E27FC236}">
                  <a16:creationId xmlns:a16="http://schemas.microsoft.com/office/drawing/2014/main" id="{40D5A283-29D8-44C3-B751-EA6F32DD9201}"/>
                </a:ext>
              </a:extLst>
            </p:cNvPr>
            <p:cNvSpPr>
              <a:spLocks/>
            </p:cNvSpPr>
            <p:nvPr/>
          </p:nvSpPr>
          <p:spPr bwMode="auto">
            <a:xfrm>
              <a:off x="7789863"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6" name="Freeform 98">
              <a:extLst>
                <a:ext uri="{FF2B5EF4-FFF2-40B4-BE49-F238E27FC236}">
                  <a16:creationId xmlns:a16="http://schemas.microsoft.com/office/drawing/2014/main" id="{FDFC1559-26C7-4651-96A2-70A89305C439}"/>
                </a:ext>
              </a:extLst>
            </p:cNvPr>
            <p:cNvSpPr>
              <a:spLocks/>
            </p:cNvSpPr>
            <p:nvPr/>
          </p:nvSpPr>
          <p:spPr bwMode="auto">
            <a:xfrm>
              <a:off x="7820025"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7" name="Freeform 99">
              <a:extLst>
                <a:ext uri="{FF2B5EF4-FFF2-40B4-BE49-F238E27FC236}">
                  <a16:creationId xmlns:a16="http://schemas.microsoft.com/office/drawing/2014/main" id="{C8020CB0-6123-4921-9FE3-EDF2C2C584DD}"/>
                </a:ext>
              </a:extLst>
            </p:cNvPr>
            <p:cNvSpPr>
              <a:spLocks/>
            </p:cNvSpPr>
            <p:nvPr/>
          </p:nvSpPr>
          <p:spPr bwMode="auto">
            <a:xfrm>
              <a:off x="7851775"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8" name="Freeform 100">
              <a:extLst>
                <a:ext uri="{FF2B5EF4-FFF2-40B4-BE49-F238E27FC236}">
                  <a16:creationId xmlns:a16="http://schemas.microsoft.com/office/drawing/2014/main" id="{0F3C2942-7062-406D-BC66-195770E50385}"/>
                </a:ext>
              </a:extLst>
            </p:cNvPr>
            <p:cNvSpPr>
              <a:spLocks/>
            </p:cNvSpPr>
            <p:nvPr/>
          </p:nvSpPr>
          <p:spPr bwMode="auto">
            <a:xfrm>
              <a:off x="7681913"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9" name="Freeform 101">
              <a:extLst>
                <a:ext uri="{FF2B5EF4-FFF2-40B4-BE49-F238E27FC236}">
                  <a16:creationId xmlns:a16="http://schemas.microsoft.com/office/drawing/2014/main" id="{2DBD7136-EC85-4CCA-84A7-6BF23E7C440A}"/>
                </a:ext>
              </a:extLst>
            </p:cNvPr>
            <p:cNvSpPr>
              <a:spLocks/>
            </p:cNvSpPr>
            <p:nvPr/>
          </p:nvSpPr>
          <p:spPr bwMode="auto">
            <a:xfrm>
              <a:off x="7712075"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0" name="Freeform 102">
              <a:extLst>
                <a:ext uri="{FF2B5EF4-FFF2-40B4-BE49-F238E27FC236}">
                  <a16:creationId xmlns:a16="http://schemas.microsoft.com/office/drawing/2014/main" id="{F61826E6-25B6-4BC6-BBD3-F380309E6E74}"/>
                </a:ext>
              </a:extLst>
            </p:cNvPr>
            <p:cNvSpPr>
              <a:spLocks/>
            </p:cNvSpPr>
            <p:nvPr/>
          </p:nvSpPr>
          <p:spPr bwMode="auto">
            <a:xfrm>
              <a:off x="7743825"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1" name="Freeform 103">
              <a:extLst>
                <a:ext uri="{FF2B5EF4-FFF2-40B4-BE49-F238E27FC236}">
                  <a16:creationId xmlns:a16="http://schemas.microsoft.com/office/drawing/2014/main" id="{DC9F5E20-C61E-454A-9420-C4EA877F6C28}"/>
                </a:ext>
              </a:extLst>
            </p:cNvPr>
            <p:cNvSpPr>
              <a:spLocks/>
            </p:cNvSpPr>
            <p:nvPr/>
          </p:nvSpPr>
          <p:spPr bwMode="auto">
            <a:xfrm>
              <a:off x="7773988"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2" name="Freeform 104">
              <a:extLst>
                <a:ext uri="{FF2B5EF4-FFF2-40B4-BE49-F238E27FC236}">
                  <a16:creationId xmlns:a16="http://schemas.microsoft.com/office/drawing/2014/main" id="{8247A623-9A63-41D1-86CB-6A9CF3ABF7C6}"/>
                </a:ext>
              </a:extLst>
            </p:cNvPr>
            <p:cNvSpPr>
              <a:spLocks/>
            </p:cNvSpPr>
            <p:nvPr/>
          </p:nvSpPr>
          <p:spPr bwMode="auto">
            <a:xfrm>
              <a:off x="7805738"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3" name="Freeform 105">
              <a:extLst>
                <a:ext uri="{FF2B5EF4-FFF2-40B4-BE49-F238E27FC236}">
                  <a16:creationId xmlns:a16="http://schemas.microsoft.com/office/drawing/2014/main" id="{E54CA349-A776-4697-BED2-3FB05A85C25D}"/>
                </a:ext>
              </a:extLst>
            </p:cNvPr>
            <p:cNvSpPr>
              <a:spLocks/>
            </p:cNvSpPr>
            <p:nvPr/>
          </p:nvSpPr>
          <p:spPr bwMode="auto">
            <a:xfrm>
              <a:off x="7835900"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4" name="Freeform 106">
              <a:extLst>
                <a:ext uri="{FF2B5EF4-FFF2-40B4-BE49-F238E27FC236}">
                  <a16:creationId xmlns:a16="http://schemas.microsoft.com/office/drawing/2014/main" id="{8AD0CDAD-CBCA-461B-9323-070ABC630829}"/>
                </a:ext>
              </a:extLst>
            </p:cNvPr>
            <p:cNvSpPr>
              <a:spLocks/>
            </p:cNvSpPr>
            <p:nvPr/>
          </p:nvSpPr>
          <p:spPr bwMode="auto">
            <a:xfrm>
              <a:off x="7666038"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5" name="Freeform 107">
              <a:extLst>
                <a:ext uri="{FF2B5EF4-FFF2-40B4-BE49-F238E27FC236}">
                  <a16:creationId xmlns:a16="http://schemas.microsoft.com/office/drawing/2014/main" id="{666C3305-8AB7-422C-B3D5-B4ECBD441908}"/>
                </a:ext>
              </a:extLst>
            </p:cNvPr>
            <p:cNvSpPr>
              <a:spLocks/>
            </p:cNvSpPr>
            <p:nvPr/>
          </p:nvSpPr>
          <p:spPr bwMode="auto">
            <a:xfrm>
              <a:off x="7696200"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6" name="Freeform 108">
              <a:extLst>
                <a:ext uri="{FF2B5EF4-FFF2-40B4-BE49-F238E27FC236}">
                  <a16:creationId xmlns:a16="http://schemas.microsoft.com/office/drawing/2014/main" id="{32728DB4-61D2-4FC7-A196-778B2073BA22}"/>
                </a:ext>
              </a:extLst>
            </p:cNvPr>
            <p:cNvSpPr>
              <a:spLocks/>
            </p:cNvSpPr>
            <p:nvPr/>
          </p:nvSpPr>
          <p:spPr bwMode="auto">
            <a:xfrm>
              <a:off x="7727950"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7" name="Freeform 109">
              <a:extLst>
                <a:ext uri="{FF2B5EF4-FFF2-40B4-BE49-F238E27FC236}">
                  <a16:creationId xmlns:a16="http://schemas.microsoft.com/office/drawing/2014/main" id="{2D46B25E-C8BC-4B1D-B2F3-ECC8C060BFBE}"/>
                </a:ext>
              </a:extLst>
            </p:cNvPr>
            <p:cNvSpPr>
              <a:spLocks/>
            </p:cNvSpPr>
            <p:nvPr/>
          </p:nvSpPr>
          <p:spPr bwMode="auto">
            <a:xfrm>
              <a:off x="7758113"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8" name="Freeform 110">
              <a:extLst>
                <a:ext uri="{FF2B5EF4-FFF2-40B4-BE49-F238E27FC236}">
                  <a16:creationId xmlns:a16="http://schemas.microsoft.com/office/drawing/2014/main" id="{32122860-488D-4CA1-8C9C-ECB68A854809}"/>
                </a:ext>
              </a:extLst>
            </p:cNvPr>
            <p:cNvSpPr>
              <a:spLocks/>
            </p:cNvSpPr>
            <p:nvPr/>
          </p:nvSpPr>
          <p:spPr bwMode="auto">
            <a:xfrm>
              <a:off x="7789863"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9" name="Freeform 111">
              <a:extLst>
                <a:ext uri="{FF2B5EF4-FFF2-40B4-BE49-F238E27FC236}">
                  <a16:creationId xmlns:a16="http://schemas.microsoft.com/office/drawing/2014/main" id="{BAD5BF72-A505-4D7E-8231-1B17D01EA759}"/>
                </a:ext>
              </a:extLst>
            </p:cNvPr>
            <p:cNvSpPr>
              <a:spLocks/>
            </p:cNvSpPr>
            <p:nvPr/>
          </p:nvSpPr>
          <p:spPr bwMode="auto">
            <a:xfrm>
              <a:off x="7820025"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0" name="Freeform 112">
              <a:extLst>
                <a:ext uri="{FF2B5EF4-FFF2-40B4-BE49-F238E27FC236}">
                  <a16:creationId xmlns:a16="http://schemas.microsoft.com/office/drawing/2014/main" id="{B1FAB9BA-CAB0-40C0-BDD7-3D7DC2D95A95}"/>
                </a:ext>
              </a:extLst>
            </p:cNvPr>
            <p:cNvSpPr>
              <a:spLocks/>
            </p:cNvSpPr>
            <p:nvPr/>
          </p:nvSpPr>
          <p:spPr bwMode="auto">
            <a:xfrm>
              <a:off x="7851775"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1" name="Freeform 113">
              <a:extLst>
                <a:ext uri="{FF2B5EF4-FFF2-40B4-BE49-F238E27FC236}">
                  <a16:creationId xmlns:a16="http://schemas.microsoft.com/office/drawing/2014/main" id="{2DC88AD7-BF53-4767-9A53-F5641479EC3F}"/>
                </a:ext>
              </a:extLst>
            </p:cNvPr>
            <p:cNvSpPr>
              <a:spLocks/>
            </p:cNvSpPr>
            <p:nvPr/>
          </p:nvSpPr>
          <p:spPr bwMode="auto">
            <a:xfrm>
              <a:off x="7681913"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2" name="Freeform 114">
              <a:extLst>
                <a:ext uri="{FF2B5EF4-FFF2-40B4-BE49-F238E27FC236}">
                  <a16:creationId xmlns:a16="http://schemas.microsoft.com/office/drawing/2014/main" id="{DB66FBCE-4F9E-4799-AA34-1F61577187B9}"/>
                </a:ext>
              </a:extLst>
            </p:cNvPr>
            <p:cNvSpPr>
              <a:spLocks/>
            </p:cNvSpPr>
            <p:nvPr/>
          </p:nvSpPr>
          <p:spPr bwMode="auto">
            <a:xfrm>
              <a:off x="7712075"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3" name="Freeform 115">
              <a:extLst>
                <a:ext uri="{FF2B5EF4-FFF2-40B4-BE49-F238E27FC236}">
                  <a16:creationId xmlns:a16="http://schemas.microsoft.com/office/drawing/2014/main" id="{71AA2E60-12BD-4F16-964F-6188B8626F15}"/>
                </a:ext>
              </a:extLst>
            </p:cNvPr>
            <p:cNvSpPr>
              <a:spLocks/>
            </p:cNvSpPr>
            <p:nvPr/>
          </p:nvSpPr>
          <p:spPr bwMode="auto">
            <a:xfrm>
              <a:off x="7743825"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4" name="Freeform 116">
              <a:extLst>
                <a:ext uri="{FF2B5EF4-FFF2-40B4-BE49-F238E27FC236}">
                  <a16:creationId xmlns:a16="http://schemas.microsoft.com/office/drawing/2014/main" id="{535CDD29-5AB7-4AF5-8FE6-2A9253F80897}"/>
                </a:ext>
              </a:extLst>
            </p:cNvPr>
            <p:cNvSpPr>
              <a:spLocks/>
            </p:cNvSpPr>
            <p:nvPr/>
          </p:nvSpPr>
          <p:spPr bwMode="auto">
            <a:xfrm>
              <a:off x="7773988"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5" name="Freeform 117">
              <a:extLst>
                <a:ext uri="{FF2B5EF4-FFF2-40B4-BE49-F238E27FC236}">
                  <a16:creationId xmlns:a16="http://schemas.microsoft.com/office/drawing/2014/main" id="{AE2B1DD0-A729-40CC-BB2B-AC4EC4B543BF}"/>
                </a:ext>
              </a:extLst>
            </p:cNvPr>
            <p:cNvSpPr>
              <a:spLocks/>
            </p:cNvSpPr>
            <p:nvPr/>
          </p:nvSpPr>
          <p:spPr bwMode="auto">
            <a:xfrm>
              <a:off x="7805738"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6" name="Freeform 118">
              <a:extLst>
                <a:ext uri="{FF2B5EF4-FFF2-40B4-BE49-F238E27FC236}">
                  <a16:creationId xmlns:a16="http://schemas.microsoft.com/office/drawing/2014/main" id="{D26E2B4B-D65B-4E7F-AB7F-66B74D844B64}"/>
                </a:ext>
              </a:extLst>
            </p:cNvPr>
            <p:cNvSpPr>
              <a:spLocks/>
            </p:cNvSpPr>
            <p:nvPr/>
          </p:nvSpPr>
          <p:spPr bwMode="auto">
            <a:xfrm>
              <a:off x="7835900"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7" name="Freeform 119">
              <a:extLst>
                <a:ext uri="{FF2B5EF4-FFF2-40B4-BE49-F238E27FC236}">
                  <a16:creationId xmlns:a16="http://schemas.microsoft.com/office/drawing/2014/main" id="{0FD0A579-59B2-4957-ABF7-8008CFA81735}"/>
                </a:ext>
              </a:extLst>
            </p:cNvPr>
            <p:cNvSpPr>
              <a:spLocks/>
            </p:cNvSpPr>
            <p:nvPr/>
          </p:nvSpPr>
          <p:spPr bwMode="auto">
            <a:xfrm>
              <a:off x="7666038"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8" name="Freeform 120">
              <a:extLst>
                <a:ext uri="{FF2B5EF4-FFF2-40B4-BE49-F238E27FC236}">
                  <a16:creationId xmlns:a16="http://schemas.microsoft.com/office/drawing/2014/main" id="{944FDCE5-01F2-4D1E-8F8F-B9C2C7DEA735}"/>
                </a:ext>
              </a:extLst>
            </p:cNvPr>
            <p:cNvSpPr>
              <a:spLocks/>
            </p:cNvSpPr>
            <p:nvPr/>
          </p:nvSpPr>
          <p:spPr bwMode="auto">
            <a:xfrm>
              <a:off x="7696200"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9" name="Freeform 121">
              <a:extLst>
                <a:ext uri="{FF2B5EF4-FFF2-40B4-BE49-F238E27FC236}">
                  <a16:creationId xmlns:a16="http://schemas.microsoft.com/office/drawing/2014/main" id="{579D86C2-EE04-4DC8-B6F1-3CDE4F43B577}"/>
                </a:ext>
              </a:extLst>
            </p:cNvPr>
            <p:cNvSpPr>
              <a:spLocks/>
            </p:cNvSpPr>
            <p:nvPr/>
          </p:nvSpPr>
          <p:spPr bwMode="auto">
            <a:xfrm>
              <a:off x="7727950"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0" name="Freeform 122">
              <a:extLst>
                <a:ext uri="{FF2B5EF4-FFF2-40B4-BE49-F238E27FC236}">
                  <a16:creationId xmlns:a16="http://schemas.microsoft.com/office/drawing/2014/main" id="{3232032F-6A15-4371-8938-6A4E46F81300}"/>
                </a:ext>
              </a:extLst>
            </p:cNvPr>
            <p:cNvSpPr>
              <a:spLocks/>
            </p:cNvSpPr>
            <p:nvPr/>
          </p:nvSpPr>
          <p:spPr bwMode="auto">
            <a:xfrm>
              <a:off x="7758113"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1" name="Freeform 123">
              <a:extLst>
                <a:ext uri="{FF2B5EF4-FFF2-40B4-BE49-F238E27FC236}">
                  <a16:creationId xmlns:a16="http://schemas.microsoft.com/office/drawing/2014/main" id="{CCE477D9-ED52-4FB7-8B71-B8A870170A5E}"/>
                </a:ext>
              </a:extLst>
            </p:cNvPr>
            <p:cNvSpPr>
              <a:spLocks/>
            </p:cNvSpPr>
            <p:nvPr/>
          </p:nvSpPr>
          <p:spPr bwMode="auto">
            <a:xfrm>
              <a:off x="7789863"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2" name="Freeform 124">
              <a:extLst>
                <a:ext uri="{FF2B5EF4-FFF2-40B4-BE49-F238E27FC236}">
                  <a16:creationId xmlns:a16="http://schemas.microsoft.com/office/drawing/2014/main" id="{18D0FEB6-63FB-42CD-A45C-5B0565BBA942}"/>
                </a:ext>
              </a:extLst>
            </p:cNvPr>
            <p:cNvSpPr>
              <a:spLocks/>
            </p:cNvSpPr>
            <p:nvPr/>
          </p:nvSpPr>
          <p:spPr bwMode="auto">
            <a:xfrm>
              <a:off x="7820025"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3" name="Freeform 125">
              <a:extLst>
                <a:ext uri="{FF2B5EF4-FFF2-40B4-BE49-F238E27FC236}">
                  <a16:creationId xmlns:a16="http://schemas.microsoft.com/office/drawing/2014/main" id="{51B7B77C-9327-47C7-B6A0-8B9E83F35088}"/>
                </a:ext>
              </a:extLst>
            </p:cNvPr>
            <p:cNvSpPr>
              <a:spLocks/>
            </p:cNvSpPr>
            <p:nvPr/>
          </p:nvSpPr>
          <p:spPr bwMode="auto">
            <a:xfrm>
              <a:off x="7851775"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731" name="Group 22">
            <a:extLst>
              <a:ext uri="{FF2B5EF4-FFF2-40B4-BE49-F238E27FC236}">
                <a16:creationId xmlns:a16="http://schemas.microsoft.com/office/drawing/2014/main" id="{A14D9C98-E8F5-4890-8637-EFD0D1E39AB2}"/>
              </a:ext>
            </a:extLst>
          </p:cNvPr>
          <p:cNvGrpSpPr>
            <a:grpSpLocks noChangeAspect="1"/>
          </p:cNvGrpSpPr>
          <p:nvPr/>
        </p:nvGrpSpPr>
        <p:grpSpPr>
          <a:xfrm>
            <a:off x="4955119" y="5417577"/>
            <a:ext cx="190939" cy="285619"/>
            <a:chOff x="2646363" y="1360488"/>
            <a:chExt cx="192088" cy="287338"/>
          </a:xfrm>
          <a:solidFill>
            <a:schemeClr val="bg2"/>
          </a:solidFill>
          <a:effectLst/>
        </p:grpSpPr>
        <p:sp>
          <p:nvSpPr>
            <p:cNvPr id="1732" name="Freeform 140">
              <a:extLst>
                <a:ext uri="{FF2B5EF4-FFF2-40B4-BE49-F238E27FC236}">
                  <a16:creationId xmlns:a16="http://schemas.microsoft.com/office/drawing/2014/main" id="{05071525-CC30-4B10-B818-72A0E86BBDC2}"/>
                </a:ext>
              </a:extLst>
            </p:cNvPr>
            <p:cNvSpPr>
              <a:spLocks noEditPoints="1"/>
            </p:cNvSpPr>
            <p:nvPr/>
          </p:nvSpPr>
          <p:spPr bwMode="auto">
            <a:xfrm>
              <a:off x="2646363" y="1360488"/>
              <a:ext cx="192088" cy="287338"/>
            </a:xfrm>
            <a:custGeom>
              <a:avLst/>
              <a:gdLst>
                <a:gd name="T0" fmla="*/ 569 w 602"/>
                <a:gd name="T1" fmla="*/ 765 h 903"/>
                <a:gd name="T2" fmla="*/ 555 w 602"/>
                <a:gd name="T3" fmla="*/ 802 h 903"/>
                <a:gd name="T4" fmla="*/ 532 w 602"/>
                <a:gd name="T5" fmla="*/ 833 h 903"/>
                <a:gd name="T6" fmla="*/ 500 w 602"/>
                <a:gd name="T7" fmla="*/ 857 h 903"/>
                <a:gd name="T8" fmla="*/ 464 w 602"/>
                <a:gd name="T9" fmla="*/ 871 h 903"/>
                <a:gd name="T10" fmla="*/ 166 w 602"/>
                <a:gd name="T11" fmla="*/ 873 h 903"/>
                <a:gd name="T12" fmla="*/ 125 w 602"/>
                <a:gd name="T13" fmla="*/ 868 h 903"/>
                <a:gd name="T14" fmla="*/ 90 w 602"/>
                <a:gd name="T15" fmla="*/ 850 h 903"/>
                <a:gd name="T16" fmla="*/ 61 w 602"/>
                <a:gd name="T17" fmla="*/ 824 h 903"/>
                <a:gd name="T18" fmla="*/ 40 w 602"/>
                <a:gd name="T19" fmla="*/ 790 h 903"/>
                <a:gd name="T20" fmla="*/ 31 w 602"/>
                <a:gd name="T21" fmla="*/ 752 h 903"/>
                <a:gd name="T22" fmla="*/ 31 w 602"/>
                <a:gd name="T23" fmla="*/ 152 h 903"/>
                <a:gd name="T24" fmla="*/ 40 w 602"/>
                <a:gd name="T25" fmla="*/ 114 h 903"/>
                <a:gd name="T26" fmla="*/ 61 w 602"/>
                <a:gd name="T27" fmla="*/ 79 h 903"/>
                <a:gd name="T28" fmla="*/ 90 w 602"/>
                <a:gd name="T29" fmla="*/ 54 h 903"/>
                <a:gd name="T30" fmla="*/ 125 w 602"/>
                <a:gd name="T31" fmla="*/ 36 h 903"/>
                <a:gd name="T32" fmla="*/ 166 w 602"/>
                <a:gd name="T33" fmla="*/ 30 h 903"/>
                <a:gd name="T34" fmla="*/ 464 w 602"/>
                <a:gd name="T35" fmla="*/ 33 h 903"/>
                <a:gd name="T36" fmla="*/ 500 w 602"/>
                <a:gd name="T37" fmla="*/ 47 h 903"/>
                <a:gd name="T38" fmla="*/ 532 w 602"/>
                <a:gd name="T39" fmla="*/ 70 h 903"/>
                <a:gd name="T40" fmla="*/ 555 w 602"/>
                <a:gd name="T41" fmla="*/ 102 h 903"/>
                <a:gd name="T42" fmla="*/ 569 w 602"/>
                <a:gd name="T43" fmla="*/ 138 h 903"/>
                <a:gd name="T44" fmla="*/ 572 w 602"/>
                <a:gd name="T45" fmla="*/ 738 h 903"/>
                <a:gd name="T46" fmla="*/ 149 w 602"/>
                <a:gd name="T47" fmla="*/ 1 h 903"/>
                <a:gd name="T48" fmla="*/ 101 w 602"/>
                <a:gd name="T49" fmla="*/ 13 h 903"/>
                <a:gd name="T50" fmla="*/ 60 w 602"/>
                <a:gd name="T51" fmla="*/ 39 h 903"/>
                <a:gd name="T52" fmla="*/ 29 w 602"/>
                <a:gd name="T53" fmla="*/ 73 h 903"/>
                <a:gd name="T54" fmla="*/ 7 w 602"/>
                <a:gd name="T55" fmla="*/ 117 h 903"/>
                <a:gd name="T56" fmla="*/ 0 w 602"/>
                <a:gd name="T57" fmla="*/ 166 h 903"/>
                <a:gd name="T58" fmla="*/ 3 w 602"/>
                <a:gd name="T59" fmla="*/ 771 h 903"/>
                <a:gd name="T60" fmla="*/ 20 w 602"/>
                <a:gd name="T61" fmla="*/ 817 h 903"/>
                <a:gd name="T62" fmla="*/ 48 w 602"/>
                <a:gd name="T63" fmla="*/ 855 h 903"/>
                <a:gd name="T64" fmla="*/ 86 w 602"/>
                <a:gd name="T65" fmla="*/ 884 h 903"/>
                <a:gd name="T66" fmla="*/ 132 w 602"/>
                <a:gd name="T67" fmla="*/ 900 h 903"/>
                <a:gd name="T68" fmla="*/ 436 w 602"/>
                <a:gd name="T69" fmla="*/ 903 h 903"/>
                <a:gd name="T70" fmla="*/ 485 w 602"/>
                <a:gd name="T71" fmla="*/ 896 h 903"/>
                <a:gd name="T72" fmla="*/ 528 w 602"/>
                <a:gd name="T73" fmla="*/ 875 h 903"/>
                <a:gd name="T74" fmla="*/ 564 w 602"/>
                <a:gd name="T75" fmla="*/ 843 h 903"/>
                <a:gd name="T76" fmla="*/ 588 w 602"/>
                <a:gd name="T77" fmla="*/ 802 h 903"/>
                <a:gd name="T78" fmla="*/ 601 w 602"/>
                <a:gd name="T79" fmla="*/ 755 h 903"/>
                <a:gd name="T80" fmla="*/ 601 w 602"/>
                <a:gd name="T81" fmla="*/ 149 h 903"/>
                <a:gd name="T82" fmla="*/ 588 w 602"/>
                <a:gd name="T83" fmla="*/ 102 h 903"/>
                <a:gd name="T84" fmla="*/ 564 w 602"/>
                <a:gd name="T85" fmla="*/ 61 h 903"/>
                <a:gd name="T86" fmla="*/ 528 w 602"/>
                <a:gd name="T87" fmla="*/ 29 h 903"/>
                <a:gd name="T88" fmla="*/ 485 w 602"/>
                <a:gd name="T89" fmla="*/ 7 h 903"/>
                <a:gd name="T90" fmla="*/ 436 w 602"/>
                <a:gd name="T91"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903">
                  <a:moveTo>
                    <a:pt x="572" y="738"/>
                  </a:moveTo>
                  <a:lnTo>
                    <a:pt x="571" y="752"/>
                  </a:lnTo>
                  <a:lnTo>
                    <a:pt x="569" y="765"/>
                  </a:lnTo>
                  <a:lnTo>
                    <a:pt x="566" y="779"/>
                  </a:lnTo>
                  <a:lnTo>
                    <a:pt x="562" y="790"/>
                  </a:lnTo>
                  <a:lnTo>
                    <a:pt x="555" y="802"/>
                  </a:lnTo>
                  <a:lnTo>
                    <a:pt x="549" y="814"/>
                  </a:lnTo>
                  <a:lnTo>
                    <a:pt x="541" y="824"/>
                  </a:lnTo>
                  <a:lnTo>
                    <a:pt x="532" y="833"/>
                  </a:lnTo>
                  <a:lnTo>
                    <a:pt x="522" y="842"/>
                  </a:lnTo>
                  <a:lnTo>
                    <a:pt x="512" y="850"/>
                  </a:lnTo>
                  <a:lnTo>
                    <a:pt x="500" y="857"/>
                  </a:lnTo>
                  <a:lnTo>
                    <a:pt x="489" y="862"/>
                  </a:lnTo>
                  <a:lnTo>
                    <a:pt x="477" y="868"/>
                  </a:lnTo>
                  <a:lnTo>
                    <a:pt x="464" y="871"/>
                  </a:lnTo>
                  <a:lnTo>
                    <a:pt x="450" y="873"/>
                  </a:lnTo>
                  <a:lnTo>
                    <a:pt x="436" y="873"/>
                  </a:lnTo>
                  <a:lnTo>
                    <a:pt x="166" y="873"/>
                  </a:lnTo>
                  <a:lnTo>
                    <a:pt x="152" y="873"/>
                  </a:lnTo>
                  <a:lnTo>
                    <a:pt x="138" y="871"/>
                  </a:lnTo>
                  <a:lnTo>
                    <a:pt x="125" y="868"/>
                  </a:lnTo>
                  <a:lnTo>
                    <a:pt x="112" y="862"/>
                  </a:lnTo>
                  <a:lnTo>
                    <a:pt x="100" y="857"/>
                  </a:lnTo>
                  <a:lnTo>
                    <a:pt x="90" y="850"/>
                  </a:lnTo>
                  <a:lnTo>
                    <a:pt x="79" y="842"/>
                  </a:lnTo>
                  <a:lnTo>
                    <a:pt x="69" y="833"/>
                  </a:lnTo>
                  <a:lnTo>
                    <a:pt x="61" y="824"/>
                  </a:lnTo>
                  <a:lnTo>
                    <a:pt x="53" y="814"/>
                  </a:lnTo>
                  <a:lnTo>
                    <a:pt x="47" y="802"/>
                  </a:lnTo>
                  <a:lnTo>
                    <a:pt x="40" y="790"/>
                  </a:lnTo>
                  <a:lnTo>
                    <a:pt x="36" y="779"/>
                  </a:lnTo>
                  <a:lnTo>
                    <a:pt x="33" y="765"/>
                  </a:lnTo>
                  <a:lnTo>
                    <a:pt x="31" y="752"/>
                  </a:lnTo>
                  <a:lnTo>
                    <a:pt x="30" y="738"/>
                  </a:lnTo>
                  <a:lnTo>
                    <a:pt x="30" y="166"/>
                  </a:lnTo>
                  <a:lnTo>
                    <a:pt x="31" y="152"/>
                  </a:lnTo>
                  <a:lnTo>
                    <a:pt x="33" y="138"/>
                  </a:lnTo>
                  <a:lnTo>
                    <a:pt x="36" y="125"/>
                  </a:lnTo>
                  <a:lnTo>
                    <a:pt x="40" y="114"/>
                  </a:lnTo>
                  <a:lnTo>
                    <a:pt x="47" y="102"/>
                  </a:lnTo>
                  <a:lnTo>
                    <a:pt x="53" y="90"/>
                  </a:lnTo>
                  <a:lnTo>
                    <a:pt x="61" y="79"/>
                  </a:lnTo>
                  <a:lnTo>
                    <a:pt x="69" y="70"/>
                  </a:lnTo>
                  <a:lnTo>
                    <a:pt x="79" y="61"/>
                  </a:lnTo>
                  <a:lnTo>
                    <a:pt x="90" y="54"/>
                  </a:lnTo>
                  <a:lnTo>
                    <a:pt x="100" y="47"/>
                  </a:lnTo>
                  <a:lnTo>
                    <a:pt x="112" y="41"/>
                  </a:lnTo>
                  <a:lnTo>
                    <a:pt x="125" y="36"/>
                  </a:lnTo>
                  <a:lnTo>
                    <a:pt x="138" y="33"/>
                  </a:lnTo>
                  <a:lnTo>
                    <a:pt x="152" y="31"/>
                  </a:lnTo>
                  <a:lnTo>
                    <a:pt x="166" y="30"/>
                  </a:lnTo>
                  <a:lnTo>
                    <a:pt x="436" y="30"/>
                  </a:lnTo>
                  <a:lnTo>
                    <a:pt x="450" y="31"/>
                  </a:lnTo>
                  <a:lnTo>
                    <a:pt x="464" y="33"/>
                  </a:lnTo>
                  <a:lnTo>
                    <a:pt x="477" y="36"/>
                  </a:lnTo>
                  <a:lnTo>
                    <a:pt x="489" y="41"/>
                  </a:lnTo>
                  <a:lnTo>
                    <a:pt x="500" y="47"/>
                  </a:lnTo>
                  <a:lnTo>
                    <a:pt x="512" y="54"/>
                  </a:lnTo>
                  <a:lnTo>
                    <a:pt x="522" y="61"/>
                  </a:lnTo>
                  <a:lnTo>
                    <a:pt x="532" y="70"/>
                  </a:lnTo>
                  <a:lnTo>
                    <a:pt x="541" y="79"/>
                  </a:lnTo>
                  <a:lnTo>
                    <a:pt x="549" y="90"/>
                  </a:lnTo>
                  <a:lnTo>
                    <a:pt x="555" y="102"/>
                  </a:lnTo>
                  <a:lnTo>
                    <a:pt x="562" y="114"/>
                  </a:lnTo>
                  <a:lnTo>
                    <a:pt x="566" y="125"/>
                  </a:lnTo>
                  <a:lnTo>
                    <a:pt x="569" y="138"/>
                  </a:lnTo>
                  <a:lnTo>
                    <a:pt x="571" y="152"/>
                  </a:lnTo>
                  <a:lnTo>
                    <a:pt x="572" y="166"/>
                  </a:lnTo>
                  <a:lnTo>
                    <a:pt x="572" y="738"/>
                  </a:lnTo>
                  <a:close/>
                  <a:moveTo>
                    <a:pt x="436" y="0"/>
                  </a:moveTo>
                  <a:lnTo>
                    <a:pt x="166" y="0"/>
                  </a:lnTo>
                  <a:lnTo>
                    <a:pt x="149" y="1"/>
                  </a:lnTo>
                  <a:lnTo>
                    <a:pt x="132" y="3"/>
                  </a:lnTo>
                  <a:lnTo>
                    <a:pt x="116" y="7"/>
                  </a:lnTo>
                  <a:lnTo>
                    <a:pt x="101" y="13"/>
                  </a:lnTo>
                  <a:lnTo>
                    <a:pt x="86" y="20"/>
                  </a:lnTo>
                  <a:lnTo>
                    <a:pt x="73" y="29"/>
                  </a:lnTo>
                  <a:lnTo>
                    <a:pt x="60" y="39"/>
                  </a:lnTo>
                  <a:lnTo>
                    <a:pt x="48" y="49"/>
                  </a:lnTo>
                  <a:lnTo>
                    <a:pt x="37" y="61"/>
                  </a:lnTo>
                  <a:lnTo>
                    <a:pt x="29" y="73"/>
                  </a:lnTo>
                  <a:lnTo>
                    <a:pt x="20" y="87"/>
                  </a:lnTo>
                  <a:lnTo>
                    <a:pt x="12" y="102"/>
                  </a:lnTo>
                  <a:lnTo>
                    <a:pt x="7" y="117"/>
                  </a:lnTo>
                  <a:lnTo>
                    <a:pt x="3" y="133"/>
                  </a:lnTo>
                  <a:lnTo>
                    <a:pt x="1" y="149"/>
                  </a:lnTo>
                  <a:lnTo>
                    <a:pt x="0" y="166"/>
                  </a:lnTo>
                  <a:lnTo>
                    <a:pt x="0" y="738"/>
                  </a:lnTo>
                  <a:lnTo>
                    <a:pt x="1" y="755"/>
                  </a:lnTo>
                  <a:lnTo>
                    <a:pt x="3" y="771"/>
                  </a:lnTo>
                  <a:lnTo>
                    <a:pt x="7" y="787"/>
                  </a:lnTo>
                  <a:lnTo>
                    <a:pt x="12" y="802"/>
                  </a:lnTo>
                  <a:lnTo>
                    <a:pt x="20" y="817"/>
                  </a:lnTo>
                  <a:lnTo>
                    <a:pt x="29" y="830"/>
                  </a:lnTo>
                  <a:lnTo>
                    <a:pt x="37" y="843"/>
                  </a:lnTo>
                  <a:lnTo>
                    <a:pt x="48" y="855"/>
                  </a:lnTo>
                  <a:lnTo>
                    <a:pt x="60" y="866"/>
                  </a:lnTo>
                  <a:lnTo>
                    <a:pt x="73" y="875"/>
                  </a:lnTo>
                  <a:lnTo>
                    <a:pt x="86" y="884"/>
                  </a:lnTo>
                  <a:lnTo>
                    <a:pt x="101" y="890"/>
                  </a:lnTo>
                  <a:lnTo>
                    <a:pt x="116" y="896"/>
                  </a:lnTo>
                  <a:lnTo>
                    <a:pt x="132" y="900"/>
                  </a:lnTo>
                  <a:lnTo>
                    <a:pt x="149" y="903"/>
                  </a:lnTo>
                  <a:lnTo>
                    <a:pt x="166" y="903"/>
                  </a:lnTo>
                  <a:lnTo>
                    <a:pt x="436" y="903"/>
                  </a:lnTo>
                  <a:lnTo>
                    <a:pt x="453" y="903"/>
                  </a:lnTo>
                  <a:lnTo>
                    <a:pt x="469" y="900"/>
                  </a:lnTo>
                  <a:lnTo>
                    <a:pt x="485" y="896"/>
                  </a:lnTo>
                  <a:lnTo>
                    <a:pt x="500" y="890"/>
                  </a:lnTo>
                  <a:lnTo>
                    <a:pt x="515" y="884"/>
                  </a:lnTo>
                  <a:lnTo>
                    <a:pt x="528" y="875"/>
                  </a:lnTo>
                  <a:lnTo>
                    <a:pt x="541" y="866"/>
                  </a:lnTo>
                  <a:lnTo>
                    <a:pt x="553" y="855"/>
                  </a:lnTo>
                  <a:lnTo>
                    <a:pt x="564" y="843"/>
                  </a:lnTo>
                  <a:lnTo>
                    <a:pt x="573" y="830"/>
                  </a:lnTo>
                  <a:lnTo>
                    <a:pt x="582" y="817"/>
                  </a:lnTo>
                  <a:lnTo>
                    <a:pt x="588" y="802"/>
                  </a:lnTo>
                  <a:lnTo>
                    <a:pt x="595" y="787"/>
                  </a:lnTo>
                  <a:lnTo>
                    <a:pt x="598" y="771"/>
                  </a:lnTo>
                  <a:lnTo>
                    <a:pt x="601" y="755"/>
                  </a:lnTo>
                  <a:lnTo>
                    <a:pt x="602" y="738"/>
                  </a:lnTo>
                  <a:lnTo>
                    <a:pt x="602" y="166"/>
                  </a:lnTo>
                  <a:lnTo>
                    <a:pt x="601" y="149"/>
                  </a:lnTo>
                  <a:lnTo>
                    <a:pt x="598" y="133"/>
                  </a:lnTo>
                  <a:lnTo>
                    <a:pt x="595" y="117"/>
                  </a:lnTo>
                  <a:lnTo>
                    <a:pt x="588" y="102"/>
                  </a:lnTo>
                  <a:lnTo>
                    <a:pt x="582" y="87"/>
                  </a:lnTo>
                  <a:lnTo>
                    <a:pt x="573" y="73"/>
                  </a:lnTo>
                  <a:lnTo>
                    <a:pt x="564" y="61"/>
                  </a:lnTo>
                  <a:lnTo>
                    <a:pt x="553" y="49"/>
                  </a:lnTo>
                  <a:lnTo>
                    <a:pt x="541" y="39"/>
                  </a:lnTo>
                  <a:lnTo>
                    <a:pt x="528" y="29"/>
                  </a:lnTo>
                  <a:lnTo>
                    <a:pt x="515" y="20"/>
                  </a:lnTo>
                  <a:lnTo>
                    <a:pt x="500" y="14"/>
                  </a:lnTo>
                  <a:lnTo>
                    <a:pt x="485" y="7"/>
                  </a:lnTo>
                  <a:lnTo>
                    <a:pt x="469" y="4"/>
                  </a:lnTo>
                  <a:lnTo>
                    <a:pt x="453" y="1"/>
                  </a:lnTo>
                  <a:lnTo>
                    <a:pt x="436" y="0"/>
                  </a:lnTo>
                  <a:lnTo>
                    <a:pt x="4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3" name="Freeform 141">
              <a:extLst>
                <a:ext uri="{FF2B5EF4-FFF2-40B4-BE49-F238E27FC236}">
                  <a16:creationId xmlns:a16="http://schemas.microsoft.com/office/drawing/2014/main" id="{F84D3854-38B8-4A67-A015-4E045CB4D6B3}"/>
                </a:ext>
              </a:extLst>
            </p:cNvPr>
            <p:cNvSpPr>
              <a:spLocks noEditPoints="1"/>
            </p:cNvSpPr>
            <p:nvPr/>
          </p:nvSpPr>
          <p:spPr bwMode="auto">
            <a:xfrm>
              <a:off x="2674938" y="1408113"/>
              <a:ext cx="133350" cy="115888"/>
            </a:xfrm>
            <a:custGeom>
              <a:avLst/>
              <a:gdLst>
                <a:gd name="T0" fmla="*/ 30 w 421"/>
                <a:gd name="T1" fmla="*/ 30 h 361"/>
                <a:gd name="T2" fmla="*/ 391 w 421"/>
                <a:gd name="T3" fmla="*/ 30 h 361"/>
                <a:gd name="T4" fmla="*/ 391 w 421"/>
                <a:gd name="T5" fmla="*/ 331 h 361"/>
                <a:gd name="T6" fmla="*/ 30 w 421"/>
                <a:gd name="T7" fmla="*/ 331 h 361"/>
                <a:gd name="T8" fmla="*/ 30 w 421"/>
                <a:gd name="T9" fmla="*/ 30 h 361"/>
                <a:gd name="T10" fmla="*/ 0 w 421"/>
                <a:gd name="T11" fmla="*/ 361 h 361"/>
                <a:gd name="T12" fmla="*/ 421 w 421"/>
                <a:gd name="T13" fmla="*/ 361 h 361"/>
                <a:gd name="T14" fmla="*/ 421 w 421"/>
                <a:gd name="T15" fmla="*/ 0 h 361"/>
                <a:gd name="T16" fmla="*/ 0 w 421"/>
                <a:gd name="T17" fmla="*/ 0 h 361"/>
                <a:gd name="T18" fmla="*/ 0 w 421"/>
                <a:gd name="T1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 h="361">
                  <a:moveTo>
                    <a:pt x="30" y="30"/>
                  </a:moveTo>
                  <a:lnTo>
                    <a:pt x="391" y="30"/>
                  </a:lnTo>
                  <a:lnTo>
                    <a:pt x="391" y="331"/>
                  </a:lnTo>
                  <a:lnTo>
                    <a:pt x="30" y="331"/>
                  </a:lnTo>
                  <a:lnTo>
                    <a:pt x="30" y="30"/>
                  </a:lnTo>
                  <a:close/>
                  <a:moveTo>
                    <a:pt x="0" y="361"/>
                  </a:moveTo>
                  <a:lnTo>
                    <a:pt x="421" y="361"/>
                  </a:lnTo>
                  <a:lnTo>
                    <a:pt x="421" y="0"/>
                  </a:lnTo>
                  <a:lnTo>
                    <a:pt x="0" y="0"/>
                  </a:lnTo>
                  <a:lnTo>
                    <a:pt x="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4" name="Freeform 142">
              <a:extLst>
                <a:ext uri="{FF2B5EF4-FFF2-40B4-BE49-F238E27FC236}">
                  <a16:creationId xmlns:a16="http://schemas.microsoft.com/office/drawing/2014/main" id="{CCE07CD7-44A8-4422-A48E-C6ACF110626E}"/>
                </a:ext>
              </a:extLst>
            </p:cNvPr>
            <p:cNvSpPr>
              <a:spLocks/>
            </p:cNvSpPr>
            <p:nvPr/>
          </p:nvSpPr>
          <p:spPr bwMode="auto">
            <a:xfrm>
              <a:off x="2708275" y="1389063"/>
              <a:ext cx="66675" cy="9525"/>
            </a:xfrm>
            <a:custGeom>
              <a:avLst/>
              <a:gdLst>
                <a:gd name="T0" fmla="*/ 15 w 210"/>
                <a:gd name="T1" fmla="*/ 30 h 30"/>
                <a:gd name="T2" fmla="*/ 195 w 210"/>
                <a:gd name="T3" fmla="*/ 30 h 30"/>
                <a:gd name="T4" fmla="*/ 198 w 210"/>
                <a:gd name="T5" fmla="*/ 29 h 30"/>
                <a:gd name="T6" fmla="*/ 201 w 210"/>
                <a:gd name="T7" fmla="*/ 28 h 30"/>
                <a:gd name="T8" fmla="*/ 204 w 210"/>
                <a:gd name="T9" fmla="*/ 27 h 30"/>
                <a:gd name="T10" fmla="*/ 206 w 210"/>
                <a:gd name="T11" fmla="*/ 25 h 30"/>
                <a:gd name="T12" fmla="*/ 208 w 210"/>
                <a:gd name="T13" fmla="*/ 23 h 30"/>
                <a:gd name="T14" fmla="*/ 209 w 210"/>
                <a:gd name="T15" fmla="*/ 20 h 30"/>
                <a:gd name="T16" fmla="*/ 210 w 210"/>
                <a:gd name="T17" fmla="*/ 17 h 30"/>
                <a:gd name="T18" fmla="*/ 210 w 210"/>
                <a:gd name="T19" fmla="*/ 15 h 30"/>
                <a:gd name="T20" fmla="*/ 210 w 210"/>
                <a:gd name="T21" fmla="*/ 12 h 30"/>
                <a:gd name="T22" fmla="*/ 209 w 210"/>
                <a:gd name="T23" fmla="*/ 9 h 30"/>
                <a:gd name="T24" fmla="*/ 208 w 210"/>
                <a:gd name="T25" fmla="*/ 7 h 30"/>
                <a:gd name="T26" fmla="*/ 206 w 210"/>
                <a:gd name="T27" fmla="*/ 4 h 30"/>
                <a:gd name="T28" fmla="*/ 204 w 210"/>
                <a:gd name="T29" fmla="*/ 2 h 30"/>
                <a:gd name="T30" fmla="*/ 201 w 210"/>
                <a:gd name="T31" fmla="*/ 1 h 30"/>
                <a:gd name="T32" fmla="*/ 198 w 210"/>
                <a:gd name="T33" fmla="*/ 0 h 30"/>
                <a:gd name="T34" fmla="*/ 195 w 210"/>
                <a:gd name="T35" fmla="*/ 0 h 30"/>
                <a:gd name="T36" fmla="*/ 15 w 210"/>
                <a:gd name="T37" fmla="*/ 0 h 30"/>
                <a:gd name="T38" fmla="*/ 12 w 210"/>
                <a:gd name="T39" fmla="*/ 0 h 30"/>
                <a:gd name="T40" fmla="*/ 8 w 210"/>
                <a:gd name="T41" fmla="*/ 1 h 30"/>
                <a:gd name="T42" fmla="*/ 6 w 210"/>
                <a:gd name="T43" fmla="*/ 2 h 30"/>
                <a:gd name="T44" fmla="*/ 4 w 210"/>
                <a:gd name="T45" fmla="*/ 4 h 30"/>
                <a:gd name="T46" fmla="*/ 2 w 210"/>
                <a:gd name="T47" fmla="*/ 7 h 30"/>
                <a:gd name="T48" fmla="*/ 1 w 210"/>
                <a:gd name="T49" fmla="*/ 9 h 30"/>
                <a:gd name="T50" fmla="*/ 0 w 210"/>
                <a:gd name="T51" fmla="*/ 12 h 30"/>
                <a:gd name="T52" fmla="*/ 0 w 210"/>
                <a:gd name="T53" fmla="*/ 15 h 30"/>
                <a:gd name="T54" fmla="*/ 0 w 210"/>
                <a:gd name="T55" fmla="*/ 17 h 30"/>
                <a:gd name="T56" fmla="*/ 1 w 210"/>
                <a:gd name="T57" fmla="*/ 20 h 30"/>
                <a:gd name="T58" fmla="*/ 2 w 210"/>
                <a:gd name="T59" fmla="*/ 23 h 30"/>
                <a:gd name="T60" fmla="*/ 4 w 210"/>
                <a:gd name="T61" fmla="*/ 25 h 30"/>
                <a:gd name="T62" fmla="*/ 6 w 210"/>
                <a:gd name="T63" fmla="*/ 27 h 30"/>
                <a:gd name="T64" fmla="*/ 8 w 210"/>
                <a:gd name="T65" fmla="*/ 29 h 30"/>
                <a:gd name="T66" fmla="*/ 12 w 210"/>
                <a:gd name="T67" fmla="*/ 29 h 30"/>
                <a:gd name="T68" fmla="*/ 15 w 210"/>
                <a:gd name="T69" fmla="*/ 30 h 30"/>
                <a:gd name="T70" fmla="*/ 15 w 21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 h="30">
                  <a:moveTo>
                    <a:pt x="15" y="30"/>
                  </a:moveTo>
                  <a:lnTo>
                    <a:pt x="195" y="30"/>
                  </a:lnTo>
                  <a:lnTo>
                    <a:pt x="198" y="29"/>
                  </a:lnTo>
                  <a:lnTo>
                    <a:pt x="201" y="28"/>
                  </a:lnTo>
                  <a:lnTo>
                    <a:pt x="204" y="27"/>
                  </a:lnTo>
                  <a:lnTo>
                    <a:pt x="206" y="25"/>
                  </a:lnTo>
                  <a:lnTo>
                    <a:pt x="208" y="23"/>
                  </a:lnTo>
                  <a:lnTo>
                    <a:pt x="209" y="20"/>
                  </a:lnTo>
                  <a:lnTo>
                    <a:pt x="210" y="17"/>
                  </a:lnTo>
                  <a:lnTo>
                    <a:pt x="210" y="15"/>
                  </a:lnTo>
                  <a:lnTo>
                    <a:pt x="210" y="12"/>
                  </a:lnTo>
                  <a:lnTo>
                    <a:pt x="209" y="9"/>
                  </a:lnTo>
                  <a:lnTo>
                    <a:pt x="208" y="7"/>
                  </a:lnTo>
                  <a:lnTo>
                    <a:pt x="206" y="4"/>
                  </a:lnTo>
                  <a:lnTo>
                    <a:pt x="204" y="2"/>
                  </a:lnTo>
                  <a:lnTo>
                    <a:pt x="201" y="1"/>
                  </a:lnTo>
                  <a:lnTo>
                    <a:pt x="198" y="0"/>
                  </a:lnTo>
                  <a:lnTo>
                    <a:pt x="195" y="0"/>
                  </a:lnTo>
                  <a:lnTo>
                    <a:pt x="15" y="0"/>
                  </a:lnTo>
                  <a:lnTo>
                    <a:pt x="12" y="0"/>
                  </a:lnTo>
                  <a:lnTo>
                    <a:pt x="8" y="1"/>
                  </a:lnTo>
                  <a:lnTo>
                    <a:pt x="6" y="2"/>
                  </a:lnTo>
                  <a:lnTo>
                    <a:pt x="4" y="4"/>
                  </a:lnTo>
                  <a:lnTo>
                    <a:pt x="2" y="7"/>
                  </a:lnTo>
                  <a:lnTo>
                    <a:pt x="1" y="9"/>
                  </a:lnTo>
                  <a:lnTo>
                    <a:pt x="0" y="12"/>
                  </a:lnTo>
                  <a:lnTo>
                    <a:pt x="0" y="15"/>
                  </a:lnTo>
                  <a:lnTo>
                    <a:pt x="0" y="17"/>
                  </a:lnTo>
                  <a:lnTo>
                    <a:pt x="1" y="20"/>
                  </a:lnTo>
                  <a:lnTo>
                    <a:pt x="2" y="23"/>
                  </a:lnTo>
                  <a:lnTo>
                    <a:pt x="4" y="25"/>
                  </a:lnTo>
                  <a:lnTo>
                    <a:pt x="6" y="27"/>
                  </a:lnTo>
                  <a:lnTo>
                    <a:pt x="8"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5" name="Rectangle 143">
              <a:extLst>
                <a:ext uri="{FF2B5EF4-FFF2-40B4-BE49-F238E27FC236}">
                  <a16:creationId xmlns:a16="http://schemas.microsoft.com/office/drawing/2014/main" id="{E20964A8-216D-404B-984A-06AB808FF9DE}"/>
                </a:ext>
              </a:extLst>
            </p:cNvPr>
            <p:cNvSpPr>
              <a:spLocks noChangeArrowheads="1"/>
            </p:cNvSpPr>
            <p:nvPr/>
          </p:nvSpPr>
          <p:spPr bwMode="auto">
            <a:xfrm>
              <a:off x="2703513"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6" name="Rectangle 144">
              <a:extLst>
                <a:ext uri="{FF2B5EF4-FFF2-40B4-BE49-F238E27FC236}">
                  <a16:creationId xmlns:a16="http://schemas.microsoft.com/office/drawing/2014/main" id="{7547DF3B-1F8A-4811-9B7F-7C65931CFAD1}"/>
                </a:ext>
              </a:extLst>
            </p:cNvPr>
            <p:cNvSpPr>
              <a:spLocks noChangeArrowheads="1"/>
            </p:cNvSpPr>
            <p:nvPr/>
          </p:nvSpPr>
          <p:spPr bwMode="auto">
            <a:xfrm>
              <a:off x="2736850"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7" name="Rectangle 145">
              <a:extLst>
                <a:ext uri="{FF2B5EF4-FFF2-40B4-BE49-F238E27FC236}">
                  <a16:creationId xmlns:a16="http://schemas.microsoft.com/office/drawing/2014/main" id="{7FF4E94C-EEF6-4D27-B21C-0EEAFDC4B2BE}"/>
                </a:ext>
              </a:extLst>
            </p:cNvPr>
            <p:cNvSpPr>
              <a:spLocks noChangeArrowheads="1"/>
            </p:cNvSpPr>
            <p:nvPr/>
          </p:nvSpPr>
          <p:spPr bwMode="auto">
            <a:xfrm>
              <a:off x="2770188"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8" name="Rectangle 146">
              <a:extLst>
                <a:ext uri="{FF2B5EF4-FFF2-40B4-BE49-F238E27FC236}">
                  <a16:creationId xmlns:a16="http://schemas.microsoft.com/office/drawing/2014/main" id="{7BC92669-0384-4E83-B8D8-5681CF56A998}"/>
                </a:ext>
              </a:extLst>
            </p:cNvPr>
            <p:cNvSpPr>
              <a:spLocks noChangeArrowheads="1"/>
            </p:cNvSpPr>
            <p:nvPr/>
          </p:nvSpPr>
          <p:spPr bwMode="auto">
            <a:xfrm>
              <a:off x="2703513"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9" name="Rectangle 147">
              <a:extLst>
                <a:ext uri="{FF2B5EF4-FFF2-40B4-BE49-F238E27FC236}">
                  <a16:creationId xmlns:a16="http://schemas.microsoft.com/office/drawing/2014/main" id="{76CC5EE9-E307-45BE-914C-B39AF883C968}"/>
                </a:ext>
              </a:extLst>
            </p:cNvPr>
            <p:cNvSpPr>
              <a:spLocks noChangeArrowheads="1"/>
            </p:cNvSpPr>
            <p:nvPr/>
          </p:nvSpPr>
          <p:spPr bwMode="auto">
            <a:xfrm>
              <a:off x="2736850"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0" name="Rectangle 148">
              <a:extLst>
                <a:ext uri="{FF2B5EF4-FFF2-40B4-BE49-F238E27FC236}">
                  <a16:creationId xmlns:a16="http://schemas.microsoft.com/office/drawing/2014/main" id="{48AB1B78-7C34-4DF2-AC3D-8C69F7BA3267}"/>
                </a:ext>
              </a:extLst>
            </p:cNvPr>
            <p:cNvSpPr>
              <a:spLocks noChangeArrowheads="1"/>
            </p:cNvSpPr>
            <p:nvPr/>
          </p:nvSpPr>
          <p:spPr bwMode="auto">
            <a:xfrm>
              <a:off x="2770188"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1" name="Rectangle 149">
              <a:extLst>
                <a:ext uri="{FF2B5EF4-FFF2-40B4-BE49-F238E27FC236}">
                  <a16:creationId xmlns:a16="http://schemas.microsoft.com/office/drawing/2014/main" id="{1BA5F9A4-212C-4D35-94F0-60419D76FF74}"/>
                </a:ext>
              </a:extLst>
            </p:cNvPr>
            <p:cNvSpPr>
              <a:spLocks noChangeArrowheads="1"/>
            </p:cNvSpPr>
            <p:nvPr/>
          </p:nvSpPr>
          <p:spPr bwMode="auto">
            <a:xfrm>
              <a:off x="2703513"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2" name="Rectangle 150">
              <a:extLst>
                <a:ext uri="{FF2B5EF4-FFF2-40B4-BE49-F238E27FC236}">
                  <a16:creationId xmlns:a16="http://schemas.microsoft.com/office/drawing/2014/main" id="{1AF72192-8F00-44A1-8218-0026E9272BF1}"/>
                </a:ext>
              </a:extLst>
            </p:cNvPr>
            <p:cNvSpPr>
              <a:spLocks noChangeArrowheads="1"/>
            </p:cNvSpPr>
            <p:nvPr/>
          </p:nvSpPr>
          <p:spPr bwMode="auto">
            <a:xfrm>
              <a:off x="2736850"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3" name="Rectangle 151">
              <a:extLst>
                <a:ext uri="{FF2B5EF4-FFF2-40B4-BE49-F238E27FC236}">
                  <a16:creationId xmlns:a16="http://schemas.microsoft.com/office/drawing/2014/main" id="{4B58CBF3-9BE7-4C81-87CD-C6654988E339}"/>
                </a:ext>
              </a:extLst>
            </p:cNvPr>
            <p:cNvSpPr>
              <a:spLocks noChangeArrowheads="1"/>
            </p:cNvSpPr>
            <p:nvPr/>
          </p:nvSpPr>
          <p:spPr bwMode="auto">
            <a:xfrm>
              <a:off x="2770188"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44" name="Group 35">
            <a:extLst>
              <a:ext uri="{FF2B5EF4-FFF2-40B4-BE49-F238E27FC236}">
                <a16:creationId xmlns:a16="http://schemas.microsoft.com/office/drawing/2014/main" id="{06EF46DD-F7E6-46D2-B805-7F4F4284AE56}"/>
              </a:ext>
            </a:extLst>
          </p:cNvPr>
          <p:cNvGrpSpPr>
            <a:grpSpLocks noChangeAspect="1"/>
          </p:cNvGrpSpPr>
          <p:nvPr/>
        </p:nvGrpSpPr>
        <p:grpSpPr>
          <a:xfrm>
            <a:off x="4101261" y="5417577"/>
            <a:ext cx="172003" cy="285619"/>
            <a:chOff x="3228975" y="1360488"/>
            <a:chExt cx="173038" cy="287338"/>
          </a:xfrm>
          <a:solidFill>
            <a:schemeClr val="bg2"/>
          </a:solidFill>
          <a:effectLst/>
        </p:grpSpPr>
        <p:sp>
          <p:nvSpPr>
            <p:cNvPr id="1745" name="Freeform 137">
              <a:extLst>
                <a:ext uri="{FF2B5EF4-FFF2-40B4-BE49-F238E27FC236}">
                  <a16:creationId xmlns:a16="http://schemas.microsoft.com/office/drawing/2014/main" id="{9CB418C2-9003-43B8-9346-58A86E9910CA}"/>
                </a:ext>
              </a:extLst>
            </p:cNvPr>
            <p:cNvSpPr>
              <a:spLocks noEditPoints="1"/>
            </p:cNvSpPr>
            <p:nvPr/>
          </p:nvSpPr>
          <p:spPr bwMode="auto">
            <a:xfrm>
              <a:off x="3228975" y="1360488"/>
              <a:ext cx="173038" cy="287338"/>
            </a:xfrm>
            <a:custGeom>
              <a:avLst/>
              <a:gdLst>
                <a:gd name="T0" fmla="*/ 84 w 542"/>
                <a:gd name="T1" fmla="*/ 873 h 903"/>
                <a:gd name="T2" fmla="*/ 67 w 542"/>
                <a:gd name="T3" fmla="*/ 869 h 903"/>
                <a:gd name="T4" fmla="*/ 52 w 542"/>
                <a:gd name="T5" fmla="*/ 859 h 903"/>
                <a:gd name="T6" fmla="*/ 40 w 542"/>
                <a:gd name="T7" fmla="*/ 847 h 903"/>
                <a:gd name="T8" fmla="*/ 33 w 542"/>
                <a:gd name="T9" fmla="*/ 831 h 903"/>
                <a:gd name="T10" fmla="*/ 31 w 542"/>
                <a:gd name="T11" fmla="*/ 813 h 903"/>
                <a:gd name="T12" fmla="*/ 512 w 542"/>
                <a:gd name="T13" fmla="*/ 813 h 903"/>
                <a:gd name="T14" fmla="*/ 509 w 542"/>
                <a:gd name="T15" fmla="*/ 831 h 903"/>
                <a:gd name="T16" fmla="*/ 502 w 542"/>
                <a:gd name="T17" fmla="*/ 847 h 903"/>
                <a:gd name="T18" fmla="*/ 490 w 542"/>
                <a:gd name="T19" fmla="*/ 859 h 903"/>
                <a:gd name="T20" fmla="*/ 475 w 542"/>
                <a:gd name="T21" fmla="*/ 869 h 903"/>
                <a:gd name="T22" fmla="*/ 458 w 542"/>
                <a:gd name="T23" fmla="*/ 873 h 903"/>
                <a:gd name="T24" fmla="*/ 452 w 542"/>
                <a:gd name="T25" fmla="*/ 30 h 903"/>
                <a:gd name="T26" fmla="*/ 469 w 542"/>
                <a:gd name="T27" fmla="*/ 33 h 903"/>
                <a:gd name="T28" fmla="*/ 486 w 542"/>
                <a:gd name="T29" fmla="*/ 41 h 903"/>
                <a:gd name="T30" fmla="*/ 498 w 542"/>
                <a:gd name="T31" fmla="*/ 52 h 903"/>
                <a:gd name="T32" fmla="*/ 507 w 542"/>
                <a:gd name="T33" fmla="*/ 68 h 903"/>
                <a:gd name="T34" fmla="*/ 511 w 542"/>
                <a:gd name="T35" fmla="*/ 85 h 903"/>
                <a:gd name="T36" fmla="*/ 31 w 542"/>
                <a:gd name="T37" fmla="*/ 151 h 903"/>
                <a:gd name="T38" fmla="*/ 32 w 542"/>
                <a:gd name="T39" fmla="*/ 78 h 903"/>
                <a:gd name="T40" fmla="*/ 37 w 542"/>
                <a:gd name="T41" fmla="*/ 62 h 903"/>
                <a:gd name="T42" fmla="*/ 48 w 542"/>
                <a:gd name="T43" fmla="*/ 48 h 903"/>
                <a:gd name="T44" fmla="*/ 62 w 542"/>
                <a:gd name="T45" fmla="*/ 37 h 903"/>
                <a:gd name="T46" fmla="*/ 78 w 542"/>
                <a:gd name="T47" fmla="*/ 32 h 903"/>
                <a:gd name="T48" fmla="*/ 31 w 542"/>
                <a:gd name="T49" fmla="*/ 181 h 903"/>
                <a:gd name="T50" fmla="*/ 31 w 542"/>
                <a:gd name="T51" fmla="*/ 723 h 903"/>
                <a:gd name="T52" fmla="*/ 91 w 542"/>
                <a:gd name="T53" fmla="*/ 0 h 903"/>
                <a:gd name="T54" fmla="*/ 64 w 542"/>
                <a:gd name="T55" fmla="*/ 4 h 903"/>
                <a:gd name="T56" fmla="*/ 40 w 542"/>
                <a:gd name="T57" fmla="*/ 16 h 903"/>
                <a:gd name="T58" fmla="*/ 21 w 542"/>
                <a:gd name="T59" fmla="*/ 33 h 903"/>
                <a:gd name="T60" fmla="*/ 7 w 542"/>
                <a:gd name="T61" fmla="*/ 56 h 903"/>
                <a:gd name="T62" fmla="*/ 1 w 542"/>
                <a:gd name="T63" fmla="*/ 81 h 903"/>
                <a:gd name="T64" fmla="*/ 1 w 542"/>
                <a:gd name="T65" fmla="*/ 823 h 903"/>
                <a:gd name="T66" fmla="*/ 7 w 542"/>
                <a:gd name="T67" fmla="*/ 848 h 903"/>
                <a:gd name="T68" fmla="*/ 21 w 542"/>
                <a:gd name="T69" fmla="*/ 871 h 903"/>
                <a:gd name="T70" fmla="*/ 40 w 542"/>
                <a:gd name="T71" fmla="*/ 888 h 903"/>
                <a:gd name="T72" fmla="*/ 64 w 542"/>
                <a:gd name="T73" fmla="*/ 900 h 903"/>
                <a:gd name="T74" fmla="*/ 91 w 542"/>
                <a:gd name="T75" fmla="*/ 903 h 903"/>
                <a:gd name="T76" fmla="*/ 469 w 542"/>
                <a:gd name="T77" fmla="*/ 902 h 903"/>
                <a:gd name="T78" fmla="*/ 495 w 542"/>
                <a:gd name="T79" fmla="*/ 892 h 903"/>
                <a:gd name="T80" fmla="*/ 516 w 542"/>
                <a:gd name="T81" fmla="*/ 877 h 903"/>
                <a:gd name="T82" fmla="*/ 532 w 542"/>
                <a:gd name="T83" fmla="*/ 856 h 903"/>
                <a:gd name="T84" fmla="*/ 540 w 542"/>
                <a:gd name="T85" fmla="*/ 831 h 903"/>
                <a:gd name="T86" fmla="*/ 542 w 542"/>
                <a:gd name="T87" fmla="*/ 91 h 903"/>
                <a:gd name="T88" fmla="*/ 538 w 542"/>
                <a:gd name="T89" fmla="*/ 63 h 903"/>
                <a:gd name="T90" fmla="*/ 526 w 542"/>
                <a:gd name="T91" fmla="*/ 40 h 903"/>
                <a:gd name="T92" fmla="*/ 509 w 542"/>
                <a:gd name="T93" fmla="*/ 21 h 903"/>
                <a:gd name="T94" fmla="*/ 487 w 542"/>
                <a:gd name="T95" fmla="*/ 7 h 903"/>
                <a:gd name="T96" fmla="*/ 461 w 542"/>
                <a:gd name="T97"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903">
                  <a:moveTo>
                    <a:pt x="452" y="873"/>
                  </a:moveTo>
                  <a:lnTo>
                    <a:pt x="91" y="873"/>
                  </a:lnTo>
                  <a:lnTo>
                    <a:pt x="84" y="873"/>
                  </a:lnTo>
                  <a:lnTo>
                    <a:pt x="78" y="872"/>
                  </a:lnTo>
                  <a:lnTo>
                    <a:pt x="73" y="871"/>
                  </a:lnTo>
                  <a:lnTo>
                    <a:pt x="67" y="869"/>
                  </a:lnTo>
                  <a:lnTo>
                    <a:pt x="62" y="867"/>
                  </a:lnTo>
                  <a:lnTo>
                    <a:pt x="57" y="863"/>
                  </a:lnTo>
                  <a:lnTo>
                    <a:pt x="52" y="859"/>
                  </a:lnTo>
                  <a:lnTo>
                    <a:pt x="48" y="856"/>
                  </a:lnTo>
                  <a:lnTo>
                    <a:pt x="44" y="852"/>
                  </a:lnTo>
                  <a:lnTo>
                    <a:pt x="40" y="847"/>
                  </a:lnTo>
                  <a:lnTo>
                    <a:pt x="37" y="842"/>
                  </a:lnTo>
                  <a:lnTo>
                    <a:pt x="35" y="837"/>
                  </a:lnTo>
                  <a:lnTo>
                    <a:pt x="33" y="831"/>
                  </a:lnTo>
                  <a:lnTo>
                    <a:pt x="32" y="826"/>
                  </a:lnTo>
                  <a:lnTo>
                    <a:pt x="31" y="819"/>
                  </a:lnTo>
                  <a:lnTo>
                    <a:pt x="31" y="813"/>
                  </a:lnTo>
                  <a:lnTo>
                    <a:pt x="31" y="753"/>
                  </a:lnTo>
                  <a:lnTo>
                    <a:pt x="512" y="753"/>
                  </a:lnTo>
                  <a:lnTo>
                    <a:pt x="512" y="813"/>
                  </a:lnTo>
                  <a:lnTo>
                    <a:pt x="511" y="819"/>
                  </a:lnTo>
                  <a:lnTo>
                    <a:pt x="511" y="825"/>
                  </a:lnTo>
                  <a:lnTo>
                    <a:pt x="509" y="831"/>
                  </a:lnTo>
                  <a:lnTo>
                    <a:pt x="507" y="837"/>
                  </a:lnTo>
                  <a:lnTo>
                    <a:pt x="505" y="842"/>
                  </a:lnTo>
                  <a:lnTo>
                    <a:pt x="502" y="847"/>
                  </a:lnTo>
                  <a:lnTo>
                    <a:pt x="498" y="852"/>
                  </a:lnTo>
                  <a:lnTo>
                    <a:pt x="494" y="856"/>
                  </a:lnTo>
                  <a:lnTo>
                    <a:pt x="490" y="859"/>
                  </a:lnTo>
                  <a:lnTo>
                    <a:pt x="486" y="863"/>
                  </a:lnTo>
                  <a:lnTo>
                    <a:pt x="480" y="867"/>
                  </a:lnTo>
                  <a:lnTo>
                    <a:pt x="475" y="869"/>
                  </a:lnTo>
                  <a:lnTo>
                    <a:pt x="469" y="871"/>
                  </a:lnTo>
                  <a:lnTo>
                    <a:pt x="464" y="872"/>
                  </a:lnTo>
                  <a:lnTo>
                    <a:pt x="458" y="873"/>
                  </a:lnTo>
                  <a:lnTo>
                    <a:pt x="452" y="873"/>
                  </a:lnTo>
                  <a:close/>
                  <a:moveTo>
                    <a:pt x="91" y="30"/>
                  </a:moveTo>
                  <a:lnTo>
                    <a:pt x="452" y="30"/>
                  </a:lnTo>
                  <a:lnTo>
                    <a:pt x="458" y="31"/>
                  </a:lnTo>
                  <a:lnTo>
                    <a:pt x="464" y="32"/>
                  </a:lnTo>
                  <a:lnTo>
                    <a:pt x="469" y="33"/>
                  </a:lnTo>
                  <a:lnTo>
                    <a:pt x="475" y="35"/>
                  </a:lnTo>
                  <a:lnTo>
                    <a:pt x="480" y="37"/>
                  </a:lnTo>
                  <a:lnTo>
                    <a:pt x="486" y="41"/>
                  </a:lnTo>
                  <a:lnTo>
                    <a:pt x="490" y="44"/>
                  </a:lnTo>
                  <a:lnTo>
                    <a:pt x="494" y="48"/>
                  </a:lnTo>
                  <a:lnTo>
                    <a:pt x="498" y="52"/>
                  </a:lnTo>
                  <a:lnTo>
                    <a:pt x="502" y="57"/>
                  </a:lnTo>
                  <a:lnTo>
                    <a:pt x="505" y="62"/>
                  </a:lnTo>
                  <a:lnTo>
                    <a:pt x="507" y="68"/>
                  </a:lnTo>
                  <a:lnTo>
                    <a:pt x="509" y="73"/>
                  </a:lnTo>
                  <a:lnTo>
                    <a:pt x="511" y="78"/>
                  </a:lnTo>
                  <a:lnTo>
                    <a:pt x="511" y="85"/>
                  </a:lnTo>
                  <a:lnTo>
                    <a:pt x="512" y="91"/>
                  </a:lnTo>
                  <a:lnTo>
                    <a:pt x="512" y="151"/>
                  </a:lnTo>
                  <a:lnTo>
                    <a:pt x="31" y="151"/>
                  </a:lnTo>
                  <a:lnTo>
                    <a:pt x="31" y="91"/>
                  </a:lnTo>
                  <a:lnTo>
                    <a:pt x="31" y="85"/>
                  </a:lnTo>
                  <a:lnTo>
                    <a:pt x="32" y="78"/>
                  </a:lnTo>
                  <a:lnTo>
                    <a:pt x="33" y="73"/>
                  </a:lnTo>
                  <a:lnTo>
                    <a:pt x="35" y="68"/>
                  </a:lnTo>
                  <a:lnTo>
                    <a:pt x="37" y="62"/>
                  </a:lnTo>
                  <a:lnTo>
                    <a:pt x="40" y="57"/>
                  </a:lnTo>
                  <a:lnTo>
                    <a:pt x="44" y="52"/>
                  </a:lnTo>
                  <a:lnTo>
                    <a:pt x="48" y="48"/>
                  </a:lnTo>
                  <a:lnTo>
                    <a:pt x="52" y="44"/>
                  </a:lnTo>
                  <a:lnTo>
                    <a:pt x="57" y="41"/>
                  </a:lnTo>
                  <a:lnTo>
                    <a:pt x="62" y="37"/>
                  </a:lnTo>
                  <a:lnTo>
                    <a:pt x="67" y="35"/>
                  </a:lnTo>
                  <a:lnTo>
                    <a:pt x="73" y="33"/>
                  </a:lnTo>
                  <a:lnTo>
                    <a:pt x="78" y="32"/>
                  </a:lnTo>
                  <a:lnTo>
                    <a:pt x="84" y="31"/>
                  </a:lnTo>
                  <a:lnTo>
                    <a:pt x="91" y="30"/>
                  </a:lnTo>
                  <a:close/>
                  <a:moveTo>
                    <a:pt x="31" y="181"/>
                  </a:moveTo>
                  <a:lnTo>
                    <a:pt x="512" y="181"/>
                  </a:lnTo>
                  <a:lnTo>
                    <a:pt x="512" y="723"/>
                  </a:lnTo>
                  <a:lnTo>
                    <a:pt x="31" y="723"/>
                  </a:lnTo>
                  <a:lnTo>
                    <a:pt x="31" y="181"/>
                  </a:lnTo>
                  <a:close/>
                  <a:moveTo>
                    <a:pt x="452" y="0"/>
                  </a:moveTo>
                  <a:lnTo>
                    <a:pt x="91" y="0"/>
                  </a:lnTo>
                  <a:lnTo>
                    <a:pt x="81" y="1"/>
                  </a:lnTo>
                  <a:lnTo>
                    <a:pt x="73" y="2"/>
                  </a:lnTo>
                  <a:lnTo>
                    <a:pt x="64" y="4"/>
                  </a:lnTo>
                  <a:lnTo>
                    <a:pt x="55" y="7"/>
                  </a:lnTo>
                  <a:lnTo>
                    <a:pt x="48" y="11"/>
                  </a:lnTo>
                  <a:lnTo>
                    <a:pt x="40" y="16"/>
                  </a:lnTo>
                  <a:lnTo>
                    <a:pt x="33" y="21"/>
                  </a:lnTo>
                  <a:lnTo>
                    <a:pt x="27" y="27"/>
                  </a:lnTo>
                  <a:lnTo>
                    <a:pt x="21" y="33"/>
                  </a:lnTo>
                  <a:lnTo>
                    <a:pt x="16" y="40"/>
                  </a:lnTo>
                  <a:lnTo>
                    <a:pt x="12" y="47"/>
                  </a:lnTo>
                  <a:lnTo>
                    <a:pt x="7" y="56"/>
                  </a:lnTo>
                  <a:lnTo>
                    <a:pt x="4" y="64"/>
                  </a:lnTo>
                  <a:lnTo>
                    <a:pt x="2" y="73"/>
                  </a:lnTo>
                  <a:lnTo>
                    <a:pt x="1" y="81"/>
                  </a:lnTo>
                  <a:lnTo>
                    <a:pt x="0" y="91"/>
                  </a:lnTo>
                  <a:lnTo>
                    <a:pt x="0" y="813"/>
                  </a:lnTo>
                  <a:lnTo>
                    <a:pt x="1" y="823"/>
                  </a:lnTo>
                  <a:lnTo>
                    <a:pt x="2" y="831"/>
                  </a:lnTo>
                  <a:lnTo>
                    <a:pt x="4" y="840"/>
                  </a:lnTo>
                  <a:lnTo>
                    <a:pt x="7" y="848"/>
                  </a:lnTo>
                  <a:lnTo>
                    <a:pt x="12" y="856"/>
                  </a:lnTo>
                  <a:lnTo>
                    <a:pt x="16" y="863"/>
                  </a:lnTo>
                  <a:lnTo>
                    <a:pt x="21" y="871"/>
                  </a:lnTo>
                  <a:lnTo>
                    <a:pt x="27" y="877"/>
                  </a:lnTo>
                  <a:lnTo>
                    <a:pt x="33" y="883"/>
                  </a:lnTo>
                  <a:lnTo>
                    <a:pt x="40" y="888"/>
                  </a:lnTo>
                  <a:lnTo>
                    <a:pt x="48" y="892"/>
                  </a:lnTo>
                  <a:lnTo>
                    <a:pt x="55" y="897"/>
                  </a:lnTo>
                  <a:lnTo>
                    <a:pt x="64" y="900"/>
                  </a:lnTo>
                  <a:lnTo>
                    <a:pt x="73" y="902"/>
                  </a:lnTo>
                  <a:lnTo>
                    <a:pt x="81" y="903"/>
                  </a:lnTo>
                  <a:lnTo>
                    <a:pt x="91" y="903"/>
                  </a:lnTo>
                  <a:lnTo>
                    <a:pt x="452" y="903"/>
                  </a:lnTo>
                  <a:lnTo>
                    <a:pt x="461" y="903"/>
                  </a:lnTo>
                  <a:lnTo>
                    <a:pt x="469" y="902"/>
                  </a:lnTo>
                  <a:lnTo>
                    <a:pt x="479" y="900"/>
                  </a:lnTo>
                  <a:lnTo>
                    <a:pt x="487" y="897"/>
                  </a:lnTo>
                  <a:lnTo>
                    <a:pt x="495" y="892"/>
                  </a:lnTo>
                  <a:lnTo>
                    <a:pt x="503" y="888"/>
                  </a:lnTo>
                  <a:lnTo>
                    <a:pt x="509" y="883"/>
                  </a:lnTo>
                  <a:lnTo>
                    <a:pt x="516" y="877"/>
                  </a:lnTo>
                  <a:lnTo>
                    <a:pt x="521" y="871"/>
                  </a:lnTo>
                  <a:lnTo>
                    <a:pt x="526" y="863"/>
                  </a:lnTo>
                  <a:lnTo>
                    <a:pt x="532" y="856"/>
                  </a:lnTo>
                  <a:lnTo>
                    <a:pt x="535" y="848"/>
                  </a:lnTo>
                  <a:lnTo>
                    <a:pt x="538" y="840"/>
                  </a:lnTo>
                  <a:lnTo>
                    <a:pt x="540" y="831"/>
                  </a:lnTo>
                  <a:lnTo>
                    <a:pt x="541" y="823"/>
                  </a:lnTo>
                  <a:lnTo>
                    <a:pt x="542" y="813"/>
                  </a:lnTo>
                  <a:lnTo>
                    <a:pt x="542" y="91"/>
                  </a:lnTo>
                  <a:lnTo>
                    <a:pt x="541" y="81"/>
                  </a:lnTo>
                  <a:lnTo>
                    <a:pt x="540" y="73"/>
                  </a:lnTo>
                  <a:lnTo>
                    <a:pt x="538" y="63"/>
                  </a:lnTo>
                  <a:lnTo>
                    <a:pt x="535" y="56"/>
                  </a:lnTo>
                  <a:lnTo>
                    <a:pt x="532" y="47"/>
                  </a:lnTo>
                  <a:lnTo>
                    <a:pt x="526" y="40"/>
                  </a:lnTo>
                  <a:lnTo>
                    <a:pt x="521" y="33"/>
                  </a:lnTo>
                  <a:lnTo>
                    <a:pt x="516" y="27"/>
                  </a:lnTo>
                  <a:lnTo>
                    <a:pt x="509" y="21"/>
                  </a:lnTo>
                  <a:lnTo>
                    <a:pt x="503" y="16"/>
                  </a:lnTo>
                  <a:lnTo>
                    <a:pt x="495" y="12"/>
                  </a:lnTo>
                  <a:lnTo>
                    <a:pt x="487" y="7"/>
                  </a:lnTo>
                  <a:lnTo>
                    <a:pt x="479" y="4"/>
                  </a:lnTo>
                  <a:lnTo>
                    <a:pt x="469" y="2"/>
                  </a:lnTo>
                  <a:lnTo>
                    <a:pt x="461" y="1"/>
                  </a:lnTo>
                  <a:lnTo>
                    <a:pt x="452" y="0"/>
                  </a:lnTo>
                  <a:lnTo>
                    <a:pt x="4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6" name="Freeform 138">
              <a:extLst>
                <a:ext uri="{FF2B5EF4-FFF2-40B4-BE49-F238E27FC236}">
                  <a16:creationId xmlns:a16="http://schemas.microsoft.com/office/drawing/2014/main" id="{44EAE077-B423-4EDE-8E4A-BEFCAF4D82A1}"/>
                </a:ext>
              </a:extLst>
            </p:cNvPr>
            <p:cNvSpPr>
              <a:spLocks/>
            </p:cNvSpPr>
            <p:nvPr/>
          </p:nvSpPr>
          <p:spPr bwMode="auto">
            <a:xfrm>
              <a:off x="3278188" y="1389063"/>
              <a:ext cx="76200" cy="9525"/>
            </a:xfrm>
            <a:custGeom>
              <a:avLst/>
              <a:gdLst>
                <a:gd name="T0" fmla="*/ 15 w 240"/>
                <a:gd name="T1" fmla="*/ 30 h 30"/>
                <a:gd name="T2" fmla="*/ 225 w 240"/>
                <a:gd name="T3" fmla="*/ 30 h 30"/>
                <a:gd name="T4" fmla="*/ 228 w 240"/>
                <a:gd name="T5" fmla="*/ 29 h 30"/>
                <a:gd name="T6" fmla="*/ 232 w 240"/>
                <a:gd name="T7" fmla="*/ 28 h 30"/>
                <a:gd name="T8" fmla="*/ 234 w 240"/>
                <a:gd name="T9" fmla="*/ 27 h 30"/>
                <a:gd name="T10" fmla="*/ 236 w 240"/>
                <a:gd name="T11" fmla="*/ 25 h 30"/>
                <a:gd name="T12" fmla="*/ 238 w 240"/>
                <a:gd name="T13" fmla="*/ 23 h 30"/>
                <a:gd name="T14" fmla="*/ 239 w 240"/>
                <a:gd name="T15" fmla="*/ 20 h 30"/>
                <a:gd name="T16" fmla="*/ 240 w 240"/>
                <a:gd name="T17" fmla="*/ 17 h 30"/>
                <a:gd name="T18" fmla="*/ 240 w 240"/>
                <a:gd name="T19" fmla="*/ 15 h 30"/>
                <a:gd name="T20" fmla="*/ 240 w 240"/>
                <a:gd name="T21" fmla="*/ 12 h 30"/>
                <a:gd name="T22" fmla="*/ 239 w 240"/>
                <a:gd name="T23" fmla="*/ 9 h 30"/>
                <a:gd name="T24" fmla="*/ 238 w 240"/>
                <a:gd name="T25" fmla="*/ 7 h 30"/>
                <a:gd name="T26" fmla="*/ 236 w 240"/>
                <a:gd name="T27" fmla="*/ 4 h 30"/>
                <a:gd name="T28" fmla="*/ 234 w 240"/>
                <a:gd name="T29" fmla="*/ 2 h 30"/>
                <a:gd name="T30" fmla="*/ 232 w 240"/>
                <a:gd name="T31" fmla="*/ 1 h 30"/>
                <a:gd name="T32" fmla="*/ 228 w 240"/>
                <a:gd name="T33" fmla="*/ 0 h 30"/>
                <a:gd name="T34" fmla="*/ 225 w 240"/>
                <a:gd name="T35" fmla="*/ 0 h 30"/>
                <a:gd name="T36" fmla="*/ 15 w 240"/>
                <a:gd name="T37" fmla="*/ 0 h 30"/>
                <a:gd name="T38" fmla="*/ 12 w 240"/>
                <a:gd name="T39" fmla="*/ 0 h 30"/>
                <a:gd name="T40" fmla="*/ 9 w 240"/>
                <a:gd name="T41" fmla="*/ 1 h 30"/>
                <a:gd name="T42" fmla="*/ 6 w 240"/>
                <a:gd name="T43" fmla="*/ 2 h 30"/>
                <a:gd name="T44" fmla="*/ 4 w 240"/>
                <a:gd name="T45" fmla="*/ 4 h 30"/>
                <a:gd name="T46" fmla="*/ 2 w 240"/>
                <a:gd name="T47" fmla="*/ 7 h 30"/>
                <a:gd name="T48" fmla="*/ 1 w 240"/>
                <a:gd name="T49" fmla="*/ 9 h 30"/>
                <a:gd name="T50" fmla="*/ 0 w 240"/>
                <a:gd name="T51" fmla="*/ 12 h 30"/>
                <a:gd name="T52" fmla="*/ 0 w 240"/>
                <a:gd name="T53" fmla="*/ 15 h 30"/>
                <a:gd name="T54" fmla="*/ 0 w 240"/>
                <a:gd name="T55" fmla="*/ 17 h 30"/>
                <a:gd name="T56" fmla="*/ 1 w 240"/>
                <a:gd name="T57" fmla="*/ 20 h 30"/>
                <a:gd name="T58" fmla="*/ 2 w 240"/>
                <a:gd name="T59" fmla="*/ 23 h 30"/>
                <a:gd name="T60" fmla="*/ 4 w 240"/>
                <a:gd name="T61" fmla="*/ 25 h 30"/>
                <a:gd name="T62" fmla="*/ 6 w 240"/>
                <a:gd name="T63" fmla="*/ 27 h 30"/>
                <a:gd name="T64" fmla="*/ 9 w 240"/>
                <a:gd name="T65" fmla="*/ 29 h 30"/>
                <a:gd name="T66" fmla="*/ 12 w 240"/>
                <a:gd name="T67" fmla="*/ 29 h 30"/>
                <a:gd name="T68" fmla="*/ 15 w 240"/>
                <a:gd name="T69" fmla="*/ 30 h 30"/>
                <a:gd name="T70" fmla="*/ 15 w 24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0" h="30">
                  <a:moveTo>
                    <a:pt x="15" y="30"/>
                  </a:moveTo>
                  <a:lnTo>
                    <a:pt x="225" y="30"/>
                  </a:lnTo>
                  <a:lnTo>
                    <a:pt x="228" y="29"/>
                  </a:lnTo>
                  <a:lnTo>
                    <a:pt x="232" y="28"/>
                  </a:lnTo>
                  <a:lnTo>
                    <a:pt x="234" y="27"/>
                  </a:lnTo>
                  <a:lnTo>
                    <a:pt x="236" y="25"/>
                  </a:lnTo>
                  <a:lnTo>
                    <a:pt x="238" y="23"/>
                  </a:lnTo>
                  <a:lnTo>
                    <a:pt x="239" y="20"/>
                  </a:lnTo>
                  <a:lnTo>
                    <a:pt x="240" y="17"/>
                  </a:lnTo>
                  <a:lnTo>
                    <a:pt x="240" y="15"/>
                  </a:lnTo>
                  <a:lnTo>
                    <a:pt x="240" y="12"/>
                  </a:lnTo>
                  <a:lnTo>
                    <a:pt x="239" y="9"/>
                  </a:lnTo>
                  <a:lnTo>
                    <a:pt x="238" y="7"/>
                  </a:lnTo>
                  <a:lnTo>
                    <a:pt x="236" y="4"/>
                  </a:lnTo>
                  <a:lnTo>
                    <a:pt x="234" y="2"/>
                  </a:lnTo>
                  <a:lnTo>
                    <a:pt x="232" y="1"/>
                  </a:lnTo>
                  <a:lnTo>
                    <a:pt x="228" y="0"/>
                  </a:lnTo>
                  <a:lnTo>
                    <a:pt x="225" y="0"/>
                  </a:lnTo>
                  <a:lnTo>
                    <a:pt x="15" y="0"/>
                  </a:lnTo>
                  <a:lnTo>
                    <a:pt x="12" y="0"/>
                  </a:lnTo>
                  <a:lnTo>
                    <a:pt x="9" y="1"/>
                  </a:lnTo>
                  <a:lnTo>
                    <a:pt x="6" y="2"/>
                  </a:lnTo>
                  <a:lnTo>
                    <a:pt x="4" y="4"/>
                  </a:lnTo>
                  <a:lnTo>
                    <a:pt x="2" y="7"/>
                  </a:lnTo>
                  <a:lnTo>
                    <a:pt x="1" y="9"/>
                  </a:lnTo>
                  <a:lnTo>
                    <a:pt x="0" y="12"/>
                  </a:lnTo>
                  <a:lnTo>
                    <a:pt x="0" y="15"/>
                  </a:lnTo>
                  <a:lnTo>
                    <a:pt x="0" y="17"/>
                  </a:lnTo>
                  <a:lnTo>
                    <a:pt x="1" y="20"/>
                  </a:lnTo>
                  <a:lnTo>
                    <a:pt x="2" y="23"/>
                  </a:lnTo>
                  <a:lnTo>
                    <a:pt x="4" y="25"/>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7" name="Freeform 139">
              <a:extLst>
                <a:ext uri="{FF2B5EF4-FFF2-40B4-BE49-F238E27FC236}">
                  <a16:creationId xmlns:a16="http://schemas.microsoft.com/office/drawing/2014/main" id="{BD2E759F-034E-486C-8015-C88354F59067}"/>
                </a:ext>
              </a:extLst>
            </p:cNvPr>
            <p:cNvSpPr>
              <a:spLocks noEditPoints="1"/>
            </p:cNvSpPr>
            <p:nvPr/>
          </p:nvSpPr>
          <p:spPr bwMode="auto">
            <a:xfrm>
              <a:off x="3302000" y="1604963"/>
              <a:ext cx="28575" cy="28575"/>
            </a:xfrm>
            <a:custGeom>
              <a:avLst/>
              <a:gdLst>
                <a:gd name="T0" fmla="*/ 42 w 90"/>
                <a:gd name="T1" fmla="*/ 60 h 90"/>
                <a:gd name="T2" fmla="*/ 36 w 90"/>
                <a:gd name="T3" fmla="*/ 58 h 90"/>
                <a:gd name="T4" fmla="*/ 32 w 90"/>
                <a:gd name="T5" fmla="*/ 54 h 90"/>
                <a:gd name="T6" fmla="*/ 30 w 90"/>
                <a:gd name="T7" fmla="*/ 48 h 90"/>
                <a:gd name="T8" fmla="*/ 30 w 90"/>
                <a:gd name="T9" fmla="*/ 42 h 90"/>
                <a:gd name="T10" fmla="*/ 32 w 90"/>
                <a:gd name="T11" fmla="*/ 36 h 90"/>
                <a:gd name="T12" fmla="*/ 36 w 90"/>
                <a:gd name="T13" fmla="*/ 33 h 90"/>
                <a:gd name="T14" fmla="*/ 42 w 90"/>
                <a:gd name="T15" fmla="*/ 30 h 90"/>
                <a:gd name="T16" fmla="*/ 48 w 90"/>
                <a:gd name="T17" fmla="*/ 30 h 90"/>
                <a:gd name="T18" fmla="*/ 54 w 90"/>
                <a:gd name="T19" fmla="*/ 33 h 90"/>
                <a:gd name="T20" fmla="*/ 58 w 90"/>
                <a:gd name="T21" fmla="*/ 36 h 90"/>
                <a:gd name="T22" fmla="*/ 60 w 90"/>
                <a:gd name="T23" fmla="*/ 42 h 90"/>
                <a:gd name="T24" fmla="*/ 60 w 90"/>
                <a:gd name="T25" fmla="*/ 48 h 90"/>
                <a:gd name="T26" fmla="*/ 58 w 90"/>
                <a:gd name="T27" fmla="*/ 54 h 90"/>
                <a:gd name="T28" fmla="*/ 54 w 90"/>
                <a:gd name="T29" fmla="*/ 58 h 90"/>
                <a:gd name="T30" fmla="*/ 48 w 90"/>
                <a:gd name="T31" fmla="*/ 60 h 90"/>
                <a:gd name="T32" fmla="*/ 45 w 90"/>
                <a:gd name="T33" fmla="*/ 0 h 90"/>
                <a:gd name="T34" fmla="*/ 28 w 90"/>
                <a:gd name="T35" fmla="*/ 3 h 90"/>
                <a:gd name="T36" fmla="*/ 13 w 90"/>
                <a:gd name="T37" fmla="*/ 13 h 90"/>
                <a:gd name="T38" fmla="*/ 3 w 90"/>
                <a:gd name="T39" fmla="*/ 28 h 90"/>
                <a:gd name="T40" fmla="*/ 0 w 90"/>
                <a:gd name="T41" fmla="*/ 45 h 90"/>
                <a:gd name="T42" fmla="*/ 3 w 90"/>
                <a:gd name="T43" fmla="*/ 63 h 90"/>
                <a:gd name="T44" fmla="*/ 13 w 90"/>
                <a:gd name="T45" fmla="*/ 77 h 90"/>
                <a:gd name="T46" fmla="*/ 28 w 90"/>
                <a:gd name="T47" fmla="*/ 87 h 90"/>
                <a:gd name="T48" fmla="*/ 45 w 90"/>
                <a:gd name="T49" fmla="*/ 90 h 90"/>
                <a:gd name="T50" fmla="*/ 62 w 90"/>
                <a:gd name="T51" fmla="*/ 87 h 90"/>
                <a:gd name="T52" fmla="*/ 77 w 90"/>
                <a:gd name="T53" fmla="*/ 77 h 90"/>
                <a:gd name="T54" fmla="*/ 87 w 90"/>
                <a:gd name="T55" fmla="*/ 63 h 90"/>
                <a:gd name="T56" fmla="*/ 90 w 90"/>
                <a:gd name="T57" fmla="*/ 45 h 90"/>
                <a:gd name="T58" fmla="*/ 87 w 90"/>
                <a:gd name="T59" fmla="*/ 28 h 90"/>
                <a:gd name="T60" fmla="*/ 77 w 90"/>
                <a:gd name="T61" fmla="*/ 13 h 90"/>
                <a:gd name="T62" fmla="*/ 62 w 90"/>
                <a:gd name="T63" fmla="*/ 3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40" y="59"/>
                  </a:lnTo>
                  <a:lnTo>
                    <a:pt x="36" y="58"/>
                  </a:lnTo>
                  <a:lnTo>
                    <a:pt x="34" y="56"/>
                  </a:lnTo>
                  <a:lnTo>
                    <a:pt x="32" y="54"/>
                  </a:lnTo>
                  <a:lnTo>
                    <a:pt x="31" y="51"/>
                  </a:lnTo>
                  <a:lnTo>
                    <a:pt x="30" y="48"/>
                  </a:lnTo>
                  <a:lnTo>
                    <a:pt x="30" y="45"/>
                  </a:lnTo>
                  <a:lnTo>
                    <a:pt x="30" y="42"/>
                  </a:lnTo>
                  <a:lnTo>
                    <a:pt x="31" y="40"/>
                  </a:lnTo>
                  <a:lnTo>
                    <a:pt x="32" y="36"/>
                  </a:lnTo>
                  <a:lnTo>
                    <a:pt x="34" y="34"/>
                  </a:lnTo>
                  <a:lnTo>
                    <a:pt x="36" y="33"/>
                  </a:lnTo>
                  <a:lnTo>
                    <a:pt x="40" y="31"/>
                  </a:lnTo>
                  <a:lnTo>
                    <a:pt x="42" y="30"/>
                  </a:lnTo>
                  <a:lnTo>
                    <a:pt x="45" y="30"/>
                  </a:lnTo>
                  <a:lnTo>
                    <a:pt x="48" y="30"/>
                  </a:lnTo>
                  <a:lnTo>
                    <a:pt x="51" y="31"/>
                  </a:lnTo>
                  <a:lnTo>
                    <a:pt x="54" y="33"/>
                  </a:lnTo>
                  <a:lnTo>
                    <a:pt x="56" y="34"/>
                  </a:lnTo>
                  <a:lnTo>
                    <a:pt x="58" y="36"/>
                  </a:lnTo>
                  <a:lnTo>
                    <a:pt x="59" y="40"/>
                  </a:lnTo>
                  <a:lnTo>
                    <a:pt x="60" y="42"/>
                  </a:lnTo>
                  <a:lnTo>
                    <a:pt x="60" y="45"/>
                  </a:lnTo>
                  <a:lnTo>
                    <a:pt x="60" y="48"/>
                  </a:lnTo>
                  <a:lnTo>
                    <a:pt x="59" y="51"/>
                  </a:lnTo>
                  <a:lnTo>
                    <a:pt x="58" y="54"/>
                  </a:lnTo>
                  <a:lnTo>
                    <a:pt x="56" y="56"/>
                  </a:lnTo>
                  <a:lnTo>
                    <a:pt x="54" y="58"/>
                  </a:lnTo>
                  <a:lnTo>
                    <a:pt x="51" y="59"/>
                  </a:lnTo>
                  <a:lnTo>
                    <a:pt x="48" y="60"/>
                  </a:lnTo>
                  <a:lnTo>
                    <a:pt x="45" y="60"/>
                  </a:lnTo>
                  <a:close/>
                  <a:moveTo>
                    <a:pt x="45" y="0"/>
                  </a:moveTo>
                  <a:lnTo>
                    <a:pt x="36" y="1"/>
                  </a:lnTo>
                  <a:lnTo>
                    <a:pt x="28" y="3"/>
                  </a:lnTo>
                  <a:lnTo>
                    <a:pt x="20" y="7"/>
                  </a:lnTo>
                  <a:lnTo>
                    <a:pt x="13" y="13"/>
                  </a:lnTo>
                  <a:lnTo>
                    <a:pt x="8" y="20"/>
                  </a:lnTo>
                  <a:lnTo>
                    <a:pt x="3" y="28"/>
                  </a:lnTo>
                  <a:lnTo>
                    <a:pt x="1" y="36"/>
                  </a:lnTo>
                  <a:lnTo>
                    <a:pt x="0" y="45"/>
                  </a:lnTo>
                  <a:lnTo>
                    <a:pt x="1" y="55"/>
                  </a:lnTo>
                  <a:lnTo>
                    <a:pt x="3" y="63"/>
                  </a:lnTo>
                  <a:lnTo>
                    <a:pt x="8" y="71"/>
                  </a:lnTo>
                  <a:lnTo>
                    <a:pt x="13" y="77"/>
                  </a:lnTo>
                  <a:lnTo>
                    <a:pt x="20" y="82"/>
                  </a:lnTo>
                  <a:lnTo>
                    <a:pt x="28" y="87"/>
                  </a:lnTo>
                  <a:lnTo>
                    <a:pt x="36" y="89"/>
                  </a:lnTo>
                  <a:lnTo>
                    <a:pt x="45" y="90"/>
                  </a:lnTo>
                  <a:lnTo>
                    <a:pt x="55" y="89"/>
                  </a:lnTo>
                  <a:lnTo>
                    <a:pt x="62" y="87"/>
                  </a:lnTo>
                  <a:lnTo>
                    <a:pt x="71" y="82"/>
                  </a:lnTo>
                  <a:lnTo>
                    <a:pt x="77" y="77"/>
                  </a:lnTo>
                  <a:lnTo>
                    <a:pt x="83" y="71"/>
                  </a:lnTo>
                  <a:lnTo>
                    <a:pt x="87" y="63"/>
                  </a:lnTo>
                  <a:lnTo>
                    <a:pt x="89" y="55"/>
                  </a:lnTo>
                  <a:lnTo>
                    <a:pt x="90" y="45"/>
                  </a:lnTo>
                  <a:lnTo>
                    <a:pt x="89" y="36"/>
                  </a:lnTo>
                  <a:lnTo>
                    <a:pt x="87" y="28"/>
                  </a:lnTo>
                  <a:lnTo>
                    <a:pt x="83" y="20"/>
                  </a:lnTo>
                  <a:lnTo>
                    <a:pt x="77" y="13"/>
                  </a:lnTo>
                  <a:lnTo>
                    <a:pt x="71" y="7"/>
                  </a:lnTo>
                  <a:lnTo>
                    <a:pt x="62" y="3"/>
                  </a:lnTo>
                  <a:lnTo>
                    <a:pt x="55"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48" name="Group 61">
            <a:extLst>
              <a:ext uri="{FF2B5EF4-FFF2-40B4-BE49-F238E27FC236}">
                <a16:creationId xmlns:a16="http://schemas.microsoft.com/office/drawing/2014/main" id="{6AD7C927-A99E-43CA-8F4F-22961C765DB7}"/>
              </a:ext>
            </a:extLst>
          </p:cNvPr>
          <p:cNvGrpSpPr>
            <a:grpSpLocks noChangeAspect="1"/>
          </p:cNvGrpSpPr>
          <p:nvPr/>
        </p:nvGrpSpPr>
        <p:grpSpPr>
          <a:xfrm>
            <a:off x="4440038" y="5417577"/>
            <a:ext cx="305900" cy="285620"/>
            <a:chOff x="877888" y="3673475"/>
            <a:chExt cx="287338" cy="268288"/>
          </a:xfrm>
          <a:solidFill>
            <a:schemeClr val="bg2"/>
          </a:solidFill>
          <a:effectLst/>
        </p:grpSpPr>
        <p:sp>
          <p:nvSpPr>
            <p:cNvPr id="1749" name="Freeform 45">
              <a:extLst>
                <a:ext uri="{FF2B5EF4-FFF2-40B4-BE49-F238E27FC236}">
                  <a16:creationId xmlns:a16="http://schemas.microsoft.com/office/drawing/2014/main" id="{8176C478-097A-4523-A6F1-EAD6436619FE}"/>
                </a:ext>
              </a:extLst>
            </p:cNvPr>
            <p:cNvSpPr>
              <a:spLocks/>
            </p:cNvSpPr>
            <p:nvPr/>
          </p:nvSpPr>
          <p:spPr bwMode="auto">
            <a:xfrm>
              <a:off x="954088" y="3884613"/>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3 w 60"/>
                <a:gd name="T25" fmla="*/ 22 h 30"/>
                <a:gd name="T26" fmla="*/ 5 w 60"/>
                <a:gd name="T27" fmla="*/ 26 h 30"/>
                <a:gd name="T28" fmla="*/ 7 w 60"/>
                <a:gd name="T29" fmla="*/ 27 h 30"/>
                <a:gd name="T30" fmla="*/ 9 w 60"/>
                <a:gd name="T31" fmla="*/ 29 h 30"/>
                <a:gd name="T32" fmla="*/ 12 w 60"/>
                <a:gd name="T33" fmla="*/ 29 h 30"/>
                <a:gd name="T34" fmla="*/ 15 w 60"/>
                <a:gd name="T35" fmla="*/ 30 h 30"/>
                <a:gd name="T36" fmla="*/ 45 w 60"/>
                <a:gd name="T37" fmla="*/ 30 h 30"/>
                <a:gd name="T38" fmla="*/ 49 w 60"/>
                <a:gd name="T39" fmla="*/ 29 h 30"/>
                <a:gd name="T40" fmla="*/ 51 w 60"/>
                <a:gd name="T41" fmla="*/ 29 h 30"/>
                <a:gd name="T42" fmla="*/ 54 w 60"/>
                <a:gd name="T43" fmla="*/ 27 h 30"/>
                <a:gd name="T44" fmla="*/ 56 w 60"/>
                <a:gd name="T45" fmla="*/ 26 h 30"/>
                <a:gd name="T46" fmla="*/ 58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8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7"/>
                  </a:lnTo>
                  <a:lnTo>
                    <a:pt x="1" y="20"/>
                  </a:lnTo>
                  <a:lnTo>
                    <a:pt x="3" y="22"/>
                  </a:lnTo>
                  <a:lnTo>
                    <a:pt x="5" y="26"/>
                  </a:lnTo>
                  <a:lnTo>
                    <a:pt x="7" y="27"/>
                  </a:lnTo>
                  <a:lnTo>
                    <a:pt x="9" y="29"/>
                  </a:lnTo>
                  <a:lnTo>
                    <a:pt x="12" y="29"/>
                  </a:lnTo>
                  <a:lnTo>
                    <a:pt x="15" y="30"/>
                  </a:lnTo>
                  <a:lnTo>
                    <a:pt x="45" y="30"/>
                  </a:lnTo>
                  <a:lnTo>
                    <a:pt x="49" y="29"/>
                  </a:lnTo>
                  <a:lnTo>
                    <a:pt x="51" y="29"/>
                  </a:lnTo>
                  <a:lnTo>
                    <a:pt x="54" y="27"/>
                  </a:lnTo>
                  <a:lnTo>
                    <a:pt x="56" y="26"/>
                  </a:lnTo>
                  <a:lnTo>
                    <a:pt x="58" y="22"/>
                  </a:lnTo>
                  <a:lnTo>
                    <a:pt x="59" y="20"/>
                  </a:lnTo>
                  <a:lnTo>
                    <a:pt x="60" y="17"/>
                  </a:lnTo>
                  <a:lnTo>
                    <a:pt x="60" y="15"/>
                  </a:lnTo>
                  <a:lnTo>
                    <a:pt x="60" y="12"/>
                  </a:lnTo>
                  <a:lnTo>
                    <a:pt x="59" y="8"/>
                  </a:lnTo>
                  <a:lnTo>
                    <a:pt x="58"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0" name="Freeform 46">
              <a:extLst>
                <a:ext uri="{FF2B5EF4-FFF2-40B4-BE49-F238E27FC236}">
                  <a16:creationId xmlns:a16="http://schemas.microsoft.com/office/drawing/2014/main" id="{61CEE4A6-D7F8-4428-933E-C3AF378913B0}"/>
                </a:ext>
              </a:extLst>
            </p:cNvPr>
            <p:cNvSpPr>
              <a:spLocks/>
            </p:cNvSpPr>
            <p:nvPr/>
          </p:nvSpPr>
          <p:spPr bwMode="auto">
            <a:xfrm>
              <a:off x="993775" y="3884613"/>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2 w 60"/>
                <a:gd name="T25" fmla="*/ 22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7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4"/>
                  </a:lnTo>
                  <a:lnTo>
                    <a:pt x="2" y="6"/>
                  </a:lnTo>
                  <a:lnTo>
                    <a:pt x="1" y="8"/>
                  </a:lnTo>
                  <a:lnTo>
                    <a:pt x="0" y="12"/>
                  </a:lnTo>
                  <a:lnTo>
                    <a:pt x="0" y="15"/>
                  </a:lnTo>
                  <a:lnTo>
                    <a:pt x="0" y="17"/>
                  </a:lnTo>
                  <a:lnTo>
                    <a:pt x="1" y="20"/>
                  </a:lnTo>
                  <a:lnTo>
                    <a:pt x="2" y="22"/>
                  </a:lnTo>
                  <a:lnTo>
                    <a:pt x="4" y="26"/>
                  </a:lnTo>
                  <a:lnTo>
                    <a:pt x="6" y="27"/>
                  </a:lnTo>
                  <a:lnTo>
                    <a:pt x="9" y="29"/>
                  </a:lnTo>
                  <a:lnTo>
                    <a:pt x="11" y="29"/>
                  </a:lnTo>
                  <a:lnTo>
                    <a:pt x="15" y="30"/>
                  </a:lnTo>
                  <a:lnTo>
                    <a:pt x="45" y="30"/>
                  </a:lnTo>
                  <a:lnTo>
                    <a:pt x="48" y="29"/>
                  </a:lnTo>
                  <a:lnTo>
                    <a:pt x="51" y="29"/>
                  </a:lnTo>
                  <a:lnTo>
                    <a:pt x="53" y="27"/>
                  </a:lnTo>
                  <a:lnTo>
                    <a:pt x="55" y="26"/>
                  </a:lnTo>
                  <a:lnTo>
                    <a:pt x="57" y="22"/>
                  </a:lnTo>
                  <a:lnTo>
                    <a:pt x="59" y="20"/>
                  </a:lnTo>
                  <a:lnTo>
                    <a:pt x="60" y="17"/>
                  </a:lnTo>
                  <a:lnTo>
                    <a:pt x="60" y="15"/>
                  </a:lnTo>
                  <a:lnTo>
                    <a:pt x="60" y="12"/>
                  </a:lnTo>
                  <a:lnTo>
                    <a:pt x="59" y="8"/>
                  </a:lnTo>
                  <a:lnTo>
                    <a:pt x="57"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1" name="Freeform 47">
              <a:extLst>
                <a:ext uri="{FF2B5EF4-FFF2-40B4-BE49-F238E27FC236}">
                  <a16:creationId xmlns:a16="http://schemas.microsoft.com/office/drawing/2014/main" id="{9FA1F3E3-3274-4622-BDE0-BD82DDBC00FB}"/>
                </a:ext>
              </a:extLst>
            </p:cNvPr>
            <p:cNvSpPr>
              <a:spLocks/>
            </p:cNvSpPr>
            <p:nvPr/>
          </p:nvSpPr>
          <p:spPr bwMode="auto">
            <a:xfrm>
              <a:off x="1031875" y="3884613"/>
              <a:ext cx="19050" cy="9525"/>
            </a:xfrm>
            <a:custGeom>
              <a:avLst/>
              <a:gdLst>
                <a:gd name="T0" fmla="*/ 45 w 60"/>
                <a:gd name="T1" fmla="*/ 0 h 30"/>
                <a:gd name="T2" fmla="*/ 15 w 60"/>
                <a:gd name="T3" fmla="*/ 0 h 30"/>
                <a:gd name="T4" fmla="*/ 13 w 60"/>
                <a:gd name="T5" fmla="*/ 0 h 30"/>
                <a:gd name="T6" fmla="*/ 9 w 60"/>
                <a:gd name="T7" fmla="*/ 1 h 30"/>
                <a:gd name="T8" fmla="*/ 7 w 60"/>
                <a:gd name="T9" fmla="*/ 2 h 30"/>
                <a:gd name="T10" fmla="*/ 4 w 60"/>
                <a:gd name="T11" fmla="*/ 4 h 30"/>
                <a:gd name="T12" fmla="*/ 3 w 60"/>
                <a:gd name="T13" fmla="*/ 6 h 30"/>
                <a:gd name="T14" fmla="*/ 1 w 60"/>
                <a:gd name="T15" fmla="*/ 8 h 30"/>
                <a:gd name="T16" fmla="*/ 1 w 60"/>
                <a:gd name="T17" fmla="*/ 12 h 30"/>
                <a:gd name="T18" fmla="*/ 0 w 60"/>
                <a:gd name="T19" fmla="*/ 15 h 30"/>
                <a:gd name="T20" fmla="*/ 1 w 60"/>
                <a:gd name="T21" fmla="*/ 17 h 30"/>
                <a:gd name="T22" fmla="*/ 1 w 60"/>
                <a:gd name="T23" fmla="*/ 20 h 30"/>
                <a:gd name="T24" fmla="*/ 3 w 60"/>
                <a:gd name="T25" fmla="*/ 22 h 30"/>
                <a:gd name="T26" fmla="*/ 4 w 60"/>
                <a:gd name="T27" fmla="*/ 26 h 30"/>
                <a:gd name="T28" fmla="*/ 7 w 60"/>
                <a:gd name="T29" fmla="*/ 27 h 30"/>
                <a:gd name="T30" fmla="*/ 9 w 60"/>
                <a:gd name="T31" fmla="*/ 29 h 30"/>
                <a:gd name="T32" fmla="*/ 13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8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8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3" y="0"/>
                  </a:lnTo>
                  <a:lnTo>
                    <a:pt x="9" y="1"/>
                  </a:lnTo>
                  <a:lnTo>
                    <a:pt x="7" y="2"/>
                  </a:lnTo>
                  <a:lnTo>
                    <a:pt x="4" y="4"/>
                  </a:lnTo>
                  <a:lnTo>
                    <a:pt x="3" y="6"/>
                  </a:lnTo>
                  <a:lnTo>
                    <a:pt x="1" y="8"/>
                  </a:lnTo>
                  <a:lnTo>
                    <a:pt x="1" y="12"/>
                  </a:lnTo>
                  <a:lnTo>
                    <a:pt x="0" y="15"/>
                  </a:lnTo>
                  <a:lnTo>
                    <a:pt x="1" y="17"/>
                  </a:lnTo>
                  <a:lnTo>
                    <a:pt x="1" y="20"/>
                  </a:lnTo>
                  <a:lnTo>
                    <a:pt x="3" y="22"/>
                  </a:lnTo>
                  <a:lnTo>
                    <a:pt x="4" y="26"/>
                  </a:lnTo>
                  <a:lnTo>
                    <a:pt x="7" y="27"/>
                  </a:lnTo>
                  <a:lnTo>
                    <a:pt x="9" y="29"/>
                  </a:lnTo>
                  <a:lnTo>
                    <a:pt x="13" y="29"/>
                  </a:lnTo>
                  <a:lnTo>
                    <a:pt x="15" y="30"/>
                  </a:lnTo>
                  <a:lnTo>
                    <a:pt x="45" y="30"/>
                  </a:lnTo>
                  <a:lnTo>
                    <a:pt x="48" y="29"/>
                  </a:lnTo>
                  <a:lnTo>
                    <a:pt x="51" y="29"/>
                  </a:lnTo>
                  <a:lnTo>
                    <a:pt x="53" y="27"/>
                  </a:lnTo>
                  <a:lnTo>
                    <a:pt x="55" y="26"/>
                  </a:lnTo>
                  <a:lnTo>
                    <a:pt x="58" y="22"/>
                  </a:lnTo>
                  <a:lnTo>
                    <a:pt x="59" y="20"/>
                  </a:lnTo>
                  <a:lnTo>
                    <a:pt x="60" y="17"/>
                  </a:lnTo>
                  <a:lnTo>
                    <a:pt x="60" y="15"/>
                  </a:lnTo>
                  <a:lnTo>
                    <a:pt x="60" y="12"/>
                  </a:lnTo>
                  <a:lnTo>
                    <a:pt x="59" y="8"/>
                  </a:lnTo>
                  <a:lnTo>
                    <a:pt x="58"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2" name="Freeform 48">
              <a:extLst>
                <a:ext uri="{FF2B5EF4-FFF2-40B4-BE49-F238E27FC236}">
                  <a16:creationId xmlns:a16="http://schemas.microsoft.com/office/drawing/2014/main" id="{E15D9767-55B0-4AC6-845A-2D6D0D02DC6C}"/>
                </a:ext>
              </a:extLst>
            </p:cNvPr>
            <p:cNvSpPr>
              <a:spLocks/>
            </p:cNvSpPr>
            <p:nvPr/>
          </p:nvSpPr>
          <p:spPr bwMode="auto">
            <a:xfrm>
              <a:off x="1069975" y="3884613"/>
              <a:ext cx="19050" cy="9525"/>
            </a:xfrm>
            <a:custGeom>
              <a:avLst/>
              <a:gdLst>
                <a:gd name="T0" fmla="*/ 45 w 60"/>
                <a:gd name="T1" fmla="*/ 0 h 30"/>
                <a:gd name="T2" fmla="*/ 15 w 60"/>
                <a:gd name="T3" fmla="*/ 0 h 30"/>
                <a:gd name="T4" fmla="*/ 12 w 60"/>
                <a:gd name="T5" fmla="*/ 0 h 30"/>
                <a:gd name="T6" fmla="*/ 8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2 w 60"/>
                <a:gd name="T25" fmla="*/ 22 h 30"/>
                <a:gd name="T26" fmla="*/ 4 w 60"/>
                <a:gd name="T27" fmla="*/ 26 h 30"/>
                <a:gd name="T28" fmla="*/ 6 w 60"/>
                <a:gd name="T29" fmla="*/ 27 h 30"/>
                <a:gd name="T30" fmla="*/ 8 w 60"/>
                <a:gd name="T31" fmla="*/ 29 h 30"/>
                <a:gd name="T32" fmla="*/ 12 w 60"/>
                <a:gd name="T33" fmla="*/ 29 h 30"/>
                <a:gd name="T34" fmla="*/ 15 w 60"/>
                <a:gd name="T35" fmla="*/ 30 h 30"/>
                <a:gd name="T36" fmla="*/ 45 w 60"/>
                <a:gd name="T37" fmla="*/ 30 h 30"/>
                <a:gd name="T38" fmla="*/ 48 w 60"/>
                <a:gd name="T39" fmla="*/ 29 h 30"/>
                <a:gd name="T40" fmla="*/ 50 w 60"/>
                <a:gd name="T41" fmla="*/ 29 h 30"/>
                <a:gd name="T42" fmla="*/ 53 w 60"/>
                <a:gd name="T43" fmla="*/ 27 h 30"/>
                <a:gd name="T44" fmla="*/ 56 w 60"/>
                <a:gd name="T45" fmla="*/ 26 h 30"/>
                <a:gd name="T46" fmla="*/ 57 w 60"/>
                <a:gd name="T47" fmla="*/ 22 h 30"/>
                <a:gd name="T48" fmla="*/ 59 w 60"/>
                <a:gd name="T49" fmla="*/ 20 h 30"/>
                <a:gd name="T50" fmla="*/ 59 w 60"/>
                <a:gd name="T51" fmla="*/ 17 h 30"/>
                <a:gd name="T52" fmla="*/ 60 w 60"/>
                <a:gd name="T53" fmla="*/ 15 h 30"/>
                <a:gd name="T54" fmla="*/ 59 w 60"/>
                <a:gd name="T55" fmla="*/ 12 h 30"/>
                <a:gd name="T56" fmla="*/ 59 w 60"/>
                <a:gd name="T57" fmla="*/ 8 h 30"/>
                <a:gd name="T58" fmla="*/ 57 w 60"/>
                <a:gd name="T59" fmla="*/ 6 h 30"/>
                <a:gd name="T60" fmla="*/ 56 w 60"/>
                <a:gd name="T61" fmla="*/ 4 h 30"/>
                <a:gd name="T62" fmla="*/ 53 w 60"/>
                <a:gd name="T63" fmla="*/ 2 h 30"/>
                <a:gd name="T64" fmla="*/ 50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8" y="1"/>
                  </a:lnTo>
                  <a:lnTo>
                    <a:pt x="6" y="2"/>
                  </a:lnTo>
                  <a:lnTo>
                    <a:pt x="4" y="4"/>
                  </a:lnTo>
                  <a:lnTo>
                    <a:pt x="2" y="6"/>
                  </a:lnTo>
                  <a:lnTo>
                    <a:pt x="1" y="8"/>
                  </a:lnTo>
                  <a:lnTo>
                    <a:pt x="0" y="12"/>
                  </a:lnTo>
                  <a:lnTo>
                    <a:pt x="0" y="15"/>
                  </a:lnTo>
                  <a:lnTo>
                    <a:pt x="0" y="17"/>
                  </a:lnTo>
                  <a:lnTo>
                    <a:pt x="1" y="20"/>
                  </a:lnTo>
                  <a:lnTo>
                    <a:pt x="2" y="22"/>
                  </a:lnTo>
                  <a:lnTo>
                    <a:pt x="4" y="26"/>
                  </a:lnTo>
                  <a:lnTo>
                    <a:pt x="6" y="27"/>
                  </a:lnTo>
                  <a:lnTo>
                    <a:pt x="8" y="29"/>
                  </a:lnTo>
                  <a:lnTo>
                    <a:pt x="12" y="29"/>
                  </a:lnTo>
                  <a:lnTo>
                    <a:pt x="15" y="30"/>
                  </a:lnTo>
                  <a:lnTo>
                    <a:pt x="45" y="30"/>
                  </a:lnTo>
                  <a:lnTo>
                    <a:pt x="48" y="29"/>
                  </a:lnTo>
                  <a:lnTo>
                    <a:pt x="50" y="29"/>
                  </a:lnTo>
                  <a:lnTo>
                    <a:pt x="53" y="27"/>
                  </a:lnTo>
                  <a:lnTo>
                    <a:pt x="56" y="26"/>
                  </a:lnTo>
                  <a:lnTo>
                    <a:pt x="57" y="22"/>
                  </a:lnTo>
                  <a:lnTo>
                    <a:pt x="59" y="20"/>
                  </a:lnTo>
                  <a:lnTo>
                    <a:pt x="59" y="17"/>
                  </a:lnTo>
                  <a:lnTo>
                    <a:pt x="60" y="15"/>
                  </a:lnTo>
                  <a:lnTo>
                    <a:pt x="59" y="12"/>
                  </a:lnTo>
                  <a:lnTo>
                    <a:pt x="59" y="8"/>
                  </a:lnTo>
                  <a:lnTo>
                    <a:pt x="57" y="6"/>
                  </a:lnTo>
                  <a:lnTo>
                    <a:pt x="56" y="4"/>
                  </a:lnTo>
                  <a:lnTo>
                    <a:pt x="53" y="2"/>
                  </a:lnTo>
                  <a:lnTo>
                    <a:pt x="50"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3" name="Freeform 49">
              <a:extLst>
                <a:ext uri="{FF2B5EF4-FFF2-40B4-BE49-F238E27FC236}">
                  <a16:creationId xmlns:a16="http://schemas.microsoft.com/office/drawing/2014/main" id="{2D98B831-2F89-479B-B9C9-C837636B927E}"/>
                </a:ext>
              </a:extLst>
            </p:cNvPr>
            <p:cNvSpPr>
              <a:spLocks/>
            </p:cNvSpPr>
            <p:nvPr/>
          </p:nvSpPr>
          <p:spPr bwMode="auto">
            <a:xfrm>
              <a:off x="935038" y="3903663"/>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2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2 w 60"/>
                <a:gd name="T25" fmla="*/ 23 h 30"/>
                <a:gd name="T26" fmla="*/ 5 w 60"/>
                <a:gd name="T27" fmla="*/ 26 h 30"/>
                <a:gd name="T28" fmla="*/ 7 w 60"/>
                <a:gd name="T29" fmla="*/ 27 h 30"/>
                <a:gd name="T30" fmla="*/ 9 w 60"/>
                <a:gd name="T31" fmla="*/ 29 h 30"/>
                <a:gd name="T32" fmla="*/ 12 w 60"/>
                <a:gd name="T33" fmla="*/ 30 h 30"/>
                <a:gd name="T34" fmla="*/ 15 w 60"/>
                <a:gd name="T35" fmla="*/ 30 h 30"/>
                <a:gd name="T36" fmla="*/ 45 w 60"/>
                <a:gd name="T37" fmla="*/ 30 h 30"/>
                <a:gd name="T38" fmla="*/ 49 w 60"/>
                <a:gd name="T39" fmla="*/ 29 h 30"/>
                <a:gd name="T40" fmla="*/ 51 w 60"/>
                <a:gd name="T41" fmla="*/ 29 h 30"/>
                <a:gd name="T42" fmla="*/ 54 w 60"/>
                <a:gd name="T43" fmla="*/ 27 h 30"/>
                <a:gd name="T44" fmla="*/ 56 w 60"/>
                <a:gd name="T45" fmla="*/ 26 h 30"/>
                <a:gd name="T46" fmla="*/ 57 w 60"/>
                <a:gd name="T47" fmla="*/ 23 h 30"/>
                <a:gd name="T48" fmla="*/ 59 w 60"/>
                <a:gd name="T49" fmla="*/ 20 h 30"/>
                <a:gd name="T50" fmla="*/ 59 w 60"/>
                <a:gd name="T51" fmla="*/ 18 h 30"/>
                <a:gd name="T52" fmla="*/ 60 w 60"/>
                <a:gd name="T53" fmla="*/ 15 h 30"/>
                <a:gd name="T54" fmla="*/ 59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2" y="6"/>
                  </a:lnTo>
                  <a:lnTo>
                    <a:pt x="1" y="8"/>
                  </a:lnTo>
                  <a:lnTo>
                    <a:pt x="0" y="12"/>
                  </a:lnTo>
                  <a:lnTo>
                    <a:pt x="0" y="15"/>
                  </a:lnTo>
                  <a:lnTo>
                    <a:pt x="0" y="18"/>
                  </a:lnTo>
                  <a:lnTo>
                    <a:pt x="1" y="20"/>
                  </a:lnTo>
                  <a:lnTo>
                    <a:pt x="2" y="23"/>
                  </a:lnTo>
                  <a:lnTo>
                    <a:pt x="5" y="26"/>
                  </a:lnTo>
                  <a:lnTo>
                    <a:pt x="7" y="27"/>
                  </a:lnTo>
                  <a:lnTo>
                    <a:pt x="9" y="29"/>
                  </a:lnTo>
                  <a:lnTo>
                    <a:pt x="12" y="30"/>
                  </a:lnTo>
                  <a:lnTo>
                    <a:pt x="15" y="30"/>
                  </a:lnTo>
                  <a:lnTo>
                    <a:pt x="45" y="30"/>
                  </a:lnTo>
                  <a:lnTo>
                    <a:pt x="49" y="29"/>
                  </a:lnTo>
                  <a:lnTo>
                    <a:pt x="51" y="29"/>
                  </a:lnTo>
                  <a:lnTo>
                    <a:pt x="54" y="27"/>
                  </a:lnTo>
                  <a:lnTo>
                    <a:pt x="56" y="26"/>
                  </a:lnTo>
                  <a:lnTo>
                    <a:pt x="57" y="23"/>
                  </a:lnTo>
                  <a:lnTo>
                    <a:pt x="59" y="20"/>
                  </a:lnTo>
                  <a:lnTo>
                    <a:pt x="59" y="18"/>
                  </a:lnTo>
                  <a:lnTo>
                    <a:pt x="60" y="15"/>
                  </a:lnTo>
                  <a:lnTo>
                    <a:pt x="59"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4" name="Freeform 50">
              <a:extLst>
                <a:ext uri="{FF2B5EF4-FFF2-40B4-BE49-F238E27FC236}">
                  <a16:creationId xmlns:a16="http://schemas.microsoft.com/office/drawing/2014/main" id="{5A9D05F2-B576-4323-B7B0-607F3F96F051}"/>
                </a:ext>
              </a:extLst>
            </p:cNvPr>
            <p:cNvSpPr>
              <a:spLocks/>
            </p:cNvSpPr>
            <p:nvPr/>
          </p:nvSpPr>
          <p:spPr bwMode="auto">
            <a:xfrm>
              <a:off x="973138" y="3903663"/>
              <a:ext cx="20638" cy="9525"/>
            </a:xfrm>
            <a:custGeom>
              <a:avLst/>
              <a:gdLst>
                <a:gd name="T0" fmla="*/ 46 w 61"/>
                <a:gd name="T1" fmla="*/ 0 h 30"/>
                <a:gd name="T2" fmla="*/ 15 w 61"/>
                <a:gd name="T3" fmla="*/ 0 h 30"/>
                <a:gd name="T4" fmla="*/ 12 w 61"/>
                <a:gd name="T5" fmla="*/ 0 h 30"/>
                <a:gd name="T6" fmla="*/ 10 w 61"/>
                <a:gd name="T7" fmla="*/ 1 h 30"/>
                <a:gd name="T8" fmla="*/ 7 w 61"/>
                <a:gd name="T9" fmla="*/ 2 h 30"/>
                <a:gd name="T10" fmla="*/ 5 w 61"/>
                <a:gd name="T11" fmla="*/ 4 h 30"/>
                <a:gd name="T12" fmla="*/ 3 w 61"/>
                <a:gd name="T13" fmla="*/ 6 h 30"/>
                <a:gd name="T14" fmla="*/ 2 w 61"/>
                <a:gd name="T15" fmla="*/ 8 h 30"/>
                <a:gd name="T16" fmla="*/ 0 w 61"/>
                <a:gd name="T17" fmla="*/ 12 h 30"/>
                <a:gd name="T18" fmla="*/ 0 w 61"/>
                <a:gd name="T19" fmla="*/ 15 h 30"/>
                <a:gd name="T20" fmla="*/ 0 w 61"/>
                <a:gd name="T21" fmla="*/ 18 h 30"/>
                <a:gd name="T22" fmla="*/ 2 w 61"/>
                <a:gd name="T23" fmla="*/ 20 h 30"/>
                <a:gd name="T24" fmla="*/ 3 w 61"/>
                <a:gd name="T25" fmla="*/ 23 h 30"/>
                <a:gd name="T26" fmla="*/ 5 w 61"/>
                <a:gd name="T27" fmla="*/ 26 h 30"/>
                <a:gd name="T28" fmla="*/ 7 w 61"/>
                <a:gd name="T29" fmla="*/ 27 h 30"/>
                <a:gd name="T30" fmla="*/ 9 w 61"/>
                <a:gd name="T31" fmla="*/ 29 h 30"/>
                <a:gd name="T32" fmla="*/ 12 w 61"/>
                <a:gd name="T33" fmla="*/ 30 h 30"/>
                <a:gd name="T34" fmla="*/ 15 w 61"/>
                <a:gd name="T35" fmla="*/ 30 h 30"/>
                <a:gd name="T36" fmla="*/ 46 w 61"/>
                <a:gd name="T37" fmla="*/ 30 h 30"/>
                <a:gd name="T38" fmla="*/ 49 w 61"/>
                <a:gd name="T39" fmla="*/ 29 h 30"/>
                <a:gd name="T40" fmla="*/ 51 w 61"/>
                <a:gd name="T41" fmla="*/ 29 h 30"/>
                <a:gd name="T42" fmla="*/ 54 w 61"/>
                <a:gd name="T43" fmla="*/ 27 h 30"/>
                <a:gd name="T44" fmla="*/ 56 w 61"/>
                <a:gd name="T45" fmla="*/ 26 h 30"/>
                <a:gd name="T46" fmla="*/ 58 w 61"/>
                <a:gd name="T47" fmla="*/ 23 h 30"/>
                <a:gd name="T48" fmla="*/ 59 w 61"/>
                <a:gd name="T49" fmla="*/ 20 h 30"/>
                <a:gd name="T50" fmla="*/ 61 w 61"/>
                <a:gd name="T51" fmla="*/ 18 h 30"/>
                <a:gd name="T52" fmla="*/ 61 w 61"/>
                <a:gd name="T53" fmla="*/ 15 h 30"/>
                <a:gd name="T54" fmla="*/ 61 w 61"/>
                <a:gd name="T55" fmla="*/ 12 h 30"/>
                <a:gd name="T56" fmla="*/ 59 w 61"/>
                <a:gd name="T57" fmla="*/ 8 h 30"/>
                <a:gd name="T58" fmla="*/ 58 w 61"/>
                <a:gd name="T59" fmla="*/ 6 h 30"/>
                <a:gd name="T60" fmla="*/ 56 w 61"/>
                <a:gd name="T61" fmla="*/ 4 h 30"/>
                <a:gd name="T62" fmla="*/ 54 w 61"/>
                <a:gd name="T63" fmla="*/ 2 h 30"/>
                <a:gd name="T64" fmla="*/ 51 w 61"/>
                <a:gd name="T65" fmla="*/ 1 h 30"/>
                <a:gd name="T66" fmla="*/ 49 w 61"/>
                <a:gd name="T67" fmla="*/ 0 h 30"/>
                <a:gd name="T68" fmla="*/ 46 w 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30">
                  <a:moveTo>
                    <a:pt x="46" y="0"/>
                  </a:moveTo>
                  <a:lnTo>
                    <a:pt x="15" y="0"/>
                  </a:lnTo>
                  <a:lnTo>
                    <a:pt x="12" y="0"/>
                  </a:lnTo>
                  <a:lnTo>
                    <a:pt x="10" y="1"/>
                  </a:lnTo>
                  <a:lnTo>
                    <a:pt x="7" y="2"/>
                  </a:lnTo>
                  <a:lnTo>
                    <a:pt x="5" y="4"/>
                  </a:lnTo>
                  <a:lnTo>
                    <a:pt x="3" y="6"/>
                  </a:lnTo>
                  <a:lnTo>
                    <a:pt x="2" y="8"/>
                  </a:lnTo>
                  <a:lnTo>
                    <a:pt x="0" y="12"/>
                  </a:lnTo>
                  <a:lnTo>
                    <a:pt x="0" y="15"/>
                  </a:lnTo>
                  <a:lnTo>
                    <a:pt x="0" y="18"/>
                  </a:lnTo>
                  <a:lnTo>
                    <a:pt x="2" y="20"/>
                  </a:lnTo>
                  <a:lnTo>
                    <a:pt x="3" y="23"/>
                  </a:lnTo>
                  <a:lnTo>
                    <a:pt x="5" y="26"/>
                  </a:lnTo>
                  <a:lnTo>
                    <a:pt x="7" y="27"/>
                  </a:lnTo>
                  <a:lnTo>
                    <a:pt x="9" y="29"/>
                  </a:lnTo>
                  <a:lnTo>
                    <a:pt x="12" y="30"/>
                  </a:lnTo>
                  <a:lnTo>
                    <a:pt x="15" y="30"/>
                  </a:lnTo>
                  <a:lnTo>
                    <a:pt x="46" y="30"/>
                  </a:lnTo>
                  <a:lnTo>
                    <a:pt x="49" y="29"/>
                  </a:lnTo>
                  <a:lnTo>
                    <a:pt x="51" y="29"/>
                  </a:lnTo>
                  <a:lnTo>
                    <a:pt x="54" y="27"/>
                  </a:lnTo>
                  <a:lnTo>
                    <a:pt x="56" y="26"/>
                  </a:lnTo>
                  <a:lnTo>
                    <a:pt x="58" y="23"/>
                  </a:lnTo>
                  <a:lnTo>
                    <a:pt x="59" y="20"/>
                  </a:lnTo>
                  <a:lnTo>
                    <a:pt x="61" y="18"/>
                  </a:lnTo>
                  <a:lnTo>
                    <a:pt x="61" y="15"/>
                  </a:lnTo>
                  <a:lnTo>
                    <a:pt x="61" y="12"/>
                  </a:lnTo>
                  <a:lnTo>
                    <a:pt x="59" y="8"/>
                  </a:lnTo>
                  <a:lnTo>
                    <a:pt x="58" y="6"/>
                  </a:lnTo>
                  <a:lnTo>
                    <a:pt x="56" y="4"/>
                  </a:lnTo>
                  <a:lnTo>
                    <a:pt x="54" y="2"/>
                  </a:lnTo>
                  <a:lnTo>
                    <a:pt x="51" y="1"/>
                  </a:lnTo>
                  <a:lnTo>
                    <a:pt x="49"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5" name="Freeform 51">
              <a:extLst>
                <a:ext uri="{FF2B5EF4-FFF2-40B4-BE49-F238E27FC236}">
                  <a16:creationId xmlns:a16="http://schemas.microsoft.com/office/drawing/2014/main" id="{872C996A-B1B4-478A-994F-D4AC7B82EE56}"/>
                </a:ext>
              </a:extLst>
            </p:cNvPr>
            <p:cNvSpPr>
              <a:spLocks/>
            </p:cNvSpPr>
            <p:nvPr/>
          </p:nvSpPr>
          <p:spPr bwMode="auto">
            <a:xfrm>
              <a:off x="1012825" y="3903663"/>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4 w 60"/>
                <a:gd name="T27" fmla="*/ 26 h 30"/>
                <a:gd name="T28" fmla="*/ 6 w 60"/>
                <a:gd name="T29" fmla="*/ 27 h 30"/>
                <a:gd name="T30" fmla="*/ 9 w 60"/>
                <a:gd name="T31" fmla="*/ 29 h 30"/>
                <a:gd name="T32" fmla="*/ 11 w 60"/>
                <a:gd name="T33" fmla="*/ 30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4"/>
                  </a:lnTo>
                  <a:lnTo>
                    <a:pt x="3" y="6"/>
                  </a:lnTo>
                  <a:lnTo>
                    <a:pt x="1" y="8"/>
                  </a:lnTo>
                  <a:lnTo>
                    <a:pt x="0" y="12"/>
                  </a:lnTo>
                  <a:lnTo>
                    <a:pt x="0" y="15"/>
                  </a:lnTo>
                  <a:lnTo>
                    <a:pt x="0" y="18"/>
                  </a:lnTo>
                  <a:lnTo>
                    <a:pt x="1" y="20"/>
                  </a:lnTo>
                  <a:lnTo>
                    <a:pt x="3" y="23"/>
                  </a:lnTo>
                  <a:lnTo>
                    <a:pt x="4" y="26"/>
                  </a:lnTo>
                  <a:lnTo>
                    <a:pt x="6" y="27"/>
                  </a:lnTo>
                  <a:lnTo>
                    <a:pt x="9" y="29"/>
                  </a:lnTo>
                  <a:lnTo>
                    <a:pt x="11" y="30"/>
                  </a:lnTo>
                  <a:lnTo>
                    <a:pt x="15" y="30"/>
                  </a:lnTo>
                  <a:lnTo>
                    <a:pt x="45" y="30"/>
                  </a:lnTo>
                  <a:lnTo>
                    <a:pt x="48" y="29"/>
                  </a:lnTo>
                  <a:lnTo>
                    <a:pt x="51" y="29"/>
                  </a:lnTo>
                  <a:lnTo>
                    <a:pt x="53" y="27"/>
                  </a:lnTo>
                  <a:lnTo>
                    <a:pt x="55" y="26"/>
                  </a:lnTo>
                  <a:lnTo>
                    <a:pt x="57" y="23"/>
                  </a:lnTo>
                  <a:lnTo>
                    <a:pt x="59" y="20"/>
                  </a:lnTo>
                  <a:lnTo>
                    <a:pt x="60" y="18"/>
                  </a:lnTo>
                  <a:lnTo>
                    <a:pt x="60" y="15"/>
                  </a:lnTo>
                  <a:lnTo>
                    <a:pt x="60" y="12"/>
                  </a:lnTo>
                  <a:lnTo>
                    <a:pt x="59" y="8"/>
                  </a:lnTo>
                  <a:lnTo>
                    <a:pt x="57"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6" name="Freeform 52">
              <a:extLst>
                <a:ext uri="{FF2B5EF4-FFF2-40B4-BE49-F238E27FC236}">
                  <a16:creationId xmlns:a16="http://schemas.microsoft.com/office/drawing/2014/main" id="{6EFC7E12-541F-41AF-8C08-A2D8601D1C7F}"/>
                </a:ext>
              </a:extLst>
            </p:cNvPr>
            <p:cNvSpPr>
              <a:spLocks/>
            </p:cNvSpPr>
            <p:nvPr/>
          </p:nvSpPr>
          <p:spPr bwMode="auto">
            <a:xfrm>
              <a:off x="1050925" y="3903663"/>
              <a:ext cx="19050" cy="9525"/>
            </a:xfrm>
            <a:custGeom>
              <a:avLst/>
              <a:gdLst>
                <a:gd name="T0" fmla="*/ 46 w 61"/>
                <a:gd name="T1" fmla="*/ 0 h 30"/>
                <a:gd name="T2" fmla="*/ 16 w 61"/>
                <a:gd name="T3" fmla="*/ 0 h 30"/>
                <a:gd name="T4" fmla="*/ 13 w 61"/>
                <a:gd name="T5" fmla="*/ 0 h 30"/>
                <a:gd name="T6" fmla="*/ 9 w 61"/>
                <a:gd name="T7" fmla="*/ 1 h 30"/>
                <a:gd name="T8" fmla="*/ 7 w 61"/>
                <a:gd name="T9" fmla="*/ 2 h 30"/>
                <a:gd name="T10" fmla="*/ 5 w 61"/>
                <a:gd name="T11" fmla="*/ 4 h 30"/>
                <a:gd name="T12" fmla="*/ 3 w 61"/>
                <a:gd name="T13" fmla="*/ 6 h 30"/>
                <a:gd name="T14" fmla="*/ 2 w 61"/>
                <a:gd name="T15" fmla="*/ 8 h 30"/>
                <a:gd name="T16" fmla="*/ 1 w 61"/>
                <a:gd name="T17" fmla="*/ 12 h 30"/>
                <a:gd name="T18" fmla="*/ 0 w 61"/>
                <a:gd name="T19" fmla="*/ 15 h 30"/>
                <a:gd name="T20" fmla="*/ 1 w 61"/>
                <a:gd name="T21" fmla="*/ 18 h 30"/>
                <a:gd name="T22" fmla="*/ 2 w 61"/>
                <a:gd name="T23" fmla="*/ 20 h 30"/>
                <a:gd name="T24" fmla="*/ 3 w 61"/>
                <a:gd name="T25" fmla="*/ 23 h 30"/>
                <a:gd name="T26" fmla="*/ 5 w 61"/>
                <a:gd name="T27" fmla="*/ 26 h 30"/>
                <a:gd name="T28" fmla="*/ 7 w 61"/>
                <a:gd name="T29" fmla="*/ 27 h 30"/>
                <a:gd name="T30" fmla="*/ 9 w 61"/>
                <a:gd name="T31" fmla="*/ 29 h 30"/>
                <a:gd name="T32" fmla="*/ 13 w 61"/>
                <a:gd name="T33" fmla="*/ 30 h 30"/>
                <a:gd name="T34" fmla="*/ 16 w 61"/>
                <a:gd name="T35" fmla="*/ 30 h 30"/>
                <a:gd name="T36" fmla="*/ 46 w 61"/>
                <a:gd name="T37" fmla="*/ 30 h 30"/>
                <a:gd name="T38" fmla="*/ 48 w 61"/>
                <a:gd name="T39" fmla="*/ 29 h 30"/>
                <a:gd name="T40" fmla="*/ 51 w 61"/>
                <a:gd name="T41" fmla="*/ 29 h 30"/>
                <a:gd name="T42" fmla="*/ 53 w 61"/>
                <a:gd name="T43" fmla="*/ 27 h 30"/>
                <a:gd name="T44" fmla="*/ 55 w 61"/>
                <a:gd name="T45" fmla="*/ 26 h 30"/>
                <a:gd name="T46" fmla="*/ 58 w 61"/>
                <a:gd name="T47" fmla="*/ 23 h 30"/>
                <a:gd name="T48" fmla="*/ 60 w 61"/>
                <a:gd name="T49" fmla="*/ 20 h 30"/>
                <a:gd name="T50" fmla="*/ 60 w 61"/>
                <a:gd name="T51" fmla="*/ 18 h 30"/>
                <a:gd name="T52" fmla="*/ 61 w 61"/>
                <a:gd name="T53" fmla="*/ 15 h 30"/>
                <a:gd name="T54" fmla="*/ 60 w 61"/>
                <a:gd name="T55" fmla="*/ 12 h 30"/>
                <a:gd name="T56" fmla="*/ 60 w 61"/>
                <a:gd name="T57" fmla="*/ 8 h 30"/>
                <a:gd name="T58" fmla="*/ 58 w 61"/>
                <a:gd name="T59" fmla="*/ 6 h 30"/>
                <a:gd name="T60" fmla="*/ 55 w 61"/>
                <a:gd name="T61" fmla="*/ 4 h 30"/>
                <a:gd name="T62" fmla="*/ 53 w 61"/>
                <a:gd name="T63" fmla="*/ 2 h 30"/>
                <a:gd name="T64" fmla="*/ 51 w 61"/>
                <a:gd name="T65" fmla="*/ 1 h 30"/>
                <a:gd name="T66" fmla="*/ 48 w 61"/>
                <a:gd name="T67" fmla="*/ 0 h 30"/>
                <a:gd name="T68" fmla="*/ 46 w 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30">
                  <a:moveTo>
                    <a:pt x="46" y="0"/>
                  </a:moveTo>
                  <a:lnTo>
                    <a:pt x="16" y="0"/>
                  </a:lnTo>
                  <a:lnTo>
                    <a:pt x="13" y="0"/>
                  </a:lnTo>
                  <a:lnTo>
                    <a:pt x="9" y="1"/>
                  </a:lnTo>
                  <a:lnTo>
                    <a:pt x="7" y="2"/>
                  </a:lnTo>
                  <a:lnTo>
                    <a:pt x="5" y="4"/>
                  </a:lnTo>
                  <a:lnTo>
                    <a:pt x="3" y="6"/>
                  </a:lnTo>
                  <a:lnTo>
                    <a:pt x="2" y="8"/>
                  </a:lnTo>
                  <a:lnTo>
                    <a:pt x="1" y="12"/>
                  </a:lnTo>
                  <a:lnTo>
                    <a:pt x="0" y="15"/>
                  </a:lnTo>
                  <a:lnTo>
                    <a:pt x="1" y="18"/>
                  </a:lnTo>
                  <a:lnTo>
                    <a:pt x="2" y="20"/>
                  </a:lnTo>
                  <a:lnTo>
                    <a:pt x="3" y="23"/>
                  </a:lnTo>
                  <a:lnTo>
                    <a:pt x="5" y="26"/>
                  </a:lnTo>
                  <a:lnTo>
                    <a:pt x="7" y="27"/>
                  </a:lnTo>
                  <a:lnTo>
                    <a:pt x="9" y="29"/>
                  </a:lnTo>
                  <a:lnTo>
                    <a:pt x="13" y="30"/>
                  </a:lnTo>
                  <a:lnTo>
                    <a:pt x="16" y="30"/>
                  </a:lnTo>
                  <a:lnTo>
                    <a:pt x="46" y="30"/>
                  </a:lnTo>
                  <a:lnTo>
                    <a:pt x="48" y="29"/>
                  </a:lnTo>
                  <a:lnTo>
                    <a:pt x="51" y="29"/>
                  </a:lnTo>
                  <a:lnTo>
                    <a:pt x="53" y="27"/>
                  </a:lnTo>
                  <a:lnTo>
                    <a:pt x="55" y="26"/>
                  </a:lnTo>
                  <a:lnTo>
                    <a:pt x="58" y="23"/>
                  </a:lnTo>
                  <a:lnTo>
                    <a:pt x="60" y="20"/>
                  </a:lnTo>
                  <a:lnTo>
                    <a:pt x="60" y="18"/>
                  </a:lnTo>
                  <a:lnTo>
                    <a:pt x="61" y="15"/>
                  </a:lnTo>
                  <a:lnTo>
                    <a:pt x="60" y="12"/>
                  </a:lnTo>
                  <a:lnTo>
                    <a:pt x="60" y="8"/>
                  </a:lnTo>
                  <a:lnTo>
                    <a:pt x="58" y="6"/>
                  </a:lnTo>
                  <a:lnTo>
                    <a:pt x="55" y="4"/>
                  </a:lnTo>
                  <a:lnTo>
                    <a:pt x="53" y="2"/>
                  </a:lnTo>
                  <a:lnTo>
                    <a:pt x="51" y="1"/>
                  </a:lnTo>
                  <a:lnTo>
                    <a:pt x="48"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7" name="Freeform 53">
              <a:extLst>
                <a:ext uri="{FF2B5EF4-FFF2-40B4-BE49-F238E27FC236}">
                  <a16:creationId xmlns:a16="http://schemas.microsoft.com/office/drawing/2014/main" id="{3A897D57-755E-4330-9ADB-AB68978A2788}"/>
                </a:ext>
              </a:extLst>
            </p:cNvPr>
            <p:cNvSpPr>
              <a:spLocks/>
            </p:cNvSpPr>
            <p:nvPr/>
          </p:nvSpPr>
          <p:spPr bwMode="auto">
            <a:xfrm>
              <a:off x="1089025" y="3903663"/>
              <a:ext cx="19050" cy="9525"/>
            </a:xfrm>
            <a:custGeom>
              <a:avLst/>
              <a:gdLst>
                <a:gd name="T0" fmla="*/ 45 w 60"/>
                <a:gd name="T1" fmla="*/ 0 h 30"/>
                <a:gd name="T2" fmla="*/ 15 w 60"/>
                <a:gd name="T3" fmla="*/ 0 h 30"/>
                <a:gd name="T4" fmla="*/ 12 w 60"/>
                <a:gd name="T5" fmla="*/ 0 h 30"/>
                <a:gd name="T6" fmla="*/ 8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2 w 60"/>
                <a:gd name="T25" fmla="*/ 23 h 30"/>
                <a:gd name="T26" fmla="*/ 4 w 60"/>
                <a:gd name="T27" fmla="*/ 26 h 30"/>
                <a:gd name="T28" fmla="*/ 6 w 60"/>
                <a:gd name="T29" fmla="*/ 27 h 30"/>
                <a:gd name="T30" fmla="*/ 8 w 60"/>
                <a:gd name="T31" fmla="*/ 29 h 30"/>
                <a:gd name="T32" fmla="*/ 12 w 60"/>
                <a:gd name="T33" fmla="*/ 30 h 30"/>
                <a:gd name="T34" fmla="*/ 15 w 60"/>
                <a:gd name="T35" fmla="*/ 30 h 30"/>
                <a:gd name="T36" fmla="*/ 45 w 60"/>
                <a:gd name="T37" fmla="*/ 30 h 30"/>
                <a:gd name="T38" fmla="*/ 48 w 60"/>
                <a:gd name="T39" fmla="*/ 29 h 30"/>
                <a:gd name="T40" fmla="*/ 50 w 60"/>
                <a:gd name="T41" fmla="*/ 29 h 30"/>
                <a:gd name="T42" fmla="*/ 54 w 60"/>
                <a:gd name="T43" fmla="*/ 27 h 30"/>
                <a:gd name="T44" fmla="*/ 56 w 60"/>
                <a:gd name="T45" fmla="*/ 26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0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8" y="1"/>
                  </a:lnTo>
                  <a:lnTo>
                    <a:pt x="6" y="2"/>
                  </a:lnTo>
                  <a:lnTo>
                    <a:pt x="4" y="4"/>
                  </a:lnTo>
                  <a:lnTo>
                    <a:pt x="2" y="6"/>
                  </a:lnTo>
                  <a:lnTo>
                    <a:pt x="1" y="8"/>
                  </a:lnTo>
                  <a:lnTo>
                    <a:pt x="0" y="12"/>
                  </a:lnTo>
                  <a:lnTo>
                    <a:pt x="0" y="15"/>
                  </a:lnTo>
                  <a:lnTo>
                    <a:pt x="0" y="18"/>
                  </a:lnTo>
                  <a:lnTo>
                    <a:pt x="1" y="20"/>
                  </a:lnTo>
                  <a:lnTo>
                    <a:pt x="2" y="23"/>
                  </a:lnTo>
                  <a:lnTo>
                    <a:pt x="4" y="26"/>
                  </a:lnTo>
                  <a:lnTo>
                    <a:pt x="6" y="27"/>
                  </a:lnTo>
                  <a:lnTo>
                    <a:pt x="8" y="29"/>
                  </a:lnTo>
                  <a:lnTo>
                    <a:pt x="12" y="30"/>
                  </a:lnTo>
                  <a:lnTo>
                    <a:pt x="15" y="30"/>
                  </a:lnTo>
                  <a:lnTo>
                    <a:pt x="45" y="30"/>
                  </a:lnTo>
                  <a:lnTo>
                    <a:pt x="48" y="29"/>
                  </a:lnTo>
                  <a:lnTo>
                    <a:pt x="50" y="29"/>
                  </a:lnTo>
                  <a:lnTo>
                    <a:pt x="54" y="27"/>
                  </a:lnTo>
                  <a:lnTo>
                    <a:pt x="56" y="26"/>
                  </a:lnTo>
                  <a:lnTo>
                    <a:pt x="57" y="23"/>
                  </a:lnTo>
                  <a:lnTo>
                    <a:pt x="59" y="20"/>
                  </a:lnTo>
                  <a:lnTo>
                    <a:pt x="60" y="18"/>
                  </a:lnTo>
                  <a:lnTo>
                    <a:pt x="60" y="15"/>
                  </a:lnTo>
                  <a:lnTo>
                    <a:pt x="60" y="12"/>
                  </a:lnTo>
                  <a:lnTo>
                    <a:pt x="59" y="8"/>
                  </a:lnTo>
                  <a:lnTo>
                    <a:pt x="57" y="6"/>
                  </a:lnTo>
                  <a:lnTo>
                    <a:pt x="56" y="4"/>
                  </a:lnTo>
                  <a:lnTo>
                    <a:pt x="54" y="2"/>
                  </a:lnTo>
                  <a:lnTo>
                    <a:pt x="50"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8" name="Freeform 54">
              <a:extLst>
                <a:ext uri="{FF2B5EF4-FFF2-40B4-BE49-F238E27FC236}">
                  <a16:creationId xmlns:a16="http://schemas.microsoft.com/office/drawing/2014/main" id="{DA34D73E-7F66-4F15-A7A3-B11F42FF44A6}"/>
                </a:ext>
              </a:extLst>
            </p:cNvPr>
            <p:cNvSpPr>
              <a:spLocks noEditPoints="1"/>
            </p:cNvSpPr>
            <p:nvPr/>
          </p:nvSpPr>
          <p:spPr bwMode="auto">
            <a:xfrm>
              <a:off x="877888" y="3673475"/>
              <a:ext cx="287338" cy="268288"/>
            </a:xfrm>
            <a:custGeom>
              <a:avLst/>
              <a:gdLst>
                <a:gd name="T0" fmla="*/ 772 w 903"/>
                <a:gd name="T1" fmla="*/ 548 h 843"/>
                <a:gd name="T2" fmla="*/ 739 w 903"/>
                <a:gd name="T3" fmla="*/ 519 h 843"/>
                <a:gd name="T4" fmla="*/ 708 w 903"/>
                <a:gd name="T5" fmla="*/ 512 h 843"/>
                <a:gd name="T6" fmla="*/ 182 w 903"/>
                <a:gd name="T7" fmla="*/ 513 h 843"/>
                <a:gd name="T8" fmla="*/ 153 w 903"/>
                <a:gd name="T9" fmla="*/ 526 h 843"/>
                <a:gd name="T10" fmla="*/ 126 w 903"/>
                <a:gd name="T11" fmla="*/ 560 h 843"/>
                <a:gd name="T12" fmla="*/ 196 w 903"/>
                <a:gd name="T13" fmla="*/ 421 h 843"/>
                <a:gd name="T14" fmla="*/ 386 w 903"/>
                <a:gd name="T15" fmla="*/ 542 h 843"/>
                <a:gd name="T16" fmla="*/ 151 w 903"/>
                <a:gd name="T17" fmla="*/ 813 h 843"/>
                <a:gd name="T18" fmla="*/ 164 w 903"/>
                <a:gd name="T19" fmla="*/ 556 h 843"/>
                <a:gd name="T20" fmla="*/ 352 w 903"/>
                <a:gd name="T21" fmla="*/ 542 h 843"/>
                <a:gd name="T22" fmla="*/ 392 w 903"/>
                <a:gd name="T23" fmla="*/ 602 h 843"/>
                <a:gd name="T24" fmla="*/ 526 w 903"/>
                <a:gd name="T25" fmla="*/ 594 h 843"/>
                <a:gd name="T26" fmla="*/ 733 w 903"/>
                <a:gd name="T27" fmla="*/ 549 h 843"/>
                <a:gd name="T28" fmla="*/ 753 w 903"/>
                <a:gd name="T29" fmla="*/ 587 h 843"/>
                <a:gd name="T30" fmla="*/ 693 w 903"/>
                <a:gd name="T31" fmla="*/ 112 h 843"/>
                <a:gd name="T32" fmla="*/ 873 w 903"/>
                <a:gd name="T33" fmla="*/ 482 h 843"/>
                <a:gd name="T34" fmla="*/ 871 w 903"/>
                <a:gd name="T35" fmla="*/ 368 h 843"/>
                <a:gd name="T36" fmla="*/ 858 w 903"/>
                <a:gd name="T37" fmla="*/ 361 h 843"/>
                <a:gd name="T38" fmla="*/ 846 w 903"/>
                <a:gd name="T39" fmla="*/ 368 h 843"/>
                <a:gd name="T40" fmla="*/ 723 w 903"/>
                <a:gd name="T41" fmla="*/ 391 h 843"/>
                <a:gd name="T42" fmla="*/ 719 w 903"/>
                <a:gd name="T43" fmla="*/ 94 h 843"/>
                <a:gd name="T44" fmla="*/ 618 w 903"/>
                <a:gd name="T45" fmla="*/ 0 h 843"/>
                <a:gd name="T46" fmla="*/ 186 w 903"/>
                <a:gd name="T47" fmla="*/ 4 h 843"/>
                <a:gd name="T48" fmla="*/ 181 w 903"/>
                <a:gd name="T49" fmla="*/ 391 h 843"/>
                <a:gd name="T50" fmla="*/ 58 w 903"/>
                <a:gd name="T51" fmla="*/ 368 h 843"/>
                <a:gd name="T52" fmla="*/ 45 w 903"/>
                <a:gd name="T53" fmla="*/ 361 h 843"/>
                <a:gd name="T54" fmla="*/ 33 w 903"/>
                <a:gd name="T55" fmla="*/ 368 h 843"/>
                <a:gd name="T56" fmla="*/ 30 w 903"/>
                <a:gd name="T57" fmla="*/ 482 h 843"/>
                <a:gd name="T58" fmla="*/ 4 w 903"/>
                <a:gd name="T59" fmla="*/ 486 h 843"/>
                <a:gd name="T60" fmla="*/ 0 w 903"/>
                <a:gd name="T61" fmla="*/ 500 h 843"/>
                <a:gd name="T62" fmla="*/ 10 w 903"/>
                <a:gd name="T63" fmla="*/ 511 h 843"/>
                <a:gd name="T64" fmla="*/ 30 w 903"/>
                <a:gd name="T65" fmla="*/ 617 h 843"/>
                <a:gd name="T66" fmla="*/ 37 w 903"/>
                <a:gd name="T67" fmla="*/ 630 h 843"/>
                <a:gd name="T68" fmla="*/ 52 w 903"/>
                <a:gd name="T69" fmla="*/ 631 h 843"/>
                <a:gd name="T70" fmla="*/ 60 w 903"/>
                <a:gd name="T71" fmla="*/ 620 h 843"/>
                <a:gd name="T72" fmla="*/ 75 w 903"/>
                <a:gd name="T73" fmla="*/ 813 h 843"/>
                <a:gd name="T74" fmla="*/ 63 w 903"/>
                <a:gd name="T75" fmla="*/ 819 h 843"/>
                <a:gd name="T76" fmla="*/ 61 w 903"/>
                <a:gd name="T77" fmla="*/ 833 h 843"/>
                <a:gd name="T78" fmla="*/ 73 w 903"/>
                <a:gd name="T79" fmla="*/ 843 h 843"/>
                <a:gd name="T80" fmla="*/ 837 w 903"/>
                <a:gd name="T81" fmla="*/ 841 h 843"/>
                <a:gd name="T82" fmla="*/ 843 w 903"/>
                <a:gd name="T83" fmla="*/ 828 h 843"/>
                <a:gd name="T84" fmla="*/ 837 w 903"/>
                <a:gd name="T85" fmla="*/ 815 h 843"/>
                <a:gd name="T86" fmla="*/ 783 w 903"/>
                <a:gd name="T87" fmla="*/ 602 h 843"/>
                <a:gd name="T88" fmla="*/ 846 w 903"/>
                <a:gd name="T89" fmla="*/ 625 h 843"/>
                <a:gd name="T90" fmla="*/ 858 w 903"/>
                <a:gd name="T91" fmla="*/ 633 h 843"/>
                <a:gd name="T92" fmla="*/ 871 w 903"/>
                <a:gd name="T93" fmla="*/ 625 h 843"/>
                <a:gd name="T94" fmla="*/ 873 w 903"/>
                <a:gd name="T95" fmla="*/ 512 h 843"/>
                <a:gd name="T96" fmla="*/ 899 w 903"/>
                <a:gd name="T97" fmla="*/ 507 h 843"/>
                <a:gd name="T98" fmla="*/ 903 w 903"/>
                <a:gd name="T99" fmla="*/ 493 h 843"/>
                <a:gd name="T100" fmla="*/ 895 w 903"/>
                <a:gd name="T101" fmla="*/ 483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843">
                  <a:moveTo>
                    <a:pt x="782" y="572"/>
                  </a:moveTo>
                  <a:lnTo>
                    <a:pt x="780" y="565"/>
                  </a:lnTo>
                  <a:lnTo>
                    <a:pt x="778" y="560"/>
                  </a:lnTo>
                  <a:lnTo>
                    <a:pt x="776" y="553"/>
                  </a:lnTo>
                  <a:lnTo>
                    <a:pt x="772" y="548"/>
                  </a:lnTo>
                  <a:lnTo>
                    <a:pt x="765" y="538"/>
                  </a:lnTo>
                  <a:lnTo>
                    <a:pt x="755" y="529"/>
                  </a:lnTo>
                  <a:lnTo>
                    <a:pt x="751" y="526"/>
                  </a:lnTo>
                  <a:lnTo>
                    <a:pt x="745" y="522"/>
                  </a:lnTo>
                  <a:lnTo>
                    <a:pt x="739" y="519"/>
                  </a:lnTo>
                  <a:lnTo>
                    <a:pt x="734" y="517"/>
                  </a:lnTo>
                  <a:lnTo>
                    <a:pt x="727" y="515"/>
                  </a:lnTo>
                  <a:lnTo>
                    <a:pt x="721" y="513"/>
                  </a:lnTo>
                  <a:lnTo>
                    <a:pt x="714" y="513"/>
                  </a:lnTo>
                  <a:lnTo>
                    <a:pt x="708" y="512"/>
                  </a:lnTo>
                  <a:lnTo>
                    <a:pt x="542" y="512"/>
                  </a:lnTo>
                  <a:lnTo>
                    <a:pt x="362" y="512"/>
                  </a:lnTo>
                  <a:lnTo>
                    <a:pt x="196" y="512"/>
                  </a:lnTo>
                  <a:lnTo>
                    <a:pt x="189" y="512"/>
                  </a:lnTo>
                  <a:lnTo>
                    <a:pt x="182" y="513"/>
                  </a:lnTo>
                  <a:lnTo>
                    <a:pt x="176" y="515"/>
                  </a:lnTo>
                  <a:lnTo>
                    <a:pt x="171" y="516"/>
                  </a:lnTo>
                  <a:lnTo>
                    <a:pt x="164" y="519"/>
                  </a:lnTo>
                  <a:lnTo>
                    <a:pt x="159" y="522"/>
                  </a:lnTo>
                  <a:lnTo>
                    <a:pt x="153" y="526"/>
                  </a:lnTo>
                  <a:lnTo>
                    <a:pt x="148" y="529"/>
                  </a:lnTo>
                  <a:lnTo>
                    <a:pt x="140" y="538"/>
                  </a:lnTo>
                  <a:lnTo>
                    <a:pt x="132" y="548"/>
                  </a:lnTo>
                  <a:lnTo>
                    <a:pt x="129" y="553"/>
                  </a:lnTo>
                  <a:lnTo>
                    <a:pt x="126" y="560"/>
                  </a:lnTo>
                  <a:lnTo>
                    <a:pt x="123" y="565"/>
                  </a:lnTo>
                  <a:lnTo>
                    <a:pt x="122" y="572"/>
                  </a:lnTo>
                  <a:lnTo>
                    <a:pt x="60" y="572"/>
                  </a:lnTo>
                  <a:lnTo>
                    <a:pt x="60" y="421"/>
                  </a:lnTo>
                  <a:lnTo>
                    <a:pt x="196" y="421"/>
                  </a:lnTo>
                  <a:lnTo>
                    <a:pt x="708" y="421"/>
                  </a:lnTo>
                  <a:lnTo>
                    <a:pt x="843" y="421"/>
                  </a:lnTo>
                  <a:lnTo>
                    <a:pt x="843" y="572"/>
                  </a:lnTo>
                  <a:lnTo>
                    <a:pt x="782" y="572"/>
                  </a:lnTo>
                  <a:close/>
                  <a:moveTo>
                    <a:pt x="386" y="542"/>
                  </a:moveTo>
                  <a:lnTo>
                    <a:pt x="518" y="542"/>
                  </a:lnTo>
                  <a:lnTo>
                    <a:pt x="503" y="572"/>
                  </a:lnTo>
                  <a:lnTo>
                    <a:pt x="401" y="572"/>
                  </a:lnTo>
                  <a:lnTo>
                    <a:pt x="386" y="542"/>
                  </a:lnTo>
                  <a:close/>
                  <a:moveTo>
                    <a:pt x="151" y="813"/>
                  </a:moveTo>
                  <a:lnTo>
                    <a:pt x="151" y="587"/>
                  </a:lnTo>
                  <a:lnTo>
                    <a:pt x="151" y="578"/>
                  </a:lnTo>
                  <a:lnTo>
                    <a:pt x="155" y="569"/>
                  </a:lnTo>
                  <a:lnTo>
                    <a:pt x="159" y="562"/>
                  </a:lnTo>
                  <a:lnTo>
                    <a:pt x="164" y="556"/>
                  </a:lnTo>
                  <a:lnTo>
                    <a:pt x="171" y="549"/>
                  </a:lnTo>
                  <a:lnTo>
                    <a:pt x="178" y="546"/>
                  </a:lnTo>
                  <a:lnTo>
                    <a:pt x="187" y="543"/>
                  </a:lnTo>
                  <a:lnTo>
                    <a:pt x="196" y="542"/>
                  </a:lnTo>
                  <a:lnTo>
                    <a:pt x="352" y="542"/>
                  </a:lnTo>
                  <a:lnTo>
                    <a:pt x="378" y="594"/>
                  </a:lnTo>
                  <a:lnTo>
                    <a:pt x="381" y="597"/>
                  </a:lnTo>
                  <a:lnTo>
                    <a:pt x="384" y="600"/>
                  </a:lnTo>
                  <a:lnTo>
                    <a:pt x="387" y="602"/>
                  </a:lnTo>
                  <a:lnTo>
                    <a:pt x="392" y="602"/>
                  </a:lnTo>
                  <a:lnTo>
                    <a:pt x="512" y="602"/>
                  </a:lnTo>
                  <a:lnTo>
                    <a:pt x="516" y="602"/>
                  </a:lnTo>
                  <a:lnTo>
                    <a:pt x="520" y="600"/>
                  </a:lnTo>
                  <a:lnTo>
                    <a:pt x="523" y="597"/>
                  </a:lnTo>
                  <a:lnTo>
                    <a:pt x="526" y="594"/>
                  </a:lnTo>
                  <a:lnTo>
                    <a:pt x="551" y="542"/>
                  </a:lnTo>
                  <a:lnTo>
                    <a:pt x="708" y="542"/>
                  </a:lnTo>
                  <a:lnTo>
                    <a:pt x="717" y="543"/>
                  </a:lnTo>
                  <a:lnTo>
                    <a:pt x="725" y="546"/>
                  </a:lnTo>
                  <a:lnTo>
                    <a:pt x="733" y="549"/>
                  </a:lnTo>
                  <a:lnTo>
                    <a:pt x="740" y="556"/>
                  </a:lnTo>
                  <a:lnTo>
                    <a:pt x="745" y="562"/>
                  </a:lnTo>
                  <a:lnTo>
                    <a:pt x="750" y="569"/>
                  </a:lnTo>
                  <a:lnTo>
                    <a:pt x="752" y="578"/>
                  </a:lnTo>
                  <a:lnTo>
                    <a:pt x="753" y="587"/>
                  </a:lnTo>
                  <a:lnTo>
                    <a:pt x="753" y="813"/>
                  </a:lnTo>
                  <a:lnTo>
                    <a:pt x="151" y="813"/>
                  </a:lnTo>
                  <a:close/>
                  <a:moveTo>
                    <a:pt x="211" y="30"/>
                  </a:moveTo>
                  <a:lnTo>
                    <a:pt x="611" y="30"/>
                  </a:lnTo>
                  <a:lnTo>
                    <a:pt x="693" y="112"/>
                  </a:lnTo>
                  <a:lnTo>
                    <a:pt x="693" y="391"/>
                  </a:lnTo>
                  <a:lnTo>
                    <a:pt x="211" y="391"/>
                  </a:lnTo>
                  <a:lnTo>
                    <a:pt x="211" y="30"/>
                  </a:lnTo>
                  <a:close/>
                  <a:moveTo>
                    <a:pt x="888" y="482"/>
                  </a:moveTo>
                  <a:lnTo>
                    <a:pt x="873" y="482"/>
                  </a:lnTo>
                  <a:lnTo>
                    <a:pt x="873" y="406"/>
                  </a:lnTo>
                  <a:lnTo>
                    <a:pt x="873" y="376"/>
                  </a:lnTo>
                  <a:lnTo>
                    <a:pt x="873" y="373"/>
                  </a:lnTo>
                  <a:lnTo>
                    <a:pt x="872" y="370"/>
                  </a:lnTo>
                  <a:lnTo>
                    <a:pt x="871" y="368"/>
                  </a:lnTo>
                  <a:lnTo>
                    <a:pt x="869" y="366"/>
                  </a:lnTo>
                  <a:lnTo>
                    <a:pt x="867" y="364"/>
                  </a:lnTo>
                  <a:lnTo>
                    <a:pt x="865" y="362"/>
                  </a:lnTo>
                  <a:lnTo>
                    <a:pt x="861" y="361"/>
                  </a:lnTo>
                  <a:lnTo>
                    <a:pt x="858" y="361"/>
                  </a:lnTo>
                  <a:lnTo>
                    <a:pt x="855" y="361"/>
                  </a:lnTo>
                  <a:lnTo>
                    <a:pt x="853" y="362"/>
                  </a:lnTo>
                  <a:lnTo>
                    <a:pt x="850" y="364"/>
                  </a:lnTo>
                  <a:lnTo>
                    <a:pt x="847" y="366"/>
                  </a:lnTo>
                  <a:lnTo>
                    <a:pt x="846" y="368"/>
                  </a:lnTo>
                  <a:lnTo>
                    <a:pt x="844" y="370"/>
                  </a:lnTo>
                  <a:lnTo>
                    <a:pt x="843" y="373"/>
                  </a:lnTo>
                  <a:lnTo>
                    <a:pt x="843" y="376"/>
                  </a:lnTo>
                  <a:lnTo>
                    <a:pt x="843" y="391"/>
                  </a:lnTo>
                  <a:lnTo>
                    <a:pt x="723" y="391"/>
                  </a:lnTo>
                  <a:lnTo>
                    <a:pt x="723" y="105"/>
                  </a:lnTo>
                  <a:lnTo>
                    <a:pt x="723" y="102"/>
                  </a:lnTo>
                  <a:lnTo>
                    <a:pt x="722" y="100"/>
                  </a:lnTo>
                  <a:lnTo>
                    <a:pt x="721" y="96"/>
                  </a:lnTo>
                  <a:lnTo>
                    <a:pt x="719" y="94"/>
                  </a:lnTo>
                  <a:lnTo>
                    <a:pt x="629" y="4"/>
                  </a:lnTo>
                  <a:lnTo>
                    <a:pt x="625" y="2"/>
                  </a:lnTo>
                  <a:lnTo>
                    <a:pt x="623" y="1"/>
                  </a:lnTo>
                  <a:lnTo>
                    <a:pt x="620" y="0"/>
                  </a:lnTo>
                  <a:lnTo>
                    <a:pt x="618" y="0"/>
                  </a:lnTo>
                  <a:lnTo>
                    <a:pt x="196" y="0"/>
                  </a:lnTo>
                  <a:lnTo>
                    <a:pt x="193" y="0"/>
                  </a:lnTo>
                  <a:lnTo>
                    <a:pt x="190" y="1"/>
                  </a:lnTo>
                  <a:lnTo>
                    <a:pt x="188" y="2"/>
                  </a:lnTo>
                  <a:lnTo>
                    <a:pt x="186" y="4"/>
                  </a:lnTo>
                  <a:lnTo>
                    <a:pt x="183" y="6"/>
                  </a:lnTo>
                  <a:lnTo>
                    <a:pt x="182" y="10"/>
                  </a:lnTo>
                  <a:lnTo>
                    <a:pt x="181" y="12"/>
                  </a:lnTo>
                  <a:lnTo>
                    <a:pt x="181" y="15"/>
                  </a:lnTo>
                  <a:lnTo>
                    <a:pt x="181" y="391"/>
                  </a:lnTo>
                  <a:lnTo>
                    <a:pt x="60" y="391"/>
                  </a:lnTo>
                  <a:lnTo>
                    <a:pt x="60" y="376"/>
                  </a:lnTo>
                  <a:lnTo>
                    <a:pt x="60" y="373"/>
                  </a:lnTo>
                  <a:lnTo>
                    <a:pt x="59" y="370"/>
                  </a:lnTo>
                  <a:lnTo>
                    <a:pt x="58" y="368"/>
                  </a:lnTo>
                  <a:lnTo>
                    <a:pt x="56" y="366"/>
                  </a:lnTo>
                  <a:lnTo>
                    <a:pt x="54" y="364"/>
                  </a:lnTo>
                  <a:lnTo>
                    <a:pt x="52" y="362"/>
                  </a:lnTo>
                  <a:lnTo>
                    <a:pt x="48" y="361"/>
                  </a:lnTo>
                  <a:lnTo>
                    <a:pt x="45" y="361"/>
                  </a:lnTo>
                  <a:lnTo>
                    <a:pt x="42" y="361"/>
                  </a:lnTo>
                  <a:lnTo>
                    <a:pt x="40" y="362"/>
                  </a:lnTo>
                  <a:lnTo>
                    <a:pt x="37" y="364"/>
                  </a:lnTo>
                  <a:lnTo>
                    <a:pt x="34" y="366"/>
                  </a:lnTo>
                  <a:lnTo>
                    <a:pt x="33" y="368"/>
                  </a:lnTo>
                  <a:lnTo>
                    <a:pt x="31" y="370"/>
                  </a:lnTo>
                  <a:lnTo>
                    <a:pt x="31" y="373"/>
                  </a:lnTo>
                  <a:lnTo>
                    <a:pt x="30" y="376"/>
                  </a:lnTo>
                  <a:lnTo>
                    <a:pt x="30" y="406"/>
                  </a:lnTo>
                  <a:lnTo>
                    <a:pt x="30" y="482"/>
                  </a:lnTo>
                  <a:lnTo>
                    <a:pt x="15" y="482"/>
                  </a:lnTo>
                  <a:lnTo>
                    <a:pt x="12" y="482"/>
                  </a:lnTo>
                  <a:lnTo>
                    <a:pt x="10" y="483"/>
                  </a:lnTo>
                  <a:lnTo>
                    <a:pt x="7" y="485"/>
                  </a:lnTo>
                  <a:lnTo>
                    <a:pt x="4" y="486"/>
                  </a:lnTo>
                  <a:lnTo>
                    <a:pt x="3" y="488"/>
                  </a:lnTo>
                  <a:lnTo>
                    <a:pt x="1" y="491"/>
                  </a:lnTo>
                  <a:lnTo>
                    <a:pt x="0" y="493"/>
                  </a:lnTo>
                  <a:lnTo>
                    <a:pt x="0" y="497"/>
                  </a:lnTo>
                  <a:lnTo>
                    <a:pt x="0" y="500"/>
                  </a:lnTo>
                  <a:lnTo>
                    <a:pt x="1" y="503"/>
                  </a:lnTo>
                  <a:lnTo>
                    <a:pt x="3" y="505"/>
                  </a:lnTo>
                  <a:lnTo>
                    <a:pt x="4" y="507"/>
                  </a:lnTo>
                  <a:lnTo>
                    <a:pt x="7" y="509"/>
                  </a:lnTo>
                  <a:lnTo>
                    <a:pt x="10" y="511"/>
                  </a:lnTo>
                  <a:lnTo>
                    <a:pt x="12" y="512"/>
                  </a:lnTo>
                  <a:lnTo>
                    <a:pt x="15" y="512"/>
                  </a:lnTo>
                  <a:lnTo>
                    <a:pt x="30" y="512"/>
                  </a:lnTo>
                  <a:lnTo>
                    <a:pt x="30" y="587"/>
                  </a:lnTo>
                  <a:lnTo>
                    <a:pt x="30" y="617"/>
                  </a:lnTo>
                  <a:lnTo>
                    <a:pt x="31" y="620"/>
                  </a:lnTo>
                  <a:lnTo>
                    <a:pt x="31" y="623"/>
                  </a:lnTo>
                  <a:lnTo>
                    <a:pt x="33" y="625"/>
                  </a:lnTo>
                  <a:lnTo>
                    <a:pt x="34" y="627"/>
                  </a:lnTo>
                  <a:lnTo>
                    <a:pt x="37" y="630"/>
                  </a:lnTo>
                  <a:lnTo>
                    <a:pt x="40" y="631"/>
                  </a:lnTo>
                  <a:lnTo>
                    <a:pt x="42" y="632"/>
                  </a:lnTo>
                  <a:lnTo>
                    <a:pt x="45" y="633"/>
                  </a:lnTo>
                  <a:lnTo>
                    <a:pt x="48" y="632"/>
                  </a:lnTo>
                  <a:lnTo>
                    <a:pt x="52" y="631"/>
                  </a:lnTo>
                  <a:lnTo>
                    <a:pt x="54" y="630"/>
                  </a:lnTo>
                  <a:lnTo>
                    <a:pt x="56" y="627"/>
                  </a:lnTo>
                  <a:lnTo>
                    <a:pt x="58" y="625"/>
                  </a:lnTo>
                  <a:lnTo>
                    <a:pt x="59" y="623"/>
                  </a:lnTo>
                  <a:lnTo>
                    <a:pt x="60" y="620"/>
                  </a:lnTo>
                  <a:lnTo>
                    <a:pt x="60" y="617"/>
                  </a:lnTo>
                  <a:lnTo>
                    <a:pt x="60" y="602"/>
                  </a:lnTo>
                  <a:lnTo>
                    <a:pt x="120" y="602"/>
                  </a:lnTo>
                  <a:lnTo>
                    <a:pt x="120" y="813"/>
                  </a:lnTo>
                  <a:lnTo>
                    <a:pt x="75" y="813"/>
                  </a:lnTo>
                  <a:lnTo>
                    <a:pt x="73" y="813"/>
                  </a:lnTo>
                  <a:lnTo>
                    <a:pt x="70" y="814"/>
                  </a:lnTo>
                  <a:lnTo>
                    <a:pt x="68" y="815"/>
                  </a:lnTo>
                  <a:lnTo>
                    <a:pt x="64" y="817"/>
                  </a:lnTo>
                  <a:lnTo>
                    <a:pt x="63" y="819"/>
                  </a:lnTo>
                  <a:lnTo>
                    <a:pt x="61" y="823"/>
                  </a:lnTo>
                  <a:lnTo>
                    <a:pt x="61" y="825"/>
                  </a:lnTo>
                  <a:lnTo>
                    <a:pt x="60" y="828"/>
                  </a:lnTo>
                  <a:lnTo>
                    <a:pt x="61" y="831"/>
                  </a:lnTo>
                  <a:lnTo>
                    <a:pt x="61" y="833"/>
                  </a:lnTo>
                  <a:lnTo>
                    <a:pt x="63" y="837"/>
                  </a:lnTo>
                  <a:lnTo>
                    <a:pt x="64" y="839"/>
                  </a:lnTo>
                  <a:lnTo>
                    <a:pt x="68" y="841"/>
                  </a:lnTo>
                  <a:lnTo>
                    <a:pt x="70" y="842"/>
                  </a:lnTo>
                  <a:lnTo>
                    <a:pt x="73" y="843"/>
                  </a:lnTo>
                  <a:lnTo>
                    <a:pt x="75" y="843"/>
                  </a:lnTo>
                  <a:lnTo>
                    <a:pt x="828" y="843"/>
                  </a:lnTo>
                  <a:lnTo>
                    <a:pt x="831" y="843"/>
                  </a:lnTo>
                  <a:lnTo>
                    <a:pt x="834" y="842"/>
                  </a:lnTo>
                  <a:lnTo>
                    <a:pt x="837" y="841"/>
                  </a:lnTo>
                  <a:lnTo>
                    <a:pt x="839" y="839"/>
                  </a:lnTo>
                  <a:lnTo>
                    <a:pt x="841" y="837"/>
                  </a:lnTo>
                  <a:lnTo>
                    <a:pt x="842" y="833"/>
                  </a:lnTo>
                  <a:lnTo>
                    <a:pt x="843" y="831"/>
                  </a:lnTo>
                  <a:lnTo>
                    <a:pt x="843" y="828"/>
                  </a:lnTo>
                  <a:lnTo>
                    <a:pt x="843" y="825"/>
                  </a:lnTo>
                  <a:lnTo>
                    <a:pt x="842" y="823"/>
                  </a:lnTo>
                  <a:lnTo>
                    <a:pt x="841" y="819"/>
                  </a:lnTo>
                  <a:lnTo>
                    <a:pt x="839" y="817"/>
                  </a:lnTo>
                  <a:lnTo>
                    <a:pt x="837" y="815"/>
                  </a:lnTo>
                  <a:lnTo>
                    <a:pt x="834" y="814"/>
                  </a:lnTo>
                  <a:lnTo>
                    <a:pt x="831" y="813"/>
                  </a:lnTo>
                  <a:lnTo>
                    <a:pt x="828" y="813"/>
                  </a:lnTo>
                  <a:lnTo>
                    <a:pt x="783" y="813"/>
                  </a:lnTo>
                  <a:lnTo>
                    <a:pt x="783" y="602"/>
                  </a:lnTo>
                  <a:lnTo>
                    <a:pt x="843" y="602"/>
                  </a:lnTo>
                  <a:lnTo>
                    <a:pt x="843" y="617"/>
                  </a:lnTo>
                  <a:lnTo>
                    <a:pt x="843" y="620"/>
                  </a:lnTo>
                  <a:lnTo>
                    <a:pt x="844" y="623"/>
                  </a:lnTo>
                  <a:lnTo>
                    <a:pt x="846" y="625"/>
                  </a:lnTo>
                  <a:lnTo>
                    <a:pt x="847" y="627"/>
                  </a:lnTo>
                  <a:lnTo>
                    <a:pt x="850" y="630"/>
                  </a:lnTo>
                  <a:lnTo>
                    <a:pt x="853" y="631"/>
                  </a:lnTo>
                  <a:lnTo>
                    <a:pt x="855" y="632"/>
                  </a:lnTo>
                  <a:lnTo>
                    <a:pt x="858" y="633"/>
                  </a:lnTo>
                  <a:lnTo>
                    <a:pt x="861" y="632"/>
                  </a:lnTo>
                  <a:lnTo>
                    <a:pt x="865" y="631"/>
                  </a:lnTo>
                  <a:lnTo>
                    <a:pt x="867" y="630"/>
                  </a:lnTo>
                  <a:lnTo>
                    <a:pt x="869" y="627"/>
                  </a:lnTo>
                  <a:lnTo>
                    <a:pt x="871" y="625"/>
                  </a:lnTo>
                  <a:lnTo>
                    <a:pt x="872" y="623"/>
                  </a:lnTo>
                  <a:lnTo>
                    <a:pt x="873" y="620"/>
                  </a:lnTo>
                  <a:lnTo>
                    <a:pt x="873" y="617"/>
                  </a:lnTo>
                  <a:lnTo>
                    <a:pt x="873" y="587"/>
                  </a:lnTo>
                  <a:lnTo>
                    <a:pt x="873" y="512"/>
                  </a:lnTo>
                  <a:lnTo>
                    <a:pt x="888" y="512"/>
                  </a:lnTo>
                  <a:lnTo>
                    <a:pt x="891" y="512"/>
                  </a:lnTo>
                  <a:lnTo>
                    <a:pt x="895" y="511"/>
                  </a:lnTo>
                  <a:lnTo>
                    <a:pt x="897" y="509"/>
                  </a:lnTo>
                  <a:lnTo>
                    <a:pt x="899" y="507"/>
                  </a:lnTo>
                  <a:lnTo>
                    <a:pt x="901" y="505"/>
                  </a:lnTo>
                  <a:lnTo>
                    <a:pt x="902" y="503"/>
                  </a:lnTo>
                  <a:lnTo>
                    <a:pt x="903" y="500"/>
                  </a:lnTo>
                  <a:lnTo>
                    <a:pt x="903" y="497"/>
                  </a:lnTo>
                  <a:lnTo>
                    <a:pt x="903" y="493"/>
                  </a:lnTo>
                  <a:lnTo>
                    <a:pt x="902" y="491"/>
                  </a:lnTo>
                  <a:lnTo>
                    <a:pt x="901" y="488"/>
                  </a:lnTo>
                  <a:lnTo>
                    <a:pt x="899" y="486"/>
                  </a:lnTo>
                  <a:lnTo>
                    <a:pt x="897" y="485"/>
                  </a:lnTo>
                  <a:lnTo>
                    <a:pt x="895" y="483"/>
                  </a:lnTo>
                  <a:lnTo>
                    <a:pt x="891" y="482"/>
                  </a:lnTo>
                  <a:lnTo>
                    <a:pt x="888"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59" name="Group 48">
            <a:extLst>
              <a:ext uri="{FF2B5EF4-FFF2-40B4-BE49-F238E27FC236}">
                <a16:creationId xmlns:a16="http://schemas.microsoft.com/office/drawing/2014/main" id="{801C0421-6238-466F-B1FC-94C5B3D39615}"/>
              </a:ext>
            </a:extLst>
          </p:cNvPr>
          <p:cNvGrpSpPr>
            <a:grpSpLocks noChangeAspect="1"/>
          </p:cNvGrpSpPr>
          <p:nvPr/>
        </p:nvGrpSpPr>
        <p:grpSpPr>
          <a:xfrm>
            <a:off x="5356366" y="5427717"/>
            <a:ext cx="305900" cy="265339"/>
            <a:chOff x="304800" y="822325"/>
            <a:chExt cx="287338" cy="249238"/>
          </a:xfrm>
          <a:solidFill>
            <a:schemeClr val="bg2"/>
          </a:solidFill>
          <a:effectLst/>
        </p:grpSpPr>
        <p:sp>
          <p:nvSpPr>
            <p:cNvPr id="1760" name="Freeform 49">
              <a:extLst>
                <a:ext uri="{FF2B5EF4-FFF2-40B4-BE49-F238E27FC236}">
                  <a16:creationId xmlns:a16="http://schemas.microsoft.com/office/drawing/2014/main" id="{A13D08F7-115F-4246-908C-C4CB8B45FCD5}"/>
                </a:ext>
              </a:extLst>
            </p:cNvPr>
            <p:cNvSpPr>
              <a:spLocks noEditPoints="1"/>
            </p:cNvSpPr>
            <p:nvPr/>
          </p:nvSpPr>
          <p:spPr bwMode="auto">
            <a:xfrm>
              <a:off x="333375" y="957263"/>
              <a:ext cx="76200" cy="57150"/>
            </a:xfrm>
            <a:custGeom>
              <a:avLst/>
              <a:gdLst>
                <a:gd name="T0" fmla="*/ 211 w 241"/>
                <a:gd name="T1" fmla="*/ 151 h 181"/>
                <a:gd name="T2" fmla="*/ 30 w 241"/>
                <a:gd name="T3" fmla="*/ 151 h 181"/>
                <a:gd name="T4" fmla="*/ 30 w 241"/>
                <a:gd name="T5" fmla="*/ 30 h 181"/>
                <a:gd name="T6" fmla="*/ 211 w 241"/>
                <a:gd name="T7" fmla="*/ 30 h 181"/>
                <a:gd name="T8" fmla="*/ 211 w 241"/>
                <a:gd name="T9" fmla="*/ 151 h 181"/>
                <a:gd name="T10" fmla="*/ 226 w 241"/>
                <a:gd name="T11" fmla="*/ 0 h 181"/>
                <a:gd name="T12" fmla="*/ 15 w 241"/>
                <a:gd name="T13" fmla="*/ 0 h 181"/>
                <a:gd name="T14" fmla="*/ 12 w 241"/>
                <a:gd name="T15" fmla="*/ 0 h 181"/>
                <a:gd name="T16" fmla="*/ 9 w 241"/>
                <a:gd name="T17" fmla="*/ 1 h 181"/>
                <a:gd name="T18" fmla="*/ 7 w 241"/>
                <a:gd name="T19" fmla="*/ 2 h 181"/>
                <a:gd name="T20" fmla="*/ 4 w 241"/>
                <a:gd name="T21" fmla="*/ 4 h 181"/>
                <a:gd name="T22" fmla="*/ 2 w 241"/>
                <a:gd name="T23" fmla="*/ 6 h 181"/>
                <a:gd name="T24" fmla="*/ 1 w 241"/>
                <a:gd name="T25" fmla="*/ 8 h 181"/>
                <a:gd name="T26" fmla="*/ 0 w 241"/>
                <a:gd name="T27" fmla="*/ 12 h 181"/>
                <a:gd name="T28" fmla="*/ 0 w 241"/>
                <a:gd name="T29" fmla="*/ 15 h 181"/>
                <a:gd name="T30" fmla="*/ 0 w 241"/>
                <a:gd name="T31" fmla="*/ 166 h 181"/>
                <a:gd name="T32" fmla="*/ 0 w 241"/>
                <a:gd name="T33" fmla="*/ 169 h 181"/>
                <a:gd name="T34" fmla="*/ 1 w 241"/>
                <a:gd name="T35" fmla="*/ 171 h 181"/>
                <a:gd name="T36" fmla="*/ 2 w 241"/>
                <a:gd name="T37" fmla="*/ 175 h 181"/>
                <a:gd name="T38" fmla="*/ 4 w 241"/>
                <a:gd name="T39" fmla="*/ 177 h 181"/>
                <a:gd name="T40" fmla="*/ 7 w 241"/>
                <a:gd name="T41" fmla="*/ 179 h 181"/>
                <a:gd name="T42" fmla="*/ 9 w 241"/>
                <a:gd name="T43" fmla="*/ 180 h 181"/>
                <a:gd name="T44" fmla="*/ 12 w 241"/>
                <a:gd name="T45" fmla="*/ 181 h 181"/>
                <a:gd name="T46" fmla="*/ 15 w 241"/>
                <a:gd name="T47" fmla="*/ 181 h 181"/>
                <a:gd name="T48" fmla="*/ 226 w 241"/>
                <a:gd name="T49" fmla="*/ 181 h 181"/>
                <a:gd name="T50" fmla="*/ 230 w 241"/>
                <a:gd name="T51" fmla="*/ 181 h 181"/>
                <a:gd name="T52" fmla="*/ 233 w 241"/>
                <a:gd name="T53" fmla="*/ 180 h 181"/>
                <a:gd name="T54" fmla="*/ 235 w 241"/>
                <a:gd name="T55" fmla="*/ 178 h 181"/>
                <a:gd name="T56" fmla="*/ 237 w 241"/>
                <a:gd name="T57" fmla="*/ 177 h 181"/>
                <a:gd name="T58" fmla="*/ 239 w 241"/>
                <a:gd name="T59" fmla="*/ 175 h 181"/>
                <a:gd name="T60" fmla="*/ 240 w 241"/>
                <a:gd name="T61" fmla="*/ 171 h 181"/>
                <a:gd name="T62" fmla="*/ 241 w 241"/>
                <a:gd name="T63" fmla="*/ 169 h 181"/>
                <a:gd name="T64" fmla="*/ 241 w 241"/>
                <a:gd name="T65" fmla="*/ 166 h 181"/>
                <a:gd name="T66" fmla="*/ 241 w 241"/>
                <a:gd name="T67" fmla="*/ 15 h 181"/>
                <a:gd name="T68" fmla="*/ 241 w 241"/>
                <a:gd name="T69" fmla="*/ 12 h 181"/>
                <a:gd name="T70" fmla="*/ 240 w 241"/>
                <a:gd name="T71" fmla="*/ 8 h 181"/>
                <a:gd name="T72" fmla="*/ 239 w 241"/>
                <a:gd name="T73" fmla="*/ 6 h 181"/>
                <a:gd name="T74" fmla="*/ 237 w 241"/>
                <a:gd name="T75" fmla="*/ 4 h 181"/>
                <a:gd name="T76" fmla="*/ 235 w 241"/>
                <a:gd name="T77" fmla="*/ 2 h 181"/>
                <a:gd name="T78" fmla="*/ 233 w 241"/>
                <a:gd name="T79" fmla="*/ 1 h 181"/>
                <a:gd name="T80" fmla="*/ 230 w 241"/>
                <a:gd name="T81" fmla="*/ 0 h 181"/>
                <a:gd name="T82" fmla="*/ 226 w 241"/>
                <a:gd name="T8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1" h="181">
                  <a:moveTo>
                    <a:pt x="211" y="151"/>
                  </a:moveTo>
                  <a:lnTo>
                    <a:pt x="30" y="151"/>
                  </a:lnTo>
                  <a:lnTo>
                    <a:pt x="30" y="30"/>
                  </a:lnTo>
                  <a:lnTo>
                    <a:pt x="211" y="30"/>
                  </a:lnTo>
                  <a:lnTo>
                    <a:pt x="211" y="151"/>
                  </a:lnTo>
                  <a:close/>
                  <a:moveTo>
                    <a:pt x="226" y="0"/>
                  </a:moveTo>
                  <a:lnTo>
                    <a:pt x="15" y="0"/>
                  </a:lnTo>
                  <a:lnTo>
                    <a:pt x="12" y="0"/>
                  </a:lnTo>
                  <a:lnTo>
                    <a:pt x="9" y="1"/>
                  </a:lnTo>
                  <a:lnTo>
                    <a:pt x="7" y="2"/>
                  </a:lnTo>
                  <a:lnTo>
                    <a:pt x="4" y="4"/>
                  </a:lnTo>
                  <a:lnTo>
                    <a:pt x="2" y="6"/>
                  </a:lnTo>
                  <a:lnTo>
                    <a:pt x="1" y="8"/>
                  </a:lnTo>
                  <a:lnTo>
                    <a:pt x="0" y="12"/>
                  </a:lnTo>
                  <a:lnTo>
                    <a:pt x="0" y="15"/>
                  </a:lnTo>
                  <a:lnTo>
                    <a:pt x="0" y="166"/>
                  </a:lnTo>
                  <a:lnTo>
                    <a:pt x="0" y="169"/>
                  </a:lnTo>
                  <a:lnTo>
                    <a:pt x="1" y="171"/>
                  </a:lnTo>
                  <a:lnTo>
                    <a:pt x="2" y="175"/>
                  </a:lnTo>
                  <a:lnTo>
                    <a:pt x="4" y="177"/>
                  </a:lnTo>
                  <a:lnTo>
                    <a:pt x="7" y="179"/>
                  </a:lnTo>
                  <a:lnTo>
                    <a:pt x="9" y="180"/>
                  </a:lnTo>
                  <a:lnTo>
                    <a:pt x="12" y="181"/>
                  </a:lnTo>
                  <a:lnTo>
                    <a:pt x="15" y="181"/>
                  </a:lnTo>
                  <a:lnTo>
                    <a:pt x="226" y="181"/>
                  </a:lnTo>
                  <a:lnTo>
                    <a:pt x="230" y="181"/>
                  </a:lnTo>
                  <a:lnTo>
                    <a:pt x="233" y="180"/>
                  </a:lnTo>
                  <a:lnTo>
                    <a:pt x="235" y="178"/>
                  </a:lnTo>
                  <a:lnTo>
                    <a:pt x="237" y="177"/>
                  </a:lnTo>
                  <a:lnTo>
                    <a:pt x="239" y="175"/>
                  </a:lnTo>
                  <a:lnTo>
                    <a:pt x="240" y="171"/>
                  </a:lnTo>
                  <a:lnTo>
                    <a:pt x="241" y="169"/>
                  </a:lnTo>
                  <a:lnTo>
                    <a:pt x="241" y="166"/>
                  </a:lnTo>
                  <a:lnTo>
                    <a:pt x="241" y="15"/>
                  </a:lnTo>
                  <a:lnTo>
                    <a:pt x="241" y="12"/>
                  </a:lnTo>
                  <a:lnTo>
                    <a:pt x="240" y="8"/>
                  </a:lnTo>
                  <a:lnTo>
                    <a:pt x="239" y="6"/>
                  </a:lnTo>
                  <a:lnTo>
                    <a:pt x="237" y="4"/>
                  </a:lnTo>
                  <a:lnTo>
                    <a:pt x="235" y="2"/>
                  </a:lnTo>
                  <a:lnTo>
                    <a:pt x="233" y="1"/>
                  </a:lnTo>
                  <a:lnTo>
                    <a:pt x="230"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1" name="Freeform 50">
              <a:extLst>
                <a:ext uri="{FF2B5EF4-FFF2-40B4-BE49-F238E27FC236}">
                  <a16:creationId xmlns:a16="http://schemas.microsoft.com/office/drawing/2014/main" id="{FCE30DF3-3101-46BA-98C9-012EB967B9D3}"/>
                </a:ext>
              </a:extLst>
            </p:cNvPr>
            <p:cNvSpPr>
              <a:spLocks noEditPoints="1"/>
            </p:cNvSpPr>
            <p:nvPr/>
          </p:nvSpPr>
          <p:spPr bwMode="auto">
            <a:xfrm>
              <a:off x="409575" y="841375"/>
              <a:ext cx="77788" cy="57150"/>
            </a:xfrm>
            <a:custGeom>
              <a:avLst/>
              <a:gdLst>
                <a:gd name="T0" fmla="*/ 213 w 243"/>
                <a:gd name="T1" fmla="*/ 152 h 182"/>
                <a:gd name="T2" fmla="*/ 32 w 243"/>
                <a:gd name="T3" fmla="*/ 152 h 182"/>
                <a:gd name="T4" fmla="*/ 32 w 243"/>
                <a:gd name="T5" fmla="*/ 30 h 182"/>
                <a:gd name="T6" fmla="*/ 213 w 243"/>
                <a:gd name="T7" fmla="*/ 30 h 182"/>
                <a:gd name="T8" fmla="*/ 213 w 243"/>
                <a:gd name="T9" fmla="*/ 152 h 182"/>
                <a:gd name="T10" fmla="*/ 228 w 243"/>
                <a:gd name="T11" fmla="*/ 0 h 182"/>
                <a:gd name="T12" fmla="*/ 15 w 243"/>
                <a:gd name="T13" fmla="*/ 0 h 182"/>
                <a:gd name="T14" fmla="*/ 13 w 243"/>
                <a:gd name="T15" fmla="*/ 0 h 182"/>
                <a:gd name="T16" fmla="*/ 10 w 243"/>
                <a:gd name="T17" fmla="*/ 1 h 182"/>
                <a:gd name="T18" fmla="*/ 8 w 243"/>
                <a:gd name="T19" fmla="*/ 3 h 182"/>
                <a:gd name="T20" fmla="*/ 6 w 243"/>
                <a:gd name="T21" fmla="*/ 5 h 182"/>
                <a:gd name="T22" fmla="*/ 4 w 243"/>
                <a:gd name="T23" fmla="*/ 7 h 182"/>
                <a:gd name="T24" fmla="*/ 2 w 243"/>
                <a:gd name="T25" fmla="*/ 10 h 182"/>
                <a:gd name="T26" fmla="*/ 2 w 243"/>
                <a:gd name="T27" fmla="*/ 12 h 182"/>
                <a:gd name="T28" fmla="*/ 0 w 243"/>
                <a:gd name="T29" fmla="*/ 15 h 182"/>
                <a:gd name="T30" fmla="*/ 0 w 243"/>
                <a:gd name="T31" fmla="*/ 167 h 182"/>
                <a:gd name="T32" fmla="*/ 2 w 243"/>
                <a:gd name="T33" fmla="*/ 170 h 182"/>
                <a:gd name="T34" fmla="*/ 2 w 243"/>
                <a:gd name="T35" fmla="*/ 173 h 182"/>
                <a:gd name="T36" fmla="*/ 4 w 243"/>
                <a:gd name="T37" fmla="*/ 175 h 182"/>
                <a:gd name="T38" fmla="*/ 6 w 243"/>
                <a:gd name="T39" fmla="*/ 177 h 182"/>
                <a:gd name="T40" fmla="*/ 8 w 243"/>
                <a:gd name="T41" fmla="*/ 179 h 182"/>
                <a:gd name="T42" fmla="*/ 10 w 243"/>
                <a:gd name="T43" fmla="*/ 180 h 182"/>
                <a:gd name="T44" fmla="*/ 13 w 243"/>
                <a:gd name="T45" fmla="*/ 182 h 182"/>
                <a:gd name="T46" fmla="*/ 15 w 243"/>
                <a:gd name="T47" fmla="*/ 182 h 182"/>
                <a:gd name="T48" fmla="*/ 228 w 243"/>
                <a:gd name="T49" fmla="*/ 182 h 182"/>
                <a:gd name="T50" fmla="*/ 231 w 243"/>
                <a:gd name="T51" fmla="*/ 182 h 182"/>
                <a:gd name="T52" fmla="*/ 233 w 243"/>
                <a:gd name="T53" fmla="*/ 180 h 182"/>
                <a:gd name="T54" fmla="*/ 236 w 243"/>
                <a:gd name="T55" fmla="*/ 179 h 182"/>
                <a:gd name="T56" fmla="*/ 239 w 243"/>
                <a:gd name="T57" fmla="*/ 177 h 182"/>
                <a:gd name="T58" fmla="*/ 241 w 243"/>
                <a:gd name="T59" fmla="*/ 175 h 182"/>
                <a:gd name="T60" fmla="*/ 242 w 243"/>
                <a:gd name="T61" fmla="*/ 173 h 182"/>
                <a:gd name="T62" fmla="*/ 243 w 243"/>
                <a:gd name="T63" fmla="*/ 170 h 182"/>
                <a:gd name="T64" fmla="*/ 243 w 243"/>
                <a:gd name="T65" fmla="*/ 167 h 182"/>
                <a:gd name="T66" fmla="*/ 243 w 243"/>
                <a:gd name="T67" fmla="*/ 15 h 182"/>
                <a:gd name="T68" fmla="*/ 243 w 243"/>
                <a:gd name="T69" fmla="*/ 12 h 182"/>
                <a:gd name="T70" fmla="*/ 242 w 243"/>
                <a:gd name="T71" fmla="*/ 10 h 182"/>
                <a:gd name="T72" fmla="*/ 241 w 243"/>
                <a:gd name="T73" fmla="*/ 7 h 182"/>
                <a:gd name="T74" fmla="*/ 239 w 243"/>
                <a:gd name="T75" fmla="*/ 5 h 182"/>
                <a:gd name="T76" fmla="*/ 236 w 243"/>
                <a:gd name="T77" fmla="*/ 4 h 182"/>
                <a:gd name="T78" fmla="*/ 233 w 243"/>
                <a:gd name="T79" fmla="*/ 1 h 182"/>
                <a:gd name="T80" fmla="*/ 231 w 243"/>
                <a:gd name="T81" fmla="*/ 0 h 182"/>
                <a:gd name="T82" fmla="*/ 228 w 243"/>
                <a:gd name="T8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3" h="182">
                  <a:moveTo>
                    <a:pt x="213" y="152"/>
                  </a:moveTo>
                  <a:lnTo>
                    <a:pt x="32" y="152"/>
                  </a:lnTo>
                  <a:lnTo>
                    <a:pt x="32" y="30"/>
                  </a:lnTo>
                  <a:lnTo>
                    <a:pt x="213" y="30"/>
                  </a:lnTo>
                  <a:lnTo>
                    <a:pt x="213" y="152"/>
                  </a:lnTo>
                  <a:close/>
                  <a:moveTo>
                    <a:pt x="228" y="0"/>
                  </a:moveTo>
                  <a:lnTo>
                    <a:pt x="15" y="0"/>
                  </a:lnTo>
                  <a:lnTo>
                    <a:pt x="13" y="0"/>
                  </a:lnTo>
                  <a:lnTo>
                    <a:pt x="10" y="1"/>
                  </a:lnTo>
                  <a:lnTo>
                    <a:pt x="8" y="3"/>
                  </a:lnTo>
                  <a:lnTo>
                    <a:pt x="6" y="5"/>
                  </a:lnTo>
                  <a:lnTo>
                    <a:pt x="4" y="7"/>
                  </a:lnTo>
                  <a:lnTo>
                    <a:pt x="2" y="10"/>
                  </a:lnTo>
                  <a:lnTo>
                    <a:pt x="2" y="12"/>
                  </a:lnTo>
                  <a:lnTo>
                    <a:pt x="0" y="15"/>
                  </a:lnTo>
                  <a:lnTo>
                    <a:pt x="0" y="167"/>
                  </a:lnTo>
                  <a:lnTo>
                    <a:pt x="2" y="170"/>
                  </a:lnTo>
                  <a:lnTo>
                    <a:pt x="2" y="173"/>
                  </a:lnTo>
                  <a:lnTo>
                    <a:pt x="4" y="175"/>
                  </a:lnTo>
                  <a:lnTo>
                    <a:pt x="6" y="177"/>
                  </a:lnTo>
                  <a:lnTo>
                    <a:pt x="8" y="179"/>
                  </a:lnTo>
                  <a:lnTo>
                    <a:pt x="10" y="180"/>
                  </a:lnTo>
                  <a:lnTo>
                    <a:pt x="13" y="182"/>
                  </a:lnTo>
                  <a:lnTo>
                    <a:pt x="15" y="182"/>
                  </a:lnTo>
                  <a:lnTo>
                    <a:pt x="228" y="182"/>
                  </a:lnTo>
                  <a:lnTo>
                    <a:pt x="231" y="182"/>
                  </a:lnTo>
                  <a:lnTo>
                    <a:pt x="233" y="180"/>
                  </a:lnTo>
                  <a:lnTo>
                    <a:pt x="236" y="179"/>
                  </a:lnTo>
                  <a:lnTo>
                    <a:pt x="239" y="177"/>
                  </a:lnTo>
                  <a:lnTo>
                    <a:pt x="241" y="175"/>
                  </a:lnTo>
                  <a:lnTo>
                    <a:pt x="242" y="173"/>
                  </a:lnTo>
                  <a:lnTo>
                    <a:pt x="243" y="170"/>
                  </a:lnTo>
                  <a:lnTo>
                    <a:pt x="243" y="167"/>
                  </a:lnTo>
                  <a:lnTo>
                    <a:pt x="243" y="15"/>
                  </a:lnTo>
                  <a:lnTo>
                    <a:pt x="243" y="12"/>
                  </a:lnTo>
                  <a:lnTo>
                    <a:pt x="242" y="10"/>
                  </a:lnTo>
                  <a:lnTo>
                    <a:pt x="241" y="7"/>
                  </a:lnTo>
                  <a:lnTo>
                    <a:pt x="239" y="5"/>
                  </a:lnTo>
                  <a:lnTo>
                    <a:pt x="236" y="4"/>
                  </a:lnTo>
                  <a:lnTo>
                    <a:pt x="233" y="1"/>
                  </a:lnTo>
                  <a:lnTo>
                    <a:pt x="231" y="0"/>
                  </a:lnTo>
                  <a:lnTo>
                    <a:pt x="2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2" name="Freeform 51">
              <a:extLst>
                <a:ext uri="{FF2B5EF4-FFF2-40B4-BE49-F238E27FC236}">
                  <a16:creationId xmlns:a16="http://schemas.microsoft.com/office/drawing/2014/main" id="{35AAA1E5-CA4E-46A7-A78F-4D76473F7BD9}"/>
                </a:ext>
              </a:extLst>
            </p:cNvPr>
            <p:cNvSpPr>
              <a:spLocks noEditPoints="1"/>
            </p:cNvSpPr>
            <p:nvPr/>
          </p:nvSpPr>
          <p:spPr bwMode="auto">
            <a:xfrm>
              <a:off x="304800" y="822325"/>
              <a:ext cx="287338" cy="249238"/>
            </a:xfrm>
            <a:custGeom>
              <a:avLst/>
              <a:gdLst>
                <a:gd name="T0" fmla="*/ 517 w 907"/>
                <a:gd name="T1" fmla="*/ 684 h 786"/>
                <a:gd name="T2" fmla="*/ 538 w 907"/>
                <a:gd name="T3" fmla="*/ 666 h 786"/>
                <a:gd name="T4" fmla="*/ 864 w 907"/>
                <a:gd name="T5" fmla="*/ 670 h 786"/>
                <a:gd name="T6" fmla="*/ 877 w 907"/>
                <a:gd name="T7" fmla="*/ 696 h 786"/>
                <a:gd name="T8" fmla="*/ 550 w 907"/>
                <a:gd name="T9" fmla="*/ 407 h 786"/>
                <a:gd name="T10" fmla="*/ 575 w 907"/>
                <a:gd name="T11" fmla="*/ 393 h 786"/>
                <a:gd name="T12" fmla="*/ 839 w 907"/>
                <a:gd name="T13" fmla="*/ 402 h 786"/>
                <a:gd name="T14" fmla="*/ 847 w 907"/>
                <a:gd name="T15" fmla="*/ 635 h 786"/>
                <a:gd name="T16" fmla="*/ 375 w 907"/>
                <a:gd name="T17" fmla="*/ 381 h 786"/>
                <a:gd name="T18" fmla="*/ 341 w 907"/>
                <a:gd name="T19" fmla="*/ 364 h 786"/>
                <a:gd name="T20" fmla="*/ 275 w 907"/>
                <a:gd name="T21" fmla="*/ 321 h 786"/>
                <a:gd name="T22" fmla="*/ 296 w 907"/>
                <a:gd name="T23" fmla="*/ 303 h 786"/>
                <a:gd name="T24" fmla="*/ 622 w 907"/>
                <a:gd name="T25" fmla="*/ 308 h 786"/>
                <a:gd name="T26" fmla="*/ 636 w 907"/>
                <a:gd name="T27" fmla="*/ 333 h 786"/>
                <a:gd name="T28" fmla="*/ 551 w 907"/>
                <a:gd name="T29" fmla="*/ 368 h 786"/>
                <a:gd name="T30" fmla="*/ 523 w 907"/>
                <a:gd name="T31" fmla="*/ 393 h 786"/>
                <a:gd name="T32" fmla="*/ 63 w 907"/>
                <a:gd name="T33" fmla="*/ 412 h 786"/>
                <a:gd name="T34" fmla="*/ 85 w 907"/>
                <a:gd name="T35" fmla="*/ 394 h 786"/>
                <a:gd name="T36" fmla="*/ 350 w 907"/>
                <a:gd name="T37" fmla="*/ 398 h 786"/>
                <a:gd name="T38" fmla="*/ 364 w 907"/>
                <a:gd name="T39" fmla="*/ 424 h 786"/>
                <a:gd name="T40" fmla="*/ 30 w 907"/>
                <a:gd name="T41" fmla="*/ 696 h 786"/>
                <a:gd name="T42" fmla="*/ 44 w 907"/>
                <a:gd name="T43" fmla="*/ 670 h 786"/>
                <a:gd name="T44" fmla="*/ 369 w 907"/>
                <a:gd name="T45" fmla="*/ 666 h 786"/>
                <a:gd name="T46" fmla="*/ 391 w 907"/>
                <a:gd name="T47" fmla="*/ 684 h 786"/>
                <a:gd name="T48" fmla="*/ 304 w 907"/>
                <a:gd name="T49" fmla="*/ 54 h 786"/>
                <a:gd name="T50" fmla="*/ 321 w 907"/>
                <a:gd name="T51" fmla="*/ 33 h 786"/>
                <a:gd name="T52" fmla="*/ 587 w 907"/>
                <a:gd name="T53" fmla="*/ 33 h 786"/>
                <a:gd name="T54" fmla="*/ 605 w 907"/>
                <a:gd name="T55" fmla="*/ 54 h 786"/>
                <a:gd name="T56" fmla="*/ 877 w 907"/>
                <a:gd name="T57" fmla="*/ 644 h 786"/>
                <a:gd name="T58" fmla="*/ 873 w 907"/>
                <a:gd name="T59" fmla="*/ 400 h 786"/>
                <a:gd name="T60" fmla="*/ 856 w 907"/>
                <a:gd name="T61" fmla="*/ 377 h 786"/>
                <a:gd name="T62" fmla="*/ 829 w 907"/>
                <a:gd name="T63" fmla="*/ 364 h 786"/>
                <a:gd name="T64" fmla="*/ 665 w 907"/>
                <a:gd name="T65" fmla="*/ 324 h 786"/>
                <a:gd name="T66" fmla="*/ 648 w 907"/>
                <a:gd name="T67" fmla="*/ 290 h 786"/>
                <a:gd name="T68" fmla="*/ 634 w 907"/>
                <a:gd name="T69" fmla="*/ 49 h 786"/>
                <a:gd name="T70" fmla="*/ 622 w 907"/>
                <a:gd name="T71" fmla="*/ 22 h 786"/>
                <a:gd name="T72" fmla="*/ 598 w 907"/>
                <a:gd name="T73" fmla="*/ 5 h 786"/>
                <a:gd name="T74" fmla="*/ 332 w 907"/>
                <a:gd name="T75" fmla="*/ 0 h 786"/>
                <a:gd name="T76" fmla="*/ 304 w 907"/>
                <a:gd name="T77" fmla="*/ 7 h 786"/>
                <a:gd name="T78" fmla="*/ 283 w 907"/>
                <a:gd name="T79" fmla="*/ 27 h 786"/>
                <a:gd name="T80" fmla="*/ 272 w 907"/>
                <a:gd name="T81" fmla="*/ 54 h 786"/>
                <a:gd name="T82" fmla="*/ 255 w 907"/>
                <a:gd name="T83" fmla="*/ 296 h 786"/>
                <a:gd name="T84" fmla="*/ 242 w 907"/>
                <a:gd name="T85" fmla="*/ 333 h 786"/>
                <a:gd name="T86" fmla="*/ 73 w 907"/>
                <a:gd name="T87" fmla="*/ 366 h 786"/>
                <a:gd name="T88" fmla="*/ 48 w 907"/>
                <a:gd name="T89" fmla="*/ 381 h 786"/>
                <a:gd name="T90" fmla="*/ 33 w 907"/>
                <a:gd name="T91" fmla="*/ 406 h 786"/>
                <a:gd name="T92" fmla="*/ 24 w 907"/>
                <a:gd name="T93" fmla="*/ 648 h 786"/>
                <a:gd name="T94" fmla="*/ 2 w 907"/>
                <a:gd name="T95" fmla="*/ 680 h 786"/>
                <a:gd name="T96" fmla="*/ 1 w 907"/>
                <a:gd name="T97" fmla="*/ 778 h 786"/>
                <a:gd name="T98" fmla="*/ 12 w 907"/>
                <a:gd name="T99" fmla="*/ 786 h 786"/>
                <a:gd name="T100" fmla="*/ 417 w 907"/>
                <a:gd name="T101" fmla="*/ 784 h 786"/>
                <a:gd name="T102" fmla="*/ 424 w 907"/>
                <a:gd name="T103" fmla="*/ 771 h 786"/>
                <a:gd name="T104" fmla="*/ 415 w 907"/>
                <a:gd name="T105" fmla="*/ 665 h 786"/>
                <a:gd name="T106" fmla="*/ 394 w 907"/>
                <a:gd name="T107" fmla="*/ 424 h 786"/>
                <a:gd name="T108" fmla="*/ 497 w 907"/>
                <a:gd name="T109" fmla="*/ 659 h 786"/>
                <a:gd name="T110" fmla="*/ 484 w 907"/>
                <a:gd name="T111" fmla="*/ 696 h 786"/>
                <a:gd name="T112" fmla="*/ 489 w 907"/>
                <a:gd name="T113" fmla="*/ 782 h 786"/>
                <a:gd name="T114" fmla="*/ 892 w 907"/>
                <a:gd name="T115" fmla="*/ 786 h 786"/>
                <a:gd name="T116" fmla="*/ 905 w 907"/>
                <a:gd name="T117" fmla="*/ 780 h 786"/>
                <a:gd name="T118" fmla="*/ 907 w 907"/>
                <a:gd name="T119" fmla="*/ 688 h 786"/>
                <a:gd name="T120" fmla="*/ 890 w 907"/>
                <a:gd name="T121" fmla="*/ 65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7" h="786">
                  <a:moveTo>
                    <a:pt x="877" y="756"/>
                  </a:moveTo>
                  <a:lnTo>
                    <a:pt x="515" y="756"/>
                  </a:lnTo>
                  <a:lnTo>
                    <a:pt x="515" y="696"/>
                  </a:lnTo>
                  <a:lnTo>
                    <a:pt x="515" y="690"/>
                  </a:lnTo>
                  <a:lnTo>
                    <a:pt x="517" y="684"/>
                  </a:lnTo>
                  <a:lnTo>
                    <a:pt x="520" y="679"/>
                  </a:lnTo>
                  <a:lnTo>
                    <a:pt x="523" y="675"/>
                  </a:lnTo>
                  <a:lnTo>
                    <a:pt x="528" y="670"/>
                  </a:lnTo>
                  <a:lnTo>
                    <a:pt x="533" y="668"/>
                  </a:lnTo>
                  <a:lnTo>
                    <a:pt x="538" y="666"/>
                  </a:lnTo>
                  <a:lnTo>
                    <a:pt x="545" y="665"/>
                  </a:lnTo>
                  <a:lnTo>
                    <a:pt x="847" y="665"/>
                  </a:lnTo>
                  <a:lnTo>
                    <a:pt x="854" y="666"/>
                  </a:lnTo>
                  <a:lnTo>
                    <a:pt x="859" y="668"/>
                  </a:lnTo>
                  <a:lnTo>
                    <a:pt x="864" y="670"/>
                  </a:lnTo>
                  <a:lnTo>
                    <a:pt x="869" y="675"/>
                  </a:lnTo>
                  <a:lnTo>
                    <a:pt x="872" y="679"/>
                  </a:lnTo>
                  <a:lnTo>
                    <a:pt x="875" y="684"/>
                  </a:lnTo>
                  <a:lnTo>
                    <a:pt x="877" y="690"/>
                  </a:lnTo>
                  <a:lnTo>
                    <a:pt x="877" y="696"/>
                  </a:lnTo>
                  <a:lnTo>
                    <a:pt x="877" y="756"/>
                  </a:lnTo>
                  <a:close/>
                  <a:moveTo>
                    <a:pt x="545" y="424"/>
                  </a:moveTo>
                  <a:lnTo>
                    <a:pt x="545" y="417"/>
                  </a:lnTo>
                  <a:lnTo>
                    <a:pt x="547" y="412"/>
                  </a:lnTo>
                  <a:lnTo>
                    <a:pt x="550" y="407"/>
                  </a:lnTo>
                  <a:lnTo>
                    <a:pt x="553" y="402"/>
                  </a:lnTo>
                  <a:lnTo>
                    <a:pt x="558" y="398"/>
                  </a:lnTo>
                  <a:lnTo>
                    <a:pt x="563" y="396"/>
                  </a:lnTo>
                  <a:lnTo>
                    <a:pt x="568" y="394"/>
                  </a:lnTo>
                  <a:lnTo>
                    <a:pt x="575" y="393"/>
                  </a:lnTo>
                  <a:lnTo>
                    <a:pt x="817" y="393"/>
                  </a:lnTo>
                  <a:lnTo>
                    <a:pt x="823" y="394"/>
                  </a:lnTo>
                  <a:lnTo>
                    <a:pt x="829" y="396"/>
                  </a:lnTo>
                  <a:lnTo>
                    <a:pt x="834" y="398"/>
                  </a:lnTo>
                  <a:lnTo>
                    <a:pt x="839" y="402"/>
                  </a:lnTo>
                  <a:lnTo>
                    <a:pt x="842" y="407"/>
                  </a:lnTo>
                  <a:lnTo>
                    <a:pt x="845" y="412"/>
                  </a:lnTo>
                  <a:lnTo>
                    <a:pt x="846" y="417"/>
                  </a:lnTo>
                  <a:lnTo>
                    <a:pt x="847" y="424"/>
                  </a:lnTo>
                  <a:lnTo>
                    <a:pt x="847" y="635"/>
                  </a:lnTo>
                  <a:lnTo>
                    <a:pt x="545" y="635"/>
                  </a:lnTo>
                  <a:lnTo>
                    <a:pt x="545" y="424"/>
                  </a:lnTo>
                  <a:close/>
                  <a:moveTo>
                    <a:pt x="385" y="393"/>
                  </a:moveTo>
                  <a:lnTo>
                    <a:pt x="381" y="386"/>
                  </a:lnTo>
                  <a:lnTo>
                    <a:pt x="375" y="381"/>
                  </a:lnTo>
                  <a:lnTo>
                    <a:pt x="370" y="376"/>
                  </a:lnTo>
                  <a:lnTo>
                    <a:pt x="364" y="371"/>
                  </a:lnTo>
                  <a:lnTo>
                    <a:pt x="356" y="368"/>
                  </a:lnTo>
                  <a:lnTo>
                    <a:pt x="349" y="365"/>
                  </a:lnTo>
                  <a:lnTo>
                    <a:pt x="341" y="364"/>
                  </a:lnTo>
                  <a:lnTo>
                    <a:pt x="332" y="363"/>
                  </a:lnTo>
                  <a:lnTo>
                    <a:pt x="272" y="363"/>
                  </a:lnTo>
                  <a:lnTo>
                    <a:pt x="272" y="333"/>
                  </a:lnTo>
                  <a:lnTo>
                    <a:pt x="273" y="326"/>
                  </a:lnTo>
                  <a:lnTo>
                    <a:pt x="275" y="321"/>
                  </a:lnTo>
                  <a:lnTo>
                    <a:pt x="278" y="316"/>
                  </a:lnTo>
                  <a:lnTo>
                    <a:pt x="281" y="311"/>
                  </a:lnTo>
                  <a:lnTo>
                    <a:pt x="285" y="308"/>
                  </a:lnTo>
                  <a:lnTo>
                    <a:pt x="291" y="305"/>
                  </a:lnTo>
                  <a:lnTo>
                    <a:pt x="296" y="303"/>
                  </a:lnTo>
                  <a:lnTo>
                    <a:pt x="302" y="303"/>
                  </a:lnTo>
                  <a:lnTo>
                    <a:pt x="605" y="303"/>
                  </a:lnTo>
                  <a:lnTo>
                    <a:pt x="611" y="303"/>
                  </a:lnTo>
                  <a:lnTo>
                    <a:pt x="617" y="305"/>
                  </a:lnTo>
                  <a:lnTo>
                    <a:pt x="622" y="308"/>
                  </a:lnTo>
                  <a:lnTo>
                    <a:pt x="626" y="311"/>
                  </a:lnTo>
                  <a:lnTo>
                    <a:pt x="631" y="316"/>
                  </a:lnTo>
                  <a:lnTo>
                    <a:pt x="633" y="321"/>
                  </a:lnTo>
                  <a:lnTo>
                    <a:pt x="635" y="326"/>
                  </a:lnTo>
                  <a:lnTo>
                    <a:pt x="636" y="333"/>
                  </a:lnTo>
                  <a:lnTo>
                    <a:pt x="636" y="363"/>
                  </a:lnTo>
                  <a:lnTo>
                    <a:pt x="575" y="363"/>
                  </a:lnTo>
                  <a:lnTo>
                    <a:pt x="566" y="364"/>
                  </a:lnTo>
                  <a:lnTo>
                    <a:pt x="559" y="365"/>
                  </a:lnTo>
                  <a:lnTo>
                    <a:pt x="551" y="368"/>
                  </a:lnTo>
                  <a:lnTo>
                    <a:pt x="545" y="371"/>
                  </a:lnTo>
                  <a:lnTo>
                    <a:pt x="538" y="376"/>
                  </a:lnTo>
                  <a:lnTo>
                    <a:pt x="532" y="381"/>
                  </a:lnTo>
                  <a:lnTo>
                    <a:pt x="528" y="386"/>
                  </a:lnTo>
                  <a:lnTo>
                    <a:pt x="523" y="393"/>
                  </a:lnTo>
                  <a:lnTo>
                    <a:pt x="385" y="393"/>
                  </a:lnTo>
                  <a:close/>
                  <a:moveTo>
                    <a:pt x="60" y="635"/>
                  </a:moveTo>
                  <a:lnTo>
                    <a:pt x="60" y="424"/>
                  </a:lnTo>
                  <a:lnTo>
                    <a:pt x="61" y="417"/>
                  </a:lnTo>
                  <a:lnTo>
                    <a:pt x="63" y="412"/>
                  </a:lnTo>
                  <a:lnTo>
                    <a:pt x="65" y="407"/>
                  </a:lnTo>
                  <a:lnTo>
                    <a:pt x="70" y="402"/>
                  </a:lnTo>
                  <a:lnTo>
                    <a:pt x="74" y="398"/>
                  </a:lnTo>
                  <a:lnTo>
                    <a:pt x="79" y="396"/>
                  </a:lnTo>
                  <a:lnTo>
                    <a:pt x="85" y="394"/>
                  </a:lnTo>
                  <a:lnTo>
                    <a:pt x="91" y="393"/>
                  </a:lnTo>
                  <a:lnTo>
                    <a:pt x="332" y="393"/>
                  </a:lnTo>
                  <a:lnTo>
                    <a:pt x="339" y="394"/>
                  </a:lnTo>
                  <a:lnTo>
                    <a:pt x="344" y="396"/>
                  </a:lnTo>
                  <a:lnTo>
                    <a:pt x="350" y="398"/>
                  </a:lnTo>
                  <a:lnTo>
                    <a:pt x="354" y="402"/>
                  </a:lnTo>
                  <a:lnTo>
                    <a:pt x="358" y="407"/>
                  </a:lnTo>
                  <a:lnTo>
                    <a:pt x="360" y="412"/>
                  </a:lnTo>
                  <a:lnTo>
                    <a:pt x="363" y="417"/>
                  </a:lnTo>
                  <a:lnTo>
                    <a:pt x="364" y="424"/>
                  </a:lnTo>
                  <a:lnTo>
                    <a:pt x="364" y="635"/>
                  </a:lnTo>
                  <a:lnTo>
                    <a:pt x="60" y="635"/>
                  </a:lnTo>
                  <a:close/>
                  <a:moveTo>
                    <a:pt x="394" y="756"/>
                  </a:moveTo>
                  <a:lnTo>
                    <a:pt x="30" y="756"/>
                  </a:lnTo>
                  <a:lnTo>
                    <a:pt x="30" y="696"/>
                  </a:lnTo>
                  <a:lnTo>
                    <a:pt x="31" y="690"/>
                  </a:lnTo>
                  <a:lnTo>
                    <a:pt x="32" y="684"/>
                  </a:lnTo>
                  <a:lnTo>
                    <a:pt x="35" y="679"/>
                  </a:lnTo>
                  <a:lnTo>
                    <a:pt x="40" y="675"/>
                  </a:lnTo>
                  <a:lnTo>
                    <a:pt x="44" y="670"/>
                  </a:lnTo>
                  <a:lnTo>
                    <a:pt x="48" y="668"/>
                  </a:lnTo>
                  <a:lnTo>
                    <a:pt x="55" y="666"/>
                  </a:lnTo>
                  <a:lnTo>
                    <a:pt x="60" y="665"/>
                  </a:lnTo>
                  <a:lnTo>
                    <a:pt x="364" y="665"/>
                  </a:lnTo>
                  <a:lnTo>
                    <a:pt x="369" y="666"/>
                  </a:lnTo>
                  <a:lnTo>
                    <a:pt x="375" y="668"/>
                  </a:lnTo>
                  <a:lnTo>
                    <a:pt x="380" y="670"/>
                  </a:lnTo>
                  <a:lnTo>
                    <a:pt x="385" y="675"/>
                  </a:lnTo>
                  <a:lnTo>
                    <a:pt x="388" y="679"/>
                  </a:lnTo>
                  <a:lnTo>
                    <a:pt x="391" y="684"/>
                  </a:lnTo>
                  <a:lnTo>
                    <a:pt x="393" y="690"/>
                  </a:lnTo>
                  <a:lnTo>
                    <a:pt x="394" y="696"/>
                  </a:lnTo>
                  <a:lnTo>
                    <a:pt x="394" y="756"/>
                  </a:lnTo>
                  <a:close/>
                  <a:moveTo>
                    <a:pt x="302" y="60"/>
                  </a:moveTo>
                  <a:lnTo>
                    <a:pt x="304" y="54"/>
                  </a:lnTo>
                  <a:lnTo>
                    <a:pt x="305" y="49"/>
                  </a:lnTo>
                  <a:lnTo>
                    <a:pt x="308" y="43"/>
                  </a:lnTo>
                  <a:lnTo>
                    <a:pt x="311" y="39"/>
                  </a:lnTo>
                  <a:lnTo>
                    <a:pt x="316" y="36"/>
                  </a:lnTo>
                  <a:lnTo>
                    <a:pt x="321" y="33"/>
                  </a:lnTo>
                  <a:lnTo>
                    <a:pt x="327" y="30"/>
                  </a:lnTo>
                  <a:lnTo>
                    <a:pt x="332" y="30"/>
                  </a:lnTo>
                  <a:lnTo>
                    <a:pt x="575" y="30"/>
                  </a:lnTo>
                  <a:lnTo>
                    <a:pt x="581" y="30"/>
                  </a:lnTo>
                  <a:lnTo>
                    <a:pt x="587" y="33"/>
                  </a:lnTo>
                  <a:lnTo>
                    <a:pt x="592" y="36"/>
                  </a:lnTo>
                  <a:lnTo>
                    <a:pt x="596" y="39"/>
                  </a:lnTo>
                  <a:lnTo>
                    <a:pt x="600" y="43"/>
                  </a:lnTo>
                  <a:lnTo>
                    <a:pt x="603" y="49"/>
                  </a:lnTo>
                  <a:lnTo>
                    <a:pt x="605" y="54"/>
                  </a:lnTo>
                  <a:lnTo>
                    <a:pt x="605" y="60"/>
                  </a:lnTo>
                  <a:lnTo>
                    <a:pt x="605" y="273"/>
                  </a:lnTo>
                  <a:lnTo>
                    <a:pt x="302" y="273"/>
                  </a:lnTo>
                  <a:lnTo>
                    <a:pt x="302" y="60"/>
                  </a:lnTo>
                  <a:close/>
                  <a:moveTo>
                    <a:pt x="877" y="644"/>
                  </a:moveTo>
                  <a:lnTo>
                    <a:pt x="877" y="424"/>
                  </a:lnTo>
                  <a:lnTo>
                    <a:pt x="877" y="417"/>
                  </a:lnTo>
                  <a:lnTo>
                    <a:pt x="876" y="411"/>
                  </a:lnTo>
                  <a:lnTo>
                    <a:pt x="875" y="406"/>
                  </a:lnTo>
                  <a:lnTo>
                    <a:pt x="873" y="400"/>
                  </a:lnTo>
                  <a:lnTo>
                    <a:pt x="870" y="395"/>
                  </a:lnTo>
                  <a:lnTo>
                    <a:pt x="868" y="389"/>
                  </a:lnTo>
                  <a:lnTo>
                    <a:pt x="863" y="385"/>
                  </a:lnTo>
                  <a:lnTo>
                    <a:pt x="860" y="381"/>
                  </a:lnTo>
                  <a:lnTo>
                    <a:pt x="856" y="377"/>
                  </a:lnTo>
                  <a:lnTo>
                    <a:pt x="850" y="373"/>
                  </a:lnTo>
                  <a:lnTo>
                    <a:pt x="846" y="370"/>
                  </a:lnTo>
                  <a:lnTo>
                    <a:pt x="841" y="368"/>
                  </a:lnTo>
                  <a:lnTo>
                    <a:pt x="835" y="366"/>
                  </a:lnTo>
                  <a:lnTo>
                    <a:pt x="829" y="364"/>
                  </a:lnTo>
                  <a:lnTo>
                    <a:pt x="824" y="364"/>
                  </a:lnTo>
                  <a:lnTo>
                    <a:pt x="817" y="363"/>
                  </a:lnTo>
                  <a:lnTo>
                    <a:pt x="666" y="363"/>
                  </a:lnTo>
                  <a:lnTo>
                    <a:pt x="666" y="333"/>
                  </a:lnTo>
                  <a:lnTo>
                    <a:pt x="665" y="324"/>
                  </a:lnTo>
                  <a:lnTo>
                    <a:pt x="664" y="317"/>
                  </a:lnTo>
                  <a:lnTo>
                    <a:pt x="661" y="309"/>
                  </a:lnTo>
                  <a:lnTo>
                    <a:pt x="657" y="303"/>
                  </a:lnTo>
                  <a:lnTo>
                    <a:pt x="653" y="296"/>
                  </a:lnTo>
                  <a:lnTo>
                    <a:pt x="648" y="290"/>
                  </a:lnTo>
                  <a:lnTo>
                    <a:pt x="642" y="284"/>
                  </a:lnTo>
                  <a:lnTo>
                    <a:pt x="636" y="280"/>
                  </a:lnTo>
                  <a:lnTo>
                    <a:pt x="636" y="60"/>
                  </a:lnTo>
                  <a:lnTo>
                    <a:pt x="635" y="54"/>
                  </a:lnTo>
                  <a:lnTo>
                    <a:pt x="634" y="49"/>
                  </a:lnTo>
                  <a:lnTo>
                    <a:pt x="633" y="42"/>
                  </a:lnTo>
                  <a:lnTo>
                    <a:pt x="631" y="37"/>
                  </a:lnTo>
                  <a:lnTo>
                    <a:pt x="628" y="31"/>
                  </a:lnTo>
                  <a:lnTo>
                    <a:pt x="625" y="27"/>
                  </a:lnTo>
                  <a:lnTo>
                    <a:pt x="622" y="22"/>
                  </a:lnTo>
                  <a:lnTo>
                    <a:pt x="618" y="18"/>
                  </a:lnTo>
                  <a:lnTo>
                    <a:pt x="613" y="14"/>
                  </a:lnTo>
                  <a:lnTo>
                    <a:pt x="609" y="10"/>
                  </a:lnTo>
                  <a:lnTo>
                    <a:pt x="604" y="7"/>
                  </a:lnTo>
                  <a:lnTo>
                    <a:pt x="598" y="5"/>
                  </a:lnTo>
                  <a:lnTo>
                    <a:pt x="593" y="3"/>
                  </a:lnTo>
                  <a:lnTo>
                    <a:pt x="587" y="1"/>
                  </a:lnTo>
                  <a:lnTo>
                    <a:pt x="581" y="0"/>
                  </a:lnTo>
                  <a:lnTo>
                    <a:pt x="575" y="0"/>
                  </a:lnTo>
                  <a:lnTo>
                    <a:pt x="332" y="0"/>
                  </a:lnTo>
                  <a:lnTo>
                    <a:pt x="327" y="0"/>
                  </a:lnTo>
                  <a:lnTo>
                    <a:pt x="321" y="1"/>
                  </a:lnTo>
                  <a:lnTo>
                    <a:pt x="315" y="3"/>
                  </a:lnTo>
                  <a:lnTo>
                    <a:pt x="309" y="5"/>
                  </a:lnTo>
                  <a:lnTo>
                    <a:pt x="304" y="7"/>
                  </a:lnTo>
                  <a:lnTo>
                    <a:pt x="299" y="10"/>
                  </a:lnTo>
                  <a:lnTo>
                    <a:pt x="294" y="14"/>
                  </a:lnTo>
                  <a:lnTo>
                    <a:pt x="290" y="18"/>
                  </a:lnTo>
                  <a:lnTo>
                    <a:pt x="286" y="22"/>
                  </a:lnTo>
                  <a:lnTo>
                    <a:pt x="283" y="27"/>
                  </a:lnTo>
                  <a:lnTo>
                    <a:pt x="280" y="31"/>
                  </a:lnTo>
                  <a:lnTo>
                    <a:pt x="277" y="37"/>
                  </a:lnTo>
                  <a:lnTo>
                    <a:pt x="275" y="42"/>
                  </a:lnTo>
                  <a:lnTo>
                    <a:pt x="273" y="49"/>
                  </a:lnTo>
                  <a:lnTo>
                    <a:pt x="272" y="54"/>
                  </a:lnTo>
                  <a:lnTo>
                    <a:pt x="272" y="60"/>
                  </a:lnTo>
                  <a:lnTo>
                    <a:pt x="272" y="280"/>
                  </a:lnTo>
                  <a:lnTo>
                    <a:pt x="266" y="284"/>
                  </a:lnTo>
                  <a:lnTo>
                    <a:pt x="260" y="290"/>
                  </a:lnTo>
                  <a:lnTo>
                    <a:pt x="255" y="296"/>
                  </a:lnTo>
                  <a:lnTo>
                    <a:pt x="251" y="303"/>
                  </a:lnTo>
                  <a:lnTo>
                    <a:pt x="247" y="309"/>
                  </a:lnTo>
                  <a:lnTo>
                    <a:pt x="245" y="317"/>
                  </a:lnTo>
                  <a:lnTo>
                    <a:pt x="242" y="324"/>
                  </a:lnTo>
                  <a:lnTo>
                    <a:pt x="242" y="333"/>
                  </a:lnTo>
                  <a:lnTo>
                    <a:pt x="242" y="363"/>
                  </a:lnTo>
                  <a:lnTo>
                    <a:pt x="91" y="363"/>
                  </a:lnTo>
                  <a:lnTo>
                    <a:pt x="85" y="364"/>
                  </a:lnTo>
                  <a:lnTo>
                    <a:pt x="78" y="364"/>
                  </a:lnTo>
                  <a:lnTo>
                    <a:pt x="73" y="366"/>
                  </a:lnTo>
                  <a:lnTo>
                    <a:pt x="68" y="368"/>
                  </a:lnTo>
                  <a:lnTo>
                    <a:pt x="62" y="370"/>
                  </a:lnTo>
                  <a:lnTo>
                    <a:pt x="57" y="373"/>
                  </a:lnTo>
                  <a:lnTo>
                    <a:pt x="53" y="377"/>
                  </a:lnTo>
                  <a:lnTo>
                    <a:pt x="48" y="381"/>
                  </a:lnTo>
                  <a:lnTo>
                    <a:pt x="44" y="385"/>
                  </a:lnTo>
                  <a:lnTo>
                    <a:pt x="41" y="389"/>
                  </a:lnTo>
                  <a:lnTo>
                    <a:pt x="38" y="395"/>
                  </a:lnTo>
                  <a:lnTo>
                    <a:pt x="35" y="400"/>
                  </a:lnTo>
                  <a:lnTo>
                    <a:pt x="33" y="406"/>
                  </a:lnTo>
                  <a:lnTo>
                    <a:pt x="31" y="411"/>
                  </a:lnTo>
                  <a:lnTo>
                    <a:pt x="31" y="417"/>
                  </a:lnTo>
                  <a:lnTo>
                    <a:pt x="30" y="424"/>
                  </a:lnTo>
                  <a:lnTo>
                    <a:pt x="30" y="644"/>
                  </a:lnTo>
                  <a:lnTo>
                    <a:pt x="24" y="648"/>
                  </a:lnTo>
                  <a:lnTo>
                    <a:pt x="18" y="653"/>
                  </a:lnTo>
                  <a:lnTo>
                    <a:pt x="13" y="659"/>
                  </a:lnTo>
                  <a:lnTo>
                    <a:pt x="9" y="665"/>
                  </a:lnTo>
                  <a:lnTo>
                    <a:pt x="4" y="672"/>
                  </a:lnTo>
                  <a:lnTo>
                    <a:pt x="2" y="680"/>
                  </a:lnTo>
                  <a:lnTo>
                    <a:pt x="1" y="688"/>
                  </a:lnTo>
                  <a:lnTo>
                    <a:pt x="0" y="696"/>
                  </a:lnTo>
                  <a:lnTo>
                    <a:pt x="0" y="771"/>
                  </a:lnTo>
                  <a:lnTo>
                    <a:pt x="0" y="774"/>
                  </a:lnTo>
                  <a:lnTo>
                    <a:pt x="1" y="778"/>
                  </a:lnTo>
                  <a:lnTo>
                    <a:pt x="2" y="780"/>
                  </a:lnTo>
                  <a:lnTo>
                    <a:pt x="4" y="782"/>
                  </a:lnTo>
                  <a:lnTo>
                    <a:pt x="6" y="784"/>
                  </a:lnTo>
                  <a:lnTo>
                    <a:pt x="10" y="785"/>
                  </a:lnTo>
                  <a:lnTo>
                    <a:pt x="12" y="786"/>
                  </a:lnTo>
                  <a:lnTo>
                    <a:pt x="15" y="786"/>
                  </a:lnTo>
                  <a:lnTo>
                    <a:pt x="409" y="786"/>
                  </a:lnTo>
                  <a:lnTo>
                    <a:pt x="412" y="786"/>
                  </a:lnTo>
                  <a:lnTo>
                    <a:pt x="414" y="785"/>
                  </a:lnTo>
                  <a:lnTo>
                    <a:pt x="417" y="784"/>
                  </a:lnTo>
                  <a:lnTo>
                    <a:pt x="419" y="782"/>
                  </a:lnTo>
                  <a:lnTo>
                    <a:pt x="421" y="780"/>
                  </a:lnTo>
                  <a:lnTo>
                    <a:pt x="423" y="778"/>
                  </a:lnTo>
                  <a:lnTo>
                    <a:pt x="424" y="774"/>
                  </a:lnTo>
                  <a:lnTo>
                    <a:pt x="424" y="771"/>
                  </a:lnTo>
                  <a:lnTo>
                    <a:pt x="424" y="696"/>
                  </a:lnTo>
                  <a:lnTo>
                    <a:pt x="423" y="688"/>
                  </a:lnTo>
                  <a:lnTo>
                    <a:pt x="421" y="680"/>
                  </a:lnTo>
                  <a:lnTo>
                    <a:pt x="419" y="672"/>
                  </a:lnTo>
                  <a:lnTo>
                    <a:pt x="415" y="665"/>
                  </a:lnTo>
                  <a:lnTo>
                    <a:pt x="411" y="659"/>
                  </a:lnTo>
                  <a:lnTo>
                    <a:pt x="405" y="653"/>
                  </a:lnTo>
                  <a:lnTo>
                    <a:pt x="400" y="648"/>
                  </a:lnTo>
                  <a:lnTo>
                    <a:pt x="394" y="644"/>
                  </a:lnTo>
                  <a:lnTo>
                    <a:pt x="394" y="424"/>
                  </a:lnTo>
                  <a:lnTo>
                    <a:pt x="515" y="424"/>
                  </a:lnTo>
                  <a:lnTo>
                    <a:pt x="515" y="644"/>
                  </a:lnTo>
                  <a:lnTo>
                    <a:pt x="508" y="648"/>
                  </a:lnTo>
                  <a:lnTo>
                    <a:pt x="502" y="653"/>
                  </a:lnTo>
                  <a:lnTo>
                    <a:pt x="497" y="659"/>
                  </a:lnTo>
                  <a:lnTo>
                    <a:pt x="492" y="665"/>
                  </a:lnTo>
                  <a:lnTo>
                    <a:pt x="489" y="672"/>
                  </a:lnTo>
                  <a:lnTo>
                    <a:pt x="486" y="680"/>
                  </a:lnTo>
                  <a:lnTo>
                    <a:pt x="485" y="688"/>
                  </a:lnTo>
                  <a:lnTo>
                    <a:pt x="484" y="696"/>
                  </a:lnTo>
                  <a:lnTo>
                    <a:pt x="484" y="771"/>
                  </a:lnTo>
                  <a:lnTo>
                    <a:pt x="485" y="774"/>
                  </a:lnTo>
                  <a:lnTo>
                    <a:pt x="486" y="778"/>
                  </a:lnTo>
                  <a:lnTo>
                    <a:pt x="487" y="780"/>
                  </a:lnTo>
                  <a:lnTo>
                    <a:pt x="489" y="782"/>
                  </a:lnTo>
                  <a:lnTo>
                    <a:pt x="491" y="784"/>
                  </a:lnTo>
                  <a:lnTo>
                    <a:pt x="493" y="785"/>
                  </a:lnTo>
                  <a:lnTo>
                    <a:pt x="497" y="786"/>
                  </a:lnTo>
                  <a:lnTo>
                    <a:pt x="500" y="786"/>
                  </a:lnTo>
                  <a:lnTo>
                    <a:pt x="892" y="786"/>
                  </a:lnTo>
                  <a:lnTo>
                    <a:pt x="896" y="786"/>
                  </a:lnTo>
                  <a:lnTo>
                    <a:pt x="899" y="785"/>
                  </a:lnTo>
                  <a:lnTo>
                    <a:pt x="901" y="784"/>
                  </a:lnTo>
                  <a:lnTo>
                    <a:pt x="903" y="782"/>
                  </a:lnTo>
                  <a:lnTo>
                    <a:pt x="905" y="780"/>
                  </a:lnTo>
                  <a:lnTo>
                    <a:pt x="906" y="778"/>
                  </a:lnTo>
                  <a:lnTo>
                    <a:pt x="907" y="774"/>
                  </a:lnTo>
                  <a:lnTo>
                    <a:pt x="907" y="771"/>
                  </a:lnTo>
                  <a:lnTo>
                    <a:pt x="907" y="696"/>
                  </a:lnTo>
                  <a:lnTo>
                    <a:pt x="907" y="688"/>
                  </a:lnTo>
                  <a:lnTo>
                    <a:pt x="905" y="680"/>
                  </a:lnTo>
                  <a:lnTo>
                    <a:pt x="903" y="672"/>
                  </a:lnTo>
                  <a:lnTo>
                    <a:pt x="900" y="665"/>
                  </a:lnTo>
                  <a:lnTo>
                    <a:pt x="896" y="659"/>
                  </a:lnTo>
                  <a:lnTo>
                    <a:pt x="890" y="653"/>
                  </a:lnTo>
                  <a:lnTo>
                    <a:pt x="884" y="648"/>
                  </a:lnTo>
                  <a:lnTo>
                    <a:pt x="877" y="6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3" name="Freeform 52">
              <a:extLst>
                <a:ext uri="{FF2B5EF4-FFF2-40B4-BE49-F238E27FC236}">
                  <a16:creationId xmlns:a16="http://schemas.microsoft.com/office/drawing/2014/main" id="{3AAB79CE-84DF-4B0F-9D83-032B2C095581}"/>
                </a:ext>
              </a:extLst>
            </p:cNvPr>
            <p:cNvSpPr>
              <a:spLocks noEditPoints="1"/>
            </p:cNvSpPr>
            <p:nvPr/>
          </p:nvSpPr>
          <p:spPr bwMode="auto">
            <a:xfrm>
              <a:off x="487363" y="957263"/>
              <a:ext cx="76200" cy="57150"/>
            </a:xfrm>
            <a:custGeom>
              <a:avLst/>
              <a:gdLst>
                <a:gd name="T0" fmla="*/ 212 w 242"/>
                <a:gd name="T1" fmla="*/ 151 h 181"/>
                <a:gd name="T2" fmla="*/ 30 w 242"/>
                <a:gd name="T3" fmla="*/ 151 h 181"/>
                <a:gd name="T4" fmla="*/ 30 w 242"/>
                <a:gd name="T5" fmla="*/ 30 h 181"/>
                <a:gd name="T6" fmla="*/ 212 w 242"/>
                <a:gd name="T7" fmla="*/ 30 h 181"/>
                <a:gd name="T8" fmla="*/ 212 w 242"/>
                <a:gd name="T9" fmla="*/ 151 h 181"/>
                <a:gd name="T10" fmla="*/ 227 w 242"/>
                <a:gd name="T11" fmla="*/ 0 h 181"/>
                <a:gd name="T12" fmla="*/ 15 w 242"/>
                <a:gd name="T13" fmla="*/ 0 h 181"/>
                <a:gd name="T14" fmla="*/ 12 w 242"/>
                <a:gd name="T15" fmla="*/ 0 h 181"/>
                <a:gd name="T16" fmla="*/ 10 w 242"/>
                <a:gd name="T17" fmla="*/ 1 h 181"/>
                <a:gd name="T18" fmla="*/ 6 w 242"/>
                <a:gd name="T19" fmla="*/ 2 h 181"/>
                <a:gd name="T20" fmla="*/ 4 w 242"/>
                <a:gd name="T21" fmla="*/ 4 h 181"/>
                <a:gd name="T22" fmla="*/ 3 w 242"/>
                <a:gd name="T23" fmla="*/ 6 h 181"/>
                <a:gd name="T24" fmla="*/ 1 w 242"/>
                <a:gd name="T25" fmla="*/ 8 h 181"/>
                <a:gd name="T26" fmla="*/ 0 w 242"/>
                <a:gd name="T27" fmla="*/ 12 h 181"/>
                <a:gd name="T28" fmla="*/ 0 w 242"/>
                <a:gd name="T29" fmla="*/ 15 h 181"/>
                <a:gd name="T30" fmla="*/ 0 w 242"/>
                <a:gd name="T31" fmla="*/ 166 h 181"/>
                <a:gd name="T32" fmla="*/ 0 w 242"/>
                <a:gd name="T33" fmla="*/ 169 h 181"/>
                <a:gd name="T34" fmla="*/ 1 w 242"/>
                <a:gd name="T35" fmla="*/ 171 h 181"/>
                <a:gd name="T36" fmla="*/ 3 w 242"/>
                <a:gd name="T37" fmla="*/ 175 h 181"/>
                <a:gd name="T38" fmla="*/ 4 w 242"/>
                <a:gd name="T39" fmla="*/ 177 h 181"/>
                <a:gd name="T40" fmla="*/ 6 w 242"/>
                <a:gd name="T41" fmla="*/ 179 h 181"/>
                <a:gd name="T42" fmla="*/ 10 w 242"/>
                <a:gd name="T43" fmla="*/ 180 h 181"/>
                <a:gd name="T44" fmla="*/ 12 w 242"/>
                <a:gd name="T45" fmla="*/ 181 h 181"/>
                <a:gd name="T46" fmla="*/ 15 w 242"/>
                <a:gd name="T47" fmla="*/ 181 h 181"/>
                <a:gd name="T48" fmla="*/ 227 w 242"/>
                <a:gd name="T49" fmla="*/ 181 h 181"/>
                <a:gd name="T50" fmla="*/ 230 w 242"/>
                <a:gd name="T51" fmla="*/ 181 h 181"/>
                <a:gd name="T52" fmla="*/ 233 w 242"/>
                <a:gd name="T53" fmla="*/ 180 h 181"/>
                <a:gd name="T54" fmla="*/ 236 w 242"/>
                <a:gd name="T55" fmla="*/ 178 h 181"/>
                <a:gd name="T56" fmla="*/ 238 w 242"/>
                <a:gd name="T57" fmla="*/ 177 h 181"/>
                <a:gd name="T58" fmla="*/ 239 w 242"/>
                <a:gd name="T59" fmla="*/ 175 h 181"/>
                <a:gd name="T60" fmla="*/ 241 w 242"/>
                <a:gd name="T61" fmla="*/ 171 h 181"/>
                <a:gd name="T62" fmla="*/ 242 w 242"/>
                <a:gd name="T63" fmla="*/ 169 h 181"/>
                <a:gd name="T64" fmla="*/ 242 w 242"/>
                <a:gd name="T65" fmla="*/ 166 h 181"/>
                <a:gd name="T66" fmla="*/ 242 w 242"/>
                <a:gd name="T67" fmla="*/ 15 h 181"/>
                <a:gd name="T68" fmla="*/ 242 w 242"/>
                <a:gd name="T69" fmla="*/ 12 h 181"/>
                <a:gd name="T70" fmla="*/ 241 w 242"/>
                <a:gd name="T71" fmla="*/ 8 h 181"/>
                <a:gd name="T72" fmla="*/ 239 w 242"/>
                <a:gd name="T73" fmla="*/ 6 h 181"/>
                <a:gd name="T74" fmla="*/ 238 w 242"/>
                <a:gd name="T75" fmla="*/ 4 h 181"/>
                <a:gd name="T76" fmla="*/ 236 w 242"/>
                <a:gd name="T77" fmla="*/ 2 h 181"/>
                <a:gd name="T78" fmla="*/ 233 w 242"/>
                <a:gd name="T79" fmla="*/ 1 h 181"/>
                <a:gd name="T80" fmla="*/ 230 w 242"/>
                <a:gd name="T81" fmla="*/ 0 h 181"/>
                <a:gd name="T82" fmla="*/ 227 w 242"/>
                <a:gd name="T8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181">
                  <a:moveTo>
                    <a:pt x="212" y="151"/>
                  </a:moveTo>
                  <a:lnTo>
                    <a:pt x="30" y="151"/>
                  </a:lnTo>
                  <a:lnTo>
                    <a:pt x="30" y="30"/>
                  </a:lnTo>
                  <a:lnTo>
                    <a:pt x="212" y="30"/>
                  </a:lnTo>
                  <a:lnTo>
                    <a:pt x="212" y="151"/>
                  </a:lnTo>
                  <a:close/>
                  <a:moveTo>
                    <a:pt x="227" y="0"/>
                  </a:moveTo>
                  <a:lnTo>
                    <a:pt x="15" y="0"/>
                  </a:lnTo>
                  <a:lnTo>
                    <a:pt x="12" y="0"/>
                  </a:lnTo>
                  <a:lnTo>
                    <a:pt x="10" y="1"/>
                  </a:lnTo>
                  <a:lnTo>
                    <a:pt x="6" y="2"/>
                  </a:lnTo>
                  <a:lnTo>
                    <a:pt x="4" y="4"/>
                  </a:lnTo>
                  <a:lnTo>
                    <a:pt x="3" y="6"/>
                  </a:lnTo>
                  <a:lnTo>
                    <a:pt x="1" y="8"/>
                  </a:lnTo>
                  <a:lnTo>
                    <a:pt x="0" y="12"/>
                  </a:lnTo>
                  <a:lnTo>
                    <a:pt x="0" y="15"/>
                  </a:lnTo>
                  <a:lnTo>
                    <a:pt x="0" y="166"/>
                  </a:lnTo>
                  <a:lnTo>
                    <a:pt x="0" y="169"/>
                  </a:lnTo>
                  <a:lnTo>
                    <a:pt x="1" y="171"/>
                  </a:lnTo>
                  <a:lnTo>
                    <a:pt x="3" y="175"/>
                  </a:lnTo>
                  <a:lnTo>
                    <a:pt x="4" y="177"/>
                  </a:lnTo>
                  <a:lnTo>
                    <a:pt x="6" y="179"/>
                  </a:lnTo>
                  <a:lnTo>
                    <a:pt x="10" y="180"/>
                  </a:lnTo>
                  <a:lnTo>
                    <a:pt x="12" y="181"/>
                  </a:lnTo>
                  <a:lnTo>
                    <a:pt x="15" y="181"/>
                  </a:lnTo>
                  <a:lnTo>
                    <a:pt x="227" y="181"/>
                  </a:lnTo>
                  <a:lnTo>
                    <a:pt x="230" y="181"/>
                  </a:lnTo>
                  <a:lnTo>
                    <a:pt x="233" y="180"/>
                  </a:lnTo>
                  <a:lnTo>
                    <a:pt x="236" y="178"/>
                  </a:lnTo>
                  <a:lnTo>
                    <a:pt x="238" y="177"/>
                  </a:lnTo>
                  <a:lnTo>
                    <a:pt x="239" y="175"/>
                  </a:lnTo>
                  <a:lnTo>
                    <a:pt x="241" y="171"/>
                  </a:lnTo>
                  <a:lnTo>
                    <a:pt x="242" y="169"/>
                  </a:lnTo>
                  <a:lnTo>
                    <a:pt x="242" y="166"/>
                  </a:lnTo>
                  <a:lnTo>
                    <a:pt x="242" y="15"/>
                  </a:lnTo>
                  <a:lnTo>
                    <a:pt x="242" y="12"/>
                  </a:lnTo>
                  <a:lnTo>
                    <a:pt x="241" y="8"/>
                  </a:lnTo>
                  <a:lnTo>
                    <a:pt x="239" y="6"/>
                  </a:lnTo>
                  <a:lnTo>
                    <a:pt x="238" y="4"/>
                  </a:lnTo>
                  <a:lnTo>
                    <a:pt x="236" y="2"/>
                  </a:lnTo>
                  <a:lnTo>
                    <a:pt x="233" y="1"/>
                  </a:lnTo>
                  <a:lnTo>
                    <a:pt x="230" y="0"/>
                  </a:lnTo>
                  <a:lnTo>
                    <a:pt x="2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grpSp>
        <p:nvGrpSpPr>
          <p:cNvPr id="1792" name="Group 267">
            <a:extLst>
              <a:ext uri="{FF2B5EF4-FFF2-40B4-BE49-F238E27FC236}">
                <a16:creationId xmlns:a16="http://schemas.microsoft.com/office/drawing/2014/main" id="{0FB74F5F-B2A6-40E1-9A51-5B4C789214A1}"/>
              </a:ext>
            </a:extLst>
          </p:cNvPr>
          <p:cNvGrpSpPr>
            <a:grpSpLocks noChangeAspect="1"/>
          </p:cNvGrpSpPr>
          <p:nvPr/>
        </p:nvGrpSpPr>
        <p:grpSpPr>
          <a:xfrm>
            <a:off x="5768372" y="5429114"/>
            <a:ext cx="305900" cy="262545"/>
            <a:chOff x="8230640" y="2201241"/>
            <a:chExt cx="201613" cy="173038"/>
          </a:xfrm>
          <a:solidFill>
            <a:schemeClr val="bg2"/>
          </a:solidFill>
        </p:grpSpPr>
        <p:sp>
          <p:nvSpPr>
            <p:cNvPr id="1793" name="Freeform 27">
              <a:extLst>
                <a:ext uri="{FF2B5EF4-FFF2-40B4-BE49-F238E27FC236}">
                  <a16:creationId xmlns:a16="http://schemas.microsoft.com/office/drawing/2014/main" id="{8111A817-B1AB-44F7-8BBA-081457CE6062}"/>
                </a:ext>
              </a:extLst>
            </p:cNvPr>
            <p:cNvSpPr>
              <a:spLocks noEditPoints="1"/>
            </p:cNvSpPr>
            <p:nvPr/>
          </p:nvSpPr>
          <p:spPr bwMode="auto">
            <a:xfrm>
              <a:off x="8230640" y="2201241"/>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28">
              <a:extLst>
                <a:ext uri="{FF2B5EF4-FFF2-40B4-BE49-F238E27FC236}">
                  <a16:creationId xmlns:a16="http://schemas.microsoft.com/office/drawing/2014/main" id="{9A8FBABD-1126-4F0E-8E9F-A35525807F15}"/>
                </a:ext>
              </a:extLst>
            </p:cNvPr>
            <p:cNvSpPr>
              <a:spLocks/>
            </p:cNvSpPr>
            <p:nvPr/>
          </p:nvSpPr>
          <p:spPr bwMode="auto">
            <a:xfrm>
              <a:off x="8325890" y="2326654"/>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95" name="Group 269">
            <a:extLst>
              <a:ext uri="{FF2B5EF4-FFF2-40B4-BE49-F238E27FC236}">
                <a16:creationId xmlns:a16="http://schemas.microsoft.com/office/drawing/2014/main" id="{B33D09F6-5011-490C-9255-1E02E75C71A3}"/>
              </a:ext>
            </a:extLst>
          </p:cNvPr>
          <p:cNvGrpSpPr>
            <a:grpSpLocks noChangeAspect="1"/>
          </p:cNvGrpSpPr>
          <p:nvPr/>
        </p:nvGrpSpPr>
        <p:grpSpPr>
          <a:xfrm>
            <a:off x="6186633" y="5407436"/>
            <a:ext cx="305900" cy="305901"/>
            <a:chOff x="327025" y="1908175"/>
            <a:chExt cx="285750" cy="285750"/>
          </a:xfrm>
          <a:solidFill>
            <a:schemeClr val="bg2"/>
          </a:solidFill>
        </p:grpSpPr>
        <p:sp>
          <p:nvSpPr>
            <p:cNvPr id="1796" name="Freeform 217">
              <a:extLst>
                <a:ext uri="{FF2B5EF4-FFF2-40B4-BE49-F238E27FC236}">
                  <a16:creationId xmlns:a16="http://schemas.microsoft.com/office/drawing/2014/main" id="{4397061D-3E33-4DD5-BB41-5B8DA8E514FA}"/>
                </a:ext>
              </a:extLst>
            </p:cNvPr>
            <p:cNvSpPr>
              <a:spLocks noEditPoints="1"/>
            </p:cNvSpPr>
            <p:nvPr/>
          </p:nvSpPr>
          <p:spPr bwMode="auto">
            <a:xfrm>
              <a:off x="327025" y="1955800"/>
              <a:ext cx="142875" cy="238125"/>
            </a:xfrm>
            <a:custGeom>
              <a:avLst/>
              <a:gdLst>
                <a:gd name="T0" fmla="*/ 85 w 449"/>
                <a:gd name="T1" fmla="*/ 719 h 750"/>
                <a:gd name="T2" fmla="*/ 66 w 449"/>
                <a:gd name="T3" fmla="*/ 715 h 750"/>
                <a:gd name="T4" fmla="*/ 52 w 449"/>
                <a:gd name="T5" fmla="*/ 706 h 750"/>
                <a:gd name="T6" fmla="*/ 41 w 449"/>
                <a:gd name="T7" fmla="*/ 693 h 750"/>
                <a:gd name="T8" fmla="*/ 33 w 449"/>
                <a:gd name="T9" fmla="*/ 677 h 750"/>
                <a:gd name="T10" fmla="*/ 30 w 449"/>
                <a:gd name="T11" fmla="*/ 659 h 750"/>
                <a:gd name="T12" fmla="*/ 420 w 449"/>
                <a:gd name="T13" fmla="*/ 658 h 750"/>
                <a:gd name="T14" fmla="*/ 408 w 449"/>
                <a:gd name="T15" fmla="*/ 693 h 750"/>
                <a:gd name="T16" fmla="*/ 392 w 449"/>
                <a:gd name="T17" fmla="*/ 709 h 750"/>
                <a:gd name="T18" fmla="*/ 377 w 449"/>
                <a:gd name="T19" fmla="*/ 717 h 750"/>
                <a:gd name="T20" fmla="*/ 359 w 449"/>
                <a:gd name="T21" fmla="*/ 720 h 750"/>
                <a:gd name="T22" fmla="*/ 429 w 449"/>
                <a:gd name="T23" fmla="*/ 376 h 750"/>
                <a:gd name="T24" fmla="*/ 423 w 449"/>
                <a:gd name="T25" fmla="*/ 382 h 750"/>
                <a:gd name="T26" fmla="*/ 419 w 449"/>
                <a:gd name="T27" fmla="*/ 389 h 750"/>
                <a:gd name="T28" fmla="*/ 30 w 449"/>
                <a:gd name="T29" fmla="*/ 180 h 750"/>
                <a:gd name="T30" fmla="*/ 201 w 449"/>
                <a:gd name="T31" fmla="*/ 179 h 750"/>
                <a:gd name="T32" fmla="*/ 208 w 449"/>
                <a:gd name="T33" fmla="*/ 173 h 750"/>
                <a:gd name="T34" fmla="*/ 210 w 449"/>
                <a:gd name="T35" fmla="*/ 165 h 750"/>
                <a:gd name="T36" fmla="*/ 208 w 449"/>
                <a:gd name="T37" fmla="*/ 156 h 750"/>
                <a:gd name="T38" fmla="*/ 201 w 449"/>
                <a:gd name="T39" fmla="*/ 151 h 750"/>
                <a:gd name="T40" fmla="*/ 30 w 449"/>
                <a:gd name="T41" fmla="*/ 150 h 750"/>
                <a:gd name="T42" fmla="*/ 31 w 449"/>
                <a:gd name="T43" fmla="*/ 78 h 750"/>
                <a:gd name="T44" fmla="*/ 37 w 449"/>
                <a:gd name="T45" fmla="*/ 61 h 750"/>
                <a:gd name="T46" fmla="*/ 47 w 449"/>
                <a:gd name="T47" fmla="*/ 47 h 750"/>
                <a:gd name="T48" fmla="*/ 61 w 449"/>
                <a:gd name="T49" fmla="*/ 38 h 750"/>
                <a:gd name="T50" fmla="*/ 78 w 449"/>
                <a:gd name="T51" fmla="*/ 31 h 750"/>
                <a:gd name="T52" fmla="*/ 210 w 449"/>
                <a:gd name="T53" fmla="*/ 30 h 750"/>
                <a:gd name="T54" fmla="*/ 218 w 449"/>
                <a:gd name="T55" fmla="*/ 28 h 750"/>
                <a:gd name="T56" fmla="*/ 224 w 449"/>
                <a:gd name="T57" fmla="*/ 21 h 750"/>
                <a:gd name="T58" fmla="*/ 225 w 449"/>
                <a:gd name="T59" fmla="*/ 12 h 750"/>
                <a:gd name="T60" fmla="*/ 220 w 449"/>
                <a:gd name="T61" fmla="*/ 4 h 750"/>
                <a:gd name="T62" fmla="*/ 213 w 449"/>
                <a:gd name="T63" fmla="*/ 0 h 750"/>
                <a:gd name="T64" fmla="*/ 81 w 449"/>
                <a:gd name="T65" fmla="*/ 1 h 750"/>
                <a:gd name="T66" fmla="*/ 55 w 449"/>
                <a:gd name="T67" fmla="*/ 8 h 750"/>
                <a:gd name="T68" fmla="*/ 32 w 449"/>
                <a:gd name="T69" fmla="*/ 20 h 750"/>
                <a:gd name="T70" fmla="*/ 15 w 449"/>
                <a:gd name="T71" fmla="*/ 40 h 750"/>
                <a:gd name="T72" fmla="*/ 4 w 449"/>
                <a:gd name="T73" fmla="*/ 63 h 750"/>
                <a:gd name="T74" fmla="*/ 0 w 449"/>
                <a:gd name="T75" fmla="*/ 90 h 750"/>
                <a:gd name="T76" fmla="*/ 2 w 449"/>
                <a:gd name="T77" fmla="*/ 677 h 750"/>
                <a:gd name="T78" fmla="*/ 11 w 449"/>
                <a:gd name="T79" fmla="*/ 702 h 750"/>
                <a:gd name="T80" fmla="*/ 27 w 449"/>
                <a:gd name="T81" fmla="*/ 723 h 750"/>
                <a:gd name="T82" fmla="*/ 47 w 449"/>
                <a:gd name="T83" fmla="*/ 738 h 750"/>
                <a:gd name="T84" fmla="*/ 72 w 449"/>
                <a:gd name="T85" fmla="*/ 748 h 750"/>
                <a:gd name="T86" fmla="*/ 359 w 449"/>
                <a:gd name="T87" fmla="*/ 750 h 750"/>
                <a:gd name="T88" fmla="*/ 385 w 449"/>
                <a:gd name="T89" fmla="*/ 746 h 750"/>
                <a:gd name="T90" fmla="*/ 408 w 449"/>
                <a:gd name="T91" fmla="*/ 735 h 750"/>
                <a:gd name="T92" fmla="*/ 427 w 449"/>
                <a:gd name="T93" fmla="*/ 718 h 750"/>
                <a:gd name="T94" fmla="*/ 441 w 449"/>
                <a:gd name="T95" fmla="*/ 695 h 750"/>
                <a:gd name="T96" fmla="*/ 448 w 449"/>
                <a:gd name="T97" fmla="*/ 670 h 750"/>
                <a:gd name="T98" fmla="*/ 449 w 449"/>
                <a:gd name="T99" fmla="*/ 387 h 750"/>
                <a:gd name="T100" fmla="*/ 445 w 449"/>
                <a:gd name="T101" fmla="*/ 379 h 750"/>
                <a:gd name="T102" fmla="*/ 438 w 449"/>
                <a:gd name="T103" fmla="*/ 376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9" h="750">
                  <a:moveTo>
                    <a:pt x="359" y="720"/>
                  </a:moveTo>
                  <a:lnTo>
                    <a:pt x="90" y="720"/>
                  </a:lnTo>
                  <a:lnTo>
                    <a:pt x="85" y="719"/>
                  </a:lnTo>
                  <a:lnTo>
                    <a:pt x="78" y="718"/>
                  </a:lnTo>
                  <a:lnTo>
                    <a:pt x="73" y="717"/>
                  </a:lnTo>
                  <a:lnTo>
                    <a:pt x="66" y="715"/>
                  </a:lnTo>
                  <a:lnTo>
                    <a:pt x="62" y="713"/>
                  </a:lnTo>
                  <a:lnTo>
                    <a:pt x="57" y="709"/>
                  </a:lnTo>
                  <a:lnTo>
                    <a:pt x="52" y="706"/>
                  </a:lnTo>
                  <a:lnTo>
                    <a:pt x="48" y="702"/>
                  </a:lnTo>
                  <a:lnTo>
                    <a:pt x="44" y="698"/>
                  </a:lnTo>
                  <a:lnTo>
                    <a:pt x="41" y="693"/>
                  </a:lnTo>
                  <a:lnTo>
                    <a:pt x="37" y="688"/>
                  </a:lnTo>
                  <a:lnTo>
                    <a:pt x="35" y="683"/>
                  </a:lnTo>
                  <a:lnTo>
                    <a:pt x="33" y="677"/>
                  </a:lnTo>
                  <a:lnTo>
                    <a:pt x="31" y="671"/>
                  </a:lnTo>
                  <a:lnTo>
                    <a:pt x="31" y="665"/>
                  </a:lnTo>
                  <a:lnTo>
                    <a:pt x="30" y="659"/>
                  </a:lnTo>
                  <a:lnTo>
                    <a:pt x="30" y="600"/>
                  </a:lnTo>
                  <a:lnTo>
                    <a:pt x="420" y="600"/>
                  </a:lnTo>
                  <a:lnTo>
                    <a:pt x="420" y="658"/>
                  </a:lnTo>
                  <a:lnTo>
                    <a:pt x="417" y="671"/>
                  </a:lnTo>
                  <a:lnTo>
                    <a:pt x="414" y="683"/>
                  </a:lnTo>
                  <a:lnTo>
                    <a:pt x="408" y="693"/>
                  </a:lnTo>
                  <a:lnTo>
                    <a:pt x="400" y="703"/>
                  </a:lnTo>
                  <a:lnTo>
                    <a:pt x="397" y="706"/>
                  </a:lnTo>
                  <a:lnTo>
                    <a:pt x="392" y="709"/>
                  </a:lnTo>
                  <a:lnTo>
                    <a:pt x="387" y="713"/>
                  </a:lnTo>
                  <a:lnTo>
                    <a:pt x="382" y="715"/>
                  </a:lnTo>
                  <a:lnTo>
                    <a:pt x="377" y="717"/>
                  </a:lnTo>
                  <a:lnTo>
                    <a:pt x="371" y="719"/>
                  </a:lnTo>
                  <a:lnTo>
                    <a:pt x="366" y="719"/>
                  </a:lnTo>
                  <a:lnTo>
                    <a:pt x="359" y="720"/>
                  </a:lnTo>
                  <a:close/>
                  <a:moveTo>
                    <a:pt x="434" y="374"/>
                  </a:moveTo>
                  <a:lnTo>
                    <a:pt x="432" y="376"/>
                  </a:lnTo>
                  <a:lnTo>
                    <a:pt x="429" y="376"/>
                  </a:lnTo>
                  <a:lnTo>
                    <a:pt x="427" y="378"/>
                  </a:lnTo>
                  <a:lnTo>
                    <a:pt x="425" y="379"/>
                  </a:lnTo>
                  <a:lnTo>
                    <a:pt x="423" y="382"/>
                  </a:lnTo>
                  <a:lnTo>
                    <a:pt x="421" y="384"/>
                  </a:lnTo>
                  <a:lnTo>
                    <a:pt x="420" y="387"/>
                  </a:lnTo>
                  <a:lnTo>
                    <a:pt x="419" y="389"/>
                  </a:lnTo>
                  <a:lnTo>
                    <a:pt x="420" y="569"/>
                  </a:lnTo>
                  <a:lnTo>
                    <a:pt x="30" y="569"/>
                  </a:lnTo>
                  <a:lnTo>
                    <a:pt x="30" y="180"/>
                  </a:lnTo>
                  <a:lnTo>
                    <a:pt x="195" y="180"/>
                  </a:lnTo>
                  <a:lnTo>
                    <a:pt x="198" y="180"/>
                  </a:lnTo>
                  <a:lnTo>
                    <a:pt x="201" y="179"/>
                  </a:lnTo>
                  <a:lnTo>
                    <a:pt x="203" y="178"/>
                  </a:lnTo>
                  <a:lnTo>
                    <a:pt x="205" y="175"/>
                  </a:lnTo>
                  <a:lnTo>
                    <a:pt x="208" y="173"/>
                  </a:lnTo>
                  <a:lnTo>
                    <a:pt x="209" y="171"/>
                  </a:lnTo>
                  <a:lnTo>
                    <a:pt x="210" y="168"/>
                  </a:lnTo>
                  <a:lnTo>
                    <a:pt x="210" y="165"/>
                  </a:lnTo>
                  <a:lnTo>
                    <a:pt x="210" y="162"/>
                  </a:lnTo>
                  <a:lnTo>
                    <a:pt x="209" y="159"/>
                  </a:lnTo>
                  <a:lnTo>
                    <a:pt x="208" y="156"/>
                  </a:lnTo>
                  <a:lnTo>
                    <a:pt x="205" y="154"/>
                  </a:lnTo>
                  <a:lnTo>
                    <a:pt x="203" y="153"/>
                  </a:lnTo>
                  <a:lnTo>
                    <a:pt x="201" y="151"/>
                  </a:lnTo>
                  <a:lnTo>
                    <a:pt x="198" y="151"/>
                  </a:lnTo>
                  <a:lnTo>
                    <a:pt x="195" y="150"/>
                  </a:lnTo>
                  <a:lnTo>
                    <a:pt x="30" y="150"/>
                  </a:lnTo>
                  <a:lnTo>
                    <a:pt x="30" y="90"/>
                  </a:lnTo>
                  <a:lnTo>
                    <a:pt x="31" y="84"/>
                  </a:lnTo>
                  <a:lnTo>
                    <a:pt x="31" y="78"/>
                  </a:lnTo>
                  <a:lnTo>
                    <a:pt x="33" y="72"/>
                  </a:lnTo>
                  <a:lnTo>
                    <a:pt x="35" y="66"/>
                  </a:lnTo>
                  <a:lnTo>
                    <a:pt x="37" y="61"/>
                  </a:lnTo>
                  <a:lnTo>
                    <a:pt x="41" y="57"/>
                  </a:lnTo>
                  <a:lnTo>
                    <a:pt x="44" y="51"/>
                  </a:lnTo>
                  <a:lnTo>
                    <a:pt x="47" y="47"/>
                  </a:lnTo>
                  <a:lnTo>
                    <a:pt x="51" y="44"/>
                  </a:lnTo>
                  <a:lnTo>
                    <a:pt x="57" y="41"/>
                  </a:lnTo>
                  <a:lnTo>
                    <a:pt x="61" y="38"/>
                  </a:lnTo>
                  <a:lnTo>
                    <a:pt x="66" y="34"/>
                  </a:lnTo>
                  <a:lnTo>
                    <a:pt x="72" y="33"/>
                  </a:lnTo>
                  <a:lnTo>
                    <a:pt x="78" y="31"/>
                  </a:lnTo>
                  <a:lnTo>
                    <a:pt x="83" y="30"/>
                  </a:lnTo>
                  <a:lnTo>
                    <a:pt x="90" y="30"/>
                  </a:lnTo>
                  <a:lnTo>
                    <a:pt x="210" y="30"/>
                  </a:lnTo>
                  <a:lnTo>
                    <a:pt x="213" y="30"/>
                  </a:lnTo>
                  <a:lnTo>
                    <a:pt x="216" y="29"/>
                  </a:lnTo>
                  <a:lnTo>
                    <a:pt x="218" y="28"/>
                  </a:lnTo>
                  <a:lnTo>
                    <a:pt x="220" y="26"/>
                  </a:lnTo>
                  <a:lnTo>
                    <a:pt x="223" y="24"/>
                  </a:lnTo>
                  <a:lnTo>
                    <a:pt x="224" y="21"/>
                  </a:lnTo>
                  <a:lnTo>
                    <a:pt x="225" y="18"/>
                  </a:lnTo>
                  <a:lnTo>
                    <a:pt x="225" y="15"/>
                  </a:lnTo>
                  <a:lnTo>
                    <a:pt x="225" y="12"/>
                  </a:lnTo>
                  <a:lnTo>
                    <a:pt x="224" y="10"/>
                  </a:lnTo>
                  <a:lnTo>
                    <a:pt x="223" y="6"/>
                  </a:lnTo>
                  <a:lnTo>
                    <a:pt x="220" y="4"/>
                  </a:lnTo>
                  <a:lnTo>
                    <a:pt x="218" y="3"/>
                  </a:lnTo>
                  <a:lnTo>
                    <a:pt x="216" y="1"/>
                  </a:lnTo>
                  <a:lnTo>
                    <a:pt x="213" y="0"/>
                  </a:lnTo>
                  <a:lnTo>
                    <a:pt x="210" y="0"/>
                  </a:lnTo>
                  <a:lnTo>
                    <a:pt x="90" y="0"/>
                  </a:lnTo>
                  <a:lnTo>
                    <a:pt x="81" y="1"/>
                  </a:lnTo>
                  <a:lnTo>
                    <a:pt x="72" y="2"/>
                  </a:lnTo>
                  <a:lnTo>
                    <a:pt x="63" y="4"/>
                  </a:lnTo>
                  <a:lnTo>
                    <a:pt x="55" y="8"/>
                  </a:lnTo>
                  <a:lnTo>
                    <a:pt x="47" y="11"/>
                  </a:lnTo>
                  <a:lnTo>
                    <a:pt x="40" y="15"/>
                  </a:lnTo>
                  <a:lnTo>
                    <a:pt x="32" y="20"/>
                  </a:lnTo>
                  <a:lnTo>
                    <a:pt x="27" y="26"/>
                  </a:lnTo>
                  <a:lnTo>
                    <a:pt x="20" y="32"/>
                  </a:lnTo>
                  <a:lnTo>
                    <a:pt x="15" y="40"/>
                  </a:lnTo>
                  <a:lnTo>
                    <a:pt x="11" y="47"/>
                  </a:lnTo>
                  <a:lnTo>
                    <a:pt x="8" y="55"/>
                  </a:lnTo>
                  <a:lnTo>
                    <a:pt x="4" y="63"/>
                  </a:lnTo>
                  <a:lnTo>
                    <a:pt x="2" y="72"/>
                  </a:lnTo>
                  <a:lnTo>
                    <a:pt x="1" y="80"/>
                  </a:lnTo>
                  <a:lnTo>
                    <a:pt x="0" y="90"/>
                  </a:lnTo>
                  <a:lnTo>
                    <a:pt x="0" y="659"/>
                  </a:lnTo>
                  <a:lnTo>
                    <a:pt x="1" y="669"/>
                  </a:lnTo>
                  <a:lnTo>
                    <a:pt x="2" y="677"/>
                  </a:lnTo>
                  <a:lnTo>
                    <a:pt x="4" y="686"/>
                  </a:lnTo>
                  <a:lnTo>
                    <a:pt x="8" y="694"/>
                  </a:lnTo>
                  <a:lnTo>
                    <a:pt x="11" y="702"/>
                  </a:lnTo>
                  <a:lnTo>
                    <a:pt x="16" y="709"/>
                  </a:lnTo>
                  <a:lnTo>
                    <a:pt x="20" y="717"/>
                  </a:lnTo>
                  <a:lnTo>
                    <a:pt x="27" y="723"/>
                  </a:lnTo>
                  <a:lnTo>
                    <a:pt x="33" y="729"/>
                  </a:lnTo>
                  <a:lnTo>
                    <a:pt x="40" y="734"/>
                  </a:lnTo>
                  <a:lnTo>
                    <a:pt x="47" y="738"/>
                  </a:lnTo>
                  <a:lnTo>
                    <a:pt x="56" y="742"/>
                  </a:lnTo>
                  <a:lnTo>
                    <a:pt x="63" y="746"/>
                  </a:lnTo>
                  <a:lnTo>
                    <a:pt x="72" y="748"/>
                  </a:lnTo>
                  <a:lnTo>
                    <a:pt x="81" y="749"/>
                  </a:lnTo>
                  <a:lnTo>
                    <a:pt x="90" y="750"/>
                  </a:lnTo>
                  <a:lnTo>
                    <a:pt x="359" y="750"/>
                  </a:lnTo>
                  <a:lnTo>
                    <a:pt x="369" y="749"/>
                  </a:lnTo>
                  <a:lnTo>
                    <a:pt x="378" y="748"/>
                  </a:lnTo>
                  <a:lnTo>
                    <a:pt x="385" y="746"/>
                  </a:lnTo>
                  <a:lnTo>
                    <a:pt x="394" y="742"/>
                  </a:lnTo>
                  <a:lnTo>
                    <a:pt x="401" y="739"/>
                  </a:lnTo>
                  <a:lnTo>
                    <a:pt x="408" y="735"/>
                  </a:lnTo>
                  <a:lnTo>
                    <a:pt x="414" y="730"/>
                  </a:lnTo>
                  <a:lnTo>
                    <a:pt x="420" y="724"/>
                  </a:lnTo>
                  <a:lnTo>
                    <a:pt x="427" y="718"/>
                  </a:lnTo>
                  <a:lnTo>
                    <a:pt x="432" y="711"/>
                  </a:lnTo>
                  <a:lnTo>
                    <a:pt x="436" y="704"/>
                  </a:lnTo>
                  <a:lnTo>
                    <a:pt x="441" y="695"/>
                  </a:lnTo>
                  <a:lnTo>
                    <a:pt x="444" y="688"/>
                  </a:lnTo>
                  <a:lnTo>
                    <a:pt x="446" y="678"/>
                  </a:lnTo>
                  <a:lnTo>
                    <a:pt x="448" y="670"/>
                  </a:lnTo>
                  <a:lnTo>
                    <a:pt x="449" y="660"/>
                  </a:lnTo>
                  <a:lnTo>
                    <a:pt x="449" y="389"/>
                  </a:lnTo>
                  <a:lnTo>
                    <a:pt x="449" y="387"/>
                  </a:lnTo>
                  <a:lnTo>
                    <a:pt x="448" y="384"/>
                  </a:lnTo>
                  <a:lnTo>
                    <a:pt x="447" y="382"/>
                  </a:lnTo>
                  <a:lnTo>
                    <a:pt x="445" y="379"/>
                  </a:lnTo>
                  <a:lnTo>
                    <a:pt x="443" y="378"/>
                  </a:lnTo>
                  <a:lnTo>
                    <a:pt x="441" y="376"/>
                  </a:lnTo>
                  <a:lnTo>
                    <a:pt x="438" y="376"/>
                  </a:lnTo>
                  <a:lnTo>
                    <a:pt x="434" y="374"/>
                  </a:lnTo>
                  <a:lnTo>
                    <a:pt x="434" y="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218">
              <a:extLst>
                <a:ext uri="{FF2B5EF4-FFF2-40B4-BE49-F238E27FC236}">
                  <a16:creationId xmlns:a16="http://schemas.microsoft.com/office/drawing/2014/main" id="{FAE61E33-7814-488C-AD3A-7B29A17E859C}"/>
                </a:ext>
              </a:extLst>
            </p:cNvPr>
            <p:cNvSpPr>
              <a:spLocks/>
            </p:cNvSpPr>
            <p:nvPr/>
          </p:nvSpPr>
          <p:spPr bwMode="auto">
            <a:xfrm>
              <a:off x="374650" y="1979613"/>
              <a:ext cx="19050" cy="9525"/>
            </a:xfrm>
            <a:custGeom>
              <a:avLst/>
              <a:gdLst>
                <a:gd name="T0" fmla="*/ 15 w 60"/>
                <a:gd name="T1" fmla="*/ 0 h 30"/>
                <a:gd name="T2" fmla="*/ 12 w 60"/>
                <a:gd name="T3" fmla="*/ 0 h 30"/>
                <a:gd name="T4" fmla="*/ 9 w 60"/>
                <a:gd name="T5" fmla="*/ 1 h 30"/>
                <a:gd name="T6" fmla="*/ 6 w 60"/>
                <a:gd name="T7" fmla="*/ 3 h 30"/>
                <a:gd name="T8" fmla="*/ 4 w 60"/>
                <a:gd name="T9" fmla="*/ 4 h 30"/>
                <a:gd name="T10" fmla="*/ 3 w 60"/>
                <a:gd name="T11" fmla="*/ 6 h 30"/>
                <a:gd name="T12" fmla="*/ 1 w 60"/>
                <a:gd name="T13" fmla="*/ 10 h 30"/>
                <a:gd name="T14" fmla="*/ 1 w 60"/>
                <a:gd name="T15" fmla="*/ 12 h 30"/>
                <a:gd name="T16" fmla="*/ 0 w 60"/>
                <a:gd name="T17" fmla="*/ 15 h 30"/>
                <a:gd name="T18" fmla="*/ 1 w 60"/>
                <a:gd name="T19" fmla="*/ 18 h 30"/>
                <a:gd name="T20" fmla="*/ 1 w 60"/>
                <a:gd name="T21" fmla="*/ 21 h 30"/>
                <a:gd name="T22" fmla="*/ 3 w 60"/>
                <a:gd name="T23" fmla="*/ 23 h 30"/>
                <a:gd name="T24" fmla="*/ 4 w 60"/>
                <a:gd name="T25" fmla="*/ 26 h 30"/>
                <a:gd name="T26" fmla="*/ 6 w 60"/>
                <a:gd name="T27" fmla="*/ 28 h 30"/>
                <a:gd name="T28" fmla="*/ 9 w 60"/>
                <a:gd name="T29" fmla="*/ 29 h 30"/>
                <a:gd name="T30" fmla="*/ 12 w 60"/>
                <a:gd name="T31" fmla="*/ 30 h 30"/>
                <a:gd name="T32" fmla="*/ 15 w 60"/>
                <a:gd name="T33" fmla="*/ 30 h 30"/>
                <a:gd name="T34" fmla="*/ 45 w 60"/>
                <a:gd name="T35" fmla="*/ 30 h 30"/>
                <a:gd name="T36" fmla="*/ 48 w 60"/>
                <a:gd name="T37" fmla="*/ 30 h 30"/>
                <a:gd name="T38" fmla="*/ 51 w 60"/>
                <a:gd name="T39" fmla="*/ 29 h 30"/>
                <a:gd name="T40" fmla="*/ 53 w 60"/>
                <a:gd name="T41" fmla="*/ 28 h 30"/>
                <a:gd name="T42" fmla="*/ 55 w 60"/>
                <a:gd name="T43" fmla="*/ 26 h 30"/>
                <a:gd name="T44" fmla="*/ 58 w 60"/>
                <a:gd name="T45" fmla="*/ 23 h 30"/>
                <a:gd name="T46" fmla="*/ 59 w 60"/>
                <a:gd name="T47" fmla="*/ 21 h 30"/>
                <a:gd name="T48" fmla="*/ 60 w 60"/>
                <a:gd name="T49" fmla="*/ 18 h 30"/>
                <a:gd name="T50" fmla="*/ 60 w 60"/>
                <a:gd name="T51" fmla="*/ 15 h 30"/>
                <a:gd name="T52" fmla="*/ 60 w 60"/>
                <a:gd name="T53" fmla="*/ 12 h 30"/>
                <a:gd name="T54" fmla="*/ 59 w 60"/>
                <a:gd name="T55" fmla="*/ 10 h 30"/>
                <a:gd name="T56" fmla="*/ 58 w 60"/>
                <a:gd name="T57" fmla="*/ 6 h 30"/>
                <a:gd name="T58" fmla="*/ 55 w 60"/>
                <a:gd name="T59" fmla="*/ 4 h 30"/>
                <a:gd name="T60" fmla="*/ 53 w 60"/>
                <a:gd name="T61" fmla="*/ 3 h 30"/>
                <a:gd name="T62" fmla="*/ 51 w 60"/>
                <a:gd name="T63" fmla="*/ 1 h 30"/>
                <a:gd name="T64" fmla="*/ 48 w 60"/>
                <a:gd name="T65" fmla="*/ 0 h 30"/>
                <a:gd name="T66" fmla="*/ 45 w 60"/>
                <a:gd name="T67" fmla="*/ 0 h 30"/>
                <a:gd name="T68" fmla="*/ 1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15" y="0"/>
                  </a:moveTo>
                  <a:lnTo>
                    <a:pt x="12" y="0"/>
                  </a:lnTo>
                  <a:lnTo>
                    <a:pt x="9" y="1"/>
                  </a:lnTo>
                  <a:lnTo>
                    <a:pt x="6" y="3"/>
                  </a:lnTo>
                  <a:lnTo>
                    <a:pt x="4" y="4"/>
                  </a:lnTo>
                  <a:lnTo>
                    <a:pt x="3" y="6"/>
                  </a:lnTo>
                  <a:lnTo>
                    <a:pt x="1" y="10"/>
                  </a:lnTo>
                  <a:lnTo>
                    <a:pt x="1" y="12"/>
                  </a:lnTo>
                  <a:lnTo>
                    <a:pt x="0" y="15"/>
                  </a:lnTo>
                  <a:lnTo>
                    <a:pt x="1" y="18"/>
                  </a:lnTo>
                  <a:lnTo>
                    <a:pt x="1" y="21"/>
                  </a:lnTo>
                  <a:lnTo>
                    <a:pt x="3" y="23"/>
                  </a:lnTo>
                  <a:lnTo>
                    <a:pt x="4" y="26"/>
                  </a:lnTo>
                  <a:lnTo>
                    <a:pt x="6" y="28"/>
                  </a:lnTo>
                  <a:lnTo>
                    <a:pt x="9" y="29"/>
                  </a:lnTo>
                  <a:lnTo>
                    <a:pt x="12" y="30"/>
                  </a:lnTo>
                  <a:lnTo>
                    <a:pt x="15" y="30"/>
                  </a:lnTo>
                  <a:lnTo>
                    <a:pt x="45" y="30"/>
                  </a:lnTo>
                  <a:lnTo>
                    <a:pt x="48" y="30"/>
                  </a:lnTo>
                  <a:lnTo>
                    <a:pt x="51" y="29"/>
                  </a:lnTo>
                  <a:lnTo>
                    <a:pt x="53" y="28"/>
                  </a:lnTo>
                  <a:lnTo>
                    <a:pt x="55" y="26"/>
                  </a:lnTo>
                  <a:lnTo>
                    <a:pt x="58" y="23"/>
                  </a:lnTo>
                  <a:lnTo>
                    <a:pt x="59" y="21"/>
                  </a:lnTo>
                  <a:lnTo>
                    <a:pt x="60" y="18"/>
                  </a:lnTo>
                  <a:lnTo>
                    <a:pt x="60" y="15"/>
                  </a:lnTo>
                  <a:lnTo>
                    <a:pt x="60" y="12"/>
                  </a:lnTo>
                  <a:lnTo>
                    <a:pt x="59" y="10"/>
                  </a:lnTo>
                  <a:lnTo>
                    <a:pt x="58" y="6"/>
                  </a:lnTo>
                  <a:lnTo>
                    <a:pt x="55" y="4"/>
                  </a:lnTo>
                  <a:lnTo>
                    <a:pt x="53" y="3"/>
                  </a:lnTo>
                  <a:lnTo>
                    <a:pt x="51" y="1"/>
                  </a:lnTo>
                  <a:lnTo>
                    <a:pt x="48" y="0"/>
                  </a:lnTo>
                  <a:lnTo>
                    <a:pt x="4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8" name="Freeform 219">
              <a:extLst>
                <a:ext uri="{FF2B5EF4-FFF2-40B4-BE49-F238E27FC236}">
                  <a16:creationId xmlns:a16="http://schemas.microsoft.com/office/drawing/2014/main" id="{96025C62-C926-4FCD-9ABC-8C229059E2D2}"/>
                </a:ext>
              </a:extLst>
            </p:cNvPr>
            <p:cNvSpPr>
              <a:spLocks noEditPoints="1"/>
            </p:cNvSpPr>
            <p:nvPr/>
          </p:nvSpPr>
          <p:spPr bwMode="auto">
            <a:xfrm>
              <a:off x="422275" y="1908175"/>
              <a:ext cx="190500" cy="152400"/>
            </a:xfrm>
            <a:custGeom>
              <a:avLst/>
              <a:gdLst>
                <a:gd name="T0" fmla="*/ 565 w 600"/>
                <a:gd name="T1" fmla="*/ 302 h 480"/>
                <a:gd name="T2" fmla="*/ 549 w 600"/>
                <a:gd name="T3" fmla="*/ 322 h 480"/>
                <a:gd name="T4" fmla="*/ 525 w 600"/>
                <a:gd name="T5" fmla="*/ 330 h 480"/>
                <a:gd name="T6" fmla="*/ 311 w 600"/>
                <a:gd name="T7" fmla="*/ 331 h 480"/>
                <a:gd name="T8" fmla="*/ 210 w 600"/>
                <a:gd name="T9" fmla="*/ 429 h 480"/>
                <a:gd name="T10" fmla="*/ 208 w 600"/>
                <a:gd name="T11" fmla="*/ 339 h 480"/>
                <a:gd name="T12" fmla="*/ 203 w 600"/>
                <a:gd name="T13" fmla="*/ 333 h 480"/>
                <a:gd name="T14" fmla="*/ 195 w 600"/>
                <a:gd name="T15" fmla="*/ 330 h 480"/>
                <a:gd name="T16" fmla="*/ 58 w 600"/>
                <a:gd name="T17" fmla="*/ 327 h 480"/>
                <a:gd name="T18" fmla="*/ 38 w 600"/>
                <a:gd name="T19" fmla="*/ 309 h 480"/>
                <a:gd name="T20" fmla="*/ 29 w 600"/>
                <a:gd name="T21" fmla="*/ 285 h 480"/>
                <a:gd name="T22" fmla="*/ 34 w 600"/>
                <a:gd name="T23" fmla="*/ 58 h 480"/>
                <a:gd name="T24" fmla="*/ 51 w 600"/>
                <a:gd name="T25" fmla="*/ 39 h 480"/>
                <a:gd name="T26" fmla="*/ 74 w 600"/>
                <a:gd name="T27" fmla="*/ 30 h 480"/>
                <a:gd name="T28" fmla="*/ 541 w 600"/>
                <a:gd name="T29" fmla="*/ 35 h 480"/>
                <a:gd name="T30" fmla="*/ 561 w 600"/>
                <a:gd name="T31" fmla="*/ 51 h 480"/>
                <a:gd name="T32" fmla="*/ 570 w 600"/>
                <a:gd name="T33" fmla="*/ 75 h 480"/>
                <a:gd name="T34" fmla="*/ 74 w 600"/>
                <a:gd name="T35" fmla="*/ 0 h 480"/>
                <a:gd name="T36" fmla="*/ 53 w 600"/>
                <a:gd name="T37" fmla="*/ 4 h 480"/>
                <a:gd name="T38" fmla="*/ 34 w 600"/>
                <a:gd name="T39" fmla="*/ 13 h 480"/>
                <a:gd name="T40" fmla="*/ 18 w 600"/>
                <a:gd name="T41" fmla="*/ 28 h 480"/>
                <a:gd name="T42" fmla="*/ 6 w 600"/>
                <a:gd name="T43" fmla="*/ 46 h 480"/>
                <a:gd name="T44" fmla="*/ 1 w 600"/>
                <a:gd name="T45" fmla="*/ 68 h 480"/>
                <a:gd name="T46" fmla="*/ 1 w 600"/>
                <a:gd name="T47" fmla="*/ 292 h 480"/>
                <a:gd name="T48" fmla="*/ 6 w 600"/>
                <a:gd name="T49" fmla="*/ 314 h 480"/>
                <a:gd name="T50" fmla="*/ 18 w 600"/>
                <a:gd name="T51" fmla="*/ 332 h 480"/>
                <a:gd name="T52" fmla="*/ 34 w 600"/>
                <a:gd name="T53" fmla="*/ 347 h 480"/>
                <a:gd name="T54" fmla="*/ 53 w 600"/>
                <a:gd name="T55" fmla="*/ 357 h 480"/>
                <a:gd name="T56" fmla="*/ 74 w 600"/>
                <a:gd name="T57" fmla="*/ 360 h 480"/>
                <a:gd name="T58" fmla="*/ 180 w 600"/>
                <a:gd name="T59" fmla="*/ 469 h 480"/>
                <a:gd name="T60" fmla="*/ 189 w 600"/>
                <a:gd name="T61" fmla="*/ 478 h 480"/>
                <a:gd name="T62" fmla="*/ 197 w 600"/>
                <a:gd name="T63" fmla="*/ 480 h 480"/>
                <a:gd name="T64" fmla="*/ 205 w 600"/>
                <a:gd name="T65" fmla="*/ 475 h 480"/>
                <a:gd name="T66" fmla="*/ 532 w 600"/>
                <a:gd name="T67" fmla="*/ 360 h 480"/>
                <a:gd name="T68" fmla="*/ 553 w 600"/>
                <a:gd name="T69" fmla="*/ 354 h 480"/>
                <a:gd name="T70" fmla="*/ 572 w 600"/>
                <a:gd name="T71" fmla="*/ 343 h 480"/>
                <a:gd name="T72" fmla="*/ 586 w 600"/>
                <a:gd name="T73" fmla="*/ 327 h 480"/>
                <a:gd name="T74" fmla="*/ 595 w 600"/>
                <a:gd name="T75" fmla="*/ 307 h 480"/>
                <a:gd name="T76" fmla="*/ 600 w 600"/>
                <a:gd name="T77" fmla="*/ 285 h 480"/>
                <a:gd name="T78" fmla="*/ 597 w 600"/>
                <a:gd name="T79" fmla="*/ 60 h 480"/>
                <a:gd name="T80" fmla="*/ 590 w 600"/>
                <a:gd name="T81" fmla="*/ 40 h 480"/>
                <a:gd name="T82" fmla="*/ 577 w 600"/>
                <a:gd name="T83" fmla="*/ 23 h 480"/>
                <a:gd name="T84" fmla="*/ 559 w 600"/>
                <a:gd name="T85" fmla="*/ 10 h 480"/>
                <a:gd name="T86" fmla="*/ 539 w 600"/>
                <a:gd name="T87" fmla="*/ 2 h 480"/>
                <a:gd name="T88" fmla="*/ 525 w 600"/>
                <a:gd name="T89"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0" h="480">
                  <a:moveTo>
                    <a:pt x="570" y="285"/>
                  </a:moveTo>
                  <a:lnTo>
                    <a:pt x="569" y="293"/>
                  </a:lnTo>
                  <a:lnTo>
                    <a:pt x="565" y="302"/>
                  </a:lnTo>
                  <a:lnTo>
                    <a:pt x="561" y="309"/>
                  </a:lnTo>
                  <a:lnTo>
                    <a:pt x="556" y="316"/>
                  </a:lnTo>
                  <a:lnTo>
                    <a:pt x="549" y="322"/>
                  </a:lnTo>
                  <a:lnTo>
                    <a:pt x="541" y="327"/>
                  </a:lnTo>
                  <a:lnTo>
                    <a:pt x="533" y="329"/>
                  </a:lnTo>
                  <a:lnTo>
                    <a:pt x="525" y="330"/>
                  </a:lnTo>
                  <a:lnTo>
                    <a:pt x="316" y="330"/>
                  </a:lnTo>
                  <a:lnTo>
                    <a:pt x="314" y="331"/>
                  </a:lnTo>
                  <a:lnTo>
                    <a:pt x="311" y="331"/>
                  </a:lnTo>
                  <a:lnTo>
                    <a:pt x="309" y="333"/>
                  </a:lnTo>
                  <a:lnTo>
                    <a:pt x="307" y="334"/>
                  </a:lnTo>
                  <a:lnTo>
                    <a:pt x="210" y="429"/>
                  </a:lnTo>
                  <a:lnTo>
                    <a:pt x="210" y="345"/>
                  </a:lnTo>
                  <a:lnTo>
                    <a:pt x="209" y="342"/>
                  </a:lnTo>
                  <a:lnTo>
                    <a:pt x="208" y="339"/>
                  </a:lnTo>
                  <a:lnTo>
                    <a:pt x="207" y="336"/>
                  </a:lnTo>
                  <a:lnTo>
                    <a:pt x="205" y="334"/>
                  </a:lnTo>
                  <a:lnTo>
                    <a:pt x="203" y="333"/>
                  </a:lnTo>
                  <a:lnTo>
                    <a:pt x="201" y="331"/>
                  </a:lnTo>
                  <a:lnTo>
                    <a:pt x="197" y="331"/>
                  </a:lnTo>
                  <a:lnTo>
                    <a:pt x="195" y="330"/>
                  </a:lnTo>
                  <a:lnTo>
                    <a:pt x="74" y="330"/>
                  </a:lnTo>
                  <a:lnTo>
                    <a:pt x="66" y="329"/>
                  </a:lnTo>
                  <a:lnTo>
                    <a:pt x="58" y="327"/>
                  </a:lnTo>
                  <a:lnTo>
                    <a:pt x="51" y="322"/>
                  </a:lnTo>
                  <a:lnTo>
                    <a:pt x="43" y="316"/>
                  </a:lnTo>
                  <a:lnTo>
                    <a:pt x="38" y="309"/>
                  </a:lnTo>
                  <a:lnTo>
                    <a:pt x="34" y="302"/>
                  </a:lnTo>
                  <a:lnTo>
                    <a:pt x="31" y="293"/>
                  </a:lnTo>
                  <a:lnTo>
                    <a:pt x="29" y="285"/>
                  </a:lnTo>
                  <a:lnTo>
                    <a:pt x="29" y="75"/>
                  </a:lnTo>
                  <a:lnTo>
                    <a:pt x="31" y="67"/>
                  </a:lnTo>
                  <a:lnTo>
                    <a:pt x="34" y="58"/>
                  </a:lnTo>
                  <a:lnTo>
                    <a:pt x="38" y="51"/>
                  </a:lnTo>
                  <a:lnTo>
                    <a:pt x="43" y="44"/>
                  </a:lnTo>
                  <a:lnTo>
                    <a:pt x="51" y="39"/>
                  </a:lnTo>
                  <a:lnTo>
                    <a:pt x="58" y="35"/>
                  </a:lnTo>
                  <a:lnTo>
                    <a:pt x="66" y="31"/>
                  </a:lnTo>
                  <a:lnTo>
                    <a:pt x="74" y="30"/>
                  </a:lnTo>
                  <a:lnTo>
                    <a:pt x="525" y="30"/>
                  </a:lnTo>
                  <a:lnTo>
                    <a:pt x="533" y="31"/>
                  </a:lnTo>
                  <a:lnTo>
                    <a:pt x="541" y="35"/>
                  </a:lnTo>
                  <a:lnTo>
                    <a:pt x="549" y="39"/>
                  </a:lnTo>
                  <a:lnTo>
                    <a:pt x="556" y="44"/>
                  </a:lnTo>
                  <a:lnTo>
                    <a:pt x="561" y="51"/>
                  </a:lnTo>
                  <a:lnTo>
                    <a:pt x="565" y="58"/>
                  </a:lnTo>
                  <a:lnTo>
                    <a:pt x="569" y="67"/>
                  </a:lnTo>
                  <a:lnTo>
                    <a:pt x="570" y="75"/>
                  </a:lnTo>
                  <a:lnTo>
                    <a:pt x="570" y="285"/>
                  </a:lnTo>
                  <a:close/>
                  <a:moveTo>
                    <a:pt x="525" y="0"/>
                  </a:moveTo>
                  <a:lnTo>
                    <a:pt x="74" y="0"/>
                  </a:lnTo>
                  <a:lnTo>
                    <a:pt x="67" y="0"/>
                  </a:lnTo>
                  <a:lnTo>
                    <a:pt x="61" y="1"/>
                  </a:lnTo>
                  <a:lnTo>
                    <a:pt x="53" y="4"/>
                  </a:lnTo>
                  <a:lnTo>
                    <a:pt x="47" y="7"/>
                  </a:lnTo>
                  <a:lnTo>
                    <a:pt x="40" y="10"/>
                  </a:lnTo>
                  <a:lnTo>
                    <a:pt x="34" y="13"/>
                  </a:lnTo>
                  <a:lnTo>
                    <a:pt x="27" y="17"/>
                  </a:lnTo>
                  <a:lnTo>
                    <a:pt x="22" y="23"/>
                  </a:lnTo>
                  <a:lnTo>
                    <a:pt x="18" y="28"/>
                  </a:lnTo>
                  <a:lnTo>
                    <a:pt x="13" y="33"/>
                  </a:lnTo>
                  <a:lnTo>
                    <a:pt x="9" y="40"/>
                  </a:lnTo>
                  <a:lnTo>
                    <a:pt x="6" y="46"/>
                  </a:lnTo>
                  <a:lnTo>
                    <a:pt x="4" y="54"/>
                  </a:lnTo>
                  <a:lnTo>
                    <a:pt x="2" y="60"/>
                  </a:lnTo>
                  <a:lnTo>
                    <a:pt x="1" y="68"/>
                  </a:lnTo>
                  <a:lnTo>
                    <a:pt x="0" y="75"/>
                  </a:lnTo>
                  <a:lnTo>
                    <a:pt x="0" y="285"/>
                  </a:lnTo>
                  <a:lnTo>
                    <a:pt x="1" y="292"/>
                  </a:lnTo>
                  <a:lnTo>
                    <a:pt x="2" y="300"/>
                  </a:lnTo>
                  <a:lnTo>
                    <a:pt x="4" y="306"/>
                  </a:lnTo>
                  <a:lnTo>
                    <a:pt x="6" y="314"/>
                  </a:lnTo>
                  <a:lnTo>
                    <a:pt x="9" y="320"/>
                  </a:lnTo>
                  <a:lnTo>
                    <a:pt x="13" y="327"/>
                  </a:lnTo>
                  <a:lnTo>
                    <a:pt x="18" y="332"/>
                  </a:lnTo>
                  <a:lnTo>
                    <a:pt x="22" y="337"/>
                  </a:lnTo>
                  <a:lnTo>
                    <a:pt x="27" y="343"/>
                  </a:lnTo>
                  <a:lnTo>
                    <a:pt x="34" y="347"/>
                  </a:lnTo>
                  <a:lnTo>
                    <a:pt x="40" y="351"/>
                  </a:lnTo>
                  <a:lnTo>
                    <a:pt x="47" y="354"/>
                  </a:lnTo>
                  <a:lnTo>
                    <a:pt x="53" y="357"/>
                  </a:lnTo>
                  <a:lnTo>
                    <a:pt x="61" y="359"/>
                  </a:lnTo>
                  <a:lnTo>
                    <a:pt x="67" y="360"/>
                  </a:lnTo>
                  <a:lnTo>
                    <a:pt x="74" y="360"/>
                  </a:lnTo>
                  <a:lnTo>
                    <a:pt x="179" y="360"/>
                  </a:lnTo>
                  <a:lnTo>
                    <a:pt x="179" y="465"/>
                  </a:lnTo>
                  <a:lnTo>
                    <a:pt x="180" y="469"/>
                  </a:lnTo>
                  <a:lnTo>
                    <a:pt x="182" y="473"/>
                  </a:lnTo>
                  <a:lnTo>
                    <a:pt x="186" y="476"/>
                  </a:lnTo>
                  <a:lnTo>
                    <a:pt x="189" y="478"/>
                  </a:lnTo>
                  <a:lnTo>
                    <a:pt x="192" y="480"/>
                  </a:lnTo>
                  <a:lnTo>
                    <a:pt x="195" y="480"/>
                  </a:lnTo>
                  <a:lnTo>
                    <a:pt x="197" y="480"/>
                  </a:lnTo>
                  <a:lnTo>
                    <a:pt x="201" y="478"/>
                  </a:lnTo>
                  <a:lnTo>
                    <a:pt x="203" y="477"/>
                  </a:lnTo>
                  <a:lnTo>
                    <a:pt x="205" y="475"/>
                  </a:lnTo>
                  <a:lnTo>
                    <a:pt x="323" y="360"/>
                  </a:lnTo>
                  <a:lnTo>
                    <a:pt x="525" y="360"/>
                  </a:lnTo>
                  <a:lnTo>
                    <a:pt x="532" y="360"/>
                  </a:lnTo>
                  <a:lnTo>
                    <a:pt x="539" y="359"/>
                  </a:lnTo>
                  <a:lnTo>
                    <a:pt x="546" y="357"/>
                  </a:lnTo>
                  <a:lnTo>
                    <a:pt x="553" y="354"/>
                  </a:lnTo>
                  <a:lnTo>
                    <a:pt x="559" y="351"/>
                  </a:lnTo>
                  <a:lnTo>
                    <a:pt x="565" y="347"/>
                  </a:lnTo>
                  <a:lnTo>
                    <a:pt x="572" y="343"/>
                  </a:lnTo>
                  <a:lnTo>
                    <a:pt x="577" y="337"/>
                  </a:lnTo>
                  <a:lnTo>
                    <a:pt x="581" y="332"/>
                  </a:lnTo>
                  <a:lnTo>
                    <a:pt x="586" y="327"/>
                  </a:lnTo>
                  <a:lnTo>
                    <a:pt x="590" y="320"/>
                  </a:lnTo>
                  <a:lnTo>
                    <a:pt x="593" y="314"/>
                  </a:lnTo>
                  <a:lnTo>
                    <a:pt x="595" y="307"/>
                  </a:lnTo>
                  <a:lnTo>
                    <a:pt x="597" y="300"/>
                  </a:lnTo>
                  <a:lnTo>
                    <a:pt x="599" y="292"/>
                  </a:lnTo>
                  <a:lnTo>
                    <a:pt x="600" y="285"/>
                  </a:lnTo>
                  <a:lnTo>
                    <a:pt x="600" y="75"/>
                  </a:lnTo>
                  <a:lnTo>
                    <a:pt x="599" y="68"/>
                  </a:lnTo>
                  <a:lnTo>
                    <a:pt x="597" y="60"/>
                  </a:lnTo>
                  <a:lnTo>
                    <a:pt x="595" y="54"/>
                  </a:lnTo>
                  <a:lnTo>
                    <a:pt x="593" y="46"/>
                  </a:lnTo>
                  <a:lnTo>
                    <a:pt x="590" y="40"/>
                  </a:lnTo>
                  <a:lnTo>
                    <a:pt x="586" y="33"/>
                  </a:lnTo>
                  <a:lnTo>
                    <a:pt x="581" y="28"/>
                  </a:lnTo>
                  <a:lnTo>
                    <a:pt x="577" y="23"/>
                  </a:lnTo>
                  <a:lnTo>
                    <a:pt x="572" y="17"/>
                  </a:lnTo>
                  <a:lnTo>
                    <a:pt x="565" y="13"/>
                  </a:lnTo>
                  <a:lnTo>
                    <a:pt x="559" y="10"/>
                  </a:lnTo>
                  <a:lnTo>
                    <a:pt x="553" y="7"/>
                  </a:lnTo>
                  <a:lnTo>
                    <a:pt x="546" y="4"/>
                  </a:lnTo>
                  <a:lnTo>
                    <a:pt x="539" y="2"/>
                  </a:lnTo>
                  <a:lnTo>
                    <a:pt x="532" y="0"/>
                  </a:lnTo>
                  <a:lnTo>
                    <a:pt x="525" y="0"/>
                  </a:lnTo>
                  <a:lnTo>
                    <a:pt x="5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220">
              <a:extLst>
                <a:ext uri="{FF2B5EF4-FFF2-40B4-BE49-F238E27FC236}">
                  <a16:creationId xmlns:a16="http://schemas.microsoft.com/office/drawing/2014/main" id="{0ABB4363-334E-4196-92E2-51C9E2F112DA}"/>
                </a:ext>
              </a:extLst>
            </p:cNvPr>
            <p:cNvSpPr>
              <a:spLocks/>
            </p:cNvSpPr>
            <p:nvPr/>
          </p:nvSpPr>
          <p:spPr bwMode="auto">
            <a:xfrm>
              <a:off x="512763" y="1960563"/>
              <a:ext cx="11113" cy="12700"/>
            </a:xfrm>
            <a:custGeom>
              <a:avLst/>
              <a:gdLst>
                <a:gd name="T0" fmla="*/ 19 w 37"/>
                <a:gd name="T1" fmla="*/ 0 h 39"/>
                <a:gd name="T2" fmla="*/ 15 w 37"/>
                <a:gd name="T3" fmla="*/ 1 h 39"/>
                <a:gd name="T4" fmla="*/ 12 w 37"/>
                <a:gd name="T5" fmla="*/ 2 h 39"/>
                <a:gd name="T6" fmla="*/ 8 w 37"/>
                <a:gd name="T7" fmla="*/ 3 h 39"/>
                <a:gd name="T8" fmla="*/ 5 w 37"/>
                <a:gd name="T9" fmla="*/ 7 h 39"/>
                <a:gd name="T10" fmla="*/ 3 w 37"/>
                <a:gd name="T11" fmla="*/ 9 h 39"/>
                <a:gd name="T12" fmla="*/ 2 w 37"/>
                <a:gd name="T13" fmla="*/ 12 h 39"/>
                <a:gd name="T14" fmla="*/ 0 w 37"/>
                <a:gd name="T15" fmla="*/ 15 h 39"/>
                <a:gd name="T16" fmla="*/ 0 w 37"/>
                <a:gd name="T17" fmla="*/ 19 h 39"/>
                <a:gd name="T18" fmla="*/ 0 w 37"/>
                <a:gd name="T19" fmla="*/ 24 h 39"/>
                <a:gd name="T20" fmla="*/ 2 w 37"/>
                <a:gd name="T21" fmla="*/ 27 h 39"/>
                <a:gd name="T22" fmla="*/ 3 w 37"/>
                <a:gd name="T23" fmla="*/ 30 h 39"/>
                <a:gd name="T24" fmla="*/ 5 w 37"/>
                <a:gd name="T25" fmla="*/ 33 h 39"/>
                <a:gd name="T26" fmla="*/ 8 w 37"/>
                <a:gd name="T27" fmla="*/ 35 h 39"/>
                <a:gd name="T28" fmla="*/ 12 w 37"/>
                <a:gd name="T29" fmla="*/ 36 h 39"/>
                <a:gd name="T30" fmla="*/ 15 w 37"/>
                <a:gd name="T31" fmla="*/ 38 h 39"/>
                <a:gd name="T32" fmla="*/ 19 w 37"/>
                <a:gd name="T33" fmla="*/ 39 h 39"/>
                <a:gd name="T34" fmla="*/ 22 w 37"/>
                <a:gd name="T35" fmla="*/ 38 h 39"/>
                <a:gd name="T36" fmla="*/ 27 w 37"/>
                <a:gd name="T37" fmla="*/ 36 h 39"/>
                <a:gd name="T38" fmla="*/ 30 w 37"/>
                <a:gd name="T39" fmla="*/ 35 h 39"/>
                <a:gd name="T40" fmla="*/ 32 w 37"/>
                <a:gd name="T41" fmla="*/ 32 h 39"/>
                <a:gd name="T42" fmla="*/ 34 w 37"/>
                <a:gd name="T43" fmla="*/ 30 h 39"/>
                <a:gd name="T44" fmla="*/ 36 w 37"/>
                <a:gd name="T45" fmla="*/ 27 h 39"/>
                <a:gd name="T46" fmla="*/ 37 w 37"/>
                <a:gd name="T47" fmla="*/ 24 h 39"/>
                <a:gd name="T48" fmla="*/ 37 w 37"/>
                <a:gd name="T49" fmla="*/ 19 h 39"/>
                <a:gd name="T50" fmla="*/ 37 w 37"/>
                <a:gd name="T51" fmla="*/ 16 h 39"/>
                <a:gd name="T52" fmla="*/ 36 w 37"/>
                <a:gd name="T53" fmla="*/ 12 h 39"/>
                <a:gd name="T54" fmla="*/ 34 w 37"/>
                <a:gd name="T55" fmla="*/ 9 h 39"/>
                <a:gd name="T56" fmla="*/ 32 w 37"/>
                <a:gd name="T57" fmla="*/ 7 h 39"/>
                <a:gd name="T58" fmla="*/ 30 w 37"/>
                <a:gd name="T59" fmla="*/ 3 h 39"/>
                <a:gd name="T60" fmla="*/ 27 w 37"/>
                <a:gd name="T61" fmla="*/ 2 h 39"/>
                <a:gd name="T62" fmla="*/ 22 w 37"/>
                <a:gd name="T63" fmla="*/ 1 h 39"/>
                <a:gd name="T64" fmla="*/ 19 w 37"/>
                <a:gd name="T65" fmla="*/ 0 h 39"/>
                <a:gd name="T66" fmla="*/ 19 w 37"/>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39">
                  <a:moveTo>
                    <a:pt x="19" y="0"/>
                  </a:moveTo>
                  <a:lnTo>
                    <a:pt x="15" y="1"/>
                  </a:lnTo>
                  <a:lnTo>
                    <a:pt x="12" y="2"/>
                  </a:lnTo>
                  <a:lnTo>
                    <a:pt x="8" y="3"/>
                  </a:lnTo>
                  <a:lnTo>
                    <a:pt x="5" y="7"/>
                  </a:lnTo>
                  <a:lnTo>
                    <a:pt x="3" y="9"/>
                  </a:lnTo>
                  <a:lnTo>
                    <a:pt x="2" y="12"/>
                  </a:lnTo>
                  <a:lnTo>
                    <a:pt x="0" y="15"/>
                  </a:lnTo>
                  <a:lnTo>
                    <a:pt x="0" y="19"/>
                  </a:lnTo>
                  <a:lnTo>
                    <a:pt x="0" y="24"/>
                  </a:lnTo>
                  <a:lnTo>
                    <a:pt x="2" y="27"/>
                  </a:lnTo>
                  <a:lnTo>
                    <a:pt x="3" y="30"/>
                  </a:lnTo>
                  <a:lnTo>
                    <a:pt x="5" y="33"/>
                  </a:lnTo>
                  <a:lnTo>
                    <a:pt x="8" y="35"/>
                  </a:lnTo>
                  <a:lnTo>
                    <a:pt x="12" y="36"/>
                  </a:lnTo>
                  <a:lnTo>
                    <a:pt x="15" y="38"/>
                  </a:lnTo>
                  <a:lnTo>
                    <a:pt x="19" y="39"/>
                  </a:lnTo>
                  <a:lnTo>
                    <a:pt x="22" y="38"/>
                  </a:lnTo>
                  <a:lnTo>
                    <a:pt x="27" y="36"/>
                  </a:lnTo>
                  <a:lnTo>
                    <a:pt x="30" y="35"/>
                  </a:lnTo>
                  <a:lnTo>
                    <a:pt x="32" y="32"/>
                  </a:lnTo>
                  <a:lnTo>
                    <a:pt x="34" y="30"/>
                  </a:lnTo>
                  <a:lnTo>
                    <a:pt x="36" y="27"/>
                  </a:lnTo>
                  <a:lnTo>
                    <a:pt x="37" y="24"/>
                  </a:lnTo>
                  <a:lnTo>
                    <a:pt x="37" y="19"/>
                  </a:lnTo>
                  <a:lnTo>
                    <a:pt x="37" y="16"/>
                  </a:lnTo>
                  <a:lnTo>
                    <a:pt x="36" y="12"/>
                  </a:lnTo>
                  <a:lnTo>
                    <a:pt x="34" y="9"/>
                  </a:lnTo>
                  <a:lnTo>
                    <a:pt x="32" y="7"/>
                  </a:lnTo>
                  <a:lnTo>
                    <a:pt x="30" y="3"/>
                  </a:lnTo>
                  <a:lnTo>
                    <a:pt x="27" y="2"/>
                  </a:lnTo>
                  <a:lnTo>
                    <a:pt x="22" y="1"/>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0" name="Freeform 221">
              <a:extLst>
                <a:ext uri="{FF2B5EF4-FFF2-40B4-BE49-F238E27FC236}">
                  <a16:creationId xmlns:a16="http://schemas.microsoft.com/office/drawing/2014/main" id="{D171FC90-1542-48EB-A615-7533115DEACD}"/>
                </a:ext>
              </a:extLst>
            </p:cNvPr>
            <p:cNvSpPr>
              <a:spLocks/>
            </p:cNvSpPr>
            <p:nvPr/>
          </p:nvSpPr>
          <p:spPr bwMode="auto">
            <a:xfrm>
              <a:off x="541338" y="1960563"/>
              <a:ext cx="12700" cy="12700"/>
            </a:xfrm>
            <a:custGeom>
              <a:avLst/>
              <a:gdLst>
                <a:gd name="T0" fmla="*/ 19 w 39"/>
                <a:gd name="T1" fmla="*/ 0 h 39"/>
                <a:gd name="T2" fmla="*/ 16 w 39"/>
                <a:gd name="T3" fmla="*/ 1 h 39"/>
                <a:gd name="T4" fmla="*/ 12 w 39"/>
                <a:gd name="T5" fmla="*/ 2 h 39"/>
                <a:gd name="T6" fmla="*/ 9 w 39"/>
                <a:gd name="T7" fmla="*/ 3 h 39"/>
                <a:gd name="T8" fmla="*/ 6 w 39"/>
                <a:gd name="T9" fmla="*/ 7 h 39"/>
                <a:gd name="T10" fmla="*/ 3 w 39"/>
                <a:gd name="T11" fmla="*/ 9 h 39"/>
                <a:gd name="T12" fmla="*/ 2 w 39"/>
                <a:gd name="T13" fmla="*/ 12 h 39"/>
                <a:gd name="T14" fmla="*/ 1 w 39"/>
                <a:gd name="T15" fmla="*/ 15 h 39"/>
                <a:gd name="T16" fmla="*/ 0 w 39"/>
                <a:gd name="T17" fmla="*/ 19 h 39"/>
                <a:gd name="T18" fmla="*/ 1 w 39"/>
                <a:gd name="T19" fmla="*/ 24 h 39"/>
                <a:gd name="T20" fmla="*/ 2 w 39"/>
                <a:gd name="T21" fmla="*/ 27 h 39"/>
                <a:gd name="T22" fmla="*/ 3 w 39"/>
                <a:gd name="T23" fmla="*/ 30 h 39"/>
                <a:gd name="T24" fmla="*/ 6 w 39"/>
                <a:gd name="T25" fmla="*/ 33 h 39"/>
                <a:gd name="T26" fmla="*/ 9 w 39"/>
                <a:gd name="T27" fmla="*/ 35 h 39"/>
                <a:gd name="T28" fmla="*/ 12 w 39"/>
                <a:gd name="T29" fmla="*/ 36 h 39"/>
                <a:gd name="T30" fmla="*/ 16 w 39"/>
                <a:gd name="T31" fmla="*/ 38 h 39"/>
                <a:gd name="T32" fmla="*/ 19 w 39"/>
                <a:gd name="T33" fmla="*/ 39 h 39"/>
                <a:gd name="T34" fmla="*/ 24 w 39"/>
                <a:gd name="T35" fmla="*/ 38 h 39"/>
                <a:gd name="T36" fmla="*/ 27 w 39"/>
                <a:gd name="T37" fmla="*/ 36 h 39"/>
                <a:gd name="T38" fmla="*/ 30 w 39"/>
                <a:gd name="T39" fmla="*/ 35 h 39"/>
                <a:gd name="T40" fmla="*/ 33 w 39"/>
                <a:gd name="T41" fmla="*/ 32 h 39"/>
                <a:gd name="T42" fmla="*/ 35 w 39"/>
                <a:gd name="T43" fmla="*/ 30 h 39"/>
                <a:gd name="T44" fmla="*/ 36 w 39"/>
                <a:gd name="T45" fmla="*/ 27 h 39"/>
                <a:gd name="T46" fmla="*/ 38 w 39"/>
                <a:gd name="T47" fmla="*/ 24 h 39"/>
                <a:gd name="T48" fmla="*/ 39 w 39"/>
                <a:gd name="T49" fmla="*/ 19 h 39"/>
                <a:gd name="T50" fmla="*/ 38 w 39"/>
                <a:gd name="T51" fmla="*/ 16 h 39"/>
                <a:gd name="T52" fmla="*/ 36 w 39"/>
                <a:gd name="T53" fmla="*/ 12 h 39"/>
                <a:gd name="T54" fmla="*/ 35 w 39"/>
                <a:gd name="T55" fmla="*/ 9 h 39"/>
                <a:gd name="T56" fmla="*/ 33 w 39"/>
                <a:gd name="T57" fmla="*/ 7 h 39"/>
                <a:gd name="T58" fmla="*/ 30 w 39"/>
                <a:gd name="T59" fmla="*/ 3 h 39"/>
                <a:gd name="T60" fmla="*/ 27 w 39"/>
                <a:gd name="T61" fmla="*/ 2 h 39"/>
                <a:gd name="T62" fmla="*/ 24 w 39"/>
                <a:gd name="T63" fmla="*/ 1 h 39"/>
                <a:gd name="T64" fmla="*/ 19 w 39"/>
                <a:gd name="T65" fmla="*/ 0 h 39"/>
                <a:gd name="T66" fmla="*/ 19 w 3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39">
                  <a:moveTo>
                    <a:pt x="19" y="0"/>
                  </a:moveTo>
                  <a:lnTo>
                    <a:pt x="16" y="1"/>
                  </a:lnTo>
                  <a:lnTo>
                    <a:pt x="12" y="2"/>
                  </a:lnTo>
                  <a:lnTo>
                    <a:pt x="9" y="3"/>
                  </a:lnTo>
                  <a:lnTo>
                    <a:pt x="6" y="7"/>
                  </a:lnTo>
                  <a:lnTo>
                    <a:pt x="3" y="9"/>
                  </a:lnTo>
                  <a:lnTo>
                    <a:pt x="2" y="12"/>
                  </a:lnTo>
                  <a:lnTo>
                    <a:pt x="1" y="15"/>
                  </a:lnTo>
                  <a:lnTo>
                    <a:pt x="0" y="19"/>
                  </a:lnTo>
                  <a:lnTo>
                    <a:pt x="1" y="24"/>
                  </a:lnTo>
                  <a:lnTo>
                    <a:pt x="2" y="27"/>
                  </a:lnTo>
                  <a:lnTo>
                    <a:pt x="3" y="30"/>
                  </a:lnTo>
                  <a:lnTo>
                    <a:pt x="6" y="33"/>
                  </a:lnTo>
                  <a:lnTo>
                    <a:pt x="9" y="35"/>
                  </a:lnTo>
                  <a:lnTo>
                    <a:pt x="12" y="36"/>
                  </a:lnTo>
                  <a:lnTo>
                    <a:pt x="16" y="38"/>
                  </a:lnTo>
                  <a:lnTo>
                    <a:pt x="19" y="39"/>
                  </a:lnTo>
                  <a:lnTo>
                    <a:pt x="24" y="38"/>
                  </a:lnTo>
                  <a:lnTo>
                    <a:pt x="27" y="36"/>
                  </a:lnTo>
                  <a:lnTo>
                    <a:pt x="30" y="35"/>
                  </a:lnTo>
                  <a:lnTo>
                    <a:pt x="33" y="32"/>
                  </a:lnTo>
                  <a:lnTo>
                    <a:pt x="35" y="30"/>
                  </a:lnTo>
                  <a:lnTo>
                    <a:pt x="36" y="27"/>
                  </a:lnTo>
                  <a:lnTo>
                    <a:pt x="38" y="24"/>
                  </a:lnTo>
                  <a:lnTo>
                    <a:pt x="39" y="19"/>
                  </a:lnTo>
                  <a:lnTo>
                    <a:pt x="38" y="16"/>
                  </a:lnTo>
                  <a:lnTo>
                    <a:pt x="36" y="12"/>
                  </a:lnTo>
                  <a:lnTo>
                    <a:pt x="35" y="9"/>
                  </a:lnTo>
                  <a:lnTo>
                    <a:pt x="33" y="7"/>
                  </a:lnTo>
                  <a:lnTo>
                    <a:pt x="30" y="3"/>
                  </a:lnTo>
                  <a:lnTo>
                    <a:pt x="27" y="2"/>
                  </a:lnTo>
                  <a:lnTo>
                    <a:pt x="24" y="1"/>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222">
              <a:extLst>
                <a:ext uri="{FF2B5EF4-FFF2-40B4-BE49-F238E27FC236}">
                  <a16:creationId xmlns:a16="http://schemas.microsoft.com/office/drawing/2014/main" id="{2AD71188-C868-4965-9A0D-9C6DA62A8091}"/>
                </a:ext>
              </a:extLst>
            </p:cNvPr>
            <p:cNvSpPr>
              <a:spLocks/>
            </p:cNvSpPr>
            <p:nvPr/>
          </p:nvSpPr>
          <p:spPr bwMode="auto">
            <a:xfrm>
              <a:off x="482600" y="1960563"/>
              <a:ext cx="11113" cy="12700"/>
            </a:xfrm>
            <a:custGeom>
              <a:avLst/>
              <a:gdLst>
                <a:gd name="T0" fmla="*/ 18 w 37"/>
                <a:gd name="T1" fmla="*/ 0 h 39"/>
                <a:gd name="T2" fmla="*/ 15 w 37"/>
                <a:gd name="T3" fmla="*/ 1 h 39"/>
                <a:gd name="T4" fmla="*/ 12 w 37"/>
                <a:gd name="T5" fmla="*/ 2 h 39"/>
                <a:gd name="T6" fmla="*/ 8 w 37"/>
                <a:gd name="T7" fmla="*/ 3 h 39"/>
                <a:gd name="T8" fmla="*/ 5 w 37"/>
                <a:gd name="T9" fmla="*/ 7 h 39"/>
                <a:gd name="T10" fmla="*/ 3 w 37"/>
                <a:gd name="T11" fmla="*/ 9 h 39"/>
                <a:gd name="T12" fmla="*/ 1 w 37"/>
                <a:gd name="T13" fmla="*/ 12 h 39"/>
                <a:gd name="T14" fmla="*/ 0 w 37"/>
                <a:gd name="T15" fmla="*/ 15 h 39"/>
                <a:gd name="T16" fmla="*/ 0 w 37"/>
                <a:gd name="T17" fmla="*/ 19 h 39"/>
                <a:gd name="T18" fmla="*/ 0 w 37"/>
                <a:gd name="T19" fmla="*/ 24 h 39"/>
                <a:gd name="T20" fmla="*/ 1 w 37"/>
                <a:gd name="T21" fmla="*/ 27 h 39"/>
                <a:gd name="T22" fmla="*/ 3 w 37"/>
                <a:gd name="T23" fmla="*/ 30 h 39"/>
                <a:gd name="T24" fmla="*/ 5 w 37"/>
                <a:gd name="T25" fmla="*/ 33 h 39"/>
                <a:gd name="T26" fmla="*/ 8 w 37"/>
                <a:gd name="T27" fmla="*/ 35 h 39"/>
                <a:gd name="T28" fmla="*/ 12 w 37"/>
                <a:gd name="T29" fmla="*/ 36 h 39"/>
                <a:gd name="T30" fmla="*/ 15 w 37"/>
                <a:gd name="T31" fmla="*/ 38 h 39"/>
                <a:gd name="T32" fmla="*/ 18 w 37"/>
                <a:gd name="T33" fmla="*/ 39 h 39"/>
                <a:gd name="T34" fmla="*/ 22 w 37"/>
                <a:gd name="T35" fmla="*/ 38 h 39"/>
                <a:gd name="T36" fmla="*/ 25 w 37"/>
                <a:gd name="T37" fmla="*/ 36 h 39"/>
                <a:gd name="T38" fmla="*/ 29 w 37"/>
                <a:gd name="T39" fmla="*/ 35 h 39"/>
                <a:gd name="T40" fmla="*/ 32 w 37"/>
                <a:gd name="T41" fmla="*/ 32 h 39"/>
                <a:gd name="T42" fmla="*/ 34 w 37"/>
                <a:gd name="T43" fmla="*/ 30 h 39"/>
                <a:gd name="T44" fmla="*/ 36 w 37"/>
                <a:gd name="T45" fmla="*/ 27 h 39"/>
                <a:gd name="T46" fmla="*/ 37 w 37"/>
                <a:gd name="T47" fmla="*/ 24 h 39"/>
                <a:gd name="T48" fmla="*/ 37 w 37"/>
                <a:gd name="T49" fmla="*/ 19 h 39"/>
                <a:gd name="T50" fmla="*/ 37 w 37"/>
                <a:gd name="T51" fmla="*/ 16 h 39"/>
                <a:gd name="T52" fmla="*/ 36 w 37"/>
                <a:gd name="T53" fmla="*/ 12 h 39"/>
                <a:gd name="T54" fmla="*/ 34 w 37"/>
                <a:gd name="T55" fmla="*/ 9 h 39"/>
                <a:gd name="T56" fmla="*/ 32 w 37"/>
                <a:gd name="T57" fmla="*/ 7 h 39"/>
                <a:gd name="T58" fmla="*/ 29 w 37"/>
                <a:gd name="T59" fmla="*/ 3 h 39"/>
                <a:gd name="T60" fmla="*/ 25 w 37"/>
                <a:gd name="T61" fmla="*/ 2 h 39"/>
                <a:gd name="T62" fmla="*/ 22 w 37"/>
                <a:gd name="T63" fmla="*/ 1 h 39"/>
                <a:gd name="T64" fmla="*/ 18 w 37"/>
                <a:gd name="T65" fmla="*/ 0 h 39"/>
                <a:gd name="T66" fmla="*/ 18 w 37"/>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39">
                  <a:moveTo>
                    <a:pt x="18" y="0"/>
                  </a:moveTo>
                  <a:lnTo>
                    <a:pt x="15" y="1"/>
                  </a:lnTo>
                  <a:lnTo>
                    <a:pt x="12" y="2"/>
                  </a:lnTo>
                  <a:lnTo>
                    <a:pt x="8" y="3"/>
                  </a:lnTo>
                  <a:lnTo>
                    <a:pt x="5" y="7"/>
                  </a:lnTo>
                  <a:lnTo>
                    <a:pt x="3" y="9"/>
                  </a:lnTo>
                  <a:lnTo>
                    <a:pt x="1" y="12"/>
                  </a:lnTo>
                  <a:lnTo>
                    <a:pt x="0" y="15"/>
                  </a:lnTo>
                  <a:lnTo>
                    <a:pt x="0" y="19"/>
                  </a:lnTo>
                  <a:lnTo>
                    <a:pt x="0" y="24"/>
                  </a:lnTo>
                  <a:lnTo>
                    <a:pt x="1" y="27"/>
                  </a:lnTo>
                  <a:lnTo>
                    <a:pt x="3" y="30"/>
                  </a:lnTo>
                  <a:lnTo>
                    <a:pt x="5" y="33"/>
                  </a:lnTo>
                  <a:lnTo>
                    <a:pt x="8" y="35"/>
                  </a:lnTo>
                  <a:lnTo>
                    <a:pt x="12" y="36"/>
                  </a:lnTo>
                  <a:lnTo>
                    <a:pt x="15" y="38"/>
                  </a:lnTo>
                  <a:lnTo>
                    <a:pt x="18" y="39"/>
                  </a:lnTo>
                  <a:lnTo>
                    <a:pt x="22" y="38"/>
                  </a:lnTo>
                  <a:lnTo>
                    <a:pt x="25" y="36"/>
                  </a:lnTo>
                  <a:lnTo>
                    <a:pt x="29" y="35"/>
                  </a:lnTo>
                  <a:lnTo>
                    <a:pt x="32" y="32"/>
                  </a:lnTo>
                  <a:lnTo>
                    <a:pt x="34" y="30"/>
                  </a:lnTo>
                  <a:lnTo>
                    <a:pt x="36" y="27"/>
                  </a:lnTo>
                  <a:lnTo>
                    <a:pt x="37" y="24"/>
                  </a:lnTo>
                  <a:lnTo>
                    <a:pt x="37" y="19"/>
                  </a:lnTo>
                  <a:lnTo>
                    <a:pt x="37" y="16"/>
                  </a:lnTo>
                  <a:lnTo>
                    <a:pt x="36" y="12"/>
                  </a:lnTo>
                  <a:lnTo>
                    <a:pt x="34" y="9"/>
                  </a:lnTo>
                  <a:lnTo>
                    <a:pt x="32" y="7"/>
                  </a:lnTo>
                  <a:lnTo>
                    <a:pt x="29" y="3"/>
                  </a:lnTo>
                  <a:lnTo>
                    <a:pt x="25" y="2"/>
                  </a:lnTo>
                  <a:lnTo>
                    <a:pt x="22"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2" name="Freeform 223">
              <a:extLst>
                <a:ext uri="{FF2B5EF4-FFF2-40B4-BE49-F238E27FC236}">
                  <a16:creationId xmlns:a16="http://schemas.microsoft.com/office/drawing/2014/main" id="{CCC6A9C3-EF5F-4771-8602-6A22D383441F}"/>
                </a:ext>
              </a:extLst>
            </p:cNvPr>
            <p:cNvSpPr>
              <a:spLocks noEditPoints="1"/>
            </p:cNvSpPr>
            <p:nvPr/>
          </p:nvSpPr>
          <p:spPr bwMode="auto">
            <a:xfrm>
              <a:off x="387350" y="2154238"/>
              <a:ext cx="22225" cy="20638"/>
            </a:xfrm>
            <a:custGeom>
              <a:avLst/>
              <a:gdLst>
                <a:gd name="T0" fmla="*/ 30 w 68"/>
                <a:gd name="T1" fmla="*/ 34 h 68"/>
                <a:gd name="T2" fmla="*/ 30 w 68"/>
                <a:gd name="T3" fmla="*/ 32 h 68"/>
                <a:gd name="T4" fmla="*/ 31 w 68"/>
                <a:gd name="T5" fmla="*/ 31 h 68"/>
                <a:gd name="T6" fmla="*/ 32 w 68"/>
                <a:gd name="T7" fmla="*/ 30 h 68"/>
                <a:gd name="T8" fmla="*/ 35 w 68"/>
                <a:gd name="T9" fmla="*/ 30 h 68"/>
                <a:gd name="T10" fmla="*/ 36 w 68"/>
                <a:gd name="T11" fmla="*/ 30 h 68"/>
                <a:gd name="T12" fmla="*/ 37 w 68"/>
                <a:gd name="T13" fmla="*/ 31 h 68"/>
                <a:gd name="T14" fmla="*/ 38 w 68"/>
                <a:gd name="T15" fmla="*/ 32 h 68"/>
                <a:gd name="T16" fmla="*/ 38 w 68"/>
                <a:gd name="T17" fmla="*/ 34 h 68"/>
                <a:gd name="T18" fmla="*/ 38 w 68"/>
                <a:gd name="T19" fmla="*/ 35 h 68"/>
                <a:gd name="T20" fmla="*/ 37 w 68"/>
                <a:gd name="T21" fmla="*/ 36 h 68"/>
                <a:gd name="T22" fmla="*/ 36 w 68"/>
                <a:gd name="T23" fmla="*/ 37 h 68"/>
                <a:gd name="T24" fmla="*/ 35 w 68"/>
                <a:gd name="T25" fmla="*/ 37 h 68"/>
                <a:gd name="T26" fmla="*/ 32 w 68"/>
                <a:gd name="T27" fmla="*/ 37 h 68"/>
                <a:gd name="T28" fmla="*/ 31 w 68"/>
                <a:gd name="T29" fmla="*/ 36 h 68"/>
                <a:gd name="T30" fmla="*/ 30 w 68"/>
                <a:gd name="T31" fmla="*/ 35 h 68"/>
                <a:gd name="T32" fmla="*/ 30 w 68"/>
                <a:gd name="T33" fmla="*/ 34 h 68"/>
                <a:gd name="T34" fmla="*/ 35 w 68"/>
                <a:gd name="T35" fmla="*/ 0 h 68"/>
                <a:gd name="T36" fmla="*/ 27 w 68"/>
                <a:gd name="T37" fmla="*/ 1 h 68"/>
                <a:gd name="T38" fmla="*/ 21 w 68"/>
                <a:gd name="T39" fmla="*/ 3 h 68"/>
                <a:gd name="T40" fmla="*/ 15 w 68"/>
                <a:gd name="T41" fmla="*/ 6 h 68"/>
                <a:gd name="T42" fmla="*/ 10 w 68"/>
                <a:gd name="T43" fmla="*/ 9 h 68"/>
                <a:gd name="T44" fmla="*/ 6 w 68"/>
                <a:gd name="T45" fmla="*/ 15 h 68"/>
                <a:gd name="T46" fmla="*/ 2 w 68"/>
                <a:gd name="T47" fmla="*/ 21 h 68"/>
                <a:gd name="T48" fmla="*/ 0 w 68"/>
                <a:gd name="T49" fmla="*/ 27 h 68"/>
                <a:gd name="T50" fmla="*/ 0 w 68"/>
                <a:gd name="T51" fmla="*/ 34 h 68"/>
                <a:gd name="T52" fmla="*/ 0 w 68"/>
                <a:gd name="T53" fmla="*/ 40 h 68"/>
                <a:gd name="T54" fmla="*/ 2 w 68"/>
                <a:gd name="T55" fmla="*/ 47 h 68"/>
                <a:gd name="T56" fmla="*/ 6 w 68"/>
                <a:gd name="T57" fmla="*/ 53 h 68"/>
                <a:gd name="T58" fmla="*/ 10 w 68"/>
                <a:gd name="T59" fmla="*/ 58 h 68"/>
                <a:gd name="T60" fmla="*/ 15 w 68"/>
                <a:gd name="T61" fmla="*/ 62 h 68"/>
                <a:gd name="T62" fmla="*/ 21 w 68"/>
                <a:gd name="T63" fmla="*/ 65 h 68"/>
                <a:gd name="T64" fmla="*/ 27 w 68"/>
                <a:gd name="T65" fmla="*/ 67 h 68"/>
                <a:gd name="T66" fmla="*/ 35 w 68"/>
                <a:gd name="T67" fmla="*/ 68 h 68"/>
                <a:gd name="T68" fmla="*/ 41 w 68"/>
                <a:gd name="T69" fmla="*/ 67 h 68"/>
                <a:gd name="T70" fmla="*/ 47 w 68"/>
                <a:gd name="T71" fmla="*/ 65 h 68"/>
                <a:gd name="T72" fmla="*/ 53 w 68"/>
                <a:gd name="T73" fmla="*/ 62 h 68"/>
                <a:gd name="T74" fmla="*/ 58 w 68"/>
                <a:gd name="T75" fmla="*/ 58 h 68"/>
                <a:gd name="T76" fmla="*/ 62 w 68"/>
                <a:gd name="T77" fmla="*/ 53 h 68"/>
                <a:gd name="T78" fmla="*/ 66 w 68"/>
                <a:gd name="T79" fmla="*/ 47 h 68"/>
                <a:gd name="T80" fmla="*/ 68 w 68"/>
                <a:gd name="T81" fmla="*/ 40 h 68"/>
                <a:gd name="T82" fmla="*/ 68 w 68"/>
                <a:gd name="T83" fmla="*/ 34 h 68"/>
                <a:gd name="T84" fmla="*/ 68 w 68"/>
                <a:gd name="T85" fmla="*/ 27 h 68"/>
                <a:gd name="T86" fmla="*/ 66 w 68"/>
                <a:gd name="T87" fmla="*/ 21 h 68"/>
                <a:gd name="T88" fmla="*/ 62 w 68"/>
                <a:gd name="T89" fmla="*/ 15 h 68"/>
                <a:gd name="T90" fmla="*/ 58 w 68"/>
                <a:gd name="T91" fmla="*/ 9 h 68"/>
                <a:gd name="T92" fmla="*/ 53 w 68"/>
                <a:gd name="T93" fmla="*/ 6 h 68"/>
                <a:gd name="T94" fmla="*/ 47 w 68"/>
                <a:gd name="T95" fmla="*/ 3 h 68"/>
                <a:gd name="T96" fmla="*/ 41 w 68"/>
                <a:gd name="T97" fmla="*/ 1 h 68"/>
                <a:gd name="T98" fmla="*/ 35 w 68"/>
                <a:gd name="T99" fmla="*/ 0 h 68"/>
                <a:gd name="T100" fmla="*/ 35 w 68"/>
                <a:gd name="T10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68">
                  <a:moveTo>
                    <a:pt x="30" y="34"/>
                  </a:moveTo>
                  <a:lnTo>
                    <a:pt x="30" y="32"/>
                  </a:lnTo>
                  <a:lnTo>
                    <a:pt x="31" y="31"/>
                  </a:lnTo>
                  <a:lnTo>
                    <a:pt x="32" y="30"/>
                  </a:lnTo>
                  <a:lnTo>
                    <a:pt x="35" y="30"/>
                  </a:lnTo>
                  <a:lnTo>
                    <a:pt x="36" y="30"/>
                  </a:lnTo>
                  <a:lnTo>
                    <a:pt x="37" y="31"/>
                  </a:lnTo>
                  <a:lnTo>
                    <a:pt x="38" y="32"/>
                  </a:lnTo>
                  <a:lnTo>
                    <a:pt x="38" y="34"/>
                  </a:lnTo>
                  <a:lnTo>
                    <a:pt x="38" y="35"/>
                  </a:lnTo>
                  <a:lnTo>
                    <a:pt x="37" y="36"/>
                  </a:lnTo>
                  <a:lnTo>
                    <a:pt x="36" y="37"/>
                  </a:lnTo>
                  <a:lnTo>
                    <a:pt x="35" y="37"/>
                  </a:lnTo>
                  <a:lnTo>
                    <a:pt x="32" y="37"/>
                  </a:lnTo>
                  <a:lnTo>
                    <a:pt x="31" y="36"/>
                  </a:lnTo>
                  <a:lnTo>
                    <a:pt x="30" y="35"/>
                  </a:lnTo>
                  <a:lnTo>
                    <a:pt x="30" y="34"/>
                  </a:lnTo>
                  <a:close/>
                  <a:moveTo>
                    <a:pt x="35" y="0"/>
                  </a:moveTo>
                  <a:lnTo>
                    <a:pt x="27" y="1"/>
                  </a:lnTo>
                  <a:lnTo>
                    <a:pt x="21" y="3"/>
                  </a:lnTo>
                  <a:lnTo>
                    <a:pt x="15" y="6"/>
                  </a:lnTo>
                  <a:lnTo>
                    <a:pt x="10" y="9"/>
                  </a:lnTo>
                  <a:lnTo>
                    <a:pt x="6" y="15"/>
                  </a:lnTo>
                  <a:lnTo>
                    <a:pt x="2" y="21"/>
                  </a:lnTo>
                  <a:lnTo>
                    <a:pt x="0" y="27"/>
                  </a:lnTo>
                  <a:lnTo>
                    <a:pt x="0" y="34"/>
                  </a:lnTo>
                  <a:lnTo>
                    <a:pt x="0" y="40"/>
                  </a:lnTo>
                  <a:lnTo>
                    <a:pt x="2" y="47"/>
                  </a:lnTo>
                  <a:lnTo>
                    <a:pt x="6" y="53"/>
                  </a:lnTo>
                  <a:lnTo>
                    <a:pt x="10" y="58"/>
                  </a:lnTo>
                  <a:lnTo>
                    <a:pt x="15" y="62"/>
                  </a:lnTo>
                  <a:lnTo>
                    <a:pt x="21" y="65"/>
                  </a:lnTo>
                  <a:lnTo>
                    <a:pt x="27" y="67"/>
                  </a:lnTo>
                  <a:lnTo>
                    <a:pt x="35" y="68"/>
                  </a:lnTo>
                  <a:lnTo>
                    <a:pt x="41" y="67"/>
                  </a:lnTo>
                  <a:lnTo>
                    <a:pt x="47" y="65"/>
                  </a:lnTo>
                  <a:lnTo>
                    <a:pt x="53" y="62"/>
                  </a:lnTo>
                  <a:lnTo>
                    <a:pt x="58" y="58"/>
                  </a:lnTo>
                  <a:lnTo>
                    <a:pt x="62" y="53"/>
                  </a:lnTo>
                  <a:lnTo>
                    <a:pt x="66" y="47"/>
                  </a:lnTo>
                  <a:lnTo>
                    <a:pt x="68" y="40"/>
                  </a:lnTo>
                  <a:lnTo>
                    <a:pt x="68" y="34"/>
                  </a:lnTo>
                  <a:lnTo>
                    <a:pt x="68" y="27"/>
                  </a:lnTo>
                  <a:lnTo>
                    <a:pt x="66" y="21"/>
                  </a:lnTo>
                  <a:lnTo>
                    <a:pt x="62" y="15"/>
                  </a:lnTo>
                  <a:lnTo>
                    <a:pt x="58" y="9"/>
                  </a:lnTo>
                  <a:lnTo>
                    <a:pt x="53" y="6"/>
                  </a:lnTo>
                  <a:lnTo>
                    <a:pt x="47" y="3"/>
                  </a:lnTo>
                  <a:lnTo>
                    <a:pt x="41"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45" name="Group 1639">
            <a:extLst>
              <a:ext uri="{FF2B5EF4-FFF2-40B4-BE49-F238E27FC236}">
                <a16:creationId xmlns:a16="http://schemas.microsoft.com/office/drawing/2014/main" id="{9385425A-49D4-4313-95E6-6E927F96E4A3}"/>
              </a:ext>
            </a:extLst>
          </p:cNvPr>
          <p:cNvGrpSpPr>
            <a:grpSpLocks noChangeAspect="1"/>
          </p:cNvGrpSpPr>
          <p:nvPr/>
        </p:nvGrpSpPr>
        <p:grpSpPr>
          <a:xfrm>
            <a:off x="6609138" y="5432899"/>
            <a:ext cx="305900" cy="254974"/>
            <a:chOff x="9498013" y="1716088"/>
            <a:chExt cx="1279525" cy="1173162"/>
          </a:xfrm>
          <a:solidFill>
            <a:schemeClr val="bg2"/>
          </a:solidFill>
          <a:effectLst/>
        </p:grpSpPr>
        <p:sp>
          <p:nvSpPr>
            <p:cNvPr id="1946" name="Freeform 17">
              <a:extLst>
                <a:ext uri="{FF2B5EF4-FFF2-40B4-BE49-F238E27FC236}">
                  <a16:creationId xmlns:a16="http://schemas.microsoft.com/office/drawing/2014/main" id="{5A6833CB-DEB3-4C24-8173-2AAB2C285804}"/>
                </a:ext>
              </a:extLst>
            </p:cNvPr>
            <p:cNvSpPr>
              <a:spLocks noEditPoints="1"/>
            </p:cNvSpPr>
            <p:nvPr/>
          </p:nvSpPr>
          <p:spPr bwMode="auto">
            <a:xfrm>
              <a:off x="9498013" y="1716088"/>
              <a:ext cx="1279525" cy="1014413"/>
            </a:xfrm>
            <a:custGeom>
              <a:avLst/>
              <a:gdLst>
                <a:gd name="T0" fmla="*/ 310 w 338"/>
                <a:gd name="T1" fmla="*/ 268 h 268"/>
                <a:gd name="T2" fmla="*/ 28 w 338"/>
                <a:gd name="T3" fmla="*/ 268 h 268"/>
                <a:gd name="T4" fmla="*/ 0 w 338"/>
                <a:gd name="T5" fmla="*/ 239 h 268"/>
                <a:gd name="T6" fmla="*/ 0 w 338"/>
                <a:gd name="T7" fmla="*/ 28 h 268"/>
                <a:gd name="T8" fmla="*/ 28 w 338"/>
                <a:gd name="T9" fmla="*/ 0 h 268"/>
                <a:gd name="T10" fmla="*/ 310 w 338"/>
                <a:gd name="T11" fmla="*/ 0 h 268"/>
                <a:gd name="T12" fmla="*/ 338 w 338"/>
                <a:gd name="T13" fmla="*/ 28 h 268"/>
                <a:gd name="T14" fmla="*/ 338 w 338"/>
                <a:gd name="T15" fmla="*/ 239 h 268"/>
                <a:gd name="T16" fmla="*/ 310 w 338"/>
                <a:gd name="T17" fmla="*/ 268 h 268"/>
                <a:gd name="T18" fmla="*/ 28 w 338"/>
                <a:gd name="T19" fmla="*/ 14 h 268"/>
                <a:gd name="T20" fmla="*/ 14 w 338"/>
                <a:gd name="T21" fmla="*/ 28 h 268"/>
                <a:gd name="T22" fmla="*/ 14 w 338"/>
                <a:gd name="T23" fmla="*/ 239 h 268"/>
                <a:gd name="T24" fmla="*/ 28 w 338"/>
                <a:gd name="T25" fmla="*/ 253 h 268"/>
                <a:gd name="T26" fmla="*/ 310 w 338"/>
                <a:gd name="T27" fmla="*/ 253 h 268"/>
                <a:gd name="T28" fmla="*/ 324 w 338"/>
                <a:gd name="T29" fmla="*/ 239 h 268"/>
                <a:gd name="T30" fmla="*/ 324 w 338"/>
                <a:gd name="T31" fmla="*/ 28 h 268"/>
                <a:gd name="T32" fmla="*/ 310 w 338"/>
                <a:gd name="T33" fmla="*/ 14 h 268"/>
                <a:gd name="T34" fmla="*/ 28 w 338"/>
                <a:gd name="T35" fmla="*/ 1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268">
                  <a:moveTo>
                    <a:pt x="310" y="268"/>
                  </a:moveTo>
                  <a:cubicBezTo>
                    <a:pt x="28" y="268"/>
                    <a:pt x="28" y="268"/>
                    <a:pt x="28" y="268"/>
                  </a:cubicBezTo>
                  <a:cubicBezTo>
                    <a:pt x="13" y="268"/>
                    <a:pt x="0" y="255"/>
                    <a:pt x="0" y="239"/>
                  </a:cubicBezTo>
                  <a:cubicBezTo>
                    <a:pt x="0" y="28"/>
                    <a:pt x="0" y="28"/>
                    <a:pt x="0" y="28"/>
                  </a:cubicBezTo>
                  <a:cubicBezTo>
                    <a:pt x="0" y="13"/>
                    <a:pt x="13" y="0"/>
                    <a:pt x="28" y="0"/>
                  </a:cubicBezTo>
                  <a:cubicBezTo>
                    <a:pt x="310" y="0"/>
                    <a:pt x="310" y="0"/>
                    <a:pt x="310" y="0"/>
                  </a:cubicBezTo>
                  <a:cubicBezTo>
                    <a:pt x="325" y="0"/>
                    <a:pt x="338" y="13"/>
                    <a:pt x="338" y="28"/>
                  </a:cubicBezTo>
                  <a:cubicBezTo>
                    <a:pt x="338" y="239"/>
                    <a:pt x="338" y="239"/>
                    <a:pt x="338" y="239"/>
                  </a:cubicBezTo>
                  <a:cubicBezTo>
                    <a:pt x="338" y="255"/>
                    <a:pt x="325" y="268"/>
                    <a:pt x="310" y="268"/>
                  </a:cubicBezTo>
                  <a:close/>
                  <a:moveTo>
                    <a:pt x="28" y="14"/>
                  </a:moveTo>
                  <a:cubicBezTo>
                    <a:pt x="20" y="14"/>
                    <a:pt x="14" y="20"/>
                    <a:pt x="14" y="28"/>
                  </a:cubicBezTo>
                  <a:cubicBezTo>
                    <a:pt x="14" y="239"/>
                    <a:pt x="14" y="239"/>
                    <a:pt x="14" y="239"/>
                  </a:cubicBezTo>
                  <a:cubicBezTo>
                    <a:pt x="14" y="247"/>
                    <a:pt x="20" y="253"/>
                    <a:pt x="28" y="253"/>
                  </a:cubicBezTo>
                  <a:cubicBezTo>
                    <a:pt x="310" y="253"/>
                    <a:pt x="310" y="253"/>
                    <a:pt x="310" y="253"/>
                  </a:cubicBezTo>
                  <a:cubicBezTo>
                    <a:pt x="318" y="253"/>
                    <a:pt x="324" y="247"/>
                    <a:pt x="324" y="239"/>
                  </a:cubicBezTo>
                  <a:cubicBezTo>
                    <a:pt x="324" y="28"/>
                    <a:pt x="324" y="28"/>
                    <a:pt x="324" y="28"/>
                  </a:cubicBezTo>
                  <a:cubicBezTo>
                    <a:pt x="324" y="20"/>
                    <a:pt x="318" y="14"/>
                    <a:pt x="310" y="14"/>
                  </a:cubicBezTo>
                  <a:lnTo>
                    <a:pt x="28"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7" name="Freeform 18">
              <a:extLst>
                <a:ext uri="{FF2B5EF4-FFF2-40B4-BE49-F238E27FC236}">
                  <a16:creationId xmlns:a16="http://schemas.microsoft.com/office/drawing/2014/main" id="{EA73E90C-080D-4A71-A28C-C34A7766A7EA}"/>
                </a:ext>
              </a:extLst>
            </p:cNvPr>
            <p:cNvSpPr>
              <a:spLocks/>
            </p:cNvSpPr>
            <p:nvPr/>
          </p:nvSpPr>
          <p:spPr bwMode="auto">
            <a:xfrm>
              <a:off x="9736138" y="2835275"/>
              <a:ext cx="803275" cy="53975"/>
            </a:xfrm>
            <a:custGeom>
              <a:avLst/>
              <a:gdLst>
                <a:gd name="T0" fmla="*/ 205 w 212"/>
                <a:gd name="T1" fmla="*/ 14 h 14"/>
                <a:gd name="T2" fmla="*/ 7 w 212"/>
                <a:gd name="T3" fmla="*/ 14 h 14"/>
                <a:gd name="T4" fmla="*/ 0 w 212"/>
                <a:gd name="T5" fmla="*/ 7 h 14"/>
                <a:gd name="T6" fmla="*/ 7 w 212"/>
                <a:gd name="T7" fmla="*/ 0 h 14"/>
                <a:gd name="T8" fmla="*/ 205 w 212"/>
                <a:gd name="T9" fmla="*/ 0 h 14"/>
                <a:gd name="T10" fmla="*/ 212 w 212"/>
                <a:gd name="T11" fmla="*/ 7 h 14"/>
                <a:gd name="T12" fmla="*/ 205 w 21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12" h="14">
                  <a:moveTo>
                    <a:pt x="205" y="14"/>
                  </a:moveTo>
                  <a:cubicBezTo>
                    <a:pt x="7" y="14"/>
                    <a:pt x="7" y="14"/>
                    <a:pt x="7" y="14"/>
                  </a:cubicBezTo>
                  <a:cubicBezTo>
                    <a:pt x="4" y="14"/>
                    <a:pt x="0" y="11"/>
                    <a:pt x="0" y="7"/>
                  </a:cubicBezTo>
                  <a:cubicBezTo>
                    <a:pt x="0" y="3"/>
                    <a:pt x="4" y="0"/>
                    <a:pt x="7" y="0"/>
                  </a:cubicBezTo>
                  <a:cubicBezTo>
                    <a:pt x="205" y="0"/>
                    <a:pt x="205" y="0"/>
                    <a:pt x="205" y="0"/>
                  </a:cubicBezTo>
                  <a:cubicBezTo>
                    <a:pt x="208" y="0"/>
                    <a:pt x="212" y="3"/>
                    <a:pt x="212" y="7"/>
                  </a:cubicBezTo>
                  <a:cubicBezTo>
                    <a:pt x="212" y="11"/>
                    <a:pt x="208" y="14"/>
                    <a:pt x="205" y="1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8" name="Freeform 19">
              <a:extLst>
                <a:ext uri="{FF2B5EF4-FFF2-40B4-BE49-F238E27FC236}">
                  <a16:creationId xmlns:a16="http://schemas.microsoft.com/office/drawing/2014/main" id="{3C0CA608-4AF0-427F-AEFF-BCAD57BA3730}"/>
                </a:ext>
              </a:extLst>
            </p:cNvPr>
            <p:cNvSpPr>
              <a:spLocks noEditPoints="1"/>
            </p:cNvSpPr>
            <p:nvPr/>
          </p:nvSpPr>
          <p:spPr bwMode="auto">
            <a:xfrm>
              <a:off x="9921876" y="2673350"/>
              <a:ext cx="431800" cy="215900"/>
            </a:xfrm>
            <a:custGeom>
              <a:avLst/>
              <a:gdLst>
                <a:gd name="T0" fmla="*/ 107 w 114"/>
                <a:gd name="T1" fmla="*/ 57 h 57"/>
                <a:gd name="T2" fmla="*/ 106 w 114"/>
                <a:gd name="T3" fmla="*/ 57 h 57"/>
                <a:gd name="T4" fmla="*/ 8 w 114"/>
                <a:gd name="T5" fmla="*/ 57 h 57"/>
                <a:gd name="T6" fmla="*/ 2 w 114"/>
                <a:gd name="T7" fmla="*/ 54 h 57"/>
                <a:gd name="T8" fmla="*/ 1 w 114"/>
                <a:gd name="T9" fmla="*/ 48 h 57"/>
                <a:gd name="T10" fmla="*/ 15 w 114"/>
                <a:gd name="T11" fmla="*/ 5 h 57"/>
                <a:gd name="T12" fmla="*/ 22 w 114"/>
                <a:gd name="T13" fmla="*/ 0 h 57"/>
                <a:gd name="T14" fmla="*/ 92 w 114"/>
                <a:gd name="T15" fmla="*/ 0 h 57"/>
                <a:gd name="T16" fmla="*/ 99 w 114"/>
                <a:gd name="T17" fmla="*/ 5 h 57"/>
                <a:gd name="T18" fmla="*/ 112 w 114"/>
                <a:gd name="T19" fmla="*/ 46 h 57"/>
                <a:gd name="T20" fmla="*/ 114 w 114"/>
                <a:gd name="T21" fmla="*/ 50 h 57"/>
                <a:gd name="T22" fmla="*/ 107 w 114"/>
                <a:gd name="T23" fmla="*/ 57 h 57"/>
                <a:gd name="T24" fmla="*/ 17 w 114"/>
                <a:gd name="T25" fmla="*/ 43 h 57"/>
                <a:gd name="T26" fmla="*/ 97 w 114"/>
                <a:gd name="T27" fmla="*/ 43 h 57"/>
                <a:gd name="T28" fmla="*/ 87 w 114"/>
                <a:gd name="T29" fmla="*/ 15 h 57"/>
                <a:gd name="T30" fmla="*/ 27 w 114"/>
                <a:gd name="T31" fmla="*/ 15 h 57"/>
                <a:gd name="T32" fmla="*/ 17 w 114"/>
                <a:gd name="T33" fmla="*/ 4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7">
                  <a:moveTo>
                    <a:pt x="107" y="57"/>
                  </a:moveTo>
                  <a:cubicBezTo>
                    <a:pt x="106" y="57"/>
                    <a:pt x="106" y="57"/>
                    <a:pt x="106" y="57"/>
                  </a:cubicBezTo>
                  <a:cubicBezTo>
                    <a:pt x="8" y="57"/>
                    <a:pt x="8" y="57"/>
                    <a:pt x="8" y="57"/>
                  </a:cubicBezTo>
                  <a:cubicBezTo>
                    <a:pt x="5" y="57"/>
                    <a:pt x="3" y="56"/>
                    <a:pt x="2" y="54"/>
                  </a:cubicBezTo>
                  <a:cubicBezTo>
                    <a:pt x="1" y="52"/>
                    <a:pt x="0" y="50"/>
                    <a:pt x="1" y="48"/>
                  </a:cubicBezTo>
                  <a:cubicBezTo>
                    <a:pt x="15" y="5"/>
                    <a:pt x="15" y="5"/>
                    <a:pt x="15" y="5"/>
                  </a:cubicBezTo>
                  <a:cubicBezTo>
                    <a:pt x="16" y="2"/>
                    <a:pt x="19" y="0"/>
                    <a:pt x="22" y="0"/>
                  </a:cubicBezTo>
                  <a:cubicBezTo>
                    <a:pt x="92" y="0"/>
                    <a:pt x="92" y="0"/>
                    <a:pt x="92" y="0"/>
                  </a:cubicBezTo>
                  <a:cubicBezTo>
                    <a:pt x="95" y="0"/>
                    <a:pt x="98" y="2"/>
                    <a:pt x="99" y="5"/>
                  </a:cubicBezTo>
                  <a:cubicBezTo>
                    <a:pt x="112" y="46"/>
                    <a:pt x="112" y="46"/>
                    <a:pt x="112" y="46"/>
                  </a:cubicBezTo>
                  <a:cubicBezTo>
                    <a:pt x="113" y="47"/>
                    <a:pt x="114" y="48"/>
                    <a:pt x="114" y="50"/>
                  </a:cubicBezTo>
                  <a:cubicBezTo>
                    <a:pt x="114" y="54"/>
                    <a:pt x="110" y="57"/>
                    <a:pt x="107" y="57"/>
                  </a:cubicBezTo>
                  <a:close/>
                  <a:moveTo>
                    <a:pt x="17" y="43"/>
                  </a:moveTo>
                  <a:cubicBezTo>
                    <a:pt x="97" y="43"/>
                    <a:pt x="97" y="43"/>
                    <a:pt x="97" y="43"/>
                  </a:cubicBezTo>
                  <a:cubicBezTo>
                    <a:pt x="87" y="15"/>
                    <a:pt x="87" y="15"/>
                    <a:pt x="87" y="15"/>
                  </a:cubicBezTo>
                  <a:cubicBezTo>
                    <a:pt x="27" y="15"/>
                    <a:pt x="27" y="15"/>
                    <a:pt x="27" y="15"/>
                  </a:cubicBezTo>
                  <a:lnTo>
                    <a:pt x="17" y="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9" name="Freeform 20">
              <a:extLst>
                <a:ext uri="{FF2B5EF4-FFF2-40B4-BE49-F238E27FC236}">
                  <a16:creationId xmlns:a16="http://schemas.microsoft.com/office/drawing/2014/main" id="{A7C0F220-E17E-485E-A285-5EC8159A224E}"/>
                </a:ext>
              </a:extLst>
            </p:cNvPr>
            <p:cNvSpPr>
              <a:spLocks noEditPoints="1"/>
            </p:cNvSpPr>
            <p:nvPr/>
          </p:nvSpPr>
          <p:spPr bwMode="auto">
            <a:xfrm>
              <a:off x="9604376" y="1820863"/>
              <a:ext cx="1066800" cy="693738"/>
            </a:xfrm>
            <a:custGeom>
              <a:avLst/>
              <a:gdLst>
                <a:gd name="T0" fmla="*/ 275 w 282"/>
                <a:gd name="T1" fmla="*/ 183 h 183"/>
                <a:gd name="T2" fmla="*/ 7 w 282"/>
                <a:gd name="T3" fmla="*/ 183 h 183"/>
                <a:gd name="T4" fmla="*/ 0 w 282"/>
                <a:gd name="T5" fmla="*/ 176 h 183"/>
                <a:gd name="T6" fmla="*/ 0 w 282"/>
                <a:gd name="T7" fmla="*/ 7 h 183"/>
                <a:gd name="T8" fmla="*/ 7 w 282"/>
                <a:gd name="T9" fmla="*/ 0 h 183"/>
                <a:gd name="T10" fmla="*/ 275 w 282"/>
                <a:gd name="T11" fmla="*/ 0 h 183"/>
                <a:gd name="T12" fmla="*/ 282 w 282"/>
                <a:gd name="T13" fmla="*/ 7 h 183"/>
                <a:gd name="T14" fmla="*/ 282 w 282"/>
                <a:gd name="T15" fmla="*/ 176 h 183"/>
                <a:gd name="T16" fmla="*/ 275 w 282"/>
                <a:gd name="T17" fmla="*/ 183 h 183"/>
                <a:gd name="T18" fmla="*/ 14 w 282"/>
                <a:gd name="T19" fmla="*/ 169 h 183"/>
                <a:gd name="T20" fmla="*/ 268 w 282"/>
                <a:gd name="T21" fmla="*/ 169 h 183"/>
                <a:gd name="T22" fmla="*/ 268 w 282"/>
                <a:gd name="T23" fmla="*/ 14 h 183"/>
                <a:gd name="T24" fmla="*/ 14 w 282"/>
                <a:gd name="T25" fmla="*/ 14 h 183"/>
                <a:gd name="T26" fmla="*/ 14 w 282"/>
                <a:gd name="T27" fmla="*/ 1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183">
                  <a:moveTo>
                    <a:pt x="275" y="183"/>
                  </a:moveTo>
                  <a:cubicBezTo>
                    <a:pt x="7" y="183"/>
                    <a:pt x="7" y="183"/>
                    <a:pt x="7" y="183"/>
                  </a:cubicBezTo>
                  <a:cubicBezTo>
                    <a:pt x="3" y="183"/>
                    <a:pt x="0" y="180"/>
                    <a:pt x="0" y="176"/>
                  </a:cubicBezTo>
                  <a:cubicBezTo>
                    <a:pt x="0" y="7"/>
                    <a:pt x="0" y="7"/>
                    <a:pt x="0" y="7"/>
                  </a:cubicBezTo>
                  <a:cubicBezTo>
                    <a:pt x="0" y="3"/>
                    <a:pt x="3" y="0"/>
                    <a:pt x="7" y="0"/>
                  </a:cubicBezTo>
                  <a:cubicBezTo>
                    <a:pt x="275" y="0"/>
                    <a:pt x="275" y="0"/>
                    <a:pt x="275" y="0"/>
                  </a:cubicBezTo>
                  <a:cubicBezTo>
                    <a:pt x="279" y="0"/>
                    <a:pt x="282" y="3"/>
                    <a:pt x="282" y="7"/>
                  </a:cubicBezTo>
                  <a:cubicBezTo>
                    <a:pt x="282" y="176"/>
                    <a:pt x="282" y="176"/>
                    <a:pt x="282" y="176"/>
                  </a:cubicBezTo>
                  <a:cubicBezTo>
                    <a:pt x="282" y="180"/>
                    <a:pt x="279" y="183"/>
                    <a:pt x="275" y="183"/>
                  </a:cubicBezTo>
                  <a:close/>
                  <a:moveTo>
                    <a:pt x="14" y="169"/>
                  </a:moveTo>
                  <a:cubicBezTo>
                    <a:pt x="268" y="169"/>
                    <a:pt x="268" y="169"/>
                    <a:pt x="268" y="169"/>
                  </a:cubicBezTo>
                  <a:cubicBezTo>
                    <a:pt x="268" y="14"/>
                    <a:pt x="268" y="14"/>
                    <a:pt x="268" y="14"/>
                  </a:cubicBezTo>
                  <a:cubicBezTo>
                    <a:pt x="14" y="14"/>
                    <a:pt x="14" y="14"/>
                    <a:pt x="14" y="14"/>
                  </a:cubicBezTo>
                  <a:lnTo>
                    <a:pt x="14" y="16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0" name="Oval 21">
              <a:extLst>
                <a:ext uri="{FF2B5EF4-FFF2-40B4-BE49-F238E27FC236}">
                  <a16:creationId xmlns:a16="http://schemas.microsoft.com/office/drawing/2014/main" id="{CEEF49CE-981E-4208-9734-E264CEEFACD3}"/>
                </a:ext>
              </a:extLst>
            </p:cNvPr>
            <p:cNvSpPr>
              <a:spLocks noChangeArrowheads="1"/>
            </p:cNvSpPr>
            <p:nvPr/>
          </p:nvSpPr>
          <p:spPr bwMode="auto">
            <a:xfrm>
              <a:off x="10085388" y="2540000"/>
              <a:ext cx="104775" cy="106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58" name="Group 129">
            <a:extLst>
              <a:ext uri="{FF2B5EF4-FFF2-40B4-BE49-F238E27FC236}">
                <a16:creationId xmlns:a16="http://schemas.microsoft.com/office/drawing/2014/main" id="{CFD7291B-0BCB-4C0F-AF3A-2A80672CB891}"/>
              </a:ext>
            </a:extLst>
          </p:cNvPr>
          <p:cNvGrpSpPr>
            <a:grpSpLocks noChangeAspect="1"/>
          </p:cNvGrpSpPr>
          <p:nvPr/>
        </p:nvGrpSpPr>
        <p:grpSpPr>
          <a:xfrm>
            <a:off x="7041793" y="5432928"/>
            <a:ext cx="305900" cy="254916"/>
            <a:chOff x="11601450" y="1943100"/>
            <a:chExt cx="285750" cy="238125"/>
          </a:xfrm>
          <a:solidFill>
            <a:schemeClr val="bg2"/>
          </a:solidFill>
        </p:grpSpPr>
        <p:sp>
          <p:nvSpPr>
            <p:cNvPr id="1959" name="Freeform 300">
              <a:extLst>
                <a:ext uri="{FF2B5EF4-FFF2-40B4-BE49-F238E27FC236}">
                  <a16:creationId xmlns:a16="http://schemas.microsoft.com/office/drawing/2014/main" id="{33A9300B-CB20-4B57-A53B-78DE01DA84CF}"/>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0" name="Freeform 301">
              <a:extLst>
                <a:ext uri="{FF2B5EF4-FFF2-40B4-BE49-F238E27FC236}">
                  <a16:creationId xmlns:a16="http://schemas.microsoft.com/office/drawing/2014/main" id="{19E14377-B034-4E89-9381-6B238A51FDB8}"/>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1" name="Freeform 302">
              <a:extLst>
                <a:ext uri="{FF2B5EF4-FFF2-40B4-BE49-F238E27FC236}">
                  <a16:creationId xmlns:a16="http://schemas.microsoft.com/office/drawing/2014/main" id="{B4A6572B-E68B-4C18-A569-360ACBF72C4D}"/>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2" name="Freeform 303">
              <a:extLst>
                <a:ext uri="{FF2B5EF4-FFF2-40B4-BE49-F238E27FC236}">
                  <a16:creationId xmlns:a16="http://schemas.microsoft.com/office/drawing/2014/main" id="{B6F13C09-9BD9-4FD5-AD6D-9FD54E46A0FB}"/>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70" name="Gruppieren 1969">
            <a:extLst>
              <a:ext uri="{FF2B5EF4-FFF2-40B4-BE49-F238E27FC236}">
                <a16:creationId xmlns:a16="http://schemas.microsoft.com/office/drawing/2014/main" id="{0EC2F683-47BE-4EAC-8A12-2DE0C83BEF57}"/>
              </a:ext>
            </a:extLst>
          </p:cNvPr>
          <p:cNvGrpSpPr>
            <a:grpSpLocks noChangeAspect="1"/>
          </p:cNvGrpSpPr>
          <p:nvPr/>
        </p:nvGrpSpPr>
        <p:grpSpPr>
          <a:xfrm>
            <a:off x="638322" y="5436122"/>
            <a:ext cx="305900" cy="248528"/>
            <a:chOff x="9450387" y="3648075"/>
            <a:chExt cx="1912938" cy="1554162"/>
          </a:xfrm>
          <a:solidFill>
            <a:schemeClr val="bg2"/>
          </a:solidFill>
        </p:grpSpPr>
        <p:sp>
          <p:nvSpPr>
            <p:cNvPr id="1971" name="Freeform 9">
              <a:extLst>
                <a:ext uri="{FF2B5EF4-FFF2-40B4-BE49-F238E27FC236}">
                  <a16:creationId xmlns:a16="http://schemas.microsoft.com/office/drawing/2014/main" id="{AA85107A-03CF-492D-A17D-298610383B99}"/>
                </a:ext>
              </a:extLst>
            </p:cNvPr>
            <p:cNvSpPr>
              <a:spLocks noEditPoints="1"/>
            </p:cNvSpPr>
            <p:nvPr/>
          </p:nvSpPr>
          <p:spPr bwMode="auto">
            <a:xfrm>
              <a:off x="9450387" y="4010025"/>
              <a:ext cx="1912938" cy="1192212"/>
            </a:xfrm>
            <a:custGeom>
              <a:avLst/>
              <a:gdLst>
                <a:gd name="T0" fmla="*/ 971 w 988"/>
                <a:gd name="T1" fmla="*/ 615 h 615"/>
                <a:gd name="T2" fmla="*/ 17 w 988"/>
                <a:gd name="T3" fmla="*/ 615 h 615"/>
                <a:gd name="T4" fmla="*/ 0 w 988"/>
                <a:gd name="T5" fmla="*/ 599 h 615"/>
                <a:gd name="T6" fmla="*/ 0 w 988"/>
                <a:gd name="T7" fmla="*/ 16 h 615"/>
                <a:gd name="T8" fmla="*/ 17 w 988"/>
                <a:gd name="T9" fmla="*/ 0 h 615"/>
                <a:gd name="T10" fmla="*/ 971 w 988"/>
                <a:gd name="T11" fmla="*/ 0 h 615"/>
                <a:gd name="T12" fmla="*/ 988 w 988"/>
                <a:gd name="T13" fmla="*/ 16 h 615"/>
                <a:gd name="T14" fmla="*/ 988 w 988"/>
                <a:gd name="T15" fmla="*/ 599 h 615"/>
                <a:gd name="T16" fmla="*/ 971 w 988"/>
                <a:gd name="T17" fmla="*/ 615 h 615"/>
                <a:gd name="T18" fmla="*/ 33 w 988"/>
                <a:gd name="T19" fmla="*/ 582 h 615"/>
                <a:gd name="T20" fmla="*/ 955 w 988"/>
                <a:gd name="T21" fmla="*/ 582 h 615"/>
                <a:gd name="T22" fmla="*/ 955 w 988"/>
                <a:gd name="T23" fmla="*/ 32 h 615"/>
                <a:gd name="T24" fmla="*/ 33 w 988"/>
                <a:gd name="T25" fmla="*/ 32 h 615"/>
                <a:gd name="T26" fmla="*/ 33 w 988"/>
                <a:gd name="T27" fmla="*/ 58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615">
                  <a:moveTo>
                    <a:pt x="971" y="615"/>
                  </a:moveTo>
                  <a:cubicBezTo>
                    <a:pt x="17" y="615"/>
                    <a:pt x="17" y="615"/>
                    <a:pt x="17" y="615"/>
                  </a:cubicBezTo>
                  <a:cubicBezTo>
                    <a:pt x="7" y="615"/>
                    <a:pt x="0" y="608"/>
                    <a:pt x="0" y="599"/>
                  </a:cubicBezTo>
                  <a:cubicBezTo>
                    <a:pt x="0" y="16"/>
                    <a:pt x="0" y="16"/>
                    <a:pt x="0" y="16"/>
                  </a:cubicBezTo>
                  <a:cubicBezTo>
                    <a:pt x="0" y="7"/>
                    <a:pt x="7" y="0"/>
                    <a:pt x="17" y="0"/>
                  </a:cubicBezTo>
                  <a:cubicBezTo>
                    <a:pt x="971" y="0"/>
                    <a:pt x="971" y="0"/>
                    <a:pt x="971" y="0"/>
                  </a:cubicBezTo>
                  <a:cubicBezTo>
                    <a:pt x="980" y="0"/>
                    <a:pt x="988" y="7"/>
                    <a:pt x="988" y="16"/>
                  </a:cubicBezTo>
                  <a:cubicBezTo>
                    <a:pt x="988" y="599"/>
                    <a:pt x="988" y="599"/>
                    <a:pt x="988" y="599"/>
                  </a:cubicBezTo>
                  <a:cubicBezTo>
                    <a:pt x="988" y="608"/>
                    <a:pt x="980" y="615"/>
                    <a:pt x="971" y="615"/>
                  </a:cubicBezTo>
                  <a:close/>
                  <a:moveTo>
                    <a:pt x="33" y="582"/>
                  </a:moveTo>
                  <a:cubicBezTo>
                    <a:pt x="955" y="582"/>
                    <a:pt x="955" y="582"/>
                    <a:pt x="955" y="582"/>
                  </a:cubicBezTo>
                  <a:cubicBezTo>
                    <a:pt x="955" y="32"/>
                    <a:pt x="955" y="32"/>
                    <a:pt x="955" y="32"/>
                  </a:cubicBezTo>
                  <a:cubicBezTo>
                    <a:pt x="33" y="32"/>
                    <a:pt x="33" y="32"/>
                    <a:pt x="33" y="32"/>
                  </a:cubicBezTo>
                  <a:lnTo>
                    <a:pt x="33"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2" name="Freeform 11">
              <a:extLst>
                <a:ext uri="{FF2B5EF4-FFF2-40B4-BE49-F238E27FC236}">
                  <a16:creationId xmlns:a16="http://schemas.microsoft.com/office/drawing/2014/main" id="{E1E74EBB-7D05-4685-9AD6-EFE711B5DB2A}"/>
                </a:ext>
              </a:extLst>
            </p:cNvPr>
            <p:cNvSpPr>
              <a:spLocks noEditPoints="1"/>
            </p:cNvSpPr>
            <p:nvPr/>
          </p:nvSpPr>
          <p:spPr bwMode="auto">
            <a:xfrm>
              <a:off x="9450387" y="3648075"/>
              <a:ext cx="1912938" cy="423862"/>
            </a:xfrm>
            <a:custGeom>
              <a:avLst/>
              <a:gdLst>
                <a:gd name="T0" fmla="*/ 971 w 988"/>
                <a:gd name="T1" fmla="*/ 219 h 219"/>
                <a:gd name="T2" fmla="*/ 17 w 988"/>
                <a:gd name="T3" fmla="*/ 219 h 219"/>
                <a:gd name="T4" fmla="*/ 0 w 988"/>
                <a:gd name="T5" fmla="*/ 203 h 219"/>
                <a:gd name="T6" fmla="*/ 0 w 988"/>
                <a:gd name="T7" fmla="*/ 16 h 219"/>
                <a:gd name="T8" fmla="*/ 17 w 988"/>
                <a:gd name="T9" fmla="*/ 0 h 219"/>
                <a:gd name="T10" fmla="*/ 971 w 988"/>
                <a:gd name="T11" fmla="*/ 0 h 219"/>
                <a:gd name="T12" fmla="*/ 988 w 988"/>
                <a:gd name="T13" fmla="*/ 16 h 219"/>
                <a:gd name="T14" fmla="*/ 988 w 988"/>
                <a:gd name="T15" fmla="*/ 203 h 219"/>
                <a:gd name="T16" fmla="*/ 971 w 988"/>
                <a:gd name="T17" fmla="*/ 219 h 219"/>
                <a:gd name="T18" fmla="*/ 33 w 988"/>
                <a:gd name="T19" fmla="*/ 187 h 219"/>
                <a:gd name="T20" fmla="*/ 955 w 988"/>
                <a:gd name="T21" fmla="*/ 187 h 219"/>
                <a:gd name="T22" fmla="*/ 955 w 988"/>
                <a:gd name="T23" fmla="*/ 33 h 219"/>
                <a:gd name="T24" fmla="*/ 33 w 988"/>
                <a:gd name="T25" fmla="*/ 33 h 219"/>
                <a:gd name="T26" fmla="*/ 33 w 988"/>
                <a:gd name="T27" fmla="*/ 1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19">
                  <a:moveTo>
                    <a:pt x="971" y="219"/>
                  </a:moveTo>
                  <a:cubicBezTo>
                    <a:pt x="17" y="219"/>
                    <a:pt x="17" y="219"/>
                    <a:pt x="17" y="219"/>
                  </a:cubicBezTo>
                  <a:cubicBezTo>
                    <a:pt x="7" y="219"/>
                    <a:pt x="0" y="212"/>
                    <a:pt x="0" y="203"/>
                  </a:cubicBezTo>
                  <a:cubicBezTo>
                    <a:pt x="0" y="16"/>
                    <a:pt x="0" y="16"/>
                    <a:pt x="0" y="16"/>
                  </a:cubicBezTo>
                  <a:cubicBezTo>
                    <a:pt x="0" y="7"/>
                    <a:pt x="7" y="0"/>
                    <a:pt x="17" y="0"/>
                  </a:cubicBezTo>
                  <a:cubicBezTo>
                    <a:pt x="971" y="0"/>
                    <a:pt x="971" y="0"/>
                    <a:pt x="971" y="0"/>
                  </a:cubicBezTo>
                  <a:cubicBezTo>
                    <a:pt x="980" y="0"/>
                    <a:pt x="988" y="7"/>
                    <a:pt x="988" y="16"/>
                  </a:cubicBezTo>
                  <a:cubicBezTo>
                    <a:pt x="988" y="203"/>
                    <a:pt x="988" y="203"/>
                    <a:pt x="988" y="203"/>
                  </a:cubicBezTo>
                  <a:cubicBezTo>
                    <a:pt x="988" y="212"/>
                    <a:pt x="980" y="219"/>
                    <a:pt x="971" y="219"/>
                  </a:cubicBezTo>
                  <a:close/>
                  <a:moveTo>
                    <a:pt x="33" y="187"/>
                  </a:moveTo>
                  <a:cubicBezTo>
                    <a:pt x="955" y="187"/>
                    <a:pt x="955" y="187"/>
                    <a:pt x="955" y="187"/>
                  </a:cubicBezTo>
                  <a:cubicBezTo>
                    <a:pt x="955" y="33"/>
                    <a:pt x="955" y="33"/>
                    <a:pt x="955" y="33"/>
                  </a:cubicBezTo>
                  <a:cubicBezTo>
                    <a:pt x="33" y="33"/>
                    <a:pt x="33" y="33"/>
                    <a:pt x="33" y="33"/>
                  </a:cubicBezTo>
                  <a:lnTo>
                    <a:pt x="33"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3" name="Freeform 15">
              <a:extLst>
                <a:ext uri="{FF2B5EF4-FFF2-40B4-BE49-F238E27FC236}">
                  <a16:creationId xmlns:a16="http://schemas.microsoft.com/office/drawing/2014/main" id="{D00D8D01-2526-4C40-B884-0A4C5CE8BDAF}"/>
                </a:ext>
              </a:extLst>
            </p:cNvPr>
            <p:cNvSpPr>
              <a:spLocks/>
            </p:cNvSpPr>
            <p:nvPr/>
          </p:nvSpPr>
          <p:spPr bwMode="auto">
            <a:xfrm>
              <a:off x="9563100"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4" name="Freeform 15">
              <a:extLst>
                <a:ext uri="{FF2B5EF4-FFF2-40B4-BE49-F238E27FC236}">
                  <a16:creationId xmlns:a16="http://schemas.microsoft.com/office/drawing/2014/main" id="{40FAC0B0-53A9-4204-946A-0F1779FE5E13}"/>
                </a:ext>
              </a:extLst>
            </p:cNvPr>
            <p:cNvSpPr>
              <a:spLocks/>
            </p:cNvSpPr>
            <p:nvPr/>
          </p:nvSpPr>
          <p:spPr bwMode="auto">
            <a:xfrm>
              <a:off x="9701212"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5" name="Freeform 15">
              <a:extLst>
                <a:ext uri="{FF2B5EF4-FFF2-40B4-BE49-F238E27FC236}">
                  <a16:creationId xmlns:a16="http://schemas.microsoft.com/office/drawing/2014/main" id="{464BA912-2042-4BB9-8FF1-D6E093F50C57}"/>
                </a:ext>
              </a:extLst>
            </p:cNvPr>
            <p:cNvSpPr>
              <a:spLocks/>
            </p:cNvSpPr>
            <p:nvPr/>
          </p:nvSpPr>
          <p:spPr bwMode="auto">
            <a:xfrm>
              <a:off x="9839325"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9" name="Group 162">
            <a:extLst>
              <a:ext uri="{FF2B5EF4-FFF2-40B4-BE49-F238E27FC236}">
                <a16:creationId xmlns:a16="http://schemas.microsoft.com/office/drawing/2014/main" id="{D7F6B4D7-1A64-46D6-82E2-0350FC725439}"/>
              </a:ext>
            </a:extLst>
          </p:cNvPr>
          <p:cNvGrpSpPr>
            <a:grpSpLocks noChangeAspect="1"/>
          </p:cNvGrpSpPr>
          <p:nvPr/>
        </p:nvGrpSpPr>
        <p:grpSpPr>
          <a:xfrm>
            <a:off x="703818" y="2724897"/>
            <a:ext cx="220563" cy="285619"/>
            <a:chOff x="9347200" y="781050"/>
            <a:chExt cx="220663" cy="285750"/>
          </a:xfrm>
          <a:solidFill>
            <a:schemeClr val="bg2"/>
          </a:solidFill>
          <a:effectLst/>
        </p:grpSpPr>
        <p:sp>
          <p:nvSpPr>
            <p:cNvPr id="1710" name="Freeform 189">
              <a:extLst>
                <a:ext uri="{FF2B5EF4-FFF2-40B4-BE49-F238E27FC236}">
                  <a16:creationId xmlns:a16="http://schemas.microsoft.com/office/drawing/2014/main" id="{0EB8A594-E09B-4AAC-916E-E952E0990308}"/>
                </a:ext>
              </a:extLst>
            </p:cNvPr>
            <p:cNvSpPr>
              <a:spLocks noEditPoints="1"/>
            </p:cNvSpPr>
            <p:nvPr/>
          </p:nvSpPr>
          <p:spPr bwMode="auto">
            <a:xfrm>
              <a:off x="9347200" y="781050"/>
              <a:ext cx="220663" cy="285750"/>
            </a:xfrm>
            <a:custGeom>
              <a:avLst/>
              <a:gdLst>
                <a:gd name="T0" fmla="*/ 361 w 692"/>
                <a:gd name="T1" fmla="*/ 632 h 903"/>
                <a:gd name="T2" fmla="*/ 662 w 692"/>
                <a:gd name="T3" fmla="*/ 818 h 903"/>
                <a:gd name="T4" fmla="*/ 657 w 692"/>
                <a:gd name="T5" fmla="*/ 835 h 903"/>
                <a:gd name="T6" fmla="*/ 648 w 692"/>
                <a:gd name="T7" fmla="*/ 850 h 903"/>
                <a:gd name="T8" fmla="*/ 635 w 692"/>
                <a:gd name="T9" fmla="*/ 862 h 903"/>
                <a:gd name="T10" fmla="*/ 619 w 692"/>
                <a:gd name="T11" fmla="*/ 869 h 903"/>
                <a:gd name="T12" fmla="*/ 602 w 692"/>
                <a:gd name="T13" fmla="*/ 872 h 903"/>
                <a:gd name="T14" fmla="*/ 331 w 692"/>
                <a:gd name="T15" fmla="*/ 632 h 903"/>
                <a:gd name="T16" fmla="*/ 85 w 692"/>
                <a:gd name="T17" fmla="*/ 872 h 903"/>
                <a:gd name="T18" fmla="*/ 67 w 692"/>
                <a:gd name="T19" fmla="*/ 867 h 903"/>
                <a:gd name="T20" fmla="*/ 52 w 692"/>
                <a:gd name="T21" fmla="*/ 859 h 903"/>
                <a:gd name="T22" fmla="*/ 41 w 692"/>
                <a:gd name="T23" fmla="*/ 846 h 903"/>
                <a:gd name="T24" fmla="*/ 33 w 692"/>
                <a:gd name="T25" fmla="*/ 830 h 903"/>
                <a:gd name="T26" fmla="*/ 30 w 692"/>
                <a:gd name="T27" fmla="*/ 812 h 903"/>
                <a:gd name="T28" fmla="*/ 30 w 692"/>
                <a:gd name="T29" fmla="*/ 602 h 903"/>
                <a:gd name="T30" fmla="*/ 331 w 692"/>
                <a:gd name="T31" fmla="*/ 602 h 903"/>
                <a:gd name="T32" fmla="*/ 662 w 692"/>
                <a:gd name="T33" fmla="*/ 602 h 903"/>
                <a:gd name="T34" fmla="*/ 91 w 692"/>
                <a:gd name="T35" fmla="*/ 30 h 903"/>
                <a:gd name="T36" fmla="*/ 614 w 692"/>
                <a:gd name="T37" fmla="*/ 32 h 903"/>
                <a:gd name="T38" fmla="*/ 631 w 692"/>
                <a:gd name="T39" fmla="*/ 37 h 903"/>
                <a:gd name="T40" fmla="*/ 644 w 692"/>
                <a:gd name="T41" fmla="*/ 48 h 903"/>
                <a:gd name="T42" fmla="*/ 655 w 692"/>
                <a:gd name="T43" fmla="*/ 62 h 903"/>
                <a:gd name="T44" fmla="*/ 661 w 692"/>
                <a:gd name="T45" fmla="*/ 78 h 903"/>
                <a:gd name="T46" fmla="*/ 662 w 692"/>
                <a:gd name="T47" fmla="*/ 361 h 903"/>
                <a:gd name="T48" fmla="*/ 31 w 692"/>
                <a:gd name="T49" fmla="*/ 84 h 903"/>
                <a:gd name="T50" fmla="*/ 35 w 692"/>
                <a:gd name="T51" fmla="*/ 67 h 903"/>
                <a:gd name="T52" fmla="*/ 44 w 692"/>
                <a:gd name="T53" fmla="*/ 52 h 903"/>
                <a:gd name="T54" fmla="*/ 57 w 692"/>
                <a:gd name="T55" fmla="*/ 40 h 903"/>
                <a:gd name="T56" fmla="*/ 73 w 692"/>
                <a:gd name="T57" fmla="*/ 33 h 903"/>
                <a:gd name="T58" fmla="*/ 91 w 692"/>
                <a:gd name="T59" fmla="*/ 31 h 903"/>
                <a:gd name="T60" fmla="*/ 91 w 692"/>
                <a:gd name="T61" fmla="*/ 0 h 903"/>
                <a:gd name="T62" fmla="*/ 64 w 692"/>
                <a:gd name="T63" fmla="*/ 4 h 903"/>
                <a:gd name="T64" fmla="*/ 41 w 692"/>
                <a:gd name="T65" fmla="*/ 16 h 903"/>
                <a:gd name="T66" fmla="*/ 21 w 692"/>
                <a:gd name="T67" fmla="*/ 33 h 903"/>
                <a:gd name="T68" fmla="*/ 7 w 692"/>
                <a:gd name="T69" fmla="*/ 55 h 903"/>
                <a:gd name="T70" fmla="*/ 1 w 692"/>
                <a:gd name="T71" fmla="*/ 81 h 903"/>
                <a:gd name="T72" fmla="*/ 1 w 692"/>
                <a:gd name="T73" fmla="*/ 821 h 903"/>
                <a:gd name="T74" fmla="*/ 7 w 692"/>
                <a:gd name="T75" fmla="*/ 847 h 903"/>
                <a:gd name="T76" fmla="*/ 21 w 692"/>
                <a:gd name="T77" fmla="*/ 869 h 903"/>
                <a:gd name="T78" fmla="*/ 40 w 692"/>
                <a:gd name="T79" fmla="*/ 887 h 903"/>
                <a:gd name="T80" fmla="*/ 64 w 692"/>
                <a:gd name="T81" fmla="*/ 898 h 903"/>
                <a:gd name="T82" fmla="*/ 91 w 692"/>
                <a:gd name="T83" fmla="*/ 903 h 903"/>
                <a:gd name="T84" fmla="*/ 620 w 692"/>
                <a:gd name="T85" fmla="*/ 900 h 903"/>
                <a:gd name="T86" fmla="*/ 645 w 692"/>
                <a:gd name="T87" fmla="*/ 891 h 903"/>
                <a:gd name="T88" fmla="*/ 665 w 692"/>
                <a:gd name="T89" fmla="*/ 876 h 903"/>
                <a:gd name="T90" fmla="*/ 681 w 692"/>
                <a:gd name="T91" fmla="*/ 854 h 903"/>
                <a:gd name="T92" fmla="*/ 690 w 692"/>
                <a:gd name="T93" fmla="*/ 830 h 903"/>
                <a:gd name="T94" fmla="*/ 692 w 692"/>
                <a:gd name="T95" fmla="*/ 91 h 903"/>
                <a:gd name="T96" fmla="*/ 688 w 692"/>
                <a:gd name="T97" fmla="*/ 64 h 903"/>
                <a:gd name="T98" fmla="*/ 677 w 692"/>
                <a:gd name="T99" fmla="*/ 40 h 903"/>
                <a:gd name="T100" fmla="*/ 659 w 692"/>
                <a:gd name="T101" fmla="*/ 21 h 903"/>
                <a:gd name="T102" fmla="*/ 637 w 692"/>
                <a:gd name="T103" fmla="*/ 7 h 903"/>
                <a:gd name="T104" fmla="*/ 611 w 692"/>
                <a:gd name="T105"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2" h="903">
                  <a:moveTo>
                    <a:pt x="602" y="872"/>
                  </a:moveTo>
                  <a:lnTo>
                    <a:pt x="361" y="872"/>
                  </a:lnTo>
                  <a:lnTo>
                    <a:pt x="361" y="632"/>
                  </a:lnTo>
                  <a:lnTo>
                    <a:pt x="662" y="632"/>
                  </a:lnTo>
                  <a:lnTo>
                    <a:pt x="662" y="812"/>
                  </a:lnTo>
                  <a:lnTo>
                    <a:pt x="662" y="818"/>
                  </a:lnTo>
                  <a:lnTo>
                    <a:pt x="661" y="824"/>
                  </a:lnTo>
                  <a:lnTo>
                    <a:pt x="659" y="830"/>
                  </a:lnTo>
                  <a:lnTo>
                    <a:pt x="657" y="835"/>
                  </a:lnTo>
                  <a:lnTo>
                    <a:pt x="655" y="841"/>
                  </a:lnTo>
                  <a:lnTo>
                    <a:pt x="651" y="846"/>
                  </a:lnTo>
                  <a:lnTo>
                    <a:pt x="648" y="850"/>
                  </a:lnTo>
                  <a:lnTo>
                    <a:pt x="644" y="854"/>
                  </a:lnTo>
                  <a:lnTo>
                    <a:pt x="640" y="859"/>
                  </a:lnTo>
                  <a:lnTo>
                    <a:pt x="635" y="862"/>
                  </a:lnTo>
                  <a:lnTo>
                    <a:pt x="631" y="865"/>
                  </a:lnTo>
                  <a:lnTo>
                    <a:pt x="626" y="867"/>
                  </a:lnTo>
                  <a:lnTo>
                    <a:pt x="619" y="869"/>
                  </a:lnTo>
                  <a:lnTo>
                    <a:pt x="614" y="870"/>
                  </a:lnTo>
                  <a:lnTo>
                    <a:pt x="607" y="872"/>
                  </a:lnTo>
                  <a:lnTo>
                    <a:pt x="602" y="872"/>
                  </a:lnTo>
                  <a:close/>
                  <a:moveTo>
                    <a:pt x="30" y="812"/>
                  </a:moveTo>
                  <a:lnTo>
                    <a:pt x="30" y="632"/>
                  </a:lnTo>
                  <a:lnTo>
                    <a:pt x="331" y="632"/>
                  </a:lnTo>
                  <a:lnTo>
                    <a:pt x="331" y="872"/>
                  </a:lnTo>
                  <a:lnTo>
                    <a:pt x="91" y="872"/>
                  </a:lnTo>
                  <a:lnTo>
                    <a:pt x="85" y="872"/>
                  </a:lnTo>
                  <a:lnTo>
                    <a:pt x="78" y="870"/>
                  </a:lnTo>
                  <a:lnTo>
                    <a:pt x="73" y="869"/>
                  </a:lnTo>
                  <a:lnTo>
                    <a:pt x="67" y="867"/>
                  </a:lnTo>
                  <a:lnTo>
                    <a:pt x="62" y="865"/>
                  </a:lnTo>
                  <a:lnTo>
                    <a:pt x="57" y="862"/>
                  </a:lnTo>
                  <a:lnTo>
                    <a:pt x="52" y="859"/>
                  </a:lnTo>
                  <a:lnTo>
                    <a:pt x="48" y="854"/>
                  </a:lnTo>
                  <a:lnTo>
                    <a:pt x="44" y="850"/>
                  </a:lnTo>
                  <a:lnTo>
                    <a:pt x="41" y="846"/>
                  </a:lnTo>
                  <a:lnTo>
                    <a:pt x="37" y="841"/>
                  </a:lnTo>
                  <a:lnTo>
                    <a:pt x="35" y="835"/>
                  </a:lnTo>
                  <a:lnTo>
                    <a:pt x="33" y="830"/>
                  </a:lnTo>
                  <a:lnTo>
                    <a:pt x="32" y="824"/>
                  </a:lnTo>
                  <a:lnTo>
                    <a:pt x="31" y="818"/>
                  </a:lnTo>
                  <a:lnTo>
                    <a:pt x="30" y="812"/>
                  </a:lnTo>
                  <a:lnTo>
                    <a:pt x="30" y="812"/>
                  </a:lnTo>
                  <a:close/>
                  <a:moveTo>
                    <a:pt x="331" y="602"/>
                  </a:moveTo>
                  <a:lnTo>
                    <a:pt x="30" y="602"/>
                  </a:lnTo>
                  <a:lnTo>
                    <a:pt x="30" y="391"/>
                  </a:lnTo>
                  <a:lnTo>
                    <a:pt x="331" y="391"/>
                  </a:lnTo>
                  <a:lnTo>
                    <a:pt x="331" y="602"/>
                  </a:lnTo>
                  <a:close/>
                  <a:moveTo>
                    <a:pt x="361" y="391"/>
                  </a:moveTo>
                  <a:lnTo>
                    <a:pt x="662" y="391"/>
                  </a:lnTo>
                  <a:lnTo>
                    <a:pt x="662" y="602"/>
                  </a:lnTo>
                  <a:lnTo>
                    <a:pt x="361" y="602"/>
                  </a:lnTo>
                  <a:lnTo>
                    <a:pt x="361" y="391"/>
                  </a:lnTo>
                  <a:close/>
                  <a:moveTo>
                    <a:pt x="91" y="30"/>
                  </a:moveTo>
                  <a:lnTo>
                    <a:pt x="602" y="30"/>
                  </a:lnTo>
                  <a:lnTo>
                    <a:pt x="607" y="31"/>
                  </a:lnTo>
                  <a:lnTo>
                    <a:pt x="614" y="32"/>
                  </a:lnTo>
                  <a:lnTo>
                    <a:pt x="619" y="33"/>
                  </a:lnTo>
                  <a:lnTo>
                    <a:pt x="626" y="35"/>
                  </a:lnTo>
                  <a:lnTo>
                    <a:pt x="631" y="37"/>
                  </a:lnTo>
                  <a:lnTo>
                    <a:pt x="635" y="40"/>
                  </a:lnTo>
                  <a:lnTo>
                    <a:pt x="640" y="44"/>
                  </a:lnTo>
                  <a:lnTo>
                    <a:pt x="644" y="48"/>
                  </a:lnTo>
                  <a:lnTo>
                    <a:pt x="648" y="52"/>
                  </a:lnTo>
                  <a:lnTo>
                    <a:pt x="651" y="56"/>
                  </a:lnTo>
                  <a:lnTo>
                    <a:pt x="655" y="62"/>
                  </a:lnTo>
                  <a:lnTo>
                    <a:pt x="657" y="67"/>
                  </a:lnTo>
                  <a:lnTo>
                    <a:pt x="659" y="72"/>
                  </a:lnTo>
                  <a:lnTo>
                    <a:pt x="661" y="78"/>
                  </a:lnTo>
                  <a:lnTo>
                    <a:pt x="662" y="84"/>
                  </a:lnTo>
                  <a:lnTo>
                    <a:pt x="662" y="91"/>
                  </a:lnTo>
                  <a:lnTo>
                    <a:pt x="662" y="361"/>
                  </a:lnTo>
                  <a:lnTo>
                    <a:pt x="30" y="361"/>
                  </a:lnTo>
                  <a:lnTo>
                    <a:pt x="30" y="91"/>
                  </a:lnTo>
                  <a:lnTo>
                    <a:pt x="31" y="84"/>
                  </a:lnTo>
                  <a:lnTo>
                    <a:pt x="32" y="78"/>
                  </a:lnTo>
                  <a:lnTo>
                    <a:pt x="33" y="72"/>
                  </a:lnTo>
                  <a:lnTo>
                    <a:pt x="35" y="67"/>
                  </a:lnTo>
                  <a:lnTo>
                    <a:pt x="37" y="62"/>
                  </a:lnTo>
                  <a:lnTo>
                    <a:pt x="41" y="56"/>
                  </a:lnTo>
                  <a:lnTo>
                    <a:pt x="44" y="52"/>
                  </a:lnTo>
                  <a:lnTo>
                    <a:pt x="48" y="48"/>
                  </a:lnTo>
                  <a:lnTo>
                    <a:pt x="52" y="44"/>
                  </a:lnTo>
                  <a:lnTo>
                    <a:pt x="57" y="40"/>
                  </a:lnTo>
                  <a:lnTo>
                    <a:pt x="62" y="37"/>
                  </a:lnTo>
                  <a:lnTo>
                    <a:pt x="67" y="35"/>
                  </a:lnTo>
                  <a:lnTo>
                    <a:pt x="73" y="33"/>
                  </a:lnTo>
                  <a:lnTo>
                    <a:pt x="78" y="32"/>
                  </a:lnTo>
                  <a:lnTo>
                    <a:pt x="85" y="31"/>
                  </a:lnTo>
                  <a:lnTo>
                    <a:pt x="91" y="31"/>
                  </a:lnTo>
                  <a:lnTo>
                    <a:pt x="91" y="30"/>
                  </a:lnTo>
                  <a:close/>
                  <a:moveTo>
                    <a:pt x="602" y="0"/>
                  </a:moveTo>
                  <a:lnTo>
                    <a:pt x="91" y="0"/>
                  </a:lnTo>
                  <a:lnTo>
                    <a:pt x="81" y="1"/>
                  </a:lnTo>
                  <a:lnTo>
                    <a:pt x="73" y="2"/>
                  </a:lnTo>
                  <a:lnTo>
                    <a:pt x="64" y="4"/>
                  </a:lnTo>
                  <a:lnTo>
                    <a:pt x="56" y="7"/>
                  </a:lnTo>
                  <a:lnTo>
                    <a:pt x="47" y="11"/>
                  </a:lnTo>
                  <a:lnTo>
                    <a:pt x="41" y="16"/>
                  </a:lnTo>
                  <a:lnTo>
                    <a:pt x="33" y="21"/>
                  </a:lnTo>
                  <a:lnTo>
                    <a:pt x="27" y="26"/>
                  </a:lnTo>
                  <a:lnTo>
                    <a:pt x="21" y="33"/>
                  </a:lnTo>
                  <a:lnTo>
                    <a:pt x="16" y="40"/>
                  </a:lnTo>
                  <a:lnTo>
                    <a:pt x="12" y="48"/>
                  </a:lnTo>
                  <a:lnTo>
                    <a:pt x="7" y="55"/>
                  </a:lnTo>
                  <a:lnTo>
                    <a:pt x="4" y="64"/>
                  </a:lnTo>
                  <a:lnTo>
                    <a:pt x="2" y="72"/>
                  </a:lnTo>
                  <a:lnTo>
                    <a:pt x="1" y="81"/>
                  </a:lnTo>
                  <a:lnTo>
                    <a:pt x="0" y="91"/>
                  </a:lnTo>
                  <a:lnTo>
                    <a:pt x="0" y="812"/>
                  </a:lnTo>
                  <a:lnTo>
                    <a:pt x="1" y="821"/>
                  </a:lnTo>
                  <a:lnTo>
                    <a:pt x="2" y="830"/>
                  </a:lnTo>
                  <a:lnTo>
                    <a:pt x="4" y="838"/>
                  </a:lnTo>
                  <a:lnTo>
                    <a:pt x="7" y="847"/>
                  </a:lnTo>
                  <a:lnTo>
                    <a:pt x="12" y="854"/>
                  </a:lnTo>
                  <a:lnTo>
                    <a:pt x="16" y="862"/>
                  </a:lnTo>
                  <a:lnTo>
                    <a:pt x="21" y="869"/>
                  </a:lnTo>
                  <a:lnTo>
                    <a:pt x="27" y="876"/>
                  </a:lnTo>
                  <a:lnTo>
                    <a:pt x="33" y="881"/>
                  </a:lnTo>
                  <a:lnTo>
                    <a:pt x="40" y="887"/>
                  </a:lnTo>
                  <a:lnTo>
                    <a:pt x="47" y="891"/>
                  </a:lnTo>
                  <a:lnTo>
                    <a:pt x="56" y="895"/>
                  </a:lnTo>
                  <a:lnTo>
                    <a:pt x="64" y="898"/>
                  </a:lnTo>
                  <a:lnTo>
                    <a:pt x="73" y="900"/>
                  </a:lnTo>
                  <a:lnTo>
                    <a:pt x="81" y="902"/>
                  </a:lnTo>
                  <a:lnTo>
                    <a:pt x="91" y="903"/>
                  </a:lnTo>
                  <a:lnTo>
                    <a:pt x="602" y="903"/>
                  </a:lnTo>
                  <a:lnTo>
                    <a:pt x="611" y="902"/>
                  </a:lnTo>
                  <a:lnTo>
                    <a:pt x="620" y="900"/>
                  </a:lnTo>
                  <a:lnTo>
                    <a:pt x="629" y="898"/>
                  </a:lnTo>
                  <a:lnTo>
                    <a:pt x="637" y="895"/>
                  </a:lnTo>
                  <a:lnTo>
                    <a:pt x="645" y="891"/>
                  </a:lnTo>
                  <a:lnTo>
                    <a:pt x="652" y="887"/>
                  </a:lnTo>
                  <a:lnTo>
                    <a:pt x="659" y="881"/>
                  </a:lnTo>
                  <a:lnTo>
                    <a:pt x="665" y="876"/>
                  </a:lnTo>
                  <a:lnTo>
                    <a:pt x="672" y="869"/>
                  </a:lnTo>
                  <a:lnTo>
                    <a:pt x="677" y="862"/>
                  </a:lnTo>
                  <a:lnTo>
                    <a:pt x="681" y="854"/>
                  </a:lnTo>
                  <a:lnTo>
                    <a:pt x="685" y="847"/>
                  </a:lnTo>
                  <a:lnTo>
                    <a:pt x="688" y="838"/>
                  </a:lnTo>
                  <a:lnTo>
                    <a:pt x="690" y="830"/>
                  </a:lnTo>
                  <a:lnTo>
                    <a:pt x="692" y="821"/>
                  </a:lnTo>
                  <a:lnTo>
                    <a:pt x="692" y="812"/>
                  </a:lnTo>
                  <a:lnTo>
                    <a:pt x="692" y="91"/>
                  </a:lnTo>
                  <a:lnTo>
                    <a:pt x="692" y="81"/>
                  </a:lnTo>
                  <a:lnTo>
                    <a:pt x="690" y="72"/>
                  </a:lnTo>
                  <a:lnTo>
                    <a:pt x="688" y="64"/>
                  </a:lnTo>
                  <a:lnTo>
                    <a:pt x="685" y="55"/>
                  </a:lnTo>
                  <a:lnTo>
                    <a:pt x="681" y="48"/>
                  </a:lnTo>
                  <a:lnTo>
                    <a:pt x="677" y="40"/>
                  </a:lnTo>
                  <a:lnTo>
                    <a:pt x="672" y="33"/>
                  </a:lnTo>
                  <a:lnTo>
                    <a:pt x="665" y="26"/>
                  </a:lnTo>
                  <a:lnTo>
                    <a:pt x="659" y="21"/>
                  </a:lnTo>
                  <a:lnTo>
                    <a:pt x="652" y="16"/>
                  </a:lnTo>
                  <a:lnTo>
                    <a:pt x="645" y="11"/>
                  </a:lnTo>
                  <a:lnTo>
                    <a:pt x="637" y="7"/>
                  </a:lnTo>
                  <a:lnTo>
                    <a:pt x="629" y="4"/>
                  </a:lnTo>
                  <a:lnTo>
                    <a:pt x="620" y="2"/>
                  </a:lnTo>
                  <a:lnTo>
                    <a:pt x="611" y="1"/>
                  </a:lnTo>
                  <a:lnTo>
                    <a:pt x="602" y="0"/>
                  </a:lnTo>
                  <a:lnTo>
                    <a:pt x="6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1" name="Freeform 190">
              <a:extLst>
                <a:ext uri="{FF2B5EF4-FFF2-40B4-BE49-F238E27FC236}">
                  <a16:creationId xmlns:a16="http://schemas.microsoft.com/office/drawing/2014/main" id="{D88CF014-23E9-4322-B4F7-01388F5545DF}"/>
                </a:ext>
              </a:extLst>
            </p:cNvPr>
            <p:cNvSpPr>
              <a:spLocks noEditPoints="1"/>
            </p:cNvSpPr>
            <p:nvPr/>
          </p:nvSpPr>
          <p:spPr bwMode="auto">
            <a:xfrm>
              <a:off x="9375775" y="809625"/>
              <a:ext cx="163513" cy="66675"/>
            </a:xfrm>
            <a:custGeom>
              <a:avLst/>
              <a:gdLst>
                <a:gd name="T0" fmla="*/ 30 w 511"/>
                <a:gd name="T1" fmla="*/ 41 h 210"/>
                <a:gd name="T2" fmla="*/ 32 w 511"/>
                <a:gd name="T3" fmla="*/ 36 h 210"/>
                <a:gd name="T4" fmla="*/ 36 w 511"/>
                <a:gd name="T5" fmla="*/ 32 h 210"/>
                <a:gd name="T6" fmla="*/ 42 w 511"/>
                <a:gd name="T7" fmla="*/ 30 h 210"/>
                <a:gd name="T8" fmla="*/ 466 w 511"/>
                <a:gd name="T9" fmla="*/ 30 h 210"/>
                <a:gd name="T10" fmla="*/ 471 w 511"/>
                <a:gd name="T11" fmla="*/ 31 h 210"/>
                <a:gd name="T12" fmla="*/ 477 w 511"/>
                <a:gd name="T13" fmla="*/ 34 h 210"/>
                <a:gd name="T14" fmla="*/ 480 w 511"/>
                <a:gd name="T15" fmla="*/ 38 h 210"/>
                <a:gd name="T16" fmla="*/ 481 w 511"/>
                <a:gd name="T17" fmla="*/ 45 h 210"/>
                <a:gd name="T18" fmla="*/ 480 w 511"/>
                <a:gd name="T19" fmla="*/ 168 h 210"/>
                <a:gd name="T20" fmla="*/ 478 w 511"/>
                <a:gd name="T21" fmla="*/ 173 h 210"/>
                <a:gd name="T22" fmla="*/ 474 w 511"/>
                <a:gd name="T23" fmla="*/ 177 h 210"/>
                <a:gd name="T24" fmla="*/ 468 w 511"/>
                <a:gd name="T25" fmla="*/ 180 h 210"/>
                <a:gd name="T26" fmla="*/ 45 w 511"/>
                <a:gd name="T27" fmla="*/ 180 h 210"/>
                <a:gd name="T28" fmla="*/ 39 w 511"/>
                <a:gd name="T29" fmla="*/ 179 h 210"/>
                <a:gd name="T30" fmla="*/ 34 w 511"/>
                <a:gd name="T31" fmla="*/ 175 h 210"/>
                <a:gd name="T32" fmla="*/ 31 w 511"/>
                <a:gd name="T33" fmla="*/ 171 h 210"/>
                <a:gd name="T34" fmla="*/ 30 w 511"/>
                <a:gd name="T35" fmla="*/ 165 h 210"/>
                <a:gd name="T36" fmla="*/ 45 w 511"/>
                <a:gd name="T37" fmla="*/ 210 h 210"/>
                <a:gd name="T38" fmla="*/ 475 w 511"/>
                <a:gd name="T39" fmla="*/ 209 h 210"/>
                <a:gd name="T40" fmla="*/ 491 w 511"/>
                <a:gd name="T41" fmla="*/ 202 h 210"/>
                <a:gd name="T42" fmla="*/ 504 w 511"/>
                <a:gd name="T43" fmla="*/ 190 h 210"/>
                <a:gd name="T44" fmla="*/ 510 w 511"/>
                <a:gd name="T45" fmla="*/ 174 h 210"/>
                <a:gd name="T46" fmla="*/ 511 w 511"/>
                <a:gd name="T47" fmla="*/ 45 h 210"/>
                <a:gd name="T48" fmla="*/ 507 w 511"/>
                <a:gd name="T49" fmla="*/ 26 h 210"/>
                <a:gd name="T50" fmla="*/ 497 w 511"/>
                <a:gd name="T51" fmla="*/ 13 h 210"/>
                <a:gd name="T52" fmla="*/ 483 w 511"/>
                <a:gd name="T53" fmla="*/ 3 h 210"/>
                <a:gd name="T54" fmla="*/ 466 w 511"/>
                <a:gd name="T55" fmla="*/ 0 h 210"/>
                <a:gd name="T56" fmla="*/ 35 w 511"/>
                <a:gd name="T57" fmla="*/ 1 h 210"/>
                <a:gd name="T58" fmla="*/ 19 w 511"/>
                <a:gd name="T59" fmla="*/ 7 h 210"/>
                <a:gd name="T60" fmla="*/ 8 w 511"/>
                <a:gd name="T61" fmla="*/ 19 h 210"/>
                <a:gd name="T62" fmla="*/ 0 w 511"/>
                <a:gd name="T63" fmla="*/ 35 h 210"/>
                <a:gd name="T64" fmla="*/ 0 w 511"/>
                <a:gd name="T65" fmla="*/ 165 h 210"/>
                <a:gd name="T66" fmla="*/ 3 w 511"/>
                <a:gd name="T67" fmla="*/ 182 h 210"/>
                <a:gd name="T68" fmla="*/ 13 w 511"/>
                <a:gd name="T69" fmla="*/ 197 h 210"/>
                <a:gd name="T70" fmla="*/ 27 w 511"/>
                <a:gd name="T71" fmla="*/ 206 h 210"/>
                <a:gd name="T72" fmla="*/ 45 w 511"/>
                <a:gd name="T73"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1" h="210">
                  <a:moveTo>
                    <a:pt x="30" y="45"/>
                  </a:moveTo>
                  <a:lnTo>
                    <a:pt x="30" y="41"/>
                  </a:lnTo>
                  <a:lnTo>
                    <a:pt x="31" y="38"/>
                  </a:lnTo>
                  <a:lnTo>
                    <a:pt x="32" y="36"/>
                  </a:lnTo>
                  <a:lnTo>
                    <a:pt x="34" y="34"/>
                  </a:lnTo>
                  <a:lnTo>
                    <a:pt x="36" y="32"/>
                  </a:lnTo>
                  <a:lnTo>
                    <a:pt x="39" y="31"/>
                  </a:lnTo>
                  <a:lnTo>
                    <a:pt x="42" y="30"/>
                  </a:lnTo>
                  <a:lnTo>
                    <a:pt x="45" y="30"/>
                  </a:lnTo>
                  <a:lnTo>
                    <a:pt x="466" y="30"/>
                  </a:lnTo>
                  <a:lnTo>
                    <a:pt x="468" y="30"/>
                  </a:lnTo>
                  <a:lnTo>
                    <a:pt x="471" y="31"/>
                  </a:lnTo>
                  <a:lnTo>
                    <a:pt x="474" y="32"/>
                  </a:lnTo>
                  <a:lnTo>
                    <a:pt x="477" y="34"/>
                  </a:lnTo>
                  <a:lnTo>
                    <a:pt x="478" y="36"/>
                  </a:lnTo>
                  <a:lnTo>
                    <a:pt x="480" y="38"/>
                  </a:lnTo>
                  <a:lnTo>
                    <a:pt x="480" y="41"/>
                  </a:lnTo>
                  <a:lnTo>
                    <a:pt x="481" y="45"/>
                  </a:lnTo>
                  <a:lnTo>
                    <a:pt x="481" y="165"/>
                  </a:lnTo>
                  <a:lnTo>
                    <a:pt x="480" y="168"/>
                  </a:lnTo>
                  <a:lnTo>
                    <a:pt x="480" y="170"/>
                  </a:lnTo>
                  <a:lnTo>
                    <a:pt x="478" y="173"/>
                  </a:lnTo>
                  <a:lnTo>
                    <a:pt x="477" y="175"/>
                  </a:lnTo>
                  <a:lnTo>
                    <a:pt x="474" y="177"/>
                  </a:lnTo>
                  <a:lnTo>
                    <a:pt x="471" y="179"/>
                  </a:lnTo>
                  <a:lnTo>
                    <a:pt x="468" y="180"/>
                  </a:lnTo>
                  <a:lnTo>
                    <a:pt x="466" y="180"/>
                  </a:lnTo>
                  <a:lnTo>
                    <a:pt x="45" y="180"/>
                  </a:lnTo>
                  <a:lnTo>
                    <a:pt x="42" y="180"/>
                  </a:lnTo>
                  <a:lnTo>
                    <a:pt x="39" y="179"/>
                  </a:lnTo>
                  <a:lnTo>
                    <a:pt x="36" y="177"/>
                  </a:lnTo>
                  <a:lnTo>
                    <a:pt x="34" y="175"/>
                  </a:lnTo>
                  <a:lnTo>
                    <a:pt x="32" y="173"/>
                  </a:lnTo>
                  <a:lnTo>
                    <a:pt x="31" y="171"/>
                  </a:lnTo>
                  <a:lnTo>
                    <a:pt x="30" y="168"/>
                  </a:lnTo>
                  <a:lnTo>
                    <a:pt x="30" y="165"/>
                  </a:lnTo>
                  <a:lnTo>
                    <a:pt x="30" y="45"/>
                  </a:lnTo>
                  <a:close/>
                  <a:moveTo>
                    <a:pt x="45" y="210"/>
                  </a:moveTo>
                  <a:lnTo>
                    <a:pt x="466" y="210"/>
                  </a:lnTo>
                  <a:lnTo>
                    <a:pt x="475" y="209"/>
                  </a:lnTo>
                  <a:lnTo>
                    <a:pt x="483" y="206"/>
                  </a:lnTo>
                  <a:lnTo>
                    <a:pt x="491" y="202"/>
                  </a:lnTo>
                  <a:lnTo>
                    <a:pt x="497" y="197"/>
                  </a:lnTo>
                  <a:lnTo>
                    <a:pt x="504" y="190"/>
                  </a:lnTo>
                  <a:lnTo>
                    <a:pt x="507" y="182"/>
                  </a:lnTo>
                  <a:lnTo>
                    <a:pt x="510" y="174"/>
                  </a:lnTo>
                  <a:lnTo>
                    <a:pt x="511" y="165"/>
                  </a:lnTo>
                  <a:lnTo>
                    <a:pt x="511" y="45"/>
                  </a:lnTo>
                  <a:lnTo>
                    <a:pt x="510" y="35"/>
                  </a:lnTo>
                  <a:lnTo>
                    <a:pt x="507" y="26"/>
                  </a:lnTo>
                  <a:lnTo>
                    <a:pt x="504" y="19"/>
                  </a:lnTo>
                  <a:lnTo>
                    <a:pt x="497" y="13"/>
                  </a:lnTo>
                  <a:lnTo>
                    <a:pt x="491" y="7"/>
                  </a:lnTo>
                  <a:lnTo>
                    <a:pt x="483" y="3"/>
                  </a:lnTo>
                  <a:lnTo>
                    <a:pt x="475" y="1"/>
                  </a:lnTo>
                  <a:lnTo>
                    <a:pt x="466" y="0"/>
                  </a:lnTo>
                  <a:lnTo>
                    <a:pt x="45" y="0"/>
                  </a:lnTo>
                  <a:lnTo>
                    <a:pt x="35" y="1"/>
                  </a:lnTo>
                  <a:lnTo>
                    <a:pt x="27" y="3"/>
                  </a:lnTo>
                  <a:lnTo>
                    <a:pt x="19" y="7"/>
                  </a:lnTo>
                  <a:lnTo>
                    <a:pt x="13" y="13"/>
                  </a:lnTo>
                  <a:lnTo>
                    <a:pt x="8" y="19"/>
                  </a:lnTo>
                  <a:lnTo>
                    <a:pt x="3" y="26"/>
                  </a:lnTo>
                  <a:lnTo>
                    <a:pt x="0" y="35"/>
                  </a:lnTo>
                  <a:lnTo>
                    <a:pt x="0" y="45"/>
                  </a:lnTo>
                  <a:lnTo>
                    <a:pt x="0" y="165"/>
                  </a:lnTo>
                  <a:lnTo>
                    <a:pt x="0" y="173"/>
                  </a:lnTo>
                  <a:lnTo>
                    <a:pt x="3" y="182"/>
                  </a:lnTo>
                  <a:lnTo>
                    <a:pt x="8" y="190"/>
                  </a:lnTo>
                  <a:lnTo>
                    <a:pt x="13" y="197"/>
                  </a:lnTo>
                  <a:lnTo>
                    <a:pt x="19" y="202"/>
                  </a:lnTo>
                  <a:lnTo>
                    <a:pt x="27" y="206"/>
                  </a:lnTo>
                  <a:lnTo>
                    <a:pt x="35" y="209"/>
                  </a:lnTo>
                  <a:lnTo>
                    <a:pt x="45" y="210"/>
                  </a:lnTo>
                  <a:lnTo>
                    <a:pt x="4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2" name="Freeform 191">
              <a:extLst>
                <a:ext uri="{FF2B5EF4-FFF2-40B4-BE49-F238E27FC236}">
                  <a16:creationId xmlns:a16="http://schemas.microsoft.com/office/drawing/2014/main" id="{6EB704C3-2742-4DDC-9159-A96E58B306FD}"/>
                </a:ext>
              </a:extLst>
            </p:cNvPr>
            <p:cNvSpPr>
              <a:spLocks/>
            </p:cNvSpPr>
            <p:nvPr/>
          </p:nvSpPr>
          <p:spPr bwMode="auto">
            <a:xfrm>
              <a:off x="9375775" y="914400"/>
              <a:ext cx="47625" cy="47625"/>
            </a:xfrm>
            <a:custGeom>
              <a:avLst/>
              <a:gdLst>
                <a:gd name="T0" fmla="*/ 60 w 150"/>
                <a:gd name="T1" fmla="*/ 91 h 151"/>
                <a:gd name="T2" fmla="*/ 60 w 150"/>
                <a:gd name="T3" fmla="*/ 139 h 151"/>
                <a:gd name="T4" fmla="*/ 62 w 150"/>
                <a:gd name="T5" fmla="*/ 144 h 151"/>
                <a:gd name="T6" fmla="*/ 66 w 150"/>
                <a:gd name="T7" fmla="*/ 147 h 151"/>
                <a:gd name="T8" fmla="*/ 72 w 150"/>
                <a:gd name="T9" fmla="*/ 151 h 151"/>
                <a:gd name="T10" fmla="*/ 78 w 150"/>
                <a:gd name="T11" fmla="*/ 150 h 151"/>
                <a:gd name="T12" fmla="*/ 84 w 150"/>
                <a:gd name="T13" fmla="*/ 147 h 151"/>
                <a:gd name="T14" fmla="*/ 87 w 150"/>
                <a:gd name="T15" fmla="*/ 144 h 151"/>
                <a:gd name="T16" fmla="*/ 89 w 150"/>
                <a:gd name="T17" fmla="*/ 139 h 151"/>
                <a:gd name="T18" fmla="*/ 90 w 150"/>
                <a:gd name="T19" fmla="*/ 91 h 151"/>
                <a:gd name="T20" fmla="*/ 138 w 150"/>
                <a:gd name="T21" fmla="*/ 90 h 151"/>
                <a:gd name="T22" fmla="*/ 144 w 150"/>
                <a:gd name="T23" fmla="*/ 87 h 151"/>
                <a:gd name="T24" fmla="*/ 148 w 150"/>
                <a:gd name="T25" fmla="*/ 83 h 151"/>
                <a:gd name="T26" fmla="*/ 150 w 150"/>
                <a:gd name="T27" fmla="*/ 78 h 151"/>
                <a:gd name="T28" fmla="*/ 150 w 150"/>
                <a:gd name="T29" fmla="*/ 72 h 151"/>
                <a:gd name="T30" fmla="*/ 148 w 150"/>
                <a:gd name="T31" fmla="*/ 67 h 151"/>
                <a:gd name="T32" fmla="*/ 144 w 150"/>
                <a:gd name="T33" fmla="*/ 63 h 151"/>
                <a:gd name="T34" fmla="*/ 138 w 150"/>
                <a:gd name="T35" fmla="*/ 61 h 151"/>
                <a:gd name="T36" fmla="*/ 90 w 150"/>
                <a:gd name="T37" fmla="*/ 61 h 151"/>
                <a:gd name="T38" fmla="*/ 89 w 150"/>
                <a:gd name="T39" fmla="*/ 12 h 151"/>
                <a:gd name="T40" fmla="*/ 87 w 150"/>
                <a:gd name="T41" fmla="*/ 7 h 151"/>
                <a:gd name="T42" fmla="*/ 84 w 150"/>
                <a:gd name="T43" fmla="*/ 3 h 151"/>
                <a:gd name="T44" fmla="*/ 78 w 150"/>
                <a:gd name="T45" fmla="*/ 1 h 151"/>
                <a:gd name="T46" fmla="*/ 72 w 150"/>
                <a:gd name="T47" fmla="*/ 1 h 151"/>
                <a:gd name="T48" fmla="*/ 66 w 150"/>
                <a:gd name="T49" fmla="*/ 3 h 151"/>
                <a:gd name="T50" fmla="*/ 62 w 150"/>
                <a:gd name="T51" fmla="*/ 7 h 151"/>
                <a:gd name="T52" fmla="*/ 60 w 150"/>
                <a:gd name="T53" fmla="*/ 12 h 151"/>
                <a:gd name="T54" fmla="*/ 60 w 150"/>
                <a:gd name="T55" fmla="*/ 61 h 151"/>
                <a:gd name="T56" fmla="*/ 12 w 150"/>
                <a:gd name="T57" fmla="*/ 61 h 151"/>
                <a:gd name="T58" fmla="*/ 6 w 150"/>
                <a:gd name="T59" fmla="*/ 63 h 151"/>
                <a:gd name="T60" fmla="*/ 2 w 150"/>
                <a:gd name="T61" fmla="*/ 67 h 151"/>
                <a:gd name="T62" fmla="*/ 0 w 150"/>
                <a:gd name="T63" fmla="*/ 72 h 151"/>
                <a:gd name="T64" fmla="*/ 0 w 150"/>
                <a:gd name="T65" fmla="*/ 78 h 151"/>
                <a:gd name="T66" fmla="*/ 2 w 150"/>
                <a:gd name="T67" fmla="*/ 83 h 151"/>
                <a:gd name="T68" fmla="*/ 6 w 150"/>
                <a:gd name="T69" fmla="*/ 87 h 151"/>
                <a:gd name="T70" fmla="*/ 12 w 150"/>
                <a:gd name="T71" fmla="*/ 9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1">
                  <a:moveTo>
                    <a:pt x="15" y="91"/>
                  </a:moveTo>
                  <a:lnTo>
                    <a:pt x="60" y="91"/>
                  </a:lnTo>
                  <a:lnTo>
                    <a:pt x="60" y="136"/>
                  </a:lnTo>
                  <a:lnTo>
                    <a:pt x="60" y="139"/>
                  </a:lnTo>
                  <a:lnTo>
                    <a:pt x="61" y="141"/>
                  </a:lnTo>
                  <a:lnTo>
                    <a:pt x="62" y="144"/>
                  </a:lnTo>
                  <a:lnTo>
                    <a:pt x="64" y="146"/>
                  </a:lnTo>
                  <a:lnTo>
                    <a:pt x="66" y="147"/>
                  </a:lnTo>
                  <a:lnTo>
                    <a:pt x="69" y="150"/>
                  </a:lnTo>
                  <a:lnTo>
                    <a:pt x="72" y="151"/>
                  </a:lnTo>
                  <a:lnTo>
                    <a:pt x="75" y="151"/>
                  </a:lnTo>
                  <a:lnTo>
                    <a:pt x="78" y="150"/>
                  </a:lnTo>
                  <a:lnTo>
                    <a:pt x="80" y="150"/>
                  </a:lnTo>
                  <a:lnTo>
                    <a:pt x="84" y="147"/>
                  </a:lnTo>
                  <a:lnTo>
                    <a:pt x="86" y="146"/>
                  </a:lnTo>
                  <a:lnTo>
                    <a:pt x="87" y="144"/>
                  </a:lnTo>
                  <a:lnTo>
                    <a:pt x="89" y="141"/>
                  </a:lnTo>
                  <a:lnTo>
                    <a:pt x="89" y="139"/>
                  </a:lnTo>
                  <a:lnTo>
                    <a:pt x="90" y="136"/>
                  </a:lnTo>
                  <a:lnTo>
                    <a:pt x="90" y="91"/>
                  </a:lnTo>
                  <a:lnTo>
                    <a:pt x="135" y="91"/>
                  </a:lnTo>
                  <a:lnTo>
                    <a:pt x="138" y="90"/>
                  </a:lnTo>
                  <a:lnTo>
                    <a:pt x="140" y="90"/>
                  </a:lnTo>
                  <a:lnTo>
                    <a:pt x="144" y="87"/>
                  </a:lnTo>
                  <a:lnTo>
                    <a:pt x="146" y="86"/>
                  </a:lnTo>
                  <a:lnTo>
                    <a:pt x="148" y="83"/>
                  </a:lnTo>
                  <a:lnTo>
                    <a:pt x="149" y="81"/>
                  </a:lnTo>
                  <a:lnTo>
                    <a:pt x="150" y="78"/>
                  </a:lnTo>
                  <a:lnTo>
                    <a:pt x="150" y="76"/>
                  </a:lnTo>
                  <a:lnTo>
                    <a:pt x="150" y="72"/>
                  </a:lnTo>
                  <a:lnTo>
                    <a:pt x="149" y="69"/>
                  </a:lnTo>
                  <a:lnTo>
                    <a:pt x="148" y="67"/>
                  </a:lnTo>
                  <a:lnTo>
                    <a:pt x="146" y="65"/>
                  </a:lnTo>
                  <a:lnTo>
                    <a:pt x="144" y="63"/>
                  </a:lnTo>
                  <a:lnTo>
                    <a:pt x="140" y="62"/>
                  </a:lnTo>
                  <a:lnTo>
                    <a:pt x="138" y="61"/>
                  </a:lnTo>
                  <a:lnTo>
                    <a:pt x="135" y="61"/>
                  </a:lnTo>
                  <a:lnTo>
                    <a:pt x="90" y="61"/>
                  </a:lnTo>
                  <a:lnTo>
                    <a:pt x="90" y="15"/>
                  </a:lnTo>
                  <a:lnTo>
                    <a:pt x="89" y="12"/>
                  </a:lnTo>
                  <a:lnTo>
                    <a:pt x="89" y="9"/>
                  </a:lnTo>
                  <a:lnTo>
                    <a:pt x="87" y="7"/>
                  </a:lnTo>
                  <a:lnTo>
                    <a:pt x="86" y="5"/>
                  </a:lnTo>
                  <a:lnTo>
                    <a:pt x="84" y="3"/>
                  </a:lnTo>
                  <a:lnTo>
                    <a:pt x="80" y="2"/>
                  </a:lnTo>
                  <a:lnTo>
                    <a:pt x="78" y="1"/>
                  </a:lnTo>
                  <a:lnTo>
                    <a:pt x="75" y="0"/>
                  </a:lnTo>
                  <a:lnTo>
                    <a:pt x="72" y="1"/>
                  </a:lnTo>
                  <a:lnTo>
                    <a:pt x="69" y="2"/>
                  </a:lnTo>
                  <a:lnTo>
                    <a:pt x="66" y="3"/>
                  </a:lnTo>
                  <a:lnTo>
                    <a:pt x="64" y="5"/>
                  </a:lnTo>
                  <a:lnTo>
                    <a:pt x="62" y="7"/>
                  </a:lnTo>
                  <a:lnTo>
                    <a:pt x="61" y="9"/>
                  </a:lnTo>
                  <a:lnTo>
                    <a:pt x="60" y="12"/>
                  </a:lnTo>
                  <a:lnTo>
                    <a:pt x="60" y="16"/>
                  </a:lnTo>
                  <a:lnTo>
                    <a:pt x="60" y="61"/>
                  </a:lnTo>
                  <a:lnTo>
                    <a:pt x="15" y="61"/>
                  </a:lnTo>
                  <a:lnTo>
                    <a:pt x="12" y="61"/>
                  </a:lnTo>
                  <a:lnTo>
                    <a:pt x="9" y="62"/>
                  </a:lnTo>
                  <a:lnTo>
                    <a:pt x="6" y="63"/>
                  </a:lnTo>
                  <a:lnTo>
                    <a:pt x="4" y="65"/>
                  </a:lnTo>
                  <a:lnTo>
                    <a:pt x="2" y="67"/>
                  </a:lnTo>
                  <a:lnTo>
                    <a:pt x="1" y="69"/>
                  </a:lnTo>
                  <a:lnTo>
                    <a:pt x="0" y="72"/>
                  </a:lnTo>
                  <a:lnTo>
                    <a:pt x="0" y="76"/>
                  </a:lnTo>
                  <a:lnTo>
                    <a:pt x="0" y="78"/>
                  </a:lnTo>
                  <a:lnTo>
                    <a:pt x="1" y="81"/>
                  </a:lnTo>
                  <a:lnTo>
                    <a:pt x="2" y="83"/>
                  </a:lnTo>
                  <a:lnTo>
                    <a:pt x="4" y="86"/>
                  </a:lnTo>
                  <a:lnTo>
                    <a:pt x="6" y="87"/>
                  </a:lnTo>
                  <a:lnTo>
                    <a:pt x="9" y="90"/>
                  </a:lnTo>
                  <a:lnTo>
                    <a:pt x="12" y="90"/>
                  </a:lnTo>
                  <a:lnTo>
                    <a:pt x="15"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3" name="Freeform 192">
              <a:extLst>
                <a:ext uri="{FF2B5EF4-FFF2-40B4-BE49-F238E27FC236}">
                  <a16:creationId xmlns:a16="http://schemas.microsoft.com/office/drawing/2014/main" id="{1973B31E-1261-47F0-BF36-BAED7B386618}"/>
                </a:ext>
              </a:extLst>
            </p:cNvPr>
            <p:cNvSpPr>
              <a:spLocks/>
            </p:cNvSpPr>
            <p:nvPr/>
          </p:nvSpPr>
          <p:spPr bwMode="auto">
            <a:xfrm>
              <a:off x="9485313" y="933450"/>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2 h 30"/>
                <a:gd name="T10" fmla="*/ 4 w 151"/>
                <a:gd name="T11" fmla="*/ 4 h 30"/>
                <a:gd name="T12" fmla="*/ 3 w 151"/>
                <a:gd name="T13" fmla="*/ 6 h 30"/>
                <a:gd name="T14" fmla="*/ 1 w 151"/>
                <a:gd name="T15" fmla="*/ 8 h 30"/>
                <a:gd name="T16" fmla="*/ 1 w 151"/>
                <a:gd name="T17" fmla="*/ 11 h 30"/>
                <a:gd name="T18" fmla="*/ 0 w 151"/>
                <a:gd name="T19" fmla="*/ 15 h 30"/>
                <a:gd name="T20" fmla="*/ 1 w 151"/>
                <a:gd name="T21" fmla="*/ 17 h 30"/>
                <a:gd name="T22" fmla="*/ 1 w 151"/>
                <a:gd name="T23" fmla="*/ 20 h 30"/>
                <a:gd name="T24" fmla="*/ 3 w 151"/>
                <a:gd name="T25" fmla="*/ 22 h 30"/>
                <a:gd name="T26" fmla="*/ 4 w 151"/>
                <a:gd name="T27" fmla="*/ 25 h 30"/>
                <a:gd name="T28" fmla="*/ 7 w 151"/>
                <a:gd name="T29" fmla="*/ 26 h 30"/>
                <a:gd name="T30" fmla="*/ 10 w 151"/>
                <a:gd name="T31" fmla="*/ 29 h 30"/>
                <a:gd name="T32" fmla="*/ 13 w 151"/>
                <a:gd name="T33" fmla="*/ 29 h 30"/>
                <a:gd name="T34" fmla="*/ 15 w 151"/>
                <a:gd name="T35" fmla="*/ 30 h 30"/>
                <a:gd name="T36" fmla="*/ 136 w 151"/>
                <a:gd name="T37" fmla="*/ 30 h 30"/>
                <a:gd name="T38" fmla="*/ 139 w 151"/>
                <a:gd name="T39" fmla="*/ 29 h 30"/>
                <a:gd name="T40" fmla="*/ 141 w 151"/>
                <a:gd name="T41" fmla="*/ 29 h 30"/>
                <a:gd name="T42" fmla="*/ 145 w 151"/>
                <a:gd name="T43" fmla="*/ 26 h 30"/>
                <a:gd name="T44" fmla="*/ 147 w 151"/>
                <a:gd name="T45" fmla="*/ 25 h 30"/>
                <a:gd name="T46" fmla="*/ 148 w 151"/>
                <a:gd name="T47" fmla="*/ 22 h 30"/>
                <a:gd name="T48" fmla="*/ 150 w 151"/>
                <a:gd name="T49" fmla="*/ 20 h 30"/>
                <a:gd name="T50" fmla="*/ 150 w 151"/>
                <a:gd name="T51" fmla="*/ 17 h 30"/>
                <a:gd name="T52" fmla="*/ 151 w 151"/>
                <a:gd name="T53" fmla="*/ 15 h 30"/>
                <a:gd name="T54" fmla="*/ 150 w 151"/>
                <a:gd name="T55" fmla="*/ 11 h 30"/>
                <a:gd name="T56" fmla="*/ 150 w 151"/>
                <a:gd name="T57" fmla="*/ 8 h 30"/>
                <a:gd name="T58" fmla="*/ 148 w 151"/>
                <a:gd name="T59" fmla="*/ 6 h 30"/>
                <a:gd name="T60" fmla="*/ 147 w 151"/>
                <a:gd name="T61" fmla="*/ 4 h 30"/>
                <a:gd name="T62" fmla="*/ 145 w 151"/>
                <a:gd name="T63" fmla="*/ 2 h 30"/>
                <a:gd name="T64" fmla="*/ 141 w 151"/>
                <a:gd name="T65" fmla="*/ 1 h 30"/>
                <a:gd name="T66" fmla="*/ 139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3" y="0"/>
                  </a:lnTo>
                  <a:lnTo>
                    <a:pt x="10" y="1"/>
                  </a:lnTo>
                  <a:lnTo>
                    <a:pt x="7" y="2"/>
                  </a:lnTo>
                  <a:lnTo>
                    <a:pt x="4" y="4"/>
                  </a:lnTo>
                  <a:lnTo>
                    <a:pt x="3" y="6"/>
                  </a:lnTo>
                  <a:lnTo>
                    <a:pt x="1" y="8"/>
                  </a:lnTo>
                  <a:lnTo>
                    <a:pt x="1" y="11"/>
                  </a:lnTo>
                  <a:lnTo>
                    <a:pt x="0" y="15"/>
                  </a:lnTo>
                  <a:lnTo>
                    <a:pt x="1" y="17"/>
                  </a:lnTo>
                  <a:lnTo>
                    <a:pt x="1" y="20"/>
                  </a:lnTo>
                  <a:lnTo>
                    <a:pt x="3" y="22"/>
                  </a:lnTo>
                  <a:lnTo>
                    <a:pt x="4" y="25"/>
                  </a:lnTo>
                  <a:lnTo>
                    <a:pt x="7" y="26"/>
                  </a:lnTo>
                  <a:lnTo>
                    <a:pt x="10" y="29"/>
                  </a:lnTo>
                  <a:lnTo>
                    <a:pt x="13" y="29"/>
                  </a:lnTo>
                  <a:lnTo>
                    <a:pt x="15" y="30"/>
                  </a:lnTo>
                  <a:lnTo>
                    <a:pt x="136" y="30"/>
                  </a:lnTo>
                  <a:lnTo>
                    <a:pt x="139" y="29"/>
                  </a:lnTo>
                  <a:lnTo>
                    <a:pt x="141" y="29"/>
                  </a:lnTo>
                  <a:lnTo>
                    <a:pt x="145" y="26"/>
                  </a:lnTo>
                  <a:lnTo>
                    <a:pt x="147" y="25"/>
                  </a:lnTo>
                  <a:lnTo>
                    <a:pt x="148" y="22"/>
                  </a:lnTo>
                  <a:lnTo>
                    <a:pt x="150" y="20"/>
                  </a:lnTo>
                  <a:lnTo>
                    <a:pt x="150" y="17"/>
                  </a:lnTo>
                  <a:lnTo>
                    <a:pt x="151" y="15"/>
                  </a:lnTo>
                  <a:lnTo>
                    <a:pt x="150" y="11"/>
                  </a:lnTo>
                  <a:lnTo>
                    <a:pt x="150" y="8"/>
                  </a:lnTo>
                  <a:lnTo>
                    <a:pt x="148" y="6"/>
                  </a:lnTo>
                  <a:lnTo>
                    <a:pt x="147" y="4"/>
                  </a:lnTo>
                  <a:lnTo>
                    <a:pt x="145" y="2"/>
                  </a:lnTo>
                  <a:lnTo>
                    <a:pt x="141" y="1"/>
                  </a:lnTo>
                  <a:lnTo>
                    <a:pt x="139"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4" name="Freeform 193">
              <a:extLst>
                <a:ext uri="{FF2B5EF4-FFF2-40B4-BE49-F238E27FC236}">
                  <a16:creationId xmlns:a16="http://schemas.microsoft.com/office/drawing/2014/main" id="{319DA456-D5D4-40ED-926A-C1164017348A}"/>
                </a:ext>
              </a:extLst>
            </p:cNvPr>
            <p:cNvSpPr>
              <a:spLocks/>
            </p:cNvSpPr>
            <p:nvPr/>
          </p:nvSpPr>
          <p:spPr bwMode="auto">
            <a:xfrm>
              <a:off x="9485313" y="1000125"/>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2 h 30"/>
                <a:gd name="T10" fmla="*/ 4 w 151"/>
                <a:gd name="T11" fmla="*/ 4 h 30"/>
                <a:gd name="T12" fmla="*/ 3 w 151"/>
                <a:gd name="T13" fmla="*/ 6 h 30"/>
                <a:gd name="T14" fmla="*/ 1 w 151"/>
                <a:gd name="T15" fmla="*/ 9 h 30"/>
                <a:gd name="T16" fmla="*/ 1 w 151"/>
                <a:gd name="T17" fmla="*/ 11 h 30"/>
                <a:gd name="T18" fmla="*/ 0 w 151"/>
                <a:gd name="T19" fmla="*/ 15 h 30"/>
                <a:gd name="T20" fmla="*/ 1 w 151"/>
                <a:gd name="T21" fmla="*/ 18 h 30"/>
                <a:gd name="T22" fmla="*/ 1 w 151"/>
                <a:gd name="T23" fmla="*/ 21 h 30"/>
                <a:gd name="T24" fmla="*/ 3 w 151"/>
                <a:gd name="T25" fmla="*/ 23 h 30"/>
                <a:gd name="T26" fmla="*/ 4 w 151"/>
                <a:gd name="T27" fmla="*/ 25 h 30"/>
                <a:gd name="T28" fmla="*/ 7 w 151"/>
                <a:gd name="T29" fmla="*/ 27 h 30"/>
                <a:gd name="T30" fmla="*/ 10 w 151"/>
                <a:gd name="T31" fmla="*/ 29 h 30"/>
                <a:gd name="T32" fmla="*/ 13 w 151"/>
                <a:gd name="T33" fmla="*/ 30 h 30"/>
                <a:gd name="T34" fmla="*/ 15 w 151"/>
                <a:gd name="T35" fmla="*/ 30 h 30"/>
                <a:gd name="T36" fmla="*/ 136 w 151"/>
                <a:gd name="T37" fmla="*/ 30 h 30"/>
                <a:gd name="T38" fmla="*/ 139 w 151"/>
                <a:gd name="T39" fmla="*/ 30 h 30"/>
                <a:gd name="T40" fmla="*/ 141 w 151"/>
                <a:gd name="T41" fmla="*/ 29 h 30"/>
                <a:gd name="T42" fmla="*/ 145 w 151"/>
                <a:gd name="T43" fmla="*/ 27 h 30"/>
                <a:gd name="T44" fmla="*/ 147 w 151"/>
                <a:gd name="T45" fmla="*/ 25 h 30"/>
                <a:gd name="T46" fmla="*/ 148 w 151"/>
                <a:gd name="T47" fmla="*/ 23 h 30"/>
                <a:gd name="T48" fmla="*/ 150 w 151"/>
                <a:gd name="T49" fmla="*/ 21 h 30"/>
                <a:gd name="T50" fmla="*/ 150 w 151"/>
                <a:gd name="T51" fmla="*/ 18 h 30"/>
                <a:gd name="T52" fmla="*/ 151 w 151"/>
                <a:gd name="T53" fmla="*/ 15 h 30"/>
                <a:gd name="T54" fmla="*/ 150 w 151"/>
                <a:gd name="T55" fmla="*/ 11 h 30"/>
                <a:gd name="T56" fmla="*/ 150 w 151"/>
                <a:gd name="T57" fmla="*/ 9 h 30"/>
                <a:gd name="T58" fmla="*/ 148 w 151"/>
                <a:gd name="T59" fmla="*/ 6 h 30"/>
                <a:gd name="T60" fmla="*/ 147 w 151"/>
                <a:gd name="T61" fmla="*/ 4 h 30"/>
                <a:gd name="T62" fmla="*/ 145 w 151"/>
                <a:gd name="T63" fmla="*/ 2 h 30"/>
                <a:gd name="T64" fmla="*/ 141 w 151"/>
                <a:gd name="T65" fmla="*/ 1 h 30"/>
                <a:gd name="T66" fmla="*/ 138 w 151"/>
                <a:gd name="T67" fmla="*/ 0 h 30"/>
                <a:gd name="T68" fmla="*/ 136 w 151"/>
                <a:gd name="T69" fmla="*/ 0 h 30"/>
                <a:gd name="T70" fmla="*/ 136 w 15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1" h="30">
                  <a:moveTo>
                    <a:pt x="136" y="0"/>
                  </a:moveTo>
                  <a:lnTo>
                    <a:pt x="15" y="0"/>
                  </a:lnTo>
                  <a:lnTo>
                    <a:pt x="13" y="0"/>
                  </a:lnTo>
                  <a:lnTo>
                    <a:pt x="10" y="1"/>
                  </a:lnTo>
                  <a:lnTo>
                    <a:pt x="7" y="2"/>
                  </a:lnTo>
                  <a:lnTo>
                    <a:pt x="4" y="4"/>
                  </a:lnTo>
                  <a:lnTo>
                    <a:pt x="3" y="6"/>
                  </a:lnTo>
                  <a:lnTo>
                    <a:pt x="1" y="9"/>
                  </a:lnTo>
                  <a:lnTo>
                    <a:pt x="1" y="11"/>
                  </a:lnTo>
                  <a:lnTo>
                    <a:pt x="0" y="15"/>
                  </a:lnTo>
                  <a:lnTo>
                    <a:pt x="1" y="18"/>
                  </a:lnTo>
                  <a:lnTo>
                    <a:pt x="1" y="21"/>
                  </a:lnTo>
                  <a:lnTo>
                    <a:pt x="3" y="23"/>
                  </a:lnTo>
                  <a:lnTo>
                    <a:pt x="4" y="25"/>
                  </a:lnTo>
                  <a:lnTo>
                    <a:pt x="7" y="27"/>
                  </a:lnTo>
                  <a:lnTo>
                    <a:pt x="10" y="29"/>
                  </a:lnTo>
                  <a:lnTo>
                    <a:pt x="13" y="30"/>
                  </a:lnTo>
                  <a:lnTo>
                    <a:pt x="15" y="30"/>
                  </a:lnTo>
                  <a:lnTo>
                    <a:pt x="136" y="30"/>
                  </a:lnTo>
                  <a:lnTo>
                    <a:pt x="139" y="30"/>
                  </a:lnTo>
                  <a:lnTo>
                    <a:pt x="141" y="29"/>
                  </a:lnTo>
                  <a:lnTo>
                    <a:pt x="145" y="27"/>
                  </a:lnTo>
                  <a:lnTo>
                    <a:pt x="147" y="25"/>
                  </a:lnTo>
                  <a:lnTo>
                    <a:pt x="148" y="23"/>
                  </a:lnTo>
                  <a:lnTo>
                    <a:pt x="150" y="21"/>
                  </a:lnTo>
                  <a:lnTo>
                    <a:pt x="150" y="18"/>
                  </a:lnTo>
                  <a:lnTo>
                    <a:pt x="151" y="15"/>
                  </a:lnTo>
                  <a:lnTo>
                    <a:pt x="150" y="11"/>
                  </a:lnTo>
                  <a:lnTo>
                    <a:pt x="150" y="9"/>
                  </a:lnTo>
                  <a:lnTo>
                    <a:pt x="148" y="6"/>
                  </a:lnTo>
                  <a:lnTo>
                    <a:pt x="147" y="4"/>
                  </a:lnTo>
                  <a:lnTo>
                    <a:pt x="145" y="2"/>
                  </a:lnTo>
                  <a:lnTo>
                    <a:pt x="141" y="1"/>
                  </a:lnTo>
                  <a:lnTo>
                    <a:pt x="138" y="0"/>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5" name="Freeform 194">
              <a:extLst>
                <a:ext uri="{FF2B5EF4-FFF2-40B4-BE49-F238E27FC236}">
                  <a16:creationId xmlns:a16="http://schemas.microsoft.com/office/drawing/2014/main" id="{463B3AD7-FB83-4311-A0F9-16AD508C9953}"/>
                </a:ext>
              </a:extLst>
            </p:cNvPr>
            <p:cNvSpPr>
              <a:spLocks/>
            </p:cNvSpPr>
            <p:nvPr/>
          </p:nvSpPr>
          <p:spPr bwMode="auto">
            <a:xfrm>
              <a:off x="9485313" y="1019175"/>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3 h 30"/>
                <a:gd name="T10" fmla="*/ 4 w 151"/>
                <a:gd name="T11" fmla="*/ 4 h 30"/>
                <a:gd name="T12" fmla="*/ 3 w 151"/>
                <a:gd name="T13" fmla="*/ 6 h 30"/>
                <a:gd name="T14" fmla="*/ 1 w 151"/>
                <a:gd name="T15" fmla="*/ 9 h 30"/>
                <a:gd name="T16" fmla="*/ 1 w 151"/>
                <a:gd name="T17" fmla="*/ 11 h 30"/>
                <a:gd name="T18" fmla="*/ 0 w 151"/>
                <a:gd name="T19" fmla="*/ 15 h 30"/>
                <a:gd name="T20" fmla="*/ 1 w 151"/>
                <a:gd name="T21" fmla="*/ 18 h 30"/>
                <a:gd name="T22" fmla="*/ 1 w 151"/>
                <a:gd name="T23" fmla="*/ 21 h 30"/>
                <a:gd name="T24" fmla="*/ 3 w 151"/>
                <a:gd name="T25" fmla="*/ 23 h 30"/>
                <a:gd name="T26" fmla="*/ 4 w 151"/>
                <a:gd name="T27" fmla="*/ 25 h 30"/>
                <a:gd name="T28" fmla="*/ 7 w 151"/>
                <a:gd name="T29" fmla="*/ 27 h 30"/>
                <a:gd name="T30" fmla="*/ 10 w 151"/>
                <a:gd name="T31" fmla="*/ 29 h 30"/>
                <a:gd name="T32" fmla="*/ 13 w 151"/>
                <a:gd name="T33" fmla="*/ 30 h 30"/>
                <a:gd name="T34" fmla="*/ 15 w 151"/>
                <a:gd name="T35" fmla="*/ 30 h 30"/>
                <a:gd name="T36" fmla="*/ 136 w 151"/>
                <a:gd name="T37" fmla="*/ 30 h 30"/>
                <a:gd name="T38" fmla="*/ 139 w 151"/>
                <a:gd name="T39" fmla="*/ 30 h 30"/>
                <a:gd name="T40" fmla="*/ 141 w 151"/>
                <a:gd name="T41" fmla="*/ 29 h 30"/>
                <a:gd name="T42" fmla="*/ 145 w 151"/>
                <a:gd name="T43" fmla="*/ 27 h 30"/>
                <a:gd name="T44" fmla="*/ 147 w 151"/>
                <a:gd name="T45" fmla="*/ 25 h 30"/>
                <a:gd name="T46" fmla="*/ 148 w 151"/>
                <a:gd name="T47" fmla="*/ 23 h 30"/>
                <a:gd name="T48" fmla="*/ 150 w 151"/>
                <a:gd name="T49" fmla="*/ 21 h 30"/>
                <a:gd name="T50" fmla="*/ 150 w 151"/>
                <a:gd name="T51" fmla="*/ 18 h 30"/>
                <a:gd name="T52" fmla="*/ 151 w 151"/>
                <a:gd name="T53" fmla="*/ 15 h 30"/>
                <a:gd name="T54" fmla="*/ 150 w 151"/>
                <a:gd name="T55" fmla="*/ 11 h 30"/>
                <a:gd name="T56" fmla="*/ 150 w 151"/>
                <a:gd name="T57" fmla="*/ 9 h 30"/>
                <a:gd name="T58" fmla="*/ 148 w 151"/>
                <a:gd name="T59" fmla="*/ 6 h 30"/>
                <a:gd name="T60" fmla="*/ 147 w 151"/>
                <a:gd name="T61" fmla="*/ 4 h 30"/>
                <a:gd name="T62" fmla="*/ 145 w 151"/>
                <a:gd name="T63" fmla="*/ 3 h 30"/>
                <a:gd name="T64" fmla="*/ 141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3" y="0"/>
                  </a:lnTo>
                  <a:lnTo>
                    <a:pt x="10" y="1"/>
                  </a:lnTo>
                  <a:lnTo>
                    <a:pt x="7" y="3"/>
                  </a:lnTo>
                  <a:lnTo>
                    <a:pt x="4" y="4"/>
                  </a:lnTo>
                  <a:lnTo>
                    <a:pt x="3" y="6"/>
                  </a:lnTo>
                  <a:lnTo>
                    <a:pt x="1" y="9"/>
                  </a:lnTo>
                  <a:lnTo>
                    <a:pt x="1" y="11"/>
                  </a:lnTo>
                  <a:lnTo>
                    <a:pt x="0" y="15"/>
                  </a:lnTo>
                  <a:lnTo>
                    <a:pt x="1" y="18"/>
                  </a:lnTo>
                  <a:lnTo>
                    <a:pt x="1" y="21"/>
                  </a:lnTo>
                  <a:lnTo>
                    <a:pt x="3" y="23"/>
                  </a:lnTo>
                  <a:lnTo>
                    <a:pt x="4" y="25"/>
                  </a:lnTo>
                  <a:lnTo>
                    <a:pt x="7" y="27"/>
                  </a:lnTo>
                  <a:lnTo>
                    <a:pt x="10" y="29"/>
                  </a:lnTo>
                  <a:lnTo>
                    <a:pt x="13" y="30"/>
                  </a:lnTo>
                  <a:lnTo>
                    <a:pt x="15" y="30"/>
                  </a:lnTo>
                  <a:lnTo>
                    <a:pt x="136" y="30"/>
                  </a:lnTo>
                  <a:lnTo>
                    <a:pt x="139" y="30"/>
                  </a:lnTo>
                  <a:lnTo>
                    <a:pt x="141" y="29"/>
                  </a:lnTo>
                  <a:lnTo>
                    <a:pt x="145" y="27"/>
                  </a:lnTo>
                  <a:lnTo>
                    <a:pt x="147" y="25"/>
                  </a:lnTo>
                  <a:lnTo>
                    <a:pt x="148" y="23"/>
                  </a:lnTo>
                  <a:lnTo>
                    <a:pt x="150" y="21"/>
                  </a:lnTo>
                  <a:lnTo>
                    <a:pt x="150" y="18"/>
                  </a:lnTo>
                  <a:lnTo>
                    <a:pt x="151" y="15"/>
                  </a:lnTo>
                  <a:lnTo>
                    <a:pt x="150" y="11"/>
                  </a:lnTo>
                  <a:lnTo>
                    <a:pt x="150" y="9"/>
                  </a:lnTo>
                  <a:lnTo>
                    <a:pt x="148" y="6"/>
                  </a:lnTo>
                  <a:lnTo>
                    <a:pt x="147" y="4"/>
                  </a:lnTo>
                  <a:lnTo>
                    <a:pt x="145" y="3"/>
                  </a:lnTo>
                  <a:lnTo>
                    <a:pt x="141"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6" name="Freeform 195">
              <a:extLst>
                <a:ext uri="{FF2B5EF4-FFF2-40B4-BE49-F238E27FC236}">
                  <a16:creationId xmlns:a16="http://schemas.microsoft.com/office/drawing/2014/main" id="{3D93895E-FD5E-44AC-80E1-56C6A6D5F084}"/>
                </a:ext>
              </a:extLst>
            </p:cNvPr>
            <p:cNvSpPr>
              <a:spLocks/>
            </p:cNvSpPr>
            <p:nvPr/>
          </p:nvSpPr>
          <p:spPr bwMode="auto">
            <a:xfrm>
              <a:off x="9380538" y="1000125"/>
              <a:ext cx="38100" cy="38100"/>
            </a:xfrm>
            <a:custGeom>
              <a:avLst/>
              <a:gdLst>
                <a:gd name="T0" fmla="*/ 116 w 120"/>
                <a:gd name="T1" fmla="*/ 25 h 120"/>
                <a:gd name="T2" fmla="*/ 119 w 120"/>
                <a:gd name="T3" fmla="*/ 20 h 120"/>
                <a:gd name="T4" fmla="*/ 120 w 120"/>
                <a:gd name="T5" fmla="*/ 15 h 120"/>
                <a:gd name="T6" fmla="*/ 119 w 120"/>
                <a:gd name="T7" fmla="*/ 9 h 120"/>
                <a:gd name="T8" fmla="*/ 116 w 120"/>
                <a:gd name="T9" fmla="*/ 4 h 120"/>
                <a:gd name="T10" fmla="*/ 110 w 120"/>
                <a:gd name="T11" fmla="*/ 1 h 120"/>
                <a:gd name="T12" fmla="*/ 105 w 120"/>
                <a:gd name="T13" fmla="*/ 0 h 120"/>
                <a:gd name="T14" fmla="*/ 100 w 120"/>
                <a:gd name="T15" fmla="*/ 1 h 120"/>
                <a:gd name="T16" fmla="*/ 94 w 120"/>
                <a:gd name="T17" fmla="*/ 4 h 120"/>
                <a:gd name="T18" fmla="*/ 26 w 120"/>
                <a:gd name="T19" fmla="*/ 4 h 120"/>
                <a:gd name="T20" fmla="*/ 20 w 120"/>
                <a:gd name="T21" fmla="*/ 1 h 120"/>
                <a:gd name="T22" fmla="*/ 15 w 120"/>
                <a:gd name="T23" fmla="*/ 0 h 120"/>
                <a:gd name="T24" fmla="*/ 9 w 120"/>
                <a:gd name="T25" fmla="*/ 1 h 120"/>
                <a:gd name="T26" fmla="*/ 4 w 120"/>
                <a:gd name="T27" fmla="*/ 4 h 120"/>
                <a:gd name="T28" fmla="*/ 1 w 120"/>
                <a:gd name="T29" fmla="*/ 9 h 120"/>
                <a:gd name="T30" fmla="*/ 0 w 120"/>
                <a:gd name="T31" fmla="*/ 15 h 120"/>
                <a:gd name="T32" fmla="*/ 1 w 120"/>
                <a:gd name="T33" fmla="*/ 20 h 120"/>
                <a:gd name="T34" fmla="*/ 4 w 120"/>
                <a:gd name="T35" fmla="*/ 25 h 120"/>
                <a:gd name="T36" fmla="*/ 4 w 120"/>
                <a:gd name="T37" fmla="*/ 94 h 120"/>
                <a:gd name="T38" fmla="*/ 1 w 120"/>
                <a:gd name="T39" fmla="*/ 99 h 120"/>
                <a:gd name="T40" fmla="*/ 0 w 120"/>
                <a:gd name="T41" fmla="*/ 105 h 120"/>
                <a:gd name="T42" fmla="*/ 1 w 120"/>
                <a:gd name="T43" fmla="*/ 111 h 120"/>
                <a:gd name="T44" fmla="*/ 4 w 120"/>
                <a:gd name="T45" fmla="*/ 115 h 120"/>
                <a:gd name="T46" fmla="*/ 9 w 120"/>
                <a:gd name="T47" fmla="*/ 119 h 120"/>
                <a:gd name="T48" fmla="*/ 15 w 120"/>
                <a:gd name="T49" fmla="*/ 120 h 120"/>
                <a:gd name="T50" fmla="*/ 20 w 120"/>
                <a:gd name="T51" fmla="*/ 119 h 120"/>
                <a:gd name="T52" fmla="*/ 26 w 120"/>
                <a:gd name="T53" fmla="*/ 115 h 120"/>
                <a:gd name="T54" fmla="*/ 94 w 120"/>
                <a:gd name="T55" fmla="*/ 115 h 120"/>
                <a:gd name="T56" fmla="*/ 100 w 120"/>
                <a:gd name="T57" fmla="*/ 119 h 120"/>
                <a:gd name="T58" fmla="*/ 105 w 120"/>
                <a:gd name="T59" fmla="*/ 120 h 120"/>
                <a:gd name="T60" fmla="*/ 110 w 120"/>
                <a:gd name="T61" fmla="*/ 119 h 120"/>
                <a:gd name="T62" fmla="*/ 116 w 120"/>
                <a:gd name="T63" fmla="*/ 115 h 120"/>
                <a:gd name="T64" fmla="*/ 119 w 120"/>
                <a:gd name="T65" fmla="*/ 111 h 120"/>
                <a:gd name="T66" fmla="*/ 120 w 120"/>
                <a:gd name="T67" fmla="*/ 105 h 120"/>
                <a:gd name="T68" fmla="*/ 119 w 120"/>
                <a:gd name="T69" fmla="*/ 99 h 120"/>
                <a:gd name="T70" fmla="*/ 116 w 120"/>
                <a:gd name="T7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0">
                  <a:moveTo>
                    <a:pt x="81" y="60"/>
                  </a:moveTo>
                  <a:lnTo>
                    <a:pt x="116" y="25"/>
                  </a:lnTo>
                  <a:lnTo>
                    <a:pt x="118" y="23"/>
                  </a:lnTo>
                  <a:lnTo>
                    <a:pt x="119" y="20"/>
                  </a:lnTo>
                  <a:lnTo>
                    <a:pt x="120" y="18"/>
                  </a:lnTo>
                  <a:lnTo>
                    <a:pt x="120" y="15"/>
                  </a:lnTo>
                  <a:lnTo>
                    <a:pt x="120" y="11"/>
                  </a:lnTo>
                  <a:lnTo>
                    <a:pt x="119" y="9"/>
                  </a:lnTo>
                  <a:lnTo>
                    <a:pt x="118" y="6"/>
                  </a:lnTo>
                  <a:lnTo>
                    <a:pt x="116" y="4"/>
                  </a:lnTo>
                  <a:lnTo>
                    <a:pt x="114" y="2"/>
                  </a:lnTo>
                  <a:lnTo>
                    <a:pt x="110" y="1"/>
                  </a:lnTo>
                  <a:lnTo>
                    <a:pt x="108" y="0"/>
                  </a:lnTo>
                  <a:lnTo>
                    <a:pt x="105" y="0"/>
                  </a:lnTo>
                  <a:lnTo>
                    <a:pt x="102" y="0"/>
                  </a:lnTo>
                  <a:lnTo>
                    <a:pt x="100" y="1"/>
                  </a:lnTo>
                  <a:lnTo>
                    <a:pt x="96" y="2"/>
                  </a:lnTo>
                  <a:lnTo>
                    <a:pt x="94" y="4"/>
                  </a:lnTo>
                  <a:lnTo>
                    <a:pt x="60" y="38"/>
                  </a:lnTo>
                  <a:lnTo>
                    <a:pt x="26" y="4"/>
                  </a:lnTo>
                  <a:lnTo>
                    <a:pt x="23" y="2"/>
                  </a:lnTo>
                  <a:lnTo>
                    <a:pt x="20" y="1"/>
                  </a:lnTo>
                  <a:lnTo>
                    <a:pt x="17" y="0"/>
                  </a:lnTo>
                  <a:lnTo>
                    <a:pt x="15" y="0"/>
                  </a:lnTo>
                  <a:lnTo>
                    <a:pt x="12" y="0"/>
                  </a:lnTo>
                  <a:lnTo>
                    <a:pt x="9" y="1"/>
                  </a:lnTo>
                  <a:lnTo>
                    <a:pt x="6" y="2"/>
                  </a:lnTo>
                  <a:lnTo>
                    <a:pt x="4" y="4"/>
                  </a:lnTo>
                  <a:lnTo>
                    <a:pt x="2" y="6"/>
                  </a:lnTo>
                  <a:lnTo>
                    <a:pt x="1" y="9"/>
                  </a:lnTo>
                  <a:lnTo>
                    <a:pt x="0" y="11"/>
                  </a:lnTo>
                  <a:lnTo>
                    <a:pt x="0" y="15"/>
                  </a:lnTo>
                  <a:lnTo>
                    <a:pt x="0" y="18"/>
                  </a:lnTo>
                  <a:lnTo>
                    <a:pt x="1" y="20"/>
                  </a:lnTo>
                  <a:lnTo>
                    <a:pt x="2" y="23"/>
                  </a:lnTo>
                  <a:lnTo>
                    <a:pt x="4" y="25"/>
                  </a:lnTo>
                  <a:lnTo>
                    <a:pt x="39" y="60"/>
                  </a:lnTo>
                  <a:lnTo>
                    <a:pt x="4" y="94"/>
                  </a:lnTo>
                  <a:lnTo>
                    <a:pt x="2" y="97"/>
                  </a:lnTo>
                  <a:lnTo>
                    <a:pt x="1" y="99"/>
                  </a:lnTo>
                  <a:lnTo>
                    <a:pt x="0" y="102"/>
                  </a:lnTo>
                  <a:lnTo>
                    <a:pt x="0" y="105"/>
                  </a:lnTo>
                  <a:lnTo>
                    <a:pt x="0" y="108"/>
                  </a:lnTo>
                  <a:lnTo>
                    <a:pt x="1" y="111"/>
                  </a:lnTo>
                  <a:lnTo>
                    <a:pt x="2" y="113"/>
                  </a:lnTo>
                  <a:lnTo>
                    <a:pt x="4" y="115"/>
                  </a:lnTo>
                  <a:lnTo>
                    <a:pt x="6" y="117"/>
                  </a:lnTo>
                  <a:lnTo>
                    <a:pt x="9" y="119"/>
                  </a:lnTo>
                  <a:lnTo>
                    <a:pt x="12" y="120"/>
                  </a:lnTo>
                  <a:lnTo>
                    <a:pt x="15" y="120"/>
                  </a:lnTo>
                  <a:lnTo>
                    <a:pt x="17" y="120"/>
                  </a:lnTo>
                  <a:lnTo>
                    <a:pt x="20" y="119"/>
                  </a:lnTo>
                  <a:lnTo>
                    <a:pt x="23" y="117"/>
                  </a:lnTo>
                  <a:lnTo>
                    <a:pt x="26" y="115"/>
                  </a:lnTo>
                  <a:lnTo>
                    <a:pt x="60" y="81"/>
                  </a:lnTo>
                  <a:lnTo>
                    <a:pt x="94" y="115"/>
                  </a:lnTo>
                  <a:lnTo>
                    <a:pt x="96" y="117"/>
                  </a:lnTo>
                  <a:lnTo>
                    <a:pt x="100" y="119"/>
                  </a:lnTo>
                  <a:lnTo>
                    <a:pt x="102" y="120"/>
                  </a:lnTo>
                  <a:lnTo>
                    <a:pt x="105" y="120"/>
                  </a:lnTo>
                  <a:lnTo>
                    <a:pt x="108" y="120"/>
                  </a:lnTo>
                  <a:lnTo>
                    <a:pt x="110" y="119"/>
                  </a:lnTo>
                  <a:lnTo>
                    <a:pt x="114" y="117"/>
                  </a:lnTo>
                  <a:lnTo>
                    <a:pt x="116" y="115"/>
                  </a:lnTo>
                  <a:lnTo>
                    <a:pt x="118" y="113"/>
                  </a:lnTo>
                  <a:lnTo>
                    <a:pt x="119" y="111"/>
                  </a:lnTo>
                  <a:lnTo>
                    <a:pt x="120" y="108"/>
                  </a:lnTo>
                  <a:lnTo>
                    <a:pt x="120" y="105"/>
                  </a:lnTo>
                  <a:lnTo>
                    <a:pt x="120" y="102"/>
                  </a:lnTo>
                  <a:lnTo>
                    <a:pt x="119" y="99"/>
                  </a:lnTo>
                  <a:lnTo>
                    <a:pt x="118" y="97"/>
                  </a:lnTo>
                  <a:lnTo>
                    <a:pt x="116" y="94"/>
                  </a:lnTo>
                  <a:lnTo>
                    <a:pt x="8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17" name="Group 163">
            <a:extLst>
              <a:ext uri="{FF2B5EF4-FFF2-40B4-BE49-F238E27FC236}">
                <a16:creationId xmlns:a16="http://schemas.microsoft.com/office/drawing/2014/main" id="{BED1E34C-34EA-4FB2-9205-18A7DB60B3D9}"/>
              </a:ext>
            </a:extLst>
          </p:cNvPr>
          <p:cNvGrpSpPr>
            <a:grpSpLocks noChangeAspect="1"/>
          </p:cNvGrpSpPr>
          <p:nvPr/>
        </p:nvGrpSpPr>
        <p:grpSpPr>
          <a:xfrm>
            <a:off x="284400" y="2761642"/>
            <a:ext cx="300651" cy="212128"/>
            <a:chOff x="6445250" y="1982788"/>
            <a:chExt cx="285750" cy="201613"/>
          </a:xfrm>
          <a:solidFill>
            <a:schemeClr val="bg2"/>
          </a:solidFill>
          <a:effectLst/>
        </p:grpSpPr>
        <p:sp>
          <p:nvSpPr>
            <p:cNvPr id="1718" name="Freeform 184">
              <a:extLst>
                <a:ext uri="{FF2B5EF4-FFF2-40B4-BE49-F238E27FC236}">
                  <a16:creationId xmlns:a16="http://schemas.microsoft.com/office/drawing/2014/main" id="{D9C1198F-1986-44F6-A8A3-FACD9A954BF4}"/>
                </a:ext>
              </a:extLst>
            </p:cNvPr>
            <p:cNvSpPr>
              <a:spLocks noEditPoints="1"/>
            </p:cNvSpPr>
            <p:nvPr/>
          </p:nvSpPr>
          <p:spPr bwMode="auto">
            <a:xfrm>
              <a:off x="6445250" y="1982788"/>
              <a:ext cx="285750" cy="201613"/>
            </a:xfrm>
            <a:custGeom>
              <a:avLst/>
              <a:gdLst>
                <a:gd name="T0" fmla="*/ 871 w 902"/>
                <a:gd name="T1" fmla="*/ 566 h 632"/>
                <a:gd name="T2" fmla="*/ 864 w 902"/>
                <a:gd name="T3" fmla="*/ 582 h 632"/>
                <a:gd name="T4" fmla="*/ 852 w 902"/>
                <a:gd name="T5" fmla="*/ 594 h 632"/>
                <a:gd name="T6" fmla="*/ 836 w 902"/>
                <a:gd name="T7" fmla="*/ 601 h 632"/>
                <a:gd name="T8" fmla="*/ 75 w 902"/>
                <a:gd name="T9" fmla="*/ 602 h 632"/>
                <a:gd name="T10" fmla="*/ 58 w 902"/>
                <a:gd name="T11" fmla="*/ 598 h 632"/>
                <a:gd name="T12" fmla="*/ 43 w 902"/>
                <a:gd name="T13" fmla="*/ 589 h 632"/>
                <a:gd name="T14" fmla="*/ 33 w 902"/>
                <a:gd name="T15" fmla="*/ 575 h 632"/>
                <a:gd name="T16" fmla="*/ 30 w 902"/>
                <a:gd name="T17" fmla="*/ 557 h 632"/>
                <a:gd name="T18" fmla="*/ 31 w 902"/>
                <a:gd name="T19" fmla="*/ 67 h 632"/>
                <a:gd name="T20" fmla="*/ 37 w 902"/>
                <a:gd name="T21" fmla="*/ 51 h 632"/>
                <a:gd name="T22" fmla="*/ 50 w 902"/>
                <a:gd name="T23" fmla="*/ 39 h 632"/>
                <a:gd name="T24" fmla="*/ 66 w 902"/>
                <a:gd name="T25" fmla="*/ 32 h 632"/>
                <a:gd name="T26" fmla="*/ 827 w 902"/>
                <a:gd name="T27" fmla="*/ 30 h 632"/>
                <a:gd name="T28" fmla="*/ 844 w 902"/>
                <a:gd name="T29" fmla="*/ 35 h 632"/>
                <a:gd name="T30" fmla="*/ 859 w 902"/>
                <a:gd name="T31" fmla="*/ 44 h 632"/>
                <a:gd name="T32" fmla="*/ 869 w 902"/>
                <a:gd name="T33" fmla="*/ 58 h 632"/>
                <a:gd name="T34" fmla="*/ 872 w 902"/>
                <a:gd name="T35" fmla="*/ 75 h 632"/>
                <a:gd name="T36" fmla="*/ 827 w 902"/>
                <a:gd name="T37" fmla="*/ 0 h 632"/>
                <a:gd name="T38" fmla="*/ 67 w 902"/>
                <a:gd name="T39" fmla="*/ 2 h 632"/>
                <a:gd name="T40" fmla="*/ 52 w 902"/>
                <a:gd name="T41" fmla="*/ 4 h 632"/>
                <a:gd name="T42" fmla="*/ 40 w 902"/>
                <a:gd name="T43" fmla="*/ 10 h 632"/>
                <a:gd name="T44" fmla="*/ 28 w 902"/>
                <a:gd name="T45" fmla="*/ 18 h 632"/>
                <a:gd name="T46" fmla="*/ 17 w 902"/>
                <a:gd name="T47" fmla="*/ 28 h 632"/>
                <a:gd name="T48" fmla="*/ 10 w 902"/>
                <a:gd name="T49" fmla="*/ 40 h 632"/>
                <a:gd name="T50" fmla="*/ 3 w 902"/>
                <a:gd name="T51" fmla="*/ 54 h 632"/>
                <a:gd name="T52" fmla="*/ 0 w 902"/>
                <a:gd name="T53" fmla="*/ 68 h 632"/>
                <a:gd name="T54" fmla="*/ 0 w 902"/>
                <a:gd name="T55" fmla="*/ 556 h 632"/>
                <a:gd name="T56" fmla="*/ 1 w 902"/>
                <a:gd name="T57" fmla="*/ 572 h 632"/>
                <a:gd name="T58" fmla="*/ 6 w 902"/>
                <a:gd name="T59" fmla="*/ 586 h 632"/>
                <a:gd name="T60" fmla="*/ 13 w 902"/>
                <a:gd name="T61" fmla="*/ 599 h 632"/>
                <a:gd name="T62" fmla="*/ 22 w 902"/>
                <a:gd name="T63" fmla="*/ 610 h 632"/>
                <a:gd name="T64" fmla="*/ 33 w 902"/>
                <a:gd name="T65" fmla="*/ 620 h 632"/>
                <a:gd name="T66" fmla="*/ 46 w 902"/>
                <a:gd name="T67" fmla="*/ 626 h 632"/>
                <a:gd name="T68" fmla="*/ 60 w 902"/>
                <a:gd name="T69" fmla="*/ 630 h 632"/>
                <a:gd name="T70" fmla="*/ 75 w 902"/>
                <a:gd name="T71" fmla="*/ 632 h 632"/>
                <a:gd name="T72" fmla="*/ 835 w 902"/>
                <a:gd name="T73" fmla="*/ 631 h 632"/>
                <a:gd name="T74" fmla="*/ 850 w 902"/>
                <a:gd name="T75" fmla="*/ 629 h 632"/>
                <a:gd name="T76" fmla="*/ 862 w 902"/>
                <a:gd name="T77" fmla="*/ 623 h 632"/>
                <a:gd name="T78" fmla="*/ 875 w 902"/>
                <a:gd name="T79" fmla="*/ 615 h 632"/>
                <a:gd name="T80" fmla="*/ 885 w 902"/>
                <a:gd name="T81" fmla="*/ 605 h 632"/>
                <a:gd name="T82" fmla="*/ 893 w 902"/>
                <a:gd name="T83" fmla="*/ 593 h 632"/>
                <a:gd name="T84" fmla="*/ 899 w 902"/>
                <a:gd name="T85" fmla="*/ 579 h 632"/>
                <a:gd name="T86" fmla="*/ 902 w 902"/>
                <a:gd name="T87" fmla="*/ 565 h 632"/>
                <a:gd name="T88" fmla="*/ 902 w 902"/>
                <a:gd name="T89" fmla="*/ 75 h 632"/>
                <a:gd name="T90" fmla="*/ 901 w 902"/>
                <a:gd name="T91" fmla="*/ 60 h 632"/>
                <a:gd name="T92" fmla="*/ 897 w 902"/>
                <a:gd name="T93" fmla="*/ 47 h 632"/>
                <a:gd name="T94" fmla="*/ 889 w 902"/>
                <a:gd name="T95" fmla="*/ 34 h 632"/>
                <a:gd name="T96" fmla="*/ 881 w 902"/>
                <a:gd name="T97" fmla="*/ 23 h 632"/>
                <a:gd name="T98" fmla="*/ 869 w 902"/>
                <a:gd name="T99" fmla="*/ 13 h 632"/>
                <a:gd name="T100" fmla="*/ 856 w 902"/>
                <a:gd name="T101" fmla="*/ 7 h 632"/>
                <a:gd name="T102" fmla="*/ 842 w 902"/>
                <a:gd name="T103" fmla="*/ 3 h 632"/>
                <a:gd name="T104" fmla="*/ 827 w 902"/>
                <a:gd name="T10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632">
                  <a:moveTo>
                    <a:pt x="872" y="556"/>
                  </a:moveTo>
                  <a:lnTo>
                    <a:pt x="871" y="566"/>
                  </a:lnTo>
                  <a:lnTo>
                    <a:pt x="869" y="575"/>
                  </a:lnTo>
                  <a:lnTo>
                    <a:pt x="864" y="582"/>
                  </a:lnTo>
                  <a:lnTo>
                    <a:pt x="859" y="589"/>
                  </a:lnTo>
                  <a:lnTo>
                    <a:pt x="852" y="594"/>
                  </a:lnTo>
                  <a:lnTo>
                    <a:pt x="844" y="598"/>
                  </a:lnTo>
                  <a:lnTo>
                    <a:pt x="836" y="601"/>
                  </a:lnTo>
                  <a:lnTo>
                    <a:pt x="827" y="602"/>
                  </a:lnTo>
                  <a:lnTo>
                    <a:pt x="75" y="602"/>
                  </a:lnTo>
                  <a:lnTo>
                    <a:pt x="66" y="601"/>
                  </a:lnTo>
                  <a:lnTo>
                    <a:pt x="58" y="598"/>
                  </a:lnTo>
                  <a:lnTo>
                    <a:pt x="50" y="594"/>
                  </a:lnTo>
                  <a:lnTo>
                    <a:pt x="43" y="589"/>
                  </a:lnTo>
                  <a:lnTo>
                    <a:pt x="37" y="582"/>
                  </a:lnTo>
                  <a:lnTo>
                    <a:pt x="33" y="575"/>
                  </a:lnTo>
                  <a:lnTo>
                    <a:pt x="31" y="566"/>
                  </a:lnTo>
                  <a:lnTo>
                    <a:pt x="30" y="557"/>
                  </a:lnTo>
                  <a:lnTo>
                    <a:pt x="30" y="75"/>
                  </a:lnTo>
                  <a:lnTo>
                    <a:pt x="31" y="67"/>
                  </a:lnTo>
                  <a:lnTo>
                    <a:pt x="33" y="58"/>
                  </a:lnTo>
                  <a:lnTo>
                    <a:pt x="37" y="51"/>
                  </a:lnTo>
                  <a:lnTo>
                    <a:pt x="43" y="44"/>
                  </a:lnTo>
                  <a:lnTo>
                    <a:pt x="50" y="39"/>
                  </a:lnTo>
                  <a:lnTo>
                    <a:pt x="58" y="35"/>
                  </a:lnTo>
                  <a:lnTo>
                    <a:pt x="66" y="32"/>
                  </a:lnTo>
                  <a:lnTo>
                    <a:pt x="75" y="30"/>
                  </a:lnTo>
                  <a:lnTo>
                    <a:pt x="827" y="30"/>
                  </a:lnTo>
                  <a:lnTo>
                    <a:pt x="836" y="32"/>
                  </a:lnTo>
                  <a:lnTo>
                    <a:pt x="844" y="35"/>
                  </a:lnTo>
                  <a:lnTo>
                    <a:pt x="852" y="38"/>
                  </a:lnTo>
                  <a:lnTo>
                    <a:pt x="859" y="44"/>
                  </a:lnTo>
                  <a:lnTo>
                    <a:pt x="864" y="51"/>
                  </a:lnTo>
                  <a:lnTo>
                    <a:pt x="869" y="58"/>
                  </a:lnTo>
                  <a:lnTo>
                    <a:pt x="871" y="67"/>
                  </a:lnTo>
                  <a:lnTo>
                    <a:pt x="872" y="75"/>
                  </a:lnTo>
                  <a:lnTo>
                    <a:pt x="872" y="556"/>
                  </a:lnTo>
                  <a:close/>
                  <a:moveTo>
                    <a:pt x="827" y="0"/>
                  </a:moveTo>
                  <a:lnTo>
                    <a:pt x="75" y="0"/>
                  </a:lnTo>
                  <a:lnTo>
                    <a:pt x="67" y="2"/>
                  </a:lnTo>
                  <a:lnTo>
                    <a:pt x="60" y="3"/>
                  </a:lnTo>
                  <a:lnTo>
                    <a:pt x="52" y="4"/>
                  </a:lnTo>
                  <a:lnTo>
                    <a:pt x="46" y="7"/>
                  </a:lnTo>
                  <a:lnTo>
                    <a:pt x="40" y="10"/>
                  </a:lnTo>
                  <a:lnTo>
                    <a:pt x="33" y="13"/>
                  </a:lnTo>
                  <a:lnTo>
                    <a:pt x="28" y="18"/>
                  </a:lnTo>
                  <a:lnTo>
                    <a:pt x="22" y="23"/>
                  </a:lnTo>
                  <a:lnTo>
                    <a:pt x="17" y="28"/>
                  </a:lnTo>
                  <a:lnTo>
                    <a:pt x="13" y="34"/>
                  </a:lnTo>
                  <a:lnTo>
                    <a:pt x="10" y="40"/>
                  </a:lnTo>
                  <a:lnTo>
                    <a:pt x="6" y="47"/>
                  </a:lnTo>
                  <a:lnTo>
                    <a:pt x="3" y="54"/>
                  </a:lnTo>
                  <a:lnTo>
                    <a:pt x="1" y="60"/>
                  </a:lnTo>
                  <a:lnTo>
                    <a:pt x="0" y="68"/>
                  </a:lnTo>
                  <a:lnTo>
                    <a:pt x="0" y="75"/>
                  </a:lnTo>
                  <a:lnTo>
                    <a:pt x="0" y="556"/>
                  </a:lnTo>
                  <a:lnTo>
                    <a:pt x="0" y="565"/>
                  </a:lnTo>
                  <a:lnTo>
                    <a:pt x="1" y="572"/>
                  </a:lnTo>
                  <a:lnTo>
                    <a:pt x="3" y="579"/>
                  </a:lnTo>
                  <a:lnTo>
                    <a:pt x="6" y="586"/>
                  </a:lnTo>
                  <a:lnTo>
                    <a:pt x="10" y="593"/>
                  </a:lnTo>
                  <a:lnTo>
                    <a:pt x="13" y="599"/>
                  </a:lnTo>
                  <a:lnTo>
                    <a:pt x="17" y="605"/>
                  </a:lnTo>
                  <a:lnTo>
                    <a:pt x="22" y="610"/>
                  </a:lnTo>
                  <a:lnTo>
                    <a:pt x="28" y="615"/>
                  </a:lnTo>
                  <a:lnTo>
                    <a:pt x="33" y="620"/>
                  </a:lnTo>
                  <a:lnTo>
                    <a:pt x="40" y="623"/>
                  </a:lnTo>
                  <a:lnTo>
                    <a:pt x="46" y="626"/>
                  </a:lnTo>
                  <a:lnTo>
                    <a:pt x="52" y="629"/>
                  </a:lnTo>
                  <a:lnTo>
                    <a:pt x="60" y="630"/>
                  </a:lnTo>
                  <a:lnTo>
                    <a:pt x="67" y="631"/>
                  </a:lnTo>
                  <a:lnTo>
                    <a:pt x="75" y="632"/>
                  </a:lnTo>
                  <a:lnTo>
                    <a:pt x="827" y="632"/>
                  </a:lnTo>
                  <a:lnTo>
                    <a:pt x="835" y="631"/>
                  </a:lnTo>
                  <a:lnTo>
                    <a:pt x="842" y="630"/>
                  </a:lnTo>
                  <a:lnTo>
                    <a:pt x="850" y="629"/>
                  </a:lnTo>
                  <a:lnTo>
                    <a:pt x="856" y="626"/>
                  </a:lnTo>
                  <a:lnTo>
                    <a:pt x="862" y="623"/>
                  </a:lnTo>
                  <a:lnTo>
                    <a:pt x="869" y="620"/>
                  </a:lnTo>
                  <a:lnTo>
                    <a:pt x="875" y="615"/>
                  </a:lnTo>
                  <a:lnTo>
                    <a:pt x="881" y="610"/>
                  </a:lnTo>
                  <a:lnTo>
                    <a:pt x="885" y="605"/>
                  </a:lnTo>
                  <a:lnTo>
                    <a:pt x="889" y="599"/>
                  </a:lnTo>
                  <a:lnTo>
                    <a:pt x="893" y="593"/>
                  </a:lnTo>
                  <a:lnTo>
                    <a:pt x="897" y="586"/>
                  </a:lnTo>
                  <a:lnTo>
                    <a:pt x="899" y="579"/>
                  </a:lnTo>
                  <a:lnTo>
                    <a:pt x="901" y="572"/>
                  </a:lnTo>
                  <a:lnTo>
                    <a:pt x="902" y="565"/>
                  </a:lnTo>
                  <a:lnTo>
                    <a:pt x="902" y="557"/>
                  </a:lnTo>
                  <a:lnTo>
                    <a:pt x="902" y="75"/>
                  </a:lnTo>
                  <a:lnTo>
                    <a:pt x="902" y="68"/>
                  </a:lnTo>
                  <a:lnTo>
                    <a:pt x="901" y="60"/>
                  </a:lnTo>
                  <a:lnTo>
                    <a:pt x="899" y="54"/>
                  </a:lnTo>
                  <a:lnTo>
                    <a:pt x="897" y="47"/>
                  </a:lnTo>
                  <a:lnTo>
                    <a:pt x="893" y="40"/>
                  </a:lnTo>
                  <a:lnTo>
                    <a:pt x="889" y="34"/>
                  </a:lnTo>
                  <a:lnTo>
                    <a:pt x="885" y="28"/>
                  </a:lnTo>
                  <a:lnTo>
                    <a:pt x="881" y="23"/>
                  </a:lnTo>
                  <a:lnTo>
                    <a:pt x="875" y="18"/>
                  </a:lnTo>
                  <a:lnTo>
                    <a:pt x="869" y="13"/>
                  </a:lnTo>
                  <a:lnTo>
                    <a:pt x="862" y="10"/>
                  </a:lnTo>
                  <a:lnTo>
                    <a:pt x="856" y="7"/>
                  </a:lnTo>
                  <a:lnTo>
                    <a:pt x="850" y="4"/>
                  </a:lnTo>
                  <a:lnTo>
                    <a:pt x="842" y="3"/>
                  </a:lnTo>
                  <a:lnTo>
                    <a:pt x="835" y="2"/>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9" name="Freeform 185">
              <a:extLst>
                <a:ext uri="{FF2B5EF4-FFF2-40B4-BE49-F238E27FC236}">
                  <a16:creationId xmlns:a16="http://schemas.microsoft.com/office/drawing/2014/main" id="{CC17153B-6C9B-49A6-BD2D-DBDDE6589152}"/>
                </a:ext>
              </a:extLst>
            </p:cNvPr>
            <p:cNvSpPr>
              <a:spLocks/>
            </p:cNvSpPr>
            <p:nvPr/>
          </p:nvSpPr>
          <p:spPr bwMode="auto">
            <a:xfrm>
              <a:off x="6497638" y="2051050"/>
              <a:ext cx="68263" cy="61913"/>
            </a:xfrm>
            <a:custGeom>
              <a:avLst/>
              <a:gdLst>
                <a:gd name="T0" fmla="*/ 170 w 215"/>
                <a:gd name="T1" fmla="*/ 0 h 197"/>
                <a:gd name="T2" fmla="*/ 127 w 215"/>
                <a:gd name="T3" fmla="*/ 92 h 197"/>
                <a:gd name="T4" fmla="*/ 120 w 215"/>
                <a:gd name="T5" fmla="*/ 108 h 197"/>
                <a:gd name="T6" fmla="*/ 114 w 215"/>
                <a:gd name="T7" fmla="*/ 124 h 197"/>
                <a:gd name="T8" fmla="*/ 107 w 215"/>
                <a:gd name="T9" fmla="*/ 139 h 197"/>
                <a:gd name="T10" fmla="*/ 102 w 215"/>
                <a:gd name="T11" fmla="*/ 152 h 197"/>
                <a:gd name="T12" fmla="*/ 101 w 215"/>
                <a:gd name="T13" fmla="*/ 152 h 197"/>
                <a:gd name="T14" fmla="*/ 100 w 215"/>
                <a:gd name="T15" fmla="*/ 139 h 197"/>
                <a:gd name="T16" fmla="*/ 99 w 215"/>
                <a:gd name="T17" fmla="*/ 124 h 197"/>
                <a:gd name="T18" fmla="*/ 97 w 215"/>
                <a:gd name="T19" fmla="*/ 108 h 197"/>
                <a:gd name="T20" fmla="*/ 96 w 215"/>
                <a:gd name="T21" fmla="*/ 93 h 197"/>
                <a:gd name="T22" fmla="*/ 88 w 215"/>
                <a:gd name="T23" fmla="*/ 0 h 197"/>
                <a:gd name="T24" fmla="*/ 71 w 215"/>
                <a:gd name="T25" fmla="*/ 0 h 197"/>
                <a:gd name="T26" fmla="*/ 70 w 215"/>
                <a:gd name="T27" fmla="*/ 0 h 197"/>
                <a:gd name="T28" fmla="*/ 70 w 215"/>
                <a:gd name="T29" fmla="*/ 0 h 197"/>
                <a:gd name="T30" fmla="*/ 19 w 215"/>
                <a:gd name="T31" fmla="*/ 0 h 197"/>
                <a:gd name="T32" fmla="*/ 16 w 215"/>
                <a:gd name="T33" fmla="*/ 2 h 197"/>
                <a:gd name="T34" fmla="*/ 12 w 215"/>
                <a:gd name="T35" fmla="*/ 3 h 197"/>
                <a:gd name="T36" fmla="*/ 9 w 215"/>
                <a:gd name="T37" fmla="*/ 5 h 197"/>
                <a:gd name="T38" fmla="*/ 6 w 215"/>
                <a:gd name="T39" fmla="*/ 8 h 197"/>
                <a:gd name="T40" fmla="*/ 3 w 215"/>
                <a:gd name="T41" fmla="*/ 11 h 197"/>
                <a:gd name="T42" fmla="*/ 2 w 215"/>
                <a:gd name="T43" fmla="*/ 15 h 197"/>
                <a:gd name="T44" fmla="*/ 1 w 215"/>
                <a:gd name="T45" fmla="*/ 20 h 197"/>
                <a:gd name="T46" fmla="*/ 0 w 215"/>
                <a:gd name="T47" fmla="*/ 23 h 197"/>
                <a:gd name="T48" fmla="*/ 1 w 215"/>
                <a:gd name="T49" fmla="*/ 27 h 197"/>
                <a:gd name="T50" fmla="*/ 2 w 215"/>
                <a:gd name="T51" fmla="*/ 32 h 197"/>
                <a:gd name="T52" fmla="*/ 3 w 215"/>
                <a:gd name="T53" fmla="*/ 35 h 197"/>
                <a:gd name="T54" fmla="*/ 6 w 215"/>
                <a:gd name="T55" fmla="*/ 39 h 197"/>
                <a:gd name="T56" fmla="*/ 9 w 215"/>
                <a:gd name="T57" fmla="*/ 41 h 197"/>
                <a:gd name="T58" fmla="*/ 12 w 215"/>
                <a:gd name="T59" fmla="*/ 44 h 197"/>
                <a:gd name="T60" fmla="*/ 16 w 215"/>
                <a:gd name="T61" fmla="*/ 45 h 197"/>
                <a:gd name="T62" fmla="*/ 19 w 215"/>
                <a:gd name="T63" fmla="*/ 45 h 197"/>
                <a:gd name="T64" fmla="*/ 50 w 215"/>
                <a:gd name="T65" fmla="*/ 45 h 197"/>
                <a:gd name="T66" fmla="*/ 76 w 215"/>
                <a:gd name="T67" fmla="*/ 197 h 197"/>
                <a:gd name="T68" fmla="*/ 123 w 215"/>
                <a:gd name="T69" fmla="*/ 197 h 197"/>
                <a:gd name="T70" fmla="*/ 215 w 215"/>
                <a:gd name="T71" fmla="*/ 0 h 197"/>
                <a:gd name="T72" fmla="*/ 170 w 215"/>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 h="197">
                  <a:moveTo>
                    <a:pt x="170" y="0"/>
                  </a:moveTo>
                  <a:lnTo>
                    <a:pt x="127" y="92"/>
                  </a:lnTo>
                  <a:lnTo>
                    <a:pt x="120" y="108"/>
                  </a:lnTo>
                  <a:lnTo>
                    <a:pt x="114" y="124"/>
                  </a:lnTo>
                  <a:lnTo>
                    <a:pt x="107" y="139"/>
                  </a:lnTo>
                  <a:lnTo>
                    <a:pt x="102" y="152"/>
                  </a:lnTo>
                  <a:lnTo>
                    <a:pt x="101" y="152"/>
                  </a:lnTo>
                  <a:lnTo>
                    <a:pt x="100" y="139"/>
                  </a:lnTo>
                  <a:lnTo>
                    <a:pt x="99" y="124"/>
                  </a:lnTo>
                  <a:lnTo>
                    <a:pt x="97" y="108"/>
                  </a:lnTo>
                  <a:lnTo>
                    <a:pt x="96" y="93"/>
                  </a:lnTo>
                  <a:lnTo>
                    <a:pt x="88" y="0"/>
                  </a:lnTo>
                  <a:lnTo>
                    <a:pt x="71" y="0"/>
                  </a:lnTo>
                  <a:lnTo>
                    <a:pt x="70" y="0"/>
                  </a:lnTo>
                  <a:lnTo>
                    <a:pt x="70" y="0"/>
                  </a:lnTo>
                  <a:lnTo>
                    <a:pt x="19" y="0"/>
                  </a:lnTo>
                  <a:lnTo>
                    <a:pt x="16" y="2"/>
                  </a:lnTo>
                  <a:lnTo>
                    <a:pt x="12" y="3"/>
                  </a:lnTo>
                  <a:lnTo>
                    <a:pt x="9" y="5"/>
                  </a:lnTo>
                  <a:lnTo>
                    <a:pt x="6" y="8"/>
                  </a:lnTo>
                  <a:lnTo>
                    <a:pt x="3" y="11"/>
                  </a:lnTo>
                  <a:lnTo>
                    <a:pt x="2" y="15"/>
                  </a:lnTo>
                  <a:lnTo>
                    <a:pt x="1" y="20"/>
                  </a:lnTo>
                  <a:lnTo>
                    <a:pt x="0" y="23"/>
                  </a:lnTo>
                  <a:lnTo>
                    <a:pt x="1" y="27"/>
                  </a:lnTo>
                  <a:lnTo>
                    <a:pt x="2" y="32"/>
                  </a:lnTo>
                  <a:lnTo>
                    <a:pt x="3" y="35"/>
                  </a:lnTo>
                  <a:lnTo>
                    <a:pt x="6" y="39"/>
                  </a:lnTo>
                  <a:lnTo>
                    <a:pt x="9" y="41"/>
                  </a:lnTo>
                  <a:lnTo>
                    <a:pt x="12" y="44"/>
                  </a:lnTo>
                  <a:lnTo>
                    <a:pt x="16" y="45"/>
                  </a:lnTo>
                  <a:lnTo>
                    <a:pt x="19" y="45"/>
                  </a:lnTo>
                  <a:lnTo>
                    <a:pt x="50" y="45"/>
                  </a:lnTo>
                  <a:lnTo>
                    <a:pt x="76" y="197"/>
                  </a:lnTo>
                  <a:lnTo>
                    <a:pt x="123" y="197"/>
                  </a:lnTo>
                  <a:lnTo>
                    <a:pt x="215" y="0"/>
                  </a:lnTo>
                  <a:lnTo>
                    <a:pt x="1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0" name="Freeform 186">
              <a:extLst>
                <a:ext uri="{FF2B5EF4-FFF2-40B4-BE49-F238E27FC236}">
                  <a16:creationId xmlns:a16="http://schemas.microsoft.com/office/drawing/2014/main" id="{0CE45C2A-94DA-4628-9246-234975D57B42}"/>
                </a:ext>
              </a:extLst>
            </p:cNvPr>
            <p:cNvSpPr>
              <a:spLocks/>
            </p:cNvSpPr>
            <p:nvPr/>
          </p:nvSpPr>
          <p:spPr bwMode="auto">
            <a:xfrm>
              <a:off x="6564313" y="2051050"/>
              <a:ext cx="22225" cy="61913"/>
            </a:xfrm>
            <a:custGeom>
              <a:avLst/>
              <a:gdLst>
                <a:gd name="T0" fmla="*/ 0 w 70"/>
                <a:gd name="T1" fmla="*/ 197 h 197"/>
                <a:gd name="T2" fmla="*/ 41 w 70"/>
                <a:gd name="T3" fmla="*/ 197 h 197"/>
                <a:gd name="T4" fmla="*/ 70 w 70"/>
                <a:gd name="T5" fmla="*/ 0 h 197"/>
                <a:gd name="T6" fmla="*/ 30 w 70"/>
                <a:gd name="T7" fmla="*/ 0 h 197"/>
                <a:gd name="T8" fmla="*/ 0 w 70"/>
                <a:gd name="T9" fmla="*/ 197 h 197"/>
              </a:gdLst>
              <a:ahLst/>
              <a:cxnLst>
                <a:cxn ang="0">
                  <a:pos x="T0" y="T1"/>
                </a:cxn>
                <a:cxn ang="0">
                  <a:pos x="T2" y="T3"/>
                </a:cxn>
                <a:cxn ang="0">
                  <a:pos x="T4" y="T5"/>
                </a:cxn>
                <a:cxn ang="0">
                  <a:pos x="T6" y="T7"/>
                </a:cxn>
                <a:cxn ang="0">
                  <a:pos x="T8" y="T9"/>
                </a:cxn>
              </a:cxnLst>
              <a:rect l="0" t="0" r="r" b="b"/>
              <a:pathLst>
                <a:path w="70" h="197">
                  <a:moveTo>
                    <a:pt x="0" y="197"/>
                  </a:moveTo>
                  <a:lnTo>
                    <a:pt x="41" y="197"/>
                  </a:lnTo>
                  <a:lnTo>
                    <a:pt x="70" y="0"/>
                  </a:lnTo>
                  <a:lnTo>
                    <a:pt x="30" y="0"/>
                  </a:lnTo>
                  <a:lnTo>
                    <a:pt x="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1" name="Freeform 187">
              <a:extLst>
                <a:ext uri="{FF2B5EF4-FFF2-40B4-BE49-F238E27FC236}">
                  <a16:creationId xmlns:a16="http://schemas.microsoft.com/office/drawing/2014/main" id="{14A4C5AF-89AD-4C6C-BEE6-6EB68E00CF06}"/>
                </a:ext>
              </a:extLst>
            </p:cNvPr>
            <p:cNvSpPr>
              <a:spLocks/>
            </p:cNvSpPr>
            <p:nvPr/>
          </p:nvSpPr>
          <p:spPr bwMode="auto">
            <a:xfrm>
              <a:off x="6586538" y="2051050"/>
              <a:ext cx="44450" cy="61913"/>
            </a:xfrm>
            <a:custGeom>
              <a:avLst/>
              <a:gdLst>
                <a:gd name="T0" fmla="*/ 77 w 138"/>
                <a:gd name="T1" fmla="*/ 77 h 198"/>
                <a:gd name="T2" fmla="*/ 65 w 138"/>
                <a:gd name="T3" fmla="*/ 67 h 198"/>
                <a:gd name="T4" fmla="*/ 61 w 138"/>
                <a:gd name="T5" fmla="*/ 59 h 198"/>
                <a:gd name="T6" fmla="*/ 61 w 138"/>
                <a:gd name="T7" fmla="*/ 52 h 198"/>
                <a:gd name="T8" fmla="*/ 64 w 138"/>
                <a:gd name="T9" fmla="*/ 44 h 198"/>
                <a:gd name="T10" fmla="*/ 71 w 138"/>
                <a:gd name="T11" fmla="*/ 39 h 198"/>
                <a:gd name="T12" fmla="*/ 82 w 138"/>
                <a:gd name="T13" fmla="*/ 36 h 198"/>
                <a:gd name="T14" fmla="*/ 100 w 138"/>
                <a:gd name="T15" fmla="*/ 36 h 198"/>
                <a:gd name="T16" fmla="*/ 119 w 138"/>
                <a:gd name="T17" fmla="*/ 41 h 198"/>
                <a:gd name="T18" fmla="*/ 138 w 138"/>
                <a:gd name="T19" fmla="*/ 10 h 198"/>
                <a:gd name="T20" fmla="*/ 121 w 138"/>
                <a:gd name="T21" fmla="*/ 4 h 198"/>
                <a:gd name="T22" fmla="*/ 93 w 138"/>
                <a:gd name="T23" fmla="*/ 0 h 198"/>
                <a:gd name="T24" fmla="*/ 77 w 138"/>
                <a:gd name="T25" fmla="*/ 2 h 198"/>
                <a:gd name="T26" fmla="*/ 63 w 138"/>
                <a:gd name="T27" fmla="*/ 5 h 198"/>
                <a:gd name="T28" fmla="*/ 50 w 138"/>
                <a:gd name="T29" fmla="*/ 10 h 198"/>
                <a:gd name="T30" fmla="*/ 39 w 138"/>
                <a:gd name="T31" fmla="*/ 17 h 198"/>
                <a:gd name="T32" fmla="*/ 30 w 138"/>
                <a:gd name="T33" fmla="*/ 26 h 198"/>
                <a:gd name="T34" fmla="*/ 23 w 138"/>
                <a:gd name="T35" fmla="*/ 37 h 198"/>
                <a:gd name="T36" fmla="*/ 18 w 138"/>
                <a:gd name="T37" fmla="*/ 49 h 198"/>
                <a:gd name="T38" fmla="*/ 17 w 138"/>
                <a:gd name="T39" fmla="*/ 63 h 198"/>
                <a:gd name="T40" fmla="*/ 20 w 138"/>
                <a:gd name="T41" fmla="*/ 80 h 198"/>
                <a:gd name="T42" fmla="*/ 29 w 138"/>
                <a:gd name="T43" fmla="*/ 94 h 198"/>
                <a:gd name="T44" fmla="*/ 41 w 138"/>
                <a:gd name="T45" fmla="*/ 104 h 198"/>
                <a:gd name="T46" fmla="*/ 56 w 138"/>
                <a:gd name="T47" fmla="*/ 113 h 198"/>
                <a:gd name="T48" fmla="*/ 76 w 138"/>
                <a:gd name="T49" fmla="*/ 126 h 198"/>
                <a:gd name="T50" fmla="*/ 81 w 138"/>
                <a:gd name="T51" fmla="*/ 133 h 198"/>
                <a:gd name="T52" fmla="*/ 82 w 138"/>
                <a:gd name="T53" fmla="*/ 141 h 198"/>
                <a:gd name="T54" fmla="*/ 81 w 138"/>
                <a:gd name="T55" fmla="*/ 150 h 198"/>
                <a:gd name="T56" fmla="*/ 77 w 138"/>
                <a:gd name="T57" fmla="*/ 157 h 198"/>
                <a:gd name="T58" fmla="*/ 69 w 138"/>
                <a:gd name="T59" fmla="*/ 161 h 198"/>
                <a:gd name="T60" fmla="*/ 59 w 138"/>
                <a:gd name="T61" fmla="*/ 163 h 198"/>
                <a:gd name="T62" fmla="*/ 34 w 138"/>
                <a:gd name="T63" fmla="*/ 159 h 198"/>
                <a:gd name="T64" fmla="*/ 14 w 138"/>
                <a:gd name="T65" fmla="*/ 150 h 198"/>
                <a:gd name="T66" fmla="*/ 8 w 138"/>
                <a:gd name="T67" fmla="*/ 189 h 198"/>
                <a:gd name="T68" fmla="*/ 27 w 138"/>
                <a:gd name="T69" fmla="*/ 195 h 198"/>
                <a:gd name="T70" fmla="*/ 45 w 138"/>
                <a:gd name="T71" fmla="*/ 198 h 198"/>
                <a:gd name="T72" fmla="*/ 62 w 138"/>
                <a:gd name="T73" fmla="*/ 198 h 198"/>
                <a:gd name="T74" fmla="*/ 77 w 138"/>
                <a:gd name="T75" fmla="*/ 195 h 198"/>
                <a:gd name="T76" fmla="*/ 90 w 138"/>
                <a:gd name="T77" fmla="*/ 191 h 198"/>
                <a:gd name="T78" fmla="*/ 101 w 138"/>
                <a:gd name="T79" fmla="*/ 186 h 198"/>
                <a:gd name="T80" fmla="*/ 111 w 138"/>
                <a:gd name="T81" fmla="*/ 177 h 198"/>
                <a:gd name="T82" fmla="*/ 119 w 138"/>
                <a:gd name="T83" fmla="*/ 168 h 198"/>
                <a:gd name="T84" fmla="*/ 123 w 138"/>
                <a:gd name="T85" fmla="*/ 155 h 198"/>
                <a:gd name="T86" fmla="*/ 126 w 138"/>
                <a:gd name="T87" fmla="*/ 141 h 198"/>
                <a:gd name="T88" fmla="*/ 125 w 138"/>
                <a:gd name="T89" fmla="*/ 125 h 198"/>
                <a:gd name="T90" fmla="*/ 121 w 138"/>
                <a:gd name="T91" fmla="*/ 111 h 198"/>
                <a:gd name="T92" fmla="*/ 110 w 138"/>
                <a:gd name="T93" fmla="*/ 98 h 198"/>
                <a:gd name="T94" fmla="*/ 96 w 138"/>
                <a:gd name="T95" fmla="*/ 87 h 198"/>
                <a:gd name="T96" fmla="*/ 87 w 138"/>
                <a:gd name="T97" fmla="*/ 8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198">
                  <a:moveTo>
                    <a:pt x="87" y="83"/>
                  </a:moveTo>
                  <a:lnTo>
                    <a:pt x="77" y="77"/>
                  </a:lnTo>
                  <a:lnTo>
                    <a:pt x="68" y="70"/>
                  </a:lnTo>
                  <a:lnTo>
                    <a:pt x="65" y="67"/>
                  </a:lnTo>
                  <a:lnTo>
                    <a:pt x="62" y="64"/>
                  </a:lnTo>
                  <a:lnTo>
                    <a:pt x="61" y="59"/>
                  </a:lnTo>
                  <a:lnTo>
                    <a:pt x="60" y="56"/>
                  </a:lnTo>
                  <a:lnTo>
                    <a:pt x="61" y="52"/>
                  </a:lnTo>
                  <a:lnTo>
                    <a:pt x="62" y="48"/>
                  </a:lnTo>
                  <a:lnTo>
                    <a:pt x="64" y="44"/>
                  </a:lnTo>
                  <a:lnTo>
                    <a:pt x="67" y="41"/>
                  </a:lnTo>
                  <a:lnTo>
                    <a:pt x="71" y="39"/>
                  </a:lnTo>
                  <a:lnTo>
                    <a:pt x="77" y="37"/>
                  </a:lnTo>
                  <a:lnTo>
                    <a:pt x="82" y="36"/>
                  </a:lnTo>
                  <a:lnTo>
                    <a:pt x="90" y="36"/>
                  </a:lnTo>
                  <a:lnTo>
                    <a:pt x="100" y="36"/>
                  </a:lnTo>
                  <a:lnTo>
                    <a:pt x="111" y="38"/>
                  </a:lnTo>
                  <a:lnTo>
                    <a:pt x="119" y="41"/>
                  </a:lnTo>
                  <a:lnTo>
                    <a:pt x="125" y="44"/>
                  </a:lnTo>
                  <a:lnTo>
                    <a:pt x="138" y="10"/>
                  </a:lnTo>
                  <a:lnTo>
                    <a:pt x="130" y="7"/>
                  </a:lnTo>
                  <a:lnTo>
                    <a:pt x="121" y="4"/>
                  </a:lnTo>
                  <a:lnTo>
                    <a:pt x="108" y="2"/>
                  </a:lnTo>
                  <a:lnTo>
                    <a:pt x="93" y="0"/>
                  </a:lnTo>
                  <a:lnTo>
                    <a:pt x="84" y="0"/>
                  </a:lnTo>
                  <a:lnTo>
                    <a:pt x="77" y="2"/>
                  </a:lnTo>
                  <a:lnTo>
                    <a:pt x="70" y="3"/>
                  </a:lnTo>
                  <a:lnTo>
                    <a:pt x="63" y="5"/>
                  </a:lnTo>
                  <a:lnTo>
                    <a:pt x="56" y="7"/>
                  </a:lnTo>
                  <a:lnTo>
                    <a:pt x="50" y="10"/>
                  </a:lnTo>
                  <a:lnTo>
                    <a:pt x="45" y="13"/>
                  </a:lnTo>
                  <a:lnTo>
                    <a:pt x="39" y="17"/>
                  </a:lnTo>
                  <a:lnTo>
                    <a:pt x="34" y="21"/>
                  </a:lnTo>
                  <a:lnTo>
                    <a:pt x="30" y="26"/>
                  </a:lnTo>
                  <a:lnTo>
                    <a:pt x="26" y="30"/>
                  </a:lnTo>
                  <a:lnTo>
                    <a:pt x="23" y="37"/>
                  </a:lnTo>
                  <a:lnTo>
                    <a:pt x="20" y="42"/>
                  </a:lnTo>
                  <a:lnTo>
                    <a:pt x="18" y="49"/>
                  </a:lnTo>
                  <a:lnTo>
                    <a:pt x="17" y="55"/>
                  </a:lnTo>
                  <a:lnTo>
                    <a:pt x="17" y="63"/>
                  </a:lnTo>
                  <a:lnTo>
                    <a:pt x="18" y="71"/>
                  </a:lnTo>
                  <a:lnTo>
                    <a:pt x="20" y="80"/>
                  </a:lnTo>
                  <a:lnTo>
                    <a:pt x="24" y="86"/>
                  </a:lnTo>
                  <a:lnTo>
                    <a:pt x="29" y="94"/>
                  </a:lnTo>
                  <a:lnTo>
                    <a:pt x="35" y="99"/>
                  </a:lnTo>
                  <a:lnTo>
                    <a:pt x="41" y="104"/>
                  </a:lnTo>
                  <a:lnTo>
                    <a:pt x="49" y="109"/>
                  </a:lnTo>
                  <a:lnTo>
                    <a:pt x="56" y="113"/>
                  </a:lnTo>
                  <a:lnTo>
                    <a:pt x="68" y="119"/>
                  </a:lnTo>
                  <a:lnTo>
                    <a:pt x="76" y="126"/>
                  </a:lnTo>
                  <a:lnTo>
                    <a:pt x="79" y="129"/>
                  </a:lnTo>
                  <a:lnTo>
                    <a:pt x="81" y="133"/>
                  </a:lnTo>
                  <a:lnTo>
                    <a:pt x="82" y="137"/>
                  </a:lnTo>
                  <a:lnTo>
                    <a:pt x="82" y="141"/>
                  </a:lnTo>
                  <a:lnTo>
                    <a:pt x="82" y="146"/>
                  </a:lnTo>
                  <a:lnTo>
                    <a:pt x="81" y="150"/>
                  </a:lnTo>
                  <a:lnTo>
                    <a:pt x="79" y="154"/>
                  </a:lnTo>
                  <a:lnTo>
                    <a:pt x="77" y="157"/>
                  </a:lnTo>
                  <a:lnTo>
                    <a:pt x="74" y="160"/>
                  </a:lnTo>
                  <a:lnTo>
                    <a:pt x="69" y="161"/>
                  </a:lnTo>
                  <a:lnTo>
                    <a:pt x="64" y="162"/>
                  </a:lnTo>
                  <a:lnTo>
                    <a:pt x="59" y="163"/>
                  </a:lnTo>
                  <a:lnTo>
                    <a:pt x="46" y="162"/>
                  </a:lnTo>
                  <a:lnTo>
                    <a:pt x="34" y="159"/>
                  </a:lnTo>
                  <a:lnTo>
                    <a:pt x="22" y="156"/>
                  </a:lnTo>
                  <a:lnTo>
                    <a:pt x="14" y="150"/>
                  </a:lnTo>
                  <a:lnTo>
                    <a:pt x="0" y="184"/>
                  </a:lnTo>
                  <a:lnTo>
                    <a:pt x="8" y="189"/>
                  </a:lnTo>
                  <a:lnTo>
                    <a:pt x="20" y="193"/>
                  </a:lnTo>
                  <a:lnTo>
                    <a:pt x="27" y="195"/>
                  </a:lnTo>
                  <a:lnTo>
                    <a:pt x="36" y="197"/>
                  </a:lnTo>
                  <a:lnTo>
                    <a:pt x="45" y="198"/>
                  </a:lnTo>
                  <a:lnTo>
                    <a:pt x="54" y="198"/>
                  </a:lnTo>
                  <a:lnTo>
                    <a:pt x="62" y="198"/>
                  </a:lnTo>
                  <a:lnTo>
                    <a:pt x="69" y="197"/>
                  </a:lnTo>
                  <a:lnTo>
                    <a:pt x="77" y="195"/>
                  </a:lnTo>
                  <a:lnTo>
                    <a:pt x="83" y="193"/>
                  </a:lnTo>
                  <a:lnTo>
                    <a:pt x="90" y="191"/>
                  </a:lnTo>
                  <a:lnTo>
                    <a:pt x="96" y="189"/>
                  </a:lnTo>
                  <a:lnTo>
                    <a:pt x="101" y="186"/>
                  </a:lnTo>
                  <a:lnTo>
                    <a:pt x="107" y="182"/>
                  </a:lnTo>
                  <a:lnTo>
                    <a:pt x="111" y="177"/>
                  </a:lnTo>
                  <a:lnTo>
                    <a:pt x="114" y="173"/>
                  </a:lnTo>
                  <a:lnTo>
                    <a:pt x="119" y="168"/>
                  </a:lnTo>
                  <a:lnTo>
                    <a:pt x="121" y="161"/>
                  </a:lnTo>
                  <a:lnTo>
                    <a:pt x="123" y="155"/>
                  </a:lnTo>
                  <a:lnTo>
                    <a:pt x="125" y="148"/>
                  </a:lnTo>
                  <a:lnTo>
                    <a:pt x="126" y="141"/>
                  </a:lnTo>
                  <a:lnTo>
                    <a:pt x="126" y="133"/>
                  </a:lnTo>
                  <a:lnTo>
                    <a:pt x="125" y="125"/>
                  </a:lnTo>
                  <a:lnTo>
                    <a:pt x="124" y="117"/>
                  </a:lnTo>
                  <a:lnTo>
                    <a:pt x="121" y="111"/>
                  </a:lnTo>
                  <a:lnTo>
                    <a:pt x="115" y="104"/>
                  </a:lnTo>
                  <a:lnTo>
                    <a:pt x="110" y="98"/>
                  </a:lnTo>
                  <a:lnTo>
                    <a:pt x="104" y="93"/>
                  </a:lnTo>
                  <a:lnTo>
                    <a:pt x="96" y="87"/>
                  </a:lnTo>
                  <a:lnTo>
                    <a:pt x="87" y="83"/>
                  </a:lnTo>
                  <a:lnTo>
                    <a:pt x="8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2" name="Freeform 188">
              <a:extLst>
                <a:ext uri="{FF2B5EF4-FFF2-40B4-BE49-F238E27FC236}">
                  <a16:creationId xmlns:a16="http://schemas.microsoft.com/office/drawing/2014/main" id="{D5103385-CE1D-4CCD-A59D-802EA68BD0B3}"/>
                </a:ext>
              </a:extLst>
            </p:cNvPr>
            <p:cNvSpPr>
              <a:spLocks noEditPoints="1"/>
            </p:cNvSpPr>
            <p:nvPr/>
          </p:nvSpPr>
          <p:spPr bwMode="auto">
            <a:xfrm>
              <a:off x="6629400" y="2051050"/>
              <a:ext cx="53975" cy="61913"/>
            </a:xfrm>
            <a:custGeom>
              <a:avLst/>
              <a:gdLst>
                <a:gd name="T0" fmla="*/ 71 w 168"/>
                <a:gd name="T1" fmla="*/ 122 h 197"/>
                <a:gd name="T2" fmla="*/ 91 w 168"/>
                <a:gd name="T3" fmla="*/ 82 h 197"/>
                <a:gd name="T4" fmla="*/ 95 w 168"/>
                <a:gd name="T5" fmla="*/ 71 h 197"/>
                <a:gd name="T6" fmla="*/ 98 w 168"/>
                <a:gd name="T7" fmla="*/ 59 h 197"/>
                <a:gd name="T8" fmla="*/ 100 w 168"/>
                <a:gd name="T9" fmla="*/ 54 h 197"/>
                <a:gd name="T10" fmla="*/ 102 w 168"/>
                <a:gd name="T11" fmla="*/ 50 h 197"/>
                <a:gd name="T12" fmla="*/ 105 w 168"/>
                <a:gd name="T13" fmla="*/ 47 h 197"/>
                <a:gd name="T14" fmla="*/ 107 w 168"/>
                <a:gd name="T15" fmla="*/ 45 h 197"/>
                <a:gd name="T16" fmla="*/ 107 w 168"/>
                <a:gd name="T17" fmla="*/ 45 h 197"/>
                <a:gd name="T18" fmla="*/ 108 w 168"/>
                <a:gd name="T19" fmla="*/ 50 h 197"/>
                <a:gd name="T20" fmla="*/ 108 w 168"/>
                <a:gd name="T21" fmla="*/ 59 h 197"/>
                <a:gd name="T22" fmla="*/ 109 w 168"/>
                <a:gd name="T23" fmla="*/ 71 h 197"/>
                <a:gd name="T24" fmla="*/ 110 w 168"/>
                <a:gd name="T25" fmla="*/ 82 h 197"/>
                <a:gd name="T26" fmla="*/ 113 w 168"/>
                <a:gd name="T27" fmla="*/ 122 h 197"/>
                <a:gd name="T28" fmla="*/ 71 w 168"/>
                <a:gd name="T29" fmla="*/ 122 h 197"/>
                <a:gd name="T30" fmla="*/ 86 w 168"/>
                <a:gd name="T31" fmla="*/ 0 h 197"/>
                <a:gd name="T32" fmla="*/ 0 w 168"/>
                <a:gd name="T33" fmla="*/ 197 h 197"/>
                <a:gd name="T34" fmla="*/ 44 w 168"/>
                <a:gd name="T35" fmla="*/ 197 h 197"/>
                <a:gd name="T36" fmla="*/ 60 w 168"/>
                <a:gd name="T37" fmla="*/ 137 h 197"/>
                <a:gd name="T38" fmla="*/ 115 w 168"/>
                <a:gd name="T39" fmla="*/ 137 h 197"/>
                <a:gd name="T40" fmla="*/ 125 w 168"/>
                <a:gd name="T41" fmla="*/ 197 h 197"/>
                <a:gd name="T42" fmla="*/ 168 w 168"/>
                <a:gd name="T43" fmla="*/ 197 h 197"/>
                <a:gd name="T44" fmla="*/ 140 w 168"/>
                <a:gd name="T45" fmla="*/ 0 h 197"/>
                <a:gd name="T46" fmla="*/ 86 w 168"/>
                <a:gd name="T47"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97">
                  <a:moveTo>
                    <a:pt x="71" y="122"/>
                  </a:moveTo>
                  <a:lnTo>
                    <a:pt x="91" y="82"/>
                  </a:lnTo>
                  <a:lnTo>
                    <a:pt x="95" y="71"/>
                  </a:lnTo>
                  <a:lnTo>
                    <a:pt x="98" y="59"/>
                  </a:lnTo>
                  <a:lnTo>
                    <a:pt x="100" y="54"/>
                  </a:lnTo>
                  <a:lnTo>
                    <a:pt x="102" y="50"/>
                  </a:lnTo>
                  <a:lnTo>
                    <a:pt x="105" y="47"/>
                  </a:lnTo>
                  <a:lnTo>
                    <a:pt x="107" y="45"/>
                  </a:lnTo>
                  <a:lnTo>
                    <a:pt x="107" y="45"/>
                  </a:lnTo>
                  <a:lnTo>
                    <a:pt x="108" y="50"/>
                  </a:lnTo>
                  <a:lnTo>
                    <a:pt x="108" y="59"/>
                  </a:lnTo>
                  <a:lnTo>
                    <a:pt x="109" y="71"/>
                  </a:lnTo>
                  <a:lnTo>
                    <a:pt x="110" y="82"/>
                  </a:lnTo>
                  <a:lnTo>
                    <a:pt x="113" y="122"/>
                  </a:lnTo>
                  <a:lnTo>
                    <a:pt x="71" y="122"/>
                  </a:lnTo>
                  <a:close/>
                  <a:moveTo>
                    <a:pt x="86" y="0"/>
                  </a:moveTo>
                  <a:lnTo>
                    <a:pt x="0" y="197"/>
                  </a:lnTo>
                  <a:lnTo>
                    <a:pt x="44" y="197"/>
                  </a:lnTo>
                  <a:lnTo>
                    <a:pt x="60" y="137"/>
                  </a:lnTo>
                  <a:lnTo>
                    <a:pt x="115" y="137"/>
                  </a:lnTo>
                  <a:lnTo>
                    <a:pt x="125" y="197"/>
                  </a:lnTo>
                  <a:lnTo>
                    <a:pt x="168" y="197"/>
                  </a:lnTo>
                  <a:lnTo>
                    <a:pt x="140" y="0"/>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824" name="Group 1073">
            <a:extLst>
              <a:ext uri="{FF2B5EF4-FFF2-40B4-BE49-F238E27FC236}">
                <a16:creationId xmlns:a16="http://schemas.microsoft.com/office/drawing/2014/main" id="{892AF0BB-D4AE-416E-B059-938E08F2D680}"/>
              </a:ext>
            </a:extLst>
          </p:cNvPr>
          <p:cNvGrpSpPr>
            <a:grpSpLocks noChangeAspect="1"/>
          </p:cNvGrpSpPr>
          <p:nvPr/>
        </p:nvGrpSpPr>
        <p:grpSpPr>
          <a:xfrm>
            <a:off x="1080761" y="2724897"/>
            <a:ext cx="277076" cy="285619"/>
            <a:chOff x="3598876" y="2268549"/>
            <a:chExt cx="360365" cy="371477"/>
          </a:xfrm>
          <a:solidFill>
            <a:schemeClr val="bg2"/>
          </a:solidFill>
        </p:grpSpPr>
        <p:sp>
          <p:nvSpPr>
            <p:cNvPr id="1825" name="Freeform 101">
              <a:extLst>
                <a:ext uri="{FF2B5EF4-FFF2-40B4-BE49-F238E27FC236}">
                  <a16:creationId xmlns:a16="http://schemas.microsoft.com/office/drawing/2014/main" id="{219EC6F3-99F5-4D3F-A3AC-5E90AB14E529}"/>
                </a:ext>
              </a:extLst>
            </p:cNvPr>
            <p:cNvSpPr>
              <a:spLocks/>
            </p:cNvSpPr>
            <p:nvPr/>
          </p:nvSpPr>
          <p:spPr bwMode="auto">
            <a:xfrm>
              <a:off x="3657615" y="2268549"/>
              <a:ext cx="301626" cy="239714"/>
            </a:xfrm>
            <a:custGeom>
              <a:avLst/>
              <a:gdLst>
                <a:gd name="T0" fmla="*/ 15 w 78"/>
                <a:gd name="T1" fmla="*/ 62 h 62"/>
                <a:gd name="T2" fmla="*/ 14 w 78"/>
                <a:gd name="T3" fmla="*/ 62 h 62"/>
                <a:gd name="T4" fmla="*/ 6 w 78"/>
                <a:gd name="T5" fmla="*/ 22 h 62"/>
                <a:gd name="T6" fmla="*/ 39 w 78"/>
                <a:gd name="T7" fmla="*/ 0 h 62"/>
                <a:gd name="T8" fmla="*/ 72 w 78"/>
                <a:gd name="T9" fmla="*/ 22 h 62"/>
                <a:gd name="T10" fmla="*/ 64 w 78"/>
                <a:gd name="T11" fmla="*/ 61 h 62"/>
                <a:gd name="T12" fmla="*/ 62 w 78"/>
                <a:gd name="T13" fmla="*/ 61 h 62"/>
                <a:gd name="T14" fmla="*/ 62 w 78"/>
                <a:gd name="T15" fmla="*/ 59 h 62"/>
                <a:gd name="T16" fmla="*/ 68 w 78"/>
                <a:gd name="T17" fmla="*/ 24 h 62"/>
                <a:gd name="T18" fmla="*/ 39 w 78"/>
                <a:gd name="T19" fmla="*/ 4 h 62"/>
                <a:gd name="T20" fmla="*/ 9 w 78"/>
                <a:gd name="T21" fmla="*/ 24 h 62"/>
                <a:gd name="T22" fmla="*/ 17 w 78"/>
                <a:gd name="T23" fmla="*/ 59 h 62"/>
                <a:gd name="T24" fmla="*/ 17 w 78"/>
                <a:gd name="T25" fmla="*/ 62 h 62"/>
                <a:gd name="T26" fmla="*/ 15 w 78"/>
                <a:gd name="T2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62">
                  <a:moveTo>
                    <a:pt x="15" y="62"/>
                  </a:moveTo>
                  <a:cubicBezTo>
                    <a:pt x="15" y="62"/>
                    <a:pt x="14" y="62"/>
                    <a:pt x="14" y="62"/>
                  </a:cubicBezTo>
                  <a:cubicBezTo>
                    <a:pt x="3" y="51"/>
                    <a:pt x="0" y="36"/>
                    <a:pt x="6" y="22"/>
                  </a:cubicBezTo>
                  <a:cubicBezTo>
                    <a:pt x="11" y="9"/>
                    <a:pt x="24" y="0"/>
                    <a:pt x="39" y="0"/>
                  </a:cubicBezTo>
                  <a:cubicBezTo>
                    <a:pt x="54" y="0"/>
                    <a:pt x="67" y="9"/>
                    <a:pt x="72" y="22"/>
                  </a:cubicBezTo>
                  <a:cubicBezTo>
                    <a:pt x="78" y="36"/>
                    <a:pt x="75" y="51"/>
                    <a:pt x="64" y="61"/>
                  </a:cubicBezTo>
                  <a:cubicBezTo>
                    <a:pt x="64" y="62"/>
                    <a:pt x="62" y="62"/>
                    <a:pt x="62" y="61"/>
                  </a:cubicBezTo>
                  <a:cubicBezTo>
                    <a:pt x="61" y="61"/>
                    <a:pt x="61" y="59"/>
                    <a:pt x="62" y="59"/>
                  </a:cubicBezTo>
                  <a:cubicBezTo>
                    <a:pt x="71" y="49"/>
                    <a:pt x="74" y="36"/>
                    <a:pt x="68" y="24"/>
                  </a:cubicBezTo>
                  <a:cubicBezTo>
                    <a:pt x="63" y="12"/>
                    <a:pt x="52" y="4"/>
                    <a:pt x="39" y="4"/>
                  </a:cubicBezTo>
                  <a:cubicBezTo>
                    <a:pt x="26" y="4"/>
                    <a:pt x="14" y="12"/>
                    <a:pt x="9" y="24"/>
                  </a:cubicBezTo>
                  <a:cubicBezTo>
                    <a:pt x="4" y="36"/>
                    <a:pt x="7" y="50"/>
                    <a:pt x="17" y="59"/>
                  </a:cubicBezTo>
                  <a:cubicBezTo>
                    <a:pt x="17" y="60"/>
                    <a:pt x="17" y="61"/>
                    <a:pt x="17" y="62"/>
                  </a:cubicBezTo>
                  <a:cubicBezTo>
                    <a:pt x="16" y="62"/>
                    <a:pt x="16" y="62"/>
                    <a:pt x="1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6" name="Freeform 102">
              <a:extLst>
                <a:ext uri="{FF2B5EF4-FFF2-40B4-BE49-F238E27FC236}">
                  <a16:creationId xmlns:a16="http://schemas.microsoft.com/office/drawing/2014/main" id="{4031F72F-97BA-4065-BFE5-38EB8FFAAE65}"/>
                </a:ext>
              </a:extLst>
            </p:cNvPr>
            <p:cNvSpPr>
              <a:spLocks/>
            </p:cNvSpPr>
            <p:nvPr/>
          </p:nvSpPr>
          <p:spPr bwMode="auto">
            <a:xfrm>
              <a:off x="3800490" y="245428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0"/>
                    <a:pt x="1" y="0"/>
                    <a:pt x="2" y="0"/>
                  </a:cubicBezTo>
                  <a:cubicBezTo>
                    <a:pt x="3" y="0"/>
                    <a:pt x="4" y="0"/>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7" name="Freeform 103">
              <a:extLst>
                <a:ext uri="{FF2B5EF4-FFF2-40B4-BE49-F238E27FC236}">
                  <a16:creationId xmlns:a16="http://schemas.microsoft.com/office/drawing/2014/main" id="{70E6555F-24ED-4B51-AAA4-424446E5D02C}"/>
                </a:ext>
              </a:extLst>
            </p:cNvPr>
            <p:cNvSpPr>
              <a:spLocks/>
            </p:cNvSpPr>
            <p:nvPr/>
          </p:nvSpPr>
          <p:spPr bwMode="auto">
            <a:xfrm>
              <a:off x="3800490" y="2330462"/>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8"/>
                    <a:pt x="0" y="6"/>
                  </a:cubicBezTo>
                  <a:cubicBezTo>
                    <a:pt x="0" y="2"/>
                    <a:pt x="0" y="2"/>
                    <a:pt x="0" y="2"/>
                  </a:cubicBezTo>
                  <a:cubicBezTo>
                    <a:pt x="0" y="1"/>
                    <a:pt x="1" y="0"/>
                    <a:pt x="2" y="0"/>
                  </a:cubicBezTo>
                  <a:cubicBezTo>
                    <a:pt x="3" y="0"/>
                    <a:pt x="4" y="1"/>
                    <a:pt x="4" y="2"/>
                  </a:cubicBezTo>
                  <a:cubicBezTo>
                    <a:pt x="4" y="6"/>
                    <a:pt x="4" y="6"/>
                    <a:pt x="4" y="6"/>
                  </a:cubicBezTo>
                  <a:cubicBezTo>
                    <a:pt x="4"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8" name="Freeform 104">
              <a:extLst>
                <a:ext uri="{FF2B5EF4-FFF2-40B4-BE49-F238E27FC236}">
                  <a16:creationId xmlns:a16="http://schemas.microsoft.com/office/drawing/2014/main" id="{BBF6BA52-01FC-4E11-A789-682AED4C3297}"/>
                </a:ext>
              </a:extLst>
            </p:cNvPr>
            <p:cNvSpPr>
              <a:spLocks/>
            </p:cNvSpPr>
            <p:nvPr/>
          </p:nvSpPr>
          <p:spPr bwMode="auto">
            <a:xfrm>
              <a:off x="3773501" y="2346338"/>
              <a:ext cx="69850" cy="123826"/>
            </a:xfrm>
            <a:custGeom>
              <a:avLst/>
              <a:gdLst>
                <a:gd name="T0" fmla="*/ 9 w 18"/>
                <a:gd name="T1" fmla="*/ 32 h 32"/>
                <a:gd name="T2" fmla="*/ 0 w 18"/>
                <a:gd name="T3" fmla="*/ 23 h 32"/>
                <a:gd name="T4" fmla="*/ 2 w 18"/>
                <a:gd name="T5" fmla="*/ 21 h 32"/>
                <a:gd name="T6" fmla="*/ 4 w 18"/>
                <a:gd name="T7" fmla="*/ 23 h 32"/>
                <a:gd name="T8" fmla="*/ 9 w 18"/>
                <a:gd name="T9" fmla="*/ 28 h 32"/>
                <a:gd name="T10" fmla="*/ 14 w 18"/>
                <a:gd name="T11" fmla="*/ 23 h 32"/>
                <a:gd name="T12" fmla="*/ 9 w 18"/>
                <a:gd name="T13" fmla="*/ 18 h 32"/>
                <a:gd name="T14" fmla="*/ 0 w 18"/>
                <a:gd name="T15" fmla="*/ 9 h 32"/>
                <a:gd name="T16" fmla="*/ 9 w 18"/>
                <a:gd name="T17" fmla="*/ 0 h 32"/>
                <a:gd name="T18" fmla="*/ 18 w 18"/>
                <a:gd name="T19" fmla="*/ 9 h 32"/>
                <a:gd name="T20" fmla="*/ 16 w 18"/>
                <a:gd name="T21" fmla="*/ 11 h 32"/>
                <a:gd name="T22" fmla="*/ 14 w 18"/>
                <a:gd name="T23" fmla="*/ 9 h 32"/>
                <a:gd name="T24" fmla="*/ 9 w 18"/>
                <a:gd name="T25" fmla="*/ 4 h 32"/>
                <a:gd name="T26" fmla="*/ 4 w 18"/>
                <a:gd name="T27" fmla="*/ 9 h 32"/>
                <a:gd name="T28" fmla="*/ 9 w 18"/>
                <a:gd name="T29" fmla="*/ 14 h 32"/>
                <a:gd name="T30" fmla="*/ 18 w 18"/>
                <a:gd name="T31" fmla="*/ 23 h 32"/>
                <a:gd name="T32" fmla="*/ 9 w 18"/>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2">
                  <a:moveTo>
                    <a:pt x="9" y="32"/>
                  </a:moveTo>
                  <a:cubicBezTo>
                    <a:pt x="4" y="32"/>
                    <a:pt x="0" y="28"/>
                    <a:pt x="0" y="23"/>
                  </a:cubicBezTo>
                  <a:cubicBezTo>
                    <a:pt x="0" y="22"/>
                    <a:pt x="1" y="21"/>
                    <a:pt x="2" y="21"/>
                  </a:cubicBezTo>
                  <a:cubicBezTo>
                    <a:pt x="3" y="21"/>
                    <a:pt x="4" y="22"/>
                    <a:pt x="4" y="23"/>
                  </a:cubicBezTo>
                  <a:cubicBezTo>
                    <a:pt x="4" y="25"/>
                    <a:pt x="6" y="28"/>
                    <a:pt x="9" y="28"/>
                  </a:cubicBezTo>
                  <a:cubicBezTo>
                    <a:pt x="12" y="28"/>
                    <a:pt x="14" y="25"/>
                    <a:pt x="14" y="23"/>
                  </a:cubicBezTo>
                  <a:cubicBezTo>
                    <a:pt x="14" y="20"/>
                    <a:pt x="12" y="18"/>
                    <a:pt x="9" y="18"/>
                  </a:cubicBezTo>
                  <a:cubicBezTo>
                    <a:pt x="4" y="18"/>
                    <a:pt x="0" y="14"/>
                    <a:pt x="0" y="9"/>
                  </a:cubicBezTo>
                  <a:cubicBezTo>
                    <a:pt x="0" y="4"/>
                    <a:pt x="4" y="0"/>
                    <a:pt x="9" y="0"/>
                  </a:cubicBezTo>
                  <a:cubicBezTo>
                    <a:pt x="14" y="0"/>
                    <a:pt x="18" y="4"/>
                    <a:pt x="18" y="9"/>
                  </a:cubicBezTo>
                  <a:cubicBezTo>
                    <a:pt x="18" y="10"/>
                    <a:pt x="17" y="11"/>
                    <a:pt x="16" y="11"/>
                  </a:cubicBezTo>
                  <a:cubicBezTo>
                    <a:pt x="15" y="11"/>
                    <a:pt x="14" y="10"/>
                    <a:pt x="14" y="9"/>
                  </a:cubicBezTo>
                  <a:cubicBezTo>
                    <a:pt x="14" y="7"/>
                    <a:pt x="12" y="4"/>
                    <a:pt x="9" y="4"/>
                  </a:cubicBezTo>
                  <a:cubicBezTo>
                    <a:pt x="6" y="4"/>
                    <a:pt x="4" y="7"/>
                    <a:pt x="4" y="9"/>
                  </a:cubicBezTo>
                  <a:cubicBezTo>
                    <a:pt x="4" y="12"/>
                    <a:pt x="6" y="14"/>
                    <a:pt x="9" y="14"/>
                  </a:cubicBezTo>
                  <a:cubicBezTo>
                    <a:pt x="14" y="14"/>
                    <a:pt x="18" y="18"/>
                    <a:pt x="18" y="23"/>
                  </a:cubicBezTo>
                  <a:cubicBezTo>
                    <a:pt x="18" y="28"/>
                    <a:pt x="14" y="32"/>
                    <a:pt x="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9" name="Freeform 105">
              <a:extLst>
                <a:ext uri="{FF2B5EF4-FFF2-40B4-BE49-F238E27FC236}">
                  <a16:creationId xmlns:a16="http://schemas.microsoft.com/office/drawing/2014/main" id="{1CEDF4C0-A2DD-4394-A7FE-4A9F9122F471}"/>
                </a:ext>
              </a:extLst>
            </p:cNvPr>
            <p:cNvSpPr>
              <a:spLocks/>
            </p:cNvSpPr>
            <p:nvPr/>
          </p:nvSpPr>
          <p:spPr bwMode="auto">
            <a:xfrm>
              <a:off x="3598876" y="2454287"/>
              <a:ext cx="349251" cy="185739"/>
            </a:xfrm>
            <a:custGeom>
              <a:avLst/>
              <a:gdLst>
                <a:gd name="T0" fmla="*/ 88 w 90"/>
                <a:gd name="T1" fmla="*/ 48 h 48"/>
                <a:gd name="T2" fmla="*/ 87 w 90"/>
                <a:gd name="T3" fmla="*/ 47 h 48"/>
                <a:gd name="T4" fmla="*/ 58 w 90"/>
                <a:gd name="T5" fmla="*/ 21 h 48"/>
                <a:gd name="T6" fmla="*/ 39 w 90"/>
                <a:gd name="T7" fmla="*/ 36 h 48"/>
                <a:gd name="T8" fmla="*/ 37 w 90"/>
                <a:gd name="T9" fmla="*/ 35 h 48"/>
                <a:gd name="T10" fmla="*/ 1 w 90"/>
                <a:gd name="T11" fmla="*/ 3 h 48"/>
                <a:gd name="T12" fmla="*/ 1 w 90"/>
                <a:gd name="T13" fmla="*/ 1 h 48"/>
                <a:gd name="T14" fmla="*/ 3 w 90"/>
                <a:gd name="T15" fmla="*/ 1 h 48"/>
                <a:gd name="T16" fmla="*/ 38 w 90"/>
                <a:gd name="T17" fmla="*/ 31 h 48"/>
                <a:gd name="T18" fmla="*/ 57 w 90"/>
                <a:gd name="T19" fmla="*/ 16 h 48"/>
                <a:gd name="T20" fmla="*/ 59 w 90"/>
                <a:gd name="T21" fmla="*/ 17 h 48"/>
                <a:gd name="T22" fmla="*/ 89 w 90"/>
                <a:gd name="T23" fmla="*/ 45 h 48"/>
                <a:gd name="T24" fmla="*/ 89 w 90"/>
                <a:gd name="T25" fmla="*/ 47 h 48"/>
                <a:gd name="T26" fmla="*/ 88 w 90"/>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48">
                  <a:moveTo>
                    <a:pt x="88" y="48"/>
                  </a:moveTo>
                  <a:cubicBezTo>
                    <a:pt x="88" y="48"/>
                    <a:pt x="87" y="48"/>
                    <a:pt x="87" y="47"/>
                  </a:cubicBezTo>
                  <a:cubicBezTo>
                    <a:pt x="58" y="21"/>
                    <a:pt x="58" y="21"/>
                    <a:pt x="58" y="21"/>
                  </a:cubicBezTo>
                  <a:cubicBezTo>
                    <a:pt x="39" y="36"/>
                    <a:pt x="39" y="36"/>
                    <a:pt x="39" y="36"/>
                  </a:cubicBezTo>
                  <a:cubicBezTo>
                    <a:pt x="38" y="36"/>
                    <a:pt x="37" y="36"/>
                    <a:pt x="37" y="35"/>
                  </a:cubicBezTo>
                  <a:cubicBezTo>
                    <a:pt x="1" y="3"/>
                    <a:pt x="1" y="3"/>
                    <a:pt x="1" y="3"/>
                  </a:cubicBezTo>
                  <a:cubicBezTo>
                    <a:pt x="0" y="3"/>
                    <a:pt x="0" y="1"/>
                    <a:pt x="1" y="1"/>
                  </a:cubicBezTo>
                  <a:cubicBezTo>
                    <a:pt x="1" y="0"/>
                    <a:pt x="3" y="0"/>
                    <a:pt x="3" y="1"/>
                  </a:cubicBezTo>
                  <a:cubicBezTo>
                    <a:pt x="38" y="31"/>
                    <a:pt x="38" y="31"/>
                    <a:pt x="38" y="31"/>
                  </a:cubicBezTo>
                  <a:cubicBezTo>
                    <a:pt x="57" y="16"/>
                    <a:pt x="57" y="16"/>
                    <a:pt x="57" y="16"/>
                  </a:cubicBezTo>
                  <a:cubicBezTo>
                    <a:pt x="58" y="16"/>
                    <a:pt x="59" y="16"/>
                    <a:pt x="59" y="17"/>
                  </a:cubicBezTo>
                  <a:cubicBezTo>
                    <a:pt x="89" y="45"/>
                    <a:pt x="89" y="45"/>
                    <a:pt x="89" y="45"/>
                  </a:cubicBezTo>
                  <a:cubicBezTo>
                    <a:pt x="90" y="45"/>
                    <a:pt x="90" y="47"/>
                    <a:pt x="89" y="47"/>
                  </a:cubicBezTo>
                  <a:cubicBezTo>
                    <a:pt x="89" y="48"/>
                    <a:pt x="89" y="48"/>
                    <a:pt x="8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0" name="Freeform 106">
              <a:extLst>
                <a:ext uri="{FF2B5EF4-FFF2-40B4-BE49-F238E27FC236}">
                  <a16:creationId xmlns:a16="http://schemas.microsoft.com/office/drawing/2014/main" id="{A6294328-078C-4537-BE63-558550EE9E3F}"/>
                </a:ext>
              </a:extLst>
            </p:cNvPr>
            <p:cNvSpPr>
              <a:spLocks/>
            </p:cNvSpPr>
            <p:nvPr/>
          </p:nvSpPr>
          <p:spPr bwMode="auto">
            <a:xfrm>
              <a:off x="3870326" y="2562226"/>
              <a:ext cx="77788" cy="77788"/>
            </a:xfrm>
            <a:custGeom>
              <a:avLst/>
              <a:gdLst>
                <a:gd name="T0" fmla="*/ 18 w 20"/>
                <a:gd name="T1" fmla="*/ 20 h 20"/>
                <a:gd name="T2" fmla="*/ 2 w 20"/>
                <a:gd name="T3" fmla="*/ 20 h 20"/>
                <a:gd name="T4" fmla="*/ 0 w 20"/>
                <a:gd name="T5" fmla="*/ 18 h 20"/>
                <a:gd name="T6" fmla="*/ 2 w 20"/>
                <a:gd name="T7" fmla="*/ 16 h 20"/>
                <a:gd name="T8" fmla="*/ 16 w 20"/>
                <a:gd name="T9" fmla="*/ 16 h 20"/>
                <a:gd name="T10" fmla="*/ 16 w 20"/>
                <a:gd name="T11" fmla="*/ 2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2" y="20"/>
                    <a:pt x="2" y="20"/>
                    <a:pt x="2" y="20"/>
                  </a:cubicBezTo>
                  <a:cubicBezTo>
                    <a:pt x="1" y="20"/>
                    <a:pt x="0" y="19"/>
                    <a:pt x="0" y="18"/>
                  </a:cubicBezTo>
                  <a:cubicBezTo>
                    <a:pt x="0" y="17"/>
                    <a:pt x="1" y="16"/>
                    <a:pt x="2" y="16"/>
                  </a:cubicBezTo>
                  <a:cubicBezTo>
                    <a:pt x="16" y="16"/>
                    <a:pt x="16" y="16"/>
                    <a:pt x="16" y="16"/>
                  </a:cubicBezTo>
                  <a:cubicBezTo>
                    <a:pt x="16" y="2"/>
                    <a:pt x="16" y="2"/>
                    <a:pt x="16" y="2"/>
                  </a:cubicBezTo>
                  <a:cubicBezTo>
                    <a:pt x="16" y="1"/>
                    <a:pt x="17"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857" name="Group 18">
            <a:extLst>
              <a:ext uri="{FF2B5EF4-FFF2-40B4-BE49-F238E27FC236}">
                <a16:creationId xmlns:a16="http://schemas.microsoft.com/office/drawing/2014/main" id="{72627A69-DE68-4A95-B814-15036451F788}"/>
              </a:ext>
            </a:extLst>
          </p:cNvPr>
          <p:cNvGrpSpPr>
            <a:grpSpLocks noChangeAspect="1"/>
          </p:cNvGrpSpPr>
          <p:nvPr/>
        </p:nvGrpSpPr>
        <p:grpSpPr>
          <a:xfrm>
            <a:off x="1893888" y="2724897"/>
            <a:ext cx="285619" cy="285619"/>
            <a:chOff x="6997700" y="723900"/>
            <a:chExt cx="360363" cy="360363"/>
          </a:xfrm>
          <a:solidFill>
            <a:schemeClr val="bg2"/>
          </a:solidFill>
          <a:effectLst/>
        </p:grpSpPr>
        <p:sp>
          <p:nvSpPr>
            <p:cNvPr id="1858" name="Freeform 1465">
              <a:extLst>
                <a:ext uri="{FF2B5EF4-FFF2-40B4-BE49-F238E27FC236}">
                  <a16:creationId xmlns:a16="http://schemas.microsoft.com/office/drawing/2014/main" id="{8DC16C74-686F-4FF6-9F3F-666FCEF6682A}"/>
                </a:ext>
              </a:extLst>
            </p:cNvPr>
            <p:cNvSpPr>
              <a:spLocks/>
            </p:cNvSpPr>
            <p:nvPr/>
          </p:nvSpPr>
          <p:spPr bwMode="auto">
            <a:xfrm>
              <a:off x="7118350" y="889000"/>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59" name="Freeform 1466">
              <a:extLst>
                <a:ext uri="{FF2B5EF4-FFF2-40B4-BE49-F238E27FC236}">
                  <a16:creationId xmlns:a16="http://schemas.microsoft.com/office/drawing/2014/main" id="{63132EF3-5444-425D-98F2-727040C8CA10}"/>
                </a:ext>
              </a:extLst>
            </p:cNvPr>
            <p:cNvSpPr>
              <a:spLocks/>
            </p:cNvSpPr>
            <p:nvPr/>
          </p:nvSpPr>
          <p:spPr bwMode="auto">
            <a:xfrm>
              <a:off x="7118350" y="784225"/>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0" name="Freeform 1467">
              <a:extLst>
                <a:ext uri="{FF2B5EF4-FFF2-40B4-BE49-F238E27FC236}">
                  <a16:creationId xmlns:a16="http://schemas.microsoft.com/office/drawing/2014/main" id="{007AB05E-4B2B-43E4-B68E-F6AE0C4FE17A}"/>
                </a:ext>
              </a:extLst>
            </p:cNvPr>
            <p:cNvSpPr>
              <a:spLocks/>
            </p:cNvSpPr>
            <p:nvPr/>
          </p:nvSpPr>
          <p:spPr bwMode="auto">
            <a:xfrm>
              <a:off x="7096125" y="798513"/>
              <a:ext cx="58738" cy="106363"/>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1" name="Freeform 1468">
              <a:extLst>
                <a:ext uri="{FF2B5EF4-FFF2-40B4-BE49-F238E27FC236}">
                  <a16:creationId xmlns:a16="http://schemas.microsoft.com/office/drawing/2014/main" id="{53AD6A42-570D-4B56-8247-74B1BE0A964F}"/>
                </a:ext>
              </a:extLst>
            </p:cNvPr>
            <p:cNvSpPr>
              <a:spLocks noEditPoints="1"/>
            </p:cNvSpPr>
            <p:nvPr/>
          </p:nvSpPr>
          <p:spPr bwMode="auto">
            <a:xfrm>
              <a:off x="6997700" y="723900"/>
              <a:ext cx="255588" cy="255588"/>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2" name="Freeform 1469">
              <a:extLst>
                <a:ext uri="{FF2B5EF4-FFF2-40B4-BE49-F238E27FC236}">
                  <a16:creationId xmlns:a16="http://schemas.microsoft.com/office/drawing/2014/main" id="{37CCE590-D461-4F37-916F-E5E77D304296}"/>
                </a:ext>
              </a:extLst>
            </p:cNvPr>
            <p:cNvSpPr>
              <a:spLocks/>
            </p:cNvSpPr>
            <p:nvPr/>
          </p:nvSpPr>
          <p:spPr bwMode="auto">
            <a:xfrm>
              <a:off x="7200900" y="927100"/>
              <a:ext cx="157163" cy="15716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63" name="Group 24">
            <a:extLst>
              <a:ext uri="{FF2B5EF4-FFF2-40B4-BE49-F238E27FC236}">
                <a16:creationId xmlns:a16="http://schemas.microsoft.com/office/drawing/2014/main" id="{FCA45ED6-0907-4BA0-A1CD-A8BD16F533E1}"/>
              </a:ext>
            </a:extLst>
          </p:cNvPr>
          <p:cNvGrpSpPr>
            <a:grpSpLocks noChangeAspect="1"/>
          </p:cNvGrpSpPr>
          <p:nvPr/>
        </p:nvGrpSpPr>
        <p:grpSpPr>
          <a:xfrm>
            <a:off x="2732382" y="2724897"/>
            <a:ext cx="293373" cy="285619"/>
            <a:chOff x="4113213" y="727075"/>
            <a:chExt cx="360363" cy="350838"/>
          </a:xfrm>
          <a:solidFill>
            <a:schemeClr val="bg2"/>
          </a:solidFill>
          <a:effectLst/>
        </p:grpSpPr>
        <p:sp>
          <p:nvSpPr>
            <p:cNvPr id="1864" name="Freeform 1724">
              <a:extLst>
                <a:ext uri="{FF2B5EF4-FFF2-40B4-BE49-F238E27FC236}">
                  <a16:creationId xmlns:a16="http://schemas.microsoft.com/office/drawing/2014/main" id="{DFF11C00-DD60-41C6-A5E8-2EFD73CCFFD9}"/>
                </a:ext>
              </a:extLst>
            </p:cNvPr>
            <p:cNvSpPr>
              <a:spLocks/>
            </p:cNvSpPr>
            <p:nvPr/>
          </p:nvSpPr>
          <p:spPr bwMode="auto">
            <a:xfrm>
              <a:off x="4273550" y="727075"/>
              <a:ext cx="49213" cy="95250"/>
            </a:xfrm>
            <a:custGeom>
              <a:avLst/>
              <a:gdLst>
                <a:gd name="T0" fmla="*/ 3 w 13"/>
                <a:gd name="T1" fmla="*/ 25 h 25"/>
                <a:gd name="T2" fmla="*/ 1 w 13"/>
                <a:gd name="T3" fmla="*/ 25 h 25"/>
                <a:gd name="T4" fmla="*/ 1 w 13"/>
                <a:gd name="T5" fmla="*/ 22 h 25"/>
                <a:gd name="T6" fmla="*/ 8 w 13"/>
                <a:gd name="T7" fmla="*/ 13 h 25"/>
                <a:gd name="T8" fmla="*/ 1 w 13"/>
                <a:gd name="T9" fmla="*/ 4 h 25"/>
                <a:gd name="T10" fmla="*/ 1 w 13"/>
                <a:gd name="T11" fmla="*/ 1 h 25"/>
                <a:gd name="T12" fmla="*/ 4 w 13"/>
                <a:gd name="T13" fmla="*/ 1 h 25"/>
                <a:gd name="T14" fmla="*/ 12 w 13"/>
                <a:gd name="T15" fmla="*/ 12 h 25"/>
                <a:gd name="T16" fmla="*/ 12 w 13"/>
                <a:gd name="T17" fmla="*/ 14 h 25"/>
                <a:gd name="T18" fmla="*/ 4 w 13"/>
                <a:gd name="T19" fmla="*/ 25 h 25"/>
                <a:gd name="T20" fmla="*/ 3 w 13"/>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3" y="25"/>
                  </a:moveTo>
                  <a:cubicBezTo>
                    <a:pt x="2" y="25"/>
                    <a:pt x="2" y="25"/>
                    <a:pt x="1" y="25"/>
                  </a:cubicBezTo>
                  <a:cubicBezTo>
                    <a:pt x="1" y="24"/>
                    <a:pt x="0" y="23"/>
                    <a:pt x="1" y="22"/>
                  </a:cubicBezTo>
                  <a:cubicBezTo>
                    <a:pt x="8" y="13"/>
                    <a:pt x="8" y="13"/>
                    <a:pt x="8" y="13"/>
                  </a:cubicBezTo>
                  <a:cubicBezTo>
                    <a:pt x="1" y="4"/>
                    <a:pt x="1" y="4"/>
                    <a:pt x="1" y="4"/>
                  </a:cubicBezTo>
                  <a:cubicBezTo>
                    <a:pt x="0" y="3"/>
                    <a:pt x="1" y="2"/>
                    <a:pt x="1" y="1"/>
                  </a:cubicBezTo>
                  <a:cubicBezTo>
                    <a:pt x="2" y="0"/>
                    <a:pt x="4" y="1"/>
                    <a:pt x="4" y="1"/>
                  </a:cubicBezTo>
                  <a:cubicBezTo>
                    <a:pt x="12" y="12"/>
                    <a:pt x="12" y="12"/>
                    <a:pt x="12" y="12"/>
                  </a:cubicBezTo>
                  <a:cubicBezTo>
                    <a:pt x="13" y="12"/>
                    <a:pt x="13" y="14"/>
                    <a:pt x="12" y="14"/>
                  </a:cubicBezTo>
                  <a:cubicBezTo>
                    <a:pt x="4" y="25"/>
                    <a:pt x="4" y="25"/>
                    <a:pt x="4" y="25"/>
                  </a:cubicBezTo>
                  <a:cubicBezTo>
                    <a:pt x="4" y="25"/>
                    <a:pt x="3" y="25"/>
                    <a:pt x="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5" name="Freeform 1725">
              <a:extLst>
                <a:ext uri="{FF2B5EF4-FFF2-40B4-BE49-F238E27FC236}">
                  <a16:creationId xmlns:a16="http://schemas.microsoft.com/office/drawing/2014/main" id="{9DCEF898-DA83-4D41-8E39-D946401B1694}"/>
                </a:ext>
              </a:extLst>
            </p:cNvPr>
            <p:cNvSpPr>
              <a:spLocks/>
            </p:cNvSpPr>
            <p:nvPr/>
          </p:nvSpPr>
          <p:spPr bwMode="auto">
            <a:xfrm>
              <a:off x="4248150" y="768350"/>
              <a:ext cx="74613"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6" name="Freeform 1726">
              <a:extLst>
                <a:ext uri="{FF2B5EF4-FFF2-40B4-BE49-F238E27FC236}">
                  <a16:creationId xmlns:a16="http://schemas.microsoft.com/office/drawing/2014/main" id="{A9C263CB-525A-464B-BB51-FAF4F678F0D4}"/>
                </a:ext>
              </a:extLst>
            </p:cNvPr>
            <p:cNvSpPr>
              <a:spLocks/>
            </p:cNvSpPr>
            <p:nvPr/>
          </p:nvSpPr>
          <p:spPr bwMode="auto">
            <a:xfrm>
              <a:off x="4248150" y="982663"/>
              <a:ext cx="44450" cy="95250"/>
            </a:xfrm>
            <a:custGeom>
              <a:avLst/>
              <a:gdLst>
                <a:gd name="T0" fmla="*/ 10 w 12"/>
                <a:gd name="T1" fmla="*/ 25 h 25"/>
                <a:gd name="T2" fmla="*/ 9 w 12"/>
                <a:gd name="T3" fmla="*/ 25 h 25"/>
                <a:gd name="T4" fmla="*/ 0 w 12"/>
                <a:gd name="T5" fmla="*/ 14 h 25"/>
                <a:gd name="T6" fmla="*/ 0 w 12"/>
                <a:gd name="T7" fmla="*/ 12 h 25"/>
                <a:gd name="T8" fmla="*/ 9 w 12"/>
                <a:gd name="T9" fmla="*/ 1 h 25"/>
                <a:gd name="T10" fmla="*/ 11 w 12"/>
                <a:gd name="T11" fmla="*/ 1 h 25"/>
                <a:gd name="T12" fmla="*/ 12 w 12"/>
                <a:gd name="T13" fmla="*/ 4 h 25"/>
                <a:gd name="T14" fmla="*/ 4 w 12"/>
                <a:gd name="T15" fmla="*/ 13 h 25"/>
                <a:gd name="T16" fmla="*/ 12 w 12"/>
                <a:gd name="T17" fmla="*/ 22 h 25"/>
                <a:gd name="T18" fmla="*/ 11 w 12"/>
                <a:gd name="T19" fmla="*/ 25 h 25"/>
                <a:gd name="T20" fmla="*/ 10 w 12"/>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5">
                  <a:moveTo>
                    <a:pt x="10" y="25"/>
                  </a:moveTo>
                  <a:cubicBezTo>
                    <a:pt x="10" y="25"/>
                    <a:pt x="9" y="25"/>
                    <a:pt x="9" y="25"/>
                  </a:cubicBezTo>
                  <a:cubicBezTo>
                    <a:pt x="0" y="14"/>
                    <a:pt x="0" y="14"/>
                    <a:pt x="0" y="14"/>
                  </a:cubicBezTo>
                  <a:cubicBezTo>
                    <a:pt x="0" y="14"/>
                    <a:pt x="0" y="12"/>
                    <a:pt x="0" y="12"/>
                  </a:cubicBezTo>
                  <a:cubicBezTo>
                    <a:pt x="9" y="1"/>
                    <a:pt x="9" y="1"/>
                    <a:pt x="9" y="1"/>
                  </a:cubicBezTo>
                  <a:cubicBezTo>
                    <a:pt x="9" y="1"/>
                    <a:pt x="11" y="0"/>
                    <a:pt x="11" y="1"/>
                  </a:cubicBezTo>
                  <a:cubicBezTo>
                    <a:pt x="12" y="2"/>
                    <a:pt x="12" y="3"/>
                    <a:pt x="12" y="4"/>
                  </a:cubicBezTo>
                  <a:cubicBezTo>
                    <a:pt x="4" y="13"/>
                    <a:pt x="4" y="13"/>
                    <a:pt x="4" y="13"/>
                  </a:cubicBezTo>
                  <a:cubicBezTo>
                    <a:pt x="12" y="22"/>
                    <a:pt x="12" y="22"/>
                    <a:pt x="12" y="22"/>
                  </a:cubicBezTo>
                  <a:cubicBezTo>
                    <a:pt x="12" y="23"/>
                    <a:pt x="12" y="24"/>
                    <a:pt x="11" y="25"/>
                  </a:cubicBezTo>
                  <a:cubicBezTo>
                    <a:pt x="11" y="25"/>
                    <a:pt x="11" y="25"/>
                    <a:pt x="1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7" name="Freeform 1727">
              <a:extLst>
                <a:ext uri="{FF2B5EF4-FFF2-40B4-BE49-F238E27FC236}">
                  <a16:creationId xmlns:a16="http://schemas.microsoft.com/office/drawing/2014/main" id="{46526071-09E3-41ED-A295-2F31F53A9E57}"/>
                </a:ext>
              </a:extLst>
            </p:cNvPr>
            <p:cNvSpPr>
              <a:spLocks/>
            </p:cNvSpPr>
            <p:nvPr/>
          </p:nvSpPr>
          <p:spPr bwMode="auto">
            <a:xfrm>
              <a:off x="4248150" y="1023938"/>
              <a:ext cx="74613"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8" name="Freeform 1728">
              <a:extLst>
                <a:ext uri="{FF2B5EF4-FFF2-40B4-BE49-F238E27FC236}">
                  <a16:creationId xmlns:a16="http://schemas.microsoft.com/office/drawing/2014/main" id="{69FFA659-1067-43D9-B4C9-CD4AF4B1F4D7}"/>
                </a:ext>
              </a:extLst>
            </p:cNvPr>
            <p:cNvSpPr>
              <a:spLocks/>
            </p:cNvSpPr>
            <p:nvPr/>
          </p:nvSpPr>
          <p:spPr bwMode="auto">
            <a:xfrm>
              <a:off x="4267200" y="858838"/>
              <a:ext cx="52388" cy="93663"/>
            </a:xfrm>
            <a:custGeom>
              <a:avLst/>
              <a:gdLst>
                <a:gd name="T0" fmla="*/ 7 w 14"/>
                <a:gd name="T1" fmla="*/ 25 h 25"/>
                <a:gd name="T2" fmla="*/ 0 w 14"/>
                <a:gd name="T3" fmla="*/ 18 h 25"/>
                <a:gd name="T4" fmla="*/ 2 w 14"/>
                <a:gd name="T5" fmla="*/ 16 h 25"/>
                <a:gd name="T6" fmla="*/ 4 w 14"/>
                <a:gd name="T7" fmla="*/ 18 h 25"/>
                <a:gd name="T8" fmla="*/ 7 w 14"/>
                <a:gd name="T9" fmla="*/ 21 h 25"/>
                <a:gd name="T10" fmla="*/ 10 w 14"/>
                <a:gd name="T11" fmla="*/ 18 h 25"/>
                <a:gd name="T12" fmla="*/ 7 w 14"/>
                <a:gd name="T13" fmla="*/ 15 h 25"/>
                <a:gd name="T14" fmla="*/ 0 w 14"/>
                <a:gd name="T15" fmla="*/ 7 h 25"/>
                <a:gd name="T16" fmla="*/ 7 w 14"/>
                <a:gd name="T17" fmla="*/ 0 h 25"/>
                <a:gd name="T18" fmla="*/ 14 w 14"/>
                <a:gd name="T19" fmla="*/ 7 h 25"/>
                <a:gd name="T20" fmla="*/ 12 w 14"/>
                <a:gd name="T21" fmla="*/ 9 h 25"/>
                <a:gd name="T22" fmla="*/ 10 w 14"/>
                <a:gd name="T23" fmla="*/ 7 h 25"/>
                <a:gd name="T24" fmla="*/ 7 w 14"/>
                <a:gd name="T25" fmla="*/ 4 h 25"/>
                <a:gd name="T26" fmla="*/ 4 w 14"/>
                <a:gd name="T27" fmla="*/ 7 h 25"/>
                <a:gd name="T28" fmla="*/ 7 w 14"/>
                <a:gd name="T29" fmla="*/ 11 h 25"/>
                <a:gd name="T30" fmla="*/ 14 w 14"/>
                <a:gd name="T31" fmla="*/ 18 h 25"/>
                <a:gd name="T32" fmla="*/ 7 w 14"/>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5">
                  <a:moveTo>
                    <a:pt x="7" y="25"/>
                  </a:moveTo>
                  <a:cubicBezTo>
                    <a:pt x="3" y="25"/>
                    <a:pt x="0" y="22"/>
                    <a:pt x="0" y="18"/>
                  </a:cubicBezTo>
                  <a:cubicBezTo>
                    <a:pt x="0" y="17"/>
                    <a:pt x="1" y="16"/>
                    <a:pt x="2" y="16"/>
                  </a:cubicBezTo>
                  <a:cubicBezTo>
                    <a:pt x="3" y="16"/>
                    <a:pt x="4" y="17"/>
                    <a:pt x="4" y="18"/>
                  </a:cubicBezTo>
                  <a:cubicBezTo>
                    <a:pt x="4" y="19"/>
                    <a:pt x="6" y="21"/>
                    <a:pt x="7" y="21"/>
                  </a:cubicBezTo>
                  <a:cubicBezTo>
                    <a:pt x="9" y="21"/>
                    <a:pt x="10" y="19"/>
                    <a:pt x="10" y="18"/>
                  </a:cubicBezTo>
                  <a:cubicBezTo>
                    <a:pt x="10" y="16"/>
                    <a:pt x="9" y="15"/>
                    <a:pt x="7" y="15"/>
                  </a:cubicBezTo>
                  <a:cubicBezTo>
                    <a:pt x="3" y="15"/>
                    <a:pt x="0" y="11"/>
                    <a:pt x="0" y="7"/>
                  </a:cubicBezTo>
                  <a:cubicBezTo>
                    <a:pt x="0" y="3"/>
                    <a:pt x="3" y="0"/>
                    <a:pt x="7" y="0"/>
                  </a:cubicBezTo>
                  <a:cubicBezTo>
                    <a:pt x="11" y="0"/>
                    <a:pt x="14" y="3"/>
                    <a:pt x="14" y="7"/>
                  </a:cubicBezTo>
                  <a:cubicBezTo>
                    <a:pt x="14" y="8"/>
                    <a:pt x="14" y="9"/>
                    <a:pt x="12" y="9"/>
                  </a:cubicBezTo>
                  <a:cubicBezTo>
                    <a:pt x="11" y="9"/>
                    <a:pt x="10" y="8"/>
                    <a:pt x="10" y="7"/>
                  </a:cubicBezTo>
                  <a:cubicBezTo>
                    <a:pt x="10" y="6"/>
                    <a:pt x="9" y="4"/>
                    <a:pt x="7" y="4"/>
                  </a:cubicBezTo>
                  <a:cubicBezTo>
                    <a:pt x="6" y="4"/>
                    <a:pt x="4" y="6"/>
                    <a:pt x="4" y="7"/>
                  </a:cubicBezTo>
                  <a:cubicBezTo>
                    <a:pt x="4" y="9"/>
                    <a:pt x="6" y="11"/>
                    <a:pt x="7" y="11"/>
                  </a:cubicBezTo>
                  <a:cubicBezTo>
                    <a:pt x="11" y="11"/>
                    <a:pt x="14" y="14"/>
                    <a:pt x="14" y="18"/>
                  </a:cubicBezTo>
                  <a:cubicBezTo>
                    <a:pt x="14" y="22"/>
                    <a:pt x="11" y="25"/>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9" name="Freeform 1729">
              <a:extLst>
                <a:ext uri="{FF2B5EF4-FFF2-40B4-BE49-F238E27FC236}">
                  <a16:creationId xmlns:a16="http://schemas.microsoft.com/office/drawing/2014/main" id="{01D41B2A-C0C1-4C58-86D6-F0C95B96DF30}"/>
                </a:ext>
              </a:extLst>
            </p:cNvPr>
            <p:cNvSpPr>
              <a:spLocks/>
            </p:cNvSpPr>
            <p:nvPr/>
          </p:nvSpPr>
          <p:spPr bwMode="auto">
            <a:xfrm>
              <a:off x="4286250" y="844550"/>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0" name="Freeform 1730">
              <a:extLst>
                <a:ext uri="{FF2B5EF4-FFF2-40B4-BE49-F238E27FC236}">
                  <a16:creationId xmlns:a16="http://schemas.microsoft.com/office/drawing/2014/main" id="{AC1CB84F-16AA-4B0A-B75E-05B54602E8C5}"/>
                </a:ext>
              </a:extLst>
            </p:cNvPr>
            <p:cNvSpPr>
              <a:spLocks/>
            </p:cNvSpPr>
            <p:nvPr/>
          </p:nvSpPr>
          <p:spPr bwMode="auto">
            <a:xfrm>
              <a:off x="4286250" y="938213"/>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1" name="Freeform 1731">
              <a:extLst>
                <a:ext uri="{FF2B5EF4-FFF2-40B4-BE49-F238E27FC236}">
                  <a16:creationId xmlns:a16="http://schemas.microsoft.com/office/drawing/2014/main" id="{4E34F008-FF5C-4F17-86DD-D7C76E946AFC}"/>
                </a:ext>
              </a:extLst>
            </p:cNvPr>
            <p:cNvSpPr>
              <a:spLocks noEditPoints="1"/>
            </p:cNvSpPr>
            <p:nvPr/>
          </p:nvSpPr>
          <p:spPr bwMode="auto">
            <a:xfrm>
              <a:off x="4113213" y="798513"/>
              <a:ext cx="90488" cy="9048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2" name="Freeform 1732">
              <a:extLst>
                <a:ext uri="{FF2B5EF4-FFF2-40B4-BE49-F238E27FC236}">
                  <a16:creationId xmlns:a16="http://schemas.microsoft.com/office/drawing/2014/main" id="{20023C5D-0F7F-4B67-86F9-BF304247CF2B}"/>
                </a:ext>
              </a:extLst>
            </p:cNvPr>
            <p:cNvSpPr>
              <a:spLocks noEditPoints="1"/>
            </p:cNvSpPr>
            <p:nvPr/>
          </p:nvSpPr>
          <p:spPr bwMode="auto">
            <a:xfrm>
              <a:off x="4113213" y="904875"/>
              <a:ext cx="90488" cy="149225"/>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3" name="Freeform 1733">
              <a:extLst>
                <a:ext uri="{FF2B5EF4-FFF2-40B4-BE49-F238E27FC236}">
                  <a16:creationId xmlns:a16="http://schemas.microsoft.com/office/drawing/2014/main" id="{6D1E2CE5-872E-4ED1-B52A-66E3391BAB7C}"/>
                </a:ext>
              </a:extLst>
            </p:cNvPr>
            <p:cNvSpPr>
              <a:spLocks noEditPoints="1"/>
            </p:cNvSpPr>
            <p:nvPr/>
          </p:nvSpPr>
          <p:spPr bwMode="auto">
            <a:xfrm>
              <a:off x="4383088" y="798513"/>
              <a:ext cx="90488" cy="9048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4" name="Freeform 1734">
              <a:extLst>
                <a:ext uri="{FF2B5EF4-FFF2-40B4-BE49-F238E27FC236}">
                  <a16:creationId xmlns:a16="http://schemas.microsoft.com/office/drawing/2014/main" id="{75E7E209-2F3C-40AA-9923-5803EA33FECB}"/>
                </a:ext>
              </a:extLst>
            </p:cNvPr>
            <p:cNvSpPr>
              <a:spLocks noEditPoints="1"/>
            </p:cNvSpPr>
            <p:nvPr/>
          </p:nvSpPr>
          <p:spPr bwMode="auto">
            <a:xfrm>
              <a:off x="4383088" y="904875"/>
              <a:ext cx="90488" cy="149225"/>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75" name="Group 36">
            <a:extLst>
              <a:ext uri="{FF2B5EF4-FFF2-40B4-BE49-F238E27FC236}">
                <a16:creationId xmlns:a16="http://schemas.microsoft.com/office/drawing/2014/main" id="{A6C57AA2-2604-49FF-A4F1-006EB502483E}"/>
              </a:ext>
            </a:extLst>
          </p:cNvPr>
          <p:cNvGrpSpPr>
            <a:grpSpLocks noChangeAspect="1"/>
          </p:cNvGrpSpPr>
          <p:nvPr/>
        </p:nvGrpSpPr>
        <p:grpSpPr>
          <a:xfrm>
            <a:off x="2313848" y="2724897"/>
            <a:ext cx="286877" cy="285619"/>
            <a:chOff x="3390900" y="723900"/>
            <a:chExt cx="361951" cy="360363"/>
          </a:xfrm>
          <a:solidFill>
            <a:schemeClr val="bg2"/>
          </a:solidFill>
          <a:effectLst/>
        </p:grpSpPr>
        <p:sp>
          <p:nvSpPr>
            <p:cNvPr id="1876" name="Freeform 1735">
              <a:extLst>
                <a:ext uri="{FF2B5EF4-FFF2-40B4-BE49-F238E27FC236}">
                  <a16:creationId xmlns:a16="http://schemas.microsoft.com/office/drawing/2014/main" id="{C5A57D37-1EB1-49C0-9D84-95201BA90263}"/>
                </a:ext>
              </a:extLst>
            </p:cNvPr>
            <p:cNvSpPr>
              <a:spLocks noEditPoints="1"/>
            </p:cNvSpPr>
            <p:nvPr/>
          </p:nvSpPr>
          <p:spPr bwMode="auto">
            <a:xfrm>
              <a:off x="3497263" y="993775"/>
              <a:ext cx="134938" cy="90488"/>
            </a:xfrm>
            <a:custGeom>
              <a:avLst/>
              <a:gdLst>
                <a:gd name="T0" fmla="*/ 34 w 36"/>
                <a:gd name="T1" fmla="*/ 24 h 24"/>
                <a:gd name="T2" fmla="*/ 2 w 36"/>
                <a:gd name="T3" fmla="*/ 24 h 24"/>
                <a:gd name="T4" fmla="*/ 0 w 36"/>
                <a:gd name="T5" fmla="*/ 23 h 24"/>
                <a:gd name="T6" fmla="*/ 0 w 36"/>
                <a:gd name="T7" fmla="*/ 21 h 24"/>
                <a:gd name="T8" fmla="*/ 16 w 36"/>
                <a:gd name="T9" fmla="*/ 1 h 24"/>
                <a:gd name="T10" fmla="*/ 20 w 36"/>
                <a:gd name="T11" fmla="*/ 1 h 24"/>
                <a:gd name="T12" fmla="*/ 36 w 36"/>
                <a:gd name="T13" fmla="*/ 21 h 24"/>
                <a:gd name="T14" fmla="*/ 36 w 36"/>
                <a:gd name="T15" fmla="*/ 23 h 24"/>
                <a:gd name="T16" fmla="*/ 34 w 36"/>
                <a:gd name="T17" fmla="*/ 24 h 24"/>
                <a:gd name="T18" fmla="*/ 6 w 36"/>
                <a:gd name="T19" fmla="*/ 20 h 24"/>
                <a:gd name="T20" fmla="*/ 30 w 36"/>
                <a:gd name="T21" fmla="*/ 20 h 24"/>
                <a:gd name="T22" fmla="*/ 18 w 36"/>
                <a:gd name="T23" fmla="*/ 5 h 24"/>
                <a:gd name="T24" fmla="*/ 6 w 36"/>
                <a:gd name="T2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4">
                  <a:moveTo>
                    <a:pt x="34" y="24"/>
                  </a:moveTo>
                  <a:cubicBezTo>
                    <a:pt x="2" y="24"/>
                    <a:pt x="2" y="24"/>
                    <a:pt x="2" y="24"/>
                  </a:cubicBezTo>
                  <a:cubicBezTo>
                    <a:pt x="1" y="24"/>
                    <a:pt x="1" y="24"/>
                    <a:pt x="0" y="23"/>
                  </a:cubicBezTo>
                  <a:cubicBezTo>
                    <a:pt x="0" y="22"/>
                    <a:pt x="0" y="21"/>
                    <a:pt x="0" y="21"/>
                  </a:cubicBezTo>
                  <a:cubicBezTo>
                    <a:pt x="16" y="1"/>
                    <a:pt x="16" y="1"/>
                    <a:pt x="16" y="1"/>
                  </a:cubicBezTo>
                  <a:cubicBezTo>
                    <a:pt x="17" y="0"/>
                    <a:pt x="19" y="0"/>
                    <a:pt x="20" y="1"/>
                  </a:cubicBezTo>
                  <a:cubicBezTo>
                    <a:pt x="36" y="21"/>
                    <a:pt x="36" y="21"/>
                    <a:pt x="36" y="21"/>
                  </a:cubicBezTo>
                  <a:cubicBezTo>
                    <a:pt x="36" y="21"/>
                    <a:pt x="36" y="22"/>
                    <a:pt x="36" y="23"/>
                  </a:cubicBezTo>
                  <a:cubicBezTo>
                    <a:pt x="35" y="24"/>
                    <a:pt x="35" y="24"/>
                    <a:pt x="34" y="24"/>
                  </a:cubicBezTo>
                  <a:close/>
                  <a:moveTo>
                    <a:pt x="6" y="20"/>
                  </a:moveTo>
                  <a:cubicBezTo>
                    <a:pt x="30" y="20"/>
                    <a:pt x="30" y="20"/>
                    <a:pt x="30" y="20"/>
                  </a:cubicBezTo>
                  <a:cubicBezTo>
                    <a:pt x="18" y="5"/>
                    <a:pt x="18" y="5"/>
                    <a:pt x="18" y="5"/>
                  </a:cubicBezTo>
                  <a:lnTo>
                    <a:pt x="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7" name="Freeform 1736">
              <a:extLst>
                <a:ext uri="{FF2B5EF4-FFF2-40B4-BE49-F238E27FC236}">
                  <a16:creationId xmlns:a16="http://schemas.microsoft.com/office/drawing/2014/main" id="{9F07E4E3-2D8A-4C7D-AF2D-F0A5585055F8}"/>
                </a:ext>
              </a:extLst>
            </p:cNvPr>
            <p:cNvSpPr>
              <a:spLocks/>
            </p:cNvSpPr>
            <p:nvPr/>
          </p:nvSpPr>
          <p:spPr bwMode="auto">
            <a:xfrm>
              <a:off x="3390900" y="993775"/>
              <a:ext cx="361950"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8" name="Freeform 1737">
              <a:extLst>
                <a:ext uri="{FF2B5EF4-FFF2-40B4-BE49-F238E27FC236}">
                  <a16:creationId xmlns:a16="http://schemas.microsoft.com/office/drawing/2014/main" id="{9F664562-FBBD-4F72-9610-6772A142B2F7}"/>
                </a:ext>
              </a:extLst>
            </p:cNvPr>
            <p:cNvSpPr>
              <a:spLocks noEditPoints="1"/>
            </p:cNvSpPr>
            <p:nvPr/>
          </p:nvSpPr>
          <p:spPr bwMode="auto">
            <a:xfrm>
              <a:off x="3586163" y="798513"/>
              <a:ext cx="166688" cy="166688"/>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4 h 44"/>
                <a:gd name="T12" fmla="*/ 4 w 44"/>
                <a:gd name="T13" fmla="*/ 22 h 44"/>
                <a:gd name="T14" fmla="*/ 22 w 44"/>
                <a:gd name="T15" fmla="*/ 40 h 44"/>
                <a:gd name="T16" fmla="*/ 40 w 44"/>
                <a:gd name="T17" fmla="*/ 22 h 44"/>
                <a:gd name="T18" fmla="*/ 22 w 44"/>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10"/>
                    <a:pt x="10" y="0"/>
                    <a:pt x="22" y="0"/>
                  </a:cubicBezTo>
                  <a:cubicBezTo>
                    <a:pt x="34" y="0"/>
                    <a:pt x="44" y="10"/>
                    <a:pt x="44" y="22"/>
                  </a:cubicBezTo>
                  <a:cubicBezTo>
                    <a:pt x="44" y="34"/>
                    <a:pt x="34" y="44"/>
                    <a:pt x="22" y="44"/>
                  </a:cubicBezTo>
                  <a:close/>
                  <a:moveTo>
                    <a:pt x="22" y="4"/>
                  </a:moveTo>
                  <a:cubicBezTo>
                    <a:pt x="12" y="4"/>
                    <a:pt x="4" y="12"/>
                    <a:pt x="4" y="22"/>
                  </a:cubicBezTo>
                  <a:cubicBezTo>
                    <a:pt x="4" y="32"/>
                    <a:pt x="12" y="40"/>
                    <a:pt x="22" y="40"/>
                  </a:cubicBezTo>
                  <a:cubicBezTo>
                    <a:pt x="32" y="40"/>
                    <a:pt x="40" y="32"/>
                    <a:pt x="40" y="22"/>
                  </a:cubicBezTo>
                  <a:cubicBezTo>
                    <a:pt x="40" y="12"/>
                    <a:pt x="32"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9" name="Freeform 1738">
              <a:extLst>
                <a:ext uri="{FF2B5EF4-FFF2-40B4-BE49-F238E27FC236}">
                  <a16:creationId xmlns:a16="http://schemas.microsoft.com/office/drawing/2014/main" id="{0EEE1585-B95C-4C8F-A050-A79174B5C7C1}"/>
                </a:ext>
              </a:extLst>
            </p:cNvPr>
            <p:cNvSpPr>
              <a:spLocks/>
            </p:cNvSpPr>
            <p:nvPr/>
          </p:nvSpPr>
          <p:spPr bwMode="auto">
            <a:xfrm>
              <a:off x="3643313" y="839788"/>
              <a:ext cx="52388" cy="84138"/>
            </a:xfrm>
            <a:custGeom>
              <a:avLst/>
              <a:gdLst>
                <a:gd name="T0" fmla="*/ 7 w 14"/>
                <a:gd name="T1" fmla="*/ 22 h 22"/>
                <a:gd name="T2" fmla="*/ 0 w 14"/>
                <a:gd name="T3" fmla="*/ 16 h 22"/>
                <a:gd name="T4" fmla="*/ 2 w 14"/>
                <a:gd name="T5" fmla="*/ 14 h 22"/>
                <a:gd name="T6" fmla="*/ 4 w 14"/>
                <a:gd name="T7" fmla="*/ 16 h 22"/>
                <a:gd name="T8" fmla="*/ 7 w 14"/>
                <a:gd name="T9" fmla="*/ 18 h 22"/>
                <a:gd name="T10" fmla="*/ 10 w 14"/>
                <a:gd name="T11" fmla="*/ 16 h 22"/>
                <a:gd name="T12" fmla="*/ 7 w 14"/>
                <a:gd name="T13" fmla="*/ 13 h 22"/>
                <a:gd name="T14" fmla="*/ 0 w 14"/>
                <a:gd name="T15" fmla="*/ 6 h 22"/>
                <a:gd name="T16" fmla="*/ 7 w 14"/>
                <a:gd name="T17" fmla="*/ 0 h 22"/>
                <a:gd name="T18" fmla="*/ 14 w 14"/>
                <a:gd name="T19" fmla="*/ 6 h 22"/>
                <a:gd name="T20" fmla="*/ 12 w 14"/>
                <a:gd name="T21" fmla="*/ 8 h 22"/>
                <a:gd name="T22" fmla="*/ 10 w 14"/>
                <a:gd name="T23" fmla="*/ 6 h 22"/>
                <a:gd name="T24" fmla="*/ 7 w 14"/>
                <a:gd name="T25" fmla="*/ 4 h 22"/>
                <a:gd name="T26" fmla="*/ 4 w 14"/>
                <a:gd name="T27" fmla="*/ 6 h 22"/>
                <a:gd name="T28" fmla="*/ 7 w 14"/>
                <a:gd name="T29" fmla="*/ 9 h 22"/>
                <a:gd name="T30" fmla="*/ 14 w 14"/>
                <a:gd name="T31" fmla="*/ 16 h 22"/>
                <a:gd name="T32" fmla="*/ 7 w 14"/>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2">
                  <a:moveTo>
                    <a:pt x="7" y="22"/>
                  </a:moveTo>
                  <a:cubicBezTo>
                    <a:pt x="3" y="22"/>
                    <a:pt x="0" y="19"/>
                    <a:pt x="0" y="16"/>
                  </a:cubicBezTo>
                  <a:cubicBezTo>
                    <a:pt x="0" y="15"/>
                    <a:pt x="1" y="14"/>
                    <a:pt x="2" y="14"/>
                  </a:cubicBezTo>
                  <a:cubicBezTo>
                    <a:pt x="3" y="14"/>
                    <a:pt x="4" y="15"/>
                    <a:pt x="4" y="16"/>
                  </a:cubicBezTo>
                  <a:cubicBezTo>
                    <a:pt x="4" y="17"/>
                    <a:pt x="6" y="18"/>
                    <a:pt x="7" y="18"/>
                  </a:cubicBezTo>
                  <a:cubicBezTo>
                    <a:pt x="8" y="18"/>
                    <a:pt x="10" y="17"/>
                    <a:pt x="10" y="16"/>
                  </a:cubicBezTo>
                  <a:cubicBezTo>
                    <a:pt x="10" y="14"/>
                    <a:pt x="8" y="13"/>
                    <a:pt x="7" y="13"/>
                  </a:cubicBezTo>
                  <a:cubicBezTo>
                    <a:pt x="3" y="13"/>
                    <a:pt x="0" y="10"/>
                    <a:pt x="0" y="6"/>
                  </a:cubicBezTo>
                  <a:cubicBezTo>
                    <a:pt x="0" y="3"/>
                    <a:pt x="3" y="0"/>
                    <a:pt x="7" y="0"/>
                  </a:cubicBezTo>
                  <a:cubicBezTo>
                    <a:pt x="11" y="0"/>
                    <a:pt x="14" y="3"/>
                    <a:pt x="14" y="6"/>
                  </a:cubicBezTo>
                  <a:cubicBezTo>
                    <a:pt x="14" y="7"/>
                    <a:pt x="13" y="8"/>
                    <a:pt x="12" y="8"/>
                  </a:cubicBezTo>
                  <a:cubicBezTo>
                    <a:pt x="11" y="8"/>
                    <a:pt x="10" y="7"/>
                    <a:pt x="10" y="6"/>
                  </a:cubicBezTo>
                  <a:cubicBezTo>
                    <a:pt x="10" y="5"/>
                    <a:pt x="8" y="4"/>
                    <a:pt x="7" y="4"/>
                  </a:cubicBezTo>
                  <a:cubicBezTo>
                    <a:pt x="6" y="4"/>
                    <a:pt x="4" y="5"/>
                    <a:pt x="4" y="6"/>
                  </a:cubicBezTo>
                  <a:cubicBezTo>
                    <a:pt x="4" y="8"/>
                    <a:pt x="6" y="9"/>
                    <a:pt x="7" y="9"/>
                  </a:cubicBezTo>
                  <a:cubicBezTo>
                    <a:pt x="11" y="9"/>
                    <a:pt x="14" y="12"/>
                    <a:pt x="14" y="16"/>
                  </a:cubicBezTo>
                  <a:cubicBezTo>
                    <a:pt x="14" y="19"/>
                    <a:pt x="11" y="22"/>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0" name="Freeform 1739">
              <a:extLst>
                <a:ext uri="{FF2B5EF4-FFF2-40B4-BE49-F238E27FC236}">
                  <a16:creationId xmlns:a16="http://schemas.microsoft.com/office/drawing/2014/main" id="{B63289C0-0F19-47F0-BB3B-173EF6F741EF}"/>
                </a:ext>
              </a:extLst>
            </p:cNvPr>
            <p:cNvSpPr>
              <a:spLocks/>
            </p:cNvSpPr>
            <p:nvPr/>
          </p:nvSpPr>
          <p:spPr bwMode="auto">
            <a:xfrm>
              <a:off x="3662363" y="908050"/>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1" name="Freeform 1740">
              <a:extLst>
                <a:ext uri="{FF2B5EF4-FFF2-40B4-BE49-F238E27FC236}">
                  <a16:creationId xmlns:a16="http://schemas.microsoft.com/office/drawing/2014/main" id="{06251862-D45D-45C0-8D54-FB14EB54F31E}"/>
                </a:ext>
              </a:extLst>
            </p:cNvPr>
            <p:cNvSpPr>
              <a:spLocks/>
            </p:cNvSpPr>
            <p:nvPr/>
          </p:nvSpPr>
          <p:spPr bwMode="auto">
            <a:xfrm>
              <a:off x="3662363" y="828675"/>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2" name="Freeform 1741">
              <a:extLst>
                <a:ext uri="{FF2B5EF4-FFF2-40B4-BE49-F238E27FC236}">
                  <a16:creationId xmlns:a16="http://schemas.microsoft.com/office/drawing/2014/main" id="{8548F528-B2A0-4250-A57D-0484DADA5C64}"/>
                </a:ext>
              </a:extLst>
            </p:cNvPr>
            <p:cNvSpPr>
              <a:spLocks noEditPoints="1"/>
            </p:cNvSpPr>
            <p:nvPr/>
          </p:nvSpPr>
          <p:spPr bwMode="auto">
            <a:xfrm>
              <a:off x="3414713" y="723900"/>
              <a:ext cx="104775" cy="10477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3" name="Freeform 1742">
              <a:extLst>
                <a:ext uri="{FF2B5EF4-FFF2-40B4-BE49-F238E27FC236}">
                  <a16:creationId xmlns:a16="http://schemas.microsoft.com/office/drawing/2014/main" id="{A3D62EB6-4681-4194-AB1A-C588B8B02CEF}"/>
                </a:ext>
              </a:extLst>
            </p:cNvPr>
            <p:cNvSpPr>
              <a:spLocks noEditPoints="1"/>
            </p:cNvSpPr>
            <p:nvPr/>
          </p:nvSpPr>
          <p:spPr bwMode="auto">
            <a:xfrm>
              <a:off x="3390900" y="844550"/>
              <a:ext cx="150813" cy="165100"/>
            </a:xfrm>
            <a:custGeom>
              <a:avLst/>
              <a:gdLst>
                <a:gd name="T0" fmla="*/ 26 w 40"/>
                <a:gd name="T1" fmla="*/ 44 h 44"/>
                <a:gd name="T2" fmla="*/ 14 w 40"/>
                <a:gd name="T3" fmla="*/ 44 h 44"/>
                <a:gd name="T4" fmla="*/ 12 w 40"/>
                <a:gd name="T5" fmla="*/ 42 h 44"/>
                <a:gd name="T6" fmla="*/ 12 w 40"/>
                <a:gd name="T7" fmla="*/ 26 h 44"/>
                <a:gd name="T8" fmla="*/ 0 w 40"/>
                <a:gd name="T9" fmla="*/ 2 h 44"/>
                <a:gd name="T10" fmla="*/ 2 w 40"/>
                <a:gd name="T11" fmla="*/ 0 h 44"/>
                <a:gd name="T12" fmla="*/ 38 w 40"/>
                <a:gd name="T13" fmla="*/ 0 h 44"/>
                <a:gd name="T14" fmla="*/ 40 w 40"/>
                <a:gd name="T15" fmla="*/ 2 h 44"/>
                <a:gd name="T16" fmla="*/ 28 w 40"/>
                <a:gd name="T17" fmla="*/ 26 h 44"/>
                <a:gd name="T18" fmla="*/ 28 w 40"/>
                <a:gd name="T19" fmla="*/ 42 h 44"/>
                <a:gd name="T20" fmla="*/ 26 w 40"/>
                <a:gd name="T21" fmla="*/ 44 h 44"/>
                <a:gd name="T22" fmla="*/ 16 w 40"/>
                <a:gd name="T23" fmla="*/ 40 h 44"/>
                <a:gd name="T24" fmla="*/ 24 w 40"/>
                <a:gd name="T25" fmla="*/ 40 h 44"/>
                <a:gd name="T26" fmla="*/ 24 w 40"/>
                <a:gd name="T27" fmla="*/ 25 h 44"/>
                <a:gd name="T28" fmla="*/ 25 w 40"/>
                <a:gd name="T29" fmla="*/ 23 h 44"/>
                <a:gd name="T30" fmla="*/ 36 w 40"/>
                <a:gd name="T31" fmla="*/ 4 h 44"/>
                <a:gd name="T32" fmla="*/ 4 w 40"/>
                <a:gd name="T33" fmla="*/ 4 h 44"/>
                <a:gd name="T34" fmla="*/ 15 w 40"/>
                <a:gd name="T35" fmla="*/ 23 h 44"/>
                <a:gd name="T36" fmla="*/ 16 w 40"/>
                <a:gd name="T37" fmla="*/ 25 h 44"/>
                <a:gd name="T38" fmla="*/ 16 w 40"/>
                <a:gd name="T3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4">
                  <a:moveTo>
                    <a:pt x="26" y="44"/>
                  </a:moveTo>
                  <a:cubicBezTo>
                    <a:pt x="14" y="44"/>
                    <a:pt x="14" y="44"/>
                    <a:pt x="14" y="44"/>
                  </a:cubicBezTo>
                  <a:cubicBezTo>
                    <a:pt x="13" y="44"/>
                    <a:pt x="12" y="43"/>
                    <a:pt x="12" y="42"/>
                  </a:cubicBezTo>
                  <a:cubicBezTo>
                    <a:pt x="12" y="26"/>
                    <a:pt x="12" y="26"/>
                    <a:pt x="12" y="26"/>
                  </a:cubicBezTo>
                  <a:cubicBezTo>
                    <a:pt x="4" y="22"/>
                    <a:pt x="0" y="11"/>
                    <a:pt x="0" y="2"/>
                  </a:cubicBezTo>
                  <a:cubicBezTo>
                    <a:pt x="0" y="1"/>
                    <a:pt x="1" y="0"/>
                    <a:pt x="2" y="0"/>
                  </a:cubicBezTo>
                  <a:cubicBezTo>
                    <a:pt x="38" y="0"/>
                    <a:pt x="38" y="0"/>
                    <a:pt x="38" y="0"/>
                  </a:cubicBezTo>
                  <a:cubicBezTo>
                    <a:pt x="39" y="0"/>
                    <a:pt x="40" y="1"/>
                    <a:pt x="40" y="2"/>
                  </a:cubicBezTo>
                  <a:cubicBezTo>
                    <a:pt x="40" y="11"/>
                    <a:pt x="36" y="22"/>
                    <a:pt x="28" y="26"/>
                  </a:cubicBezTo>
                  <a:cubicBezTo>
                    <a:pt x="28" y="42"/>
                    <a:pt x="28" y="42"/>
                    <a:pt x="28" y="42"/>
                  </a:cubicBezTo>
                  <a:cubicBezTo>
                    <a:pt x="28" y="43"/>
                    <a:pt x="27" y="44"/>
                    <a:pt x="26" y="44"/>
                  </a:cubicBezTo>
                  <a:close/>
                  <a:moveTo>
                    <a:pt x="16" y="40"/>
                  </a:moveTo>
                  <a:cubicBezTo>
                    <a:pt x="24" y="40"/>
                    <a:pt x="24" y="40"/>
                    <a:pt x="24" y="40"/>
                  </a:cubicBezTo>
                  <a:cubicBezTo>
                    <a:pt x="24" y="25"/>
                    <a:pt x="24" y="25"/>
                    <a:pt x="24" y="25"/>
                  </a:cubicBezTo>
                  <a:cubicBezTo>
                    <a:pt x="24" y="24"/>
                    <a:pt x="25" y="23"/>
                    <a:pt x="25" y="23"/>
                  </a:cubicBezTo>
                  <a:cubicBezTo>
                    <a:pt x="31" y="21"/>
                    <a:pt x="35" y="12"/>
                    <a:pt x="36" y="4"/>
                  </a:cubicBezTo>
                  <a:cubicBezTo>
                    <a:pt x="4" y="4"/>
                    <a:pt x="4" y="4"/>
                    <a:pt x="4" y="4"/>
                  </a:cubicBezTo>
                  <a:cubicBezTo>
                    <a:pt x="5" y="12"/>
                    <a:pt x="9" y="21"/>
                    <a:pt x="15" y="23"/>
                  </a:cubicBezTo>
                  <a:cubicBezTo>
                    <a:pt x="15" y="23"/>
                    <a:pt x="16" y="24"/>
                    <a:pt x="16" y="25"/>
                  </a:cubicBezTo>
                  <a:lnTo>
                    <a:pt x="1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902" name="Group 109">
            <a:extLst>
              <a:ext uri="{FF2B5EF4-FFF2-40B4-BE49-F238E27FC236}">
                <a16:creationId xmlns:a16="http://schemas.microsoft.com/office/drawing/2014/main" id="{DF503694-6DAA-4097-85FA-56C2D02F6CCD}"/>
              </a:ext>
            </a:extLst>
          </p:cNvPr>
          <p:cNvGrpSpPr>
            <a:grpSpLocks noChangeAspect="1"/>
          </p:cNvGrpSpPr>
          <p:nvPr/>
        </p:nvGrpSpPr>
        <p:grpSpPr>
          <a:xfrm>
            <a:off x="2736259" y="2229597"/>
            <a:ext cx="285619" cy="285619"/>
            <a:chOff x="9538390" y="3298372"/>
            <a:chExt cx="371475" cy="371475"/>
          </a:xfrm>
          <a:solidFill>
            <a:schemeClr val="bg2"/>
          </a:solidFill>
          <a:effectLst/>
        </p:grpSpPr>
        <p:sp>
          <p:nvSpPr>
            <p:cNvPr id="1903" name="Freeform 5">
              <a:extLst>
                <a:ext uri="{FF2B5EF4-FFF2-40B4-BE49-F238E27FC236}">
                  <a16:creationId xmlns:a16="http://schemas.microsoft.com/office/drawing/2014/main" id="{58C72393-1559-46C1-AEB0-8E7C174801E4}"/>
                </a:ext>
              </a:extLst>
            </p:cNvPr>
            <p:cNvSpPr>
              <a:spLocks/>
            </p:cNvSpPr>
            <p:nvPr/>
          </p:nvSpPr>
          <p:spPr bwMode="auto">
            <a:xfrm>
              <a:off x="9689203" y="3453947"/>
              <a:ext cx="134938" cy="127000"/>
            </a:xfrm>
            <a:custGeom>
              <a:avLst/>
              <a:gdLst>
                <a:gd name="T0" fmla="*/ 23 w 35"/>
                <a:gd name="T1" fmla="*/ 33 h 33"/>
                <a:gd name="T2" fmla="*/ 16 w 35"/>
                <a:gd name="T3" fmla="*/ 30 h 33"/>
                <a:gd name="T4" fmla="*/ 16 w 35"/>
                <a:gd name="T5" fmla="*/ 27 h 33"/>
                <a:gd name="T6" fmla="*/ 19 w 35"/>
                <a:gd name="T7" fmla="*/ 27 h 33"/>
                <a:gd name="T8" fmla="*/ 28 w 35"/>
                <a:gd name="T9" fmla="*/ 27 h 33"/>
                <a:gd name="T10" fmla="*/ 28 w 35"/>
                <a:gd name="T11" fmla="*/ 18 h 33"/>
                <a:gd name="T12" fmla="*/ 19 w 35"/>
                <a:gd name="T13" fmla="*/ 18 h 33"/>
                <a:gd name="T14" fmla="*/ 4 w 35"/>
                <a:gd name="T15" fmla="*/ 18 h 33"/>
                <a:gd name="T16" fmla="*/ 4 w 35"/>
                <a:gd name="T17" fmla="*/ 3 h 33"/>
                <a:gd name="T18" fmla="*/ 12 w 35"/>
                <a:gd name="T19" fmla="*/ 0 h 33"/>
                <a:gd name="T20" fmla="*/ 12 w 35"/>
                <a:gd name="T21" fmla="*/ 0 h 33"/>
                <a:gd name="T22" fmla="*/ 19 w 35"/>
                <a:gd name="T23" fmla="*/ 3 h 33"/>
                <a:gd name="T24" fmla="*/ 19 w 35"/>
                <a:gd name="T25" fmla="*/ 6 h 33"/>
                <a:gd name="T26" fmla="*/ 16 w 35"/>
                <a:gd name="T27" fmla="*/ 6 h 33"/>
                <a:gd name="T28" fmla="*/ 12 w 35"/>
                <a:gd name="T29" fmla="*/ 4 h 33"/>
                <a:gd name="T30" fmla="*/ 12 w 35"/>
                <a:gd name="T31" fmla="*/ 4 h 33"/>
                <a:gd name="T32" fmla="*/ 7 w 35"/>
                <a:gd name="T33" fmla="*/ 6 h 33"/>
                <a:gd name="T34" fmla="*/ 7 w 35"/>
                <a:gd name="T35" fmla="*/ 15 h 33"/>
                <a:gd name="T36" fmla="*/ 16 w 35"/>
                <a:gd name="T37" fmla="*/ 15 h 33"/>
                <a:gd name="T38" fmla="*/ 31 w 35"/>
                <a:gd name="T39" fmla="*/ 15 h 33"/>
                <a:gd name="T40" fmla="*/ 31 w 35"/>
                <a:gd name="T41" fmla="*/ 30 h 33"/>
                <a:gd name="T42" fmla="*/ 23 w 35"/>
                <a:gd name="T4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23" y="33"/>
                  </a:moveTo>
                  <a:cubicBezTo>
                    <a:pt x="21" y="33"/>
                    <a:pt x="18" y="32"/>
                    <a:pt x="16" y="30"/>
                  </a:cubicBezTo>
                  <a:cubicBezTo>
                    <a:pt x="15" y="29"/>
                    <a:pt x="15" y="27"/>
                    <a:pt x="16" y="27"/>
                  </a:cubicBezTo>
                  <a:cubicBezTo>
                    <a:pt x="17" y="26"/>
                    <a:pt x="18" y="26"/>
                    <a:pt x="19" y="27"/>
                  </a:cubicBezTo>
                  <a:cubicBezTo>
                    <a:pt x="21" y="29"/>
                    <a:pt x="25" y="29"/>
                    <a:pt x="28" y="27"/>
                  </a:cubicBezTo>
                  <a:cubicBezTo>
                    <a:pt x="30" y="24"/>
                    <a:pt x="30" y="20"/>
                    <a:pt x="28" y="18"/>
                  </a:cubicBezTo>
                  <a:cubicBezTo>
                    <a:pt x="25" y="15"/>
                    <a:pt x="21" y="15"/>
                    <a:pt x="19" y="18"/>
                  </a:cubicBezTo>
                  <a:cubicBezTo>
                    <a:pt x="15" y="22"/>
                    <a:pt x="8" y="22"/>
                    <a:pt x="4" y="18"/>
                  </a:cubicBezTo>
                  <a:cubicBezTo>
                    <a:pt x="0" y="14"/>
                    <a:pt x="0" y="7"/>
                    <a:pt x="4" y="3"/>
                  </a:cubicBezTo>
                  <a:cubicBezTo>
                    <a:pt x="6" y="1"/>
                    <a:pt x="9" y="0"/>
                    <a:pt x="12" y="0"/>
                  </a:cubicBezTo>
                  <a:cubicBezTo>
                    <a:pt x="12" y="0"/>
                    <a:pt x="12" y="0"/>
                    <a:pt x="12" y="0"/>
                  </a:cubicBezTo>
                  <a:cubicBezTo>
                    <a:pt x="14" y="0"/>
                    <a:pt x="17" y="1"/>
                    <a:pt x="19" y="3"/>
                  </a:cubicBezTo>
                  <a:cubicBezTo>
                    <a:pt x="20" y="4"/>
                    <a:pt x="20" y="5"/>
                    <a:pt x="19" y="6"/>
                  </a:cubicBezTo>
                  <a:cubicBezTo>
                    <a:pt x="18" y="7"/>
                    <a:pt x="17" y="7"/>
                    <a:pt x="16" y="6"/>
                  </a:cubicBezTo>
                  <a:cubicBezTo>
                    <a:pt x="15" y="5"/>
                    <a:pt x="13" y="4"/>
                    <a:pt x="12" y="4"/>
                  </a:cubicBezTo>
                  <a:cubicBezTo>
                    <a:pt x="12" y="4"/>
                    <a:pt x="12" y="4"/>
                    <a:pt x="12" y="4"/>
                  </a:cubicBezTo>
                  <a:cubicBezTo>
                    <a:pt x="10" y="4"/>
                    <a:pt x="8" y="5"/>
                    <a:pt x="7" y="6"/>
                  </a:cubicBezTo>
                  <a:cubicBezTo>
                    <a:pt x="5" y="9"/>
                    <a:pt x="5" y="13"/>
                    <a:pt x="7" y="15"/>
                  </a:cubicBezTo>
                  <a:cubicBezTo>
                    <a:pt x="10" y="17"/>
                    <a:pt x="14" y="17"/>
                    <a:pt x="16" y="15"/>
                  </a:cubicBezTo>
                  <a:cubicBezTo>
                    <a:pt x="20" y="11"/>
                    <a:pt x="27" y="11"/>
                    <a:pt x="31" y="15"/>
                  </a:cubicBezTo>
                  <a:cubicBezTo>
                    <a:pt x="35" y="19"/>
                    <a:pt x="35" y="26"/>
                    <a:pt x="31" y="30"/>
                  </a:cubicBezTo>
                  <a:cubicBezTo>
                    <a:pt x="29" y="32"/>
                    <a:pt x="26"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4" name="Freeform 6">
              <a:extLst>
                <a:ext uri="{FF2B5EF4-FFF2-40B4-BE49-F238E27FC236}">
                  <a16:creationId xmlns:a16="http://schemas.microsoft.com/office/drawing/2014/main" id="{21835FAC-788D-4CB5-8B1E-2FD84A7DE3AB}"/>
                </a:ext>
              </a:extLst>
            </p:cNvPr>
            <p:cNvSpPr>
              <a:spLocks/>
            </p:cNvSpPr>
            <p:nvPr/>
          </p:nvSpPr>
          <p:spPr bwMode="auto">
            <a:xfrm>
              <a:off x="9793978" y="3553960"/>
              <a:ext cx="30163" cy="30163"/>
            </a:xfrm>
            <a:custGeom>
              <a:avLst/>
              <a:gdLst>
                <a:gd name="T0" fmla="*/ 6 w 8"/>
                <a:gd name="T1" fmla="*/ 8 h 8"/>
                <a:gd name="T2" fmla="*/ 5 w 8"/>
                <a:gd name="T3" fmla="*/ 7 h 8"/>
                <a:gd name="T4" fmla="*/ 1 w 8"/>
                <a:gd name="T5" fmla="*/ 4 h 8"/>
                <a:gd name="T6" fmla="*/ 1 w 8"/>
                <a:gd name="T7" fmla="*/ 1 h 8"/>
                <a:gd name="T8" fmla="*/ 4 w 8"/>
                <a:gd name="T9" fmla="*/ 1 h 8"/>
                <a:gd name="T10" fmla="*/ 7 w 8"/>
                <a:gd name="T11" fmla="*/ 5 h 8"/>
                <a:gd name="T12" fmla="*/ 7 w 8"/>
                <a:gd name="T13" fmla="*/ 7 h 8"/>
                <a:gd name="T14" fmla="*/ 6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6" y="8"/>
                  </a:moveTo>
                  <a:cubicBezTo>
                    <a:pt x="5" y="8"/>
                    <a:pt x="5" y="8"/>
                    <a:pt x="5" y="7"/>
                  </a:cubicBezTo>
                  <a:cubicBezTo>
                    <a:pt x="1" y="4"/>
                    <a:pt x="1" y="4"/>
                    <a:pt x="1" y="4"/>
                  </a:cubicBezTo>
                  <a:cubicBezTo>
                    <a:pt x="0" y="3"/>
                    <a:pt x="0" y="1"/>
                    <a:pt x="1" y="1"/>
                  </a:cubicBezTo>
                  <a:cubicBezTo>
                    <a:pt x="1" y="0"/>
                    <a:pt x="3" y="0"/>
                    <a:pt x="4" y="1"/>
                  </a:cubicBezTo>
                  <a:cubicBezTo>
                    <a:pt x="7" y="5"/>
                    <a:pt x="7" y="5"/>
                    <a:pt x="7" y="5"/>
                  </a:cubicBezTo>
                  <a:cubicBezTo>
                    <a:pt x="8" y="5"/>
                    <a:pt x="8" y="7"/>
                    <a:pt x="7" y="7"/>
                  </a:cubicBezTo>
                  <a:cubicBezTo>
                    <a:pt x="7" y="8"/>
                    <a:pt x="7"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5" name="Freeform 7">
              <a:extLst>
                <a:ext uri="{FF2B5EF4-FFF2-40B4-BE49-F238E27FC236}">
                  <a16:creationId xmlns:a16="http://schemas.microsoft.com/office/drawing/2014/main" id="{3963A5CC-2373-4EB7-A5CD-5C87E131DE35}"/>
                </a:ext>
              </a:extLst>
            </p:cNvPr>
            <p:cNvSpPr>
              <a:spLocks/>
            </p:cNvSpPr>
            <p:nvPr/>
          </p:nvSpPr>
          <p:spPr bwMode="auto">
            <a:xfrm>
              <a:off x="9689203" y="3449185"/>
              <a:ext cx="31750" cy="31750"/>
            </a:xfrm>
            <a:custGeom>
              <a:avLst/>
              <a:gdLst>
                <a:gd name="T0" fmla="*/ 6 w 8"/>
                <a:gd name="T1" fmla="*/ 8 h 8"/>
                <a:gd name="T2" fmla="*/ 4 w 8"/>
                <a:gd name="T3" fmla="*/ 7 h 8"/>
                <a:gd name="T4" fmla="*/ 0 w 8"/>
                <a:gd name="T5" fmla="*/ 3 h 8"/>
                <a:gd name="T6" fmla="*/ 0 w 8"/>
                <a:gd name="T7" fmla="*/ 0 h 8"/>
                <a:gd name="T8" fmla="*/ 3 w 8"/>
                <a:gd name="T9" fmla="*/ 0 h 8"/>
                <a:gd name="T10" fmla="*/ 7 w 8"/>
                <a:gd name="T11" fmla="*/ 4 h 8"/>
                <a:gd name="T12" fmla="*/ 7 w 8"/>
                <a:gd name="T13" fmla="*/ 7 h 8"/>
                <a:gd name="T14" fmla="*/ 6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6" y="8"/>
                  </a:moveTo>
                  <a:cubicBezTo>
                    <a:pt x="5" y="8"/>
                    <a:pt x="5" y="8"/>
                    <a:pt x="4" y="7"/>
                  </a:cubicBezTo>
                  <a:cubicBezTo>
                    <a:pt x="0" y="3"/>
                    <a:pt x="0" y="3"/>
                    <a:pt x="0" y="3"/>
                  </a:cubicBezTo>
                  <a:cubicBezTo>
                    <a:pt x="0" y="3"/>
                    <a:pt x="0" y="1"/>
                    <a:pt x="0" y="0"/>
                  </a:cubicBezTo>
                  <a:cubicBezTo>
                    <a:pt x="1" y="0"/>
                    <a:pt x="3" y="0"/>
                    <a:pt x="3" y="0"/>
                  </a:cubicBezTo>
                  <a:cubicBezTo>
                    <a:pt x="7" y="4"/>
                    <a:pt x="7" y="4"/>
                    <a:pt x="7" y="4"/>
                  </a:cubicBezTo>
                  <a:cubicBezTo>
                    <a:pt x="8" y="5"/>
                    <a:pt x="8" y="6"/>
                    <a:pt x="7" y="7"/>
                  </a:cubicBezTo>
                  <a:cubicBezTo>
                    <a:pt x="7"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6" name="Freeform 8">
              <a:extLst>
                <a:ext uri="{FF2B5EF4-FFF2-40B4-BE49-F238E27FC236}">
                  <a16:creationId xmlns:a16="http://schemas.microsoft.com/office/drawing/2014/main" id="{7C191AA4-DAC9-48AA-9477-B62A056525BA}"/>
                </a:ext>
              </a:extLst>
            </p:cNvPr>
            <p:cNvSpPr>
              <a:spLocks noEditPoints="1"/>
            </p:cNvSpPr>
            <p:nvPr/>
          </p:nvSpPr>
          <p:spPr bwMode="auto">
            <a:xfrm>
              <a:off x="9570140" y="3330122"/>
              <a:ext cx="339725" cy="339725"/>
            </a:xfrm>
            <a:custGeom>
              <a:avLst/>
              <a:gdLst>
                <a:gd name="T0" fmla="*/ 52 w 88"/>
                <a:gd name="T1" fmla="*/ 88 h 88"/>
                <a:gd name="T2" fmla="*/ 51 w 88"/>
                <a:gd name="T3" fmla="*/ 87 h 88"/>
                <a:gd name="T4" fmla="*/ 1 w 88"/>
                <a:gd name="T5" fmla="*/ 37 h 88"/>
                <a:gd name="T6" fmla="*/ 0 w 88"/>
                <a:gd name="T7" fmla="*/ 36 h 88"/>
                <a:gd name="T8" fmla="*/ 0 w 88"/>
                <a:gd name="T9" fmla="*/ 2 h 88"/>
                <a:gd name="T10" fmla="*/ 1 w 88"/>
                <a:gd name="T11" fmla="*/ 1 h 88"/>
                <a:gd name="T12" fmla="*/ 2 w 88"/>
                <a:gd name="T13" fmla="*/ 0 h 88"/>
                <a:gd name="T14" fmla="*/ 36 w 88"/>
                <a:gd name="T15" fmla="*/ 0 h 88"/>
                <a:gd name="T16" fmla="*/ 37 w 88"/>
                <a:gd name="T17" fmla="*/ 1 h 88"/>
                <a:gd name="T18" fmla="*/ 87 w 88"/>
                <a:gd name="T19" fmla="*/ 51 h 88"/>
                <a:gd name="T20" fmla="*/ 87 w 88"/>
                <a:gd name="T21" fmla="*/ 53 h 88"/>
                <a:gd name="T22" fmla="*/ 53 w 88"/>
                <a:gd name="T23" fmla="*/ 87 h 88"/>
                <a:gd name="T24" fmla="*/ 52 w 88"/>
                <a:gd name="T25" fmla="*/ 88 h 88"/>
                <a:gd name="T26" fmla="*/ 4 w 88"/>
                <a:gd name="T27" fmla="*/ 35 h 88"/>
                <a:gd name="T28" fmla="*/ 52 w 88"/>
                <a:gd name="T29" fmla="*/ 83 h 88"/>
                <a:gd name="T30" fmla="*/ 83 w 88"/>
                <a:gd name="T31" fmla="*/ 52 h 88"/>
                <a:gd name="T32" fmla="*/ 35 w 88"/>
                <a:gd name="T33" fmla="*/ 4 h 88"/>
                <a:gd name="T34" fmla="*/ 4 w 88"/>
                <a:gd name="T35" fmla="*/ 4 h 88"/>
                <a:gd name="T36" fmla="*/ 4 w 88"/>
                <a:gd name="T37"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88">
                  <a:moveTo>
                    <a:pt x="52" y="88"/>
                  </a:moveTo>
                  <a:cubicBezTo>
                    <a:pt x="52" y="88"/>
                    <a:pt x="51" y="88"/>
                    <a:pt x="51" y="87"/>
                  </a:cubicBezTo>
                  <a:cubicBezTo>
                    <a:pt x="1" y="37"/>
                    <a:pt x="1" y="37"/>
                    <a:pt x="1" y="37"/>
                  </a:cubicBezTo>
                  <a:cubicBezTo>
                    <a:pt x="0" y="37"/>
                    <a:pt x="0" y="37"/>
                    <a:pt x="0" y="36"/>
                  </a:cubicBezTo>
                  <a:cubicBezTo>
                    <a:pt x="0" y="2"/>
                    <a:pt x="0" y="2"/>
                    <a:pt x="0" y="2"/>
                  </a:cubicBezTo>
                  <a:cubicBezTo>
                    <a:pt x="0" y="1"/>
                    <a:pt x="0" y="1"/>
                    <a:pt x="1" y="1"/>
                  </a:cubicBezTo>
                  <a:cubicBezTo>
                    <a:pt x="1" y="0"/>
                    <a:pt x="1" y="0"/>
                    <a:pt x="2" y="0"/>
                  </a:cubicBezTo>
                  <a:cubicBezTo>
                    <a:pt x="36" y="0"/>
                    <a:pt x="36" y="0"/>
                    <a:pt x="36" y="0"/>
                  </a:cubicBezTo>
                  <a:cubicBezTo>
                    <a:pt x="37" y="0"/>
                    <a:pt x="37" y="0"/>
                    <a:pt x="37" y="1"/>
                  </a:cubicBezTo>
                  <a:cubicBezTo>
                    <a:pt x="87" y="51"/>
                    <a:pt x="87" y="51"/>
                    <a:pt x="87" y="51"/>
                  </a:cubicBezTo>
                  <a:cubicBezTo>
                    <a:pt x="88" y="51"/>
                    <a:pt x="88" y="53"/>
                    <a:pt x="87" y="53"/>
                  </a:cubicBezTo>
                  <a:cubicBezTo>
                    <a:pt x="53" y="87"/>
                    <a:pt x="53" y="87"/>
                    <a:pt x="53" y="87"/>
                  </a:cubicBezTo>
                  <a:cubicBezTo>
                    <a:pt x="53" y="88"/>
                    <a:pt x="53" y="88"/>
                    <a:pt x="52" y="88"/>
                  </a:cubicBezTo>
                  <a:close/>
                  <a:moveTo>
                    <a:pt x="4" y="35"/>
                  </a:moveTo>
                  <a:cubicBezTo>
                    <a:pt x="52" y="83"/>
                    <a:pt x="52" y="83"/>
                    <a:pt x="52" y="83"/>
                  </a:cubicBezTo>
                  <a:cubicBezTo>
                    <a:pt x="83" y="52"/>
                    <a:pt x="83" y="52"/>
                    <a:pt x="83" y="52"/>
                  </a:cubicBezTo>
                  <a:cubicBezTo>
                    <a:pt x="35" y="4"/>
                    <a:pt x="35" y="4"/>
                    <a:pt x="35" y="4"/>
                  </a:cubicBezTo>
                  <a:cubicBezTo>
                    <a:pt x="4" y="4"/>
                    <a:pt x="4" y="4"/>
                    <a:pt x="4" y="4"/>
                  </a:cubicBezTo>
                  <a:lnTo>
                    <a:pt x="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7" name="Freeform 9">
              <a:extLst>
                <a:ext uri="{FF2B5EF4-FFF2-40B4-BE49-F238E27FC236}">
                  <a16:creationId xmlns:a16="http://schemas.microsoft.com/office/drawing/2014/main" id="{0C67C31C-E409-492F-B726-9FD39BB38B94}"/>
                </a:ext>
              </a:extLst>
            </p:cNvPr>
            <p:cNvSpPr>
              <a:spLocks noEditPoints="1"/>
            </p:cNvSpPr>
            <p:nvPr/>
          </p:nvSpPr>
          <p:spPr bwMode="auto">
            <a:xfrm>
              <a:off x="9616178" y="3376160"/>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5"/>
                    <a:pt x="5" y="0"/>
                    <a:pt x="10" y="0"/>
                  </a:cubicBezTo>
                  <a:cubicBezTo>
                    <a:pt x="16" y="0"/>
                    <a:pt x="20" y="5"/>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8" name="Freeform 10">
              <a:extLst>
                <a:ext uri="{FF2B5EF4-FFF2-40B4-BE49-F238E27FC236}">
                  <a16:creationId xmlns:a16="http://schemas.microsoft.com/office/drawing/2014/main" id="{D49683E8-C6A0-44B1-9415-5AF7DF089F86}"/>
                </a:ext>
              </a:extLst>
            </p:cNvPr>
            <p:cNvSpPr>
              <a:spLocks/>
            </p:cNvSpPr>
            <p:nvPr/>
          </p:nvSpPr>
          <p:spPr bwMode="auto">
            <a:xfrm>
              <a:off x="9538390" y="3298372"/>
              <a:ext cx="115888" cy="115888"/>
            </a:xfrm>
            <a:custGeom>
              <a:avLst/>
              <a:gdLst>
                <a:gd name="T0" fmla="*/ 28 w 30"/>
                <a:gd name="T1" fmla="*/ 30 h 30"/>
                <a:gd name="T2" fmla="*/ 27 w 30"/>
                <a:gd name="T3" fmla="*/ 29 h 30"/>
                <a:gd name="T4" fmla="*/ 1 w 30"/>
                <a:gd name="T5" fmla="*/ 3 h 30"/>
                <a:gd name="T6" fmla="*/ 1 w 30"/>
                <a:gd name="T7" fmla="*/ 1 h 30"/>
                <a:gd name="T8" fmla="*/ 3 w 30"/>
                <a:gd name="T9" fmla="*/ 1 h 30"/>
                <a:gd name="T10" fmla="*/ 29 w 30"/>
                <a:gd name="T11" fmla="*/ 27 h 30"/>
                <a:gd name="T12" fmla="*/ 29 w 30"/>
                <a:gd name="T13" fmla="*/ 29 h 30"/>
                <a:gd name="T14" fmla="*/ 28 w 3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28" y="30"/>
                  </a:moveTo>
                  <a:cubicBezTo>
                    <a:pt x="27" y="30"/>
                    <a:pt x="27" y="30"/>
                    <a:pt x="27" y="29"/>
                  </a:cubicBezTo>
                  <a:cubicBezTo>
                    <a:pt x="1" y="3"/>
                    <a:pt x="1" y="3"/>
                    <a:pt x="1" y="3"/>
                  </a:cubicBezTo>
                  <a:cubicBezTo>
                    <a:pt x="0" y="3"/>
                    <a:pt x="0" y="1"/>
                    <a:pt x="1" y="1"/>
                  </a:cubicBezTo>
                  <a:cubicBezTo>
                    <a:pt x="1" y="0"/>
                    <a:pt x="3" y="0"/>
                    <a:pt x="3" y="1"/>
                  </a:cubicBezTo>
                  <a:cubicBezTo>
                    <a:pt x="29" y="27"/>
                    <a:pt x="29" y="27"/>
                    <a:pt x="29" y="27"/>
                  </a:cubicBezTo>
                  <a:cubicBezTo>
                    <a:pt x="30" y="27"/>
                    <a:pt x="30" y="29"/>
                    <a:pt x="29" y="29"/>
                  </a:cubicBezTo>
                  <a:cubicBezTo>
                    <a:pt x="29" y="30"/>
                    <a:pt x="29" y="30"/>
                    <a:pt x="2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09" name="Group 16">
            <a:extLst>
              <a:ext uri="{FF2B5EF4-FFF2-40B4-BE49-F238E27FC236}">
                <a16:creationId xmlns:a16="http://schemas.microsoft.com/office/drawing/2014/main" id="{640BF665-EEDB-4FE0-9051-C16827F4B343}"/>
              </a:ext>
            </a:extLst>
          </p:cNvPr>
          <p:cNvGrpSpPr>
            <a:grpSpLocks noChangeAspect="1"/>
          </p:cNvGrpSpPr>
          <p:nvPr/>
        </p:nvGrpSpPr>
        <p:grpSpPr>
          <a:xfrm>
            <a:off x="4054766" y="2724897"/>
            <a:ext cx="264993" cy="285619"/>
            <a:chOff x="10463213" y="1352233"/>
            <a:chExt cx="265113" cy="285750"/>
          </a:xfrm>
          <a:solidFill>
            <a:schemeClr val="bg2"/>
          </a:solidFill>
          <a:effectLst/>
        </p:grpSpPr>
        <p:sp>
          <p:nvSpPr>
            <p:cNvPr id="1910" name="Freeform 167">
              <a:extLst>
                <a:ext uri="{FF2B5EF4-FFF2-40B4-BE49-F238E27FC236}">
                  <a16:creationId xmlns:a16="http://schemas.microsoft.com/office/drawing/2014/main" id="{0DAC056F-F22F-41AC-A8C4-94440803ACCC}"/>
                </a:ext>
              </a:extLst>
            </p:cNvPr>
            <p:cNvSpPr>
              <a:spLocks/>
            </p:cNvSpPr>
            <p:nvPr/>
          </p:nvSpPr>
          <p:spPr bwMode="auto">
            <a:xfrm>
              <a:off x="10463213" y="1457008"/>
              <a:ext cx="228600" cy="180975"/>
            </a:xfrm>
            <a:custGeom>
              <a:avLst/>
              <a:gdLst>
                <a:gd name="T0" fmla="*/ 607 w 722"/>
                <a:gd name="T1" fmla="*/ 0 h 571"/>
                <a:gd name="T2" fmla="*/ 601 w 722"/>
                <a:gd name="T3" fmla="*/ 1 h 571"/>
                <a:gd name="T4" fmla="*/ 597 w 722"/>
                <a:gd name="T5" fmla="*/ 5 h 571"/>
                <a:gd name="T6" fmla="*/ 593 w 722"/>
                <a:gd name="T7" fmla="*/ 9 h 571"/>
                <a:gd name="T8" fmla="*/ 592 w 722"/>
                <a:gd name="T9" fmla="*/ 15 h 571"/>
                <a:gd name="T10" fmla="*/ 593 w 722"/>
                <a:gd name="T11" fmla="*/ 21 h 571"/>
                <a:gd name="T12" fmla="*/ 597 w 722"/>
                <a:gd name="T13" fmla="*/ 26 h 571"/>
                <a:gd name="T14" fmla="*/ 601 w 722"/>
                <a:gd name="T15" fmla="*/ 29 h 571"/>
                <a:gd name="T16" fmla="*/ 607 w 722"/>
                <a:gd name="T17" fmla="*/ 30 h 571"/>
                <a:gd name="T18" fmla="*/ 692 w 722"/>
                <a:gd name="T19" fmla="*/ 541 h 571"/>
                <a:gd name="T20" fmla="*/ 30 w 722"/>
                <a:gd name="T21" fmla="*/ 30 h 571"/>
                <a:gd name="T22" fmla="*/ 117 w 722"/>
                <a:gd name="T23" fmla="*/ 29 h 571"/>
                <a:gd name="T24" fmla="*/ 123 w 722"/>
                <a:gd name="T25" fmla="*/ 27 h 571"/>
                <a:gd name="T26" fmla="*/ 127 w 722"/>
                <a:gd name="T27" fmla="*/ 23 h 571"/>
                <a:gd name="T28" fmla="*/ 129 w 722"/>
                <a:gd name="T29" fmla="*/ 17 h 571"/>
                <a:gd name="T30" fmla="*/ 129 w 722"/>
                <a:gd name="T31" fmla="*/ 12 h 571"/>
                <a:gd name="T32" fmla="*/ 127 w 722"/>
                <a:gd name="T33" fmla="*/ 7 h 571"/>
                <a:gd name="T34" fmla="*/ 123 w 722"/>
                <a:gd name="T35" fmla="*/ 2 h 571"/>
                <a:gd name="T36" fmla="*/ 117 w 722"/>
                <a:gd name="T37" fmla="*/ 0 h 571"/>
                <a:gd name="T38" fmla="*/ 15 w 722"/>
                <a:gd name="T39" fmla="*/ 0 h 571"/>
                <a:gd name="T40" fmla="*/ 10 w 722"/>
                <a:gd name="T41" fmla="*/ 1 h 571"/>
                <a:gd name="T42" fmla="*/ 5 w 722"/>
                <a:gd name="T43" fmla="*/ 5 h 571"/>
                <a:gd name="T44" fmla="*/ 1 w 722"/>
                <a:gd name="T45" fmla="*/ 9 h 571"/>
                <a:gd name="T46" fmla="*/ 0 w 722"/>
                <a:gd name="T47" fmla="*/ 15 h 571"/>
                <a:gd name="T48" fmla="*/ 1 w 722"/>
                <a:gd name="T49" fmla="*/ 559 h 571"/>
                <a:gd name="T50" fmla="*/ 4 w 722"/>
                <a:gd name="T51" fmla="*/ 564 h 571"/>
                <a:gd name="T52" fmla="*/ 7 w 722"/>
                <a:gd name="T53" fmla="*/ 569 h 571"/>
                <a:gd name="T54" fmla="*/ 12 w 722"/>
                <a:gd name="T55" fmla="*/ 571 h 571"/>
                <a:gd name="T56" fmla="*/ 707 w 722"/>
                <a:gd name="T57" fmla="*/ 571 h 571"/>
                <a:gd name="T58" fmla="*/ 713 w 722"/>
                <a:gd name="T59" fmla="*/ 570 h 571"/>
                <a:gd name="T60" fmla="*/ 718 w 722"/>
                <a:gd name="T61" fmla="*/ 566 h 571"/>
                <a:gd name="T62" fmla="*/ 721 w 722"/>
                <a:gd name="T63" fmla="*/ 562 h 571"/>
                <a:gd name="T64" fmla="*/ 722 w 722"/>
                <a:gd name="T65" fmla="*/ 556 h 571"/>
                <a:gd name="T66" fmla="*/ 722 w 722"/>
                <a:gd name="T67" fmla="*/ 12 h 571"/>
                <a:gd name="T68" fmla="*/ 720 w 722"/>
                <a:gd name="T69" fmla="*/ 7 h 571"/>
                <a:gd name="T70" fmla="*/ 716 w 722"/>
                <a:gd name="T71" fmla="*/ 2 h 571"/>
                <a:gd name="T72" fmla="*/ 710 w 722"/>
                <a:gd name="T7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2" h="571">
                  <a:moveTo>
                    <a:pt x="707" y="0"/>
                  </a:moveTo>
                  <a:lnTo>
                    <a:pt x="607" y="0"/>
                  </a:lnTo>
                  <a:lnTo>
                    <a:pt x="604" y="0"/>
                  </a:lnTo>
                  <a:lnTo>
                    <a:pt x="601" y="1"/>
                  </a:lnTo>
                  <a:lnTo>
                    <a:pt x="599" y="2"/>
                  </a:lnTo>
                  <a:lnTo>
                    <a:pt x="597" y="5"/>
                  </a:lnTo>
                  <a:lnTo>
                    <a:pt x="594" y="7"/>
                  </a:lnTo>
                  <a:lnTo>
                    <a:pt x="593" y="9"/>
                  </a:lnTo>
                  <a:lnTo>
                    <a:pt x="592" y="12"/>
                  </a:lnTo>
                  <a:lnTo>
                    <a:pt x="592" y="15"/>
                  </a:lnTo>
                  <a:lnTo>
                    <a:pt x="592" y="17"/>
                  </a:lnTo>
                  <a:lnTo>
                    <a:pt x="593" y="21"/>
                  </a:lnTo>
                  <a:lnTo>
                    <a:pt x="594" y="23"/>
                  </a:lnTo>
                  <a:lnTo>
                    <a:pt x="597" y="26"/>
                  </a:lnTo>
                  <a:lnTo>
                    <a:pt x="599" y="27"/>
                  </a:lnTo>
                  <a:lnTo>
                    <a:pt x="601" y="29"/>
                  </a:lnTo>
                  <a:lnTo>
                    <a:pt x="604" y="29"/>
                  </a:lnTo>
                  <a:lnTo>
                    <a:pt x="607" y="30"/>
                  </a:lnTo>
                  <a:lnTo>
                    <a:pt x="692" y="30"/>
                  </a:lnTo>
                  <a:lnTo>
                    <a:pt x="692" y="541"/>
                  </a:lnTo>
                  <a:lnTo>
                    <a:pt x="30" y="541"/>
                  </a:lnTo>
                  <a:lnTo>
                    <a:pt x="30" y="30"/>
                  </a:lnTo>
                  <a:lnTo>
                    <a:pt x="114" y="30"/>
                  </a:lnTo>
                  <a:lnTo>
                    <a:pt x="117" y="29"/>
                  </a:lnTo>
                  <a:lnTo>
                    <a:pt x="120" y="29"/>
                  </a:lnTo>
                  <a:lnTo>
                    <a:pt x="123" y="27"/>
                  </a:lnTo>
                  <a:lnTo>
                    <a:pt x="125" y="26"/>
                  </a:lnTo>
                  <a:lnTo>
                    <a:pt x="127" y="23"/>
                  </a:lnTo>
                  <a:lnTo>
                    <a:pt x="128" y="21"/>
                  </a:lnTo>
                  <a:lnTo>
                    <a:pt x="129" y="17"/>
                  </a:lnTo>
                  <a:lnTo>
                    <a:pt x="129" y="15"/>
                  </a:lnTo>
                  <a:lnTo>
                    <a:pt x="129" y="12"/>
                  </a:lnTo>
                  <a:lnTo>
                    <a:pt x="128" y="9"/>
                  </a:lnTo>
                  <a:lnTo>
                    <a:pt x="127" y="7"/>
                  </a:lnTo>
                  <a:lnTo>
                    <a:pt x="125" y="5"/>
                  </a:lnTo>
                  <a:lnTo>
                    <a:pt x="123" y="2"/>
                  </a:lnTo>
                  <a:lnTo>
                    <a:pt x="120" y="1"/>
                  </a:lnTo>
                  <a:lnTo>
                    <a:pt x="117" y="0"/>
                  </a:lnTo>
                  <a:lnTo>
                    <a:pt x="114" y="0"/>
                  </a:lnTo>
                  <a:lnTo>
                    <a:pt x="15" y="0"/>
                  </a:lnTo>
                  <a:lnTo>
                    <a:pt x="12" y="0"/>
                  </a:lnTo>
                  <a:lnTo>
                    <a:pt x="10" y="1"/>
                  </a:lnTo>
                  <a:lnTo>
                    <a:pt x="7" y="2"/>
                  </a:lnTo>
                  <a:lnTo>
                    <a:pt x="5" y="5"/>
                  </a:lnTo>
                  <a:lnTo>
                    <a:pt x="4" y="7"/>
                  </a:lnTo>
                  <a:lnTo>
                    <a:pt x="1" y="9"/>
                  </a:lnTo>
                  <a:lnTo>
                    <a:pt x="0" y="12"/>
                  </a:lnTo>
                  <a:lnTo>
                    <a:pt x="0" y="15"/>
                  </a:lnTo>
                  <a:lnTo>
                    <a:pt x="0" y="556"/>
                  </a:lnTo>
                  <a:lnTo>
                    <a:pt x="1" y="559"/>
                  </a:lnTo>
                  <a:lnTo>
                    <a:pt x="1" y="562"/>
                  </a:lnTo>
                  <a:lnTo>
                    <a:pt x="4" y="564"/>
                  </a:lnTo>
                  <a:lnTo>
                    <a:pt x="5" y="566"/>
                  </a:lnTo>
                  <a:lnTo>
                    <a:pt x="7" y="569"/>
                  </a:lnTo>
                  <a:lnTo>
                    <a:pt x="10" y="570"/>
                  </a:lnTo>
                  <a:lnTo>
                    <a:pt x="12" y="571"/>
                  </a:lnTo>
                  <a:lnTo>
                    <a:pt x="15" y="571"/>
                  </a:lnTo>
                  <a:lnTo>
                    <a:pt x="707" y="571"/>
                  </a:lnTo>
                  <a:lnTo>
                    <a:pt x="710" y="571"/>
                  </a:lnTo>
                  <a:lnTo>
                    <a:pt x="713" y="570"/>
                  </a:lnTo>
                  <a:lnTo>
                    <a:pt x="716" y="569"/>
                  </a:lnTo>
                  <a:lnTo>
                    <a:pt x="718" y="566"/>
                  </a:lnTo>
                  <a:lnTo>
                    <a:pt x="720" y="564"/>
                  </a:lnTo>
                  <a:lnTo>
                    <a:pt x="721" y="562"/>
                  </a:lnTo>
                  <a:lnTo>
                    <a:pt x="722" y="559"/>
                  </a:lnTo>
                  <a:lnTo>
                    <a:pt x="722" y="556"/>
                  </a:lnTo>
                  <a:lnTo>
                    <a:pt x="722" y="15"/>
                  </a:lnTo>
                  <a:lnTo>
                    <a:pt x="722" y="12"/>
                  </a:lnTo>
                  <a:lnTo>
                    <a:pt x="721" y="9"/>
                  </a:lnTo>
                  <a:lnTo>
                    <a:pt x="720" y="7"/>
                  </a:lnTo>
                  <a:lnTo>
                    <a:pt x="718" y="5"/>
                  </a:lnTo>
                  <a:lnTo>
                    <a:pt x="716" y="2"/>
                  </a:lnTo>
                  <a:lnTo>
                    <a:pt x="713" y="1"/>
                  </a:lnTo>
                  <a:lnTo>
                    <a:pt x="710" y="0"/>
                  </a:lnTo>
                  <a:lnTo>
                    <a:pt x="707"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1" name="Freeform 168">
              <a:extLst>
                <a:ext uri="{FF2B5EF4-FFF2-40B4-BE49-F238E27FC236}">
                  <a16:creationId xmlns:a16="http://schemas.microsoft.com/office/drawing/2014/main" id="{C62CA45A-2051-428D-8394-EE929331A8DB}"/>
                </a:ext>
              </a:extLst>
            </p:cNvPr>
            <p:cNvSpPr>
              <a:spLocks/>
            </p:cNvSpPr>
            <p:nvPr/>
          </p:nvSpPr>
          <p:spPr bwMode="auto">
            <a:xfrm>
              <a:off x="10520363" y="1352233"/>
              <a:ext cx="114300" cy="128588"/>
            </a:xfrm>
            <a:custGeom>
              <a:avLst/>
              <a:gdLst>
                <a:gd name="T0" fmla="*/ 1 w 361"/>
                <a:gd name="T1" fmla="*/ 393 h 406"/>
                <a:gd name="T2" fmla="*/ 3 w 361"/>
                <a:gd name="T3" fmla="*/ 399 h 406"/>
                <a:gd name="T4" fmla="*/ 7 w 361"/>
                <a:gd name="T5" fmla="*/ 403 h 406"/>
                <a:gd name="T6" fmla="*/ 12 w 361"/>
                <a:gd name="T7" fmla="*/ 405 h 406"/>
                <a:gd name="T8" fmla="*/ 18 w 361"/>
                <a:gd name="T9" fmla="*/ 405 h 406"/>
                <a:gd name="T10" fmla="*/ 23 w 361"/>
                <a:gd name="T11" fmla="*/ 403 h 406"/>
                <a:gd name="T12" fmla="*/ 27 w 361"/>
                <a:gd name="T13" fmla="*/ 400 h 406"/>
                <a:gd name="T14" fmla="*/ 30 w 361"/>
                <a:gd name="T15" fmla="*/ 395 h 406"/>
                <a:gd name="T16" fmla="*/ 30 w 361"/>
                <a:gd name="T17" fmla="*/ 184 h 406"/>
                <a:gd name="T18" fmla="*/ 32 w 361"/>
                <a:gd name="T19" fmla="*/ 155 h 406"/>
                <a:gd name="T20" fmla="*/ 38 w 361"/>
                <a:gd name="T21" fmla="*/ 127 h 406"/>
                <a:gd name="T22" fmla="*/ 51 w 361"/>
                <a:gd name="T23" fmla="*/ 101 h 406"/>
                <a:gd name="T24" fmla="*/ 68 w 361"/>
                <a:gd name="T25" fmla="*/ 78 h 406"/>
                <a:gd name="T26" fmla="*/ 92 w 361"/>
                <a:gd name="T27" fmla="*/ 58 h 406"/>
                <a:gd name="T28" fmla="*/ 119 w 361"/>
                <a:gd name="T29" fmla="*/ 43 h 406"/>
                <a:gd name="T30" fmla="*/ 149 w 361"/>
                <a:gd name="T31" fmla="*/ 33 h 406"/>
                <a:gd name="T32" fmla="*/ 180 w 361"/>
                <a:gd name="T33" fmla="*/ 30 h 406"/>
                <a:gd name="T34" fmla="*/ 211 w 361"/>
                <a:gd name="T35" fmla="*/ 33 h 406"/>
                <a:gd name="T36" fmla="*/ 240 w 361"/>
                <a:gd name="T37" fmla="*/ 43 h 406"/>
                <a:gd name="T38" fmla="*/ 268 w 361"/>
                <a:gd name="T39" fmla="*/ 57 h 406"/>
                <a:gd name="T40" fmla="*/ 290 w 361"/>
                <a:gd name="T41" fmla="*/ 77 h 406"/>
                <a:gd name="T42" fmla="*/ 309 w 361"/>
                <a:gd name="T43" fmla="*/ 101 h 406"/>
                <a:gd name="T44" fmla="*/ 322 w 361"/>
                <a:gd name="T45" fmla="*/ 127 h 406"/>
                <a:gd name="T46" fmla="*/ 329 w 361"/>
                <a:gd name="T47" fmla="*/ 155 h 406"/>
                <a:gd name="T48" fmla="*/ 331 w 361"/>
                <a:gd name="T49" fmla="*/ 185 h 406"/>
                <a:gd name="T50" fmla="*/ 331 w 361"/>
                <a:gd name="T51" fmla="*/ 393 h 406"/>
                <a:gd name="T52" fmla="*/ 333 w 361"/>
                <a:gd name="T53" fmla="*/ 399 h 406"/>
                <a:gd name="T54" fmla="*/ 337 w 361"/>
                <a:gd name="T55" fmla="*/ 403 h 406"/>
                <a:gd name="T56" fmla="*/ 343 w 361"/>
                <a:gd name="T57" fmla="*/ 405 h 406"/>
                <a:gd name="T58" fmla="*/ 349 w 361"/>
                <a:gd name="T59" fmla="*/ 405 h 406"/>
                <a:gd name="T60" fmla="*/ 354 w 361"/>
                <a:gd name="T61" fmla="*/ 403 h 406"/>
                <a:gd name="T62" fmla="*/ 359 w 361"/>
                <a:gd name="T63" fmla="*/ 400 h 406"/>
                <a:gd name="T64" fmla="*/ 361 w 361"/>
                <a:gd name="T65" fmla="*/ 395 h 406"/>
                <a:gd name="T66" fmla="*/ 361 w 361"/>
                <a:gd name="T67" fmla="*/ 186 h 406"/>
                <a:gd name="T68" fmla="*/ 359 w 361"/>
                <a:gd name="T69" fmla="*/ 150 h 406"/>
                <a:gd name="T70" fmla="*/ 350 w 361"/>
                <a:gd name="T71" fmla="*/ 117 h 406"/>
                <a:gd name="T72" fmla="*/ 334 w 361"/>
                <a:gd name="T73" fmla="*/ 85 h 406"/>
                <a:gd name="T74" fmla="*/ 313 w 361"/>
                <a:gd name="T75" fmla="*/ 57 h 406"/>
                <a:gd name="T76" fmla="*/ 285 w 361"/>
                <a:gd name="T77" fmla="*/ 32 h 406"/>
                <a:gd name="T78" fmla="*/ 253 w 361"/>
                <a:gd name="T79" fmla="*/ 15 h 406"/>
                <a:gd name="T80" fmla="*/ 217 w 361"/>
                <a:gd name="T81" fmla="*/ 4 h 406"/>
                <a:gd name="T82" fmla="*/ 180 w 361"/>
                <a:gd name="T83" fmla="*/ 0 h 406"/>
                <a:gd name="T84" fmla="*/ 142 w 361"/>
                <a:gd name="T85" fmla="*/ 4 h 406"/>
                <a:gd name="T86" fmla="*/ 107 w 361"/>
                <a:gd name="T87" fmla="*/ 15 h 406"/>
                <a:gd name="T88" fmla="*/ 75 w 361"/>
                <a:gd name="T89" fmla="*/ 33 h 406"/>
                <a:gd name="T90" fmla="*/ 47 w 361"/>
                <a:gd name="T91" fmla="*/ 57 h 406"/>
                <a:gd name="T92" fmla="*/ 25 w 361"/>
                <a:gd name="T93" fmla="*/ 86 h 406"/>
                <a:gd name="T94" fmla="*/ 10 w 361"/>
                <a:gd name="T95" fmla="*/ 117 h 406"/>
                <a:gd name="T96" fmla="*/ 2 w 361"/>
                <a:gd name="T97" fmla="*/ 151 h 406"/>
                <a:gd name="T98" fmla="*/ 0 w 361"/>
                <a:gd name="T99"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406">
                  <a:moveTo>
                    <a:pt x="0" y="391"/>
                  </a:moveTo>
                  <a:lnTo>
                    <a:pt x="1" y="393"/>
                  </a:lnTo>
                  <a:lnTo>
                    <a:pt x="2" y="397"/>
                  </a:lnTo>
                  <a:lnTo>
                    <a:pt x="3" y="399"/>
                  </a:lnTo>
                  <a:lnTo>
                    <a:pt x="5" y="402"/>
                  </a:lnTo>
                  <a:lnTo>
                    <a:pt x="7" y="403"/>
                  </a:lnTo>
                  <a:lnTo>
                    <a:pt x="9" y="405"/>
                  </a:lnTo>
                  <a:lnTo>
                    <a:pt x="12" y="405"/>
                  </a:lnTo>
                  <a:lnTo>
                    <a:pt x="15" y="406"/>
                  </a:lnTo>
                  <a:lnTo>
                    <a:pt x="18" y="405"/>
                  </a:lnTo>
                  <a:lnTo>
                    <a:pt x="21" y="405"/>
                  </a:lnTo>
                  <a:lnTo>
                    <a:pt x="23" y="403"/>
                  </a:lnTo>
                  <a:lnTo>
                    <a:pt x="25" y="402"/>
                  </a:lnTo>
                  <a:lnTo>
                    <a:pt x="27" y="400"/>
                  </a:lnTo>
                  <a:lnTo>
                    <a:pt x="28" y="397"/>
                  </a:lnTo>
                  <a:lnTo>
                    <a:pt x="30" y="395"/>
                  </a:lnTo>
                  <a:lnTo>
                    <a:pt x="30" y="391"/>
                  </a:lnTo>
                  <a:lnTo>
                    <a:pt x="30" y="184"/>
                  </a:lnTo>
                  <a:lnTo>
                    <a:pt x="30" y="169"/>
                  </a:lnTo>
                  <a:lnTo>
                    <a:pt x="32" y="155"/>
                  </a:lnTo>
                  <a:lnTo>
                    <a:pt x="34" y="141"/>
                  </a:lnTo>
                  <a:lnTo>
                    <a:pt x="38" y="127"/>
                  </a:lnTo>
                  <a:lnTo>
                    <a:pt x="43" y="114"/>
                  </a:lnTo>
                  <a:lnTo>
                    <a:pt x="51" y="101"/>
                  </a:lnTo>
                  <a:lnTo>
                    <a:pt x="58" y="89"/>
                  </a:lnTo>
                  <a:lnTo>
                    <a:pt x="68" y="78"/>
                  </a:lnTo>
                  <a:lnTo>
                    <a:pt x="80" y="67"/>
                  </a:lnTo>
                  <a:lnTo>
                    <a:pt x="92" y="58"/>
                  </a:lnTo>
                  <a:lnTo>
                    <a:pt x="105" y="49"/>
                  </a:lnTo>
                  <a:lnTo>
                    <a:pt x="119" y="43"/>
                  </a:lnTo>
                  <a:lnTo>
                    <a:pt x="134" y="37"/>
                  </a:lnTo>
                  <a:lnTo>
                    <a:pt x="149" y="33"/>
                  </a:lnTo>
                  <a:lnTo>
                    <a:pt x="164" y="31"/>
                  </a:lnTo>
                  <a:lnTo>
                    <a:pt x="180" y="30"/>
                  </a:lnTo>
                  <a:lnTo>
                    <a:pt x="196" y="31"/>
                  </a:lnTo>
                  <a:lnTo>
                    <a:pt x="211" y="33"/>
                  </a:lnTo>
                  <a:lnTo>
                    <a:pt x="226" y="37"/>
                  </a:lnTo>
                  <a:lnTo>
                    <a:pt x="240" y="43"/>
                  </a:lnTo>
                  <a:lnTo>
                    <a:pt x="254" y="49"/>
                  </a:lnTo>
                  <a:lnTo>
                    <a:pt x="268" y="57"/>
                  </a:lnTo>
                  <a:lnTo>
                    <a:pt x="279" y="66"/>
                  </a:lnTo>
                  <a:lnTo>
                    <a:pt x="290" y="77"/>
                  </a:lnTo>
                  <a:lnTo>
                    <a:pt x="301" y="89"/>
                  </a:lnTo>
                  <a:lnTo>
                    <a:pt x="309" y="101"/>
                  </a:lnTo>
                  <a:lnTo>
                    <a:pt x="316" y="114"/>
                  </a:lnTo>
                  <a:lnTo>
                    <a:pt x="322" y="127"/>
                  </a:lnTo>
                  <a:lnTo>
                    <a:pt x="327" y="141"/>
                  </a:lnTo>
                  <a:lnTo>
                    <a:pt x="329" y="155"/>
                  </a:lnTo>
                  <a:lnTo>
                    <a:pt x="331" y="170"/>
                  </a:lnTo>
                  <a:lnTo>
                    <a:pt x="331" y="185"/>
                  </a:lnTo>
                  <a:lnTo>
                    <a:pt x="331" y="391"/>
                  </a:lnTo>
                  <a:lnTo>
                    <a:pt x="331" y="393"/>
                  </a:lnTo>
                  <a:lnTo>
                    <a:pt x="332" y="397"/>
                  </a:lnTo>
                  <a:lnTo>
                    <a:pt x="333" y="399"/>
                  </a:lnTo>
                  <a:lnTo>
                    <a:pt x="335" y="402"/>
                  </a:lnTo>
                  <a:lnTo>
                    <a:pt x="337" y="403"/>
                  </a:lnTo>
                  <a:lnTo>
                    <a:pt x="339" y="405"/>
                  </a:lnTo>
                  <a:lnTo>
                    <a:pt x="343" y="405"/>
                  </a:lnTo>
                  <a:lnTo>
                    <a:pt x="346" y="406"/>
                  </a:lnTo>
                  <a:lnTo>
                    <a:pt x="349" y="405"/>
                  </a:lnTo>
                  <a:lnTo>
                    <a:pt x="351" y="405"/>
                  </a:lnTo>
                  <a:lnTo>
                    <a:pt x="354" y="403"/>
                  </a:lnTo>
                  <a:lnTo>
                    <a:pt x="357" y="402"/>
                  </a:lnTo>
                  <a:lnTo>
                    <a:pt x="359" y="400"/>
                  </a:lnTo>
                  <a:lnTo>
                    <a:pt x="360" y="397"/>
                  </a:lnTo>
                  <a:lnTo>
                    <a:pt x="361" y="395"/>
                  </a:lnTo>
                  <a:lnTo>
                    <a:pt x="361" y="391"/>
                  </a:lnTo>
                  <a:lnTo>
                    <a:pt x="361" y="186"/>
                  </a:lnTo>
                  <a:lnTo>
                    <a:pt x="361" y="168"/>
                  </a:lnTo>
                  <a:lnTo>
                    <a:pt x="359" y="150"/>
                  </a:lnTo>
                  <a:lnTo>
                    <a:pt x="355" y="133"/>
                  </a:lnTo>
                  <a:lnTo>
                    <a:pt x="350" y="117"/>
                  </a:lnTo>
                  <a:lnTo>
                    <a:pt x="343" y="101"/>
                  </a:lnTo>
                  <a:lnTo>
                    <a:pt x="334" y="85"/>
                  </a:lnTo>
                  <a:lnTo>
                    <a:pt x="324" y="71"/>
                  </a:lnTo>
                  <a:lnTo>
                    <a:pt x="313" y="57"/>
                  </a:lnTo>
                  <a:lnTo>
                    <a:pt x="299" y="44"/>
                  </a:lnTo>
                  <a:lnTo>
                    <a:pt x="285" y="32"/>
                  </a:lnTo>
                  <a:lnTo>
                    <a:pt x="269" y="22"/>
                  </a:lnTo>
                  <a:lnTo>
                    <a:pt x="253" y="15"/>
                  </a:lnTo>
                  <a:lnTo>
                    <a:pt x="234" y="8"/>
                  </a:lnTo>
                  <a:lnTo>
                    <a:pt x="217" y="4"/>
                  </a:lnTo>
                  <a:lnTo>
                    <a:pt x="198" y="1"/>
                  </a:lnTo>
                  <a:lnTo>
                    <a:pt x="180" y="0"/>
                  </a:lnTo>
                  <a:lnTo>
                    <a:pt x="161" y="1"/>
                  </a:lnTo>
                  <a:lnTo>
                    <a:pt x="142" y="4"/>
                  </a:lnTo>
                  <a:lnTo>
                    <a:pt x="124" y="8"/>
                  </a:lnTo>
                  <a:lnTo>
                    <a:pt x="107" y="15"/>
                  </a:lnTo>
                  <a:lnTo>
                    <a:pt x="91" y="23"/>
                  </a:lnTo>
                  <a:lnTo>
                    <a:pt x="75" y="33"/>
                  </a:lnTo>
                  <a:lnTo>
                    <a:pt x="61" y="44"/>
                  </a:lnTo>
                  <a:lnTo>
                    <a:pt x="47" y="57"/>
                  </a:lnTo>
                  <a:lnTo>
                    <a:pt x="35" y="71"/>
                  </a:lnTo>
                  <a:lnTo>
                    <a:pt x="25" y="86"/>
                  </a:lnTo>
                  <a:lnTo>
                    <a:pt x="17" y="101"/>
                  </a:lnTo>
                  <a:lnTo>
                    <a:pt x="10" y="117"/>
                  </a:lnTo>
                  <a:lnTo>
                    <a:pt x="5" y="134"/>
                  </a:lnTo>
                  <a:lnTo>
                    <a:pt x="2" y="151"/>
                  </a:lnTo>
                  <a:lnTo>
                    <a:pt x="0" y="168"/>
                  </a:lnTo>
                  <a:lnTo>
                    <a:pt x="0" y="185"/>
                  </a:lnTo>
                  <a:lnTo>
                    <a:pt x="0" y="39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2" name="Freeform 169">
              <a:extLst>
                <a:ext uri="{FF2B5EF4-FFF2-40B4-BE49-F238E27FC236}">
                  <a16:creationId xmlns:a16="http://schemas.microsoft.com/office/drawing/2014/main" id="{6C11FBF7-B8DD-471C-B098-6C8BC10C2D4B}"/>
                </a:ext>
              </a:extLst>
            </p:cNvPr>
            <p:cNvSpPr>
              <a:spLocks/>
            </p:cNvSpPr>
            <p:nvPr/>
          </p:nvSpPr>
          <p:spPr bwMode="auto">
            <a:xfrm>
              <a:off x="10544175" y="1457008"/>
              <a:ext cx="66675" cy="9525"/>
            </a:xfrm>
            <a:custGeom>
              <a:avLst/>
              <a:gdLst>
                <a:gd name="T0" fmla="*/ 195 w 210"/>
                <a:gd name="T1" fmla="*/ 30 h 30"/>
                <a:gd name="T2" fmla="*/ 198 w 210"/>
                <a:gd name="T3" fmla="*/ 29 h 30"/>
                <a:gd name="T4" fmla="*/ 200 w 210"/>
                <a:gd name="T5" fmla="*/ 29 h 30"/>
                <a:gd name="T6" fmla="*/ 203 w 210"/>
                <a:gd name="T7" fmla="*/ 27 h 30"/>
                <a:gd name="T8" fmla="*/ 206 w 210"/>
                <a:gd name="T9" fmla="*/ 26 h 30"/>
                <a:gd name="T10" fmla="*/ 207 w 210"/>
                <a:gd name="T11" fmla="*/ 23 h 30"/>
                <a:gd name="T12" fmla="*/ 209 w 210"/>
                <a:gd name="T13" fmla="*/ 21 h 30"/>
                <a:gd name="T14" fmla="*/ 210 w 210"/>
                <a:gd name="T15" fmla="*/ 17 h 30"/>
                <a:gd name="T16" fmla="*/ 210 w 210"/>
                <a:gd name="T17" fmla="*/ 15 h 30"/>
                <a:gd name="T18" fmla="*/ 210 w 210"/>
                <a:gd name="T19" fmla="*/ 12 h 30"/>
                <a:gd name="T20" fmla="*/ 209 w 210"/>
                <a:gd name="T21" fmla="*/ 9 h 30"/>
                <a:gd name="T22" fmla="*/ 207 w 210"/>
                <a:gd name="T23" fmla="*/ 7 h 30"/>
                <a:gd name="T24" fmla="*/ 206 w 210"/>
                <a:gd name="T25" fmla="*/ 5 h 30"/>
                <a:gd name="T26" fmla="*/ 203 w 210"/>
                <a:gd name="T27" fmla="*/ 2 h 30"/>
                <a:gd name="T28" fmla="*/ 200 w 210"/>
                <a:gd name="T29" fmla="*/ 1 h 30"/>
                <a:gd name="T30" fmla="*/ 198 w 210"/>
                <a:gd name="T31" fmla="*/ 0 h 30"/>
                <a:gd name="T32" fmla="*/ 195 w 210"/>
                <a:gd name="T33" fmla="*/ 0 h 30"/>
                <a:gd name="T34" fmla="*/ 15 w 210"/>
                <a:gd name="T35" fmla="*/ 0 h 30"/>
                <a:gd name="T36" fmla="*/ 11 w 210"/>
                <a:gd name="T37" fmla="*/ 0 h 30"/>
                <a:gd name="T38" fmla="*/ 8 w 210"/>
                <a:gd name="T39" fmla="*/ 1 h 30"/>
                <a:gd name="T40" fmla="*/ 6 w 210"/>
                <a:gd name="T41" fmla="*/ 2 h 30"/>
                <a:gd name="T42" fmla="*/ 4 w 210"/>
                <a:gd name="T43" fmla="*/ 5 h 30"/>
                <a:gd name="T44" fmla="*/ 2 w 210"/>
                <a:gd name="T45" fmla="*/ 7 h 30"/>
                <a:gd name="T46" fmla="*/ 1 w 210"/>
                <a:gd name="T47" fmla="*/ 9 h 30"/>
                <a:gd name="T48" fmla="*/ 0 w 210"/>
                <a:gd name="T49" fmla="*/ 12 h 30"/>
                <a:gd name="T50" fmla="*/ 0 w 210"/>
                <a:gd name="T51" fmla="*/ 15 h 30"/>
                <a:gd name="T52" fmla="*/ 0 w 210"/>
                <a:gd name="T53" fmla="*/ 17 h 30"/>
                <a:gd name="T54" fmla="*/ 1 w 210"/>
                <a:gd name="T55" fmla="*/ 21 h 30"/>
                <a:gd name="T56" fmla="*/ 2 w 210"/>
                <a:gd name="T57" fmla="*/ 23 h 30"/>
                <a:gd name="T58" fmla="*/ 4 w 210"/>
                <a:gd name="T59" fmla="*/ 26 h 30"/>
                <a:gd name="T60" fmla="*/ 6 w 210"/>
                <a:gd name="T61" fmla="*/ 27 h 30"/>
                <a:gd name="T62" fmla="*/ 8 w 210"/>
                <a:gd name="T63" fmla="*/ 29 h 30"/>
                <a:gd name="T64" fmla="*/ 11 w 210"/>
                <a:gd name="T65" fmla="*/ 29 h 30"/>
                <a:gd name="T66" fmla="*/ 15 w 210"/>
                <a:gd name="T67" fmla="*/ 30 h 30"/>
                <a:gd name="T68" fmla="*/ 195 w 21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30"/>
                  </a:moveTo>
                  <a:lnTo>
                    <a:pt x="198" y="29"/>
                  </a:lnTo>
                  <a:lnTo>
                    <a:pt x="200" y="29"/>
                  </a:lnTo>
                  <a:lnTo>
                    <a:pt x="203" y="27"/>
                  </a:lnTo>
                  <a:lnTo>
                    <a:pt x="206" y="26"/>
                  </a:lnTo>
                  <a:lnTo>
                    <a:pt x="207" y="23"/>
                  </a:lnTo>
                  <a:lnTo>
                    <a:pt x="209" y="21"/>
                  </a:lnTo>
                  <a:lnTo>
                    <a:pt x="210" y="17"/>
                  </a:lnTo>
                  <a:lnTo>
                    <a:pt x="210" y="15"/>
                  </a:lnTo>
                  <a:lnTo>
                    <a:pt x="210" y="12"/>
                  </a:lnTo>
                  <a:lnTo>
                    <a:pt x="209" y="9"/>
                  </a:lnTo>
                  <a:lnTo>
                    <a:pt x="207" y="7"/>
                  </a:lnTo>
                  <a:lnTo>
                    <a:pt x="206" y="5"/>
                  </a:lnTo>
                  <a:lnTo>
                    <a:pt x="203" y="2"/>
                  </a:lnTo>
                  <a:lnTo>
                    <a:pt x="200" y="1"/>
                  </a:lnTo>
                  <a:lnTo>
                    <a:pt x="198" y="0"/>
                  </a:lnTo>
                  <a:lnTo>
                    <a:pt x="195" y="0"/>
                  </a:lnTo>
                  <a:lnTo>
                    <a:pt x="15" y="0"/>
                  </a:lnTo>
                  <a:lnTo>
                    <a:pt x="11" y="0"/>
                  </a:lnTo>
                  <a:lnTo>
                    <a:pt x="8" y="1"/>
                  </a:lnTo>
                  <a:lnTo>
                    <a:pt x="6" y="2"/>
                  </a:lnTo>
                  <a:lnTo>
                    <a:pt x="4" y="5"/>
                  </a:lnTo>
                  <a:lnTo>
                    <a:pt x="2" y="7"/>
                  </a:lnTo>
                  <a:lnTo>
                    <a:pt x="1" y="9"/>
                  </a:lnTo>
                  <a:lnTo>
                    <a:pt x="0" y="12"/>
                  </a:lnTo>
                  <a:lnTo>
                    <a:pt x="0" y="15"/>
                  </a:lnTo>
                  <a:lnTo>
                    <a:pt x="0" y="17"/>
                  </a:lnTo>
                  <a:lnTo>
                    <a:pt x="1" y="21"/>
                  </a:lnTo>
                  <a:lnTo>
                    <a:pt x="2" y="23"/>
                  </a:lnTo>
                  <a:lnTo>
                    <a:pt x="4" y="26"/>
                  </a:lnTo>
                  <a:lnTo>
                    <a:pt x="6" y="27"/>
                  </a:lnTo>
                  <a:lnTo>
                    <a:pt x="8" y="29"/>
                  </a:lnTo>
                  <a:lnTo>
                    <a:pt x="11" y="29"/>
                  </a:lnTo>
                  <a:lnTo>
                    <a:pt x="15" y="30"/>
                  </a:lnTo>
                  <a:lnTo>
                    <a:pt x="195" y="3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3" name="Freeform 170">
              <a:extLst>
                <a:ext uri="{FF2B5EF4-FFF2-40B4-BE49-F238E27FC236}">
                  <a16:creationId xmlns:a16="http://schemas.microsoft.com/office/drawing/2014/main" id="{80B83D02-DE4A-43D8-89AF-3276230E28FE}"/>
                </a:ext>
              </a:extLst>
            </p:cNvPr>
            <p:cNvSpPr>
              <a:spLocks noEditPoints="1"/>
            </p:cNvSpPr>
            <p:nvPr/>
          </p:nvSpPr>
          <p:spPr bwMode="auto">
            <a:xfrm>
              <a:off x="10529888" y="1504633"/>
              <a:ext cx="95250" cy="85725"/>
            </a:xfrm>
            <a:custGeom>
              <a:avLst/>
              <a:gdLst>
                <a:gd name="T0" fmla="*/ 31 w 301"/>
                <a:gd name="T1" fmla="*/ 30 h 271"/>
                <a:gd name="T2" fmla="*/ 271 w 301"/>
                <a:gd name="T3" fmla="*/ 30 h 271"/>
                <a:gd name="T4" fmla="*/ 271 w 301"/>
                <a:gd name="T5" fmla="*/ 241 h 271"/>
                <a:gd name="T6" fmla="*/ 31 w 301"/>
                <a:gd name="T7" fmla="*/ 241 h 271"/>
                <a:gd name="T8" fmla="*/ 31 w 301"/>
                <a:gd name="T9" fmla="*/ 30 h 271"/>
                <a:gd name="T10" fmla="*/ 0 w 301"/>
                <a:gd name="T11" fmla="*/ 271 h 271"/>
                <a:gd name="T12" fmla="*/ 301 w 301"/>
                <a:gd name="T13" fmla="*/ 271 h 271"/>
                <a:gd name="T14" fmla="*/ 301 w 301"/>
                <a:gd name="T15" fmla="*/ 0 h 271"/>
                <a:gd name="T16" fmla="*/ 0 w 301"/>
                <a:gd name="T17" fmla="*/ 0 h 271"/>
                <a:gd name="T18" fmla="*/ 0 w 301"/>
                <a:gd name="T1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271">
                  <a:moveTo>
                    <a:pt x="31" y="30"/>
                  </a:moveTo>
                  <a:lnTo>
                    <a:pt x="271" y="30"/>
                  </a:lnTo>
                  <a:lnTo>
                    <a:pt x="271" y="241"/>
                  </a:lnTo>
                  <a:lnTo>
                    <a:pt x="31" y="241"/>
                  </a:lnTo>
                  <a:lnTo>
                    <a:pt x="31" y="30"/>
                  </a:lnTo>
                  <a:close/>
                  <a:moveTo>
                    <a:pt x="0" y="271"/>
                  </a:moveTo>
                  <a:lnTo>
                    <a:pt x="301" y="271"/>
                  </a:lnTo>
                  <a:lnTo>
                    <a:pt x="301" y="0"/>
                  </a:lnTo>
                  <a:lnTo>
                    <a:pt x="0" y="0"/>
                  </a:lnTo>
                  <a:lnTo>
                    <a:pt x="0" y="27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4" name="Freeform 171">
              <a:extLst>
                <a:ext uri="{FF2B5EF4-FFF2-40B4-BE49-F238E27FC236}">
                  <a16:creationId xmlns:a16="http://schemas.microsoft.com/office/drawing/2014/main" id="{7AEA7AE5-DAA8-4062-8920-4EF0517B0FEF}"/>
                </a:ext>
              </a:extLst>
            </p:cNvPr>
            <p:cNvSpPr>
              <a:spLocks noEditPoints="1"/>
            </p:cNvSpPr>
            <p:nvPr/>
          </p:nvSpPr>
          <p:spPr bwMode="auto">
            <a:xfrm>
              <a:off x="10653713" y="1368108"/>
              <a:ext cx="74613" cy="79375"/>
            </a:xfrm>
            <a:custGeom>
              <a:avLst/>
              <a:gdLst>
                <a:gd name="T0" fmla="*/ 84 w 235"/>
                <a:gd name="T1" fmla="*/ 220 h 250"/>
                <a:gd name="T2" fmla="*/ 30 w 235"/>
                <a:gd name="T3" fmla="*/ 220 h 250"/>
                <a:gd name="T4" fmla="*/ 30 w 235"/>
                <a:gd name="T5" fmla="*/ 165 h 250"/>
                <a:gd name="T6" fmla="*/ 140 w 235"/>
                <a:gd name="T7" fmla="*/ 37 h 250"/>
                <a:gd name="T8" fmla="*/ 198 w 235"/>
                <a:gd name="T9" fmla="*/ 96 h 250"/>
                <a:gd name="T10" fmla="*/ 84 w 235"/>
                <a:gd name="T11" fmla="*/ 220 h 250"/>
                <a:gd name="T12" fmla="*/ 230 w 235"/>
                <a:gd name="T13" fmla="*/ 85 h 250"/>
                <a:gd name="T14" fmla="*/ 150 w 235"/>
                <a:gd name="T15" fmla="*/ 5 h 250"/>
                <a:gd name="T16" fmla="*/ 148 w 235"/>
                <a:gd name="T17" fmla="*/ 2 h 250"/>
                <a:gd name="T18" fmla="*/ 145 w 235"/>
                <a:gd name="T19" fmla="*/ 1 h 250"/>
                <a:gd name="T20" fmla="*/ 141 w 235"/>
                <a:gd name="T21" fmla="*/ 0 h 250"/>
                <a:gd name="T22" fmla="*/ 138 w 235"/>
                <a:gd name="T23" fmla="*/ 0 h 250"/>
                <a:gd name="T24" fmla="*/ 135 w 235"/>
                <a:gd name="T25" fmla="*/ 0 h 250"/>
                <a:gd name="T26" fmla="*/ 133 w 235"/>
                <a:gd name="T27" fmla="*/ 1 h 250"/>
                <a:gd name="T28" fmla="*/ 130 w 235"/>
                <a:gd name="T29" fmla="*/ 2 h 250"/>
                <a:gd name="T30" fmla="*/ 127 w 235"/>
                <a:gd name="T31" fmla="*/ 5 h 250"/>
                <a:gd name="T32" fmla="*/ 3 w 235"/>
                <a:gd name="T33" fmla="*/ 149 h 250"/>
                <a:gd name="T34" fmla="*/ 1 w 235"/>
                <a:gd name="T35" fmla="*/ 155 h 250"/>
                <a:gd name="T36" fmla="*/ 0 w 235"/>
                <a:gd name="T37" fmla="*/ 159 h 250"/>
                <a:gd name="T38" fmla="*/ 0 w 235"/>
                <a:gd name="T39" fmla="*/ 235 h 250"/>
                <a:gd name="T40" fmla="*/ 0 w 235"/>
                <a:gd name="T41" fmla="*/ 237 h 250"/>
                <a:gd name="T42" fmla="*/ 1 w 235"/>
                <a:gd name="T43" fmla="*/ 241 h 250"/>
                <a:gd name="T44" fmla="*/ 2 w 235"/>
                <a:gd name="T45" fmla="*/ 243 h 250"/>
                <a:gd name="T46" fmla="*/ 4 w 235"/>
                <a:gd name="T47" fmla="*/ 245 h 250"/>
                <a:gd name="T48" fmla="*/ 6 w 235"/>
                <a:gd name="T49" fmla="*/ 247 h 250"/>
                <a:gd name="T50" fmla="*/ 10 w 235"/>
                <a:gd name="T51" fmla="*/ 248 h 250"/>
                <a:gd name="T52" fmla="*/ 12 w 235"/>
                <a:gd name="T53" fmla="*/ 249 h 250"/>
                <a:gd name="T54" fmla="*/ 15 w 235"/>
                <a:gd name="T55" fmla="*/ 250 h 250"/>
                <a:gd name="T56" fmla="*/ 90 w 235"/>
                <a:gd name="T57" fmla="*/ 250 h 250"/>
                <a:gd name="T58" fmla="*/ 93 w 235"/>
                <a:gd name="T59" fmla="*/ 249 h 250"/>
                <a:gd name="T60" fmla="*/ 96 w 235"/>
                <a:gd name="T61" fmla="*/ 248 h 250"/>
                <a:gd name="T62" fmla="*/ 99 w 235"/>
                <a:gd name="T63" fmla="*/ 247 h 250"/>
                <a:gd name="T64" fmla="*/ 101 w 235"/>
                <a:gd name="T65" fmla="*/ 245 h 250"/>
                <a:gd name="T66" fmla="*/ 230 w 235"/>
                <a:gd name="T67" fmla="*/ 105 h 250"/>
                <a:gd name="T68" fmla="*/ 233 w 235"/>
                <a:gd name="T69" fmla="*/ 103 h 250"/>
                <a:gd name="T70" fmla="*/ 234 w 235"/>
                <a:gd name="T71" fmla="*/ 101 h 250"/>
                <a:gd name="T72" fmla="*/ 235 w 235"/>
                <a:gd name="T73" fmla="*/ 98 h 250"/>
                <a:gd name="T74" fmla="*/ 235 w 235"/>
                <a:gd name="T75" fmla="*/ 95 h 250"/>
                <a:gd name="T76" fmla="*/ 235 w 235"/>
                <a:gd name="T77" fmla="*/ 93 h 250"/>
                <a:gd name="T78" fmla="*/ 234 w 235"/>
                <a:gd name="T79" fmla="*/ 89 h 250"/>
                <a:gd name="T80" fmla="*/ 233 w 235"/>
                <a:gd name="T81" fmla="*/ 87 h 250"/>
                <a:gd name="T82" fmla="*/ 230 w 235"/>
                <a:gd name="T83"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250">
                  <a:moveTo>
                    <a:pt x="84" y="220"/>
                  </a:moveTo>
                  <a:lnTo>
                    <a:pt x="30" y="220"/>
                  </a:lnTo>
                  <a:lnTo>
                    <a:pt x="30" y="165"/>
                  </a:lnTo>
                  <a:lnTo>
                    <a:pt x="140" y="37"/>
                  </a:lnTo>
                  <a:lnTo>
                    <a:pt x="198" y="96"/>
                  </a:lnTo>
                  <a:lnTo>
                    <a:pt x="84" y="220"/>
                  </a:lnTo>
                  <a:close/>
                  <a:moveTo>
                    <a:pt x="230" y="85"/>
                  </a:moveTo>
                  <a:lnTo>
                    <a:pt x="150" y="5"/>
                  </a:lnTo>
                  <a:lnTo>
                    <a:pt x="148" y="2"/>
                  </a:lnTo>
                  <a:lnTo>
                    <a:pt x="145" y="1"/>
                  </a:lnTo>
                  <a:lnTo>
                    <a:pt x="141" y="0"/>
                  </a:lnTo>
                  <a:lnTo>
                    <a:pt x="138" y="0"/>
                  </a:lnTo>
                  <a:lnTo>
                    <a:pt x="135" y="0"/>
                  </a:lnTo>
                  <a:lnTo>
                    <a:pt x="133" y="1"/>
                  </a:lnTo>
                  <a:lnTo>
                    <a:pt x="130" y="2"/>
                  </a:lnTo>
                  <a:lnTo>
                    <a:pt x="127" y="5"/>
                  </a:lnTo>
                  <a:lnTo>
                    <a:pt x="3" y="149"/>
                  </a:lnTo>
                  <a:lnTo>
                    <a:pt x="1" y="155"/>
                  </a:lnTo>
                  <a:lnTo>
                    <a:pt x="0" y="159"/>
                  </a:lnTo>
                  <a:lnTo>
                    <a:pt x="0" y="235"/>
                  </a:lnTo>
                  <a:lnTo>
                    <a:pt x="0" y="237"/>
                  </a:lnTo>
                  <a:lnTo>
                    <a:pt x="1" y="241"/>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3"/>
                  </a:lnTo>
                  <a:lnTo>
                    <a:pt x="234" y="89"/>
                  </a:lnTo>
                  <a:lnTo>
                    <a:pt x="233" y="87"/>
                  </a:lnTo>
                  <a:lnTo>
                    <a:pt x="230" y="85"/>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41" name="Group 139">
            <a:extLst>
              <a:ext uri="{FF2B5EF4-FFF2-40B4-BE49-F238E27FC236}">
                <a16:creationId xmlns:a16="http://schemas.microsoft.com/office/drawing/2014/main" id="{8FC73832-C4C1-4455-AF25-9A923AA21C7D}"/>
              </a:ext>
            </a:extLst>
          </p:cNvPr>
          <p:cNvGrpSpPr>
            <a:grpSpLocks noChangeAspect="1"/>
          </p:cNvGrpSpPr>
          <p:nvPr/>
        </p:nvGrpSpPr>
        <p:grpSpPr>
          <a:xfrm>
            <a:off x="1478842" y="2724897"/>
            <a:ext cx="285618" cy="285619"/>
            <a:chOff x="8088313" y="1273175"/>
            <a:chExt cx="357187" cy="357188"/>
          </a:xfrm>
          <a:solidFill>
            <a:schemeClr val="bg2"/>
          </a:solidFill>
          <a:effectLst/>
        </p:grpSpPr>
        <p:sp>
          <p:nvSpPr>
            <p:cNvPr id="1942" name="Freeform 47">
              <a:extLst>
                <a:ext uri="{FF2B5EF4-FFF2-40B4-BE49-F238E27FC236}">
                  <a16:creationId xmlns:a16="http://schemas.microsoft.com/office/drawing/2014/main" id="{88AEDA4C-8228-443E-A6DA-B958A411C3DF}"/>
                </a:ext>
              </a:extLst>
            </p:cNvPr>
            <p:cNvSpPr>
              <a:spLocks noEditPoints="1"/>
            </p:cNvSpPr>
            <p:nvPr/>
          </p:nvSpPr>
          <p:spPr bwMode="auto">
            <a:xfrm>
              <a:off x="8088313" y="1273175"/>
              <a:ext cx="357187" cy="357188"/>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3" name="Freeform 48">
              <a:extLst>
                <a:ext uri="{FF2B5EF4-FFF2-40B4-BE49-F238E27FC236}">
                  <a16:creationId xmlns:a16="http://schemas.microsoft.com/office/drawing/2014/main" id="{8D82813B-E36E-46C6-AAB8-D2EBF8AE1096}"/>
                </a:ext>
              </a:extLst>
            </p:cNvPr>
            <p:cNvSpPr>
              <a:spLocks/>
            </p:cNvSpPr>
            <p:nvPr/>
          </p:nvSpPr>
          <p:spPr bwMode="auto">
            <a:xfrm>
              <a:off x="8220075" y="1366838"/>
              <a:ext cx="93662" cy="169863"/>
            </a:xfrm>
            <a:custGeom>
              <a:avLst/>
              <a:gdLst>
                <a:gd name="T0" fmla="*/ 12 w 24"/>
                <a:gd name="T1" fmla="*/ 44 h 44"/>
                <a:gd name="T2" fmla="*/ 0 w 24"/>
                <a:gd name="T3" fmla="*/ 32 h 44"/>
                <a:gd name="T4" fmla="*/ 2 w 24"/>
                <a:gd name="T5" fmla="*/ 30 h 44"/>
                <a:gd name="T6" fmla="*/ 4 w 24"/>
                <a:gd name="T7" fmla="*/ 32 h 44"/>
                <a:gd name="T8" fmla="*/ 12 w 24"/>
                <a:gd name="T9" fmla="*/ 40 h 44"/>
                <a:gd name="T10" fmla="*/ 20 w 24"/>
                <a:gd name="T11" fmla="*/ 32 h 44"/>
                <a:gd name="T12" fmla="*/ 12 w 24"/>
                <a:gd name="T13" fmla="*/ 24 h 44"/>
                <a:gd name="T14" fmla="*/ 0 w 24"/>
                <a:gd name="T15" fmla="*/ 12 h 44"/>
                <a:gd name="T16" fmla="*/ 12 w 24"/>
                <a:gd name="T17" fmla="*/ 0 h 44"/>
                <a:gd name="T18" fmla="*/ 24 w 24"/>
                <a:gd name="T19" fmla="*/ 12 h 44"/>
                <a:gd name="T20" fmla="*/ 22 w 24"/>
                <a:gd name="T21" fmla="*/ 14 h 44"/>
                <a:gd name="T22" fmla="*/ 20 w 24"/>
                <a:gd name="T23" fmla="*/ 12 h 44"/>
                <a:gd name="T24" fmla="*/ 12 w 24"/>
                <a:gd name="T25" fmla="*/ 4 h 44"/>
                <a:gd name="T26" fmla="*/ 4 w 24"/>
                <a:gd name="T27" fmla="*/ 12 h 44"/>
                <a:gd name="T28" fmla="*/ 12 w 24"/>
                <a:gd name="T29" fmla="*/ 20 h 44"/>
                <a:gd name="T30" fmla="*/ 24 w 24"/>
                <a:gd name="T31" fmla="*/ 32 h 44"/>
                <a:gd name="T32" fmla="*/ 12 w 24"/>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44">
                  <a:moveTo>
                    <a:pt x="12" y="44"/>
                  </a:moveTo>
                  <a:cubicBezTo>
                    <a:pt x="5" y="44"/>
                    <a:pt x="0" y="39"/>
                    <a:pt x="0" y="32"/>
                  </a:cubicBezTo>
                  <a:cubicBezTo>
                    <a:pt x="0" y="31"/>
                    <a:pt x="1" y="30"/>
                    <a:pt x="2" y="30"/>
                  </a:cubicBezTo>
                  <a:cubicBezTo>
                    <a:pt x="3" y="30"/>
                    <a:pt x="4" y="31"/>
                    <a:pt x="4" y="32"/>
                  </a:cubicBezTo>
                  <a:cubicBezTo>
                    <a:pt x="4" y="36"/>
                    <a:pt x="8" y="40"/>
                    <a:pt x="12" y="40"/>
                  </a:cubicBezTo>
                  <a:cubicBezTo>
                    <a:pt x="16" y="40"/>
                    <a:pt x="20" y="36"/>
                    <a:pt x="20" y="32"/>
                  </a:cubicBezTo>
                  <a:cubicBezTo>
                    <a:pt x="20" y="28"/>
                    <a:pt x="16" y="24"/>
                    <a:pt x="12" y="24"/>
                  </a:cubicBezTo>
                  <a:cubicBezTo>
                    <a:pt x="5" y="24"/>
                    <a:pt x="0" y="19"/>
                    <a:pt x="0" y="12"/>
                  </a:cubicBezTo>
                  <a:cubicBezTo>
                    <a:pt x="0" y="5"/>
                    <a:pt x="5" y="0"/>
                    <a:pt x="12" y="0"/>
                  </a:cubicBezTo>
                  <a:cubicBezTo>
                    <a:pt x="19" y="0"/>
                    <a:pt x="24" y="5"/>
                    <a:pt x="24" y="12"/>
                  </a:cubicBezTo>
                  <a:cubicBezTo>
                    <a:pt x="24" y="13"/>
                    <a:pt x="23" y="14"/>
                    <a:pt x="22" y="14"/>
                  </a:cubicBezTo>
                  <a:cubicBezTo>
                    <a:pt x="21" y="14"/>
                    <a:pt x="20" y="13"/>
                    <a:pt x="20" y="12"/>
                  </a:cubicBezTo>
                  <a:cubicBezTo>
                    <a:pt x="20" y="8"/>
                    <a:pt x="16" y="4"/>
                    <a:pt x="12" y="4"/>
                  </a:cubicBezTo>
                  <a:cubicBezTo>
                    <a:pt x="8" y="4"/>
                    <a:pt x="4" y="8"/>
                    <a:pt x="4" y="12"/>
                  </a:cubicBezTo>
                  <a:cubicBezTo>
                    <a:pt x="4" y="16"/>
                    <a:pt x="8" y="20"/>
                    <a:pt x="12" y="20"/>
                  </a:cubicBezTo>
                  <a:cubicBezTo>
                    <a:pt x="19" y="20"/>
                    <a:pt x="24" y="25"/>
                    <a:pt x="24" y="32"/>
                  </a:cubicBezTo>
                  <a:cubicBezTo>
                    <a:pt x="24" y="39"/>
                    <a:pt x="19" y="44"/>
                    <a:pt x="1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4" name="Freeform 49">
              <a:extLst>
                <a:ext uri="{FF2B5EF4-FFF2-40B4-BE49-F238E27FC236}">
                  <a16:creationId xmlns:a16="http://schemas.microsoft.com/office/drawing/2014/main" id="{325A3A25-D2E3-4B89-A89C-1D609A667F28}"/>
                </a:ext>
              </a:extLst>
            </p:cNvPr>
            <p:cNvSpPr>
              <a:spLocks/>
            </p:cNvSpPr>
            <p:nvPr/>
          </p:nvSpPr>
          <p:spPr bwMode="auto">
            <a:xfrm>
              <a:off x="8258175" y="1343025"/>
              <a:ext cx="15875" cy="217488"/>
            </a:xfrm>
            <a:custGeom>
              <a:avLst/>
              <a:gdLst>
                <a:gd name="T0" fmla="*/ 2 w 4"/>
                <a:gd name="T1" fmla="*/ 56 h 56"/>
                <a:gd name="T2" fmla="*/ 0 w 4"/>
                <a:gd name="T3" fmla="*/ 54 h 56"/>
                <a:gd name="T4" fmla="*/ 0 w 4"/>
                <a:gd name="T5" fmla="*/ 2 h 56"/>
                <a:gd name="T6" fmla="*/ 2 w 4"/>
                <a:gd name="T7" fmla="*/ 0 h 56"/>
                <a:gd name="T8" fmla="*/ 4 w 4"/>
                <a:gd name="T9" fmla="*/ 2 h 56"/>
                <a:gd name="T10" fmla="*/ 4 w 4"/>
                <a:gd name="T11" fmla="*/ 54 h 56"/>
                <a:gd name="T12" fmla="*/ 2 w 4"/>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 h="56">
                  <a:moveTo>
                    <a:pt x="2" y="56"/>
                  </a:moveTo>
                  <a:cubicBezTo>
                    <a:pt x="1" y="56"/>
                    <a:pt x="0" y="55"/>
                    <a:pt x="0" y="54"/>
                  </a:cubicBezTo>
                  <a:cubicBezTo>
                    <a:pt x="0" y="2"/>
                    <a:pt x="0" y="2"/>
                    <a:pt x="0" y="2"/>
                  </a:cubicBezTo>
                  <a:cubicBezTo>
                    <a:pt x="0" y="1"/>
                    <a:pt x="1" y="0"/>
                    <a:pt x="2" y="0"/>
                  </a:cubicBezTo>
                  <a:cubicBezTo>
                    <a:pt x="3" y="0"/>
                    <a:pt x="4" y="1"/>
                    <a:pt x="4" y="2"/>
                  </a:cubicBezTo>
                  <a:cubicBezTo>
                    <a:pt x="4" y="54"/>
                    <a:pt x="4" y="54"/>
                    <a:pt x="4" y="54"/>
                  </a:cubicBezTo>
                  <a:cubicBezTo>
                    <a:pt x="4" y="55"/>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51" name="Gruppieren 1950">
            <a:extLst>
              <a:ext uri="{FF2B5EF4-FFF2-40B4-BE49-F238E27FC236}">
                <a16:creationId xmlns:a16="http://schemas.microsoft.com/office/drawing/2014/main" id="{A6B6D01F-25B6-4A97-8018-D495CE0DE841}"/>
              </a:ext>
            </a:extLst>
          </p:cNvPr>
          <p:cNvGrpSpPr>
            <a:grpSpLocks noChangeAspect="1"/>
          </p:cNvGrpSpPr>
          <p:nvPr/>
        </p:nvGrpSpPr>
        <p:grpSpPr>
          <a:xfrm>
            <a:off x="4449554" y="2220072"/>
            <a:ext cx="286871" cy="285619"/>
            <a:chOff x="6699250" y="1711325"/>
            <a:chExt cx="363538" cy="361951"/>
          </a:xfrm>
          <a:solidFill>
            <a:schemeClr val="bg2"/>
          </a:solidFill>
        </p:grpSpPr>
        <p:sp>
          <p:nvSpPr>
            <p:cNvPr id="1952" name="Freeform 5">
              <a:extLst>
                <a:ext uri="{FF2B5EF4-FFF2-40B4-BE49-F238E27FC236}">
                  <a16:creationId xmlns:a16="http://schemas.microsoft.com/office/drawing/2014/main" id="{C4B4BA28-0DF5-4EF9-848B-8589EA935587}"/>
                </a:ext>
              </a:extLst>
            </p:cNvPr>
            <p:cNvSpPr>
              <a:spLocks noChangeAspect="1" noEditPoints="1"/>
            </p:cNvSpPr>
            <p:nvPr/>
          </p:nvSpPr>
          <p:spPr bwMode="auto">
            <a:xfrm>
              <a:off x="6699250" y="1892300"/>
              <a:ext cx="90488" cy="157163"/>
            </a:xfrm>
            <a:custGeom>
              <a:avLst/>
              <a:gdLst>
                <a:gd name="T0" fmla="*/ 107 w 178"/>
                <a:gd name="T1" fmla="*/ 308 h 308"/>
                <a:gd name="T2" fmla="*/ 12 w 178"/>
                <a:gd name="T3" fmla="*/ 308 h 308"/>
                <a:gd name="T4" fmla="*/ 0 w 178"/>
                <a:gd name="T5" fmla="*/ 296 h 308"/>
                <a:gd name="T6" fmla="*/ 0 w 178"/>
                <a:gd name="T7" fmla="*/ 12 h 308"/>
                <a:gd name="T8" fmla="*/ 4 w 178"/>
                <a:gd name="T9" fmla="*/ 4 h 308"/>
                <a:gd name="T10" fmla="*/ 12 w 178"/>
                <a:gd name="T11" fmla="*/ 0 h 308"/>
                <a:gd name="T12" fmla="*/ 12 w 178"/>
                <a:gd name="T13" fmla="*/ 0 h 308"/>
                <a:gd name="T14" fmla="*/ 81 w 178"/>
                <a:gd name="T15" fmla="*/ 4 h 308"/>
                <a:gd name="T16" fmla="*/ 174 w 178"/>
                <a:gd name="T17" fmla="*/ 27 h 308"/>
                <a:gd name="T18" fmla="*/ 178 w 178"/>
                <a:gd name="T19" fmla="*/ 37 h 308"/>
                <a:gd name="T20" fmla="*/ 118 w 178"/>
                <a:gd name="T21" fmla="*/ 299 h 308"/>
                <a:gd name="T22" fmla="*/ 107 w 178"/>
                <a:gd name="T23" fmla="*/ 308 h 308"/>
                <a:gd name="T24" fmla="*/ 24 w 178"/>
                <a:gd name="T25" fmla="*/ 284 h 308"/>
                <a:gd name="T26" fmla="*/ 98 w 178"/>
                <a:gd name="T27" fmla="*/ 284 h 308"/>
                <a:gd name="T28" fmla="*/ 154 w 178"/>
                <a:gd name="T29" fmla="*/ 41 h 308"/>
                <a:gd name="T30" fmla="*/ 79 w 178"/>
                <a:gd name="T31" fmla="*/ 27 h 308"/>
                <a:gd name="T32" fmla="*/ 24 w 178"/>
                <a:gd name="T33" fmla="*/ 24 h 308"/>
                <a:gd name="T34" fmla="*/ 24 w 178"/>
                <a:gd name="T35" fmla="*/ 2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308">
                  <a:moveTo>
                    <a:pt x="107" y="308"/>
                  </a:moveTo>
                  <a:cubicBezTo>
                    <a:pt x="12" y="308"/>
                    <a:pt x="12" y="308"/>
                    <a:pt x="12" y="308"/>
                  </a:cubicBezTo>
                  <a:cubicBezTo>
                    <a:pt x="6" y="308"/>
                    <a:pt x="0" y="303"/>
                    <a:pt x="0" y="296"/>
                  </a:cubicBezTo>
                  <a:cubicBezTo>
                    <a:pt x="0" y="12"/>
                    <a:pt x="0" y="12"/>
                    <a:pt x="0" y="12"/>
                  </a:cubicBezTo>
                  <a:cubicBezTo>
                    <a:pt x="0" y="9"/>
                    <a:pt x="2" y="6"/>
                    <a:pt x="4" y="4"/>
                  </a:cubicBezTo>
                  <a:cubicBezTo>
                    <a:pt x="6" y="1"/>
                    <a:pt x="9" y="0"/>
                    <a:pt x="12" y="0"/>
                  </a:cubicBezTo>
                  <a:cubicBezTo>
                    <a:pt x="12" y="0"/>
                    <a:pt x="12" y="0"/>
                    <a:pt x="12" y="0"/>
                  </a:cubicBezTo>
                  <a:cubicBezTo>
                    <a:pt x="14" y="0"/>
                    <a:pt x="46" y="0"/>
                    <a:pt x="81" y="4"/>
                  </a:cubicBezTo>
                  <a:cubicBezTo>
                    <a:pt x="149" y="10"/>
                    <a:pt x="167" y="20"/>
                    <a:pt x="174" y="27"/>
                  </a:cubicBezTo>
                  <a:cubicBezTo>
                    <a:pt x="177" y="30"/>
                    <a:pt x="178" y="33"/>
                    <a:pt x="178" y="37"/>
                  </a:cubicBezTo>
                  <a:cubicBezTo>
                    <a:pt x="171" y="114"/>
                    <a:pt x="121" y="292"/>
                    <a:pt x="118" y="299"/>
                  </a:cubicBezTo>
                  <a:cubicBezTo>
                    <a:pt x="117" y="304"/>
                    <a:pt x="112" y="308"/>
                    <a:pt x="107" y="308"/>
                  </a:cubicBezTo>
                  <a:close/>
                  <a:moveTo>
                    <a:pt x="24" y="284"/>
                  </a:moveTo>
                  <a:cubicBezTo>
                    <a:pt x="98" y="284"/>
                    <a:pt x="98" y="284"/>
                    <a:pt x="98" y="284"/>
                  </a:cubicBezTo>
                  <a:cubicBezTo>
                    <a:pt x="108" y="248"/>
                    <a:pt x="146" y="110"/>
                    <a:pt x="154" y="41"/>
                  </a:cubicBezTo>
                  <a:cubicBezTo>
                    <a:pt x="146" y="38"/>
                    <a:pt x="127" y="31"/>
                    <a:pt x="79" y="27"/>
                  </a:cubicBezTo>
                  <a:cubicBezTo>
                    <a:pt x="58" y="25"/>
                    <a:pt x="37" y="24"/>
                    <a:pt x="24" y="24"/>
                  </a:cubicBezTo>
                  <a:lnTo>
                    <a:pt x="24" y="28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3" name="Freeform 6">
              <a:extLst>
                <a:ext uri="{FF2B5EF4-FFF2-40B4-BE49-F238E27FC236}">
                  <a16:creationId xmlns:a16="http://schemas.microsoft.com/office/drawing/2014/main" id="{E85309BD-EAC9-482E-82B4-4ACEE3EA9FAC}"/>
                </a:ext>
              </a:extLst>
            </p:cNvPr>
            <p:cNvSpPr>
              <a:spLocks noChangeAspect="1"/>
            </p:cNvSpPr>
            <p:nvPr/>
          </p:nvSpPr>
          <p:spPr bwMode="auto">
            <a:xfrm>
              <a:off x="6751638" y="1973263"/>
              <a:ext cx="311150" cy="100013"/>
            </a:xfrm>
            <a:custGeom>
              <a:avLst/>
              <a:gdLst>
                <a:gd name="T0" fmla="*/ 294 w 608"/>
                <a:gd name="T1" fmla="*/ 196 h 196"/>
                <a:gd name="T2" fmla="*/ 234 w 608"/>
                <a:gd name="T3" fmla="*/ 182 h 196"/>
                <a:gd name="T4" fmla="*/ 10 w 608"/>
                <a:gd name="T5" fmla="*/ 107 h 196"/>
                <a:gd name="T6" fmla="*/ 3 w 608"/>
                <a:gd name="T7" fmla="*/ 92 h 196"/>
                <a:gd name="T8" fmla="*/ 18 w 608"/>
                <a:gd name="T9" fmla="*/ 85 h 196"/>
                <a:gd name="T10" fmla="*/ 241 w 608"/>
                <a:gd name="T11" fmla="*/ 159 h 196"/>
                <a:gd name="T12" fmla="*/ 242 w 608"/>
                <a:gd name="T13" fmla="*/ 159 h 196"/>
                <a:gd name="T14" fmla="*/ 427 w 608"/>
                <a:gd name="T15" fmla="*/ 130 h 196"/>
                <a:gd name="T16" fmla="*/ 579 w 608"/>
                <a:gd name="T17" fmla="*/ 61 h 196"/>
                <a:gd name="T18" fmla="*/ 504 w 608"/>
                <a:gd name="T19" fmla="*/ 34 h 196"/>
                <a:gd name="T20" fmla="*/ 390 w 608"/>
                <a:gd name="T21" fmla="*/ 63 h 196"/>
                <a:gd name="T22" fmla="*/ 375 w 608"/>
                <a:gd name="T23" fmla="*/ 54 h 196"/>
                <a:gd name="T24" fmla="*/ 384 w 608"/>
                <a:gd name="T25" fmla="*/ 40 h 196"/>
                <a:gd name="T26" fmla="*/ 498 w 608"/>
                <a:gd name="T27" fmla="*/ 11 h 196"/>
                <a:gd name="T28" fmla="*/ 606 w 608"/>
                <a:gd name="T29" fmla="*/ 61 h 196"/>
                <a:gd name="T30" fmla="*/ 607 w 608"/>
                <a:gd name="T31" fmla="*/ 70 h 196"/>
                <a:gd name="T32" fmla="*/ 601 w 608"/>
                <a:gd name="T33" fmla="*/ 77 h 196"/>
                <a:gd name="T34" fmla="*/ 436 w 608"/>
                <a:gd name="T35" fmla="*/ 151 h 196"/>
                <a:gd name="T36" fmla="*/ 436 w 608"/>
                <a:gd name="T37" fmla="*/ 152 h 196"/>
                <a:gd name="T38" fmla="*/ 294 w 608"/>
                <a:gd name="T3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8" h="196">
                  <a:moveTo>
                    <a:pt x="294" y="196"/>
                  </a:moveTo>
                  <a:cubicBezTo>
                    <a:pt x="275" y="196"/>
                    <a:pt x="258" y="191"/>
                    <a:pt x="234" y="182"/>
                  </a:cubicBezTo>
                  <a:cubicBezTo>
                    <a:pt x="10" y="107"/>
                    <a:pt x="10" y="107"/>
                    <a:pt x="10" y="107"/>
                  </a:cubicBezTo>
                  <a:cubicBezTo>
                    <a:pt x="4" y="105"/>
                    <a:pt x="0" y="98"/>
                    <a:pt x="3" y="92"/>
                  </a:cubicBezTo>
                  <a:cubicBezTo>
                    <a:pt x="5" y="86"/>
                    <a:pt x="11" y="83"/>
                    <a:pt x="18" y="85"/>
                  </a:cubicBezTo>
                  <a:cubicBezTo>
                    <a:pt x="241" y="159"/>
                    <a:pt x="241" y="159"/>
                    <a:pt x="241" y="159"/>
                  </a:cubicBezTo>
                  <a:cubicBezTo>
                    <a:pt x="241" y="159"/>
                    <a:pt x="242" y="159"/>
                    <a:pt x="242" y="159"/>
                  </a:cubicBezTo>
                  <a:cubicBezTo>
                    <a:pt x="296" y="180"/>
                    <a:pt x="303" y="180"/>
                    <a:pt x="427" y="130"/>
                  </a:cubicBezTo>
                  <a:cubicBezTo>
                    <a:pt x="579" y="61"/>
                    <a:pt x="579" y="61"/>
                    <a:pt x="579" y="61"/>
                  </a:cubicBezTo>
                  <a:cubicBezTo>
                    <a:pt x="562" y="38"/>
                    <a:pt x="533" y="27"/>
                    <a:pt x="504" y="34"/>
                  </a:cubicBezTo>
                  <a:cubicBezTo>
                    <a:pt x="390" y="63"/>
                    <a:pt x="390" y="63"/>
                    <a:pt x="390" y="63"/>
                  </a:cubicBezTo>
                  <a:cubicBezTo>
                    <a:pt x="383" y="64"/>
                    <a:pt x="377" y="60"/>
                    <a:pt x="375" y="54"/>
                  </a:cubicBezTo>
                  <a:cubicBezTo>
                    <a:pt x="374" y="48"/>
                    <a:pt x="378" y="41"/>
                    <a:pt x="384" y="40"/>
                  </a:cubicBezTo>
                  <a:cubicBezTo>
                    <a:pt x="498" y="11"/>
                    <a:pt x="498" y="11"/>
                    <a:pt x="498" y="11"/>
                  </a:cubicBezTo>
                  <a:cubicBezTo>
                    <a:pt x="542" y="0"/>
                    <a:pt x="586" y="21"/>
                    <a:pt x="606" y="61"/>
                  </a:cubicBezTo>
                  <a:cubicBezTo>
                    <a:pt x="608" y="64"/>
                    <a:pt x="608" y="67"/>
                    <a:pt x="607" y="70"/>
                  </a:cubicBezTo>
                  <a:cubicBezTo>
                    <a:pt x="606" y="73"/>
                    <a:pt x="604" y="75"/>
                    <a:pt x="601" y="77"/>
                  </a:cubicBezTo>
                  <a:cubicBezTo>
                    <a:pt x="436" y="151"/>
                    <a:pt x="436" y="151"/>
                    <a:pt x="436" y="151"/>
                  </a:cubicBezTo>
                  <a:cubicBezTo>
                    <a:pt x="436" y="151"/>
                    <a:pt x="436" y="152"/>
                    <a:pt x="436" y="152"/>
                  </a:cubicBezTo>
                  <a:cubicBezTo>
                    <a:pt x="359" y="183"/>
                    <a:pt x="324" y="196"/>
                    <a:pt x="294" y="196"/>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4" name="Freeform 7">
              <a:extLst>
                <a:ext uri="{FF2B5EF4-FFF2-40B4-BE49-F238E27FC236}">
                  <a16:creationId xmlns:a16="http://schemas.microsoft.com/office/drawing/2014/main" id="{049FB4B3-F782-47A5-9C46-5F237AE77339}"/>
                </a:ext>
              </a:extLst>
            </p:cNvPr>
            <p:cNvSpPr>
              <a:spLocks noChangeAspect="1"/>
            </p:cNvSpPr>
            <p:nvPr/>
          </p:nvSpPr>
          <p:spPr bwMode="auto">
            <a:xfrm>
              <a:off x="6775450" y="1924050"/>
              <a:ext cx="179388" cy="88900"/>
            </a:xfrm>
            <a:custGeom>
              <a:avLst/>
              <a:gdLst>
                <a:gd name="T0" fmla="*/ 279 w 353"/>
                <a:gd name="T1" fmla="*/ 172 h 172"/>
                <a:gd name="T2" fmla="*/ 259 w 353"/>
                <a:gd name="T3" fmla="*/ 170 h 172"/>
                <a:gd name="T4" fmla="*/ 130 w 353"/>
                <a:gd name="T5" fmla="*/ 144 h 172"/>
                <a:gd name="T6" fmla="*/ 120 w 353"/>
                <a:gd name="T7" fmla="*/ 130 h 172"/>
                <a:gd name="T8" fmla="*/ 134 w 353"/>
                <a:gd name="T9" fmla="*/ 121 h 172"/>
                <a:gd name="T10" fmla="*/ 264 w 353"/>
                <a:gd name="T11" fmla="*/ 146 h 172"/>
                <a:gd name="T12" fmla="*/ 298 w 353"/>
                <a:gd name="T13" fmla="*/ 146 h 172"/>
                <a:gd name="T14" fmla="*/ 329 w 353"/>
                <a:gd name="T15" fmla="*/ 138 h 172"/>
                <a:gd name="T16" fmla="*/ 278 w 353"/>
                <a:gd name="T17" fmla="*/ 84 h 172"/>
                <a:gd name="T18" fmla="*/ 10 w 353"/>
                <a:gd name="T19" fmla="*/ 24 h 172"/>
                <a:gd name="T20" fmla="*/ 1 w 353"/>
                <a:gd name="T21" fmla="*/ 10 h 172"/>
                <a:gd name="T22" fmla="*/ 15 w 353"/>
                <a:gd name="T23" fmla="*/ 1 h 172"/>
                <a:gd name="T24" fmla="*/ 284 w 353"/>
                <a:gd name="T25" fmla="*/ 61 h 172"/>
                <a:gd name="T26" fmla="*/ 284 w 353"/>
                <a:gd name="T27" fmla="*/ 61 h 172"/>
                <a:gd name="T28" fmla="*/ 353 w 353"/>
                <a:gd name="T29" fmla="*/ 142 h 172"/>
                <a:gd name="T30" fmla="*/ 353 w 353"/>
                <a:gd name="T31" fmla="*/ 147 h 172"/>
                <a:gd name="T32" fmla="*/ 344 w 353"/>
                <a:gd name="T33" fmla="*/ 159 h 172"/>
                <a:gd name="T34" fmla="*/ 304 w 353"/>
                <a:gd name="T35" fmla="*/ 169 h 172"/>
                <a:gd name="T36" fmla="*/ 279 w 353"/>
                <a:gd name="T3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3" h="172">
                  <a:moveTo>
                    <a:pt x="279" y="172"/>
                  </a:moveTo>
                  <a:cubicBezTo>
                    <a:pt x="272" y="172"/>
                    <a:pt x="266" y="171"/>
                    <a:pt x="259" y="170"/>
                  </a:cubicBezTo>
                  <a:cubicBezTo>
                    <a:pt x="130" y="144"/>
                    <a:pt x="130" y="144"/>
                    <a:pt x="130" y="144"/>
                  </a:cubicBezTo>
                  <a:cubicBezTo>
                    <a:pt x="123" y="142"/>
                    <a:pt x="119" y="136"/>
                    <a:pt x="120" y="130"/>
                  </a:cubicBezTo>
                  <a:cubicBezTo>
                    <a:pt x="122" y="123"/>
                    <a:pt x="128" y="119"/>
                    <a:pt x="134" y="121"/>
                  </a:cubicBezTo>
                  <a:cubicBezTo>
                    <a:pt x="264" y="146"/>
                    <a:pt x="264" y="146"/>
                    <a:pt x="264" y="146"/>
                  </a:cubicBezTo>
                  <a:cubicBezTo>
                    <a:pt x="275" y="149"/>
                    <a:pt x="287" y="148"/>
                    <a:pt x="298" y="146"/>
                  </a:cubicBezTo>
                  <a:cubicBezTo>
                    <a:pt x="329" y="138"/>
                    <a:pt x="329" y="138"/>
                    <a:pt x="329" y="138"/>
                  </a:cubicBezTo>
                  <a:cubicBezTo>
                    <a:pt x="328" y="108"/>
                    <a:pt x="314" y="93"/>
                    <a:pt x="278" y="84"/>
                  </a:cubicBezTo>
                  <a:cubicBezTo>
                    <a:pt x="10" y="24"/>
                    <a:pt x="10" y="24"/>
                    <a:pt x="10" y="24"/>
                  </a:cubicBezTo>
                  <a:cubicBezTo>
                    <a:pt x="4" y="23"/>
                    <a:pt x="0" y="17"/>
                    <a:pt x="1" y="10"/>
                  </a:cubicBezTo>
                  <a:cubicBezTo>
                    <a:pt x="2" y="4"/>
                    <a:pt x="9" y="0"/>
                    <a:pt x="15" y="1"/>
                  </a:cubicBezTo>
                  <a:cubicBezTo>
                    <a:pt x="284" y="61"/>
                    <a:pt x="284" y="61"/>
                    <a:pt x="284" y="61"/>
                  </a:cubicBezTo>
                  <a:cubicBezTo>
                    <a:pt x="284" y="61"/>
                    <a:pt x="284" y="61"/>
                    <a:pt x="284" y="61"/>
                  </a:cubicBezTo>
                  <a:cubicBezTo>
                    <a:pt x="331" y="73"/>
                    <a:pt x="353" y="98"/>
                    <a:pt x="353" y="142"/>
                  </a:cubicBezTo>
                  <a:cubicBezTo>
                    <a:pt x="353" y="147"/>
                    <a:pt x="353" y="147"/>
                    <a:pt x="353" y="147"/>
                  </a:cubicBezTo>
                  <a:cubicBezTo>
                    <a:pt x="353" y="153"/>
                    <a:pt x="349" y="157"/>
                    <a:pt x="344" y="159"/>
                  </a:cubicBezTo>
                  <a:cubicBezTo>
                    <a:pt x="304" y="169"/>
                    <a:pt x="304" y="169"/>
                    <a:pt x="304" y="169"/>
                  </a:cubicBezTo>
                  <a:cubicBezTo>
                    <a:pt x="296" y="171"/>
                    <a:pt x="287" y="172"/>
                    <a:pt x="279"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5" name="Freeform 8">
              <a:extLst>
                <a:ext uri="{FF2B5EF4-FFF2-40B4-BE49-F238E27FC236}">
                  <a16:creationId xmlns:a16="http://schemas.microsoft.com/office/drawing/2014/main" id="{9EE0F387-CE87-44A6-9EF6-23B129FA2C49}"/>
                </a:ext>
              </a:extLst>
            </p:cNvPr>
            <p:cNvSpPr>
              <a:spLocks noChangeAspect="1"/>
            </p:cNvSpPr>
            <p:nvPr/>
          </p:nvSpPr>
          <p:spPr bwMode="auto">
            <a:xfrm>
              <a:off x="6800850" y="1808163"/>
              <a:ext cx="249238" cy="187325"/>
            </a:xfrm>
            <a:custGeom>
              <a:avLst/>
              <a:gdLst>
                <a:gd name="T0" fmla="*/ 471 w 488"/>
                <a:gd name="T1" fmla="*/ 367 h 367"/>
                <a:gd name="T2" fmla="*/ 469 w 488"/>
                <a:gd name="T3" fmla="*/ 367 h 367"/>
                <a:gd name="T4" fmla="*/ 460 w 488"/>
                <a:gd name="T5" fmla="*/ 353 h 367"/>
                <a:gd name="T6" fmla="*/ 464 w 488"/>
                <a:gd name="T7" fmla="*/ 310 h 367"/>
                <a:gd name="T8" fmla="*/ 292 w 488"/>
                <a:gd name="T9" fmla="*/ 24 h 367"/>
                <a:gd name="T10" fmla="*/ 185 w 488"/>
                <a:gd name="T11" fmla="*/ 24 h 367"/>
                <a:gd name="T12" fmla="*/ 25 w 488"/>
                <a:gd name="T13" fmla="*/ 254 h 367"/>
                <a:gd name="T14" fmla="*/ 9 w 488"/>
                <a:gd name="T15" fmla="*/ 261 h 367"/>
                <a:gd name="T16" fmla="*/ 2 w 488"/>
                <a:gd name="T17" fmla="*/ 245 h 367"/>
                <a:gd name="T18" fmla="*/ 170 w 488"/>
                <a:gd name="T19" fmla="*/ 5 h 367"/>
                <a:gd name="T20" fmla="*/ 179 w 488"/>
                <a:gd name="T21" fmla="*/ 0 h 367"/>
                <a:gd name="T22" fmla="*/ 298 w 488"/>
                <a:gd name="T23" fmla="*/ 0 h 367"/>
                <a:gd name="T24" fmla="*/ 307 w 488"/>
                <a:gd name="T25" fmla="*/ 5 h 367"/>
                <a:gd name="T26" fmla="*/ 397 w 488"/>
                <a:gd name="T27" fmla="*/ 123 h 367"/>
                <a:gd name="T28" fmla="*/ 488 w 488"/>
                <a:gd name="T29" fmla="*/ 310 h 367"/>
                <a:gd name="T30" fmla="*/ 483 w 488"/>
                <a:gd name="T31" fmla="*/ 358 h 367"/>
                <a:gd name="T32" fmla="*/ 471 w 488"/>
                <a:gd name="T33"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8" h="367">
                  <a:moveTo>
                    <a:pt x="471" y="367"/>
                  </a:moveTo>
                  <a:cubicBezTo>
                    <a:pt x="470" y="367"/>
                    <a:pt x="469" y="367"/>
                    <a:pt x="469" y="367"/>
                  </a:cubicBezTo>
                  <a:cubicBezTo>
                    <a:pt x="462" y="366"/>
                    <a:pt x="458" y="359"/>
                    <a:pt x="460" y="353"/>
                  </a:cubicBezTo>
                  <a:cubicBezTo>
                    <a:pt x="463" y="339"/>
                    <a:pt x="464" y="325"/>
                    <a:pt x="464" y="310"/>
                  </a:cubicBezTo>
                  <a:cubicBezTo>
                    <a:pt x="464" y="247"/>
                    <a:pt x="343" y="87"/>
                    <a:pt x="292" y="24"/>
                  </a:cubicBezTo>
                  <a:cubicBezTo>
                    <a:pt x="185" y="24"/>
                    <a:pt x="185" y="24"/>
                    <a:pt x="185" y="24"/>
                  </a:cubicBezTo>
                  <a:cubicBezTo>
                    <a:pt x="163" y="49"/>
                    <a:pt x="52" y="182"/>
                    <a:pt x="25" y="254"/>
                  </a:cubicBezTo>
                  <a:cubicBezTo>
                    <a:pt x="22" y="260"/>
                    <a:pt x="15" y="263"/>
                    <a:pt x="9" y="261"/>
                  </a:cubicBezTo>
                  <a:cubicBezTo>
                    <a:pt x="3" y="258"/>
                    <a:pt x="0" y="251"/>
                    <a:pt x="2" y="245"/>
                  </a:cubicBezTo>
                  <a:cubicBezTo>
                    <a:pt x="34" y="163"/>
                    <a:pt x="165" y="11"/>
                    <a:pt x="170" y="5"/>
                  </a:cubicBezTo>
                  <a:cubicBezTo>
                    <a:pt x="172" y="2"/>
                    <a:pt x="176" y="0"/>
                    <a:pt x="179" y="0"/>
                  </a:cubicBezTo>
                  <a:cubicBezTo>
                    <a:pt x="298" y="0"/>
                    <a:pt x="298" y="0"/>
                    <a:pt x="298" y="0"/>
                  </a:cubicBezTo>
                  <a:cubicBezTo>
                    <a:pt x="301" y="0"/>
                    <a:pt x="304" y="2"/>
                    <a:pt x="307" y="5"/>
                  </a:cubicBezTo>
                  <a:cubicBezTo>
                    <a:pt x="307" y="5"/>
                    <a:pt x="352" y="60"/>
                    <a:pt x="397" y="123"/>
                  </a:cubicBezTo>
                  <a:cubicBezTo>
                    <a:pt x="457" y="211"/>
                    <a:pt x="488" y="273"/>
                    <a:pt x="488" y="310"/>
                  </a:cubicBezTo>
                  <a:cubicBezTo>
                    <a:pt x="488" y="326"/>
                    <a:pt x="486" y="342"/>
                    <a:pt x="483" y="358"/>
                  </a:cubicBezTo>
                  <a:cubicBezTo>
                    <a:pt x="481" y="364"/>
                    <a:pt x="477" y="367"/>
                    <a:pt x="471" y="36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6" name="Freeform 9">
              <a:extLst>
                <a:ext uri="{FF2B5EF4-FFF2-40B4-BE49-F238E27FC236}">
                  <a16:creationId xmlns:a16="http://schemas.microsoft.com/office/drawing/2014/main" id="{7F4C82AA-E95B-49A9-8F30-9C66DD8B96EA}"/>
                </a:ext>
              </a:extLst>
            </p:cNvPr>
            <p:cNvSpPr>
              <a:spLocks noChangeAspect="1"/>
            </p:cNvSpPr>
            <p:nvPr/>
          </p:nvSpPr>
          <p:spPr bwMode="auto">
            <a:xfrm>
              <a:off x="6856413" y="1808163"/>
              <a:ext cx="133350" cy="11113"/>
            </a:xfrm>
            <a:custGeom>
              <a:avLst/>
              <a:gdLst>
                <a:gd name="T0" fmla="*/ 249 w 261"/>
                <a:gd name="T1" fmla="*/ 24 h 24"/>
                <a:gd name="T2" fmla="*/ 12 w 261"/>
                <a:gd name="T3" fmla="*/ 24 h 24"/>
                <a:gd name="T4" fmla="*/ 0 w 261"/>
                <a:gd name="T5" fmla="*/ 12 h 24"/>
                <a:gd name="T6" fmla="*/ 12 w 261"/>
                <a:gd name="T7" fmla="*/ 0 h 24"/>
                <a:gd name="T8" fmla="*/ 249 w 261"/>
                <a:gd name="T9" fmla="*/ 0 h 24"/>
                <a:gd name="T10" fmla="*/ 261 w 261"/>
                <a:gd name="T11" fmla="*/ 12 h 24"/>
                <a:gd name="T12" fmla="*/ 249 w 26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61" h="24">
                  <a:moveTo>
                    <a:pt x="249" y="24"/>
                  </a:moveTo>
                  <a:cubicBezTo>
                    <a:pt x="12" y="24"/>
                    <a:pt x="12" y="24"/>
                    <a:pt x="12" y="24"/>
                  </a:cubicBezTo>
                  <a:cubicBezTo>
                    <a:pt x="5" y="24"/>
                    <a:pt x="0" y="19"/>
                    <a:pt x="0" y="12"/>
                  </a:cubicBezTo>
                  <a:cubicBezTo>
                    <a:pt x="0" y="6"/>
                    <a:pt x="5" y="0"/>
                    <a:pt x="12" y="0"/>
                  </a:cubicBezTo>
                  <a:cubicBezTo>
                    <a:pt x="249" y="0"/>
                    <a:pt x="249" y="0"/>
                    <a:pt x="249" y="0"/>
                  </a:cubicBezTo>
                  <a:cubicBezTo>
                    <a:pt x="255" y="0"/>
                    <a:pt x="261" y="6"/>
                    <a:pt x="261" y="12"/>
                  </a:cubicBezTo>
                  <a:cubicBezTo>
                    <a:pt x="261" y="19"/>
                    <a:pt x="255" y="24"/>
                    <a:pt x="249"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7" name="Freeform 10">
              <a:extLst>
                <a:ext uri="{FF2B5EF4-FFF2-40B4-BE49-F238E27FC236}">
                  <a16:creationId xmlns:a16="http://schemas.microsoft.com/office/drawing/2014/main" id="{5E75A477-7849-40D8-B54A-FBC566058C03}"/>
                </a:ext>
              </a:extLst>
            </p:cNvPr>
            <p:cNvSpPr>
              <a:spLocks noChangeAspect="1" noEditPoints="1"/>
            </p:cNvSpPr>
            <p:nvPr/>
          </p:nvSpPr>
          <p:spPr bwMode="auto">
            <a:xfrm>
              <a:off x="6816725" y="1711325"/>
              <a:ext cx="211138" cy="107950"/>
            </a:xfrm>
            <a:custGeom>
              <a:avLst/>
              <a:gdLst>
                <a:gd name="T0" fmla="*/ 267 w 414"/>
                <a:gd name="T1" fmla="*/ 213 h 213"/>
                <a:gd name="T2" fmla="*/ 148 w 414"/>
                <a:gd name="T3" fmla="*/ 213 h 213"/>
                <a:gd name="T4" fmla="*/ 141 w 414"/>
                <a:gd name="T5" fmla="*/ 211 h 213"/>
                <a:gd name="T6" fmla="*/ 1 w 414"/>
                <a:gd name="T7" fmla="*/ 54 h 213"/>
                <a:gd name="T8" fmla="*/ 9 w 414"/>
                <a:gd name="T9" fmla="*/ 28 h 213"/>
                <a:gd name="T10" fmla="*/ 32 w 414"/>
                <a:gd name="T11" fmla="*/ 18 h 213"/>
                <a:gd name="T12" fmla="*/ 134 w 414"/>
                <a:gd name="T13" fmla="*/ 66 h 213"/>
                <a:gd name="T14" fmla="*/ 155 w 414"/>
                <a:gd name="T15" fmla="*/ 40 h 213"/>
                <a:gd name="T16" fmla="*/ 207 w 414"/>
                <a:gd name="T17" fmla="*/ 0 h 213"/>
                <a:gd name="T18" fmla="*/ 260 w 414"/>
                <a:gd name="T19" fmla="*/ 40 h 213"/>
                <a:gd name="T20" fmla="*/ 281 w 414"/>
                <a:gd name="T21" fmla="*/ 66 h 213"/>
                <a:gd name="T22" fmla="*/ 383 w 414"/>
                <a:gd name="T23" fmla="*/ 18 h 213"/>
                <a:gd name="T24" fmla="*/ 406 w 414"/>
                <a:gd name="T25" fmla="*/ 28 h 213"/>
                <a:gd name="T26" fmla="*/ 413 w 414"/>
                <a:gd name="T27" fmla="*/ 54 h 213"/>
                <a:gd name="T28" fmla="*/ 274 w 414"/>
                <a:gd name="T29" fmla="*/ 211 h 213"/>
                <a:gd name="T30" fmla="*/ 267 w 414"/>
                <a:gd name="T31" fmla="*/ 213 h 213"/>
                <a:gd name="T32" fmla="*/ 152 w 414"/>
                <a:gd name="T33" fmla="*/ 189 h 213"/>
                <a:gd name="T34" fmla="*/ 263 w 414"/>
                <a:gd name="T35" fmla="*/ 189 h 213"/>
                <a:gd name="T36" fmla="*/ 390 w 414"/>
                <a:gd name="T37" fmla="*/ 51 h 213"/>
                <a:gd name="T38" fmla="*/ 388 w 414"/>
                <a:gd name="T39" fmla="*/ 43 h 213"/>
                <a:gd name="T40" fmla="*/ 383 w 414"/>
                <a:gd name="T41" fmla="*/ 42 h 213"/>
                <a:gd name="T42" fmla="*/ 285 w 414"/>
                <a:gd name="T43" fmla="*/ 92 h 213"/>
                <a:gd name="T44" fmla="*/ 277 w 414"/>
                <a:gd name="T45" fmla="*/ 95 h 213"/>
                <a:gd name="T46" fmla="*/ 269 w 414"/>
                <a:gd name="T47" fmla="*/ 90 h 213"/>
                <a:gd name="T48" fmla="*/ 207 w 414"/>
                <a:gd name="T49" fmla="*/ 24 h 213"/>
                <a:gd name="T50" fmla="*/ 146 w 414"/>
                <a:gd name="T51" fmla="*/ 90 h 213"/>
                <a:gd name="T52" fmla="*/ 138 w 414"/>
                <a:gd name="T53" fmla="*/ 95 h 213"/>
                <a:gd name="T54" fmla="*/ 129 w 414"/>
                <a:gd name="T55" fmla="*/ 92 h 213"/>
                <a:gd name="T56" fmla="*/ 32 w 414"/>
                <a:gd name="T57" fmla="*/ 42 h 213"/>
                <a:gd name="T58" fmla="*/ 27 w 414"/>
                <a:gd name="T59" fmla="*/ 43 h 213"/>
                <a:gd name="T60" fmla="*/ 25 w 414"/>
                <a:gd name="T61" fmla="*/ 51 h 213"/>
                <a:gd name="T62" fmla="*/ 152 w 414"/>
                <a:gd name="T63" fmla="*/ 18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4" h="213">
                  <a:moveTo>
                    <a:pt x="267" y="213"/>
                  </a:moveTo>
                  <a:cubicBezTo>
                    <a:pt x="148" y="213"/>
                    <a:pt x="148" y="213"/>
                    <a:pt x="148" y="213"/>
                  </a:cubicBezTo>
                  <a:cubicBezTo>
                    <a:pt x="146" y="213"/>
                    <a:pt x="143" y="212"/>
                    <a:pt x="141" y="211"/>
                  </a:cubicBezTo>
                  <a:cubicBezTo>
                    <a:pt x="127" y="200"/>
                    <a:pt x="7" y="108"/>
                    <a:pt x="1" y="54"/>
                  </a:cubicBezTo>
                  <a:cubicBezTo>
                    <a:pt x="0" y="44"/>
                    <a:pt x="3" y="35"/>
                    <a:pt x="9" y="28"/>
                  </a:cubicBezTo>
                  <a:cubicBezTo>
                    <a:pt x="13" y="24"/>
                    <a:pt x="20" y="18"/>
                    <a:pt x="32" y="18"/>
                  </a:cubicBezTo>
                  <a:cubicBezTo>
                    <a:pt x="62" y="18"/>
                    <a:pt x="112" y="51"/>
                    <a:pt x="134" y="66"/>
                  </a:cubicBezTo>
                  <a:cubicBezTo>
                    <a:pt x="139" y="59"/>
                    <a:pt x="146" y="50"/>
                    <a:pt x="155" y="40"/>
                  </a:cubicBezTo>
                  <a:cubicBezTo>
                    <a:pt x="185" y="5"/>
                    <a:pt x="199" y="0"/>
                    <a:pt x="207" y="0"/>
                  </a:cubicBezTo>
                  <a:cubicBezTo>
                    <a:pt x="216" y="0"/>
                    <a:pt x="230" y="5"/>
                    <a:pt x="260" y="40"/>
                  </a:cubicBezTo>
                  <a:cubicBezTo>
                    <a:pt x="268" y="50"/>
                    <a:pt x="276" y="59"/>
                    <a:pt x="281" y="66"/>
                  </a:cubicBezTo>
                  <a:cubicBezTo>
                    <a:pt x="302" y="51"/>
                    <a:pt x="352" y="18"/>
                    <a:pt x="383" y="18"/>
                  </a:cubicBezTo>
                  <a:cubicBezTo>
                    <a:pt x="395" y="18"/>
                    <a:pt x="402" y="24"/>
                    <a:pt x="406" y="28"/>
                  </a:cubicBezTo>
                  <a:cubicBezTo>
                    <a:pt x="412" y="35"/>
                    <a:pt x="414" y="44"/>
                    <a:pt x="413" y="54"/>
                  </a:cubicBezTo>
                  <a:cubicBezTo>
                    <a:pt x="408" y="108"/>
                    <a:pt x="287" y="200"/>
                    <a:pt x="274" y="211"/>
                  </a:cubicBezTo>
                  <a:cubicBezTo>
                    <a:pt x="272" y="212"/>
                    <a:pt x="269" y="213"/>
                    <a:pt x="267" y="213"/>
                  </a:cubicBezTo>
                  <a:close/>
                  <a:moveTo>
                    <a:pt x="152" y="189"/>
                  </a:moveTo>
                  <a:cubicBezTo>
                    <a:pt x="263" y="189"/>
                    <a:pt x="263" y="189"/>
                    <a:pt x="263" y="189"/>
                  </a:cubicBezTo>
                  <a:cubicBezTo>
                    <a:pt x="311" y="152"/>
                    <a:pt x="387" y="84"/>
                    <a:pt x="390" y="51"/>
                  </a:cubicBezTo>
                  <a:cubicBezTo>
                    <a:pt x="390" y="47"/>
                    <a:pt x="389" y="45"/>
                    <a:pt x="388" y="43"/>
                  </a:cubicBezTo>
                  <a:cubicBezTo>
                    <a:pt x="387" y="43"/>
                    <a:pt x="385" y="42"/>
                    <a:pt x="383" y="42"/>
                  </a:cubicBezTo>
                  <a:cubicBezTo>
                    <a:pt x="361" y="42"/>
                    <a:pt x="311" y="73"/>
                    <a:pt x="285" y="92"/>
                  </a:cubicBezTo>
                  <a:cubicBezTo>
                    <a:pt x="283" y="94"/>
                    <a:pt x="280" y="95"/>
                    <a:pt x="277" y="95"/>
                  </a:cubicBezTo>
                  <a:cubicBezTo>
                    <a:pt x="273" y="94"/>
                    <a:pt x="271" y="92"/>
                    <a:pt x="269" y="90"/>
                  </a:cubicBezTo>
                  <a:cubicBezTo>
                    <a:pt x="245" y="56"/>
                    <a:pt x="216" y="25"/>
                    <a:pt x="207" y="24"/>
                  </a:cubicBezTo>
                  <a:cubicBezTo>
                    <a:pt x="198" y="25"/>
                    <a:pt x="170" y="56"/>
                    <a:pt x="146" y="90"/>
                  </a:cubicBezTo>
                  <a:cubicBezTo>
                    <a:pt x="144" y="92"/>
                    <a:pt x="141" y="94"/>
                    <a:pt x="138" y="95"/>
                  </a:cubicBezTo>
                  <a:cubicBezTo>
                    <a:pt x="135" y="95"/>
                    <a:pt x="132" y="94"/>
                    <a:pt x="129" y="92"/>
                  </a:cubicBezTo>
                  <a:cubicBezTo>
                    <a:pt x="103" y="73"/>
                    <a:pt x="54" y="42"/>
                    <a:pt x="32" y="42"/>
                  </a:cubicBezTo>
                  <a:cubicBezTo>
                    <a:pt x="29" y="42"/>
                    <a:pt x="28" y="43"/>
                    <a:pt x="27" y="43"/>
                  </a:cubicBezTo>
                  <a:cubicBezTo>
                    <a:pt x="26" y="45"/>
                    <a:pt x="24" y="47"/>
                    <a:pt x="25" y="51"/>
                  </a:cubicBezTo>
                  <a:cubicBezTo>
                    <a:pt x="28" y="84"/>
                    <a:pt x="103" y="152"/>
                    <a:pt x="152" y="189"/>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1963" name="Gruppieren 1962">
            <a:extLst>
              <a:ext uri="{FF2B5EF4-FFF2-40B4-BE49-F238E27FC236}">
                <a16:creationId xmlns:a16="http://schemas.microsoft.com/office/drawing/2014/main" id="{725FBEE5-BFAE-456F-93E4-B694AA5C9043}"/>
              </a:ext>
            </a:extLst>
          </p:cNvPr>
          <p:cNvGrpSpPr>
            <a:grpSpLocks noChangeAspect="1"/>
          </p:cNvGrpSpPr>
          <p:nvPr/>
        </p:nvGrpSpPr>
        <p:grpSpPr>
          <a:xfrm>
            <a:off x="3665026" y="2724897"/>
            <a:ext cx="277076" cy="285619"/>
            <a:chOff x="7213284" y="1708537"/>
            <a:chExt cx="351123" cy="361950"/>
          </a:xfrm>
          <a:solidFill>
            <a:schemeClr val="bg2"/>
          </a:solidFill>
        </p:grpSpPr>
        <p:sp>
          <p:nvSpPr>
            <p:cNvPr id="1964" name="Freeform 101">
              <a:extLst>
                <a:ext uri="{FF2B5EF4-FFF2-40B4-BE49-F238E27FC236}">
                  <a16:creationId xmlns:a16="http://schemas.microsoft.com/office/drawing/2014/main" id="{F54C6AAF-7B01-4D42-9C86-AA2AFFA54D68}"/>
                </a:ext>
              </a:extLst>
            </p:cNvPr>
            <p:cNvSpPr>
              <a:spLocks/>
            </p:cNvSpPr>
            <p:nvPr/>
          </p:nvSpPr>
          <p:spPr bwMode="auto">
            <a:xfrm flipV="1">
              <a:off x="7270517" y="1836921"/>
              <a:ext cx="293890" cy="233566"/>
            </a:xfrm>
            <a:custGeom>
              <a:avLst/>
              <a:gdLst>
                <a:gd name="T0" fmla="*/ 15 w 78"/>
                <a:gd name="T1" fmla="*/ 62 h 62"/>
                <a:gd name="T2" fmla="*/ 14 w 78"/>
                <a:gd name="T3" fmla="*/ 62 h 62"/>
                <a:gd name="T4" fmla="*/ 6 w 78"/>
                <a:gd name="T5" fmla="*/ 22 h 62"/>
                <a:gd name="T6" fmla="*/ 39 w 78"/>
                <a:gd name="T7" fmla="*/ 0 h 62"/>
                <a:gd name="T8" fmla="*/ 72 w 78"/>
                <a:gd name="T9" fmla="*/ 22 h 62"/>
                <a:gd name="T10" fmla="*/ 64 w 78"/>
                <a:gd name="T11" fmla="*/ 61 h 62"/>
                <a:gd name="T12" fmla="*/ 62 w 78"/>
                <a:gd name="T13" fmla="*/ 61 h 62"/>
                <a:gd name="T14" fmla="*/ 62 w 78"/>
                <a:gd name="T15" fmla="*/ 59 h 62"/>
                <a:gd name="T16" fmla="*/ 68 w 78"/>
                <a:gd name="T17" fmla="*/ 24 h 62"/>
                <a:gd name="T18" fmla="*/ 39 w 78"/>
                <a:gd name="T19" fmla="*/ 4 h 62"/>
                <a:gd name="T20" fmla="*/ 9 w 78"/>
                <a:gd name="T21" fmla="*/ 24 h 62"/>
                <a:gd name="T22" fmla="*/ 17 w 78"/>
                <a:gd name="T23" fmla="*/ 59 h 62"/>
                <a:gd name="T24" fmla="*/ 17 w 78"/>
                <a:gd name="T25" fmla="*/ 62 h 62"/>
                <a:gd name="T26" fmla="*/ 15 w 78"/>
                <a:gd name="T2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62">
                  <a:moveTo>
                    <a:pt x="15" y="62"/>
                  </a:moveTo>
                  <a:cubicBezTo>
                    <a:pt x="15" y="62"/>
                    <a:pt x="14" y="62"/>
                    <a:pt x="14" y="62"/>
                  </a:cubicBezTo>
                  <a:cubicBezTo>
                    <a:pt x="3" y="51"/>
                    <a:pt x="0" y="36"/>
                    <a:pt x="6" y="22"/>
                  </a:cubicBezTo>
                  <a:cubicBezTo>
                    <a:pt x="11" y="9"/>
                    <a:pt x="24" y="0"/>
                    <a:pt x="39" y="0"/>
                  </a:cubicBezTo>
                  <a:cubicBezTo>
                    <a:pt x="54" y="0"/>
                    <a:pt x="67" y="9"/>
                    <a:pt x="72" y="22"/>
                  </a:cubicBezTo>
                  <a:cubicBezTo>
                    <a:pt x="78" y="36"/>
                    <a:pt x="75" y="51"/>
                    <a:pt x="64" y="61"/>
                  </a:cubicBezTo>
                  <a:cubicBezTo>
                    <a:pt x="64" y="62"/>
                    <a:pt x="62" y="62"/>
                    <a:pt x="62" y="61"/>
                  </a:cubicBezTo>
                  <a:cubicBezTo>
                    <a:pt x="61" y="61"/>
                    <a:pt x="61" y="59"/>
                    <a:pt x="62" y="59"/>
                  </a:cubicBezTo>
                  <a:cubicBezTo>
                    <a:pt x="71" y="49"/>
                    <a:pt x="74" y="36"/>
                    <a:pt x="68" y="24"/>
                  </a:cubicBezTo>
                  <a:cubicBezTo>
                    <a:pt x="63" y="12"/>
                    <a:pt x="52" y="4"/>
                    <a:pt x="39" y="4"/>
                  </a:cubicBezTo>
                  <a:cubicBezTo>
                    <a:pt x="26" y="4"/>
                    <a:pt x="14" y="12"/>
                    <a:pt x="9" y="24"/>
                  </a:cubicBezTo>
                  <a:cubicBezTo>
                    <a:pt x="4" y="36"/>
                    <a:pt x="7" y="50"/>
                    <a:pt x="17" y="59"/>
                  </a:cubicBezTo>
                  <a:cubicBezTo>
                    <a:pt x="17" y="60"/>
                    <a:pt x="17" y="61"/>
                    <a:pt x="17" y="62"/>
                  </a:cubicBezTo>
                  <a:cubicBezTo>
                    <a:pt x="16" y="62"/>
                    <a:pt x="16" y="62"/>
                    <a:pt x="1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965" name="Gruppieren 1964">
              <a:extLst>
                <a:ext uri="{FF2B5EF4-FFF2-40B4-BE49-F238E27FC236}">
                  <a16:creationId xmlns:a16="http://schemas.microsoft.com/office/drawing/2014/main" id="{308C1EBD-6F9C-4976-862A-5468C54E203E}"/>
                </a:ext>
              </a:extLst>
            </p:cNvPr>
            <p:cNvGrpSpPr/>
            <p:nvPr/>
          </p:nvGrpSpPr>
          <p:grpSpPr>
            <a:xfrm>
              <a:off x="7213284" y="1708537"/>
              <a:ext cx="340294" cy="180975"/>
              <a:chOff x="7213284" y="1708537"/>
              <a:chExt cx="340294" cy="180975"/>
            </a:xfrm>
            <a:grpFill/>
          </p:grpSpPr>
          <p:sp>
            <p:nvSpPr>
              <p:cNvPr id="1967" name="Freeform 105">
                <a:extLst>
                  <a:ext uri="{FF2B5EF4-FFF2-40B4-BE49-F238E27FC236}">
                    <a16:creationId xmlns:a16="http://schemas.microsoft.com/office/drawing/2014/main" id="{C11E4405-7969-4BFB-9748-00EA6E4C075A}"/>
                  </a:ext>
                </a:extLst>
              </p:cNvPr>
              <p:cNvSpPr>
                <a:spLocks/>
              </p:cNvSpPr>
              <p:nvPr/>
            </p:nvSpPr>
            <p:spPr bwMode="auto">
              <a:xfrm flipV="1">
                <a:off x="7213284" y="1708537"/>
                <a:ext cx="340294" cy="180975"/>
              </a:xfrm>
              <a:custGeom>
                <a:avLst/>
                <a:gdLst>
                  <a:gd name="T0" fmla="*/ 88 w 90"/>
                  <a:gd name="T1" fmla="*/ 48 h 48"/>
                  <a:gd name="T2" fmla="*/ 87 w 90"/>
                  <a:gd name="T3" fmla="*/ 47 h 48"/>
                  <a:gd name="T4" fmla="*/ 58 w 90"/>
                  <a:gd name="T5" fmla="*/ 21 h 48"/>
                  <a:gd name="T6" fmla="*/ 39 w 90"/>
                  <a:gd name="T7" fmla="*/ 36 h 48"/>
                  <a:gd name="T8" fmla="*/ 37 w 90"/>
                  <a:gd name="T9" fmla="*/ 35 h 48"/>
                  <a:gd name="T10" fmla="*/ 1 w 90"/>
                  <a:gd name="T11" fmla="*/ 3 h 48"/>
                  <a:gd name="T12" fmla="*/ 1 w 90"/>
                  <a:gd name="T13" fmla="*/ 1 h 48"/>
                  <a:gd name="T14" fmla="*/ 3 w 90"/>
                  <a:gd name="T15" fmla="*/ 1 h 48"/>
                  <a:gd name="T16" fmla="*/ 38 w 90"/>
                  <a:gd name="T17" fmla="*/ 31 h 48"/>
                  <a:gd name="T18" fmla="*/ 57 w 90"/>
                  <a:gd name="T19" fmla="*/ 16 h 48"/>
                  <a:gd name="T20" fmla="*/ 59 w 90"/>
                  <a:gd name="T21" fmla="*/ 17 h 48"/>
                  <a:gd name="T22" fmla="*/ 89 w 90"/>
                  <a:gd name="T23" fmla="*/ 45 h 48"/>
                  <a:gd name="T24" fmla="*/ 89 w 90"/>
                  <a:gd name="T25" fmla="*/ 47 h 48"/>
                  <a:gd name="T26" fmla="*/ 88 w 90"/>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48">
                    <a:moveTo>
                      <a:pt x="88" y="48"/>
                    </a:moveTo>
                    <a:cubicBezTo>
                      <a:pt x="88" y="48"/>
                      <a:pt x="87" y="48"/>
                      <a:pt x="87" y="47"/>
                    </a:cubicBezTo>
                    <a:cubicBezTo>
                      <a:pt x="58" y="21"/>
                      <a:pt x="58" y="21"/>
                      <a:pt x="58" y="21"/>
                    </a:cubicBezTo>
                    <a:cubicBezTo>
                      <a:pt x="39" y="36"/>
                      <a:pt x="39" y="36"/>
                      <a:pt x="39" y="36"/>
                    </a:cubicBezTo>
                    <a:cubicBezTo>
                      <a:pt x="38" y="36"/>
                      <a:pt x="37" y="36"/>
                      <a:pt x="37" y="35"/>
                    </a:cubicBezTo>
                    <a:cubicBezTo>
                      <a:pt x="1" y="3"/>
                      <a:pt x="1" y="3"/>
                      <a:pt x="1" y="3"/>
                    </a:cubicBezTo>
                    <a:cubicBezTo>
                      <a:pt x="0" y="3"/>
                      <a:pt x="0" y="1"/>
                      <a:pt x="1" y="1"/>
                    </a:cubicBezTo>
                    <a:cubicBezTo>
                      <a:pt x="1" y="0"/>
                      <a:pt x="3" y="0"/>
                      <a:pt x="3" y="1"/>
                    </a:cubicBezTo>
                    <a:cubicBezTo>
                      <a:pt x="38" y="31"/>
                      <a:pt x="38" y="31"/>
                      <a:pt x="38" y="31"/>
                    </a:cubicBezTo>
                    <a:cubicBezTo>
                      <a:pt x="57" y="16"/>
                      <a:pt x="57" y="16"/>
                      <a:pt x="57" y="16"/>
                    </a:cubicBezTo>
                    <a:cubicBezTo>
                      <a:pt x="58" y="16"/>
                      <a:pt x="59" y="16"/>
                      <a:pt x="59" y="17"/>
                    </a:cubicBezTo>
                    <a:cubicBezTo>
                      <a:pt x="89" y="45"/>
                      <a:pt x="89" y="45"/>
                      <a:pt x="89" y="45"/>
                    </a:cubicBezTo>
                    <a:cubicBezTo>
                      <a:pt x="90" y="45"/>
                      <a:pt x="90" y="47"/>
                      <a:pt x="89" y="47"/>
                    </a:cubicBezTo>
                    <a:cubicBezTo>
                      <a:pt x="89" y="48"/>
                      <a:pt x="89" y="48"/>
                      <a:pt x="8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68" name="Freeform 106">
                <a:extLst>
                  <a:ext uri="{FF2B5EF4-FFF2-40B4-BE49-F238E27FC236}">
                    <a16:creationId xmlns:a16="http://schemas.microsoft.com/office/drawing/2014/main" id="{34DB08C3-9DA3-4AE1-B8A8-AEE68CDF2F62}"/>
                  </a:ext>
                </a:extLst>
              </p:cNvPr>
              <p:cNvSpPr>
                <a:spLocks/>
              </p:cNvSpPr>
              <p:nvPr/>
            </p:nvSpPr>
            <p:spPr bwMode="auto">
              <a:xfrm flipV="1">
                <a:off x="7477772" y="1708549"/>
                <a:ext cx="75793" cy="75793"/>
              </a:xfrm>
              <a:custGeom>
                <a:avLst/>
                <a:gdLst>
                  <a:gd name="T0" fmla="*/ 18 w 20"/>
                  <a:gd name="T1" fmla="*/ 20 h 20"/>
                  <a:gd name="T2" fmla="*/ 2 w 20"/>
                  <a:gd name="T3" fmla="*/ 20 h 20"/>
                  <a:gd name="T4" fmla="*/ 0 w 20"/>
                  <a:gd name="T5" fmla="*/ 18 h 20"/>
                  <a:gd name="T6" fmla="*/ 2 w 20"/>
                  <a:gd name="T7" fmla="*/ 16 h 20"/>
                  <a:gd name="T8" fmla="*/ 16 w 20"/>
                  <a:gd name="T9" fmla="*/ 16 h 20"/>
                  <a:gd name="T10" fmla="*/ 16 w 20"/>
                  <a:gd name="T11" fmla="*/ 2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2" y="20"/>
                      <a:pt x="2" y="20"/>
                      <a:pt x="2" y="20"/>
                    </a:cubicBezTo>
                    <a:cubicBezTo>
                      <a:pt x="1" y="20"/>
                      <a:pt x="0" y="19"/>
                      <a:pt x="0" y="18"/>
                    </a:cubicBezTo>
                    <a:cubicBezTo>
                      <a:pt x="0" y="17"/>
                      <a:pt x="1" y="16"/>
                      <a:pt x="2" y="16"/>
                    </a:cubicBezTo>
                    <a:cubicBezTo>
                      <a:pt x="16" y="16"/>
                      <a:pt x="16" y="16"/>
                      <a:pt x="16" y="16"/>
                    </a:cubicBezTo>
                    <a:cubicBezTo>
                      <a:pt x="16" y="2"/>
                      <a:pt x="16" y="2"/>
                      <a:pt x="16" y="2"/>
                    </a:cubicBezTo>
                    <a:cubicBezTo>
                      <a:pt x="16" y="1"/>
                      <a:pt x="17"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966" name="Freeform 12">
              <a:extLst>
                <a:ext uri="{FF2B5EF4-FFF2-40B4-BE49-F238E27FC236}">
                  <a16:creationId xmlns:a16="http://schemas.microsoft.com/office/drawing/2014/main" id="{E4D78CCE-D3E9-484F-9091-42A77730D6F0}"/>
                </a:ext>
              </a:extLst>
            </p:cNvPr>
            <p:cNvSpPr>
              <a:spLocks/>
            </p:cNvSpPr>
            <p:nvPr/>
          </p:nvSpPr>
          <p:spPr bwMode="auto">
            <a:xfrm>
              <a:off x="7337073" y="1872544"/>
              <a:ext cx="134938" cy="132353"/>
            </a:xfrm>
            <a:custGeom>
              <a:avLst/>
              <a:gdLst>
                <a:gd name="T0" fmla="*/ 0 w 508"/>
                <a:gd name="T1" fmla="*/ 311 h 498"/>
                <a:gd name="T2" fmla="*/ 91 w 508"/>
                <a:gd name="T3" fmla="*/ 311 h 498"/>
                <a:gd name="T4" fmla="*/ 332 w 508"/>
                <a:gd name="T5" fmla="*/ 498 h 498"/>
                <a:gd name="T6" fmla="*/ 490 w 508"/>
                <a:gd name="T7" fmla="*/ 440 h 498"/>
                <a:gd name="T8" fmla="*/ 490 w 508"/>
                <a:gd name="T9" fmla="*/ 382 h 498"/>
                <a:gd name="T10" fmla="*/ 332 w 508"/>
                <a:gd name="T11" fmla="*/ 456 h 498"/>
                <a:gd name="T12" fmla="*/ 134 w 508"/>
                <a:gd name="T13" fmla="*/ 311 h 498"/>
                <a:gd name="T14" fmla="*/ 409 w 508"/>
                <a:gd name="T15" fmla="*/ 311 h 498"/>
                <a:gd name="T16" fmla="*/ 426 w 508"/>
                <a:gd name="T17" fmla="*/ 270 h 498"/>
                <a:gd name="T18" fmla="*/ 125 w 508"/>
                <a:gd name="T19" fmla="*/ 270 h 498"/>
                <a:gd name="T20" fmla="*/ 124 w 508"/>
                <a:gd name="T21" fmla="*/ 249 h 498"/>
                <a:gd name="T22" fmla="*/ 125 w 508"/>
                <a:gd name="T23" fmla="*/ 228 h 498"/>
                <a:gd name="T24" fmla="*/ 444 w 508"/>
                <a:gd name="T25" fmla="*/ 228 h 498"/>
                <a:gd name="T26" fmla="*/ 461 w 508"/>
                <a:gd name="T27" fmla="*/ 187 h 498"/>
                <a:gd name="T28" fmla="*/ 134 w 508"/>
                <a:gd name="T29" fmla="*/ 187 h 498"/>
                <a:gd name="T30" fmla="*/ 332 w 508"/>
                <a:gd name="T31" fmla="*/ 42 h 498"/>
                <a:gd name="T32" fmla="*/ 490 w 508"/>
                <a:gd name="T33" fmla="*/ 116 h 498"/>
                <a:gd name="T34" fmla="*/ 508 w 508"/>
                <a:gd name="T35" fmla="*/ 74 h 498"/>
                <a:gd name="T36" fmla="*/ 332 w 508"/>
                <a:gd name="T37" fmla="*/ 0 h 498"/>
                <a:gd name="T38" fmla="*/ 91 w 508"/>
                <a:gd name="T39" fmla="*/ 187 h 498"/>
                <a:gd name="T40" fmla="*/ 17 w 508"/>
                <a:gd name="T41" fmla="*/ 187 h 498"/>
                <a:gd name="T42" fmla="*/ 0 w 508"/>
                <a:gd name="T43" fmla="*/ 228 h 498"/>
                <a:gd name="T44" fmla="*/ 84 w 508"/>
                <a:gd name="T45" fmla="*/ 228 h 498"/>
                <a:gd name="T46" fmla="*/ 83 w 508"/>
                <a:gd name="T47" fmla="*/ 249 h 498"/>
                <a:gd name="T48" fmla="*/ 84 w 508"/>
                <a:gd name="T49" fmla="*/ 270 h 498"/>
                <a:gd name="T50" fmla="*/ 17 w 508"/>
                <a:gd name="T51" fmla="*/ 270 h 498"/>
                <a:gd name="T52" fmla="*/ 0 w 508"/>
                <a:gd name="T53" fmla="*/ 31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8" h="498">
                  <a:moveTo>
                    <a:pt x="0" y="311"/>
                  </a:moveTo>
                  <a:cubicBezTo>
                    <a:pt x="91" y="311"/>
                    <a:pt x="91" y="311"/>
                    <a:pt x="91" y="311"/>
                  </a:cubicBezTo>
                  <a:cubicBezTo>
                    <a:pt x="119" y="420"/>
                    <a:pt x="220" y="498"/>
                    <a:pt x="332" y="498"/>
                  </a:cubicBezTo>
                  <a:cubicBezTo>
                    <a:pt x="389" y="498"/>
                    <a:pt x="446" y="477"/>
                    <a:pt x="490" y="440"/>
                  </a:cubicBezTo>
                  <a:cubicBezTo>
                    <a:pt x="490" y="382"/>
                    <a:pt x="490" y="382"/>
                    <a:pt x="490" y="382"/>
                  </a:cubicBezTo>
                  <a:cubicBezTo>
                    <a:pt x="450" y="429"/>
                    <a:pt x="394" y="456"/>
                    <a:pt x="332" y="456"/>
                  </a:cubicBezTo>
                  <a:cubicBezTo>
                    <a:pt x="241" y="456"/>
                    <a:pt x="162" y="396"/>
                    <a:pt x="134" y="311"/>
                  </a:cubicBezTo>
                  <a:cubicBezTo>
                    <a:pt x="409" y="311"/>
                    <a:pt x="409" y="311"/>
                    <a:pt x="409" y="311"/>
                  </a:cubicBezTo>
                  <a:cubicBezTo>
                    <a:pt x="426" y="270"/>
                    <a:pt x="426" y="270"/>
                    <a:pt x="426" y="270"/>
                  </a:cubicBezTo>
                  <a:cubicBezTo>
                    <a:pt x="125" y="270"/>
                    <a:pt x="125" y="270"/>
                    <a:pt x="125" y="270"/>
                  </a:cubicBezTo>
                  <a:cubicBezTo>
                    <a:pt x="125" y="263"/>
                    <a:pt x="124" y="256"/>
                    <a:pt x="124" y="249"/>
                  </a:cubicBezTo>
                  <a:cubicBezTo>
                    <a:pt x="124" y="242"/>
                    <a:pt x="125" y="235"/>
                    <a:pt x="125" y="228"/>
                  </a:cubicBezTo>
                  <a:cubicBezTo>
                    <a:pt x="444" y="228"/>
                    <a:pt x="444" y="228"/>
                    <a:pt x="444" y="228"/>
                  </a:cubicBezTo>
                  <a:cubicBezTo>
                    <a:pt x="461" y="187"/>
                    <a:pt x="461" y="187"/>
                    <a:pt x="461" y="187"/>
                  </a:cubicBezTo>
                  <a:cubicBezTo>
                    <a:pt x="134" y="187"/>
                    <a:pt x="134" y="187"/>
                    <a:pt x="134" y="187"/>
                  </a:cubicBezTo>
                  <a:cubicBezTo>
                    <a:pt x="157" y="103"/>
                    <a:pt x="246" y="42"/>
                    <a:pt x="332" y="42"/>
                  </a:cubicBezTo>
                  <a:cubicBezTo>
                    <a:pt x="393" y="42"/>
                    <a:pt x="451" y="70"/>
                    <a:pt x="490" y="116"/>
                  </a:cubicBezTo>
                  <a:cubicBezTo>
                    <a:pt x="508" y="74"/>
                    <a:pt x="508" y="74"/>
                    <a:pt x="508" y="74"/>
                  </a:cubicBezTo>
                  <a:cubicBezTo>
                    <a:pt x="461" y="27"/>
                    <a:pt x="398" y="0"/>
                    <a:pt x="332" y="0"/>
                  </a:cubicBezTo>
                  <a:cubicBezTo>
                    <a:pt x="221" y="0"/>
                    <a:pt x="118" y="79"/>
                    <a:pt x="91" y="187"/>
                  </a:cubicBezTo>
                  <a:cubicBezTo>
                    <a:pt x="17" y="187"/>
                    <a:pt x="17" y="187"/>
                    <a:pt x="17" y="187"/>
                  </a:cubicBezTo>
                  <a:cubicBezTo>
                    <a:pt x="0" y="228"/>
                    <a:pt x="0" y="228"/>
                    <a:pt x="0" y="228"/>
                  </a:cubicBezTo>
                  <a:cubicBezTo>
                    <a:pt x="84" y="228"/>
                    <a:pt x="84" y="228"/>
                    <a:pt x="84" y="228"/>
                  </a:cubicBezTo>
                  <a:cubicBezTo>
                    <a:pt x="83" y="235"/>
                    <a:pt x="83" y="242"/>
                    <a:pt x="83" y="249"/>
                  </a:cubicBezTo>
                  <a:cubicBezTo>
                    <a:pt x="83" y="256"/>
                    <a:pt x="83" y="263"/>
                    <a:pt x="84" y="270"/>
                  </a:cubicBezTo>
                  <a:cubicBezTo>
                    <a:pt x="17" y="270"/>
                    <a:pt x="17" y="270"/>
                    <a:pt x="17" y="270"/>
                  </a:cubicBezTo>
                  <a:cubicBezTo>
                    <a:pt x="0" y="311"/>
                    <a:pt x="0" y="311"/>
                    <a:pt x="0" y="311"/>
                  </a:cubicBezTo>
                  <a:close/>
                </a:path>
              </a:pathLst>
            </a:custGeom>
            <a:grpFill/>
            <a:ln w="4763" cap="flat">
              <a:noFill/>
              <a:prstDash val="solid"/>
              <a:miter lim="800000"/>
              <a:headEnd/>
              <a:tailEnd/>
            </a:ln>
            <a:extLst>
              <a:ext uri="{91240B29-F687-4F45-9708-019B960494DF}">
                <a14:hiddenLine xmlns:a14="http://schemas.microsoft.com/office/drawing/2010/main" w="4763" cap="flat">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983" name="Group 167">
            <a:extLst>
              <a:ext uri="{FF2B5EF4-FFF2-40B4-BE49-F238E27FC236}">
                <a16:creationId xmlns:a16="http://schemas.microsoft.com/office/drawing/2014/main" id="{686D8ABA-6B0C-4E9E-9126-297A54A03B7B}"/>
              </a:ext>
            </a:extLst>
          </p:cNvPr>
          <p:cNvGrpSpPr>
            <a:grpSpLocks noChangeAspect="1"/>
          </p:cNvGrpSpPr>
          <p:nvPr/>
        </p:nvGrpSpPr>
        <p:grpSpPr>
          <a:xfrm>
            <a:off x="3203244" y="2724897"/>
            <a:ext cx="284403" cy="285619"/>
            <a:chOff x="7791450" y="2930525"/>
            <a:chExt cx="371475" cy="373063"/>
          </a:xfrm>
          <a:solidFill>
            <a:schemeClr val="bg2"/>
          </a:solidFill>
          <a:effectLst/>
        </p:grpSpPr>
        <p:sp>
          <p:nvSpPr>
            <p:cNvPr id="1984" name="Freeform 120">
              <a:extLst>
                <a:ext uri="{FF2B5EF4-FFF2-40B4-BE49-F238E27FC236}">
                  <a16:creationId xmlns:a16="http://schemas.microsoft.com/office/drawing/2014/main" id="{042416E9-A483-4259-8E0C-B7ED197965EC}"/>
                </a:ext>
              </a:extLst>
            </p:cNvPr>
            <p:cNvSpPr>
              <a:spLocks noEditPoints="1"/>
            </p:cNvSpPr>
            <p:nvPr/>
          </p:nvSpPr>
          <p:spPr bwMode="auto">
            <a:xfrm>
              <a:off x="7791450" y="2930525"/>
              <a:ext cx="371475" cy="373063"/>
            </a:xfrm>
            <a:custGeom>
              <a:avLst/>
              <a:gdLst>
                <a:gd name="T0" fmla="*/ 49 w 96"/>
                <a:gd name="T1" fmla="*/ 97 h 97"/>
                <a:gd name="T2" fmla="*/ 47 w 96"/>
                <a:gd name="T3" fmla="*/ 95 h 97"/>
                <a:gd name="T4" fmla="*/ 49 w 96"/>
                <a:gd name="T5" fmla="*/ 93 h 97"/>
                <a:gd name="T6" fmla="*/ 75 w 96"/>
                <a:gd name="T7" fmla="*/ 83 h 97"/>
                <a:gd name="T8" fmla="*/ 78 w 96"/>
                <a:gd name="T9" fmla="*/ 84 h 97"/>
                <a:gd name="T10" fmla="*/ 78 w 96"/>
                <a:gd name="T11" fmla="*/ 87 h 97"/>
                <a:gd name="T12" fmla="*/ 49 w 96"/>
                <a:gd name="T13" fmla="*/ 97 h 97"/>
                <a:gd name="T14" fmla="*/ 49 w 96"/>
                <a:gd name="T15" fmla="*/ 97 h 97"/>
                <a:gd name="T16" fmla="*/ 38 w 96"/>
                <a:gd name="T17" fmla="*/ 96 h 97"/>
                <a:gd name="T18" fmla="*/ 37 w 96"/>
                <a:gd name="T19" fmla="*/ 96 h 97"/>
                <a:gd name="T20" fmla="*/ 11 w 96"/>
                <a:gd name="T21" fmla="*/ 80 h 97"/>
                <a:gd name="T22" fmla="*/ 11 w 96"/>
                <a:gd name="T23" fmla="*/ 77 h 97"/>
                <a:gd name="T24" fmla="*/ 14 w 96"/>
                <a:gd name="T25" fmla="*/ 77 h 97"/>
                <a:gd name="T26" fmla="*/ 38 w 96"/>
                <a:gd name="T27" fmla="*/ 92 h 97"/>
                <a:gd name="T28" fmla="*/ 40 w 96"/>
                <a:gd name="T29" fmla="*/ 94 h 97"/>
                <a:gd name="T30" fmla="*/ 38 w 96"/>
                <a:gd name="T31" fmla="*/ 96 h 97"/>
                <a:gd name="T32" fmla="*/ 85 w 96"/>
                <a:gd name="T33" fmla="*/ 79 h 97"/>
                <a:gd name="T34" fmla="*/ 83 w 96"/>
                <a:gd name="T35" fmla="*/ 79 h 97"/>
                <a:gd name="T36" fmla="*/ 83 w 96"/>
                <a:gd name="T37" fmla="*/ 76 h 97"/>
                <a:gd name="T38" fmla="*/ 92 w 96"/>
                <a:gd name="T39" fmla="*/ 49 h 97"/>
                <a:gd name="T40" fmla="*/ 94 w 96"/>
                <a:gd name="T41" fmla="*/ 47 h 97"/>
                <a:gd name="T42" fmla="*/ 96 w 96"/>
                <a:gd name="T43" fmla="*/ 49 h 97"/>
                <a:gd name="T44" fmla="*/ 96 w 96"/>
                <a:gd name="T45" fmla="*/ 49 h 97"/>
                <a:gd name="T46" fmla="*/ 86 w 96"/>
                <a:gd name="T47" fmla="*/ 78 h 97"/>
                <a:gd name="T48" fmla="*/ 85 w 96"/>
                <a:gd name="T49" fmla="*/ 79 h 97"/>
                <a:gd name="T50" fmla="*/ 7 w 96"/>
                <a:gd name="T51" fmla="*/ 71 h 97"/>
                <a:gd name="T52" fmla="*/ 5 w 96"/>
                <a:gd name="T53" fmla="*/ 70 h 97"/>
                <a:gd name="T54" fmla="*/ 0 w 96"/>
                <a:gd name="T55" fmla="*/ 49 h 97"/>
                <a:gd name="T56" fmla="*/ 1 w 96"/>
                <a:gd name="T57" fmla="*/ 39 h 97"/>
                <a:gd name="T58" fmla="*/ 3 w 96"/>
                <a:gd name="T59" fmla="*/ 38 h 97"/>
                <a:gd name="T60" fmla="*/ 5 w 96"/>
                <a:gd name="T61" fmla="*/ 40 h 97"/>
                <a:gd name="T62" fmla="*/ 4 w 96"/>
                <a:gd name="T63" fmla="*/ 49 h 97"/>
                <a:gd name="T64" fmla="*/ 8 w 96"/>
                <a:gd name="T65" fmla="*/ 68 h 97"/>
                <a:gd name="T66" fmla="*/ 7 w 96"/>
                <a:gd name="T67" fmla="*/ 71 h 97"/>
                <a:gd name="T68" fmla="*/ 7 w 96"/>
                <a:gd name="T69" fmla="*/ 71 h 97"/>
                <a:gd name="T70" fmla="*/ 93 w 96"/>
                <a:gd name="T71" fmla="*/ 40 h 97"/>
                <a:gd name="T72" fmla="*/ 91 w 96"/>
                <a:gd name="T73" fmla="*/ 38 h 97"/>
                <a:gd name="T74" fmla="*/ 75 w 96"/>
                <a:gd name="T75" fmla="*/ 14 h 97"/>
                <a:gd name="T76" fmla="*/ 75 w 96"/>
                <a:gd name="T77" fmla="*/ 12 h 97"/>
                <a:gd name="T78" fmla="*/ 78 w 96"/>
                <a:gd name="T79" fmla="*/ 11 h 97"/>
                <a:gd name="T80" fmla="*/ 95 w 96"/>
                <a:gd name="T81" fmla="*/ 37 h 97"/>
                <a:gd name="T82" fmla="*/ 93 w 96"/>
                <a:gd name="T83" fmla="*/ 40 h 97"/>
                <a:gd name="T84" fmla="*/ 93 w 96"/>
                <a:gd name="T85" fmla="*/ 40 h 97"/>
                <a:gd name="T86" fmla="*/ 6 w 96"/>
                <a:gd name="T87" fmla="*/ 31 h 97"/>
                <a:gd name="T88" fmla="*/ 6 w 96"/>
                <a:gd name="T89" fmla="*/ 31 h 97"/>
                <a:gd name="T90" fmla="*/ 5 w 96"/>
                <a:gd name="T91" fmla="*/ 28 h 97"/>
                <a:gd name="T92" fmla="*/ 26 w 96"/>
                <a:gd name="T93" fmla="*/ 6 h 97"/>
                <a:gd name="T94" fmla="*/ 29 w 96"/>
                <a:gd name="T95" fmla="*/ 7 h 97"/>
                <a:gd name="T96" fmla="*/ 28 w 96"/>
                <a:gd name="T97" fmla="*/ 10 h 97"/>
                <a:gd name="T98" fmla="*/ 8 w 96"/>
                <a:gd name="T99" fmla="*/ 30 h 97"/>
                <a:gd name="T100" fmla="*/ 6 w 96"/>
                <a:gd name="T101" fmla="*/ 31 h 97"/>
                <a:gd name="T102" fmla="*/ 67 w 96"/>
                <a:gd name="T103" fmla="*/ 9 h 97"/>
                <a:gd name="T104" fmla="*/ 66 w 96"/>
                <a:gd name="T105" fmla="*/ 9 h 97"/>
                <a:gd name="T106" fmla="*/ 38 w 96"/>
                <a:gd name="T107" fmla="*/ 6 h 97"/>
                <a:gd name="T108" fmla="*/ 36 w 96"/>
                <a:gd name="T109" fmla="*/ 5 h 97"/>
                <a:gd name="T110" fmla="*/ 37 w 96"/>
                <a:gd name="T111" fmla="*/ 2 h 97"/>
                <a:gd name="T112" fmla="*/ 68 w 96"/>
                <a:gd name="T113" fmla="*/ 5 h 97"/>
                <a:gd name="T114" fmla="*/ 69 w 96"/>
                <a:gd name="T115" fmla="*/ 8 h 97"/>
                <a:gd name="T116" fmla="*/ 67 w 96"/>
                <a:gd name="T117"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7">
                  <a:moveTo>
                    <a:pt x="49" y="97"/>
                  </a:moveTo>
                  <a:cubicBezTo>
                    <a:pt x="48" y="97"/>
                    <a:pt x="47" y="96"/>
                    <a:pt x="47" y="95"/>
                  </a:cubicBezTo>
                  <a:cubicBezTo>
                    <a:pt x="47" y="94"/>
                    <a:pt x="48" y="93"/>
                    <a:pt x="49" y="93"/>
                  </a:cubicBezTo>
                  <a:cubicBezTo>
                    <a:pt x="59" y="93"/>
                    <a:pt x="68" y="89"/>
                    <a:pt x="75" y="83"/>
                  </a:cubicBezTo>
                  <a:cubicBezTo>
                    <a:pt x="76" y="83"/>
                    <a:pt x="78" y="83"/>
                    <a:pt x="78" y="84"/>
                  </a:cubicBezTo>
                  <a:cubicBezTo>
                    <a:pt x="79" y="85"/>
                    <a:pt x="79" y="86"/>
                    <a:pt x="78" y="87"/>
                  </a:cubicBezTo>
                  <a:cubicBezTo>
                    <a:pt x="70" y="93"/>
                    <a:pt x="60" y="97"/>
                    <a:pt x="49" y="97"/>
                  </a:cubicBezTo>
                  <a:cubicBezTo>
                    <a:pt x="49" y="97"/>
                    <a:pt x="49" y="97"/>
                    <a:pt x="49" y="97"/>
                  </a:cubicBezTo>
                  <a:close/>
                  <a:moveTo>
                    <a:pt x="38" y="96"/>
                  </a:moveTo>
                  <a:cubicBezTo>
                    <a:pt x="38" y="96"/>
                    <a:pt x="38" y="96"/>
                    <a:pt x="37" y="96"/>
                  </a:cubicBezTo>
                  <a:cubicBezTo>
                    <a:pt x="27" y="94"/>
                    <a:pt x="18" y="88"/>
                    <a:pt x="11" y="80"/>
                  </a:cubicBezTo>
                  <a:cubicBezTo>
                    <a:pt x="10" y="79"/>
                    <a:pt x="11" y="78"/>
                    <a:pt x="11" y="77"/>
                  </a:cubicBezTo>
                  <a:cubicBezTo>
                    <a:pt x="12" y="76"/>
                    <a:pt x="13" y="76"/>
                    <a:pt x="14" y="77"/>
                  </a:cubicBezTo>
                  <a:cubicBezTo>
                    <a:pt x="20" y="85"/>
                    <a:pt x="29" y="90"/>
                    <a:pt x="38" y="92"/>
                  </a:cubicBezTo>
                  <a:cubicBezTo>
                    <a:pt x="39" y="92"/>
                    <a:pt x="40" y="93"/>
                    <a:pt x="40" y="94"/>
                  </a:cubicBezTo>
                  <a:cubicBezTo>
                    <a:pt x="40" y="95"/>
                    <a:pt x="39" y="96"/>
                    <a:pt x="38" y="96"/>
                  </a:cubicBezTo>
                  <a:close/>
                  <a:moveTo>
                    <a:pt x="85" y="79"/>
                  </a:moveTo>
                  <a:cubicBezTo>
                    <a:pt x="84" y="79"/>
                    <a:pt x="84" y="79"/>
                    <a:pt x="83" y="79"/>
                  </a:cubicBezTo>
                  <a:cubicBezTo>
                    <a:pt x="82" y="78"/>
                    <a:pt x="82" y="77"/>
                    <a:pt x="83" y="76"/>
                  </a:cubicBezTo>
                  <a:cubicBezTo>
                    <a:pt x="89" y="68"/>
                    <a:pt x="92" y="59"/>
                    <a:pt x="92" y="49"/>
                  </a:cubicBezTo>
                  <a:cubicBezTo>
                    <a:pt x="92" y="48"/>
                    <a:pt x="93" y="47"/>
                    <a:pt x="94" y="47"/>
                  </a:cubicBezTo>
                  <a:cubicBezTo>
                    <a:pt x="95" y="47"/>
                    <a:pt x="96" y="48"/>
                    <a:pt x="96" y="49"/>
                  </a:cubicBezTo>
                  <a:cubicBezTo>
                    <a:pt x="96" y="49"/>
                    <a:pt x="96" y="49"/>
                    <a:pt x="96" y="49"/>
                  </a:cubicBezTo>
                  <a:cubicBezTo>
                    <a:pt x="96" y="60"/>
                    <a:pt x="93" y="70"/>
                    <a:pt x="86" y="78"/>
                  </a:cubicBezTo>
                  <a:cubicBezTo>
                    <a:pt x="86" y="79"/>
                    <a:pt x="85" y="79"/>
                    <a:pt x="85" y="79"/>
                  </a:cubicBezTo>
                  <a:close/>
                  <a:moveTo>
                    <a:pt x="7" y="71"/>
                  </a:moveTo>
                  <a:cubicBezTo>
                    <a:pt x="6" y="71"/>
                    <a:pt x="5" y="71"/>
                    <a:pt x="5" y="70"/>
                  </a:cubicBezTo>
                  <a:cubicBezTo>
                    <a:pt x="2" y="63"/>
                    <a:pt x="0" y="56"/>
                    <a:pt x="0" y="49"/>
                  </a:cubicBezTo>
                  <a:cubicBezTo>
                    <a:pt x="0" y="46"/>
                    <a:pt x="0" y="43"/>
                    <a:pt x="1" y="39"/>
                  </a:cubicBezTo>
                  <a:cubicBezTo>
                    <a:pt x="1" y="38"/>
                    <a:pt x="2" y="38"/>
                    <a:pt x="3" y="38"/>
                  </a:cubicBezTo>
                  <a:cubicBezTo>
                    <a:pt x="4" y="38"/>
                    <a:pt x="5" y="39"/>
                    <a:pt x="5" y="40"/>
                  </a:cubicBezTo>
                  <a:cubicBezTo>
                    <a:pt x="4" y="43"/>
                    <a:pt x="4" y="46"/>
                    <a:pt x="4" y="49"/>
                  </a:cubicBezTo>
                  <a:cubicBezTo>
                    <a:pt x="4" y="56"/>
                    <a:pt x="5" y="62"/>
                    <a:pt x="8" y="68"/>
                  </a:cubicBezTo>
                  <a:cubicBezTo>
                    <a:pt x="9" y="69"/>
                    <a:pt x="8" y="70"/>
                    <a:pt x="7" y="71"/>
                  </a:cubicBezTo>
                  <a:cubicBezTo>
                    <a:pt x="7" y="71"/>
                    <a:pt x="7" y="71"/>
                    <a:pt x="7" y="71"/>
                  </a:cubicBezTo>
                  <a:close/>
                  <a:moveTo>
                    <a:pt x="93" y="40"/>
                  </a:moveTo>
                  <a:cubicBezTo>
                    <a:pt x="92" y="40"/>
                    <a:pt x="91" y="39"/>
                    <a:pt x="91" y="38"/>
                  </a:cubicBezTo>
                  <a:cubicBezTo>
                    <a:pt x="88" y="29"/>
                    <a:pt x="83" y="20"/>
                    <a:pt x="75" y="14"/>
                  </a:cubicBezTo>
                  <a:cubicBezTo>
                    <a:pt x="74" y="14"/>
                    <a:pt x="74" y="13"/>
                    <a:pt x="75" y="12"/>
                  </a:cubicBezTo>
                  <a:cubicBezTo>
                    <a:pt x="76" y="11"/>
                    <a:pt x="77" y="11"/>
                    <a:pt x="78" y="11"/>
                  </a:cubicBezTo>
                  <a:cubicBezTo>
                    <a:pt x="86" y="18"/>
                    <a:pt x="92" y="27"/>
                    <a:pt x="95" y="37"/>
                  </a:cubicBezTo>
                  <a:cubicBezTo>
                    <a:pt x="95" y="38"/>
                    <a:pt x="94" y="39"/>
                    <a:pt x="93" y="40"/>
                  </a:cubicBezTo>
                  <a:cubicBezTo>
                    <a:pt x="93" y="40"/>
                    <a:pt x="93" y="40"/>
                    <a:pt x="93" y="40"/>
                  </a:cubicBezTo>
                  <a:close/>
                  <a:moveTo>
                    <a:pt x="6" y="31"/>
                  </a:moveTo>
                  <a:cubicBezTo>
                    <a:pt x="6" y="31"/>
                    <a:pt x="6" y="31"/>
                    <a:pt x="6" y="31"/>
                  </a:cubicBezTo>
                  <a:cubicBezTo>
                    <a:pt x="5" y="30"/>
                    <a:pt x="4" y="29"/>
                    <a:pt x="5" y="28"/>
                  </a:cubicBezTo>
                  <a:cubicBezTo>
                    <a:pt x="9" y="19"/>
                    <a:pt x="17" y="11"/>
                    <a:pt x="26" y="6"/>
                  </a:cubicBezTo>
                  <a:cubicBezTo>
                    <a:pt x="27" y="6"/>
                    <a:pt x="28" y="6"/>
                    <a:pt x="29" y="7"/>
                  </a:cubicBezTo>
                  <a:cubicBezTo>
                    <a:pt x="29" y="8"/>
                    <a:pt x="29" y="9"/>
                    <a:pt x="28" y="10"/>
                  </a:cubicBezTo>
                  <a:cubicBezTo>
                    <a:pt x="19" y="14"/>
                    <a:pt x="12" y="21"/>
                    <a:pt x="8" y="30"/>
                  </a:cubicBezTo>
                  <a:cubicBezTo>
                    <a:pt x="8" y="31"/>
                    <a:pt x="7" y="31"/>
                    <a:pt x="6" y="31"/>
                  </a:cubicBezTo>
                  <a:close/>
                  <a:moveTo>
                    <a:pt x="67" y="9"/>
                  </a:moveTo>
                  <a:cubicBezTo>
                    <a:pt x="67" y="9"/>
                    <a:pt x="66" y="9"/>
                    <a:pt x="66" y="9"/>
                  </a:cubicBezTo>
                  <a:cubicBezTo>
                    <a:pt x="57" y="5"/>
                    <a:pt x="47" y="4"/>
                    <a:pt x="38" y="6"/>
                  </a:cubicBezTo>
                  <a:cubicBezTo>
                    <a:pt x="37" y="6"/>
                    <a:pt x="36" y="6"/>
                    <a:pt x="36" y="5"/>
                  </a:cubicBezTo>
                  <a:cubicBezTo>
                    <a:pt x="35" y="4"/>
                    <a:pt x="36" y="2"/>
                    <a:pt x="37" y="2"/>
                  </a:cubicBezTo>
                  <a:cubicBezTo>
                    <a:pt x="47" y="0"/>
                    <a:pt x="58" y="1"/>
                    <a:pt x="68" y="5"/>
                  </a:cubicBezTo>
                  <a:cubicBezTo>
                    <a:pt x="69" y="6"/>
                    <a:pt x="69" y="7"/>
                    <a:pt x="69" y="8"/>
                  </a:cubicBezTo>
                  <a:cubicBezTo>
                    <a:pt x="68" y="9"/>
                    <a:pt x="68" y="9"/>
                    <a:pt x="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5" name="Freeform 121">
              <a:extLst>
                <a:ext uri="{FF2B5EF4-FFF2-40B4-BE49-F238E27FC236}">
                  <a16:creationId xmlns:a16="http://schemas.microsoft.com/office/drawing/2014/main" id="{24527138-AE1F-4886-ABB3-713F205E8571}"/>
                </a:ext>
              </a:extLst>
            </p:cNvPr>
            <p:cNvSpPr>
              <a:spLocks/>
            </p:cNvSpPr>
            <p:nvPr/>
          </p:nvSpPr>
          <p:spPr bwMode="auto">
            <a:xfrm>
              <a:off x="7939088" y="3038475"/>
              <a:ext cx="92075" cy="161925"/>
            </a:xfrm>
            <a:custGeom>
              <a:avLst/>
              <a:gdLst>
                <a:gd name="T0" fmla="*/ 12 w 24"/>
                <a:gd name="T1" fmla="*/ 42 h 42"/>
                <a:gd name="T2" fmla="*/ 0 w 24"/>
                <a:gd name="T3" fmla="*/ 31 h 42"/>
                <a:gd name="T4" fmla="*/ 2 w 24"/>
                <a:gd name="T5" fmla="*/ 29 h 42"/>
                <a:gd name="T6" fmla="*/ 4 w 24"/>
                <a:gd name="T7" fmla="*/ 31 h 42"/>
                <a:gd name="T8" fmla="*/ 12 w 24"/>
                <a:gd name="T9" fmla="*/ 38 h 42"/>
                <a:gd name="T10" fmla="*/ 20 w 24"/>
                <a:gd name="T11" fmla="*/ 31 h 42"/>
                <a:gd name="T12" fmla="*/ 12 w 24"/>
                <a:gd name="T13" fmla="*/ 23 h 42"/>
                <a:gd name="T14" fmla="*/ 0 w 24"/>
                <a:gd name="T15" fmla="*/ 11 h 42"/>
                <a:gd name="T16" fmla="*/ 12 w 24"/>
                <a:gd name="T17" fmla="*/ 0 h 42"/>
                <a:gd name="T18" fmla="*/ 24 w 24"/>
                <a:gd name="T19" fmla="*/ 11 h 42"/>
                <a:gd name="T20" fmla="*/ 22 w 24"/>
                <a:gd name="T21" fmla="*/ 13 h 42"/>
                <a:gd name="T22" fmla="*/ 20 w 24"/>
                <a:gd name="T23" fmla="*/ 11 h 42"/>
                <a:gd name="T24" fmla="*/ 12 w 24"/>
                <a:gd name="T25" fmla="*/ 4 h 42"/>
                <a:gd name="T26" fmla="*/ 4 w 24"/>
                <a:gd name="T27" fmla="*/ 11 h 42"/>
                <a:gd name="T28" fmla="*/ 12 w 24"/>
                <a:gd name="T29" fmla="*/ 19 h 42"/>
                <a:gd name="T30" fmla="*/ 24 w 24"/>
                <a:gd name="T31" fmla="*/ 31 h 42"/>
                <a:gd name="T32" fmla="*/ 12 w 2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42">
                  <a:moveTo>
                    <a:pt x="12" y="42"/>
                  </a:moveTo>
                  <a:cubicBezTo>
                    <a:pt x="6" y="42"/>
                    <a:pt x="0" y="37"/>
                    <a:pt x="0" y="31"/>
                  </a:cubicBezTo>
                  <a:cubicBezTo>
                    <a:pt x="0" y="30"/>
                    <a:pt x="1" y="29"/>
                    <a:pt x="2" y="29"/>
                  </a:cubicBezTo>
                  <a:cubicBezTo>
                    <a:pt x="3" y="29"/>
                    <a:pt x="4" y="30"/>
                    <a:pt x="4" y="31"/>
                  </a:cubicBezTo>
                  <a:cubicBezTo>
                    <a:pt x="4" y="35"/>
                    <a:pt x="8" y="38"/>
                    <a:pt x="12" y="38"/>
                  </a:cubicBezTo>
                  <a:cubicBezTo>
                    <a:pt x="16" y="38"/>
                    <a:pt x="20" y="35"/>
                    <a:pt x="20" y="31"/>
                  </a:cubicBezTo>
                  <a:cubicBezTo>
                    <a:pt x="20" y="26"/>
                    <a:pt x="16" y="23"/>
                    <a:pt x="12" y="23"/>
                  </a:cubicBezTo>
                  <a:cubicBezTo>
                    <a:pt x="6" y="23"/>
                    <a:pt x="0" y="18"/>
                    <a:pt x="0" y="11"/>
                  </a:cubicBezTo>
                  <a:cubicBezTo>
                    <a:pt x="0" y="5"/>
                    <a:pt x="6" y="0"/>
                    <a:pt x="12" y="0"/>
                  </a:cubicBezTo>
                  <a:cubicBezTo>
                    <a:pt x="18" y="0"/>
                    <a:pt x="24" y="5"/>
                    <a:pt x="24" y="11"/>
                  </a:cubicBezTo>
                  <a:cubicBezTo>
                    <a:pt x="24" y="12"/>
                    <a:pt x="23" y="13"/>
                    <a:pt x="22" y="13"/>
                  </a:cubicBezTo>
                  <a:cubicBezTo>
                    <a:pt x="21" y="13"/>
                    <a:pt x="20" y="12"/>
                    <a:pt x="20" y="11"/>
                  </a:cubicBezTo>
                  <a:cubicBezTo>
                    <a:pt x="20" y="7"/>
                    <a:pt x="16" y="4"/>
                    <a:pt x="12" y="4"/>
                  </a:cubicBezTo>
                  <a:cubicBezTo>
                    <a:pt x="8" y="4"/>
                    <a:pt x="4" y="7"/>
                    <a:pt x="4" y="11"/>
                  </a:cubicBezTo>
                  <a:cubicBezTo>
                    <a:pt x="4" y="16"/>
                    <a:pt x="8" y="19"/>
                    <a:pt x="12" y="19"/>
                  </a:cubicBezTo>
                  <a:cubicBezTo>
                    <a:pt x="18" y="19"/>
                    <a:pt x="24" y="24"/>
                    <a:pt x="24" y="31"/>
                  </a:cubicBezTo>
                  <a:cubicBezTo>
                    <a:pt x="24" y="37"/>
                    <a:pt x="18" y="42"/>
                    <a:pt x="1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6" name="Freeform 122">
              <a:extLst>
                <a:ext uri="{FF2B5EF4-FFF2-40B4-BE49-F238E27FC236}">
                  <a16:creationId xmlns:a16="http://schemas.microsoft.com/office/drawing/2014/main" id="{C756BF6C-CA8D-4BE4-924D-4D859EC31BD7}"/>
                </a:ext>
              </a:extLst>
            </p:cNvPr>
            <p:cNvSpPr>
              <a:spLocks/>
            </p:cNvSpPr>
            <p:nvPr/>
          </p:nvSpPr>
          <p:spPr bwMode="auto">
            <a:xfrm>
              <a:off x="7977188" y="3184525"/>
              <a:ext cx="15875" cy="42863"/>
            </a:xfrm>
            <a:custGeom>
              <a:avLst/>
              <a:gdLst>
                <a:gd name="T0" fmla="*/ 2 w 4"/>
                <a:gd name="T1" fmla="*/ 11 h 11"/>
                <a:gd name="T2" fmla="*/ 0 w 4"/>
                <a:gd name="T3" fmla="*/ 9 h 11"/>
                <a:gd name="T4" fmla="*/ 0 w 4"/>
                <a:gd name="T5" fmla="*/ 2 h 11"/>
                <a:gd name="T6" fmla="*/ 2 w 4"/>
                <a:gd name="T7" fmla="*/ 0 h 11"/>
                <a:gd name="T8" fmla="*/ 4 w 4"/>
                <a:gd name="T9" fmla="*/ 2 h 11"/>
                <a:gd name="T10" fmla="*/ 4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7" name="Freeform 123">
              <a:extLst>
                <a:ext uri="{FF2B5EF4-FFF2-40B4-BE49-F238E27FC236}">
                  <a16:creationId xmlns:a16="http://schemas.microsoft.com/office/drawing/2014/main" id="{E3460345-A314-484E-BA07-6CBD6C6782FF}"/>
                </a:ext>
              </a:extLst>
            </p:cNvPr>
            <p:cNvSpPr>
              <a:spLocks/>
            </p:cNvSpPr>
            <p:nvPr/>
          </p:nvSpPr>
          <p:spPr bwMode="auto">
            <a:xfrm>
              <a:off x="7977188" y="3011488"/>
              <a:ext cx="15875" cy="41275"/>
            </a:xfrm>
            <a:custGeom>
              <a:avLst/>
              <a:gdLst>
                <a:gd name="T0" fmla="*/ 2 w 4"/>
                <a:gd name="T1" fmla="*/ 11 h 11"/>
                <a:gd name="T2" fmla="*/ 0 w 4"/>
                <a:gd name="T3" fmla="*/ 9 h 11"/>
                <a:gd name="T4" fmla="*/ 0 w 4"/>
                <a:gd name="T5" fmla="*/ 2 h 11"/>
                <a:gd name="T6" fmla="*/ 2 w 4"/>
                <a:gd name="T7" fmla="*/ 0 h 11"/>
                <a:gd name="T8" fmla="*/ 4 w 4"/>
                <a:gd name="T9" fmla="*/ 2 h 11"/>
                <a:gd name="T10" fmla="*/ 4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988" name="Freihandform: Form 1987">
            <a:extLst>
              <a:ext uri="{FF2B5EF4-FFF2-40B4-BE49-F238E27FC236}">
                <a16:creationId xmlns:a16="http://schemas.microsoft.com/office/drawing/2014/main" id="{18720488-04A5-45BF-AABB-5B07193FED31}"/>
              </a:ext>
            </a:extLst>
          </p:cNvPr>
          <p:cNvSpPr>
            <a:spLocks noChangeAspect="1"/>
          </p:cNvSpPr>
          <p:nvPr/>
        </p:nvSpPr>
        <p:spPr>
          <a:xfrm>
            <a:off x="7097866" y="4879041"/>
            <a:ext cx="230599" cy="285619"/>
          </a:xfrm>
          <a:custGeom>
            <a:avLst/>
            <a:gdLst>
              <a:gd name="connsiteX0" fmla="*/ 1401042 w 1551929"/>
              <a:gd name="connsiteY0" fmla="*/ 638464 h 1922214"/>
              <a:gd name="connsiteX1" fmla="*/ 1307592 w 1551929"/>
              <a:gd name="connsiteY1" fmla="*/ 731914 h 1922214"/>
              <a:gd name="connsiteX2" fmla="*/ 1401042 w 1551929"/>
              <a:gd name="connsiteY2" fmla="*/ 825364 h 1922214"/>
              <a:gd name="connsiteX3" fmla="*/ 1494492 w 1551929"/>
              <a:gd name="connsiteY3" fmla="*/ 731914 h 1922214"/>
              <a:gd name="connsiteX4" fmla="*/ 1401042 w 1551929"/>
              <a:gd name="connsiteY4" fmla="*/ 638464 h 1922214"/>
              <a:gd name="connsiteX5" fmla="*/ 150887 w 1551929"/>
              <a:gd name="connsiteY5" fmla="*/ 590838 h 1922214"/>
              <a:gd name="connsiteX6" fmla="*/ 57437 w 1551929"/>
              <a:gd name="connsiteY6" fmla="*/ 684288 h 1922214"/>
              <a:gd name="connsiteX7" fmla="*/ 150887 w 1551929"/>
              <a:gd name="connsiteY7" fmla="*/ 777738 h 1922214"/>
              <a:gd name="connsiteX8" fmla="*/ 244337 w 1551929"/>
              <a:gd name="connsiteY8" fmla="*/ 684288 h 1922214"/>
              <a:gd name="connsiteX9" fmla="*/ 150887 w 1551929"/>
              <a:gd name="connsiteY9" fmla="*/ 590838 h 1922214"/>
              <a:gd name="connsiteX10" fmla="*/ 1401042 w 1551929"/>
              <a:gd name="connsiteY10" fmla="*/ 581027 h 1922214"/>
              <a:gd name="connsiteX11" fmla="*/ 1551929 w 1551929"/>
              <a:gd name="connsiteY11" fmla="*/ 731914 h 1922214"/>
              <a:gd name="connsiteX12" fmla="*/ 1459774 w 1551929"/>
              <a:gd name="connsiteY12" fmla="*/ 870944 h 1922214"/>
              <a:gd name="connsiteX13" fmla="*/ 1424930 w 1551929"/>
              <a:gd name="connsiteY13" fmla="*/ 877978 h 1922214"/>
              <a:gd name="connsiteX14" fmla="*/ 1426242 w 1551929"/>
              <a:gd name="connsiteY14" fmla="*/ 881146 h 1922214"/>
              <a:gd name="connsiteX15" fmla="*/ 1426242 w 1551929"/>
              <a:gd name="connsiteY15" fmla="*/ 1251694 h 1922214"/>
              <a:gd name="connsiteX16" fmla="*/ 1418861 w 1551929"/>
              <a:gd name="connsiteY16" fmla="*/ 1269513 h 1922214"/>
              <a:gd name="connsiteX17" fmla="*/ 1416591 w 1551929"/>
              <a:gd name="connsiteY17" fmla="*/ 1270454 h 1922214"/>
              <a:gd name="connsiteX18" fmla="*/ 1413472 w 1551929"/>
              <a:gd name="connsiteY18" fmla="*/ 1277979 h 1922214"/>
              <a:gd name="connsiteX19" fmla="*/ 1157161 w 1551929"/>
              <a:gd name="connsiteY19" fmla="*/ 1534216 h 1922214"/>
              <a:gd name="connsiteX20" fmla="*/ 1157161 w 1551929"/>
              <a:gd name="connsiteY20" fmla="*/ 1897013 h 1922214"/>
              <a:gd name="connsiteX21" fmla="*/ 1131961 w 1551929"/>
              <a:gd name="connsiteY21" fmla="*/ 1922213 h 1922214"/>
              <a:gd name="connsiteX22" fmla="*/ 1106761 w 1551929"/>
              <a:gd name="connsiteY22" fmla="*/ 1897013 h 1922214"/>
              <a:gd name="connsiteX23" fmla="*/ 1106761 w 1551929"/>
              <a:gd name="connsiteY23" fmla="*/ 1526465 h 1922214"/>
              <a:gd name="connsiteX24" fmla="*/ 1108478 w 1551929"/>
              <a:gd name="connsiteY24" fmla="*/ 1522320 h 1922214"/>
              <a:gd name="connsiteX25" fmla="*/ 1108400 w 1551929"/>
              <a:gd name="connsiteY25" fmla="*/ 1522133 h 1922214"/>
              <a:gd name="connsiteX26" fmla="*/ 1115784 w 1551929"/>
              <a:gd name="connsiteY26" fmla="*/ 1504315 h 1922214"/>
              <a:gd name="connsiteX27" fmla="*/ 1375842 w 1551929"/>
              <a:gd name="connsiteY27" fmla="*/ 1244332 h 1922214"/>
              <a:gd name="connsiteX28" fmla="*/ 1375842 w 1551929"/>
              <a:gd name="connsiteY28" fmla="*/ 881146 h 1922214"/>
              <a:gd name="connsiteX29" fmla="*/ 1377154 w 1551929"/>
              <a:gd name="connsiteY29" fmla="*/ 877978 h 1922214"/>
              <a:gd name="connsiteX30" fmla="*/ 1342310 w 1551929"/>
              <a:gd name="connsiteY30" fmla="*/ 870944 h 1922214"/>
              <a:gd name="connsiteX31" fmla="*/ 1250155 w 1551929"/>
              <a:gd name="connsiteY31" fmla="*/ 731914 h 1922214"/>
              <a:gd name="connsiteX32" fmla="*/ 1401042 w 1551929"/>
              <a:gd name="connsiteY32" fmla="*/ 581027 h 1922214"/>
              <a:gd name="connsiteX33" fmla="*/ 150887 w 1551929"/>
              <a:gd name="connsiteY33" fmla="*/ 533401 h 1922214"/>
              <a:gd name="connsiteX34" fmla="*/ 301774 w 1551929"/>
              <a:gd name="connsiteY34" fmla="*/ 684288 h 1922214"/>
              <a:gd name="connsiteX35" fmla="*/ 289917 w 1551929"/>
              <a:gd name="connsiteY35" fmla="*/ 743020 h 1922214"/>
              <a:gd name="connsiteX36" fmla="*/ 261087 w 1551929"/>
              <a:gd name="connsiteY36" fmla="*/ 785780 h 1922214"/>
              <a:gd name="connsiteX37" fmla="*/ 637019 w 1551929"/>
              <a:gd name="connsiteY37" fmla="*/ 1229336 h 1922214"/>
              <a:gd name="connsiteX38" fmla="*/ 643657 w 1551929"/>
              <a:gd name="connsiteY38" fmla="*/ 1232086 h 1922214"/>
              <a:gd name="connsiteX39" fmla="*/ 651224 w 1551929"/>
              <a:gd name="connsiteY39" fmla="*/ 1250353 h 1922214"/>
              <a:gd name="connsiteX40" fmla="*/ 651224 w 1551929"/>
              <a:gd name="connsiteY40" fmla="*/ 1255869 h 1922214"/>
              <a:gd name="connsiteX41" fmla="*/ 651920 w 1551929"/>
              <a:gd name="connsiteY41" fmla="*/ 1258040 h 1922214"/>
              <a:gd name="connsiteX42" fmla="*/ 651224 w 1551929"/>
              <a:gd name="connsiteY42" fmla="*/ 1259394 h 1922214"/>
              <a:gd name="connsiteX43" fmla="*/ 651223 w 1551929"/>
              <a:gd name="connsiteY43" fmla="*/ 1896380 h 1922214"/>
              <a:gd name="connsiteX44" fmla="*/ 625389 w 1551929"/>
              <a:gd name="connsiteY44" fmla="*/ 1922214 h 1922214"/>
              <a:gd name="connsiteX45" fmla="*/ 625390 w 1551929"/>
              <a:gd name="connsiteY45" fmla="*/ 1922213 h 1922214"/>
              <a:gd name="connsiteX46" fmla="*/ 599556 w 1551929"/>
              <a:gd name="connsiteY46" fmla="*/ 1896379 h 1922214"/>
              <a:gd name="connsiteX47" fmla="*/ 599556 w 1551929"/>
              <a:gd name="connsiteY47" fmla="*/ 1261083 h 1922214"/>
              <a:gd name="connsiteX48" fmla="*/ 221654 w 1551929"/>
              <a:gd name="connsiteY48" fmla="*/ 815203 h 1922214"/>
              <a:gd name="connsiteX49" fmla="*/ 209619 w 1551929"/>
              <a:gd name="connsiteY49" fmla="*/ 823318 h 1922214"/>
              <a:gd name="connsiteX50" fmla="*/ 150887 w 1551929"/>
              <a:gd name="connsiteY50" fmla="*/ 835175 h 1922214"/>
              <a:gd name="connsiteX51" fmla="*/ 0 w 1551929"/>
              <a:gd name="connsiteY51" fmla="*/ 684288 h 1922214"/>
              <a:gd name="connsiteX52" fmla="*/ 150887 w 1551929"/>
              <a:gd name="connsiteY52" fmla="*/ 533401 h 1922214"/>
              <a:gd name="connsiteX53" fmla="*/ 977180 w 1551929"/>
              <a:gd name="connsiteY53" fmla="*/ 497970 h 1922214"/>
              <a:gd name="connsiteX54" fmla="*/ 883730 w 1551929"/>
              <a:gd name="connsiteY54" fmla="*/ 591420 h 1922214"/>
              <a:gd name="connsiteX55" fmla="*/ 977180 w 1551929"/>
              <a:gd name="connsiteY55" fmla="*/ 684870 h 1922214"/>
              <a:gd name="connsiteX56" fmla="*/ 1070630 w 1551929"/>
              <a:gd name="connsiteY56" fmla="*/ 591420 h 1922214"/>
              <a:gd name="connsiteX57" fmla="*/ 977180 w 1551929"/>
              <a:gd name="connsiteY57" fmla="*/ 497970 h 1922214"/>
              <a:gd name="connsiteX58" fmla="*/ 977180 w 1551929"/>
              <a:gd name="connsiteY58" fmla="*/ 440533 h 1922214"/>
              <a:gd name="connsiteX59" fmla="*/ 1128067 w 1551929"/>
              <a:gd name="connsiteY59" fmla="*/ 591420 h 1922214"/>
              <a:gd name="connsiteX60" fmla="*/ 1035912 w 1551929"/>
              <a:gd name="connsiteY60" fmla="*/ 730450 h 1922214"/>
              <a:gd name="connsiteX61" fmla="*/ 997428 w 1551929"/>
              <a:gd name="connsiteY61" fmla="*/ 738219 h 1922214"/>
              <a:gd name="connsiteX62" fmla="*/ 1002380 w 1551929"/>
              <a:gd name="connsiteY62" fmla="*/ 750176 h 1922214"/>
              <a:gd name="connsiteX63" fmla="*/ 1002380 w 1551929"/>
              <a:gd name="connsiteY63" fmla="*/ 1897013 h 1922214"/>
              <a:gd name="connsiteX64" fmla="*/ 977180 w 1551929"/>
              <a:gd name="connsiteY64" fmla="*/ 1922213 h 1922214"/>
              <a:gd name="connsiteX65" fmla="*/ 951980 w 1551929"/>
              <a:gd name="connsiteY65" fmla="*/ 1897013 h 1922214"/>
              <a:gd name="connsiteX66" fmla="*/ 951980 w 1551929"/>
              <a:gd name="connsiteY66" fmla="*/ 750176 h 1922214"/>
              <a:gd name="connsiteX67" fmla="*/ 956933 w 1551929"/>
              <a:gd name="connsiteY67" fmla="*/ 738219 h 1922214"/>
              <a:gd name="connsiteX68" fmla="*/ 918448 w 1551929"/>
              <a:gd name="connsiteY68" fmla="*/ 730450 h 1922214"/>
              <a:gd name="connsiteX69" fmla="*/ 826293 w 1551929"/>
              <a:gd name="connsiteY69" fmla="*/ 591420 h 1922214"/>
              <a:gd name="connsiteX70" fmla="*/ 977180 w 1551929"/>
              <a:gd name="connsiteY70" fmla="*/ 440533 h 1922214"/>
              <a:gd name="connsiteX71" fmla="*/ 591418 w 1551929"/>
              <a:gd name="connsiteY71" fmla="*/ 57437 h 1922214"/>
              <a:gd name="connsiteX72" fmla="*/ 497968 w 1551929"/>
              <a:gd name="connsiteY72" fmla="*/ 150887 h 1922214"/>
              <a:gd name="connsiteX73" fmla="*/ 591418 w 1551929"/>
              <a:gd name="connsiteY73" fmla="*/ 244337 h 1922214"/>
              <a:gd name="connsiteX74" fmla="*/ 684868 w 1551929"/>
              <a:gd name="connsiteY74" fmla="*/ 150887 h 1922214"/>
              <a:gd name="connsiteX75" fmla="*/ 591418 w 1551929"/>
              <a:gd name="connsiteY75" fmla="*/ 57437 h 1922214"/>
              <a:gd name="connsiteX76" fmla="*/ 591418 w 1551929"/>
              <a:gd name="connsiteY76" fmla="*/ 0 h 1922214"/>
              <a:gd name="connsiteX77" fmla="*/ 742305 w 1551929"/>
              <a:gd name="connsiteY77" fmla="*/ 150887 h 1922214"/>
              <a:gd name="connsiteX78" fmla="*/ 650150 w 1551929"/>
              <a:gd name="connsiteY78" fmla="*/ 289917 h 1922214"/>
              <a:gd name="connsiteX79" fmla="*/ 614394 w 1551929"/>
              <a:gd name="connsiteY79" fmla="*/ 297135 h 1922214"/>
              <a:gd name="connsiteX80" fmla="*/ 616617 w 1551929"/>
              <a:gd name="connsiteY80" fmla="*/ 302501 h 1922214"/>
              <a:gd name="connsiteX81" fmla="*/ 616617 w 1551929"/>
              <a:gd name="connsiteY81" fmla="*/ 857168 h 1922214"/>
              <a:gd name="connsiteX82" fmla="*/ 836276 w 1551929"/>
              <a:gd name="connsiteY82" fmla="*/ 1139497 h 1922214"/>
              <a:gd name="connsiteX83" fmla="*/ 847902 w 1551929"/>
              <a:gd name="connsiteY83" fmla="*/ 1144313 h 1922214"/>
              <a:gd name="connsiteX84" fmla="*/ 855283 w 1551929"/>
              <a:gd name="connsiteY84" fmla="*/ 1162132 h 1922214"/>
              <a:gd name="connsiteX85" fmla="*/ 855283 w 1551929"/>
              <a:gd name="connsiteY85" fmla="*/ 1897013 h 1922214"/>
              <a:gd name="connsiteX86" fmla="*/ 830083 w 1551929"/>
              <a:gd name="connsiteY86" fmla="*/ 1922213 h 1922214"/>
              <a:gd name="connsiteX87" fmla="*/ 804883 w 1551929"/>
              <a:gd name="connsiteY87" fmla="*/ 1897013 h 1922214"/>
              <a:gd name="connsiteX88" fmla="*/ 804883 w 1551929"/>
              <a:gd name="connsiteY88" fmla="*/ 1178653 h 1922214"/>
              <a:gd name="connsiteX89" fmla="*/ 801296 w 1551929"/>
              <a:gd name="connsiteY89" fmla="*/ 1176614 h 1922214"/>
              <a:gd name="connsiteX90" fmla="*/ 576710 w 1551929"/>
              <a:gd name="connsiteY90" fmla="*/ 887952 h 1922214"/>
              <a:gd name="connsiteX91" fmla="*/ 573598 w 1551929"/>
              <a:gd name="connsiteY91" fmla="*/ 886663 h 1922214"/>
              <a:gd name="connsiteX92" fmla="*/ 566217 w 1551929"/>
              <a:gd name="connsiteY92" fmla="*/ 868844 h 1922214"/>
              <a:gd name="connsiteX93" fmla="*/ 566217 w 1551929"/>
              <a:gd name="connsiteY93" fmla="*/ 302501 h 1922214"/>
              <a:gd name="connsiteX94" fmla="*/ 568440 w 1551929"/>
              <a:gd name="connsiteY94" fmla="*/ 297135 h 1922214"/>
              <a:gd name="connsiteX95" fmla="*/ 532686 w 1551929"/>
              <a:gd name="connsiteY95" fmla="*/ 289917 h 1922214"/>
              <a:gd name="connsiteX96" fmla="*/ 440531 w 1551929"/>
              <a:gd name="connsiteY96" fmla="*/ 150887 h 1922214"/>
              <a:gd name="connsiteX97" fmla="*/ 591418 w 1551929"/>
              <a:gd name="connsiteY97" fmla="*/ 0 h 192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51929" h="1922214">
                <a:moveTo>
                  <a:pt x="1401042" y="638464"/>
                </a:moveTo>
                <a:cubicBezTo>
                  <a:pt x="1349431" y="638464"/>
                  <a:pt x="1307592" y="680303"/>
                  <a:pt x="1307592" y="731914"/>
                </a:cubicBezTo>
                <a:cubicBezTo>
                  <a:pt x="1307592" y="783525"/>
                  <a:pt x="1349431" y="825364"/>
                  <a:pt x="1401042" y="825364"/>
                </a:cubicBezTo>
                <a:cubicBezTo>
                  <a:pt x="1452653" y="825364"/>
                  <a:pt x="1494492" y="783525"/>
                  <a:pt x="1494492" y="731914"/>
                </a:cubicBezTo>
                <a:cubicBezTo>
                  <a:pt x="1494492" y="680303"/>
                  <a:pt x="1452653" y="638464"/>
                  <a:pt x="1401042" y="638464"/>
                </a:cubicBezTo>
                <a:close/>
                <a:moveTo>
                  <a:pt x="150887" y="590838"/>
                </a:moveTo>
                <a:cubicBezTo>
                  <a:pt x="99276" y="590838"/>
                  <a:pt x="57437" y="632677"/>
                  <a:pt x="57437" y="684288"/>
                </a:cubicBezTo>
                <a:cubicBezTo>
                  <a:pt x="57437" y="735899"/>
                  <a:pt x="99276" y="777738"/>
                  <a:pt x="150887" y="777738"/>
                </a:cubicBezTo>
                <a:cubicBezTo>
                  <a:pt x="202498" y="777738"/>
                  <a:pt x="244337" y="735899"/>
                  <a:pt x="244337" y="684288"/>
                </a:cubicBezTo>
                <a:cubicBezTo>
                  <a:pt x="244337" y="632677"/>
                  <a:pt x="202498" y="590838"/>
                  <a:pt x="150887" y="590838"/>
                </a:cubicBezTo>
                <a:close/>
                <a:moveTo>
                  <a:pt x="1401042" y="581027"/>
                </a:moveTo>
                <a:cubicBezTo>
                  <a:pt x="1484375" y="581027"/>
                  <a:pt x="1551929" y="648581"/>
                  <a:pt x="1551929" y="731914"/>
                </a:cubicBezTo>
                <a:cubicBezTo>
                  <a:pt x="1551929" y="794414"/>
                  <a:pt x="1513930" y="848038"/>
                  <a:pt x="1459774" y="870944"/>
                </a:cubicBezTo>
                <a:lnTo>
                  <a:pt x="1424930" y="877978"/>
                </a:lnTo>
                <a:lnTo>
                  <a:pt x="1426242" y="881146"/>
                </a:lnTo>
                <a:lnTo>
                  <a:pt x="1426242" y="1251694"/>
                </a:lnTo>
                <a:cubicBezTo>
                  <a:pt x="1426242" y="1258653"/>
                  <a:pt x="1423422" y="1264953"/>
                  <a:pt x="1418861" y="1269513"/>
                </a:cubicBezTo>
                <a:lnTo>
                  <a:pt x="1416591" y="1270454"/>
                </a:lnTo>
                <a:lnTo>
                  <a:pt x="1413472" y="1277979"/>
                </a:lnTo>
                <a:lnTo>
                  <a:pt x="1157161" y="1534216"/>
                </a:lnTo>
                <a:lnTo>
                  <a:pt x="1157161" y="1897013"/>
                </a:lnTo>
                <a:cubicBezTo>
                  <a:pt x="1157161" y="1910931"/>
                  <a:pt x="1145879" y="1922213"/>
                  <a:pt x="1131961" y="1922213"/>
                </a:cubicBezTo>
                <a:cubicBezTo>
                  <a:pt x="1118043" y="1922213"/>
                  <a:pt x="1106761" y="1910931"/>
                  <a:pt x="1106761" y="1897013"/>
                </a:cubicBezTo>
                <a:lnTo>
                  <a:pt x="1106761" y="1526465"/>
                </a:lnTo>
                <a:lnTo>
                  <a:pt x="1108478" y="1522320"/>
                </a:lnTo>
                <a:lnTo>
                  <a:pt x="1108400" y="1522133"/>
                </a:lnTo>
                <a:cubicBezTo>
                  <a:pt x="1108401" y="1515684"/>
                  <a:pt x="1110863" y="1509235"/>
                  <a:pt x="1115784" y="1504315"/>
                </a:cubicBezTo>
                <a:lnTo>
                  <a:pt x="1375842" y="1244332"/>
                </a:lnTo>
                <a:lnTo>
                  <a:pt x="1375842" y="881146"/>
                </a:lnTo>
                <a:lnTo>
                  <a:pt x="1377154" y="877978"/>
                </a:lnTo>
                <a:lnTo>
                  <a:pt x="1342310" y="870944"/>
                </a:lnTo>
                <a:cubicBezTo>
                  <a:pt x="1288154" y="848038"/>
                  <a:pt x="1250155" y="794414"/>
                  <a:pt x="1250155" y="731914"/>
                </a:cubicBezTo>
                <a:cubicBezTo>
                  <a:pt x="1250155" y="648581"/>
                  <a:pt x="1317709" y="581027"/>
                  <a:pt x="1401042" y="581027"/>
                </a:cubicBezTo>
                <a:close/>
                <a:moveTo>
                  <a:pt x="150887" y="533401"/>
                </a:moveTo>
                <a:cubicBezTo>
                  <a:pt x="234220" y="533401"/>
                  <a:pt x="301774" y="600955"/>
                  <a:pt x="301774" y="684288"/>
                </a:cubicBezTo>
                <a:cubicBezTo>
                  <a:pt x="301774" y="705121"/>
                  <a:pt x="297552" y="724968"/>
                  <a:pt x="289917" y="743020"/>
                </a:cubicBezTo>
                <a:lnTo>
                  <a:pt x="261087" y="785780"/>
                </a:lnTo>
                <a:lnTo>
                  <a:pt x="637019" y="1229336"/>
                </a:lnTo>
                <a:lnTo>
                  <a:pt x="643657" y="1232086"/>
                </a:lnTo>
                <a:cubicBezTo>
                  <a:pt x="648332" y="1236761"/>
                  <a:pt x="651224" y="1243219"/>
                  <a:pt x="651224" y="1250353"/>
                </a:cubicBezTo>
                <a:lnTo>
                  <a:pt x="651224" y="1255869"/>
                </a:lnTo>
                <a:lnTo>
                  <a:pt x="651920" y="1258040"/>
                </a:lnTo>
                <a:lnTo>
                  <a:pt x="651224" y="1259394"/>
                </a:lnTo>
                <a:lnTo>
                  <a:pt x="651223" y="1896380"/>
                </a:lnTo>
                <a:cubicBezTo>
                  <a:pt x="651223" y="1910648"/>
                  <a:pt x="639657" y="1922214"/>
                  <a:pt x="625389" y="1922214"/>
                </a:cubicBezTo>
                <a:lnTo>
                  <a:pt x="625390" y="1922213"/>
                </a:lnTo>
                <a:cubicBezTo>
                  <a:pt x="611122" y="1922213"/>
                  <a:pt x="599556" y="1910647"/>
                  <a:pt x="599556" y="1896379"/>
                </a:cubicBezTo>
                <a:lnTo>
                  <a:pt x="599556" y="1261083"/>
                </a:lnTo>
                <a:lnTo>
                  <a:pt x="221654" y="815203"/>
                </a:lnTo>
                <a:lnTo>
                  <a:pt x="209619" y="823318"/>
                </a:lnTo>
                <a:cubicBezTo>
                  <a:pt x="191567" y="830953"/>
                  <a:pt x="171720" y="835175"/>
                  <a:pt x="150887" y="835175"/>
                </a:cubicBezTo>
                <a:cubicBezTo>
                  <a:pt x="67554" y="835175"/>
                  <a:pt x="0" y="767621"/>
                  <a:pt x="0" y="684288"/>
                </a:cubicBezTo>
                <a:cubicBezTo>
                  <a:pt x="0" y="600955"/>
                  <a:pt x="67554" y="533401"/>
                  <a:pt x="150887" y="533401"/>
                </a:cubicBezTo>
                <a:close/>
                <a:moveTo>
                  <a:pt x="977180" y="497970"/>
                </a:moveTo>
                <a:cubicBezTo>
                  <a:pt x="925569" y="497970"/>
                  <a:pt x="883730" y="539809"/>
                  <a:pt x="883730" y="591420"/>
                </a:cubicBezTo>
                <a:cubicBezTo>
                  <a:pt x="883730" y="643031"/>
                  <a:pt x="925569" y="684870"/>
                  <a:pt x="977180" y="684870"/>
                </a:cubicBezTo>
                <a:cubicBezTo>
                  <a:pt x="1028791" y="684870"/>
                  <a:pt x="1070630" y="643031"/>
                  <a:pt x="1070630" y="591420"/>
                </a:cubicBezTo>
                <a:cubicBezTo>
                  <a:pt x="1070630" y="539809"/>
                  <a:pt x="1028791" y="497970"/>
                  <a:pt x="977180" y="497970"/>
                </a:cubicBezTo>
                <a:close/>
                <a:moveTo>
                  <a:pt x="977180" y="440533"/>
                </a:moveTo>
                <a:cubicBezTo>
                  <a:pt x="1060513" y="440533"/>
                  <a:pt x="1128067" y="508087"/>
                  <a:pt x="1128067" y="591420"/>
                </a:cubicBezTo>
                <a:cubicBezTo>
                  <a:pt x="1128067" y="653920"/>
                  <a:pt x="1090068" y="707544"/>
                  <a:pt x="1035912" y="730450"/>
                </a:cubicBezTo>
                <a:lnTo>
                  <a:pt x="997428" y="738219"/>
                </a:lnTo>
                <a:lnTo>
                  <a:pt x="1002380" y="750176"/>
                </a:lnTo>
                <a:lnTo>
                  <a:pt x="1002380" y="1897013"/>
                </a:lnTo>
                <a:cubicBezTo>
                  <a:pt x="1002380" y="1910931"/>
                  <a:pt x="991098" y="1922213"/>
                  <a:pt x="977180" y="1922213"/>
                </a:cubicBezTo>
                <a:cubicBezTo>
                  <a:pt x="963262" y="1922213"/>
                  <a:pt x="951980" y="1910931"/>
                  <a:pt x="951980" y="1897013"/>
                </a:cubicBezTo>
                <a:lnTo>
                  <a:pt x="951980" y="750176"/>
                </a:lnTo>
                <a:lnTo>
                  <a:pt x="956933" y="738219"/>
                </a:lnTo>
                <a:lnTo>
                  <a:pt x="918448" y="730450"/>
                </a:lnTo>
                <a:cubicBezTo>
                  <a:pt x="864292" y="707544"/>
                  <a:pt x="826293" y="653920"/>
                  <a:pt x="826293" y="591420"/>
                </a:cubicBezTo>
                <a:cubicBezTo>
                  <a:pt x="826293" y="508087"/>
                  <a:pt x="893847" y="440533"/>
                  <a:pt x="977180" y="440533"/>
                </a:cubicBezTo>
                <a:close/>
                <a:moveTo>
                  <a:pt x="591418" y="57437"/>
                </a:moveTo>
                <a:cubicBezTo>
                  <a:pt x="539807" y="57437"/>
                  <a:pt x="497968" y="99276"/>
                  <a:pt x="497968" y="150887"/>
                </a:cubicBezTo>
                <a:cubicBezTo>
                  <a:pt x="497968" y="202498"/>
                  <a:pt x="539807" y="244337"/>
                  <a:pt x="591418" y="244337"/>
                </a:cubicBezTo>
                <a:cubicBezTo>
                  <a:pt x="643029" y="244337"/>
                  <a:pt x="684868" y="202498"/>
                  <a:pt x="684868" y="150887"/>
                </a:cubicBezTo>
                <a:cubicBezTo>
                  <a:pt x="684868" y="99276"/>
                  <a:pt x="643029" y="57437"/>
                  <a:pt x="591418" y="57437"/>
                </a:cubicBezTo>
                <a:close/>
                <a:moveTo>
                  <a:pt x="591418" y="0"/>
                </a:moveTo>
                <a:cubicBezTo>
                  <a:pt x="674751" y="0"/>
                  <a:pt x="742305" y="67554"/>
                  <a:pt x="742305" y="150887"/>
                </a:cubicBezTo>
                <a:cubicBezTo>
                  <a:pt x="742305" y="213387"/>
                  <a:pt x="704306" y="267011"/>
                  <a:pt x="650150" y="289917"/>
                </a:cubicBezTo>
                <a:lnTo>
                  <a:pt x="614394" y="297135"/>
                </a:lnTo>
                <a:lnTo>
                  <a:pt x="616617" y="302501"/>
                </a:lnTo>
                <a:lnTo>
                  <a:pt x="616617" y="857168"/>
                </a:lnTo>
                <a:lnTo>
                  <a:pt x="836276" y="1139497"/>
                </a:lnTo>
                <a:lnTo>
                  <a:pt x="847902" y="1144313"/>
                </a:lnTo>
                <a:cubicBezTo>
                  <a:pt x="852463" y="1148873"/>
                  <a:pt x="855283" y="1155173"/>
                  <a:pt x="855283" y="1162132"/>
                </a:cubicBezTo>
                <a:lnTo>
                  <a:pt x="855283" y="1897013"/>
                </a:lnTo>
                <a:cubicBezTo>
                  <a:pt x="855283" y="1910931"/>
                  <a:pt x="844001" y="1922213"/>
                  <a:pt x="830083" y="1922213"/>
                </a:cubicBezTo>
                <a:cubicBezTo>
                  <a:pt x="816165" y="1922213"/>
                  <a:pt x="804883" y="1910931"/>
                  <a:pt x="804883" y="1897013"/>
                </a:cubicBezTo>
                <a:lnTo>
                  <a:pt x="804883" y="1178653"/>
                </a:lnTo>
                <a:lnTo>
                  <a:pt x="801296" y="1176614"/>
                </a:lnTo>
                <a:lnTo>
                  <a:pt x="576710" y="887952"/>
                </a:lnTo>
                <a:lnTo>
                  <a:pt x="573598" y="886663"/>
                </a:lnTo>
                <a:cubicBezTo>
                  <a:pt x="569037" y="882103"/>
                  <a:pt x="566217" y="875803"/>
                  <a:pt x="566217" y="868844"/>
                </a:cubicBezTo>
                <a:lnTo>
                  <a:pt x="566217" y="302501"/>
                </a:lnTo>
                <a:lnTo>
                  <a:pt x="568440" y="297135"/>
                </a:lnTo>
                <a:lnTo>
                  <a:pt x="532686" y="289917"/>
                </a:lnTo>
                <a:cubicBezTo>
                  <a:pt x="478530" y="267011"/>
                  <a:pt x="440531" y="213387"/>
                  <a:pt x="440531" y="150887"/>
                </a:cubicBezTo>
                <a:cubicBezTo>
                  <a:pt x="440531" y="67554"/>
                  <a:pt x="508085" y="0"/>
                  <a:pt x="591418" y="0"/>
                </a:cubicBezTo>
                <a:close/>
              </a:path>
            </a:pathLst>
          </a:cu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89" name="Gruppieren 1988">
            <a:extLst>
              <a:ext uri="{FF2B5EF4-FFF2-40B4-BE49-F238E27FC236}">
                <a16:creationId xmlns:a16="http://schemas.microsoft.com/office/drawing/2014/main" id="{8D467F85-464A-49E1-A180-E650019839F7}"/>
              </a:ext>
            </a:extLst>
          </p:cNvPr>
          <p:cNvGrpSpPr>
            <a:grpSpLocks noChangeAspect="1"/>
          </p:cNvGrpSpPr>
          <p:nvPr/>
        </p:nvGrpSpPr>
        <p:grpSpPr>
          <a:xfrm>
            <a:off x="7511819" y="4879041"/>
            <a:ext cx="205780" cy="285619"/>
            <a:chOff x="5679860" y="6107132"/>
            <a:chExt cx="398530" cy="553152"/>
          </a:xfrm>
          <a:solidFill>
            <a:schemeClr val="bg2"/>
          </a:solidFill>
        </p:grpSpPr>
        <p:sp>
          <p:nvSpPr>
            <p:cNvPr id="1990" name="Freeform 60">
              <a:extLst>
                <a:ext uri="{FF2B5EF4-FFF2-40B4-BE49-F238E27FC236}">
                  <a16:creationId xmlns:a16="http://schemas.microsoft.com/office/drawing/2014/main" id="{00618B42-FCCC-4DD2-9DFA-D49AC8E79EFE}"/>
                </a:ext>
              </a:extLst>
            </p:cNvPr>
            <p:cNvSpPr>
              <a:spLocks noEditPoints="1"/>
            </p:cNvSpPr>
            <p:nvPr/>
          </p:nvSpPr>
          <p:spPr bwMode="auto">
            <a:xfrm>
              <a:off x="5679860" y="6301387"/>
              <a:ext cx="398530" cy="358897"/>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1" name="Freeform 61">
              <a:extLst>
                <a:ext uri="{FF2B5EF4-FFF2-40B4-BE49-F238E27FC236}">
                  <a16:creationId xmlns:a16="http://schemas.microsoft.com/office/drawing/2014/main" id="{6D062A8A-F2CD-4029-9855-8307DFCB93DE}"/>
                </a:ext>
              </a:extLst>
            </p:cNvPr>
            <p:cNvSpPr>
              <a:spLocks noEditPoints="1"/>
            </p:cNvSpPr>
            <p:nvPr/>
          </p:nvSpPr>
          <p:spPr bwMode="auto">
            <a:xfrm>
              <a:off x="5867014" y="6567808"/>
              <a:ext cx="26422" cy="26422"/>
            </a:xfrm>
            <a:custGeom>
              <a:avLst/>
              <a:gdLst>
                <a:gd name="T0" fmla="*/ 30 w 60"/>
                <a:gd name="T1" fmla="*/ 45 h 60"/>
                <a:gd name="T2" fmla="*/ 30 w 60"/>
                <a:gd name="T3" fmla="*/ 30 h 60"/>
                <a:gd name="T4" fmla="*/ 30 w 60"/>
                <a:gd name="T5" fmla="*/ 30 h 60"/>
                <a:gd name="T6" fmla="*/ 30 w 60"/>
                <a:gd name="T7" fmla="*/ 30 h 60"/>
                <a:gd name="T8" fmla="*/ 30 w 60"/>
                <a:gd name="T9" fmla="*/ 45 h 60"/>
                <a:gd name="T10" fmla="*/ 30 w 60"/>
                <a:gd name="T11" fmla="*/ 0 h 60"/>
                <a:gd name="T12" fmla="*/ 24 w 60"/>
                <a:gd name="T13" fmla="*/ 0 h 60"/>
                <a:gd name="T14" fmla="*/ 18 w 60"/>
                <a:gd name="T15" fmla="*/ 2 h 60"/>
                <a:gd name="T16" fmla="*/ 14 w 60"/>
                <a:gd name="T17" fmla="*/ 5 h 60"/>
                <a:gd name="T18" fmla="*/ 8 w 60"/>
                <a:gd name="T19" fmla="*/ 8 h 60"/>
                <a:gd name="T20" fmla="*/ 5 w 60"/>
                <a:gd name="T21" fmla="*/ 12 h 60"/>
                <a:gd name="T22" fmla="*/ 2 w 60"/>
                <a:gd name="T23" fmla="*/ 18 h 60"/>
                <a:gd name="T24" fmla="*/ 1 w 60"/>
                <a:gd name="T25" fmla="*/ 23 h 60"/>
                <a:gd name="T26" fmla="*/ 0 w 60"/>
                <a:gd name="T27" fmla="*/ 30 h 60"/>
                <a:gd name="T28" fmla="*/ 1 w 60"/>
                <a:gd name="T29" fmla="*/ 36 h 60"/>
                <a:gd name="T30" fmla="*/ 2 w 60"/>
                <a:gd name="T31" fmla="*/ 41 h 60"/>
                <a:gd name="T32" fmla="*/ 5 w 60"/>
                <a:gd name="T33" fmla="*/ 47 h 60"/>
                <a:gd name="T34" fmla="*/ 8 w 60"/>
                <a:gd name="T35" fmla="*/ 51 h 60"/>
                <a:gd name="T36" fmla="*/ 14 w 60"/>
                <a:gd name="T37" fmla="*/ 54 h 60"/>
                <a:gd name="T38" fmla="*/ 18 w 60"/>
                <a:gd name="T39" fmla="*/ 58 h 60"/>
                <a:gd name="T40" fmla="*/ 24 w 60"/>
                <a:gd name="T41" fmla="*/ 59 h 60"/>
                <a:gd name="T42" fmla="*/ 30 w 60"/>
                <a:gd name="T43" fmla="*/ 60 h 60"/>
                <a:gd name="T44" fmla="*/ 36 w 60"/>
                <a:gd name="T45" fmla="*/ 59 h 60"/>
                <a:gd name="T46" fmla="*/ 41 w 60"/>
                <a:gd name="T47" fmla="*/ 58 h 60"/>
                <a:gd name="T48" fmla="*/ 47 w 60"/>
                <a:gd name="T49" fmla="*/ 54 h 60"/>
                <a:gd name="T50" fmla="*/ 51 w 60"/>
                <a:gd name="T51" fmla="*/ 51 h 60"/>
                <a:gd name="T52" fmla="*/ 55 w 60"/>
                <a:gd name="T53" fmla="*/ 47 h 60"/>
                <a:gd name="T54" fmla="*/ 57 w 60"/>
                <a:gd name="T55" fmla="*/ 41 h 60"/>
                <a:gd name="T56" fmla="*/ 60 w 60"/>
                <a:gd name="T57" fmla="*/ 36 h 60"/>
                <a:gd name="T58" fmla="*/ 60 w 60"/>
                <a:gd name="T59" fmla="*/ 30 h 60"/>
                <a:gd name="T60" fmla="*/ 60 w 60"/>
                <a:gd name="T61" fmla="*/ 23 h 60"/>
                <a:gd name="T62" fmla="*/ 57 w 60"/>
                <a:gd name="T63" fmla="*/ 18 h 60"/>
                <a:gd name="T64" fmla="*/ 55 w 60"/>
                <a:gd name="T65" fmla="*/ 12 h 60"/>
                <a:gd name="T66" fmla="*/ 51 w 60"/>
                <a:gd name="T67" fmla="*/ 8 h 60"/>
                <a:gd name="T68" fmla="*/ 47 w 60"/>
                <a:gd name="T69" fmla="*/ 5 h 60"/>
                <a:gd name="T70" fmla="*/ 41 w 60"/>
                <a:gd name="T71" fmla="*/ 2 h 60"/>
                <a:gd name="T72" fmla="*/ 36 w 60"/>
                <a:gd name="T73" fmla="*/ 0 h 60"/>
                <a:gd name="T74" fmla="*/ 30 w 60"/>
                <a:gd name="T75" fmla="*/ 0 h 60"/>
                <a:gd name="T76" fmla="*/ 30 w 60"/>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0">
                  <a:moveTo>
                    <a:pt x="30" y="45"/>
                  </a:moveTo>
                  <a:lnTo>
                    <a:pt x="30" y="30"/>
                  </a:lnTo>
                  <a:lnTo>
                    <a:pt x="30" y="30"/>
                  </a:lnTo>
                  <a:lnTo>
                    <a:pt x="30" y="30"/>
                  </a:lnTo>
                  <a:lnTo>
                    <a:pt x="30" y="45"/>
                  </a:lnTo>
                  <a:close/>
                  <a:moveTo>
                    <a:pt x="30" y="0"/>
                  </a:moveTo>
                  <a:lnTo>
                    <a:pt x="24" y="0"/>
                  </a:lnTo>
                  <a:lnTo>
                    <a:pt x="18" y="2"/>
                  </a:lnTo>
                  <a:lnTo>
                    <a:pt x="14" y="5"/>
                  </a:lnTo>
                  <a:lnTo>
                    <a:pt x="8" y="8"/>
                  </a:lnTo>
                  <a:lnTo>
                    <a:pt x="5" y="12"/>
                  </a:lnTo>
                  <a:lnTo>
                    <a:pt x="2" y="18"/>
                  </a:lnTo>
                  <a:lnTo>
                    <a:pt x="1" y="23"/>
                  </a:lnTo>
                  <a:lnTo>
                    <a:pt x="0" y="30"/>
                  </a:lnTo>
                  <a:lnTo>
                    <a:pt x="1" y="36"/>
                  </a:lnTo>
                  <a:lnTo>
                    <a:pt x="2" y="41"/>
                  </a:lnTo>
                  <a:lnTo>
                    <a:pt x="5" y="47"/>
                  </a:lnTo>
                  <a:lnTo>
                    <a:pt x="8" y="51"/>
                  </a:lnTo>
                  <a:lnTo>
                    <a:pt x="14" y="54"/>
                  </a:lnTo>
                  <a:lnTo>
                    <a:pt x="18" y="58"/>
                  </a:lnTo>
                  <a:lnTo>
                    <a:pt x="24" y="59"/>
                  </a:lnTo>
                  <a:lnTo>
                    <a:pt x="30" y="60"/>
                  </a:lnTo>
                  <a:lnTo>
                    <a:pt x="36" y="59"/>
                  </a:lnTo>
                  <a:lnTo>
                    <a:pt x="41" y="58"/>
                  </a:lnTo>
                  <a:lnTo>
                    <a:pt x="47" y="54"/>
                  </a:lnTo>
                  <a:lnTo>
                    <a:pt x="51" y="51"/>
                  </a:lnTo>
                  <a:lnTo>
                    <a:pt x="55" y="47"/>
                  </a:lnTo>
                  <a:lnTo>
                    <a:pt x="57" y="41"/>
                  </a:lnTo>
                  <a:lnTo>
                    <a:pt x="60" y="36"/>
                  </a:lnTo>
                  <a:lnTo>
                    <a:pt x="60" y="30"/>
                  </a:lnTo>
                  <a:lnTo>
                    <a:pt x="60" y="23"/>
                  </a:lnTo>
                  <a:lnTo>
                    <a:pt x="57" y="18"/>
                  </a:lnTo>
                  <a:lnTo>
                    <a:pt x="55" y="12"/>
                  </a:lnTo>
                  <a:lnTo>
                    <a:pt x="51" y="8"/>
                  </a:lnTo>
                  <a:lnTo>
                    <a:pt x="47" y="5"/>
                  </a:lnTo>
                  <a:lnTo>
                    <a:pt x="41"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2" name="Rechteck 1991">
              <a:extLst>
                <a:ext uri="{FF2B5EF4-FFF2-40B4-BE49-F238E27FC236}">
                  <a16:creationId xmlns:a16="http://schemas.microsoft.com/office/drawing/2014/main" id="{16972B35-1F70-4DE1-96E0-23A5A0C39BEC}"/>
                </a:ext>
              </a:extLst>
            </p:cNvPr>
            <p:cNvSpPr/>
            <p:nvPr/>
          </p:nvSpPr>
          <p:spPr>
            <a:xfrm>
              <a:off x="5757659" y="6287130"/>
              <a:ext cx="242932" cy="51790"/>
            </a:xfrm>
            <a:prstGeom prst="rect">
              <a:avLst/>
            </a:prstGeom>
            <a:solidFill>
              <a:schemeClr val="bg1"/>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993" name="Freihandform: Form 1992">
              <a:extLst>
                <a:ext uri="{FF2B5EF4-FFF2-40B4-BE49-F238E27FC236}">
                  <a16:creationId xmlns:a16="http://schemas.microsoft.com/office/drawing/2014/main" id="{6BD690CC-12C8-40D0-B28D-D0CF6471D10D}"/>
                </a:ext>
              </a:extLst>
            </p:cNvPr>
            <p:cNvSpPr>
              <a:spLocks noChangeAspect="1"/>
            </p:cNvSpPr>
            <p:nvPr/>
          </p:nvSpPr>
          <p:spPr>
            <a:xfrm>
              <a:off x="5709142" y="6107132"/>
              <a:ext cx="290649" cy="359997"/>
            </a:xfrm>
            <a:custGeom>
              <a:avLst/>
              <a:gdLst>
                <a:gd name="connsiteX0" fmla="*/ 1401042 w 1551929"/>
                <a:gd name="connsiteY0" fmla="*/ 638464 h 1922214"/>
                <a:gd name="connsiteX1" fmla="*/ 1307592 w 1551929"/>
                <a:gd name="connsiteY1" fmla="*/ 731914 h 1922214"/>
                <a:gd name="connsiteX2" fmla="*/ 1401042 w 1551929"/>
                <a:gd name="connsiteY2" fmla="*/ 825364 h 1922214"/>
                <a:gd name="connsiteX3" fmla="*/ 1494492 w 1551929"/>
                <a:gd name="connsiteY3" fmla="*/ 731914 h 1922214"/>
                <a:gd name="connsiteX4" fmla="*/ 1401042 w 1551929"/>
                <a:gd name="connsiteY4" fmla="*/ 638464 h 1922214"/>
                <a:gd name="connsiteX5" fmla="*/ 150887 w 1551929"/>
                <a:gd name="connsiteY5" fmla="*/ 590838 h 1922214"/>
                <a:gd name="connsiteX6" fmla="*/ 57437 w 1551929"/>
                <a:gd name="connsiteY6" fmla="*/ 684288 h 1922214"/>
                <a:gd name="connsiteX7" fmla="*/ 150887 w 1551929"/>
                <a:gd name="connsiteY7" fmla="*/ 777738 h 1922214"/>
                <a:gd name="connsiteX8" fmla="*/ 244337 w 1551929"/>
                <a:gd name="connsiteY8" fmla="*/ 684288 h 1922214"/>
                <a:gd name="connsiteX9" fmla="*/ 150887 w 1551929"/>
                <a:gd name="connsiteY9" fmla="*/ 590838 h 1922214"/>
                <a:gd name="connsiteX10" fmla="*/ 1401042 w 1551929"/>
                <a:gd name="connsiteY10" fmla="*/ 581027 h 1922214"/>
                <a:gd name="connsiteX11" fmla="*/ 1551929 w 1551929"/>
                <a:gd name="connsiteY11" fmla="*/ 731914 h 1922214"/>
                <a:gd name="connsiteX12" fmla="*/ 1459774 w 1551929"/>
                <a:gd name="connsiteY12" fmla="*/ 870944 h 1922214"/>
                <a:gd name="connsiteX13" fmla="*/ 1424930 w 1551929"/>
                <a:gd name="connsiteY13" fmla="*/ 877978 h 1922214"/>
                <a:gd name="connsiteX14" fmla="*/ 1426242 w 1551929"/>
                <a:gd name="connsiteY14" fmla="*/ 881146 h 1922214"/>
                <a:gd name="connsiteX15" fmla="*/ 1426242 w 1551929"/>
                <a:gd name="connsiteY15" fmla="*/ 1251694 h 1922214"/>
                <a:gd name="connsiteX16" fmla="*/ 1418861 w 1551929"/>
                <a:gd name="connsiteY16" fmla="*/ 1269513 h 1922214"/>
                <a:gd name="connsiteX17" fmla="*/ 1416591 w 1551929"/>
                <a:gd name="connsiteY17" fmla="*/ 1270454 h 1922214"/>
                <a:gd name="connsiteX18" fmla="*/ 1413472 w 1551929"/>
                <a:gd name="connsiteY18" fmla="*/ 1277979 h 1922214"/>
                <a:gd name="connsiteX19" fmla="*/ 1157161 w 1551929"/>
                <a:gd name="connsiteY19" fmla="*/ 1534216 h 1922214"/>
                <a:gd name="connsiteX20" fmla="*/ 1157161 w 1551929"/>
                <a:gd name="connsiteY20" fmla="*/ 1897013 h 1922214"/>
                <a:gd name="connsiteX21" fmla="*/ 1131961 w 1551929"/>
                <a:gd name="connsiteY21" fmla="*/ 1922213 h 1922214"/>
                <a:gd name="connsiteX22" fmla="*/ 1106761 w 1551929"/>
                <a:gd name="connsiteY22" fmla="*/ 1897013 h 1922214"/>
                <a:gd name="connsiteX23" fmla="*/ 1106761 w 1551929"/>
                <a:gd name="connsiteY23" fmla="*/ 1526465 h 1922214"/>
                <a:gd name="connsiteX24" fmla="*/ 1108478 w 1551929"/>
                <a:gd name="connsiteY24" fmla="*/ 1522320 h 1922214"/>
                <a:gd name="connsiteX25" fmla="*/ 1108400 w 1551929"/>
                <a:gd name="connsiteY25" fmla="*/ 1522133 h 1922214"/>
                <a:gd name="connsiteX26" fmla="*/ 1115784 w 1551929"/>
                <a:gd name="connsiteY26" fmla="*/ 1504315 h 1922214"/>
                <a:gd name="connsiteX27" fmla="*/ 1375842 w 1551929"/>
                <a:gd name="connsiteY27" fmla="*/ 1244332 h 1922214"/>
                <a:gd name="connsiteX28" fmla="*/ 1375842 w 1551929"/>
                <a:gd name="connsiteY28" fmla="*/ 881146 h 1922214"/>
                <a:gd name="connsiteX29" fmla="*/ 1377154 w 1551929"/>
                <a:gd name="connsiteY29" fmla="*/ 877978 h 1922214"/>
                <a:gd name="connsiteX30" fmla="*/ 1342310 w 1551929"/>
                <a:gd name="connsiteY30" fmla="*/ 870944 h 1922214"/>
                <a:gd name="connsiteX31" fmla="*/ 1250155 w 1551929"/>
                <a:gd name="connsiteY31" fmla="*/ 731914 h 1922214"/>
                <a:gd name="connsiteX32" fmla="*/ 1401042 w 1551929"/>
                <a:gd name="connsiteY32" fmla="*/ 581027 h 1922214"/>
                <a:gd name="connsiteX33" fmla="*/ 150887 w 1551929"/>
                <a:gd name="connsiteY33" fmla="*/ 533401 h 1922214"/>
                <a:gd name="connsiteX34" fmla="*/ 301774 w 1551929"/>
                <a:gd name="connsiteY34" fmla="*/ 684288 h 1922214"/>
                <a:gd name="connsiteX35" fmla="*/ 289917 w 1551929"/>
                <a:gd name="connsiteY35" fmla="*/ 743020 h 1922214"/>
                <a:gd name="connsiteX36" fmla="*/ 261087 w 1551929"/>
                <a:gd name="connsiteY36" fmla="*/ 785780 h 1922214"/>
                <a:gd name="connsiteX37" fmla="*/ 637019 w 1551929"/>
                <a:gd name="connsiteY37" fmla="*/ 1229336 h 1922214"/>
                <a:gd name="connsiteX38" fmla="*/ 643657 w 1551929"/>
                <a:gd name="connsiteY38" fmla="*/ 1232086 h 1922214"/>
                <a:gd name="connsiteX39" fmla="*/ 651224 w 1551929"/>
                <a:gd name="connsiteY39" fmla="*/ 1250353 h 1922214"/>
                <a:gd name="connsiteX40" fmla="*/ 651224 w 1551929"/>
                <a:gd name="connsiteY40" fmla="*/ 1255869 h 1922214"/>
                <a:gd name="connsiteX41" fmla="*/ 651920 w 1551929"/>
                <a:gd name="connsiteY41" fmla="*/ 1258040 h 1922214"/>
                <a:gd name="connsiteX42" fmla="*/ 651224 w 1551929"/>
                <a:gd name="connsiteY42" fmla="*/ 1259394 h 1922214"/>
                <a:gd name="connsiteX43" fmla="*/ 651223 w 1551929"/>
                <a:gd name="connsiteY43" fmla="*/ 1896380 h 1922214"/>
                <a:gd name="connsiteX44" fmla="*/ 625389 w 1551929"/>
                <a:gd name="connsiteY44" fmla="*/ 1922214 h 1922214"/>
                <a:gd name="connsiteX45" fmla="*/ 625390 w 1551929"/>
                <a:gd name="connsiteY45" fmla="*/ 1922213 h 1922214"/>
                <a:gd name="connsiteX46" fmla="*/ 599556 w 1551929"/>
                <a:gd name="connsiteY46" fmla="*/ 1896379 h 1922214"/>
                <a:gd name="connsiteX47" fmla="*/ 599556 w 1551929"/>
                <a:gd name="connsiteY47" fmla="*/ 1261083 h 1922214"/>
                <a:gd name="connsiteX48" fmla="*/ 221654 w 1551929"/>
                <a:gd name="connsiteY48" fmla="*/ 815203 h 1922214"/>
                <a:gd name="connsiteX49" fmla="*/ 209619 w 1551929"/>
                <a:gd name="connsiteY49" fmla="*/ 823318 h 1922214"/>
                <a:gd name="connsiteX50" fmla="*/ 150887 w 1551929"/>
                <a:gd name="connsiteY50" fmla="*/ 835175 h 1922214"/>
                <a:gd name="connsiteX51" fmla="*/ 0 w 1551929"/>
                <a:gd name="connsiteY51" fmla="*/ 684288 h 1922214"/>
                <a:gd name="connsiteX52" fmla="*/ 150887 w 1551929"/>
                <a:gd name="connsiteY52" fmla="*/ 533401 h 1922214"/>
                <a:gd name="connsiteX53" fmla="*/ 977180 w 1551929"/>
                <a:gd name="connsiteY53" fmla="*/ 497970 h 1922214"/>
                <a:gd name="connsiteX54" fmla="*/ 883730 w 1551929"/>
                <a:gd name="connsiteY54" fmla="*/ 591420 h 1922214"/>
                <a:gd name="connsiteX55" fmla="*/ 977180 w 1551929"/>
                <a:gd name="connsiteY55" fmla="*/ 684870 h 1922214"/>
                <a:gd name="connsiteX56" fmla="*/ 1070630 w 1551929"/>
                <a:gd name="connsiteY56" fmla="*/ 591420 h 1922214"/>
                <a:gd name="connsiteX57" fmla="*/ 977180 w 1551929"/>
                <a:gd name="connsiteY57" fmla="*/ 497970 h 1922214"/>
                <a:gd name="connsiteX58" fmla="*/ 977180 w 1551929"/>
                <a:gd name="connsiteY58" fmla="*/ 440533 h 1922214"/>
                <a:gd name="connsiteX59" fmla="*/ 1128067 w 1551929"/>
                <a:gd name="connsiteY59" fmla="*/ 591420 h 1922214"/>
                <a:gd name="connsiteX60" fmla="*/ 1035912 w 1551929"/>
                <a:gd name="connsiteY60" fmla="*/ 730450 h 1922214"/>
                <a:gd name="connsiteX61" fmla="*/ 997428 w 1551929"/>
                <a:gd name="connsiteY61" fmla="*/ 738219 h 1922214"/>
                <a:gd name="connsiteX62" fmla="*/ 1002380 w 1551929"/>
                <a:gd name="connsiteY62" fmla="*/ 750176 h 1922214"/>
                <a:gd name="connsiteX63" fmla="*/ 1002380 w 1551929"/>
                <a:gd name="connsiteY63" fmla="*/ 1897013 h 1922214"/>
                <a:gd name="connsiteX64" fmla="*/ 977180 w 1551929"/>
                <a:gd name="connsiteY64" fmla="*/ 1922213 h 1922214"/>
                <a:gd name="connsiteX65" fmla="*/ 951980 w 1551929"/>
                <a:gd name="connsiteY65" fmla="*/ 1897013 h 1922214"/>
                <a:gd name="connsiteX66" fmla="*/ 951980 w 1551929"/>
                <a:gd name="connsiteY66" fmla="*/ 750176 h 1922214"/>
                <a:gd name="connsiteX67" fmla="*/ 956933 w 1551929"/>
                <a:gd name="connsiteY67" fmla="*/ 738219 h 1922214"/>
                <a:gd name="connsiteX68" fmla="*/ 918448 w 1551929"/>
                <a:gd name="connsiteY68" fmla="*/ 730450 h 1922214"/>
                <a:gd name="connsiteX69" fmla="*/ 826293 w 1551929"/>
                <a:gd name="connsiteY69" fmla="*/ 591420 h 1922214"/>
                <a:gd name="connsiteX70" fmla="*/ 977180 w 1551929"/>
                <a:gd name="connsiteY70" fmla="*/ 440533 h 1922214"/>
                <a:gd name="connsiteX71" fmla="*/ 591418 w 1551929"/>
                <a:gd name="connsiteY71" fmla="*/ 57437 h 1922214"/>
                <a:gd name="connsiteX72" fmla="*/ 497968 w 1551929"/>
                <a:gd name="connsiteY72" fmla="*/ 150887 h 1922214"/>
                <a:gd name="connsiteX73" fmla="*/ 591418 w 1551929"/>
                <a:gd name="connsiteY73" fmla="*/ 244337 h 1922214"/>
                <a:gd name="connsiteX74" fmla="*/ 684868 w 1551929"/>
                <a:gd name="connsiteY74" fmla="*/ 150887 h 1922214"/>
                <a:gd name="connsiteX75" fmla="*/ 591418 w 1551929"/>
                <a:gd name="connsiteY75" fmla="*/ 57437 h 1922214"/>
                <a:gd name="connsiteX76" fmla="*/ 591418 w 1551929"/>
                <a:gd name="connsiteY76" fmla="*/ 0 h 1922214"/>
                <a:gd name="connsiteX77" fmla="*/ 742305 w 1551929"/>
                <a:gd name="connsiteY77" fmla="*/ 150887 h 1922214"/>
                <a:gd name="connsiteX78" fmla="*/ 650150 w 1551929"/>
                <a:gd name="connsiteY78" fmla="*/ 289917 h 1922214"/>
                <a:gd name="connsiteX79" fmla="*/ 614394 w 1551929"/>
                <a:gd name="connsiteY79" fmla="*/ 297135 h 1922214"/>
                <a:gd name="connsiteX80" fmla="*/ 616617 w 1551929"/>
                <a:gd name="connsiteY80" fmla="*/ 302501 h 1922214"/>
                <a:gd name="connsiteX81" fmla="*/ 616617 w 1551929"/>
                <a:gd name="connsiteY81" fmla="*/ 857168 h 1922214"/>
                <a:gd name="connsiteX82" fmla="*/ 836276 w 1551929"/>
                <a:gd name="connsiteY82" fmla="*/ 1139497 h 1922214"/>
                <a:gd name="connsiteX83" fmla="*/ 847902 w 1551929"/>
                <a:gd name="connsiteY83" fmla="*/ 1144313 h 1922214"/>
                <a:gd name="connsiteX84" fmla="*/ 855283 w 1551929"/>
                <a:gd name="connsiteY84" fmla="*/ 1162132 h 1922214"/>
                <a:gd name="connsiteX85" fmla="*/ 855283 w 1551929"/>
                <a:gd name="connsiteY85" fmla="*/ 1897013 h 1922214"/>
                <a:gd name="connsiteX86" fmla="*/ 830083 w 1551929"/>
                <a:gd name="connsiteY86" fmla="*/ 1922213 h 1922214"/>
                <a:gd name="connsiteX87" fmla="*/ 804883 w 1551929"/>
                <a:gd name="connsiteY87" fmla="*/ 1897013 h 1922214"/>
                <a:gd name="connsiteX88" fmla="*/ 804883 w 1551929"/>
                <a:gd name="connsiteY88" fmla="*/ 1178653 h 1922214"/>
                <a:gd name="connsiteX89" fmla="*/ 801296 w 1551929"/>
                <a:gd name="connsiteY89" fmla="*/ 1176614 h 1922214"/>
                <a:gd name="connsiteX90" fmla="*/ 576710 w 1551929"/>
                <a:gd name="connsiteY90" fmla="*/ 887952 h 1922214"/>
                <a:gd name="connsiteX91" fmla="*/ 573598 w 1551929"/>
                <a:gd name="connsiteY91" fmla="*/ 886663 h 1922214"/>
                <a:gd name="connsiteX92" fmla="*/ 566217 w 1551929"/>
                <a:gd name="connsiteY92" fmla="*/ 868844 h 1922214"/>
                <a:gd name="connsiteX93" fmla="*/ 566217 w 1551929"/>
                <a:gd name="connsiteY93" fmla="*/ 302501 h 1922214"/>
                <a:gd name="connsiteX94" fmla="*/ 568440 w 1551929"/>
                <a:gd name="connsiteY94" fmla="*/ 297135 h 1922214"/>
                <a:gd name="connsiteX95" fmla="*/ 532686 w 1551929"/>
                <a:gd name="connsiteY95" fmla="*/ 289917 h 1922214"/>
                <a:gd name="connsiteX96" fmla="*/ 440531 w 1551929"/>
                <a:gd name="connsiteY96" fmla="*/ 150887 h 1922214"/>
                <a:gd name="connsiteX97" fmla="*/ 591418 w 1551929"/>
                <a:gd name="connsiteY97" fmla="*/ 0 h 192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51929" h="1922214">
                  <a:moveTo>
                    <a:pt x="1401042" y="638464"/>
                  </a:moveTo>
                  <a:cubicBezTo>
                    <a:pt x="1349431" y="638464"/>
                    <a:pt x="1307592" y="680303"/>
                    <a:pt x="1307592" y="731914"/>
                  </a:cubicBezTo>
                  <a:cubicBezTo>
                    <a:pt x="1307592" y="783525"/>
                    <a:pt x="1349431" y="825364"/>
                    <a:pt x="1401042" y="825364"/>
                  </a:cubicBezTo>
                  <a:cubicBezTo>
                    <a:pt x="1452653" y="825364"/>
                    <a:pt x="1494492" y="783525"/>
                    <a:pt x="1494492" y="731914"/>
                  </a:cubicBezTo>
                  <a:cubicBezTo>
                    <a:pt x="1494492" y="680303"/>
                    <a:pt x="1452653" y="638464"/>
                    <a:pt x="1401042" y="638464"/>
                  </a:cubicBezTo>
                  <a:close/>
                  <a:moveTo>
                    <a:pt x="150887" y="590838"/>
                  </a:moveTo>
                  <a:cubicBezTo>
                    <a:pt x="99276" y="590838"/>
                    <a:pt x="57437" y="632677"/>
                    <a:pt x="57437" y="684288"/>
                  </a:cubicBezTo>
                  <a:cubicBezTo>
                    <a:pt x="57437" y="735899"/>
                    <a:pt x="99276" y="777738"/>
                    <a:pt x="150887" y="777738"/>
                  </a:cubicBezTo>
                  <a:cubicBezTo>
                    <a:pt x="202498" y="777738"/>
                    <a:pt x="244337" y="735899"/>
                    <a:pt x="244337" y="684288"/>
                  </a:cubicBezTo>
                  <a:cubicBezTo>
                    <a:pt x="244337" y="632677"/>
                    <a:pt x="202498" y="590838"/>
                    <a:pt x="150887" y="590838"/>
                  </a:cubicBezTo>
                  <a:close/>
                  <a:moveTo>
                    <a:pt x="1401042" y="581027"/>
                  </a:moveTo>
                  <a:cubicBezTo>
                    <a:pt x="1484375" y="581027"/>
                    <a:pt x="1551929" y="648581"/>
                    <a:pt x="1551929" y="731914"/>
                  </a:cubicBezTo>
                  <a:cubicBezTo>
                    <a:pt x="1551929" y="794414"/>
                    <a:pt x="1513930" y="848038"/>
                    <a:pt x="1459774" y="870944"/>
                  </a:cubicBezTo>
                  <a:lnTo>
                    <a:pt x="1424930" y="877978"/>
                  </a:lnTo>
                  <a:lnTo>
                    <a:pt x="1426242" y="881146"/>
                  </a:lnTo>
                  <a:lnTo>
                    <a:pt x="1426242" y="1251694"/>
                  </a:lnTo>
                  <a:cubicBezTo>
                    <a:pt x="1426242" y="1258653"/>
                    <a:pt x="1423422" y="1264953"/>
                    <a:pt x="1418861" y="1269513"/>
                  </a:cubicBezTo>
                  <a:lnTo>
                    <a:pt x="1416591" y="1270454"/>
                  </a:lnTo>
                  <a:lnTo>
                    <a:pt x="1413472" y="1277979"/>
                  </a:lnTo>
                  <a:lnTo>
                    <a:pt x="1157161" y="1534216"/>
                  </a:lnTo>
                  <a:lnTo>
                    <a:pt x="1157161" y="1897013"/>
                  </a:lnTo>
                  <a:cubicBezTo>
                    <a:pt x="1157161" y="1910931"/>
                    <a:pt x="1145879" y="1922213"/>
                    <a:pt x="1131961" y="1922213"/>
                  </a:cubicBezTo>
                  <a:cubicBezTo>
                    <a:pt x="1118043" y="1922213"/>
                    <a:pt x="1106761" y="1910931"/>
                    <a:pt x="1106761" y="1897013"/>
                  </a:cubicBezTo>
                  <a:lnTo>
                    <a:pt x="1106761" y="1526465"/>
                  </a:lnTo>
                  <a:lnTo>
                    <a:pt x="1108478" y="1522320"/>
                  </a:lnTo>
                  <a:lnTo>
                    <a:pt x="1108400" y="1522133"/>
                  </a:lnTo>
                  <a:cubicBezTo>
                    <a:pt x="1108401" y="1515684"/>
                    <a:pt x="1110863" y="1509235"/>
                    <a:pt x="1115784" y="1504315"/>
                  </a:cubicBezTo>
                  <a:lnTo>
                    <a:pt x="1375842" y="1244332"/>
                  </a:lnTo>
                  <a:lnTo>
                    <a:pt x="1375842" y="881146"/>
                  </a:lnTo>
                  <a:lnTo>
                    <a:pt x="1377154" y="877978"/>
                  </a:lnTo>
                  <a:lnTo>
                    <a:pt x="1342310" y="870944"/>
                  </a:lnTo>
                  <a:cubicBezTo>
                    <a:pt x="1288154" y="848038"/>
                    <a:pt x="1250155" y="794414"/>
                    <a:pt x="1250155" y="731914"/>
                  </a:cubicBezTo>
                  <a:cubicBezTo>
                    <a:pt x="1250155" y="648581"/>
                    <a:pt x="1317709" y="581027"/>
                    <a:pt x="1401042" y="581027"/>
                  </a:cubicBezTo>
                  <a:close/>
                  <a:moveTo>
                    <a:pt x="150887" y="533401"/>
                  </a:moveTo>
                  <a:cubicBezTo>
                    <a:pt x="234220" y="533401"/>
                    <a:pt x="301774" y="600955"/>
                    <a:pt x="301774" y="684288"/>
                  </a:cubicBezTo>
                  <a:cubicBezTo>
                    <a:pt x="301774" y="705121"/>
                    <a:pt x="297552" y="724968"/>
                    <a:pt x="289917" y="743020"/>
                  </a:cubicBezTo>
                  <a:lnTo>
                    <a:pt x="261087" y="785780"/>
                  </a:lnTo>
                  <a:lnTo>
                    <a:pt x="637019" y="1229336"/>
                  </a:lnTo>
                  <a:lnTo>
                    <a:pt x="643657" y="1232086"/>
                  </a:lnTo>
                  <a:cubicBezTo>
                    <a:pt x="648332" y="1236761"/>
                    <a:pt x="651224" y="1243219"/>
                    <a:pt x="651224" y="1250353"/>
                  </a:cubicBezTo>
                  <a:lnTo>
                    <a:pt x="651224" y="1255869"/>
                  </a:lnTo>
                  <a:lnTo>
                    <a:pt x="651920" y="1258040"/>
                  </a:lnTo>
                  <a:lnTo>
                    <a:pt x="651224" y="1259394"/>
                  </a:lnTo>
                  <a:lnTo>
                    <a:pt x="651223" y="1896380"/>
                  </a:lnTo>
                  <a:cubicBezTo>
                    <a:pt x="651223" y="1910648"/>
                    <a:pt x="639657" y="1922214"/>
                    <a:pt x="625389" y="1922214"/>
                  </a:cubicBezTo>
                  <a:lnTo>
                    <a:pt x="625390" y="1922213"/>
                  </a:lnTo>
                  <a:cubicBezTo>
                    <a:pt x="611122" y="1922213"/>
                    <a:pt x="599556" y="1910647"/>
                    <a:pt x="599556" y="1896379"/>
                  </a:cubicBezTo>
                  <a:lnTo>
                    <a:pt x="599556" y="1261083"/>
                  </a:lnTo>
                  <a:lnTo>
                    <a:pt x="221654" y="815203"/>
                  </a:lnTo>
                  <a:lnTo>
                    <a:pt x="209619" y="823318"/>
                  </a:lnTo>
                  <a:cubicBezTo>
                    <a:pt x="191567" y="830953"/>
                    <a:pt x="171720" y="835175"/>
                    <a:pt x="150887" y="835175"/>
                  </a:cubicBezTo>
                  <a:cubicBezTo>
                    <a:pt x="67554" y="835175"/>
                    <a:pt x="0" y="767621"/>
                    <a:pt x="0" y="684288"/>
                  </a:cubicBezTo>
                  <a:cubicBezTo>
                    <a:pt x="0" y="600955"/>
                    <a:pt x="67554" y="533401"/>
                    <a:pt x="150887" y="533401"/>
                  </a:cubicBezTo>
                  <a:close/>
                  <a:moveTo>
                    <a:pt x="977180" y="497970"/>
                  </a:moveTo>
                  <a:cubicBezTo>
                    <a:pt x="925569" y="497970"/>
                    <a:pt x="883730" y="539809"/>
                    <a:pt x="883730" y="591420"/>
                  </a:cubicBezTo>
                  <a:cubicBezTo>
                    <a:pt x="883730" y="643031"/>
                    <a:pt x="925569" y="684870"/>
                    <a:pt x="977180" y="684870"/>
                  </a:cubicBezTo>
                  <a:cubicBezTo>
                    <a:pt x="1028791" y="684870"/>
                    <a:pt x="1070630" y="643031"/>
                    <a:pt x="1070630" y="591420"/>
                  </a:cubicBezTo>
                  <a:cubicBezTo>
                    <a:pt x="1070630" y="539809"/>
                    <a:pt x="1028791" y="497970"/>
                    <a:pt x="977180" y="497970"/>
                  </a:cubicBezTo>
                  <a:close/>
                  <a:moveTo>
                    <a:pt x="977180" y="440533"/>
                  </a:moveTo>
                  <a:cubicBezTo>
                    <a:pt x="1060513" y="440533"/>
                    <a:pt x="1128067" y="508087"/>
                    <a:pt x="1128067" y="591420"/>
                  </a:cubicBezTo>
                  <a:cubicBezTo>
                    <a:pt x="1128067" y="653920"/>
                    <a:pt x="1090068" y="707544"/>
                    <a:pt x="1035912" y="730450"/>
                  </a:cubicBezTo>
                  <a:lnTo>
                    <a:pt x="997428" y="738219"/>
                  </a:lnTo>
                  <a:lnTo>
                    <a:pt x="1002380" y="750176"/>
                  </a:lnTo>
                  <a:lnTo>
                    <a:pt x="1002380" y="1897013"/>
                  </a:lnTo>
                  <a:cubicBezTo>
                    <a:pt x="1002380" y="1910931"/>
                    <a:pt x="991098" y="1922213"/>
                    <a:pt x="977180" y="1922213"/>
                  </a:cubicBezTo>
                  <a:cubicBezTo>
                    <a:pt x="963262" y="1922213"/>
                    <a:pt x="951980" y="1910931"/>
                    <a:pt x="951980" y="1897013"/>
                  </a:cubicBezTo>
                  <a:lnTo>
                    <a:pt x="951980" y="750176"/>
                  </a:lnTo>
                  <a:lnTo>
                    <a:pt x="956933" y="738219"/>
                  </a:lnTo>
                  <a:lnTo>
                    <a:pt x="918448" y="730450"/>
                  </a:lnTo>
                  <a:cubicBezTo>
                    <a:pt x="864292" y="707544"/>
                    <a:pt x="826293" y="653920"/>
                    <a:pt x="826293" y="591420"/>
                  </a:cubicBezTo>
                  <a:cubicBezTo>
                    <a:pt x="826293" y="508087"/>
                    <a:pt x="893847" y="440533"/>
                    <a:pt x="977180" y="440533"/>
                  </a:cubicBezTo>
                  <a:close/>
                  <a:moveTo>
                    <a:pt x="591418" y="57437"/>
                  </a:moveTo>
                  <a:cubicBezTo>
                    <a:pt x="539807" y="57437"/>
                    <a:pt x="497968" y="99276"/>
                    <a:pt x="497968" y="150887"/>
                  </a:cubicBezTo>
                  <a:cubicBezTo>
                    <a:pt x="497968" y="202498"/>
                    <a:pt x="539807" y="244337"/>
                    <a:pt x="591418" y="244337"/>
                  </a:cubicBezTo>
                  <a:cubicBezTo>
                    <a:pt x="643029" y="244337"/>
                    <a:pt x="684868" y="202498"/>
                    <a:pt x="684868" y="150887"/>
                  </a:cubicBezTo>
                  <a:cubicBezTo>
                    <a:pt x="684868" y="99276"/>
                    <a:pt x="643029" y="57437"/>
                    <a:pt x="591418" y="57437"/>
                  </a:cubicBezTo>
                  <a:close/>
                  <a:moveTo>
                    <a:pt x="591418" y="0"/>
                  </a:moveTo>
                  <a:cubicBezTo>
                    <a:pt x="674751" y="0"/>
                    <a:pt x="742305" y="67554"/>
                    <a:pt x="742305" y="150887"/>
                  </a:cubicBezTo>
                  <a:cubicBezTo>
                    <a:pt x="742305" y="213387"/>
                    <a:pt x="704306" y="267011"/>
                    <a:pt x="650150" y="289917"/>
                  </a:cubicBezTo>
                  <a:lnTo>
                    <a:pt x="614394" y="297135"/>
                  </a:lnTo>
                  <a:lnTo>
                    <a:pt x="616617" y="302501"/>
                  </a:lnTo>
                  <a:lnTo>
                    <a:pt x="616617" y="857168"/>
                  </a:lnTo>
                  <a:lnTo>
                    <a:pt x="836276" y="1139497"/>
                  </a:lnTo>
                  <a:lnTo>
                    <a:pt x="847902" y="1144313"/>
                  </a:lnTo>
                  <a:cubicBezTo>
                    <a:pt x="852463" y="1148873"/>
                    <a:pt x="855283" y="1155173"/>
                    <a:pt x="855283" y="1162132"/>
                  </a:cubicBezTo>
                  <a:lnTo>
                    <a:pt x="855283" y="1897013"/>
                  </a:lnTo>
                  <a:cubicBezTo>
                    <a:pt x="855283" y="1910931"/>
                    <a:pt x="844001" y="1922213"/>
                    <a:pt x="830083" y="1922213"/>
                  </a:cubicBezTo>
                  <a:cubicBezTo>
                    <a:pt x="816165" y="1922213"/>
                    <a:pt x="804883" y="1910931"/>
                    <a:pt x="804883" y="1897013"/>
                  </a:cubicBezTo>
                  <a:lnTo>
                    <a:pt x="804883" y="1178653"/>
                  </a:lnTo>
                  <a:lnTo>
                    <a:pt x="801296" y="1176614"/>
                  </a:lnTo>
                  <a:lnTo>
                    <a:pt x="576710" y="887952"/>
                  </a:lnTo>
                  <a:lnTo>
                    <a:pt x="573598" y="886663"/>
                  </a:lnTo>
                  <a:cubicBezTo>
                    <a:pt x="569037" y="882103"/>
                    <a:pt x="566217" y="875803"/>
                    <a:pt x="566217" y="868844"/>
                  </a:cubicBezTo>
                  <a:lnTo>
                    <a:pt x="566217" y="302501"/>
                  </a:lnTo>
                  <a:lnTo>
                    <a:pt x="568440" y="297135"/>
                  </a:lnTo>
                  <a:lnTo>
                    <a:pt x="532686" y="289917"/>
                  </a:lnTo>
                  <a:cubicBezTo>
                    <a:pt x="478530" y="267011"/>
                    <a:pt x="440531" y="213387"/>
                    <a:pt x="440531" y="150887"/>
                  </a:cubicBezTo>
                  <a:cubicBezTo>
                    <a:pt x="440531" y="67554"/>
                    <a:pt x="508085" y="0"/>
                    <a:pt x="591418" y="0"/>
                  </a:cubicBezTo>
                  <a:close/>
                </a:path>
              </a:pathLst>
            </a:cu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94" name="Gruppieren 1993">
            <a:extLst>
              <a:ext uri="{FF2B5EF4-FFF2-40B4-BE49-F238E27FC236}">
                <a16:creationId xmlns:a16="http://schemas.microsoft.com/office/drawing/2014/main" id="{F349A87B-A8AA-4469-B758-B0D7B31845C4}"/>
              </a:ext>
            </a:extLst>
          </p:cNvPr>
          <p:cNvGrpSpPr>
            <a:grpSpLocks noChangeAspect="1"/>
          </p:cNvGrpSpPr>
          <p:nvPr/>
        </p:nvGrpSpPr>
        <p:grpSpPr>
          <a:xfrm>
            <a:off x="7852902" y="4879041"/>
            <a:ext cx="333357" cy="285619"/>
            <a:chOff x="5762625" y="1244600"/>
            <a:chExt cx="654051" cy="560388"/>
          </a:xfrm>
          <a:solidFill>
            <a:schemeClr val="bg2"/>
          </a:solidFill>
        </p:grpSpPr>
        <p:sp>
          <p:nvSpPr>
            <p:cNvPr id="1995" name="Freeform 5">
              <a:extLst>
                <a:ext uri="{FF2B5EF4-FFF2-40B4-BE49-F238E27FC236}">
                  <a16:creationId xmlns:a16="http://schemas.microsoft.com/office/drawing/2014/main" id="{2BCA999F-935F-4894-BC51-9920BDD7C1F0}"/>
                </a:ext>
              </a:extLst>
            </p:cNvPr>
            <p:cNvSpPr>
              <a:spLocks/>
            </p:cNvSpPr>
            <p:nvPr/>
          </p:nvSpPr>
          <p:spPr bwMode="auto">
            <a:xfrm>
              <a:off x="6221413" y="1592263"/>
              <a:ext cx="22225" cy="20638"/>
            </a:xfrm>
            <a:custGeom>
              <a:avLst/>
              <a:gdLst>
                <a:gd name="T0" fmla="*/ 21 w 37"/>
                <a:gd name="T1" fmla="*/ 0 h 32"/>
                <a:gd name="T2" fmla="*/ 16 w 37"/>
                <a:gd name="T3" fmla="*/ 0 h 32"/>
                <a:gd name="T4" fmla="*/ 0 w 37"/>
                <a:gd name="T5" fmla="*/ 16 h 32"/>
                <a:gd name="T6" fmla="*/ 16 w 37"/>
                <a:gd name="T7" fmla="*/ 32 h 32"/>
                <a:gd name="T8" fmla="*/ 21 w 37"/>
                <a:gd name="T9" fmla="*/ 32 h 32"/>
                <a:gd name="T10" fmla="*/ 37 w 37"/>
                <a:gd name="T11" fmla="*/ 16 h 32"/>
                <a:gd name="T12" fmla="*/ 21 w 3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21" y="0"/>
                  </a:moveTo>
                  <a:cubicBezTo>
                    <a:pt x="16" y="0"/>
                    <a:pt x="16" y="0"/>
                    <a:pt x="16" y="0"/>
                  </a:cubicBezTo>
                  <a:cubicBezTo>
                    <a:pt x="7" y="0"/>
                    <a:pt x="0" y="7"/>
                    <a:pt x="0" y="16"/>
                  </a:cubicBezTo>
                  <a:cubicBezTo>
                    <a:pt x="0" y="25"/>
                    <a:pt x="7" y="32"/>
                    <a:pt x="16" y="32"/>
                  </a:cubicBezTo>
                  <a:cubicBezTo>
                    <a:pt x="21" y="32"/>
                    <a:pt x="21" y="32"/>
                    <a:pt x="21" y="32"/>
                  </a:cubicBezTo>
                  <a:cubicBezTo>
                    <a:pt x="30" y="32"/>
                    <a:pt x="37" y="25"/>
                    <a:pt x="37" y="16"/>
                  </a:cubicBezTo>
                  <a:cubicBezTo>
                    <a:pt x="37" y="7"/>
                    <a:pt x="30"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6" name="Freeform 6">
              <a:extLst>
                <a:ext uri="{FF2B5EF4-FFF2-40B4-BE49-F238E27FC236}">
                  <a16:creationId xmlns:a16="http://schemas.microsoft.com/office/drawing/2014/main" id="{FD39BB77-F73D-4D1E-8CA0-E1E5BC64A89F}"/>
                </a:ext>
              </a:extLst>
            </p:cNvPr>
            <p:cNvSpPr>
              <a:spLocks/>
            </p:cNvSpPr>
            <p:nvPr/>
          </p:nvSpPr>
          <p:spPr bwMode="auto">
            <a:xfrm>
              <a:off x="5948363" y="1244600"/>
              <a:ext cx="468313" cy="368300"/>
            </a:xfrm>
            <a:custGeom>
              <a:avLst/>
              <a:gdLst>
                <a:gd name="T0" fmla="*/ 538 w 742"/>
                <a:gd name="T1" fmla="*/ 173 h 582"/>
                <a:gd name="T2" fmla="*/ 484 w 742"/>
                <a:gd name="T3" fmla="*/ 173 h 582"/>
                <a:gd name="T4" fmla="*/ 224 w 742"/>
                <a:gd name="T5" fmla="*/ 0 h 582"/>
                <a:gd name="T6" fmla="*/ 6 w 742"/>
                <a:gd name="T7" fmla="*/ 99 h 582"/>
                <a:gd name="T8" fmla="*/ 8 w 742"/>
                <a:gd name="T9" fmla="*/ 122 h 582"/>
                <a:gd name="T10" fmla="*/ 30 w 742"/>
                <a:gd name="T11" fmla="*/ 120 h 582"/>
                <a:gd name="T12" fmla="*/ 224 w 742"/>
                <a:gd name="T13" fmla="*/ 32 h 582"/>
                <a:gd name="T14" fmla="*/ 459 w 742"/>
                <a:gd name="T15" fmla="*/ 196 h 582"/>
                <a:gd name="T16" fmla="*/ 474 w 742"/>
                <a:gd name="T17" fmla="*/ 205 h 582"/>
                <a:gd name="T18" fmla="*/ 475 w 742"/>
                <a:gd name="T19" fmla="*/ 205 h 582"/>
                <a:gd name="T20" fmla="*/ 476 w 742"/>
                <a:gd name="T21" fmla="*/ 205 h 582"/>
                <a:gd name="T22" fmla="*/ 538 w 742"/>
                <a:gd name="T23" fmla="*/ 205 h 582"/>
                <a:gd name="T24" fmla="*/ 710 w 742"/>
                <a:gd name="T25" fmla="*/ 377 h 582"/>
                <a:gd name="T26" fmla="*/ 538 w 742"/>
                <a:gd name="T27" fmla="*/ 550 h 582"/>
                <a:gd name="T28" fmla="*/ 500 w 742"/>
                <a:gd name="T29" fmla="*/ 550 h 582"/>
                <a:gd name="T30" fmla="*/ 484 w 742"/>
                <a:gd name="T31" fmla="*/ 566 h 582"/>
                <a:gd name="T32" fmla="*/ 500 w 742"/>
                <a:gd name="T33" fmla="*/ 582 h 582"/>
                <a:gd name="T34" fmla="*/ 538 w 742"/>
                <a:gd name="T35" fmla="*/ 582 h 582"/>
                <a:gd name="T36" fmla="*/ 742 w 742"/>
                <a:gd name="T37" fmla="*/ 377 h 582"/>
                <a:gd name="T38" fmla="*/ 538 w 742"/>
                <a:gd name="T39" fmla="*/ 173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2" h="582">
                  <a:moveTo>
                    <a:pt x="538" y="173"/>
                  </a:moveTo>
                  <a:cubicBezTo>
                    <a:pt x="484" y="173"/>
                    <a:pt x="484" y="173"/>
                    <a:pt x="484" y="173"/>
                  </a:cubicBezTo>
                  <a:cubicBezTo>
                    <a:pt x="434" y="69"/>
                    <a:pt x="330" y="0"/>
                    <a:pt x="224" y="0"/>
                  </a:cubicBezTo>
                  <a:cubicBezTo>
                    <a:pt x="141" y="0"/>
                    <a:pt x="61" y="36"/>
                    <a:pt x="6" y="99"/>
                  </a:cubicBezTo>
                  <a:cubicBezTo>
                    <a:pt x="0" y="106"/>
                    <a:pt x="1" y="116"/>
                    <a:pt x="8" y="122"/>
                  </a:cubicBezTo>
                  <a:cubicBezTo>
                    <a:pt x="14" y="128"/>
                    <a:pt x="25" y="127"/>
                    <a:pt x="30" y="120"/>
                  </a:cubicBezTo>
                  <a:cubicBezTo>
                    <a:pt x="79" y="64"/>
                    <a:pt x="150" y="32"/>
                    <a:pt x="224" y="32"/>
                  </a:cubicBezTo>
                  <a:cubicBezTo>
                    <a:pt x="321" y="32"/>
                    <a:pt x="416" y="98"/>
                    <a:pt x="459" y="196"/>
                  </a:cubicBezTo>
                  <a:cubicBezTo>
                    <a:pt x="462" y="201"/>
                    <a:pt x="468" y="205"/>
                    <a:pt x="474" y="205"/>
                  </a:cubicBezTo>
                  <a:cubicBezTo>
                    <a:pt x="474" y="205"/>
                    <a:pt x="475" y="205"/>
                    <a:pt x="475" y="205"/>
                  </a:cubicBezTo>
                  <a:cubicBezTo>
                    <a:pt x="475" y="205"/>
                    <a:pt x="476" y="205"/>
                    <a:pt x="476" y="205"/>
                  </a:cubicBezTo>
                  <a:cubicBezTo>
                    <a:pt x="538" y="205"/>
                    <a:pt x="538" y="205"/>
                    <a:pt x="538" y="205"/>
                  </a:cubicBezTo>
                  <a:cubicBezTo>
                    <a:pt x="633" y="205"/>
                    <a:pt x="710" y="282"/>
                    <a:pt x="710" y="377"/>
                  </a:cubicBezTo>
                  <a:cubicBezTo>
                    <a:pt x="710" y="472"/>
                    <a:pt x="633" y="550"/>
                    <a:pt x="538" y="550"/>
                  </a:cubicBezTo>
                  <a:cubicBezTo>
                    <a:pt x="500" y="550"/>
                    <a:pt x="500" y="550"/>
                    <a:pt x="500" y="550"/>
                  </a:cubicBezTo>
                  <a:cubicBezTo>
                    <a:pt x="491" y="550"/>
                    <a:pt x="484" y="557"/>
                    <a:pt x="484" y="566"/>
                  </a:cubicBezTo>
                  <a:cubicBezTo>
                    <a:pt x="484" y="575"/>
                    <a:pt x="491" y="582"/>
                    <a:pt x="500" y="582"/>
                  </a:cubicBezTo>
                  <a:cubicBezTo>
                    <a:pt x="538" y="582"/>
                    <a:pt x="538" y="582"/>
                    <a:pt x="538" y="582"/>
                  </a:cubicBezTo>
                  <a:cubicBezTo>
                    <a:pt x="651" y="582"/>
                    <a:pt x="742" y="490"/>
                    <a:pt x="742" y="377"/>
                  </a:cubicBezTo>
                  <a:cubicBezTo>
                    <a:pt x="742" y="265"/>
                    <a:pt x="651" y="173"/>
                    <a:pt x="538"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7" name="Freeform 7">
              <a:extLst>
                <a:ext uri="{FF2B5EF4-FFF2-40B4-BE49-F238E27FC236}">
                  <a16:creationId xmlns:a16="http://schemas.microsoft.com/office/drawing/2014/main" id="{9D07C107-AC2B-4403-A100-7B4394DB2CA5}"/>
                </a:ext>
              </a:extLst>
            </p:cNvPr>
            <p:cNvSpPr>
              <a:spLocks/>
            </p:cNvSpPr>
            <p:nvPr/>
          </p:nvSpPr>
          <p:spPr bwMode="auto">
            <a:xfrm>
              <a:off x="6126163" y="1312863"/>
              <a:ext cx="236538" cy="163513"/>
            </a:xfrm>
            <a:custGeom>
              <a:avLst/>
              <a:gdLst>
                <a:gd name="T0" fmla="*/ 152 w 374"/>
                <a:gd name="T1" fmla="*/ 162 h 258"/>
                <a:gd name="T2" fmla="*/ 153 w 374"/>
                <a:gd name="T3" fmla="*/ 163 h 258"/>
                <a:gd name="T4" fmla="*/ 209 w 374"/>
                <a:gd name="T5" fmla="*/ 163 h 258"/>
                <a:gd name="T6" fmla="*/ 350 w 374"/>
                <a:gd name="T7" fmla="*/ 251 h 258"/>
                <a:gd name="T8" fmla="*/ 361 w 374"/>
                <a:gd name="T9" fmla="*/ 258 h 258"/>
                <a:gd name="T10" fmla="*/ 366 w 374"/>
                <a:gd name="T11" fmla="*/ 257 h 258"/>
                <a:gd name="T12" fmla="*/ 372 w 374"/>
                <a:gd name="T13" fmla="*/ 241 h 258"/>
                <a:gd name="T14" fmla="*/ 209 w 374"/>
                <a:gd name="T15" fmla="*/ 139 h 258"/>
                <a:gd name="T16" fmla="*/ 158 w 374"/>
                <a:gd name="T17" fmla="*/ 139 h 258"/>
                <a:gd name="T18" fmla="*/ 18 w 374"/>
                <a:gd name="T19" fmla="*/ 3 h 258"/>
                <a:gd name="T20" fmla="*/ 3 w 374"/>
                <a:gd name="T21" fmla="*/ 9 h 258"/>
                <a:gd name="T22" fmla="*/ 9 w 374"/>
                <a:gd name="T23" fmla="*/ 25 h 258"/>
                <a:gd name="T24" fmla="*/ 139 w 374"/>
                <a:gd name="T25" fmla="*/ 155 h 258"/>
                <a:gd name="T26" fmla="*/ 150 w 374"/>
                <a:gd name="T27" fmla="*/ 163 h 258"/>
                <a:gd name="T28" fmla="*/ 152 w 374"/>
                <a:gd name="T29" fmla="*/ 16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4" h="258">
                  <a:moveTo>
                    <a:pt x="152" y="162"/>
                  </a:moveTo>
                  <a:cubicBezTo>
                    <a:pt x="152" y="162"/>
                    <a:pt x="153" y="163"/>
                    <a:pt x="153" y="163"/>
                  </a:cubicBezTo>
                  <a:cubicBezTo>
                    <a:pt x="209" y="163"/>
                    <a:pt x="209" y="163"/>
                    <a:pt x="209" y="163"/>
                  </a:cubicBezTo>
                  <a:cubicBezTo>
                    <a:pt x="268" y="163"/>
                    <a:pt x="324" y="197"/>
                    <a:pt x="350" y="251"/>
                  </a:cubicBezTo>
                  <a:cubicBezTo>
                    <a:pt x="352" y="256"/>
                    <a:pt x="356" y="258"/>
                    <a:pt x="361" y="258"/>
                  </a:cubicBezTo>
                  <a:cubicBezTo>
                    <a:pt x="363" y="258"/>
                    <a:pt x="364" y="258"/>
                    <a:pt x="366" y="257"/>
                  </a:cubicBezTo>
                  <a:cubicBezTo>
                    <a:pt x="372" y="254"/>
                    <a:pt x="374" y="247"/>
                    <a:pt x="372" y="241"/>
                  </a:cubicBezTo>
                  <a:cubicBezTo>
                    <a:pt x="341" y="179"/>
                    <a:pt x="277" y="139"/>
                    <a:pt x="209" y="139"/>
                  </a:cubicBezTo>
                  <a:cubicBezTo>
                    <a:pt x="158" y="139"/>
                    <a:pt x="158" y="139"/>
                    <a:pt x="158" y="139"/>
                  </a:cubicBezTo>
                  <a:cubicBezTo>
                    <a:pt x="128" y="77"/>
                    <a:pt x="78" y="28"/>
                    <a:pt x="18" y="3"/>
                  </a:cubicBezTo>
                  <a:cubicBezTo>
                    <a:pt x="12" y="0"/>
                    <a:pt x="5" y="3"/>
                    <a:pt x="3" y="9"/>
                  </a:cubicBezTo>
                  <a:cubicBezTo>
                    <a:pt x="0" y="15"/>
                    <a:pt x="3" y="22"/>
                    <a:pt x="9" y="25"/>
                  </a:cubicBezTo>
                  <a:cubicBezTo>
                    <a:pt x="65" y="49"/>
                    <a:pt x="113" y="96"/>
                    <a:pt x="139" y="155"/>
                  </a:cubicBezTo>
                  <a:cubicBezTo>
                    <a:pt x="141" y="160"/>
                    <a:pt x="145" y="163"/>
                    <a:pt x="150" y="163"/>
                  </a:cubicBezTo>
                  <a:cubicBezTo>
                    <a:pt x="151" y="163"/>
                    <a:pt x="151" y="162"/>
                    <a:pt x="15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8" name="Freeform 8">
              <a:extLst>
                <a:ext uri="{FF2B5EF4-FFF2-40B4-BE49-F238E27FC236}">
                  <a16:creationId xmlns:a16="http://schemas.microsoft.com/office/drawing/2014/main" id="{C24780FB-B032-436E-85E2-19B143ECF463}"/>
                </a:ext>
              </a:extLst>
            </p:cNvPr>
            <p:cNvSpPr>
              <a:spLocks/>
            </p:cNvSpPr>
            <p:nvPr/>
          </p:nvSpPr>
          <p:spPr bwMode="auto">
            <a:xfrm>
              <a:off x="6353175" y="1476375"/>
              <a:ext cx="20638" cy="41275"/>
            </a:xfrm>
            <a:custGeom>
              <a:avLst/>
              <a:gdLst>
                <a:gd name="T0" fmla="*/ 2 w 32"/>
                <a:gd name="T1" fmla="*/ 16 h 65"/>
                <a:gd name="T2" fmla="*/ 7 w 32"/>
                <a:gd name="T3" fmla="*/ 53 h 65"/>
                <a:gd name="T4" fmla="*/ 19 w 32"/>
                <a:gd name="T5" fmla="*/ 65 h 65"/>
                <a:gd name="T6" fmla="*/ 20 w 32"/>
                <a:gd name="T7" fmla="*/ 65 h 65"/>
                <a:gd name="T8" fmla="*/ 31 w 32"/>
                <a:gd name="T9" fmla="*/ 52 h 65"/>
                <a:gd name="T10" fmla="*/ 25 w 32"/>
                <a:gd name="T11" fmla="*/ 10 h 65"/>
                <a:gd name="T12" fmla="*/ 10 w 32"/>
                <a:gd name="T13" fmla="*/ 2 h 65"/>
                <a:gd name="T14" fmla="*/ 2 w 32"/>
                <a:gd name="T15" fmla="*/ 1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65">
                  <a:moveTo>
                    <a:pt x="2" y="16"/>
                  </a:moveTo>
                  <a:cubicBezTo>
                    <a:pt x="5" y="28"/>
                    <a:pt x="7" y="41"/>
                    <a:pt x="7" y="53"/>
                  </a:cubicBezTo>
                  <a:cubicBezTo>
                    <a:pt x="8" y="60"/>
                    <a:pt x="13" y="65"/>
                    <a:pt x="19" y="65"/>
                  </a:cubicBezTo>
                  <a:cubicBezTo>
                    <a:pt x="20" y="65"/>
                    <a:pt x="20" y="65"/>
                    <a:pt x="20" y="65"/>
                  </a:cubicBezTo>
                  <a:cubicBezTo>
                    <a:pt x="27" y="65"/>
                    <a:pt x="32" y="59"/>
                    <a:pt x="31" y="52"/>
                  </a:cubicBezTo>
                  <a:cubicBezTo>
                    <a:pt x="31" y="38"/>
                    <a:pt x="29" y="24"/>
                    <a:pt x="25" y="10"/>
                  </a:cubicBezTo>
                  <a:cubicBezTo>
                    <a:pt x="23" y="3"/>
                    <a:pt x="16" y="0"/>
                    <a:pt x="10" y="2"/>
                  </a:cubicBezTo>
                  <a:cubicBezTo>
                    <a:pt x="3" y="3"/>
                    <a:pt x="0" y="10"/>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9" name="Freeform 9">
              <a:extLst>
                <a:ext uri="{FF2B5EF4-FFF2-40B4-BE49-F238E27FC236}">
                  <a16:creationId xmlns:a16="http://schemas.microsoft.com/office/drawing/2014/main" id="{2581540A-6CC9-469C-944B-72E5DA5A194A}"/>
                </a:ext>
              </a:extLst>
            </p:cNvPr>
            <p:cNvSpPr>
              <a:spLocks/>
            </p:cNvSpPr>
            <p:nvPr/>
          </p:nvSpPr>
          <p:spPr bwMode="auto">
            <a:xfrm>
              <a:off x="5762625" y="1325563"/>
              <a:ext cx="449263" cy="479425"/>
            </a:xfrm>
            <a:custGeom>
              <a:avLst/>
              <a:gdLst>
                <a:gd name="T0" fmla="*/ 695 w 711"/>
                <a:gd name="T1" fmla="*/ 422 h 758"/>
                <a:gd name="T2" fmla="*/ 604 w 711"/>
                <a:gd name="T3" fmla="*/ 422 h 758"/>
                <a:gd name="T4" fmla="*/ 604 w 711"/>
                <a:gd name="T5" fmla="*/ 348 h 758"/>
                <a:gd name="T6" fmla="*/ 588 w 711"/>
                <a:gd name="T7" fmla="*/ 332 h 758"/>
                <a:gd name="T8" fmla="*/ 448 w 711"/>
                <a:gd name="T9" fmla="*/ 332 h 758"/>
                <a:gd name="T10" fmla="*/ 432 w 711"/>
                <a:gd name="T11" fmla="*/ 348 h 758"/>
                <a:gd name="T12" fmla="*/ 432 w 711"/>
                <a:gd name="T13" fmla="*/ 422 h 758"/>
                <a:gd name="T14" fmla="*/ 204 w 711"/>
                <a:gd name="T15" fmla="*/ 422 h 758"/>
                <a:gd name="T16" fmla="*/ 32 w 711"/>
                <a:gd name="T17" fmla="*/ 249 h 758"/>
                <a:gd name="T18" fmla="*/ 204 w 711"/>
                <a:gd name="T19" fmla="*/ 77 h 758"/>
                <a:gd name="T20" fmla="*/ 263 w 711"/>
                <a:gd name="T21" fmla="*/ 77 h 758"/>
                <a:gd name="T22" fmla="*/ 277 w 711"/>
                <a:gd name="T23" fmla="*/ 69 h 758"/>
                <a:gd name="T24" fmla="*/ 280 w 711"/>
                <a:gd name="T25" fmla="*/ 64 h 758"/>
                <a:gd name="T26" fmla="*/ 299 w 711"/>
                <a:gd name="T27" fmla="*/ 27 h 758"/>
                <a:gd name="T28" fmla="*/ 294 w 711"/>
                <a:gd name="T29" fmla="*/ 5 h 758"/>
                <a:gd name="T30" fmla="*/ 272 w 711"/>
                <a:gd name="T31" fmla="*/ 10 h 758"/>
                <a:gd name="T32" fmla="*/ 254 w 711"/>
                <a:gd name="T33" fmla="*/ 45 h 758"/>
                <a:gd name="T34" fmla="*/ 204 w 711"/>
                <a:gd name="T35" fmla="*/ 45 h 758"/>
                <a:gd name="T36" fmla="*/ 0 w 711"/>
                <a:gd name="T37" fmla="*/ 249 h 758"/>
                <a:gd name="T38" fmla="*/ 204 w 711"/>
                <a:gd name="T39" fmla="*/ 454 h 758"/>
                <a:gd name="T40" fmla="*/ 432 w 711"/>
                <a:gd name="T41" fmla="*/ 454 h 758"/>
                <a:gd name="T42" fmla="*/ 432 w 711"/>
                <a:gd name="T43" fmla="*/ 551 h 758"/>
                <a:gd name="T44" fmla="*/ 370 w 711"/>
                <a:gd name="T45" fmla="*/ 551 h 758"/>
                <a:gd name="T46" fmla="*/ 355 w 711"/>
                <a:gd name="T47" fmla="*/ 560 h 758"/>
                <a:gd name="T48" fmla="*/ 358 w 711"/>
                <a:gd name="T49" fmla="*/ 577 h 758"/>
                <a:gd name="T50" fmla="*/ 446 w 711"/>
                <a:gd name="T51" fmla="*/ 681 h 758"/>
                <a:gd name="T52" fmla="*/ 458 w 711"/>
                <a:gd name="T53" fmla="*/ 687 h 758"/>
                <a:gd name="T54" fmla="*/ 468 w 711"/>
                <a:gd name="T55" fmla="*/ 683 h 758"/>
                <a:gd name="T56" fmla="*/ 470 w 711"/>
                <a:gd name="T57" fmla="*/ 661 h 758"/>
                <a:gd name="T58" fmla="*/ 404 w 711"/>
                <a:gd name="T59" fmla="*/ 583 h 758"/>
                <a:gd name="T60" fmla="*/ 448 w 711"/>
                <a:gd name="T61" fmla="*/ 583 h 758"/>
                <a:gd name="T62" fmla="*/ 464 w 711"/>
                <a:gd name="T63" fmla="*/ 567 h 758"/>
                <a:gd name="T64" fmla="*/ 464 w 711"/>
                <a:gd name="T65" fmla="*/ 364 h 758"/>
                <a:gd name="T66" fmla="*/ 572 w 711"/>
                <a:gd name="T67" fmla="*/ 364 h 758"/>
                <a:gd name="T68" fmla="*/ 572 w 711"/>
                <a:gd name="T69" fmla="*/ 567 h 758"/>
                <a:gd name="T70" fmla="*/ 588 w 711"/>
                <a:gd name="T71" fmla="*/ 583 h 758"/>
                <a:gd name="T72" fmla="*/ 632 w 711"/>
                <a:gd name="T73" fmla="*/ 583 h 758"/>
                <a:gd name="T74" fmla="*/ 518 w 711"/>
                <a:gd name="T75" fmla="*/ 717 h 758"/>
                <a:gd name="T76" fmla="*/ 505 w 711"/>
                <a:gd name="T77" fmla="*/ 702 h 758"/>
                <a:gd name="T78" fmla="*/ 483 w 711"/>
                <a:gd name="T79" fmla="*/ 701 h 758"/>
                <a:gd name="T80" fmla="*/ 481 w 711"/>
                <a:gd name="T81" fmla="*/ 723 h 758"/>
                <a:gd name="T82" fmla="*/ 506 w 711"/>
                <a:gd name="T83" fmla="*/ 752 h 758"/>
                <a:gd name="T84" fmla="*/ 518 w 711"/>
                <a:gd name="T85" fmla="*/ 758 h 758"/>
                <a:gd name="T86" fmla="*/ 530 w 711"/>
                <a:gd name="T87" fmla="*/ 752 h 758"/>
                <a:gd name="T88" fmla="*/ 678 w 711"/>
                <a:gd name="T89" fmla="*/ 577 h 758"/>
                <a:gd name="T90" fmla="*/ 681 w 711"/>
                <a:gd name="T91" fmla="*/ 560 h 758"/>
                <a:gd name="T92" fmla="*/ 666 w 711"/>
                <a:gd name="T93" fmla="*/ 551 h 758"/>
                <a:gd name="T94" fmla="*/ 604 w 711"/>
                <a:gd name="T95" fmla="*/ 551 h 758"/>
                <a:gd name="T96" fmla="*/ 604 w 711"/>
                <a:gd name="T97" fmla="*/ 454 h 758"/>
                <a:gd name="T98" fmla="*/ 695 w 711"/>
                <a:gd name="T99" fmla="*/ 454 h 758"/>
                <a:gd name="T100" fmla="*/ 711 w 711"/>
                <a:gd name="T101" fmla="*/ 438 h 758"/>
                <a:gd name="T102" fmla="*/ 695 w 711"/>
                <a:gd name="T103" fmla="*/ 422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11" h="758">
                  <a:moveTo>
                    <a:pt x="695" y="422"/>
                  </a:moveTo>
                  <a:cubicBezTo>
                    <a:pt x="604" y="422"/>
                    <a:pt x="604" y="422"/>
                    <a:pt x="604" y="422"/>
                  </a:cubicBezTo>
                  <a:cubicBezTo>
                    <a:pt x="604" y="348"/>
                    <a:pt x="604" y="348"/>
                    <a:pt x="604" y="348"/>
                  </a:cubicBezTo>
                  <a:cubicBezTo>
                    <a:pt x="604" y="339"/>
                    <a:pt x="597" y="332"/>
                    <a:pt x="588" y="332"/>
                  </a:cubicBezTo>
                  <a:cubicBezTo>
                    <a:pt x="448" y="332"/>
                    <a:pt x="448" y="332"/>
                    <a:pt x="448" y="332"/>
                  </a:cubicBezTo>
                  <a:cubicBezTo>
                    <a:pt x="439" y="332"/>
                    <a:pt x="432" y="339"/>
                    <a:pt x="432" y="348"/>
                  </a:cubicBezTo>
                  <a:cubicBezTo>
                    <a:pt x="432" y="422"/>
                    <a:pt x="432" y="422"/>
                    <a:pt x="432" y="422"/>
                  </a:cubicBezTo>
                  <a:cubicBezTo>
                    <a:pt x="204" y="422"/>
                    <a:pt x="204" y="422"/>
                    <a:pt x="204" y="422"/>
                  </a:cubicBezTo>
                  <a:cubicBezTo>
                    <a:pt x="109" y="422"/>
                    <a:pt x="32" y="344"/>
                    <a:pt x="32" y="249"/>
                  </a:cubicBezTo>
                  <a:cubicBezTo>
                    <a:pt x="32" y="154"/>
                    <a:pt x="109" y="77"/>
                    <a:pt x="204" y="77"/>
                  </a:cubicBezTo>
                  <a:cubicBezTo>
                    <a:pt x="263" y="77"/>
                    <a:pt x="263" y="77"/>
                    <a:pt x="263" y="77"/>
                  </a:cubicBezTo>
                  <a:cubicBezTo>
                    <a:pt x="269" y="77"/>
                    <a:pt x="274" y="74"/>
                    <a:pt x="277" y="69"/>
                  </a:cubicBezTo>
                  <a:cubicBezTo>
                    <a:pt x="278" y="68"/>
                    <a:pt x="279" y="66"/>
                    <a:pt x="280" y="64"/>
                  </a:cubicBezTo>
                  <a:cubicBezTo>
                    <a:pt x="285" y="51"/>
                    <a:pt x="292" y="39"/>
                    <a:pt x="299" y="27"/>
                  </a:cubicBezTo>
                  <a:cubicBezTo>
                    <a:pt x="304" y="19"/>
                    <a:pt x="302" y="9"/>
                    <a:pt x="294" y="5"/>
                  </a:cubicBezTo>
                  <a:cubicBezTo>
                    <a:pt x="287" y="0"/>
                    <a:pt x="277" y="2"/>
                    <a:pt x="272" y="10"/>
                  </a:cubicBezTo>
                  <a:cubicBezTo>
                    <a:pt x="265" y="21"/>
                    <a:pt x="259" y="33"/>
                    <a:pt x="254" y="45"/>
                  </a:cubicBezTo>
                  <a:cubicBezTo>
                    <a:pt x="204" y="45"/>
                    <a:pt x="204" y="45"/>
                    <a:pt x="204" y="45"/>
                  </a:cubicBezTo>
                  <a:cubicBezTo>
                    <a:pt x="91" y="45"/>
                    <a:pt x="0" y="137"/>
                    <a:pt x="0" y="249"/>
                  </a:cubicBezTo>
                  <a:cubicBezTo>
                    <a:pt x="0" y="362"/>
                    <a:pt x="91" y="454"/>
                    <a:pt x="204" y="454"/>
                  </a:cubicBezTo>
                  <a:cubicBezTo>
                    <a:pt x="432" y="454"/>
                    <a:pt x="432" y="454"/>
                    <a:pt x="432" y="454"/>
                  </a:cubicBezTo>
                  <a:cubicBezTo>
                    <a:pt x="432" y="551"/>
                    <a:pt x="432" y="551"/>
                    <a:pt x="432" y="551"/>
                  </a:cubicBezTo>
                  <a:cubicBezTo>
                    <a:pt x="370" y="551"/>
                    <a:pt x="370" y="551"/>
                    <a:pt x="370" y="551"/>
                  </a:cubicBezTo>
                  <a:cubicBezTo>
                    <a:pt x="364" y="551"/>
                    <a:pt x="358" y="555"/>
                    <a:pt x="355" y="560"/>
                  </a:cubicBezTo>
                  <a:cubicBezTo>
                    <a:pt x="353" y="566"/>
                    <a:pt x="354" y="573"/>
                    <a:pt x="358" y="577"/>
                  </a:cubicBezTo>
                  <a:cubicBezTo>
                    <a:pt x="446" y="681"/>
                    <a:pt x="446" y="681"/>
                    <a:pt x="446" y="681"/>
                  </a:cubicBezTo>
                  <a:cubicBezTo>
                    <a:pt x="449" y="685"/>
                    <a:pt x="454" y="687"/>
                    <a:pt x="458" y="687"/>
                  </a:cubicBezTo>
                  <a:cubicBezTo>
                    <a:pt x="462" y="687"/>
                    <a:pt x="465" y="686"/>
                    <a:pt x="468" y="683"/>
                  </a:cubicBezTo>
                  <a:cubicBezTo>
                    <a:pt x="475" y="678"/>
                    <a:pt x="476" y="668"/>
                    <a:pt x="470" y="661"/>
                  </a:cubicBezTo>
                  <a:cubicBezTo>
                    <a:pt x="404" y="583"/>
                    <a:pt x="404" y="583"/>
                    <a:pt x="404" y="583"/>
                  </a:cubicBezTo>
                  <a:cubicBezTo>
                    <a:pt x="448" y="583"/>
                    <a:pt x="448" y="583"/>
                    <a:pt x="448" y="583"/>
                  </a:cubicBezTo>
                  <a:cubicBezTo>
                    <a:pt x="457" y="583"/>
                    <a:pt x="464" y="576"/>
                    <a:pt x="464" y="567"/>
                  </a:cubicBezTo>
                  <a:cubicBezTo>
                    <a:pt x="464" y="364"/>
                    <a:pt x="464" y="364"/>
                    <a:pt x="464" y="364"/>
                  </a:cubicBezTo>
                  <a:cubicBezTo>
                    <a:pt x="572" y="364"/>
                    <a:pt x="572" y="364"/>
                    <a:pt x="572" y="364"/>
                  </a:cubicBezTo>
                  <a:cubicBezTo>
                    <a:pt x="572" y="567"/>
                    <a:pt x="572" y="567"/>
                    <a:pt x="572" y="567"/>
                  </a:cubicBezTo>
                  <a:cubicBezTo>
                    <a:pt x="572" y="576"/>
                    <a:pt x="579" y="583"/>
                    <a:pt x="588" y="583"/>
                  </a:cubicBezTo>
                  <a:cubicBezTo>
                    <a:pt x="632" y="583"/>
                    <a:pt x="632" y="583"/>
                    <a:pt x="632" y="583"/>
                  </a:cubicBezTo>
                  <a:cubicBezTo>
                    <a:pt x="518" y="717"/>
                    <a:pt x="518" y="717"/>
                    <a:pt x="518" y="717"/>
                  </a:cubicBezTo>
                  <a:cubicBezTo>
                    <a:pt x="505" y="702"/>
                    <a:pt x="505" y="702"/>
                    <a:pt x="505" y="702"/>
                  </a:cubicBezTo>
                  <a:cubicBezTo>
                    <a:pt x="500" y="696"/>
                    <a:pt x="490" y="695"/>
                    <a:pt x="483" y="701"/>
                  </a:cubicBezTo>
                  <a:cubicBezTo>
                    <a:pt x="476" y="706"/>
                    <a:pt x="475" y="716"/>
                    <a:pt x="481" y="723"/>
                  </a:cubicBezTo>
                  <a:cubicBezTo>
                    <a:pt x="506" y="752"/>
                    <a:pt x="506" y="752"/>
                    <a:pt x="506" y="752"/>
                  </a:cubicBezTo>
                  <a:cubicBezTo>
                    <a:pt x="509" y="756"/>
                    <a:pt x="513" y="758"/>
                    <a:pt x="518" y="758"/>
                  </a:cubicBezTo>
                  <a:cubicBezTo>
                    <a:pt x="523" y="758"/>
                    <a:pt x="527" y="756"/>
                    <a:pt x="530" y="752"/>
                  </a:cubicBezTo>
                  <a:cubicBezTo>
                    <a:pt x="678" y="577"/>
                    <a:pt x="678" y="577"/>
                    <a:pt x="678" y="577"/>
                  </a:cubicBezTo>
                  <a:cubicBezTo>
                    <a:pt x="682" y="573"/>
                    <a:pt x="683" y="566"/>
                    <a:pt x="681" y="560"/>
                  </a:cubicBezTo>
                  <a:cubicBezTo>
                    <a:pt x="678" y="555"/>
                    <a:pt x="672" y="551"/>
                    <a:pt x="666" y="551"/>
                  </a:cubicBezTo>
                  <a:cubicBezTo>
                    <a:pt x="604" y="551"/>
                    <a:pt x="604" y="551"/>
                    <a:pt x="604" y="551"/>
                  </a:cubicBezTo>
                  <a:cubicBezTo>
                    <a:pt x="604" y="454"/>
                    <a:pt x="604" y="454"/>
                    <a:pt x="604" y="454"/>
                  </a:cubicBezTo>
                  <a:cubicBezTo>
                    <a:pt x="695" y="454"/>
                    <a:pt x="695" y="454"/>
                    <a:pt x="695" y="454"/>
                  </a:cubicBezTo>
                  <a:cubicBezTo>
                    <a:pt x="704" y="454"/>
                    <a:pt x="711" y="447"/>
                    <a:pt x="711" y="438"/>
                  </a:cubicBezTo>
                  <a:cubicBezTo>
                    <a:pt x="711" y="429"/>
                    <a:pt x="704" y="422"/>
                    <a:pt x="695"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105" name="Freeform 251">
            <a:extLst>
              <a:ext uri="{FF2B5EF4-FFF2-40B4-BE49-F238E27FC236}">
                <a16:creationId xmlns:a16="http://schemas.microsoft.com/office/drawing/2014/main" id="{8F13C0D5-6C82-4B13-A7C0-782D3231271F}"/>
              </a:ext>
            </a:extLst>
          </p:cNvPr>
          <p:cNvSpPr>
            <a:spLocks noChangeAspect="1" noEditPoints="1"/>
          </p:cNvSpPr>
          <p:nvPr/>
        </p:nvSpPr>
        <p:spPr bwMode="auto">
          <a:xfrm>
            <a:off x="284400" y="4879041"/>
            <a:ext cx="285620" cy="285619"/>
          </a:xfrm>
          <a:custGeom>
            <a:avLst/>
            <a:gdLst>
              <a:gd name="T0" fmla="*/ 233 w 903"/>
              <a:gd name="T1" fmla="*/ 812 h 903"/>
              <a:gd name="T2" fmla="*/ 72 w 903"/>
              <a:gd name="T3" fmla="*/ 634 h 903"/>
              <a:gd name="T4" fmla="*/ 34 w 903"/>
              <a:gd name="T5" fmla="*/ 387 h 903"/>
              <a:gd name="T6" fmla="*/ 139 w 903"/>
              <a:gd name="T7" fmla="*/ 168 h 903"/>
              <a:gd name="T8" fmla="*/ 346 w 903"/>
              <a:gd name="T9" fmla="*/ 43 h 903"/>
              <a:gd name="T10" fmla="*/ 454 w 903"/>
              <a:gd name="T11" fmla="*/ 60 h 903"/>
              <a:gd name="T12" fmla="*/ 404 w 903"/>
              <a:gd name="T13" fmla="*/ 154 h 903"/>
              <a:gd name="T14" fmla="*/ 485 w 903"/>
              <a:gd name="T15" fmla="*/ 184 h 903"/>
              <a:gd name="T16" fmla="*/ 436 w 903"/>
              <a:gd name="T17" fmla="*/ 279 h 903"/>
              <a:gd name="T18" fmla="*/ 351 w 903"/>
              <a:gd name="T19" fmla="*/ 250 h 903"/>
              <a:gd name="T20" fmla="*/ 217 w 903"/>
              <a:gd name="T21" fmla="*/ 264 h 903"/>
              <a:gd name="T22" fmla="*/ 152 w 903"/>
              <a:gd name="T23" fmla="*/ 405 h 903"/>
              <a:gd name="T24" fmla="*/ 195 w 903"/>
              <a:gd name="T25" fmla="*/ 499 h 903"/>
              <a:gd name="T26" fmla="*/ 316 w 903"/>
              <a:gd name="T27" fmla="*/ 516 h 903"/>
              <a:gd name="T28" fmla="*/ 359 w 903"/>
              <a:gd name="T29" fmla="*/ 600 h 903"/>
              <a:gd name="T30" fmla="*/ 355 w 903"/>
              <a:gd name="T31" fmla="*/ 705 h 903"/>
              <a:gd name="T32" fmla="*/ 454 w 903"/>
              <a:gd name="T33" fmla="*/ 766 h 903"/>
              <a:gd name="T34" fmla="*/ 540 w 903"/>
              <a:gd name="T35" fmla="*/ 682 h 903"/>
              <a:gd name="T36" fmla="*/ 604 w 903"/>
              <a:gd name="T37" fmla="*/ 590 h 903"/>
              <a:gd name="T38" fmla="*/ 651 w 903"/>
              <a:gd name="T39" fmla="*/ 485 h 903"/>
              <a:gd name="T40" fmla="*/ 639 w 903"/>
              <a:gd name="T41" fmla="*/ 398 h 903"/>
              <a:gd name="T42" fmla="*/ 570 w 903"/>
              <a:gd name="T43" fmla="*/ 339 h 903"/>
              <a:gd name="T44" fmla="*/ 681 w 903"/>
              <a:gd name="T45" fmla="*/ 314 h 903"/>
              <a:gd name="T46" fmla="*/ 775 w 903"/>
              <a:gd name="T47" fmla="*/ 204 h 903"/>
              <a:gd name="T48" fmla="*/ 863 w 903"/>
              <a:gd name="T49" fmla="*/ 361 h 903"/>
              <a:gd name="T50" fmla="*/ 847 w 903"/>
              <a:gd name="T51" fmla="*/ 596 h 903"/>
              <a:gd name="T52" fmla="*/ 703 w 903"/>
              <a:gd name="T53" fmla="*/ 789 h 903"/>
              <a:gd name="T54" fmla="*/ 473 w 903"/>
              <a:gd name="T55" fmla="*/ 872 h 903"/>
              <a:gd name="T56" fmla="*/ 696 w 903"/>
              <a:gd name="T57" fmla="*/ 270 h 903"/>
              <a:gd name="T58" fmla="*/ 552 w 903"/>
              <a:gd name="T59" fmla="*/ 308 h 903"/>
              <a:gd name="T60" fmla="*/ 549 w 903"/>
              <a:gd name="T61" fmla="*/ 360 h 903"/>
              <a:gd name="T62" fmla="*/ 622 w 903"/>
              <a:gd name="T63" fmla="*/ 435 h 903"/>
              <a:gd name="T64" fmla="*/ 580 w 903"/>
              <a:gd name="T65" fmla="*/ 521 h 903"/>
              <a:gd name="T66" fmla="*/ 568 w 903"/>
              <a:gd name="T67" fmla="*/ 595 h 903"/>
              <a:gd name="T68" fmla="*/ 515 w 903"/>
              <a:gd name="T69" fmla="*/ 651 h 903"/>
              <a:gd name="T70" fmla="*/ 474 w 903"/>
              <a:gd name="T71" fmla="*/ 728 h 903"/>
              <a:gd name="T72" fmla="*/ 376 w 903"/>
              <a:gd name="T73" fmla="*/ 678 h 903"/>
              <a:gd name="T74" fmla="*/ 386 w 903"/>
              <a:gd name="T75" fmla="*/ 587 h 903"/>
              <a:gd name="T76" fmla="*/ 333 w 903"/>
              <a:gd name="T77" fmla="*/ 489 h 903"/>
              <a:gd name="T78" fmla="*/ 199 w 903"/>
              <a:gd name="T79" fmla="*/ 464 h 903"/>
              <a:gd name="T80" fmla="*/ 192 w 903"/>
              <a:gd name="T81" fmla="*/ 351 h 903"/>
              <a:gd name="T82" fmla="*/ 301 w 903"/>
              <a:gd name="T83" fmla="*/ 271 h 903"/>
              <a:gd name="T84" fmla="*/ 358 w 903"/>
              <a:gd name="T85" fmla="*/ 301 h 903"/>
              <a:gd name="T86" fmla="*/ 490 w 903"/>
              <a:gd name="T87" fmla="*/ 297 h 903"/>
              <a:gd name="T88" fmla="*/ 523 w 903"/>
              <a:gd name="T89" fmla="*/ 176 h 903"/>
              <a:gd name="T90" fmla="*/ 461 w 903"/>
              <a:gd name="T91" fmla="*/ 160 h 903"/>
              <a:gd name="T92" fmla="*/ 431 w 903"/>
              <a:gd name="T93" fmla="*/ 116 h 903"/>
              <a:gd name="T94" fmla="*/ 628 w 903"/>
              <a:gd name="T95" fmla="*/ 68 h 903"/>
              <a:gd name="T96" fmla="*/ 742 w 903"/>
              <a:gd name="T97" fmla="*/ 106 h 903"/>
              <a:gd name="T98" fmla="*/ 518 w 903"/>
              <a:gd name="T99" fmla="*/ 4 h 903"/>
              <a:gd name="T100" fmla="*/ 275 w 903"/>
              <a:gd name="T101" fmla="*/ 35 h 903"/>
              <a:gd name="T102" fmla="*/ 77 w 903"/>
              <a:gd name="T103" fmla="*/ 198 h 903"/>
              <a:gd name="T104" fmla="*/ 0 w 903"/>
              <a:gd name="T105" fmla="*/ 451 h 903"/>
              <a:gd name="T106" fmla="*/ 77 w 903"/>
              <a:gd name="T107" fmla="*/ 704 h 903"/>
              <a:gd name="T108" fmla="*/ 275 w 903"/>
              <a:gd name="T109" fmla="*/ 868 h 903"/>
              <a:gd name="T110" fmla="*/ 541 w 903"/>
              <a:gd name="T111" fmla="*/ 894 h 903"/>
              <a:gd name="T112" fmla="*/ 770 w 903"/>
              <a:gd name="T113" fmla="*/ 770 h 903"/>
              <a:gd name="T114" fmla="*/ 893 w 903"/>
              <a:gd name="T115" fmla="*/ 542 h 903"/>
              <a:gd name="T116" fmla="*/ 872 w 903"/>
              <a:gd name="T117" fmla="*/ 28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903">
                <a:moveTo>
                  <a:pt x="451" y="873"/>
                </a:moveTo>
                <a:lnTo>
                  <a:pt x="430" y="872"/>
                </a:lnTo>
                <a:lnTo>
                  <a:pt x="408" y="871"/>
                </a:lnTo>
                <a:lnTo>
                  <a:pt x="387" y="868"/>
                </a:lnTo>
                <a:lnTo>
                  <a:pt x="367" y="865"/>
                </a:lnTo>
                <a:lnTo>
                  <a:pt x="346" y="859"/>
                </a:lnTo>
                <a:lnTo>
                  <a:pt x="326" y="854"/>
                </a:lnTo>
                <a:lnTo>
                  <a:pt x="307" y="847"/>
                </a:lnTo>
                <a:lnTo>
                  <a:pt x="287" y="840"/>
                </a:lnTo>
                <a:lnTo>
                  <a:pt x="269" y="831"/>
                </a:lnTo>
                <a:lnTo>
                  <a:pt x="251" y="822"/>
                </a:lnTo>
                <a:lnTo>
                  <a:pt x="233" y="812"/>
                </a:lnTo>
                <a:lnTo>
                  <a:pt x="215" y="801"/>
                </a:lnTo>
                <a:lnTo>
                  <a:pt x="199" y="789"/>
                </a:lnTo>
                <a:lnTo>
                  <a:pt x="183" y="777"/>
                </a:lnTo>
                <a:lnTo>
                  <a:pt x="168" y="764"/>
                </a:lnTo>
                <a:lnTo>
                  <a:pt x="153" y="750"/>
                </a:lnTo>
                <a:lnTo>
                  <a:pt x="139" y="735"/>
                </a:lnTo>
                <a:lnTo>
                  <a:pt x="126" y="720"/>
                </a:lnTo>
                <a:lnTo>
                  <a:pt x="114" y="704"/>
                </a:lnTo>
                <a:lnTo>
                  <a:pt x="102" y="686"/>
                </a:lnTo>
                <a:lnTo>
                  <a:pt x="91" y="669"/>
                </a:lnTo>
                <a:lnTo>
                  <a:pt x="80" y="652"/>
                </a:lnTo>
                <a:lnTo>
                  <a:pt x="72" y="634"/>
                </a:lnTo>
                <a:lnTo>
                  <a:pt x="63" y="616"/>
                </a:lnTo>
                <a:lnTo>
                  <a:pt x="56" y="596"/>
                </a:lnTo>
                <a:lnTo>
                  <a:pt x="48" y="576"/>
                </a:lnTo>
                <a:lnTo>
                  <a:pt x="43" y="557"/>
                </a:lnTo>
                <a:lnTo>
                  <a:pt x="38" y="536"/>
                </a:lnTo>
                <a:lnTo>
                  <a:pt x="34" y="516"/>
                </a:lnTo>
                <a:lnTo>
                  <a:pt x="32" y="494"/>
                </a:lnTo>
                <a:lnTo>
                  <a:pt x="30" y="473"/>
                </a:lnTo>
                <a:lnTo>
                  <a:pt x="30" y="451"/>
                </a:lnTo>
                <a:lnTo>
                  <a:pt x="30" y="430"/>
                </a:lnTo>
                <a:lnTo>
                  <a:pt x="32" y="409"/>
                </a:lnTo>
                <a:lnTo>
                  <a:pt x="34" y="387"/>
                </a:lnTo>
                <a:lnTo>
                  <a:pt x="38" y="367"/>
                </a:lnTo>
                <a:lnTo>
                  <a:pt x="43" y="346"/>
                </a:lnTo>
                <a:lnTo>
                  <a:pt x="48" y="326"/>
                </a:lnTo>
                <a:lnTo>
                  <a:pt x="56" y="307"/>
                </a:lnTo>
                <a:lnTo>
                  <a:pt x="63" y="287"/>
                </a:lnTo>
                <a:lnTo>
                  <a:pt x="72" y="269"/>
                </a:lnTo>
                <a:lnTo>
                  <a:pt x="80" y="251"/>
                </a:lnTo>
                <a:lnTo>
                  <a:pt x="91" y="233"/>
                </a:lnTo>
                <a:lnTo>
                  <a:pt x="102" y="215"/>
                </a:lnTo>
                <a:lnTo>
                  <a:pt x="114" y="199"/>
                </a:lnTo>
                <a:lnTo>
                  <a:pt x="126" y="183"/>
                </a:lnTo>
                <a:lnTo>
                  <a:pt x="139" y="168"/>
                </a:lnTo>
                <a:lnTo>
                  <a:pt x="153" y="153"/>
                </a:lnTo>
                <a:lnTo>
                  <a:pt x="168" y="139"/>
                </a:lnTo>
                <a:lnTo>
                  <a:pt x="183" y="126"/>
                </a:lnTo>
                <a:lnTo>
                  <a:pt x="199" y="114"/>
                </a:lnTo>
                <a:lnTo>
                  <a:pt x="215" y="102"/>
                </a:lnTo>
                <a:lnTo>
                  <a:pt x="233" y="91"/>
                </a:lnTo>
                <a:lnTo>
                  <a:pt x="251" y="80"/>
                </a:lnTo>
                <a:lnTo>
                  <a:pt x="269" y="72"/>
                </a:lnTo>
                <a:lnTo>
                  <a:pt x="287" y="63"/>
                </a:lnTo>
                <a:lnTo>
                  <a:pt x="307" y="56"/>
                </a:lnTo>
                <a:lnTo>
                  <a:pt x="326" y="48"/>
                </a:lnTo>
                <a:lnTo>
                  <a:pt x="346" y="43"/>
                </a:lnTo>
                <a:lnTo>
                  <a:pt x="367" y="38"/>
                </a:lnTo>
                <a:lnTo>
                  <a:pt x="387" y="34"/>
                </a:lnTo>
                <a:lnTo>
                  <a:pt x="408" y="32"/>
                </a:lnTo>
                <a:lnTo>
                  <a:pt x="430" y="30"/>
                </a:lnTo>
                <a:lnTo>
                  <a:pt x="451" y="30"/>
                </a:lnTo>
                <a:lnTo>
                  <a:pt x="467" y="30"/>
                </a:lnTo>
                <a:lnTo>
                  <a:pt x="484" y="31"/>
                </a:lnTo>
                <a:lnTo>
                  <a:pt x="500" y="32"/>
                </a:lnTo>
                <a:lnTo>
                  <a:pt x="516" y="34"/>
                </a:lnTo>
                <a:lnTo>
                  <a:pt x="495" y="42"/>
                </a:lnTo>
                <a:lnTo>
                  <a:pt x="474" y="50"/>
                </a:lnTo>
                <a:lnTo>
                  <a:pt x="454" y="60"/>
                </a:lnTo>
                <a:lnTo>
                  <a:pt x="435" y="72"/>
                </a:lnTo>
                <a:lnTo>
                  <a:pt x="427" y="77"/>
                </a:lnTo>
                <a:lnTo>
                  <a:pt x="419" y="83"/>
                </a:lnTo>
                <a:lnTo>
                  <a:pt x="413" y="91"/>
                </a:lnTo>
                <a:lnTo>
                  <a:pt x="407" y="97"/>
                </a:lnTo>
                <a:lnTo>
                  <a:pt x="403" y="105"/>
                </a:lnTo>
                <a:lnTo>
                  <a:pt x="400" y="114"/>
                </a:lnTo>
                <a:lnTo>
                  <a:pt x="398" y="121"/>
                </a:lnTo>
                <a:lnTo>
                  <a:pt x="398" y="130"/>
                </a:lnTo>
                <a:lnTo>
                  <a:pt x="400" y="138"/>
                </a:lnTo>
                <a:lnTo>
                  <a:pt x="401" y="147"/>
                </a:lnTo>
                <a:lnTo>
                  <a:pt x="404" y="154"/>
                </a:lnTo>
                <a:lnTo>
                  <a:pt x="407" y="162"/>
                </a:lnTo>
                <a:lnTo>
                  <a:pt x="412" y="168"/>
                </a:lnTo>
                <a:lnTo>
                  <a:pt x="417" y="174"/>
                </a:lnTo>
                <a:lnTo>
                  <a:pt x="422" y="178"/>
                </a:lnTo>
                <a:lnTo>
                  <a:pt x="429" y="182"/>
                </a:lnTo>
                <a:lnTo>
                  <a:pt x="435" y="185"/>
                </a:lnTo>
                <a:lnTo>
                  <a:pt x="443" y="188"/>
                </a:lnTo>
                <a:lnTo>
                  <a:pt x="451" y="189"/>
                </a:lnTo>
                <a:lnTo>
                  <a:pt x="459" y="190"/>
                </a:lnTo>
                <a:lnTo>
                  <a:pt x="467" y="189"/>
                </a:lnTo>
                <a:lnTo>
                  <a:pt x="476" y="188"/>
                </a:lnTo>
                <a:lnTo>
                  <a:pt x="485" y="184"/>
                </a:lnTo>
                <a:lnTo>
                  <a:pt x="494" y="181"/>
                </a:lnTo>
                <a:lnTo>
                  <a:pt x="495" y="186"/>
                </a:lnTo>
                <a:lnTo>
                  <a:pt x="496" y="194"/>
                </a:lnTo>
                <a:lnTo>
                  <a:pt x="498" y="203"/>
                </a:lnTo>
                <a:lnTo>
                  <a:pt x="498" y="213"/>
                </a:lnTo>
                <a:lnTo>
                  <a:pt x="498" y="239"/>
                </a:lnTo>
                <a:lnTo>
                  <a:pt x="494" y="266"/>
                </a:lnTo>
                <a:lnTo>
                  <a:pt x="487" y="268"/>
                </a:lnTo>
                <a:lnTo>
                  <a:pt x="479" y="269"/>
                </a:lnTo>
                <a:lnTo>
                  <a:pt x="471" y="271"/>
                </a:lnTo>
                <a:lnTo>
                  <a:pt x="462" y="273"/>
                </a:lnTo>
                <a:lnTo>
                  <a:pt x="436" y="279"/>
                </a:lnTo>
                <a:lnTo>
                  <a:pt x="412" y="282"/>
                </a:lnTo>
                <a:lnTo>
                  <a:pt x="400" y="282"/>
                </a:lnTo>
                <a:lnTo>
                  <a:pt x="388" y="281"/>
                </a:lnTo>
                <a:lnTo>
                  <a:pt x="384" y="280"/>
                </a:lnTo>
                <a:lnTo>
                  <a:pt x="378" y="278"/>
                </a:lnTo>
                <a:lnTo>
                  <a:pt x="374" y="276"/>
                </a:lnTo>
                <a:lnTo>
                  <a:pt x="370" y="272"/>
                </a:lnTo>
                <a:lnTo>
                  <a:pt x="369" y="268"/>
                </a:lnTo>
                <a:lnTo>
                  <a:pt x="366" y="264"/>
                </a:lnTo>
                <a:lnTo>
                  <a:pt x="362" y="259"/>
                </a:lnTo>
                <a:lnTo>
                  <a:pt x="358" y="255"/>
                </a:lnTo>
                <a:lnTo>
                  <a:pt x="351" y="250"/>
                </a:lnTo>
                <a:lnTo>
                  <a:pt x="341" y="245"/>
                </a:lnTo>
                <a:lnTo>
                  <a:pt x="331" y="243"/>
                </a:lnTo>
                <a:lnTo>
                  <a:pt x="319" y="241"/>
                </a:lnTo>
                <a:lnTo>
                  <a:pt x="306" y="241"/>
                </a:lnTo>
                <a:lnTo>
                  <a:pt x="292" y="241"/>
                </a:lnTo>
                <a:lnTo>
                  <a:pt x="275" y="243"/>
                </a:lnTo>
                <a:lnTo>
                  <a:pt x="258" y="247"/>
                </a:lnTo>
                <a:lnTo>
                  <a:pt x="249" y="249"/>
                </a:lnTo>
                <a:lnTo>
                  <a:pt x="240" y="252"/>
                </a:lnTo>
                <a:lnTo>
                  <a:pt x="232" y="255"/>
                </a:lnTo>
                <a:lnTo>
                  <a:pt x="223" y="259"/>
                </a:lnTo>
                <a:lnTo>
                  <a:pt x="217" y="264"/>
                </a:lnTo>
                <a:lnTo>
                  <a:pt x="209" y="269"/>
                </a:lnTo>
                <a:lnTo>
                  <a:pt x="203" y="274"/>
                </a:lnTo>
                <a:lnTo>
                  <a:pt x="197" y="281"/>
                </a:lnTo>
                <a:lnTo>
                  <a:pt x="186" y="294"/>
                </a:lnTo>
                <a:lnTo>
                  <a:pt x="178" y="307"/>
                </a:lnTo>
                <a:lnTo>
                  <a:pt x="171" y="322"/>
                </a:lnTo>
                <a:lnTo>
                  <a:pt x="165" y="336"/>
                </a:lnTo>
                <a:lnTo>
                  <a:pt x="161" y="350"/>
                </a:lnTo>
                <a:lnTo>
                  <a:pt x="158" y="364"/>
                </a:lnTo>
                <a:lnTo>
                  <a:pt x="155" y="376"/>
                </a:lnTo>
                <a:lnTo>
                  <a:pt x="153" y="388"/>
                </a:lnTo>
                <a:lnTo>
                  <a:pt x="152" y="405"/>
                </a:lnTo>
                <a:lnTo>
                  <a:pt x="151" y="413"/>
                </a:lnTo>
                <a:lnTo>
                  <a:pt x="152" y="426"/>
                </a:lnTo>
                <a:lnTo>
                  <a:pt x="154" y="441"/>
                </a:lnTo>
                <a:lnTo>
                  <a:pt x="156" y="448"/>
                </a:lnTo>
                <a:lnTo>
                  <a:pt x="160" y="456"/>
                </a:lnTo>
                <a:lnTo>
                  <a:pt x="162" y="463"/>
                </a:lnTo>
                <a:lnTo>
                  <a:pt x="166" y="471"/>
                </a:lnTo>
                <a:lnTo>
                  <a:pt x="170" y="477"/>
                </a:lnTo>
                <a:lnTo>
                  <a:pt x="176" y="484"/>
                </a:lnTo>
                <a:lnTo>
                  <a:pt x="181" y="489"/>
                </a:lnTo>
                <a:lnTo>
                  <a:pt x="189" y="494"/>
                </a:lnTo>
                <a:lnTo>
                  <a:pt x="195" y="499"/>
                </a:lnTo>
                <a:lnTo>
                  <a:pt x="204" y="502"/>
                </a:lnTo>
                <a:lnTo>
                  <a:pt x="213" y="504"/>
                </a:lnTo>
                <a:lnTo>
                  <a:pt x="223" y="504"/>
                </a:lnTo>
                <a:lnTo>
                  <a:pt x="238" y="504"/>
                </a:lnTo>
                <a:lnTo>
                  <a:pt x="253" y="503"/>
                </a:lnTo>
                <a:lnTo>
                  <a:pt x="271" y="502"/>
                </a:lnTo>
                <a:lnTo>
                  <a:pt x="288" y="503"/>
                </a:lnTo>
                <a:lnTo>
                  <a:pt x="296" y="503"/>
                </a:lnTo>
                <a:lnTo>
                  <a:pt x="302" y="505"/>
                </a:lnTo>
                <a:lnTo>
                  <a:pt x="308" y="507"/>
                </a:lnTo>
                <a:lnTo>
                  <a:pt x="312" y="511"/>
                </a:lnTo>
                <a:lnTo>
                  <a:pt x="316" y="516"/>
                </a:lnTo>
                <a:lnTo>
                  <a:pt x="319" y="524"/>
                </a:lnTo>
                <a:lnTo>
                  <a:pt x="322" y="534"/>
                </a:lnTo>
                <a:lnTo>
                  <a:pt x="322" y="546"/>
                </a:lnTo>
                <a:lnTo>
                  <a:pt x="323" y="549"/>
                </a:lnTo>
                <a:lnTo>
                  <a:pt x="324" y="552"/>
                </a:lnTo>
                <a:lnTo>
                  <a:pt x="325" y="554"/>
                </a:lnTo>
                <a:lnTo>
                  <a:pt x="327" y="557"/>
                </a:lnTo>
                <a:lnTo>
                  <a:pt x="339" y="571"/>
                </a:lnTo>
                <a:lnTo>
                  <a:pt x="350" y="583"/>
                </a:lnTo>
                <a:lnTo>
                  <a:pt x="354" y="590"/>
                </a:lnTo>
                <a:lnTo>
                  <a:pt x="357" y="595"/>
                </a:lnTo>
                <a:lnTo>
                  <a:pt x="359" y="600"/>
                </a:lnTo>
                <a:lnTo>
                  <a:pt x="360" y="603"/>
                </a:lnTo>
                <a:lnTo>
                  <a:pt x="359" y="608"/>
                </a:lnTo>
                <a:lnTo>
                  <a:pt x="358" y="614"/>
                </a:lnTo>
                <a:lnTo>
                  <a:pt x="355" y="619"/>
                </a:lnTo>
                <a:lnTo>
                  <a:pt x="353" y="625"/>
                </a:lnTo>
                <a:lnTo>
                  <a:pt x="348" y="633"/>
                </a:lnTo>
                <a:lnTo>
                  <a:pt x="345" y="641"/>
                </a:lnTo>
                <a:lnTo>
                  <a:pt x="342" y="650"/>
                </a:lnTo>
                <a:lnTo>
                  <a:pt x="341" y="660"/>
                </a:lnTo>
                <a:lnTo>
                  <a:pt x="343" y="671"/>
                </a:lnTo>
                <a:lnTo>
                  <a:pt x="347" y="686"/>
                </a:lnTo>
                <a:lnTo>
                  <a:pt x="355" y="705"/>
                </a:lnTo>
                <a:lnTo>
                  <a:pt x="365" y="723"/>
                </a:lnTo>
                <a:lnTo>
                  <a:pt x="370" y="733"/>
                </a:lnTo>
                <a:lnTo>
                  <a:pt x="376" y="741"/>
                </a:lnTo>
                <a:lnTo>
                  <a:pt x="382" y="749"/>
                </a:lnTo>
                <a:lnTo>
                  <a:pt x="388" y="756"/>
                </a:lnTo>
                <a:lnTo>
                  <a:pt x="395" y="762"/>
                </a:lnTo>
                <a:lnTo>
                  <a:pt x="401" y="766"/>
                </a:lnTo>
                <a:lnTo>
                  <a:pt x="407" y="769"/>
                </a:lnTo>
                <a:lnTo>
                  <a:pt x="413" y="770"/>
                </a:lnTo>
                <a:lnTo>
                  <a:pt x="428" y="769"/>
                </a:lnTo>
                <a:lnTo>
                  <a:pt x="441" y="768"/>
                </a:lnTo>
                <a:lnTo>
                  <a:pt x="454" y="766"/>
                </a:lnTo>
                <a:lnTo>
                  <a:pt x="465" y="764"/>
                </a:lnTo>
                <a:lnTo>
                  <a:pt x="477" y="759"/>
                </a:lnTo>
                <a:lnTo>
                  <a:pt x="487" y="755"/>
                </a:lnTo>
                <a:lnTo>
                  <a:pt x="496" y="750"/>
                </a:lnTo>
                <a:lnTo>
                  <a:pt x="505" y="744"/>
                </a:lnTo>
                <a:lnTo>
                  <a:pt x="513" y="737"/>
                </a:lnTo>
                <a:lnTo>
                  <a:pt x="520" y="729"/>
                </a:lnTo>
                <a:lnTo>
                  <a:pt x="525" y="722"/>
                </a:lnTo>
                <a:lnTo>
                  <a:pt x="531" y="712"/>
                </a:lnTo>
                <a:lnTo>
                  <a:pt x="535" y="703"/>
                </a:lnTo>
                <a:lnTo>
                  <a:pt x="538" y="693"/>
                </a:lnTo>
                <a:lnTo>
                  <a:pt x="540" y="682"/>
                </a:lnTo>
                <a:lnTo>
                  <a:pt x="541" y="670"/>
                </a:lnTo>
                <a:lnTo>
                  <a:pt x="552" y="665"/>
                </a:lnTo>
                <a:lnTo>
                  <a:pt x="565" y="657"/>
                </a:lnTo>
                <a:lnTo>
                  <a:pt x="579" y="647"/>
                </a:lnTo>
                <a:lnTo>
                  <a:pt x="594" y="633"/>
                </a:lnTo>
                <a:lnTo>
                  <a:pt x="600" y="625"/>
                </a:lnTo>
                <a:lnTo>
                  <a:pt x="605" y="619"/>
                </a:lnTo>
                <a:lnTo>
                  <a:pt x="607" y="611"/>
                </a:lnTo>
                <a:lnTo>
                  <a:pt x="608" y="604"/>
                </a:lnTo>
                <a:lnTo>
                  <a:pt x="607" y="598"/>
                </a:lnTo>
                <a:lnTo>
                  <a:pt x="606" y="594"/>
                </a:lnTo>
                <a:lnTo>
                  <a:pt x="604" y="590"/>
                </a:lnTo>
                <a:lnTo>
                  <a:pt x="602" y="586"/>
                </a:lnTo>
                <a:lnTo>
                  <a:pt x="595" y="578"/>
                </a:lnTo>
                <a:lnTo>
                  <a:pt x="589" y="573"/>
                </a:lnTo>
                <a:lnTo>
                  <a:pt x="584" y="570"/>
                </a:lnTo>
                <a:lnTo>
                  <a:pt x="581" y="566"/>
                </a:lnTo>
                <a:lnTo>
                  <a:pt x="590" y="556"/>
                </a:lnTo>
                <a:lnTo>
                  <a:pt x="603" y="543"/>
                </a:lnTo>
                <a:lnTo>
                  <a:pt x="617" y="528"/>
                </a:lnTo>
                <a:lnTo>
                  <a:pt x="630" y="512"/>
                </a:lnTo>
                <a:lnTo>
                  <a:pt x="638" y="503"/>
                </a:lnTo>
                <a:lnTo>
                  <a:pt x="644" y="493"/>
                </a:lnTo>
                <a:lnTo>
                  <a:pt x="651" y="485"/>
                </a:lnTo>
                <a:lnTo>
                  <a:pt x="656" y="475"/>
                </a:lnTo>
                <a:lnTo>
                  <a:pt x="661" y="465"/>
                </a:lnTo>
                <a:lnTo>
                  <a:pt x="664" y="456"/>
                </a:lnTo>
                <a:lnTo>
                  <a:pt x="666" y="447"/>
                </a:lnTo>
                <a:lnTo>
                  <a:pt x="667" y="438"/>
                </a:lnTo>
                <a:lnTo>
                  <a:pt x="666" y="429"/>
                </a:lnTo>
                <a:lnTo>
                  <a:pt x="664" y="419"/>
                </a:lnTo>
                <a:lnTo>
                  <a:pt x="658" y="411"/>
                </a:lnTo>
                <a:lnTo>
                  <a:pt x="652" y="402"/>
                </a:lnTo>
                <a:lnTo>
                  <a:pt x="648" y="400"/>
                </a:lnTo>
                <a:lnTo>
                  <a:pt x="643" y="398"/>
                </a:lnTo>
                <a:lnTo>
                  <a:pt x="639" y="398"/>
                </a:lnTo>
                <a:lnTo>
                  <a:pt x="634" y="400"/>
                </a:lnTo>
                <a:lnTo>
                  <a:pt x="626" y="403"/>
                </a:lnTo>
                <a:lnTo>
                  <a:pt x="617" y="405"/>
                </a:lnTo>
                <a:lnTo>
                  <a:pt x="611" y="406"/>
                </a:lnTo>
                <a:lnTo>
                  <a:pt x="606" y="406"/>
                </a:lnTo>
                <a:lnTo>
                  <a:pt x="602" y="406"/>
                </a:lnTo>
                <a:lnTo>
                  <a:pt x="597" y="404"/>
                </a:lnTo>
                <a:lnTo>
                  <a:pt x="590" y="381"/>
                </a:lnTo>
                <a:lnTo>
                  <a:pt x="583" y="360"/>
                </a:lnTo>
                <a:lnTo>
                  <a:pt x="579" y="353"/>
                </a:lnTo>
                <a:lnTo>
                  <a:pt x="575" y="345"/>
                </a:lnTo>
                <a:lnTo>
                  <a:pt x="570" y="339"/>
                </a:lnTo>
                <a:lnTo>
                  <a:pt x="567" y="333"/>
                </a:lnTo>
                <a:lnTo>
                  <a:pt x="576" y="328"/>
                </a:lnTo>
                <a:lnTo>
                  <a:pt x="585" y="324"/>
                </a:lnTo>
                <a:lnTo>
                  <a:pt x="598" y="318"/>
                </a:lnTo>
                <a:lnTo>
                  <a:pt x="612" y="315"/>
                </a:lnTo>
                <a:lnTo>
                  <a:pt x="626" y="312"/>
                </a:lnTo>
                <a:lnTo>
                  <a:pt x="642" y="311"/>
                </a:lnTo>
                <a:lnTo>
                  <a:pt x="651" y="311"/>
                </a:lnTo>
                <a:lnTo>
                  <a:pt x="658" y="311"/>
                </a:lnTo>
                <a:lnTo>
                  <a:pt x="667" y="312"/>
                </a:lnTo>
                <a:lnTo>
                  <a:pt x="676" y="314"/>
                </a:lnTo>
                <a:lnTo>
                  <a:pt x="681" y="314"/>
                </a:lnTo>
                <a:lnTo>
                  <a:pt x="685" y="313"/>
                </a:lnTo>
                <a:lnTo>
                  <a:pt x="696" y="308"/>
                </a:lnTo>
                <a:lnTo>
                  <a:pt x="706" y="301"/>
                </a:lnTo>
                <a:lnTo>
                  <a:pt x="714" y="294"/>
                </a:lnTo>
                <a:lnTo>
                  <a:pt x="723" y="286"/>
                </a:lnTo>
                <a:lnTo>
                  <a:pt x="730" y="279"/>
                </a:lnTo>
                <a:lnTo>
                  <a:pt x="738" y="271"/>
                </a:lnTo>
                <a:lnTo>
                  <a:pt x="744" y="263"/>
                </a:lnTo>
                <a:lnTo>
                  <a:pt x="750" y="254"/>
                </a:lnTo>
                <a:lnTo>
                  <a:pt x="760" y="237"/>
                </a:lnTo>
                <a:lnTo>
                  <a:pt x="769" y="220"/>
                </a:lnTo>
                <a:lnTo>
                  <a:pt x="775" y="204"/>
                </a:lnTo>
                <a:lnTo>
                  <a:pt x="781" y="189"/>
                </a:lnTo>
                <a:lnTo>
                  <a:pt x="791" y="203"/>
                </a:lnTo>
                <a:lnTo>
                  <a:pt x="801" y="217"/>
                </a:lnTo>
                <a:lnTo>
                  <a:pt x="811" y="232"/>
                </a:lnTo>
                <a:lnTo>
                  <a:pt x="819" y="247"/>
                </a:lnTo>
                <a:lnTo>
                  <a:pt x="828" y="262"/>
                </a:lnTo>
                <a:lnTo>
                  <a:pt x="835" y="278"/>
                </a:lnTo>
                <a:lnTo>
                  <a:pt x="842" y="294"/>
                </a:lnTo>
                <a:lnTo>
                  <a:pt x="848" y="310"/>
                </a:lnTo>
                <a:lnTo>
                  <a:pt x="854" y="327"/>
                </a:lnTo>
                <a:lnTo>
                  <a:pt x="859" y="344"/>
                </a:lnTo>
                <a:lnTo>
                  <a:pt x="863" y="361"/>
                </a:lnTo>
                <a:lnTo>
                  <a:pt x="866" y="379"/>
                </a:lnTo>
                <a:lnTo>
                  <a:pt x="869" y="397"/>
                </a:lnTo>
                <a:lnTo>
                  <a:pt x="871" y="414"/>
                </a:lnTo>
                <a:lnTo>
                  <a:pt x="872" y="433"/>
                </a:lnTo>
                <a:lnTo>
                  <a:pt x="873" y="451"/>
                </a:lnTo>
                <a:lnTo>
                  <a:pt x="872" y="473"/>
                </a:lnTo>
                <a:lnTo>
                  <a:pt x="871" y="494"/>
                </a:lnTo>
                <a:lnTo>
                  <a:pt x="868" y="516"/>
                </a:lnTo>
                <a:lnTo>
                  <a:pt x="864" y="536"/>
                </a:lnTo>
                <a:lnTo>
                  <a:pt x="859" y="557"/>
                </a:lnTo>
                <a:lnTo>
                  <a:pt x="854" y="576"/>
                </a:lnTo>
                <a:lnTo>
                  <a:pt x="847" y="596"/>
                </a:lnTo>
                <a:lnTo>
                  <a:pt x="840" y="616"/>
                </a:lnTo>
                <a:lnTo>
                  <a:pt x="831" y="634"/>
                </a:lnTo>
                <a:lnTo>
                  <a:pt x="821" y="652"/>
                </a:lnTo>
                <a:lnTo>
                  <a:pt x="812" y="669"/>
                </a:lnTo>
                <a:lnTo>
                  <a:pt x="801" y="686"/>
                </a:lnTo>
                <a:lnTo>
                  <a:pt x="789" y="704"/>
                </a:lnTo>
                <a:lnTo>
                  <a:pt x="776" y="720"/>
                </a:lnTo>
                <a:lnTo>
                  <a:pt x="763" y="735"/>
                </a:lnTo>
                <a:lnTo>
                  <a:pt x="748" y="749"/>
                </a:lnTo>
                <a:lnTo>
                  <a:pt x="735" y="764"/>
                </a:lnTo>
                <a:lnTo>
                  <a:pt x="720" y="777"/>
                </a:lnTo>
                <a:lnTo>
                  <a:pt x="703" y="789"/>
                </a:lnTo>
                <a:lnTo>
                  <a:pt x="686" y="801"/>
                </a:lnTo>
                <a:lnTo>
                  <a:pt x="669" y="812"/>
                </a:lnTo>
                <a:lnTo>
                  <a:pt x="652" y="822"/>
                </a:lnTo>
                <a:lnTo>
                  <a:pt x="634" y="831"/>
                </a:lnTo>
                <a:lnTo>
                  <a:pt x="615" y="840"/>
                </a:lnTo>
                <a:lnTo>
                  <a:pt x="596" y="847"/>
                </a:lnTo>
                <a:lnTo>
                  <a:pt x="576" y="854"/>
                </a:lnTo>
                <a:lnTo>
                  <a:pt x="556" y="859"/>
                </a:lnTo>
                <a:lnTo>
                  <a:pt x="536" y="865"/>
                </a:lnTo>
                <a:lnTo>
                  <a:pt x="516" y="868"/>
                </a:lnTo>
                <a:lnTo>
                  <a:pt x="494" y="871"/>
                </a:lnTo>
                <a:lnTo>
                  <a:pt x="473" y="872"/>
                </a:lnTo>
                <a:lnTo>
                  <a:pt x="451" y="873"/>
                </a:lnTo>
                <a:close/>
                <a:moveTo>
                  <a:pt x="757" y="162"/>
                </a:moveTo>
                <a:lnTo>
                  <a:pt x="755" y="173"/>
                </a:lnTo>
                <a:lnTo>
                  <a:pt x="750" y="186"/>
                </a:lnTo>
                <a:lnTo>
                  <a:pt x="743" y="203"/>
                </a:lnTo>
                <a:lnTo>
                  <a:pt x="736" y="220"/>
                </a:lnTo>
                <a:lnTo>
                  <a:pt x="730" y="228"/>
                </a:lnTo>
                <a:lnTo>
                  <a:pt x="725" y="238"/>
                </a:lnTo>
                <a:lnTo>
                  <a:pt x="718" y="247"/>
                </a:lnTo>
                <a:lnTo>
                  <a:pt x="711" y="255"/>
                </a:lnTo>
                <a:lnTo>
                  <a:pt x="703" y="263"/>
                </a:lnTo>
                <a:lnTo>
                  <a:pt x="696" y="270"/>
                </a:lnTo>
                <a:lnTo>
                  <a:pt x="686" y="278"/>
                </a:lnTo>
                <a:lnTo>
                  <a:pt x="677" y="283"/>
                </a:lnTo>
                <a:lnTo>
                  <a:pt x="665" y="281"/>
                </a:lnTo>
                <a:lnTo>
                  <a:pt x="652" y="281"/>
                </a:lnTo>
                <a:lnTo>
                  <a:pt x="640" y="281"/>
                </a:lnTo>
                <a:lnTo>
                  <a:pt x="628" y="281"/>
                </a:lnTo>
                <a:lnTo>
                  <a:pt x="617" y="283"/>
                </a:lnTo>
                <a:lnTo>
                  <a:pt x="606" y="285"/>
                </a:lnTo>
                <a:lnTo>
                  <a:pt x="595" y="288"/>
                </a:lnTo>
                <a:lnTo>
                  <a:pt x="585" y="292"/>
                </a:lnTo>
                <a:lnTo>
                  <a:pt x="567" y="299"/>
                </a:lnTo>
                <a:lnTo>
                  <a:pt x="552" y="308"/>
                </a:lnTo>
                <a:lnTo>
                  <a:pt x="540" y="315"/>
                </a:lnTo>
                <a:lnTo>
                  <a:pt x="533" y="323"/>
                </a:lnTo>
                <a:lnTo>
                  <a:pt x="530" y="329"/>
                </a:lnTo>
                <a:lnTo>
                  <a:pt x="528" y="335"/>
                </a:lnTo>
                <a:lnTo>
                  <a:pt x="529" y="339"/>
                </a:lnTo>
                <a:lnTo>
                  <a:pt x="530" y="343"/>
                </a:lnTo>
                <a:lnTo>
                  <a:pt x="532" y="346"/>
                </a:lnTo>
                <a:lnTo>
                  <a:pt x="535" y="350"/>
                </a:lnTo>
                <a:lnTo>
                  <a:pt x="539" y="351"/>
                </a:lnTo>
                <a:lnTo>
                  <a:pt x="544" y="352"/>
                </a:lnTo>
                <a:lnTo>
                  <a:pt x="546" y="356"/>
                </a:lnTo>
                <a:lnTo>
                  <a:pt x="549" y="360"/>
                </a:lnTo>
                <a:lnTo>
                  <a:pt x="553" y="368"/>
                </a:lnTo>
                <a:lnTo>
                  <a:pt x="556" y="376"/>
                </a:lnTo>
                <a:lnTo>
                  <a:pt x="563" y="396"/>
                </a:lnTo>
                <a:lnTo>
                  <a:pt x="569" y="417"/>
                </a:lnTo>
                <a:lnTo>
                  <a:pt x="570" y="420"/>
                </a:lnTo>
                <a:lnTo>
                  <a:pt x="574" y="424"/>
                </a:lnTo>
                <a:lnTo>
                  <a:pt x="581" y="430"/>
                </a:lnTo>
                <a:lnTo>
                  <a:pt x="589" y="433"/>
                </a:lnTo>
                <a:lnTo>
                  <a:pt x="597" y="435"/>
                </a:lnTo>
                <a:lnTo>
                  <a:pt x="606" y="436"/>
                </a:lnTo>
                <a:lnTo>
                  <a:pt x="613" y="436"/>
                </a:lnTo>
                <a:lnTo>
                  <a:pt x="622" y="435"/>
                </a:lnTo>
                <a:lnTo>
                  <a:pt x="628" y="433"/>
                </a:lnTo>
                <a:lnTo>
                  <a:pt x="636" y="432"/>
                </a:lnTo>
                <a:lnTo>
                  <a:pt x="636" y="436"/>
                </a:lnTo>
                <a:lnTo>
                  <a:pt x="637" y="441"/>
                </a:lnTo>
                <a:lnTo>
                  <a:pt x="636" y="445"/>
                </a:lnTo>
                <a:lnTo>
                  <a:pt x="635" y="450"/>
                </a:lnTo>
                <a:lnTo>
                  <a:pt x="629" y="461"/>
                </a:lnTo>
                <a:lnTo>
                  <a:pt x="623" y="472"/>
                </a:lnTo>
                <a:lnTo>
                  <a:pt x="614" y="484"/>
                </a:lnTo>
                <a:lnTo>
                  <a:pt x="604" y="497"/>
                </a:lnTo>
                <a:lnTo>
                  <a:pt x="593" y="508"/>
                </a:lnTo>
                <a:lnTo>
                  <a:pt x="580" y="521"/>
                </a:lnTo>
                <a:lnTo>
                  <a:pt x="566" y="536"/>
                </a:lnTo>
                <a:lnTo>
                  <a:pt x="558" y="547"/>
                </a:lnTo>
                <a:lnTo>
                  <a:pt x="554" y="552"/>
                </a:lnTo>
                <a:lnTo>
                  <a:pt x="552" y="557"/>
                </a:lnTo>
                <a:lnTo>
                  <a:pt x="550" y="561"/>
                </a:lnTo>
                <a:lnTo>
                  <a:pt x="550" y="565"/>
                </a:lnTo>
                <a:lnTo>
                  <a:pt x="550" y="571"/>
                </a:lnTo>
                <a:lnTo>
                  <a:pt x="552" y="575"/>
                </a:lnTo>
                <a:lnTo>
                  <a:pt x="553" y="579"/>
                </a:lnTo>
                <a:lnTo>
                  <a:pt x="556" y="582"/>
                </a:lnTo>
                <a:lnTo>
                  <a:pt x="562" y="590"/>
                </a:lnTo>
                <a:lnTo>
                  <a:pt x="568" y="595"/>
                </a:lnTo>
                <a:lnTo>
                  <a:pt x="575" y="601"/>
                </a:lnTo>
                <a:lnTo>
                  <a:pt x="578" y="605"/>
                </a:lnTo>
                <a:lnTo>
                  <a:pt x="577" y="607"/>
                </a:lnTo>
                <a:lnTo>
                  <a:pt x="574" y="611"/>
                </a:lnTo>
                <a:lnTo>
                  <a:pt x="564" y="620"/>
                </a:lnTo>
                <a:lnTo>
                  <a:pt x="554" y="627"/>
                </a:lnTo>
                <a:lnTo>
                  <a:pt x="546" y="633"/>
                </a:lnTo>
                <a:lnTo>
                  <a:pt x="538" y="638"/>
                </a:lnTo>
                <a:lnTo>
                  <a:pt x="526" y="644"/>
                </a:lnTo>
                <a:lnTo>
                  <a:pt x="522" y="646"/>
                </a:lnTo>
                <a:lnTo>
                  <a:pt x="518" y="648"/>
                </a:lnTo>
                <a:lnTo>
                  <a:pt x="515" y="651"/>
                </a:lnTo>
                <a:lnTo>
                  <a:pt x="513" y="655"/>
                </a:lnTo>
                <a:lnTo>
                  <a:pt x="511" y="660"/>
                </a:lnTo>
                <a:lnTo>
                  <a:pt x="511" y="669"/>
                </a:lnTo>
                <a:lnTo>
                  <a:pt x="510" y="679"/>
                </a:lnTo>
                <a:lnTo>
                  <a:pt x="508" y="686"/>
                </a:lnTo>
                <a:lnTo>
                  <a:pt x="506" y="695"/>
                </a:lnTo>
                <a:lnTo>
                  <a:pt x="503" y="701"/>
                </a:lnTo>
                <a:lnTo>
                  <a:pt x="499" y="708"/>
                </a:lnTo>
                <a:lnTo>
                  <a:pt x="493" y="714"/>
                </a:lnTo>
                <a:lnTo>
                  <a:pt x="488" y="720"/>
                </a:lnTo>
                <a:lnTo>
                  <a:pt x="481" y="724"/>
                </a:lnTo>
                <a:lnTo>
                  <a:pt x="474" y="728"/>
                </a:lnTo>
                <a:lnTo>
                  <a:pt x="465" y="732"/>
                </a:lnTo>
                <a:lnTo>
                  <a:pt x="457" y="735"/>
                </a:lnTo>
                <a:lnTo>
                  <a:pt x="447" y="737"/>
                </a:lnTo>
                <a:lnTo>
                  <a:pt x="437" y="739"/>
                </a:lnTo>
                <a:lnTo>
                  <a:pt x="427" y="739"/>
                </a:lnTo>
                <a:lnTo>
                  <a:pt x="415" y="740"/>
                </a:lnTo>
                <a:lnTo>
                  <a:pt x="408" y="735"/>
                </a:lnTo>
                <a:lnTo>
                  <a:pt x="402" y="726"/>
                </a:lnTo>
                <a:lnTo>
                  <a:pt x="396" y="715"/>
                </a:lnTo>
                <a:lnTo>
                  <a:pt x="388" y="703"/>
                </a:lnTo>
                <a:lnTo>
                  <a:pt x="382" y="690"/>
                </a:lnTo>
                <a:lnTo>
                  <a:pt x="376" y="678"/>
                </a:lnTo>
                <a:lnTo>
                  <a:pt x="373" y="667"/>
                </a:lnTo>
                <a:lnTo>
                  <a:pt x="371" y="660"/>
                </a:lnTo>
                <a:lnTo>
                  <a:pt x="372" y="655"/>
                </a:lnTo>
                <a:lnTo>
                  <a:pt x="374" y="650"/>
                </a:lnTo>
                <a:lnTo>
                  <a:pt x="376" y="645"/>
                </a:lnTo>
                <a:lnTo>
                  <a:pt x="380" y="638"/>
                </a:lnTo>
                <a:lnTo>
                  <a:pt x="383" y="631"/>
                </a:lnTo>
                <a:lnTo>
                  <a:pt x="387" y="622"/>
                </a:lnTo>
                <a:lnTo>
                  <a:pt x="389" y="612"/>
                </a:lnTo>
                <a:lnTo>
                  <a:pt x="390" y="603"/>
                </a:lnTo>
                <a:lnTo>
                  <a:pt x="389" y="595"/>
                </a:lnTo>
                <a:lnTo>
                  <a:pt x="386" y="587"/>
                </a:lnTo>
                <a:lnTo>
                  <a:pt x="382" y="577"/>
                </a:lnTo>
                <a:lnTo>
                  <a:pt x="376" y="568"/>
                </a:lnTo>
                <a:lnTo>
                  <a:pt x="363" y="552"/>
                </a:lnTo>
                <a:lnTo>
                  <a:pt x="353" y="539"/>
                </a:lnTo>
                <a:lnTo>
                  <a:pt x="352" y="532"/>
                </a:lnTo>
                <a:lnTo>
                  <a:pt x="351" y="523"/>
                </a:lnTo>
                <a:lnTo>
                  <a:pt x="348" y="517"/>
                </a:lnTo>
                <a:lnTo>
                  <a:pt x="346" y="509"/>
                </a:lnTo>
                <a:lnTo>
                  <a:pt x="344" y="504"/>
                </a:lnTo>
                <a:lnTo>
                  <a:pt x="341" y="498"/>
                </a:lnTo>
                <a:lnTo>
                  <a:pt x="337" y="493"/>
                </a:lnTo>
                <a:lnTo>
                  <a:pt x="333" y="489"/>
                </a:lnTo>
                <a:lnTo>
                  <a:pt x="325" y="483"/>
                </a:lnTo>
                <a:lnTo>
                  <a:pt x="316" y="478"/>
                </a:lnTo>
                <a:lnTo>
                  <a:pt x="307" y="475"/>
                </a:lnTo>
                <a:lnTo>
                  <a:pt x="297" y="473"/>
                </a:lnTo>
                <a:lnTo>
                  <a:pt x="274" y="472"/>
                </a:lnTo>
                <a:lnTo>
                  <a:pt x="252" y="473"/>
                </a:lnTo>
                <a:lnTo>
                  <a:pt x="238" y="474"/>
                </a:lnTo>
                <a:lnTo>
                  <a:pt x="223" y="474"/>
                </a:lnTo>
                <a:lnTo>
                  <a:pt x="217" y="473"/>
                </a:lnTo>
                <a:lnTo>
                  <a:pt x="210" y="472"/>
                </a:lnTo>
                <a:lnTo>
                  <a:pt x="205" y="469"/>
                </a:lnTo>
                <a:lnTo>
                  <a:pt x="199" y="464"/>
                </a:lnTo>
                <a:lnTo>
                  <a:pt x="195" y="460"/>
                </a:lnTo>
                <a:lnTo>
                  <a:pt x="192" y="456"/>
                </a:lnTo>
                <a:lnTo>
                  <a:pt x="190" y="450"/>
                </a:lnTo>
                <a:lnTo>
                  <a:pt x="188" y="445"/>
                </a:lnTo>
                <a:lnTo>
                  <a:pt x="184" y="433"/>
                </a:lnTo>
                <a:lnTo>
                  <a:pt x="182" y="424"/>
                </a:lnTo>
                <a:lnTo>
                  <a:pt x="181" y="416"/>
                </a:lnTo>
                <a:lnTo>
                  <a:pt x="181" y="413"/>
                </a:lnTo>
                <a:lnTo>
                  <a:pt x="182" y="408"/>
                </a:lnTo>
                <a:lnTo>
                  <a:pt x="183" y="394"/>
                </a:lnTo>
                <a:lnTo>
                  <a:pt x="186" y="373"/>
                </a:lnTo>
                <a:lnTo>
                  <a:pt x="192" y="351"/>
                </a:lnTo>
                <a:lnTo>
                  <a:pt x="196" y="339"/>
                </a:lnTo>
                <a:lnTo>
                  <a:pt x="203" y="326"/>
                </a:lnTo>
                <a:lnTo>
                  <a:pt x="209" y="315"/>
                </a:lnTo>
                <a:lnTo>
                  <a:pt x="217" y="305"/>
                </a:lnTo>
                <a:lnTo>
                  <a:pt x="226" y="295"/>
                </a:lnTo>
                <a:lnTo>
                  <a:pt x="237" y="286"/>
                </a:lnTo>
                <a:lnTo>
                  <a:pt x="243" y="283"/>
                </a:lnTo>
                <a:lnTo>
                  <a:pt x="250" y="280"/>
                </a:lnTo>
                <a:lnTo>
                  <a:pt x="257" y="278"/>
                </a:lnTo>
                <a:lnTo>
                  <a:pt x="265" y="277"/>
                </a:lnTo>
                <a:lnTo>
                  <a:pt x="285" y="272"/>
                </a:lnTo>
                <a:lnTo>
                  <a:pt x="301" y="271"/>
                </a:lnTo>
                <a:lnTo>
                  <a:pt x="315" y="271"/>
                </a:lnTo>
                <a:lnTo>
                  <a:pt x="325" y="272"/>
                </a:lnTo>
                <a:lnTo>
                  <a:pt x="332" y="274"/>
                </a:lnTo>
                <a:lnTo>
                  <a:pt x="338" y="277"/>
                </a:lnTo>
                <a:lnTo>
                  <a:pt x="340" y="279"/>
                </a:lnTo>
                <a:lnTo>
                  <a:pt x="341" y="280"/>
                </a:lnTo>
                <a:lnTo>
                  <a:pt x="341" y="283"/>
                </a:lnTo>
                <a:lnTo>
                  <a:pt x="342" y="286"/>
                </a:lnTo>
                <a:lnTo>
                  <a:pt x="344" y="288"/>
                </a:lnTo>
                <a:lnTo>
                  <a:pt x="345" y="291"/>
                </a:lnTo>
                <a:lnTo>
                  <a:pt x="352" y="297"/>
                </a:lnTo>
                <a:lnTo>
                  <a:pt x="358" y="301"/>
                </a:lnTo>
                <a:lnTo>
                  <a:pt x="366" y="305"/>
                </a:lnTo>
                <a:lnTo>
                  <a:pt x="373" y="308"/>
                </a:lnTo>
                <a:lnTo>
                  <a:pt x="381" y="310"/>
                </a:lnTo>
                <a:lnTo>
                  <a:pt x="388" y="311"/>
                </a:lnTo>
                <a:lnTo>
                  <a:pt x="396" y="312"/>
                </a:lnTo>
                <a:lnTo>
                  <a:pt x="404" y="312"/>
                </a:lnTo>
                <a:lnTo>
                  <a:pt x="420" y="311"/>
                </a:lnTo>
                <a:lnTo>
                  <a:pt x="436" y="309"/>
                </a:lnTo>
                <a:lnTo>
                  <a:pt x="454" y="306"/>
                </a:lnTo>
                <a:lnTo>
                  <a:pt x="469" y="302"/>
                </a:lnTo>
                <a:lnTo>
                  <a:pt x="480" y="299"/>
                </a:lnTo>
                <a:lnTo>
                  <a:pt x="490" y="297"/>
                </a:lnTo>
                <a:lnTo>
                  <a:pt x="500" y="296"/>
                </a:lnTo>
                <a:lnTo>
                  <a:pt x="508" y="295"/>
                </a:lnTo>
                <a:lnTo>
                  <a:pt x="514" y="295"/>
                </a:lnTo>
                <a:lnTo>
                  <a:pt x="518" y="292"/>
                </a:lnTo>
                <a:lnTo>
                  <a:pt x="521" y="287"/>
                </a:lnTo>
                <a:lnTo>
                  <a:pt x="523" y="282"/>
                </a:lnTo>
                <a:lnTo>
                  <a:pt x="525" y="266"/>
                </a:lnTo>
                <a:lnTo>
                  <a:pt x="526" y="248"/>
                </a:lnTo>
                <a:lnTo>
                  <a:pt x="528" y="228"/>
                </a:lnTo>
                <a:lnTo>
                  <a:pt x="528" y="210"/>
                </a:lnTo>
                <a:lnTo>
                  <a:pt x="526" y="192"/>
                </a:lnTo>
                <a:lnTo>
                  <a:pt x="523" y="176"/>
                </a:lnTo>
                <a:lnTo>
                  <a:pt x="521" y="169"/>
                </a:lnTo>
                <a:lnTo>
                  <a:pt x="518" y="163"/>
                </a:lnTo>
                <a:lnTo>
                  <a:pt x="515" y="158"/>
                </a:lnTo>
                <a:lnTo>
                  <a:pt x="510" y="154"/>
                </a:lnTo>
                <a:lnTo>
                  <a:pt x="506" y="151"/>
                </a:lnTo>
                <a:lnTo>
                  <a:pt x="500" y="150"/>
                </a:lnTo>
                <a:lnTo>
                  <a:pt x="496" y="149"/>
                </a:lnTo>
                <a:lnTo>
                  <a:pt x="492" y="150"/>
                </a:lnTo>
                <a:lnTo>
                  <a:pt x="487" y="151"/>
                </a:lnTo>
                <a:lnTo>
                  <a:pt x="482" y="153"/>
                </a:lnTo>
                <a:lnTo>
                  <a:pt x="472" y="158"/>
                </a:lnTo>
                <a:lnTo>
                  <a:pt x="461" y="160"/>
                </a:lnTo>
                <a:lnTo>
                  <a:pt x="456" y="160"/>
                </a:lnTo>
                <a:lnTo>
                  <a:pt x="451" y="159"/>
                </a:lnTo>
                <a:lnTo>
                  <a:pt x="447" y="158"/>
                </a:lnTo>
                <a:lnTo>
                  <a:pt x="444" y="156"/>
                </a:lnTo>
                <a:lnTo>
                  <a:pt x="440" y="153"/>
                </a:lnTo>
                <a:lnTo>
                  <a:pt x="436" y="150"/>
                </a:lnTo>
                <a:lnTo>
                  <a:pt x="434" y="147"/>
                </a:lnTo>
                <a:lnTo>
                  <a:pt x="432" y="142"/>
                </a:lnTo>
                <a:lnTo>
                  <a:pt x="429" y="135"/>
                </a:lnTo>
                <a:lnTo>
                  <a:pt x="428" y="127"/>
                </a:lnTo>
                <a:lnTo>
                  <a:pt x="429" y="121"/>
                </a:lnTo>
                <a:lnTo>
                  <a:pt x="431" y="116"/>
                </a:lnTo>
                <a:lnTo>
                  <a:pt x="435" y="109"/>
                </a:lnTo>
                <a:lnTo>
                  <a:pt x="442" y="104"/>
                </a:lnTo>
                <a:lnTo>
                  <a:pt x="449" y="99"/>
                </a:lnTo>
                <a:lnTo>
                  <a:pt x="458" y="92"/>
                </a:lnTo>
                <a:lnTo>
                  <a:pt x="467" y="87"/>
                </a:lnTo>
                <a:lnTo>
                  <a:pt x="478" y="81"/>
                </a:lnTo>
                <a:lnTo>
                  <a:pt x="502" y="72"/>
                </a:lnTo>
                <a:lnTo>
                  <a:pt x="528" y="63"/>
                </a:lnTo>
                <a:lnTo>
                  <a:pt x="553" y="56"/>
                </a:lnTo>
                <a:lnTo>
                  <a:pt x="578" y="49"/>
                </a:lnTo>
                <a:lnTo>
                  <a:pt x="604" y="58"/>
                </a:lnTo>
                <a:lnTo>
                  <a:pt x="628" y="68"/>
                </a:lnTo>
                <a:lnTo>
                  <a:pt x="652" y="81"/>
                </a:lnTo>
                <a:lnTo>
                  <a:pt x="676" y="94"/>
                </a:lnTo>
                <a:lnTo>
                  <a:pt x="697" y="109"/>
                </a:lnTo>
                <a:lnTo>
                  <a:pt x="718" y="125"/>
                </a:lnTo>
                <a:lnTo>
                  <a:pt x="739" y="144"/>
                </a:lnTo>
                <a:lnTo>
                  <a:pt x="757" y="162"/>
                </a:lnTo>
                <a:lnTo>
                  <a:pt x="757" y="162"/>
                </a:lnTo>
                <a:close/>
                <a:moveTo>
                  <a:pt x="786" y="149"/>
                </a:moveTo>
                <a:lnTo>
                  <a:pt x="786" y="148"/>
                </a:lnTo>
                <a:lnTo>
                  <a:pt x="785" y="148"/>
                </a:lnTo>
                <a:lnTo>
                  <a:pt x="765" y="126"/>
                </a:lnTo>
                <a:lnTo>
                  <a:pt x="742" y="106"/>
                </a:lnTo>
                <a:lnTo>
                  <a:pt x="718" y="87"/>
                </a:lnTo>
                <a:lnTo>
                  <a:pt x="693" y="70"/>
                </a:lnTo>
                <a:lnTo>
                  <a:pt x="667" y="55"/>
                </a:lnTo>
                <a:lnTo>
                  <a:pt x="640" y="41"/>
                </a:lnTo>
                <a:lnTo>
                  <a:pt x="611" y="29"/>
                </a:lnTo>
                <a:lnTo>
                  <a:pt x="582" y="19"/>
                </a:lnTo>
                <a:lnTo>
                  <a:pt x="582" y="19"/>
                </a:lnTo>
                <a:lnTo>
                  <a:pt x="581" y="19"/>
                </a:lnTo>
                <a:lnTo>
                  <a:pt x="566" y="15"/>
                </a:lnTo>
                <a:lnTo>
                  <a:pt x="550" y="11"/>
                </a:lnTo>
                <a:lnTo>
                  <a:pt x="534" y="7"/>
                </a:lnTo>
                <a:lnTo>
                  <a:pt x="518" y="4"/>
                </a:lnTo>
                <a:lnTo>
                  <a:pt x="502" y="2"/>
                </a:lnTo>
                <a:lnTo>
                  <a:pt x="485" y="1"/>
                </a:lnTo>
                <a:lnTo>
                  <a:pt x="469" y="0"/>
                </a:lnTo>
                <a:lnTo>
                  <a:pt x="451" y="0"/>
                </a:lnTo>
                <a:lnTo>
                  <a:pt x="428" y="0"/>
                </a:lnTo>
                <a:lnTo>
                  <a:pt x="405" y="2"/>
                </a:lnTo>
                <a:lnTo>
                  <a:pt x="383" y="5"/>
                </a:lnTo>
                <a:lnTo>
                  <a:pt x="360" y="8"/>
                </a:lnTo>
                <a:lnTo>
                  <a:pt x="339" y="14"/>
                </a:lnTo>
                <a:lnTo>
                  <a:pt x="317" y="20"/>
                </a:lnTo>
                <a:lnTo>
                  <a:pt x="296" y="27"/>
                </a:lnTo>
                <a:lnTo>
                  <a:pt x="275" y="35"/>
                </a:lnTo>
                <a:lnTo>
                  <a:pt x="255" y="44"/>
                </a:lnTo>
                <a:lnTo>
                  <a:pt x="236" y="55"/>
                </a:lnTo>
                <a:lnTo>
                  <a:pt x="218" y="65"/>
                </a:lnTo>
                <a:lnTo>
                  <a:pt x="198" y="77"/>
                </a:lnTo>
                <a:lnTo>
                  <a:pt x="181" y="89"/>
                </a:lnTo>
                <a:lnTo>
                  <a:pt x="164" y="103"/>
                </a:lnTo>
                <a:lnTo>
                  <a:pt x="148" y="117"/>
                </a:lnTo>
                <a:lnTo>
                  <a:pt x="132" y="132"/>
                </a:lnTo>
                <a:lnTo>
                  <a:pt x="117" y="148"/>
                </a:lnTo>
                <a:lnTo>
                  <a:pt x="103" y="164"/>
                </a:lnTo>
                <a:lnTo>
                  <a:pt x="89" y="181"/>
                </a:lnTo>
                <a:lnTo>
                  <a:pt x="77" y="198"/>
                </a:lnTo>
                <a:lnTo>
                  <a:pt x="65" y="218"/>
                </a:lnTo>
                <a:lnTo>
                  <a:pt x="55" y="236"/>
                </a:lnTo>
                <a:lnTo>
                  <a:pt x="44" y="255"/>
                </a:lnTo>
                <a:lnTo>
                  <a:pt x="35" y="276"/>
                </a:lnTo>
                <a:lnTo>
                  <a:pt x="27" y="296"/>
                </a:lnTo>
                <a:lnTo>
                  <a:pt x="20" y="317"/>
                </a:lnTo>
                <a:lnTo>
                  <a:pt x="14" y="339"/>
                </a:lnTo>
                <a:lnTo>
                  <a:pt x="8" y="360"/>
                </a:lnTo>
                <a:lnTo>
                  <a:pt x="5" y="383"/>
                </a:lnTo>
                <a:lnTo>
                  <a:pt x="2" y="405"/>
                </a:lnTo>
                <a:lnTo>
                  <a:pt x="0" y="428"/>
                </a:lnTo>
                <a:lnTo>
                  <a:pt x="0" y="451"/>
                </a:lnTo>
                <a:lnTo>
                  <a:pt x="0" y="474"/>
                </a:lnTo>
                <a:lnTo>
                  <a:pt x="2" y="498"/>
                </a:lnTo>
                <a:lnTo>
                  <a:pt x="5" y="520"/>
                </a:lnTo>
                <a:lnTo>
                  <a:pt x="8" y="542"/>
                </a:lnTo>
                <a:lnTo>
                  <a:pt x="14" y="564"/>
                </a:lnTo>
                <a:lnTo>
                  <a:pt x="20" y="586"/>
                </a:lnTo>
                <a:lnTo>
                  <a:pt x="27" y="606"/>
                </a:lnTo>
                <a:lnTo>
                  <a:pt x="35" y="626"/>
                </a:lnTo>
                <a:lnTo>
                  <a:pt x="44" y="647"/>
                </a:lnTo>
                <a:lnTo>
                  <a:pt x="55" y="666"/>
                </a:lnTo>
                <a:lnTo>
                  <a:pt x="65" y="685"/>
                </a:lnTo>
                <a:lnTo>
                  <a:pt x="77" y="704"/>
                </a:lnTo>
                <a:lnTo>
                  <a:pt x="89" y="721"/>
                </a:lnTo>
                <a:lnTo>
                  <a:pt x="103" y="738"/>
                </a:lnTo>
                <a:lnTo>
                  <a:pt x="117" y="755"/>
                </a:lnTo>
                <a:lnTo>
                  <a:pt x="132" y="770"/>
                </a:lnTo>
                <a:lnTo>
                  <a:pt x="148" y="785"/>
                </a:lnTo>
                <a:lnTo>
                  <a:pt x="164" y="799"/>
                </a:lnTo>
                <a:lnTo>
                  <a:pt x="181" y="813"/>
                </a:lnTo>
                <a:lnTo>
                  <a:pt x="198" y="826"/>
                </a:lnTo>
                <a:lnTo>
                  <a:pt x="218" y="838"/>
                </a:lnTo>
                <a:lnTo>
                  <a:pt x="236" y="848"/>
                </a:lnTo>
                <a:lnTo>
                  <a:pt x="255" y="858"/>
                </a:lnTo>
                <a:lnTo>
                  <a:pt x="275" y="868"/>
                </a:lnTo>
                <a:lnTo>
                  <a:pt x="296" y="875"/>
                </a:lnTo>
                <a:lnTo>
                  <a:pt x="317" y="883"/>
                </a:lnTo>
                <a:lnTo>
                  <a:pt x="339" y="889"/>
                </a:lnTo>
                <a:lnTo>
                  <a:pt x="360" y="894"/>
                </a:lnTo>
                <a:lnTo>
                  <a:pt x="383" y="898"/>
                </a:lnTo>
                <a:lnTo>
                  <a:pt x="405" y="901"/>
                </a:lnTo>
                <a:lnTo>
                  <a:pt x="428" y="902"/>
                </a:lnTo>
                <a:lnTo>
                  <a:pt x="451" y="903"/>
                </a:lnTo>
                <a:lnTo>
                  <a:pt x="474" y="902"/>
                </a:lnTo>
                <a:lnTo>
                  <a:pt x="498" y="901"/>
                </a:lnTo>
                <a:lnTo>
                  <a:pt x="520" y="898"/>
                </a:lnTo>
                <a:lnTo>
                  <a:pt x="541" y="894"/>
                </a:lnTo>
                <a:lnTo>
                  <a:pt x="564" y="889"/>
                </a:lnTo>
                <a:lnTo>
                  <a:pt x="585" y="883"/>
                </a:lnTo>
                <a:lnTo>
                  <a:pt x="606" y="875"/>
                </a:lnTo>
                <a:lnTo>
                  <a:pt x="626" y="868"/>
                </a:lnTo>
                <a:lnTo>
                  <a:pt x="647" y="858"/>
                </a:lnTo>
                <a:lnTo>
                  <a:pt x="666" y="848"/>
                </a:lnTo>
                <a:lnTo>
                  <a:pt x="685" y="838"/>
                </a:lnTo>
                <a:lnTo>
                  <a:pt x="703" y="826"/>
                </a:lnTo>
                <a:lnTo>
                  <a:pt x="721" y="813"/>
                </a:lnTo>
                <a:lnTo>
                  <a:pt x="738" y="800"/>
                </a:lnTo>
                <a:lnTo>
                  <a:pt x="755" y="785"/>
                </a:lnTo>
                <a:lnTo>
                  <a:pt x="770" y="770"/>
                </a:lnTo>
                <a:lnTo>
                  <a:pt x="785" y="755"/>
                </a:lnTo>
                <a:lnTo>
                  <a:pt x="800" y="738"/>
                </a:lnTo>
                <a:lnTo>
                  <a:pt x="813" y="721"/>
                </a:lnTo>
                <a:lnTo>
                  <a:pt x="826" y="704"/>
                </a:lnTo>
                <a:lnTo>
                  <a:pt x="837" y="685"/>
                </a:lnTo>
                <a:lnTo>
                  <a:pt x="848" y="666"/>
                </a:lnTo>
                <a:lnTo>
                  <a:pt x="858" y="647"/>
                </a:lnTo>
                <a:lnTo>
                  <a:pt x="868" y="626"/>
                </a:lnTo>
                <a:lnTo>
                  <a:pt x="875" y="606"/>
                </a:lnTo>
                <a:lnTo>
                  <a:pt x="883" y="586"/>
                </a:lnTo>
                <a:lnTo>
                  <a:pt x="889" y="564"/>
                </a:lnTo>
                <a:lnTo>
                  <a:pt x="893" y="542"/>
                </a:lnTo>
                <a:lnTo>
                  <a:pt x="898" y="520"/>
                </a:lnTo>
                <a:lnTo>
                  <a:pt x="901" y="498"/>
                </a:lnTo>
                <a:lnTo>
                  <a:pt x="902" y="474"/>
                </a:lnTo>
                <a:lnTo>
                  <a:pt x="903" y="451"/>
                </a:lnTo>
                <a:lnTo>
                  <a:pt x="902" y="430"/>
                </a:lnTo>
                <a:lnTo>
                  <a:pt x="901" y="409"/>
                </a:lnTo>
                <a:lnTo>
                  <a:pt x="899" y="387"/>
                </a:lnTo>
                <a:lnTo>
                  <a:pt x="894" y="366"/>
                </a:lnTo>
                <a:lnTo>
                  <a:pt x="890" y="345"/>
                </a:lnTo>
                <a:lnTo>
                  <a:pt x="885" y="326"/>
                </a:lnTo>
                <a:lnTo>
                  <a:pt x="878" y="306"/>
                </a:lnTo>
                <a:lnTo>
                  <a:pt x="872" y="286"/>
                </a:lnTo>
                <a:lnTo>
                  <a:pt x="863" y="268"/>
                </a:lnTo>
                <a:lnTo>
                  <a:pt x="855" y="249"/>
                </a:lnTo>
                <a:lnTo>
                  <a:pt x="845" y="232"/>
                </a:lnTo>
                <a:lnTo>
                  <a:pt x="835" y="213"/>
                </a:lnTo>
                <a:lnTo>
                  <a:pt x="824" y="196"/>
                </a:lnTo>
                <a:lnTo>
                  <a:pt x="812" y="180"/>
                </a:lnTo>
                <a:lnTo>
                  <a:pt x="800" y="164"/>
                </a:lnTo>
                <a:lnTo>
                  <a:pt x="786" y="149"/>
                </a:lnTo>
                <a:lnTo>
                  <a:pt x="786" y="149"/>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98" name="Group 202">
            <a:extLst>
              <a:ext uri="{FF2B5EF4-FFF2-40B4-BE49-F238E27FC236}">
                <a16:creationId xmlns:a16="http://schemas.microsoft.com/office/drawing/2014/main" id="{28ACC307-52E5-4FA4-8A3D-6D21210D11C7}"/>
              </a:ext>
            </a:extLst>
          </p:cNvPr>
          <p:cNvGrpSpPr>
            <a:grpSpLocks noChangeAspect="1"/>
          </p:cNvGrpSpPr>
          <p:nvPr/>
        </p:nvGrpSpPr>
        <p:grpSpPr>
          <a:xfrm>
            <a:off x="695091" y="4879041"/>
            <a:ext cx="238016" cy="285619"/>
            <a:chOff x="2066925" y="785813"/>
            <a:chExt cx="238125" cy="285750"/>
          </a:xfrm>
          <a:solidFill>
            <a:schemeClr val="bg2"/>
          </a:solidFill>
          <a:effectLst/>
        </p:grpSpPr>
        <p:sp>
          <p:nvSpPr>
            <p:cNvPr id="1199" name="Freeform 23">
              <a:extLst>
                <a:ext uri="{FF2B5EF4-FFF2-40B4-BE49-F238E27FC236}">
                  <a16:creationId xmlns:a16="http://schemas.microsoft.com/office/drawing/2014/main" id="{670443FD-4914-4ED8-9834-8E3FD63345A9}"/>
                </a:ext>
              </a:extLst>
            </p:cNvPr>
            <p:cNvSpPr>
              <a:spLocks noEditPoints="1"/>
            </p:cNvSpPr>
            <p:nvPr/>
          </p:nvSpPr>
          <p:spPr bwMode="auto">
            <a:xfrm>
              <a:off x="2076450" y="795338"/>
              <a:ext cx="190500" cy="190500"/>
            </a:xfrm>
            <a:custGeom>
              <a:avLst/>
              <a:gdLst>
                <a:gd name="T0" fmla="*/ 355 w 600"/>
                <a:gd name="T1" fmla="*/ 36 h 599"/>
                <a:gd name="T2" fmla="*/ 417 w 600"/>
                <a:gd name="T3" fmla="*/ 56 h 599"/>
                <a:gd name="T4" fmla="*/ 471 w 600"/>
                <a:gd name="T5" fmla="*/ 92 h 599"/>
                <a:gd name="T6" fmla="*/ 516 w 600"/>
                <a:gd name="T7" fmla="*/ 139 h 599"/>
                <a:gd name="T8" fmla="*/ 548 w 600"/>
                <a:gd name="T9" fmla="*/ 194 h 599"/>
                <a:gd name="T10" fmla="*/ 566 w 600"/>
                <a:gd name="T11" fmla="*/ 259 h 599"/>
                <a:gd name="T12" fmla="*/ 569 w 600"/>
                <a:gd name="T13" fmla="*/ 327 h 599"/>
                <a:gd name="T14" fmla="*/ 554 w 600"/>
                <a:gd name="T15" fmla="*/ 392 h 599"/>
                <a:gd name="T16" fmla="*/ 524 w 600"/>
                <a:gd name="T17" fmla="*/ 450 h 599"/>
                <a:gd name="T18" fmla="*/ 482 w 600"/>
                <a:gd name="T19" fmla="*/ 499 h 599"/>
                <a:gd name="T20" fmla="*/ 428 w 600"/>
                <a:gd name="T21" fmla="*/ 537 h 599"/>
                <a:gd name="T22" fmla="*/ 367 w 600"/>
                <a:gd name="T23" fmla="*/ 561 h 599"/>
                <a:gd name="T24" fmla="*/ 300 w 600"/>
                <a:gd name="T25" fmla="*/ 569 h 599"/>
                <a:gd name="T26" fmla="*/ 233 w 600"/>
                <a:gd name="T27" fmla="*/ 561 h 599"/>
                <a:gd name="T28" fmla="*/ 172 w 600"/>
                <a:gd name="T29" fmla="*/ 537 h 599"/>
                <a:gd name="T30" fmla="*/ 119 w 600"/>
                <a:gd name="T31" fmla="*/ 499 h 599"/>
                <a:gd name="T32" fmla="*/ 76 w 600"/>
                <a:gd name="T33" fmla="*/ 450 h 599"/>
                <a:gd name="T34" fmla="*/ 46 w 600"/>
                <a:gd name="T35" fmla="*/ 392 h 599"/>
                <a:gd name="T36" fmla="*/ 31 w 600"/>
                <a:gd name="T37" fmla="*/ 327 h 599"/>
                <a:gd name="T38" fmla="*/ 34 w 600"/>
                <a:gd name="T39" fmla="*/ 259 h 599"/>
                <a:gd name="T40" fmla="*/ 52 w 600"/>
                <a:gd name="T41" fmla="*/ 194 h 599"/>
                <a:gd name="T42" fmla="*/ 84 w 600"/>
                <a:gd name="T43" fmla="*/ 139 h 599"/>
                <a:gd name="T44" fmla="*/ 129 w 600"/>
                <a:gd name="T45" fmla="*/ 92 h 599"/>
                <a:gd name="T46" fmla="*/ 183 w 600"/>
                <a:gd name="T47" fmla="*/ 56 h 599"/>
                <a:gd name="T48" fmla="*/ 245 w 600"/>
                <a:gd name="T49" fmla="*/ 36 h 599"/>
                <a:gd name="T50" fmla="*/ 300 w 600"/>
                <a:gd name="T51" fmla="*/ 599 h 599"/>
                <a:gd name="T52" fmla="*/ 375 w 600"/>
                <a:gd name="T53" fmla="*/ 590 h 599"/>
                <a:gd name="T54" fmla="*/ 443 w 600"/>
                <a:gd name="T55" fmla="*/ 563 h 599"/>
                <a:gd name="T56" fmla="*/ 501 w 600"/>
                <a:gd name="T57" fmla="*/ 522 h 599"/>
                <a:gd name="T58" fmla="*/ 548 w 600"/>
                <a:gd name="T59" fmla="*/ 467 h 599"/>
                <a:gd name="T60" fmla="*/ 581 w 600"/>
                <a:gd name="T61" fmla="*/ 403 h 599"/>
                <a:gd name="T62" fmla="*/ 599 w 600"/>
                <a:gd name="T63" fmla="*/ 330 h 599"/>
                <a:gd name="T64" fmla="*/ 596 w 600"/>
                <a:gd name="T65" fmla="*/ 254 h 599"/>
                <a:gd name="T66" fmla="*/ 576 w 600"/>
                <a:gd name="T67" fmla="*/ 184 h 599"/>
                <a:gd name="T68" fmla="*/ 541 w 600"/>
                <a:gd name="T69" fmla="*/ 121 h 599"/>
                <a:gd name="T70" fmla="*/ 490 w 600"/>
                <a:gd name="T71" fmla="*/ 68 h 599"/>
                <a:gd name="T72" fmla="*/ 431 w 600"/>
                <a:gd name="T73" fmla="*/ 30 h 599"/>
                <a:gd name="T74" fmla="*/ 361 w 600"/>
                <a:gd name="T75" fmla="*/ 6 h 599"/>
                <a:gd name="T76" fmla="*/ 285 w 600"/>
                <a:gd name="T77" fmla="*/ 1 h 599"/>
                <a:gd name="T78" fmla="*/ 211 w 600"/>
                <a:gd name="T79" fmla="*/ 14 h 599"/>
                <a:gd name="T80" fmla="*/ 145 w 600"/>
                <a:gd name="T81" fmla="*/ 44 h 599"/>
                <a:gd name="T82" fmla="*/ 88 w 600"/>
                <a:gd name="T83" fmla="*/ 87 h 599"/>
                <a:gd name="T84" fmla="*/ 44 w 600"/>
                <a:gd name="T85" fmla="*/ 144 h 599"/>
                <a:gd name="T86" fmla="*/ 14 w 600"/>
                <a:gd name="T87" fmla="*/ 210 h 599"/>
                <a:gd name="T88" fmla="*/ 1 w 600"/>
                <a:gd name="T89" fmla="*/ 284 h 599"/>
                <a:gd name="T90" fmla="*/ 7 w 600"/>
                <a:gd name="T91" fmla="*/ 360 h 599"/>
                <a:gd name="T92" fmla="*/ 30 w 600"/>
                <a:gd name="T93" fmla="*/ 430 h 599"/>
                <a:gd name="T94" fmla="*/ 69 w 600"/>
                <a:gd name="T95" fmla="*/ 490 h 599"/>
                <a:gd name="T96" fmla="*/ 121 w 600"/>
                <a:gd name="T97" fmla="*/ 540 h 599"/>
                <a:gd name="T98" fmla="*/ 183 w 600"/>
                <a:gd name="T99" fmla="*/ 575 h 599"/>
                <a:gd name="T100" fmla="*/ 255 w 600"/>
                <a:gd name="T101" fmla="*/ 5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599">
                  <a:moveTo>
                    <a:pt x="300" y="30"/>
                  </a:moveTo>
                  <a:lnTo>
                    <a:pt x="314" y="31"/>
                  </a:lnTo>
                  <a:lnTo>
                    <a:pt x="328" y="32"/>
                  </a:lnTo>
                  <a:lnTo>
                    <a:pt x="342" y="33"/>
                  </a:lnTo>
                  <a:lnTo>
                    <a:pt x="355" y="36"/>
                  </a:lnTo>
                  <a:lnTo>
                    <a:pt x="367" y="38"/>
                  </a:lnTo>
                  <a:lnTo>
                    <a:pt x="380" y="42"/>
                  </a:lnTo>
                  <a:lnTo>
                    <a:pt x="393" y="47"/>
                  </a:lnTo>
                  <a:lnTo>
                    <a:pt x="405" y="51"/>
                  </a:lnTo>
                  <a:lnTo>
                    <a:pt x="417" y="56"/>
                  </a:lnTo>
                  <a:lnTo>
                    <a:pt x="428" y="63"/>
                  </a:lnTo>
                  <a:lnTo>
                    <a:pt x="440" y="69"/>
                  </a:lnTo>
                  <a:lnTo>
                    <a:pt x="451" y="77"/>
                  </a:lnTo>
                  <a:lnTo>
                    <a:pt x="462" y="84"/>
                  </a:lnTo>
                  <a:lnTo>
                    <a:pt x="471" y="92"/>
                  </a:lnTo>
                  <a:lnTo>
                    <a:pt x="482" y="100"/>
                  </a:lnTo>
                  <a:lnTo>
                    <a:pt x="490" y="109"/>
                  </a:lnTo>
                  <a:lnTo>
                    <a:pt x="500" y="118"/>
                  </a:lnTo>
                  <a:lnTo>
                    <a:pt x="509" y="128"/>
                  </a:lnTo>
                  <a:lnTo>
                    <a:pt x="516" y="139"/>
                  </a:lnTo>
                  <a:lnTo>
                    <a:pt x="524" y="149"/>
                  </a:lnTo>
                  <a:lnTo>
                    <a:pt x="531" y="160"/>
                  </a:lnTo>
                  <a:lnTo>
                    <a:pt x="538" y="171"/>
                  </a:lnTo>
                  <a:lnTo>
                    <a:pt x="543" y="183"/>
                  </a:lnTo>
                  <a:lnTo>
                    <a:pt x="548" y="194"/>
                  </a:lnTo>
                  <a:lnTo>
                    <a:pt x="554" y="207"/>
                  </a:lnTo>
                  <a:lnTo>
                    <a:pt x="558" y="220"/>
                  </a:lnTo>
                  <a:lnTo>
                    <a:pt x="561" y="233"/>
                  </a:lnTo>
                  <a:lnTo>
                    <a:pt x="564" y="246"/>
                  </a:lnTo>
                  <a:lnTo>
                    <a:pt x="566" y="259"/>
                  </a:lnTo>
                  <a:lnTo>
                    <a:pt x="569" y="272"/>
                  </a:lnTo>
                  <a:lnTo>
                    <a:pt x="570" y="285"/>
                  </a:lnTo>
                  <a:lnTo>
                    <a:pt x="570" y="299"/>
                  </a:lnTo>
                  <a:lnTo>
                    <a:pt x="570" y="313"/>
                  </a:lnTo>
                  <a:lnTo>
                    <a:pt x="569" y="327"/>
                  </a:lnTo>
                  <a:lnTo>
                    <a:pt x="566" y="341"/>
                  </a:lnTo>
                  <a:lnTo>
                    <a:pt x="564" y="354"/>
                  </a:lnTo>
                  <a:lnTo>
                    <a:pt x="561" y="367"/>
                  </a:lnTo>
                  <a:lnTo>
                    <a:pt x="558" y="379"/>
                  </a:lnTo>
                  <a:lnTo>
                    <a:pt x="554" y="392"/>
                  </a:lnTo>
                  <a:lnTo>
                    <a:pt x="548" y="404"/>
                  </a:lnTo>
                  <a:lnTo>
                    <a:pt x="543" y="417"/>
                  </a:lnTo>
                  <a:lnTo>
                    <a:pt x="538" y="428"/>
                  </a:lnTo>
                  <a:lnTo>
                    <a:pt x="531" y="439"/>
                  </a:lnTo>
                  <a:lnTo>
                    <a:pt x="524" y="450"/>
                  </a:lnTo>
                  <a:lnTo>
                    <a:pt x="516" y="461"/>
                  </a:lnTo>
                  <a:lnTo>
                    <a:pt x="509" y="471"/>
                  </a:lnTo>
                  <a:lnTo>
                    <a:pt x="500" y="481"/>
                  </a:lnTo>
                  <a:lnTo>
                    <a:pt x="490" y="491"/>
                  </a:lnTo>
                  <a:lnTo>
                    <a:pt x="482" y="499"/>
                  </a:lnTo>
                  <a:lnTo>
                    <a:pt x="471" y="508"/>
                  </a:lnTo>
                  <a:lnTo>
                    <a:pt x="462" y="515"/>
                  </a:lnTo>
                  <a:lnTo>
                    <a:pt x="451" y="523"/>
                  </a:lnTo>
                  <a:lnTo>
                    <a:pt x="440" y="530"/>
                  </a:lnTo>
                  <a:lnTo>
                    <a:pt x="428" y="537"/>
                  </a:lnTo>
                  <a:lnTo>
                    <a:pt x="417" y="543"/>
                  </a:lnTo>
                  <a:lnTo>
                    <a:pt x="405" y="548"/>
                  </a:lnTo>
                  <a:lnTo>
                    <a:pt x="393" y="553"/>
                  </a:lnTo>
                  <a:lnTo>
                    <a:pt x="380" y="557"/>
                  </a:lnTo>
                  <a:lnTo>
                    <a:pt x="367" y="561"/>
                  </a:lnTo>
                  <a:lnTo>
                    <a:pt x="355" y="563"/>
                  </a:lnTo>
                  <a:lnTo>
                    <a:pt x="342" y="567"/>
                  </a:lnTo>
                  <a:lnTo>
                    <a:pt x="328" y="568"/>
                  </a:lnTo>
                  <a:lnTo>
                    <a:pt x="314" y="569"/>
                  </a:lnTo>
                  <a:lnTo>
                    <a:pt x="300" y="569"/>
                  </a:lnTo>
                  <a:lnTo>
                    <a:pt x="286" y="569"/>
                  </a:lnTo>
                  <a:lnTo>
                    <a:pt x="272" y="568"/>
                  </a:lnTo>
                  <a:lnTo>
                    <a:pt x="259" y="567"/>
                  </a:lnTo>
                  <a:lnTo>
                    <a:pt x="245" y="563"/>
                  </a:lnTo>
                  <a:lnTo>
                    <a:pt x="233" y="561"/>
                  </a:lnTo>
                  <a:lnTo>
                    <a:pt x="220" y="557"/>
                  </a:lnTo>
                  <a:lnTo>
                    <a:pt x="208" y="553"/>
                  </a:lnTo>
                  <a:lnTo>
                    <a:pt x="195" y="548"/>
                  </a:lnTo>
                  <a:lnTo>
                    <a:pt x="183" y="543"/>
                  </a:lnTo>
                  <a:lnTo>
                    <a:pt x="172" y="537"/>
                  </a:lnTo>
                  <a:lnTo>
                    <a:pt x="161" y="530"/>
                  </a:lnTo>
                  <a:lnTo>
                    <a:pt x="149" y="523"/>
                  </a:lnTo>
                  <a:lnTo>
                    <a:pt x="138" y="515"/>
                  </a:lnTo>
                  <a:lnTo>
                    <a:pt x="129" y="508"/>
                  </a:lnTo>
                  <a:lnTo>
                    <a:pt x="119" y="499"/>
                  </a:lnTo>
                  <a:lnTo>
                    <a:pt x="110" y="491"/>
                  </a:lnTo>
                  <a:lnTo>
                    <a:pt x="101" y="481"/>
                  </a:lnTo>
                  <a:lnTo>
                    <a:pt x="92" y="471"/>
                  </a:lnTo>
                  <a:lnTo>
                    <a:pt x="84" y="461"/>
                  </a:lnTo>
                  <a:lnTo>
                    <a:pt x="76" y="450"/>
                  </a:lnTo>
                  <a:lnTo>
                    <a:pt x="70" y="439"/>
                  </a:lnTo>
                  <a:lnTo>
                    <a:pt x="64" y="428"/>
                  </a:lnTo>
                  <a:lnTo>
                    <a:pt x="57" y="417"/>
                  </a:lnTo>
                  <a:lnTo>
                    <a:pt x="52" y="404"/>
                  </a:lnTo>
                  <a:lnTo>
                    <a:pt x="46" y="392"/>
                  </a:lnTo>
                  <a:lnTo>
                    <a:pt x="43" y="379"/>
                  </a:lnTo>
                  <a:lnTo>
                    <a:pt x="39" y="367"/>
                  </a:lnTo>
                  <a:lnTo>
                    <a:pt x="36" y="354"/>
                  </a:lnTo>
                  <a:lnTo>
                    <a:pt x="34" y="341"/>
                  </a:lnTo>
                  <a:lnTo>
                    <a:pt x="31" y="327"/>
                  </a:lnTo>
                  <a:lnTo>
                    <a:pt x="31" y="313"/>
                  </a:lnTo>
                  <a:lnTo>
                    <a:pt x="30" y="299"/>
                  </a:lnTo>
                  <a:lnTo>
                    <a:pt x="31" y="285"/>
                  </a:lnTo>
                  <a:lnTo>
                    <a:pt x="31" y="272"/>
                  </a:lnTo>
                  <a:lnTo>
                    <a:pt x="34" y="259"/>
                  </a:lnTo>
                  <a:lnTo>
                    <a:pt x="36" y="246"/>
                  </a:lnTo>
                  <a:lnTo>
                    <a:pt x="39" y="232"/>
                  </a:lnTo>
                  <a:lnTo>
                    <a:pt x="43" y="220"/>
                  </a:lnTo>
                  <a:lnTo>
                    <a:pt x="46" y="207"/>
                  </a:lnTo>
                  <a:lnTo>
                    <a:pt x="52" y="194"/>
                  </a:lnTo>
                  <a:lnTo>
                    <a:pt x="57" y="183"/>
                  </a:lnTo>
                  <a:lnTo>
                    <a:pt x="64" y="171"/>
                  </a:lnTo>
                  <a:lnTo>
                    <a:pt x="70" y="160"/>
                  </a:lnTo>
                  <a:lnTo>
                    <a:pt x="76" y="149"/>
                  </a:lnTo>
                  <a:lnTo>
                    <a:pt x="84" y="139"/>
                  </a:lnTo>
                  <a:lnTo>
                    <a:pt x="92" y="128"/>
                  </a:lnTo>
                  <a:lnTo>
                    <a:pt x="101" y="118"/>
                  </a:lnTo>
                  <a:lnTo>
                    <a:pt x="110" y="109"/>
                  </a:lnTo>
                  <a:lnTo>
                    <a:pt x="119" y="100"/>
                  </a:lnTo>
                  <a:lnTo>
                    <a:pt x="129" y="92"/>
                  </a:lnTo>
                  <a:lnTo>
                    <a:pt x="138" y="84"/>
                  </a:lnTo>
                  <a:lnTo>
                    <a:pt x="149" y="77"/>
                  </a:lnTo>
                  <a:lnTo>
                    <a:pt x="161" y="69"/>
                  </a:lnTo>
                  <a:lnTo>
                    <a:pt x="172" y="63"/>
                  </a:lnTo>
                  <a:lnTo>
                    <a:pt x="183" y="56"/>
                  </a:lnTo>
                  <a:lnTo>
                    <a:pt x="195" y="51"/>
                  </a:lnTo>
                  <a:lnTo>
                    <a:pt x="208" y="47"/>
                  </a:lnTo>
                  <a:lnTo>
                    <a:pt x="220" y="42"/>
                  </a:lnTo>
                  <a:lnTo>
                    <a:pt x="233" y="38"/>
                  </a:lnTo>
                  <a:lnTo>
                    <a:pt x="245" y="36"/>
                  </a:lnTo>
                  <a:lnTo>
                    <a:pt x="259" y="33"/>
                  </a:lnTo>
                  <a:lnTo>
                    <a:pt x="272" y="32"/>
                  </a:lnTo>
                  <a:lnTo>
                    <a:pt x="286" y="31"/>
                  </a:lnTo>
                  <a:lnTo>
                    <a:pt x="300" y="30"/>
                  </a:lnTo>
                  <a:close/>
                  <a:moveTo>
                    <a:pt x="300" y="599"/>
                  </a:moveTo>
                  <a:lnTo>
                    <a:pt x="316" y="599"/>
                  </a:lnTo>
                  <a:lnTo>
                    <a:pt x="331" y="598"/>
                  </a:lnTo>
                  <a:lnTo>
                    <a:pt x="346" y="595"/>
                  </a:lnTo>
                  <a:lnTo>
                    <a:pt x="361" y="593"/>
                  </a:lnTo>
                  <a:lnTo>
                    <a:pt x="375" y="590"/>
                  </a:lnTo>
                  <a:lnTo>
                    <a:pt x="389" y="586"/>
                  </a:lnTo>
                  <a:lnTo>
                    <a:pt x="403" y="580"/>
                  </a:lnTo>
                  <a:lnTo>
                    <a:pt x="417" y="575"/>
                  </a:lnTo>
                  <a:lnTo>
                    <a:pt x="431" y="570"/>
                  </a:lnTo>
                  <a:lnTo>
                    <a:pt x="443" y="563"/>
                  </a:lnTo>
                  <a:lnTo>
                    <a:pt x="455" y="556"/>
                  </a:lnTo>
                  <a:lnTo>
                    <a:pt x="468" y="548"/>
                  </a:lnTo>
                  <a:lnTo>
                    <a:pt x="480" y="540"/>
                  </a:lnTo>
                  <a:lnTo>
                    <a:pt x="490" y="530"/>
                  </a:lnTo>
                  <a:lnTo>
                    <a:pt x="501" y="522"/>
                  </a:lnTo>
                  <a:lnTo>
                    <a:pt x="512" y="511"/>
                  </a:lnTo>
                  <a:lnTo>
                    <a:pt x="521" y="501"/>
                  </a:lnTo>
                  <a:lnTo>
                    <a:pt x="531" y="490"/>
                  </a:lnTo>
                  <a:lnTo>
                    <a:pt x="541" y="479"/>
                  </a:lnTo>
                  <a:lnTo>
                    <a:pt x="548" y="467"/>
                  </a:lnTo>
                  <a:lnTo>
                    <a:pt x="557" y="455"/>
                  </a:lnTo>
                  <a:lnTo>
                    <a:pt x="563" y="443"/>
                  </a:lnTo>
                  <a:lnTo>
                    <a:pt x="571" y="430"/>
                  </a:lnTo>
                  <a:lnTo>
                    <a:pt x="576" y="416"/>
                  </a:lnTo>
                  <a:lnTo>
                    <a:pt x="581" y="403"/>
                  </a:lnTo>
                  <a:lnTo>
                    <a:pt x="587" y="389"/>
                  </a:lnTo>
                  <a:lnTo>
                    <a:pt x="590" y="374"/>
                  </a:lnTo>
                  <a:lnTo>
                    <a:pt x="594" y="360"/>
                  </a:lnTo>
                  <a:lnTo>
                    <a:pt x="596" y="345"/>
                  </a:lnTo>
                  <a:lnTo>
                    <a:pt x="599" y="330"/>
                  </a:lnTo>
                  <a:lnTo>
                    <a:pt x="600" y="315"/>
                  </a:lnTo>
                  <a:lnTo>
                    <a:pt x="600" y="299"/>
                  </a:lnTo>
                  <a:lnTo>
                    <a:pt x="600" y="284"/>
                  </a:lnTo>
                  <a:lnTo>
                    <a:pt x="599" y="269"/>
                  </a:lnTo>
                  <a:lnTo>
                    <a:pt x="596" y="254"/>
                  </a:lnTo>
                  <a:lnTo>
                    <a:pt x="594" y="239"/>
                  </a:lnTo>
                  <a:lnTo>
                    <a:pt x="590" y="225"/>
                  </a:lnTo>
                  <a:lnTo>
                    <a:pt x="587" y="210"/>
                  </a:lnTo>
                  <a:lnTo>
                    <a:pt x="581" y="196"/>
                  </a:lnTo>
                  <a:lnTo>
                    <a:pt x="576" y="184"/>
                  </a:lnTo>
                  <a:lnTo>
                    <a:pt x="571" y="170"/>
                  </a:lnTo>
                  <a:lnTo>
                    <a:pt x="563" y="157"/>
                  </a:lnTo>
                  <a:lnTo>
                    <a:pt x="557" y="144"/>
                  </a:lnTo>
                  <a:lnTo>
                    <a:pt x="548" y="132"/>
                  </a:lnTo>
                  <a:lnTo>
                    <a:pt x="541" y="121"/>
                  </a:lnTo>
                  <a:lnTo>
                    <a:pt x="531" y="109"/>
                  </a:lnTo>
                  <a:lnTo>
                    <a:pt x="521" y="98"/>
                  </a:lnTo>
                  <a:lnTo>
                    <a:pt x="512" y="88"/>
                  </a:lnTo>
                  <a:lnTo>
                    <a:pt x="501" y="78"/>
                  </a:lnTo>
                  <a:lnTo>
                    <a:pt x="490" y="68"/>
                  </a:lnTo>
                  <a:lnTo>
                    <a:pt x="480" y="60"/>
                  </a:lnTo>
                  <a:lnTo>
                    <a:pt x="468" y="51"/>
                  </a:lnTo>
                  <a:lnTo>
                    <a:pt x="455" y="44"/>
                  </a:lnTo>
                  <a:lnTo>
                    <a:pt x="443" y="36"/>
                  </a:lnTo>
                  <a:lnTo>
                    <a:pt x="431" y="30"/>
                  </a:lnTo>
                  <a:lnTo>
                    <a:pt x="417" y="23"/>
                  </a:lnTo>
                  <a:lnTo>
                    <a:pt x="403" y="18"/>
                  </a:lnTo>
                  <a:lnTo>
                    <a:pt x="389" y="14"/>
                  </a:lnTo>
                  <a:lnTo>
                    <a:pt x="375" y="9"/>
                  </a:lnTo>
                  <a:lnTo>
                    <a:pt x="361" y="6"/>
                  </a:lnTo>
                  <a:lnTo>
                    <a:pt x="346" y="4"/>
                  </a:lnTo>
                  <a:lnTo>
                    <a:pt x="331" y="2"/>
                  </a:lnTo>
                  <a:lnTo>
                    <a:pt x="316" y="1"/>
                  </a:lnTo>
                  <a:lnTo>
                    <a:pt x="300" y="0"/>
                  </a:lnTo>
                  <a:lnTo>
                    <a:pt x="285" y="1"/>
                  </a:lnTo>
                  <a:lnTo>
                    <a:pt x="270" y="2"/>
                  </a:lnTo>
                  <a:lnTo>
                    <a:pt x="255" y="4"/>
                  </a:lnTo>
                  <a:lnTo>
                    <a:pt x="240" y="6"/>
                  </a:lnTo>
                  <a:lnTo>
                    <a:pt x="225" y="9"/>
                  </a:lnTo>
                  <a:lnTo>
                    <a:pt x="211" y="14"/>
                  </a:lnTo>
                  <a:lnTo>
                    <a:pt x="197" y="18"/>
                  </a:lnTo>
                  <a:lnTo>
                    <a:pt x="183" y="23"/>
                  </a:lnTo>
                  <a:lnTo>
                    <a:pt x="171" y="30"/>
                  </a:lnTo>
                  <a:lnTo>
                    <a:pt x="158" y="36"/>
                  </a:lnTo>
                  <a:lnTo>
                    <a:pt x="145" y="44"/>
                  </a:lnTo>
                  <a:lnTo>
                    <a:pt x="133" y="51"/>
                  </a:lnTo>
                  <a:lnTo>
                    <a:pt x="121" y="60"/>
                  </a:lnTo>
                  <a:lnTo>
                    <a:pt x="110" y="68"/>
                  </a:lnTo>
                  <a:lnTo>
                    <a:pt x="99" y="78"/>
                  </a:lnTo>
                  <a:lnTo>
                    <a:pt x="88" y="87"/>
                  </a:lnTo>
                  <a:lnTo>
                    <a:pt x="79" y="98"/>
                  </a:lnTo>
                  <a:lnTo>
                    <a:pt x="69" y="109"/>
                  </a:lnTo>
                  <a:lnTo>
                    <a:pt x="60" y="121"/>
                  </a:lnTo>
                  <a:lnTo>
                    <a:pt x="52" y="132"/>
                  </a:lnTo>
                  <a:lnTo>
                    <a:pt x="44" y="144"/>
                  </a:lnTo>
                  <a:lnTo>
                    <a:pt x="37" y="157"/>
                  </a:lnTo>
                  <a:lnTo>
                    <a:pt x="30" y="170"/>
                  </a:lnTo>
                  <a:lnTo>
                    <a:pt x="24" y="184"/>
                  </a:lnTo>
                  <a:lnTo>
                    <a:pt x="19" y="196"/>
                  </a:lnTo>
                  <a:lnTo>
                    <a:pt x="14" y="210"/>
                  </a:lnTo>
                  <a:lnTo>
                    <a:pt x="10" y="225"/>
                  </a:lnTo>
                  <a:lnTo>
                    <a:pt x="7" y="239"/>
                  </a:lnTo>
                  <a:lnTo>
                    <a:pt x="4" y="254"/>
                  </a:lnTo>
                  <a:lnTo>
                    <a:pt x="3" y="269"/>
                  </a:lnTo>
                  <a:lnTo>
                    <a:pt x="1" y="284"/>
                  </a:lnTo>
                  <a:lnTo>
                    <a:pt x="0" y="299"/>
                  </a:lnTo>
                  <a:lnTo>
                    <a:pt x="1" y="315"/>
                  </a:lnTo>
                  <a:lnTo>
                    <a:pt x="3" y="330"/>
                  </a:lnTo>
                  <a:lnTo>
                    <a:pt x="4" y="345"/>
                  </a:lnTo>
                  <a:lnTo>
                    <a:pt x="7" y="360"/>
                  </a:lnTo>
                  <a:lnTo>
                    <a:pt x="10" y="374"/>
                  </a:lnTo>
                  <a:lnTo>
                    <a:pt x="14" y="389"/>
                  </a:lnTo>
                  <a:lnTo>
                    <a:pt x="19" y="403"/>
                  </a:lnTo>
                  <a:lnTo>
                    <a:pt x="24" y="416"/>
                  </a:lnTo>
                  <a:lnTo>
                    <a:pt x="30" y="430"/>
                  </a:lnTo>
                  <a:lnTo>
                    <a:pt x="37" y="443"/>
                  </a:lnTo>
                  <a:lnTo>
                    <a:pt x="44" y="455"/>
                  </a:lnTo>
                  <a:lnTo>
                    <a:pt x="52" y="467"/>
                  </a:lnTo>
                  <a:lnTo>
                    <a:pt x="60" y="479"/>
                  </a:lnTo>
                  <a:lnTo>
                    <a:pt x="69" y="490"/>
                  </a:lnTo>
                  <a:lnTo>
                    <a:pt x="79" y="501"/>
                  </a:lnTo>
                  <a:lnTo>
                    <a:pt x="88" y="511"/>
                  </a:lnTo>
                  <a:lnTo>
                    <a:pt x="99" y="522"/>
                  </a:lnTo>
                  <a:lnTo>
                    <a:pt x="110" y="530"/>
                  </a:lnTo>
                  <a:lnTo>
                    <a:pt x="121" y="540"/>
                  </a:lnTo>
                  <a:lnTo>
                    <a:pt x="133" y="548"/>
                  </a:lnTo>
                  <a:lnTo>
                    <a:pt x="145" y="556"/>
                  </a:lnTo>
                  <a:lnTo>
                    <a:pt x="158" y="563"/>
                  </a:lnTo>
                  <a:lnTo>
                    <a:pt x="171" y="570"/>
                  </a:lnTo>
                  <a:lnTo>
                    <a:pt x="183" y="575"/>
                  </a:lnTo>
                  <a:lnTo>
                    <a:pt x="197" y="580"/>
                  </a:lnTo>
                  <a:lnTo>
                    <a:pt x="211" y="586"/>
                  </a:lnTo>
                  <a:lnTo>
                    <a:pt x="225" y="590"/>
                  </a:lnTo>
                  <a:lnTo>
                    <a:pt x="240" y="593"/>
                  </a:lnTo>
                  <a:lnTo>
                    <a:pt x="255" y="595"/>
                  </a:lnTo>
                  <a:lnTo>
                    <a:pt x="270" y="598"/>
                  </a:lnTo>
                  <a:lnTo>
                    <a:pt x="285" y="599"/>
                  </a:lnTo>
                  <a:lnTo>
                    <a:pt x="300" y="5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24">
              <a:extLst>
                <a:ext uri="{FF2B5EF4-FFF2-40B4-BE49-F238E27FC236}">
                  <a16:creationId xmlns:a16="http://schemas.microsoft.com/office/drawing/2014/main" id="{EAB56BC9-0710-4004-B0D2-A8AA25B87953}"/>
                </a:ext>
              </a:extLst>
            </p:cNvPr>
            <p:cNvSpPr>
              <a:spLocks noEditPoints="1"/>
            </p:cNvSpPr>
            <p:nvPr/>
          </p:nvSpPr>
          <p:spPr bwMode="auto">
            <a:xfrm>
              <a:off x="2066925" y="785813"/>
              <a:ext cx="238125" cy="285750"/>
            </a:xfrm>
            <a:custGeom>
              <a:avLst/>
              <a:gdLst>
                <a:gd name="T0" fmla="*/ 315 w 749"/>
                <a:gd name="T1" fmla="*/ 794 h 899"/>
                <a:gd name="T2" fmla="*/ 345 w 749"/>
                <a:gd name="T3" fmla="*/ 748 h 899"/>
                <a:gd name="T4" fmla="*/ 218 w 749"/>
                <a:gd name="T5" fmla="*/ 842 h 899"/>
                <a:gd name="T6" fmla="*/ 330 w 749"/>
                <a:gd name="T7" fmla="*/ 823 h 899"/>
                <a:gd name="T8" fmla="*/ 442 w 749"/>
                <a:gd name="T9" fmla="*/ 842 h 899"/>
                <a:gd name="T10" fmla="*/ 626 w 749"/>
                <a:gd name="T11" fmla="*/ 627 h 899"/>
                <a:gd name="T12" fmla="*/ 691 w 749"/>
                <a:gd name="T13" fmla="*/ 545 h 899"/>
                <a:gd name="T14" fmla="*/ 731 w 749"/>
                <a:gd name="T15" fmla="*/ 453 h 899"/>
                <a:gd name="T16" fmla="*/ 748 w 749"/>
                <a:gd name="T17" fmla="*/ 356 h 899"/>
                <a:gd name="T18" fmla="*/ 743 w 749"/>
                <a:gd name="T19" fmla="*/ 259 h 899"/>
                <a:gd name="T20" fmla="*/ 715 w 749"/>
                <a:gd name="T21" fmla="*/ 163 h 899"/>
                <a:gd name="T22" fmla="*/ 664 w 749"/>
                <a:gd name="T23" fmla="*/ 76 h 899"/>
                <a:gd name="T24" fmla="*/ 658 w 749"/>
                <a:gd name="T25" fmla="*/ 21 h 899"/>
                <a:gd name="T26" fmla="*/ 657 w 749"/>
                <a:gd name="T27" fmla="*/ 7 h 899"/>
                <a:gd name="T28" fmla="*/ 645 w 749"/>
                <a:gd name="T29" fmla="*/ 0 h 899"/>
                <a:gd name="T30" fmla="*/ 606 w 749"/>
                <a:gd name="T31" fmla="*/ 33 h 899"/>
                <a:gd name="T32" fmla="*/ 570 w 749"/>
                <a:gd name="T33" fmla="*/ 75 h 899"/>
                <a:gd name="T34" fmla="*/ 576 w 749"/>
                <a:gd name="T35" fmla="*/ 87 h 899"/>
                <a:gd name="T36" fmla="*/ 591 w 749"/>
                <a:gd name="T37" fmla="*/ 89 h 899"/>
                <a:gd name="T38" fmla="*/ 640 w 749"/>
                <a:gd name="T39" fmla="*/ 95 h 899"/>
                <a:gd name="T40" fmla="*/ 688 w 749"/>
                <a:gd name="T41" fmla="*/ 176 h 899"/>
                <a:gd name="T42" fmla="*/ 714 w 749"/>
                <a:gd name="T43" fmla="*/ 264 h 899"/>
                <a:gd name="T44" fmla="*/ 718 w 749"/>
                <a:gd name="T45" fmla="*/ 355 h 899"/>
                <a:gd name="T46" fmla="*/ 702 w 749"/>
                <a:gd name="T47" fmla="*/ 445 h 899"/>
                <a:gd name="T48" fmla="*/ 665 w 749"/>
                <a:gd name="T49" fmla="*/ 529 h 899"/>
                <a:gd name="T50" fmla="*/ 606 w 749"/>
                <a:gd name="T51" fmla="*/ 605 h 899"/>
                <a:gd name="T52" fmla="*/ 530 w 749"/>
                <a:gd name="T53" fmla="*/ 664 h 899"/>
                <a:gd name="T54" fmla="*/ 446 w 749"/>
                <a:gd name="T55" fmla="*/ 701 h 899"/>
                <a:gd name="T56" fmla="*/ 356 w 749"/>
                <a:gd name="T57" fmla="*/ 717 h 899"/>
                <a:gd name="T58" fmla="*/ 265 w 749"/>
                <a:gd name="T59" fmla="*/ 713 h 899"/>
                <a:gd name="T60" fmla="*/ 176 w 749"/>
                <a:gd name="T61" fmla="*/ 687 h 899"/>
                <a:gd name="T62" fmla="*/ 96 w 749"/>
                <a:gd name="T63" fmla="*/ 640 h 899"/>
                <a:gd name="T64" fmla="*/ 89 w 749"/>
                <a:gd name="T65" fmla="*/ 590 h 899"/>
                <a:gd name="T66" fmla="*/ 88 w 749"/>
                <a:gd name="T67" fmla="*/ 576 h 899"/>
                <a:gd name="T68" fmla="*/ 75 w 749"/>
                <a:gd name="T69" fmla="*/ 569 h 899"/>
                <a:gd name="T70" fmla="*/ 5 w 749"/>
                <a:gd name="T71" fmla="*/ 633 h 899"/>
                <a:gd name="T72" fmla="*/ 0 w 749"/>
                <a:gd name="T73" fmla="*/ 647 h 899"/>
                <a:gd name="T74" fmla="*/ 10 w 749"/>
                <a:gd name="T75" fmla="*/ 658 h 899"/>
                <a:gd name="T76" fmla="*/ 24 w 749"/>
                <a:gd name="T77" fmla="*/ 656 h 899"/>
                <a:gd name="T78" fmla="*/ 85 w 749"/>
                <a:gd name="T79" fmla="*/ 669 h 899"/>
                <a:gd name="T80" fmla="*/ 158 w 749"/>
                <a:gd name="T81" fmla="*/ 712 h 899"/>
                <a:gd name="T82" fmla="*/ 237 w 749"/>
                <a:gd name="T83" fmla="*/ 738 h 899"/>
                <a:gd name="T84" fmla="*/ 259 w 749"/>
                <a:gd name="T85" fmla="*/ 801 h 899"/>
                <a:gd name="T86" fmla="*/ 140 w 749"/>
                <a:gd name="T87" fmla="*/ 844 h 899"/>
                <a:gd name="T88" fmla="*/ 90 w 749"/>
                <a:gd name="T89" fmla="*/ 884 h 899"/>
                <a:gd name="T90" fmla="*/ 105 w 749"/>
                <a:gd name="T91" fmla="*/ 899 h 899"/>
                <a:gd name="T92" fmla="*/ 570 w 749"/>
                <a:gd name="T93" fmla="*/ 889 h 899"/>
                <a:gd name="T94" fmla="*/ 543 w 749"/>
                <a:gd name="T95" fmla="*/ 856 h 899"/>
                <a:gd name="T96" fmla="*/ 425 w 749"/>
                <a:gd name="T97" fmla="*/ 806 h 899"/>
                <a:gd name="T98" fmla="*/ 409 w 749"/>
                <a:gd name="T99" fmla="*/ 741 h 899"/>
                <a:gd name="T100" fmla="*/ 493 w 749"/>
                <a:gd name="T101" fmla="*/ 716 h 899"/>
                <a:gd name="T102" fmla="*/ 571 w 749"/>
                <a:gd name="T103" fmla="*/ 67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899">
                  <a:moveTo>
                    <a:pt x="345" y="794"/>
                  </a:moveTo>
                  <a:lnTo>
                    <a:pt x="337" y="794"/>
                  </a:lnTo>
                  <a:lnTo>
                    <a:pt x="330" y="794"/>
                  </a:lnTo>
                  <a:lnTo>
                    <a:pt x="323" y="794"/>
                  </a:lnTo>
                  <a:lnTo>
                    <a:pt x="315" y="794"/>
                  </a:lnTo>
                  <a:lnTo>
                    <a:pt x="315" y="748"/>
                  </a:lnTo>
                  <a:lnTo>
                    <a:pt x="323" y="748"/>
                  </a:lnTo>
                  <a:lnTo>
                    <a:pt x="330" y="748"/>
                  </a:lnTo>
                  <a:lnTo>
                    <a:pt x="337" y="748"/>
                  </a:lnTo>
                  <a:lnTo>
                    <a:pt x="345" y="748"/>
                  </a:lnTo>
                  <a:lnTo>
                    <a:pt x="345" y="794"/>
                  </a:lnTo>
                  <a:close/>
                  <a:moveTo>
                    <a:pt x="156" y="869"/>
                  </a:moveTo>
                  <a:lnTo>
                    <a:pt x="176" y="859"/>
                  </a:lnTo>
                  <a:lnTo>
                    <a:pt x="197" y="849"/>
                  </a:lnTo>
                  <a:lnTo>
                    <a:pt x="218" y="842"/>
                  </a:lnTo>
                  <a:lnTo>
                    <a:pt x="240" y="835"/>
                  </a:lnTo>
                  <a:lnTo>
                    <a:pt x="262" y="831"/>
                  </a:lnTo>
                  <a:lnTo>
                    <a:pt x="284" y="827"/>
                  </a:lnTo>
                  <a:lnTo>
                    <a:pt x="308" y="824"/>
                  </a:lnTo>
                  <a:lnTo>
                    <a:pt x="330" y="823"/>
                  </a:lnTo>
                  <a:lnTo>
                    <a:pt x="354" y="824"/>
                  </a:lnTo>
                  <a:lnTo>
                    <a:pt x="376" y="827"/>
                  </a:lnTo>
                  <a:lnTo>
                    <a:pt x="398" y="830"/>
                  </a:lnTo>
                  <a:lnTo>
                    <a:pt x="421" y="835"/>
                  </a:lnTo>
                  <a:lnTo>
                    <a:pt x="442" y="842"/>
                  </a:lnTo>
                  <a:lnTo>
                    <a:pt x="464" y="849"/>
                  </a:lnTo>
                  <a:lnTo>
                    <a:pt x="484" y="859"/>
                  </a:lnTo>
                  <a:lnTo>
                    <a:pt x="504" y="869"/>
                  </a:lnTo>
                  <a:lnTo>
                    <a:pt x="156" y="869"/>
                  </a:lnTo>
                  <a:close/>
                  <a:moveTo>
                    <a:pt x="626" y="627"/>
                  </a:moveTo>
                  <a:lnTo>
                    <a:pt x="641" y="610"/>
                  </a:lnTo>
                  <a:lnTo>
                    <a:pt x="655" y="596"/>
                  </a:lnTo>
                  <a:lnTo>
                    <a:pt x="668" y="578"/>
                  </a:lnTo>
                  <a:lnTo>
                    <a:pt x="680" y="562"/>
                  </a:lnTo>
                  <a:lnTo>
                    <a:pt x="691" y="545"/>
                  </a:lnTo>
                  <a:lnTo>
                    <a:pt x="700" y="527"/>
                  </a:lnTo>
                  <a:lnTo>
                    <a:pt x="710" y="509"/>
                  </a:lnTo>
                  <a:lnTo>
                    <a:pt x="717" y="491"/>
                  </a:lnTo>
                  <a:lnTo>
                    <a:pt x="725" y="473"/>
                  </a:lnTo>
                  <a:lnTo>
                    <a:pt x="731" y="453"/>
                  </a:lnTo>
                  <a:lnTo>
                    <a:pt x="737" y="434"/>
                  </a:lnTo>
                  <a:lnTo>
                    <a:pt x="741" y="415"/>
                  </a:lnTo>
                  <a:lnTo>
                    <a:pt x="744" y="395"/>
                  </a:lnTo>
                  <a:lnTo>
                    <a:pt x="747" y="376"/>
                  </a:lnTo>
                  <a:lnTo>
                    <a:pt x="748" y="356"/>
                  </a:lnTo>
                  <a:lnTo>
                    <a:pt x="749" y="337"/>
                  </a:lnTo>
                  <a:lnTo>
                    <a:pt x="749" y="317"/>
                  </a:lnTo>
                  <a:lnTo>
                    <a:pt x="748" y="297"/>
                  </a:lnTo>
                  <a:lnTo>
                    <a:pt x="746" y="278"/>
                  </a:lnTo>
                  <a:lnTo>
                    <a:pt x="743" y="259"/>
                  </a:lnTo>
                  <a:lnTo>
                    <a:pt x="740" y="238"/>
                  </a:lnTo>
                  <a:lnTo>
                    <a:pt x="734" y="220"/>
                  </a:lnTo>
                  <a:lnTo>
                    <a:pt x="729" y="201"/>
                  </a:lnTo>
                  <a:lnTo>
                    <a:pt x="723" y="182"/>
                  </a:lnTo>
                  <a:lnTo>
                    <a:pt x="715" y="163"/>
                  </a:lnTo>
                  <a:lnTo>
                    <a:pt x="707" y="145"/>
                  </a:lnTo>
                  <a:lnTo>
                    <a:pt x="697" y="127"/>
                  </a:lnTo>
                  <a:lnTo>
                    <a:pt x="687" y="110"/>
                  </a:lnTo>
                  <a:lnTo>
                    <a:pt x="676" y="93"/>
                  </a:lnTo>
                  <a:lnTo>
                    <a:pt x="664" y="76"/>
                  </a:lnTo>
                  <a:lnTo>
                    <a:pt x="651" y="60"/>
                  </a:lnTo>
                  <a:lnTo>
                    <a:pt x="637" y="44"/>
                  </a:lnTo>
                  <a:lnTo>
                    <a:pt x="655" y="25"/>
                  </a:lnTo>
                  <a:lnTo>
                    <a:pt x="657" y="23"/>
                  </a:lnTo>
                  <a:lnTo>
                    <a:pt x="658" y="21"/>
                  </a:lnTo>
                  <a:lnTo>
                    <a:pt x="660" y="18"/>
                  </a:lnTo>
                  <a:lnTo>
                    <a:pt x="660" y="15"/>
                  </a:lnTo>
                  <a:lnTo>
                    <a:pt x="660" y="13"/>
                  </a:lnTo>
                  <a:lnTo>
                    <a:pt x="658" y="9"/>
                  </a:lnTo>
                  <a:lnTo>
                    <a:pt x="657" y="7"/>
                  </a:lnTo>
                  <a:lnTo>
                    <a:pt x="655" y="4"/>
                  </a:lnTo>
                  <a:lnTo>
                    <a:pt x="653" y="3"/>
                  </a:lnTo>
                  <a:lnTo>
                    <a:pt x="651" y="1"/>
                  </a:lnTo>
                  <a:lnTo>
                    <a:pt x="648" y="1"/>
                  </a:lnTo>
                  <a:lnTo>
                    <a:pt x="645" y="0"/>
                  </a:lnTo>
                  <a:lnTo>
                    <a:pt x="642" y="1"/>
                  </a:lnTo>
                  <a:lnTo>
                    <a:pt x="639" y="1"/>
                  </a:lnTo>
                  <a:lnTo>
                    <a:pt x="636" y="3"/>
                  </a:lnTo>
                  <a:lnTo>
                    <a:pt x="634" y="4"/>
                  </a:lnTo>
                  <a:lnTo>
                    <a:pt x="606" y="33"/>
                  </a:lnTo>
                  <a:lnTo>
                    <a:pt x="574" y="64"/>
                  </a:lnTo>
                  <a:lnTo>
                    <a:pt x="572" y="67"/>
                  </a:lnTo>
                  <a:lnTo>
                    <a:pt x="571" y="69"/>
                  </a:lnTo>
                  <a:lnTo>
                    <a:pt x="570" y="72"/>
                  </a:lnTo>
                  <a:lnTo>
                    <a:pt x="570" y="75"/>
                  </a:lnTo>
                  <a:lnTo>
                    <a:pt x="570" y="78"/>
                  </a:lnTo>
                  <a:lnTo>
                    <a:pt x="571" y="81"/>
                  </a:lnTo>
                  <a:lnTo>
                    <a:pt x="572" y="83"/>
                  </a:lnTo>
                  <a:lnTo>
                    <a:pt x="574" y="85"/>
                  </a:lnTo>
                  <a:lnTo>
                    <a:pt x="576" y="87"/>
                  </a:lnTo>
                  <a:lnTo>
                    <a:pt x="579" y="89"/>
                  </a:lnTo>
                  <a:lnTo>
                    <a:pt x="583" y="90"/>
                  </a:lnTo>
                  <a:lnTo>
                    <a:pt x="585" y="90"/>
                  </a:lnTo>
                  <a:lnTo>
                    <a:pt x="588" y="90"/>
                  </a:lnTo>
                  <a:lnTo>
                    <a:pt x="591" y="89"/>
                  </a:lnTo>
                  <a:lnTo>
                    <a:pt x="593" y="87"/>
                  </a:lnTo>
                  <a:lnTo>
                    <a:pt x="595" y="85"/>
                  </a:lnTo>
                  <a:lnTo>
                    <a:pt x="616" y="65"/>
                  </a:lnTo>
                  <a:lnTo>
                    <a:pt x="629" y="80"/>
                  </a:lnTo>
                  <a:lnTo>
                    <a:pt x="640" y="95"/>
                  </a:lnTo>
                  <a:lnTo>
                    <a:pt x="652" y="110"/>
                  </a:lnTo>
                  <a:lnTo>
                    <a:pt x="662" y="126"/>
                  </a:lnTo>
                  <a:lnTo>
                    <a:pt x="671" y="142"/>
                  </a:lnTo>
                  <a:lnTo>
                    <a:pt x="680" y="159"/>
                  </a:lnTo>
                  <a:lnTo>
                    <a:pt x="688" y="176"/>
                  </a:lnTo>
                  <a:lnTo>
                    <a:pt x="695" y="193"/>
                  </a:lnTo>
                  <a:lnTo>
                    <a:pt x="701" y="210"/>
                  </a:lnTo>
                  <a:lnTo>
                    <a:pt x="706" y="228"/>
                  </a:lnTo>
                  <a:lnTo>
                    <a:pt x="711" y="246"/>
                  </a:lnTo>
                  <a:lnTo>
                    <a:pt x="714" y="264"/>
                  </a:lnTo>
                  <a:lnTo>
                    <a:pt x="716" y="282"/>
                  </a:lnTo>
                  <a:lnTo>
                    <a:pt x="718" y="300"/>
                  </a:lnTo>
                  <a:lnTo>
                    <a:pt x="719" y="318"/>
                  </a:lnTo>
                  <a:lnTo>
                    <a:pt x="719" y="337"/>
                  </a:lnTo>
                  <a:lnTo>
                    <a:pt x="718" y="355"/>
                  </a:lnTo>
                  <a:lnTo>
                    <a:pt x="717" y="373"/>
                  </a:lnTo>
                  <a:lnTo>
                    <a:pt x="714" y="391"/>
                  </a:lnTo>
                  <a:lnTo>
                    <a:pt x="711" y="409"/>
                  </a:lnTo>
                  <a:lnTo>
                    <a:pt x="707" y="427"/>
                  </a:lnTo>
                  <a:lnTo>
                    <a:pt x="702" y="445"/>
                  </a:lnTo>
                  <a:lnTo>
                    <a:pt x="696" y="462"/>
                  </a:lnTo>
                  <a:lnTo>
                    <a:pt x="690" y="480"/>
                  </a:lnTo>
                  <a:lnTo>
                    <a:pt x="682" y="496"/>
                  </a:lnTo>
                  <a:lnTo>
                    <a:pt x="673" y="513"/>
                  </a:lnTo>
                  <a:lnTo>
                    <a:pt x="665" y="529"/>
                  </a:lnTo>
                  <a:lnTo>
                    <a:pt x="654" y="545"/>
                  </a:lnTo>
                  <a:lnTo>
                    <a:pt x="644" y="561"/>
                  </a:lnTo>
                  <a:lnTo>
                    <a:pt x="632" y="576"/>
                  </a:lnTo>
                  <a:lnTo>
                    <a:pt x="619" y="591"/>
                  </a:lnTo>
                  <a:lnTo>
                    <a:pt x="606" y="605"/>
                  </a:lnTo>
                  <a:lnTo>
                    <a:pt x="591" y="618"/>
                  </a:lnTo>
                  <a:lnTo>
                    <a:pt x="577" y="631"/>
                  </a:lnTo>
                  <a:lnTo>
                    <a:pt x="561" y="643"/>
                  </a:lnTo>
                  <a:lnTo>
                    <a:pt x="546" y="653"/>
                  </a:lnTo>
                  <a:lnTo>
                    <a:pt x="530" y="664"/>
                  </a:lnTo>
                  <a:lnTo>
                    <a:pt x="514" y="673"/>
                  </a:lnTo>
                  <a:lnTo>
                    <a:pt x="497" y="681"/>
                  </a:lnTo>
                  <a:lnTo>
                    <a:pt x="480" y="689"/>
                  </a:lnTo>
                  <a:lnTo>
                    <a:pt x="463" y="696"/>
                  </a:lnTo>
                  <a:lnTo>
                    <a:pt x="446" y="701"/>
                  </a:lnTo>
                  <a:lnTo>
                    <a:pt x="427" y="707"/>
                  </a:lnTo>
                  <a:lnTo>
                    <a:pt x="410" y="711"/>
                  </a:lnTo>
                  <a:lnTo>
                    <a:pt x="392" y="714"/>
                  </a:lnTo>
                  <a:lnTo>
                    <a:pt x="374" y="716"/>
                  </a:lnTo>
                  <a:lnTo>
                    <a:pt x="356" y="717"/>
                  </a:lnTo>
                  <a:lnTo>
                    <a:pt x="337" y="719"/>
                  </a:lnTo>
                  <a:lnTo>
                    <a:pt x="319" y="719"/>
                  </a:lnTo>
                  <a:lnTo>
                    <a:pt x="301" y="717"/>
                  </a:lnTo>
                  <a:lnTo>
                    <a:pt x="283" y="716"/>
                  </a:lnTo>
                  <a:lnTo>
                    <a:pt x="265" y="713"/>
                  </a:lnTo>
                  <a:lnTo>
                    <a:pt x="247" y="710"/>
                  </a:lnTo>
                  <a:lnTo>
                    <a:pt x="228" y="706"/>
                  </a:lnTo>
                  <a:lnTo>
                    <a:pt x="211" y="700"/>
                  </a:lnTo>
                  <a:lnTo>
                    <a:pt x="193" y="694"/>
                  </a:lnTo>
                  <a:lnTo>
                    <a:pt x="176" y="687"/>
                  </a:lnTo>
                  <a:lnTo>
                    <a:pt x="160" y="680"/>
                  </a:lnTo>
                  <a:lnTo>
                    <a:pt x="143" y="670"/>
                  </a:lnTo>
                  <a:lnTo>
                    <a:pt x="127" y="662"/>
                  </a:lnTo>
                  <a:lnTo>
                    <a:pt x="111" y="651"/>
                  </a:lnTo>
                  <a:lnTo>
                    <a:pt x="96" y="640"/>
                  </a:lnTo>
                  <a:lnTo>
                    <a:pt x="81" y="628"/>
                  </a:lnTo>
                  <a:lnTo>
                    <a:pt x="66" y="615"/>
                  </a:lnTo>
                  <a:lnTo>
                    <a:pt x="86" y="594"/>
                  </a:lnTo>
                  <a:lnTo>
                    <a:pt x="88" y="592"/>
                  </a:lnTo>
                  <a:lnTo>
                    <a:pt x="89" y="590"/>
                  </a:lnTo>
                  <a:lnTo>
                    <a:pt x="90" y="587"/>
                  </a:lnTo>
                  <a:lnTo>
                    <a:pt x="90" y="584"/>
                  </a:lnTo>
                  <a:lnTo>
                    <a:pt x="90" y="582"/>
                  </a:lnTo>
                  <a:lnTo>
                    <a:pt x="89" y="578"/>
                  </a:lnTo>
                  <a:lnTo>
                    <a:pt x="88" y="576"/>
                  </a:lnTo>
                  <a:lnTo>
                    <a:pt x="86" y="574"/>
                  </a:lnTo>
                  <a:lnTo>
                    <a:pt x="84" y="572"/>
                  </a:lnTo>
                  <a:lnTo>
                    <a:pt x="81" y="570"/>
                  </a:lnTo>
                  <a:lnTo>
                    <a:pt x="79" y="570"/>
                  </a:lnTo>
                  <a:lnTo>
                    <a:pt x="75" y="569"/>
                  </a:lnTo>
                  <a:lnTo>
                    <a:pt x="72" y="570"/>
                  </a:lnTo>
                  <a:lnTo>
                    <a:pt x="70" y="570"/>
                  </a:lnTo>
                  <a:lnTo>
                    <a:pt x="67" y="572"/>
                  </a:lnTo>
                  <a:lnTo>
                    <a:pt x="65" y="574"/>
                  </a:lnTo>
                  <a:lnTo>
                    <a:pt x="5" y="633"/>
                  </a:lnTo>
                  <a:lnTo>
                    <a:pt x="3" y="636"/>
                  </a:lnTo>
                  <a:lnTo>
                    <a:pt x="2" y="638"/>
                  </a:lnTo>
                  <a:lnTo>
                    <a:pt x="0" y="641"/>
                  </a:lnTo>
                  <a:lnTo>
                    <a:pt x="0" y="644"/>
                  </a:lnTo>
                  <a:lnTo>
                    <a:pt x="0" y="647"/>
                  </a:lnTo>
                  <a:lnTo>
                    <a:pt x="2" y="650"/>
                  </a:lnTo>
                  <a:lnTo>
                    <a:pt x="3" y="652"/>
                  </a:lnTo>
                  <a:lnTo>
                    <a:pt x="5" y="654"/>
                  </a:lnTo>
                  <a:lnTo>
                    <a:pt x="7" y="656"/>
                  </a:lnTo>
                  <a:lnTo>
                    <a:pt x="10" y="658"/>
                  </a:lnTo>
                  <a:lnTo>
                    <a:pt x="12" y="659"/>
                  </a:lnTo>
                  <a:lnTo>
                    <a:pt x="15" y="660"/>
                  </a:lnTo>
                  <a:lnTo>
                    <a:pt x="19" y="659"/>
                  </a:lnTo>
                  <a:lnTo>
                    <a:pt x="21" y="658"/>
                  </a:lnTo>
                  <a:lnTo>
                    <a:pt x="24" y="656"/>
                  </a:lnTo>
                  <a:lnTo>
                    <a:pt x="26" y="654"/>
                  </a:lnTo>
                  <a:lnTo>
                    <a:pt x="44" y="636"/>
                  </a:lnTo>
                  <a:lnTo>
                    <a:pt x="57" y="648"/>
                  </a:lnTo>
                  <a:lnTo>
                    <a:pt x="71" y="659"/>
                  </a:lnTo>
                  <a:lnTo>
                    <a:pt x="85" y="669"/>
                  </a:lnTo>
                  <a:lnTo>
                    <a:pt x="99" y="679"/>
                  </a:lnTo>
                  <a:lnTo>
                    <a:pt x="113" y="689"/>
                  </a:lnTo>
                  <a:lnTo>
                    <a:pt x="128" y="697"/>
                  </a:lnTo>
                  <a:lnTo>
                    <a:pt x="143" y="705"/>
                  </a:lnTo>
                  <a:lnTo>
                    <a:pt x="158" y="712"/>
                  </a:lnTo>
                  <a:lnTo>
                    <a:pt x="173" y="719"/>
                  </a:lnTo>
                  <a:lnTo>
                    <a:pt x="189" y="724"/>
                  </a:lnTo>
                  <a:lnTo>
                    <a:pt x="205" y="729"/>
                  </a:lnTo>
                  <a:lnTo>
                    <a:pt x="221" y="735"/>
                  </a:lnTo>
                  <a:lnTo>
                    <a:pt x="237" y="738"/>
                  </a:lnTo>
                  <a:lnTo>
                    <a:pt x="253" y="742"/>
                  </a:lnTo>
                  <a:lnTo>
                    <a:pt x="269" y="744"/>
                  </a:lnTo>
                  <a:lnTo>
                    <a:pt x="285" y="746"/>
                  </a:lnTo>
                  <a:lnTo>
                    <a:pt x="285" y="797"/>
                  </a:lnTo>
                  <a:lnTo>
                    <a:pt x="259" y="801"/>
                  </a:lnTo>
                  <a:lnTo>
                    <a:pt x="235" y="806"/>
                  </a:lnTo>
                  <a:lnTo>
                    <a:pt x="210" y="813"/>
                  </a:lnTo>
                  <a:lnTo>
                    <a:pt x="187" y="821"/>
                  </a:lnTo>
                  <a:lnTo>
                    <a:pt x="163" y="832"/>
                  </a:lnTo>
                  <a:lnTo>
                    <a:pt x="140" y="844"/>
                  </a:lnTo>
                  <a:lnTo>
                    <a:pt x="118" y="856"/>
                  </a:lnTo>
                  <a:lnTo>
                    <a:pt x="97" y="871"/>
                  </a:lnTo>
                  <a:lnTo>
                    <a:pt x="94" y="875"/>
                  </a:lnTo>
                  <a:lnTo>
                    <a:pt x="91" y="879"/>
                  </a:lnTo>
                  <a:lnTo>
                    <a:pt x="90" y="884"/>
                  </a:lnTo>
                  <a:lnTo>
                    <a:pt x="91" y="889"/>
                  </a:lnTo>
                  <a:lnTo>
                    <a:pt x="94" y="893"/>
                  </a:lnTo>
                  <a:lnTo>
                    <a:pt x="97" y="896"/>
                  </a:lnTo>
                  <a:lnTo>
                    <a:pt x="101" y="898"/>
                  </a:lnTo>
                  <a:lnTo>
                    <a:pt x="105" y="899"/>
                  </a:lnTo>
                  <a:lnTo>
                    <a:pt x="555" y="898"/>
                  </a:lnTo>
                  <a:lnTo>
                    <a:pt x="560" y="898"/>
                  </a:lnTo>
                  <a:lnTo>
                    <a:pt x="563" y="896"/>
                  </a:lnTo>
                  <a:lnTo>
                    <a:pt x="566" y="893"/>
                  </a:lnTo>
                  <a:lnTo>
                    <a:pt x="570" y="889"/>
                  </a:lnTo>
                  <a:lnTo>
                    <a:pt x="570" y="884"/>
                  </a:lnTo>
                  <a:lnTo>
                    <a:pt x="570" y="879"/>
                  </a:lnTo>
                  <a:lnTo>
                    <a:pt x="568" y="875"/>
                  </a:lnTo>
                  <a:lnTo>
                    <a:pt x="564" y="871"/>
                  </a:lnTo>
                  <a:lnTo>
                    <a:pt x="543" y="856"/>
                  </a:lnTo>
                  <a:lnTo>
                    <a:pt x="520" y="844"/>
                  </a:lnTo>
                  <a:lnTo>
                    <a:pt x="498" y="832"/>
                  </a:lnTo>
                  <a:lnTo>
                    <a:pt x="474" y="821"/>
                  </a:lnTo>
                  <a:lnTo>
                    <a:pt x="450" y="813"/>
                  </a:lnTo>
                  <a:lnTo>
                    <a:pt x="425" y="806"/>
                  </a:lnTo>
                  <a:lnTo>
                    <a:pt x="401" y="801"/>
                  </a:lnTo>
                  <a:lnTo>
                    <a:pt x="375" y="797"/>
                  </a:lnTo>
                  <a:lnTo>
                    <a:pt x="375" y="746"/>
                  </a:lnTo>
                  <a:lnTo>
                    <a:pt x="392" y="744"/>
                  </a:lnTo>
                  <a:lnTo>
                    <a:pt x="409" y="741"/>
                  </a:lnTo>
                  <a:lnTo>
                    <a:pt x="426" y="738"/>
                  </a:lnTo>
                  <a:lnTo>
                    <a:pt x="443" y="733"/>
                  </a:lnTo>
                  <a:lnTo>
                    <a:pt x="461" y="728"/>
                  </a:lnTo>
                  <a:lnTo>
                    <a:pt x="477" y="723"/>
                  </a:lnTo>
                  <a:lnTo>
                    <a:pt x="493" y="716"/>
                  </a:lnTo>
                  <a:lnTo>
                    <a:pt x="509" y="709"/>
                  </a:lnTo>
                  <a:lnTo>
                    <a:pt x="525" y="701"/>
                  </a:lnTo>
                  <a:lnTo>
                    <a:pt x="541" y="693"/>
                  </a:lnTo>
                  <a:lnTo>
                    <a:pt x="556" y="683"/>
                  </a:lnTo>
                  <a:lnTo>
                    <a:pt x="571" y="674"/>
                  </a:lnTo>
                  <a:lnTo>
                    <a:pt x="586" y="663"/>
                  </a:lnTo>
                  <a:lnTo>
                    <a:pt x="600" y="651"/>
                  </a:lnTo>
                  <a:lnTo>
                    <a:pt x="614" y="639"/>
                  </a:lnTo>
                  <a:lnTo>
                    <a:pt x="626" y="6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3" name="Freeform 44">
            <a:extLst>
              <a:ext uri="{FF2B5EF4-FFF2-40B4-BE49-F238E27FC236}">
                <a16:creationId xmlns:a16="http://schemas.microsoft.com/office/drawing/2014/main" id="{8FF4CC58-0959-4AD1-97F2-FC419D178027}"/>
              </a:ext>
            </a:extLst>
          </p:cNvPr>
          <p:cNvSpPr>
            <a:spLocks noChangeAspect="1" noEditPoints="1"/>
          </p:cNvSpPr>
          <p:nvPr/>
        </p:nvSpPr>
        <p:spPr bwMode="auto">
          <a:xfrm>
            <a:off x="1479032" y="4931647"/>
            <a:ext cx="285237" cy="180407"/>
          </a:xfrm>
          <a:custGeom>
            <a:avLst/>
            <a:gdLst>
              <a:gd name="T0" fmla="*/ 18 w 96"/>
              <a:gd name="T1" fmla="*/ 60 h 60"/>
              <a:gd name="T2" fmla="*/ 9 w 96"/>
              <a:gd name="T3" fmla="*/ 58 h 60"/>
              <a:gd name="T4" fmla="*/ 0 w 96"/>
              <a:gd name="T5" fmla="*/ 43 h 60"/>
              <a:gd name="T6" fmla="*/ 18 w 96"/>
              <a:gd name="T7" fmla="*/ 26 h 60"/>
              <a:gd name="T8" fmla="*/ 48 w 96"/>
              <a:gd name="T9" fmla="*/ 0 h 60"/>
              <a:gd name="T10" fmla="*/ 75 w 96"/>
              <a:gd name="T11" fmla="*/ 16 h 60"/>
              <a:gd name="T12" fmla="*/ 96 w 96"/>
              <a:gd name="T13" fmla="*/ 38 h 60"/>
              <a:gd name="T14" fmla="*/ 76 w 96"/>
              <a:gd name="T15" fmla="*/ 60 h 60"/>
              <a:gd name="T16" fmla="*/ 18 w 96"/>
              <a:gd name="T17" fmla="*/ 60 h 60"/>
              <a:gd name="T18" fmla="*/ 17 w 96"/>
              <a:gd name="T19" fmla="*/ 30 h 60"/>
              <a:gd name="T20" fmla="*/ 4 w 96"/>
              <a:gd name="T21" fmla="*/ 43 h 60"/>
              <a:gd name="T22" fmla="*/ 18 w 96"/>
              <a:gd name="T23" fmla="*/ 56 h 60"/>
              <a:gd name="T24" fmla="*/ 18 w 96"/>
              <a:gd name="T25" fmla="*/ 58 h 60"/>
              <a:gd name="T26" fmla="*/ 18 w 96"/>
              <a:gd name="T27" fmla="*/ 56 h 60"/>
              <a:gd name="T28" fmla="*/ 76 w 96"/>
              <a:gd name="T29" fmla="*/ 56 h 60"/>
              <a:gd name="T30" fmla="*/ 92 w 96"/>
              <a:gd name="T31" fmla="*/ 38 h 60"/>
              <a:gd name="T32" fmla="*/ 74 w 96"/>
              <a:gd name="T33" fmla="*/ 20 h 60"/>
              <a:gd name="T34" fmla="*/ 73 w 96"/>
              <a:gd name="T35" fmla="*/ 20 h 60"/>
              <a:gd name="T36" fmla="*/ 71 w 96"/>
              <a:gd name="T37" fmla="*/ 19 h 60"/>
              <a:gd name="T38" fmla="*/ 48 w 96"/>
              <a:gd name="T39" fmla="*/ 4 h 60"/>
              <a:gd name="T40" fmla="*/ 22 w 96"/>
              <a:gd name="T41" fmla="*/ 28 h 60"/>
              <a:gd name="T42" fmla="*/ 21 w 96"/>
              <a:gd name="T43" fmla="*/ 30 h 60"/>
              <a:gd name="T44" fmla="*/ 20 w 96"/>
              <a:gd name="T45" fmla="*/ 30 h 60"/>
              <a:gd name="T46" fmla="*/ 17 w 96"/>
              <a:gd name="T47"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60">
                <a:moveTo>
                  <a:pt x="18" y="60"/>
                </a:moveTo>
                <a:cubicBezTo>
                  <a:pt x="17" y="60"/>
                  <a:pt x="13" y="60"/>
                  <a:pt x="9" y="58"/>
                </a:cubicBezTo>
                <a:cubicBezTo>
                  <a:pt x="5" y="56"/>
                  <a:pt x="0" y="52"/>
                  <a:pt x="0" y="43"/>
                </a:cubicBezTo>
                <a:cubicBezTo>
                  <a:pt x="0" y="33"/>
                  <a:pt x="8" y="25"/>
                  <a:pt x="18" y="26"/>
                </a:cubicBezTo>
                <a:cubicBezTo>
                  <a:pt x="20" y="11"/>
                  <a:pt x="33" y="0"/>
                  <a:pt x="48" y="0"/>
                </a:cubicBezTo>
                <a:cubicBezTo>
                  <a:pt x="59" y="0"/>
                  <a:pt x="69" y="6"/>
                  <a:pt x="75" y="16"/>
                </a:cubicBezTo>
                <a:cubicBezTo>
                  <a:pt x="86" y="16"/>
                  <a:pt x="96" y="26"/>
                  <a:pt x="96" y="38"/>
                </a:cubicBezTo>
                <a:cubicBezTo>
                  <a:pt x="96" y="57"/>
                  <a:pt x="76" y="60"/>
                  <a:pt x="76" y="60"/>
                </a:cubicBezTo>
                <a:lnTo>
                  <a:pt x="18" y="60"/>
                </a:lnTo>
                <a:close/>
                <a:moveTo>
                  <a:pt x="17" y="30"/>
                </a:moveTo>
                <a:cubicBezTo>
                  <a:pt x="10" y="30"/>
                  <a:pt x="4" y="36"/>
                  <a:pt x="4" y="43"/>
                </a:cubicBezTo>
                <a:cubicBezTo>
                  <a:pt x="4" y="56"/>
                  <a:pt x="17" y="56"/>
                  <a:pt x="18" y="56"/>
                </a:cubicBezTo>
                <a:cubicBezTo>
                  <a:pt x="18" y="58"/>
                  <a:pt x="18" y="58"/>
                  <a:pt x="18" y="58"/>
                </a:cubicBezTo>
                <a:cubicBezTo>
                  <a:pt x="18" y="56"/>
                  <a:pt x="18" y="56"/>
                  <a:pt x="18" y="56"/>
                </a:cubicBezTo>
                <a:cubicBezTo>
                  <a:pt x="76" y="56"/>
                  <a:pt x="76" y="56"/>
                  <a:pt x="76" y="56"/>
                </a:cubicBezTo>
                <a:cubicBezTo>
                  <a:pt x="76" y="56"/>
                  <a:pt x="92" y="54"/>
                  <a:pt x="92" y="38"/>
                </a:cubicBezTo>
                <a:cubicBezTo>
                  <a:pt x="92" y="28"/>
                  <a:pt x="84" y="20"/>
                  <a:pt x="74" y="20"/>
                </a:cubicBezTo>
                <a:cubicBezTo>
                  <a:pt x="73" y="20"/>
                  <a:pt x="73" y="20"/>
                  <a:pt x="73" y="20"/>
                </a:cubicBezTo>
                <a:cubicBezTo>
                  <a:pt x="73" y="20"/>
                  <a:pt x="72" y="20"/>
                  <a:pt x="71" y="19"/>
                </a:cubicBezTo>
                <a:cubicBezTo>
                  <a:pt x="67" y="10"/>
                  <a:pt x="58" y="4"/>
                  <a:pt x="48" y="4"/>
                </a:cubicBezTo>
                <a:cubicBezTo>
                  <a:pt x="34" y="4"/>
                  <a:pt x="23" y="15"/>
                  <a:pt x="22" y="28"/>
                </a:cubicBezTo>
                <a:cubicBezTo>
                  <a:pt x="22" y="29"/>
                  <a:pt x="22" y="30"/>
                  <a:pt x="21" y="30"/>
                </a:cubicBezTo>
                <a:cubicBezTo>
                  <a:pt x="21" y="30"/>
                  <a:pt x="20" y="30"/>
                  <a:pt x="20" y="30"/>
                </a:cubicBezTo>
                <a:cubicBezTo>
                  <a:pt x="19" y="30"/>
                  <a:pt x="18" y="30"/>
                  <a:pt x="17" y="3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69" name="Freeform 5">
            <a:extLst>
              <a:ext uri="{FF2B5EF4-FFF2-40B4-BE49-F238E27FC236}">
                <a16:creationId xmlns:a16="http://schemas.microsoft.com/office/drawing/2014/main" id="{D88C81EE-A3CE-459A-BDFD-FE3F31BAFE32}"/>
              </a:ext>
            </a:extLst>
          </p:cNvPr>
          <p:cNvSpPr>
            <a:spLocks noChangeAspect="1" noEditPoints="1"/>
          </p:cNvSpPr>
          <p:nvPr/>
        </p:nvSpPr>
        <p:spPr bwMode="auto">
          <a:xfrm>
            <a:off x="1894079" y="4879041"/>
            <a:ext cx="285237" cy="285619"/>
          </a:xfrm>
          <a:custGeom>
            <a:avLst/>
            <a:gdLst>
              <a:gd name="T0" fmla="*/ 0 w 500"/>
              <a:gd name="T1" fmla="*/ 250 h 500"/>
              <a:gd name="T2" fmla="*/ 500 w 500"/>
              <a:gd name="T3" fmla="*/ 250 h 500"/>
              <a:gd name="T4" fmla="*/ 21 w 500"/>
              <a:gd name="T5" fmla="*/ 261 h 500"/>
              <a:gd name="T6" fmla="*/ 157 w 500"/>
              <a:gd name="T7" fmla="*/ 371 h 500"/>
              <a:gd name="T8" fmla="*/ 21 w 500"/>
              <a:gd name="T9" fmla="*/ 261 h 500"/>
              <a:gd name="T10" fmla="*/ 268 w 500"/>
              <a:gd name="T11" fmla="*/ 30 h 500"/>
              <a:gd name="T12" fmla="*/ 268 w 500"/>
              <a:gd name="T13" fmla="*/ 107 h 500"/>
              <a:gd name="T14" fmla="*/ 361 w 500"/>
              <a:gd name="T15" fmla="*/ 230 h 500"/>
              <a:gd name="T16" fmla="*/ 268 w 500"/>
              <a:gd name="T17" fmla="*/ 239 h 500"/>
              <a:gd name="T18" fmla="*/ 335 w 500"/>
              <a:gd name="T19" fmla="*/ 129 h 500"/>
              <a:gd name="T20" fmla="*/ 188 w 500"/>
              <a:gd name="T21" fmla="*/ 107 h 500"/>
              <a:gd name="T22" fmla="*/ 247 w 500"/>
              <a:gd name="T23" fmla="*/ 107 h 500"/>
              <a:gd name="T24" fmla="*/ 247 w 500"/>
              <a:gd name="T25" fmla="*/ 239 h 500"/>
              <a:gd name="T26" fmla="*/ 152 w 500"/>
              <a:gd name="T27" fmla="*/ 230 h 500"/>
              <a:gd name="T28" fmla="*/ 247 w 500"/>
              <a:gd name="T29" fmla="*/ 129 h 500"/>
              <a:gd name="T30" fmla="*/ 130 w 500"/>
              <a:gd name="T31" fmla="*/ 239 h 500"/>
              <a:gd name="T32" fmla="*/ 56 w 500"/>
              <a:gd name="T33" fmla="*/ 129 h 500"/>
              <a:gd name="T34" fmla="*/ 131 w 500"/>
              <a:gd name="T35" fmla="*/ 228 h 500"/>
              <a:gd name="T36" fmla="*/ 247 w 500"/>
              <a:gd name="T37" fmla="*/ 261 h 500"/>
              <a:gd name="T38" fmla="*/ 181 w 500"/>
              <a:gd name="T39" fmla="*/ 371 h 500"/>
              <a:gd name="T40" fmla="*/ 247 w 500"/>
              <a:gd name="T41" fmla="*/ 392 h 500"/>
              <a:gd name="T42" fmla="*/ 192 w 500"/>
              <a:gd name="T43" fmla="*/ 392 h 500"/>
              <a:gd name="T44" fmla="*/ 268 w 500"/>
              <a:gd name="T45" fmla="*/ 392 h 500"/>
              <a:gd name="T46" fmla="*/ 268 w 500"/>
              <a:gd name="T47" fmla="*/ 467 h 500"/>
              <a:gd name="T48" fmla="*/ 268 w 500"/>
              <a:gd name="T49" fmla="*/ 371 h 500"/>
              <a:gd name="T50" fmla="*/ 361 w 500"/>
              <a:gd name="T51" fmla="*/ 261 h 500"/>
              <a:gd name="T52" fmla="*/ 268 w 500"/>
              <a:gd name="T53" fmla="*/ 371 h 500"/>
              <a:gd name="T54" fmla="*/ 478 w 500"/>
              <a:gd name="T55" fmla="*/ 261 h 500"/>
              <a:gd name="T56" fmla="*/ 355 w 500"/>
              <a:gd name="T57" fmla="*/ 371 h 500"/>
              <a:gd name="T58" fmla="*/ 382 w 500"/>
              <a:gd name="T59" fmla="*/ 239 h 500"/>
              <a:gd name="T60" fmla="*/ 359 w 500"/>
              <a:gd name="T61" fmla="*/ 129 h 500"/>
              <a:gd name="T62" fmla="*/ 478 w 500"/>
              <a:gd name="T63" fmla="*/ 239 h 500"/>
              <a:gd name="T64" fmla="*/ 428 w 500"/>
              <a:gd name="T65" fmla="*/ 107 h 500"/>
              <a:gd name="T66" fmla="*/ 293 w 500"/>
              <a:gd name="T67" fmla="*/ 25 h 500"/>
              <a:gd name="T68" fmla="*/ 222 w 500"/>
              <a:gd name="T69" fmla="*/ 23 h 500"/>
              <a:gd name="T70" fmla="*/ 71 w 500"/>
              <a:gd name="T71" fmla="*/ 107 h 500"/>
              <a:gd name="T72" fmla="*/ 70 w 500"/>
              <a:gd name="T73" fmla="*/ 392 h 500"/>
              <a:gd name="T74" fmla="*/ 225 w 500"/>
              <a:gd name="T75" fmla="*/ 477 h 500"/>
              <a:gd name="T76" fmla="*/ 290 w 500"/>
              <a:gd name="T77" fmla="*/ 475 h 500"/>
              <a:gd name="T78" fmla="*/ 429 w 500"/>
              <a:gd name="T79" fmla="*/ 39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0" h="500">
                <a:moveTo>
                  <a:pt x="250" y="0"/>
                </a:moveTo>
                <a:cubicBezTo>
                  <a:pt x="112" y="0"/>
                  <a:pt x="0" y="112"/>
                  <a:pt x="0" y="250"/>
                </a:cubicBezTo>
                <a:cubicBezTo>
                  <a:pt x="0" y="388"/>
                  <a:pt x="112" y="500"/>
                  <a:pt x="250" y="500"/>
                </a:cubicBezTo>
                <a:cubicBezTo>
                  <a:pt x="387" y="500"/>
                  <a:pt x="500" y="388"/>
                  <a:pt x="500" y="250"/>
                </a:cubicBezTo>
                <a:cubicBezTo>
                  <a:pt x="500" y="112"/>
                  <a:pt x="387" y="0"/>
                  <a:pt x="250" y="0"/>
                </a:cubicBezTo>
                <a:close/>
                <a:moveTo>
                  <a:pt x="21" y="261"/>
                </a:moveTo>
                <a:cubicBezTo>
                  <a:pt x="131" y="261"/>
                  <a:pt x="131" y="261"/>
                  <a:pt x="131" y="261"/>
                </a:cubicBezTo>
                <a:cubicBezTo>
                  <a:pt x="133" y="298"/>
                  <a:pt x="142" y="334"/>
                  <a:pt x="157" y="371"/>
                </a:cubicBezTo>
                <a:cubicBezTo>
                  <a:pt x="55" y="371"/>
                  <a:pt x="55" y="371"/>
                  <a:pt x="55" y="371"/>
                </a:cubicBezTo>
                <a:cubicBezTo>
                  <a:pt x="35" y="338"/>
                  <a:pt x="23" y="301"/>
                  <a:pt x="21" y="261"/>
                </a:cubicBezTo>
                <a:close/>
                <a:moveTo>
                  <a:pt x="268" y="107"/>
                </a:moveTo>
                <a:cubicBezTo>
                  <a:pt x="268" y="30"/>
                  <a:pt x="268" y="30"/>
                  <a:pt x="268" y="30"/>
                </a:cubicBezTo>
                <a:cubicBezTo>
                  <a:pt x="282" y="45"/>
                  <a:pt x="305" y="71"/>
                  <a:pt x="325" y="107"/>
                </a:cubicBezTo>
                <a:lnTo>
                  <a:pt x="268" y="107"/>
                </a:lnTo>
                <a:close/>
                <a:moveTo>
                  <a:pt x="335" y="129"/>
                </a:moveTo>
                <a:cubicBezTo>
                  <a:pt x="348" y="158"/>
                  <a:pt x="358" y="192"/>
                  <a:pt x="361" y="230"/>
                </a:cubicBezTo>
                <a:cubicBezTo>
                  <a:pt x="361" y="233"/>
                  <a:pt x="361" y="236"/>
                  <a:pt x="361" y="239"/>
                </a:cubicBezTo>
                <a:cubicBezTo>
                  <a:pt x="268" y="239"/>
                  <a:pt x="268" y="239"/>
                  <a:pt x="268" y="239"/>
                </a:cubicBezTo>
                <a:cubicBezTo>
                  <a:pt x="268" y="129"/>
                  <a:pt x="268" y="129"/>
                  <a:pt x="268" y="129"/>
                </a:cubicBezTo>
                <a:lnTo>
                  <a:pt x="335" y="129"/>
                </a:lnTo>
                <a:close/>
                <a:moveTo>
                  <a:pt x="247" y="107"/>
                </a:moveTo>
                <a:cubicBezTo>
                  <a:pt x="188" y="107"/>
                  <a:pt x="188" y="107"/>
                  <a:pt x="188" y="107"/>
                </a:cubicBezTo>
                <a:cubicBezTo>
                  <a:pt x="209" y="69"/>
                  <a:pt x="234" y="41"/>
                  <a:pt x="247" y="28"/>
                </a:cubicBezTo>
                <a:lnTo>
                  <a:pt x="247" y="107"/>
                </a:lnTo>
                <a:close/>
                <a:moveTo>
                  <a:pt x="247" y="129"/>
                </a:moveTo>
                <a:cubicBezTo>
                  <a:pt x="247" y="239"/>
                  <a:pt x="247" y="239"/>
                  <a:pt x="247" y="239"/>
                </a:cubicBezTo>
                <a:cubicBezTo>
                  <a:pt x="152" y="239"/>
                  <a:pt x="152" y="239"/>
                  <a:pt x="152" y="239"/>
                </a:cubicBezTo>
                <a:cubicBezTo>
                  <a:pt x="152" y="236"/>
                  <a:pt x="152" y="233"/>
                  <a:pt x="152" y="230"/>
                </a:cubicBezTo>
                <a:cubicBezTo>
                  <a:pt x="154" y="192"/>
                  <a:pt x="165" y="158"/>
                  <a:pt x="178" y="129"/>
                </a:cubicBezTo>
                <a:lnTo>
                  <a:pt x="247" y="129"/>
                </a:lnTo>
                <a:close/>
                <a:moveTo>
                  <a:pt x="131" y="228"/>
                </a:moveTo>
                <a:cubicBezTo>
                  <a:pt x="131" y="232"/>
                  <a:pt x="131" y="236"/>
                  <a:pt x="130" y="239"/>
                </a:cubicBezTo>
                <a:cubicBezTo>
                  <a:pt x="21" y="239"/>
                  <a:pt x="21" y="239"/>
                  <a:pt x="21" y="239"/>
                </a:cubicBezTo>
                <a:cubicBezTo>
                  <a:pt x="23" y="199"/>
                  <a:pt x="36" y="161"/>
                  <a:pt x="56" y="129"/>
                </a:cubicBezTo>
                <a:cubicBezTo>
                  <a:pt x="154" y="129"/>
                  <a:pt x="154" y="129"/>
                  <a:pt x="154" y="129"/>
                </a:cubicBezTo>
                <a:cubicBezTo>
                  <a:pt x="142" y="158"/>
                  <a:pt x="133" y="191"/>
                  <a:pt x="131" y="228"/>
                </a:cubicBezTo>
                <a:close/>
                <a:moveTo>
                  <a:pt x="152" y="261"/>
                </a:moveTo>
                <a:cubicBezTo>
                  <a:pt x="247" y="261"/>
                  <a:pt x="247" y="261"/>
                  <a:pt x="247" y="261"/>
                </a:cubicBezTo>
                <a:cubicBezTo>
                  <a:pt x="247" y="371"/>
                  <a:pt x="247" y="371"/>
                  <a:pt x="247" y="371"/>
                </a:cubicBezTo>
                <a:cubicBezTo>
                  <a:pt x="181" y="371"/>
                  <a:pt x="181" y="371"/>
                  <a:pt x="181" y="371"/>
                </a:cubicBezTo>
                <a:cubicBezTo>
                  <a:pt x="164" y="334"/>
                  <a:pt x="154" y="297"/>
                  <a:pt x="152" y="261"/>
                </a:cubicBezTo>
                <a:close/>
                <a:moveTo>
                  <a:pt x="247" y="392"/>
                </a:moveTo>
                <a:cubicBezTo>
                  <a:pt x="247" y="470"/>
                  <a:pt x="247" y="470"/>
                  <a:pt x="247" y="470"/>
                </a:cubicBezTo>
                <a:cubicBezTo>
                  <a:pt x="225" y="444"/>
                  <a:pt x="206" y="418"/>
                  <a:pt x="192" y="392"/>
                </a:cubicBezTo>
                <a:lnTo>
                  <a:pt x="247" y="392"/>
                </a:lnTo>
                <a:close/>
                <a:moveTo>
                  <a:pt x="268" y="392"/>
                </a:moveTo>
                <a:cubicBezTo>
                  <a:pt x="321" y="392"/>
                  <a:pt x="321" y="392"/>
                  <a:pt x="321" y="392"/>
                </a:cubicBezTo>
                <a:cubicBezTo>
                  <a:pt x="307" y="417"/>
                  <a:pt x="290" y="442"/>
                  <a:pt x="268" y="467"/>
                </a:cubicBezTo>
                <a:lnTo>
                  <a:pt x="268" y="392"/>
                </a:lnTo>
                <a:close/>
                <a:moveTo>
                  <a:pt x="268" y="371"/>
                </a:moveTo>
                <a:cubicBezTo>
                  <a:pt x="268" y="261"/>
                  <a:pt x="268" y="261"/>
                  <a:pt x="268" y="261"/>
                </a:cubicBezTo>
                <a:cubicBezTo>
                  <a:pt x="361" y="261"/>
                  <a:pt x="361" y="261"/>
                  <a:pt x="361" y="261"/>
                </a:cubicBezTo>
                <a:cubicBezTo>
                  <a:pt x="359" y="297"/>
                  <a:pt x="349" y="334"/>
                  <a:pt x="332" y="371"/>
                </a:cubicBezTo>
                <a:lnTo>
                  <a:pt x="268" y="371"/>
                </a:lnTo>
                <a:close/>
                <a:moveTo>
                  <a:pt x="382" y="261"/>
                </a:moveTo>
                <a:cubicBezTo>
                  <a:pt x="478" y="261"/>
                  <a:pt x="478" y="261"/>
                  <a:pt x="478" y="261"/>
                </a:cubicBezTo>
                <a:cubicBezTo>
                  <a:pt x="476" y="301"/>
                  <a:pt x="464" y="338"/>
                  <a:pt x="444" y="371"/>
                </a:cubicBezTo>
                <a:cubicBezTo>
                  <a:pt x="355" y="371"/>
                  <a:pt x="355" y="371"/>
                  <a:pt x="355" y="371"/>
                </a:cubicBezTo>
                <a:cubicBezTo>
                  <a:pt x="371" y="334"/>
                  <a:pt x="380" y="298"/>
                  <a:pt x="382" y="261"/>
                </a:cubicBezTo>
                <a:close/>
                <a:moveTo>
                  <a:pt x="382" y="239"/>
                </a:moveTo>
                <a:cubicBezTo>
                  <a:pt x="382" y="236"/>
                  <a:pt x="382" y="232"/>
                  <a:pt x="382" y="228"/>
                </a:cubicBezTo>
                <a:cubicBezTo>
                  <a:pt x="380" y="191"/>
                  <a:pt x="371" y="158"/>
                  <a:pt x="359" y="129"/>
                </a:cubicBezTo>
                <a:cubicBezTo>
                  <a:pt x="443" y="129"/>
                  <a:pt x="443" y="129"/>
                  <a:pt x="443" y="129"/>
                </a:cubicBezTo>
                <a:cubicBezTo>
                  <a:pt x="464" y="161"/>
                  <a:pt x="476" y="199"/>
                  <a:pt x="478" y="239"/>
                </a:cubicBezTo>
                <a:lnTo>
                  <a:pt x="382" y="239"/>
                </a:lnTo>
                <a:close/>
                <a:moveTo>
                  <a:pt x="428" y="107"/>
                </a:moveTo>
                <a:cubicBezTo>
                  <a:pt x="349" y="107"/>
                  <a:pt x="349" y="107"/>
                  <a:pt x="349" y="107"/>
                </a:cubicBezTo>
                <a:cubicBezTo>
                  <a:pt x="331" y="71"/>
                  <a:pt x="309" y="43"/>
                  <a:pt x="293" y="25"/>
                </a:cubicBezTo>
                <a:cubicBezTo>
                  <a:pt x="347" y="36"/>
                  <a:pt x="395" y="66"/>
                  <a:pt x="428" y="107"/>
                </a:cubicBezTo>
                <a:close/>
                <a:moveTo>
                  <a:pt x="222" y="23"/>
                </a:moveTo>
                <a:cubicBezTo>
                  <a:pt x="206" y="41"/>
                  <a:pt x="183" y="70"/>
                  <a:pt x="164" y="107"/>
                </a:cubicBezTo>
                <a:cubicBezTo>
                  <a:pt x="71" y="107"/>
                  <a:pt x="71" y="107"/>
                  <a:pt x="71" y="107"/>
                </a:cubicBezTo>
                <a:cubicBezTo>
                  <a:pt x="108" y="62"/>
                  <a:pt x="161" y="30"/>
                  <a:pt x="222" y="23"/>
                </a:cubicBezTo>
                <a:close/>
                <a:moveTo>
                  <a:pt x="70" y="392"/>
                </a:moveTo>
                <a:cubicBezTo>
                  <a:pt x="168" y="392"/>
                  <a:pt x="168" y="392"/>
                  <a:pt x="168" y="392"/>
                </a:cubicBezTo>
                <a:cubicBezTo>
                  <a:pt x="182" y="421"/>
                  <a:pt x="202" y="449"/>
                  <a:pt x="225" y="477"/>
                </a:cubicBezTo>
                <a:cubicBezTo>
                  <a:pt x="163" y="471"/>
                  <a:pt x="108" y="439"/>
                  <a:pt x="70" y="392"/>
                </a:cubicBezTo>
                <a:close/>
                <a:moveTo>
                  <a:pt x="290" y="475"/>
                </a:moveTo>
                <a:cubicBezTo>
                  <a:pt x="312" y="448"/>
                  <a:pt x="331" y="420"/>
                  <a:pt x="345" y="392"/>
                </a:cubicBezTo>
                <a:cubicBezTo>
                  <a:pt x="429" y="392"/>
                  <a:pt x="429" y="392"/>
                  <a:pt x="429" y="392"/>
                </a:cubicBezTo>
                <a:cubicBezTo>
                  <a:pt x="395" y="435"/>
                  <a:pt x="346" y="465"/>
                  <a:pt x="290" y="47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6" name="Group 160">
            <a:extLst>
              <a:ext uri="{FF2B5EF4-FFF2-40B4-BE49-F238E27FC236}">
                <a16:creationId xmlns:a16="http://schemas.microsoft.com/office/drawing/2014/main" id="{CA8153F1-D40E-495E-91AC-96B96D8AC156}"/>
              </a:ext>
            </a:extLst>
          </p:cNvPr>
          <p:cNvGrpSpPr>
            <a:grpSpLocks noChangeAspect="1"/>
          </p:cNvGrpSpPr>
          <p:nvPr/>
        </p:nvGrpSpPr>
        <p:grpSpPr>
          <a:xfrm>
            <a:off x="2314478" y="4879041"/>
            <a:ext cx="285619" cy="285619"/>
            <a:chOff x="5297488" y="2084388"/>
            <a:chExt cx="371475" cy="371475"/>
          </a:xfrm>
          <a:solidFill>
            <a:schemeClr val="bg2"/>
          </a:solidFill>
          <a:effectLst/>
        </p:grpSpPr>
        <p:sp>
          <p:nvSpPr>
            <p:cNvPr id="1977" name="Freeform 74">
              <a:extLst>
                <a:ext uri="{FF2B5EF4-FFF2-40B4-BE49-F238E27FC236}">
                  <a16:creationId xmlns:a16="http://schemas.microsoft.com/office/drawing/2014/main" id="{E3CFF23E-77F9-4123-9416-2C5BD9D9F96B}"/>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78" name="Freeform 75">
              <a:extLst>
                <a:ext uri="{FF2B5EF4-FFF2-40B4-BE49-F238E27FC236}">
                  <a16:creationId xmlns:a16="http://schemas.microsoft.com/office/drawing/2014/main" id="{D097FB29-6BB0-44C1-A103-DA8CF9A8207E}"/>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79" name="Freeform 76">
              <a:extLst>
                <a:ext uri="{FF2B5EF4-FFF2-40B4-BE49-F238E27FC236}">
                  <a16:creationId xmlns:a16="http://schemas.microsoft.com/office/drawing/2014/main" id="{CB580BCF-F54E-42AC-9945-7FC483D71733}"/>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0" name="Rectangle 77">
              <a:extLst>
                <a:ext uri="{FF2B5EF4-FFF2-40B4-BE49-F238E27FC236}">
                  <a16:creationId xmlns:a16="http://schemas.microsoft.com/office/drawing/2014/main" id="{1B082C43-50E6-47A8-8FD4-4F4444889412}"/>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1" name="Rectangle 78">
              <a:extLst>
                <a:ext uri="{FF2B5EF4-FFF2-40B4-BE49-F238E27FC236}">
                  <a16:creationId xmlns:a16="http://schemas.microsoft.com/office/drawing/2014/main" id="{A35D3AEE-2D60-43DD-8D04-978F7653BF73}"/>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2" name="Rectangle 79">
              <a:extLst>
                <a:ext uri="{FF2B5EF4-FFF2-40B4-BE49-F238E27FC236}">
                  <a16:creationId xmlns:a16="http://schemas.microsoft.com/office/drawing/2014/main" id="{1D8837DE-973C-4B69-AAC4-9F236CDA2115}"/>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000" name="Gruppieren 1999">
            <a:extLst>
              <a:ext uri="{FF2B5EF4-FFF2-40B4-BE49-F238E27FC236}">
                <a16:creationId xmlns:a16="http://schemas.microsoft.com/office/drawing/2014/main" id="{04B0B8E2-BB3D-46B8-B993-BB61DDAF735A}"/>
              </a:ext>
            </a:extLst>
          </p:cNvPr>
          <p:cNvGrpSpPr>
            <a:grpSpLocks noChangeAspect="1"/>
          </p:cNvGrpSpPr>
          <p:nvPr/>
        </p:nvGrpSpPr>
        <p:grpSpPr>
          <a:xfrm>
            <a:off x="2720829" y="4879041"/>
            <a:ext cx="316479" cy="285619"/>
            <a:chOff x="10964454" y="2979934"/>
            <a:chExt cx="398897" cy="360000"/>
          </a:xfrm>
          <a:solidFill>
            <a:schemeClr val="bg2"/>
          </a:solidFill>
        </p:grpSpPr>
        <p:grpSp>
          <p:nvGrpSpPr>
            <p:cNvPr id="2001" name="Gruppieren 2000">
              <a:extLst>
                <a:ext uri="{FF2B5EF4-FFF2-40B4-BE49-F238E27FC236}">
                  <a16:creationId xmlns:a16="http://schemas.microsoft.com/office/drawing/2014/main" id="{DBF67CB9-3CF2-47F3-A84F-88AC3E978712}"/>
                </a:ext>
              </a:extLst>
            </p:cNvPr>
            <p:cNvGrpSpPr/>
            <p:nvPr/>
          </p:nvGrpSpPr>
          <p:grpSpPr>
            <a:xfrm>
              <a:off x="10964454" y="2979934"/>
              <a:ext cx="398897" cy="360000"/>
              <a:chOff x="10964454" y="2979934"/>
              <a:chExt cx="398897" cy="360000"/>
            </a:xfrm>
            <a:grpFill/>
          </p:grpSpPr>
          <p:sp>
            <p:nvSpPr>
              <p:cNvPr id="2009" name="Freeform 256">
                <a:extLst>
                  <a:ext uri="{FF2B5EF4-FFF2-40B4-BE49-F238E27FC236}">
                    <a16:creationId xmlns:a16="http://schemas.microsoft.com/office/drawing/2014/main" id="{6BD7A46B-9DBB-415D-B70A-37FD7DAEFA21}"/>
                  </a:ext>
                </a:extLst>
              </p:cNvPr>
              <p:cNvSpPr>
                <a:spLocks/>
              </p:cNvSpPr>
              <p:nvPr/>
            </p:nvSpPr>
            <p:spPr bwMode="auto">
              <a:xfrm>
                <a:off x="10985143" y="3169451"/>
                <a:ext cx="358345" cy="170483"/>
              </a:xfrm>
              <a:custGeom>
                <a:avLst/>
                <a:gdLst>
                  <a:gd name="T0" fmla="*/ 588 w 1300"/>
                  <a:gd name="T1" fmla="*/ 615 h 618"/>
                  <a:gd name="T2" fmla="*/ 497 w 1300"/>
                  <a:gd name="T3" fmla="*/ 601 h 618"/>
                  <a:gd name="T4" fmla="*/ 412 w 1300"/>
                  <a:gd name="T5" fmla="*/ 573 h 618"/>
                  <a:gd name="T6" fmla="*/ 331 w 1300"/>
                  <a:gd name="T7" fmla="*/ 536 h 618"/>
                  <a:gd name="T8" fmla="*/ 258 w 1300"/>
                  <a:gd name="T9" fmla="*/ 487 h 618"/>
                  <a:gd name="T10" fmla="*/ 190 w 1300"/>
                  <a:gd name="T11" fmla="*/ 429 h 618"/>
                  <a:gd name="T12" fmla="*/ 132 w 1300"/>
                  <a:gd name="T13" fmla="*/ 365 h 618"/>
                  <a:gd name="T14" fmla="*/ 84 w 1300"/>
                  <a:gd name="T15" fmla="*/ 290 h 618"/>
                  <a:gd name="T16" fmla="*/ 45 w 1300"/>
                  <a:gd name="T17" fmla="*/ 210 h 618"/>
                  <a:gd name="T18" fmla="*/ 16 w 1300"/>
                  <a:gd name="T19" fmla="*/ 123 h 618"/>
                  <a:gd name="T20" fmla="*/ 0 w 1300"/>
                  <a:gd name="T21" fmla="*/ 32 h 618"/>
                  <a:gd name="T22" fmla="*/ 3 w 1300"/>
                  <a:gd name="T23" fmla="*/ 16 h 618"/>
                  <a:gd name="T24" fmla="*/ 14 w 1300"/>
                  <a:gd name="T25" fmla="*/ 6 h 618"/>
                  <a:gd name="T26" fmla="*/ 29 w 1300"/>
                  <a:gd name="T27" fmla="*/ 3 h 618"/>
                  <a:gd name="T28" fmla="*/ 43 w 1300"/>
                  <a:gd name="T29" fmla="*/ 9 h 618"/>
                  <a:gd name="T30" fmla="*/ 52 w 1300"/>
                  <a:gd name="T31" fmla="*/ 22 h 618"/>
                  <a:gd name="T32" fmla="*/ 60 w 1300"/>
                  <a:gd name="T33" fmla="*/ 84 h 618"/>
                  <a:gd name="T34" fmla="*/ 84 w 1300"/>
                  <a:gd name="T35" fmla="*/ 164 h 618"/>
                  <a:gd name="T36" fmla="*/ 115 w 1300"/>
                  <a:gd name="T37" fmla="*/ 241 h 618"/>
                  <a:gd name="T38" fmla="*/ 157 w 1300"/>
                  <a:gd name="T39" fmla="*/ 310 h 618"/>
                  <a:gd name="T40" fmla="*/ 209 w 1300"/>
                  <a:gd name="T41" fmla="*/ 373 h 618"/>
                  <a:gd name="T42" fmla="*/ 268 w 1300"/>
                  <a:gd name="T43" fmla="*/ 429 h 618"/>
                  <a:gd name="T44" fmla="*/ 333 w 1300"/>
                  <a:gd name="T45" fmla="*/ 475 h 618"/>
                  <a:gd name="T46" fmla="*/ 405 w 1300"/>
                  <a:gd name="T47" fmla="*/ 514 h 618"/>
                  <a:gd name="T48" fmla="*/ 482 w 1300"/>
                  <a:gd name="T49" fmla="*/ 542 h 618"/>
                  <a:gd name="T50" fmla="*/ 564 w 1300"/>
                  <a:gd name="T51" fmla="*/ 560 h 618"/>
                  <a:gd name="T52" fmla="*/ 649 w 1300"/>
                  <a:gd name="T53" fmla="*/ 566 h 618"/>
                  <a:gd name="T54" fmla="*/ 736 w 1300"/>
                  <a:gd name="T55" fmla="*/ 559 h 618"/>
                  <a:gd name="T56" fmla="*/ 818 w 1300"/>
                  <a:gd name="T57" fmla="*/ 542 h 618"/>
                  <a:gd name="T58" fmla="*/ 896 w 1300"/>
                  <a:gd name="T59" fmla="*/ 514 h 618"/>
                  <a:gd name="T60" fmla="*/ 968 w 1300"/>
                  <a:gd name="T61" fmla="*/ 475 h 618"/>
                  <a:gd name="T62" fmla="*/ 1034 w 1300"/>
                  <a:gd name="T63" fmla="*/ 428 h 618"/>
                  <a:gd name="T64" fmla="*/ 1093 w 1300"/>
                  <a:gd name="T65" fmla="*/ 372 h 618"/>
                  <a:gd name="T66" fmla="*/ 1143 w 1300"/>
                  <a:gd name="T67" fmla="*/ 308 h 618"/>
                  <a:gd name="T68" fmla="*/ 1185 w 1300"/>
                  <a:gd name="T69" fmla="*/ 238 h 618"/>
                  <a:gd name="T70" fmla="*/ 1218 w 1300"/>
                  <a:gd name="T71" fmla="*/ 162 h 618"/>
                  <a:gd name="T72" fmla="*/ 1240 w 1300"/>
                  <a:gd name="T73" fmla="*/ 81 h 618"/>
                  <a:gd name="T74" fmla="*/ 1248 w 1300"/>
                  <a:gd name="T75" fmla="*/ 18 h 618"/>
                  <a:gd name="T76" fmla="*/ 1257 w 1300"/>
                  <a:gd name="T77" fmla="*/ 6 h 618"/>
                  <a:gd name="T78" fmla="*/ 1272 w 1300"/>
                  <a:gd name="T79" fmla="*/ 0 h 618"/>
                  <a:gd name="T80" fmla="*/ 1286 w 1300"/>
                  <a:gd name="T81" fmla="*/ 3 h 618"/>
                  <a:gd name="T82" fmla="*/ 1297 w 1300"/>
                  <a:gd name="T83" fmla="*/ 13 h 618"/>
                  <a:gd name="T84" fmla="*/ 1300 w 1300"/>
                  <a:gd name="T85" fmla="*/ 28 h 618"/>
                  <a:gd name="T86" fmla="*/ 1284 w 1300"/>
                  <a:gd name="T87" fmla="*/ 121 h 618"/>
                  <a:gd name="T88" fmla="*/ 1257 w 1300"/>
                  <a:gd name="T89" fmla="*/ 208 h 618"/>
                  <a:gd name="T90" fmla="*/ 1218 w 1300"/>
                  <a:gd name="T91" fmla="*/ 288 h 618"/>
                  <a:gd name="T92" fmla="*/ 1169 w 1300"/>
                  <a:gd name="T93" fmla="*/ 363 h 618"/>
                  <a:gd name="T94" fmla="*/ 1112 w 1300"/>
                  <a:gd name="T95" fmla="*/ 429 h 618"/>
                  <a:gd name="T96" fmla="*/ 1044 w 1300"/>
                  <a:gd name="T97" fmla="*/ 487 h 618"/>
                  <a:gd name="T98" fmla="*/ 971 w 1300"/>
                  <a:gd name="T99" fmla="*/ 534 h 618"/>
                  <a:gd name="T100" fmla="*/ 890 w 1300"/>
                  <a:gd name="T101" fmla="*/ 573 h 618"/>
                  <a:gd name="T102" fmla="*/ 804 w 1300"/>
                  <a:gd name="T103" fmla="*/ 601 h 618"/>
                  <a:gd name="T104" fmla="*/ 713 w 1300"/>
                  <a:gd name="T105" fmla="*/ 61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0" h="618">
                    <a:moveTo>
                      <a:pt x="649" y="618"/>
                    </a:moveTo>
                    <a:lnTo>
                      <a:pt x="619" y="617"/>
                    </a:lnTo>
                    <a:lnTo>
                      <a:pt x="588" y="615"/>
                    </a:lnTo>
                    <a:lnTo>
                      <a:pt x="557" y="611"/>
                    </a:lnTo>
                    <a:lnTo>
                      <a:pt x="527" y="606"/>
                    </a:lnTo>
                    <a:lnTo>
                      <a:pt x="497" y="601"/>
                    </a:lnTo>
                    <a:lnTo>
                      <a:pt x="468" y="592"/>
                    </a:lnTo>
                    <a:lnTo>
                      <a:pt x="439" y="583"/>
                    </a:lnTo>
                    <a:lnTo>
                      <a:pt x="412" y="573"/>
                    </a:lnTo>
                    <a:lnTo>
                      <a:pt x="384" y="562"/>
                    </a:lnTo>
                    <a:lnTo>
                      <a:pt x="357" y="549"/>
                    </a:lnTo>
                    <a:lnTo>
                      <a:pt x="331" y="536"/>
                    </a:lnTo>
                    <a:lnTo>
                      <a:pt x="305" y="520"/>
                    </a:lnTo>
                    <a:lnTo>
                      <a:pt x="281" y="504"/>
                    </a:lnTo>
                    <a:lnTo>
                      <a:pt x="258" y="487"/>
                    </a:lnTo>
                    <a:lnTo>
                      <a:pt x="235" y="470"/>
                    </a:lnTo>
                    <a:lnTo>
                      <a:pt x="212" y="450"/>
                    </a:lnTo>
                    <a:lnTo>
                      <a:pt x="190" y="429"/>
                    </a:lnTo>
                    <a:lnTo>
                      <a:pt x="170" y="409"/>
                    </a:lnTo>
                    <a:lnTo>
                      <a:pt x="151" y="388"/>
                    </a:lnTo>
                    <a:lnTo>
                      <a:pt x="132" y="365"/>
                    </a:lnTo>
                    <a:lnTo>
                      <a:pt x="115" y="340"/>
                    </a:lnTo>
                    <a:lnTo>
                      <a:pt x="98" y="316"/>
                    </a:lnTo>
                    <a:lnTo>
                      <a:pt x="84" y="290"/>
                    </a:lnTo>
                    <a:lnTo>
                      <a:pt x="69" y="264"/>
                    </a:lnTo>
                    <a:lnTo>
                      <a:pt x="56" y="238"/>
                    </a:lnTo>
                    <a:lnTo>
                      <a:pt x="45" y="210"/>
                    </a:lnTo>
                    <a:lnTo>
                      <a:pt x="33" y="182"/>
                    </a:lnTo>
                    <a:lnTo>
                      <a:pt x="24" y="153"/>
                    </a:lnTo>
                    <a:lnTo>
                      <a:pt x="16" y="123"/>
                    </a:lnTo>
                    <a:lnTo>
                      <a:pt x="10" y="94"/>
                    </a:lnTo>
                    <a:lnTo>
                      <a:pt x="4" y="62"/>
                    </a:lnTo>
                    <a:lnTo>
                      <a:pt x="0" y="32"/>
                    </a:lnTo>
                    <a:lnTo>
                      <a:pt x="0" y="26"/>
                    </a:lnTo>
                    <a:lnTo>
                      <a:pt x="1" y="22"/>
                    </a:lnTo>
                    <a:lnTo>
                      <a:pt x="3" y="16"/>
                    </a:lnTo>
                    <a:lnTo>
                      <a:pt x="6" y="12"/>
                    </a:lnTo>
                    <a:lnTo>
                      <a:pt x="10" y="9"/>
                    </a:lnTo>
                    <a:lnTo>
                      <a:pt x="14" y="6"/>
                    </a:lnTo>
                    <a:lnTo>
                      <a:pt x="19" y="5"/>
                    </a:lnTo>
                    <a:lnTo>
                      <a:pt x="24" y="3"/>
                    </a:lnTo>
                    <a:lnTo>
                      <a:pt x="29" y="3"/>
                    </a:lnTo>
                    <a:lnTo>
                      <a:pt x="35" y="5"/>
                    </a:lnTo>
                    <a:lnTo>
                      <a:pt x="39" y="6"/>
                    </a:lnTo>
                    <a:lnTo>
                      <a:pt x="43" y="9"/>
                    </a:lnTo>
                    <a:lnTo>
                      <a:pt x="46" y="12"/>
                    </a:lnTo>
                    <a:lnTo>
                      <a:pt x="49" y="16"/>
                    </a:lnTo>
                    <a:lnTo>
                      <a:pt x="52" y="22"/>
                    </a:lnTo>
                    <a:lnTo>
                      <a:pt x="52" y="26"/>
                    </a:lnTo>
                    <a:lnTo>
                      <a:pt x="56" y="55"/>
                    </a:lnTo>
                    <a:lnTo>
                      <a:pt x="60" y="84"/>
                    </a:lnTo>
                    <a:lnTo>
                      <a:pt x="68" y="111"/>
                    </a:lnTo>
                    <a:lnTo>
                      <a:pt x="75" y="138"/>
                    </a:lnTo>
                    <a:lnTo>
                      <a:pt x="84" y="164"/>
                    </a:lnTo>
                    <a:lnTo>
                      <a:pt x="92" y="190"/>
                    </a:lnTo>
                    <a:lnTo>
                      <a:pt x="104" y="216"/>
                    </a:lnTo>
                    <a:lnTo>
                      <a:pt x="115" y="241"/>
                    </a:lnTo>
                    <a:lnTo>
                      <a:pt x="128" y="264"/>
                    </a:lnTo>
                    <a:lnTo>
                      <a:pt x="143" y="288"/>
                    </a:lnTo>
                    <a:lnTo>
                      <a:pt x="157" y="310"/>
                    </a:lnTo>
                    <a:lnTo>
                      <a:pt x="174" y="331"/>
                    </a:lnTo>
                    <a:lnTo>
                      <a:pt x="190" y="353"/>
                    </a:lnTo>
                    <a:lnTo>
                      <a:pt x="209" y="373"/>
                    </a:lnTo>
                    <a:lnTo>
                      <a:pt x="228" y="393"/>
                    </a:lnTo>
                    <a:lnTo>
                      <a:pt x="246" y="411"/>
                    </a:lnTo>
                    <a:lnTo>
                      <a:pt x="268" y="429"/>
                    </a:lnTo>
                    <a:lnTo>
                      <a:pt x="288" y="445"/>
                    </a:lnTo>
                    <a:lnTo>
                      <a:pt x="311" y="461"/>
                    </a:lnTo>
                    <a:lnTo>
                      <a:pt x="333" y="475"/>
                    </a:lnTo>
                    <a:lnTo>
                      <a:pt x="357" y="490"/>
                    </a:lnTo>
                    <a:lnTo>
                      <a:pt x="380" y="503"/>
                    </a:lnTo>
                    <a:lnTo>
                      <a:pt x="405" y="514"/>
                    </a:lnTo>
                    <a:lnTo>
                      <a:pt x="431" y="524"/>
                    </a:lnTo>
                    <a:lnTo>
                      <a:pt x="456" y="534"/>
                    </a:lnTo>
                    <a:lnTo>
                      <a:pt x="482" y="542"/>
                    </a:lnTo>
                    <a:lnTo>
                      <a:pt x="510" y="549"/>
                    </a:lnTo>
                    <a:lnTo>
                      <a:pt x="537" y="555"/>
                    </a:lnTo>
                    <a:lnTo>
                      <a:pt x="564" y="560"/>
                    </a:lnTo>
                    <a:lnTo>
                      <a:pt x="593" y="563"/>
                    </a:lnTo>
                    <a:lnTo>
                      <a:pt x="621" y="565"/>
                    </a:lnTo>
                    <a:lnTo>
                      <a:pt x="649" y="566"/>
                    </a:lnTo>
                    <a:lnTo>
                      <a:pt x="680" y="565"/>
                    </a:lnTo>
                    <a:lnTo>
                      <a:pt x="707" y="563"/>
                    </a:lnTo>
                    <a:lnTo>
                      <a:pt x="736" y="559"/>
                    </a:lnTo>
                    <a:lnTo>
                      <a:pt x="763" y="555"/>
                    </a:lnTo>
                    <a:lnTo>
                      <a:pt x="792" y="549"/>
                    </a:lnTo>
                    <a:lnTo>
                      <a:pt x="818" y="542"/>
                    </a:lnTo>
                    <a:lnTo>
                      <a:pt x="845" y="534"/>
                    </a:lnTo>
                    <a:lnTo>
                      <a:pt x="871" y="524"/>
                    </a:lnTo>
                    <a:lnTo>
                      <a:pt x="896" y="514"/>
                    </a:lnTo>
                    <a:lnTo>
                      <a:pt x="920" y="503"/>
                    </a:lnTo>
                    <a:lnTo>
                      <a:pt x="945" y="490"/>
                    </a:lnTo>
                    <a:lnTo>
                      <a:pt x="968" y="475"/>
                    </a:lnTo>
                    <a:lnTo>
                      <a:pt x="991" y="461"/>
                    </a:lnTo>
                    <a:lnTo>
                      <a:pt x="1012" y="445"/>
                    </a:lnTo>
                    <a:lnTo>
                      <a:pt x="1034" y="428"/>
                    </a:lnTo>
                    <a:lnTo>
                      <a:pt x="1054" y="411"/>
                    </a:lnTo>
                    <a:lnTo>
                      <a:pt x="1074" y="392"/>
                    </a:lnTo>
                    <a:lnTo>
                      <a:pt x="1093" y="372"/>
                    </a:lnTo>
                    <a:lnTo>
                      <a:pt x="1110" y="352"/>
                    </a:lnTo>
                    <a:lnTo>
                      <a:pt x="1128" y="331"/>
                    </a:lnTo>
                    <a:lnTo>
                      <a:pt x="1143" y="308"/>
                    </a:lnTo>
                    <a:lnTo>
                      <a:pt x="1159" y="287"/>
                    </a:lnTo>
                    <a:lnTo>
                      <a:pt x="1172" y="262"/>
                    </a:lnTo>
                    <a:lnTo>
                      <a:pt x="1185" y="238"/>
                    </a:lnTo>
                    <a:lnTo>
                      <a:pt x="1198" y="213"/>
                    </a:lnTo>
                    <a:lnTo>
                      <a:pt x="1208" y="187"/>
                    </a:lnTo>
                    <a:lnTo>
                      <a:pt x="1218" y="162"/>
                    </a:lnTo>
                    <a:lnTo>
                      <a:pt x="1227" y="136"/>
                    </a:lnTo>
                    <a:lnTo>
                      <a:pt x="1234" y="108"/>
                    </a:lnTo>
                    <a:lnTo>
                      <a:pt x="1240" y="81"/>
                    </a:lnTo>
                    <a:lnTo>
                      <a:pt x="1244" y="52"/>
                    </a:lnTo>
                    <a:lnTo>
                      <a:pt x="1248" y="23"/>
                    </a:lnTo>
                    <a:lnTo>
                      <a:pt x="1248" y="18"/>
                    </a:lnTo>
                    <a:lnTo>
                      <a:pt x="1251" y="13"/>
                    </a:lnTo>
                    <a:lnTo>
                      <a:pt x="1254" y="9"/>
                    </a:lnTo>
                    <a:lnTo>
                      <a:pt x="1257" y="6"/>
                    </a:lnTo>
                    <a:lnTo>
                      <a:pt x="1261" y="3"/>
                    </a:lnTo>
                    <a:lnTo>
                      <a:pt x="1266" y="0"/>
                    </a:lnTo>
                    <a:lnTo>
                      <a:pt x="1272" y="0"/>
                    </a:lnTo>
                    <a:lnTo>
                      <a:pt x="1277" y="0"/>
                    </a:lnTo>
                    <a:lnTo>
                      <a:pt x="1282" y="0"/>
                    </a:lnTo>
                    <a:lnTo>
                      <a:pt x="1286" y="3"/>
                    </a:lnTo>
                    <a:lnTo>
                      <a:pt x="1290" y="6"/>
                    </a:lnTo>
                    <a:lnTo>
                      <a:pt x="1295" y="9"/>
                    </a:lnTo>
                    <a:lnTo>
                      <a:pt x="1297" y="13"/>
                    </a:lnTo>
                    <a:lnTo>
                      <a:pt x="1299" y="18"/>
                    </a:lnTo>
                    <a:lnTo>
                      <a:pt x="1300" y="23"/>
                    </a:lnTo>
                    <a:lnTo>
                      <a:pt x="1300" y="28"/>
                    </a:lnTo>
                    <a:lnTo>
                      <a:pt x="1296" y="59"/>
                    </a:lnTo>
                    <a:lnTo>
                      <a:pt x="1292" y="91"/>
                    </a:lnTo>
                    <a:lnTo>
                      <a:pt x="1284" y="121"/>
                    </a:lnTo>
                    <a:lnTo>
                      <a:pt x="1277" y="150"/>
                    </a:lnTo>
                    <a:lnTo>
                      <a:pt x="1267" y="179"/>
                    </a:lnTo>
                    <a:lnTo>
                      <a:pt x="1257" y="208"/>
                    </a:lnTo>
                    <a:lnTo>
                      <a:pt x="1246" y="235"/>
                    </a:lnTo>
                    <a:lnTo>
                      <a:pt x="1233" y="262"/>
                    </a:lnTo>
                    <a:lnTo>
                      <a:pt x="1218" y="288"/>
                    </a:lnTo>
                    <a:lnTo>
                      <a:pt x="1202" y="314"/>
                    </a:lnTo>
                    <a:lnTo>
                      <a:pt x="1187" y="339"/>
                    </a:lnTo>
                    <a:lnTo>
                      <a:pt x="1169" y="363"/>
                    </a:lnTo>
                    <a:lnTo>
                      <a:pt x="1151" y="386"/>
                    </a:lnTo>
                    <a:lnTo>
                      <a:pt x="1132" y="408"/>
                    </a:lnTo>
                    <a:lnTo>
                      <a:pt x="1112" y="429"/>
                    </a:lnTo>
                    <a:lnTo>
                      <a:pt x="1090" y="450"/>
                    </a:lnTo>
                    <a:lnTo>
                      <a:pt x="1067" y="468"/>
                    </a:lnTo>
                    <a:lnTo>
                      <a:pt x="1044" y="487"/>
                    </a:lnTo>
                    <a:lnTo>
                      <a:pt x="1021" y="504"/>
                    </a:lnTo>
                    <a:lnTo>
                      <a:pt x="996" y="520"/>
                    </a:lnTo>
                    <a:lnTo>
                      <a:pt x="971" y="534"/>
                    </a:lnTo>
                    <a:lnTo>
                      <a:pt x="945" y="549"/>
                    </a:lnTo>
                    <a:lnTo>
                      <a:pt x="917" y="562"/>
                    </a:lnTo>
                    <a:lnTo>
                      <a:pt x="890" y="573"/>
                    </a:lnTo>
                    <a:lnTo>
                      <a:pt x="861" y="583"/>
                    </a:lnTo>
                    <a:lnTo>
                      <a:pt x="832" y="592"/>
                    </a:lnTo>
                    <a:lnTo>
                      <a:pt x="804" y="601"/>
                    </a:lnTo>
                    <a:lnTo>
                      <a:pt x="773" y="606"/>
                    </a:lnTo>
                    <a:lnTo>
                      <a:pt x="743" y="611"/>
                    </a:lnTo>
                    <a:lnTo>
                      <a:pt x="713" y="615"/>
                    </a:lnTo>
                    <a:lnTo>
                      <a:pt x="681" y="617"/>
                    </a:lnTo>
                    <a:lnTo>
                      <a:pt x="64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0" name="Freeform 265">
                <a:extLst>
                  <a:ext uri="{FF2B5EF4-FFF2-40B4-BE49-F238E27FC236}">
                    <a16:creationId xmlns:a16="http://schemas.microsoft.com/office/drawing/2014/main" id="{B5E81F62-B196-498D-90B8-98C6A2F7640C}"/>
                  </a:ext>
                </a:extLst>
              </p:cNvPr>
              <p:cNvSpPr>
                <a:spLocks/>
              </p:cNvSpPr>
              <p:nvPr/>
            </p:nvSpPr>
            <p:spPr bwMode="auto">
              <a:xfrm>
                <a:off x="10964454" y="3163658"/>
                <a:ext cx="60414" cy="37242"/>
              </a:xfrm>
              <a:custGeom>
                <a:avLst/>
                <a:gdLst>
                  <a:gd name="T0" fmla="*/ 192 w 218"/>
                  <a:gd name="T1" fmla="*/ 135 h 135"/>
                  <a:gd name="T2" fmla="*/ 186 w 218"/>
                  <a:gd name="T3" fmla="*/ 134 h 135"/>
                  <a:gd name="T4" fmla="*/ 182 w 218"/>
                  <a:gd name="T5" fmla="*/ 132 h 135"/>
                  <a:gd name="T6" fmla="*/ 177 w 218"/>
                  <a:gd name="T7" fmla="*/ 131 h 135"/>
                  <a:gd name="T8" fmla="*/ 173 w 218"/>
                  <a:gd name="T9" fmla="*/ 126 h 135"/>
                  <a:gd name="T10" fmla="*/ 108 w 218"/>
                  <a:gd name="T11" fmla="*/ 62 h 135"/>
                  <a:gd name="T12" fmla="*/ 45 w 218"/>
                  <a:gd name="T13" fmla="*/ 125 h 135"/>
                  <a:gd name="T14" fmla="*/ 40 w 218"/>
                  <a:gd name="T15" fmla="*/ 129 h 135"/>
                  <a:gd name="T16" fmla="*/ 36 w 218"/>
                  <a:gd name="T17" fmla="*/ 131 h 135"/>
                  <a:gd name="T18" fmla="*/ 32 w 218"/>
                  <a:gd name="T19" fmla="*/ 132 h 135"/>
                  <a:gd name="T20" fmla="*/ 26 w 218"/>
                  <a:gd name="T21" fmla="*/ 134 h 135"/>
                  <a:gd name="T22" fmla="*/ 22 w 218"/>
                  <a:gd name="T23" fmla="*/ 132 h 135"/>
                  <a:gd name="T24" fmla="*/ 17 w 218"/>
                  <a:gd name="T25" fmla="*/ 131 h 135"/>
                  <a:gd name="T26" fmla="*/ 13 w 218"/>
                  <a:gd name="T27" fmla="*/ 129 h 135"/>
                  <a:gd name="T28" fmla="*/ 9 w 218"/>
                  <a:gd name="T29" fmla="*/ 125 h 135"/>
                  <a:gd name="T30" fmla="*/ 4 w 218"/>
                  <a:gd name="T31" fmla="*/ 121 h 135"/>
                  <a:gd name="T32" fmla="*/ 3 w 218"/>
                  <a:gd name="T33" fmla="*/ 116 h 135"/>
                  <a:gd name="T34" fmla="*/ 2 w 218"/>
                  <a:gd name="T35" fmla="*/ 112 h 135"/>
                  <a:gd name="T36" fmla="*/ 0 w 218"/>
                  <a:gd name="T37" fmla="*/ 106 h 135"/>
                  <a:gd name="T38" fmla="*/ 2 w 218"/>
                  <a:gd name="T39" fmla="*/ 102 h 135"/>
                  <a:gd name="T40" fmla="*/ 3 w 218"/>
                  <a:gd name="T41" fmla="*/ 98 h 135"/>
                  <a:gd name="T42" fmla="*/ 4 w 218"/>
                  <a:gd name="T43" fmla="*/ 92 h 135"/>
                  <a:gd name="T44" fmla="*/ 9 w 218"/>
                  <a:gd name="T45" fmla="*/ 89 h 135"/>
                  <a:gd name="T46" fmla="*/ 89 w 218"/>
                  <a:gd name="T47" fmla="*/ 7 h 135"/>
                  <a:gd name="T48" fmla="*/ 94 w 218"/>
                  <a:gd name="T49" fmla="*/ 4 h 135"/>
                  <a:gd name="T50" fmla="*/ 98 w 218"/>
                  <a:gd name="T51" fmla="*/ 1 h 135"/>
                  <a:gd name="T52" fmla="*/ 104 w 218"/>
                  <a:gd name="T53" fmla="*/ 0 h 135"/>
                  <a:gd name="T54" fmla="*/ 108 w 218"/>
                  <a:gd name="T55" fmla="*/ 0 h 135"/>
                  <a:gd name="T56" fmla="*/ 114 w 218"/>
                  <a:gd name="T57" fmla="*/ 0 h 135"/>
                  <a:gd name="T58" fmla="*/ 118 w 218"/>
                  <a:gd name="T59" fmla="*/ 1 h 135"/>
                  <a:gd name="T60" fmla="*/ 123 w 218"/>
                  <a:gd name="T61" fmla="*/ 4 h 135"/>
                  <a:gd name="T62" fmla="*/ 127 w 218"/>
                  <a:gd name="T63" fmla="*/ 7 h 135"/>
                  <a:gd name="T64" fmla="*/ 210 w 218"/>
                  <a:gd name="T65" fmla="*/ 90 h 135"/>
                  <a:gd name="T66" fmla="*/ 213 w 218"/>
                  <a:gd name="T67" fmla="*/ 95 h 135"/>
                  <a:gd name="T68" fmla="*/ 216 w 218"/>
                  <a:gd name="T69" fmla="*/ 99 h 135"/>
                  <a:gd name="T70" fmla="*/ 218 w 218"/>
                  <a:gd name="T71" fmla="*/ 103 h 135"/>
                  <a:gd name="T72" fmla="*/ 218 w 218"/>
                  <a:gd name="T73" fmla="*/ 108 h 135"/>
                  <a:gd name="T74" fmla="*/ 218 w 218"/>
                  <a:gd name="T75" fmla="*/ 113 h 135"/>
                  <a:gd name="T76" fmla="*/ 216 w 218"/>
                  <a:gd name="T77" fmla="*/ 118 h 135"/>
                  <a:gd name="T78" fmla="*/ 213 w 218"/>
                  <a:gd name="T79" fmla="*/ 122 h 135"/>
                  <a:gd name="T80" fmla="*/ 210 w 218"/>
                  <a:gd name="T81" fmla="*/ 126 h 135"/>
                  <a:gd name="T82" fmla="*/ 206 w 218"/>
                  <a:gd name="T83" fmla="*/ 131 h 135"/>
                  <a:gd name="T84" fmla="*/ 202 w 218"/>
                  <a:gd name="T85" fmla="*/ 132 h 135"/>
                  <a:gd name="T86" fmla="*/ 196 w 218"/>
                  <a:gd name="T87" fmla="*/ 134 h 135"/>
                  <a:gd name="T88" fmla="*/ 192 w 218"/>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35">
                    <a:moveTo>
                      <a:pt x="192" y="135"/>
                    </a:moveTo>
                    <a:lnTo>
                      <a:pt x="186" y="134"/>
                    </a:lnTo>
                    <a:lnTo>
                      <a:pt x="182" y="132"/>
                    </a:lnTo>
                    <a:lnTo>
                      <a:pt x="177" y="131"/>
                    </a:lnTo>
                    <a:lnTo>
                      <a:pt x="173" y="126"/>
                    </a:lnTo>
                    <a:lnTo>
                      <a:pt x="108" y="62"/>
                    </a:lnTo>
                    <a:lnTo>
                      <a:pt x="45" y="125"/>
                    </a:lnTo>
                    <a:lnTo>
                      <a:pt x="40" y="129"/>
                    </a:lnTo>
                    <a:lnTo>
                      <a:pt x="36" y="131"/>
                    </a:lnTo>
                    <a:lnTo>
                      <a:pt x="32" y="132"/>
                    </a:lnTo>
                    <a:lnTo>
                      <a:pt x="26" y="134"/>
                    </a:lnTo>
                    <a:lnTo>
                      <a:pt x="22" y="132"/>
                    </a:lnTo>
                    <a:lnTo>
                      <a:pt x="17" y="131"/>
                    </a:lnTo>
                    <a:lnTo>
                      <a:pt x="13" y="129"/>
                    </a:lnTo>
                    <a:lnTo>
                      <a:pt x="9" y="125"/>
                    </a:lnTo>
                    <a:lnTo>
                      <a:pt x="4" y="121"/>
                    </a:lnTo>
                    <a:lnTo>
                      <a:pt x="3" y="116"/>
                    </a:lnTo>
                    <a:lnTo>
                      <a:pt x="2" y="112"/>
                    </a:lnTo>
                    <a:lnTo>
                      <a:pt x="0" y="106"/>
                    </a:lnTo>
                    <a:lnTo>
                      <a:pt x="2" y="102"/>
                    </a:lnTo>
                    <a:lnTo>
                      <a:pt x="3" y="98"/>
                    </a:lnTo>
                    <a:lnTo>
                      <a:pt x="4" y="92"/>
                    </a:lnTo>
                    <a:lnTo>
                      <a:pt x="9" y="89"/>
                    </a:lnTo>
                    <a:lnTo>
                      <a:pt x="89" y="7"/>
                    </a:lnTo>
                    <a:lnTo>
                      <a:pt x="94" y="4"/>
                    </a:lnTo>
                    <a:lnTo>
                      <a:pt x="98" y="1"/>
                    </a:lnTo>
                    <a:lnTo>
                      <a:pt x="104" y="0"/>
                    </a:lnTo>
                    <a:lnTo>
                      <a:pt x="108" y="0"/>
                    </a:lnTo>
                    <a:lnTo>
                      <a:pt x="114" y="0"/>
                    </a:lnTo>
                    <a:lnTo>
                      <a:pt x="118" y="1"/>
                    </a:lnTo>
                    <a:lnTo>
                      <a:pt x="123" y="4"/>
                    </a:lnTo>
                    <a:lnTo>
                      <a:pt x="127" y="7"/>
                    </a:lnTo>
                    <a:lnTo>
                      <a:pt x="210" y="90"/>
                    </a:lnTo>
                    <a:lnTo>
                      <a:pt x="213" y="95"/>
                    </a:lnTo>
                    <a:lnTo>
                      <a:pt x="216" y="99"/>
                    </a:lnTo>
                    <a:lnTo>
                      <a:pt x="218" y="103"/>
                    </a:lnTo>
                    <a:lnTo>
                      <a:pt x="218" y="108"/>
                    </a:lnTo>
                    <a:lnTo>
                      <a:pt x="218" y="113"/>
                    </a:lnTo>
                    <a:lnTo>
                      <a:pt x="216" y="118"/>
                    </a:lnTo>
                    <a:lnTo>
                      <a:pt x="213" y="122"/>
                    </a:lnTo>
                    <a:lnTo>
                      <a:pt x="210" y="126"/>
                    </a:lnTo>
                    <a:lnTo>
                      <a:pt x="206" y="131"/>
                    </a:lnTo>
                    <a:lnTo>
                      <a:pt x="202" y="132"/>
                    </a:lnTo>
                    <a:lnTo>
                      <a:pt x="196" y="134"/>
                    </a:lnTo>
                    <a:lnTo>
                      <a:pt x="192"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1" name="Freeform 266">
                <a:extLst>
                  <a:ext uri="{FF2B5EF4-FFF2-40B4-BE49-F238E27FC236}">
                    <a16:creationId xmlns:a16="http://schemas.microsoft.com/office/drawing/2014/main" id="{6EF16C80-CCCE-4037-91E3-A5944D1EC4A3}"/>
                  </a:ext>
                </a:extLst>
              </p:cNvPr>
              <p:cNvSpPr>
                <a:spLocks/>
              </p:cNvSpPr>
              <p:nvPr/>
            </p:nvSpPr>
            <p:spPr bwMode="auto">
              <a:xfrm>
                <a:off x="10984316" y="2979934"/>
                <a:ext cx="358345" cy="170483"/>
              </a:xfrm>
              <a:custGeom>
                <a:avLst/>
                <a:gdLst>
                  <a:gd name="T0" fmla="*/ 23 w 1300"/>
                  <a:gd name="T1" fmla="*/ 618 h 618"/>
                  <a:gd name="T2" fmla="*/ 10 w 1300"/>
                  <a:gd name="T3" fmla="*/ 612 h 618"/>
                  <a:gd name="T4" fmla="*/ 2 w 1300"/>
                  <a:gd name="T5" fmla="*/ 600 h 618"/>
                  <a:gd name="T6" fmla="*/ 4 w 1300"/>
                  <a:gd name="T7" fmla="*/ 559 h 618"/>
                  <a:gd name="T8" fmla="*/ 23 w 1300"/>
                  <a:gd name="T9" fmla="*/ 468 h 618"/>
                  <a:gd name="T10" fmla="*/ 55 w 1300"/>
                  <a:gd name="T11" fmla="*/ 383 h 618"/>
                  <a:gd name="T12" fmla="*/ 97 w 1300"/>
                  <a:gd name="T13" fmla="*/ 304 h 618"/>
                  <a:gd name="T14" fmla="*/ 150 w 1300"/>
                  <a:gd name="T15" fmla="*/ 232 h 618"/>
                  <a:gd name="T16" fmla="*/ 210 w 1300"/>
                  <a:gd name="T17" fmla="*/ 168 h 618"/>
                  <a:gd name="T18" fmla="*/ 279 w 1300"/>
                  <a:gd name="T19" fmla="*/ 114 h 618"/>
                  <a:gd name="T20" fmla="*/ 356 w 1300"/>
                  <a:gd name="T21" fmla="*/ 69 h 618"/>
                  <a:gd name="T22" fmla="*/ 439 w 1300"/>
                  <a:gd name="T23" fmla="*/ 35 h 618"/>
                  <a:gd name="T24" fmla="*/ 527 w 1300"/>
                  <a:gd name="T25" fmla="*/ 11 h 618"/>
                  <a:gd name="T26" fmla="*/ 619 w 1300"/>
                  <a:gd name="T27" fmla="*/ 0 h 618"/>
                  <a:gd name="T28" fmla="*/ 713 w 1300"/>
                  <a:gd name="T29" fmla="*/ 3 h 618"/>
                  <a:gd name="T30" fmla="*/ 804 w 1300"/>
                  <a:gd name="T31" fmla="*/ 17 h 618"/>
                  <a:gd name="T32" fmla="*/ 889 w 1300"/>
                  <a:gd name="T33" fmla="*/ 45 h 618"/>
                  <a:gd name="T34" fmla="*/ 969 w 1300"/>
                  <a:gd name="T35" fmla="*/ 82 h 618"/>
                  <a:gd name="T36" fmla="*/ 1043 w 1300"/>
                  <a:gd name="T37" fmla="*/ 131 h 618"/>
                  <a:gd name="T38" fmla="*/ 1110 w 1300"/>
                  <a:gd name="T39" fmla="*/ 187 h 618"/>
                  <a:gd name="T40" fmla="*/ 1168 w 1300"/>
                  <a:gd name="T41" fmla="*/ 253 h 618"/>
                  <a:gd name="T42" fmla="*/ 1217 w 1300"/>
                  <a:gd name="T43" fmla="*/ 327 h 618"/>
                  <a:gd name="T44" fmla="*/ 1256 w 1300"/>
                  <a:gd name="T45" fmla="*/ 407 h 618"/>
                  <a:gd name="T46" fmla="*/ 1285 w 1300"/>
                  <a:gd name="T47" fmla="*/ 494 h 618"/>
                  <a:gd name="T48" fmla="*/ 1300 w 1300"/>
                  <a:gd name="T49" fmla="*/ 586 h 618"/>
                  <a:gd name="T50" fmla="*/ 1298 w 1300"/>
                  <a:gd name="T51" fmla="*/ 600 h 618"/>
                  <a:gd name="T52" fmla="*/ 1286 w 1300"/>
                  <a:gd name="T53" fmla="*/ 612 h 618"/>
                  <a:gd name="T54" fmla="*/ 1272 w 1300"/>
                  <a:gd name="T55" fmla="*/ 615 h 618"/>
                  <a:gd name="T56" fmla="*/ 1257 w 1300"/>
                  <a:gd name="T57" fmla="*/ 609 h 618"/>
                  <a:gd name="T58" fmla="*/ 1249 w 1300"/>
                  <a:gd name="T59" fmla="*/ 596 h 618"/>
                  <a:gd name="T60" fmla="*/ 1240 w 1300"/>
                  <a:gd name="T61" fmla="*/ 534 h 618"/>
                  <a:gd name="T62" fmla="*/ 1217 w 1300"/>
                  <a:gd name="T63" fmla="*/ 454 h 618"/>
                  <a:gd name="T64" fmla="*/ 1185 w 1300"/>
                  <a:gd name="T65" fmla="*/ 377 h 618"/>
                  <a:gd name="T66" fmla="*/ 1142 w 1300"/>
                  <a:gd name="T67" fmla="*/ 308 h 618"/>
                  <a:gd name="T68" fmla="*/ 1092 w 1300"/>
                  <a:gd name="T69" fmla="*/ 245 h 618"/>
                  <a:gd name="T70" fmla="*/ 1033 w 1300"/>
                  <a:gd name="T71" fmla="*/ 189 h 618"/>
                  <a:gd name="T72" fmla="*/ 966 w 1300"/>
                  <a:gd name="T73" fmla="*/ 141 h 618"/>
                  <a:gd name="T74" fmla="*/ 894 w 1300"/>
                  <a:gd name="T75" fmla="*/ 104 h 618"/>
                  <a:gd name="T76" fmla="*/ 818 w 1300"/>
                  <a:gd name="T77" fmla="*/ 75 h 618"/>
                  <a:gd name="T78" fmla="*/ 736 w 1300"/>
                  <a:gd name="T79" fmla="*/ 58 h 618"/>
                  <a:gd name="T80" fmla="*/ 650 w 1300"/>
                  <a:gd name="T81" fmla="*/ 52 h 618"/>
                  <a:gd name="T82" fmla="*/ 565 w 1300"/>
                  <a:gd name="T83" fmla="*/ 58 h 618"/>
                  <a:gd name="T84" fmla="*/ 483 w 1300"/>
                  <a:gd name="T85" fmla="*/ 76 h 618"/>
                  <a:gd name="T86" fmla="*/ 405 w 1300"/>
                  <a:gd name="T87" fmla="*/ 104 h 618"/>
                  <a:gd name="T88" fmla="*/ 333 w 1300"/>
                  <a:gd name="T89" fmla="*/ 143 h 618"/>
                  <a:gd name="T90" fmla="*/ 267 w 1300"/>
                  <a:gd name="T91" fmla="*/ 190 h 618"/>
                  <a:gd name="T92" fmla="*/ 207 w 1300"/>
                  <a:gd name="T93" fmla="*/ 246 h 618"/>
                  <a:gd name="T94" fmla="*/ 157 w 1300"/>
                  <a:gd name="T95" fmla="*/ 310 h 618"/>
                  <a:gd name="T96" fmla="*/ 114 w 1300"/>
                  <a:gd name="T97" fmla="*/ 379 h 618"/>
                  <a:gd name="T98" fmla="*/ 82 w 1300"/>
                  <a:gd name="T99" fmla="*/ 456 h 618"/>
                  <a:gd name="T100" fmla="*/ 61 w 1300"/>
                  <a:gd name="T101" fmla="*/ 537 h 618"/>
                  <a:gd name="T102" fmla="*/ 52 w 1300"/>
                  <a:gd name="T103" fmla="*/ 599 h 618"/>
                  <a:gd name="T104" fmla="*/ 43 w 1300"/>
                  <a:gd name="T105" fmla="*/ 612 h 618"/>
                  <a:gd name="T106" fmla="*/ 32 w 1300"/>
                  <a:gd name="T10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0" h="618">
                    <a:moveTo>
                      <a:pt x="26" y="618"/>
                    </a:moveTo>
                    <a:lnTo>
                      <a:pt x="25" y="618"/>
                    </a:lnTo>
                    <a:lnTo>
                      <a:pt x="23" y="618"/>
                    </a:lnTo>
                    <a:lnTo>
                      <a:pt x="19" y="618"/>
                    </a:lnTo>
                    <a:lnTo>
                      <a:pt x="13" y="615"/>
                    </a:lnTo>
                    <a:lnTo>
                      <a:pt x="10" y="612"/>
                    </a:lnTo>
                    <a:lnTo>
                      <a:pt x="6" y="609"/>
                    </a:lnTo>
                    <a:lnTo>
                      <a:pt x="3" y="605"/>
                    </a:lnTo>
                    <a:lnTo>
                      <a:pt x="2" y="600"/>
                    </a:lnTo>
                    <a:lnTo>
                      <a:pt x="0" y="595"/>
                    </a:lnTo>
                    <a:lnTo>
                      <a:pt x="0" y="589"/>
                    </a:lnTo>
                    <a:lnTo>
                      <a:pt x="4" y="559"/>
                    </a:lnTo>
                    <a:lnTo>
                      <a:pt x="9" y="527"/>
                    </a:lnTo>
                    <a:lnTo>
                      <a:pt x="16" y="497"/>
                    </a:lnTo>
                    <a:lnTo>
                      <a:pt x="23" y="468"/>
                    </a:lnTo>
                    <a:lnTo>
                      <a:pt x="33" y="439"/>
                    </a:lnTo>
                    <a:lnTo>
                      <a:pt x="43" y="410"/>
                    </a:lnTo>
                    <a:lnTo>
                      <a:pt x="55" y="383"/>
                    </a:lnTo>
                    <a:lnTo>
                      <a:pt x="68" y="356"/>
                    </a:lnTo>
                    <a:lnTo>
                      <a:pt x="82" y="330"/>
                    </a:lnTo>
                    <a:lnTo>
                      <a:pt x="97" y="304"/>
                    </a:lnTo>
                    <a:lnTo>
                      <a:pt x="114" y="279"/>
                    </a:lnTo>
                    <a:lnTo>
                      <a:pt x="131" y="255"/>
                    </a:lnTo>
                    <a:lnTo>
                      <a:pt x="150" y="232"/>
                    </a:lnTo>
                    <a:lnTo>
                      <a:pt x="169" y="210"/>
                    </a:lnTo>
                    <a:lnTo>
                      <a:pt x="189" y="189"/>
                    </a:lnTo>
                    <a:lnTo>
                      <a:pt x="210" y="168"/>
                    </a:lnTo>
                    <a:lnTo>
                      <a:pt x="233" y="150"/>
                    </a:lnTo>
                    <a:lnTo>
                      <a:pt x="256" y="131"/>
                    </a:lnTo>
                    <a:lnTo>
                      <a:pt x="279" y="114"/>
                    </a:lnTo>
                    <a:lnTo>
                      <a:pt x="304" y="98"/>
                    </a:lnTo>
                    <a:lnTo>
                      <a:pt x="330" y="83"/>
                    </a:lnTo>
                    <a:lnTo>
                      <a:pt x="356" y="69"/>
                    </a:lnTo>
                    <a:lnTo>
                      <a:pt x="383" y="56"/>
                    </a:lnTo>
                    <a:lnTo>
                      <a:pt x="411" y="45"/>
                    </a:lnTo>
                    <a:lnTo>
                      <a:pt x="439" y="35"/>
                    </a:lnTo>
                    <a:lnTo>
                      <a:pt x="467" y="26"/>
                    </a:lnTo>
                    <a:lnTo>
                      <a:pt x="497" y="17"/>
                    </a:lnTo>
                    <a:lnTo>
                      <a:pt x="527" y="11"/>
                    </a:lnTo>
                    <a:lnTo>
                      <a:pt x="557" y="6"/>
                    </a:lnTo>
                    <a:lnTo>
                      <a:pt x="588" y="3"/>
                    </a:lnTo>
                    <a:lnTo>
                      <a:pt x="619" y="0"/>
                    </a:lnTo>
                    <a:lnTo>
                      <a:pt x="650" y="0"/>
                    </a:lnTo>
                    <a:lnTo>
                      <a:pt x="681" y="0"/>
                    </a:lnTo>
                    <a:lnTo>
                      <a:pt x="713" y="3"/>
                    </a:lnTo>
                    <a:lnTo>
                      <a:pt x="743" y="6"/>
                    </a:lnTo>
                    <a:lnTo>
                      <a:pt x="773" y="11"/>
                    </a:lnTo>
                    <a:lnTo>
                      <a:pt x="804" y="17"/>
                    </a:lnTo>
                    <a:lnTo>
                      <a:pt x="832" y="26"/>
                    </a:lnTo>
                    <a:lnTo>
                      <a:pt x="861" y="35"/>
                    </a:lnTo>
                    <a:lnTo>
                      <a:pt x="889" y="45"/>
                    </a:lnTo>
                    <a:lnTo>
                      <a:pt x="916" y="56"/>
                    </a:lnTo>
                    <a:lnTo>
                      <a:pt x="943" y="69"/>
                    </a:lnTo>
                    <a:lnTo>
                      <a:pt x="969" y="82"/>
                    </a:lnTo>
                    <a:lnTo>
                      <a:pt x="995" y="98"/>
                    </a:lnTo>
                    <a:lnTo>
                      <a:pt x="1020" y="114"/>
                    </a:lnTo>
                    <a:lnTo>
                      <a:pt x="1043" y="131"/>
                    </a:lnTo>
                    <a:lnTo>
                      <a:pt x="1066" y="148"/>
                    </a:lnTo>
                    <a:lnTo>
                      <a:pt x="1089" y="167"/>
                    </a:lnTo>
                    <a:lnTo>
                      <a:pt x="1110" y="187"/>
                    </a:lnTo>
                    <a:lnTo>
                      <a:pt x="1131" y="209"/>
                    </a:lnTo>
                    <a:lnTo>
                      <a:pt x="1149" y="230"/>
                    </a:lnTo>
                    <a:lnTo>
                      <a:pt x="1168" y="253"/>
                    </a:lnTo>
                    <a:lnTo>
                      <a:pt x="1185" y="278"/>
                    </a:lnTo>
                    <a:lnTo>
                      <a:pt x="1203" y="302"/>
                    </a:lnTo>
                    <a:lnTo>
                      <a:pt x="1217" y="327"/>
                    </a:lnTo>
                    <a:lnTo>
                      <a:pt x="1231" y="354"/>
                    </a:lnTo>
                    <a:lnTo>
                      <a:pt x="1244" y="380"/>
                    </a:lnTo>
                    <a:lnTo>
                      <a:pt x="1256" y="407"/>
                    </a:lnTo>
                    <a:lnTo>
                      <a:pt x="1267" y="436"/>
                    </a:lnTo>
                    <a:lnTo>
                      <a:pt x="1276" y="465"/>
                    </a:lnTo>
                    <a:lnTo>
                      <a:pt x="1285" y="494"/>
                    </a:lnTo>
                    <a:lnTo>
                      <a:pt x="1290" y="524"/>
                    </a:lnTo>
                    <a:lnTo>
                      <a:pt x="1296" y="556"/>
                    </a:lnTo>
                    <a:lnTo>
                      <a:pt x="1300" y="586"/>
                    </a:lnTo>
                    <a:lnTo>
                      <a:pt x="1300" y="592"/>
                    </a:lnTo>
                    <a:lnTo>
                      <a:pt x="1299" y="596"/>
                    </a:lnTo>
                    <a:lnTo>
                      <a:pt x="1298" y="600"/>
                    </a:lnTo>
                    <a:lnTo>
                      <a:pt x="1295" y="605"/>
                    </a:lnTo>
                    <a:lnTo>
                      <a:pt x="1290" y="609"/>
                    </a:lnTo>
                    <a:lnTo>
                      <a:pt x="1286" y="612"/>
                    </a:lnTo>
                    <a:lnTo>
                      <a:pt x="1282" y="613"/>
                    </a:lnTo>
                    <a:lnTo>
                      <a:pt x="1276" y="615"/>
                    </a:lnTo>
                    <a:lnTo>
                      <a:pt x="1272" y="615"/>
                    </a:lnTo>
                    <a:lnTo>
                      <a:pt x="1266" y="613"/>
                    </a:lnTo>
                    <a:lnTo>
                      <a:pt x="1262" y="612"/>
                    </a:lnTo>
                    <a:lnTo>
                      <a:pt x="1257" y="609"/>
                    </a:lnTo>
                    <a:lnTo>
                      <a:pt x="1254" y="606"/>
                    </a:lnTo>
                    <a:lnTo>
                      <a:pt x="1251" y="602"/>
                    </a:lnTo>
                    <a:lnTo>
                      <a:pt x="1249" y="596"/>
                    </a:lnTo>
                    <a:lnTo>
                      <a:pt x="1247" y="592"/>
                    </a:lnTo>
                    <a:lnTo>
                      <a:pt x="1244" y="563"/>
                    </a:lnTo>
                    <a:lnTo>
                      <a:pt x="1240" y="534"/>
                    </a:lnTo>
                    <a:lnTo>
                      <a:pt x="1233" y="507"/>
                    </a:lnTo>
                    <a:lnTo>
                      <a:pt x="1226" y="479"/>
                    </a:lnTo>
                    <a:lnTo>
                      <a:pt x="1217" y="454"/>
                    </a:lnTo>
                    <a:lnTo>
                      <a:pt x="1208" y="428"/>
                    </a:lnTo>
                    <a:lnTo>
                      <a:pt x="1197" y="402"/>
                    </a:lnTo>
                    <a:lnTo>
                      <a:pt x="1185" y="377"/>
                    </a:lnTo>
                    <a:lnTo>
                      <a:pt x="1172" y="353"/>
                    </a:lnTo>
                    <a:lnTo>
                      <a:pt x="1158" y="330"/>
                    </a:lnTo>
                    <a:lnTo>
                      <a:pt x="1142" y="308"/>
                    </a:lnTo>
                    <a:lnTo>
                      <a:pt x="1126" y="285"/>
                    </a:lnTo>
                    <a:lnTo>
                      <a:pt x="1110" y="265"/>
                    </a:lnTo>
                    <a:lnTo>
                      <a:pt x="1092" y="245"/>
                    </a:lnTo>
                    <a:lnTo>
                      <a:pt x="1073" y="225"/>
                    </a:lnTo>
                    <a:lnTo>
                      <a:pt x="1053" y="206"/>
                    </a:lnTo>
                    <a:lnTo>
                      <a:pt x="1033" y="189"/>
                    </a:lnTo>
                    <a:lnTo>
                      <a:pt x="1012" y="173"/>
                    </a:lnTo>
                    <a:lnTo>
                      <a:pt x="989" y="157"/>
                    </a:lnTo>
                    <a:lnTo>
                      <a:pt x="966" y="141"/>
                    </a:lnTo>
                    <a:lnTo>
                      <a:pt x="943" y="128"/>
                    </a:lnTo>
                    <a:lnTo>
                      <a:pt x="920" y="115"/>
                    </a:lnTo>
                    <a:lnTo>
                      <a:pt x="894" y="104"/>
                    </a:lnTo>
                    <a:lnTo>
                      <a:pt x="870" y="94"/>
                    </a:lnTo>
                    <a:lnTo>
                      <a:pt x="844" y="83"/>
                    </a:lnTo>
                    <a:lnTo>
                      <a:pt x="818" y="75"/>
                    </a:lnTo>
                    <a:lnTo>
                      <a:pt x="791" y="69"/>
                    </a:lnTo>
                    <a:lnTo>
                      <a:pt x="763" y="63"/>
                    </a:lnTo>
                    <a:lnTo>
                      <a:pt x="736" y="58"/>
                    </a:lnTo>
                    <a:lnTo>
                      <a:pt x="707" y="55"/>
                    </a:lnTo>
                    <a:lnTo>
                      <a:pt x="678" y="53"/>
                    </a:lnTo>
                    <a:lnTo>
                      <a:pt x="650" y="52"/>
                    </a:lnTo>
                    <a:lnTo>
                      <a:pt x="621" y="53"/>
                    </a:lnTo>
                    <a:lnTo>
                      <a:pt x="592" y="55"/>
                    </a:lnTo>
                    <a:lnTo>
                      <a:pt x="565" y="58"/>
                    </a:lnTo>
                    <a:lnTo>
                      <a:pt x="536" y="63"/>
                    </a:lnTo>
                    <a:lnTo>
                      <a:pt x="508" y="69"/>
                    </a:lnTo>
                    <a:lnTo>
                      <a:pt x="483" y="76"/>
                    </a:lnTo>
                    <a:lnTo>
                      <a:pt x="455" y="83"/>
                    </a:lnTo>
                    <a:lnTo>
                      <a:pt x="429" y="94"/>
                    </a:lnTo>
                    <a:lnTo>
                      <a:pt x="405" y="104"/>
                    </a:lnTo>
                    <a:lnTo>
                      <a:pt x="380" y="115"/>
                    </a:lnTo>
                    <a:lnTo>
                      <a:pt x="356" y="128"/>
                    </a:lnTo>
                    <a:lnTo>
                      <a:pt x="333" y="143"/>
                    </a:lnTo>
                    <a:lnTo>
                      <a:pt x="310" y="157"/>
                    </a:lnTo>
                    <a:lnTo>
                      <a:pt x="287" y="173"/>
                    </a:lnTo>
                    <a:lnTo>
                      <a:pt x="267" y="190"/>
                    </a:lnTo>
                    <a:lnTo>
                      <a:pt x="246" y="207"/>
                    </a:lnTo>
                    <a:lnTo>
                      <a:pt x="226" y="226"/>
                    </a:lnTo>
                    <a:lnTo>
                      <a:pt x="207" y="246"/>
                    </a:lnTo>
                    <a:lnTo>
                      <a:pt x="189" y="266"/>
                    </a:lnTo>
                    <a:lnTo>
                      <a:pt x="173" y="287"/>
                    </a:lnTo>
                    <a:lnTo>
                      <a:pt x="157" y="310"/>
                    </a:lnTo>
                    <a:lnTo>
                      <a:pt x="141" y="331"/>
                    </a:lnTo>
                    <a:lnTo>
                      <a:pt x="127" y="356"/>
                    </a:lnTo>
                    <a:lnTo>
                      <a:pt x="114" y="379"/>
                    </a:lnTo>
                    <a:lnTo>
                      <a:pt x="102" y="405"/>
                    </a:lnTo>
                    <a:lnTo>
                      <a:pt x="92" y="429"/>
                    </a:lnTo>
                    <a:lnTo>
                      <a:pt x="82" y="456"/>
                    </a:lnTo>
                    <a:lnTo>
                      <a:pt x="74" y="482"/>
                    </a:lnTo>
                    <a:lnTo>
                      <a:pt x="66" y="510"/>
                    </a:lnTo>
                    <a:lnTo>
                      <a:pt x="61" y="537"/>
                    </a:lnTo>
                    <a:lnTo>
                      <a:pt x="56" y="566"/>
                    </a:lnTo>
                    <a:lnTo>
                      <a:pt x="52" y="595"/>
                    </a:lnTo>
                    <a:lnTo>
                      <a:pt x="52" y="599"/>
                    </a:lnTo>
                    <a:lnTo>
                      <a:pt x="49" y="603"/>
                    </a:lnTo>
                    <a:lnTo>
                      <a:pt x="46" y="608"/>
                    </a:lnTo>
                    <a:lnTo>
                      <a:pt x="43" y="612"/>
                    </a:lnTo>
                    <a:lnTo>
                      <a:pt x="40" y="615"/>
                    </a:lnTo>
                    <a:lnTo>
                      <a:pt x="36" y="616"/>
                    </a:lnTo>
                    <a:lnTo>
                      <a:pt x="32" y="618"/>
                    </a:lnTo>
                    <a:lnTo>
                      <a:pt x="26"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2" name="Freeform 267">
                <a:extLst>
                  <a:ext uri="{FF2B5EF4-FFF2-40B4-BE49-F238E27FC236}">
                    <a16:creationId xmlns:a16="http://schemas.microsoft.com/office/drawing/2014/main" id="{FA547D96-C747-41A9-BC9D-0867AD92DC87}"/>
                  </a:ext>
                </a:extLst>
              </p:cNvPr>
              <p:cNvSpPr>
                <a:spLocks/>
              </p:cNvSpPr>
              <p:nvPr/>
            </p:nvSpPr>
            <p:spPr bwMode="auto">
              <a:xfrm>
                <a:off x="11303765" y="3118969"/>
                <a:ext cx="59586" cy="37242"/>
              </a:xfrm>
              <a:custGeom>
                <a:avLst/>
                <a:gdLst>
                  <a:gd name="T0" fmla="*/ 109 w 217"/>
                  <a:gd name="T1" fmla="*/ 135 h 135"/>
                  <a:gd name="T2" fmla="*/ 104 w 217"/>
                  <a:gd name="T3" fmla="*/ 135 h 135"/>
                  <a:gd name="T4" fmla="*/ 99 w 217"/>
                  <a:gd name="T5" fmla="*/ 134 h 135"/>
                  <a:gd name="T6" fmla="*/ 95 w 217"/>
                  <a:gd name="T7" fmla="*/ 131 h 135"/>
                  <a:gd name="T8" fmla="*/ 91 w 217"/>
                  <a:gd name="T9" fmla="*/ 128 h 135"/>
                  <a:gd name="T10" fmla="*/ 7 w 217"/>
                  <a:gd name="T11" fmla="*/ 45 h 135"/>
                  <a:gd name="T12" fmla="*/ 4 w 217"/>
                  <a:gd name="T13" fmla="*/ 40 h 135"/>
                  <a:gd name="T14" fmla="*/ 1 w 217"/>
                  <a:gd name="T15" fmla="*/ 36 h 135"/>
                  <a:gd name="T16" fmla="*/ 0 w 217"/>
                  <a:gd name="T17" fmla="*/ 32 h 135"/>
                  <a:gd name="T18" fmla="*/ 0 w 217"/>
                  <a:gd name="T19" fmla="*/ 26 h 135"/>
                  <a:gd name="T20" fmla="*/ 0 w 217"/>
                  <a:gd name="T21" fmla="*/ 22 h 135"/>
                  <a:gd name="T22" fmla="*/ 1 w 217"/>
                  <a:gd name="T23" fmla="*/ 17 h 135"/>
                  <a:gd name="T24" fmla="*/ 4 w 217"/>
                  <a:gd name="T25" fmla="*/ 11 h 135"/>
                  <a:gd name="T26" fmla="*/ 7 w 217"/>
                  <a:gd name="T27" fmla="*/ 9 h 135"/>
                  <a:gd name="T28" fmla="*/ 11 w 217"/>
                  <a:gd name="T29" fmla="*/ 4 h 135"/>
                  <a:gd name="T30" fmla="*/ 16 w 217"/>
                  <a:gd name="T31" fmla="*/ 3 h 135"/>
                  <a:gd name="T32" fmla="*/ 21 w 217"/>
                  <a:gd name="T33" fmla="*/ 1 h 135"/>
                  <a:gd name="T34" fmla="*/ 26 w 217"/>
                  <a:gd name="T35" fmla="*/ 0 h 135"/>
                  <a:gd name="T36" fmla="*/ 30 w 217"/>
                  <a:gd name="T37" fmla="*/ 1 h 135"/>
                  <a:gd name="T38" fmla="*/ 36 w 217"/>
                  <a:gd name="T39" fmla="*/ 3 h 135"/>
                  <a:gd name="T40" fmla="*/ 40 w 217"/>
                  <a:gd name="T41" fmla="*/ 4 h 135"/>
                  <a:gd name="T42" fmla="*/ 45 w 217"/>
                  <a:gd name="T43" fmla="*/ 9 h 135"/>
                  <a:gd name="T44" fmla="*/ 109 w 217"/>
                  <a:gd name="T45" fmla="*/ 72 h 135"/>
                  <a:gd name="T46" fmla="*/ 173 w 217"/>
                  <a:gd name="T47" fmla="*/ 10 h 135"/>
                  <a:gd name="T48" fmla="*/ 176 w 217"/>
                  <a:gd name="T49" fmla="*/ 6 h 135"/>
                  <a:gd name="T50" fmla="*/ 181 w 217"/>
                  <a:gd name="T51" fmla="*/ 4 h 135"/>
                  <a:gd name="T52" fmla="*/ 186 w 217"/>
                  <a:gd name="T53" fmla="*/ 3 h 135"/>
                  <a:gd name="T54" fmla="*/ 190 w 217"/>
                  <a:gd name="T55" fmla="*/ 1 h 135"/>
                  <a:gd name="T56" fmla="*/ 196 w 217"/>
                  <a:gd name="T57" fmla="*/ 3 h 135"/>
                  <a:gd name="T58" fmla="*/ 200 w 217"/>
                  <a:gd name="T59" fmla="*/ 4 h 135"/>
                  <a:gd name="T60" fmla="*/ 204 w 217"/>
                  <a:gd name="T61" fmla="*/ 6 h 135"/>
                  <a:gd name="T62" fmla="*/ 209 w 217"/>
                  <a:gd name="T63" fmla="*/ 10 h 135"/>
                  <a:gd name="T64" fmla="*/ 213 w 217"/>
                  <a:gd name="T65" fmla="*/ 13 h 135"/>
                  <a:gd name="T66" fmla="*/ 214 w 217"/>
                  <a:gd name="T67" fmla="*/ 19 h 135"/>
                  <a:gd name="T68" fmla="*/ 216 w 217"/>
                  <a:gd name="T69" fmla="*/ 23 h 135"/>
                  <a:gd name="T70" fmla="*/ 217 w 217"/>
                  <a:gd name="T71" fmla="*/ 27 h 135"/>
                  <a:gd name="T72" fmla="*/ 216 w 217"/>
                  <a:gd name="T73" fmla="*/ 33 h 135"/>
                  <a:gd name="T74" fmla="*/ 214 w 217"/>
                  <a:gd name="T75" fmla="*/ 37 h 135"/>
                  <a:gd name="T76" fmla="*/ 213 w 217"/>
                  <a:gd name="T77" fmla="*/ 42 h 135"/>
                  <a:gd name="T78" fmla="*/ 209 w 217"/>
                  <a:gd name="T79" fmla="*/ 46 h 135"/>
                  <a:gd name="T80" fmla="*/ 128 w 217"/>
                  <a:gd name="T81" fmla="*/ 128 h 135"/>
                  <a:gd name="T82" fmla="*/ 124 w 217"/>
                  <a:gd name="T83" fmla="*/ 131 h 135"/>
                  <a:gd name="T84" fmla="*/ 119 w 217"/>
                  <a:gd name="T85" fmla="*/ 134 h 135"/>
                  <a:gd name="T86" fmla="*/ 114 w 217"/>
                  <a:gd name="T87" fmla="*/ 135 h 135"/>
                  <a:gd name="T88" fmla="*/ 109 w 217"/>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7" h="135">
                    <a:moveTo>
                      <a:pt x="109" y="135"/>
                    </a:moveTo>
                    <a:lnTo>
                      <a:pt x="104" y="135"/>
                    </a:lnTo>
                    <a:lnTo>
                      <a:pt x="99" y="134"/>
                    </a:lnTo>
                    <a:lnTo>
                      <a:pt x="95" y="131"/>
                    </a:lnTo>
                    <a:lnTo>
                      <a:pt x="91" y="128"/>
                    </a:lnTo>
                    <a:lnTo>
                      <a:pt x="7" y="45"/>
                    </a:lnTo>
                    <a:lnTo>
                      <a:pt x="4" y="40"/>
                    </a:lnTo>
                    <a:lnTo>
                      <a:pt x="1" y="36"/>
                    </a:lnTo>
                    <a:lnTo>
                      <a:pt x="0" y="32"/>
                    </a:lnTo>
                    <a:lnTo>
                      <a:pt x="0" y="26"/>
                    </a:lnTo>
                    <a:lnTo>
                      <a:pt x="0" y="22"/>
                    </a:lnTo>
                    <a:lnTo>
                      <a:pt x="1" y="17"/>
                    </a:lnTo>
                    <a:lnTo>
                      <a:pt x="4" y="11"/>
                    </a:lnTo>
                    <a:lnTo>
                      <a:pt x="7" y="9"/>
                    </a:lnTo>
                    <a:lnTo>
                      <a:pt x="11" y="4"/>
                    </a:lnTo>
                    <a:lnTo>
                      <a:pt x="16" y="3"/>
                    </a:lnTo>
                    <a:lnTo>
                      <a:pt x="21" y="1"/>
                    </a:lnTo>
                    <a:lnTo>
                      <a:pt x="26" y="0"/>
                    </a:lnTo>
                    <a:lnTo>
                      <a:pt x="30" y="1"/>
                    </a:lnTo>
                    <a:lnTo>
                      <a:pt x="36" y="3"/>
                    </a:lnTo>
                    <a:lnTo>
                      <a:pt x="40" y="4"/>
                    </a:lnTo>
                    <a:lnTo>
                      <a:pt x="45" y="9"/>
                    </a:lnTo>
                    <a:lnTo>
                      <a:pt x="109" y="72"/>
                    </a:lnTo>
                    <a:lnTo>
                      <a:pt x="173" y="10"/>
                    </a:lnTo>
                    <a:lnTo>
                      <a:pt x="176" y="6"/>
                    </a:lnTo>
                    <a:lnTo>
                      <a:pt x="181" y="4"/>
                    </a:lnTo>
                    <a:lnTo>
                      <a:pt x="186" y="3"/>
                    </a:lnTo>
                    <a:lnTo>
                      <a:pt x="190" y="1"/>
                    </a:lnTo>
                    <a:lnTo>
                      <a:pt x="196" y="3"/>
                    </a:lnTo>
                    <a:lnTo>
                      <a:pt x="200" y="4"/>
                    </a:lnTo>
                    <a:lnTo>
                      <a:pt x="204" y="6"/>
                    </a:lnTo>
                    <a:lnTo>
                      <a:pt x="209" y="10"/>
                    </a:lnTo>
                    <a:lnTo>
                      <a:pt x="213" y="13"/>
                    </a:lnTo>
                    <a:lnTo>
                      <a:pt x="214" y="19"/>
                    </a:lnTo>
                    <a:lnTo>
                      <a:pt x="216" y="23"/>
                    </a:lnTo>
                    <a:lnTo>
                      <a:pt x="217" y="27"/>
                    </a:lnTo>
                    <a:lnTo>
                      <a:pt x="216" y="33"/>
                    </a:lnTo>
                    <a:lnTo>
                      <a:pt x="214" y="37"/>
                    </a:lnTo>
                    <a:lnTo>
                      <a:pt x="213" y="42"/>
                    </a:lnTo>
                    <a:lnTo>
                      <a:pt x="209" y="46"/>
                    </a:lnTo>
                    <a:lnTo>
                      <a:pt x="128" y="128"/>
                    </a:lnTo>
                    <a:lnTo>
                      <a:pt x="124" y="131"/>
                    </a:lnTo>
                    <a:lnTo>
                      <a:pt x="119" y="134"/>
                    </a:lnTo>
                    <a:lnTo>
                      <a:pt x="114" y="135"/>
                    </a:lnTo>
                    <a:lnTo>
                      <a:pt x="109"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02" name="Group 160">
              <a:extLst>
                <a:ext uri="{FF2B5EF4-FFF2-40B4-BE49-F238E27FC236}">
                  <a16:creationId xmlns:a16="http://schemas.microsoft.com/office/drawing/2014/main" id="{020CEE8B-9058-4064-AA97-45CA7801A3C8}"/>
                </a:ext>
              </a:extLst>
            </p:cNvPr>
            <p:cNvGrpSpPr>
              <a:grpSpLocks noChangeAspect="1"/>
            </p:cNvGrpSpPr>
            <p:nvPr/>
          </p:nvGrpSpPr>
          <p:grpSpPr>
            <a:xfrm>
              <a:off x="11026937" y="3022969"/>
              <a:ext cx="273931" cy="273931"/>
              <a:chOff x="5297488" y="2084388"/>
              <a:chExt cx="371475" cy="371475"/>
            </a:xfrm>
            <a:grpFill/>
            <a:effectLst/>
          </p:grpSpPr>
          <p:sp>
            <p:nvSpPr>
              <p:cNvPr id="2003" name="Freeform 74">
                <a:extLst>
                  <a:ext uri="{FF2B5EF4-FFF2-40B4-BE49-F238E27FC236}">
                    <a16:creationId xmlns:a16="http://schemas.microsoft.com/office/drawing/2014/main" id="{78A35457-FE1F-4AB6-B8EB-90DE37A27E89}"/>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4" name="Freeform 75">
                <a:extLst>
                  <a:ext uri="{FF2B5EF4-FFF2-40B4-BE49-F238E27FC236}">
                    <a16:creationId xmlns:a16="http://schemas.microsoft.com/office/drawing/2014/main" id="{C8C6B8BC-8170-4757-B7DB-1356D17A0589}"/>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5" name="Freeform 76">
                <a:extLst>
                  <a:ext uri="{FF2B5EF4-FFF2-40B4-BE49-F238E27FC236}">
                    <a16:creationId xmlns:a16="http://schemas.microsoft.com/office/drawing/2014/main" id="{08AFC400-CEEA-4D4A-9ED7-A04C5F48FFDE}"/>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6" name="Rectangle 77">
                <a:extLst>
                  <a:ext uri="{FF2B5EF4-FFF2-40B4-BE49-F238E27FC236}">
                    <a16:creationId xmlns:a16="http://schemas.microsoft.com/office/drawing/2014/main" id="{4AFE7678-39FD-46E3-A110-E9C5C14BC8FF}"/>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7" name="Rectangle 78">
                <a:extLst>
                  <a:ext uri="{FF2B5EF4-FFF2-40B4-BE49-F238E27FC236}">
                    <a16:creationId xmlns:a16="http://schemas.microsoft.com/office/drawing/2014/main" id="{A68B8699-240F-43F4-8719-064A8212CED1}"/>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8" name="Rectangle 79">
                <a:extLst>
                  <a:ext uri="{FF2B5EF4-FFF2-40B4-BE49-F238E27FC236}">
                    <a16:creationId xmlns:a16="http://schemas.microsoft.com/office/drawing/2014/main" id="{7C7D4670-A366-4542-9040-89F3EF0E2211}"/>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2013" name="Gruppieren 2012">
            <a:extLst>
              <a:ext uri="{FF2B5EF4-FFF2-40B4-BE49-F238E27FC236}">
                <a16:creationId xmlns:a16="http://schemas.microsoft.com/office/drawing/2014/main" id="{02E1F80F-004D-4820-8875-0EB4CC4BF31E}"/>
              </a:ext>
            </a:extLst>
          </p:cNvPr>
          <p:cNvGrpSpPr>
            <a:grpSpLocks noChangeAspect="1"/>
          </p:cNvGrpSpPr>
          <p:nvPr/>
        </p:nvGrpSpPr>
        <p:grpSpPr>
          <a:xfrm>
            <a:off x="1100291" y="4879041"/>
            <a:ext cx="238016" cy="285619"/>
            <a:chOff x="1282479" y="4472754"/>
            <a:chExt cx="300000" cy="360000"/>
          </a:xfrm>
          <a:solidFill>
            <a:schemeClr val="bg2"/>
          </a:solidFill>
        </p:grpSpPr>
        <p:sp>
          <p:nvSpPr>
            <p:cNvPr id="2014" name="Freeform 24">
              <a:extLst>
                <a:ext uri="{FF2B5EF4-FFF2-40B4-BE49-F238E27FC236}">
                  <a16:creationId xmlns:a16="http://schemas.microsoft.com/office/drawing/2014/main" id="{1AA423B3-D949-4C2A-9311-33954B0DF8D4}"/>
                </a:ext>
              </a:extLst>
            </p:cNvPr>
            <p:cNvSpPr>
              <a:spLocks noEditPoints="1"/>
            </p:cNvSpPr>
            <p:nvPr/>
          </p:nvSpPr>
          <p:spPr bwMode="auto">
            <a:xfrm>
              <a:off x="1282479" y="4472754"/>
              <a:ext cx="300000" cy="360000"/>
            </a:xfrm>
            <a:custGeom>
              <a:avLst/>
              <a:gdLst>
                <a:gd name="T0" fmla="*/ 315 w 749"/>
                <a:gd name="T1" fmla="*/ 794 h 899"/>
                <a:gd name="T2" fmla="*/ 345 w 749"/>
                <a:gd name="T3" fmla="*/ 748 h 899"/>
                <a:gd name="T4" fmla="*/ 218 w 749"/>
                <a:gd name="T5" fmla="*/ 842 h 899"/>
                <a:gd name="T6" fmla="*/ 330 w 749"/>
                <a:gd name="T7" fmla="*/ 823 h 899"/>
                <a:gd name="T8" fmla="*/ 442 w 749"/>
                <a:gd name="T9" fmla="*/ 842 h 899"/>
                <a:gd name="T10" fmla="*/ 626 w 749"/>
                <a:gd name="T11" fmla="*/ 627 h 899"/>
                <a:gd name="T12" fmla="*/ 691 w 749"/>
                <a:gd name="T13" fmla="*/ 545 h 899"/>
                <a:gd name="T14" fmla="*/ 731 w 749"/>
                <a:gd name="T15" fmla="*/ 453 h 899"/>
                <a:gd name="T16" fmla="*/ 748 w 749"/>
                <a:gd name="T17" fmla="*/ 356 h 899"/>
                <a:gd name="T18" fmla="*/ 743 w 749"/>
                <a:gd name="T19" fmla="*/ 259 h 899"/>
                <a:gd name="T20" fmla="*/ 715 w 749"/>
                <a:gd name="T21" fmla="*/ 163 h 899"/>
                <a:gd name="T22" fmla="*/ 664 w 749"/>
                <a:gd name="T23" fmla="*/ 76 h 899"/>
                <a:gd name="T24" fmla="*/ 658 w 749"/>
                <a:gd name="T25" fmla="*/ 21 h 899"/>
                <a:gd name="T26" fmla="*/ 657 w 749"/>
                <a:gd name="T27" fmla="*/ 7 h 899"/>
                <a:gd name="T28" fmla="*/ 645 w 749"/>
                <a:gd name="T29" fmla="*/ 0 h 899"/>
                <a:gd name="T30" fmla="*/ 606 w 749"/>
                <a:gd name="T31" fmla="*/ 33 h 899"/>
                <a:gd name="T32" fmla="*/ 570 w 749"/>
                <a:gd name="T33" fmla="*/ 75 h 899"/>
                <a:gd name="T34" fmla="*/ 576 w 749"/>
                <a:gd name="T35" fmla="*/ 87 h 899"/>
                <a:gd name="T36" fmla="*/ 591 w 749"/>
                <a:gd name="T37" fmla="*/ 89 h 899"/>
                <a:gd name="T38" fmla="*/ 640 w 749"/>
                <a:gd name="T39" fmla="*/ 95 h 899"/>
                <a:gd name="T40" fmla="*/ 688 w 749"/>
                <a:gd name="T41" fmla="*/ 176 h 899"/>
                <a:gd name="T42" fmla="*/ 714 w 749"/>
                <a:gd name="T43" fmla="*/ 264 h 899"/>
                <a:gd name="T44" fmla="*/ 718 w 749"/>
                <a:gd name="T45" fmla="*/ 355 h 899"/>
                <a:gd name="T46" fmla="*/ 702 w 749"/>
                <a:gd name="T47" fmla="*/ 445 h 899"/>
                <a:gd name="T48" fmla="*/ 665 w 749"/>
                <a:gd name="T49" fmla="*/ 529 h 899"/>
                <a:gd name="T50" fmla="*/ 606 w 749"/>
                <a:gd name="T51" fmla="*/ 605 h 899"/>
                <a:gd name="T52" fmla="*/ 530 w 749"/>
                <a:gd name="T53" fmla="*/ 664 h 899"/>
                <a:gd name="T54" fmla="*/ 446 w 749"/>
                <a:gd name="T55" fmla="*/ 701 h 899"/>
                <a:gd name="T56" fmla="*/ 356 w 749"/>
                <a:gd name="T57" fmla="*/ 717 h 899"/>
                <a:gd name="T58" fmla="*/ 265 w 749"/>
                <a:gd name="T59" fmla="*/ 713 h 899"/>
                <a:gd name="T60" fmla="*/ 176 w 749"/>
                <a:gd name="T61" fmla="*/ 687 h 899"/>
                <a:gd name="T62" fmla="*/ 96 w 749"/>
                <a:gd name="T63" fmla="*/ 640 h 899"/>
                <a:gd name="T64" fmla="*/ 89 w 749"/>
                <a:gd name="T65" fmla="*/ 590 h 899"/>
                <a:gd name="T66" fmla="*/ 88 w 749"/>
                <a:gd name="T67" fmla="*/ 576 h 899"/>
                <a:gd name="T68" fmla="*/ 75 w 749"/>
                <a:gd name="T69" fmla="*/ 569 h 899"/>
                <a:gd name="T70" fmla="*/ 5 w 749"/>
                <a:gd name="T71" fmla="*/ 633 h 899"/>
                <a:gd name="T72" fmla="*/ 0 w 749"/>
                <a:gd name="T73" fmla="*/ 647 h 899"/>
                <a:gd name="T74" fmla="*/ 10 w 749"/>
                <a:gd name="T75" fmla="*/ 658 h 899"/>
                <a:gd name="T76" fmla="*/ 24 w 749"/>
                <a:gd name="T77" fmla="*/ 656 h 899"/>
                <a:gd name="T78" fmla="*/ 85 w 749"/>
                <a:gd name="T79" fmla="*/ 669 h 899"/>
                <a:gd name="T80" fmla="*/ 158 w 749"/>
                <a:gd name="T81" fmla="*/ 712 h 899"/>
                <a:gd name="T82" fmla="*/ 237 w 749"/>
                <a:gd name="T83" fmla="*/ 738 h 899"/>
                <a:gd name="T84" fmla="*/ 259 w 749"/>
                <a:gd name="T85" fmla="*/ 801 h 899"/>
                <a:gd name="T86" fmla="*/ 140 w 749"/>
                <a:gd name="T87" fmla="*/ 844 h 899"/>
                <a:gd name="T88" fmla="*/ 90 w 749"/>
                <a:gd name="T89" fmla="*/ 884 h 899"/>
                <a:gd name="T90" fmla="*/ 105 w 749"/>
                <a:gd name="T91" fmla="*/ 899 h 899"/>
                <a:gd name="T92" fmla="*/ 570 w 749"/>
                <a:gd name="T93" fmla="*/ 889 h 899"/>
                <a:gd name="T94" fmla="*/ 543 w 749"/>
                <a:gd name="T95" fmla="*/ 856 h 899"/>
                <a:gd name="T96" fmla="*/ 425 w 749"/>
                <a:gd name="T97" fmla="*/ 806 h 899"/>
                <a:gd name="T98" fmla="*/ 409 w 749"/>
                <a:gd name="T99" fmla="*/ 741 h 899"/>
                <a:gd name="T100" fmla="*/ 493 w 749"/>
                <a:gd name="T101" fmla="*/ 716 h 899"/>
                <a:gd name="T102" fmla="*/ 571 w 749"/>
                <a:gd name="T103" fmla="*/ 67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899">
                  <a:moveTo>
                    <a:pt x="345" y="794"/>
                  </a:moveTo>
                  <a:lnTo>
                    <a:pt x="337" y="794"/>
                  </a:lnTo>
                  <a:lnTo>
                    <a:pt x="330" y="794"/>
                  </a:lnTo>
                  <a:lnTo>
                    <a:pt x="323" y="794"/>
                  </a:lnTo>
                  <a:lnTo>
                    <a:pt x="315" y="794"/>
                  </a:lnTo>
                  <a:lnTo>
                    <a:pt x="315" y="748"/>
                  </a:lnTo>
                  <a:lnTo>
                    <a:pt x="323" y="748"/>
                  </a:lnTo>
                  <a:lnTo>
                    <a:pt x="330" y="748"/>
                  </a:lnTo>
                  <a:lnTo>
                    <a:pt x="337" y="748"/>
                  </a:lnTo>
                  <a:lnTo>
                    <a:pt x="345" y="748"/>
                  </a:lnTo>
                  <a:lnTo>
                    <a:pt x="345" y="794"/>
                  </a:lnTo>
                  <a:close/>
                  <a:moveTo>
                    <a:pt x="156" y="869"/>
                  </a:moveTo>
                  <a:lnTo>
                    <a:pt x="176" y="859"/>
                  </a:lnTo>
                  <a:lnTo>
                    <a:pt x="197" y="849"/>
                  </a:lnTo>
                  <a:lnTo>
                    <a:pt x="218" y="842"/>
                  </a:lnTo>
                  <a:lnTo>
                    <a:pt x="240" y="835"/>
                  </a:lnTo>
                  <a:lnTo>
                    <a:pt x="262" y="831"/>
                  </a:lnTo>
                  <a:lnTo>
                    <a:pt x="284" y="827"/>
                  </a:lnTo>
                  <a:lnTo>
                    <a:pt x="308" y="824"/>
                  </a:lnTo>
                  <a:lnTo>
                    <a:pt x="330" y="823"/>
                  </a:lnTo>
                  <a:lnTo>
                    <a:pt x="354" y="824"/>
                  </a:lnTo>
                  <a:lnTo>
                    <a:pt x="376" y="827"/>
                  </a:lnTo>
                  <a:lnTo>
                    <a:pt x="398" y="830"/>
                  </a:lnTo>
                  <a:lnTo>
                    <a:pt x="421" y="835"/>
                  </a:lnTo>
                  <a:lnTo>
                    <a:pt x="442" y="842"/>
                  </a:lnTo>
                  <a:lnTo>
                    <a:pt x="464" y="849"/>
                  </a:lnTo>
                  <a:lnTo>
                    <a:pt x="484" y="859"/>
                  </a:lnTo>
                  <a:lnTo>
                    <a:pt x="504" y="869"/>
                  </a:lnTo>
                  <a:lnTo>
                    <a:pt x="156" y="869"/>
                  </a:lnTo>
                  <a:close/>
                  <a:moveTo>
                    <a:pt x="626" y="627"/>
                  </a:moveTo>
                  <a:lnTo>
                    <a:pt x="641" y="610"/>
                  </a:lnTo>
                  <a:lnTo>
                    <a:pt x="655" y="596"/>
                  </a:lnTo>
                  <a:lnTo>
                    <a:pt x="668" y="578"/>
                  </a:lnTo>
                  <a:lnTo>
                    <a:pt x="680" y="562"/>
                  </a:lnTo>
                  <a:lnTo>
                    <a:pt x="691" y="545"/>
                  </a:lnTo>
                  <a:lnTo>
                    <a:pt x="700" y="527"/>
                  </a:lnTo>
                  <a:lnTo>
                    <a:pt x="710" y="509"/>
                  </a:lnTo>
                  <a:lnTo>
                    <a:pt x="717" y="491"/>
                  </a:lnTo>
                  <a:lnTo>
                    <a:pt x="725" y="473"/>
                  </a:lnTo>
                  <a:lnTo>
                    <a:pt x="731" y="453"/>
                  </a:lnTo>
                  <a:lnTo>
                    <a:pt x="737" y="434"/>
                  </a:lnTo>
                  <a:lnTo>
                    <a:pt x="741" y="415"/>
                  </a:lnTo>
                  <a:lnTo>
                    <a:pt x="744" y="395"/>
                  </a:lnTo>
                  <a:lnTo>
                    <a:pt x="747" y="376"/>
                  </a:lnTo>
                  <a:lnTo>
                    <a:pt x="748" y="356"/>
                  </a:lnTo>
                  <a:lnTo>
                    <a:pt x="749" y="337"/>
                  </a:lnTo>
                  <a:lnTo>
                    <a:pt x="749" y="317"/>
                  </a:lnTo>
                  <a:lnTo>
                    <a:pt x="748" y="297"/>
                  </a:lnTo>
                  <a:lnTo>
                    <a:pt x="746" y="278"/>
                  </a:lnTo>
                  <a:lnTo>
                    <a:pt x="743" y="259"/>
                  </a:lnTo>
                  <a:lnTo>
                    <a:pt x="740" y="238"/>
                  </a:lnTo>
                  <a:lnTo>
                    <a:pt x="734" y="220"/>
                  </a:lnTo>
                  <a:lnTo>
                    <a:pt x="729" y="201"/>
                  </a:lnTo>
                  <a:lnTo>
                    <a:pt x="723" y="182"/>
                  </a:lnTo>
                  <a:lnTo>
                    <a:pt x="715" y="163"/>
                  </a:lnTo>
                  <a:lnTo>
                    <a:pt x="707" y="145"/>
                  </a:lnTo>
                  <a:lnTo>
                    <a:pt x="697" y="127"/>
                  </a:lnTo>
                  <a:lnTo>
                    <a:pt x="687" y="110"/>
                  </a:lnTo>
                  <a:lnTo>
                    <a:pt x="676" y="93"/>
                  </a:lnTo>
                  <a:lnTo>
                    <a:pt x="664" y="76"/>
                  </a:lnTo>
                  <a:lnTo>
                    <a:pt x="651" y="60"/>
                  </a:lnTo>
                  <a:lnTo>
                    <a:pt x="637" y="44"/>
                  </a:lnTo>
                  <a:lnTo>
                    <a:pt x="655" y="25"/>
                  </a:lnTo>
                  <a:lnTo>
                    <a:pt x="657" y="23"/>
                  </a:lnTo>
                  <a:lnTo>
                    <a:pt x="658" y="21"/>
                  </a:lnTo>
                  <a:lnTo>
                    <a:pt x="660" y="18"/>
                  </a:lnTo>
                  <a:lnTo>
                    <a:pt x="660" y="15"/>
                  </a:lnTo>
                  <a:lnTo>
                    <a:pt x="660" y="13"/>
                  </a:lnTo>
                  <a:lnTo>
                    <a:pt x="658" y="9"/>
                  </a:lnTo>
                  <a:lnTo>
                    <a:pt x="657" y="7"/>
                  </a:lnTo>
                  <a:lnTo>
                    <a:pt x="655" y="4"/>
                  </a:lnTo>
                  <a:lnTo>
                    <a:pt x="653" y="3"/>
                  </a:lnTo>
                  <a:lnTo>
                    <a:pt x="651" y="1"/>
                  </a:lnTo>
                  <a:lnTo>
                    <a:pt x="648" y="1"/>
                  </a:lnTo>
                  <a:lnTo>
                    <a:pt x="645" y="0"/>
                  </a:lnTo>
                  <a:lnTo>
                    <a:pt x="642" y="1"/>
                  </a:lnTo>
                  <a:lnTo>
                    <a:pt x="639" y="1"/>
                  </a:lnTo>
                  <a:lnTo>
                    <a:pt x="636" y="3"/>
                  </a:lnTo>
                  <a:lnTo>
                    <a:pt x="634" y="4"/>
                  </a:lnTo>
                  <a:lnTo>
                    <a:pt x="606" y="33"/>
                  </a:lnTo>
                  <a:lnTo>
                    <a:pt x="574" y="64"/>
                  </a:lnTo>
                  <a:lnTo>
                    <a:pt x="572" y="67"/>
                  </a:lnTo>
                  <a:lnTo>
                    <a:pt x="571" y="69"/>
                  </a:lnTo>
                  <a:lnTo>
                    <a:pt x="570" y="72"/>
                  </a:lnTo>
                  <a:lnTo>
                    <a:pt x="570" y="75"/>
                  </a:lnTo>
                  <a:lnTo>
                    <a:pt x="570" y="78"/>
                  </a:lnTo>
                  <a:lnTo>
                    <a:pt x="571" y="81"/>
                  </a:lnTo>
                  <a:lnTo>
                    <a:pt x="572" y="83"/>
                  </a:lnTo>
                  <a:lnTo>
                    <a:pt x="574" y="85"/>
                  </a:lnTo>
                  <a:lnTo>
                    <a:pt x="576" y="87"/>
                  </a:lnTo>
                  <a:lnTo>
                    <a:pt x="579" y="89"/>
                  </a:lnTo>
                  <a:lnTo>
                    <a:pt x="583" y="90"/>
                  </a:lnTo>
                  <a:lnTo>
                    <a:pt x="585" y="90"/>
                  </a:lnTo>
                  <a:lnTo>
                    <a:pt x="588" y="90"/>
                  </a:lnTo>
                  <a:lnTo>
                    <a:pt x="591" y="89"/>
                  </a:lnTo>
                  <a:lnTo>
                    <a:pt x="593" y="87"/>
                  </a:lnTo>
                  <a:lnTo>
                    <a:pt x="595" y="85"/>
                  </a:lnTo>
                  <a:lnTo>
                    <a:pt x="616" y="65"/>
                  </a:lnTo>
                  <a:lnTo>
                    <a:pt x="629" y="80"/>
                  </a:lnTo>
                  <a:lnTo>
                    <a:pt x="640" y="95"/>
                  </a:lnTo>
                  <a:lnTo>
                    <a:pt x="652" y="110"/>
                  </a:lnTo>
                  <a:lnTo>
                    <a:pt x="662" y="126"/>
                  </a:lnTo>
                  <a:lnTo>
                    <a:pt x="671" y="142"/>
                  </a:lnTo>
                  <a:lnTo>
                    <a:pt x="680" y="159"/>
                  </a:lnTo>
                  <a:lnTo>
                    <a:pt x="688" y="176"/>
                  </a:lnTo>
                  <a:lnTo>
                    <a:pt x="695" y="193"/>
                  </a:lnTo>
                  <a:lnTo>
                    <a:pt x="701" y="210"/>
                  </a:lnTo>
                  <a:lnTo>
                    <a:pt x="706" y="228"/>
                  </a:lnTo>
                  <a:lnTo>
                    <a:pt x="711" y="246"/>
                  </a:lnTo>
                  <a:lnTo>
                    <a:pt x="714" y="264"/>
                  </a:lnTo>
                  <a:lnTo>
                    <a:pt x="716" y="282"/>
                  </a:lnTo>
                  <a:lnTo>
                    <a:pt x="718" y="300"/>
                  </a:lnTo>
                  <a:lnTo>
                    <a:pt x="719" y="318"/>
                  </a:lnTo>
                  <a:lnTo>
                    <a:pt x="719" y="337"/>
                  </a:lnTo>
                  <a:lnTo>
                    <a:pt x="718" y="355"/>
                  </a:lnTo>
                  <a:lnTo>
                    <a:pt x="717" y="373"/>
                  </a:lnTo>
                  <a:lnTo>
                    <a:pt x="714" y="391"/>
                  </a:lnTo>
                  <a:lnTo>
                    <a:pt x="711" y="409"/>
                  </a:lnTo>
                  <a:lnTo>
                    <a:pt x="707" y="427"/>
                  </a:lnTo>
                  <a:lnTo>
                    <a:pt x="702" y="445"/>
                  </a:lnTo>
                  <a:lnTo>
                    <a:pt x="696" y="462"/>
                  </a:lnTo>
                  <a:lnTo>
                    <a:pt x="690" y="480"/>
                  </a:lnTo>
                  <a:lnTo>
                    <a:pt x="682" y="496"/>
                  </a:lnTo>
                  <a:lnTo>
                    <a:pt x="673" y="513"/>
                  </a:lnTo>
                  <a:lnTo>
                    <a:pt x="665" y="529"/>
                  </a:lnTo>
                  <a:lnTo>
                    <a:pt x="654" y="545"/>
                  </a:lnTo>
                  <a:lnTo>
                    <a:pt x="644" y="561"/>
                  </a:lnTo>
                  <a:lnTo>
                    <a:pt x="632" y="576"/>
                  </a:lnTo>
                  <a:lnTo>
                    <a:pt x="619" y="591"/>
                  </a:lnTo>
                  <a:lnTo>
                    <a:pt x="606" y="605"/>
                  </a:lnTo>
                  <a:lnTo>
                    <a:pt x="591" y="618"/>
                  </a:lnTo>
                  <a:lnTo>
                    <a:pt x="577" y="631"/>
                  </a:lnTo>
                  <a:lnTo>
                    <a:pt x="561" y="643"/>
                  </a:lnTo>
                  <a:lnTo>
                    <a:pt x="546" y="653"/>
                  </a:lnTo>
                  <a:lnTo>
                    <a:pt x="530" y="664"/>
                  </a:lnTo>
                  <a:lnTo>
                    <a:pt x="514" y="673"/>
                  </a:lnTo>
                  <a:lnTo>
                    <a:pt x="497" y="681"/>
                  </a:lnTo>
                  <a:lnTo>
                    <a:pt x="480" y="689"/>
                  </a:lnTo>
                  <a:lnTo>
                    <a:pt x="463" y="696"/>
                  </a:lnTo>
                  <a:lnTo>
                    <a:pt x="446" y="701"/>
                  </a:lnTo>
                  <a:lnTo>
                    <a:pt x="427" y="707"/>
                  </a:lnTo>
                  <a:lnTo>
                    <a:pt x="410" y="711"/>
                  </a:lnTo>
                  <a:lnTo>
                    <a:pt x="392" y="714"/>
                  </a:lnTo>
                  <a:lnTo>
                    <a:pt x="374" y="716"/>
                  </a:lnTo>
                  <a:lnTo>
                    <a:pt x="356" y="717"/>
                  </a:lnTo>
                  <a:lnTo>
                    <a:pt x="337" y="719"/>
                  </a:lnTo>
                  <a:lnTo>
                    <a:pt x="319" y="719"/>
                  </a:lnTo>
                  <a:lnTo>
                    <a:pt x="301" y="717"/>
                  </a:lnTo>
                  <a:lnTo>
                    <a:pt x="283" y="716"/>
                  </a:lnTo>
                  <a:lnTo>
                    <a:pt x="265" y="713"/>
                  </a:lnTo>
                  <a:lnTo>
                    <a:pt x="247" y="710"/>
                  </a:lnTo>
                  <a:lnTo>
                    <a:pt x="228" y="706"/>
                  </a:lnTo>
                  <a:lnTo>
                    <a:pt x="211" y="700"/>
                  </a:lnTo>
                  <a:lnTo>
                    <a:pt x="193" y="694"/>
                  </a:lnTo>
                  <a:lnTo>
                    <a:pt x="176" y="687"/>
                  </a:lnTo>
                  <a:lnTo>
                    <a:pt x="160" y="680"/>
                  </a:lnTo>
                  <a:lnTo>
                    <a:pt x="143" y="670"/>
                  </a:lnTo>
                  <a:lnTo>
                    <a:pt x="127" y="662"/>
                  </a:lnTo>
                  <a:lnTo>
                    <a:pt x="111" y="651"/>
                  </a:lnTo>
                  <a:lnTo>
                    <a:pt x="96" y="640"/>
                  </a:lnTo>
                  <a:lnTo>
                    <a:pt x="81" y="628"/>
                  </a:lnTo>
                  <a:lnTo>
                    <a:pt x="66" y="615"/>
                  </a:lnTo>
                  <a:lnTo>
                    <a:pt x="86" y="594"/>
                  </a:lnTo>
                  <a:lnTo>
                    <a:pt x="88" y="592"/>
                  </a:lnTo>
                  <a:lnTo>
                    <a:pt x="89" y="590"/>
                  </a:lnTo>
                  <a:lnTo>
                    <a:pt x="90" y="587"/>
                  </a:lnTo>
                  <a:lnTo>
                    <a:pt x="90" y="584"/>
                  </a:lnTo>
                  <a:lnTo>
                    <a:pt x="90" y="582"/>
                  </a:lnTo>
                  <a:lnTo>
                    <a:pt x="89" y="578"/>
                  </a:lnTo>
                  <a:lnTo>
                    <a:pt x="88" y="576"/>
                  </a:lnTo>
                  <a:lnTo>
                    <a:pt x="86" y="574"/>
                  </a:lnTo>
                  <a:lnTo>
                    <a:pt x="84" y="572"/>
                  </a:lnTo>
                  <a:lnTo>
                    <a:pt x="81" y="570"/>
                  </a:lnTo>
                  <a:lnTo>
                    <a:pt x="79" y="570"/>
                  </a:lnTo>
                  <a:lnTo>
                    <a:pt x="75" y="569"/>
                  </a:lnTo>
                  <a:lnTo>
                    <a:pt x="72" y="570"/>
                  </a:lnTo>
                  <a:lnTo>
                    <a:pt x="70" y="570"/>
                  </a:lnTo>
                  <a:lnTo>
                    <a:pt x="67" y="572"/>
                  </a:lnTo>
                  <a:lnTo>
                    <a:pt x="65" y="574"/>
                  </a:lnTo>
                  <a:lnTo>
                    <a:pt x="5" y="633"/>
                  </a:lnTo>
                  <a:lnTo>
                    <a:pt x="3" y="636"/>
                  </a:lnTo>
                  <a:lnTo>
                    <a:pt x="2" y="638"/>
                  </a:lnTo>
                  <a:lnTo>
                    <a:pt x="0" y="641"/>
                  </a:lnTo>
                  <a:lnTo>
                    <a:pt x="0" y="644"/>
                  </a:lnTo>
                  <a:lnTo>
                    <a:pt x="0" y="647"/>
                  </a:lnTo>
                  <a:lnTo>
                    <a:pt x="2" y="650"/>
                  </a:lnTo>
                  <a:lnTo>
                    <a:pt x="3" y="652"/>
                  </a:lnTo>
                  <a:lnTo>
                    <a:pt x="5" y="654"/>
                  </a:lnTo>
                  <a:lnTo>
                    <a:pt x="7" y="656"/>
                  </a:lnTo>
                  <a:lnTo>
                    <a:pt x="10" y="658"/>
                  </a:lnTo>
                  <a:lnTo>
                    <a:pt x="12" y="659"/>
                  </a:lnTo>
                  <a:lnTo>
                    <a:pt x="15" y="660"/>
                  </a:lnTo>
                  <a:lnTo>
                    <a:pt x="19" y="659"/>
                  </a:lnTo>
                  <a:lnTo>
                    <a:pt x="21" y="658"/>
                  </a:lnTo>
                  <a:lnTo>
                    <a:pt x="24" y="656"/>
                  </a:lnTo>
                  <a:lnTo>
                    <a:pt x="26" y="654"/>
                  </a:lnTo>
                  <a:lnTo>
                    <a:pt x="44" y="636"/>
                  </a:lnTo>
                  <a:lnTo>
                    <a:pt x="57" y="648"/>
                  </a:lnTo>
                  <a:lnTo>
                    <a:pt x="71" y="659"/>
                  </a:lnTo>
                  <a:lnTo>
                    <a:pt x="85" y="669"/>
                  </a:lnTo>
                  <a:lnTo>
                    <a:pt x="99" y="679"/>
                  </a:lnTo>
                  <a:lnTo>
                    <a:pt x="113" y="689"/>
                  </a:lnTo>
                  <a:lnTo>
                    <a:pt x="128" y="697"/>
                  </a:lnTo>
                  <a:lnTo>
                    <a:pt x="143" y="705"/>
                  </a:lnTo>
                  <a:lnTo>
                    <a:pt x="158" y="712"/>
                  </a:lnTo>
                  <a:lnTo>
                    <a:pt x="173" y="719"/>
                  </a:lnTo>
                  <a:lnTo>
                    <a:pt x="189" y="724"/>
                  </a:lnTo>
                  <a:lnTo>
                    <a:pt x="205" y="729"/>
                  </a:lnTo>
                  <a:lnTo>
                    <a:pt x="221" y="735"/>
                  </a:lnTo>
                  <a:lnTo>
                    <a:pt x="237" y="738"/>
                  </a:lnTo>
                  <a:lnTo>
                    <a:pt x="253" y="742"/>
                  </a:lnTo>
                  <a:lnTo>
                    <a:pt x="269" y="744"/>
                  </a:lnTo>
                  <a:lnTo>
                    <a:pt x="285" y="746"/>
                  </a:lnTo>
                  <a:lnTo>
                    <a:pt x="285" y="797"/>
                  </a:lnTo>
                  <a:lnTo>
                    <a:pt x="259" y="801"/>
                  </a:lnTo>
                  <a:lnTo>
                    <a:pt x="235" y="806"/>
                  </a:lnTo>
                  <a:lnTo>
                    <a:pt x="210" y="813"/>
                  </a:lnTo>
                  <a:lnTo>
                    <a:pt x="187" y="821"/>
                  </a:lnTo>
                  <a:lnTo>
                    <a:pt x="163" y="832"/>
                  </a:lnTo>
                  <a:lnTo>
                    <a:pt x="140" y="844"/>
                  </a:lnTo>
                  <a:lnTo>
                    <a:pt x="118" y="856"/>
                  </a:lnTo>
                  <a:lnTo>
                    <a:pt x="97" y="871"/>
                  </a:lnTo>
                  <a:lnTo>
                    <a:pt x="94" y="875"/>
                  </a:lnTo>
                  <a:lnTo>
                    <a:pt x="91" y="879"/>
                  </a:lnTo>
                  <a:lnTo>
                    <a:pt x="90" y="884"/>
                  </a:lnTo>
                  <a:lnTo>
                    <a:pt x="91" y="889"/>
                  </a:lnTo>
                  <a:lnTo>
                    <a:pt x="94" y="893"/>
                  </a:lnTo>
                  <a:lnTo>
                    <a:pt x="97" y="896"/>
                  </a:lnTo>
                  <a:lnTo>
                    <a:pt x="101" y="898"/>
                  </a:lnTo>
                  <a:lnTo>
                    <a:pt x="105" y="899"/>
                  </a:lnTo>
                  <a:lnTo>
                    <a:pt x="555" y="898"/>
                  </a:lnTo>
                  <a:lnTo>
                    <a:pt x="560" y="898"/>
                  </a:lnTo>
                  <a:lnTo>
                    <a:pt x="563" y="896"/>
                  </a:lnTo>
                  <a:lnTo>
                    <a:pt x="566" y="893"/>
                  </a:lnTo>
                  <a:lnTo>
                    <a:pt x="570" y="889"/>
                  </a:lnTo>
                  <a:lnTo>
                    <a:pt x="570" y="884"/>
                  </a:lnTo>
                  <a:lnTo>
                    <a:pt x="570" y="879"/>
                  </a:lnTo>
                  <a:lnTo>
                    <a:pt x="568" y="875"/>
                  </a:lnTo>
                  <a:lnTo>
                    <a:pt x="564" y="871"/>
                  </a:lnTo>
                  <a:lnTo>
                    <a:pt x="543" y="856"/>
                  </a:lnTo>
                  <a:lnTo>
                    <a:pt x="520" y="844"/>
                  </a:lnTo>
                  <a:lnTo>
                    <a:pt x="498" y="832"/>
                  </a:lnTo>
                  <a:lnTo>
                    <a:pt x="474" y="821"/>
                  </a:lnTo>
                  <a:lnTo>
                    <a:pt x="450" y="813"/>
                  </a:lnTo>
                  <a:lnTo>
                    <a:pt x="425" y="806"/>
                  </a:lnTo>
                  <a:lnTo>
                    <a:pt x="401" y="801"/>
                  </a:lnTo>
                  <a:lnTo>
                    <a:pt x="375" y="797"/>
                  </a:lnTo>
                  <a:lnTo>
                    <a:pt x="375" y="746"/>
                  </a:lnTo>
                  <a:lnTo>
                    <a:pt x="392" y="744"/>
                  </a:lnTo>
                  <a:lnTo>
                    <a:pt x="409" y="741"/>
                  </a:lnTo>
                  <a:lnTo>
                    <a:pt x="426" y="738"/>
                  </a:lnTo>
                  <a:lnTo>
                    <a:pt x="443" y="733"/>
                  </a:lnTo>
                  <a:lnTo>
                    <a:pt x="461" y="728"/>
                  </a:lnTo>
                  <a:lnTo>
                    <a:pt x="477" y="723"/>
                  </a:lnTo>
                  <a:lnTo>
                    <a:pt x="493" y="716"/>
                  </a:lnTo>
                  <a:lnTo>
                    <a:pt x="509" y="709"/>
                  </a:lnTo>
                  <a:lnTo>
                    <a:pt x="525" y="701"/>
                  </a:lnTo>
                  <a:lnTo>
                    <a:pt x="541" y="693"/>
                  </a:lnTo>
                  <a:lnTo>
                    <a:pt x="556" y="683"/>
                  </a:lnTo>
                  <a:lnTo>
                    <a:pt x="571" y="674"/>
                  </a:lnTo>
                  <a:lnTo>
                    <a:pt x="586" y="663"/>
                  </a:lnTo>
                  <a:lnTo>
                    <a:pt x="600" y="651"/>
                  </a:lnTo>
                  <a:lnTo>
                    <a:pt x="614" y="639"/>
                  </a:lnTo>
                  <a:lnTo>
                    <a:pt x="626" y="6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15" name="Group 160">
              <a:extLst>
                <a:ext uri="{FF2B5EF4-FFF2-40B4-BE49-F238E27FC236}">
                  <a16:creationId xmlns:a16="http://schemas.microsoft.com/office/drawing/2014/main" id="{2BEEC914-6B57-4268-AD8D-4E3B883BBAE6}"/>
                </a:ext>
              </a:extLst>
            </p:cNvPr>
            <p:cNvGrpSpPr>
              <a:grpSpLocks noChangeAspect="1"/>
            </p:cNvGrpSpPr>
            <p:nvPr/>
          </p:nvGrpSpPr>
          <p:grpSpPr>
            <a:xfrm>
              <a:off x="1294479" y="4484754"/>
              <a:ext cx="240000" cy="240000"/>
              <a:chOff x="5297488" y="2084388"/>
              <a:chExt cx="371475" cy="371475"/>
            </a:xfrm>
            <a:grpFill/>
            <a:effectLst/>
          </p:grpSpPr>
          <p:sp>
            <p:nvSpPr>
              <p:cNvPr id="2016" name="Freeform 74">
                <a:extLst>
                  <a:ext uri="{FF2B5EF4-FFF2-40B4-BE49-F238E27FC236}">
                    <a16:creationId xmlns:a16="http://schemas.microsoft.com/office/drawing/2014/main" id="{27702C0E-38B2-46A8-8D18-99229CBA9769}"/>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7" name="Freeform 75">
                <a:extLst>
                  <a:ext uri="{FF2B5EF4-FFF2-40B4-BE49-F238E27FC236}">
                    <a16:creationId xmlns:a16="http://schemas.microsoft.com/office/drawing/2014/main" id="{1C08A65A-1D26-4305-8D4B-1F9889491B66}"/>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8" name="Freeform 76">
                <a:extLst>
                  <a:ext uri="{FF2B5EF4-FFF2-40B4-BE49-F238E27FC236}">
                    <a16:creationId xmlns:a16="http://schemas.microsoft.com/office/drawing/2014/main" id="{026E8EAE-6F58-45C0-9B84-5CB707DB44EE}"/>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9" name="Rectangle 77">
                <a:extLst>
                  <a:ext uri="{FF2B5EF4-FFF2-40B4-BE49-F238E27FC236}">
                    <a16:creationId xmlns:a16="http://schemas.microsoft.com/office/drawing/2014/main" id="{44A0AB57-5E1B-4780-9C09-857B837E5C08}"/>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20" name="Rectangle 78">
                <a:extLst>
                  <a:ext uri="{FF2B5EF4-FFF2-40B4-BE49-F238E27FC236}">
                    <a16:creationId xmlns:a16="http://schemas.microsoft.com/office/drawing/2014/main" id="{0BE1335E-920A-4299-8F3A-009F871798A2}"/>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21" name="Rectangle 79">
                <a:extLst>
                  <a:ext uri="{FF2B5EF4-FFF2-40B4-BE49-F238E27FC236}">
                    <a16:creationId xmlns:a16="http://schemas.microsoft.com/office/drawing/2014/main" id="{874077E0-B150-40A6-87D1-DFEF9ECD8AA8}"/>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sp>
        <p:nvSpPr>
          <p:cNvPr id="15" name="Foliennummernplatzhalter 14">
            <a:extLst>
              <a:ext uri="{FF2B5EF4-FFF2-40B4-BE49-F238E27FC236}">
                <a16:creationId xmlns:a16="http://schemas.microsoft.com/office/drawing/2014/main" id="{CB9D6C0A-F6A6-4B99-9CFE-44CA3D17B5D1}"/>
              </a:ext>
            </a:extLst>
          </p:cNvPr>
          <p:cNvSpPr>
            <a:spLocks noGrp="1"/>
          </p:cNvSpPr>
          <p:nvPr>
            <p:ph type="sldNum" sz="quarter" idx="4"/>
          </p:nvPr>
        </p:nvSpPr>
        <p:spPr/>
        <p:txBody>
          <a:bodyPr/>
          <a:lstStyle/>
          <a:p>
            <a:fld id="{60F8E2DC-8382-49B6-A2A6-01CCC12CBD17}" type="slidenum">
              <a:rPr lang="de-DE" smtClean="0"/>
              <a:pPr/>
              <a:t>33</a:t>
            </a:fld>
            <a:endParaRPr lang="de-DE" dirty="0"/>
          </a:p>
        </p:txBody>
      </p:sp>
    </p:spTree>
    <p:extLst>
      <p:ext uri="{BB962C8B-B14F-4D97-AF65-F5344CB8AC3E}">
        <p14:creationId xmlns:p14="http://schemas.microsoft.com/office/powerpoint/2010/main" val="34628379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Farben der Icons änderbar über „Füllbereich“</a:t>
            </a:r>
          </a:p>
        </p:txBody>
      </p:sp>
      <p:sp>
        <p:nvSpPr>
          <p:cNvPr id="179" name="Textplatzhalter 178"/>
          <p:cNvSpPr>
            <a:spLocks noGrp="1"/>
          </p:cNvSpPr>
          <p:nvPr>
            <p:ph type="body" sz="quarter" idx="13"/>
          </p:nvPr>
        </p:nvSpPr>
        <p:spPr/>
        <p:txBody>
          <a:bodyPr/>
          <a:lstStyle/>
          <a:p>
            <a:endParaRPr lang="de-DE"/>
          </a:p>
        </p:txBody>
      </p:sp>
      <p:sp>
        <p:nvSpPr>
          <p:cNvPr id="180" name="Textplatzhalter 179"/>
          <p:cNvSpPr>
            <a:spLocks noGrp="1"/>
          </p:cNvSpPr>
          <p:nvPr>
            <p:ph type="body" sz="quarter" idx="14"/>
          </p:nvPr>
        </p:nvSpPr>
        <p:spPr/>
        <p:txBody>
          <a:bodyPr/>
          <a:lstStyle/>
          <a:p>
            <a:pPr>
              <a:spcAft>
                <a:spcPts val="0"/>
              </a:spcAft>
            </a:pPr>
            <a:endParaRPr lang="de-DE"/>
          </a:p>
        </p:txBody>
      </p:sp>
      <p:sp>
        <p:nvSpPr>
          <p:cNvPr id="3" name="Foliennummernplatzhalter 2"/>
          <p:cNvSpPr>
            <a:spLocks noGrp="1"/>
          </p:cNvSpPr>
          <p:nvPr>
            <p:ph type="sldNum" sz="quarter" idx="4"/>
          </p:nvPr>
        </p:nvSpPr>
        <p:spPr>
          <a:xfrm>
            <a:off x="928939" y="6621990"/>
            <a:ext cx="209993" cy="153888"/>
          </a:xfrm>
        </p:spPr>
        <p:txBody>
          <a:bodyPr/>
          <a:lstStyle/>
          <a:p>
            <a:fld id="{70DB0CEF-E182-42EF-B1DF-BA42708E991C}" type="slidenum">
              <a:rPr lang="de-DE" noProof="0" smtClean="0"/>
              <a:pPr/>
              <a:t>34</a:t>
            </a:fld>
            <a:endParaRPr lang="de-DE" noProof="0" dirty="0"/>
          </a:p>
        </p:txBody>
      </p:sp>
      <p:sp>
        <p:nvSpPr>
          <p:cNvPr id="181" name="Datumsplatzhalter 180"/>
          <p:cNvSpPr>
            <a:spLocks noGrp="1"/>
          </p:cNvSpPr>
          <p:nvPr>
            <p:ph type="dt" sz="half" idx="2"/>
          </p:nvPr>
        </p:nvSpPr>
        <p:spPr/>
        <p:txBody>
          <a:bodyPr/>
          <a:lstStyle/>
          <a:p>
            <a:fld id="{B3E88A1C-199F-41F0-99B3-9EAC732EBB38}" type="datetime1">
              <a:rPr lang="de-DE" smtClean="0"/>
              <a:t>04.05.2020</a:t>
            </a:fld>
            <a:endParaRPr lang="de-DE" dirty="0"/>
          </a:p>
        </p:txBody>
      </p:sp>
      <p:grpSp>
        <p:nvGrpSpPr>
          <p:cNvPr id="267" name="Group 45">
            <a:extLst>
              <a:ext uri="{FF2B5EF4-FFF2-40B4-BE49-F238E27FC236}">
                <a16:creationId xmlns:a16="http://schemas.microsoft.com/office/drawing/2014/main" id="{01150795-2720-4297-961D-85FAF4B968A9}"/>
              </a:ext>
            </a:extLst>
          </p:cNvPr>
          <p:cNvGrpSpPr>
            <a:grpSpLocks noChangeAspect="1"/>
          </p:cNvGrpSpPr>
          <p:nvPr/>
        </p:nvGrpSpPr>
        <p:grpSpPr>
          <a:xfrm>
            <a:off x="271917" y="5944848"/>
            <a:ext cx="308144" cy="308144"/>
            <a:chOff x="8736013" y="1925638"/>
            <a:chExt cx="287338" cy="287338"/>
          </a:xfrm>
          <a:solidFill>
            <a:schemeClr val="bg2"/>
          </a:solidFill>
          <a:effectLst/>
        </p:grpSpPr>
        <p:sp>
          <p:nvSpPr>
            <p:cNvPr id="268" name="Freeform 97">
              <a:extLst>
                <a:ext uri="{FF2B5EF4-FFF2-40B4-BE49-F238E27FC236}">
                  <a16:creationId xmlns:a16="http://schemas.microsoft.com/office/drawing/2014/main" id="{201FF6B2-CCA9-4EA8-96C9-C7D309A534DB}"/>
                </a:ext>
              </a:extLst>
            </p:cNvPr>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98">
              <a:extLst>
                <a:ext uri="{FF2B5EF4-FFF2-40B4-BE49-F238E27FC236}">
                  <a16:creationId xmlns:a16="http://schemas.microsoft.com/office/drawing/2014/main" id="{F5E0A258-E7DB-4FBD-B38A-4A007E5C6874}"/>
                </a:ext>
              </a:extLst>
            </p:cNvPr>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0" name="Freeform 31">
            <a:extLst>
              <a:ext uri="{FF2B5EF4-FFF2-40B4-BE49-F238E27FC236}">
                <a16:creationId xmlns:a16="http://schemas.microsoft.com/office/drawing/2014/main" id="{8A18276F-44FA-4C1A-B2AC-293B48480AA6}"/>
              </a:ext>
            </a:extLst>
          </p:cNvPr>
          <p:cNvSpPr>
            <a:spLocks noChangeAspect="1" noEditPoints="1"/>
          </p:cNvSpPr>
          <p:nvPr/>
        </p:nvSpPr>
        <p:spPr bwMode="auto">
          <a:xfrm>
            <a:off x="288135" y="2724897"/>
            <a:ext cx="275708" cy="275708"/>
          </a:xfrm>
          <a:custGeom>
            <a:avLst/>
            <a:gdLst>
              <a:gd name="T0" fmla="*/ 38 w 903"/>
              <a:gd name="T1" fmla="*/ 290 h 903"/>
              <a:gd name="T2" fmla="*/ 62 w 903"/>
              <a:gd name="T3" fmla="*/ 215 h 903"/>
              <a:gd name="T4" fmla="*/ 105 w 903"/>
              <a:gd name="T5" fmla="*/ 149 h 903"/>
              <a:gd name="T6" fmla="*/ 162 w 903"/>
              <a:gd name="T7" fmla="*/ 95 h 903"/>
              <a:gd name="T8" fmla="*/ 230 w 903"/>
              <a:gd name="T9" fmla="*/ 56 h 903"/>
              <a:gd name="T10" fmla="*/ 307 w 903"/>
              <a:gd name="T11" fmla="*/ 34 h 903"/>
              <a:gd name="T12" fmla="*/ 390 w 903"/>
              <a:gd name="T13" fmla="*/ 32 h 903"/>
              <a:gd name="T14" fmla="*/ 469 w 903"/>
              <a:gd name="T15" fmla="*/ 50 h 903"/>
              <a:gd name="T16" fmla="*/ 539 w 903"/>
              <a:gd name="T17" fmla="*/ 86 h 903"/>
              <a:gd name="T18" fmla="*/ 598 w 903"/>
              <a:gd name="T19" fmla="*/ 137 h 903"/>
              <a:gd name="T20" fmla="*/ 643 w 903"/>
              <a:gd name="T21" fmla="*/ 201 h 903"/>
              <a:gd name="T22" fmla="*/ 672 w 903"/>
              <a:gd name="T23" fmla="*/ 275 h 903"/>
              <a:gd name="T24" fmla="*/ 683 w 903"/>
              <a:gd name="T25" fmla="*/ 357 h 903"/>
              <a:gd name="T26" fmla="*/ 672 w 903"/>
              <a:gd name="T27" fmla="*/ 438 h 903"/>
              <a:gd name="T28" fmla="*/ 643 w 903"/>
              <a:gd name="T29" fmla="*/ 512 h 903"/>
              <a:gd name="T30" fmla="*/ 598 w 903"/>
              <a:gd name="T31" fmla="*/ 576 h 903"/>
              <a:gd name="T32" fmla="*/ 539 w 903"/>
              <a:gd name="T33" fmla="*/ 627 h 903"/>
              <a:gd name="T34" fmla="*/ 469 w 903"/>
              <a:gd name="T35" fmla="*/ 663 h 903"/>
              <a:gd name="T36" fmla="*/ 390 w 903"/>
              <a:gd name="T37" fmla="*/ 681 h 903"/>
              <a:gd name="T38" fmla="*/ 307 w 903"/>
              <a:gd name="T39" fmla="*/ 680 h 903"/>
              <a:gd name="T40" fmla="*/ 230 w 903"/>
              <a:gd name="T41" fmla="*/ 657 h 903"/>
              <a:gd name="T42" fmla="*/ 162 w 903"/>
              <a:gd name="T43" fmla="*/ 618 h 903"/>
              <a:gd name="T44" fmla="*/ 105 w 903"/>
              <a:gd name="T45" fmla="*/ 564 h 903"/>
              <a:gd name="T46" fmla="*/ 62 w 903"/>
              <a:gd name="T47" fmla="*/ 498 h 903"/>
              <a:gd name="T48" fmla="*/ 38 w 903"/>
              <a:gd name="T49" fmla="*/ 422 h 903"/>
              <a:gd name="T50" fmla="*/ 899 w 903"/>
              <a:gd name="T51" fmla="*/ 877 h 903"/>
              <a:gd name="T52" fmla="*/ 659 w 903"/>
              <a:gd name="T53" fmla="*/ 547 h 903"/>
              <a:gd name="T54" fmla="*/ 694 w 903"/>
              <a:gd name="T55" fmla="*/ 473 h 903"/>
              <a:gd name="T56" fmla="*/ 711 w 903"/>
              <a:gd name="T57" fmla="*/ 391 h 903"/>
              <a:gd name="T58" fmla="*/ 709 w 903"/>
              <a:gd name="T59" fmla="*/ 302 h 903"/>
              <a:gd name="T60" fmla="*/ 685 w 903"/>
              <a:gd name="T61" fmla="*/ 217 h 903"/>
              <a:gd name="T62" fmla="*/ 642 w 903"/>
              <a:gd name="T63" fmla="*/ 144 h 903"/>
              <a:gd name="T64" fmla="*/ 583 w 903"/>
              <a:gd name="T65" fmla="*/ 81 h 903"/>
              <a:gd name="T66" fmla="*/ 512 w 903"/>
              <a:gd name="T67" fmla="*/ 35 h 903"/>
              <a:gd name="T68" fmla="*/ 429 w 903"/>
              <a:gd name="T69" fmla="*/ 7 h 903"/>
              <a:gd name="T70" fmla="*/ 339 w 903"/>
              <a:gd name="T71" fmla="*/ 1 h 903"/>
              <a:gd name="T72" fmla="*/ 251 w 903"/>
              <a:gd name="T73" fmla="*/ 16 h 903"/>
              <a:gd name="T74" fmla="*/ 172 w 903"/>
              <a:gd name="T75" fmla="*/ 52 h 903"/>
              <a:gd name="T76" fmla="*/ 105 w 903"/>
              <a:gd name="T77" fmla="*/ 105 h 903"/>
              <a:gd name="T78" fmla="*/ 52 w 903"/>
              <a:gd name="T79" fmla="*/ 171 h 903"/>
              <a:gd name="T80" fmla="*/ 16 w 903"/>
              <a:gd name="T81" fmla="*/ 251 h 903"/>
              <a:gd name="T82" fmla="*/ 1 w 903"/>
              <a:gd name="T83" fmla="*/ 339 h 903"/>
              <a:gd name="T84" fmla="*/ 8 w 903"/>
              <a:gd name="T85" fmla="*/ 429 h 903"/>
              <a:gd name="T86" fmla="*/ 36 w 903"/>
              <a:gd name="T87" fmla="*/ 511 h 903"/>
              <a:gd name="T88" fmla="*/ 82 w 903"/>
              <a:gd name="T89" fmla="*/ 583 h 903"/>
              <a:gd name="T90" fmla="*/ 144 w 903"/>
              <a:gd name="T91" fmla="*/ 642 h 903"/>
              <a:gd name="T92" fmla="*/ 218 w 903"/>
              <a:gd name="T93" fmla="*/ 685 h 903"/>
              <a:gd name="T94" fmla="*/ 303 w 903"/>
              <a:gd name="T95" fmla="*/ 709 h 903"/>
              <a:gd name="T96" fmla="*/ 392 w 903"/>
              <a:gd name="T97" fmla="*/ 712 h 903"/>
              <a:gd name="T98" fmla="*/ 473 w 903"/>
              <a:gd name="T99" fmla="*/ 693 h 903"/>
              <a:gd name="T100" fmla="*/ 547 w 903"/>
              <a:gd name="T101" fmla="*/ 658 h 903"/>
              <a:gd name="T102" fmla="*/ 877 w 903"/>
              <a:gd name="T103" fmla="*/ 898 h 903"/>
              <a:gd name="T104" fmla="*/ 891 w 903"/>
              <a:gd name="T105" fmla="*/ 903 h 903"/>
              <a:gd name="T106" fmla="*/ 902 w 903"/>
              <a:gd name="T107" fmla="*/ 893 h 903"/>
              <a:gd name="T108" fmla="*/ 901 w 903"/>
              <a:gd name="T109" fmla="*/ 879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3" h="903">
                <a:moveTo>
                  <a:pt x="30" y="357"/>
                </a:moveTo>
                <a:lnTo>
                  <a:pt x="31" y="340"/>
                </a:lnTo>
                <a:lnTo>
                  <a:pt x="32" y="324"/>
                </a:lnTo>
                <a:lnTo>
                  <a:pt x="34" y="306"/>
                </a:lnTo>
                <a:lnTo>
                  <a:pt x="38" y="290"/>
                </a:lnTo>
                <a:lnTo>
                  <a:pt x="41" y="275"/>
                </a:lnTo>
                <a:lnTo>
                  <a:pt x="45" y="259"/>
                </a:lnTo>
                <a:lnTo>
                  <a:pt x="51" y="244"/>
                </a:lnTo>
                <a:lnTo>
                  <a:pt x="56" y="229"/>
                </a:lnTo>
                <a:lnTo>
                  <a:pt x="62" y="215"/>
                </a:lnTo>
                <a:lnTo>
                  <a:pt x="70" y="201"/>
                </a:lnTo>
                <a:lnTo>
                  <a:pt x="77" y="187"/>
                </a:lnTo>
                <a:lnTo>
                  <a:pt x="86" y="175"/>
                </a:lnTo>
                <a:lnTo>
                  <a:pt x="96" y="162"/>
                </a:lnTo>
                <a:lnTo>
                  <a:pt x="105" y="149"/>
                </a:lnTo>
                <a:lnTo>
                  <a:pt x="115" y="137"/>
                </a:lnTo>
                <a:lnTo>
                  <a:pt x="127" y="126"/>
                </a:lnTo>
                <a:lnTo>
                  <a:pt x="137" y="116"/>
                </a:lnTo>
                <a:lnTo>
                  <a:pt x="149" y="105"/>
                </a:lnTo>
                <a:lnTo>
                  <a:pt x="162" y="95"/>
                </a:lnTo>
                <a:lnTo>
                  <a:pt x="175" y="86"/>
                </a:lnTo>
                <a:lnTo>
                  <a:pt x="188" y="78"/>
                </a:lnTo>
                <a:lnTo>
                  <a:pt x="202" y="70"/>
                </a:lnTo>
                <a:lnTo>
                  <a:pt x="216" y="62"/>
                </a:lnTo>
                <a:lnTo>
                  <a:pt x="230" y="56"/>
                </a:lnTo>
                <a:lnTo>
                  <a:pt x="245" y="50"/>
                </a:lnTo>
                <a:lnTo>
                  <a:pt x="260" y="45"/>
                </a:lnTo>
                <a:lnTo>
                  <a:pt x="276" y="41"/>
                </a:lnTo>
                <a:lnTo>
                  <a:pt x="291" y="37"/>
                </a:lnTo>
                <a:lnTo>
                  <a:pt x="307" y="34"/>
                </a:lnTo>
                <a:lnTo>
                  <a:pt x="324" y="32"/>
                </a:lnTo>
                <a:lnTo>
                  <a:pt x="340" y="31"/>
                </a:lnTo>
                <a:lnTo>
                  <a:pt x="357" y="30"/>
                </a:lnTo>
                <a:lnTo>
                  <a:pt x="373" y="31"/>
                </a:lnTo>
                <a:lnTo>
                  <a:pt x="390" y="32"/>
                </a:lnTo>
                <a:lnTo>
                  <a:pt x="407" y="34"/>
                </a:lnTo>
                <a:lnTo>
                  <a:pt x="423" y="37"/>
                </a:lnTo>
                <a:lnTo>
                  <a:pt x="439" y="41"/>
                </a:lnTo>
                <a:lnTo>
                  <a:pt x="454" y="45"/>
                </a:lnTo>
                <a:lnTo>
                  <a:pt x="469" y="50"/>
                </a:lnTo>
                <a:lnTo>
                  <a:pt x="484" y="56"/>
                </a:lnTo>
                <a:lnTo>
                  <a:pt x="498" y="62"/>
                </a:lnTo>
                <a:lnTo>
                  <a:pt x="513" y="70"/>
                </a:lnTo>
                <a:lnTo>
                  <a:pt x="526" y="78"/>
                </a:lnTo>
                <a:lnTo>
                  <a:pt x="539" y="86"/>
                </a:lnTo>
                <a:lnTo>
                  <a:pt x="552" y="95"/>
                </a:lnTo>
                <a:lnTo>
                  <a:pt x="564" y="105"/>
                </a:lnTo>
                <a:lnTo>
                  <a:pt x="576" y="116"/>
                </a:lnTo>
                <a:lnTo>
                  <a:pt x="588" y="126"/>
                </a:lnTo>
                <a:lnTo>
                  <a:pt x="598" y="137"/>
                </a:lnTo>
                <a:lnTo>
                  <a:pt x="608" y="149"/>
                </a:lnTo>
                <a:lnTo>
                  <a:pt x="618" y="162"/>
                </a:lnTo>
                <a:lnTo>
                  <a:pt x="627" y="175"/>
                </a:lnTo>
                <a:lnTo>
                  <a:pt x="636" y="187"/>
                </a:lnTo>
                <a:lnTo>
                  <a:pt x="643" y="201"/>
                </a:lnTo>
                <a:lnTo>
                  <a:pt x="651" y="215"/>
                </a:lnTo>
                <a:lnTo>
                  <a:pt x="657" y="229"/>
                </a:lnTo>
                <a:lnTo>
                  <a:pt x="663" y="244"/>
                </a:lnTo>
                <a:lnTo>
                  <a:pt x="668" y="259"/>
                </a:lnTo>
                <a:lnTo>
                  <a:pt x="672" y="275"/>
                </a:lnTo>
                <a:lnTo>
                  <a:pt x="677" y="290"/>
                </a:lnTo>
                <a:lnTo>
                  <a:pt x="679" y="306"/>
                </a:lnTo>
                <a:lnTo>
                  <a:pt x="681" y="324"/>
                </a:lnTo>
                <a:lnTo>
                  <a:pt x="683" y="340"/>
                </a:lnTo>
                <a:lnTo>
                  <a:pt x="683" y="357"/>
                </a:lnTo>
                <a:lnTo>
                  <a:pt x="683" y="373"/>
                </a:lnTo>
                <a:lnTo>
                  <a:pt x="681" y="390"/>
                </a:lnTo>
                <a:lnTo>
                  <a:pt x="679" y="406"/>
                </a:lnTo>
                <a:lnTo>
                  <a:pt x="677" y="422"/>
                </a:lnTo>
                <a:lnTo>
                  <a:pt x="672" y="438"/>
                </a:lnTo>
                <a:lnTo>
                  <a:pt x="668" y="453"/>
                </a:lnTo>
                <a:lnTo>
                  <a:pt x="663" y="468"/>
                </a:lnTo>
                <a:lnTo>
                  <a:pt x="657" y="483"/>
                </a:lnTo>
                <a:lnTo>
                  <a:pt x="651" y="498"/>
                </a:lnTo>
                <a:lnTo>
                  <a:pt x="643" y="512"/>
                </a:lnTo>
                <a:lnTo>
                  <a:pt x="636" y="525"/>
                </a:lnTo>
                <a:lnTo>
                  <a:pt x="627" y="539"/>
                </a:lnTo>
                <a:lnTo>
                  <a:pt x="618" y="552"/>
                </a:lnTo>
                <a:lnTo>
                  <a:pt x="608" y="564"/>
                </a:lnTo>
                <a:lnTo>
                  <a:pt x="598" y="576"/>
                </a:lnTo>
                <a:lnTo>
                  <a:pt x="588" y="587"/>
                </a:lnTo>
                <a:lnTo>
                  <a:pt x="576" y="598"/>
                </a:lnTo>
                <a:lnTo>
                  <a:pt x="564" y="608"/>
                </a:lnTo>
                <a:lnTo>
                  <a:pt x="552" y="618"/>
                </a:lnTo>
                <a:lnTo>
                  <a:pt x="539" y="627"/>
                </a:lnTo>
                <a:lnTo>
                  <a:pt x="526" y="636"/>
                </a:lnTo>
                <a:lnTo>
                  <a:pt x="513" y="643"/>
                </a:lnTo>
                <a:lnTo>
                  <a:pt x="498" y="651"/>
                </a:lnTo>
                <a:lnTo>
                  <a:pt x="484" y="657"/>
                </a:lnTo>
                <a:lnTo>
                  <a:pt x="469" y="663"/>
                </a:lnTo>
                <a:lnTo>
                  <a:pt x="454" y="668"/>
                </a:lnTo>
                <a:lnTo>
                  <a:pt x="439" y="672"/>
                </a:lnTo>
                <a:lnTo>
                  <a:pt x="423" y="676"/>
                </a:lnTo>
                <a:lnTo>
                  <a:pt x="407" y="680"/>
                </a:lnTo>
                <a:lnTo>
                  <a:pt x="390" y="681"/>
                </a:lnTo>
                <a:lnTo>
                  <a:pt x="373" y="683"/>
                </a:lnTo>
                <a:lnTo>
                  <a:pt x="357" y="683"/>
                </a:lnTo>
                <a:lnTo>
                  <a:pt x="340" y="683"/>
                </a:lnTo>
                <a:lnTo>
                  <a:pt x="324" y="681"/>
                </a:lnTo>
                <a:lnTo>
                  <a:pt x="307" y="680"/>
                </a:lnTo>
                <a:lnTo>
                  <a:pt x="291" y="676"/>
                </a:lnTo>
                <a:lnTo>
                  <a:pt x="276" y="672"/>
                </a:lnTo>
                <a:lnTo>
                  <a:pt x="260" y="668"/>
                </a:lnTo>
                <a:lnTo>
                  <a:pt x="245" y="663"/>
                </a:lnTo>
                <a:lnTo>
                  <a:pt x="230" y="657"/>
                </a:lnTo>
                <a:lnTo>
                  <a:pt x="216" y="651"/>
                </a:lnTo>
                <a:lnTo>
                  <a:pt x="202" y="643"/>
                </a:lnTo>
                <a:lnTo>
                  <a:pt x="188" y="636"/>
                </a:lnTo>
                <a:lnTo>
                  <a:pt x="175" y="627"/>
                </a:lnTo>
                <a:lnTo>
                  <a:pt x="162" y="618"/>
                </a:lnTo>
                <a:lnTo>
                  <a:pt x="149" y="608"/>
                </a:lnTo>
                <a:lnTo>
                  <a:pt x="137" y="598"/>
                </a:lnTo>
                <a:lnTo>
                  <a:pt x="127" y="587"/>
                </a:lnTo>
                <a:lnTo>
                  <a:pt x="115" y="576"/>
                </a:lnTo>
                <a:lnTo>
                  <a:pt x="105" y="564"/>
                </a:lnTo>
                <a:lnTo>
                  <a:pt x="96" y="552"/>
                </a:lnTo>
                <a:lnTo>
                  <a:pt x="86" y="539"/>
                </a:lnTo>
                <a:lnTo>
                  <a:pt x="77" y="525"/>
                </a:lnTo>
                <a:lnTo>
                  <a:pt x="70" y="512"/>
                </a:lnTo>
                <a:lnTo>
                  <a:pt x="62" y="498"/>
                </a:lnTo>
                <a:lnTo>
                  <a:pt x="56" y="483"/>
                </a:lnTo>
                <a:lnTo>
                  <a:pt x="51" y="468"/>
                </a:lnTo>
                <a:lnTo>
                  <a:pt x="45" y="453"/>
                </a:lnTo>
                <a:lnTo>
                  <a:pt x="41" y="438"/>
                </a:lnTo>
                <a:lnTo>
                  <a:pt x="38" y="422"/>
                </a:lnTo>
                <a:lnTo>
                  <a:pt x="34" y="406"/>
                </a:lnTo>
                <a:lnTo>
                  <a:pt x="32" y="390"/>
                </a:lnTo>
                <a:lnTo>
                  <a:pt x="31" y="373"/>
                </a:lnTo>
                <a:lnTo>
                  <a:pt x="30" y="357"/>
                </a:lnTo>
                <a:close/>
                <a:moveTo>
                  <a:pt x="899" y="877"/>
                </a:moveTo>
                <a:lnTo>
                  <a:pt x="619" y="597"/>
                </a:lnTo>
                <a:lnTo>
                  <a:pt x="630" y="585"/>
                </a:lnTo>
                <a:lnTo>
                  <a:pt x="640" y="572"/>
                </a:lnTo>
                <a:lnTo>
                  <a:pt x="650" y="559"/>
                </a:lnTo>
                <a:lnTo>
                  <a:pt x="659" y="547"/>
                </a:lnTo>
                <a:lnTo>
                  <a:pt x="667" y="533"/>
                </a:lnTo>
                <a:lnTo>
                  <a:pt x="675" y="518"/>
                </a:lnTo>
                <a:lnTo>
                  <a:pt x="682" y="503"/>
                </a:lnTo>
                <a:lnTo>
                  <a:pt x="689" y="488"/>
                </a:lnTo>
                <a:lnTo>
                  <a:pt x="694" y="473"/>
                </a:lnTo>
                <a:lnTo>
                  <a:pt x="699" y="457"/>
                </a:lnTo>
                <a:lnTo>
                  <a:pt x="704" y="440"/>
                </a:lnTo>
                <a:lnTo>
                  <a:pt x="707" y="424"/>
                </a:lnTo>
                <a:lnTo>
                  <a:pt x="710" y="408"/>
                </a:lnTo>
                <a:lnTo>
                  <a:pt x="711" y="391"/>
                </a:lnTo>
                <a:lnTo>
                  <a:pt x="713" y="374"/>
                </a:lnTo>
                <a:lnTo>
                  <a:pt x="713" y="357"/>
                </a:lnTo>
                <a:lnTo>
                  <a:pt x="713" y="339"/>
                </a:lnTo>
                <a:lnTo>
                  <a:pt x="711" y="320"/>
                </a:lnTo>
                <a:lnTo>
                  <a:pt x="709" y="302"/>
                </a:lnTo>
                <a:lnTo>
                  <a:pt x="706" y="285"/>
                </a:lnTo>
                <a:lnTo>
                  <a:pt x="702" y="268"/>
                </a:lnTo>
                <a:lnTo>
                  <a:pt x="697" y="251"/>
                </a:lnTo>
                <a:lnTo>
                  <a:pt x="692" y="235"/>
                </a:lnTo>
                <a:lnTo>
                  <a:pt x="685" y="217"/>
                </a:lnTo>
                <a:lnTo>
                  <a:pt x="678" y="202"/>
                </a:lnTo>
                <a:lnTo>
                  <a:pt x="670" y="186"/>
                </a:lnTo>
                <a:lnTo>
                  <a:pt x="662" y="171"/>
                </a:lnTo>
                <a:lnTo>
                  <a:pt x="652" y="157"/>
                </a:lnTo>
                <a:lnTo>
                  <a:pt x="642" y="144"/>
                </a:lnTo>
                <a:lnTo>
                  <a:pt x="632" y="130"/>
                </a:lnTo>
                <a:lnTo>
                  <a:pt x="621" y="117"/>
                </a:lnTo>
                <a:lnTo>
                  <a:pt x="609" y="105"/>
                </a:lnTo>
                <a:lnTo>
                  <a:pt x="596" y="93"/>
                </a:lnTo>
                <a:lnTo>
                  <a:pt x="583" y="81"/>
                </a:lnTo>
                <a:lnTo>
                  <a:pt x="570" y="71"/>
                </a:lnTo>
                <a:lnTo>
                  <a:pt x="556" y="61"/>
                </a:lnTo>
                <a:lnTo>
                  <a:pt x="542" y="52"/>
                </a:lnTo>
                <a:lnTo>
                  <a:pt x="527" y="44"/>
                </a:lnTo>
                <a:lnTo>
                  <a:pt x="512" y="35"/>
                </a:lnTo>
                <a:lnTo>
                  <a:pt x="496" y="29"/>
                </a:lnTo>
                <a:lnTo>
                  <a:pt x="479" y="22"/>
                </a:lnTo>
                <a:lnTo>
                  <a:pt x="462" y="16"/>
                </a:lnTo>
                <a:lnTo>
                  <a:pt x="446" y="12"/>
                </a:lnTo>
                <a:lnTo>
                  <a:pt x="429" y="7"/>
                </a:lnTo>
                <a:lnTo>
                  <a:pt x="411" y="4"/>
                </a:lnTo>
                <a:lnTo>
                  <a:pt x="394" y="2"/>
                </a:lnTo>
                <a:lnTo>
                  <a:pt x="375" y="1"/>
                </a:lnTo>
                <a:lnTo>
                  <a:pt x="357" y="0"/>
                </a:lnTo>
                <a:lnTo>
                  <a:pt x="339" y="1"/>
                </a:lnTo>
                <a:lnTo>
                  <a:pt x="321" y="2"/>
                </a:lnTo>
                <a:lnTo>
                  <a:pt x="303" y="4"/>
                </a:lnTo>
                <a:lnTo>
                  <a:pt x="285" y="7"/>
                </a:lnTo>
                <a:lnTo>
                  <a:pt x="268" y="12"/>
                </a:lnTo>
                <a:lnTo>
                  <a:pt x="251" y="16"/>
                </a:lnTo>
                <a:lnTo>
                  <a:pt x="234" y="22"/>
                </a:lnTo>
                <a:lnTo>
                  <a:pt x="218" y="28"/>
                </a:lnTo>
                <a:lnTo>
                  <a:pt x="203" y="35"/>
                </a:lnTo>
                <a:lnTo>
                  <a:pt x="187" y="44"/>
                </a:lnTo>
                <a:lnTo>
                  <a:pt x="172" y="52"/>
                </a:lnTo>
                <a:lnTo>
                  <a:pt x="158" y="61"/>
                </a:lnTo>
                <a:lnTo>
                  <a:pt x="144" y="71"/>
                </a:lnTo>
                <a:lnTo>
                  <a:pt x="130" y="81"/>
                </a:lnTo>
                <a:lnTo>
                  <a:pt x="117" y="93"/>
                </a:lnTo>
                <a:lnTo>
                  <a:pt x="105" y="105"/>
                </a:lnTo>
                <a:lnTo>
                  <a:pt x="93" y="117"/>
                </a:lnTo>
                <a:lnTo>
                  <a:pt x="82" y="130"/>
                </a:lnTo>
                <a:lnTo>
                  <a:pt x="71" y="144"/>
                </a:lnTo>
                <a:lnTo>
                  <a:pt x="61" y="157"/>
                </a:lnTo>
                <a:lnTo>
                  <a:pt x="52" y="171"/>
                </a:lnTo>
                <a:lnTo>
                  <a:pt x="43" y="186"/>
                </a:lnTo>
                <a:lnTo>
                  <a:pt x="36" y="202"/>
                </a:lnTo>
                <a:lnTo>
                  <a:pt x="28" y="217"/>
                </a:lnTo>
                <a:lnTo>
                  <a:pt x="22" y="235"/>
                </a:lnTo>
                <a:lnTo>
                  <a:pt x="16" y="251"/>
                </a:lnTo>
                <a:lnTo>
                  <a:pt x="12" y="268"/>
                </a:lnTo>
                <a:lnTo>
                  <a:pt x="8" y="285"/>
                </a:lnTo>
                <a:lnTo>
                  <a:pt x="4" y="302"/>
                </a:lnTo>
                <a:lnTo>
                  <a:pt x="2" y="320"/>
                </a:lnTo>
                <a:lnTo>
                  <a:pt x="1" y="339"/>
                </a:lnTo>
                <a:lnTo>
                  <a:pt x="0" y="357"/>
                </a:lnTo>
                <a:lnTo>
                  <a:pt x="1" y="375"/>
                </a:lnTo>
                <a:lnTo>
                  <a:pt x="2" y="393"/>
                </a:lnTo>
                <a:lnTo>
                  <a:pt x="4" y="410"/>
                </a:lnTo>
                <a:lnTo>
                  <a:pt x="8" y="429"/>
                </a:lnTo>
                <a:lnTo>
                  <a:pt x="12" y="446"/>
                </a:lnTo>
                <a:lnTo>
                  <a:pt x="16" y="462"/>
                </a:lnTo>
                <a:lnTo>
                  <a:pt x="22" y="479"/>
                </a:lnTo>
                <a:lnTo>
                  <a:pt x="28" y="495"/>
                </a:lnTo>
                <a:lnTo>
                  <a:pt x="36" y="511"/>
                </a:lnTo>
                <a:lnTo>
                  <a:pt x="43" y="526"/>
                </a:lnTo>
                <a:lnTo>
                  <a:pt x="52" y="541"/>
                </a:lnTo>
                <a:lnTo>
                  <a:pt x="61" y="555"/>
                </a:lnTo>
                <a:lnTo>
                  <a:pt x="71" y="569"/>
                </a:lnTo>
                <a:lnTo>
                  <a:pt x="82" y="583"/>
                </a:lnTo>
                <a:lnTo>
                  <a:pt x="93" y="596"/>
                </a:lnTo>
                <a:lnTo>
                  <a:pt x="105" y="609"/>
                </a:lnTo>
                <a:lnTo>
                  <a:pt x="117" y="621"/>
                </a:lnTo>
                <a:lnTo>
                  <a:pt x="130" y="631"/>
                </a:lnTo>
                <a:lnTo>
                  <a:pt x="144" y="642"/>
                </a:lnTo>
                <a:lnTo>
                  <a:pt x="158" y="652"/>
                </a:lnTo>
                <a:lnTo>
                  <a:pt x="172" y="661"/>
                </a:lnTo>
                <a:lnTo>
                  <a:pt x="187" y="670"/>
                </a:lnTo>
                <a:lnTo>
                  <a:pt x="203" y="677"/>
                </a:lnTo>
                <a:lnTo>
                  <a:pt x="218" y="685"/>
                </a:lnTo>
                <a:lnTo>
                  <a:pt x="234" y="691"/>
                </a:lnTo>
                <a:lnTo>
                  <a:pt x="251" y="697"/>
                </a:lnTo>
                <a:lnTo>
                  <a:pt x="268" y="702"/>
                </a:lnTo>
                <a:lnTo>
                  <a:pt x="285" y="705"/>
                </a:lnTo>
                <a:lnTo>
                  <a:pt x="303" y="709"/>
                </a:lnTo>
                <a:lnTo>
                  <a:pt x="321" y="711"/>
                </a:lnTo>
                <a:lnTo>
                  <a:pt x="339" y="713"/>
                </a:lnTo>
                <a:lnTo>
                  <a:pt x="357" y="713"/>
                </a:lnTo>
                <a:lnTo>
                  <a:pt x="374" y="713"/>
                </a:lnTo>
                <a:lnTo>
                  <a:pt x="392" y="712"/>
                </a:lnTo>
                <a:lnTo>
                  <a:pt x="408" y="710"/>
                </a:lnTo>
                <a:lnTo>
                  <a:pt x="425" y="706"/>
                </a:lnTo>
                <a:lnTo>
                  <a:pt x="441" y="703"/>
                </a:lnTo>
                <a:lnTo>
                  <a:pt x="457" y="699"/>
                </a:lnTo>
                <a:lnTo>
                  <a:pt x="473" y="693"/>
                </a:lnTo>
                <a:lnTo>
                  <a:pt x="488" y="688"/>
                </a:lnTo>
                <a:lnTo>
                  <a:pt x="503" y="682"/>
                </a:lnTo>
                <a:lnTo>
                  <a:pt x="518" y="674"/>
                </a:lnTo>
                <a:lnTo>
                  <a:pt x="532" y="667"/>
                </a:lnTo>
                <a:lnTo>
                  <a:pt x="547" y="658"/>
                </a:lnTo>
                <a:lnTo>
                  <a:pt x="560" y="650"/>
                </a:lnTo>
                <a:lnTo>
                  <a:pt x="573" y="640"/>
                </a:lnTo>
                <a:lnTo>
                  <a:pt x="586" y="629"/>
                </a:lnTo>
                <a:lnTo>
                  <a:pt x="597" y="618"/>
                </a:lnTo>
                <a:lnTo>
                  <a:pt x="877" y="898"/>
                </a:lnTo>
                <a:lnTo>
                  <a:pt x="879" y="900"/>
                </a:lnTo>
                <a:lnTo>
                  <a:pt x="883" y="901"/>
                </a:lnTo>
                <a:lnTo>
                  <a:pt x="885" y="903"/>
                </a:lnTo>
                <a:lnTo>
                  <a:pt x="888" y="903"/>
                </a:lnTo>
                <a:lnTo>
                  <a:pt x="891" y="903"/>
                </a:lnTo>
                <a:lnTo>
                  <a:pt x="893" y="901"/>
                </a:lnTo>
                <a:lnTo>
                  <a:pt x="897" y="900"/>
                </a:lnTo>
                <a:lnTo>
                  <a:pt x="899" y="898"/>
                </a:lnTo>
                <a:lnTo>
                  <a:pt x="901" y="896"/>
                </a:lnTo>
                <a:lnTo>
                  <a:pt x="902" y="893"/>
                </a:lnTo>
                <a:lnTo>
                  <a:pt x="903" y="891"/>
                </a:lnTo>
                <a:lnTo>
                  <a:pt x="903" y="888"/>
                </a:lnTo>
                <a:lnTo>
                  <a:pt x="903" y="884"/>
                </a:lnTo>
                <a:lnTo>
                  <a:pt x="902" y="882"/>
                </a:lnTo>
                <a:lnTo>
                  <a:pt x="901" y="879"/>
                </a:lnTo>
                <a:lnTo>
                  <a:pt x="899" y="877"/>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srgbClr val="5FAEE3"/>
              </a:solidFill>
            </a:endParaRPr>
          </a:p>
        </p:txBody>
      </p:sp>
      <p:grpSp>
        <p:nvGrpSpPr>
          <p:cNvPr id="271" name="Group 21">
            <a:extLst>
              <a:ext uri="{FF2B5EF4-FFF2-40B4-BE49-F238E27FC236}">
                <a16:creationId xmlns:a16="http://schemas.microsoft.com/office/drawing/2014/main" id="{74827C2B-A0E5-4C2B-992C-CBB5BA290809}"/>
              </a:ext>
            </a:extLst>
          </p:cNvPr>
          <p:cNvGrpSpPr>
            <a:grpSpLocks noChangeAspect="1"/>
          </p:cNvGrpSpPr>
          <p:nvPr/>
        </p:nvGrpSpPr>
        <p:grpSpPr>
          <a:xfrm>
            <a:off x="271814" y="3263433"/>
            <a:ext cx="308350" cy="306482"/>
            <a:chOff x="11028363" y="1930401"/>
            <a:chExt cx="261937" cy="260350"/>
          </a:xfrm>
          <a:solidFill>
            <a:schemeClr val="bg2"/>
          </a:solidFill>
          <a:effectLst/>
        </p:grpSpPr>
        <p:sp>
          <p:nvSpPr>
            <p:cNvPr id="272" name="Freeform 234">
              <a:extLst>
                <a:ext uri="{FF2B5EF4-FFF2-40B4-BE49-F238E27FC236}">
                  <a16:creationId xmlns:a16="http://schemas.microsoft.com/office/drawing/2014/main" id="{C9A2F9F8-A4AA-4D4E-AB2C-DC5B4B72F426}"/>
                </a:ext>
              </a:extLst>
            </p:cNvPr>
            <p:cNvSpPr>
              <a:spLocks/>
            </p:cNvSpPr>
            <p:nvPr/>
          </p:nvSpPr>
          <p:spPr bwMode="auto">
            <a:xfrm>
              <a:off x="11139488" y="1930401"/>
              <a:ext cx="150812" cy="149225"/>
            </a:xfrm>
            <a:custGeom>
              <a:avLst/>
              <a:gdLst>
                <a:gd name="T0" fmla="*/ 337 w 473"/>
                <a:gd name="T1" fmla="*/ 23 h 472"/>
                <a:gd name="T2" fmla="*/ 310 w 473"/>
                <a:gd name="T3" fmla="*/ 7 h 472"/>
                <a:gd name="T4" fmla="*/ 281 w 473"/>
                <a:gd name="T5" fmla="*/ 0 h 472"/>
                <a:gd name="T6" fmla="*/ 250 w 473"/>
                <a:gd name="T7" fmla="*/ 2 h 472"/>
                <a:gd name="T8" fmla="*/ 221 w 473"/>
                <a:gd name="T9" fmla="*/ 12 h 472"/>
                <a:gd name="T10" fmla="*/ 197 w 473"/>
                <a:gd name="T11" fmla="*/ 30 h 472"/>
                <a:gd name="T12" fmla="*/ 11 w 473"/>
                <a:gd name="T13" fmla="*/ 219 h 472"/>
                <a:gd name="T14" fmla="*/ 1 w 473"/>
                <a:gd name="T15" fmla="*/ 242 h 472"/>
                <a:gd name="T16" fmla="*/ 0 w 473"/>
                <a:gd name="T17" fmla="*/ 265 h 472"/>
                <a:gd name="T18" fmla="*/ 7 w 473"/>
                <a:gd name="T19" fmla="*/ 291 h 472"/>
                <a:gd name="T20" fmla="*/ 21 w 473"/>
                <a:gd name="T21" fmla="*/ 315 h 472"/>
                <a:gd name="T22" fmla="*/ 39 w 473"/>
                <a:gd name="T23" fmla="*/ 333 h 472"/>
                <a:gd name="T24" fmla="*/ 46 w 473"/>
                <a:gd name="T25" fmla="*/ 336 h 472"/>
                <a:gd name="T26" fmla="*/ 55 w 473"/>
                <a:gd name="T27" fmla="*/ 333 h 472"/>
                <a:gd name="T28" fmla="*/ 60 w 473"/>
                <a:gd name="T29" fmla="*/ 326 h 472"/>
                <a:gd name="T30" fmla="*/ 61 w 473"/>
                <a:gd name="T31" fmla="*/ 318 h 472"/>
                <a:gd name="T32" fmla="*/ 57 w 473"/>
                <a:gd name="T33" fmla="*/ 310 h 472"/>
                <a:gd name="T34" fmla="*/ 33 w 473"/>
                <a:gd name="T35" fmla="*/ 276 h 472"/>
                <a:gd name="T36" fmla="*/ 30 w 473"/>
                <a:gd name="T37" fmla="*/ 254 h 472"/>
                <a:gd name="T38" fmla="*/ 33 w 473"/>
                <a:gd name="T39" fmla="*/ 239 h 472"/>
                <a:gd name="T40" fmla="*/ 42 w 473"/>
                <a:gd name="T41" fmla="*/ 227 h 472"/>
                <a:gd name="T42" fmla="*/ 229 w 473"/>
                <a:gd name="T43" fmla="*/ 42 h 472"/>
                <a:gd name="T44" fmla="*/ 249 w 473"/>
                <a:gd name="T45" fmla="*/ 33 h 472"/>
                <a:gd name="T46" fmla="*/ 271 w 473"/>
                <a:gd name="T47" fmla="*/ 30 h 472"/>
                <a:gd name="T48" fmla="*/ 292 w 473"/>
                <a:gd name="T49" fmla="*/ 33 h 472"/>
                <a:gd name="T50" fmla="*/ 312 w 473"/>
                <a:gd name="T51" fmla="*/ 42 h 472"/>
                <a:gd name="T52" fmla="*/ 420 w 473"/>
                <a:gd name="T53" fmla="*/ 148 h 472"/>
                <a:gd name="T54" fmla="*/ 434 w 473"/>
                <a:gd name="T55" fmla="*/ 167 h 472"/>
                <a:gd name="T56" fmla="*/ 441 w 473"/>
                <a:gd name="T57" fmla="*/ 187 h 472"/>
                <a:gd name="T58" fmla="*/ 442 w 473"/>
                <a:gd name="T59" fmla="*/ 208 h 472"/>
                <a:gd name="T60" fmla="*/ 436 w 473"/>
                <a:gd name="T61" fmla="*/ 230 h 472"/>
                <a:gd name="T62" fmla="*/ 426 w 473"/>
                <a:gd name="T63" fmla="*/ 249 h 472"/>
                <a:gd name="T64" fmla="*/ 242 w 473"/>
                <a:gd name="T65" fmla="*/ 433 h 472"/>
                <a:gd name="T66" fmla="*/ 229 w 473"/>
                <a:gd name="T67" fmla="*/ 440 h 472"/>
                <a:gd name="T68" fmla="*/ 214 w 473"/>
                <a:gd name="T69" fmla="*/ 443 h 472"/>
                <a:gd name="T70" fmla="*/ 197 w 473"/>
                <a:gd name="T71" fmla="*/ 439 h 472"/>
                <a:gd name="T72" fmla="*/ 173 w 473"/>
                <a:gd name="T73" fmla="*/ 425 h 472"/>
                <a:gd name="T74" fmla="*/ 156 w 473"/>
                <a:gd name="T75" fmla="*/ 412 h 472"/>
                <a:gd name="T76" fmla="*/ 149 w 473"/>
                <a:gd name="T77" fmla="*/ 410 h 472"/>
                <a:gd name="T78" fmla="*/ 140 w 473"/>
                <a:gd name="T79" fmla="*/ 415 h 472"/>
                <a:gd name="T80" fmla="*/ 136 w 473"/>
                <a:gd name="T81" fmla="*/ 422 h 472"/>
                <a:gd name="T82" fmla="*/ 137 w 473"/>
                <a:gd name="T83" fmla="*/ 431 h 472"/>
                <a:gd name="T84" fmla="*/ 148 w 473"/>
                <a:gd name="T85" fmla="*/ 444 h 472"/>
                <a:gd name="T86" fmla="*/ 172 w 473"/>
                <a:gd name="T87" fmla="*/ 460 h 472"/>
                <a:gd name="T88" fmla="*/ 197 w 473"/>
                <a:gd name="T89" fmla="*/ 470 h 472"/>
                <a:gd name="T90" fmla="*/ 216 w 473"/>
                <a:gd name="T91" fmla="*/ 472 h 472"/>
                <a:gd name="T92" fmla="*/ 236 w 473"/>
                <a:gd name="T93" fmla="*/ 469 h 472"/>
                <a:gd name="T94" fmla="*/ 256 w 473"/>
                <a:gd name="T95" fmla="*/ 460 h 472"/>
                <a:gd name="T96" fmla="*/ 442 w 473"/>
                <a:gd name="T97" fmla="*/ 276 h 472"/>
                <a:gd name="T98" fmla="*/ 460 w 473"/>
                <a:gd name="T99" fmla="*/ 250 h 472"/>
                <a:gd name="T100" fmla="*/ 471 w 473"/>
                <a:gd name="T101" fmla="*/ 222 h 472"/>
                <a:gd name="T102" fmla="*/ 472 w 473"/>
                <a:gd name="T103" fmla="*/ 191 h 472"/>
                <a:gd name="T104" fmla="*/ 464 w 473"/>
                <a:gd name="T105" fmla="*/ 161 h 472"/>
                <a:gd name="T106" fmla="*/ 449 w 473"/>
                <a:gd name="T107" fmla="*/ 13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3" h="472">
                  <a:moveTo>
                    <a:pt x="442" y="127"/>
                  </a:moveTo>
                  <a:lnTo>
                    <a:pt x="344" y="30"/>
                  </a:lnTo>
                  <a:lnTo>
                    <a:pt x="337" y="23"/>
                  </a:lnTo>
                  <a:lnTo>
                    <a:pt x="328" y="17"/>
                  </a:lnTo>
                  <a:lnTo>
                    <a:pt x="320" y="12"/>
                  </a:lnTo>
                  <a:lnTo>
                    <a:pt x="310" y="7"/>
                  </a:lnTo>
                  <a:lnTo>
                    <a:pt x="301" y="4"/>
                  </a:lnTo>
                  <a:lnTo>
                    <a:pt x="291" y="2"/>
                  </a:lnTo>
                  <a:lnTo>
                    <a:pt x="281" y="0"/>
                  </a:lnTo>
                  <a:lnTo>
                    <a:pt x="271" y="0"/>
                  </a:lnTo>
                  <a:lnTo>
                    <a:pt x="260" y="0"/>
                  </a:lnTo>
                  <a:lnTo>
                    <a:pt x="250" y="2"/>
                  </a:lnTo>
                  <a:lnTo>
                    <a:pt x="240" y="4"/>
                  </a:lnTo>
                  <a:lnTo>
                    <a:pt x="230" y="7"/>
                  </a:lnTo>
                  <a:lnTo>
                    <a:pt x="221" y="12"/>
                  </a:lnTo>
                  <a:lnTo>
                    <a:pt x="213" y="17"/>
                  </a:lnTo>
                  <a:lnTo>
                    <a:pt x="204" y="23"/>
                  </a:lnTo>
                  <a:lnTo>
                    <a:pt x="197" y="30"/>
                  </a:lnTo>
                  <a:lnTo>
                    <a:pt x="21" y="205"/>
                  </a:lnTo>
                  <a:lnTo>
                    <a:pt x="15" y="212"/>
                  </a:lnTo>
                  <a:lnTo>
                    <a:pt x="11" y="219"/>
                  </a:lnTo>
                  <a:lnTo>
                    <a:pt x="6" y="225"/>
                  </a:lnTo>
                  <a:lnTo>
                    <a:pt x="3" y="233"/>
                  </a:lnTo>
                  <a:lnTo>
                    <a:pt x="1" y="242"/>
                  </a:lnTo>
                  <a:lnTo>
                    <a:pt x="0" y="249"/>
                  </a:lnTo>
                  <a:lnTo>
                    <a:pt x="0" y="258"/>
                  </a:lnTo>
                  <a:lnTo>
                    <a:pt x="0" y="265"/>
                  </a:lnTo>
                  <a:lnTo>
                    <a:pt x="1" y="274"/>
                  </a:lnTo>
                  <a:lnTo>
                    <a:pt x="4" y="282"/>
                  </a:lnTo>
                  <a:lnTo>
                    <a:pt x="7" y="291"/>
                  </a:lnTo>
                  <a:lnTo>
                    <a:pt x="11" y="299"/>
                  </a:lnTo>
                  <a:lnTo>
                    <a:pt x="16" y="307"/>
                  </a:lnTo>
                  <a:lnTo>
                    <a:pt x="21" y="315"/>
                  </a:lnTo>
                  <a:lnTo>
                    <a:pt x="29" y="324"/>
                  </a:lnTo>
                  <a:lnTo>
                    <a:pt x="36" y="331"/>
                  </a:lnTo>
                  <a:lnTo>
                    <a:pt x="39" y="333"/>
                  </a:lnTo>
                  <a:lnTo>
                    <a:pt x="41" y="335"/>
                  </a:lnTo>
                  <a:lnTo>
                    <a:pt x="44" y="336"/>
                  </a:lnTo>
                  <a:lnTo>
                    <a:pt x="46" y="336"/>
                  </a:lnTo>
                  <a:lnTo>
                    <a:pt x="49" y="336"/>
                  </a:lnTo>
                  <a:lnTo>
                    <a:pt x="52" y="335"/>
                  </a:lnTo>
                  <a:lnTo>
                    <a:pt x="55" y="333"/>
                  </a:lnTo>
                  <a:lnTo>
                    <a:pt x="57" y="331"/>
                  </a:lnTo>
                  <a:lnTo>
                    <a:pt x="59" y="329"/>
                  </a:lnTo>
                  <a:lnTo>
                    <a:pt x="60" y="326"/>
                  </a:lnTo>
                  <a:lnTo>
                    <a:pt x="61" y="324"/>
                  </a:lnTo>
                  <a:lnTo>
                    <a:pt x="61" y="321"/>
                  </a:lnTo>
                  <a:lnTo>
                    <a:pt x="61" y="318"/>
                  </a:lnTo>
                  <a:lnTo>
                    <a:pt x="60" y="315"/>
                  </a:lnTo>
                  <a:lnTo>
                    <a:pt x="59" y="313"/>
                  </a:lnTo>
                  <a:lnTo>
                    <a:pt x="57" y="310"/>
                  </a:lnTo>
                  <a:lnTo>
                    <a:pt x="47" y="299"/>
                  </a:lnTo>
                  <a:lnTo>
                    <a:pt x="40" y="287"/>
                  </a:lnTo>
                  <a:lnTo>
                    <a:pt x="33" y="276"/>
                  </a:lnTo>
                  <a:lnTo>
                    <a:pt x="30" y="265"/>
                  </a:lnTo>
                  <a:lnTo>
                    <a:pt x="30" y="260"/>
                  </a:lnTo>
                  <a:lnTo>
                    <a:pt x="30" y="254"/>
                  </a:lnTo>
                  <a:lnTo>
                    <a:pt x="30" y="249"/>
                  </a:lnTo>
                  <a:lnTo>
                    <a:pt x="31" y="245"/>
                  </a:lnTo>
                  <a:lnTo>
                    <a:pt x="33" y="239"/>
                  </a:lnTo>
                  <a:lnTo>
                    <a:pt x="35" y="235"/>
                  </a:lnTo>
                  <a:lnTo>
                    <a:pt x="39" y="231"/>
                  </a:lnTo>
                  <a:lnTo>
                    <a:pt x="42" y="227"/>
                  </a:lnTo>
                  <a:lnTo>
                    <a:pt x="218" y="51"/>
                  </a:lnTo>
                  <a:lnTo>
                    <a:pt x="224" y="46"/>
                  </a:lnTo>
                  <a:lnTo>
                    <a:pt x="229" y="42"/>
                  </a:lnTo>
                  <a:lnTo>
                    <a:pt x="235" y="38"/>
                  </a:lnTo>
                  <a:lnTo>
                    <a:pt x="242" y="35"/>
                  </a:lnTo>
                  <a:lnTo>
                    <a:pt x="249" y="33"/>
                  </a:lnTo>
                  <a:lnTo>
                    <a:pt x="256" y="31"/>
                  </a:lnTo>
                  <a:lnTo>
                    <a:pt x="263" y="30"/>
                  </a:lnTo>
                  <a:lnTo>
                    <a:pt x="271" y="30"/>
                  </a:lnTo>
                  <a:lnTo>
                    <a:pt x="278" y="30"/>
                  </a:lnTo>
                  <a:lnTo>
                    <a:pt x="286" y="31"/>
                  </a:lnTo>
                  <a:lnTo>
                    <a:pt x="292" y="33"/>
                  </a:lnTo>
                  <a:lnTo>
                    <a:pt x="300" y="35"/>
                  </a:lnTo>
                  <a:lnTo>
                    <a:pt x="306" y="38"/>
                  </a:lnTo>
                  <a:lnTo>
                    <a:pt x="312" y="42"/>
                  </a:lnTo>
                  <a:lnTo>
                    <a:pt x="318" y="46"/>
                  </a:lnTo>
                  <a:lnTo>
                    <a:pt x="323" y="51"/>
                  </a:lnTo>
                  <a:lnTo>
                    <a:pt x="420" y="148"/>
                  </a:lnTo>
                  <a:lnTo>
                    <a:pt x="426" y="154"/>
                  </a:lnTo>
                  <a:lnTo>
                    <a:pt x="430" y="160"/>
                  </a:lnTo>
                  <a:lnTo>
                    <a:pt x="434" y="167"/>
                  </a:lnTo>
                  <a:lnTo>
                    <a:pt x="436" y="173"/>
                  </a:lnTo>
                  <a:lnTo>
                    <a:pt x="440" y="179"/>
                  </a:lnTo>
                  <a:lnTo>
                    <a:pt x="441" y="187"/>
                  </a:lnTo>
                  <a:lnTo>
                    <a:pt x="442" y="194"/>
                  </a:lnTo>
                  <a:lnTo>
                    <a:pt x="443" y="201"/>
                  </a:lnTo>
                  <a:lnTo>
                    <a:pt x="442" y="208"/>
                  </a:lnTo>
                  <a:lnTo>
                    <a:pt x="441" y="216"/>
                  </a:lnTo>
                  <a:lnTo>
                    <a:pt x="440" y="223"/>
                  </a:lnTo>
                  <a:lnTo>
                    <a:pt x="436" y="230"/>
                  </a:lnTo>
                  <a:lnTo>
                    <a:pt x="434" y="236"/>
                  </a:lnTo>
                  <a:lnTo>
                    <a:pt x="430" y="243"/>
                  </a:lnTo>
                  <a:lnTo>
                    <a:pt x="426" y="249"/>
                  </a:lnTo>
                  <a:lnTo>
                    <a:pt x="420" y="254"/>
                  </a:lnTo>
                  <a:lnTo>
                    <a:pt x="245" y="430"/>
                  </a:lnTo>
                  <a:lnTo>
                    <a:pt x="242" y="433"/>
                  </a:lnTo>
                  <a:lnTo>
                    <a:pt x="237" y="436"/>
                  </a:lnTo>
                  <a:lnTo>
                    <a:pt x="233" y="438"/>
                  </a:lnTo>
                  <a:lnTo>
                    <a:pt x="229" y="440"/>
                  </a:lnTo>
                  <a:lnTo>
                    <a:pt x="224" y="441"/>
                  </a:lnTo>
                  <a:lnTo>
                    <a:pt x="219" y="443"/>
                  </a:lnTo>
                  <a:lnTo>
                    <a:pt x="214" y="443"/>
                  </a:lnTo>
                  <a:lnTo>
                    <a:pt x="209" y="441"/>
                  </a:lnTo>
                  <a:lnTo>
                    <a:pt x="203" y="440"/>
                  </a:lnTo>
                  <a:lnTo>
                    <a:pt x="197" y="439"/>
                  </a:lnTo>
                  <a:lnTo>
                    <a:pt x="191" y="436"/>
                  </a:lnTo>
                  <a:lnTo>
                    <a:pt x="185" y="433"/>
                  </a:lnTo>
                  <a:lnTo>
                    <a:pt x="173" y="425"/>
                  </a:lnTo>
                  <a:lnTo>
                    <a:pt x="162" y="415"/>
                  </a:lnTo>
                  <a:lnTo>
                    <a:pt x="159" y="413"/>
                  </a:lnTo>
                  <a:lnTo>
                    <a:pt x="156" y="412"/>
                  </a:lnTo>
                  <a:lnTo>
                    <a:pt x="154" y="410"/>
                  </a:lnTo>
                  <a:lnTo>
                    <a:pt x="151" y="410"/>
                  </a:lnTo>
                  <a:lnTo>
                    <a:pt x="149" y="410"/>
                  </a:lnTo>
                  <a:lnTo>
                    <a:pt x="145" y="412"/>
                  </a:lnTo>
                  <a:lnTo>
                    <a:pt x="142" y="413"/>
                  </a:lnTo>
                  <a:lnTo>
                    <a:pt x="140" y="415"/>
                  </a:lnTo>
                  <a:lnTo>
                    <a:pt x="139" y="417"/>
                  </a:lnTo>
                  <a:lnTo>
                    <a:pt x="137" y="420"/>
                  </a:lnTo>
                  <a:lnTo>
                    <a:pt x="136" y="422"/>
                  </a:lnTo>
                  <a:lnTo>
                    <a:pt x="136" y="425"/>
                  </a:lnTo>
                  <a:lnTo>
                    <a:pt x="136" y="429"/>
                  </a:lnTo>
                  <a:lnTo>
                    <a:pt x="137" y="431"/>
                  </a:lnTo>
                  <a:lnTo>
                    <a:pt x="139" y="434"/>
                  </a:lnTo>
                  <a:lnTo>
                    <a:pt x="140" y="436"/>
                  </a:lnTo>
                  <a:lnTo>
                    <a:pt x="148" y="444"/>
                  </a:lnTo>
                  <a:lnTo>
                    <a:pt x="156" y="450"/>
                  </a:lnTo>
                  <a:lnTo>
                    <a:pt x="164" y="455"/>
                  </a:lnTo>
                  <a:lnTo>
                    <a:pt x="172" y="460"/>
                  </a:lnTo>
                  <a:lnTo>
                    <a:pt x="180" y="464"/>
                  </a:lnTo>
                  <a:lnTo>
                    <a:pt x="188" y="467"/>
                  </a:lnTo>
                  <a:lnTo>
                    <a:pt x="197" y="470"/>
                  </a:lnTo>
                  <a:lnTo>
                    <a:pt x="204" y="471"/>
                  </a:lnTo>
                  <a:lnTo>
                    <a:pt x="210" y="472"/>
                  </a:lnTo>
                  <a:lnTo>
                    <a:pt x="216" y="472"/>
                  </a:lnTo>
                  <a:lnTo>
                    <a:pt x="223" y="471"/>
                  </a:lnTo>
                  <a:lnTo>
                    <a:pt x="230" y="470"/>
                  </a:lnTo>
                  <a:lnTo>
                    <a:pt x="236" y="469"/>
                  </a:lnTo>
                  <a:lnTo>
                    <a:pt x="243" y="467"/>
                  </a:lnTo>
                  <a:lnTo>
                    <a:pt x="249" y="464"/>
                  </a:lnTo>
                  <a:lnTo>
                    <a:pt x="256" y="460"/>
                  </a:lnTo>
                  <a:lnTo>
                    <a:pt x="261" y="455"/>
                  </a:lnTo>
                  <a:lnTo>
                    <a:pt x="266" y="451"/>
                  </a:lnTo>
                  <a:lnTo>
                    <a:pt x="442" y="276"/>
                  </a:lnTo>
                  <a:lnTo>
                    <a:pt x="449" y="267"/>
                  </a:lnTo>
                  <a:lnTo>
                    <a:pt x="455" y="260"/>
                  </a:lnTo>
                  <a:lnTo>
                    <a:pt x="460" y="250"/>
                  </a:lnTo>
                  <a:lnTo>
                    <a:pt x="464" y="242"/>
                  </a:lnTo>
                  <a:lnTo>
                    <a:pt x="469" y="232"/>
                  </a:lnTo>
                  <a:lnTo>
                    <a:pt x="471" y="222"/>
                  </a:lnTo>
                  <a:lnTo>
                    <a:pt x="472" y="212"/>
                  </a:lnTo>
                  <a:lnTo>
                    <a:pt x="473" y="201"/>
                  </a:lnTo>
                  <a:lnTo>
                    <a:pt x="472" y="191"/>
                  </a:lnTo>
                  <a:lnTo>
                    <a:pt x="471" y="181"/>
                  </a:lnTo>
                  <a:lnTo>
                    <a:pt x="469" y="171"/>
                  </a:lnTo>
                  <a:lnTo>
                    <a:pt x="464" y="161"/>
                  </a:lnTo>
                  <a:lnTo>
                    <a:pt x="460" y="152"/>
                  </a:lnTo>
                  <a:lnTo>
                    <a:pt x="455" y="143"/>
                  </a:lnTo>
                  <a:lnTo>
                    <a:pt x="449" y="135"/>
                  </a:lnTo>
                  <a:lnTo>
                    <a:pt x="44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73" name="Freeform 235">
              <a:extLst>
                <a:ext uri="{FF2B5EF4-FFF2-40B4-BE49-F238E27FC236}">
                  <a16:creationId xmlns:a16="http://schemas.microsoft.com/office/drawing/2014/main" id="{B1EB598D-4EE6-4DDF-B126-8C0B8F13C6FB}"/>
                </a:ext>
              </a:extLst>
            </p:cNvPr>
            <p:cNvSpPr>
              <a:spLocks/>
            </p:cNvSpPr>
            <p:nvPr/>
          </p:nvSpPr>
          <p:spPr bwMode="auto">
            <a:xfrm>
              <a:off x="11028363" y="2039938"/>
              <a:ext cx="150812" cy="150813"/>
            </a:xfrm>
            <a:custGeom>
              <a:avLst/>
              <a:gdLst>
                <a:gd name="T0" fmla="*/ 412 w 473"/>
                <a:gd name="T1" fmla="*/ 147 h 473"/>
                <a:gd name="T2" fmla="*/ 412 w 473"/>
                <a:gd name="T3" fmla="*/ 155 h 473"/>
                <a:gd name="T4" fmla="*/ 415 w 473"/>
                <a:gd name="T5" fmla="*/ 163 h 473"/>
                <a:gd name="T6" fmla="*/ 439 w 473"/>
                <a:gd name="T7" fmla="*/ 197 h 473"/>
                <a:gd name="T8" fmla="*/ 443 w 473"/>
                <a:gd name="T9" fmla="*/ 219 h 473"/>
                <a:gd name="T10" fmla="*/ 440 w 473"/>
                <a:gd name="T11" fmla="*/ 234 h 473"/>
                <a:gd name="T12" fmla="*/ 430 w 473"/>
                <a:gd name="T13" fmla="*/ 246 h 473"/>
                <a:gd name="T14" fmla="*/ 245 w 473"/>
                <a:gd name="T15" fmla="*/ 431 h 473"/>
                <a:gd name="T16" fmla="*/ 226 w 473"/>
                <a:gd name="T17" fmla="*/ 440 h 473"/>
                <a:gd name="T18" fmla="*/ 203 w 473"/>
                <a:gd name="T19" fmla="*/ 443 h 473"/>
                <a:gd name="T20" fmla="*/ 182 w 473"/>
                <a:gd name="T21" fmla="*/ 440 h 473"/>
                <a:gd name="T22" fmla="*/ 163 w 473"/>
                <a:gd name="T23" fmla="*/ 431 h 473"/>
                <a:gd name="T24" fmla="*/ 52 w 473"/>
                <a:gd name="T25" fmla="*/ 322 h 473"/>
                <a:gd name="T26" fmla="*/ 39 w 473"/>
                <a:gd name="T27" fmla="*/ 305 h 473"/>
                <a:gd name="T28" fmla="*/ 31 w 473"/>
                <a:gd name="T29" fmla="*/ 285 h 473"/>
                <a:gd name="T30" fmla="*/ 30 w 473"/>
                <a:gd name="T31" fmla="*/ 262 h 473"/>
                <a:gd name="T32" fmla="*/ 36 w 473"/>
                <a:gd name="T33" fmla="*/ 241 h 473"/>
                <a:gd name="T34" fmla="*/ 47 w 473"/>
                <a:gd name="T35" fmla="*/ 223 h 473"/>
                <a:gd name="T36" fmla="*/ 232 w 473"/>
                <a:gd name="T37" fmla="*/ 39 h 473"/>
                <a:gd name="T38" fmla="*/ 248 w 473"/>
                <a:gd name="T39" fmla="*/ 31 h 473"/>
                <a:gd name="T40" fmla="*/ 264 w 473"/>
                <a:gd name="T41" fmla="*/ 31 h 473"/>
                <a:gd name="T42" fmla="*/ 291 w 473"/>
                <a:gd name="T43" fmla="*/ 42 h 473"/>
                <a:gd name="T44" fmla="*/ 314 w 473"/>
                <a:gd name="T45" fmla="*/ 60 h 473"/>
                <a:gd name="T46" fmla="*/ 322 w 473"/>
                <a:gd name="T47" fmla="*/ 62 h 473"/>
                <a:gd name="T48" fmla="*/ 330 w 473"/>
                <a:gd name="T49" fmla="*/ 60 h 473"/>
                <a:gd name="T50" fmla="*/ 335 w 473"/>
                <a:gd name="T51" fmla="*/ 53 h 473"/>
                <a:gd name="T52" fmla="*/ 336 w 473"/>
                <a:gd name="T53" fmla="*/ 44 h 473"/>
                <a:gd name="T54" fmla="*/ 332 w 473"/>
                <a:gd name="T55" fmla="*/ 37 h 473"/>
                <a:gd name="T56" fmla="*/ 308 w 473"/>
                <a:gd name="T57" fmla="*/ 18 h 473"/>
                <a:gd name="T58" fmla="*/ 283 w 473"/>
                <a:gd name="T59" fmla="*/ 5 h 473"/>
                <a:gd name="T60" fmla="*/ 258 w 473"/>
                <a:gd name="T61" fmla="*/ 0 h 473"/>
                <a:gd name="T62" fmla="*/ 234 w 473"/>
                <a:gd name="T63" fmla="*/ 5 h 473"/>
                <a:gd name="T64" fmla="*/ 213 w 473"/>
                <a:gd name="T65" fmla="*/ 16 h 473"/>
                <a:gd name="T66" fmla="*/ 24 w 473"/>
                <a:gd name="T67" fmla="*/ 204 h 473"/>
                <a:gd name="T68" fmla="*/ 9 w 473"/>
                <a:gd name="T69" fmla="*/ 229 h 473"/>
                <a:gd name="T70" fmla="*/ 1 w 473"/>
                <a:gd name="T71" fmla="*/ 259 h 473"/>
                <a:gd name="T72" fmla="*/ 2 w 473"/>
                <a:gd name="T73" fmla="*/ 290 h 473"/>
                <a:gd name="T74" fmla="*/ 12 w 473"/>
                <a:gd name="T75" fmla="*/ 319 h 473"/>
                <a:gd name="T76" fmla="*/ 31 w 473"/>
                <a:gd name="T77" fmla="*/ 344 h 473"/>
                <a:gd name="T78" fmla="*/ 146 w 473"/>
                <a:gd name="T79" fmla="*/ 456 h 473"/>
                <a:gd name="T80" fmla="*/ 174 w 473"/>
                <a:gd name="T81" fmla="*/ 469 h 473"/>
                <a:gd name="T82" fmla="*/ 203 w 473"/>
                <a:gd name="T83" fmla="*/ 473 h 473"/>
                <a:gd name="T84" fmla="*/ 214 w 473"/>
                <a:gd name="T85" fmla="*/ 473 h 473"/>
                <a:gd name="T86" fmla="*/ 244 w 473"/>
                <a:gd name="T87" fmla="*/ 466 h 473"/>
                <a:gd name="T88" fmla="*/ 270 w 473"/>
                <a:gd name="T89" fmla="*/ 450 h 473"/>
                <a:gd name="T90" fmla="*/ 458 w 473"/>
                <a:gd name="T91" fmla="*/ 260 h 473"/>
                <a:gd name="T92" fmla="*/ 470 w 473"/>
                <a:gd name="T93" fmla="*/ 240 h 473"/>
                <a:gd name="T94" fmla="*/ 473 w 473"/>
                <a:gd name="T95" fmla="*/ 216 h 473"/>
                <a:gd name="T96" fmla="*/ 469 w 473"/>
                <a:gd name="T97" fmla="*/ 191 h 473"/>
                <a:gd name="T98" fmla="*/ 457 w 473"/>
                <a:gd name="T99" fmla="*/ 166 h 473"/>
                <a:gd name="T100" fmla="*/ 437 w 473"/>
                <a:gd name="T101" fmla="*/ 142 h 473"/>
                <a:gd name="T102" fmla="*/ 429 w 473"/>
                <a:gd name="T103" fmla="*/ 137 h 473"/>
                <a:gd name="T104" fmla="*/ 421 w 473"/>
                <a:gd name="T105" fmla="*/ 13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3" h="473">
                  <a:moveTo>
                    <a:pt x="415" y="142"/>
                  </a:moveTo>
                  <a:lnTo>
                    <a:pt x="414" y="144"/>
                  </a:lnTo>
                  <a:lnTo>
                    <a:pt x="412" y="147"/>
                  </a:lnTo>
                  <a:lnTo>
                    <a:pt x="412" y="149"/>
                  </a:lnTo>
                  <a:lnTo>
                    <a:pt x="411" y="152"/>
                  </a:lnTo>
                  <a:lnTo>
                    <a:pt x="412" y="155"/>
                  </a:lnTo>
                  <a:lnTo>
                    <a:pt x="412" y="158"/>
                  </a:lnTo>
                  <a:lnTo>
                    <a:pt x="414" y="161"/>
                  </a:lnTo>
                  <a:lnTo>
                    <a:pt x="415" y="163"/>
                  </a:lnTo>
                  <a:lnTo>
                    <a:pt x="426" y="174"/>
                  </a:lnTo>
                  <a:lnTo>
                    <a:pt x="433" y="185"/>
                  </a:lnTo>
                  <a:lnTo>
                    <a:pt x="439" y="197"/>
                  </a:lnTo>
                  <a:lnTo>
                    <a:pt x="442" y="208"/>
                  </a:lnTo>
                  <a:lnTo>
                    <a:pt x="443" y="213"/>
                  </a:lnTo>
                  <a:lnTo>
                    <a:pt x="443" y="219"/>
                  </a:lnTo>
                  <a:lnTo>
                    <a:pt x="442" y="224"/>
                  </a:lnTo>
                  <a:lnTo>
                    <a:pt x="441" y="228"/>
                  </a:lnTo>
                  <a:lnTo>
                    <a:pt x="440" y="234"/>
                  </a:lnTo>
                  <a:lnTo>
                    <a:pt x="438" y="238"/>
                  </a:lnTo>
                  <a:lnTo>
                    <a:pt x="435" y="242"/>
                  </a:lnTo>
                  <a:lnTo>
                    <a:pt x="430" y="246"/>
                  </a:lnTo>
                  <a:lnTo>
                    <a:pt x="257" y="422"/>
                  </a:lnTo>
                  <a:lnTo>
                    <a:pt x="252" y="426"/>
                  </a:lnTo>
                  <a:lnTo>
                    <a:pt x="245" y="431"/>
                  </a:lnTo>
                  <a:lnTo>
                    <a:pt x="239" y="435"/>
                  </a:lnTo>
                  <a:lnTo>
                    <a:pt x="232" y="438"/>
                  </a:lnTo>
                  <a:lnTo>
                    <a:pt x="226" y="440"/>
                  </a:lnTo>
                  <a:lnTo>
                    <a:pt x="218" y="442"/>
                  </a:lnTo>
                  <a:lnTo>
                    <a:pt x="211" y="443"/>
                  </a:lnTo>
                  <a:lnTo>
                    <a:pt x="203" y="443"/>
                  </a:lnTo>
                  <a:lnTo>
                    <a:pt x="197" y="443"/>
                  </a:lnTo>
                  <a:lnTo>
                    <a:pt x="190" y="442"/>
                  </a:lnTo>
                  <a:lnTo>
                    <a:pt x="182" y="440"/>
                  </a:lnTo>
                  <a:lnTo>
                    <a:pt x="176" y="438"/>
                  </a:lnTo>
                  <a:lnTo>
                    <a:pt x="169" y="435"/>
                  </a:lnTo>
                  <a:lnTo>
                    <a:pt x="163" y="431"/>
                  </a:lnTo>
                  <a:lnTo>
                    <a:pt x="156" y="427"/>
                  </a:lnTo>
                  <a:lnTo>
                    <a:pt x="151" y="422"/>
                  </a:lnTo>
                  <a:lnTo>
                    <a:pt x="52" y="322"/>
                  </a:lnTo>
                  <a:lnTo>
                    <a:pt x="47" y="317"/>
                  </a:lnTo>
                  <a:lnTo>
                    <a:pt x="43" y="312"/>
                  </a:lnTo>
                  <a:lnTo>
                    <a:pt x="39" y="305"/>
                  </a:lnTo>
                  <a:lnTo>
                    <a:pt x="36" y="299"/>
                  </a:lnTo>
                  <a:lnTo>
                    <a:pt x="33" y="291"/>
                  </a:lnTo>
                  <a:lnTo>
                    <a:pt x="31" y="285"/>
                  </a:lnTo>
                  <a:lnTo>
                    <a:pt x="30" y="277"/>
                  </a:lnTo>
                  <a:lnTo>
                    <a:pt x="30" y="270"/>
                  </a:lnTo>
                  <a:lnTo>
                    <a:pt x="30" y="262"/>
                  </a:lnTo>
                  <a:lnTo>
                    <a:pt x="31" y="255"/>
                  </a:lnTo>
                  <a:lnTo>
                    <a:pt x="33" y="249"/>
                  </a:lnTo>
                  <a:lnTo>
                    <a:pt x="36" y="241"/>
                  </a:lnTo>
                  <a:lnTo>
                    <a:pt x="39" y="235"/>
                  </a:lnTo>
                  <a:lnTo>
                    <a:pt x="43" y="228"/>
                  </a:lnTo>
                  <a:lnTo>
                    <a:pt x="47" y="223"/>
                  </a:lnTo>
                  <a:lnTo>
                    <a:pt x="53" y="218"/>
                  </a:lnTo>
                  <a:lnTo>
                    <a:pt x="228" y="43"/>
                  </a:lnTo>
                  <a:lnTo>
                    <a:pt x="232" y="39"/>
                  </a:lnTo>
                  <a:lnTo>
                    <a:pt x="238" y="36"/>
                  </a:lnTo>
                  <a:lnTo>
                    <a:pt x="243" y="34"/>
                  </a:lnTo>
                  <a:lnTo>
                    <a:pt x="248" y="31"/>
                  </a:lnTo>
                  <a:lnTo>
                    <a:pt x="254" y="30"/>
                  </a:lnTo>
                  <a:lnTo>
                    <a:pt x="259" y="30"/>
                  </a:lnTo>
                  <a:lnTo>
                    <a:pt x="264" y="31"/>
                  </a:lnTo>
                  <a:lnTo>
                    <a:pt x="270" y="33"/>
                  </a:lnTo>
                  <a:lnTo>
                    <a:pt x="280" y="37"/>
                  </a:lnTo>
                  <a:lnTo>
                    <a:pt x="291" y="42"/>
                  </a:lnTo>
                  <a:lnTo>
                    <a:pt x="302" y="50"/>
                  </a:lnTo>
                  <a:lnTo>
                    <a:pt x="312" y="58"/>
                  </a:lnTo>
                  <a:lnTo>
                    <a:pt x="314" y="60"/>
                  </a:lnTo>
                  <a:lnTo>
                    <a:pt x="316" y="61"/>
                  </a:lnTo>
                  <a:lnTo>
                    <a:pt x="319" y="62"/>
                  </a:lnTo>
                  <a:lnTo>
                    <a:pt x="322" y="62"/>
                  </a:lnTo>
                  <a:lnTo>
                    <a:pt x="324" y="62"/>
                  </a:lnTo>
                  <a:lnTo>
                    <a:pt x="328" y="61"/>
                  </a:lnTo>
                  <a:lnTo>
                    <a:pt x="330" y="60"/>
                  </a:lnTo>
                  <a:lnTo>
                    <a:pt x="332" y="58"/>
                  </a:lnTo>
                  <a:lnTo>
                    <a:pt x="334" y="56"/>
                  </a:lnTo>
                  <a:lnTo>
                    <a:pt x="335" y="53"/>
                  </a:lnTo>
                  <a:lnTo>
                    <a:pt x="336" y="51"/>
                  </a:lnTo>
                  <a:lnTo>
                    <a:pt x="336" y="47"/>
                  </a:lnTo>
                  <a:lnTo>
                    <a:pt x="336" y="44"/>
                  </a:lnTo>
                  <a:lnTo>
                    <a:pt x="335" y="42"/>
                  </a:lnTo>
                  <a:lnTo>
                    <a:pt x="334" y="39"/>
                  </a:lnTo>
                  <a:lnTo>
                    <a:pt x="332" y="37"/>
                  </a:lnTo>
                  <a:lnTo>
                    <a:pt x="324" y="29"/>
                  </a:lnTo>
                  <a:lnTo>
                    <a:pt x="316" y="23"/>
                  </a:lnTo>
                  <a:lnTo>
                    <a:pt x="308" y="18"/>
                  </a:lnTo>
                  <a:lnTo>
                    <a:pt x="300" y="12"/>
                  </a:lnTo>
                  <a:lnTo>
                    <a:pt x="291" y="8"/>
                  </a:lnTo>
                  <a:lnTo>
                    <a:pt x="283" y="5"/>
                  </a:lnTo>
                  <a:lnTo>
                    <a:pt x="274" y="3"/>
                  </a:lnTo>
                  <a:lnTo>
                    <a:pt x="266" y="2"/>
                  </a:lnTo>
                  <a:lnTo>
                    <a:pt x="258" y="0"/>
                  </a:lnTo>
                  <a:lnTo>
                    <a:pt x="249" y="2"/>
                  </a:lnTo>
                  <a:lnTo>
                    <a:pt x="242" y="3"/>
                  </a:lnTo>
                  <a:lnTo>
                    <a:pt x="234" y="5"/>
                  </a:lnTo>
                  <a:lnTo>
                    <a:pt x="227" y="8"/>
                  </a:lnTo>
                  <a:lnTo>
                    <a:pt x="220" y="11"/>
                  </a:lnTo>
                  <a:lnTo>
                    <a:pt x="213" y="16"/>
                  </a:lnTo>
                  <a:lnTo>
                    <a:pt x="207" y="22"/>
                  </a:lnTo>
                  <a:lnTo>
                    <a:pt x="31" y="196"/>
                  </a:lnTo>
                  <a:lnTo>
                    <a:pt x="24" y="204"/>
                  </a:lnTo>
                  <a:lnTo>
                    <a:pt x="18" y="212"/>
                  </a:lnTo>
                  <a:lnTo>
                    <a:pt x="13" y="221"/>
                  </a:lnTo>
                  <a:lnTo>
                    <a:pt x="9" y="229"/>
                  </a:lnTo>
                  <a:lnTo>
                    <a:pt x="5" y="239"/>
                  </a:lnTo>
                  <a:lnTo>
                    <a:pt x="2" y="250"/>
                  </a:lnTo>
                  <a:lnTo>
                    <a:pt x="1" y="259"/>
                  </a:lnTo>
                  <a:lnTo>
                    <a:pt x="0" y="270"/>
                  </a:lnTo>
                  <a:lnTo>
                    <a:pt x="1" y="281"/>
                  </a:lnTo>
                  <a:lnTo>
                    <a:pt x="2" y="290"/>
                  </a:lnTo>
                  <a:lnTo>
                    <a:pt x="5" y="300"/>
                  </a:lnTo>
                  <a:lnTo>
                    <a:pt x="8" y="309"/>
                  </a:lnTo>
                  <a:lnTo>
                    <a:pt x="12" y="319"/>
                  </a:lnTo>
                  <a:lnTo>
                    <a:pt x="17" y="328"/>
                  </a:lnTo>
                  <a:lnTo>
                    <a:pt x="24" y="336"/>
                  </a:lnTo>
                  <a:lnTo>
                    <a:pt x="31" y="344"/>
                  </a:lnTo>
                  <a:lnTo>
                    <a:pt x="130" y="443"/>
                  </a:lnTo>
                  <a:lnTo>
                    <a:pt x="138" y="450"/>
                  </a:lnTo>
                  <a:lnTo>
                    <a:pt x="146" y="456"/>
                  </a:lnTo>
                  <a:lnTo>
                    <a:pt x="154" y="461"/>
                  </a:lnTo>
                  <a:lnTo>
                    <a:pt x="164" y="466"/>
                  </a:lnTo>
                  <a:lnTo>
                    <a:pt x="174" y="469"/>
                  </a:lnTo>
                  <a:lnTo>
                    <a:pt x="183" y="471"/>
                  </a:lnTo>
                  <a:lnTo>
                    <a:pt x="194" y="473"/>
                  </a:lnTo>
                  <a:lnTo>
                    <a:pt x="203" y="473"/>
                  </a:lnTo>
                  <a:lnTo>
                    <a:pt x="203" y="473"/>
                  </a:lnTo>
                  <a:lnTo>
                    <a:pt x="205" y="473"/>
                  </a:lnTo>
                  <a:lnTo>
                    <a:pt x="214" y="473"/>
                  </a:lnTo>
                  <a:lnTo>
                    <a:pt x="225" y="471"/>
                  </a:lnTo>
                  <a:lnTo>
                    <a:pt x="234" y="469"/>
                  </a:lnTo>
                  <a:lnTo>
                    <a:pt x="244" y="466"/>
                  </a:lnTo>
                  <a:lnTo>
                    <a:pt x="254" y="461"/>
                  </a:lnTo>
                  <a:lnTo>
                    <a:pt x="262" y="456"/>
                  </a:lnTo>
                  <a:lnTo>
                    <a:pt x="270" y="450"/>
                  </a:lnTo>
                  <a:lnTo>
                    <a:pt x="278" y="443"/>
                  </a:lnTo>
                  <a:lnTo>
                    <a:pt x="452" y="267"/>
                  </a:lnTo>
                  <a:lnTo>
                    <a:pt x="458" y="260"/>
                  </a:lnTo>
                  <a:lnTo>
                    <a:pt x="462" y="254"/>
                  </a:lnTo>
                  <a:lnTo>
                    <a:pt x="467" y="247"/>
                  </a:lnTo>
                  <a:lnTo>
                    <a:pt x="470" y="240"/>
                  </a:lnTo>
                  <a:lnTo>
                    <a:pt x="472" y="231"/>
                  </a:lnTo>
                  <a:lnTo>
                    <a:pt x="473" y="224"/>
                  </a:lnTo>
                  <a:lnTo>
                    <a:pt x="473" y="216"/>
                  </a:lnTo>
                  <a:lnTo>
                    <a:pt x="473" y="208"/>
                  </a:lnTo>
                  <a:lnTo>
                    <a:pt x="471" y="199"/>
                  </a:lnTo>
                  <a:lnTo>
                    <a:pt x="469" y="191"/>
                  </a:lnTo>
                  <a:lnTo>
                    <a:pt x="466" y="182"/>
                  </a:lnTo>
                  <a:lnTo>
                    <a:pt x="461" y="175"/>
                  </a:lnTo>
                  <a:lnTo>
                    <a:pt x="457" y="166"/>
                  </a:lnTo>
                  <a:lnTo>
                    <a:pt x="451" y="158"/>
                  </a:lnTo>
                  <a:lnTo>
                    <a:pt x="444" y="149"/>
                  </a:lnTo>
                  <a:lnTo>
                    <a:pt x="437" y="142"/>
                  </a:lnTo>
                  <a:lnTo>
                    <a:pt x="435" y="139"/>
                  </a:lnTo>
                  <a:lnTo>
                    <a:pt x="432" y="138"/>
                  </a:lnTo>
                  <a:lnTo>
                    <a:pt x="429" y="137"/>
                  </a:lnTo>
                  <a:lnTo>
                    <a:pt x="426" y="137"/>
                  </a:lnTo>
                  <a:lnTo>
                    <a:pt x="424" y="137"/>
                  </a:lnTo>
                  <a:lnTo>
                    <a:pt x="421" y="138"/>
                  </a:lnTo>
                  <a:lnTo>
                    <a:pt x="418" y="139"/>
                  </a:lnTo>
                  <a:lnTo>
                    <a:pt x="415"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74" name="Freeform 236">
              <a:extLst>
                <a:ext uri="{FF2B5EF4-FFF2-40B4-BE49-F238E27FC236}">
                  <a16:creationId xmlns:a16="http://schemas.microsoft.com/office/drawing/2014/main" id="{7803DE84-0240-4321-AD1A-57F704255C3F}"/>
                </a:ext>
              </a:extLst>
            </p:cNvPr>
            <p:cNvSpPr>
              <a:spLocks/>
            </p:cNvSpPr>
            <p:nvPr/>
          </p:nvSpPr>
          <p:spPr bwMode="auto">
            <a:xfrm>
              <a:off x="11107738" y="2008188"/>
              <a:ext cx="104775" cy="104775"/>
            </a:xfrm>
            <a:custGeom>
              <a:avLst/>
              <a:gdLst>
                <a:gd name="T0" fmla="*/ 5 w 329"/>
                <a:gd name="T1" fmla="*/ 325 h 329"/>
                <a:gd name="T2" fmla="*/ 7 w 329"/>
                <a:gd name="T3" fmla="*/ 326 h 329"/>
                <a:gd name="T4" fmla="*/ 9 w 329"/>
                <a:gd name="T5" fmla="*/ 328 h 329"/>
                <a:gd name="T6" fmla="*/ 12 w 329"/>
                <a:gd name="T7" fmla="*/ 329 h 329"/>
                <a:gd name="T8" fmla="*/ 15 w 329"/>
                <a:gd name="T9" fmla="*/ 329 h 329"/>
                <a:gd name="T10" fmla="*/ 17 w 329"/>
                <a:gd name="T11" fmla="*/ 328 h 329"/>
                <a:gd name="T12" fmla="*/ 21 w 329"/>
                <a:gd name="T13" fmla="*/ 328 h 329"/>
                <a:gd name="T14" fmla="*/ 23 w 329"/>
                <a:gd name="T15" fmla="*/ 326 h 329"/>
                <a:gd name="T16" fmla="*/ 26 w 329"/>
                <a:gd name="T17" fmla="*/ 325 h 329"/>
                <a:gd name="T18" fmla="*/ 324 w 329"/>
                <a:gd name="T19" fmla="*/ 25 h 329"/>
                <a:gd name="T20" fmla="*/ 327 w 329"/>
                <a:gd name="T21" fmla="*/ 23 h 329"/>
                <a:gd name="T22" fmla="*/ 328 w 329"/>
                <a:gd name="T23" fmla="*/ 21 h 329"/>
                <a:gd name="T24" fmla="*/ 329 w 329"/>
                <a:gd name="T25" fmla="*/ 18 h 329"/>
                <a:gd name="T26" fmla="*/ 329 w 329"/>
                <a:gd name="T27" fmla="*/ 15 h 329"/>
                <a:gd name="T28" fmla="*/ 329 w 329"/>
                <a:gd name="T29" fmla="*/ 13 h 329"/>
                <a:gd name="T30" fmla="*/ 328 w 329"/>
                <a:gd name="T31" fmla="*/ 9 h 329"/>
                <a:gd name="T32" fmla="*/ 327 w 329"/>
                <a:gd name="T33" fmla="*/ 7 h 329"/>
                <a:gd name="T34" fmla="*/ 324 w 329"/>
                <a:gd name="T35" fmla="*/ 4 h 329"/>
                <a:gd name="T36" fmla="*/ 322 w 329"/>
                <a:gd name="T37" fmla="*/ 3 h 329"/>
                <a:gd name="T38" fmla="*/ 319 w 329"/>
                <a:gd name="T39" fmla="*/ 1 h 329"/>
                <a:gd name="T40" fmla="*/ 317 w 329"/>
                <a:gd name="T41" fmla="*/ 1 h 329"/>
                <a:gd name="T42" fmla="*/ 314 w 329"/>
                <a:gd name="T43" fmla="*/ 0 h 329"/>
                <a:gd name="T44" fmla="*/ 311 w 329"/>
                <a:gd name="T45" fmla="*/ 1 h 329"/>
                <a:gd name="T46" fmla="*/ 308 w 329"/>
                <a:gd name="T47" fmla="*/ 1 h 329"/>
                <a:gd name="T48" fmla="*/ 305 w 329"/>
                <a:gd name="T49" fmla="*/ 3 h 329"/>
                <a:gd name="T50" fmla="*/ 303 w 329"/>
                <a:gd name="T51" fmla="*/ 4 h 329"/>
                <a:gd name="T52" fmla="*/ 5 w 329"/>
                <a:gd name="T53" fmla="*/ 303 h 329"/>
                <a:gd name="T54" fmla="*/ 2 w 329"/>
                <a:gd name="T55" fmla="*/ 306 h 329"/>
                <a:gd name="T56" fmla="*/ 1 w 329"/>
                <a:gd name="T57" fmla="*/ 308 h 329"/>
                <a:gd name="T58" fmla="*/ 0 w 329"/>
                <a:gd name="T59" fmla="*/ 311 h 329"/>
                <a:gd name="T60" fmla="*/ 0 w 329"/>
                <a:gd name="T61" fmla="*/ 314 h 329"/>
                <a:gd name="T62" fmla="*/ 0 w 329"/>
                <a:gd name="T63" fmla="*/ 316 h 329"/>
                <a:gd name="T64" fmla="*/ 1 w 329"/>
                <a:gd name="T65" fmla="*/ 320 h 329"/>
                <a:gd name="T66" fmla="*/ 2 w 329"/>
                <a:gd name="T67" fmla="*/ 322 h 329"/>
                <a:gd name="T68" fmla="*/ 5 w 329"/>
                <a:gd name="T69" fmla="*/ 325 h 329"/>
                <a:gd name="T70" fmla="*/ 5 w 329"/>
                <a:gd name="T71" fmla="*/ 325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9" h="329">
                  <a:moveTo>
                    <a:pt x="5" y="325"/>
                  </a:moveTo>
                  <a:lnTo>
                    <a:pt x="7" y="326"/>
                  </a:lnTo>
                  <a:lnTo>
                    <a:pt x="9" y="328"/>
                  </a:lnTo>
                  <a:lnTo>
                    <a:pt x="12" y="329"/>
                  </a:lnTo>
                  <a:lnTo>
                    <a:pt x="15" y="329"/>
                  </a:lnTo>
                  <a:lnTo>
                    <a:pt x="17" y="328"/>
                  </a:lnTo>
                  <a:lnTo>
                    <a:pt x="21" y="328"/>
                  </a:lnTo>
                  <a:lnTo>
                    <a:pt x="23" y="326"/>
                  </a:lnTo>
                  <a:lnTo>
                    <a:pt x="26" y="325"/>
                  </a:lnTo>
                  <a:lnTo>
                    <a:pt x="324" y="25"/>
                  </a:lnTo>
                  <a:lnTo>
                    <a:pt x="327" y="23"/>
                  </a:lnTo>
                  <a:lnTo>
                    <a:pt x="328" y="21"/>
                  </a:lnTo>
                  <a:lnTo>
                    <a:pt x="329" y="18"/>
                  </a:lnTo>
                  <a:lnTo>
                    <a:pt x="329" y="15"/>
                  </a:lnTo>
                  <a:lnTo>
                    <a:pt x="329" y="13"/>
                  </a:lnTo>
                  <a:lnTo>
                    <a:pt x="328" y="9"/>
                  </a:lnTo>
                  <a:lnTo>
                    <a:pt x="327" y="7"/>
                  </a:lnTo>
                  <a:lnTo>
                    <a:pt x="324" y="4"/>
                  </a:lnTo>
                  <a:lnTo>
                    <a:pt x="322" y="3"/>
                  </a:lnTo>
                  <a:lnTo>
                    <a:pt x="319" y="1"/>
                  </a:lnTo>
                  <a:lnTo>
                    <a:pt x="317" y="1"/>
                  </a:lnTo>
                  <a:lnTo>
                    <a:pt x="314" y="0"/>
                  </a:lnTo>
                  <a:lnTo>
                    <a:pt x="311" y="1"/>
                  </a:lnTo>
                  <a:lnTo>
                    <a:pt x="308" y="1"/>
                  </a:lnTo>
                  <a:lnTo>
                    <a:pt x="305" y="3"/>
                  </a:lnTo>
                  <a:lnTo>
                    <a:pt x="303" y="4"/>
                  </a:lnTo>
                  <a:lnTo>
                    <a:pt x="5" y="303"/>
                  </a:lnTo>
                  <a:lnTo>
                    <a:pt x="2" y="306"/>
                  </a:lnTo>
                  <a:lnTo>
                    <a:pt x="1" y="308"/>
                  </a:lnTo>
                  <a:lnTo>
                    <a:pt x="0" y="311"/>
                  </a:lnTo>
                  <a:lnTo>
                    <a:pt x="0" y="314"/>
                  </a:lnTo>
                  <a:lnTo>
                    <a:pt x="0" y="316"/>
                  </a:lnTo>
                  <a:lnTo>
                    <a:pt x="1" y="320"/>
                  </a:lnTo>
                  <a:lnTo>
                    <a:pt x="2" y="322"/>
                  </a:lnTo>
                  <a:lnTo>
                    <a:pt x="5" y="325"/>
                  </a:lnTo>
                  <a:lnTo>
                    <a:pt x="5"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275" name="Group 76">
            <a:extLst>
              <a:ext uri="{FF2B5EF4-FFF2-40B4-BE49-F238E27FC236}">
                <a16:creationId xmlns:a16="http://schemas.microsoft.com/office/drawing/2014/main" id="{BD2C90F0-3BB3-4589-89E8-21A02199D796}"/>
              </a:ext>
            </a:extLst>
          </p:cNvPr>
          <p:cNvGrpSpPr>
            <a:grpSpLocks noChangeAspect="1"/>
          </p:cNvGrpSpPr>
          <p:nvPr/>
        </p:nvGrpSpPr>
        <p:grpSpPr>
          <a:xfrm>
            <a:off x="289418" y="4340505"/>
            <a:ext cx="273141" cy="316953"/>
            <a:chOff x="5376863" y="1733551"/>
            <a:chExt cx="633413" cy="735013"/>
          </a:xfrm>
          <a:solidFill>
            <a:schemeClr val="bg2"/>
          </a:solidFill>
          <a:effectLst/>
        </p:grpSpPr>
        <p:sp>
          <p:nvSpPr>
            <p:cNvPr id="276" name="Freeform 116">
              <a:extLst>
                <a:ext uri="{FF2B5EF4-FFF2-40B4-BE49-F238E27FC236}">
                  <a16:creationId xmlns:a16="http://schemas.microsoft.com/office/drawing/2014/main" id="{283AA6BC-DB2F-4762-A541-064118AE6523}"/>
                </a:ext>
              </a:extLst>
            </p:cNvPr>
            <p:cNvSpPr>
              <a:spLocks noEditPoints="1"/>
            </p:cNvSpPr>
            <p:nvPr/>
          </p:nvSpPr>
          <p:spPr bwMode="auto">
            <a:xfrm>
              <a:off x="5605463" y="1733551"/>
              <a:ext cx="404813" cy="336550"/>
            </a:xfrm>
            <a:custGeom>
              <a:avLst/>
              <a:gdLst>
                <a:gd name="T0" fmla="*/ 285 w 765"/>
                <a:gd name="T1" fmla="*/ 61 h 637"/>
                <a:gd name="T2" fmla="*/ 174 w 765"/>
                <a:gd name="T3" fmla="*/ 98 h 637"/>
                <a:gd name="T4" fmla="*/ 92 w 765"/>
                <a:gd name="T5" fmla="*/ 156 h 637"/>
                <a:gd name="T6" fmla="*/ 63 w 765"/>
                <a:gd name="T7" fmla="*/ 200 h 637"/>
                <a:gd name="T8" fmla="*/ 53 w 765"/>
                <a:gd name="T9" fmla="*/ 238 h 637"/>
                <a:gd name="T10" fmla="*/ 61 w 765"/>
                <a:gd name="T11" fmla="*/ 291 h 637"/>
                <a:gd name="T12" fmla="*/ 95 w 765"/>
                <a:gd name="T13" fmla="*/ 343 h 637"/>
                <a:gd name="T14" fmla="*/ 153 w 765"/>
                <a:gd name="T15" fmla="*/ 387 h 637"/>
                <a:gd name="T16" fmla="*/ 230 w 765"/>
                <a:gd name="T17" fmla="*/ 422 h 637"/>
                <a:gd name="T18" fmla="*/ 266 w 765"/>
                <a:gd name="T19" fmla="*/ 436 h 637"/>
                <a:gd name="T20" fmla="*/ 272 w 765"/>
                <a:gd name="T21" fmla="*/ 458 h 637"/>
                <a:gd name="T22" fmla="*/ 238 w 765"/>
                <a:gd name="T23" fmla="*/ 529 h 637"/>
                <a:gd name="T24" fmla="*/ 236 w 765"/>
                <a:gd name="T25" fmla="*/ 565 h 637"/>
                <a:gd name="T26" fmla="*/ 338 w 765"/>
                <a:gd name="T27" fmla="*/ 526 h 637"/>
                <a:gd name="T28" fmla="*/ 390 w 765"/>
                <a:gd name="T29" fmla="*/ 488 h 637"/>
                <a:gd name="T30" fmla="*/ 425 w 765"/>
                <a:gd name="T31" fmla="*/ 448 h 637"/>
                <a:gd name="T32" fmla="*/ 470 w 765"/>
                <a:gd name="T33" fmla="*/ 436 h 637"/>
                <a:gd name="T34" fmla="*/ 572 w 765"/>
                <a:gd name="T35" fmla="*/ 408 h 637"/>
                <a:gd name="T36" fmla="*/ 651 w 765"/>
                <a:gd name="T37" fmla="*/ 360 h 637"/>
                <a:gd name="T38" fmla="*/ 700 w 765"/>
                <a:gd name="T39" fmla="*/ 300 h 637"/>
                <a:gd name="T40" fmla="*/ 711 w 765"/>
                <a:gd name="T41" fmla="*/ 238 h 637"/>
                <a:gd name="T42" fmla="*/ 701 w 765"/>
                <a:gd name="T43" fmla="*/ 200 h 637"/>
                <a:gd name="T44" fmla="*/ 671 w 765"/>
                <a:gd name="T45" fmla="*/ 156 h 637"/>
                <a:gd name="T46" fmla="*/ 590 w 765"/>
                <a:gd name="T47" fmla="*/ 98 h 637"/>
                <a:gd name="T48" fmla="*/ 480 w 765"/>
                <a:gd name="T49" fmla="*/ 61 h 637"/>
                <a:gd name="T50" fmla="*/ 97 w 765"/>
                <a:gd name="T51" fmla="*/ 637 h 637"/>
                <a:gd name="T52" fmla="*/ 79 w 765"/>
                <a:gd name="T53" fmla="*/ 629 h 637"/>
                <a:gd name="T54" fmla="*/ 71 w 765"/>
                <a:gd name="T55" fmla="*/ 612 h 637"/>
                <a:gd name="T56" fmla="*/ 76 w 765"/>
                <a:gd name="T57" fmla="*/ 593 h 637"/>
                <a:gd name="T58" fmla="*/ 92 w 765"/>
                <a:gd name="T59" fmla="*/ 585 h 637"/>
                <a:gd name="T60" fmla="*/ 133 w 765"/>
                <a:gd name="T61" fmla="*/ 567 h 637"/>
                <a:gd name="T62" fmla="*/ 166 w 765"/>
                <a:gd name="T63" fmla="*/ 540 h 637"/>
                <a:gd name="T64" fmla="*/ 210 w 765"/>
                <a:gd name="T65" fmla="*/ 470 h 637"/>
                <a:gd name="T66" fmla="*/ 124 w 765"/>
                <a:gd name="T67" fmla="*/ 431 h 637"/>
                <a:gd name="T68" fmla="*/ 58 w 765"/>
                <a:gd name="T69" fmla="*/ 379 h 637"/>
                <a:gd name="T70" fmla="*/ 14 w 765"/>
                <a:gd name="T71" fmla="*/ 317 h 637"/>
                <a:gd name="T72" fmla="*/ 0 w 765"/>
                <a:gd name="T73" fmla="*/ 248 h 637"/>
                <a:gd name="T74" fmla="*/ 7 w 765"/>
                <a:gd name="T75" fmla="*/ 197 h 637"/>
                <a:gd name="T76" fmla="*/ 30 w 765"/>
                <a:gd name="T77" fmla="*/ 150 h 637"/>
                <a:gd name="T78" fmla="*/ 65 w 765"/>
                <a:gd name="T79" fmla="*/ 108 h 637"/>
                <a:gd name="T80" fmla="*/ 167 w 765"/>
                <a:gd name="T81" fmla="*/ 42 h 637"/>
                <a:gd name="T82" fmla="*/ 304 w 765"/>
                <a:gd name="T83" fmla="*/ 4 h 637"/>
                <a:gd name="T84" fmla="*/ 459 w 765"/>
                <a:gd name="T85" fmla="*/ 4 h 637"/>
                <a:gd name="T86" fmla="*/ 598 w 765"/>
                <a:gd name="T87" fmla="*/ 42 h 637"/>
                <a:gd name="T88" fmla="*/ 700 w 765"/>
                <a:gd name="T89" fmla="*/ 108 h 637"/>
                <a:gd name="T90" fmla="*/ 734 w 765"/>
                <a:gd name="T91" fmla="*/ 150 h 637"/>
                <a:gd name="T92" fmla="*/ 756 w 765"/>
                <a:gd name="T93" fmla="*/ 197 h 637"/>
                <a:gd name="T94" fmla="*/ 765 w 765"/>
                <a:gd name="T95" fmla="*/ 248 h 637"/>
                <a:gd name="T96" fmla="*/ 759 w 765"/>
                <a:gd name="T97" fmla="*/ 292 h 637"/>
                <a:gd name="T98" fmla="*/ 714 w 765"/>
                <a:gd name="T99" fmla="*/ 372 h 637"/>
                <a:gd name="T100" fmla="*/ 634 w 765"/>
                <a:gd name="T101" fmla="*/ 435 h 637"/>
                <a:gd name="T102" fmla="*/ 523 w 765"/>
                <a:gd name="T103" fmla="*/ 480 h 637"/>
                <a:gd name="T104" fmla="*/ 436 w 765"/>
                <a:gd name="T105" fmla="*/ 516 h 637"/>
                <a:gd name="T106" fmla="*/ 386 w 765"/>
                <a:gd name="T107" fmla="*/ 557 h 637"/>
                <a:gd name="T108" fmla="*/ 300 w 765"/>
                <a:gd name="T109" fmla="*/ 599 h 637"/>
                <a:gd name="T110" fmla="*/ 189 w 765"/>
                <a:gd name="T111" fmla="*/ 628 h 637"/>
                <a:gd name="T112" fmla="*/ 98 w 765"/>
                <a:gd name="T11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637">
                  <a:moveTo>
                    <a:pt x="382" y="52"/>
                  </a:moveTo>
                  <a:lnTo>
                    <a:pt x="349" y="53"/>
                  </a:lnTo>
                  <a:lnTo>
                    <a:pt x="317" y="56"/>
                  </a:lnTo>
                  <a:lnTo>
                    <a:pt x="285" y="61"/>
                  </a:lnTo>
                  <a:lnTo>
                    <a:pt x="255" y="68"/>
                  </a:lnTo>
                  <a:lnTo>
                    <a:pt x="226" y="76"/>
                  </a:lnTo>
                  <a:lnTo>
                    <a:pt x="199" y="86"/>
                  </a:lnTo>
                  <a:lnTo>
                    <a:pt x="174" y="98"/>
                  </a:lnTo>
                  <a:lnTo>
                    <a:pt x="150" y="110"/>
                  </a:lnTo>
                  <a:lnTo>
                    <a:pt x="128" y="124"/>
                  </a:lnTo>
                  <a:lnTo>
                    <a:pt x="110" y="140"/>
                  </a:lnTo>
                  <a:lnTo>
                    <a:pt x="92" y="156"/>
                  </a:lnTo>
                  <a:lnTo>
                    <a:pt x="79" y="173"/>
                  </a:lnTo>
                  <a:lnTo>
                    <a:pt x="74" y="182"/>
                  </a:lnTo>
                  <a:lnTo>
                    <a:pt x="68" y="190"/>
                  </a:lnTo>
                  <a:lnTo>
                    <a:pt x="63" y="200"/>
                  </a:lnTo>
                  <a:lnTo>
                    <a:pt x="59" y="209"/>
                  </a:lnTo>
                  <a:lnTo>
                    <a:pt x="56" y="219"/>
                  </a:lnTo>
                  <a:lnTo>
                    <a:pt x="55" y="228"/>
                  </a:lnTo>
                  <a:lnTo>
                    <a:pt x="53" y="238"/>
                  </a:lnTo>
                  <a:lnTo>
                    <a:pt x="52" y="248"/>
                  </a:lnTo>
                  <a:lnTo>
                    <a:pt x="53" y="262"/>
                  </a:lnTo>
                  <a:lnTo>
                    <a:pt x="56" y="277"/>
                  </a:lnTo>
                  <a:lnTo>
                    <a:pt x="61" y="291"/>
                  </a:lnTo>
                  <a:lnTo>
                    <a:pt x="66" y="304"/>
                  </a:lnTo>
                  <a:lnTo>
                    <a:pt x="75" y="317"/>
                  </a:lnTo>
                  <a:lnTo>
                    <a:pt x="84" y="330"/>
                  </a:lnTo>
                  <a:lnTo>
                    <a:pt x="95" y="343"/>
                  </a:lnTo>
                  <a:lnTo>
                    <a:pt x="108" y="356"/>
                  </a:lnTo>
                  <a:lnTo>
                    <a:pt x="121" y="367"/>
                  </a:lnTo>
                  <a:lnTo>
                    <a:pt x="137" y="377"/>
                  </a:lnTo>
                  <a:lnTo>
                    <a:pt x="153" y="387"/>
                  </a:lnTo>
                  <a:lnTo>
                    <a:pt x="171" y="398"/>
                  </a:lnTo>
                  <a:lnTo>
                    <a:pt x="190" y="406"/>
                  </a:lnTo>
                  <a:lnTo>
                    <a:pt x="210" y="415"/>
                  </a:lnTo>
                  <a:lnTo>
                    <a:pt x="230" y="422"/>
                  </a:lnTo>
                  <a:lnTo>
                    <a:pt x="254" y="428"/>
                  </a:lnTo>
                  <a:lnTo>
                    <a:pt x="258" y="429"/>
                  </a:lnTo>
                  <a:lnTo>
                    <a:pt x="262" y="434"/>
                  </a:lnTo>
                  <a:lnTo>
                    <a:pt x="266" y="436"/>
                  </a:lnTo>
                  <a:lnTo>
                    <a:pt x="269" y="441"/>
                  </a:lnTo>
                  <a:lnTo>
                    <a:pt x="272" y="446"/>
                  </a:lnTo>
                  <a:lnTo>
                    <a:pt x="272" y="452"/>
                  </a:lnTo>
                  <a:lnTo>
                    <a:pt x="272" y="458"/>
                  </a:lnTo>
                  <a:lnTo>
                    <a:pt x="271" y="462"/>
                  </a:lnTo>
                  <a:lnTo>
                    <a:pt x="261" y="487"/>
                  </a:lnTo>
                  <a:lnTo>
                    <a:pt x="246" y="516"/>
                  </a:lnTo>
                  <a:lnTo>
                    <a:pt x="238" y="529"/>
                  </a:lnTo>
                  <a:lnTo>
                    <a:pt x="229" y="543"/>
                  </a:lnTo>
                  <a:lnTo>
                    <a:pt x="219" y="557"/>
                  </a:lnTo>
                  <a:lnTo>
                    <a:pt x="207" y="570"/>
                  </a:lnTo>
                  <a:lnTo>
                    <a:pt x="236" y="565"/>
                  </a:lnTo>
                  <a:lnTo>
                    <a:pt x="266" y="556"/>
                  </a:lnTo>
                  <a:lnTo>
                    <a:pt x="295" y="546"/>
                  </a:lnTo>
                  <a:lnTo>
                    <a:pt x="326" y="533"/>
                  </a:lnTo>
                  <a:lnTo>
                    <a:pt x="338" y="526"/>
                  </a:lnTo>
                  <a:lnTo>
                    <a:pt x="353" y="517"/>
                  </a:lnTo>
                  <a:lnTo>
                    <a:pt x="366" y="508"/>
                  </a:lnTo>
                  <a:lnTo>
                    <a:pt x="379" y="498"/>
                  </a:lnTo>
                  <a:lnTo>
                    <a:pt x="390" y="488"/>
                  </a:lnTo>
                  <a:lnTo>
                    <a:pt x="402" y="477"/>
                  </a:lnTo>
                  <a:lnTo>
                    <a:pt x="412" y="465"/>
                  </a:lnTo>
                  <a:lnTo>
                    <a:pt x="422" y="452"/>
                  </a:lnTo>
                  <a:lnTo>
                    <a:pt x="425" y="448"/>
                  </a:lnTo>
                  <a:lnTo>
                    <a:pt x="429" y="444"/>
                  </a:lnTo>
                  <a:lnTo>
                    <a:pt x="435" y="442"/>
                  </a:lnTo>
                  <a:lnTo>
                    <a:pt x="441" y="441"/>
                  </a:lnTo>
                  <a:lnTo>
                    <a:pt x="470" y="436"/>
                  </a:lnTo>
                  <a:lnTo>
                    <a:pt x="497" y="431"/>
                  </a:lnTo>
                  <a:lnTo>
                    <a:pt x="523" y="425"/>
                  </a:lnTo>
                  <a:lnTo>
                    <a:pt x="549" y="416"/>
                  </a:lnTo>
                  <a:lnTo>
                    <a:pt x="572" y="408"/>
                  </a:lnTo>
                  <a:lnTo>
                    <a:pt x="595" y="398"/>
                  </a:lnTo>
                  <a:lnTo>
                    <a:pt x="615" y="386"/>
                  </a:lnTo>
                  <a:lnTo>
                    <a:pt x="634" y="373"/>
                  </a:lnTo>
                  <a:lnTo>
                    <a:pt x="651" y="360"/>
                  </a:lnTo>
                  <a:lnTo>
                    <a:pt x="667" y="346"/>
                  </a:lnTo>
                  <a:lnTo>
                    <a:pt x="680" y="330"/>
                  </a:lnTo>
                  <a:lnTo>
                    <a:pt x="691" y="315"/>
                  </a:lnTo>
                  <a:lnTo>
                    <a:pt x="700" y="300"/>
                  </a:lnTo>
                  <a:lnTo>
                    <a:pt x="707" y="282"/>
                  </a:lnTo>
                  <a:lnTo>
                    <a:pt x="710" y="265"/>
                  </a:lnTo>
                  <a:lnTo>
                    <a:pt x="711" y="248"/>
                  </a:lnTo>
                  <a:lnTo>
                    <a:pt x="711" y="238"/>
                  </a:lnTo>
                  <a:lnTo>
                    <a:pt x="710" y="228"/>
                  </a:lnTo>
                  <a:lnTo>
                    <a:pt x="709" y="219"/>
                  </a:lnTo>
                  <a:lnTo>
                    <a:pt x="706" y="209"/>
                  </a:lnTo>
                  <a:lnTo>
                    <a:pt x="701" y="200"/>
                  </a:lnTo>
                  <a:lnTo>
                    <a:pt x="697" y="190"/>
                  </a:lnTo>
                  <a:lnTo>
                    <a:pt x="691" y="182"/>
                  </a:lnTo>
                  <a:lnTo>
                    <a:pt x="686" y="173"/>
                  </a:lnTo>
                  <a:lnTo>
                    <a:pt x="671" y="156"/>
                  </a:lnTo>
                  <a:lnTo>
                    <a:pt x="655" y="140"/>
                  </a:lnTo>
                  <a:lnTo>
                    <a:pt x="635" y="124"/>
                  </a:lnTo>
                  <a:lnTo>
                    <a:pt x="614" y="110"/>
                  </a:lnTo>
                  <a:lnTo>
                    <a:pt x="590" y="98"/>
                  </a:lnTo>
                  <a:lnTo>
                    <a:pt x="565" y="86"/>
                  </a:lnTo>
                  <a:lnTo>
                    <a:pt x="537" y="76"/>
                  </a:lnTo>
                  <a:lnTo>
                    <a:pt x="510" y="68"/>
                  </a:lnTo>
                  <a:lnTo>
                    <a:pt x="480" y="61"/>
                  </a:lnTo>
                  <a:lnTo>
                    <a:pt x="448" y="56"/>
                  </a:lnTo>
                  <a:lnTo>
                    <a:pt x="415" y="53"/>
                  </a:lnTo>
                  <a:lnTo>
                    <a:pt x="382" y="52"/>
                  </a:lnTo>
                  <a:close/>
                  <a:moveTo>
                    <a:pt x="97" y="637"/>
                  </a:moveTo>
                  <a:lnTo>
                    <a:pt x="92" y="635"/>
                  </a:lnTo>
                  <a:lnTo>
                    <a:pt x="88" y="634"/>
                  </a:lnTo>
                  <a:lnTo>
                    <a:pt x="84" y="632"/>
                  </a:lnTo>
                  <a:lnTo>
                    <a:pt x="79" y="629"/>
                  </a:lnTo>
                  <a:lnTo>
                    <a:pt x="76" y="625"/>
                  </a:lnTo>
                  <a:lnTo>
                    <a:pt x="74" y="622"/>
                  </a:lnTo>
                  <a:lnTo>
                    <a:pt x="72" y="616"/>
                  </a:lnTo>
                  <a:lnTo>
                    <a:pt x="71" y="612"/>
                  </a:lnTo>
                  <a:lnTo>
                    <a:pt x="71" y="608"/>
                  </a:lnTo>
                  <a:lnTo>
                    <a:pt x="72" y="602"/>
                  </a:lnTo>
                  <a:lnTo>
                    <a:pt x="74" y="598"/>
                  </a:lnTo>
                  <a:lnTo>
                    <a:pt x="76" y="593"/>
                  </a:lnTo>
                  <a:lnTo>
                    <a:pt x="79" y="590"/>
                  </a:lnTo>
                  <a:lnTo>
                    <a:pt x="84" y="588"/>
                  </a:lnTo>
                  <a:lnTo>
                    <a:pt x="88" y="586"/>
                  </a:lnTo>
                  <a:lnTo>
                    <a:pt x="92" y="585"/>
                  </a:lnTo>
                  <a:lnTo>
                    <a:pt x="104" y="582"/>
                  </a:lnTo>
                  <a:lnTo>
                    <a:pt x="114" y="578"/>
                  </a:lnTo>
                  <a:lnTo>
                    <a:pt x="124" y="573"/>
                  </a:lnTo>
                  <a:lnTo>
                    <a:pt x="133" y="567"/>
                  </a:lnTo>
                  <a:lnTo>
                    <a:pt x="141" y="562"/>
                  </a:lnTo>
                  <a:lnTo>
                    <a:pt x="150" y="556"/>
                  </a:lnTo>
                  <a:lnTo>
                    <a:pt x="158" y="547"/>
                  </a:lnTo>
                  <a:lnTo>
                    <a:pt x="166" y="540"/>
                  </a:lnTo>
                  <a:lnTo>
                    <a:pt x="179" y="523"/>
                  </a:lnTo>
                  <a:lnTo>
                    <a:pt x="192" y="506"/>
                  </a:lnTo>
                  <a:lnTo>
                    <a:pt x="202" y="488"/>
                  </a:lnTo>
                  <a:lnTo>
                    <a:pt x="210" y="470"/>
                  </a:lnTo>
                  <a:lnTo>
                    <a:pt x="187" y="462"/>
                  </a:lnTo>
                  <a:lnTo>
                    <a:pt x="164" y="452"/>
                  </a:lnTo>
                  <a:lnTo>
                    <a:pt x="144" y="442"/>
                  </a:lnTo>
                  <a:lnTo>
                    <a:pt x="124" y="431"/>
                  </a:lnTo>
                  <a:lnTo>
                    <a:pt x="105" y="419"/>
                  </a:lnTo>
                  <a:lnTo>
                    <a:pt x="88" y="406"/>
                  </a:lnTo>
                  <a:lnTo>
                    <a:pt x="72" y="393"/>
                  </a:lnTo>
                  <a:lnTo>
                    <a:pt x="58" y="379"/>
                  </a:lnTo>
                  <a:lnTo>
                    <a:pt x="45" y="364"/>
                  </a:lnTo>
                  <a:lnTo>
                    <a:pt x="33" y="350"/>
                  </a:lnTo>
                  <a:lnTo>
                    <a:pt x="23" y="334"/>
                  </a:lnTo>
                  <a:lnTo>
                    <a:pt x="14" y="317"/>
                  </a:lnTo>
                  <a:lnTo>
                    <a:pt x="9" y="301"/>
                  </a:lnTo>
                  <a:lnTo>
                    <a:pt x="4" y="284"/>
                  </a:lnTo>
                  <a:lnTo>
                    <a:pt x="2" y="265"/>
                  </a:lnTo>
                  <a:lnTo>
                    <a:pt x="0" y="248"/>
                  </a:lnTo>
                  <a:lnTo>
                    <a:pt x="0" y="235"/>
                  </a:lnTo>
                  <a:lnTo>
                    <a:pt x="2" y="222"/>
                  </a:lnTo>
                  <a:lnTo>
                    <a:pt x="4" y="210"/>
                  </a:lnTo>
                  <a:lnTo>
                    <a:pt x="7" y="197"/>
                  </a:lnTo>
                  <a:lnTo>
                    <a:pt x="12" y="186"/>
                  </a:lnTo>
                  <a:lnTo>
                    <a:pt x="17" y="173"/>
                  </a:lnTo>
                  <a:lnTo>
                    <a:pt x="23" y="161"/>
                  </a:lnTo>
                  <a:lnTo>
                    <a:pt x="30" y="150"/>
                  </a:lnTo>
                  <a:lnTo>
                    <a:pt x="38" y="140"/>
                  </a:lnTo>
                  <a:lnTo>
                    <a:pt x="46" y="128"/>
                  </a:lnTo>
                  <a:lnTo>
                    <a:pt x="55" y="118"/>
                  </a:lnTo>
                  <a:lnTo>
                    <a:pt x="65" y="108"/>
                  </a:lnTo>
                  <a:lnTo>
                    <a:pt x="86" y="89"/>
                  </a:lnTo>
                  <a:lnTo>
                    <a:pt x="111" y="72"/>
                  </a:lnTo>
                  <a:lnTo>
                    <a:pt x="138" y="56"/>
                  </a:lnTo>
                  <a:lnTo>
                    <a:pt x="167" y="42"/>
                  </a:lnTo>
                  <a:lnTo>
                    <a:pt x="199" y="29"/>
                  </a:lnTo>
                  <a:lnTo>
                    <a:pt x="232" y="19"/>
                  </a:lnTo>
                  <a:lnTo>
                    <a:pt x="268" y="10"/>
                  </a:lnTo>
                  <a:lnTo>
                    <a:pt x="304" y="4"/>
                  </a:lnTo>
                  <a:lnTo>
                    <a:pt x="343" y="2"/>
                  </a:lnTo>
                  <a:lnTo>
                    <a:pt x="382" y="0"/>
                  </a:lnTo>
                  <a:lnTo>
                    <a:pt x="422" y="2"/>
                  </a:lnTo>
                  <a:lnTo>
                    <a:pt x="459" y="4"/>
                  </a:lnTo>
                  <a:lnTo>
                    <a:pt x="497" y="10"/>
                  </a:lnTo>
                  <a:lnTo>
                    <a:pt x="533" y="19"/>
                  </a:lnTo>
                  <a:lnTo>
                    <a:pt x="566" y="29"/>
                  </a:lnTo>
                  <a:lnTo>
                    <a:pt x="598" y="42"/>
                  </a:lnTo>
                  <a:lnTo>
                    <a:pt x="626" y="56"/>
                  </a:lnTo>
                  <a:lnTo>
                    <a:pt x="654" y="72"/>
                  </a:lnTo>
                  <a:lnTo>
                    <a:pt x="678" y="89"/>
                  </a:lnTo>
                  <a:lnTo>
                    <a:pt x="700" y="108"/>
                  </a:lnTo>
                  <a:lnTo>
                    <a:pt x="710" y="118"/>
                  </a:lnTo>
                  <a:lnTo>
                    <a:pt x="719" y="128"/>
                  </a:lnTo>
                  <a:lnTo>
                    <a:pt x="727" y="140"/>
                  </a:lnTo>
                  <a:lnTo>
                    <a:pt x="734" y="150"/>
                  </a:lnTo>
                  <a:lnTo>
                    <a:pt x="742" y="161"/>
                  </a:lnTo>
                  <a:lnTo>
                    <a:pt x="747" y="173"/>
                  </a:lnTo>
                  <a:lnTo>
                    <a:pt x="752" y="186"/>
                  </a:lnTo>
                  <a:lnTo>
                    <a:pt x="756" y="197"/>
                  </a:lnTo>
                  <a:lnTo>
                    <a:pt x="760" y="210"/>
                  </a:lnTo>
                  <a:lnTo>
                    <a:pt x="762" y="222"/>
                  </a:lnTo>
                  <a:lnTo>
                    <a:pt x="763" y="235"/>
                  </a:lnTo>
                  <a:lnTo>
                    <a:pt x="765" y="248"/>
                  </a:lnTo>
                  <a:lnTo>
                    <a:pt x="763" y="259"/>
                  </a:lnTo>
                  <a:lnTo>
                    <a:pt x="763" y="271"/>
                  </a:lnTo>
                  <a:lnTo>
                    <a:pt x="760" y="281"/>
                  </a:lnTo>
                  <a:lnTo>
                    <a:pt x="759" y="292"/>
                  </a:lnTo>
                  <a:lnTo>
                    <a:pt x="752" y="313"/>
                  </a:lnTo>
                  <a:lnTo>
                    <a:pt x="742" y="333"/>
                  </a:lnTo>
                  <a:lnTo>
                    <a:pt x="729" y="353"/>
                  </a:lnTo>
                  <a:lnTo>
                    <a:pt x="714" y="372"/>
                  </a:lnTo>
                  <a:lnTo>
                    <a:pt x="697" y="389"/>
                  </a:lnTo>
                  <a:lnTo>
                    <a:pt x="678" y="406"/>
                  </a:lnTo>
                  <a:lnTo>
                    <a:pt x="657" y="421"/>
                  </a:lnTo>
                  <a:lnTo>
                    <a:pt x="634" y="435"/>
                  </a:lnTo>
                  <a:lnTo>
                    <a:pt x="608" y="448"/>
                  </a:lnTo>
                  <a:lnTo>
                    <a:pt x="580" y="461"/>
                  </a:lnTo>
                  <a:lnTo>
                    <a:pt x="553" y="471"/>
                  </a:lnTo>
                  <a:lnTo>
                    <a:pt x="523" y="480"/>
                  </a:lnTo>
                  <a:lnTo>
                    <a:pt x="491" y="485"/>
                  </a:lnTo>
                  <a:lnTo>
                    <a:pt x="458" y="491"/>
                  </a:lnTo>
                  <a:lnTo>
                    <a:pt x="448" y="504"/>
                  </a:lnTo>
                  <a:lnTo>
                    <a:pt x="436" y="516"/>
                  </a:lnTo>
                  <a:lnTo>
                    <a:pt x="425" y="527"/>
                  </a:lnTo>
                  <a:lnTo>
                    <a:pt x="412" y="539"/>
                  </a:lnTo>
                  <a:lnTo>
                    <a:pt x="399" y="549"/>
                  </a:lnTo>
                  <a:lnTo>
                    <a:pt x="386" y="557"/>
                  </a:lnTo>
                  <a:lnTo>
                    <a:pt x="373" y="566"/>
                  </a:lnTo>
                  <a:lnTo>
                    <a:pt x="359" y="575"/>
                  </a:lnTo>
                  <a:lnTo>
                    <a:pt x="330" y="588"/>
                  </a:lnTo>
                  <a:lnTo>
                    <a:pt x="300" y="599"/>
                  </a:lnTo>
                  <a:lnTo>
                    <a:pt x="271" y="609"/>
                  </a:lnTo>
                  <a:lnTo>
                    <a:pt x="242" y="616"/>
                  </a:lnTo>
                  <a:lnTo>
                    <a:pt x="215" y="624"/>
                  </a:lnTo>
                  <a:lnTo>
                    <a:pt x="189" y="628"/>
                  </a:lnTo>
                  <a:lnTo>
                    <a:pt x="164" y="631"/>
                  </a:lnTo>
                  <a:lnTo>
                    <a:pt x="143" y="634"/>
                  </a:lnTo>
                  <a:lnTo>
                    <a:pt x="111" y="635"/>
                  </a:lnTo>
                  <a:lnTo>
                    <a:pt x="98" y="637"/>
                  </a:lnTo>
                  <a:lnTo>
                    <a:pt x="97" y="6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7" name="Group 78">
              <a:extLst>
                <a:ext uri="{FF2B5EF4-FFF2-40B4-BE49-F238E27FC236}">
                  <a16:creationId xmlns:a16="http://schemas.microsoft.com/office/drawing/2014/main" id="{6F1719F7-B564-46F9-99A2-1072D505DE48}"/>
                </a:ext>
              </a:extLst>
            </p:cNvPr>
            <p:cNvGrpSpPr/>
            <p:nvPr/>
          </p:nvGrpSpPr>
          <p:grpSpPr>
            <a:xfrm>
              <a:off x="5376863" y="1790701"/>
              <a:ext cx="514350" cy="677863"/>
              <a:chOff x="5376863" y="1790701"/>
              <a:chExt cx="514350" cy="677863"/>
            </a:xfrm>
            <a:grpFill/>
          </p:grpSpPr>
          <p:sp>
            <p:nvSpPr>
              <p:cNvPr id="278" name="Freeform 82">
                <a:extLst>
                  <a:ext uri="{FF2B5EF4-FFF2-40B4-BE49-F238E27FC236}">
                    <a16:creationId xmlns:a16="http://schemas.microsoft.com/office/drawing/2014/main" id="{7960CAEE-6AB0-4808-8E0C-610AB7F875F6}"/>
                  </a:ext>
                </a:extLst>
              </p:cNvPr>
              <p:cNvSpPr>
                <a:spLocks/>
              </p:cNvSpPr>
              <p:nvPr/>
            </p:nvSpPr>
            <p:spPr bwMode="auto">
              <a:xfrm>
                <a:off x="5405438" y="1790701"/>
                <a:ext cx="473075" cy="677863"/>
              </a:xfrm>
              <a:custGeom>
                <a:avLst/>
                <a:gdLst>
                  <a:gd name="T0" fmla="*/ 28 w 895"/>
                  <a:gd name="T1" fmla="*/ 1281 h 1281"/>
                  <a:gd name="T2" fmla="*/ 18 w 895"/>
                  <a:gd name="T3" fmla="*/ 1278 h 1281"/>
                  <a:gd name="T4" fmla="*/ 9 w 895"/>
                  <a:gd name="T5" fmla="*/ 1273 h 1281"/>
                  <a:gd name="T6" fmla="*/ 3 w 895"/>
                  <a:gd name="T7" fmla="*/ 1264 h 1281"/>
                  <a:gd name="T8" fmla="*/ 0 w 895"/>
                  <a:gd name="T9" fmla="*/ 1254 h 1281"/>
                  <a:gd name="T10" fmla="*/ 2 w 895"/>
                  <a:gd name="T11" fmla="*/ 21 h 1281"/>
                  <a:gd name="T12" fmla="*/ 6 w 895"/>
                  <a:gd name="T13" fmla="*/ 11 h 1281"/>
                  <a:gd name="T14" fmla="*/ 12 w 895"/>
                  <a:gd name="T15" fmla="*/ 4 h 1281"/>
                  <a:gd name="T16" fmla="*/ 22 w 895"/>
                  <a:gd name="T17" fmla="*/ 0 h 1281"/>
                  <a:gd name="T18" fmla="*/ 457 w 895"/>
                  <a:gd name="T19" fmla="*/ 0 h 1281"/>
                  <a:gd name="T20" fmla="*/ 467 w 895"/>
                  <a:gd name="T21" fmla="*/ 1 h 1281"/>
                  <a:gd name="T22" fmla="*/ 476 w 895"/>
                  <a:gd name="T23" fmla="*/ 7 h 1281"/>
                  <a:gd name="T24" fmla="*/ 481 w 895"/>
                  <a:gd name="T25" fmla="*/ 15 h 1281"/>
                  <a:gd name="T26" fmla="*/ 483 w 895"/>
                  <a:gd name="T27" fmla="*/ 26 h 1281"/>
                  <a:gd name="T28" fmla="*/ 481 w 895"/>
                  <a:gd name="T29" fmla="*/ 36 h 1281"/>
                  <a:gd name="T30" fmla="*/ 476 w 895"/>
                  <a:gd name="T31" fmla="*/ 44 h 1281"/>
                  <a:gd name="T32" fmla="*/ 467 w 895"/>
                  <a:gd name="T33" fmla="*/ 50 h 1281"/>
                  <a:gd name="T34" fmla="*/ 457 w 895"/>
                  <a:gd name="T35" fmla="*/ 51 h 1281"/>
                  <a:gd name="T36" fmla="*/ 54 w 895"/>
                  <a:gd name="T37" fmla="*/ 1228 h 1281"/>
                  <a:gd name="T38" fmla="*/ 843 w 895"/>
                  <a:gd name="T39" fmla="*/ 375 h 1281"/>
                  <a:gd name="T40" fmla="*/ 844 w 895"/>
                  <a:gd name="T41" fmla="*/ 365 h 1281"/>
                  <a:gd name="T42" fmla="*/ 850 w 895"/>
                  <a:gd name="T43" fmla="*/ 357 h 1281"/>
                  <a:gd name="T44" fmla="*/ 859 w 895"/>
                  <a:gd name="T45" fmla="*/ 351 h 1281"/>
                  <a:gd name="T46" fmla="*/ 869 w 895"/>
                  <a:gd name="T47" fmla="*/ 350 h 1281"/>
                  <a:gd name="T48" fmla="*/ 879 w 895"/>
                  <a:gd name="T49" fmla="*/ 351 h 1281"/>
                  <a:gd name="T50" fmla="*/ 887 w 895"/>
                  <a:gd name="T51" fmla="*/ 357 h 1281"/>
                  <a:gd name="T52" fmla="*/ 893 w 895"/>
                  <a:gd name="T53" fmla="*/ 365 h 1281"/>
                  <a:gd name="T54" fmla="*/ 895 w 895"/>
                  <a:gd name="T55" fmla="*/ 375 h 1281"/>
                  <a:gd name="T56" fmla="*/ 895 w 895"/>
                  <a:gd name="T57" fmla="*/ 1260 h 1281"/>
                  <a:gd name="T58" fmla="*/ 890 w 895"/>
                  <a:gd name="T59" fmla="*/ 1270 h 1281"/>
                  <a:gd name="T60" fmla="*/ 883 w 895"/>
                  <a:gd name="T61" fmla="*/ 1275 h 1281"/>
                  <a:gd name="T62" fmla="*/ 873 w 895"/>
                  <a:gd name="T6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281">
                    <a:moveTo>
                      <a:pt x="869" y="1281"/>
                    </a:moveTo>
                    <a:lnTo>
                      <a:pt x="28" y="1281"/>
                    </a:lnTo>
                    <a:lnTo>
                      <a:pt x="22" y="1280"/>
                    </a:lnTo>
                    <a:lnTo>
                      <a:pt x="18" y="1278"/>
                    </a:lnTo>
                    <a:lnTo>
                      <a:pt x="12" y="1275"/>
                    </a:lnTo>
                    <a:lnTo>
                      <a:pt x="9" y="1273"/>
                    </a:lnTo>
                    <a:lnTo>
                      <a:pt x="6" y="1270"/>
                    </a:lnTo>
                    <a:lnTo>
                      <a:pt x="3" y="1264"/>
                    </a:lnTo>
                    <a:lnTo>
                      <a:pt x="2" y="1260"/>
                    </a:lnTo>
                    <a:lnTo>
                      <a:pt x="0" y="1254"/>
                    </a:lnTo>
                    <a:lnTo>
                      <a:pt x="0" y="26"/>
                    </a:lnTo>
                    <a:lnTo>
                      <a:pt x="2" y="21"/>
                    </a:lnTo>
                    <a:lnTo>
                      <a:pt x="3" y="15"/>
                    </a:lnTo>
                    <a:lnTo>
                      <a:pt x="6" y="11"/>
                    </a:lnTo>
                    <a:lnTo>
                      <a:pt x="9" y="7"/>
                    </a:lnTo>
                    <a:lnTo>
                      <a:pt x="12" y="4"/>
                    </a:lnTo>
                    <a:lnTo>
                      <a:pt x="18" y="1"/>
                    </a:lnTo>
                    <a:lnTo>
                      <a:pt x="22" y="0"/>
                    </a:lnTo>
                    <a:lnTo>
                      <a:pt x="28" y="0"/>
                    </a:lnTo>
                    <a:lnTo>
                      <a:pt x="457" y="0"/>
                    </a:lnTo>
                    <a:lnTo>
                      <a:pt x="463" y="0"/>
                    </a:lnTo>
                    <a:lnTo>
                      <a:pt x="467" y="1"/>
                    </a:lnTo>
                    <a:lnTo>
                      <a:pt x="471" y="4"/>
                    </a:lnTo>
                    <a:lnTo>
                      <a:pt x="476" y="7"/>
                    </a:lnTo>
                    <a:lnTo>
                      <a:pt x="478" y="11"/>
                    </a:lnTo>
                    <a:lnTo>
                      <a:pt x="481" y="15"/>
                    </a:lnTo>
                    <a:lnTo>
                      <a:pt x="483" y="21"/>
                    </a:lnTo>
                    <a:lnTo>
                      <a:pt x="483" y="26"/>
                    </a:lnTo>
                    <a:lnTo>
                      <a:pt x="483" y="31"/>
                    </a:lnTo>
                    <a:lnTo>
                      <a:pt x="481" y="36"/>
                    </a:lnTo>
                    <a:lnTo>
                      <a:pt x="478" y="40"/>
                    </a:lnTo>
                    <a:lnTo>
                      <a:pt x="476" y="44"/>
                    </a:lnTo>
                    <a:lnTo>
                      <a:pt x="471" y="47"/>
                    </a:lnTo>
                    <a:lnTo>
                      <a:pt x="467" y="50"/>
                    </a:lnTo>
                    <a:lnTo>
                      <a:pt x="463" y="51"/>
                    </a:lnTo>
                    <a:lnTo>
                      <a:pt x="457" y="51"/>
                    </a:lnTo>
                    <a:lnTo>
                      <a:pt x="54" y="51"/>
                    </a:lnTo>
                    <a:lnTo>
                      <a:pt x="54" y="1228"/>
                    </a:lnTo>
                    <a:lnTo>
                      <a:pt x="843" y="1228"/>
                    </a:lnTo>
                    <a:lnTo>
                      <a:pt x="843" y="375"/>
                    </a:lnTo>
                    <a:lnTo>
                      <a:pt x="843" y="370"/>
                    </a:lnTo>
                    <a:lnTo>
                      <a:pt x="844" y="365"/>
                    </a:lnTo>
                    <a:lnTo>
                      <a:pt x="847" y="361"/>
                    </a:lnTo>
                    <a:lnTo>
                      <a:pt x="850" y="357"/>
                    </a:lnTo>
                    <a:lnTo>
                      <a:pt x="854" y="354"/>
                    </a:lnTo>
                    <a:lnTo>
                      <a:pt x="859" y="351"/>
                    </a:lnTo>
                    <a:lnTo>
                      <a:pt x="863" y="350"/>
                    </a:lnTo>
                    <a:lnTo>
                      <a:pt x="869" y="350"/>
                    </a:lnTo>
                    <a:lnTo>
                      <a:pt x="873" y="350"/>
                    </a:lnTo>
                    <a:lnTo>
                      <a:pt x="879" y="351"/>
                    </a:lnTo>
                    <a:lnTo>
                      <a:pt x="883" y="354"/>
                    </a:lnTo>
                    <a:lnTo>
                      <a:pt x="887" y="357"/>
                    </a:lnTo>
                    <a:lnTo>
                      <a:pt x="890" y="361"/>
                    </a:lnTo>
                    <a:lnTo>
                      <a:pt x="893" y="365"/>
                    </a:lnTo>
                    <a:lnTo>
                      <a:pt x="895" y="370"/>
                    </a:lnTo>
                    <a:lnTo>
                      <a:pt x="895" y="375"/>
                    </a:lnTo>
                    <a:lnTo>
                      <a:pt x="895" y="1254"/>
                    </a:lnTo>
                    <a:lnTo>
                      <a:pt x="895" y="1260"/>
                    </a:lnTo>
                    <a:lnTo>
                      <a:pt x="893" y="1264"/>
                    </a:lnTo>
                    <a:lnTo>
                      <a:pt x="890" y="1270"/>
                    </a:lnTo>
                    <a:lnTo>
                      <a:pt x="887" y="1273"/>
                    </a:lnTo>
                    <a:lnTo>
                      <a:pt x="883" y="1275"/>
                    </a:lnTo>
                    <a:lnTo>
                      <a:pt x="879" y="1278"/>
                    </a:lnTo>
                    <a:lnTo>
                      <a:pt x="873" y="1280"/>
                    </a:lnTo>
                    <a:lnTo>
                      <a:pt x="869"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83">
                <a:extLst>
                  <a:ext uri="{FF2B5EF4-FFF2-40B4-BE49-F238E27FC236}">
                    <a16:creationId xmlns:a16="http://schemas.microsoft.com/office/drawing/2014/main" id="{F221BF95-B15E-466D-ACBF-5FE69EE1CA67}"/>
                  </a:ext>
                </a:extLst>
              </p:cNvPr>
              <p:cNvSpPr>
                <a:spLocks/>
              </p:cNvSpPr>
              <p:nvPr/>
            </p:nvSpPr>
            <p:spPr bwMode="auto">
              <a:xfrm>
                <a:off x="5376863" y="1878013"/>
                <a:ext cx="85725" cy="28575"/>
              </a:xfrm>
              <a:custGeom>
                <a:avLst/>
                <a:gdLst>
                  <a:gd name="T0" fmla="*/ 136 w 162"/>
                  <a:gd name="T1" fmla="*/ 53 h 53"/>
                  <a:gd name="T2" fmla="*/ 26 w 162"/>
                  <a:gd name="T3" fmla="*/ 53 h 53"/>
                  <a:gd name="T4" fmla="*/ 20 w 162"/>
                  <a:gd name="T5" fmla="*/ 52 h 53"/>
                  <a:gd name="T6" fmla="*/ 15 w 162"/>
                  <a:gd name="T7" fmla="*/ 50 h 53"/>
                  <a:gd name="T8" fmla="*/ 11 w 162"/>
                  <a:gd name="T9" fmla="*/ 49 h 53"/>
                  <a:gd name="T10" fmla="*/ 7 w 162"/>
                  <a:gd name="T11" fmla="*/ 44 h 53"/>
                  <a:gd name="T12" fmla="*/ 4 w 162"/>
                  <a:gd name="T13" fmla="*/ 41 h 53"/>
                  <a:gd name="T14" fmla="*/ 1 w 162"/>
                  <a:gd name="T15" fmla="*/ 37 h 53"/>
                  <a:gd name="T16" fmla="*/ 0 w 162"/>
                  <a:gd name="T17" fmla="*/ 31 h 53"/>
                  <a:gd name="T18" fmla="*/ 0 w 162"/>
                  <a:gd name="T19" fmla="*/ 27 h 53"/>
                  <a:gd name="T20" fmla="*/ 0 w 162"/>
                  <a:gd name="T21" fmla="*/ 21 h 53"/>
                  <a:gd name="T22" fmla="*/ 1 w 162"/>
                  <a:gd name="T23" fmla="*/ 16 h 53"/>
                  <a:gd name="T24" fmla="*/ 4 w 162"/>
                  <a:gd name="T25" fmla="*/ 11 h 53"/>
                  <a:gd name="T26" fmla="*/ 7 w 162"/>
                  <a:gd name="T27" fmla="*/ 8 h 53"/>
                  <a:gd name="T28" fmla="*/ 11 w 162"/>
                  <a:gd name="T29" fmla="*/ 4 h 53"/>
                  <a:gd name="T30" fmla="*/ 15 w 162"/>
                  <a:gd name="T31" fmla="*/ 3 h 53"/>
                  <a:gd name="T32" fmla="*/ 20 w 162"/>
                  <a:gd name="T33" fmla="*/ 1 h 53"/>
                  <a:gd name="T34" fmla="*/ 26 w 162"/>
                  <a:gd name="T35" fmla="*/ 0 h 53"/>
                  <a:gd name="T36" fmla="*/ 136 w 162"/>
                  <a:gd name="T37" fmla="*/ 0 h 53"/>
                  <a:gd name="T38" fmla="*/ 142 w 162"/>
                  <a:gd name="T39" fmla="*/ 1 h 53"/>
                  <a:gd name="T40" fmla="*/ 147 w 162"/>
                  <a:gd name="T41" fmla="*/ 3 h 53"/>
                  <a:gd name="T42" fmla="*/ 152 w 162"/>
                  <a:gd name="T43" fmla="*/ 4 h 53"/>
                  <a:gd name="T44" fmla="*/ 155 w 162"/>
                  <a:gd name="T45" fmla="*/ 8 h 53"/>
                  <a:gd name="T46" fmla="*/ 158 w 162"/>
                  <a:gd name="T47" fmla="*/ 11 h 53"/>
                  <a:gd name="T48" fmla="*/ 161 w 162"/>
                  <a:gd name="T49" fmla="*/ 16 h 53"/>
                  <a:gd name="T50" fmla="*/ 162 w 162"/>
                  <a:gd name="T51" fmla="*/ 21 h 53"/>
                  <a:gd name="T52" fmla="*/ 162 w 162"/>
                  <a:gd name="T53" fmla="*/ 27 h 53"/>
                  <a:gd name="T54" fmla="*/ 162 w 162"/>
                  <a:gd name="T55" fmla="*/ 31 h 53"/>
                  <a:gd name="T56" fmla="*/ 161 w 162"/>
                  <a:gd name="T57" fmla="*/ 37 h 53"/>
                  <a:gd name="T58" fmla="*/ 158 w 162"/>
                  <a:gd name="T59" fmla="*/ 41 h 53"/>
                  <a:gd name="T60" fmla="*/ 155 w 162"/>
                  <a:gd name="T61" fmla="*/ 44 h 53"/>
                  <a:gd name="T62" fmla="*/ 152 w 162"/>
                  <a:gd name="T63" fmla="*/ 49 h 53"/>
                  <a:gd name="T64" fmla="*/ 147 w 162"/>
                  <a:gd name="T65" fmla="*/ 50 h 53"/>
                  <a:gd name="T66" fmla="*/ 142 w 162"/>
                  <a:gd name="T67" fmla="*/ 52 h 53"/>
                  <a:gd name="T68" fmla="*/ 136 w 162"/>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3">
                    <a:moveTo>
                      <a:pt x="136" y="53"/>
                    </a:moveTo>
                    <a:lnTo>
                      <a:pt x="26" y="53"/>
                    </a:lnTo>
                    <a:lnTo>
                      <a:pt x="20" y="52"/>
                    </a:lnTo>
                    <a:lnTo>
                      <a:pt x="15" y="50"/>
                    </a:lnTo>
                    <a:lnTo>
                      <a:pt x="11" y="49"/>
                    </a:lnTo>
                    <a:lnTo>
                      <a:pt x="7" y="44"/>
                    </a:lnTo>
                    <a:lnTo>
                      <a:pt x="4" y="41"/>
                    </a:lnTo>
                    <a:lnTo>
                      <a:pt x="1" y="37"/>
                    </a:lnTo>
                    <a:lnTo>
                      <a:pt x="0" y="31"/>
                    </a:lnTo>
                    <a:lnTo>
                      <a:pt x="0" y="27"/>
                    </a:lnTo>
                    <a:lnTo>
                      <a:pt x="0" y="21"/>
                    </a:lnTo>
                    <a:lnTo>
                      <a:pt x="1" y="16"/>
                    </a:lnTo>
                    <a:lnTo>
                      <a:pt x="4" y="11"/>
                    </a:lnTo>
                    <a:lnTo>
                      <a:pt x="7" y="8"/>
                    </a:lnTo>
                    <a:lnTo>
                      <a:pt x="11" y="4"/>
                    </a:lnTo>
                    <a:lnTo>
                      <a:pt x="15" y="3"/>
                    </a:lnTo>
                    <a:lnTo>
                      <a:pt x="20" y="1"/>
                    </a:lnTo>
                    <a:lnTo>
                      <a:pt x="26" y="0"/>
                    </a:lnTo>
                    <a:lnTo>
                      <a:pt x="136" y="0"/>
                    </a:lnTo>
                    <a:lnTo>
                      <a:pt x="142" y="1"/>
                    </a:lnTo>
                    <a:lnTo>
                      <a:pt x="147" y="3"/>
                    </a:lnTo>
                    <a:lnTo>
                      <a:pt x="152" y="4"/>
                    </a:lnTo>
                    <a:lnTo>
                      <a:pt x="155" y="8"/>
                    </a:lnTo>
                    <a:lnTo>
                      <a:pt x="158" y="11"/>
                    </a:lnTo>
                    <a:lnTo>
                      <a:pt x="161" y="16"/>
                    </a:lnTo>
                    <a:lnTo>
                      <a:pt x="162" y="21"/>
                    </a:lnTo>
                    <a:lnTo>
                      <a:pt x="162" y="27"/>
                    </a:lnTo>
                    <a:lnTo>
                      <a:pt x="162" y="31"/>
                    </a:lnTo>
                    <a:lnTo>
                      <a:pt x="161" y="37"/>
                    </a:lnTo>
                    <a:lnTo>
                      <a:pt x="158" y="41"/>
                    </a:lnTo>
                    <a:lnTo>
                      <a:pt x="155" y="44"/>
                    </a:lnTo>
                    <a:lnTo>
                      <a:pt x="152" y="49"/>
                    </a:lnTo>
                    <a:lnTo>
                      <a:pt x="147" y="50"/>
                    </a:lnTo>
                    <a:lnTo>
                      <a:pt x="142" y="52"/>
                    </a:lnTo>
                    <a:lnTo>
                      <a:pt x="136"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84">
                <a:extLst>
                  <a:ext uri="{FF2B5EF4-FFF2-40B4-BE49-F238E27FC236}">
                    <a16:creationId xmlns:a16="http://schemas.microsoft.com/office/drawing/2014/main" id="{6B89FA45-2F3E-4966-8C4C-63D0C1076872}"/>
                  </a:ext>
                </a:extLst>
              </p:cNvPr>
              <p:cNvSpPr>
                <a:spLocks/>
              </p:cNvSpPr>
              <p:nvPr/>
            </p:nvSpPr>
            <p:spPr bwMode="auto">
              <a:xfrm>
                <a:off x="5376863" y="1997076"/>
                <a:ext cx="85725" cy="26988"/>
              </a:xfrm>
              <a:custGeom>
                <a:avLst/>
                <a:gdLst>
                  <a:gd name="T0" fmla="*/ 136 w 162"/>
                  <a:gd name="T1" fmla="*/ 52 h 52"/>
                  <a:gd name="T2" fmla="*/ 26 w 162"/>
                  <a:gd name="T3" fmla="*/ 52 h 52"/>
                  <a:gd name="T4" fmla="*/ 20 w 162"/>
                  <a:gd name="T5" fmla="*/ 51 h 52"/>
                  <a:gd name="T6" fmla="*/ 15 w 162"/>
                  <a:gd name="T7" fmla="*/ 49 h 52"/>
                  <a:gd name="T8" fmla="*/ 11 w 162"/>
                  <a:gd name="T9" fmla="*/ 48 h 52"/>
                  <a:gd name="T10" fmla="*/ 7 w 162"/>
                  <a:gd name="T11" fmla="*/ 44 h 52"/>
                  <a:gd name="T12" fmla="*/ 4 w 162"/>
                  <a:gd name="T13" fmla="*/ 41 h 52"/>
                  <a:gd name="T14" fmla="*/ 1 w 162"/>
                  <a:gd name="T15" fmla="*/ 36 h 52"/>
                  <a:gd name="T16" fmla="*/ 0 w 162"/>
                  <a:gd name="T17" fmla="*/ 31 h 52"/>
                  <a:gd name="T18" fmla="*/ 0 w 162"/>
                  <a:gd name="T19" fmla="*/ 26 h 52"/>
                  <a:gd name="T20" fmla="*/ 0 w 162"/>
                  <a:gd name="T21" fmla="*/ 20 h 52"/>
                  <a:gd name="T22" fmla="*/ 1 w 162"/>
                  <a:gd name="T23" fmla="*/ 16 h 52"/>
                  <a:gd name="T24" fmla="*/ 4 w 162"/>
                  <a:gd name="T25" fmla="*/ 12 h 52"/>
                  <a:gd name="T26" fmla="*/ 7 w 162"/>
                  <a:gd name="T27" fmla="*/ 8 h 52"/>
                  <a:gd name="T28" fmla="*/ 11 w 162"/>
                  <a:gd name="T29" fmla="*/ 5 h 52"/>
                  <a:gd name="T30" fmla="*/ 15 w 162"/>
                  <a:gd name="T31" fmla="*/ 2 h 52"/>
                  <a:gd name="T32" fmla="*/ 20 w 162"/>
                  <a:gd name="T33" fmla="*/ 0 h 52"/>
                  <a:gd name="T34" fmla="*/ 26 w 162"/>
                  <a:gd name="T35" fmla="*/ 0 h 52"/>
                  <a:gd name="T36" fmla="*/ 136 w 162"/>
                  <a:gd name="T37" fmla="*/ 0 h 52"/>
                  <a:gd name="T38" fmla="*/ 142 w 162"/>
                  <a:gd name="T39" fmla="*/ 0 h 52"/>
                  <a:gd name="T40" fmla="*/ 147 w 162"/>
                  <a:gd name="T41" fmla="*/ 2 h 52"/>
                  <a:gd name="T42" fmla="*/ 152 w 162"/>
                  <a:gd name="T43" fmla="*/ 5 h 52"/>
                  <a:gd name="T44" fmla="*/ 155 w 162"/>
                  <a:gd name="T45" fmla="*/ 8 h 52"/>
                  <a:gd name="T46" fmla="*/ 158 w 162"/>
                  <a:gd name="T47" fmla="*/ 12 h 52"/>
                  <a:gd name="T48" fmla="*/ 161 w 162"/>
                  <a:gd name="T49" fmla="*/ 16 h 52"/>
                  <a:gd name="T50" fmla="*/ 162 w 162"/>
                  <a:gd name="T51" fmla="*/ 20 h 52"/>
                  <a:gd name="T52" fmla="*/ 162 w 162"/>
                  <a:gd name="T53" fmla="*/ 26 h 52"/>
                  <a:gd name="T54" fmla="*/ 162 w 162"/>
                  <a:gd name="T55" fmla="*/ 31 h 52"/>
                  <a:gd name="T56" fmla="*/ 161 w 162"/>
                  <a:gd name="T57" fmla="*/ 36 h 52"/>
                  <a:gd name="T58" fmla="*/ 158 w 162"/>
                  <a:gd name="T59" fmla="*/ 41 h 52"/>
                  <a:gd name="T60" fmla="*/ 155 w 162"/>
                  <a:gd name="T61" fmla="*/ 44 h 52"/>
                  <a:gd name="T62" fmla="*/ 152 w 162"/>
                  <a:gd name="T63" fmla="*/ 48 h 52"/>
                  <a:gd name="T64" fmla="*/ 147 w 162"/>
                  <a:gd name="T65" fmla="*/ 49 h 52"/>
                  <a:gd name="T66" fmla="*/ 142 w 162"/>
                  <a:gd name="T67" fmla="*/ 51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1"/>
                    </a:lnTo>
                    <a:lnTo>
                      <a:pt x="15" y="49"/>
                    </a:lnTo>
                    <a:lnTo>
                      <a:pt x="11" y="48"/>
                    </a:lnTo>
                    <a:lnTo>
                      <a:pt x="7" y="44"/>
                    </a:lnTo>
                    <a:lnTo>
                      <a:pt x="4" y="41"/>
                    </a:lnTo>
                    <a:lnTo>
                      <a:pt x="1" y="36"/>
                    </a:lnTo>
                    <a:lnTo>
                      <a:pt x="0" y="31"/>
                    </a:lnTo>
                    <a:lnTo>
                      <a:pt x="0" y="26"/>
                    </a:lnTo>
                    <a:lnTo>
                      <a:pt x="0" y="20"/>
                    </a:lnTo>
                    <a:lnTo>
                      <a:pt x="1" y="16"/>
                    </a:lnTo>
                    <a:lnTo>
                      <a:pt x="4" y="12"/>
                    </a:lnTo>
                    <a:lnTo>
                      <a:pt x="7" y="8"/>
                    </a:lnTo>
                    <a:lnTo>
                      <a:pt x="11" y="5"/>
                    </a:lnTo>
                    <a:lnTo>
                      <a:pt x="15" y="2"/>
                    </a:lnTo>
                    <a:lnTo>
                      <a:pt x="20" y="0"/>
                    </a:lnTo>
                    <a:lnTo>
                      <a:pt x="26" y="0"/>
                    </a:lnTo>
                    <a:lnTo>
                      <a:pt x="136" y="0"/>
                    </a:lnTo>
                    <a:lnTo>
                      <a:pt x="142" y="0"/>
                    </a:lnTo>
                    <a:lnTo>
                      <a:pt x="147" y="2"/>
                    </a:lnTo>
                    <a:lnTo>
                      <a:pt x="152" y="5"/>
                    </a:lnTo>
                    <a:lnTo>
                      <a:pt x="155" y="8"/>
                    </a:lnTo>
                    <a:lnTo>
                      <a:pt x="158" y="12"/>
                    </a:lnTo>
                    <a:lnTo>
                      <a:pt x="161" y="16"/>
                    </a:lnTo>
                    <a:lnTo>
                      <a:pt x="162" y="20"/>
                    </a:lnTo>
                    <a:lnTo>
                      <a:pt x="162" y="26"/>
                    </a:lnTo>
                    <a:lnTo>
                      <a:pt x="162" y="31"/>
                    </a:lnTo>
                    <a:lnTo>
                      <a:pt x="161" y="36"/>
                    </a:lnTo>
                    <a:lnTo>
                      <a:pt x="158" y="41"/>
                    </a:lnTo>
                    <a:lnTo>
                      <a:pt x="155" y="44"/>
                    </a:lnTo>
                    <a:lnTo>
                      <a:pt x="152" y="48"/>
                    </a:lnTo>
                    <a:lnTo>
                      <a:pt x="147" y="49"/>
                    </a:lnTo>
                    <a:lnTo>
                      <a:pt x="142" y="51"/>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85">
                <a:extLst>
                  <a:ext uri="{FF2B5EF4-FFF2-40B4-BE49-F238E27FC236}">
                    <a16:creationId xmlns:a16="http://schemas.microsoft.com/office/drawing/2014/main" id="{5D4C7AF4-1C79-4DA5-A8AF-7C9E4DB79501}"/>
                  </a:ext>
                </a:extLst>
              </p:cNvPr>
              <p:cNvSpPr>
                <a:spLocks/>
              </p:cNvSpPr>
              <p:nvPr/>
            </p:nvSpPr>
            <p:spPr bwMode="auto">
              <a:xfrm>
                <a:off x="5376863" y="2116138"/>
                <a:ext cx="85725" cy="26988"/>
              </a:xfrm>
              <a:custGeom>
                <a:avLst/>
                <a:gdLst>
                  <a:gd name="T0" fmla="*/ 136 w 162"/>
                  <a:gd name="T1" fmla="*/ 51 h 51"/>
                  <a:gd name="T2" fmla="*/ 26 w 162"/>
                  <a:gd name="T3" fmla="*/ 51 h 51"/>
                  <a:gd name="T4" fmla="*/ 20 w 162"/>
                  <a:gd name="T5" fmla="*/ 51 h 51"/>
                  <a:gd name="T6" fmla="*/ 15 w 162"/>
                  <a:gd name="T7" fmla="*/ 50 h 51"/>
                  <a:gd name="T8" fmla="*/ 11 w 162"/>
                  <a:gd name="T9" fmla="*/ 47 h 51"/>
                  <a:gd name="T10" fmla="*/ 7 w 162"/>
                  <a:gd name="T11" fmla="*/ 44 h 51"/>
                  <a:gd name="T12" fmla="*/ 4 w 162"/>
                  <a:gd name="T13" fmla="*/ 40 h 51"/>
                  <a:gd name="T14" fmla="*/ 1 w 162"/>
                  <a:gd name="T15" fmla="*/ 36 h 51"/>
                  <a:gd name="T16" fmla="*/ 0 w 162"/>
                  <a:gd name="T17" fmla="*/ 30 h 51"/>
                  <a:gd name="T18" fmla="*/ 0 w 162"/>
                  <a:gd name="T19" fmla="*/ 25 h 51"/>
                  <a:gd name="T20" fmla="*/ 0 w 162"/>
                  <a:gd name="T21" fmla="*/ 20 h 51"/>
                  <a:gd name="T22" fmla="*/ 1 w 162"/>
                  <a:gd name="T23" fmla="*/ 15 h 51"/>
                  <a:gd name="T24" fmla="*/ 4 w 162"/>
                  <a:gd name="T25" fmla="*/ 11 h 51"/>
                  <a:gd name="T26" fmla="*/ 7 w 162"/>
                  <a:gd name="T27" fmla="*/ 7 h 51"/>
                  <a:gd name="T28" fmla="*/ 11 w 162"/>
                  <a:gd name="T29" fmla="*/ 4 h 51"/>
                  <a:gd name="T30" fmla="*/ 15 w 162"/>
                  <a:gd name="T31" fmla="*/ 1 h 51"/>
                  <a:gd name="T32" fmla="*/ 20 w 162"/>
                  <a:gd name="T33" fmla="*/ 0 h 51"/>
                  <a:gd name="T34" fmla="*/ 26 w 162"/>
                  <a:gd name="T35" fmla="*/ 0 h 51"/>
                  <a:gd name="T36" fmla="*/ 136 w 162"/>
                  <a:gd name="T37" fmla="*/ 0 h 51"/>
                  <a:gd name="T38" fmla="*/ 142 w 162"/>
                  <a:gd name="T39" fmla="*/ 0 h 51"/>
                  <a:gd name="T40" fmla="*/ 147 w 162"/>
                  <a:gd name="T41" fmla="*/ 1 h 51"/>
                  <a:gd name="T42" fmla="*/ 152 w 162"/>
                  <a:gd name="T43" fmla="*/ 4 h 51"/>
                  <a:gd name="T44" fmla="*/ 155 w 162"/>
                  <a:gd name="T45" fmla="*/ 7 h 51"/>
                  <a:gd name="T46" fmla="*/ 158 w 162"/>
                  <a:gd name="T47" fmla="*/ 11 h 51"/>
                  <a:gd name="T48" fmla="*/ 161 w 162"/>
                  <a:gd name="T49" fmla="*/ 15 h 51"/>
                  <a:gd name="T50" fmla="*/ 162 w 162"/>
                  <a:gd name="T51" fmla="*/ 20 h 51"/>
                  <a:gd name="T52" fmla="*/ 162 w 162"/>
                  <a:gd name="T53" fmla="*/ 25 h 51"/>
                  <a:gd name="T54" fmla="*/ 162 w 162"/>
                  <a:gd name="T55" fmla="*/ 30 h 51"/>
                  <a:gd name="T56" fmla="*/ 161 w 162"/>
                  <a:gd name="T57" fmla="*/ 36 h 51"/>
                  <a:gd name="T58" fmla="*/ 158 w 162"/>
                  <a:gd name="T59" fmla="*/ 40 h 51"/>
                  <a:gd name="T60" fmla="*/ 155 w 162"/>
                  <a:gd name="T61" fmla="*/ 44 h 51"/>
                  <a:gd name="T62" fmla="*/ 152 w 162"/>
                  <a:gd name="T63" fmla="*/ 47 h 51"/>
                  <a:gd name="T64" fmla="*/ 147 w 162"/>
                  <a:gd name="T65" fmla="*/ 50 h 51"/>
                  <a:gd name="T66" fmla="*/ 142 w 162"/>
                  <a:gd name="T67" fmla="*/ 51 h 51"/>
                  <a:gd name="T68" fmla="*/ 136 w 162"/>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1">
                    <a:moveTo>
                      <a:pt x="136" y="51"/>
                    </a:moveTo>
                    <a:lnTo>
                      <a:pt x="26" y="51"/>
                    </a:lnTo>
                    <a:lnTo>
                      <a:pt x="20" y="51"/>
                    </a:lnTo>
                    <a:lnTo>
                      <a:pt x="15" y="50"/>
                    </a:lnTo>
                    <a:lnTo>
                      <a:pt x="11" y="47"/>
                    </a:lnTo>
                    <a:lnTo>
                      <a:pt x="7" y="44"/>
                    </a:lnTo>
                    <a:lnTo>
                      <a:pt x="4" y="40"/>
                    </a:lnTo>
                    <a:lnTo>
                      <a:pt x="1" y="36"/>
                    </a:lnTo>
                    <a:lnTo>
                      <a:pt x="0" y="30"/>
                    </a:lnTo>
                    <a:lnTo>
                      <a:pt x="0" y="25"/>
                    </a:lnTo>
                    <a:lnTo>
                      <a:pt x="0" y="20"/>
                    </a:lnTo>
                    <a:lnTo>
                      <a:pt x="1" y="15"/>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5"/>
                    </a:lnTo>
                    <a:lnTo>
                      <a:pt x="162" y="20"/>
                    </a:lnTo>
                    <a:lnTo>
                      <a:pt x="162" y="25"/>
                    </a:lnTo>
                    <a:lnTo>
                      <a:pt x="162" y="30"/>
                    </a:lnTo>
                    <a:lnTo>
                      <a:pt x="161" y="36"/>
                    </a:lnTo>
                    <a:lnTo>
                      <a:pt x="158" y="40"/>
                    </a:lnTo>
                    <a:lnTo>
                      <a:pt x="155" y="44"/>
                    </a:lnTo>
                    <a:lnTo>
                      <a:pt x="152" y="47"/>
                    </a:lnTo>
                    <a:lnTo>
                      <a:pt x="147" y="50"/>
                    </a:lnTo>
                    <a:lnTo>
                      <a:pt x="142" y="51"/>
                    </a:lnTo>
                    <a:lnTo>
                      <a:pt x="1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86">
                <a:extLst>
                  <a:ext uri="{FF2B5EF4-FFF2-40B4-BE49-F238E27FC236}">
                    <a16:creationId xmlns:a16="http://schemas.microsoft.com/office/drawing/2014/main" id="{ECADFC1F-9D89-4E1D-B4BD-A120A06A2F52}"/>
                  </a:ext>
                </a:extLst>
              </p:cNvPr>
              <p:cNvSpPr>
                <a:spLocks/>
              </p:cNvSpPr>
              <p:nvPr/>
            </p:nvSpPr>
            <p:spPr bwMode="auto">
              <a:xfrm>
                <a:off x="5495925" y="2116138"/>
                <a:ext cx="295275" cy="26988"/>
              </a:xfrm>
              <a:custGeom>
                <a:avLst/>
                <a:gdLst>
                  <a:gd name="T0" fmla="*/ 531 w 557"/>
                  <a:gd name="T1" fmla="*/ 51 h 51"/>
                  <a:gd name="T2" fmla="*/ 26 w 557"/>
                  <a:gd name="T3" fmla="*/ 51 h 51"/>
                  <a:gd name="T4" fmla="*/ 20 w 557"/>
                  <a:gd name="T5" fmla="*/ 51 h 51"/>
                  <a:gd name="T6" fmla="*/ 16 w 557"/>
                  <a:gd name="T7" fmla="*/ 50 h 51"/>
                  <a:gd name="T8" fmla="*/ 11 w 557"/>
                  <a:gd name="T9" fmla="*/ 47 h 51"/>
                  <a:gd name="T10" fmla="*/ 7 w 557"/>
                  <a:gd name="T11" fmla="*/ 44 h 51"/>
                  <a:gd name="T12" fmla="*/ 4 w 557"/>
                  <a:gd name="T13" fmla="*/ 40 h 51"/>
                  <a:gd name="T14" fmla="*/ 1 w 557"/>
                  <a:gd name="T15" fmla="*/ 36 h 51"/>
                  <a:gd name="T16" fmla="*/ 0 w 557"/>
                  <a:gd name="T17" fmla="*/ 30 h 51"/>
                  <a:gd name="T18" fmla="*/ 0 w 557"/>
                  <a:gd name="T19" fmla="*/ 25 h 51"/>
                  <a:gd name="T20" fmla="*/ 0 w 557"/>
                  <a:gd name="T21" fmla="*/ 20 h 51"/>
                  <a:gd name="T22" fmla="*/ 1 w 557"/>
                  <a:gd name="T23" fmla="*/ 15 h 51"/>
                  <a:gd name="T24" fmla="*/ 4 w 557"/>
                  <a:gd name="T25" fmla="*/ 11 h 51"/>
                  <a:gd name="T26" fmla="*/ 7 w 557"/>
                  <a:gd name="T27" fmla="*/ 7 h 51"/>
                  <a:gd name="T28" fmla="*/ 11 w 557"/>
                  <a:gd name="T29" fmla="*/ 4 h 51"/>
                  <a:gd name="T30" fmla="*/ 16 w 557"/>
                  <a:gd name="T31" fmla="*/ 1 h 51"/>
                  <a:gd name="T32" fmla="*/ 20 w 557"/>
                  <a:gd name="T33" fmla="*/ 0 h 51"/>
                  <a:gd name="T34" fmla="*/ 26 w 557"/>
                  <a:gd name="T35" fmla="*/ 0 h 51"/>
                  <a:gd name="T36" fmla="*/ 531 w 557"/>
                  <a:gd name="T37" fmla="*/ 0 h 51"/>
                  <a:gd name="T38" fmla="*/ 537 w 557"/>
                  <a:gd name="T39" fmla="*/ 0 h 51"/>
                  <a:gd name="T40" fmla="*/ 541 w 557"/>
                  <a:gd name="T41" fmla="*/ 1 h 51"/>
                  <a:gd name="T42" fmla="*/ 545 w 557"/>
                  <a:gd name="T43" fmla="*/ 4 h 51"/>
                  <a:gd name="T44" fmla="*/ 550 w 557"/>
                  <a:gd name="T45" fmla="*/ 7 h 51"/>
                  <a:gd name="T46" fmla="*/ 553 w 557"/>
                  <a:gd name="T47" fmla="*/ 11 h 51"/>
                  <a:gd name="T48" fmla="*/ 556 w 557"/>
                  <a:gd name="T49" fmla="*/ 15 h 51"/>
                  <a:gd name="T50" fmla="*/ 557 w 557"/>
                  <a:gd name="T51" fmla="*/ 20 h 51"/>
                  <a:gd name="T52" fmla="*/ 557 w 557"/>
                  <a:gd name="T53" fmla="*/ 25 h 51"/>
                  <a:gd name="T54" fmla="*/ 557 w 557"/>
                  <a:gd name="T55" fmla="*/ 30 h 51"/>
                  <a:gd name="T56" fmla="*/ 556 w 557"/>
                  <a:gd name="T57" fmla="*/ 36 h 51"/>
                  <a:gd name="T58" fmla="*/ 553 w 557"/>
                  <a:gd name="T59" fmla="*/ 40 h 51"/>
                  <a:gd name="T60" fmla="*/ 550 w 557"/>
                  <a:gd name="T61" fmla="*/ 44 h 51"/>
                  <a:gd name="T62" fmla="*/ 545 w 557"/>
                  <a:gd name="T63" fmla="*/ 47 h 51"/>
                  <a:gd name="T64" fmla="*/ 541 w 557"/>
                  <a:gd name="T65" fmla="*/ 50 h 51"/>
                  <a:gd name="T66" fmla="*/ 537 w 557"/>
                  <a:gd name="T67" fmla="*/ 51 h 51"/>
                  <a:gd name="T68" fmla="*/ 531 w 55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1">
                    <a:moveTo>
                      <a:pt x="531" y="51"/>
                    </a:moveTo>
                    <a:lnTo>
                      <a:pt x="26" y="51"/>
                    </a:lnTo>
                    <a:lnTo>
                      <a:pt x="20" y="51"/>
                    </a:lnTo>
                    <a:lnTo>
                      <a:pt x="16" y="50"/>
                    </a:lnTo>
                    <a:lnTo>
                      <a:pt x="11" y="47"/>
                    </a:lnTo>
                    <a:lnTo>
                      <a:pt x="7" y="44"/>
                    </a:lnTo>
                    <a:lnTo>
                      <a:pt x="4" y="40"/>
                    </a:lnTo>
                    <a:lnTo>
                      <a:pt x="1" y="36"/>
                    </a:lnTo>
                    <a:lnTo>
                      <a:pt x="0" y="30"/>
                    </a:lnTo>
                    <a:lnTo>
                      <a:pt x="0" y="25"/>
                    </a:lnTo>
                    <a:lnTo>
                      <a:pt x="0" y="20"/>
                    </a:lnTo>
                    <a:lnTo>
                      <a:pt x="1" y="15"/>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5"/>
                    </a:lnTo>
                    <a:lnTo>
                      <a:pt x="557" y="20"/>
                    </a:lnTo>
                    <a:lnTo>
                      <a:pt x="557" y="25"/>
                    </a:lnTo>
                    <a:lnTo>
                      <a:pt x="557" y="30"/>
                    </a:lnTo>
                    <a:lnTo>
                      <a:pt x="556" y="36"/>
                    </a:lnTo>
                    <a:lnTo>
                      <a:pt x="553" y="40"/>
                    </a:lnTo>
                    <a:lnTo>
                      <a:pt x="550" y="44"/>
                    </a:lnTo>
                    <a:lnTo>
                      <a:pt x="545" y="47"/>
                    </a:lnTo>
                    <a:lnTo>
                      <a:pt x="541" y="50"/>
                    </a:lnTo>
                    <a:lnTo>
                      <a:pt x="537" y="51"/>
                    </a:lnTo>
                    <a:lnTo>
                      <a:pt x="53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87">
                <a:extLst>
                  <a:ext uri="{FF2B5EF4-FFF2-40B4-BE49-F238E27FC236}">
                    <a16:creationId xmlns:a16="http://schemas.microsoft.com/office/drawing/2014/main" id="{0373D4D5-6FDE-41EC-9AC6-07E997409146}"/>
                  </a:ext>
                </a:extLst>
              </p:cNvPr>
              <p:cNvSpPr>
                <a:spLocks/>
              </p:cNvSpPr>
              <p:nvPr/>
            </p:nvSpPr>
            <p:spPr bwMode="auto">
              <a:xfrm>
                <a:off x="5495925" y="2233613"/>
                <a:ext cx="295275" cy="26988"/>
              </a:xfrm>
              <a:custGeom>
                <a:avLst/>
                <a:gdLst>
                  <a:gd name="T0" fmla="*/ 531 w 557"/>
                  <a:gd name="T1" fmla="*/ 52 h 52"/>
                  <a:gd name="T2" fmla="*/ 26 w 557"/>
                  <a:gd name="T3" fmla="*/ 52 h 52"/>
                  <a:gd name="T4" fmla="*/ 20 w 557"/>
                  <a:gd name="T5" fmla="*/ 52 h 52"/>
                  <a:gd name="T6" fmla="*/ 16 w 557"/>
                  <a:gd name="T7" fmla="*/ 50 h 52"/>
                  <a:gd name="T8" fmla="*/ 11 w 557"/>
                  <a:gd name="T9" fmla="*/ 47 h 52"/>
                  <a:gd name="T10" fmla="*/ 7 w 557"/>
                  <a:gd name="T11" fmla="*/ 44 h 52"/>
                  <a:gd name="T12" fmla="*/ 4 w 557"/>
                  <a:gd name="T13" fmla="*/ 40 h 52"/>
                  <a:gd name="T14" fmla="*/ 1 w 557"/>
                  <a:gd name="T15" fmla="*/ 36 h 52"/>
                  <a:gd name="T16" fmla="*/ 0 w 557"/>
                  <a:gd name="T17" fmla="*/ 31 h 52"/>
                  <a:gd name="T18" fmla="*/ 0 w 557"/>
                  <a:gd name="T19" fmla="*/ 26 h 52"/>
                  <a:gd name="T20" fmla="*/ 0 w 557"/>
                  <a:gd name="T21" fmla="*/ 20 h 52"/>
                  <a:gd name="T22" fmla="*/ 1 w 557"/>
                  <a:gd name="T23" fmla="*/ 16 h 52"/>
                  <a:gd name="T24" fmla="*/ 4 w 557"/>
                  <a:gd name="T25" fmla="*/ 11 h 52"/>
                  <a:gd name="T26" fmla="*/ 7 w 557"/>
                  <a:gd name="T27" fmla="*/ 7 h 52"/>
                  <a:gd name="T28" fmla="*/ 11 w 557"/>
                  <a:gd name="T29" fmla="*/ 4 h 52"/>
                  <a:gd name="T30" fmla="*/ 16 w 557"/>
                  <a:gd name="T31" fmla="*/ 1 h 52"/>
                  <a:gd name="T32" fmla="*/ 20 w 557"/>
                  <a:gd name="T33" fmla="*/ 0 h 52"/>
                  <a:gd name="T34" fmla="*/ 26 w 557"/>
                  <a:gd name="T35" fmla="*/ 0 h 52"/>
                  <a:gd name="T36" fmla="*/ 531 w 557"/>
                  <a:gd name="T37" fmla="*/ 0 h 52"/>
                  <a:gd name="T38" fmla="*/ 537 w 557"/>
                  <a:gd name="T39" fmla="*/ 0 h 52"/>
                  <a:gd name="T40" fmla="*/ 541 w 557"/>
                  <a:gd name="T41" fmla="*/ 1 h 52"/>
                  <a:gd name="T42" fmla="*/ 545 w 557"/>
                  <a:gd name="T43" fmla="*/ 4 h 52"/>
                  <a:gd name="T44" fmla="*/ 550 w 557"/>
                  <a:gd name="T45" fmla="*/ 7 h 52"/>
                  <a:gd name="T46" fmla="*/ 553 w 557"/>
                  <a:gd name="T47" fmla="*/ 11 h 52"/>
                  <a:gd name="T48" fmla="*/ 556 w 557"/>
                  <a:gd name="T49" fmla="*/ 16 h 52"/>
                  <a:gd name="T50" fmla="*/ 557 w 557"/>
                  <a:gd name="T51" fmla="*/ 20 h 52"/>
                  <a:gd name="T52" fmla="*/ 557 w 557"/>
                  <a:gd name="T53" fmla="*/ 26 h 52"/>
                  <a:gd name="T54" fmla="*/ 557 w 557"/>
                  <a:gd name="T55" fmla="*/ 31 h 52"/>
                  <a:gd name="T56" fmla="*/ 556 w 557"/>
                  <a:gd name="T57" fmla="*/ 36 h 52"/>
                  <a:gd name="T58" fmla="*/ 553 w 557"/>
                  <a:gd name="T59" fmla="*/ 40 h 52"/>
                  <a:gd name="T60" fmla="*/ 550 w 557"/>
                  <a:gd name="T61" fmla="*/ 44 h 52"/>
                  <a:gd name="T62" fmla="*/ 545 w 557"/>
                  <a:gd name="T63" fmla="*/ 47 h 52"/>
                  <a:gd name="T64" fmla="*/ 541 w 557"/>
                  <a:gd name="T65" fmla="*/ 50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6"/>
                    </a:lnTo>
                    <a:lnTo>
                      <a:pt x="557" y="20"/>
                    </a:lnTo>
                    <a:lnTo>
                      <a:pt x="557" y="26"/>
                    </a:lnTo>
                    <a:lnTo>
                      <a:pt x="557" y="31"/>
                    </a:lnTo>
                    <a:lnTo>
                      <a:pt x="556" y="36"/>
                    </a:lnTo>
                    <a:lnTo>
                      <a:pt x="553" y="40"/>
                    </a:lnTo>
                    <a:lnTo>
                      <a:pt x="550" y="44"/>
                    </a:lnTo>
                    <a:lnTo>
                      <a:pt x="545" y="47"/>
                    </a:lnTo>
                    <a:lnTo>
                      <a:pt x="541" y="50"/>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88">
                <a:extLst>
                  <a:ext uri="{FF2B5EF4-FFF2-40B4-BE49-F238E27FC236}">
                    <a16:creationId xmlns:a16="http://schemas.microsoft.com/office/drawing/2014/main" id="{7C0CBA06-A8C5-49DE-9327-08C2FBFB1097}"/>
                  </a:ext>
                </a:extLst>
              </p:cNvPr>
              <p:cNvSpPr>
                <a:spLocks/>
              </p:cNvSpPr>
              <p:nvPr/>
            </p:nvSpPr>
            <p:spPr bwMode="auto">
              <a:xfrm>
                <a:off x="5495925" y="2174876"/>
                <a:ext cx="295275" cy="26988"/>
              </a:xfrm>
              <a:custGeom>
                <a:avLst/>
                <a:gdLst>
                  <a:gd name="T0" fmla="*/ 531 w 557"/>
                  <a:gd name="T1" fmla="*/ 52 h 52"/>
                  <a:gd name="T2" fmla="*/ 26 w 557"/>
                  <a:gd name="T3" fmla="*/ 52 h 52"/>
                  <a:gd name="T4" fmla="*/ 20 w 557"/>
                  <a:gd name="T5" fmla="*/ 52 h 52"/>
                  <a:gd name="T6" fmla="*/ 16 w 557"/>
                  <a:gd name="T7" fmla="*/ 50 h 52"/>
                  <a:gd name="T8" fmla="*/ 11 w 557"/>
                  <a:gd name="T9" fmla="*/ 47 h 52"/>
                  <a:gd name="T10" fmla="*/ 7 w 557"/>
                  <a:gd name="T11" fmla="*/ 44 h 52"/>
                  <a:gd name="T12" fmla="*/ 4 w 557"/>
                  <a:gd name="T13" fmla="*/ 40 h 52"/>
                  <a:gd name="T14" fmla="*/ 1 w 557"/>
                  <a:gd name="T15" fmla="*/ 36 h 52"/>
                  <a:gd name="T16" fmla="*/ 0 w 557"/>
                  <a:gd name="T17" fmla="*/ 31 h 52"/>
                  <a:gd name="T18" fmla="*/ 0 w 557"/>
                  <a:gd name="T19" fmla="*/ 26 h 52"/>
                  <a:gd name="T20" fmla="*/ 0 w 557"/>
                  <a:gd name="T21" fmla="*/ 20 h 52"/>
                  <a:gd name="T22" fmla="*/ 1 w 557"/>
                  <a:gd name="T23" fmla="*/ 16 h 52"/>
                  <a:gd name="T24" fmla="*/ 4 w 557"/>
                  <a:gd name="T25" fmla="*/ 11 h 52"/>
                  <a:gd name="T26" fmla="*/ 7 w 557"/>
                  <a:gd name="T27" fmla="*/ 7 h 52"/>
                  <a:gd name="T28" fmla="*/ 11 w 557"/>
                  <a:gd name="T29" fmla="*/ 4 h 52"/>
                  <a:gd name="T30" fmla="*/ 16 w 557"/>
                  <a:gd name="T31" fmla="*/ 1 h 52"/>
                  <a:gd name="T32" fmla="*/ 20 w 557"/>
                  <a:gd name="T33" fmla="*/ 0 h 52"/>
                  <a:gd name="T34" fmla="*/ 26 w 557"/>
                  <a:gd name="T35" fmla="*/ 0 h 52"/>
                  <a:gd name="T36" fmla="*/ 531 w 557"/>
                  <a:gd name="T37" fmla="*/ 0 h 52"/>
                  <a:gd name="T38" fmla="*/ 537 w 557"/>
                  <a:gd name="T39" fmla="*/ 0 h 52"/>
                  <a:gd name="T40" fmla="*/ 541 w 557"/>
                  <a:gd name="T41" fmla="*/ 1 h 52"/>
                  <a:gd name="T42" fmla="*/ 545 w 557"/>
                  <a:gd name="T43" fmla="*/ 4 h 52"/>
                  <a:gd name="T44" fmla="*/ 550 w 557"/>
                  <a:gd name="T45" fmla="*/ 7 h 52"/>
                  <a:gd name="T46" fmla="*/ 553 w 557"/>
                  <a:gd name="T47" fmla="*/ 11 h 52"/>
                  <a:gd name="T48" fmla="*/ 556 w 557"/>
                  <a:gd name="T49" fmla="*/ 16 h 52"/>
                  <a:gd name="T50" fmla="*/ 557 w 557"/>
                  <a:gd name="T51" fmla="*/ 20 h 52"/>
                  <a:gd name="T52" fmla="*/ 557 w 557"/>
                  <a:gd name="T53" fmla="*/ 26 h 52"/>
                  <a:gd name="T54" fmla="*/ 557 w 557"/>
                  <a:gd name="T55" fmla="*/ 31 h 52"/>
                  <a:gd name="T56" fmla="*/ 556 w 557"/>
                  <a:gd name="T57" fmla="*/ 36 h 52"/>
                  <a:gd name="T58" fmla="*/ 553 w 557"/>
                  <a:gd name="T59" fmla="*/ 40 h 52"/>
                  <a:gd name="T60" fmla="*/ 550 w 557"/>
                  <a:gd name="T61" fmla="*/ 44 h 52"/>
                  <a:gd name="T62" fmla="*/ 545 w 557"/>
                  <a:gd name="T63" fmla="*/ 47 h 52"/>
                  <a:gd name="T64" fmla="*/ 541 w 557"/>
                  <a:gd name="T65" fmla="*/ 50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6"/>
                    </a:lnTo>
                    <a:lnTo>
                      <a:pt x="557" y="20"/>
                    </a:lnTo>
                    <a:lnTo>
                      <a:pt x="557" y="26"/>
                    </a:lnTo>
                    <a:lnTo>
                      <a:pt x="557" y="31"/>
                    </a:lnTo>
                    <a:lnTo>
                      <a:pt x="556" y="36"/>
                    </a:lnTo>
                    <a:lnTo>
                      <a:pt x="553" y="40"/>
                    </a:lnTo>
                    <a:lnTo>
                      <a:pt x="550" y="44"/>
                    </a:lnTo>
                    <a:lnTo>
                      <a:pt x="545" y="47"/>
                    </a:lnTo>
                    <a:lnTo>
                      <a:pt x="541" y="50"/>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89">
                <a:extLst>
                  <a:ext uri="{FF2B5EF4-FFF2-40B4-BE49-F238E27FC236}">
                    <a16:creationId xmlns:a16="http://schemas.microsoft.com/office/drawing/2014/main" id="{BE156A6F-4853-4C70-950C-7BE331D86A01}"/>
                  </a:ext>
                </a:extLst>
              </p:cNvPr>
              <p:cNvSpPr>
                <a:spLocks/>
              </p:cNvSpPr>
              <p:nvPr/>
            </p:nvSpPr>
            <p:spPr bwMode="auto">
              <a:xfrm>
                <a:off x="5495925" y="2289176"/>
                <a:ext cx="295275" cy="28575"/>
              </a:xfrm>
              <a:custGeom>
                <a:avLst/>
                <a:gdLst>
                  <a:gd name="T0" fmla="*/ 531 w 557"/>
                  <a:gd name="T1" fmla="*/ 52 h 52"/>
                  <a:gd name="T2" fmla="*/ 26 w 557"/>
                  <a:gd name="T3" fmla="*/ 52 h 52"/>
                  <a:gd name="T4" fmla="*/ 20 w 557"/>
                  <a:gd name="T5" fmla="*/ 52 h 52"/>
                  <a:gd name="T6" fmla="*/ 16 w 557"/>
                  <a:gd name="T7" fmla="*/ 49 h 52"/>
                  <a:gd name="T8" fmla="*/ 11 w 557"/>
                  <a:gd name="T9" fmla="*/ 48 h 52"/>
                  <a:gd name="T10" fmla="*/ 7 w 557"/>
                  <a:gd name="T11" fmla="*/ 45 h 52"/>
                  <a:gd name="T12" fmla="*/ 4 w 557"/>
                  <a:gd name="T13" fmla="*/ 41 h 52"/>
                  <a:gd name="T14" fmla="*/ 1 w 557"/>
                  <a:gd name="T15" fmla="*/ 36 h 52"/>
                  <a:gd name="T16" fmla="*/ 0 w 557"/>
                  <a:gd name="T17" fmla="*/ 30 h 52"/>
                  <a:gd name="T18" fmla="*/ 0 w 557"/>
                  <a:gd name="T19" fmla="*/ 26 h 52"/>
                  <a:gd name="T20" fmla="*/ 0 w 557"/>
                  <a:gd name="T21" fmla="*/ 20 h 52"/>
                  <a:gd name="T22" fmla="*/ 1 w 557"/>
                  <a:gd name="T23" fmla="*/ 16 h 52"/>
                  <a:gd name="T24" fmla="*/ 4 w 557"/>
                  <a:gd name="T25" fmla="*/ 12 h 52"/>
                  <a:gd name="T26" fmla="*/ 7 w 557"/>
                  <a:gd name="T27" fmla="*/ 7 h 52"/>
                  <a:gd name="T28" fmla="*/ 11 w 557"/>
                  <a:gd name="T29" fmla="*/ 5 h 52"/>
                  <a:gd name="T30" fmla="*/ 16 w 557"/>
                  <a:gd name="T31" fmla="*/ 2 h 52"/>
                  <a:gd name="T32" fmla="*/ 20 w 557"/>
                  <a:gd name="T33" fmla="*/ 0 h 52"/>
                  <a:gd name="T34" fmla="*/ 26 w 557"/>
                  <a:gd name="T35" fmla="*/ 0 h 52"/>
                  <a:gd name="T36" fmla="*/ 531 w 557"/>
                  <a:gd name="T37" fmla="*/ 0 h 52"/>
                  <a:gd name="T38" fmla="*/ 537 w 557"/>
                  <a:gd name="T39" fmla="*/ 0 h 52"/>
                  <a:gd name="T40" fmla="*/ 541 w 557"/>
                  <a:gd name="T41" fmla="*/ 2 h 52"/>
                  <a:gd name="T42" fmla="*/ 545 w 557"/>
                  <a:gd name="T43" fmla="*/ 5 h 52"/>
                  <a:gd name="T44" fmla="*/ 550 w 557"/>
                  <a:gd name="T45" fmla="*/ 7 h 52"/>
                  <a:gd name="T46" fmla="*/ 553 w 557"/>
                  <a:gd name="T47" fmla="*/ 12 h 52"/>
                  <a:gd name="T48" fmla="*/ 556 w 557"/>
                  <a:gd name="T49" fmla="*/ 16 h 52"/>
                  <a:gd name="T50" fmla="*/ 557 w 557"/>
                  <a:gd name="T51" fmla="*/ 20 h 52"/>
                  <a:gd name="T52" fmla="*/ 557 w 557"/>
                  <a:gd name="T53" fmla="*/ 26 h 52"/>
                  <a:gd name="T54" fmla="*/ 557 w 557"/>
                  <a:gd name="T55" fmla="*/ 30 h 52"/>
                  <a:gd name="T56" fmla="*/ 556 w 557"/>
                  <a:gd name="T57" fmla="*/ 36 h 52"/>
                  <a:gd name="T58" fmla="*/ 553 w 557"/>
                  <a:gd name="T59" fmla="*/ 41 h 52"/>
                  <a:gd name="T60" fmla="*/ 550 w 557"/>
                  <a:gd name="T61" fmla="*/ 45 h 52"/>
                  <a:gd name="T62" fmla="*/ 545 w 557"/>
                  <a:gd name="T63" fmla="*/ 48 h 52"/>
                  <a:gd name="T64" fmla="*/ 541 w 557"/>
                  <a:gd name="T65" fmla="*/ 49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49"/>
                    </a:lnTo>
                    <a:lnTo>
                      <a:pt x="11" y="48"/>
                    </a:lnTo>
                    <a:lnTo>
                      <a:pt x="7" y="45"/>
                    </a:lnTo>
                    <a:lnTo>
                      <a:pt x="4" y="41"/>
                    </a:lnTo>
                    <a:lnTo>
                      <a:pt x="1" y="36"/>
                    </a:lnTo>
                    <a:lnTo>
                      <a:pt x="0" y="30"/>
                    </a:lnTo>
                    <a:lnTo>
                      <a:pt x="0" y="26"/>
                    </a:lnTo>
                    <a:lnTo>
                      <a:pt x="0" y="20"/>
                    </a:lnTo>
                    <a:lnTo>
                      <a:pt x="1" y="16"/>
                    </a:lnTo>
                    <a:lnTo>
                      <a:pt x="4" y="12"/>
                    </a:lnTo>
                    <a:lnTo>
                      <a:pt x="7" y="7"/>
                    </a:lnTo>
                    <a:lnTo>
                      <a:pt x="11" y="5"/>
                    </a:lnTo>
                    <a:lnTo>
                      <a:pt x="16" y="2"/>
                    </a:lnTo>
                    <a:lnTo>
                      <a:pt x="20" y="0"/>
                    </a:lnTo>
                    <a:lnTo>
                      <a:pt x="26" y="0"/>
                    </a:lnTo>
                    <a:lnTo>
                      <a:pt x="531" y="0"/>
                    </a:lnTo>
                    <a:lnTo>
                      <a:pt x="537" y="0"/>
                    </a:lnTo>
                    <a:lnTo>
                      <a:pt x="541" y="2"/>
                    </a:lnTo>
                    <a:lnTo>
                      <a:pt x="545" y="5"/>
                    </a:lnTo>
                    <a:lnTo>
                      <a:pt x="550" y="7"/>
                    </a:lnTo>
                    <a:lnTo>
                      <a:pt x="553" y="12"/>
                    </a:lnTo>
                    <a:lnTo>
                      <a:pt x="556" y="16"/>
                    </a:lnTo>
                    <a:lnTo>
                      <a:pt x="557" y="20"/>
                    </a:lnTo>
                    <a:lnTo>
                      <a:pt x="557" y="26"/>
                    </a:lnTo>
                    <a:lnTo>
                      <a:pt x="557" y="30"/>
                    </a:lnTo>
                    <a:lnTo>
                      <a:pt x="556" y="36"/>
                    </a:lnTo>
                    <a:lnTo>
                      <a:pt x="553" y="41"/>
                    </a:lnTo>
                    <a:lnTo>
                      <a:pt x="550" y="45"/>
                    </a:lnTo>
                    <a:lnTo>
                      <a:pt x="545" y="48"/>
                    </a:lnTo>
                    <a:lnTo>
                      <a:pt x="541" y="49"/>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90">
                <a:extLst>
                  <a:ext uri="{FF2B5EF4-FFF2-40B4-BE49-F238E27FC236}">
                    <a16:creationId xmlns:a16="http://schemas.microsoft.com/office/drawing/2014/main" id="{09E4A0A1-AE3E-4B5A-B179-3D15B2FE73A2}"/>
                  </a:ext>
                </a:extLst>
              </p:cNvPr>
              <p:cNvSpPr>
                <a:spLocks/>
              </p:cNvSpPr>
              <p:nvPr/>
            </p:nvSpPr>
            <p:spPr bwMode="auto">
              <a:xfrm>
                <a:off x="5376863" y="2233613"/>
                <a:ext cx="85725" cy="26988"/>
              </a:xfrm>
              <a:custGeom>
                <a:avLst/>
                <a:gdLst>
                  <a:gd name="T0" fmla="*/ 136 w 162"/>
                  <a:gd name="T1" fmla="*/ 52 h 52"/>
                  <a:gd name="T2" fmla="*/ 26 w 162"/>
                  <a:gd name="T3" fmla="*/ 52 h 52"/>
                  <a:gd name="T4" fmla="*/ 20 w 162"/>
                  <a:gd name="T5" fmla="*/ 52 h 52"/>
                  <a:gd name="T6" fmla="*/ 15 w 162"/>
                  <a:gd name="T7" fmla="*/ 50 h 52"/>
                  <a:gd name="T8" fmla="*/ 11 w 162"/>
                  <a:gd name="T9" fmla="*/ 47 h 52"/>
                  <a:gd name="T10" fmla="*/ 7 w 162"/>
                  <a:gd name="T11" fmla="*/ 44 h 52"/>
                  <a:gd name="T12" fmla="*/ 4 w 162"/>
                  <a:gd name="T13" fmla="*/ 40 h 52"/>
                  <a:gd name="T14" fmla="*/ 1 w 162"/>
                  <a:gd name="T15" fmla="*/ 36 h 52"/>
                  <a:gd name="T16" fmla="*/ 0 w 162"/>
                  <a:gd name="T17" fmla="*/ 31 h 52"/>
                  <a:gd name="T18" fmla="*/ 0 w 162"/>
                  <a:gd name="T19" fmla="*/ 26 h 52"/>
                  <a:gd name="T20" fmla="*/ 0 w 162"/>
                  <a:gd name="T21" fmla="*/ 20 h 52"/>
                  <a:gd name="T22" fmla="*/ 1 w 162"/>
                  <a:gd name="T23" fmla="*/ 16 h 52"/>
                  <a:gd name="T24" fmla="*/ 4 w 162"/>
                  <a:gd name="T25" fmla="*/ 11 h 52"/>
                  <a:gd name="T26" fmla="*/ 7 w 162"/>
                  <a:gd name="T27" fmla="*/ 7 h 52"/>
                  <a:gd name="T28" fmla="*/ 11 w 162"/>
                  <a:gd name="T29" fmla="*/ 4 h 52"/>
                  <a:gd name="T30" fmla="*/ 15 w 162"/>
                  <a:gd name="T31" fmla="*/ 1 h 52"/>
                  <a:gd name="T32" fmla="*/ 20 w 162"/>
                  <a:gd name="T33" fmla="*/ 0 h 52"/>
                  <a:gd name="T34" fmla="*/ 26 w 162"/>
                  <a:gd name="T35" fmla="*/ 0 h 52"/>
                  <a:gd name="T36" fmla="*/ 136 w 162"/>
                  <a:gd name="T37" fmla="*/ 0 h 52"/>
                  <a:gd name="T38" fmla="*/ 142 w 162"/>
                  <a:gd name="T39" fmla="*/ 0 h 52"/>
                  <a:gd name="T40" fmla="*/ 147 w 162"/>
                  <a:gd name="T41" fmla="*/ 1 h 52"/>
                  <a:gd name="T42" fmla="*/ 152 w 162"/>
                  <a:gd name="T43" fmla="*/ 4 h 52"/>
                  <a:gd name="T44" fmla="*/ 155 w 162"/>
                  <a:gd name="T45" fmla="*/ 7 h 52"/>
                  <a:gd name="T46" fmla="*/ 158 w 162"/>
                  <a:gd name="T47" fmla="*/ 11 h 52"/>
                  <a:gd name="T48" fmla="*/ 161 w 162"/>
                  <a:gd name="T49" fmla="*/ 16 h 52"/>
                  <a:gd name="T50" fmla="*/ 162 w 162"/>
                  <a:gd name="T51" fmla="*/ 20 h 52"/>
                  <a:gd name="T52" fmla="*/ 162 w 162"/>
                  <a:gd name="T53" fmla="*/ 26 h 52"/>
                  <a:gd name="T54" fmla="*/ 162 w 162"/>
                  <a:gd name="T55" fmla="*/ 31 h 52"/>
                  <a:gd name="T56" fmla="*/ 161 w 162"/>
                  <a:gd name="T57" fmla="*/ 36 h 52"/>
                  <a:gd name="T58" fmla="*/ 158 w 162"/>
                  <a:gd name="T59" fmla="*/ 40 h 52"/>
                  <a:gd name="T60" fmla="*/ 155 w 162"/>
                  <a:gd name="T61" fmla="*/ 44 h 52"/>
                  <a:gd name="T62" fmla="*/ 152 w 162"/>
                  <a:gd name="T63" fmla="*/ 47 h 52"/>
                  <a:gd name="T64" fmla="*/ 147 w 162"/>
                  <a:gd name="T65" fmla="*/ 50 h 52"/>
                  <a:gd name="T66" fmla="*/ 142 w 162"/>
                  <a:gd name="T67" fmla="*/ 52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2"/>
                    </a:lnTo>
                    <a:lnTo>
                      <a:pt x="15" y="50"/>
                    </a:lnTo>
                    <a:lnTo>
                      <a:pt x="11" y="47"/>
                    </a:lnTo>
                    <a:lnTo>
                      <a:pt x="7" y="44"/>
                    </a:lnTo>
                    <a:lnTo>
                      <a:pt x="4" y="40"/>
                    </a:lnTo>
                    <a:lnTo>
                      <a:pt x="1" y="36"/>
                    </a:lnTo>
                    <a:lnTo>
                      <a:pt x="0" y="31"/>
                    </a:lnTo>
                    <a:lnTo>
                      <a:pt x="0" y="26"/>
                    </a:lnTo>
                    <a:lnTo>
                      <a:pt x="0" y="20"/>
                    </a:lnTo>
                    <a:lnTo>
                      <a:pt x="1" y="16"/>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6"/>
                    </a:lnTo>
                    <a:lnTo>
                      <a:pt x="162" y="20"/>
                    </a:lnTo>
                    <a:lnTo>
                      <a:pt x="162" y="26"/>
                    </a:lnTo>
                    <a:lnTo>
                      <a:pt x="162" y="31"/>
                    </a:lnTo>
                    <a:lnTo>
                      <a:pt x="161" y="36"/>
                    </a:lnTo>
                    <a:lnTo>
                      <a:pt x="158" y="40"/>
                    </a:lnTo>
                    <a:lnTo>
                      <a:pt x="155" y="44"/>
                    </a:lnTo>
                    <a:lnTo>
                      <a:pt x="152" y="47"/>
                    </a:lnTo>
                    <a:lnTo>
                      <a:pt x="147" y="50"/>
                    </a:lnTo>
                    <a:lnTo>
                      <a:pt x="142" y="52"/>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91">
                <a:extLst>
                  <a:ext uri="{FF2B5EF4-FFF2-40B4-BE49-F238E27FC236}">
                    <a16:creationId xmlns:a16="http://schemas.microsoft.com/office/drawing/2014/main" id="{B485CF8C-52D1-4887-8FA7-778ECE7EB26A}"/>
                  </a:ext>
                </a:extLst>
              </p:cNvPr>
              <p:cNvSpPr>
                <a:spLocks/>
              </p:cNvSpPr>
              <p:nvPr/>
            </p:nvSpPr>
            <p:spPr bwMode="auto">
              <a:xfrm>
                <a:off x="5376863" y="2351088"/>
                <a:ext cx="85725" cy="28575"/>
              </a:xfrm>
              <a:custGeom>
                <a:avLst/>
                <a:gdLst>
                  <a:gd name="T0" fmla="*/ 136 w 162"/>
                  <a:gd name="T1" fmla="*/ 52 h 52"/>
                  <a:gd name="T2" fmla="*/ 26 w 162"/>
                  <a:gd name="T3" fmla="*/ 52 h 52"/>
                  <a:gd name="T4" fmla="*/ 20 w 162"/>
                  <a:gd name="T5" fmla="*/ 52 h 52"/>
                  <a:gd name="T6" fmla="*/ 15 w 162"/>
                  <a:gd name="T7" fmla="*/ 50 h 52"/>
                  <a:gd name="T8" fmla="*/ 11 w 162"/>
                  <a:gd name="T9" fmla="*/ 47 h 52"/>
                  <a:gd name="T10" fmla="*/ 7 w 162"/>
                  <a:gd name="T11" fmla="*/ 45 h 52"/>
                  <a:gd name="T12" fmla="*/ 4 w 162"/>
                  <a:gd name="T13" fmla="*/ 40 h 52"/>
                  <a:gd name="T14" fmla="*/ 1 w 162"/>
                  <a:gd name="T15" fmla="*/ 36 h 52"/>
                  <a:gd name="T16" fmla="*/ 0 w 162"/>
                  <a:gd name="T17" fmla="*/ 32 h 52"/>
                  <a:gd name="T18" fmla="*/ 0 w 162"/>
                  <a:gd name="T19" fmla="*/ 26 h 52"/>
                  <a:gd name="T20" fmla="*/ 0 w 162"/>
                  <a:gd name="T21" fmla="*/ 20 h 52"/>
                  <a:gd name="T22" fmla="*/ 1 w 162"/>
                  <a:gd name="T23" fmla="*/ 16 h 52"/>
                  <a:gd name="T24" fmla="*/ 4 w 162"/>
                  <a:gd name="T25" fmla="*/ 11 h 52"/>
                  <a:gd name="T26" fmla="*/ 7 w 162"/>
                  <a:gd name="T27" fmla="*/ 7 h 52"/>
                  <a:gd name="T28" fmla="*/ 11 w 162"/>
                  <a:gd name="T29" fmla="*/ 4 h 52"/>
                  <a:gd name="T30" fmla="*/ 15 w 162"/>
                  <a:gd name="T31" fmla="*/ 1 h 52"/>
                  <a:gd name="T32" fmla="*/ 20 w 162"/>
                  <a:gd name="T33" fmla="*/ 0 h 52"/>
                  <a:gd name="T34" fmla="*/ 26 w 162"/>
                  <a:gd name="T35" fmla="*/ 0 h 52"/>
                  <a:gd name="T36" fmla="*/ 136 w 162"/>
                  <a:gd name="T37" fmla="*/ 0 h 52"/>
                  <a:gd name="T38" fmla="*/ 142 w 162"/>
                  <a:gd name="T39" fmla="*/ 0 h 52"/>
                  <a:gd name="T40" fmla="*/ 147 w 162"/>
                  <a:gd name="T41" fmla="*/ 1 h 52"/>
                  <a:gd name="T42" fmla="*/ 152 w 162"/>
                  <a:gd name="T43" fmla="*/ 4 h 52"/>
                  <a:gd name="T44" fmla="*/ 155 w 162"/>
                  <a:gd name="T45" fmla="*/ 7 h 52"/>
                  <a:gd name="T46" fmla="*/ 158 w 162"/>
                  <a:gd name="T47" fmla="*/ 11 h 52"/>
                  <a:gd name="T48" fmla="*/ 161 w 162"/>
                  <a:gd name="T49" fmla="*/ 16 h 52"/>
                  <a:gd name="T50" fmla="*/ 162 w 162"/>
                  <a:gd name="T51" fmla="*/ 20 h 52"/>
                  <a:gd name="T52" fmla="*/ 162 w 162"/>
                  <a:gd name="T53" fmla="*/ 26 h 52"/>
                  <a:gd name="T54" fmla="*/ 162 w 162"/>
                  <a:gd name="T55" fmla="*/ 32 h 52"/>
                  <a:gd name="T56" fmla="*/ 161 w 162"/>
                  <a:gd name="T57" fmla="*/ 36 h 52"/>
                  <a:gd name="T58" fmla="*/ 158 w 162"/>
                  <a:gd name="T59" fmla="*/ 40 h 52"/>
                  <a:gd name="T60" fmla="*/ 155 w 162"/>
                  <a:gd name="T61" fmla="*/ 45 h 52"/>
                  <a:gd name="T62" fmla="*/ 152 w 162"/>
                  <a:gd name="T63" fmla="*/ 47 h 52"/>
                  <a:gd name="T64" fmla="*/ 147 w 162"/>
                  <a:gd name="T65" fmla="*/ 50 h 52"/>
                  <a:gd name="T66" fmla="*/ 142 w 162"/>
                  <a:gd name="T67" fmla="*/ 52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2"/>
                    </a:lnTo>
                    <a:lnTo>
                      <a:pt x="15" y="50"/>
                    </a:lnTo>
                    <a:lnTo>
                      <a:pt x="11" y="47"/>
                    </a:lnTo>
                    <a:lnTo>
                      <a:pt x="7" y="45"/>
                    </a:lnTo>
                    <a:lnTo>
                      <a:pt x="4" y="40"/>
                    </a:lnTo>
                    <a:lnTo>
                      <a:pt x="1" y="36"/>
                    </a:lnTo>
                    <a:lnTo>
                      <a:pt x="0" y="32"/>
                    </a:lnTo>
                    <a:lnTo>
                      <a:pt x="0" y="26"/>
                    </a:lnTo>
                    <a:lnTo>
                      <a:pt x="0" y="20"/>
                    </a:lnTo>
                    <a:lnTo>
                      <a:pt x="1" y="16"/>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6"/>
                    </a:lnTo>
                    <a:lnTo>
                      <a:pt x="162" y="20"/>
                    </a:lnTo>
                    <a:lnTo>
                      <a:pt x="162" y="26"/>
                    </a:lnTo>
                    <a:lnTo>
                      <a:pt x="162" y="32"/>
                    </a:lnTo>
                    <a:lnTo>
                      <a:pt x="161" y="36"/>
                    </a:lnTo>
                    <a:lnTo>
                      <a:pt x="158" y="40"/>
                    </a:lnTo>
                    <a:lnTo>
                      <a:pt x="155" y="45"/>
                    </a:lnTo>
                    <a:lnTo>
                      <a:pt x="152" y="47"/>
                    </a:lnTo>
                    <a:lnTo>
                      <a:pt x="147" y="50"/>
                    </a:lnTo>
                    <a:lnTo>
                      <a:pt x="142" y="52"/>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17">
                <a:extLst>
                  <a:ext uri="{FF2B5EF4-FFF2-40B4-BE49-F238E27FC236}">
                    <a16:creationId xmlns:a16="http://schemas.microsoft.com/office/drawing/2014/main" id="{F7811FAD-10B3-4B90-8BCC-772C23D6D8E0}"/>
                  </a:ext>
                </a:extLst>
              </p:cNvPr>
              <p:cNvSpPr>
                <a:spLocks/>
              </p:cNvSpPr>
              <p:nvPr/>
            </p:nvSpPr>
            <p:spPr bwMode="auto">
              <a:xfrm>
                <a:off x="5721350" y="1851026"/>
                <a:ext cx="26988" cy="28575"/>
              </a:xfrm>
              <a:custGeom>
                <a:avLst/>
                <a:gdLst>
                  <a:gd name="T0" fmla="*/ 25 w 51"/>
                  <a:gd name="T1" fmla="*/ 52 h 52"/>
                  <a:gd name="T2" fmla="*/ 20 w 51"/>
                  <a:gd name="T3" fmla="*/ 52 h 52"/>
                  <a:gd name="T4" fmla="*/ 15 w 51"/>
                  <a:gd name="T5" fmla="*/ 51 h 52"/>
                  <a:gd name="T6" fmla="*/ 11 w 51"/>
                  <a:gd name="T7" fmla="*/ 48 h 52"/>
                  <a:gd name="T8" fmla="*/ 7 w 51"/>
                  <a:gd name="T9" fmla="*/ 45 h 52"/>
                  <a:gd name="T10" fmla="*/ 4 w 51"/>
                  <a:gd name="T11" fmla="*/ 41 h 52"/>
                  <a:gd name="T12" fmla="*/ 1 w 51"/>
                  <a:gd name="T13" fmla="*/ 36 h 52"/>
                  <a:gd name="T14" fmla="*/ 0 w 51"/>
                  <a:gd name="T15" fmla="*/ 32 h 52"/>
                  <a:gd name="T16" fmla="*/ 0 w 51"/>
                  <a:gd name="T17" fmla="*/ 26 h 52"/>
                  <a:gd name="T18" fmla="*/ 0 w 51"/>
                  <a:gd name="T19" fmla="*/ 22 h 52"/>
                  <a:gd name="T20" fmla="*/ 1 w 51"/>
                  <a:gd name="T21" fmla="*/ 16 h 52"/>
                  <a:gd name="T22" fmla="*/ 4 w 51"/>
                  <a:gd name="T23" fmla="*/ 12 h 52"/>
                  <a:gd name="T24" fmla="*/ 7 w 51"/>
                  <a:gd name="T25" fmla="*/ 9 h 52"/>
                  <a:gd name="T26" fmla="*/ 11 w 51"/>
                  <a:gd name="T27" fmla="*/ 5 h 52"/>
                  <a:gd name="T28" fmla="*/ 15 w 51"/>
                  <a:gd name="T29" fmla="*/ 3 h 52"/>
                  <a:gd name="T30" fmla="*/ 20 w 51"/>
                  <a:gd name="T31" fmla="*/ 2 h 52"/>
                  <a:gd name="T32" fmla="*/ 25 w 51"/>
                  <a:gd name="T33" fmla="*/ 0 h 52"/>
                  <a:gd name="T34" fmla="*/ 31 w 51"/>
                  <a:gd name="T35" fmla="*/ 2 h 52"/>
                  <a:gd name="T36" fmla="*/ 36 w 51"/>
                  <a:gd name="T37" fmla="*/ 3 h 52"/>
                  <a:gd name="T38" fmla="*/ 40 w 51"/>
                  <a:gd name="T39" fmla="*/ 5 h 52"/>
                  <a:gd name="T40" fmla="*/ 44 w 51"/>
                  <a:gd name="T41" fmla="*/ 9 h 52"/>
                  <a:gd name="T42" fmla="*/ 47 w 51"/>
                  <a:gd name="T43" fmla="*/ 12 h 52"/>
                  <a:gd name="T44" fmla="*/ 50 w 51"/>
                  <a:gd name="T45" fmla="*/ 16 h 52"/>
                  <a:gd name="T46" fmla="*/ 51 w 51"/>
                  <a:gd name="T47" fmla="*/ 22 h 52"/>
                  <a:gd name="T48" fmla="*/ 51 w 51"/>
                  <a:gd name="T49" fmla="*/ 26 h 52"/>
                  <a:gd name="T50" fmla="*/ 51 w 51"/>
                  <a:gd name="T51" fmla="*/ 32 h 52"/>
                  <a:gd name="T52" fmla="*/ 50 w 51"/>
                  <a:gd name="T53" fmla="*/ 36 h 52"/>
                  <a:gd name="T54" fmla="*/ 47 w 51"/>
                  <a:gd name="T55" fmla="*/ 41 h 52"/>
                  <a:gd name="T56" fmla="*/ 44 w 51"/>
                  <a:gd name="T57" fmla="*/ 45 h 52"/>
                  <a:gd name="T58" fmla="*/ 40 w 51"/>
                  <a:gd name="T59" fmla="*/ 48 h 52"/>
                  <a:gd name="T60" fmla="*/ 36 w 51"/>
                  <a:gd name="T61" fmla="*/ 51 h 52"/>
                  <a:gd name="T62" fmla="*/ 30 w 51"/>
                  <a:gd name="T63" fmla="*/ 52 h 52"/>
                  <a:gd name="T64" fmla="*/ 25 w 51"/>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2">
                    <a:moveTo>
                      <a:pt x="25" y="52"/>
                    </a:moveTo>
                    <a:lnTo>
                      <a:pt x="20" y="52"/>
                    </a:lnTo>
                    <a:lnTo>
                      <a:pt x="15" y="51"/>
                    </a:lnTo>
                    <a:lnTo>
                      <a:pt x="11" y="48"/>
                    </a:lnTo>
                    <a:lnTo>
                      <a:pt x="7" y="45"/>
                    </a:lnTo>
                    <a:lnTo>
                      <a:pt x="4" y="41"/>
                    </a:lnTo>
                    <a:lnTo>
                      <a:pt x="1" y="36"/>
                    </a:lnTo>
                    <a:lnTo>
                      <a:pt x="0" y="32"/>
                    </a:lnTo>
                    <a:lnTo>
                      <a:pt x="0" y="26"/>
                    </a:lnTo>
                    <a:lnTo>
                      <a:pt x="0" y="22"/>
                    </a:lnTo>
                    <a:lnTo>
                      <a:pt x="1" y="16"/>
                    </a:lnTo>
                    <a:lnTo>
                      <a:pt x="4" y="12"/>
                    </a:lnTo>
                    <a:lnTo>
                      <a:pt x="7" y="9"/>
                    </a:lnTo>
                    <a:lnTo>
                      <a:pt x="11" y="5"/>
                    </a:lnTo>
                    <a:lnTo>
                      <a:pt x="15" y="3"/>
                    </a:lnTo>
                    <a:lnTo>
                      <a:pt x="20" y="2"/>
                    </a:lnTo>
                    <a:lnTo>
                      <a:pt x="25" y="0"/>
                    </a:lnTo>
                    <a:lnTo>
                      <a:pt x="31" y="2"/>
                    </a:lnTo>
                    <a:lnTo>
                      <a:pt x="36" y="3"/>
                    </a:lnTo>
                    <a:lnTo>
                      <a:pt x="40" y="5"/>
                    </a:lnTo>
                    <a:lnTo>
                      <a:pt x="44" y="9"/>
                    </a:lnTo>
                    <a:lnTo>
                      <a:pt x="47" y="12"/>
                    </a:lnTo>
                    <a:lnTo>
                      <a:pt x="50" y="16"/>
                    </a:lnTo>
                    <a:lnTo>
                      <a:pt x="51" y="22"/>
                    </a:lnTo>
                    <a:lnTo>
                      <a:pt x="51" y="26"/>
                    </a:lnTo>
                    <a:lnTo>
                      <a:pt x="51" y="32"/>
                    </a:lnTo>
                    <a:lnTo>
                      <a:pt x="50" y="36"/>
                    </a:lnTo>
                    <a:lnTo>
                      <a:pt x="47" y="41"/>
                    </a:lnTo>
                    <a:lnTo>
                      <a:pt x="44" y="45"/>
                    </a:lnTo>
                    <a:lnTo>
                      <a:pt x="40" y="48"/>
                    </a:lnTo>
                    <a:lnTo>
                      <a:pt x="36" y="51"/>
                    </a:lnTo>
                    <a:lnTo>
                      <a:pt x="30" y="52"/>
                    </a:lnTo>
                    <a:lnTo>
                      <a:pt x="2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18">
                <a:extLst>
                  <a:ext uri="{FF2B5EF4-FFF2-40B4-BE49-F238E27FC236}">
                    <a16:creationId xmlns:a16="http://schemas.microsoft.com/office/drawing/2014/main" id="{0999E7B0-2807-40FE-A3E6-EB2DAD02F59E}"/>
                  </a:ext>
                </a:extLst>
              </p:cNvPr>
              <p:cNvSpPr>
                <a:spLocks/>
              </p:cNvSpPr>
              <p:nvPr/>
            </p:nvSpPr>
            <p:spPr bwMode="auto">
              <a:xfrm>
                <a:off x="5792788" y="1851026"/>
                <a:ext cx="26988" cy="28575"/>
              </a:xfrm>
              <a:custGeom>
                <a:avLst/>
                <a:gdLst>
                  <a:gd name="T0" fmla="*/ 26 w 52"/>
                  <a:gd name="T1" fmla="*/ 52 h 52"/>
                  <a:gd name="T2" fmla="*/ 20 w 52"/>
                  <a:gd name="T3" fmla="*/ 52 h 52"/>
                  <a:gd name="T4" fmla="*/ 16 w 52"/>
                  <a:gd name="T5" fmla="*/ 51 h 52"/>
                  <a:gd name="T6" fmla="*/ 11 w 52"/>
                  <a:gd name="T7" fmla="*/ 48 h 52"/>
                  <a:gd name="T8" fmla="*/ 7 w 52"/>
                  <a:gd name="T9" fmla="*/ 45 h 52"/>
                  <a:gd name="T10" fmla="*/ 4 w 52"/>
                  <a:gd name="T11" fmla="*/ 41 h 52"/>
                  <a:gd name="T12" fmla="*/ 1 w 52"/>
                  <a:gd name="T13" fmla="*/ 36 h 52"/>
                  <a:gd name="T14" fmla="*/ 0 w 52"/>
                  <a:gd name="T15" fmla="*/ 32 h 52"/>
                  <a:gd name="T16" fmla="*/ 0 w 52"/>
                  <a:gd name="T17" fmla="*/ 26 h 52"/>
                  <a:gd name="T18" fmla="*/ 0 w 52"/>
                  <a:gd name="T19" fmla="*/ 22 h 52"/>
                  <a:gd name="T20" fmla="*/ 1 w 52"/>
                  <a:gd name="T21" fmla="*/ 16 h 52"/>
                  <a:gd name="T22" fmla="*/ 4 w 52"/>
                  <a:gd name="T23" fmla="*/ 12 h 52"/>
                  <a:gd name="T24" fmla="*/ 7 w 52"/>
                  <a:gd name="T25" fmla="*/ 9 h 52"/>
                  <a:gd name="T26" fmla="*/ 11 w 52"/>
                  <a:gd name="T27" fmla="*/ 5 h 52"/>
                  <a:gd name="T28" fmla="*/ 16 w 52"/>
                  <a:gd name="T29" fmla="*/ 3 h 52"/>
                  <a:gd name="T30" fmla="*/ 20 w 52"/>
                  <a:gd name="T31" fmla="*/ 2 h 52"/>
                  <a:gd name="T32" fmla="*/ 26 w 52"/>
                  <a:gd name="T33" fmla="*/ 0 h 52"/>
                  <a:gd name="T34" fmla="*/ 30 w 52"/>
                  <a:gd name="T35" fmla="*/ 2 h 52"/>
                  <a:gd name="T36" fmla="*/ 36 w 52"/>
                  <a:gd name="T37" fmla="*/ 3 h 52"/>
                  <a:gd name="T38" fmla="*/ 40 w 52"/>
                  <a:gd name="T39" fmla="*/ 5 h 52"/>
                  <a:gd name="T40" fmla="*/ 45 w 52"/>
                  <a:gd name="T41" fmla="*/ 9 h 52"/>
                  <a:gd name="T42" fmla="*/ 47 w 52"/>
                  <a:gd name="T43" fmla="*/ 12 h 52"/>
                  <a:gd name="T44" fmla="*/ 49 w 52"/>
                  <a:gd name="T45" fmla="*/ 16 h 52"/>
                  <a:gd name="T46" fmla="*/ 50 w 52"/>
                  <a:gd name="T47" fmla="*/ 22 h 52"/>
                  <a:gd name="T48" fmla="*/ 52 w 52"/>
                  <a:gd name="T49" fmla="*/ 26 h 52"/>
                  <a:gd name="T50" fmla="*/ 50 w 52"/>
                  <a:gd name="T51" fmla="*/ 32 h 52"/>
                  <a:gd name="T52" fmla="*/ 49 w 52"/>
                  <a:gd name="T53" fmla="*/ 36 h 52"/>
                  <a:gd name="T54" fmla="*/ 47 w 52"/>
                  <a:gd name="T55" fmla="*/ 41 h 52"/>
                  <a:gd name="T56" fmla="*/ 45 w 52"/>
                  <a:gd name="T57" fmla="*/ 45 h 52"/>
                  <a:gd name="T58" fmla="*/ 40 w 52"/>
                  <a:gd name="T59" fmla="*/ 48 h 52"/>
                  <a:gd name="T60" fmla="*/ 36 w 52"/>
                  <a:gd name="T61" fmla="*/ 51 h 52"/>
                  <a:gd name="T62" fmla="*/ 30 w 52"/>
                  <a:gd name="T63" fmla="*/ 52 h 52"/>
                  <a:gd name="T64" fmla="*/ 26 w 52"/>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52">
                    <a:moveTo>
                      <a:pt x="26" y="52"/>
                    </a:moveTo>
                    <a:lnTo>
                      <a:pt x="20" y="52"/>
                    </a:lnTo>
                    <a:lnTo>
                      <a:pt x="16" y="51"/>
                    </a:lnTo>
                    <a:lnTo>
                      <a:pt x="11" y="48"/>
                    </a:lnTo>
                    <a:lnTo>
                      <a:pt x="7" y="45"/>
                    </a:lnTo>
                    <a:lnTo>
                      <a:pt x="4" y="41"/>
                    </a:lnTo>
                    <a:lnTo>
                      <a:pt x="1" y="36"/>
                    </a:lnTo>
                    <a:lnTo>
                      <a:pt x="0" y="32"/>
                    </a:lnTo>
                    <a:lnTo>
                      <a:pt x="0" y="26"/>
                    </a:lnTo>
                    <a:lnTo>
                      <a:pt x="0" y="22"/>
                    </a:lnTo>
                    <a:lnTo>
                      <a:pt x="1" y="16"/>
                    </a:lnTo>
                    <a:lnTo>
                      <a:pt x="4" y="12"/>
                    </a:lnTo>
                    <a:lnTo>
                      <a:pt x="7" y="9"/>
                    </a:lnTo>
                    <a:lnTo>
                      <a:pt x="11" y="5"/>
                    </a:lnTo>
                    <a:lnTo>
                      <a:pt x="16" y="3"/>
                    </a:lnTo>
                    <a:lnTo>
                      <a:pt x="20" y="2"/>
                    </a:lnTo>
                    <a:lnTo>
                      <a:pt x="26" y="0"/>
                    </a:lnTo>
                    <a:lnTo>
                      <a:pt x="30" y="2"/>
                    </a:lnTo>
                    <a:lnTo>
                      <a:pt x="36" y="3"/>
                    </a:lnTo>
                    <a:lnTo>
                      <a:pt x="40" y="5"/>
                    </a:lnTo>
                    <a:lnTo>
                      <a:pt x="45" y="9"/>
                    </a:lnTo>
                    <a:lnTo>
                      <a:pt x="47" y="12"/>
                    </a:lnTo>
                    <a:lnTo>
                      <a:pt x="49" y="16"/>
                    </a:lnTo>
                    <a:lnTo>
                      <a:pt x="50" y="22"/>
                    </a:lnTo>
                    <a:lnTo>
                      <a:pt x="52" y="26"/>
                    </a:lnTo>
                    <a:lnTo>
                      <a:pt x="50" y="32"/>
                    </a:lnTo>
                    <a:lnTo>
                      <a:pt x="49" y="36"/>
                    </a:lnTo>
                    <a:lnTo>
                      <a:pt x="47" y="41"/>
                    </a:lnTo>
                    <a:lnTo>
                      <a:pt x="45" y="45"/>
                    </a:lnTo>
                    <a:lnTo>
                      <a:pt x="40" y="48"/>
                    </a:lnTo>
                    <a:lnTo>
                      <a:pt x="36" y="51"/>
                    </a:lnTo>
                    <a:lnTo>
                      <a:pt x="30" y="52"/>
                    </a:lnTo>
                    <a:lnTo>
                      <a:pt x="2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1">
                <a:extLst>
                  <a:ext uri="{FF2B5EF4-FFF2-40B4-BE49-F238E27FC236}">
                    <a16:creationId xmlns:a16="http://schemas.microsoft.com/office/drawing/2014/main" id="{10B24A56-4461-4EFD-86AA-FCCF4D05A28E}"/>
                  </a:ext>
                </a:extLst>
              </p:cNvPr>
              <p:cNvSpPr>
                <a:spLocks/>
              </p:cNvSpPr>
              <p:nvPr/>
            </p:nvSpPr>
            <p:spPr bwMode="auto">
              <a:xfrm>
                <a:off x="5864225" y="1851026"/>
                <a:ext cx="26988" cy="28575"/>
              </a:xfrm>
              <a:custGeom>
                <a:avLst/>
                <a:gdLst>
                  <a:gd name="T0" fmla="*/ 26 w 53"/>
                  <a:gd name="T1" fmla="*/ 52 h 52"/>
                  <a:gd name="T2" fmla="*/ 21 w 53"/>
                  <a:gd name="T3" fmla="*/ 52 h 52"/>
                  <a:gd name="T4" fmla="*/ 16 w 53"/>
                  <a:gd name="T5" fmla="*/ 51 h 52"/>
                  <a:gd name="T6" fmla="*/ 11 w 53"/>
                  <a:gd name="T7" fmla="*/ 48 h 52"/>
                  <a:gd name="T8" fmla="*/ 8 w 53"/>
                  <a:gd name="T9" fmla="*/ 45 h 52"/>
                  <a:gd name="T10" fmla="*/ 4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4 w 53"/>
                  <a:gd name="T23" fmla="*/ 12 h 52"/>
                  <a:gd name="T24" fmla="*/ 8 w 53"/>
                  <a:gd name="T25" fmla="*/ 9 h 52"/>
                  <a:gd name="T26" fmla="*/ 11 w 53"/>
                  <a:gd name="T27" fmla="*/ 5 h 52"/>
                  <a:gd name="T28" fmla="*/ 16 w 53"/>
                  <a:gd name="T29" fmla="*/ 3 h 52"/>
                  <a:gd name="T30" fmla="*/ 21 w 53"/>
                  <a:gd name="T31" fmla="*/ 2 h 52"/>
                  <a:gd name="T32" fmla="*/ 26 w 53"/>
                  <a:gd name="T33" fmla="*/ 0 h 52"/>
                  <a:gd name="T34" fmla="*/ 31 w 53"/>
                  <a:gd name="T35" fmla="*/ 2 h 52"/>
                  <a:gd name="T36" fmla="*/ 36 w 53"/>
                  <a:gd name="T37" fmla="*/ 3 h 52"/>
                  <a:gd name="T38" fmla="*/ 40 w 53"/>
                  <a:gd name="T39" fmla="*/ 5 h 52"/>
                  <a:gd name="T40" fmla="*/ 44 w 53"/>
                  <a:gd name="T41" fmla="*/ 7 h 52"/>
                  <a:gd name="T42" fmla="*/ 47 w 53"/>
                  <a:gd name="T43" fmla="*/ 12 h 52"/>
                  <a:gd name="T44" fmla="*/ 50 w 53"/>
                  <a:gd name="T45" fmla="*/ 16 h 52"/>
                  <a:gd name="T46" fmla="*/ 52 w 53"/>
                  <a:gd name="T47" fmla="*/ 22 h 52"/>
                  <a:gd name="T48" fmla="*/ 53 w 53"/>
                  <a:gd name="T49" fmla="*/ 26 h 52"/>
                  <a:gd name="T50" fmla="*/ 52 w 53"/>
                  <a:gd name="T51" fmla="*/ 32 h 52"/>
                  <a:gd name="T52" fmla="*/ 50 w 53"/>
                  <a:gd name="T53" fmla="*/ 36 h 52"/>
                  <a:gd name="T54" fmla="*/ 47 w 53"/>
                  <a:gd name="T55" fmla="*/ 41 h 52"/>
                  <a:gd name="T56" fmla="*/ 44 w 53"/>
                  <a:gd name="T57" fmla="*/ 45 h 52"/>
                  <a:gd name="T58" fmla="*/ 40 w 53"/>
                  <a:gd name="T59" fmla="*/ 48 h 52"/>
                  <a:gd name="T60" fmla="*/ 36 w 53"/>
                  <a:gd name="T61" fmla="*/ 51 h 52"/>
                  <a:gd name="T62" fmla="*/ 31 w 53"/>
                  <a:gd name="T63" fmla="*/ 52 h 52"/>
                  <a:gd name="T64" fmla="*/ 26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6" y="52"/>
                    </a:moveTo>
                    <a:lnTo>
                      <a:pt x="21" y="52"/>
                    </a:lnTo>
                    <a:lnTo>
                      <a:pt x="16" y="51"/>
                    </a:lnTo>
                    <a:lnTo>
                      <a:pt x="11" y="48"/>
                    </a:lnTo>
                    <a:lnTo>
                      <a:pt x="8" y="45"/>
                    </a:lnTo>
                    <a:lnTo>
                      <a:pt x="4" y="41"/>
                    </a:lnTo>
                    <a:lnTo>
                      <a:pt x="3" y="36"/>
                    </a:lnTo>
                    <a:lnTo>
                      <a:pt x="1" y="32"/>
                    </a:lnTo>
                    <a:lnTo>
                      <a:pt x="0" y="26"/>
                    </a:lnTo>
                    <a:lnTo>
                      <a:pt x="1" y="22"/>
                    </a:lnTo>
                    <a:lnTo>
                      <a:pt x="3" y="16"/>
                    </a:lnTo>
                    <a:lnTo>
                      <a:pt x="4" y="12"/>
                    </a:lnTo>
                    <a:lnTo>
                      <a:pt x="8" y="9"/>
                    </a:lnTo>
                    <a:lnTo>
                      <a:pt x="11" y="5"/>
                    </a:lnTo>
                    <a:lnTo>
                      <a:pt x="16" y="3"/>
                    </a:lnTo>
                    <a:lnTo>
                      <a:pt x="21" y="2"/>
                    </a:lnTo>
                    <a:lnTo>
                      <a:pt x="26" y="0"/>
                    </a:lnTo>
                    <a:lnTo>
                      <a:pt x="31" y="2"/>
                    </a:lnTo>
                    <a:lnTo>
                      <a:pt x="36" y="3"/>
                    </a:lnTo>
                    <a:lnTo>
                      <a:pt x="40" y="5"/>
                    </a:lnTo>
                    <a:lnTo>
                      <a:pt x="44" y="7"/>
                    </a:lnTo>
                    <a:lnTo>
                      <a:pt x="47" y="12"/>
                    </a:lnTo>
                    <a:lnTo>
                      <a:pt x="50" y="16"/>
                    </a:lnTo>
                    <a:lnTo>
                      <a:pt x="52" y="22"/>
                    </a:lnTo>
                    <a:lnTo>
                      <a:pt x="53" y="26"/>
                    </a:lnTo>
                    <a:lnTo>
                      <a:pt x="52" y="32"/>
                    </a:lnTo>
                    <a:lnTo>
                      <a:pt x="50" y="36"/>
                    </a:lnTo>
                    <a:lnTo>
                      <a:pt x="47" y="41"/>
                    </a:lnTo>
                    <a:lnTo>
                      <a:pt x="44" y="45"/>
                    </a:lnTo>
                    <a:lnTo>
                      <a:pt x="40" y="48"/>
                    </a:lnTo>
                    <a:lnTo>
                      <a:pt x="36" y="51"/>
                    </a:lnTo>
                    <a:lnTo>
                      <a:pt x="31" y="52"/>
                    </a:lnTo>
                    <a:lnTo>
                      <a:pt x="2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1" name="Gruppieren 290">
            <a:extLst>
              <a:ext uri="{FF2B5EF4-FFF2-40B4-BE49-F238E27FC236}">
                <a16:creationId xmlns:a16="http://schemas.microsoft.com/office/drawing/2014/main" id="{EE4BB443-37EA-4155-862E-754711F0924E}"/>
              </a:ext>
            </a:extLst>
          </p:cNvPr>
          <p:cNvGrpSpPr>
            <a:grpSpLocks noChangeAspect="1"/>
          </p:cNvGrpSpPr>
          <p:nvPr/>
        </p:nvGrpSpPr>
        <p:grpSpPr>
          <a:xfrm>
            <a:off x="323545" y="4961148"/>
            <a:ext cx="204887" cy="143929"/>
            <a:chOff x="6330621" y="1471797"/>
            <a:chExt cx="240663" cy="169061"/>
          </a:xfrm>
          <a:solidFill>
            <a:schemeClr val="bg2"/>
          </a:solidFill>
          <a:effectLst/>
        </p:grpSpPr>
        <p:sp>
          <p:nvSpPr>
            <p:cNvPr id="292" name="Freeform 103">
              <a:extLst>
                <a:ext uri="{FF2B5EF4-FFF2-40B4-BE49-F238E27FC236}">
                  <a16:creationId xmlns:a16="http://schemas.microsoft.com/office/drawing/2014/main" id="{975F4B23-C9F1-4D3D-9BE7-8702E72C7C16}"/>
                </a:ext>
              </a:extLst>
            </p:cNvPr>
            <p:cNvSpPr>
              <a:spLocks noEditPoints="1"/>
            </p:cNvSpPr>
            <p:nvPr/>
          </p:nvSpPr>
          <p:spPr bwMode="auto">
            <a:xfrm>
              <a:off x="6330621" y="1471797"/>
              <a:ext cx="240663" cy="169061"/>
            </a:xfrm>
            <a:custGeom>
              <a:avLst/>
              <a:gdLst>
                <a:gd name="T0" fmla="*/ 68 w 603"/>
                <a:gd name="T1" fmla="*/ 31 h 422"/>
                <a:gd name="T2" fmla="*/ 52 w 603"/>
                <a:gd name="T3" fmla="*/ 39 h 422"/>
                <a:gd name="T4" fmla="*/ 39 w 603"/>
                <a:gd name="T5" fmla="*/ 51 h 422"/>
                <a:gd name="T6" fmla="*/ 31 w 603"/>
                <a:gd name="T7" fmla="*/ 67 h 422"/>
                <a:gd name="T8" fmla="*/ 30 w 603"/>
                <a:gd name="T9" fmla="*/ 346 h 422"/>
                <a:gd name="T10" fmla="*/ 35 w 603"/>
                <a:gd name="T11" fmla="*/ 363 h 422"/>
                <a:gd name="T12" fmla="*/ 44 w 603"/>
                <a:gd name="T13" fmla="*/ 378 h 422"/>
                <a:gd name="T14" fmla="*/ 59 w 603"/>
                <a:gd name="T15" fmla="*/ 387 h 422"/>
                <a:gd name="T16" fmla="*/ 76 w 603"/>
                <a:gd name="T17" fmla="*/ 391 h 422"/>
                <a:gd name="T18" fmla="*/ 536 w 603"/>
                <a:gd name="T19" fmla="*/ 390 h 422"/>
                <a:gd name="T20" fmla="*/ 551 w 603"/>
                <a:gd name="T21" fmla="*/ 383 h 422"/>
                <a:gd name="T22" fmla="*/ 564 w 603"/>
                <a:gd name="T23" fmla="*/ 371 h 422"/>
                <a:gd name="T24" fmla="*/ 572 w 603"/>
                <a:gd name="T25" fmla="*/ 355 h 422"/>
                <a:gd name="T26" fmla="*/ 573 w 603"/>
                <a:gd name="T27" fmla="*/ 75 h 422"/>
                <a:gd name="T28" fmla="*/ 569 w 603"/>
                <a:gd name="T29" fmla="*/ 59 h 422"/>
                <a:gd name="T30" fmla="*/ 559 w 603"/>
                <a:gd name="T31" fmla="*/ 44 h 422"/>
                <a:gd name="T32" fmla="*/ 544 w 603"/>
                <a:gd name="T33" fmla="*/ 34 h 422"/>
                <a:gd name="T34" fmla="*/ 528 w 603"/>
                <a:gd name="T35" fmla="*/ 30 h 422"/>
                <a:gd name="T36" fmla="*/ 528 w 603"/>
                <a:gd name="T37" fmla="*/ 422 h 422"/>
                <a:gd name="T38" fmla="*/ 69 w 603"/>
                <a:gd name="T39" fmla="*/ 422 h 422"/>
                <a:gd name="T40" fmla="*/ 54 w 603"/>
                <a:gd name="T41" fmla="*/ 418 h 422"/>
                <a:gd name="T42" fmla="*/ 41 w 603"/>
                <a:gd name="T43" fmla="*/ 412 h 422"/>
                <a:gd name="T44" fmla="*/ 29 w 603"/>
                <a:gd name="T45" fmla="*/ 403 h 422"/>
                <a:gd name="T46" fmla="*/ 19 w 603"/>
                <a:gd name="T47" fmla="*/ 394 h 422"/>
                <a:gd name="T48" fmla="*/ 10 w 603"/>
                <a:gd name="T49" fmla="*/ 382 h 422"/>
                <a:gd name="T50" fmla="*/ 5 w 603"/>
                <a:gd name="T51" fmla="*/ 368 h 422"/>
                <a:gd name="T52" fmla="*/ 1 w 603"/>
                <a:gd name="T53" fmla="*/ 354 h 422"/>
                <a:gd name="T54" fmla="*/ 0 w 603"/>
                <a:gd name="T55" fmla="*/ 75 h 422"/>
                <a:gd name="T56" fmla="*/ 2 w 603"/>
                <a:gd name="T57" fmla="*/ 60 h 422"/>
                <a:gd name="T58" fmla="*/ 7 w 603"/>
                <a:gd name="T59" fmla="*/ 46 h 422"/>
                <a:gd name="T60" fmla="*/ 14 w 603"/>
                <a:gd name="T61" fmla="*/ 34 h 422"/>
                <a:gd name="T62" fmla="*/ 23 w 603"/>
                <a:gd name="T63" fmla="*/ 23 h 422"/>
                <a:gd name="T64" fmla="*/ 35 w 603"/>
                <a:gd name="T65" fmla="*/ 13 h 422"/>
                <a:gd name="T66" fmla="*/ 48 w 603"/>
                <a:gd name="T67" fmla="*/ 7 h 422"/>
                <a:gd name="T68" fmla="*/ 61 w 603"/>
                <a:gd name="T69" fmla="*/ 2 h 422"/>
                <a:gd name="T70" fmla="*/ 76 w 603"/>
                <a:gd name="T71" fmla="*/ 0 h 422"/>
                <a:gd name="T72" fmla="*/ 534 w 603"/>
                <a:gd name="T73" fmla="*/ 0 h 422"/>
                <a:gd name="T74" fmla="*/ 549 w 603"/>
                <a:gd name="T75" fmla="*/ 3 h 422"/>
                <a:gd name="T76" fmla="*/ 562 w 603"/>
                <a:gd name="T77" fmla="*/ 10 h 422"/>
                <a:gd name="T78" fmla="*/ 575 w 603"/>
                <a:gd name="T79" fmla="*/ 17 h 422"/>
                <a:gd name="T80" fmla="*/ 585 w 603"/>
                <a:gd name="T81" fmla="*/ 28 h 422"/>
                <a:gd name="T82" fmla="*/ 593 w 603"/>
                <a:gd name="T83" fmla="*/ 40 h 422"/>
                <a:gd name="T84" fmla="*/ 599 w 603"/>
                <a:gd name="T85" fmla="*/ 54 h 422"/>
                <a:gd name="T86" fmla="*/ 602 w 603"/>
                <a:gd name="T87" fmla="*/ 68 h 422"/>
                <a:gd name="T88" fmla="*/ 603 w 603"/>
                <a:gd name="T89" fmla="*/ 346 h 422"/>
                <a:gd name="T90" fmla="*/ 601 w 603"/>
                <a:gd name="T91" fmla="*/ 361 h 422"/>
                <a:gd name="T92" fmla="*/ 596 w 603"/>
                <a:gd name="T93" fmla="*/ 374 h 422"/>
                <a:gd name="T94" fmla="*/ 589 w 603"/>
                <a:gd name="T95" fmla="*/ 387 h 422"/>
                <a:gd name="T96" fmla="*/ 580 w 603"/>
                <a:gd name="T97" fmla="*/ 399 h 422"/>
                <a:gd name="T98" fmla="*/ 569 w 603"/>
                <a:gd name="T99" fmla="*/ 409 h 422"/>
                <a:gd name="T100" fmla="*/ 556 w 603"/>
                <a:gd name="T101" fmla="*/ 415 h 422"/>
                <a:gd name="T102" fmla="*/ 542 w 603"/>
                <a:gd name="T103" fmla="*/ 419 h 422"/>
                <a:gd name="T104" fmla="*/ 528 w 603"/>
                <a:gd name="T105"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3" h="422">
                  <a:moveTo>
                    <a:pt x="76" y="30"/>
                  </a:moveTo>
                  <a:lnTo>
                    <a:pt x="68" y="31"/>
                  </a:lnTo>
                  <a:lnTo>
                    <a:pt x="59" y="34"/>
                  </a:lnTo>
                  <a:lnTo>
                    <a:pt x="52" y="39"/>
                  </a:lnTo>
                  <a:lnTo>
                    <a:pt x="44" y="44"/>
                  </a:lnTo>
                  <a:lnTo>
                    <a:pt x="39" y="51"/>
                  </a:lnTo>
                  <a:lnTo>
                    <a:pt x="35" y="59"/>
                  </a:lnTo>
                  <a:lnTo>
                    <a:pt x="31" y="67"/>
                  </a:lnTo>
                  <a:lnTo>
                    <a:pt x="30" y="75"/>
                  </a:lnTo>
                  <a:lnTo>
                    <a:pt x="30" y="346"/>
                  </a:lnTo>
                  <a:lnTo>
                    <a:pt x="31" y="355"/>
                  </a:lnTo>
                  <a:lnTo>
                    <a:pt x="35" y="363"/>
                  </a:lnTo>
                  <a:lnTo>
                    <a:pt x="39" y="371"/>
                  </a:lnTo>
                  <a:lnTo>
                    <a:pt x="44" y="378"/>
                  </a:lnTo>
                  <a:lnTo>
                    <a:pt x="52" y="383"/>
                  </a:lnTo>
                  <a:lnTo>
                    <a:pt x="59" y="387"/>
                  </a:lnTo>
                  <a:lnTo>
                    <a:pt x="68" y="390"/>
                  </a:lnTo>
                  <a:lnTo>
                    <a:pt x="76" y="391"/>
                  </a:lnTo>
                  <a:lnTo>
                    <a:pt x="528" y="391"/>
                  </a:lnTo>
                  <a:lnTo>
                    <a:pt x="536" y="390"/>
                  </a:lnTo>
                  <a:lnTo>
                    <a:pt x="544" y="387"/>
                  </a:lnTo>
                  <a:lnTo>
                    <a:pt x="551" y="383"/>
                  </a:lnTo>
                  <a:lnTo>
                    <a:pt x="559" y="378"/>
                  </a:lnTo>
                  <a:lnTo>
                    <a:pt x="564" y="371"/>
                  </a:lnTo>
                  <a:lnTo>
                    <a:pt x="569" y="364"/>
                  </a:lnTo>
                  <a:lnTo>
                    <a:pt x="572" y="355"/>
                  </a:lnTo>
                  <a:lnTo>
                    <a:pt x="573" y="346"/>
                  </a:lnTo>
                  <a:lnTo>
                    <a:pt x="573" y="75"/>
                  </a:lnTo>
                  <a:lnTo>
                    <a:pt x="572" y="67"/>
                  </a:lnTo>
                  <a:lnTo>
                    <a:pt x="569" y="59"/>
                  </a:lnTo>
                  <a:lnTo>
                    <a:pt x="564" y="51"/>
                  </a:lnTo>
                  <a:lnTo>
                    <a:pt x="559" y="44"/>
                  </a:lnTo>
                  <a:lnTo>
                    <a:pt x="551" y="39"/>
                  </a:lnTo>
                  <a:lnTo>
                    <a:pt x="544" y="34"/>
                  </a:lnTo>
                  <a:lnTo>
                    <a:pt x="536" y="31"/>
                  </a:lnTo>
                  <a:lnTo>
                    <a:pt x="528" y="30"/>
                  </a:lnTo>
                  <a:lnTo>
                    <a:pt x="76" y="30"/>
                  </a:lnTo>
                  <a:close/>
                  <a:moveTo>
                    <a:pt x="528" y="422"/>
                  </a:moveTo>
                  <a:lnTo>
                    <a:pt x="76" y="422"/>
                  </a:lnTo>
                  <a:lnTo>
                    <a:pt x="69" y="422"/>
                  </a:lnTo>
                  <a:lnTo>
                    <a:pt x="61" y="419"/>
                  </a:lnTo>
                  <a:lnTo>
                    <a:pt x="54" y="418"/>
                  </a:lnTo>
                  <a:lnTo>
                    <a:pt x="48" y="415"/>
                  </a:lnTo>
                  <a:lnTo>
                    <a:pt x="41" y="412"/>
                  </a:lnTo>
                  <a:lnTo>
                    <a:pt x="35" y="409"/>
                  </a:lnTo>
                  <a:lnTo>
                    <a:pt x="29" y="403"/>
                  </a:lnTo>
                  <a:lnTo>
                    <a:pt x="23" y="399"/>
                  </a:lnTo>
                  <a:lnTo>
                    <a:pt x="19" y="394"/>
                  </a:lnTo>
                  <a:lnTo>
                    <a:pt x="14" y="387"/>
                  </a:lnTo>
                  <a:lnTo>
                    <a:pt x="10" y="382"/>
                  </a:lnTo>
                  <a:lnTo>
                    <a:pt x="7" y="375"/>
                  </a:lnTo>
                  <a:lnTo>
                    <a:pt x="5" y="368"/>
                  </a:lnTo>
                  <a:lnTo>
                    <a:pt x="2" y="361"/>
                  </a:lnTo>
                  <a:lnTo>
                    <a:pt x="1" y="354"/>
                  </a:lnTo>
                  <a:lnTo>
                    <a:pt x="0" y="346"/>
                  </a:lnTo>
                  <a:lnTo>
                    <a:pt x="0" y="75"/>
                  </a:lnTo>
                  <a:lnTo>
                    <a:pt x="1" y="68"/>
                  </a:lnTo>
                  <a:lnTo>
                    <a:pt x="2" y="60"/>
                  </a:lnTo>
                  <a:lnTo>
                    <a:pt x="5" y="54"/>
                  </a:lnTo>
                  <a:lnTo>
                    <a:pt x="7" y="46"/>
                  </a:lnTo>
                  <a:lnTo>
                    <a:pt x="10" y="40"/>
                  </a:lnTo>
                  <a:lnTo>
                    <a:pt x="14" y="34"/>
                  </a:lnTo>
                  <a:lnTo>
                    <a:pt x="19" y="28"/>
                  </a:lnTo>
                  <a:lnTo>
                    <a:pt x="23" y="23"/>
                  </a:lnTo>
                  <a:lnTo>
                    <a:pt x="29" y="17"/>
                  </a:lnTo>
                  <a:lnTo>
                    <a:pt x="35" y="13"/>
                  </a:lnTo>
                  <a:lnTo>
                    <a:pt x="41" y="10"/>
                  </a:lnTo>
                  <a:lnTo>
                    <a:pt x="48" y="7"/>
                  </a:lnTo>
                  <a:lnTo>
                    <a:pt x="54" y="3"/>
                  </a:lnTo>
                  <a:lnTo>
                    <a:pt x="61" y="2"/>
                  </a:lnTo>
                  <a:lnTo>
                    <a:pt x="69" y="0"/>
                  </a:lnTo>
                  <a:lnTo>
                    <a:pt x="76" y="0"/>
                  </a:lnTo>
                  <a:lnTo>
                    <a:pt x="528" y="0"/>
                  </a:lnTo>
                  <a:lnTo>
                    <a:pt x="534" y="0"/>
                  </a:lnTo>
                  <a:lnTo>
                    <a:pt x="542" y="2"/>
                  </a:lnTo>
                  <a:lnTo>
                    <a:pt x="549" y="3"/>
                  </a:lnTo>
                  <a:lnTo>
                    <a:pt x="556" y="7"/>
                  </a:lnTo>
                  <a:lnTo>
                    <a:pt x="562" y="10"/>
                  </a:lnTo>
                  <a:lnTo>
                    <a:pt x="569" y="13"/>
                  </a:lnTo>
                  <a:lnTo>
                    <a:pt x="575" y="17"/>
                  </a:lnTo>
                  <a:lnTo>
                    <a:pt x="580" y="23"/>
                  </a:lnTo>
                  <a:lnTo>
                    <a:pt x="585" y="28"/>
                  </a:lnTo>
                  <a:lnTo>
                    <a:pt x="589" y="34"/>
                  </a:lnTo>
                  <a:lnTo>
                    <a:pt x="593" y="40"/>
                  </a:lnTo>
                  <a:lnTo>
                    <a:pt x="596" y="46"/>
                  </a:lnTo>
                  <a:lnTo>
                    <a:pt x="599" y="54"/>
                  </a:lnTo>
                  <a:lnTo>
                    <a:pt x="601" y="60"/>
                  </a:lnTo>
                  <a:lnTo>
                    <a:pt x="602" y="68"/>
                  </a:lnTo>
                  <a:lnTo>
                    <a:pt x="603" y="75"/>
                  </a:lnTo>
                  <a:lnTo>
                    <a:pt x="603" y="346"/>
                  </a:lnTo>
                  <a:lnTo>
                    <a:pt x="602" y="354"/>
                  </a:lnTo>
                  <a:lnTo>
                    <a:pt x="601" y="361"/>
                  </a:lnTo>
                  <a:lnTo>
                    <a:pt x="599" y="368"/>
                  </a:lnTo>
                  <a:lnTo>
                    <a:pt x="596" y="374"/>
                  </a:lnTo>
                  <a:lnTo>
                    <a:pt x="593" y="382"/>
                  </a:lnTo>
                  <a:lnTo>
                    <a:pt x="589" y="387"/>
                  </a:lnTo>
                  <a:lnTo>
                    <a:pt x="585" y="394"/>
                  </a:lnTo>
                  <a:lnTo>
                    <a:pt x="580" y="399"/>
                  </a:lnTo>
                  <a:lnTo>
                    <a:pt x="575" y="403"/>
                  </a:lnTo>
                  <a:lnTo>
                    <a:pt x="569" y="409"/>
                  </a:lnTo>
                  <a:lnTo>
                    <a:pt x="562" y="412"/>
                  </a:lnTo>
                  <a:lnTo>
                    <a:pt x="556" y="415"/>
                  </a:lnTo>
                  <a:lnTo>
                    <a:pt x="549" y="418"/>
                  </a:lnTo>
                  <a:lnTo>
                    <a:pt x="542" y="419"/>
                  </a:lnTo>
                  <a:lnTo>
                    <a:pt x="534" y="422"/>
                  </a:lnTo>
                  <a:lnTo>
                    <a:pt x="528"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04">
              <a:extLst>
                <a:ext uri="{FF2B5EF4-FFF2-40B4-BE49-F238E27FC236}">
                  <a16:creationId xmlns:a16="http://schemas.microsoft.com/office/drawing/2014/main" id="{4298BA0D-37C8-410C-9D44-2399E0EDF34C}"/>
                </a:ext>
              </a:extLst>
            </p:cNvPr>
            <p:cNvSpPr>
              <a:spLocks/>
            </p:cNvSpPr>
            <p:nvPr/>
          </p:nvSpPr>
          <p:spPr bwMode="auto">
            <a:xfrm>
              <a:off x="6362445" y="1495665"/>
              <a:ext cx="179005" cy="77570"/>
            </a:xfrm>
            <a:custGeom>
              <a:avLst/>
              <a:gdLst>
                <a:gd name="T0" fmla="*/ 226 w 452"/>
                <a:gd name="T1" fmla="*/ 196 h 196"/>
                <a:gd name="T2" fmla="*/ 220 w 452"/>
                <a:gd name="T3" fmla="*/ 195 h 196"/>
                <a:gd name="T4" fmla="*/ 216 w 452"/>
                <a:gd name="T5" fmla="*/ 193 h 196"/>
                <a:gd name="T6" fmla="*/ 6 w 452"/>
                <a:gd name="T7" fmla="*/ 27 h 196"/>
                <a:gd name="T8" fmla="*/ 4 w 452"/>
                <a:gd name="T9" fmla="*/ 25 h 196"/>
                <a:gd name="T10" fmla="*/ 2 w 452"/>
                <a:gd name="T11" fmla="*/ 23 h 196"/>
                <a:gd name="T12" fmla="*/ 0 w 452"/>
                <a:gd name="T13" fmla="*/ 19 h 196"/>
                <a:gd name="T14" fmla="*/ 0 w 452"/>
                <a:gd name="T15" fmla="*/ 17 h 196"/>
                <a:gd name="T16" fmla="*/ 0 w 452"/>
                <a:gd name="T17" fmla="*/ 14 h 196"/>
                <a:gd name="T18" fmla="*/ 0 w 452"/>
                <a:gd name="T19" fmla="*/ 11 h 196"/>
                <a:gd name="T20" fmla="*/ 2 w 452"/>
                <a:gd name="T21" fmla="*/ 9 h 196"/>
                <a:gd name="T22" fmla="*/ 4 w 452"/>
                <a:gd name="T23" fmla="*/ 7 h 196"/>
                <a:gd name="T24" fmla="*/ 5 w 452"/>
                <a:gd name="T25" fmla="*/ 3 h 196"/>
                <a:gd name="T26" fmla="*/ 8 w 452"/>
                <a:gd name="T27" fmla="*/ 2 h 196"/>
                <a:gd name="T28" fmla="*/ 10 w 452"/>
                <a:gd name="T29" fmla="*/ 1 h 196"/>
                <a:gd name="T30" fmla="*/ 13 w 452"/>
                <a:gd name="T31" fmla="*/ 0 h 196"/>
                <a:gd name="T32" fmla="*/ 17 w 452"/>
                <a:gd name="T33" fmla="*/ 0 h 196"/>
                <a:gd name="T34" fmla="*/ 19 w 452"/>
                <a:gd name="T35" fmla="*/ 1 h 196"/>
                <a:gd name="T36" fmla="*/ 22 w 452"/>
                <a:gd name="T37" fmla="*/ 2 h 196"/>
                <a:gd name="T38" fmla="*/ 24 w 452"/>
                <a:gd name="T39" fmla="*/ 3 h 196"/>
                <a:gd name="T40" fmla="*/ 226 w 452"/>
                <a:gd name="T41" fmla="*/ 162 h 196"/>
                <a:gd name="T42" fmla="*/ 427 w 452"/>
                <a:gd name="T43" fmla="*/ 3 h 196"/>
                <a:gd name="T44" fmla="*/ 429 w 452"/>
                <a:gd name="T45" fmla="*/ 2 h 196"/>
                <a:gd name="T46" fmla="*/ 433 w 452"/>
                <a:gd name="T47" fmla="*/ 1 h 196"/>
                <a:gd name="T48" fmla="*/ 435 w 452"/>
                <a:gd name="T49" fmla="*/ 0 h 196"/>
                <a:gd name="T50" fmla="*/ 438 w 452"/>
                <a:gd name="T51" fmla="*/ 0 h 196"/>
                <a:gd name="T52" fmla="*/ 441 w 452"/>
                <a:gd name="T53" fmla="*/ 1 h 196"/>
                <a:gd name="T54" fmla="*/ 443 w 452"/>
                <a:gd name="T55" fmla="*/ 2 h 196"/>
                <a:gd name="T56" fmla="*/ 446 w 452"/>
                <a:gd name="T57" fmla="*/ 3 h 196"/>
                <a:gd name="T58" fmla="*/ 449 w 452"/>
                <a:gd name="T59" fmla="*/ 7 h 196"/>
                <a:gd name="T60" fmla="*/ 450 w 452"/>
                <a:gd name="T61" fmla="*/ 9 h 196"/>
                <a:gd name="T62" fmla="*/ 451 w 452"/>
                <a:gd name="T63" fmla="*/ 11 h 196"/>
                <a:gd name="T64" fmla="*/ 452 w 452"/>
                <a:gd name="T65" fmla="*/ 14 h 196"/>
                <a:gd name="T66" fmla="*/ 451 w 452"/>
                <a:gd name="T67" fmla="*/ 17 h 196"/>
                <a:gd name="T68" fmla="*/ 451 w 452"/>
                <a:gd name="T69" fmla="*/ 19 h 196"/>
                <a:gd name="T70" fmla="*/ 450 w 452"/>
                <a:gd name="T71" fmla="*/ 23 h 196"/>
                <a:gd name="T72" fmla="*/ 448 w 452"/>
                <a:gd name="T73" fmla="*/ 25 h 196"/>
                <a:gd name="T74" fmla="*/ 445 w 452"/>
                <a:gd name="T75" fmla="*/ 27 h 196"/>
                <a:gd name="T76" fmla="*/ 235 w 452"/>
                <a:gd name="T77" fmla="*/ 193 h 196"/>
                <a:gd name="T78" fmla="*/ 231 w 452"/>
                <a:gd name="T79" fmla="*/ 195 h 196"/>
                <a:gd name="T80" fmla="*/ 226 w 452"/>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196">
                  <a:moveTo>
                    <a:pt x="226" y="196"/>
                  </a:moveTo>
                  <a:lnTo>
                    <a:pt x="220" y="195"/>
                  </a:lnTo>
                  <a:lnTo>
                    <a:pt x="216" y="193"/>
                  </a:lnTo>
                  <a:lnTo>
                    <a:pt x="6" y="27"/>
                  </a:lnTo>
                  <a:lnTo>
                    <a:pt x="4" y="25"/>
                  </a:lnTo>
                  <a:lnTo>
                    <a:pt x="2" y="23"/>
                  </a:lnTo>
                  <a:lnTo>
                    <a:pt x="0" y="19"/>
                  </a:lnTo>
                  <a:lnTo>
                    <a:pt x="0" y="17"/>
                  </a:lnTo>
                  <a:lnTo>
                    <a:pt x="0" y="14"/>
                  </a:lnTo>
                  <a:lnTo>
                    <a:pt x="0" y="11"/>
                  </a:lnTo>
                  <a:lnTo>
                    <a:pt x="2" y="9"/>
                  </a:lnTo>
                  <a:lnTo>
                    <a:pt x="4" y="7"/>
                  </a:lnTo>
                  <a:lnTo>
                    <a:pt x="5" y="3"/>
                  </a:lnTo>
                  <a:lnTo>
                    <a:pt x="8" y="2"/>
                  </a:lnTo>
                  <a:lnTo>
                    <a:pt x="10" y="1"/>
                  </a:lnTo>
                  <a:lnTo>
                    <a:pt x="13" y="0"/>
                  </a:lnTo>
                  <a:lnTo>
                    <a:pt x="17" y="0"/>
                  </a:lnTo>
                  <a:lnTo>
                    <a:pt x="19" y="1"/>
                  </a:lnTo>
                  <a:lnTo>
                    <a:pt x="22" y="2"/>
                  </a:lnTo>
                  <a:lnTo>
                    <a:pt x="24" y="3"/>
                  </a:lnTo>
                  <a:lnTo>
                    <a:pt x="226" y="162"/>
                  </a:lnTo>
                  <a:lnTo>
                    <a:pt x="427" y="3"/>
                  </a:lnTo>
                  <a:lnTo>
                    <a:pt x="429" y="2"/>
                  </a:lnTo>
                  <a:lnTo>
                    <a:pt x="433" y="1"/>
                  </a:lnTo>
                  <a:lnTo>
                    <a:pt x="435" y="0"/>
                  </a:lnTo>
                  <a:lnTo>
                    <a:pt x="438" y="0"/>
                  </a:lnTo>
                  <a:lnTo>
                    <a:pt x="441" y="1"/>
                  </a:lnTo>
                  <a:lnTo>
                    <a:pt x="443" y="2"/>
                  </a:lnTo>
                  <a:lnTo>
                    <a:pt x="446" y="3"/>
                  </a:lnTo>
                  <a:lnTo>
                    <a:pt x="449" y="7"/>
                  </a:lnTo>
                  <a:lnTo>
                    <a:pt x="450" y="9"/>
                  </a:lnTo>
                  <a:lnTo>
                    <a:pt x="451" y="11"/>
                  </a:lnTo>
                  <a:lnTo>
                    <a:pt x="452" y="14"/>
                  </a:lnTo>
                  <a:lnTo>
                    <a:pt x="451" y="17"/>
                  </a:lnTo>
                  <a:lnTo>
                    <a:pt x="451" y="19"/>
                  </a:lnTo>
                  <a:lnTo>
                    <a:pt x="450" y="23"/>
                  </a:lnTo>
                  <a:lnTo>
                    <a:pt x="448" y="25"/>
                  </a:lnTo>
                  <a:lnTo>
                    <a:pt x="445" y="27"/>
                  </a:lnTo>
                  <a:lnTo>
                    <a:pt x="235" y="193"/>
                  </a:lnTo>
                  <a:lnTo>
                    <a:pt x="231" y="195"/>
                  </a:lnTo>
                  <a:lnTo>
                    <a:pt x="226"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05">
              <a:extLst>
                <a:ext uri="{FF2B5EF4-FFF2-40B4-BE49-F238E27FC236}">
                  <a16:creationId xmlns:a16="http://schemas.microsoft.com/office/drawing/2014/main" id="{7C0D120D-57CF-4F62-80B5-F66A6D3354C0}"/>
                </a:ext>
              </a:extLst>
            </p:cNvPr>
            <p:cNvSpPr>
              <a:spLocks/>
            </p:cNvSpPr>
            <p:nvPr/>
          </p:nvSpPr>
          <p:spPr bwMode="auto">
            <a:xfrm>
              <a:off x="6469848" y="1543400"/>
              <a:ext cx="71602" cy="59668"/>
            </a:xfrm>
            <a:custGeom>
              <a:avLst/>
              <a:gdLst>
                <a:gd name="T0" fmla="*/ 166 w 181"/>
                <a:gd name="T1" fmla="*/ 152 h 152"/>
                <a:gd name="T2" fmla="*/ 161 w 181"/>
                <a:gd name="T3" fmla="*/ 151 h 152"/>
                <a:gd name="T4" fmla="*/ 157 w 181"/>
                <a:gd name="T5" fmla="*/ 149 h 152"/>
                <a:gd name="T6" fmla="*/ 5 w 181"/>
                <a:gd name="T7" fmla="*/ 27 h 152"/>
                <a:gd name="T8" fmla="*/ 3 w 181"/>
                <a:gd name="T9" fmla="*/ 25 h 152"/>
                <a:gd name="T10" fmla="*/ 2 w 181"/>
                <a:gd name="T11" fmla="*/ 23 h 152"/>
                <a:gd name="T12" fmla="*/ 1 w 181"/>
                <a:gd name="T13" fmla="*/ 19 h 152"/>
                <a:gd name="T14" fmla="*/ 0 w 181"/>
                <a:gd name="T15" fmla="*/ 17 h 152"/>
                <a:gd name="T16" fmla="*/ 0 w 181"/>
                <a:gd name="T17" fmla="*/ 14 h 152"/>
                <a:gd name="T18" fmla="*/ 1 w 181"/>
                <a:gd name="T19" fmla="*/ 11 h 152"/>
                <a:gd name="T20" fmla="*/ 2 w 181"/>
                <a:gd name="T21" fmla="*/ 9 h 152"/>
                <a:gd name="T22" fmla="*/ 3 w 181"/>
                <a:gd name="T23" fmla="*/ 7 h 152"/>
                <a:gd name="T24" fmla="*/ 5 w 181"/>
                <a:gd name="T25" fmla="*/ 3 h 152"/>
                <a:gd name="T26" fmla="*/ 7 w 181"/>
                <a:gd name="T27" fmla="*/ 2 h 152"/>
                <a:gd name="T28" fmla="*/ 10 w 181"/>
                <a:gd name="T29" fmla="*/ 1 h 152"/>
                <a:gd name="T30" fmla="*/ 14 w 181"/>
                <a:gd name="T31" fmla="*/ 0 h 152"/>
                <a:gd name="T32" fmla="*/ 16 w 181"/>
                <a:gd name="T33" fmla="*/ 0 h 152"/>
                <a:gd name="T34" fmla="*/ 19 w 181"/>
                <a:gd name="T35" fmla="*/ 1 h 152"/>
                <a:gd name="T36" fmla="*/ 22 w 181"/>
                <a:gd name="T37" fmla="*/ 2 h 152"/>
                <a:gd name="T38" fmla="*/ 24 w 181"/>
                <a:gd name="T39" fmla="*/ 3 h 152"/>
                <a:gd name="T40" fmla="*/ 175 w 181"/>
                <a:gd name="T41" fmla="*/ 126 h 152"/>
                <a:gd name="T42" fmla="*/ 178 w 181"/>
                <a:gd name="T43" fmla="*/ 128 h 152"/>
                <a:gd name="T44" fmla="*/ 180 w 181"/>
                <a:gd name="T45" fmla="*/ 130 h 152"/>
                <a:gd name="T46" fmla="*/ 181 w 181"/>
                <a:gd name="T47" fmla="*/ 132 h 152"/>
                <a:gd name="T48" fmla="*/ 181 w 181"/>
                <a:gd name="T49" fmla="*/ 135 h 152"/>
                <a:gd name="T50" fmla="*/ 181 w 181"/>
                <a:gd name="T51" fmla="*/ 139 h 152"/>
                <a:gd name="T52" fmla="*/ 181 w 181"/>
                <a:gd name="T53" fmla="*/ 141 h 152"/>
                <a:gd name="T54" fmla="*/ 180 w 181"/>
                <a:gd name="T55" fmla="*/ 144 h 152"/>
                <a:gd name="T56" fmla="*/ 178 w 181"/>
                <a:gd name="T57" fmla="*/ 146 h 152"/>
                <a:gd name="T58" fmla="*/ 175 w 181"/>
                <a:gd name="T59" fmla="*/ 149 h 152"/>
                <a:gd name="T60" fmla="*/ 172 w 181"/>
                <a:gd name="T61" fmla="*/ 150 h 152"/>
                <a:gd name="T62" fmla="*/ 170 w 181"/>
                <a:gd name="T63" fmla="*/ 151 h 152"/>
                <a:gd name="T64" fmla="*/ 166 w 181"/>
                <a:gd name="T6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1" h="152">
                  <a:moveTo>
                    <a:pt x="166" y="152"/>
                  </a:moveTo>
                  <a:lnTo>
                    <a:pt x="161" y="151"/>
                  </a:lnTo>
                  <a:lnTo>
                    <a:pt x="157" y="149"/>
                  </a:lnTo>
                  <a:lnTo>
                    <a:pt x="5" y="27"/>
                  </a:lnTo>
                  <a:lnTo>
                    <a:pt x="3" y="25"/>
                  </a:lnTo>
                  <a:lnTo>
                    <a:pt x="2" y="23"/>
                  </a:lnTo>
                  <a:lnTo>
                    <a:pt x="1" y="19"/>
                  </a:lnTo>
                  <a:lnTo>
                    <a:pt x="0" y="17"/>
                  </a:lnTo>
                  <a:lnTo>
                    <a:pt x="0" y="14"/>
                  </a:lnTo>
                  <a:lnTo>
                    <a:pt x="1" y="11"/>
                  </a:lnTo>
                  <a:lnTo>
                    <a:pt x="2" y="9"/>
                  </a:lnTo>
                  <a:lnTo>
                    <a:pt x="3" y="7"/>
                  </a:lnTo>
                  <a:lnTo>
                    <a:pt x="5" y="3"/>
                  </a:lnTo>
                  <a:lnTo>
                    <a:pt x="7" y="2"/>
                  </a:lnTo>
                  <a:lnTo>
                    <a:pt x="10" y="1"/>
                  </a:lnTo>
                  <a:lnTo>
                    <a:pt x="14" y="0"/>
                  </a:lnTo>
                  <a:lnTo>
                    <a:pt x="16" y="0"/>
                  </a:lnTo>
                  <a:lnTo>
                    <a:pt x="19" y="1"/>
                  </a:lnTo>
                  <a:lnTo>
                    <a:pt x="22" y="2"/>
                  </a:lnTo>
                  <a:lnTo>
                    <a:pt x="24" y="3"/>
                  </a:lnTo>
                  <a:lnTo>
                    <a:pt x="175" y="126"/>
                  </a:lnTo>
                  <a:lnTo>
                    <a:pt x="178" y="128"/>
                  </a:lnTo>
                  <a:lnTo>
                    <a:pt x="180" y="130"/>
                  </a:lnTo>
                  <a:lnTo>
                    <a:pt x="181" y="132"/>
                  </a:lnTo>
                  <a:lnTo>
                    <a:pt x="181" y="135"/>
                  </a:lnTo>
                  <a:lnTo>
                    <a:pt x="181" y="139"/>
                  </a:lnTo>
                  <a:lnTo>
                    <a:pt x="181" y="141"/>
                  </a:lnTo>
                  <a:lnTo>
                    <a:pt x="180" y="144"/>
                  </a:lnTo>
                  <a:lnTo>
                    <a:pt x="178" y="146"/>
                  </a:lnTo>
                  <a:lnTo>
                    <a:pt x="175" y="149"/>
                  </a:lnTo>
                  <a:lnTo>
                    <a:pt x="172" y="150"/>
                  </a:lnTo>
                  <a:lnTo>
                    <a:pt x="170" y="151"/>
                  </a:lnTo>
                  <a:lnTo>
                    <a:pt x="166"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06">
              <a:extLst>
                <a:ext uri="{FF2B5EF4-FFF2-40B4-BE49-F238E27FC236}">
                  <a16:creationId xmlns:a16="http://schemas.microsoft.com/office/drawing/2014/main" id="{9D69B05E-499A-4C71-958B-AB1AB4F913EB}"/>
                </a:ext>
              </a:extLst>
            </p:cNvPr>
            <p:cNvSpPr>
              <a:spLocks/>
            </p:cNvSpPr>
            <p:nvPr/>
          </p:nvSpPr>
          <p:spPr bwMode="auto">
            <a:xfrm>
              <a:off x="6362445" y="1543400"/>
              <a:ext cx="71602" cy="59668"/>
            </a:xfrm>
            <a:custGeom>
              <a:avLst/>
              <a:gdLst>
                <a:gd name="T0" fmla="*/ 15 w 182"/>
                <a:gd name="T1" fmla="*/ 152 h 152"/>
                <a:gd name="T2" fmla="*/ 12 w 182"/>
                <a:gd name="T3" fmla="*/ 151 h 152"/>
                <a:gd name="T4" fmla="*/ 9 w 182"/>
                <a:gd name="T5" fmla="*/ 150 h 152"/>
                <a:gd name="T6" fmla="*/ 6 w 182"/>
                <a:gd name="T7" fmla="*/ 149 h 152"/>
                <a:gd name="T8" fmla="*/ 4 w 182"/>
                <a:gd name="T9" fmla="*/ 146 h 152"/>
                <a:gd name="T10" fmla="*/ 2 w 182"/>
                <a:gd name="T11" fmla="*/ 144 h 152"/>
                <a:gd name="T12" fmla="*/ 0 w 182"/>
                <a:gd name="T13" fmla="*/ 141 h 152"/>
                <a:gd name="T14" fmla="*/ 0 w 182"/>
                <a:gd name="T15" fmla="*/ 139 h 152"/>
                <a:gd name="T16" fmla="*/ 0 w 182"/>
                <a:gd name="T17" fmla="*/ 135 h 152"/>
                <a:gd name="T18" fmla="*/ 0 w 182"/>
                <a:gd name="T19" fmla="*/ 133 h 152"/>
                <a:gd name="T20" fmla="*/ 2 w 182"/>
                <a:gd name="T21" fmla="*/ 130 h 152"/>
                <a:gd name="T22" fmla="*/ 4 w 182"/>
                <a:gd name="T23" fmla="*/ 128 h 152"/>
                <a:gd name="T24" fmla="*/ 6 w 182"/>
                <a:gd name="T25" fmla="*/ 126 h 152"/>
                <a:gd name="T26" fmla="*/ 157 w 182"/>
                <a:gd name="T27" fmla="*/ 3 h 152"/>
                <a:gd name="T28" fmla="*/ 160 w 182"/>
                <a:gd name="T29" fmla="*/ 2 h 152"/>
                <a:gd name="T30" fmla="*/ 162 w 182"/>
                <a:gd name="T31" fmla="*/ 1 h 152"/>
                <a:gd name="T32" fmla="*/ 166 w 182"/>
                <a:gd name="T33" fmla="*/ 0 h 152"/>
                <a:gd name="T34" fmla="*/ 168 w 182"/>
                <a:gd name="T35" fmla="*/ 0 h 152"/>
                <a:gd name="T36" fmla="*/ 171 w 182"/>
                <a:gd name="T37" fmla="*/ 1 h 152"/>
                <a:gd name="T38" fmla="*/ 174 w 182"/>
                <a:gd name="T39" fmla="*/ 2 h 152"/>
                <a:gd name="T40" fmla="*/ 176 w 182"/>
                <a:gd name="T41" fmla="*/ 3 h 152"/>
                <a:gd name="T42" fmla="*/ 178 w 182"/>
                <a:gd name="T43" fmla="*/ 7 h 152"/>
                <a:gd name="T44" fmla="*/ 180 w 182"/>
                <a:gd name="T45" fmla="*/ 9 h 152"/>
                <a:gd name="T46" fmla="*/ 181 w 182"/>
                <a:gd name="T47" fmla="*/ 11 h 152"/>
                <a:gd name="T48" fmla="*/ 182 w 182"/>
                <a:gd name="T49" fmla="*/ 14 h 152"/>
                <a:gd name="T50" fmla="*/ 182 w 182"/>
                <a:gd name="T51" fmla="*/ 17 h 152"/>
                <a:gd name="T52" fmla="*/ 181 w 182"/>
                <a:gd name="T53" fmla="*/ 19 h 152"/>
                <a:gd name="T54" fmla="*/ 180 w 182"/>
                <a:gd name="T55" fmla="*/ 23 h 152"/>
                <a:gd name="T56" fmla="*/ 178 w 182"/>
                <a:gd name="T57" fmla="*/ 25 h 152"/>
                <a:gd name="T58" fmla="*/ 176 w 182"/>
                <a:gd name="T59" fmla="*/ 27 h 152"/>
                <a:gd name="T60" fmla="*/ 24 w 182"/>
                <a:gd name="T61" fmla="*/ 149 h 152"/>
                <a:gd name="T62" fmla="*/ 20 w 182"/>
                <a:gd name="T63" fmla="*/ 151 h 152"/>
                <a:gd name="T64" fmla="*/ 15 w 182"/>
                <a:gd name="T6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2" h="152">
                  <a:moveTo>
                    <a:pt x="15" y="152"/>
                  </a:moveTo>
                  <a:lnTo>
                    <a:pt x="12" y="151"/>
                  </a:lnTo>
                  <a:lnTo>
                    <a:pt x="9" y="150"/>
                  </a:lnTo>
                  <a:lnTo>
                    <a:pt x="6" y="149"/>
                  </a:lnTo>
                  <a:lnTo>
                    <a:pt x="4" y="146"/>
                  </a:lnTo>
                  <a:lnTo>
                    <a:pt x="2" y="144"/>
                  </a:lnTo>
                  <a:lnTo>
                    <a:pt x="0" y="141"/>
                  </a:lnTo>
                  <a:lnTo>
                    <a:pt x="0" y="139"/>
                  </a:lnTo>
                  <a:lnTo>
                    <a:pt x="0" y="135"/>
                  </a:lnTo>
                  <a:lnTo>
                    <a:pt x="0" y="133"/>
                  </a:lnTo>
                  <a:lnTo>
                    <a:pt x="2" y="130"/>
                  </a:lnTo>
                  <a:lnTo>
                    <a:pt x="4" y="128"/>
                  </a:lnTo>
                  <a:lnTo>
                    <a:pt x="6" y="126"/>
                  </a:lnTo>
                  <a:lnTo>
                    <a:pt x="157" y="3"/>
                  </a:lnTo>
                  <a:lnTo>
                    <a:pt x="160" y="2"/>
                  </a:lnTo>
                  <a:lnTo>
                    <a:pt x="162" y="1"/>
                  </a:lnTo>
                  <a:lnTo>
                    <a:pt x="166" y="0"/>
                  </a:lnTo>
                  <a:lnTo>
                    <a:pt x="168" y="0"/>
                  </a:lnTo>
                  <a:lnTo>
                    <a:pt x="171" y="1"/>
                  </a:lnTo>
                  <a:lnTo>
                    <a:pt x="174" y="2"/>
                  </a:lnTo>
                  <a:lnTo>
                    <a:pt x="176" y="3"/>
                  </a:lnTo>
                  <a:lnTo>
                    <a:pt x="178" y="7"/>
                  </a:lnTo>
                  <a:lnTo>
                    <a:pt x="180" y="9"/>
                  </a:lnTo>
                  <a:lnTo>
                    <a:pt x="181" y="11"/>
                  </a:lnTo>
                  <a:lnTo>
                    <a:pt x="182" y="14"/>
                  </a:lnTo>
                  <a:lnTo>
                    <a:pt x="182" y="17"/>
                  </a:lnTo>
                  <a:lnTo>
                    <a:pt x="181" y="19"/>
                  </a:lnTo>
                  <a:lnTo>
                    <a:pt x="180" y="23"/>
                  </a:lnTo>
                  <a:lnTo>
                    <a:pt x="178" y="25"/>
                  </a:lnTo>
                  <a:lnTo>
                    <a:pt x="176" y="27"/>
                  </a:lnTo>
                  <a:lnTo>
                    <a:pt x="24" y="149"/>
                  </a:lnTo>
                  <a:lnTo>
                    <a:pt x="20" y="151"/>
                  </a:lnTo>
                  <a:lnTo>
                    <a:pt x="15"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6" name="Group 45">
            <a:extLst>
              <a:ext uri="{FF2B5EF4-FFF2-40B4-BE49-F238E27FC236}">
                <a16:creationId xmlns:a16="http://schemas.microsoft.com/office/drawing/2014/main" id="{26373C97-9E94-4A72-A663-F5EA22AD1930}"/>
              </a:ext>
            </a:extLst>
          </p:cNvPr>
          <p:cNvGrpSpPr>
            <a:grpSpLocks noChangeAspect="1"/>
          </p:cNvGrpSpPr>
          <p:nvPr/>
        </p:nvGrpSpPr>
        <p:grpSpPr>
          <a:xfrm>
            <a:off x="266660" y="5417577"/>
            <a:ext cx="318657" cy="306482"/>
            <a:chOff x="7065963" y="2254250"/>
            <a:chExt cx="249237" cy="239713"/>
          </a:xfrm>
          <a:solidFill>
            <a:schemeClr val="bg2"/>
          </a:solidFill>
          <a:effectLst/>
        </p:grpSpPr>
        <p:sp>
          <p:nvSpPr>
            <p:cNvPr id="327" name="Freeform 145">
              <a:extLst>
                <a:ext uri="{FF2B5EF4-FFF2-40B4-BE49-F238E27FC236}">
                  <a16:creationId xmlns:a16="http://schemas.microsoft.com/office/drawing/2014/main" id="{A58E76C9-76D0-4BF0-A8CE-2424EF2A8F60}"/>
                </a:ext>
              </a:extLst>
            </p:cNvPr>
            <p:cNvSpPr>
              <a:spLocks/>
            </p:cNvSpPr>
            <p:nvPr/>
          </p:nvSpPr>
          <p:spPr bwMode="auto">
            <a:xfrm>
              <a:off x="7104063" y="2293938"/>
              <a:ext cx="173037" cy="128588"/>
            </a:xfrm>
            <a:custGeom>
              <a:avLst/>
              <a:gdLst>
                <a:gd name="T0" fmla="*/ 242 w 542"/>
                <a:gd name="T1" fmla="*/ 1 h 407"/>
                <a:gd name="T2" fmla="*/ 203 w 542"/>
                <a:gd name="T3" fmla="*/ 8 h 407"/>
                <a:gd name="T4" fmla="*/ 164 w 542"/>
                <a:gd name="T5" fmla="*/ 21 h 407"/>
                <a:gd name="T6" fmla="*/ 130 w 542"/>
                <a:gd name="T7" fmla="*/ 39 h 407"/>
                <a:gd name="T8" fmla="*/ 98 w 542"/>
                <a:gd name="T9" fmla="*/ 62 h 407"/>
                <a:gd name="T10" fmla="*/ 69 w 542"/>
                <a:gd name="T11" fmla="*/ 88 h 407"/>
                <a:gd name="T12" fmla="*/ 46 w 542"/>
                <a:gd name="T13" fmla="*/ 119 h 407"/>
                <a:gd name="T14" fmla="*/ 26 w 542"/>
                <a:gd name="T15" fmla="*/ 154 h 407"/>
                <a:gd name="T16" fmla="*/ 11 w 542"/>
                <a:gd name="T17" fmla="*/ 190 h 407"/>
                <a:gd name="T18" fmla="*/ 3 w 542"/>
                <a:gd name="T19" fmla="*/ 230 h 407"/>
                <a:gd name="T20" fmla="*/ 0 w 542"/>
                <a:gd name="T21" fmla="*/ 270 h 407"/>
                <a:gd name="T22" fmla="*/ 4 w 542"/>
                <a:gd name="T23" fmla="*/ 320 h 407"/>
                <a:gd name="T24" fmla="*/ 17 w 542"/>
                <a:gd name="T25" fmla="*/ 369 h 407"/>
                <a:gd name="T26" fmla="*/ 33 w 542"/>
                <a:gd name="T27" fmla="*/ 402 h 407"/>
                <a:gd name="T28" fmla="*/ 40 w 542"/>
                <a:gd name="T29" fmla="*/ 406 h 407"/>
                <a:gd name="T30" fmla="*/ 49 w 542"/>
                <a:gd name="T31" fmla="*/ 406 h 407"/>
                <a:gd name="T32" fmla="*/ 56 w 542"/>
                <a:gd name="T33" fmla="*/ 402 h 407"/>
                <a:gd name="T34" fmla="*/ 60 w 542"/>
                <a:gd name="T35" fmla="*/ 394 h 407"/>
                <a:gd name="T36" fmla="*/ 57 w 542"/>
                <a:gd name="T37" fmla="*/ 385 h 407"/>
                <a:gd name="T38" fmla="*/ 40 w 542"/>
                <a:gd name="T39" fmla="*/ 344 h 407"/>
                <a:gd name="T40" fmla="*/ 31 w 542"/>
                <a:gd name="T41" fmla="*/ 301 h 407"/>
                <a:gd name="T42" fmla="*/ 30 w 542"/>
                <a:gd name="T43" fmla="*/ 258 h 407"/>
                <a:gd name="T44" fmla="*/ 34 w 542"/>
                <a:gd name="T45" fmla="*/ 222 h 407"/>
                <a:gd name="T46" fmla="*/ 44 w 542"/>
                <a:gd name="T47" fmla="*/ 188 h 407"/>
                <a:gd name="T48" fmla="*/ 58 w 542"/>
                <a:gd name="T49" fmla="*/ 156 h 407"/>
                <a:gd name="T50" fmla="*/ 78 w 542"/>
                <a:gd name="T51" fmla="*/ 127 h 407"/>
                <a:gd name="T52" fmla="*/ 100 w 542"/>
                <a:gd name="T53" fmla="*/ 100 h 407"/>
                <a:gd name="T54" fmla="*/ 126 w 542"/>
                <a:gd name="T55" fmla="*/ 78 h 407"/>
                <a:gd name="T56" fmla="*/ 156 w 542"/>
                <a:gd name="T57" fmla="*/ 58 h 407"/>
                <a:gd name="T58" fmla="*/ 188 w 542"/>
                <a:gd name="T59" fmla="*/ 44 h 407"/>
                <a:gd name="T60" fmla="*/ 222 w 542"/>
                <a:gd name="T61" fmla="*/ 35 h 407"/>
                <a:gd name="T62" fmla="*/ 257 w 542"/>
                <a:gd name="T63" fmla="*/ 30 h 407"/>
                <a:gd name="T64" fmla="*/ 295 w 542"/>
                <a:gd name="T65" fmla="*/ 31 h 407"/>
                <a:gd name="T66" fmla="*/ 330 w 542"/>
                <a:gd name="T67" fmla="*/ 37 h 407"/>
                <a:gd name="T68" fmla="*/ 364 w 542"/>
                <a:gd name="T69" fmla="*/ 49 h 407"/>
                <a:gd name="T70" fmla="*/ 395 w 542"/>
                <a:gd name="T71" fmla="*/ 65 h 407"/>
                <a:gd name="T72" fmla="*/ 423 w 542"/>
                <a:gd name="T73" fmla="*/ 85 h 407"/>
                <a:gd name="T74" fmla="*/ 449 w 542"/>
                <a:gd name="T75" fmla="*/ 109 h 407"/>
                <a:gd name="T76" fmla="*/ 470 w 542"/>
                <a:gd name="T77" fmla="*/ 136 h 407"/>
                <a:gd name="T78" fmla="*/ 487 w 542"/>
                <a:gd name="T79" fmla="*/ 166 h 407"/>
                <a:gd name="T80" fmla="*/ 500 w 542"/>
                <a:gd name="T81" fmla="*/ 200 h 407"/>
                <a:gd name="T82" fmla="*/ 509 w 542"/>
                <a:gd name="T83" fmla="*/ 234 h 407"/>
                <a:gd name="T84" fmla="*/ 511 w 542"/>
                <a:gd name="T85" fmla="*/ 270 h 407"/>
                <a:gd name="T86" fmla="*/ 508 w 542"/>
                <a:gd name="T87" fmla="*/ 315 h 407"/>
                <a:gd name="T88" fmla="*/ 495 w 542"/>
                <a:gd name="T89" fmla="*/ 358 h 407"/>
                <a:gd name="T90" fmla="*/ 482 w 542"/>
                <a:gd name="T91" fmla="*/ 388 h 407"/>
                <a:gd name="T92" fmla="*/ 482 w 542"/>
                <a:gd name="T93" fmla="*/ 396 h 407"/>
                <a:gd name="T94" fmla="*/ 486 w 542"/>
                <a:gd name="T95" fmla="*/ 403 h 407"/>
                <a:gd name="T96" fmla="*/ 496 w 542"/>
                <a:gd name="T97" fmla="*/ 406 h 407"/>
                <a:gd name="T98" fmla="*/ 508 w 542"/>
                <a:gd name="T99" fmla="*/ 402 h 407"/>
                <a:gd name="T100" fmla="*/ 524 w 542"/>
                <a:gd name="T101" fmla="*/ 369 h 407"/>
                <a:gd name="T102" fmla="*/ 537 w 542"/>
                <a:gd name="T103" fmla="*/ 320 h 407"/>
                <a:gd name="T104" fmla="*/ 542 w 542"/>
                <a:gd name="T105" fmla="*/ 270 h 407"/>
                <a:gd name="T106" fmla="*/ 539 w 542"/>
                <a:gd name="T107" fmla="*/ 230 h 407"/>
                <a:gd name="T108" fmla="*/ 529 w 542"/>
                <a:gd name="T109" fmla="*/ 190 h 407"/>
                <a:gd name="T110" fmla="*/ 515 w 542"/>
                <a:gd name="T111" fmla="*/ 154 h 407"/>
                <a:gd name="T112" fmla="*/ 495 w 542"/>
                <a:gd name="T113" fmla="*/ 119 h 407"/>
                <a:gd name="T114" fmla="*/ 471 w 542"/>
                <a:gd name="T115" fmla="*/ 88 h 407"/>
                <a:gd name="T116" fmla="*/ 443 w 542"/>
                <a:gd name="T117" fmla="*/ 62 h 407"/>
                <a:gd name="T118" fmla="*/ 410 w 542"/>
                <a:gd name="T119" fmla="*/ 39 h 407"/>
                <a:gd name="T120" fmla="*/ 376 w 542"/>
                <a:gd name="T121" fmla="*/ 21 h 407"/>
                <a:gd name="T122" fmla="*/ 338 w 542"/>
                <a:gd name="T123" fmla="*/ 8 h 407"/>
                <a:gd name="T124" fmla="*/ 298 w 542"/>
                <a:gd name="T125" fmla="*/ 1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2" h="407">
                  <a:moveTo>
                    <a:pt x="270" y="0"/>
                  </a:moveTo>
                  <a:lnTo>
                    <a:pt x="256" y="0"/>
                  </a:lnTo>
                  <a:lnTo>
                    <a:pt x="242" y="1"/>
                  </a:lnTo>
                  <a:lnTo>
                    <a:pt x="230" y="3"/>
                  </a:lnTo>
                  <a:lnTo>
                    <a:pt x="216" y="5"/>
                  </a:lnTo>
                  <a:lnTo>
                    <a:pt x="203" y="8"/>
                  </a:lnTo>
                  <a:lnTo>
                    <a:pt x="190" y="11"/>
                  </a:lnTo>
                  <a:lnTo>
                    <a:pt x="177" y="16"/>
                  </a:lnTo>
                  <a:lnTo>
                    <a:pt x="164" y="21"/>
                  </a:lnTo>
                  <a:lnTo>
                    <a:pt x="153" y="26"/>
                  </a:lnTo>
                  <a:lnTo>
                    <a:pt x="141" y="33"/>
                  </a:lnTo>
                  <a:lnTo>
                    <a:pt x="130" y="39"/>
                  </a:lnTo>
                  <a:lnTo>
                    <a:pt x="118" y="46"/>
                  </a:lnTo>
                  <a:lnTo>
                    <a:pt x="108" y="53"/>
                  </a:lnTo>
                  <a:lnTo>
                    <a:pt x="98" y="62"/>
                  </a:lnTo>
                  <a:lnTo>
                    <a:pt x="88" y="70"/>
                  </a:lnTo>
                  <a:lnTo>
                    <a:pt x="79" y="79"/>
                  </a:lnTo>
                  <a:lnTo>
                    <a:pt x="69" y="88"/>
                  </a:lnTo>
                  <a:lnTo>
                    <a:pt x="62" y="98"/>
                  </a:lnTo>
                  <a:lnTo>
                    <a:pt x="53" y="109"/>
                  </a:lnTo>
                  <a:lnTo>
                    <a:pt x="46" y="119"/>
                  </a:lnTo>
                  <a:lnTo>
                    <a:pt x="38" y="130"/>
                  </a:lnTo>
                  <a:lnTo>
                    <a:pt x="32" y="142"/>
                  </a:lnTo>
                  <a:lnTo>
                    <a:pt x="26" y="154"/>
                  </a:lnTo>
                  <a:lnTo>
                    <a:pt x="21" y="165"/>
                  </a:lnTo>
                  <a:lnTo>
                    <a:pt x="16" y="177"/>
                  </a:lnTo>
                  <a:lnTo>
                    <a:pt x="11" y="190"/>
                  </a:lnTo>
                  <a:lnTo>
                    <a:pt x="8" y="203"/>
                  </a:lnTo>
                  <a:lnTo>
                    <a:pt x="5" y="216"/>
                  </a:lnTo>
                  <a:lnTo>
                    <a:pt x="3" y="230"/>
                  </a:lnTo>
                  <a:lnTo>
                    <a:pt x="1" y="243"/>
                  </a:lnTo>
                  <a:lnTo>
                    <a:pt x="0" y="256"/>
                  </a:lnTo>
                  <a:lnTo>
                    <a:pt x="0" y="270"/>
                  </a:lnTo>
                  <a:lnTo>
                    <a:pt x="0" y="287"/>
                  </a:lnTo>
                  <a:lnTo>
                    <a:pt x="2" y="304"/>
                  </a:lnTo>
                  <a:lnTo>
                    <a:pt x="4" y="320"/>
                  </a:lnTo>
                  <a:lnTo>
                    <a:pt x="7" y="336"/>
                  </a:lnTo>
                  <a:lnTo>
                    <a:pt x="11" y="353"/>
                  </a:lnTo>
                  <a:lnTo>
                    <a:pt x="17" y="369"/>
                  </a:lnTo>
                  <a:lnTo>
                    <a:pt x="23" y="384"/>
                  </a:lnTo>
                  <a:lnTo>
                    <a:pt x="31" y="399"/>
                  </a:lnTo>
                  <a:lnTo>
                    <a:pt x="33" y="402"/>
                  </a:lnTo>
                  <a:lnTo>
                    <a:pt x="35" y="404"/>
                  </a:lnTo>
                  <a:lnTo>
                    <a:pt x="37" y="405"/>
                  </a:lnTo>
                  <a:lnTo>
                    <a:pt x="40" y="406"/>
                  </a:lnTo>
                  <a:lnTo>
                    <a:pt x="42" y="407"/>
                  </a:lnTo>
                  <a:lnTo>
                    <a:pt x="46" y="407"/>
                  </a:lnTo>
                  <a:lnTo>
                    <a:pt x="49" y="406"/>
                  </a:lnTo>
                  <a:lnTo>
                    <a:pt x="51" y="405"/>
                  </a:lnTo>
                  <a:lnTo>
                    <a:pt x="54" y="403"/>
                  </a:lnTo>
                  <a:lnTo>
                    <a:pt x="56" y="402"/>
                  </a:lnTo>
                  <a:lnTo>
                    <a:pt x="57" y="400"/>
                  </a:lnTo>
                  <a:lnTo>
                    <a:pt x="58" y="396"/>
                  </a:lnTo>
                  <a:lnTo>
                    <a:pt x="60" y="394"/>
                  </a:lnTo>
                  <a:lnTo>
                    <a:pt x="60" y="391"/>
                  </a:lnTo>
                  <a:lnTo>
                    <a:pt x="58" y="388"/>
                  </a:lnTo>
                  <a:lnTo>
                    <a:pt x="57" y="385"/>
                  </a:lnTo>
                  <a:lnTo>
                    <a:pt x="51" y="372"/>
                  </a:lnTo>
                  <a:lnTo>
                    <a:pt x="46" y="358"/>
                  </a:lnTo>
                  <a:lnTo>
                    <a:pt x="40" y="344"/>
                  </a:lnTo>
                  <a:lnTo>
                    <a:pt x="36" y="330"/>
                  </a:lnTo>
                  <a:lnTo>
                    <a:pt x="34" y="315"/>
                  </a:lnTo>
                  <a:lnTo>
                    <a:pt x="31" y="301"/>
                  </a:lnTo>
                  <a:lnTo>
                    <a:pt x="30" y="286"/>
                  </a:lnTo>
                  <a:lnTo>
                    <a:pt x="30" y="270"/>
                  </a:lnTo>
                  <a:lnTo>
                    <a:pt x="30" y="258"/>
                  </a:lnTo>
                  <a:lnTo>
                    <a:pt x="31" y="246"/>
                  </a:lnTo>
                  <a:lnTo>
                    <a:pt x="32" y="234"/>
                  </a:lnTo>
                  <a:lnTo>
                    <a:pt x="34" y="222"/>
                  </a:lnTo>
                  <a:lnTo>
                    <a:pt x="37" y="210"/>
                  </a:lnTo>
                  <a:lnTo>
                    <a:pt x="40" y="200"/>
                  </a:lnTo>
                  <a:lnTo>
                    <a:pt x="44" y="188"/>
                  </a:lnTo>
                  <a:lnTo>
                    <a:pt x="48" y="177"/>
                  </a:lnTo>
                  <a:lnTo>
                    <a:pt x="53" y="166"/>
                  </a:lnTo>
                  <a:lnTo>
                    <a:pt x="58" y="156"/>
                  </a:lnTo>
                  <a:lnTo>
                    <a:pt x="64" y="146"/>
                  </a:lnTo>
                  <a:lnTo>
                    <a:pt x="70" y="136"/>
                  </a:lnTo>
                  <a:lnTo>
                    <a:pt x="78" y="127"/>
                  </a:lnTo>
                  <a:lnTo>
                    <a:pt x="84" y="117"/>
                  </a:lnTo>
                  <a:lnTo>
                    <a:pt x="92" y="109"/>
                  </a:lnTo>
                  <a:lnTo>
                    <a:pt x="100" y="100"/>
                  </a:lnTo>
                  <a:lnTo>
                    <a:pt x="109" y="93"/>
                  </a:lnTo>
                  <a:lnTo>
                    <a:pt x="117" y="85"/>
                  </a:lnTo>
                  <a:lnTo>
                    <a:pt x="126" y="78"/>
                  </a:lnTo>
                  <a:lnTo>
                    <a:pt x="136" y="71"/>
                  </a:lnTo>
                  <a:lnTo>
                    <a:pt x="145" y="65"/>
                  </a:lnTo>
                  <a:lnTo>
                    <a:pt x="156" y="58"/>
                  </a:lnTo>
                  <a:lnTo>
                    <a:pt x="165" y="53"/>
                  </a:lnTo>
                  <a:lnTo>
                    <a:pt x="176" y="49"/>
                  </a:lnTo>
                  <a:lnTo>
                    <a:pt x="188" y="44"/>
                  </a:lnTo>
                  <a:lnTo>
                    <a:pt x="199" y="40"/>
                  </a:lnTo>
                  <a:lnTo>
                    <a:pt x="210" y="37"/>
                  </a:lnTo>
                  <a:lnTo>
                    <a:pt x="222" y="35"/>
                  </a:lnTo>
                  <a:lnTo>
                    <a:pt x="234" y="33"/>
                  </a:lnTo>
                  <a:lnTo>
                    <a:pt x="246" y="31"/>
                  </a:lnTo>
                  <a:lnTo>
                    <a:pt x="257" y="30"/>
                  </a:lnTo>
                  <a:lnTo>
                    <a:pt x="270" y="30"/>
                  </a:lnTo>
                  <a:lnTo>
                    <a:pt x="283" y="30"/>
                  </a:lnTo>
                  <a:lnTo>
                    <a:pt x="295" y="31"/>
                  </a:lnTo>
                  <a:lnTo>
                    <a:pt x="307" y="33"/>
                  </a:lnTo>
                  <a:lnTo>
                    <a:pt x="318" y="35"/>
                  </a:lnTo>
                  <a:lnTo>
                    <a:pt x="330" y="37"/>
                  </a:lnTo>
                  <a:lnTo>
                    <a:pt x="342" y="40"/>
                  </a:lnTo>
                  <a:lnTo>
                    <a:pt x="353" y="44"/>
                  </a:lnTo>
                  <a:lnTo>
                    <a:pt x="364" y="49"/>
                  </a:lnTo>
                  <a:lnTo>
                    <a:pt x="375" y="53"/>
                  </a:lnTo>
                  <a:lnTo>
                    <a:pt x="385" y="58"/>
                  </a:lnTo>
                  <a:lnTo>
                    <a:pt x="395" y="65"/>
                  </a:lnTo>
                  <a:lnTo>
                    <a:pt x="405" y="71"/>
                  </a:lnTo>
                  <a:lnTo>
                    <a:pt x="415" y="78"/>
                  </a:lnTo>
                  <a:lnTo>
                    <a:pt x="423" y="85"/>
                  </a:lnTo>
                  <a:lnTo>
                    <a:pt x="432" y="93"/>
                  </a:lnTo>
                  <a:lnTo>
                    <a:pt x="440" y="100"/>
                  </a:lnTo>
                  <a:lnTo>
                    <a:pt x="449" y="109"/>
                  </a:lnTo>
                  <a:lnTo>
                    <a:pt x="456" y="117"/>
                  </a:lnTo>
                  <a:lnTo>
                    <a:pt x="464" y="127"/>
                  </a:lnTo>
                  <a:lnTo>
                    <a:pt x="470" y="136"/>
                  </a:lnTo>
                  <a:lnTo>
                    <a:pt x="477" y="146"/>
                  </a:lnTo>
                  <a:lnTo>
                    <a:pt x="482" y="156"/>
                  </a:lnTo>
                  <a:lnTo>
                    <a:pt x="487" y="166"/>
                  </a:lnTo>
                  <a:lnTo>
                    <a:pt x="493" y="177"/>
                  </a:lnTo>
                  <a:lnTo>
                    <a:pt x="497" y="188"/>
                  </a:lnTo>
                  <a:lnTo>
                    <a:pt x="500" y="200"/>
                  </a:lnTo>
                  <a:lnTo>
                    <a:pt x="503" y="210"/>
                  </a:lnTo>
                  <a:lnTo>
                    <a:pt x="507" y="222"/>
                  </a:lnTo>
                  <a:lnTo>
                    <a:pt x="509" y="234"/>
                  </a:lnTo>
                  <a:lnTo>
                    <a:pt x="510" y="246"/>
                  </a:lnTo>
                  <a:lnTo>
                    <a:pt x="511" y="258"/>
                  </a:lnTo>
                  <a:lnTo>
                    <a:pt x="511" y="270"/>
                  </a:lnTo>
                  <a:lnTo>
                    <a:pt x="511" y="286"/>
                  </a:lnTo>
                  <a:lnTo>
                    <a:pt x="510" y="301"/>
                  </a:lnTo>
                  <a:lnTo>
                    <a:pt x="508" y="315"/>
                  </a:lnTo>
                  <a:lnTo>
                    <a:pt x="505" y="330"/>
                  </a:lnTo>
                  <a:lnTo>
                    <a:pt x="500" y="344"/>
                  </a:lnTo>
                  <a:lnTo>
                    <a:pt x="495" y="358"/>
                  </a:lnTo>
                  <a:lnTo>
                    <a:pt x="490" y="372"/>
                  </a:lnTo>
                  <a:lnTo>
                    <a:pt x="483" y="385"/>
                  </a:lnTo>
                  <a:lnTo>
                    <a:pt x="482" y="388"/>
                  </a:lnTo>
                  <a:lnTo>
                    <a:pt x="481" y="391"/>
                  </a:lnTo>
                  <a:lnTo>
                    <a:pt x="481" y="394"/>
                  </a:lnTo>
                  <a:lnTo>
                    <a:pt x="482" y="396"/>
                  </a:lnTo>
                  <a:lnTo>
                    <a:pt x="483" y="400"/>
                  </a:lnTo>
                  <a:lnTo>
                    <a:pt x="484" y="402"/>
                  </a:lnTo>
                  <a:lnTo>
                    <a:pt x="486" y="403"/>
                  </a:lnTo>
                  <a:lnTo>
                    <a:pt x="490" y="405"/>
                  </a:lnTo>
                  <a:lnTo>
                    <a:pt x="493" y="406"/>
                  </a:lnTo>
                  <a:lnTo>
                    <a:pt x="496" y="406"/>
                  </a:lnTo>
                  <a:lnTo>
                    <a:pt x="500" y="406"/>
                  </a:lnTo>
                  <a:lnTo>
                    <a:pt x="505" y="404"/>
                  </a:lnTo>
                  <a:lnTo>
                    <a:pt x="508" y="402"/>
                  </a:lnTo>
                  <a:lnTo>
                    <a:pt x="510" y="399"/>
                  </a:lnTo>
                  <a:lnTo>
                    <a:pt x="517" y="384"/>
                  </a:lnTo>
                  <a:lnTo>
                    <a:pt x="524" y="369"/>
                  </a:lnTo>
                  <a:lnTo>
                    <a:pt x="529" y="353"/>
                  </a:lnTo>
                  <a:lnTo>
                    <a:pt x="533" y="336"/>
                  </a:lnTo>
                  <a:lnTo>
                    <a:pt x="537" y="320"/>
                  </a:lnTo>
                  <a:lnTo>
                    <a:pt x="540" y="304"/>
                  </a:lnTo>
                  <a:lnTo>
                    <a:pt x="541" y="287"/>
                  </a:lnTo>
                  <a:lnTo>
                    <a:pt x="542" y="270"/>
                  </a:lnTo>
                  <a:lnTo>
                    <a:pt x="541" y="256"/>
                  </a:lnTo>
                  <a:lnTo>
                    <a:pt x="540" y="243"/>
                  </a:lnTo>
                  <a:lnTo>
                    <a:pt x="539" y="230"/>
                  </a:lnTo>
                  <a:lnTo>
                    <a:pt x="536" y="216"/>
                  </a:lnTo>
                  <a:lnTo>
                    <a:pt x="533" y="203"/>
                  </a:lnTo>
                  <a:lnTo>
                    <a:pt x="529" y="190"/>
                  </a:lnTo>
                  <a:lnTo>
                    <a:pt x="525" y="177"/>
                  </a:lnTo>
                  <a:lnTo>
                    <a:pt x="521" y="165"/>
                  </a:lnTo>
                  <a:lnTo>
                    <a:pt x="515" y="154"/>
                  </a:lnTo>
                  <a:lnTo>
                    <a:pt x="509" y="142"/>
                  </a:lnTo>
                  <a:lnTo>
                    <a:pt x="502" y="130"/>
                  </a:lnTo>
                  <a:lnTo>
                    <a:pt x="495" y="119"/>
                  </a:lnTo>
                  <a:lnTo>
                    <a:pt x="487" y="109"/>
                  </a:lnTo>
                  <a:lnTo>
                    <a:pt x="480" y="98"/>
                  </a:lnTo>
                  <a:lnTo>
                    <a:pt x="471" y="88"/>
                  </a:lnTo>
                  <a:lnTo>
                    <a:pt x="462" y="79"/>
                  </a:lnTo>
                  <a:lnTo>
                    <a:pt x="452" y="70"/>
                  </a:lnTo>
                  <a:lnTo>
                    <a:pt x="443" y="62"/>
                  </a:lnTo>
                  <a:lnTo>
                    <a:pt x="433" y="53"/>
                  </a:lnTo>
                  <a:lnTo>
                    <a:pt x="422" y="46"/>
                  </a:lnTo>
                  <a:lnTo>
                    <a:pt x="410" y="39"/>
                  </a:lnTo>
                  <a:lnTo>
                    <a:pt x="400" y="33"/>
                  </a:lnTo>
                  <a:lnTo>
                    <a:pt x="388" y="26"/>
                  </a:lnTo>
                  <a:lnTo>
                    <a:pt x="376" y="21"/>
                  </a:lnTo>
                  <a:lnTo>
                    <a:pt x="363" y="16"/>
                  </a:lnTo>
                  <a:lnTo>
                    <a:pt x="351" y="11"/>
                  </a:lnTo>
                  <a:lnTo>
                    <a:pt x="338" y="8"/>
                  </a:lnTo>
                  <a:lnTo>
                    <a:pt x="325" y="5"/>
                  </a:lnTo>
                  <a:lnTo>
                    <a:pt x="312" y="3"/>
                  </a:lnTo>
                  <a:lnTo>
                    <a:pt x="298" y="1"/>
                  </a:lnTo>
                  <a:lnTo>
                    <a:pt x="284" y="0"/>
                  </a:lnTo>
                  <a:lnTo>
                    <a:pt x="2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46">
              <a:extLst>
                <a:ext uri="{FF2B5EF4-FFF2-40B4-BE49-F238E27FC236}">
                  <a16:creationId xmlns:a16="http://schemas.microsoft.com/office/drawing/2014/main" id="{388C67E3-6033-45D5-8E30-D6A6D2C6C5F6}"/>
                </a:ext>
              </a:extLst>
            </p:cNvPr>
            <p:cNvSpPr>
              <a:spLocks noEditPoints="1"/>
            </p:cNvSpPr>
            <p:nvPr/>
          </p:nvSpPr>
          <p:spPr bwMode="auto">
            <a:xfrm>
              <a:off x="7161213" y="2351088"/>
              <a:ext cx="58737" cy="57150"/>
            </a:xfrm>
            <a:custGeom>
              <a:avLst/>
              <a:gdLst>
                <a:gd name="T0" fmla="*/ 30 w 181"/>
                <a:gd name="T1" fmla="*/ 151 h 181"/>
                <a:gd name="T2" fmla="*/ 30 w 181"/>
                <a:gd name="T3" fmla="*/ 85 h 181"/>
                <a:gd name="T4" fmla="*/ 33 w 181"/>
                <a:gd name="T5" fmla="*/ 73 h 181"/>
                <a:gd name="T6" fmla="*/ 38 w 181"/>
                <a:gd name="T7" fmla="*/ 62 h 181"/>
                <a:gd name="T8" fmla="*/ 44 w 181"/>
                <a:gd name="T9" fmla="*/ 53 h 181"/>
                <a:gd name="T10" fmla="*/ 52 w 181"/>
                <a:gd name="T11" fmla="*/ 44 h 181"/>
                <a:gd name="T12" fmla="*/ 61 w 181"/>
                <a:gd name="T13" fmla="*/ 38 h 181"/>
                <a:gd name="T14" fmla="*/ 72 w 181"/>
                <a:gd name="T15" fmla="*/ 33 h 181"/>
                <a:gd name="T16" fmla="*/ 84 w 181"/>
                <a:gd name="T17" fmla="*/ 30 h 181"/>
                <a:gd name="T18" fmla="*/ 97 w 181"/>
                <a:gd name="T19" fmla="*/ 30 h 181"/>
                <a:gd name="T20" fmla="*/ 108 w 181"/>
                <a:gd name="T21" fmla="*/ 33 h 181"/>
                <a:gd name="T22" fmla="*/ 119 w 181"/>
                <a:gd name="T23" fmla="*/ 38 h 181"/>
                <a:gd name="T24" fmla="*/ 129 w 181"/>
                <a:gd name="T25" fmla="*/ 44 h 181"/>
                <a:gd name="T26" fmla="*/ 137 w 181"/>
                <a:gd name="T27" fmla="*/ 53 h 181"/>
                <a:gd name="T28" fmla="*/ 144 w 181"/>
                <a:gd name="T29" fmla="*/ 62 h 181"/>
                <a:gd name="T30" fmla="*/ 148 w 181"/>
                <a:gd name="T31" fmla="*/ 73 h 181"/>
                <a:gd name="T32" fmla="*/ 150 w 181"/>
                <a:gd name="T33" fmla="*/ 85 h 181"/>
                <a:gd name="T34" fmla="*/ 150 w 181"/>
                <a:gd name="T35" fmla="*/ 151 h 181"/>
                <a:gd name="T36" fmla="*/ 81 w 181"/>
                <a:gd name="T37" fmla="*/ 0 h 181"/>
                <a:gd name="T38" fmla="*/ 64 w 181"/>
                <a:gd name="T39" fmla="*/ 5 h 181"/>
                <a:gd name="T40" fmla="*/ 48 w 181"/>
                <a:gd name="T41" fmla="*/ 11 h 181"/>
                <a:gd name="T42" fmla="*/ 33 w 181"/>
                <a:gd name="T43" fmla="*/ 21 h 181"/>
                <a:gd name="T44" fmla="*/ 21 w 181"/>
                <a:gd name="T45" fmla="*/ 33 h 181"/>
                <a:gd name="T46" fmla="*/ 11 w 181"/>
                <a:gd name="T47" fmla="*/ 47 h 181"/>
                <a:gd name="T48" fmla="*/ 4 w 181"/>
                <a:gd name="T49" fmla="*/ 63 h 181"/>
                <a:gd name="T50" fmla="*/ 0 w 181"/>
                <a:gd name="T51" fmla="*/ 82 h 181"/>
                <a:gd name="T52" fmla="*/ 0 w 181"/>
                <a:gd name="T53" fmla="*/ 166 h 181"/>
                <a:gd name="T54" fmla="*/ 2 w 181"/>
                <a:gd name="T55" fmla="*/ 173 h 181"/>
                <a:gd name="T56" fmla="*/ 5 w 181"/>
                <a:gd name="T57" fmla="*/ 177 h 181"/>
                <a:gd name="T58" fmla="*/ 9 w 181"/>
                <a:gd name="T59" fmla="*/ 180 h 181"/>
                <a:gd name="T60" fmla="*/ 15 w 181"/>
                <a:gd name="T61" fmla="*/ 181 h 181"/>
                <a:gd name="T62" fmla="*/ 168 w 181"/>
                <a:gd name="T63" fmla="*/ 181 h 181"/>
                <a:gd name="T64" fmla="*/ 174 w 181"/>
                <a:gd name="T65" fmla="*/ 179 h 181"/>
                <a:gd name="T66" fmla="*/ 178 w 181"/>
                <a:gd name="T67" fmla="*/ 175 h 181"/>
                <a:gd name="T68" fmla="*/ 180 w 181"/>
                <a:gd name="T69" fmla="*/ 169 h 181"/>
                <a:gd name="T70" fmla="*/ 181 w 181"/>
                <a:gd name="T71" fmla="*/ 90 h 181"/>
                <a:gd name="T72" fmla="*/ 179 w 181"/>
                <a:gd name="T73" fmla="*/ 72 h 181"/>
                <a:gd name="T74" fmla="*/ 174 w 181"/>
                <a:gd name="T75" fmla="*/ 56 h 181"/>
                <a:gd name="T76" fmla="*/ 165 w 181"/>
                <a:gd name="T77" fmla="*/ 40 h 181"/>
                <a:gd name="T78" fmla="*/ 154 w 181"/>
                <a:gd name="T79" fmla="*/ 27 h 181"/>
                <a:gd name="T80" fmla="*/ 141 w 181"/>
                <a:gd name="T81" fmla="*/ 15 h 181"/>
                <a:gd name="T82" fmla="*/ 126 w 181"/>
                <a:gd name="T83" fmla="*/ 8 h 181"/>
                <a:gd name="T84" fmla="*/ 108 w 181"/>
                <a:gd name="T85" fmla="*/ 2 h 181"/>
                <a:gd name="T86" fmla="*/ 90 w 181"/>
                <a:gd name="T8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81">
                  <a:moveTo>
                    <a:pt x="150" y="151"/>
                  </a:moveTo>
                  <a:lnTo>
                    <a:pt x="30" y="151"/>
                  </a:lnTo>
                  <a:lnTo>
                    <a:pt x="30" y="90"/>
                  </a:lnTo>
                  <a:lnTo>
                    <a:pt x="30" y="85"/>
                  </a:lnTo>
                  <a:lnTo>
                    <a:pt x="31" y="78"/>
                  </a:lnTo>
                  <a:lnTo>
                    <a:pt x="33" y="73"/>
                  </a:lnTo>
                  <a:lnTo>
                    <a:pt x="35" y="67"/>
                  </a:lnTo>
                  <a:lnTo>
                    <a:pt x="38" y="62"/>
                  </a:lnTo>
                  <a:lnTo>
                    <a:pt x="40" y="57"/>
                  </a:lnTo>
                  <a:lnTo>
                    <a:pt x="44" y="53"/>
                  </a:lnTo>
                  <a:lnTo>
                    <a:pt x="48" y="48"/>
                  </a:lnTo>
                  <a:lnTo>
                    <a:pt x="52" y="44"/>
                  </a:lnTo>
                  <a:lnTo>
                    <a:pt x="57" y="41"/>
                  </a:lnTo>
                  <a:lnTo>
                    <a:pt x="61" y="38"/>
                  </a:lnTo>
                  <a:lnTo>
                    <a:pt x="67" y="35"/>
                  </a:lnTo>
                  <a:lnTo>
                    <a:pt x="72" y="33"/>
                  </a:lnTo>
                  <a:lnTo>
                    <a:pt x="79" y="31"/>
                  </a:lnTo>
                  <a:lnTo>
                    <a:pt x="84" y="30"/>
                  </a:lnTo>
                  <a:lnTo>
                    <a:pt x="90" y="30"/>
                  </a:lnTo>
                  <a:lnTo>
                    <a:pt x="97" y="30"/>
                  </a:lnTo>
                  <a:lnTo>
                    <a:pt x="102" y="31"/>
                  </a:lnTo>
                  <a:lnTo>
                    <a:pt x="108" y="33"/>
                  </a:lnTo>
                  <a:lnTo>
                    <a:pt x="114" y="35"/>
                  </a:lnTo>
                  <a:lnTo>
                    <a:pt x="119" y="38"/>
                  </a:lnTo>
                  <a:lnTo>
                    <a:pt x="125" y="41"/>
                  </a:lnTo>
                  <a:lnTo>
                    <a:pt x="129" y="44"/>
                  </a:lnTo>
                  <a:lnTo>
                    <a:pt x="133" y="48"/>
                  </a:lnTo>
                  <a:lnTo>
                    <a:pt x="137" y="53"/>
                  </a:lnTo>
                  <a:lnTo>
                    <a:pt x="141" y="57"/>
                  </a:lnTo>
                  <a:lnTo>
                    <a:pt x="144" y="62"/>
                  </a:lnTo>
                  <a:lnTo>
                    <a:pt x="146" y="67"/>
                  </a:lnTo>
                  <a:lnTo>
                    <a:pt x="148" y="73"/>
                  </a:lnTo>
                  <a:lnTo>
                    <a:pt x="149" y="78"/>
                  </a:lnTo>
                  <a:lnTo>
                    <a:pt x="150" y="85"/>
                  </a:lnTo>
                  <a:lnTo>
                    <a:pt x="150" y="90"/>
                  </a:lnTo>
                  <a:lnTo>
                    <a:pt x="150" y="151"/>
                  </a:lnTo>
                  <a:close/>
                  <a:moveTo>
                    <a:pt x="90" y="0"/>
                  </a:moveTo>
                  <a:lnTo>
                    <a:pt x="81" y="0"/>
                  </a:lnTo>
                  <a:lnTo>
                    <a:pt x="72" y="2"/>
                  </a:lnTo>
                  <a:lnTo>
                    <a:pt x="64" y="5"/>
                  </a:lnTo>
                  <a:lnTo>
                    <a:pt x="55" y="8"/>
                  </a:lnTo>
                  <a:lnTo>
                    <a:pt x="48" y="11"/>
                  </a:lnTo>
                  <a:lnTo>
                    <a:pt x="40" y="15"/>
                  </a:lnTo>
                  <a:lnTo>
                    <a:pt x="33" y="21"/>
                  </a:lnTo>
                  <a:lnTo>
                    <a:pt x="26" y="27"/>
                  </a:lnTo>
                  <a:lnTo>
                    <a:pt x="21" y="33"/>
                  </a:lnTo>
                  <a:lnTo>
                    <a:pt x="15" y="40"/>
                  </a:lnTo>
                  <a:lnTo>
                    <a:pt x="11" y="47"/>
                  </a:lnTo>
                  <a:lnTo>
                    <a:pt x="7" y="56"/>
                  </a:lnTo>
                  <a:lnTo>
                    <a:pt x="4" y="63"/>
                  </a:lnTo>
                  <a:lnTo>
                    <a:pt x="2" y="72"/>
                  </a:lnTo>
                  <a:lnTo>
                    <a:pt x="0" y="82"/>
                  </a:lnTo>
                  <a:lnTo>
                    <a:pt x="0" y="90"/>
                  </a:lnTo>
                  <a:lnTo>
                    <a:pt x="0" y="166"/>
                  </a:lnTo>
                  <a:lnTo>
                    <a:pt x="0" y="169"/>
                  </a:lnTo>
                  <a:lnTo>
                    <a:pt x="2" y="173"/>
                  </a:lnTo>
                  <a:lnTo>
                    <a:pt x="3" y="175"/>
                  </a:lnTo>
                  <a:lnTo>
                    <a:pt x="5" y="177"/>
                  </a:lnTo>
                  <a:lnTo>
                    <a:pt x="7" y="179"/>
                  </a:lnTo>
                  <a:lnTo>
                    <a:pt x="9" y="180"/>
                  </a:lnTo>
                  <a:lnTo>
                    <a:pt x="12" y="181"/>
                  </a:lnTo>
                  <a:lnTo>
                    <a:pt x="15" y="181"/>
                  </a:lnTo>
                  <a:lnTo>
                    <a:pt x="165" y="181"/>
                  </a:lnTo>
                  <a:lnTo>
                    <a:pt x="168" y="181"/>
                  </a:lnTo>
                  <a:lnTo>
                    <a:pt x="172" y="180"/>
                  </a:lnTo>
                  <a:lnTo>
                    <a:pt x="174" y="179"/>
                  </a:lnTo>
                  <a:lnTo>
                    <a:pt x="176" y="177"/>
                  </a:lnTo>
                  <a:lnTo>
                    <a:pt x="178" y="175"/>
                  </a:lnTo>
                  <a:lnTo>
                    <a:pt x="179" y="173"/>
                  </a:lnTo>
                  <a:lnTo>
                    <a:pt x="180" y="169"/>
                  </a:lnTo>
                  <a:lnTo>
                    <a:pt x="181" y="166"/>
                  </a:lnTo>
                  <a:lnTo>
                    <a:pt x="181" y="90"/>
                  </a:lnTo>
                  <a:lnTo>
                    <a:pt x="180" y="82"/>
                  </a:lnTo>
                  <a:lnTo>
                    <a:pt x="179" y="72"/>
                  </a:lnTo>
                  <a:lnTo>
                    <a:pt x="177" y="63"/>
                  </a:lnTo>
                  <a:lnTo>
                    <a:pt x="174" y="56"/>
                  </a:lnTo>
                  <a:lnTo>
                    <a:pt x="169" y="47"/>
                  </a:lnTo>
                  <a:lnTo>
                    <a:pt x="165" y="40"/>
                  </a:lnTo>
                  <a:lnTo>
                    <a:pt x="160" y="33"/>
                  </a:lnTo>
                  <a:lnTo>
                    <a:pt x="154" y="27"/>
                  </a:lnTo>
                  <a:lnTo>
                    <a:pt x="148" y="21"/>
                  </a:lnTo>
                  <a:lnTo>
                    <a:pt x="141" y="15"/>
                  </a:lnTo>
                  <a:lnTo>
                    <a:pt x="133" y="11"/>
                  </a:lnTo>
                  <a:lnTo>
                    <a:pt x="126" y="8"/>
                  </a:lnTo>
                  <a:lnTo>
                    <a:pt x="117" y="5"/>
                  </a:lnTo>
                  <a:lnTo>
                    <a:pt x="108" y="2"/>
                  </a:lnTo>
                  <a:lnTo>
                    <a:pt x="10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47">
              <a:extLst>
                <a:ext uri="{FF2B5EF4-FFF2-40B4-BE49-F238E27FC236}">
                  <a16:creationId xmlns:a16="http://schemas.microsoft.com/office/drawing/2014/main" id="{72BC3B2D-79C2-48C6-944B-6F09C69827C4}"/>
                </a:ext>
              </a:extLst>
            </p:cNvPr>
            <p:cNvSpPr>
              <a:spLocks/>
            </p:cNvSpPr>
            <p:nvPr/>
          </p:nvSpPr>
          <p:spPr bwMode="auto">
            <a:xfrm>
              <a:off x="7142163" y="2332038"/>
              <a:ext cx="96837" cy="161925"/>
            </a:xfrm>
            <a:custGeom>
              <a:avLst/>
              <a:gdLst>
                <a:gd name="T0" fmla="*/ 136 w 302"/>
                <a:gd name="T1" fmla="*/ 0 h 512"/>
                <a:gd name="T2" fmla="*/ 106 w 302"/>
                <a:gd name="T3" fmla="*/ 7 h 512"/>
                <a:gd name="T4" fmla="*/ 80 w 302"/>
                <a:gd name="T5" fmla="*/ 19 h 512"/>
                <a:gd name="T6" fmla="*/ 56 w 302"/>
                <a:gd name="T7" fmla="*/ 35 h 512"/>
                <a:gd name="T8" fmla="*/ 35 w 302"/>
                <a:gd name="T9" fmla="*/ 55 h 512"/>
                <a:gd name="T10" fmla="*/ 19 w 302"/>
                <a:gd name="T11" fmla="*/ 79 h 512"/>
                <a:gd name="T12" fmla="*/ 8 w 302"/>
                <a:gd name="T13" fmla="*/ 106 h 512"/>
                <a:gd name="T14" fmla="*/ 2 w 302"/>
                <a:gd name="T15" fmla="*/ 135 h 512"/>
                <a:gd name="T16" fmla="*/ 0 w 302"/>
                <a:gd name="T17" fmla="*/ 497 h 512"/>
                <a:gd name="T18" fmla="*/ 2 w 302"/>
                <a:gd name="T19" fmla="*/ 503 h 512"/>
                <a:gd name="T20" fmla="*/ 5 w 302"/>
                <a:gd name="T21" fmla="*/ 507 h 512"/>
                <a:gd name="T22" fmla="*/ 10 w 302"/>
                <a:gd name="T23" fmla="*/ 511 h 512"/>
                <a:gd name="T24" fmla="*/ 15 w 302"/>
                <a:gd name="T25" fmla="*/ 512 h 512"/>
                <a:gd name="T26" fmla="*/ 22 w 302"/>
                <a:gd name="T27" fmla="*/ 511 h 512"/>
                <a:gd name="T28" fmla="*/ 26 w 302"/>
                <a:gd name="T29" fmla="*/ 507 h 512"/>
                <a:gd name="T30" fmla="*/ 29 w 302"/>
                <a:gd name="T31" fmla="*/ 503 h 512"/>
                <a:gd name="T32" fmla="*/ 30 w 302"/>
                <a:gd name="T33" fmla="*/ 497 h 512"/>
                <a:gd name="T34" fmla="*/ 31 w 302"/>
                <a:gd name="T35" fmla="*/ 138 h 512"/>
                <a:gd name="T36" fmla="*/ 36 w 302"/>
                <a:gd name="T37" fmla="*/ 115 h 512"/>
                <a:gd name="T38" fmla="*/ 45 w 302"/>
                <a:gd name="T39" fmla="*/ 93 h 512"/>
                <a:gd name="T40" fmla="*/ 58 w 302"/>
                <a:gd name="T41" fmla="*/ 74 h 512"/>
                <a:gd name="T42" fmla="*/ 74 w 302"/>
                <a:gd name="T43" fmla="*/ 58 h 512"/>
                <a:gd name="T44" fmla="*/ 94 w 302"/>
                <a:gd name="T45" fmla="*/ 44 h 512"/>
                <a:gd name="T46" fmla="*/ 116 w 302"/>
                <a:gd name="T47" fmla="*/ 36 h 512"/>
                <a:gd name="T48" fmla="*/ 140 w 302"/>
                <a:gd name="T49" fmla="*/ 30 h 512"/>
                <a:gd name="T50" fmla="*/ 164 w 302"/>
                <a:gd name="T51" fmla="*/ 30 h 512"/>
                <a:gd name="T52" fmla="*/ 188 w 302"/>
                <a:gd name="T53" fmla="*/ 36 h 512"/>
                <a:gd name="T54" fmla="*/ 209 w 302"/>
                <a:gd name="T55" fmla="*/ 44 h 512"/>
                <a:gd name="T56" fmla="*/ 228 w 302"/>
                <a:gd name="T57" fmla="*/ 58 h 512"/>
                <a:gd name="T58" fmla="*/ 244 w 302"/>
                <a:gd name="T59" fmla="*/ 74 h 512"/>
                <a:gd name="T60" fmla="*/ 257 w 302"/>
                <a:gd name="T61" fmla="*/ 93 h 512"/>
                <a:gd name="T62" fmla="*/ 267 w 302"/>
                <a:gd name="T63" fmla="*/ 115 h 512"/>
                <a:gd name="T64" fmla="*/ 271 w 302"/>
                <a:gd name="T65" fmla="*/ 138 h 512"/>
                <a:gd name="T66" fmla="*/ 272 w 302"/>
                <a:gd name="T67" fmla="*/ 497 h 512"/>
                <a:gd name="T68" fmla="*/ 273 w 302"/>
                <a:gd name="T69" fmla="*/ 503 h 512"/>
                <a:gd name="T70" fmla="*/ 276 w 302"/>
                <a:gd name="T71" fmla="*/ 507 h 512"/>
                <a:gd name="T72" fmla="*/ 281 w 302"/>
                <a:gd name="T73" fmla="*/ 511 h 512"/>
                <a:gd name="T74" fmla="*/ 287 w 302"/>
                <a:gd name="T75" fmla="*/ 512 h 512"/>
                <a:gd name="T76" fmla="*/ 292 w 302"/>
                <a:gd name="T77" fmla="*/ 511 h 512"/>
                <a:gd name="T78" fmla="*/ 298 w 302"/>
                <a:gd name="T79" fmla="*/ 507 h 512"/>
                <a:gd name="T80" fmla="*/ 301 w 302"/>
                <a:gd name="T81" fmla="*/ 503 h 512"/>
                <a:gd name="T82" fmla="*/ 302 w 302"/>
                <a:gd name="T83" fmla="*/ 497 h 512"/>
                <a:gd name="T84" fmla="*/ 301 w 302"/>
                <a:gd name="T85" fmla="*/ 135 h 512"/>
                <a:gd name="T86" fmla="*/ 296 w 302"/>
                <a:gd name="T87" fmla="*/ 106 h 512"/>
                <a:gd name="T88" fmla="*/ 284 w 302"/>
                <a:gd name="T89" fmla="*/ 79 h 512"/>
                <a:gd name="T90" fmla="*/ 268 w 302"/>
                <a:gd name="T91" fmla="*/ 55 h 512"/>
                <a:gd name="T92" fmla="*/ 248 w 302"/>
                <a:gd name="T93" fmla="*/ 35 h 512"/>
                <a:gd name="T94" fmla="*/ 223 w 302"/>
                <a:gd name="T95" fmla="*/ 19 h 512"/>
                <a:gd name="T96" fmla="*/ 196 w 302"/>
                <a:gd name="T97" fmla="*/ 7 h 512"/>
                <a:gd name="T98" fmla="*/ 166 w 302"/>
                <a:gd name="T9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2" h="512">
                  <a:moveTo>
                    <a:pt x="151" y="0"/>
                  </a:moveTo>
                  <a:lnTo>
                    <a:pt x="136" y="0"/>
                  </a:lnTo>
                  <a:lnTo>
                    <a:pt x="121" y="3"/>
                  </a:lnTo>
                  <a:lnTo>
                    <a:pt x="106" y="7"/>
                  </a:lnTo>
                  <a:lnTo>
                    <a:pt x="92" y="12"/>
                  </a:lnTo>
                  <a:lnTo>
                    <a:pt x="80" y="19"/>
                  </a:lnTo>
                  <a:lnTo>
                    <a:pt x="67" y="26"/>
                  </a:lnTo>
                  <a:lnTo>
                    <a:pt x="56" y="35"/>
                  </a:lnTo>
                  <a:lnTo>
                    <a:pt x="45" y="44"/>
                  </a:lnTo>
                  <a:lnTo>
                    <a:pt x="35" y="55"/>
                  </a:lnTo>
                  <a:lnTo>
                    <a:pt x="26" y="67"/>
                  </a:lnTo>
                  <a:lnTo>
                    <a:pt x="19" y="79"/>
                  </a:lnTo>
                  <a:lnTo>
                    <a:pt x="12" y="92"/>
                  </a:lnTo>
                  <a:lnTo>
                    <a:pt x="8" y="106"/>
                  </a:lnTo>
                  <a:lnTo>
                    <a:pt x="4" y="120"/>
                  </a:lnTo>
                  <a:lnTo>
                    <a:pt x="2" y="135"/>
                  </a:lnTo>
                  <a:lnTo>
                    <a:pt x="0" y="150"/>
                  </a:lnTo>
                  <a:lnTo>
                    <a:pt x="0" y="497"/>
                  </a:lnTo>
                  <a:lnTo>
                    <a:pt x="2" y="500"/>
                  </a:lnTo>
                  <a:lnTo>
                    <a:pt x="2" y="503"/>
                  </a:lnTo>
                  <a:lnTo>
                    <a:pt x="4" y="505"/>
                  </a:lnTo>
                  <a:lnTo>
                    <a:pt x="5" y="507"/>
                  </a:lnTo>
                  <a:lnTo>
                    <a:pt x="7" y="510"/>
                  </a:lnTo>
                  <a:lnTo>
                    <a:pt x="10" y="511"/>
                  </a:lnTo>
                  <a:lnTo>
                    <a:pt x="13" y="512"/>
                  </a:lnTo>
                  <a:lnTo>
                    <a:pt x="15" y="512"/>
                  </a:lnTo>
                  <a:lnTo>
                    <a:pt x="19" y="512"/>
                  </a:lnTo>
                  <a:lnTo>
                    <a:pt x="22" y="511"/>
                  </a:lnTo>
                  <a:lnTo>
                    <a:pt x="24" y="510"/>
                  </a:lnTo>
                  <a:lnTo>
                    <a:pt x="26" y="507"/>
                  </a:lnTo>
                  <a:lnTo>
                    <a:pt x="28" y="505"/>
                  </a:lnTo>
                  <a:lnTo>
                    <a:pt x="29" y="503"/>
                  </a:lnTo>
                  <a:lnTo>
                    <a:pt x="30" y="500"/>
                  </a:lnTo>
                  <a:lnTo>
                    <a:pt x="30" y="497"/>
                  </a:lnTo>
                  <a:lnTo>
                    <a:pt x="30" y="150"/>
                  </a:lnTo>
                  <a:lnTo>
                    <a:pt x="31" y="138"/>
                  </a:lnTo>
                  <a:lnTo>
                    <a:pt x="34" y="127"/>
                  </a:lnTo>
                  <a:lnTo>
                    <a:pt x="36" y="115"/>
                  </a:lnTo>
                  <a:lnTo>
                    <a:pt x="40" y="104"/>
                  </a:lnTo>
                  <a:lnTo>
                    <a:pt x="45" y="93"/>
                  </a:lnTo>
                  <a:lnTo>
                    <a:pt x="52" y="83"/>
                  </a:lnTo>
                  <a:lnTo>
                    <a:pt x="58" y="74"/>
                  </a:lnTo>
                  <a:lnTo>
                    <a:pt x="66" y="66"/>
                  </a:lnTo>
                  <a:lnTo>
                    <a:pt x="74" y="58"/>
                  </a:lnTo>
                  <a:lnTo>
                    <a:pt x="84" y="51"/>
                  </a:lnTo>
                  <a:lnTo>
                    <a:pt x="94" y="44"/>
                  </a:lnTo>
                  <a:lnTo>
                    <a:pt x="104" y="40"/>
                  </a:lnTo>
                  <a:lnTo>
                    <a:pt x="116" y="36"/>
                  </a:lnTo>
                  <a:lnTo>
                    <a:pt x="127" y="33"/>
                  </a:lnTo>
                  <a:lnTo>
                    <a:pt x="140" y="30"/>
                  </a:lnTo>
                  <a:lnTo>
                    <a:pt x="151" y="30"/>
                  </a:lnTo>
                  <a:lnTo>
                    <a:pt x="164" y="30"/>
                  </a:lnTo>
                  <a:lnTo>
                    <a:pt x="176" y="33"/>
                  </a:lnTo>
                  <a:lnTo>
                    <a:pt x="188" y="36"/>
                  </a:lnTo>
                  <a:lnTo>
                    <a:pt x="198" y="40"/>
                  </a:lnTo>
                  <a:lnTo>
                    <a:pt x="209" y="44"/>
                  </a:lnTo>
                  <a:lnTo>
                    <a:pt x="219" y="51"/>
                  </a:lnTo>
                  <a:lnTo>
                    <a:pt x="228" y="58"/>
                  </a:lnTo>
                  <a:lnTo>
                    <a:pt x="237" y="66"/>
                  </a:lnTo>
                  <a:lnTo>
                    <a:pt x="244" y="74"/>
                  </a:lnTo>
                  <a:lnTo>
                    <a:pt x="251" y="83"/>
                  </a:lnTo>
                  <a:lnTo>
                    <a:pt x="257" y="93"/>
                  </a:lnTo>
                  <a:lnTo>
                    <a:pt x="263" y="104"/>
                  </a:lnTo>
                  <a:lnTo>
                    <a:pt x="267" y="115"/>
                  </a:lnTo>
                  <a:lnTo>
                    <a:pt x="269" y="127"/>
                  </a:lnTo>
                  <a:lnTo>
                    <a:pt x="271" y="138"/>
                  </a:lnTo>
                  <a:lnTo>
                    <a:pt x="272" y="150"/>
                  </a:lnTo>
                  <a:lnTo>
                    <a:pt x="272" y="497"/>
                  </a:lnTo>
                  <a:lnTo>
                    <a:pt x="272" y="500"/>
                  </a:lnTo>
                  <a:lnTo>
                    <a:pt x="273" y="503"/>
                  </a:lnTo>
                  <a:lnTo>
                    <a:pt x="274" y="505"/>
                  </a:lnTo>
                  <a:lnTo>
                    <a:pt x="276" y="507"/>
                  </a:lnTo>
                  <a:lnTo>
                    <a:pt x="279" y="510"/>
                  </a:lnTo>
                  <a:lnTo>
                    <a:pt x="281" y="511"/>
                  </a:lnTo>
                  <a:lnTo>
                    <a:pt x="284" y="512"/>
                  </a:lnTo>
                  <a:lnTo>
                    <a:pt x="287" y="512"/>
                  </a:lnTo>
                  <a:lnTo>
                    <a:pt x="290" y="512"/>
                  </a:lnTo>
                  <a:lnTo>
                    <a:pt x="292" y="511"/>
                  </a:lnTo>
                  <a:lnTo>
                    <a:pt x="296" y="510"/>
                  </a:lnTo>
                  <a:lnTo>
                    <a:pt x="298" y="507"/>
                  </a:lnTo>
                  <a:lnTo>
                    <a:pt x="299" y="505"/>
                  </a:lnTo>
                  <a:lnTo>
                    <a:pt x="301" y="503"/>
                  </a:lnTo>
                  <a:lnTo>
                    <a:pt x="302" y="500"/>
                  </a:lnTo>
                  <a:lnTo>
                    <a:pt x="302" y="497"/>
                  </a:lnTo>
                  <a:lnTo>
                    <a:pt x="302" y="150"/>
                  </a:lnTo>
                  <a:lnTo>
                    <a:pt x="301" y="135"/>
                  </a:lnTo>
                  <a:lnTo>
                    <a:pt x="299" y="120"/>
                  </a:lnTo>
                  <a:lnTo>
                    <a:pt x="296" y="106"/>
                  </a:lnTo>
                  <a:lnTo>
                    <a:pt x="290" y="92"/>
                  </a:lnTo>
                  <a:lnTo>
                    <a:pt x="284" y="79"/>
                  </a:lnTo>
                  <a:lnTo>
                    <a:pt x="276" y="67"/>
                  </a:lnTo>
                  <a:lnTo>
                    <a:pt x="268" y="55"/>
                  </a:lnTo>
                  <a:lnTo>
                    <a:pt x="258" y="44"/>
                  </a:lnTo>
                  <a:lnTo>
                    <a:pt x="248" y="35"/>
                  </a:lnTo>
                  <a:lnTo>
                    <a:pt x="236" y="26"/>
                  </a:lnTo>
                  <a:lnTo>
                    <a:pt x="223" y="19"/>
                  </a:lnTo>
                  <a:lnTo>
                    <a:pt x="210" y="12"/>
                  </a:lnTo>
                  <a:lnTo>
                    <a:pt x="196" y="7"/>
                  </a:lnTo>
                  <a:lnTo>
                    <a:pt x="181" y="3"/>
                  </a:lnTo>
                  <a:lnTo>
                    <a:pt x="166" y="0"/>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48">
              <a:extLst>
                <a:ext uri="{FF2B5EF4-FFF2-40B4-BE49-F238E27FC236}">
                  <a16:creationId xmlns:a16="http://schemas.microsoft.com/office/drawing/2014/main" id="{C86F2B80-D105-4CDB-8358-C13068B03CE1}"/>
                </a:ext>
              </a:extLst>
            </p:cNvPr>
            <p:cNvSpPr>
              <a:spLocks/>
            </p:cNvSpPr>
            <p:nvPr/>
          </p:nvSpPr>
          <p:spPr bwMode="auto">
            <a:xfrm>
              <a:off x="7065963" y="2254250"/>
              <a:ext cx="249237" cy="206375"/>
            </a:xfrm>
            <a:custGeom>
              <a:avLst/>
              <a:gdLst>
                <a:gd name="T0" fmla="*/ 331 w 783"/>
                <a:gd name="T1" fmla="*/ 4 h 648"/>
                <a:gd name="T2" fmla="*/ 257 w 783"/>
                <a:gd name="T3" fmla="*/ 24 h 648"/>
                <a:gd name="T4" fmla="*/ 188 w 783"/>
                <a:gd name="T5" fmla="*/ 56 h 648"/>
                <a:gd name="T6" fmla="*/ 128 w 783"/>
                <a:gd name="T7" fmla="*/ 102 h 648"/>
                <a:gd name="T8" fmla="*/ 78 w 783"/>
                <a:gd name="T9" fmla="*/ 158 h 648"/>
                <a:gd name="T10" fmla="*/ 38 w 783"/>
                <a:gd name="T11" fmla="*/ 222 h 648"/>
                <a:gd name="T12" fmla="*/ 12 w 783"/>
                <a:gd name="T13" fmla="*/ 294 h 648"/>
                <a:gd name="T14" fmla="*/ 0 w 783"/>
                <a:gd name="T15" fmla="*/ 372 h 648"/>
                <a:gd name="T16" fmla="*/ 3 w 783"/>
                <a:gd name="T17" fmla="*/ 443 h 648"/>
                <a:gd name="T18" fmla="*/ 18 w 783"/>
                <a:gd name="T19" fmla="*/ 509 h 648"/>
                <a:gd name="T20" fmla="*/ 44 w 783"/>
                <a:gd name="T21" fmla="*/ 572 h 648"/>
                <a:gd name="T22" fmla="*/ 80 w 783"/>
                <a:gd name="T23" fmla="*/ 630 h 648"/>
                <a:gd name="T24" fmla="*/ 99 w 783"/>
                <a:gd name="T25" fmla="*/ 648 h 648"/>
                <a:gd name="T26" fmla="*/ 110 w 783"/>
                <a:gd name="T27" fmla="*/ 647 h 648"/>
                <a:gd name="T28" fmla="*/ 116 w 783"/>
                <a:gd name="T29" fmla="*/ 637 h 648"/>
                <a:gd name="T30" fmla="*/ 115 w 783"/>
                <a:gd name="T31" fmla="*/ 626 h 648"/>
                <a:gd name="T32" fmla="*/ 85 w 783"/>
                <a:gd name="T33" fmla="*/ 585 h 648"/>
                <a:gd name="T34" fmla="*/ 58 w 783"/>
                <a:gd name="T35" fmla="*/ 529 h 648"/>
                <a:gd name="T36" fmla="*/ 38 w 783"/>
                <a:gd name="T37" fmla="*/ 469 h 648"/>
                <a:gd name="T38" fmla="*/ 30 w 783"/>
                <a:gd name="T39" fmla="*/ 407 h 648"/>
                <a:gd name="T40" fmla="*/ 34 w 783"/>
                <a:gd name="T41" fmla="*/ 337 h 648"/>
                <a:gd name="T42" fmla="*/ 52 w 783"/>
                <a:gd name="T43" fmla="*/ 267 h 648"/>
                <a:gd name="T44" fmla="*/ 82 w 783"/>
                <a:gd name="T45" fmla="*/ 204 h 648"/>
                <a:gd name="T46" fmla="*/ 124 w 783"/>
                <a:gd name="T47" fmla="*/ 148 h 648"/>
                <a:gd name="T48" fmla="*/ 175 w 783"/>
                <a:gd name="T49" fmla="*/ 102 h 648"/>
                <a:gd name="T50" fmla="*/ 235 w 783"/>
                <a:gd name="T51" fmla="*/ 66 h 648"/>
                <a:gd name="T52" fmla="*/ 301 w 783"/>
                <a:gd name="T53" fmla="*/ 41 h 648"/>
                <a:gd name="T54" fmla="*/ 373 w 783"/>
                <a:gd name="T55" fmla="*/ 31 h 648"/>
                <a:gd name="T56" fmla="*/ 446 w 783"/>
                <a:gd name="T57" fmla="*/ 34 h 648"/>
                <a:gd name="T58" fmla="*/ 515 w 783"/>
                <a:gd name="T59" fmla="*/ 52 h 648"/>
                <a:gd name="T60" fmla="*/ 578 w 783"/>
                <a:gd name="T61" fmla="*/ 82 h 648"/>
                <a:gd name="T62" fmla="*/ 634 w 783"/>
                <a:gd name="T63" fmla="*/ 124 h 648"/>
                <a:gd name="T64" fmla="*/ 681 w 783"/>
                <a:gd name="T65" fmla="*/ 175 h 648"/>
                <a:gd name="T66" fmla="*/ 718 w 783"/>
                <a:gd name="T67" fmla="*/ 235 h 648"/>
                <a:gd name="T68" fmla="*/ 741 w 783"/>
                <a:gd name="T69" fmla="*/ 301 h 648"/>
                <a:gd name="T70" fmla="*/ 753 w 783"/>
                <a:gd name="T71" fmla="*/ 373 h 648"/>
                <a:gd name="T72" fmla="*/ 750 w 783"/>
                <a:gd name="T73" fmla="*/ 438 h 648"/>
                <a:gd name="T74" fmla="*/ 736 w 783"/>
                <a:gd name="T75" fmla="*/ 500 h 648"/>
                <a:gd name="T76" fmla="*/ 712 w 783"/>
                <a:gd name="T77" fmla="*/ 558 h 648"/>
                <a:gd name="T78" fmla="*/ 679 w 783"/>
                <a:gd name="T79" fmla="*/ 611 h 648"/>
                <a:gd name="T80" fmla="*/ 666 w 783"/>
                <a:gd name="T81" fmla="*/ 632 h 648"/>
                <a:gd name="T82" fmla="*/ 669 w 783"/>
                <a:gd name="T83" fmla="*/ 643 h 648"/>
                <a:gd name="T84" fmla="*/ 679 w 783"/>
                <a:gd name="T85" fmla="*/ 648 h 648"/>
                <a:gd name="T86" fmla="*/ 690 w 783"/>
                <a:gd name="T87" fmla="*/ 645 h 648"/>
                <a:gd name="T88" fmla="*/ 723 w 783"/>
                <a:gd name="T89" fmla="*/ 602 h 648"/>
                <a:gd name="T90" fmla="*/ 754 w 783"/>
                <a:gd name="T91" fmla="*/ 541 h 648"/>
                <a:gd name="T92" fmla="*/ 774 w 783"/>
                <a:gd name="T93" fmla="*/ 477 h 648"/>
                <a:gd name="T94" fmla="*/ 783 w 783"/>
                <a:gd name="T95" fmla="*/ 408 h 648"/>
                <a:gd name="T96" fmla="*/ 779 w 783"/>
                <a:gd name="T97" fmla="*/ 332 h 648"/>
                <a:gd name="T98" fmla="*/ 759 w 783"/>
                <a:gd name="T99" fmla="*/ 257 h 648"/>
                <a:gd name="T100" fmla="*/ 726 w 783"/>
                <a:gd name="T101" fmla="*/ 189 h 648"/>
                <a:gd name="T102" fmla="*/ 681 w 783"/>
                <a:gd name="T103" fmla="*/ 129 h 648"/>
                <a:gd name="T104" fmla="*/ 626 w 783"/>
                <a:gd name="T105" fmla="*/ 78 h 648"/>
                <a:gd name="T106" fmla="*/ 561 w 783"/>
                <a:gd name="T107" fmla="*/ 38 h 648"/>
                <a:gd name="T108" fmla="*/ 489 w 783"/>
                <a:gd name="T109" fmla="*/ 13 h 648"/>
                <a:gd name="T110" fmla="*/ 412 w 783"/>
                <a:gd name="T111" fmla="*/ 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3" h="648">
                  <a:moveTo>
                    <a:pt x="391" y="0"/>
                  </a:moveTo>
                  <a:lnTo>
                    <a:pt x="371" y="1"/>
                  </a:lnTo>
                  <a:lnTo>
                    <a:pt x="352" y="2"/>
                  </a:lnTo>
                  <a:lnTo>
                    <a:pt x="331" y="4"/>
                  </a:lnTo>
                  <a:lnTo>
                    <a:pt x="312" y="8"/>
                  </a:lnTo>
                  <a:lnTo>
                    <a:pt x="294" y="13"/>
                  </a:lnTo>
                  <a:lnTo>
                    <a:pt x="275" y="18"/>
                  </a:lnTo>
                  <a:lnTo>
                    <a:pt x="257" y="24"/>
                  </a:lnTo>
                  <a:lnTo>
                    <a:pt x="239" y="31"/>
                  </a:lnTo>
                  <a:lnTo>
                    <a:pt x="221" y="38"/>
                  </a:lnTo>
                  <a:lnTo>
                    <a:pt x="205" y="48"/>
                  </a:lnTo>
                  <a:lnTo>
                    <a:pt x="188" y="56"/>
                  </a:lnTo>
                  <a:lnTo>
                    <a:pt x="172" y="67"/>
                  </a:lnTo>
                  <a:lnTo>
                    <a:pt x="157" y="78"/>
                  </a:lnTo>
                  <a:lnTo>
                    <a:pt x="142" y="90"/>
                  </a:lnTo>
                  <a:lnTo>
                    <a:pt x="128" y="102"/>
                  </a:lnTo>
                  <a:lnTo>
                    <a:pt x="114" y="115"/>
                  </a:lnTo>
                  <a:lnTo>
                    <a:pt x="101" y="129"/>
                  </a:lnTo>
                  <a:lnTo>
                    <a:pt x="90" y="143"/>
                  </a:lnTo>
                  <a:lnTo>
                    <a:pt x="78" y="158"/>
                  </a:lnTo>
                  <a:lnTo>
                    <a:pt x="67" y="173"/>
                  </a:lnTo>
                  <a:lnTo>
                    <a:pt x="56" y="189"/>
                  </a:lnTo>
                  <a:lnTo>
                    <a:pt x="47" y="205"/>
                  </a:lnTo>
                  <a:lnTo>
                    <a:pt x="38" y="222"/>
                  </a:lnTo>
                  <a:lnTo>
                    <a:pt x="31" y="239"/>
                  </a:lnTo>
                  <a:lnTo>
                    <a:pt x="23" y="257"/>
                  </a:lnTo>
                  <a:lnTo>
                    <a:pt x="17" y="276"/>
                  </a:lnTo>
                  <a:lnTo>
                    <a:pt x="12" y="294"/>
                  </a:lnTo>
                  <a:lnTo>
                    <a:pt x="7" y="313"/>
                  </a:lnTo>
                  <a:lnTo>
                    <a:pt x="4" y="332"/>
                  </a:lnTo>
                  <a:lnTo>
                    <a:pt x="2" y="352"/>
                  </a:lnTo>
                  <a:lnTo>
                    <a:pt x="0" y="372"/>
                  </a:lnTo>
                  <a:lnTo>
                    <a:pt x="0" y="391"/>
                  </a:lnTo>
                  <a:lnTo>
                    <a:pt x="0" y="408"/>
                  </a:lnTo>
                  <a:lnTo>
                    <a:pt x="1" y="425"/>
                  </a:lnTo>
                  <a:lnTo>
                    <a:pt x="3" y="443"/>
                  </a:lnTo>
                  <a:lnTo>
                    <a:pt x="5" y="460"/>
                  </a:lnTo>
                  <a:lnTo>
                    <a:pt x="9" y="477"/>
                  </a:lnTo>
                  <a:lnTo>
                    <a:pt x="13" y="493"/>
                  </a:lnTo>
                  <a:lnTo>
                    <a:pt x="18" y="509"/>
                  </a:lnTo>
                  <a:lnTo>
                    <a:pt x="23" y="525"/>
                  </a:lnTo>
                  <a:lnTo>
                    <a:pt x="30" y="541"/>
                  </a:lnTo>
                  <a:lnTo>
                    <a:pt x="36" y="557"/>
                  </a:lnTo>
                  <a:lnTo>
                    <a:pt x="44" y="572"/>
                  </a:lnTo>
                  <a:lnTo>
                    <a:pt x="51" y="587"/>
                  </a:lnTo>
                  <a:lnTo>
                    <a:pt x="61" y="602"/>
                  </a:lnTo>
                  <a:lnTo>
                    <a:pt x="69" y="616"/>
                  </a:lnTo>
                  <a:lnTo>
                    <a:pt x="80" y="630"/>
                  </a:lnTo>
                  <a:lnTo>
                    <a:pt x="91" y="644"/>
                  </a:lnTo>
                  <a:lnTo>
                    <a:pt x="93" y="645"/>
                  </a:lnTo>
                  <a:lnTo>
                    <a:pt x="96" y="647"/>
                  </a:lnTo>
                  <a:lnTo>
                    <a:pt x="99" y="648"/>
                  </a:lnTo>
                  <a:lnTo>
                    <a:pt x="102" y="648"/>
                  </a:lnTo>
                  <a:lnTo>
                    <a:pt x="105" y="648"/>
                  </a:lnTo>
                  <a:lnTo>
                    <a:pt x="107" y="647"/>
                  </a:lnTo>
                  <a:lnTo>
                    <a:pt x="110" y="647"/>
                  </a:lnTo>
                  <a:lnTo>
                    <a:pt x="112" y="645"/>
                  </a:lnTo>
                  <a:lnTo>
                    <a:pt x="114" y="643"/>
                  </a:lnTo>
                  <a:lnTo>
                    <a:pt x="115" y="640"/>
                  </a:lnTo>
                  <a:lnTo>
                    <a:pt x="116" y="637"/>
                  </a:lnTo>
                  <a:lnTo>
                    <a:pt x="117" y="635"/>
                  </a:lnTo>
                  <a:lnTo>
                    <a:pt x="117" y="632"/>
                  </a:lnTo>
                  <a:lnTo>
                    <a:pt x="116" y="629"/>
                  </a:lnTo>
                  <a:lnTo>
                    <a:pt x="115" y="626"/>
                  </a:lnTo>
                  <a:lnTo>
                    <a:pt x="113" y="623"/>
                  </a:lnTo>
                  <a:lnTo>
                    <a:pt x="104" y="611"/>
                  </a:lnTo>
                  <a:lnTo>
                    <a:pt x="95" y="599"/>
                  </a:lnTo>
                  <a:lnTo>
                    <a:pt x="85" y="585"/>
                  </a:lnTo>
                  <a:lnTo>
                    <a:pt x="78" y="572"/>
                  </a:lnTo>
                  <a:lnTo>
                    <a:pt x="70" y="558"/>
                  </a:lnTo>
                  <a:lnTo>
                    <a:pt x="63" y="544"/>
                  </a:lnTo>
                  <a:lnTo>
                    <a:pt x="58" y="529"/>
                  </a:lnTo>
                  <a:lnTo>
                    <a:pt x="51" y="515"/>
                  </a:lnTo>
                  <a:lnTo>
                    <a:pt x="47" y="500"/>
                  </a:lnTo>
                  <a:lnTo>
                    <a:pt x="43" y="485"/>
                  </a:lnTo>
                  <a:lnTo>
                    <a:pt x="38" y="469"/>
                  </a:lnTo>
                  <a:lnTo>
                    <a:pt x="35" y="454"/>
                  </a:lnTo>
                  <a:lnTo>
                    <a:pt x="33" y="438"/>
                  </a:lnTo>
                  <a:lnTo>
                    <a:pt x="31" y="423"/>
                  </a:lnTo>
                  <a:lnTo>
                    <a:pt x="30" y="407"/>
                  </a:lnTo>
                  <a:lnTo>
                    <a:pt x="30" y="391"/>
                  </a:lnTo>
                  <a:lnTo>
                    <a:pt x="31" y="373"/>
                  </a:lnTo>
                  <a:lnTo>
                    <a:pt x="32" y="355"/>
                  </a:lnTo>
                  <a:lnTo>
                    <a:pt x="34" y="337"/>
                  </a:lnTo>
                  <a:lnTo>
                    <a:pt x="37" y="318"/>
                  </a:lnTo>
                  <a:lnTo>
                    <a:pt x="42" y="301"/>
                  </a:lnTo>
                  <a:lnTo>
                    <a:pt x="46" y="284"/>
                  </a:lnTo>
                  <a:lnTo>
                    <a:pt x="52" y="267"/>
                  </a:lnTo>
                  <a:lnTo>
                    <a:pt x="59" y="251"/>
                  </a:lnTo>
                  <a:lnTo>
                    <a:pt x="65" y="235"/>
                  </a:lnTo>
                  <a:lnTo>
                    <a:pt x="74" y="220"/>
                  </a:lnTo>
                  <a:lnTo>
                    <a:pt x="82" y="204"/>
                  </a:lnTo>
                  <a:lnTo>
                    <a:pt x="92" y="190"/>
                  </a:lnTo>
                  <a:lnTo>
                    <a:pt x="101" y="175"/>
                  </a:lnTo>
                  <a:lnTo>
                    <a:pt x="112" y="162"/>
                  </a:lnTo>
                  <a:lnTo>
                    <a:pt x="124" y="148"/>
                  </a:lnTo>
                  <a:lnTo>
                    <a:pt x="136" y="137"/>
                  </a:lnTo>
                  <a:lnTo>
                    <a:pt x="148" y="124"/>
                  </a:lnTo>
                  <a:lnTo>
                    <a:pt x="161" y="113"/>
                  </a:lnTo>
                  <a:lnTo>
                    <a:pt x="175" y="102"/>
                  </a:lnTo>
                  <a:lnTo>
                    <a:pt x="189" y="92"/>
                  </a:lnTo>
                  <a:lnTo>
                    <a:pt x="204" y="82"/>
                  </a:lnTo>
                  <a:lnTo>
                    <a:pt x="219" y="74"/>
                  </a:lnTo>
                  <a:lnTo>
                    <a:pt x="235" y="66"/>
                  </a:lnTo>
                  <a:lnTo>
                    <a:pt x="251" y="59"/>
                  </a:lnTo>
                  <a:lnTo>
                    <a:pt x="267" y="52"/>
                  </a:lnTo>
                  <a:lnTo>
                    <a:pt x="284" y="47"/>
                  </a:lnTo>
                  <a:lnTo>
                    <a:pt x="301" y="41"/>
                  </a:lnTo>
                  <a:lnTo>
                    <a:pt x="319" y="37"/>
                  </a:lnTo>
                  <a:lnTo>
                    <a:pt x="337" y="34"/>
                  </a:lnTo>
                  <a:lnTo>
                    <a:pt x="355" y="32"/>
                  </a:lnTo>
                  <a:lnTo>
                    <a:pt x="373" y="31"/>
                  </a:lnTo>
                  <a:lnTo>
                    <a:pt x="391" y="30"/>
                  </a:lnTo>
                  <a:lnTo>
                    <a:pt x="409" y="31"/>
                  </a:lnTo>
                  <a:lnTo>
                    <a:pt x="429" y="32"/>
                  </a:lnTo>
                  <a:lnTo>
                    <a:pt x="446" y="34"/>
                  </a:lnTo>
                  <a:lnTo>
                    <a:pt x="464" y="37"/>
                  </a:lnTo>
                  <a:lnTo>
                    <a:pt x="481" y="41"/>
                  </a:lnTo>
                  <a:lnTo>
                    <a:pt x="498" y="47"/>
                  </a:lnTo>
                  <a:lnTo>
                    <a:pt x="515" y="52"/>
                  </a:lnTo>
                  <a:lnTo>
                    <a:pt x="531" y="59"/>
                  </a:lnTo>
                  <a:lnTo>
                    <a:pt x="547" y="66"/>
                  </a:lnTo>
                  <a:lnTo>
                    <a:pt x="564" y="74"/>
                  </a:lnTo>
                  <a:lnTo>
                    <a:pt x="578" y="82"/>
                  </a:lnTo>
                  <a:lnTo>
                    <a:pt x="593" y="92"/>
                  </a:lnTo>
                  <a:lnTo>
                    <a:pt x="607" y="102"/>
                  </a:lnTo>
                  <a:lnTo>
                    <a:pt x="621" y="113"/>
                  </a:lnTo>
                  <a:lnTo>
                    <a:pt x="634" y="124"/>
                  </a:lnTo>
                  <a:lnTo>
                    <a:pt x="647" y="137"/>
                  </a:lnTo>
                  <a:lnTo>
                    <a:pt x="659" y="148"/>
                  </a:lnTo>
                  <a:lnTo>
                    <a:pt x="670" y="162"/>
                  </a:lnTo>
                  <a:lnTo>
                    <a:pt x="681" y="175"/>
                  </a:lnTo>
                  <a:lnTo>
                    <a:pt x="691" y="190"/>
                  </a:lnTo>
                  <a:lnTo>
                    <a:pt x="700" y="204"/>
                  </a:lnTo>
                  <a:lnTo>
                    <a:pt x="709" y="220"/>
                  </a:lnTo>
                  <a:lnTo>
                    <a:pt x="718" y="235"/>
                  </a:lnTo>
                  <a:lnTo>
                    <a:pt x="724" y="251"/>
                  </a:lnTo>
                  <a:lnTo>
                    <a:pt x="731" y="267"/>
                  </a:lnTo>
                  <a:lnTo>
                    <a:pt x="737" y="284"/>
                  </a:lnTo>
                  <a:lnTo>
                    <a:pt x="741" y="301"/>
                  </a:lnTo>
                  <a:lnTo>
                    <a:pt x="745" y="318"/>
                  </a:lnTo>
                  <a:lnTo>
                    <a:pt x="749" y="337"/>
                  </a:lnTo>
                  <a:lnTo>
                    <a:pt x="751" y="355"/>
                  </a:lnTo>
                  <a:lnTo>
                    <a:pt x="753" y="373"/>
                  </a:lnTo>
                  <a:lnTo>
                    <a:pt x="753" y="391"/>
                  </a:lnTo>
                  <a:lnTo>
                    <a:pt x="753" y="407"/>
                  </a:lnTo>
                  <a:lnTo>
                    <a:pt x="752" y="423"/>
                  </a:lnTo>
                  <a:lnTo>
                    <a:pt x="750" y="438"/>
                  </a:lnTo>
                  <a:lnTo>
                    <a:pt x="747" y="454"/>
                  </a:lnTo>
                  <a:lnTo>
                    <a:pt x="744" y="469"/>
                  </a:lnTo>
                  <a:lnTo>
                    <a:pt x="741" y="485"/>
                  </a:lnTo>
                  <a:lnTo>
                    <a:pt x="736" y="500"/>
                  </a:lnTo>
                  <a:lnTo>
                    <a:pt x="731" y="515"/>
                  </a:lnTo>
                  <a:lnTo>
                    <a:pt x="726" y="529"/>
                  </a:lnTo>
                  <a:lnTo>
                    <a:pt x="720" y="544"/>
                  </a:lnTo>
                  <a:lnTo>
                    <a:pt x="712" y="558"/>
                  </a:lnTo>
                  <a:lnTo>
                    <a:pt x="705" y="572"/>
                  </a:lnTo>
                  <a:lnTo>
                    <a:pt x="697" y="585"/>
                  </a:lnTo>
                  <a:lnTo>
                    <a:pt x="689" y="599"/>
                  </a:lnTo>
                  <a:lnTo>
                    <a:pt x="679" y="611"/>
                  </a:lnTo>
                  <a:lnTo>
                    <a:pt x="669" y="623"/>
                  </a:lnTo>
                  <a:lnTo>
                    <a:pt x="667" y="626"/>
                  </a:lnTo>
                  <a:lnTo>
                    <a:pt x="666" y="629"/>
                  </a:lnTo>
                  <a:lnTo>
                    <a:pt x="666" y="632"/>
                  </a:lnTo>
                  <a:lnTo>
                    <a:pt x="666" y="635"/>
                  </a:lnTo>
                  <a:lnTo>
                    <a:pt x="666" y="637"/>
                  </a:lnTo>
                  <a:lnTo>
                    <a:pt x="667" y="640"/>
                  </a:lnTo>
                  <a:lnTo>
                    <a:pt x="669" y="643"/>
                  </a:lnTo>
                  <a:lnTo>
                    <a:pt x="672" y="645"/>
                  </a:lnTo>
                  <a:lnTo>
                    <a:pt x="674" y="647"/>
                  </a:lnTo>
                  <a:lnTo>
                    <a:pt x="676" y="648"/>
                  </a:lnTo>
                  <a:lnTo>
                    <a:pt x="679" y="648"/>
                  </a:lnTo>
                  <a:lnTo>
                    <a:pt x="682" y="648"/>
                  </a:lnTo>
                  <a:lnTo>
                    <a:pt x="684" y="648"/>
                  </a:lnTo>
                  <a:lnTo>
                    <a:pt x="688" y="647"/>
                  </a:lnTo>
                  <a:lnTo>
                    <a:pt x="690" y="645"/>
                  </a:lnTo>
                  <a:lnTo>
                    <a:pt x="692" y="644"/>
                  </a:lnTo>
                  <a:lnTo>
                    <a:pt x="703" y="630"/>
                  </a:lnTo>
                  <a:lnTo>
                    <a:pt x="713" y="616"/>
                  </a:lnTo>
                  <a:lnTo>
                    <a:pt x="723" y="602"/>
                  </a:lnTo>
                  <a:lnTo>
                    <a:pt x="731" y="587"/>
                  </a:lnTo>
                  <a:lnTo>
                    <a:pt x="739" y="572"/>
                  </a:lnTo>
                  <a:lnTo>
                    <a:pt x="746" y="557"/>
                  </a:lnTo>
                  <a:lnTo>
                    <a:pt x="754" y="541"/>
                  </a:lnTo>
                  <a:lnTo>
                    <a:pt x="759" y="525"/>
                  </a:lnTo>
                  <a:lnTo>
                    <a:pt x="765" y="509"/>
                  </a:lnTo>
                  <a:lnTo>
                    <a:pt x="770" y="493"/>
                  </a:lnTo>
                  <a:lnTo>
                    <a:pt x="774" y="477"/>
                  </a:lnTo>
                  <a:lnTo>
                    <a:pt x="777" y="460"/>
                  </a:lnTo>
                  <a:lnTo>
                    <a:pt x="780" y="443"/>
                  </a:lnTo>
                  <a:lnTo>
                    <a:pt x="782" y="425"/>
                  </a:lnTo>
                  <a:lnTo>
                    <a:pt x="783" y="408"/>
                  </a:lnTo>
                  <a:lnTo>
                    <a:pt x="783" y="391"/>
                  </a:lnTo>
                  <a:lnTo>
                    <a:pt x="783" y="372"/>
                  </a:lnTo>
                  <a:lnTo>
                    <a:pt x="781" y="352"/>
                  </a:lnTo>
                  <a:lnTo>
                    <a:pt x="779" y="332"/>
                  </a:lnTo>
                  <a:lnTo>
                    <a:pt x="775" y="313"/>
                  </a:lnTo>
                  <a:lnTo>
                    <a:pt x="771" y="294"/>
                  </a:lnTo>
                  <a:lnTo>
                    <a:pt x="766" y="276"/>
                  </a:lnTo>
                  <a:lnTo>
                    <a:pt x="759" y="257"/>
                  </a:lnTo>
                  <a:lnTo>
                    <a:pt x="752" y="239"/>
                  </a:lnTo>
                  <a:lnTo>
                    <a:pt x="744" y="222"/>
                  </a:lnTo>
                  <a:lnTo>
                    <a:pt x="736" y="205"/>
                  </a:lnTo>
                  <a:lnTo>
                    <a:pt x="726" y="189"/>
                  </a:lnTo>
                  <a:lnTo>
                    <a:pt x="716" y="173"/>
                  </a:lnTo>
                  <a:lnTo>
                    <a:pt x="705" y="158"/>
                  </a:lnTo>
                  <a:lnTo>
                    <a:pt x="694" y="143"/>
                  </a:lnTo>
                  <a:lnTo>
                    <a:pt x="681" y="129"/>
                  </a:lnTo>
                  <a:lnTo>
                    <a:pt x="668" y="115"/>
                  </a:lnTo>
                  <a:lnTo>
                    <a:pt x="654" y="102"/>
                  </a:lnTo>
                  <a:lnTo>
                    <a:pt x="641" y="90"/>
                  </a:lnTo>
                  <a:lnTo>
                    <a:pt x="626" y="78"/>
                  </a:lnTo>
                  <a:lnTo>
                    <a:pt x="611" y="67"/>
                  </a:lnTo>
                  <a:lnTo>
                    <a:pt x="595" y="56"/>
                  </a:lnTo>
                  <a:lnTo>
                    <a:pt x="577" y="48"/>
                  </a:lnTo>
                  <a:lnTo>
                    <a:pt x="561" y="38"/>
                  </a:lnTo>
                  <a:lnTo>
                    <a:pt x="543" y="31"/>
                  </a:lnTo>
                  <a:lnTo>
                    <a:pt x="526" y="24"/>
                  </a:lnTo>
                  <a:lnTo>
                    <a:pt x="508" y="18"/>
                  </a:lnTo>
                  <a:lnTo>
                    <a:pt x="489" y="13"/>
                  </a:lnTo>
                  <a:lnTo>
                    <a:pt x="470" y="8"/>
                  </a:lnTo>
                  <a:lnTo>
                    <a:pt x="451" y="4"/>
                  </a:lnTo>
                  <a:lnTo>
                    <a:pt x="431" y="2"/>
                  </a:lnTo>
                  <a:lnTo>
                    <a:pt x="412" y="1"/>
                  </a:lnTo>
                  <a:lnTo>
                    <a:pt x="3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0" name="Group 58">
            <a:extLst>
              <a:ext uri="{FF2B5EF4-FFF2-40B4-BE49-F238E27FC236}">
                <a16:creationId xmlns:a16="http://schemas.microsoft.com/office/drawing/2014/main" id="{906C54FC-47F8-4468-960B-A3A09B7245F5}"/>
              </a:ext>
            </a:extLst>
          </p:cNvPr>
          <p:cNvGrpSpPr>
            <a:grpSpLocks noChangeAspect="1"/>
          </p:cNvGrpSpPr>
          <p:nvPr/>
        </p:nvGrpSpPr>
        <p:grpSpPr>
          <a:xfrm>
            <a:off x="308504" y="2186361"/>
            <a:ext cx="234969" cy="306484"/>
            <a:chOff x="363538" y="1927225"/>
            <a:chExt cx="219075" cy="285750"/>
          </a:xfrm>
          <a:solidFill>
            <a:schemeClr val="bg2"/>
          </a:solidFill>
          <a:effectLst/>
        </p:grpSpPr>
        <p:sp>
          <p:nvSpPr>
            <p:cNvPr id="381" name="Freeform 66">
              <a:extLst>
                <a:ext uri="{FF2B5EF4-FFF2-40B4-BE49-F238E27FC236}">
                  <a16:creationId xmlns:a16="http://schemas.microsoft.com/office/drawing/2014/main" id="{409CD8FF-8D91-4D1E-A3D4-7CCD19869A06}"/>
                </a:ext>
              </a:extLst>
            </p:cNvPr>
            <p:cNvSpPr>
              <a:spLocks noEditPoints="1"/>
            </p:cNvSpPr>
            <p:nvPr/>
          </p:nvSpPr>
          <p:spPr bwMode="auto">
            <a:xfrm>
              <a:off x="363538" y="1927225"/>
              <a:ext cx="219075" cy="285750"/>
            </a:xfrm>
            <a:custGeom>
              <a:avLst/>
              <a:gdLst>
                <a:gd name="T0" fmla="*/ 248 w 689"/>
                <a:gd name="T1" fmla="*/ 778 h 898"/>
                <a:gd name="T2" fmla="*/ 154 w 689"/>
                <a:gd name="T3" fmla="*/ 669 h 898"/>
                <a:gd name="T4" fmla="*/ 103 w 689"/>
                <a:gd name="T5" fmla="*/ 592 h 898"/>
                <a:gd name="T6" fmla="*/ 62 w 689"/>
                <a:gd name="T7" fmla="*/ 508 h 898"/>
                <a:gd name="T8" fmla="*/ 36 w 689"/>
                <a:gd name="T9" fmla="*/ 416 h 898"/>
                <a:gd name="T10" fmla="*/ 30 w 689"/>
                <a:gd name="T11" fmla="*/ 328 h 898"/>
                <a:gd name="T12" fmla="*/ 39 w 689"/>
                <a:gd name="T13" fmla="*/ 266 h 898"/>
                <a:gd name="T14" fmla="*/ 61 w 689"/>
                <a:gd name="T15" fmla="*/ 209 h 898"/>
                <a:gd name="T16" fmla="*/ 93 w 689"/>
                <a:gd name="T17" fmla="*/ 157 h 898"/>
                <a:gd name="T18" fmla="*/ 133 w 689"/>
                <a:gd name="T19" fmla="*/ 112 h 898"/>
                <a:gd name="T20" fmla="*/ 183 w 689"/>
                <a:gd name="T21" fmla="*/ 76 h 898"/>
                <a:gd name="T22" fmla="*/ 237 w 689"/>
                <a:gd name="T23" fmla="*/ 49 h 898"/>
                <a:gd name="T24" fmla="*/ 297 w 689"/>
                <a:gd name="T25" fmla="*/ 33 h 898"/>
                <a:gd name="T26" fmla="*/ 360 w 689"/>
                <a:gd name="T27" fmla="*/ 30 h 898"/>
                <a:gd name="T28" fmla="*/ 421 w 689"/>
                <a:gd name="T29" fmla="*/ 39 h 898"/>
                <a:gd name="T30" fmla="*/ 479 w 689"/>
                <a:gd name="T31" fmla="*/ 61 h 898"/>
                <a:gd name="T32" fmla="*/ 530 w 689"/>
                <a:gd name="T33" fmla="*/ 93 h 898"/>
                <a:gd name="T34" fmla="*/ 575 w 689"/>
                <a:gd name="T35" fmla="*/ 133 h 898"/>
                <a:gd name="T36" fmla="*/ 613 w 689"/>
                <a:gd name="T37" fmla="*/ 183 h 898"/>
                <a:gd name="T38" fmla="*/ 639 w 689"/>
                <a:gd name="T39" fmla="*/ 237 h 898"/>
                <a:gd name="T40" fmla="*/ 654 w 689"/>
                <a:gd name="T41" fmla="*/ 297 h 898"/>
                <a:gd name="T42" fmla="*/ 658 w 689"/>
                <a:gd name="T43" fmla="*/ 369 h 898"/>
                <a:gd name="T44" fmla="*/ 642 w 689"/>
                <a:gd name="T45" fmla="*/ 463 h 898"/>
                <a:gd name="T46" fmla="*/ 606 w 689"/>
                <a:gd name="T47" fmla="*/ 552 h 898"/>
                <a:gd name="T48" fmla="*/ 560 w 689"/>
                <a:gd name="T49" fmla="*/ 632 h 898"/>
                <a:gd name="T50" fmla="*/ 494 w 689"/>
                <a:gd name="T51" fmla="*/ 719 h 898"/>
                <a:gd name="T52" fmla="*/ 372 w 689"/>
                <a:gd name="T53" fmla="*/ 840 h 898"/>
                <a:gd name="T54" fmla="*/ 327 w 689"/>
                <a:gd name="T55" fmla="*/ 0 h 898"/>
                <a:gd name="T56" fmla="*/ 259 w 689"/>
                <a:gd name="T57" fmla="*/ 10 h 898"/>
                <a:gd name="T58" fmla="*/ 196 w 689"/>
                <a:gd name="T59" fmla="*/ 34 h 898"/>
                <a:gd name="T60" fmla="*/ 140 w 689"/>
                <a:gd name="T61" fmla="*/ 69 h 898"/>
                <a:gd name="T62" fmla="*/ 91 w 689"/>
                <a:gd name="T63" fmla="*/ 114 h 898"/>
                <a:gd name="T64" fmla="*/ 50 w 689"/>
                <a:gd name="T65" fmla="*/ 166 h 898"/>
                <a:gd name="T66" fmla="*/ 21 w 689"/>
                <a:gd name="T67" fmla="*/ 226 h 898"/>
                <a:gd name="T68" fmla="*/ 4 w 689"/>
                <a:gd name="T69" fmla="*/ 292 h 898"/>
                <a:gd name="T70" fmla="*/ 0 w 689"/>
                <a:gd name="T71" fmla="*/ 368 h 898"/>
                <a:gd name="T72" fmla="*/ 17 w 689"/>
                <a:gd name="T73" fmla="*/ 464 h 898"/>
                <a:gd name="T74" fmla="*/ 53 w 689"/>
                <a:gd name="T75" fmla="*/ 563 h 898"/>
                <a:gd name="T76" fmla="*/ 111 w 689"/>
                <a:gd name="T77" fmla="*/ 662 h 898"/>
                <a:gd name="T78" fmla="*/ 199 w 689"/>
                <a:gd name="T79" fmla="*/ 770 h 898"/>
                <a:gd name="T80" fmla="*/ 302 w 689"/>
                <a:gd name="T81" fmla="*/ 869 h 898"/>
                <a:gd name="T82" fmla="*/ 340 w 689"/>
                <a:gd name="T83" fmla="*/ 897 h 898"/>
                <a:gd name="T84" fmla="*/ 358 w 689"/>
                <a:gd name="T85" fmla="*/ 892 h 898"/>
                <a:gd name="T86" fmla="*/ 432 w 689"/>
                <a:gd name="T87" fmla="*/ 829 h 898"/>
                <a:gd name="T88" fmla="*/ 540 w 689"/>
                <a:gd name="T89" fmla="*/ 711 h 898"/>
                <a:gd name="T90" fmla="*/ 608 w 689"/>
                <a:gd name="T91" fmla="*/ 613 h 898"/>
                <a:gd name="T92" fmla="*/ 656 w 689"/>
                <a:gd name="T93" fmla="*/ 513 h 898"/>
                <a:gd name="T94" fmla="*/ 682 w 689"/>
                <a:gd name="T95" fmla="*/ 416 h 898"/>
                <a:gd name="T96" fmla="*/ 688 w 689"/>
                <a:gd name="T97" fmla="*/ 327 h 898"/>
                <a:gd name="T98" fmla="*/ 678 w 689"/>
                <a:gd name="T99" fmla="*/ 258 h 898"/>
                <a:gd name="T100" fmla="*/ 654 w 689"/>
                <a:gd name="T101" fmla="*/ 196 h 898"/>
                <a:gd name="T102" fmla="*/ 619 w 689"/>
                <a:gd name="T103" fmla="*/ 139 h 898"/>
                <a:gd name="T104" fmla="*/ 574 w 689"/>
                <a:gd name="T105" fmla="*/ 91 h 898"/>
                <a:gd name="T106" fmla="*/ 521 w 689"/>
                <a:gd name="T107" fmla="*/ 50 h 898"/>
                <a:gd name="T108" fmla="*/ 461 w 689"/>
                <a:gd name="T109" fmla="*/ 21 h 898"/>
                <a:gd name="T110" fmla="*/ 395 w 689"/>
                <a:gd name="T111" fmla="*/ 4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9" h="898">
                  <a:moveTo>
                    <a:pt x="344" y="864"/>
                  </a:moveTo>
                  <a:lnTo>
                    <a:pt x="315" y="840"/>
                  </a:lnTo>
                  <a:lnTo>
                    <a:pt x="272" y="802"/>
                  </a:lnTo>
                  <a:lnTo>
                    <a:pt x="248" y="778"/>
                  </a:lnTo>
                  <a:lnTo>
                    <a:pt x="222" y="750"/>
                  </a:lnTo>
                  <a:lnTo>
                    <a:pt x="194" y="719"/>
                  </a:lnTo>
                  <a:lnTo>
                    <a:pt x="168" y="686"/>
                  </a:lnTo>
                  <a:lnTo>
                    <a:pt x="154" y="669"/>
                  </a:lnTo>
                  <a:lnTo>
                    <a:pt x="141" y="651"/>
                  </a:lnTo>
                  <a:lnTo>
                    <a:pt x="128" y="632"/>
                  </a:lnTo>
                  <a:lnTo>
                    <a:pt x="115" y="613"/>
                  </a:lnTo>
                  <a:lnTo>
                    <a:pt x="103" y="592"/>
                  </a:lnTo>
                  <a:lnTo>
                    <a:pt x="92" y="572"/>
                  </a:lnTo>
                  <a:lnTo>
                    <a:pt x="81" y="552"/>
                  </a:lnTo>
                  <a:lnTo>
                    <a:pt x="71" y="530"/>
                  </a:lnTo>
                  <a:lnTo>
                    <a:pt x="62" y="508"/>
                  </a:lnTo>
                  <a:lnTo>
                    <a:pt x="54" y="485"/>
                  </a:lnTo>
                  <a:lnTo>
                    <a:pt x="47" y="463"/>
                  </a:lnTo>
                  <a:lnTo>
                    <a:pt x="40" y="439"/>
                  </a:lnTo>
                  <a:lnTo>
                    <a:pt x="36" y="416"/>
                  </a:lnTo>
                  <a:lnTo>
                    <a:pt x="33" y="392"/>
                  </a:lnTo>
                  <a:lnTo>
                    <a:pt x="30" y="369"/>
                  </a:lnTo>
                  <a:lnTo>
                    <a:pt x="30" y="344"/>
                  </a:lnTo>
                  <a:lnTo>
                    <a:pt x="30" y="328"/>
                  </a:lnTo>
                  <a:lnTo>
                    <a:pt x="31" y="312"/>
                  </a:lnTo>
                  <a:lnTo>
                    <a:pt x="33" y="297"/>
                  </a:lnTo>
                  <a:lnTo>
                    <a:pt x="36" y="281"/>
                  </a:lnTo>
                  <a:lnTo>
                    <a:pt x="39" y="266"/>
                  </a:lnTo>
                  <a:lnTo>
                    <a:pt x="43" y="251"/>
                  </a:lnTo>
                  <a:lnTo>
                    <a:pt x="49" y="237"/>
                  </a:lnTo>
                  <a:lnTo>
                    <a:pt x="54" y="223"/>
                  </a:lnTo>
                  <a:lnTo>
                    <a:pt x="61" y="209"/>
                  </a:lnTo>
                  <a:lnTo>
                    <a:pt x="68" y="195"/>
                  </a:lnTo>
                  <a:lnTo>
                    <a:pt x="76" y="183"/>
                  </a:lnTo>
                  <a:lnTo>
                    <a:pt x="84" y="170"/>
                  </a:lnTo>
                  <a:lnTo>
                    <a:pt x="93" y="157"/>
                  </a:lnTo>
                  <a:lnTo>
                    <a:pt x="102" y="145"/>
                  </a:lnTo>
                  <a:lnTo>
                    <a:pt x="112" y="133"/>
                  </a:lnTo>
                  <a:lnTo>
                    <a:pt x="123" y="123"/>
                  </a:lnTo>
                  <a:lnTo>
                    <a:pt x="133" y="112"/>
                  </a:lnTo>
                  <a:lnTo>
                    <a:pt x="145" y="102"/>
                  </a:lnTo>
                  <a:lnTo>
                    <a:pt x="157" y="93"/>
                  </a:lnTo>
                  <a:lnTo>
                    <a:pt x="170" y="84"/>
                  </a:lnTo>
                  <a:lnTo>
                    <a:pt x="183" y="76"/>
                  </a:lnTo>
                  <a:lnTo>
                    <a:pt x="195" y="68"/>
                  </a:lnTo>
                  <a:lnTo>
                    <a:pt x="209" y="61"/>
                  </a:lnTo>
                  <a:lnTo>
                    <a:pt x="223" y="54"/>
                  </a:lnTo>
                  <a:lnTo>
                    <a:pt x="237" y="49"/>
                  </a:lnTo>
                  <a:lnTo>
                    <a:pt x="252" y="43"/>
                  </a:lnTo>
                  <a:lnTo>
                    <a:pt x="266" y="39"/>
                  </a:lnTo>
                  <a:lnTo>
                    <a:pt x="281" y="36"/>
                  </a:lnTo>
                  <a:lnTo>
                    <a:pt x="297" y="33"/>
                  </a:lnTo>
                  <a:lnTo>
                    <a:pt x="312" y="31"/>
                  </a:lnTo>
                  <a:lnTo>
                    <a:pt x="328" y="30"/>
                  </a:lnTo>
                  <a:lnTo>
                    <a:pt x="344" y="30"/>
                  </a:lnTo>
                  <a:lnTo>
                    <a:pt x="360" y="30"/>
                  </a:lnTo>
                  <a:lnTo>
                    <a:pt x="375" y="31"/>
                  </a:lnTo>
                  <a:lnTo>
                    <a:pt x="391" y="33"/>
                  </a:lnTo>
                  <a:lnTo>
                    <a:pt x="406" y="36"/>
                  </a:lnTo>
                  <a:lnTo>
                    <a:pt x="421" y="39"/>
                  </a:lnTo>
                  <a:lnTo>
                    <a:pt x="436" y="43"/>
                  </a:lnTo>
                  <a:lnTo>
                    <a:pt x="451" y="49"/>
                  </a:lnTo>
                  <a:lnTo>
                    <a:pt x="465" y="54"/>
                  </a:lnTo>
                  <a:lnTo>
                    <a:pt x="479" y="61"/>
                  </a:lnTo>
                  <a:lnTo>
                    <a:pt x="493" y="68"/>
                  </a:lnTo>
                  <a:lnTo>
                    <a:pt x="506" y="76"/>
                  </a:lnTo>
                  <a:lnTo>
                    <a:pt x="519" y="84"/>
                  </a:lnTo>
                  <a:lnTo>
                    <a:pt x="530" y="93"/>
                  </a:lnTo>
                  <a:lnTo>
                    <a:pt x="543" y="102"/>
                  </a:lnTo>
                  <a:lnTo>
                    <a:pt x="554" y="112"/>
                  </a:lnTo>
                  <a:lnTo>
                    <a:pt x="566" y="123"/>
                  </a:lnTo>
                  <a:lnTo>
                    <a:pt x="575" y="133"/>
                  </a:lnTo>
                  <a:lnTo>
                    <a:pt x="586" y="145"/>
                  </a:lnTo>
                  <a:lnTo>
                    <a:pt x="596" y="157"/>
                  </a:lnTo>
                  <a:lnTo>
                    <a:pt x="604" y="170"/>
                  </a:lnTo>
                  <a:lnTo>
                    <a:pt x="613" y="183"/>
                  </a:lnTo>
                  <a:lnTo>
                    <a:pt x="620" y="195"/>
                  </a:lnTo>
                  <a:lnTo>
                    <a:pt x="627" y="209"/>
                  </a:lnTo>
                  <a:lnTo>
                    <a:pt x="633" y="223"/>
                  </a:lnTo>
                  <a:lnTo>
                    <a:pt x="639" y="237"/>
                  </a:lnTo>
                  <a:lnTo>
                    <a:pt x="644" y="251"/>
                  </a:lnTo>
                  <a:lnTo>
                    <a:pt x="648" y="266"/>
                  </a:lnTo>
                  <a:lnTo>
                    <a:pt x="652" y="281"/>
                  </a:lnTo>
                  <a:lnTo>
                    <a:pt x="654" y="297"/>
                  </a:lnTo>
                  <a:lnTo>
                    <a:pt x="657" y="312"/>
                  </a:lnTo>
                  <a:lnTo>
                    <a:pt x="658" y="328"/>
                  </a:lnTo>
                  <a:lnTo>
                    <a:pt x="659" y="344"/>
                  </a:lnTo>
                  <a:lnTo>
                    <a:pt x="658" y="369"/>
                  </a:lnTo>
                  <a:lnTo>
                    <a:pt x="656" y="392"/>
                  </a:lnTo>
                  <a:lnTo>
                    <a:pt x="652" y="416"/>
                  </a:lnTo>
                  <a:lnTo>
                    <a:pt x="647" y="439"/>
                  </a:lnTo>
                  <a:lnTo>
                    <a:pt x="642" y="463"/>
                  </a:lnTo>
                  <a:lnTo>
                    <a:pt x="634" y="485"/>
                  </a:lnTo>
                  <a:lnTo>
                    <a:pt x="626" y="508"/>
                  </a:lnTo>
                  <a:lnTo>
                    <a:pt x="617" y="529"/>
                  </a:lnTo>
                  <a:lnTo>
                    <a:pt x="606" y="552"/>
                  </a:lnTo>
                  <a:lnTo>
                    <a:pt x="596" y="572"/>
                  </a:lnTo>
                  <a:lnTo>
                    <a:pt x="585" y="592"/>
                  </a:lnTo>
                  <a:lnTo>
                    <a:pt x="573" y="613"/>
                  </a:lnTo>
                  <a:lnTo>
                    <a:pt x="560" y="632"/>
                  </a:lnTo>
                  <a:lnTo>
                    <a:pt x="547" y="651"/>
                  </a:lnTo>
                  <a:lnTo>
                    <a:pt x="535" y="669"/>
                  </a:lnTo>
                  <a:lnTo>
                    <a:pt x="521" y="686"/>
                  </a:lnTo>
                  <a:lnTo>
                    <a:pt x="494" y="719"/>
                  </a:lnTo>
                  <a:lnTo>
                    <a:pt x="466" y="750"/>
                  </a:lnTo>
                  <a:lnTo>
                    <a:pt x="439" y="778"/>
                  </a:lnTo>
                  <a:lnTo>
                    <a:pt x="415" y="803"/>
                  </a:lnTo>
                  <a:lnTo>
                    <a:pt x="372" y="840"/>
                  </a:lnTo>
                  <a:lnTo>
                    <a:pt x="344" y="864"/>
                  </a:lnTo>
                  <a:lnTo>
                    <a:pt x="344" y="864"/>
                  </a:lnTo>
                  <a:close/>
                  <a:moveTo>
                    <a:pt x="344" y="0"/>
                  </a:moveTo>
                  <a:lnTo>
                    <a:pt x="327" y="0"/>
                  </a:lnTo>
                  <a:lnTo>
                    <a:pt x="309" y="1"/>
                  </a:lnTo>
                  <a:lnTo>
                    <a:pt x="293" y="4"/>
                  </a:lnTo>
                  <a:lnTo>
                    <a:pt x="276" y="6"/>
                  </a:lnTo>
                  <a:lnTo>
                    <a:pt x="259" y="10"/>
                  </a:lnTo>
                  <a:lnTo>
                    <a:pt x="242" y="15"/>
                  </a:lnTo>
                  <a:lnTo>
                    <a:pt x="226" y="21"/>
                  </a:lnTo>
                  <a:lnTo>
                    <a:pt x="211" y="26"/>
                  </a:lnTo>
                  <a:lnTo>
                    <a:pt x="196" y="34"/>
                  </a:lnTo>
                  <a:lnTo>
                    <a:pt x="181" y="41"/>
                  </a:lnTo>
                  <a:lnTo>
                    <a:pt x="167" y="50"/>
                  </a:lnTo>
                  <a:lnTo>
                    <a:pt x="153" y="60"/>
                  </a:lnTo>
                  <a:lnTo>
                    <a:pt x="140" y="69"/>
                  </a:lnTo>
                  <a:lnTo>
                    <a:pt x="126" y="79"/>
                  </a:lnTo>
                  <a:lnTo>
                    <a:pt x="114" y="91"/>
                  </a:lnTo>
                  <a:lnTo>
                    <a:pt x="101" y="101"/>
                  </a:lnTo>
                  <a:lnTo>
                    <a:pt x="91" y="114"/>
                  </a:lnTo>
                  <a:lnTo>
                    <a:pt x="79" y="126"/>
                  </a:lnTo>
                  <a:lnTo>
                    <a:pt x="69" y="140"/>
                  </a:lnTo>
                  <a:lnTo>
                    <a:pt x="60" y="153"/>
                  </a:lnTo>
                  <a:lnTo>
                    <a:pt x="50" y="166"/>
                  </a:lnTo>
                  <a:lnTo>
                    <a:pt x="41" y="181"/>
                  </a:lnTo>
                  <a:lnTo>
                    <a:pt x="34" y="196"/>
                  </a:lnTo>
                  <a:lnTo>
                    <a:pt x="27" y="211"/>
                  </a:lnTo>
                  <a:lnTo>
                    <a:pt x="21" y="226"/>
                  </a:lnTo>
                  <a:lnTo>
                    <a:pt x="16" y="242"/>
                  </a:lnTo>
                  <a:lnTo>
                    <a:pt x="10" y="258"/>
                  </a:lnTo>
                  <a:lnTo>
                    <a:pt x="6" y="276"/>
                  </a:lnTo>
                  <a:lnTo>
                    <a:pt x="4" y="292"/>
                  </a:lnTo>
                  <a:lnTo>
                    <a:pt x="1" y="309"/>
                  </a:lnTo>
                  <a:lnTo>
                    <a:pt x="0" y="327"/>
                  </a:lnTo>
                  <a:lnTo>
                    <a:pt x="0" y="344"/>
                  </a:lnTo>
                  <a:lnTo>
                    <a:pt x="0" y="368"/>
                  </a:lnTo>
                  <a:lnTo>
                    <a:pt x="2" y="391"/>
                  </a:lnTo>
                  <a:lnTo>
                    <a:pt x="5" y="416"/>
                  </a:lnTo>
                  <a:lnTo>
                    <a:pt x="10" y="440"/>
                  </a:lnTo>
                  <a:lnTo>
                    <a:pt x="17" y="464"/>
                  </a:lnTo>
                  <a:lnTo>
                    <a:pt x="23" y="488"/>
                  </a:lnTo>
                  <a:lnTo>
                    <a:pt x="33" y="513"/>
                  </a:lnTo>
                  <a:lnTo>
                    <a:pt x="42" y="538"/>
                  </a:lnTo>
                  <a:lnTo>
                    <a:pt x="53" y="563"/>
                  </a:lnTo>
                  <a:lnTo>
                    <a:pt x="66" y="588"/>
                  </a:lnTo>
                  <a:lnTo>
                    <a:pt x="80" y="613"/>
                  </a:lnTo>
                  <a:lnTo>
                    <a:pt x="95" y="637"/>
                  </a:lnTo>
                  <a:lnTo>
                    <a:pt x="111" y="662"/>
                  </a:lnTo>
                  <a:lnTo>
                    <a:pt x="129" y="686"/>
                  </a:lnTo>
                  <a:lnTo>
                    <a:pt x="147" y="711"/>
                  </a:lnTo>
                  <a:lnTo>
                    <a:pt x="168" y="736"/>
                  </a:lnTo>
                  <a:lnTo>
                    <a:pt x="199" y="770"/>
                  </a:lnTo>
                  <a:lnTo>
                    <a:pt x="229" y="801"/>
                  </a:lnTo>
                  <a:lnTo>
                    <a:pt x="256" y="829"/>
                  </a:lnTo>
                  <a:lnTo>
                    <a:pt x="281" y="851"/>
                  </a:lnTo>
                  <a:lnTo>
                    <a:pt x="302" y="869"/>
                  </a:lnTo>
                  <a:lnTo>
                    <a:pt x="320" y="883"/>
                  </a:lnTo>
                  <a:lnTo>
                    <a:pt x="330" y="892"/>
                  </a:lnTo>
                  <a:lnTo>
                    <a:pt x="336" y="895"/>
                  </a:lnTo>
                  <a:lnTo>
                    <a:pt x="340" y="897"/>
                  </a:lnTo>
                  <a:lnTo>
                    <a:pt x="344" y="898"/>
                  </a:lnTo>
                  <a:lnTo>
                    <a:pt x="348" y="897"/>
                  </a:lnTo>
                  <a:lnTo>
                    <a:pt x="353" y="895"/>
                  </a:lnTo>
                  <a:lnTo>
                    <a:pt x="358" y="892"/>
                  </a:lnTo>
                  <a:lnTo>
                    <a:pt x="369" y="883"/>
                  </a:lnTo>
                  <a:lnTo>
                    <a:pt x="386" y="869"/>
                  </a:lnTo>
                  <a:lnTo>
                    <a:pt x="407" y="851"/>
                  </a:lnTo>
                  <a:lnTo>
                    <a:pt x="432" y="829"/>
                  </a:lnTo>
                  <a:lnTo>
                    <a:pt x="460" y="801"/>
                  </a:lnTo>
                  <a:lnTo>
                    <a:pt x="490" y="770"/>
                  </a:lnTo>
                  <a:lnTo>
                    <a:pt x="520" y="736"/>
                  </a:lnTo>
                  <a:lnTo>
                    <a:pt x="540" y="711"/>
                  </a:lnTo>
                  <a:lnTo>
                    <a:pt x="559" y="686"/>
                  </a:lnTo>
                  <a:lnTo>
                    <a:pt x="576" y="662"/>
                  </a:lnTo>
                  <a:lnTo>
                    <a:pt x="592" y="637"/>
                  </a:lnTo>
                  <a:lnTo>
                    <a:pt x="608" y="613"/>
                  </a:lnTo>
                  <a:lnTo>
                    <a:pt x="621" y="588"/>
                  </a:lnTo>
                  <a:lnTo>
                    <a:pt x="634" y="562"/>
                  </a:lnTo>
                  <a:lnTo>
                    <a:pt x="646" y="538"/>
                  </a:lnTo>
                  <a:lnTo>
                    <a:pt x="656" y="513"/>
                  </a:lnTo>
                  <a:lnTo>
                    <a:pt x="664" y="488"/>
                  </a:lnTo>
                  <a:lnTo>
                    <a:pt x="672" y="464"/>
                  </a:lnTo>
                  <a:lnTo>
                    <a:pt x="678" y="440"/>
                  </a:lnTo>
                  <a:lnTo>
                    <a:pt x="682" y="416"/>
                  </a:lnTo>
                  <a:lnTo>
                    <a:pt x="685" y="391"/>
                  </a:lnTo>
                  <a:lnTo>
                    <a:pt x="688" y="368"/>
                  </a:lnTo>
                  <a:lnTo>
                    <a:pt x="689" y="344"/>
                  </a:lnTo>
                  <a:lnTo>
                    <a:pt x="688" y="327"/>
                  </a:lnTo>
                  <a:lnTo>
                    <a:pt x="687" y="309"/>
                  </a:lnTo>
                  <a:lnTo>
                    <a:pt x="684" y="292"/>
                  </a:lnTo>
                  <a:lnTo>
                    <a:pt x="681" y="276"/>
                  </a:lnTo>
                  <a:lnTo>
                    <a:pt x="678" y="258"/>
                  </a:lnTo>
                  <a:lnTo>
                    <a:pt x="673" y="242"/>
                  </a:lnTo>
                  <a:lnTo>
                    <a:pt x="667" y="226"/>
                  </a:lnTo>
                  <a:lnTo>
                    <a:pt x="661" y="211"/>
                  </a:lnTo>
                  <a:lnTo>
                    <a:pt x="654" y="196"/>
                  </a:lnTo>
                  <a:lnTo>
                    <a:pt x="646" y="181"/>
                  </a:lnTo>
                  <a:lnTo>
                    <a:pt x="637" y="166"/>
                  </a:lnTo>
                  <a:lnTo>
                    <a:pt x="629" y="153"/>
                  </a:lnTo>
                  <a:lnTo>
                    <a:pt x="619" y="139"/>
                  </a:lnTo>
                  <a:lnTo>
                    <a:pt x="608" y="126"/>
                  </a:lnTo>
                  <a:lnTo>
                    <a:pt x="598" y="114"/>
                  </a:lnTo>
                  <a:lnTo>
                    <a:pt x="586" y="101"/>
                  </a:lnTo>
                  <a:lnTo>
                    <a:pt x="574" y="91"/>
                  </a:lnTo>
                  <a:lnTo>
                    <a:pt x="561" y="79"/>
                  </a:lnTo>
                  <a:lnTo>
                    <a:pt x="549" y="69"/>
                  </a:lnTo>
                  <a:lnTo>
                    <a:pt x="535" y="60"/>
                  </a:lnTo>
                  <a:lnTo>
                    <a:pt x="521" y="50"/>
                  </a:lnTo>
                  <a:lnTo>
                    <a:pt x="507" y="41"/>
                  </a:lnTo>
                  <a:lnTo>
                    <a:pt x="492" y="34"/>
                  </a:lnTo>
                  <a:lnTo>
                    <a:pt x="477" y="27"/>
                  </a:lnTo>
                  <a:lnTo>
                    <a:pt x="461" y="21"/>
                  </a:lnTo>
                  <a:lnTo>
                    <a:pt x="445" y="15"/>
                  </a:lnTo>
                  <a:lnTo>
                    <a:pt x="429" y="10"/>
                  </a:lnTo>
                  <a:lnTo>
                    <a:pt x="413" y="6"/>
                  </a:lnTo>
                  <a:lnTo>
                    <a:pt x="395" y="4"/>
                  </a:lnTo>
                  <a:lnTo>
                    <a:pt x="378" y="1"/>
                  </a:lnTo>
                  <a:lnTo>
                    <a:pt x="361" y="0"/>
                  </a:lnTo>
                  <a:lnTo>
                    <a:pt x="3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67">
              <a:extLst>
                <a:ext uri="{FF2B5EF4-FFF2-40B4-BE49-F238E27FC236}">
                  <a16:creationId xmlns:a16="http://schemas.microsoft.com/office/drawing/2014/main" id="{C01D3987-1617-4B4D-9055-7F05F8419983}"/>
                </a:ext>
              </a:extLst>
            </p:cNvPr>
            <p:cNvSpPr>
              <a:spLocks noEditPoints="1"/>
            </p:cNvSpPr>
            <p:nvPr/>
          </p:nvSpPr>
          <p:spPr bwMode="auto">
            <a:xfrm>
              <a:off x="406400" y="1970088"/>
              <a:ext cx="133350" cy="133350"/>
            </a:xfrm>
            <a:custGeom>
              <a:avLst/>
              <a:gdLst>
                <a:gd name="T0" fmla="*/ 174 w 420"/>
                <a:gd name="T1" fmla="*/ 385 h 420"/>
                <a:gd name="T2" fmla="*/ 125 w 420"/>
                <a:gd name="T3" fmla="*/ 367 h 420"/>
                <a:gd name="T4" fmla="*/ 83 w 420"/>
                <a:gd name="T5" fmla="*/ 337 h 420"/>
                <a:gd name="T6" fmla="*/ 52 w 420"/>
                <a:gd name="T7" fmla="*/ 296 h 420"/>
                <a:gd name="T8" fmla="*/ 34 w 420"/>
                <a:gd name="T9" fmla="*/ 246 h 420"/>
                <a:gd name="T10" fmla="*/ 31 w 420"/>
                <a:gd name="T11" fmla="*/ 192 h 420"/>
                <a:gd name="T12" fmla="*/ 44 w 420"/>
                <a:gd name="T13" fmla="*/ 139 h 420"/>
                <a:gd name="T14" fmla="*/ 71 w 420"/>
                <a:gd name="T15" fmla="*/ 96 h 420"/>
                <a:gd name="T16" fmla="*/ 110 w 420"/>
                <a:gd name="T17" fmla="*/ 60 h 420"/>
                <a:gd name="T18" fmla="*/ 157 w 420"/>
                <a:gd name="T19" fmla="*/ 38 h 420"/>
                <a:gd name="T20" fmla="*/ 210 w 420"/>
                <a:gd name="T21" fmla="*/ 30 h 420"/>
                <a:gd name="T22" fmla="*/ 264 w 420"/>
                <a:gd name="T23" fmla="*/ 38 h 420"/>
                <a:gd name="T24" fmla="*/ 311 w 420"/>
                <a:gd name="T25" fmla="*/ 60 h 420"/>
                <a:gd name="T26" fmla="*/ 348 w 420"/>
                <a:gd name="T27" fmla="*/ 96 h 420"/>
                <a:gd name="T28" fmla="*/ 376 w 420"/>
                <a:gd name="T29" fmla="*/ 139 h 420"/>
                <a:gd name="T30" fmla="*/ 389 w 420"/>
                <a:gd name="T31" fmla="*/ 192 h 420"/>
                <a:gd name="T32" fmla="*/ 386 w 420"/>
                <a:gd name="T33" fmla="*/ 246 h 420"/>
                <a:gd name="T34" fmla="*/ 368 w 420"/>
                <a:gd name="T35" fmla="*/ 296 h 420"/>
                <a:gd name="T36" fmla="*/ 337 w 420"/>
                <a:gd name="T37" fmla="*/ 336 h 420"/>
                <a:gd name="T38" fmla="*/ 296 w 420"/>
                <a:gd name="T39" fmla="*/ 367 h 420"/>
                <a:gd name="T40" fmla="*/ 247 w 420"/>
                <a:gd name="T41" fmla="*/ 385 h 420"/>
                <a:gd name="T42" fmla="*/ 210 w 420"/>
                <a:gd name="T43" fmla="*/ 0 h 420"/>
                <a:gd name="T44" fmla="*/ 178 w 420"/>
                <a:gd name="T45" fmla="*/ 3 h 420"/>
                <a:gd name="T46" fmla="*/ 129 w 420"/>
                <a:gd name="T47" fmla="*/ 16 h 420"/>
                <a:gd name="T48" fmla="*/ 76 w 420"/>
                <a:gd name="T49" fmla="*/ 49 h 420"/>
                <a:gd name="T50" fmla="*/ 36 w 420"/>
                <a:gd name="T51" fmla="*/ 92 h 420"/>
                <a:gd name="T52" fmla="*/ 10 w 420"/>
                <a:gd name="T53" fmla="*/ 148 h 420"/>
                <a:gd name="T54" fmla="*/ 1 w 420"/>
                <a:gd name="T55" fmla="*/ 189 h 420"/>
                <a:gd name="T56" fmla="*/ 0 w 420"/>
                <a:gd name="T57" fmla="*/ 221 h 420"/>
                <a:gd name="T58" fmla="*/ 5 w 420"/>
                <a:gd name="T59" fmla="*/ 252 h 420"/>
                <a:gd name="T60" fmla="*/ 25 w 420"/>
                <a:gd name="T61" fmla="*/ 310 h 420"/>
                <a:gd name="T62" fmla="*/ 61 w 420"/>
                <a:gd name="T63" fmla="*/ 358 h 420"/>
                <a:gd name="T64" fmla="*/ 110 w 420"/>
                <a:gd name="T65" fmla="*/ 394 h 420"/>
                <a:gd name="T66" fmla="*/ 167 w 420"/>
                <a:gd name="T67" fmla="*/ 415 h 420"/>
                <a:gd name="T68" fmla="*/ 199 w 420"/>
                <a:gd name="T69" fmla="*/ 420 h 420"/>
                <a:gd name="T70" fmla="*/ 232 w 420"/>
                <a:gd name="T71" fmla="*/ 419 h 420"/>
                <a:gd name="T72" fmla="*/ 272 w 420"/>
                <a:gd name="T73" fmla="*/ 410 h 420"/>
                <a:gd name="T74" fmla="*/ 327 w 420"/>
                <a:gd name="T75" fmla="*/ 383 h 420"/>
                <a:gd name="T76" fmla="*/ 372 w 420"/>
                <a:gd name="T77" fmla="*/ 343 h 420"/>
                <a:gd name="T78" fmla="*/ 403 w 420"/>
                <a:gd name="T79" fmla="*/ 291 h 420"/>
                <a:gd name="T80" fmla="*/ 418 w 420"/>
                <a:gd name="T81" fmla="*/ 242 h 420"/>
                <a:gd name="T82" fmla="*/ 420 w 420"/>
                <a:gd name="T83" fmla="*/ 210 h 420"/>
                <a:gd name="T84" fmla="*/ 418 w 420"/>
                <a:gd name="T85" fmla="*/ 178 h 420"/>
                <a:gd name="T86" fmla="*/ 403 w 420"/>
                <a:gd name="T87" fmla="*/ 129 h 420"/>
                <a:gd name="T88" fmla="*/ 372 w 420"/>
                <a:gd name="T89" fmla="*/ 76 h 420"/>
                <a:gd name="T90" fmla="*/ 327 w 420"/>
                <a:gd name="T91" fmla="*/ 36 h 420"/>
                <a:gd name="T92" fmla="*/ 272 w 420"/>
                <a:gd name="T93" fmla="*/ 10 h 420"/>
                <a:gd name="T94" fmla="*/ 232 w 420"/>
                <a:gd name="T95" fmla="*/ 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0">
                  <a:moveTo>
                    <a:pt x="210" y="390"/>
                  </a:moveTo>
                  <a:lnTo>
                    <a:pt x="192" y="389"/>
                  </a:lnTo>
                  <a:lnTo>
                    <a:pt x="174" y="385"/>
                  </a:lnTo>
                  <a:lnTo>
                    <a:pt x="157" y="381"/>
                  </a:lnTo>
                  <a:lnTo>
                    <a:pt x="140" y="376"/>
                  </a:lnTo>
                  <a:lnTo>
                    <a:pt x="125" y="367"/>
                  </a:lnTo>
                  <a:lnTo>
                    <a:pt x="110" y="359"/>
                  </a:lnTo>
                  <a:lnTo>
                    <a:pt x="96" y="348"/>
                  </a:lnTo>
                  <a:lnTo>
                    <a:pt x="83" y="337"/>
                  </a:lnTo>
                  <a:lnTo>
                    <a:pt x="71" y="324"/>
                  </a:lnTo>
                  <a:lnTo>
                    <a:pt x="61" y="311"/>
                  </a:lnTo>
                  <a:lnTo>
                    <a:pt x="52" y="296"/>
                  </a:lnTo>
                  <a:lnTo>
                    <a:pt x="44" y="280"/>
                  </a:lnTo>
                  <a:lnTo>
                    <a:pt x="38" y="264"/>
                  </a:lnTo>
                  <a:lnTo>
                    <a:pt x="34" y="246"/>
                  </a:lnTo>
                  <a:lnTo>
                    <a:pt x="31" y="228"/>
                  </a:lnTo>
                  <a:lnTo>
                    <a:pt x="30" y="210"/>
                  </a:lnTo>
                  <a:lnTo>
                    <a:pt x="31" y="192"/>
                  </a:lnTo>
                  <a:lnTo>
                    <a:pt x="34" y="174"/>
                  </a:lnTo>
                  <a:lnTo>
                    <a:pt x="38" y="157"/>
                  </a:lnTo>
                  <a:lnTo>
                    <a:pt x="44" y="139"/>
                  </a:lnTo>
                  <a:lnTo>
                    <a:pt x="52" y="124"/>
                  </a:lnTo>
                  <a:lnTo>
                    <a:pt x="61" y="110"/>
                  </a:lnTo>
                  <a:lnTo>
                    <a:pt x="71" y="96"/>
                  </a:lnTo>
                  <a:lnTo>
                    <a:pt x="83" y="83"/>
                  </a:lnTo>
                  <a:lnTo>
                    <a:pt x="96" y="71"/>
                  </a:lnTo>
                  <a:lnTo>
                    <a:pt x="110" y="60"/>
                  </a:lnTo>
                  <a:lnTo>
                    <a:pt x="125" y="52"/>
                  </a:lnTo>
                  <a:lnTo>
                    <a:pt x="140" y="44"/>
                  </a:lnTo>
                  <a:lnTo>
                    <a:pt x="157" y="38"/>
                  </a:lnTo>
                  <a:lnTo>
                    <a:pt x="174" y="34"/>
                  </a:lnTo>
                  <a:lnTo>
                    <a:pt x="192" y="31"/>
                  </a:lnTo>
                  <a:lnTo>
                    <a:pt x="210" y="30"/>
                  </a:lnTo>
                  <a:lnTo>
                    <a:pt x="228" y="31"/>
                  </a:lnTo>
                  <a:lnTo>
                    <a:pt x="247" y="34"/>
                  </a:lnTo>
                  <a:lnTo>
                    <a:pt x="264" y="38"/>
                  </a:lnTo>
                  <a:lnTo>
                    <a:pt x="280" y="44"/>
                  </a:lnTo>
                  <a:lnTo>
                    <a:pt x="296" y="52"/>
                  </a:lnTo>
                  <a:lnTo>
                    <a:pt x="311" y="60"/>
                  </a:lnTo>
                  <a:lnTo>
                    <a:pt x="325" y="71"/>
                  </a:lnTo>
                  <a:lnTo>
                    <a:pt x="337" y="83"/>
                  </a:lnTo>
                  <a:lnTo>
                    <a:pt x="348" y="96"/>
                  </a:lnTo>
                  <a:lnTo>
                    <a:pt x="359" y="110"/>
                  </a:lnTo>
                  <a:lnTo>
                    <a:pt x="368" y="124"/>
                  </a:lnTo>
                  <a:lnTo>
                    <a:pt x="376" y="139"/>
                  </a:lnTo>
                  <a:lnTo>
                    <a:pt x="381" y="157"/>
                  </a:lnTo>
                  <a:lnTo>
                    <a:pt x="386" y="174"/>
                  </a:lnTo>
                  <a:lnTo>
                    <a:pt x="389" y="192"/>
                  </a:lnTo>
                  <a:lnTo>
                    <a:pt x="390" y="210"/>
                  </a:lnTo>
                  <a:lnTo>
                    <a:pt x="389" y="228"/>
                  </a:lnTo>
                  <a:lnTo>
                    <a:pt x="386" y="246"/>
                  </a:lnTo>
                  <a:lnTo>
                    <a:pt x="381" y="264"/>
                  </a:lnTo>
                  <a:lnTo>
                    <a:pt x="376" y="280"/>
                  </a:lnTo>
                  <a:lnTo>
                    <a:pt x="368" y="296"/>
                  </a:lnTo>
                  <a:lnTo>
                    <a:pt x="359" y="311"/>
                  </a:lnTo>
                  <a:lnTo>
                    <a:pt x="348" y="324"/>
                  </a:lnTo>
                  <a:lnTo>
                    <a:pt x="337" y="336"/>
                  </a:lnTo>
                  <a:lnTo>
                    <a:pt x="325" y="348"/>
                  </a:lnTo>
                  <a:lnTo>
                    <a:pt x="311" y="359"/>
                  </a:lnTo>
                  <a:lnTo>
                    <a:pt x="296" y="367"/>
                  </a:lnTo>
                  <a:lnTo>
                    <a:pt x="280" y="376"/>
                  </a:lnTo>
                  <a:lnTo>
                    <a:pt x="264" y="381"/>
                  </a:lnTo>
                  <a:lnTo>
                    <a:pt x="247" y="385"/>
                  </a:lnTo>
                  <a:lnTo>
                    <a:pt x="228" y="389"/>
                  </a:lnTo>
                  <a:lnTo>
                    <a:pt x="210" y="390"/>
                  </a:lnTo>
                  <a:close/>
                  <a:moveTo>
                    <a:pt x="210" y="0"/>
                  </a:moveTo>
                  <a:lnTo>
                    <a:pt x="199" y="0"/>
                  </a:lnTo>
                  <a:lnTo>
                    <a:pt x="189" y="1"/>
                  </a:lnTo>
                  <a:lnTo>
                    <a:pt x="178" y="3"/>
                  </a:lnTo>
                  <a:lnTo>
                    <a:pt x="167" y="5"/>
                  </a:lnTo>
                  <a:lnTo>
                    <a:pt x="148" y="10"/>
                  </a:lnTo>
                  <a:lnTo>
                    <a:pt x="129" y="16"/>
                  </a:lnTo>
                  <a:lnTo>
                    <a:pt x="110" y="25"/>
                  </a:lnTo>
                  <a:lnTo>
                    <a:pt x="92" y="36"/>
                  </a:lnTo>
                  <a:lnTo>
                    <a:pt x="76" y="49"/>
                  </a:lnTo>
                  <a:lnTo>
                    <a:pt x="61" y="61"/>
                  </a:lnTo>
                  <a:lnTo>
                    <a:pt x="49" y="76"/>
                  </a:lnTo>
                  <a:lnTo>
                    <a:pt x="36" y="92"/>
                  </a:lnTo>
                  <a:lnTo>
                    <a:pt x="25" y="110"/>
                  </a:lnTo>
                  <a:lnTo>
                    <a:pt x="16" y="129"/>
                  </a:lnTo>
                  <a:lnTo>
                    <a:pt x="10" y="148"/>
                  </a:lnTo>
                  <a:lnTo>
                    <a:pt x="5" y="167"/>
                  </a:lnTo>
                  <a:lnTo>
                    <a:pt x="3" y="178"/>
                  </a:lnTo>
                  <a:lnTo>
                    <a:pt x="1" y="189"/>
                  </a:lnTo>
                  <a:lnTo>
                    <a:pt x="0" y="199"/>
                  </a:lnTo>
                  <a:lnTo>
                    <a:pt x="0" y="210"/>
                  </a:lnTo>
                  <a:lnTo>
                    <a:pt x="0" y="221"/>
                  </a:lnTo>
                  <a:lnTo>
                    <a:pt x="1" y="231"/>
                  </a:lnTo>
                  <a:lnTo>
                    <a:pt x="3" y="242"/>
                  </a:lnTo>
                  <a:lnTo>
                    <a:pt x="5" y="252"/>
                  </a:lnTo>
                  <a:lnTo>
                    <a:pt x="10" y="272"/>
                  </a:lnTo>
                  <a:lnTo>
                    <a:pt x="16" y="291"/>
                  </a:lnTo>
                  <a:lnTo>
                    <a:pt x="25" y="310"/>
                  </a:lnTo>
                  <a:lnTo>
                    <a:pt x="36" y="327"/>
                  </a:lnTo>
                  <a:lnTo>
                    <a:pt x="49" y="343"/>
                  </a:lnTo>
                  <a:lnTo>
                    <a:pt x="61" y="358"/>
                  </a:lnTo>
                  <a:lnTo>
                    <a:pt x="76" y="372"/>
                  </a:lnTo>
                  <a:lnTo>
                    <a:pt x="92" y="383"/>
                  </a:lnTo>
                  <a:lnTo>
                    <a:pt x="110" y="394"/>
                  </a:lnTo>
                  <a:lnTo>
                    <a:pt x="129" y="403"/>
                  </a:lnTo>
                  <a:lnTo>
                    <a:pt x="148" y="410"/>
                  </a:lnTo>
                  <a:lnTo>
                    <a:pt x="167" y="415"/>
                  </a:lnTo>
                  <a:lnTo>
                    <a:pt x="178" y="418"/>
                  </a:lnTo>
                  <a:lnTo>
                    <a:pt x="189" y="419"/>
                  </a:lnTo>
                  <a:lnTo>
                    <a:pt x="199" y="420"/>
                  </a:lnTo>
                  <a:lnTo>
                    <a:pt x="210" y="420"/>
                  </a:lnTo>
                  <a:lnTo>
                    <a:pt x="221" y="420"/>
                  </a:lnTo>
                  <a:lnTo>
                    <a:pt x="232" y="419"/>
                  </a:lnTo>
                  <a:lnTo>
                    <a:pt x="242" y="418"/>
                  </a:lnTo>
                  <a:lnTo>
                    <a:pt x="252" y="415"/>
                  </a:lnTo>
                  <a:lnTo>
                    <a:pt x="272" y="410"/>
                  </a:lnTo>
                  <a:lnTo>
                    <a:pt x="291" y="403"/>
                  </a:lnTo>
                  <a:lnTo>
                    <a:pt x="310" y="394"/>
                  </a:lnTo>
                  <a:lnTo>
                    <a:pt x="327" y="383"/>
                  </a:lnTo>
                  <a:lnTo>
                    <a:pt x="343" y="372"/>
                  </a:lnTo>
                  <a:lnTo>
                    <a:pt x="358" y="358"/>
                  </a:lnTo>
                  <a:lnTo>
                    <a:pt x="372" y="343"/>
                  </a:lnTo>
                  <a:lnTo>
                    <a:pt x="383" y="327"/>
                  </a:lnTo>
                  <a:lnTo>
                    <a:pt x="394" y="310"/>
                  </a:lnTo>
                  <a:lnTo>
                    <a:pt x="403" y="291"/>
                  </a:lnTo>
                  <a:lnTo>
                    <a:pt x="410" y="272"/>
                  </a:lnTo>
                  <a:lnTo>
                    <a:pt x="416" y="252"/>
                  </a:lnTo>
                  <a:lnTo>
                    <a:pt x="418" y="242"/>
                  </a:lnTo>
                  <a:lnTo>
                    <a:pt x="419" y="231"/>
                  </a:lnTo>
                  <a:lnTo>
                    <a:pt x="420" y="221"/>
                  </a:lnTo>
                  <a:lnTo>
                    <a:pt x="420" y="210"/>
                  </a:lnTo>
                  <a:lnTo>
                    <a:pt x="420" y="199"/>
                  </a:lnTo>
                  <a:lnTo>
                    <a:pt x="419" y="189"/>
                  </a:lnTo>
                  <a:lnTo>
                    <a:pt x="418" y="178"/>
                  </a:lnTo>
                  <a:lnTo>
                    <a:pt x="416" y="167"/>
                  </a:lnTo>
                  <a:lnTo>
                    <a:pt x="410" y="148"/>
                  </a:lnTo>
                  <a:lnTo>
                    <a:pt x="403" y="129"/>
                  </a:lnTo>
                  <a:lnTo>
                    <a:pt x="394" y="110"/>
                  </a:lnTo>
                  <a:lnTo>
                    <a:pt x="383" y="92"/>
                  </a:lnTo>
                  <a:lnTo>
                    <a:pt x="372" y="76"/>
                  </a:lnTo>
                  <a:lnTo>
                    <a:pt x="358" y="61"/>
                  </a:lnTo>
                  <a:lnTo>
                    <a:pt x="343" y="49"/>
                  </a:lnTo>
                  <a:lnTo>
                    <a:pt x="327" y="36"/>
                  </a:lnTo>
                  <a:lnTo>
                    <a:pt x="310" y="25"/>
                  </a:lnTo>
                  <a:lnTo>
                    <a:pt x="291" y="16"/>
                  </a:lnTo>
                  <a:lnTo>
                    <a:pt x="272" y="10"/>
                  </a:lnTo>
                  <a:lnTo>
                    <a:pt x="252" y="5"/>
                  </a:lnTo>
                  <a:lnTo>
                    <a:pt x="242" y="3"/>
                  </a:lnTo>
                  <a:lnTo>
                    <a:pt x="232" y="1"/>
                  </a:lnTo>
                  <a:lnTo>
                    <a:pt x="221" y="0"/>
                  </a:lnTo>
                  <a:lnTo>
                    <a:pt x="2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0" name="Freeform 260">
            <a:extLst>
              <a:ext uri="{FF2B5EF4-FFF2-40B4-BE49-F238E27FC236}">
                <a16:creationId xmlns:a16="http://schemas.microsoft.com/office/drawing/2014/main" id="{9DB68BAE-79C7-45AF-B55D-882470A604AC}"/>
              </a:ext>
            </a:extLst>
          </p:cNvPr>
          <p:cNvSpPr>
            <a:spLocks noChangeAspect="1" noEditPoints="1"/>
          </p:cNvSpPr>
          <p:nvPr/>
        </p:nvSpPr>
        <p:spPr bwMode="auto">
          <a:xfrm>
            <a:off x="288134" y="1677519"/>
            <a:ext cx="275708" cy="247097"/>
          </a:xfrm>
          <a:custGeom>
            <a:avLst/>
            <a:gdLst>
              <a:gd name="T0" fmla="*/ 35 w 846"/>
              <a:gd name="T1" fmla="*/ 722 h 758"/>
              <a:gd name="T2" fmla="*/ 35 w 846"/>
              <a:gd name="T3" fmla="*/ 440 h 758"/>
              <a:gd name="T4" fmla="*/ 300 w 846"/>
              <a:gd name="T5" fmla="*/ 440 h 758"/>
              <a:gd name="T6" fmla="*/ 300 w 846"/>
              <a:gd name="T7" fmla="*/ 510 h 758"/>
              <a:gd name="T8" fmla="*/ 546 w 846"/>
              <a:gd name="T9" fmla="*/ 510 h 758"/>
              <a:gd name="T10" fmla="*/ 546 w 846"/>
              <a:gd name="T11" fmla="*/ 440 h 758"/>
              <a:gd name="T12" fmla="*/ 811 w 846"/>
              <a:gd name="T13" fmla="*/ 440 h 758"/>
              <a:gd name="T14" fmla="*/ 811 w 846"/>
              <a:gd name="T15" fmla="*/ 722 h 758"/>
              <a:gd name="T16" fmla="*/ 35 w 846"/>
              <a:gd name="T17" fmla="*/ 722 h 758"/>
              <a:gd name="T18" fmla="*/ 512 w 846"/>
              <a:gd name="T19" fmla="*/ 370 h 758"/>
              <a:gd name="T20" fmla="*/ 512 w 846"/>
              <a:gd name="T21" fmla="*/ 476 h 758"/>
              <a:gd name="T22" fmla="*/ 334 w 846"/>
              <a:gd name="T23" fmla="*/ 476 h 758"/>
              <a:gd name="T24" fmla="*/ 334 w 846"/>
              <a:gd name="T25" fmla="*/ 370 h 758"/>
              <a:gd name="T26" fmla="*/ 512 w 846"/>
              <a:gd name="T27" fmla="*/ 370 h 758"/>
              <a:gd name="T28" fmla="*/ 300 w 846"/>
              <a:gd name="T29" fmla="*/ 123 h 758"/>
              <a:gd name="T30" fmla="*/ 546 w 846"/>
              <a:gd name="T31" fmla="*/ 123 h 758"/>
              <a:gd name="T32" fmla="*/ 811 w 846"/>
              <a:gd name="T33" fmla="*/ 123 h 758"/>
              <a:gd name="T34" fmla="*/ 811 w 846"/>
              <a:gd name="T35" fmla="*/ 405 h 758"/>
              <a:gd name="T36" fmla="*/ 546 w 846"/>
              <a:gd name="T37" fmla="*/ 405 h 758"/>
              <a:gd name="T38" fmla="*/ 546 w 846"/>
              <a:gd name="T39" fmla="*/ 334 h 758"/>
              <a:gd name="T40" fmla="*/ 300 w 846"/>
              <a:gd name="T41" fmla="*/ 334 h 758"/>
              <a:gd name="T42" fmla="*/ 300 w 846"/>
              <a:gd name="T43" fmla="*/ 405 h 758"/>
              <a:gd name="T44" fmla="*/ 35 w 846"/>
              <a:gd name="T45" fmla="*/ 405 h 758"/>
              <a:gd name="T46" fmla="*/ 35 w 846"/>
              <a:gd name="T47" fmla="*/ 123 h 758"/>
              <a:gd name="T48" fmla="*/ 300 w 846"/>
              <a:gd name="T49" fmla="*/ 123 h 758"/>
              <a:gd name="T50" fmla="*/ 334 w 846"/>
              <a:gd name="T51" fmla="*/ 34 h 758"/>
              <a:gd name="T52" fmla="*/ 512 w 846"/>
              <a:gd name="T53" fmla="*/ 34 h 758"/>
              <a:gd name="T54" fmla="*/ 512 w 846"/>
              <a:gd name="T55" fmla="*/ 87 h 758"/>
              <a:gd name="T56" fmla="*/ 334 w 846"/>
              <a:gd name="T57" fmla="*/ 87 h 758"/>
              <a:gd name="T58" fmla="*/ 334 w 846"/>
              <a:gd name="T59" fmla="*/ 34 h 758"/>
              <a:gd name="T60" fmla="*/ 546 w 846"/>
              <a:gd name="T61" fmla="*/ 87 h 758"/>
              <a:gd name="T62" fmla="*/ 546 w 846"/>
              <a:gd name="T63" fmla="*/ 0 h 758"/>
              <a:gd name="T64" fmla="*/ 300 w 846"/>
              <a:gd name="T65" fmla="*/ 0 h 758"/>
              <a:gd name="T66" fmla="*/ 300 w 846"/>
              <a:gd name="T67" fmla="*/ 87 h 758"/>
              <a:gd name="T68" fmla="*/ 0 w 846"/>
              <a:gd name="T69" fmla="*/ 87 h 758"/>
              <a:gd name="T70" fmla="*/ 0 w 846"/>
              <a:gd name="T71" fmla="*/ 758 h 758"/>
              <a:gd name="T72" fmla="*/ 846 w 846"/>
              <a:gd name="T73" fmla="*/ 758 h 758"/>
              <a:gd name="T74" fmla="*/ 846 w 846"/>
              <a:gd name="T75" fmla="*/ 87 h 758"/>
              <a:gd name="T76" fmla="*/ 546 w 846"/>
              <a:gd name="T77" fmla="*/ 87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6" h="758">
                <a:moveTo>
                  <a:pt x="35" y="722"/>
                </a:moveTo>
                <a:lnTo>
                  <a:pt x="35" y="440"/>
                </a:lnTo>
                <a:lnTo>
                  <a:pt x="300" y="440"/>
                </a:lnTo>
                <a:lnTo>
                  <a:pt x="300" y="510"/>
                </a:lnTo>
                <a:lnTo>
                  <a:pt x="546" y="510"/>
                </a:lnTo>
                <a:lnTo>
                  <a:pt x="546" y="440"/>
                </a:lnTo>
                <a:lnTo>
                  <a:pt x="811" y="440"/>
                </a:lnTo>
                <a:lnTo>
                  <a:pt x="811" y="722"/>
                </a:lnTo>
                <a:lnTo>
                  <a:pt x="35" y="722"/>
                </a:lnTo>
                <a:close/>
                <a:moveTo>
                  <a:pt x="512" y="370"/>
                </a:moveTo>
                <a:lnTo>
                  <a:pt x="512" y="476"/>
                </a:lnTo>
                <a:lnTo>
                  <a:pt x="334" y="476"/>
                </a:lnTo>
                <a:lnTo>
                  <a:pt x="334" y="370"/>
                </a:lnTo>
                <a:lnTo>
                  <a:pt x="512" y="370"/>
                </a:lnTo>
                <a:close/>
                <a:moveTo>
                  <a:pt x="300" y="123"/>
                </a:moveTo>
                <a:lnTo>
                  <a:pt x="546" y="123"/>
                </a:lnTo>
                <a:lnTo>
                  <a:pt x="811" y="123"/>
                </a:lnTo>
                <a:lnTo>
                  <a:pt x="811" y="405"/>
                </a:lnTo>
                <a:lnTo>
                  <a:pt x="546" y="405"/>
                </a:lnTo>
                <a:lnTo>
                  <a:pt x="546" y="334"/>
                </a:lnTo>
                <a:lnTo>
                  <a:pt x="300" y="334"/>
                </a:lnTo>
                <a:lnTo>
                  <a:pt x="300" y="405"/>
                </a:lnTo>
                <a:lnTo>
                  <a:pt x="35" y="405"/>
                </a:lnTo>
                <a:lnTo>
                  <a:pt x="35" y="123"/>
                </a:lnTo>
                <a:lnTo>
                  <a:pt x="300" y="123"/>
                </a:lnTo>
                <a:close/>
                <a:moveTo>
                  <a:pt x="334" y="34"/>
                </a:moveTo>
                <a:lnTo>
                  <a:pt x="512" y="34"/>
                </a:lnTo>
                <a:lnTo>
                  <a:pt x="512" y="87"/>
                </a:lnTo>
                <a:lnTo>
                  <a:pt x="334" y="87"/>
                </a:lnTo>
                <a:lnTo>
                  <a:pt x="334" y="34"/>
                </a:lnTo>
                <a:close/>
                <a:moveTo>
                  <a:pt x="546" y="87"/>
                </a:moveTo>
                <a:lnTo>
                  <a:pt x="546" y="0"/>
                </a:lnTo>
                <a:lnTo>
                  <a:pt x="300" y="0"/>
                </a:lnTo>
                <a:lnTo>
                  <a:pt x="300" y="87"/>
                </a:lnTo>
                <a:lnTo>
                  <a:pt x="0" y="87"/>
                </a:lnTo>
                <a:lnTo>
                  <a:pt x="0" y="758"/>
                </a:lnTo>
                <a:lnTo>
                  <a:pt x="846" y="758"/>
                </a:lnTo>
                <a:lnTo>
                  <a:pt x="846" y="87"/>
                </a:lnTo>
                <a:lnTo>
                  <a:pt x="546" y="87"/>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304" name="Group 34">
            <a:extLst>
              <a:ext uri="{FF2B5EF4-FFF2-40B4-BE49-F238E27FC236}">
                <a16:creationId xmlns:a16="http://schemas.microsoft.com/office/drawing/2014/main" id="{D05D6793-09E9-41A2-B3FC-E2CA91E87F31}"/>
              </a:ext>
            </a:extLst>
          </p:cNvPr>
          <p:cNvGrpSpPr>
            <a:grpSpLocks noChangeAspect="1"/>
          </p:cNvGrpSpPr>
          <p:nvPr/>
        </p:nvGrpSpPr>
        <p:grpSpPr>
          <a:xfrm>
            <a:off x="710143" y="4346209"/>
            <a:ext cx="207912" cy="305545"/>
            <a:chOff x="7188200" y="1789113"/>
            <a:chExt cx="469901" cy="690563"/>
          </a:xfrm>
          <a:solidFill>
            <a:schemeClr val="bg2"/>
          </a:solidFill>
          <a:effectLst/>
        </p:grpSpPr>
        <p:sp>
          <p:nvSpPr>
            <p:cNvPr id="305" name="Freeform 121">
              <a:extLst>
                <a:ext uri="{FF2B5EF4-FFF2-40B4-BE49-F238E27FC236}">
                  <a16:creationId xmlns:a16="http://schemas.microsoft.com/office/drawing/2014/main" id="{0272D2D5-0BE0-43FE-A36C-09EA17F114D2}"/>
                </a:ext>
              </a:extLst>
            </p:cNvPr>
            <p:cNvSpPr>
              <a:spLocks/>
            </p:cNvSpPr>
            <p:nvPr/>
          </p:nvSpPr>
          <p:spPr bwMode="auto">
            <a:xfrm>
              <a:off x="7243763" y="1925638"/>
              <a:ext cx="220663" cy="28575"/>
            </a:xfrm>
            <a:custGeom>
              <a:avLst/>
              <a:gdLst>
                <a:gd name="T0" fmla="*/ 391 w 417"/>
                <a:gd name="T1" fmla="*/ 54 h 54"/>
                <a:gd name="T2" fmla="*/ 26 w 417"/>
                <a:gd name="T3" fmla="*/ 54 h 54"/>
                <a:gd name="T4" fmla="*/ 21 w 417"/>
                <a:gd name="T5" fmla="*/ 52 h 54"/>
                <a:gd name="T6" fmla="*/ 15 w 417"/>
                <a:gd name="T7" fmla="*/ 51 h 54"/>
                <a:gd name="T8" fmla="*/ 11 w 417"/>
                <a:gd name="T9" fmla="*/ 49 h 54"/>
                <a:gd name="T10" fmla="*/ 7 w 417"/>
                <a:gd name="T11" fmla="*/ 45 h 54"/>
                <a:gd name="T12" fmla="*/ 4 w 417"/>
                <a:gd name="T13" fmla="*/ 42 h 54"/>
                <a:gd name="T14" fmla="*/ 3 w 417"/>
                <a:gd name="T15" fmla="*/ 38 h 54"/>
                <a:gd name="T16" fmla="*/ 1 w 417"/>
                <a:gd name="T17" fmla="*/ 32 h 54"/>
                <a:gd name="T18" fmla="*/ 0 w 417"/>
                <a:gd name="T19" fmla="*/ 28 h 54"/>
                <a:gd name="T20" fmla="*/ 1 w 417"/>
                <a:gd name="T21" fmla="*/ 22 h 54"/>
                <a:gd name="T22" fmla="*/ 3 w 417"/>
                <a:gd name="T23" fmla="*/ 18 h 54"/>
                <a:gd name="T24" fmla="*/ 4 w 417"/>
                <a:gd name="T25" fmla="*/ 12 h 54"/>
                <a:gd name="T26" fmla="*/ 7 w 417"/>
                <a:gd name="T27" fmla="*/ 9 h 54"/>
                <a:gd name="T28" fmla="*/ 11 w 417"/>
                <a:gd name="T29" fmla="*/ 6 h 54"/>
                <a:gd name="T30" fmla="*/ 15 w 417"/>
                <a:gd name="T31" fmla="*/ 3 h 54"/>
                <a:gd name="T32" fmla="*/ 21 w 417"/>
                <a:gd name="T33" fmla="*/ 2 h 54"/>
                <a:gd name="T34" fmla="*/ 26 w 417"/>
                <a:gd name="T35" fmla="*/ 0 h 54"/>
                <a:gd name="T36" fmla="*/ 391 w 417"/>
                <a:gd name="T37" fmla="*/ 0 h 54"/>
                <a:gd name="T38" fmla="*/ 397 w 417"/>
                <a:gd name="T39" fmla="*/ 2 h 54"/>
                <a:gd name="T40" fmla="*/ 401 w 417"/>
                <a:gd name="T41" fmla="*/ 3 h 54"/>
                <a:gd name="T42" fmla="*/ 406 w 417"/>
                <a:gd name="T43" fmla="*/ 6 h 54"/>
                <a:gd name="T44" fmla="*/ 410 w 417"/>
                <a:gd name="T45" fmla="*/ 9 h 54"/>
                <a:gd name="T46" fmla="*/ 413 w 417"/>
                <a:gd name="T47" fmla="*/ 12 h 54"/>
                <a:gd name="T48" fmla="*/ 416 w 417"/>
                <a:gd name="T49" fmla="*/ 18 h 54"/>
                <a:gd name="T50" fmla="*/ 417 w 417"/>
                <a:gd name="T51" fmla="*/ 22 h 54"/>
                <a:gd name="T52" fmla="*/ 417 w 417"/>
                <a:gd name="T53" fmla="*/ 28 h 54"/>
                <a:gd name="T54" fmla="*/ 417 w 417"/>
                <a:gd name="T55" fmla="*/ 32 h 54"/>
                <a:gd name="T56" fmla="*/ 416 w 417"/>
                <a:gd name="T57" fmla="*/ 38 h 54"/>
                <a:gd name="T58" fmla="*/ 413 w 417"/>
                <a:gd name="T59" fmla="*/ 42 h 54"/>
                <a:gd name="T60" fmla="*/ 410 w 417"/>
                <a:gd name="T61" fmla="*/ 45 h 54"/>
                <a:gd name="T62" fmla="*/ 406 w 417"/>
                <a:gd name="T63" fmla="*/ 49 h 54"/>
                <a:gd name="T64" fmla="*/ 401 w 417"/>
                <a:gd name="T65" fmla="*/ 51 h 54"/>
                <a:gd name="T66" fmla="*/ 397 w 417"/>
                <a:gd name="T67" fmla="*/ 52 h 54"/>
                <a:gd name="T68" fmla="*/ 391 w 417"/>
                <a:gd name="T6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4">
                  <a:moveTo>
                    <a:pt x="391" y="54"/>
                  </a:moveTo>
                  <a:lnTo>
                    <a:pt x="26" y="54"/>
                  </a:lnTo>
                  <a:lnTo>
                    <a:pt x="21" y="52"/>
                  </a:lnTo>
                  <a:lnTo>
                    <a:pt x="15" y="51"/>
                  </a:lnTo>
                  <a:lnTo>
                    <a:pt x="11" y="49"/>
                  </a:lnTo>
                  <a:lnTo>
                    <a:pt x="7" y="45"/>
                  </a:lnTo>
                  <a:lnTo>
                    <a:pt x="4" y="42"/>
                  </a:lnTo>
                  <a:lnTo>
                    <a:pt x="3" y="38"/>
                  </a:lnTo>
                  <a:lnTo>
                    <a:pt x="1" y="32"/>
                  </a:lnTo>
                  <a:lnTo>
                    <a:pt x="0" y="28"/>
                  </a:lnTo>
                  <a:lnTo>
                    <a:pt x="1" y="22"/>
                  </a:lnTo>
                  <a:lnTo>
                    <a:pt x="3" y="18"/>
                  </a:lnTo>
                  <a:lnTo>
                    <a:pt x="4" y="12"/>
                  </a:lnTo>
                  <a:lnTo>
                    <a:pt x="7" y="9"/>
                  </a:lnTo>
                  <a:lnTo>
                    <a:pt x="11" y="6"/>
                  </a:lnTo>
                  <a:lnTo>
                    <a:pt x="15" y="3"/>
                  </a:lnTo>
                  <a:lnTo>
                    <a:pt x="21" y="2"/>
                  </a:lnTo>
                  <a:lnTo>
                    <a:pt x="26" y="0"/>
                  </a:lnTo>
                  <a:lnTo>
                    <a:pt x="391" y="0"/>
                  </a:lnTo>
                  <a:lnTo>
                    <a:pt x="397" y="2"/>
                  </a:lnTo>
                  <a:lnTo>
                    <a:pt x="401" y="3"/>
                  </a:lnTo>
                  <a:lnTo>
                    <a:pt x="406" y="6"/>
                  </a:lnTo>
                  <a:lnTo>
                    <a:pt x="410" y="9"/>
                  </a:lnTo>
                  <a:lnTo>
                    <a:pt x="413" y="12"/>
                  </a:lnTo>
                  <a:lnTo>
                    <a:pt x="416" y="18"/>
                  </a:lnTo>
                  <a:lnTo>
                    <a:pt x="417" y="22"/>
                  </a:lnTo>
                  <a:lnTo>
                    <a:pt x="417" y="28"/>
                  </a:lnTo>
                  <a:lnTo>
                    <a:pt x="417" y="32"/>
                  </a:lnTo>
                  <a:lnTo>
                    <a:pt x="416" y="38"/>
                  </a:lnTo>
                  <a:lnTo>
                    <a:pt x="413" y="42"/>
                  </a:lnTo>
                  <a:lnTo>
                    <a:pt x="410" y="45"/>
                  </a:lnTo>
                  <a:lnTo>
                    <a:pt x="406" y="49"/>
                  </a:lnTo>
                  <a:lnTo>
                    <a:pt x="401" y="51"/>
                  </a:lnTo>
                  <a:lnTo>
                    <a:pt x="397" y="52"/>
                  </a:lnTo>
                  <a:lnTo>
                    <a:pt x="391"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6" name="Freeform 122">
              <a:extLst>
                <a:ext uri="{FF2B5EF4-FFF2-40B4-BE49-F238E27FC236}">
                  <a16:creationId xmlns:a16="http://schemas.microsoft.com/office/drawing/2014/main" id="{B2749EEF-2485-4712-AB49-CF959F74A833}"/>
                </a:ext>
              </a:extLst>
            </p:cNvPr>
            <p:cNvSpPr>
              <a:spLocks/>
            </p:cNvSpPr>
            <p:nvPr/>
          </p:nvSpPr>
          <p:spPr bwMode="auto">
            <a:xfrm>
              <a:off x="7243763" y="2038351"/>
              <a:ext cx="220663" cy="26988"/>
            </a:xfrm>
            <a:custGeom>
              <a:avLst/>
              <a:gdLst>
                <a:gd name="T0" fmla="*/ 391 w 417"/>
                <a:gd name="T1" fmla="*/ 51 h 51"/>
                <a:gd name="T2" fmla="*/ 26 w 417"/>
                <a:gd name="T3" fmla="*/ 51 h 51"/>
                <a:gd name="T4" fmla="*/ 21 w 417"/>
                <a:gd name="T5" fmla="*/ 50 h 51"/>
                <a:gd name="T6" fmla="*/ 15 w 417"/>
                <a:gd name="T7" fmla="*/ 49 h 51"/>
                <a:gd name="T8" fmla="*/ 11 w 417"/>
                <a:gd name="T9" fmla="*/ 47 h 51"/>
                <a:gd name="T10" fmla="*/ 7 w 417"/>
                <a:gd name="T11" fmla="*/ 44 h 51"/>
                <a:gd name="T12" fmla="*/ 4 w 417"/>
                <a:gd name="T13" fmla="*/ 40 h 51"/>
                <a:gd name="T14" fmla="*/ 3 w 417"/>
                <a:gd name="T15" fmla="*/ 36 h 51"/>
                <a:gd name="T16" fmla="*/ 1 w 417"/>
                <a:gd name="T17" fmla="*/ 30 h 51"/>
                <a:gd name="T18" fmla="*/ 0 w 417"/>
                <a:gd name="T19" fmla="*/ 26 h 51"/>
                <a:gd name="T20" fmla="*/ 1 w 417"/>
                <a:gd name="T21" fmla="*/ 20 h 51"/>
                <a:gd name="T22" fmla="*/ 3 w 417"/>
                <a:gd name="T23" fmla="*/ 15 h 51"/>
                <a:gd name="T24" fmla="*/ 4 w 417"/>
                <a:gd name="T25" fmla="*/ 11 h 51"/>
                <a:gd name="T26" fmla="*/ 7 w 417"/>
                <a:gd name="T27" fmla="*/ 7 h 51"/>
                <a:gd name="T28" fmla="*/ 11 w 417"/>
                <a:gd name="T29" fmla="*/ 4 h 51"/>
                <a:gd name="T30" fmla="*/ 15 w 417"/>
                <a:gd name="T31" fmla="*/ 1 h 51"/>
                <a:gd name="T32" fmla="*/ 21 w 417"/>
                <a:gd name="T33" fmla="*/ 0 h 51"/>
                <a:gd name="T34" fmla="*/ 26 w 417"/>
                <a:gd name="T35" fmla="*/ 0 h 51"/>
                <a:gd name="T36" fmla="*/ 391 w 417"/>
                <a:gd name="T37" fmla="*/ 0 h 51"/>
                <a:gd name="T38" fmla="*/ 397 w 417"/>
                <a:gd name="T39" fmla="*/ 0 h 51"/>
                <a:gd name="T40" fmla="*/ 401 w 417"/>
                <a:gd name="T41" fmla="*/ 1 h 51"/>
                <a:gd name="T42" fmla="*/ 406 w 417"/>
                <a:gd name="T43" fmla="*/ 4 h 51"/>
                <a:gd name="T44" fmla="*/ 410 w 417"/>
                <a:gd name="T45" fmla="*/ 7 h 51"/>
                <a:gd name="T46" fmla="*/ 413 w 417"/>
                <a:gd name="T47" fmla="*/ 11 h 51"/>
                <a:gd name="T48" fmla="*/ 416 w 417"/>
                <a:gd name="T49" fmla="*/ 15 h 51"/>
                <a:gd name="T50" fmla="*/ 417 w 417"/>
                <a:gd name="T51" fmla="*/ 20 h 51"/>
                <a:gd name="T52" fmla="*/ 417 w 417"/>
                <a:gd name="T53" fmla="*/ 26 h 51"/>
                <a:gd name="T54" fmla="*/ 417 w 417"/>
                <a:gd name="T55" fmla="*/ 30 h 51"/>
                <a:gd name="T56" fmla="*/ 416 w 417"/>
                <a:gd name="T57" fmla="*/ 36 h 51"/>
                <a:gd name="T58" fmla="*/ 413 w 417"/>
                <a:gd name="T59" fmla="*/ 40 h 51"/>
                <a:gd name="T60" fmla="*/ 410 w 417"/>
                <a:gd name="T61" fmla="*/ 44 h 51"/>
                <a:gd name="T62" fmla="*/ 406 w 417"/>
                <a:gd name="T63" fmla="*/ 47 h 51"/>
                <a:gd name="T64" fmla="*/ 401 w 417"/>
                <a:gd name="T65" fmla="*/ 49 h 51"/>
                <a:gd name="T66" fmla="*/ 397 w 417"/>
                <a:gd name="T67" fmla="*/ 50 h 51"/>
                <a:gd name="T68" fmla="*/ 391 w 41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1">
                  <a:moveTo>
                    <a:pt x="391" y="51"/>
                  </a:moveTo>
                  <a:lnTo>
                    <a:pt x="26" y="51"/>
                  </a:lnTo>
                  <a:lnTo>
                    <a:pt x="21" y="50"/>
                  </a:lnTo>
                  <a:lnTo>
                    <a:pt x="15" y="49"/>
                  </a:lnTo>
                  <a:lnTo>
                    <a:pt x="11" y="47"/>
                  </a:lnTo>
                  <a:lnTo>
                    <a:pt x="7" y="44"/>
                  </a:lnTo>
                  <a:lnTo>
                    <a:pt x="4" y="40"/>
                  </a:lnTo>
                  <a:lnTo>
                    <a:pt x="3" y="36"/>
                  </a:lnTo>
                  <a:lnTo>
                    <a:pt x="1" y="30"/>
                  </a:lnTo>
                  <a:lnTo>
                    <a:pt x="0" y="26"/>
                  </a:lnTo>
                  <a:lnTo>
                    <a:pt x="1" y="20"/>
                  </a:lnTo>
                  <a:lnTo>
                    <a:pt x="3" y="15"/>
                  </a:lnTo>
                  <a:lnTo>
                    <a:pt x="4" y="11"/>
                  </a:lnTo>
                  <a:lnTo>
                    <a:pt x="7" y="7"/>
                  </a:lnTo>
                  <a:lnTo>
                    <a:pt x="11" y="4"/>
                  </a:lnTo>
                  <a:lnTo>
                    <a:pt x="15" y="1"/>
                  </a:lnTo>
                  <a:lnTo>
                    <a:pt x="21" y="0"/>
                  </a:lnTo>
                  <a:lnTo>
                    <a:pt x="26" y="0"/>
                  </a:lnTo>
                  <a:lnTo>
                    <a:pt x="391" y="0"/>
                  </a:lnTo>
                  <a:lnTo>
                    <a:pt x="397" y="0"/>
                  </a:lnTo>
                  <a:lnTo>
                    <a:pt x="401" y="1"/>
                  </a:lnTo>
                  <a:lnTo>
                    <a:pt x="406" y="4"/>
                  </a:lnTo>
                  <a:lnTo>
                    <a:pt x="410" y="7"/>
                  </a:lnTo>
                  <a:lnTo>
                    <a:pt x="413" y="11"/>
                  </a:lnTo>
                  <a:lnTo>
                    <a:pt x="416" y="15"/>
                  </a:lnTo>
                  <a:lnTo>
                    <a:pt x="417" y="20"/>
                  </a:lnTo>
                  <a:lnTo>
                    <a:pt x="417" y="26"/>
                  </a:lnTo>
                  <a:lnTo>
                    <a:pt x="417" y="30"/>
                  </a:lnTo>
                  <a:lnTo>
                    <a:pt x="416" y="36"/>
                  </a:lnTo>
                  <a:lnTo>
                    <a:pt x="413" y="40"/>
                  </a:lnTo>
                  <a:lnTo>
                    <a:pt x="410" y="44"/>
                  </a:lnTo>
                  <a:lnTo>
                    <a:pt x="406" y="47"/>
                  </a:lnTo>
                  <a:lnTo>
                    <a:pt x="401" y="49"/>
                  </a:lnTo>
                  <a:lnTo>
                    <a:pt x="397" y="50"/>
                  </a:lnTo>
                  <a:lnTo>
                    <a:pt x="3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7" name="Freeform 123">
              <a:extLst>
                <a:ext uri="{FF2B5EF4-FFF2-40B4-BE49-F238E27FC236}">
                  <a16:creationId xmlns:a16="http://schemas.microsoft.com/office/drawing/2014/main" id="{6E944527-D030-4725-A586-AD39BECE96A3}"/>
                </a:ext>
              </a:extLst>
            </p:cNvPr>
            <p:cNvSpPr>
              <a:spLocks/>
            </p:cNvSpPr>
            <p:nvPr/>
          </p:nvSpPr>
          <p:spPr bwMode="auto">
            <a:xfrm>
              <a:off x="7243763" y="2147888"/>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1 h 52"/>
                <a:gd name="T18" fmla="*/ 0 w 417"/>
                <a:gd name="T19" fmla="*/ 26 h 52"/>
                <a:gd name="T20" fmla="*/ 1 w 417"/>
                <a:gd name="T21" fmla="*/ 21 h 52"/>
                <a:gd name="T22" fmla="*/ 3 w 417"/>
                <a:gd name="T23" fmla="*/ 16 h 52"/>
                <a:gd name="T24" fmla="*/ 4 w 417"/>
                <a:gd name="T25" fmla="*/ 12 h 52"/>
                <a:gd name="T26" fmla="*/ 7 w 417"/>
                <a:gd name="T27" fmla="*/ 8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8 h 52"/>
                <a:gd name="T46" fmla="*/ 413 w 417"/>
                <a:gd name="T47" fmla="*/ 12 h 52"/>
                <a:gd name="T48" fmla="*/ 416 w 417"/>
                <a:gd name="T49" fmla="*/ 16 h 52"/>
                <a:gd name="T50" fmla="*/ 417 w 417"/>
                <a:gd name="T51" fmla="*/ 21 h 52"/>
                <a:gd name="T52" fmla="*/ 417 w 417"/>
                <a:gd name="T53" fmla="*/ 26 h 52"/>
                <a:gd name="T54" fmla="*/ 417 w 417"/>
                <a:gd name="T55" fmla="*/ 31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1"/>
                  </a:lnTo>
                  <a:lnTo>
                    <a:pt x="0" y="26"/>
                  </a:lnTo>
                  <a:lnTo>
                    <a:pt x="1" y="21"/>
                  </a:lnTo>
                  <a:lnTo>
                    <a:pt x="3" y="16"/>
                  </a:lnTo>
                  <a:lnTo>
                    <a:pt x="4" y="12"/>
                  </a:lnTo>
                  <a:lnTo>
                    <a:pt x="7" y="8"/>
                  </a:lnTo>
                  <a:lnTo>
                    <a:pt x="11" y="5"/>
                  </a:lnTo>
                  <a:lnTo>
                    <a:pt x="15" y="2"/>
                  </a:lnTo>
                  <a:lnTo>
                    <a:pt x="21" y="0"/>
                  </a:lnTo>
                  <a:lnTo>
                    <a:pt x="26" y="0"/>
                  </a:lnTo>
                  <a:lnTo>
                    <a:pt x="391" y="0"/>
                  </a:lnTo>
                  <a:lnTo>
                    <a:pt x="397" y="0"/>
                  </a:lnTo>
                  <a:lnTo>
                    <a:pt x="401" y="2"/>
                  </a:lnTo>
                  <a:lnTo>
                    <a:pt x="406" y="5"/>
                  </a:lnTo>
                  <a:lnTo>
                    <a:pt x="410" y="8"/>
                  </a:lnTo>
                  <a:lnTo>
                    <a:pt x="413" y="12"/>
                  </a:lnTo>
                  <a:lnTo>
                    <a:pt x="416" y="16"/>
                  </a:lnTo>
                  <a:lnTo>
                    <a:pt x="417" y="21"/>
                  </a:lnTo>
                  <a:lnTo>
                    <a:pt x="417" y="26"/>
                  </a:lnTo>
                  <a:lnTo>
                    <a:pt x="417" y="31"/>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8" name="Freeform 124">
              <a:extLst>
                <a:ext uri="{FF2B5EF4-FFF2-40B4-BE49-F238E27FC236}">
                  <a16:creationId xmlns:a16="http://schemas.microsoft.com/office/drawing/2014/main" id="{E5B64303-7B93-40E2-9C08-98E2F1258B68}"/>
                </a:ext>
              </a:extLst>
            </p:cNvPr>
            <p:cNvSpPr>
              <a:spLocks/>
            </p:cNvSpPr>
            <p:nvPr/>
          </p:nvSpPr>
          <p:spPr bwMode="auto">
            <a:xfrm>
              <a:off x="7243763" y="2259013"/>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2 h 52"/>
                <a:gd name="T18" fmla="*/ 0 w 417"/>
                <a:gd name="T19" fmla="*/ 26 h 52"/>
                <a:gd name="T20" fmla="*/ 1 w 417"/>
                <a:gd name="T21" fmla="*/ 20 h 52"/>
                <a:gd name="T22" fmla="*/ 3 w 417"/>
                <a:gd name="T23" fmla="*/ 16 h 52"/>
                <a:gd name="T24" fmla="*/ 4 w 417"/>
                <a:gd name="T25" fmla="*/ 12 h 52"/>
                <a:gd name="T26" fmla="*/ 7 w 417"/>
                <a:gd name="T27" fmla="*/ 7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7 h 52"/>
                <a:gd name="T46" fmla="*/ 413 w 417"/>
                <a:gd name="T47" fmla="*/ 12 h 52"/>
                <a:gd name="T48" fmla="*/ 416 w 417"/>
                <a:gd name="T49" fmla="*/ 16 h 52"/>
                <a:gd name="T50" fmla="*/ 417 w 417"/>
                <a:gd name="T51" fmla="*/ 20 h 52"/>
                <a:gd name="T52" fmla="*/ 417 w 417"/>
                <a:gd name="T53" fmla="*/ 26 h 52"/>
                <a:gd name="T54" fmla="*/ 417 w 417"/>
                <a:gd name="T55" fmla="*/ 32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2"/>
                  </a:lnTo>
                  <a:lnTo>
                    <a:pt x="0" y="26"/>
                  </a:lnTo>
                  <a:lnTo>
                    <a:pt x="1" y="20"/>
                  </a:lnTo>
                  <a:lnTo>
                    <a:pt x="3" y="16"/>
                  </a:lnTo>
                  <a:lnTo>
                    <a:pt x="4" y="12"/>
                  </a:lnTo>
                  <a:lnTo>
                    <a:pt x="7" y="7"/>
                  </a:lnTo>
                  <a:lnTo>
                    <a:pt x="11" y="5"/>
                  </a:lnTo>
                  <a:lnTo>
                    <a:pt x="15" y="2"/>
                  </a:lnTo>
                  <a:lnTo>
                    <a:pt x="21" y="0"/>
                  </a:lnTo>
                  <a:lnTo>
                    <a:pt x="26" y="0"/>
                  </a:lnTo>
                  <a:lnTo>
                    <a:pt x="391" y="0"/>
                  </a:lnTo>
                  <a:lnTo>
                    <a:pt x="397" y="0"/>
                  </a:lnTo>
                  <a:lnTo>
                    <a:pt x="401" y="2"/>
                  </a:lnTo>
                  <a:lnTo>
                    <a:pt x="406" y="5"/>
                  </a:lnTo>
                  <a:lnTo>
                    <a:pt x="410" y="7"/>
                  </a:lnTo>
                  <a:lnTo>
                    <a:pt x="413" y="12"/>
                  </a:lnTo>
                  <a:lnTo>
                    <a:pt x="416" y="16"/>
                  </a:lnTo>
                  <a:lnTo>
                    <a:pt x="417" y="20"/>
                  </a:lnTo>
                  <a:lnTo>
                    <a:pt x="417" y="26"/>
                  </a:lnTo>
                  <a:lnTo>
                    <a:pt x="417" y="32"/>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217">
              <a:extLst>
                <a:ext uri="{FF2B5EF4-FFF2-40B4-BE49-F238E27FC236}">
                  <a16:creationId xmlns:a16="http://schemas.microsoft.com/office/drawing/2014/main" id="{18FB316E-9DCD-49EE-9813-B2979658DE23}"/>
                </a:ext>
              </a:extLst>
            </p:cNvPr>
            <p:cNvSpPr>
              <a:spLocks noEditPoints="1"/>
            </p:cNvSpPr>
            <p:nvPr/>
          </p:nvSpPr>
          <p:spPr bwMode="auto">
            <a:xfrm>
              <a:off x="7188200" y="1789113"/>
              <a:ext cx="469900" cy="690563"/>
            </a:xfrm>
            <a:custGeom>
              <a:avLst/>
              <a:gdLst>
                <a:gd name="T0" fmla="*/ 52 w 887"/>
                <a:gd name="T1" fmla="*/ 1254 h 1306"/>
                <a:gd name="T2" fmla="*/ 642 w 887"/>
                <a:gd name="T3" fmla="*/ 1254 h 1306"/>
                <a:gd name="T4" fmla="*/ 835 w 887"/>
                <a:gd name="T5" fmla="*/ 1060 h 1306"/>
                <a:gd name="T6" fmla="*/ 835 w 887"/>
                <a:gd name="T7" fmla="*/ 52 h 1306"/>
                <a:gd name="T8" fmla="*/ 52 w 887"/>
                <a:gd name="T9" fmla="*/ 52 h 1306"/>
                <a:gd name="T10" fmla="*/ 52 w 887"/>
                <a:gd name="T11" fmla="*/ 1254 h 1306"/>
                <a:gd name="T12" fmla="*/ 652 w 887"/>
                <a:gd name="T13" fmla="*/ 1306 h 1306"/>
                <a:gd name="T14" fmla="*/ 26 w 887"/>
                <a:gd name="T15" fmla="*/ 1306 h 1306"/>
                <a:gd name="T16" fmla="*/ 20 w 887"/>
                <a:gd name="T17" fmla="*/ 1306 h 1306"/>
                <a:gd name="T18" fmla="*/ 16 w 887"/>
                <a:gd name="T19" fmla="*/ 1304 h 1306"/>
                <a:gd name="T20" fmla="*/ 11 w 887"/>
                <a:gd name="T21" fmla="*/ 1301 h 1306"/>
                <a:gd name="T22" fmla="*/ 7 w 887"/>
                <a:gd name="T23" fmla="*/ 1299 h 1306"/>
                <a:gd name="T24" fmla="*/ 4 w 887"/>
                <a:gd name="T25" fmla="*/ 1294 h 1306"/>
                <a:gd name="T26" fmla="*/ 1 w 887"/>
                <a:gd name="T27" fmla="*/ 1290 h 1306"/>
                <a:gd name="T28" fmla="*/ 0 w 887"/>
                <a:gd name="T29" fmla="*/ 1286 h 1306"/>
                <a:gd name="T30" fmla="*/ 0 w 887"/>
                <a:gd name="T31" fmla="*/ 1280 h 1306"/>
                <a:gd name="T32" fmla="*/ 0 w 887"/>
                <a:gd name="T33" fmla="*/ 26 h 1306"/>
                <a:gd name="T34" fmla="*/ 0 w 887"/>
                <a:gd name="T35" fmla="*/ 21 h 1306"/>
                <a:gd name="T36" fmla="*/ 1 w 887"/>
                <a:gd name="T37" fmla="*/ 16 h 1306"/>
                <a:gd name="T38" fmla="*/ 4 w 887"/>
                <a:gd name="T39" fmla="*/ 11 h 1306"/>
                <a:gd name="T40" fmla="*/ 7 w 887"/>
                <a:gd name="T41" fmla="*/ 7 h 1306"/>
                <a:gd name="T42" fmla="*/ 11 w 887"/>
                <a:gd name="T43" fmla="*/ 4 h 1306"/>
                <a:gd name="T44" fmla="*/ 16 w 887"/>
                <a:gd name="T45" fmla="*/ 1 h 1306"/>
                <a:gd name="T46" fmla="*/ 20 w 887"/>
                <a:gd name="T47" fmla="*/ 0 h 1306"/>
                <a:gd name="T48" fmla="*/ 26 w 887"/>
                <a:gd name="T49" fmla="*/ 0 h 1306"/>
                <a:gd name="T50" fmla="*/ 861 w 887"/>
                <a:gd name="T51" fmla="*/ 0 h 1306"/>
                <a:gd name="T52" fmla="*/ 867 w 887"/>
                <a:gd name="T53" fmla="*/ 0 h 1306"/>
                <a:gd name="T54" fmla="*/ 871 w 887"/>
                <a:gd name="T55" fmla="*/ 1 h 1306"/>
                <a:gd name="T56" fmla="*/ 875 w 887"/>
                <a:gd name="T57" fmla="*/ 4 h 1306"/>
                <a:gd name="T58" fmla="*/ 880 w 887"/>
                <a:gd name="T59" fmla="*/ 7 h 1306"/>
                <a:gd name="T60" fmla="*/ 883 w 887"/>
                <a:gd name="T61" fmla="*/ 11 h 1306"/>
                <a:gd name="T62" fmla="*/ 886 w 887"/>
                <a:gd name="T63" fmla="*/ 16 h 1306"/>
                <a:gd name="T64" fmla="*/ 887 w 887"/>
                <a:gd name="T65" fmla="*/ 21 h 1306"/>
                <a:gd name="T66" fmla="*/ 887 w 887"/>
                <a:gd name="T67" fmla="*/ 26 h 1306"/>
                <a:gd name="T68" fmla="*/ 887 w 887"/>
                <a:gd name="T69" fmla="*/ 1071 h 1306"/>
                <a:gd name="T70" fmla="*/ 887 w 887"/>
                <a:gd name="T71" fmla="*/ 1075 h 1306"/>
                <a:gd name="T72" fmla="*/ 886 w 887"/>
                <a:gd name="T73" fmla="*/ 1081 h 1306"/>
                <a:gd name="T74" fmla="*/ 883 w 887"/>
                <a:gd name="T75" fmla="*/ 1085 h 1306"/>
                <a:gd name="T76" fmla="*/ 880 w 887"/>
                <a:gd name="T77" fmla="*/ 1090 h 1306"/>
                <a:gd name="T78" fmla="*/ 671 w 887"/>
                <a:gd name="T79" fmla="*/ 1299 h 1306"/>
                <a:gd name="T80" fmla="*/ 667 w 887"/>
                <a:gd name="T81" fmla="*/ 1301 h 1306"/>
                <a:gd name="T82" fmla="*/ 662 w 887"/>
                <a:gd name="T83" fmla="*/ 1304 h 1306"/>
                <a:gd name="T84" fmla="*/ 658 w 887"/>
                <a:gd name="T85" fmla="*/ 1306 h 1306"/>
                <a:gd name="T86" fmla="*/ 652 w 887"/>
                <a:gd name="T87" fmla="*/ 1306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7" h="1306">
                  <a:moveTo>
                    <a:pt x="52" y="1254"/>
                  </a:moveTo>
                  <a:lnTo>
                    <a:pt x="642" y="1254"/>
                  </a:lnTo>
                  <a:lnTo>
                    <a:pt x="835" y="1060"/>
                  </a:lnTo>
                  <a:lnTo>
                    <a:pt x="835" y="52"/>
                  </a:lnTo>
                  <a:lnTo>
                    <a:pt x="52" y="52"/>
                  </a:lnTo>
                  <a:lnTo>
                    <a:pt x="52" y="1254"/>
                  </a:lnTo>
                  <a:close/>
                  <a:moveTo>
                    <a:pt x="652" y="1306"/>
                  </a:moveTo>
                  <a:lnTo>
                    <a:pt x="26" y="1306"/>
                  </a:lnTo>
                  <a:lnTo>
                    <a:pt x="20" y="1306"/>
                  </a:lnTo>
                  <a:lnTo>
                    <a:pt x="16" y="1304"/>
                  </a:lnTo>
                  <a:lnTo>
                    <a:pt x="11" y="1301"/>
                  </a:lnTo>
                  <a:lnTo>
                    <a:pt x="7" y="1299"/>
                  </a:lnTo>
                  <a:lnTo>
                    <a:pt x="4" y="1294"/>
                  </a:lnTo>
                  <a:lnTo>
                    <a:pt x="1" y="1290"/>
                  </a:lnTo>
                  <a:lnTo>
                    <a:pt x="0" y="1286"/>
                  </a:lnTo>
                  <a:lnTo>
                    <a:pt x="0" y="1280"/>
                  </a:lnTo>
                  <a:lnTo>
                    <a:pt x="0" y="26"/>
                  </a:lnTo>
                  <a:lnTo>
                    <a:pt x="0" y="21"/>
                  </a:lnTo>
                  <a:lnTo>
                    <a:pt x="1" y="16"/>
                  </a:lnTo>
                  <a:lnTo>
                    <a:pt x="4" y="11"/>
                  </a:lnTo>
                  <a:lnTo>
                    <a:pt x="7" y="7"/>
                  </a:lnTo>
                  <a:lnTo>
                    <a:pt x="11" y="4"/>
                  </a:lnTo>
                  <a:lnTo>
                    <a:pt x="16" y="1"/>
                  </a:lnTo>
                  <a:lnTo>
                    <a:pt x="20" y="0"/>
                  </a:lnTo>
                  <a:lnTo>
                    <a:pt x="26" y="0"/>
                  </a:lnTo>
                  <a:lnTo>
                    <a:pt x="861" y="0"/>
                  </a:lnTo>
                  <a:lnTo>
                    <a:pt x="867" y="0"/>
                  </a:lnTo>
                  <a:lnTo>
                    <a:pt x="871" y="1"/>
                  </a:lnTo>
                  <a:lnTo>
                    <a:pt x="875" y="4"/>
                  </a:lnTo>
                  <a:lnTo>
                    <a:pt x="880" y="7"/>
                  </a:lnTo>
                  <a:lnTo>
                    <a:pt x="883" y="11"/>
                  </a:lnTo>
                  <a:lnTo>
                    <a:pt x="886" y="16"/>
                  </a:lnTo>
                  <a:lnTo>
                    <a:pt x="887" y="21"/>
                  </a:lnTo>
                  <a:lnTo>
                    <a:pt x="887" y="26"/>
                  </a:lnTo>
                  <a:lnTo>
                    <a:pt x="887" y="1071"/>
                  </a:lnTo>
                  <a:lnTo>
                    <a:pt x="887" y="1075"/>
                  </a:lnTo>
                  <a:lnTo>
                    <a:pt x="886" y="1081"/>
                  </a:lnTo>
                  <a:lnTo>
                    <a:pt x="883" y="1085"/>
                  </a:lnTo>
                  <a:lnTo>
                    <a:pt x="880" y="1090"/>
                  </a:lnTo>
                  <a:lnTo>
                    <a:pt x="671" y="1299"/>
                  </a:lnTo>
                  <a:lnTo>
                    <a:pt x="667" y="1301"/>
                  </a:lnTo>
                  <a:lnTo>
                    <a:pt x="662" y="1304"/>
                  </a:lnTo>
                  <a:lnTo>
                    <a:pt x="658" y="1306"/>
                  </a:lnTo>
                  <a:lnTo>
                    <a:pt x="652"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220">
              <a:extLst>
                <a:ext uri="{FF2B5EF4-FFF2-40B4-BE49-F238E27FC236}">
                  <a16:creationId xmlns:a16="http://schemas.microsoft.com/office/drawing/2014/main" id="{E85E2F1A-8159-4188-BC40-04ADA3B97C48}"/>
                </a:ext>
              </a:extLst>
            </p:cNvPr>
            <p:cNvSpPr>
              <a:spLocks/>
            </p:cNvSpPr>
            <p:nvPr/>
          </p:nvSpPr>
          <p:spPr bwMode="auto">
            <a:xfrm>
              <a:off x="7519988" y="2341563"/>
              <a:ext cx="138113" cy="138113"/>
            </a:xfrm>
            <a:custGeom>
              <a:avLst/>
              <a:gdLst>
                <a:gd name="T0" fmla="*/ 26 w 261"/>
                <a:gd name="T1" fmla="*/ 261 h 261"/>
                <a:gd name="T2" fmla="*/ 21 w 261"/>
                <a:gd name="T3" fmla="*/ 261 h 261"/>
                <a:gd name="T4" fmla="*/ 16 w 261"/>
                <a:gd name="T5" fmla="*/ 259 h 261"/>
                <a:gd name="T6" fmla="*/ 12 w 261"/>
                <a:gd name="T7" fmla="*/ 256 h 261"/>
                <a:gd name="T8" fmla="*/ 8 w 261"/>
                <a:gd name="T9" fmla="*/ 254 h 261"/>
                <a:gd name="T10" fmla="*/ 5 w 261"/>
                <a:gd name="T11" fmla="*/ 249 h 261"/>
                <a:gd name="T12" fmla="*/ 2 w 261"/>
                <a:gd name="T13" fmla="*/ 245 h 261"/>
                <a:gd name="T14" fmla="*/ 0 w 261"/>
                <a:gd name="T15" fmla="*/ 241 h 261"/>
                <a:gd name="T16" fmla="*/ 0 w 261"/>
                <a:gd name="T17" fmla="*/ 235 h 261"/>
                <a:gd name="T18" fmla="*/ 0 w 261"/>
                <a:gd name="T19" fmla="*/ 26 h 261"/>
                <a:gd name="T20" fmla="*/ 0 w 261"/>
                <a:gd name="T21" fmla="*/ 20 h 261"/>
                <a:gd name="T22" fmla="*/ 2 w 261"/>
                <a:gd name="T23" fmla="*/ 16 h 261"/>
                <a:gd name="T24" fmla="*/ 5 w 261"/>
                <a:gd name="T25" fmla="*/ 12 h 261"/>
                <a:gd name="T26" fmla="*/ 8 w 261"/>
                <a:gd name="T27" fmla="*/ 7 h 261"/>
                <a:gd name="T28" fmla="*/ 12 w 261"/>
                <a:gd name="T29" fmla="*/ 4 h 261"/>
                <a:gd name="T30" fmla="*/ 16 w 261"/>
                <a:gd name="T31" fmla="*/ 2 h 261"/>
                <a:gd name="T32" fmla="*/ 21 w 261"/>
                <a:gd name="T33" fmla="*/ 0 h 261"/>
                <a:gd name="T34" fmla="*/ 26 w 261"/>
                <a:gd name="T35" fmla="*/ 0 h 261"/>
                <a:gd name="T36" fmla="*/ 235 w 261"/>
                <a:gd name="T37" fmla="*/ 0 h 261"/>
                <a:gd name="T38" fmla="*/ 241 w 261"/>
                <a:gd name="T39" fmla="*/ 0 h 261"/>
                <a:gd name="T40" fmla="*/ 245 w 261"/>
                <a:gd name="T41" fmla="*/ 2 h 261"/>
                <a:gd name="T42" fmla="*/ 249 w 261"/>
                <a:gd name="T43" fmla="*/ 4 h 261"/>
                <a:gd name="T44" fmla="*/ 254 w 261"/>
                <a:gd name="T45" fmla="*/ 7 h 261"/>
                <a:gd name="T46" fmla="*/ 257 w 261"/>
                <a:gd name="T47" fmla="*/ 12 h 261"/>
                <a:gd name="T48" fmla="*/ 260 w 261"/>
                <a:gd name="T49" fmla="*/ 16 h 261"/>
                <a:gd name="T50" fmla="*/ 261 w 261"/>
                <a:gd name="T51" fmla="*/ 20 h 261"/>
                <a:gd name="T52" fmla="*/ 261 w 261"/>
                <a:gd name="T53" fmla="*/ 26 h 261"/>
                <a:gd name="T54" fmla="*/ 261 w 261"/>
                <a:gd name="T55" fmla="*/ 30 h 261"/>
                <a:gd name="T56" fmla="*/ 260 w 261"/>
                <a:gd name="T57" fmla="*/ 36 h 261"/>
                <a:gd name="T58" fmla="*/ 257 w 261"/>
                <a:gd name="T59" fmla="*/ 40 h 261"/>
                <a:gd name="T60" fmla="*/ 254 w 261"/>
                <a:gd name="T61" fmla="*/ 45 h 261"/>
                <a:gd name="T62" fmla="*/ 249 w 261"/>
                <a:gd name="T63" fmla="*/ 48 h 261"/>
                <a:gd name="T64" fmla="*/ 245 w 261"/>
                <a:gd name="T65" fmla="*/ 51 h 261"/>
                <a:gd name="T66" fmla="*/ 241 w 261"/>
                <a:gd name="T67" fmla="*/ 52 h 261"/>
                <a:gd name="T68" fmla="*/ 235 w 261"/>
                <a:gd name="T69" fmla="*/ 52 h 261"/>
                <a:gd name="T70" fmla="*/ 52 w 261"/>
                <a:gd name="T71" fmla="*/ 52 h 261"/>
                <a:gd name="T72" fmla="*/ 52 w 261"/>
                <a:gd name="T73" fmla="*/ 235 h 261"/>
                <a:gd name="T74" fmla="*/ 52 w 261"/>
                <a:gd name="T75" fmla="*/ 241 h 261"/>
                <a:gd name="T76" fmla="*/ 51 w 261"/>
                <a:gd name="T77" fmla="*/ 245 h 261"/>
                <a:gd name="T78" fmla="*/ 48 w 261"/>
                <a:gd name="T79" fmla="*/ 249 h 261"/>
                <a:gd name="T80" fmla="*/ 45 w 261"/>
                <a:gd name="T81" fmla="*/ 254 h 261"/>
                <a:gd name="T82" fmla="*/ 41 w 261"/>
                <a:gd name="T83" fmla="*/ 256 h 261"/>
                <a:gd name="T84" fmla="*/ 36 w 261"/>
                <a:gd name="T85" fmla="*/ 259 h 261"/>
                <a:gd name="T86" fmla="*/ 32 w 261"/>
                <a:gd name="T87" fmla="*/ 261 h 261"/>
                <a:gd name="T88" fmla="*/ 26 w 261"/>
                <a:gd name="T8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261">
                  <a:moveTo>
                    <a:pt x="26" y="261"/>
                  </a:moveTo>
                  <a:lnTo>
                    <a:pt x="21" y="261"/>
                  </a:lnTo>
                  <a:lnTo>
                    <a:pt x="16" y="259"/>
                  </a:lnTo>
                  <a:lnTo>
                    <a:pt x="12" y="256"/>
                  </a:lnTo>
                  <a:lnTo>
                    <a:pt x="8" y="254"/>
                  </a:lnTo>
                  <a:lnTo>
                    <a:pt x="5" y="249"/>
                  </a:lnTo>
                  <a:lnTo>
                    <a:pt x="2" y="245"/>
                  </a:lnTo>
                  <a:lnTo>
                    <a:pt x="0" y="241"/>
                  </a:lnTo>
                  <a:lnTo>
                    <a:pt x="0" y="235"/>
                  </a:lnTo>
                  <a:lnTo>
                    <a:pt x="0" y="26"/>
                  </a:lnTo>
                  <a:lnTo>
                    <a:pt x="0" y="20"/>
                  </a:lnTo>
                  <a:lnTo>
                    <a:pt x="2" y="16"/>
                  </a:lnTo>
                  <a:lnTo>
                    <a:pt x="5" y="12"/>
                  </a:lnTo>
                  <a:lnTo>
                    <a:pt x="8" y="7"/>
                  </a:lnTo>
                  <a:lnTo>
                    <a:pt x="12" y="4"/>
                  </a:lnTo>
                  <a:lnTo>
                    <a:pt x="16" y="2"/>
                  </a:lnTo>
                  <a:lnTo>
                    <a:pt x="21" y="0"/>
                  </a:lnTo>
                  <a:lnTo>
                    <a:pt x="26" y="0"/>
                  </a:lnTo>
                  <a:lnTo>
                    <a:pt x="235" y="0"/>
                  </a:lnTo>
                  <a:lnTo>
                    <a:pt x="241" y="0"/>
                  </a:lnTo>
                  <a:lnTo>
                    <a:pt x="245" y="2"/>
                  </a:lnTo>
                  <a:lnTo>
                    <a:pt x="249" y="4"/>
                  </a:lnTo>
                  <a:lnTo>
                    <a:pt x="254" y="7"/>
                  </a:lnTo>
                  <a:lnTo>
                    <a:pt x="257" y="12"/>
                  </a:lnTo>
                  <a:lnTo>
                    <a:pt x="260" y="16"/>
                  </a:lnTo>
                  <a:lnTo>
                    <a:pt x="261" y="20"/>
                  </a:lnTo>
                  <a:lnTo>
                    <a:pt x="261" y="26"/>
                  </a:lnTo>
                  <a:lnTo>
                    <a:pt x="261" y="30"/>
                  </a:lnTo>
                  <a:lnTo>
                    <a:pt x="260" y="36"/>
                  </a:lnTo>
                  <a:lnTo>
                    <a:pt x="257" y="40"/>
                  </a:lnTo>
                  <a:lnTo>
                    <a:pt x="254" y="45"/>
                  </a:lnTo>
                  <a:lnTo>
                    <a:pt x="249" y="48"/>
                  </a:lnTo>
                  <a:lnTo>
                    <a:pt x="245" y="51"/>
                  </a:lnTo>
                  <a:lnTo>
                    <a:pt x="241" y="52"/>
                  </a:lnTo>
                  <a:lnTo>
                    <a:pt x="235" y="52"/>
                  </a:lnTo>
                  <a:lnTo>
                    <a:pt x="52" y="52"/>
                  </a:lnTo>
                  <a:lnTo>
                    <a:pt x="52" y="235"/>
                  </a:lnTo>
                  <a:lnTo>
                    <a:pt x="52" y="241"/>
                  </a:lnTo>
                  <a:lnTo>
                    <a:pt x="51" y="245"/>
                  </a:lnTo>
                  <a:lnTo>
                    <a:pt x="48" y="249"/>
                  </a:lnTo>
                  <a:lnTo>
                    <a:pt x="45" y="254"/>
                  </a:lnTo>
                  <a:lnTo>
                    <a:pt x="41" y="256"/>
                  </a:lnTo>
                  <a:lnTo>
                    <a:pt x="36" y="259"/>
                  </a:lnTo>
                  <a:lnTo>
                    <a:pt x="32" y="261"/>
                  </a:lnTo>
                  <a:lnTo>
                    <a:pt x="2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223">
              <a:extLst>
                <a:ext uri="{FF2B5EF4-FFF2-40B4-BE49-F238E27FC236}">
                  <a16:creationId xmlns:a16="http://schemas.microsoft.com/office/drawing/2014/main" id="{C96D8511-7C57-449D-84F1-5338742408C5}"/>
                </a:ext>
              </a:extLst>
            </p:cNvPr>
            <p:cNvSpPr>
              <a:spLocks/>
            </p:cNvSpPr>
            <p:nvPr/>
          </p:nvSpPr>
          <p:spPr bwMode="auto">
            <a:xfrm>
              <a:off x="7493000" y="1898651"/>
              <a:ext cx="109538" cy="84138"/>
            </a:xfrm>
            <a:custGeom>
              <a:avLst/>
              <a:gdLst>
                <a:gd name="T0" fmla="*/ 77 w 208"/>
                <a:gd name="T1" fmla="*/ 157 h 157"/>
                <a:gd name="T2" fmla="*/ 73 w 208"/>
                <a:gd name="T3" fmla="*/ 157 h 157"/>
                <a:gd name="T4" fmla="*/ 67 w 208"/>
                <a:gd name="T5" fmla="*/ 155 h 157"/>
                <a:gd name="T6" fmla="*/ 63 w 208"/>
                <a:gd name="T7" fmla="*/ 152 h 157"/>
                <a:gd name="T8" fmla="*/ 59 w 208"/>
                <a:gd name="T9" fmla="*/ 149 h 157"/>
                <a:gd name="T10" fmla="*/ 7 w 208"/>
                <a:gd name="T11" fmla="*/ 96 h 157"/>
                <a:gd name="T12" fmla="*/ 4 w 208"/>
                <a:gd name="T13" fmla="*/ 93 h 157"/>
                <a:gd name="T14" fmla="*/ 1 w 208"/>
                <a:gd name="T15" fmla="*/ 87 h 157"/>
                <a:gd name="T16" fmla="*/ 0 w 208"/>
                <a:gd name="T17" fmla="*/ 83 h 157"/>
                <a:gd name="T18" fmla="*/ 0 w 208"/>
                <a:gd name="T19" fmla="*/ 79 h 157"/>
                <a:gd name="T20" fmla="*/ 0 w 208"/>
                <a:gd name="T21" fmla="*/ 73 h 157"/>
                <a:gd name="T22" fmla="*/ 1 w 208"/>
                <a:gd name="T23" fmla="*/ 69 h 157"/>
                <a:gd name="T24" fmla="*/ 4 w 208"/>
                <a:gd name="T25" fmla="*/ 64 h 157"/>
                <a:gd name="T26" fmla="*/ 7 w 208"/>
                <a:gd name="T27" fmla="*/ 60 h 157"/>
                <a:gd name="T28" fmla="*/ 11 w 208"/>
                <a:gd name="T29" fmla="*/ 56 h 157"/>
                <a:gd name="T30" fmla="*/ 15 w 208"/>
                <a:gd name="T31" fmla="*/ 54 h 157"/>
                <a:gd name="T32" fmla="*/ 20 w 208"/>
                <a:gd name="T33" fmla="*/ 53 h 157"/>
                <a:gd name="T34" fmla="*/ 25 w 208"/>
                <a:gd name="T35" fmla="*/ 51 h 157"/>
                <a:gd name="T36" fmla="*/ 30 w 208"/>
                <a:gd name="T37" fmla="*/ 53 h 157"/>
                <a:gd name="T38" fmla="*/ 36 w 208"/>
                <a:gd name="T39" fmla="*/ 54 h 157"/>
                <a:gd name="T40" fmla="*/ 40 w 208"/>
                <a:gd name="T41" fmla="*/ 56 h 157"/>
                <a:gd name="T42" fmla="*/ 44 w 208"/>
                <a:gd name="T43" fmla="*/ 60 h 157"/>
                <a:gd name="T44" fmla="*/ 77 w 208"/>
                <a:gd name="T45" fmla="*/ 93 h 157"/>
                <a:gd name="T46" fmla="*/ 164 w 208"/>
                <a:gd name="T47" fmla="*/ 7 h 157"/>
                <a:gd name="T48" fmla="*/ 168 w 208"/>
                <a:gd name="T49" fmla="*/ 4 h 157"/>
                <a:gd name="T50" fmla="*/ 172 w 208"/>
                <a:gd name="T51" fmla="*/ 2 h 157"/>
                <a:gd name="T52" fmla="*/ 177 w 208"/>
                <a:gd name="T53" fmla="*/ 1 h 157"/>
                <a:gd name="T54" fmla="*/ 182 w 208"/>
                <a:gd name="T55" fmla="*/ 0 h 157"/>
                <a:gd name="T56" fmla="*/ 187 w 208"/>
                <a:gd name="T57" fmla="*/ 1 h 157"/>
                <a:gd name="T58" fmla="*/ 191 w 208"/>
                <a:gd name="T59" fmla="*/ 2 h 157"/>
                <a:gd name="T60" fmla="*/ 197 w 208"/>
                <a:gd name="T61" fmla="*/ 4 h 157"/>
                <a:gd name="T62" fmla="*/ 200 w 208"/>
                <a:gd name="T63" fmla="*/ 7 h 157"/>
                <a:gd name="T64" fmla="*/ 204 w 208"/>
                <a:gd name="T65" fmla="*/ 11 h 157"/>
                <a:gd name="T66" fmla="*/ 205 w 208"/>
                <a:gd name="T67" fmla="*/ 15 h 157"/>
                <a:gd name="T68" fmla="*/ 207 w 208"/>
                <a:gd name="T69" fmla="*/ 21 h 157"/>
                <a:gd name="T70" fmla="*/ 208 w 208"/>
                <a:gd name="T71" fmla="*/ 25 h 157"/>
                <a:gd name="T72" fmla="*/ 207 w 208"/>
                <a:gd name="T73" fmla="*/ 31 h 157"/>
                <a:gd name="T74" fmla="*/ 205 w 208"/>
                <a:gd name="T75" fmla="*/ 36 h 157"/>
                <a:gd name="T76" fmla="*/ 204 w 208"/>
                <a:gd name="T77" fmla="*/ 40 h 157"/>
                <a:gd name="T78" fmla="*/ 200 w 208"/>
                <a:gd name="T79" fmla="*/ 44 h 157"/>
                <a:gd name="T80" fmla="*/ 96 w 208"/>
                <a:gd name="T81" fmla="*/ 149 h 157"/>
                <a:gd name="T82" fmla="*/ 92 w 208"/>
                <a:gd name="T83" fmla="*/ 152 h 157"/>
                <a:gd name="T84" fmla="*/ 87 w 208"/>
                <a:gd name="T85" fmla="*/ 155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5"/>
                  </a:lnTo>
                  <a:lnTo>
                    <a:pt x="63" y="152"/>
                  </a:lnTo>
                  <a:lnTo>
                    <a:pt x="59" y="149"/>
                  </a:lnTo>
                  <a:lnTo>
                    <a:pt x="7" y="96"/>
                  </a:lnTo>
                  <a:lnTo>
                    <a:pt x="4" y="93"/>
                  </a:lnTo>
                  <a:lnTo>
                    <a:pt x="1" y="87"/>
                  </a:lnTo>
                  <a:lnTo>
                    <a:pt x="0" y="83"/>
                  </a:lnTo>
                  <a:lnTo>
                    <a:pt x="0" y="79"/>
                  </a:lnTo>
                  <a:lnTo>
                    <a:pt x="0" y="73"/>
                  </a:lnTo>
                  <a:lnTo>
                    <a:pt x="1" y="69"/>
                  </a:lnTo>
                  <a:lnTo>
                    <a:pt x="4" y="64"/>
                  </a:lnTo>
                  <a:lnTo>
                    <a:pt x="7" y="60"/>
                  </a:lnTo>
                  <a:lnTo>
                    <a:pt x="11" y="56"/>
                  </a:lnTo>
                  <a:lnTo>
                    <a:pt x="15" y="54"/>
                  </a:lnTo>
                  <a:lnTo>
                    <a:pt x="20" y="53"/>
                  </a:lnTo>
                  <a:lnTo>
                    <a:pt x="25" y="51"/>
                  </a:lnTo>
                  <a:lnTo>
                    <a:pt x="30" y="53"/>
                  </a:lnTo>
                  <a:lnTo>
                    <a:pt x="36" y="54"/>
                  </a:lnTo>
                  <a:lnTo>
                    <a:pt x="40" y="56"/>
                  </a:lnTo>
                  <a:lnTo>
                    <a:pt x="44" y="60"/>
                  </a:lnTo>
                  <a:lnTo>
                    <a:pt x="77" y="93"/>
                  </a:lnTo>
                  <a:lnTo>
                    <a:pt x="164" y="7"/>
                  </a:lnTo>
                  <a:lnTo>
                    <a:pt x="168" y="4"/>
                  </a:lnTo>
                  <a:lnTo>
                    <a:pt x="172" y="2"/>
                  </a:lnTo>
                  <a:lnTo>
                    <a:pt x="177" y="1"/>
                  </a:lnTo>
                  <a:lnTo>
                    <a:pt x="182" y="0"/>
                  </a:lnTo>
                  <a:lnTo>
                    <a:pt x="187" y="1"/>
                  </a:lnTo>
                  <a:lnTo>
                    <a:pt x="191" y="2"/>
                  </a:lnTo>
                  <a:lnTo>
                    <a:pt x="197" y="4"/>
                  </a:lnTo>
                  <a:lnTo>
                    <a:pt x="200" y="7"/>
                  </a:lnTo>
                  <a:lnTo>
                    <a:pt x="204" y="11"/>
                  </a:lnTo>
                  <a:lnTo>
                    <a:pt x="205" y="15"/>
                  </a:lnTo>
                  <a:lnTo>
                    <a:pt x="207" y="21"/>
                  </a:lnTo>
                  <a:lnTo>
                    <a:pt x="208" y="25"/>
                  </a:lnTo>
                  <a:lnTo>
                    <a:pt x="207" y="31"/>
                  </a:lnTo>
                  <a:lnTo>
                    <a:pt x="205" y="36"/>
                  </a:lnTo>
                  <a:lnTo>
                    <a:pt x="204" y="40"/>
                  </a:lnTo>
                  <a:lnTo>
                    <a:pt x="200" y="44"/>
                  </a:lnTo>
                  <a:lnTo>
                    <a:pt x="96" y="149"/>
                  </a:lnTo>
                  <a:lnTo>
                    <a:pt x="92" y="152"/>
                  </a:lnTo>
                  <a:lnTo>
                    <a:pt x="87" y="155"/>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2" name="Freeform 224">
              <a:extLst>
                <a:ext uri="{FF2B5EF4-FFF2-40B4-BE49-F238E27FC236}">
                  <a16:creationId xmlns:a16="http://schemas.microsoft.com/office/drawing/2014/main" id="{2872AF1E-D308-4358-AB65-A5D202CBBAA5}"/>
                </a:ext>
              </a:extLst>
            </p:cNvPr>
            <p:cNvSpPr>
              <a:spLocks/>
            </p:cNvSpPr>
            <p:nvPr/>
          </p:nvSpPr>
          <p:spPr bwMode="auto">
            <a:xfrm>
              <a:off x="7493000" y="2009776"/>
              <a:ext cx="109538" cy="82550"/>
            </a:xfrm>
            <a:custGeom>
              <a:avLst/>
              <a:gdLst>
                <a:gd name="T0" fmla="*/ 77 w 208"/>
                <a:gd name="T1" fmla="*/ 157 h 157"/>
                <a:gd name="T2" fmla="*/ 73 w 208"/>
                <a:gd name="T3" fmla="*/ 157 h 157"/>
                <a:gd name="T4" fmla="*/ 67 w 208"/>
                <a:gd name="T5" fmla="*/ 156 h 157"/>
                <a:gd name="T6" fmla="*/ 63 w 208"/>
                <a:gd name="T7" fmla="*/ 153 h 157"/>
                <a:gd name="T8" fmla="*/ 59 w 208"/>
                <a:gd name="T9" fmla="*/ 150 h 157"/>
                <a:gd name="T10" fmla="*/ 7 w 208"/>
                <a:gd name="T11" fmla="*/ 98 h 157"/>
                <a:gd name="T12" fmla="*/ 4 w 208"/>
                <a:gd name="T13" fmla="*/ 94 h 157"/>
                <a:gd name="T14" fmla="*/ 1 w 208"/>
                <a:gd name="T15" fmla="*/ 90 h 157"/>
                <a:gd name="T16" fmla="*/ 0 w 208"/>
                <a:gd name="T17" fmla="*/ 84 h 157"/>
                <a:gd name="T18" fmla="*/ 0 w 208"/>
                <a:gd name="T19" fmla="*/ 80 h 157"/>
                <a:gd name="T20" fmla="*/ 0 w 208"/>
                <a:gd name="T21" fmla="*/ 74 h 157"/>
                <a:gd name="T22" fmla="*/ 1 w 208"/>
                <a:gd name="T23" fmla="*/ 69 h 157"/>
                <a:gd name="T24" fmla="*/ 4 w 208"/>
                <a:gd name="T25" fmla="*/ 65 h 157"/>
                <a:gd name="T26" fmla="*/ 7 w 208"/>
                <a:gd name="T27" fmla="*/ 61 h 157"/>
                <a:gd name="T28" fmla="*/ 11 w 208"/>
                <a:gd name="T29" fmla="*/ 58 h 157"/>
                <a:gd name="T30" fmla="*/ 15 w 208"/>
                <a:gd name="T31" fmla="*/ 55 h 157"/>
                <a:gd name="T32" fmla="*/ 20 w 208"/>
                <a:gd name="T33" fmla="*/ 54 h 157"/>
                <a:gd name="T34" fmla="*/ 25 w 208"/>
                <a:gd name="T35" fmla="*/ 54 h 157"/>
                <a:gd name="T36" fmla="*/ 30 w 208"/>
                <a:gd name="T37" fmla="*/ 54 h 157"/>
                <a:gd name="T38" fmla="*/ 36 w 208"/>
                <a:gd name="T39" fmla="*/ 55 h 157"/>
                <a:gd name="T40" fmla="*/ 40 w 208"/>
                <a:gd name="T41" fmla="*/ 58 h 157"/>
                <a:gd name="T42" fmla="*/ 44 w 208"/>
                <a:gd name="T43" fmla="*/ 61 h 157"/>
                <a:gd name="T44" fmla="*/ 77 w 208"/>
                <a:gd name="T45" fmla="*/ 94 h 157"/>
                <a:gd name="T46" fmla="*/ 164 w 208"/>
                <a:gd name="T47" fmla="*/ 9 h 157"/>
                <a:gd name="T48" fmla="*/ 168 w 208"/>
                <a:gd name="T49" fmla="*/ 5 h 157"/>
                <a:gd name="T50" fmla="*/ 172 w 208"/>
                <a:gd name="T51" fmla="*/ 3 h 157"/>
                <a:gd name="T52" fmla="*/ 177 w 208"/>
                <a:gd name="T53" fmla="*/ 2 h 157"/>
                <a:gd name="T54" fmla="*/ 182 w 208"/>
                <a:gd name="T55" fmla="*/ 0 h 157"/>
                <a:gd name="T56" fmla="*/ 187 w 208"/>
                <a:gd name="T57" fmla="*/ 2 h 157"/>
                <a:gd name="T58" fmla="*/ 191 w 208"/>
                <a:gd name="T59" fmla="*/ 3 h 157"/>
                <a:gd name="T60" fmla="*/ 197 w 208"/>
                <a:gd name="T61" fmla="*/ 5 h 157"/>
                <a:gd name="T62" fmla="*/ 200 w 208"/>
                <a:gd name="T63" fmla="*/ 9 h 157"/>
                <a:gd name="T64" fmla="*/ 204 w 208"/>
                <a:gd name="T65" fmla="*/ 12 h 157"/>
                <a:gd name="T66" fmla="*/ 205 w 208"/>
                <a:gd name="T67" fmla="*/ 18 h 157"/>
                <a:gd name="T68" fmla="*/ 207 w 208"/>
                <a:gd name="T69" fmla="*/ 22 h 157"/>
                <a:gd name="T70" fmla="*/ 208 w 208"/>
                <a:gd name="T71" fmla="*/ 26 h 157"/>
                <a:gd name="T72" fmla="*/ 207 w 208"/>
                <a:gd name="T73" fmla="*/ 32 h 157"/>
                <a:gd name="T74" fmla="*/ 205 w 208"/>
                <a:gd name="T75" fmla="*/ 36 h 157"/>
                <a:gd name="T76" fmla="*/ 204 w 208"/>
                <a:gd name="T77" fmla="*/ 41 h 157"/>
                <a:gd name="T78" fmla="*/ 200 w 208"/>
                <a:gd name="T79" fmla="*/ 45 h 157"/>
                <a:gd name="T80" fmla="*/ 96 w 208"/>
                <a:gd name="T81" fmla="*/ 150 h 157"/>
                <a:gd name="T82" fmla="*/ 92 w 208"/>
                <a:gd name="T83" fmla="*/ 153 h 157"/>
                <a:gd name="T84" fmla="*/ 87 w 208"/>
                <a:gd name="T85" fmla="*/ 156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6"/>
                  </a:lnTo>
                  <a:lnTo>
                    <a:pt x="63" y="153"/>
                  </a:lnTo>
                  <a:lnTo>
                    <a:pt x="59" y="150"/>
                  </a:lnTo>
                  <a:lnTo>
                    <a:pt x="7" y="98"/>
                  </a:lnTo>
                  <a:lnTo>
                    <a:pt x="4" y="94"/>
                  </a:lnTo>
                  <a:lnTo>
                    <a:pt x="1" y="90"/>
                  </a:lnTo>
                  <a:lnTo>
                    <a:pt x="0" y="84"/>
                  </a:lnTo>
                  <a:lnTo>
                    <a:pt x="0" y="80"/>
                  </a:lnTo>
                  <a:lnTo>
                    <a:pt x="0" y="74"/>
                  </a:lnTo>
                  <a:lnTo>
                    <a:pt x="1" y="69"/>
                  </a:lnTo>
                  <a:lnTo>
                    <a:pt x="4" y="65"/>
                  </a:lnTo>
                  <a:lnTo>
                    <a:pt x="7" y="61"/>
                  </a:lnTo>
                  <a:lnTo>
                    <a:pt x="11" y="58"/>
                  </a:lnTo>
                  <a:lnTo>
                    <a:pt x="15" y="55"/>
                  </a:lnTo>
                  <a:lnTo>
                    <a:pt x="20" y="54"/>
                  </a:lnTo>
                  <a:lnTo>
                    <a:pt x="25" y="54"/>
                  </a:lnTo>
                  <a:lnTo>
                    <a:pt x="30" y="54"/>
                  </a:lnTo>
                  <a:lnTo>
                    <a:pt x="36" y="55"/>
                  </a:lnTo>
                  <a:lnTo>
                    <a:pt x="40" y="58"/>
                  </a:lnTo>
                  <a:lnTo>
                    <a:pt x="44" y="61"/>
                  </a:lnTo>
                  <a:lnTo>
                    <a:pt x="77" y="94"/>
                  </a:lnTo>
                  <a:lnTo>
                    <a:pt x="164" y="9"/>
                  </a:lnTo>
                  <a:lnTo>
                    <a:pt x="168" y="5"/>
                  </a:lnTo>
                  <a:lnTo>
                    <a:pt x="172" y="3"/>
                  </a:lnTo>
                  <a:lnTo>
                    <a:pt x="177" y="2"/>
                  </a:lnTo>
                  <a:lnTo>
                    <a:pt x="182" y="0"/>
                  </a:lnTo>
                  <a:lnTo>
                    <a:pt x="187" y="2"/>
                  </a:lnTo>
                  <a:lnTo>
                    <a:pt x="191" y="3"/>
                  </a:lnTo>
                  <a:lnTo>
                    <a:pt x="197" y="5"/>
                  </a:lnTo>
                  <a:lnTo>
                    <a:pt x="200" y="9"/>
                  </a:lnTo>
                  <a:lnTo>
                    <a:pt x="204" y="12"/>
                  </a:lnTo>
                  <a:lnTo>
                    <a:pt x="205" y="18"/>
                  </a:lnTo>
                  <a:lnTo>
                    <a:pt x="207" y="22"/>
                  </a:lnTo>
                  <a:lnTo>
                    <a:pt x="208" y="26"/>
                  </a:lnTo>
                  <a:lnTo>
                    <a:pt x="207" y="32"/>
                  </a:lnTo>
                  <a:lnTo>
                    <a:pt x="205" y="36"/>
                  </a:lnTo>
                  <a:lnTo>
                    <a:pt x="204" y="41"/>
                  </a:lnTo>
                  <a:lnTo>
                    <a:pt x="200" y="45"/>
                  </a:lnTo>
                  <a:lnTo>
                    <a:pt x="96" y="150"/>
                  </a:lnTo>
                  <a:lnTo>
                    <a:pt x="92" y="153"/>
                  </a:lnTo>
                  <a:lnTo>
                    <a:pt x="87" y="156"/>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225">
              <a:extLst>
                <a:ext uri="{FF2B5EF4-FFF2-40B4-BE49-F238E27FC236}">
                  <a16:creationId xmlns:a16="http://schemas.microsoft.com/office/drawing/2014/main" id="{B376AAA0-8A9D-40C3-A669-F842EB7DF51F}"/>
                </a:ext>
              </a:extLst>
            </p:cNvPr>
            <p:cNvSpPr>
              <a:spLocks/>
            </p:cNvSpPr>
            <p:nvPr/>
          </p:nvSpPr>
          <p:spPr bwMode="auto">
            <a:xfrm>
              <a:off x="7493000" y="2230438"/>
              <a:ext cx="109538" cy="82550"/>
            </a:xfrm>
            <a:custGeom>
              <a:avLst/>
              <a:gdLst>
                <a:gd name="T0" fmla="*/ 77 w 208"/>
                <a:gd name="T1" fmla="*/ 156 h 156"/>
                <a:gd name="T2" fmla="*/ 73 w 208"/>
                <a:gd name="T3" fmla="*/ 156 h 156"/>
                <a:gd name="T4" fmla="*/ 67 w 208"/>
                <a:gd name="T5" fmla="*/ 154 h 156"/>
                <a:gd name="T6" fmla="*/ 63 w 208"/>
                <a:gd name="T7" fmla="*/ 152 h 156"/>
                <a:gd name="T8" fmla="*/ 59 w 208"/>
                <a:gd name="T9" fmla="*/ 149 h 156"/>
                <a:gd name="T10" fmla="*/ 7 w 208"/>
                <a:gd name="T11" fmla="*/ 97 h 156"/>
                <a:gd name="T12" fmla="*/ 4 w 208"/>
                <a:gd name="T13" fmla="*/ 93 h 156"/>
                <a:gd name="T14" fmla="*/ 1 w 208"/>
                <a:gd name="T15" fmla="*/ 88 h 156"/>
                <a:gd name="T16" fmla="*/ 0 w 208"/>
                <a:gd name="T17" fmla="*/ 82 h 156"/>
                <a:gd name="T18" fmla="*/ 0 w 208"/>
                <a:gd name="T19" fmla="*/ 78 h 156"/>
                <a:gd name="T20" fmla="*/ 0 w 208"/>
                <a:gd name="T21" fmla="*/ 74 h 156"/>
                <a:gd name="T22" fmla="*/ 1 w 208"/>
                <a:gd name="T23" fmla="*/ 68 h 156"/>
                <a:gd name="T24" fmla="*/ 4 w 208"/>
                <a:gd name="T25" fmla="*/ 64 h 156"/>
                <a:gd name="T26" fmla="*/ 7 w 208"/>
                <a:gd name="T27" fmla="*/ 59 h 156"/>
                <a:gd name="T28" fmla="*/ 11 w 208"/>
                <a:gd name="T29" fmla="*/ 57 h 156"/>
                <a:gd name="T30" fmla="*/ 15 w 208"/>
                <a:gd name="T31" fmla="*/ 54 h 156"/>
                <a:gd name="T32" fmla="*/ 20 w 208"/>
                <a:gd name="T33" fmla="*/ 52 h 156"/>
                <a:gd name="T34" fmla="*/ 25 w 208"/>
                <a:gd name="T35" fmla="*/ 52 h 156"/>
                <a:gd name="T36" fmla="*/ 30 w 208"/>
                <a:gd name="T37" fmla="*/ 52 h 156"/>
                <a:gd name="T38" fmla="*/ 36 w 208"/>
                <a:gd name="T39" fmla="*/ 54 h 156"/>
                <a:gd name="T40" fmla="*/ 40 w 208"/>
                <a:gd name="T41" fmla="*/ 57 h 156"/>
                <a:gd name="T42" fmla="*/ 44 w 208"/>
                <a:gd name="T43" fmla="*/ 59 h 156"/>
                <a:gd name="T44" fmla="*/ 77 w 208"/>
                <a:gd name="T45" fmla="*/ 94 h 156"/>
                <a:gd name="T46" fmla="*/ 164 w 208"/>
                <a:gd name="T47" fmla="*/ 8 h 156"/>
                <a:gd name="T48" fmla="*/ 168 w 208"/>
                <a:gd name="T49" fmla="*/ 5 h 156"/>
                <a:gd name="T50" fmla="*/ 172 w 208"/>
                <a:gd name="T51" fmla="*/ 2 h 156"/>
                <a:gd name="T52" fmla="*/ 177 w 208"/>
                <a:gd name="T53" fmla="*/ 0 h 156"/>
                <a:gd name="T54" fmla="*/ 182 w 208"/>
                <a:gd name="T55" fmla="*/ 0 h 156"/>
                <a:gd name="T56" fmla="*/ 187 w 208"/>
                <a:gd name="T57" fmla="*/ 0 h 156"/>
                <a:gd name="T58" fmla="*/ 191 w 208"/>
                <a:gd name="T59" fmla="*/ 2 h 156"/>
                <a:gd name="T60" fmla="*/ 197 w 208"/>
                <a:gd name="T61" fmla="*/ 5 h 156"/>
                <a:gd name="T62" fmla="*/ 200 w 208"/>
                <a:gd name="T63" fmla="*/ 8 h 156"/>
                <a:gd name="T64" fmla="*/ 204 w 208"/>
                <a:gd name="T65" fmla="*/ 12 h 156"/>
                <a:gd name="T66" fmla="*/ 205 w 208"/>
                <a:gd name="T67" fmla="*/ 16 h 156"/>
                <a:gd name="T68" fmla="*/ 207 w 208"/>
                <a:gd name="T69" fmla="*/ 21 h 156"/>
                <a:gd name="T70" fmla="*/ 208 w 208"/>
                <a:gd name="T71" fmla="*/ 26 h 156"/>
                <a:gd name="T72" fmla="*/ 207 w 208"/>
                <a:gd name="T73" fmla="*/ 31 h 156"/>
                <a:gd name="T74" fmla="*/ 205 w 208"/>
                <a:gd name="T75" fmla="*/ 36 h 156"/>
                <a:gd name="T76" fmla="*/ 204 w 208"/>
                <a:gd name="T77" fmla="*/ 41 h 156"/>
                <a:gd name="T78" fmla="*/ 200 w 208"/>
                <a:gd name="T79" fmla="*/ 45 h 156"/>
                <a:gd name="T80" fmla="*/ 96 w 208"/>
                <a:gd name="T81" fmla="*/ 149 h 156"/>
                <a:gd name="T82" fmla="*/ 92 w 208"/>
                <a:gd name="T83" fmla="*/ 152 h 156"/>
                <a:gd name="T84" fmla="*/ 87 w 208"/>
                <a:gd name="T85" fmla="*/ 154 h 156"/>
                <a:gd name="T86" fmla="*/ 83 w 208"/>
                <a:gd name="T87" fmla="*/ 156 h 156"/>
                <a:gd name="T88" fmla="*/ 77 w 208"/>
                <a:gd name="T8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6">
                  <a:moveTo>
                    <a:pt x="77" y="156"/>
                  </a:moveTo>
                  <a:lnTo>
                    <a:pt x="73" y="156"/>
                  </a:lnTo>
                  <a:lnTo>
                    <a:pt x="67" y="154"/>
                  </a:lnTo>
                  <a:lnTo>
                    <a:pt x="63" y="152"/>
                  </a:lnTo>
                  <a:lnTo>
                    <a:pt x="59" y="149"/>
                  </a:lnTo>
                  <a:lnTo>
                    <a:pt x="7" y="97"/>
                  </a:lnTo>
                  <a:lnTo>
                    <a:pt x="4" y="93"/>
                  </a:lnTo>
                  <a:lnTo>
                    <a:pt x="1" y="88"/>
                  </a:lnTo>
                  <a:lnTo>
                    <a:pt x="0" y="82"/>
                  </a:lnTo>
                  <a:lnTo>
                    <a:pt x="0" y="78"/>
                  </a:lnTo>
                  <a:lnTo>
                    <a:pt x="0" y="74"/>
                  </a:lnTo>
                  <a:lnTo>
                    <a:pt x="1" y="68"/>
                  </a:lnTo>
                  <a:lnTo>
                    <a:pt x="4" y="64"/>
                  </a:lnTo>
                  <a:lnTo>
                    <a:pt x="7" y="59"/>
                  </a:lnTo>
                  <a:lnTo>
                    <a:pt x="11" y="57"/>
                  </a:lnTo>
                  <a:lnTo>
                    <a:pt x="15" y="54"/>
                  </a:lnTo>
                  <a:lnTo>
                    <a:pt x="20" y="52"/>
                  </a:lnTo>
                  <a:lnTo>
                    <a:pt x="25" y="52"/>
                  </a:lnTo>
                  <a:lnTo>
                    <a:pt x="30" y="52"/>
                  </a:lnTo>
                  <a:lnTo>
                    <a:pt x="36" y="54"/>
                  </a:lnTo>
                  <a:lnTo>
                    <a:pt x="40" y="57"/>
                  </a:lnTo>
                  <a:lnTo>
                    <a:pt x="44" y="59"/>
                  </a:lnTo>
                  <a:lnTo>
                    <a:pt x="77" y="94"/>
                  </a:lnTo>
                  <a:lnTo>
                    <a:pt x="164" y="8"/>
                  </a:lnTo>
                  <a:lnTo>
                    <a:pt x="168" y="5"/>
                  </a:lnTo>
                  <a:lnTo>
                    <a:pt x="172" y="2"/>
                  </a:lnTo>
                  <a:lnTo>
                    <a:pt x="177" y="0"/>
                  </a:lnTo>
                  <a:lnTo>
                    <a:pt x="182" y="0"/>
                  </a:lnTo>
                  <a:lnTo>
                    <a:pt x="187" y="0"/>
                  </a:lnTo>
                  <a:lnTo>
                    <a:pt x="191" y="2"/>
                  </a:lnTo>
                  <a:lnTo>
                    <a:pt x="197" y="5"/>
                  </a:lnTo>
                  <a:lnTo>
                    <a:pt x="200" y="8"/>
                  </a:lnTo>
                  <a:lnTo>
                    <a:pt x="204" y="12"/>
                  </a:lnTo>
                  <a:lnTo>
                    <a:pt x="205" y="16"/>
                  </a:lnTo>
                  <a:lnTo>
                    <a:pt x="207" y="21"/>
                  </a:lnTo>
                  <a:lnTo>
                    <a:pt x="208" y="26"/>
                  </a:lnTo>
                  <a:lnTo>
                    <a:pt x="207" y="31"/>
                  </a:lnTo>
                  <a:lnTo>
                    <a:pt x="205" y="36"/>
                  </a:lnTo>
                  <a:lnTo>
                    <a:pt x="204" y="41"/>
                  </a:lnTo>
                  <a:lnTo>
                    <a:pt x="200" y="45"/>
                  </a:lnTo>
                  <a:lnTo>
                    <a:pt x="96" y="149"/>
                  </a:lnTo>
                  <a:lnTo>
                    <a:pt x="92" y="152"/>
                  </a:lnTo>
                  <a:lnTo>
                    <a:pt x="87" y="154"/>
                  </a:lnTo>
                  <a:lnTo>
                    <a:pt x="83" y="156"/>
                  </a:lnTo>
                  <a:lnTo>
                    <a:pt x="77"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Freeform 226">
              <a:extLst>
                <a:ext uri="{FF2B5EF4-FFF2-40B4-BE49-F238E27FC236}">
                  <a16:creationId xmlns:a16="http://schemas.microsoft.com/office/drawing/2014/main" id="{6ADF43DE-9E0A-4FBE-8FE8-D6654605CFDB}"/>
                </a:ext>
              </a:extLst>
            </p:cNvPr>
            <p:cNvSpPr>
              <a:spLocks/>
            </p:cNvSpPr>
            <p:nvPr/>
          </p:nvSpPr>
          <p:spPr bwMode="auto">
            <a:xfrm>
              <a:off x="7502525" y="2130426"/>
              <a:ext cx="90488" cy="90488"/>
            </a:xfrm>
            <a:custGeom>
              <a:avLst/>
              <a:gdLst>
                <a:gd name="T0" fmla="*/ 147 w 173"/>
                <a:gd name="T1" fmla="*/ 173 h 173"/>
                <a:gd name="T2" fmla="*/ 141 w 173"/>
                <a:gd name="T3" fmla="*/ 171 h 173"/>
                <a:gd name="T4" fmla="*/ 137 w 173"/>
                <a:gd name="T5" fmla="*/ 170 h 173"/>
                <a:gd name="T6" fmla="*/ 132 w 173"/>
                <a:gd name="T7" fmla="*/ 168 h 173"/>
                <a:gd name="T8" fmla="*/ 128 w 173"/>
                <a:gd name="T9" fmla="*/ 164 h 173"/>
                <a:gd name="T10" fmla="*/ 8 w 173"/>
                <a:gd name="T11" fmla="*/ 44 h 173"/>
                <a:gd name="T12" fmla="*/ 4 w 173"/>
                <a:gd name="T13" fmla="*/ 40 h 173"/>
                <a:gd name="T14" fmla="*/ 3 w 173"/>
                <a:gd name="T15" fmla="*/ 36 h 173"/>
                <a:gd name="T16" fmla="*/ 1 w 173"/>
                <a:gd name="T17" fmla="*/ 32 h 173"/>
                <a:gd name="T18" fmla="*/ 0 w 173"/>
                <a:gd name="T19" fmla="*/ 26 h 173"/>
                <a:gd name="T20" fmla="*/ 1 w 173"/>
                <a:gd name="T21" fmla="*/ 21 h 173"/>
                <a:gd name="T22" fmla="*/ 3 w 173"/>
                <a:gd name="T23" fmla="*/ 17 h 173"/>
                <a:gd name="T24" fmla="*/ 4 w 173"/>
                <a:gd name="T25" fmla="*/ 11 h 173"/>
                <a:gd name="T26" fmla="*/ 8 w 173"/>
                <a:gd name="T27" fmla="*/ 9 h 173"/>
                <a:gd name="T28" fmla="*/ 13 w 173"/>
                <a:gd name="T29" fmla="*/ 4 h 173"/>
                <a:gd name="T30" fmla="*/ 17 w 173"/>
                <a:gd name="T31" fmla="*/ 3 h 173"/>
                <a:gd name="T32" fmla="*/ 21 w 173"/>
                <a:gd name="T33" fmla="*/ 1 h 173"/>
                <a:gd name="T34" fmla="*/ 27 w 173"/>
                <a:gd name="T35" fmla="*/ 0 h 173"/>
                <a:gd name="T36" fmla="*/ 31 w 173"/>
                <a:gd name="T37" fmla="*/ 1 h 173"/>
                <a:gd name="T38" fmla="*/ 36 w 173"/>
                <a:gd name="T39" fmla="*/ 3 h 173"/>
                <a:gd name="T40" fmla="*/ 42 w 173"/>
                <a:gd name="T41" fmla="*/ 4 h 173"/>
                <a:gd name="T42" fmla="*/ 44 w 173"/>
                <a:gd name="T43" fmla="*/ 9 h 173"/>
                <a:gd name="T44" fmla="*/ 165 w 173"/>
                <a:gd name="T45" fmla="*/ 128 h 173"/>
                <a:gd name="T46" fmla="*/ 168 w 173"/>
                <a:gd name="T47" fmla="*/ 132 h 173"/>
                <a:gd name="T48" fmla="*/ 171 w 173"/>
                <a:gd name="T49" fmla="*/ 137 h 173"/>
                <a:gd name="T50" fmla="*/ 173 w 173"/>
                <a:gd name="T51" fmla="*/ 141 h 173"/>
                <a:gd name="T52" fmla="*/ 173 w 173"/>
                <a:gd name="T53" fmla="*/ 147 h 173"/>
                <a:gd name="T54" fmla="*/ 173 w 173"/>
                <a:gd name="T55" fmla="*/ 151 h 173"/>
                <a:gd name="T56" fmla="*/ 171 w 173"/>
                <a:gd name="T57" fmla="*/ 155 h 173"/>
                <a:gd name="T58" fmla="*/ 168 w 173"/>
                <a:gd name="T59" fmla="*/ 161 h 173"/>
                <a:gd name="T60" fmla="*/ 165 w 173"/>
                <a:gd name="T61" fmla="*/ 164 h 173"/>
                <a:gd name="T62" fmla="*/ 161 w 173"/>
                <a:gd name="T63" fmla="*/ 168 h 173"/>
                <a:gd name="T64" fmla="*/ 157 w 173"/>
                <a:gd name="T65" fmla="*/ 170 h 173"/>
                <a:gd name="T66" fmla="*/ 151 w 173"/>
                <a:gd name="T67" fmla="*/ 171 h 173"/>
                <a:gd name="T68" fmla="*/ 14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147" y="173"/>
                  </a:moveTo>
                  <a:lnTo>
                    <a:pt x="141" y="171"/>
                  </a:lnTo>
                  <a:lnTo>
                    <a:pt x="137" y="170"/>
                  </a:lnTo>
                  <a:lnTo>
                    <a:pt x="132" y="168"/>
                  </a:lnTo>
                  <a:lnTo>
                    <a:pt x="128" y="164"/>
                  </a:lnTo>
                  <a:lnTo>
                    <a:pt x="8" y="44"/>
                  </a:lnTo>
                  <a:lnTo>
                    <a:pt x="4" y="40"/>
                  </a:lnTo>
                  <a:lnTo>
                    <a:pt x="3" y="36"/>
                  </a:lnTo>
                  <a:lnTo>
                    <a:pt x="1" y="32"/>
                  </a:lnTo>
                  <a:lnTo>
                    <a:pt x="0" y="26"/>
                  </a:lnTo>
                  <a:lnTo>
                    <a:pt x="1" y="21"/>
                  </a:lnTo>
                  <a:lnTo>
                    <a:pt x="3" y="17"/>
                  </a:lnTo>
                  <a:lnTo>
                    <a:pt x="4" y="11"/>
                  </a:lnTo>
                  <a:lnTo>
                    <a:pt x="8" y="9"/>
                  </a:lnTo>
                  <a:lnTo>
                    <a:pt x="13" y="4"/>
                  </a:lnTo>
                  <a:lnTo>
                    <a:pt x="17" y="3"/>
                  </a:lnTo>
                  <a:lnTo>
                    <a:pt x="21" y="1"/>
                  </a:lnTo>
                  <a:lnTo>
                    <a:pt x="27" y="0"/>
                  </a:lnTo>
                  <a:lnTo>
                    <a:pt x="31" y="1"/>
                  </a:lnTo>
                  <a:lnTo>
                    <a:pt x="36" y="3"/>
                  </a:lnTo>
                  <a:lnTo>
                    <a:pt x="42" y="4"/>
                  </a:lnTo>
                  <a:lnTo>
                    <a:pt x="44" y="9"/>
                  </a:lnTo>
                  <a:lnTo>
                    <a:pt x="165" y="128"/>
                  </a:lnTo>
                  <a:lnTo>
                    <a:pt x="168" y="132"/>
                  </a:lnTo>
                  <a:lnTo>
                    <a:pt x="171" y="137"/>
                  </a:lnTo>
                  <a:lnTo>
                    <a:pt x="173" y="141"/>
                  </a:lnTo>
                  <a:lnTo>
                    <a:pt x="173" y="147"/>
                  </a:lnTo>
                  <a:lnTo>
                    <a:pt x="173" y="151"/>
                  </a:lnTo>
                  <a:lnTo>
                    <a:pt x="171" y="155"/>
                  </a:lnTo>
                  <a:lnTo>
                    <a:pt x="168" y="161"/>
                  </a:lnTo>
                  <a:lnTo>
                    <a:pt x="165" y="164"/>
                  </a:lnTo>
                  <a:lnTo>
                    <a:pt x="161" y="168"/>
                  </a:lnTo>
                  <a:lnTo>
                    <a:pt x="157" y="170"/>
                  </a:lnTo>
                  <a:lnTo>
                    <a:pt x="151" y="171"/>
                  </a:lnTo>
                  <a:lnTo>
                    <a:pt x="14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Freeform 227">
              <a:extLst>
                <a:ext uri="{FF2B5EF4-FFF2-40B4-BE49-F238E27FC236}">
                  <a16:creationId xmlns:a16="http://schemas.microsoft.com/office/drawing/2014/main" id="{8E2F46DF-F100-4972-98F7-EC028BB90E5D}"/>
                </a:ext>
              </a:extLst>
            </p:cNvPr>
            <p:cNvSpPr>
              <a:spLocks/>
            </p:cNvSpPr>
            <p:nvPr/>
          </p:nvSpPr>
          <p:spPr bwMode="auto">
            <a:xfrm>
              <a:off x="7502525" y="2130426"/>
              <a:ext cx="90488" cy="90488"/>
            </a:xfrm>
            <a:custGeom>
              <a:avLst/>
              <a:gdLst>
                <a:gd name="T0" fmla="*/ 27 w 173"/>
                <a:gd name="T1" fmla="*/ 173 h 173"/>
                <a:gd name="T2" fmla="*/ 21 w 173"/>
                <a:gd name="T3" fmla="*/ 171 h 173"/>
                <a:gd name="T4" fmla="*/ 17 w 173"/>
                <a:gd name="T5" fmla="*/ 170 h 173"/>
                <a:gd name="T6" fmla="*/ 13 w 173"/>
                <a:gd name="T7" fmla="*/ 168 h 173"/>
                <a:gd name="T8" fmla="*/ 8 w 173"/>
                <a:gd name="T9" fmla="*/ 164 h 173"/>
                <a:gd name="T10" fmla="*/ 4 w 173"/>
                <a:gd name="T11" fmla="*/ 161 h 173"/>
                <a:gd name="T12" fmla="*/ 3 w 173"/>
                <a:gd name="T13" fmla="*/ 155 h 173"/>
                <a:gd name="T14" fmla="*/ 1 w 173"/>
                <a:gd name="T15" fmla="*/ 151 h 173"/>
                <a:gd name="T16" fmla="*/ 0 w 173"/>
                <a:gd name="T17" fmla="*/ 147 h 173"/>
                <a:gd name="T18" fmla="*/ 1 w 173"/>
                <a:gd name="T19" fmla="*/ 141 h 173"/>
                <a:gd name="T20" fmla="*/ 3 w 173"/>
                <a:gd name="T21" fmla="*/ 137 h 173"/>
                <a:gd name="T22" fmla="*/ 4 w 173"/>
                <a:gd name="T23" fmla="*/ 132 h 173"/>
                <a:gd name="T24" fmla="*/ 8 w 173"/>
                <a:gd name="T25" fmla="*/ 128 h 173"/>
                <a:gd name="T26" fmla="*/ 128 w 173"/>
                <a:gd name="T27" fmla="*/ 9 h 173"/>
                <a:gd name="T28" fmla="*/ 132 w 173"/>
                <a:gd name="T29" fmla="*/ 4 h 173"/>
                <a:gd name="T30" fmla="*/ 137 w 173"/>
                <a:gd name="T31" fmla="*/ 3 h 173"/>
                <a:gd name="T32" fmla="*/ 141 w 173"/>
                <a:gd name="T33" fmla="*/ 1 h 173"/>
                <a:gd name="T34" fmla="*/ 147 w 173"/>
                <a:gd name="T35" fmla="*/ 0 h 173"/>
                <a:gd name="T36" fmla="*/ 151 w 173"/>
                <a:gd name="T37" fmla="*/ 1 h 173"/>
                <a:gd name="T38" fmla="*/ 157 w 173"/>
                <a:gd name="T39" fmla="*/ 3 h 173"/>
                <a:gd name="T40" fmla="*/ 161 w 173"/>
                <a:gd name="T41" fmla="*/ 4 h 173"/>
                <a:gd name="T42" fmla="*/ 165 w 173"/>
                <a:gd name="T43" fmla="*/ 9 h 173"/>
                <a:gd name="T44" fmla="*/ 168 w 173"/>
                <a:gd name="T45" fmla="*/ 11 h 173"/>
                <a:gd name="T46" fmla="*/ 171 w 173"/>
                <a:gd name="T47" fmla="*/ 17 h 173"/>
                <a:gd name="T48" fmla="*/ 173 w 173"/>
                <a:gd name="T49" fmla="*/ 21 h 173"/>
                <a:gd name="T50" fmla="*/ 173 w 173"/>
                <a:gd name="T51" fmla="*/ 26 h 173"/>
                <a:gd name="T52" fmla="*/ 173 w 173"/>
                <a:gd name="T53" fmla="*/ 32 h 173"/>
                <a:gd name="T54" fmla="*/ 171 w 173"/>
                <a:gd name="T55" fmla="*/ 36 h 173"/>
                <a:gd name="T56" fmla="*/ 168 w 173"/>
                <a:gd name="T57" fmla="*/ 40 h 173"/>
                <a:gd name="T58" fmla="*/ 165 w 173"/>
                <a:gd name="T59" fmla="*/ 44 h 173"/>
                <a:gd name="T60" fmla="*/ 44 w 173"/>
                <a:gd name="T61" fmla="*/ 164 h 173"/>
                <a:gd name="T62" fmla="*/ 42 w 173"/>
                <a:gd name="T63" fmla="*/ 168 h 173"/>
                <a:gd name="T64" fmla="*/ 36 w 173"/>
                <a:gd name="T65" fmla="*/ 170 h 173"/>
                <a:gd name="T66" fmla="*/ 31 w 173"/>
                <a:gd name="T67" fmla="*/ 171 h 173"/>
                <a:gd name="T68" fmla="*/ 2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27" y="173"/>
                  </a:moveTo>
                  <a:lnTo>
                    <a:pt x="21" y="171"/>
                  </a:lnTo>
                  <a:lnTo>
                    <a:pt x="17" y="170"/>
                  </a:lnTo>
                  <a:lnTo>
                    <a:pt x="13" y="168"/>
                  </a:lnTo>
                  <a:lnTo>
                    <a:pt x="8" y="164"/>
                  </a:lnTo>
                  <a:lnTo>
                    <a:pt x="4" y="161"/>
                  </a:lnTo>
                  <a:lnTo>
                    <a:pt x="3" y="155"/>
                  </a:lnTo>
                  <a:lnTo>
                    <a:pt x="1" y="151"/>
                  </a:lnTo>
                  <a:lnTo>
                    <a:pt x="0" y="147"/>
                  </a:lnTo>
                  <a:lnTo>
                    <a:pt x="1" y="141"/>
                  </a:lnTo>
                  <a:lnTo>
                    <a:pt x="3" y="137"/>
                  </a:lnTo>
                  <a:lnTo>
                    <a:pt x="4" y="132"/>
                  </a:lnTo>
                  <a:lnTo>
                    <a:pt x="8" y="128"/>
                  </a:lnTo>
                  <a:lnTo>
                    <a:pt x="128" y="9"/>
                  </a:lnTo>
                  <a:lnTo>
                    <a:pt x="132" y="4"/>
                  </a:lnTo>
                  <a:lnTo>
                    <a:pt x="137" y="3"/>
                  </a:lnTo>
                  <a:lnTo>
                    <a:pt x="141" y="1"/>
                  </a:lnTo>
                  <a:lnTo>
                    <a:pt x="147" y="0"/>
                  </a:lnTo>
                  <a:lnTo>
                    <a:pt x="151" y="1"/>
                  </a:lnTo>
                  <a:lnTo>
                    <a:pt x="157" y="3"/>
                  </a:lnTo>
                  <a:lnTo>
                    <a:pt x="161" y="4"/>
                  </a:lnTo>
                  <a:lnTo>
                    <a:pt x="165" y="9"/>
                  </a:lnTo>
                  <a:lnTo>
                    <a:pt x="168" y="11"/>
                  </a:lnTo>
                  <a:lnTo>
                    <a:pt x="171" y="17"/>
                  </a:lnTo>
                  <a:lnTo>
                    <a:pt x="173" y="21"/>
                  </a:lnTo>
                  <a:lnTo>
                    <a:pt x="173" y="26"/>
                  </a:lnTo>
                  <a:lnTo>
                    <a:pt x="173" y="32"/>
                  </a:lnTo>
                  <a:lnTo>
                    <a:pt x="171" y="36"/>
                  </a:lnTo>
                  <a:lnTo>
                    <a:pt x="168" y="40"/>
                  </a:lnTo>
                  <a:lnTo>
                    <a:pt x="165" y="44"/>
                  </a:lnTo>
                  <a:lnTo>
                    <a:pt x="44" y="164"/>
                  </a:lnTo>
                  <a:lnTo>
                    <a:pt x="42" y="168"/>
                  </a:lnTo>
                  <a:lnTo>
                    <a:pt x="36" y="170"/>
                  </a:lnTo>
                  <a:lnTo>
                    <a:pt x="31" y="171"/>
                  </a:lnTo>
                  <a:lnTo>
                    <a:pt x="2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16" name="Group 25">
            <a:extLst>
              <a:ext uri="{FF2B5EF4-FFF2-40B4-BE49-F238E27FC236}">
                <a16:creationId xmlns:a16="http://schemas.microsoft.com/office/drawing/2014/main" id="{07CD7C16-861A-4CFF-B6DA-EE4C89090D6D}"/>
              </a:ext>
            </a:extLst>
          </p:cNvPr>
          <p:cNvGrpSpPr>
            <a:grpSpLocks noChangeAspect="1"/>
          </p:cNvGrpSpPr>
          <p:nvPr/>
        </p:nvGrpSpPr>
        <p:grpSpPr>
          <a:xfrm>
            <a:off x="1115156" y="4346209"/>
            <a:ext cx="208285" cy="305545"/>
            <a:chOff x="8640211" y="1701541"/>
            <a:chExt cx="418808" cy="614374"/>
          </a:xfrm>
          <a:solidFill>
            <a:schemeClr val="bg2"/>
          </a:solidFill>
          <a:effectLst/>
        </p:grpSpPr>
        <p:sp>
          <p:nvSpPr>
            <p:cNvPr id="317" name="Freeform 10">
              <a:extLst>
                <a:ext uri="{FF2B5EF4-FFF2-40B4-BE49-F238E27FC236}">
                  <a16:creationId xmlns:a16="http://schemas.microsoft.com/office/drawing/2014/main" id="{A307B1DC-5721-4F43-AF70-41D43955FF8C}"/>
                </a:ext>
              </a:extLst>
            </p:cNvPr>
            <p:cNvSpPr>
              <a:spLocks noEditPoints="1"/>
            </p:cNvSpPr>
            <p:nvPr/>
          </p:nvSpPr>
          <p:spPr bwMode="auto">
            <a:xfrm>
              <a:off x="8640211" y="1701541"/>
              <a:ext cx="418808" cy="614374"/>
            </a:xfrm>
            <a:custGeom>
              <a:avLst/>
              <a:gdLst>
                <a:gd name="T0" fmla="*/ 40 w 680"/>
                <a:gd name="T1" fmla="*/ 960 h 1000"/>
                <a:gd name="T2" fmla="*/ 640 w 680"/>
                <a:gd name="T3" fmla="*/ 960 h 1000"/>
                <a:gd name="T4" fmla="*/ 640 w 680"/>
                <a:gd name="T5" fmla="*/ 40 h 1000"/>
                <a:gd name="T6" fmla="*/ 189 w 680"/>
                <a:gd name="T7" fmla="*/ 40 h 1000"/>
                <a:gd name="T8" fmla="*/ 40 w 680"/>
                <a:gd name="T9" fmla="*/ 189 h 1000"/>
                <a:gd name="T10" fmla="*/ 40 w 680"/>
                <a:gd name="T11" fmla="*/ 960 h 1000"/>
                <a:gd name="T12" fmla="*/ 660 w 680"/>
                <a:gd name="T13" fmla="*/ 1000 h 1000"/>
                <a:gd name="T14" fmla="*/ 20 w 680"/>
                <a:gd name="T15" fmla="*/ 1000 h 1000"/>
                <a:gd name="T16" fmla="*/ 16 w 680"/>
                <a:gd name="T17" fmla="*/ 999 h 1000"/>
                <a:gd name="T18" fmla="*/ 13 w 680"/>
                <a:gd name="T19" fmla="*/ 999 h 1000"/>
                <a:gd name="T20" fmla="*/ 9 w 680"/>
                <a:gd name="T21" fmla="*/ 996 h 1000"/>
                <a:gd name="T22" fmla="*/ 7 w 680"/>
                <a:gd name="T23" fmla="*/ 994 h 1000"/>
                <a:gd name="T24" fmla="*/ 4 w 680"/>
                <a:gd name="T25" fmla="*/ 991 h 1000"/>
                <a:gd name="T26" fmla="*/ 2 w 680"/>
                <a:gd name="T27" fmla="*/ 988 h 1000"/>
                <a:gd name="T28" fmla="*/ 0 w 680"/>
                <a:gd name="T29" fmla="*/ 984 h 1000"/>
                <a:gd name="T30" fmla="*/ 0 w 680"/>
                <a:gd name="T31" fmla="*/ 980 h 1000"/>
                <a:gd name="T32" fmla="*/ 0 w 680"/>
                <a:gd name="T33" fmla="*/ 180 h 1000"/>
                <a:gd name="T34" fmla="*/ 0 w 680"/>
                <a:gd name="T35" fmla="*/ 176 h 1000"/>
                <a:gd name="T36" fmla="*/ 2 w 680"/>
                <a:gd name="T37" fmla="*/ 173 h 1000"/>
                <a:gd name="T38" fmla="*/ 4 w 680"/>
                <a:gd name="T39" fmla="*/ 169 h 1000"/>
                <a:gd name="T40" fmla="*/ 7 w 680"/>
                <a:gd name="T41" fmla="*/ 165 h 1000"/>
                <a:gd name="T42" fmla="*/ 167 w 680"/>
                <a:gd name="T43" fmla="*/ 6 h 1000"/>
                <a:gd name="T44" fmla="*/ 169 w 680"/>
                <a:gd name="T45" fmla="*/ 4 h 1000"/>
                <a:gd name="T46" fmla="*/ 173 w 680"/>
                <a:gd name="T47" fmla="*/ 1 h 1000"/>
                <a:gd name="T48" fmla="*/ 177 w 680"/>
                <a:gd name="T49" fmla="*/ 0 h 1000"/>
                <a:gd name="T50" fmla="*/ 180 w 680"/>
                <a:gd name="T51" fmla="*/ 0 h 1000"/>
                <a:gd name="T52" fmla="*/ 660 w 680"/>
                <a:gd name="T53" fmla="*/ 0 h 1000"/>
                <a:gd name="T54" fmla="*/ 664 w 680"/>
                <a:gd name="T55" fmla="*/ 0 h 1000"/>
                <a:gd name="T56" fmla="*/ 667 w 680"/>
                <a:gd name="T57" fmla="*/ 1 h 1000"/>
                <a:gd name="T58" fmla="*/ 671 w 680"/>
                <a:gd name="T59" fmla="*/ 4 h 1000"/>
                <a:gd name="T60" fmla="*/ 675 w 680"/>
                <a:gd name="T61" fmla="*/ 6 h 1000"/>
                <a:gd name="T62" fmla="*/ 677 w 680"/>
                <a:gd name="T63" fmla="*/ 9 h 1000"/>
                <a:gd name="T64" fmla="*/ 678 w 680"/>
                <a:gd name="T65" fmla="*/ 12 h 1000"/>
                <a:gd name="T66" fmla="*/ 680 w 680"/>
                <a:gd name="T67" fmla="*/ 16 h 1000"/>
                <a:gd name="T68" fmla="*/ 680 w 680"/>
                <a:gd name="T69" fmla="*/ 20 h 1000"/>
                <a:gd name="T70" fmla="*/ 680 w 680"/>
                <a:gd name="T71" fmla="*/ 980 h 1000"/>
                <a:gd name="T72" fmla="*/ 680 w 680"/>
                <a:gd name="T73" fmla="*/ 984 h 1000"/>
                <a:gd name="T74" fmla="*/ 678 w 680"/>
                <a:gd name="T75" fmla="*/ 988 h 1000"/>
                <a:gd name="T76" fmla="*/ 677 w 680"/>
                <a:gd name="T77" fmla="*/ 991 h 1000"/>
                <a:gd name="T78" fmla="*/ 675 w 680"/>
                <a:gd name="T79" fmla="*/ 994 h 1000"/>
                <a:gd name="T80" fmla="*/ 671 w 680"/>
                <a:gd name="T81" fmla="*/ 996 h 1000"/>
                <a:gd name="T82" fmla="*/ 667 w 680"/>
                <a:gd name="T83" fmla="*/ 999 h 1000"/>
                <a:gd name="T84" fmla="*/ 664 w 680"/>
                <a:gd name="T85" fmla="*/ 999 h 1000"/>
                <a:gd name="T86" fmla="*/ 660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0" y="960"/>
                  </a:moveTo>
                  <a:lnTo>
                    <a:pt x="640" y="960"/>
                  </a:lnTo>
                  <a:lnTo>
                    <a:pt x="640" y="40"/>
                  </a:lnTo>
                  <a:lnTo>
                    <a:pt x="189" y="40"/>
                  </a:lnTo>
                  <a:lnTo>
                    <a:pt x="40" y="189"/>
                  </a:lnTo>
                  <a:lnTo>
                    <a:pt x="40" y="960"/>
                  </a:lnTo>
                  <a:close/>
                  <a:moveTo>
                    <a:pt x="660" y="1000"/>
                  </a:moveTo>
                  <a:lnTo>
                    <a:pt x="20" y="1000"/>
                  </a:lnTo>
                  <a:lnTo>
                    <a:pt x="16" y="999"/>
                  </a:lnTo>
                  <a:lnTo>
                    <a:pt x="13" y="999"/>
                  </a:lnTo>
                  <a:lnTo>
                    <a:pt x="9" y="996"/>
                  </a:lnTo>
                  <a:lnTo>
                    <a:pt x="7" y="994"/>
                  </a:lnTo>
                  <a:lnTo>
                    <a:pt x="4" y="991"/>
                  </a:lnTo>
                  <a:lnTo>
                    <a:pt x="2" y="988"/>
                  </a:lnTo>
                  <a:lnTo>
                    <a:pt x="0" y="984"/>
                  </a:lnTo>
                  <a:lnTo>
                    <a:pt x="0" y="980"/>
                  </a:lnTo>
                  <a:lnTo>
                    <a:pt x="0" y="180"/>
                  </a:lnTo>
                  <a:lnTo>
                    <a:pt x="0" y="176"/>
                  </a:lnTo>
                  <a:lnTo>
                    <a:pt x="2" y="173"/>
                  </a:lnTo>
                  <a:lnTo>
                    <a:pt x="4" y="169"/>
                  </a:lnTo>
                  <a:lnTo>
                    <a:pt x="7" y="165"/>
                  </a:lnTo>
                  <a:lnTo>
                    <a:pt x="167" y="6"/>
                  </a:lnTo>
                  <a:lnTo>
                    <a:pt x="169" y="4"/>
                  </a:lnTo>
                  <a:lnTo>
                    <a:pt x="173" y="1"/>
                  </a:lnTo>
                  <a:lnTo>
                    <a:pt x="177" y="0"/>
                  </a:lnTo>
                  <a:lnTo>
                    <a:pt x="180" y="0"/>
                  </a:lnTo>
                  <a:lnTo>
                    <a:pt x="660" y="0"/>
                  </a:lnTo>
                  <a:lnTo>
                    <a:pt x="664" y="0"/>
                  </a:lnTo>
                  <a:lnTo>
                    <a:pt x="667" y="1"/>
                  </a:lnTo>
                  <a:lnTo>
                    <a:pt x="671" y="4"/>
                  </a:lnTo>
                  <a:lnTo>
                    <a:pt x="675" y="6"/>
                  </a:lnTo>
                  <a:lnTo>
                    <a:pt x="677" y="9"/>
                  </a:lnTo>
                  <a:lnTo>
                    <a:pt x="678" y="12"/>
                  </a:lnTo>
                  <a:lnTo>
                    <a:pt x="680" y="16"/>
                  </a:lnTo>
                  <a:lnTo>
                    <a:pt x="680" y="20"/>
                  </a:lnTo>
                  <a:lnTo>
                    <a:pt x="680" y="980"/>
                  </a:lnTo>
                  <a:lnTo>
                    <a:pt x="680" y="984"/>
                  </a:lnTo>
                  <a:lnTo>
                    <a:pt x="678" y="988"/>
                  </a:lnTo>
                  <a:lnTo>
                    <a:pt x="677" y="991"/>
                  </a:lnTo>
                  <a:lnTo>
                    <a:pt x="675" y="994"/>
                  </a:lnTo>
                  <a:lnTo>
                    <a:pt x="671" y="996"/>
                  </a:lnTo>
                  <a:lnTo>
                    <a:pt x="667" y="999"/>
                  </a:lnTo>
                  <a:lnTo>
                    <a:pt x="664"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11">
              <a:extLst>
                <a:ext uri="{FF2B5EF4-FFF2-40B4-BE49-F238E27FC236}">
                  <a16:creationId xmlns:a16="http://schemas.microsoft.com/office/drawing/2014/main" id="{C15FEBDE-BA5E-4078-8397-FCE0FED7C66B}"/>
                </a:ext>
              </a:extLst>
            </p:cNvPr>
            <p:cNvSpPr>
              <a:spLocks/>
            </p:cNvSpPr>
            <p:nvPr/>
          </p:nvSpPr>
          <p:spPr bwMode="auto">
            <a:xfrm>
              <a:off x="8640211"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7 w 200"/>
                <a:gd name="T11" fmla="*/ 194 h 200"/>
                <a:gd name="T12" fmla="*/ 4 w 200"/>
                <a:gd name="T13" fmla="*/ 191 h 200"/>
                <a:gd name="T14" fmla="*/ 2 w 200"/>
                <a:gd name="T15" fmla="*/ 188 h 200"/>
                <a:gd name="T16" fmla="*/ 0 w 200"/>
                <a:gd name="T17" fmla="*/ 184 h 200"/>
                <a:gd name="T18" fmla="*/ 0 w 200"/>
                <a:gd name="T19" fmla="*/ 180 h 200"/>
                <a:gd name="T20" fmla="*/ 0 w 200"/>
                <a:gd name="T21" fmla="*/ 176 h 200"/>
                <a:gd name="T22" fmla="*/ 2 w 200"/>
                <a:gd name="T23" fmla="*/ 173 h 200"/>
                <a:gd name="T24" fmla="*/ 4 w 200"/>
                <a:gd name="T25" fmla="*/ 169 h 200"/>
                <a:gd name="T26" fmla="*/ 7 w 200"/>
                <a:gd name="T27" fmla="*/ 165 h 200"/>
                <a:gd name="T28" fmla="*/ 9 w 200"/>
                <a:gd name="T29" fmla="*/ 164 h 200"/>
                <a:gd name="T30" fmla="*/ 13 w 200"/>
                <a:gd name="T31" fmla="*/ 162 h 200"/>
                <a:gd name="T32" fmla="*/ 16 w 200"/>
                <a:gd name="T33" fmla="*/ 160 h 200"/>
                <a:gd name="T34" fmla="*/ 20 w 200"/>
                <a:gd name="T35" fmla="*/ 160 h 200"/>
                <a:gd name="T36" fmla="*/ 161 w 200"/>
                <a:gd name="T37" fmla="*/ 160 h 200"/>
                <a:gd name="T38" fmla="*/ 161 w 200"/>
                <a:gd name="T39" fmla="*/ 20 h 200"/>
                <a:gd name="T40" fmla="*/ 161 w 200"/>
                <a:gd name="T41" fmla="*/ 16 h 200"/>
                <a:gd name="T42" fmla="*/ 162 w 200"/>
                <a:gd name="T43" fmla="*/ 12 h 200"/>
                <a:gd name="T44" fmla="*/ 164 w 200"/>
                <a:gd name="T45" fmla="*/ 9 h 200"/>
                <a:gd name="T46" fmla="*/ 167 w 200"/>
                <a:gd name="T47" fmla="*/ 6 h 200"/>
                <a:gd name="T48" fmla="*/ 169 w 200"/>
                <a:gd name="T49" fmla="*/ 4 h 200"/>
                <a:gd name="T50" fmla="*/ 173 w 200"/>
                <a:gd name="T51" fmla="*/ 1 h 200"/>
                <a:gd name="T52" fmla="*/ 177 w 200"/>
                <a:gd name="T53" fmla="*/ 0 h 200"/>
                <a:gd name="T54" fmla="*/ 180 w 200"/>
                <a:gd name="T55" fmla="*/ 0 h 200"/>
                <a:gd name="T56" fmla="*/ 184 w 200"/>
                <a:gd name="T57" fmla="*/ 0 h 200"/>
                <a:gd name="T58" fmla="*/ 188 w 200"/>
                <a:gd name="T59" fmla="*/ 1 h 200"/>
                <a:gd name="T60" fmla="*/ 192 w 200"/>
                <a:gd name="T61" fmla="*/ 4 h 200"/>
                <a:gd name="T62" fmla="*/ 194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4 w 200"/>
                <a:gd name="T81" fmla="*/ 194 h 200"/>
                <a:gd name="T82" fmla="*/ 192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7" y="194"/>
                  </a:lnTo>
                  <a:lnTo>
                    <a:pt x="4" y="191"/>
                  </a:lnTo>
                  <a:lnTo>
                    <a:pt x="2" y="188"/>
                  </a:lnTo>
                  <a:lnTo>
                    <a:pt x="0" y="184"/>
                  </a:lnTo>
                  <a:lnTo>
                    <a:pt x="0" y="180"/>
                  </a:lnTo>
                  <a:lnTo>
                    <a:pt x="0" y="176"/>
                  </a:lnTo>
                  <a:lnTo>
                    <a:pt x="2" y="173"/>
                  </a:lnTo>
                  <a:lnTo>
                    <a:pt x="4" y="169"/>
                  </a:lnTo>
                  <a:lnTo>
                    <a:pt x="7" y="165"/>
                  </a:lnTo>
                  <a:lnTo>
                    <a:pt x="9" y="164"/>
                  </a:lnTo>
                  <a:lnTo>
                    <a:pt x="13" y="162"/>
                  </a:lnTo>
                  <a:lnTo>
                    <a:pt x="16" y="160"/>
                  </a:lnTo>
                  <a:lnTo>
                    <a:pt x="20" y="160"/>
                  </a:lnTo>
                  <a:lnTo>
                    <a:pt x="161" y="160"/>
                  </a:lnTo>
                  <a:lnTo>
                    <a:pt x="161" y="20"/>
                  </a:lnTo>
                  <a:lnTo>
                    <a:pt x="161" y="16"/>
                  </a:lnTo>
                  <a:lnTo>
                    <a:pt x="162" y="12"/>
                  </a:lnTo>
                  <a:lnTo>
                    <a:pt x="164" y="9"/>
                  </a:lnTo>
                  <a:lnTo>
                    <a:pt x="167" y="6"/>
                  </a:lnTo>
                  <a:lnTo>
                    <a:pt x="169" y="4"/>
                  </a:lnTo>
                  <a:lnTo>
                    <a:pt x="173" y="1"/>
                  </a:lnTo>
                  <a:lnTo>
                    <a:pt x="177" y="0"/>
                  </a:lnTo>
                  <a:lnTo>
                    <a:pt x="180" y="0"/>
                  </a:lnTo>
                  <a:lnTo>
                    <a:pt x="184" y="0"/>
                  </a:lnTo>
                  <a:lnTo>
                    <a:pt x="188" y="1"/>
                  </a:lnTo>
                  <a:lnTo>
                    <a:pt x="192" y="4"/>
                  </a:lnTo>
                  <a:lnTo>
                    <a:pt x="194" y="6"/>
                  </a:lnTo>
                  <a:lnTo>
                    <a:pt x="197" y="9"/>
                  </a:lnTo>
                  <a:lnTo>
                    <a:pt x="199" y="12"/>
                  </a:lnTo>
                  <a:lnTo>
                    <a:pt x="200" y="16"/>
                  </a:lnTo>
                  <a:lnTo>
                    <a:pt x="200" y="20"/>
                  </a:lnTo>
                  <a:lnTo>
                    <a:pt x="200" y="180"/>
                  </a:lnTo>
                  <a:lnTo>
                    <a:pt x="200" y="184"/>
                  </a:lnTo>
                  <a:lnTo>
                    <a:pt x="199" y="188"/>
                  </a:lnTo>
                  <a:lnTo>
                    <a:pt x="197" y="191"/>
                  </a:lnTo>
                  <a:lnTo>
                    <a:pt x="194" y="194"/>
                  </a:lnTo>
                  <a:lnTo>
                    <a:pt x="192"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59">
              <a:extLst>
                <a:ext uri="{FF2B5EF4-FFF2-40B4-BE49-F238E27FC236}">
                  <a16:creationId xmlns:a16="http://schemas.microsoft.com/office/drawing/2014/main" id="{610B56A0-E4F6-45B7-AFA8-EA00B52BED34}"/>
                </a:ext>
              </a:extLst>
            </p:cNvPr>
            <p:cNvSpPr>
              <a:spLocks noEditPoints="1"/>
            </p:cNvSpPr>
            <p:nvPr/>
          </p:nvSpPr>
          <p:spPr bwMode="auto">
            <a:xfrm>
              <a:off x="8715855" y="1898953"/>
              <a:ext cx="269365" cy="269365"/>
            </a:xfrm>
            <a:custGeom>
              <a:avLst/>
              <a:gdLst>
                <a:gd name="T0" fmla="*/ 184 w 439"/>
                <a:gd name="T1" fmla="*/ 43 h 439"/>
                <a:gd name="T2" fmla="*/ 134 w 439"/>
                <a:gd name="T3" fmla="*/ 60 h 439"/>
                <a:gd name="T4" fmla="*/ 92 w 439"/>
                <a:gd name="T5" fmla="*/ 91 h 439"/>
                <a:gd name="T6" fmla="*/ 61 w 439"/>
                <a:gd name="T7" fmla="*/ 134 h 439"/>
                <a:gd name="T8" fmla="*/ 43 w 439"/>
                <a:gd name="T9" fmla="*/ 182 h 439"/>
                <a:gd name="T10" fmla="*/ 41 w 439"/>
                <a:gd name="T11" fmla="*/ 237 h 439"/>
                <a:gd name="T12" fmla="*/ 53 w 439"/>
                <a:gd name="T13" fmla="*/ 289 h 439"/>
                <a:gd name="T14" fmla="*/ 81 w 439"/>
                <a:gd name="T15" fmla="*/ 334 h 439"/>
                <a:gd name="T16" fmla="*/ 119 w 439"/>
                <a:gd name="T17" fmla="*/ 369 h 439"/>
                <a:gd name="T18" fmla="*/ 166 w 439"/>
                <a:gd name="T19" fmla="*/ 391 h 439"/>
                <a:gd name="T20" fmla="*/ 220 w 439"/>
                <a:gd name="T21" fmla="*/ 398 h 439"/>
                <a:gd name="T22" fmla="*/ 273 w 439"/>
                <a:gd name="T23" fmla="*/ 391 h 439"/>
                <a:gd name="T24" fmla="*/ 320 w 439"/>
                <a:gd name="T25" fmla="*/ 369 h 439"/>
                <a:gd name="T26" fmla="*/ 358 w 439"/>
                <a:gd name="T27" fmla="*/ 334 h 439"/>
                <a:gd name="T28" fmla="*/ 385 w 439"/>
                <a:gd name="T29" fmla="*/ 289 h 439"/>
                <a:gd name="T30" fmla="*/ 399 w 439"/>
                <a:gd name="T31" fmla="*/ 237 h 439"/>
                <a:gd name="T32" fmla="*/ 396 w 439"/>
                <a:gd name="T33" fmla="*/ 182 h 439"/>
                <a:gd name="T34" fmla="*/ 377 w 439"/>
                <a:gd name="T35" fmla="*/ 134 h 439"/>
                <a:gd name="T36" fmla="*/ 346 w 439"/>
                <a:gd name="T37" fmla="*/ 91 h 439"/>
                <a:gd name="T38" fmla="*/ 305 w 439"/>
                <a:gd name="T39" fmla="*/ 60 h 439"/>
                <a:gd name="T40" fmla="*/ 256 w 439"/>
                <a:gd name="T41" fmla="*/ 43 h 439"/>
                <a:gd name="T42" fmla="*/ 220 w 439"/>
                <a:gd name="T43" fmla="*/ 439 h 439"/>
                <a:gd name="T44" fmla="*/ 154 w 439"/>
                <a:gd name="T45" fmla="*/ 429 h 439"/>
                <a:gd name="T46" fmla="*/ 97 w 439"/>
                <a:gd name="T47" fmla="*/ 401 h 439"/>
                <a:gd name="T48" fmla="*/ 49 w 439"/>
                <a:gd name="T49" fmla="*/ 359 h 439"/>
                <a:gd name="T50" fmla="*/ 17 w 439"/>
                <a:gd name="T51" fmla="*/ 304 h 439"/>
                <a:gd name="T52" fmla="*/ 1 w 439"/>
                <a:gd name="T53" fmla="*/ 242 h 439"/>
                <a:gd name="T54" fmla="*/ 4 w 439"/>
                <a:gd name="T55" fmla="*/ 175 h 439"/>
                <a:gd name="T56" fmla="*/ 26 w 439"/>
                <a:gd name="T57" fmla="*/ 114 h 439"/>
                <a:gd name="T58" fmla="*/ 64 w 439"/>
                <a:gd name="T59" fmla="*/ 63 h 439"/>
                <a:gd name="T60" fmla="*/ 114 w 439"/>
                <a:gd name="T61" fmla="*/ 26 h 439"/>
                <a:gd name="T62" fmla="*/ 175 w 439"/>
                <a:gd name="T63" fmla="*/ 3 h 439"/>
                <a:gd name="T64" fmla="*/ 242 w 439"/>
                <a:gd name="T65" fmla="*/ 0 h 439"/>
                <a:gd name="T66" fmla="*/ 305 w 439"/>
                <a:gd name="T67" fmla="*/ 16 h 439"/>
                <a:gd name="T68" fmla="*/ 359 w 439"/>
                <a:gd name="T69" fmla="*/ 49 h 439"/>
                <a:gd name="T70" fmla="*/ 401 w 439"/>
                <a:gd name="T71" fmla="*/ 96 h 439"/>
                <a:gd name="T72" fmla="*/ 430 w 439"/>
                <a:gd name="T73" fmla="*/ 154 h 439"/>
                <a:gd name="T74" fmla="*/ 439 w 439"/>
                <a:gd name="T75" fmla="*/ 219 h 439"/>
                <a:gd name="T76" fmla="*/ 430 w 439"/>
                <a:gd name="T77" fmla="*/ 284 h 439"/>
                <a:gd name="T78" fmla="*/ 401 w 439"/>
                <a:gd name="T79" fmla="*/ 342 h 439"/>
                <a:gd name="T80" fmla="*/ 359 w 439"/>
                <a:gd name="T81" fmla="*/ 388 h 439"/>
                <a:gd name="T82" fmla="*/ 305 w 439"/>
                <a:gd name="T83" fmla="*/ 422 h 439"/>
                <a:gd name="T84" fmla="*/ 242 w 439"/>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9" h="439">
                  <a:moveTo>
                    <a:pt x="220" y="39"/>
                  </a:moveTo>
                  <a:lnTo>
                    <a:pt x="201" y="39"/>
                  </a:lnTo>
                  <a:lnTo>
                    <a:pt x="184" y="43"/>
                  </a:lnTo>
                  <a:lnTo>
                    <a:pt x="166" y="47"/>
                  </a:lnTo>
                  <a:lnTo>
                    <a:pt x="149" y="53"/>
                  </a:lnTo>
                  <a:lnTo>
                    <a:pt x="134" y="60"/>
                  </a:lnTo>
                  <a:lnTo>
                    <a:pt x="119" y="70"/>
                  </a:lnTo>
                  <a:lnTo>
                    <a:pt x="105" y="80"/>
                  </a:lnTo>
                  <a:lnTo>
                    <a:pt x="92" y="91"/>
                  </a:lnTo>
                  <a:lnTo>
                    <a:pt x="81" y="105"/>
                  </a:lnTo>
                  <a:lnTo>
                    <a:pt x="71" y="119"/>
                  </a:lnTo>
                  <a:lnTo>
                    <a:pt x="61" y="134"/>
                  </a:lnTo>
                  <a:lnTo>
                    <a:pt x="53" y="149"/>
                  </a:lnTo>
                  <a:lnTo>
                    <a:pt x="47" y="166"/>
                  </a:lnTo>
                  <a:lnTo>
                    <a:pt x="43" y="182"/>
                  </a:lnTo>
                  <a:lnTo>
                    <a:pt x="41" y="201"/>
                  </a:lnTo>
                  <a:lnTo>
                    <a:pt x="40" y="219"/>
                  </a:lnTo>
                  <a:lnTo>
                    <a:pt x="41" y="237"/>
                  </a:lnTo>
                  <a:lnTo>
                    <a:pt x="43" y="255"/>
                  </a:lnTo>
                  <a:lnTo>
                    <a:pt x="47" y="273"/>
                  </a:lnTo>
                  <a:lnTo>
                    <a:pt x="53" y="289"/>
                  </a:lnTo>
                  <a:lnTo>
                    <a:pt x="61" y="305"/>
                  </a:lnTo>
                  <a:lnTo>
                    <a:pt x="71" y="320"/>
                  </a:lnTo>
                  <a:lnTo>
                    <a:pt x="81" y="334"/>
                  </a:lnTo>
                  <a:lnTo>
                    <a:pt x="92" y="346"/>
                  </a:lnTo>
                  <a:lnTo>
                    <a:pt x="105" y="357"/>
                  </a:lnTo>
                  <a:lnTo>
                    <a:pt x="119" y="369"/>
                  </a:lnTo>
                  <a:lnTo>
                    <a:pt x="134" y="377"/>
                  </a:lnTo>
                  <a:lnTo>
                    <a:pt x="149" y="385"/>
                  </a:lnTo>
                  <a:lnTo>
                    <a:pt x="166" y="391"/>
                  </a:lnTo>
                  <a:lnTo>
                    <a:pt x="184" y="396"/>
                  </a:lnTo>
                  <a:lnTo>
                    <a:pt x="201" y="398"/>
                  </a:lnTo>
                  <a:lnTo>
                    <a:pt x="220" y="398"/>
                  </a:lnTo>
                  <a:lnTo>
                    <a:pt x="237" y="398"/>
                  </a:lnTo>
                  <a:lnTo>
                    <a:pt x="256" y="396"/>
                  </a:lnTo>
                  <a:lnTo>
                    <a:pt x="273" y="391"/>
                  </a:lnTo>
                  <a:lnTo>
                    <a:pt x="289" y="385"/>
                  </a:lnTo>
                  <a:lnTo>
                    <a:pt x="305" y="377"/>
                  </a:lnTo>
                  <a:lnTo>
                    <a:pt x="320" y="369"/>
                  </a:lnTo>
                  <a:lnTo>
                    <a:pt x="334" y="357"/>
                  </a:lnTo>
                  <a:lnTo>
                    <a:pt x="346" y="346"/>
                  </a:lnTo>
                  <a:lnTo>
                    <a:pt x="358" y="334"/>
                  </a:lnTo>
                  <a:lnTo>
                    <a:pt x="369" y="320"/>
                  </a:lnTo>
                  <a:lnTo>
                    <a:pt x="377" y="305"/>
                  </a:lnTo>
                  <a:lnTo>
                    <a:pt x="385" y="289"/>
                  </a:lnTo>
                  <a:lnTo>
                    <a:pt x="391" y="273"/>
                  </a:lnTo>
                  <a:lnTo>
                    <a:pt x="396" y="255"/>
                  </a:lnTo>
                  <a:lnTo>
                    <a:pt x="399" y="237"/>
                  </a:lnTo>
                  <a:lnTo>
                    <a:pt x="400" y="219"/>
                  </a:lnTo>
                  <a:lnTo>
                    <a:pt x="399" y="201"/>
                  </a:lnTo>
                  <a:lnTo>
                    <a:pt x="396" y="182"/>
                  </a:lnTo>
                  <a:lnTo>
                    <a:pt x="391" y="166"/>
                  </a:lnTo>
                  <a:lnTo>
                    <a:pt x="385" y="149"/>
                  </a:lnTo>
                  <a:lnTo>
                    <a:pt x="377" y="134"/>
                  </a:lnTo>
                  <a:lnTo>
                    <a:pt x="369" y="119"/>
                  </a:lnTo>
                  <a:lnTo>
                    <a:pt x="358" y="105"/>
                  </a:lnTo>
                  <a:lnTo>
                    <a:pt x="346" y="91"/>
                  </a:lnTo>
                  <a:lnTo>
                    <a:pt x="334" y="80"/>
                  </a:lnTo>
                  <a:lnTo>
                    <a:pt x="320" y="70"/>
                  </a:lnTo>
                  <a:lnTo>
                    <a:pt x="305" y="60"/>
                  </a:lnTo>
                  <a:lnTo>
                    <a:pt x="289" y="53"/>
                  </a:lnTo>
                  <a:lnTo>
                    <a:pt x="273" y="47"/>
                  </a:lnTo>
                  <a:lnTo>
                    <a:pt x="256" y="43"/>
                  </a:lnTo>
                  <a:lnTo>
                    <a:pt x="237" y="39"/>
                  </a:lnTo>
                  <a:lnTo>
                    <a:pt x="220" y="39"/>
                  </a:lnTo>
                  <a:close/>
                  <a:moveTo>
                    <a:pt x="220" y="439"/>
                  </a:moveTo>
                  <a:lnTo>
                    <a:pt x="197" y="438"/>
                  </a:lnTo>
                  <a:lnTo>
                    <a:pt x="175" y="434"/>
                  </a:lnTo>
                  <a:lnTo>
                    <a:pt x="154" y="429"/>
                  </a:lnTo>
                  <a:lnTo>
                    <a:pt x="134" y="422"/>
                  </a:lnTo>
                  <a:lnTo>
                    <a:pt x="114" y="412"/>
                  </a:lnTo>
                  <a:lnTo>
                    <a:pt x="97" y="401"/>
                  </a:lnTo>
                  <a:lnTo>
                    <a:pt x="79" y="388"/>
                  </a:lnTo>
                  <a:lnTo>
                    <a:pt x="64" y="375"/>
                  </a:lnTo>
                  <a:lnTo>
                    <a:pt x="49"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49" y="79"/>
                  </a:lnTo>
                  <a:lnTo>
                    <a:pt x="64" y="63"/>
                  </a:lnTo>
                  <a:lnTo>
                    <a:pt x="79" y="49"/>
                  </a:lnTo>
                  <a:lnTo>
                    <a:pt x="97" y="37"/>
                  </a:lnTo>
                  <a:lnTo>
                    <a:pt x="114" y="26"/>
                  </a:lnTo>
                  <a:lnTo>
                    <a:pt x="134" y="16"/>
                  </a:lnTo>
                  <a:lnTo>
                    <a:pt x="154" y="9"/>
                  </a:lnTo>
                  <a:lnTo>
                    <a:pt x="175" y="3"/>
                  </a:lnTo>
                  <a:lnTo>
                    <a:pt x="197" y="0"/>
                  </a:lnTo>
                  <a:lnTo>
                    <a:pt x="220" y="0"/>
                  </a:lnTo>
                  <a:lnTo>
                    <a:pt x="242" y="0"/>
                  </a:lnTo>
                  <a:lnTo>
                    <a:pt x="263" y="3"/>
                  </a:lnTo>
                  <a:lnTo>
                    <a:pt x="284" y="9"/>
                  </a:lnTo>
                  <a:lnTo>
                    <a:pt x="305" y="16"/>
                  </a:lnTo>
                  <a:lnTo>
                    <a:pt x="324" y="26"/>
                  </a:lnTo>
                  <a:lnTo>
                    <a:pt x="343" y="37"/>
                  </a:lnTo>
                  <a:lnTo>
                    <a:pt x="359" y="49"/>
                  </a:lnTo>
                  <a:lnTo>
                    <a:pt x="375" y="63"/>
                  </a:lnTo>
                  <a:lnTo>
                    <a:pt x="389" y="79"/>
                  </a:lnTo>
                  <a:lnTo>
                    <a:pt x="401" y="96"/>
                  </a:lnTo>
                  <a:lnTo>
                    <a:pt x="412" y="114"/>
                  </a:lnTo>
                  <a:lnTo>
                    <a:pt x="422" y="134"/>
                  </a:lnTo>
                  <a:lnTo>
                    <a:pt x="430" y="154"/>
                  </a:lnTo>
                  <a:lnTo>
                    <a:pt x="435" y="175"/>
                  </a:lnTo>
                  <a:lnTo>
                    <a:pt x="438" y="197"/>
                  </a:lnTo>
                  <a:lnTo>
                    <a:pt x="439" y="219"/>
                  </a:lnTo>
                  <a:lnTo>
                    <a:pt x="438" y="242"/>
                  </a:lnTo>
                  <a:lnTo>
                    <a:pt x="435" y="263"/>
                  </a:lnTo>
                  <a:lnTo>
                    <a:pt x="430" y="284"/>
                  </a:lnTo>
                  <a:lnTo>
                    <a:pt x="422" y="304"/>
                  </a:lnTo>
                  <a:lnTo>
                    <a:pt x="412" y="324"/>
                  </a:lnTo>
                  <a:lnTo>
                    <a:pt x="401" y="342"/>
                  </a:lnTo>
                  <a:lnTo>
                    <a:pt x="389" y="359"/>
                  </a:lnTo>
                  <a:lnTo>
                    <a:pt x="375" y="375"/>
                  </a:lnTo>
                  <a:lnTo>
                    <a:pt x="359" y="388"/>
                  </a:lnTo>
                  <a:lnTo>
                    <a:pt x="343" y="401"/>
                  </a:lnTo>
                  <a:lnTo>
                    <a:pt x="324" y="412"/>
                  </a:lnTo>
                  <a:lnTo>
                    <a:pt x="305"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60">
              <a:extLst>
                <a:ext uri="{FF2B5EF4-FFF2-40B4-BE49-F238E27FC236}">
                  <a16:creationId xmlns:a16="http://schemas.microsoft.com/office/drawing/2014/main" id="{B2E57B45-4CDD-466D-B3C3-AF34A7C38A6F}"/>
                </a:ext>
              </a:extLst>
            </p:cNvPr>
            <p:cNvSpPr>
              <a:spLocks/>
            </p:cNvSpPr>
            <p:nvPr/>
          </p:nvSpPr>
          <p:spPr bwMode="auto">
            <a:xfrm>
              <a:off x="8763824" y="1983821"/>
              <a:ext cx="160512" cy="110698"/>
            </a:xfrm>
            <a:custGeom>
              <a:avLst/>
              <a:gdLst>
                <a:gd name="T0" fmla="*/ 100 w 260"/>
                <a:gd name="T1" fmla="*/ 180 h 180"/>
                <a:gd name="T2" fmla="*/ 96 w 260"/>
                <a:gd name="T3" fmla="*/ 180 h 180"/>
                <a:gd name="T4" fmla="*/ 92 w 260"/>
                <a:gd name="T5" fmla="*/ 179 h 180"/>
                <a:gd name="T6" fmla="*/ 90 w 260"/>
                <a:gd name="T7" fmla="*/ 176 h 180"/>
                <a:gd name="T8" fmla="*/ 86 w 260"/>
                <a:gd name="T9" fmla="*/ 174 h 180"/>
                <a:gd name="T10" fmla="*/ 7 w 260"/>
                <a:gd name="T11" fmla="*/ 94 h 180"/>
                <a:gd name="T12" fmla="*/ 4 w 260"/>
                <a:gd name="T13" fmla="*/ 90 h 180"/>
                <a:gd name="T14" fmla="*/ 2 w 260"/>
                <a:gd name="T15" fmla="*/ 88 h 180"/>
                <a:gd name="T16" fmla="*/ 0 w 260"/>
                <a:gd name="T17" fmla="*/ 84 h 180"/>
                <a:gd name="T18" fmla="*/ 0 w 260"/>
                <a:gd name="T19" fmla="*/ 80 h 180"/>
                <a:gd name="T20" fmla="*/ 0 w 260"/>
                <a:gd name="T21" fmla="*/ 77 h 180"/>
                <a:gd name="T22" fmla="*/ 2 w 260"/>
                <a:gd name="T23" fmla="*/ 73 h 180"/>
                <a:gd name="T24" fmla="*/ 4 w 260"/>
                <a:gd name="T25" fmla="*/ 69 h 180"/>
                <a:gd name="T26" fmla="*/ 7 w 260"/>
                <a:gd name="T27" fmla="*/ 66 h 180"/>
                <a:gd name="T28" fmla="*/ 9 w 260"/>
                <a:gd name="T29" fmla="*/ 63 h 180"/>
                <a:gd name="T30" fmla="*/ 13 w 260"/>
                <a:gd name="T31" fmla="*/ 62 h 180"/>
                <a:gd name="T32" fmla="*/ 16 w 260"/>
                <a:gd name="T33" fmla="*/ 61 h 180"/>
                <a:gd name="T34" fmla="*/ 20 w 260"/>
                <a:gd name="T35" fmla="*/ 61 h 180"/>
                <a:gd name="T36" fmla="*/ 24 w 260"/>
                <a:gd name="T37" fmla="*/ 61 h 180"/>
                <a:gd name="T38" fmla="*/ 28 w 260"/>
                <a:gd name="T39" fmla="*/ 62 h 180"/>
                <a:gd name="T40" fmla="*/ 31 w 260"/>
                <a:gd name="T41" fmla="*/ 63 h 180"/>
                <a:gd name="T42" fmla="*/ 34 w 260"/>
                <a:gd name="T43" fmla="*/ 66 h 180"/>
                <a:gd name="T44" fmla="*/ 100 w 260"/>
                <a:gd name="T45" fmla="*/ 131 h 180"/>
                <a:gd name="T46" fmla="*/ 226 w 260"/>
                <a:gd name="T47" fmla="*/ 6 h 180"/>
                <a:gd name="T48" fmla="*/ 229 w 260"/>
                <a:gd name="T49" fmla="*/ 3 h 180"/>
                <a:gd name="T50" fmla="*/ 233 w 260"/>
                <a:gd name="T51" fmla="*/ 1 h 180"/>
                <a:gd name="T52" fmla="*/ 236 w 260"/>
                <a:gd name="T53" fmla="*/ 1 h 180"/>
                <a:gd name="T54" fmla="*/ 240 w 260"/>
                <a:gd name="T55" fmla="*/ 0 h 180"/>
                <a:gd name="T56" fmla="*/ 244 w 260"/>
                <a:gd name="T57" fmla="*/ 1 h 180"/>
                <a:gd name="T58" fmla="*/ 247 w 260"/>
                <a:gd name="T59" fmla="*/ 1 h 180"/>
                <a:gd name="T60" fmla="*/ 251 w 260"/>
                <a:gd name="T61" fmla="*/ 3 h 180"/>
                <a:gd name="T62" fmla="*/ 255 w 260"/>
                <a:gd name="T63" fmla="*/ 6 h 180"/>
                <a:gd name="T64" fmla="*/ 257 w 260"/>
                <a:gd name="T65" fmla="*/ 8 h 180"/>
                <a:gd name="T66" fmla="*/ 259 w 260"/>
                <a:gd name="T67" fmla="*/ 12 h 180"/>
                <a:gd name="T68" fmla="*/ 260 w 260"/>
                <a:gd name="T69" fmla="*/ 16 h 180"/>
                <a:gd name="T70" fmla="*/ 260 w 260"/>
                <a:gd name="T71" fmla="*/ 20 h 180"/>
                <a:gd name="T72" fmla="*/ 260 w 260"/>
                <a:gd name="T73" fmla="*/ 23 h 180"/>
                <a:gd name="T74" fmla="*/ 259 w 260"/>
                <a:gd name="T75" fmla="*/ 27 h 180"/>
                <a:gd name="T76" fmla="*/ 257 w 260"/>
                <a:gd name="T77" fmla="*/ 31 h 180"/>
                <a:gd name="T78" fmla="*/ 255 w 260"/>
                <a:gd name="T79" fmla="*/ 34 h 180"/>
                <a:gd name="T80" fmla="*/ 115 w 260"/>
                <a:gd name="T81" fmla="*/ 174 h 180"/>
                <a:gd name="T82" fmla="*/ 111 w 260"/>
                <a:gd name="T83" fmla="*/ 176 h 180"/>
                <a:gd name="T84" fmla="*/ 108 w 260"/>
                <a:gd name="T85" fmla="*/ 179 h 180"/>
                <a:gd name="T86" fmla="*/ 105 w 260"/>
                <a:gd name="T87" fmla="*/ 180 h 180"/>
                <a:gd name="T88" fmla="*/ 100 w 260"/>
                <a:gd name="T8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180">
                  <a:moveTo>
                    <a:pt x="100" y="180"/>
                  </a:moveTo>
                  <a:lnTo>
                    <a:pt x="96" y="180"/>
                  </a:lnTo>
                  <a:lnTo>
                    <a:pt x="92" y="179"/>
                  </a:lnTo>
                  <a:lnTo>
                    <a:pt x="90" y="176"/>
                  </a:lnTo>
                  <a:lnTo>
                    <a:pt x="86" y="174"/>
                  </a:lnTo>
                  <a:lnTo>
                    <a:pt x="7" y="94"/>
                  </a:lnTo>
                  <a:lnTo>
                    <a:pt x="4" y="90"/>
                  </a:lnTo>
                  <a:lnTo>
                    <a:pt x="2" y="88"/>
                  </a:lnTo>
                  <a:lnTo>
                    <a:pt x="0" y="84"/>
                  </a:lnTo>
                  <a:lnTo>
                    <a:pt x="0" y="80"/>
                  </a:lnTo>
                  <a:lnTo>
                    <a:pt x="0" y="77"/>
                  </a:lnTo>
                  <a:lnTo>
                    <a:pt x="2" y="73"/>
                  </a:lnTo>
                  <a:lnTo>
                    <a:pt x="4" y="69"/>
                  </a:lnTo>
                  <a:lnTo>
                    <a:pt x="7" y="66"/>
                  </a:lnTo>
                  <a:lnTo>
                    <a:pt x="9" y="63"/>
                  </a:lnTo>
                  <a:lnTo>
                    <a:pt x="13" y="62"/>
                  </a:lnTo>
                  <a:lnTo>
                    <a:pt x="16" y="61"/>
                  </a:lnTo>
                  <a:lnTo>
                    <a:pt x="20" y="61"/>
                  </a:lnTo>
                  <a:lnTo>
                    <a:pt x="24" y="61"/>
                  </a:lnTo>
                  <a:lnTo>
                    <a:pt x="28" y="62"/>
                  </a:lnTo>
                  <a:lnTo>
                    <a:pt x="31" y="63"/>
                  </a:lnTo>
                  <a:lnTo>
                    <a:pt x="34" y="66"/>
                  </a:lnTo>
                  <a:lnTo>
                    <a:pt x="100" y="131"/>
                  </a:lnTo>
                  <a:lnTo>
                    <a:pt x="226" y="6"/>
                  </a:lnTo>
                  <a:lnTo>
                    <a:pt x="229" y="3"/>
                  </a:lnTo>
                  <a:lnTo>
                    <a:pt x="233" y="1"/>
                  </a:lnTo>
                  <a:lnTo>
                    <a:pt x="236" y="1"/>
                  </a:lnTo>
                  <a:lnTo>
                    <a:pt x="240" y="0"/>
                  </a:lnTo>
                  <a:lnTo>
                    <a:pt x="244" y="1"/>
                  </a:lnTo>
                  <a:lnTo>
                    <a:pt x="247" y="1"/>
                  </a:lnTo>
                  <a:lnTo>
                    <a:pt x="251" y="3"/>
                  </a:lnTo>
                  <a:lnTo>
                    <a:pt x="255" y="6"/>
                  </a:lnTo>
                  <a:lnTo>
                    <a:pt x="257" y="8"/>
                  </a:lnTo>
                  <a:lnTo>
                    <a:pt x="259" y="12"/>
                  </a:lnTo>
                  <a:lnTo>
                    <a:pt x="260" y="16"/>
                  </a:lnTo>
                  <a:lnTo>
                    <a:pt x="260" y="20"/>
                  </a:lnTo>
                  <a:lnTo>
                    <a:pt x="260" y="23"/>
                  </a:lnTo>
                  <a:lnTo>
                    <a:pt x="259" y="27"/>
                  </a:lnTo>
                  <a:lnTo>
                    <a:pt x="257" y="31"/>
                  </a:lnTo>
                  <a:lnTo>
                    <a:pt x="255" y="34"/>
                  </a:lnTo>
                  <a:lnTo>
                    <a:pt x="115" y="174"/>
                  </a:lnTo>
                  <a:lnTo>
                    <a:pt x="111" y="176"/>
                  </a:lnTo>
                  <a:lnTo>
                    <a:pt x="108" y="179"/>
                  </a:lnTo>
                  <a:lnTo>
                    <a:pt x="105" y="180"/>
                  </a:lnTo>
                  <a:lnTo>
                    <a:pt x="1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31" name="Group 167">
            <a:extLst>
              <a:ext uri="{FF2B5EF4-FFF2-40B4-BE49-F238E27FC236}">
                <a16:creationId xmlns:a16="http://schemas.microsoft.com/office/drawing/2014/main" id="{327C7E76-C27E-41D0-A500-FA60CC10DAF2}"/>
              </a:ext>
            </a:extLst>
          </p:cNvPr>
          <p:cNvGrpSpPr>
            <a:grpSpLocks noChangeAspect="1"/>
          </p:cNvGrpSpPr>
          <p:nvPr/>
        </p:nvGrpSpPr>
        <p:grpSpPr>
          <a:xfrm>
            <a:off x="1482452" y="4343798"/>
            <a:ext cx="278398" cy="310367"/>
            <a:chOff x="3616325" y="1790701"/>
            <a:chExt cx="663576" cy="739775"/>
          </a:xfrm>
          <a:solidFill>
            <a:schemeClr val="bg2"/>
          </a:solidFill>
          <a:effectLst/>
        </p:grpSpPr>
        <p:sp>
          <p:nvSpPr>
            <p:cNvPr id="332" name="Freeform 99">
              <a:extLst>
                <a:ext uri="{FF2B5EF4-FFF2-40B4-BE49-F238E27FC236}">
                  <a16:creationId xmlns:a16="http://schemas.microsoft.com/office/drawing/2014/main" id="{D53FA5D9-28DC-4E7F-88C2-710EF5429671}"/>
                </a:ext>
              </a:extLst>
            </p:cNvPr>
            <p:cNvSpPr>
              <a:spLocks/>
            </p:cNvSpPr>
            <p:nvPr/>
          </p:nvSpPr>
          <p:spPr bwMode="auto">
            <a:xfrm>
              <a:off x="3644900" y="1790701"/>
              <a:ext cx="473075" cy="677863"/>
            </a:xfrm>
            <a:custGeom>
              <a:avLst/>
              <a:gdLst>
                <a:gd name="T0" fmla="*/ 26 w 893"/>
                <a:gd name="T1" fmla="*/ 1281 h 1281"/>
                <a:gd name="T2" fmla="*/ 16 w 893"/>
                <a:gd name="T3" fmla="*/ 1278 h 1281"/>
                <a:gd name="T4" fmla="*/ 7 w 893"/>
                <a:gd name="T5" fmla="*/ 1273 h 1281"/>
                <a:gd name="T6" fmla="*/ 1 w 893"/>
                <a:gd name="T7" fmla="*/ 1264 h 1281"/>
                <a:gd name="T8" fmla="*/ 0 w 893"/>
                <a:gd name="T9" fmla="*/ 1254 h 1281"/>
                <a:gd name="T10" fmla="*/ 0 w 893"/>
                <a:gd name="T11" fmla="*/ 21 h 1281"/>
                <a:gd name="T12" fmla="*/ 4 w 893"/>
                <a:gd name="T13" fmla="*/ 11 h 1281"/>
                <a:gd name="T14" fmla="*/ 11 w 893"/>
                <a:gd name="T15" fmla="*/ 4 h 1281"/>
                <a:gd name="T16" fmla="*/ 20 w 893"/>
                <a:gd name="T17" fmla="*/ 0 h 1281"/>
                <a:gd name="T18" fmla="*/ 867 w 893"/>
                <a:gd name="T19" fmla="*/ 0 h 1281"/>
                <a:gd name="T20" fmla="*/ 877 w 893"/>
                <a:gd name="T21" fmla="*/ 1 h 1281"/>
                <a:gd name="T22" fmla="*/ 886 w 893"/>
                <a:gd name="T23" fmla="*/ 7 h 1281"/>
                <a:gd name="T24" fmla="*/ 891 w 893"/>
                <a:gd name="T25" fmla="*/ 15 h 1281"/>
                <a:gd name="T26" fmla="*/ 893 w 893"/>
                <a:gd name="T27" fmla="*/ 26 h 1281"/>
                <a:gd name="T28" fmla="*/ 893 w 893"/>
                <a:gd name="T29" fmla="*/ 757 h 1281"/>
                <a:gd name="T30" fmla="*/ 888 w 893"/>
                <a:gd name="T31" fmla="*/ 766 h 1281"/>
                <a:gd name="T32" fmla="*/ 881 w 893"/>
                <a:gd name="T33" fmla="*/ 773 h 1281"/>
                <a:gd name="T34" fmla="*/ 873 w 893"/>
                <a:gd name="T35" fmla="*/ 777 h 1281"/>
                <a:gd name="T36" fmla="*/ 861 w 893"/>
                <a:gd name="T37" fmla="*/ 777 h 1281"/>
                <a:gd name="T38" fmla="*/ 852 w 893"/>
                <a:gd name="T39" fmla="*/ 773 h 1281"/>
                <a:gd name="T40" fmla="*/ 845 w 893"/>
                <a:gd name="T41" fmla="*/ 766 h 1281"/>
                <a:gd name="T42" fmla="*/ 841 w 893"/>
                <a:gd name="T43" fmla="*/ 757 h 1281"/>
                <a:gd name="T44" fmla="*/ 841 w 893"/>
                <a:gd name="T45" fmla="*/ 51 h 1281"/>
                <a:gd name="T46" fmla="*/ 52 w 893"/>
                <a:gd name="T47" fmla="*/ 1228 h 1281"/>
                <a:gd name="T48" fmla="*/ 611 w 893"/>
                <a:gd name="T49" fmla="*/ 1229 h 1281"/>
                <a:gd name="T50" fmla="*/ 621 w 893"/>
                <a:gd name="T51" fmla="*/ 1232 h 1281"/>
                <a:gd name="T52" fmla="*/ 628 w 893"/>
                <a:gd name="T53" fmla="*/ 1239 h 1281"/>
                <a:gd name="T54" fmla="*/ 631 w 893"/>
                <a:gd name="T55" fmla="*/ 1250 h 1281"/>
                <a:gd name="T56" fmla="*/ 631 w 893"/>
                <a:gd name="T57" fmla="*/ 1260 h 1281"/>
                <a:gd name="T58" fmla="*/ 628 w 893"/>
                <a:gd name="T59" fmla="*/ 1270 h 1281"/>
                <a:gd name="T60" fmla="*/ 621 w 893"/>
                <a:gd name="T61" fmla="*/ 1275 h 1281"/>
                <a:gd name="T62" fmla="*/ 611 w 893"/>
                <a:gd name="T6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3" h="1281">
                  <a:moveTo>
                    <a:pt x="606"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3" y="0"/>
                  </a:lnTo>
                  <a:lnTo>
                    <a:pt x="877" y="1"/>
                  </a:lnTo>
                  <a:lnTo>
                    <a:pt x="881" y="4"/>
                  </a:lnTo>
                  <a:lnTo>
                    <a:pt x="886" y="7"/>
                  </a:lnTo>
                  <a:lnTo>
                    <a:pt x="888" y="11"/>
                  </a:lnTo>
                  <a:lnTo>
                    <a:pt x="891" y="15"/>
                  </a:lnTo>
                  <a:lnTo>
                    <a:pt x="893" y="21"/>
                  </a:lnTo>
                  <a:lnTo>
                    <a:pt x="893" y="26"/>
                  </a:lnTo>
                  <a:lnTo>
                    <a:pt x="893" y="751"/>
                  </a:lnTo>
                  <a:lnTo>
                    <a:pt x="893" y="757"/>
                  </a:lnTo>
                  <a:lnTo>
                    <a:pt x="891" y="761"/>
                  </a:lnTo>
                  <a:lnTo>
                    <a:pt x="888" y="766"/>
                  </a:lnTo>
                  <a:lnTo>
                    <a:pt x="886" y="770"/>
                  </a:lnTo>
                  <a:lnTo>
                    <a:pt x="881" y="773"/>
                  </a:lnTo>
                  <a:lnTo>
                    <a:pt x="877" y="776"/>
                  </a:lnTo>
                  <a:lnTo>
                    <a:pt x="873" y="777"/>
                  </a:lnTo>
                  <a:lnTo>
                    <a:pt x="867" y="777"/>
                  </a:lnTo>
                  <a:lnTo>
                    <a:pt x="861" y="777"/>
                  </a:lnTo>
                  <a:lnTo>
                    <a:pt x="857" y="776"/>
                  </a:lnTo>
                  <a:lnTo>
                    <a:pt x="852" y="773"/>
                  </a:lnTo>
                  <a:lnTo>
                    <a:pt x="848" y="770"/>
                  </a:lnTo>
                  <a:lnTo>
                    <a:pt x="845" y="766"/>
                  </a:lnTo>
                  <a:lnTo>
                    <a:pt x="842" y="761"/>
                  </a:lnTo>
                  <a:lnTo>
                    <a:pt x="841" y="757"/>
                  </a:lnTo>
                  <a:lnTo>
                    <a:pt x="841" y="751"/>
                  </a:lnTo>
                  <a:lnTo>
                    <a:pt x="841" y="51"/>
                  </a:lnTo>
                  <a:lnTo>
                    <a:pt x="52" y="51"/>
                  </a:lnTo>
                  <a:lnTo>
                    <a:pt x="52" y="1228"/>
                  </a:lnTo>
                  <a:lnTo>
                    <a:pt x="606" y="1228"/>
                  </a:lnTo>
                  <a:lnTo>
                    <a:pt x="611" y="1229"/>
                  </a:lnTo>
                  <a:lnTo>
                    <a:pt x="616" y="1231"/>
                  </a:lnTo>
                  <a:lnTo>
                    <a:pt x="621" y="1232"/>
                  </a:lnTo>
                  <a:lnTo>
                    <a:pt x="623" y="1237"/>
                  </a:lnTo>
                  <a:lnTo>
                    <a:pt x="628" y="1239"/>
                  </a:lnTo>
                  <a:lnTo>
                    <a:pt x="629" y="1244"/>
                  </a:lnTo>
                  <a:lnTo>
                    <a:pt x="631" y="1250"/>
                  </a:lnTo>
                  <a:lnTo>
                    <a:pt x="632" y="1254"/>
                  </a:lnTo>
                  <a:lnTo>
                    <a:pt x="631" y="1260"/>
                  </a:lnTo>
                  <a:lnTo>
                    <a:pt x="629" y="1264"/>
                  </a:lnTo>
                  <a:lnTo>
                    <a:pt x="628" y="1270"/>
                  </a:lnTo>
                  <a:lnTo>
                    <a:pt x="623" y="1273"/>
                  </a:lnTo>
                  <a:lnTo>
                    <a:pt x="621" y="1275"/>
                  </a:lnTo>
                  <a:lnTo>
                    <a:pt x="616" y="1278"/>
                  </a:lnTo>
                  <a:lnTo>
                    <a:pt x="611" y="1280"/>
                  </a:lnTo>
                  <a:lnTo>
                    <a:pt x="606"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00">
              <a:extLst>
                <a:ext uri="{FF2B5EF4-FFF2-40B4-BE49-F238E27FC236}">
                  <a16:creationId xmlns:a16="http://schemas.microsoft.com/office/drawing/2014/main" id="{67E5FC9C-4B56-43C4-B2BC-DA51C9A833F5}"/>
                </a:ext>
              </a:extLst>
            </p:cNvPr>
            <p:cNvSpPr>
              <a:spLocks/>
            </p:cNvSpPr>
            <p:nvPr/>
          </p:nvSpPr>
          <p:spPr bwMode="auto">
            <a:xfrm>
              <a:off x="3616325" y="1878013"/>
              <a:ext cx="85725" cy="28575"/>
            </a:xfrm>
            <a:custGeom>
              <a:avLst/>
              <a:gdLst>
                <a:gd name="T0" fmla="*/ 138 w 164"/>
                <a:gd name="T1" fmla="*/ 53 h 53"/>
                <a:gd name="T2" fmla="*/ 26 w 164"/>
                <a:gd name="T3" fmla="*/ 53 h 53"/>
                <a:gd name="T4" fmla="*/ 20 w 164"/>
                <a:gd name="T5" fmla="*/ 52 h 53"/>
                <a:gd name="T6" fmla="*/ 16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6 w 164"/>
                <a:gd name="T31" fmla="*/ 3 h 53"/>
                <a:gd name="T32" fmla="*/ 20 w 164"/>
                <a:gd name="T33" fmla="*/ 1 h 53"/>
                <a:gd name="T34" fmla="*/ 26 w 164"/>
                <a:gd name="T35" fmla="*/ 0 h 53"/>
                <a:gd name="T36" fmla="*/ 138 w 164"/>
                <a:gd name="T37" fmla="*/ 0 h 53"/>
                <a:gd name="T38" fmla="*/ 142 w 164"/>
                <a:gd name="T39" fmla="*/ 1 h 53"/>
                <a:gd name="T40" fmla="*/ 148 w 164"/>
                <a:gd name="T41" fmla="*/ 3 h 53"/>
                <a:gd name="T42" fmla="*/ 152 w 164"/>
                <a:gd name="T43" fmla="*/ 4 h 53"/>
                <a:gd name="T44" fmla="*/ 155 w 164"/>
                <a:gd name="T45" fmla="*/ 8 h 53"/>
                <a:gd name="T46" fmla="*/ 160 w 164"/>
                <a:gd name="T47" fmla="*/ 11 h 53"/>
                <a:gd name="T48" fmla="*/ 161 w 164"/>
                <a:gd name="T49" fmla="*/ 16 h 53"/>
                <a:gd name="T50" fmla="*/ 163 w 164"/>
                <a:gd name="T51" fmla="*/ 21 h 53"/>
                <a:gd name="T52" fmla="*/ 164 w 164"/>
                <a:gd name="T53" fmla="*/ 27 h 53"/>
                <a:gd name="T54" fmla="*/ 163 w 164"/>
                <a:gd name="T55" fmla="*/ 31 h 53"/>
                <a:gd name="T56" fmla="*/ 161 w 164"/>
                <a:gd name="T57" fmla="*/ 37 h 53"/>
                <a:gd name="T58" fmla="*/ 160 w 164"/>
                <a:gd name="T59" fmla="*/ 41 h 53"/>
                <a:gd name="T60" fmla="*/ 155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6" y="53"/>
                  </a:lnTo>
                  <a:lnTo>
                    <a:pt x="20" y="52"/>
                  </a:lnTo>
                  <a:lnTo>
                    <a:pt x="16" y="50"/>
                  </a:lnTo>
                  <a:lnTo>
                    <a:pt x="11" y="49"/>
                  </a:lnTo>
                  <a:lnTo>
                    <a:pt x="7" y="44"/>
                  </a:lnTo>
                  <a:lnTo>
                    <a:pt x="4" y="41"/>
                  </a:lnTo>
                  <a:lnTo>
                    <a:pt x="1" y="37"/>
                  </a:lnTo>
                  <a:lnTo>
                    <a:pt x="0" y="31"/>
                  </a:lnTo>
                  <a:lnTo>
                    <a:pt x="0" y="27"/>
                  </a:lnTo>
                  <a:lnTo>
                    <a:pt x="0" y="21"/>
                  </a:lnTo>
                  <a:lnTo>
                    <a:pt x="1" y="16"/>
                  </a:lnTo>
                  <a:lnTo>
                    <a:pt x="4" y="11"/>
                  </a:lnTo>
                  <a:lnTo>
                    <a:pt x="7" y="8"/>
                  </a:lnTo>
                  <a:lnTo>
                    <a:pt x="11" y="4"/>
                  </a:lnTo>
                  <a:lnTo>
                    <a:pt x="16" y="3"/>
                  </a:lnTo>
                  <a:lnTo>
                    <a:pt x="20" y="1"/>
                  </a:lnTo>
                  <a:lnTo>
                    <a:pt x="26" y="0"/>
                  </a:lnTo>
                  <a:lnTo>
                    <a:pt x="138" y="0"/>
                  </a:lnTo>
                  <a:lnTo>
                    <a:pt x="142" y="1"/>
                  </a:lnTo>
                  <a:lnTo>
                    <a:pt x="148" y="3"/>
                  </a:lnTo>
                  <a:lnTo>
                    <a:pt x="152" y="4"/>
                  </a:lnTo>
                  <a:lnTo>
                    <a:pt x="155" y="8"/>
                  </a:lnTo>
                  <a:lnTo>
                    <a:pt x="160" y="11"/>
                  </a:lnTo>
                  <a:lnTo>
                    <a:pt x="161" y="16"/>
                  </a:lnTo>
                  <a:lnTo>
                    <a:pt x="163" y="21"/>
                  </a:lnTo>
                  <a:lnTo>
                    <a:pt x="164" y="27"/>
                  </a:lnTo>
                  <a:lnTo>
                    <a:pt x="163" y="31"/>
                  </a:lnTo>
                  <a:lnTo>
                    <a:pt x="161" y="37"/>
                  </a:lnTo>
                  <a:lnTo>
                    <a:pt x="160" y="41"/>
                  </a:lnTo>
                  <a:lnTo>
                    <a:pt x="155"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01">
              <a:extLst>
                <a:ext uri="{FF2B5EF4-FFF2-40B4-BE49-F238E27FC236}">
                  <a16:creationId xmlns:a16="http://schemas.microsoft.com/office/drawing/2014/main" id="{1F6421B2-FD2C-4EA5-B5EE-9C95384150E5}"/>
                </a:ext>
              </a:extLst>
            </p:cNvPr>
            <p:cNvSpPr>
              <a:spLocks/>
            </p:cNvSpPr>
            <p:nvPr/>
          </p:nvSpPr>
          <p:spPr bwMode="auto">
            <a:xfrm>
              <a:off x="3616325" y="1997076"/>
              <a:ext cx="85725" cy="26988"/>
            </a:xfrm>
            <a:custGeom>
              <a:avLst/>
              <a:gdLst>
                <a:gd name="T0" fmla="*/ 138 w 164"/>
                <a:gd name="T1" fmla="*/ 52 h 52"/>
                <a:gd name="T2" fmla="*/ 26 w 164"/>
                <a:gd name="T3" fmla="*/ 52 h 52"/>
                <a:gd name="T4" fmla="*/ 20 w 164"/>
                <a:gd name="T5" fmla="*/ 51 h 52"/>
                <a:gd name="T6" fmla="*/ 16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6 w 164"/>
                <a:gd name="T31" fmla="*/ 2 h 52"/>
                <a:gd name="T32" fmla="*/ 20 w 164"/>
                <a:gd name="T33" fmla="*/ 0 h 52"/>
                <a:gd name="T34" fmla="*/ 26 w 164"/>
                <a:gd name="T35" fmla="*/ 0 h 52"/>
                <a:gd name="T36" fmla="*/ 138 w 164"/>
                <a:gd name="T37" fmla="*/ 0 h 52"/>
                <a:gd name="T38" fmla="*/ 142 w 164"/>
                <a:gd name="T39" fmla="*/ 0 h 52"/>
                <a:gd name="T40" fmla="*/ 148 w 164"/>
                <a:gd name="T41" fmla="*/ 2 h 52"/>
                <a:gd name="T42" fmla="*/ 152 w 164"/>
                <a:gd name="T43" fmla="*/ 5 h 52"/>
                <a:gd name="T44" fmla="*/ 155 w 164"/>
                <a:gd name="T45" fmla="*/ 8 h 52"/>
                <a:gd name="T46" fmla="*/ 160 w 164"/>
                <a:gd name="T47" fmla="*/ 12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1 h 52"/>
                <a:gd name="T60" fmla="*/ 155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1"/>
                  </a:lnTo>
                  <a:lnTo>
                    <a:pt x="16" y="49"/>
                  </a:lnTo>
                  <a:lnTo>
                    <a:pt x="11" y="48"/>
                  </a:lnTo>
                  <a:lnTo>
                    <a:pt x="7" y="44"/>
                  </a:lnTo>
                  <a:lnTo>
                    <a:pt x="4" y="41"/>
                  </a:lnTo>
                  <a:lnTo>
                    <a:pt x="1" y="36"/>
                  </a:lnTo>
                  <a:lnTo>
                    <a:pt x="0" y="31"/>
                  </a:lnTo>
                  <a:lnTo>
                    <a:pt x="0" y="26"/>
                  </a:lnTo>
                  <a:lnTo>
                    <a:pt x="0" y="20"/>
                  </a:lnTo>
                  <a:lnTo>
                    <a:pt x="1" y="16"/>
                  </a:lnTo>
                  <a:lnTo>
                    <a:pt x="4" y="12"/>
                  </a:lnTo>
                  <a:lnTo>
                    <a:pt x="7" y="8"/>
                  </a:lnTo>
                  <a:lnTo>
                    <a:pt x="11" y="5"/>
                  </a:lnTo>
                  <a:lnTo>
                    <a:pt x="16" y="2"/>
                  </a:lnTo>
                  <a:lnTo>
                    <a:pt x="20" y="0"/>
                  </a:lnTo>
                  <a:lnTo>
                    <a:pt x="26" y="0"/>
                  </a:lnTo>
                  <a:lnTo>
                    <a:pt x="138" y="0"/>
                  </a:lnTo>
                  <a:lnTo>
                    <a:pt x="142" y="0"/>
                  </a:lnTo>
                  <a:lnTo>
                    <a:pt x="148" y="2"/>
                  </a:lnTo>
                  <a:lnTo>
                    <a:pt x="152" y="5"/>
                  </a:lnTo>
                  <a:lnTo>
                    <a:pt x="155" y="8"/>
                  </a:lnTo>
                  <a:lnTo>
                    <a:pt x="160" y="12"/>
                  </a:lnTo>
                  <a:lnTo>
                    <a:pt x="161" y="16"/>
                  </a:lnTo>
                  <a:lnTo>
                    <a:pt x="163" y="20"/>
                  </a:lnTo>
                  <a:lnTo>
                    <a:pt x="164" y="26"/>
                  </a:lnTo>
                  <a:lnTo>
                    <a:pt x="163" y="31"/>
                  </a:lnTo>
                  <a:lnTo>
                    <a:pt x="161" y="36"/>
                  </a:lnTo>
                  <a:lnTo>
                    <a:pt x="160" y="41"/>
                  </a:lnTo>
                  <a:lnTo>
                    <a:pt x="155"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02">
              <a:extLst>
                <a:ext uri="{FF2B5EF4-FFF2-40B4-BE49-F238E27FC236}">
                  <a16:creationId xmlns:a16="http://schemas.microsoft.com/office/drawing/2014/main" id="{B531ED55-12DB-42A6-9DAD-AFBE38B2A9BF}"/>
                </a:ext>
              </a:extLst>
            </p:cNvPr>
            <p:cNvSpPr>
              <a:spLocks/>
            </p:cNvSpPr>
            <p:nvPr/>
          </p:nvSpPr>
          <p:spPr bwMode="auto">
            <a:xfrm>
              <a:off x="3616325" y="2116138"/>
              <a:ext cx="85725" cy="26988"/>
            </a:xfrm>
            <a:custGeom>
              <a:avLst/>
              <a:gdLst>
                <a:gd name="T0" fmla="*/ 138 w 164"/>
                <a:gd name="T1" fmla="*/ 51 h 51"/>
                <a:gd name="T2" fmla="*/ 26 w 164"/>
                <a:gd name="T3" fmla="*/ 51 h 51"/>
                <a:gd name="T4" fmla="*/ 20 w 164"/>
                <a:gd name="T5" fmla="*/ 51 h 51"/>
                <a:gd name="T6" fmla="*/ 16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6 w 164"/>
                <a:gd name="T31" fmla="*/ 1 h 51"/>
                <a:gd name="T32" fmla="*/ 20 w 164"/>
                <a:gd name="T33" fmla="*/ 0 h 51"/>
                <a:gd name="T34" fmla="*/ 26 w 164"/>
                <a:gd name="T35" fmla="*/ 0 h 51"/>
                <a:gd name="T36" fmla="*/ 138 w 164"/>
                <a:gd name="T37" fmla="*/ 0 h 51"/>
                <a:gd name="T38" fmla="*/ 142 w 164"/>
                <a:gd name="T39" fmla="*/ 0 h 51"/>
                <a:gd name="T40" fmla="*/ 148 w 164"/>
                <a:gd name="T41" fmla="*/ 1 h 51"/>
                <a:gd name="T42" fmla="*/ 152 w 164"/>
                <a:gd name="T43" fmla="*/ 4 h 51"/>
                <a:gd name="T44" fmla="*/ 155 w 164"/>
                <a:gd name="T45" fmla="*/ 7 h 51"/>
                <a:gd name="T46" fmla="*/ 160 w 164"/>
                <a:gd name="T47" fmla="*/ 11 h 51"/>
                <a:gd name="T48" fmla="*/ 161 w 164"/>
                <a:gd name="T49" fmla="*/ 15 h 51"/>
                <a:gd name="T50" fmla="*/ 163 w 164"/>
                <a:gd name="T51" fmla="*/ 20 h 51"/>
                <a:gd name="T52" fmla="*/ 164 w 164"/>
                <a:gd name="T53" fmla="*/ 25 h 51"/>
                <a:gd name="T54" fmla="*/ 163 w 164"/>
                <a:gd name="T55" fmla="*/ 30 h 51"/>
                <a:gd name="T56" fmla="*/ 161 w 164"/>
                <a:gd name="T57" fmla="*/ 36 h 51"/>
                <a:gd name="T58" fmla="*/ 160 w 164"/>
                <a:gd name="T59" fmla="*/ 40 h 51"/>
                <a:gd name="T60" fmla="*/ 155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6" y="51"/>
                  </a:lnTo>
                  <a:lnTo>
                    <a:pt x="20" y="51"/>
                  </a:lnTo>
                  <a:lnTo>
                    <a:pt x="16" y="50"/>
                  </a:lnTo>
                  <a:lnTo>
                    <a:pt x="11" y="47"/>
                  </a:lnTo>
                  <a:lnTo>
                    <a:pt x="7" y="44"/>
                  </a:lnTo>
                  <a:lnTo>
                    <a:pt x="4" y="40"/>
                  </a:lnTo>
                  <a:lnTo>
                    <a:pt x="1" y="36"/>
                  </a:lnTo>
                  <a:lnTo>
                    <a:pt x="0" y="30"/>
                  </a:lnTo>
                  <a:lnTo>
                    <a:pt x="0" y="25"/>
                  </a:lnTo>
                  <a:lnTo>
                    <a:pt x="0" y="20"/>
                  </a:lnTo>
                  <a:lnTo>
                    <a:pt x="1" y="15"/>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5"/>
                  </a:lnTo>
                  <a:lnTo>
                    <a:pt x="163" y="20"/>
                  </a:lnTo>
                  <a:lnTo>
                    <a:pt x="164" y="25"/>
                  </a:lnTo>
                  <a:lnTo>
                    <a:pt x="163" y="30"/>
                  </a:lnTo>
                  <a:lnTo>
                    <a:pt x="161" y="36"/>
                  </a:lnTo>
                  <a:lnTo>
                    <a:pt x="160" y="40"/>
                  </a:lnTo>
                  <a:lnTo>
                    <a:pt x="155"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03">
              <a:extLst>
                <a:ext uri="{FF2B5EF4-FFF2-40B4-BE49-F238E27FC236}">
                  <a16:creationId xmlns:a16="http://schemas.microsoft.com/office/drawing/2014/main" id="{953636F1-72D6-429C-B785-55648E3F4291}"/>
                </a:ext>
              </a:extLst>
            </p:cNvPr>
            <p:cNvSpPr>
              <a:spLocks/>
            </p:cNvSpPr>
            <p:nvPr/>
          </p:nvSpPr>
          <p:spPr bwMode="auto">
            <a:xfrm>
              <a:off x="3616325" y="2233613"/>
              <a:ext cx="85725" cy="26988"/>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0 h 52"/>
                <a:gd name="T60" fmla="*/ 155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1"/>
                  </a:lnTo>
                  <a:lnTo>
                    <a:pt x="161" y="36"/>
                  </a:lnTo>
                  <a:lnTo>
                    <a:pt x="160" y="40"/>
                  </a:lnTo>
                  <a:lnTo>
                    <a:pt x="155"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04">
              <a:extLst>
                <a:ext uri="{FF2B5EF4-FFF2-40B4-BE49-F238E27FC236}">
                  <a16:creationId xmlns:a16="http://schemas.microsoft.com/office/drawing/2014/main" id="{47FFF530-5767-4941-A232-028CE2282459}"/>
                </a:ext>
              </a:extLst>
            </p:cNvPr>
            <p:cNvSpPr>
              <a:spLocks/>
            </p:cNvSpPr>
            <p:nvPr/>
          </p:nvSpPr>
          <p:spPr bwMode="auto">
            <a:xfrm>
              <a:off x="3616325" y="2351088"/>
              <a:ext cx="85725" cy="28575"/>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2 h 52"/>
                <a:gd name="T56" fmla="*/ 161 w 164"/>
                <a:gd name="T57" fmla="*/ 36 h 52"/>
                <a:gd name="T58" fmla="*/ 160 w 164"/>
                <a:gd name="T59" fmla="*/ 40 h 52"/>
                <a:gd name="T60" fmla="*/ 155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5"/>
                  </a:lnTo>
                  <a:lnTo>
                    <a:pt x="4" y="40"/>
                  </a:lnTo>
                  <a:lnTo>
                    <a:pt x="1" y="36"/>
                  </a:lnTo>
                  <a:lnTo>
                    <a:pt x="0" y="32"/>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2"/>
                  </a:lnTo>
                  <a:lnTo>
                    <a:pt x="161" y="36"/>
                  </a:lnTo>
                  <a:lnTo>
                    <a:pt x="160" y="40"/>
                  </a:lnTo>
                  <a:lnTo>
                    <a:pt x="155"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05">
              <a:extLst>
                <a:ext uri="{FF2B5EF4-FFF2-40B4-BE49-F238E27FC236}">
                  <a16:creationId xmlns:a16="http://schemas.microsoft.com/office/drawing/2014/main" id="{BC75F5E7-223A-4EF5-994B-7C7475F95389}"/>
                </a:ext>
              </a:extLst>
            </p:cNvPr>
            <p:cNvSpPr>
              <a:spLocks/>
            </p:cNvSpPr>
            <p:nvPr/>
          </p:nvSpPr>
          <p:spPr bwMode="auto">
            <a:xfrm>
              <a:off x="3779838" y="1909763"/>
              <a:ext cx="236538" cy="168275"/>
            </a:xfrm>
            <a:custGeom>
              <a:avLst/>
              <a:gdLst>
                <a:gd name="T0" fmla="*/ 153 w 447"/>
                <a:gd name="T1" fmla="*/ 319 h 319"/>
                <a:gd name="T2" fmla="*/ 147 w 447"/>
                <a:gd name="T3" fmla="*/ 319 h 319"/>
                <a:gd name="T4" fmla="*/ 143 w 447"/>
                <a:gd name="T5" fmla="*/ 318 h 319"/>
                <a:gd name="T6" fmla="*/ 139 w 447"/>
                <a:gd name="T7" fmla="*/ 315 h 319"/>
                <a:gd name="T8" fmla="*/ 134 w 447"/>
                <a:gd name="T9" fmla="*/ 312 h 319"/>
                <a:gd name="T10" fmla="*/ 8 w 447"/>
                <a:gd name="T11" fmla="*/ 185 h 319"/>
                <a:gd name="T12" fmla="*/ 5 w 447"/>
                <a:gd name="T13" fmla="*/ 181 h 319"/>
                <a:gd name="T14" fmla="*/ 2 w 447"/>
                <a:gd name="T15" fmla="*/ 177 h 319"/>
                <a:gd name="T16" fmla="*/ 0 w 447"/>
                <a:gd name="T17" fmla="*/ 173 h 319"/>
                <a:gd name="T18" fmla="*/ 0 w 447"/>
                <a:gd name="T19" fmla="*/ 167 h 319"/>
                <a:gd name="T20" fmla="*/ 0 w 447"/>
                <a:gd name="T21" fmla="*/ 162 h 319"/>
                <a:gd name="T22" fmla="*/ 2 w 447"/>
                <a:gd name="T23" fmla="*/ 157 h 319"/>
                <a:gd name="T24" fmla="*/ 5 w 447"/>
                <a:gd name="T25" fmla="*/ 152 h 319"/>
                <a:gd name="T26" fmla="*/ 8 w 447"/>
                <a:gd name="T27" fmla="*/ 148 h 319"/>
                <a:gd name="T28" fmla="*/ 12 w 447"/>
                <a:gd name="T29" fmla="*/ 145 h 319"/>
                <a:gd name="T30" fmla="*/ 16 w 447"/>
                <a:gd name="T31" fmla="*/ 142 h 319"/>
                <a:gd name="T32" fmla="*/ 21 w 447"/>
                <a:gd name="T33" fmla="*/ 141 h 319"/>
                <a:gd name="T34" fmla="*/ 26 w 447"/>
                <a:gd name="T35" fmla="*/ 141 h 319"/>
                <a:gd name="T36" fmla="*/ 31 w 447"/>
                <a:gd name="T37" fmla="*/ 141 h 319"/>
                <a:gd name="T38" fmla="*/ 36 w 447"/>
                <a:gd name="T39" fmla="*/ 142 h 319"/>
                <a:gd name="T40" fmla="*/ 41 w 447"/>
                <a:gd name="T41" fmla="*/ 145 h 319"/>
                <a:gd name="T42" fmla="*/ 45 w 447"/>
                <a:gd name="T43" fmla="*/ 148 h 319"/>
                <a:gd name="T44" fmla="*/ 153 w 447"/>
                <a:gd name="T45" fmla="*/ 256 h 319"/>
                <a:gd name="T46" fmla="*/ 402 w 447"/>
                <a:gd name="T47" fmla="*/ 8 h 319"/>
                <a:gd name="T48" fmla="*/ 406 w 447"/>
                <a:gd name="T49" fmla="*/ 4 h 319"/>
                <a:gd name="T50" fmla="*/ 411 w 447"/>
                <a:gd name="T51" fmla="*/ 3 h 319"/>
                <a:gd name="T52" fmla="*/ 415 w 447"/>
                <a:gd name="T53" fmla="*/ 1 h 319"/>
                <a:gd name="T54" fmla="*/ 421 w 447"/>
                <a:gd name="T55" fmla="*/ 0 h 319"/>
                <a:gd name="T56" fmla="*/ 425 w 447"/>
                <a:gd name="T57" fmla="*/ 1 h 319"/>
                <a:gd name="T58" fmla="*/ 430 w 447"/>
                <a:gd name="T59" fmla="*/ 3 h 319"/>
                <a:gd name="T60" fmla="*/ 435 w 447"/>
                <a:gd name="T61" fmla="*/ 4 h 319"/>
                <a:gd name="T62" fmla="*/ 438 w 447"/>
                <a:gd name="T63" fmla="*/ 8 h 319"/>
                <a:gd name="T64" fmla="*/ 442 w 447"/>
                <a:gd name="T65" fmla="*/ 11 h 319"/>
                <a:gd name="T66" fmla="*/ 444 w 447"/>
                <a:gd name="T67" fmla="*/ 17 h 319"/>
                <a:gd name="T68" fmla="*/ 445 w 447"/>
                <a:gd name="T69" fmla="*/ 21 h 319"/>
                <a:gd name="T70" fmla="*/ 447 w 447"/>
                <a:gd name="T71" fmla="*/ 26 h 319"/>
                <a:gd name="T72" fmla="*/ 445 w 447"/>
                <a:gd name="T73" fmla="*/ 31 h 319"/>
                <a:gd name="T74" fmla="*/ 444 w 447"/>
                <a:gd name="T75" fmla="*/ 36 h 319"/>
                <a:gd name="T76" fmla="*/ 442 w 447"/>
                <a:gd name="T77" fmla="*/ 40 h 319"/>
                <a:gd name="T78" fmla="*/ 438 w 447"/>
                <a:gd name="T79" fmla="*/ 44 h 319"/>
                <a:gd name="T80" fmla="*/ 172 w 447"/>
                <a:gd name="T81" fmla="*/ 312 h 319"/>
                <a:gd name="T82" fmla="*/ 167 w 447"/>
                <a:gd name="T83" fmla="*/ 315 h 319"/>
                <a:gd name="T84" fmla="*/ 163 w 447"/>
                <a:gd name="T85" fmla="*/ 318 h 319"/>
                <a:gd name="T86" fmla="*/ 157 w 447"/>
                <a:gd name="T87" fmla="*/ 319 h 319"/>
                <a:gd name="T88" fmla="*/ 153 w 447"/>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319">
                  <a:moveTo>
                    <a:pt x="153" y="319"/>
                  </a:moveTo>
                  <a:lnTo>
                    <a:pt x="147" y="319"/>
                  </a:lnTo>
                  <a:lnTo>
                    <a:pt x="143" y="318"/>
                  </a:lnTo>
                  <a:lnTo>
                    <a:pt x="139" y="315"/>
                  </a:lnTo>
                  <a:lnTo>
                    <a:pt x="134" y="312"/>
                  </a:lnTo>
                  <a:lnTo>
                    <a:pt x="8" y="185"/>
                  </a:lnTo>
                  <a:lnTo>
                    <a:pt x="5" y="181"/>
                  </a:lnTo>
                  <a:lnTo>
                    <a:pt x="2" y="177"/>
                  </a:lnTo>
                  <a:lnTo>
                    <a:pt x="0" y="173"/>
                  </a:lnTo>
                  <a:lnTo>
                    <a:pt x="0" y="167"/>
                  </a:lnTo>
                  <a:lnTo>
                    <a:pt x="0" y="162"/>
                  </a:lnTo>
                  <a:lnTo>
                    <a:pt x="2" y="157"/>
                  </a:lnTo>
                  <a:lnTo>
                    <a:pt x="5" y="152"/>
                  </a:lnTo>
                  <a:lnTo>
                    <a:pt x="8" y="148"/>
                  </a:lnTo>
                  <a:lnTo>
                    <a:pt x="12" y="145"/>
                  </a:lnTo>
                  <a:lnTo>
                    <a:pt x="16" y="142"/>
                  </a:lnTo>
                  <a:lnTo>
                    <a:pt x="21" y="141"/>
                  </a:lnTo>
                  <a:lnTo>
                    <a:pt x="26" y="141"/>
                  </a:lnTo>
                  <a:lnTo>
                    <a:pt x="31" y="141"/>
                  </a:lnTo>
                  <a:lnTo>
                    <a:pt x="36" y="142"/>
                  </a:lnTo>
                  <a:lnTo>
                    <a:pt x="41" y="145"/>
                  </a:lnTo>
                  <a:lnTo>
                    <a:pt x="45" y="148"/>
                  </a:lnTo>
                  <a:lnTo>
                    <a:pt x="153" y="256"/>
                  </a:lnTo>
                  <a:lnTo>
                    <a:pt x="402" y="8"/>
                  </a:lnTo>
                  <a:lnTo>
                    <a:pt x="406" y="4"/>
                  </a:lnTo>
                  <a:lnTo>
                    <a:pt x="411" y="3"/>
                  </a:lnTo>
                  <a:lnTo>
                    <a:pt x="415" y="1"/>
                  </a:lnTo>
                  <a:lnTo>
                    <a:pt x="421" y="0"/>
                  </a:lnTo>
                  <a:lnTo>
                    <a:pt x="425" y="1"/>
                  </a:lnTo>
                  <a:lnTo>
                    <a:pt x="430" y="3"/>
                  </a:lnTo>
                  <a:lnTo>
                    <a:pt x="435" y="4"/>
                  </a:lnTo>
                  <a:lnTo>
                    <a:pt x="438" y="8"/>
                  </a:lnTo>
                  <a:lnTo>
                    <a:pt x="442" y="11"/>
                  </a:lnTo>
                  <a:lnTo>
                    <a:pt x="444" y="17"/>
                  </a:lnTo>
                  <a:lnTo>
                    <a:pt x="445" y="21"/>
                  </a:lnTo>
                  <a:lnTo>
                    <a:pt x="447" y="26"/>
                  </a:lnTo>
                  <a:lnTo>
                    <a:pt x="445" y="31"/>
                  </a:lnTo>
                  <a:lnTo>
                    <a:pt x="444" y="36"/>
                  </a:lnTo>
                  <a:lnTo>
                    <a:pt x="442" y="40"/>
                  </a:lnTo>
                  <a:lnTo>
                    <a:pt x="438" y="44"/>
                  </a:lnTo>
                  <a:lnTo>
                    <a:pt x="172" y="312"/>
                  </a:lnTo>
                  <a:lnTo>
                    <a:pt x="167" y="315"/>
                  </a:lnTo>
                  <a:lnTo>
                    <a:pt x="163" y="318"/>
                  </a:lnTo>
                  <a:lnTo>
                    <a:pt x="157" y="319"/>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11">
              <a:extLst>
                <a:ext uri="{FF2B5EF4-FFF2-40B4-BE49-F238E27FC236}">
                  <a16:creationId xmlns:a16="http://schemas.microsoft.com/office/drawing/2014/main" id="{656A9E61-26CA-4A4C-8DD1-6E2F81853549}"/>
                </a:ext>
              </a:extLst>
            </p:cNvPr>
            <p:cNvSpPr>
              <a:spLocks noEditPoints="1"/>
            </p:cNvSpPr>
            <p:nvPr/>
          </p:nvSpPr>
          <p:spPr bwMode="auto">
            <a:xfrm>
              <a:off x="3925888" y="2178051"/>
              <a:ext cx="354013" cy="352425"/>
            </a:xfrm>
            <a:custGeom>
              <a:avLst/>
              <a:gdLst>
                <a:gd name="T0" fmla="*/ 287 w 667"/>
                <a:gd name="T1" fmla="*/ 262 h 666"/>
                <a:gd name="T2" fmla="*/ 252 w 667"/>
                <a:gd name="T3" fmla="*/ 306 h 666"/>
                <a:gd name="T4" fmla="*/ 255 w 667"/>
                <a:gd name="T5" fmla="*/ 365 h 666"/>
                <a:gd name="T6" fmla="*/ 293 w 667"/>
                <a:gd name="T7" fmla="*/ 407 h 666"/>
                <a:gd name="T8" fmla="*/ 352 w 667"/>
                <a:gd name="T9" fmla="*/ 416 h 666"/>
                <a:gd name="T10" fmla="*/ 401 w 667"/>
                <a:gd name="T11" fmla="*/ 387 h 666"/>
                <a:gd name="T12" fmla="*/ 419 w 667"/>
                <a:gd name="T13" fmla="*/ 332 h 666"/>
                <a:gd name="T14" fmla="*/ 401 w 667"/>
                <a:gd name="T15" fmla="*/ 277 h 666"/>
                <a:gd name="T16" fmla="*/ 352 w 667"/>
                <a:gd name="T17" fmla="*/ 249 h 666"/>
                <a:gd name="T18" fmla="*/ 281 w 667"/>
                <a:gd name="T19" fmla="*/ 459 h 666"/>
                <a:gd name="T20" fmla="*/ 213 w 667"/>
                <a:gd name="T21" fmla="*/ 398 h 666"/>
                <a:gd name="T22" fmla="*/ 199 w 667"/>
                <a:gd name="T23" fmla="*/ 305 h 666"/>
                <a:gd name="T24" fmla="*/ 247 w 667"/>
                <a:gd name="T25" fmla="*/ 226 h 666"/>
                <a:gd name="T26" fmla="*/ 334 w 667"/>
                <a:gd name="T27" fmla="*/ 194 h 666"/>
                <a:gd name="T28" fmla="*/ 422 w 667"/>
                <a:gd name="T29" fmla="*/ 226 h 666"/>
                <a:gd name="T30" fmla="*/ 470 w 667"/>
                <a:gd name="T31" fmla="*/ 305 h 666"/>
                <a:gd name="T32" fmla="*/ 455 w 667"/>
                <a:gd name="T33" fmla="*/ 398 h 666"/>
                <a:gd name="T34" fmla="*/ 388 w 667"/>
                <a:gd name="T35" fmla="*/ 459 h 666"/>
                <a:gd name="T36" fmla="*/ 363 w 667"/>
                <a:gd name="T37" fmla="*/ 548 h 666"/>
                <a:gd name="T38" fmla="*/ 422 w 667"/>
                <a:gd name="T39" fmla="*/ 509 h 666"/>
                <a:gd name="T40" fmla="*/ 555 w 667"/>
                <a:gd name="T41" fmla="*/ 511 h 666"/>
                <a:gd name="T42" fmla="*/ 516 w 667"/>
                <a:gd name="T43" fmla="*/ 409 h 666"/>
                <a:gd name="T44" fmla="*/ 615 w 667"/>
                <a:gd name="T45" fmla="*/ 362 h 666"/>
                <a:gd name="T46" fmla="*/ 522 w 667"/>
                <a:gd name="T47" fmla="*/ 270 h 666"/>
                <a:gd name="T48" fmla="*/ 509 w 667"/>
                <a:gd name="T49" fmla="*/ 200 h 666"/>
                <a:gd name="T50" fmla="*/ 434 w 667"/>
                <a:gd name="T51" fmla="*/ 162 h 666"/>
                <a:gd name="T52" fmla="*/ 365 w 667"/>
                <a:gd name="T53" fmla="*/ 125 h 666"/>
                <a:gd name="T54" fmla="*/ 293 w 667"/>
                <a:gd name="T55" fmla="*/ 138 h 666"/>
                <a:gd name="T56" fmla="*/ 218 w 667"/>
                <a:gd name="T57" fmla="*/ 165 h 666"/>
                <a:gd name="T58" fmla="*/ 167 w 667"/>
                <a:gd name="T59" fmla="*/ 216 h 666"/>
                <a:gd name="T60" fmla="*/ 140 w 667"/>
                <a:gd name="T61" fmla="*/ 290 h 666"/>
                <a:gd name="T62" fmla="*/ 126 w 667"/>
                <a:gd name="T63" fmla="*/ 364 h 666"/>
                <a:gd name="T64" fmla="*/ 164 w 667"/>
                <a:gd name="T65" fmla="*/ 433 h 666"/>
                <a:gd name="T66" fmla="*/ 202 w 667"/>
                <a:gd name="T67" fmla="*/ 506 h 666"/>
                <a:gd name="T68" fmla="*/ 271 w 667"/>
                <a:gd name="T69" fmla="*/ 519 h 666"/>
                <a:gd name="T70" fmla="*/ 375 w 667"/>
                <a:gd name="T71" fmla="*/ 666 h 666"/>
                <a:gd name="T72" fmla="*/ 255 w 667"/>
                <a:gd name="T73" fmla="*/ 640 h 666"/>
                <a:gd name="T74" fmla="*/ 179 w 667"/>
                <a:gd name="T75" fmla="*/ 603 h 666"/>
                <a:gd name="T76" fmla="*/ 127 w 667"/>
                <a:gd name="T77" fmla="*/ 597 h 666"/>
                <a:gd name="T78" fmla="*/ 61 w 667"/>
                <a:gd name="T79" fmla="*/ 495 h 666"/>
                <a:gd name="T80" fmla="*/ 33 w 667"/>
                <a:gd name="T81" fmla="*/ 413 h 666"/>
                <a:gd name="T82" fmla="*/ 0 w 667"/>
                <a:gd name="T83" fmla="*/ 374 h 666"/>
                <a:gd name="T84" fmla="*/ 26 w 667"/>
                <a:gd name="T85" fmla="*/ 253 h 666"/>
                <a:gd name="T86" fmla="*/ 64 w 667"/>
                <a:gd name="T87" fmla="*/ 177 h 666"/>
                <a:gd name="T88" fmla="*/ 69 w 667"/>
                <a:gd name="T89" fmla="*/ 126 h 666"/>
                <a:gd name="T90" fmla="*/ 172 w 667"/>
                <a:gd name="T91" fmla="*/ 59 h 666"/>
                <a:gd name="T92" fmla="*/ 252 w 667"/>
                <a:gd name="T93" fmla="*/ 31 h 666"/>
                <a:gd name="T94" fmla="*/ 293 w 667"/>
                <a:gd name="T95" fmla="*/ 0 h 666"/>
                <a:gd name="T96" fmla="*/ 412 w 667"/>
                <a:gd name="T97" fmla="*/ 24 h 666"/>
                <a:gd name="T98" fmla="*/ 490 w 667"/>
                <a:gd name="T99" fmla="*/ 63 h 666"/>
                <a:gd name="T100" fmla="*/ 540 w 667"/>
                <a:gd name="T101" fmla="*/ 67 h 666"/>
                <a:gd name="T102" fmla="*/ 608 w 667"/>
                <a:gd name="T103" fmla="*/ 169 h 666"/>
                <a:gd name="T104" fmla="*/ 635 w 667"/>
                <a:gd name="T105" fmla="*/ 252 h 666"/>
                <a:gd name="T106" fmla="*/ 667 w 667"/>
                <a:gd name="T107" fmla="*/ 292 h 666"/>
                <a:gd name="T108" fmla="*/ 643 w 667"/>
                <a:gd name="T109" fmla="*/ 411 h 666"/>
                <a:gd name="T110" fmla="*/ 604 w 667"/>
                <a:gd name="T111" fmla="*/ 488 h 666"/>
                <a:gd name="T112" fmla="*/ 599 w 667"/>
                <a:gd name="T113" fmla="*/ 540 h 666"/>
                <a:gd name="T114" fmla="*/ 496 w 667"/>
                <a:gd name="T115" fmla="*/ 606 h 666"/>
                <a:gd name="T116" fmla="*/ 415 w 667"/>
                <a:gd name="T117" fmla="*/ 633 h 666"/>
                <a:gd name="T118" fmla="*/ 375 w 667"/>
                <a:gd name="T119" fmla="*/ 66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7" h="666">
                  <a:moveTo>
                    <a:pt x="334" y="247"/>
                  </a:moveTo>
                  <a:lnTo>
                    <a:pt x="326" y="247"/>
                  </a:lnTo>
                  <a:lnTo>
                    <a:pt x="317" y="249"/>
                  </a:lnTo>
                  <a:lnTo>
                    <a:pt x="308" y="250"/>
                  </a:lnTo>
                  <a:lnTo>
                    <a:pt x="301" y="253"/>
                  </a:lnTo>
                  <a:lnTo>
                    <a:pt x="293" y="257"/>
                  </a:lnTo>
                  <a:lnTo>
                    <a:pt x="287" y="262"/>
                  </a:lnTo>
                  <a:lnTo>
                    <a:pt x="280" y="266"/>
                  </a:lnTo>
                  <a:lnTo>
                    <a:pt x="274" y="272"/>
                  </a:lnTo>
                  <a:lnTo>
                    <a:pt x="268" y="277"/>
                  </a:lnTo>
                  <a:lnTo>
                    <a:pt x="262" y="285"/>
                  </a:lnTo>
                  <a:lnTo>
                    <a:pt x="258" y="292"/>
                  </a:lnTo>
                  <a:lnTo>
                    <a:pt x="255" y="299"/>
                  </a:lnTo>
                  <a:lnTo>
                    <a:pt x="252" y="306"/>
                  </a:lnTo>
                  <a:lnTo>
                    <a:pt x="251" y="315"/>
                  </a:lnTo>
                  <a:lnTo>
                    <a:pt x="249" y="324"/>
                  </a:lnTo>
                  <a:lnTo>
                    <a:pt x="248" y="332"/>
                  </a:lnTo>
                  <a:lnTo>
                    <a:pt x="249" y="341"/>
                  </a:lnTo>
                  <a:lnTo>
                    <a:pt x="251" y="349"/>
                  </a:lnTo>
                  <a:lnTo>
                    <a:pt x="252" y="358"/>
                  </a:lnTo>
                  <a:lnTo>
                    <a:pt x="255" y="365"/>
                  </a:lnTo>
                  <a:lnTo>
                    <a:pt x="258" y="373"/>
                  </a:lnTo>
                  <a:lnTo>
                    <a:pt x="262" y="380"/>
                  </a:lnTo>
                  <a:lnTo>
                    <a:pt x="268" y="387"/>
                  </a:lnTo>
                  <a:lnTo>
                    <a:pt x="274" y="393"/>
                  </a:lnTo>
                  <a:lnTo>
                    <a:pt x="280" y="398"/>
                  </a:lnTo>
                  <a:lnTo>
                    <a:pt x="287" y="403"/>
                  </a:lnTo>
                  <a:lnTo>
                    <a:pt x="293" y="407"/>
                  </a:lnTo>
                  <a:lnTo>
                    <a:pt x="301" y="411"/>
                  </a:lnTo>
                  <a:lnTo>
                    <a:pt x="308" y="414"/>
                  </a:lnTo>
                  <a:lnTo>
                    <a:pt x="317" y="416"/>
                  </a:lnTo>
                  <a:lnTo>
                    <a:pt x="326" y="417"/>
                  </a:lnTo>
                  <a:lnTo>
                    <a:pt x="334" y="419"/>
                  </a:lnTo>
                  <a:lnTo>
                    <a:pt x="343" y="417"/>
                  </a:lnTo>
                  <a:lnTo>
                    <a:pt x="352" y="416"/>
                  </a:lnTo>
                  <a:lnTo>
                    <a:pt x="359" y="414"/>
                  </a:lnTo>
                  <a:lnTo>
                    <a:pt x="368" y="411"/>
                  </a:lnTo>
                  <a:lnTo>
                    <a:pt x="375" y="407"/>
                  </a:lnTo>
                  <a:lnTo>
                    <a:pt x="382" y="403"/>
                  </a:lnTo>
                  <a:lnTo>
                    <a:pt x="389" y="398"/>
                  </a:lnTo>
                  <a:lnTo>
                    <a:pt x="395" y="393"/>
                  </a:lnTo>
                  <a:lnTo>
                    <a:pt x="401" y="387"/>
                  </a:lnTo>
                  <a:lnTo>
                    <a:pt x="405" y="380"/>
                  </a:lnTo>
                  <a:lnTo>
                    <a:pt x="409" y="373"/>
                  </a:lnTo>
                  <a:lnTo>
                    <a:pt x="414" y="365"/>
                  </a:lnTo>
                  <a:lnTo>
                    <a:pt x="416" y="358"/>
                  </a:lnTo>
                  <a:lnTo>
                    <a:pt x="418" y="349"/>
                  </a:lnTo>
                  <a:lnTo>
                    <a:pt x="419" y="341"/>
                  </a:lnTo>
                  <a:lnTo>
                    <a:pt x="419" y="332"/>
                  </a:lnTo>
                  <a:lnTo>
                    <a:pt x="419" y="324"/>
                  </a:lnTo>
                  <a:lnTo>
                    <a:pt x="418" y="315"/>
                  </a:lnTo>
                  <a:lnTo>
                    <a:pt x="416" y="306"/>
                  </a:lnTo>
                  <a:lnTo>
                    <a:pt x="414" y="299"/>
                  </a:lnTo>
                  <a:lnTo>
                    <a:pt x="409" y="292"/>
                  </a:lnTo>
                  <a:lnTo>
                    <a:pt x="405" y="285"/>
                  </a:lnTo>
                  <a:lnTo>
                    <a:pt x="401" y="277"/>
                  </a:lnTo>
                  <a:lnTo>
                    <a:pt x="395" y="272"/>
                  </a:lnTo>
                  <a:lnTo>
                    <a:pt x="389" y="266"/>
                  </a:lnTo>
                  <a:lnTo>
                    <a:pt x="382" y="262"/>
                  </a:lnTo>
                  <a:lnTo>
                    <a:pt x="375" y="257"/>
                  </a:lnTo>
                  <a:lnTo>
                    <a:pt x="368" y="253"/>
                  </a:lnTo>
                  <a:lnTo>
                    <a:pt x="359" y="250"/>
                  </a:lnTo>
                  <a:lnTo>
                    <a:pt x="352" y="249"/>
                  </a:lnTo>
                  <a:lnTo>
                    <a:pt x="343" y="247"/>
                  </a:lnTo>
                  <a:lnTo>
                    <a:pt x="334" y="247"/>
                  </a:lnTo>
                  <a:close/>
                  <a:moveTo>
                    <a:pt x="334" y="470"/>
                  </a:moveTo>
                  <a:lnTo>
                    <a:pt x="320" y="469"/>
                  </a:lnTo>
                  <a:lnTo>
                    <a:pt x="307" y="468"/>
                  </a:lnTo>
                  <a:lnTo>
                    <a:pt x="293" y="465"/>
                  </a:lnTo>
                  <a:lnTo>
                    <a:pt x="281" y="459"/>
                  </a:lnTo>
                  <a:lnTo>
                    <a:pt x="268" y="453"/>
                  </a:lnTo>
                  <a:lnTo>
                    <a:pt x="257" y="447"/>
                  </a:lnTo>
                  <a:lnTo>
                    <a:pt x="247" y="439"/>
                  </a:lnTo>
                  <a:lnTo>
                    <a:pt x="236" y="430"/>
                  </a:lnTo>
                  <a:lnTo>
                    <a:pt x="228" y="420"/>
                  </a:lnTo>
                  <a:lnTo>
                    <a:pt x="219" y="410"/>
                  </a:lnTo>
                  <a:lnTo>
                    <a:pt x="213" y="398"/>
                  </a:lnTo>
                  <a:lnTo>
                    <a:pt x="208" y="385"/>
                  </a:lnTo>
                  <a:lnTo>
                    <a:pt x="202" y="374"/>
                  </a:lnTo>
                  <a:lnTo>
                    <a:pt x="199" y="360"/>
                  </a:lnTo>
                  <a:lnTo>
                    <a:pt x="198" y="347"/>
                  </a:lnTo>
                  <a:lnTo>
                    <a:pt x="196" y="332"/>
                  </a:lnTo>
                  <a:lnTo>
                    <a:pt x="198" y="318"/>
                  </a:lnTo>
                  <a:lnTo>
                    <a:pt x="199" y="305"/>
                  </a:lnTo>
                  <a:lnTo>
                    <a:pt x="202" y="292"/>
                  </a:lnTo>
                  <a:lnTo>
                    <a:pt x="208" y="279"/>
                  </a:lnTo>
                  <a:lnTo>
                    <a:pt x="213" y="267"/>
                  </a:lnTo>
                  <a:lnTo>
                    <a:pt x="219" y="256"/>
                  </a:lnTo>
                  <a:lnTo>
                    <a:pt x="228" y="244"/>
                  </a:lnTo>
                  <a:lnTo>
                    <a:pt x="236" y="234"/>
                  </a:lnTo>
                  <a:lnTo>
                    <a:pt x="247" y="226"/>
                  </a:lnTo>
                  <a:lnTo>
                    <a:pt x="257" y="218"/>
                  </a:lnTo>
                  <a:lnTo>
                    <a:pt x="268" y="211"/>
                  </a:lnTo>
                  <a:lnTo>
                    <a:pt x="281" y="205"/>
                  </a:lnTo>
                  <a:lnTo>
                    <a:pt x="293" y="201"/>
                  </a:lnTo>
                  <a:lnTo>
                    <a:pt x="307" y="197"/>
                  </a:lnTo>
                  <a:lnTo>
                    <a:pt x="320" y="195"/>
                  </a:lnTo>
                  <a:lnTo>
                    <a:pt x="334" y="194"/>
                  </a:lnTo>
                  <a:lnTo>
                    <a:pt x="349" y="195"/>
                  </a:lnTo>
                  <a:lnTo>
                    <a:pt x="362" y="197"/>
                  </a:lnTo>
                  <a:lnTo>
                    <a:pt x="375" y="201"/>
                  </a:lnTo>
                  <a:lnTo>
                    <a:pt x="388" y="205"/>
                  </a:lnTo>
                  <a:lnTo>
                    <a:pt x="399" y="211"/>
                  </a:lnTo>
                  <a:lnTo>
                    <a:pt x="411" y="218"/>
                  </a:lnTo>
                  <a:lnTo>
                    <a:pt x="422" y="226"/>
                  </a:lnTo>
                  <a:lnTo>
                    <a:pt x="431" y="234"/>
                  </a:lnTo>
                  <a:lnTo>
                    <a:pt x="441" y="244"/>
                  </a:lnTo>
                  <a:lnTo>
                    <a:pt x="448" y="256"/>
                  </a:lnTo>
                  <a:lnTo>
                    <a:pt x="455" y="267"/>
                  </a:lnTo>
                  <a:lnTo>
                    <a:pt x="461" y="279"/>
                  </a:lnTo>
                  <a:lnTo>
                    <a:pt x="465" y="292"/>
                  </a:lnTo>
                  <a:lnTo>
                    <a:pt x="470" y="305"/>
                  </a:lnTo>
                  <a:lnTo>
                    <a:pt x="471" y="318"/>
                  </a:lnTo>
                  <a:lnTo>
                    <a:pt x="473" y="332"/>
                  </a:lnTo>
                  <a:lnTo>
                    <a:pt x="471" y="347"/>
                  </a:lnTo>
                  <a:lnTo>
                    <a:pt x="470" y="360"/>
                  </a:lnTo>
                  <a:lnTo>
                    <a:pt x="465" y="374"/>
                  </a:lnTo>
                  <a:lnTo>
                    <a:pt x="461" y="385"/>
                  </a:lnTo>
                  <a:lnTo>
                    <a:pt x="455" y="398"/>
                  </a:lnTo>
                  <a:lnTo>
                    <a:pt x="448" y="410"/>
                  </a:lnTo>
                  <a:lnTo>
                    <a:pt x="441" y="420"/>
                  </a:lnTo>
                  <a:lnTo>
                    <a:pt x="431" y="430"/>
                  </a:lnTo>
                  <a:lnTo>
                    <a:pt x="422" y="439"/>
                  </a:lnTo>
                  <a:lnTo>
                    <a:pt x="411" y="447"/>
                  </a:lnTo>
                  <a:lnTo>
                    <a:pt x="399" y="453"/>
                  </a:lnTo>
                  <a:lnTo>
                    <a:pt x="388" y="459"/>
                  </a:lnTo>
                  <a:lnTo>
                    <a:pt x="375" y="465"/>
                  </a:lnTo>
                  <a:lnTo>
                    <a:pt x="362" y="468"/>
                  </a:lnTo>
                  <a:lnTo>
                    <a:pt x="349" y="469"/>
                  </a:lnTo>
                  <a:lnTo>
                    <a:pt x="334" y="470"/>
                  </a:lnTo>
                  <a:close/>
                  <a:moveTo>
                    <a:pt x="304" y="613"/>
                  </a:moveTo>
                  <a:lnTo>
                    <a:pt x="363" y="613"/>
                  </a:lnTo>
                  <a:lnTo>
                    <a:pt x="363" y="548"/>
                  </a:lnTo>
                  <a:lnTo>
                    <a:pt x="365" y="541"/>
                  </a:lnTo>
                  <a:lnTo>
                    <a:pt x="369" y="532"/>
                  </a:lnTo>
                  <a:lnTo>
                    <a:pt x="376" y="527"/>
                  </a:lnTo>
                  <a:lnTo>
                    <a:pt x="383" y="524"/>
                  </a:lnTo>
                  <a:lnTo>
                    <a:pt x="396" y="519"/>
                  </a:lnTo>
                  <a:lnTo>
                    <a:pt x="409" y="515"/>
                  </a:lnTo>
                  <a:lnTo>
                    <a:pt x="422" y="509"/>
                  </a:lnTo>
                  <a:lnTo>
                    <a:pt x="434" y="502"/>
                  </a:lnTo>
                  <a:lnTo>
                    <a:pt x="442" y="499"/>
                  </a:lnTo>
                  <a:lnTo>
                    <a:pt x="451" y="499"/>
                  </a:lnTo>
                  <a:lnTo>
                    <a:pt x="460" y="502"/>
                  </a:lnTo>
                  <a:lnTo>
                    <a:pt x="465" y="506"/>
                  </a:lnTo>
                  <a:lnTo>
                    <a:pt x="512" y="553"/>
                  </a:lnTo>
                  <a:lnTo>
                    <a:pt x="555" y="511"/>
                  </a:lnTo>
                  <a:lnTo>
                    <a:pt x="509" y="465"/>
                  </a:lnTo>
                  <a:lnTo>
                    <a:pt x="503" y="457"/>
                  </a:lnTo>
                  <a:lnTo>
                    <a:pt x="500" y="449"/>
                  </a:lnTo>
                  <a:lnTo>
                    <a:pt x="501" y="440"/>
                  </a:lnTo>
                  <a:lnTo>
                    <a:pt x="504" y="433"/>
                  </a:lnTo>
                  <a:lnTo>
                    <a:pt x="510" y="420"/>
                  </a:lnTo>
                  <a:lnTo>
                    <a:pt x="516" y="409"/>
                  </a:lnTo>
                  <a:lnTo>
                    <a:pt x="522" y="396"/>
                  </a:lnTo>
                  <a:lnTo>
                    <a:pt x="526" y="381"/>
                  </a:lnTo>
                  <a:lnTo>
                    <a:pt x="529" y="374"/>
                  </a:lnTo>
                  <a:lnTo>
                    <a:pt x="535" y="368"/>
                  </a:lnTo>
                  <a:lnTo>
                    <a:pt x="542" y="364"/>
                  </a:lnTo>
                  <a:lnTo>
                    <a:pt x="550" y="362"/>
                  </a:lnTo>
                  <a:lnTo>
                    <a:pt x="615" y="362"/>
                  </a:lnTo>
                  <a:lnTo>
                    <a:pt x="615" y="302"/>
                  </a:lnTo>
                  <a:lnTo>
                    <a:pt x="550" y="302"/>
                  </a:lnTo>
                  <a:lnTo>
                    <a:pt x="542" y="301"/>
                  </a:lnTo>
                  <a:lnTo>
                    <a:pt x="535" y="298"/>
                  </a:lnTo>
                  <a:lnTo>
                    <a:pt x="529" y="290"/>
                  </a:lnTo>
                  <a:lnTo>
                    <a:pt x="526" y="283"/>
                  </a:lnTo>
                  <a:lnTo>
                    <a:pt x="522" y="270"/>
                  </a:lnTo>
                  <a:lnTo>
                    <a:pt x="516" y="257"/>
                  </a:lnTo>
                  <a:lnTo>
                    <a:pt x="510" y="244"/>
                  </a:lnTo>
                  <a:lnTo>
                    <a:pt x="504" y="233"/>
                  </a:lnTo>
                  <a:lnTo>
                    <a:pt x="501" y="224"/>
                  </a:lnTo>
                  <a:lnTo>
                    <a:pt x="501" y="216"/>
                  </a:lnTo>
                  <a:lnTo>
                    <a:pt x="503" y="207"/>
                  </a:lnTo>
                  <a:lnTo>
                    <a:pt x="509" y="200"/>
                  </a:lnTo>
                  <a:lnTo>
                    <a:pt x="555" y="155"/>
                  </a:lnTo>
                  <a:lnTo>
                    <a:pt x="512" y="112"/>
                  </a:lnTo>
                  <a:lnTo>
                    <a:pt x="465" y="158"/>
                  </a:lnTo>
                  <a:lnTo>
                    <a:pt x="460" y="164"/>
                  </a:lnTo>
                  <a:lnTo>
                    <a:pt x="451" y="165"/>
                  </a:lnTo>
                  <a:lnTo>
                    <a:pt x="442" y="165"/>
                  </a:lnTo>
                  <a:lnTo>
                    <a:pt x="434" y="162"/>
                  </a:lnTo>
                  <a:lnTo>
                    <a:pt x="422" y="155"/>
                  </a:lnTo>
                  <a:lnTo>
                    <a:pt x="409" y="149"/>
                  </a:lnTo>
                  <a:lnTo>
                    <a:pt x="396" y="145"/>
                  </a:lnTo>
                  <a:lnTo>
                    <a:pt x="383" y="141"/>
                  </a:lnTo>
                  <a:lnTo>
                    <a:pt x="376" y="138"/>
                  </a:lnTo>
                  <a:lnTo>
                    <a:pt x="369" y="132"/>
                  </a:lnTo>
                  <a:lnTo>
                    <a:pt x="365" y="125"/>
                  </a:lnTo>
                  <a:lnTo>
                    <a:pt x="363" y="116"/>
                  </a:lnTo>
                  <a:lnTo>
                    <a:pt x="363" y="51"/>
                  </a:lnTo>
                  <a:lnTo>
                    <a:pt x="304" y="51"/>
                  </a:lnTo>
                  <a:lnTo>
                    <a:pt x="304" y="116"/>
                  </a:lnTo>
                  <a:lnTo>
                    <a:pt x="303" y="125"/>
                  </a:lnTo>
                  <a:lnTo>
                    <a:pt x="298" y="132"/>
                  </a:lnTo>
                  <a:lnTo>
                    <a:pt x="293" y="138"/>
                  </a:lnTo>
                  <a:lnTo>
                    <a:pt x="284" y="141"/>
                  </a:lnTo>
                  <a:lnTo>
                    <a:pt x="271" y="145"/>
                  </a:lnTo>
                  <a:lnTo>
                    <a:pt x="258" y="149"/>
                  </a:lnTo>
                  <a:lnTo>
                    <a:pt x="247" y="155"/>
                  </a:lnTo>
                  <a:lnTo>
                    <a:pt x="234" y="162"/>
                  </a:lnTo>
                  <a:lnTo>
                    <a:pt x="226" y="165"/>
                  </a:lnTo>
                  <a:lnTo>
                    <a:pt x="218" y="165"/>
                  </a:lnTo>
                  <a:lnTo>
                    <a:pt x="209" y="164"/>
                  </a:lnTo>
                  <a:lnTo>
                    <a:pt x="202" y="158"/>
                  </a:lnTo>
                  <a:lnTo>
                    <a:pt x="156" y="112"/>
                  </a:lnTo>
                  <a:lnTo>
                    <a:pt x="114" y="155"/>
                  </a:lnTo>
                  <a:lnTo>
                    <a:pt x="160" y="200"/>
                  </a:lnTo>
                  <a:lnTo>
                    <a:pt x="164" y="207"/>
                  </a:lnTo>
                  <a:lnTo>
                    <a:pt x="167" y="216"/>
                  </a:lnTo>
                  <a:lnTo>
                    <a:pt x="167" y="224"/>
                  </a:lnTo>
                  <a:lnTo>
                    <a:pt x="164" y="233"/>
                  </a:lnTo>
                  <a:lnTo>
                    <a:pt x="157" y="244"/>
                  </a:lnTo>
                  <a:lnTo>
                    <a:pt x="152" y="257"/>
                  </a:lnTo>
                  <a:lnTo>
                    <a:pt x="147" y="270"/>
                  </a:lnTo>
                  <a:lnTo>
                    <a:pt x="143" y="283"/>
                  </a:lnTo>
                  <a:lnTo>
                    <a:pt x="140" y="290"/>
                  </a:lnTo>
                  <a:lnTo>
                    <a:pt x="134" y="298"/>
                  </a:lnTo>
                  <a:lnTo>
                    <a:pt x="126" y="301"/>
                  </a:lnTo>
                  <a:lnTo>
                    <a:pt x="117" y="302"/>
                  </a:lnTo>
                  <a:lnTo>
                    <a:pt x="52" y="302"/>
                  </a:lnTo>
                  <a:lnTo>
                    <a:pt x="52" y="362"/>
                  </a:lnTo>
                  <a:lnTo>
                    <a:pt x="117" y="362"/>
                  </a:lnTo>
                  <a:lnTo>
                    <a:pt x="126" y="364"/>
                  </a:lnTo>
                  <a:lnTo>
                    <a:pt x="134" y="368"/>
                  </a:lnTo>
                  <a:lnTo>
                    <a:pt x="140" y="374"/>
                  </a:lnTo>
                  <a:lnTo>
                    <a:pt x="143" y="381"/>
                  </a:lnTo>
                  <a:lnTo>
                    <a:pt x="147" y="396"/>
                  </a:lnTo>
                  <a:lnTo>
                    <a:pt x="152" y="409"/>
                  </a:lnTo>
                  <a:lnTo>
                    <a:pt x="157" y="420"/>
                  </a:lnTo>
                  <a:lnTo>
                    <a:pt x="164" y="433"/>
                  </a:lnTo>
                  <a:lnTo>
                    <a:pt x="167" y="440"/>
                  </a:lnTo>
                  <a:lnTo>
                    <a:pt x="167" y="449"/>
                  </a:lnTo>
                  <a:lnTo>
                    <a:pt x="164" y="457"/>
                  </a:lnTo>
                  <a:lnTo>
                    <a:pt x="160" y="465"/>
                  </a:lnTo>
                  <a:lnTo>
                    <a:pt x="114" y="511"/>
                  </a:lnTo>
                  <a:lnTo>
                    <a:pt x="156" y="553"/>
                  </a:lnTo>
                  <a:lnTo>
                    <a:pt x="202" y="506"/>
                  </a:lnTo>
                  <a:lnTo>
                    <a:pt x="209" y="502"/>
                  </a:lnTo>
                  <a:lnTo>
                    <a:pt x="218" y="499"/>
                  </a:lnTo>
                  <a:lnTo>
                    <a:pt x="226" y="499"/>
                  </a:lnTo>
                  <a:lnTo>
                    <a:pt x="234" y="502"/>
                  </a:lnTo>
                  <a:lnTo>
                    <a:pt x="247" y="509"/>
                  </a:lnTo>
                  <a:lnTo>
                    <a:pt x="258" y="515"/>
                  </a:lnTo>
                  <a:lnTo>
                    <a:pt x="271" y="519"/>
                  </a:lnTo>
                  <a:lnTo>
                    <a:pt x="284" y="524"/>
                  </a:lnTo>
                  <a:lnTo>
                    <a:pt x="293" y="527"/>
                  </a:lnTo>
                  <a:lnTo>
                    <a:pt x="298" y="532"/>
                  </a:lnTo>
                  <a:lnTo>
                    <a:pt x="303" y="541"/>
                  </a:lnTo>
                  <a:lnTo>
                    <a:pt x="304" y="548"/>
                  </a:lnTo>
                  <a:lnTo>
                    <a:pt x="304" y="613"/>
                  </a:lnTo>
                  <a:close/>
                  <a:moveTo>
                    <a:pt x="375" y="666"/>
                  </a:moveTo>
                  <a:lnTo>
                    <a:pt x="293" y="666"/>
                  </a:lnTo>
                  <a:lnTo>
                    <a:pt x="285" y="665"/>
                  </a:lnTo>
                  <a:lnTo>
                    <a:pt x="277" y="662"/>
                  </a:lnTo>
                  <a:lnTo>
                    <a:pt x="270" y="659"/>
                  </a:lnTo>
                  <a:lnTo>
                    <a:pt x="264" y="653"/>
                  </a:lnTo>
                  <a:lnTo>
                    <a:pt x="260" y="648"/>
                  </a:lnTo>
                  <a:lnTo>
                    <a:pt x="255" y="640"/>
                  </a:lnTo>
                  <a:lnTo>
                    <a:pt x="252" y="633"/>
                  </a:lnTo>
                  <a:lnTo>
                    <a:pt x="252" y="625"/>
                  </a:lnTo>
                  <a:lnTo>
                    <a:pt x="252" y="568"/>
                  </a:lnTo>
                  <a:lnTo>
                    <a:pt x="238" y="563"/>
                  </a:lnTo>
                  <a:lnTo>
                    <a:pt x="225" y="557"/>
                  </a:lnTo>
                  <a:lnTo>
                    <a:pt x="185" y="597"/>
                  </a:lnTo>
                  <a:lnTo>
                    <a:pt x="179" y="603"/>
                  </a:lnTo>
                  <a:lnTo>
                    <a:pt x="172" y="606"/>
                  </a:lnTo>
                  <a:lnTo>
                    <a:pt x="164" y="609"/>
                  </a:lnTo>
                  <a:lnTo>
                    <a:pt x="156" y="609"/>
                  </a:lnTo>
                  <a:lnTo>
                    <a:pt x="149" y="609"/>
                  </a:lnTo>
                  <a:lnTo>
                    <a:pt x="140" y="606"/>
                  </a:lnTo>
                  <a:lnTo>
                    <a:pt x="134" y="603"/>
                  </a:lnTo>
                  <a:lnTo>
                    <a:pt x="127" y="597"/>
                  </a:lnTo>
                  <a:lnTo>
                    <a:pt x="69" y="540"/>
                  </a:lnTo>
                  <a:lnTo>
                    <a:pt x="64" y="532"/>
                  </a:lnTo>
                  <a:lnTo>
                    <a:pt x="61" y="525"/>
                  </a:lnTo>
                  <a:lnTo>
                    <a:pt x="58" y="518"/>
                  </a:lnTo>
                  <a:lnTo>
                    <a:pt x="58" y="511"/>
                  </a:lnTo>
                  <a:lnTo>
                    <a:pt x="58" y="502"/>
                  </a:lnTo>
                  <a:lnTo>
                    <a:pt x="61" y="495"/>
                  </a:lnTo>
                  <a:lnTo>
                    <a:pt x="64" y="488"/>
                  </a:lnTo>
                  <a:lnTo>
                    <a:pt x="69" y="482"/>
                  </a:lnTo>
                  <a:lnTo>
                    <a:pt x="110" y="442"/>
                  </a:lnTo>
                  <a:lnTo>
                    <a:pt x="104" y="427"/>
                  </a:lnTo>
                  <a:lnTo>
                    <a:pt x="98" y="414"/>
                  </a:lnTo>
                  <a:lnTo>
                    <a:pt x="42" y="414"/>
                  </a:lnTo>
                  <a:lnTo>
                    <a:pt x="33" y="413"/>
                  </a:lnTo>
                  <a:lnTo>
                    <a:pt x="26" y="411"/>
                  </a:lnTo>
                  <a:lnTo>
                    <a:pt x="19" y="407"/>
                  </a:lnTo>
                  <a:lnTo>
                    <a:pt x="13" y="403"/>
                  </a:lnTo>
                  <a:lnTo>
                    <a:pt x="8" y="397"/>
                  </a:lnTo>
                  <a:lnTo>
                    <a:pt x="3" y="390"/>
                  </a:lnTo>
                  <a:lnTo>
                    <a:pt x="2" y="381"/>
                  </a:lnTo>
                  <a:lnTo>
                    <a:pt x="0" y="374"/>
                  </a:lnTo>
                  <a:lnTo>
                    <a:pt x="0" y="292"/>
                  </a:lnTo>
                  <a:lnTo>
                    <a:pt x="2" y="283"/>
                  </a:lnTo>
                  <a:lnTo>
                    <a:pt x="3" y="276"/>
                  </a:lnTo>
                  <a:lnTo>
                    <a:pt x="8" y="269"/>
                  </a:lnTo>
                  <a:lnTo>
                    <a:pt x="13" y="263"/>
                  </a:lnTo>
                  <a:lnTo>
                    <a:pt x="19" y="257"/>
                  </a:lnTo>
                  <a:lnTo>
                    <a:pt x="26" y="253"/>
                  </a:lnTo>
                  <a:lnTo>
                    <a:pt x="33" y="252"/>
                  </a:lnTo>
                  <a:lnTo>
                    <a:pt x="42" y="250"/>
                  </a:lnTo>
                  <a:lnTo>
                    <a:pt x="98" y="250"/>
                  </a:lnTo>
                  <a:lnTo>
                    <a:pt x="104" y="237"/>
                  </a:lnTo>
                  <a:lnTo>
                    <a:pt x="110" y="224"/>
                  </a:lnTo>
                  <a:lnTo>
                    <a:pt x="69" y="184"/>
                  </a:lnTo>
                  <a:lnTo>
                    <a:pt x="64" y="177"/>
                  </a:lnTo>
                  <a:lnTo>
                    <a:pt x="61" y="169"/>
                  </a:lnTo>
                  <a:lnTo>
                    <a:pt x="58" y="162"/>
                  </a:lnTo>
                  <a:lnTo>
                    <a:pt x="58" y="155"/>
                  </a:lnTo>
                  <a:lnTo>
                    <a:pt x="58" y="146"/>
                  </a:lnTo>
                  <a:lnTo>
                    <a:pt x="61" y="139"/>
                  </a:lnTo>
                  <a:lnTo>
                    <a:pt x="64" y="132"/>
                  </a:lnTo>
                  <a:lnTo>
                    <a:pt x="69" y="126"/>
                  </a:lnTo>
                  <a:lnTo>
                    <a:pt x="127" y="67"/>
                  </a:lnTo>
                  <a:lnTo>
                    <a:pt x="134" y="63"/>
                  </a:lnTo>
                  <a:lnTo>
                    <a:pt x="140" y="59"/>
                  </a:lnTo>
                  <a:lnTo>
                    <a:pt x="149" y="57"/>
                  </a:lnTo>
                  <a:lnTo>
                    <a:pt x="156" y="56"/>
                  </a:lnTo>
                  <a:lnTo>
                    <a:pt x="164" y="57"/>
                  </a:lnTo>
                  <a:lnTo>
                    <a:pt x="172" y="59"/>
                  </a:lnTo>
                  <a:lnTo>
                    <a:pt x="179" y="63"/>
                  </a:lnTo>
                  <a:lnTo>
                    <a:pt x="185" y="67"/>
                  </a:lnTo>
                  <a:lnTo>
                    <a:pt x="225" y="108"/>
                  </a:lnTo>
                  <a:lnTo>
                    <a:pt x="238" y="102"/>
                  </a:lnTo>
                  <a:lnTo>
                    <a:pt x="252" y="96"/>
                  </a:lnTo>
                  <a:lnTo>
                    <a:pt x="252" y="40"/>
                  </a:lnTo>
                  <a:lnTo>
                    <a:pt x="252" y="31"/>
                  </a:lnTo>
                  <a:lnTo>
                    <a:pt x="255" y="24"/>
                  </a:lnTo>
                  <a:lnTo>
                    <a:pt x="260" y="17"/>
                  </a:lnTo>
                  <a:lnTo>
                    <a:pt x="264" y="11"/>
                  </a:lnTo>
                  <a:lnTo>
                    <a:pt x="270" y="5"/>
                  </a:lnTo>
                  <a:lnTo>
                    <a:pt x="277" y="2"/>
                  </a:lnTo>
                  <a:lnTo>
                    <a:pt x="285" y="0"/>
                  </a:lnTo>
                  <a:lnTo>
                    <a:pt x="293" y="0"/>
                  </a:lnTo>
                  <a:lnTo>
                    <a:pt x="375" y="0"/>
                  </a:lnTo>
                  <a:lnTo>
                    <a:pt x="383" y="0"/>
                  </a:lnTo>
                  <a:lnTo>
                    <a:pt x="391" y="2"/>
                  </a:lnTo>
                  <a:lnTo>
                    <a:pt x="398" y="5"/>
                  </a:lnTo>
                  <a:lnTo>
                    <a:pt x="404" y="11"/>
                  </a:lnTo>
                  <a:lnTo>
                    <a:pt x="409" y="17"/>
                  </a:lnTo>
                  <a:lnTo>
                    <a:pt x="412" y="24"/>
                  </a:lnTo>
                  <a:lnTo>
                    <a:pt x="415" y="31"/>
                  </a:lnTo>
                  <a:lnTo>
                    <a:pt x="416" y="40"/>
                  </a:lnTo>
                  <a:lnTo>
                    <a:pt x="416" y="96"/>
                  </a:lnTo>
                  <a:lnTo>
                    <a:pt x="429" y="102"/>
                  </a:lnTo>
                  <a:lnTo>
                    <a:pt x="442" y="108"/>
                  </a:lnTo>
                  <a:lnTo>
                    <a:pt x="483" y="67"/>
                  </a:lnTo>
                  <a:lnTo>
                    <a:pt x="490" y="63"/>
                  </a:lnTo>
                  <a:lnTo>
                    <a:pt x="496" y="59"/>
                  </a:lnTo>
                  <a:lnTo>
                    <a:pt x="504" y="57"/>
                  </a:lnTo>
                  <a:lnTo>
                    <a:pt x="512" y="56"/>
                  </a:lnTo>
                  <a:lnTo>
                    <a:pt x="520" y="57"/>
                  </a:lnTo>
                  <a:lnTo>
                    <a:pt x="527" y="59"/>
                  </a:lnTo>
                  <a:lnTo>
                    <a:pt x="535" y="63"/>
                  </a:lnTo>
                  <a:lnTo>
                    <a:pt x="540" y="67"/>
                  </a:lnTo>
                  <a:lnTo>
                    <a:pt x="599" y="125"/>
                  </a:lnTo>
                  <a:lnTo>
                    <a:pt x="604" y="132"/>
                  </a:lnTo>
                  <a:lnTo>
                    <a:pt x="608" y="139"/>
                  </a:lnTo>
                  <a:lnTo>
                    <a:pt x="609" y="146"/>
                  </a:lnTo>
                  <a:lnTo>
                    <a:pt x="611" y="155"/>
                  </a:lnTo>
                  <a:lnTo>
                    <a:pt x="609" y="162"/>
                  </a:lnTo>
                  <a:lnTo>
                    <a:pt x="608" y="169"/>
                  </a:lnTo>
                  <a:lnTo>
                    <a:pt x="604" y="177"/>
                  </a:lnTo>
                  <a:lnTo>
                    <a:pt x="599" y="184"/>
                  </a:lnTo>
                  <a:lnTo>
                    <a:pt x="559" y="224"/>
                  </a:lnTo>
                  <a:lnTo>
                    <a:pt x="565" y="237"/>
                  </a:lnTo>
                  <a:lnTo>
                    <a:pt x="571" y="250"/>
                  </a:lnTo>
                  <a:lnTo>
                    <a:pt x="627" y="250"/>
                  </a:lnTo>
                  <a:lnTo>
                    <a:pt x="635" y="252"/>
                  </a:lnTo>
                  <a:lnTo>
                    <a:pt x="643" y="253"/>
                  </a:lnTo>
                  <a:lnTo>
                    <a:pt x="650" y="257"/>
                  </a:lnTo>
                  <a:lnTo>
                    <a:pt x="656" y="263"/>
                  </a:lnTo>
                  <a:lnTo>
                    <a:pt x="661" y="269"/>
                  </a:lnTo>
                  <a:lnTo>
                    <a:pt x="664" y="276"/>
                  </a:lnTo>
                  <a:lnTo>
                    <a:pt x="667" y="283"/>
                  </a:lnTo>
                  <a:lnTo>
                    <a:pt x="667" y="292"/>
                  </a:lnTo>
                  <a:lnTo>
                    <a:pt x="667" y="374"/>
                  </a:lnTo>
                  <a:lnTo>
                    <a:pt x="667" y="381"/>
                  </a:lnTo>
                  <a:lnTo>
                    <a:pt x="664" y="390"/>
                  </a:lnTo>
                  <a:lnTo>
                    <a:pt x="661" y="397"/>
                  </a:lnTo>
                  <a:lnTo>
                    <a:pt x="656" y="403"/>
                  </a:lnTo>
                  <a:lnTo>
                    <a:pt x="650" y="407"/>
                  </a:lnTo>
                  <a:lnTo>
                    <a:pt x="643" y="411"/>
                  </a:lnTo>
                  <a:lnTo>
                    <a:pt x="635" y="413"/>
                  </a:lnTo>
                  <a:lnTo>
                    <a:pt x="627" y="414"/>
                  </a:lnTo>
                  <a:lnTo>
                    <a:pt x="571" y="414"/>
                  </a:lnTo>
                  <a:lnTo>
                    <a:pt x="565" y="427"/>
                  </a:lnTo>
                  <a:lnTo>
                    <a:pt x="559" y="442"/>
                  </a:lnTo>
                  <a:lnTo>
                    <a:pt x="599" y="482"/>
                  </a:lnTo>
                  <a:lnTo>
                    <a:pt x="604" y="488"/>
                  </a:lnTo>
                  <a:lnTo>
                    <a:pt x="608" y="495"/>
                  </a:lnTo>
                  <a:lnTo>
                    <a:pt x="609" y="502"/>
                  </a:lnTo>
                  <a:lnTo>
                    <a:pt x="611" y="511"/>
                  </a:lnTo>
                  <a:lnTo>
                    <a:pt x="609" y="518"/>
                  </a:lnTo>
                  <a:lnTo>
                    <a:pt x="608" y="525"/>
                  </a:lnTo>
                  <a:lnTo>
                    <a:pt x="604" y="532"/>
                  </a:lnTo>
                  <a:lnTo>
                    <a:pt x="599" y="540"/>
                  </a:lnTo>
                  <a:lnTo>
                    <a:pt x="540" y="597"/>
                  </a:lnTo>
                  <a:lnTo>
                    <a:pt x="535" y="603"/>
                  </a:lnTo>
                  <a:lnTo>
                    <a:pt x="527" y="606"/>
                  </a:lnTo>
                  <a:lnTo>
                    <a:pt x="520" y="609"/>
                  </a:lnTo>
                  <a:lnTo>
                    <a:pt x="512" y="609"/>
                  </a:lnTo>
                  <a:lnTo>
                    <a:pt x="504" y="609"/>
                  </a:lnTo>
                  <a:lnTo>
                    <a:pt x="496" y="606"/>
                  </a:lnTo>
                  <a:lnTo>
                    <a:pt x="490" y="603"/>
                  </a:lnTo>
                  <a:lnTo>
                    <a:pt x="483" y="597"/>
                  </a:lnTo>
                  <a:lnTo>
                    <a:pt x="442" y="557"/>
                  </a:lnTo>
                  <a:lnTo>
                    <a:pt x="429" y="563"/>
                  </a:lnTo>
                  <a:lnTo>
                    <a:pt x="416" y="568"/>
                  </a:lnTo>
                  <a:lnTo>
                    <a:pt x="416" y="625"/>
                  </a:lnTo>
                  <a:lnTo>
                    <a:pt x="415" y="633"/>
                  </a:lnTo>
                  <a:lnTo>
                    <a:pt x="412" y="640"/>
                  </a:lnTo>
                  <a:lnTo>
                    <a:pt x="409" y="648"/>
                  </a:lnTo>
                  <a:lnTo>
                    <a:pt x="404" y="653"/>
                  </a:lnTo>
                  <a:lnTo>
                    <a:pt x="398" y="659"/>
                  </a:lnTo>
                  <a:lnTo>
                    <a:pt x="391" y="662"/>
                  </a:lnTo>
                  <a:lnTo>
                    <a:pt x="383" y="665"/>
                  </a:lnTo>
                  <a:lnTo>
                    <a:pt x="375"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0" name="Group 75">
            <a:extLst>
              <a:ext uri="{FF2B5EF4-FFF2-40B4-BE49-F238E27FC236}">
                <a16:creationId xmlns:a16="http://schemas.microsoft.com/office/drawing/2014/main" id="{2C67D376-0912-41CF-ADC8-12BB744C2048}"/>
              </a:ext>
            </a:extLst>
          </p:cNvPr>
          <p:cNvGrpSpPr>
            <a:grpSpLocks noChangeAspect="1"/>
          </p:cNvGrpSpPr>
          <p:nvPr/>
        </p:nvGrpSpPr>
        <p:grpSpPr>
          <a:xfrm>
            <a:off x="1915852" y="4343798"/>
            <a:ext cx="241691" cy="310367"/>
            <a:chOff x="6248400" y="1760538"/>
            <a:chExt cx="581025" cy="746125"/>
          </a:xfrm>
          <a:solidFill>
            <a:schemeClr val="bg2"/>
          </a:solidFill>
          <a:effectLst/>
        </p:grpSpPr>
        <p:sp>
          <p:nvSpPr>
            <p:cNvPr id="341" name="Freeform 119">
              <a:extLst>
                <a:ext uri="{FF2B5EF4-FFF2-40B4-BE49-F238E27FC236}">
                  <a16:creationId xmlns:a16="http://schemas.microsoft.com/office/drawing/2014/main" id="{C227B96B-1259-4BB4-91AA-DFBF23C8AFB0}"/>
                </a:ext>
              </a:extLst>
            </p:cNvPr>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20">
              <a:extLst>
                <a:ext uri="{FF2B5EF4-FFF2-40B4-BE49-F238E27FC236}">
                  <a16:creationId xmlns:a16="http://schemas.microsoft.com/office/drawing/2014/main" id="{5E875D98-7630-4D37-90CE-1A06292B0EF5}"/>
                </a:ext>
              </a:extLst>
            </p:cNvPr>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25">
              <a:extLst>
                <a:ext uri="{FF2B5EF4-FFF2-40B4-BE49-F238E27FC236}">
                  <a16:creationId xmlns:a16="http://schemas.microsoft.com/office/drawing/2014/main" id="{6E611BFC-728A-40DD-8D09-4B27AD7B5AD2}"/>
                </a:ext>
              </a:extLst>
            </p:cNvPr>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26">
              <a:extLst>
                <a:ext uri="{FF2B5EF4-FFF2-40B4-BE49-F238E27FC236}">
                  <a16:creationId xmlns:a16="http://schemas.microsoft.com/office/drawing/2014/main" id="{DAE30785-E7BA-49AB-AD9C-2B6F44CABF9A}"/>
                </a:ext>
              </a:extLst>
            </p:cNvPr>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27">
              <a:extLst>
                <a:ext uri="{FF2B5EF4-FFF2-40B4-BE49-F238E27FC236}">
                  <a16:creationId xmlns:a16="http://schemas.microsoft.com/office/drawing/2014/main" id="{0BD9EA27-1294-4A20-9FF9-42FE8852171B}"/>
                </a:ext>
              </a:extLst>
            </p:cNvPr>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28">
              <a:extLst>
                <a:ext uri="{FF2B5EF4-FFF2-40B4-BE49-F238E27FC236}">
                  <a16:creationId xmlns:a16="http://schemas.microsoft.com/office/drawing/2014/main" id="{880F6D7E-A108-4F03-9E54-2D7FADF8A8B1}"/>
                </a:ext>
              </a:extLst>
            </p:cNvPr>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29">
              <a:extLst>
                <a:ext uri="{FF2B5EF4-FFF2-40B4-BE49-F238E27FC236}">
                  <a16:creationId xmlns:a16="http://schemas.microsoft.com/office/drawing/2014/main" id="{DA85C238-6AEB-4A3A-9EFC-D04D62E71449}"/>
                </a:ext>
              </a:extLst>
            </p:cNvPr>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30">
              <a:extLst>
                <a:ext uri="{FF2B5EF4-FFF2-40B4-BE49-F238E27FC236}">
                  <a16:creationId xmlns:a16="http://schemas.microsoft.com/office/drawing/2014/main" id="{63D8BF5E-9F83-4A42-B8F6-05F37CF51239}"/>
                </a:ext>
              </a:extLst>
            </p:cNvPr>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16">
              <a:extLst>
                <a:ext uri="{FF2B5EF4-FFF2-40B4-BE49-F238E27FC236}">
                  <a16:creationId xmlns:a16="http://schemas.microsoft.com/office/drawing/2014/main" id="{3140EAFA-2C3A-4C90-B18F-64D77DB57D91}"/>
                </a:ext>
              </a:extLst>
            </p:cNvPr>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18">
              <a:extLst>
                <a:ext uri="{FF2B5EF4-FFF2-40B4-BE49-F238E27FC236}">
                  <a16:creationId xmlns:a16="http://schemas.microsoft.com/office/drawing/2014/main" id="{52CFD4FD-A3E5-4F2A-A9F6-C0FA32BC7105}"/>
                </a:ext>
              </a:extLst>
            </p:cNvPr>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19">
              <a:extLst>
                <a:ext uri="{FF2B5EF4-FFF2-40B4-BE49-F238E27FC236}">
                  <a16:creationId xmlns:a16="http://schemas.microsoft.com/office/drawing/2014/main" id="{9C97C718-87A9-4F62-8917-C152EB58C54B}"/>
                </a:ext>
              </a:extLst>
            </p:cNvPr>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7" name="Group 51">
            <a:extLst>
              <a:ext uri="{FF2B5EF4-FFF2-40B4-BE49-F238E27FC236}">
                <a16:creationId xmlns:a16="http://schemas.microsoft.com/office/drawing/2014/main" id="{0E32F0FB-E1EB-4014-A6B5-1C78F7C58584}"/>
              </a:ext>
            </a:extLst>
          </p:cNvPr>
          <p:cNvGrpSpPr>
            <a:grpSpLocks noChangeAspect="1"/>
          </p:cNvGrpSpPr>
          <p:nvPr/>
        </p:nvGrpSpPr>
        <p:grpSpPr>
          <a:xfrm>
            <a:off x="2338949" y="4345739"/>
            <a:ext cx="236675" cy="306484"/>
            <a:chOff x="8205788" y="788988"/>
            <a:chExt cx="220663" cy="285750"/>
          </a:xfrm>
          <a:solidFill>
            <a:schemeClr val="bg2"/>
          </a:solidFill>
          <a:effectLst/>
        </p:grpSpPr>
        <p:sp>
          <p:nvSpPr>
            <p:cNvPr id="368" name="Freeform 147">
              <a:extLst>
                <a:ext uri="{FF2B5EF4-FFF2-40B4-BE49-F238E27FC236}">
                  <a16:creationId xmlns:a16="http://schemas.microsoft.com/office/drawing/2014/main" id="{751364D8-8ECB-42D8-9A28-23C52DE25B3D}"/>
                </a:ext>
              </a:extLst>
            </p:cNvPr>
            <p:cNvSpPr>
              <a:spLocks noEditPoints="1"/>
            </p:cNvSpPr>
            <p:nvPr/>
          </p:nvSpPr>
          <p:spPr bwMode="auto">
            <a:xfrm>
              <a:off x="8205788" y="788988"/>
              <a:ext cx="220663" cy="285750"/>
            </a:xfrm>
            <a:custGeom>
              <a:avLst/>
              <a:gdLst>
                <a:gd name="T0" fmla="*/ 660 w 691"/>
                <a:gd name="T1" fmla="*/ 872 h 903"/>
                <a:gd name="T2" fmla="*/ 30 w 691"/>
                <a:gd name="T3" fmla="*/ 872 h 903"/>
                <a:gd name="T4" fmla="*/ 30 w 691"/>
                <a:gd name="T5" fmla="*/ 31 h 903"/>
                <a:gd name="T6" fmla="*/ 420 w 691"/>
                <a:gd name="T7" fmla="*/ 31 h 903"/>
                <a:gd name="T8" fmla="*/ 420 w 691"/>
                <a:gd name="T9" fmla="*/ 256 h 903"/>
                <a:gd name="T10" fmla="*/ 420 w 691"/>
                <a:gd name="T11" fmla="*/ 259 h 903"/>
                <a:gd name="T12" fmla="*/ 421 w 691"/>
                <a:gd name="T13" fmla="*/ 263 h 903"/>
                <a:gd name="T14" fmla="*/ 422 w 691"/>
                <a:gd name="T15" fmla="*/ 265 h 903"/>
                <a:gd name="T16" fmla="*/ 424 w 691"/>
                <a:gd name="T17" fmla="*/ 267 h 903"/>
                <a:gd name="T18" fmla="*/ 426 w 691"/>
                <a:gd name="T19" fmla="*/ 269 h 903"/>
                <a:gd name="T20" fmla="*/ 429 w 691"/>
                <a:gd name="T21" fmla="*/ 270 h 903"/>
                <a:gd name="T22" fmla="*/ 432 w 691"/>
                <a:gd name="T23" fmla="*/ 271 h 903"/>
                <a:gd name="T24" fmla="*/ 435 w 691"/>
                <a:gd name="T25" fmla="*/ 271 h 903"/>
                <a:gd name="T26" fmla="*/ 660 w 691"/>
                <a:gd name="T27" fmla="*/ 271 h 903"/>
                <a:gd name="T28" fmla="*/ 660 w 691"/>
                <a:gd name="T29" fmla="*/ 872 h 903"/>
                <a:gd name="T30" fmla="*/ 450 w 691"/>
                <a:gd name="T31" fmla="*/ 54 h 903"/>
                <a:gd name="T32" fmla="*/ 639 w 691"/>
                <a:gd name="T33" fmla="*/ 241 h 903"/>
                <a:gd name="T34" fmla="*/ 450 w 691"/>
                <a:gd name="T35" fmla="*/ 241 h 903"/>
                <a:gd name="T36" fmla="*/ 450 w 691"/>
                <a:gd name="T37" fmla="*/ 54 h 903"/>
                <a:gd name="T38" fmla="*/ 685 w 691"/>
                <a:gd name="T39" fmla="*/ 245 h 903"/>
                <a:gd name="T40" fmla="*/ 446 w 691"/>
                <a:gd name="T41" fmla="*/ 6 h 903"/>
                <a:gd name="T42" fmla="*/ 444 w 691"/>
                <a:gd name="T43" fmla="*/ 4 h 903"/>
                <a:gd name="T44" fmla="*/ 440 w 691"/>
                <a:gd name="T45" fmla="*/ 3 h 903"/>
                <a:gd name="T46" fmla="*/ 438 w 691"/>
                <a:gd name="T47" fmla="*/ 1 h 903"/>
                <a:gd name="T48" fmla="*/ 435 w 691"/>
                <a:gd name="T49" fmla="*/ 0 h 903"/>
                <a:gd name="T50" fmla="*/ 15 w 691"/>
                <a:gd name="T51" fmla="*/ 0 h 903"/>
                <a:gd name="T52" fmla="*/ 11 w 691"/>
                <a:gd name="T53" fmla="*/ 1 h 903"/>
                <a:gd name="T54" fmla="*/ 8 w 691"/>
                <a:gd name="T55" fmla="*/ 3 h 903"/>
                <a:gd name="T56" fmla="*/ 6 w 691"/>
                <a:gd name="T57" fmla="*/ 4 h 903"/>
                <a:gd name="T58" fmla="*/ 4 w 691"/>
                <a:gd name="T59" fmla="*/ 6 h 903"/>
                <a:gd name="T60" fmla="*/ 2 w 691"/>
                <a:gd name="T61" fmla="*/ 8 h 903"/>
                <a:gd name="T62" fmla="*/ 1 w 691"/>
                <a:gd name="T63" fmla="*/ 10 h 903"/>
                <a:gd name="T64" fmla="*/ 0 w 691"/>
                <a:gd name="T65" fmla="*/ 13 h 903"/>
                <a:gd name="T66" fmla="*/ 0 w 691"/>
                <a:gd name="T67" fmla="*/ 16 h 903"/>
                <a:gd name="T68" fmla="*/ 0 w 691"/>
                <a:gd name="T69" fmla="*/ 887 h 903"/>
                <a:gd name="T70" fmla="*/ 0 w 691"/>
                <a:gd name="T71" fmla="*/ 891 h 903"/>
                <a:gd name="T72" fmla="*/ 1 w 691"/>
                <a:gd name="T73" fmla="*/ 893 h 903"/>
                <a:gd name="T74" fmla="*/ 2 w 691"/>
                <a:gd name="T75" fmla="*/ 896 h 903"/>
                <a:gd name="T76" fmla="*/ 4 w 691"/>
                <a:gd name="T77" fmla="*/ 898 h 903"/>
                <a:gd name="T78" fmla="*/ 6 w 691"/>
                <a:gd name="T79" fmla="*/ 899 h 903"/>
                <a:gd name="T80" fmla="*/ 8 w 691"/>
                <a:gd name="T81" fmla="*/ 901 h 903"/>
                <a:gd name="T82" fmla="*/ 11 w 691"/>
                <a:gd name="T83" fmla="*/ 901 h 903"/>
                <a:gd name="T84" fmla="*/ 15 w 691"/>
                <a:gd name="T85" fmla="*/ 903 h 903"/>
                <a:gd name="T86" fmla="*/ 675 w 691"/>
                <a:gd name="T87" fmla="*/ 903 h 903"/>
                <a:gd name="T88" fmla="*/ 678 w 691"/>
                <a:gd name="T89" fmla="*/ 901 h 903"/>
                <a:gd name="T90" fmla="*/ 681 w 691"/>
                <a:gd name="T91" fmla="*/ 901 h 903"/>
                <a:gd name="T92" fmla="*/ 683 w 691"/>
                <a:gd name="T93" fmla="*/ 899 h 903"/>
                <a:gd name="T94" fmla="*/ 685 w 691"/>
                <a:gd name="T95" fmla="*/ 898 h 903"/>
                <a:gd name="T96" fmla="*/ 688 w 691"/>
                <a:gd name="T97" fmla="*/ 896 h 903"/>
                <a:gd name="T98" fmla="*/ 689 w 691"/>
                <a:gd name="T99" fmla="*/ 893 h 903"/>
                <a:gd name="T100" fmla="*/ 690 w 691"/>
                <a:gd name="T101" fmla="*/ 891 h 903"/>
                <a:gd name="T102" fmla="*/ 691 w 691"/>
                <a:gd name="T103" fmla="*/ 888 h 903"/>
                <a:gd name="T104" fmla="*/ 691 w 691"/>
                <a:gd name="T105" fmla="*/ 256 h 903"/>
                <a:gd name="T106" fmla="*/ 689 w 691"/>
                <a:gd name="T107" fmla="*/ 251 h 903"/>
                <a:gd name="T108" fmla="*/ 685 w 691"/>
                <a:gd name="T109" fmla="*/ 2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3">
                  <a:moveTo>
                    <a:pt x="660" y="872"/>
                  </a:moveTo>
                  <a:lnTo>
                    <a:pt x="30" y="872"/>
                  </a:lnTo>
                  <a:lnTo>
                    <a:pt x="30" y="31"/>
                  </a:lnTo>
                  <a:lnTo>
                    <a:pt x="420" y="31"/>
                  </a:lnTo>
                  <a:lnTo>
                    <a:pt x="420" y="256"/>
                  </a:lnTo>
                  <a:lnTo>
                    <a:pt x="420" y="259"/>
                  </a:lnTo>
                  <a:lnTo>
                    <a:pt x="421" y="263"/>
                  </a:lnTo>
                  <a:lnTo>
                    <a:pt x="422" y="265"/>
                  </a:lnTo>
                  <a:lnTo>
                    <a:pt x="424" y="267"/>
                  </a:lnTo>
                  <a:lnTo>
                    <a:pt x="426" y="269"/>
                  </a:lnTo>
                  <a:lnTo>
                    <a:pt x="429" y="270"/>
                  </a:lnTo>
                  <a:lnTo>
                    <a:pt x="432" y="271"/>
                  </a:lnTo>
                  <a:lnTo>
                    <a:pt x="435" y="271"/>
                  </a:lnTo>
                  <a:lnTo>
                    <a:pt x="660" y="271"/>
                  </a:lnTo>
                  <a:lnTo>
                    <a:pt x="660" y="872"/>
                  </a:lnTo>
                  <a:close/>
                  <a:moveTo>
                    <a:pt x="450" y="54"/>
                  </a:moveTo>
                  <a:lnTo>
                    <a:pt x="639" y="241"/>
                  </a:lnTo>
                  <a:lnTo>
                    <a:pt x="450" y="241"/>
                  </a:lnTo>
                  <a:lnTo>
                    <a:pt x="450" y="54"/>
                  </a:lnTo>
                  <a:close/>
                  <a:moveTo>
                    <a:pt x="685" y="245"/>
                  </a:moveTo>
                  <a:lnTo>
                    <a:pt x="446" y="6"/>
                  </a:lnTo>
                  <a:lnTo>
                    <a:pt x="444" y="4"/>
                  </a:lnTo>
                  <a:lnTo>
                    <a:pt x="440" y="3"/>
                  </a:lnTo>
                  <a:lnTo>
                    <a:pt x="438" y="1"/>
                  </a:lnTo>
                  <a:lnTo>
                    <a:pt x="435" y="0"/>
                  </a:lnTo>
                  <a:lnTo>
                    <a:pt x="15" y="0"/>
                  </a:lnTo>
                  <a:lnTo>
                    <a:pt x="11" y="1"/>
                  </a:lnTo>
                  <a:lnTo>
                    <a:pt x="8" y="3"/>
                  </a:lnTo>
                  <a:lnTo>
                    <a:pt x="6" y="4"/>
                  </a:lnTo>
                  <a:lnTo>
                    <a:pt x="4" y="6"/>
                  </a:lnTo>
                  <a:lnTo>
                    <a:pt x="2" y="8"/>
                  </a:lnTo>
                  <a:lnTo>
                    <a:pt x="1" y="10"/>
                  </a:lnTo>
                  <a:lnTo>
                    <a:pt x="0" y="13"/>
                  </a:lnTo>
                  <a:lnTo>
                    <a:pt x="0" y="16"/>
                  </a:lnTo>
                  <a:lnTo>
                    <a:pt x="0" y="887"/>
                  </a:lnTo>
                  <a:lnTo>
                    <a:pt x="0" y="891"/>
                  </a:lnTo>
                  <a:lnTo>
                    <a:pt x="1" y="893"/>
                  </a:lnTo>
                  <a:lnTo>
                    <a:pt x="2" y="896"/>
                  </a:lnTo>
                  <a:lnTo>
                    <a:pt x="4" y="898"/>
                  </a:lnTo>
                  <a:lnTo>
                    <a:pt x="6" y="899"/>
                  </a:lnTo>
                  <a:lnTo>
                    <a:pt x="8" y="901"/>
                  </a:lnTo>
                  <a:lnTo>
                    <a:pt x="11" y="901"/>
                  </a:lnTo>
                  <a:lnTo>
                    <a:pt x="15" y="903"/>
                  </a:lnTo>
                  <a:lnTo>
                    <a:pt x="675" y="903"/>
                  </a:lnTo>
                  <a:lnTo>
                    <a:pt x="678" y="901"/>
                  </a:lnTo>
                  <a:lnTo>
                    <a:pt x="681" y="901"/>
                  </a:lnTo>
                  <a:lnTo>
                    <a:pt x="683" y="899"/>
                  </a:lnTo>
                  <a:lnTo>
                    <a:pt x="685" y="898"/>
                  </a:lnTo>
                  <a:lnTo>
                    <a:pt x="688" y="896"/>
                  </a:lnTo>
                  <a:lnTo>
                    <a:pt x="689" y="893"/>
                  </a:lnTo>
                  <a:lnTo>
                    <a:pt x="690" y="891"/>
                  </a:lnTo>
                  <a:lnTo>
                    <a:pt x="691" y="888"/>
                  </a:lnTo>
                  <a:lnTo>
                    <a:pt x="691" y="256"/>
                  </a:lnTo>
                  <a:lnTo>
                    <a:pt x="689" y="251"/>
                  </a:lnTo>
                  <a:lnTo>
                    <a:pt x="685"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69" name="Freeform 148">
              <a:extLst>
                <a:ext uri="{FF2B5EF4-FFF2-40B4-BE49-F238E27FC236}">
                  <a16:creationId xmlns:a16="http://schemas.microsoft.com/office/drawing/2014/main" id="{CD90298D-3FDF-42B4-82E4-65C47D35728F}"/>
                </a:ext>
              </a:extLst>
            </p:cNvPr>
            <p:cNvSpPr>
              <a:spLocks/>
            </p:cNvSpPr>
            <p:nvPr/>
          </p:nvSpPr>
          <p:spPr bwMode="auto">
            <a:xfrm>
              <a:off x="8243888" y="879476"/>
              <a:ext cx="146050" cy="147638"/>
            </a:xfrm>
            <a:custGeom>
              <a:avLst/>
              <a:gdLst>
                <a:gd name="T0" fmla="*/ 181 w 457"/>
                <a:gd name="T1" fmla="*/ 170 h 466"/>
                <a:gd name="T2" fmla="*/ 172 w 457"/>
                <a:gd name="T3" fmla="*/ 171 h 466"/>
                <a:gd name="T4" fmla="*/ 30 w 457"/>
                <a:gd name="T5" fmla="*/ 298 h 466"/>
                <a:gd name="T6" fmla="*/ 30 w 457"/>
                <a:gd name="T7" fmla="*/ 12 h 466"/>
                <a:gd name="T8" fmla="*/ 28 w 457"/>
                <a:gd name="T9" fmla="*/ 7 h 466"/>
                <a:gd name="T10" fmla="*/ 24 w 457"/>
                <a:gd name="T11" fmla="*/ 2 h 466"/>
                <a:gd name="T12" fmla="*/ 19 w 457"/>
                <a:gd name="T13" fmla="*/ 0 h 466"/>
                <a:gd name="T14" fmla="*/ 12 w 457"/>
                <a:gd name="T15" fmla="*/ 0 h 466"/>
                <a:gd name="T16" fmla="*/ 7 w 457"/>
                <a:gd name="T17" fmla="*/ 2 h 466"/>
                <a:gd name="T18" fmla="*/ 4 w 457"/>
                <a:gd name="T19" fmla="*/ 7 h 466"/>
                <a:gd name="T20" fmla="*/ 0 w 457"/>
                <a:gd name="T21" fmla="*/ 12 h 466"/>
                <a:gd name="T22" fmla="*/ 0 w 457"/>
                <a:gd name="T23" fmla="*/ 451 h 466"/>
                <a:gd name="T24" fmla="*/ 1 w 457"/>
                <a:gd name="T25" fmla="*/ 457 h 466"/>
                <a:gd name="T26" fmla="*/ 5 w 457"/>
                <a:gd name="T27" fmla="*/ 461 h 466"/>
                <a:gd name="T28" fmla="*/ 10 w 457"/>
                <a:gd name="T29" fmla="*/ 465 h 466"/>
                <a:gd name="T30" fmla="*/ 15 w 457"/>
                <a:gd name="T31" fmla="*/ 466 h 466"/>
                <a:gd name="T32" fmla="*/ 446 w 457"/>
                <a:gd name="T33" fmla="*/ 466 h 466"/>
                <a:gd name="T34" fmla="*/ 451 w 457"/>
                <a:gd name="T35" fmla="*/ 464 h 466"/>
                <a:gd name="T36" fmla="*/ 455 w 457"/>
                <a:gd name="T37" fmla="*/ 459 h 466"/>
                <a:gd name="T38" fmla="*/ 457 w 457"/>
                <a:gd name="T39" fmla="*/ 454 h 466"/>
                <a:gd name="T40" fmla="*/ 457 w 457"/>
                <a:gd name="T41" fmla="*/ 449 h 466"/>
                <a:gd name="T42" fmla="*/ 455 w 457"/>
                <a:gd name="T43" fmla="*/ 443 h 466"/>
                <a:gd name="T44" fmla="*/ 451 w 457"/>
                <a:gd name="T45" fmla="*/ 439 h 466"/>
                <a:gd name="T46" fmla="*/ 446 w 457"/>
                <a:gd name="T47" fmla="*/ 436 h 466"/>
                <a:gd name="T48" fmla="*/ 30 w 457"/>
                <a:gd name="T49" fmla="*/ 436 h 466"/>
                <a:gd name="T50" fmla="*/ 179 w 457"/>
                <a:gd name="T51" fmla="*/ 205 h 466"/>
                <a:gd name="T52" fmla="*/ 287 w 457"/>
                <a:gd name="T53" fmla="*/ 275 h 466"/>
                <a:gd name="T54" fmla="*/ 298 w 457"/>
                <a:gd name="T55" fmla="*/ 274 h 466"/>
                <a:gd name="T56" fmla="*/ 447 w 457"/>
                <a:gd name="T57" fmla="*/ 116 h 466"/>
                <a:gd name="T58" fmla="*/ 450 w 457"/>
                <a:gd name="T59" fmla="*/ 111 h 466"/>
                <a:gd name="T60" fmla="*/ 451 w 457"/>
                <a:gd name="T61" fmla="*/ 105 h 466"/>
                <a:gd name="T62" fmla="*/ 450 w 457"/>
                <a:gd name="T63" fmla="*/ 100 h 466"/>
                <a:gd name="T64" fmla="*/ 447 w 457"/>
                <a:gd name="T65" fmla="*/ 95 h 466"/>
                <a:gd name="T66" fmla="*/ 441 w 457"/>
                <a:gd name="T67" fmla="*/ 92 h 466"/>
                <a:gd name="T68" fmla="*/ 436 w 457"/>
                <a:gd name="T69" fmla="*/ 91 h 466"/>
                <a:gd name="T70" fmla="*/ 425 w 457"/>
                <a:gd name="T71" fmla="*/ 96 h 466"/>
                <a:gd name="T72" fmla="*/ 186 w 457"/>
                <a:gd name="T73" fmla="*/ 17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7" h="466">
                  <a:moveTo>
                    <a:pt x="186" y="173"/>
                  </a:moveTo>
                  <a:lnTo>
                    <a:pt x="181" y="170"/>
                  </a:lnTo>
                  <a:lnTo>
                    <a:pt x="177" y="170"/>
                  </a:lnTo>
                  <a:lnTo>
                    <a:pt x="172" y="171"/>
                  </a:lnTo>
                  <a:lnTo>
                    <a:pt x="167" y="175"/>
                  </a:lnTo>
                  <a:lnTo>
                    <a:pt x="30" y="298"/>
                  </a:lnTo>
                  <a:lnTo>
                    <a:pt x="30" y="15"/>
                  </a:lnTo>
                  <a:lnTo>
                    <a:pt x="30" y="12"/>
                  </a:lnTo>
                  <a:lnTo>
                    <a:pt x="29" y="9"/>
                  </a:lnTo>
                  <a:lnTo>
                    <a:pt x="28" y="7"/>
                  </a:lnTo>
                  <a:lnTo>
                    <a:pt x="26" y="4"/>
                  </a:lnTo>
                  <a:lnTo>
                    <a:pt x="24" y="2"/>
                  </a:lnTo>
                  <a:lnTo>
                    <a:pt x="22" y="1"/>
                  </a:lnTo>
                  <a:lnTo>
                    <a:pt x="19" y="0"/>
                  </a:lnTo>
                  <a:lnTo>
                    <a:pt x="15" y="0"/>
                  </a:lnTo>
                  <a:lnTo>
                    <a:pt x="12" y="0"/>
                  </a:lnTo>
                  <a:lnTo>
                    <a:pt x="10" y="1"/>
                  </a:lnTo>
                  <a:lnTo>
                    <a:pt x="7" y="2"/>
                  </a:lnTo>
                  <a:lnTo>
                    <a:pt x="5" y="4"/>
                  </a:lnTo>
                  <a:lnTo>
                    <a:pt x="4" y="7"/>
                  </a:lnTo>
                  <a:lnTo>
                    <a:pt x="1" y="9"/>
                  </a:lnTo>
                  <a:lnTo>
                    <a:pt x="0" y="12"/>
                  </a:lnTo>
                  <a:lnTo>
                    <a:pt x="0" y="15"/>
                  </a:lnTo>
                  <a:lnTo>
                    <a:pt x="0" y="451"/>
                  </a:lnTo>
                  <a:lnTo>
                    <a:pt x="0" y="454"/>
                  </a:lnTo>
                  <a:lnTo>
                    <a:pt x="1" y="457"/>
                  </a:lnTo>
                  <a:lnTo>
                    <a:pt x="4" y="459"/>
                  </a:lnTo>
                  <a:lnTo>
                    <a:pt x="5" y="461"/>
                  </a:lnTo>
                  <a:lnTo>
                    <a:pt x="7" y="464"/>
                  </a:lnTo>
                  <a:lnTo>
                    <a:pt x="10" y="465"/>
                  </a:lnTo>
                  <a:lnTo>
                    <a:pt x="12" y="466"/>
                  </a:lnTo>
                  <a:lnTo>
                    <a:pt x="15" y="466"/>
                  </a:lnTo>
                  <a:lnTo>
                    <a:pt x="442" y="466"/>
                  </a:lnTo>
                  <a:lnTo>
                    <a:pt x="446" y="466"/>
                  </a:lnTo>
                  <a:lnTo>
                    <a:pt x="449" y="465"/>
                  </a:lnTo>
                  <a:lnTo>
                    <a:pt x="451" y="464"/>
                  </a:lnTo>
                  <a:lnTo>
                    <a:pt x="453" y="461"/>
                  </a:lnTo>
                  <a:lnTo>
                    <a:pt x="455" y="459"/>
                  </a:lnTo>
                  <a:lnTo>
                    <a:pt x="456" y="457"/>
                  </a:lnTo>
                  <a:lnTo>
                    <a:pt x="457" y="454"/>
                  </a:lnTo>
                  <a:lnTo>
                    <a:pt x="457" y="451"/>
                  </a:lnTo>
                  <a:lnTo>
                    <a:pt x="457" y="449"/>
                  </a:lnTo>
                  <a:lnTo>
                    <a:pt x="456" y="445"/>
                  </a:lnTo>
                  <a:lnTo>
                    <a:pt x="455" y="443"/>
                  </a:lnTo>
                  <a:lnTo>
                    <a:pt x="453" y="441"/>
                  </a:lnTo>
                  <a:lnTo>
                    <a:pt x="451" y="439"/>
                  </a:lnTo>
                  <a:lnTo>
                    <a:pt x="449" y="437"/>
                  </a:lnTo>
                  <a:lnTo>
                    <a:pt x="446" y="436"/>
                  </a:lnTo>
                  <a:lnTo>
                    <a:pt x="442" y="436"/>
                  </a:lnTo>
                  <a:lnTo>
                    <a:pt x="30" y="436"/>
                  </a:lnTo>
                  <a:lnTo>
                    <a:pt x="30" y="338"/>
                  </a:lnTo>
                  <a:lnTo>
                    <a:pt x="179" y="205"/>
                  </a:lnTo>
                  <a:lnTo>
                    <a:pt x="283" y="274"/>
                  </a:lnTo>
                  <a:lnTo>
                    <a:pt x="287" y="275"/>
                  </a:lnTo>
                  <a:lnTo>
                    <a:pt x="293" y="275"/>
                  </a:lnTo>
                  <a:lnTo>
                    <a:pt x="298" y="274"/>
                  </a:lnTo>
                  <a:lnTo>
                    <a:pt x="302" y="271"/>
                  </a:lnTo>
                  <a:lnTo>
                    <a:pt x="447" y="116"/>
                  </a:lnTo>
                  <a:lnTo>
                    <a:pt x="449" y="114"/>
                  </a:lnTo>
                  <a:lnTo>
                    <a:pt x="450" y="111"/>
                  </a:lnTo>
                  <a:lnTo>
                    <a:pt x="451" y="108"/>
                  </a:lnTo>
                  <a:lnTo>
                    <a:pt x="451" y="105"/>
                  </a:lnTo>
                  <a:lnTo>
                    <a:pt x="451" y="103"/>
                  </a:lnTo>
                  <a:lnTo>
                    <a:pt x="450" y="100"/>
                  </a:lnTo>
                  <a:lnTo>
                    <a:pt x="449" y="98"/>
                  </a:lnTo>
                  <a:lnTo>
                    <a:pt x="447" y="95"/>
                  </a:lnTo>
                  <a:lnTo>
                    <a:pt x="444" y="93"/>
                  </a:lnTo>
                  <a:lnTo>
                    <a:pt x="441" y="92"/>
                  </a:lnTo>
                  <a:lnTo>
                    <a:pt x="438" y="91"/>
                  </a:lnTo>
                  <a:lnTo>
                    <a:pt x="436" y="91"/>
                  </a:lnTo>
                  <a:lnTo>
                    <a:pt x="429" y="93"/>
                  </a:lnTo>
                  <a:lnTo>
                    <a:pt x="425" y="96"/>
                  </a:lnTo>
                  <a:lnTo>
                    <a:pt x="289" y="241"/>
                  </a:lnTo>
                  <a:lnTo>
                    <a:pt x="186"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370" name="Group 16">
            <a:extLst>
              <a:ext uri="{FF2B5EF4-FFF2-40B4-BE49-F238E27FC236}">
                <a16:creationId xmlns:a16="http://schemas.microsoft.com/office/drawing/2014/main" id="{76045C2D-D6CA-4273-8781-2E3E317C955C}"/>
              </a:ext>
            </a:extLst>
          </p:cNvPr>
          <p:cNvGrpSpPr>
            <a:grpSpLocks noChangeAspect="1"/>
          </p:cNvGrpSpPr>
          <p:nvPr/>
        </p:nvGrpSpPr>
        <p:grpSpPr>
          <a:xfrm>
            <a:off x="2738745" y="4345739"/>
            <a:ext cx="280646" cy="306484"/>
            <a:chOff x="4502150" y="1790701"/>
            <a:chExt cx="620713" cy="677863"/>
          </a:xfrm>
          <a:solidFill>
            <a:schemeClr val="bg2"/>
          </a:solidFill>
          <a:effectLst/>
        </p:grpSpPr>
        <p:sp>
          <p:nvSpPr>
            <p:cNvPr id="371" name="Freeform 92">
              <a:extLst>
                <a:ext uri="{FF2B5EF4-FFF2-40B4-BE49-F238E27FC236}">
                  <a16:creationId xmlns:a16="http://schemas.microsoft.com/office/drawing/2014/main" id="{93956E60-7647-498B-A304-01AEA33F2816}"/>
                </a:ext>
              </a:extLst>
            </p:cNvPr>
            <p:cNvSpPr>
              <a:spLocks/>
            </p:cNvSpPr>
            <p:nvPr/>
          </p:nvSpPr>
          <p:spPr bwMode="auto">
            <a:xfrm>
              <a:off x="4532313" y="1790701"/>
              <a:ext cx="471488" cy="677863"/>
            </a:xfrm>
            <a:custGeom>
              <a:avLst/>
              <a:gdLst>
                <a:gd name="T0" fmla="*/ 26 w 892"/>
                <a:gd name="T1" fmla="*/ 1281 h 1281"/>
                <a:gd name="T2" fmla="*/ 16 w 892"/>
                <a:gd name="T3" fmla="*/ 1278 h 1281"/>
                <a:gd name="T4" fmla="*/ 7 w 892"/>
                <a:gd name="T5" fmla="*/ 1273 h 1281"/>
                <a:gd name="T6" fmla="*/ 1 w 892"/>
                <a:gd name="T7" fmla="*/ 1264 h 1281"/>
                <a:gd name="T8" fmla="*/ 0 w 892"/>
                <a:gd name="T9" fmla="*/ 1254 h 1281"/>
                <a:gd name="T10" fmla="*/ 0 w 892"/>
                <a:gd name="T11" fmla="*/ 21 h 1281"/>
                <a:gd name="T12" fmla="*/ 4 w 892"/>
                <a:gd name="T13" fmla="*/ 11 h 1281"/>
                <a:gd name="T14" fmla="*/ 11 w 892"/>
                <a:gd name="T15" fmla="*/ 4 h 1281"/>
                <a:gd name="T16" fmla="*/ 20 w 892"/>
                <a:gd name="T17" fmla="*/ 0 h 1281"/>
                <a:gd name="T18" fmla="*/ 867 w 892"/>
                <a:gd name="T19" fmla="*/ 0 h 1281"/>
                <a:gd name="T20" fmla="*/ 877 w 892"/>
                <a:gd name="T21" fmla="*/ 1 h 1281"/>
                <a:gd name="T22" fmla="*/ 885 w 892"/>
                <a:gd name="T23" fmla="*/ 7 h 1281"/>
                <a:gd name="T24" fmla="*/ 891 w 892"/>
                <a:gd name="T25" fmla="*/ 15 h 1281"/>
                <a:gd name="T26" fmla="*/ 892 w 892"/>
                <a:gd name="T27" fmla="*/ 26 h 1281"/>
                <a:gd name="T28" fmla="*/ 892 w 892"/>
                <a:gd name="T29" fmla="*/ 737 h 1281"/>
                <a:gd name="T30" fmla="*/ 888 w 892"/>
                <a:gd name="T31" fmla="*/ 747 h 1281"/>
                <a:gd name="T32" fmla="*/ 881 w 892"/>
                <a:gd name="T33" fmla="*/ 754 h 1281"/>
                <a:gd name="T34" fmla="*/ 872 w 892"/>
                <a:gd name="T35" fmla="*/ 757 h 1281"/>
                <a:gd name="T36" fmla="*/ 861 w 892"/>
                <a:gd name="T37" fmla="*/ 757 h 1281"/>
                <a:gd name="T38" fmla="*/ 852 w 892"/>
                <a:gd name="T39" fmla="*/ 754 h 1281"/>
                <a:gd name="T40" fmla="*/ 845 w 892"/>
                <a:gd name="T41" fmla="*/ 747 h 1281"/>
                <a:gd name="T42" fmla="*/ 841 w 892"/>
                <a:gd name="T43" fmla="*/ 737 h 1281"/>
                <a:gd name="T44" fmla="*/ 841 w 892"/>
                <a:gd name="T45" fmla="*/ 51 h 1281"/>
                <a:gd name="T46" fmla="*/ 52 w 892"/>
                <a:gd name="T47" fmla="*/ 1228 h 1281"/>
                <a:gd name="T48" fmla="*/ 841 w 892"/>
                <a:gd name="T49" fmla="*/ 996 h 1281"/>
                <a:gd name="T50" fmla="*/ 842 w 892"/>
                <a:gd name="T51" fmla="*/ 986 h 1281"/>
                <a:gd name="T52" fmla="*/ 848 w 892"/>
                <a:gd name="T53" fmla="*/ 977 h 1281"/>
                <a:gd name="T54" fmla="*/ 856 w 892"/>
                <a:gd name="T55" fmla="*/ 972 h 1281"/>
                <a:gd name="T56" fmla="*/ 867 w 892"/>
                <a:gd name="T57" fmla="*/ 970 h 1281"/>
                <a:gd name="T58" fmla="*/ 877 w 892"/>
                <a:gd name="T59" fmla="*/ 972 h 1281"/>
                <a:gd name="T60" fmla="*/ 885 w 892"/>
                <a:gd name="T61" fmla="*/ 977 h 1281"/>
                <a:gd name="T62" fmla="*/ 891 w 892"/>
                <a:gd name="T63" fmla="*/ 986 h 1281"/>
                <a:gd name="T64" fmla="*/ 892 w 892"/>
                <a:gd name="T65" fmla="*/ 996 h 1281"/>
                <a:gd name="T66" fmla="*/ 892 w 892"/>
                <a:gd name="T67" fmla="*/ 1260 h 1281"/>
                <a:gd name="T68" fmla="*/ 888 w 892"/>
                <a:gd name="T69" fmla="*/ 1270 h 1281"/>
                <a:gd name="T70" fmla="*/ 881 w 892"/>
                <a:gd name="T71" fmla="*/ 1275 h 1281"/>
                <a:gd name="T72" fmla="*/ 872 w 892"/>
                <a:gd name="T7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2" h="1281">
                  <a:moveTo>
                    <a:pt x="867"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2" y="0"/>
                  </a:lnTo>
                  <a:lnTo>
                    <a:pt x="877" y="1"/>
                  </a:lnTo>
                  <a:lnTo>
                    <a:pt x="881" y="4"/>
                  </a:lnTo>
                  <a:lnTo>
                    <a:pt x="885" y="7"/>
                  </a:lnTo>
                  <a:lnTo>
                    <a:pt x="888" y="11"/>
                  </a:lnTo>
                  <a:lnTo>
                    <a:pt x="891" y="15"/>
                  </a:lnTo>
                  <a:lnTo>
                    <a:pt x="892" y="21"/>
                  </a:lnTo>
                  <a:lnTo>
                    <a:pt x="892" y="26"/>
                  </a:lnTo>
                  <a:lnTo>
                    <a:pt x="892" y="733"/>
                  </a:lnTo>
                  <a:lnTo>
                    <a:pt x="892" y="737"/>
                  </a:lnTo>
                  <a:lnTo>
                    <a:pt x="891" y="743"/>
                  </a:lnTo>
                  <a:lnTo>
                    <a:pt x="888" y="747"/>
                  </a:lnTo>
                  <a:lnTo>
                    <a:pt x="885" y="750"/>
                  </a:lnTo>
                  <a:lnTo>
                    <a:pt x="881" y="754"/>
                  </a:lnTo>
                  <a:lnTo>
                    <a:pt x="877" y="756"/>
                  </a:lnTo>
                  <a:lnTo>
                    <a:pt x="872" y="757"/>
                  </a:lnTo>
                  <a:lnTo>
                    <a:pt x="867" y="758"/>
                  </a:lnTo>
                  <a:lnTo>
                    <a:pt x="861" y="757"/>
                  </a:lnTo>
                  <a:lnTo>
                    <a:pt x="856" y="756"/>
                  </a:lnTo>
                  <a:lnTo>
                    <a:pt x="852" y="754"/>
                  </a:lnTo>
                  <a:lnTo>
                    <a:pt x="848" y="750"/>
                  </a:lnTo>
                  <a:lnTo>
                    <a:pt x="845" y="747"/>
                  </a:lnTo>
                  <a:lnTo>
                    <a:pt x="842" y="743"/>
                  </a:lnTo>
                  <a:lnTo>
                    <a:pt x="841" y="737"/>
                  </a:lnTo>
                  <a:lnTo>
                    <a:pt x="841" y="733"/>
                  </a:lnTo>
                  <a:lnTo>
                    <a:pt x="841" y="51"/>
                  </a:lnTo>
                  <a:lnTo>
                    <a:pt x="52" y="51"/>
                  </a:lnTo>
                  <a:lnTo>
                    <a:pt x="52" y="1228"/>
                  </a:lnTo>
                  <a:lnTo>
                    <a:pt x="841" y="1228"/>
                  </a:lnTo>
                  <a:lnTo>
                    <a:pt x="841" y="996"/>
                  </a:lnTo>
                  <a:lnTo>
                    <a:pt x="841" y="990"/>
                  </a:lnTo>
                  <a:lnTo>
                    <a:pt x="842" y="986"/>
                  </a:lnTo>
                  <a:lnTo>
                    <a:pt x="845" y="982"/>
                  </a:lnTo>
                  <a:lnTo>
                    <a:pt x="848" y="977"/>
                  </a:lnTo>
                  <a:lnTo>
                    <a:pt x="852" y="974"/>
                  </a:lnTo>
                  <a:lnTo>
                    <a:pt x="856" y="972"/>
                  </a:lnTo>
                  <a:lnTo>
                    <a:pt x="861" y="970"/>
                  </a:lnTo>
                  <a:lnTo>
                    <a:pt x="867" y="970"/>
                  </a:lnTo>
                  <a:lnTo>
                    <a:pt x="872" y="970"/>
                  </a:lnTo>
                  <a:lnTo>
                    <a:pt x="877" y="972"/>
                  </a:lnTo>
                  <a:lnTo>
                    <a:pt x="881" y="974"/>
                  </a:lnTo>
                  <a:lnTo>
                    <a:pt x="885" y="977"/>
                  </a:lnTo>
                  <a:lnTo>
                    <a:pt x="888" y="982"/>
                  </a:lnTo>
                  <a:lnTo>
                    <a:pt x="891" y="986"/>
                  </a:lnTo>
                  <a:lnTo>
                    <a:pt x="892" y="990"/>
                  </a:lnTo>
                  <a:lnTo>
                    <a:pt x="892" y="996"/>
                  </a:lnTo>
                  <a:lnTo>
                    <a:pt x="892" y="1254"/>
                  </a:lnTo>
                  <a:lnTo>
                    <a:pt x="892" y="1260"/>
                  </a:lnTo>
                  <a:lnTo>
                    <a:pt x="891" y="1264"/>
                  </a:lnTo>
                  <a:lnTo>
                    <a:pt x="888" y="1270"/>
                  </a:lnTo>
                  <a:lnTo>
                    <a:pt x="885" y="1273"/>
                  </a:lnTo>
                  <a:lnTo>
                    <a:pt x="881" y="1275"/>
                  </a:lnTo>
                  <a:lnTo>
                    <a:pt x="877" y="1278"/>
                  </a:lnTo>
                  <a:lnTo>
                    <a:pt x="872" y="1280"/>
                  </a:lnTo>
                  <a:lnTo>
                    <a:pt x="867"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93">
              <a:extLst>
                <a:ext uri="{FF2B5EF4-FFF2-40B4-BE49-F238E27FC236}">
                  <a16:creationId xmlns:a16="http://schemas.microsoft.com/office/drawing/2014/main" id="{ECF4CF12-3EF7-4D4C-88E7-262671D1503C}"/>
                </a:ext>
              </a:extLst>
            </p:cNvPr>
            <p:cNvSpPr>
              <a:spLocks/>
            </p:cNvSpPr>
            <p:nvPr/>
          </p:nvSpPr>
          <p:spPr bwMode="auto">
            <a:xfrm>
              <a:off x="4502150" y="1878013"/>
              <a:ext cx="87313" cy="28575"/>
            </a:xfrm>
            <a:custGeom>
              <a:avLst/>
              <a:gdLst>
                <a:gd name="T0" fmla="*/ 138 w 164"/>
                <a:gd name="T1" fmla="*/ 53 h 53"/>
                <a:gd name="T2" fmla="*/ 25 w 164"/>
                <a:gd name="T3" fmla="*/ 53 h 53"/>
                <a:gd name="T4" fmla="*/ 20 w 164"/>
                <a:gd name="T5" fmla="*/ 52 h 53"/>
                <a:gd name="T6" fmla="*/ 15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5 w 164"/>
                <a:gd name="T31" fmla="*/ 3 h 53"/>
                <a:gd name="T32" fmla="*/ 20 w 164"/>
                <a:gd name="T33" fmla="*/ 1 h 53"/>
                <a:gd name="T34" fmla="*/ 25 w 164"/>
                <a:gd name="T35" fmla="*/ 0 h 53"/>
                <a:gd name="T36" fmla="*/ 138 w 164"/>
                <a:gd name="T37" fmla="*/ 0 h 53"/>
                <a:gd name="T38" fmla="*/ 142 w 164"/>
                <a:gd name="T39" fmla="*/ 1 h 53"/>
                <a:gd name="T40" fmla="*/ 148 w 164"/>
                <a:gd name="T41" fmla="*/ 3 h 53"/>
                <a:gd name="T42" fmla="*/ 152 w 164"/>
                <a:gd name="T43" fmla="*/ 4 h 53"/>
                <a:gd name="T44" fmla="*/ 156 w 164"/>
                <a:gd name="T45" fmla="*/ 8 h 53"/>
                <a:gd name="T46" fmla="*/ 159 w 164"/>
                <a:gd name="T47" fmla="*/ 11 h 53"/>
                <a:gd name="T48" fmla="*/ 161 w 164"/>
                <a:gd name="T49" fmla="*/ 16 h 53"/>
                <a:gd name="T50" fmla="*/ 162 w 164"/>
                <a:gd name="T51" fmla="*/ 21 h 53"/>
                <a:gd name="T52" fmla="*/ 164 w 164"/>
                <a:gd name="T53" fmla="*/ 27 h 53"/>
                <a:gd name="T54" fmla="*/ 162 w 164"/>
                <a:gd name="T55" fmla="*/ 31 h 53"/>
                <a:gd name="T56" fmla="*/ 161 w 164"/>
                <a:gd name="T57" fmla="*/ 37 h 53"/>
                <a:gd name="T58" fmla="*/ 159 w 164"/>
                <a:gd name="T59" fmla="*/ 41 h 53"/>
                <a:gd name="T60" fmla="*/ 156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5" y="53"/>
                  </a:lnTo>
                  <a:lnTo>
                    <a:pt x="20" y="52"/>
                  </a:lnTo>
                  <a:lnTo>
                    <a:pt x="15" y="50"/>
                  </a:lnTo>
                  <a:lnTo>
                    <a:pt x="11" y="49"/>
                  </a:lnTo>
                  <a:lnTo>
                    <a:pt x="7" y="44"/>
                  </a:lnTo>
                  <a:lnTo>
                    <a:pt x="4" y="41"/>
                  </a:lnTo>
                  <a:lnTo>
                    <a:pt x="1" y="37"/>
                  </a:lnTo>
                  <a:lnTo>
                    <a:pt x="0" y="31"/>
                  </a:lnTo>
                  <a:lnTo>
                    <a:pt x="0" y="27"/>
                  </a:lnTo>
                  <a:lnTo>
                    <a:pt x="0" y="21"/>
                  </a:lnTo>
                  <a:lnTo>
                    <a:pt x="1" y="16"/>
                  </a:lnTo>
                  <a:lnTo>
                    <a:pt x="4" y="11"/>
                  </a:lnTo>
                  <a:lnTo>
                    <a:pt x="7" y="8"/>
                  </a:lnTo>
                  <a:lnTo>
                    <a:pt x="11" y="4"/>
                  </a:lnTo>
                  <a:lnTo>
                    <a:pt x="15" y="3"/>
                  </a:lnTo>
                  <a:lnTo>
                    <a:pt x="20" y="1"/>
                  </a:lnTo>
                  <a:lnTo>
                    <a:pt x="25" y="0"/>
                  </a:lnTo>
                  <a:lnTo>
                    <a:pt x="138" y="0"/>
                  </a:lnTo>
                  <a:lnTo>
                    <a:pt x="142" y="1"/>
                  </a:lnTo>
                  <a:lnTo>
                    <a:pt x="148" y="3"/>
                  </a:lnTo>
                  <a:lnTo>
                    <a:pt x="152" y="4"/>
                  </a:lnTo>
                  <a:lnTo>
                    <a:pt x="156" y="8"/>
                  </a:lnTo>
                  <a:lnTo>
                    <a:pt x="159" y="11"/>
                  </a:lnTo>
                  <a:lnTo>
                    <a:pt x="161" y="16"/>
                  </a:lnTo>
                  <a:lnTo>
                    <a:pt x="162" y="21"/>
                  </a:lnTo>
                  <a:lnTo>
                    <a:pt x="164" y="27"/>
                  </a:lnTo>
                  <a:lnTo>
                    <a:pt x="162" y="31"/>
                  </a:lnTo>
                  <a:lnTo>
                    <a:pt x="161" y="37"/>
                  </a:lnTo>
                  <a:lnTo>
                    <a:pt x="159" y="41"/>
                  </a:lnTo>
                  <a:lnTo>
                    <a:pt x="156"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94">
              <a:extLst>
                <a:ext uri="{FF2B5EF4-FFF2-40B4-BE49-F238E27FC236}">
                  <a16:creationId xmlns:a16="http://schemas.microsoft.com/office/drawing/2014/main" id="{A3C2282E-AD74-423B-B3F5-774B4E22E639}"/>
                </a:ext>
              </a:extLst>
            </p:cNvPr>
            <p:cNvSpPr>
              <a:spLocks/>
            </p:cNvSpPr>
            <p:nvPr/>
          </p:nvSpPr>
          <p:spPr bwMode="auto">
            <a:xfrm>
              <a:off x="4502150" y="1997076"/>
              <a:ext cx="87313" cy="26988"/>
            </a:xfrm>
            <a:custGeom>
              <a:avLst/>
              <a:gdLst>
                <a:gd name="T0" fmla="*/ 138 w 164"/>
                <a:gd name="T1" fmla="*/ 52 h 52"/>
                <a:gd name="T2" fmla="*/ 25 w 164"/>
                <a:gd name="T3" fmla="*/ 52 h 52"/>
                <a:gd name="T4" fmla="*/ 20 w 164"/>
                <a:gd name="T5" fmla="*/ 51 h 52"/>
                <a:gd name="T6" fmla="*/ 15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5 w 164"/>
                <a:gd name="T31" fmla="*/ 2 h 52"/>
                <a:gd name="T32" fmla="*/ 20 w 164"/>
                <a:gd name="T33" fmla="*/ 0 h 52"/>
                <a:gd name="T34" fmla="*/ 25 w 164"/>
                <a:gd name="T35" fmla="*/ 0 h 52"/>
                <a:gd name="T36" fmla="*/ 138 w 164"/>
                <a:gd name="T37" fmla="*/ 0 h 52"/>
                <a:gd name="T38" fmla="*/ 142 w 164"/>
                <a:gd name="T39" fmla="*/ 0 h 52"/>
                <a:gd name="T40" fmla="*/ 148 w 164"/>
                <a:gd name="T41" fmla="*/ 2 h 52"/>
                <a:gd name="T42" fmla="*/ 152 w 164"/>
                <a:gd name="T43" fmla="*/ 5 h 52"/>
                <a:gd name="T44" fmla="*/ 156 w 164"/>
                <a:gd name="T45" fmla="*/ 8 h 52"/>
                <a:gd name="T46" fmla="*/ 159 w 164"/>
                <a:gd name="T47" fmla="*/ 12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1 h 52"/>
                <a:gd name="T60" fmla="*/ 156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1"/>
                  </a:lnTo>
                  <a:lnTo>
                    <a:pt x="15" y="49"/>
                  </a:lnTo>
                  <a:lnTo>
                    <a:pt x="11" y="48"/>
                  </a:lnTo>
                  <a:lnTo>
                    <a:pt x="7" y="44"/>
                  </a:lnTo>
                  <a:lnTo>
                    <a:pt x="4" y="41"/>
                  </a:lnTo>
                  <a:lnTo>
                    <a:pt x="1" y="36"/>
                  </a:lnTo>
                  <a:lnTo>
                    <a:pt x="0" y="31"/>
                  </a:lnTo>
                  <a:lnTo>
                    <a:pt x="0" y="26"/>
                  </a:lnTo>
                  <a:lnTo>
                    <a:pt x="0" y="20"/>
                  </a:lnTo>
                  <a:lnTo>
                    <a:pt x="1" y="16"/>
                  </a:lnTo>
                  <a:lnTo>
                    <a:pt x="4" y="12"/>
                  </a:lnTo>
                  <a:lnTo>
                    <a:pt x="7" y="8"/>
                  </a:lnTo>
                  <a:lnTo>
                    <a:pt x="11" y="5"/>
                  </a:lnTo>
                  <a:lnTo>
                    <a:pt x="15" y="2"/>
                  </a:lnTo>
                  <a:lnTo>
                    <a:pt x="20" y="0"/>
                  </a:lnTo>
                  <a:lnTo>
                    <a:pt x="25" y="0"/>
                  </a:lnTo>
                  <a:lnTo>
                    <a:pt x="138" y="0"/>
                  </a:lnTo>
                  <a:lnTo>
                    <a:pt x="142" y="0"/>
                  </a:lnTo>
                  <a:lnTo>
                    <a:pt x="148" y="2"/>
                  </a:lnTo>
                  <a:lnTo>
                    <a:pt x="152" y="5"/>
                  </a:lnTo>
                  <a:lnTo>
                    <a:pt x="156" y="8"/>
                  </a:lnTo>
                  <a:lnTo>
                    <a:pt x="159" y="12"/>
                  </a:lnTo>
                  <a:lnTo>
                    <a:pt x="161" y="16"/>
                  </a:lnTo>
                  <a:lnTo>
                    <a:pt x="162" y="20"/>
                  </a:lnTo>
                  <a:lnTo>
                    <a:pt x="164" y="26"/>
                  </a:lnTo>
                  <a:lnTo>
                    <a:pt x="162" y="31"/>
                  </a:lnTo>
                  <a:lnTo>
                    <a:pt x="161" y="36"/>
                  </a:lnTo>
                  <a:lnTo>
                    <a:pt x="159" y="41"/>
                  </a:lnTo>
                  <a:lnTo>
                    <a:pt x="156"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95">
              <a:extLst>
                <a:ext uri="{FF2B5EF4-FFF2-40B4-BE49-F238E27FC236}">
                  <a16:creationId xmlns:a16="http://schemas.microsoft.com/office/drawing/2014/main" id="{DD275079-22D0-4CC4-8537-DB14CD8B4FF4}"/>
                </a:ext>
              </a:extLst>
            </p:cNvPr>
            <p:cNvSpPr>
              <a:spLocks/>
            </p:cNvSpPr>
            <p:nvPr/>
          </p:nvSpPr>
          <p:spPr bwMode="auto">
            <a:xfrm>
              <a:off x="4502150" y="2116138"/>
              <a:ext cx="87313" cy="26988"/>
            </a:xfrm>
            <a:custGeom>
              <a:avLst/>
              <a:gdLst>
                <a:gd name="T0" fmla="*/ 138 w 164"/>
                <a:gd name="T1" fmla="*/ 51 h 51"/>
                <a:gd name="T2" fmla="*/ 25 w 164"/>
                <a:gd name="T3" fmla="*/ 51 h 51"/>
                <a:gd name="T4" fmla="*/ 20 w 164"/>
                <a:gd name="T5" fmla="*/ 51 h 51"/>
                <a:gd name="T6" fmla="*/ 15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5 w 164"/>
                <a:gd name="T31" fmla="*/ 1 h 51"/>
                <a:gd name="T32" fmla="*/ 20 w 164"/>
                <a:gd name="T33" fmla="*/ 0 h 51"/>
                <a:gd name="T34" fmla="*/ 25 w 164"/>
                <a:gd name="T35" fmla="*/ 0 h 51"/>
                <a:gd name="T36" fmla="*/ 138 w 164"/>
                <a:gd name="T37" fmla="*/ 0 h 51"/>
                <a:gd name="T38" fmla="*/ 142 w 164"/>
                <a:gd name="T39" fmla="*/ 0 h 51"/>
                <a:gd name="T40" fmla="*/ 148 w 164"/>
                <a:gd name="T41" fmla="*/ 1 h 51"/>
                <a:gd name="T42" fmla="*/ 152 w 164"/>
                <a:gd name="T43" fmla="*/ 4 h 51"/>
                <a:gd name="T44" fmla="*/ 156 w 164"/>
                <a:gd name="T45" fmla="*/ 7 h 51"/>
                <a:gd name="T46" fmla="*/ 159 w 164"/>
                <a:gd name="T47" fmla="*/ 11 h 51"/>
                <a:gd name="T48" fmla="*/ 161 w 164"/>
                <a:gd name="T49" fmla="*/ 15 h 51"/>
                <a:gd name="T50" fmla="*/ 162 w 164"/>
                <a:gd name="T51" fmla="*/ 20 h 51"/>
                <a:gd name="T52" fmla="*/ 164 w 164"/>
                <a:gd name="T53" fmla="*/ 25 h 51"/>
                <a:gd name="T54" fmla="*/ 162 w 164"/>
                <a:gd name="T55" fmla="*/ 30 h 51"/>
                <a:gd name="T56" fmla="*/ 161 w 164"/>
                <a:gd name="T57" fmla="*/ 36 h 51"/>
                <a:gd name="T58" fmla="*/ 159 w 164"/>
                <a:gd name="T59" fmla="*/ 40 h 51"/>
                <a:gd name="T60" fmla="*/ 156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5" y="51"/>
                  </a:lnTo>
                  <a:lnTo>
                    <a:pt x="20" y="51"/>
                  </a:lnTo>
                  <a:lnTo>
                    <a:pt x="15" y="50"/>
                  </a:lnTo>
                  <a:lnTo>
                    <a:pt x="11" y="47"/>
                  </a:lnTo>
                  <a:lnTo>
                    <a:pt x="7" y="44"/>
                  </a:lnTo>
                  <a:lnTo>
                    <a:pt x="4" y="40"/>
                  </a:lnTo>
                  <a:lnTo>
                    <a:pt x="1" y="36"/>
                  </a:lnTo>
                  <a:lnTo>
                    <a:pt x="0" y="30"/>
                  </a:lnTo>
                  <a:lnTo>
                    <a:pt x="0" y="25"/>
                  </a:lnTo>
                  <a:lnTo>
                    <a:pt x="0" y="20"/>
                  </a:lnTo>
                  <a:lnTo>
                    <a:pt x="1" y="15"/>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5"/>
                  </a:lnTo>
                  <a:lnTo>
                    <a:pt x="162" y="20"/>
                  </a:lnTo>
                  <a:lnTo>
                    <a:pt x="164" y="25"/>
                  </a:lnTo>
                  <a:lnTo>
                    <a:pt x="162" y="30"/>
                  </a:lnTo>
                  <a:lnTo>
                    <a:pt x="161" y="36"/>
                  </a:lnTo>
                  <a:lnTo>
                    <a:pt x="159" y="40"/>
                  </a:lnTo>
                  <a:lnTo>
                    <a:pt x="156"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96">
              <a:extLst>
                <a:ext uri="{FF2B5EF4-FFF2-40B4-BE49-F238E27FC236}">
                  <a16:creationId xmlns:a16="http://schemas.microsoft.com/office/drawing/2014/main" id="{D54CBFFF-E495-4104-B258-15F5FD2BF3EC}"/>
                </a:ext>
              </a:extLst>
            </p:cNvPr>
            <p:cNvSpPr>
              <a:spLocks/>
            </p:cNvSpPr>
            <p:nvPr/>
          </p:nvSpPr>
          <p:spPr bwMode="auto">
            <a:xfrm>
              <a:off x="4502150" y="2233613"/>
              <a:ext cx="87313" cy="26988"/>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0 h 52"/>
                <a:gd name="T60" fmla="*/ 156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4"/>
                  </a:lnTo>
                  <a:lnTo>
                    <a:pt x="4" y="40"/>
                  </a:lnTo>
                  <a:lnTo>
                    <a:pt x="1" y="36"/>
                  </a:lnTo>
                  <a:lnTo>
                    <a:pt x="0" y="31"/>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1"/>
                  </a:lnTo>
                  <a:lnTo>
                    <a:pt x="161" y="36"/>
                  </a:lnTo>
                  <a:lnTo>
                    <a:pt x="159" y="40"/>
                  </a:lnTo>
                  <a:lnTo>
                    <a:pt x="156"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97">
              <a:extLst>
                <a:ext uri="{FF2B5EF4-FFF2-40B4-BE49-F238E27FC236}">
                  <a16:creationId xmlns:a16="http://schemas.microsoft.com/office/drawing/2014/main" id="{1AB1F06E-DC52-4231-924E-B62B8C6827DC}"/>
                </a:ext>
              </a:extLst>
            </p:cNvPr>
            <p:cNvSpPr>
              <a:spLocks/>
            </p:cNvSpPr>
            <p:nvPr/>
          </p:nvSpPr>
          <p:spPr bwMode="auto">
            <a:xfrm>
              <a:off x="4502150" y="2351088"/>
              <a:ext cx="87313" cy="28575"/>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2 h 52"/>
                <a:gd name="T56" fmla="*/ 161 w 164"/>
                <a:gd name="T57" fmla="*/ 36 h 52"/>
                <a:gd name="T58" fmla="*/ 159 w 164"/>
                <a:gd name="T59" fmla="*/ 40 h 52"/>
                <a:gd name="T60" fmla="*/ 156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5"/>
                  </a:lnTo>
                  <a:lnTo>
                    <a:pt x="4" y="40"/>
                  </a:lnTo>
                  <a:lnTo>
                    <a:pt x="1" y="36"/>
                  </a:lnTo>
                  <a:lnTo>
                    <a:pt x="0" y="32"/>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2"/>
                  </a:lnTo>
                  <a:lnTo>
                    <a:pt x="161" y="36"/>
                  </a:lnTo>
                  <a:lnTo>
                    <a:pt x="159" y="40"/>
                  </a:lnTo>
                  <a:lnTo>
                    <a:pt x="156"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106">
              <a:extLst>
                <a:ext uri="{FF2B5EF4-FFF2-40B4-BE49-F238E27FC236}">
                  <a16:creationId xmlns:a16="http://schemas.microsoft.com/office/drawing/2014/main" id="{37FD3B58-2308-4275-8630-51B8A7D77036}"/>
                </a:ext>
              </a:extLst>
            </p:cNvPr>
            <p:cNvSpPr>
              <a:spLocks/>
            </p:cNvSpPr>
            <p:nvPr/>
          </p:nvSpPr>
          <p:spPr bwMode="auto">
            <a:xfrm>
              <a:off x="4673600" y="1954213"/>
              <a:ext cx="236538" cy="169863"/>
            </a:xfrm>
            <a:custGeom>
              <a:avLst/>
              <a:gdLst>
                <a:gd name="T0" fmla="*/ 153 w 446"/>
                <a:gd name="T1" fmla="*/ 319 h 319"/>
                <a:gd name="T2" fmla="*/ 147 w 446"/>
                <a:gd name="T3" fmla="*/ 318 h 319"/>
                <a:gd name="T4" fmla="*/ 143 w 446"/>
                <a:gd name="T5" fmla="*/ 316 h 319"/>
                <a:gd name="T6" fmla="*/ 138 w 446"/>
                <a:gd name="T7" fmla="*/ 315 h 319"/>
                <a:gd name="T8" fmla="*/ 134 w 446"/>
                <a:gd name="T9" fmla="*/ 311 h 319"/>
                <a:gd name="T10" fmla="*/ 7 w 446"/>
                <a:gd name="T11" fmla="*/ 184 h 319"/>
                <a:gd name="T12" fmla="*/ 4 w 446"/>
                <a:gd name="T13" fmla="*/ 180 h 319"/>
                <a:gd name="T14" fmla="*/ 1 w 446"/>
                <a:gd name="T15" fmla="*/ 175 h 319"/>
                <a:gd name="T16" fmla="*/ 0 w 446"/>
                <a:gd name="T17" fmla="*/ 171 h 319"/>
                <a:gd name="T18" fmla="*/ 0 w 446"/>
                <a:gd name="T19" fmla="*/ 165 h 319"/>
                <a:gd name="T20" fmla="*/ 0 w 446"/>
                <a:gd name="T21" fmla="*/ 161 h 319"/>
                <a:gd name="T22" fmla="*/ 1 w 446"/>
                <a:gd name="T23" fmla="*/ 157 h 319"/>
                <a:gd name="T24" fmla="*/ 4 w 446"/>
                <a:gd name="T25" fmla="*/ 151 h 319"/>
                <a:gd name="T26" fmla="*/ 7 w 446"/>
                <a:gd name="T27" fmla="*/ 148 h 319"/>
                <a:gd name="T28" fmla="*/ 11 w 446"/>
                <a:gd name="T29" fmla="*/ 144 h 319"/>
                <a:gd name="T30" fmla="*/ 16 w 446"/>
                <a:gd name="T31" fmla="*/ 142 h 319"/>
                <a:gd name="T32" fmla="*/ 20 w 446"/>
                <a:gd name="T33" fmla="*/ 141 h 319"/>
                <a:gd name="T34" fmla="*/ 26 w 446"/>
                <a:gd name="T35" fmla="*/ 139 h 319"/>
                <a:gd name="T36" fmla="*/ 30 w 446"/>
                <a:gd name="T37" fmla="*/ 141 h 319"/>
                <a:gd name="T38" fmla="*/ 36 w 446"/>
                <a:gd name="T39" fmla="*/ 142 h 319"/>
                <a:gd name="T40" fmla="*/ 40 w 446"/>
                <a:gd name="T41" fmla="*/ 144 h 319"/>
                <a:gd name="T42" fmla="*/ 45 w 446"/>
                <a:gd name="T43" fmla="*/ 148 h 319"/>
                <a:gd name="T44" fmla="*/ 153 w 446"/>
                <a:gd name="T45" fmla="*/ 256 h 319"/>
                <a:gd name="T46" fmla="*/ 402 w 446"/>
                <a:gd name="T47" fmla="*/ 7 h 319"/>
                <a:gd name="T48" fmla="*/ 406 w 446"/>
                <a:gd name="T49" fmla="*/ 4 h 319"/>
                <a:gd name="T50" fmla="*/ 410 w 446"/>
                <a:gd name="T51" fmla="*/ 1 h 319"/>
                <a:gd name="T52" fmla="*/ 415 w 446"/>
                <a:gd name="T53" fmla="*/ 0 h 319"/>
                <a:gd name="T54" fmla="*/ 420 w 446"/>
                <a:gd name="T55" fmla="*/ 0 h 319"/>
                <a:gd name="T56" fmla="*/ 425 w 446"/>
                <a:gd name="T57" fmla="*/ 0 h 319"/>
                <a:gd name="T58" fmla="*/ 429 w 446"/>
                <a:gd name="T59" fmla="*/ 1 h 319"/>
                <a:gd name="T60" fmla="*/ 435 w 446"/>
                <a:gd name="T61" fmla="*/ 4 h 319"/>
                <a:gd name="T62" fmla="*/ 438 w 446"/>
                <a:gd name="T63" fmla="*/ 7 h 319"/>
                <a:gd name="T64" fmla="*/ 442 w 446"/>
                <a:gd name="T65" fmla="*/ 11 h 319"/>
                <a:gd name="T66" fmla="*/ 443 w 446"/>
                <a:gd name="T67" fmla="*/ 16 h 319"/>
                <a:gd name="T68" fmla="*/ 445 w 446"/>
                <a:gd name="T69" fmla="*/ 20 h 319"/>
                <a:gd name="T70" fmla="*/ 446 w 446"/>
                <a:gd name="T71" fmla="*/ 26 h 319"/>
                <a:gd name="T72" fmla="*/ 445 w 446"/>
                <a:gd name="T73" fmla="*/ 30 h 319"/>
                <a:gd name="T74" fmla="*/ 443 w 446"/>
                <a:gd name="T75" fmla="*/ 36 h 319"/>
                <a:gd name="T76" fmla="*/ 442 w 446"/>
                <a:gd name="T77" fmla="*/ 40 h 319"/>
                <a:gd name="T78" fmla="*/ 438 w 446"/>
                <a:gd name="T79" fmla="*/ 44 h 319"/>
                <a:gd name="T80" fmla="*/ 171 w 446"/>
                <a:gd name="T81" fmla="*/ 311 h 319"/>
                <a:gd name="T82" fmla="*/ 167 w 446"/>
                <a:gd name="T83" fmla="*/ 315 h 319"/>
                <a:gd name="T84" fmla="*/ 163 w 446"/>
                <a:gd name="T85" fmla="*/ 316 h 319"/>
                <a:gd name="T86" fmla="*/ 157 w 446"/>
                <a:gd name="T87" fmla="*/ 318 h 319"/>
                <a:gd name="T88" fmla="*/ 153 w 446"/>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319">
                  <a:moveTo>
                    <a:pt x="153" y="319"/>
                  </a:moveTo>
                  <a:lnTo>
                    <a:pt x="147" y="318"/>
                  </a:lnTo>
                  <a:lnTo>
                    <a:pt x="143" y="316"/>
                  </a:lnTo>
                  <a:lnTo>
                    <a:pt x="138" y="315"/>
                  </a:lnTo>
                  <a:lnTo>
                    <a:pt x="134" y="311"/>
                  </a:lnTo>
                  <a:lnTo>
                    <a:pt x="7" y="184"/>
                  </a:lnTo>
                  <a:lnTo>
                    <a:pt x="4" y="180"/>
                  </a:lnTo>
                  <a:lnTo>
                    <a:pt x="1" y="175"/>
                  </a:lnTo>
                  <a:lnTo>
                    <a:pt x="0" y="171"/>
                  </a:lnTo>
                  <a:lnTo>
                    <a:pt x="0" y="165"/>
                  </a:lnTo>
                  <a:lnTo>
                    <a:pt x="0" y="161"/>
                  </a:lnTo>
                  <a:lnTo>
                    <a:pt x="1" y="157"/>
                  </a:lnTo>
                  <a:lnTo>
                    <a:pt x="4" y="151"/>
                  </a:lnTo>
                  <a:lnTo>
                    <a:pt x="7" y="148"/>
                  </a:lnTo>
                  <a:lnTo>
                    <a:pt x="11" y="144"/>
                  </a:lnTo>
                  <a:lnTo>
                    <a:pt x="16" y="142"/>
                  </a:lnTo>
                  <a:lnTo>
                    <a:pt x="20" y="141"/>
                  </a:lnTo>
                  <a:lnTo>
                    <a:pt x="26" y="139"/>
                  </a:lnTo>
                  <a:lnTo>
                    <a:pt x="30" y="141"/>
                  </a:lnTo>
                  <a:lnTo>
                    <a:pt x="36" y="142"/>
                  </a:lnTo>
                  <a:lnTo>
                    <a:pt x="40" y="144"/>
                  </a:lnTo>
                  <a:lnTo>
                    <a:pt x="45" y="148"/>
                  </a:lnTo>
                  <a:lnTo>
                    <a:pt x="153" y="256"/>
                  </a:lnTo>
                  <a:lnTo>
                    <a:pt x="402" y="7"/>
                  </a:lnTo>
                  <a:lnTo>
                    <a:pt x="406" y="4"/>
                  </a:lnTo>
                  <a:lnTo>
                    <a:pt x="410" y="1"/>
                  </a:lnTo>
                  <a:lnTo>
                    <a:pt x="415" y="0"/>
                  </a:lnTo>
                  <a:lnTo>
                    <a:pt x="420" y="0"/>
                  </a:lnTo>
                  <a:lnTo>
                    <a:pt x="425" y="0"/>
                  </a:lnTo>
                  <a:lnTo>
                    <a:pt x="429" y="1"/>
                  </a:lnTo>
                  <a:lnTo>
                    <a:pt x="435" y="4"/>
                  </a:lnTo>
                  <a:lnTo>
                    <a:pt x="438" y="7"/>
                  </a:lnTo>
                  <a:lnTo>
                    <a:pt x="442" y="11"/>
                  </a:lnTo>
                  <a:lnTo>
                    <a:pt x="443" y="16"/>
                  </a:lnTo>
                  <a:lnTo>
                    <a:pt x="445" y="20"/>
                  </a:lnTo>
                  <a:lnTo>
                    <a:pt x="446" y="26"/>
                  </a:lnTo>
                  <a:lnTo>
                    <a:pt x="445" y="30"/>
                  </a:lnTo>
                  <a:lnTo>
                    <a:pt x="443" y="36"/>
                  </a:lnTo>
                  <a:lnTo>
                    <a:pt x="442" y="40"/>
                  </a:lnTo>
                  <a:lnTo>
                    <a:pt x="438" y="44"/>
                  </a:lnTo>
                  <a:lnTo>
                    <a:pt x="171" y="311"/>
                  </a:lnTo>
                  <a:lnTo>
                    <a:pt x="167" y="315"/>
                  </a:lnTo>
                  <a:lnTo>
                    <a:pt x="163" y="316"/>
                  </a:lnTo>
                  <a:lnTo>
                    <a:pt x="157" y="318"/>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114">
              <a:extLst>
                <a:ext uri="{FF2B5EF4-FFF2-40B4-BE49-F238E27FC236}">
                  <a16:creationId xmlns:a16="http://schemas.microsoft.com/office/drawing/2014/main" id="{725D29A5-36B0-413B-B879-1CCD56EB307B}"/>
                </a:ext>
              </a:extLst>
            </p:cNvPr>
            <p:cNvSpPr>
              <a:spLocks noEditPoints="1"/>
            </p:cNvSpPr>
            <p:nvPr/>
          </p:nvSpPr>
          <p:spPr bwMode="auto">
            <a:xfrm>
              <a:off x="4614863" y="1887538"/>
              <a:ext cx="328613" cy="327025"/>
            </a:xfrm>
            <a:custGeom>
              <a:avLst/>
              <a:gdLst>
                <a:gd name="T0" fmla="*/ 257 w 620"/>
                <a:gd name="T1" fmla="*/ 57 h 620"/>
                <a:gd name="T2" fmla="*/ 187 w 620"/>
                <a:gd name="T3" fmla="*/ 83 h 620"/>
                <a:gd name="T4" fmla="*/ 128 w 620"/>
                <a:gd name="T5" fmla="*/ 128 h 620"/>
                <a:gd name="T6" fmla="*/ 83 w 620"/>
                <a:gd name="T7" fmla="*/ 187 h 620"/>
                <a:gd name="T8" fmla="*/ 57 w 620"/>
                <a:gd name="T9" fmla="*/ 259 h 620"/>
                <a:gd name="T10" fmla="*/ 53 w 620"/>
                <a:gd name="T11" fmla="*/ 336 h 620"/>
                <a:gd name="T12" fmla="*/ 72 w 620"/>
                <a:gd name="T13" fmla="*/ 410 h 620"/>
                <a:gd name="T14" fmla="*/ 111 w 620"/>
                <a:gd name="T15" fmla="*/ 473 h 620"/>
                <a:gd name="T16" fmla="*/ 165 w 620"/>
                <a:gd name="T17" fmla="*/ 524 h 620"/>
                <a:gd name="T18" fmla="*/ 233 w 620"/>
                <a:gd name="T19" fmla="*/ 557 h 620"/>
                <a:gd name="T20" fmla="*/ 309 w 620"/>
                <a:gd name="T21" fmla="*/ 568 h 620"/>
                <a:gd name="T22" fmla="*/ 386 w 620"/>
                <a:gd name="T23" fmla="*/ 557 h 620"/>
                <a:gd name="T24" fmla="*/ 453 w 620"/>
                <a:gd name="T25" fmla="*/ 524 h 620"/>
                <a:gd name="T26" fmla="*/ 508 w 620"/>
                <a:gd name="T27" fmla="*/ 473 h 620"/>
                <a:gd name="T28" fmla="*/ 547 w 620"/>
                <a:gd name="T29" fmla="*/ 410 h 620"/>
                <a:gd name="T30" fmla="*/ 566 w 620"/>
                <a:gd name="T31" fmla="*/ 336 h 620"/>
                <a:gd name="T32" fmla="*/ 563 w 620"/>
                <a:gd name="T33" fmla="*/ 259 h 620"/>
                <a:gd name="T34" fmla="*/ 537 w 620"/>
                <a:gd name="T35" fmla="*/ 187 h 620"/>
                <a:gd name="T36" fmla="*/ 492 w 620"/>
                <a:gd name="T37" fmla="*/ 128 h 620"/>
                <a:gd name="T38" fmla="*/ 432 w 620"/>
                <a:gd name="T39" fmla="*/ 83 h 620"/>
                <a:gd name="T40" fmla="*/ 361 w 620"/>
                <a:gd name="T41" fmla="*/ 57 h 620"/>
                <a:gd name="T42" fmla="*/ 309 w 620"/>
                <a:gd name="T43" fmla="*/ 620 h 620"/>
                <a:gd name="T44" fmla="*/ 262 w 620"/>
                <a:gd name="T45" fmla="*/ 616 h 620"/>
                <a:gd name="T46" fmla="*/ 217 w 620"/>
                <a:gd name="T47" fmla="*/ 606 h 620"/>
                <a:gd name="T48" fmla="*/ 175 w 620"/>
                <a:gd name="T49" fmla="*/ 590 h 620"/>
                <a:gd name="T50" fmla="*/ 136 w 620"/>
                <a:gd name="T51" fmla="*/ 567 h 620"/>
                <a:gd name="T52" fmla="*/ 70 w 620"/>
                <a:gd name="T53" fmla="*/ 508 h 620"/>
                <a:gd name="T54" fmla="*/ 37 w 620"/>
                <a:gd name="T55" fmla="*/ 457 h 620"/>
                <a:gd name="T56" fmla="*/ 18 w 620"/>
                <a:gd name="T57" fmla="*/ 417 h 620"/>
                <a:gd name="T58" fmla="*/ 5 w 620"/>
                <a:gd name="T59" fmla="*/ 372 h 620"/>
                <a:gd name="T60" fmla="*/ 0 w 620"/>
                <a:gd name="T61" fmla="*/ 326 h 620"/>
                <a:gd name="T62" fmla="*/ 1 w 620"/>
                <a:gd name="T63" fmla="*/ 279 h 620"/>
                <a:gd name="T64" fmla="*/ 10 w 620"/>
                <a:gd name="T65" fmla="*/ 233 h 620"/>
                <a:gd name="T66" fmla="*/ 24 w 620"/>
                <a:gd name="T67" fmla="*/ 190 h 620"/>
                <a:gd name="T68" fmla="*/ 44 w 620"/>
                <a:gd name="T69" fmla="*/ 149 h 620"/>
                <a:gd name="T70" fmla="*/ 90 w 620"/>
                <a:gd name="T71" fmla="*/ 90 h 620"/>
                <a:gd name="T72" fmla="*/ 149 w 620"/>
                <a:gd name="T73" fmla="*/ 46 h 620"/>
                <a:gd name="T74" fmla="*/ 188 w 620"/>
                <a:gd name="T75" fmla="*/ 24 h 620"/>
                <a:gd name="T76" fmla="*/ 231 w 620"/>
                <a:gd name="T77" fmla="*/ 10 h 620"/>
                <a:gd name="T78" fmla="*/ 278 w 620"/>
                <a:gd name="T79" fmla="*/ 1 h 620"/>
                <a:gd name="T80" fmla="*/ 325 w 620"/>
                <a:gd name="T81" fmla="*/ 1 h 620"/>
                <a:gd name="T82" fmla="*/ 373 w 620"/>
                <a:gd name="T83" fmla="*/ 7 h 620"/>
                <a:gd name="T84" fmla="*/ 416 w 620"/>
                <a:gd name="T85" fmla="*/ 18 h 620"/>
                <a:gd name="T86" fmla="*/ 458 w 620"/>
                <a:gd name="T87" fmla="*/ 37 h 620"/>
                <a:gd name="T88" fmla="*/ 507 w 620"/>
                <a:gd name="T89" fmla="*/ 72 h 620"/>
                <a:gd name="T90" fmla="*/ 567 w 620"/>
                <a:gd name="T91" fmla="*/ 136 h 620"/>
                <a:gd name="T92" fmla="*/ 589 w 620"/>
                <a:gd name="T93" fmla="*/ 175 h 620"/>
                <a:gd name="T94" fmla="*/ 606 w 620"/>
                <a:gd name="T95" fmla="*/ 218 h 620"/>
                <a:gd name="T96" fmla="*/ 616 w 620"/>
                <a:gd name="T97" fmla="*/ 263 h 620"/>
                <a:gd name="T98" fmla="*/ 620 w 620"/>
                <a:gd name="T99" fmla="*/ 311 h 620"/>
                <a:gd name="T100" fmla="*/ 616 w 620"/>
                <a:gd name="T101" fmla="*/ 357 h 620"/>
                <a:gd name="T102" fmla="*/ 606 w 620"/>
                <a:gd name="T103" fmla="*/ 403 h 620"/>
                <a:gd name="T104" fmla="*/ 589 w 620"/>
                <a:gd name="T105" fmla="*/ 444 h 620"/>
                <a:gd name="T106" fmla="*/ 567 w 620"/>
                <a:gd name="T107" fmla="*/ 483 h 620"/>
                <a:gd name="T108" fmla="*/ 507 w 620"/>
                <a:gd name="T109" fmla="*/ 550 h 620"/>
                <a:gd name="T110" fmla="*/ 458 w 620"/>
                <a:gd name="T111" fmla="*/ 583 h 620"/>
                <a:gd name="T112" fmla="*/ 416 w 620"/>
                <a:gd name="T113" fmla="*/ 601 h 620"/>
                <a:gd name="T114" fmla="*/ 373 w 620"/>
                <a:gd name="T115" fmla="*/ 614 h 620"/>
                <a:gd name="T116" fmla="*/ 325 w 620"/>
                <a:gd name="T117"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 h="620">
                  <a:moveTo>
                    <a:pt x="309" y="53"/>
                  </a:moveTo>
                  <a:lnTo>
                    <a:pt x="283" y="53"/>
                  </a:lnTo>
                  <a:lnTo>
                    <a:pt x="257" y="57"/>
                  </a:lnTo>
                  <a:lnTo>
                    <a:pt x="233" y="64"/>
                  </a:lnTo>
                  <a:lnTo>
                    <a:pt x="210" y="73"/>
                  </a:lnTo>
                  <a:lnTo>
                    <a:pt x="187" y="83"/>
                  </a:lnTo>
                  <a:lnTo>
                    <a:pt x="165" y="96"/>
                  </a:lnTo>
                  <a:lnTo>
                    <a:pt x="145" y="112"/>
                  </a:lnTo>
                  <a:lnTo>
                    <a:pt x="128" y="128"/>
                  </a:lnTo>
                  <a:lnTo>
                    <a:pt x="111" y="146"/>
                  </a:lnTo>
                  <a:lnTo>
                    <a:pt x="96" y="167"/>
                  </a:lnTo>
                  <a:lnTo>
                    <a:pt x="83" y="187"/>
                  </a:lnTo>
                  <a:lnTo>
                    <a:pt x="72" y="210"/>
                  </a:lnTo>
                  <a:lnTo>
                    <a:pt x="63" y="233"/>
                  </a:lnTo>
                  <a:lnTo>
                    <a:pt x="57" y="259"/>
                  </a:lnTo>
                  <a:lnTo>
                    <a:pt x="53" y="283"/>
                  </a:lnTo>
                  <a:lnTo>
                    <a:pt x="51" y="311"/>
                  </a:lnTo>
                  <a:lnTo>
                    <a:pt x="53" y="336"/>
                  </a:lnTo>
                  <a:lnTo>
                    <a:pt x="57" y="362"/>
                  </a:lnTo>
                  <a:lnTo>
                    <a:pt x="63" y="387"/>
                  </a:lnTo>
                  <a:lnTo>
                    <a:pt x="72" y="410"/>
                  </a:lnTo>
                  <a:lnTo>
                    <a:pt x="83" y="433"/>
                  </a:lnTo>
                  <a:lnTo>
                    <a:pt x="96" y="455"/>
                  </a:lnTo>
                  <a:lnTo>
                    <a:pt x="111" y="473"/>
                  </a:lnTo>
                  <a:lnTo>
                    <a:pt x="128" y="492"/>
                  </a:lnTo>
                  <a:lnTo>
                    <a:pt x="145" y="509"/>
                  </a:lnTo>
                  <a:lnTo>
                    <a:pt x="165" y="524"/>
                  </a:lnTo>
                  <a:lnTo>
                    <a:pt x="187" y="537"/>
                  </a:lnTo>
                  <a:lnTo>
                    <a:pt x="210" y="548"/>
                  </a:lnTo>
                  <a:lnTo>
                    <a:pt x="233" y="557"/>
                  </a:lnTo>
                  <a:lnTo>
                    <a:pt x="257" y="563"/>
                  </a:lnTo>
                  <a:lnTo>
                    <a:pt x="283" y="567"/>
                  </a:lnTo>
                  <a:lnTo>
                    <a:pt x="309" y="568"/>
                  </a:lnTo>
                  <a:lnTo>
                    <a:pt x="335" y="567"/>
                  </a:lnTo>
                  <a:lnTo>
                    <a:pt x="361" y="563"/>
                  </a:lnTo>
                  <a:lnTo>
                    <a:pt x="386" y="557"/>
                  </a:lnTo>
                  <a:lnTo>
                    <a:pt x="410" y="548"/>
                  </a:lnTo>
                  <a:lnTo>
                    <a:pt x="432" y="537"/>
                  </a:lnTo>
                  <a:lnTo>
                    <a:pt x="453" y="524"/>
                  </a:lnTo>
                  <a:lnTo>
                    <a:pt x="473" y="509"/>
                  </a:lnTo>
                  <a:lnTo>
                    <a:pt x="492" y="492"/>
                  </a:lnTo>
                  <a:lnTo>
                    <a:pt x="508" y="473"/>
                  </a:lnTo>
                  <a:lnTo>
                    <a:pt x="524" y="455"/>
                  </a:lnTo>
                  <a:lnTo>
                    <a:pt x="537" y="433"/>
                  </a:lnTo>
                  <a:lnTo>
                    <a:pt x="547" y="410"/>
                  </a:lnTo>
                  <a:lnTo>
                    <a:pt x="555" y="387"/>
                  </a:lnTo>
                  <a:lnTo>
                    <a:pt x="563" y="362"/>
                  </a:lnTo>
                  <a:lnTo>
                    <a:pt x="566" y="336"/>
                  </a:lnTo>
                  <a:lnTo>
                    <a:pt x="567" y="311"/>
                  </a:lnTo>
                  <a:lnTo>
                    <a:pt x="566" y="283"/>
                  </a:lnTo>
                  <a:lnTo>
                    <a:pt x="563" y="259"/>
                  </a:lnTo>
                  <a:lnTo>
                    <a:pt x="555" y="233"/>
                  </a:lnTo>
                  <a:lnTo>
                    <a:pt x="547" y="210"/>
                  </a:lnTo>
                  <a:lnTo>
                    <a:pt x="537" y="187"/>
                  </a:lnTo>
                  <a:lnTo>
                    <a:pt x="524" y="167"/>
                  </a:lnTo>
                  <a:lnTo>
                    <a:pt x="508" y="146"/>
                  </a:lnTo>
                  <a:lnTo>
                    <a:pt x="492" y="128"/>
                  </a:lnTo>
                  <a:lnTo>
                    <a:pt x="473" y="112"/>
                  </a:lnTo>
                  <a:lnTo>
                    <a:pt x="453" y="96"/>
                  </a:lnTo>
                  <a:lnTo>
                    <a:pt x="432" y="83"/>
                  </a:lnTo>
                  <a:lnTo>
                    <a:pt x="410" y="73"/>
                  </a:lnTo>
                  <a:lnTo>
                    <a:pt x="386" y="64"/>
                  </a:lnTo>
                  <a:lnTo>
                    <a:pt x="361" y="57"/>
                  </a:lnTo>
                  <a:lnTo>
                    <a:pt x="335" y="53"/>
                  </a:lnTo>
                  <a:lnTo>
                    <a:pt x="309" y="53"/>
                  </a:lnTo>
                  <a:close/>
                  <a:moveTo>
                    <a:pt x="309" y="620"/>
                  </a:moveTo>
                  <a:lnTo>
                    <a:pt x="293" y="620"/>
                  </a:lnTo>
                  <a:lnTo>
                    <a:pt x="278" y="619"/>
                  </a:lnTo>
                  <a:lnTo>
                    <a:pt x="262" y="616"/>
                  </a:lnTo>
                  <a:lnTo>
                    <a:pt x="247" y="614"/>
                  </a:lnTo>
                  <a:lnTo>
                    <a:pt x="231" y="610"/>
                  </a:lnTo>
                  <a:lnTo>
                    <a:pt x="217" y="606"/>
                  </a:lnTo>
                  <a:lnTo>
                    <a:pt x="203" y="601"/>
                  </a:lnTo>
                  <a:lnTo>
                    <a:pt x="188" y="596"/>
                  </a:lnTo>
                  <a:lnTo>
                    <a:pt x="175" y="590"/>
                  </a:lnTo>
                  <a:lnTo>
                    <a:pt x="162" y="583"/>
                  </a:lnTo>
                  <a:lnTo>
                    <a:pt x="149" y="575"/>
                  </a:lnTo>
                  <a:lnTo>
                    <a:pt x="136" y="567"/>
                  </a:lnTo>
                  <a:lnTo>
                    <a:pt x="112" y="550"/>
                  </a:lnTo>
                  <a:lnTo>
                    <a:pt x="90" y="529"/>
                  </a:lnTo>
                  <a:lnTo>
                    <a:pt x="70" y="508"/>
                  </a:lnTo>
                  <a:lnTo>
                    <a:pt x="53" y="483"/>
                  </a:lnTo>
                  <a:lnTo>
                    <a:pt x="44" y="470"/>
                  </a:lnTo>
                  <a:lnTo>
                    <a:pt x="37" y="457"/>
                  </a:lnTo>
                  <a:lnTo>
                    <a:pt x="30" y="444"/>
                  </a:lnTo>
                  <a:lnTo>
                    <a:pt x="24" y="430"/>
                  </a:lnTo>
                  <a:lnTo>
                    <a:pt x="18" y="417"/>
                  </a:lnTo>
                  <a:lnTo>
                    <a:pt x="14" y="403"/>
                  </a:lnTo>
                  <a:lnTo>
                    <a:pt x="10" y="387"/>
                  </a:lnTo>
                  <a:lnTo>
                    <a:pt x="5" y="372"/>
                  </a:lnTo>
                  <a:lnTo>
                    <a:pt x="3" y="357"/>
                  </a:lnTo>
                  <a:lnTo>
                    <a:pt x="1" y="342"/>
                  </a:lnTo>
                  <a:lnTo>
                    <a:pt x="0" y="326"/>
                  </a:lnTo>
                  <a:lnTo>
                    <a:pt x="0" y="311"/>
                  </a:lnTo>
                  <a:lnTo>
                    <a:pt x="0" y="295"/>
                  </a:lnTo>
                  <a:lnTo>
                    <a:pt x="1" y="279"/>
                  </a:lnTo>
                  <a:lnTo>
                    <a:pt x="3" y="263"/>
                  </a:lnTo>
                  <a:lnTo>
                    <a:pt x="5" y="247"/>
                  </a:lnTo>
                  <a:lnTo>
                    <a:pt x="10" y="233"/>
                  </a:lnTo>
                  <a:lnTo>
                    <a:pt x="14" y="218"/>
                  </a:lnTo>
                  <a:lnTo>
                    <a:pt x="18" y="204"/>
                  </a:lnTo>
                  <a:lnTo>
                    <a:pt x="24" y="190"/>
                  </a:lnTo>
                  <a:lnTo>
                    <a:pt x="30" y="175"/>
                  </a:lnTo>
                  <a:lnTo>
                    <a:pt x="37" y="162"/>
                  </a:lnTo>
                  <a:lnTo>
                    <a:pt x="44" y="149"/>
                  </a:lnTo>
                  <a:lnTo>
                    <a:pt x="53" y="136"/>
                  </a:lnTo>
                  <a:lnTo>
                    <a:pt x="70" y="113"/>
                  </a:lnTo>
                  <a:lnTo>
                    <a:pt x="90" y="90"/>
                  </a:lnTo>
                  <a:lnTo>
                    <a:pt x="112" y="72"/>
                  </a:lnTo>
                  <a:lnTo>
                    <a:pt x="136" y="53"/>
                  </a:lnTo>
                  <a:lnTo>
                    <a:pt x="149" y="46"/>
                  </a:lnTo>
                  <a:lnTo>
                    <a:pt x="162" y="37"/>
                  </a:lnTo>
                  <a:lnTo>
                    <a:pt x="175" y="31"/>
                  </a:lnTo>
                  <a:lnTo>
                    <a:pt x="188" y="24"/>
                  </a:lnTo>
                  <a:lnTo>
                    <a:pt x="203" y="18"/>
                  </a:lnTo>
                  <a:lnTo>
                    <a:pt x="217" y="14"/>
                  </a:lnTo>
                  <a:lnTo>
                    <a:pt x="231" y="10"/>
                  </a:lnTo>
                  <a:lnTo>
                    <a:pt x="247" y="7"/>
                  </a:lnTo>
                  <a:lnTo>
                    <a:pt x="262" y="4"/>
                  </a:lnTo>
                  <a:lnTo>
                    <a:pt x="278" y="1"/>
                  </a:lnTo>
                  <a:lnTo>
                    <a:pt x="293" y="1"/>
                  </a:lnTo>
                  <a:lnTo>
                    <a:pt x="309" y="0"/>
                  </a:lnTo>
                  <a:lnTo>
                    <a:pt x="325" y="1"/>
                  </a:lnTo>
                  <a:lnTo>
                    <a:pt x="341" y="1"/>
                  </a:lnTo>
                  <a:lnTo>
                    <a:pt x="357" y="4"/>
                  </a:lnTo>
                  <a:lnTo>
                    <a:pt x="373" y="7"/>
                  </a:lnTo>
                  <a:lnTo>
                    <a:pt x="387" y="10"/>
                  </a:lnTo>
                  <a:lnTo>
                    <a:pt x="401" y="14"/>
                  </a:lnTo>
                  <a:lnTo>
                    <a:pt x="416" y="18"/>
                  </a:lnTo>
                  <a:lnTo>
                    <a:pt x="430" y="24"/>
                  </a:lnTo>
                  <a:lnTo>
                    <a:pt x="443" y="31"/>
                  </a:lnTo>
                  <a:lnTo>
                    <a:pt x="458" y="37"/>
                  </a:lnTo>
                  <a:lnTo>
                    <a:pt x="471" y="46"/>
                  </a:lnTo>
                  <a:lnTo>
                    <a:pt x="482" y="53"/>
                  </a:lnTo>
                  <a:lnTo>
                    <a:pt x="507" y="72"/>
                  </a:lnTo>
                  <a:lnTo>
                    <a:pt x="528" y="90"/>
                  </a:lnTo>
                  <a:lnTo>
                    <a:pt x="548" y="113"/>
                  </a:lnTo>
                  <a:lnTo>
                    <a:pt x="567" y="136"/>
                  </a:lnTo>
                  <a:lnTo>
                    <a:pt x="574" y="149"/>
                  </a:lnTo>
                  <a:lnTo>
                    <a:pt x="581" y="162"/>
                  </a:lnTo>
                  <a:lnTo>
                    <a:pt x="589" y="175"/>
                  </a:lnTo>
                  <a:lnTo>
                    <a:pt x="596" y="190"/>
                  </a:lnTo>
                  <a:lnTo>
                    <a:pt x="600" y="204"/>
                  </a:lnTo>
                  <a:lnTo>
                    <a:pt x="606" y="218"/>
                  </a:lnTo>
                  <a:lnTo>
                    <a:pt x="610" y="233"/>
                  </a:lnTo>
                  <a:lnTo>
                    <a:pt x="613" y="247"/>
                  </a:lnTo>
                  <a:lnTo>
                    <a:pt x="616" y="263"/>
                  </a:lnTo>
                  <a:lnTo>
                    <a:pt x="617" y="279"/>
                  </a:lnTo>
                  <a:lnTo>
                    <a:pt x="619" y="295"/>
                  </a:lnTo>
                  <a:lnTo>
                    <a:pt x="620" y="311"/>
                  </a:lnTo>
                  <a:lnTo>
                    <a:pt x="619" y="326"/>
                  </a:lnTo>
                  <a:lnTo>
                    <a:pt x="617" y="342"/>
                  </a:lnTo>
                  <a:lnTo>
                    <a:pt x="616" y="357"/>
                  </a:lnTo>
                  <a:lnTo>
                    <a:pt x="613" y="372"/>
                  </a:lnTo>
                  <a:lnTo>
                    <a:pt x="610" y="387"/>
                  </a:lnTo>
                  <a:lnTo>
                    <a:pt x="606" y="403"/>
                  </a:lnTo>
                  <a:lnTo>
                    <a:pt x="600" y="417"/>
                  </a:lnTo>
                  <a:lnTo>
                    <a:pt x="596" y="430"/>
                  </a:lnTo>
                  <a:lnTo>
                    <a:pt x="589" y="444"/>
                  </a:lnTo>
                  <a:lnTo>
                    <a:pt x="581" y="457"/>
                  </a:lnTo>
                  <a:lnTo>
                    <a:pt x="574" y="470"/>
                  </a:lnTo>
                  <a:lnTo>
                    <a:pt x="567" y="483"/>
                  </a:lnTo>
                  <a:lnTo>
                    <a:pt x="548" y="508"/>
                  </a:lnTo>
                  <a:lnTo>
                    <a:pt x="528" y="529"/>
                  </a:lnTo>
                  <a:lnTo>
                    <a:pt x="507" y="550"/>
                  </a:lnTo>
                  <a:lnTo>
                    <a:pt x="482" y="567"/>
                  </a:lnTo>
                  <a:lnTo>
                    <a:pt x="471" y="575"/>
                  </a:lnTo>
                  <a:lnTo>
                    <a:pt x="458" y="583"/>
                  </a:lnTo>
                  <a:lnTo>
                    <a:pt x="443" y="590"/>
                  </a:lnTo>
                  <a:lnTo>
                    <a:pt x="430" y="596"/>
                  </a:lnTo>
                  <a:lnTo>
                    <a:pt x="416" y="601"/>
                  </a:lnTo>
                  <a:lnTo>
                    <a:pt x="401" y="606"/>
                  </a:lnTo>
                  <a:lnTo>
                    <a:pt x="387" y="610"/>
                  </a:lnTo>
                  <a:lnTo>
                    <a:pt x="373" y="614"/>
                  </a:lnTo>
                  <a:lnTo>
                    <a:pt x="357" y="616"/>
                  </a:lnTo>
                  <a:lnTo>
                    <a:pt x="341" y="619"/>
                  </a:lnTo>
                  <a:lnTo>
                    <a:pt x="325" y="620"/>
                  </a:lnTo>
                  <a:lnTo>
                    <a:pt x="309"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15">
              <a:extLst>
                <a:ext uri="{FF2B5EF4-FFF2-40B4-BE49-F238E27FC236}">
                  <a16:creationId xmlns:a16="http://schemas.microsoft.com/office/drawing/2014/main" id="{2D8AC96D-BE85-46A4-AA09-C2CD37D261EC}"/>
                </a:ext>
              </a:extLst>
            </p:cNvPr>
            <p:cNvSpPr>
              <a:spLocks/>
            </p:cNvSpPr>
            <p:nvPr/>
          </p:nvSpPr>
          <p:spPr bwMode="auto">
            <a:xfrm>
              <a:off x="4891088" y="2135188"/>
              <a:ext cx="231775" cy="231775"/>
            </a:xfrm>
            <a:custGeom>
              <a:avLst/>
              <a:gdLst>
                <a:gd name="T0" fmla="*/ 412 w 438"/>
                <a:gd name="T1" fmla="*/ 438 h 438"/>
                <a:gd name="T2" fmla="*/ 407 w 438"/>
                <a:gd name="T3" fmla="*/ 438 h 438"/>
                <a:gd name="T4" fmla="*/ 402 w 438"/>
                <a:gd name="T5" fmla="*/ 437 h 438"/>
                <a:gd name="T6" fmla="*/ 397 w 438"/>
                <a:gd name="T7" fmla="*/ 434 h 438"/>
                <a:gd name="T8" fmla="*/ 393 w 438"/>
                <a:gd name="T9" fmla="*/ 431 h 438"/>
                <a:gd name="T10" fmla="*/ 7 w 438"/>
                <a:gd name="T11" fmla="*/ 45 h 438"/>
                <a:gd name="T12" fmla="*/ 4 w 438"/>
                <a:gd name="T13" fmla="*/ 41 h 438"/>
                <a:gd name="T14" fmla="*/ 1 w 438"/>
                <a:gd name="T15" fmla="*/ 36 h 438"/>
                <a:gd name="T16" fmla="*/ 0 w 438"/>
                <a:gd name="T17" fmla="*/ 31 h 438"/>
                <a:gd name="T18" fmla="*/ 0 w 438"/>
                <a:gd name="T19" fmla="*/ 26 h 438"/>
                <a:gd name="T20" fmla="*/ 0 w 438"/>
                <a:gd name="T21" fmla="*/ 22 h 438"/>
                <a:gd name="T22" fmla="*/ 1 w 438"/>
                <a:gd name="T23" fmla="*/ 16 h 438"/>
                <a:gd name="T24" fmla="*/ 4 w 438"/>
                <a:gd name="T25" fmla="*/ 12 h 438"/>
                <a:gd name="T26" fmla="*/ 7 w 438"/>
                <a:gd name="T27" fmla="*/ 8 h 438"/>
                <a:gd name="T28" fmla="*/ 11 w 438"/>
                <a:gd name="T29" fmla="*/ 5 h 438"/>
                <a:gd name="T30" fmla="*/ 16 w 438"/>
                <a:gd name="T31" fmla="*/ 2 h 438"/>
                <a:gd name="T32" fmla="*/ 22 w 438"/>
                <a:gd name="T33" fmla="*/ 0 h 438"/>
                <a:gd name="T34" fmla="*/ 26 w 438"/>
                <a:gd name="T35" fmla="*/ 0 h 438"/>
                <a:gd name="T36" fmla="*/ 30 w 438"/>
                <a:gd name="T37" fmla="*/ 0 h 438"/>
                <a:gd name="T38" fmla="*/ 36 w 438"/>
                <a:gd name="T39" fmla="*/ 2 h 438"/>
                <a:gd name="T40" fmla="*/ 40 w 438"/>
                <a:gd name="T41" fmla="*/ 5 h 438"/>
                <a:gd name="T42" fmla="*/ 45 w 438"/>
                <a:gd name="T43" fmla="*/ 8 h 438"/>
                <a:gd name="T44" fmla="*/ 430 w 438"/>
                <a:gd name="T45" fmla="*/ 393 h 438"/>
                <a:gd name="T46" fmla="*/ 433 w 438"/>
                <a:gd name="T47" fmla="*/ 398 h 438"/>
                <a:gd name="T48" fmla="*/ 436 w 438"/>
                <a:gd name="T49" fmla="*/ 402 h 438"/>
                <a:gd name="T50" fmla="*/ 438 w 438"/>
                <a:gd name="T51" fmla="*/ 408 h 438"/>
                <a:gd name="T52" fmla="*/ 438 w 438"/>
                <a:gd name="T53" fmla="*/ 412 h 438"/>
                <a:gd name="T54" fmla="*/ 438 w 438"/>
                <a:gd name="T55" fmla="*/ 418 h 438"/>
                <a:gd name="T56" fmla="*/ 436 w 438"/>
                <a:gd name="T57" fmla="*/ 422 h 438"/>
                <a:gd name="T58" fmla="*/ 433 w 438"/>
                <a:gd name="T59" fmla="*/ 427 h 438"/>
                <a:gd name="T60" fmla="*/ 430 w 438"/>
                <a:gd name="T61" fmla="*/ 431 h 438"/>
                <a:gd name="T62" fmla="*/ 426 w 438"/>
                <a:gd name="T63" fmla="*/ 434 h 438"/>
                <a:gd name="T64" fmla="*/ 422 w 438"/>
                <a:gd name="T65" fmla="*/ 437 h 438"/>
                <a:gd name="T66" fmla="*/ 418 w 438"/>
                <a:gd name="T67" fmla="*/ 438 h 438"/>
                <a:gd name="T68" fmla="*/ 412 w 438"/>
                <a:gd name="T6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8" h="438">
                  <a:moveTo>
                    <a:pt x="412" y="438"/>
                  </a:moveTo>
                  <a:lnTo>
                    <a:pt x="407" y="438"/>
                  </a:lnTo>
                  <a:lnTo>
                    <a:pt x="402" y="437"/>
                  </a:lnTo>
                  <a:lnTo>
                    <a:pt x="397" y="434"/>
                  </a:lnTo>
                  <a:lnTo>
                    <a:pt x="393" y="431"/>
                  </a:lnTo>
                  <a:lnTo>
                    <a:pt x="7" y="45"/>
                  </a:lnTo>
                  <a:lnTo>
                    <a:pt x="4" y="41"/>
                  </a:lnTo>
                  <a:lnTo>
                    <a:pt x="1" y="36"/>
                  </a:lnTo>
                  <a:lnTo>
                    <a:pt x="0" y="31"/>
                  </a:lnTo>
                  <a:lnTo>
                    <a:pt x="0" y="26"/>
                  </a:lnTo>
                  <a:lnTo>
                    <a:pt x="0" y="22"/>
                  </a:lnTo>
                  <a:lnTo>
                    <a:pt x="1" y="16"/>
                  </a:lnTo>
                  <a:lnTo>
                    <a:pt x="4" y="12"/>
                  </a:lnTo>
                  <a:lnTo>
                    <a:pt x="7" y="8"/>
                  </a:lnTo>
                  <a:lnTo>
                    <a:pt x="11" y="5"/>
                  </a:lnTo>
                  <a:lnTo>
                    <a:pt x="16" y="2"/>
                  </a:lnTo>
                  <a:lnTo>
                    <a:pt x="22" y="0"/>
                  </a:lnTo>
                  <a:lnTo>
                    <a:pt x="26" y="0"/>
                  </a:lnTo>
                  <a:lnTo>
                    <a:pt x="30" y="0"/>
                  </a:lnTo>
                  <a:lnTo>
                    <a:pt x="36" y="2"/>
                  </a:lnTo>
                  <a:lnTo>
                    <a:pt x="40" y="5"/>
                  </a:lnTo>
                  <a:lnTo>
                    <a:pt x="45" y="8"/>
                  </a:lnTo>
                  <a:lnTo>
                    <a:pt x="430" y="393"/>
                  </a:lnTo>
                  <a:lnTo>
                    <a:pt x="433" y="398"/>
                  </a:lnTo>
                  <a:lnTo>
                    <a:pt x="436" y="402"/>
                  </a:lnTo>
                  <a:lnTo>
                    <a:pt x="438" y="408"/>
                  </a:lnTo>
                  <a:lnTo>
                    <a:pt x="438" y="412"/>
                  </a:lnTo>
                  <a:lnTo>
                    <a:pt x="438" y="418"/>
                  </a:lnTo>
                  <a:lnTo>
                    <a:pt x="436" y="422"/>
                  </a:lnTo>
                  <a:lnTo>
                    <a:pt x="433" y="427"/>
                  </a:lnTo>
                  <a:lnTo>
                    <a:pt x="430" y="431"/>
                  </a:lnTo>
                  <a:lnTo>
                    <a:pt x="426" y="434"/>
                  </a:lnTo>
                  <a:lnTo>
                    <a:pt x="422" y="437"/>
                  </a:lnTo>
                  <a:lnTo>
                    <a:pt x="418" y="438"/>
                  </a:lnTo>
                  <a:lnTo>
                    <a:pt x="412"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7" name="Group 91">
            <a:extLst>
              <a:ext uri="{FF2B5EF4-FFF2-40B4-BE49-F238E27FC236}">
                <a16:creationId xmlns:a16="http://schemas.microsoft.com/office/drawing/2014/main" id="{378F72A8-4D48-4CE3-BA16-E5CF32640624}"/>
              </a:ext>
            </a:extLst>
          </p:cNvPr>
          <p:cNvGrpSpPr>
            <a:grpSpLocks noChangeAspect="1"/>
          </p:cNvGrpSpPr>
          <p:nvPr/>
        </p:nvGrpSpPr>
        <p:grpSpPr>
          <a:xfrm>
            <a:off x="3241442" y="4345739"/>
            <a:ext cx="208005" cy="306484"/>
            <a:chOff x="7854254" y="1701541"/>
            <a:chExt cx="416963" cy="614374"/>
          </a:xfrm>
          <a:solidFill>
            <a:schemeClr val="bg2"/>
          </a:solidFill>
          <a:effectLst/>
        </p:grpSpPr>
        <p:sp>
          <p:nvSpPr>
            <p:cNvPr id="388" name="Freeform 8">
              <a:extLst>
                <a:ext uri="{FF2B5EF4-FFF2-40B4-BE49-F238E27FC236}">
                  <a16:creationId xmlns:a16="http://schemas.microsoft.com/office/drawing/2014/main" id="{7A5090F3-689D-4CD2-96A2-4C4E17B65E99}"/>
                </a:ext>
              </a:extLst>
            </p:cNvPr>
            <p:cNvSpPr>
              <a:spLocks noEditPoints="1"/>
            </p:cNvSpPr>
            <p:nvPr/>
          </p:nvSpPr>
          <p:spPr bwMode="auto">
            <a:xfrm>
              <a:off x="7854254" y="1701541"/>
              <a:ext cx="416963" cy="614374"/>
            </a:xfrm>
            <a:custGeom>
              <a:avLst/>
              <a:gdLst>
                <a:gd name="T0" fmla="*/ 40 w 679"/>
                <a:gd name="T1" fmla="*/ 960 h 1000"/>
                <a:gd name="T2" fmla="*/ 640 w 679"/>
                <a:gd name="T3" fmla="*/ 960 h 1000"/>
                <a:gd name="T4" fmla="*/ 640 w 679"/>
                <a:gd name="T5" fmla="*/ 40 h 1000"/>
                <a:gd name="T6" fmla="*/ 188 w 679"/>
                <a:gd name="T7" fmla="*/ 40 h 1000"/>
                <a:gd name="T8" fmla="*/ 40 w 679"/>
                <a:gd name="T9" fmla="*/ 189 h 1000"/>
                <a:gd name="T10" fmla="*/ 40 w 679"/>
                <a:gd name="T11" fmla="*/ 960 h 1000"/>
                <a:gd name="T12" fmla="*/ 660 w 679"/>
                <a:gd name="T13" fmla="*/ 1000 h 1000"/>
                <a:gd name="T14" fmla="*/ 20 w 679"/>
                <a:gd name="T15" fmla="*/ 1000 h 1000"/>
                <a:gd name="T16" fmla="*/ 16 w 679"/>
                <a:gd name="T17" fmla="*/ 999 h 1000"/>
                <a:gd name="T18" fmla="*/ 13 w 679"/>
                <a:gd name="T19" fmla="*/ 999 h 1000"/>
                <a:gd name="T20" fmla="*/ 9 w 679"/>
                <a:gd name="T21" fmla="*/ 996 h 1000"/>
                <a:gd name="T22" fmla="*/ 6 w 679"/>
                <a:gd name="T23" fmla="*/ 994 h 1000"/>
                <a:gd name="T24" fmla="*/ 4 w 679"/>
                <a:gd name="T25" fmla="*/ 991 h 1000"/>
                <a:gd name="T26" fmla="*/ 1 w 679"/>
                <a:gd name="T27" fmla="*/ 988 h 1000"/>
                <a:gd name="T28" fmla="*/ 0 w 679"/>
                <a:gd name="T29" fmla="*/ 984 h 1000"/>
                <a:gd name="T30" fmla="*/ 0 w 679"/>
                <a:gd name="T31" fmla="*/ 980 h 1000"/>
                <a:gd name="T32" fmla="*/ 0 w 679"/>
                <a:gd name="T33" fmla="*/ 180 h 1000"/>
                <a:gd name="T34" fmla="*/ 0 w 679"/>
                <a:gd name="T35" fmla="*/ 176 h 1000"/>
                <a:gd name="T36" fmla="*/ 1 w 679"/>
                <a:gd name="T37" fmla="*/ 173 h 1000"/>
                <a:gd name="T38" fmla="*/ 4 w 679"/>
                <a:gd name="T39" fmla="*/ 169 h 1000"/>
                <a:gd name="T40" fmla="*/ 6 w 679"/>
                <a:gd name="T41" fmla="*/ 165 h 1000"/>
                <a:gd name="T42" fmla="*/ 165 w 679"/>
                <a:gd name="T43" fmla="*/ 6 h 1000"/>
                <a:gd name="T44" fmla="*/ 169 w 679"/>
                <a:gd name="T45" fmla="*/ 4 h 1000"/>
                <a:gd name="T46" fmla="*/ 173 w 679"/>
                <a:gd name="T47" fmla="*/ 1 h 1000"/>
                <a:gd name="T48" fmla="*/ 176 w 679"/>
                <a:gd name="T49" fmla="*/ 0 h 1000"/>
                <a:gd name="T50" fmla="*/ 180 w 679"/>
                <a:gd name="T51" fmla="*/ 0 h 1000"/>
                <a:gd name="T52" fmla="*/ 660 w 679"/>
                <a:gd name="T53" fmla="*/ 0 h 1000"/>
                <a:gd name="T54" fmla="*/ 663 w 679"/>
                <a:gd name="T55" fmla="*/ 0 h 1000"/>
                <a:gd name="T56" fmla="*/ 667 w 679"/>
                <a:gd name="T57" fmla="*/ 1 h 1000"/>
                <a:gd name="T58" fmla="*/ 671 w 679"/>
                <a:gd name="T59" fmla="*/ 4 h 1000"/>
                <a:gd name="T60" fmla="*/ 673 w 679"/>
                <a:gd name="T61" fmla="*/ 6 h 1000"/>
                <a:gd name="T62" fmla="*/ 676 w 679"/>
                <a:gd name="T63" fmla="*/ 9 h 1000"/>
                <a:gd name="T64" fmla="*/ 678 w 679"/>
                <a:gd name="T65" fmla="*/ 12 h 1000"/>
                <a:gd name="T66" fmla="*/ 679 w 679"/>
                <a:gd name="T67" fmla="*/ 16 h 1000"/>
                <a:gd name="T68" fmla="*/ 679 w 679"/>
                <a:gd name="T69" fmla="*/ 20 h 1000"/>
                <a:gd name="T70" fmla="*/ 679 w 679"/>
                <a:gd name="T71" fmla="*/ 980 h 1000"/>
                <a:gd name="T72" fmla="*/ 679 w 679"/>
                <a:gd name="T73" fmla="*/ 984 h 1000"/>
                <a:gd name="T74" fmla="*/ 678 w 679"/>
                <a:gd name="T75" fmla="*/ 988 h 1000"/>
                <a:gd name="T76" fmla="*/ 676 w 679"/>
                <a:gd name="T77" fmla="*/ 991 h 1000"/>
                <a:gd name="T78" fmla="*/ 673 w 679"/>
                <a:gd name="T79" fmla="*/ 994 h 1000"/>
                <a:gd name="T80" fmla="*/ 671 w 679"/>
                <a:gd name="T81" fmla="*/ 996 h 1000"/>
                <a:gd name="T82" fmla="*/ 667 w 679"/>
                <a:gd name="T83" fmla="*/ 999 h 1000"/>
                <a:gd name="T84" fmla="*/ 663 w 679"/>
                <a:gd name="T85" fmla="*/ 999 h 1000"/>
                <a:gd name="T86" fmla="*/ 660 w 679"/>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9" h="1000">
                  <a:moveTo>
                    <a:pt x="40" y="960"/>
                  </a:moveTo>
                  <a:lnTo>
                    <a:pt x="640" y="960"/>
                  </a:lnTo>
                  <a:lnTo>
                    <a:pt x="640" y="40"/>
                  </a:lnTo>
                  <a:lnTo>
                    <a:pt x="188" y="40"/>
                  </a:lnTo>
                  <a:lnTo>
                    <a:pt x="40" y="189"/>
                  </a:lnTo>
                  <a:lnTo>
                    <a:pt x="40" y="960"/>
                  </a:lnTo>
                  <a:close/>
                  <a:moveTo>
                    <a:pt x="660" y="1000"/>
                  </a:moveTo>
                  <a:lnTo>
                    <a:pt x="20" y="1000"/>
                  </a:lnTo>
                  <a:lnTo>
                    <a:pt x="16" y="999"/>
                  </a:lnTo>
                  <a:lnTo>
                    <a:pt x="13" y="999"/>
                  </a:lnTo>
                  <a:lnTo>
                    <a:pt x="9" y="996"/>
                  </a:lnTo>
                  <a:lnTo>
                    <a:pt x="6" y="994"/>
                  </a:lnTo>
                  <a:lnTo>
                    <a:pt x="4" y="991"/>
                  </a:lnTo>
                  <a:lnTo>
                    <a:pt x="1" y="988"/>
                  </a:lnTo>
                  <a:lnTo>
                    <a:pt x="0" y="984"/>
                  </a:lnTo>
                  <a:lnTo>
                    <a:pt x="0" y="980"/>
                  </a:lnTo>
                  <a:lnTo>
                    <a:pt x="0" y="180"/>
                  </a:lnTo>
                  <a:lnTo>
                    <a:pt x="0" y="176"/>
                  </a:lnTo>
                  <a:lnTo>
                    <a:pt x="1" y="173"/>
                  </a:lnTo>
                  <a:lnTo>
                    <a:pt x="4" y="169"/>
                  </a:lnTo>
                  <a:lnTo>
                    <a:pt x="6" y="165"/>
                  </a:lnTo>
                  <a:lnTo>
                    <a:pt x="165" y="6"/>
                  </a:lnTo>
                  <a:lnTo>
                    <a:pt x="169" y="4"/>
                  </a:lnTo>
                  <a:lnTo>
                    <a:pt x="173" y="1"/>
                  </a:lnTo>
                  <a:lnTo>
                    <a:pt x="176" y="0"/>
                  </a:lnTo>
                  <a:lnTo>
                    <a:pt x="180" y="0"/>
                  </a:lnTo>
                  <a:lnTo>
                    <a:pt x="660" y="0"/>
                  </a:lnTo>
                  <a:lnTo>
                    <a:pt x="663" y="0"/>
                  </a:lnTo>
                  <a:lnTo>
                    <a:pt x="667" y="1"/>
                  </a:lnTo>
                  <a:lnTo>
                    <a:pt x="671" y="4"/>
                  </a:lnTo>
                  <a:lnTo>
                    <a:pt x="673" y="6"/>
                  </a:lnTo>
                  <a:lnTo>
                    <a:pt x="676" y="9"/>
                  </a:lnTo>
                  <a:lnTo>
                    <a:pt x="678" y="12"/>
                  </a:lnTo>
                  <a:lnTo>
                    <a:pt x="679" y="16"/>
                  </a:lnTo>
                  <a:lnTo>
                    <a:pt x="679" y="20"/>
                  </a:lnTo>
                  <a:lnTo>
                    <a:pt x="679" y="980"/>
                  </a:lnTo>
                  <a:lnTo>
                    <a:pt x="679" y="984"/>
                  </a:lnTo>
                  <a:lnTo>
                    <a:pt x="678" y="988"/>
                  </a:lnTo>
                  <a:lnTo>
                    <a:pt x="676" y="991"/>
                  </a:lnTo>
                  <a:lnTo>
                    <a:pt x="673" y="994"/>
                  </a:lnTo>
                  <a:lnTo>
                    <a:pt x="671" y="996"/>
                  </a:lnTo>
                  <a:lnTo>
                    <a:pt x="667" y="999"/>
                  </a:lnTo>
                  <a:lnTo>
                    <a:pt x="663"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9">
              <a:extLst>
                <a:ext uri="{FF2B5EF4-FFF2-40B4-BE49-F238E27FC236}">
                  <a16:creationId xmlns:a16="http://schemas.microsoft.com/office/drawing/2014/main" id="{C8BCEBBC-38F5-4B13-A878-1C0F4DF3CCEB}"/>
                </a:ext>
              </a:extLst>
            </p:cNvPr>
            <p:cNvSpPr>
              <a:spLocks/>
            </p:cNvSpPr>
            <p:nvPr/>
          </p:nvSpPr>
          <p:spPr bwMode="auto">
            <a:xfrm>
              <a:off x="7854254"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6 w 200"/>
                <a:gd name="T11" fmla="*/ 194 h 200"/>
                <a:gd name="T12" fmla="*/ 4 w 200"/>
                <a:gd name="T13" fmla="*/ 191 h 200"/>
                <a:gd name="T14" fmla="*/ 1 w 200"/>
                <a:gd name="T15" fmla="*/ 188 h 200"/>
                <a:gd name="T16" fmla="*/ 0 w 200"/>
                <a:gd name="T17" fmla="*/ 184 h 200"/>
                <a:gd name="T18" fmla="*/ 0 w 200"/>
                <a:gd name="T19" fmla="*/ 180 h 200"/>
                <a:gd name="T20" fmla="*/ 0 w 200"/>
                <a:gd name="T21" fmla="*/ 176 h 200"/>
                <a:gd name="T22" fmla="*/ 1 w 200"/>
                <a:gd name="T23" fmla="*/ 173 h 200"/>
                <a:gd name="T24" fmla="*/ 4 w 200"/>
                <a:gd name="T25" fmla="*/ 169 h 200"/>
                <a:gd name="T26" fmla="*/ 6 w 200"/>
                <a:gd name="T27" fmla="*/ 165 h 200"/>
                <a:gd name="T28" fmla="*/ 9 w 200"/>
                <a:gd name="T29" fmla="*/ 164 h 200"/>
                <a:gd name="T30" fmla="*/ 13 w 200"/>
                <a:gd name="T31" fmla="*/ 162 h 200"/>
                <a:gd name="T32" fmla="*/ 16 w 200"/>
                <a:gd name="T33" fmla="*/ 160 h 200"/>
                <a:gd name="T34" fmla="*/ 20 w 200"/>
                <a:gd name="T35" fmla="*/ 160 h 200"/>
                <a:gd name="T36" fmla="*/ 160 w 200"/>
                <a:gd name="T37" fmla="*/ 160 h 200"/>
                <a:gd name="T38" fmla="*/ 160 w 200"/>
                <a:gd name="T39" fmla="*/ 20 h 200"/>
                <a:gd name="T40" fmla="*/ 160 w 200"/>
                <a:gd name="T41" fmla="*/ 16 h 200"/>
                <a:gd name="T42" fmla="*/ 162 w 200"/>
                <a:gd name="T43" fmla="*/ 12 h 200"/>
                <a:gd name="T44" fmla="*/ 163 w 200"/>
                <a:gd name="T45" fmla="*/ 9 h 200"/>
                <a:gd name="T46" fmla="*/ 165 w 200"/>
                <a:gd name="T47" fmla="*/ 6 h 200"/>
                <a:gd name="T48" fmla="*/ 169 w 200"/>
                <a:gd name="T49" fmla="*/ 4 h 200"/>
                <a:gd name="T50" fmla="*/ 171 w 200"/>
                <a:gd name="T51" fmla="*/ 1 h 200"/>
                <a:gd name="T52" fmla="*/ 175 w 200"/>
                <a:gd name="T53" fmla="*/ 0 h 200"/>
                <a:gd name="T54" fmla="*/ 180 w 200"/>
                <a:gd name="T55" fmla="*/ 0 h 200"/>
                <a:gd name="T56" fmla="*/ 184 w 200"/>
                <a:gd name="T57" fmla="*/ 0 h 200"/>
                <a:gd name="T58" fmla="*/ 188 w 200"/>
                <a:gd name="T59" fmla="*/ 1 h 200"/>
                <a:gd name="T60" fmla="*/ 191 w 200"/>
                <a:gd name="T61" fmla="*/ 4 h 200"/>
                <a:gd name="T62" fmla="*/ 194 w 200"/>
                <a:gd name="T63" fmla="*/ 6 h 200"/>
                <a:gd name="T64" fmla="*/ 196 w 200"/>
                <a:gd name="T65" fmla="*/ 9 h 200"/>
                <a:gd name="T66" fmla="*/ 199 w 200"/>
                <a:gd name="T67" fmla="*/ 12 h 200"/>
                <a:gd name="T68" fmla="*/ 199 w 200"/>
                <a:gd name="T69" fmla="*/ 16 h 200"/>
                <a:gd name="T70" fmla="*/ 200 w 200"/>
                <a:gd name="T71" fmla="*/ 20 h 200"/>
                <a:gd name="T72" fmla="*/ 200 w 200"/>
                <a:gd name="T73" fmla="*/ 180 h 200"/>
                <a:gd name="T74" fmla="*/ 199 w 200"/>
                <a:gd name="T75" fmla="*/ 184 h 200"/>
                <a:gd name="T76" fmla="*/ 199 w 200"/>
                <a:gd name="T77" fmla="*/ 188 h 200"/>
                <a:gd name="T78" fmla="*/ 196 w 200"/>
                <a:gd name="T79" fmla="*/ 191 h 200"/>
                <a:gd name="T80" fmla="*/ 194 w 200"/>
                <a:gd name="T81" fmla="*/ 194 h 200"/>
                <a:gd name="T82" fmla="*/ 191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6" y="194"/>
                  </a:lnTo>
                  <a:lnTo>
                    <a:pt x="4" y="191"/>
                  </a:lnTo>
                  <a:lnTo>
                    <a:pt x="1" y="188"/>
                  </a:lnTo>
                  <a:lnTo>
                    <a:pt x="0" y="184"/>
                  </a:lnTo>
                  <a:lnTo>
                    <a:pt x="0" y="180"/>
                  </a:lnTo>
                  <a:lnTo>
                    <a:pt x="0" y="176"/>
                  </a:lnTo>
                  <a:lnTo>
                    <a:pt x="1" y="173"/>
                  </a:lnTo>
                  <a:lnTo>
                    <a:pt x="4" y="169"/>
                  </a:lnTo>
                  <a:lnTo>
                    <a:pt x="6" y="165"/>
                  </a:lnTo>
                  <a:lnTo>
                    <a:pt x="9" y="164"/>
                  </a:lnTo>
                  <a:lnTo>
                    <a:pt x="13" y="162"/>
                  </a:lnTo>
                  <a:lnTo>
                    <a:pt x="16" y="160"/>
                  </a:lnTo>
                  <a:lnTo>
                    <a:pt x="20" y="160"/>
                  </a:lnTo>
                  <a:lnTo>
                    <a:pt x="160" y="160"/>
                  </a:lnTo>
                  <a:lnTo>
                    <a:pt x="160" y="20"/>
                  </a:lnTo>
                  <a:lnTo>
                    <a:pt x="160" y="16"/>
                  </a:lnTo>
                  <a:lnTo>
                    <a:pt x="162" y="12"/>
                  </a:lnTo>
                  <a:lnTo>
                    <a:pt x="163" y="9"/>
                  </a:lnTo>
                  <a:lnTo>
                    <a:pt x="165" y="6"/>
                  </a:lnTo>
                  <a:lnTo>
                    <a:pt x="169" y="4"/>
                  </a:lnTo>
                  <a:lnTo>
                    <a:pt x="171" y="1"/>
                  </a:lnTo>
                  <a:lnTo>
                    <a:pt x="175" y="0"/>
                  </a:lnTo>
                  <a:lnTo>
                    <a:pt x="180" y="0"/>
                  </a:lnTo>
                  <a:lnTo>
                    <a:pt x="184" y="0"/>
                  </a:lnTo>
                  <a:lnTo>
                    <a:pt x="188" y="1"/>
                  </a:lnTo>
                  <a:lnTo>
                    <a:pt x="191" y="4"/>
                  </a:lnTo>
                  <a:lnTo>
                    <a:pt x="194" y="6"/>
                  </a:lnTo>
                  <a:lnTo>
                    <a:pt x="196" y="9"/>
                  </a:lnTo>
                  <a:lnTo>
                    <a:pt x="199" y="12"/>
                  </a:lnTo>
                  <a:lnTo>
                    <a:pt x="199" y="16"/>
                  </a:lnTo>
                  <a:lnTo>
                    <a:pt x="200" y="20"/>
                  </a:lnTo>
                  <a:lnTo>
                    <a:pt x="200" y="180"/>
                  </a:lnTo>
                  <a:lnTo>
                    <a:pt x="199" y="184"/>
                  </a:lnTo>
                  <a:lnTo>
                    <a:pt x="199" y="188"/>
                  </a:lnTo>
                  <a:lnTo>
                    <a:pt x="196" y="191"/>
                  </a:lnTo>
                  <a:lnTo>
                    <a:pt x="194" y="194"/>
                  </a:lnTo>
                  <a:lnTo>
                    <a:pt x="191"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94">
              <a:extLst>
                <a:ext uri="{FF2B5EF4-FFF2-40B4-BE49-F238E27FC236}">
                  <a16:creationId xmlns:a16="http://schemas.microsoft.com/office/drawing/2014/main" id="{B7E8A2EC-82D7-40A2-975B-9A429F0905A8}"/>
                </a:ext>
              </a:extLst>
            </p:cNvPr>
            <p:cNvSpPr>
              <a:spLocks noEditPoints="1"/>
            </p:cNvSpPr>
            <p:nvPr/>
          </p:nvSpPr>
          <p:spPr bwMode="auto">
            <a:xfrm>
              <a:off x="7977867" y="1849138"/>
              <a:ext cx="171582" cy="368994"/>
            </a:xfrm>
            <a:custGeom>
              <a:avLst/>
              <a:gdLst>
                <a:gd name="T0" fmla="*/ 240 w 279"/>
                <a:gd name="T1" fmla="*/ 560 h 600"/>
                <a:gd name="T2" fmla="*/ 163 w 279"/>
                <a:gd name="T3" fmla="*/ 312 h 600"/>
                <a:gd name="T4" fmla="*/ 160 w 279"/>
                <a:gd name="T5" fmla="*/ 300 h 600"/>
                <a:gd name="T6" fmla="*/ 163 w 279"/>
                <a:gd name="T7" fmla="*/ 289 h 600"/>
                <a:gd name="T8" fmla="*/ 240 w 279"/>
                <a:gd name="T9" fmla="*/ 40 h 600"/>
                <a:gd name="T10" fmla="*/ 40 w 279"/>
                <a:gd name="T11" fmla="*/ 174 h 600"/>
                <a:gd name="T12" fmla="*/ 119 w 279"/>
                <a:gd name="T13" fmla="*/ 294 h 600"/>
                <a:gd name="T14" fmla="*/ 119 w 279"/>
                <a:gd name="T15" fmla="*/ 305 h 600"/>
                <a:gd name="T16" fmla="*/ 40 w 279"/>
                <a:gd name="T17" fmla="*/ 426 h 600"/>
                <a:gd name="T18" fmla="*/ 260 w 279"/>
                <a:gd name="T19" fmla="*/ 600 h 600"/>
                <a:gd name="T20" fmla="*/ 16 w 279"/>
                <a:gd name="T21" fmla="*/ 600 h 600"/>
                <a:gd name="T22" fmla="*/ 9 w 279"/>
                <a:gd name="T23" fmla="*/ 596 h 600"/>
                <a:gd name="T24" fmla="*/ 4 w 279"/>
                <a:gd name="T25" fmla="*/ 591 h 600"/>
                <a:gd name="T26" fmla="*/ 0 w 279"/>
                <a:gd name="T27" fmla="*/ 584 h 600"/>
                <a:gd name="T28" fmla="*/ 0 w 279"/>
                <a:gd name="T29" fmla="*/ 420 h 600"/>
                <a:gd name="T30" fmla="*/ 3 w 279"/>
                <a:gd name="T31" fmla="*/ 409 h 600"/>
                <a:gd name="T32" fmla="*/ 4 w 279"/>
                <a:gd name="T33" fmla="*/ 191 h 600"/>
                <a:gd name="T34" fmla="*/ 0 w 279"/>
                <a:gd name="T35" fmla="*/ 180 h 600"/>
                <a:gd name="T36" fmla="*/ 0 w 279"/>
                <a:gd name="T37" fmla="*/ 16 h 600"/>
                <a:gd name="T38" fmla="*/ 4 w 279"/>
                <a:gd name="T39" fmla="*/ 8 h 600"/>
                <a:gd name="T40" fmla="*/ 9 w 279"/>
                <a:gd name="T41" fmla="*/ 4 h 600"/>
                <a:gd name="T42" fmla="*/ 16 w 279"/>
                <a:gd name="T43" fmla="*/ 0 h 600"/>
                <a:gd name="T44" fmla="*/ 260 w 279"/>
                <a:gd name="T45" fmla="*/ 0 h 600"/>
                <a:gd name="T46" fmla="*/ 267 w 279"/>
                <a:gd name="T47" fmla="*/ 1 h 600"/>
                <a:gd name="T48" fmla="*/ 273 w 279"/>
                <a:gd name="T49" fmla="*/ 6 h 600"/>
                <a:gd name="T50" fmla="*/ 278 w 279"/>
                <a:gd name="T51" fmla="*/ 12 h 600"/>
                <a:gd name="T52" fmla="*/ 279 w 279"/>
                <a:gd name="T53" fmla="*/ 20 h 600"/>
                <a:gd name="T54" fmla="*/ 278 w 279"/>
                <a:gd name="T55" fmla="*/ 186 h 600"/>
                <a:gd name="T56" fmla="*/ 204 w 279"/>
                <a:gd name="T57" fmla="*/ 300 h 600"/>
                <a:gd name="T58" fmla="*/ 278 w 279"/>
                <a:gd name="T59" fmla="*/ 415 h 600"/>
                <a:gd name="T60" fmla="*/ 279 w 279"/>
                <a:gd name="T61" fmla="*/ 580 h 600"/>
                <a:gd name="T62" fmla="*/ 278 w 279"/>
                <a:gd name="T63" fmla="*/ 587 h 600"/>
                <a:gd name="T64" fmla="*/ 273 w 279"/>
                <a:gd name="T65" fmla="*/ 594 h 600"/>
                <a:gd name="T66" fmla="*/ 267 w 279"/>
                <a:gd name="T67" fmla="*/ 599 h 600"/>
                <a:gd name="T68" fmla="*/ 260 w 279"/>
                <a:gd name="T69"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600">
                  <a:moveTo>
                    <a:pt x="40" y="560"/>
                  </a:moveTo>
                  <a:lnTo>
                    <a:pt x="240" y="560"/>
                  </a:lnTo>
                  <a:lnTo>
                    <a:pt x="240" y="426"/>
                  </a:lnTo>
                  <a:lnTo>
                    <a:pt x="163" y="312"/>
                  </a:lnTo>
                  <a:lnTo>
                    <a:pt x="160" y="305"/>
                  </a:lnTo>
                  <a:lnTo>
                    <a:pt x="160" y="300"/>
                  </a:lnTo>
                  <a:lnTo>
                    <a:pt x="160" y="294"/>
                  </a:lnTo>
                  <a:lnTo>
                    <a:pt x="163" y="289"/>
                  </a:lnTo>
                  <a:lnTo>
                    <a:pt x="240" y="174"/>
                  </a:lnTo>
                  <a:lnTo>
                    <a:pt x="240" y="40"/>
                  </a:lnTo>
                  <a:lnTo>
                    <a:pt x="40" y="40"/>
                  </a:lnTo>
                  <a:lnTo>
                    <a:pt x="40" y="174"/>
                  </a:lnTo>
                  <a:lnTo>
                    <a:pt x="117" y="289"/>
                  </a:lnTo>
                  <a:lnTo>
                    <a:pt x="119" y="294"/>
                  </a:lnTo>
                  <a:lnTo>
                    <a:pt x="119" y="300"/>
                  </a:lnTo>
                  <a:lnTo>
                    <a:pt x="119" y="305"/>
                  </a:lnTo>
                  <a:lnTo>
                    <a:pt x="117" y="312"/>
                  </a:lnTo>
                  <a:lnTo>
                    <a:pt x="40" y="426"/>
                  </a:lnTo>
                  <a:lnTo>
                    <a:pt x="40" y="560"/>
                  </a:lnTo>
                  <a:close/>
                  <a:moveTo>
                    <a:pt x="260" y="600"/>
                  </a:moveTo>
                  <a:lnTo>
                    <a:pt x="20" y="600"/>
                  </a:lnTo>
                  <a:lnTo>
                    <a:pt x="16" y="600"/>
                  </a:lnTo>
                  <a:lnTo>
                    <a:pt x="12" y="599"/>
                  </a:lnTo>
                  <a:lnTo>
                    <a:pt x="9" y="596"/>
                  </a:lnTo>
                  <a:lnTo>
                    <a:pt x="6" y="594"/>
                  </a:lnTo>
                  <a:lnTo>
                    <a:pt x="4" y="591"/>
                  </a:lnTo>
                  <a:lnTo>
                    <a:pt x="1" y="587"/>
                  </a:lnTo>
                  <a:lnTo>
                    <a:pt x="0" y="584"/>
                  </a:lnTo>
                  <a:lnTo>
                    <a:pt x="0" y="580"/>
                  </a:lnTo>
                  <a:lnTo>
                    <a:pt x="0" y="420"/>
                  </a:lnTo>
                  <a:lnTo>
                    <a:pt x="0" y="415"/>
                  </a:lnTo>
                  <a:lnTo>
                    <a:pt x="3" y="409"/>
                  </a:lnTo>
                  <a:lnTo>
                    <a:pt x="76" y="300"/>
                  </a:lnTo>
                  <a:lnTo>
                    <a:pt x="4" y="191"/>
                  </a:lnTo>
                  <a:lnTo>
                    <a:pt x="0" y="186"/>
                  </a:lnTo>
                  <a:lnTo>
                    <a:pt x="0" y="180"/>
                  </a:lnTo>
                  <a:lnTo>
                    <a:pt x="0" y="20"/>
                  </a:lnTo>
                  <a:lnTo>
                    <a:pt x="0" y="16"/>
                  </a:lnTo>
                  <a:lnTo>
                    <a:pt x="1" y="12"/>
                  </a:lnTo>
                  <a:lnTo>
                    <a:pt x="4" y="8"/>
                  </a:lnTo>
                  <a:lnTo>
                    <a:pt x="6" y="6"/>
                  </a:lnTo>
                  <a:lnTo>
                    <a:pt x="9" y="4"/>
                  </a:lnTo>
                  <a:lnTo>
                    <a:pt x="12" y="1"/>
                  </a:lnTo>
                  <a:lnTo>
                    <a:pt x="16" y="0"/>
                  </a:lnTo>
                  <a:lnTo>
                    <a:pt x="20" y="0"/>
                  </a:lnTo>
                  <a:lnTo>
                    <a:pt x="260" y="0"/>
                  </a:lnTo>
                  <a:lnTo>
                    <a:pt x="263" y="0"/>
                  </a:lnTo>
                  <a:lnTo>
                    <a:pt x="267" y="1"/>
                  </a:lnTo>
                  <a:lnTo>
                    <a:pt x="271" y="4"/>
                  </a:lnTo>
                  <a:lnTo>
                    <a:pt x="273" y="6"/>
                  </a:lnTo>
                  <a:lnTo>
                    <a:pt x="276" y="8"/>
                  </a:lnTo>
                  <a:lnTo>
                    <a:pt x="278" y="12"/>
                  </a:lnTo>
                  <a:lnTo>
                    <a:pt x="279" y="16"/>
                  </a:lnTo>
                  <a:lnTo>
                    <a:pt x="279" y="20"/>
                  </a:lnTo>
                  <a:lnTo>
                    <a:pt x="279" y="180"/>
                  </a:lnTo>
                  <a:lnTo>
                    <a:pt x="278" y="186"/>
                  </a:lnTo>
                  <a:lnTo>
                    <a:pt x="276" y="191"/>
                  </a:lnTo>
                  <a:lnTo>
                    <a:pt x="204" y="300"/>
                  </a:lnTo>
                  <a:lnTo>
                    <a:pt x="276" y="409"/>
                  </a:lnTo>
                  <a:lnTo>
                    <a:pt x="278" y="415"/>
                  </a:lnTo>
                  <a:lnTo>
                    <a:pt x="279" y="420"/>
                  </a:lnTo>
                  <a:lnTo>
                    <a:pt x="279" y="580"/>
                  </a:lnTo>
                  <a:lnTo>
                    <a:pt x="279" y="584"/>
                  </a:lnTo>
                  <a:lnTo>
                    <a:pt x="278" y="587"/>
                  </a:lnTo>
                  <a:lnTo>
                    <a:pt x="276" y="591"/>
                  </a:lnTo>
                  <a:lnTo>
                    <a:pt x="273" y="594"/>
                  </a:lnTo>
                  <a:lnTo>
                    <a:pt x="271" y="596"/>
                  </a:lnTo>
                  <a:lnTo>
                    <a:pt x="267" y="599"/>
                  </a:lnTo>
                  <a:lnTo>
                    <a:pt x="263" y="600"/>
                  </a:lnTo>
                  <a:lnTo>
                    <a:pt x="260"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95">
              <a:extLst>
                <a:ext uri="{FF2B5EF4-FFF2-40B4-BE49-F238E27FC236}">
                  <a16:creationId xmlns:a16="http://schemas.microsoft.com/office/drawing/2014/main" id="{8C1AF9DB-D267-412C-AC58-1FCB9185EA3C}"/>
                </a:ext>
              </a:extLst>
            </p:cNvPr>
            <p:cNvSpPr>
              <a:spLocks/>
            </p:cNvSpPr>
            <p:nvPr/>
          </p:nvSpPr>
          <p:spPr bwMode="auto">
            <a:xfrm>
              <a:off x="7977867" y="2144333"/>
              <a:ext cx="171582" cy="23985"/>
            </a:xfrm>
            <a:custGeom>
              <a:avLst/>
              <a:gdLst>
                <a:gd name="T0" fmla="*/ 260 w 279"/>
                <a:gd name="T1" fmla="*/ 41 h 41"/>
                <a:gd name="T2" fmla="*/ 20 w 279"/>
                <a:gd name="T3" fmla="*/ 41 h 41"/>
                <a:gd name="T4" fmla="*/ 16 w 279"/>
                <a:gd name="T5" fmla="*/ 40 h 41"/>
                <a:gd name="T6" fmla="*/ 12 w 279"/>
                <a:gd name="T7" fmla="*/ 39 h 41"/>
                <a:gd name="T8" fmla="*/ 9 w 279"/>
                <a:gd name="T9" fmla="*/ 38 h 41"/>
                <a:gd name="T10" fmla="*/ 6 w 279"/>
                <a:gd name="T11" fmla="*/ 35 h 41"/>
                <a:gd name="T12" fmla="*/ 4 w 279"/>
                <a:gd name="T13" fmla="*/ 33 h 41"/>
                <a:gd name="T14" fmla="*/ 1 w 279"/>
                <a:gd name="T15" fmla="*/ 29 h 41"/>
                <a:gd name="T16" fmla="*/ 0 w 279"/>
                <a:gd name="T17" fmla="*/ 25 h 41"/>
                <a:gd name="T18" fmla="*/ 0 w 279"/>
                <a:gd name="T19" fmla="*/ 21 h 41"/>
                <a:gd name="T20" fmla="*/ 0 w 279"/>
                <a:gd name="T21" fmla="*/ 16 h 41"/>
                <a:gd name="T22" fmla="*/ 1 w 279"/>
                <a:gd name="T23" fmla="*/ 13 h 41"/>
                <a:gd name="T24" fmla="*/ 4 w 279"/>
                <a:gd name="T25" fmla="*/ 10 h 41"/>
                <a:gd name="T26" fmla="*/ 6 w 279"/>
                <a:gd name="T27" fmla="*/ 7 h 41"/>
                <a:gd name="T28" fmla="*/ 9 w 279"/>
                <a:gd name="T29" fmla="*/ 4 h 41"/>
                <a:gd name="T30" fmla="*/ 12 w 279"/>
                <a:gd name="T31" fmla="*/ 3 h 41"/>
                <a:gd name="T32" fmla="*/ 16 w 279"/>
                <a:gd name="T33" fmla="*/ 2 h 41"/>
                <a:gd name="T34" fmla="*/ 20 w 279"/>
                <a:gd name="T35" fmla="*/ 0 h 41"/>
                <a:gd name="T36" fmla="*/ 260 w 279"/>
                <a:gd name="T37" fmla="*/ 0 h 41"/>
                <a:gd name="T38" fmla="*/ 263 w 279"/>
                <a:gd name="T39" fmla="*/ 2 h 41"/>
                <a:gd name="T40" fmla="*/ 267 w 279"/>
                <a:gd name="T41" fmla="*/ 3 h 41"/>
                <a:gd name="T42" fmla="*/ 271 w 279"/>
                <a:gd name="T43" fmla="*/ 4 h 41"/>
                <a:gd name="T44" fmla="*/ 273 w 279"/>
                <a:gd name="T45" fmla="*/ 7 h 41"/>
                <a:gd name="T46" fmla="*/ 276 w 279"/>
                <a:gd name="T47" fmla="*/ 10 h 41"/>
                <a:gd name="T48" fmla="*/ 278 w 279"/>
                <a:gd name="T49" fmla="*/ 13 h 41"/>
                <a:gd name="T50" fmla="*/ 279 w 279"/>
                <a:gd name="T51" fmla="*/ 16 h 41"/>
                <a:gd name="T52" fmla="*/ 279 w 279"/>
                <a:gd name="T53" fmla="*/ 21 h 41"/>
                <a:gd name="T54" fmla="*/ 279 w 279"/>
                <a:gd name="T55" fmla="*/ 25 h 41"/>
                <a:gd name="T56" fmla="*/ 278 w 279"/>
                <a:gd name="T57" fmla="*/ 29 h 41"/>
                <a:gd name="T58" fmla="*/ 276 w 279"/>
                <a:gd name="T59" fmla="*/ 33 h 41"/>
                <a:gd name="T60" fmla="*/ 273 w 279"/>
                <a:gd name="T61" fmla="*/ 35 h 41"/>
                <a:gd name="T62" fmla="*/ 271 w 279"/>
                <a:gd name="T63" fmla="*/ 38 h 41"/>
                <a:gd name="T64" fmla="*/ 267 w 279"/>
                <a:gd name="T65" fmla="*/ 39 h 41"/>
                <a:gd name="T66" fmla="*/ 263 w 279"/>
                <a:gd name="T67" fmla="*/ 40 h 41"/>
                <a:gd name="T68" fmla="*/ 260 w 279"/>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41">
                  <a:moveTo>
                    <a:pt x="260" y="41"/>
                  </a:moveTo>
                  <a:lnTo>
                    <a:pt x="20" y="41"/>
                  </a:lnTo>
                  <a:lnTo>
                    <a:pt x="16" y="40"/>
                  </a:lnTo>
                  <a:lnTo>
                    <a:pt x="12" y="39"/>
                  </a:lnTo>
                  <a:lnTo>
                    <a:pt x="9" y="38"/>
                  </a:lnTo>
                  <a:lnTo>
                    <a:pt x="6" y="35"/>
                  </a:lnTo>
                  <a:lnTo>
                    <a:pt x="4" y="33"/>
                  </a:lnTo>
                  <a:lnTo>
                    <a:pt x="1" y="29"/>
                  </a:lnTo>
                  <a:lnTo>
                    <a:pt x="0" y="25"/>
                  </a:lnTo>
                  <a:lnTo>
                    <a:pt x="0" y="21"/>
                  </a:lnTo>
                  <a:lnTo>
                    <a:pt x="0" y="16"/>
                  </a:lnTo>
                  <a:lnTo>
                    <a:pt x="1" y="13"/>
                  </a:lnTo>
                  <a:lnTo>
                    <a:pt x="4" y="10"/>
                  </a:lnTo>
                  <a:lnTo>
                    <a:pt x="6" y="7"/>
                  </a:lnTo>
                  <a:lnTo>
                    <a:pt x="9" y="4"/>
                  </a:lnTo>
                  <a:lnTo>
                    <a:pt x="12" y="3"/>
                  </a:lnTo>
                  <a:lnTo>
                    <a:pt x="16" y="2"/>
                  </a:lnTo>
                  <a:lnTo>
                    <a:pt x="20" y="0"/>
                  </a:lnTo>
                  <a:lnTo>
                    <a:pt x="260" y="0"/>
                  </a:lnTo>
                  <a:lnTo>
                    <a:pt x="263" y="2"/>
                  </a:lnTo>
                  <a:lnTo>
                    <a:pt x="267" y="3"/>
                  </a:lnTo>
                  <a:lnTo>
                    <a:pt x="271" y="4"/>
                  </a:lnTo>
                  <a:lnTo>
                    <a:pt x="273" y="7"/>
                  </a:lnTo>
                  <a:lnTo>
                    <a:pt x="276" y="10"/>
                  </a:lnTo>
                  <a:lnTo>
                    <a:pt x="278" y="13"/>
                  </a:lnTo>
                  <a:lnTo>
                    <a:pt x="279" y="16"/>
                  </a:lnTo>
                  <a:lnTo>
                    <a:pt x="279" y="21"/>
                  </a:lnTo>
                  <a:lnTo>
                    <a:pt x="279" y="25"/>
                  </a:lnTo>
                  <a:lnTo>
                    <a:pt x="278" y="29"/>
                  </a:lnTo>
                  <a:lnTo>
                    <a:pt x="276" y="33"/>
                  </a:lnTo>
                  <a:lnTo>
                    <a:pt x="273" y="35"/>
                  </a:lnTo>
                  <a:lnTo>
                    <a:pt x="271" y="38"/>
                  </a:lnTo>
                  <a:lnTo>
                    <a:pt x="267" y="39"/>
                  </a:lnTo>
                  <a:lnTo>
                    <a:pt x="263" y="40"/>
                  </a:lnTo>
                  <a:lnTo>
                    <a:pt x="26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96">
              <a:extLst>
                <a:ext uri="{FF2B5EF4-FFF2-40B4-BE49-F238E27FC236}">
                  <a16:creationId xmlns:a16="http://schemas.microsoft.com/office/drawing/2014/main" id="{3F22E23D-C307-49E7-B892-D42DE5E93B48}"/>
                </a:ext>
              </a:extLst>
            </p:cNvPr>
            <p:cNvSpPr>
              <a:spLocks/>
            </p:cNvSpPr>
            <p:nvPr/>
          </p:nvSpPr>
          <p:spPr bwMode="auto">
            <a:xfrm>
              <a:off x="7977867" y="1898953"/>
              <a:ext cx="171582" cy="23985"/>
            </a:xfrm>
            <a:custGeom>
              <a:avLst/>
              <a:gdLst>
                <a:gd name="T0" fmla="*/ 260 w 279"/>
                <a:gd name="T1" fmla="*/ 39 h 39"/>
                <a:gd name="T2" fmla="*/ 20 w 279"/>
                <a:gd name="T3" fmla="*/ 39 h 39"/>
                <a:gd name="T4" fmla="*/ 16 w 279"/>
                <a:gd name="T5" fmla="*/ 38 h 39"/>
                <a:gd name="T6" fmla="*/ 12 w 279"/>
                <a:gd name="T7" fmla="*/ 37 h 39"/>
                <a:gd name="T8" fmla="*/ 9 w 279"/>
                <a:gd name="T9" fmla="*/ 36 h 39"/>
                <a:gd name="T10" fmla="*/ 6 w 279"/>
                <a:gd name="T11" fmla="*/ 33 h 39"/>
                <a:gd name="T12" fmla="*/ 4 w 279"/>
                <a:gd name="T13" fmla="*/ 31 h 39"/>
                <a:gd name="T14" fmla="*/ 1 w 279"/>
                <a:gd name="T15" fmla="*/ 27 h 39"/>
                <a:gd name="T16" fmla="*/ 0 w 279"/>
                <a:gd name="T17" fmla="*/ 23 h 39"/>
                <a:gd name="T18" fmla="*/ 0 w 279"/>
                <a:gd name="T19" fmla="*/ 19 h 39"/>
                <a:gd name="T20" fmla="*/ 0 w 279"/>
                <a:gd name="T21" fmla="*/ 14 h 39"/>
                <a:gd name="T22" fmla="*/ 1 w 279"/>
                <a:gd name="T23" fmla="*/ 11 h 39"/>
                <a:gd name="T24" fmla="*/ 4 w 279"/>
                <a:gd name="T25" fmla="*/ 8 h 39"/>
                <a:gd name="T26" fmla="*/ 6 w 279"/>
                <a:gd name="T27" fmla="*/ 4 h 39"/>
                <a:gd name="T28" fmla="*/ 9 w 279"/>
                <a:gd name="T29" fmla="*/ 2 h 39"/>
                <a:gd name="T30" fmla="*/ 12 w 279"/>
                <a:gd name="T31" fmla="*/ 1 h 39"/>
                <a:gd name="T32" fmla="*/ 16 w 279"/>
                <a:gd name="T33" fmla="*/ 0 h 39"/>
                <a:gd name="T34" fmla="*/ 20 w 279"/>
                <a:gd name="T35" fmla="*/ 0 h 39"/>
                <a:gd name="T36" fmla="*/ 260 w 279"/>
                <a:gd name="T37" fmla="*/ 0 h 39"/>
                <a:gd name="T38" fmla="*/ 263 w 279"/>
                <a:gd name="T39" fmla="*/ 0 h 39"/>
                <a:gd name="T40" fmla="*/ 267 w 279"/>
                <a:gd name="T41" fmla="*/ 1 h 39"/>
                <a:gd name="T42" fmla="*/ 271 w 279"/>
                <a:gd name="T43" fmla="*/ 2 h 39"/>
                <a:gd name="T44" fmla="*/ 273 w 279"/>
                <a:gd name="T45" fmla="*/ 4 h 39"/>
                <a:gd name="T46" fmla="*/ 276 w 279"/>
                <a:gd name="T47" fmla="*/ 8 h 39"/>
                <a:gd name="T48" fmla="*/ 278 w 279"/>
                <a:gd name="T49" fmla="*/ 11 h 39"/>
                <a:gd name="T50" fmla="*/ 279 w 279"/>
                <a:gd name="T51" fmla="*/ 14 h 39"/>
                <a:gd name="T52" fmla="*/ 279 w 279"/>
                <a:gd name="T53" fmla="*/ 19 h 39"/>
                <a:gd name="T54" fmla="*/ 279 w 279"/>
                <a:gd name="T55" fmla="*/ 23 h 39"/>
                <a:gd name="T56" fmla="*/ 278 w 279"/>
                <a:gd name="T57" fmla="*/ 27 h 39"/>
                <a:gd name="T58" fmla="*/ 276 w 279"/>
                <a:gd name="T59" fmla="*/ 31 h 39"/>
                <a:gd name="T60" fmla="*/ 273 w 279"/>
                <a:gd name="T61" fmla="*/ 33 h 39"/>
                <a:gd name="T62" fmla="*/ 271 w 279"/>
                <a:gd name="T63" fmla="*/ 36 h 39"/>
                <a:gd name="T64" fmla="*/ 267 w 279"/>
                <a:gd name="T65" fmla="*/ 37 h 39"/>
                <a:gd name="T66" fmla="*/ 263 w 279"/>
                <a:gd name="T67" fmla="*/ 38 h 39"/>
                <a:gd name="T68" fmla="*/ 260 w 279"/>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39">
                  <a:moveTo>
                    <a:pt x="260" y="39"/>
                  </a:moveTo>
                  <a:lnTo>
                    <a:pt x="20" y="39"/>
                  </a:lnTo>
                  <a:lnTo>
                    <a:pt x="16" y="38"/>
                  </a:lnTo>
                  <a:lnTo>
                    <a:pt x="12" y="37"/>
                  </a:lnTo>
                  <a:lnTo>
                    <a:pt x="9" y="36"/>
                  </a:lnTo>
                  <a:lnTo>
                    <a:pt x="6" y="33"/>
                  </a:lnTo>
                  <a:lnTo>
                    <a:pt x="4" y="31"/>
                  </a:lnTo>
                  <a:lnTo>
                    <a:pt x="1" y="27"/>
                  </a:lnTo>
                  <a:lnTo>
                    <a:pt x="0" y="23"/>
                  </a:lnTo>
                  <a:lnTo>
                    <a:pt x="0" y="19"/>
                  </a:lnTo>
                  <a:lnTo>
                    <a:pt x="0" y="14"/>
                  </a:lnTo>
                  <a:lnTo>
                    <a:pt x="1" y="11"/>
                  </a:lnTo>
                  <a:lnTo>
                    <a:pt x="4" y="8"/>
                  </a:lnTo>
                  <a:lnTo>
                    <a:pt x="6" y="4"/>
                  </a:lnTo>
                  <a:lnTo>
                    <a:pt x="9" y="2"/>
                  </a:lnTo>
                  <a:lnTo>
                    <a:pt x="12" y="1"/>
                  </a:lnTo>
                  <a:lnTo>
                    <a:pt x="16" y="0"/>
                  </a:lnTo>
                  <a:lnTo>
                    <a:pt x="20" y="0"/>
                  </a:lnTo>
                  <a:lnTo>
                    <a:pt x="260" y="0"/>
                  </a:lnTo>
                  <a:lnTo>
                    <a:pt x="263" y="0"/>
                  </a:lnTo>
                  <a:lnTo>
                    <a:pt x="267" y="1"/>
                  </a:lnTo>
                  <a:lnTo>
                    <a:pt x="271" y="2"/>
                  </a:lnTo>
                  <a:lnTo>
                    <a:pt x="273" y="4"/>
                  </a:lnTo>
                  <a:lnTo>
                    <a:pt x="276" y="8"/>
                  </a:lnTo>
                  <a:lnTo>
                    <a:pt x="278" y="11"/>
                  </a:lnTo>
                  <a:lnTo>
                    <a:pt x="279" y="14"/>
                  </a:lnTo>
                  <a:lnTo>
                    <a:pt x="279" y="19"/>
                  </a:lnTo>
                  <a:lnTo>
                    <a:pt x="279" y="23"/>
                  </a:lnTo>
                  <a:lnTo>
                    <a:pt x="278" y="27"/>
                  </a:lnTo>
                  <a:lnTo>
                    <a:pt x="276" y="31"/>
                  </a:lnTo>
                  <a:lnTo>
                    <a:pt x="273" y="33"/>
                  </a:lnTo>
                  <a:lnTo>
                    <a:pt x="271" y="36"/>
                  </a:lnTo>
                  <a:lnTo>
                    <a:pt x="267" y="37"/>
                  </a:lnTo>
                  <a:lnTo>
                    <a:pt x="263" y="38"/>
                  </a:lnTo>
                  <a:lnTo>
                    <a:pt x="26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9" name="Group 36">
            <a:extLst>
              <a:ext uri="{FF2B5EF4-FFF2-40B4-BE49-F238E27FC236}">
                <a16:creationId xmlns:a16="http://schemas.microsoft.com/office/drawing/2014/main" id="{A7F101BE-92D6-4E85-9EB8-707B0ED8B062}"/>
              </a:ext>
            </a:extLst>
          </p:cNvPr>
          <p:cNvGrpSpPr>
            <a:grpSpLocks noChangeAspect="1"/>
          </p:cNvGrpSpPr>
          <p:nvPr/>
        </p:nvGrpSpPr>
        <p:grpSpPr>
          <a:xfrm>
            <a:off x="3650322" y="4345739"/>
            <a:ext cx="306484" cy="306484"/>
            <a:chOff x="885825" y="1925638"/>
            <a:chExt cx="287338" cy="287338"/>
          </a:xfrm>
          <a:solidFill>
            <a:schemeClr val="bg2"/>
          </a:solidFill>
          <a:effectLst/>
        </p:grpSpPr>
        <p:sp>
          <p:nvSpPr>
            <p:cNvPr id="410" name="Freeform 50">
              <a:extLst>
                <a:ext uri="{FF2B5EF4-FFF2-40B4-BE49-F238E27FC236}">
                  <a16:creationId xmlns:a16="http://schemas.microsoft.com/office/drawing/2014/main" id="{DFD17062-600A-4F53-A60B-4B775AA82DDD}"/>
                </a:ext>
              </a:extLst>
            </p:cNvPr>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51">
              <a:extLst>
                <a:ext uri="{FF2B5EF4-FFF2-40B4-BE49-F238E27FC236}">
                  <a16:creationId xmlns:a16="http://schemas.microsoft.com/office/drawing/2014/main" id="{3CA03942-3D88-4449-AE5A-D01639B5AC1B}"/>
                </a:ext>
              </a:extLst>
            </p:cNvPr>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52">
              <a:extLst>
                <a:ext uri="{FF2B5EF4-FFF2-40B4-BE49-F238E27FC236}">
                  <a16:creationId xmlns:a16="http://schemas.microsoft.com/office/drawing/2014/main" id="{1A4A5866-AB71-4ACF-B8B5-3ED945A0C527}"/>
                </a:ext>
              </a:extLst>
            </p:cNvPr>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53">
              <a:extLst>
                <a:ext uri="{FF2B5EF4-FFF2-40B4-BE49-F238E27FC236}">
                  <a16:creationId xmlns:a16="http://schemas.microsoft.com/office/drawing/2014/main" id="{4F7BAA9B-3EED-4BD9-A055-DB2CF7CC38F3}"/>
                </a:ext>
              </a:extLst>
            </p:cNvPr>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54">
              <a:extLst>
                <a:ext uri="{FF2B5EF4-FFF2-40B4-BE49-F238E27FC236}">
                  <a16:creationId xmlns:a16="http://schemas.microsoft.com/office/drawing/2014/main" id="{EBEA7174-0D27-4BFC-988A-407C8C1B9F8B}"/>
                </a:ext>
              </a:extLst>
            </p:cNvPr>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55">
              <a:extLst>
                <a:ext uri="{FF2B5EF4-FFF2-40B4-BE49-F238E27FC236}">
                  <a16:creationId xmlns:a16="http://schemas.microsoft.com/office/drawing/2014/main" id="{0229CA39-DD8E-494A-A830-4B1C51E03AB2}"/>
                </a:ext>
              </a:extLst>
            </p:cNvPr>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56">
              <a:extLst>
                <a:ext uri="{FF2B5EF4-FFF2-40B4-BE49-F238E27FC236}">
                  <a16:creationId xmlns:a16="http://schemas.microsoft.com/office/drawing/2014/main" id="{135FFA07-46C6-49B4-BBD5-E19419620A8C}"/>
                </a:ext>
              </a:extLst>
            </p:cNvPr>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2" name="Group 136">
            <a:extLst>
              <a:ext uri="{FF2B5EF4-FFF2-40B4-BE49-F238E27FC236}">
                <a16:creationId xmlns:a16="http://schemas.microsoft.com/office/drawing/2014/main" id="{F4F43B67-7386-40C7-9CCB-D24ECA72FF99}"/>
              </a:ext>
            </a:extLst>
          </p:cNvPr>
          <p:cNvGrpSpPr>
            <a:grpSpLocks noChangeAspect="1"/>
          </p:cNvGrpSpPr>
          <p:nvPr/>
        </p:nvGrpSpPr>
        <p:grpSpPr>
          <a:xfrm>
            <a:off x="4074887" y="4345739"/>
            <a:ext cx="224751" cy="306484"/>
            <a:chOff x="7634288" y="788988"/>
            <a:chExt cx="209550" cy="285750"/>
          </a:xfrm>
          <a:solidFill>
            <a:schemeClr val="bg2"/>
          </a:solidFill>
          <a:effectLst/>
        </p:grpSpPr>
        <p:sp>
          <p:nvSpPr>
            <p:cNvPr id="423" name="Freeform 163">
              <a:extLst>
                <a:ext uri="{FF2B5EF4-FFF2-40B4-BE49-F238E27FC236}">
                  <a16:creationId xmlns:a16="http://schemas.microsoft.com/office/drawing/2014/main" id="{4E0F19D2-6492-44C7-AB08-1B499D15699C}"/>
                </a:ext>
              </a:extLst>
            </p:cNvPr>
            <p:cNvSpPr>
              <a:spLocks noEditPoints="1"/>
            </p:cNvSpPr>
            <p:nvPr/>
          </p:nvSpPr>
          <p:spPr bwMode="auto">
            <a:xfrm>
              <a:off x="7634288" y="788988"/>
              <a:ext cx="209550" cy="285750"/>
            </a:xfrm>
            <a:custGeom>
              <a:avLst/>
              <a:gdLst>
                <a:gd name="T0" fmla="*/ 30 w 660"/>
                <a:gd name="T1" fmla="*/ 872 h 903"/>
                <a:gd name="T2" fmla="*/ 30 w 660"/>
                <a:gd name="T3" fmla="*/ 31 h 903"/>
                <a:gd name="T4" fmla="*/ 420 w 660"/>
                <a:gd name="T5" fmla="*/ 31 h 903"/>
                <a:gd name="T6" fmla="*/ 420 w 660"/>
                <a:gd name="T7" fmla="*/ 226 h 903"/>
                <a:gd name="T8" fmla="*/ 420 w 660"/>
                <a:gd name="T9" fmla="*/ 229 h 903"/>
                <a:gd name="T10" fmla="*/ 421 w 660"/>
                <a:gd name="T11" fmla="*/ 233 h 903"/>
                <a:gd name="T12" fmla="*/ 422 w 660"/>
                <a:gd name="T13" fmla="*/ 235 h 903"/>
                <a:gd name="T14" fmla="*/ 424 w 660"/>
                <a:gd name="T15" fmla="*/ 237 h 903"/>
                <a:gd name="T16" fmla="*/ 427 w 660"/>
                <a:gd name="T17" fmla="*/ 239 h 903"/>
                <a:gd name="T18" fmla="*/ 429 w 660"/>
                <a:gd name="T19" fmla="*/ 240 h 903"/>
                <a:gd name="T20" fmla="*/ 432 w 660"/>
                <a:gd name="T21" fmla="*/ 241 h 903"/>
                <a:gd name="T22" fmla="*/ 435 w 660"/>
                <a:gd name="T23" fmla="*/ 241 h 903"/>
                <a:gd name="T24" fmla="*/ 630 w 660"/>
                <a:gd name="T25" fmla="*/ 241 h 903"/>
                <a:gd name="T26" fmla="*/ 630 w 660"/>
                <a:gd name="T27" fmla="*/ 872 h 903"/>
                <a:gd name="T28" fmla="*/ 30 w 660"/>
                <a:gd name="T29" fmla="*/ 872 h 903"/>
                <a:gd name="T30" fmla="*/ 450 w 660"/>
                <a:gd name="T31" fmla="*/ 54 h 903"/>
                <a:gd name="T32" fmla="*/ 609 w 660"/>
                <a:gd name="T33" fmla="*/ 211 h 903"/>
                <a:gd name="T34" fmla="*/ 450 w 660"/>
                <a:gd name="T35" fmla="*/ 211 h 903"/>
                <a:gd name="T36" fmla="*/ 450 w 660"/>
                <a:gd name="T37" fmla="*/ 54 h 903"/>
                <a:gd name="T38" fmla="*/ 656 w 660"/>
                <a:gd name="T39" fmla="*/ 215 h 903"/>
                <a:gd name="T40" fmla="*/ 446 w 660"/>
                <a:gd name="T41" fmla="*/ 6 h 903"/>
                <a:gd name="T42" fmla="*/ 443 w 660"/>
                <a:gd name="T43" fmla="*/ 4 h 903"/>
                <a:gd name="T44" fmla="*/ 441 w 660"/>
                <a:gd name="T45" fmla="*/ 3 h 903"/>
                <a:gd name="T46" fmla="*/ 437 w 660"/>
                <a:gd name="T47" fmla="*/ 1 h 903"/>
                <a:gd name="T48" fmla="*/ 435 w 660"/>
                <a:gd name="T49" fmla="*/ 0 h 903"/>
                <a:gd name="T50" fmla="*/ 15 w 660"/>
                <a:gd name="T51" fmla="*/ 0 h 903"/>
                <a:gd name="T52" fmla="*/ 11 w 660"/>
                <a:gd name="T53" fmla="*/ 1 h 903"/>
                <a:gd name="T54" fmla="*/ 8 w 660"/>
                <a:gd name="T55" fmla="*/ 3 h 903"/>
                <a:gd name="T56" fmla="*/ 6 w 660"/>
                <a:gd name="T57" fmla="*/ 4 h 903"/>
                <a:gd name="T58" fmla="*/ 4 w 660"/>
                <a:gd name="T59" fmla="*/ 6 h 903"/>
                <a:gd name="T60" fmla="*/ 2 w 660"/>
                <a:gd name="T61" fmla="*/ 8 h 903"/>
                <a:gd name="T62" fmla="*/ 1 w 660"/>
                <a:gd name="T63" fmla="*/ 10 h 903"/>
                <a:gd name="T64" fmla="*/ 0 w 660"/>
                <a:gd name="T65" fmla="*/ 13 h 903"/>
                <a:gd name="T66" fmla="*/ 0 w 660"/>
                <a:gd name="T67" fmla="*/ 16 h 903"/>
                <a:gd name="T68" fmla="*/ 0 w 660"/>
                <a:gd name="T69" fmla="*/ 887 h 903"/>
                <a:gd name="T70" fmla="*/ 0 w 660"/>
                <a:gd name="T71" fmla="*/ 891 h 903"/>
                <a:gd name="T72" fmla="*/ 1 w 660"/>
                <a:gd name="T73" fmla="*/ 893 h 903"/>
                <a:gd name="T74" fmla="*/ 2 w 660"/>
                <a:gd name="T75" fmla="*/ 896 h 903"/>
                <a:gd name="T76" fmla="*/ 4 w 660"/>
                <a:gd name="T77" fmla="*/ 898 h 903"/>
                <a:gd name="T78" fmla="*/ 6 w 660"/>
                <a:gd name="T79" fmla="*/ 899 h 903"/>
                <a:gd name="T80" fmla="*/ 8 w 660"/>
                <a:gd name="T81" fmla="*/ 901 h 903"/>
                <a:gd name="T82" fmla="*/ 11 w 660"/>
                <a:gd name="T83" fmla="*/ 901 h 903"/>
                <a:gd name="T84" fmla="*/ 15 w 660"/>
                <a:gd name="T85" fmla="*/ 903 h 903"/>
                <a:gd name="T86" fmla="*/ 645 w 660"/>
                <a:gd name="T87" fmla="*/ 903 h 903"/>
                <a:gd name="T88" fmla="*/ 648 w 660"/>
                <a:gd name="T89" fmla="*/ 901 h 903"/>
                <a:gd name="T90" fmla="*/ 651 w 660"/>
                <a:gd name="T91" fmla="*/ 901 h 903"/>
                <a:gd name="T92" fmla="*/ 653 w 660"/>
                <a:gd name="T93" fmla="*/ 899 h 903"/>
                <a:gd name="T94" fmla="*/ 656 w 660"/>
                <a:gd name="T95" fmla="*/ 898 h 903"/>
                <a:gd name="T96" fmla="*/ 658 w 660"/>
                <a:gd name="T97" fmla="*/ 896 h 903"/>
                <a:gd name="T98" fmla="*/ 659 w 660"/>
                <a:gd name="T99" fmla="*/ 893 h 903"/>
                <a:gd name="T100" fmla="*/ 660 w 660"/>
                <a:gd name="T101" fmla="*/ 891 h 903"/>
                <a:gd name="T102" fmla="*/ 660 w 660"/>
                <a:gd name="T103" fmla="*/ 888 h 903"/>
                <a:gd name="T104" fmla="*/ 660 w 660"/>
                <a:gd name="T105" fmla="*/ 226 h 903"/>
                <a:gd name="T106" fmla="*/ 659 w 660"/>
                <a:gd name="T107" fmla="*/ 221 h 903"/>
                <a:gd name="T108" fmla="*/ 656 w 660"/>
                <a:gd name="T109" fmla="*/ 21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0" h="903">
                  <a:moveTo>
                    <a:pt x="30" y="872"/>
                  </a:moveTo>
                  <a:lnTo>
                    <a:pt x="30" y="31"/>
                  </a:lnTo>
                  <a:lnTo>
                    <a:pt x="420" y="31"/>
                  </a:lnTo>
                  <a:lnTo>
                    <a:pt x="420" y="226"/>
                  </a:lnTo>
                  <a:lnTo>
                    <a:pt x="420" y="229"/>
                  </a:lnTo>
                  <a:lnTo>
                    <a:pt x="421" y="233"/>
                  </a:lnTo>
                  <a:lnTo>
                    <a:pt x="422" y="235"/>
                  </a:lnTo>
                  <a:lnTo>
                    <a:pt x="424" y="237"/>
                  </a:lnTo>
                  <a:lnTo>
                    <a:pt x="427" y="239"/>
                  </a:lnTo>
                  <a:lnTo>
                    <a:pt x="429" y="240"/>
                  </a:lnTo>
                  <a:lnTo>
                    <a:pt x="432" y="241"/>
                  </a:lnTo>
                  <a:lnTo>
                    <a:pt x="435" y="241"/>
                  </a:lnTo>
                  <a:lnTo>
                    <a:pt x="630" y="241"/>
                  </a:lnTo>
                  <a:lnTo>
                    <a:pt x="630" y="872"/>
                  </a:lnTo>
                  <a:lnTo>
                    <a:pt x="30" y="872"/>
                  </a:lnTo>
                  <a:close/>
                  <a:moveTo>
                    <a:pt x="450" y="54"/>
                  </a:moveTo>
                  <a:lnTo>
                    <a:pt x="609" y="211"/>
                  </a:lnTo>
                  <a:lnTo>
                    <a:pt x="450" y="211"/>
                  </a:lnTo>
                  <a:lnTo>
                    <a:pt x="450" y="54"/>
                  </a:lnTo>
                  <a:close/>
                  <a:moveTo>
                    <a:pt x="656" y="215"/>
                  </a:moveTo>
                  <a:lnTo>
                    <a:pt x="446" y="6"/>
                  </a:lnTo>
                  <a:lnTo>
                    <a:pt x="443" y="4"/>
                  </a:lnTo>
                  <a:lnTo>
                    <a:pt x="441" y="3"/>
                  </a:lnTo>
                  <a:lnTo>
                    <a:pt x="437" y="1"/>
                  </a:lnTo>
                  <a:lnTo>
                    <a:pt x="435" y="0"/>
                  </a:lnTo>
                  <a:lnTo>
                    <a:pt x="15" y="0"/>
                  </a:lnTo>
                  <a:lnTo>
                    <a:pt x="11" y="1"/>
                  </a:lnTo>
                  <a:lnTo>
                    <a:pt x="8" y="3"/>
                  </a:lnTo>
                  <a:lnTo>
                    <a:pt x="6" y="4"/>
                  </a:lnTo>
                  <a:lnTo>
                    <a:pt x="4" y="6"/>
                  </a:lnTo>
                  <a:lnTo>
                    <a:pt x="2" y="8"/>
                  </a:lnTo>
                  <a:lnTo>
                    <a:pt x="1" y="10"/>
                  </a:lnTo>
                  <a:lnTo>
                    <a:pt x="0" y="13"/>
                  </a:lnTo>
                  <a:lnTo>
                    <a:pt x="0" y="16"/>
                  </a:lnTo>
                  <a:lnTo>
                    <a:pt x="0" y="887"/>
                  </a:lnTo>
                  <a:lnTo>
                    <a:pt x="0" y="891"/>
                  </a:lnTo>
                  <a:lnTo>
                    <a:pt x="1" y="893"/>
                  </a:lnTo>
                  <a:lnTo>
                    <a:pt x="2" y="896"/>
                  </a:lnTo>
                  <a:lnTo>
                    <a:pt x="4" y="898"/>
                  </a:lnTo>
                  <a:lnTo>
                    <a:pt x="6" y="899"/>
                  </a:lnTo>
                  <a:lnTo>
                    <a:pt x="8" y="901"/>
                  </a:lnTo>
                  <a:lnTo>
                    <a:pt x="11" y="901"/>
                  </a:lnTo>
                  <a:lnTo>
                    <a:pt x="15" y="903"/>
                  </a:lnTo>
                  <a:lnTo>
                    <a:pt x="645" y="903"/>
                  </a:lnTo>
                  <a:lnTo>
                    <a:pt x="648" y="901"/>
                  </a:lnTo>
                  <a:lnTo>
                    <a:pt x="651" y="901"/>
                  </a:lnTo>
                  <a:lnTo>
                    <a:pt x="653" y="899"/>
                  </a:lnTo>
                  <a:lnTo>
                    <a:pt x="656" y="898"/>
                  </a:lnTo>
                  <a:lnTo>
                    <a:pt x="658" y="896"/>
                  </a:lnTo>
                  <a:lnTo>
                    <a:pt x="659" y="893"/>
                  </a:lnTo>
                  <a:lnTo>
                    <a:pt x="660" y="891"/>
                  </a:lnTo>
                  <a:lnTo>
                    <a:pt x="660" y="888"/>
                  </a:lnTo>
                  <a:lnTo>
                    <a:pt x="660" y="226"/>
                  </a:lnTo>
                  <a:lnTo>
                    <a:pt x="659" y="221"/>
                  </a:lnTo>
                  <a:lnTo>
                    <a:pt x="656"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64">
              <a:extLst>
                <a:ext uri="{FF2B5EF4-FFF2-40B4-BE49-F238E27FC236}">
                  <a16:creationId xmlns:a16="http://schemas.microsoft.com/office/drawing/2014/main" id="{37BBF553-6ED6-4BEA-ACFB-6F52EBEF5873}"/>
                </a:ext>
              </a:extLst>
            </p:cNvPr>
            <p:cNvSpPr>
              <a:spLocks/>
            </p:cNvSpPr>
            <p:nvPr/>
          </p:nvSpPr>
          <p:spPr bwMode="auto">
            <a:xfrm>
              <a:off x="7683500" y="874713"/>
              <a:ext cx="63500" cy="9525"/>
            </a:xfrm>
            <a:custGeom>
              <a:avLst/>
              <a:gdLst>
                <a:gd name="T0" fmla="*/ 15 w 200"/>
                <a:gd name="T1" fmla="*/ 30 h 30"/>
                <a:gd name="T2" fmla="*/ 185 w 200"/>
                <a:gd name="T3" fmla="*/ 30 h 30"/>
                <a:gd name="T4" fmla="*/ 188 w 200"/>
                <a:gd name="T5" fmla="*/ 30 h 30"/>
                <a:gd name="T6" fmla="*/ 191 w 200"/>
                <a:gd name="T7" fmla="*/ 29 h 30"/>
                <a:gd name="T8" fmla="*/ 193 w 200"/>
                <a:gd name="T9" fmla="*/ 28 h 30"/>
                <a:gd name="T10" fmla="*/ 195 w 200"/>
                <a:gd name="T11" fmla="*/ 26 h 30"/>
                <a:gd name="T12" fmla="*/ 198 w 200"/>
                <a:gd name="T13" fmla="*/ 24 h 30"/>
                <a:gd name="T14" fmla="*/ 199 w 200"/>
                <a:gd name="T15" fmla="*/ 22 h 30"/>
                <a:gd name="T16" fmla="*/ 200 w 200"/>
                <a:gd name="T17" fmla="*/ 18 h 30"/>
                <a:gd name="T18" fmla="*/ 200 w 200"/>
                <a:gd name="T19" fmla="*/ 15 h 30"/>
                <a:gd name="T20" fmla="*/ 200 w 200"/>
                <a:gd name="T21" fmla="*/ 13 h 30"/>
                <a:gd name="T22" fmla="*/ 199 w 200"/>
                <a:gd name="T23" fmla="*/ 10 h 30"/>
                <a:gd name="T24" fmla="*/ 198 w 200"/>
                <a:gd name="T25" fmla="*/ 8 h 30"/>
                <a:gd name="T26" fmla="*/ 195 w 200"/>
                <a:gd name="T27" fmla="*/ 4 h 30"/>
                <a:gd name="T28" fmla="*/ 193 w 200"/>
                <a:gd name="T29" fmla="*/ 3 h 30"/>
                <a:gd name="T30" fmla="*/ 191 w 200"/>
                <a:gd name="T31" fmla="*/ 1 h 30"/>
                <a:gd name="T32" fmla="*/ 188 w 200"/>
                <a:gd name="T33" fmla="*/ 0 h 30"/>
                <a:gd name="T34" fmla="*/ 185 w 200"/>
                <a:gd name="T35" fmla="*/ 0 h 30"/>
                <a:gd name="T36" fmla="*/ 15 w 200"/>
                <a:gd name="T37" fmla="*/ 0 h 30"/>
                <a:gd name="T38" fmla="*/ 11 w 200"/>
                <a:gd name="T39" fmla="*/ 0 h 30"/>
                <a:gd name="T40" fmla="*/ 9 w 200"/>
                <a:gd name="T41" fmla="*/ 1 h 30"/>
                <a:gd name="T42" fmla="*/ 6 w 200"/>
                <a:gd name="T43" fmla="*/ 3 h 30"/>
                <a:gd name="T44" fmla="*/ 4 w 200"/>
                <a:gd name="T45" fmla="*/ 4 h 30"/>
                <a:gd name="T46" fmla="*/ 2 w 200"/>
                <a:gd name="T47" fmla="*/ 8 h 30"/>
                <a:gd name="T48" fmla="*/ 1 w 200"/>
                <a:gd name="T49" fmla="*/ 10 h 30"/>
                <a:gd name="T50" fmla="*/ 0 w 200"/>
                <a:gd name="T51" fmla="*/ 13 h 30"/>
                <a:gd name="T52" fmla="*/ 0 w 200"/>
                <a:gd name="T53" fmla="*/ 15 h 30"/>
                <a:gd name="T54" fmla="*/ 0 w 200"/>
                <a:gd name="T55" fmla="*/ 18 h 30"/>
                <a:gd name="T56" fmla="*/ 1 w 200"/>
                <a:gd name="T57" fmla="*/ 22 h 30"/>
                <a:gd name="T58" fmla="*/ 2 w 200"/>
                <a:gd name="T59" fmla="*/ 24 h 30"/>
                <a:gd name="T60" fmla="*/ 4 w 200"/>
                <a:gd name="T61" fmla="*/ 26 h 30"/>
                <a:gd name="T62" fmla="*/ 6 w 200"/>
                <a:gd name="T63" fmla="*/ 28 h 30"/>
                <a:gd name="T64" fmla="*/ 9 w 200"/>
                <a:gd name="T65" fmla="*/ 29 h 30"/>
                <a:gd name="T66" fmla="*/ 11 w 200"/>
                <a:gd name="T67" fmla="*/ 30 h 30"/>
                <a:gd name="T68" fmla="*/ 15 w 20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 h="30">
                  <a:moveTo>
                    <a:pt x="15" y="30"/>
                  </a:moveTo>
                  <a:lnTo>
                    <a:pt x="185" y="30"/>
                  </a:lnTo>
                  <a:lnTo>
                    <a:pt x="188" y="30"/>
                  </a:lnTo>
                  <a:lnTo>
                    <a:pt x="191" y="29"/>
                  </a:lnTo>
                  <a:lnTo>
                    <a:pt x="193" y="28"/>
                  </a:lnTo>
                  <a:lnTo>
                    <a:pt x="195" y="26"/>
                  </a:lnTo>
                  <a:lnTo>
                    <a:pt x="198" y="24"/>
                  </a:lnTo>
                  <a:lnTo>
                    <a:pt x="199" y="22"/>
                  </a:lnTo>
                  <a:lnTo>
                    <a:pt x="200" y="18"/>
                  </a:lnTo>
                  <a:lnTo>
                    <a:pt x="200" y="15"/>
                  </a:lnTo>
                  <a:lnTo>
                    <a:pt x="200" y="13"/>
                  </a:lnTo>
                  <a:lnTo>
                    <a:pt x="199" y="10"/>
                  </a:lnTo>
                  <a:lnTo>
                    <a:pt x="198" y="8"/>
                  </a:lnTo>
                  <a:lnTo>
                    <a:pt x="195" y="4"/>
                  </a:lnTo>
                  <a:lnTo>
                    <a:pt x="193" y="3"/>
                  </a:lnTo>
                  <a:lnTo>
                    <a:pt x="191" y="1"/>
                  </a:lnTo>
                  <a:lnTo>
                    <a:pt x="188" y="0"/>
                  </a:lnTo>
                  <a:lnTo>
                    <a:pt x="185" y="0"/>
                  </a:lnTo>
                  <a:lnTo>
                    <a:pt x="15" y="0"/>
                  </a:lnTo>
                  <a:lnTo>
                    <a:pt x="11" y="0"/>
                  </a:lnTo>
                  <a:lnTo>
                    <a:pt x="9" y="1"/>
                  </a:lnTo>
                  <a:lnTo>
                    <a:pt x="6" y="3"/>
                  </a:lnTo>
                  <a:lnTo>
                    <a:pt x="4" y="4"/>
                  </a:lnTo>
                  <a:lnTo>
                    <a:pt x="2" y="8"/>
                  </a:lnTo>
                  <a:lnTo>
                    <a:pt x="1" y="10"/>
                  </a:lnTo>
                  <a:lnTo>
                    <a:pt x="0" y="13"/>
                  </a:lnTo>
                  <a:lnTo>
                    <a:pt x="0" y="15"/>
                  </a:lnTo>
                  <a:lnTo>
                    <a:pt x="0" y="18"/>
                  </a:lnTo>
                  <a:lnTo>
                    <a:pt x="1" y="22"/>
                  </a:lnTo>
                  <a:lnTo>
                    <a:pt x="2" y="24"/>
                  </a:lnTo>
                  <a:lnTo>
                    <a:pt x="4" y="26"/>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165">
              <a:extLst>
                <a:ext uri="{FF2B5EF4-FFF2-40B4-BE49-F238E27FC236}">
                  <a16:creationId xmlns:a16="http://schemas.microsoft.com/office/drawing/2014/main" id="{26CBA846-D149-4E15-98F8-C846EA423BCF}"/>
                </a:ext>
              </a:extLst>
            </p:cNvPr>
            <p:cNvSpPr>
              <a:spLocks/>
            </p:cNvSpPr>
            <p:nvPr/>
          </p:nvSpPr>
          <p:spPr bwMode="auto">
            <a:xfrm>
              <a:off x="7683500" y="912813"/>
              <a:ext cx="117475" cy="9525"/>
            </a:xfrm>
            <a:custGeom>
              <a:avLst/>
              <a:gdLst>
                <a:gd name="T0" fmla="*/ 356 w 371"/>
                <a:gd name="T1" fmla="*/ 0 h 30"/>
                <a:gd name="T2" fmla="*/ 15 w 371"/>
                <a:gd name="T3" fmla="*/ 0 h 30"/>
                <a:gd name="T4" fmla="*/ 11 w 371"/>
                <a:gd name="T5" fmla="*/ 1 h 30"/>
                <a:gd name="T6" fmla="*/ 9 w 371"/>
                <a:gd name="T7" fmla="*/ 2 h 30"/>
                <a:gd name="T8" fmla="*/ 6 w 371"/>
                <a:gd name="T9" fmla="*/ 3 h 30"/>
                <a:gd name="T10" fmla="*/ 4 w 371"/>
                <a:gd name="T11" fmla="*/ 5 h 30"/>
                <a:gd name="T12" fmla="*/ 2 w 371"/>
                <a:gd name="T13" fmla="*/ 7 h 30"/>
                <a:gd name="T14" fmla="*/ 1 w 371"/>
                <a:gd name="T15" fmla="*/ 10 h 30"/>
                <a:gd name="T16" fmla="*/ 0 w 371"/>
                <a:gd name="T17" fmla="*/ 13 h 30"/>
                <a:gd name="T18" fmla="*/ 0 w 371"/>
                <a:gd name="T19" fmla="*/ 15 h 30"/>
                <a:gd name="T20" fmla="*/ 0 w 371"/>
                <a:gd name="T21" fmla="*/ 18 h 30"/>
                <a:gd name="T22" fmla="*/ 1 w 371"/>
                <a:gd name="T23" fmla="*/ 21 h 30"/>
                <a:gd name="T24" fmla="*/ 2 w 371"/>
                <a:gd name="T25" fmla="*/ 25 h 30"/>
                <a:gd name="T26" fmla="*/ 4 w 371"/>
                <a:gd name="T27" fmla="*/ 27 h 30"/>
                <a:gd name="T28" fmla="*/ 6 w 371"/>
                <a:gd name="T29" fmla="*/ 28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8 h 30"/>
                <a:gd name="T44" fmla="*/ 367 w 371"/>
                <a:gd name="T45" fmla="*/ 27 h 30"/>
                <a:gd name="T46" fmla="*/ 368 w 371"/>
                <a:gd name="T47" fmla="*/ 25 h 30"/>
                <a:gd name="T48" fmla="*/ 370 w 371"/>
                <a:gd name="T49" fmla="*/ 21 h 30"/>
                <a:gd name="T50" fmla="*/ 370 w 371"/>
                <a:gd name="T51" fmla="*/ 18 h 30"/>
                <a:gd name="T52" fmla="*/ 371 w 371"/>
                <a:gd name="T53" fmla="*/ 15 h 30"/>
                <a:gd name="T54" fmla="*/ 370 w 371"/>
                <a:gd name="T55" fmla="*/ 13 h 30"/>
                <a:gd name="T56" fmla="*/ 370 w 371"/>
                <a:gd name="T57" fmla="*/ 10 h 30"/>
                <a:gd name="T58" fmla="*/ 368 w 371"/>
                <a:gd name="T59" fmla="*/ 7 h 30"/>
                <a:gd name="T60" fmla="*/ 367 w 371"/>
                <a:gd name="T61" fmla="*/ 5 h 30"/>
                <a:gd name="T62" fmla="*/ 365 w 371"/>
                <a:gd name="T63" fmla="*/ 3 h 30"/>
                <a:gd name="T64" fmla="*/ 361 w 371"/>
                <a:gd name="T65" fmla="*/ 2 h 30"/>
                <a:gd name="T66" fmla="*/ 358 w 371"/>
                <a:gd name="T67" fmla="*/ 1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1"/>
                  </a:lnTo>
                  <a:lnTo>
                    <a:pt x="9" y="2"/>
                  </a:lnTo>
                  <a:lnTo>
                    <a:pt x="6" y="3"/>
                  </a:lnTo>
                  <a:lnTo>
                    <a:pt x="4" y="5"/>
                  </a:lnTo>
                  <a:lnTo>
                    <a:pt x="2" y="7"/>
                  </a:lnTo>
                  <a:lnTo>
                    <a:pt x="1" y="10"/>
                  </a:lnTo>
                  <a:lnTo>
                    <a:pt x="0" y="13"/>
                  </a:lnTo>
                  <a:lnTo>
                    <a:pt x="0" y="15"/>
                  </a:lnTo>
                  <a:lnTo>
                    <a:pt x="0" y="18"/>
                  </a:lnTo>
                  <a:lnTo>
                    <a:pt x="1" y="21"/>
                  </a:lnTo>
                  <a:lnTo>
                    <a:pt x="2" y="25"/>
                  </a:lnTo>
                  <a:lnTo>
                    <a:pt x="4" y="27"/>
                  </a:lnTo>
                  <a:lnTo>
                    <a:pt x="6" y="28"/>
                  </a:lnTo>
                  <a:lnTo>
                    <a:pt x="9" y="29"/>
                  </a:lnTo>
                  <a:lnTo>
                    <a:pt x="11" y="30"/>
                  </a:lnTo>
                  <a:lnTo>
                    <a:pt x="15" y="30"/>
                  </a:lnTo>
                  <a:lnTo>
                    <a:pt x="356" y="30"/>
                  </a:lnTo>
                  <a:lnTo>
                    <a:pt x="358" y="30"/>
                  </a:lnTo>
                  <a:lnTo>
                    <a:pt x="361" y="29"/>
                  </a:lnTo>
                  <a:lnTo>
                    <a:pt x="365" y="28"/>
                  </a:lnTo>
                  <a:lnTo>
                    <a:pt x="367" y="27"/>
                  </a:lnTo>
                  <a:lnTo>
                    <a:pt x="368" y="25"/>
                  </a:lnTo>
                  <a:lnTo>
                    <a:pt x="370" y="21"/>
                  </a:lnTo>
                  <a:lnTo>
                    <a:pt x="370" y="18"/>
                  </a:lnTo>
                  <a:lnTo>
                    <a:pt x="371" y="15"/>
                  </a:lnTo>
                  <a:lnTo>
                    <a:pt x="370" y="13"/>
                  </a:lnTo>
                  <a:lnTo>
                    <a:pt x="370" y="10"/>
                  </a:lnTo>
                  <a:lnTo>
                    <a:pt x="368" y="7"/>
                  </a:lnTo>
                  <a:lnTo>
                    <a:pt x="367" y="5"/>
                  </a:lnTo>
                  <a:lnTo>
                    <a:pt x="365" y="3"/>
                  </a:lnTo>
                  <a:lnTo>
                    <a:pt x="361" y="2"/>
                  </a:lnTo>
                  <a:lnTo>
                    <a:pt x="358"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66">
              <a:extLst>
                <a:ext uri="{FF2B5EF4-FFF2-40B4-BE49-F238E27FC236}">
                  <a16:creationId xmlns:a16="http://schemas.microsoft.com/office/drawing/2014/main" id="{B8F379EC-3FEC-49F1-8366-67A61FDA60D3}"/>
                </a:ext>
              </a:extLst>
            </p:cNvPr>
            <p:cNvSpPr>
              <a:spLocks/>
            </p:cNvSpPr>
            <p:nvPr/>
          </p:nvSpPr>
          <p:spPr bwMode="auto">
            <a:xfrm>
              <a:off x="7683500" y="950913"/>
              <a:ext cx="117475" cy="9525"/>
            </a:xfrm>
            <a:custGeom>
              <a:avLst/>
              <a:gdLst>
                <a:gd name="T0" fmla="*/ 356 w 371"/>
                <a:gd name="T1" fmla="*/ 0 h 30"/>
                <a:gd name="T2" fmla="*/ 15 w 371"/>
                <a:gd name="T3" fmla="*/ 0 h 30"/>
                <a:gd name="T4" fmla="*/ 11 w 371"/>
                <a:gd name="T5" fmla="*/ 0 h 30"/>
                <a:gd name="T6" fmla="*/ 9 w 371"/>
                <a:gd name="T7" fmla="*/ 1 h 30"/>
                <a:gd name="T8" fmla="*/ 6 w 371"/>
                <a:gd name="T9" fmla="*/ 2 h 30"/>
                <a:gd name="T10" fmla="*/ 4 w 371"/>
                <a:gd name="T11" fmla="*/ 4 h 30"/>
                <a:gd name="T12" fmla="*/ 2 w 371"/>
                <a:gd name="T13" fmla="*/ 6 h 30"/>
                <a:gd name="T14" fmla="*/ 1 w 371"/>
                <a:gd name="T15" fmla="*/ 10 h 30"/>
                <a:gd name="T16" fmla="*/ 0 w 371"/>
                <a:gd name="T17" fmla="*/ 12 h 30"/>
                <a:gd name="T18" fmla="*/ 0 w 371"/>
                <a:gd name="T19" fmla="*/ 15 h 30"/>
                <a:gd name="T20" fmla="*/ 0 w 371"/>
                <a:gd name="T21" fmla="*/ 18 h 30"/>
                <a:gd name="T22" fmla="*/ 1 w 371"/>
                <a:gd name="T23" fmla="*/ 20 h 30"/>
                <a:gd name="T24" fmla="*/ 2 w 371"/>
                <a:gd name="T25" fmla="*/ 23 h 30"/>
                <a:gd name="T26" fmla="*/ 4 w 371"/>
                <a:gd name="T27" fmla="*/ 26 h 30"/>
                <a:gd name="T28" fmla="*/ 6 w 371"/>
                <a:gd name="T29" fmla="*/ 27 h 30"/>
                <a:gd name="T30" fmla="*/ 9 w 371"/>
                <a:gd name="T31" fmla="*/ 29 h 30"/>
                <a:gd name="T32" fmla="*/ 11 w 371"/>
                <a:gd name="T33" fmla="*/ 29 h 30"/>
                <a:gd name="T34" fmla="*/ 15 w 371"/>
                <a:gd name="T35" fmla="*/ 30 h 30"/>
                <a:gd name="T36" fmla="*/ 356 w 371"/>
                <a:gd name="T37" fmla="*/ 30 h 30"/>
                <a:gd name="T38" fmla="*/ 358 w 371"/>
                <a:gd name="T39" fmla="*/ 29 h 30"/>
                <a:gd name="T40" fmla="*/ 361 w 371"/>
                <a:gd name="T41" fmla="*/ 29 h 30"/>
                <a:gd name="T42" fmla="*/ 365 w 371"/>
                <a:gd name="T43" fmla="*/ 27 h 30"/>
                <a:gd name="T44" fmla="*/ 367 w 371"/>
                <a:gd name="T45" fmla="*/ 26 h 30"/>
                <a:gd name="T46" fmla="*/ 368 w 371"/>
                <a:gd name="T47" fmla="*/ 23 h 30"/>
                <a:gd name="T48" fmla="*/ 370 w 371"/>
                <a:gd name="T49" fmla="*/ 20 h 30"/>
                <a:gd name="T50" fmla="*/ 370 w 371"/>
                <a:gd name="T51" fmla="*/ 18 h 30"/>
                <a:gd name="T52" fmla="*/ 371 w 371"/>
                <a:gd name="T53" fmla="*/ 15 h 30"/>
                <a:gd name="T54" fmla="*/ 370 w 371"/>
                <a:gd name="T55" fmla="*/ 12 h 30"/>
                <a:gd name="T56" fmla="*/ 370 w 371"/>
                <a:gd name="T57" fmla="*/ 10 h 30"/>
                <a:gd name="T58" fmla="*/ 368 w 371"/>
                <a:gd name="T59" fmla="*/ 6 h 30"/>
                <a:gd name="T60" fmla="*/ 367 w 371"/>
                <a:gd name="T61" fmla="*/ 4 h 30"/>
                <a:gd name="T62" fmla="*/ 365 w 371"/>
                <a:gd name="T63" fmla="*/ 2 h 30"/>
                <a:gd name="T64" fmla="*/ 361 w 371"/>
                <a:gd name="T65" fmla="*/ 1 h 30"/>
                <a:gd name="T66" fmla="*/ 358 w 371"/>
                <a:gd name="T67" fmla="*/ 0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0"/>
                  </a:lnTo>
                  <a:lnTo>
                    <a:pt x="9" y="1"/>
                  </a:lnTo>
                  <a:lnTo>
                    <a:pt x="6" y="2"/>
                  </a:lnTo>
                  <a:lnTo>
                    <a:pt x="4" y="4"/>
                  </a:lnTo>
                  <a:lnTo>
                    <a:pt x="2" y="6"/>
                  </a:lnTo>
                  <a:lnTo>
                    <a:pt x="1" y="10"/>
                  </a:lnTo>
                  <a:lnTo>
                    <a:pt x="0" y="12"/>
                  </a:lnTo>
                  <a:lnTo>
                    <a:pt x="0" y="15"/>
                  </a:lnTo>
                  <a:lnTo>
                    <a:pt x="0" y="18"/>
                  </a:lnTo>
                  <a:lnTo>
                    <a:pt x="1" y="20"/>
                  </a:lnTo>
                  <a:lnTo>
                    <a:pt x="2" y="23"/>
                  </a:lnTo>
                  <a:lnTo>
                    <a:pt x="4" y="26"/>
                  </a:lnTo>
                  <a:lnTo>
                    <a:pt x="6" y="27"/>
                  </a:lnTo>
                  <a:lnTo>
                    <a:pt x="9" y="29"/>
                  </a:lnTo>
                  <a:lnTo>
                    <a:pt x="11" y="29"/>
                  </a:lnTo>
                  <a:lnTo>
                    <a:pt x="15" y="30"/>
                  </a:lnTo>
                  <a:lnTo>
                    <a:pt x="356" y="30"/>
                  </a:lnTo>
                  <a:lnTo>
                    <a:pt x="358" y="29"/>
                  </a:lnTo>
                  <a:lnTo>
                    <a:pt x="361" y="29"/>
                  </a:lnTo>
                  <a:lnTo>
                    <a:pt x="365" y="27"/>
                  </a:lnTo>
                  <a:lnTo>
                    <a:pt x="367" y="26"/>
                  </a:lnTo>
                  <a:lnTo>
                    <a:pt x="368" y="23"/>
                  </a:lnTo>
                  <a:lnTo>
                    <a:pt x="370" y="20"/>
                  </a:lnTo>
                  <a:lnTo>
                    <a:pt x="370" y="18"/>
                  </a:lnTo>
                  <a:lnTo>
                    <a:pt x="371" y="15"/>
                  </a:lnTo>
                  <a:lnTo>
                    <a:pt x="370" y="12"/>
                  </a:lnTo>
                  <a:lnTo>
                    <a:pt x="370" y="10"/>
                  </a:lnTo>
                  <a:lnTo>
                    <a:pt x="368" y="6"/>
                  </a:lnTo>
                  <a:lnTo>
                    <a:pt x="367" y="4"/>
                  </a:lnTo>
                  <a:lnTo>
                    <a:pt x="365" y="2"/>
                  </a:lnTo>
                  <a:lnTo>
                    <a:pt x="361" y="1"/>
                  </a:lnTo>
                  <a:lnTo>
                    <a:pt x="358" y="0"/>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167">
              <a:extLst>
                <a:ext uri="{FF2B5EF4-FFF2-40B4-BE49-F238E27FC236}">
                  <a16:creationId xmlns:a16="http://schemas.microsoft.com/office/drawing/2014/main" id="{A9D2B11D-9AE2-48C4-A771-7A58CA275A17}"/>
                </a:ext>
              </a:extLst>
            </p:cNvPr>
            <p:cNvSpPr>
              <a:spLocks/>
            </p:cNvSpPr>
            <p:nvPr/>
          </p:nvSpPr>
          <p:spPr bwMode="auto">
            <a:xfrm>
              <a:off x="7683500" y="989013"/>
              <a:ext cx="117475" cy="9525"/>
            </a:xfrm>
            <a:custGeom>
              <a:avLst/>
              <a:gdLst>
                <a:gd name="T0" fmla="*/ 356 w 371"/>
                <a:gd name="T1" fmla="*/ 0 h 30"/>
                <a:gd name="T2" fmla="*/ 15 w 371"/>
                <a:gd name="T3" fmla="*/ 0 h 30"/>
                <a:gd name="T4" fmla="*/ 11 w 371"/>
                <a:gd name="T5" fmla="*/ 0 h 30"/>
                <a:gd name="T6" fmla="*/ 9 w 371"/>
                <a:gd name="T7" fmla="*/ 1 h 30"/>
                <a:gd name="T8" fmla="*/ 6 w 371"/>
                <a:gd name="T9" fmla="*/ 3 h 30"/>
                <a:gd name="T10" fmla="*/ 4 w 371"/>
                <a:gd name="T11" fmla="*/ 4 h 30"/>
                <a:gd name="T12" fmla="*/ 2 w 371"/>
                <a:gd name="T13" fmla="*/ 6 h 30"/>
                <a:gd name="T14" fmla="*/ 1 w 371"/>
                <a:gd name="T15" fmla="*/ 9 h 30"/>
                <a:gd name="T16" fmla="*/ 0 w 371"/>
                <a:gd name="T17" fmla="*/ 12 h 30"/>
                <a:gd name="T18" fmla="*/ 0 w 371"/>
                <a:gd name="T19" fmla="*/ 15 h 30"/>
                <a:gd name="T20" fmla="*/ 0 w 371"/>
                <a:gd name="T21" fmla="*/ 18 h 30"/>
                <a:gd name="T22" fmla="*/ 1 w 371"/>
                <a:gd name="T23" fmla="*/ 21 h 30"/>
                <a:gd name="T24" fmla="*/ 2 w 371"/>
                <a:gd name="T25" fmla="*/ 23 h 30"/>
                <a:gd name="T26" fmla="*/ 4 w 371"/>
                <a:gd name="T27" fmla="*/ 25 h 30"/>
                <a:gd name="T28" fmla="*/ 6 w 371"/>
                <a:gd name="T29" fmla="*/ 28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8 h 30"/>
                <a:gd name="T44" fmla="*/ 367 w 371"/>
                <a:gd name="T45" fmla="*/ 25 h 30"/>
                <a:gd name="T46" fmla="*/ 368 w 371"/>
                <a:gd name="T47" fmla="*/ 23 h 30"/>
                <a:gd name="T48" fmla="*/ 370 w 371"/>
                <a:gd name="T49" fmla="*/ 21 h 30"/>
                <a:gd name="T50" fmla="*/ 370 w 371"/>
                <a:gd name="T51" fmla="*/ 18 h 30"/>
                <a:gd name="T52" fmla="*/ 371 w 371"/>
                <a:gd name="T53" fmla="*/ 15 h 30"/>
                <a:gd name="T54" fmla="*/ 370 w 371"/>
                <a:gd name="T55" fmla="*/ 12 h 30"/>
                <a:gd name="T56" fmla="*/ 370 w 371"/>
                <a:gd name="T57" fmla="*/ 9 h 30"/>
                <a:gd name="T58" fmla="*/ 368 w 371"/>
                <a:gd name="T59" fmla="*/ 6 h 30"/>
                <a:gd name="T60" fmla="*/ 367 w 371"/>
                <a:gd name="T61" fmla="*/ 4 h 30"/>
                <a:gd name="T62" fmla="*/ 365 w 371"/>
                <a:gd name="T63" fmla="*/ 3 h 30"/>
                <a:gd name="T64" fmla="*/ 361 w 371"/>
                <a:gd name="T65" fmla="*/ 1 h 30"/>
                <a:gd name="T66" fmla="*/ 358 w 371"/>
                <a:gd name="T67" fmla="*/ 0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0"/>
                  </a:lnTo>
                  <a:lnTo>
                    <a:pt x="9" y="1"/>
                  </a:lnTo>
                  <a:lnTo>
                    <a:pt x="6" y="3"/>
                  </a:lnTo>
                  <a:lnTo>
                    <a:pt x="4" y="4"/>
                  </a:lnTo>
                  <a:lnTo>
                    <a:pt x="2" y="6"/>
                  </a:lnTo>
                  <a:lnTo>
                    <a:pt x="1" y="9"/>
                  </a:lnTo>
                  <a:lnTo>
                    <a:pt x="0" y="12"/>
                  </a:lnTo>
                  <a:lnTo>
                    <a:pt x="0" y="15"/>
                  </a:lnTo>
                  <a:lnTo>
                    <a:pt x="0" y="18"/>
                  </a:lnTo>
                  <a:lnTo>
                    <a:pt x="1" y="21"/>
                  </a:lnTo>
                  <a:lnTo>
                    <a:pt x="2" y="23"/>
                  </a:lnTo>
                  <a:lnTo>
                    <a:pt x="4" y="25"/>
                  </a:lnTo>
                  <a:lnTo>
                    <a:pt x="6" y="28"/>
                  </a:lnTo>
                  <a:lnTo>
                    <a:pt x="9" y="29"/>
                  </a:lnTo>
                  <a:lnTo>
                    <a:pt x="11" y="30"/>
                  </a:lnTo>
                  <a:lnTo>
                    <a:pt x="15" y="30"/>
                  </a:lnTo>
                  <a:lnTo>
                    <a:pt x="356" y="30"/>
                  </a:lnTo>
                  <a:lnTo>
                    <a:pt x="358" y="30"/>
                  </a:lnTo>
                  <a:lnTo>
                    <a:pt x="361" y="29"/>
                  </a:lnTo>
                  <a:lnTo>
                    <a:pt x="365" y="28"/>
                  </a:lnTo>
                  <a:lnTo>
                    <a:pt x="367" y="25"/>
                  </a:lnTo>
                  <a:lnTo>
                    <a:pt x="368" y="23"/>
                  </a:lnTo>
                  <a:lnTo>
                    <a:pt x="370" y="21"/>
                  </a:lnTo>
                  <a:lnTo>
                    <a:pt x="370" y="18"/>
                  </a:lnTo>
                  <a:lnTo>
                    <a:pt x="371" y="15"/>
                  </a:lnTo>
                  <a:lnTo>
                    <a:pt x="370" y="12"/>
                  </a:lnTo>
                  <a:lnTo>
                    <a:pt x="370" y="9"/>
                  </a:lnTo>
                  <a:lnTo>
                    <a:pt x="368" y="6"/>
                  </a:lnTo>
                  <a:lnTo>
                    <a:pt x="367" y="4"/>
                  </a:lnTo>
                  <a:lnTo>
                    <a:pt x="365" y="3"/>
                  </a:lnTo>
                  <a:lnTo>
                    <a:pt x="361" y="1"/>
                  </a:lnTo>
                  <a:lnTo>
                    <a:pt x="358" y="0"/>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68">
              <a:extLst>
                <a:ext uri="{FF2B5EF4-FFF2-40B4-BE49-F238E27FC236}">
                  <a16:creationId xmlns:a16="http://schemas.microsoft.com/office/drawing/2014/main" id="{B97F71CA-9602-4F20-9400-91E6E04B2010}"/>
                </a:ext>
              </a:extLst>
            </p:cNvPr>
            <p:cNvSpPr>
              <a:spLocks/>
            </p:cNvSpPr>
            <p:nvPr/>
          </p:nvSpPr>
          <p:spPr bwMode="auto">
            <a:xfrm>
              <a:off x="7683500" y="1027113"/>
              <a:ext cx="117475" cy="9525"/>
            </a:xfrm>
            <a:custGeom>
              <a:avLst/>
              <a:gdLst>
                <a:gd name="T0" fmla="*/ 356 w 371"/>
                <a:gd name="T1" fmla="*/ 0 h 30"/>
                <a:gd name="T2" fmla="*/ 15 w 371"/>
                <a:gd name="T3" fmla="*/ 0 h 30"/>
                <a:gd name="T4" fmla="*/ 11 w 371"/>
                <a:gd name="T5" fmla="*/ 1 h 30"/>
                <a:gd name="T6" fmla="*/ 9 w 371"/>
                <a:gd name="T7" fmla="*/ 1 h 30"/>
                <a:gd name="T8" fmla="*/ 6 w 371"/>
                <a:gd name="T9" fmla="*/ 3 h 30"/>
                <a:gd name="T10" fmla="*/ 4 w 371"/>
                <a:gd name="T11" fmla="*/ 5 h 30"/>
                <a:gd name="T12" fmla="*/ 2 w 371"/>
                <a:gd name="T13" fmla="*/ 7 h 30"/>
                <a:gd name="T14" fmla="*/ 1 w 371"/>
                <a:gd name="T15" fmla="*/ 9 h 30"/>
                <a:gd name="T16" fmla="*/ 0 w 371"/>
                <a:gd name="T17" fmla="*/ 13 h 30"/>
                <a:gd name="T18" fmla="*/ 0 w 371"/>
                <a:gd name="T19" fmla="*/ 15 h 30"/>
                <a:gd name="T20" fmla="*/ 0 w 371"/>
                <a:gd name="T21" fmla="*/ 18 h 30"/>
                <a:gd name="T22" fmla="*/ 1 w 371"/>
                <a:gd name="T23" fmla="*/ 21 h 30"/>
                <a:gd name="T24" fmla="*/ 2 w 371"/>
                <a:gd name="T25" fmla="*/ 23 h 30"/>
                <a:gd name="T26" fmla="*/ 4 w 371"/>
                <a:gd name="T27" fmla="*/ 25 h 30"/>
                <a:gd name="T28" fmla="*/ 6 w 371"/>
                <a:gd name="T29" fmla="*/ 27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7 h 30"/>
                <a:gd name="T44" fmla="*/ 367 w 371"/>
                <a:gd name="T45" fmla="*/ 25 h 30"/>
                <a:gd name="T46" fmla="*/ 368 w 371"/>
                <a:gd name="T47" fmla="*/ 23 h 30"/>
                <a:gd name="T48" fmla="*/ 370 w 371"/>
                <a:gd name="T49" fmla="*/ 21 h 30"/>
                <a:gd name="T50" fmla="*/ 370 w 371"/>
                <a:gd name="T51" fmla="*/ 18 h 30"/>
                <a:gd name="T52" fmla="*/ 371 w 371"/>
                <a:gd name="T53" fmla="*/ 15 h 30"/>
                <a:gd name="T54" fmla="*/ 370 w 371"/>
                <a:gd name="T55" fmla="*/ 13 h 30"/>
                <a:gd name="T56" fmla="*/ 370 w 371"/>
                <a:gd name="T57" fmla="*/ 9 h 30"/>
                <a:gd name="T58" fmla="*/ 368 w 371"/>
                <a:gd name="T59" fmla="*/ 7 h 30"/>
                <a:gd name="T60" fmla="*/ 367 w 371"/>
                <a:gd name="T61" fmla="*/ 5 h 30"/>
                <a:gd name="T62" fmla="*/ 365 w 371"/>
                <a:gd name="T63" fmla="*/ 3 h 30"/>
                <a:gd name="T64" fmla="*/ 361 w 371"/>
                <a:gd name="T65" fmla="*/ 1 h 30"/>
                <a:gd name="T66" fmla="*/ 358 w 371"/>
                <a:gd name="T67" fmla="*/ 1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1"/>
                  </a:lnTo>
                  <a:lnTo>
                    <a:pt x="9" y="1"/>
                  </a:lnTo>
                  <a:lnTo>
                    <a:pt x="6" y="3"/>
                  </a:lnTo>
                  <a:lnTo>
                    <a:pt x="4" y="5"/>
                  </a:lnTo>
                  <a:lnTo>
                    <a:pt x="2" y="7"/>
                  </a:lnTo>
                  <a:lnTo>
                    <a:pt x="1" y="9"/>
                  </a:lnTo>
                  <a:lnTo>
                    <a:pt x="0" y="13"/>
                  </a:lnTo>
                  <a:lnTo>
                    <a:pt x="0" y="15"/>
                  </a:lnTo>
                  <a:lnTo>
                    <a:pt x="0" y="18"/>
                  </a:lnTo>
                  <a:lnTo>
                    <a:pt x="1" y="21"/>
                  </a:lnTo>
                  <a:lnTo>
                    <a:pt x="2" y="23"/>
                  </a:lnTo>
                  <a:lnTo>
                    <a:pt x="4" y="25"/>
                  </a:lnTo>
                  <a:lnTo>
                    <a:pt x="6" y="27"/>
                  </a:lnTo>
                  <a:lnTo>
                    <a:pt x="9" y="29"/>
                  </a:lnTo>
                  <a:lnTo>
                    <a:pt x="11" y="30"/>
                  </a:lnTo>
                  <a:lnTo>
                    <a:pt x="15" y="30"/>
                  </a:lnTo>
                  <a:lnTo>
                    <a:pt x="356" y="30"/>
                  </a:lnTo>
                  <a:lnTo>
                    <a:pt x="358" y="30"/>
                  </a:lnTo>
                  <a:lnTo>
                    <a:pt x="361" y="29"/>
                  </a:lnTo>
                  <a:lnTo>
                    <a:pt x="365" y="27"/>
                  </a:lnTo>
                  <a:lnTo>
                    <a:pt x="367" y="25"/>
                  </a:lnTo>
                  <a:lnTo>
                    <a:pt x="368" y="23"/>
                  </a:lnTo>
                  <a:lnTo>
                    <a:pt x="370" y="21"/>
                  </a:lnTo>
                  <a:lnTo>
                    <a:pt x="370" y="18"/>
                  </a:lnTo>
                  <a:lnTo>
                    <a:pt x="371" y="15"/>
                  </a:lnTo>
                  <a:lnTo>
                    <a:pt x="370" y="13"/>
                  </a:lnTo>
                  <a:lnTo>
                    <a:pt x="370" y="9"/>
                  </a:lnTo>
                  <a:lnTo>
                    <a:pt x="368" y="7"/>
                  </a:lnTo>
                  <a:lnTo>
                    <a:pt x="367" y="5"/>
                  </a:lnTo>
                  <a:lnTo>
                    <a:pt x="365" y="3"/>
                  </a:lnTo>
                  <a:lnTo>
                    <a:pt x="361" y="1"/>
                  </a:lnTo>
                  <a:lnTo>
                    <a:pt x="358"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9" name="Group 6">
            <a:extLst>
              <a:ext uri="{FF2B5EF4-FFF2-40B4-BE49-F238E27FC236}">
                <a16:creationId xmlns:a16="http://schemas.microsoft.com/office/drawing/2014/main" id="{E28A8C55-E37A-4DA1-B8D3-82F8FDD2078D}"/>
              </a:ext>
            </a:extLst>
          </p:cNvPr>
          <p:cNvGrpSpPr>
            <a:grpSpLocks noChangeAspect="1"/>
          </p:cNvGrpSpPr>
          <p:nvPr/>
        </p:nvGrpSpPr>
        <p:grpSpPr>
          <a:xfrm>
            <a:off x="4439747" y="4345739"/>
            <a:ext cx="306484" cy="306484"/>
            <a:chOff x="9318625" y="771526"/>
            <a:chExt cx="282575" cy="282575"/>
          </a:xfrm>
          <a:solidFill>
            <a:schemeClr val="bg2"/>
          </a:solidFill>
          <a:effectLst/>
        </p:grpSpPr>
        <p:sp>
          <p:nvSpPr>
            <p:cNvPr id="430" name="Freeform 177">
              <a:extLst>
                <a:ext uri="{FF2B5EF4-FFF2-40B4-BE49-F238E27FC236}">
                  <a16:creationId xmlns:a16="http://schemas.microsoft.com/office/drawing/2014/main" id="{A727B06D-3FDF-4FDA-BAC4-D4E00D27A2D2}"/>
                </a:ext>
              </a:extLst>
            </p:cNvPr>
            <p:cNvSpPr>
              <a:spLocks/>
            </p:cNvSpPr>
            <p:nvPr/>
          </p:nvSpPr>
          <p:spPr bwMode="auto">
            <a:xfrm>
              <a:off x="9318625" y="798513"/>
              <a:ext cx="236537" cy="255588"/>
            </a:xfrm>
            <a:custGeom>
              <a:avLst/>
              <a:gdLst>
                <a:gd name="T0" fmla="*/ 729 w 747"/>
                <a:gd name="T1" fmla="*/ 306 h 806"/>
                <a:gd name="T2" fmla="*/ 723 w 747"/>
                <a:gd name="T3" fmla="*/ 308 h 806"/>
                <a:gd name="T4" fmla="*/ 720 w 747"/>
                <a:gd name="T5" fmla="*/ 312 h 806"/>
                <a:gd name="T6" fmla="*/ 717 w 747"/>
                <a:gd name="T7" fmla="*/ 318 h 806"/>
                <a:gd name="T8" fmla="*/ 717 w 747"/>
                <a:gd name="T9" fmla="*/ 776 h 806"/>
                <a:gd name="T10" fmla="*/ 30 w 747"/>
                <a:gd name="T11" fmla="*/ 30 h 806"/>
                <a:gd name="T12" fmla="*/ 621 w 747"/>
                <a:gd name="T13" fmla="*/ 29 h 806"/>
                <a:gd name="T14" fmla="*/ 626 w 747"/>
                <a:gd name="T15" fmla="*/ 27 h 806"/>
                <a:gd name="T16" fmla="*/ 630 w 747"/>
                <a:gd name="T17" fmla="*/ 22 h 806"/>
                <a:gd name="T18" fmla="*/ 632 w 747"/>
                <a:gd name="T19" fmla="*/ 17 h 806"/>
                <a:gd name="T20" fmla="*/ 632 w 747"/>
                <a:gd name="T21" fmla="*/ 12 h 806"/>
                <a:gd name="T22" fmla="*/ 630 w 747"/>
                <a:gd name="T23" fmla="*/ 6 h 806"/>
                <a:gd name="T24" fmla="*/ 626 w 747"/>
                <a:gd name="T25" fmla="*/ 2 h 806"/>
                <a:gd name="T26" fmla="*/ 621 w 747"/>
                <a:gd name="T27" fmla="*/ 0 h 806"/>
                <a:gd name="T28" fmla="*/ 15 w 747"/>
                <a:gd name="T29" fmla="*/ 0 h 806"/>
                <a:gd name="T30" fmla="*/ 9 w 747"/>
                <a:gd name="T31" fmla="*/ 1 h 806"/>
                <a:gd name="T32" fmla="*/ 5 w 747"/>
                <a:gd name="T33" fmla="*/ 4 h 806"/>
                <a:gd name="T34" fmla="*/ 1 w 747"/>
                <a:gd name="T35" fmla="*/ 9 h 806"/>
                <a:gd name="T36" fmla="*/ 0 w 747"/>
                <a:gd name="T37" fmla="*/ 15 h 806"/>
                <a:gd name="T38" fmla="*/ 0 w 747"/>
                <a:gd name="T39" fmla="*/ 794 h 806"/>
                <a:gd name="T40" fmla="*/ 2 w 747"/>
                <a:gd name="T41" fmla="*/ 800 h 806"/>
                <a:gd name="T42" fmla="*/ 7 w 747"/>
                <a:gd name="T43" fmla="*/ 804 h 806"/>
                <a:gd name="T44" fmla="*/ 12 w 747"/>
                <a:gd name="T45" fmla="*/ 806 h 806"/>
                <a:gd name="T46" fmla="*/ 732 w 747"/>
                <a:gd name="T47" fmla="*/ 806 h 806"/>
                <a:gd name="T48" fmla="*/ 738 w 747"/>
                <a:gd name="T49" fmla="*/ 805 h 806"/>
                <a:gd name="T50" fmla="*/ 743 w 747"/>
                <a:gd name="T51" fmla="*/ 802 h 806"/>
                <a:gd name="T52" fmla="*/ 746 w 747"/>
                <a:gd name="T53" fmla="*/ 798 h 806"/>
                <a:gd name="T54" fmla="*/ 747 w 747"/>
                <a:gd name="T55" fmla="*/ 791 h 806"/>
                <a:gd name="T56" fmla="*/ 747 w 747"/>
                <a:gd name="T57" fmla="*/ 318 h 806"/>
                <a:gd name="T58" fmla="*/ 745 w 747"/>
                <a:gd name="T59" fmla="*/ 312 h 806"/>
                <a:gd name="T60" fmla="*/ 741 w 747"/>
                <a:gd name="T61" fmla="*/ 308 h 806"/>
                <a:gd name="T62" fmla="*/ 735 w 747"/>
                <a:gd name="T63" fmla="*/ 306 h 806"/>
                <a:gd name="T64" fmla="*/ 732 w 747"/>
                <a:gd name="T65" fmla="*/ 30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806">
                  <a:moveTo>
                    <a:pt x="732" y="306"/>
                  </a:moveTo>
                  <a:lnTo>
                    <a:pt x="729" y="306"/>
                  </a:lnTo>
                  <a:lnTo>
                    <a:pt x="727" y="307"/>
                  </a:lnTo>
                  <a:lnTo>
                    <a:pt x="723" y="308"/>
                  </a:lnTo>
                  <a:lnTo>
                    <a:pt x="721" y="310"/>
                  </a:lnTo>
                  <a:lnTo>
                    <a:pt x="720" y="312"/>
                  </a:lnTo>
                  <a:lnTo>
                    <a:pt x="718" y="314"/>
                  </a:lnTo>
                  <a:lnTo>
                    <a:pt x="717" y="318"/>
                  </a:lnTo>
                  <a:lnTo>
                    <a:pt x="717" y="321"/>
                  </a:lnTo>
                  <a:lnTo>
                    <a:pt x="717" y="776"/>
                  </a:lnTo>
                  <a:lnTo>
                    <a:pt x="30" y="776"/>
                  </a:lnTo>
                  <a:lnTo>
                    <a:pt x="30" y="30"/>
                  </a:lnTo>
                  <a:lnTo>
                    <a:pt x="617" y="30"/>
                  </a:lnTo>
                  <a:lnTo>
                    <a:pt x="621" y="29"/>
                  </a:lnTo>
                  <a:lnTo>
                    <a:pt x="624" y="28"/>
                  </a:lnTo>
                  <a:lnTo>
                    <a:pt x="626" y="27"/>
                  </a:lnTo>
                  <a:lnTo>
                    <a:pt x="628" y="25"/>
                  </a:lnTo>
                  <a:lnTo>
                    <a:pt x="630" y="22"/>
                  </a:lnTo>
                  <a:lnTo>
                    <a:pt x="631" y="20"/>
                  </a:lnTo>
                  <a:lnTo>
                    <a:pt x="632" y="17"/>
                  </a:lnTo>
                  <a:lnTo>
                    <a:pt x="632" y="15"/>
                  </a:lnTo>
                  <a:lnTo>
                    <a:pt x="632" y="12"/>
                  </a:lnTo>
                  <a:lnTo>
                    <a:pt x="631" y="9"/>
                  </a:lnTo>
                  <a:lnTo>
                    <a:pt x="630" y="6"/>
                  </a:lnTo>
                  <a:lnTo>
                    <a:pt x="628" y="4"/>
                  </a:lnTo>
                  <a:lnTo>
                    <a:pt x="626" y="2"/>
                  </a:lnTo>
                  <a:lnTo>
                    <a:pt x="624" y="1"/>
                  </a:lnTo>
                  <a:lnTo>
                    <a:pt x="621" y="0"/>
                  </a:lnTo>
                  <a:lnTo>
                    <a:pt x="617" y="0"/>
                  </a:lnTo>
                  <a:lnTo>
                    <a:pt x="15" y="0"/>
                  </a:lnTo>
                  <a:lnTo>
                    <a:pt x="12" y="0"/>
                  </a:lnTo>
                  <a:lnTo>
                    <a:pt x="9" y="1"/>
                  </a:lnTo>
                  <a:lnTo>
                    <a:pt x="7" y="2"/>
                  </a:lnTo>
                  <a:lnTo>
                    <a:pt x="5" y="4"/>
                  </a:lnTo>
                  <a:lnTo>
                    <a:pt x="2" y="6"/>
                  </a:lnTo>
                  <a:lnTo>
                    <a:pt x="1" y="9"/>
                  </a:lnTo>
                  <a:lnTo>
                    <a:pt x="0" y="12"/>
                  </a:lnTo>
                  <a:lnTo>
                    <a:pt x="0" y="15"/>
                  </a:lnTo>
                  <a:lnTo>
                    <a:pt x="0" y="791"/>
                  </a:lnTo>
                  <a:lnTo>
                    <a:pt x="0" y="794"/>
                  </a:lnTo>
                  <a:lnTo>
                    <a:pt x="1" y="798"/>
                  </a:lnTo>
                  <a:lnTo>
                    <a:pt x="2" y="800"/>
                  </a:lnTo>
                  <a:lnTo>
                    <a:pt x="5" y="802"/>
                  </a:lnTo>
                  <a:lnTo>
                    <a:pt x="7" y="804"/>
                  </a:lnTo>
                  <a:lnTo>
                    <a:pt x="9" y="805"/>
                  </a:lnTo>
                  <a:lnTo>
                    <a:pt x="12" y="806"/>
                  </a:lnTo>
                  <a:lnTo>
                    <a:pt x="15" y="806"/>
                  </a:lnTo>
                  <a:lnTo>
                    <a:pt x="732" y="806"/>
                  </a:lnTo>
                  <a:lnTo>
                    <a:pt x="735" y="806"/>
                  </a:lnTo>
                  <a:lnTo>
                    <a:pt x="738" y="805"/>
                  </a:lnTo>
                  <a:lnTo>
                    <a:pt x="741" y="804"/>
                  </a:lnTo>
                  <a:lnTo>
                    <a:pt x="743" y="802"/>
                  </a:lnTo>
                  <a:lnTo>
                    <a:pt x="745" y="800"/>
                  </a:lnTo>
                  <a:lnTo>
                    <a:pt x="746" y="798"/>
                  </a:lnTo>
                  <a:lnTo>
                    <a:pt x="747" y="794"/>
                  </a:lnTo>
                  <a:lnTo>
                    <a:pt x="747" y="791"/>
                  </a:lnTo>
                  <a:lnTo>
                    <a:pt x="747" y="321"/>
                  </a:lnTo>
                  <a:lnTo>
                    <a:pt x="747" y="318"/>
                  </a:lnTo>
                  <a:lnTo>
                    <a:pt x="746" y="314"/>
                  </a:lnTo>
                  <a:lnTo>
                    <a:pt x="745" y="312"/>
                  </a:lnTo>
                  <a:lnTo>
                    <a:pt x="743" y="310"/>
                  </a:lnTo>
                  <a:lnTo>
                    <a:pt x="741" y="308"/>
                  </a:lnTo>
                  <a:lnTo>
                    <a:pt x="738" y="307"/>
                  </a:lnTo>
                  <a:lnTo>
                    <a:pt x="735" y="306"/>
                  </a:lnTo>
                  <a:lnTo>
                    <a:pt x="732" y="306"/>
                  </a:lnTo>
                  <a:lnTo>
                    <a:pt x="732" y="30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31" name="Freeform 178">
              <a:extLst>
                <a:ext uri="{FF2B5EF4-FFF2-40B4-BE49-F238E27FC236}">
                  <a16:creationId xmlns:a16="http://schemas.microsoft.com/office/drawing/2014/main" id="{1539654F-3CCE-4E04-8410-D159A36DC803}"/>
                </a:ext>
              </a:extLst>
            </p:cNvPr>
            <p:cNvSpPr>
              <a:spLocks noEditPoints="1"/>
            </p:cNvSpPr>
            <p:nvPr/>
          </p:nvSpPr>
          <p:spPr bwMode="auto">
            <a:xfrm>
              <a:off x="9442450" y="771526"/>
              <a:ext cx="158750" cy="160338"/>
            </a:xfrm>
            <a:custGeom>
              <a:avLst/>
              <a:gdLst>
                <a:gd name="T0" fmla="*/ 433 w 503"/>
                <a:gd name="T1" fmla="*/ 110 h 504"/>
                <a:gd name="T2" fmla="*/ 429 w 503"/>
                <a:gd name="T3" fmla="*/ 37 h 504"/>
                <a:gd name="T4" fmla="*/ 435 w 503"/>
                <a:gd name="T5" fmla="*/ 31 h 504"/>
                <a:gd name="T6" fmla="*/ 442 w 503"/>
                <a:gd name="T7" fmla="*/ 30 h 504"/>
                <a:gd name="T8" fmla="*/ 451 w 503"/>
                <a:gd name="T9" fmla="*/ 31 h 504"/>
                <a:gd name="T10" fmla="*/ 460 w 503"/>
                <a:gd name="T11" fmla="*/ 36 h 504"/>
                <a:gd name="T12" fmla="*/ 466 w 503"/>
                <a:gd name="T13" fmla="*/ 43 h 504"/>
                <a:gd name="T14" fmla="*/ 471 w 503"/>
                <a:gd name="T15" fmla="*/ 52 h 504"/>
                <a:gd name="T16" fmla="*/ 473 w 503"/>
                <a:gd name="T17" fmla="*/ 65 h 504"/>
                <a:gd name="T18" fmla="*/ 467 w 503"/>
                <a:gd name="T19" fmla="*/ 75 h 504"/>
                <a:gd name="T20" fmla="*/ 111 w 503"/>
                <a:gd name="T21" fmla="*/ 431 h 504"/>
                <a:gd name="T22" fmla="*/ 72 w 503"/>
                <a:gd name="T23" fmla="*/ 393 h 504"/>
                <a:gd name="T24" fmla="*/ 411 w 503"/>
                <a:gd name="T25" fmla="*/ 131 h 504"/>
                <a:gd name="T26" fmla="*/ 499 w 503"/>
                <a:gd name="T27" fmla="*/ 40 h 504"/>
                <a:gd name="T28" fmla="*/ 489 w 503"/>
                <a:gd name="T29" fmla="*/ 24 h 504"/>
                <a:gd name="T30" fmla="*/ 476 w 503"/>
                <a:gd name="T31" fmla="*/ 11 h 504"/>
                <a:gd name="T32" fmla="*/ 460 w 503"/>
                <a:gd name="T33" fmla="*/ 4 h 504"/>
                <a:gd name="T34" fmla="*/ 442 w 503"/>
                <a:gd name="T35" fmla="*/ 0 h 504"/>
                <a:gd name="T36" fmla="*/ 424 w 503"/>
                <a:gd name="T37" fmla="*/ 4 h 504"/>
                <a:gd name="T38" fmla="*/ 407 w 503"/>
                <a:gd name="T39" fmla="*/ 15 h 504"/>
                <a:gd name="T40" fmla="*/ 47 w 503"/>
                <a:gd name="T41" fmla="*/ 376 h 504"/>
                <a:gd name="T42" fmla="*/ 1 w 503"/>
                <a:gd name="T43" fmla="*/ 483 h 504"/>
                <a:gd name="T44" fmla="*/ 0 w 503"/>
                <a:gd name="T45" fmla="*/ 492 h 504"/>
                <a:gd name="T46" fmla="*/ 4 w 503"/>
                <a:gd name="T47" fmla="*/ 500 h 504"/>
                <a:gd name="T48" fmla="*/ 9 w 503"/>
                <a:gd name="T49" fmla="*/ 503 h 504"/>
                <a:gd name="T50" fmla="*/ 15 w 503"/>
                <a:gd name="T51" fmla="*/ 504 h 504"/>
                <a:gd name="T52" fmla="*/ 20 w 503"/>
                <a:gd name="T53" fmla="*/ 503 h 504"/>
                <a:gd name="T54" fmla="*/ 127 w 503"/>
                <a:gd name="T55" fmla="*/ 457 h 504"/>
                <a:gd name="T56" fmla="*/ 488 w 503"/>
                <a:gd name="T57" fmla="*/ 96 h 504"/>
                <a:gd name="T58" fmla="*/ 497 w 503"/>
                <a:gd name="T59" fmla="*/ 84 h 504"/>
                <a:gd name="T60" fmla="*/ 502 w 503"/>
                <a:gd name="T61" fmla="*/ 70 h 504"/>
                <a:gd name="T62" fmla="*/ 503 w 503"/>
                <a:gd name="T63" fmla="*/ 55 h 504"/>
                <a:gd name="T64" fmla="*/ 499 w 503"/>
                <a:gd name="T65" fmla="*/ 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3" h="504">
                  <a:moveTo>
                    <a:pt x="467" y="75"/>
                  </a:moveTo>
                  <a:lnTo>
                    <a:pt x="433" y="110"/>
                  </a:lnTo>
                  <a:lnTo>
                    <a:pt x="394" y="71"/>
                  </a:lnTo>
                  <a:lnTo>
                    <a:pt x="429" y="37"/>
                  </a:lnTo>
                  <a:lnTo>
                    <a:pt x="432" y="34"/>
                  </a:lnTo>
                  <a:lnTo>
                    <a:pt x="435" y="31"/>
                  </a:lnTo>
                  <a:lnTo>
                    <a:pt x="439" y="30"/>
                  </a:lnTo>
                  <a:lnTo>
                    <a:pt x="442" y="30"/>
                  </a:lnTo>
                  <a:lnTo>
                    <a:pt x="447" y="30"/>
                  </a:lnTo>
                  <a:lnTo>
                    <a:pt x="451" y="31"/>
                  </a:lnTo>
                  <a:lnTo>
                    <a:pt x="455" y="34"/>
                  </a:lnTo>
                  <a:lnTo>
                    <a:pt x="460" y="36"/>
                  </a:lnTo>
                  <a:lnTo>
                    <a:pt x="463" y="39"/>
                  </a:lnTo>
                  <a:lnTo>
                    <a:pt x="466" y="43"/>
                  </a:lnTo>
                  <a:lnTo>
                    <a:pt x="469" y="48"/>
                  </a:lnTo>
                  <a:lnTo>
                    <a:pt x="471" y="52"/>
                  </a:lnTo>
                  <a:lnTo>
                    <a:pt x="473" y="58"/>
                  </a:lnTo>
                  <a:lnTo>
                    <a:pt x="473" y="65"/>
                  </a:lnTo>
                  <a:lnTo>
                    <a:pt x="471" y="70"/>
                  </a:lnTo>
                  <a:lnTo>
                    <a:pt x="467" y="75"/>
                  </a:lnTo>
                  <a:lnTo>
                    <a:pt x="467" y="75"/>
                  </a:lnTo>
                  <a:close/>
                  <a:moveTo>
                    <a:pt x="111" y="431"/>
                  </a:moveTo>
                  <a:lnTo>
                    <a:pt x="42" y="460"/>
                  </a:lnTo>
                  <a:lnTo>
                    <a:pt x="72" y="393"/>
                  </a:lnTo>
                  <a:lnTo>
                    <a:pt x="373" y="91"/>
                  </a:lnTo>
                  <a:lnTo>
                    <a:pt x="411" y="131"/>
                  </a:lnTo>
                  <a:lnTo>
                    <a:pt x="111" y="431"/>
                  </a:lnTo>
                  <a:close/>
                  <a:moveTo>
                    <a:pt x="499" y="40"/>
                  </a:moveTo>
                  <a:lnTo>
                    <a:pt x="495" y="31"/>
                  </a:lnTo>
                  <a:lnTo>
                    <a:pt x="489" y="24"/>
                  </a:lnTo>
                  <a:lnTo>
                    <a:pt x="483" y="18"/>
                  </a:lnTo>
                  <a:lnTo>
                    <a:pt x="476" y="11"/>
                  </a:lnTo>
                  <a:lnTo>
                    <a:pt x="468" y="7"/>
                  </a:lnTo>
                  <a:lnTo>
                    <a:pt x="460" y="4"/>
                  </a:lnTo>
                  <a:lnTo>
                    <a:pt x="451" y="0"/>
                  </a:lnTo>
                  <a:lnTo>
                    <a:pt x="442" y="0"/>
                  </a:lnTo>
                  <a:lnTo>
                    <a:pt x="433" y="2"/>
                  </a:lnTo>
                  <a:lnTo>
                    <a:pt x="424" y="4"/>
                  </a:lnTo>
                  <a:lnTo>
                    <a:pt x="415" y="9"/>
                  </a:lnTo>
                  <a:lnTo>
                    <a:pt x="407" y="15"/>
                  </a:lnTo>
                  <a:lnTo>
                    <a:pt x="49" y="374"/>
                  </a:lnTo>
                  <a:lnTo>
                    <a:pt x="47" y="376"/>
                  </a:lnTo>
                  <a:lnTo>
                    <a:pt x="46" y="379"/>
                  </a:lnTo>
                  <a:lnTo>
                    <a:pt x="1" y="483"/>
                  </a:lnTo>
                  <a:lnTo>
                    <a:pt x="0" y="487"/>
                  </a:lnTo>
                  <a:lnTo>
                    <a:pt x="0" y="492"/>
                  </a:lnTo>
                  <a:lnTo>
                    <a:pt x="1" y="496"/>
                  </a:lnTo>
                  <a:lnTo>
                    <a:pt x="4" y="500"/>
                  </a:lnTo>
                  <a:lnTo>
                    <a:pt x="6" y="502"/>
                  </a:lnTo>
                  <a:lnTo>
                    <a:pt x="9" y="503"/>
                  </a:lnTo>
                  <a:lnTo>
                    <a:pt x="11" y="504"/>
                  </a:lnTo>
                  <a:lnTo>
                    <a:pt x="15" y="504"/>
                  </a:lnTo>
                  <a:lnTo>
                    <a:pt x="18" y="504"/>
                  </a:lnTo>
                  <a:lnTo>
                    <a:pt x="20" y="503"/>
                  </a:lnTo>
                  <a:lnTo>
                    <a:pt x="125" y="458"/>
                  </a:lnTo>
                  <a:lnTo>
                    <a:pt x="127" y="457"/>
                  </a:lnTo>
                  <a:lnTo>
                    <a:pt x="129" y="455"/>
                  </a:lnTo>
                  <a:lnTo>
                    <a:pt x="488" y="96"/>
                  </a:lnTo>
                  <a:lnTo>
                    <a:pt x="494" y="90"/>
                  </a:lnTo>
                  <a:lnTo>
                    <a:pt x="497" y="84"/>
                  </a:lnTo>
                  <a:lnTo>
                    <a:pt x="500" y="77"/>
                  </a:lnTo>
                  <a:lnTo>
                    <a:pt x="502" y="70"/>
                  </a:lnTo>
                  <a:lnTo>
                    <a:pt x="503" y="63"/>
                  </a:lnTo>
                  <a:lnTo>
                    <a:pt x="503" y="55"/>
                  </a:lnTo>
                  <a:lnTo>
                    <a:pt x="501" y="48"/>
                  </a:lnTo>
                  <a:lnTo>
                    <a:pt x="499" y="4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446" name="Gruppieren 445">
            <a:extLst>
              <a:ext uri="{FF2B5EF4-FFF2-40B4-BE49-F238E27FC236}">
                <a16:creationId xmlns:a16="http://schemas.microsoft.com/office/drawing/2014/main" id="{B79F4984-8484-433E-8E39-2646A69F27B7}"/>
              </a:ext>
            </a:extLst>
          </p:cNvPr>
          <p:cNvGrpSpPr>
            <a:grpSpLocks noChangeAspect="1"/>
          </p:cNvGrpSpPr>
          <p:nvPr/>
        </p:nvGrpSpPr>
        <p:grpSpPr>
          <a:xfrm>
            <a:off x="4922232" y="4345739"/>
            <a:ext cx="256712" cy="306484"/>
            <a:chOff x="6816973" y="3951367"/>
            <a:chExt cx="211076" cy="252000"/>
          </a:xfrm>
          <a:solidFill>
            <a:schemeClr val="bg2"/>
          </a:solidFill>
          <a:effectLst/>
        </p:grpSpPr>
        <p:sp>
          <p:nvSpPr>
            <p:cNvPr id="447" name="Freeform 51">
              <a:extLst>
                <a:ext uri="{FF2B5EF4-FFF2-40B4-BE49-F238E27FC236}">
                  <a16:creationId xmlns:a16="http://schemas.microsoft.com/office/drawing/2014/main" id="{0090D936-117D-4A33-BE72-FB2DA8FCAC7B}"/>
                </a:ext>
              </a:extLst>
            </p:cNvPr>
            <p:cNvSpPr>
              <a:spLocks/>
            </p:cNvSpPr>
            <p:nvPr/>
          </p:nvSpPr>
          <p:spPr bwMode="auto">
            <a:xfrm>
              <a:off x="6816973" y="3982598"/>
              <a:ext cx="211076" cy="220769"/>
            </a:xfrm>
            <a:custGeom>
              <a:avLst/>
              <a:gdLst>
                <a:gd name="T0" fmla="*/ 78 w 80"/>
                <a:gd name="T1" fmla="*/ 84 h 84"/>
                <a:gd name="T2" fmla="*/ 2 w 80"/>
                <a:gd name="T3" fmla="*/ 84 h 84"/>
                <a:gd name="T4" fmla="*/ 0 w 80"/>
                <a:gd name="T5" fmla="*/ 82 h 84"/>
                <a:gd name="T6" fmla="*/ 0 w 80"/>
                <a:gd name="T7" fmla="*/ 2 h 84"/>
                <a:gd name="T8" fmla="*/ 2 w 80"/>
                <a:gd name="T9" fmla="*/ 0 h 84"/>
                <a:gd name="T10" fmla="*/ 24 w 80"/>
                <a:gd name="T11" fmla="*/ 0 h 84"/>
                <a:gd name="T12" fmla="*/ 26 w 80"/>
                <a:gd name="T13" fmla="*/ 2 h 84"/>
                <a:gd name="T14" fmla="*/ 24 w 80"/>
                <a:gd name="T15" fmla="*/ 4 h 84"/>
                <a:gd name="T16" fmla="*/ 4 w 80"/>
                <a:gd name="T17" fmla="*/ 4 h 84"/>
                <a:gd name="T18" fmla="*/ 4 w 80"/>
                <a:gd name="T19" fmla="*/ 80 h 84"/>
                <a:gd name="T20" fmla="*/ 76 w 80"/>
                <a:gd name="T21" fmla="*/ 80 h 84"/>
                <a:gd name="T22" fmla="*/ 76 w 80"/>
                <a:gd name="T23" fmla="*/ 4 h 84"/>
                <a:gd name="T24" fmla="*/ 56 w 80"/>
                <a:gd name="T25" fmla="*/ 4 h 84"/>
                <a:gd name="T26" fmla="*/ 54 w 80"/>
                <a:gd name="T27" fmla="*/ 2 h 84"/>
                <a:gd name="T28" fmla="*/ 56 w 80"/>
                <a:gd name="T29" fmla="*/ 0 h 84"/>
                <a:gd name="T30" fmla="*/ 78 w 80"/>
                <a:gd name="T31" fmla="*/ 0 h 84"/>
                <a:gd name="T32" fmla="*/ 80 w 80"/>
                <a:gd name="T33" fmla="*/ 2 h 84"/>
                <a:gd name="T34" fmla="*/ 80 w 80"/>
                <a:gd name="T35" fmla="*/ 82 h 84"/>
                <a:gd name="T36" fmla="*/ 78 w 8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4">
                  <a:moveTo>
                    <a:pt x="78" y="84"/>
                  </a:moveTo>
                  <a:cubicBezTo>
                    <a:pt x="2" y="84"/>
                    <a:pt x="2" y="84"/>
                    <a:pt x="2" y="84"/>
                  </a:cubicBezTo>
                  <a:cubicBezTo>
                    <a:pt x="1" y="84"/>
                    <a:pt x="0" y="83"/>
                    <a:pt x="0" y="82"/>
                  </a:cubicBezTo>
                  <a:cubicBezTo>
                    <a:pt x="0" y="2"/>
                    <a:pt x="0" y="2"/>
                    <a:pt x="0" y="2"/>
                  </a:cubicBezTo>
                  <a:cubicBezTo>
                    <a:pt x="0" y="1"/>
                    <a:pt x="1" y="0"/>
                    <a:pt x="2" y="0"/>
                  </a:cubicBezTo>
                  <a:cubicBezTo>
                    <a:pt x="24" y="0"/>
                    <a:pt x="24" y="0"/>
                    <a:pt x="24" y="0"/>
                  </a:cubicBezTo>
                  <a:cubicBezTo>
                    <a:pt x="25" y="0"/>
                    <a:pt x="26" y="1"/>
                    <a:pt x="26" y="2"/>
                  </a:cubicBezTo>
                  <a:cubicBezTo>
                    <a:pt x="26" y="3"/>
                    <a:pt x="25" y="4"/>
                    <a:pt x="24" y="4"/>
                  </a:cubicBezTo>
                  <a:cubicBezTo>
                    <a:pt x="4" y="4"/>
                    <a:pt x="4" y="4"/>
                    <a:pt x="4" y="4"/>
                  </a:cubicBezTo>
                  <a:cubicBezTo>
                    <a:pt x="4" y="80"/>
                    <a:pt x="4" y="80"/>
                    <a:pt x="4" y="80"/>
                  </a:cubicBezTo>
                  <a:cubicBezTo>
                    <a:pt x="76" y="80"/>
                    <a:pt x="76" y="80"/>
                    <a:pt x="76" y="80"/>
                  </a:cubicBezTo>
                  <a:cubicBezTo>
                    <a:pt x="76" y="4"/>
                    <a:pt x="76" y="4"/>
                    <a:pt x="76" y="4"/>
                  </a:cubicBezTo>
                  <a:cubicBezTo>
                    <a:pt x="56" y="4"/>
                    <a:pt x="56" y="4"/>
                    <a:pt x="56" y="4"/>
                  </a:cubicBezTo>
                  <a:cubicBezTo>
                    <a:pt x="55" y="4"/>
                    <a:pt x="54" y="3"/>
                    <a:pt x="54" y="2"/>
                  </a:cubicBezTo>
                  <a:cubicBezTo>
                    <a:pt x="54" y="1"/>
                    <a:pt x="55" y="0"/>
                    <a:pt x="56" y="0"/>
                  </a:cubicBezTo>
                  <a:cubicBezTo>
                    <a:pt x="78" y="0"/>
                    <a:pt x="78" y="0"/>
                    <a:pt x="78" y="0"/>
                  </a:cubicBezTo>
                  <a:cubicBezTo>
                    <a:pt x="79" y="0"/>
                    <a:pt x="80" y="1"/>
                    <a:pt x="80" y="2"/>
                  </a:cubicBezTo>
                  <a:cubicBezTo>
                    <a:pt x="80" y="82"/>
                    <a:pt x="80" y="82"/>
                    <a:pt x="80" y="82"/>
                  </a:cubicBezTo>
                  <a:cubicBezTo>
                    <a:pt x="80"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52">
              <a:extLst>
                <a:ext uri="{FF2B5EF4-FFF2-40B4-BE49-F238E27FC236}">
                  <a16:creationId xmlns:a16="http://schemas.microsoft.com/office/drawing/2014/main" id="{578ECE1E-86BD-4180-BD08-FABB925910E1}"/>
                </a:ext>
              </a:extLst>
            </p:cNvPr>
            <p:cNvSpPr>
              <a:spLocks noEditPoints="1"/>
            </p:cNvSpPr>
            <p:nvPr/>
          </p:nvSpPr>
          <p:spPr bwMode="auto">
            <a:xfrm>
              <a:off x="6874050" y="3951367"/>
              <a:ext cx="95846" cy="73231"/>
            </a:xfrm>
            <a:custGeom>
              <a:avLst/>
              <a:gdLst>
                <a:gd name="T0" fmla="*/ 34 w 36"/>
                <a:gd name="T1" fmla="*/ 28 h 28"/>
                <a:gd name="T2" fmla="*/ 2 w 36"/>
                <a:gd name="T3" fmla="*/ 28 h 28"/>
                <a:gd name="T4" fmla="*/ 0 w 36"/>
                <a:gd name="T5" fmla="*/ 26 h 28"/>
                <a:gd name="T6" fmla="*/ 0 w 36"/>
                <a:gd name="T7" fmla="*/ 10 h 28"/>
                <a:gd name="T8" fmla="*/ 2 w 36"/>
                <a:gd name="T9" fmla="*/ 8 h 28"/>
                <a:gd name="T10" fmla="*/ 8 w 36"/>
                <a:gd name="T11" fmla="*/ 8 h 28"/>
                <a:gd name="T12" fmla="*/ 18 w 36"/>
                <a:gd name="T13" fmla="*/ 0 h 28"/>
                <a:gd name="T14" fmla="*/ 28 w 36"/>
                <a:gd name="T15" fmla="*/ 8 h 28"/>
                <a:gd name="T16" fmla="*/ 34 w 36"/>
                <a:gd name="T17" fmla="*/ 8 h 28"/>
                <a:gd name="T18" fmla="*/ 36 w 36"/>
                <a:gd name="T19" fmla="*/ 10 h 28"/>
                <a:gd name="T20" fmla="*/ 36 w 36"/>
                <a:gd name="T21" fmla="*/ 26 h 28"/>
                <a:gd name="T22" fmla="*/ 34 w 36"/>
                <a:gd name="T23" fmla="*/ 28 h 28"/>
                <a:gd name="T24" fmla="*/ 4 w 36"/>
                <a:gd name="T25" fmla="*/ 24 h 28"/>
                <a:gd name="T26" fmla="*/ 32 w 36"/>
                <a:gd name="T27" fmla="*/ 24 h 28"/>
                <a:gd name="T28" fmla="*/ 32 w 36"/>
                <a:gd name="T29" fmla="*/ 12 h 28"/>
                <a:gd name="T30" fmla="*/ 26 w 36"/>
                <a:gd name="T31" fmla="*/ 12 h 28"/>
                <a:gd name="T32" fmla="*/ 24 w 36"/>
                <a:gd name="T33" fmla="*/ 10 h 28"/>
                <a:gd name="T34" fmla="*/ 18 w 36"/>
                <a:gd name="T35" fmla="*/ 4 h 28"/>
                <a:gd name="T36" fmla="*/ 12 w 36"/>
                <a:gd name="T37" fmla="*/ 10 h 28"/>
                <a:gd name="T38" fmla="*/ 10 w 36"/>
                <a:gd name="T39" fmla="*/ 12 h 28"/>
                <a:gd name="T40" fmla="*/ 4 w 36"/>
                <a:gd name="T41" fmla="*/ 12 h 28"/>
                <a:gd name="T42" fmla="*/ 4 w 36"/>
                <a:gd name="T4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28">
                  <a:moveTo>
                    <a:pt x="34" y="28"/>
                  </a:moveTo>
                  <a:cubicBezTo>
                    <a:pt x="2" y="28"/>
                    <a:pt x="2" y="28"/>
                    <a:pt x="2" y="28"/>
                  </a:cubicBezTo>
                  <a:cubicBezTo>
                    <a:pt x="1" y="28"/>
                    <a:pt x="0" y="27"/>
                    <a:pt x="0" y="26"/>
                  </a:cubicBezTo>
                  <a:cubicBezTo>
                    <a:pt x="0" y="10"/>
                    <a:pt x="0" y="10"/>
                    <a:pt x="0" y="10"/>
                  </a:cubicBezTo>
                  <a:cubicBezTo>
                    <a:pt x="0" y="9"/>
                    <a:pt x="1" y="8"/>
                    <a:pt x="2" y="8"/>
                  </a:cubicBezTo>
                  <a:cubicBezTo>
                    <a:pt x="8" y="8"/>
                    <a:pt x="8" y="8"/>
                    <a:pt x="8" y="8"/>
                  </a:cubicBezTo>
                  <a:cubicBezTo>
                    <a:pt x="9" y="3"/>
                    <a:pt x="13" y="0"/>
                    <a:pt x="18" y="0"/>
                  </a:cubicBezTo>
                  <a:cubicBezTo>
                    <a:pt x="23" y="0"/>
                    <a:pt x="27" y="3"/>
                    <a:pt x="28" y="8"/>
                  </a:cubicBezTo>
                  <a:cubicBezTo>
                    <a:pt x="34" y="8"/>
                    <a:pt x="34" y="8"/>
                    <a:pt x="34" y="8"/>
                  </a:cubicBezTo>
                  <a:cubicBezTo>
                    <a:pt x="35" y="8"/>
                    <a:pt x="36" y="9"/>
                    <a:pt x="36" y="10"/>
                  </a:cubicBezTo>
                  <a:cubicBezTo>
                    <a:pt x="36" y="26"/>
                    <a:pt x="36" y="26"/>
                    <a:pt x="36" y="26"/>
                  </a:cubicBezTo>
                  <a:cubicBezTo>
                    <a:pt x="36" y="27"/>
                    <a:pt x="35" y="28"/>
                    <a:pt x="34" y="28"/>
                  </a:cubicBezTo>
                  <a:close/>
                  <a:moveTo>
                    <a:pt x="4" y="24"/>
                  </a:moveTo>
                  <a:cubicBezTo>
                    <a:pt x="32" y="24"/>
                    <a:pt x="32" y="24"/>
                    <a:pt x="32" y="24"/>
                  </a:cubicBezTo>
                  <a:cubicBezTo>
                    <a:pt x="32" y="12"/>
                    <a:pt x="32" y="12"/>
                    <a:pt x="32" y="12"/>
                  </a:cubicBezTo>
                  <a:cubicBezTo>
                    <a:pt x="26" y="12"/>
                    <a:pt x="26" y="12"/>
                    <a:pt x="26" y="12"/>
                  </a:cubicBezTo>
                  <a:cubicBezTo>
                    <a:pt x="25" y="12"/>
                    <a:pt x="24" y="11"/>
                    <a:pt x="24" y="10"/>
                  </a:cubicBezTo>
                  <a:cubicBezTo>
                    <a:pt x="24" y="7"/>
                    <a:pt x="21" y="4"/>
                    <a:pt x="18" y="4"/>
                  </a:cubicBezTo>
                  <a:cubicBezTo>
                    <a:pt x="15" y="4"/>
                    <a:pt x="12" y="7"/>
                    <a:pt x="12" y="10"/>
                  </a:cubicBezTo>
                  <a:cubicBezTo>
                    <a:pt x="12" y="11"/>
                    <a:pt x="11" y="12"/>
                    <a:pt x="10" y="12"/>
                  </a:cubicBezTo>
                  <a:cubicBezTo>
                    <a:pt x="4" y="12"/>
                    <a:pt x="4" y="12"/>
                    <a:pt x="4" y="1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53">
              <a:extLst>
                <a:ext uri="{FF2B5EF4-FFF2-40B4-BE49-F238E27FC236}">
                  <a16:creationId xmlns:a16="http://schemas.microsoft.com/office/drawing/2014/main" id="{C81873F9-FE86-4CE2-A7DA-8592EAA4185A}"/>
                </a:ext>
              </a:extLst>
            </p:cNvPr>
            <p:cNvSpPr>
              <a:spLocks/>
            </p:cNvSpPr>
            <p:nvPr/>
          </p:nvSpPr>
          <p:spPr bwMode="auto">
            <a:xfrm>
              <a:off x="6837434" y="4004136"/>
              <a:ext cx="169076" cy="178769"/>
            </a:xfrm>
            <a:custGeom>
              <a:avLst/>
              <a:gdLst>
                <a:gd name="T0" fmla="*/ 48 w 64"/>
                <a:gd name="T1" fmla="*/ 68 h 68"/>
                <a:gd name="T2" fmla="*/ 48 w 64"/>
                <a:gd name="T3" fmla="*/ 68 h 68"/>
                <a:gd name="T4" fmla="*/ 2 w 64"/>
                <a:gd name="T5" fmla="*/ 68 h 68"/>
                <a:gd name="T6" fmla="*/ 0 w 64"/>
                <a:gd name="T7" fmla="*/ 66 h 68"/>
                <a:gd name="T8" fmla="*/ 0 w 64"/>
                <a:gd name="T9" fmla="*/ 2 h 68"/>
                <a:gd name="T10" fmla="*/ 2 w 64"/>
                <a:gd name="T11" fmla="*/ 0 h 68"/>
                <a:gd name="T12" fmla="*/ 16 w 64"/>
                <a:gd name="T13" fmla="*/ 0 h 68"/>
                <a:gd name="T14" fmla="*/ 18 w 64"/>
                <a:gd name="T15" fmla="*/ 2 h 68"/>
                <a:gd name="T16" fmla="*/ 16 w 64"/>
                <a:gd name="T17" fmla="*/ 4 h 68"/>
                <a:gd name="T18" fmla="*/ 4 w 64"/>
                <a:gd name="T19" fmla="*/ 4 h 68"/>
                <a:gd name="T20" fmla="*/ 4 w 64"/>
                <a:gd name="T21" fmla="*/ 64 h 68"/>
                <a:gd name="T22" fmla="*/ 47 w 64"/>
                <a:gd name="T23" fmla="*/ 64 h 68"/>
                <a:gd name="T24" fmla="*/ 60 w 64"/>
                <a:gd name="T25" fmla="*/ 49 h 68"/>
                <a:gd name="T26" fmla="*/ 60 w 64"/>
                <a:gd name="T27" fmla="*/ 4 h 68"/>
                <a:gd name="T28" fmla="*/ 48 w 64"/>
                <a:gd name="T29" fmla="*/ 4 h 68"/>
                <a:gd name="T30" fmla="*/ 46 w 64"/>
                <a:gd name="T31" fmla="*/ 2 h 68"/>
                <a:gd name="T32" fmla="*/ 48 w 64"/>
                <a:gd name="T33" fmla="*/ 0 h 68"/>
                <a:gd name="T34" fmla="*/ 62 w 64"/>
                <a:gd name="T35" fmla="*/ 0 h 68"/>
                <a:gd name="T36" fmla="*/ 64 w 64"/>
                <a:gd name="T37" fmla="*/ 2 h 68"/>
                <a:gd name="T38" fmla="*/ 64 w 64"/>
                <a:gd name="T39" fmla="*/ 50 h 68"/>
                <a:gd name="T40" fmla="*/ 64 w 64"/>
                <a:gd name="T41" fmla="*/ 51 h 68"/>
                <a:gd name="T42" fmla="*/ 50 w 64"/>
                <a:gd name="T43" fmla="*/ 67 h 68"/>
                <a:gd name="T44" fmla="*/ 48 w 64"/>
                <a:gd name="T4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68">
                  <a:moveTo>
                    <a:pt x="48" y="68"/>
                  </a:moveTo>
                  <a:cubicBezTo>
                    <a:pt x="48" y="68"/>
                    <a:pt x="48" y="68"/>
                    <a:pt x="48" y="68"/>
                  </a:cubicBezTo>
                  <a:cubicBezTo>
                    <a:pt x="2" y="68"/>
                    <a:pt x="2" y="68"/>
                    <a:pt x="2" y="68"/>
                  </a:cubicBezTo>
                  <a:cubicBezTo>
                    <a:pt x="1" y="68"/>
                    <a:pt x="0" y="67"/>
                    <a:pt x="0" y="66"/>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64"/>
                    <a:pt x="4" y="64"/>
                    <a:pt x="4" y="64"/>
                  </a:cubicBezTo>
                  <a:cubicBezTo>
                    <a:pt x="47" y="64"/>
                    <a:pt x="47" y="64"/>
                    <a:pt x="47" y="64"/>
                  </a:cubicBezTo>
                  <a:cubicBezTo>
                    <a:pt x="60" y="49"/>
                    <a:pt x="60" y="49"/>
                    <a:pt x="60" y="49"/>
                  </a:cubicBezTo>
                  <a:cubicBezTo>
                    <a:pt x="60" y="4"/>
                    <a:pt x="60" y="4"/>
                    <a:pt x="60" y="4"/>
                  </a:cubicBezTo>
                  <a:cubicBezTo>
                    <a:pt x="48" y="4"/>
                    <a:pt x="48" y="4"/>
                    <a:pt x="48" y="4"/>
                  </a:cubicBezTo>
                  <a:cubicBezTo>
                    <a:pt x="47" y="4"/>
                    <a:pt x="46" y="3"/>
                    <a:pt x="46" y="2"/>
                  </a:cubicBezTo>
                  <a:cubicBezTo>
                    <a:pt x="46" y="1"/>
                    <a:pt x="47" y="0"/>
                    <a:pt x="48" y="0"/>
                  </a:cubicBezTo>
                  <a:cubicBezTo>
                    <a:pt x="62" y="0"/>
                    <a:pt x="62" y="0"/>
                    <a:pt x="62" y="0"/>
                  </a:cubicBezTo>
                  <a:cubicBezTo>
                    <a:pt x="63" y="0"/>
                    <a:pt x="64" y="1"/>
                    <a:pt x="64" y="2"/>
                  </a:cubicBezTo>
                  <a:cubicBezTo>
                    <a:pt x="64" y="50"/>
                    <a:pt x="64" y="50"/>
                    <a:pt x="64" y="50"/>
                  </a:cubicBezTo>
                  <a:cubicBezTo>
                    <a:pt x="64" y="50"/>
                    <a:pt x="64" y="51"/>
                    <a:pt x="64" y="51"/>
                  </a:cubicBezTo>
                  <a:cubicBezTo>
                    <a:pt x="50" y="67"/>
                    <a:pt x="50" y="67"/>
                    <a:pt x="50" y="67"/>
                  </a:cubicBezTo>
                  <a:cubicBezTo>
                    <a:pt x="49" y="68"/>
                    <a:pt x="49" y="68"/>
                    <a:pt x="4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54">
              <a:extLst>
                <a:ext uri="{FF2B5EF4-FFF2-40B4-BE49-F238E27FC236}">
                  <a16:creationId xmlns:a16="http://schemas.microsoft.com/office/drawing/2014/main" id="{659E8E30-B376-48A4-8D09-7938BDCF02EC}"/>
                </a:ext>
              </a:extLst>
            </p:cNvPr>
            <p:cNvSpPr>
              <a:spLocks/>
            </p:cNvSpPr>
            <p:nvPr/>
          </p:nvSpPr>
          <p:spPr bwMode="auto">
            <a:xfrm>
              <a:off x="6877281" y="4053675"/>
              <a:ext cx="87230" cy="71077"/>
            </a:xfrm>
            <a:custGeom>
              <a:avLst/>
              <a:gdLst>
                <a:gd name="T0" fmla="*/ 12 w 33"/>
                <a:gd name="T1" fmla="*/ 27 h 27"/>
                <a:gd name="T2" fmla="*/ 11 w 33"/>
                <a:gd name="T3" fmla="*/ 26 h 27"/>
                <a:gd name="T4" fmla="*/ 1 w 33"/>
                <a:gd name="T5" fmla="*/ 16 h 27"/>
                <a:gd name="T6" fmla="*/ 1 w 33"/>
                <a:gd name="T7" fmla="*/ 14 h 27"/>
                <a:gd name="T8" fmla="*/ 4 w 33"/>
                <a:gd name="T9" fmla="*/ 14 h 27"/>
                <a:gd name="T10" fmla="*/ 12 w 33"/>
                <a:gd name="T11" fmla="*/ 22 h 27"/>
                <a:gd name="T12" fmla="*/ 29 w 33"/>
                <a:gd name="T13" fmla="*/ 1 h 27"/>
                <a:gd name="T14" fmla="*/ 32 w 33"/>
                <a:gd name="T15" fmla="*/ 0 h 27"/>
                <a:gd name="T16" fmla="*/ 33 w 33"/>
                <a:gd name="T17" fmla="*/ 3 h 27"/>
                <a:gd name="T18" fmla="*/ 14 w 33"/>
                <a:gd name="T19" fmla="*/ 26 h 27"/>
                <a:gd name="T20" fmla="*/ 13 w 33"/>
                <a:gd name="T21" fmla="*/ 27 h 27"/>
                <a:gd name="T22" fmla="*/ 12 w 33"/>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7">
                  <a:moveTo>
                    <a:pt x="12" y="27"/>
                  </a:moveTo>
                  <a:cubicBezTo>
                    <a:pt x="12" y="27"/>
                    <a:pt x="11" y="27"/>
                    <a:pt x="11" y="26"/>
                  </a:cubicBezTo>
                  <a:cubicBezTo>
                    <a:pt x="1" y="16"/>
                    <a:pt x="1" y="16"/>
                    <a:pt x="1" y="16"/>
                  </a:cubicBezTo>
                  <a:cubicBezTo>
                    <a:pt x="0" y="16"/>
                    <a:pt x="0" y="14"/>
                    <a:pt x="1" y="14"/>
                  </a:cubicBezTo>
                  <a:cubicBezTo>
                    <a:pt x="2" y="13"/>
                    <a:pt x="3" y="13"/>
                    <a:pt x="4" y="14"/>
                  </a:cubicBezTo>
                  <a:cubicBezTo>
                    <a:pt x="12" y="22"/>
                    <a:pt x="12" y="22"/>
                    <a:pt x="12" y="22"/>
                  </a:cubicBezTo>
                  <a:cubicBezTo>
                    <a:pt x="29" y="1"/>
                    <a:pt x="29" y="1"/>
                    <a:pt x="29" y="1"/>
                  </a:cubicBezTo>
                  <a:cubicBezTo>
                    <a:pt x="30" y="0"/>
                    <a:pt x="31" y="0"/>
                    <a:pt x="32" y="0"/>
                  </a:cubicBezTo>
                  <a:cubicBezTo>
                    <a:pt x="33" y="1"/>
                    <a:pt x="33" y="2"/>
                    <a:pt x="33" y="3"/>
                  </a:cubicBezTo>
                  <a:cubicBezTo>
                    <a:pt x="14" y="26"/>
                    <a:pt x="14" y="26"/>
                    <a:pt x="14" y="26"/>
                  </a:cubicBezTo>
                  <a:cubicBezTo>
                    <a:pt x="14" y="27"/>
                    <a:pt x="13" y="27"/>
                    <a:pt x="13" y="27"/>
                  </a:cubicBezTo>
                  <a:cubicBezTo>
                    <a:pt x="13" y="27"/>
                    <a:pt x="13" y="27"/>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55">
              <a:extLst>
                <a:ext uri="{FF2B5EF4-FFF2-40B4-BE49-F238E27FC236}">
                  <a16:creationId xmlns:a16="http://schemas.microsoft.com/office/drawing/2014/main" id="{8CB203B1-6C81-4999-87A0-E8481BEFAD12}"/>
                </a:ext>
              </a:extLst>
            </p:cNvPr>
            <p:cNvSpPr>
              <a:spLocks/>
            </p:cNvSpPr>
            <p:nvPr/>
          </p:nvSpPr>
          <p:spPr bwMode="auto">
            <a:xfrm>
              <a:off x="6959127" y="4124751"/>
              <a:ext cx="47385" cy="58154"/>
            </a:xfrm>
            <a:custGeom>
              <a:avLst/>
              <a:gdLst>
                <a:gd name="T0" fmla="*/ 2 w 18"/>
                <a:gd name="T1" fmla="*/ 22 h 22"/>
                <a:gd name="T2" fmla="*/ 0 w 18"/>
                <a:gd name="T3" fmla="*/ 20 h 22"/>
                <a:gd name="T4" fmla="*/ 0 w 18"/>
                <a:gd name="T5" fmla="*/ 2 h 22"/>
                <a:gd name="T6" fmla="*/ 2 w 18"/>
                <a:gd name="T7" fmla="*/ 0 h 22"/>
                <a:gd name="T8" fmla="*/ 16 w 18"/>
                <a:gd name="T9" fmla="*/ 0 h 22"/>
                <a:gd name="T10" fmla="*/ 18 w 18"/>
                <a:gd name="T11" fmla="*/ 2 h 22"/>
                <a:gd name="T12" fmla="*/ 16 w 18"/>
                <a:gd name="T13" fmla="*/ 4 h 22"/>
                <a:gd name="T14" fmla="*/ 4 w 18"/>
                <a:gd name="T15" fmla="*/ 4 h 22"/>
                <a:gd name="T16" fmla="*/ 4 w 18"/>
                <a:gd name="T17" fmla="*/ 20 h 22"/>
                <a:gd name="T18" fmla="*/ 2 w 18"/>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2">
                  <a:moveTo>
                    <a:pt x="2" y="22"/>
                  </a:moveTo>
                  <a:cubicBezTo>
                    <a:pt x="1" y="22"/>
                    <a:pt x="0" y="21"/>
                    <a:pt x="0" y="20"/>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20"/>
                    <a:pt x="4" y="20"/>
                    <a:pt x="4" y="20"/>
                  </a:cubicBezTo>
                  <a:cubicBezTo>
                    <a:pt x="4" y="21"/>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2" name="Gruppieren 451">
            <a:extLst>
              <a:ext uri="{FF2B5EF4-FFF2-40B4-BE49-F238E27FC236}">
                <a16:creationId xmlns:a16="http://schemas.microsoft.com/office/drawing/2014/main" id="{62A4F194-E23E-4DB2-8116-83473EBD62B9}"/>
              </a:ext>
            </a:extLst>
          </p:cNvPr>
          <p:cNvGrpSpPr>
            <a:grpSpLocks noChangeAspect="1"/>
          </p:cNvGrpSpPr>
          <p:nvPr/>
        </p:nvGrpSpPr>
        <p:grpSpPr>
          <a:xfrm>
            <a:off x="5368420" y="4345739"/>
            <a:ext cx="305173" cy="306484"/>
            <a:chOff x="5825872" y="2331440"/>
            <a:chExt cx="228111" cy="229091"/>
          </a:xfrm>
          <a:solidFill>
            <a:schemeClr val="bg2"/>
          </a:solidFill>
          <a:effectLst/>
        </p:grpSpPr>
        <p:sp>
          <p:nvSpPr>
            <p:cNvPr id="453" name="Freeform 34">
              <a:extLst>
                <a:ext uri="{FF2B5EF4-FFF2-40B4-BE49-F238E27FC236}">
                  <a16:creationId xmlns:a16="http://schemas.microsoft.com/office/drawing/2014/main" id="{28B3BA61-58EE-4B35-AF61-F928A994F64E}"/>
                </a:ext>
              </a:extLst>
            </p:cNvPr>
            <p:cNvSpPr>
              <a:spLocks noEditPoints="1"/>
            </p:cNvSpPr>
            <p:nvPr/>
          </p:nvSpPr>
          <p:spPr bwMode="auto">
            <a:xfrm>
              <a:off x="5940417" y="2445986"/>
              <a:ext cx="113566" cy="114545"/>
            </a:xfrm>
            <a:custGeom>
              <a:avLst/>
              <a:gdLst>
                <a:gd name="T0" fmla="*/ 2 w 48"/>
                <a:gd name="T1" fmla="*/ 48 h 48"/>
                <a:gd name="T2" fmla="*/ 1 w 48"/>
                <a:gd name="T3" fmla="*/ 47 h 48"/>
                <a:gd name="T4" fmla="*/ 0 w 48"/>
                <a:gd name="T5" fmla="*/ 45 h 48"/>
                <a:gd name="T6" fmla="*/ 4 w 48"/>
                <a:gd name="T7" fmla="*/ 31 h 48"/>
                <a:gd name="T8" fmla="*/ 5 w 48"/>
                <a:gd name="T9" fmla="*/ 31 h 48"/>
                <a:gd name="T10" fmla="*/ 35 w 48"/>
                <a:gd name="T11" fmla="*/ 1 h 48"/>
                <a:gd name="T12" fmla="*/ 37 w 48"/>
                <a:gd name="T13" fmla="*/ 1 h 48"/>
                <a:gd name="T14" fmla="*/ 47 w 48"/>
                <a:gd name="T15" fmla="*/ 11 h 48"/>
                <a:gd name="T16" fmla="*/ 47 w 48"/>
                <a:gd name="T17" fmla="*/ 13 h 48"/>
                <a:gd name="T18" fmla="*/ 17 w 48"/>
                <a:gd name="T19" fmla="*/ 43 h 48"/>
                <a:gd name="T20" fmla="*/ 17 w 48"/>
                <a:gd name="T21" fmla="*/ 44 h 48"/>
                <a:gd name="T22" fmla="*/ 3 w 48"/>
                <a:gd name="T23" fmla="*/ 48 h 48"/>
                <a:gd name="T24" fmla="*/ 2 w 48"/>
                <a:gd name="T25" fmla="*/ 48 h 48"/>
                <a:gd name="T26" fmla="*/ 8 w 48"/>
                <a:gd name="T27" fmla="*/ 33 h 48"/>
                <a:gd name="T28" fmla="*/ 5 w 48"/>
                <a:gd name="T29" fmla="*/ 43 h 48"/>
                <a:gd name="T30" fmla="*/ 15 w 48"/>
                <a:gd name="T31" fmla="*/ 40 h 48"/>
                <a:gd name="T32" fmla="*/ 43 w 48"/>
                <a:gd name="T33" fmla="*/ 12 h 48"/>
                <a:gd name="T34" fmla="*/ 36 w 48"/>
                <a:gd name="T35" fmla="*/ 5 h 48"/>
                <a:gd name="T36" fmla="*/ 8 w 48"/>
                <a:gd name="T37"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2" y="48"/>
                  </a:moveTo>
                  <a:cubicBezTo>
                    <a:pt x="1" y="48"/>
                    <a:pt x="1" y="48"/>
                    <a:pt x="1" y="47"/>
                  </a:cubicBezTo>
                  <a:cubicBezTo>
                    <a:pt x="0" y="47"/>
                    <a:pt x="0" y="46"/>
                    <a:pt x="0" y="45"/>
                  </a:cubicBezTo>
                  <a:cubicBezTo>
                    <a:pt x="4" y="31"/>
                    <a:pt x="4" y="31"/>
                    <a:pt x="4" y="31"/>
                  </a:cubicBezTo>
                  <a:cubicBezTo>
                    <a:pt x="4" y="31"/>
                    <a:pt x="4" y="31"/>
                    <a:pt x="5" y="31"/>
                  </a:cubicBezTo>
                  <a:cubicBezTo>
                    <a:pt x="35" y="1"/>
                    <a:pt x="35" y="1"/>
                    <a:pt x="35" y="1"/>
                  </a:cubicBezTo>
                  <a:cubicBezTo>
                    <a:pt x="35" y="0"/>
                    <a:pt x="37" y="0"/>
                    <a:pt x="37" y="1"/>
                  </a:cubicBezTo>
                  <a:cubicBezTo>
                    <a:pt x="47" y="11"/>
                    <a:pt x="47" y="11"/>
                    <a:pt x="47" y="11"/>
                  </a:cubicBezTo>
                  <a:cubicBezTo>
                    <a:pt x="48" y="11"/>
                    <a:pt x="48" y="13"/>
                    <a:pt x="47" y="13"/>
                  </a:cubicBezTo>
                  <a:cubicBezTo>
                    <a:pt x="17" y="43"/>
                    <a:pt x="17" y="43"/>
                    <a:pt x="17" y="43"/>
                  </a:cubicBezTo>
                  <a:cubicBezTo>
                    <a:pt x="17" y="44"/>
                    <a:pt x="17" y="44"/>
                    <a:pt x="17" y="44"/>
                  </a:cubicBezTo>
                  <a:cubicBezTo>
                    <a:pt x="3" y="48"/>
                    <a:pt x="3" y="48"/>
                    <a:pt x="3" y="48"/>
                  </a:cubicBezTo>
                  <a:cubicBezTo>
                    <a:pt x="2" y="48"/>
                    <a:pt x="2" y="48"/>
                    <a:pt x="2" y="48"/>
                  </a:cubicBezTo>
                  <a:close/>
                  <a:moveTo>
                    <a:pt x="8" y="33"/>
                  </a:moveTo>
                  <a:cubicBezTo>
                    <a:pt x="5" y="43"/>
                    <a:pt x="5" y="43"/>
                    <a:pt x="5" y="43"/>
                  </a:cubicBezTo>
                  <a:cubicBezTo>
                    <a:pt x="15" y="40"/>
                    <a:pt x="15" y="40"/>
                    <a:pt x="15" y="40"/>
                  </a:cubicBezTo>
                  <a:cubicBezTo>
                    <a:pt x="43" y="12"/>
                    <a:pt x="43" y="12"/>
                    <a:pt x="43" y="12"/>
                  </a:cubicBezTo>
                  <a:cubicBezTo>
                    <a:pt x="36" y="5"/>
                    <a:pt x="36" y="5"/>
                    <a:pt x="36" y="5"/>
                  </a:cubicBezTo>
                  <a:lnTo>
                    <a:pt x="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4" name="Gruppieren 453">
              <a:extLst>
                <a:ext uri="{FF2B5EF4-FFF2-40B4-BE49-F238E27FC236}">
                  <a16:creationId xmlns:a16="http://schemas.microsoft.com/office/drawing/2014/main" id="{DD017AA9-8C70-4ABC-8F0A-769F2964D85E}"/>
                </a:ext>
              </a:extLst>
            </p:cNvPr>
            <p:cNvGrpSpPr/>
            <p:nvPr/>
          </p:nvGrpSpPr>
          <p:grpSpPr>
            <a:xfrm>
              <a:off x="5825872" y="2331440"/>
              <a:ext cx="206572" cy="219301"/>
              <a:chOff x="5825872" y="2331440"/>
              <a:chExt cx="206572" cy="219301"/>
            </a:xfrm>
            <a:grpFill/>
          </p:grpSpPr>
          <p:sp>
            <p:nvSpPr>
              <p:cNvPr id="455" name="Freeform 35">
                <a:extLst>
                  <a:ext uri="{FF2B5EF4-FFF2-40B4-BE49-F238E27FC236}">
                    <a16:creationId xmlns:a16="http://schemas.microsoft.com/office/drawing/2014/main" id="{C1C4D640-ADC9-43F1-AB55-6544936BD5F0}"/>
                  </a:ext>
                </a:extLst>
              </p:cNvPr>
              <p:cNvSpPr>
                <a:spLocks/>
              </p:cNvSpPr>
              <p:nvPr/>
            </p:nvSpPr>
            <p:spPr bwMode="auto">
              <a:xfrm>
                <a:off x="6004053" y="2467524"/>
                <a:ext cx="28391" cy="28392"/>
              </a:xfrm>
              <a:custGeom>
                <a:avLst/>
                <a:gdLst>
                  <a:gd name="T0" fmla="*/ 24 w 29"/>
                  <a:gd name="T1" fmla="*/ 29 h 29"/>
                  <a:gd name="T2" fmla="*/ 0 w 29"/>
                  <a:gd name="T3" fmla="*/ 5 h 29"/>
                  <a:gd name="T4" fmla="*/ 5 w 29"/>
                  <a:gd name="T5" fmla="*/ 0 h 29"/>
                  <a:gd name="T6" fmla="*/ 29 w 29"/>
                  <a:gd name="T7" fmla="*/ 24 h 29"/>
                  <a:gd name="T8" fmla="*/ 24 w 29"/>
                  <a:gd name="T9" fmla="*/ 29 h 29"/>
                </a:gdLst>
                <a:ahLst/>
                <a:cxnLst>
                  <a:cxn ang="0">
                    <a:pos x="T0" y="T1"/>
                  </a:cxn>
                  <a:cxn ang="0">
                    <a:pos x="T2" y="T3"/>
                  </a:cxn>
                  <a:cxn ang="0">
                    <a:pos x="T4" y="T5"/>
                  </a:cxn>
                  <a:cxn ang="0">
                    <a:pos x="T6" y="T7"/>
                  </a:cxn>
                  <a:cxn ang="0">
                    <a:pos x="T8" y="T9"/>
                  </a:cxn>
                </a:cxnLst>
                <a:rect l="0" t="0" r="r" b="b"/>
                <a:pathLst>
                  <a:path w="29" h="29">
                    <a:moveTo>
                      <a:pt x="24" y="29"/>
                    </a:moveTo>
                    <a:lnTo>
                      <a:pt x="0" y="5"/>
                    </a:lnTo>
                    <a:lnTo>
                      <a:pt x="5" y="0"/>
                    </a:lnTo>
                    <a:lnTo>
                      <a:pt x="29" y="24"/>
                    </a:lnTo>
                    <a:lnTo>
                      <a:pt x="2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36">
                <a:extLst>
                  <a:ext uri="{FF2B5EF4-FFF2-40B4-BE49-F238E27FC236}">
                    <a16:creationId xmlns:a16="http://schemas.microsoft.com/office/drawing/2014/main" id="{1E2385AE-C495-43AB-8705-CEAC7F2D11AD}"/>
                  </a:ext>
                </a:extLst>
              </p:cNvPr>
              <p:cNvSpPr>
                <a:spLocks/>
              </p:cNvSpPr>
              <p:nvPr/>
            </p:nvSpPr>
            <p:spPr bwMode="auto">
              <a:xfrm>
                <a:off x="5949228" y="2517454"/>
                <a:ext cx="33287" cy="33287"/>
              </a:xfrm>
              <a:custGeom>
                <a:avLst/>
                <a:gdLst>
                  <a:gd name="T0" fmla="*/ 12 w 14"/>
                  <a:gd name="T1" fmla="*/ 14 h 14"/>
                  <a:gd name="T2" fmla="*/ 11 w 14"/>
                  <a:gd name="T3" fmla="*/ 13 h 14"/>
                  <a:gd name="T4" fmla="*/ 1 w 14"/>
                  <a:gd name="T5" fmla="*/ 3 h 14"/>
                  <a:gd name="T6" fmla="*/ 1 w 14"/>
                  <a:gd name="T7" fmla="*/ 1 h 14"/>
                  <a:gd name="T8" fmla="*/ 3 w 14"/>
                  <a:gd name="T9" fmla="*/ 1 h 14"/>
                  <a:gd name="T10" fmla="*/ 13 w 14"/>
                  <a:gd name="T11" fmla="*/ 11 h 14"/>
                  <a:gd name="T12" fmla="*/ 13 w 14"/>
                  <a:gd name="T13" fmla="*/ 13 h 14"/>
                  <a:gd name="T14" fmla="*/ 12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2" y="14"/>
                    </a:moveTo>
                    <a:cubicBezTo>
                      <a:pt x="11" y="14"/>
                      <a:pt x="11" y="14"/>
                      <a:pt x="11" y="13"/>
                    </a:cubicBezTo>
                    <a:cubicBezTo>
                      <a:pt x="1" y="3"/>
                      <a:pt x="1" y="3"/>
                      <a:pt x="1" y="3"/>
                    </a:cubicBezTo>
                    <a:cubicBezTo>
                      <a:pt x="0" y="3"/>
                      <a:pt x="0" y="1"/>
                      <a:pt x="1" y="1"/>
                    </a:cubicBezTo>
                    <a:cubicBezTo>
                      <a:pt x="1" y="0"/>
                      <a:pt x="3" y="0"/>
                      <a:pt x="3" y="1"/>
                    </a:cubicBezTo>
                    <a:cubicBezTo>
                      <a:pt x="13" y="11"/>
                      <a:pt x="13" y="11"/>
                      <a:pt x="13" y="11"/>
                    </a:cubicBezTo>
                    <a:cubicBezTo>
                      <a:pt x="14" y="11"/>
                      <a:pt x="14" y="13"/>
                      <a:pt x="13" y="13"/>
                    </a:cubicBezTo>
                    <a:cubicBezTo>
                      <a:pt x="13" y="14"/>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37">
                <a:extLst>
                  <a:ext uri="{FF2B5EF4-FFF2-40B4-BE49-F238E27FC236}">
                    <a16:creationId xmlns:a16="http://schemas.microsoft.com/office/drawing/2014/main" id="{DE33D624-2F46-4867-BE7F-4D899E769A4A}"/>
                  </a:ext>
                </a:extLst>
              </p:cNvPr>
              <p:cNvSpPr>
                <a:spLocks/>
              </p:cNvSpPr>
              <p:nvPr/>
            </p:nvSpPr>
            <p:spPr bwMode="auto">
              <a:xfrm>
                <a:off x="5907130" y="2427384"/>
                <a:ext cx="46993" cy="8811"/>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38">
                <a:extLst>
                  <a:ext uri="{FF2B5EF4-FFF2-40B4-BE49-F238E27FC236}">
                    <a16:creationId xmlns:a16="http://schemas.microsoft.com/office/drawing/2014/main" id="{CA833EEE-4D23-457D-8A89-181BD57819EA}"/>
                  </a:ext>
                </a:extLst>
              </p:cNvPr>
              <p:cNvSpPr>
                <a:spLocks/>
              </p:cNvSpPr>
              <p:nvPr/>
            </p:nvSpPr>
            <p:spPr bwMode="auto">
              <a:xfrm>
                <a:off x="5907130" y="2465566"/>
                <a:ext cx="46993" cy="8811"/>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39">
                <a:extLst>
                  <a:ext uri="{FF2B5EF4-FFF2-40B4-BE49-F238E27FC236}">
                    <a16:creationId xmlns:a16="http://schemas.microsoft.com/office/drawing/2014/main" id="{CC701286-C523-4CC1-A4A9-E19F716C6A3F}"/>
                  </a:ext>
                </a:extLst>
              </p:cNvPr>
              <p:cNvSpPr>
                <a:spLocks/>
              </p:cNvSpPr>
              <p:nvPr/>
            </p:nvSpPr>
            <p:spPr bwMode="auto">
              <a:xfrm>
                <a:off x="5854263" y="2407803"/>
                <a:ext cx="47972" cy="33287"/>
              </a:xfrm>
              <a:custGeom>
                <a:avLst/>
                <a:gdLst>
                  <a:gd name="T0" fmla="*/ 8 w 20"/>
                  <a:gd name="T1" fmla="*/ 14 h 14"/>
                  <a:gd name="T2" fmla="*/ 7 w 20"/>
                  <a:gd name="T3" fmla="*/ 13 h 14"/>
                  <a:gd name="T4" fmla="*/ 1 w 20"/>
                  <a:gd name="T5" fmla="*/ 7 h 14"/>
                  <a:gd name="T6" fmla="*/ 1 w 20"/>
                  <a:gd name="T7" fmla="*/ 5 h 14"/>
                  <a:gd name="T8" fmla="*/ 3 w 20"/>
                  <a:gd name="T9" fmla="*/ 5 h 14"/>
                  <a:gd name="T10" fmla="*/ 8 w 20"/>
                  <a:gd name="T11" fmla="*/ 9 h 14"/>
                  <a:gd name="T12" fmla="*/ 17 w 20"/>
                  <a:gd name="T13" fmla="*/ 1 h 14"/>
                  <a:gd name="T14" fmla="*/ 19 w 20"/>
                  <a:gd name="T15" fmla="*/ 1 h 14"/>
                  <a:gd name="T16" fmla="*/ 19 w 20"/>
                  <a:gd name="T17" fmla="*/ 3 h 14"/>
                  <a:gd name="T18" fmla="*/ 9 w 20"/>
                  <a:gd name="T19" fmla="*/ 13 h 14"/>
                  <a:gd name="T20" fmla="*/ 8 w 20"/>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8" y="14"/>
                    </a:moveTo>
                    <a:cubicBezTo>
                      <a:pt x="7" y="14"/>
                      <a:pt x="7" y="14"/>
                      <a:pt x="7" y="13"/>
                    </a:cubicBezTo>
                    <a:cubicBezTo>
                      <a:pt x="1" y="7"/>
                      <a:pt x="1" y="7"/>
                      <a:pt x="1" y="7"/>
                    </a:cubicBezTo>
                    <a:cubicBezTo>
                      <a:pt x="0" y="7"/>
                      <a:pt x="0" y="5"/>
                      <a:pt x="1" y="5"/>
                    </a:cubicBezTo>
                    <a:cubicBezTo>
                      <a:pt x="1" y="4"/>
                      <a:pt x="3" y="4"/>
                      <a:pt x="3" y="5"/>
                    </a:cubicBezTo>
                    <a:cubicBezTo>
                      <a:pt x="8" y="9"/>
                      <a:pt x="8" y="9"/>
                      <a:pt x="8" y="9"/>
                    </a:cubicBezTo>
                    <a:cubicBezTo>
                      <a:pt x="17" y="1"/>
                      <a:pt x="17" y="1"/>
                      <a:pt x="17" y="1"/>
                    </a:cubicBezTo>
                    <a:cubicBezTo>
                      <a:pt x="17" y="0"/>
                      <a:pt x="19" y="0"/>
                      <a:pt x="19" y="1"/>
                    </a:cubicBezTo>
                    <a:cubicBezTo>
                      <a:pt x="20" y="1"/>
                      <a:pt x="20" y="3"/>
                      <a:pt x="19" y="3"/>
                    </a:cubicBezTo>
                    <a:cubicBezTo>
                      <a:pt x="9" y="13"/>
                      <a:pt x="9" y="13"/>
                      <a:pt x="9" y="13"/>
                    </a:cubicBezTo>
                    <a:cubicBezTo>
                      <a:pt x="9"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0">
                <a:extLst>
                  <a:ext uri="{FF2B5EF4-FFF2-40B4-BE49-F238E27FC236}">
                    <a16:creationId xmlns:a16="http://schemas.microsoft.com/office/drawing/2014/main" id="{A4B87134-2339-40D6-8EE3-31D980ACFE6F}"/>
                  </a:ext>
                </a:extLst>
              </p:cNvPr>
              <p:cNvSpPr>
                <a:spLocks/>
              </p:cNvSpPr>
              <p:nvPr/>
            </p:nvSpPr>
            <p:spPr bwMode="auto">
              <a:xfrm>
                <a:off x="5854263" y="2445986"/>
                <a:ext cx="47972" cy="33287"/>
              </a:xfrm>
              <a:custGeom>
                <a:avLst/>
                <a:gdLst>
                  <a:gd name="T0" fmla="*/ 8 w 20"/>
                  <a:gd name="T1" fmla="*/ 14 h 14"/>
                  <a:gd name="T2" fmla="*/ 7 w 20"/>
                  <a:gd name="T3" fmla="*/ 13 h 14"/>
                  <a:gd name="T4" fmla="*/ 1 w 20"/>
                  <a:gd name="T5" fmla="*/ 7 h 14"/>
                  <a:gd name="T6" fmla="*/ 1 w 20"/>
                  <a:gd name="T7" fmla="*/ 5 h 14"/>
                  <a:gd name="T8" fmla="*/ 3 w 20"/>
                  <a:gd name="T9" fmla="*/ 5 h 14"/>
                  <a:gd name="T10" fmla="*/ 8 w 20"/>
                  <a:gd name="T11" fmla="*/ 9 h 14"/>
                  <a:gd name="T12" fmla="*/ 17 w 20"/>
                  <a:gd name="T13" fmla="*/ 1 h 14"/>
                  <a:gd name="T14" fmla="*/ 19 w 20"/>
                  <a:gd name="T15" fmla="*/ 1 h 14"/>
                  <a:gd name="T16" fmla="*/ 19 w 20"/>
                  <a:gd name="T17" fmla="*/ 3 h 14"/>
                  <a:gd name="T18" fmla="*/ 9 w 20"/>
                  <a:gd name="T19" fmla="*/ 13 h 14"/>
                  <a:gd name="T20" fmla="*/ 8 w 20"/>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8" y="14"/>
                    </a:moveTo>
                    <a:cubicBezTo>
                      <a:pt x="7" y="14"/>
                      <a:pt x="7" y="14"/>
                      <a:pt x="7" y="13"/>
                    </a:cubicBezTo>
                    <a:cubicBezTo>
                      <a:pt x="1" y="7"/>
                      <a:pt x="1" y="7"/>
                      <a:pt x="1" y="7"/>
                    </a:cubicBezTo>
                    <a:cubicBezTo>
                      <a:pt x="0" y="7"/>
                      <a:pt x="0" y="5"/>
                      <a:pt x="1" y="5"/>
                    </a:cubicBezTo>
                    <a:cubicBezTo>
                      <a:pt x="1" y="4"/>
                      <a:pt x="3" y="4"/>
                      <a:pt x="3" y="5"/>
                    </a:cubicBezTo>
                    <a:cubicBezTo>
                      <a:pt x="8" y="9"/>
                      <a:pt x="8" y="9"/>
                      <a:pt x="8" y="9"/>
                    </a:cubicBezTo>
                    <a:cubicBezTo>
                      <a:pt x="17" y="1"/>
                      <a:pt x="17" y="1"/>
                      <a:pt x="17" y="1"/>
                    </a:cubicBezTo>
                    <a:cubicBezTo>
                      <a:pt x="17" y="0"/>
                      <a:pt x="19" y="0"/>
                      <a:pt x="19" y="1"/>
                    </a:cubicBezTo>
                    <a:cubicBezTo>
                      <a:pt x="20" y="1"/>
                      <a:pt x="20" y="3"/>
                      <a:pt x="19" y="3"/>
                    </a:cubicBezTo>
                    <a:cubicBezTo>
                      <a:pt x="9" y="13"/>
                      <a:pt x="9" y="13"/>
                      <a:pt x="9" y="13"/>
                    </a:cubicBezTo>
                    <a:cubicBezTo>
                      <a:pt x="9"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1">
                <a:extLst>
                  <a:ext uri="{FF2B5EF4-FFF2-40B4-BE49-F238E27FC236}">
                    <a16:creationId xmlns:a16="http://schemas.microsoft.com/office/drawing/2014/main" id="{D2261450-EA09-476E-B617-8BB1BB3CAD98}"/>
                  </a:ext>
                </a:extLst>
              </p:cNvPr>
              <p:cNvSpPr>
                <a:spLocks/>
              </p:cNvSpPr>
              <p:nvPr/>
            </p:nvSpPr>
            <p:spPr bwMode="auto">
              <a:xfrm>
                <a:off x="5825872" y="2331440"/>
                <a:ext cx="161538" cy="210489"/>
              </a:xfrm>
              <a:custGeom>
                <a:avLst/>
                <a:gdLst>
                  <a:gd name="T0" fmla="*/ 36 w 68"/>
                  <a:gd name="T1" fmla="*/ 88 h 88"/>
                  <a:gd name="T2" fmla="*/ 2 w 68"/>
                  <a:gd name="T3" fmla="*/ 88 h 88"/>
                  <a:gd name="T4" fmla="*/ 0 w 68"/>
                  <a:gd name="T5" fmla="*/ 86 h 88"/>
                  <a:gd name="T6" fmla="*/ 0 w 68"/>
                  <a:gd name="T7" fmla="*/ 2 h 88"/>
                  <a:gd name="T8" fmla="*/ 2 w 68"/>
                  <a:gd name="T9" fmla="*/ 0 h 88"/>
                  <a:gd name="T10" fmla="*/ 46 w 68"/>
                  <a:gd name="T11" fmla="*/ 0 h 88"/>
                  <a:gd name="T12" fmla="*/ 47 w 68"/>
                  <a:gd name="T13" fmla="*/ 1 h 88"/>
                  <a:gd name="T14" fmla="*/ 67 w 68"/>
                  <a:gd name="T15" fmla="*/ 21 h 88"/>
                  <a:gd name="T16" fmla="*/ 68 w 68"/>
                  <a:gd name="T17" fmla="*/ 22 h 88"/>
                  <a:gd name="T18" fmla="*/ 68 w 68"/>
                  <a:gd name="T19" fmla="*/ 52 h 88"/>
                  <a:gd name="T20" fmla="*/ 66 w 68"/>
                  <a:gd name="T21" fmla="*/ 54 h 88"/>
                  <a:gd name="T22" fmla="*/ 64 w 68"/>
                  <a:gd name="T23" fmla="*/ 52 h 88"/>
                  <a:gd name="T24" fmla="*/ 64 w 68"/>
                  <a:gd name="T25" fmla="*/ 23 h 88"/>
                  <a:gd name="T26" fmla="*/ 45 w 68"/>
                  <a:gd name="T27" fmla="*/ 4 h 88"/>
                  <a:gd name="T28" fmla="*/ 4 w 68"/>
                  <a:gd name="T29" fmla="*/ 4 h 88"/>
                  <a:gd name="T30" fmla="*/ 4 w 68"/>
                  <a:gd name="T31" fmla="*/ 84 h 88"/>
                  <a:gd name="T32" fmla="*/ 36 w 68"/>
                  <a:gd name="T33" fmla="*/ 84 h 88"/>
                  <a:gd name="T34" fmla="*/ 38 w 68"/>
                  <a:gd name="T35" fmla="*/ 86 h 88"/>
                  <a:gd name="T36" fmla="*/ 36 w 6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88">
                    <a:moveTo>
                      <a:pt x="36" y="88"/>
                    </a:moveTo>
                    <a:cubicBezTo>
                      <a:pt x="2" y="88"/>
                      <a:pt x="2" y="88"/>
                      <a:pt x="2" y="88"/>
                    </a:cubicBezTo>
                    <a:cubicBezTo>
                      <a:pt x="1" y="88"/>
                      <a:pt x="0" y="87"/>
                      <a:pt x="0" y="86"/>
                    </a:cubicBezTo>
                    <a:cubicBezTo>
                      <a:pt x="0" y="2"/>
                      <a:pt x="0" y="2"/>
                      <a:pt x="0" y="2"/>
                    </a:cubicBezTo>
                    <a:cubicBezTo>
                      <a:pt x="0" y="1"/>
                      <a:pt x="1" y="0"/>
                      <a:pt x="2" y="0"/>
                    </a:cubicBezTo>
                    <a:cubicBezTo>
                      <a:pt x="46" y="0"/>
                      <a:pt x="46" y="0"/>
                      <a:pt x="46" y="0"/>
                    </a:cubicBezTo>
                    <a:cubicBezTo>
                      <a:pt x="47" y="0"/>
                      <a:pt x="47" y="0"/>
                      <a:pt x="47" y="1"/>
                    </a:cubicBezTo>
                    <a:cubicBezTo>
                      <a:pt x="67" y="21"/>
                      <a:pt x="67" y="21"/>
                      <a:pt x="67" y="21"/>
                    </a:cubicBezTo>
                    <a:cubicBezTo>
                      <a:pt x="68" y="21"/>
                      <a:pt x="68" y="21"/>
                      <a:pt x="68" y="22"/>
                    </a:cubicBezTo>
                    <a:cubicBezTo>
                      <a:pt x="68" y="52"/>
                      <a:pt x="68" y="52"/>
                      <a:pt x="68" y="52"/>
                    </a:cubicBezTo>
                    <a:cubicBezTo>
                      <a:pt x="68" y="53"/>
                      <a:pt x="67" y="54"/>
                      <a:pt x="66" y="54"/>
                    </a:cubicBezTo>
                    <a:cubicBezTo>
                      <a:pt x="65" y="54"/>
                      <a:pt x="64" y="53"/>
                      <a:pt x="64" y="52"/>
                    </a:cubicBezTo>
                    <a:cubicBezTo>
                      <a:pt x="64" y="23"/>
                      <a:pt x="64" y="23"/>
                      <a:pt x="64" y="23"/>
                    </a:cubicBezTo>
                    <a:cubicBezTo>
                      <a:pt x="45" y="4"/>
                      <a:pt x="45" y="4"/>
                      <a:pt x="45" y="4"/>
                    </a:cubicBezTo>
                    <a:cubicBezTo>
                      <a:pt x="4" y="4"/>
                      <a:pt x="4" y="4"/>
                      <a:pt x="4" y="4"/>
                    </a:cubicBezTo>
                    <a:cubicBezTo>
                      <a:pt x="4" y="84"/>
                      <a:pt x="4" y="84"/>
                      <a:pt x="4" y="84"/>
                    </a:cubicBezTo>
                    <a:cubicBezTo>
                      <a:pt x="36" y="84"/>
                      <a:pt x="36" y="84"/>
                      <a:pt x="36" y="84"/>
                    </a:cubicBezTo>
                    <a:cubicBezTo>
                      <a:pt x="37" y="84"/>
                      <a:pt x="38" y="85"/>
                      <a:pt x="38" y="86"/>
                    </a:cubicBezTo>
                    <a:cubicBezTo>
                      <a:pt x="38" y="87"/>
                      <a:pt x="37" y="88"/>
                      <a:pt x="3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2">
                <a:extLst>
                  <a:ext uri="{FF2B5EF4-FFF2-40B4-BE49-F238E27FC236}">
                    <a16:creationId xmlns:a16="http://schemas.microsoft.com/office/drawing/2014/main" id="{328FDFFB-C1D5-4042-A7CF-05C849C887EF}"/>
                  </a:ext>
                </a:extLst>
              </p:cNvPr>
              <p:cNvSpPr>
                <a:spLocks/>
              </p:cNvSpPr>
              <p:nvPr/>
            </p:nvSpPr>
            <p:spPr bwMode="auto">
              <a:xfrm>
                <a:off x="5930627" y="2331440"/>
                <a:ext cx="56783" cy="577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8" name="Group 23">
            <a:extLst>
              <a:ext uri="{FF2B5EF4-FFF2-40B4-BE49-F238E27FC236}">
                <a16:creationId xmlns:a16="http://schemas.microsoft.com/office/drawing/2014/main" id="{44B2F801-B749-4F3E-97D1-CC7D31E4D1F0}"/>
              </a:ext>
            </a:extLst>
          </p:cNvPr>
          <p:cNvGrpSpPr>
            <a:grpSpLocks noChangeAspect="1"/>
          </p:cNvGrpSpPr>
          <p:nvPr/>
        </p:nvGrpSpPr>
        <p:grpSpPr>
          <a:xfrm>
            <a:off x="6214920" y="4345739"/>
            <a:ext cx="229044" cy="306484"/>
            <a:chOff x="2765425" y="1792288"/>
            <a:chExt cx="554038" cy="741363"/>
          </a:xfrm>
          <a:solidFill>
            <a:schemeClr val="bg2"/>
          </a:solidFill>
          <a:effectLst/>
        </p:grpSpPr>
        <p:sp>
          <p:nvSpPr>
            <p:cNvPr id="469" name="Freeform 107">
              <a:extLst>
                <a:ext uri="{FF2B5EF4-FFF2-40B4-BE49-F238E27FC236}">
                  <a16:creationId xmlns:a16="http://schemas.microsoft.com/office/drawing/2014/main" id="{B422F5B2-EBF2-49CE-BA91-067385B4A2B3}"/>
                </a:ext>
              </a:extLst>
            </p:cNvPr>
            <p:cNvSpPr>
              <a:spLocks noEditPoints="1"/>
            </p:cNvSpPr>
            <p:nvPr/>
          </p:nvSpPr>
          <p:spPr bwMode="auto">
            <a:xfrm>
              <a:off x="2765425" y="1792288"/>
              <a:ext cx="473075" cy="676275"/>
            </a:xfrm>
            <a:custGeom>
              <a:avLst/>
              <a:gdLst>
                <a:gd name="T0" fmla="*/ 53 w 892"/>
                <a:gd name="T1" fmla="*/ 1224 h 1277"/>
                <a:gd name="T2" fmla="*/ 840 w 892"/>
                <a:gd name="T3" fmla="*/ 1224 h 1277"/>
                <a:gd name="T4" fmla="*/ 840 w 892"/>
                <a:gd name="T5" fmla="*/ 52 h 1277"/>
                <a:gd name="T6" fmla="*/ 258 w 892"/>
                <a:gd name="T7" fmla="*/ 52 h 1277"/>
                <a:gd name="T8" fmla="*/ 53 w 892"/>
                <a:gd name="T9" fmla="*/ 259 h 1277"/>
                <a:gd name="T10" fmla="*/ 53 w 892"/>
                <a:gd name="T11" fmla="*/ 1224 h 1277"/>
                <a:gd name="T12" fmla="*/ 866 w 892"/>
                <a:gd name="T13" fmla="*/ 1277 h 1277"/>
                <a:gd name="T14" fmla="*/ 26 w 892"/>
                <a:gd name="T15" fmla="*/ 1277 h 1277"/>
                <a:gd name="T16" fmla="*/ 22 w 892"/>
                <a:gd name="T17" fmla="*/ 1276 h 1277"/>
                <a:gd name="T18" fmla="*/ 16 w 892"/>
                <a:gd name="T19" fmla="*/ 1274 h 1277"/>
                <a:gd name="T20" fmla="*/ 12 w 892"/>
                <a:gd name="T21" fmla="*/ 1271 h 1277"/>
                <a:gd name="T22" fmla="*/ 9 w 892"/>
                <a:gd name="T23" fmla="*/ 1269 h 1277"/>
                <a:gd name="T24" fmla="*/ 5 w 892"/>
                <a:gd name="T25" fmla="*/ 1266 h 1277"/>
                <a:gd name="T26" fmla="*/ 3 w 892"/>
                <a:gd name="T27" fmla="*/ 1260 h 1277"/>
                <a:gd name="T28" fmla="*/ 2 w 892"/>
                <a:gd name="T29" fmla="*/ 1256 h 1277"/>
                <a:gd name="T30" fmla="*/ 0 w 892"/>
                <a:gd name="T31" fmla="*/ 1250 h 1277"/>
                <a:gd name="T32" fmla="*/ 0 w 892"/>
                <a:gd name="T33" fmla="*/ 248 h 1277"/>
                <a:gd name="T34" fmla="*/ 2 w 892"/>
                <a:gd name="T35" fmla="*/ 243 h 1277"/>
                <a:gd name="T36" fmla="*/ 3 w 892"/>
                <a:gd name="T37" fmla="*/ 239 h 1277"/>
                <a:gd name="T38" fmla="*/ 5 w 892"/>
                <a:gd name="T39" fmla="*/ 233 h 1277"/>
                <a:gd name="T40" fmla="*/ 9 w 892"/>
                <a:gd name="T41" fmla="*/ 230 h 1277"/>
                <a:gd name="T42" fmla="*/ 229 w 892"/>
                <a:gd name="T43" fmla="*/ 7 h 1277"/>
                <a:gd name="T44" fmla="*/ 232 w 892"/>
                <a:gd name="T45" fmla="*/ 4 h 1277"/>
                <a:gd name="T46" fmla="*/ 238 w 892"/>
                <a:gd name="T47" fmla="*/ 1 h 1277"/>
                <a:gd name="T48" fmla="*/ 242 w 892"/>
                <a:gd name="T49" fmla="*/ 0 h 1277"/>
                <a:gd name="T50" fmla="*/ 248 w 892"/>
                <a:gd name="T51" fmla="*/ 0 h 1277"/>
                <a:gd name="T52" fmla="*/ 866 w 892"/>
                <a:gd name="T53" fmla="*/ 0 h 1277"/>
                <a:gd name="T54" fmla="*/ 870 w 892"/>
                <a:gd name="T55" fmla="*/ 0 h 1277"/>
                <a:gd name="T56" fmla="*/ 876 w 892"/>
                <a:gd name="T57" fmla="*/ 1 h 1277"/>
                <a:gd name="T58" fmla="*/ 880 w 892"/>
                <a:gd name="T59" fmla="*/ 4 h 1277"/>
                <a:gd name="T60" fmla="*/ 884 w 892"/>
                <a:gd name="T61" fmla="*/ 7 h 1277"/>
                <a:gd name="T62" fmla="*/ 887 w 892"/>
                <a:gd name="T63" fmla="*/ 11 h 1277"/>
                <a:gd name="T64" fmla="*/ 889 w 892"/>
                <a:gd name="T65" fmla="*/ 16 h 1277"/>
                <a:gd name="T66" fmla="*/ 892 w 892"/>
                <a:gd name="T67" fmla="*/ 20 h 1277"/>
                <a:gd name="T68" fmla="*/ 892 w 892"/>
                <a:gd name="T69" fmla="*/ 26 h 1277"/>
                <a:gd name="T70" fmla="*/ 892 w 892"/>
                <a:gd name="T71" fmla="*/ 1250 h 1277"/>
                <a:gd name="T72" fmla="*/ 892 w 892"/>
                <a:gd name="T73" fmla="*/ 1256 h 1277"/>
                <a:gd name="T74" fmla="*/ 889 w 892"/>
                <a:gd name="T75" fmla="*/ 1260 h 1277"/>
                <a:gd name="T76" fmla="*/ 887 w 892"/>
                <a:gd name="T77" fmla="*/ 1266 h 1277"/>
                <a:gd name="T78" fmla="*/ 884 w 892"/>
                <a:gd name="T79" fmla="*/ 1269 h 1277"/>
                <a:gd name="T80" fmla="*/ 880 w 892"/>
                <a:gd name="T81" fmla="*/ 1271 h 1277"/>
                <a:gd name="T82" fmla="*/ 876 w 892"/>
                <a:gd name="T83" fmla="*/ 1274 h 1277"/>
                <a:gd name="T84" fmla="*/ 870 w 892"/>
                <a:gd name="T85" fmla="*/ 1276 h 1277"/>
                <a:gd name="T86" fmla="*/ 866 w 892"/>
                <a:gd name="T87" fmla="*/ 1277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2" h="1277">
                  <a:moveTo>
                    <a:pt x="53" y="1224"/>
                  </a:moveTo>
                  <a:lnTo>
                    <a:pt x="840" y="1224"/>
                  </a:lnTo>
                  <a:lnTo>
                    <a:pt x="840" y="52"/>
                  </a:lnTo>
                  <a:lnTo>
                    <a:pt x="258" y="52"/>
                  </a:lnTo>
                  <a:lnTo>
                    <a:pt x="53" y="259"/>
                  </a:lnTo>
                  <a:lnTo>
                    <a:pt x="53" y="1224"/>
                  </a:lnTo>
                  <a:close/>
                  <a:moveTo>
                    <a:pt x="866" y="1277"/>
                  </a:moveTo>
                  <a:lnTo>
                    <a:pt x="26" y="1277"/>
                  </a:lnTo>
                  <a:lnTo>
                    <a:pt x="22" y="1276"/>
                  </a:lnTo>
                  <a:lnTo>
                    <a:pt x="16" y="1274"/>
                  </a:lnTo>
                  <a:lnTo>
                    <a:pt x="12" y="1271"/>
                  </a:lnTo>
                  <a:lnTo>
                    <a:pt x="9" y="1269"/>
                  </a:lnTo>
                  <a:lnTo>
                    <a:pt x="5" y="1266"/>
                  </a:lnTo>
                  <a:lnTo>
                    <a:pt x="3" y="1260"/>
                  </a:lnTo>
                  <a:lnTo>
                    <a:pt x="2" y="1256"/>
                  </a:lnTo>
                  <a:lnTo>
                    <a:pt x="0" y="1250"/>
                  </a:lnTo>
                  <a:lnTo>
                    <a:pt x="0" y="248"/>
                  </a:lnTo>
                  <a:lnTo>
                    <a:pt x="2" y="243"/>
                  </a:lnTo>
                  <a:lnTo>
                    <a:pt x="3" y="239"/>
                  </a:lnTo>
                  <a:lnTo>
                    <a:pt x="5" y="233"/>
                  </a:lnTo>
                  <a:lnTo>
                    <a:pt x="9" y="230"/>
                  </a:lnTo>
                  <a:lnTo>
                    <a:pt x="229" y="7"/>
                  </a:lnTo>
                  <a:lnTo>
                    <a:pt x="232" y="4"/>
                  </a:lnTo>
                  <a:lnTo>
                    <a:pt x="238" y="1"/>
                  </a:lnTo>
                  <a:lnTo>
                    <a:pt x="242" y="0"/>
                  </a:lnTo>
                  <a:lnTo>
                    <a:pt x="248" y="0"/>
                  </a:lnTo>
                  <a:lnTo>
                    <a:pt x="866" y="0"/>
                  </a:lnTo>
                  <a:lnTo>
                    <a:pt x="870" y="0"/>
                  </a:lnTo>
                  <a:lnTo>
                    <a:pt x="876" y="1"/>
                  </a:lnTo>
                  <a:lnTo>
                    <a:pt x="880" y="4"/>
                  </a:lnTo>
                  <a:lnTo>
                    <a:pt x="884" y="7"/>
                  </a:lnTo>
                  <a:lnTo>
                    <a:pt x="887" y="11"/>
                  </a:lnTo>
                  <a:lnTo>
                    <a:pt x="889" y="16"/>
                  </a:lnTo>
                  <a:lnTo>
                    <a:pt x="892" y="20"/>
                  </a:lnTo>
                  <a:lnTo>
                    <a:pt x="892" y="26"/>
                  </a:lnTo>
                  <a:lnTo>
                    <a:pt x="892" y="1250"/>
                  </a:lnTo>
                  <a:lnTo>
                    <a:pt x="892" y="1256"/>
                  </a:lnTo>
                  <a:lnTo>
                    <a:pt x="889" y="1260"/>
                  </a:lnTo>
                  <a:lnTo>
                    <a:pt x="887" y="1266"/>
                  </a:lnTo>
                  <a:lnTo>
                    <a:pt x="884" y="1269"/>
                  </a:lnTo>
                  <a:lnTo>
                    <a:pt x="880" y="1271"/>
                  </a:lnTo>
                  <a:lnTo>
                    <a:pt x="876" y="1274"/>
                  </a:lnTo>
                  <a:lnTo>
                    <a:pt x="870" y="1276"/>
                  </a:lnTo>
                  <a:lnTo>
                    <a:pt x="866" y="1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08">
              <a:extLst>
                <a:ext uri="{FF2B5EF4-FFF2-40B4-BE49-F238E27FC236}">
                  <a16:creationId xmlns:a16="http://schemas.microsoft.com/office/drawing/2014/main" id="{43020519-874E-4423-ACBC-3AB3767BC093}"/>
                </a:ext>
              </a:extLst>
            </p:cNvPr>
            <p:cNvSpPr>
              <a:spLocks/>
            </p:cNvSpPr>
            <p:nvPr/>
          </p:nvSpPr>
          <p:spPr bwMode="auto">
            <a:xfrm>
              <a:off x="2833688" y="1909763"/>
              <a:ext cx="485775" cy="623888"/>
            </a:xfrm>
            <a:custGeom>
              <a:avLst/>
              <a:gdLst>
                <a:gd name="T0" fmla="*/ 26 w 918"/>
                <a:gd name="T1" fmla="*/ 1180 h 1180"/>
                <a:gd name="T2" fmla="*/ 16 w 918"/>
                <a:gd name="T3" fmla="*/ 1178 h 1180"/>
                <a:gd name="T4" fmla="*/ 8 w 918"/>
                <a:gd name="T5" fmla="*/ 1173 h 1180"/>
                <a:gd name="T6" fmla="*/ 3 w 918"/>
                <a:gd name="T7" fmla="*/ 1165 h 1180"/>
                <a:gd name="T8" fmla="*/ 0 w 918"/>
                <a:gd name="T9" fmla="*/ 1155 h 1180"/>
                <a:gd name="T10" fmla="*/ 0 w 918"/>
                <a:gd name="T11" fmla="*/ 1024 h 1180"/>
                <a:gd name="T12" fmla="*/ 5 w 918"/>
                <a:gd name="T13" fmla="*/ 1013 h 1180"/>
                <a:gd name="T14" fmla="*/ 12 w 918"/>
                <a:gd name="T15" fmla="*/ 1006 h 1180"/>
                <a:gd name="T16" fmla="*/ 22 w 918"/>
                <a:gd name="T17" fmla="*/ 1003 h 1180"/>
                <a:gd name="T18" fmla="*/ 32 w 918"/>
                <a:gd name="T19" fmla="*/ 1003 h 1180"/>
                <a:gd name="T20" fmla="*/ 41 w 918"/>
                <a:gd name="T21" fmla="*/ 1006 h 1180"/>
                <a:gd name="T22" fmla="*/ 48 w 918"/>
                <a:gd name="T23" fmla="*/ 1013 h 1180"/>
                <a:gd name="T24" fmla="*/ 52 w 918"/>
                <a:gd name="T25" fmla="*/ 1024 h 1180"/>
                <a:gd name="T26" fmla="*/ 52 w 918"/>
                <a:gd name="T27" fmla="*/ 1129 h 1180"/>
                <a:gd name="T28" fmla="*/ 866 w 918"/>
                <a:gd name="T29" fmla="*/ 53 h 1180"/>
                <a:gd name="T30" fmla="*/ 751 w 918"/>
                <a:gd name="T31" fmla="*/ 52 h 1180"/>
                <a:gd name="T32" fmla="*/ 742 w 918"/>
                <a:gd name="T33" fmla="*/ 49 h 1180"/>
                <a:gd name="T34" fmla="*/ 735 w 918"/>
                <a:gd name="T35" fmla="*/ 41 h 1180"/>
                <a:gd name="T36" fmla="*/ 730 w 918"/>
                <a:gd name="T37" fmla="*/ 31 h 1180"/>
                <a:gd name="T38" fmla="*/ 730 w 918"/>
                <a:gd name="T39" fmla="*/ 21 h 1180"/>
                <a:gd name="T40" fmla="*/ 735 w 918"/>
                <a:gd name="T41" fmla="*/ 11 h 1180"/>
                <a:gd name="T42" fmla="*/ 742 w 918"/>
                <a:gd name="T43" fmla="*/ 4 h 1180"/>
                <a:gd name="T44" fmla="*/ 751 w 918"/>
                <a:gd name="T45" fmla="*/ 1 h 1180"/>
                <a:gd name="T46" fmla="*/ 892 w 918"/>
                <a:gd name="T47" fmla="*/ 0 h 1180"/>
                <a:gd name="T48" fmla="*/ 902 w 918"/>
                <a:gd name="T49" fmla="*/ 3 h 1180"/>
                <a:gd name="T50" fmla="*/ 910 w 918"/>
                <a:gd name="T51" fmla="*/ 8 h 1180"/>
                <a:gd name="T52" fmla="*/ 915 w 918"/>
                <a:gd name="T53" fmla="*/ 16 h 1180"/>
                <a:gd name="T54" fmla="*/ 918 w 918"/>
                <a:gd name="T55" fmla="*/ 26 h 1180"/>
                <a:gd name="T56" fmla="*/ 916 w 918"/>
                <a:gd name="T57" fmla="*/ 1159 h 1180"/>
                <a:gd name="T58" fmla="*/ 913 w 918"/>
                <a:gd name="T59" fmla="*/ 1169 h 1180"/>
                <a:gd name="T60" fmla="*/ 906 w 918"/>
                <a:gd name="T61" fmla="*/ 1176 h 1180"/>
                <a:gd name="T62" fmla="*/ 896 w 918"/>
                <a:gd name="T63"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8" h="1180">
                  <a:moveTo>
                    <a:pt x="892" y="1180"/>
                  </a:moveTo>
                  <a:lnTo>
                    <a:pt x="26" y="1180"/>
                  </a:lnTo>
                  <a:lnTo>
                    <a:pt x="22" y="1180"/>
                  </a:lnTo>
                  <a:lnTo>
                    <a:pt x="16" y="1178"/>
                  </a:lnTo>
                  <a:lnTo>
                    <a:pt x="12" y="1176"/>
                  </a:lnTo>
                  <a:lnTo>
                    <a:pt x="8" y="1173"/>
                  </a:lnTo>
                  <a:lnTo>
                    <a:pt x="5" y="1169"/>
                  </a:lnTo>
                  <a:lnTo>
                    <a:pt x="3" y="1165"/>
                  </a:lnTo>
                  <a:lnTo>
                    <a:pt x="0" y="1159"/>
                  </a:lnTo>
                  <a:lnTo>
                    <a:pt x="0" y="1155"/>
                  </a:lnTo>
                  <a:lnTo>
                    <a:pt x="0" y="1028"/>
                  </a:lnTo>
                  <a:lnTo>
                    <a:pt x="0" y="1024"/>
                  </a:lnTo>
                  <a:lnTo>
                    <a:pt x="3" y="1018"/>
                  </a:lnTo>
                  <a:lnTo>
                    <a:pt x="5" y="1013"/>
                  </a:lnTo>
                  <a:lnTo>
                    <a:pt x="8" y="1011"/>
                  </a:lnTo>
                  <a:lnTo>
                    <a:pt x="12" y="1006"/>
                  </a:lnTo>
                  <a:lnTo>
                    <a:pt x="16" y="1005"/>
                  </a:lnTo>
                  <a:lnTo>
                    <a:pt x="22" y="1003"/>
                  </a:lnTo>
                  <a:lnTo>
                    <a:pt x="26" y="1002"/>
                  </a:lnTo>
                  <a:lnTo>
                    <a:pt x="32" y="1003"/>
                  </a:lnTo>
                  <a:lnTo>
                    <a:pt x="36" y="1005"/>
                  </a:lnTo>
                  <a:lnTo>
                    <a:pt x="41" y="1006"/>
                  </a:lnTo>
                  <a:lnTo>
                    <a:pt x="45" y="1011"/>
                  </a:lnTo>
                  <a:lnTo>
                    <a:pt x="48" y="1013"/>
                  </a:lnTo>
                  <a:lnTo>
                    <a:pt x="51" y="1018"/>
                  </a:lnTo>
                  <a:lnTo>
                    <a:pt x="52" y="1024"/>
                  </a:lnTo>
                  <a:lnTo>
                    <a:pt x="52" y="1028"/>
                  </a:lnTo>
                  <a:lnTo>
                    <a:pt x="52" y="1129"/>
                  </a:lnTo>
                  <a:lnTo>
                    <a:pt x="866" y="1129"/>
                  </a:lnTo>
                  <a:lnTo>
                    <a:pt x="866" y="53"/>
                  </a:lnTo>
                  <a:lnTo>
                    <a:pt x="756" y="53"/>
                  </a:lnTo>
                  <a:lnTo>
                    <a:pt x="751" y="52"/>
                  </a:lnTo>
                  <a:lnTo>
                    <a:pt x="746" y="50"/>
                  </a:lnTo>
                  <a:lnTo>
                    <a:pt x="742" y="49"/>
                  </a:lnTo>
                  <a:lnTo>
                    <a:pt x="738" y="44"/>
                  </a:lnTo>
                  <a:lnTo>
                    <a:pt x="735" y="41"/>
                  </a:lnTo>
                  <a:lnTo>
                    <a:pt x="732" y="37"/>
                  </a:lnTo>
                  <a:lnTo>
                    <a:pt x="730" y="31"/>
                  </a:lnTo>
                  <a:lnTo>
                    <a:pt x="730" y="26"/>
                  </a:lnTo>
                  <a:lnTo>
                    <a:pt x="730" y="21"/>
                  </a:lnTo>
                  <a:lnTo>
                    <a:pt x="732" y="16"/>
                  </a:lnTo>
                  <a:lnTo>
                    <a:pt x="735" y="11"/>
                  </a:lnTo>
                  <a:lnTo>
                    <a:pt x="738" y="8"/>
                  </a:lnTo>
                  <a:lnTo>
                    <a:pt x="742" y="4"/>
                  </a:lnTo>
                  <a:lnTo>
                    <a:pt x="746" y="3"/>
                  </a:lnTo>
                  <a:lnTo>
                    <a:pt x="751" y="1"/>
                  </a:lnTo>
                  <a:lnTo>
                    <a:pt x="756" y="0"/>
                  </a:lnTo>
                  <a:lnTo>
                    <a:pt x="892" y="0"/>
                  </a:lnTo>
                  <a:lnTo>
                    <a:pt x="896" y="1"/>
                  </a:lnTo>
                  <a:lnTo>
                    <a:pt x="902" y="3"/>
                  </a:lnTo>
                  <a:lnTo>
                    <a:pt x="906" y="4"/>
                  </a:lnTo>
                  <a:lnTo>
                    <a:pt x="910" y="8"/>
                  </a:lnTo>
                  <a:lnTo>
                    <a:pt x="913" y="11"/>
                  </a:lnTo>
                  <a:lnTo>
                    <a:pt x="915" y="16"/>
                  </a:lnTo>
                  <a:lnTo>
                    <a:pt x="916" y="21"/>
                  </a:lnTo>
                  <a:lnTo>
                    <a:pt x="918" y="26"/>
                  </a:lnTo>
                  <a:lnTo>
                    <a:pt x="918" y="1155"/>
                  </a:lnTo>
                  <a:lnTo>
                    <a:pt x="916" y="1159"/>
                  </a:lnTo>
                  <a:lnTo>
                    <a:pt x="915" y="1165"/>
                  </a:lnTo>
                  <a:lnTo>
                    <a:pt x="913" y="1169"/>
                  </a:lnTo>
                  <a:lnTo>
                    <a:pt x="910" y="1173"/>
                  </a:lnTo>
                  <a:lnTo>
                    <a:pt x="906" y="1176"/>
                  </a:lnTo>
                  <a:lnTo>
                    <a:pt x="902" y="1178"/>
                  </a:lnTo>
                  <a:lnTo>
                    <a:pt x="896" y="1180"/>
                  </a:lnTo>
                  <a:lnTo>
                    <a:pt x="892" y="1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09">
              <a:extLst>
                <a:ext uri="{FF2B5EF4-FFF2-40B4-BE49-F238E27FC236}">
                  <a16:creationId xmlns:a16="http://schemas.microsoft.com/office/drawing/2014/main" id="{FFD19303-60C2-43D3-9D1B-2137C2357B86}"/>
                </a:ext>
              </a:extLst>
            </p:cNvPr>
            <p:cNvSpPr>
              <a:spLocks/>
            </p:cNvSpPr>
            <p:nvPr/>
          </p:nvSpPr>
          <p:spPr bwMode="auto">
            <a:xfrm>
              <a:off x="2765425" y="1792288"/>
              <a:ext cx="146050" cy="146050"/>
            </a:xfrm>
            <a:custGeom>
              <a:avLst/>
              <a:gdLst>
                <a:gd name="T0" fmla="*/ 249 w 275"/>
                <a:gd name="T1" fmla="*/ 275 h 275"/>
                <a:gd name="T2" fmla="*/ 26 w 275"/>
                <a:gd name="T3" fmla="*/ 275 h 275"/>
                <a:gd name="T4" fmla="*/ 22 w 275"/>
                <a:gd name="T5" fmla="*/ 274 h 275"/>
                <a:gd name="T6" fmla="*/ 16 w 275"/>
                <a:gd name="T7" fmla="*/ 272 h 275"/>
                <a:gd name="T8" fmla="*/ 12 w 275"/>
                <a:gd name="T9" fmla="*/ 271 h 275"/>
                <a:gd name="T10" fmla="*/ 9 w 275"/>
                <a:gd name="T11" fmla="*/ 266 h 275"/>
                <a:gd name="T12" fmla="*/ 5 w 275"/>
                <a:gd name="T13" fmla="*/ 263 h 275"/>
                <a:gd name="T14" fmla="*/ 3 w 275"/>
                <a:gd name="T15" fmla="*/ 259 h 275"/>
                <a:gd name="T16" fmla="*/ 2 w 275"/>
                <a:gd name="T17" fmla="*/ 253 h 275"/>
                <a:gd name="T18" fmla="*/ 0 w 275"/>
                <a:gd name="T19" fmla="*/ 248 h 275"/>
                <a:gd name="T20" fmla="*/ 2 w 275"/>
                <a:gd name="T21" fmla="*/ 243 h 275"/>
                <a:gd name="T22" fmla="*/ 3 w 275"/>
                <a:gd name="T23" fmla="*/ 238 h 275"/>
                <a:gd name="T24" fmla="*/ 5 w 275"/>
                <a:gd name="T25" fmla="*/ 233 h 275"/>
                <a:gd name="T26" fmla="*/ 9 w 275"/>
                <a:gd name="T27" fmla="*/ 230 h 275"/>
                <a:gd name="T28" fmla="*/ 12 w 275"/>
                <a:gd name="T29" fmla="*/ 226 h 275"/>
                <a:gd name="T30" fmla="*/ 16 w 275"/>
                <a:gd name="T31" fmla="*/ 225 h 275"/>
                <a:gd name="T32" fmla="*/ 22 w 275"/>
                <a:gd name="T33" fmla="*/ 223 h 275"/>
                <a:gd name="T34" fmla="*/ 26 w 275"/>
                <a:gd name="T35" fmla="*/ 222 h 275"/>
                <a:gd name="T36" fmla="*/ 223 w 275"/>
                <a:gd name="T37" fmla="*/ 222 h 275"/>
                <a:gd name="T38" fmla="*/ 223 w 275"/>
                <a:gd name="T39" fmla="*/ 26 h 275"/>
                <a:gd name="T40" fmla="*/ 223 w 275"/>
                <a:gd name="T41" fmla="*/ 20 h 275"/>
                <a:gd name="T42" fmla="*/ 225 w 275"/>
                <a:gd name="T43" fmla="*/ 16 h 275"/>
                <a:gd name="T44" fmla="*/ 228 w 275"/>
                <a:gd name="T45" fmla="*/ 11 h 275"/>
                <a:gd name="T46" fmla="*/ 231 w 275"/>
                <a:gd name="T47" fmla="*/ 7 h 275"/>
                <a:gd name="T48" fmla="*/ 235 w 275"/>
                <a:gd name="T49" fmla="*/ 4 h 275"/>
                <a:gd name="T50" fmla="*/ 239 w 275"/>
                <a:gd name="T51" fmla="*/ 1 h 275"/>
                <a:gd name="T52" fmla="*/ 244 w 275"/>
                <a:gd name="T53" fmla="*/ 0 h 275"/>
                <a:gd name="T54" fmla="*/ 249 w 275"/>
                <a:gd name="T55" fmla="*/ 0 h 275"/>
                <a:gd name="T56" fmla="*/ 255 w 275"/>
                <a:gd name="T57" fmla="*/ 0 h 275"/>
                <a:gd name="T58" fmla="*/ 259 w 275"/>
                <a:gd name="T59" fmla="*/ 1 h 275"/>
                <a:gd name="T60" fmla="*/ 264 w 275"/>
                <a:gd name="T61" fmla="*/ 4 h 275"/>
                <a:gd name="T62" fmla="*/ 268 w 275"/>
                <a:gd name="T63" fmla="*/ 7 h 275"/>
                <a:gd name="T64" fmla="*/ 271 w 275"/>
                <a:gd name="T65" fmla="*/ 11 h 275"/>
                <a:gd name="T66" fmla="*/ 274 w 275"/>
                <a:gd name="T67" fmla="*/ 16 h 275"/>
                <a:gd name="T68" fmla="*/ 275 w 275"/>
                <a:gd name="T69" fmla="*/ 20 h 275"/>
                <a:gd name="T70" fmla="*/ 275 w 275"/>
                <a:gd name="T71" fmla="*/ 26 h 275"/>
                <a:gd name="T72" fmla="*/ 275 w 275"/>
                <a:gd name="T73" fmla="*/ 248 h 275"/>
                <a:gd name="T74" fmla="*/ 275 w 275"/>
                <a:gd name="T75" fmla="*/ 253 h 275"/>
                <a:gd name="T76" fmla="*/ 274 w 275"/>
                <a:gd name="T77" fmla="*/ 259 h 275"/>
                <a:gd name="T78" fmla="*/ 271 w 275"/>
                <a:gd name="T79" fmla="*/ 263 h 275"/>
                <a:gd name="T80" fmla="*/ 268 w 275"/>
                <a:gd name="T81" fmla="*/ 266 h 275"/>
                <a:gd name="T82" fmla="*/ 264 w 275"/>
                <a:gd name="T83" fmla="*/ 271 h 275"/>
                <a:gd name="T84" fmla="*/ 259 w 275"/>
                <a:gd name="T85" fmla="*/ 272 h 275"/>
                <a:gd name="T86" fmla="*/ 255 w 275"/>
                <a:gd name="T87" fmla="*/ 274 h 275"/>
                <a:gd name="T88" fmla="*/ 249 w 275"/>
                <a:gd name="T8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5">
                  <a:moveTo>
                    <a:pt x="249" y="275"/>
                  </a:moveTo>
                  <a:lnTo>
                    <a:pt x="26" y="275"/>
                  </a:lnTo>
                  <a:lnTo>
                    <a:pt x="22" y="274"/>
                  </a:lnTo>
                  <a:lnTo>
                    <a:pt x="16" y="272"/>
                  </a:lnTo>
                  <a:lnTo>
                    <a:pt x="12" y="271"/>
                  </a:lnTo>
                  <a:lnTo>
                    <a:pt x="9" y="266"/>
                  </a:lnTo>
                  <a:lnTo>
                    <a:pt x="5" y="263"/>
                  </a:lnTo>
                  <a:lnTo>
                    <a:pt x="3" y="259"/>
                  </a:lnTo>
                  <a:lnTo>
                    <a:pt x="2" y="253"/>
                  </a:lnTo>
                  <a:lnTo>
                    <a:pt x="0" y="248"/>
                  </a:lnTo>
                  <a:lnTo>
                    <a:pt x="2" y="243"/>
                  </a:lnTo>
                  <a:lnTo>
                    <a:pt x="3" y="238"/>
                  </a:lnTo>
                  <a:lnTo>
                    <a:pt x="5" y="233"/>
                  </a:lnTo>
                  <a:lnTo>
                    <a:pt x="9" y="230"/>
                  </a:lnTo>
                  <a:lnTo>
                    <a:pt x="12" y="226"/>
                  </a:lnTo>
                  <a:lnTo>
                    <a:pt x="16" y="225"/>
                  </a:lnTo>
                  <a:lnTo>
                    <a:pt x="22" y="223"/>
                  </a:lnTo>
                  <a:lnTo>
                    <a:pt x="26" y="222"/>
                  </a:lnTo>
                  <a:lnTo>
                    <a:pt x="223" y="222"/>
                  </a:lnTo>
                  <a:lnTo>
                    <a:pt x="223" y="26"/>
                  </a:lnTo>
                  <a:lnTo>
                    <a:pt x="223" y="20"/>
                  </a:lnTo>
                  <a:lnTo>
                    <a:pt x="225" y="16"/>
                  </a:lnTo>
                  <a:lnTo>
                    <a:pt x="228" y="11"/>
                  </a:lnTo>
                  <a:lnTo>
                    <a:pt x="231" y="7"/>
                  </a:lnTo>
                  <a:lnTo>
                    <a:pt x="235" y="4"/>
                  </a:lnTo>
                  <a:lnTo>
                    <a:pt x="239" y="1"/>
                  </a:lnTo>
                  <a:lnTo>
                    <a:pt x="244" y="0"/>
                  </a:lnTo>
                  <a:lnTo>
                    <a:pt x="249" y="0"/>
                  </a:lnTo>
                  <a:lnTo>
                    <a:pt x="255" y="0"/>
                  </a:lnTo>
                  <a:lnTo>
                    <a:pt x="259" y="1"/>
                  </a:lnTo>
                  <a:lnTo>
                    <a:pt x="264" y="4"/>
                  </a:lnTo>
                  <a:lnTo>
                    <a:pt x="268" y="7"/>
                  </a:lnTo>
                  <a:lnTo>
                    <a:pt x="271" y="11"/>
                  </a:lnTo>
                  <a:lnTo>
                    <a:pt x="274" y="16"/>
                  </a:lnTo>
                  <a:lnTo>
                    <a:pt x="275" y="20"/>
                  </a:lnTo>
                  <a:lnTo>
                    <a:pt x="275" y="26"/>
                  </a:lnTo>
                  <a:lnTo>
                    <a:pt x="275" y="248"/>
                  </a:lnTo>
                  <a:lnTo>
                    <a:pt x="275" y="253"/>
                  </a:lnTo>
                  <a:lnTo>
                    <a:pt x="274" y="259"/>
                  </a:lnTo>
                  <a:lnTo>
                    <a:pt x="271" y="263"/>
                  </a:lnTo>
                  <a:lnTo>
                    <a:pt x="268" y="266"/>
                  </a:lnTo>
                  <a:lnTo>
                    <a:pt x="264" y="271"/>
                  </a:lnTo>
                  <a:lnTo>
                    <a:pt x="259" y="272"/>
                  </a:lnTo>
                  <a:lnTo>
                    <a:pt x="255" y="274"/>
                  </a:lnTo>
                  <a:lnTo>
                    <a:pt x="249"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6" name="Group 40">
            <a:extLst>
              <a:ext uri="{FF2B5EF4-FFF2-40B4-BE49-F238E27FC236}">
                <a16:creationId xmlns:a16="http://schemas.microsoft.com/office/drawing/2014/main" id="{0681385F-4A20-499E-99AC-2D462E102EA5}"/>
              </a:ext>
            </a:extLst>
          </p:cNvPr>
          <p:cNvGrpSpPr>
            <a:grpSpLocks noChangeAspect="1"/>
          </p:cNvGrpSpPr>
          <p:nvPr/>
        </p:nvGrpSpPr>
        <p:grpSpPr>
          <a:xfrm>
            <a:off x="5786352" y="4345739"/>
            <a:ext cx="296824" cy="306484"/>
            <a:chOff x="6969125" y="5184776"/>
            <a:chExt cx="536575" cy="554038"/>
          </a:xfrm>
          <a:solidFill>
            <a:schemeClr val="bg2"/>
          </a:solidFill>
          <a:effectLst/>
        </p:grpSpPr>
        <p:sp>
          <p:nvSpPr>
            <p:cNvPr id="477" name="Freeform 10">
              <a:extLst>
                <a:ext uri="{FF2B5EF4-FFF2-40B4-BE49-F238E27FC236}">
                  <a16:creationId xmlns:a16="http://schemas.microsoft.com/office/drawing/2014/main" id="{2A3AD7D3-4C8D-46D8-8361-6919DF7C264F}"/>
                </a:ext>
              </a:extLst>
            </p:cNvPr>
            <p:cNvSpPr>
              <a:spLocks noEditPoints="1"/>
            </p:cNvSpPr>
            <p:nvPr/>
          </p:nvSpPr>
          <p:spPr bwMode="auto">
            <a:xfrm>
              <a:off x="6969125" y="5184776"/>
              <a:ext cx="279400" cy="554038"/>
            </a:xfrm>
            <a:custGeom>
              <a:avLst/>
              <a:gdLst>
                <a:gd name="T0" fmla="*/ 169 w 176"/>
                <a:gd name="T1" fmla="*/ 349 h 349"/>
                <a:gd name="T2" fmla="*/ 169 w 176"/>
                <a:gd name="T3" fmla="*/ 349 h 349"/>
                <a:gd name="T4" fmla="*/ 166 w 176"/>
                <a:gd name="T5" fmla="*/ 349 h 349"/>
                <a:gd name="T6" fmla="*/ 3 w 176"/>
                <a:gd name="T7" fmla="*/ 282 h 349"/>
                <a:gd name="T8" fmla="*/ 3 w 176"/>
                <a:gd name="T9" fmla="*/ 282 h 349"/>
                <a:gd name="T10" fmla="*/ 2 w 176"/>
                <a:gd name="T11" fmla="*/ 279 h 349"/>
                <a:gd name="T12" fmla="*/ 0 w 176"/>
                <a:gd name="T13" fmla="*/ 275 h 349"/>
                <a:gd name="T14" fmla="*/ 0 w 176"/>
                <a:gd name="T15" fmla="*/ 6 h 349"/>
                <a:gd name="T16" fmla="*/ 0 w 176"/>
                <a:gd name="T17" fmla="*/ 6 h 349"/>
                <a:gd name="T18" fmla="*/ 0 w 176"/>
                <a:gd name="T19" fmla="*/ 3 h 349"/>
                <a:gd name="T20" fmla="*/ 3 w 176"/>
                <a:gd name="T21" fmla="*/ 0 h 349"/>
                <a:gd name="T22" fmla="*/ 3 w 176"/>
                <a:gd name="T23" fmla="*/ 0 h 349"/>
                <a:gd name="T24" fmla="*/ 5 w 176"/>
                <a:gd name="T25" fmla="*/ 0 h 349"/>
                <a:gd name="T26" fmla="*/ 9 w 176"/>
                <a:gd name="T27" fmla="*/ 0 h 349"/>
                <a:gd name="T28" fmla="*/ 171 w 176"/>
                <a:gd name="T29" fmla="*/ 55 h 349"/>
                <a:gd name="T30" fmla="*/ 171 w 176"/>
                <a:gd name="T31" fmla="*/ 55 h 349"/>
                <a:gd name="T32" fmla="*/ 174 w 176"/>
                <a:gd name="T33" fmla="*/ 58 h 349"/>
                <a:gd name="T34" fmla="*/ 176 w 176"/>
                <a:gd name="T35" fmla="*/ 62 h 349"/>
                <a:gd name="T36" fmla="*/ 176 w 176"/>
                <a:gd name="T37" fmla="*/ 342 h 349"/>
                <a:gd name="T38" fmla="*/ 176 w 176"/>
                <a:gd name="T39" fmla="*/ 342 h 349"/>
                <a:gd name="T40" fmla="*/ 176 w 176"/>
                <a:gd name="T41" fmla="*/ 346 h 349"/>
                <a:gd name="T42" fmla="*/ 172 w 176"/>
                <a:gd name="T43" fmla="*/ 347 h 349"/>
                <a:gd name="T44" fmla="*/ 172 w 176"/>
                <a:gd name="T45" fmla="*/ 347 h 349"/>
                <a:gd name="T46" fmla="*/ 169 w 176"/>
                <a:gd name="T47" fmla="*/ 349 h 349"/>
                <a:gd name="T48" fmla="*/ 169 w 176"/>
                <a:gd name="T49" fmla="*/ 349 h 349"/>
                <a:gd name="T50" fmla="*/ 14 w 176"/>
                <a:gd name="T51" fmla="*/ 270 h 349"/>
                <a:gd name="T52" fmla="*/ 162 w 176"/>
                <a:gd name="T53" fmla="*/ 332 h 349"/>
                <a:gd name="T54" fmla="*/ 162 w 176"/>
                <a:gd name="T55" fmla="*/ 67 h 349"/>
                <a:gd name="T56" fmla="*/ 14 w 176"/>
                <a:gd name="T57" fmla="*/ 15 h 349"/>
                <a:gd name="T58" fmla="*/ 14 w 176"/>
                <a:gd name="T59" fmla="*/ 27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6" h="349">
                  <a:moveTo>
                    <a:pt x="169" y="349"/>
                  </a:moveTo>
                  <a:lnTo>
                    <a:pt x="169" y="349"/>
                  </a:lnTo>
                  <a:lnTo>
                    <a:pt x="166" y="349"/>
                  </a:lnTo>
                  <a:lnTo>
                    <a:pt x="3" y="282"/>
                  </a:lnTo>
                  <a:lnTo>
                    <a:pt x="3" y="282"/>
                  </a:lnTo>
                  <a:lnTo>
                    <a:pt x="2" y="279"/>
                  </a:lnTo>
                  <a:lnTo>
                    <a:pt x="0" y="275"/>
                  </a:lnTo>
                  <a:lnTo>
                    <a:pt x="0" y="6"/>
                  </a:lnTo>
                  <a:lnTo>
                    <a:pt x="0" y="6"/>
                  </a:lnTo>
                  <a:lnTo>
                    <a:pt x="0" y="3"/>
                  </a:lnTo>
                  <a:lnTo>
                    <a:pt x="3" y="0"/>
                  </a:lnTo>
                  <a:lnTo>
                    <a:pt x="3" y="0"/>
                  </a:lnTo>
                  <a:lnTo>
                    <a:pt x="5" y="0"/>
                  </a:lnTo>
                  <a:lnTo>
                    <a:pt x="9" y="0"/>
                  </a:lnTo>
                  <a:lnTo>
                    <a:pt x="171" y="55"/>
                  </a:lnTo>
                  <a:lnTo>
                    <a:pt x="171" y="55"/>
                  </a:lnTo>
                  <a:lnTo>
                    <a:pt x="174" y="58"/>
                  </a:lnTo>
                  <a:lnTo>
                    <a:pt x="176" y="62"/>
                  </a:lnTo>
                  <a:lnTo>
                    <a:pt x="176" y="342"/>
                  </a:lnTo>
                  <a:lnTo>
                    <a:pt x="176" y="342"/>
                  </a:lnTo>
                  <a:lnTo>
                    <a:pt x="176" y="346"/>
                  </a:lnTo>
                  <a:lnTo>
                    <a:pt x="172" y="347"/>
                  </a:lnTo>
                  <a:lnTo>
                    <a:pt x="172" y="347"/>
                  </a:lnTo>
                  <a:lnTo>
                    <a:pt x="169" y="349"/>
                  </a:lnTo>
                  <a:lnTo>
                    <a:pt x="169" y="349"/>
                  </a:lnTo>
                  <a:close/>
                  <a:moveTo>
                    <a:pt x="14" y="270"/>
                  </a:moveTo>
                  <a:lnTo>
                    <a:pt x="162" y="332"/>
                  </a:lnTo>
                  <a:lnTo>
                    <a:pt x="162" y="67"/>
                  </a:lnTo>
                  <a:lnTo>
                    <a:pt x="14" y="15"/>
                  </a:lnTo>
                  <a:lnTo>
                    <a:pt x="14"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1">
              <a:extLst>
                <a:ext uri="{FF2B5EF4-FFF2-40B4-BE49-F238E27FC236}">
                  <a16:creationId xmlns:a16="http://schemas.microsoft.com/office/drawing/2014/main" id="{74A415F0-CD10-4828-8095-C7C1AAAD1A6B}"/>
                </a:ext>
              </a:extLst>
            </p:cNvPr>
            <p:cNvSpPr>
              <a:spLocks noEditPoints="1"/>
            </p:cNvSpPr>
            <p:nvPr/>
          </p:nvSpPr>
          <p:spPr bwMode="auto">
            <a:xfrm>
              <a:off x="7226300" y="5184776"/>
              <a:ext cx="279400" cy="554038"/>
            </a:xfrm>
            <a:custGeom>
              <a:avLst/>
              <a:gdLst>
                <a:gd name="T0" fmla="*/ 7 w 176"/>
                <a:gd name="T1" fmla="*/ 349 h 349"/>
                <a:gd name="T2" fmla="*/ 7 w 176"/>
                <a:gd name="T3" fmla="*/ 349 h 349"/>
                <a:gd name="T4" fmla="*/ 4 w 176"/>
                <a:gd name="T5" fmla="*/ 347 h 349"/>
                <a:gd name="T6" fmla="*/ 4 w 176"/>
                <a:gd name="T7" fmla="*/ 347 h 349"/>
                <a:gd name="T8" fmla="*/ 0 w 176"/>
                <a:gd name="T9" fmla="*/ 346 h 349"/>
                <a:gd name="T10" fmla="*/ 0 w 176"/>
                <a:gd name="T11" fmla="*/ 342 h 349"/>
                <a:gd name="T12" fmla="*/ 0 w 176"/>
                <a:gd name="T13" fmla="*/ 62 h 349"/>
                <a:gd name="T14" fmla="*/ 0 w 176"/>
                <a:gd name="T15" fmla="*/ 62 h 349"/>
                <a:gd name="T16" fmla="*/ 2 w 176"/>
                <a:gd name="T17" fmla="*/ 58 h 349"/>
                <a:gd name="T18" fmla="*/ 5 w 176"/>
                <a:gd name="T19" fmla="*/ 55 h 349"/>
                <a:gd name="T20" fmla="*/ 168 w 176"/>
                <a:gd name="T21" fmla="*/ 0 h 349"/>
                <a:gd name="T22" fmla="*/ 168 w 176"/>
                <a:gd name="T23" fmla="*/ 0 h 349"/>
                <a:gd name="T24" fmla="*/ 171 w 176"/>
                <a:gd name="T25" fmla="*/ 0 h 349"/>
                <a:gd name="T26" fmla="*/ 173 w 176"/>
                <a:gd name="T27" fmla="*/ 0 h 349"/>
                <a:gd name="T28" fmla="*/ 173 w 176"/>
                <a:gd name="T29" fmla="*/ 0 h 349"/>
                <a:gd name="T30" fmla="*/ 176 w 176"/>
                <a:gd name="T31" fmla="*/ 3 h 349"/>
                <a:gd name="T32" fmla="*/ 176 w 176"/>
                <a:gd name="T33" fmla="*/ 6 h 349"/>
                <a:gd name="T34" fmla="*/ 176 w 176"/>
                <a:gd name="T35" fmla="*/ 275 h 349"/>
                <a:gd name="T36" fmla="*/ 176 w 176"/>
                <a:gd name="T37" fmla="*/ 275 h 349"/>
                <a:gd name="T38" fmla="*/ 174 w 176"/>
                <a:gd name="T39" fmla="*/ 279 h 349"/>
                <a:gd name="T40" fmla="*/ 173 w 176"/>
                <a:gd name="T41" fmla="*/ 282 h 349"/>
                <a:gd name="T42" fmla="*/ 10 w 176"/>
                <a:gd name="T43" fmla="*/ 349 h 349"/>
                <a:gd name="T44" fmla="*/ 10 w 176"/>
                <a:gd name="T45" fmla="*/ 349 h 349"/>
                <a:gd name="T46" fmla="*/ 7 w 176"/>
                <a:gd name="T47" fmla="*/ 349 h 349"/>
                <a:gd name="T48" fmla="*/ 7 w 176"/>
                <a:gd name="T49" fmla="*/ 349 h 349"/>
                <a:gd name="T50" fmla="*/ 14 w 176"/>
                <a:gd name="T51" fmla="*/ 67 h 349"/>
                <a:gd name="T52" fmla="*/ 14 w 176"/>
                <a:gd name="T53" fmla="*/ 332 h 349"/>
                <a:gd name="T54" fmla="*/ 163 w 176"/>
                <a:gd name="T55" fmla="*/ 270 h 349"/>
                <a:gd name="T56" fmla="*/ 163 w 176"/>
                <a:gd name="T57" fmla="*/ 15 h 349"/>
                <a:gd name="T58" fmla="*/ 14 w 176"/>
                <a:gd name="T59" fmla="*/ 6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6" h="349">
                  <a:moveTo>
                    <a:pt x="7" y="349"/>
                  </a:moveTo>
                  <a:lnTo>
                    <a:pt x="7" y="349"/>
                  </a:lnTo>
                  <a:lnTo>
                    <a:pt x="4" y="347"/>
                  </a:lnTo>
                  <a:lnTo>
                    <a:pt x="4" y="347"/>
                  </a:lnTo>
                  <a:lnTo>
                    <a:pt x="0" y="346"/>
                  </a:lnTo>
                  <a:lnTo>
                    <a:pt x="0" y="342"/>
                  </a:lnTo>
                  <a:lnTo>
                    <a:pt x="0" y="62"/>
                  </a:lnTo>
                  <a:lnTo>
                    <a:pt x="0" y="62"/>
                  </a:lnTo>
                  <a:lnTo>
                    <a:pt x="2" y="58"/>
                  </a:lnTo>
                  <a:lnTo>
                    <a:pt x="5" y="55"/>
                  </a:lnTo>
                  <a:lnTo>
                    <a:pt x="168" y="0"/>
                  </a:lnTo>
                  <a:lnTo>
                    <a:pt x="168" y="0"/>
                  </a:lnTo>
                  <a:lnTo>
                    <a:pt x="171" y="0"/>
                  </a:lnTo>
                  <a:lnTo>
                    <a:pt x="173" y="0"/>
                  </a:lnTo>
                  <a:lnTo>
                    <a:pt x="173" y="0"/>
                  </a:lnTo>
                  <a:lnTo>
                    <a:pt x="176" y="3"/>
                  </a:lnTo>
                  <a:lnTo>
                    <a:pt x="176" y="6"/>
                  </a:lnTo>
                  <a:lnTo>
                    <a:pt x="176" y="275"/>
                  </a:lnTo>
                  <a:lnTo>
                    <a:pt x="176" y="275"/>
                  </a:lnTo>
                  <a:lnTo>
                    <a:pt x="174" y="279"/>
                  </a:lnTo>
                  <a:lnTo>
                    <a:pt x="173" y="282"/>
                  </a:lnTo>
                  <a:lnTo>
                    <a:pt x="10" y="349"/>
                  </a:lnTo>
                  <a:lnTo>
                    <a:pt x="10" y="349"/>
                  </a:lnTo>
                  <a:lnTo>
                    <a:pt x="7" y="349"/>
                  </a:lnTo>
                  <a:lnTo>
                    <a:pt x="7" y="349"/>
                  </a:lnTo>
                  <a:close/>
                  <a:moveTo>
                    <a:pt x="14" y="67"/>
                  </a:moveTo>
                  <a:lnTo>
                    <a:pt x="14" y="332"/>
                  </a:lnTo>
                  <a:lnTo>
                    <a:pt x="163" y="270"/>
                  </a:lnTo>
                  <a:lnTo>
                    <a:pt x="163" y="15"/>
                  </a:lnTo>
                  <a:lnTo>
                    <a:pt x="1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2">
              <a:extLst>
                <a:ext uri="{FF2B5EF4-FFF2-40B4-BE49-F238E27FC236}">
                  <a16:creationId xmlns:a16="http://schemas.microsoft.com/office/drawing/2014/main" id="{21D589C2-70EB-45F4-9597-C3B994E53568}"/>
                </a:ext>
              </a:extLst>
            </p:cNvPr>
            <p:cNvSpPr>
              <a:spLocks/>
            </p:cNvSpPr>
            <p:nvPr/>
          </p:nvSpPr>
          <p:spPr bwMode="auto">
            <a:xfrm>
              <a:off x="7054850" y="5221288"/>
              <a:ext cx="20637" cy="133350"/>
            </a:xfrm>
            <a:custGeom>
              <a:avLst/>
              <a:gdLst>
                <a:gd name="T0" fmla="*/ 6 w 13"/>
                <a:gd name="T1" fmla="*/ 84 h 84"/>
                <a:gd name="T2" fmla="*/ 6 w 13"/>
                <a:gd name="T3" fmla="*/ 84 h 84"/>
                <a:gd name="T4" fmla="*/ 3 w 13"/>
                <a:gd name="T5" fmla="*/ 84 h 84"/>
                <a:gd name="T6" fmla="*/ 1 w 13"/>
                <a:gd name="T7" fmla="*/ 82 h 84"/>
                <a:gd name="T8" fmla="*/ 0 w 13"/>
                <a:gd name="T9" fmla="*/ 80 h 84"/>
                <a:gd name="T10" fmla="*/ 0 w 13"/>
                <a:gd name="T11" fmla="*/ 77 h 84"/>
                <a:gd name="T12" fmla="*/ 0 w 13"/>
                <a:gd name="T13" fmla="*/ 7 h 84"/>
                <a:gd name="T14" fmla="*/ 0 w 13"/>
                <a:gd name="T15" fmla="*/ 7 h 84"/>
                <a:gd name="T16" fmla="*/ 0 w 13"/>
                <a:gd name="T17" fmla="*/ 3 h 84"/>
                <a:gd name="T18" fmla="*/ 1 w 13"/>
                <a:gd name="T19" fmla="*/ 2 h 84"/>
                <a:gd name="T20" fmla="*/ 3 w 13"/>
                <a:gd name="T21" fmla="*/ 0 h 84"/>
                <a:gd name="T22" fmla="*/ 6 w 13"/>
                <a:gd name="T23" fmla="*/ 0 h 84"/>
                <a:gd name="T24" fmla="*/ 6 w 13"/>
                <a:gd name="T25" fmla="*/ 0 h 84"/>
                <a:gd name="T26" fmla="*/ 8 w 13"/>
                <a:gd name="T27" fmla="*/ 0 h 84"/>
                <a:gd name="T28" fmla="*/ 10 w 13"/>
                <a:gd name="T29" fmla="*/ 2 h 84"/>
                <a:gd name="T30" fmla="*/ 11 w 13"/>
                <a:gd name="T31" fmla="*/ 3 h 84"/>
                <a:gd name="T32" fmla="*/ 13 w 13"/>
                <a:gd name="T33" fmla="*/ 7 h 84"/>
                <a:gd name="T34" fmla="*/ 13 w 13"/>
                <a:gd name="T35" fmla="*/ 77 h 84"/>
                <a:gd name="T36" fmla="*/ 13 w 13"/>
                <a:gd name="T37" fmla="*/ 77 h 84"/>
                <a:gd name="T38" fmla="*/ 11 w 13"/>
                <a:gd name="T39" fmla="*/ 80 h 84"/>
                <a:gd name="T40" fmla="*/ 10 w 13"/>
                <a:gd name="T41" fmla="*/ 82 h 84"/>
                <a:gd name="T42" fmla="*/ 8 w 13"/>
                <a:gd name="T43" fmla="*/ 84 h 84"/>
                <a:gd name="T44" fmla="*/ 6 w 13"/>
                <a:gd name="T45" fmla="*/ 84 h 84"/>
                <a:gd name="T46" fmla="*/ 6 w 13"/>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84">
                  <a:moveTo>
                    <a:pt x="6" y="84"/>
                  </a:moveTo>
                  <a:lnTo>
                    <a:pt x="6" y="84"/>
                  </a:lnTo>
                  <a:lnTo>
                    <a:pt x="3" y="84"/>
                  </a:lnTo>
                  <a:lnTo>
                    <a:pt x="1" y="82"/>
                  </a:lnTo>
                  <a:lnTo>
                    <a:pt x="0" y="80"/>
                  </a:lnTo>
                  <a:lnTo>
                    <a:pt x="0" y="77"/>
                  </a:lnTo>
                  <a:lnTo>
                    <a:pt x="0" y="7"/>
                  </a:lnTo>
                  <a:lnTo>
                    <a:pt x="0" y="7"/>
                  </a:lnTo>
                  <a:lnTo>
                    <a:pt x="0" y="3"/>
                  </a:lnTo>
                  <a:lnTo>
                    <a:pt x="1" y="2"/>
                  </a:lnTo>
                  <a:lnTo>
                    <a:pt x="3" y="0"/>
                  </a:lnTo>
                  <a:lnTo>
                    <a:pt x="6" y="0"/>
                  </a:lnTo>
                  <a:lnTo>
                    <a:pt x="6" y="0"/>
                  </a:lnTo>
                  <a:lnTo>
                    <a:pt x="8" y="0"/>
                  </a:lnTo>
                  <a:lnTo>
                    <a:pt x="10" y="2"/>
                  </a:lnTo>
                  <a:lnTo>
                    <a:pt x="11" y="3"/>
                  </a:lnTo>
                  <a:lnTo>
                    <a:pt x="13" y="7"/>
                  </a:lnTo>
                  <a:lnTo>
                    <a:pt x="13" y="77"/>
                  </a:lnTo>
                  <a:lnTo>
                    <a:pt x="13" y="77"/>
                  </a:lnTo>
                  <a:lnTo>
                    <a:pt x="11" y="80"/>
                  </a:lnTo>
                  <a:lnTo>
                    <a:pt x="10" y="82"/>
                  </a:lnTo>
                  <a:lnTo>
                    <a:pt x="8" y="84"/>
                  </a:lnTo>
                  <a:lnTo>
                    <a:pt x="6" y="84"/>
                  </a:lnTo>
                  <a:lnTo>
                    <a:pt x="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
              <a:extLst>
                <a:ext uri="{FF2B5EF4-FFF2-40B4-BE49-F238E27FC236}">
                  <a16:creationId xmlns:a16="http://schemas.microsoft.com/office/drawing/2014/main" id="{7635A56E-D950-41AB-91F8-BF67E7D108E3}"/>
                </a:ext>
              </a:extLst>
            </p:cNvPr>
            <p:cNvSpPr>
              <a:spLocks/>
            </p:cNvSpPr>
            <p:nvPr/>
          </p:nvSpPr>
          <p:spPr bwMode="auto">
            <a:xfrm>
              <a:off x="7285038" y="5332413"/>
              <a:ext cx="177800" cy="77788"/>
            </a:xfrm>
            <a:custGeom>
              <a:avLst/>
              <a:gdLst>
                <a:gd name="T0" fmla="*/ 7 w 112"/>
                <a:gd name="T1" fmla="*/ 49 h 49"/>
                <a:gd name="T2" fmla="*/ 7 w 112"/>
                <a:gd name="T3" fmla="*/ 49 h 49"/>
                <a:gd name="T4" fmla="*/ 4 w 112"/>
                <a:gd name="T5" fmla="*/ 49 h 49"/>
                <a:gd name="T6" fmla="*/ 2 w 112"/>
                <a:gd name="T7" fmla="*/ 45 h 49"/>
                <a:gd name="T8" fmla="*/ 2 w 112"/>
                <a:gd name="T9" fmla="*/ 45 h 49"/>
                <a:gd name="T10" fmla="*/ 0 w 112"/>
                <a:gd name="T11" fmla="*/ 42 h 49"/>
                <a:gd name="T12" fmla="*/ 2 w 112"/>
                <a:gd name="T13" fmla="*/ 40 h 49"/>
                <a:gd name="T14" fmla="*/ 4 w 112"/>
                <a:gd name="T15" fmla="*/ 37 h 49"/>
                <a:gd name="T16" fmla="*/ 5 w 112"/>
                <a:gd name="T17" fmla="*/ 37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5 h 49"/>
                <a:gd name="T30" fmla="*/ 112 w 112"/>
                <a:gd name="T31" fmla="*/ 5 h 49"/>
                <a:gd name="T32" fmla="*/ 112 w 112"/>
                <a:gd name="T33" fmla="*/ 7 h 49"/>
                <a:gd name="T34" fmla="*/ 112 w 112"/>
                <a:gd name="T35" fmla="*/ 10 h 49"/>
                <a:gd name="T36" fmla="*/ 111 w 112"/>
                <a:gd name="T37" fmla="*/ 12 h 49"/>
                <a:gd name="T38" fmla="*/ 107 w 112"/>
                <a:gd name="T39" fmla="*/ 14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9"/>
                  </a:lnTo>
                  <a:lnTo>
                    <a:pt x="2" y="45"/>
                  </a:lnTo>
                  <a:lnTo>
                    <a:pt x="2" y="45"/>
                  </a:lnTo>
                  <a:lnTo>
                    <a:pt x="0" y="42"/>
                  </a:lnTo>
                  <a:lnTo>
                    <a:pt x="2" y="40"/>
                  </a:lnTo>
                  <a:lnTo>
                    <a:pt x="4" y="37"/>
                  </a:lnTo>
                  <a:lnTo>
                    <a:pt x="5" y="37"/>
                  </a:lnTo>
                  <a:lnTo>
                    <a:pt x="104" y="0"/>
                  </a:lnTo>
                  <a:lnTo>
                    <a:pt x="104" y="0"/>
                  </a:lnTo>
                  <a:lnTo>
                    <a:pt x="106" y="0"/>
                  </a:lnTo>
                  <a:lnTo>
                    <a:pt x="109" y="0"/>
                  </a:lnTo>
                  <a:lnTo>
                    <a:pt x="111" y="2"/>
                  </a:lnTo>
                  <a:lnTo>
                    <a:pt x="112" y="5"/>
                  </a:lnTo>
                  <a:lnTo>
                    <a:pt x="112" y="5"/>
                  </a:lnTo>
                  <a:lnTo>
                    <a:pt x="112" y="7"/>
                  </a:lnTo>
                  <a:lnTo>
                    <a:pt x="112" y="10"/>
                  </a:lnTo>
                  <a:lnTo>
                    <a:pt x="111" y="12"/>
                  </a:lnTo>
                  <a:lnTo>
                    <a:pt x="107" y="14"/>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
              <a:extLst>
                <a:ext uri="{FF2B5EF4-FFF2-40B4-BE49-F238E27FC236}">
                  <a16:creationId xmlns:a16="http://schemas.microsoft.com/office/drawing/2014/main" id="{EED3D52E-0FC8-4114-BE36-242C95C057B9}"/>
                </a:ext>
              </a:extLst>
            </p:cNvPr>
            <p:cNvSpPr>
              <a:spLocks/>
            </p:cNvSpPr>
            <p:nvPr/>
          </p:nvSpPr>
          <p:spPr bwMode="auto">
            <a:xfrm>
              <a:off x="7285038" y="5403851"/>
              <a:ext cx="177800" cy="80963"/>
            </a:xfrm>
            <a:custGeom>
              <a:avLst/>
              <a:gdLst>
                <a:gd name="T0" fmla="*/ 7 w 112"/>
                <a:gd name="T1" fmla="*/ 51 h 51"/>
                <a:gd name="T2" fmla="*/ 7 w 112"/>
                <a:gd name="T3" fmla="*/ 51 h 51"/>
                <a:gd name="T4" fmla="*/ 4 w 112"/>
                <a:gd name="T5" fmla="*/ 49 h 51"/>
                <a:gd name="T6" fmla="*/ 2 w 112"/>
                <a:gd name="T7" fmla="*/ 46 h 51"/>
                <a:gd name="T8" fmla="*/ 2 w 112"/>
                <a:gd name="T9" fmla="*/ 46 h 51"/>
                <a:gd name="T10" fmla="*/ 0 w 112"/>
                <a:gd name="T11" fmla="*/ 42 h 51"/>
                <a:gd name="T12" fmla="*/ 2 w 112"/>
                <a:gd name="T13" fmla="*/ 41 h 51"/>
                <a:gd name="T14" fmla="*/ 4 w 112"/>
                <a:gd name="T15" fmla="*/ 39 h 51"/>
                <a:gd name="T16" fmla="*/ 5 w 112"/>
                <a:gd name="T17" fmla="*/ 37 h 51"/>
                <a:gd name="T18" fmla="*/ 104 w 112"/>
                <a:gd name="T19" fmla="*/ 2 h 51"/>
                <a:gd name="T20" fmla="*/ 104 w 112"/>
                <a:gd name="T21" fmla="*/ 2 h 51"/>
                <a:gd name="T22" fmla="*/ 106 w 112"/>
                <a:gd name="T23" fmla="*/ 0 h 51"/>
                <a:gd name="T24" fmla="*/ 109 w 112"/>
                <a:gd name="T25" fmla="*/ 2 h 51"/>
                <a:gd name="T26" fmla="*/ 111 w 112"/>
                <a:gd name="T27" fmla="*/ 4 h 51"/>
                <a:gd name="T28" fmla="*/ 112 w 112"/>
                <a:gd name="T29" fmla="*/ 5 h 51"/>
                <a:gd name="T30" fmla="*/ 112 w 112"/>
                <a:gd name="T31" fmla="*/ 5 h 51"/>
                <a:gd name="T32" fmla="*/ 112 w 112"/>
                <a:gd name="T33" fmla="*/ 9 h 51"/>
                <a:gd name="T34" fmla="*/ 112 w 112"/>
                <a:gd name="T35" fmla="*/ 10 h 51"/>
                <a:gd name="T36" fmla="*/ 111 w 112"/>
                <a:gd name="T37" fmla="*/ 12 h 51"/>
                <a:gd name="T38" fmla="*/ 107 w 112"/>
                <a:gd name="T39" fmla="*/ 14 h 51"/>
                <a:gd name="T40" fmla="*/ 10 w 112"/>
                <a:gd name="T41" fmla="*/ 49 h 51"/>
                <a:gd name="T42" fmla="*/ 10 w 112"/>
                <a:gd name="T43" fmla="*/ 49 h 51"/>
                <a:gd name="T44" fmla="*/ 7 w 112"/>
                <a:gd name="T45" fmla="*/ 51 h 51"/>
                <a:gd name="T46" fmla="*/ 7 w 112"/>
                <a:gd name="T4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51">
                  <a:moveTo>
                    <a:pt x="7" y="51"/>
                  </a:moveTo>
                  <a:lnTo>
                    <a:pt x="7" y="51"/>
                  </a:lnTo>
                  <a:lnTo>
                    <a:pt x="4" y="49"/>
                  </a:lnTo>
                  <a:lnTo>
                    <a:pt x="2" y="46"/>
                  </a:lnTo>
                  <a:lnTo>
                    <a:pt x="2" y="46"/>
                  </a:lnTo>
                  <a:lnTo>
                    <a:pt x="0" y="42"/>
                  </a:lnTo>
                  <a:lnTo>
                    <a:pt x="2" y="41"/>
                  </a:lnTo>
                  <a:lnTo>
                    <a:pt x="4" y="39"/>
                  </a:lnTo>
                  <a:lnTo>
                    <a:pt x="5" y="37"/>
                  </a:lnTo>
                  <a:lnTo>
                    <a:pt x="104" y="2"/>
                  </a:lnTo>
                  <a:lnTo>
                    <a:pt x="104" y="2"/>
                  </a:lnTo>
                  <a:lnTo>
                    <a:pt x="106" y="0"/>
                  </a:lnTo>
                  <a:lnTo>
                    <a:pt x="109" y="2"/>
                  </a:lnTo>
                  <a:lnTo>
                    <a:pt x="111" y="4"/>
                  </a:lnTo>
                  <a:lnTo>
                    <a:pt x="112" y="5"/>
                  </a:lnTo>
                  <a:lnTo>
                    <a:pt x="112" y="5"/>
                  </a:lnTo>
                  <a:lnTo>
                    <a:pt x="112" y="9"/>
                  </a:lnTo>
                  <a:lnTo>
                    <a:pt x="112" y="10"/>
                  </a:lnTo>
                  <a:lnTo>
                    <a:pt x="111" y="12"/>
                  </a:lnTo>
                  <a:lnTo>
                    <a:pt x="107" y="14"/>
                  </a:lnTo>
                  <a:lnTo>
                    <a:pt x="10" y="49"/>
                  </a:lnTo>
                  <a:lnTo>
                    <a:pt x="10" y="49"/>
                  </a:lnTo>
                  <a:lnTo>
                    <a:pt x="7" y="51"/>
                  </a:lnTo>
                  <a:lnTo>
                    <a:pt x="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5">
              <a:extLst>
                <a:ext uri="{FF2B5EF4-FFF2-40B4-BE49-F238E27FC236}">
                  <a16:creationId xmlns:a16="http://schemas.microsoft.com/office/drawing/2014/main" id="{0EB812D6-2F32-4C3B-9EBC-A735F5F5BD4A}"/>
                </a:ext>
              </a:extLst>
            </p:cNvPr>
            <p:cNvSpPr>
              <a:spLocks/>
            </p:cNvSpPr>
            <p:nvPr/>
          </p:nvSpPr>
          <p:spPr bwMode="auto">
            <a:xfrm>
              <a:off x="7285038" y="5478463"/>
              <a:ext cx="177800" cy="77788"/>
            </a:xfrm>
            <a:custGeom>
              <a:avLst/>
              <a:gdLst>
                <a:gd name="T0" fmla="*/ 7 w 112"/>
                <a:gd name="T1" fmla="*/ 49 h 49"/>
                <a:gd name="T2" fmla="*/ 7 w 112"/>
                <a:gd name="T3" fmla="*/ 49 h 49"/>
                <a:gd name="T4" fmla="*/ 4 w 112"/>
                <a:gd name="T5" fmla="*/ 47 h 49"/>
                <a:gd name="T6" fmla="*/ 2 w 112"/>
                <a:gd name="T7" fmla="*/ 44 h 49"/>
                <a:gd name="T8" fmla="*/ 2 w 112"/>
                <a:gd name="T9" fmla="*/ 44 h 49"/>
                <a:gd name="T10" fmla="*/ 0 w 112"/>
                <a:gd name="T11" fmla="*/ 42 h 49"/>
                <a:gd name="T12" fmla="*/ 2 w 112"/>
                <a:gd name="T13" fmla="*/ 39 h 49"/>
                <a:gd name="T14" fmla="*/ 4 w 112"/>
                <a:gd name="T15" fmla="*/ 37 h 49"/>
                <a:gd name="T16" fmla="*/ 5 w 112"/>
                <a:gd name="T17" fmla="*/ 35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4 h 49"/>
                <a:gd name="T30" fmla="*/ 112 w 112"/>
                <a:gd name="T31" fmla="*/ 4 h 49"/>
                <a:gd name="T32" fmla="*/ 112 w 112"/>
                <a:gd name="T33" fmla="*/ 7 h 49"/>
                <a:gd name="T34" fmla="*/ 112 w 112"/>
                <a:gd name="T35" fmla="*/ 9 h 49"/>
                <a:gd name="T36" fmla="*/ 111 w 112"/>
                <a:gd name="T37" fmla="*/ 12 h 49"/>
                <a:gd name="T38" fmla="*/ 107 w 112"/>
                <a:gd name="T39" fmla="*/ 12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7"/>
                  </a:lnTo>
                  <a:lnTo>
                    <a:pt x="2" y="44"/>
                  </a:lnTo>
                  <a:lnTo>
                    <a:pt x="2" y="44"/>
                  </a:lnTo>
                  <a:lnTo>
                    <a:pt x="0" y="42"/>
                  </a:lnTo>
                  <a:lnTo>
                    <a:pt x="2" y="39"/>
                  </a:lnTo>
                  <a:lnTo>
                    <a:pt x="4" y="37"/>
                  </a:lnTo>
                  <a:lnTo>
                    <a:pt x="5" y="35"/>
                  </a:lnTo>
                  <a:lnTo>
                    <a:pt x="104" y="0"/>
                  </a:lnTo>
                  <a:lnTo>
                    <a:pt x="104" y="0"/>
                  </a:lnTo>
                  <a:lnTo>
                    <a:pt x="106" y="0"/>
                  </a:lnTo>
                  <a:lnTo>
                    <a:pt x="109" y="0"/>
                  </a:lnTo>
                  <a:lnTo>
                    <a:pt x="111" y="2"/>
                  </a:lnTo>
                  <a:lnTo>
                    <a:pt x="112" y="4"/>
                  </a:lnTo>
                  <a:lnTo>
                    <a:pt x="112" y="4"/>
                  </a:lnTo>
                  <a:lnTo>
                    <a:pt x="112" y="7"/>
                  </a:lnTo>
                  <a:lnTo>
                    <a:pt x="112" y="9"/>
                  </a:lnTo>
                  <a:lnTo>
                    <a:pt x="111" y="12"/>
                  </a:lnTo>
                  <a:lnTo>
                    <a:pt x="107" y="12"/>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6">
              <a:extLst>
                <a:ext uri="{FF2B5EF4-FFF2-40B4-BE49-F238E27FC236}">
                  <a16:creationId xmlns:a16="http://schemas.microsoft.com/office/drawing/2014/main" id="{8173AFD3-FBDF-4A4C-879C-CD2D016ECAC5}"/>
                </a:ext>
              </a:extLst>
            </p:cNvPr>
            <p:cNvSpPr>
              <a:spLocks/>
            </p:cNvSpPr>
            <p:nvPr/>
          </p:nvSpPr>
          <p:spPr bwMode="auto">
            <a:xfrm>
              <a:off x="7285038" y="5549901"/>
              <a:ext cx="177800" cy="77788"/>
            </a:xfrm>
            <a:custGeom>
              <a:avLst/>
              <a:gdLst>
                <a:gd name="T0" fmla="*/ 7 w 112"/>
                <a:gd name="T1" fmla="*/ 49 h 49"/>
                <a:gd name="T2" fmla="*/ 7 w 112"/>
                <a:gd name="T3" fmla="*/ 49 h 49"/>
                <a:gd name="T4" fmla="*/ 4 w 112"/>
                <a:gd name="T5" fmla="*/ 49 h 49"/>
                <a:gd name="T6" fmla="*/ 2 w 112"/>
                <a:gd name="T7" fmla="*/ 45 h 49"/>
                <a:gd name="T8" fmla="*/ 2 w 112"/>
                <a:gd name="T9" fmla="*/ 45 h 49"/>
                <a:gd name="T10" fmla="*/ 0 w 112"/>
                <a:gd name="T11" fmla="*/ 42 h 49"/>
                <a:gd name="T12" fmla="*/ 2 w 112"/>
                <a:gd name="T13" fmla="*/ 40 h 49"/>
                <a:gd name="T14" fmla="*/ 4 w 112"/>
                <a:gd name="T15" fmla="*/ 37 h 49"/>
                <a:gd name="T16" fmla="*/ 5 w 112"/>
                <a:gd name="T17" fmla="*/ 37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5 h 49"/>
                <a:gd name="T30" fmla="*/ 112 w 112"/>
                <a:gd name="T31" fmla="*/ 5 h 49"/>
                <a:gd name="T32" fmla="*/ 112 w 112"/>
                <a:gd name="T33" fmla="*/ 7 h 49"/>
                <a:gd name="T34" fmla="*/ 112 w 112"/>
                <a:gd name="T35" fmla="*/ 10 h 49"/>
                <a:gd name="T36" fmla="*/ 111 w 112"/>
                <a:gd name="T37" fmla="*/ 12 h 49"/>
                <a:gd name="T38" fmla="*/ 107 w 112"/>
                <a:gd name="T39" fmla="*/ 14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9"/>
                  </a:lnTo>
                  <a:lnTo>
                    <a:pt x="2" y="45"/>
                  </a:lnTo>
                  <a:lnTo>
                    <a:pt x="2" y="45"/>
                  </a:lnTo>
                  <a:lnTo>
                    <a:pt x="0" y="42"/>
                  </a:lnTo>
                  <a:lnTo>
                    <a:pt x="2" y="40"/>
                  </a:lnTo>
                  <a:lnTo>
                    <a:pt x="4" y="37"/>
                  </a:lnTo>
                  <a:lnTo>
                    <a:pt x="5" y="37"/>
                  </a:lnTo>
                  <a:lnTo>
                    <a:pt x="104" y="0"/>
                  </a:lnTo>
                  <a:lnTo>
                    <a:pt x="104" y="0"/>
                  </a:lnTo>
                  <a:lnTo>
                    <a:pt x="106" y="0"/>
                  </a:lnTo>
                  <a:lnTo>
                    <a:pt x="109" y="0"/>
                  </a:lnTo>
                  <a:lnTo>
                    <a:pt x="111" y="2"/>
                  </a:lnTo>
                  <a:lnTo>
                    <a:pt x="112" y="5"/>
                  </a:lnTo>
                  <a:lnTo>
                    <a:pt x="112" y="5"/>
                  </a:lnTo>
                  <a:lnTo>
                    <a:pt x="112" y="7"/>
                  </a:lnTo>
                  <a:lnTo>
                    <a:pt x="112" y="10"/>
                  </a:lnTo>
                  <a:lnTo>
                    <a:pt x="111" y="12"/>
                  </a:lnTo>
                  <a:lnTo>
                    <a:pt x="107" y="14"/>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6" name="Group 31">
            <a:extLst>
              <a:ext uri="{FF2B5EF4-FFF2-40B4-BE49-F238E27FC236}">
                <a16:creationId xmlns:a16="http://schemas.microsoft.com/office/drawing/2014/main" id="{42399B5E-8CE6-418B-AE7E-EC851A0AD279}"/>
              </a:ext>
            </a:extLst>
          </p:cNvPr>
          <p:cNvGrpSpPr>
            <a:grpSpLocks noChangeAspect="1"/>
          </p:cNvGrpSpPr>
          <p:nvPr/>
        </p:nvGrpSpPr>
        <p:grpSpPr>
          <a:xfrm>
            <a:off x="6690545" y="4345739"/>
            <a:ext cx="179853" cy="306484"/>
            <a:chOff x="8509001" y="1103313"/>
            <a:chExt cx="311150" cy="530225"/>
          </a:xfrm>
          <a:solidFill>
            <a:schemeClr val="bg2"/>
          </a:solidFill>
          <a:effectLst/>
        </p:grpSpPr>
        <p:sp>
          <p:nvSpPr>
            <p:cNvPr id="537" name="Freeform 142">
              <a:extLst>
                <a:ext uri="{FF2B5EF4-FFF2-40B4-BE49-F238E27FC236}">
                  <a16:creationId xmlns:a16="http://schemas.microsoft.com/office/drawing/2014/main" id="{0733FBDD-A62B-4DF7-9B16-CEFFD802AB5C}"/>
                </a:ext>
              </a:extLst>
            </p:cNvPr>
            <p:cNvSpPr>
              <a:spLocks/>
            </p:cNvSpPr>
            <p:nvPr/>
          </p:nvSpPr>
          <p:spPr bwMode="auto">
            <a:xfrm>
              <a:off x="8564563" y="1231900"/>
              <a:ext cx="200025" cy="17463"/>
            </a:xfrm>
            <a:custGeom>
              <a:avLst/>
              <a:gdLst>
                <a:gd name="T0" fmla="*/ 484 w 507"/>
                <a:gd name="T1" fmla="*/ 47 h 47"/>
                <a:gd name="T2" fmla="*/ 24 w 507"/>
                <a:gd name="T3" fmla="*/ 47 h 47"/>
                <a:gd name="T4" fmla="*/ 19 w 507"/>
                <a:gd name="T5" fmla="*/ 46 h 47"/>
                <a:gd name="T6" fmla="*/ 14 w 507"/>
                <a:gd name="T7" fmla="*/ 44 h 47"/>
                <a:gd name="T8" fmla="*/ 10 w 507"/>
                <a:gd name="T9" fmla="*/ 42 h 47"/>
                <a:gd name="T10" fmla="*/ 8 w 507"/>
                <a:gd name="T11" fmla="*/ 39 h 47"/>
                <a:gd name="T12" fmla="*/ 4 w 507"/>
                <a:gd name="T13" fmla="*/ 36 h 47"/>
                <a:gd name="T14" fmla="*/ 2 w 507"/>
                <a:gd name="T15" fmla="*/ 32 h 47"/>
                <a:gd name="T16" fmla="*/ 0 w 507"/>
                <a:gd name="T17" fmla="*/ 28 h 47"/>
                <a:gd name="T18" fmla="*/ 0 w 507"/>
                <a:gd name="T19" fmla="*/ 24 h 47"/>
                <a:gd name="T20" fmla="*/ 0 w 507"/>
                <a:gd name="T21" fmla="*/ 19 h 47"/>
                <a:gd name="T22" fmla="*/ 2 w 507"/>
                <a:gd name="T23" fmla="*/ 15 h 47"/>
                <a:gd name="T24" fmla="*/ 4 w 507"/>
                <a:gd name="T25" fmla="*/ 10 h 47"/>
                <a:gd name="T26" fmla="*/ 8 w 507"/>
                <a:gd name="T27" fmla="*/ 8 h 47"/>
                <a:gd name="T28" fmla="*/ 10 w 507"/>
                <a:gd name="T29" fmla="*/ 4 h 47"/>
                <a:gd name="T30" fmla="*/ 14 w 507"/>
                <a:gd name="T31" fmla="*/ 3 h 47"/>
                <a:gd name="T32" fmla="*/ 19 w 507"/>
                <a:gd name="T33" fmla="*/ 1 h 47"/>
                <a:gd name="T34" fmla="*/ 24 w 507"/>
                <a:gd name="T35" fmla="*/ 0 h 47"/>
                <a:gd name="T36" fmla="*/ 484 w 507"/>
                <a:gd name="T37" fmla="*/ 0 h 47"/>
                <a:gd name="T38" fmla="*/ 489 w 507"/>
                <a:gd name="T39" fmla="*/ 0 h 47"/>
                <a:gd name="T40" fmla="*/ 493 w 507"/>
                <a:gd name="T41" fmla="*/ 3 h 47"/>
                <a:gd name="T42" fmla="*/ 497 w 507"/>
                <a:gd name="T43" fmla="*/ 4 h 47"/>
                <a:gd name="T44" fmla="*/ 501 w 507"/>
                <a:gd name="T45" fmla="*/ 8 h 47"/>
                <a:gd name="T46" fmla="*/ 503 w 507"/>
                <a:gd name="T47" fmla="*/ 10 h 47"/>
                <a:gd name="T48" fmla="*/ 506 w 507"/>
                <a:gd name="T49" fmla="*/ 15 h 47"/>
                <a:gd name="T50" fmla="*/ 507 w 507"/>
                <a:gd name="T51" fmla="*/ 19 h 47"/>
                <a:gd name="T52" fmla="*/ 507 w 507"/>
                <a:gd name="T53" fmla="*/ 24 h 47"/>
                <a:gd name="T54" fmla="*/ 507 w 507"/>
                <a:gd name="T55" fmla="*/ 28 h 47"/>
                <a:gd name="T56" fmla="*/ 506 w 507"/>
                <a:gd name="T57" fmla="*/ 32 h 47"/>
                <a:gd name="T58" fmla="*/ 503 w 507"/>
                <a:gd name="T59" fmla="*/ 36 h 47"/>
                <a:gd name="T60" fmla="*/ 501 w 507"/>
                <a:gd name="T61" fmla="*/ 39 h 47"/>
                <a:gd name="T62" fmla="*/ 497 w 507"/>
                <a:gd name="T63" fmla="*/ 42 h 47"/>
                <a:gd name="T64" fmla="*/ 493 w 507"/>
                <a:gd name="T65" fmla="*/ 44 h 47"/>
                <a:gd name="T66" fmla="*/ 489 w 507"/>
                <a:gd name="T67" fmla="*/ 46 h 47"/>
                <a:gd name="T68" fmla="*/ 484 w 507"/>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7">
                  <a:moveTo>
                    <a:pt x="484" y="47"/>
                  </a:moveTo>
                  <a:lnTo>
                    <a:pt x="24" y="47"/>
                  </a:lnTo>
                  <a:lnTo>
                    <a:pt x="19" y="46"/>
                  </a:lnTo>
                  <a:lnTo>
                    <a:pt x="14" y="44"/>
                  </a:lnTo>
                  <a:lnTo>
                    <a:pt x="10" y="42"/>
                  </a:lnTo>
                  <a:lnTo>
                    <a:pt x="8" y="39"/>
                  </a:lnTo>
                  <a:lnTo>
                    <a:pt x="4" y="36"/>
                  </a:lnTo>
                  <a:lnTo>
                    <a:pt x="2" y="32"/>
                  </a:lnTo>
                  <a:lnTo>
                    <a:pt x="0" y="28"/>
                  </a:lnTo>
                  <a:lnTo>
                    <a:pt x="0" y="24"/>
                  </a:lnTo>
                  <a:lnTo>
                    <a:pt x="0" y="19"/>
                  </a:lnTo>
                  <a:lnTo>
                    <a:pt x="2" y="15"/>
                  </a:lnTo>
                  <a:lnTo>
                    <a:pt x="4" y="10"/>
                  </a:lnTo>
                  <a:lnTo>
                    <a:pt x="8" y="8"/>
                  </a:lnTo>
                  <a:lnTo>
                    <a:pt x="10" y="4"/>
                  </a:lnTo>
                  <a:lnTo>
                    <a:pt x="14" y="3"/>
                  </a:lnTo>
                  <a:lnTo>
                    <a:pt x="19" y="1"/>
                  </a:lnTo>
                  <a:lnTo>
                    <a:pt x="24" y="0"/>
                  </a:lnTo>
                  <a:lnTo>
                    <a:pt x="484" y="0"/>
                  </a:lnTo>
                  <a:lnTo>
                    <a:pt x="489" y="0"/>
                  </a:lnTo>
                  <a:lnTo>
                    <a:pt x="493" y="3"/>
                  </a:lnTo>
                  <a:lnTo>
                    <a:pt x="497" y="4"/>
                  </a:lnTo>
                  <a:lnTo>
                    <a:pt x="501" y="8"/>
                  </a:lnTo>
                  <a:lnTo>
                    <a:pt x="503" y="10"/>
                  </a:lnTo>
                  <a:lnTo>
                    <a:pt x="506" y="15"/>
                  </a:lnTo>
                  <a:lnTo>
                    <a:pt x="507" y="19"/>
                  </a:lnTo>
                  <a:lnTo>
                    <a:pt x="507" y="24"/>
                  </a:lnTo>
                  <a:lnTo>
                    <a:pt x="507" y="28"/>
                  </a:lnTo>
                  <a:lnTo>
                    <a:pt x="506" y="32"/>
                  </a:lnTo>
                  <a:lnTo>
                    <a:pt x="503" y="36"/>
                  </a:lnTo>
                  <a:lnTo>
                    <a:pt x="501" y="39"/>
                  </a:lnTo>
                  <a:lnTo>
                    <a:pt x="497" y="42"/>
                  </a:lnTo>
                  <a:lnTo>
                    <a:pt x="493" y="44"/>
                  </a:lnTo>
                  <a:lnTo>
                    <a:pt x="489" y="46"/>
                  </a:lnTo>
                  <a:lnTo>
                    <a:pt x="48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43">
              <a:extLst>
                <a:ext uri="{FF2B5EF4-FFF2-40B4-BE49-F238E27FC236}">
                  <a16:creationId xmlns:a16="http://schemas.microsoft.com/office/drawing/2014/main" id="{C6B8902D-3142-47CD-9AD2-93A44CDAF089}"/>
                </a:ext>
              </a:extLst>
            </p:cNvPr>
            <p:cNvSpPr>
              <a:spLocks/>
            </p:cNvSpPr>
            <p:nvPr/>
          </p:nvSpPr>
          <p:spPr bwMode="auto">
            <a:xfrm>
              <a:off x="8564563" y="1285875"/>
              <a:ext cx="200025" cy="19050"/>
            </a:xfrm>
            <a:custGeom>
              <a:avLst/>
              <a:gdLst>
                <a:gd name="T0" fmla="*/ 484 w 507"/>
                <a:gd name="T1" fmla="*/ 45 h 45"/>
                <a:gd name="T2" fmla="*/ 24 w 507"/>
                <a:gd name="T3" fmla="*/ 45 h 45"/>
                <a:gd name="T4" fmla="*/ 19 w 507"/>
                <a:gd name="T5" fmla="*/ 45 h 45"/>
                <a:gd name="T6" fmla="*/ 14 w 507"/>
                <a:gd name="T7" fmla="*/ 44 h 45"/>
                <a:gd name="T8" fmla="*/ 10 w 507"/>
                <a:gd name="T9" fmla="*/ 42 h 45"/>
                <a:gd name="T10" fmla="*/ 8 w 507"/>
                <a:gd name="T11" fmla="*/ 39 h 45"/>
                <a:gd name="T12" fmla="*/ 4 w 507"/>
                <a:gd name="T13" fmla="*/ 35 h 45"/>
                <a:gd name="T14" fmla="*/ 2 w 507"/>
                <a:gd name="T15" fmla="*/ 32 h 45"/>
                <a:gd name="T16" fmla="*/ 0 w 507"/>
                <a:gd name="T17" fmla="*/ 27 h 45"/>
                <a:gd name="T18" fmla="*/ 0 w 507"/>
                <a:gd name="T19" fmla="*/ 23 h 45"/>
                <a:gd name="T20" fmla="*/ 0 w 507"/>
                <a:gd name="T21" fmla="*/ 18 h 45"/>
                <a:gd name="T22" fmla="*/ 2 w 507"/>
                <a:gd name="T23" fmla="*/ 13 h 45"/>
                <a:gd name="T24" fmla="*/ 4 w 507"/>
                <a:gd name="T25" fmla="*/ 10 h 45"/>
                <a:gd name="T26" fmla="*/ 8 w 507"/>
                <a:gd name="T27" fmla="*/ 6 h 45"/>
                <a:gd name="T28" fmla="*/ 10 w 507"/>
                <a:gd name="T29" fmla="*/ 4 h 45"/>
                <a:gd name="T30" fmla="*/ 14 w 507"/>
                <a:gd name="T31" fmla="*/ 1 h 45"/>
                <a:gd name="T32" fmla="*/ 19 w 507"/>
                <a:gd name="T33" fmla="*/ 0 h 45"/>
                <a:gd name="T34" fmla="*/ 24 w 507"/>
                <a:gd name="T35" fmla="*/ 0 h 45"/>
                <a:gd name="T36" fmla="*/ 484 w 507"/>
                <a:gd name="T37" fmla="*/ 0 h 45"/>
                <a:gd name="T38" fmla="*/ 489 w 507"/>
                <a:gd name="T39" fmla="*/ 0 h 45"/>
                <a:gd name="T40" fmla="*/ 493 w 507"/>
                <a:gd name="T41" fmla="*/ 1 h 45"/>
                <a:gd name="T42" fmla="*/ 497 w 507"/>
                <a:gd name="T43" fmla="*/ 4 h 45"/>
                <a:gd name="T44" fmla="*/ 501 w 507"/>
                <a:gd name="T45" fmla="*/ 6 h 45"/>
                <a:gd name="T46" fmla="*/ 503 w 507"/>
                <a:gd name="T47" fmla="*/ 10 h 45"/>
                <a:gd name="T48" fmla="*/ 506 w 507"/>
                <a:gd name="T49" fmla="*/ 13 h 45"/>
                <a:gd name="T50" fmla="*/ 507 w 507"/>
                <a:gd name="T51" fmla="*/ 18 h 45"/>
                <a:gd name="T52" fmla="*/ 507 w 507"/>
                <a:gd name="T53" fmla="*/ 23 h 45"/>
                <a:gd name="T54" fmla="*/ 507 w 507"/>
                <a:gd name="T55" fmla="*/ 27 h 45"/>
                <a:gd name="T56" fmla="*/ 506 w 507"/>
                <a:gd name="T57" fmla="*/ 32 h 45"/>
                <a:gd name="T58" fmla="*/ 503 w 507"/>
                <a:gd name="T59" fmla="*/ 35 h 45"/>
                <a:gd name="T60" fmla="*/ 501 w 507"/>
                <a:gd name="T61" fmla="*/ 39 h 45"/>
                <a:gd name="T62" fmla="*/ 497 w 507"/>
                <a:gd name="T63" fmla="*/ 42 h 45"/>
                <a:gd name="T64" fmla="*/ 493 w 507"/>
                <a:gd name="T65" fmla="*/ 44 h 45"/>
                <a:gd name="T66" fmla="*/ 489 w 507"/>
                <a:gd name="T67" fmla="*/ 45 h 45"/>
                <a:gd name="T68" fmla="*/ 484 w 507"/>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5">
                  <a:moveTo>
                    <a:pt x="484" y="45"/>
                  </a:moveTo>
                  <a:lnTo>
                    <a:pt x="24" y="45"/>
                  </a:lnTo>
                  <a:lnTo>
                    <a:pt x="19" y="45"/>
                  </a:lnTo>
                  <a:lnTo>
                    <a:pt x="14" y="44"/>
                  </a:lnTo>
                  <a:lnTo>
                    <a:pt x="10" y="42"/>
                  </a:lnTo>
                  <a:lnTo>
                    <a:pt x="8" y="39"/>
                  </a:lnTo>
                  <a:lnTo>
                    <a:pt x="4" y="35"/>
                  </a:lnTo>
                  <a:lnTo>
                    <a:pt x="2" y="32"/>
                  </a:lnTo>
                  <a:lnTo>
                    <a:pt x="0" y="27"/>
                  </a:lnTo>
                  <a:lnTo>
                    <a:pt x="0" y="23"/>
                  </a:lnTo>
                  <a:lnTo>
                    <a:pt x="0" y="18"/>
                  </a:lnTo>
                  <a:lnTo>
                    <a:pt x="2" y="13"/>
                  </a:lnTo>
                  <a:lnTo>
                    <a:pt x="4" y="10"/>
                  </a:lnTo>
                  <a:lnTo>
                    <a:pt x="8" y="6"/>
                  </a:lnTo>
                  <a:lnTo>
                    <a:pt x="10" y="4"/>
                  </a:lnTo>
                  <a:lnTo>
                    <a:pt x="14" y="1"/>
                  </a:lnTo>
                  <a:lnTo>
                    <a:pt x="19" y="0"/>
                  </a:lnTo>
                  <a:lnTo>
                    <a:pt x="24" y="0"/>
                  </a:lnTo>
                  <a:lnTo>
                    <a:pt x="484" y="0"/>
                  </a:lnTo>
                  <a:lnTo>
                    <a:pt x="489" y="0"/>
                  </a:lnTo>
                  <a:lnTo>
                    <a:pt x="493" y="1"/>
                  </a:lnTo>
                  <a:lnTo>
                    <a:pt x="497" y="4"/>
                  </a:lnTo>
                  <a:lnTo>
                    <a:pt x="501" y="6"/>
                  </a:lnTo>
                  <a:lnTo>
                    <a:pt x="503" y="10"/>
                  </a:lnTo>
                  <a:lnTo>
                    <a:pt x="506" y="13"/>
                  </a:lnTo>
                  <a:lnTo>
                    <a:pt x="507" y="18"/>
                  </a:lnTo>
                  <a:lnTo>
                    <a:pt x="507" y="23"/>
                  </a:lnTo>
                  <a:lnTo>
                    <a:pt x="507" y="27"/>
                  </a:lnTo>
                  <a:lnTo>
                    <a:pt x="506" y="32"/>
                  </a:lnTo>
                  <a:lnTo>
                    <a:pt x="503" y="35"/>
                  </a:lnTo>
                  <a:lnTo>
                    <a:pt x="501" y="39"/>
                  </a:lnTo>
                  <a:lnTo>
                    <a:pt x="497" y="42"/>
                  </a:lnTo>
                  <a:lnTo>
                    <a:pt x="493" y="44"/>
                  </a:lnTo>
                  <a:lnTo>
                    <a:pt x="489" y="45"/>
                  </a:lnTo>
                  <a:lnTo>
                    <a:pt x="48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44">
              <a:extLst>
                <a:ext uri="{FF2B5EF4-FFF2-40B4-BE49-F238E27FC236}">
                  <a16:creationId xmlns:a16="http://schemas.microsoft.com/office/drawing/2014/main" id="{438283CC-373D-43B2-96B4-92B34B8956EC}"/>
                </a:ext>
              </a:extLst>
            </p:cNvPr>
            <p:cNvSpPr>
              <a:spLocks/>
            </p:cNvSpPr>
            <p:nvPr/>
          </p:nvSpPr>
          <p:spPr bwMode="auto">
            <a:xfrm>
              <a:off x="8564563" y="1341438"/>
              <a:ext cx="200025" cy="17463"/>
            </a:xfrm>
            <a:custGeom>
              <a:avLst/>
              <a:gdLst>
                <a:gd name="T0" fmla="*/ 484 w 507"/>
                <a:gd name="T1" fmla="*/ 46 h 46"/>
                <a:gd name="T2" fmla="*/ 24 w 507"/>
                <a:gd name="T3" fmla="*/ 46 h 46"/>
                <a:gd name="T4" fmla="*/ 19 w 507"/>
                <a:gd name="T5" fmla="*/ 46 h 46"/>
                <a:gd name="T6" fmla="*/ 14 w 507"/>
                <a:gd name="T7" fmla="*/ 45 h 46"/>
                <a:gd name="T8" fmla="*/ 10 w 507"/>
                <a:gd name="T9" fmla="*/ 42 h 46"/>
                <a:gd name="T10" fmla="*/ 8 w 507"/>
                <a:gd name="T11" fmla="*/ 40 h 46"/>
                <a:gd name="T12" fmla="*/ 4 w 507"/>
                <a:gd name="T13" fmla="*/ 36 h 46"/>
                <a:gd name="T14" fmla="*/ 2 w 507"/>
                <a:gd name="T15" fmla="*/ 32 h 46"/>
                <a:gd name="T16" fmla="*/ 0 w 507"/>
                <a:gd name="T17" fmla="*/ 27 h 46"/>
                <a:gd name="T18" fmla="*/ 0 w 507"/>
                <a:gd name="T19" fmla="*/ 23 h 46"/>
                <a:gd name="T20" fmla="*/ 0 w 507"/>
                <a:gd name="T21" fmla="*/ 19 h 46"/>
                <a:gd name="T22" fmla="*/ 2 w 507"/>
                <a:gd name="T23" fmla="*/ 14 h 46"/>
                <a:gd name="T24" fmla="*/ 4 w 507"/>
                <a:gd name="T25" fmla="*/ 10 h 46"/>
                <a:gd name="T26" fmla="*/ 8 w 507"/>
                <a:gd name="T27" fmla="*/ 7 h 46"/>
                <a:gd name="T28" fmla="*/ 10 w 507"/>
                <a:gd name="T29" fmla="*/ 4 h 46"/>
                <a:gd name="T30" fmla="*/ 14 w 507"/>
                <a:gd name="T31" fmla="*/ 2 h 46"/>
                <a:gd name="T32" fmla="*/ 19 w 507"/>
                <a:gd name="T33" fmla="*/ 0 h 46"/>
                <a:gd name="T34" fmla="*/ 24 w 507"/>
                <a:gd name="T35" fmla="*/ 0 h 46"/>
                <a:gd name="T36" fmla="*/ 484 w 507"/>
                <a:gd name="T37" fmla="*/ 0 h 46"/>
                <a:gd name="T38" fmla="*/ 489 w 507"/>
                <a:gd name="T39" fmla="*/ 0 h 46"/>
                <a:gd name="T40" fmla="*/ 493 w 507"/>
                <a:gd name="T41" fmla="*/ 2 h 46"/>
                <a:gd name="T42" fmla="*/ 497 w 507"/>
                <a:gd name="T43" fmla="*/ 4 h 46"/>
                <a:gd name="T44" fmla="*/ 501 w 507"/>
                <a:gd name="T45" fmla="*/ 7 h 46"/>
                <a:gd name="T46" fmla="*/ 503 w 507"/>
                <a:gd name="T47" fmla="*/ 10 h 46"/>
                <a:gd name="T48" fmla="*/ 506 w 507"/>
                <a:gd name="T49" fmla="*/ 14 h 46"/>
                <a:gd name="T50" fmla="*/ 507 w 507"/>
                <a:gd name="T51" fmla="*/ 19 h 46"/>
                <a:gd name="T52" fmla="*/ 507 w 507"/>
                <a:gd name="T53" fmla="*/ 23 h 46"/>
                <a:gd name="T54" fmla="*/ 507 w 507"/>
                <a:gd name="T55" fmla="*/ 27 h 46"/>
                <a:gd name="T56" fmla="*/ 506 w 507"/>
                <a:gd name="T57" fmla="*/ 32 h 46"/>
                <a:gd name="T58" fmla="*/ 503 w 507"/>
                <a:gd name="T59" fmla="*/ 36 h 46"/>
                <a:gd name="T60" fmla="*/ 501 w 507"/>
                <a:gd name="T61" fmla="*/ 40 h 46"/>
                <a:gd name="T62" fmla="*/ 497 w 507"/>
                <a:gd name="T63" fmla="*/ 42 h 46"/>
                <a:gd name="T64" fmla="*/ 493 w 507"/>
                <a:gd name="T65" fmla="*/ 45 h 46"/>
                <a:gd name="T66" fmla="*/ 489 w 507"/>
                <a:gd name="T67" fmla="*/ 46 h 46"/>
                <a:gd name="T68" fmla="*/ 484 w 507"/>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6">
                  <a:moveTo>
                    <a:pt x="484" y="46"/>
                  </a:moveTo>
                  <a:lnTo>
                    <a:pt x="24" y="46"/>
                  </a:lnTo>
                  <a:lnTo>
                    <a:pt x="19" y="46"/>
                  </a:lnTo>
                  <a:lnTo>
                    <a:pt x="14" y="45"/>
                  </a:lnTo>
                  <a:lnTo>
                    <a:pt x="10" y="42"/>
                  </a:lnTo>
                  <a:lnTo>
                    <a:pt x="8" y="40"/>
                  </a:lnTo>
                  <a:lnTo>
                    <a:pt x="4" y="36"/>
                  </a:lnTo>
                  <a:lnTo>
                    <a:pt x="2" y="32"/>
                  </a:lnTo>
                  <a:lnTo>
                    <a:pt x="0" y="27"/>
                  </a:lnTo>
                  <a:lnTo>
                    <a:pt x="0" y="23"/>
                  </a:lnTo>
                  <a:lnTo>
                    <a:pt x="0" y="19"/>
                  </a:lnTo>
                  <a:lnTo>
                    <a:pt x="2" y="14"/>
                  </a:lnTo>
                  <a:lnTo>
                    <a:pt x="4" y="10"/>
                  </a:lnTo>
                  <a:lnTo>
                    <a:pt x="8" y="7"/>
                  </a:lnTo>
                  <a:lnTo>
                    <a:pt x="10" y="4"/>
                  </a:lnTo>
                  <a:lnTo>
                    <a:pt x="14" y="2"/>
                  </a:lnTo>
                  <a:lnTo>
                    <a:pt x="19" y="0"/>
                  </a:lnTo>
                  <a:lnTo>
                    <a:pt x="24" y="0"/>
                  </a:lnTo>
                  <a:lnTo>
                    <a:pt x="484" y="0"/>
                  </a:lnTo>
                  <a:lnTo>
                    <a:pt x="489" y="0"/>
                  </a:lnTo>
                  <a:lnTo>
                    <a:pt x="493" y="2"/>
                  </a:lnTo>
                  <a:lnTo>
                    <a:pt x="497" y="4"/>
                  </a:lnTo>
                  <a:lnTo>
                    <a:pt x="501" y="7"/>
                  </a:lnTo>
                  <a:lnTo>
                    <a:pt x="503" y="10"/>
                  </a:lnTo>
                  <a:lnTo>
                    <a:pt x="506" y="14"/>
                  </a:lnTo>
                  <a:lnTo>
                    <a:pt x="507" y="19"/>
                  </a:lnTo>
                  <a:lnTo>
                    <a:pt x="507" y="23"/>
                  </a:lnTo>
                  <a:lnTo>
                    <a:pt x="507" y="27"/>
                  </a:lnTo>
                  <a:lnTo>
                    <a:pt x="506" y="32"/>
                  </a:lnTo>
                  <a:lnTo>
                    <a:pt x="503" y="36"/>
                  </a:lnTo>
                  <a:lnTo>
                    <a:pt x="501" y="40"/>
                  </a:lnTo>
                  <a:lnTo>
                    <a:pt x="497" y="42"/>
                  </a:lnTo>
                  <a:lnTo>
                    <a:pt x="493" y="45"/>
                  </a:lnTo>
                  <a:lnTo>
                    <a:pt x="489" y="46"/>
                  </a:lnTo>
                  <a:lnTo>
                    <a:pt x="484"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45">
              <a:extLst>
                <a:ext uri="{FF2B5EF4-FFF2-40B4-BE49-F238E27FC236}">
                  <a16:creationId xmlns:a16="http://schemas.microsoft.com/office/drawing/2014/main" id="{8253DA1F-FD13-407E-AE9A-9A6D18FDEB36}"/>
                </a:ext>
              </a:extLst>
            </p:cNvPr>
            <p:cNvSpPr>
              <a:spLocks/>
            </p:cNvSpPr>
            <p:nvPr/>
          </p:nvSpPr>
          <p:spPr bwMode="auto">
            <a:xfrm>
              <a:off x="8509001" y="1103313"/>
              <a:ext cx="311150" cy="457200"/>
            </a:xfrm>
            <a:custGeom>
              <a:avLst/>
              <a:gdLst>
                <a:gd name="T0" fmla="*/ 585 w 783"/>
                <a:gd name="T1" fmla="*/ 1151 h 1151"/>
                <a:gd name="T2" fmla="*/ 576 w 783"/>
                <a:gd name="T3" fmla="*/ 1150 h 1151"/>
                <a:gd name="T4" fmla="*/ 569 w 783"/>
                <a:gd name="T5" fmla="*/ 1145 h 1151"/>
                <a:gd name="T6" fmla="*/ 564 w 783"/>
                <a:gd name="T7" fmla="*/ 1138 h 1151"/>
                <a:gd name="T8" fmla="*/ 563 w 783"/>
                <a:gd name="T9" fmla="*/ 1129 h 1151"/>
                <a:gd name="T10" fmla="*/ 564 w 783"/>
                <a:gd name="T11" fmla="*/ 1120 h 1151"/>
                <a:gd name="T12" fmla="*/ 569 w 783"/>
                <a:gd name="T13" fmla="*/ 1112 h 1151"/>
                <a:gd name="T14" fmla="*/ 576 w 783"/>
                <a:gd name="T15" fmla="*/ 1107 h 1151"/>
                <a:gd name="T16" fmla="*/ 585 w 783"/>
                <a:gd name="T17" fmla="*/ 1106 h 1151"/>
                <a:gd name="T18" fmla="*/ 737 w 783"/>
                <a:gd name="T19" fmla="*/ 46 h 1151"/>
                <a:gd name="T20" fmla="*/ 46 w 783"/>
                <a:gd name="T21" fmla="*/ 217 h 1151"/>
                <a:gd name="T22" fmla="*/ 198 w 783"/>
                <a:gd name="T23" fmla="*/ 1106 h 1151"/>
                <a:gd name="T24" fmla="*/ 207 w 783"/>
                <a:gd name="T25" fmla="*/ 1107 h 1151"/>
                <a:gd name="T26" fmla="*/ 214 w 783"/>
                <a:gd name="T27" fmla="*/ 1112 h 1151"/>
                <a:gd name="T28" fmla="*/ 219 w 783"/>
                <a:gd name="T29" fmla="*/ 1120 h 1151"/>
                <a:gd name="T30" fmla="*/ 222 w 783"/>
                <a:gd name="T31" fmla="*/ 1129 h 1151"/>
                <a:gd name="T32" fmla="*/ 219 w 783"/>
                <a:gd name="T33" fmla="*/ 1138 h 1151"/>
                <a:gd name="T34" fmla="*/ 214 w 783"/>
                <a:gd name="T35" fmla="*/ 1145 h 1151"/>
                <a:gd name="T36" fmla="*/ 207 w 783"/>
                <a:gd name="T37" fmla="*/ 1150 h 1151"/>
                <a:gd name="T38" fmla="*/ 198 w 783"/>
                <a:gd name="T39" fmla="*/ 1151 h 1151"/>
                <a:gd name="T40" fmla="*/ 18 w 783"/>
                <a:gd name="T41" fmla="*/ 1151 h 1151"/>
                <a:gd name="T42" fmla="*/ 11 w 783"/>
                <a:gd name="T43" fmla="*/ 1148 h 1151"/>
                <a:gd name="T44" fmla="*/ 5 w 783"/>
                <a:gd name="T45" fmla="*/ 1142 h 1151"/>
                <a:gd name="T46" fmla="*/ 1 w 783"/>
                <a:gd name="T47" fmla="*/ 1133 h 1151"/>
                <a:gd name="T48" fmla="*/ 0 w 783"/>
                <a:gd name="T49" fmla="*/ 207 h 1151"/>
                <a:gd name="T50" fmla="*/ 2 w 783"/>
                <a:gd name="T51" fmla="*/ 198 h 1151"/>
                <a:gd name="T52" fmla="*/ 7 w 783"/>
                <a:gd name="T53" fmla="*/ 191 h 1151"/>
                <a:gd name="T54" fmla="*/ 195 w 783"/>
                <a:gd name="T55" fmla="*/ 3 h 1151"/>
                <a:gd name="T56" fmla="*/ 203 w 783"/>
                <a:gd name="T57" fmla="*/ 1 h 1151"/>
                <a:gd name="T58" fmla="*/ 760 w 783"/>
                <a:gd name="T59" fmla="*/ 0 h 1151"/>
                <a:gd name="T60" fmla="*/ 769 w 783"/>
                <a:gd name="T61" fmla="*/ 2 h 1151"/>
                <a:gd name="T62" fmla="*/ 776 w 783"/>
                <a:gd name="T63" fmla="*/ 7 h 1151"/>
                <a:gd name="T64" fmla="*/ 781 w 783"/>
                <a:gd name="T65" fmla="*/ 14 h 1151"/>
                <a:gd name="T66" fmla="*/ 783 w 783"/>
                <a:gd name="T67" fmla="*/ 23 h 1151"/>
                <a:gd name="T68" fmla="*/ 783 w 783"/>
                <a:gd name="T69" fmla="*/ 1133 h 1151"/>
                <a:gd name="T70" fmla="*/ 780 w 783"/>
                <a:gd name="T71" fmla="*/ 1142 h 1151"/>
                <a:gd name="T72" fmla="*/ 774 w 783"/>
                <a:gd name="T73" fmla="*/ 1148 h 1151"/>
                <a:gd name="T74" fmla="*/ 765 w 783"/>
                <a:gd name="T75" fmla="*/ 115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3" h="1151">
                  <a:moveTo>
                    <a:pt x="760" y="1151"/>
                  </a:moveTo>
                  <a:lnTo>
                    <a:pt x="585" y="1151"/>
                  </a:lnTo>
                  <a:lnTo>
                    <a:pt x="581" y="1151"/>
                  </a:lnTo>
                  <a:lnTo>
                    <a:pt x="576" y="1150"/>
                  </a:lnTo>
                  <a:lnTo>
                    <a:pt x="573" y="1148"/>
                  </a:lnTo>
                  <a:lnTo>
                    <a:pt x="569" y="1145"/>
                  </a:lnTo>
                  <a:lnTo>
                    <a:pt x="566" y="1142"/>
                  </a:lnTo>
                  <a:lnTo>
                    <a:pt x="564" y="1138"/>
                  </a:lnTo>
                  <a:lnTo>
                    <a:pt x="563" y="1133"/>
                  </a:lnTo>
                  <a:lnTo>
                    <a:pt x="563" y="1129"/>
                  </a:lnTo>
                  <a:lnTo>
                    <a:pt x="563" y="1124"/>
                  </a:lnTo>
                  <a:lnTo>
                    <a:pt x="564" y="1120"/>
                  </a:lnTo>
                  <a:lnTo>
                    <a:pt x="566" y="1116"/>
                  </a:lnTo>
                  <a:lnTo>
                    <a:pt x="569" y="1112"/>
                  </a:lnTo>
                  <a:lnTo>
                    <a:pt x="573" y="1110"/>
                  </a:lnTo>
                  <a:lnTo>
                    <a:pt x="576" y="1107"/>
                  </a:lnTo>
                  <a:lnTo>
                    <a:pt x="581" y="1106"/>
                  </a:lnTo>
                  <a:lnTo>
                    <a:pt x="585" y="1106"/>
                  </a:lnTo>
                  <a:lnTo>
                    <a:pt x="737" y="1106"/>
                  </a:lnTo>
                  <a:lnTo>
                    <a:pt x="737" y="46"/>
                  </a:lnTo>
                  <a:lnTo>
                    <a:pt x="217" y="46"/>
                  </a:lnTo>
                  <a:lnTo>
                    <a:pt x="46" y="217"/>
                  </a:lnTo>
                  <a:lnTo>
                    <a:pt x="46" y="1106"/>
                  </a:lnTo>
                  <a:lnTo>
                    <a:pt x="198" y="1106"/>
                  </a:lnTo>
                  <a:lnTo>
                    <a:pt x="203" y="1106"/>
                  </a:lnTo>
                  <a:lnTo>
                    <a:pt x="207" y="1107"/>
                  </a:lnTo>
                  <a:lnTo>
                    <a:pt x="211" y="1110"/>
                  </a:lnTo>
                  <a:lnTo>
                    <a:pt x="214" y="1112"/>
                  </a:lnTo>
                  <a:lnTo>
                    <a:pt x="217" y="1116"/>
                  </a:lnTo>
                  <a:lnTo>
                    <a:pt x="219" y="1120"/>
                  </a:lnTo>
                  <a:lnTo>
                    <a:pt x="221" y="1124"/>
                  </a:lnTo>
                  <a:lnTo>
                    <a:pt x="222" y="1129"/>
                  </a:lnTo>
                  <a:lnTo>
                    <a:pt x="221" y="1133"/>
                  </a:lnTo>
                  <a:lnTo>
                    <a:pt x="219" y="1138"/>
                  </a:lnTo>
                  <a:lnTo>
                    <a:pt x="217" y="1142"/>
                  </a:lnTo>
                  <a:lnTo>
                    <a:pt x="214" y="1145"/>
                  </a:lnTo>
                  <a:lnTo>
                    <a:pt x="211" y="1148"/>
                  </a:lnTo>
                  <a:lnTo>
                    <a:pt x="207" y="1150"/>
                  </a:lnTo>
                  <a:lnTo>
                    <a:pt x="203" y="1151"/>
                  </a:lnTo>
                  <a:lnTo>
                    <a:pt x="198" y="1151"/>
                  </a:lnTo>
                  <a:lnTo>
                    <a:pt x="23" y="1151"/>
                  </a:lnTo>
                  <a:lnTo>
                    <a:pt x="18" y="1151"/>
                  </a:lnTo>
                  <a:lnTo>
                    <a:pt x="14" y="1150"/>
                  </a:lnTo>
                  <a:lnTo>
                    <a:pt x="11" y="1148"/>
                  </a:lnTo>
                  <a:lnTo>
                    <a:pt x="7" y="1145"/>
                  </a:lnTo>
                  <a:lnTo>
                    <a:pt x="5" y="1142"/>
                  </a:lnTo>
                  <a:lnTo>
                    <a:pt x="2" y="1138"/>
                  </a:lnTo>
                  <a:lnTo>
                    <a:pt x="1" y="1133"/>
                  </a:lnTo>
                  <a:lnTo>
                    <a:pt x="0" y="1129"/>
                  </a:lnTo>
                  <a:lnTo>
                    <a:pt x="0" y="207"/>
                  </a:lnTo>
                  <a:lnTo>
                    <a:pt x="1" y="203"/>
                  </a:lnTo>
                  <a:lnTo>
                    <a:pt x="2" y="198"/>
                  </a:lnTo>
                  <a:lnTo>
                    <a:pt x="3" y="195"/>
                  </a:lnTo>
                  <a:lnTo>
                    <a:pt x="7" y="191"/>
                  </a:lnTo>
                  <a:lnTo>
                    <a:pt x="191" y="7"/>
                  </a:lnTo>
                  <a:lnTo>
                    <a:pt x="195" y="3"/>
                  </a:lnTo>
                  <a:lnTo>
                    <a:pt x="198" y="2"/>
                  </a:lnTo>
                  <a:lnTo>
                    <a:pt x="203" y="1"/>
                  </a:lnTo>
                  <a:lnTo>
                    <a:pt x="207" y="0"/>
                  </a:lnTo>
                  <a:lnTo>
                    <a:pt x="760" y="0"/>
                  </a:lnTo>
                  <a:lnTo>
                    <a:pt x="765" y="1"/>
                  </a:lnTo>
                  <a:lnTo>
                    <a:pt x="769" y="2"/>
                  </a:lnTo>
                  <a:lnTo>
                    <a:pt x="774" y="3"/>
                  </a:lnTo>
                  <a:lnTo>
                    <a:pt x="776" y="7"/>
                  </a:lnTo>
                  <a:lnTo>
                    <a:pt x="780" y="9"/>
                  </a:lnTo>
                  <a:lnTo>
                    <a:pt x="781" y="14"/>
                  </a:lnTo>
                  <a:lnTo>
                    <a:pt x="783" y="18"/>
                  </a:lnTo>
                  <a:lnTo>
                    <a:pt x="783" y="23"/>
                  </a:lnTo>
                  <a:lnTo>
                    <a:pt x="783" y="1129"/>
                  </a:lnTo>
                  <a:lnTo>
                    <a:pt x="783" y="1133"/>
                  </a:lnTo>
                  <a:lnTo>
                    <a:pt x="781" y="1138"/>
                  </a:lnTo>
                  <a:lnTo>
                    <a:pt x="780" y="1142"/>
                  </a:lnTo>
                  <a:lnTo>
                    <a:pt x="776" y="1145"/>
                  </a:lnTo>
                  <a:lnTo>
                    <a:pt x="774" y="1148"/>
                  </a:lnTo>
                  <a:lnTo>
                    <a:pt x="769" y="1150"/>
                  </a:lnTo>
                  <a:lnTo>
                    <a:pt x="765" y="1151"/>
                  </a:lnTo>
                  <a:lnTo>
                    <a:pt x="760" y="1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46">
              <a:extLst>
                <a:ext uri="{FF2B5EF4-FFF2-40B4-BE49-F238E27FC236}">
                  <a16:creationId xmlns:a16="http://schemas.microsoft.com/office/drawing/2014/main" id="{85846280-9D46-415E-AE58-85D9E64CE28C}"/>
                </a:ext>
              </a:extLst>
            </p:cNvPr>
            <p:cNvSpPr>
              <a:spLocks/>
            </p:cNvSpPr>
            <p:nvPr/>
          </p:nvSpPr>
          <p:spPr bwMode="auto">
            <a:xfrm>
              <a:off x="8509001" y="1103313"/>
              <a:ext cx="92075" cy="92075"/>
            </a:xfrm>
            <a:custGeom>
              <a:avLst/>
              <a:gdLst>
                <a:gd name="T0" fmla="*/ 207 w 230"/>
                <a:gd name="T1" fmla="*/ 230 h 230"/>
                <a:gd name="T2" fmla="*/ 23 w 230"/>
                <a:gd name="T3" fmla="*/ 230 h 230"/>
                <a:gd name="T4" fmla="*/ 18 w 230"/>
                <a:gd name="T5" fmla="*/ 230 h 230"/>
                <a:gd name="T6" fmla="*/ 14 w 230"/>
                <a:gd name="T7" fmla="*/ 229 h 230"/>
                <a:gd name="T8" fmla="*/ 11 w 230"/>
                <a:gd name="T9" fmla="*/ 227 h 230"/>
                <a:gd name="T10" fmla="*/ 7 w 230"/>
                <a:gd name="T11" fmla="*/ 223 h 230"/>
                <a:gd name="T12" fmla="*/ 5 w 230"/>
                <a:gd name="T13" fmla="*/ 220 h 230"/>
                <a:gd name="T14" fmla="*/ 2 w 230"/>
                <a:gd name="T15" fmla="*/ 217 h 230"/>
                <a:gd name="T16" fmla="*/ 1 w 230"/>
                <a:gd name="T17" fmla="*/ 212 h 230"/>
                <a:gd name="T18" fmla="*/ 0 w 230"/>
                <a:gd name="T19" fmla="*/ 207 h 230"/>
                <a:gd name="T20" fmla="*/ 1 w 230"/>
                <a:gd name="T21" fmla="*/ 202 h 230"/>
                <a:gd name="T22" fmla="*/ 2 w 230"/>
                <a:gd name="T23" fmla="*/ 198 h 230"/>
                <a:gd name="T24" fmla="*/ 5 w 230"/>
                <a:gd name="T25" fmla="*/ 195 h 230"/>
                <a:gd name="T26" fmla="*/ 7 w 230"/>
                <a:gd name="T27" fmla="*/ 191 h 230"/>
                <a:gd name="T28" fmla="*/ 11 w 230"/>
                <a:gd name="T29" fmla="*/ 189 h 230"/>
                <a:gd name="T30" fmla="*/ 14 w 230"/>
                <a:gd name="T31" fmla="*/ 186 h 230"/>
                <a:gd name="T32" fmla="*/ 18 w 230"/>
                <a:gd name="T33" fmla="*/ 185 h 230"/>
                <a:gd name="T34" fmla="*/ 23 w 230"/>
                <a:gd name="T35" fmla="*/ 184 h 230"/>
                <a:gd name="T36" fmla="*/ 185 w 230"/>
                <a:gd name="T37" fmla="*/ 184 h 230"/>
                <a:gd name="T38" fmla="*/ 185 w 230"/>
                <a:gd name="T39" fmla="*/ 23 h 230"/>
                <a:gd name="T40" fmla="*/ 185 w 230"/>
                <a:gd name="T41" fmla="*/ 18 h 230"/>
                <a:gd name="T42" fmla="*/ 186 w 230"/>
                <a:gd name="T43" fmla="*/ 14 h 230"/>
                <a:gd name="T44" fmla="*/ 189 w 230"/>
                <a:gd name="T45" fmla="*/ 9 h 230"/>
                <a:gd name="T46" fmla="*/ 191 w 230"/>
                <a:gd name="T47" fmla="*/ 7 h 230"/>
                <a:gd name="T48" fmla="*/ 195 w 230"/>
                <a:gd name="T49" fmla="*/ 3 h 230"/>
                <a:gd name="T50" fmla="*/ 198 w 230"/>
                <a:gd name="T51" fmla="*/ 2 h 230"/>
                <a:gd name="T52" fmla="*/ 203 w 230"/>
                <a:gd name="T53" fmla="*/ 1 h 230"/>
                <a:gd name="T54" fmla="*/ 207 w 230"/>
                <a:gd name="T55" fmla="*/ 0 h 230"/>
                <a:gd name="T56" fmla="*/ 212 w 230"/>
                <a:gd name="T57" fmla="*/ 1 h 230"/>
                <a:gd name="T58" fmla="*/ 217 w 230"/>
                <a:gd name="T59" fmla="*/ 2 h 230"/>
                <a:gd name="T60" fmla="*/ 221 w 230"/>
                <a:gd name="T61" fmla="*/ 3 h 230"/>
                <a:gd name="T62" fmla="*/ 224 w 230"/>
                <a:gd name="T63" fmla="*/ 7 h 230"/>
                <a:gd name="T64" fmla="*/ 227 w 230"/>
                <a:gd name="T65" fmla="*/ 9 h 230"/>
                <a:gd name="T66" fmla="*/ 229 w 230"/>
                <a:gd name="T67" fmla="*/ 14 h 230"/>
                <a:gd name="T68" fmla="*/ 230 w 230"/>
                <a:gd name="T69" fmla="*/ 18 h 230"/>
                <a:gd name="T70" fmla="*/ 230 w 230"/>
                <a:gd name="T71" fmla="*/ 23 h 230"/>
                <a:gd name="T72" fmla="*/ 230 w 230"/>
                <a:gd name="T73" fmla="*/ 207 h 230"/>
                <a:gd name="T74" fmla="*/ 230 w 230"/>
                <a:gd name="T75" fmla="*/ 212 h 230"/>
                <a:gd name="T76" fmla="*/ 229 w 230"/>
                <a:gd name="T77" fmla="*/ 217 h 230"/>
                <a:gd name="T78" fmla="*/ 227 w 230"/>
                <a:gd name="T79" fmla="*/ 220 h 230"/>
                <a:gd name="T80" fmla="*/ 224 w 230"/>
                <a:gd name="T81" fmla="*/ 223 h 230"/>
                <a:gd name="T82" fmla="*/ 221 w 230"/>
                <a:gd name="T83" fmla="*/ 227 h 230"/>
                <a:gd name="T84" fmla="*/ 217 w 230"/>
                <a:gd name="T85" fmla="*/ 229 h 230"/>
                <a:gd name="T86" fmla="*/ 212 w 230"/>
                <a:gd name="T87" fmla="*/ 230 h 230"/>
                <a:gd name="T88" fmla="*/ 207 w 230"/>
                <a:gd name="T89"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0" h="230">
                  <a:moveTo>
                    <a:pt x="207" y="230"/>
                  </a:moveTo>
                  <a:lnTo>
                    <a:pt x="23" y="230"/>
                  </a:lnTo>
                  <a:lnTo>
                    <a:pt x="18" y="230"/>
                  </a:lnTo>
                  <a:lnTo>
                    <a:pt x="14" y="229"/>
                  </a:lnTo>
                  <a:lnTo>
                    <a:pt x="11" y="227"/>
                  </a:lnTo>
                  <a:lnTo>
                    <a:pt x="7" y="223"/>
                  </a:lnTo>
                  <a:lnTo>
                    <a:pt x="5" y="220"/>
                  </a:lnTo>
                  <a:lnTo>
                    <a:pt x="2" y="217"/>
                  </a:lnTo>
                  <a:lnTo>
                    <a:pt x="1" y="212"/>
                  </a:lnTo>
                  <a:lnTo>
                    <a:pt x="0" y="207"/>
                  </a:lnTo>
                  <a:lnTo>
                    <a:pt x="1" y="202"/>
                  </a:lnTo>
                  <a:lnTo>
                    <a:pt x="2" y="198"/>
                  </a:lnTo>
                  <a:lnTo>
                    <a:pt x="5" y="195"/>
                  </a:lnTo>
                  <a:lnTo>
                    <a:pt x="7" y="191"/>
                  </a:lnTo>
                  <a:lnTo>
                    <a:pt x="11" y="189"/>
                  </a:lnTo>
                  <a:lnTo>
                    <a:pt x="14" y="186"/>
                  </a:lnTo>
                  <a:lnTo>
                    <a:pt x="18" y="185"/>
                  </a:lnTo>
                  <a:lnTo>
                    <a:pt x="23" y="184"/>
                  </a:lnTo>
                  <a:lnTo>
                    <a:pt x="185" y="184"/>
                  </a:lnTo>
                  <a:lnTo>
                    <a:pt x="185" y="23"/>
                  </a:lnTo>
                  <a:lnTo>
                    <a:pt x="185" y="18"/>
                  </a:lnTo>
                  <a:lnTo>
                    <a:pt x="186" y="14"/>
                  </a:lnTo>
                  <a:lnTo>
                    <a:pt x="189" y="9"/>
                  </a:lnTo>
                  <a:lnTo>
                    <a:pt x="191" y="7"/>
                  </a:lnTo>
                  <a:lnTo>
                    <a:pt x="195" y="3"/>
                  </a:lnTo>
                  <a:lnTo>
                    <a:pt x="198" y="2"/>
                  </a:lnTo>
                  <a:lnTo>
                    <a:pt x="203" y="1"/>
                  </a:lnTo>
                  <a:lnTo>
                    <a:pt x="207" y="0"/>
                  </a:lnTo>
                  <a:lnTo>
                    <a:pt x="212" y="1"/>
                  </a:lnTo>
                  <a:lnTo>
                    <a:pt x="217" y="2"/>
                  </a:lnTo>
                  <a:lnTo>
                    <a:pt x="221" y="3"/>
                  </a:lnTo>
                  <a:lnTo>
                    <a:pt x="224" y="7"/>
                  </a:lnTo>
                  <a:lnTo>
                    <a:pt x="227" y="9"/>
                  </a:lnTo>
                  <a:lnTo>
                    <a:pt x="229" y="14"/>
                  </a:lnTo>
                  <a:lnTo>
                    <a:pt x="230" y="18"/>
                  </a:lnTo>
                  <a:lnTo>
                    <a:pt x="230" y="23"/>
                  </a:lnTo>
                  <a:lnTo>
                    <a:pt x="230" y="207"/>
                  </a:lnTo>
                  <a:lnTo>
                    <a:pt x="230" y="212"/>
                  </a:lnTo>
                  <a:lnTo>
                    <a:pt x="229" y="217"/>
                  </a:lnTo>
                  <a:lnTo>
                    <a:pt x="227" y="220"/>
                  </a:lnTo>
                  <a:lnTo>
                    <a:pt x="224" y="223"/>
                  </a:lnTo>
                  <a:lnTo>
                    <a:pt x="221" y="227"/>
                  </a:lnTo>
                  <a:lnTo>
                    <a:pt x="217" y="229"/>
                  </a:lnTo>
                  <a:lnTo>
                    <a:pt x="212" y="230"/>
                  </a:lnTo>
                  <a:lnTo>
                    <a:pt x="207"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65">
              <a:extLst>
                <a:ext uri="{FF2B5EF4-FFF2-40B4-BE49-F238E27FC236}">
                  <a16:creationId xmlns:a16="http://schemas.microsoft.com/office/drawing/2014/main" id="{51F3731D-28DA-41CB-B0D6-5F1E1654DDF2}"/>
                </a:ext>
              </a:extLst>
            </p:cNvPr>
            <p:cNvSpPr>
              <a:spLocks/>
            </p:cNvSpPr>
            <p:nvPr/>
          </p:nvSpPr>
          <p:spPr bwMode="auto">
            <a:xfrm>
              <a:off x="8564563" y="1509713"/>
              <a:ext cx="109538" cy="123825"/>
            </a:xfrm>
            <a:custGeom>
              <a:avLst/>
              <a:gdLst>
                <a:gd name="T0" fmla="*/ 155 w 276"/>
                <a:gd name="T1" fmla="*/ 310 h 312"/>
                <a:gd name="T2" fmla="*/ 145 w 276"/>
                <a:gd name="T3" fmla="*/ 303 h 312"/>
                <a:gd name="T4" fmla="*/ 106 w 276"/>
                <a:gd name="T5" fmla="*/ 227 h 312"/>
                <a:gd name="T6" fmla="*/ 27 w 276"/>
                <a:gd name="T7" fmla="*/ 265 h 312"/>
                <a:gd name="T8" fmla="*/ 14 w 276"/>
                <a:gd name="T9" fmla="*/ 263 h 312"/>
                <a:gd name="T10" fmla="*/ 4 w 276"/>
                <a:gd name="T11" fmla="*/ 254 h 312"/>
                <a:gd name="T12" fmla="*/ 0 w 276"/>
                <a:gd name="T13" fmla="*/ 241 h 312"/>
                <a:gd name="T14" fmla="*/ 90 w 276"/>
                <a:gd name="T15" fmla="*/ 15 h 312"/>
                <a:gd name="T16" fmla="*/ 95 w 276"/>
                <a:gd name="T17" fmla="*/ 7 h 312"/>
                <a:gd name="T18" fmla="*/ 102 w 276"/>
                <a:gd name="T19" fmla="*/ 3 h 312"/>
                <a:gd name="T20" fmla="*/ 111 w 276"/>
                <a:gd name="T21" fmla="*/ 0 h 312"/>
                <a:gd name="T22" fmla="*/ 119 w 276"/>
                <a:gd name="T23" fmla="*/ 1 h 312"/>
                <a:gd name="T24" fmla="*/ 127 w 276"/>
                <a:gd name="T25" fmla="*/ 7 h 312"/>
                <a:gd name="T26" fmla="*/ 132 w 276"/>
                <a:gd name="T27" fmla="*/ 14 h 312"/>
                <a:gd name="T28" fmla="*/ 134 w 276"/>
                <a:gd name="T29" fmla="*/ 23 h 312"/>
                <a:gd name="T30" fmla="*/ 133 w 276"/>
                <a:gd name="T31" fmla="*/ 32 h 312"/>
                <a:gd name="T32" fmla="*/ 106 w 276"/>
                <a:gd name="T33" fmla="*/ 176 h 312"/>
                <a:gd name="T34" fmla="*/ 114 w 276"/>
                <a:gd name="T35" fmla="*/ 173 h 312"/>
                <a:gd name="T36" fmla="*/ 123 w 276"/>
                <a:gd name="T37" fmla="*/ 174 h 312"/>
                <a:gd name="T38" fmla="*/ 130 w 276"/>
                <a:gd name="T39" fmla="*/ 178 h 312"/>
                <a:gd name="T40" fmla="*/ 136 w 276"/>
                <a:gd name="T41" fmla="*/ 185 h 312"/>
                <a:gd name="T42" fmla="*/ 233 w 276"/>
                <a:gd name="T43" fmla="*/ 93 h 312"/>
                <a:gd name="T44" fmla="*/ 238 w 276"/>
                <a:gd name="T45" fmla="*/ 86 h 312"/>
                <a:gd name="T46" fmla="*/ 247 w 276"/>
                <a:gd name="T47" fmla="*/ 82 h 312"/>
                <a:gd name="T48" fmla="*/ 255 w 276"/>
                <a:gd name="T49" fmla="*/ 81 h 312"/>
                <a:gd name="T50" fmla="*/ 264 w 276"/>
                <a:gd name="T51" fmla="*/ 84 h 312"/>
                <a:gd name="T52" fmla="*/ 271 w 276"/>
                <a:gd name="T53" fmla="*/ 88 h 312"/>
                <a:gd name="T54" fmla="*/ 275 w 276"/>
                <a:gd name="T55" fmla="*/ 97 h 312"/>
                <a:gd name="T56" fmla="*/ 276 w 276"/>
                <a:gd name="T57" fmla="*/ 106 h 312"/>
                <a:gd name="T58" fmla="*/ 274 w 276"/>
                <a:gd name="T59" fmla="*/ 114 h 312"/>
                <a:gd name="T60" fmla="*/ 178 w 276"/>
                <a:gd name="T61" fmla="*/ 303 h 312"/>
                <a:gd name="T62" fmla="*/ 168 w 276"/>
                <a:gd name="T63" fmla="*/ 31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12">
                  <a:moveTo>
                    <a:pt x="161" y="312"/>
                  </a:moveTo>
                  <a:lnTo>
                    <a:pt x="155" y="310"/>
                  </a:lnTo>
                  <a:lnTo>
                    <a:pt x="150" y="308"/>
                  </a:lnTo>
                  <a:lnTo>
                    <a:pt x="145" y="303"/>
                  </a:lnTo>
                  <a:lnTo>
                    <a:pt x="141" y="298"/>
                  </a:lnTo>
                  <a:lnTo>
                    <a:pt x="106" y="227"/>
                  </a:lnTo>
                  <a:lnTo>
                    <a:pt x="33" y="263"/>
                  </a:lnTo>
                  <a:lnTo>
                    <a:pt x="27" y="265"/>
                  </a:lnTo>
                  <a:lnTo>
                    <a:pt x="20" y="265"/>
                  </a:lnTo>
                  <a:lnTo>
                    <a:pt x="14" y="263"/>
                  </a:lnTo>
                  <a:lnTo>
                    <a:pt x="8" y="259"/>
                  </a:lnTo>
                  <a:lnTo>
                    <a:pt x="4" y="254"/>
                  </a:lnTo>
                  <a:lnTo>
                    <a:pt x="0" y="247"/>
                  </a:lnTo>
                  <a:lnTo>
                    <a:pt x="0" y="241"/>
                  </a:lnTo>
                  <a:lnTo>
                    <a:pt x="2" y="233"/>
                  </a:lnTo>
                  <a:lnTo>
                    <a:pt x="90" y="15"/>
                  </a:lnTo>
                  <a:lnTo>
                    <a:pt x="91" y="11"/>
                  </a:lnTo>
                  <a:lnTo>
                    <a:pt x="95" y="7"/>
                  </a:lnTo>
                  <a:lnTo>
                    <a:pt x="98" y="4"/>
                  </a:lnTo>
                  <a:lnTo>
                    <a:pt x="102" y="3"/>
                  </a:lnTo>
                  <a:lnTo>
                    <a:pt x="106" y="1"/>
                  </a:lnTo>
                  <a:lnTo>
                    <a:pt x="111" y="0"/>
                  </a:lnTo>
                  <a:lnTo>
                    <a:pt x="114" y="0"/>
                  </a:lnTo>
                  <a:lnTo>
                    <a:pt x="119" y="1"/>
                  </a:lnTo>
                  <a:lnTo>
                    <a:pt x="123" y="4"/>
                  </a:lnTo>
                  <a:lnTo>
                    <a:pt x="127" y="7"/>
                  </a:lnTo>
                  <a:lnTo>
                    <a:pt x="130" y="10"/>
                  </a:lnTo>
                  <a:lnTo>
                    <a:pt x="132" y="14"/>
                  </a:lnTo>
                  <a:lnTo>
                    <a:pt x="133" y="19"/>
                  </a:lnTo>
                  <a:lnTo>
                    <a:pt x="134" y="23"/>
                  </a:lnTo>
                  <a:lnTo>
                    <a:pt x="134" y="27"/>
                  </a:lnTo>
                  <a:lnTo>
                    <a:pt x="133" y="32"/>
                  </a:lnTo>
                  <a:lnTo>
                    <a:pt x="68" y="194"/>
                  </a:lnTo>
                  <a:lnTo>
                    <a:pt x="106" y="176"/>
                  </a:lnTo>
                  <a:lnTo>
                    <a:pt x="110" y="173"/>
                  </a:lnTo>
                  <a:lnTo>
                    <a:pt x="114" y="173"/>
                  </a:lnTo>
                  <a:lnTo>
                    <a:pt x="118" y="173"/>
                  </a:lnTo>
                  <a:lnTo>
                    <a:pt x="123" y="174"/>
                  </a:lnTo>
                  <a:lnTo>
                    <a:pt x="127" y="176"/>
                  </a:lnTo>
                  <a:lnTo>
                    <a:pt x="130" y="178"/>
                  </a:lnTo>
                  <a:lnTo>
                    <a:pt x="134" y="182"/>
                  </a:lnTo>
                  <a:lnTo>
                    <a:pt x="136" y="185"/>
                  </a:lnTo>
                  <a:lnTo>
                    <a:pt x="161" y="237"/>
                  </a:lnTo>
                  <a:lnTo>
                    <a:pt x="233" y="93"/>
                  </a:lnTo>
                  <a:lnTo>
                    <a:pt x="236" y="90"/>
                  </a:lnTo>
                  <a:lnTo>
                    <a:pt x="238" y="86"/>
                  </a:lnTo>
                  <a:lnTo>
                    <a:pt x="242" y="84"/>
                  </a:lnTo>
                  <a:lnTo>
                    <a:pt x="247" y="82"/>
                  </a:lnTo>
                  <a:lnTo>
                    <a:pt x="251" y="81"/>
                  </a:lnTo>
                  <a:lnTo>
                    <a:pt x="255" y="81"/>
                  </a:lnTo>
                  <a:lnTo>
                    <a:pt x="259" y="81"/>
                  </a:lnTo>
                  <a:lnTo>
                    <a:pt x="264" y="84"/>
                  </a:lnTo>
                  <a:lnTo>
                    <a:pt x="268" y="86"/>
                  </a:lnTo>
                  <a:lnTo>
                    <a:pt x="271" y="88"/>
                  </a:lnTo>
                  <a:lnTo>
                    <a:pt x="274" y="92"/>
                  </a:lnTo>
                  <a:lnTo>
                    <a:pt x="275" y="97"/>
                  </a:lnTo>
                  <a:lnTo>
                    <a:pt x="276" y="101"/>
                  </a:lnTo>
                  <a:lnTo>
                    <a:pt x="276" y="106"/>
                  </a:lnTo>
                  <a:lnTo>
                    <a:pt x="276" y="109"/>
                  </a:lnTo>
                  <a:lnTo>
                    <a:pt x="274" y="114"/>
                  </a:lnTo>
                  <a:lnTo>
                    <a:pt x="182" y="298"/>
                  </a:lnTo>
                  <a:lnTo>
                    <a:pt x="178" y="303"/>
                  </a:lnTo>
                  <a:lnTo>
                    <a:pt x="173" y="308"/>
                  </a:lnTo>
                  <a:lnTo>
                    <a:pt x="168" y="310"/>
                  </a:lnTo>
                  <a:lnTo>
                    <a:pt x="161"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66">
              <a:extLst>
                <a:ext uri="{FF2B5EF4-FFF2-40B4-BE49-F238E27FC236}">
                  <a16:creationId xmlns:a16="http://schemas.microsoft.com/office/drawing/2014/main" id="{7DA0FF4F-D905-4F55-895A-BEAD7A64875E}"/>
                </a:ext>
              </a:extLst>
            </p:cNvPr>
            <p:cNvSpPr>
              <a:spLocks/>
            </p:cNvSpPr>
            <p:nvPr/>
          </p:nvSpPr>
          <p:spPr bwMode="auto">
            <a:xfrm>
              <a:off x="8655051" y="1506538"/>
              <a:ext cx="109538" cy="127000"/>
            </a:xfrm>
            <a:custGeom>
              <a:avLst/>
              <a:gdLst>
                <a:gd name="T0" fmla="*/ 109 w 276"/>
                <a:gd name="T1" fmla="*/ 321 h 323"/>
                <a:gd name="T2" fmla="*/ 98 w 276"/>
                <a:gd name="T3" fmla="*/ 314 h 323"/>
                <a:gd name="T4" fmla="*/ 2 w 276"/>
                <a:gd name="T5" fmla="*/ 125 h 323"/>
                <a:gd name="T6" fmla="*/ 0 w 276"/>
                <a:gd name="T7" fmla="*/ 117 h 323"/>
                <a:gd name="T8" fmla="*/ 1 w 276"/>
                <a:gd name="T9" fmla="*/ 108 h 323"/>
                <a:gd name="T10" fmla="*/ 5 w 276"/>
                <a:gd name="T11" fmla="*/ 99 h 323"/>
                <a:gd name="T12" fmla="*/ 12 w 276"/>
                <a:gd name="T13" fmla="*/ 95 h 323"/>
                <a:gd name="T14" fmla="*/ 21 w 276"/>
                <a:gd name="T15" fmla="*/ 92 h 323"/>
                <a:gd name="T16" fmla="*/ 31 w 276"/>
                <a:gd name="T17" fmla="*/ 93 h 323"/>
                <a:gd name="T18" fmla="*/ 38 w 276"/>
                <a:gd name="T19" fmla="*/ 97 h 323"/>
                <a:gd name="T20" fmla="*/ 43 w 276"/>
                <a:gd name="T21" fmla="*/ 104 h 323"/>
                <a:gd name="T22" fmla="*/ 140 w 276"/>
                <a:gd name="T23" fmla="*/ 196 h 323"/>
                <a:gd name="T24" fmla="*/ 146 w 276"/>
                <a:gd name="T25" fmla="*/ 189 h 323"/>
                <a:gd name="T26" fmla="*/ 153 w 276"/>
                <a:gd name="T27" fmla="*/ 185 h 323"/>
                <a:gd name="T28" fmla="*/ 162 w 276"/>
                <a:gd name="T29" fmla="*/ 184 h 323"/>
                <a:gd name="T30" fmla="*/ 172 w 276"/>
                <a:gd name="T31" fmla="*/ 187 h 323"/>
                <a:gd name="T32" fmla="*/ 140 w 276"/>
                <a:gd name="T33" fmla="*/ 31 h 323"/>
                <a:gd name="T34" fmla="*/ 139 w 276"/>
                <a:gd name="T35" fmla="*/ 22 h 323"/>
                <a:gd name="T36" fmla="*/ 140 w 276"/>
                <a:gd name="T37" fmla="*/ 14 h 323"/>
                <a:gd name="T38" fmla="*/ 145 w 276"/>
                <a:gd name="T39" fmla="*/ 6 h 323"/>
                <a:gd name="T40" fmla="*/ 152 w 276"/>
                <a:gd name="T41" fmla="*/ 1 h 323"/>
                <a:gd name="T42" fmla="*/ 162 w 276"/>
                <a:gd name="T43" fmla="*/ 0 h 323"/>
                <a:gd name="T44" fmla="*/ 170 w 276"/>
                <a:gd name="T45" fmla="*/ 1 h 323"/>
                <a:gd name="T46" fmla="*/ 178 w 276"/>
                <a:gd name="T47" fmla="*/ 6 h 323"/>
                <a:gd name="T48" fmla="*/ 183 w 276"/>
                <a:gd name="T49" fmla="*/ 14 h 323"/>
                <a:gd name="T50" fmla="*/ 276 w 276"/>
                <a:gd name="T51" fmla="*/ 252 h 323"/>
                <a:gd name="T52" fmla="*/ 273 w 276"/>
                <a:gd name="T53" fmla="*/ 265 h 323"/>
                <a:gd name="T54" fmla="*/ 262 w 276"/>
                <a:gd name="T55" fmla="*/ 274 h 323"/>
                <a:gd name="T56" fmla="*/ 249 w 276"/>
                <a:gd name="T57" fmla="*/ 276 h 323"/>
                <a:gd name="T58" fmla="*/ 172 w 276"/>
                <a:gd name="T59" fmla="*/ 238 h 323"/>
                <a:gd name="T60" fmla="*/ 132 w 276"/>
                <a:gd name="T61" fmla="*/ 314 h 323"/>
                <a:gd name="T62" fmla="*/ 121 w 276"/>
                <a:gd name="T63" fmla="*/ 32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23">
                  <a:moveTo>
                    <a:pt x="115" y="323"/>
                  </a:moveTo>
                  <a:lnTo>
                    <a:pt x="109" y="321"/>
                  </a:lnTo>
                  <a:lnTo>
                    <a:pt x="103" y="319"/>
                  </a:lnTo>
                  <a:lnTo>
                    <a:pt x="98" y="314"/>
                  </a:lnTo>
                  <a:lnTo>
                    <a:pt x="94" y="309"/>
                  </a:lnTo>
                  <a:lnTo>
                    <a:pt x="2" y="125"/>
                  </a:lnTo>
                  <a:lnTo>
                    <a:pt x="0" y="120"/>
                  </a:lnTo>
                  <a:lnTo>
                    <a:pt x="0" y="117"/>
                  </a:lnTo>
                  <a:lnTo>
                    <a:pt x="0" y="112"/>
                  </a:lnTo>
                  <a:lnTo>
                    <a:pt x="1" y="108"/>
                  </a:lnTo>
                  <a:lnTo>
                    <a:pt x="2" y="103"/>
                  </a:lnTo>
                  <a:lnTo>
                    <a:pt x="5" y="99"/>
                  </a:lnTo>
                  <a:lnTo>
                    <a:pt x="9" y="97"/>
                  </a:lnTo>
                  <a:lnTo>
                    <a:pt x="12" y="95"/>
                  </a:lnTo>
                  <a:lnTo>
                    <a:pt x="17" y="92"/>
                  </a:lnTo>
                  <a:lnTo>
                    <a:pt x="21" y="92"/>
                  </a:lnTo>
                  <a:lnTo>
                    <a:pt x="26" y="92"/>
                  </a:lnTo>
                  <a:lnTo>
                    <a:pt x="31" y="93"/>
                  </a:lnTo>
                  <a:lnTo>
                    <a:pt x="34" y="95"/>
                  </a:lnTo>
                  <a:lnTo>
                    <a:pt x="38" y="97"/>
                  </a:lnTo>
                  <a:lnTo>
                    <a:pt x="40" y="101"/>
                  </a:lnTo>
                  <a:lnTo>
                    <a:pt x="43" y="104"/>
                  </a:lnTo>
                  <a:lnTo>
                    <a:pt x="115" y="248"/>
                  </a:lnTo>
                  <a:lnTo>
                    <a:pt x="140" y="196"/>
                  </a:lnTo>
                  <a:lnTo>
                    <a:pt x="143" y="193"/>
                  </a:lnTo>
                  <a:lnTo>
                    <a:pt x="146" y="189"/>
                  </a:lnTo>
                  <a:lnTo>
                    <a:pt x="150" y="187"/>
                  </a:lnTo>
                  <a:lnTo>
                    <a:pt x="153" y="185"/>
                  </a:lnTo>
                  <a:lnTo>
                    <a:pt x="158" y="184"/>
                  </a:lnTo>
                  <a:lnTo>
                    <a:pt x="162" y="184"/>
                  </a:lnTo>
                  <a:lnTo>
                    <a:pt x="167" y="184"/>
                  </a:lnTo>
                  <a:lnTo>
                    <a:pt x="172" y="187"/>
                  </a:lnTo>
                  <a:lnTo>
                    <a:pt x="210" y="205"/>
                  </a:lnTo>
                  <a:lnTo>
                    <a:pt x="140" y="31"/>
                  </a:lnTo>
                  <a:lnTo>
                    <a:pt x="139" y="27"/>
                  </a:lnTo>
                  <a:lnTo>
                    <a:pt x="139" y="22"/>
                  </a:lnTo>
                  <a:lnTo>
                    <a:pt x="139" y="17"/>
                  </a:lnTo>
                  <a:lnTo>
                    <a:pt x="140" y="14"/>
                  </a:lnTo>
                  <a:lnTo>
                    <a:pt x="142" y="10"/>
                  </a:lnTo>
                  <a:lnTo>
                    <a:pt x="145" y="6"/>
                  </a:lnTo>
                  <a:lnTo>
                    <a:pt x="148" y="4"/>
                  </a:lnTo>
                  <a:lnTo>
                    <a:pt x="152" y="1"/>
                  </a:lnTo>
                  <a:lnTo>
                    <a:pt x="157" y="0"/>
                  </a:lnTo>
                  <a:lnTo>
                    <a:pt x="162" y="0"/>
                  </a:lnTo>
                  <a:lnTo>
                    <a:pt x="166" y="0"/>
                  </a:lnTo>
                  <a:lnTo>
                    <a:pt x="170" y="1"/>
                  </a:lnTo>
                  <a:lnTo>
                    <a:pt x="174" y="4"/>
                  </a:lnTo>
                  <a:lnTo>
                    <a:pt x="178" y="6"/>
                  </a:lnTo>
                  <a:lnTo>
                    <a:pt x="180" y="10"/>
                  </a:lnTo>
                  <a:lnTo>
                    <a:pt x="183" y="14"/>
                  </a:lnTo>
                  <a:lnTo>
                    <a:pt x="275" y="244"/>
                  </a:lnTo>
                  <a:lnTo>
                    <a:pt x="276" y="252"/>
                  </a:lnTo>
                  <a:lnTo>
                    <a:pt x="276" y="258"/>
                  </a:lnTo>
                  <a:lnTo>
                    <a:pt x="273" y="265"/>
                  </a:lnTo>
                  <a:lnTo>
                    <a:pt x="269" y="270"/>
                  </a:lnTo>
                  <a:lnTo>
                    <a:pt x="262" y="274"/>
                  </a:lnTo>
                  <a:lnTo>
                    <a:pt x="256" y="276"/>
                  </a:lnTo>
                  <a:lnTo>
                    <a:pt x="249" y="276"/>
                  </a:lnTo>
                  <a:lnTo>
                    <a:pt x="243" y="274"/>
                  </a:lnTo>
                  <a:lnTo>
                    <a:pt x="172" y="238"/>
                  </a:lnTo>
                  <a:lnTo>
                    <a:pt x="136" y="309"/>
                  </a:lnTo>
                  <a:lnTo>
                    <a:pt x="132" y="314"/>
                  </a:lnTo>
                  <a:lnTo>
                    <a:pt x="127" y="319"/>
                  </a:lnTo>
                  <a:lnTo>
                    <a:pt x="121" y="321"/>
                  </a:lnTo>
                  <a:lnTo>
                    <a:pt x="115"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67">
              <a:extLst>
                <a:ext uri="{FF2B5EF4-FFF2-40B4-BE49-F238E27FC236}">
                  <a16:creationId xmlns:a16="http://schemas.microsoft.com/office/drawing/2014/main" id="{5F7925F7-DBDB-4795-97B9-0CE7BBE614CE}"/>
                </a:ext>
              </a:extLst>
            </p:cNvPr>
            <p:cNvSpPr>
              <a:spLocks noEditPoints="1"/>
            </p:cNvSpPr>
            <p:nvPr/>
          </p:nvSpPr>
          <p:spPr bwMode="auto">
            <a:xfrm>
              <a:off x="8623301" y="1457325"/>
              <a:ext cx="68263" cy="68263"/>
            </a:xfrm>
            <a:custGeom>
              <a:avLst/>
              <a:gdLst>
                <a:gd name="T0" fmla="*/ 77 w 171"/>
                <a:gd name="T1" fmla="*/ 46 h 170"/>
                <a:gd name="T2" fmla="*/ 63 w 171"/>
                <a:gd name="T3" fmla="*/ 52 h 170"/>
                <a:gd name="T4" fmla="*/ 53 w 171"/>
                <a:gd name="T5" fmla="*/ 63 h 170"/>
                <a:gd name="T6" fmla="*/ 47 w 171"/>
                <a:gd name="T7" fmla="*/ 77 h 170"/>
                <a:gd name="T8" fmla="*/ 47 w 171"/>
                <a:gd name="T9" fmla="*/ 93 h 170"/>
                <a:gd name="T10" fmla="*/ 53 w 171"/>
                <a:gd name="T11" fmla="*/ 108 h 170"/>
                <a:gd name="T12" fmla="*/ 63 w 171"/>
                <a:gd name="T13" fmla="*/ 117 h 170"/>
                <a:gd name="T14" fmla="*/ 77 w 171"/>
                <a:gd name="T15" fmla="*/ 124 h 170"/>
                <a:gd name="T16" fmla="*/ 93 w 171"/>
                <a:gd name="T17" fmla="*/ 124 h 170"/>
                <a:gd name="T18" fmla="*/ 107 w 171"/>
                <a:gd name="T19" fmla="*/ 117 h 170"/>
                <a:gd name="T20" fmla="*/ 118 w 171"/>
                <a:gd name="T21" fmla="*/ 108 h 170"/>
                <a:gd name="T22" fmla="*/ 124 w 171"/>
                <a:gd name="T23" fmla="*/ 93 h 170"/>
                <a:gd name="T24" fmla="*/ 124 w 171"/>
                <a:gd name="T25" fmla="*/ 77 h 170"/>
                <a:gd name="T26" fmla="*/ 118 w 171"/>
                <a:gd name="T27" fmla="*/ 63 h 170"/>
                <a:gd name="T28" fmla="*/ 107 w 171"/>
                <a:gd name="T29" fmla="*/ 52 h 170"/>
                <a:gd name="T30" fmla="*/ 93 w 171"/>
                <a:gd name="T31" fmla="*/ 46 h 170"/>
                <a:gd name="T32" fmla="*/ 85 w 171"/>
                <a:gd name="T33" fmla="*/ 170 h 170"/>
                <a:gd name="T34" fmla="*/ 68 w 171"/>
                <a:gd name="T35" fmla="*/ 169 h 170"/>
                <a:gd name="T36" fmla="*/ 52 w 171"/>
                <a:gd name="T37" fmla="*/ 164 h 170"/>
                <a:gd name="T38" fmla="*/ 37 w 171"/>
                <a:gd name="T39" fmla="*/ 155 h 170"/>
                <a:gd name="T40" fmla="*/ 25 w 171"/>
                <a:gd name="T41" fmla="*/ 146 h 170"/>
                <a:gd name="T42" fmla="*/ 14 w 171"/>
                <a:gd name="T43" fmla="*/ 133 h 170"/>
                <a:gd name="T44" fmla="*/ 6 w 171"/>
                <a:gd name="T45" fmla="*/ 119 h 170"/>
                <a:gd name="T46" fmla="*/ 1 w 171"/>
                <a:gd name="T47" fmla="*/ 103 h 170"/>
                <a:gd name="T48" fmla="*/ 0 w 171"/>
                <a:gd name="T49" fmla="*/ 85 h 170"/>
                <a:gd name="T50" fmla="*/ 1 w 171"/>
                <a:gd name="T51" fmla="*/ 68 h 170"/>
                <a:gd name="T52" fmla="*/ 6 w 171"/>
                <a:gd name="T53" fmla="*/ 52 h 170"/>
                <a:gd name="T54" fmla="*/ 14 w 171"/>
                <a:gd name="T55" fmla="*/ 38 h 170"/>
                <a:gd name="T56" fmla="*/ 25 w 171"/>
                <a:gd name="T57" fmla="*/ 24 h 170"/>
                <a:gd name="T58" fmla="*/ 37 w 171"/>
                <a:gd name="T59" fmla="*/ 14 h 170"/>
                <a:gd name="T60" fmla="*/ 52 w 171"/>
                <a:gd name="T61" fmla="*/ 6 h 170"/>
                <a:gd name="T62" fmla="*/ 68 w 171"/>
                <a:gd name="T63" fmla="*/ 1 h 170"/>
                <a:gd name="T64" fmla="*/ 85 w 171"/>
                <a:gd name="T65" fmla="*/ 0 h 170"/>
                <a:gd name="T66" fmla="*/ 102 w 171"/>
                <a:gd name="T67" fmla="*/ 1 h 170"/>
                <a:gd name="T68" fmla="*/ 118 w 171"/>
                <a:gd name="T69" fmla="*/ 6 h 170"/>
                <a:gd name="T70" fmla="*/ 133 w 171"/>
                <a:gd name="T71" fmla="*/ 14 h 170"/>
                <a:gd name="T72" fmla="*/ 145 w 171"/>
                <a:gd name="T73" fmla="*/ 24 h 170"/>
                <a:gd name="T74" fmla="*/ 156 w 171"/>
                <a:gd name="T75" fmla="*/ 38 h 170"/>
                <a:gd name="T76" fmla="*/ 163 w 171"/>
                <a:gd name="T77" fmla="*/ 52 h 170"/>
                <a:gd name="T78" fmla="*/ 168 w 171"/>
                <a:gd name="T79" fmla="*/ 68 h 170"/>
                <a:gd name="T80" fmla="*/ 171 w 171"/>
                <a:gd name="T81" fmla="*/ 85 h 170"/>
                <a:gd name="T82" fmla="*/ 168 w 171"/>
                <a:gd name="T83" fmla="*/ 103 h 170"/>
                <a:gd name="T84" fmla="*/ 163 w 171"/>
                <a:gd name="T85" fmla="*/ 119 h 170"/>
                <a:gd name="T86" fmla="*/ 156 w 171"/>
                <a:gd name="T87" fmla="*/ 133 h 170"/>
                <a:gd name="T88" fmla="*/ 145 w 171"/>
                <a:gd name="T89" fmla="*/ 146 h 170"/>
                <a:gd name="T90" fmla="*/ 133 w 171"/>
                <a:gd name="T91" fmla="*/ 155 h 170"/>
                <a:gd name="T92" fmla="*/ 118 w 171"/>
                <a:gd name="T93" fmla="*/ 164 h 170"/>
                <a:gd name="T94" fmla="*/ 102 w 171"/>
                <a:gd name="T95" fmla="*/ 169 h 170"/>
                <a:gd name="T96" fmla="*/ 85 w 171"/>
                <a:gd name="T9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170">
                  <a:moveTo>
                    <a:pt x="85" y="46"/>
                  </a:moveTo>
                  <a:lnTo>
                    <a:pt x="77" y="46"/>
                  </a:lnTo>
                  <a:lnTo>
                    <a:pt x="70" y="49"/>
                  </a:lnTo>
                  <a:lnTo>
                    <a:pt x="63" y="52"/>
                  </a:lnTo>
                  <a:lnTo>
                    <a:pt x="58" y="57"/>
                  </a:lnTo>
                  <a:lnTo>
                    <a:pt x="53" y="63"/>
                  </a:lnTo>
                  <a:lnTo>
                    <a:pt x="49" y="70"/>
                  </a:lnTo>
                  <a:lnTo>
                    <a:pt x="47" y="77"/>
                  </a:lnTo>
                  <a:lnTo>
                    <a:pt x="46" y="85"/>
                  </a:lnTo>
                  <a:lnTo>
                    <a:pt x="47" y="93"/>
                  </a:lnTo>
                  <a:lnTo>
                    <a:pt x="49" y="100"/>
                  </a:lnTo>
                  <a:lnTo>
                    <a:pt x="53" y="108"/>
                  </a:lnTo>
                  <a:lnTo>
                    <a:pt x="58" y="112"/>
                  </a:lnTo>
                  <a:lnTo>
                    <a:pt x="63" y="117"/>
                  </a:lnTo>
                  <a:lnTo>
                    <a:pt x="70" y="121"/>
                  </a:lnTo>
                  <a:lnTo>
                    <a:pt x="77" y="124"/>
                  </a:lnTo>
                  <a:lnTo>
                    <a:pt x="85" y="125"/>
                  </a:lnTo>
                  <a:lnTo>
                    <a:pt x="93" y="124"/>
                  </a:lnTo>
                  <a:lnTo>
                    <a:pt x="101" y="121"/>
                  </a:lnTo>
                  <a:lnTo>
                    <a:pt x="107" y="117"/>
                  </a:lnTo>
                  <a:lnTo>
                    <a:pt x="113" y="112"/>
                  </a:lnTo>
                  <a:lnTo>
                    <a:pt x="118" y="108"/>
                  </a:lnTo>
                  <a:lnTo>
                    <a:pt x="122" y="100"/>
                  </a:lnTo>
                  <a:lnTo>
                    <a:pt x="124" y="93"/>
                  </a:lnTo>
                  <a:lnTo>
                    <a:pt x="124" y="85"/>
                  </a:lnTo>
                  <a:lnTo>
                    <a:pt x="124" y="77"/>
                  </a:lnTo>
                  <a:lnTo>
                    <a:pt x="122" y="70"/>
                  </a:lnTo>
                  <a:lnTo>
                    <a:pt x="118" y="63"/>
                  </a:lnTo>
                  <a:lnTo>
                    <a:pt x="113" y="57"/>
                  </a:lnTo>
                  <a:lnTo>
                    <a:pt x="107" y="52"/>
                  </a:lnTo>
                  <a:lnTo>
                    <a:pt x="101" y="49"/>
                  </a:lnTo>
                  <a:lnTo>
                    <a:pt x="93" y="46"/>
                  </a:lnTo>
                  <a:lnTo>
                    <a:pt x="85" y="46"/>
                  </a:lnTo>
                  <a:close/>
                  <a:moveTo>
                    <a:pt x="85" y="170"/>
                  </a:moveTo>
                  <a:lnTo>
                    <a:pt x="76" y="170"/>
                  </a:lnTo>
                  <a:lnTo>
                    <a:pt x="68" y="169"/>
                  </a:lnTo>
                  <a:lnTo>
                    <a:pt x="59" y="166"/>
                  </a:lnTo>
                  <a:lnTo>
                    <a:pt x="52" y="164"/>
                  </a:lnTo>
                  <a:lnTo>
                    <a:pt x="44" y="160"/>
                  </a:lnTo>
                  <a:lnTo>
                    <a:pt x="37" y="155"/>
                  </a:lnTo>
                  <a:lnTo>
                    <a:pt x="31" y="151"/>
                  </a:lnTo>
                  <a:lnTo>
                    <a:pt x="25" y="146"/>
                  </a:lnTo>
                  <a:lnTo>
                    <a:pt x="19" y="139"/>
                  </a:lnTo>
                  <a:lnTo>
                    <a:pt x="14" y="133"/>
                  </a:lnTo>
                  <a:lnTo>
                    <a:pt x="10" y="126"/>
                  </a:lnTo>
                  <a:lnTo>
                    <a:pt x="6" y="119"/>
                  </a:lnTo>
                  <a:lnTo>
                    <a:pt x="4" y="110"/>
                  </a:lnTo>
                  <a:lnTo>
                    <a:pt x="1" y="103"/>
                  </a:lnTo>
                  <a:lnTo>
                    <a:pt x="0" y="94"/>
                  </a:lnTo>
                  <a:lnTo>
                    <a:pt x="0" y="85"/>
                  </a:lnTo>
                  <a:lnTo>
                    <a:pt x="0" y="77"/>
                  </a:lnTo>
                  <a:lnTo>
                    <a:pt x="1" y="68"/>
                  </a:lnTo>
                  <a:lnTo>
                    <a:pt x="4" y="60"/>
                  </a:lnTo>
                  <a:lnTo>
                    <a:pt x="6" y="52"/>
                  </a:lnTo>
                  <a:lnTo>
                    <a:pt x="10" y="44"/>
                  </a:lnTo>
                  <a:lnTo>
                    <a:pt x="14" y="38"/>
                  </a:lnTo>
                  <a:lnTo>
                    <a:pt x="19" y="30"/>
                  </a:lnTo>
                  <a:lnTo>
                    <a:pt x="25" y="24"/>
                  </a:lnTo>
                  <a:lnTo>
                    <a:pt x="31" y="19"/>
                  </a:lnTo>
                  <a:lnTo>
                    <a:pt x="37" y="14"/>
                  </a:lnTo>
                  <a:lnTo>
                    <a:pt x="44" y="9"/>
                  </a:lnTo>
                  <a:lnTo>
                    <a:pt x="52" y="6"/>
                  </a:lnTo>
                  <a:lnTo>
                    <a:pt x="59" y="3"/>
                  </a:lnTo>
                  <a:lnTo>
                    <a:pt x="68" y="1"/>
                  </a:lnTo>
                  <a:lnTo>
                    <a:pt x="76" y="0"/>
                  </a:lnTo>
                  <a:lnTo>
                    <a:pt x="85" y="0"/>
                  </a:lnTo>
                  <a:lnTo>
                    <a:pt x="93" y="0"/>
                  </a:lnTo>
                  <a:lnTo>
                    <a:pt x="102" y="1"/>
                  </a:lnTo>
                  <a:lnTo>
                    <a:pt x="111" y="3"/>
                  </a:lnTo>
                  <a:lnTo>
                    <a:pt x="118" y="6"/>
                  </a:lnTo>
                  <a:lnTo>
                    <a:pt x="125" y="9"/>
                  </a:lnTo>
                  <a:lnTo>
                    <a:pt x="133" y="14"/>
                  </a:lnTo>
                  <a:lnTo>
                    <a:pt x="140" y="19"/>
                  </a:lnTo>
                  <a:lnTo>
                    <a:pt x="145" y="24"/>
                  </a:lnTo>
                  <a:lnTo>
                    <a:pt x="151" y="30"/>
                  </a:lnTo>
                  <a:lnTo>
                    <a:pt x="156" y="38"/>
                  </a:lnTo>
                  <a:lnTo>
                    <a:pt x="160" y="44"/>
                  </a:lnTo>
                  <a:lnTo>
                    <a:pt x="163" y="52"/>
                  </a:lnTo>
                  <a:lnTo>
                    <a:pt x="167" y="60"/>
                  </a:lnTo>
                  <a:lnTo>
                    <a:pt x="168" y="68"/>
                  </a:lnTo>
                  <a:lnTo>
                    <a:pt x="171" y="77"/>
                  </a:lnTo>
                  <a:lnTo>
                    <a:pt x="171" y="85"/>
                  </a:lnTo>
                  <a:lnTo>
                    <a:pt x="171" y="94"/>
                  </a:lnTo>
                  <a:lnTo>
                    <a:pt x="168" y="103"/>
                  </a:lnTo>
                  <a:lnTo>
                    <a:pt x="167" y="110"/>
                  </a:lnTo>
                  <a:lnTo>
                    <a:pt x="163" y="119"/>
                  </a:lnTo>
                  <a:lnTo>
                    <a:pt x="160" y="126"/>
                  </a:lnTo>
                  <a:lnTo>
                    <a:pt x="156" y="133"/>
                  </a:lnTo>
                  <a:lnTo>
                    <a:pt x="151" y="139"/>
                  </a:lnTo>
                  <a:lnTo>
                    <a:pt x="145" y="146"/>
                  </a:lnTo>
                  <a:lnTo>
                    <a:pt x="140" y="151"/>
                  </a:lnTo>
                  <a:lnTo>
                    <a:pt x="133" y="155"/>
                  </a:lnTo>
                  <a:lnTo>
                    <a:pt x="125" y="160"/>
                  </a:lnTo>
                  <a:lnTo>
                    <a:pt x="118" y="164"/>
                  </a:lnTo>
                  <a:lnTo>
                    <a:pt x="111" y="166"/>
                  </a:lnTo>
                  <a:lnTo>
                    <a:pt x="102" y="169"/>
                  </a:lnTo>
                  <a:lnTo>
                    <a:pt x="93" y="170"/>
                  </a:lnTo>
                  <a:lnTo>
                    <a:pt x="85"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68">
              <a:extLst>
                <a:ext uri="{FF2B5EF4-FFF2-40B4-BE49-F238E27FC236}">
                  <a16:creationId xmlns:a16="http://schemas.microsoft.com/office/drawing/2014/main" id="{C1464CB3-C1FB-452F-82BA-DB5BE5F40A0D}"/>
                </a:ext>
              </a:extLst>
            </p:cNvPr>
            <p:cNvSpPr>
              <a:spLocks noEditPoints="1"/>
            </p:cNvSpPr>
            <p:nvPr/>
          </p:nvSpPr>
          <p:spPr bwMode="auto">
            <a:xfrm>
              <a:off x="8583613" y="1414463"/>
              <a:ext cx="147638" cy="153988"/>
            </a:xfrm>
            <a:custGeom>
              <a:avLst/>
              <a:gdLst>
                <a:gd name="T0" fmla="*/ 158 w 374"/>
                <a:gd name="T1" fmla="*/ 291 h 391"/>
                <a:gd name="T2" fmla="*/ 185 w 374"/>
                <a:gd name="T3" fmla="*/ 327 h 391"/>
                <a:gd name="T4" fmla="*/ 217 w 374"/>
                <a:gd name="T5" fmla="*/ 290 h 391"/>
                <a:gd name="T6" fmla="*/ 263 w 374"/>
                <a:gd name="T7" fmla="*/ 302 h 391"/>
                <a:gd name="T8" fmla="*/ 268 w 374"/>
                <a:gd name="T9" fmla="*/ 254 h 391"/>
                <a:gd name="T10" fmla="*/ 312 w 374"/>
                <a:gd name="T11" fmla="*/ 237 h 391"/>
                <a:gd name="T12" fmla="*/ 286 w 374"/>
                <a:gd name="T13" fmla="*/ 195 h 391"/>
                <a:gd name="T14" fmla="*/ 312 w 374"/>
                <a:gd name="T15" fmla="*/ 155 h 391"/>
                <a:gd name="T16" fmla="*/ 268 w 374"/>
                <a:gd name="T17" fmla="*/ 137 h 391"/>
                <a:gd name="T18" fmla="*/ 265 w 374"/>
                <a:gd name="T19" fmla="*/ 90 h 391"/>
                <a:gd name="T20" fmla="*/ 219 w 374"/>
                <a:gd name="T21" fmla="*/ 100 h 391"/>
                <a:gd name="T22" fmla="*/ 188 w 374"/>
                <a:gd name="T23" fmla="*/ 64 h 391"/>
                <a:gd name="T24" fmla="*/ 157 w 374"/>
                <a:gd name="T25" fmla="*/ 100 h 391"/>
                <a:gd name="T26" fmla="*/ 111 w 374"/>
                <a:gd name="T27" fmla="*/ 89 h 391"/>
                <a:gd name="T28" fmla="*/ 107 w 374"/>
                <a:gd name="T29" fmla="*/ 135 h 391"/>
                <a:gd name="T30" fmla="*/ 63 w 374"/>
                <a:gd name="T31" fmla="*/ 154 h 391"/>
                <a:gd name="T32" fmla="*/ 87 w 374"/>
                <a:gd name="T33" fmla="*/ 194 h 391"/>
                <a:gd name="T34" fmla="*/ 62 w 374"/>
                <a:gd name="T35" fmla="*/ 235 h 391"/>
                <a:gd name="T36" fmla="*/ 106 w 374"/>
                <a:gd name="T37" fmla="*/ 253 h 391"/>
                <a:gd name="T38" fmla="*/ 108 w 374"/>
                <a:gd name="T39" fmla="*/ 301 h 391"/>
                <a:gd name="T40" fmla="*/ 147 w 374"/>
                <a:gd name="T41" fmla="*/ 289 h 391"/>
                <a:gd name="T42" fmla="*/ 185 w 374"/>
                <a:gd name="T43" fmla="*/ 391 h 391"/>
                <a:gd name="T44" fmla="*/ 169 w 374"/>
                <a:gd name="T45" fmla="*/ 384 h 391"/>
                <a:gd name="T46" fmla="*/ 92 w 374"/>
                <a:gd name="T47" fmla="*/ 355 h 391"/>
                <a:gd name="T48" fmla="*/ 76 w 374"/>
                <a:gd name="T49" fmla="*/ 355 h 391"/>
                <a:gd name="T50" fmla="*/ 64 w 374"/>
                <a:gd name="T51" fmla="*/ 344 h 391"/>
                <a:gd name="T52" fmla="*/ 63 w 374"/>
                <a:gd name="T53" fmla="*/ 284 h 391"/>
                <a:gd name="T54" fmla="*/ 6 w 374"/>
                <a:gd name="T55" fmla="*/ 263 h 391"/>
                <a:gd name="T56" fmla="*/ 0 w 374"/>
                <a:gd name="T57" fmla="*/ 248 h 391"/>
                <a:gd name="T58" fmla="*/ 5 w 374"/>
                <a:gd name="T59" fmla="*/ 232 h 391"/>
                <a:gd name="T60" fmla="*/ 3 w 374"/>
                <a:gd name="T61" fmla="*/ 150 h 391"/>
                <a:gd name="T62" fmla="*/ 1 w 374"/>
                <a:gd name="T63" fmla="*/ 133 h 391"/>
                <a:gd name="T64" fmla="*/ 12 w 374"/>
                <a:gd name="T65" fmla="*/ 121 h 391"/>
                <a:gd name="T66" fmla="*/ 64 w 374"/>
                <a:gd name="T67" fmla="*/ 56 h 391"/>
                <a:gd name="T68" fmla="*/ 69 w 374"/>
                <a:gd name="T69" fmla="*/ 40 h 391"/>
                <a:gd name="T70" fmla="*/ 84 w 374"/>
                <a:gd name="T71" fmla="*/ 32 h 391"/>
                <a:gd name="T72" fmla="*/ 141 w 374"/>
                <a:gd name="T73" fmla="*/ 51 h 391"/>
                <a:gd name="T74" fmla="*/ 178 w 374"/>
                <a:gd name="T75" fmla="*/ 3 h 391"/>
                <a:gd name="T76" fmla="*/ 194 w 374"/>
                <a:gd name="T77" fmla="*/ 0 h 391"/>
                <a:gd name="T78" fmla="*/ 207 w 374"/>
                <a:gd name="T79" fmla="*/ 10 h 391"/>
                <a:gd name="T80" fmla="*/ 287 w 374"/>
                <a:gd name="T81" fmla="*/ 34 h 391"/>
                <a:gd name="T82" fmla="*/ 303 w 374"/>
                <a:gd name="T83" fmla="*/ 38 h 391"/>
                <a:gd name="T84" fmla="*/ 312 w 374"/>
                <a:gd name="T85" fmla="*/ 52 h 391"/>
                <a:gd name="T86" fmla="*/ 357 w 374"/>
                <a:gd name="T87" fmla="*/ 121 h 391"/>
                <a:gd name="T88" fmla="*/ 371 w 374"/>
                <a:gd name="T89" fmla="*/ 132 h 391"/>
                <a:gd name="T90" fmla="*/ 373 w 374"/>
                <a:gd name="T91" fmla="*/ 148 h 391"/>
                <a:gd name="T92" fmla="*/ 339 w 374"/>
                <a:gd name="T93" fmla="*/ 197 h 391"/>
                <a:gd name="T94" fmla="*/ 373 w 374"/>
                <a:gd name="T95" fmla="*/ 246 h 391"/>
                <a:gd name="T96" fmla="*/ 369 w 374"/>
                <a:gd name="T97" fmla="*/ 262 h 391"/>
                <a:gd name="T98" fmla="*/ 356 w 374"/>
                <a:gd name="T99" fmla="*/ 272 h 391"/>
                <a:gd name="T100" fmla="*/ 309 w 374"/>
                <a:gd name="T101" fmla="*/ 340 h 391"/>
                <a:gd name="T102" fmla="*/ 301 w 374"/>
                <a:gd name="T103" fmla="*/ 354 h 391"/>
                <a:gd name="T104" fmla="*/ 285 w 374"/>
                <a:gd name="T105" fmla="*/ 357 h 391"/>
                <a:gd name="T106" fmla="*/ 204 w 374"/>
                <a:gd name="T107" fmla="*/ 381 h 391"/>
                <a:gd name="T108" fmla="*/ 190 w 374"/>
                <a:gd name="T109" fmla="*/ 389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4" h="391">
                  <a:moveTo>
                    <a:pt x="147" y="289"/>
                  </a:moveTo>
                  <a:lnTo>
                    <a:pt x="154" y="289"/>
                  </a:lnTo>
                  <a:lnTo>
                    <a:pt x="158" y="291"/>
                  </a:lnTo>
                  <a:lnTo>
                    <a:pt x="163" y="295"/>
                  </a:lnTo>
                  <a:lnTo>
                    <a:pt x="167" y="299"/>
                  </a:lnTo>
                  <a:lnTo>
                    <a:pt x="185" y="327"/>
                  </a:lnTo>
                  <a:lnTo>
                    <a:pt x="205" y="299"/>
                  </a:lnTo>
                  <a:lnTo>
                    <a:pt x="210" y="294"/>
                  </a:lnTo>
                  <a:lnTo>
                    <a:pt x="217" y="290"/>
                  </a:lnTo>
                  <a:lnTo>
                    <a:pt x="225" y="289"/>
                  </a:lnTo>
                  <a:lnTo>
                    <a:pt x="232" y="291"/>
                  </a:lnTo>
                  <a:lnTo>
                    <a:pt x="263" y="302"/>
                  </a:lnTo>
                  <a:lnTo>
                    <a:pt x="263" y="269"/>
                  </a:lnTo>
                  <a:lnTo>
                    <a:pt x="264" y="261"/>
                  </a:lnTo>
                  <a:lnTo>
                    <a:pt x="268" y="254"/>
                  </a:lnTo>
                  <a:lnTo>
                    <a:pt x="272" y="249"/>
                  </a:lnTo>
                  <a:lnTo>
                    <a:pt x="279" y="246"/>
                  </a:lnTo>
                  <a:lnTo>
                    <a:pt x="312" y="237"/>
                  </a:lnTo>
                  <a:lnTo>
                    <a:pt x="291" y="210"/>
                  </a:lnTo>
                  <a:lnTo>
                    <a:pt x="287" y="203"/>
                  </a:lnTo>
                  <a:lnTo>
                    <a:pt x="286" y="195"/>
                  </a:lnTo>
                  <a:lnTo>
                    <a:pt x="288" y="188"/>
                  </a:lnTo>
                  <a:lnTo>
                    <a:pt x="291" y="182"/>
                  </a:lnTo>
                  <a:lnTo>
                    <a:pt x="312" y="155"/>
                  </a:lnTo>
                  <a:lnTo>
                    <a:pt x="280" y="145"/>
                  </a:lnTo>
                  <a:lnTo>
                    <a:pt x="274" y="143"/>
                  </a:lnTo>
                  <a:lnTo>
                    <a:pt x="268" y="137"/>
                  </a:lnTo>
                  <a:lnTo>
                    <a:pt x="265" y="130"/>
                  </a:lnTo>
                  <a:lnTo>
                    <a:pt x="264" y="123"/>
                  </a:lnTo>
                  <a:lnTo>
                    <a:pt x="265" y="90"/>
                  </a:lnTo>
                  <a:lnTo>
                    <a:pt x="233" y="100"/>
                  </a:lnTo>
                  <a:lnTo>
                    <a:pt x="226" y="101"/>
                  </a:lnTo>
                  <a:lnTo>
                    <a:pt x="219" y="100"/>
                  </a:lnTo>
                  <a:lnTo>
                    <a:pt x="212" y="97"/>
                  </a:lnTo>
                  <a:lnTo>
                    <a:pt x="206" y="91"/>
                  </a:lnTo>
                  <a:lnTo>
                    <a:pt x="188" y="64"/>
                  </a:lnTo>
                  <a:lnTo>
                    <a:pt x="168" y="91"/>
                  </a:lnTo>
                  <a:lnTo>
                    <a:pt x="163" y="96"/>
                  </a:lnTo>
                  <a:lnTo>
                    <a:pt x="157" y="100"/>
                  </a:lnTo>
                  <a:lnTo>
                    <a:pt x="150" y="101"/>
                  </a:lnTo>
                  <a:lnTo>
                    <a:pt x="142" y="100"/>
                  </a:lnTo>
                  <a:lnTo>
                    <a:pt x="111" y="89"/>
                  </a:lnTo>
                  <a:lnTo>
                    <a:pt x="111" y="122"/>
                  </a:lnTo>
                  <a:lnTo>
                    <a:pt x="109" y="129"/>
                  </a:lnTo>
                  <a:lnTo>
                    <a:pt x="107" y="135"/>
                  </a:lnTo>
                  <a:lnTo>
                    <a:pt x="101" y="142"/>
                  </a:lnTo>
                  <a:lnTo>
                    <a:pt x="95" y="144"/>
                  </a:lnTo>
                  <a:lnTo>
                    <a:pt x="63" y="154"/>
                  </a:lnTo>
                  <a:lnTo>
                    <a:pt x="82" y="181"/>
                  </a:lnTo>
                  <a:lnTo>
                    <a:pt x="86" y="187"/>
                  </a:lnTo>
                  <a:lnTo>
                    <a:pt x="87" y="194"/>
                  </a:lnTo>
                  <a:lnTo>
                    <a:pt x="86" y="202"/>
                  </a:lnTo>
                  <a:lnTo>
                    <a:pt x="82" y="208"/>
                  </a:lnTo>
                  <a:lnTo>
                    <a:pt x="62" y="235"/>
                  </a:lnTo>
                  <a:lnTo>
                    <a:pt x="93" y="245"/>
                  </a:lnTo>
                  <a:lnTo>
                    <a:pt x="101" y="248"/>
                  </a:lnTo>
                  <a:lnTo>
                    <a:pt x="106" y="253"/>
                  </a:lnTo>
                  <a:lnTo>
                    <a:pt x="109" y="259"/>
                  </a:lnTo>
                  <a:lnTo>
                    <a:pt x="109" y="267"/>
                  </a:lnTo>
                  <a:lnTo>
                    <a:pt x="108" y="301"/>
                  </a:lnTo>
                  <a:lnTo>
                    <a:pt x="140" y="290"/>
                  </a:lnTo>
                  <a:lnTo>
                    <a:pt x="144" y="289"/>
                  </a:lnTo>
                  <a:lnTo>
                    <a:pt x="147" y="289"/>
                  </a:lnTo>
                  <a:close/>
                  <a:moveTo>
                    <a:pt x="185" y="391"/>
                  </a:moveTo>
                  <a:lnTo>
                    <a:pt x="185" y="391"/>
                  </a:lnTo>
                  <a:lnTo>
                    <a:pt x="185" y="391"/>
                  </a:lnTo>
                  <a:lnTo>
                    <a:pt x="179" y="389"/>
                  </a:lnTo>
                  <a:lnTo>
                    <a:pt x="174" y="387"/>
                  </a:lnTo>
                  <a:lnTo>
                    <a:pt x="169" y="384"/>
                  </a:lnTo>
                  <a:lnTo>
                    <a:pt x="166" y="379"/>
                  </a:lnTo>
                  <a:lnTo>
                    <a:pt x="139" y="339"/>
                  </a:lnTo>
                  <a:lnTo>
                    <a:pt x="92" y="355"/>
                  </a:lnTo>
                  <a:lnTo>
                    <a:pt x="86" y="356"/>
                  </a:lnTo>
                  <a:lnTo>
                    <a:pt x="81" y="356"/>
                  </a:lnTo>
                  <a:lnTo>
                    <a:pt x="76" y="355"/>
                  </a:lnTo>
                  <a:lnTo>
                    <a:pt x="71" y="353"/>
                  </a:lnTo>
                  <a:lnTo>
                    <a:pt x="66" y="348"/>
                  </a:lnTo>
                  <a:lnTo>
                    <a:pt x="64" y="344"/>
                  </a:lnTo>
                  <a:lnTo>
                    <a:pt x="62" y="338"/>
                  </a:lnTo>
                  <a:lnTo>
                    <a:pt x="62" y="333"/>
                  </a:lnTo>
                  <a:lnTo>
                    <a:pt x="63" y="284"/>
                  </a:lnTo>
                  <a:lnTo>
                    <a:pt x="16" y="269"/>
                  </a:lnTo>
                  <a:lnTo>
                    <a:pt x="11" y="267"/>
                  </a:lnTo>
                  <a:lnTo>
                    <a:pt x="6" y="263"/>
                  </a:lnTo>
                  <a:lnTo>
                    <a:pt x="3" y="259"/>
                  </a:lnTo>
                  <a:lnTo>
                    <a:pt x="1" y="254"/>
                  </a:lnTo>
                  <a:lnTo>
                    <a:pt x="0" y="248"/>
                  </a:lnTo>
                  <a:lnTo>
                    <a:pt x="0" y="243"/>
                  </a:lnTo>
                  <a:lnTo>
                    <a:pt x="1" y="237"/>
                  </a:lnTo>
                  <a:lnTo>
                    <a:pt x="5" y="232"/>
                  </a:lnTo>
                  <a:lnTo>
                    <a:pt x="35" y="194"/>
                  </a:lnTo>
                  <a:lnTo>
                    <a:pt x="5" y="155"/>
                  </a:lnTo>
                  <a:lnTo>
                    <a:pt x="3" y="150"/>
                  </a:lnTo>
                  <a:lnTo>
                    <a:pt x="1" y="144"/>
                  </a:lnTo>
                  <a:lnTo>
                    <a:pt x="0" y="139"/>
                  </a:lnTo>
                  <a:lnTo>
                    <a:pt x="1" y="133"/>
                  </a:lnTo>
                  <a:lnTo>
                    <a:pt x="4" y="128"/>
                  </a:lnTo>
                  <a:lnTo>
                    <a:pt x="8" y="124"/>
                  </a:lnTo>
                  <a:lnTo>
                    <a:pt x="12" y="121"/>
                  </a:lnTo>
                  <a:lnTo>
                    <a:pt x="17" y="118"/>
                  </a:lnTo>
                  <a:lnTo>
                    <a:pt x="65" y="105"/>
                  </a:lnTo>
                  <a:lnTo>
                    <a:pt x="64" y="56"/>
                  </a:lnTo>
                  <a:lnTo>
                    <a:pt x="64" y="50"/>
                  </a:lnTo>
                  <a:lnTo>
                    <a:pt x="66" y="45"/>
                  </a:lnTo>
                  <a:lnTo>
                    <a:pt x="69" y="40"/>
                  </a:lnTo>
                  <a:lnTo>
                    <a:pt x="74" y="36"/>
                  </a:lnTo>
                  <a:lnTo>
                    <a:pt x="79" y="34"/>
                  </a:lnTo>
                  <a:lnTo>
                    <a:pt x="84" y="32"/>
                  </a:lnTo>
                  <a:lnTo>
                    <a:pt x="90" y="32"/>
                  </a:lnTo>
                  <a:lnTo>
                    <a:pt x="95" y="34"/>
                  </a:lnTo>
                  <a:lnTo>
                    <a:pt x="141" y="51"/>
                  </a:lnTo>
                  <a:lnTo>
                    <a:pt x="169" y="10"/>
                  </a:lnTo>
                  <a:lnTo>
                    <a:pt x="173" y="5"/>
                  </a:lnTo>
                  <a:lnTo>
                    <a:pt x="178" y="3"/>
                  </a:lnTo>
                  <a:lnTo>
                    <a:pt x="183" y="0"/>
                  </a:lnTo>
                  <a:lnTo>
                    <a:pt x="188" y="0"/>
                  </a:lnTo>
                  <a:lnTo>
                    <a:pt x="194" y="0"/>
                  </a:lnTo>
                  <a:lnTo>
                    <a:pt x="199" y="3"/>
                  </a:lnTo>
                  <a:lnTo>
                    <a:pt x="204" y="7"/>
                  </a:lnTo>
                  <a:lnTo>
                    <a:pt x="207" y="10"/>
                  </a:lnTo>
                  <a:lnTo>
                    <a:pt x="234" y="51"/>
                  </a:lnTo>
                  <a:lnTo>
                    <a:pt x="281" y="35"/>
                  </a:lnTo>
                  <a:lnTo>
                    <a:pt x="287" y="34"/>
                  </a:lnTo>
                  <a:lnTo>
                    <a:pt x="292" y="34"/>
                  </a:lnTo>
                  <a:lnTo>
                    <a:pt x="298" y="36"/>
                  </a:lnTo>
                  <a:lnTo>
                    <a:pt x="303" y="38"/>
                  </a:lnTo>
                  <a:lnTo>
                    <a:pt x="307" y="42"/>
                  </a:lnTo>
                  <a:lnTo>
                    <a:pt x="309" y="47"/>
                  </a:lnTo>
                  <a:lnTo>
                    <a:pt x="312" y="52"/>
                  </a:lnTo>
                  <a:lnTo>
                    <a:pt x="312" y="58"/>
                  </a:lnTo>
                  <a:lnTo>
                    <a:pt x="310" y="107"/>
                  </a:lnTo>
                  <a:lnTo>
                    <a:pt x="357" y="121"/>
                  </a:lnTo>
                  <a:lnTo>
                    <a:pt x="363" y="123"/>
                  </a:lnTo>
                  <a:lnTo>
                    <a:pt x="367" y="127"/>
                  </a:lnTo>
                  <a:lnTo>
                    <a:pt x="371" y="132"/>
                  </a:lnTo>
                  <a:lnTo>
                    <a:pt x="373" y="137"/>
                  </a:lnTo>
                  <a:lnTo>
                    <a:pt x="374" y="142"/>
                  </a:lnTo>
                  <a:lnTo>
                    <a:pt x="373" y="148"/>
                  </a:lnTo>
                  <a:lnTo>
                    <a:pt x="372" y="153"/>
                  </a:lnTo>
                  <a:lnTo>
                    <a:pt x="369" y="157"/>
                  </a:lnTo>
                  <a:lnTo>
                    <a:pt x="339" y="197"/>
                  </a:lnTo>
                  <a:lnTo>
                    <a:pt x="368" y="236"/>
                  </a:lnTo>
                  <a:lnTo>
                    <a:pt x="371" y="241"/>
                  </a:lnTo>
                  <a:lnTo>
                    <a:pt x="373" y="246"/>
                  </a:lnTo>
                  <a:lnTo>
                    <a:pt x="373" y="252"/>
                  </a:lnTo>
                  <a:lnTo>
                    <a:pt x="372" y="257"/>
                  </a:lnTo>
                  <a:lnTo>
                    <a:pt x="369" y="262"/>
                  </a:lnTo>
                  <a:lnTo>
                    <a:pt x="366" y="267"/>
                  </a:lnTo>
                  <a:lnTo>
                    <a:pt x="362" y="269"/>
                  </a:lnTo>
                  <a:lnTo>
                    <a:pt x="356" y="272"/>
                  </a:lnTo>
                  <a:lnTo>
                    <a:pt x="309" y="285"/>
                  </a:lnTo>
                  <a:lnTo>
                    <a:pt x="309" y="334"/>
                  </a:lnTo>
                  <a:lnTo>
                    <a:pt x="309" y="340"/>
                  </a:lnTo>
                  <a:lnTo>
                    <a:pt x="307" y="345"/>
                  </a:lnTo>
                  <a:lnTo>
                    <a:pt x="304" y="350"/>
                  </a:lnTo>
                  <a:lnTo>
                    <a:pt x="301" y="354"/>
                  </a:lnTo>
                  <a:lnTo>
                    <a:pt x="296" y="356"/>
                  </a:lnTo>
                  <a:lnTo>
                    <a:pt x="290" y="357"/>
                  </a:lnTo>
                  <a:lnTo>
                    <a:pt x="285" y="357"/>
                  </a:lnTo>
                  <a:lnTo>
                    <a:pt x="279" y="356"/>
                  </a:lnTo>
                  <a:lnTo>
                    <a:pt x="232" y="340"/>
                  </a:lnTo>
                  <a:lnTo>
                    <a:pt x="204" y="381"/>
                  </a:lnTo>
                  <a:lnTo>
                    <a:pt x="200" y="384"/>
                  </a:lnTo>
                  <a:lnTo>
                    <a:pt x="196" y="388"/>
                  </a:lnTo>
                  <a:lnTo>
                    <a:pt x="190" y="389"/>
                  </a:lnTo>
                  <a:lnTo>
                    <a:pt x="185"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uppieren 558">
            <a:extLst>
              <a:ext uri="{FF2B5EF4-FFF2-40B4-BE49-F238E27FC236}">
                <a16:creationId xmlns:a16="http://schemas.microsoft.com/office/drawing/2014/main" id="{DAC8643D-A4CB-44D5-812D-204634BDDCA4}"/>
              </a:ext>
            </a:extLst>
          </p:cNvPr>
          <p:cNvGrpSpPr>
            <a:grpSpLocks noChangeAspect="1"/>
          </p:cNvGrpSpPr>
          <p:nvPr/>
        </p:nvGrpSpPr>
        <p:grpSpPr>
          <a:xfrm>
            <a:off x="7084398" y="4345739"/>
            <a:ext cx="257533" cy="306484"/>
            <a:chOff x="4937844" y="5240549"/>
            <a:chExt cx="384176" cy="457200"/>
          </a:xfrm>
          <a:solidFill>
            <a:schemeClr val="bg2"/>
          </a:solidFill>
          <a:effectLst/>
        </p:grpSpPr>
        <p:sp>
          <p:nvSpPr>
            <p:cNvPr id="560" name="Freeform 131">
              <a:extLst>
                <a:ext uri="{FF2B5EF4-FFF2-40B4-BE49-F238E27FC236}">
                  <a16:creationId xmlns:a16="http://schemas.microsoft.com/office/drawing/2014/main" id="{28892544-AACD-4879-BE49-EA0628C76736}"/>
                </a:ext>
              </a:extLst>
            </p:cNvPr>
            <p:cNvSpPr>
              <a:spLocks/>
            </p:cNvSpPr>
            <p:nvPr/>
          </p:nvSpPr>
          <p:spPr bwMode="auto">
            <a:xfrm>
              <a:off x="4991819" y="5367549"/>
              <a:ext cx="201613" cy="19050"/>
            </a:xfrm>
            <a:custGeom>
              <a:avLst/>
              <a:gdLst>
                <a:gd name="T0" fmla="*/ 483 w 506"/>
                <a:gd name="T1" fmla="*/ 45 h 45"/>
                <a:gd name="T2" fmla="*/ 23 w 506"/>
                <a:gd name="T3" fmla="*/ 45 h 45"/>
                <a:gd name="T4" fmla="*/ 18 w 506"/>
                <a:gd name="T5" fmla="*/ 45 h 45"/>
                <a:gd name="T6" fmla="*/ 13 w 506"/>
                <a:gd name="T7" fmla="*/ 44 h 45"/>
                <a:gd name="T8" fmla="*/ 10 w 506"/>
                <a:gd name="T9" fmla="*/ 42 h 45"/>
                <a:gd name="T10" fmla="*/ 6 w 506"/>
                <a:gd name="T11" fmla="*/ 39 h 45"/>
                <a:gd name="T12" fmla="*/ 4 w 506"/>
                <a:gd name="T13" fmla="*/ 35 h 45"/>
                <a:gd name="T14" fmla="*/ 1 w 506"/>
                <a:gd name="T15" fmla="*/ 32 h 45"/>
                <a:gd name="T16" fmla="*/ 0 w 506"/>
                <a:gd name="T17" fmla="*/ 27 h 45"/>
                <a:gd name="T18" fmla="*/ 0 w 506"/>
                <a:gd name="T19" fmla="*/ 22 h 45"/>
                <a:gd name="T20" fmla="*/ 0 w 506"/>
                <a:gd name="T21" fmla="*/ 18 h 45"/>
                <a:gd name="T22" fmla="*/ 1 w 506"/>
                <a:gd name="T23" fmla="*/ 13 h 45"/>
                <a:gd name="T24" fmla="*/ 4 w 506"/>
                <a:gd name="T25" fmla="*/ 10 h 45"/>
                <a:gd name="T26" fmla="*/ 6 w 506"/>
                <a:gd name="T27" fmla="*/ 6 h 45"/>
                <a:gd name="T28" fmla="*/ 10 w 506"/>
                <a:gd name="T29" fmla="*/ 4 h 45"/>
                <a:gd name="T30" fmla="*/ 13 w 506"/>
                <a:gd name="T31" fmla="*/ 1 h 45"/>
                <a:gd name="T32" fmla="*/ 18 w 506"/>
                <a:gd name="T33" fmla="*/ 0 h 45"/>
                <a:gd name="T34" fmla="*/ 23 w 506"/>
                <a:gd name="T35" fmla="*/ 0 h 45"/>
                <a:gd name="T36" fmla="*/ 483 w 506"/>
                <a:gd name="T37" fmla="*/ 0 h 45"/>
                <a:gd name="T38" fmla="*/ 488 w 506"/>
                <a:gd name="T39" fmla="*/ 0 h 45"/>
                <a:gd name="T40" fmla="*/ 493 w 506"/>
                <a:gd name="T41" fmla="*/ 1 h 45"/>
                <a:gd name="T42" fmla="*/ 497 w 506"/>
                <a:gd name="T43" fmla="*/ 4 h 45"/>
                <a:gd name="T44" fmla="*/ 500 w 506"/>
                <a:gd name="T45" fmla="*/ 6 h 45"/>
                <a:gd name="T46" fmla="*/ 503 w 506"/>
                <a:gd name="T47" fmla="*/ 10 h 45"/>
                <a:gd name="T48" fmla="*/ 505 w 506"/>
                <a:gd name="T49" fmla="*/ 13 h 45"/>
                <a:gd name="T50" fmla="*/ 506 w 506"/>
                <a:gd name="T51" fmla="*/ 18 h 45"/>
                <a:gd name="T52" fmla="*/ 506 w 506"/>
                <a:gd name="T53" fmla="*/ 22 h 45"/>
                <a:gd name="T54" fmla="*/ 506 w 506"/>
                <a:gd name="T55" fmla="*/ 27 h 45"/>
                <a:gd name="T56" fmla="*/ 505 w 506"/>
                <a:gd name="T57" fmla="*/ 32 h 45"/>
                <a:gd name="T58" fmla="*/ 503 w 506"/>
                <a:gd name="T59" fmla="*/ 35 h 45"/>
                <a:gd name="T60" fmla="*/ 500 w 506"/>
                <a:gd name="T61" fmla="*/ 39 h 45"/>
                <a:gd name="T62" fmla="*/ 497 w 506"/>
                <a:gd name="T63" fmla="*/ 42 h 45"/>
                <a:gd name="T64" fmla="*/ 493 w 506"/>
                <a:gd name="T65" fmla="*/ 44 h 45"/>
                <a:gd name="T66" fmla="*/ 488 w 506"/>
                <a:gd name="T67" fmla="*/ 45 h 45"/>
                <a:gd name="T68" fmla="*/ 483 w 506"/>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5">
                  <a:moveTo>
                    <a:pt x="483" y="45"/>
                  </a:moveTo>
                  <a:lnTo>
                    <a:pt x="23" y="45"/>
                  </a:lnTo>
                  <a:lnTo>
                    <a:pt x="18" y="45"/>
                  </a:lnTo>
                  <a:lnTo>
                    <a:pt x="13" y="44"/>
                  </a:lnTo>
                  <a:lnTo>
                    <a:pt x="10" y="42"/>
                  </a:lnTo>
                  <a:lnTo>
                    <a:pt x="6" y="39"/>
                  </a:lnTo>
                  <a:lnTo>
                    <a:pt x="4" y="35"/>
                  </a:lnTo>
                  <a:lnTo>
                    <a:pt x="1" y="32"/>
                  </a:lnTo>
                  <a:lnTo>
                    <a:pt x="0" y="27"/>
                  </a:lnTo>
                  <a:lnTo>
                    <a:pt x="0" y="22"/>
                  </a:lnTo>
                  <a:lnTo>
                    <a:pt x="0" y="18"/>
                  </a:lnTo>
                  <a:lnTo>
                    <a:pt x="1" y="13"/>
                  </a:lnTo>
                  <a:lnTo>
                    <a:pt x="4" y="10"/>
                  </a:lnTo>
                  <a:lnTo>
                    <a:pt x="6" y="6"/>
                  </a:lnTo>
                  <a:lnTo>
                    <a:pt x="10" y="4"/>
                  </a:lnTo>
                  <a:lnTo>
                    <a:pt x="13" y="1"/>
                  </a:lnTo>
                  <a:lnTo>
                    <a:pt x="18" y="0"/>
                  </a:lnTo>
                  <a:lnTo>
                    <a:pt x="23" y="0"/>
                  </a:lnTo>
                  <a:lnTo>
                    <a:pt x="483" y="0"/>
                  </a:lnTo>
                  <a:lnTo>
                    <a:pt x="488" y="0"/>
                  </a:lnTo>
                  <a:lnTo>
                    <a:pt x="493" y="1"/>
                  </a:lnTo>
                  <a:lnTo>
                    <a:pt x="497" y="4"/>
                  </a:lnTo>
                  <a:lnTo>
                    <a:pt x="500" y="6"/>
                  </a:lnTo>
                  <a:lnTo>
                    <a:pt x="503" y="10"/>
                  </a:lnTo>
                  <a:lnTo>
                    <a:pt x="505" y="13"/>
                  </a:lnTo>
                  <a:lnTo>
                    <a:pt x="506" y="18"/>
                  </a:lnTo>
                  <a:lnTo>
                    <a:pt x="506" y="22"/>
                  </a:lnTo>
                  <a:lnTo>
                    <a:pt x="506" y="27"/>
                  </a:lnTo>
                  <a:lnTo>
                    <a:pt x="505" y="32"/>
                  </a:lnTo>
                  <a:lnTo>
                    <a:pt x="503" y="35"/>
                  </a:lnTo>
                  <a:lnTo>
                    <a:pt x="500" y="39"/>
                  </a:lnTo>
                  <a:lnTo>
                    <a:pt x="497" y="42"/>
                  </a:lnTo>
                  <a:lnTo>
                    <a:pt x="493" y="44"/>
                  </a:lnTo>
                  <a:lnTo>
                    <a:pt x="488" y="45"/>
                  </a:lnTo>
                  <a:lnTo>
                    <a:pt x="48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136">
              <a:extLst>
                <a:ext uri="{FF2B5EF4-FFF2-40B4-BE49-F238E27FC236}">
                  <a16:creationId xmlns:a16="http://schemas.microsoft.com/office/drawing/2014/main" id="{327A0B00-A991-43D5-A439-C3E07904C064}"/>
                </a:ext>
              </a:extLst>
            </p:cNvPr>
            <p:cNvSpPr>
              <a:spLocks/>
            </p:cNvSpPr>
            <p:nvPr/>
          </p:nvSpPr>
          <p:spPr bwMode="auto">
            <a:xfrm>
              <a:off x="4991819" y="5423111"/>
              <a:ext cx="201613" cy="17463"/>
            </a:xfrm>
            <a:custGeom>
              <a:avLst/>
              <a:gdLst>
                <a:gd name="T0" fmla="*/ 483 w 506"/>
                <a:gd name="T1" fmla="*/ 47 h 47"/>
                <a:gd name="T2" fmla="*/ 23 w 506"/>
                <a:gd name="T3" fmla="*/ 47 h 47"/>
                <a:gd name="T4" fmla="*/ 18 w 506"/>
                <a:gd name="T5" fmla="*/ 47 h 47"/>
                <a:gd name="T6" fmla="*/ 13 w 506"/>
                <a:gd name="T7" fmla="*/ 44 h 47"/>
                <a:gd name="T8" fmla="*/ 10 w 506"/>
                <a:gd name="T9" fmla="*/ 43 h 47"/>
                <a:gd name="T10" fmla="*/ 6 w 506"/>
                <a:gd name="T11" fmla="*/ 39 h 47"/>
                <a:gd name="T12" fmla="*/ 4 w 506"/>
                <a:gd name="T13" fmla="*/ 37 h 47"/>
                <a:gd name="T14" fmla="*/ 1 w 506"/>
                <a:gd name="T15" fmla="*/ 32 h 47"/>
                <a:gd name="T16" fmla="*/ 0 w 506"/>
                <a:gd name="T17" fmla="*/ 28 h 47"/>
                <a:gd name="T18" fmla="*/ 0 w 506"/>
                <a:gd name="T19" fmla="*/ 24 h 47"/>
                <a:gd name="T20" fmla="*/ 0 w 506"/>
                <a:gd name="T21" fmla="*/ 19 h 47"/>
                <a:gd name="T22" fmla="*/ 1 w 506"/>
                <a:gd name="T23" fmla="*/ 15 h 47"/>
                <a:gd name="T24" fmla="*/ 4 w 506"/>
                <a:gd name="T25" fmla="*/ 11 h 47"/>
                <a:gd name="T26" fmla="*/ 6 w 506"/>
                <a:gd name="T27" fmla="*/ 8 h 47"/>
                <a:gd name="T28" fmla="*/ 10 w 506"/>
                <a:gd name="T29" fmla="*/ 5 h 47"/>
                <a:gd name="T30" fmla="*/ 13 w 506"/>
                <a:gd name="T31" fmla="*/ 3 h 47"/>
                <a:gd name="T32" fmla="*/ 18 w 506"/>
                <a:gd name="T33" fmla="*/ 1 h 47"/>
                <a:gd name="T34" fmla="*/ 23 w 506"/>
                <a:gd name="T35" fmla="*/ 0 h 47"/>
                <a:gd name="T36" fmla="*/ 483 w 506"/>
                <a:gd name="T37" fmla="*/ 0 h 47"/>
                <a:gd name="T38" fmla="*/ 488 w 506"/>
                <a:gd name="T39" fmla="*/ 1 h 47"/>
                <a:gd name="T40" fmla="*/ 493 w 506"/>
                <a:gd name="T41" fmla="*/ 3 h 47"/>
                <a:gd name="T42" fmla="*/ 497 w 506"/>
                <a:gd name="T43" fmla="*/ 5 h 47"/>
                <a:gd name="T44" fmla="*/ 500 w 506"/>
                <a:gd name="T45" fmla="*/ 8 h 47"/>
                <a:gd name="T46" fmla="*/ 503 w 506"/>
                <a:gd name="T47" fmla="*/ 11 h 47"/>
                <a:gd name="T48" fmla="*/ 505 w 506"/>
                <a:gd name="T49" fmla="*/ 15 h 47"/>
                <a:gd name="T50" fmla="*/ 506 w 506"/>
                <a:gd name="T51" fmla="*/ 19 h 47"/>
                <a:gd name="T52" fmla="*/ 506 w 506"/>
                <a:gd name="T53" fmla="*/ 24 h 47"/>
                <a:gd name="T54" fmla="*/ 506 w 506"/>
                <a:gd name="T55" fmla="*/ 28 h 47"/>
                <a:gd name="T56" fmla="*/ 505 w 506"/>
                <a:gd name="T57" fmla="*/ 32 h 47"/>
                <a:gd name="T58" fmla="*/ 503 w 506"/>
                <a:gd name="T59" fmla="*/ 37 h 47"/>
                <a:gd name="T60" fmla="*/ 500 w 506"/>
                <a:gd name="T61" fmla="*/ 39 h 47"/>
                <a:gd name="T62" fmla="*/ 497 w 506"/>
                <a:gd name="T63" fmla="*/ 43 h 47"/>
                <a:gd name="T64" fmla="*/ 493 w 506"/>
                <a:gd name="T65" fmla="*/ 44 h 47"/>
                <a:gd name="T66" fmla="*/ 488 w 506"/>
                <a:gd name="T67" fmla="*/ 47 h 47"/>
                <a:gd name="T68" fmla="*/ 483 w 506"/>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7">
                  <a:moveTo>
                    <a:pt x="483" y="47"/>
                  </a:moveTo>
                  <a:lnTo>
                    <a:pt x="23" y="47"/>
                  </a:lnTo>
                  <a:lnTo>
                    <a:pt x="18" y="47"/>
                  </a:lnTo>
                  <a:lnTo>
                    <a:pt x="13" y="44"/>
                  </a:lnTo>
                  <a:lnTo>
                    <a:pt x="10" y="43"/>
                  </a:lnTo>
                  <a:lnTo>
                    <a:pt x="6" y="39"/>
                  </a:lnTo>
                  <a:lnTo>
                    <a:pt x="4" y="37"/>
                  </a:lnTo>
                  <a:lnTo>
                    <a:pt x="1" y="32"/>
                  </a:lnTo>
                  <a:lnTo>
                    <a:pt x="0" y="28"/>
                  </a:lnTo>
                  <a:lnTo>
                    <a:pt x="0" y="24"/>
                  </a:lnTo>
                  <a:lnTo>
                    <a:pt x="0" y="19"/>
                  </a:lnTo>
                  <a:lnTo>
                    <a:pt x="1" y="15"/>
                  </a:lnTo>
                  <a:lnTo>
                    <a:pt x="4" y="11"/>
                  </a:lnTo>
                  <a:lnTo>
                    <a:pt x="6" y="8"/>
                  </a:lnTo>
                  <a:lnTo>
                    <a:pt x="10" y="5"/>
                  </a:lnTo>
                  <a:lnTo>
                    <a:pt x="13" y="3"/>
                  </a:lnTo>
                  <a:lnTo>
                    <a:pt x="18" y="1"/>
                  </a:lnTo>
                  <a:lnTo>
                    <a:pt x="23" y="0"/>
                  </a:lnTo>
                  <a:lnTo>
                    <a:pt x="483" y="0"/>
                  </a:lnTo>
                  <a:lnTo>
                    <a:pt x="488" y="1"/>
                  </a:lnTo>
                  <a:lnTo>
                    <a:pt x="493" y="3"/>
                  </a:lnTo>
                  <a:lnTo>
                    <a:pt x="497" y="5"/>
                  </a:lnTo>
                  <a:lnTo>
                    <a:pt x="500" y="8"/>
                  </a:lnTo>
                  <a:lnTo>
                    <a:pt x="503" y="11"/>
                  </a:lnTo>
                  <a:lnTo>
                    <a:pt x="505" y="15"/>
                  </a:lnTo>
                  <a:lnTo>
                    <a:pt x="506" y="19"/>
                  </a:lnTo>
                  <a:lnTo>
                    <a:pt x="506" y="24"/>
                  </a:lnTo>
                  <a:lnTo>
                    <a:pt x="506" y="28"/>
                  </a:lnTo>
                  <a:lnTo>
                    <a:pt x="505" y="32"/>
                  </a:lnTo>
                  <a:lnTo>
                    <a:pt x="503" y="37"/>
                  </a:lnTo>
                  <a:lnTo>
                    <a:pt x="500" y="39"/>
                  </a:lnTo>
                  <a:lnTo>
                    <a:pt x="497" y="43"/>
                  </a:lnTo>
                  <a:lnTo>
                    <a:pt x="493" y="44"/>
                  </a:lnTo>
                  <a:lnTo>
                    <a:pt x="488" y="47"/>
                  </a:lnTo>
                  <a:lnTo>
                    <a:pt x="483"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37">
              <a:extLst>
                <a:ext uri="{FF2B5EF4-FFF2-40B4-BE49-F238E27FC236}">
                  <a16:creationId xmlns:a16="http://schemas.microsoft.com/office/drawing/2014/main" id="{B7A8E4B6-CCF3-4F5E-904B-2C9A6CE7EB19}"/>
                </a:ext>
              </a:extLst>
            </p:cNvPr>
            <p:cNvSpPr>
              <a:spLocks/>
            </p:cNvSpPr>
            <p:nvPr/>
          </p:nvSpPr>
          <p:spPr bwMode="auto">
            <a:xfrm>
              <a:off x="4991819" y="5477086"/>
              <a:ext cx="201613" cy="19050"/>
            </a:xfrm>
            <a:custGeom>
              <a:avLst/>
              <a:gdLst>
                <a:gd name="T0" fmla="*/ 483 w 506"/>
                <a:gd name="T1" fmla="*/ 46 h 46"/>
                <a:gd name="T2" fmla="*/ 23 w 506"/>
                <a:gd name="T3" fmla="*/ 46 h 46"/>
                <a:gd name="T4" fmla="*/ 18 w 506"/>
                <a:gd name="T5" fmla="*/ 45 h 46"/>
                <a:gd name="T6" fmla="*/ 13 w 506"/>
                <a:gd name="T7" fmla="*/ 44 h 46"/>
                <a:gd name="T8" fmla="*/ 10 w 506"/>
                <a:gd name="T9" fmla="*/ 42 h 46"/>
                <a:gd name="T10" fmla="*/ 6 w 506"/>
                <a:gd name="T11" fmla="*/ 39 h 46"/>
                <a:gd name="T12" fmla="*/ 4 w 506"/>
                <a:gd name="T13" fmla="*/ 35 h 46"/>
                <a:gd name="T14" fmla="*/ 1 w 506"/>
                <a:gd name="T15" fmla="*/ 32 h 46"/>
                <a:gd name="T16" fmla="*/ 0 w 506"/>
                <a:gd name="T17" fmla="*/ 28 h 46"/>
                <a:gd name="T18" fmla="*/ 0 w 506"/>
                <a:gd name="T19" fmla="*/ 23 h 46"/>
                <a:gd name="T20" fmla="*/ 0 w 506"/>
                <a:gd name="T21" fmla="*/ 18 h 46"/>
                <a:gd name="T22" fmla="*/ 1 w 506"/>
                <a:gd name="T23" fmla="*/ 15 h 46"/>
                <a:gd name="T24" fmla="*/ 4 w 506"/>
                <a:gd name="T25" fmla="*/ 10 h 46"/>
                <a:gd name="T26" fmla="*/ 6 w 506"/>
                <a:gd name="T27" fmla="*/ 7 h 46"/>
                <a:gd name="T28" fmla="*/ 10 w 506"/>
                <a:gd name="T29" fmla="*/ 4 h 46"/>
                <a:gd name="T30" fmla="*/ 13 w 506"/>
                <a:gd name="T31" fmla="*/ 2 h 46"/>
                <a:gd name="T32" fmla="*/ 18 w 506"/>
                <a:gd name="T33" fmla="*/ 0 h 46"/>
                <a:gd name="T34" fmla="*/ 23 w 506"/>
                <a:gd name="T35" fmla="*/ 0 h 46"/>
                <a:gd name="T36" fmla="*/ 483 w 506"/>
                <a:gd name="T37" fmla="*/ 0 h 46"/>
                <a:gd name="T38" fmla="*/ 488 w 506"/>
                <a:gd name="T39" fmla="*/ 0 h 46"/>
                <a:gd name="T40" fmla="*/ 493 w 506"/>
                <a:gd name="T41" fmla="*/ 2 h 46"/>
                <a:gd name="T42" fmla="*/ 497 w 506"/>
                <a:gd name="T43" fmla="*/ 4 h 46"/>
                <a:gd name="T44" fmla="*/ 500 w 506"/>
                <a:gd name="T45" fmla="*/ 7 h 46"/>
                <a:gd name="T46" fmla="*/ 503 w 506"/>
                <a:gd name="T47" fmla="*/ 10 h 46"/>
                <a:gd name="T48" fmla="*/ 505 w 506"/>
                <a:gd name="T49" fmla="*/ 15 h 46"/>
                <a:gd name="T50" fmla="*/ 506 w 506"/>
                <a:gd name="T51" fmla="*/ 18 h 46"/>
                <a:gd name="T52" fmla="*/ 506 w 506"/>
                <a:gd name="T53" fmla="*/ 23 h 46"/>
                <a:gd name="T54" fmla="*/ 506 w 506"/>
                <a:gd name="T55" fmla="*/ 28 h 46"/>
                <a:gd name="T56" fmla="*/ 505 w 506"/>
                <a:gd name="T57" fmla="*/ 32 h 46"/>
                <a:gd name="T58" fmla="*/ 503 w 506"/>
                <a:gd name="T59" fmla="*/ 35 h 46"/>
                <a:gd name="T60" fmla="*/ 500 w 506"/>
                <a:gd name="T61" fmla="*/ 39 h 46"/>
                <a:gd name="T62" fmla="*/ 497 w 506"/>
                <a:gd name="T63" fmla="*/ 42 h 46"/>
                <a:gd name="T64" fmla="*/ 493 w 506"/>
                <a:gd name="T65" fmla="*/ 44 h 46"/>
                <a:gd name="T66" fmla="*/ 488 w 506"/>
                <a:gd name="T67" fmla="*/ 45 h 46"/>
                <a:gd name="T68" fmla="*/ 483 w 506"/>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6">
                  <a:moveTo>
                    <a:pt x="483" y="46"/>
                  </a:moveTo>
                  <a:lnTo>
                    <a:pt x="23" y="46"/>
                  </a:lnTo>
                  <a:lnTo>
                    <a:pt x="18" y="45"/>
                  </a:lnTo>
                  <a:lnTo>
                    <a:pt x="13" y="44"/>
                  </a:lnTo>
                  <a:lnTo>
                    <a:pt x="10" y="42"/>
                  </a:lnTo>
                  <a:lnTo>
                    <a:pt x="6" y="39"/>
                  </a:lnTo>
                  <a:lnTo>
                    <a:pt x="4" y="35"/>
                  </a:lnTo>
                  <a:lnTo>
                    <a:pt x="1" y="32"/>
                  </a:lnTo>
                  <a:lnTo>
                    <a:pt x="0" y="28"/>
                  </a:lnTo>
                  <a:lnTo>
                    <a:pt x="0" y="23"/>
                  </a:lnTo>
                  <a:lnTo>
                    <a:pt x="0" y="18"/>
                  </a:lnTo>
                  <a:lnTo>
                    <a:pt x="1" y="15"/>
                  </a:lnTo>
                  <a:lnTo>
                    <a:pt x="4" y="10"/>
                  </a:lnTo>
                  <a:lnTo>
                    <a:pt x="6" y="7"/>
                  </a:lnTo>
                  <a:lnTo>
                    <a:pt x="10" y="4"/>
                  </a:lnTo>
                  <a:lnTo>
                    <a:pt x="13" y="2"/>
                  </a:lnTo>
                  <a:lnTo>
                    <a:pt x="18" y="0"/>
                  </a:lnTo>
                  <a:lnTo>
                    <a:pt x="23" y="0"/>
                  </a:lnTo>
                  <a:lnTo>
                    <a:pt x="483" y="0"/>
                  </a:lnTo>
                  <a:lnTo>
                    <a:pt x="488" y="0"/>
                  </a:lnTo>
                  <a:lnTo>
                    <a:pt x="493" y="2"/>
                  </a:lnTo>
                  <a:lnTo>
                    <a:pt x="497" y="4"/>
                  </a:lnTo>
                  <a:lnTo>
                    <a:pt x="500" y="7"/>
                  </a:lnTo>
                  <a:lnTo>
                    <a:pt x="503" y="10"/>
                  </a:lnTo>
                  <a:lnTo>
                    <a:pt x="505" y="15"/>
                  </a:lnTo>
                  <a:lnTo>
                    <a:pt x="506" y="18"/>
                  </a:lnTo>
                  <a:lnTo>
                    <a:pt x="506" y="23"/>
                  </a:lnTo>
                  <a:lnTo>
                    <a:pt x="506" y="28"/>
                  </a:lnTo>
                  <a:lnTo>
                    <a:pt x="505" y="32"/>
                  </a:lnTo>
                  <a:lnTo>
                    <a:pt x="503" y="35"/>
                  </a:lnTo>
                  <a:lnTo>
                    <a:pt x="500" y="39"/>
                  </a:lnTo>
                  <a:lnTo>
                    <a:pt x="497" y="42"/>
                  </a:lnTo>
                  <a:lnTo>
                    <a:pt x="493" y="44"/>
                  </a:lnTo>
                  <a:lnTo>
                    <a:pt x="488" y="45"/>
                  </a:lnTo>
                  <a:lnTo>
                    <a:pt x="48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38">
              <a:extLst>
                <a:ext uri="{FF2B5EF4-FFF2-40B4-BE49-F238E27FC236}">
                  <a16:creationId xmlns:a16="http://schemas.microsoft.com/office/drawing/2014/main" id="{691E9B3D-FA47-4E24-A2C7-74973D1D2FC5}"/>
                </a:ext>
              </a:extLst>
            </p:cNvPr>
            <p:cNvSpPr>
              <a:spLocks/>
            </p:cNvSpPr>
            <p:nvPr/>
          </p:nvSpPr>
          <p:spPr bwMode="auto">
            <a:xfrm>
              <a:off x="4937844" y="5240549"/>
              <a:ext cx="311150" cy="457200"/>
            </a:xfrm>
            <a:custGeom>
              <a:avLst/>
              <a:gdLst>
                <a:gd name="T0" fmla="*/ 24 w 784"/>
                <a:gd name="T1" fmla="*/ 1152 h 1152"/>
                <a:gd name="T2" fmla="*/ 15 w 784"/>
                <a:gd name="T3" fmla="*/ 1150 h 1152"/>
                <a:gd name="T4" fmla="*/ 8 w 784"/>
                <a:gd name="T5" fmla="*/ 1145 h 1152"/>
                <a:gd name="T6" fmla="*/ 3 w 784"/>
                <a:gd name="T7" fmla="*/ 1137 h 1152"/>
                <a:gd name="T8" fmla="*/ 0 w 784"/>
                <a:gd name="T9" fmla="*/ 1129 h 1152"/>
                <a:gd name="T10" fmla="*/ 1 w 784"/>
                <a:gd name="T11" fmla="*/ 203 h 1152"/>
                <a:gd name="T12" fmla="*/ 4 w 784"/>
                <a:gd name="T13" fmla="*/ 194 h 1152"/>
                <a:gd name="T14" fmla="*/ 192 w 784"/>
                <a:gd name="T15" fmla="*/ 6 h 1152"/>
                <a:gd name="T16" fmla="*/ 199 w 784"/>
                <a:gd name="T17" fmla="*/ 1 h 1152"/>
                <a:gd name="T18" fmla="*/ 208 w 784"/>
                <a:gd name="T19" fmla="*/ 0 h 1152"/>
                <a:gd name="T20" fmla="*/ 766 w 784"/>
                <a:gd name="T21" fmla="*/ 0 h 1152"/>
                <a:gd name="T22" fmla="*/ 774 w 784"/>
                <a:gd name="T23" fmla="*/ 4 h 1152"/>
                <a:gd name="T24" fmla="*/ 780 w 784"/>
                <a:gd name="T25" fmla="*/ 10 h 1152"/>
                <a:gd name="T26" fmla="*/ 783 w 784"/>
                <a:gd name="T27" fmla="*/ 19 h 1152"/>
                <a:gd name="T28" fmla="*/ 784 w 784"/>
                <a:gd name="T29" fmla="*/ 576 h 1152"/>
                <a:gd name="T30" fmla="*/ 782 w 784"/>
                <a:gd name="T31" fmla="*/ 585 h 1152"/>
                <a:gd name="T32" fmla="*/ 777 w 784"/>
                <a:gd name="T33" fmla="*/ 593 h 1152"/>
                <a:gd name="T34" fmla="*/ 769 w 784"/>
                <a:gd name="T35" fmla="*/ 598 h 1152"/>
                <a:gd name="T36" fmla="*/ 761 w 784"/>
                <a:gd name="T37" fmla="*/ 599 h 1152"/>
                <a:gd name="T38" fmla="*/ 752 w 784"/>
                <a:gd name="T39" fmla="*/ 598 h 1152"/>
                <a:gd name="T40" fmla="*/ 745 w 784"/>
                <a:gd name="T41" fmla="*/ 593 h 1152"/>
                <a:gd name="T42" fmla="*/ 740 w 784"/>
                <a:gd name="T43" fmla="*/ 585 h 1152"/>
                <a:gd name="T44" fmla="*/ 737 w 784"/>
                <a:gd name="T45" fmla="*/ 576 h 1152"/>
                <a:gd name="T46" fmla="*/ 217 w 784"/>
                <a:gd name="T47" fmla="*/ 46 h 1152"/>
                <a:gd name="T48" fmla="*/ 47 w 784"/>
                <a:gd name="T49" fmla="*/ 1105 h 1152"/>
                <a:gd name="T50" fmla="*/ 737 w 784"/>
                <a:gd name="T51" fmla="*/ 898 h 1152"/>
                <a:gd name="T52" fmla="*/ 740 w 784"/>
                <a:gd name="T53" fmla="*/ 890 h 1152"/>
                <a:gd name="T54" fmla="*/ 745 w 784"/>
                <a:gd name="T55" fmla="*/ 882 h 1152"/>
                <a:gd name="T56" fmla="*/ 752 w 784"/>
                <a:gd name="T57" fmla="*/ 877 h 1152"/>
                <a:gd name="T58" fmla="*/ 761 w 784"/>
                <a:gd name="T59" fmla="*/ 875 h 1152"/>
                <a:gd name="T60" fmla="*/ 769 w 784"/>
                <a:gd name="T61" fmla="*/ 877 h 1152"/>
                <a:gd name="T62" fmla="*/ 777 w 784"/>
                <a:gd name="T63" fmla="*/ 882 h 1152"/>
                <a:gd name="T64" fmla="*/ 782 w 784"/>
                <a:gd name="T65" fmla="*/ 890 h 1152"/>
                <a:gd name="T66" fmla="*/ 784 w 784"/>
                <a:gd name="T67" fmla="*/ 898 h 1152"/>
                <a:gd name="T68" fmla="*/ 783 w 784"/>
                <a:gd name="T69" fmla="*/ 1134 h 1152"/>
                <a:gd name="T70" fmla="*/ 780 w 784"/>
                <a:gd name="T71" fmla="*/ 1142 h 1152"/>
                <a:gd name="T72" fmla="*/ 774 w 784"/>
                <a:gd name="T73" fmla="*/ 1148 h 1152"/>
                <a:gd name="T74" fmla="*/ 766 w 784"/>
                <a:gd name="T75" fmla="*/ 115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4" h="1152">
                  <a:moveTo>
                    <a:pt x="761" y="1152"/>
                  </a:moveTo>
                  <a:lnTo>
                    <a:pt x="24" y="1152"/>
                  </a:lnTo>
                  <a:lnTo>
                    <a:pt x="19" y="1151"/>
                  </a:lnTo>
                  <a:lnTo>
                    <a:pt x="15" y="1150"/>
                  </a:lnTo>
                  <a:lnTo>
                    <a:pt x="10" y="1148"/>
                  </a:lnTo>
                  <a:lnTo>
                    <a:pt x="8" y="1145"/>
                  </a:lnTo>
                  <a:lnTo>
                    <a:pt x="4" y="1142"/>
                  </a:lnTo>
                  <a:lnTo>
                    <a:pt x="3" y="1137"/>
                  </a:lnTo>
                  <a:lnTo>
                    <a:pt x="1" y="1134"/>
                  </a:lnTo>
                  <a:lnTo>
                    <a:pt x="0" y="1129"/>
                  </a:lnTo>
                  <a:lnTo>
                    <a:pt x="0" y="208"/>
                  </a:lnTo>
                  <a:lnTo>
                    <a:pt x="1" y="203"/>
                  </a:lnTo>
                  <a:lnTo>
                    <a:pt x="3" y="199"/>
                  </a:lnTo>
                  <a:lnTo>
                    <a:pt x="4" y="194"/>
                  </a:lnTo>
                  <a:lnTo>
                    <a:pt x="8" y="190"/>
                  </a:lnTo>
                  <a:lnTo>
                    <a:pt x="192" y="6"/>
                  </a:lnTo>
                  <a:lnTo>
                    <a:pt x="195" y="4"/>
                  </a:lnTo>
                  <a:lnTo>
                    <a:pt x="199" y="1"/>
                  </a:lnTo>
                  <a:lnTo>
                    <a:pt x="204" y="0"/>
                  </a:lnTo>
                  <a:lnTo>
                    <a:pt x="208" y="0"/>
                  </a:lnTo>
                  <a:lnTo>
                    <a:pt x="761" y="0"/>
                  </a:lnTo>
                  <a:lnTo>
                    <a:pt x="766" y="0"/>
                  </a:lnTo>
                  <a:lnTo>
                    <a:pt x="769" y="1"/>
                  </a:lnTo>
                  <a:lnTo>
                    <a:pt x="774" y="4"/>
                  </a:lnTo>
                  <a:lnTo>
                    <a:pt x="777" y="6"/>
                  </a:lnTo>
                  <a:lnTo>
                    <a:pt x="780" y="10"/>
                  </a:lnTo>
                  <a:lnTo>
                    <a:pt x="782" y="14"/>
                  </a:lnTo>
                  <a:lnTo>
                    <a:pt x="783" y="19"/>
                  </a:lnTo>
                  <a:lnTo>
                    <a:pt x="784" y="24"/>
                  </a:lnTo>
                  <a:lnTo>
                    <a:pt x="784" y="576"/>
                  </a:lnTo>
                  <a:lnTo>
                    <a:pt x="783" y="580"/>
                  </a:lnTo>
                  <a:lnTo>
                    <a:pt x="782" y="585"/>
                  </a:lnTo>
                  <a:lnTo>
                    <a:pt x="780" y="589"/>
                  </a:lnTo>
                  <a:lnTo>
                    <a:pt x="777" y="593"/>
                  </a:lnTo>
                  <a:lnTo>
                    <a:pt x="774" y="595"/>
                  </a:lnTo>
                  <a:lnTo>
                    <a:pt x="769" y="598"/>
                  </a:lnTo>
                  <a:lnTo>
                    <a:pt x="766" y="599"/>
                  </a:lnTo>
                  <a:lnTo>
                    <a:pt x="761" y="599"/>
                  </a:lnTo>
                  <a:lnTo>
                    <a:pt x="756" y="599"/>
                  </a:lnTo>
                  <a:lnTo>
                    <a:pt x="752" y="598"/>
                  </a:lnTo>
                  <a:lnTo>
                    <a:pt x="748" y="595"/>
                  </a:lnTo>
                  <a:lnTo>
                    <a:pt x="745" y="593"/>
                  </a:lnTo>
                  <a:lnTo>
                    <a:pt x="741" y="589"/>
                  </a:lnTo>
                  <a:lnTo>
                    <a:pt x="740" y="585"/>
                  </a:lnTo>
                  <a:lnTo>
                    <a:pt x="739" y="580"/>
                  </a:lnTo>
                  <a:lnTo>
                    <a:pt x="737" y="576"/>
                  </a:lnTo>
                  <a:lnTo>
                    <a:pt x="737" y="46"/>
                  </a:lnTo>
                  <a:lnTo>
                    <a:pt x="217" y="46"/>
                  </a:lnTo>
                  <a:lnTo>
                    <a:pt x="47" y="217"/>
                  </a:lnTo>
                  <a:lnTo>
                    <a:pt x="47" y="1105"/>
                  </a:lnTo>
                  <a:lnTo>
                    <a:pt x="737" y="1105"/>
                  </a:lnTo>
                  <a:lnTo>
                    <a:pt x="737" y="898"/>
                  </a:lnTo>
                  <a:lnTo>
                    <a:pt x="739" y="893"/>
                  </a:lnTo>
                  <a:lnTo>
                    <a:pt x="740" y="890"/>
                  </a:lnTo>
                  <a:lnTo>
                    <a:pt x="741" y="886"/>
                  </a:lnTo>
                  <a:lnTo>
                    <a:pt x="745" y="882"/>
                  </a:lnTo>
                  <a:lnTo>
                    <a:pt x="748" y="880"/>
                  </a:lnTo>
                  <a:lnTo>
                    <a:pt x="752" y="877"/>
                  </a:lnTo>
                  <a:lnTo>
                    <a:pt x="756" y="876"/>
                  </a:lnTo>
                  <a:lnTo>
                    <a:pt x="761" y="875"/>
                  </a:lnTo>
                  <a:lnTo>
                    <a:pt x="766" y="876"/>
                  </a:lnTo>
                  <a:lnTo>
                    <a:pt x="769" y="877"/>
                  </a:lnTo>
                  <a:lnTo>
                    <a:pt x="774" y="880"/>
                  </a:lnTo>
                  <a:lnTo>
                    <a:pt x="777" y="882"/>
                  </a:lnTo>
                  <a:lnTo>
                    <a:pt x="780" y="886"/>
                  </a:lnTo>
                  <a:lnTo>
                    <a:pt x="782" y="890"/>
                  </a:lnTo>
                  <a:lnTo>
                    <a:pt x="783" y="893"/>
                  </a:lnTo>
                  <a:lnTo>
                    <a:pt x="784" y="898"/>
                  </a:lnTo>
                  <a:lnTo>
                    <a:pt x="784" y="1129"/>
                  </a:lnTo>
                  <a:lnTo>
                    <a:pt x="783" y="1134"/>
                  </a:lnTo>
                  <a:lnTo>
                    <a:pt x="782" y="1137"/>
                  </a:lnTo>
                  <a:lnTo>
                    <a:pt x="780" y="1142"/>
                  </a:lnTo>
                  <a:lnTo>
                    <a:pt x="777" y="1145"/>
                  </a:lnTo>
                  <a:lnTo>
                    <a:pt x="774" y="1148"/>
                  </a:lnTo>
                  <a:lnTo>
                    <a:pt x="769" y="1150"/>
                  </a:lnTo>
                  <a:lnTo>
                    <a:pt x="766" y="1151"/>
                  </a:lnTo>
                  <a:lnTo>
                    <a:pt x="761" y="1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39">
              <a:extLst>
                <a:ext uri="{FF2B5EF4-FFF2-40B4-BE49-F238E27FC236}">
                  <a16:creationId xmlns:a16="http://schemas.microsoft.com/office/drawing/2014/main" id="{379A1E1D-EBBC-4B70-AA9B-ED8CE1B11A18}"/>
                </a:ext>
              </a:extLst>
            </p:cNvPr>
            <p:cNvSpPr>
              <a:spLocks/>
            </p:cNvSpPr>
            <p:nvPr/>
          </p:nvSpPr>
          <p:spPr bwMode="auto">
            <a:xfrm>
              <a:off x="4937844" y="5240549"/>
              <a:ext cx="90488" cy="90488"/>
            </a:xfrm>
            <a:custGeom>
              <a:avLst/>
              <a:gdLst>
                <a:gd name="T0" fmla="*/ 208 w 231"/>
                <a:gd name="T1" fmla="*/ 231 h 231"/>
                <a:gd name="T2" fmla="*/ 24 w 231"/>
                <a:gd name="T3" fmla="*/ 231 h 231"/>
                <a:gd name="T4" fmla="*/ 19 w 231"/>
                <a:gd name="T5" fmla="*/ 230 h 231"/>
                <a:gd name="T6" fmla="*/ 15 w 231"/>
                <a:gd name="T7" fmla="*/ 228 h 231"/>
                <a:gd name="T8" fmla="*/ 10 w 231"/>
                <a:gd name="T9" fmla="*/ 226 h 231"/>
                <a:gd name="T10" fmla="*/ 8 w 231"/>
                <a:gd name="T11" fmla="*/ 223 h 231"/>
                <a:gd name="T12" fmla="*/ 4 w 231"/>
                <a:gd name="T13" fmla="*/ 220 h 231"/>
                <a:gd name="T14" fmla="*/ 3 w 231"/>
                <a:gd name="T15" fmla="*/ 216 h 231"/>
                <a:gd name="T16" fmla="*/ 1 w 231"/>
                <a:gd name="T17" fmla="*/ 212 h 231"/>
                <a:gd name="T18" fmla="*/ 0 w 231"/>
                <a:gd name="T19" fmla="*/ 208 h 231"/>
                <a:gd name="T20" fmla="*/ 1 w 231"/>
                <a:gd name="T21" fmla="*/ 203 h 231"/>
                <a:gd name="T22" fmla="*/ 3 w 231"/>
                <a:gd name="T23" fmla="*/ 198 h 231"/>
                <a:gd name="T24" fmla="*/ 4 w 231"/>
                <a:gd name="T25" fmla="*/ 194 h 231"/>
                <a:gd name="T26" fmla="*/ 8 w 231"/>
                <a:gd name="T27" fmla="*/ 190 h 231"/>
                <a:gd name="T28" fmla="*/ 10 w 231"/>
                <a:gd name="T29" fmla="*/ 188 h 231"/>
                <a:gd name="T30" fmla="*/ 15 w 231"/>
                <a:gd name="T31" fmla="*/ 185 h 231"/>
                <a:gd name="T32" fmla="*/ 19 w 231"/>
                <a:gd name="T33" fmla="*/ 184 h 231"/>
                <a:gd name="T34" fmla="*/ 24 w 231"/>
                <a:gd name="T35" fmla="*/ 184 h 231"/>
                <a:gd name="T36" fmla="*/ 184 w 231"/>
                <a:gd name="T37" fmla="*/ 184 h 231"/>
                <a:gd name="T38" fmla="*/ 184 w 231"/>
                <a:gd name="T39" fmla="*/ 24 h 231"/>
                <a:gd name="T40" fmla="*/ 185 w 231"/>
                <a:gd name="T41" fmla="*/ 19 h 231"/>
                <a:gd name="T42" fmla="*/ 187 w 231"/>
                <a:gd name="T43" fmla="*/ 14 h 231"/>
                <a:gd name="T44" fmla="*/ 189 w 231"/>
                <a:gd name="T45" fmla="*/ 10 h 231"/>
                <a:gd name="T46" fmla="*/ 192 w 231"/>
                <a:gd name="T47" fmla="*/ 6 h 231"/>
                <a:gd name="T48" fmla="*/ 195 w 231"/>
                <a:gd name="T49" fmla="*/ 4 h 231"/>
                <a:gd name="T50" fmla="*/ 199 w 231"/>
                <a:gd name="T51" fmla="*/ 1 h 231"/>
                <a:gd name="T52" fmla="*/ 203 w 231"/>
                <a:gd name="T53" fmla="*/ 0 h 231"/>
                <a:gd name="T54" fmla="*/ 208 w 231"/>
                <a:gd name="T55" fmla="*/ 0 h 231"/>
                <a:gd name="T56" fmla="*/ 212 w 231"/>
                <a:gd name="T57" fmla="*/ 0 h 231"/>
                <a:gd name="T58" fmla="*/ 217 w 231"/>
                <a:gd name="T59" fmla="*/ 1 h 231"/>
                <a:gd name="T60" fmla="*/ 221 w 231"/>
                <a:gd name="T61" fmla="*/ 4 h 231"/>
                <a:gd name="T62" fmla="*/ 225 w 231"/>
                <a:gd name="T63" fmla="*/ 6 h 231"/>
                <a:gd name="T64" fmla="*/ 227 w 231"/>
                <a:gd name="T65" fmla="*/ 10 h 231"/>
                <a:gd name="T66" fmla="*/ 230 w 231"/>
                <a:gd name="T67" fmla="*/ 14 h 231"/>
                <a:gd name="T68" fmla="*/ 231 w 231"/>
                <a:gd name="T69" fmla="*/ 19 h 231"/>
                <a:gd name="T70" fmla="*/ 231 w 231"/>
                <a:gd name="T71" fmla="*/ 24 h 231"/>
                <a:gd name="T72" fmla="*/ 231 w 231"/>
                <a:gd name="T73" fmla="*/ 208 h 231"/>
                <a:gd name="T74" fmla="*/ 231 w 231"/>
                <a:gd name="T75" fmla="*/ 212 h 231"/>
                <a:gd name="T76" fmla="*/ 230 w 231"/>
                <a:gd name="T77" fmla="*/ 216 h 231"/>
                <a:gd name="T78" fmla="*/ 227 w 231"/>
                <a:gd name="T79" fmla="*/ 220 h 231"/>
                <a:gd name="T80" fmla="*/ 225 w 231"/>
                <a:gd name="T81" fmla="*/ 223 h 231"/>
                <a:gd name="T82" fmla="*/ 221 w 231"/>
                <a:gd name="T83" fmla="*/ 226 h 231"/>
                <a:gd name="T84" fmla="*/ 217 w 231"/>
                <a:gd name="T85" fmla="*/ 228 h 231"/>
                <a:gd name="T86" fmla="*/ 212 w 231"/>
                <a:gd name="T87" fmla="*/ 230 h 231"/>
                <a:gd name="T88" fmla="*/ 208 w 231"/>
                <a:gd name="T89"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1" h="231">
                  <a:moveTo>
                    <a:pt x="208" y="231"/>
                  </a:moveTo>
                  <a:lnTo>
                    <a:pt x="24" y="231"/>
                  </a:lnTo>
                  <a:lnTo>
                    <a:pt x="19" y="230"/>
                  </a:lnTo>
                  <a:lnTo>
                    <a:pt x="15" y="228"/>
                  </a:lnTo>
                  <a:lnTo>
                    <a:pt x="10" y="226"/>
                  </a:lnTo>
                  <a:lnTo>
                    <a:pt x="8" y="223"/>
                  </a:lnTo>
                  <a:lnTo>
                    <a:pt x="4" y="220"/>
                  </a:lnTo>
                  <a:lnTo>
                    <a:pt x="3" y="216"/>
                  </a:lnTo>
                  <a:lnTo>
                    <a:pt x="1" y="212"/>
                  </a:lnTo>
                  <a:lnTo>
                    <a:pt x="0" y="208"/>
                  </a:lnTo>
                  <a:lnTo>
                    <a:pt x="1" y="203"/>
                  </a:lnTo>
                  <a:lnTo>
                    <a:pt x="3" y="198"/>
                  </a:lnTo>
                  <a:lnTo>
                    <a:pt x="4" y="194"/>
                  </a:lnTo>
                  <a:lnTo>
                    <a:pt x="8" y="190"/>
                  </a:lnTo>
                  <a:lnTo>
                    <a:pt x="10" y="188"/>
                  </a:lnTo>
                  <a:lnTo>
                    <a:pt x="15" y="185"/>
                  </a:lnTo>
                  <a:lnTo>
                    <a:pt x="19" y="184"/>
                  </a:lnTo>
                  <a:lnTo>
                    <a:pt x="24" y="184"/>
                  </a:lnTo>
                  <a:lnTo>
                    <a:pt x="184" y="184"/>
                  </a:lnTo>
                  <a:lnTo>
                    <a:pt x="184" y="24"/>
                  </a:lnTo>
                  <a:lnTo>
                    <a:pt x="185" y="19"/>
                  </a:lnTo>
                  <a:lnTo>
                    <a:pt x="187" y="14"/>
                  </a:lnTo>
                  <a:lnTo>
                    <a:pt x="189" y="10"/>
                  </a:lnTo>
                  <a:lnTo>
                    <a:pt x="192" y="6"/>
                  </a:lnTo>
                  <a:lnTo>
                    <a:pt x="195" y="4"/>
                  </a:lnTo>
                  <a:lnTo>
                    <a:pt x="199" y="1"/>
                  </a:lnTo>
                  <a:lnTo>
                    <a:pt x="203" y="0"/>
                  </a:lnTo>
                  <a:lnTo>
                    <a:pt x="208" y="0"/>
                  </a:lnTo>
                  <a:lnTo>
                    <a:pt x="212" y="0"/>
                  </a:lnTo>
                  <a:lnTo>
                    <a:pt x="217" y="1"/>
                  </a:lnTo>
                  <a:lnTo>
                    <a:pt x="221" y="4"/>
                  </a:lnTo>
                  <a:lnTo>
                    <a:pt x="225" y="6"/>
                  </a:lnTo>
                  <a:lnTo>
                    <a:pt x="227" y="10"/>
                  </a:lnTo>
                  <a:lnTo>
                    <a:pt x="230" y="14"/>
                  </a:lnTo>
                  <a:lnTo>
                    <a:pt x="231" y="19"/>
                  </a:lnTo>
                  <a:lnTo>
                    <a:pt x="231" y="24"/>
                  </a:lnTo>
                  <a:lnTo>
                    <a:pt x="231" y="208"/>
                  </a:lnTo>
                  <a:lnTo>
                    <a:pt x="231" y="212"/>
                  </a:lnTo>
                  <a:lnTo>
                    <a:pt x="230" y="216"/>
                  </a:lnTo>
                  <a:lnTo>
                    <a:pt x="227" y="220"/>
                  </a:lnTo>
                  <a:lnTo>
                    <a:pt x="225" y="223"/>
                  </a:lnTo>
                  <a:lnTo>
                    <a:pt x="221" y="226"/>
                  </a:lnTo>
                  <a:lnTo>
                    <a:pt x="217" y="228"/>
                  </a:lnTo>
                  <a:lnTo>
                    <a:pt x="212" y="230"/>
                  </a:lnTo>
                  <a:lnTo>
                    <a:pt x="20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40">
              <a:extLst>
                <a:ext uri="{FF2B5EF4-FFF2-40B4-BE49-F238E27FC236}">
                  <a16:creationId xmlns:a16="http://schemas.microsoft.com/office/drawing/2014/main" id="{25AB3245-010F-4459-920E-A39090A0E59E}"/>
                </a:ext>
              </a:extLst>
            </p:cNvPr>
            <p:cNvSpPr>
              <a:spLocks/>
            </p:cNvSpPr>
            <p:nvPr/>
          </p:nvSpPr>
          <p:spPr bwMode="auto">
            <a:xfrm>
              <a:off x="5047382" y="5550111"/>
              <a:ext cx="165100" cy="74613"/>
            </a:xfrm>
            <a:custGeom>
              <a:avLst/>
              <a:gdLst>
                <a:gd name="T0" fmla="*/ 300 w 415"/>
                <a:gd name="T1" fmla="*/ 185 h 185"/>
                <a:gd name="T2" fmla="*/ 290 w 415"/>
                <a:gd name="T3" fmla="*/ 183 h 185"/>
                <a:gd name="T4" fmla="*/ 283 w 415"/>
                <a:gd name="T5" fmla="*/ 178 h 185"/>
                <a:gd name="T6" fmla="*/ 278 w 415"/>
                <a:gd name="T7" fmla="*/ 170 h 185"/>
                <a:gd name="T8" fmla="*/ 276 w 415"/>
                <a:gd name="T9" fmla="*/ 162 h 185"/>
                <a:gd name="T10" fmla="*/ 218 w 415"/>
                <a:gd name="T11" fmla="*/ 183 h 185"/>
                <a:gd name="T12" fmla="*/ 204 w 415"/>
                <a:gd name="T13" fmla="*/ 184 h 185"/>
                <a:gd name="T14" fmla="*/ 192 w 415"/>
                <a:gd name="T15" fmla="*/ 179 h 185"/>
                <a:gd name="T16" fmla="*/ 186 w 415"/>
                <a:gd name="T17" fmla="*/ 168 h 185"/>
                <a:gd name="T18" fmla="*/ 186 w 415"/>
                <a:gd name="T19" fmla="*/ 154 h 185"/>
                <a:gd name="T20" fmla="*/ 202 w 415"/>
                <a:gd name="T21" fmla="*/ 91 h 185"/>
                <a:gd name="T22" fmla="*/ 205 w 415"/>
                <a:gd name="T23" fmla="*/ 64 h 185"/>
                <a:gd name="T24" fmla="*/ 204 w 415"/>
                <a:gd name="T25" fmla="*/ 46 h 185"/>
                <a:gd name="T26" fmla="*/ 177 w 415"/>
                <a:gd name="T27" fmla="*/ 60 h 185"/>
                <a:gd name="T28" fmla="*/ 138 w 415"/>
                <a:gd name="T29" fmla="*/ 89 h 185"/>
                <a:gd name="T30" fmla="*/ 90 w 415"/>
                <a:gd name="T31" fmla="*/ 130 h 185"/>
                <a:gd name="T32" fmla="*/ 40 w 415"/>
                <a:gd name="T33" fmla="*/ 178 h 185"/>
                <a:gd name="T34" fmla="*/ 31 w 415"/>
                <a:gd name="T35" fmla="*/ 183 h 185"/>
                <a:gd name="T36" fmla="*/ 23 w 415"/>
                <a:gd name="T37" fmla="*/ 185 h 185"/>
                <a:gd name="T38" fmla="*/ 14 w 415"/>
                <a:gd name="T39" fmla="*/ 183 h 185"/>
                <a:gd name="T40" fmla="*/ 7 w 415"/>
                <a:gd name="T41" fmla="*/ 178 h 185"/>
                <a:gd name="T42" fmla="*/ 2 w 415"/>
                <a:gd name="T43" fmla="*/ 170 h 185"/>
                <a:gd name="T44" fmla="*/ 0 w 415"/>
                <a:gd name="T45" fmla="*/ 162 h 185"/>
                <a:gd name="T46" fmla="*/ 2 w 415"/>
                <a:gd name="T47" fmla="*/ 153 h 185"/>
                <a:gd name="T48" fmla="*/ 7 w 415"/>
                <a:gd name="T49" fmla="*/ 146 h 185"/>
                <a:gd name="T50" fmla="*/ 45 w 415"/>
                <a:gd name="T51" fmla="*/ 108 h 185"/>
                <a:gd name="T52" fmla="*/ 100 w 415"/>
                <a:gd name="T53" fmla="*/ 60 h 185"/>
                <a:gd name="T54" fmla="*/ 130 w 415"/>
                <a:gd name="T55" fmla="*/ 37 h 185"/>
                <a:gd name="T56" fmla="*/ 159 w 415"/>
                <a:gd name="T57" fmla="*/ 18 h 185"/>
                <a:gd name="T58" fmla="*/ 186 w 415"/>
                <a:gd name="T59" fmla="*/ 5 h 185"/>
                <a:gd name="T60" fmla="*/ 208 w 415"/>
                <a:gd name="T61" fmla="*/ 0 h 185"/>
                <a:gd name="T62" fmla="*/ 226 w 415"/>
                <a:gd name="T63" fmla="*/ 5 h 185"/>
                <a:gd name="T64" fmla="*/ 240 w 415"/>
                <a:gd name="T65" fmla="*/ 17 h 185"/>
                <a:gd name="T66" fmla="*/ 248 w 415"/>
                <a:gd name="T67" fmla="*/ 37 h 185"/>
                <a:gd name="T68" fmla="*/ 251 w 415"/>
                <a:gd name="T69" fmla="*/ 61 h 185"/>
                <a:gd name="T70" fmla="*/ 248 w 415"/>
                <a:gd name="T71" fmla="*/ 89 h 185"/>
                <a:gd name="T72" fmla="*/ 243 w 415"/>
                <a:gd name="T73" fmla="*/ 118 h 185"/>
                <a:gd name="T74" fmla="*/ 295 w 415"/>
                <a:gd name="T75" fmla="*/ 93 h 185"/>
                <a:gd name="T76" fmla="*/ 306 w 415"/>
                <a:gd name="T77" fmla="*/ 93 h 185"/>
                <a:gd name="T78" fmla="*/ 316 w 415"/>
                <a:gd name="T79" fmla="*/ 99 h 185"/>
                <a:gd name="T80" fmla="*/ 322 w 415"/>
                <a:gd name="T81" fmla="*/ 109 h 185"/>
                <a:gd name="T82" fmla="*/ 323 w 415"/>
                <a:gd name="T83" fmla="*/ 138 h 185"/>
                <a:gd name="T84" fmla="*/ 397 w 415"/>
                <a:gd name="T85" fmla="*/ 138 h 185"/>
                <a:gd name="T86" fmla="*/ 404 w 415"/>
                <a:gd name="T87" fmla="*/ 142 h 185"/>
                <a:gd name="T88" fmla="*/ 410 w 415"/>
                <a:gd name="T89" fmla="*/ 148 h 185"/>
                <a:gd name="T90" fmla="*/ 414 w 415"/>
                <a:gd name="T91" fmla="*/ 157 h 185"/>
                <a:gd name="T92" fmla="*/ 414 w 415"/>
                <a:gd name="T93" fmla="*/ 167 h 185"/>
                <a:gd name="T94" fmla="*/ 410 w 415"/>
                <a:gd name="T95" fmla="*/ 174 h 185"/>
                <a:gd name="T96" fmla="*/ 404 w 415"/>
                <a:gd name="T97" fmla="*/ 180 h 185"/>
                <a:gd name="T98" fmla="*/ 397 w 415"/>
                <a:gd name="T99"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185">
                  <a:moveTo>
                    <a:pt x="392" y="185"/>
                  </a:moveTo>
                  <a:lnTo>
                    <a:pt x="300" y="185"/>
                  </a:lnTo>
                  <a:lnTo>
                    <a:pt x="295" y="184"/>
                  </a:lnTo>
                  <a:lnTo>
                    <a:pt x="290" y="183"/>
                  </a:lnTo>
                  <a:lnTo>
                    <a:pt x="286" y="180"/>
                  </a:lnTo>
                  <a:lnTo>
                    <a:pt x="283" y="178"/>
                  </a:lnTo>
                  <a:lnTo>
                    <a:pt x="280" y="174"/>
                  </a:lnTo>
                  <a:lnTo>
                    <a:pt x="278" y="170"/>
                  </a:lnTo>
                  <a:lnTo>
                    <a:pt x="276" y="167"/>
                  </a:lnTo>
                  <a:lnTo>
                    <a:pt x="276" y="162"/>
                  </a:lnTo>
                  <a:lnTo>
                    <a:pt x="276" y="153"/>
                  </a:lnTo>
                  <a:lnTo>
                    <a:pt x="218" y="183"/>
                  </a:lnTo>
                  <a:lnTo>
                    <a:pt x="211" y="184"/>
                  </a:lnTo>
                  <a:lnTo>
                    <a:pt x="204" y="184"/>
                  </a:lnTo>
                  <a:lnTo>
                    <a:pt x="198" y="183"/>
                  </a:lnTo>
                  <a:lnTo>
                    <a:pt x="192" y="179"/>
                  </a:lnTo>
                  <a:lnTo>
                    <a:pt x="188" y="174"/>
                  </a:lnTo>
                  <a:lnTo>
                    <a:pt x="186" y="168"/>
                  </a:lnTo>
                  <a:lnTo>
                    <a:pt x="184" y="161"/>
                  </a:lnTo>
                  <a:lnTo>
                    <a:pt x="186" y="154"/>
                  </a:lnTo>
                  <a:lnTo>
                    <a:pt x="195" y="121"/>
                  </a:lnTo>
                  <a:lnTo>
                    <a:pt x="202" y="91"/>
                  </a:lnTo>
                  <a:lnTo>
                    <a:pt x="204" y="76"/>
                  </a:lnTo>
                  <a:lnTo>
                    <a:pt x="205" y="64"/>
                  </a:lnTo>
                  <a:lnTo>
                    <a:pt x="205" y="54"/>
                  </a:lnTo>
                  <a:lnTo>
                    <a:pt x="204" y="46"/>
                  </a:lnTo>
                  <a:lnTo>
                    <a:pt x="193" y="51"/>
                  </a:lnTo>
                  <a:lnTo>
                    <a:pt x="177" y="60"/>
                  </a:lnTo>
                  <a:lnTo>
                    <a:pt x="159" y="73"/>
                  </a:lnTo>
                  <a:lnTo>
                    <a:pt x="138" y="89"/>
                  </a:lnTo>
                  <a:lnTo>
                    <a:pt x="115" y="108"/>
                  </a:lnTo>
                  <a:lnTo>
                    <a:pt x="90" y="130"/>
                  </a:lnTo>
                  <a:lnTo>
                    <a:pt x="64" y="153"/>
                  </a:lnTo>
                  <a:lnTo>
                    <a:pt x="40" y="178"/>
                  </a:lnTo>
                  <a:lnTo>
                    <a:pt x="36" y="181"/>
                  </a:lnTo>
                  <a:lnTo>
                    <a:pt x="31" y="183"/>
                  </a:lnTo>
                  <a:lnTo>
                    <a:pt x="27" y="184"/>
                  </a:lnTo>
                  <a:lnTo>
                    <a:pt x="23" y="185"/>
                  </a:lnTo>
                  <a:lnTo>
                    <a:pt x="19" y="184"/>
                  </a:lnTo>
                  <a:lnTo>
                    <a:pt x="14" y="183"/>
                  </a:lnTo>
                  <a:lnTo>
                    <a:pt x="10" y="181"/>
                  </a:lnTo>
                  <a:lnTo>
                    <a:pt x="7" y="178"/>
                  </a:lnTo>
                  <a:lnTo>
                    <a:pt x="4" y="174"/>
                  </a:lnTo>
                  <a:lnTo>
                    <a:pt x="2" y="170"/>
                  </a:lnTo>
                  <a:lnTo>
                    <a:pt x="0" y="165"/>
                  </a:lnTo>
                  <a:lnTo>
                    <a:pt x="0" y="162"/>
                  </a:lnTo>
                  <a:lnTo>
                    <a:pt x="0" y="157"/>
                  </a:lnTo>
                  <a:lnTo>
                    <a:pt x="2" y="153"/>
                  </a:lnTo>
                  <a:lnTo>
                    <a:pt x="4" y="148"/>
                  </a:lnTo>
                  <a:lnTo>
                    <a:pt x="7" y="146"/>
                  </a:lnTo>
                  <a:lnTo>
                    <a:pt x="23" y="129"/>
                  </a:lnTo>
                  <a:lnTo>
                    <a:pt x="45" y="108"/>
                  </a:lnTo>
                  <a:lnTo>
                    <a:pt x="72" y="84"/>
                  </a:lnTo>
                  <a:lnTo>
                    <a:pt x="100" y="60"/>
                  </a:lnTo>
                  <a:lnTo>
                    <a:pt x="116" y="48"/>
                  </a:lnTo>
                  <a:lnTo>
                    <a:pt x="130" y="37"/>
                  </a:lnTo>
                  <a:lnTo>
                    <a:pt x="145" y="27"/>
                  </a:lnTo>
                  <a:lnTo>
                    <a:pt x="159" y="18"/>
                  </a:lnTo>
                  <a:lnTo>
                    <a:pt x="172" y="11"/>
                  </a:lnTo>
                  <a:lnTo>
                    <a:pt x="186" y="5"/>
                  </a:lnTo>
                  <a:lnTo>
                    <a:pt x="197" y="1"/>
                  </a:lnTo>
                  <a:lnTo>
                    <a:pt x="208" y="0"/>
                  </a:lnTo>
                  <a:lnTo>
                    <a:pt x="218" y="1"/>
                  </a:lnTo>
                  <a:lnTo>
                    <a:pt x="226" y="5"/>
                  </a:lnTo>
                  <a:lnTo>
                    <a:pt x="233" y="10"/>
                  </a:lnTo>
                  <a:lnTo>
                    <a:pt x="240" y="17"/>
                  </a:lnTo>
                  <a:lnTo>
                    <a:pt x="245" y="26"/>
                  </a:lnTo>
                  <a:lnTo>
                    <a:pt x="248" y="37"/>
                  </a:lnTo>
                  <a:lnTo>
                    <a:pt x="251" y="49"/>
                  </a:lnTo>
                  <a:lnTo>
                    <a:pt x="251" y="61"/>
                  </a:lnTo>
                  <a:lnTo>
                    <a:pt x="251" y="76"/>
                  </a:lnTo>
                  <a:lnTo>
                    <a:pt x="248" y="89"/>
                  </a:lnTo>
                  <a:lnTo>
                    <a:pt x="246" y="104"/>
                  </a:lnTo>
                  <a:lnTo>
                    <a:pt x="243" y="118"/>
                  </a:lnTo>
                  <a:lnTo>
                    <a:pt x="289" y="94"/>
                  </a:lnTo>
                  <a:lnTo>
                    <a:pt x="295" y="93"/>
                  </a:lnTo>
                  <a:lnTo>
                    <a:pt x="301" y="92"/>
                  </a:lnTo>
                  <a:lnTo>
                    <a:pt x="306" y="93"/>
                  </a:lnTo>
                  <a:lnTo>
                    <a:pt x="312" y="96"/>
                  </a:lnTo>
                  <a:lnTo>
                    <a:pt x="316" y="99"/>
                  </a:lnTo>
                  <a:lnTo>
                    <a:pt x="319" y="104"/>
                  </a:lnTo>
                  <a:lnTo>
                    <a:pt x="322" y="109"/>
                  </a:lnTo>
                  <a:lnTo>
                    <a:pt x="323" y="115"/>
                  </a:lnTo>
                  <a:lnTo>
                    <a:pt x="323" y="138"/>
                  </a:lnTo>
                  <a:lnTo>
                    <a:pt x="392" y="138"/>
                  </a:lnTo>
                  <a:lnTo>
                    <a:pt x="397" y="138"/>
                  </a:lnTo>
                  <a:lnTo>
                    <a:pt x="400" y="141"/>
                  </a:lnTo>
                  <a:lnTo>
                    <a:pt x="404" y="142"/>
                  </a:lnTo>
                  <a:lnTo>
                    <a:pt x="408" y="146"/>
                  </a:lnTo>
                  <a:lnTo>
                    <a:pt x="410" y="148"/>
                  </a:lnTo>
                  <a:lnTo>
                    <a:pt x="413" y="153"/>
                  </a:lnTo>
                  <a:lnTo>
                    <a:pt x="414" y="157"/>
                  </a:lnTo>
                  <a:lnTo>
                    <a:pt x="415" y="162"/>
                  </a:lnTo>
                  <a:lnTo>
                    <a:pt x="414" y="167"/>
                  </a:lnTo>
                  <a:lnTo>
                    <a:pt x="413" y="170"/>
                  </a:lnTo>
                  <a:lnTo>
                    <a:pt x="410" y="174"/>
                  </a:lnTo>
                  <a:lnTo>
                    <a:pt x="408" y="178"/>
                  </a:lnTo>
                  <a:lnTo>
                    <a:pt x="404" y="180"/>
                  </a:lnTo>
                  <a:lnTo>
                    <a:pt x="400" y="183"/>
                  </a:lnTo>
                  <a:lnTo>
                    <a:pt x="397" y="184"/>
                  </a:lnTo>
                  <a:lnTo>
                    <a:pt x="392"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41">
              <a:extLst>
                <a:ext uri="{FF2B5EF4-FFF2-40B4-BE49-F238E27FC236}">
                  <a16:creationId xmlns:a16="http://schemas.microsoft.com/office/drawing/2014/main" id="{E38308D9-5229-4442-9F8C-6CD925504EAD}"/>
                </a:ext>
              </a:extLst>
            </p:cNvPr>
            <p:cNvSpPr>
              <a:spLocks/>
            </p:cNvSpPr>
            <p:nvPr/>
          </p:nvSpPr>
          <p:spPr bwMode="auto">
            <a:xfrm>
              <a:off x="5196607" y="5404061"/>
              <a:ext cx="125413" cy="188913"/>
            </a:xfrm>
            <a:custGeom>
              <a:avLst/>
              <a:gdLst>
                <a:gd name="T0" fmla="*/ 22 w 316"/>
                <a:gd name="T1" fmla="*/ 475 h 475"/>
                <a:gd name="T2" fmla="*/ 15 w 316"/>
                <a:gd name="T3" fmla="*/ 473 h 475"/>
                <a:gd name="T4" fmla="*/ 9 w 316"/>
                <a:gd name="T5" fmla="*/ 471 h 475"/>
                <a:gd name="T6" fmla="*/ 6 w 316"/>
                <a:gd name="T7" fmla="*/ 467 h 475"/>
                <a:gd name="T8" fmla="*/ 3 w 316"/>
                <a:gd name="T9" fmla="*/ 464 h 475"/>
                <a:gd name="T10" fmla="*/ 1 w 316"/>
                <a:gd name="T11" fmla="*/ 460 h 475"/>
                <a:gd name="T12" fmla="*/ 0 w 316"/>
                <a:gd name="T13" fmla="*/ 456 h 475"/>
                <a:gd name="T14" fmla="*/ 0 w 316"/>
                <a:gd name="T15" fmla="*/ 451 h 475"/>
                <a:gd name="T16" fmla="*/ 0 w 316"/>
                <a:gd name="T17" fmla="*/ 448 h 475"/>
                <a:gd name="T18" fmla="*/ 1 w 316"/>
                <a:gd name="T19" fmla="*/ 443 h 475"/>
                <a:gd name="T20" fmla="*/ 2 w 316"/>
                <a:gd name="T21" fmla="*/ 439 h 475"/>
                <a:gd name="T22" fmla="*/ 273 w 316"/>
                <a:gd name="T23" fmla="*/ 11 h 475"/>
                <a:gd name="T24" fmla="*/ 277 w 316"/>
                <a:gd name="T25" fmla="*/ 7 h 475"/>
                <a:gd name="T26" fmla="*/ 280 w 316"/>
                <a:gd name="T27" fmla="*/ 4 h 475"/>
                <a:gd name="T28" fmla="*/ 284 w 316"/>
                <a:gd name="T29" fmla="*/ 1 h 475"/>
                <a:gd name="T30" fmla="*/ 288 w 316"/>
                <a:gd name="T31" fmla="*/ 0 h 475"/>
                <a:gd name="T32" fmla="*/ 293 w 316"/>
                <a:gd name="T33" fmla="*/ 0 h 475"/>
                <a:gd name="T34" fmla="*/ 296 w 316"/>
                <a:gd name="T35" fmla="*/ 0 h 475"/>
                <a:gd name="T36" fmla="*/ 301 w 316"/>
                <a:gd name="T37" fmla="*/ 1 h 475"/>
                <a:gd name="T38" fmla="*/ 305 w 316"/>
                <a:gd name="T39" fmla="*/ 4 h 475"/>
                <a:gd name="T40" fmla="*/ 309 w 316"/>
                <a:gd name="T41" fmla="*/ 6 h 475"/>
                <a:gd name="T42" fmla="*/ 312 w 316"/>
                <a:gd name="T43" fmla="*/ 10 h 475"/>
                <a:gd name="T44" fmla="*/ 314 w 316"/>
                <a:gd name="T45" fmla="*/ 13 h 475"/>
                <a:gd name="T46" fmla="*/ 316 w 316"/>
                <a:gd name="T47" fmla="*/ 17 h 475"/>
                <a:gd name="T48" fmla="*/ 316 w 316"/>
                <a:gd name="T49" fmla="*/ 22 h 475"/>
                <a:gd name="T50" fmla="*/ 316 w 316"/>
                <a:gd name="T51" fmla="*/ 27 h 475"/>
                <a:gd name="T52" fmla="*/ 315 w 316"/>
                <a:gd name="T53" fmla="*/ 31 h 475"/>
                <a:gd name="T54" fmla="*/ 312 w 316"/>
                <a:gd name="T55" fmla="*/ 35 h 475"/>
                <a:gd name="T56" fmla="*/ 41 w 316"/>
                <a:gd name="T57" fmla="*/ 464 h 475"/>
                <a:gd name="T58" fmla="*/ 38 w 316"/>
                <a:gd name="T59" fmla="*/ 468 h 475"/>
                <a:gd name="T60" fmla="*/ 33 w 316"/>
                <a:gd name="T61" fmla="*/ 471 h 475"/>
                <a:gd name="T62" fmla="*/ 28 w 316"/>
                <a:gd name="T63" fmla="*/ 473 h 475"/>
                <a:gd name="T64" fmla="*/ 22 w 316"/>
                <a:gd name="T65"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475">
                  <a:moveTo>
                    <a:pt x="22" y="475"/>
                  </a:moveTo>
                  <a:lnTo>
                    <a:pt x="15" y="473"/>
                  </a:lnTo>
                  <a:lnTo>
                    <a:pt x="9" y="471"/>
                  </a:lnTo>
                  <a:lnTo>
                    <a:pt x="6" y="467"/>
                  </a:lnTo>
                  <a:lnTo>
                    <a:pt x="3" y="464"/>
                  </a:lnTo>
                  <a:lnTo>
                    <a:pt x="1" y="460"/>
                  </a:lnTo>
                  <a:lnTo>
                    <a:pt x="0" y="456"/>
                  </a:lnTo>
                  <a:lnTo>
                    <a:pt x="0" y="451"/>
                  </a:lnTo>
                  <a:lnTo>
                    <a:pt x="0" y="448"/>
                  </a:lnTo>
                  <a:lnTo>
                    <a:pt x="1" y="443"/>
                  </a:lnTo>
                  <a:lnTo>
                    <a:pt x="2" y="439"/>
                  </a:lnTo>
                  <a:lnTo>
                    <a:pt x="273" y="11"/>
                  </a:lnTo>
                  <a:lnTo>
                    <a:pt x="277" y="7"/>
                  </a:lnTo>
                  <a:lnTo>
                    <a:pt x="280" y="4"/>
                  </a:lnTo>
                  <a:lnTo>
                    <a:pt x="284" y="1"/>
                  </a:lnTo>
                  <a:lnTo>
                    <a:pt x="288" y="0"/>
                  </a:lnTo>
                  <a:lnTo>
                    <a:pt x="293" y="0"/>
                  </a:lnTo>
                  <a:lnTo>
                    <a:pt x="296" y="0"/>
                  </a:lnTo>
                  <a:lnTo>
                    <a:pt x="301" y="1"/>
                  </a:lnTo>
                  <a:lnTo>
                    <a:pt x="305" y="4"/>
                  </a:lnTo>
                  <a:lnTo>
                    <a:pt x="309" y="6"/>
                  </a:lnTo>
                  <a:lnTo>
                    <a:pt x="312" y="10"/>
                  </a:lnTo>
                  <a:lnTo>
                    <a:pt x="314" y="13"/>
                  </a:lnTo>
                  <a:lnTo>
                    <a:pt x="316" y="17"/>
                  </a:lnTo>
                  <a:lnTo>
                    <a:pt x="316" y="22"/>
                  </a:lnTo>
                  <a:lnTo>
                    <a:pt x="316" y="27"/>
                  </a:lnTo>
                  <a:lnTo>
                    <a:pt x="315" y="31"/>
                  </a:lnTo>
                  <a:lnTo>
                    <a:pt x="312" y="35"/>
                  </a:lnTo>
                  <a:lnTo>
                    <a:pt x="41" y="464"/>
                  </a:lnTo>
                  <a:lnTo>
                    <a:pt x="38" y="468"/>
                  </a:lnTo>
                  <a:lnTo>
                    <a:pt x="33" y="471"/>
                  </a:lnTo>
                  <a:lnTo>
                    <a:pt x="28" y="473"/>
                  </a:lnTo>
                  <a:lnTo>
                    <a:pt x="22"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52">
              <a:extLst>
                <a:ext uri="{FF2B5EF4-FFF2-40B4-BE49-F238E27FC236}">
                  <a16:creationId xmlns:a16="http://schemas.microsoft.com/office/drawing/2014/main" id="{8F566C89-8A34-4944-AE74-ADB187898AAD}"/>
                </a:ext>
              </a:extLst>
            </p:cNvPr>
            <p:cNvSpPr>
              <a:spLocks/>
            </p:cNvSpPr>
            <p:nvPr/>
          </p:nvSpPr>
          <p:spPr bwMode="auto">
            <a:xfrm>
              <a:off x="5266457" y="5423111"/>
              <a:ext cx="55563" cy="73025"/>
            </a:xfrm>
            <a:custGeom>
              <a:avLst/>
              <a:gdLst>
                <a:gd name="T0" fmla="*/ 24 w 139"/>
                <a:gd name="T1" fmla="*/ 185 h 185"/>
                <a:gd name="T2" fmla="*/ 18 w 139"/>
                <a:gd name="T3" fmla="*/ 184 h 185"/>
                <a:gd name="T4" fmla="*/ 11 w 139"/>
                <a:gd name="T5" fmla="*/ 181 h 185"/>
                <a:gd name="T6" fmla="*/ 8 w 139"/>
                <a:gd name="T7" fmla="*/ 178 h 185"/>
                <a:gd name="T8" fmla="*/ 4 w 139"/>
                <a:gd name="T9" fmla="*/ 174 h 185"/>
                <a:gd name="T10" fmla="*/ 3 w 139"/>
                <a:gd name="T11" fmla="*/ 171 h 185"/>
                <a:gd name="T12" fmla="*/ 2 w 139"/>
                <a:gd name="T13" fmla="*/ 167 h 185"/>
                <a:gd name="T14" fmla="*/ 0 w 139"/>
                <a:gd name="T15" fmla="*/ 162 h 185"/>
                <a:gd name="T16" fmla="*/ 2 w 139"/>
                <a:gd name="T17" fmla="*/ 157 h 185"/>
                <a:gd name="T18" fmla="*/ 3 w 139"/>
                <a:gd name="T19" fmla="*/ 154 h 185"/>
                <a:gd name="T20" fmla="*/ 5 w 139"/>
                <a:gd name="T21" fmla="*/ 149 h 185"/>
                <a:gd name="T22" fmla="*/ 97 w 139"/>
                <a:gd name="T23" fmla="*/ 11 h 185"/>
                <a:gd name="T24" fmla="*/ 100 w 139"/>
                <a:gd name="T25" fmla="*/ 8 h 185"/>
                <a:gd name="T26" fmla="*/ 103 w 139"/>
                <a:gd name="T27" fmla="*/ 4 h 185"/>
                <a:gd name="T28" fmla="*/ 107 w 139"/>
                <a:gd name="T29" fmla="*/ 3 h 185"/>
                <a:gd name="T30" fmla="*/ 112 w 139"/>
                <a:gd name="T31" fmla="*/ 1 h 185"/>
                <a:gd name="T32" fmla="*/ 116 w 139"/>
                <a:gd name="T33" fmla="*/ 0 h 185"/>
                <a:gd name="T34" fmla="*/ 121 w 139"/>
                <a:gd name="T35" fmla="*/ 1 h 185"/>
                <a:gd name="T36" fmla="*/ 124 w 139"/>
                <a:gd name="T37" fmla="*/ 3 h 185"/>
                <a:gd name="T38" fmla="*/ 129 w 139"/>
                <a:gd name="T39" fmla="*/ 5 h 185"/>
                <a:gd name="T40" fmla="*/ 133 w 139"/>
                <a:gd name="T41" fmla="*/ 8 h 185"/>
                <a:gd name="T42" fmla="*/ 135 w 139"/>
                <a:gd name="T43" fmla="*/ 11 h 185"/>
                <a:gd name="T44" fmla="*/ 138 w 139"/>
                <a:gd name="T45" fmla="*/ 15 h 185"/>
                <a:gd name="T46" fmla="*/ 139 w 139"/>
                <a:gd name="T47" fmla="*/ 19 h 185"/>
                <a:gd name="T48" fmla="*/ 139 w 139"/>
                <a:gd name="T49" fmla="*/ 24 h 185"/>
                <a:gd name="T50" fmla="*/ 139 w 139"/>
                <a:gd name="T51" fmla="*/ 28 h 185"/>
                <a:gd name="T52" fmla="*/ 138 w 139"/>
                <a:gd name="T53" fmla="*/ 32 h 185"/>
                <a:gd name="T54" fmla="*/ 135 w 139"/>
                <a:gd name="T55" fmla="*/ 37 h 185"/>
                <a:gd name="T56" fmla="*/ 43 w 139"/>
                <a:gd name="T57" fmla="*/ 174 h 185"/>
                <a:gd name="T58" fmla="*/ 40 w 139"/>
                <a:gd name="T59" fmla="*/ 179 h 185"/>
                <a:gd name="T60" fmla="*/ 35 w 139"/>
                <a:gd name="T61" fmla="*/ 182 h 185"/>
                <a:gd name="T62" fmla="*/ 30 w 139"/>
                <a:gd name="T63" fmla="*/ 184 h 185"/>
                <a:gd name="T64" fmla="*/ 24 w 139"/>
                <a:gd name="T6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85">
                  <a:moveTo>
                    <a:pt x="24" y="185"/>
                  </a:moveTo>
                  <a:lnTo>
                    <a:pt x="18" y="184"/>
                  </a:lnTo>
                  <a:lnTo>
                    <a:pt x="11" y="181"/>
                  </a:lnTo>
                  <a:lnTo>
                    <a:pt x="8" y="178"/>
                  </a:lnTo>
                  <a:lnTo>
                    <a:pt x="4" y="174"/>
                  </a:lnTo>
                  <a:lnTo>
                    <a:pt x="3" y="171"/>
                  </a:lnTo>
                  <a:lnTo>
                    <a:pt x="2" y="167"/>
                  </a:lnTo>
                  <a:lnTo>
                    <a:pt x="0" y="162"/>
                  </a:lnTo>
                  <a:lnTo>
                    <a:pt x="2" y="157"/>
                  </a:lnTo>
                  <a:lnTo>
                    <a:pt x="3" y="154"/>
                  </a:lnTo>
                  <a:lnTo>
                    <a:pt x="5" y="149"/>
                  </a:lnTo>
                  <a:lnTo>
                    <a:pt x="97" y="11"/>
                  </a:lnTo>
                  <a:lnTo>
                    <a:pt x="100" y="8"/>
                  </a:lnTo>
                  <a:lnTo>
                    <a:pt x="103" y="4"/>
                  </a:lnTo>
                  <a:lnTo>
                    <a:pt x="107" y="3"/>
                  </a:lnTo>
                  <a:lnTo>
                    <a:pt x="112" y="1"/>
                  </a:lnTo>
                  <a:lnTo>
                    <a:pt x="116" y="0"/>
                  </a:lnTo>
                  <a:lnTo>
                    <a:pt x="121" y="1"/>
                  </a:lnTo>
                  <a:lnTo>
                    <a:pt x="124" y="3"/>
                  </a:lnTo>
                  <a:lnTo>
                    <a:pt x="129" y="5"/>
                  </a:lnTo>
                  <a:lnTo>
                    <a:pt x="133" y="8"/>
                  </a:lnTo>
                  <a:lnTo>
                    <a:pt x="135" y="11"/>
                  </a:lnTo>
                  <a:lnTo>
                    <a:pt x="138" y="15"/>
                  </a:lnTo>
                  <a:lnTo>
                    <a:pt x="139" y="19"/>
                  </a:lnTo>
                  <a:lnTo>
                    <a:pt x="139" y="24"/>
                  </a:lnTo>
                  <a:lnTo>
                    <a:pt x="139" y="28"/>
                  </a:lnTo>
                  <a:lnTo>
                    <a:pt x="138" y="32"/>
                  </a:lnTo>
                  <a:lnTo>
                    <a:pt x="135" y="37"/>
                  </a:lnTo>
                  <a:lnTo>
                    <a:pt x="43" y="174"/>
                  </a:lnTo>
                  <a:lnTo>
                    <a:pt x="40" y="179"/>
                  </a:lnTo>
                  <a:lnTo>
                    <a:pt x="35" y="182"/>
                  </a:lnTo>
                  <a:lnTo>
                    <a:pt x="30" y="184"/>
                  </a:lnTo>
                  <a:lnTo>
                    <a:pt x="2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7" name="Group 92">
            <a:extLst>
              <a:ext uri="{FF2B5EF4-FFF2-40B4-BE49-F238E27FC236}">
                <a16:creationId xmlns:a16="http://schemas.microsoft.com/office/drawing/2014/main" id="{72332F98-2AA7-4B41-9478-430521AF8E7F}"/>
              </a:ext>
            </a:extLst>
          </p:cNvPr>
          <p:cNvGrpSpPr>
            <a:grpSpLocks noChangeAspect="1"/>
          </p:cNvGrpSpPr>
          <p:nvPr/>
        </p:nvGrpSpPr>
        <p:grpSpPr>
          <a:xfrm>
            <a:off x="7460615" y="4345739"/>
            <a:ext cx="308188" cy="306484"/>
            <a:chOff x="11028363" y="2505076"/>
            <a:chExt cx="287337" cy="285750"/>
          </a:xfrm>
          <a:solidFill>
            <a:schemeClr val="bg2"/>
          </a:solidFill>
          <a:effectLst/>
        </p:grpSpPr>
        <p:sp>
          <p:nvSpPr>
            <p:cNvPr id="578" name="Freeform 340">
              <a:extLst>
                <a:ext uri="{FF2B5EF4-FFF2-40B4-BE49-F238E27FC236}">
                  <a16:creationId xmlns:a16="http://schemas.microsoft.com/office/drawing/2014/main" id="{676218DF-DB47-4787-8FF3-90D43D89BAE3}"/>
                </a:ext>
              </a:extLst>
            </p:cNvPr>
            <p:cNvSpPr>
              <a:spLocks noEditPoints="1"/>
            </p:cNvSpPr>
            <p:nvPr/>
          </p:nvSpPr>
          <p:spPr bwMode="auto">
            <a:xfrm>
              <a:off x="11172825" y="2649538"/>
              <a:ext cx="142875" cy="141288"/>
            </a:xfrm>
            <a:custGeom>
              <a:avLst/>
              <a:gdLst>
                <a:gd name="T0" fmla="*/ 359 w 450"/>
                <a:gd name="T1" fmla="*/ 164 h 446"/>
                <a:gd name="T2" fmla="*/ 285 w 450"/>
                <a:gd name="T3" fmla="*/ 90 h 446"/>
                <a:gd name="T4" fmla="*/ 340 w 450"/>
                <a:gd name="T5" fmla="*/ 36 h 446"/>
                <a:gd name="T6" fmla="*/ 414 w 450"/>
                <a:gd name="T7" fmla="*/ 110 h 446"/>
                <a:gd name="T8" fmla="*/ 359 w 450"/>
                <a:gd name="T9" fmla="*/ 164 h 446"/>
                <a:gd name="T10" fmla="*/ 63 w 450"/>
                <a:gd name="T11" fmla="*/ 327 h 446"/>
                <a:gd name="T12" fmla="*/ 122 w 450"/>
                <a:gd name="T13" fmla="*/ 386 h 446"/>
                <a:gd name="T14" fmla="*/ 37 w 450"/>
                <a:gd name="T15" fmla="*/ 410 h 446"/>
                <a:gd name="T16" fmla="*/ 63 w 450"/>
                <a:gd name="T17" fmla="*/ 327 h 446"/>
                <a:gd name="T18" fmla="*/ 151 w 450"/>
                <a:gd name="T19" fmla="*/ 372 h 446"/>
                <a:gd name="T20" fmla="*/ 78 w 450"/>
                <a:gd name="T21" fmla="*/ 299 h 446"/>
                <a:gd name="T22" fmla="*/ 264 w 450"/>
                <a:gd name="T23" fmla="*/ 112 h 446"/>
                <a:gd name="T24" fmla="*/ 338 w 450"/>
                <a:gd name="T25" fmla="*/ 185 h 446"/>
                <a:gd name="T26" fmla="*/ 151 w 450"/>
                <a:gd name="T27" fmla="*/ 372 h 446"/>
                <a:gd name="T28" fmla="*/ 446 w 450"/>
                <a:gd name="T29" fmla="*/ 99 h 446"/>
                <a:gd name="T30" fmla="*/ 351 w 450"/>
                <a:gd name="T31" fmla="*/ 4 h 446"/>
                <a:gd name="T32" fmla="*/ 348 w 450"/>
                <a:gd name="T33" fmla="*/ 3 h 446"/>
                <a:gd name="T34" fmla="*/ 345 w 450"/>
                <a:gd name="T35" fmla="*/ 1 h 446"/>
                <a:gd name="T36" fmla="*/ 343 w 450"/>
                <a:gd name="T37" fmla="*/ 0 h 446"/>
                <a:gd name="T38" fmla="*/ 340 w 450"/>
                <a:gd name="T39" fmla="*/ 0 h 446"/>
                <a:gd name="T40" fmla="*/ 338 w 450"/>
                <a:gd name="T41" fmla="*/ 0 h 446"/>
                <a:gd name="T42" fmla="*/ 335 w 450"/>
                <a:gd name="T43" fmla="*/ 1 h 446"/>
                <a:gd name="T44" fmla="*/ 332 w 450"/>
                <a:gd name="T45" fmla="*/ 3 h 446"/>
                <a:gd name="T46" fmla="*/ 329 w 450"/>
                <a:gd name="T47" fmla="*/ 4 h 446"/>
                <a:gd name="T48" fmla="*/ 46 w 450"/>
                <a:gd name="T49" fmla="*/ 289 h 446"/>
                <a:gd name="T50" fmla="*/ 44 w 450"/>
                <a:gd name="T51" fmla="*/ 291 h 446"/>
                <a:gd name="T52" fmla="*/ 42 w 450"/>
                <a:gd name="T53" fmla="*/ 294 h 446"/>
                <a:gd name="T54" fmla="*/ 41 w 450"/>
                <a:gd name="T55" fmla="*/ 294 h 446"/>
                <a:gd name="T56" fmla="*/ 41 w 450"/>
                <a:gd name="T57" fmla="*/ 294 h 446"/>
                <a:gd name="T58" fmla="*/ 0 w 450"/>
                <a:gd name="T59" fmla="*/ 427 h 446"/>
                <a:gd name="T60" fmla="*/ 0 w 450"/>
                <a:gd name="T61" fmla="*/ 431 h 446"/>
                <a:gd name="T62" fmla="*/ 0 w 450"/>
                <a:gd name="T63" fmla="*/ 436 h 446"/>
                <a:gd name="T64" fmla="*/ 1 w 450"/>
                <a:gd name="T65" fmla="*/ 439 h 446"/>
                <a:gd name="T66" fmla="*/ 4 w 450"/>
                <a:gd name="T67" fmla="*/ 442 h 446"/>
                <a:gd name="T68" fmla="*/ 6 w 450"/>
                <a:gd name="T69" fmla="*/ 444 h 446"/>
                <a:gd name="T70" fmla="*/ 8 w 450"/>
                <a:gd name="T71" fmla="*/ 445 h 446"/>
                <a:gd name="T72" fmla="*/ 11 w 450"/>
                <a:gd name="T73" fmla="*/ 446 h 446"/>
                <a:gd name="T74" fmla="*/ 15 w 450"/>
                <a:gd name="T75" fmla="*/ 446 h 446"/>
                <a:gd name="T76" fmla="*/ 17 w 450"/>
                <a:gd name="T77" fmla="*/ 446 h 446"/>
                <a:gd name="T78" fmla="*/ 18 w 450"/>
                <a:gd name="T79" fmla="*/ 446 h 446"/>
                <a:gd name="T80" fmla="*/ 155 w 450"/>
                <a:gd name="T81" fmla="*/ 409 h 446"/>
                <a:gd name="T82" fmla="*/ 155 w 450"/>
                <a:gd name="T83" fmla="*/ 409 h 446"/>
                <a:gd name="T84" fmla="*/ 156 w 450"/>
                <a:gd name="T85" fmla="*/ 409 h 446"/>
                <a:gd name="T86" fmla="*/ 156 w 450"/>
                <a:gd name="T87" fmla="*/ 408 h 446"/>
                <a:gd name="T88" fmla="*/ 157 w 450"/>
                <a:gd name="T89" fmla="*/ 408 h 446"/>
                <a:gd name="T90" fmla="*/ 159 w 450"/>
                <a:gd name="T91" fmla="*/ 407 h 446"/>
                <a:gd name="T92" fmla="*/ 161 w 450"/>
                <a:gd name="T93" fmla="*/ 405 h 446"/>
                <a:gd name="T94" fmla="*/ 446 w 450"/>
                <a:gd name="T95" fmla="*/ 120 h 446"/>
                <a:gd name="T96" fmla="*/ 447 w 450"/>
                <a:gd name="T97" fmla="*/ 118 h 446"/>
                <a:gd name="T98" fmla="*/ 449 w 450"/>
                <a:gd name="T99" fmla="*/ 116 h 446"/>
                <a:gd name="T100" fmla="*/ 449 w 450"/>
                <a:gd name="T101" fmla="*/ 113 h 446"/>
                <a:gd name="T102" fmla="*/ 450 w 450"/>
                <a:gd name="T103" fmla="*/ 110 h 446"/>
                <a:gd name="T104" fmla="*/ 449 w 450"/>
                <a:gd name="T105" fmla="*/ 107 h 446"/>
                <a:gd name="T106" fmla="*/ 449 w 450"/>
                <a:gd name="T107" fmla="*/ 104 h 446"/>
                <a:gd name="T108" fmla="*/ 447 w 450"/>
                <a:gd name="T109" fmla="*/ 102 h 446"/>
                <a:gd name="T110" fmla="*/ 446 w 450"/>
                <a:gd name="T111" fmla="*/ 9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 h="446">
                  <a:moveTo>
                    <a:pt x="359" y="164"/>
                  </a:moveTo>
                  <a:lnTo>
                    <a:pt x="285" y="90"/>
                  </a:lnTo>
                  <a:lnTo>
                    <a:pt x="340" y="36"/>
                  </a:lnTo>
                  <a:lnTo>
                    <a:pt x="414" y="110"/>
                  </a:lnTo>
                  <a:lnTo>
                    <a:pt x="359" y="164"/>
                  </a:lnTo>
                  <a:close/>
                  <a:moveTo>
                    <a:pt x="63" y="327"/>
                  </a:moveTo>
                  <a:lnTo>
                    <a:pt x="122" y="386"/>
                  </a:lnTo>
                  <a:lnTo>
                    <a:pt x="37" y="410"/>
                  </a:lnTo>
                  <a:lnTo>
                    <a:pt x="63" y="327"/>
                  </a:lnTo>
                  <a:close/>
                  <a:moveTo>
                    <a:pt x="151" y="372"/>
                  </a:moveTo>
                  <a:lnTo>
                    <a:pt x="78" y="299"/>
                  </a:lnTo>
                  <a:lnTo>
                    <a:pt x="264" y="112"/>
                  </a:lnTo>
                  <a:lnTo>
                    <a:pt x="338" y="185"/>
                  </a:lnTo>
                  <a:lnTo>
                    <a:pt x="151" y="372"/>
                  </a:lnTo>
                  <a:close/>
                  <a:moveTo>
                    <a:pt x="446" y="99"/>
                  </a:moveTo>
                  <a:lnTo>
                    <a:pt x="351" y="4"/>
                  </a:lnTo>
                  <a:lnTo>
                    <a:pt x="348" y="3"/>
                  </a:lnTo>
                  <a:lnTo>
                    <a:pt x="345" y="1"/>
                  </a:lnTo>
                  <a:lnTo>
                    <a:pt x="343" y="0"/>
                  </a:lnTo>
                  <a:lnTo>
                    <a:pt x="340" y="0"/>
                  </a:lnTo>
                  <a:lnTo>
                    <a:pt x="338" y="0"/>
                  </a:lnTo>
                  <a:lnTo>
                    <a:pt x="335" y="1"/>
                  </a:lnTo>
                  <a:lnTo>
                    <a:pt x="332" y="3"/>
                  </a:lnTo>
                  <a:lnTo>
                    <a:pt x="329" y="4"/>
                  </a:lnTo>
                  <a:lnTo>
                    <a:pt x="46" y="289"/>
                  </a:lnTo>
                  <a:lnTo>
                    <a:pt x="44" y="291"/>
                  </a:lnTo>
                  <a:lnTo>
                    <a:pt x="42" y="294"/>
                  </a:lnTo>
                  <a:lnTo>
                    <a:pt x="41" y="294"/>
                  </a:lnTo>
                  <a:lnTo>
                    <a:pt x="41" y="294"/>
                  </a:lnTo>
                  <a:lnTo>
                    <a:pt x="0" y="427"/>
                  </a:lnTo>
                  <a:lnTo>
                    <a:pt x="0" y="431"/>
                  </a:lnTo>
                  <a:lnTo>
                    <a:pt x="0" y="436"/>
                  </a:lnTo>
                  <a:lnTo>
                    <a:pt x="1" y="439"/>
                  </a:lnTo>
                  <a:lnTo>
                    <a:pt x="4" y="442"/>
                  </a:lnTo>
                  <a:lnTo>
                    <a:pt x="6" y="444"/>
                  </a:lnTo>
                  <a:lnTo>
                    <a:pt x="8" y="445"/>
                  </a:lnTo>
                  <a:lnTo>
                    <a:pt x="11" y="446"/>
                  </a:lnTo>
                  <a:lnTo>
                    <a:pt x="15" y="446"/>
                  </a:lnTo>
                  <a:lnTo>
                    <a:pt x="17" y="446"/>
                  </a:lnTo>
                  <a:lnTo>
                    <a:pt x="18" y="446"/>
                  </a:lnTo>
                  <a:lnTo>
                    <a:pt x="155" y="409"/>
                  </a:lnTo>
                  <a:lnTo>
                    <a:pt x="155" y="409"/>
                  </a:lnTo>
                  <a:lnTo>
                    <a:pt x="156" y="409"/>
                  </a:lnTo>
                  <a:lnTo>
                    <a:pt x="156" y="408"/>
                  </a:lnTo>
                  <a:lnTo>
                    <a:pt x="157" y="408"/>
                  </a:lnTo>
                  <a:lnTo>
                    <a:pt x="159" y="407"/>
                  </a:lnTo>
                  <a:lnTo>
                    <a:pt x="161" y="405"/>
                  </a:lnTo>
                  <a:lnTo>
                    <a:pt x="446" y="120"/>
                  </a:lnTo>
                  <a:lnTo>
                    <a:pt x="447" y="118"/>
                  </a:lnTo>
                  <a:lnTo>
                    <a:pt x="449" y="116"/>
                  </a:lnTo>
                  <a:lnTo>
                    <a:pt x="449" y="113"/>
                  </a:lnTo>
                  <a:lnTo>
                    <a:pt x="450" y="110"/>
                  </a:lnTo>
                  <a:lnTo>
                    <a:pt x="449" y="107"/>
                  </a:lnTo>
                  <a:lnTo>
                    <a:pt x="449" y="104"/>
                  </a:lnTo>
                  <a:lnTo>
                    <a:pt x="447" y="102"/>
                  </a:lnTo>
                  <a:lnTo>
                    <a:pt x="44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79" name="Freeform 341">
              <a:extLst>
                <a:ext uri="{FF2B5EF4-FFF2-40B4-BE49-F238E27FC236}">
                  <a16:creationId xmlns:a16="http://schemas.microsoft.com/office/drawing/2014/main" id="{D3031732-C80C-47CC-97C7-048C804BCDF1}"/>
                </a:ext>
              </a:extLst>
            </p:cNvPr>
            <p:cNvSpPr>
              <a:spLocks noEditPoints="1"/>
            </p:cNvSpPr>
            <p:nvPr/>
          </p:nvSpPr>
          <p:spPr bwMode="auto">
            <a:xfrm>
              <a:off x="11028363" y="2505076"/>
              <a:ext cx="200025" cy="257175"/>
            </a:xfrm>
            <a:custGeom>
              <a:avLst/>
              <a:gdLst>
                <a:gd name="T0" fmla="*/ 251 w 630"/>
                <a:gd name="T1" fmla="*/ 88 h 811"/>
                <a:gd name="T2" fmla="*/ 257 w 630"/>
                <a:gd name="T3" fmla="*/ 75 h 811"/>
                <a:gd name="T4" fmla="*/ 263 w 630"/>
                <a:gd name="T5" fmla="*/ 52 h 811"/>
                <a:gd name="T6" fmla="*/ 291 w 630"/>
                <a:gd name="T7" fmla="*/ 33 h 811"/>
                <a:gd name="T8" fmla="*/ 354 w 630"/>
                <a:gd name="T9" fmla="*/ 37 h 811"/>
                <a:gd name="T10" fmla="*/ 375 w 630"/>
                <a:gd name="T11" fmla="*/ 56 h 811"/>
                <a:gd name="T12" fmla="*/ 379 w 630"/>
                <a:gd name="T13" fmla="*/ 78 h 811"/>
                <a:gd name="T14" fmla="*/ 388 w 630"/>
                <a:gd name="T15" fmla="*/ 89 h 811"/>
                <a:gd name="T16" fmla="*/ 180 w 630"/>
                <a:gd name="T17" fmla="*/ 240 h 811"/>
                <a:gd name="T18" fmla="*/ 54 w 630"/>
                <a:gd name="T19" fmla="*/ 779 h 811"/>
                <a:gd name="T20" fmla="*/ 30 w 630"/>
                <a:gd name="T21" fmla="*/ 748 h 811"/>
                <a:gd name="T22" fmla="*/ 75 w 630"/>
                <a:gd name="T23" fmla="*/ 180 h 811"/>
                <a:gd name="T24" fmla="*/ 62 w 630"/>
                <a:gd name="T25" fmla="*/ 187 h 811"/>
                <a:gd name="T26" fmla="*/ 60 w 630"/>
                <a:gd name="T27" fmla="*/ 740 h 811"/>
                <a:gd name="T28" fmla="*/ 69 w 630"/>
                <a:gd name="T29" fmla="*/ 750 h 811"/>
                <a:gd name="T30" fmla="*/ 362 w 630"/>
                <a:gd name="T31" fmla="*/ 750 h 811"/>
                <a:gd name="T32" fmla="*/ 370 w 630"/>
                <a:gd name="T33" fmla="*/ 740 h 811"/>
                <a:gd name="T34" fmla="*/ 366 w 630"/>
                <a:gd name="T35" fmla="*/ 726 h 811"/>
                <a:gd name="T36" fmla="*/ 90 w 630"/>
                <a:gd name="T37" fmla="*/ 721 h 811"/>
                <a:gd name="T38" fmla="*/ 151 w 630"/>
                <a:gd name="T39" fmla="*/ 261 h 811"/>
                <a:gd name="T40" fmla="*/ 162 w 630"/>
                <a:gd name="T41" fmla="*/ 270 h 811"/>
                <a:gd name="T42" fmla="*/ 474 w 630"/>
                <a:gd name="T43" fmla="*/ 268 h 811"/>
                <a:gd name="T44" fmla="*/ 481 w 630"/>
                <a:gd name="T45" fmla="*/ 256 h 811"/>
                <a:gd name="T46" fmla="*/ 542 w 630"/>
                <a:gd name="T47" fmla="*/ 366 h 811"/>
                <a:gd name="T48" fmla="*/ 552 w 630"/>
                <a:gd name="T49" fmla="*/ 376 h 811"/>
                <a:gd name="T50" fmla="*/ 566 w 630"/>
                <a:gd name="T51" fmla="*/ 371 h 811"/>
                <a:gd name="T52" fmla="*/ 570 w 630"/>
                <a:gd name="T53" fmla="*/ 195 h 811"/>
                <a:gd name="T54" fmla="*/ 564 w 630"/>
                <a:gd name="T55" fmla="*/ 183 h 811"/>
                <a:gd name="T56" fmla="*/ 481 w 630"/>
                <a:gd name="T57" fmla="*/ 150 h 811"/>
                <a:gd name="T58" fmla="*/ 603 w 630"/>
                <a:gd name="T59" fmla="*/ 365 h 811"/>
                <a:gd name="T60" fmla="*/ 615 w 630"/>
                <a:gd name="T61" fmla="*/ 371 h 811"/>
                <a:gd name="T62" fmla="*/ 628 w 630"/>
                <a:gd name="T63" fmla="*/ 365 h 811"/>
                <a:gd name="T64" fmla="*/ 630 w 630"/>
                <a:gd name="T65" fmla="*/ 133 h 811"/>
                <a:gd name="T66" fmla="*/ 622 w 630"/>
                <a:gd name="T67" fmla="*/ 121 h 811"/>
                <a:gd name="T68" fmla="*/ 480 w 630"/>
                <a:gd name="T69" fmla="*/ 72 h 811"/>
                <a:gd name="T70" fmla="*/ 471 w 630"/>
                <a:gd name="T71" fmla="*/ 61 h 811"/>
                <a:gd name="T72" fmla="*/ 400 w 630"/>
                <a:gd name="T73" fmla="*/ 41 h 811"/>
                <a:gd name="T74" fmla="*/ 380 w 630"/>
                <a:gd name="T75" fmla="*/ 17 h 811"/>
                <a:gd name="T76" fmla="*/ 340 w 630"/>
                <a:gd name="T77" fmla="*/ 1 h 811"/>
                <a:gd name="T78" fmla="*/ 285 w 630"/>
                <a:gd name="T79" fmla="*/ 3 h 811"/>
                <a:gd name="T80" fmla="*/ 249 w 630"/>
                <a:gd name="T81" fmla="*/ 22 h 811"/>
                <a:gd name="T82" fmla="*/ 231 w 630"/>
                <a:gd name="T83" fmla="*/ 52 h 811"/>
                <a:gd name="T84" fmla="*/ 156 w 630"/>
                <a:gd name="T85" fmla="*/ 63 h 811"/>
                <a:gd name="T86" fmla="*/ 150 w 630"/>
                <a:gd name="T87" fmla="*/ 75 h 811"/>
                <a:gd name="T88" fmla="*/ 7 w 630"/>
                <a:gd name="T89" fmla="*/ 123 h 811"/>
                <a:gd name="T90" fmla="*/ 0 w 630"/>
                <a:gd name="T91" fmla="*/ 135 h 811"/>
                <a:gd name="T92" fmla="*/ 4 w 630"/>
                <a:gd name="T93" fmla="*/ 770 h 811"/>
                <a:gd name="T94" fmla="*/ 24 w 630"/>
                <a:gd name="T95" fmla="*/ 797 h 811"/>
                <a:gd name="T96" fmla="*/ 57 w 630"/>
                <a:gd name="T97" fmla="*/ 810 h 811"/>
                <a:gd name="T98" fmla="*/ 380 w 630"/>
                <a:gd name="T99" fmla="*/ 810 h 811"/>
                <a:gd name="T100" fmla="*/ 390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80" y="90"/>
                  </a:moveTo>
                  <a:lnTo>
                    <a:pt x="242" y="90"/>
                  </a:lnTo>
                  <a:lnTo>
                    <a:pt x="245" y="90"/>
                  </a:lnTo>
                  <a:lnTo>
                    <a:pt x="248" y="89"/>
                  </a:lnTo>
                  <a:lnTo>
                    <a:pt x="251" y="88"/>
                  </a:lnTo>
                  <a:lnTo>
                    <a:pt x="253" y="86"/>
                  </a:lnTo>
                  <a:lnTo>
                    <a:pt x="255" y="84"/>
                  </a:lnTo>
                  <a:lnTo>
                    <a:pt x="256" y="81"/>
                  </a:lnTo>
                  <a:lnTo>
                    <a:pt x="257" y="78"/>
                  </a:lnTo>
                  <a:lnTo>
                    <a:pt x="257" y="75"/>
                  </a:lnTo>
                  <a:lnTo>
                    <a:pt x="257" y="70"/>
                  </a:lnTo>
                  <a:lnTo>
                    <a:pt x="258" y="64"/>
                  </a:lnTo>
                  <a:lnTo>
                    <a:pt x="259" y="60"/>
                  </a:lnTo>
                  <a:lnTo>
                    <a:pt x="261" y="56"/>
                  </a:lnTo>
                  <a:lnTo>
                    <a:pt x="263" y="52"/>
                  </a:lnTo>
                  <a:lnTo>
                    <a:pt x="266" y="47"/>
                  </a:lnTo>
                  <a:lnTo>
                    <a:pt x="269" y="44"/>
                  </a:lnTo>
                  <a:lnTo>
                    <a:pt x="272" y="42"/>
                  </a:lnTo>
                  <a:lnTo>
                    <a:pt x="281" y="37"/>
                  </a:lnTo>
                  <a:lnTo>
                    <a:pt x="291" y="33"/>
                  </a:lnTo>
                  <a:lnTo>
                    <a:pt x="304" y="31"/>
                  </a:lnTo>
                  <a:lnTo>
                    <a:pt x="318" y="30"/>
                  </a:lnTo>
                  <a:lnTo>
                    <a:pt x="332" y="31"/>
                  </a:lnTo>
                  <a:lnTo>
                    <a:pt x="345" y="33"/>
                  </a:lnTo>
                  <a:lnTo>
                    <a:pt x="354" y="37"/>
                  </a:lnTo>
                  <a:lnTo>
                    <a:pt x="363" y="42"/>
                  </a:lnTo>
                  <a:lnTo>
                    <a:pt x="367" y="44"/>
                  </a:lnTo>
                  <a:lnTo>
                    <a:pt x="370" y="47"/>
                  </a:lnTo>
                  <a:lnTo>
                    <a:pt x="373" y="52"/>
                  </a:lnTo>
                  <a:lnTo>
                    <a:pt x="375" y="56"/>
                  </a:lnTo>
                  <a:lnTo>
                    <a:pt x="377" y="60"/>
                  </a:lnTo>
                  <a:lnTo>
                    <a:pt x="378" y="64"/>
                  </a:lnTo>
                  <a:lnTo>
                    <a:pt x="378" y="70"/>
                  </a:lnTo>
                  <a:lnTo>
                    <a:pt x="379" y="75"/>
                  </a:lnTo>
                  <a:lnTo>
                    <a:pt x="379" y="78"/>
                  </a:lnTo>
                  <a:lnTo>
                    <a:pt x="380" y="81"/>
                  </a:lnTo>
                  <a:lnTo>
                    <a:pt x="381" y="84"/>
                  </a:lnTo>
                  <a:lnTo>
                    <a:pt x="383" y="86"/>
                  </a:lnTo>
                  <a:lnTo>
                    <a:pt x="385" y="88"/>
                  </a:lnTo>
                  <a:lnTo>
                    <a:pt x="388" y="89"/>
                  </a:lnTo>
                  <a:lnTo>
                    <a:pt x="391" y="90"/>
                  </a:lnTo>
                  <a:lnTo>
                    <a:pt x="394" y="90"/>
                  </a:lnTo>
                  <a:lnTo>
                    <a:pt x="451" y="90"/>
                  </a:lnTo>
                  <a:lnTo>
                    <a:pt x="451" y="240"/>
                  </a:lnTo>
                  <a:lnTo>
                    <a:pt x="180" y="240"/>
                  </a:lnTo>
                  <a:lnTo>
                    <a:pt x="180" y="90"/>
                  </a:lnTo>
                  <a:close/>
                  <a:moveTo>
                    <a:pt x="375" y="781"/>
                  </a:moveTo>
                  <a:lnTo>
                    <a:pt x="75" y="781"/>
                  </a:lnTo>
                  <a:lnTo>
                    <a:pt x="63" y="780"/>
                  </a:lnTo>
                  <a:lnTo>
                    <a:pt x="54" y="779"/>
                  </a:lnTo>
                  <a:lnTo>
                    <a:pt x="46" y="776"/>
                  </a:lnTo>
                  <a:lnTo>
                    <a:pt x="40" y="772"/>
                  </a:lnTo>
                  <a:lnTo>
                    <a:pt x="35" y="765"/>
                  </a:lnTo>
                  <a:lnTo>
                    <a:pt x="32" y="758"/>
                  </a:lnTo>
                  <a:lnTo>
                    <a:pt x="30" y="748"/>
                  </a:lnTo>
                  <a:lnTo>
                    <a:pt x="30" y="736"/>
                  </a:lnTo>
                  <a:lnTo>
                    <a:pt x="30" y="150"/>
                  </a:lnTo>
                  <a:lnTo>
                    <a:pt x="150" y="150"/>
                  </a:lnTo>
                  <a:lnTo>
                    <a:pt x="150" y="180"/>
                  </a:lnTo>
                  <a:lnTo>
                    <a:pt x="75" y="180"/>
                  </a:lnTo>
                  <a:lnTo>
                    <a:pt x="72" y="181"/>
                  </a:lnTo>
                  <a:lnTo>
                    <a:pt x="69" y="182"/>
                  </a:lnTo>
                  <a:lnTo>
                    <a:pt x="67" y="183"/>
                  </a:lnTo>
                  <a:lnTo>
                    <a:pt x="64" y="185"/>
                  </a:lnTo>
                  <a:lnTo>
                    <a:pt x="62" y="187"/>
                  </a:lnTo>
                  <a:lnTo>
                    <a:pt x="61" y="190"/>
                  </a:lnTo>
                  <a:lnTo>
                    <a:pt x="60" y="193"/>
                  </a:lnTo>
                  <a:lnTo>
                    <a:pt x="60" y="195"/>
                  </a:lnTo>
                  <a:lnTo>
                    <a:pt x="60" y="736"/>
                  </a:lnTo>
                  <a:lnTo>
                    <a:pt x="60" y="740"/>
                  </a:lnTo>
                  <a:lnTo>
                    <a:pt x="61" y="742"/>
                  </a:lnTo>
                  <a:lnTo>
                    <a:pt x="62" y="745"/>
                  </a:lnTo>
                  <a:lnTo>
                    <a:pt x="64" y="747"/>
                  </a:lnTo>
                  <a:lnTo>
                    <a:pt x="67" y="748"/>
                  </a:lnTo>
                  <a:lnTo>
                    <a:pt x="69" y="750"/>
                  </a:lnTo>
                  <a:lnTo>
                    <a:pt x="72" y="750"/>
                  </a:lnTo>
                  <a:lnTo>
                    <a:pt x="75" y="751"/>
                  </a:lnTo>
                  <a:lnTo>
                    <a:pt x="355" y="751"/>
                  </a:lnTo>
                  <a:lnTo>
                    <a:pt x="359" y="750"/>
                  </a:lnTo>
                  <a:lnTo>
                    <a:pt x="362"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2" y="723"/>
                  </a:lnTo>
                  <a:lnTo>
                    <a:pt x="359"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60" y="270"/>
                  </a:lnTo>
                  <a:lnTo>
                    <a:pt x="162" y="270"/>
                  </a:lnTo>
                  <a:lnTo>
                    <a:pt x="165" y="271"/>
                  </a:lnTo>
                  <a:lnTo>
                    <a:pt x="466" y="271"/>
                  </a:lnTo>
                  <a:lnTo>
                    <a:pt x="469" y="270"/>
                  </a:lnTo>
                  <a:lnTo>
                    <a:pt x="471" y="270"/>
                  </a:lnTo>
                  <a:lnTo>
                    <a:pt x="474" y="268"/>
                  </a:lnTo>
                  <a:lnTo>
                    <a:pt x="476" y="267"/>
                  </a:lnTo>
                  <a:lnTo>
                    <a:pt x="477" y="264"/>
                  </a:lnTo>
                  <a:lnTo>
                    <a:pt x="480" y="261"/>
                  </a:lnTo>
                  <a:lnTo>
                    <a:pt x="480" y="259"/>
                  </a:lnTo>
                  <a:lnTo>
                    <a:pt x="481" y="256"/>
                  </a:lnTo>
                  <a:lnTo>
                    <a:pt x="481" y="210"/>
                  </a:lnTo>
                  <a:lnTo>
                    <a:pt x="541" y="210"/>
                  </a:lnTo>
                  <a:lnTo>
                    <a:pt x="541" y="361"/>
                  </a:lnTo>
                  <a:lnTo>
                    <a:pt x="541" y="364"/>
                  </a:lnTo>
                  <a:lnTo>
                    <a:pt x="542" y="366"/>
                  </a:lnTo>
                  <a:lnTo>
                    <a:pt x="543" y="369"/>
                  </a:lnTo>
                  <a:lnTo>
                    <a:pt x="545" y="371"/>
                  </a:lnTo>
                  <a:lnTo>
                    <a:pt x="547" y="374"/>
                  </a:lnTo>
                  <a:lnTo>
                    <a:pt x="549" y="375"/>
                  </a:lnTo>
                  <a:lnTo>
                    <a:pt x="552" y="376"/>
                  </a:lnTo>
                  <a:lnTo>
                    <a:pt x="556" y="376"/>
                  </a:lnTo>
                  <a:lnTo>
                    <a:pt x="559" y="376"/>
                  </a:lnTo>
                  <a:lnTo>
                    <a:pt x="561"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1" y="182"/>
                  </a:lnTo>
                  <a:lnTo>
                    <a:pt x="559" y="181"/>
                  </a:lnTo>
                  <a:lnTo>
                    <a:pt x="556" y="180"/>
                  </a:lnTo>
                  <a:lnTo>
                    <a:pt x="481" y="180"/>
                  </a:lnTo>
                  <a:lnTo>
                    <a:pt x="481" y="150"/>
                  </a:lnTo>
                  <a:lnTo>
                    <a:pt x="600" y="150"/>
                  </a:lnTo>
                  <a:lnTo>
                    <a:pt x="600" y="357"/>
                  </a:lnTo>
                  <a:lnTo>
                    <a:pt x="600" y="360"/>
                  </a:lnTo>
                  <a:lnTo>
                    <a:pt x="602" y="362"/>
                  </a:lnTo>
                  <a:lnTo>
                    <a:pt x="603" y="365"/>
                  </a:lnTo>
                  <a:lnTo>
                    <a:pt x="605" y="367"/>
                  </a:lnTo>
                  <a:lnTo>
                    <a:pt x="607" y="368"/>
                  </a:lnTo>
                  <a:lnTo>
                    <a:pt x="610" y="370"/>
                  </a:lnTo>
                  <a:lnTo>
                    <a:pt x="612" y="370"/>
                  </a:lnTo>
                  <a:lnTo>
                    <a:pt x="615" y="371"/>
                  </a:lnTo>
                  <a:lnTo>
                    <a:pt x="619" y="370"/>
                  </a:lnTo>
                  <a:lnTo>
                    <a:pt x="622"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2" y="121"/>
                  </a:lnTo>
                  <a:lnTo>
                    <a:pt x="619" y="121"/>
                  </a:lnTo>
                  <a:lnTo>
                    <a:pt x="615" y="120"/>
                  </a:lnTo>
                  <a:lnTo>
                    <a:pt x="481" y="120"/>
                  </a:lnTo>
                  <a:lnTo>
                    <a:pt x="481" y="75"/>
                  </a:lnTo>
                  <a:lnTo>
                    <a:pt x="480" y="72"/>
                  </a:lnTo>
                  <a:lnTo>
                    <a:pt x="480" y="70"/>
                  </a:lnTo>
                  <a:lnTo>
                    <a:pt x="477" y="68"/>
                  </a:lnTo>
                  <a:lnTo>
                    <a:pt x="476" y="64"/>
                  </a:lnTo>
                  <a:lnTo>
                    <a:pt x="474" y="63"/>
                  </a:lnTo>
                  <a:lnTo>
                    <a:pt x="471" y="61"/>
                  </a:lnTo>
                  <a:lnTo>
                    <a:pt x="469" y="60"/>
                  </a:lnTo>
                  <a:lnTo>
                    <a:pt x="466" y="60"/>
                  </a:lnTo>
                  <a:lnTo>
                    <a:pt x="407" y="60"/>
                  </a:lnTo>
                  <a:lnTo>
                    <a:pt x="405" y="52"/>
                  </a:lnTo>
                  <a:lnTo>
                    <a:pt x="400" y="41"/>
                  </a:lnTo>
                  <a:lnTo>
                    <a:pt x="398" y="37"/>
                  </a:lnTo>
                  <a:lnTo>
                    <a:pt x="395" y="31"/>
                  </a:lnTo>
                  <a:lnTo>
                    <a:pt x="391" y="26"/>
                  </a:lnTo>
                  <a:lnTo>
                    <a:pt x="385" y="22"/>
                  </a:lnTo>
                  <a:lnTo>
                    <a:pt x="380" y="17"/>
                  </a:lnTo>
                  <a:lnTo>
                    <a:pt x="375" y="13"/>
                  </a:lnTo>
                  <a:lnTo>
                    <a:pt x="367" y="10"/>
                  </a:lnTo>
                  <a:lnTo>
                    <a:pt x="360" y="7"/>
                  </a:lnTo>
                  <a:lnTo>
                    <a:pt x="350" y="3"/>
                  </a:lnTo>
                  <a:lnTo>
                    <a:pt x="340" y="1"/>
                  </a:lnTo>
                  <a:lnTo>
                    <a:pt x="330" y="0"/>
                  </a:lnTo>
                  <a:lnTo>
                    <a:pt x="318" y="0"/>
                  </a:lnTo>
                  <a:lnTo>
                    <a:pt x="306" y="0"/>
                  </a:lnTo>
                  <a:lnTo>
                    <a:pt x="294" y="1"/>
                  </a:lnTo>
                  <a:lnTo>
                    <a:pt x="285" y="3"/>
                  </a:lnTo>
                  <a:lnTo>
                    <a:pt x="276" y="7"/>
                  </a:lnTo>
                  <a:lnTo>
                    <a:pt x="269" y="10"/>
                  </a:lnTo>
                  <a:lnTo>
                    <a:pt x="261" y="13"/>
                  </a:lnTo>
                  <a:lnTo>
                    <a:pt x="255" y="17"/>
                  </a:lnTo>
                  <a:lnTo>
                    <a:pt x="249" y="22"/>
                  </a:lnTo>
                  <a:lnTo>
                    <a:pt x="245" y="26"/>
                  </a:lnTo>
                  <a:lnTo>
                    <a:pt x="241" y="31"/>
                  </a:lnTo>
                  <a:lnTo>
                    <a:pt x="238" y="37"/>
                  </a:lnTo>
                  <a:lnTo>
                    <a:pt x="235" y="41"/>
                  </a:lnTo>
                  <a:lnTo>
                    <a:pt x="231" y="52"/>
                  </a:lnTo>
                  <a:lnTo>
                    <a:pt x="228" y="60"/>
                  </a:lnTo>
                  <a:lnTo>
                    <a:pt x="165" y="60"/>
                  </a:lnTo>
                  <a:lnTo>
                    <a:pt x="162" y="60"/>
                  </a:lnTo>
                  <a:lnTo>
                    <a:pt x="160" y="61"/>
                  </a:lnTo>
                  <a:lnTo>
                    <a:pt x="156" y="63"/>
                  </a:lnTo>
                  <a:lnTo>
                    <a:pt x="154" y="64"/>
                  </a:lnTo>
                  <a:lnTo>
                    <a:pt x="152" y="68"/>
                  </a:lnTo>
                  <a:lnTo>
                    <a:pt x="151" y="70"/>
                  </a:lnTo>
                  <a:lnTo>
                    <a:pt x="150" y="72"/>
                  </a:lnTo>
                  <a:lnTo>
                    <a:pt x="150" y="75"/>
                  </a:lnTo>
                  <a:lnTo>
                    <a:pt x="150" y="120"/>
                  </a:lnTo>
                  <a:lnTo>
                    <a:pt x="15" y="120"/>
                  </a:lnTo>
                  <a:lnTo>
                    <a:pt x="12" y="121"/>
                  </a:lnTo>
                  <a:lnTo>
                    <a:pt x="9" y="121"/>
                  </a:lnTo>
                  <a:lnTo>
                    <a:pt x="7" y="123"/>
                  </a:lnTo>
                  <a:lnTo>
                    <a:pt x="4" y="125"/>
                  </a:lnTo>
                  <a:lnTo>
                    <a:pt x="2" y="127"/>
                  </a:lnTo>
                  <a:lnTo>
                    <a:pt x="1" y="130"/>
                  </a:lnTo>
                  <a:lnTo>
                    <a:pt x="0" y="133"/>
                  </a:lnTo>
                  <a:lnTo>
                    <a:pt x="0" y="135"/>
                  </a:lnTo>
                  <a:lnTo>
                    <a:pt x="0" y="736"/>
                  </a:lnTo>
                  <a:lnTo>
                    <a:pt x="0" y="745"/>
                  </a:lnTo>
                  <a:lnTo>
                    <a:pt x="1" y="754"/>
                  </a:lnTo>
                  <a:lnTo>
                    <a:pt x="2" y="762"/>
                  </a:lnTo>
                  <a:lnTo>
                    <a:pt x="4" y="770"/>
                  </a:lnTo>
                  <a:lnTo>
                    <a:pt x="8" y="776"/>
                  </a:lnTo>
                  <a:lnTo>
                    <a:pt x="11" y="782"/>
                  </a:lnTo>
                  <a:lnTo>
                    <a:pt x="14" y="788"/>
                  </a:lnTo>
                  <a:lnTo>
                    <a:pt x="18" y="793"/>
                  </a:lnTo>
                  <a:lnTo>
                    <a:pt x="24" y="797"/>
                  </a:lnTo>
                  <a:lnTo>
                    <a:pt x="29" y="801"/>
                  </a:lnTo>
                  <a:lnTo>
                    <a:pt x="35" y="804"/>
                  </a:lnTo>
                  <a:lnTo>
                    <a:pt x="42" y="807"/>
                  </a:lnTo>
                  <a:lnTo>
                    <a:pt x="49" y="808"/>
                  </a:lnTo>
                  <a:lnTo>
                    <a:pt x="57" y="810"/>
                  </a:lnTo>
                  <a:lnTo>
                    <a:pt x="65" y="811"/>
                  </a:lnTo>
                  <a:lnTo>
                    <a:pt x="75" y="811"/>
                  </a:lnTo>
                  <a:lnTo>
                    <a:pt x="375" y="811"/>
                  </a:lnTo>
                  <a:lnTo>
                    <a:pt x="378" y="811"/>
                  </a:lnTo>
                  <a:lnTo>
                    <a:pt x="380" y="810"/>
                  </a:lnTo>
                  <a:lnTo>
                    <a:pt x="383" y="809"/>
                  </a:lnTo>
                  <a:lnTo>
                    <a:pt x="385" y="807"/>
                  </a:lnTo>
                  <a:lnTo>
                    <a:pt x="388" y="805"/>
                  </a:lnTo>
                  <a:lnTo>
                    <a:pt x="389" y="803"/>
                  </a:lnTo>
                  <a:lnTo>
                    <a:pt x="390" y="800"/>
                  </a:lnTo>
                  <a:lnTo>
                    <a:pt x="390" y="796"/>
                  </a:lnTo>
                  <a:lnTo>
                    <a:pt x="390" y="793"/>
                  </a:lnTo>
                  <a:lnTo>
                    <a:pt x="389" y="791"/>
                  </a:lnTo>
                  <a:lnTo>
                    <a:pt x="388" y="788"/>
                  </a:lnTo>
                  <a:lnTo>
                    <a:pt x="385" y="786"/>
                  </a:lnTo>
                  <a:lnTo>
                    <a:pt x="383" y="784"/>
                  </a:lnTo>
                  <a:lnTo>
                    <a:pt x="380" y="782"/>
                  </a:lnTo>
                  <a:lnTo>
                    <a:pt x="378" y="781"/>
                  </a:lnTo>
                  <a:lnTo>
                    <a:pt x="375"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0" name="Freeform 342">
              <a:extLst>
                <a:ext uri="{FF2B5EF4-FFF2-40B4-BE49-F238E27FC236}">
                  <a16:creationId xmlns:a16="http://schemas.microsoft.com/office/drawing/2014/main" id="{EF90BD42-2943-4D36-B342-B08230FA0347}"/>
                </a:ext>
              </a:extLst>
            </p:cNvPr>
            <p:cNvSpPr>
              <a:spLocks/>
            </p:cNvSpPr>
            <p:nvPr/>
          </p:nvSpPr>
          <p:spPr bwMode="auto">
            <a:xfrm>
              <a:off x="11088688" y="260985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29 h 30"/>
                <a:gd name="T40" fmla="*/ 209 w 219"/>
                <a:gd name="T41" fmla="*/ 29 h 30"/>
                <a:gd name="T42" fmla="*/ 211 w 219"/>
                <a:gd name="T43" fmla="*/ 28 h 30"/>
                <a:gd name="T44" fmla="*/ 215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2"/>
                  </a:lnTo>
                  <a:lnTo>
                    <a:pt x="0" y="15"/>
                  </a:lnTo>
                  <a:lnTo>
                    <a:pt x="0" y="18"/>
                  </a:lnTo>
                  <a:lnTo>
                    <a:pt x="1" y="20"/>
                  </a:lnTo>
                  <a:lnTo>
                    <a:pt x="2" y="23"/>
                  </a:lnTo>
                  <a:lnTo>
                    <a:pt x="4" y="26"/>
                  </a:lnTo>
                  <a:lnTo>
                    <a:pt x="6" y="28"/>
                  </a:lnTo>
                  <a:lnTo>
                    <a:pt x="8" y="29"/>
                  </a:lnTo>
                  <a:lnTo>
                    <a:pt x="11" y="30"/>
                  </a:lnTo>
                  <a:lnTo>
                    <a:pt x="15" y="30"/>
                  </a:lnTo>
                  <a:lnTo>
                    <a:pt x="204" y="30"/>
                  </a:lnTo>
                  <a:lnTo>
                    <a:pt x="206" y="29"/>
                  </a:lnTo>
                  <a:lnTo>
                    <a:pt x="209" y="29"/>
                  </a:lnTo>
                  <a:lnTo>
                    <a:pt x="211" y="28"/>
                  </a:lnTo>
                  <a:lnTo>
                    <a:pt x="215" y="26"/>
                  </a:lnTo>
                  <a:lnTo>
                    <a:pt x="216" y="23"/>
                  </a:lnTo>
                  <a:lnTo>
                    <a:pt x="218" y="20"/>
                  </a:lnTo>
                  <a:lnTo>
                    <a:pt x="218" y="18"/>
                  </a:lnTo>
                  <a:lnTo>
                    <a:pt x="219" y="15"/>
                  </a:lnTo>
                  <a:lnTo>
                    <a:pt x="218" y="12"/>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1" name="Freeform 343">
              <a:extLst>
                <a:ext uri="{FF2B5EF4-FFF2-40B4-BE49-F238E27FC236}">
                  <a16:creationId xmlns:a16="http://schemas.microsoft.com/office/drawing/2014/main" id="{B6D89EBD-EEAD-46F7-A217-DCE52E80EEA7}"/>
                </a:ext>
              </a:extLst>
            </p:cNvPr>
            <p:cNvSpPr>
              <a:spLocks/>
            </p:cNvSpPr>
            <p:nvPr/>
          </p:nvSpPr>
          <p:spPr bwMode="auto">
            <a:xfrm>
              <a:off x="11088688" y="2638426"/>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8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1"/>
                  </a:lnTo>
                  <a:lnTo>
                    <a:pt x="0" y="15"/>
                  </a:lnTo>
                  <a:lnTo>
                    <a:pt x="0" y="18"/>
                  </a:lnTo>
                  <a:lnTo>
                    <a:pt x="1" y="21"/>
                  </a:lnTo>
                  <a:lnTo>
                    <a:pt x="2" y="23"/>
                  </a:lnTo>
                  <a:lnTo>
                    <a:pt x="4" y="25"/>
                  </a:lnTo>
                  <a:lnTo>
                    <a:pt x="6" y="28"/>
                  </a:lnTo>
                  <a:lnTo>
                    <a:pt x="8" y="29"/>
                  </a:lnTo>
                  <a:lnTo>
                    <a:pt x="11" y="30"/>
                  </a:lnTo>
                  <a:lnTo>
                    <a:pt x="15" y="30"/>
                  </a:lnTo>
                  <a:lnTo>
                    <a:pt x="204" y="30"/>
                  </a:lnTo>
                  <a:lnTo>
                    <a:pt x="206" y="30"/>
                  </a:lnTo>
                  <a:lnTo>
                    <a:pt x="209" y="29"/>
                  </a:lnTo>
                  <a:lnTo>
                    <a:pt x="211" y="28"/>
                  </a:lnTo>
                  <a:lnTo>
                    <a:pt x="215" y="25"/>
                  </a:lnTo>
                  <a:lnTo>
                    <a:pt x="216" y="23"/>
                  </a:lnTo>
                  <a:lnTo>
                    <a:pt x="218" y="21"/>
                  </a:lnTo>
                  <a:lnTo>
                    <a:pt x="218" y="18"/>
                  </a:lnTo>
                  <a:lnTo>
                    <a:pt x="219" y="15"/>
                  </a:lnTo>
                  <a:lnTo>
                    <a:pt x="218" y="11"/>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2" name="Freeform 344">
              <a:extLst>
                <a:ext uri="{FF2B5EF4-FFF2-40B4-BE49-F238E27FC236}">
                  <a16:creationId xmlns:a16="http://schemas.microsoft.com/office/drawing/2014/main" id="{56D3ADEE-7F17-4553-962A-A5FB8047616D}"/>
                </a:ext>
              </a:extLst>
            </p:cNvPr>
            <p:cNvSpPr>
              <a:spLocks/>
            </p:cNvSpPr>
            <p:nvPr/>
          </p:nvSpPr>
          <p:spPr bwMode="auto">
            <a:xfrm>
              <a:off x="11088688" y="266700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7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7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5 w 219"/>
                <a:gd name="T61" fmla="*/ 4 h 30"/>
                <a:gd name="T62" fmla="*/ 211 w 219"/>
                <a:gd name="T63" fmla="*/ 3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3"/>
                  </a:lnTo>
                  <a:lnTo>
                    <a:pt x="4" y="4"/>
                  </a:lnTo>
                  <a:lnTo>
                    <a:pt x="2" y="7"/>
                  </a:lnTo>
                  <a:lnTo>
                    <a:pt x="1" y="9"/>
                  </a:lnTo>
                  <a:lnTo>
                    <a:pt x="0" y="12"/>
                  </a:lnTo>
                  <a:lnTo>
                    <a:pt x="0" y="15"/>
                  </a:lnTo>
                  <a:lnTo>
                    <a:pt x="0" y="18"/>
                  </a:lnTo>
                  <a:lnTo>
                    <a:pt x="1" y="21"/>
                  </a:lnTo>
                  <a:lnTo>
                    <a:pt x="2" y="23"/>
                  </a:lnTo>
                  <a:lnTo>
                    <a:pt x="4" y="25"/>
                  </a:lnTo>
                  <a:lnTo>
                    <a:pt x="6" y="27"/>
                  </a:lnTo>
                  <a:lnTo>
                    <a:pt x="8" y="29"/>
                  </a:lnTo>
                  <a:lnTo>
                    <a:pt x="11" y="30"/>
                  </a:lnTo>
                  <a:lnTo>
                    <a:pt x="15" y="30"/>
                  </a:lnTo>
                  <a:lnTo>
                    <a:pt x="204" y="30"/>
                  </a:lnTo>
                  <a:lnTo>
                    <a:pt x="206" y="30"/>
                  </a:lnTo>
                  <a:lnTo>
                    <a:pt x="209" y="29"/>
                  </a:lnTo>
                  <a:lnTo>
                    <a:pt x="211" y="27"/>
                  </a:lnTo>
                  <a:lnTo>
                    <a:pt x="215" y="25"/>
                  </a:lnTo>
                  <a:lnTo>
                    <a:pt x="216" y="23"/>
                  </a:lnTo>
                  <a:lnTo>
                    <a:pt x="218" y="21"/>
                  </a:lnTo>
                  <a:lnTo>
                    <a:pt x="218" y="18"/>
                  </a:lnTo>
                  <a:lnTo>
                    <a:pt x="219" y="15"/>
                  </a:lnTo>
                  <a:lnTo>
                    <a:pt x="218" y="12"/>
                  </a:lnTo>
                  <a:lnTo>
                    <a:pt x="218" y="9"/>
                  </a:lnTo>
                  <a:lnTo>
                    <a:pt x="216" y="7"/>
                  </a:lnTo>
                  <a:lnTo>
                    <a:pt x="215" y="4"/>
                  </a:lnTo>
                  <a:lnTo>
                    <a:pt x="211" y="3"/>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3" name="Freeform 346">
              <a:extLst>
                <a:ext uri="{FF2B5EF4-FFF2-40B4-BE49-F238E27FC236}">
                  <a16:creationId xmlns:a16="http://schemas.microsoft.com/office/drawing/2014/main" id="{DFCC5C27-69EB-48C5-A840-A4C7750CCFE9}"/>
                </a:ext>
              </a:extLst>
            </p:cNvPr>
            <p:cNvSpPr>
              <a:spLocks/>
            </p:cNvSpPr>
            <p:nvPr/>
          </p:nvSpPr>
          <p:spPr bwMode="auto">
            <a:xfrm>
              <a:off x="11088688" y="2695575"/>
              <a:ext cx="46038" cy="9525"/>
            </a:xfrm>
            <a:custGeom>
              <a:avLst/>
              <a:gdLst>
                <a:gd name="T0" fmla="*/ 128 w 143"/>
                <a:gd name="T1" fmla="*/ 29 h 29"/>
                <a:gd name="T2" fmla="*/ 131 w 143"/>
                <a:gd name="T3" fmla="*/ 29 h 29"/>
                <a:gd name="T4" fmla="*/ 133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3 w 143"/>
                <a:gd name="T29" fmla="*/ 2 h 29"/>
                <a:gd name="T30" fmla="*/ 131 w 143"/>
                <a:gd name="T31" fmla="*/ 1 h 29"/>
                <a:gd name="T32" fmla="*/ 128 w 143"/>
                <a:gd name="T33" fmla="*/ 0 h 29"/>
                <a:gd name="T34" fmla="*/ 15 w 143"/>
                <a:gd name="T35" fmla="*/ 0 h 29"/>
                <a:gd name="T36" fmla="*/ 11 w 143"/>
                <a:gd name="T37" fmla="*/ 1 h 29"/>
                <a:gd name="T38" fmla="*/ 8 w 143"/>
                <a:gd name="T39" fmla="*/ 2 h 29"/>
                <a:gd name="T40" fmla="*/ 6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6 w 143"/>
                <a:gd name="T61" fmla="*/ 27 h 29"/>
                <a:gd name="T62" fmla="*/ 8 w 143"/>
                <a:gd name="T63" fmla="*/ 28 h 29"/>
                <a:gd name="T64" fmla="*/ 11 w 143"/>
                <a:gd name="T65" fmla="*/ 29 h 29"/>
                <a:gd name="T66" fmla="*/ 15 w 143"/>
                <a:gd name="T67" fmla="*/ 29 h 29"/>
                <a:gd name="T68" fmla="*/ 128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8" y="29"/>
                  </a:moveTo>
                  <a:lnTo>
                    <a:pt x="131" y="29"/>
                  </a:lnTo>
                  <a:lnTo>
                    <a:pt x="133"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3" y="2"/>
                  </a:lnTo>
                  <a:lnTo>
                    <a:pt x="131" y="1"/>
                  </a:lnTo>
                  <a:lnTo>
                    <a:pt x="128" y="0"/>
                  </a:lnTo>
                  <a:lnTo>
                    <a:pt x="15" y="0"/>
                  </a:lnTo>
                  <a:lnTo>
                    <a:pt x="11" y="1"/>
                  </a:lnTo>
                  <a:lnTo>
                    <a:pt x="8" y="2"/>
                  </a:lnTo>
                  <a:lnTo>
                    <a:pt x="6" y="3"/>
                  </a:lnTo>
                  <a:lnTo>
                    <a:pt x="4" y="5"/>
                  </a:lnTo>
                  <a:lnTo>
                    <a:pt x="2" y="7"/>
                  </a:lnTo>
                  <a:lnTo>
                    <a:pt x="1" y="9"/>
                  </a:lnTo>
                  <a:lnTo>
                    <a:pt x="0" y="12"/>
                  </a:lnTo>
                  <a:lnTo>
                    <a:pt x="0" y="14"/>
                  </a:lnTo>
                  <a:lnTo>
                    <a:pt x="0" y="18"/>
                  </a:lnTo>
                  <a:lnTo>
                    <a:pt x="1" y="21"/>
                  </a:lnTo>
                  <a:lnTo>
                    <a:pt x="2" y="23"/>
                  </a:lnTo>
                  <a:lnTo>
                    <a:pt x="4" y="26"/>
                  </a:lnTo>
                  <a:lnTo>
                    <a:pt x="6" y="27"/>
                  </a:lnTo>
                  <a:lnTo>
                    <a:pt x="8" y="28"/>
                  </a:lnTo>
                  <a:lnTo>
                    <a:pt x="11" y="29"/>
                  </a:lnTo>
                  <a:lnTo>
                    <a:pt x="15" y="29"/>
                  </a:lnTo>
                  <a:lnTo>
                    <a:pt x="12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02" name="Freeform 85">
            <a:extLst>
              <a:ext uri="{FF2B5EF4-FFF2-40B4-BE49-F238E27FC236}">
                <a16:creationId xmlns:a16="http://schemas.microsoft.com/office/drawing/2014/main" id="{DE963FA8-79C6-4555-BF4C-A0C42CD84001}"/>
              </a:ext>
            </a:extLst>
          </p:cNvPr>
          <p:cNvSpPr>
            <a:spLocks noChangeAspect="1" noEditPoints="1"/>
          </p:cNvSpPr>
          <p:nvPr/>
        </p:nvSpPr>
        <p:spPr bwMode="auto">
          <a:xfrm rot="9000000">
            <a:off x="7970755" y="4317626"/>
            <a:ext cx="97651" cy="362711"/>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07" name="Gruppieren 606">
            <a:extLst>
              <a:ext uri="{FF2B5EF4-FFF2-40B4-BE49-F238E27FC236}">
                <a16:creationId xmlns:a16="http://schemas.microsoft.com/office/drawing/2014/main" id="{72FD3C36-49AD-4435-8FD9-B3E322CEDCFD}"/>
              </a:ext>
            </a:extLst>
          </p:cNvPr>
          <p:cNvGrpSpPr>
            <a:grpSpLocks noChangeAspect="1"/>
          </p:cNvGrpSpPr>
          <p:nvPr/>
        </p:nvGrpSpPr>
        <p:grpSpPr>
          <a:xfrm>
            <a:off x="8267459" y="4344909"/>
            <a:ext cx="361633" cy="308144"/>
            <a:chOff x="7191868" y="2875794"/>
            <a:chExt cx="358492" cy="305468"/>
          </a:xfrm>
          <a:solidFill>
            <a:schemeClr val="bg2"/>
          </a:solidFill>
          <a:effectLst/>
        </p:grpSpPr>
        <p:sp>
          <p:nvSpPr>
            <p:cNvPr id="608" name="Freeform 132">
              <a:extLst>
                <a:ext uri="{FF2B5EF4-FFF2-40B4-BE49-F238E27FC236}">
                  <a16:creationId xmlns:a16="http://schemas.microsoft.com/office/drawing/2014/main" id="{86296A02-360C-4D1B-AF3D-145E2F718B01}"/>
                </a:ext>
              </a:extLst>
            </p:cNvPr>
            <p:cNvSpPr>
              <a:spLocks/>
            </p:cNvSpPr>
            <p:nvPr/>
          </p:nvSpPr>
          <p:spPr bwMode="auto">
            <a:xfrm>
              <a:off x="7311749" y="2914986"/>
              <a:ext cx="79537" cy="13832"/>
            </a:xfrm>
            <a:custGeom>
              <a:avLst/>
              <a:gdLst>
                <a:gd name="T0" fmla="*/ 252 w 276"/>
                <a:gd name="T1" fmla="*/ 45 h 45"/>
                <a:gd name="T2" fmla="*/ 22 w 276"/>
                <a:gd name="T3" fmla="*/ 45 h 45"/>
                <a:gd name="T4" fmla="*/ 18 w 276"/>
                <a:gd name="T5" fmla="*/ 45 h 45"/>
                <a:gd name="T6" fmla="*/ 13 w 276"/>
                <a:gd name="T7" fmla="*/ 44 h 45"/>
                <a:gd name="T8" fmla="*/ 10 w 276"/>
                <a:gd name="T9" fmla="*/ 42 h 45"/>
                <a:gd name="T10" fmla="*/ 6 w 276"/>
                <a:gd name="T11" fmla="*/ 39 h 45"/>
                <a:gd name="T12" fmla="*/ 3 w 276"/>
                <a:gd name="T13" fmla="*/ 35 h 45"/>
                <a:gd name="T14" fmla="*/ 1 w 276"/>
                <a:gd name="T15" fmla="*/ 32 h 45"/>
                <a:gd name="T16" fmla="*/ 0 w 276"/>
                <a:gd name="T17" fmla="*/ 27 h 45"/>
                <a:gd name="T18" fmla="*/ 0 w 276"/>
                <a:gd name="T19" fmla="*/ 22 h 45"/>
                <a:gd name="T20" fmla="*/ 0 w 276"/>
                <a:gd name="T21" fmla="*/ 18 h 45"/>
                <a:gd name="T22" fmla="*/ 1 w 276"/>
                <a:gd name="T23" fmla="*/ 13 h 45"/>
                <a:gd name="T24" fmla="*/ 3 w 276"/>
                <a:gd name="T25" fmla="*/ 10 h 45"/>
                <a:gd name="T26" fmla="*/ 6 w 276"/>
                <a:gd name="T27" fmla="*/ 6 h 45"/>
                <a:gd name="T28" fmla="*/ 10 w 276"/>
                <a:gd name="T29" fmla="*/ 4 h 45"/>
                <a:gd name="T30" fmla="*/ 13 w 276"/>
                <a:gd name="T31" fmla="*/ 1 h 45"/>
                <a:gd name="T32" fmla="*/ 18 w 276"/>
                <a:gd name="T33" fmla="*/ 0 h 45"/>
                <a:gd name="T34" fmla="*/ 22 w 276"/>
                <a:gd name="T35" fmla="*/ 0 h 45"/>
                <a:gd name="T36" fmla="*/ 252 w 276"/>
                <a:gd name="T37" fmla="*/ 0 h 45"/>
                <a:gd name="T38" fmla="*/ 257 w 276"/>
                <a:gd name="T39" fmla="*/ 0 h 45"/>
                <a:gd name="T40" fmla="*/ 261 w 276"/>
                <a:gd name="T41" fmla="*/ 1 h 45"/>
                <a:gd name="T42" fmla="*/ 266 w 276"/>
                <a:gd name="T43" fmla="*/ 4 h 45"/>
                <a:gd name="T44" fmla="*/ 268 w 276"/>
                <a:gd name="T45" fmla="*/ 6 h 45"/>
                <a:gd name="T46" fmla="*/ 272 w 276"/>
                <a:gd name="T47" fmla="*/ 10 h 45"/>
                <a:gd name="T48" fmla="*/ 273 w 276"/>
                <a:gd name="T49" fmla="*/ 13 h 45"/>
                <a:gd name="T50" fmla="*/ 276 w 276"/>
                <a:gd name="T51" fmla="*/ 18 h 45"/>
                <a:gd name="T52" fmla="*/ 276 w 276"/>
                <a:gd name="T53" fmla="*/ 22 h 45"/>
                <a:gd name="T54" fmla="*/ 276 w 276"/>
                <a:gd name="T55" fmla="*/ 27 h 45"/>
                <a:gd name="T56" fmla="*/ 273 w 276"/>
                <a:gd name="T57" fmla="*/ 32 h 45"/>
                <a:gd name="T58" fmla="*/ 272 w 276"/>
                <a:gd name="T59" fmla="*/ 35 h 45"/>
                <a:gd name="T60" fmla="*/ 268 w 276"/>
                <a:gd name="T61" fmla="*/ 39 h 45"/>
                <a:gd name="T62" fmla="*/ 266 w 276"/>
                <a:gd name="T63" fmla="*/ 42 h 45"/>
                <a:gd name="T64" fmla="*/ 261 w 276"/>
                <a:gd name="T65" fmla="*/ 44 h 45"/>
                <a:gd name="T66" fmla="*/ 257 w 276"/>
                <a:gd name="T67" fmla="*/ 45 h 45"/>
                <a:gd name="T68" fmla="*/ 252 w 276"/>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45">
                  <a:moveTo>
                    <a:pt x="252" y="45"/>
                  </a:moveTo>
                  <a:lnTo>
                    <a:pt x="22" y="45"/>
                  </a:lnTo>
                  <a:lnTo>
                    <a:pt x="18" y="45"/>
                  </a:lnTo>
                  <a:lnTo>
                    <a:pt x="13" y="44"/>
                  </a:lnTo>
                  <a:lnTo>
                    <a:pt x="10" y="42"/>
                  </a:lnTo>
                  <a:lnTo>
                    <a:pt x="6" y="39"/>
                  </a:lnTo>
                  <a:lnTo>
                    <a:pt x="3" y="35"/>
                  </a:lnTo>
                  <a:lnTo>
                    <a:pt x="1" y="32"/>
                  </a:lnTo>
                  <a:lnTo>
                    <a:pt x="0" y="27"/>
                  </a:lnTo>
                  <a:lnTo>
                    <a:pt x="0" y="22"/>
                  </a:lnTo>
                  <a:lnTo>
                    <a:pt x="0" y="18"/>
                  </a:lnTo>
                  <a:lnTo>
                    <a:pt x="1" y="13"/>
                  </a:lnTo>
                  <a:lnTo>
                    <a:pt x="3" y="10"/>
                  </a:lnTo>
                  <a:lnTo>
                    <a:pt x="6" y="6"/>
                  </a:lnTo>
                  <a:lnTo>
                    <a:pt x="10" y="4"/>
                  </a:lnTo>
                  <a:lnTo>
                    <a:pt x="13" y="1"/>
                  </a:lnTo>
                  <a:lnTo>
                    <a:pt x="18" y="0"/>
                  </a:lnTo>
                  <a:lnTo>
                    <a:pt x="22" y="0"/>
                  </a:lnTo>
                  <a:lnTo>
                    <a:pt x="252" y="0"/>
                  </a:lnTo>
                  <a:lnTo>
                    <a:pt x="257" y="0"/>
                  </a:lnTo>
                  <a:lnTo>
                    <a:pt x="261" y="1"/>
                  </a:lnTo>
                  <a:lnTo>
                    <a:pt x="266" y="4"/>
                  </a:lnTo>
                  <a:lnTo>
                    <a:pt x="268" y="6"/>
                  </a:lnTo>
                  <a:lnTo>
                    <a:pt x="272" y="10"/>
                  </a:lnTo>
                  <a:lnTo>
                    <a:pt x="273" y="13"/>
                  </a:lnTo>
                  <a:lnTo>
                    <a:pt x="276" y="18"/>
                  </a:lnTo>
                  <a:lnTo>
                    <a:pt x="276" y="22"/>
                  </a:lnTo>
                  <a:lnTo>
                    <a:pt x="276" y="27"/>
                  </a:lnTo>
                  <a:lnTo>
                    <a:pt x="273" y="32"/>
                  </a:lnTo>
                  <a:lnTo>
                    <a:pt x="272" y="35"/>
                  </a:lnTo>
                  <a:lnTo>
                    <a:pt x="268" y="39"/>
                  </a:lnTo>
                  <a:lnTo>
                    <a:pt x="266" y="42"/>
                  </a:lnTo>
                  <a:lnTo>
                    <a:pt x="261" y="44"/>
                  </a:lnTo>
                  <a:lnTo>
                    <a:pt x="257" y="45"/>
                  </a:lnTo>
                  <a:lnTo>
                    <a:pt x="252"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9" name="Freeform 133">
              <a:extLst>
                <a:ext uri="{FF2B5EF4-FFF2-40B4-BE49-F238E27FC236}">
                  <a16:creationId xmlns:a16="http://schemas.microsoft.com/office/drawing/2014/main" id="{296ECC46-E27E-4558-9F6E-79C2ABE2FE2F}"/>
                </a:ext>
              </a:extLst>
            </p:cNvPr>
            <p:cNvSpPr>
              <a:spLocks/>
            </p:cNvSpPr>
            <p:nvPr/>
          </p:nvSpPr>
          <p:spPr bwMode="auto">
            <a:xfrm>
              <a:off x="7244892" y="2955330"/>
              <a:ext cx="212098" cy="12680"/>
            </a:xfrm>
            <a:custGeom>
              <a:avLst/>
              <a:gdLst>
                <a:gd name="T0" fmla="*/ 714 w 737"/>
                <a:gd name="T1" fmla="*/ 47 h 47"/>
                <a:gd name="T2" fmla="*/ 22 w 737"/>
                <a:gd name="T3" fmla="*/ 47 h 47"/>
                <a:gd name="T4" fmla="*/ 19 w 737"/>
                <a:gd name="T5" fmla="*/ 47 h 47"/>
                <a:gd name="T6" fmla="*/ 14 w 737"/>
                <a:gd name="T7" fmla="*/ 44 h 47"/>
                <a:gd name="T8" fmla="*/ 10 w 737"/>
                <a:gd name="T9" fmla="*/ 43 h 47"/>
                <a:gd name="T10" fmla="*/ 6 w 737"/>
                <a:gd name="T11" fmla="*/ 39 h 47"/>
                <a:gd name="T12" fmla="*/ 4 w 737"/>
                <a:gd name="T13" fmla="*/ 37 h 47"/>
                <a:gd name="T14" fmla="*/ 1 w 737"/>
                <a:gd name="T15" fmla="*/ 32 h 47"/>
                <a:gd name="T16" fmla="*/ 0 w 737"/>
                <a:gd name="T17" fmla="*/ 28 h 47"/>
                <a:gd name="T18" fmla="*/ 0 w 737"/>
                <a:gd name="T19" fmla="*/ 24 h 47"/>
                <a:gd name="T20" fmla="*/ 0 w 737"/>
                <a:gd name="T21" fmla="*/ 19 h 47"/>
                <a:gd name="T22" fmla="*/ 1 w 737"/>
                <a:gd name="T23" fmla="*/ 15 h 47"/>
                <a:gd name="T24" fmla="*/ 4 w 737"/>
                <a:gd name="T25" fmla="*/ 11 h 47"/>
                <a:gd name="T26" fmla="*/ 6 w 737"/>
                <a:gd name="T27" fmla="*/ 8 h 47"/>
                <a:gd name="T28" fmla="*/ 10 w 737"/>
                <a:gd name="T29" fmla="*/ 5 h 47"/>
                <a:gd name="T30" fmla="*/ 14 w 737"/>
                <a:gd name="T31" fmla="*/ 3 h 47"/>
                <a:gd name="T32" fmla="*/ 19 w 737"/>
                <a:gd name="T33" fmla="*/ 1 h 47"/>
                <a:gd name="T34" fmla="*/ 22 w 737"/>
                <a:gd name="T35" fmla="*/ 0 h 47"/>
                <a:gd name="T36" fmla="*/ 714 w 737"/>
                <a:gd name="T37" fmla="*/ 0 h 47"/>
                <a:gd name="T38" fmla="*/ 719 w 737"/>
                <a:gd name="T39" fmla="*/ 1 h 47"/>
                <a:gd name="T40" fmla="*/ 723 w 737"/>
                <a:gd name="T41" fmla="*/ 3 h 47"/>
                <a:gd name="T42" fmla="*/ 726 w 737"/>
                <a:gd name="T43" fmla="*/ 5 h 47"/>
                <a:gd name="T44" fmla="*/ 730 w 737"/>
                <a:gd name="T45" fmla="*/ 8 h 47"/>
                <a:gd name="T46" fmla="*/ 734 w 737"/>
                <a:gd name="T47" fmla="*/ 11 h 47"/>
                <a:gd name="T48" fmla="*/ 735 w 737"/>
                <a:gd name="T49" fmla="*/ 15 h 47"/>
                <a:gd name="T50" fmla="*/ 736 w 737"/>
                <a:gd name="T51" fmla="*/ 19 h 47"/>
                <a:gd name="T52" fmla="*/ 737 w 737"/>
                <a:gd name="T53" fmla="*/ 24 h 47"/>
                <a:gd name="T54" fmla="*/ 736 w 737"/>
                <a:gd name="T55" fmla="*/ 28 h 47"/>
                <a:gd name="T56" fmla="*/ 735 w 737"/>
                <a:gd name="T57" fmla="*/ 32 h 47"/>
                <a:gd name="T58" fmla="*/ 734 w 737"/>
                <a:gd name="T59" fmla="*/ 37 h 47"/>
                <a:gd name="T60" fmla="*/ 730 w 737"/>
                <a:gd name="T61" fmla="*/ 39 h 47"/>
                <a:gd name="T62" fmla="*/ 726 w 737"/>
                <a:gd name="T63" fmla="*/ 43 h 47"/>
                <a:gd name="T64" fmla="*/ 723 w 737"/>
                <a:gd name="T65" fmla="*/ 44 h 47"/>
                <a:gd name="T66" fmla="*/ 719 w 737"/>
                <a:gd name="T67" fmla="*/ 47 h 47"/>
                <a:gd name="T68" fmla="*/ 714 w 737"/>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7" h="47">
                  <a:moveTo>
                    <a:pt x="714" y="47"/>
                  </a:moveTo>
                  <a:lnTo>
                    <a:pt x="22" y="47"/>
                  </a:lnTo>
                  <a:lnTo>
                    <a:pt x="19" y="47"/>
                  </a:lnTo>
                  <a:lnTo>
                    <a:pt x="14" y="44"/>
                  </a:lnTo>
                  <a:lnTo>
                    <a:pt x="10" y="43"/>
                  </a:lnTo>
                  <a:lnTo>
                    <a:pt x="6" y="39"/>
                  </a:lnTo>
                  <a:lnTo>
                    <a:pt x="4" y="37"/>
                  </a:lnTo>
                  <a:lnTo>
                    <a:pt x="1" y="32"/>
                  </a:lnTo>
                  <a:lnTo>
                    <a:pt x="0" y="28"/>
                  </a:lnTo>
                  <a:lnTo>
                    <a:pt x="0" y="24"/>
                  </a:lnTo>
                  <a:lnTo>
                    <a:pt x="0" y="19"/>
                  </a:lnTo>
                  <a:lnTo>
                    <a:pt x="1" y="15"/>
                  </a:lnTo>
                  <a:lnTo>
                    <a:pt x="4" y="11"/>
                  </a:lnTo>
                  <a:lnTo>
                    <a:pt x="6" y="8"/>
                  </a:lnTo>
                  <a:lnTo>
                    <a:pt x="10" y="5"/>
                  </a:lnTo>
                  <a:lnTo>
                    <a:pt x="14" y="3"/>
                  </a:lnTo>
                  <a:lnTo>
                    <a:pt x="19" y="1"/>
                  </a:lnTo>
                  <a:lnTo>
                    <a:pt x="22" y="0"/>
                  </a:lnTo>
                  <a:lnTo>
                    <a:pt x="714" y="0"/>
                  </a:lnTo>
                  <a:lnTo>
                    <a:pt x="719" y="1"/>
                  </a:lnTo>
                  <a:lnTo>
                    <a:pt x="723" y="3"/>
                  </a:lnTo>
                  <a:lnTo>
                    <a:pt x="726" y="5"/>
                  </a:lnTo>
                  <a:lnTo>
                    <a:pt x="730" y="8"/>
                  </a:lnTo>
                  <a:lnTo>
                    <a:pt x="734" y="11"/>
                  </a:lnTo>
                  <a:lnTo>
                    <a:pt x="735" y="15"/>
                  </a:lnTo>
                  <a:lnTo>
                    <a:pt x="736" y="19"/>
                  </a:lnTo>
                  <a:lnTo>
                    <a:pt x="737" y="24"/>
                  </a:lnTo>
                  <a:lnTo>
                    <a:pt x="736" y="28"/>
                  </a:lnTo>
                  <a:lnTo>
                    <a:pt x="735" y="32"/>
                  </a:lnTo>
                  <a:lnTo>
                    <a:pt x="734" y="37"/>
                  </a:lnTo>
                  <a:lnTo>
                    <a:pt x="730" y="39"/>
                  </a:lnTo>
                  <a:lnTo>
                    <a:pt x="726" y="43"/>
                  </a:lnTo>
                  <a:lnTo>
                    <a:pt x="723" y="44"/>
                  </a:lnTo>
                  <a:lnTo>
                    <a:pt x="719" y="47"/>
                  </a:lnTo>
                  <a:lnTo>
                    <a:pt x="714" y="4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0" name="Freeform 134">
              <a:extLst>
                <a:ext uri="{FF2B5EF4-FFF2-40B4-BE49-F238E27FC236}">
                  <a16:creationId xmlns:a16="http://schemas.microsoft.com/office/drawing/2014/main" id="{9701979D-9665-4C4E-835E-B62BA93A2213}"/>
                </a:ext>
              </a:extLst>
            </p:cNvPr>
            <p:cNvSpPr>
              <a:spLocks/>
            </p:cNvSpPr>
            <p:nvPr/>
          </p:nvSpPr>
          <p:spPr bwMode="auto">
            <a:xfrm>
              <a:off x="7244892" y="2994523"/>
              <a:ext cx="212098" cy="13832"/>
            </a:xfrm>
            <a:custGeom>
              <a:avLst/>
              <a:gdLst>
                <a:gd name="T0" fmla="*/ 714 w 737"/>
                <a:gd name="T1" fmla="*/ 46 h 46"/>
                <a:gd name="T2" fmla="*/ 22 w 737"/>
                <a:gd name="T3" fmla="*/ 46 h 46"/>
                <a:gd name="T4" fmla="*/ 19 w 737"/>
                <a:gd name="T5" fmla="*/ 45 h 46"/>
                <a:gd name="T6" fmla="*/ 14 w 737"/>
                <a:gd name="T7" fmla="*/ 44 h 46"/>
                <a:gd name="T8" fmla="*/ 10 w 737"/>
                <a:gd name="T9" fmla="*/ 42 h 46"/>
                <a:gd name="T10" fmla="*/ 6 w 737"/>
                <a:gd name="T11" fmla="*/ 39 h 46"/>
                <a:gd name="T12" fmla="*/ 4 w 737"/>
                <a:gd name="T13" fmla="*/ 35 h 46"/>
                <a:gd name="T14" fmla="*/ 1 w 737"/>
                <a:gd name="T15" fmla="*/ 32 h 46"/>
                <a:gd name="T16" fmla="*/ 0 w 737"/>
                <a:gd name="T17" fmla="*/ 28 h 46"/>
                <a:gd name="T18" fmla="*/ 0 w 737"/>
                <a:gd name="T19" fmla="*/ 23 h 46"/>
                <a:gd name="T20" fmla="*/ 0 w 737"/>
                <a:gd name="T21" fmla="*/ 18 h 46"/>
                <a:gd name="T22" fmla="*/ 1 w 737"/>
                <a:gd name="T23" fmla="*/ 15 h 46"/>
                <a:gd name="T24" fmla="*/ 4 w 737"/>
                <a:gd name="T25" fmla="*/ 10 h 46"/>
                <a:gd name="T26" fmla="*/ 6 w 737"/>
                <a:gd name="T27" fmla="*/ 7 h 46"/>
                <a:gd name="T28" fmla="*/ 10 w 737"/>
                <a:gd name="T29" fmla="*/ 4 h 46"/>
                <a:gd name="T30" fmla="*/ 14 w 737"/>
                <a:gd name="T31" fmla="*/ 2 h 46"/>
                <a:gd name="T32" fmla="*/ 19 w 737"/>
                <a:gd name="T33" fmla="*/ 0 h 46"/>
                <a:gd name="T34" fmla="*/ 22 w 737"/>
                <a:gd name="T35" fmla="*/ 0 h 46"/>
                <a:gd name="T36" fmla="*/ 714 w 737"/>
                <a:gd name="T37" fmla="*/ 0 h 46"/>
                <a:gd name="T38" fmla="*/ 719 w 737"/>
                <a:gd name="T39" fmla="*/ 0 h 46"/>
                <a:gd name="T40" fmla="*/ 723 w 737"/>
                <a:gd name="T41" fmla="*/ 2 h 46"/>
                <a:gd name="T42" fmla="*/ 726 w 737"/>
                <a:gd name="T43" fmla="*/ 4 h 46"/>
                <a:gd name="T44" fmla="*/ 730 w 737"/>
                <a:gd name="T45" fmla="*/ 7 h 46"/>
                <a:gd name="T46" fmla="*/ 734 w 737"/>
                <a:gd name="T47" fmla="*/ 10 h 46"/>
                <a:gd name="T48" fmla="*/ 735 w 737"/>
                <a:gd name="T49" fmla="*/ 15 h 46"/>
                <a:gd name="T50" fmla="*/ 736 w 737"/>
                <a:gd name="T51" fmla="*/ 18 h 46"/>
                <a:gd name="T52" fmla="*/ 737 w 737"/>
                <a:gd name="T53" fmla="*/ 23 h 46"/>
                <a:gd name="T54" fmla="*/ 736 w 737"/>
                <a:gd name="T55" fmla="*/ 28 h 46"/>
                <a:gd name="T56" fmla="*/ 735 w 737"/>
                <a:gd name="T57" fmla="*/ 32 h 46"/>
                <a:gd name="T58" fmla="*/ 734 w 737"/>
                <a:gd name="T59" fmla="*/ 35 h 46"/>
                <a:gd name="T60" fmla="*/ 730 w 737"/>
                <a:gd name="T61" fmla="*/ 39 h 46"/>
                <a:gd name="T62" fmla="*/ 726 w 737"/>
                <a:gd name="T63" fmla="*/ 42 h 46"/>
                <a:gd name="T64" fmla="*/ 723 w 737"/>
                <a:gd name="T65" fmla="*/ 44 h 46"/>
                <a:gd name="T66" fmla="*/ 719 w 737"/>
                <a:gd name="T67" fmla="*/ 45 h 46"/>
                <a:gd name="T68" fmla="*/ 714 w 737"/>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7" h="46">
                  <a:moveTo>
                    <a:pt x="714" y="46"/>
                  </a:moveTo>
                  <a:lnTo>
                    <a:pt x="22" y="46"/>
                  </a:lnTo>
                  <a:lnTo>
                    <a:pt x="19" y="45"/>
                  </a:lnTo>
                  <a:lnTo>
                    <a:pt x="14" y="44"/>
                  </a:lnTo>
                  <a:lnTo>
                    <a:pt x="10" y="42"/>
                  </a:lnTo>
                  <a:lnTo>
                    <a:pt x="6" y="39"/>
                  </a:lnTo>
                  <a:lnTo>
                    <a:pt x="4" y="35"/>
                  </a:lnTo>
                  <a:lnTo>
                    <a:pt x="1" y="32"/>
                  </a:lnTo>
                  <a:lnTo>
                    <a:pt x="0" y="28"/>
                  </a:lnTo>
                  <a:lnTo>
                    <a:pt x="0" y="23"/>
                  </a:lnTo>
                  <a:lnTo>
                    <a:pt x="0" y="18"/>
                  </a:lnTo>
                  <a:lnTo>
                    <a:pt x="1" y="15"/>
                  </a:lnTo>
                  <a:lnTo>
                    <a:pt x="4" y="10"/>
                  </a:lnTo>
                  <a:lnTo>
                    <a:pt x="6" y="7"/>
                  </a:lnTo>
                  <a:lnTo>
                    <a:pt x="10" y="4"/>
                  </a:lnTo>
                  <a:lnTo>
                    <a:pt x="14" y="2"/>
                  </a:lnTo>
                  <a:lnTo>
                    <a:pt x="19" y="0"/>
                  </a:lnTo>
                  <a:lnTo>
                    <a:pt x="22" y="0"/>
                  </a:lnTo>
                  <a:lnTo>
                    <a:pt x="714" y="0"/>
                  </a:lnTo>
                  <a:lnTo>
                    <a:pt x="719" y="0"/>
                  </a:lnTo>
                  <a:lnTo>
                    <a:pt x="723" y="2"/>
                  </a:lnTo>
                  <a:lnTo>
                    <a:pt x="726" y="4"/>
                  </a:lnTo>
                  <a:lnTo>
                    <a:pt x="730" y="7"/>
                  </a:lnTo>
                  <a:lnTo>
                    <a:pt x="734" y="10"/>
                  </a:lnTo>
                  <a:lnTo>
                    <a:pt x="735" y="15"/>
                  </a:lnTo>
                  <a:lnTo>
                    <a:pt x="736" y="18"/>
                  </a:lnTo>
                  <a:lnTo>
                    <a:pt x="737" y="23"/>
                  </a:lnTo>
                  <a:lnTo>
                    <a:pt x="736" y="28"/>
                  </a:lnTo>
                  <a:lnTo>
                    <a:pt x="735" y="32"/>
                  </a:lnTo>
                  <a:lnTo>
                    <a:pt x="734" y="35"/>
                  </a:lnTo>
                  <a:lnTo>
                    <a:pt x="730" y="39"/>
                  </a:lnTo>
                  <a:lnTo>
                    <a:pt x="726" y="42"/>
                  </a:lnTo>
                  <a:lnTo>
                    <a:pt x="723" y="44"/>
                  </a:lnTo>
                  <a:lnTo>
                    <a:pt x="719" y="45"/>
                  </a:lnTo>
                  <a:lnTo>
                    <a:pt x="714"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1" name="Freeform 135">
              <a:extLst>
                <a:ext uri="{FF2B5EF4-FFF2-40B4-BE49-F238E27FC236}">
                  <a16:creationId xmlns:a16="http://schemas.microsoft.com/office/drawing/2014/main" id="{03F5D05B-41F1-4951-9344-1C9C70542DFB}"/>
                </a:ext>
              </a:extLst>
            </p:cNvPr>
            <p:cNvSpPr>
              <a:spLocks/>
            </p:cNvSpPr>
            <p:nvPr/>
          </p:nvSpPr>
          <p:spPr bwMode="auto">
            <a:xfrm>
              <a:off x="7244892" y="3034868"/>
              <a:ext cx="79537" cy="12680"/>
            </a:xfrm>
            <a:custGeom>
              <a:avLst/>
              <a:gdLst>
                <a:gd name="T0" fmla="*/ 253 w 276"/>
                <a:gd name="T1" fmla="*/ 46 h 46"/>
                <a:gd name="T2" fmla="*/ 22 w 276"/>
                <a:gd name="T3" fmla="*/ 46 h 46"/>
                <a:gd name="T4" fmla="*/ 19 w 276"/>
                <a:gd name="T5" fmla="*/ 46 h 46"/>
                <a:gd name="T6" fmla="*/ 14 w 276"/>
                <a:gd name="T7" fmla="*/ 45 h 46"/>
                <a:gd name="T8" fmla="*/ 10 w 276"/>
                <a:gd name="T9" fmla="*/ 42 h 46"/>
                <a:gd name="T10" fmla="*/ 6 w 276"/>
                <a:gd name="T11" fmla="*/ 40 h 46"/>
                <a:gd name="T12" fmla="*/ 4 w 276"/>
                <a:gd name="T13" fmla="*/ 36 h 46"/>
                <a:gd name="T14" fmla="*/ 1 w 276"/>
                <a:gd name="T15" fmla="*/ 32 h 46"/>
                <a:gd name="T16" fmla="*/ 0 w 276"/>
                <a:gd name="T17" fmla="*/ 27 h 46"/>
                <a:gd name="T18" fmla="*/ 0 w 276"/>
                <a:gd name="T19" fmla="*/ 24 h 46"/>
                <a:gd name="T20" fmla="*/ 0 w 276"/>
                <a:gd name="T21" fmla="*/ 19 h 46"/>
                <a:gd name="T22" fmla="*/ 1 w 276"/>
                <a:gd name="T23" fmla="*/ 14 h 46"/>
                <a:gd name="T24" fmla="*/ 4 w 276"/>
                <a:gd name="T25" fmla="*/ 10 h 46"/>
                <a:gd name="T26" fmla="*/ 6 w 276"/>
                <a:gd name="T27" fmla="*/ 7 h 46"/>
                <a:gd name="T28" fmla="*/ 10 w 276"/>
                <a:gd name="T29" fmla="*/ 4 h 46"/>
                <a:gd name="T30" fmla="*/ 14 w 276"/>
                <a:gd name="T31" fmla="*/ 2 h 46"/>
                <a:gd name="T32" fmla="*/ 19 w 276"/>
                <a:gd name="T33" fmla="*/ 0 h 46"/>
                <a:gd name="T34" fmla="*/ 22 w 276"/>
                <a:gd name="T35" fmla="*/ 0 h 46"/>
                <a:gd name="T36" fmla="*/ 253 w 276"/>
                <a:gd name="T37" fmla="*/ 0 h 46"/>
                <a:gd name="T38" fmla="*/ 258 w 276"/>
                <a:gd name="T39" fmla="*/ 0 h 46"/>
                <a:gd name="T40" fmla="*/ 263 w 276"/>
                <a:gd name="T41" fmla="*/ 2 h 46"/>
                <a:gd name="T42" fmla="*/ 266 w 276"/>
                <a:gd name="T43" fmla="*/ 4 h 46"/>
                <a:gd name="T44" fmla="*/ 270 w 276"/>
                <a:gd name="T45" fmla="*/ 7 h 46"/>
                <a:gd name="T46" fmla="*/ 272 w 276"/>
                <a:gd name="T47" fmla="*/ 10 h 46"/>
                <a:gd name="T48" fmla="*/ 275 w 276"/>
                <a:gd name="T49" fmla="*/ 14 h 46"/>
                <a:gd name="T50" fmla="*/ 276 w 276"/>
                <a:gd name="T51" fmla="*/ 19 h 46"/>
                <a:gd name="T52" fmla="*/ 276 w 276"/>
                <a:gd name="T53" fmla="*/ 24 h 46"/>
                <a:gd name="T54" fmla="*/ 276 w 276"/>
                <a:gd name="T55" fmla="*/ 27 h 46"/>
                <a:gd name="T56" fmla="*/ 275 w 276"/>
                <a:gd name="T57" fmla="*/ 32 h 46"/>
                <a:gd name="T58" fmla="*/ 272 w 276"/>
                <a:gd name="T59" fmla="*/ 36 h 46"/>
                <a:gd name="T60" fmla="*/ 270 w 276"/>
                <a:gd name="T61" fmla="*/ 40 h 46"/>
                <a:gd name="T62" fmla="*/ 266 w 276"/>
                <a:gd name="T63" fmla="*/ 42 h 46"/>
                <a:gd name="T64" fmla="*/ 263 w 276"/>
                <a:gd name="T65" fmla="*/ 45 h 46"/>
                <a:gd name="T66" fmla="*/ 258 w 276"/>
                <a:gd name="T67" fmla="*/ 46 h 46"/>
                <a:gd name="T68" fmla="*/ 253 w 276"/>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46">
                  <a:moveTo>
                    <a:pt x="253" y="46"/>
                  </a:moveTo>
                  <a:lnTo>
                    <a:pt x="22" y="46"/>
                  </a:lnTo>
                  <a:lnTo>
                    <a:pt x="19" y="46"/>
                  </a:lnTo>
                  <a:lnTo>
                    <a:pt x="14" y="45"/>
                  </a:lnTo>
                  <a:lnTo>
                    <a:pt x="10" y="42"/>
                  </a:lnTo>
                  <a:lnTo>
                    <a:pt x="6" y="40"/>
                  </a:lnTo>
                  <a:lnTo>
                    <a:pt x="4" y="36"/>
                  </a:lnTo>
                  <a:lnTo>
                    <a:pt x="1" y="32"/>
                  </a:lnTo>
                  <a:lnTo>
                    <a:pt x="0" y="27"/>
                  </a:lnTo>
                  <a:lnTo>
                    <a:pt x="0" y="24"/>
                  </a:lnTo>
                  <a:lnTo>
                    <a:pt x="0" y="19"/>
                  </a:lnTo>
                  <a:lnTo>
                    <a:pt x="1" y="14"/>
                  </a:lnTo>
                  <a:lnTo>
                    <a:pt x="4" y="10"/>
                  </a:lnTo>
                  <a:lnTo>
                    <a:pt x="6" y="7"/>
                  </a:lnTo>
                  <a:lnTo>
                    <a:pt x="10" y="4"/>
                  </a:lnTo>
                  <a:lnTo>
                    <a:pt x="14" y="2"/>
                  </a:lnTo>
                  <a:lnTo>
                    <a:pt x="19" y="0"/>
                  </a:lnTo>
                  <a:lnTo>
                    <a:pt x="22" y="0"/>
                  </a:lnTo>
                  <a:lnTo>
                    <a:pt x="253" y="0"/>
                  </a:lnTo>
                  <a:lnTo>
                    <a:pt x="258" y="0"/>
                  </a:lnTo>
                  <a:lnTo>
                    <a:pt x="263" y="2"/>
                  </a:lnTo>
                  <a:lnTo>
                    <a:pt x="266" y="4"/>
                  </a:lnTo>
                  <a:lnTo>
                    <a:pt x="270" y="7"/>
                  </a:lnTo>
                  <a:lnTo>
                    <a:pt x="272" y="10"/>
                  </a:lnTo>
                  <a:lnTo>
                    <a:pt x="275" y="14"/>
                  </a:lnTo>
                  <a:lnTo>
                    <a:pt x="276" y="19"/>
                  </a:lnTo>
                  <a:lnTo>
                    <a:pt x="276" y="24"/>
                  </a:lnTo>
                  <a:lnTo>
                    <a:pt x="276" y="27"/>
                  </a:lnTo>
                  <a:lnTo>
                    <a:pt x="275" y="32"/>
                  </a:lnTo>
                  <a:lnTo>
                    <a:pt x="272" y="36"/>
                  </a:lnTo>
                  <a:lnTo>
                    <a:pt x="270" y="40"/>
                  </a:lnTo>
                  <a:lnTo>
                    <a:pt x="266" y="42"/>
                  </a:lnTo>
                  <a:lnTo>
                    <a:pt x="263" y="45"/>
                  </a:lnTo>
                  <a:lnTo>
                    <a:pt x="258" y="46"/>
                  </a:lnTo>
                  <a:lnTo>
                    <a:pt x="253"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2" name="Freeform 153">
              <a:extLst>
                <a:ext uri="{FF2B5EF4-FFF2-40B4-BE49-F238E27FC236}">
                  <a16:creationId xmlns:a16="http://schemas.microsoft.com/office/drawing/2014/main" id="{3D817F8A-E591-46BF-89EF-6C20D3D9A81D}"/>
                </a:ext>
              </a:extLst>
            </p:cNvPr>
            <p:cNvSpPr>
              <a:spLocks/>
            </p:cNvSpPr>
            <p:nvPr/>
          </p:nvSpPr>
          <p:spPr bwMode="auto">
            <a:xfrm>
              <a:off x="7191868" y="2875794"/>
              <a:ext cx="318147" cy="225931"/>
            </a:xfrm>
            <a:custGeom>
              <a:avLst/>
              <a:gdLst>
                <a:gd name="T0" fmla="*/ 23 w 1106"/>
                <a:gd name="T1" fmla="*/ 784 h 784"/>
                <a:gd name="T2" fmla="*/ 15 w 1106"/>
                <a:gd name="T3" fmla="*/ 782 h 784"/>
                <a:gd name="T4" fmla="*/ 7 w 1106"/>
                <a:gd name="T5" fmla="*/ 777 h 784"/>
                <a:gd name="T6" fmla="*/ 2 w 1106"/>
                <a:gd name="T7" fmla="*/ 769 h 784"/>
                <a:gd name="T8" fmla="*/ 0 w 1106"/>
                <a:gd name="T9" fmla="*/ 761 h 784"/>
                <a:gd name="T10" fmla="*/ 1 w 1106"/>
                <a:gd name="T11" fmla="*/ 19 h 784"/>
                <a:gd name="T12" fmla="*/ 5 w 1106"/>
                <a:gd name="T13" fmla="*/ 10 h 784"/>
                <a:gd name="T14" fmla="*/ 11 w 1106"/>
                <a:gd name="T15" fmla="*/ 4 h 784"/>
                <a:gd name="T16" fmla="*/ 18 w 1106"/>
                <a:gd name="T17" fmla="*/ 0 h 784"/>
                <a:gd name="T18" fmla="*/ 1083 w 1106"/>
                <a:gd name="T19" fmla="*/ 0 h 784"/>
                <a:gd name="T20" fmla="*/ 1093 w 1106"/>
                <a:gd name="T21" fmla="*/ 1 h 784"/>
                <a:gd name="T22" fmla="*/ 1099 w 1106"/>
                <a:gd name="T23" fmla="*/ 6 h 784"/>
                <a:gd name="T24" fmla="*/ 1105 w 1106"/>
                <a:gd name="T25" fmla="*/ 14 h 784"/>
                <a:gd name="T26" fmla="*/ 1106 w 1106"/>
                <a:gd name="T27" fmla="*/ 24 h 784"/>
                <a:gd name="T28" fmla="*/ 1106 w 1106"/>
                <a:gd name="T29" fmla="*/ 627 h 784"/>
                <a:gd name="T30" fmla="*/ 1103 w 1106"/>
                <a:gd name="T31" fmla="*/ 636 h 784"/>
                <a:gd name="T32" fmla="*/ 1096 w 1106"/>
                <a:gd name="T33" fmla="*/ 642 h 784"/>
                <a:gd name="T34" fmla="*/ 1088 w 1106"/>
                <a:gd name="T35" fmla="*/ 645 h 784"/>
                <a:gd name="T36" fmla="*/ 1078 w 1106"/>
                <a:gd name="T37" fmla="*/ 645 h 784"/>
                <a:gd name="T38" fmla="*/ 1071 w 1106"/>
                <a:gd name="T39" fmla="*/ 642 h 784"/>
                <a:gd name="T40" fmla="*/ 1065 w 1106"/>
                <a:gd name="T41" fmla="*/ 636 h 784"/>
                <a:gd name="T42" fmla="*/ 1061 w 1106"/>
                <a:gd name="T43" fmla="*/ 627 h 784"/>
                <a:gd name="T44" fmla="*/ 1060 w 1106"/>
                <a:gd name="T45" fmla="*/ 47 h 784"/>
                <a:gd name="T46" fmla="*/ 47 w 1106"/>
                <a:gd name="T47" fmla="*/ 737 h 784"/>
                <a:gd name="T48" fmla="*/ 828 w 1106"/>
                <a:gd name="T49" fmla="*/ 737 h 784"/>
                <a:gd name="T50" fmla="*/ 836 w 1106"/>
                <a:gd name="T51" fmla="*/ 741 h 784"/>
                <a:gd name="T52" fmla="*/ 843 w 1106"/>
                <a:gd name="T53" fmla="*/ 747 h 784"/>
                <a:gd name="T54" fmla="*/ 846 w 1106"/>
                <a:gd name="T55" fmla="*/ 756 h 784"/>
                <a:gd name="T56" fmla="*/ 846 w 1106"/>
                <a:gd name="T57" fmla="*/ 766 h 784"/>
                <a:gd name="T58" fmla="*/ 843 w 1106"/>
                <a:gd name="T59" fmla="*/ 773 h 784"/>
                <a:gd name="T60" fmla="*/ 836 w 1106"/>
                <a:gd name="T61" fmla="*/ 779 h 784"/>
                <a:gd name="T62" fmla="*/ 828 w 1106"/>
                <a:gd name="T63" fmla="*/ 78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6" h="784">
                  <a:moveTo>
                    <a:pt x="823" y="784"/>
                  </a:moveTo>
                  <a:lnTo>
                    <a:pt x="23" y="784"/>
                  </a:lnTo>
                  <a:lnTo>
                    <a:pt x="18" y="783"/>
                  </a:lnTo>
                  <a:lnTo>
                    <a:pt x="15" y="782"/>
                  </a:lnTo>
                  <a:lnTo>
                    <a:pt x="11" y="779"/>
                  </a:lnTo>
                  <a:lnTo>
                    <a:pt x="7" y="777"/>
                  </a:lnTo>
                  <a:lnTo>
                    <a:pt x="5" y="773"/>
                  </a:lnTo>
                  <a:lnTo>
                    <a:pt x="2" y="769"/>
                  </a:lnTo>
                  <a:lnTo>
                    <a:pt x="1" y="766"/>
                  </a:lnTo>
                  <a:lnTo>
                    <a:pt x="0" y="761"/>
                  </a:lnTo>
                  <a:lnTo>
                    <a:pt x="0" y="24"/>
                  </a:lnTo>
                  <a:lnTo>
                    <a:pt x="1" y="19"/>
                  </a:lnTo>
                  <a:lnTo>
                    <a:pt x="2" y="14"/>
                  </a:lnTo>
                  <a:lnTo>
                    <a:pt x="5" y="10"/>
                  </a:lnTo>
                  <a:lnTo>
                    <a:pt x="7" y="6"/>
                  </a:lnTo>
                  <a:lnTo>
                    <a:pt x="11" y="4"/>
                  </a:lnTo>
                  <a:lnTo>
                    <a:pt x="15" y="1"/>
                  </a:lnTo>
                  <a:lnTo>
                    <a:pt x="18" y="0"/>
                  </a:lnTo>
                  <a:lnTo>
                    <a:pt x="23" y="0"/>
                  </a:lnTo>
                  <a:lnTo>
                    <a:pt x="1083" y="0"/>
                  </a:lnTo>
                  <a:lnTo>
                    <a:pt x="1088" y="0"/>
                  </a:lnTo>
                  <a:lnTo>
                    <a:pt x="1093" y="1"/>
                  </a:lnTo>
                  <a:lnTo>
                    <a:pt x="1096" y="4"/>
                  </a:lnTo>
                  <a:lnTo>
                    <a:pt x="1099" y="6"/>
                  </a:lnTo>
                  <a:lnTo>
                    <a:pt x="1103" y="10"/>
                  </a:lnTo>
                  <a:lnTo>
                    <a:pt x="1105" y="14"/>
                  </a:lnTo>
                  <a:lnTo>
                    <a:pt x="1106" y="19"/>
                  </a:lnTo>
                  <a:lnTo>
                    <a:pt x="1106" y="24"/>
                  </a:lnTo>
                  <a:lnTo>
                    <a:pt x="1106" y="622"/>
                  </a:lnTo>
                  <a:lnTo>
                    <a:pt x="1106" y="627"/>
                  </a:lnTo>
                  <a:lnTo>
                    <a:pt x="1105" y="631"/>
                  </a:lnTo>
                  <a:lnTo>
                    <a:pt x="1103" y="636"/>
                  </a:lnTo>
                  <a:lnTo>
                    <a:pt x="1099" y="638"/>
                  </a:lnTo>
                  <a:lnTo>
                    <a:pt x="1096" y="642"/>
                  </a:lnTo>
                  <a:lnTo>
                    <a:pt x="1093" y="643"/>
                  </a:lnTo>
                  <a:lnTo>
                    <a:pt x="1088" y="645"/>
                  </a:lnTo>
                  <a:lnTo>
                    <a:pt x="1083" y="645"/>
                  </a:lnTo>
                  <a:lnTo>
                    <a:pt x="1078" y="645"/>
                  </a:lnTo>
                  <a:lnTo>
                    <a:pt x="1074" y="643"/>
                  </a:lnTo>
                  <a:lnTo>
                    <a:pt x="1071" y="642"/>
                  </a:lnTo>
                  <a:lnTo>
                    <a:pt x="1067" y="638"/>
                  </a:lnTo>
                  <a:lnTo>
                    <a:pt x="1065" y="636"/>
                  </a:lnTo>
                  <a:lnTo>
                    <a:pt x="1062" y="631"/>
                  </a:lnTo>
                  <a:lnTo>
                    <a:pt x="1061" y="627"/>
                  </a:lnTo>
                  <a:lnTo>
                    <a:pt x="1060" y="622"/>
                  </a:lnTo>
                  <a:lnTo>
                    <a:pt x="1060" y="47"/>
                  </a:lnTo>
                  <a:lnTo>
                    <a:pt x="47" y="47"/>
                  </a:lnTo>
                  <a:lnTo>
                    <a:pt x="47" y="737"/>
                  </a:lnTo>
                  <a:lnTo>
                    <a:pt x="823" y="737"/>
                  </a:lnTo>
                  <a:lnTo>
                    <a:pt x="828" y="737"/>
                  </a:lnTo>
                  <a:lnTo>
                    <a:pt x="833" y="740"/>
                  </a:lnTo>
                  <a:lnTo>
                    <a:pt x="836" y="741"/>
                  </a:lnTo>
                  <a:lnTo>
                    <a:pt x="840" y="745"/>
                  </a:lnTo>
                  <a:lnTo>
                    <a:pt x="843" y="747"/>
                  </a:lnTo>
                  <a:lnTo>
                    <a:pt x="845" y="752"/>
                  </a:lnTo>
                  <a:lnTo>
                    <a:pt x="846" y="756"/>
                  </a:lnTo>
                  <a:lnTo>
                    <a:pt x="846" y="761"/>
                  </a:lnTo>
                  <a:lnTo>
                    <a:pt x="846" y="766"/>
                  </a:lnTo>
                  <a:lnTo>
                    <a:pt x="845" y="769"/>
                  </a:lnTo>
                  <a:lnTo>
                    <a:pt x="843" y="773"/>
                  </a:lnTo>
                  <a:lnTo>
                    <a:pt x="840" y="777"/>
                  </a:lnTo>
                  <a:lnTo>
                    <a:pt x="836" y="779"/>
                  </a:lnTo>
                  <a:lnTo>
                    <a:pt x="833" y="782"/>
                  </a:lnTo>
                  <a:lnTo>
                    <a:pt x="828" y="783"/>
                  </a:lnTo>
                  <a:lnTo>
                    <a:pt x="823" y="78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13" name="Freeform 154">
              <a:extLst>
                <a:ext uri="{FF2B5EF4-FFF2-40B4-BE49-F238E27FC236}">
                  <a16:creationId xmlns:a16="http://schemas.microsoft.com/office/drawing/2014/main" id="{D6B0AD6C-FEFF-4CDF-B609-42988D200D4C}"/>
                </a:ext>
              </a:extLst>
            </p:cNvPr>
            <p:cNvSpPr>
              <a:spLocks/>
            </p:cNvSpPr>
            <p:nvPr/>
          </p:nvSpPr>
          <p:spPr bwMode="auto">
            <a:xfrm>
              <a:off x="7403966" y="3090198"/>
              <a:ext cx="79537" cy="91064"/>
            </a:xfrm>
            <a:custGeom>
              <a:avLst/>
              <a:gdLst>
                <a:gd name="T0" fmla="*/ 155 w 276"/>
                <a:gd name="T1" fmla="*/ 314 h 315"/>
                <a:gd name="T2" fmla="*/ 144 w 276"/>
                <a:gd name="T3" fmla="*/ 308 h 315"/>
                <a:gd name="T4" fmla="*/ 105 w 276"/>
                <a:gd name="T5" fmla="*/ 230 h 315"/>
                <a:gd name="T6" fmla="*/ 26 w 276"/>
                <a:gd name="T7" fmla="*/ 268 h 315"/>
                <a:gd name="T8" fmla="*/ 13 w 276"/>
                <a:gd name="T9" fmla="*/ 267 h 315"/>
                <a:gd name="T10" fmla="*/ 3 w 276"/>
                <a:gd name="T11" fmla="*/ 257 h 315"/>
                <a:gd name="T12" fmla="*/ 0 w 276"/>
                <a:gd name="T13" fmla="*/ 244 h 315"/>
                <a:gd name="T14" fmla="*/ 93 w 276"/>
                <a:gd name="T15" fmla="*/ 15 h 315"/>
                <a:gd name="T16" fmla="*/ 98 w 276"/>
                <a:gd name="T17" fmla="*/ 7 h 315"/>
                <a:gd name="T18" fmla="*/ 106 w 276"/>
                <a:gd name="T19" fmla="*/ 2 h 315"/>
                <a:gd name="T20" fmla="*/ 114 w 276"/>
                <a:gd name="T21" fmla="*/ 0 h 315"/>
                <a:gd name="T22" fmla="*/ 124 w 276"/>
                <a:gd name="T23" fmla="*/ 2 h 315"/>
                <a:gd name="T24" fmla="*/ 132 w 276"/>
                <a:gd name="T25" fmla="*/ 7 h 315"/>
                <a:gd name="T26" fmla="*/ 136 w 276"/>
                <a:gd name="T27" fmla="*/ 15 h 315"/>
                <a:gd name="T28" fmla="*/ 138 w 276"/>
                <a:gd name="T29" fmla="*/ 23 h 315"/>
                <a:gd name="T30" fmla="*/ 136 w 276"/>
                <a:gd name="T31" fmla="*/ 32 h 315"/>
                <a:gd name="T32" fmla="*/ 105 w 276"/>
                <a:gd name="T33" fmla="*/ 179 h 315"/>
                <a:gd name="T34" fmla="*/ 113 w 276"/>
                <a:gd name="T35" fmla="*/ 176 h 315"/>
                <a:gd name="T36" fmla="*/ 122 w 276"/>
                <a:gd name="T37" fmla="*/ 178 h 315"/>
                <a:gd name="T38" fmla="*/ 130 w 276"/>
                <a:gd name="T39" fmla="*/ 183 h 315"/>
                <a:gd name="T40" fmla="*/ 135 w 276"/>
                <a:gd name="T41" fmla="*/ 190 h 315"/>
                <a:gd name="T42" fmla="*/ 232 w 276"/>
                <a:gd name="T43" fmla="*/ 98 h 315"/>
                <a:gd name="T44" fmla="*/ 238 w 276"/>
                <a:gd name="T45" fmla="*/ 91 h 315"/>
                <a:gd name="T46" fmla="*/ 246 w 276"/>
                <a:gd name="T47" fmla="*/ 86 h 315"/>
                <a:gd name="T48" fmla="*/ 254 w 276"/>
                <a:gd name="T49" fmla="*/ 84 h 315"/>
                <a:gd name="T50" fmla="*/ 263 w 276"/>
                <a:gd name="T51" fmla="*/ 87 h 315"/>
                <a:gd name="T52" fmla="*/ 270 w 276"/>
                <a:gd name="T53" fmla="*/ 93 h 315"/>
                <a:gd name="T54" fmla="*/ 275 w 276"/>
                <a:gd name="T55" fmla="*/ 100 h 315"/>
                <a:gd name="T56" fmla="*/ 276 w 276"/>
                <a:gd name="T57" fmla="*/ 109 h 315"/>
                <a:gd name="T58" fmla="*/ 274 w 276"/>
                <a:gd name="T59" fmla="*/ 118 h 315"/>
                <a:gd name="T60" fmla="*/ 178 w 276"/>
                <a:gd name="T61" fmla="*/ 308 h 315"/>
                <a:gd name="T62" fmla="*/ 167 w 276"/>
                <a:gd name="T63" fmla="*/ 31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15">
                  <a:moveTo>
                    <a:pt x="161" y="315"/>
                  </a:moveTo>
                  <a:lnTo>
                    <a:pt x="155" y="314"/>
                  </a:lnTo>
                  <a:lnTo>
                    <a:pt x="149" y="311"/>
                  </a:lnTo>
                  <a:lnTo>
                    <a:pt x="144" y="308"/>
                  </a:lnTo>
                  <a:lnTo>
                    <a:pt x="140" y="303"/>
                  </a:lnTo>
                  <a:lnTo>
                    <a:pt x="105" y="230"/>
                  </a:lnTo>
                  <a:lnTo>
                    <a:pt x="33" y="266"/>
                  </a:lnTo>
                  <a:lnTo>
                    <a:pt x="26" y="268"/>
                  </a:lnTo>
                  <a:lnTo>
                    <a:pt x="20" y="268"/>
                  </a:lnTo>
                  <a:lnTo>
                    <a:pt x="13" y="267"/>
                  </a:lnTo>
                  <a:lnTo>
                    <a:pt x="6" y="262"/>
                  </a:lnTo>
                  <a:lnTo>
                    <a:pt x="3" y="257"/>
                  </a:lnTo>
                  <a:lnTo>
                    <a:pt x="0" y="251"/>
                  </a:lnTo>
                  <a:lnTo>
                    <a:pt x="0" y="244"/>
                  </a:lnTo>
                  <a:lnTo>
                    <a:pt x="2" y="237"/>
                  </a:lnTo>
                  <a:lnTo>
                    <a:pt x="93" y="15"/>
                  </a:lnTo>
                  <a:lnTo>
                    <a:pt x="96" y="11"/>
                  </a:lnTo>
                  <a:lnTo>
                    <a:pt x="98" y="7"/>
                  </a:lnTo>
                  <a:lnTo>
                    <a:pt x="102" y="3"/>
                  </a:lnTo>
                  <a:lnTo>
                    <a:pt x="106" y="2"/>
                  </a:lnTo>
                  <a:lnTo>
                    <a:pt x="111" y="1"/>
                  </a:lnTo>
                  <a:lnTo>
                    <a:pt x="114" y="0"/>
                  </a:lnTo>
                  <a:lnTo>
                    <a:pt x="119" y="1"/>
                  </a:lnTo>
                  <a:lnTo>
                    <a:pt x="124" y="2"/>
                  </a:lnTo>
                  <a:lnTo>
                    <a:pt x="128" y="5"/>
                  </a:lnTo>
                  <a:lnTo>
                    <a:pt x="132" y="7"/>
                  </a:lnTo>
                  <a:lnTo>
                    <a:pt x="134" y="11"/>
                  </a:lnTo>
                  <a:lnTo>
                    <a:pt x="136" y="15"/>
                  </a:lnTo>
                  <a:lnTo>
                    <a:pt x="138" y="18"/>
                  </a:lnTo>
                  <a:lnTo>
                    <a:pt x="138" y="23"/>
                  </a:lnTo>
                  <a:lnTo>
                    <a:pt x="138" y="28"/>
                  </a:lnTo>
                  <a:lnTo>
                    <a:pt x="136" y="32"/>
                  </a:lnTo>
                  <a:lnTo>
                    <a:pt x="68" y="197"/>
                  </a:lnTo>
                  <a:lnTo>
                    <a:pt x="105" y="179"/>
                  </a:lnTo>
                  <a:lnTo>
                    <a:pt x="109" y="178"/>
                  </a:lnTo>
                  <a:lnTo>
                    <a:pt x="113" y="176"/>
                  </a:lnTo>
                  <a:lnTo>
                    <a:pt x="118" y="176"/>
                  </a:lnTo>
                  <a:lnTo>
                    <a:pt x="122" y="178"/>
                  </a:lnTo>
                  <a:lnTo>
                    <a:pt x="127" y="180"/>
                  </a:lnTo>
                  <a:lnTo>
                    <a:pt x="130" y="183"/>
                  </a:lnTo>
                  <a:lnTo>
                    <a:pt x="133" y="185"/>
                  </a:lnTo>
                  <a:lnTo>
                    <a:pt x="135" y="190"/>
                  </a:lnTo>
                  <a:lnTo>
                    <a:pt x="161" y="240"/>
                  </a:lnTo>
                  <a:lnTo>
                    <a:pt x="232" y="98"/>
                  </a:lnTo>
                  <a:lnTo>
                    <a:pt x="235" y="93"/>
                  </a:lnTo>
                  <a:lnTo>
                    <a:pt x="238" y="91"/>
                  </a:lnTo>
                  <a:lnTo>
                    <a:pt x="242" y="88"/>
                  </a:lnTo>
                  <a:lnTo>
                    <a:pt x="246" y="86"/>
                  </a:lnTo>
                  <a:lnTo>
                    <a:pt x="250" y="84"/>
                  </a:lnTo>
                  <a:lnTo>
                    <a:pt x="254" y="84"/>
                  </a:lnTo>
                  <a:lnTo>
                    <a:pt x="259" y="86"/>
                  </a:lnTo>
                  <a:lnTo>
                    <a:pt x="263" y="87"/>
                  </a:lnTo>
                  <a:lnTo>
                    <a:pt x="268" y="89"/>
                  </a:lnTo>
                  <a:lnTo>
                    <a:pt x="270" y="93"/>
                  </a:lnTo>
                  <a:lnTo>
                    <a:pt x="273" y="97"/>
                  </a:lnTo>
                  <a:lnTo>
                    <a:pt x="275" y="100"/>
                  </a:lnTo>
                  <a:lnTo>
                    <a:pt x="276" y="105"/>
                  </a:lnTo>
                  <a:lnTo>
                    <a:pt x="276" y="109"/>
                  </a:lnTo>
                  <a:lnTo>
                    <a:pt x="275" y="114"/>
                  </a:lnTo>
                  <a:lnTo>
                    <a:pt x="274" y="118"/>
                  </a:lnTo>
                  <a:lnTo>
                    <a:pt x="182" y="303"/>
                  </a:lnTo>
                  <a:lnTo>
                    <a:pt x="178" y="308"/>
                  </a:lnTo>
                  <a:lnTo>
                    <a:pt x="173" y="311"/>
                  </a:lnTo>
                  <a:lnTo>
                    <a:pt x="167" y="314"/>
                  </a:lnTo>
                  <a:lnTo>
                    <a:pt x="161" y="3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4" name="Freeform 155">
              <a:extLst>
                <a:ext uri="{FF2B5EF4-FFF2-40B4-BE49-F238E27FC236}">
                  <a16:creationId xmlns:a16="http://schemas.microsoft.com/office/drawing/2014/main" id="{D433DE45-C15F-4B84-B753-DB08AB96DCDF}"/>
                </a:ext>
              </a:extLst>
            </p:cNvPr>
            <p:cNvSpPr>
              <a:spLocks/>
            </p:cNvSpPr>
            <p:nvPr/>
          </p:nvSpPr>
          <p:spPr bwMode="auto">
            <a:xfrm>
              <a:off x="7470823" y="3087892"/>
              <a:ext cx="79537" cy="93370"/>
            </a:xfrm>
            <a:custGeom>
              <a:avLst/>
              <a:gdLst>
                <a:gd name="T0" fmla="*/ 109 w 277"/>
                <a:gd name="T1" fmla="*/ 322 h 323"/>
                <a:gd name="T2" fmla="*/ 98 w 277"/>
                <a:gd name="T3" fmla="*/ 316 h 323"/>
                <a:gd name="T4" fmla="*/ 2 w 277"/>
                <a:gd name="T5" fmla="*/ 126 h 323"/>
                <a:gd name="T6" fmla="*/ 0 w 277"/>
                <a:gd name="T7" fmla="*/ 117 h 323"/>
                <a:gd name="T8" fmla="*/ 1 w 277"/>
                <a:gd name="T9" fmla="*/ 108 h 323"/>
                <a:gd name="T10" fmla="*/ 6 w 277"/>
                <a:gd name="T11" fmla="*/ 101 h 323"/>
                <a:gd name="T12" fmla="*/ 13 w 277"/>
                <a:gd name="T13" fmla="*/ 95 h 323"/>
                <a:gd name="T14" fmla="*/ 22 w 277"/>
                <a:gd name="T15" fmla="*/ 92 h 323"/>
                <a:gd name="T16" fmla="*/ 30 w 277"/>
                <a:gd name="T17" fmla="*/ 94 h 323"/>
                <a:gd name="T18" fmla="*/ 38 w 277"/>
                <a:gd name="T19" fmla="*/ 99 h 323"/>
                <a:gd name="T20" fmla="*/ 44 w 277"/>
                <a:gd name="T21" fmla="*/ 106 h 323"/>
                <a:gd name="T22" fmla="*/ 141 w 277"/>
                <a:gd name="T23" fmla="*/ 198 h 323"/>
                <a:gd name="T24" fmla="*/ 147 w 277"/>
                <a:gd name="T25" fmla="*/ 191 h 323"/>
                <a:gd name="T26" fmla="*/ 154 w 277"/>
                <a:gd name="T27" fmla="*/ 186 h 323"/>
                <a:gd name="T28" fmla="*/ 163 w 277"/>
                <a:gd name="T29" fmla="*/ 184 h 323"/>
                <a:gd name="T30" fmla="*/ 171 w 277"/>
                <a:gd name="T31" fmla="*/ 187 h 323"/>
                <a:gd name="T32" fmla="*/ 139 w 277"/>
                <a:gd name="T33" fmla="*/ 32 h 323"/>
                <a:gd name="T34" fmla="*/ 138 w 277"/>
                <a:gd name="T35" fmla="*/ 23 h 323"/>
                <a:gd name="T36" fmla="*/ 141 w 277"/>
                <a:gd name="T37" fmla="*/ 14 h 323"/>
                <a:gd name="T38" fmla="*/ 146 w 277"/>
                <a:gd name="T39" fmla="*/ 7 h 323"/>
                <a:gd name="T40" fmla="*/ 153 w 277"/>
                <a:gd name="T41" fmla="*/ 2 h 323"/>
                <a:gd name="T42" fmla="*/ 162 w 277"/>
                <a:gd name="T43" fmla="*/ 0 h 323"/>
                <a:gd name="T44" fmla="*/ 170 w 277"/>
                <a:gd name="T45" fmla="*/ 3 h 323"/>
                <a:gd name="T46" fmla="*/ 177 w 277"/>
                <a:gd name="T47" fmla="*/ 8 h 323"/>
                <a:gd name="T48" fmla="*/ 182 w 277"/>
                <a:gd name="T49" fmla="*/ 15 h 323"/>
                <a:gd name="T50" fmla="*/ 277 w 277"/>
                <a:gd name="T51" fmla="*/ 252 h 323"/>
                <a:gd name="T52" fmla="*/ 273 w 277"/>
                <a:gd name="T53" fmla="*/ 265 h 323"/>
                <a:gd name="T54" fmla="*/ 263 w 277"/>
                <a:gd name="T55" fmla="*/ 275 h 323"/>
                <a:gd name="T56" fmla="*/ 250 w 277"/>
                <a:gd name="T57" fmla="*/ 276 h 323"/>
                <a:gd name="T58" fmla="*/ 171 w 277"/>
                <a:gd name="T59" fmla="*/ 238 h 323"/>
                <a:gd name="T60" fmla="*/ 132 w 277"/>
                <a:gd name="T61" fmla="*/ 316 h 323"/>
                <a:gd name="T62" fmla="*/ 121 w 277"/>
                <a:gd name="T63" fmla="*/ 32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23">
                  <a:moveTo>
                    <a:pt x="115" y="323"/>
                  </a:moveTo>
                  <a:lnTo>
                    <a:pt x="109" y="322"/>
                  </a:lnTo>
                  <a:lnTo>
                    <a:pt x="103" y="319"/>
                  </a:lnTo>
                  <a:lnTo>
                    <a:pt x="98" y="316"/>
                  </a:lnTo>
                  <a:lnTo>
                    <a:pt x="94" y="311"/>
                  </a:lnTo>
                  <a:lnTo>
                    <a:pt x="2" y="126"/>
                  </a:lnTo>
                  <a:lnTo>
                    <a:pt x="1" y="122"/>
                  </a:lnTo>
                  <a:lnTo>
                    <a:pt x="0" y="117"/>
                  </a:lnTo>
                  <a:lnTo>
                    <a:pt x="0" y="113"/>
                  </a:lnTo>
                  <a:lnTo>
                    <a:pt x="1" y="108"/>
                  </a:lnTo>
                  <a:lnTo>
                    <a:pt x="3" y="105"/>
                  </a:lnTo>
                  <a:lnTo>
                    <a:pt x="6" y="101"/>
                  </a:lnTo>
                  <a:lnTo>
                    <a:pt x="8" y="97"/>
                  </a:lnTo>
                  <a:lnTo>
                    <a:pt x="13" y="95"/>
                  </a:lnTo>
                  <a:lnTo>
                    <a:pt x="17" y="94"/>
                  </a:lnTo>
                  <a:lnTo>
                    <a:pt x="22" y="92"/>
                  </a:lnTo>
                  <a:lnTo>
                    <a:pt x="25" y="92"/>
                  </a:lnTo>
                  <a:lnTo>
                    <a:pt x="30" y="94"/>
                  </a:lnTo>
                  <a:lnTo>
                    <a:pt x="34" y="96"/>
                  </a:lnTo>
                  <a:lnTo>
                    <a:pt x="38" y="99"/>
                  </a:lnTo>
                  <a:lnTo>
                    <a:pt x="41" y="101"/>
                  </a:lnTo>
                  <a:lnTo>
                    <a:pt x="44" y="106"/>
                  </a:lnTo>
                  <a:lnTo>
                    <a:pt x="115" y="248"/>
                  </a:lnTo>
                  <a:lnTo>
                    <a:pt x="141" y="198"/>
                  </a:lnTo>
                  <a:lnTo>
                    <a:pt x="143" y="193"/>
                  </a:lnTo>
                  <a:lnTo>
                    <a:pt x="147" y="191"/>
                  </a:lnTo>
                  <a:lnTo>
                    <a:pt x="150" y="188"/>
                  </a:lnTo>
                  <a:lnTo>
                    <a:pt x="154" y="186"/>
                  </a:lnTo>
                  <a:lnTo>
                    <a:pt x="158" y="184"/>
                  </a:lnTo>
                  <a:lnTo>
                    <a:pt x="163" y="184"/>
                  </a:lnTo>
                  <a:lnTo>
                    <a:pt x="168" y="186"/>
                  </a:lnTo>
                  <a:lnTo>
                    <a:pt x="171" y="187"/>
                  </a:lnTo>
                  <a:lnTo>
                    <a:pt x="209" y="207"/>
                  </a:lnTo>
                  <a:lnTo>
                    <a:pt x="139" y="32"/>
                  </a:lnTo>
                  <a:lnTo>
                    <a:pt x="138" y="27"/>
                  </a:lnTo>
                  <a:lnTo>
                    <a:pt x="138" y="23"/>
                  </a:lnTo>
                  <a:lnTo>
                    <a:pt x="138" y="19"/>
                  </a:lnTo>
                  <a:lnTo>
                    <a:pt x="141" y="14"/>
                  </a:lnTo>
                  <a:lnTo>
                    <a:pt x="142" y="10"/>
                  </a:lnTo>
                  <a:lnTo>
                    <a:pt x="146" y="7"/>
                  </a:lnTo>
                  <a:lnTo>
                    <a:pt x="148" y="4"/>
                  </a:lnTo>
                  <a:lnTo>
                    <a:pt x="153" y="2"/>
                  </a:lnTo>
                  <a:lnTo>
                    <a:pt x="157" y="0"/>
                  </a:lnTo>
                  <a:lnTo>
                    <a:pt x="162" y="0"/>
                  </a:lnTo>
                  <a:lnTo>
                    <a:pt x="166" y="0"/>
                  </a:lnTo>
                  <a:lnTo>
                    <a:pt x="170" y="3"/>
                  </a:lnTo>
                  <a:lnTo>
                    <a:pt x="174" y="4"/>
                  </a:lnTo>
                  <a:lnTo>
                    <a:pt x="177" y="8"/>
                  </a:lnTo>
                  <a:lnTo>
                    <a:pt x="180" y="10"/>
                  </a:lnTo>
                  <a:lnTo>
                    <a:pt x="182" y="15"/>
                  </a:lnTo>
                  <a:lnTo>
                    <a:pt x="274" y="246"/>
                  </a:lnTo>
                  <a:lnTo>
                    <a:pt x="277" y="252"/>
                  </a:lnTo>
                  <a:lnTo>
                    <a:pt x="276" y="259"/>
                  </a:lnTo>
                  <a:lnTo>
                    <a:pt x="273" y="265"/>
                  </a:lnTo>
                  <a:lnTo>
                    <a:pt x="269" y="270"/>
                  </a:lnTo>
                  <a:lnTo>
                    <a:pt x="263" y="275"/>
                  </a:lnTo>
                  <a:lnTo>
                    <a:pt x="256" y="276"/>
                  </a:lnTo>
                  <a:lnTo>
                    <a:pt x="250" y="276"/>
                  </a:lnTo>
                  <a:lnTo>
                    <a:pt x="242" y="274"/>
                  </a:lnTo>
                  <a:lnTo>
                    <a:pt x="171" y="238"/>
                  </a:lnTo>
                  <a:lnTo>
                    <a:pt x="136" y="311"/>
                  </a:lnTo>
                  <a:lnTo>
                    <a:pt x="132" y="316"/>
                  </a:lnTo>
                  <a:lnTo>
                    <a:pt x="127" y="319"/>
                  </a:lnTo>
                  <a:lnTo>
                    <a:pt x="121" y="322"/>
                  </a:lnTo>
                  <a:lnTo>
                    <a:pt x="115" y="32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5" name="Freeform 163">
              <a:extLst>
                <a:ext uri="{FF2B5EF4-FFF2-40B4-BE49-F238E27FC236}">
                  <a16:creationId xmlns:a16="http://schemas.microsoft.com/office/drawing/2014/main" id="{0E32407B-B6A4-4077-83EA-6E218F8E8AA9}"/>
                </a:ext>
              </a:extLst>
            </p:cNvPr>
            <p:cNvSpPr>
              <a:spLocks noEditPoints="1"/>
            </p:cNvSpPr>
            <p:nvPr/>
          </p:nvSpPr>
          <p:spPr bwMode="auto">
            <a:xfrm>
              <a:off x="7447769" y="3053311"/>
              <a:ext cx="48414" cy="48414"/>
            </a:xfrm>
            <a:custGeom>
              <a:avLst/>
              <a:gdLst>
                <a:gd name="T0" fmla="*/ 77 w 170"/>
                <a:gd name="T1" fmla="*/ 48 h 172"/>
                <a:gd name="T2" fmla="*/ 64 w 170"/>
                <a:gd name="T3" fmla="*/ 53 h 172"/>
                <a:gd name="T4" fmla="*/ 53 w 170"/>
                <a:gd name="T5" fmla="*/ 64 h 172"/>
                <a:gd name="T6" fmla="*/ 47 w 170"/>
                <a:gd name="T7" fmla="*/ 79 h 172"/>
                <a:gd name="T8" fmla="*/ 47 w 170"/>
                <a:gd name="T9" fmla="*/ 94 h 172"/>
                <a:gd name="T10" fmla="*/ 53 w 170"/>
                <a:gd name="T11" fmla="*/ 108 h 172"/>
                <a:gd name="T12" fmla="*/ 64 w 170"/>
                <a:gd name="T13" fmla="*/ 119 h 172"/>
                <a:gd name="T14" fmla="*/ 77 w 170"/>
                <a:gd name="T15" fmla="*/ 125 h 172"/>
                <a:gd name="T16" fmla="*/ 93 w 170"/>
                <a:gd name="T17" fmla="*/ 125 h 172"/>
                <a:gd name="T18" fmla="*/ 108 w 170"/>
                <a:gd name="T19" fmla="*/ 119 h 172"/>
                <a:gd name="T20" fmla="*/ 118 w 170"/>
                <a:gd name="T21" fmla="*/ 108 h 172"/>
                <a:gd name="T22" fmla="*/ 124 w 170"/>
                <a:gd name="T23" fmla="*/ 94 h 172"/>
                <a:gd name="T24" fmla="*/ 124 w 170"/>
                <a:gd name="T25" fmla="*/ 79 h 172"/>
                <a:gd name="T26" fmla="*/ 118 w 170"/>
                <a:gd name="T27" fmla="*/ 64 h 172"/>
                <a:gd name="T28" fmla="*/ 108 w 170"/>
                <a:gd name="T29" fmla="*/ 53 h 172"/>
                <a:gd name="T30" fmla="*/ 93 w 170"/>
                <a:gd name="T31" fmla="*/ 48 h 172"/>
                <a:gd name="T32" fmla="*/ 86 w 170"/>
                <a:gd name="T33" fmla="*/ 172 h 172"/>
                <a:gd name="T34" fmla="*/ 69 w 170"/>
                <a:gd name="T35" fmla="*/ 169 h 172"/>
                <a:gd name="T36" fmla="*/ 53 w 170"/>
                <a:gd name="T37" fmla="*/ 164 h 172"/>
                <a:gd name="T38" fmla="*/ 38 w 170"/>
                <a:gd name="T39" fmla="*/ 157 h 172"/>
                <a:gd name="T40" fmla="*/ 24 w 170"/>
                <a:gd name="T41" fmla="*/ 146 h 172"/>
                <a:gd name="T42" fmla="*/ 15 w 170"/>
                <a:gd name="T43" fmla="*/ 134 h 172"/>
                <a:gd name="T44" fmla="*/ 6 w 170"/>
                <a:gd name="T45" fmla="*/ 119 h 172"/>
                <a:gd name="T46" fmla="*/ 1 w 170"/>
                <a:gd name="T47" fmla="*/ 103 h 172"/>
                <a:gd name="T48" fmla="*/ 0 w 170"/>
                <a:gd name="T49" fmla="*/ 86 h 172"/>
                <a:gd name="T50" fmla="*/ 1 w 170"/>
                <a:gd name="T51" fmla="*/ 69 h 172"/>
                <a:gd name="T52" fmla="*/ 6 w 170"/>
                <a:gd name="T53" fmla="*/ 53 h 172"/>
                <a:gd name="T54" fmla="*/ 15 w 170"/>
                <a:gd name="T55" fmla="*/ 38 h 172"/>
                <a:gd name="T56" fmla="*/ 24 w 170"/>
                <a:gd name="T57" fmla="*/ 26 h 172"/>
                <a:gd name="T58" fmla="*/ 38 w 170"/>
                <a:gd name="T59" fmla="*/ 15 h 172"/>
                <a:gd name="T60" fmla="*/ 53 w 170"/>
                <a:gd name="T61" fmla="*/ 7 h 172"/>
                <a:gd name="T62" fmla="*/ 69 w 170"/>
                <a:gd name="T63" fmla="*/ 2 h 172"/>
                <a:gd name="T64" fmla="*/ 86 w 170"/>
                <a:gd name="T65" fmla="*/ 0 h 172"/>
                <a:gd name="T66" fmla="*/ 103 w 170"/>
                <a:gd name="T67" fmla="*/ 2 h 172"/>
                <a:gd name="T68" fmla="*/ 119 w 170"/>
                <a:gd name="T69" fmla="*/ 7 h 172"/>
                <a:gd name="T70" fmla="*/ 134 w 170"/>
                <a:gd name="T71" fmla="*/ 15 h 172"/>
                <a:gd name="T72" fmla="*/ 146 w 170"/>
                <a:gd name="T73" fmla="*/ 26 h 172"/>
                <a:gd name="T74" fmla="*/ 156 w 170"/>
                <a:gd name="T75" fmla="*/ 38 h 172"/>
                <a:gd name="T76" fmla="*/ 164 w 170"/>
                <a:gd name="T77" fmla="*/ 53 h 172"/>
                <a:gd name="T78" fmla="*/ 169 w 170"/>
                <a:gd name="T79" fmla="*/ 69 h 172"/>
                <a:gd name="T80" fmla="*/ 170 w 170"/>
                <a:gd name="T81" fmla="*/ 86 h 172"/>
                <a:gd name="T82" fmla="*/ 169 w 170"/>
                <a:gd name="T83" fmla="*/ 103 h 172"/>
                <a:gd name="T84" fmla="*/ 164 w 170"/>
                <a:gd name="T85" fmla="*/ 119 h 172"/>
                <a:gd name="T86" fmla="*/ 156 w 170"/>
                <a:gd name="T87" fmla="*/ 134 h 172"/>
                <a:gd name="T88" fmla="*/ 146 w 170"/>
                <a:gd name="T89" fmla="*/ 146 h 172"/>
                <a:gd name="T90" fmla="*/ 134 w 170"/>
                <a:gd name="T91" fmla="*/ 157 h 172"/>
                <a:gd name="T92" fmla="*/ 119 w 170"/>
                <a:gd name="T93" fmla="*/ 164 h 172"/>
                <a:gd name="T94" fmla="*/ 103 w 170"/>
                <a:gd name="T95" fmla="*/ 169 h 172"/>
                <a:gd name="T96" fmla="*/ 86 w 170"/>
                <a:gd name="T9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0" h="172">
                  <a:moveTo>
                    <a:pt x="86" y="47"/>
                  </a:moveTo>
                  <a:lnTo>
                    <a:pt x="77" y="48"/>
                  </a:lnTo>
                  <a:lnTo>
                    <a:pt x="70" y="50"/>
                  </a:lnTo>
                  <a:lnTo>
                    <a:pt x="64" y="53"/>
                  </a:lnTo>
                  <a:lnTo>
                    <a:pt x="58" y="58"/>
                  </a:lnTo>
                  <a:lnTo>
                    <a:pt x="53" y="64"/>
                  </a:lnTo>
                  <a:lnTo>
                    <a:pt x="49" y="71"/>
                  </a:lnTo>
                  <a:lnTo>
                    <a:pt x="47" y="79"/>
                  </a:lnTo>
                  <a:lnTo>
                    <a:pt x="47" y="86"/>
                  </a:lnTo>
                  <a:lnTo>
                    <a:pt x="47" y="94"/>
                  </a:lnTo>
                  <a:lnTo>
                    <a:pt x="49" y="102"/>
                  </a:lnTo>
                  <a:lnTo>
                    <a:pt x="53" y="108"/>
                  </a:lnTo>
                  <a:lnTo>
                    <a:pt x="58" y="114"/>
                  </a:lnTo>
                  <a:lnTo>
                    <a:pt x="64" y="119"/>
                  </a:lnTo>
                  <a:lnTo>
                    <a:pt x="70" y="123"/>
                  </a:lnTo>
                  <a:lnTo>
                    <a:pt x="77" y="125"/>
                  </a:lnTo>
                  <a:lnTo>
                    <a:pt x="86" y="125"/>
                  </a:lnTo>
                  <a:lnTo>
                    <a:pt x="93" y="125"/>
                  </a:lnTo>
                  <a:lnTo>
                    <a:pt x="100" y="123"/>
                  </a:lnTo>
                  <a:lnTo>
                    <a:pt x="108" y="119"/>
                  </a:lnTo>
                  <a:lnTo>
                    <a:pt x="113" y="114"/>
                  </a:lnTo>
                  <a:lnTo>
                    <a:pt x="118" y="108"/>
                  </a:lnTo>
                  <a:lnTo>
                    <a:pt x="121" y="102"/>
                  </a:lnTo>
                  <a:lnTo>
                    <a:pt x="124" y="94"/>
                  </a:lnTo>
                  <a:lnTo>
                    <a:pt x="125" y="86"/>
                  </a:lnTo>
                  <a:lnTo>
                    <a:pt x="124" y="79"/>
                  </a:lnTo>
                  <a:lnTo>
                    <a:pt x="121" y="71"/>
                  </a:lnTo>
                  <a:lnTo>
                    <a:pt x="118" y="64"/>
                  </a:lnTo>
                  <a:lnTo>
                    <a:pt x="113" y="58"/>
                  </a:lnTo>
                  <a:lnTo>
                    <a:pt x="108" y="53"/>
                  </a:lnTo>
                  <a:lnTo>
                    <a:pt x="100" y="50"/>
                  </a:lnTo>
                  <a:lnTo>
                    <a:pt x="93" y="48"/>
                  </a:lnTo>
                  <a:lnTo>
                    <a:pt x="86" y="47"/>
                  </a:lnTo>
                  <a:close/>
                  <a:moveTo>
                    <a:pt x="86" y="172"/>
                  </a:moveTo>
                  <a:lnTo>
                    <a:pt x="77" y="171"/>
                  </a:lnTo>
                  <a:lnTo>
                    <a:pt x="69" y="169"/>
                  </a:lnTo>
                  <a:lnTo>
                    <a:pt x="60" y="168"/>
                  </a:lnTo>
                  <a:lnTo>
                    <a:pt x="53" y="164"/>
                  </a:lnTo>
                  <a:lnTo>
                    <a:pt x="44" y="161"/>
                  </a:lnTo>
                  <a:lnTo>
                    <a:pt x="38" y="157"/>
                  </a:lnTo>
                  <a:lnTo>
                    <a:pt x="31" y="152"/>
                  </a:lnTo>
                  <a:lnTo>
                    <a:pt x="24" y="146"/>
                  </a:lnTo>
                  <a:lnTo>
                    <a:pt x="20" y="140"/>
                  </a:lnTo>
                  <a:lnTo>
                    <a:pt x="15" y="134"/>
                  </a:lnTo>
                  <a:lnTo>
                    <a:pt x="10" y="126"/>
                  </a:lnTo>
                  <a:lnTo>
                    <a:pt x="6" y="119"/>
                  </a:lnTo>
                  <a:lnTo>
                    <a:pt x="4" y="112"/>
                  </a:lnTo>
                  <a:lnTo>
                    <a:pt x="1" y="103"/>
                  </a:lnTo>
                  <a:lnTo>
                    <a:pt x="0" y="94"/>
                  </a:lnTo>
                  <a:lnTo>
                    <a:pt x="0" y="86"/>
                  </a:lnTo>
                  <a:lnTo>
                    <a:pt x="0" y="77"/>
                  </a:lnTo>
                  <a:lnTo>
                    <a:pt x="1" y="69"/>
                  </a:lnTo>
                  <a:lnTo>
                    <a:pt x="4" y="60"/>
                  </a:lnTo>
                  <a:lnTo>
                    <a:pt x="6" y="53"/>
                  </a:lnTo>
                  <a:lnTo>
                    <a:pt x="10" y="45"/>
                  </a:lnTo>
                  <a:lnTo>
                    <a:pt x="15" y="38"/>
                  </a:lnTo>
                  <a:lnTo>
                    <a:pt x="20" y="32"/>
                  </a:lnTo>
                  <a:lnTo>
                    <a:pt x="24" y="26"/>
                  </a:lnTo>
                  <a:lnTo>
                    <a:pt x="31" y="20"/>
                  </a:lnTo>
                  <a:lnTo>
                    <a:pt x="38" y="15"/>
                  </a:lnTo>
                  <a:lnTo>
                    <a:pt x="44" y="11"/>
                  </a:lnTo>
                  <a:lnTo>
                    <a:pt x="53" y="7"/>
                  </a:lnTo>
                  <a:lnTo>
                    <a:pt x="60" y="5"/>
                  </a:lnTo>
                  <a:lnTo>
                    <a:pt x="69" y="2"/>
                  </a:lnTo>
                  <a:lnTo>
                    <a:pt x="77" y="1"/>
                  </a:lnTo>
                  <a:lnTo>
                    <a:pt x="86" y="0"/>
                  </a:lnTo>
                  <a:lnTo>
                    <a:pt x="94" y="1"/>
                  </a:lnTo>
                  <a:lnTo>
                    <a:pt x="103" y="2"/>
                  </a:lnTo>
                  <a:lnTo>
                    <a:pt x="110" y="5"/>
                  </a:lnTo>
                  <a:lnTo>
                    <a:pt x="119" y="7"/>
                  </a:lnTo>
                  <a:lnTo>
                    <a:pt x="126" y="11"/>
                  </a:lnTo>
                  <a:lnTo>
                    <a:pt x="134" y="15"/>
                  </a:lnTo>
                  <a:lnTo>
                    <a:pt x="140" y="20"/>
                  </a:lnTo>
                  <a:lnTo>
                    <a:pt x="146" y="26"/>
                  </a:lnTo>
                  <a:lnTo>
                    <a:pt x="151" y="32"/>
                  </a:lnTo>
                  <a:lnTo>
                    <a:pt x="156" y="38"/>
                  </a:lnTo>
                  <a:lnTo>
                    <a:pt x="161" y="45"/>
                  </a:lnTo>
                  <a:lnTo>
                    <a:pt x="164" y="53"/>
                  </a:lnTo>
                  <a:lnTo>
                    <a:pt x="167" y="60"/>
                  </a:lnTo>
                  <a:lnTo>
                    <a:pt x="169" y="69"/>
                  </a:lnTo>
                  <a:lnTo>
                    <a:pt x="170" y="77"/>
                  </a:lnTo>
                  <a:lnTo>
                    <a:pt x="170" y="86"/>
                  </a:lnTo>
                  <a:lnTo>
                    <a:pt x="170" y="94"/>
                  </a:lnTo>
                  <a:lnTo>
                    <a:pt x="169" y="103"/>
                  </a:lnTo>
                  <a:lnTo>
                    <a:pt x="167" y="112"/>
                  </a:lnTo>
                  <a:lnTo>
                    <a:pt x="164" y="119"/>
                  </a:lnTo>
                  <a:lnTo>
                    <a:pt x="161" y="126"/>
                  </a:lnTo>
                  <a:lnTo>
                    <a:pt x="156" y="134"/>
                  </a:lnTo>
                  <a:lnTo>
                    <a:pt x="151" y="140"/>
                  </a:lnTo>
                  <a:lnTo>
                    <a:pt x="146" y="146"/>
                  </a:lnTo>
                  <a:lnTo>
                    <a:pt x="140" y="152"/>
                  </a:lnTo>
                  <a:lnTo>
                    <a:pt x="134" y="157"/>
                  </a:lnTo>
                  <a:lnTo>
                    <a:pt x="126" y="161"/>
                  </a:lnTo>
                  <a:lnTo>
                    <a:pt x="119" y="164"/>
                  </a:lnTo>
                  <a:lnTo>
                    <a:pt x="110" y="168"/>
                  </a:lnTo>
                  <a:lnTo>
                    <a:pt x="103" y="169"/>
                  </a:lnTo>
                  <a:lnTo>
                    <a:pt x="94" y="171"/>
                  </a:lnTo>
                  <a:lnTo>
                    <a:pt x="86" y="17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6" name="Freeform 164">
              <a:extLst>
                <a:ext uri="{FF2B5EF4-FFF2-40B4-BE49-F238E27FC236}">
                  <a16:creationId xmlns:a16="http://schemas.microsoft.com/office/drawing/2014/main" id="{0019F6F7-9F6A-4A0E-882B-8F6E9289915D}"/>
                </a:ext>
              </a:extLst>
            </p:cNvPr>
            <p:cNvSpPr>
              <a:spLocks noEditPoints="1"/>
            </p:cNvSpPr>
            <p:nvPr/>
          </p:nvSpPr>
          <p:spPr bwMode="auto">
            <a:xfrm>
              <a:off x="7417798" y="3021035"/>
              <a:ext cx="107202" cy="112965"/>
            </a:xfrm>
            <a:custGeom>
              <a:avLst/>
              <a:gdLst>
                <a:gd name="T0" fmla="*/ 161 w 374"/>
                <a:gd name="T1" fmla="*/ 292 h 390"/>
                <a:gd name="T2" fmla="*/ 188 w 374"/>
                <a:gd name="T3" fmla="*/ 326 h 390"/>
                <a:gd name="T4" fmla="*/ 212 w 374"/>
                <a:gd name="T5" fmla="*/ 293 h 390"/>
                <a:gd name="T6" fmla="*/ 226 w 374"/>
                <a:gd name="T7" fmla="*/ 288 h 390"/>
                <a:gd name="T8" fmla="*/ 264 w 374"/>
                <a:gd name="T9" fmla="*/ 267 h 390"/>
                <a:gd name="T10" fmla="*/ 266 w 374"/>
                <a:gd name="T11" fmla="*/ 256 h 390"/>
                <a:gd name="T12" fmla="*/ 281 w 374"/>
                <a:gd name="T13" fmla="*/ 244 h 390"/>
                <a:gd name="T14" fmla="*/ 288 w 374"/>
                <a:gd name="T15" fmla="*/ 201 h 390"/>
                <a:gd name="T16" fmla="*/ 292 w 374"/>
                <a:gd name="T17" fmla="*/ 180 h 390"/>
                <a:gd name="T18" fmla="*/ 272 w 374"/>
                <a:gd name="T19" fmla="*/ 141 h 390"/>
                <a:gd name="T20" fmla="*/ 262 w 374"/>
                <a:gd name="T21" fmla="*/ 121 h 390"/>
                <a:gd name="T22" fmla="*/ 228 w 374"/>
                <a:gd name="T23" fmla="*/ 100 h 390"/>
                <a:gd name="T24" fmla="*/ 217 w 374"/>
                <a:gd name="T25" fmla="*/ 100 h 390"/>
                <a:gd name="T26" fmla="*/ 186 w 374"/>
                <a:gd name="T27" fmla="*/ 64 h 390"/>
                <a:gd name="T28" fmla="*/ 156 w 374"/>
                <a:gd name="T29" fmla="*/ 100 h 390"/>
                <a:gd name="T30" fmla="*/ 109 w 374"/>
                <a:gd name="T31" fmla="*/ 89 h 390"/>
                <a:gd name="T32" fmla="*/ 105 w 374"/>
                <a:gd name="T33" fmla="*/ 137 h 390"/>
                <a:gd name="T34" fmla="*/ 62 w 374"/>
                <a:gd name="T35" fmla="*/ 156 h 390"/>
                <a:gd name="T36" fmla="*/ 87 w 374"/>
                <a:gd name="T37" fmla="*/ 196 h 390"/>
                <a:gd name="T38" fmla="*/ 62 w 374"/>
                <a:gd name="T39" fmla="*/ 237 h 390"/>
                <a:gd name="T40" fmla="*/ 107 w 374"/>
                <a:gd name="T41" fmla="*/ 254 h 390"/>
                <a:gd name="T42" fmla="*/ 110 w 374"/>
                <a:gd name="T43" fmla="*/ 302 h 390"/>
                <a:gd name="T44" fmla="*/ 150 w 374"/>
                <a:gd name="T45" fmla="*/ 289 h 390"/>
                <a:gd name="T46" fmla="*/ 178 w 374"/>
                <a:gd name="T47" fmla="*/ 387 h 390"/>
                <a:gd name="T48" fmla="*/ 141 w 374"/>
                <a:gd name="T49" fmla="*/ 340 h 390"/>
                <a:gd name="T50" fmla="*/ 83 w 374"/>
                <a:gd name="T51" fmla="*/ 358 h 390"/>
                <a:gd name="T52" fmla="*/ 70 w 374"/>
                <a:gd name="T53" fmla="*/ 349 h 390"/>
                <a:gd name="T54" fmla="*/ 64 w 374"/>
                <a:gd name="T55" fmla="*/ 335 h 390"/>
                <a:gd name="T56" fmla="*/ 12 w 374"/>
                <a:gd name="T57" fmla="*/ 270 h 390"/>
                <a:gd name="T58" fmla="*/ 2 w 374"/>
                <a:gd name="T59" fmla="*/ 256 h 390"/>
                <a:gd name="T60" fmla="*/ 2 w 374"/>
                <a:gd name="T61" fmla="*/ 240 h 390"/>
                <a:gd name="T62" fmla="*/ 5 w 374"/>
                <a:gd name="T63" fmla="*/ 157 h 390"/>
                <a:gd name="T64" fmla="*/ 0 w 374"/>
                <a:gd name="T65" fmla="*/ 142 h 390"/>
                <a:gd name="T66" fmla="*/ 7 w 374"/>
                <a:gd name="T67" fmla="*/ 126 h 390"/>
                <a:gd name="T68" fmla="*/ 64 w 374"/>
                <a:gd name="T69" fmla="*/ 107 h 390"/>
                <a:gd name="T70" fmla="*/ 64 w 374"/>
                <a:gd name="T71" fmla="*/ 46 h 390"/>
                <a:gd name="T72" fmla="*/ 76 w 374"/>
                <a:gd name="T73" fmla="*/ 35 h 390"/>
                <a:gd name="T74" fmla="*/ 92 w 374"/>
                <a:gd name="T75" fmla="*/ 35 h 390"/>
                <a:gd name="T76" fmla="*/ 170 w 374"/>
                <a:gd name="T77" fmla="*/ 6 h 390"/>
                <a:gd name="T78" fmla="*/ 185 w 374"/>
                <a:gd name="T79" fmla="*/ 0 h 390"/>
                <a:gd name="T80" fmla="*/ 201 w 374"/>
                <a:gd name="T81" fmla="*/ 6 h 390"/>
                <a:gd name="T82" fmla="*/ 280 w 374"/>
                <a:gd name="T83" fmla="*/ 33 h 390"/>
                <a:gd name="T84" fmla="*/ 295 w 374"/>
                <a:gd name="T85" fmla="*/ 34 h 390"/>
                <a:gd name="T86" fmla="*/ 308 w 374"/>
                <a:gd name="T87" fmla="*/ 45 h 390"/>
                <a:gd name="T88" fmla="*/ 309 w 374"/>
                <a:gd name="T89" fmla="*/ 105 h 390"/>
                <a:gd name="T90" fmla="*/ 367 w 374"/>
                <a:gd name="T91" fmla="*/ 124 h 390"/>
                <a:gd name="T92" fmla="*/ 373 w 374"/>
                <a:gd name="T93" fmla="*/ 138 h 390"/>
                <a:gd name="T94" fmla="*/ 369 w 374"/>
                <a:gd name="T95" fmla="*/ 154 h 390"/>
                <a:gd name="T96" fmla="*/ 372 w 374"/>
                <a:gd name="T97" fmla="*/ 238 h 390"/>
                <a:gd name="T98" fmla="*/ 373 w 374"/>
                <a:gd name="T99" fmla="*/ 254 h 390"/>
                <a:gd name="T100" fmla="*/ 363 w 374"/>
                <a:gd name="T101" fmla="*/ 267 h 390"/>
                <a:gd name="T102" fmla="*/ 313 w 374"/>
                <a:gd name="T103" fmla="*/ 332 h 390"/>
                <a:gd name="T104" fmla="*/ 307 w 374"/>
                <a:gd name="T105" fmla="*/ 348 h 390"/>
                <a:gd name="T106" fmla="*/ 293 w 374"/>
                <a:gd name="T107" fmla="*/ 356 h 390"/>
                <a:gd name="T108" fmla="*/ 235 w 374"/>
                <a:gd name="T109" fmla="*/ 340 h 390"/>
                <a:gd name="T110" fmla="*/ 200 w 374"/>
                <a:gd name="T111" fmla="*/ 387 h 390"/>
                <a:gd name="T112" fmla="*/ 189 w 374"/>
                <a:gd name="T113"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390">
                  <a:moveTo>
                    <a:pt x="150" y="289"/>
                  </a:moveTo>
                  <a:lnTo>
                    <a:pt x="156" y="289"/>
                  </a:lnTo>
                  <a:lnTo>
                    <a:pt x="161" y="292"/>
                  </a:lnTo>
                  <a:lnTo>
                    <a:pt x="165" y="294"/>
                  </a:lnTo>
                  <a:lnTo>
                    <a:pt x="169" y="299"/>
                  </a:lnTo>
                  <a:lnTo>
                    <a:pt x="188" y="326"/>
                  </a:lnTo>
                  <a:lnTo>
                    <a:pt x="207" y="299"/>
                  </a:lnTo>
                  <a:lnTo>
                    <a:pt x="210" y="295"/>
                  </a:lnTo>
                  <a:lnTo>
                    <a:pt x="212" y="293"/>
                  </a:lnTo>
                  <a:lnTo>
                    <a:pt x="216" y="291"/>
                  </a:lnTo>
                  <a:lnTo>
                    <a:pt x="218" y="289"/>
                  </a:lnTo>
                  <a:lnTo>
                    <a:pt x="226" y="288"/>
                  </a:lnTo>
                  <a:lnTo>
                    <a:pt x="233" y="289"/>
                  </a:lnTo>
                  <a:lnTo>
                    <a:pt x="265" y="300"/>
                  </a:lnTo>
                  <a:lnTo>
                    <a:pt x="264" y="267"/>
                  </a:lnTo>
                  <a:lnTo>
                    <a:pt x="264" y="264"/>
                  </a:lnTo>
                  <a:lnTo>
                    <a:pt x="265" y="260"/>
                  </a:lnTo>
                  <a:lnTo>
                    <a:pt x="266" y="256"/>
                  </a:lnTo>
                  <a:lnTo>
                    <a:pt x="268" y="253"/>
                  </a:lnTo>
                  <a:lnTo>
                    <a:pt x="273" y="248"/>
                  </a:lnTo>
                  <a:lnTo>
                    <a:pt x="281" y="244"/>
                  </a:lnTo>
                  <a:lnTo>
                    <a:pt x="313" y="234"/>
                  </a:lnTo>
                  <a:lnTo>
                    <a:pt x="292" y="208"/>
                  </a:lnTo>
                  <a:lnTo>
                    <a:pt x="288" y="201"/>
                  </a:lnTo>
                  <a:lnTo>
                    <a:pt x="287" y="195"/>
                  </a:lnTo>
                  <a:lnTo>
                    <a:pt x="288" y="188"/>
                  </a:lnTo>
                  <a:lnTo>
                    <a:pt x="292" y="180"/>
                  </a:lnTo>
                  <a:lnTo>
                    <a:pt x="311" y="153"/>
                  </a:lnTo>
                  <a:lnTo>
                    <a:pt x="280" y="145"/>
                  </a:lnTo>
                  <a:lnTo>
                    <a:pt x="272" y="141"/>
                  </a:lnTo>
                  <a:lnTo>
                    <a:pt x="267" y="136"/>
                  </a:lnTo>
                  <a:lnTo>
                    <a:pt x="264" y="129"/>
                  </a:lnTo>
                  <a:lnTo>
                    <a:pt x="262" y="121"/>
                  </a:lnTo>
                  <a:lnTo>
                    <a:pt x="264" y="88"/>
                  </a:lnTo>
                  <a:lnTo>
                    <a:pt x="232" y="99"/>
                  </a:lnTo>
                  <a:lnTo>
                    <a:pt x="228" y="100"/>
                  </a:lnTo>
                  <a:lnTo>
                    <a:pt x="224" y="100"/>
                  </a:lnTo>
                  <a:lnTo>
                    <a:pt x="221" y="100"/>
                  </a:lnTo>
                  <a:lnTo>
                    <a:pt x="217" y="100"/>
                  </a:lnTo>
                  <a:lnTo>
                    <a:pt x="211" y="97"/>
                  </a:lnTo>
                  <a:lnTo>
                    <a:pt x="205" y="91"/>
                  </a:lnTo>
                  <a:lnTo>
                    <a:pt x="186" y="64"/>
                  </a:lnTo>
                  <a:lnTo>
                    <a:pt x="167" y="92"/>
                  </a:lnTo>
                  <a:lnTo>
                    <a:pt x="162" y="97"/>
                  </a:lnTo>
                  <a:lnTo>
                    <a:pt x="156" y="100"/>
                  </a:lnTo>
                  <a:lnTo>
                    <a:pt x="148" y="102"/>
                  </a:lnTo>
                  <a:lnTo>
                    <a:pt x="141" y="100"/>
                  </a:lnTo>
                  <a:lnTo>
                    <a:pt x="109" y="89"/>
                  </a:lnTo>
                  <a:lnTo>
                    <a:pt x="110" y="123"/>
                  </a:lnTo>
                  <a:lnTo>
                    <a:pt x="109" y="130"/>
                  </a:lnTo>
                  <a:lnTo>
                    <a:pt x="105" y="137"/>
                  </a:lnTo>
                  <a:lnTo>
                    <a:pt x="100" y="142"/>
                  </a:lnTo>
                  <a:lnTo>
                    <a:pt x="94" y="146"/>
                  </a:lnTo>
                  <a:lnTo>
                    <a:pt x="62" y="156"/>
                  </a:lnTo>
                  <a:lnTo>
                    <a:pt x="82" y="181"/>
                  </a:lnTo>
                  <a:lnTo>
                    <a:pt x="86" y="189"/>
                  </a:lnTo>
                  <a:lnTo>
                    <a:pt x="87" y="196"/>
                  </a:lnTo>
                  <a:lnTo>
                    <a:pt x="86" y="203"/>
                  </a:lnTo>
                  <a:lnTo>
                    <a:pt x="82" y="210"/>
                  </a:lnTo>
                  <a:lnTo>
                    <a:pt x="62" y="237"/>
                  </a:lnTo>
                  <a:lnTo>
                    <a:pt x="94" y="246"/>
                  </a:lnTo>
                  <a:lnTo>
                    <a:pt x="102" y="249"/>
                  </a:lnTo>
                  <a:lnTo>
                    <a:pt x="107" y="254"/>
                  </a:lnTo>
                  <a:lnTo>
                    <a:pt x="110" y="261"/>
                  </a:lnTo>
                  <a:lnTo>
                    <a:pt x="111" y="268"/>
                  </a:lnTo>
                  <a:lnTo>
                    <a:pt x="110" y="302"/>
                  </a:lnTo>
                  <a:lnTo>
                    <a:pt x="142" y="291"/>
                  </a:lnTo>
                  <a:lnTo>
                    <a:pt x="146" y="289"/>
                  </a:lnTo>
                  <a:lnTo>
                    <a:pt x="150" y="289"/>
                  </a:lnTo>
                  <a:close/>
                  <a:moveTo>
                    <a:pt x="189" y="390"/>
                  </a:moveTo>
                  <a:lnTo>
                    <a:pt x="183" y="390"/>
                  </a:lnTo>
                  <a:lnTo>
                    <a:pt x="178" y="387"/>
                  </a:lnTo>
                  <a:lnTo>
                    <a:pt x="173" y="384"/>
                  </a:lnTo>
                  <a:lnTo>
                    <a:pt x="169" y="380"/>
                  </a:lnTo>
                  <a:lnTo>
                    <a:pt x="141" y="340"/>
                  </a:lnTo>
                  <a:lnTo>
                    <a:pt x="94" y="357"/>
                  </a:lnTo>
                  <a:lnTo>
                    <a:pt x="89" y="358"/>
                  </a:lnTo>
                  <a:lnTo>
                    <a:pt x="83" y="358"/>
                  </a:lnTo>
                  <a:lnTo>
                    <a:pt x="78" y="357"/>
                  </a:lnTo>
                  <a:lnTo>
                    <a:pt x="73" y="353"/>
                  </a:lnTo>
                  <a:lnTo>
                    <a:pt x="70" y="349"/>
                  </a:lnTo>
                  <a:lnTo>
                    <a:pt x="66" y="346"/>
                  </a:lnTo>
                  <a:lnTo>
                    <a:pt x="65" y="340"/>
                  </a:lnTo>
                  <a:lnTo>
                    <a:pt x="64" y="335"/>
                  </a:lnTo>
                  <a:lnTo>
                    <a:pt x="65" y="286"/>
                  </a:lnTo>
                  <a:lnTo>
                    <a:pt x="17" y="272"/>
                  </a:lnTo>
                  <a:lnTo>
                    <a:pt x="12" y="270"/>
                  </a:lnTo>
                  <a:lnTo>
                    <a:pt x="8" y="266"/>
                  </a:lnTo>
                  <a:lnTo>
                    <a:pt x="5" y="262"/>
                  </a:lnTo>
                  <a:lnTo>
                    <a:pt x="2" y="256"/>
                  </a:lnTo>
                  <a:lnTo>
                    <a:pt x="1" y="251"/>
                  </a:lnTo>
                  <a:lnTo>
                    <a:pt x="1" y="245"/>
                  </a:lnTo>
                  <a:lnTo>
                    <a:pt x="2" y="240"/>
                  </a:lnTo>
                  <a:lnTo>
                    <a:pt x="6" y="235"/>
                  </a:lnTo>
                  <a:lnTo>
                    <a:pt x="35" y="196"/>
                  </a:lnTo>
                  <a:lnTo>
                    <a:pt x="5" y="157"/>
                  </a:lnTo>
                  <a:lnTo>
                    <a:pt x="2" y="152"/>
                  </a:lnTo>
                  <a:lnTo>
                    <a:pt x="0" y="147"/>
                  </a:lnTo>
                  <a:lnTo>
                    <a:pt x="0" y="142"/>
                  </a:lnTo>
                  <a:lnTo>
                    <a:pt x="1" y="136"/>
                  </a:lnTo>
                  <a:lnTo>
                    <a:pt x="4" y="131"/>
                  </a:lnTo>
                  <a:lnTo>
                    <a:pt x="7" y="126"/>
                  </a:lnTo>
                  <a:lnTo>
                    <a:pt x="11" y="124"/>
                  </a:lnTo>
                  <a:lnTo>
                    <a:pt x="16" y="121"/>
                  </a:lnTo>
                  <a:lnTo>
                    <a:pt x="64" y="107"/>
                  </a:lnTo>
                  <a:lnTo>
                    <a:pt x="62" y="57"/>
                  </a:lnTo>
                  <a:lnTo>
                    <a:pt x="62" y="51"/>
                  </a:lnTo>
                  <a:lnTo>
                    <a:pt x="64" y="46"/>
                  </a:lnTo>
                  <a:lnTo>
                    <a:pt x="67" y="42"/>
                  </a:lnTo>
                  <a:lnTo>
                    <a:pt x="71" y="38"/>
                  </a:lnTo>
                  <a:lnTo>
                    <a:pt x="76" y="35"/>
                  </a:lnTo>
                  <a:lnTo>
                    <a:pt x="81" y="34"/>
                  </a:lnTo>
                  <a:lnTo>
                    <a:pt x="87" y="34"/>
                  </a:lnTo>
                  <a:lnTo>
                    <a:pt x="92" y="35"/>
                  </a:lnTo>
                  <a:lnTo>
                    <a:pt x="138" y="51"/>
                  </a:lnTo>
                  <a:lnTo>
                    <a:pt x="167" y="10"/>
                  </a:lnTo>
                  <a:lnTo>
                    <a:pt x="170" y="6"/>
                  </a:lnTo>
                  <a:lnTo>
                    <a:pt x="175" y="2"/>
                  </a:lnTo>
                  <a:lnTo>
                    <a:pt x="180" y="1"/>
                  </a:lnTo>
                  <a:lnTo>
                    <a:pt x="185" y="0"/>
                  </a:lnTo>
                  <a:lnTo>
                    <a:pt x="191" y="0"/>
                  </a:lnTo>
                  <a:lnTo>
                    <a:pt x="196" y="2"/>
                  </a:lnTo>
                  <a:lnTo>
                    <a:pt x="201" y="6"/>
                  </a:lnTo>
                  <a:lnTo>
                    <a:pt x="205" y="10"/>
                  </a:lnTo>
                  <a:lnTo>
                    <a:pt x="233" y="50"/>
                  </a:lnTo>
                  <a:lnTo>
                    <a:pt x="280" y="33"/>
                  </a:lnTo>
                  <a:lnTo>
                    <a:pt x="284" y="32"/>
                  </a:lnTo>
                  <a:lnTo>
                    <a:pt x="291" y="32"/>
                  </a:lnTo>
                  <a:lnTo>
                    <a:pt x="295" y="34"/>
                  </a:lnTo>
                  <a:lnTo>
                    <a:pt x="300" y="37"/>
                  </a:lnTo>
                  <a:lnTo>
                    <a:pt x="304" y="40"/>
                  </a:lnTo>
                  <a:lnTo>
                    <a:pt x="308" y="45"/>
                  </a:lnTo>
                  <a:lnTo>
                    <a:pt x="309" y="50"/>
                  </a:lnTo>
                  <a:lnTo>
                    <a:pt x="310" y="55"/>
                  </a:lnTo>
                  <a:lnTo>
                    <a:pt x="309" y="105"/>
                  </a:lnTo>
                  <a:lnTo>
                    <a:pt x="357" y="119"/>
                  </a:lnTo>
                  <a:lnTo>
                    <a:pt x="362" y="120"/>
                  </a:lnTo>
                  <a:lnTo>
                    <a:pt x="367" y="124"/>
                  </a:lnTo>
                  <a:lnTo>
                    <a:pt x="369" y="129"/>
                  </a:lnTo>
                  <a:lnTo>
                    <a:pt x="372" y="134"/>
                  </a:lnTo>
                  <a:lnTo>
                    <a:pt x="373" y="138"/>
                  </a:lnTo>
                  <a:lnTo>
                    <a:pt x="373" y="145"/>
                  </a:lnTo>
                  <a:lnTo>
                    <a:pt x="372" y="149"/>
                  </a:lnTo>
                  <a:lnTo>
                    <a:pt x="369" y="154"/>
                  </a:lnTo>
                  <a:lnTo>
                    <a:pt x="338" y="194"/>
                  </a:lnTo>
                  <a:lnTo>
                    <a:pt x="369" y="233"/>
                  </a:lnTo>
                  <a:lnTo>
                    <a:pt x="372" y="238"/>
                  </a:lnTo>
                  <a:lnTo>
                    <a:pt x="374" y="243"/>
                  </a:lnTo>
                  <a:lnTo>
                    <a:pt x="374" y="249"/>
                  </a:lnTo>
                  <a:lnTo>
                    <a:pt x="373" y="254"/>
                  </a:lnTo>
                  <a:lnTo>
                    <a:pt x="370" y="259"/>
                  </a:lnTo>
                  <a:lnTo>
                    <a:pt x="367" y="264"/>
                  </a:lnTo>
                  <a:lnTo>
                    <a:pt x="363" y="267"/>
                  </a:lnTo>
                  <a:lnTo>
                    <a:pt x="358" y="268"/>
                  </a:lnTo>
                  <a:lnTo>
                    <a:pt x="310" y="283"/>
                  </a:lnTo>
                  <a:lnTo>
                    <a:pt x="313" y="332"/>
                  </a:lnTo>
                  <a:lnTo>
                    <a:pt x="311" y="338"/>
                  </a:lnTo>
                  <a:lnTo>
                    <a:pt x="310" y="343"/>
                  </a:lnTo>
                  <a:lnTo>
                    <a:pt x="307" y="348"/>
                  </a:lnTo>
                  <a:lnTo>
                    <a:pt x="303" y="352"/>
                  </a:lnTo>
                  <a:lnTo>
                    <a:pt x="298" y="354"/>
                  </a:lnTo>
                  <a:lnTo>
                    <a:pt x="293" y="356"/>
                  </a:lnTo>
                  <a:lnTo>
                    <a:pt x="287" y="357"/>
                  </a:lnTo>
                  <a:lnTo>
                    <a:pt x="282" y="356"/>
                  </a:lnTo>
                  <a:lnTo>
                    <a:pt x="235" y="340"/>
                  </a:lnTo>
                  <a:lnTo>
                    <a:pt x="207" y="380"/>
                  </a:lnTo>
                  <a:lnTo>
                    <a:pt x="203" y="384"/>
                  </a:lnTo>
                  <a:lnTo>
                    <a:pt x="200" y="387"/>
                  </a:lnTo>
                  <a:lnTo>
                    <a:pt x="194" y="390"/>
                  </a:lnTo>
                  <a:lnTo>
                    <a:pt x="189" y="390"/>
                  </a:lnTo>
                  <a:lnTo>
                    <a:pt x="189" y="390"/>
                  </a:lnTo>
                  <a:lnTo>
                    <a:pt x="189" y="39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27" name="Group 38">
            <a:extLst>
              <a:ext uri="{FF2B5EF4-FFF2-40B4-BE49-F238E27FC236}">
                <a16:creationId xmlns:a16="http://schemas.microsoft.com/office/drawing/2014/main" id="{E96796C7-0671-4CBC-A9B8-360895AC4A6F}"/>
              </a:ext>
            </a:extLst>
          </p:cNvPr>
          <p:cNvGrpSpPr>
            <a:grpSpLocks noChangeAspect="1"/>
          </p:cNvGrpSpPr>
          <p:nvPr/>
        </p:nvGrpSpPr>
        <p:grpSpPr>
          <a:xfrm>
            <a:off x="8710218" y="4344909"/>
            <a:ext cx="308144" cy="308144"/>
            <a:chOff x="11601450" y="3078163"/>
            <a:chExt cx="285751" cy="285751"/>
          </a:xfrm>
          <a:solidFill>
            <a:schemeClr val="bg2"/>
          </a:solidFill>
          <a:effectLst/>
        </p:grpSpPr>
        <p:sp>
          <p:nvSpPr>
            <p:cNvPr id="628" name="Freeform 266">
              <a:extLst>
                <a:ext uri="{FF2B5EF4-FFF2-40B4-BE49-F238E27FC236}">
                  <a16:creationId xmlns:a16="http://schemas.microsoft.com/office/drawing/2014/main" id="{FA5312DE-5F8F-4E0C-9C8F-79B71B520F58}"/>
                </a:ext>
              </a:extLst>
            </p:cNvPr>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29" name="Freeform 267">
              <a:extLst>
                <a:ext uri="{FF2B5EF4-FFF2-40B4-BE49-F238E27FC236}">
                  <a16:creationId xmlns:a16="http://schemas.microsoft.com/office/drawing/2014/main" id="{5BDCF2AC-76C5-4039-BE79-40BCE64D4572}"/>
                </a:ext>
              </a:extLst>
            </p:cNvPr>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60" name="Group 12">
            <a:extLst>
              <a:ext uri="{FF2B5EF4-FFF2-40B4-BE49-F238E27FC236}">
                <a16:creationId xmlns:a16="http://schemas.microsoft.com/office/drawing/2014/main" id="{51B94F2C-7544-4ECC-B2FA-2C8DC5569783}"/>
              </a:ext>
            </a:extLst>
          </p:cNvPr>
          <p:cNvGrpSpPr>
            <a:grpSpLocks noChangeAspect="1"/>
          </p:cNvGrpSpPr>
          <p:nvPr/>
        </p:nvGrpSpPr>
        <p:grpSpPr>
          <a:xfrm>
            <a:off x="9057808" y="4344909"/>
            <a:ext cx="271272" cy="308144"/>
            <a:chOff x="4413251" y="3243263"/>
            <a:chExt cx="327025" cy="371476"/>
          </a:xfrm>
          <a:solidFill>
            <a:schemeClr val="bg2"/>
          </a:solidFill>
          <a:effectLst/>
        </p:grpSpPr>
        <p:sp>
          <p:nvSpPr>
            <p:cNvPr id="661" name="Freeform 6">
              <a:extLst>
                <a:ext uri="{FF2B5EF4-FFF2-40B4-BE49-F238E27FC236}">
                  <a16:creationId xmlns:a16="http://schemas.microsoft.com/office/drawing/2014/main" id="{7CC8ED2C-D440-4CE0-97B8-D4E83A0FFFE5}"/>
                </a:ext>
              </a:extLst>
            </p:cNvPr>
            <p:cNvSpPr>
              <a:spLocks noEditPoints="1"/>
            </p:cNvSpPr>
            <p:nvPr/>
          </p:nvSpPr>
          <p:spPr bwMode="auto">
            <a:xfrm>
              <a:off x="4413251" y="3289301"/>
              <a:ext cx="233363" cy="325438"/>
            </a:xfrm>
            <a:custGeom>
              <a:avLst/>
              <a:gdLst>
                <a:gd name="T0" fmla="*/ 58 w 60"/>
                <a:gd name="T1" fmla="*/ 84 h 84"/>
                <a:gd name="T2" fmla="*/ 2 w 60"/>
                <a:gd name="T3" fmla="*/ 84 h 84"/>
                <a:gd name="T4" fmla="*/ 0 w 60"/>
                <a:gd name="T5" fmla="*/ 82 h 84"/>
                <a:gd name="T6" fmla="*/ 0 w 60"/>
                <a:gd name="T7" fmla="*/ 2 h 84"/>
                <a:gd name="T8" fmla="*/ 2 w 60"/>
                <a:gd name="T9" fmla="*/ 0 h 84"/>
                <a:gd name="T10" fmla="*/ 38 w 60"/>
                <a:gd name="T11" fmla="*/ 0 h 84"/>
                <a:gd name="T12" fmla="*/ 39 w 60"/>
                <a:gd name="T13" fmla="*/ 1 h 84"/>
                <a:gd name="T14" fmla="*/ 59 w 60"/>
                <a:gd name="T15" fmla="*/ 21 h 84"/>
                <a:gd name="T16" fmla="*/ 60 w 60"/>
                <a:gd name="T17" fmla="*/ 22 h 84"/>
                <a:gd name="T18" fmla="*/ 60 w 60"/>
                <a:gd name="T19" fmla="*/ 82 h 84"/>
                <a:gd name="T20" fmla="*/ 58 w 60"/>
                <a:gd name="T21" fmla="*/ 84 h 84"/>
                <a:gd name="T22" fmla="*/ 4 w 60"/>
                <a:gd name="T23" fmla="*/ 80 h 84"/>
                <a:gd name="T24" fmla="*/ 56 w 60"/>
                <a:gd name="T25" fmla="*/ 80 h 84"/>
                <a:gd name="T26" fmla="*/ 56 w 60"/>
                <a:gd name="T27" fmla="*/ 23 h 84"/>
                <a:gd name="T28" fmla="*/ 37 w 60"/>
                <a:gd name="T29" fmla="*/ 4 h 84"/>
                <a:gd name="T30" fmla="*/ 4 w 60"/>
                <a:gd name="T31" fmla="*/ 4 h 84"/>
                <a:gd name="T32" fmla="*/ 4 w 60"/>
                <a:gd name="T3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84">
                  <a:moveTo>
                    <a:pt x="58" y="84"/>
                  </a:moveTo>
                  <a:cubicBezTo>
                    <a:pt x="2" y="84"/>
                    <a:pt x="2" y="84"/>
                    <a:pt x="2" y="84"/>
                  </a:cubicBezTo>
                  <a:cubicBezTo>
                    <a:pt x="1" y="84"/>
                    <a:pt x="0" y="83"/>
                    <a:pt x="0" y="82"/>
                  </a:cubicBezTo>
                  <a:cubicBezTo>
                    <a:pt x="0" y="2"/>
                    <a:pt x="0" y="2"/>
                    <a:pt x="0" y="2"/>
                  </a:cubicBezTo>
                  <a:cubicBezTo>
                    <a:pt x="0" y="1"/>
                    <a:pt x="1" y="0"/>
                    <a:pt x="2" y="0"/>
                  </a:cubicBezTo>
                  <a:cubicBezTo>
                    <a:pt x="38" y="0"/>
                    <a:pt x="38" y="0"/>
                    <a:pt x="38" y="0"/>
                  </a:cubicBezTo>
                  <a:cubicBezTo>
                    <a:pt x="39" y="0"/>
                    <a:pt x="39" y="0"/>
                    <a:pt x="39" y="1"/>
                  </a:cubicBezTo>
                  <a:cubicBezTo>
                    <a:pt x="59" y="21"/>
                    <a:pt x="59" y="21"/>
                    <a:pt x="59" y="21"/>
                  </a:cubicBezTo>
                  <a:cubicBezTo>
                    <a:pt x="60" y="21"/>
                    <a:pt x="60" y="21"/>
                    <a:pt x="60" y="22"/>
                  </a:cubicBezTo>
                  <a:cubicBezTo>
                    <a:pt x="60" y="82"/>
                    <a:pt x="60" y="82"/>
                    <a:pt x="60" y="82"/>
                  </a:cubicBezTo>
                  <a:cubicBezTo>
                    <a:pt x="60" y="83"/>
                    <a:pt x="59" y="84"/>
                    <a:pt x="58" y="84"/>
                  </a:cubicBezTo>
                  <a:close/>
                  <a:moveTo>
                    <a:pt x="4" y="80"/>
                  </a:moveTo>
                  <a:cubicBezTo>
                    <a:pt x="56" y="80"/>
                    <a:pt x="56" y="80"/>
                    <a:pt x="56" y="80"/>
                  </a:cubicBezTo>
                  <a:cubicBezTo>
                    <a:pt x="56" y="23"/>
                    <a:pt x="56" y="23"/>
                    <a:pt x="56" y="23"/>
                  </a:cubicBezTo>
                  <a:cubicBezTo>
                    <a:pt x="37" y="4"/>
                    <a:pt x="37" y="4"/>
                    <a:pt x="37" y="4"/>
                  </a:cubicBezTo>
                  <a:cubicBezTo>
                    <a:pt x="4" y="4"/>
                    <a:pt x="4" y="4"/>
                    <a:pt x="4" y="4"/>
                  </a:cubicBezTo>
                  <a:lnTo>
                    <a:pt x="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2" name="Freeform 7">
              <a:extLst>
                <a:ext uri="{FF2B5EF4-FFF2-40B4-BE49-F238E27FC236}">
                  <a16:creationId xmlns:a16="http://schemas.microsoft.com/office/drawing/2014/main" id="{9E986415-B52A-4EFD-BA22-864C989E1EF8}"/>
                </a:ext>
              </a:extLst>
            </p:cNvPr>
            <p:cNvSpPr>
              <a:spLocks/>
            </p:cNvSpPr>
            <p:nvPr/>
          </p:nvSpPr>
          <p:spPr bwMode="auto">
            <a:xfrm>
              <a:off x="4552951" y="3289301"/>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3" name="Freeform 8">
              <a:extLst>
                <a:ext uri="{FF2B5EF4-FFF2-40B4-BE49-F238E27FC236}">
                  <a16:creationId xmlns:a16="http://schemas.microsoft.com/office/drawing/2014/main" id="{908CD2BA-A9C1-40A1-8BFB-54EDCB5BCBCD}"/>
                </a:ext>
              </a:extLst>
            </p:cNvPr>
            <p:cNvSpPr>
              <a:spLocks/>
            </p:cNvSpPr>
            <p:nvPr/>
          </p:nvSpPr>
          <p:spPr bwMode="auto">
            <a:xfrm>
              <a:off x="4505326" y="3243263"/>
              <a:ext cx="234950" cy="325438"/>
            </a:xfrm>
            <a:custGeom>
              <a:avLst/>
              <a:gdLst>
                <a:gd name="T0" fmla="*/ 58 w 60"/>
                <a:gd name="T1" fmla="*/ 84 h 84"/>
                <a:gd name="T2" fmla="*/ 34 w 60"/>
                <a:gd name="T3" fmla="*/ 84 h 84"/>
                <a:gd name="T4" fmla="*/ 32 w 60"/>
                <a:gd name="T5" fmla="*/ 82 h 84"/>
                <a:gd name="T6" fmla="*/ 34 w 60"/>
                <a:gd name="T7" fmla="*/ 80 h 84"/>
                <a:gd name="T8" fmla="*/ 56 w 60"/>
                <a:gd name="T9" fmla="*/ 80 h 84"/>
                <a:gd name="T10" fmla="*/ 56 w 60"/>
                <a:gd name="T11" fmla="*/ 23 h 84"/>
                <a:gd name="T12" fmla="*/ 37 w 60"/>
                <a:gd name="T13" fmla="*/ 4 h 84"/>
                <a:gd name="T14" fmla="*/ 4 w 60"/>
                <a:gd name="T15" fmla="*/ 4 h 84"/>
                <a:gd name="T16" fmla="*/ 4 w 60"/>
                <a:gd name="T17" fmla="*/ 14 h 84"/>
                <a:gd name="T18" fmla="*/ 2 w 60"/>
                <a:gd name="T19" fmla="*/ 16 h 84"/>
                <a:gd name="T20" fmla="*/ 0 w 60"/>
                <a:gd name="T21" fmla="*/ 14 h 84"/>
                <a:gd name="T22" fmla="*/ 0 w 60"/>
                <a:gd name="T23" fmla="*/ 2 h 84"/>
                <a:gd name="T24" fmla="*/ 2 w 60"/>
                <a:gd name="T25" fmla="*/ 0 h 84"/>
                <a:gd name="T26" fmla="*/ 38 w 60"/>
                <a:gd name="T27" fmla="*/ 0 h 84"/>
                <a:gd name="T28" fmla="*/ 39 w 60"/>
                <a:gd name="T29" fmla="*/ 1 h 84"/>
                <a:gd name="T30" fmla="*/ 59 w 60"/>
                <a:gd name="T31" fmla="*/ 21 h 84"/>
                <a:gd name="T32" fmla="*/ 60 w 60"/>
                <a:gd name="T33" fmla="*/ 22 h 84"/>
                <a:gd name="T34" fmla="*/ 60 w 60"/>
                <a:gd name="T35" fmla="*/ 82 h 84"/>
                <a:gd name="T36" fmla="*/ 58 w 6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4">
                  <a:moveTo>
                    <a:pt x="58" y="84"/>
                  </a:moveTo>
                  <a:cubicBezTo>
                    <a:pt x="34" y="84"/>
                    <a:pt x="34" y="84"/>
                    <a:pt x="34" y="84"/>
                  </a:cubicBezTo>
                  <a:cubicBezTo>
                    <a:pt x="33" y="84"/>
                    <a:pt x="32" y="83"/>
                    <a:pt x="32" y="82"/>
                  </a:cubicBezTo>
                  <a:cubicBezTo>
                    <a:pt x="32" y="81"/>
                    <a:pt x="33" y="80"/>
                    <a:pt x="34" y="80"/>
                  </a:cubicBezTo>
                  <a:cubicBezTo>
                    <a:pt x="56" y="80"/>
                    <a:pt x="56" y="80"/>
                    <a:pt x="56" y="80"/>
                  </a:cubicBezTo>
                  <a:cubicBezTo>
                    <a:pt x="56" y="23"/>
                    <a:pt x="56" y="23"/>
                    <a:pt x="56" y="23"/>
                  </a:cubicBezTo>
                  <a:cubicBezTo>
                    <a:pt x="37" y="4"/>
                    <a:pt x="37" y="4"/>
                    <a:pt x="37" y="4"/>
                  </a:cubicBezTo>
                  <a:cubicBezTo>
                    <a:pt x="4" y="4"/>
                    <a:pt x="4" y="4"/>
                    <a:pt x="4" y="4"/>
                  </a:cubicBezTo>
                  <a:cubicBezTo>
                    <a:pt x="4" y="14"/>
                    <a:pt x="4" y="14"/>
                    <a:pt x="4" y="14"/>
                  </a:cubicBezTo>
                  <a:cubicBezTo>
                    <a:pt x="4" y="15"/>
                    <a:pt x="3" y="16"/>
                    <a:pt x="2" y="16"/>
                  </a:cubicBezTo>
                  <a:cubicBezTo>
                    <a:pt x="1" y="16"/>
                    <a:pt x="0" y="15"/>
                    <a:pt x="0" y="14"/>
                  </a:cubicBezTo>
                  <a:cubicBezTo>
                    <a:pt x="0" y="2"/>
                    <a:pt x="0" y="2"/>
                    <a:pt x="0" y="2"/>
                  </a:cubicBezTo>
                  <a:cubicBezTo>
                    <a:pt x="0" y="1"/>
                    <a:pt x="1" y="0"/>
                    <a:pt x="2" y="0"/>
                  </a:cubicBezTo>
                  <a:cubicBezTo>
                    <a:pt x="38" y="0"/>
                    <a:pt x="38" y="0"/>
                    <a:pt x="38" y="0"/>
                  </a:cubicBezTo>
                  <a:cubicBezTo>
                    <a:pt x="39" y="0"/>
                    <a:pt x="39" y="0"/>
                    <a:pt x="39" y="1"/>
                  </a:cubicBezTo>
                  <a:cubicBezTo>
                    <a:pt x="59" y="21"/>
                    <a:pt x="59" y="21"/>
                    <a:pt x="59" y="21"/>
                  </a:cubicBezTo>
                  <a:cubicBezTo>
                    <a:pt x="60" y="21"/>
                    <a:pt x="60" y="21"/>
                    <a:pt x="60" y="22"/>
                  </a:cubicBezTo>
                  <a:cubicBezTo>
                    <a:pt x="60" y="82"/>
                    <a:pt x="60" y="82"/>
                    <a:pt x="60" y="82"/>
                  </a:cubicBezTo>
                  <a:cubicBezTo>
                    <a:pt x="60" y="83"/>
                    <a:pt x="59" y="84"/>
                    <a:pt x="5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4" name="Freeform 9">
              <a:extLst>
                <a:ext uri="{FF2B5EF4-FFF2-40B4-BE49-F238E27FC236}">
                  <a16:creationId xmlns:a16="http://schemas.microsoft.com/office/drawing/2014/main" id="{7FC16031-681C-4270-98C3-D37E8E5580F2}"/>
                </a:ext>
              </a:extLst>
            </p:cNvPr>
            <p:cNvSpPr>
              <a:spLocks/>
            </p:cNvSpPr>
            <p:nvPr/>
          </p:nvSpPr>
          <p:spPr bwMode="auto">
            <a:xfrm>
              <a:off x="4646613" y="3243263"/>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98" name="Group 27">
            <a:extLst>
              <a:ext uri="{FF2B5EF4-FFF2-40B4-BE49-F238E27FC236}">
                <a16:creationId xmlns:a16="http://schemas.microsoft.com/office/drawing/2014/main" id="{95C4171C-1BD4-4652-9928-3193699413F2}"/>
              </a:ext>
            </a:extLst>
          </p:cNvPr>
          <p:cNvGrpSpPr>
            <a:grpSpLocks noChangeAspect="1"/>
          </p:cNvGrpSpPr>
          <p:nvPr/>
        </p:nvGrpSpPr>
        <p:grpSpPr>
          <a:xfrm>
            <a:off x="271061" y="3801969"/>
            <a:ext cx="309855" cy="308144"/>
            <a:chOff x="11028363" y="3649663"/>
            <a:chExt cx="287337" cy="285750"/>
          </a:xfrm>
          <a:solidFill>
            <a:schemeClr val="bg2"/>
          </a:solidFill>
          <a:effectLst/>
        </p:grpSpPr>
        <p:sp>
          <p:nvSpPr>
            <p:cNvPr id="699" name="Freeform 37">
              <a:extLst>
                <a:ext uri="{FF2B5EF4-FFF2-40B4-BE49-F238E27FC236}">
                  <a16:creationId xmlns:a16="http://schemas.microsoft.com/office/drawing/2014/main" id="{92FD412A-FB5F-4554-A571-47F171A5FAB2}"/>
                </a:ext>
              </a:extLst>
            </p:cNvPr>
            <p:cNvSpPr>
              <a:spLocks noEditPoints="1"/>
            </p:cNvSpPr>
            <p:nvPr/>
          </p:nvSpPr>
          <p:spPr bwMode="auto">
            <a:xfrm>
              <a:off x="11172825" y="3792538"/>
              <a:ext cx="142875" cy="142875"/>
            </a:xfrm>
            <a:custGeom>
              <a:avLst/>
              <a:gdLst>
                <a:gd name="T0" fmla="*/ 186 w 450"/>
                <a:gd name="T1" fmla="*/ 418 h 451"/>
                <a:gd name="T2" fmla="*/ 131 w 450"/>
                <a:gd name="T3" fmla="*/ 397 h 451"/>
                <a:gd name="T4" fmla="*/ 86 w 450"/>
                <a:gd name="T5" fmla="*/ 364 h 451"/>
                <a:gd name="T6" fmla="*/ 53 w 450"/>
                <a:gd name="T7" fmla="*/ 319 h 451"/>
                <a:gd name="T8" fmla="*/ 33 w 450"/>
                <a:gd name="T9" fmla="*/ 266 h 451"/>
                <a:gd name="T10" fmla="*/ 31 w 450"/>
                <a:gd name="T11" fmla="*/ 206 h 451"/>
                <a:gd name="T12" fmla="*/ 45 w 450"/>
                <a:gd name="T13" fmla="*/ 150 h 451"/>
                <a:gd name="T14" fmla="*/ 73 w 450"/>
                <a:gd name="T15" fmla="*/ 102 h 451"/>
                <a:gd name="T16" fmla="*/ 115 w 450"/>
                <a:gd name="T17" fmla="*/ 64 h 451"/>
                <a:gd name="T18" fmla="*/ 167 w 450"/>
                <a:gd name="T19" fmla="*/ 40 h 451"/>
                <a:gd name="T20" fmla="*/ 224 w 450"/>
                <a:gd name="T21" fmla="*/ 30 h 451"/>
                <a:gd name="T22" fmla="*/ 282 w 450"/>
                <a:gd name="T23" fmla="*/ 40 h 451"/>
                <a:gd name="T24" fmla="*/ 333 w 450"/>
                <a:gd name="T25" fmla="*/ 64 h 451"/>
                <a:gd name="T26" fmla="*/ 375 w 450"/>
                <a:gd name="T27" fmla="*/ 102 h 451"/>
                <a:gd name="T28" fmla="*/ 404 w 450"/>
                <a:gd name="T29" fmla="*/ 150 h 451"/>
                <a:gd name="T30" fmla="*/ 419 w 450"/>
                <a:gd name="T31" fmla="*/ 206 h 451"/>
                <a:gd name="T32" fmla="*/ 416 w 450"/>
                <a:gd name="T33" fmla="*/ 266 h 451"/>
                <a:gd name="T34" fmla="*/ 397 w 450"/>
                <a:gd name="T35" fmla="*/ 319 h 451"/>
                <a:gd name="T36" fmla="*/ 362 w 450"/>
                <a:gd name="T37" fmla="*/ 364 h 451"/>
                <a:gd name="T38" fmla="*/ 317 w 450"/>
                <a:gd name="T39" fmla="*/ 397 h 451"/>
                <a:gd name="T40" fmla="*/ 264 w 450"/>
                <a:gd name="T41" fmla="*/ 418 h 451"/>
                <a:gd name="T42" fmla="*/ 224 w 450"/>
                <a:gd name="T43" fmla="*/ 0 h 451"/>
                <a:gd name="T44" fmla="*/ 190 w 450"/>
                <a:gd name="T45" fmla="*/ 3 h 451"/>
                <a:gd name="T46" fmla="*/ 158 w 450"/>
                <a:gd name="T47" fmla="*/ 11 h 451"/>
                <a:gd name="T48" fmla="*/ 117 w 450"/>
                <a:gd name="T49" fmla="*/ 28 h 451"/>
                <a:gd name="T50" fmla="*/ 65 w 450"/>
                <a:gd name="T51" fmla="*/ 66 h 451"/>
                <a:gd name="T52" fmla="*/ 26 w 450"/>
                <a:gd name="T53" fmla="*/ 119 h 451"/>
                <a:gd name="T54" fmla="*/ 9 w 450"/>
                <a:gd name="T55" fmla="*/ 160 h 451"/>
                <a:gd name="T56" fmla="*/ 2 w 450"/>
                <a:gd name="T57" fmla="*/ 192 h 451"/>
                <a:gd name="T58" fmla="*/ 0 w 450"/>
                <a:gd name="T59" fmla="*/ 226 h 451"/>
                <a:gd name="T60" fmla="*/ 2 w 450"/>
                <a:gd name="T61" fmla="*/ 260 h 451"/>
                <a:gd name="T62" fmla="*/ 9 w 450"/>
                <a:gd name="T63" fmla="*/ 292 h 451"/>
                <a:gd name="T64" fmla="*/ 26 w 450"/>
                <a:gd name="T65" fmla="*/ 333 h 451"/>
                <a:gd name="T66" fmla="*/ 65 w 450"/>
                <a:gd name="T67" fmla="*/ 385 h 451"/>
                <a:gd name="T68" fmla="*/ 117 w 450"/>
                <a:gd name="T69" fmla="*/ 424 h 451"/>
                <a:gd name="T70" fmla="*/ 158 w 450"/>
                <a:gd name="T71" fmla="*/ 441 h 451"/>
                <a:gd name="T72" fmla="*/ 190 w 450"/>
                <a:gd name="T73" fmla="*/ 449 h 451"/>
                <a:gd name="T74" fmla="*/ 224 w 450"/>
                <a:gd name="T75" fmla="*/ 451 h 451"/>
                <a:gd name="T76" fmla="*/ 259 w 450"/>
                <a:gd name="T77" fmla="*/ 449 h 451"/>
                <a:gd name="T78" fmla="*/ 292 w 450"/>
                <a:gd name="T79" fmla="*/ 441 h 451"/>
                <a:gd name="T80" fmla="*/ 331 w 450"/>
                <a:gd name="T81" fmla="*/ 424 h 451"/>
                <a:gd name="T82" fmla="*/ 384 w 450"/>
                <a:gd name="T83" fmla="*/ 385 h 451"/>
                <a:gd name="T84" fmla="*/ 422 w 450"/>
                <a:gd name="T85" fmla="*/ 333 h 451"/>
                <a:gd name="T86" fmla="*/ 439 w 450"/>
                <a:gd name="T87" fmla="*/ 292 h 451"/>
                <a:gd name="T88" fmla="*/ 447 w 450"/>
                <a:gd name="T89" fmla="*/ 260 h 451"/>
                <a:gd name="T90" fmla="*/ 450 w 450"/>
                <a:gd name="T91" fmla="*/ 226 h 451"/>
                <a:gd name="T92" fmla="*/ 447 w 450"/>
                <a:gd name="T93" fmla="*/ 192 h 451"/>
                <a:gd name="T94" fmla="*/ 439 w 450"/>
                <a:gd name="T95" fmla="*/ 160 h 451"/>
                <a:gd name="T96" fmla="*/ 422 w 450"/>
                <a:gd name="T97" fmla="*/ 119 h 451"/>
                <a:gd name="T98" fmla="*/ 384 w 450"/>
                <a:gd name="T99" fmla="*/ 66 h 451"/>
                <a:gd name="T100" fmla="*/ 331 w 450"/>
                <a:gd name="T101" fmla="*/ 28 h 451"/>
                <a:gd name="T102" fmla="*/ 292 w 450"/>
                <a:gd name="T103" fmla="*/ 11 h 451"/>
                <a:gd name="T104" fmla="*/ 259 w 450"/>
                <a:gd name="T105" fmla="*/ 3 h 451"/>
                <a:gd name="T106" fmla="*/ 224 w 450"/>
                <a:gd name="T10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0" h="451">
                  <a:moveTo>
                    <a:pt x="224" y="421"/>
                  </a:moveTo>
                  <a:lnTo>
                    <a:pt x="205" y="420"/>
                  </a:lnTo>
                  <a:lnTo>
                    <a:pt x="186" y="418"/>
                  </a:lnTo>
                  <a:lnTo>
                    <a:pt x="167" y="412"/>
                  </a:lnTo>
                  <a:lnTo>
                    <a:pt x="148" y="406"/>
                  </a:lnTo>
                  <a:lnTo>
                    <a:pt x="131" y="397"/>
                  </a:lnTo>
                  <a:lnTo>
                    <a:pt x="115" y="388"/>
                  </a:lnTo>
                  <a:lnTo>
                    <a:pt x="100" y="377"/>
                  </a:lnTo>
                  <a:lnTo>
                    <a:pt x="86" y="364"/>
                  </a:lnTo>
                  <a:lnTo>
                    <a:pt x="73" y="350"/>
                  </a:lnTo>
                  <a:lnTo>
                    <a:pt x="63" y="335"/>
                  </a:lnTo>
                  <a:lnTo>
                    <a:pt x="53" y="319"/>
                  </a:lnTo>
                  <a:lnTo>
                    <a:pt x="45" y="302"/>
                  </a:lnTo>
                  <a:lnTo>
                    <a:pt x="38" y="284"/>
                  </a:lnTo>
                  <a:lnTo>
                    <a:pt x="33" y="266"/>
                  </a:lnTo>
                  <a:lnTo>
                    <a:pt x="31" y="245"/>
                  </a:lnTo>
                  <a:lnTo>
                    <a:pt x="30" y="226"/>
                  </a:lnTo>
                  <a:lnTo>
                    <a:pt x="31" y="206"/>
                  </a:lnTo>
                  <a:lnTo>
                    <a:pt x="33" y="186"/>
                  </a:lnTo>
                  <a:lnTo>
                    <a:pt x="38" y="168"/>
                  </a:lnTo>
                  <a:lnTo>
                    <a:pt x="45" y="150"/>
                  </a:lnTo>
                  <a:lnTo>
                    <a:pt x="53" y="133"/>
                  </a:lnTo>
                  <a:lnTo>
                    <a:pt x="63" y="117"/>
                  </a:lnTo>
                  <a:lnTo>
                    <a:pt x="73" y="102"/>
                  </a:lnTo>
                  <a:lnTo>
                    <a:pt x="86" y="88"/>
                  </a:lnTo>
                  <a:lnTo>
                    <a:pt x="100" y="75"/>
                  </a:lnTo>
                  <a:lnTo>
                    <a:pt x="115" y="64"/>
                  </a:lnTo>
                  <a:lnTo>
                    <a:pt x="131" y="55"/>
                  </a:lnTo>
                  <a:lnTo>
                    <a:pt x="148" y="46"/>
                  </a:lnTo>
                  <a:lnTo>
                    <a:pt x="167" y="40"/>
                  </a:lnTo>
                  <a:lnTo>
                    <a:pt x="185" y="34"/>
                  </a:lnTo>
                  <a:lnTo>
                    <a:pt x="205" y="31"/>
                  </a:lnTo>
                  <a:lnTo>
                    <a:pt x="224" y="30"/>
                  </a:lnTo>
                  <a:lnTo>
                    <a:pt x="245" y="31"/>
                  </a:lnTo>
                  <a:lnTo>
                    <a:pt x="264" y="34"/>
                  </a:lnTo>
                  <a:lnTo>
                    <a:pt x="282" y="40"/>
                  </a:lnTo>
                  <a:lnTo>
                    <a:pt x="300" y="46"/>
                  </a:lnTo>
                  <a:lnTo>
                    <a:pt x="317" y="55"/>
                  </a:lnTo>
                  <a:lnTo>
                    <a:pt x="333" y="64"/>
                  </a:lnTo>
                  <a:lnTo>
                    <a:pt x="348" y="75"/>
                  </a:lnTo>
                  <a:lnTo>
                    <a:pt x="362" y="88"/>
                  </a:lnTo>
                  <a:lnTo>
                    <a:pt x="375" y="102"/>
                  </a:lnTo>
                  <a:lnTo>
                    <a:pt x="386" y="117"/>
                  </a:lnTo>
                  <a:lnTo>
                    <a:pt x="397" y="133"/>
                  </a:lnTo>
                  <a:lnTo>
                    <a:pt x="404" y="150"/>
                  </a:lnTo>
                  <a:lnTo>
                    <a:pt x="411" y="168"/>
                  </a:lnTo>
                  <a:lnTo>
                    <a:pt x="416" y="186"/>
                  </a:lnTo>
                  <a:lnTo>
                    <a:pt x="419" y="206"/>
                  </a:lnTo>
                  <a:lnTo>
                    <a:pt x="420" y="226"/>
                  </a:lnTo>
                  <a:lnTo>
                    <a:pt x="419" y="245"/>
                  </a:lnTo>
                  <a:lnTo>
                    <a:pt x="416" y="266"/>
                  </a:lnTo>
                  <a:lnTo>
                    <a:pt x="411" y="284"/>
                  </a:lnTo>
                  <a:lnTo>
                    <a:pt x="404" y="302"/>
                  </a:lnTo>
                  <a:lnTo>
                    <a:pt x="397" y="319"/>
                  </a:lnTo>
                  <a:lnTo>
                    <a:pt x="386" y="335"/>
                  </a:lnTo>
                  <a:lnTo>
                    <a:pt x="375" y="350"/>
                  </a:lnTo>
                  <a:lnTo>
                    <a:pt x="362" y="364"/>
                  </a:lnTo>
                  <a:lnTo>
                    <a:pt x="348" y="377"/>
                  </a:lnTo>
                  <a:lnTo>
                    <a:pt x="333" y="388"/>
                  </a:lnTo>
                  <a:lnTo>
                    <a:pt x="317" y="397"/>
                  </a:lnTo>
                  <a:lnTo>
                    <a:pt x="300" y="406"/>
                  </a:lnTo>
                  <a:lnTo>
                    <a:pt x="282" y="412"/>
                  </a:lnTo>
                  <a:lnTo>
                    <a:pt x="264" y="418"/>
                  </a:lnTo>
                  <a:lnTo>
                    <a:pt x="245" y="420"/>
                  </a:lnTo>
                  <a:lnTo>
                    <a:pt x="224" y="421"/>
                  </a:lnTo>
                  <a:close/>
                  <a:moveTo>
                    <a:pt x="224" y="0"/>
                  </a:moveTo>
                  <a:lnTo>
                    <a:pt x="213" y="1"/>
                  </a:lnTo>
                  <a:lnTo>
                    <a:pt x="202" y="1"/>
                  </a:lnTo>
                  <a:lnTo>
                    <a:pt x="190" y="3"/>
                  </a:lnTo>
                  <a:lnTo>
                    <a:pt x="179" y="5"/>
                  </a:lnTo>
                  <a:lnTo>
                    <a:pt x="169" y="8"/>
                  </a:lnTo>
                  <a:lnTo>
                    <a:pt x="158" y="11"/>
                  </a:lnTo>
                  <a:lnTo>
                    <a:pt x="147" y="14"/>
                  </a:lnTo>
                  <a:lnTo>
                    <a:pt x="137" y="18"/>
                  </a:lnTo>
                  <a:lnTo>
                    <a:pt x="117" y="28"/>
                  </a:lnTo>
                  <a:lnTo>
                    <a:pt x="99" y="40"/>
                  </a:lnTo>
                  <a:lnTo>
                    <a:pt x="81" y="53"/>
                  </a:lnTo>
                  <a:lnTo>
                    <a:pt x="65" y="66"/>
                  </a:lnTo>
                  <a:lnTo>
                    <a:pt x="51" y="83"/>
                  </a:lnTo>
                  <a:lnTo>
                    <a:pt x="38" y="101"/>
                  </a:lnTo>
                  <a:lnTo>
                    <a:pt x="26" y="119"/>
                  </a:lnTo>
                  <a:lnTo>
                    <a:pt x="17" y="138"/>
                  </a:lnTo>
                  <a:lnTo>
                    <a:pt x="12" y="149"/>
                  </a:lnTo>
                  <a:lnTo>
                    <a:pt x="9" y="160"/>
                  </a:lnTo>
                  <a:lnTo>
                    <a:pt x="6" y="170"/>
                  </a:lnTo>
                  <a:lnTo>
                    <a:pt x="4" y="181"/>
                  </a:lnTo>
                  <a:lnTo>
                    <a:pt x="2" y="192"/>
                  </a:lnTo>
                  <a:lnTo>
                    <a:pt x="1" y="202"/>
                  </a:lnTo>
                  <a:lnTo>
                    <a:pt x="0" y="214"/>
                  </a:lnTo>
                  <a:lnTo>
                    <a:pt x="0" y="226"/>
                  </a:lnTo>
                  <a:lnTo>
                    <a:pt x="0" y="238"/>
                  </a:lnTo>
                  <a:lnTo>
                    <a:pt x="1" y="248"/>
                  </a:lnTo>
                  <a:lnTo>
                    <a:pt x="2" y="260"/>
                  </a:lnTo>
                  <a:lnTo>
                    <a:pt x="4" y="271"/>
                  </a:lnTo>
                  <a:lnTo>
                    <a:pt x="6" y="282"/>
                  </a:lnTo>
                  <a:lnTo>
                    <a:pt x="9" y="292"/>
                  </a:lnTo>
                  <a:lnTo>
                    <a:pt x="12" y="303"/>
                  </a:lnTo>
                  <a:lnTo>
                    <a:pt x="17" y="314"/>
                  </a:lnTo>
                  <a:lnTo>
                    <a:pt x="26" y="333"/>
                  </a:lnTo>
                  <a:lnTo>
                    <a:pt x="38" y="352"/>
                  </a:lnTo>
                  <a:lnTo>
                    <a:pt x="51" y="369"/>
                  </a:lnTo>
                  <a:lnTo>
                    <a:pt x="65" y="385"/>
                  </a:lnTo>
                  <a:lnTo>
                    <a:pt x="81" y="399"/>
                  </a:lnTo>
                  <a:lnTo>
                    <a:pt x="99" y="412"/>
                  </a:lnTo>
                  <a:lnTo>
                    <a:pt x="117" y="424"/>
                  </a:lnTo>
                  <a:lnTo>
                    <a:pt x="137" y="434"/>
                  </a:lnTo>
                  <a:lnTo>
                    <a:pt x="147" y="438"/>
                  </a:lnTo>
                  <a:lnTo>
                    <a:pt x="158" y="441"/>
                  </a:lnTo>
                  <a:lnTo>
                    <a:pt x="169" y="444"/>
                  </a:lnTo>
                  <a:lnTo>
                    <a:pt x="179" y="446"/>
                  </a:lnTo>
                  <a:lnTo>
                    <a:pt x="190" y="449"/>
                  </a:lnTo>
                  <a:lnTo>
                    <a:pt x="202" y="450"/>
                  </a:lnTo>
                  <a:lnTo>
                    <a:pt x="213" y="451"/>
                  </a:lnTo>
                  <a:lnTo>
                    <a:pt x="224" y="451"/>
                  </a:lnTo>
                  <a:lnTo>
                    <a:pt x="236" y="451"/>
                  </a:lnTo>
                  <a:lnTo>
                    <a:pt x="248" y="450"/>
                  </a:lnTo>
                  <a:lnTo>
                    <a:pt x="259" y="449"/>
                  </a:lnTo>
                  <a:lnTo>
                    <a:pt x="270" y="446"/>
                  </a:lnTo>
                  <a:lnTo>
                    <a:pt x="281" y="444"/>
                  </a:lnTo>
                  <a:lnTo>
                    <a:pt x="292" y="441"/>
                  </a:lnTo>
                  <a:lnTo>
                    <a:pt x="302" y="438"/>
                  </a:lnTo>
                  <a:lnTo>
                    <a:pt x="312" y="434"/>
                  </a:lnTo>
                  <a:lnTo>
                    <a:pt x="331" y="424"/>
                  </a:lnTo>
                  <a:lnTo>
                    <a:pt x="351" y="412"/>
                  </a:lnTo>
                  <a:lnTo>
                    <a:pt x="368" y="399"/>
                  </a:lnTo>
                  <a:lnTo>
                    <a:pt x="384" y="385"/>
                  </a:lnTo>
                  <a:lnTo>
                    <a:pt x="399" y="369"/>
                  </a:lnTo>
                  <a:lnTo>
                    <a:pt x="412" y="352"/>
                  </a:lnTo>
                  <a:lnTo>
                    <a:pt x="422" y="333"/>
                  </a:lnTo>
                  <a:lnTo>
                    <a:pt x="432" y="314"/>
                  </a:lnTo>
                  <a:lnTo>
                    <a:pt x="436" y="303"/>
                  </a:lnTo>
                  <a:lnTo>
                    <a:pt x="439" y="292"/>
                  </a:lnTo>
                  <a:lnTo>
                    <a:pt x="443" y="282"/>
                  </a:lnTo>
                  <a:lnTo>
                    <a:pt x="445" y="271"/>
                  </a:lnTo>
                  <a:lnTo>
                    <a:pt x="447" y="260"/>
                  </a:lnTo>
                  <a:lnTo>
                    <a:pt x="449" y="248"/>
                  </a:lnTo>
                  <a:lnTo>
                    <a:pt x="449" y="238"/>
                  </a:lnTo>
                  <a:lnTo>
                    <a:pt x="450" y="226"/>
                  </a:lnTo>
                  <a:lnTo>
                    <a:pt x="449" y="214"/>
                  </a:lnTo>
                  <a:lnTo>
                    <a:pt x="449" y="202"/>
                  </a:lnTo>
                  <a:lnTo>
                    <a:pt x="447" y="192"/>
                  </a:lnTo>
                  <a:lnTo>
                    <a:pt x="445" y="181"/>
                  </a:lnTo>
                  <a:lnTo>
                    <a:pt x="443" y="170"/>
                  </a:lnTo>
                  <a:lnTo>
                    <a:pt x="439" y="160"/>
                  </a:lnTo>
                  <a:lnTo>
                    <a:pt x="436" y="149"/>
                  </a:lnTo>
                  <a:lnTo>
                    <a:pt x="432" y="138"/>
                  </a:lnTo>
                  <a:lnTo>
                    <a:pt x="422" y="119"/>
                  </a:lnTo>
                  <a:lnTo>
                    <a:pt x="412" y="101"/>
                  </a:lnTo>
                  <a:lnTo>
                    <a:pt x="399" y="83"/>
                  </a:lnTo>
                  <a:lnTo>
                    <a:pt x="384" y="66"/>
                  </a:lnTo>
                  <a:lnTo>
                    <a:pt x="368" y="53"/>
                  </a:lnTo>
                  <a:lnTo>
                    <a:pt x="351" y="40"/>
                  </a:lnTo>
                  <a:lnTo>
                    <a:pt x="331" y="28"/>
                  </a:lnTo>
                  <a:lnTo>
                    <a:pt x="312" y="18"/>
                  </a:lnTo>
                  <a:lnTo>
                    <a:pt x="302" y="14"/>
                  </a:lnTo>
                  <a:lnTo>
                    <a:pt x="292" y="11"/>
                  </a:lnTo>
                  <a:lnTo>
                    <a:pt x="281" y="8"/>
                  </a:lnTo>
                  <a:lnTo>
                    <a:pt x="270" y="5"/>
                  </a:lnTo>
                  <a:lnTo>
                    <a:pt x="259" y="3"/>
                  </a:lnTo>
                  <a:lnTo>
                    <a:pt x="248" y="1"/>
                  </a:lnTo>
                  <a:lnTo>
                    <a:pt x="236" y="1"/>
                  </a:lnTo>
                  <a:lnTo>
                    <a:pt x="2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0" name="Freeform 38">
              <a:extLst>
                <a:ext uri="{FF2B5EF4-FFF2-40B4-BE49-F238E27FC236}">
                  <a16:creationId xmlns:a16="http://schemas.microsoft.com/office/drawing/2014/main" id="{B4625142-8618-4ED0-B8E3-D3F17FB8FD4B}"/>
                </a:ext>
              </a:extLst>
            </p:cNvPr>
            <p:cNvSpPr>
              <a:spLocks noEditPoints="1"/>
            </p:cNvSpPr>
            <p:nvPr/>
          </p:nvSpPr>
          <p:spPr bwMode="auto">
            <a:xfrm>
              <a:off x="11028363" y="3649663"/>
              <a:ext cx="228600" cy="247650"/>
            </a:xfrm>
            <a:custGeom>
              <a:avLst/>
              <a:gdLst>
                <a:gd name="T0" fmla="*/ 421 w 720"/>
                <a:gd name="T1" fmla="*/ 119 h 781"/>
                <a:gd name="T2" fmla="*/ 451 w 720"/>
                <a:gd name="T3" fmla="*/ 89 h 781"/>
                <a:gd name="T4" fmla="*/ 300 w 720"/>
                <a:gd name="T5" fmla="*/ 119 h 781"/>
                <a:gd name="T6" fmla="*/ 270 w 720"/>
                <a:gd name="T7" fmla="*/ 89 h 781"/>
                <a:gd name="T8" fmla="*/ 300 w 720"/>
                <a:gd name="T9" fmla="*/ 119 h 781"/>
                <a:gd name="T10" fmla="*/ 120 w 720"/>
                <a:gd name="T11" fmla="*/ 119 h 781"/>
                <a:gd name="T12" fmla="*/ 150 w 720"/>
                <a:gd name="T13" fmla="*/ 89 h 781"/>
                <a:gd name="T14" fmla="*/ 600 w 720"/>
                <a:gd name="T15" fmla="*/ 119 h 781"/>
                <a:gd name="T16" fmla="*/ 570 w 720"/>
                <a:gd name="T17" fmla="*/ 89 h 781"/>
                <a:gd name="T18" fmla="*/ 600 w 720"/>
                <a:gd name="T19" fmla="*/ 119 h 781"/>
                <a:gd name="T20" fmla="*/ 391 w 720"/>
                <a:gd name="T21" fmla="*/ 150 h 781"/>
                <a:gd name="T22" fmla="*/ 481 w 720"/>
                <a:gd name="T23" fmla="*/ 60 h 781"/>
                <a:gd name="T24" fmla="*/ 451 w 720"/>
                <a:gd name="T25" fmla="*/ 30 h 781"/>
                <a:gd name="T26" fmla="*/ 570 w 720"/>
                <a:gd name="T27" fmla="*/ 60 h 781"/>
                <a:gd name="T28" fmla="*/ 541 w 720"/>
                <a:gd name="T29" fmla="*/ 150 h 781"/>
                <a:gd name="T30" fmla="*/ 630 w 720"/>
                <a:gd name="T31" fmla="*/ 60 h 781"/>
                <a:gd name="T32" fmla="*/ 600 w 720"/>
                <a:gd name="T33" fmla="*/ 30 h 781"/>
                <a:gd name="T34" fmla="*/ 690 w 720"/>
                <a:gd name="T35" fmla="*/ 356 h 781"/>
                <a:gd name="T36" fmla="*/ 691 w 720"/>
                <a:gd name="T37" fmla="*/ 362 h 781"/>
                <a:gd name="T38" fmla="*/ 695 w 720"/>
                <a:gd name="T39" fmla="*/ 367 h 781"/>
                <a:gd name="T40" fmla="*/ 700 w 720"/>
                <a:gd name="T41" fmla="*/ 370 h 781"/>
                <a:gd name="T42" fmla="*/ 705 w 720"/>
                <a:gd name="T43" fmla="*/ 371 h 781"/>
                <a:gd name="T44" fmla="*/ 712 w 720"/>
                <a:gd name="T45" fmla="*/ 370 h 781"/>
                <a:gd name="T46" fmla="*/ 716 w 720"/>
                <a:gd name="T47" fmla="*/ 367 h 781"/>
                <a:gd name="T48" fmla="*/ 719 w 720"/>
                <a:gd name="T49" fmla="*/ 362 h 781"/>
                <a:gd name="T50" fmla="*/ 720 w 720"/>
                <a:gd name="T51" fmla="*/ 356 h 781"/>
                <a:gd name="T52" fmla="*/ 720 w 720"/>
                <a:gd name="T53" fmla="*/ 12 h 781"/>
                <a:gd name="T54" fmla="*/ 718 w 720"/>
                <a:gd name="T55" fmla="*/ 7 h 781"/>
                <a:gd name="T56" fmla="*/ 714 w 720"/>
                <a:gd name="T57" fmla="*/ 3 h 781"/>
                <a:gd name="T58" fmla="*/ 709 w 720"/>
                <a:gd name="T59" fmla="*/ 1 h 781"/>
                <a:gd name="T60" fmla="*/ 15 w 720"/>
                <a:gd name="T61" fmla="*/ 0 h 781"/>
                <a:gd name="T62" fmla="*/ 9 w 720"/>
                <a:gd name="T63" fmla="*/ 1 h 781"/>
                <a:gd name="T64" fmla="*/ 4 w 720"/>
                <a:gd name="T65" fmla="*/ 5 h 781"/>
                <a:gd name="T66" fmla="*/ 1 w 720"/>
                <a:gd name="T67" fmla="*/ 9 h 781"/>
                <a:gd name="T68" fmla="*/ 0 w 720"/>
                <a:gd name="T69" fmla="*/ 15 h 781"/>
                <a:gd name="T70" fmla="*/ 0 w 720"/>
                <a:gd name="T71" fmla="*/ 769 h 781"/>
                <a:gd name="T72" fmla="*/ 2 w 720"/>
                <a:gd name="T73" fmla="*/ 774 h 781"/>
                <a:gd name="T74" fmla="*/ 7 w 720"/>
                <a:gd name="T75" fmla="*/ 779 h 781"/>
                <a:gd name="T76" fmla="*/ 12 w 720"/>
                <a:gd name="T77" fmla="*/ 781 h 781"/>
                <a:gd name="T78" fmla="*/ 355 w 720"/>
                <a:gd name="T79" fmla="*/ 781 h 781"/>
                <a:gd name="T80" fmla="*/ 362 w 720"/>
                <a:gd name="T81" fmla="*/ 780 h 781"/>
                <a:gd name="T82" fmla="*/ 366 w 720"/>
                <a:gd name="T83" fmla="*/ 777 h 781"/>
                <a:gd name="T84" fmla="*/ 369 w 720"/>
                <a:gd name="T85" fmla="*/ 772 h 781"/>
                <a:gd name="T86" fmla="*/ 370 w 720"/>
                <a:gd name="T87" fmla="*/ 766 h 781"/>
                <a:gd name="T88" fmla="*/ 369 w 720"/>
                <a:gd name="T89" fmla="*/ 761 h 781"/>
                <a:gd name="T90" fmla="*/ 366 w 720"/>
                <a:gd name="T91" fmla="*/ 755 h 781"/>
                <a:gd name="T92" fmla="*/ 362 w 720"/>
                <a:gd name="T93" fmla="*/ 752 h 781"/>
                <a:gd name="T94" fmla="*/ 355 w 720"/>
                <a:gd name="T95" fmla="*/ 751 h 781"/>
                <a:gd name="T96" fmla="*/ 30 w 720"/>
                <a:gd name="T97" fmla="*/ 30 h 781"/>
                <a:gd name="T98" fmla="*/ 120 w 720"/>
                <a:gd name="T99" fmla="*/ 60 h 781"/>
                <a:gd name="T100" fmla="*/ 90 w 720"/>
                <a:gd name="T101" fmla="*/ 150 h 781"/>
                <a:gd name="T102" fmla="*/ 180 w 720"/>
                <a:gd name="T103" fmla="*/ 60 h 781"/>
                <a:gd name="T104" fmla="*/ 150 w 720"/>
                <a:gd name="T105" fmla="*/ 30 h 781"/>
                <a:gd name="T106" fmla="*/ 270 w 720"/>
                <a:gd name="T107" fmla="*/ 60 h 781"/>
                <a:gd name="T108" fmla="*/ 240 w 720"/>
                <a:gd name="T109" fmla="*/ 150 h 781"/>
                <a:gd name="T110" fmla="*/ 330 w 720"/>
                <a:gd name="T111" fmla="*/ 60 h 781"/>
                <a:gd name="T112" fmla="*/ 300 w 720"/>
                <a:gd name="T113" fmla="*/ 30 h 781"/>
                <a:gd name="T114" fmla="*/ 421 w 720"/>
                <a:gd name="T115" fmla="*/ 6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0" h="781">
                  <a:moveTo>
                    <a:pt x="451" y="119"/>
                  </a:moveTo>
                  <a:lnTo>
                    <a:pt x="421" y="119"/>
                  </a:lnTo>
                  <a:lnTo>
                    <a:pt x="421" y="89"/>
                  </a:lnTo>
                  <a:lnTo>
                    <a:pt x="451" y="89"/>
                  </a:lnTo>
                  <a:lnTo>
                    <a:pt x="451" y="119"/>
                  </a:lnTo>
                  <a:close/>
                  <a:moveTo>
                    <a:pt x="300" y="119"/>
                  </a:moveTo>
                  <a:lnTo>
                    <a:pt x="270" y="119"/>
                  </a:lnTo>
                  <a:lnTo>
                    <a:pt x="270" y="89"/>
                  </a:lnTo>
                  <a:lnTo>
                    <a:pt x="300" y="89"/>
                  </a:lnTo>
                  <a:lnTo>
                    <a:pt x="300" y="119"/>
                  </a:lnTo>
                  <a:close/>
                  <a:moveTo>
                    <a:pt x="150" y="119"/>
                  </a:moveTo>
                  <a:lnTo>
                    <a:pt x="120" y="119"/>
                  </a:lnTo>
                  <a:lnTo>
                    <a:pt x="120" y="89"/>
                  </a:lnTo>
                  <a:lnTo>
                    <a:pt x="150" y="89"/>
                  </a:lnTo>
                  <a:lnTo>
                    <a:pt x="150" y="119"/>
                  </a:lnTo>
                  <a:close/>
                  <a:moveTo>
                    <a:pt x="600" y="119"/>
                  </a:moveTo>
                  <a:lnTo>
                    <a:pt x="570" y="119"/>
                  </a:lnTo>
                  <a:lnTo>
                    <a:pt x="570" y="89"/>
                  </a:lnTo>
                  <a:lnTo>
                    <a:pt x="600" y="89"/>
                  </a:lnTo>
                  <a:lnTo>
                    <a:pt x="600" y="119"/>
                  </a:lnTo>
                  <a:close/>
                  <a:moveTo>
                    <a:pt x="391" y="60"/>
                  </a:moveTo>
                  <a:lnTo>
                    <a:pt x="391" y="150"/>
                  </a:lnTo>
                  <a:lnTo>
                    <a:pt x="481" y="150"/>
                  </a:lnTo>
                  <a:lnTo>
                    <a:pt x="481" y="60"/>
                  </a:lnTo>
                  <a:lnTo>
                    <a:pt x="451" y="60"/>
                  </a:lnTo>
                  <a:lnTo>
                    <a:pt x="451" y="30"/>
                  </a:lnTo>
                  <a:lnTo>
                    <a:pt x="570" y="30"/>
                  </a:lnTo>
                  <a:lnTo>
                    <a:pt x="570" y="60"/>
                  </a:lnTo>
                  <a:lnTo>
                    <a:pt x="541" y="60"/>
                  </a:lnTo>
                  <a:lnTo>
                    <a:pt x="541" y="150"/>
                  </a:lnTo>
                  <a:lnTo>
                    <a:pt x="630" y="150"/>
                  </a:lnTo>
                  <a:lnTo>
                    <a:pt x="630" y="60"/>
                  </a:lnTo>
                  <a:lnTo>
                    <a:pt x="600" y="60"/>
                  </a:lnTo>
                  <a:lnTo>
                    <a:pt x="600" y="30"/>
                  </a:lnTo>
                  <a:lnTo>
                    <a:pt x="690" y="30"/>
                  </a:lnTo>
                  <a:lnTo>
                    <a:pt x="690" y="356"/>
                  </a:lnTo>
                  <a:lnTo>
                    <a:pt x="691" y="359"/>
                  </a:lnTo>
                  <a:lnTo>
                    <a:pt x="691" y="362"/>
                  </a:lnTo>
                  <a:lnTo>
                    <a:pt x="694" y="365"/>
                  </a:lnTo>
                  <a:lnTo>
                    <a:pt x="695" y="367"/>
                  </a:lnTo>
                  <a:lnTo>
                    <a:pt x="697" y="369"/>
                  </a:lnTo>
                  <a:lnTo>
                    <a:pt x="700" y="370"/>
                  </a:lnTo>
                  <a:lnTo>
                    <a:pt x="702" y="371"/>
                  </a:lnTo>
                  <a:lnTo>
                    <a:pt x="705" y="371"/>
                  </a:lnTo>
                  <a:lnTo>
                    <a:pt x="709" y="371"/>
                  </a:lnTo>
                  <a:lnTo>
                    <a:pt x="712" y="370"/>
                  </a:lnTo>
                  <a:lnTo>
                    <a:pt x="714" y="369"/>
                  </a:lnTo>
                  <a:lnTo>
                    <a:pt x="716" y="367"/>
                  </a:lnTo>
                  <a:lnTo>
                    <a:pt x="718" y="365"/>
                  </a:lnTo>
                  <a:lnTo>
                    <a:pt x="719" y="362"/>
                  </a:lnTo>
                  <a:lnTo>
                    <a:pt x="720" y="359"/>
                  </a:lnTo>
                  <a:lnTo>
                    <a:pt x="720" y="356"/>
                  </a:lnTo>
                  <a:lnTo>
                    <a:pt x="720" y="15"/>
                  </a:lnTo>
                  <a:lnTo>
                    <a:pt x="720" y="12"/>
                  </a:lnTo>
                  <a:lnTo>
                    <a:pt x="719" y="9"/>
                  </a:lnTo>
                  <a:lnTo>
                    <a:pt x="718" y="7"/>
                  </a:lnTo>
                  <a:lnTo>
                    <a:pt x="716" y="5"/>
                  </a:lnTo>
                  <a:lnTo>
                    <a:pt x="714" y="3"/>
                  </a:lnTo>
                  <a:lnTo>
                    <a:pt x="712" y="1"/>
                  </a:lnTo>
                  <a:lnTo>
                    <a:pt x="709" y="1"/>
                  </a:lnTo>
                  <a:lnTo>
                    <a:pt x="705" y="0"/>
                  </a:lnTo>
                  <a:lnTo>
                    <a:pt x="15" y="0"/>
                  </a:lnTo>
                  <a:lnTo>
                    <a:pt x="12" y="1"/>
                  </a:lnTo>
                  <a:lnTo>
                    <a:pt x="9" y="1"/>
                  </a:lnTo>
                  <a:lnTo>
                    <a:pt x="7" y="3"/>
                  </a:lnTo>
                  <a:lnTo>
                    <a:pt x="4" y="5"/>
                  </a:lnTo>
                  <a:lnTo>
                    <a:pt x="2" y="7"/>
                  </a:lnTo>
                  <a:lnTo>
                    <a:pt x="1" y="9"/>
                  </a:lnTo>
                  <a:lnTo>
                    <a:pt x="0" y="12"/>
                  </a:lnTo>
                  <a:lnTo>
                    <a:pt x="0" y="15"/>
                  </a:lnTo>
                  <a:lnTo>
                    <a:pt x="0" y="766"/>
                  </a:lnTo>
                  <a:lnTo>
                    <a:pt x="0" y="769"/>
                  </a:lnTo>
                  <a:lnTo>
                    <a:pt x="1" y="772"/>
                  </a:lnTo>
                  <a:lnTo>
                    <a:pt x="2" y="774"/>
                  </a:lnTo>
                  <a:lnTo>
                    <a:pt x="4" y="777"/>
                  </a:lnTo>
                  <a:lnTo>
                    <a:pt x="7" y="779"/>
                  </a:lnTo>
                  <a:lnTo>
                    <a:pt x="9" y="780"/>
                  </a:lnTo>
                  <a:lnTo>
                    <a:pt x="12" y="781"/>
                  </a:lnTo>
                  <a:lnTo>
                    <a:pt x="15" y="781"/>
                  </a:lnTo>
                  <a:lnTo>
                    <a:pt x="355" y="781"/>
                  </a:lnTo>
                  <a:lnTo>
                    <a:pt x="359" y="781"/>
                  </a:lnTo>
                  <a:lnTo>
                    <a:pt x="362" y="780"/>
                  </a:lnTo>
                  <a:lnTo>
                    <a:pt x="364" y="779"/>
                  </a:lnTo>
                  <a:lnTo>
                    <a:pt x="366" y="777"/>
                  </a:lnTo>
                  <a:lnTo>
                    <a:pt x="368" y="774"/>
                  </a:lnTo>
                  <a:lnTo>
                    <a:pt x="369" y="772"/>
                  </a:lnTo>
                  <a:lnTo>
                    <a:pt x="370" y="769"/>
                  </a:lnTo>
                  <a:lnTo>
                    <a:pt x="370" y="766"/>
                  </a:lnTo>
                  <a:lnTo>
                    <a:pt x="370" y="763"/>
                  </a:lnTo>
                  <a:lnTo>
                    <a:pt x="369" y="761"/>
                  </a:lnTo>
                  <a:lnTo>
                    <a:pt x="368" y="757"/>
                  </a:lnTo>
                  <a:lnTo>
                    <a:pt x="366" y="755"/>
                  </a:lnTo>
                  <a:lnTo>
                    <a:pt x="364" y="754"/>
                  </a:lnTo>
                  <a:lnTo>
                    <a:pt x="362" y="752"/>
                  </a:lnTo>
                  <a:lnTo>
                    <a:pt x="359" y="751"/>
                  </a:lnTo>
                  <a:lnTo>
                    <a:pt x="355" y="751"/>
                  </a:lnTo>
                  <a:lnTo>
                    <a:pt x="30" y="751"/>
                  </a:lnTo>
                  <a:lnTo>
                    <a:pt x="30" y="30"/>
                  </a:lnTo>
                  <a:lnTo>
                    <a:pt x="120" y="30"/>
                  </a:lnTo>
                  <a:lnTo>
                    <a:pt x="120" y="60"/>
                  </a:lnTo>
                  <a:lnTo>
                    <a:pt x="90" y="60"/>
                  </a:lnTo>
                  <a:lnTo>
                    <a:pt x="90" y="150"/>
                  </a:lnTo>
                  <a:lnTo>
                    <a:pt x="180" y="150"/>
                  </a:lnTo>
                  <a:lnTo>
                    <a:pt x="180" y="60"/>
                  </a:lnTo>
                  <a:lnTo>
                    <a:pt x="150" y="60"/>
                  </a:lnTo>
                  <a:lnTo>
                    <a:pt x="150" y="30"/>
                  </a:lnTo>
                  <a:lnTo>
                    <a:pt x="270" y="30"/>
                  </a:lnTo>
                  <a:lnTo>
                    <a:pt x="270" y="60"/>
                  </a:lnTo>
                  <a:lnTo>
                    <a:pt x="240" y="60"/>
                  </a:lnTo>
                  <a:lnTo>
                    <a:pt x="240" y="150"/>
                  </a:lnTo>
                  <a:lnTo>
                    <a:pt x="330" y="150"/>
                  </a:lnTo>
                  <a:lnTo>
                    <a:pt x="330" y="60"/>
                  </a:lnTo>
                  <a:lnTo>
                    <a:pt x="300" y="60"/>
                  </a:lnTo>
                  <a:lnTo>
                    <a:pt x="300" y="30"/>
                  </a:lnTo>
                  <a:lnTo>
                    <a:pt x="421" y="30"/>
                  </a:lnTo>
                  <a:lnTo>
                    <a:pt x="421" y="60"/>
                  </a:lnTo>
                  <a:lnTo>
                    <a:pt x="39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1" name="Freeform 39">
              <a:extLst>
                <a:ext uri="{FF2B5EF4-FFF2-40B4-BE49-F238E27FC236}">
                  <a16:creationId xmlns:a16="http://schemas.microsoft.com/office/drawing/2014/main" id="{149DEA03-BBEF-4809-AD1F-764F506500C0}"/>
                </a:ext>
              </a:extLst>
            </p:cNvPr>
            <p:cNvSpPr>
              <a:spLocks/>
            </p:cNvSpPr>
            <p:nvPr/>
          </p:nvSpPr>
          <p:spPr bwMode="auto">
            <a:xfrm>
              <a:off x="11206163" y="3830638"/>
              <a:ext cx="74613" cy="69850"/>
            </a:xfrm>
            <a:custGeom>
              <a:avLst/>
              <a:gdLst>
                <a:gd name="T0" fmla="*/ 212 w 239"/>
                <a:gd name="T1" fmla="*/ 5 h 218"/>
                <a:gd name="T2" fmla="*/ 89 w 239"/>
                <a:gd name="T3" fmla="*/ 171 h 218"/>
                <a:gd name="T4" fmla="*/ 26 w 239"/>
                <a:gd name="T5" fmla="*/ 95 h 218"/>
                <a:gd name="T6" fmla="*/ 24 w 239"/>
                <a:gd name="T7" fmla="*/ 93 h 218"/>
                <a:gd name="T8" fmla="*/ 21 w 239"/>
                <a:gd name="T9" fmla="*/ 92 h 218"/>
                <a:gd name="T10" fmla="*/ 19 w 239"/>
                <a:gd name="T11" fmla="*/ 91 h 218"/>
                <a:gd name="T12" fmla="*/ 16 w 239"/>
                <a:gd name="T13" fmla="*/ 90 h 218"/>
                <a:gd name="T14" fmla="*/ 13 w 239"/>
                <a:gd name="T15" fmla="*/ 90 h 218"/>
                <a:gd name="T16" fmla="*/ 10 w 239"/>
                <a:gd name="T17" fmla="*/ 91 h 218"/>
                <a:gd name="T18" fmla="*/ 7 w 239"/>
                <a:gd name="T19" fmla="*/ 92 h 218"/>
                <a:gd name="T20" fmla="*/ 5 w 239"/>
                <a:gd name="T21" fmla="*/ 94 h 218"/>
                <a:gd name="T22" fmla="*/ 3 w 239"/>
                <a:gd name="T23" fmla="*/ 96 h 218"/>
                <a:gd name="T24" fmla="*/ 1 w 239"/>
                <a:gd name="T25" fmla="*/ 99 h 218"/>
                <a:gd name="T26" fmla="*/ 0 w 239"/>
                <a:gd name="T27" fmla="*/ 102 h 218"/>
                <a:gd name="T28" fmla="*/ 0 w 239"/>
                <a:gd name="T29" fmla="*/ 104 h 218"/>
                <a:gd name="T30" fmla="*/ 0 w 239"/>
                <a:gd name="T31" fmla="*/ 107 h 218"/>
                <a:gd name="T32" fmla="*/ 1 w 239"/>
                <a:gd name="T33" fmla="*/ 110 h 218"/>
                <a:gd name="T34" fmla="*/ 2 w 239"/>
                <a:gd name="T35" fmla="*/ 112 h 218"/>
                <a:gd name="T36" fmla="*/ 3 w 239"/>
                <a:gd name="T37" fmla="*/ 116 h 218"/>
                <a:gd name="T38" fmla="*/ 90 w 239"/>
                <a:gd name="T39" fmla="*/ 218 h 218"/>
                <a:gd name="T40" fmla="*/ 237 w 239"/>
                <a:gd name="T41" fmla="*/ 24 h 218"/>
                <a:gd name="T42" fmla="*/ 238 w 239"/>
                <a:gd name="T43" fmla="*/ 21 h 218"/>
                <a:gd name="T44" fmla="*/ 239 w 239"/>
                <a:gd name="T45" fmla="*/ 18 h 218"/>
                <a:gd name="T46" fmla="*/ 239 w 239"/>
                <a:gd name="T47" fmla="*/ 16 h 218"/>
                <a:gd name="T48" fmla="*/ 239 w 239"/>
                <a:gd name="T49" fmla="*/ 13 h 218"/>
                <a:gd name="T50" fmla="*/ 238 w 239"/>
                <a:gd name="T51" fmla="*/ 8 h 218"/>
                <a:gd name="T52" fmla="*/ 234 w 239"/>
                <a:gd name="T53" fmla="*/ 2 h 218"/>
                <a:gd name="T54" fmla="*/ 231 w 239"/>
                <a:gd name="T55" fmla="*/ 1 h 218"/>
                <a:gd name="T56" fmla="*/ 228 w 239"/>
                <a:gd name="T57" fmla="*/ 0 h 218"/>
                <a:gd name="T58" fmla="*/ 225 w 239"/>
                <a:gd name="T59" fmla="*/ 0 h 218"/>
                <a:gd name="T60" fmla="*/ 222 w 239"/>
                <a:gd name="T61" fmla="*/ 0 h 218"/>
                <a:gd name="T62" fmla="*/ 217 w 239"/>
                <a:gd name="T63" fmla="*/ 2 h 218"/>
                <a:gd name="T64" fmla="*/ 212 w 239"/>
                <a:gd name="T65" fmla="*/ 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218">
                  <a:moveTo>
                    <a:pt x="212" y="5"/>
                  </a:moveTo>
                  <a:lnTo>
                    <a:pt x="89" y="171"/>
                  </a:lnTo>
                  <a:lnTo>
                    <a:pt x="26" y="95"/>
                  </a:lnTo>
                  <a:lnTo>
                    <a:pt x="24" y="93"/>
                  </a:lnTo>
                  <a:lnTo>
                    <a:pt x="21" y="92"/>
                  </a:lnTo>
                  <a:lnTo>
                    <a:pt x="19" y="91"/>
                  </a:lnTo>
                  <a:lnTo>
                    <a:pt x="16" y="90"/>
                  </a:lnTo>
                  <a:lnTo>
                    <a:pt x="13" y="90"/>
                  </a:lnTo>
                  <a:lnTo>
                    <a:pt x="10" y="91"/>
                  </a:lnTo>
                  <a:lnTo>
                    <a:pt x="7" y="92"/>
                  </a:lnTo>
                  <a:lnTo>
                    <a:pt x="5" y="94"/>
                  </a:lnTo>
                  <a:lnTo>
                    <a:pt x="3" y="96"/>
                  </a:lnTo>
                  <a:lnTo>
                    <a:pt x="1" y="99"/>
                  </a:lnTo>
                  <a:lnTo>
                    <a:pt x="0" y="102"/>
                  </a:lnTo>
                  <a:lnTo>
                    <a:pt x="0" y="104"/>
                  </a:lnTo>
                  <a:lnTo>
                    <a:pt x="0" y="107"/>
                  </a:lnTo>
                  <a:lnTo>
                    <a:pt x="1" y="110"/>
                  </a:lnTo>
                  <a:lnTo>
                    <a:pt x="2" y="112"/>
                  </a:lnTo>
                  <a:lnTo>
                    <a:pt x="3" y="116"/>
                  </a:lnTo>
                  <a:lnTo>
                    <a:pt x="90" y="218"/>
                  </a:lnTo>
                  <a:lnTo>
                    <a:pt x="237" y="24"/>
                  </a:lnTo>
                  <a:lnTo>
                    <a:pt x="238" y="21"/>
                  </a:lnTo>
                  <a:lnTo>
                    <a:pt x="239" y="18"/>
                  </a:lnTo>
                  <a:lnTo>
                    <a:pt x="239" y="16"/>
                  </a:lnTo>
                  <a:lnTo>
                    <a:pt x="239" y="13"/>
                  </a:lnTo>
                  <a:lnTo>
                    <a:pt x="238" y="8"/>
                  </a:lnTo>
                  <a:lnTo>
                    <a:pt x="234" y="2"/>
                  </a:lnTo>
                  <a:lnTo>
                    <a:pt x="231" y="1"/>
                  </a:lnTo>
                  <a:lnTo>
                    <a:pt x="228" y="0"/>
                  </a:lnTo>
                  <a:lnTo>
                    <a:pt x="225" y="0"/>
                  </a:lnTo>
                  <a:lnTo>
                    <a:pt x="222" y="0"/>
                  </a:lnTo>
                  <a:lnTo>
                    <a:pt x="217" y="2"/>
                  </a:lnTo>
                  <a:lnTo>
                    <a:pt x="2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34" name="Group 155">
            <a:extLst>
              <a:ext uri="{FF2B5EF4-FFF2-40B4-BE49-F238E27FC236}">
                <a16:creationId xmlns:a16="http://schemas.microsoft.com/office/drawing/2014/main" id="{BACABCF4-9264-466B-9768-2030E1AC7576}"/>
              </a:ext>
            </a:extLst>
          </p:cNvPr>
          <p:cNvGrpSpPr>
            <a:grpSpLocks noChangeAspect="1"/>
          </p:cNvGrpSpPr>
          <p:nvPr/>
        </p:nvGrpSpPr>
        <p:grpSpPr>
          <a:xfrm>
            <a:off x="1032468" y="3290217"/>
            <a:ext cx="308350" cy="252913"/>
            <a:chOff x="8131175" y="1122363"/>
            <a:chExt cx="371476" cy="295276"/>
          </a:xfrm>
          <a:solidFill>
            <a:schemeClr val="bg2"/>
          </a:solidFill>
          <a:effectLst/>
        </p:grpSpPr>
        <p:sp>
          <p:nvSpPr>
            <p:cNvPr id="435" name="Freeform 97">
              <a:extLst>
                <a:ext uri="{FF2B5EF4-FFF2-40B4-BE49-F238E27FC236}">
                  <a16:creationId xmlns:a16="http://schemas.microsoft.com/office/drawing/2014/main" id="{7F014196-5AC0-4634-8BC7-038B5772F4F4}"/>
                </a:ext>
              </a:extLst>
            </p:cNvPr>
            <p:cNvSpPr>
              <a:spLocks/>
            </p:cNvSpPr>
            <p:nvPr/>
          </p:nvSpPr>
          <p:spPr bwMode="auto">
            <a:xfrm>
              <a:off x="8131175" y="1168401"/>
              <a:ext cx="371475" cy="109538"/>
            </a:xfrm>
            <a:custGeom>
              <a:avLst/>
              <a:gdLst>
                <a:gd name="T0" fmla="*/ 36 w 96"/>
                <a:gd name="T1" fmla="*/ 28 h 28"/>
                <a:gd name="T2" fmla="*/ 2 w 96"/>
                <a:gd name="T3" fmla="*/ 28 h 28"/>
                <a:gd name="T4" fmla="*/ 0 w 96"/>
                <a:gd name="T5" fmla="*/ 26 h 28"/>
                <a:gd name="T6" fmla="*/ 2 w 96"/>
                <a:gd name="T7" fmla="*/ 24 h 28"/>
                <a:gd name="T8" fmla="*/ 36 w 96"/>
                <a:gd name="T9" fmla="*/ 24 h 28"/>
                <a:gd name="T10" fmla="*/ 52 w 96"/>
                <a:gd name="T11" fmla="*/ 13 h 28"/>
                <a:gd name="T12" fmla="*/ 72 w 96"/>
                <a:gd name="T13" fmla="*/ 0 h 28"/>
                <a:gd name="T14" fmla="*/ 94 w 96"/>
                <a:gd name="T15" fmla="*/ 0 h 28"/>
                <a:gd name="T16" fmla="*/ 96 w 96"/>
                <a:gd name="T17" fmla="*/ 2 h 28"/>
                <a:gd name="T18" fmla="*/ 94 w 96"/>
                <a:gd name="T19" fmla="*/ 4 h 28"/>
                <a:gd name="T20" fmla="*/ 72 w 96"/>
                <a:gd name="T21" fmla="*/ 4 h 28"/>
                <a:gd name="T22" fmla="*/ 56 w 96"/>
                <a:gd name="T23" fmla="*/ 15 h 28"/>
                <a:gd name="T24" fmla="*/ 36 w 9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8">
                  <a:moveTo>
                    <a:pt x="36" y="28"/>
                  </a:moveTo>
                  <a:cubicBezTo>
                    <a:pt x="2" y="28"/>
                    <a:pt x="2" y="28"/>
                    <a:pt x="2" y="28"/>
                  </a:cubicBezTo>
                  <a:cubicBezTo>
                    <a:pt x="1" y="28"/>
                    <a:pt x="0" y="27"/>
                    <a:pt x="0" y="26"/>
                  </a:cubicBezTo>
                  <a:cubicBezTo>
                    <a:pt x="0" y="25"/>
                    <a:pt x="1" y="24"/>
                    <a:pt x="2" y="24"/>
                  </a:cubicBezTo>
                  <a:cubicBezTo>
                    <a:pt x="36" y="24"/>
                    <a:pt x="36" y="24"/>
                    <a:pt x="36" y="24"/>
                  </a:cubicBezTo>
                  <a:cubicBezTo>
                    <a:pt x="45" y="24"/>
                    <a:pt x="48" y="19"/>
                    <a:pt x="52" y="13"/>
                  </a:cubicBezTo>
                  <a:cubicBezTo>
                    <a:pt x="56" y="7"/>
                    <a:pt x="61" y="0"/>
                    <a:pt x="72" y="0"/>
                  </a:cubicBezTo>
                  <a:cubicBezTo>
                    <a:pt x="94" y="0"/>
                    <a:pt x="94" y="0"/>
                    <a:pt x="94" y="0"/>
                  </a:cubicBezTo>
                  <a:cubicBezTo>
                    <a:pt x="95" y="0"/>
                    <a:pt x="96" y="1"/>
                    <a:pt x="96" y="2"/>
                  </a:cubicBezTo>
                  <a:cubicBezTo>
                    <a:pt x="96" y="3"/>
                    <a:pt x="95" y="4"/>
                    <a:pt x="94" y="4"/>
                  </a:cubicBezTo>
                  <a:cubicBezTo>
                    <a:pt x="72" y="4"/>
                    <a:pt x="72" y="4"/>
                    <a:pt x="72" y="4"/>
                  </a:cubicBezTo>
                  <a:cubicBezTo>
                    <a:pt x="63" y="4"/>
                    <a:pt x="60" y="9"/>
                    <a:pt x="56" y="15"/>
                  </a:cubicBezTo>
                  <a:cubicBezTo>
                    <a:pt x="52" y="21"/>
                    <a:pt x="47" y="28"/>
                    <a:pt x="3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8">
              <a:extLst>
                <a:ext uri="{FF2B5EF4-FFF2-40B4-BE49-F238E27FC236}">
                  <a16:creationId xmlns:a16="http://schemas.microsoft.com/office/drawing/2014/main" id="{10C30EB9-3958-4234-8F50-B00599B914D0}"/>
                </a:ext>
              </a:extLst>
            </p:cNvPr>
            <p:cNvSpPr>
              <a:spLocks/>
            </p:cNvSpPr>
            <p:nvPr/>
          </p:nvSpPr>
          <p:spPr bwMode="auto">
            <a:xfrm>
              <a:off x="8456613" y="1122363"/>
              <a:ext cx="46038" cy="107950"/>
            </a:xfrm>
            <a:custGeom>
              <a:avLst/>
              <a:gdLst>
                <a:gd name="T0" fmla="*/ 2 w 12"/>
                <a:gd name="T1" fmla="*/ 28 h 28"/>
                <a:gd name="T2" fmla="*/ 1 w 12"/>
                <a:gd name="T3" fmla="*/ 28 h 28"/>
                <a:gd name="T4" fmla="*/ 0 w 12"/>
                <a:gd name="T5" fmla="*/ 25 h 28"/>
                <a:gd name="T6" fmla="*/ 8 w 12"/>
                <a:gd name="T7" fmla="*/ 14 h 28"/>
                <a:gd name="T8" fmla="*/ 0 w 12"/>
                <a:gd name="T9" fmla="*/ 3 h 28"/>
                <a:gd name="T10" fmla="*/ 1 w 12"/>
                <a:gd name="T11" fmla="*/ 0 h 28"/>
                <a:gd name="T12" fmla="*/ 4 w 12"/>
                <a:gd name="T13" fmla="*/ 1 h 28"/>
                <a:gd name="T14" fmla="*/ 12 w 12"/>
                <a:gd name="T15" fmla="*/ 13 h 28"/>
                <a:gd name="T16" fmla="*/ 12 w 12"/>
                <a:gd name="T17" fmla="*/ 15 h 28"/>
                <a:gd name="T18" fmla="*/ 4 w 12"/>
                <a:gd name="T19" fmla="*/ 27 h 28"/>
                <a:gd name="T20" fmla="*/ 2 w 1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2" y="28"/>
                  </a:moveTo>
                  <a:cubicBezTo>
                    <a:pt x="2" y="28"/>
                    <a:pt x="1" y="28"/>
                    <a:pt x="1" y="28"/>
                  </a:cubicBezTo>
                  <a:cubicBezTo>
                    <a:pt x="0" y="27"/>
                    <a:pt x="0" y="26"/>
                    <a:pt x="0" y="25"/>
                  </a:cubicBezTo>
                  <a:cubicBezTo>
                    <a:pt x="8" y="14"/>
                    <a:pt x="8" y="14"/>
                    <a:pt x="8" y="14"/>
                  </a:cubicBezTo>
                  <a:cubicBezTo>
                    <a:pt x="0" y="3"/>
                    <a:pt x="0" y="3"/>
                    <a:pt x="0" y="3"/>
                  </a:cubicBezTo>
                  <a:cubicBezTo>
                    <a:pt x="0" y="2"/>
                    <a:pt x="0" y="1"/>
                    <a:pt x="1" y="0"/>
                  </a:cubicBezTo>
                  <a:cubicBezTo>
                    <a:pt x="2" y="0"/>
                    <a:pt x="3" y="0"/>
                    <a:pt x="4" y="1"/>
                  </a:cubicBezTo>
                  <a:cubicBezTo>
                    <a:pt x="12" y="13"/>
                    <a:pt x="12" y="13"/>
                    <a:pt x="12" y="13"/>
                  </a:cubicBezTo>
                  <a:cubicBezTo>
                    <a:pt x="12" y="14"/>
                    <a:pt x="12" y="14"/>
                    <a:pt x="12" y="15"/>
                  </a:cubicBezTo>
                  <a:cubicBezTo>
                    <a:pt x="4" y="27"/>
                    <a:pt x="4" y="27"/>
                    <a:pt x="4" y="27"/>
                  </a:cubicBezTo>
                  <a:cubicBezTo>
                    <a:pt x="3" y="28"/>
                    <a:pt x="3"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9">
              <a:extLst>
                <a:ext uri="{FF2B5EF4-FFF2-40B4-BE49-F238E27FC236}">
                  <a16:creationId xmlns:a16="http://schemas.microsoft.com/office/drawing/2014/main" id="{3264937C-90B2-4AE6-9A7F-83DCAEAE4E64}"/>
                </a:ext>
              </a:extLst>
            </p:cNvPr>
            <p:cNvSpPr>
              <a:spLocks/>
            </p:cNvSpPr>
            <p:nvPr/>
          </p:nvSpPr>
          <p:spPr bwMode="auto">
            <a:xfrm>
              <a:off x="8262938" y="1262063"/>
              <a:ext cx="239713" cy="109538"/>
            </a:xfrm>
            <a:custGeom>
              <a:avLst/>
              <a:gdLst>
                <a:gd name="T0" fmla="*/ 60 w 62"/>
                <a:gd name="T1" fmla="*/ 28 h 28"/>
                <a:gd name="T2" fmla="*/ 38 w 62"/>
                <a:gd name="T3" fmla="*/ 28 h 28"/>
                <a:gd name="T4" fmla="*/ 18 w 62"/>
                <a:gd name="T5" fmla="*/ 15 h 28"/>
                <a:gd name="T6" fmla="*/ 2 w 62"/>
                <a:gd name="T7" fmla="*/ 4 h 28"/>
                <a:gd name="T8" fmla="*/ 0 w 62"/>
                <a:gd name="T9" fmla="*/ 2 h 28"/>
                <a:gd name="T10" fmla="*/ 2 w 62"/>
                <a:gd name="T11" fmla="*/ 0 h 28"/>
                <a:gd name="T12" fmla="*/ 22 w 62"/>
                <a:gd name="T13" fmla="*/ 13 h 28"/>
                <a:gd name="T14" fmla="*/ 38 w 62"/>
                <a:gd name="T15" fmla="*/ 24 h 28"/>
                <a:gd name="T16" fmla="*/ 60 w 62"/>
                <a:gd name="T17" fmla="*/ 24 h 28"/>
                <a:gd name="T18" fmla="*/ 62 w 62"/>
                <a:gd name="T19" fmla="*/ 26 h 28"/>
                <a:gd name="T20" fmla="*/ 60 w 6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28">
                  <a:moveTo>
                    <a:pt x="60" y="28"/>
                  </a:moveTo>
                  <a:cubicBezTo>
                    <a:pt x="38" y="28"/>
                    <a:pt x="38" y="28"/>
                    <a:pt x="38" y="28"/>
                  </a:cubicBezTo>
                  <a:cubicBezTo>
                    <a:pt x="27" y="28"/>
                    <a:pt x="22" y="21"/>
                    <a:pt x="18" y="15"/>
                  </a:cubicBezTo>
                  <a:cubicBezTo>
                    <a:pt x="14" y="9"/>
                    <a:pt x="11" y="4"/>
                    <a:pt x="2" y="4"/>
                  </a:cubicBezTo>
                  <a:cubicBezTo>
                    <a:pt x="1" y="4"/>
                    <a:pt x="0" y="3"/>
                    <a:pt x="0" y="2"/>
                  </a:cubicBezTo>
                  <a:cubicBezTo>
                    <a:pt x="0" y="1"/>
                    <a:pt x="1" y="0"/>
                    <a:pt x="2" y="0"/>
                  </a:cubicBezTo>
                  <a:cubicBezTo>
                    <a:pt x="13" y="0"/>
                    <a:pt x="18" y="7"/>
                    <a:pt x="22" y="13"/>
                  </a:cubicBezTo>
                  <a:cubicBezTo>
                    <a:pt x="26" y="19"/>
                    <a:pt x="29" y="24"/>
                    <a:pt x="38" y="24"/>
                  </a:cubicBezTo>
                  <a:cubicBezTo>
                    <a:pt x="60" y="24"/>
                    <a:pt x="60" y="24"/>
                    <a:pt x="60" y="24"/>
                  </a:cubicBezTo>
                  <a:cubicBezTo>
                    <a:pt x="61" y="24"/>
                    <a:pt x="62" y="25"/>
                    <a:pt x="62" y="26"/>
                  </a:cubicBezTo>
                  <a:cubicBezTo>
                    <a:pt x="62" y="27"/>
                    <a:pt x="61"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00">
              <a:extLst>
                <a:ext uri="{FF2B5EF4-FFF2-40B4-BE49-F238E27FC236}">
                  <a16:creationId xmlns:a16="http://schemas.microsoft.com/office/drawing/2014/main" id="{853519FB-674B-4AC4-8417-C8D3961389A7}"/>
                </a:ext>
              </a:extLst>
            </p:cNvPr>
            <p:cNvSpPr>
              <a:spLocks/>
            </p:cNvSpPr>
            <p:nvPr/>
          </p:nvSpPr>
          <p:spPr bwMode="auto">
            <a:xfrm>
              <a:off x="8456613" y="1308101"/>
              <a:ext cx="46038" cy="109538"/>
            </a:xfrm>
            <a:custGeom>
              <a:avLst/>
              <a:gdLst>
                <a:gd name="T0" fmla="*/ 2 w 12"/>
                <a:gd name="T1" fmla="*/ 28 h 28"/>
                <a:gd name="T2" fmla="*/ 1 w 12"/>
                <a:gd name="T3" fmla="*/ 28 h 28"/>
                <a:gd name="T4" fmla="*/ 0 w 12"/>
                <a:gd name="T5" fmla="*/ 25 h 28"/>
                <a:gd name="T6" fmla="*/ 8 w 12"/>
                <a:gd name="T7" fmla="*/ 14 h 28"/>
                <a:gd name="T8" fmla="*/ 0 w 12"/>
                <a:gd name="T9" fmla="*/ 3 h 28"/>
                <a:gd name="T10" fmla="*/ 1 w 12"/>
                <a:gd name="T11" fmla="*/ 0 h 28"/>
                <a:gd name="T12" fmla="*/ 4 w 12"/>
                <a:gd name="T13" fmla="*/ 1 h 28"/>
                <a:gd name="T14" fmla="*/ 12 w 12"/>
                <a:gd name="T15" fmla="*/ 13 h 28"/>
                <a:gd name="T16" fmla="*/ 12 w 12"/>
                <a:gd name="T17" fmla="*/ 15 h 28"/>
                <a:gd name="T18" fmla="*/ 4 w 12"/>
                <a:gd name="T19" fmla="*/ 27 h 28"/>
                <a:gd name="T20" fmla="*/ 2 w 1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2" y="28"/>
                  </a:moveTo>
                  <a:cubicBezTo>
                    <a:pt x="2" y="28"/>
                    <a:pt x="1" y="28"/>
                    <a:pt x="1" y="28"/>
                  </a:cubicBezTo>
                  <a:cubicBezTo>
                    <a:pt x="0" y="27"/>
                    <a:pt x="0" y="26"/>
                    <a:pt x="0" y="25"/>
                  </a:cubicBezTo>
                  <a:cubicBezTo>
                    <a:pt x="8" y="14"/>
                    <a:pt x="8" y="14"/>
                    <a:pt x="8" y="14"/>
                  </a:cubicBezTo>
                  <a:cubicBezTo>
                    <a:pt x="0" y="3"/>
                    <a:pt x="0" y="3"/>
                    <a:pt x="0" y="3"/>
                  </a:cubicBezTo>
                  <a:cubicBezTo>
                    <a:pt x="0" y="2"/>
                    <a:pt x="0" y="1"/>
                    <a:pt x="1" y="0"/>
                  </a:cubicBezTo>
                  <a:cubicBezTo>
                    <a:pt x="2" y="0"/>
                    <a:pt x="3" y="0"/>
                    <a:pt x="4" y="1"/>
                  </a:cubicBezTo>
                  <a:cubicBezTo>
                    <a:pt x="12" y="13"/>
                    <a:pt x="12" y="13"/>
                    <a:pt x="12" y="13"/>
                  </a:cubicBezTo>
                  <a:cubicBezTo>
                    <a:pt x="12" y="14"/>
                    <a:pt x="12" y="14"/>
                    <a:pt x="12" y="15"/>
                  </a:cubicBezTo>
                  <a:cubicBezTo>
                    <a:pt x="4" y="27"/>
                    <a:pt x="4" y="27"/>
                    <a:pt x="4" y="27"/>
                  </a:cubicBezTo>
                  <a:cubicBezTo>
                    <a:pt x="3" y="28"/>
                    <a:pt x="3"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0" name="Group 18">
            <a:extLst>
              <a:ext uri="{FF2B5EF4-FFF2-40B4-BE49-F238E27FC236}">
                <a16:creationId xmlns:a16="http://schemas.microsoft.com/office/drawing/2014/main" id="{8672863E-2207-49EE-B029-CC5334A4A7C4}"/>
              </a:ext>
            </a:extLst>
          </p:cNvPr>
          <p:cNvGrpSpPr>
            <a:grpSpLocks noChangeAspect="1"/>
          </p:cNvGrpSpPr>
          <p:nvPr/>
        </p:nvGrpSpPr>
        <p:grpSpPr>
          <a:xfrm>
            <a:off x="1468410" y="3262499"/>
            <a:ext cx="308350" cy="308350"/>
            <a:chOff x="4386263" y="3243263"/>
            <a:chExt cx="371475" cy="371475"/>
          </a:xfrm>
          <a:solidFill>
            <a:schemeClr val="bg2"/>
          </a:solidFill>
          <a:effectLst/>
        </p:grpSpPr>
        <p:sp>
          <p:nvSpPr>
            <p:cNvPr id="491" name="Freeform 5">
              <a:extLst>
                <a:ext uri="{FF2B5EF4-FFF2-40B4-BE49-F238E27FC236}">
                  <a16:creationId xmlns:a16="http://schemas.microsoft.com/office/drawing/2014/main" id="{89C817C8-12C5-4239-898A-90C1F00AF5C5}"/>
                </a:ext>
              </a:extLst>
            </p:cNvPr>
            <p:cNvSpPr>
              <a:spLocks noEditPoints="1"/>
            </p:cNvSpPr>
            <p:nvPr/>
          </p:nvSpPr>
          <p:spPr bwMode="auto">
            <a:xfrm>
              <a:off x="4386263" y="3243263"/>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6">
              <a:extLst>
                <a:ext uri="{FF2B5EF4-FFF2-40B4-BE49-F238E27FC236}">
                  <a16:creationId xmlns:a16="http://schemas.microsoft.com/office/drawing/2014/main" id="{E080D30E-86C5-44D5-8211-8A7D386BBE95}"/>
                </a:ext>
              </a:extLst>
            </p:cNvPr>
            <p:cNvSpPr>
              <a:spLocks noEditPoints="1"/>
            </p:cNvSpPr>
            <p:nvPr/>
          </p:nvSpPr>
          <p:spPr bwMode="auto">
            <a:xfrm>
              <a:off x="4541838" y="33988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7">
              <a:extLst>
                <a:ext uri="{FF2B5EF4-FFF2-40B4-BE49-F238E27FC236}">
                  <a16:creationId xmlns:a16="http://schemas.microsoft.com/office/drawing/2014/main" id="{51224C93-6379-4488-9359-2C019737C57E}"/>
                </a:ext>
              </a:extLst>
            </p:cNvPr>
            <p:cNvSpPr>
              <a:spLocks/>
            </p:cNvSpPr>
            <p:nvPr/>
          </p:nvSpPr>
          <p:spPr bwMode="auto">
            <a:xfrm>
              <a:off x="4579938" y="3328988"/>
              <a:ext cx="92075" cy="92075"/>
            </a:xfrm>
            <a:custGeom>
              <a:avLst/>
              <a:gdLst>
                <a:gd name="T0" fmla="*/ 2 w 24"/>
                <a:gd name="T1" fmla="*/ 24 h 24"/>
                <a:gd name="T2" fmla="*/ 1 w 24"/>
                <a:gd name="T3" fmla="*/ 23 h 24"/>
                <a:gd name="T4" fmla="*/ 1 w 24"/>
                <a:gd name="T5" fmla="*/ 20 h 24"/>
                <a:gd name="T6" fmla="*/ 21 w 24"/>
                <a:gd name="T7" fmla="*/ 1 h 24"/>
                <a:gd name="T8" fmla="*/ 23 w 24"/>
                <a:gd name="T9" fmla="*/ 1 h 24"/>
                <a:gd name="T10" fmla="*/ 23 w 24"/>
                <a:gd name="T11" fmla="*/ 3 h 24"/>
                <a:gd name="T12" fmla="*/ 4 w 24"/>
                <a:gd name="T13" fmla="*/ 23 h 24"/>
                <a:gd name="T14" fmla="*/ 2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 y="24"/>
                  </a:moveTo>
                  <a:cubicBezTo>
                    <a:pt x="2" y="24"/>
                    <a:pt x="1" y="24"/>
                    <a:pt x="1" y="23"/>
                  </a:cubicBezTo>
                  <a:cubicBezTo>
                    <a:pt x="0" y="22"/>
                    <a:pt x="0" y="21"/>
                    <a:pt x="1" y="20"/>
                  </a:cubicBezTo>
                  <a:cubicBezTo>
                    <a:pt x="21" y="1"/>
                    <a:pt x="21" y="1"/>
                    <a:pt x="21" y="1"/>
                  </a:cubicBezTo>
                  <a:cubicBezTo>
                    <a:pt x="21" y="0"/>
                    <a:pt x="23" y="0"/>
                    <a:pt x="23" y="1"/>
                  </a:cubicBezTo>
                  <a:cubicBezTo>
                    <a:pt x="24" y="1"/>
                    <a:pt x="24" y="3"/>
                    <a:pt x="23" y="3"/>
                  </a:cubicBezTo>
                  <a:cubicBezTo>
                    <a:pt x="4" y="23"/>
                    <a:pt x="4" y="23"/>
                    <a:pt x="4" y="23"/>
                  </a:cubicBezTo>
                  <a:cubicBezTo>
                    <a:pt x="3" y="24"/>
                    <a:pt x="3" y="24"/>
                    <a:pt x="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8">
              <a:extLst>
                <a:ext uri="{FF2B5EF4-FFF2-40B4-BE49-F238E27FC236}">
                  <a16:creationId xmlns:a16="http://schemas.microsoft.com/office/drawing/2014/main" id="{C17DAF9D-AC2E-4837-8B23-D9675B989678}"/>
                </a:ext>
              </a:extLst>
            </p:cNvPr>
            <p:cNvSpPr>
              <a:spLocks/>
            </p:cNvSpPr>
            <p:nvPr/>
          </p:nvSpPr>
          <p:spPr bwMode="auto">
            <a:xfrm>
              <a:off x="4418013" y="3413126"/>
              <a:ext cx="46038"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9">
              <a:extLst>
                <a:ext uri="{FF2B5EF4-FFF2-40B4-BE49-F238E27FC236}">
                  <a16:creationId xmlns:a16="http://schemas.microsoft.com/office/drawing/2014/main" id="{3847C930-DD75-4D15-92AF-2B05D053BA54}"/>
                </a:ext>
              </a:extLst>
            </p:cNvPr>
            <p:cNvSpPr>
              <a:spLocks/>
            </p:cNvSpPr>
            <p:nvPr/>
          </p:nvSpPr>
          <p:spPr bwMode="auto">
            <a:xfrm>
              <a:off x="4429126" y="3463926"/>
              <a:ext cx="46038" cy="30163"/>
            </a:xfrm>
            <a:custGeom>
              <a:avLst/>
              <a:gdLst>
                <a:gd name="T0" fmla="*/ 2 w 12"/>
                <a:gd name="T1" fmla="*/ 8 h 8"/>
                <a:gd name="T2" fmla="*/ 0 w 12"/>
                <a:gd name="T3" fmla="*/ 6 h 8"/>
                <a:gd name="T4" fmla="*/ 1 w 12"/>
                <a:gd name="T5" fmla="*/ 4 h 8"/>
                <a:gd name="T6" fmla="*/ 9 w 12"/>
                <a:gd name="T7" fmla="*/ 1 h 8"/>
                <a:gd name="T8" fmla="*/ 11 w 12"/>
                <a:gd name="T9" fmla="*/ 2 h 8"/>
                <a:gd name="T10" fmla="*/ 10 w 12"/>
                <a:gd name="T11" fmla="*/ 4 h 8"/>
                <a:gd name="T12" fmla="*/ 3 w 12"/>
                <a:gd name="T13" fmla="*/ 7 h 8"/>
                <a:gd name="T14" fmla="*/ 2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8"/>
                  </a:moveTo>
                  <a:cubicBezTo>
                    <a:pt x="1" y="8"/>
                    <a:pt x="0" y="7"/>
                    <a:pt x="0" y="6"/>
                  </a:cubicBezTo>
                  <a:cubicBezTo>
                    <a:pt x="0" y="5"/>
                    <a:pt x="0" y="4"/>
                    <a:pt x="1" y="4"/>
                  </a:cubicBezTo>
                  <a:cubicBezTo>
                    <a:pt x="9" y="1"/>
                    <a:pt x="9" y="1"/>
                    <a:pt x="9" y="1"/>
                  </a:cubicBezTo>
                  <a:cubicBezTo>
                    <a:pt x="10" y="0"/>
                    <a:pt x="11" y="1"/>
                    <a:pt x="11" y="2"/>
                  </a:cubicBezTo>
                  <a:cubicBezTo>
                    <a:pt x="12" y="3"/>
                    <a:pt x="11" y="4"/>
                    <a:pt x="10" y="4"/>
                  </a:cubicBezTo>
                  <a:cubicBezTo>
                    <a:pt x="3" y="7"/>
                    <a:pt x="3" y="7"/>
                    <a:pt x="3" y="7"/>
                  </a:cubicBezTo>
                  <a:cubicBezTo>
                    <a:pt x="2" y="7"/>
                    <a:pt x="2"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0">
              <a:extLst>
                <a:ext uri="{FF2B5EF4-FFF2-40B4-BE49-F238E27FC236}">
                  <a16:creationId xmlns:a16="http://schemas.microsoft.com/office/drawing/2014/main" id="{25F400E1-4F01-4329-AEB3-6B5731554599}"/>
                </a:ext>
              </a:extLst>
            </p:cNvPr>
            <p:cNvSpPr>
              <a:spLocks/>
            </p:cNvSpPr>
            <p:nvPr/>
          </p:nvSpPr>
          <p:spPr bwMode="auto">
            <a:xfrm>
              <a:off x="4668838" y="3463926"/>
              <a:ext cx="46038" cy="30163"/>
            </a:xfrm>
            <a:custGeom>
              <a:avLst/>
              <a:gdLst>
                <a:gd name="T0" fmla="*/ 10 w 12"/>
                <a:gd name="T1" fmla="*/ 8 h 8"/>
                <a:gd name="T2" fmla="*/ 9 w 12"/>
                <a:gd name="T3" fmla="*/ 7 h 8"/>
                <a:gd name="T4" fmla="*/ 2 w 12"/>
                <a:gd name="T5" fmla="*/ 4 h 8"/>
                <a:gd name="T6" fmla="*/ 1 w 12"/>
                <a:gd name="T7" fmla="*/ 2 h 8"/>
                <a:gd name="T8" fmla="*/ 3 w 12"/>
                <a:gd name="T9" fmla="*/ 1 h 8"/>
                <a:gd name="T10" fmla="*/ 11 w 12"/>
                <a:gd name="T11" fmla="*/ 4 h 8"/>
                <a:gd name="T12" fmla="*/ 12 w 12"/>
                <a:gd name="T13" fmla="*/ 6 h 8"/>
                <a:gd name="T14" fmla="*/ 10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0" y="8"/>
                  </a:moveTo>
                  <a:cubicBezTo>
                    <a:pt x="10" y="8"/>
                    <a:pt x="10" y="7"/>
                    <a:pt x="9" y="7"/>
                  </a:cubicBezTo>
                  <a:cubicBezTo>
                    <a:pt x="2" y="4"/>
                    <a:pt x="2" y="4"/>
                    <a:pt x="2" y="4"/>
                  </a:cubicBezTo>
                  <a:cubicBezTo>
                    <a:pt x="1" y="4"/>
                    <a:pt x="0" y="3"/>
                    <a:pt x="1" y="2"/>
                  </a:cubicBezTo>
                  <a:cubicBezTo>
                    <a:pt x="1" y="1"/>
                    <a:pt x="2" y="0"/>
                    <a:pt x="3" y="1"/>
                  </a:cubicBezTo>
                  <a:cubicBezTo>
                    <a:pt x="11" y="4"/>
                    <a:pt x="11" y="4"/>
                    <a:pt x="11" y="4"/>
                  </a:cubicBezTo>
                  <a:cubicBezTo>
                    <a:pt x="12" y="4"/>
                    <a:pt x="12" y="5"/>
                    <a:pt x="12" y="6"/>
                  </a:cubicBezTo>
                  <a:cubicBezTo>
                    <a:pt x="12" y="7"/>
                    <a:pt x="11" y="8"/>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1">
              <a:extLst>
                <a:ext uri="{FF2B5EF4-FFF2-40B4-BE49-F238E27FC236}">
                  <a16:creationId xmlns:a16="http://schemas.microsoft.com/office/drawing/2014/main" id="{F030EA2F-B1A3-4FB9-8D81-71554A14C6F8}"/>
                </a:ext>
              </a:extLst>
            </p:cNvPr>
            <p:cNvSpPr>
              <a:spLocks/>
            </p:cNvSpPr>
            <p:nvPr/>
          </p:nvSpPr>
          <p:spPr bwMode="auto">
            <a:xfrm>
              <a:off x="4679951" y="3413126"/>
              <a:ext cx="47625" cy="15875"/>
            </a:xfrm>
            <a:custGeom>
              <a:avLst/>
              <a:gdLst>
                <a:gd name="T0" fmla="*/ 10 w 12"/>
                <a:gd name="T1" fmla="*/ 4 h 4"/>
                <a:gd name="T2" fmla="*/ 10 w 12"/>
                <a:gd name="T3" fmla="*/ 4 h 4"/>
                <a:gd name="T4" fmla="*/ 2 w 12"/>
                <a:gd name="T5" fmla="*/ 4 h 4"/>
                <a:gd name="T6" fmla="*/ 0 w 12"/>
                <a:gd name="T7" fmla="*/ 2 h 4"/>
                <a:gd name="T8" fmla="*/ 2 w 12"/>
                <a:gd name="T9" fmla="*/ 0 h 4"/>
                <a:gd name="T10" fmla="*/ 2 w 12"/>
                <a:gd name="T11" fmla="*/ 0 h 4"/>
                <a:gd name="T12" fmla="*/ 10 w 12"/>
                <a:gd name="T13" fmla="*/ 0 h 4"/>
                <a:gd name="T14" fmla="*/ 12 w 12"/>
                <a:gd name="T15" fmla="*/ 2 h 4"/>
                <a:gd name="T16" fmla="*/ 10 w 12"/>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10" y="4"/>
                  </a:moveTo>
                  <a:cubicBezTo>
                    <a:pt x="10" y="4"/>
                    <a:pt x="10" y="4"/>
                    <a:pt x="10" y="4"/>
                  </a:cubicBezTo>
                  <a:cubicBezTo>
                    <a:pt x="2" y="4"/>
                    <a:pt x="2" y="4"/>
                    <a:pt x="2" y="4"/>
                  </a:cubicBezTo>
                  <a:cubicBezTo>
                    <a:pt x="1" y="4"/>
                    <a:pt x="0" y="3"/>
                    <a:pt x="0" y="2"/>
                  </a:cubicBezTo>
                  <a:cubicBezTo>
                    <a:pt x="0" y="1"/>
                    <a:pt x="1" y="0"/>
                    <a:pt x="2" y="0"/>
                  </a:cubicBezTo>
                  <a:cubicBezTo>
                    <a:pt x="2" y="0"/>
                    <a:pt x="2"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2">
              <a:extLst>
                <a:ext uri="{FF2B5EF4-FFF2-40B4-BE49-F238E27FC236}">
                  <a16:creationId xmlns:a16="http://schemas.microsoft.com/office/drawing/2014/main" id="{9D8A5C3F-0B15-4807-A879-DFFBF2078452}"/>
                </a:ext>
              </a:extLst>
            </p:cNvPr>
            <p:cNvSpPr>
              <a:spLocks/>
            </p:cNvSpPr>
            <p:nvPr/>
          </p:nvSpPr>
          <p:spPr bwMode="auto">
            <a:xfrm>
              <a:off x="4668838" y="3363913"/>
              <a:ext cx="46038" cy="30163"/>
            </a:xfrm>
            <a:custGeom>
              <a:avLst/>
              <a:gdLst>
                <a:gd name="T0" fmla="*/ 3 w 12"/>
                <a:gd name="T1" fmla="*/ 8 h 8"/>
                <a:gd name="T2" fmla="*/ 1 w 12"/>
                <a:gd name="T3" fmla="*/ 6 h 8"/>
                <a:gd name="T4" fmla="*/ 2 w 12"/>
                <a:gd name="T5" fmla="*/ 4 h 8"/>
                <a:gd name="T6" fmla="*/ 9 w 12"/>
                <a:gd name="T7" fmla="*/ 1 h 8"/>
                <a:gd name="T8" fmla="*/ 12 w 12"/>
                <a:gd name="T9" fmla="*/ 2 h 8"/>
                <a:gd name="T10" fmla="*/ 11 w 12"/>
                <a:gd name="T11" fmla="*/ 4 h 8"/>
                <a:gd name="T12" fmla="*/ 3 w 12"/>
                <a:gd name="T13" fmla="*/ 7 h 8"/>
                <a:gd name="T14" fmla="*/ 3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3" y="8"/>
                  </a:moveTo>
                  <a:cubicBezTo>
                    <a:pt x="2" y="8"/>
                    <a:pt x="1" y="7"/>
                    <a:pt x="1" y="6"/>
                  </a:cubicBezTo>
                  <a:cubicBezTo>
                    <a:pt x="0" y="5"/>
                    <a:pt x="1" y="4"/>
                    <a:pt x="2" y="4"/>
                  </a:cubicBezTo>
                  <a:cubicBezTo>
                    <a:pt x="9" y="1"/>
                    <a:pt x="9" y="1"/>
                    <a:pt x="9" y="1"/>
                  </a:cubicBezTo>
                  <a:cubicBezTo>
                    <a:pt x="10" y="0"/>
                    <a:pt x="12" y="1"/>
                    <a:pt x="12" y="2"/>
                  </a:cubicBezTo>
                  <a:cubicBezTo>
                    <a:pt x="12" y="3"/>
                    <a:pt x="12" y="4"/>
                    <a:pt x="11" y="4"/>
                  </a:cubicBezTo>
                  <a:cubicBezTo>
                    <a:pt x="3" y="7"/>
                    <a:pt x="3" y="7"/>
                    <a:pt x="3" y="7"/>
                  </a:cubicBezTo>
                  <a:cubicBezTo>
                    <a:pt x="3" y="7"/>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3">
              <a:extLst>
                <a:ext uri="{FF2B5EF4-FFF2-40B4-BE49-F238E27FC236}">
                  <a16:creationId xmlns:a16="http://schemas.microsoft.com/office/drawing/2014/main" id="{E6604899-3544-492B-B905-75AAE141CB7C}"/>
                </a:ext>
              </a:extLst>
            </p:cNvPr>
            <p:cNvSpPr>
              <a:spLocks/>
            </p:cNvSpPr>
            <p:nvPr/>
          </p:nvSpPr>
          <p:spPr bwMode="auto">
            <a:xfrm>
              <a:off x="4618038" y="3286126"/>
              <a:ext cx="26988" cy="42863"/>
            </a:xfrm>
            <a:custGeom>
              <a:avLst/>
              <a:gdLst>
                <a:gd name="T0" fmla="*/ 2 w 7"/>
                <a:gd name="T1" fmla="*/ 11 h 11"/>
                <a:gd name="T2" fmla="*/ 1 w 7"/>
                <a:gd name="T3" fmla="*/ 11 h 11"/>
                <a:gd name="T4" fmla="*/ 0 w 7"/>
                <a:gd name="T5" fmla="*/ 9 h 11"/>
                <a:gd name="T6" fmla="*/ 3 w 7"/>
                <a:gd name="T7" fmla="*/ 1 h 11"/>
                <a:gd name="T8" fmla="*/ 6 w 7"/>
                <a:gd name="T9" fmla="*/ 0 h 11"/>
                <a:gd name="T10" fmla="*/ 7 w 7"/>
                <a:gd name="T11" fmla="*/ 3 h 11"/>
                <a:gd name="T12" fmla="*/ 4 w 7"/>
                <a:gd name="T13" fmla="*/ 10 h 11"/>
                <a:gd name="T14" fmla="*/ 2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2" y="11"/>
                  </a:moveTo>
                  <a:cubicBezTo>
                    <a:pt x="2" y="11"/>
                    <a:pt x="1" y="11"/>
                    <a:pt x="1" y="11"/>
                  </a:cubicBezTo>
                  <a:cubicBezTo>
                    <a:pt x="0" y="11"/>
                    <a:pt x="0" y="10"/>
                    <a:pt x="0" y="9"/>
                  </a:cubicBezTo>
                  <a:cubicBezTo>
                    <a:pt x="3" y="1"/>
                    <a:pt x="3" y="1"/>
                    <a:pt x="3" y="1"/>
                  </a:cubicBezTo>
                  <a:cubicBezTo>
                    <a:pt x="4" y="0"/>
                    <a:pt x="5" y="0"/>
                    <a:pt x="6" y="0"/>
                  </a:cubicBezTo>
                  <a:cubicBezTo>
                    <a:pt x="7" y="0"/>
                    <a:pt x="7" y="2"/>
                    <a:pt x="7" y="3"/>
                  </a:cubicBezTo>
                  <a:cubicBezTo>
                    <a:pt x="4" y="10"/>
                    <a:pt x="4" y="10"/>
                    <a:pt x="4" y="10"/>
                  </a:cubicBezTo>
                  <a:cubicBezTo>
                    <a:pt x="4" y="11"/>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4">
              <a:extLst>
                <a:ext uri="{FF2B5EF4-FFF2-40B4-BE49-F238E27FC236}">
                  <a16:creationId xmlns:a16="http://schemas.microsoft.com/office/drawing/2014/main" id="{15CE822A-A328-4591-A73A-785A0F2DA87A}"/>
                </a:ext>
              </a:extLst>
            </p:cNvPr>
            <p:cNvSpPr>
              <a:spLocks/>
            </p:cNvSpPr>
            <p:nvPr/>
          </p:nvSpPr>
          <p:spPr bwMode="auto">
            <a:xfrm>
              <a:off x="4572001" y="32781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5">
              <a:extLst>
                <a:ext uri="{FF2B5EF4-FFF2-40B4-BE49-F238E27FC236}">
                  <a16:creationId xmlns:a16="http://schemas.microsoft.com/office/drawing/2014/main" id="{E4955CE0-E280-4883-A194-30AB67EAEC7F}"/>
                </a:ext>
              </a:extLst>
            </p:cNvPr>
            <p:cNvSpPr>
              <a:spLocks/>
            </p:cNvSpPr>
            <p:nvPr/>
          </p:nvSpPr>
          <p:spPr bwMode="auto">
            <a:xfrm>
              <a:off x="4506913" y="3286126"/>
              <a:ext cx="30163" cy="42863"/>
            </a:xfrm>
            <a:custGeom>
              <a:avLst/>
              <a:gdLst>
                <a:gd name="T0" fmla="*/ 6 w 8"/>
                <a:gd name="T1" fmla="*/ 11 h 11"/>
                <a:gd name="T2" fmla="*/ 4 w 8"/>
                <a:gd name="T3" fmla="*/ 10 h 11"/>
                <a:gd name="T4" fmla="*/ 1 w 8"/>
                <a:gd name="T5" fmla="*/ 3 h 11"/>
                <a:gd name="T6" fmla="*/ 2 w 8"/>
                <a:gd name="T7" fmla="*/ 0 h 11"/>
                <a:gd name="T8" fmla="*/ 4 w 8"/>
                <a:gd name="T9" fmla="*/ 1 h 11"/>
                <a:gd name="T10" fmla="*/ 7 w 8"/>
                <a:gd name="T11" fmla="*/ 9 h 11"/>
                <a:gd name="T12" fmla="*/ 6 w 8"/>
                <a:gd name="T13" fmla="*/ 11 h 11"/>
                <a:gd name="T14" fmla="*/ 6 w 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6" y="11"/>
                  </a:moveTo>
                  <a:cubicBezTo>
                    <a:pt x="5" y="11"/>
                    <a:pt x="4" y="11"/>
                    <a:pt x="4" y="10"/>
                  </a:cubicBezTo>
                  <a:cubicBezTo>
                    <a:pt x="1" y="3"/>
                    <a:pt x="1" y="3"/>
                    <a:pt x="1" y="3"/>
                  </a:cubicBezTo>
                  <a:cubicBezTo>
                    <a:pt x="0" y="2"/>
                    <a:pt x="1" y="0"/>
                    <a:pt x="2" y="0"/>
                  </a:cubicBezTo>
                  <a:cubicBezTo>
                    <a:pt x="3" y="0"/>
                    <a:pt x="4" y="0"/>
                    <a:pt x="4" y="1"/>
                  </a:cubicBezTo>
                  <a:cubicBezTo>
                    <a:pt x="7" y="9"/>
                    <a:pt x="7" y="9"/>
                    <a:pt x="7" y="9"/>
                  </a:cubicBezTo>
                  <a:cubicBezTo>
                    <a:pt x="8" y="10"/>
                    <a:pt x="7" y="11"/>
                    <a:pt x="6" y="11"/>
                  </a:cubicBezTo>
                  <a:cubicBezTo>
                    <a:pt x="6" y="11"/>
                    <a:pt x="6"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
              <a:extLst>
                <a:ext uri="{FF2B5EF4-FFF2-40B4-BE49-F238E27FC236}">
                  <a16:creationId xmlns:a16="http://schemas.microsoft.com/office/drawing/2014/main" id="{304F6381-82B7-476B-90DB-A989D5269452}"/>
                </a:ext>
              </a:extLst>
            </p:cNvPr>
            <p:cNvSpPr>
              <a:spLocks/>
            </p:cNvSpPr>
            <p:nvPr/>
          </p:nvSpPr>
          <p:spPr bwMode="auto">
            <a:xfrm>
              <a:off x="4459288" y="3316288"/>
              <a:ext cx="39688" cy="39688"/>
            </a:xfrm>
            <a:custGeom>
              <a:avLst/>
              <a:gdLst>
                <a:gd name="T0" fmla="*/ 8 w 10"/>
                <a:gd name="T1" fmla="*/ 10 h 10"/>
                <a:gd name="T2" fmla="*/ 6 w 10"/>
                <a:gd name="T3" fmla="*/ 9 h 10"/>
                <a:gd name="T4" fmla="*/ 1 w 10"/>
                <a:gd name="T5" fmla="*/ 4 h 10"/>
                <a:gd name="T6" fmla="*/ 1 w 10"/>
                <a:gd name="T7" fmla="*/ 1 h 10"/>
                <a:gd name="T8" fmla="*/ 4 w 10"/>
                <a:gd name="T9" fmla="*/ 1 h 10"/>
                <a:gd name="T10" fmla="*/ 9 w 10"/>
                <a:gd name="T11" fmla="*/ 6 h 10"/>
                <a:gd name="T12" fmla="*/ 9 w 10"/>
                <a:gd name="T13" fmla="*/ 9 h 10"/>
                <a:gd name="T14" fmla="*/ 8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8" y="10"/>
                  </a:moveTo>
                  <a:cubicBezTo>
                    <a:pt x="7" y="10"/>
                    <a:pt x="7" y="10"/>
                    <a:pt x="6" y="9"/>
                  </a:cubicBezTo>
                  <a:cubicBezTo>
                    <a:pt x="1" y="4"/>
                    <a:pt x="1" y="4"/>
                    <a:pt x="1" y="4"/>
                  </a:cubicBezTo>
                  <a:cubicBezTo>
                    <a:pt x="0" y="3"/>
                    <a:pt x="0" y="1"/>
                    <a:pt x="1" y="1"/>
                  </a:cubicBezTo>
                  <a:cubicBezTo>
                    <a:pt x="1" y="0"/>
                    <a:pt x="3" y="0"/>
                    <a:pt x="4" y="1"/>
                  </a:cubicBezTo>
                  <a:cubicBezTo>
                    <a:pt x="9" y="6"/>
                    <a:pt x="9" y="6"/>
                    <a:pt x="9" y="6"/>
                  </a:cubicBezTo>
                  <a:cubicBezTo>
                    <a:pt x="10" y="7"/>
                    <a:pt x="10" y="8"/>
                    <a:pt x="9" y="9"/>
                  </a:cubicBezTo>
                  <a:cubicBezTo>
                    <a:pt x="9" y="10"/>
                    <a:pt x="8" y="10"/>
                    <a:pt x="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7">
              <a:extLst>
                <a:ext uri="{FF2B5EF4-FFF2-40B4-BE49-F238E27FC236}">
                  <a16:creationId xmlns:a16="http://schemas.microsoft.com/office/drawing/2014/main" id="{D3AF6722-50F3-4CA5-A41B-C3117CD411AC}"/>
                </a:ext>
              </a:extLst>
            </p:cNvPr>
            <p:cNvSpPr>
              <a:spLocks/>
            </p:cNvSpPr>
            <p:nvPr/>
          </p:nvSpPr>
          <p:spPr bwMode="auto">
            <a:xfrm>
              <a:off x="4429126" y="3363913"/>
              <a:ext cx="46038" cy="30163"/>
            </a:xfrm>
            <a:custGeom>
              <a:avLst/>
              <a:gdLst>
                <a:gd name="T0" fmla="*/ 9 w 12"/>
                <a:gd name="T1" fmla="*/ 8 h 8"/>
                <a:gd name="T2" fmla="*/ 9 w 12"/>
                <a:gd name="T3" fmla="*/ 7 h 8"/>
                <a:gd name="T4" fmla="*/ 1 w 12"/>
                <a:gd name="T5" fmla="*/ 4 h 8"/>
                <a:gd name="T6" fmla="*/ 0 w 12"/>
                <a:gd name="T7" fmla="*/ 2 h 8"/>
                <a:gd name="T8" fmla="*/ 3 w 12"/>
                <a:gd name="T9" fmla="*/ 1 h 8"/>
                <a:gd name="T10" fmla="*/ 10 w 12"/>
                <a:gd name="T11" fmla="*/ 4 h 8"/>
                <a:gd name="T12" fmla="*/ 11 w 12"/>
                <a:gd name="T13" fmla="*/ 6 h 8"/>
                <a:gd name="T14" fmla="*/ 9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9" y="8"/>
                  </a:moveTo>
                  <a:cubicBezTo>
                    <a:pt x="9" y="8"/>
                    <a:pt x="9" y="7"/>
                    <a:pt x="9" y="7"/>
                  </a:cubicBezTo>
                  <a:cubicBezTo>
                    <a:pt x="1" y="4"/>
                    <a:pt x="1" y="4"/>
                    <a:pt x="1" y="4"/>
                  </a:cubicBezTo>
                  <a:cubicBezTo>
                    <a:pt x="0" y="4"/>
                    <a:pt x="0" y="3"/>
                    <a:pt x="0" y="2"/>
                  </a:cubicBezTo>
                  <a:cubicBezTo>
                    <a:pt x="0" y="1"/>
                    <a:pt x="2" y="0"/>
                    <a:pt x="3" y="1"/>
                  </a:cubicBezTo>
                  <a:cubicBezTo>
                    <a:pt x="10" y="4"/>
                    <a:pt x="10" y="4"/>
                    <a:pt x="10" y="4"/>
                  </a:cubicBezTo>
                  <a:cubicBezTo>
                    <a:pt x="11" y="4"/>
                    <a:pt x="12" y="5"/>
                    <a:pt x="11" y="6"/>
                  </a:cubicBezTo>
                  <a:cubicBezTo>
                    <a:pt x="11" y="7"/>
                    <a:pt x="10" y="8"/>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8">
              <a:extLst>
                <a:ext uri="{FF2B5EF4-FFF2-40B4-BE49-F238E27FC236}">
                  <a16:creationId xmlns:a16="http://schemas.microsoft.com/office/drawing/2014/main" id="{24223BCF-5807-434A-B18E-5545D73857D0}"/>
                </a:ext>
              </a:extLst>
            </p:cNvPr>
            <p:cNvSpPr>
              <a:spLocks noEditPoints="1"/>
            </p:cNvSpPr>
            <p:nvPr/>
          </p:nvSpPr>
          <p:spPr bwMode="auto">
            <a:xfrm>
              <a:off x="4494213" y="3490913"/>
              <a:ext cx="155575" cy="61913"/>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4" name="Group 181">
            <a:extLst>
              <a:ext uri="{FF2B5EF4-FFF2-40B4-BE49-F238E27FC236}">
                <a16:creationId xmlns:a16="http://schemas.microsoft.com/office/drawing/2014/main" id="{2728E878-D33D-446D-9853-466FF2477F25}"/>
              </a:ext>
            </a:extLst>
          </p:cNvPr>
          <p:cNvGrpSpPr>
            <a:grpSpLocks noChangeAspect="1"/>
          </p:cNvGrpSpPr>
          <p:nvPr/>
        </p:nvGrpSpPr>
        <p:grpSpPr>
          <a:xfrm>
            <a:off x="612190" y="3299661"/>
            <a:ext cx="308350" cy="234027"/>
            <a:chOff x="8221663" y="2922588"/>
            <a:chExt cx="796925" cy="604838"/>
          </a:xfrm>
          <a:solidFill>
            <a:schemeClr val="bg2"/>
          </a:solidFill>
          <a:effectLst/>
        </p:grpSpPr>
        <p:sp>
          <p:nvSpPr>
            <p:cNvPr id="515" name="Freeform 51">
              <a:extLst>
                <a:ext uri="{FF2B5EF4-FFF2-40B4-BE49-F238E27FC236}">
                  <a16:creationId xmlns:a16="http://schemas.microsoft.com/office/drawing/2014/main" id="{0B3FF684-5C3F-42B5-BAA9-66401C7D0E26}"/>
                </a:ext>
              </a:extLst>
            </p:cNvPr>
            <p:cNvSpPr>
              <a:spLocks noEditPoints="1"/>
            </p:cNvSpPr>
            <p:nvPr/>
          </p:nvSpPr>
          <p:spPr bwMode="auto">
            <a:xfrm>
              <a:off x="8502650" y="3290888"/>
              <a:ext cx="234950" cy="236538"/>
            </a:xfrm>
            <a:custGeom>
              <a:avLst/>
              <a:gdLst>
                <a:gd name="T0" fmla="*/ 73 w 148"/>
                <a:gd name="T1" fmla="*/ 0 h 149"/>
                <a:gd name="T2" fmla="*/ 44 w 148"/>
                <a:gd name="T3" fmla="*/ 6 h 149"/>
                <a:gd name="T4" fmla="*/ 22 w 148"/>
                <a:gd name="T5" fmla="*/ 22 h 149"/>
                <a:gd name="T6" fmla="*/ 5 w 148"/>
                <a:gd name="T7" fmla="*/ 46 h 149"/>
                <a:gd name="T8" fmla="*/ 0 w 148"/>
                <a:gd name="T9" fmla="*/ 74 h 149"/>
                <a:gd name="T10" fmla="*/ 1 w 148"/>
                <a:gd name="T11" fmla="*/ 90 h 149"/>
                <a:gd name="T12" fmla="*/ 12 w 148"/>
                <a:gd name="T13" fmla="*/ 115 h 149"/>
                <a:gd name="T14" fmla="*/ 32 w 148"/>
                <a:gd name="T15" fmla="*/ 136 h 149"/>
                <a:gd name="T16" fmla="*/ 59 w 148"/>
                <a:gd name="T17" fmla="*/ 148 h 149"/>
                <a:gd name="T18" fmla="*/ 73 w 148"/>
                <a:gd name="T19" fmla="*/ 149 h 149"/>
                <a:gd name="T20" fmla="*/ 102 w 148"/>
                <a:gd name="T21" fmla="*/ 143 h 149"/>
                <a:gd name="T22" fmla="*/ 126 w 148"/>
                <a:gd name="T23" fmla="*/ 127 h 149"/>
                <a:gd name="T24" fmla="*/ 143 w 148"/>
                <a:gd name="T25" fmla="*/ 103 h 149"/>
                <a:gd name="T26" fmla="*/ 148 w 148"/>
                <a:gd name="T27" fmla="*/ 74 h 149"/>
                <a:gd name="T28" fmla="*/ 146 w 148"/>
                <a:gd name="T29" fmla="*/ 59 h 149"/>
                <a:gd name="T30" fmla="*/ 136 w 148"/>
                <a:gd name="T31" fmla="*/ 34 h 149"/>
                <a:gd name="T32" fmla="*/ 115 w 148"/>
                <a:gd name="T33" fmla="*/ 13 h 149"/>
                <a:gd name="T34" fmla="*/ 88 w 148"/>
                <a:gd name="T35" fmla="*/ 1 h 149"/>
                <a:gd name="T36" fmla="*/ 73 w 148"/>
                <a:gd name="T37" fmla="*/ 0 h 149"/>
                <a:gd name="T38" fmla="*/ 73 w 148"/>
                <a:gd name="T39" fmla="*/ 131 h 149"/>
                <a:gd name="T40" fmla="*/ 53 w 148"/>
                <a:gd name="T41" fmla="*/ 125 h 149"/>
                <a:gd name="T42" fmla="*/ 34 w 148"/>
                <a:gd name="T43" fmla="*/ 114 h 149"/>
                <a:gd name="T44" fmla="*/ 22 w 148"/>
                <a:gd name="T45" fmla="*/ 97 h 149"/>
                <a:gd name="T46" fmla="*/ 18 w 148"/>
                <a:gd name="T47" fmla="*/ 74 h 149"/>
                <a:gd name="T48" fmla="*/ 18 w 148"/>
                <a:gd name="T49" fmla="*/ 63 h 149"/>
                <a:gd name="T50" fmla="*/ 27 w 148"/>
                <a:gd name="T51" fmla="*/ 44 h 149"/>
                <a:gd name="T52" fmla="*/ 42 w 148"/>
                <a:gd name="T53" fmla="*/ 29 h 149"/>
                <a:gd name="T54" fmla="*/ 63 w 148"/>
                <a:gd name="T55" fmla="*/ 20 h 149"/>
                <a:gd name="T56" fmla="*/ 73 w 148"/>
                <a:gd name="T57" fmla="*/ 18 h 149"/>
                <a:gd name="T58" fmla="*/ 95 w 148"/>
                <a:gd name="T59" fmla="*/ 23 h 149"/>
                <a:gd name="T60" fmla="*/ 114 w 148"/>
                <a:gd name="T61" fmla="*/ 35 h 149"/>
                <a:gd name="T62" fmla="*/ 126 w 148"/>
                <a:gd name="T63" fmla="*/ 52 h 149"/>
                <a:gd name="T64" fmla="*/ 129 w 148"/>
                <a:gd name="T65" fmla="*/ 74 h 149"/>
                <a:gd name="T66" fmla="*/ 129 w 148"/>
                <a:gd name="T67" fmla="*/ 86 h 149"/>
                <a:gd name="T68" fmla="*/ 121 w 148"/>
                <a:gd name="T69" fmla="*/ 105 h 149"/>
                <a:gd name="T70" fmla="*/ 105 w 148"/>
                <a:gd name="T71" fmla="*/ 120 h 149"/>
                <a:gd name="T72" fmla="*/ 85 w 148"/>
                <a:gd name="T73" fmla="*/ 129 h 149"/>
                <a:gd name="T74" fmla="*/ 73 w 148"/>
                <a:gd name="T75" fmla="*/ 13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73" y="0"/>
                  </a:moveTo>
                  <a:lnTo>
                    <a:pt x="73" y="0"/>
                  </a:lnTo>
                  <a:lnTo>
                    <a:pt x="59" y="1"/>
                  </a:lnTo>
                  <a:lnTo>
                    <a:pt x="44" y="6"/>
                  </a:lnTo>
                  <a:lnTo>
                    <a:pt x="32" y="13"/>
                  </a:lnTo>
                  <a:lnTo>
                    <a:pt x="22" y="22"/>
                  </a:lnTo>
                  <a:lnTo>
                    <a:pt x="12" y="34"/>
                  </a:lnTo>
                  <a:lnTo>
                    <a:pt x="5" y="46"/>
                  </a:lnTo>
                  <a:lnTo>
                    <a:pt x="1" y="59"/>
                  </a:lnTo>
                  <a:lnTo>
                    <a:pt x="0" y="74"/>
                  </a:lnTo>
                  <a:lnTo>
                    <a:pt x="0" y="74"/>
                  </a:lnTo>
                  <a:lnTo>
                    <a:pt x="1" y="90"/>
                  </a:lnTo>
                  <a:lnTo>
                    <a:pt x="5" y="103"/>
                  </a:lnTo>
                  <a:lnTo>
                    <a:pt x="12" y="115"/>
                  </a:lnTo>
                  <a:lnTo>
                    <a:pt x="22" y="127"/>
                  </a:lnTo>
                  <a:lnTo>
                    <a:pt x="32" y="136"/>
                  </a:lnTo>
                  <a:lnTo>
                    <a:pt x="44" y="143"/>
                  </a:lnTo>
                  <a:lnTo>
                    <a:pt x="59" y="148"/>
                  </a:lnTo>
                  <a:lnTo>
                    <a:pt x="73" y="149"/>
                  </a:lnTo>
                  <a:lnTo>
                    <a:pt x="73" y="149"/>
                  </a:lnTo>
                  <a:lnTo>
                    <a:pt x="88" y="148"/>
                  </a:lnTo>
                  <a:lnTo>
                    <a:pt x="102" y="143"/>
                  </a:lnTo>
                  <a:lnTo>
                    <a:pt x="115" y="136"/>
                  </a:lnTo>
                  <a:lnTo>
                    <a:pt x="126" y="127"/>
                  </a:lnTo>
                  <a:lnTo>
                    <a:pt x="136" y="115"/>
                  </a:lnTo>
                  <a:lnTo>
                    <a:pt x="143" y="103"/>
                  </a:lnTo>
                  <a:lnTo>
                    <a:pt x="146" y="90"/>
                  </a:lnTo>
                  <a:lnTo>
                    <a:pt x="148" y="74"/>
                  </a:lnTo>
                  <a:lnTo>
                    <a:pt x="148" y="74"/>
                  </a:lnTo>
                  <a:lnTo>
                    <a:pt x="146" y="59"/>
                  </a:lnTo>
                  <a:lnTo>
                    <a:pt x="143" y="46"/>
                  </a:lnTo>
                  <a:lnTo>
                    <a:pt x="136" y="34"/>
                  </a:lnTo>
                  <a:lnTo>
                    <a:pt x="126" y="22"/>
                  </a:lnTo>
                  <a:lnTo>
                    <a:pt x="115" y="13"/>
                  </a:lnTo>
                  <a:lnTo>
                    <a:pt x="102" y="6"/>
                  </a:lnTo>
                  <a:lnTo>
                    <a:pt x="88" y="1"/>
                  </a:lnTo>
                  <a:lnTo>
                    <a:pt x="73" y="0"/>
                  </a:lnTo>
                  <a:lnTo>
                    <a:pt x="73" y="0"/>
                  </a:lnTo>
                  <a:close/>
                  <a:moveTo>
                    <a:pt x="73" y="131"/>
                  </a:moveTo>
                  <a:lnTo>
                    <a:pt x="73" y="131"/>
                  </a:lnTo>
                  <a:lnTo>
                    <a:pt x="63" y="129"/>
                  </a:lnTo>
                  <a:lnTo>
                    <a:pt x="53" y="125"/>
                  </a:lnTo>
                  <a:lnTo>
                    <a:pt x="42" y="120"/>
                  </a:lnTo>
                  <a:lnTo>
                    <a:pt x="34" y="114"/>
                  </a:lnTo>
                  <a:lnTo>
                    <a:pt x="27" y="105"/>
                  </a:lnTo>
                  <a:lnTo>
                    <a:pt x="22" y="97"/>
                  </a:lnTo>
                  <a:lnTo>
                    <a:pt x="18" y="86"/>
                  </a:lnTo>
                  <a:lnTo>
                    <a:pt x="18" y="74"/>
                  </a:lnTo>
                  <a:lnTo>
                    <a:pt x="18" y="74"/>
                  </a:lnTo>
                  <a:lnTo>
                    <a:pt x="18" y="63"/>
                  </a:lnTo>
                  <a:lnTo>
                    <a:pt x="22" y="52"/>
                  </a:lnTo>
                  <a:lnTo>
                    <a:pt x="27" y="44"/>
                  </a:lnTo>
                  <a:lnTo>
                    <a:pt x="34" y="35"/>
                  </a:lnTo>
                  <a:lnTo>
                    <a:pt x="42" y="29"/>
                  </a:lnTo>
                  <a:lnTo>
                    <a:pt x="53" y="23"/>
                  </a:lnTo>
                  <a:lnTo>
                    <a:pt x="63" y="20"/>
                  </a:lnTo>
                  <a:lnTo>
                    <a:pt x="73" y="18"/>
                  </a:lnTo>
                  <a:lnTo>
                    <a:pt x="73" y="18"/>
                  </a:lnTo>
                  <a:lnTo>
                    <a:pt x="85" y="20"/>
                  </a:lnTo>
                  <a:lnTo>
                    <a:pt x="95" y="23"/>
                  </a:lnTo>
                  <a:lnTo>
                    <a:pt x="105" y="29"/>
                  </a:lnTo>
                  <a:lnTo>
                    <a:pt x="114" y="35"/>
                  </a:lnTo>
                  <a:lnTo>
                    <a:pt x="121" y="44"/>
                  </a:lnTo>
                  <a:lnTo>
                    <a:pt x="126" y="52"/>
                  </a:lnTo>
                  <a:lnTo>
                    <a:pt x="129" y="63"/>
                  </a:lnTo>
                  <a:lnTo>
                    <a:pt x="129" y="74"/>
                  </a:lnTo>
                  <a:lnTo>
                    <a:pt x="129" y="74"/>
                  </a:lnTo>
                  <a:lnTo>
                    <a:pt x="129" y="86"/>
                  </a:lnTo>
                  <a:lnTo>
                    <a:pt x="126" y="97"/>
                  </a:lnTo>
                  <a:lnTo>
                    <a:pt x="121" y="105"/>
                  </a:lnTo>
                  <a:lnTo>
                    <a:pt x="114" y="114"/>
                  </a:lnTo>
                  <a:lnTo>
                    <a:pt x="105" y="120"/>
                  </a:lnTo>
                  <a:lnTo>
                    <a:pt x="95" y="125"/>
                  </a:lnTo>
                  <a:lnTo>
                    <a:pt x="85" y="129"/>
                  </a:lnTo>
                  <a:lnTo>
                    <a:pt x="73" y="131"/>
                  </a:lnTo>
                  <a:lnTo>
                    <a:pt x="73"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2">
              <a:extLst>
                <a:ext uri="{FF2B5EF4-FFF2-40B4-BE49-F238E27FC236}">
                  <a16:creationId xmlns:a16="http://schemas.microsoft.com/office/drawing/2014/main" id="{EF940DD1-248D-45E1-943D-5327465BC0A5}"/>
                </a:ext>
              </a:extLst>
            </p:cNvPr>
            <p:cNvSpPr>
              <a:spLocks/>
            </p:cNvSpPr>
            <p:nvPr/>
          </p:nvSpPr>
          <p:spPr bwMode="auto">
            <a:xfrm>
              <a:off x="8394700" y="3157538"/>
              <a:ext cx="450850" cy="165100"/>
            </a:xfrm>
            <a:custGeom>
              <a:avLst/>
              <a:gdLst>
                <a:gd name="T0" fmla="*/ 141 w 284"/>
                <a:gd name="T1" fmla="*/ 0 h 104"/>
                <a:gd name="T2" fmla="*/ 141 w 284"/>
                <a:gd name="T3" fmla="*/ 0 h 104"/>
                <a:gd name="T4" fmla="*/ 119 w 284"/>
                <a:gd name="T5" fmla="*/ 2 h 104"/>
                <a:gd name="T6" fmla="*/ 97 w 284"/>
                <a:gd name="T7" fmla="*/ 7 h 104"/>
                <a:gd name="T8" fmla="*/ 76 w 284"/>
                <a:gd name="T9" fmla="*/ 16 h 104"/>
                <a:gd name="T10" fmla="*/ 56 w 284"/>
                <a:gd name="T11" fmla="*/ 26 h 104"/>
                <a:gd name="T12" fmla="*/ 39 w 284"/>
                <a:gd name="T13" fmla="*/ 39 h 104"/>
                <a:gd name="T14" fmla="*/ 24 w 284"/>
                <a:gd name="T15" fmla="*/ 55 h 104"/>
                <a:gd name="T16" fmla="*/ 10 w 284"/>
                <a:gd name="T17" fmla="*/ 72 h 104"/>
                <a:gd name="T18" fmla="*/ 0 w 284"/>
                <a:gd name="T19" fmla="*/ 90 h 104"/>
                <a:gd name="T20" fmla="*/ 13 w 284"/>
                <a:gd name="T21" fmla="*/ 104 h 104"/>
                <a:gd name="T22" fmla="*/ 13 w 284"/>
                <a:gd name="T23" fmla="*/ 104 h 104"/>
                <a:gd name="T24" fmla="*/ 22 w 284"/>
                <a:gd name="T25" fmla="*/ 87 h 104"/>
                <a:gd name="T26" fmla="*/ 34 w 284"/>
                <a:gd name="T27" fmla="*/ 70 h 104"/>
                <a:gd name="T28" fmla="*/ 47 w 284"/>
                <a:gd name="T29" fmla="*/ 55 h 104"/>
                <a:gd name="T30" fmla="*/ 64 w 284"/>
                <a:gd name="T31" fmla="*/ 43 h 104"/>
                <a:gd name="T32" fmla="*/ 81 w 284"/>
                <a:gd name="T33" fmla="*/ 33 h 104"/>
                <a:gd name="T34" fmla="*/ 100 w 284"/>
                <a:gd name="T35" fmla="*/ 26 h 104"/>
                <a:gd name="T36" fmla="*/ 121 w 284"/>
                <a:gd name="T37" fmla="*/ 21 h 104"/>
                <a:gd name="T38" fmla="*/ 141 w 284"/>
                <a:gd name="T39" fmla="*/ 19 h 104"/>
                <a:gd name="T40" fmla="*/ 141 w 284"/>
                <a:gd name="T41" fmla="*/ 19 h 104"/>
                <a:gd name="T42" fmla="*/ 163 w 284"/>
                <a:gd name="T43" fmla="*/ 21 h 104"/>
                <a:gd name="T44" fmla="*/ 183 w 284"/>
                <a:gd name="T45" fmla="*/ 26 h 104"/>
                <a:gd name="T46" fmla="*/ 202 w 284"/>
                <a:gd name="T47" fmla="*/ 33 h 104"/>
                <a:gd name="T48" fmla="*/ 219 w 284"/>
                <a:gd name="T49" fmla="*/ 43 h 104"/>
                <a:gd name="T50" fmla="*/ 234 w 284"/>
                <a:gd name="T51" fmla="*/ 55 h 104"/>
                <a:gd name="T52" fmla="*/ 250 w 284"/>
                <a:gd name="T53" fmla="*/ 70 h 104"/>
                <a:gd name="T54" fmla="*/ 260 w 284"/>
                <a:gd name="T55" fmla="*/ 87 h 104"/>
                <a:gd name="T56" fmla="*/ 270 w 284"/>
                <a:gd name="T57" fmla="*/ 104 h 104"/>
                <a:gd name="T58" fmla="*/ 284 w 284"/>
                <a:gd name="T59" fmla="*/ 90 h 104"/>
                <a:gd name="T60" fmla="*/ 284 w 284"/>
                <a:gd name="T61" fmla="*/ 90 h 104"/>
                <a:gd name="T62" fmla="*/ 274 w 284"/>
                <a:gd name="T63" fmla="*/ 72 h 104"/>
                <a:gd name="T64" fmla="*/ 260 w 284"/>
                <a:gd name="T65" fmla="*/ 55 h 104"/>
                <a:gd name="T66" fmla="*/ 245 w 284"/>
                <a:gd name="T67" fmla="*/ 39 h 104"/>
                <a:gd name="T68" fmla="*/ 226 w 284"/>
                <a:gd name="T69" fmla="*/ 26 h 104"/>
                <a:gd name="T70" fmla="*/ 207 w 284"/>
                <a:gd name="T71" fmla="*/ 16 h 104"/>
                <a:gd name="T72" fmla="*/ 187 w 284"/>
                <a:gd name="T73" fmla="*/ 7 h 104"/>
                <a:gd name="T74" fmla="*/ 165 w 284"/>
                <a:gd name="T75" fmla="*/ 2 h 104"/>
                <a:gd name="T76" fmla="*/ 141 w 284"/>
                <a:gd name="T77" fmla="*/ 0 h 104"/>
                <a:gd name="T78" fmla="*/ 141 w 284"/>
                <a:gd name="T7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104">
                  <a:moveTo>
                    <a:pt x="141" y="0"/>
                  </a:moveTo>
                  <a:lnTo>
                    <a:pt x="141" y="0"/>
                  </a:lnTo>
                  <a:lnTo>
                    <a:pt x="119" y="2"/>
                  </a:lnTo>
                  <a:lnTo>
                    <a:pt x="97" y="7"/>
                  </a:lnTo>
                  <a:lnTo>
                    <a:pt x="76" y="16"/>
                  </a:lnTo>
                  <a:lnTo>
                    <a:pt x="56" y="26"/>
                  </a:lnTo>
                  <a:lnTo>
                    <a:pt x="39" y="39"/>
                  </a:lnTo>
                  <a:lnTo>
                    <a:pt x="24" y="55"/>
                  </a:lnTo>
                  <a:lnTo>
                    <a:pt x="10" y="72"/>
                  </a:lnTo>
                  <a:lnTo>
                    <a:pt x="0" y="90"/>
                  </a:lnTo>
                  <a:lnTo>
                    <a:pt x="13" y="104"/>
                  </a:lnTo>
                  <a:lnTo>
                    <a:pt x="13" y="104"/>
                  </a:lnTo>
                  <a:lnTo>
                    <a:pt x="22" y="87"/>
                  </a:lnTo>
                  <a:lnTo>
                    <a:pt x="34" y="70"/>
                  </a:lnTo>
                  <a:lnTo>
                    <a:pt x="47" y="55"/>
                  </a:lnTo>
                  <a:lnTo>
                    <a:pt x="64" y="43"/>
                  </a:lnTo>
                  <a:lnTo>
                    <a:pt x="81" y="33"/>
                  </a:lnTo>
                  <a:lnTo>
                    <a:pt x="100" y="26"/>
                  </a:lnTo>
                  <a:lnTo>
                    <a:pt x="121" y="21"/>
                  </a:lnTo>
                  <a:lnTo>
                    <a:pt x="141" y="19"/>
                  </a:lnTo>
                  <a:lnTo>
                    <a:pt x="141" y="19"/>
                  </a:lnTo>
                  <a:lnTo>
                    <a:pt x="163" y="21"/>
                  </a:lnTo>
                  <a:lnTo>
                    <a:pt x="183" y="26"/>
                  </a:lnTo>
                  <a:lnTo>
                    <a:pt x="202" y="33"/>
                  </a:lnTo>
                  <a:lnTo>
                    <a:pt x="219" y="43"/>
                  </a:lnTo>
                  <a:lnTo>
                    <a:pt x="234" y="55"/>
                  </a:lnTo>
                  <a:lnTo>
                    <a:pt x="250" y="70"/>
                  </a:lnTo>
                  <a:lnTo>
                    <a:pt x="260" y="87"/>
                  </a:lnTo>
                  <a:lnTo>
                    <a:pt x="270" y="104"/>
                  </a:lnTo>
                  <a:lnTo>
                    <a:pt x="284" y="90"/>
                  </a:lnTo>
                  <a:lnTo>
                    <a:pt x="284" y="90"/>
                  </a:lnTo>
                  <a:lnTo>
                    <a:pt x="274" y="72"/>
                  </a:lnTo>
                  <a:lnTo>
                    <a:pt x="260" y="55"/>
                  </a:lnTo>
                  <a:lnTo>
                    <a:pt x="245" y="39"/>
                  </a:lnTo>
                  <a:lnTo>
                    <a:pt x="226" y="26"/>
                  </a:lnTo>
                  <a:lnTo>
                    <a:pt x="207" y="16"/>
                  </a:lnTo>
                  <a:lnTo>
                    <a:pt x="187" y="7"/>
                  </a:lnTo>
                  <a:lnTo>
                    <a:pt x="165" y="2"/>
                  </a:lnTo>
                  <a:lnTo>
                    <a:pt x="141" y="0"/>
                  </a:ln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53">
              <a:extLst>
                <a:ext uri="{FF2B5EF4-FFF2-40B4-BE49-F238E27FC236}">
                  <a16:creationId xmlns:a16="http://schemas.microsoft.com/office/drawing/2014/main" id="{CB73EA7B-5B33-48A7-B4B0-7ADEADC897DD}"/>
                </a:ext>
              </a:extLst>
            </p:cNvPr>
            <p:cNvSpPr>
              <a:spLocks/>
            </p:cNvSpPr>
            <p:nvPr/>
          </p:nvSpPr>
          <p:spPr bwMode="auto">
            <a:xfrm>
              <a:off x="8221663" y="2922588"/>
              <a:ext cx="796925" cy="230188"/>
            </a:xfrm>
            <a:custGeom>
              <a:avLst/>
              <a:gdLst>
                <a:gd name="T0" fmla="*/ 252 w 502"/>
                <a:gd name="T1" fmla="*/ 0 h 145"/>
                <a:gd name="T2" fmla="*/ 213 w 502"/>
                <a:gd name="T3" fmla="*/ 2 h 145"/>
                <a:gd name="T4" fmla="*/ 177 w 502"/>
                <a:gd name="T5" fmla="*/ 9 h 145"/>
                <a:gd name="T6" fmla="*/ 141 w 502"/>
                <a:gd name="T7" fmla="*/ 21 h 145"/>
                <a:gd name="T8" fmla="*/ 109 w 502"/>
                <a:gd name="T9" fmla="*/ 36 h 145"/>
                <a:gd name="T10" fmla="*/ 76 w 502"/>
                <a:gd name="T11" fmla="*/ 55 h 145"/>
                <a:gd name="T12" fmla="*/ 49 w 502"/>
                <a:gd name="T13" fmla="*/ 77 h 145"/>
                <a:gd name="T14" fmla="*/ 24 w 502"/>
                <a:gd name="T15" fmla="*/ 102 h 145"/>
                <a:gd name="T16" fmla="*/ 0 w 502"/>
                <a:gd name="T17" fmla="*/ 131 h 145"/>
                <a:gd name="T18" fmla="*/ 13 w 502"/>
                <a:gd name="T19" fmla="*/ 145 h 145"/>
                <a:gd name="T20" fmla="*/ 59 w 502"/>
                <a:gd name="T21" fmla="*/ 92 h 145"/>
                <a:gd name="T22" fmla="*/ 100 w 502"/>
                <a:gd name="T23" fmla="*/ 62 h 145"/>
                <a:gd name="T24" fmla="*/ 131 w 502"/>
                <a:gd name="T25" fmla="*/ 44 h 145"/>
                <a:gd name="T26" fmla="*/ 163 w 502"/>
                <a:gd name="T27" fmla="*/ 33 h 145"/>
                <a:gd name="T28" fmla="*/ 197 w 502"/>
                <a:gd name="T29" fmla="*/ 24 h 145"/>
                <a:gd name="T30" fmla="*/ 233 w 502"/>
                <a:gd name="T31" fmla="*/ 19 h 145"/>
                <a:gd name="T32" fmla="*/ 252 w 502"/>
                <a:gd name="T33" fmla="*/ 19 h 145"/>
                <a:gd name="T34" fmla="*/ 287 w 502"/>
                <a:gd name="T35" fmla="*/ 21 h 145"/>
                <a:gd name="T36" fmla="*/ 323 w 502"/>
                <a:gd name="T37" fmla="*/ 27 h 145"/>
                <a:gd name="T38" fmla="*/ 355 w 502"/>
                <a:gd name="T39" fmla="*/ 38 h 145"/>
                <a:gd name="T40" fmla="*/ 388 w 502"/>
                <a:gd name="T41" fmla="*/ 53 h 145"/>
                <a:gd name="T42" fmla="*/ 417 w 502"/>
                <a:gd name="T43" fmla="*/ 70 h 145"/>
                <a:gd name="T44" fmla="*/ 468 w 502"/>
                <a:gd name="T45" fmla="*/ 116 h 145"/>
                <a:gd name="T46" fmla="*/ 502 w 502"/>
                <a:gd name="T47" fmla="*/ 130 h 145"/>
                <a:gd name="T48" fmla="*/ 491 w 502"/>
                <a:gd name="T49" fmla="*/ 116 h 145"/>
                <a:gd name="T50" fmla="*/ 468 w 502"/>
                <a:gd name="T51" fmla="*/ 89 h 145"/>
                <a:gd name="T52" fmla="*/ 440 w 502"/>
                <a:gd name="T53" fmla="*/ 65 h 145"/>
                <a:gd name="T54" fmla="*/ 410 w 502"/>
                <a:gd name="T55" fmla="*/ 44 h 145"/>
                <a:gd name="T56" fmla="*/ 378 w 502"/>
                <a:gd name="T57" fmla="*/ 27 h 145"/>
                <a:gd name="T58" fmla="*/ 343 w 502"/>
                <a:gd name="T59" fmla="*/ 14 h 145"/>
                <a:gd name="T60" fmla="*/ 308 w 502"/>
                <a:gd name="T61" fmla="*/ 5 h 145"/>
                <a:gd name="T62" fmla="*/ 270 w 502"/>
                <a:gd name="T63" fmla="*/ 0 h 145"/>
                <a:gd name="T64" fmla="*/ 252 w 502"/>
                <a:gd name="T6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2" h="145">
                  <a:moveTo>
                    <a:pt x="252" y="0"/>
                  </a:moveTo>
                  <a:lnTo>
                    <a:pt x="252" y="0"/>
                  </a:lnTo>
                  <a:lnTo>
                    <a:pt x="233" y="0"/>
                  </a:lnTo>
                  <a:lnTo>
                    <a:pt x="213" y="2"/>
                  </a:lnTo>
                  <a:lnTo>
                    <a:pt x="195" y="5"/>
                  </a:lnTo>
                  <a:lnTo>
                    <a:pt x="177" y="9"/>
                  </a:lnTo>
                  <a:lnTo>
                    <a:pt x="158" y="14"/>
                  </a:lnTo>
                  <a:lnTo>
                    <a:pt x="141" y="21"/>
                  </a:lnTo>
                  <a:lnTo>
                    <a:pt x="124" y="27"/>
                  </a:lnTo>
                  <a:lnTo>
                    <a:pt x="109" y="36"/>
                  </a:lnTo>
                  <a:lnTo>
                    <a:pt x="92" y="44"/>
                  </a:lnTo>
                  <a:lnTo>
                    <a:pt x="76" y="55"/>
                  </a:lnTo>
                  <a:lnTo>
                    <a:pt x="63" y="65"/>
                  </a:lnTo>
                  <a:lnTo>
                    <a:pt x="49" y="77"/>
                  </a:lnTo>
                  <a:lnTo>
                    <a:pt x="36" y="89"/>
                  </a:lnTo>
                  <a:lnTo>
                    <a:pt x="24" y="102"/>
                  </a:lnTo>
                  <a:lnTo>
                    <a:pt x="12" y="116"/>
                  </a:lnTo>
                  <a:lnTo>
                    <a:pt x="0" y="131"/>
                  </a:lnTo>
                  <a:lnTo>
                    <a:pt x="13" y="145"/>
                  </a:lnTo>
                  <a:lnTo>
                    <a:pt x="13" y="145"/>
                  </a:lnTo>
                  <a:lnTo>
                    <a:pt x="36" y="118"/>
                  </a:lnTo>
                  <a:lnTo>
                    <a:pt x="59" y="92"/>
                  </a:lnTo>
                  <a:lnTo>
                    <a:pt x="87" y="72"/>
                  </a:lnTo>
                  <a:lnTo>
                    <a:pt x="100" y="62"/>
                  </a:lnTo>
                  <a:lnTo>
                    <a:pt x="116" y="53"/>
                  </a:lnTo>
                  <a:lnTo>
                    <a:pt x="131" y="44"/>
                  </a:lnTo>
                  <a:lnTo>
                    <a:pt x="146" y="38"/>
                  </a:lnTo>
                  <a:lnTo>
                    <a:pt x="163" y="33"/>
                  </a:lnTo>
                  <a:lnTo>
                    <a:pt x="180" y="27"/>
                  </a:lnTo>
                  <a:lnTo>
                    <a:pt x="197" y="24"/>
                  </a:lnTo>
                  <a:lnTo>
                    <a:pt x="216" y="21"/>
                  </a:lnTo>
                  <a:lnTo>
                    <a:pt x="233" y="19"/>
                  </a:lnTo>
                  <a:lnTo>
                    <a:pt x="252" y="19"/>
                  </a:lnTo>
                  <a:lnTo>
                    <a:pt x="252" y="19"/>
                  </a:lnTo>
                  <a:lnTo>
                    <a:pt x="270" y="19"/>
                  </a:lnTo>
                  <a:lnTo>
                    <a:pt x="287" y="21"/>
                  </a:lnTo>
                  <a:lnTo>
                    <a:pt x="306" y="24"/>
                  </a:lnTo>
                  <a:lnTo>
                    <a:pt x="323" y="27"/>
                  </a:lnTo>
                  <a:lnTo>
                    <a:pt x="340" y="33"/>
                  </a:lnTo>
                  <a:lnTo>
                    <a:pt x="355" y="38"/>
                  </a:lnTo>
                  <a:lnTo>
                    <a:pt x="372" y="44"/>
                  </a:lnTo>
                  <a:lnTo>
                    <a:pt x="388" y="53"/>
                  </a:lnTo>
                  <a:lnTo>
                    <a:pt x="401" y="62"/>
                  </a:lnTo>
                  <a:lnTo>
                    <a:pt x="417" y="70"/>
                  </a:lnTo>
                  <a:lnTo>
                    <a:pt x="444" y="92"/>
                  </a:lnTo>
                  <a:lnTo>
                    <a:pt x="468" y="116"/>
                  </a:lnTo>
                  <a:lnTo>
                    <a:pt x="488" y="143"/>
                  </a:lnTo>
                  <a:lnTo>
                    <a:pt x="502" y="130"/>
                  </a:lnTo>
                  <a:lnTo>
                    <a:pt x="502" y="130"/>
                  </a:lnTo>
                  <a:lnTo>
                    <a:pt x="491" y="116"/>
                  </a:lnTo>
                  <a:lnTo>
                    <a:pt x="480" y="102"/>
                  </a:lnTo>
                  <a:lnTo>
                    <a:pt x="468" y="89"/>
                  </a:lnTo>
                  <a:lnTo>
                    <a:pt x="454" y="77"/>
                  </a:lnTo>
                  <a:lnTo>
                    <a:pt x="440" y="65"/>
                  </a:lnTo>
                  <a:lnTo>
                    <a:pt x="425" y="55"/>
                  </a:lnTo>
                  <a:lnTo>
                    <a:pt x="410" y="44"/>
                  </a:lnTo>
                  <a:lnTo>
                    <a:pt x="395" y="36"/>
                  </a:lnTo>
                  <a:lnTo>
                    <a:pt x="378" y="27"/>
                  </a:lnTo>
                  <a:lnTo>
                    <a:pt x="362" y="21"/>
                  </a:lnTo>
                  <a:lnTo>
                    <a:pt x="343" y="14"/>
                  </a:lnTo>
                  <a:lnTo>
                    <a:pt x="326" y="9"/>
                  </a:lnTo>
                  <a:lnTo>
                    <a:pt x="308" y="5"/>
                  </a:lnTo>
                  <a:lnTo>
                    <a:pt x="289" y="2"/>
                  </a:lnTo>
                  <a:lnTo>
                    <a:pt x="270" y="0"/>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4">
              <a:extLst>
                <a:ext uri="{FF2B5EF4-FFF2-40B4-BE49-F238E27FC236}">
                  <a16:creationId xmlns:a16="http://schemas.microsoft.com/office/drawing/2014/main" id="{909B48B2-486F-4520-8D0C-294354BCC471}"/>
                </a:ext>
              </a:extLst>
            </p:cNvPr>
            <p:cNvSpPr>
              <a:spLocks/>
            </p:cNvSpPr>
            <p:nvPr/>
          </p:nvSpPr>
          <p:spPr bwMode="auto">
            <a:xfrm>
              <a:off x="8307388" y="3041650"/>
              <a:ext cx="627063" cy="195263"/>
            </a:xfrm>
            <a:custGeom>
              <a:avLst/>
              <a:gdLst>
                <a:gd name="T0" fmla="*/ 198 w 395"/>
                <a:gd name="T1" fmla="*/ 0 h 123"/>
                <a:gd name="T2" fmla="*/ 198 w 395"/>
                <a:gd name="T3" fmla="*/ 0 h 123"/>
                <a:gd name="T4" fmla="*/ 182 w 395"/>
                <a:gd name="T5" fmla="*/ 0 h 123"/>
                <a:gd name="T6" fmla="*/ 167 w 395"/>
                <a:gd name="T7" fmla="*/ 2 h 123"/>
                <a:gd name="T8" fmla="*/ 138 w 395"/>
                <a:gd name="T9" fmla="*/ 7 h 123"/>
                <a:gd name="T10" fmla="*/ 109 w 395"/>
                <a:gd name="T11" fmla="*/ 17 h 123"/>
                <a:gd name="T12" fmla="*/ 84 w 395"/>
                <a:gd name="T13" fmla="*/ 29 h 123"/>
                <a:gd name="T14" fmla="*/ 58 w 395"/>
                <a:gd name="T15" fmla="*/ 46 h 123"/>
                <a:gd name="T16" fmla="*/ 36 w 395"/>
                <a:gd name="T17" fmla="*/ 65 h 123"/>
                <a:gd name="T18" fmla="*/ 17 w 395"/>
                <a:gd name="T19" fmla="*/ 85 h 123"/>
                <a:gd name="T20" fmla="*/ 0 w 395"/>
                <a:gd name="T21" fmla="*/ 109 h 123"/>
                <a:gd name="T22" fmla="*/ 14 w 395"/>
                <a:gd name="T23" fmla="*/ 123 h 123"/>
                <a:gd name="T24" fmla="*/ 14 w 395"/>
                <a:gd name="T25" fmla="*/ 123 h 123"/>
                <a:gd name="T26" fmla="*/ 29 w 395"/>
                <a:gd name="T27" fmla="*/ 100 h 123"/>
                <a:gd name="T28" fmla="*/ 48 w 395"/>
                <a:gd name="T29" fmla="*/ 80 h 123"/>
                <a:gd name="T30" fmla="*/ 68 w 395"/>
                <a:gd name="T31" fmla="*/ 61 h 123"/>
                <a:gd name="T32" fmla="*/ 90 w 395"/>
                <a:gd name="T33" fmla="*/ 48 h 123"/>
                <a:gd name="T34" fmla="*/ 114 w 395"/>
                <a:gd name="T35" fmla="*/ 34 h 123"/>
                <a:gd name="T36" fmla="*/ 141 w 395"/>
                <a:gd name="T37" fmla="*/ 26 h 123"/>
                <a:gd name="T38" fmla="*/ 169 w 395"/>
                <a:gd name="T39" fmla="*/ 21 h 123"/>
                <a:gd name="T40" fmla="*/ 198 w 395"/>
                <a:gd name="T41" fmla="*/ 17 h 123"/>
                <a:gd name="T42" fmla="*/ 198 w 395"/>
                <a:gd name="T43" fmla="*/ 17 h 123"/>
                <a:gd name="T44" fmla="*/ 227 w 395"/>
                <a:gd name="T45" fmla="*/ 21 h 123"/>
                <a:gd name="T46" fmla="*/ 254 w 395"/>
                <a:gd name="T47" fmla="*/ 26 h 123"/>
                <a:gd name="T48" fmla="*/ 279 w 395"/>
                <a:gd name="T49" fmla="*/ 34 h 123"/>
                <a:gd name="T50" fmla="*/ 305 w 395"/>
                <a:gd name="T51" fmla="*/ 46 h 123"/>
                <a:gd name="T52" fmla="*/ 327 w 395"/>
                <a:gd name="T53" fmla="*/ 61 h 123"/>
                <a:gd name="T54" fmla="*/ 347 w 395"/>
                <a:gd name="T55" fmla="*/ 80 h 123"/>
                <a:gd name="T56" fmla="*/ 366 w 395"/>
                <a:gd name="T57" fmla="*/ 99 h 123"/>
                <a:gd name="T58" fmla="*/ 381 w 395"/>
                <a:gd name="T59" fmla="*/ 123 h 123"/>
                <a:gd name="T60" fmla="*/ 395 w 395"/>
                <a:gd name="T61" fmla="*/ 109 h 123"/>
                <a:gd name="T62" fmla="*/ 395 w 395"/>
                <a:gd name="T63" fmla="*/ 109 h 123"/>
                <a:gd name="T64" fmla="*/ 378 w 395"/>
                <a:gd name="T65" fmla="*/ 85 h 123"/>
                <a:gd name="T66" fmla="*/ 358 w 395"/>
                <a:gd name="T67" fmla="*/ 63 h 123"/>
                <a:gd name="T68" fmla="*/ 335 w 395"/>
                <a:gd name="T69" fmla="*/ 44 h 123"/>
                <a:gd name="T70" fmla="*/ 312 w 395"/>
                <a:gd name="T71" fmla="*/ 29 h 123"/>
                <a:gd name="T72" fmla="*/ 286 w 395"/>
                <a:gd name="T73" fmla="*/ 17 h 123"/>
                <a:gd name="T74" fmla="*/ 257 w 395"/>
                <a:gd name="T75" fmla="*/ 7 h 123"/>
                <a:gd name="T76" fmla="*/ 228 w 395"/>
                <a:gd name="T77" fmla="*/ 2 h 123"/>
                <a:gd name="T78" fmla="*/ 198 w 395"/>
                <a:gd name="T79" fmla="*/ 0 h 123"/>
                <a:gd name="T80" fmla="*/ 198 w 395"/>
                <a:gd name="T8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5" h="123">
                  <a:moveTo>
                    <a:pt x="198" y="0"/>
                  </a:moveTo>
                  <a:lnTo>
                    <a:pt x="198" y="0"/>
                  </a:lnTo>
                  <a:lnTo>
                    <a:pt x="182" y="0"/>
                  </a:lnTo>
                  <a:lnTo>
                    <a:pt x="167" y="2"/>
                  </a:lnTo>
                  <a:lnTo>
                    <a:pt x="138" y="7"/>
                  </a:lnTo>
                  <a:lnTo>
                    <a:pt x="109" y="17"/>
                  </a:lnTo>
                  <a:lnTo>
                    <a:pt x="84" y="29"/>
                  </a:lnTo>
                  <a:lnTo>
                    <a:pt x="58" y="46"/>
                  </a:lnTo>
                  <a:lnTo>
                    <a:pt x="36" y="65"/>
                  </a:lnTo>
                  <a:lnTo>
                    <a:pt x="17" y="85"/>
                  </a:lnTo>
                  <a:lnTo>
                    <a:pt x="0" y="109"/>
                  </a:lnTo>
                  <a:lnTo>
                    <a:pt x="14" y="123"/>
                  </a:lnTo>
                  <a:lnTo>
                    <a:pt x="14" y="123"/>
                  </a:lnTo>
                  <a:lnTo>
                    <a:pt x="29" y="100"/>
                  </a:lnTo>
                  <a:lnTo>
                    <a:pt x="48" y="80"/>
                  </a:lnTo>
                  <a:lnTo>
                    <a:pt x="68" y="61"/>
                  </a:lnTo>
                  <a:lnTo>
                    <a:pt x="90" y="48"/>
                  </a:lnTo>
                  <a:lnTo>
                    <a:pt x="114" y="34"/>
                  </a:lnTo>
                  <a:lnTo>
                    <a:pt x="141" y="26"/>
                  </a:lnTo>
                  <a:lnTo>
                    <a:pt x="169" y="21"/>
                  </a:lnTo>
                  <a:lnTo>
                    <a:pt x="198" y="17"/>
                  </a:lnTo>
                  <a:lnTo>
                    <a:pt x="198" y="17"/>
                  </a:lnTo>
                  <a:lnTo>
                    <a:pt x="227" y="21"/>
                  </a:lnTo>
                  <a:lnTo>
                    <a:pt x="254" y="26"/>
                  </a:lnTo>
                  <a:lnTo>
                    <a:pt x="279" y="34"/>
                  </a:lnTo>
                  <a:lnTo>
                    <a:pt x="305" y="46"/>
                  </a:lnTo>
                  <a:lnTo>
                    <a:pt x="327" y="61"/>
                  </a:lnTo>
                  <a:lnTo>
                    <a:pt x="347" y="80"/>
                  </a:lnTo>
                  <a:lnTo>
                    <a:pt x="366" y="99"/>
                  </a:lnTo>
                  <a:lnTo>
                    <a:pt x="381" y="123"/>
                  </a:lnTo>
                  <a:lnTo>
                    <a:pt x="395" y="109"/>
                  </a:lnTo>
                  <a:lnTo>
                    <a:pt x="395" y="109"/>
                  </a:lnTo>
                  <a:lnTo>
                    <a:pt x="378" y="85"/>
                  </a:lnTo>
                  <a:lnTo>
                    <a:pt x="358" y="63"/>
                  </a:lnTo>
                  <a:lnTo>
                    <a:pt x="335" y="44"/>
                  </a:lnTo>
                  <a:lnTo>
                    <a:pt x="312" y="29"/>
                  </a:lnTo>
                  <a:lnTo>
                    <a:pt x="286" y="17"/>
                  </a:lnTo>
                  <a:lnTo>
                    <a:pt x="257" y="7"/>
                  </a:lnTo>
                  <a:lnTo>
                    <a:pt x="228" y="2"/>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0" name="Group 54">
            <a:extLst>
              <a:ext uri="{FF2B5EF4-FFF2-40B4-BE49-F238E27FC236}">
                <a16:creationId xmlns:a16="http://schemas.microsoft.com/office/drawing/2014/main" id="{36D80E38-20E2-44B3-A84F-9CFA9AAA7E5B}"/>
              </a:ext>
            </a:extLst>
          </p:cNvPr>
          <p:cNvGrpSpPr>
            <a:grpSpLocks noChangeAspect="1"/>
          </p:cNvGrpSpPr>
          <p:nvPr/>
        </p:nvGrpSpPr>
        <p:grpSpPr>
          <a:xfrm>
            <a:off x="2724708" y="3263616"/>
            <a:ext cx="308350" cy="306116"/>
            <a:chOff x="7045325" y="2544763"/>
            <a:chExt cx="219075" cy="217488"/>
          </a:xfrm>
          <a:solidFill>
            <a:schemeClr val="bg2"/>
          </a:solidFill>
          <a:effectLst/>
        </p:grpSpPr>
        <p:sp>
          <p:nvSpPr>
            <p:cNvPr id="631" name="Freeform 174">
              <a:extLst>
                <a:ext uri="{FF2B5EF4-FFF2-40B4-BE49-F238E27FC236}">
                  <a16:creationId xmlns:a16="http://schemas.microsoft.com/office/drawing/2014/main" id="{ADDE1334-0CD5-45F0-A641-3AF188DB3C65}"/>
                </a:ext>
              </a:extLst>
            </p:cNvPr>
            <p:cNvSpPr>
              <a:spLocks/>
            </p:cNvSpPr>
            <p:nvPr/>
          </p:nvSpPr>
          <p:spPr bwMode="auto">
            <a:xfrm>
              <a:off x="7045325" y="2614613"/>
              <a:ext cx="133350" cy="147638"/>
            </a:xfrm>
            <a:custGeom>
              <a:avLst/>
              <a:gdLst>
                <a:gd name="T0" fmla="*/ 237 w 422"/>
                <a:gd name="T1" fmla="*/ 402 h 465"/>
                <a:gd name="T2" fmla="*/ 206 w 422"/>
                <a:gd name="T3" fmla="*/ 422 h 465"/>
                <a:gd name="T4" fmla="*/ 172 w 422"/>
                <a:gd name="T5" fmla="*/ 433 h 465"/>
                <a:gd name="T6" fmla="*/ 141 w 422"/>
                <a:gd name="T7" fmla="*/ 434 h 465"/>
                <a:gd name="T8" fmla="*/ 113 w 422"/>
                <a:gd name="T9" fmla="*/ 424 h 465"/>
                <a:gd name="T10" fmla="*/ 88 w 422"/>
                <a:gd name="T11" fmla="*/ 407 h 465"/>
                <a:gd name="T12" fmla="*/ 47 w 422"/>
                <a:gd name="T13" fmla="*/ 362 h 465"/>
                <a:gd name="T14" fmla="*/ 34 w 422"/>
                <a:gd name="T15" fmla="*/ 334 h 465"/>
                <a:gd name="T16" fmla="*/ 30 w 422"/>
                <a:gd name="T17" fmla="*/ 306 h 465"/>
                <a:gd name="T18" fmla="*/ 34 w 422"/>
                <a:gd name="T19" fmla="*/ 277 h 465"/>
                <a:gd name="T20" fmla="*/ 47 w 422"/>
                <a:gd name="T21" fmla="*/ 250 h 465"/>
                <a:gd name="T22" fmla="*/ 223 w 422"/>
                <a:gd name="T23" fmla="*/ 69 h 465"/>
                <a:gd name="T24" fmla="*/ 255 w 422"/>
                <a:gd name="T25" fmla="*/ 44 h 465"/>
                <a:gd name="T26" fmla="*/ 288 w 422"/>
                <a:gd name="T27" fmla="*/ 32 h 465"/>
                <a:gd name="T28" fmla="*/ 322 w 422"/>
                <a:gd name="T29" fmla="*/ 32 h 465"/>
                <a:gd name="T30" fmla="*/ 355 w 422"/>
                <a:gd name="T31" fmla="*/ 46 h 465"/>
                <a:gd name="T32" fmla="*/ 386 w 422"/>
                <a:gd name="T33" fmla="*/ 71 h 465"/>
                <a:gd name="T34" fmla="*/ 400 w 422"/>
                <a:gd name="T35" fmla="*/ 87 h 465"/>
                <a:gd name="T36" fmla="*/ 407 w 422"/>
                <a:gd name="T37" fmla="*/ 90 h 465"/>
                <a:gd name="T38" fmla="*/ 416 w 422"/>
                <a:gd name="T39" fmla="*/ 86 h 465"/>
                <a:gd name="T40" fmla="*/ 421 w 422"/>
                <a:gd name="T41" fmla="*/ 79 h 465"/>
                <a:gd name="T42" fmla="*/ 421 w 422"/>
                <a:gd name="T43" fmla="*/ 70 h 465"/>
                <a:gd name="T44" fmla="*/ 407 w 422"/>
                <a:gd name="T45" fmla="*/ 51 h 465"/>
                <a:gd name="T46" fmla="*/ 370 w 422"/>
                <a:gd name="T47" fmla="*/ 19 h 465"/>
                <a:gd name="T48" fmla="*/ 327 w 422"/>
                <a:gd name="T49" fmla="*/ 2 h 465"/>
                <a:gd name="T50" fmla="*/ 284 w 422"/>
                <a:gd name="T51" fmla="*/ 2 h 465"/>
                <a:gd name="T52" fmla="*/ 242 w 422"/>
                <a:gd name="T53" fmla="*/ 18 h 465"/>
                <a:gd name="T54" fmla="*/ 202 w 422"/>
                <a:gd name="T55" fmla="*/ 49 h 465"/>
                <a:gd name="T56" fmla="*/ 21 w 422"/>
                <a:gd name="T57" fmla="*/ 233 h 465"/>
                <a:gd name="T58" fmla="*/ 5 w 422"/>
                <a:gd name="T59" fmla="*/ 268 h 465"/>
                <a:gd name="T60" fmla="*/ 0 w 422"/>
                <a:gd name="T61" fmla="*/ 306 h 465"/>
                <a:gd name="T62" fmla="*/ 5 w 422"/>
                <a:gd name="T63" fmla="*/ 343 h 465"/>
                <a:gd name="T64" fmla="*/ 21 w 422"/>
                <a:gd name="T65" fmla="*/ 378 h 465"/>
                <a:gd name="T66" fmla="*/ 67 w 422"/>
                <a:gd name="T67" fmla="*/ 429 h 465"/>
                <a:gd name="T68" fmla="*/ 97 w 422"/>
                <a:gd name="T69" fmla="*/ 450 h 465"/>
                <a:gd name="T70" fmla="*/ 131 w 422"/>
                <a:gd name="T71" fmla="*/ 462 h 465"/>
                <a:gd name="T72" fmla="*/ 159 w 422"/>
                <a:gd name="T73" fmla="*/ 464 h 465"/>
                <a:gd name="T74" fmla="*/ 191 w 422"/>
                <a:gd name="T75" fmla="*/ 460 h 465"/>
                <a:gd name="T76" fmla="*/ 231 w 422"/>
                <a:gd name="T77" fmla="*/ 442 h 465"/>
                <a:gd name="T78" fmla="*/ 268 w 422"/>
                <a:gd name="T79" fmla="*/ 414 h 465"/>
                <a:gd name="T80" fmla="*/ 391 w 422"/>
                <a:gd name="T81" fmla="*/ 288 h 465"/>
                <a:gd name="T82" fmla="*/ 391 w 422"/>
                <a:gd name="T83" fmla="*/ 281 h 465"/>
                <a:gd name="T84" fmla="*/ 388 w 422"/>
                <a:gd name="T85" fmla="*/ 272 h 465"/>
                <a:gd name="T86" fmla="*/ 379 w 422"/>
                <a:gd name="T87" fmla="*/ 268 h 465"/>
                <a:gd name="T88" fmla="*/ 371 w 422"/>
                <a:gd name="T89" fmla="*/ 26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2" h="465">
                  <a:moveTo>
                    <a:pt x="367" y="272"/>
                  </a:moveTo>
                  <a:lnTo>
                    <a:pt x="247" y="392"/>
                  </a:lnTo>
                  <a:lnTo>
                    <a:pt x="237" y="402"/>
                  </a:lnTo>
                  <a:lnTo>
                    <a:pt x="226" y="409"/>
                  </a:lnTo>
                  <a:lnTo>
                    <a:pt x="217" y="417"/>
                  </a:lnTo>
                  <a:lnTo>
                    <a:pt x="206" y="422"/>
                  </a:lnTo>
                  <a:lnTo>
                    <a:pt x="194" y="427"/>
                  </a:lnTo>
                  <a:lnTo>
                    <a:pt x="184" y="431"/>
                  </a:lnTo>
                  <a:lnTo>
                    <a:pt x="172" y="433"/>
                  </a:lnTo>
                  <a:lnTo>
                    <a:pt x="161" y="434"/>
                  </a:lnTo>
                  <a:lnTo>
                    <a:pt x="150" y="434"/>
                  </a:lnTo>
                  <a:lnTo>
                    <a:pt x="141" y="434"/>
                  </a:lnTo>
                  <a:lnTo>
                    <a:pt x="131" y="432"/>
                  </a:lnTo>
                  <a:lnTo>
                    <a:pt x="122" y="429"/>
                  </a:lnTo>
                  <a:lnTo>
                    <a:pt x="113" y="424"/>
                  </a:lnTo>
                  <a:lnTo>
                    <a:pt x="104" y="420"/>
                  </a:lnTo>
                  <a:lnTo>
                    <a:pt x="96" y="414"/>
                  </a:lnTo>
                  <a:lnTo>
                    <a:pt x="88" y="407"/>
                  </a:lnTo>
                  <a:lnTo>
                    <a:pt x="58" y="377"/>
                  </a:lnTo>
                  <a:lnTo>
                    <a:pt x="52" y="370"/>
                  </a:lnTo>
                  <a:lnTo>
                    <a:pt x="47" y="362"/>
                  </a:lnTo>
                  <a:lnTo>
                    <a:pt x="41" y="354"/>
                  </a:lnTo>
                  <a:lnTo>
                    <a:pt x="37" y="344"/>
                  </a:lnTo>
                  <a:lnTo>
                    <a:pt x="34" y="334"/>
                  </a:lnTo>
                  <a:lnTo>
                    <a:pt x="32" y="325"/>
                  </a:lnTo>
                  <a:lnTo>
                    <a:pt x="31" y="315"/>
                  </a:lnTo>
                  <a:lnTo>
                    <a:pt x="30" y="306"/>
                  </a:lnTo>
                  <a:lnTo>
                    <a:pt x="31" y="296"/>
                  </a:lnTo>
                  <a:lnTo>
                    <a:pt x="32" y="286"/>
                  </a:lnTo>
                  <a:lnTo>
                    <a:pt x="34" y="277"/>
                  </a:lnTo>
                  <a:lnTo>
                    <a:pt x="37" y="267"/>
                  </a:lnTo>
                  <a:lnTo>
                    <a:pt x="41" y="258"/>
                  </a:lnTo>
                  <a:lnTo>
                    <a:pt x="47" y="250"/>
                  </a:lnTo>
                  <a:lnTo>
                    <a:pt x="52" y="241"/>
                  </a:lnTo>
                  <a:lnTo>
                    <a:pt x="58" y="234"/>
                  </a:lnTo>
                  <a:lnTo>
                    <a:pt x="223" y="69"/>
                  </a:lnTo>
                  <a:lnTo>
                    <a:pt x="234" y="60"/>
                  </a:lnTo>
                  <a:lnTo>
                    <a:pt x="245" y="51"/>
                  </a:lnTo>
                  <a:lnTo>
                    <a:pt x="255" y="44"/>
                  </a:lnTo>
                  <a:lnTo>
                    <a:pt x="266" y="38"/>
                  </a:lnTo>
                  <a:lnTo>
                    <a:pt x="278" y="34"/>
                  </a:lnTo>
                  <a:lnTo>
                    <a:pt x="288" y="32"/>
                  </a:lnTo>
                  <a:lnTo>
                    <a:pt x="299" y="30"/>
                  </a:lnTo>
                  <a:lnTo>
                    <a:pt x="311" y="30"/>
                  </a:lnTo>
                  <a:lnTo>
                    <a:pt x="322" y="32"/>
                  </a:lnTo>
                  <a:lnTo>
                    <a:pt x="333" y="35"/>
                  </a:lnTo>
                  <a:lnTo>
                    <a:pt x="344" y="39"/>
                  </a:lnTo>
                  <a:lnTo>
                    <a:pt x="355" y="46"/>
                  </a:lnTo>
                  <a:lnTo>
                    <a:pt x="365" y="53"/>
                  </a:lnTo>
                  <a:lnTo>
                    <a:pt x="376" y="62"/>
                  </a:lnTo>
                  <a:lnTo>
                    <a:pt x="386" y="71"/>
                  </a:lnTo>
                  <a:lnTo>
                    <a:pt x="394" y="83"/>
                  </a:lnTo>
                  <a:lnTo>
                    <a:pt x="397" y="85"/>
                  </a:lnTo>
                  <a:lnTo>
                    <a:pt x="400" y="87"/>
                  </a:lnTo>
                  <a:lnTo>
                    <a:pt x="402" y="88"/>
                  </a:lnTo>
                  <a:lnTo>
                    <a:pt x="405" y="88"/>
                  </a:lnTo>
                  <a:lnTo>
                    <a:pt x="407" y="90"/>
                  </a:lnTo>
                  <a:lnTo>
                    <a:pt x="410" y="88"/>
                  </a:lnTo>
                  <a:lnTo>
                    <a:pt x="414" y="87"/>
                  </a:lnTo>
                  <a:lnTo>
                    <a:pt x="416" y="86"/>
                  </a:lnTo>
                  <a:lnTo>
                    <a:pt x="418" y="84"/>
                  </a:lnTo>
                  <a:lnTo>
                    <a:pt x="420" y="82"/>
                  </a:lnTo>
                  <a:lnTo>
                    <a:pt x="421" y="79"/>
                  </a:lnTo>
                  <a:lnTo>
                    <a:pt x="422" y="77"/>
                  </a:lnTo>
                  <a:lnTo>
                    <a:pt x="422" y="74"/>
                  </a:lnTo>
                  <a:lnTo>
                    <a:pt x="421" y="70"/>
                  </a:lnTo>
                  <a:lnTo>
                    <a:pt x="420" y="68"/>
                  </a:lnTo>
                  <a:lnTo>
                    <a:pt x="419" y="65"/>
                  </a:lnTo>
                  <a:lnTo>
                    <a:pt x="407" y="51"/>
                  </a:lnTo>
                  <a:lnTo>
                    <a:pt x="395" y="39"/>
                  </a:lnTo>
                  <a:lnTo>
                    <a:pt x="383" y="29"/>
                  </a:lnTo>
                  <a:lnTo>
                    <a:pt x="370" y="19"/>
                  </a:lnTo>
                  <a:lnTo>
                    <a:pt x="356" y="11"/>
                  </a:lnTo>
                  <a:lnTo>
                    <a:pt x="342" y="6"/>
                  </a:lnTo>
                  <a:lnTo>
                    <a:pt x="327" y="2"/>
                  </a:lnTo>
                  <a:lnTo>
                    <a:pt x="313" y="0"/>
                  </a:lnTo>
                  <a:lnTo>
                    <a:pt x="298" y="0"/>
                  </a:lnTo>
                  <a:lnTo>
                    <a:pt x="284" y="2"/>
                  </a:lnTo>
                  <a:lnTo>
                    <a:pt x="270" y="5"/>
                  </a:lnTo>
                  <a:lnTo>
                    <a:pt x="256" y="10"/>
                  </a:lnTo>
                  <a:lnTo>
                    <a:pt x="242" y="18"/>
                  </a:lnTo>
                  <a:lnTo>
                    <a:pt x="229" y="26"/>
                  </a:lnTo>
                  <a:lnTo>
                    <a:pt x="215" y="36"/>
                  </a:lnTo>
                  <a:lnTo>
                    <a:pt x="202" y="49"/>
                  </a:lnTo>
                  <a:lnTo>
                    <a:pt x="37" y="213"/>
                  </a:lnTo>
                  <a:lnTo>
                    <a:pt x="29" y="223"/>
                  </a:lnTo>
                  <a:lnTo>
                    <a:pt x="21" y="233"/>
                  </a:lnTo>
                  <a:lnTo>
                    <a:pt x="15" y="245"/>
                  </a:lnTo>
                  <a:lnTo>
                    <a:pt x="9" y="256"/>
                  </a:lnTo>
                  <a:lnTo>
                    <a:pt x="5" y="268"/>
                  </a:lnTo>
                  <a:lnTo>
                    <a:pt x="2" y="281"/>
                  </a:lnTo>
                  <a:lnTo>
                    <a:pt x="1" y="293"/>
                  </a:lnTo>
                  <a:lnTo>
                    <a:pt x="0" y="306"/>
                  </a:lnTo>
                  <a:lnTo>
                    <a:pt x="1" y="318"/>
                  </a:lnTo>
                  <a:lnTo>
                    <a:pt x="2" y="331"/>
                  </a:lnTo>
                  <a:lnTo>
                    <a:pt x="5" y="343"/>
                  </a:lnTo>
                  <a:lnTo>
                    <a:pt x="9" y="356"/>
                  </a:lnTo>
                  <a:lnTo>
                    <a:pt x="15" y="366"/>
                  </a:lnTo>
                  <a:lnTo>
                    <a:pt x="21" y="378"/>
                  </a:lnTo>
                  <a:lnTo>
                    <a:pt x="29" y="389"/>
                  </a:lnTo>
                  <a:lnTo>
                    <a:pt x="37" y="399"/>
                  </a:lnTo>
                  <a:lnTo>
                    <a:pt x="67" y="429"/>
                  </a:lnTo>
                  <a:lnTo>
                    <a:pt x="77" y="436"/>
                  </a:lnTo>
                  <a:lnTo>
                    <a:pt x="86" y="443"/>
                  </a:lnTo>
                  <a:lnTo>
                    <a:pt x="97" y="450"/>
                  </a:lnTo>
                  <a:lnTo>
                    <a:pt x="108" y="455"/>
                  </a:lnTo>
                  <a:lnTo>
                    <a:pt x="119" y="460"/>
                  </a:lnTo>
                  <a:lnTo>
                    <a:pt x="131" y="462"/>
                  </a:lnTo>
                  <a:lnTo>
                    <a:pt x="143" y="464"/>
                  </a:lnTo>
                  <a:lnTo>
                    <a:pt x="155" y="465"/>
                  </a:lnTo>
                  <a:lnTo>
                    <a:pt x="159" y="464"/>
                  </a:lnTo>
                  <a:lnTo>
                    <a:pt x="162" y="464"/>
                  </a:lnTo>
                  <a:lnTo>
                    <a:pt x="177" y="463"/>
                  </a:lnTo>
                  <a:lnTo>
                    <a:pt x="191" y="460"/>
                  </a:lnTo>
                  <a:lnTo>
                    <a:pt x="204" y="455"/>
                  </a:lnTo>
                  <a:lnTo>
                    <a:pt x="218" y="450"/>
                  </a:lnTo>
                  <a:lnTo>
                    <a:pt x="231" y="442"/>
                  </a:lnTo>
                  <a:lnTo>
                    <a:pt x="244" y="434"/>
                  </a:lnTo>
                  <a:lnTo>
                    <a:pt x="256" y="424"/>
                  </a:lnTo>
                  <a:lnTo>
                    <a:pt x="268" y="414"/>
                  </a:lnTo>
                  <a:lnTo>
                    <a:pt x="388" y="294"/>
                  </a:lnTo>
                  <a:lnTo>
                    <a:pt x="389" y="292"/>
                  </a:lnTo>
                  <a:lnTo>
                    <a:pt x="391" y="288"/>
                  </a:lnTo>
                  <a:lnTo>
                    <a:pt x="391" y="286"/>
                  </a:lnTo>
                  <a:lnTo>
                    <a:pt x="392" y="283"/>
                  </a:lnTo>
                  <a:lnTo>
                    <a:pt x="391" y="281"/>
                  </a:lnTo>
                  <a:lnTo>
                    <a:pt x="391" y="278"/>
                  </a:lnTo>
                  <a:lnTo>
                    <a:pt x="389" y="275"/>
                  </a:lnTo>
                  <a:lnTo>
                    <a:pt x="388" y="272"/>
                  </a:lnTo>
                  <a:lnTo>
                    <a:pt x="385" y="270"/>
                  </a:lnTo>
                  <a:lnTo>
                    <a:pt x="383" y="269"/>
                  </a:lnTo>
                  <a:lnTo>
                    <a:pt x="379" y="268"/>
                  </a:lnTo>
                  <a:lnTo>
                    <a:pt x="377" y="268"/>
                  </a:lnTo>
                  <a:lnTo>
                    <a:pt x="374" y="268"/>
                  </a:lnTo>
                  <a:lnTo>
                    <a:pt x="371" y="269"/>
                  </a:lnTo>
                  <a:lnTo>
                    <a:pt x="369" y="270"/>
                  </a:lnTo>
                  <a:lnTo>
                    <a:pt x="36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2" name="Freeform 175">
              <a:extLst>
                <a:ext uri="{FF2B5EF4-FFF2-40B4-BE49-F238E27FC236}">
                  <a16:creationId xmlns:a16="http://schemas.microsoft.com/office/drawing/2014/main" id="{39548592-163C-44B0-8914-17DC2FDEC62D}"/>
                </a:ext>
              </a:extLst>
            </p:cNvPr>
            <p:cNvSpPr>
              <a:spLocks/>
            </p:cNvSpPr>
            <p:nvPr/>
          </p:nvSpPr>
          <p:spPr bwMode="auto">
            <a:xfrm>
              <a:off x="7140575" y="2544763"/>
              <a:ext cx="123825" cy="146050"/>
            </a:xfrm>
            <a:custGeom>
              <a:avLst/>
              <a:gdLst>
                <a:gd name="T0" fmla="*/ 315 w 392"/>
                <a:gd name="T1" fmla="*/ 38 h 458"/>
                <a:gd name="T2" fmla="*/ 283 w 392"/>
                <a:gd name="T3" fmla="*/ 16 h 458"/>
                <a:gd name="T4" fmla="*/ 245 w 392"/>
                <a:gd name="T5" fmla="*/ 4 h 458"/>
                <a:gd name="T6" fmla="*/ 208 w 392"/>
                <a:gd name="T7" fmla="*/ 1 h 458"/>
                <a:gd name="T8" fmla="*/ 172 w 392"/>
                <a:gd name="T9" fmla="*/ 10 h 458"/>
                <a:gd name="T10" fmla="*/ 139 w 392"/>
                <a:gd name="T11" fmla="*/ 31 h 458"/>
                <a:gd name="T12" fmla="*/ 1 w 392"/>
                <a:gd name="T13" fmla="*/ 171 h 458"/>
                <a:gd name="T14" fmla="*/ 0 w 392"/>
                <a:gd name="T15" fmla="*/ 179 h 458"/>
                <a:gd name="T16" fmla="*/ 5 w 392"/>
                <a:gd name="T17" fmla="*/ 188 h 458"/>
                <a:gd name="T18" fmla="*/ 12 w 392"/>
                <a:gd name="T19" fmla="*/ 192 h 458"/>
                <a:gd name="T20" fmla="*/ 21 w 392"/>
                <a:gd name="T21" fmla="*/ 191 h 458"/>
                <a:gd name="T22" fmla="*/ 160 w 392"/>
                <a:gd name="T23" fmla="*/ 53 h 458"/>
                <a:gd name="T24" fmla="*/ 184 w 392"/>
                <a:gd name="T25" fmla="*/ 37 h 458"/>
                <a:gd name="T26" fmla="*/ 212 w 392"/>
                <a:gd name="T27" fmla="*/ 30 h 458"/>
                <a:gd name="T28" fmla="*/ 242 w 392"/>
                <a:gd name="T29" fmla="*/ 34 h 458"/>
                <a:gd name="T30" fmla="*/ 270 w 392"/>
                <a:gd name="T31" fmla="*/ 44 h 458"/>
                <a:gd name="T32" fmla="*/ 296 w 392"/>
                <a:gd name="T33" fmla="*/ 60 h 458"/>
                <a:gd name="T34" fmla="*/ 341 w 392"/>
                <a:gd name="T35" fmla="*/ 105 h 458"/>
                <a:gd name="T36" fmla="*/ 354 w 392"/>
                <a:gd name="T37" fmla="*/ 128 h 458"/>
                <a:gd name="T38" fmla="*/ 362 w 392"/>
                <a:gd name="T39" fmla="*/ 153 h 458"/>
                <a:gd name="T40" fmla="*/ 360 w 392"/>
                <a:gd name="T41" fmla="*/ 179 h 458"/>
                <a:gd name="T42" fmla="*/ 351 w 392"/>
                <a:gd name="T43" fmla="*/ 204 h 458"/>
                <a:gd name="T44" fmla="*/ 333 w 392"/>
                <a:gd name="T45" fmla="*/ 226 h 458"/>
                <a:gd name="T46" fmla="*/ 141 w 392"/>
                <a:gd name="T47" fmla="*/ 416 h 458"/>
                <a:gd name="T48" fmla="*/ 116 w 392"/>
                <a:gd name="T49" fmla="*/ 426 h 458"/>
                <a:gd name="T50" fmla="*/ 89 w 392"/>
                <a:gd name="T51" fmla="*/ 427 h 458"/>
                <a:gd name="T52" fmla="*/ 62 w 392"/>
                <a:gd name="T53" fmla="*/ 421 h 458"/>
                <a:gd name="T54" fmla="*/ 39 w 392"/>
                <a:gd name="T55" fmla="*/ 406 h 458"/>
                <a:gd name="T56" fmla="*/ 26 w 392"/>
                <a:gd name="T57" fmla="*/ 390 h 458"/>
                <a:gd name="T58" fmla="*/ 19 w 392"/>
                <a:gd name="T59" fmla="*/ 386 h 458"/>
                <a:gd name="T60" fmla="*/ 10 w 392"/>
                <a:gd name="T61" fmla="*/ 386 h 458"/>
                <a:gd name="T62" fmla="*/ 3 w 392"/>
                <a:gd name="T63" fmla="*/ 393 h 458"/>
                <a:gd name="T64" fmla="*/ 0 w 392"/>
                <a:gd name="T65" fmla="*/ 400 h 458"/>
                <a:gd name="T66" fmla="*/ 3 w 392"/>
                <a:gd name="T67" fmla="*/ 409 h 458"/>
                <a:gd name="T68" fmla="*/ 28 w 392"/>
                <a:gd name="T69" fmla="*/ 435 h 458"/>
                <a:gd name="T70" fmla="*/ 61 w 392"/>
                <a:gd name="T71" fmla="*/ 452 h 458"/>
                <a:gd name="T72" fmla="*/ 92 w 392"/>
                <a:gd name="T73" fmla="*/ 457 h 458"/>
                <a:gd name="T74" fmla="*/ 120 w 392"/>
                <a:gd name="T75" fmla="*/ 456 h 458"/>
                <a:gd name="T76" fmla="*/ 150 w 392"/>
                <a:gd name="T77" fmla="*/ 445 h 458"/>
                <a:gd name="T78" fmla="*/ 175 w 392"/>
                <a:gd name="T79" fmla="*/ 426 h 458"/>
                <a:gd name="T80" fmla="*/ 370 w 392"/>
                <a:gd name="T81" fmla="*/ 228 h 458"/>
                <a:gd name="T82" fmla="*/ 387 w 392"/>
                <a:gd name="T83" fmla="*/ 196 h 458"/>
                <a:gd name="T84" fmla="*/ 392 w 392"/>
                <a:gd name="T85" fmla="*/ 162 h 458"/>
                <a:gd name="T86" fmla="*/ 387 w 392"/>
                <a:gd name="T87" fmla="*/ 128 h 458"/>
                <a:gd name="T88" fmla="*/ 370 w 392"/>
                <a:gd name="T89" fmla="*/ 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 h="458">
                  <a:moveTo>
                    <a:pt x="354" y="76"/>
                  </a:moveTo>
                  <a:lnTo>
                    <a:pt x="324" y="46"/>
                  </a:lnTo>
                  <a:lnTo>
                    <a:pt x="315" y="38"/>
                  </a:lnTo>
                  <a:lnTo>
                    <a:pt x="305" y="30"/>
                  </a:lnTo>
                  <a:lnTo>
                    <a:pt x="293" y="23"/>
                  </a:lnTo>
                  <a:lnTo>
                    <a:pt x="283" y="16"/>
                  </a:lnTo>
                  <a:lnTo>
                    <a:pt x="270" y="11"/>
                  </a:lnTo>
                  <a:lnTo>
                    <a:pt x="258" y="7"/>
                  </a:lnTo>
                  <a:lnTo>
                    <a:pt x="245" y="4"/>
                  </a:lnTo>
                  <a:lnTo>
                    <a:pt x="232" y="1"/>
                  </a:lnTo>
                  <a:lnTo>
                    <a:pt x="220" y="0"/>
                  </a:lnTo>
                  <a:lnTo>
                    <a:pt x="208" y="1"/>
                  </a:lnTo>
                  <a:lnTo>
                    <a:pt x="195" y="3"/>
                  </a:lnTo>
                  <a:lnTo>
                    <a:pt x="183" y="6"/>
                  </a:lnTo>
                  <a:lnTo>
                    <a:pt x="172" y="10"/>
                  </a:lnTo>
                  <a:lnTo>
                    <a:pt x="160" y="15"/>
                  </a:lnTo>
                  <a:lnTo>
                    <a:pt x="149" y="23"/>
                  </a:lnTo>
                  <a:lnTo>
                    <a:pt x="139" y="31"/>
                  </a:lnTo>
                  <a:lnTo>
                    <a:pt x="5" y="166"/>
                  </a:lnTo>
                  <a:lnTo>
                    <a:pt x="3" y="168"/>
                  </a:lnTo>
                  <a:lnTo>
                    <a:pt x="1" y="171"/>
                  </a:lnTo>
                  <a:lnTo>
                    <a:pt x="0" y="174"/>
                  </a:lnTo>
                  <a:lnTo>
                    <a:pt x="0" y="177"/>
                  </a:lnTo>
                  <a:lnTo>
                    <a:pt x="0" y="179"/>
                  </a:lnTo>
                  <a:lnTo>
                    <a:pt x="1" y="182"/>
                  </a:lnTo>
                  <a:lnTo>
                    <a:pt x="3" y="184"/>
                  </a:lnTo>
                  <a:lnTo>
                    <a:pt x="5" y="188"/>
                  </a:lnTo>
                  <a:lnTo>
                    <a:pt x="7" y="189"/>
                  </a:lnTo>
                  <a:lnTo>
                    <a:pt x="10" y="191"/>
                  </a:lnTo>
                  <a:lnTo>
                    <a:pt x="12" y="192"/>
                  </a:lnTo>
                  <a:lnTo>
                    <a:pt x="15" y="192"/>
                  </a:lnTo>
                  <a:lnTo>
                    <a:pt x="19" y="192"/>
                  </a:lnTo>
                  <a:lnTo>
                    <a:pt x="21" y="191"/>
                  </a:lnTo>
                  <a:lnTo>
                    <a:pt x="24" y="189"/>
                  </a:lnTo>
                  <a:lnTo>
                    <a:pt x="26" y="188"/>
                  </a:lnTo>
                  <a:lnTo>
                    <a:pt x="160" y="53"/>
                  </a:lnTo>
                  <a:lnTo>
                    <a:pt x="167" y="46"/>
                  </a:lnTo>
                  <a:lnTo>
                    <a:pt x="176" y="41"/>
                  </a:lnTo>
                  <a:lnTo>
                    <a:pt x="184" y="37"/>
                  </a:lnTo>
                  <a:lnTo>
                    <a:pt x="193" y="34"/>
                  </a:lnTo>
                  <a:lnTo>
                    <a:pt x="203" y="31"/>
                  </a:lnTo>
                  <a:lnTo>
                    <a:pt x="212" y="30"/>
                  </a:lnTo>
                  <a:lnTo>
                    <a:pt x="222" y="30"/>
                  </a:lnTo>
                  <a:lnTo>
                    <a:pt x="231" y="31"/>
                  </a:lnTo>
                  <a:lnTo>
                    <a:pt x="242" y="34"/>
                  </a:lnTo>
                  <a:lnTo>
                    <a:pt x="252" y="36"/>
                  </a:lnTo>
                  <a:lnTo>
                    <a:pt x="261" y="40"/>
                  </a:lnTo>
                  <a:lnTo>
                    <a:pt x="270" y="44"/>
                  </a:lnTo>
                  <a:lnTo>
                    <a:pt x="280" y="48"/>
                  </a:lnTo>
                  <a:lnTo>
                    <a:pt x="288" y="55"/>
                  </a:lnTo>
                  <a:lnTo>
                    <a:pt x="296" y="60"/>
                  </a:lnTo>
                  <a:lnTo>
                    <a:pt x="303" y="68"/>
                  </a:lnTo>
                  <a:lnTo>
                    <a:pt x="333" y="98"/>
                  </a:lnTo>
                  <a:lnTo>
                    <a:pt x="341" y="105"/>
                  </a:lnTo>
                  <a:lnTo>
                    <a:pt x="346" y="113"/>
                  </a:lnTo>
                  <a:lnTo>
                    <a:pt x="351" y="120"/>
                  </a:lnTo>
                  <a:lnTo>
                    <a:pt x="354" y="128"/>
                  </a:lnTo>
                  <a:lnTo>
                    <a:pt x="358" y="136"/>
                  </a:lnTo>
                  <a:lnTo>
                    <a:pt x="360" y="145"/>
                  </a:lnTo>
                  <a:lnTo>
                    <a:pt x="362" y="153"/>
                  </a:lnTo>
                  <a:lnTo>
                    <a:pt x="362" y="162"/>
                  </a:lnTo>
                  <a:lnTo>
                    <a:pt x="362" y="170"/>
                  </a:lnTo>
                  <a:lnTo>
                    <a:pt x="360" y="179"/>
                  </a:lnTo>
                  <a:lnTo>
                    <a:pt x="358" y="188"/>
                  </a:lnTo>
                  <a:lnTo>
                    <a:pt x="354" y="195"/>
                  </a:lnTo>
                  <a:lnTo>
                    <a:pt x="351" y="204"/>
                  </a:lnTo>
                  <a:lnTo>
                    <a:pt x="346" y="211"/>
                  </a:lnTo>
                  <a:lnTo>
                    <a:pt x="341" y="219"/>
                  </a:lnTo>
                  <a:lnTo>
                    <a:pt x="333" y="226"/>
                  </a:lnTo>
                  <a:lnTo>
                    <a:pt x="154" y="405"/>
                  </a:lnTo>
                  <a:lnTo>
                    <a:pt x="148" y="411"/>
                  </a:lnTo>
                  <a:lnTo>
                    <a:pt x="141" y="416"/>
                  </a:lnTo>
                  <a:lnTo>
                    <a:pt x="133" y="421"/>
                  </a:lnTo>
                  <a:lnTo>
                    <a:pt x="124" y="424"/>
                  </a:lnTo>
                  <a:lnTo>
                    <a:pt x="116" y="426"/>
                  </a:lnTo>
                  <a:lnTo>
                    <a:pt x="107" y="427"/>
                  </a:lnTo>
                  <a:lnTo>
                    <a:pt x="99" y="428"/>
                  </a:lnTo>
                  <a:lnTo>
                    <a:pt x="89" y="427"/>
                  </a:lnTo>
                  <a:lnTo>
                    <a:pt x="80" y="426"/>
                  </a:lnTo>
                  <a:lnTo>
                    <a:pt x="71" y="424"/>
                  </a:lnTo>
                  <a:lnTo>
                    <a:pt x="62" y="421"/>
                  </a:lnTo>
                  <a:lnTo>
                    <a:pt x="54" y="416"/>
                  </a:lnTo>
                  <a:lnTo>
                    <a:pt x="46" y="411"/>
                  </a:lnTo>
                  <a:lnTo>
                    <a:pt x="39" y="406"/>
                  </a:lnTo>
                  <a:lnTo>
                    <a:pt x="32" y="399"/>
                  </a:lnTo>
                  <a:lnTo>
                    <a:pt x="27" y="393"/>
                  </a:lnTo>
                  <a:lnTo>
                    <a:pt x="26" y="390"/>
                  </a:lnTo>
                  <a:lnTo>
                    <a:pt x="24" y="389"/>
                  </a:lnTo>
                  <a:lnTo>
                    <a:pt x="21" y="386"/>
                  </a:lnTo>
                  <a:lnTo>
                    <a:pt x="19" y="386"/>
                  </a:lnTo>
                  <a:lnTo>
                    <a:pt x="15" y="385"/>
                  </a:lnTo>
                  <a:lnTo>
                    <a:pt x="12" y="386"/>
                  </a:lnTo>
                  <a:lnTo>
                    <a:pt x="10" y="386"/>
                  </a:lnTo>
                  <a:lnTo>
                    <a:pt x="7" y="389"/>
                  </a:lnTo>
                  <a:lnTo>
                    <a:pt x="5" y="391"/>
                  </a:lnTo>
                  <a:lnTo>
                    <a:pt x="3" y="393"/>
                  </a:lnTo>
                  <a:lnTo>
                    <a:pt x="1" y="395"/>
                  </a:lnTo>
                  <a:lnTo>
                    <a:pt x="0" y="398"/>
                  </a:lnTo>
                  <a:lnTo>
                    <a:pt x="0" y="400"/>
                  </a:lnTo>
                  <a:lnTo>
                    <a:pt x="0" y="403"/>
                  </a:lnTo>
                  <a:lnTo>
                    <a:pt x="1" y="407"/>
                  </a:lnTo>
                  <a:lnTo>
                    <a:pt x="3" y="409"/>
                  </a:lnTo>
                  <a:lnTo>
                    <a:pt x="10" y="418"/>
                  </a:lnTo>
                  <a:lnTo>
                    <a:pt x="19" y="427"/>
                  </a:lnTo>
                  <a:lnTo>
                    <a:pt x="28" y="435"/>
                  </a:lnTo>
                  <a:lnTo>
                    <a:pt x="38" y="442"/>
                  </a:lnTo>
                  <a:lnTo>
                    <a:pt x="50" y="447"/>
                  </a:lnTo>
                  <a:lnTo>
                    <a:pt x="61" y="452"/>
                  </a:lnTo>
                  <a:lnTo>
                    <a:pt x="73" y="455"/>
                  </a:lnTo>
                  <a:lnTo>
                    <a:pt x="86" y="457"/>
                  </a:lnTo>
                  <a:lnTo>
                    <a:pt x="92" y="457"/>
                  </a:lnTo>
                  <a:lnTo>
                    <a:pt x="99" y="458"/>
                  </a:lnTo>
                  <a:lnTo>
                    <a:pt x="109" y="457"/>
                  </a:lnTo>
                  <a:lnTo>
                    <a:pt x="120" y="456"/>
                  </a:lnTo>
                  <a:lnTo>
                    <a:pt x="130" y="453"/>
                  </a:lnTo>
                  <a:lnTo>
                    <a:pt x="141" y="449"/>
                  </a:lnTo>
                  <a:lnTo>
                    <a:pt x="150" y="445"/>
                  </a:lnTo>
                  <a:lnTo>
                    <a:pt x="159" y="440"/>
                  </a:lnTo>
                  <a:lnTo>
                    <a:pt x="167" y="433"/>
                  </a:lnTo>
                  <a:lnTo>
                    <a:pt x="175" y="426"/>
                  </a:lnTo>
                  <a:lnTo>
                    <a:pt x="354" y="247"/>
                  </a:lnTo>
                  <a:lnTo>
                    <a:pt x="363" y="238"/>
                  </a:lnTo>
                  <a:lnTo>
                    <a:pt x="370" y="228"/>
                  </a:lnTo>
                  <a:lnTo>
                    <a:pt x="377" y="217"/>
                  </a:lnTo>
                  <a:lnTo>
                    <a:pt x="382" y="207"/>
                  </a:lnTo>
                  <a:lnTo>
                    <a:pt x="387" y="196"/>
                  </a:lnTo>
                  <a:lnTo>
                    <a:pt x="390" y="184"/>
                  </a:lnTo>
                  <a:lnTo>
                    <a:pt x="392" y="174"/>
                  </a:lnTo>
                  <a:lnTo>
                    <a:pt x="392" y="162"/>
                  </a:lnTo>
                  <a:lnTo>
                    <a:pt x="392" y="150"/>
                  </a:lnTo>
                  <a:lnTo>
                    <a:pt x="390" y="138"/>
                  </a:lnTo>
                  <a:lnTo>
                    <a:pt x="387" y="128"/>
                  </a:lnTo>
                  <a:lnTo>
                    <a:pt x="382" y="117"/>
                  </a:lnTo>
                  <a:lnTo>
                    <a:pt x="377" y="106"/>
                  </a:lnTo>
                  <a:lnTo>
                    <a:pt x="370" y="96"/>
                  </a:lnTo>
                  <a:lnTo>
                    <a:pt x="363" y="86"/>
                  </a:lnTo>
                  <a:lnTo>
                    <a:pt x="35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33" name="Group 63">
            <a:extLst>
              <a:ext uri="{FF2B5EF4-FFF2-40B4-BE49-F238E27FC236}">
                <a16:creationId xmlns:a16="http://schemas.microsoft.com/office/drawing/2014/main" id="{5A426514-4B3A-4C5C-9A46-2A5C35208E93}"/>
              </a:ext>
            </a:extLst>
          </p:cNvPr>
          <p:cNvGrpSpPr>
            <a:grpSpLocks noChangeAspect="1"/>
          </p:cNvGrpSpPr>
          <p:nvPr/>
        </p:nvGrpSpPr>
        <p:grpSpPr>
          <a:xfrm>
            <a:off x="3184091" y="3270250"/>
            <a:ext cx="308350" cy="292847"/>
            <a:chOff x="6472238" y="2492376"/>
            <a:chExt cx="284162" cy="269875"/>
          </a:xfrm>
          <a:solidFill>
            <a:schemeClr val="bg2"/>
          </a:solidFill>
          <a:effectLst/>
        </p:grpSpPr>
        <p:sp>
          <p:nvSpPr>
            <p:cNvPr id="634" name="Freeform 248">
              <a:extLst>
                <a:ext uri="{FF2B5EF4-FFF2-40B4-BE49-F238E27FC236}">
                  <a16:creationId xmlns:a16="http://schemas.microsoft.com/office/drawing/2014/main" id="{37264D7C-381E-420A-B583-75B397354C5B}"/>
                </a:ext>
              </a:extLst>
            </p:cNvPr>
            <p:cNvSpPr>
              <a:spLocks/>
            </p:cNvSpPr>
            <p:nvPr/>
          </p:nvSpPr>
          <p:spPr bwMode="auto">
            <a:xfrm>
              <a:off x="6519863" y="2505076"/>
              <a:ext cx="31750" cy="33338"/>
            </a:xfrm>
            <a:custGeom>
              <a:avLst/>
              <a:gdLst>
                <a:gd name="T0" fmla="*/ 79 w 104"/>
                <a:gd name="T1" fmla="*/ 101 h 105"/>
                <a:gd name="T2" fmla="*/ 81 w 104"/>
                <a:gd name="T3" fmla="*/ 103 h 105"/>
                <a:gd name="T4" fmla="*/ 83 w 104"/>
                <a:gd name="T5" fmla="*/ 104 h 105"/>
                <a:gd name="T6" fmla="*/ 86 w 104"/>
                <a:gd name="T7" fmla="*/ 105 h 105"/>
                <a:gd name="T8" fmla="*/ 89 w 104"/>
                <a:gd name="T9" fmla="*/ 105 h 105"/>
                <a:gd name="T10" fmla="*/ 92 w 104"/>
                <a:gd name="T11" fmla="*/ 105 h 105"/>
                <a:gd name="T12" fmla="*/ 95 w 104"/>
                <a:gd name="T13" fmla="*/ 104 h 105"/>
                <a:gd name="T14" fmla="*/ 97 w 104"/>
                <a:gd name="T15" fmla="*/ 103 h 105"/>
                <a:gd name="T16" fmla="*/ 99 w 104"/>
                <a:gd name="T17" fmla="*/ 101 h 105"/>
                <a:gd name="T18" fmla="*/ 101 w 104"/>
                <a:gd name="T19" fmla="*/ 99 h 105"/>
                <a:gd name="T20" fmla="*/ 103 w 104"/>
                <a:gd name="T21" fmla="*/ 96 h 105"/>
                <a:gd name="T22" fmla="*/ 104 w 104"/>
                <a:gd name="T23" fmla="*/ 93 h 105"/>
                <a:gd name="T24" fmla="*/ 104 w 104"/>
                <a:gd name="T25" fmla="*/ 90 h 105"/>
                <a:gd name="T26" fmla="*/ 104 w 104"/>
                <a:gd name="T27" fmla="*/ 88 h 105"/>
                <a:gd name="T28" fmla="*/ 103 w 104"/>
                <a:gd name="T29" fmla="*/ 85 h 105"/>
                <a:gd name="T30" fmla="*/ 101 w 104"/>
                <a:gd name="T31" fmla="*/ 83 h 105"/>
                <a:gd name="T32" fmla="*/ 99 w 104"/>
                <a:gd name="T33" fmla="*/ 80 h 105"/>
                <a:gd name="T34" fmla="*/ 26 w 104"/>
                <a:gd name="T35" fmla="*/ 5 h 105"/>
                <a:gd name="T36" fmla="*/ 22 w 104"/>
                <a:gd name="T37" fmla="*/ 4 h 105"/>
                <a:gd name="T38" fmla="*/ 20 w 104"/>
                <a:gd name="T39" fmla="*/ 1 h 105"/>
                <a:gd name="T40" fmla="*/ 17 w 104"/>
                <a:gd name="T41" fmla="*/ 1 h 105"/>
                <a:gd name="T42" fmla="*/ 15 w 104"/>
                <a:gd name="T43" fmla="*/ 0 h 105"/>
                <a:gd name="T44" fmla="*/ 12 w 104"/>
                <a:gd name="T45" fmla="*/ 1 h 105"/>
                <a:gd name="T46" fmla="*/ 8 w 104"/>
                <a:gd name="T47" fmla="*/ 1 h 105"/>
                <a:gd name="T48" fmla="*/ 6 w 104"/>
                <a:gd name="T49" fmla="*/ 4 h 105"/>
                <a:gd name="T50" fmla="*/ 4 w 104"/>
                <a:gd name="T51" fmla="*/ 5 h 105"/>
                <a:gd name="T52" fmla="*/ 2 w 104"/>
                <a:gd name="T53" fmla="*/ 8 h 105"/>
                <a:gd name="T54" fmla="*/ 1 w 104"/>
                <a:gd name="T55" fmla="*/ 10 h 105"/>
                <a:gd name="T56" fmla="*/ 0 w 104"/>
                <a:gd name="T57" fmla="*/ 13 h 105"/>
                <a:gd name="T58" fmla="*/ 0 w 104"/>
                <a:gd name="T59" fmla="*/ 15 h 105"/>
                <a:gd name="T60" fmla="*/ 0 w 104"/>
                <a:gd name="T61" fmla="*/ 19 h 105"/>
                <a:gd name="T62" fmla="*/ 1 w 104"/>
                <a:gd name="T63" fmla="*/ 22 h 105"/>
                <a:gd name="T64" fmla="*/ 2 w 104"/>
                <a:gd name="T65" fmla="*/ 24 h 105"/>
                <a:gd name="T66" fmla="*/ 4 w 104"/>
                <a:gd name="T67" fmla="*/ 26 h 105"/>
                <a:gd name="T68" fmla="*/ 79 w 104"/>
                <a:gd name="T69"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05">
                  <a:moveTo>
                    <a:pt x="79" y="101"/>
                  </a:moveTo>
                  <a:lnTo>
                    <a:pt x="81" y="103"/>
                  </a:lnTo>
                  <a:lnTo>
                    <a:pt x="83" y="104"/>
                  </a:lnTo>
                  <a:lnTo>
                    <a:pt x="86" y="105"/>
                  </a:lnTo>
                  <a:lnTo>
                    <a:pt x="89" y="105"/>
                  </a:lnTo>
                  <a:lnTo>
                    <a:pt x="92" y="105"/>
                  </a:lnTo>
                  <a:lnTo>
                    <a:pt x="95" y="104"/>
                  </a:lnTo>
                  <a:lnTo>
                    <a:pt x="97" y="103"/>
                  </a:lnTo>
                  <a:lnTo>
                    <a:pt x="99" y="101"/>
                  </a:lnTo>
                  <a:lnTo>
                    <a:pt x="101" y="99"/>
                  </a:lnTo>
                  <a:lnTo>
                    <a:pt x="103" y="96"/>
                  </a:lnTo>
                  <a:lnTo>
                    <a:pt x="104" y="93"/>
                  </a:lnTo>
                  <a:lnTo>
                    <a:pt x="104" y="90"/>
                  </a:lnTo>
                  <a:lnTo>
                    <a:pt x="104" y="88"/>
                  </a:lnTo>
                  <a:lnTo>
                    <a:pt x="103" y="85"/>
                  </a:lnTo>
                  <a:lnTo>
                    <a:pt x="101" y="83"/>
                  </a:lnTo>
                  <a:lnTo>
                    <a:pt x="99" y="80"/>
                  </a:lnTo>
                  <a:lnTo>
                    <a:pt x="26" y="5"/>
                  </a:lnTo>
                  <a:lnTo>
                    <a:pt x="22" y="4"/>
                  </a:lnTo>
                  <a:lnTo>
                    <a:pt x="20" y="1"/>
                  </a:lnTo>
                  <a:lnTo>
                    <a:pt x="17" y="1"/>
                  </a:lnTo>
                  <a:lnTo>
                    <a:pt x="15" y="0"/>
                  </a:lnTo>
                  <a:lnTo>
                    <a:pt x="12" y="1"/>
                  </a:lnTo>
                  <a:lnTo>
                    <a:pt x="8" y="1"/>
                  </a:lnTo>
                  <a:lnTo>
                    <a:pt x="6" y="4"/>
                  </a:lnTo>
                  <a:lnTo>
                    <a:pt x="4" y="5"/>
                  </a:lnTo>
                  <a:lnTo>
                    <a:pt x="2" y="8"/>
                  </a:lnTo>
                  <a:lnTo>
                    <a:pt x="1" y="10"/>
                  </a:lnTo>
                  <a:lnTo>
                    <a:pt x="0" y="13"/>
                  </a:lnTo>
                  <a:lnTo>
                    <a:pt x="0" y="15"/>
                  </a:lnTo>
                  <a:lnTo>
                    <a:pt x="0" y="19"/>
                  </a:lnTo>
                  <a:lnTo>
                    <a:pt x="1" y="22"/>
                  </a:lnTo>
                  <a:lnTo>
                    <a:pt x="2" y="24"/>
                  </a:lnTo>
                  <a:lnTo>
                    <a:pt x="4" y="26"/>
                  </a:lnTo>
                  <a:lnTo>
                    <a:pt x="79"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5" name="Freeform 249">
              <a:extLst>
                <a:ext uri="{FF2B5EF4-FFF2-40B4-BE49-F238E27FC236}">
                  <a16:creationId xmlns:a16="http://schemas.microsoft.com/office/drawing/2014/main" id="{8F1398EC-7717-45E0-8751-05AAB54D6676}"/>
                </a:ext>
              </a:extLst>
            </p:cNvPr>
            <p:cNvSpPr>
              <a:spLocks/>
            </p:cNvSpPr>
            <p:nvPr/>
          </p:nvSpPr>
          <p:spPr bwMode="auto">
            <a:xfrm>
              <a:off x="6575425" y="2492376"/>
              <a:ext cx="9525" cy="36513"/>
            </a:xfrm>
            <a:custGeom>
              <a:avLst/>
              <a:gdLst>
                <a:gd name="T0" fmla="*/ 15 w 30"/>
                <a:gd name="T1" fmla="*/ 119 h 119"/>
                <a:gd name="T2" fmla="*/ 19 w 30"/>
                <a:gd name="T3" fmla="*/ 119 h 119"/>
                <a:gd name="T4" fmla="*/ 22 w 30"/>
                <a:gd name="T5" fmla="*/ 118 h 119"/>
                <a:gd name="T6" fmla="*/ 24 w 30"/>
                <a:gd name="T7" fmla="*/ 117 h 119"/>
                <a:gd name="T8" fmla="*/ 26 w 30"/>
                <a:gd name="T9" fmla="*/ 115 h 119"/>
                <a:gd name="T10" fmla="*/ 28 w 30"/>
                <a:gd name="T11" fmla="*/ 113 h 119"/>
                <a:gd name="T12" fmla="*/ 29 w 30"/>
                <a:gd name="T13" fmla="*/ 111 h 119"/>
                <a:gd name="T14" fmla="*/ 30 w 30"/>
                <a:gd name="T15" fmla="*/ 108 h 119"/>
                <a:gd name="T16" fmla="*/ 30 w 30"/>
                <a:gd name="T17" fmla="*/ 104 h 119"/>
                <a:gd name="T18" fmla="*/ 30 w 30"/>
                <a:gd name="T19" fmla="*/ 14 h 119"/>
                <a:gd name="T20" fmla="*/ 30 w 30"/>
                <a:gd name="T21" fmla="*/ 12 h 119"/>
                <a:gd name="T22" fmla="*/ 29 w 30"/>
                <a:gd name="T23" fmla="*/ 9 h 119"/>
                <a:gd name="T24" fmla="*/ 28 w 30"/>
                <a:gd name="T25" fmla="*/ 7 h 119"/>
                <a:gd name="T26" fmla="*/ 26 w 30"/>
                <a:gd name="T27" fmla="*/ 5 h 119"/>
                <a:gd name="T28" fmla="*/ 24 w 30"/>
                <a:gd name="T29" fmla="*/ 3 h 119"/>
                <a:gd name="T30" fmla="*/ 22 w 30"/>
                <a:gd name="T31" fmla="*/ 2 h 119"/>
                <a:gd name="T32" fmla="*/ 19 w 30"/>
                <a:gd name="T33" fmla="*/ 1 h 119"/>
                <a:gd name="T34" fmla="*/ 15 w 30"/>
                <a:gd name="T35" fmla="*/ 0 h 119"/>
                <a:gd name="T36" fmla="*/ 12 w 30"/>
                <a:gd name="T37" fmla="*/ 1 h 119"/>
                <a:gd name="T38" fmla="*/ 10 w 30"/>
                <a:gd name="T39" fmla="*/ 2 h 119"/>
                <a:gd name="T40" fmla="*/ 7 w 30"/>
                <a:gd name="T41" fmla="*/ 3 h 119"/>
                <a:gd name="T42" fmla="*/ 5 w 30"/>
                <a:gd name="T43" fmla="*/ 5 h 119"/>
                <a:gd name="T44" fmla="*/ 4 w 30"/>
                <a:gd name="T45" fmla="*/ 7 h 119"/>
                <a:gd name="T46" fmla="*/ 2 w 30"/>
                <a:gd name="T47" fmla="*/ 9 h 119"/>
                <a:gd name="T48" fmla="*/ 2 w 30"/>
                <a:gd name="T49" fmla="*/ 12 h 119"/>
                <a:gd name="T50" fmla="*/ 0 w 30"/>
                <a:gd name="T51" fmla="*/ 14 h 119"/>
                <a:gd name="T52" fmla="*/ 0 w 30"/>
                <a:gd name="T53" fmla="*/ 104 h 119"/>
                <a:gd name="T54" fmla="*/ 2 w 30"/>
                <a:gd name="T55" fmla="*/ 108 h 119"/>
                <a:gd name="T56" fmla="*/ 2 w 30"/>
                <a:gd name="T57" fmla="*/ 111 h 119"/>
                <a:gd name="T58" fmla="*/ 4 w 30"/>
                <a:gd name="T59" fmla="*/ 113 h 119"/>
                <a:gd name="T60" fmla="*/ 5 w 30"/>
                <a:gd name="T61" fmla="*/ 115 h 119"/>
                <a:gd name="T62" fmla="*/ 7 w 30"/>
                <a:gd name="T63" fmla="*/ 117 h 119"/>
                <a:gd name="T64" fmla="*/ 10 w 30"/>
                <a:gd name="T65" fmla="*/ 118 h 119"/>
                <a:gd name="T66" fmla="*/ 12 w 30"/>
                <a:gd name="T67" fmla="*/ 119 h 119"/>
                <a:gd name="T68" fmla="*/ 15 w 30"/>
                <a:gd name="T69" fmla="*/ 119 h 119"/>
                <a:gd name="T70" fmla="*/ 15 w 30"/>
                <a:gd name="T7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19">
                  <a:moveTo>
                    <a:pt x="15" y="119"/>
                  </a:moveTo>
                  <a:lnTo>
                    <a:pt x="19" y="119"/>
                  </a:lnTo>
                  <a:lnTo>
                    <a:pt x="22" y="118"/>
                  </a:lnTo>
                  <a:lnTo>
                    <a:pt x="24" y="117"/>
                  </a:lnTo>
                  <a:lnTo>
                    <a:pt x="26" y="115"/>
                  </a:lnTo>
                  <a:lnTo>
                    <a:pt x="28" y="113"/>
                  </a:lnTo>
                  <a:lnTo>
                    <a:pt x="29" y="111"/>
                  </a:lnTo>
                  <a:lnTo>
                    <a:pt x="30" y="108"/>
                  </a:lnTo>
                  <a:lnTo>
                    <a:pt x="30" y="104"/>
                  </a:lnTo>
                  <a:lnTo>
                    <a:pt x="30" y="14"/>
                  </a:lnTo>
                  <a:lnTo>
                    <a:pt x="30" y="12"/>
                  </a:lnTo>
                  <a:lnTo>
                    <a:pt x="29" y="9"/>
                  </a:lnTo>
                  <a:lnTo>
                    <a:pt x="28" y="7"/>
                  </a:lnTo>
                  <a:lnTo>
                    <a:pt x="26" y="5"/>
                  </a:lnTo>
                  <a:lnTo>
                    <a:pt x="24" y="3"/>
                  </a:lnTo>
                  <a:lnTo>
                    <a:pt x="22" y="2"/>
                  </a:lnTo>
                  <a:lnTo>
                    <a:pt x="19" y="1"/>
                  </a:lnTo>
                  <a:lnTo>
                    <a:pt x="15" y="0"/>
                  </a:lnTo>
                  <a:lnTo>
                    <a:pt x="12" y="1"/>
                  </a:lnTo>
                  <a:lnTo>
                    <a:pt x="10" y="2"/>
                  </a:lnTo>
                  <a:lnTo>
                    <a:pt x="7" y="3"/>
                  </a:lnTo>
                  <a:lnTo>
                    <a:pt x="5" y="5"/>
                  </a:lnTo>
                  <a:lnTo>
                    <a:pt x="4" y="7"/>
                  </a:lnTo>
                  <a:lnTo>
                    <a:pt x="2" y="9"/>
                  </a:lnTo>
                  <a:lnTo>
                    <a:pt x="2" y="12"/>
                  </a:lnTo>
                  <a:lnTo>
                    <a:pt x="0" y="14"/>
                  </a:lnTo>
                  <a:lnTo>
                    <a:pt x="0" y="104"/>
                  </a:lnTo>
                  <a:lnTo>
                    <a:pt x="2" y="108"/>
                  </a:lnTo>
                  <a:lnTo>
                    <a:pt x="2" y="111"/>
                  </a:lnTo>
                  <a:lnTo>
                    <a:pt x="4" y="113"/>
                  </a:lnTo>
                  <a:lnTo>
                    <a:pt x="5" y="115"/>
                  </a:lnTo>
                  <a:lnTo>
                    <a:pt x="7" y="117"/>
                  </a:lnTo>
                  <a:lnTo>
                    <a:pt x="10" y="118"/>
                  </a:lnTo>
                  <a:lnTo>
                    <a:pt x="12" y="119"/>
                  </a:lnTo>
                  <a:lnTo>
                    <a:pt x="15" y="119"/>
                  </a:lnTo>
                  <a:lnTo>
                    <a:pt x="1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6" name="Freeform 250">
              <a:extLst>
                <a:ext uri="{FF2B5EF4-FFF2-40B4-BE49-F238E27FC236}">
                  <a16:creationId xmlns:a16="http://schemas.microsoft.com/office/drawing/2014/main" id="{067F5246-9167-4F0D-8C1E-2A2AA8543AEE}"/>
                </a:ext>
              </a:extLst>
            </p:cNvPr>
            <p:cNvSpPr>
              <a:spLocks/>
            </p:cNvSpPr>
            <p:nvPr/>
          </p:nvSpPr>
          <p:spPr bwMode="auto">
            <a:xfrm>
              <a:off x="6500813" y="2562226"/>
              <a:ext cx="38100" cy="9525"/>
            </a:xfrm>
            <a:custGeom>
              <a:avLst/>
              <a:gdLst>
                <a:gd name="T0" fmla="*/ 15 w 120"/>
                <a:gd name="T1" fmla="*/ 30 h 30"/>
                <a:gd name="T2" fmla="*/ 105 w 120"/>
                <a:gd name="T3" fmla="*/ 30 h 30"/>
                <a:gd name="T4" fmla="*/ 107 w 120"/>
                <a:gd name="T5" fmla="*/ 30 h 30"/>
                <a:gd name="T6" fmla="*/ 110 w 120"/>
                <a:gd name="T7" fmla="*/ 29 h 30"/>
                <a:gd name="T8" fmla="*/ 112 w 120"/>
                <a:gd name="T9" fmla="*/ 28 h 30"/>
                <a:gd name="T10" fmla="*/ 114 w 120"/>
                <a:gd name="T11" fmla="*/ 26 h 30"/>
                <a:gd name="T12" fmla="*/ 117 w 120"/>
                <a:gd name="T13" fmla="*/ 24 h 30"/>
                <a:gd name="T14" fmla="*/ 118 w 120"/>
                <a:gd name="T15" fmla="*/ 20 h 30"/>
                <a:gd name="T16" fmla="*/ 119 w 120"/>
                <a:gd name="T17" fmla="*/ 18 h 30"/>
                <a:gd name="T18" fmla="*/ 120 w 120"/>
                <a:gd name="T19" fmla="*/ 15 h 30"/>
                <a:gd name="T20" fmla="*/ 119 w 120"/>
                <a:gd name="T21" fmla="*/ 12 h 30"/>
                <a:gd name="T22" fmla="*/ 118 w 120"/>
                <a:gd name="T23" fmla="*/ 10 h 30"/>
                <a:gd name="T24" fmla="*/ 117 w 120"/>
                <a:gd name="T25" fmla="*/ 6 h 30"/>
                <a:gd name="T26" fmla="*/ 114 w 120"/>
                <a:gd name="T27" fmla="*/ 4 h 30"/>
                <a:gd name="T28" fmla="*/ 112 w 120"/>
                <a:gd name="T29" fmla="*/ 2 h 30"/>
                <a:gd name="T30" fmla="*/ 110 w 120"/>
                <a:gd name="T31" fmla="*/ 1 h 30"/>
                <a:gd name="T32" fmla="*/ 107 w 120"/>
                <a:gd name="T33" fmla="*/ 0 h 30"/>
                <a:gd name="T34" fmla="*/ 105 w 120"/>
                <a:gd name="T35" fmla="*/ 0 h 30"/>
                <a:gd name="T36" fmla="*/ 15 w 120"/>
                <a:gd name="T37" fmla="*/ 0 h 30"/>
                <a:gd name="T38" fmla="*/ 12 w 120"/>
                <a:gd name="T39" fmla="*/ 0 h 30"/>
                <a:gd name="T40" fmla="*/ 8 w 120"/>
                <a:gd name="T41" fmla="*/ 1 h 30"/>
                <a:gd name="T42" fmla="*/ 6 w 120"/>
                <a:gd name="T43" fmla="*/ 2 h 30"/>
                <a:gd name="T44" fmla="*/ 4 w 120"/>
                <a:gd name="T45" fmla="*/ 4 h 30"/>
                <a:gd name="T46" fmla="*/ 2 w 120"/>
                <a:gd name="T47" fmla="*/ 6 h 30"/>
                <a:gd name="T48" fmla="*/ 1 w 120"/>
                <a:gd name="T49" fmla="*/ 10 h 30"/>
                <a:gd name="T50" fmla="*/ 0 w 120"/>
                <a:gd name="T51" fmla="*/ 12 h 30"/>
                <a:gd name="T52" fmla="*/ 0 w 120"/>
                <a:gd name="T53" fmla="*/ 15 h 30"/>
                <a:gd name="T54" fmla="*/ 0 w 120"/>
                <a:gd name="T55" fmla="*/ 18 h 30"/>
                <a:gd name="T56" fmla="*/ 1 w 120"/>
                <a:gd name="T57" fmla="*/ 20 h 30"/>
                <a:gd name="T58" fmla="*/ 2 w 120"/>
                <a:gd name="T59" fmla="*/ 24 h 30"/>
                <a:gd name="T60" fmla="*/ 4 w 120"/>
                <a:gd name="T61" fmla="*/ 26 h 30"/>
                <a:gd name="T62" fmla="*/ 6 w 120"/>
                <a:gd name="T63" fmla="*/ 28 h 30"/>
                <a:gd name="T64" fmla="*/ 8 w 120"/>
                <a:gd name="T65" fmla="*/ 29 h 30"/>
                <a:gd name="T66" fmla="*/ 12 w 120"/>
                <a:gd name="T67" fmla="*/ 30 h 30"/>
                <a:gd name="T68" fmla="*/ 15 w 120"/>
                <a:gd name="T69" fmla="*/ 30 h 30"/>
                <a:gd name="T70" fmla="*/ 15 w 12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30">
                  <a:moveTo>
                    <a:pt x="15" y="30"/>
                  </a:moveTo>
                  <a:lnTo>
                    <a:pt x="105" y="30"/>
                  </a:lnTo>
                  <a:lnTo>
                    <a:pt x="107" y="30"/>
                  </a:lnTo>
                  <a:lnTo>
                    <a:pt x="110" y="29"/>
                  </a:lnTo>
                  <a:lnTo>
                    <a:pt x="112" y="28"/>
                  </a:lnTo>
                  <a:lnTo>
                    <a:pt x="114" y="26"/>
                  </a:lnTo>
                  <a:lnTo>
                    <a:pt x="117" y="24"/>
                  </a:lnTo>
                  <a:lnTo>
                    <a:pt x="118" y="20"/>
                  </a:lnTo>
                  <a:lnTo>
                    <a:pt x="119" y="18"/>
                  </a:lnTo>
                  <a:lnTo>
                    <a:pt x="120" y="15"/>
                  </a:lnTo>
                  <a:lnTo>
                    <a:pt x="119" y="12"/>
                  </a:lnTo>
                  <a:lnTo>
                    <a:pt x="118" y="10"/>
                  </a:lnTo>
                  <a:lnTo>
                    <a:pt x="117" y="6"/>
                  </a:lnTo>
                  <a:lnTo>
                    <a:pt x="114" y="4"/>
                  </a:lnTo>
                  <a:lnTo>
                    <a:pt x="112" y="2"/>
                  </a:lnTo>
                  <a:lnTo>
                    <a:pt x="110" y="1"/>
                  </a:lnTo>
                  <a:lnTo>
                    <a:pt x="107" y="0"/>
                  </a:lnTo>
                  <a:lnTo>
                    <a:pt x="105" y="0"/>
                  </a:lnTo>
                  <a:lnTo>
                    <a:pt x="15" y="0"/>
                  </a:lnTo>
                  <a:lnTo>
                    <a:pt x="12"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7" name="Freeform 251">
              <a:extLst>
                <a:ext uri="{FF2B5EF4-FFF2-40B4-BE49-F238E27FC236}">
                  <a16:creationId xmlns:a16="http://schemas.microsoft.com/office/drawing/2014/main" id="{27F72C61-E24C-428D-8505-0EA8BE4609EB}"/>
                </a:ext>
              </a:extLst>
            </p:cNvPr>
            <p:cNvSpPr>
              <a:spLocks/>
            </p:cNvSpPr>
            <p:nvPr/>
          </p:nvSpPr>
          <p:spPr bwMode="auto">
            <a:xfrm>
              <a:off x="6472238" y="2628901"/>
              <a:ext cx="131762" cy="133350"/>
            </a:xfrm>
            <a:custGeom>
              <a:avLst/>
              <a:gdLst>
                <a:gd name="T0" fmla="*/ 274 w 418"/>
                <a:gd name="T1" fmla="*/ 347 h 418"/>
                <a:gd name="T2" fmla="*/ 253 w 418"/>
                <a:gd name="T3" fmla="*/ 365 h 418"/>
                <a:gd name="T4" fmla="*/ 231 w 418"/>
                <a:gd name="T5" fmla="*/ 378 h 418"/>
                <a:gd name="T6" fmla="*/ 209 w 418"/>
                <a:gd name="T7" fmla="*/ 386 h 418"/>
                <a:gd name="T8" fmla="*/ 187 w 418"/>
                <a:gd name="T9" fmla="*/ 388 h 418"/>
                <a:gd name="T10" fmla="*/ 165 w 418"/>
                <a:gd name="T11" fmla="*/ 386 h 418"/>
                <a:gd name="T12" fmla="*/ 142 w 418"/>
                <a:gd name="T13" fmla="*/ 378 h 418"/>
                <a:gd name="T14" fmla="*/ 121 w 418"/>
                <a:gd name="T15" fmla="*/ 365 h 418"/>
                <a:gd name="T16" fmla="*/ 101 w 418"/>
                <a:gd name="T17" fmla="*/ 347 h 418"/>
                <a:gd name="T18" fmla="*/ 61 w 418"/>
                <a:gd name="T19" fmla="*/ 308 h 418"/>
                <a:gd name="T20" fmla="*/ 46 w 418"/>
                <a:gd name="T21" fmla="*/ 286 h 418"/>
                <a:gd name="T22" fmla="*/ 35 w 418"/>
                <a:gd name="T23" fmla="*/ 264 h 418"/>
                <a:gd name="T24" fmla="*/ 30 w 418"/>
                <a:gd name="T25" fmla="*/ 242 h 418"/>
                <a:gd name="T26" fmla="*/ 30 w 418"/>
                <a:gd name="T27" fmla="*/ 220 h 418"/>
                <a:gd name="T28" fmla="*/ 35 w 418"/>
                <a:gd name="T29" fmla="*/ 197 h 418"/>
                <a:gd name="T30" fmla="*/ 46 w 418"/>
                <a:gd name="T31" fmla="*/ 176 h 418"/>
                <a:gd name="T32" fmla="*/ 61 w 418"/>
                <a:gd name="T33" fmla="*/ 155 h 418"/>
                <a:gd name="T34" fmla="*/ 189 w 418"/>
                <a:gd name="T35" fmla="*/ 24 h 418"/>
                <a:gd name="T36" fmla="*/ 194 w 418"/>
                <a:gd name="T37" fmla="*/ 20 h 418"/>
                <a:gd name="T38" fmla="*/ 195 w 418"/>
                <a:gd name="T39" fmla="*/ 15 h 418"/>
                <a:gd name="T40" fmla="*/ 194 w 418"/>
                <a:gd name="T41" fmla="*/ 8 h 418"/>
                <a:gd name="T42" fmla="*/ 189 w 418"/>
                <a:gd name="T43" fmla="*/ 4 h 418"/>
                <a:gd name="T44" fmla="*/ 185 w 418"/>
                <a:gd name="T45" fmla="*/ 1 h 418"/>
                <a:gd name="T46" fmla="*/ 180 w 418"/>
                <a:gd name="T47" fmla="*/ 0 h 418"/>
                <a:gd name="T48" fmla="*/ 173 w 418"/>
                <a:gd name="T49" fmla="*/ 1 h 418"/>
                <a:gd name="T50" fmla="*/ 169 w 418"/>
                <a:gd name="T51" fmla="*/ 4 h 418"/>
                <a:gd name="T52" fmla="*/ 38 w 418"/>
                <a:gd name="T53" fmla="*/ 135 h 418"/>
                <a:gd name="T54" fmla="*/ 19 w 418"/>
                <a:gd name="T55" fmla="*/ 162 h 418"/>
                <a:gd name="T56" fmla="*/ 8 w 418"/>
                <a:gd name="T57" fmla="*/ 189 h 418"/>
                <a:gd name="T58" fmla="*/ 1 w 418"/>
                <a:gd name="T59" fmla="*/ 217 h 418"/>
                <a:gd name="T60" fmla="*/ 1 w 418"/>
                <a:gd name="T61" fmla="*/ 244 h 418"/>
                <a:gd name="T62" fmla="*/ 8 w 418"/>
                <a:gd name="T63" fmla="*/ 272 h 418"/>
                <a:gd name="T64" fmla="*/ 19 w 418"/>
                <a:gd name="T65" fmla="*/ 300 h 418"/>
                <a:gd name="T66" fmla="*/ 38 w 418"/>
                <a:gd name="T67" fmla="*/ 326 h 418"/>
                <a:gd name="T68" fmla="*/ 79 w 418"/>
                <a:gd name="T69" fmla="*/ 369 h 418"/>
                <a:gd name="T70" fmla="*/ 105 w 418"/>
                <a:gd name="T71" fmla="*/ 390 h 418"/>
                <a:gd name="T72" fmla="*/ 132 w 418"/>
                <a:gd name="T73" fmla="*/ 405 h 418"/>
                <a:gd name="T74" fmla="*/ 158 w 418"/>
                <a:gd name="T75" fmla="*/ 415 h 418"/>
                <a:gd name="T76" fmla="*/ 187 w 418"/>
                <a:gd name="T77" fmla="*/ 418 h 418"/>
                <a:gd name="T78" fmla="*/ 215 w 418"/>
                <a:gd name="T79" fmla="*/ 415 h 418"/>
                <a:gd name="T80" fmla="*/ 243 w 418"/>
                <a:gd name="T81" fmla="*/ 405 h 418"/>
                <a:gd name="T82" fmla="*/ 270 w 418"/>
                <a:gd name="T83" fmla="*/ 390 h 418"/>
                <a:gd name="T84" fmla="*/ 294 w 418"/>
                <a:gd name="T85" fmla="*/ 369 h 418"/>
                <a:gd name="T86" fmla="*/ 416 w 418"/>
                <a:gd name="T87" fmla="*/ 247 h 418"/>
                <a:gd name="T88" fmla="*/ 418 w 418"/>
                <a:gd name="T89" fmla="*/ 241 h 418"/>
                <a:gd name="T90" fmla="*/ 418 w 418"/>
                <a:gd name="T91" fmla="*/ 236 h 418"/>
                <a:gd name="T92" fmla="*/ 416 w 418"/>
                <a:gd name="T93" fmla="*/ 230 h 418"/>
                <a:gd name="T94" fmla="*/ 412 w 418"/>
                <a:gd name="T95" fmla="*/ 225 h 418"/>
                <a:gd name="T96" fmla="*/ 407 w 418"/>
                <a:gd name="T97" fmla="*/ 223 h 418"/>
                <a:gd name="T98" fmla="*/ 401 w 418"/>
                <a:gd name="T99" fmla="*/ 223 h 418"/>
                <a:gd name="T100" fmla="*/ 395 w 418"/>
                <a:gd name="T101" fmla="*/ 22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418">
                  <a:moveTo>
                    <a:pt x="393" y="227"/>
                  </a:moveTo>
                  <a:lnTo>
                    <a:pt x="274" y="347"/>
                  </a:lnTo>
                  <a:lnTo>
                    <a:pt x="263" y="357"/>
                  </a:lnTo>
                  <a:lnTo>
                    <a:pt x="253" y="365"/>
                  </a:lnTo>
                  <a:lnTo>
                    <a:pt x="242" y="372"/>
                  </a:lnTo>
                  <a:lnTo>
                    <a:pt x="231" y="378"/>
                  </a:lnTo>
                  <a:lnTo>
                    <a:pt x="220" y="382"/>
                  </a:lnTo>
                  <a:lnTo>
                    <a:pt x="209" y="386"/>
                  </a:lnTo>
                  <a:lnTo>
                    <a:pt x="198" y="387"/>
                  </a:lnTo>
                  <a:lnTo>
                    <a:pt x="187" y="388"/>
                  </a:lnTo>
                  <a:lnTo>
                    <a:pt x="176" y="387"/>
                  </a:lnTo>
                  <a:lnTo>
                    <a:pt x="165" y="386"/>
                  </a:lnTo>
                  <a:lnTo>
                    <a:pt x="153" y="382"/>
                  </a:lnTo>
                  <a:lnTo>
                    <a:pt x="142" y="378"/>
                  </a:lnTo>
                  <a:lnTo>
                    <a:pt x="132" y="372"/>
                  </a:lnTo>
                  <a:lnTo>
                    <a:pt x="121" y="365"/>
                  </a:lnTo>
                  <a:lnTo>
                    <a:pt x="110" y="357"/>
                  </a:lnTo>
                  <a:lnTo>
                    <a:pt x="101" y="347"/>
                  </a:lnTo>
                  <a:lnTo>
                    <a:pt x="71" y="317"/>
                  </a:lnTo>
                  <a:lnTo>
                    <a:pt x="61" y="308"/>
                  </a:lnTo>
                  <a:lnTo>
                    <a:pt x="53" y="297"/>
                  </a:lnTo>
                  <a:lnTo>
                    <a:pt x="46" y="286"/>
                  </a:lnTo>
                  <a:lnTo>
                    <a:pt x="40" y="276"/>
                  </a:lnTo>
                  <a:lnTo>
                    <a:pt x="35" y="264"/>
                  </a:lnTo>
                  <a:lnTo>
                    <a:pt x="32" y="253"/>
                  </a:lnTo>
                  <a:lnTo>
                    <a:pt x="30" y="242"/>
                  </a:lnTo>
                  <a:lnTo>
                    <a:pt x="30" y="231"/>
                  </a:lnTo>
                  <a:lnTo>
                    <a:pt x="30" y="220"/>
                  </a:lnTo>
                  <a:lnTo>
                    <a:pt x="32" y="208"/>
                  </a:lnTo>
                  <a:lnTo>
                    <a:pt x="35" y="197"/>
                  </a:lnTo>
                  <a:lnTo>
                    <a:pt x="40" y="187"/>
                  </a:lnTo>
                  <a:lnTo>
                    <a:pt x="46" y="176"/>
                  </a:lnTo>
                  <a:lnTo>
                    <a:pt x="53" y="165"/>
                  </a:lnTo>
                  <a:lnTo>
                    <a:pt x="61" y="155"/>
                  </a:lnTo>
                  <a:lnTo>
                    <a:pt x="71" y="144"/>
                  </a:lnTo>
                  <a:lnTo>
                    <a:pt x="189" y="24"/>
                  </a:lnTo>
                  <a:lnTo>
                    <a:pt x="192" y="22"/>
                  </a:lnTo>
                  <a:lnTo>
                    <a:pt x="194" y="20"/>
                  </a:lnTo>
                  <a:lnTo>
                    <a:pt x="194" y="17"/>
                  </a:lnTo>
                  <a:lnTo>
                    <a:pt x="195" y="15"/>
                  </a:lnTo>
                  <a:lnTo>
                    <a:pt x="194" y="11"/>
                  </a:lnTo>
                  <a:lnTo>
                    <a:pt x="194" y="8"/>
                  </a:lnTo>
                  <a:lnTo>
                    <a:pt x="192" y="6"/>
                  </a:lnTo>
                  <a:lnTo>
                    <a:pt x="189" y="4"/>
                  </a:lnTo>
                  <a:lnTo>
                    <a:pt x="187" y="2"/>
                  </a:lnTo>
                  <a:lnTo>
                    <a:pt x="185" y="1"/>
                  </a:lnTo>
                  <a:lnTo>
                    <a:pt x="182" y="0"/>
                  </a:lnTo>
                  <a:lnTo>
                    <a:pt x="180" y="0"/>
                  </a:lnTo>
                  <a:lnTo>
                    <a:pt x="177" y="0"/>
                  </a:lnTo>
                  <a:lnTo>
                    <a:pt x="173" y="1"/>
                  </a:lnTo>
                  <a:lnTo>
                    <a:pt x="171" y="2"/>
                  </a:lnTo>
                  <a:lnTo>
                    <a:pt x="169" y="4"/>
                  </a:lnTo>
                  <a:lnTo>
                    <a:pt x="49" y="123"/>
                  </a:lnTo>
                  <a:lnTo>
                    <a:pt x="38" y="135"/>
                  </a:lnTo>
                  <a:lnTo>
                    <a:pt x="28" y="148"/>
                  </a:lnTo>
                  <a:lnTo>
                    <a:pt x="19" y="162"/>
                  </a:lnTo>
                  <a:lnTo>
                    <a:pt x="13" y="175"/>
                  </a:lnTo>
                  <a:lnTo>
                    <a:pt x="8" y="189"/>
                  </a:lnTo>
                  <a:lnTo>
                    <a:pt x="3" y="203"/>
                  </a:lnTo>
                  <a:lnTo>
                    <a:pt x="1" y="217"/>
                  </a:lnTo>
                  <a:lnTo>
                    <a:pt x="0" y="231"/>
                  </a:lnTo>
                  <a:lnTo>
                    <a:pt x="1" y="244"/>
                  </a:lnTo>
                  <a:lnTo>
                    <a:pt x="3" y="258"/>
                  </a:lnTo>
                  <a:lnTo>
                    <a:pt x="8" y="272"/>
                  </a:lnTo>
                  <a:lnTo>
                    <a:pt x="13" y="286"/>
                  </a:lnTo>
                  <a:lnTo>
                    <a:pt x="19" y="300"/>
                  </a:lnTo>
                  <a:lnTo>
                    <a:pt x="28" y="313"/>
                  </a:lnTo>
                  <a:lnTo>
                    <a:pt x="38" y="326"/>
                  </a:lnTo>
                  <a:lnTo>
                    <a:pt x="49" y="339"/>
                  </a:lnTo>
                  <a:lnTo>
                    <a:pt x="79" y="369"/>
                  </a:lnTo>
                  <a:lnTo>
                    <a:pt x="92" y="380"/>
                  </a:lnTo>
                  <a:lnTo>
                    <a:pt x="105" y="390"/>
                  </a:lnTo>
                  <a:lnTo>
                    <a:pt x="118" y="398"/>
                  </a:lnTo>
                  <a:lnTo>
                    <a:pt x="132" y="405"/>
                  </a:lnTo>
                  <a:lnTo>
                    <a:pt x="144" y="410"/>
                  </a:lnTo>
                  <a:lnTo>
                    <a:pt x="158" y="415"/>
                  </a:lnTo>
                  <a:lnTo>
                    <a:pt x="172" y="417"/>
                  </a:lnTo>
                  <a:lnTo>
                    <a:pt x="187" y="418"/>
                  </a:lnTo>
                  <a:lnTo>
                    <a:pt x="201" y="417"/>
                  </a:lnTo>
                  <a:lnTo>
                    <a:pt x="215" y="415"/>
                  </a:lnTo>
                  <a:lnTo>
                    <a:pt x="229" y="410"/>
                  </a:lnTo>
                  <a:lnTo>
                    <a:pt x="243" y="405"/>
                  </a:lnTo>
                  <a:lnTo>
                    <a:pt x="256" y="398"/>
                  </a:lnTo>
                  <a:lnTo>
                    <a:pt x="270" y="390"/>
                  </a:lnTo>
                  <a:lnTo>
                    <a:pt x="282" y="380"/>
                  </a:lnTo>
                  <a:lnTo>
                    <a:pt x="294" y="369"/>
                  </a:lnTo>
                  <a:lnTo>
                    <a:pt x="414" y="249"/>
                  </a:lnTo>
                  <a:lnTo>
                    <a:pt x="416" y="247"/>
                  </a:lnTo>
                  <a:lnTo>
                    <a:pt x="417" y="243"/>
                  </a:lnTo>
                  <a:lnTo>
                    <a:pt x="418" y="241"/>
                  </a:lnTo>
                  <a:lnTo>
                    <a:pt x="418" y="238"/>
                  </a:lnTo>
                  <a:lnTo>
                    <a:pt x="418" y="236"/>
                  </a:lnTo>
                  <a:lnTo>
                    <a:pt x="417" y="233"/>
                  </a:lnTo>
                  <a:lnTo>
                    <a:pt x="416" y="230"/>
                  </a:lnTo>
                  <a:lnTo>
                    <a:pt x="414" y="227"/>
                  </a:lnTo>
                  <a:lnTo>
                    <a:pt x="412" y="225"/>
                  </a:lnTo>
                  <a:lnTo>
                    <a:pt x="409" y="224"/>
                  </a:lnTo>
                  <a:lnTo>
                    <a:pt x="407" y="223"/>
                  </a:lnTo>
                  <a:lnTo>
                    <a:pt x="403" y="223"/>
                  </a:lnTo>
                  <a:lnTo>
                    <a:pt x="401" y="223"/>
                  </a:lnTo>
                  <a:lnTo>
                    <a:pt x="398" y="224"/>
                  </a:lnTo>
                  <a:lnTo>
                    <a:pt x="395" y="225"/>
                  </a:lnTo>
                  <a:lnTo>
                    <a:pt x="393"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8" name="Freeform 252">
              <a:extLst>
                <a:ext uri="{FF2B5EF4-FFF2-40B4-BE49-F238E27FC236}">
                  <a16:creationId xmlns:a16="http://schemas.microsoft.com/office/drawing/2014/main" id="{43093C84-6A53-46B2-88E3-DBEDCDD02B63}"/>
                </a:ext>
              </a:extLst>
            </p:cNvPr>
            <p:cNvSpPr>
              <a:spLocks/>
            </p:cNvSpPr>
            <p:nvPr/>
          </p:nvSpPr>
          <p:spPr bwMode="auto">
            <a:xfrm>
              <a:off x="6651625" y="2562226"/>
              <a:ext cx="104775" cy="123825"/>
            </a:xfrm>
            <a:custGeom>
              <a:avLst/>
              <a:gdLst>
                <a:gd name="T0" fmla="*/ 15 w 328"/>
                <a:gd name="T1" fmla="*/ 0 h 388"/>
                <a:gd name="T2" fmla="*/ 9 w 328"/>
                <a:gd name="T3" fmla="*/ 1 h 388"/>
                <a:gd name="T4" fmla="*/ 4 w 328"/>
                <a:gd name="T5" fmla="*/ 4 h 388"/>
                <a:gd name="T6" fmla="*/ 1 w 328"/>
                <a:gd name="T7" fmla="*/ 10 h 388"/>
                <a:gd name="T8" fmla="*/ 0 w 328"/>
                <a:gd name="T9" fmla="*/ 15 h 388"/>
                <a:gd name="T10" fmla="*/ 1 w 328"/>
                <a:gd name="T11" fmla="*/ 20 h 388"/>
                <a:gd name="T12" fmla="*/ 4 w 328"/>
                <a:gd name="T13" fmla="*/ 26 h 388"/>
                <a:gd name="T14" fmla="*/ 9 w 328"/>
                <a:gd name="T15" fmla="*/ 29 h 388"/>
                <a:gd name="T16" fmla="*/ 15 w 328"/>
                <a:gd name="T17" fmla="*/ 30 h 388"/>
                <a:gd name="T18" fmla="*/ 190 w 328"/>
                <a:gd name="T19" fmla="*/ 31 h 388"/>
                <a:gd name="T20" fmla="*/ 213 w 328"/>
                <a:gd name="T21" fmla="*/ 36 h 388"/>
                <a:gd name="T22" fmla="*/ 234 w 328"/>
                <a:gd name="T23" fmla="*/ 47 h 388"/>
                <a:gd name="T24" fmla="*/ 254 w 328"/>
                <a:gd name="T25" fmla="*/ 62 h 388"/>
                <a:gd name="T26" fmla="*/ 270 w 328"/>
                <a:gd name="T27" fmla="*/ 80 h 388"/>
                <a:gd name="T28" fmla="*/ 284 w 328"/>
                <a:gd name="T29" fmla="*/ 102 h 388"/>
                <a:gd name="T30" fmla="*/ 293 w 328"/>
                <a:gd name="T31" fmla="*/ 125 h 388"/>
                <a:gd name="T32" fmla="*/ 299 w 328"/>
                <a:gd name="T33" fmla="*/ 151 h 388"/>
                <a:gd name="T34" fmla="*/ 299 w 328"/>
                <a:gd name="T35" fmla="*/ 240 h 388"/>
                <a:gd name="T36" fmla="*/ 296 w 328"/>
                <a:gd name="T37" fmla="*/ 263 h 388"/>
                <a:gd name="T38" fmla="*/ 289 w 328"/>
                <a:gd name="T39" fmla="*/ 286 h 388"/>
                <a:gd name="T40" fmla="*/ 278 w 328"/>
                <a:gd name="T41" fmla="*/ 306 h 388"/>
                <a:gd name="T42" fmla="*/ 263 w 328"/>
                <a:gd name="T43" fmla="*/ 323 h 388"/>
                <a:gd name="T44" fmla="*/ 245 w 328"/>
                <a:gd name="T45" fmla="*/ 338 h 388"/>
                <a:gd name="T46" fmla="*/ 226 w 328"/>
                <a:gd name="T47" fmla="*/ 349 h 388"/>
                <a:gd name="T48" fmla="*/ 203 w 328"/>
                <a:gd name="T49" fmla="*/ 356 h 388"/>
                <a:gd name="T50" fmla="*/ 180 w 328"/>
                <a:gd name="T51" fmla="*/ 358 h 388"/>
                <a:gd name="T52" fmla="*/ 12 w 328"/>
                <a:gd name="T53" fmla="*/ 359 h 388"/>
                <a:gd name="T54" fmla="*/ 7 w 328"/>
                <a:gd name="T55" fmla="*/ 361 h 388"/>
                <a:gd name="T56" fmla="*/ 2 w 328"/>
                <a:gd name="T57" fmla="*/ 365 h 388"/>
                <a:gd name="T58" fmla="*/ 0 w 328"/>
                <a:gd name="T59" fmla="*/ 370 h 388"/>
                <a:gd name="T60" fmla="*/ 0 w 328"/>
                <a:gd name="T61" fmla="*/ 376 h 388"/>
                <a:gd name="T62" fmla="*/ 2 w 328"/>
                <a:gd name="T63" fmla="*/ 382 h 388"/>
                <a:gd name="T64" fmla="*/ 7 w 328"/>
                <a:gd name="T65" fmla="*/ 386 h 388"/>
                <a:gd name="T66" fmla="*/ 12 w 328"/>
                <a:gd name="T67" fmla="*/ 388 h 388"/>
                <a:gd name="T68" fmla="*/ 180 w 328"/>
                <a:gd name="T69" fmla="*/ 388 h 388"/>
                <a:gd name="T70" fmla="*/ 209 w 328"/>
                <a:gd name="T71" fmla="*/ 385 h 388"/>
                <a:gd name="T72" fmla="*/ 236 w 328"/>
                <a:gd name="T73" fmla="*/ 376 h 388"/>
                <a:gd name="T74" fmla="*/ 262 w 328"/>
                <a:gd name="T75" fmla="*/ 363 h 388"/>
                <a:gd name="T76" fmla="*/ 285 w 328"/>
                <a:gd name="T77" fmla="*/ 344 h 388"/>
                <a:gd name="T78" fmla="*/ 303 w 328"/>
                <a:gd name="T79" fmla="*/ 322 h 388"/>
                <a:gd name="T80" fmla="*/ 317 w 328"/>
                <a:gd name="T81" fmla="*/ 296 h 388"/>
                <a:gd name="T82" fmla="*/ 325 w 328"/>
                <a:gd name="T83" fmla="*/ 268 h 388"/>
                <a:gd name="T84" fmla="*/ 328 w 328"/>
                <a:gd name="T85" fmla="*/ 240 h 388"/>
                <a:gd name="T86" fmla="*/ 327 w 328"/>
                <a:gd name="T87" fmla="*/ 148 h 388"/>
                <a:gd name="T88" fmla="*/ 321 w 328"/>
                <a:gd name="T89" fmla="*/ 118 h 388"/>
                <a:gd name="T90" fmla="*/ 309 w 328"/>
                <a:gd name="T91" fmla="*/ 89 h 388"/>
                <a:gd name="T92" fmla="*/ 293 w 328"/>
                <a:gd name="T93" fmla="*/ 62 h 388"/>
                <a:gd name="T94" fmla="*/ 272 w 328"/>
                <a:gd name="T95" fmla="*/ 40 h 388"/>
                <a:gd name="T96" fmla="*/ 248 w 328"/>
                <a:gd name="T97" fmla="*/ 21 h 388"/>
                <a:gd name="T98" fmla="*/ 222 w 328"/>
                <a:gd name="T99" fmla="*/ 8 h 388"/>
                <a:gd name="T100" fmla="*/ 194 w 328"/>
                <a:gd name="T101" fmla="*/ 1 h 388"/>
                <a:gd name="T102" fmla="*/ 180 w 328"/>
                <a:gd name="T103"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 h="388">
                  <a:moveTo>
                    <a:pt x="180" y="0"/>
                  </a:moveTo>
                  <a:lnTo>
                    <a:pt x="15" y="0"/>
                  </a:lnTo>
                  <a:lnTo>
                    <a:pt x="12" y="0"/>
                  </a:lnTo>
                  <a:lnTo>
                    <a:pt x="9" y="1"/>
                  </a:lnTo>
                  <a:lnTo>
                    <a:pt x="7" y="2"/>
                  </a:lnTo>
                  <a:lnTo>
                    <a:pt x="4" y="4"/>
                  </a:lnTo>
                  <a:lnTo>
                    <a:pt x="2" y="6"/>
                  </a:lnTo>
                  <a:lnTo>
                    <a:pt x="1" y="10"/>
                  </a:lnTo>
                  <a:lnTo>
                    <a:pt x="0" y="12"/>
                  </a:lnTo>
                  <a:lnTo>
                    <a:pt x="0" y="15"/>
                  </a:lnTo>
                  <a:lnTo>
                    <a:pt x="0" y="18"/>
                  </a:lnTo>
                  <a:lnTo>
                    <a:pt x="1" y="20"/>
                  </a:lnTo>
                  <a:lnTo>
                    <a:pt x="2" y="24"/>
                  </a:lnTo>
                  <a:lnTo>
                    <a:pt x="4" y="26"/>
                  </a:lnTo>
                  <a:lnTo>
                    <a:pt x="7" y="28"/>
                  </a:lnTo>
                  <a:lnTo>
                    <a:pt x="9" y="29"/>
                  </a:lnTo>
                  <a:lnTo>
                    <a:pt x="12" y="30"/>
                  </a:lnTo>
                  <a:lnTo>
                    <a:pt x="15" y="30"/>
                  </a:lnTo>
                  <a:lnTo>
                    <a:pt x="180" y="30"/>
                  </a:lnTo>
                  <a:lnTo>
                    <a:pt x="190" y="31"/>
                  </a:lnTo>
                  <a:lnTo>
                    <a:pt x="202" y="33"/>
                  </a:lnTo>
                  <a:lnTo>
                    <a:pt x="213" y="36"/>
                  </a:lnTo>
                  <a:lnTo>
                    <a:pt x="224" y="41"/>
                  </a:lnTo>
                  <a:lnTo>
                    <a:pt x="234" y="47"/>
                  </a:lnTo>
                  <a:lnTo>
                    <a:pt x="244" y="54"/>
                  </a:lnTo>
                  <a:lnTo>
                    <a:pt x="254" y="62"/>
                  </a:lnTo>
                  <a:lnTo>
                    <a:pt x="262" y="71"/>
                  </a:lnTo>
                  <a:lnTo>
                    <a:pt x="270" y="80"/>
                  </a:lnTo>
                  <a:lnTo>
                    <a:pt x="277" y="91"/>
                  </a:lnTo>
                  <a:lnTo>
                    <a:pt x="284" y="102"/>
                  </a:lnTo>
                  <a:lnTo>
                    <a:pt x="289" y="113"/>
                  </a:lnTo>
                  <a:lnTo>
                    <a:pt x="293" y="125"/>
                  </a:lnTo>
                  <a:lnTo>
                    <a:pt x="296" y="138"/>
                  </a:lnTo>
                  <a:lnTo>
                    <a:pt x="299" y="151"/>
                  </a:lnTo>
                  <a:lnTo>
                    <a:pt x="299" y="164"/>
                  </a:lnTo>
                  <a:lnTo>
                    <a:pt x="299" y="240"/>
                  </a:lnTo>
                  <a:lnTo>
                    <a:pt x="299" y="251"/>
                  </a:lnTo>
                  <a:lnTo>
                    <a:pt x="296" y="263"/>
                  </a:lnTo>
                  <a:lnTo>
                    <a:pt x="293" y="274"/>
                  </a:lnTo>
                  <a:lnTo>
                    <a:pt x="289" y="286"/>
                  </a:lnTo>
                  <a:lnTo>
                    <a:pt x="285" y="295"/>
                  </a:lnTo>
                  <a:lnTo>
                    <a:pt x="278" y="306"/>
                  </a:lnTo>
                  <a:lnTo>
                    <a:pt x="271" y="314"/>
                  </a:lnTo>
                  <a:lnTo>
                    <a:pt x="263" y="323"/>
                  </a:lnTo>
                  <a:lnTo>
                    <a:pt x="255" y="330"/>
                  </a:lnTo>
                  <a:lnTo>
                    <a:pt x="245" y="338"/>
                  </a:lnTo>
                  <a:lnTo>
                    <a:pt x="235" y="344"/>
                  </a:lnTo>
                  <a:lnTo>
                    <a:pt x="226" y="349"/>
                  </a:lnTo>
                  <a:lnTo>
                    <a:pt x="214" y="353"/>
                  </a:lnTo>
                  <a:lnTo>
                    <a:pt x="203" y="356"/>
                  </a:lnTo>
                  <a:lnTo>
                    <a:pt x="192" y="358"/>
                  </a:lnTo>
                  <a:lnTo>
                    <a:pt x="180" y="358"/>
                  </a:lnTo>
                  <a:lnTo>
                    <a:pt x="15" y="358"/>
                  </a:lnTo>
                  <a:lnTo>
                    <a:pt x="12" y="359"/>
                  </a:lnTo>
                  <a:lnTo>
                    <a:pt x="9" y="359"/>
                  </a:lnTo>
                  <a:lnTo>
                    <a:pt x="7" y="361"/>
                  </a:lnTo>
                  <a:lnTo>
                    <a:pt x="4" y="363"/>
                  </a:lnTo>
                  <a:lnTo>
                    <a:pt x="2" y="365"/>
                  </a:lnTo>
                  <a:lnTo>
                    <a:pt x="1" y="368"/>
                  </a:lnTo>
                  <a:lnTo>
                    <a:pt x="0" y="370"/>
                  </a:lnTo>
                  <a:lnTo>
                    <a:pt x="0" y="373"/>
                  </a:lnTo>
                  <a:lnTo>
                    <a:pt x="0" y="376"/>
                  </a:lnTo>
                  <a:lnTo>
                    <a:pt x="1" y="380"/>
                  </a:lnTo>
                  <a:lnTo>
                    <a:pt x="2" y="382"/>
                  </a:lnTo>
                  <a:lnTo>
                    <a:pt x="4" y="384"/>
                  </a:lnTo>
                  <a:lnTo>
                    <a:pt x="7" y="386"/>
                  </a:lnTo>
                  <a:lnTo>
                    <a:pt x="9" y="387"/>
                  </a:lnTo>
                  <a:lnTo>
                    <a:pt x="12" y="388"/>
                  </a:lnTo>
                  <a:lnTo>
                    <a:pt x="15" y="388"/>
                  </a:lnTo>
                  <a:lnTo>
                    <a:pt x="180" y="388"/>
                  </a:lnTo>
                  <a:lnTo>
                    <a:pt x="195" y="387"/>
                  </a:lnTo>
                  <a:lnTo>
                    <a:pt x="209" y="385"/>
                  </a:lnTo>
                  <a:lnTo>
                    <a:pt x="224" y="382"/>
                  </a:lnTo>
                  <a:lnTo>
                    <a:pt x="236" y="376"/>
                  </a:lnTo>
                  <a:lnTo>
                    <a:pt x="249" y="370"/>
                  </a:lnTo>
                  <a:lnTo>
                    <a:pt x="262" y="363"/>
                  </a:lnTo>
                  <a:lnTo>
                    <a:pt x="274" y="354"/>
                  </a:lnTo>
                  <a:lnTo>
                    <a:pt x="285" y="344"/>
                  </a:lnTo>
                  <a:lnTo>
                    <a:pt x="294" y="334"/>
                  </a:lnTo>
                  <a:lnTo>
                    <a:pt x="303" y="322"/>
                  </a:lnTo>
                  <a:lnTo>
                    <a:pt x="310" y="310"/>
                  </a:lnTo>
                  <a:lnTo>
                    <a:pt x="317" y="296"/>
                  </a:lnTo>
                  <a:lnTo>
                    <a:pt x="322" y="283"/>
                  </a:lnTo>
                  <a:lnTo>
                    <a:pt x="325" y="268"/>
                  </a:lnTo>
                  <a:lnTo>
                    <a:pt x="327" y="255"/>
                  </a:lnTo>
                  <a:lnTo>
                    <a:pt x="328" y="240"/>
                  </a:lnTo>
                  <a:lnTo>
                    <a:pt x="328" y="164"/>
                  </a:lnTo>
                  <a:lnTo>
                    <a:pt x="327" y="148"/>
                  </a:lnTo>
                  <a:lnTo>
                    <a:pt x="325" y="133"/>
                  </a:lnTo>
                  <a:lnTo>
                    <a:pt x="321" y="118"/>
                  </a:lnTo>
                  <a:lnTo>
                    <a:pt x="316" y="103"/>
                  </a:lnTo>
                  <a:lnTo>
                    <a:pt x="309" y="89"/>
                  </a:lnTo>
                  <a:lnTo>
                    <a:pt x="302" y="75"/>
                  </a:lnTo>
                  <a:lnTo>
                    <a:pt x="293" y="62"/>
                  </a:lnTo>
                  <a:lnTo>
                    <a:pt x="282" y="50"/>
                  </a:lnTo>
                  <a:lnTo>
                    <a:pt x="272" y="40"/>
                  </a:lnTo>
                  <a:lnTo>
                    <a:pt x="260" y="30"/>
                  </a:lnTo>
                  <a:lnTo>
                    <a:pt x="248" y="21"/>
                  </a:lnTo>
                  <a:lnTo>
                    <a:pt x="235" y="14"/>
                  </a:lnTo>
                  <a:lnTo>
                    <a:pt x="222" y="8"/>
                  </a:lnTo>
                  <a:lnTo>
                    <a:pt x="208" y="3"/>
                  </a:lnTo>
                  <a:lnTo>
                    <a:pt x="194" y="1"/>
                  </a:lnTo>
                  <a:lnTo>
                    <a:pt x="180" y="0"/>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45" name="Gruppieren 644">
            <a:extLst>
              <a:ext uri="{FF2B5EF4-FFF2-40B4-BE49-F238E27FC236}">
                <a16:creationId xmlns:a16="http://schemas.microsoft.com/office/drawing/2014/main" id="{F4047666-2639-4EBA-9E69-B81D2AD2DC9F}"/>
              </a:ext>
            </a:extLst>
          </p:cNvPr>
          <p:cNvGrpSpPr>
            <a:grpSpLocks noChangeAspect="1"/>
          </p:cNvGrpSpPr>
          <p:nvPr/>
        </p:nvGrpSpPr>
        <p:grpSpPr>
          <a:xfrm>
            <a:off x="3657290" y="3339586"/>
            <a:ext cx="308350" cy="154175"/>
            <a:chOff x="4146137" y="2411021"/>
            <a:chExt cx="476250" cy="238125"/>
          </a:xfrm>
          <a:solidFill>
            <a:schemeClr val="bg2"/>
          </a:solidFill>
          <a:effectLst/>
        </p:grpSpPr>
        <p:sp>
          <p:nvSpPr>
            <p:cNvPr id="646" name="Freeform 5">
              <a:extLst>
                <a:ext uri="{FF2B5EF4-FFF2-40B4-BE49-F238E27FC236}">
                  <a16:creationId xmlns:a16="http://schemas.microsoft.com/office/drawing/2014/main" id="{43B58E86-E514-4745-B921-9D86009F9FA2}"/>
                </a:ext>
              </a:extLst>
            </p:cNvPr>
            <p:cNvSpPr>
              <a:spLocks noEditPoints="1"/>
            </p:cNvSpPr>
            <p:nvPr/>
          </p:nvSpPr>
          <p:spPr bwMode="auto">
            <a:xfrm>
              <a:off x="4146137" y="2411021"/>
              <a:ext cx="476250" cy="238125"/>
            </a:xfrm>
            <a:custGeom>
              <a:avLst/>
              <a:gdLst>
                <a:gd name="T0" fmla="*/ 47 w 1198"/>
                <a:gd name="T1" fmla="*/ 552 h 599"/>
                <a:gd name="T2" fmla="*/ 1152 w 1198"/>
                <a:gd name="T3" fmla="*/ 552 h 599"/>
                <a:gd name="T4" fmla="*/ 1152 w 1198"/>
                <a:gd name="T5" fmla="*/ 46 h 599"/>
                <a:gd name="T6" fmla="*/ 47 w 1198"/>
                <a:gd name="T7" fmla="*/ 46 h 599"/>
                <a:gd name="T8" fmla="*/ 47 w 1198"/>
                <a:gd name="T9" fmla="*/ 552 h 599"/>
                <a:gd name="T10" fmla="*/ 1175 w 1198"/>
                <a:gd name="T11" fmla="*/ 599 h 599"/>
                <a:gd name="T12" fmla="*/ 23 w 1198"/>
                <a:gd name="T13" fmla="*/ 599 h 599"/>
                <a:gd name="T14" fmla="*/ 18 w 1198"/>
                <a:gd name="T15" fmla="*/ 599 h 599"/>
                <a:gd name="T16" fmla="*/ 13 w 1198"/>
                <a:gd name="T17" fmla="*/ 597 h 599"/>
                <a:gd name="T18" fmla="*/ 10 w 1198"/>
                <a:gd name="T19" fmla="*/ 595 h 599"/>
                <a:gd name="T20" fmla="*/ 7 w 1198"/>
                <a:gd name="T21" fmla="*/ 592 h 599"/>
                <a:gd name="T22" fmla="*/ 4 w 1198"/>
                <a:gd name="T23" fmla="*/ 589 h 599"/>
                <a:gd name="T24" fmla="*/ 1 w 1198"/>
                <a:gd name="T25" fmla="*/ 584 h 599"/>
                <a:gd name="T26" fmla="*/ 0 w 1198"/>
                <a:gd name="T27" fmla="*/ 581 h 599"/>
                <a:gd name="T28" fmla="*/ 0 w 1198"/>
                <a:gd name="T29" fmla="*/ 576 h 599"/>
                <a:gd name="T30" fmla="*/ 0 w 1198"/>
                <a:gd name="T31" fmla="*/ 23 h 599"/>
                <a:gd name="T32" fmla="*/ 0 w 1198"/>
                <a:gd name="T33" fmla="*/ 19 h 599"/>
                <a:gd name="T34" fmla="*/ 1 w 1198"/>
                <a:gd name="T35" fmla="*/ 14 h 599"/>
                <a:gd name="T36" fmla="*/ 4 w 1198"/>
                <a:gd name="T37" fmla="*/ 10 h 599"/>
                <a:gd name="T38" fmla="*/ 7 w 1198"/>
                <a:gd name="T39" fmla="*/ 7 h 599"/>
                <a:gd name="T40" fmla="*/ 10 w 1198"/>
                <a:gd name="T41" fmla="*/ 4 h 599"/>
                <a:gd name="T42" fmla="*/ 13 w 1198"/>
                <a:gd name="T43" fmla="*/ 2 h 599"/>
                <a:gd name="T44" fmla="*/ 18 w 1198"/>
                <a:gd name="T45" fmla="*/ 0 h 599"/>
                <a:gd name="T46" fmla="*/ 23 w 1198"/>
                <a:gd name="T47" fmla="*/ 0 h 599"/>
                <a:gd name="T48" fmla="*/ 1175 w 1198"/>
                <a:gd name="T49" fmla="*/ 0 h 599"/>
                <a:gd name="T50" fmla="*/ 1180 w 1198"/>
                <a:gd name="T51" fmla="*/ 0 h 599"/>
                <a:gd name="T52" fmla="*/ 1184 w 1198"/>
                <a:gd name="T53" fmla="*/ 2 h 599"/>
                <a:gd name="T54" fmla="*/ 1187 w 1198"/>
                <a:gd name="T55" fmla="*/ 4 h 599"/>
                <a:gd name="T56" fmla="*/ 1191 w 1198"/>
                <a:gd name="T57" fmla="*/ 7 h 599"/>
                <a:gd name="T58" fmla="*/ 1193 w 1198"/>
                <a:gd name="T59" fmla="*/ 10 h 599"/>
                <a:gd name="T60" fmla="*/ 1196 w 1198"/>
                <a:gd name="T61" fmla="*/ 14 h 599"/>
                <a:gd name="T62" fmla="*/ 1197 w 1198"/>
                <a:gd name="T63" fmla="*/ 19 h 599"/>
                <a:gd name="T64" fmla="*/ 1198 w 1198"/>
                <a:gd name="T65" fmla="*/ 23 h 599"/>
                <a:gd name="T66" fmla="*/ 1198 w 1198"/>
                <a:gd name="T67" fmla="*/ 576 h 599"/>
                <a:gd name="T68" fmla="*/ 1197 w 1198"/>
                <a:gd name="T69" fmla="*/ 581 h 599"/>
                <a:gd name="T70" fmla="*/ 1196 w 1198"/>
                <a:gd name="T71" fmla="*/ 584 h 599"/>
                <a:gd name="T72" fmla="*/ 1193 w 1198"/>
                <a:gd name="T73" fmla="*/ 589 h 599"/>
                <a:gd name="T74" fmla="*/ 1191 w 1198"/>
                <a:gd name="T75" fmla="*/ 592 h 599"/>
                <a:gd name="T76" fmla="*/ 1187 w 1198"/>
                <a:gd name="T77" fmla="*/ 595 h 599"/>
                <a:gd name="T78" fmla="*/ 1184 w 1198"/>
                <a:gd name="T79" fmla="*/ 597 h 599"/>
                <a:gd name="T80" fmla="*/ 1180 w 1198"/>
                <a:gd name="T81" fmla="*/ 599 h 599"/>
                <a:gd name="T82" fmla="*/ 1175 w 1198"/>
                <a:gd name="T83"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8" h="599">
                  <a:moveTo>
                    <a:pt x="47" y="552"/>
                  </a:moveTo>
                  <a:lnTo>
                    <a:pt x="1152" y="552"/>
                  </a:lnTo>
                  <a:lnTo>
                    <a:pt x="1152" y="46"/>
                  </a:lnTo>
                  <a:lnTo>
                    <a:pt x="47" y="46"/>
                  </a:lnTo>
                  <a:lnTo>
                    <a:pt x="47" y="552"/>
                  </a:lnTo>
                  <a:close/>
                  <a:moveTo>
                    <a:pt x="1175" y="599"/>
                  </a:moveTo>
                  <a:lnTo>
                    <a:pt x="23" y="599"/>
                  </a:lnTo>
                  <a:lnTo>
                    <a:pt x="18" y="599"/>
                  </a:lnTo>
                  <a:lnTo>
                    <a:pt x="13" y="597"/>
                  </a:lnTo>
                  <a:lnTo>
                    <a:pt x="10" y="595"/>
                  </a:lnTo>
                  <a:lnTo>
                    <a:pt x="7" y="592"/>
                  </a:lnTo>
                  <a:lnTo>
                    <a:pt x="4" y="589"/>
                  </a:lnTo>
                  <a:lnTo>
                    <a:pt x="1" y="584"/>
                  </a:lnTo>
                  <a:lnTo>
                    <a:pt x="0" y="581"/>
                  </a:lnTo>
                  <a:lnTo>
                    <a:pt x="0" y="576"/>
                  </a:lnTo>
                  <a:lnTo>
                    <a:pt x="0" y="23"/>
                  </a:lnTo>
                  <a:lnTo>
                    <a:pt x="0" y="19"/>
                  </a:lnTo>
                  <a:lnTo>
                    <a:pt x="1" y="14"/>
                  </a:lnTo>
                  <a:lnTo>
                    <a:pt x="4" y="10"/>
                  </a:lnTo>
                  <a:lnTo>
                    <a:pt x="7" y="7"/>
                  </a:lnTo>
                  <a:lnTo>
                    <a:pt x="10" y="4"/>
                  </a:lnTo>
                  <a:lnTo>
                    <a:pt x="13" y="2"/>
                  </a:lnTo>
                  <a:lnTo>
                    <a:pt x="18" y="0"/>
                  </a:lnTo>
                  <a:lnTo>
                    <a:pt x="23" y="0"/>
                  </a:lnTo>
                  <a:lnTo>
                    <a:pt x="1175" y="0"/>
                  </a:lnTo>
                  <a:lnTo>
                    <a:pt x="1180" y="0"/>
                  </a:lnTo>
                  <a:lnTo>
                    <a:pt x="1184" y="2"/>
                  </a:lnTo>
                  <a:lnTo>
                    <a:pt x="1187" y="4"/>
                  </a:lnTo>
                  <a:lnTo>
                    <a:pt x="1191" y="7"/>
                  </a:lnTo>
                  <a:lnTo>
                    <a:pt x="1193" y="10"/>
                  </a:lnTo>
                  <a:lnTo>
                    <a:pt x="1196" y="14"/>
                  </a:lnTo>
                  <a:lnTo>
                    <a:pt x="1197" y="19"/>
                  </a:lnTo>
                  <a:lnTo>
                    <a:pt x="1198" y="23"/>
                  </a:lnTo>
                  <a:lnTo>
                    <a:pt x="1198" y="576"/>
                  </a:lnTo>
                  <a:lnTo>
                    <a:pt x="1197" y="581"/>
                  </a:lnTo>
                  <a:lnTo>
                    <a:pt x="1196" y="584"/>
                  </a:lnTo>
                  <a:lnTo>
                    <a:pt x="1193" y="589"/>
                  </a:lnTo>
                  <a:lnTo>
                    <a:pt x="1191" y="592"/>
                  </a:lnTo>
                  <a:lnTo>
                    <a:pt x="1187" y="595"/>
                  </a:lnTo>
                  <a:lnTo>
                    <a:pt x="1184" y="597"/>
                  </a:lnTo>
                  <a:lnTo>
                    <a:pt x="1180" y="599"/>
                  </a:lnTo>
                  <a:lnTo>
                    <a:pt x="1175" y="5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86">
              <a:extLst>
                <a:ext uri="{FF2B5EF4-FFF2-40B4-BE49-F238E27FC236}">
                  <a16:creationId xmlns:a16="http://schemas.microsoft.com/office/drawing/2014/main" id="{273E7C50-8CA9-473F-853C-3AB68C41B9B1}"/>
                </a:ext>
              </a:extLst>
            </p:cNvPr>
            <p:cNvSpPr>
              <a:spLocks/>
            </p:cNvSpPr>
            <p:nvPr/>
          </p:nvSpPr>
          <p:spPr bwMode="auto">
            <a:xfrm>
              <a:off x="4365212" y="2423721"/>
              <a:ext cx="73025" cy="225425"/>
            </a:xfrm>
            <a:custGeom>
              <a:avLst/>
              <a:gdLst>
                <a:gd name="T0" fmla="*/ 20 w 183"/>
                <a:gd name="T1" fmla="*/ 567 h 568"/>
                <a:gd name="T2" fmla="*/ 11 w 183"/>
                <a:gd name="T3" fmla="*/ 564 h 568"/>
                <a:gd name="T4" fmla="*/ 5 w 183"/>
                <a:gd name="T5" fmla="*/ 558 h 568"/>
                <a:gd name="T6" fmla="*/ 1 w 183"/>
                <a:gd name="T7" fmla="*/ 550 h 568"/>
                <a:gd name="T8" fmla="*/ 1 w 183"/>
                <a:gd name="T9" fmla="*/ 317 h 568"/>
                <a:gd name="T10" fmla="*/ 5 w 183"/>
                <a:gd name="T11" fmla="*/ 303 h 568"/>
                <a:gd name="T12" fmla="*/ 16 w 183"/>
                <a:gd name="T13" fmla="*/ 294 h 568"/>
                <a:gd name="T14" fmla="*/ 30 w 183"/>
                <a:gd name="T15" fmla="*/ 294 h 568"/>
                <a:gd name="T16" fmla="*/ 41 w 183"/>
                <a:gd name="T17" fmla="*/ 301 h 568"/>
                <a:gd name="T18" fmla="*/ 59 w 183"/>
                <a:gd name="T19" fmla="*/ 313 h 568"/>
                <a:gd name="T20" fmla="*/ 80 w 183"/>
                <a:gd name="T21" fmla="*/ 318 h 568"/>
                <a:gd name="T22" fmla="*/ 102 w 183"/>
                <a:gd name="T23" fmla="*/ 314 h 568"/>
                <a:gd name="T24" fmla="*/ 120 w 183"/>
                <a:gd name="T25" fmla="*/ 302 h 568"/>
                <a:gd name="T26" fmla="*/ 133 w 183"/>
                <a:gd name="T27" fmla="*/ 285 h 568"/>
                <a:gd name="T28" fmla="*/ 136 w 183"/>
                <a:gd name="T29" fmla="*/ 264 h 568"/>
                <a:gd name="T30" fmla="*/ 133 w 183"/>
                <a:gd name="T31" fmla="*/ 242 h 568"/>
                <a:gd name="T32" fmla="*/ 120 w 183"/>
                <a:gd name="T33" fmla="*/ 225 h 568"/>
                <a:gd name="T34" fmla="*/ 102 w 183"/>
                <a:gd name="T35" fmla="*/ 212 h 568"/>
                <a:gd name="T36" fmla="*/ 81 w 183"/>
                <a:gd name="T37" fmla="*/ 209 h 568"/>
                <a:gd name="T38" fmla="*/ 81 w 183"/>
                <a:gd name="T39" fmla="*/ 209 h 568"/>
                <a:gd name="T40" fmla="*/ 59 w 183"/>
                <a:gd name="T41" fmla="*/ 214 h 568"/>
                <a:gd name="T42" fmla="*/ 41 w 183"/>
                <a:gd name="T43" fmla="*/ 227 h 568"/>
                <a:gd name="T44" fmla="*/ 28 w 183"/>
                <a:gd name="T45" fmla="*/ 233 h 568"/>
                <a:gd name="T46" fmla="*/ 15 w 183"/>
                <a:gd name="T47" fmla="*/ 233 h 568"/>
                <a:gd name="T48" fmla="*/ 4 w 183"/>
                <a:gd name="T49" fmla="*/ 225 h 568"/>
                <a:gd name="T50" fmla="*/ 0 w 183"/>
                <a:gd name="T51" fmla="*/ 211 h 568"/>
                <a:gd name="T52" fmla="*/ 0 w 183"/>
                <a:gd name="T53" fmla="*/ 18 h 568"/>
                <a:gd name="T54" fmla="*/ 4 w 183"/>
                <a:gd name="T55" fmla="*/ 10 h 568"/>
                <a:gd name="T56" fmla="*/ 10 w 183"/>
                <a:gd name="T57" fmla="*/ 4 h 568"/>
                <a:gd name="T58" fmla="*/ 19 w 183"/>
                <a:gd name="T59" fmla="*/ 0 h 568"/>
                <a:gd name="T60" fmla="*/ 27 w 183"/>
                <a:gd name="T61" fmla="*/ 0 h 568"/>
                <a:gd name="T62" fmla="*/ 36 w 183"/>
                <a:gd name="T63" fmla="*/ 4 h 568"/>
                <a:gd name="T64" fmla="*/ 42 w 183"/>
                <a:gd name="T65" fmla="*/ 10 h 568"/>
                <a:gd name="T66" fmla="*/ 46 w 183"/>
                <a:gd name="T67" fmla="*/ 18 h 568"/>
                <a:gd name="T68" fmla="*/ 46 w 183"/>
                <a:gd name="T69" fmla="*/ 168 h 568"/>
                <a:gd name="T70" fmla="*/ 63 w 183"/>
                <a:gd name="T71" fmla="*/ 163 h 568"/>
                <a:gd name="T72" fmla="*/ 81 w 183"/>
                <a:gd name="T73" fmla="*/ 162 h 568"/>
                <a:gd name="T74" fmla="*/ 81 w 183"/>
                <a:gd name="T75" fmla="*/ 162 h 568"/>
                <a:gd name="T76" fmla="*/ 101 w 183"/>
                <a:gd name="T77" fmla="*/ 164 h 568"/>
                <a:gd name="T78" fmla="*/ 120 w 183"/>
                <a:gd name="T79" fmla="*/ 169 h 568"/>
                <a:gd name="T80" fmla="*/ 138 w 183"/>
                <a:gd name="T81" fmla="*/ 179 h 568"/>
                <a:gd name="T82" fmla="*/ 153 w 183"/>
                <a:gd name="T83" fmla="*/ 191 h 568"/>
                <a:gd name="T84" fmla="*/ 166 w 183"/>
                <a:gd name="T85" fmla="*/ 207 h 568"/>
                <a:gd name="T86" fmla="*/ 176 w 183"/>
                <a:gd name="T87" fmla="*/ 225 h 568"/>
                <a:gd name="T88" fmla="*/ 180 w 183"/>
                <a:gd name="T89" fmla="*/ 243 h 568"/>
                <a:gd name="T90" fmla="*/ 183 w 183"/>
                <a:gd name="T91" fmla="*/ 264 h 568"/>
                <a:gd name="T92" fmla="*/ 180 w 183"/>
                <a:gd name="T93" fmla="*/ 283 h 568"/>
                <a:gd name="T94" fmla="*/ 176 w 183"/>
                <a:gd name="T95" fmla="*/ 302 h 568"/>
                <a:gd name="T96" fmla="*/ 166 w 183"/>
                <a:gd name="T97" fmla="*/ 319 h 568"/>
                <a:gd name="T98" fmla="*/ 153 w 183"/>
                <a:gd name="T99" fmla="*/ 335 h 568"/>
                <a:gd name="T100" fmla="*/ 130 w 183"/>
                <a:gd name="T101" fmla="*/ 352 h 568"/>
                <a:gd name="T102" fmla="*/ 103 w 183"/>
                <a:gd name="T103" fmla="*/ 362 h 568"/>
                <a:gd name="T104" fmla="*/ 75 w 183"/>
                <a:gd name="T105" fmla="*/ 364 h 568"/>
                <a:gd name="T106" fmla="*/ 47 w 183"/>
                <a:gd name="T107" fmla="*/ 358 h 568"/>
                <a:gd name="T108" fmla="*/ 47 w 183"/>
                <a:gd name="T109" fmla="*/ 550 h 568"/>
                <a:gd name="T110" fmla="*/ 43 w 183"/>
                <a:gd name="T111" fmla="*/ 558 h 568"/>
                <a:gd name="T112" fmla="*/ 37 w 183"/>
                <a:gd name="T113" fmla="*/ 564 h 568"/>
                <a:gd name="T114" fmla="*/ 28 w 183"/>
                <a:gd name="T115" fmla="*/ 5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3" h="568">
                  <a:moveTo>
                    <a:pt x="23" y="568"/>
                  </a:moveTo>
                  <a:lnTo>
                    <a:pt x="20" y="567"/>
                  </a:lnTo>
                  <a:lnTo>
                    <a:pt x="15" y="566"/>
                  </a:lnTo>
                  <a:lnTo>
                    <a:pt x="11" y="564"/>
                  </a:lnTo>
                  <a:lnTo>
                    <a:pt x="8" y="561"/>
                  </a:lnTo>
                  <a:lnTo>
                    <a:pt x="5" y="558"/>
                  </a:lnTo>
                  <a:lnTo>
                    <a:pt x="3" y="553"/>
                  </a:lnTo>
                  <a:lnTo>
                    <a:pt x="1" y="550"/>
                  </a:lnTo>
                  <a:lnTo>
                    <a:pt x="1" y="545"/>
                  </a:lnTo>
                  <a:lnTo>
                    <a:pt x="1" y="317"/>
                  </a:lnTo>
                  <a:lnTo>
                    <a:pt x="1" y="309"/>
                  </a:lnTo>
                  <a:lnTo>
                    <a:pt x="5" y="303"/>
                  </a:lnTo>
                  <a:lnTo>
                    <a:pt x="10" y="298"/>
                  </a:lnTo>
                  <a:lnTo>
                    <a:pt x="16" y="294"/>
                  </a:lnTo>
                  <a:lnTo>
                    <a:pt x="22" y="293"/>
                  </a:lnTo>
                  <a:lnTo>
                    <a:pt x="30" y="294"/>
                  </a:lnTo>
                  <a:lnTo>
                    <a:pt x="36" y="297"/>
                  </a:lnTo>
                  <a:lnTo>
                    <a:pt x="41" y="301"/>
                  </a:lnTo>
                  <a:lnTo>
                    <a:pt x="49" y="308"/>
                  </a:lnTo>
                  <a:lnTo>
                    <a:pt x="59" y="313"/>
                  </a:lnTo>
                  <a:lnTo>
                    <a:pt x="69" y="317"/>
                  </a:lnTo>
                  <a:lnTo>
                    <a:pt x="80" y="318"/>
                  </a:lnTo>
                  <a:lnTo>
                    <a:pt x="91" y="317"/>
                  </a:lnTo>
                  <a:lnTo>
                    <a:pt x="102" y="314"/>
                  </a:lnTo>
                  <a:lnTo>
                    <a:pt x="112" y="309"/>
                  </a:lnTo>
                  <a:lnTo>
                    <a:pt x="120" y="302"/>
                  </a:lnTo>
                  <a:lnTo>
                    <a:pt x="128" y="294"/>
                  </a:lnTo>
                  <a:lnTo>
                    <a:pt x="133" y="285"/>
                  </a:lnTo>
                  <a:lnTo>
                    <a:pt x="135" y="274"/>
                  </a:lnTo>
                  <a:lnTo>
                    <a:pt x="136" y="264"/>
                  </a:lnTo>
                  <a:lnTo>
                    <a:pt x="135" y="253"/>
                  </a:lnTo>
                  <a:lnTo>
                    <a:pt x="133" y="242"/>
                  </a:lnTo>
                  <a:lnTo>
                    <a:pt x="128" y="233"/>
                  </a:lnTo>
                  <a:lnTo>
                    <a:pt x="120" y="225"/>
                  </a:lnTo>
                  <a:lnTo>
                    <a:pt x="112" y="217"/>
                  </a:lnTo>
                  <a:lnTo>
                    <a:pt x="102" y="212"/>
                  </a:lnTo>
                  <a:lnTo>
                    <a:pt x="92" y="210"/>
                  </a:lnTo>
                  <a:lnTo>
                    <a:pt x="81" y="209"/>
                  </a:lnTo>
                  <a:lnTo>
                    <a:pt x="81" y="209"/>
                  </a:lnTo>
                  <a:lnTo>
                    <a:pt x="81" y="209"/>
                  </a:lnTo>
                  <a:lnTo>
                    <a:pt x="70" y="210"/>
                  </a:lnTo>
                  <a:lnTo>
                    <a:pt x="59" y="214"/>
                  </a:lnTo>
                  <a:lnTo>
                    <a:pt x="49" y="218"/>
                  </a:lnTo>
                  <a:lnTo>
                    <a:pt x="41" y="227"/>
                  </a:lnTo>
                  <a:lnTo>
                    <a:pt x="34" y="231"/>
                  </a:lnTo>
                  <a:lnTo>
                    <a:pt x="28" y="233"/>
                  </a:lnTo>
                  <a:lnTo>
                    <a:pt x="21" y="234"/>
                  </a:lnTo>
                  <a:lnTo>
                    <a:pt x="15" y="233"/>
                  </a:lnTo>
                  <a:lnTo>
                    <a:pt x="9" y="229"/>
                  </a:lnTo>
                  <a:lnTo>
                    <a:pt x="4" y="225"/>
                  </a:lnTo>
                  <a:lnTo>
                    <a:pt x="1" y="218"/>
                  </a:lnTo>
                  <a:lnTo>
                    <a:pt x="0" y="211"/>
                  </a:lnTo>
                  <a:lnTo>
                    <a:pt x="0" y="22"/>
                  </a:lnTo>
                  <a:lnTo>
                    <a:pt x="0" y="18"/>
                  </a:lnTo>
                  <a:lnTo>
                    <a:pt x="1" y="14"/>
                  </a:lnTo>
                  <a:lnTo>
                    <a:pt x="4" y="10"/>
                  </a:lnTo>
                  <a:lnTo>
                    <a:pt x="6" y="6"/>
                  </a:lnTo>
                  <a:lnTo>
                    <a:pt x="10" y="4"/>
                  </a:lnTo>
                  <a:lnTo>
                    <a:pt x="14" y="1"/>
                  </a:lnTo>
                  <a:lnTo>
                    <a:pt x="19" y="0"/>
                  </a:lnTo>
                  <a:lnTo>
                    <a:pt x="23" y="0"/>
                  </a:lnTo>
                  <a:lnTo>
                    <a:pt x="27" y="0"/>
                  </a:lnTo>
                  <a:lnTo>
                    <a:pt x="32" y="1"/>
                  </a:lnTo>
                  <a:lnTo>
                    <a:pt x="36" y="4"/>
                  </a:lnTo>
                  <a:lnTo>
                    <a:pt x="39" y="6"/>
                  </a:lnTo>
                  <a:lnTo>
                    <a:pt x="42" y="10"/>
                  </a:lnTo>
                  <a:lnTo>
                    <a:pt x="44" y="14"/>
                  </a:lnTo>
                  <a:lnTo>
                    <a:pt x="46" y="18"/>
                  </a:lnTo>
                  <a:lnTo>
                    <a:pt x="46" y="22"/>
                  </a:lnTo>
                  <a:lnTo>
                    <a:pt x="46" y="168"/>
                  </a:lnTo>
                  <a:lnTo>
                    <a:pt x="54" y="166"/>
                  </a:lnTo>
                  <a:lnTo>
                    <a:pt x="63" y="163"/>
                  </a:lnTo>
                  <a:lnTo>
                    <a:pt x="73" y="162"/>
                  </a:lnTo>
                  <a:lnTo>
                    <a:pt x="81" y="162"/>
                  </a:lnTo>
                  <a:lnTo>
                    <a:pt x="81" y="162"/>
                  </a:lnTo>
                  <a:lnTo>
                    <a:pt x="81" y="162"/>
                  </a:lnTo>
                  <a:lnTo>
                    <a:pt x="91" y="162"/>
                  </a:lnTo>
                  <a:lnTo>
                    <a:pt x="101" y="164"/>
                  </a:lnTo>
                  <a:lnTo>
                    <a:pt x="111" y="167"/>
                  </a:lnTo>
                  <a:lnTo>
                    <a:pt x="120" y="169"/>
                  </a:lnTo>
                  <a:lnTo>
                    <a:pt x="129" y="174"/>
                  </a:lnTo>
                  <a:lnTo>
                    <a:pt x="138" y="179"/>
                  </a:lnTo>
                  <a:lnTo>
                    <a:pt x="146" y="185"/>
                  </a:lnTo>
                  <a:lnTo>
                    <a:pt x="153" y="191"/>
                  </a:lnTo>
                  <a:lnTo>
                    <a:pt x="160" y="199"/>
                  </a:lnTo>
                  <a:lnTo>
                    <a:pt x="166" y="207"/>
                  </a:lnTo>
                  <a:lnTo>
                    <a:pt x="171" y="216"/>
                  </a:lnTo>
                  <a:lnTo>
                    <a:pt x="176" y="225"/>
                  </a:lnTo>
                  <a:lnTo>
                    <a:pt x="178" y="234"/>
                  </a:lnTo>
                  <a:lnTo>
                    <a:pt x="180" y="243"/>
                  </a:lnTo>
                  <a:lnTo>
                    <a:pt x="182" y="253"/>
                  </a:lnTo>
                  <a:lnTo>
                    <a:pt x="183" y="264"/>
                  </a:lnTo>
                  <a:lnTo>
                    <a:pt x="182" y="274"/>
                  </a:lnTo>
                  <a:lnTo>
                    <a:pt x="180" y="283"/>
                  </a:lnTo>
                  <a:lnTo>
                    <a:pt x="178" y="293"/>
                  </a:lnTo>
                  <a:lnTo>
                    <a:pt x="176" y="302"/>
                  </a:lnTo>
                  <a:lnTo>
                    <a:pt x="171" y="312"/>
                  </a:lnTo>
                  <a:lnTo>
                    <a:pt x="166" y="319"/>
                  </a:lnTo>
                  <a:lnTo>
                    <a:pt x="160" y="328"/>
                  </a:lnTo>
                  <a:lnTo>
                    <a:pt x="153" y="335"/>
                  </a:lnTo>
                  <a:lnTo>
                    <a:pt x="142" y="345"/>
                  </a:lnTo>
                  <a:lnTo>
                    <a:pt x="130" y="352"/>
                  </a:lnTo>
                  <a:lnTo>
                    <a:pt x="117" y="358"/>
                  </a:lnTo>
                  <a:lnTo>
                    <a:pt x="103" y="362"/>
                  </a:lnTo>
                  <a:lnTo>
                    <a:pt x="88" y="364"/>
                  </a:lnTo>
                  <a:lnTo>
                    <a:pt x="75" y="364"/>
                  </a:lnTo>
                  <a:lnTo>
                    <a:pt x="60" y="362"/>
                  </a:lnTo>
                  <a:lnTo>
                    <a:pt x="47" y="358"/>
                  </a:lnTo>
                  <a:lnTo>
                    <a:pt x="47" y="545"/>
                  </a:lnTo>
                  <a:lnTo>
                    <a:pt x="47" y="550"/>
                  </a:lnTo>
                  <a:lnTo>
                    <a:pt x="46" y="553"/>
                  </a:lnTo>
                  <a:lnTo>
                    <a:pt x="43" y="558"/>
                  </a:lnTo>
                  <a:lnTo>
                    <a:pt x="41" y="561"/>
                  </a:lnTo>
                  <a:lnTo>
                    <a:pt x="37" y="564"/>
                  </a:lnTo>
                  <a:lnTo>
                    <a:pt x="33" y="566"/>
                  </a:lnTo>
                  <a:lnTo>
                    <a:pt x="28" y="567"/>
                  </a:lnTo>
                  <a:lnTo>
                    <a:pt x="23"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5" name="Freeform 40">
            <a:extLst>
              <a:ext uri="{FF2B5EF4-FFF2-40B4-BE49-F238E27FC236}">
                <a16:creationId xmlns:a16="http://schemas.microsoft.com/office/drawing/2014/main" id="{F6B8ABA1-7EF4-4CC4-9C9D-47941ADC2671}"/>
              </a:ext>
            </a:extLst>
          </p:cNvPr>
          <p:cNvSpPr>
            <a:spLocks noChangeAspect="1" noEditPoints="1"/>
          </p:cNvSpPr>
          <p:nvPr/>
        </p:nvSpPr>
        <p:spPr bwMode="auto">
          <a:xfrm>
            <a:off x="4034020" y="3262499"/>
            <a:ext cx="308350" cy="308350"/>
          </a:xfrm>
          <a:custGeom>
            <a:avLst/>
            <a:gdLst>
              <a:gd name="T0" fmla="*/ 329 w 906"/>
              <a:gd name="T1" fmla="*/ 404 h 905"/>
              <a:gd name="T2" fmla="*/ 306 w 906"/>
              <a:gd name="T3" fmla="*/ 344 h 905"/>
              <a:gd name="T4" fmla="*/ 365 w 906"/>
              <a:gd name="T5" fmla="*/ 320 h 905"/>
              <a:gd name="T6" fmla="*/ 389 w 906"/>
              <a:gd name="T7" fmla="*/ 379 h 905"/>
              <a:gd name="T8" fmla="*/ 90 w 906"/>
              <a:gd name="T9" fmla="*/ 693 h 905"/>
              <a:gd name="T10" fmla="*/ 49 w 906"/>
              <a:gd name="T11" fmla="*/ 676 h 905"/>
              <a:gd name="T12" fmla="*/ 30 w 906"/>
              <a:gd name="T13" fmla="*/ 633 h 905"/>
              <a:gd name="T14" fmla="*/ 49 w 906"/>
              <a:gd name="T15" fmla="*/ 591 h 905"/>
              <a:gd name="T16" fmla="*/ 90 w 906"/>
              <a:gd name="T17" fmla="*/ 573 h 905"/>
              <a:gd name="T18" fmla="*/ 134 w 906"/>
              <a:gd name="T19" fmla="*/ 591 h 905"/>
              <a:gd name="T20" fmla="*/ 152 w 906"/>
              <a:gd name="T21" fmla="*/ 633 h 905"/>
              <a:gd name="T22" fmla="*/ 134 w 906"/>
              <a:gd name="T23" fmla="*/ 676 h 905"/>
              <a:gd name="T24" fmla="*/ 90 w 906"/>
              <a:gd name="T25" fmla="*/ 693 h 905"/>
              <a:gd name="T26" fmla="*/ 653 w 906"/>
              <a:gd name="T27" fmla="*/ 40 h 905"/>
              <a:gd name="T28" fmla="*/ 678 w 906"/>
              <a:gd name="T29" fmla="*/ 78 h 905"/>
              <a:gd name="T30" fmla="*/ 669 w 906"/>
              <a:gd name="T31" fmla="*/ 124 h 905"/>
              <a:gd name="T32" fmla="*/ 630 w 906"/>
              <a:gd name="T33" fmla="*/ 149 h 905"/>
              <a:gd name="T34" fmla="*/ 585 w 906"/>
              <a:gd name="T35" fmla="*/ 140 h 905"/>
              <a:gd name="T36" fmla="*/ 559 w 906"/>
              <a:gd name="T37" fmla="*/ 103 h 905"/>
              <a:gd name="T38" fmla="*/ 569 w 906"/>
              <a:gd name="T39" fmla="*/ 57 h 905"/>
              <a:gd name="T40" fmla="*/ 607 w 906"/>
              <a:gd name="T41" fmla="*/ 32 h 905"/>
              <a:gd name="T42" fmla="*/ 332 w 906"/>
              <a:gd name="T43" fmla="*/ 875 h 905"/>
              <a:gd name="T44" fmla="*/ 755 w 906"/>
              <a:gd name="T45" fmla="*/ 220 h 905"/>
              <a:gd name="T46" fmla="*/ 594 w 906"/>
              <a:gd name="T47" fmla="*/ 276 h 905"/>
              <a:gd name="T48" fmla="*/ 471 w 906"/>
              <a:gd name="T49" fmla="*/ 309 h 905"/>
              <a:gd name="T50" fmla="*/ 578 w 906"/>
              <a:gd name="T51" fmla="*/ 171 h 905"/>
              <a:gd name="T52" fmla="*/ 645 w 906"/>
              <a:gd name="T53" fmla="*/ 177 h 905"/>
              <a:gd name="T54" fmla="*/ 698 w 906"/>
              <a:gd name="T55" fmla="*/ 134 h 905"/>
              <a:gd name="T56" fmla="*/ 706 w 906"/>
              <a:gd name="T57" fmla="*/ 64 h 905"/>
              <a:gd name="T58" fmla="*/ 662 w 906"/>
              <a:gd name="T59" fmla="*/ 11 h 905"/>
              <a:gd name="T60" fmla="*/ 592 w 906"/>
              <a:gd name="T61" fmla="*/ 4 h 905"/>
              <a:gd name="T62" fmla="*/ 539 w 906"/>
              <a:gd name="T63" fmla="*/ 47 h 905"/>
              <a:gd name="T64" fmla="*/ 530 w 906"/>
              <a:gd name="T65" fmla="*/ 111 h 905"/>
              <a:gd name="T66" fmla="*/ 348 w 906"/>
              <a:gd name="T67" fmla="*/ 287 h 905"/>
              <a:gd name="T68" fmla="*/ 294 w 906"/>
              <a:gd name="T69" fmla="*/ 308 h 905"/>
              <a:gd name="T70" fmla="*/ 272 w 906"/>
              <a:gd name="T71" fmla="*/ 362 h 905"/>
              <a:gd name="T72" fmla="*/ 102 w 906"/>
              <a:gd name="T73" fmla="*/ 544 h 905"/>
              <a:gd name="T74" fmla="*/ 33 w 906"/>
              <a:gd name="T75" fmla="*/ 563 h 905"/>
              <a:gd name="T76" fmla="*/ 1 w 906"/>
              <a:gd name="T77" fmla="*/ 624 h 905"/>
              <a:gd name="T78" fmla="*/ 22 w 906"/>
              <a:gd name="T79" fmla="*/ 691 h 905"/>
              <a:gd name="T80" fmla="*/ 82 w 906"/>
              <a:gd name="T81" fmla="*/ 723 h 905"/>
              <a:gd name="T82" fmla="*/ 149 w 906"/>
              <a:gd name="T83" fmla="*/ 703 h 905"/>
              <a:gd name="T84" fmla="*/ 181 w 906"/>
              <a:gd name="T85" fmla="*/ 643 h 905"/>
              <a:gd name="T86" fmla="*/ 164 w 906"/>
              <a:gd name="T87" fmla="*/ 579 h 905"/>
              <a:gd name="T88" fmla="*/ 286 w 906"/>
              <a:gd name="T89" fmla="*/ 538 h 905"/>
              <a:gd name="T90" fmla="*/ 221 w 906"/>
              <a:gd name="T91" fmla="*/ 755 h 905"/>
              <a:gd name="T92" fmla="*/ 212 w 906"/>
              <a:gd name="T93" fmla="*/ 892 h 905"/>
              <a:gd name="T94" fmla="*/ 348 w 906"/>
              <a:gd name="T95" fmla="*/ 905 h 905"/>
              <a:gd name="T96" fmla="*/ 363 w 906"/>
              <a:gd name="T97" fmla="*/ 890 h 905"/>
              <a:gd name="T98" fmla="*/ 351 w 906"/>
              <a:gd name="T99" fmla="*/ 754 h 905"/>
              <a:gd name="T100" fmla="*/ 322 w 906"/>
              <a:gd name="T101" fmla="*/ 523 h 905"/>
              <a:gd name="T102" fmla="*/ 374 w 906"/>
              <a:gd name="T103" fmla="*/ 432 h 905"/>
              <a:gd name="T104" fmla="*/ 434 w 906"/>
              <a:gd name="T105" fmla="*/ 365 h 905"/>
              <a:gd name="T106" fmla="*/ 545 w 906"/>
              <a:gd name="T107" fmla="*/ 316 h 905"/>
              <a:gd name="T108" fmla="*/ 754 w 906"/>
              <a:gd name="T109" fmla="*/ 302 h 905"/>
              <a:gd name="T110" fmla="*/ 767 w 906"/>
              <a:gd name="T111" fmla="*/ 362 h 905"/>
              <a:gd name="T112" fmla="*/ 904 w 906"/>
              <a:gd name="T113" fmla="*/ 352 h 905"/>
              <a:gd name="T114" fmla="*/ 898 w 906"/>
              <a:gd name="T115" fmla="*/ 214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6" h="905">
                <a:moveTo>
                  <a:pt x="876" y="332"/>
                </a:moveTo>
                <a:lnTo>
                  <a:pt x="784" y="332"/>
                </a:lnTo>
                <a:lnTo>
                  <a:pt x="784" y="241"/>
                </a:lnTo>
                <a:lnTo>
                  <a:pt x="876" y="241"/>
                </a:lnTo>
                <a:lnTo>
                  <a:pt x="876" y="332"/>
                </a:lnTo>
                <a:close/>
                <a:moveTo>
                  <a:pt x="348" y="407"/>
                </a:moveTo>
                <a:lnTo>
                  <a:pt x="338" y="406"/>
                </a:lnTo>
                <a:lnTo>
                  <a:pt x="329" y="404"/>
                </a:lnTo>
                <a:lnTo>
                  <a:pt x="322" y="400"/>
                </a:lnTo>
                <a:lnTo>
                  <a:pt x="315" y="394"/>
                </a:lnTo>
                <a:lnTo>
                  <a:pt x="310" y="387"/>
                </a:lnTo>
                <a:lnTo>
                  <a:pt x="306" y="379"/>
                </a:lnTo>
                <a:lnTo>
                  <a:pt x="303" y="371"/>
                </a:lnTo>
                <a:lnTo>
                  <a:pt x="302" y="362"/>
                </a:lnTo>
                <a:lnTo>
                  <a:pt x="303" y="352"/>
                </a:lnTo>
                <a:lnTo>
                  <a:pt x="306" y="344"/>
                </a:lnTo>
                <a:lnTo>
                  <a:pt x="310" y="336"/>
                </a:lnTo>
                <a:lnTo>
                  <a:pt x="315" y="330"/>
                </a:lnTo>
                <a:lnTo>
                  <a:pt x="322" y="324"/>
                </a:lnTo>
                <a:lnTo>
                  <a:pt x="329" y="320"/>
                </a:lnTo>
                <a:lnTo>
                  <a:pt x="338" y="318"/>
                </a:lnTo>
                <a:lnTo>
                  <a:pt x="348" y="317"/>
                </a:lnTo>
                <a:lnTo>
                  <a:pt x="356" y="318"/>
                </a:lnTo>
                <a:lnTo>
                  <a:pt x="365" y="320"/>
                </a:lnTo>
                <a:lnTo>
                  <a:pt x="372" y="324"/>
                </a:lnTo>
                <a:lnTo>
                  <a:pt x="380" y="330"/>
                </a:lnTo>
                <a:lnTo>
                  <a:pt x="385" y="336"/>
                </a:lnTo>
                <a:lnTo>
                  <a:pt x="389" y="344"/>
                </a:lnTo>
                <a:lnTo>
                  <a:pt x="392" y="352"/>
                </a:lnTo>
                <a:lnTo>
                  <a:pt x="393" y="362"/>
                </a:lnTo>
                <a:lnTo>
                  <a:pt x="392" y="371"/>
                </a:lnTo>
                <a:lnTo>
                  <a:pt x="389" y="379"/>
                </a:lnTo>
                <a:lnTo>
                  <a:pt x="385" y="387"/>
                </a:lnTo>
                <a:lnTo>
                  <a:pt x="380" y="394"/>
                </a:lnTo>
                <a:lnTo>
                  <a:pt x="372" y="400"/>
                </a:lnTo>
                <a:lnTo>
                  <a:pt x="365" y="404"/>
                </a:lnTo>
                <a:lnTo>
                  <a:pt x="356" y="406"/>
                </a:lnTo>
                <a:lnTo>
                  <a:pt x="348" y="407"/>
                </a:lnTo>
                <a:lnTo>
                  <a:pt x="348" y="407"/>
                </a:lnTo>
                <a:close/>
                <a:moveTo>
                  <a:pt x="90" y="693"/>
                </a:moveTo>
                <a:lnTo>
                  <a:pt x="85" y="693"/>
                </a:lnTo>
                <a:lnTo>
                  <a:pt x="79" y="692"/>
                </a:lnTo>
                <a:lnTo>
                  <a:pt x="73" y="691"/>
                </a:lnTo>
                <a:lnTo>
                  <a:pt x="68" y="689"/>
                </a:lnTo>
                <a:lnTo>
                  <a:pt x="63" y="686"/>
                </a:lnTo>
                <a:lnTo>
                  <a:pt x="57" y="683"/>
                </a:lnTo>
                <a:lnTo>
                  <a:pt x="53" y="679"/>
                </a:lnTo>
                <a:lnTo>
                  <a:pt x="49" y="676"/>
                </a:lnTo>
                <a:lnTo>
                  <a:pt x="44" y="672"/>
                </a:lnTo>
                <a:lnTo>
                  <a:pt x="41" y="667"/>
                </a:lnTo>
                <a:lnTo>
                  <a:pt x="38" y="662"/>
                </a:lnTo>
                <a:lnTo>
                  <a:pt x="36" y="657"/>
                </a:lnTo>
                <a:lnTo>
                  <a:pt x="33" y="651"/>
                </a:lnTo>
                <a:lnTo>
                  <a:pt x="32" y="646"/>
                </a:lnTo>
                <a:lnTo>
                  <a:pt x="31" y="639"/>
                </a:lnTo>
                <a:lnTo>
                  <a:pt x="30" y="633"/>
                </a:lnTo>
                <a:lnTo>
                  <a:pt x="31" y="628"/>
                </a:lnTo>
                <a:lnTo>
                  <a:pt x="32" y="621"/>
                </a:lnTo>
                <a:lnTo>
                  <a:pt x="33" y="616"/>
                </a:lnTo>
                <a:lnTo>
                  <a:pt x="36" y="609"/>
                </a:lnTo>
                <a:lnTo>
                  <a:pt x="38" y="604"/>
                </a:lnTo>
                <a:lnTo>
                  <a:pt x="41" y="600"/>
                </a:lnTo>
                <a:lnTo>
                  <a:pt x="44" y="595"/>
                </a:lnTo>
                <a:lnTo>
                  <a:pt x="49" y="591"/>
                </a:lnTo>
                <a:lnTo>
                  <a:pt x="53" y="587"/>
                </a:lnTo>
                <a:lnTo>
                  <a:pt x="57" y="583"/>
                </a:lnTo>
                <a:lnTo>
                  <a:pt x="63" y="580"/>
                </a:lnTo>
                <a:lnTo>
                  <a:pt x="68" y="578"/>
                </a:lnTo>
                <a:lnTo>
                  <a:pt x="73" y="576"/>
                </a:lnTo>
                <a:lnTo>
                  <a:pt x="79" y="574"/>
                </a:lnTo>
                <a:lnTo>
                  <a:pt x="85" y="573"/>
                </a:lnTo>
                <a:lnTo>
                  <a:pt x="90" y="573"/>
                </a:lnTo>
                <a:lnTo>
                  <a:pt x="97" y="573"/>
                </a:lnTo>
                <a:lnTo>
                  <a:pt x="103" y="574"/>
                </a:lnTo>
                <a:lnTo>
                  <a:pt x="109" y="576"/>
                </a:lnTo>
                <a:lnTo>
                  <a:pt x="114" y="578"/>
                </a:lnTo>
                <a:lnTo>
                  <a:pt x="120" y="580"/>
                </a:lnTo>
                <a:lnTo>
                  <a:pt x="125" y="583"/>
                </a:lnTo>
                <a:lnTo>
                  <a:pt x="129" y="587"/>
                </a:lnTo>
                <a:lnTo>
                  <a:pt x="134" y="591"/>
                </a:lnTo>
                <a:lnTo>
                  <a:pt x="138" y="595"/>
                </a:lnTo>
                <a:lnTo>
                  <a:pt x="141" y="600"/>
                </a:lnTo>
                <a:lnTo>
                  <a:pt x="144" y="605"/>
                </a:lnTo>
                <a:lnTo>
                  <a:pt x="146" y="609"/>
                </a:lnTo>
                <a:lnTo>
                  <a:pt x="149" y="616"/>
                </a:lnTo>
                <a:lnTo>
                  <a:pt x="150" y="621"/>
                </a:lnTo>
                <a:lnTo>
                  <a:pt x="151" y="628"/>
                </a:lnTo>
                <a:lnTo>
                  <a:pt x="152" y="633"/>
                </a:lnTo>
                <a:lnTo>
                  <a:pt x="151" y="639"/>
                </a:lnTo>
                <a:lnTo>
                  <a:pt x="150" y="646"/>
                </a:lnTo>
                <a:lnTo>
                  <a:pt x="149" y="651"/>
                </a:lnTo>
                <a:lnTo>
                  <a:pt x="146" y="657"/>
                </a:lnTo>
                <a:lnTo>
                  <a:pt x="144" y="662"/>
                </a:lnTo>
                <a:lnTo>
                  <a:pt x="141" y="667"/>
                </a:lnTo>
                <a:lnTo>
                  <a:pt x="138" y="672"/>
                </a:lnTo>
                <a:lnTo>
                  <a:pt x="134" y="676"/>
                </a:lnTo>
                <a:lnTo>
                  <a:pt x="129" y="679"/>
                </a:lnTo>
                <a:lnTo>
                  <a:pt x="125" y="683"/>
                </a:lnTo>
                <a:lnTo>
                  <a:pt x="120" y="687"/>
                </a:lnTo>
                <a:lnTo>
                  <a:pt x="114" y="689"/>
                </a:lnTo>
                <a:lnTo>
                  <a:pt x="109" y="691"/>
                </a:lnTo>
                <a:lnTo>
                  <a:pt x="103" y="692"/>
                </a:lnTo>
                <a:lnTo>
                  <a:pt x="97" y="693"/>
                </a:lnTo>
                <a:lnTo>
                  <a:pt x="90" y="693"/>
                </a:lnTo>
                <a:lnTo>
                  <a:pt x="90" y="693"/>
                </a:lnTo>
                <a:close/>
                <a:moveTo>
                  <a:pt x="619" y="30"/>
                </a:moveTo>
                <a:lnTo>
                  <a:pt x="625" y="31"/>
                </a:lnTo>
                <a:lnTo>
                  <a:pt x="630" y="31"/>
                </a:lnTo>
                <a:lnTo>
                  <a:pt x="637" y="33"/>
                </a:lnTo>
                <a:lnTo>
                  <a:pt x="642" y="35"/>
                </a:lnTo>
                <a:lnTo>
                  <a:pt x="648" y="37"/>
                </a:lnTo>
                <a:lnTo>
                  <a:pt x="653" y="40"/>
                </a:lnTo>
                <a:lnTo>
                  <a:pt x="657" y="44"/>
                </a:lnTo>
                <a:lnTo>
                  <a:pt x="662" y="48"/>
                </a:lnTo>
                <a:lnTo>
                  <a:pt x="665" y="52"/>
                </a:lnTo>
                <a:lnTo>
                  <a:pt x="669" y="57"/>
                </a:lnTo>
                <a:lnTo>
                  <a:pt x="671" y="62"/>
                </a:lnTo>
                <a:lnTo>
                  <a:pt x="675" y="67"/>
                </a:lnTo>
                <a:lnTo>
                  <a:pt x="677" y="73"/>
                </a:lnTo>
                <a:lnTo>
                  <a:pt x="678" y="78"/>
                </a:lnTo>
                <a:lnTo>
                  <a:pt x="679" y="84"/>
                </a:lnTo>
                <a:lnTo>
                  <a:pt x="679" y="91"/>
                </a:lnTo>
                <a:lnTo>
                  <a:pt x="679" y="96"/>
                </a:lnTo>
                <a:lnTo>
                  <a:pt x="678" y="103"/>
                </a:lnTo>
                <a:lnTo>
                  <a:pt x="677" y="108"/>
                </a:lnTo>
                <a:lnTo>
                  <a:pt x="675" y="114"/>
                </a:lnTo>
                <a:lnTo>
                  <a:pt x="671" y="119"/>
                </a:lnTo>
                <a:lnTo>
                  <a:pt x="669" y="124"/>
                </a:lnTo>
                <a:lnTo>
                  <a:pt x="665" y="129"/>
                </a:lnTo>
                <a:lnTo>
                  <a:pt x="662" y="133"/>
                </a:lnTo>
                <a:lnTo>
                  <a:pt x="657" y="137"/>
                </a:lnTo>
                <a:lnTo>
                  <a:pt x="653" y="140"/>
                </a:lnTo>
                <a:lnTo>
                  <a:pt x="648" y="144"/>
                </a:lnTo>
                <a:lnTo>
                  <a:pt x="642" y="146"/>
                </a:lnTo>
                <a:lnTo>
                  <a:pt x="637" y="148"/>
                </a:lnTo>
                <a:lnTo>
                  <a:pt x="630" y="149"/>
                </a:lnTo>
                <a:lnTo>
                  <a:pt x="625" y="150"/>
                </a:lnTo>
                <a:lnTo>
                  <a:pt x="619" y="151"/>
                </a:lnTo>
                <a:lnTo>
                  <a:pt x="612" y="150"/>
                </a:lnTo>
                <a:lnTo>
                  <a:pt x="607" y="149"/>
                </a:lnTo>
                <a:lnTo>
                  <a:pt x="601" y="148"/>
                </a:lnTo>
                <a:lnTo>
                  <a:pt x="595" y="146"/>
                </a:lnTo>
                <a:lnTo>
                  <a:pt x="590" y="144"/>
                </a:lnTo>
                <a:lnTo>
                  <a:pt x="585" y="140"/>
                </a:lnTo>
                <a:lnTo>
                  <a:pt x="581" y="137"/>
                </a:lnTo>
                <a:lnTo>
                  <a:pt x="577" y="133"/>
                </a:lnTo>
                <a:lnTo>
                  <a:pt x="572" y="129"/>
                </a:lnTo>
                <a:lnTo>
                  <a:pt x="569" y="124"/>
                </a:lnTo>
                <a:lnTo>
                  <a:pt x="566" y="119"/>
                </a:lnTo>
                <a:lnTo>
                  <a:pt x="564" y="114"/>
                </a:lnTo>
                <a:lnTo>
                  <a:pt x="562" y="108"/>
                </a:lnTo>
                <a:lnTo>
                  <a:pt x="559" y="103"/>
                </a:lnTo>
                <a:lnTo>
                  <a:pt x="558" y="96"/>
                </a:lnTo>
                <a:lnTo>
                  <a:pt x="558" y="91"/>
                </a:lnTo>
                <a:lnTo>
                  <a:pt x="558" y="84"/>
                </a:lnTo>
                <a:lnTo>
                  <a:pt x="559" y="78"/>
                </a:lnTo>
                <a:lnTo>
                  <a:pt x="562" y="73"/>
                </a:lnTo>
                <a:lnTo>
                  <a:pt x="564" y="67"/>
                </a:lnTo>
                <a:lnTo>
                  <a:pt x="566" y="62"/>
                </a:lnTo>
                <a:lnTo>
                  <a:pt x="569" y="57"/>
                </a:lnTo>
                <a:lnTo>
                  <a:pt x="572" y="52"/>
                </a:lnTo>
                <a:lnTo>
                  <a:pt x="577" y="48"/>
                </a:lnTo>
                <a:lnTo>
                  <a:pt x="581" y="44"/>
                </a:lnTo>
                <a:lnTo>
                  <a:pt x="585" y="40"/>
                </a:lnTo>
                <a:lnTo>
                  <a:pt x="590" y="37"/>
                </a:lnTo>
                <a:lnTo>
                  <a:pt x="595" y="35"/>
                </a:lnTo>
                <a:lnTo>
                  <a:pt x="601" y="33"/>
                </a:lnTo>
                <a:lnTo>
                  <a:pt x="607" y="32"/>
                </a:lnTo>
                <a:lnTo>
                  <a:pt x="612" y="31"/>
                </a:lnTo>
                <a:lnTo>
                  <a:pt x="619" y="30"/>
                </a:lnTo>
                <a:lnTo>
                  <a:pt x="619" y="30"/>
                </a:lnTo>
                <a:close/>
                <a:moveTo>
                  <a:pt x="332" y="875"/>
                </a:moveTo>
                <a:lnTo>
                  <a:pt x="242" y="875"/>
                </a:lnTo>
                <a:lnTo>
                  <a:pt x="242" y="783"/>
                </a:lnTo>
                <a:lnTo>
                  <a:pt x="332" y="783"/>
                </a:lnTo>
                <a:lnTo>
                  <a:pt x="332" y="875"/>
                </a:lnTo>
                <a:close/>
                <a:moveTo>
                  <a:pt x="891" y="211"/>
                </a:moveTo>
                <a:lnTo>
                  <a:pt x="769" y="211"/>
                </a:lnTo>
                <a:lnTo>
                  <a:pt x="767" y="211"/>
                </a:lnTo>
                <a:lnTo>
                  <a:pt x="764" y="212"/>
                </a:lnTo>
                <a:lnTo>
                  <a:pt x="762" y="214"/>
                </a:lnTo>
                <a:lnTo>
                  <a:pt x="760" y="216"/>
                </a:lnTo>
                <a:lnTo>
                  <a:pt x="757" y="218"/>
                </a:lnTo>
                <a:lnTo>
                  <a:pt x="755" y="220"/>
                </a:lnTo>
                <a:lnTo>
                  <a:pt x="755" y="223"/>
                </a:lnTo>
                <a:lnTo>
                  <a:pt x="754" y="226"/>
                </a:lnTo>
                <a:lnTo>
                  <a:pt x="754" y="272"/>
                </a:lnTo>
                <a:lnTo>
                  <a:pt x="664" y="272"/>
                </a:lnTo>
                <a:lnTo>
                  <a:pt x="647" y="272"/>
                </a:lnTo>
                <a:lnTo>
                  <a:pt x="628" y="273"/>
                </a:lnTo>
                <a:lnTo>
                  <a:pt x="611" y="274"/>
                </a:lnTo>
                <a:lnTo>
                  <a:pt x="594" y="276"/>
                </a:lnTo>
                <a:lnTo>
                  <a:pt x="578" y="278"/>
                </a:lnTo>
                <a:lnTo>
                  <a:pt x="562" y="281"/>
                </a:lnTo>
                <a:lnTo>
                  <a:pt x="545" y="284"/>
                </a:lnTo>
                <a:lnTo>
                  <a:pt x="529" y="289"/>
                </a:lnTo>
                <a:lnTo>
                  <a:pt x="514" y="293"/>
                </a:lnTo>
                <a:lnTo>
                  <a:pt x="499" y="297"/>
                </a:lnTo>
                <a:lnTo>
                  <a:pt x="485" y="304"/>
                </a:lnTo>
                <a:lnTo>
                  <a:pt x="471" y="309"/>
                </a:lnTo>
                <a:lnTo>
                  <a:pt x="457" y="316"/>
                </a:lnTo>
                <a:lnTo>
                  <a:pt x="444" y="323"/>
                </a:lnTo>
                <a:lnTo>
                  <a:pt x="431" y="331"/>
                </a:lnTo>
                <a:lnTo>
                  <a:pt x="419" y="338"/>
                </a:lnTo>
                <a:lnTo>
                  <a:pt x="415" y="329"/>
                </a:lnTo>
                <a:lnTo>
                  <a:pt x="410" y="320"/>
                </a:lnTo>
                <a:lnTo>
                  <a:pt x="567" y="164"/>
                </a:lnTo>
                <a:lnTo>
                  <a:pt x="578" y="171"/>
                </a:lnTo>
                <a:lnTo>
                  <a:pt x="591" y="176"/>
                </a:lnTo>
                <a:lnTo>
                  <a:pt x="597" y="178"/>
                </a:lnTo>
                <a:lnTo>
                  <a:pt x="605" y="180"/>
                </a:lnTo>
                <a:lnTo>
                  <a:pt x="611" y="180"/>
                </a:lnTo>
                <a:lnTo>
                  <a:pt x="619" y="181"/>
                </a:lnTo>
                <a:lnTo>
                  <a:pt x="628" y="180"/>
                </a:lnTo>
                <a:lnTo>
                  <a:pt x="637" y="179"/>
                </a:lnTo>
                <a:lnTo>
                  <a:pt x="645" y="177"/>
                </a:lnTo>
                <a:lnTo>
                  <a:pt x="654" y="174"/>
                </a:lnTo>
                <a:lnTo>
                  <a:pt x="662" y="169"/>
                </a:lnTo>
                <a:lnTo>
                  <a:pt x="669" y="165"/>
                </a:lnTo>
                <a:lnTo>
                  <a:pt x="677" y="160"/>
                </a:lnTo>
                <a:lnTo>
                  <a:pt x="683" y="154"/>
                </a:lnTo>
                <a:lnTo>
                  <a:pt x="689" y="148"/>
                </a:lnTo>
                <a:lnTo>
                  <a:pt x="694" y="140"/>
                </a:lnTo>
                <a:lnTo>
                  <a:pt x="698" y="134"/>
                </a:lnTo>
                <a:lnTo>
                  <a:pt x="703" y="125"/>
                </a:lnTo>
                <a:lnTo>
                  <a:pt x="706" y="118"/>
                </a:lnTo>
                <a:lnTo>
                  <a:pt x="708" y="108"/>
                </a:lnTo>
                <a:lnTo>
                  <a:pt x="709" y="100"/>
                </a:lnTo>
                <a:lnTo>
                  <a:pt x="709" y="91"/>
                </a:lnTo>
                <a:lnTo>
                  <a:pt x="709" y="81"/>
                </a:lnTo>
                <a:lnTo>
                  <a:pt x="708" y="73"/>
                </a:lnTo>
                <a:lnTo>
                  <a:pt x="706" y="64"/>
                </a:lnTo>
                <a:lnTo>
                  <a:pt x="703" y="55"/>
                </a:lnTo>
                <a:lnTo>
                  <a:pt x="698" y="47"/>
                </a:lnTo>
                <a:lnTo>
                  <a:pt x="694" y="39"/>
                </a:lnTo>
                <a:lnTo>
                  <a:pt x="689" y="33"/>
                </a:lnTo>
                <a:lnTo>
                  <a:pt x="683" y="26"/>
                </a:lnTo>
                <a:lnTo>
                  <a:pt x="677" y="21"/>
                </a:lnTo>
                <a:lnTo>
                  <a:pt x="669" y="16"/>
                </a:lnTo>
                <a:lnTo>
                  <a:pt x="662" y="11"/>
                </a:lnTo>
                <a:lnTo>
                  <a:pt x="654" y="7"/>
                </a:lnTo>
                <a:lnTo>
                  <a:pt x="645" y="4"/>
                </a:lnTo>
                <a:lnTo>
                  <a:pt x="637" y="2"/>
                </a:lnTo>
                <a:lnTo>
                  <a:pt x="628" y="1"/>
                </a:lnTo>
                <a:lnTo>
                  <a:pt x="619" y="0"/>
                </a:lnTo>
                <a:lnTo>
                  <a:pt x="610" y="1"/>
                </a:lnTo>
                <a:lnTo>
                  <a:pt x="600" y="2"/>
                </a:lnTo>
                <a:lnTo>
                  <a:pt x="592" y="4"/>
                </a:lnTo>
                <a:lnTo>
                  <a:pt x="583" y="7"/>
                </a:lnTo>
                <a:lnTo>
                  <a:pt x="576" y="11"/>
                </a:lnTo>
                <a:lnTo>
                  <a:pt x="568" y="16"/>
                </a:lnTo>
                <a:lnTo>
                  <a:pt x="562" y="21"/>
                </a:lnTo>
                <a:lnTo>
                  <a:pt x="555" y="26"/>
                </a:lnTo>
                <a:lnTo>
                  <a:pt x="549" y="33"/>
                </a:lnTo>
                <a:lnTo>
                  <a:pt x="543" y="39"/>
                </a:lnTo>
                <a:lnTo>
                  <a:pt x="539" y="47"/>
                </a:lnTo>
                <a:lnTo>
                  <a:pt x="536" y="55"/>
                </a:lnTo>
                <a:lnTo>
                  <a:pt x="533" y="64"/>
                </a:lnTo>
                <a:lnTo>
                  <a:pt x="530" y="73"/>
                </a:lnTo>
                <a:lnTo>
                  <a:pt x="529" y="81"/>
                </a:lnTo>
                <a:lnTo>
                  <a:pt x="528" y="91"/>
                </a:lnTo>
                <a:lnTo>
                  <a:pt x="528" y="97"/>
                </a:lnTo>
                <a:lnTo>
                  <a:pt x="529" y="105"/>
                </a:lnTo>
                <a:lnTo>
                  <a:pt x="530" y="111"/>
                </a:lnTo>
                <a:lnTo>
                  <a:pt x="533" y="118"/>
                </a:lnTo>
                <a:lnTo>
                  <a:pt x="538" y="131"/>
                </a:lnTo>
                <a:lnTo>
                  <a:pt x="545" y="143"/>
                </a:lnTo>
                <a:lnTo>
                  <a:pt x="388" y="298"/>
                </a:lnTo>
                <a:lnTo>
                  <a:pt x="380" y="293"/>
                </a:lnTo>
                <a:lnTo>
                  <a:pt x="369" y="290"/>
                </a:lnTo>
                <a:lnTo>
                  <a:pt x="358" y="288"/>
                </a:lnTo>
                <a:lnTo>
                  <a:pt x="348" y="287"/>
                </a:lnTo>
                <a:lnTo>
                  <a:pt x="340" y="287"/>
                </a:lnTo>
                <a:lnTo>
                  <a:pt x="332" y="288"/>
                </a:lnTo>
                <a:lnTo>
                  <a:pt x="325" y="290"/>
                </a:lnTo>
                <a:lnTo>
                  <a:pt x="319" y="292"/>
                </a:lnTo>
                <a:lnTo>
                  <a:pt x="311" y="295"/>
                </a:lnTo>
                <a:lnTo>
                  <a:pt x="306" y="300"/>
                </a:lnTo>
                <a:lnTo>
                  <a:pt x="299" y="304"/>
                </a:lnTo>
                <a:lnTo>
                  <a:pt x="294" y="308"/>
                </a:lnTo>
                <a:lnTo>
                  <a:pt x="289" y="314"/>
                </a:lnTo>
                <a:lnTo>
                  <a:pt x="285" y="320"/>
                </a:lnTo>
                <a:lnTo>
                  <a:pt x="281" y="325"/>
                </a:lnTo>
                <a:lnTo>
                  <a:pt x="278" y="333"/>
                </a:lnTo>
                <a:lnTo>
                  <a:pt x="275" y="339"/>
                </a:lnTo>
                <a:lnTo>
                  <a:pt x="273" y="347"/>
                </a:lnTo>
                <a:lnTo>
                  <a:pt x="272" y="354"/>
                </a:lnTo>
                <a:lnTo>
                  <a:pt x="272" y="362"/>
                </a:lnTo>
                <a:lnTo>
                  <a:pt x="273" y="373"/>
                </a:lnTo>
                <a:lnTo>
                  <a:pt x="275" y="383"/>
                </a:lnTo>
                <a:lnTo>
                  <a:pt x="279" y="394"/>
                </a:lnTo>
                <a:lnTo>
                  <a:pt x="284" y="403"/>
                </a:lnTo>
                <a:lnTo>
                  <a:pt x="135" y="553"/>
                </a:lnTo>
                <a:lnTo>
                  <a:pt x="124" y="549"/>
                </a:lnTo>
                <a:lnTo>
                  <a:pt x="114" y="546"/>
                </a:lnTo>
                <a:lnTo>
                  <a:pt x="102" y="544"/>
                </a:lnTo>
                <a:lnTo>
                  <a:pt x="90" y="543"/>
                </a:lnTo>
                <a:lnTo>
                  <a:pt x="82" y="544"/>
                </a:lnTo>
                <a:lnTo>
                  <a:pt x="73" y="545"/>
                </a:lnTo>
                <a:lnTo>
                  <a:pt x="65" y="547"/>
                </a:lnTo>
                <a:lnTo>
                  <a:pt x="56" y="550"/>
                </a:lnTo>
                <a:lnTo>
                  <a:pt x="47" y="553"/>
                </a:lnTo>
                <a:lnTo>
                  <a:pt x="40" y="558"/>
                </a:lnTo>
                <a:lnTo>
                  <a:pt x="33" y="563"/>
                </a:lnTo>
                <a:lnTo>
                  <a:pt x="27" y="569"/>
                </a:lnTo>
                <a:lnTo>
                  <a:pt x="22" y="576"/>
                </a:lnTo>
                <a:lnTo>
                  <a:pt x="16" y="582"/>
                </a:lnTo>
                <a:lnTo>
                  <a:pt x="12" y="590"/>
                </a:lnTo>
                <a:lnTo>
                  <a:pt x="8" y="598"/>
                </a:lnTo>
                <a:lnTo>
                  <a:pt x="4" y="606"/>
                </a:lnTo>
                <a:lnTo>
                  <a:pt x="2" y="615"/>
                </a:lnTo>
                <a:lnTo>
                  <a:pt x="1" y="624"/>
                </a:lnTo>
                <a:lnTo>
                  <a:pt x="0" y="633"/>
                </a:lnTo>
                <a:lnTo>
                  <a:pt x="1" y="643"/>
                </a:lnTo>
                <a:lnTo>
                  <a:pt x="2" y="651"/>
                </a:lnTo>
                <a:lnTo>
                  <a:pt x="4" y="660"/>
                </a:lnTo>
                <a:lnTo>
                  <a:pt x="8" y="668"/>
                </a:lnTo>
                <a:lnTo>
                  <a:pt x="12" y="676"/>
                </a:lnTo>
                <a:lnTo>
                  <a:pt x="16" y="683"/>
                </a:lnTo>
                <a:lnTo>
                  <a:pt x="22" y="691"/>
                </a:lnTo>
                <a:lnTo>
                  <a:pt x="27" y="697"/>
                </a:lnTo>
                <a:lnTo>
                  <a:pt x="33" y="703"/>
                </a:lnTo>
                <a:lnTo>
                  <a:pt x="40" y="708"/>
                </a:lnTo>
                <a:lnTo>
                  <a:pt x="47" y="712"/>
                </a:lnTo>
                <a:lnTo>
                  <a:pt x="56" y="717"/>
                </a:lnTo>
                <a:lnTo>
                  <a:pt x="65" y="720"/>
                </a:lnTo>
                <a:lnTo>
                  <a:pt x="73" y="722"/>
                </a:lnTo>
                <a:lnTo>
                  <a:pt x="82" y="723"/>
                </a:lnTo>
                <a:lnTo>
                  <a:pt x="90" y="723"/>
                </a:lnTo>
                <a:lnTo>
                  <a:pt x="100" y="723"/>
                </a:lnTo>
                <a:lnTo>
                  <a:pt x="109" y="722"/>
                </a:lnTo>
                <a:lnTo>
                  <a:pt x="117" y="720"/>
                </a:lnTo>
                <a:lnTo>
                  <a:pt x="126" y="717"/>
                </a:lnTo>
                <a:lnTo>
                  <a:pt x="135" y="712"/>
                </a:lnTo>
                <a:lnTo>
                  <a:pt x="141" y="708"/>
                </a:lnTo>
                <a:lnTo>
                  <a:pt x="149" y="703"/>
                </a:lnTo>
                <a:lnTo>
                  <a:pt x="155" y="697"/>
                </a:lnTo>
                <a:lnTo>
                  <a:pt x="160" y="691"/>
                </a:lnTo>
                <a:lnTo>
                  <a:pt x="166" y="683"/>
                </a:lnTo>
                <a:lnTo>
                  <a:pt x="170" y="676"/>
                </a:lnTo>
                <a:lnTo>
                  <a:pt x="174" y="668"/>
                </a:lnTo>
                <a:lnTo>
                  <a:pt x="178" y="660"/>
                </a:lnTo>
                <a:lnTo>
                  <a:pt x="180" y="651"/>
                </a:lnTo>
                <a:lnTo>
                  <a:pt x="181" y="643"/>
                </a:lnTo>
                <a:lnTo>
                  <a:pt x="182" y="633"/>
                </a:lnTo>
                <a:lnTo>
                  <a:pt x="181" y="624"/>
                </a:lnTo>
                <a:lnTo>
                  <a:pt x="180" y="616"/>
                </a:lnTo>
                <a:lnTo>
                  <a:pt x="178" y="608"/>
                </a:lnTo>
                <a:lnTo>
                  <a:pt x="175" y="600"/>
                </a:lnTo>
                <a:lnTo>
                  <a:pt x="172" y="592"/>
                </a:lnTo>
                <a:lnTo>
                  <a:pt x="168" y="586"/>
                </a:lnTo>
                <a:lnTo>
                  <a:pt x="164" y="579"/>
                </a:lnTo>
                <a:lnTo>
                  <a:pt x="158" y="573"/>
                </a:lnTo>
                <a:lnTo>
                  <a:pt x="306" y="424"/>
                </a:lnTo>
                <a:lnTo>
                  <a:pt x="316" y="431"/>
                </a:lnTo>
                <a:lnTo>
                  <a:pt x="328" y="434"/>
                </a:lnTo>
                <a:lnTo>
                  <a:pt x="315" y="459"/>
                </a:lnTo>
                <a:lnTo>
                  <a:pt x="303" y="483"/>
                </a:lnTo>
                <a:lnTo>
                  <a:pt x="294" y="510"/>
                </a:lnTo>
                <a:lnTo>
                  <a:pt x="286" y="538"/>
                </a:lnTo>
                <a:lnTo>
                  <a:pt x="280" y="568"/>
                </a:lnTo>
                <a:lnTo>
                  <a:pt x="275" y="598"/>
                </a:lnTo>
                <a:lnTo>
                  <a:pt x="273" y="631"/>
                </a:lnTo>
                <a:lnTo>
                  <a:pt x="272" y="663"/>
                </a:lnTo>
                <a:lnTo>
                  <a:pt x="272" y="753"/>
                </a:lnTo>
                <a:lnTo>
                  <a:pt x="227" y="753"/>
                </a:lnTo>
                <a:lnTo>
                  <a:pt x="224" y="754"/>
                </a:lnTo>
                <a:lnTo>
                  <a:pt x="221" y="755"/>
                </a:lnTo>
                <a:lnTo>
                  <a:pt x="218" y="757"/>
                </a:lnTo>
                <a:lnTo>
                  <a:pt x="216" y="759"/>
                </a:lnTo>
                <a:lnTo>
                  <a:pt x="214" y="761"/>
                </a:lnTo>
                <a:lnTo>
                  <a:pt x="213" y="763"/>
                </a:lnTo>
                <a:lnTo>
                  <a:pt x="212" y="766"/>
                </a:lnTo>
                <a:lnTo>
                  <a:pt x="212" y="768"/>
                </a:lnTo>
                <a:lnTo>
                  <a:pt x="212" y="890"/>
                </a:lnTo>
                <a:lnTo>
                  <a:pt x="212" y="892"/>
                </a:lnTo>
                <a:lnTo>
                  <a:pt x="213" y="895"/>
                </a:lnTo>
                <a:lnTo>
                  <a:pt x="214" y="897"/>
                </a:lnTo>
                <a:lnTo>
                  <a:pt x="216" y="900"/>
                </a:lnTo>
                <a:lnTo>
                  <a:pt x="218" y="902"/>
                </a:lnTo>
                <a:lnTo>
                  <a:pt x="221" y="904"/>
                </a:lnTo>
                <a:lnTo>
                  <a:pt x="224" y="904"/>
                </a:lnTo>
                <a:lnTo>
                  <a:pt x="227" y="905"/>
                </a:lnTo>
                <a:lnTo>
                  <a:pt x="348" y="905"/>
                </a:lnTo>
                <a:lnTo>
                  <a:pt x="351" y="904"/>
                </a:lnTo>
                <a:lnTo>
                  <a:pt x="353" y="903"/>
                </a:lnTo>
                <a:lnTo>
                  <a:pt x="356" y="902"/>
                </a:lnTo>
                <a:lnTo>
                  <a:pt x="358" y="900"/>
                </a:lnTo>
                <a:lnTo>
                  <a:pt x="359" y="897"/>
                </a:lnTo>
                <a:lnTo>
                  <a:pt x="362" y="895"/>
                </a:lnTo>
                <a:lnTo>
                  <a:pt x="363" y="892"/>
                </a:lnTo>
                <a:lnTo>
                  <a:pt x="363" y="890"/>
                </a:lnTo>
                <a:lnTo>
                  <a:pt x="363" y="768"/>
                </a:lnTo>
                <a:lnTo>
                  <a:pt x="363" y="766"/>
                </a:lnTo>
                <a:lnTo>
                  <a:pt x="362" y="763"/>
                </a:lnTo>
                <a:lnTo>
                  <a:pt x="359" y="761"/>
                </a:lnTo>
                <a:lnTo>
                  <a:pt x="358" y="759"/>
                </a:lnTo>
                <a:lnTo>
                  <a:pt x="356" y="757"/>
                </a:lnTo>
                <a:lnTo>
                  <a:pt x="353" y="755"/>
                </a:lnTo>
                <a:lnTo>
                  <a:pt x="351" y="754"/>
                </a:lnTo>
                <a:lnTo>
                  <a:pt x="348" y="753"/>
                </a:lnTo>
                <a:lnTo>
                  <a:pt x="302" y="753"/>
                </a:lnTo>
                <a:lnTo>
                  <a:pt x="302" y="663"/>
                </a:lnTo>
                <a:lnTo>
                  <a:pt x="303" y="630"/>
                </a:lnTo>
                <a:lnTo>
                  <a:pt x="306" y="597"/>
                </a:lnTo>
                <a:lnTo>
                  <a:pt x="311" y="567"/>
                </a:lnTo>
                <a:lnTo>
                  <a:pt x="317" y="537"/>
                </a:lnTo>
                <a:lnTo>
                  <a:pt x="322" y="523"/>
                </a:lnTo>
                <a:lnTo>
                  <a:pt x="326" y="509"/>
                </a:lnTo>
                <a:lnTo>
                  <a:pt x="331" y="496"/>
                </a:lnTo>
                <a:lnTo>
                  <a:pt x="337" y="483"/>
                </a:lnTo>
                <a:lnTo>
                  <a:pt x="343" y="471"/>
                </a:lnTo>
                <a:lnTo>
                  <a:pt x="349" y="459"/>
                </a:lnTo>
                <a:lnTo>
                  <a:pt x="356" y="447"/>
                </a:lnTo>
                <a:lnTo>
                  <a:pt x="364" y="435"/>
                </a:lnTo>
                <a:lnTo>
                  <a:pt x="374" y="432"/>
                </a:lnTo>
                <a:lnTo>
                  <a:pt x="384" y="427"/>
                </a:lnTo>
                <a:lnTo>
                  <a:pt x="394" y="421"/>
                </a:lnTo>
                <a:lnTo>
                  <a:pt x="402" y="414"/>
                </a:lnTo>
                <a:lnTo>
                  <a:pt x="409" y="405"/>
                </a:lnTo>
                <a:lnTo>
                  <a:pt x="414" y="395"/>
                </a:lnTo>
                <a:lnTo>
                  <a:pt x="419" y="384"/>
                </a:lnTo>
                <a:lnTo>
                  <a:pt x="422" y="374"/>
                </a:lnTo>
                <a:lnTo>
                  <a:pt x="434" y="365"/>
                </a:lnTo>
                <a:lnTo>
                  <a:pt x="445" y="357"/>
                </a:lnTo>
                <a:lnTo>
                  <a:pt x="458" y="349"/>
                </a:lnTo>
                <a:lnTo>
                  <a:pt x="472" y="343"/>
                </a:lnTo>
                <a:lnTo>
                  <a:pt x="485" y="336"/>
                </a:lnTo>
                <a:lnTo>
                  <a:pt x="500" y="330"/>
                </a:lnTo>
                <a:lnTo>
                  <a:pt x="514" y="324"/>
                </a:lnTo>
                <a:lnTo>
                  <a:pt x="529" y="320"/>
                </a:lnTo>
                <a:lnTo>
                  <a:pt x="545" y="316"/>
                </a:lnTo>
                <a:lnTo>
                  <a:pt x="561" y="311"/>
                </a:lnTo>
                <a:lnTo>
                  <a:pt x="577" y="308"/>
                </a:lnTo>
                <a:lnTo>
                  <a:pt x="594" y="306"/>
                </a:lnTo>
                <a:lnTo>
                  <a:pt x="611" y="304"/>
                </a:lnTo>
                <a:lnTo>
                  <a:pt x="628" y="303"/>
                </a:lnTo>
                <a:lnTo>
                  <a:pt x="645" y="302"/>
                </a:lnTo>
                <a:lnTo>
                  <a:pt x="664" y="302"/>
                </a:lnTo>
                <a:lnTo>
                  <a:pt x="754" y="302"/>
                </a:lnTo>
                <a:lnTo>
                  <a:pt x="754" y="347"/>
                </a:lnTo>
                <a:lnTo>
                  <a:pt x="755" y="350"/>
                </a:lnTo>
                <a:lnTo>
                  <a:pt x="755" y="352"/>
                </a:lnTo>
                <a:lnTo>
                  <a:pt x="757" y="355"/>
                </a:lnTo>
                <a:lnTo>
                  <a:pt x="760" y="358"/>
                </a:lnTo>
                <a:lnTo>
                  <a:pt x="762" y="359"/>
                </a:lnTo>
                <a:lnTo>
                  <a:pt x="764" y="361"/>
                </a:lnTo>
                <a:lnTo>
                  <a:pt x="767" y="362"/>
                </a:lnTo>
                <a:lnTo>
                  <a:pt x="769" y="362"/>
                </a:lnTo>
                <a:lnTo>
                  <a:pt x="891" y="362"/>
                </a:lnTo>
                <a:lnTo>
                  <a:pt x="893" y="362"/>
                </a:lnTo>
                <a:lnTo>
                  <a:pt x="896" y="361"/>
                </a:lnTo>
                <a:lnTo>
                  <a:pt x="898" y="359"/>
                </a:lnTo>
                <a:lnTo>
                  <a:pt x="900" y="358"/>
                </a:lnTo>
                <a:lnTo>
                  <a:pt x="903" y="355"/>
                </a:lnTo>
                <a:lnTo>
                  <a:pt x="904" y="352"/>
                </a:lnTo>
                <a:lnTo>
                  <a:pt x="905" y="350"/>
                </a:lnTo>
                <a:lnTo>
                  <a:pt x="906" y="347"/>
                </a:lnTo>
                <a:lnTo>
                  <a:pt x="906" y="226"/>
                </a:lnTo>
                <a:lnTo>
                  <a:pt x="905" y="223"/>
                </a:lnTo>
                <a:lnTo>
                  <a:pt x="904" y="220"/>
                </a:lnTo>
                <a:lnTo>
                  <a:pt x="903" y="218"/>
                </a:lnTo>
                <a:lnTo>
                  <a:pt x="900" y="216"/>
                </a:lnTo>
                <a:lnTo>
                  <a:pt x="898" y="214"/>
                </a:lnTo>
                <a:lnTo>
                  <a:pt x="896" y="212"/>
                </a:lnTo>
                <a:lnTo>
                  <a:pt x="893" y="211"/>
                </a:lnTo>
                <a:lnTo>
                  <a:pt x="891" y="21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743" name="Group 61">
            <a:extLst>
              <a:ext uri="{FF2B5EF4-FFF2-40B4-BE49-F238E27FC236}">
                <a16:creationId xmlns:a16="http://schemas.microsoft.com/office/drawing/2014/main" id="{450CB39D-E105-4C34-88B4-5BF21581F57F}"/>
              </a:ext>
            </a:extLst>
          </p:cNvPr>
          <p:cNvGrpSpPr>
            <a:grpSpLocks noChangeAspect="1"/>
          </p:cNvGrpSpPr>
          <p:nvPr/>
        </p:nvGrpSpPr>
        <p:grpSpPr>
          <a:xfrm rot="10800000" flipH="1">
            <a:off x="1882431" y="3263522"/>
            <a:ext cx="308350" cy="306304"/>
            <a:chOff x="8574798" y="4329608"/>
            <a:chExt cx="574675" cy="570864"/>
          </a:xfrm>
          <a:solidFill>
            <a:schemeClr val="bg2"/>
          </a:solidFill>
          <a:effectLst/>
        </p:grpSpPr>
        <p:grpSp>
          <p:nvGrpSpPr>
            <p:cNvPr id="744" name="Group 75">
              <a:extLst>
                <a:ext uri="{FF2B5EF4-FFF2-40B4-BE49-F238E27FC236}">
                  <a16:creationId xmlns:a16="http://schemas.microsoft.com/office/drawing/2014/main" id="{896B76DD-761E-404A-A575-31D1536B29DE}"/>
                </a:ext>
              </a:extLst>
            </p:cNvPr>
            <p:cNvGrpSpPr/>
            <p:nvPr/>
          </p:nvGrpSpPr>
          <p:grpSpPr>
            <a:xfrm rot="10800000">
              <a:off x="8737834" y="4329608"/>
              <a:ext cx="361951" cy="296862"/>
              <a:chOff x="6156325" y="5795963"/>
              <a:chExt cx="361951" cy="296862"/>
            </a:xfrm>
            <a:grpFill/>
          </p:grpSpPr>
          <p:sp>
            <p:nvSpPr>
              <p:cNvPr id="749" name="Freeform 12">
                <a:extLst>
                  <a:ext uri="{FF2B5EF4-FFF2-40B4-BE49-F238E27FC236}">
                    <a16:creationId xmlns:a16="http://schemas.microsoft.com/office/drawing/2014/main" id="{9241F72D-E3E0-4719-A09E-9D353527371F}"/>
                  </a:ext>
                </a:extLst>
              </p:cNvPr>
              <p:cNvSpPr>
                <a:spLocks/>
              </p:cNvSpPr>
              <p:nvPr/>
            </p:nvSpPr>
            <p:spPr bwMode="auto">
              <a:xfrm>
                <a:off x="6176963" y="5795963"/>
                <a:ext cx="341313" cy="233363"/>
              </a:xfrm>
              <a:custGeom>
                <a:avLst/>
                <a:gdLst>
                  <a:gd name="T0" fmla="*/ 23 w 859"/>
                  <a:gd name="T1" fmla="*/ 590 h 590"/>
                  <a:gd name="T2" fmla="*/ 8 w 859"/>
                  <a:gd name="T3" fmla="*/ 582 h 590"/>
                  <a:gd name="T4" fmla="*/ 1 w 859"/>
                  <a:gd name="T5" fmla="*/ 568 h 590"/>
                  <a:gd name="T6" fmla="*/ 2 w 859"/>
                  <a:gd name="T7" fmla="*/ 553 h 590"/>
                  <a:gd name="T8" fmla="*/ 12 w 859"/>
                  <a:gd name="T9" fmla="*/ 540 h 590"/>
                  <a:gd name="T10" fmla="*/ 27 w 859"/>
                  <a:gd name="T11" fmla="*/ 536 h 590"/>
                  <a:gd name="T12" fmla="*/ 589 w 859"/>
                  <a:gd name="T13" fmla="*/ 535 h 590"/>
                  <a:gd name="T14" fmla="*/ 625 w 859"/>
                  <a:gd name="T15" fmla="*/ 528 h 590"/>
                  <a:gd name="T16" fmla="*/ 658 w 859"/>
                  <a:gd name="T17" fmla="*/ 517 h 590"/>
                  <a:gd name="T18" fmla="*/ 690 w 859"/>
                  <a:gd name="T19" fmla="*/ 501 h 590"/>
                  <a:gd name="T20" fmla="*/ 734 w 859"/>
                  <a:gd name="T21" fmla="*/ 465 h 590"/>
                  <a:gd name="T22" fmla="*/ 770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0 w 859"/>
                  <a:gd name="T35" fmla="*/ 212 h 590"/>
                  <a:gd name="T36" fmla="*/ 776 w 859"/>
                  <a:gd name="T37" fmla="*/ 179 h 590"/>
                  <a:gd name="T38" fmla="*/ 750 w 859"/>
                  <a:gd name="T39" fmla="*/ 141 h 590"/>
                  <a:gd name="T40" fmla="*/ 699 w 859"/>
                  <a:gd name="T41" fmla="*/ 94 h 590"/>
                  <a:gd name="T42" fmla="*/ 668 w 859"/>
                  <a:gd name="T43" fmla="*/ 77 h 590"/>
                  <a:gd name="T44" fmla="*/ 636 w 859"/>
                  <a:gd name="T45" fmla="*/ 64 h 590"/>
                  <a:gd name="T46" fmla="*/ 601 w 859"/>
                  <a:gd name="T47" fmla="*/ 56 h 590"/>
                  <a:gd name="T48" fmla="*/ 564 w 859"/>
                  <a:gd name="T49" fmla="*/ 53 h 590"/>
                  <a:gd name="T50" fmla="*/ 17 w 859"/>
                  <a:gd name="T51" fmla="*/ 52 h 590"/>
                  <a:gd name="T52" fmla="*/ 6 w 859"/>
                  <a:gd name="T53" fmla="*/ 42 h 590"/>
                  <a:gd name="T54" fmla="*/ 0 w 859"/>
                  <a:gd name="T55" fmla="*/ 27 h 590"/>
                  <a:gd name="T56" fmla="*/ 6 w 859"/>
                  <a:gd name="T57" fmla="*/ 11 h 590"/>
                  <a:gd name="T58" fmla="*/ 17 w 859"/>
                  <a:gd name="T59" fmla="*/ 1 h 590"/>
                  <a:gd name="T60" fmla="*/ 564 w 859"/>
                  <a:gd name="T61" fmla="*/ 0 h 590"/>
                  <a:gd name="T62" fmla="*/ 609 w 859"/>
                  <a:gd name="T63" fmla="*/ 3 h 590"/>
                  <a:gd name="T64" fmla="*/ 651 w 859"/>
                  <a:gd name="T65" fmla="*/ 12 h 590"/>
                  <a:gd name="T66" fmla="*/ 692 w 859"/>
                  <a:gd name="T67" fmla="*/ 29 h 590"/>
                  <a:gd name="T68" fmla="*/ 729 w 859"/>
                  <a:gd name="T69" fmla="*/ 50 h 590"/>
                  <a:gd name="T70" fmla="*/ 762 w 859"/>
                  <a:gd name="T71" fmla="*/ 76 h 590"/>
                  <a:gd name="T72" fmla="*/ 792 w 859"/>
                  <a:gd name="T73" fmla="*/ 107 h 590"/>
                  <a:gd name="T74" fmla="*/ 816 w 859"/>
                  <a:gd name="T75" fmla="*/ 141 h 590"/>
                  <a:gd name="T76" fmla="*/ 835 w 859"/>
                  <a:gd name="T77" fmla="*/ 179 h 590"/>
                  <a:gd name="T78" fmla="*/ 850 w 859"/>
                  <a:gd name="T79" fmla="*/ 221 h 590"/>
                  <a:gd name="T80" fmla="*/ 858 w 859"/>
                  <a:gd name="T81" fmla="*/ 265 h 590"/>
                  <a:gd name="T82" fmla="*/ 859 w 859"/>
                  <a:gd name="T83" fmla="*/ 309 h 590"/>
                  <a:gd name="T84" fmla="*/ 853 w 859"/>
                  <a:gd name="T85" fmla="*/ 354 h 590"/>
                  <a:gd name="T86" fmla="*/ 841 w 859"/>
                  <a:gd name="T87" fmla="*/ 396 h 590"/>
                  <a:gd name="T88" fmla="*/ 823 w 859"/>
                  <a:gd name="T89" fmla="*/ 435 h 590"/>
                  <a:gd name="T90" fmla="*/ 801 w 859"/>
                  <a:gd name="T91" fmla="*/ 471 h 590"/>
                  <a:gd name="T92" fmla="*/ 773 w 859"/>
                  <a:gd name="T93" fmla="*/ 503 h 590"/>
                  <a:gd name="T94" fmla="*/ 740 w 859"/>
                  <a:gd name="T95" fmla="*/ 531 h 590"/>
                  <a:gd name="T96" fmla="*/ 704 w 859"/>
                  <a:gd name="T97" fmla="*/ 554 h 590"/>
                  <a:gd name="T98" fmla="*/ 665 w 859"/>
                  <a:gd name="T99" fmla="*/ 572 h 590"/>
                  <a:gd name="T100" fmla="*/ 623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27" y="590"/>
                    </a:lnTo>
                    <a:lnTo>
                      <a:pt x="23" y="590"/>
                    </a:lnTo>
                    <a:lnTo>
                      <a:pt x="17" y="588"/>
                    </a:lnTo>
                    <a:lnTo>
                      <a:pt x="12" y="585"/>
                    </a:lnTo>
                    <a:lnTo>
                      <a:pt x="8" y="582"/>
                    </a:lnTo>
                    <a:lnTo>
                      <a:pt x="6" y="577"/>
                    </a:lnTo>
                    <a:lnTo>
                      <a:pt x="2" y="573"/>
                    </a:lnTo>
                    <a:lnTo>
                      <a:pt x="1" y="568"/>
                    </a:lnTo>
                    <a:lnTo>
                      <a:pt x="0" y="563"/>
                    </a:lnTo>
                    <a:lnTo>
                      <a:pt x="1" y="557"/>
                    </a:lnTo>
                    <a:lnTo>
                      <a:pt x="2" y="553"/>
                    </a:lnTo>
                    <a:lnTo>
                      <a:pt x="6" y="548"/>
                    </a:lnTo>
                    <a:lnTo>
                      <a:pt x="8" y="544"/>
                    </a:lnTo>
                    <a:lnTo>
                      <a:pt x="12" y="540"/>
                    </a:lnTo>
                    <a:lnTo>
                      <a:pt x="17" y="538"/>
                    </a:lnTo>
                    <a:lnTo>
                      <a:pt x="23" y="537"/>
                    </a:lnTo>
                    <a:lnTo>
                      <a:pt x="27" y="536"/>
                    </a:lnTo>
                    <a:lnTo>
                      <a:pt x="564" y="536"/>
                    </a:lnTo>
                    <a:lnTo>
                      <a:pt x="576" y="536"/>
                    </a:lnTo>
                    <a:lnTo>
                      <a:pt x="589" y="535"/>
                    </a:lnTo>
                    <a:lnTo>
                      <a:pt x="601" y="534"/>
                    </a:lnTo>
                    <a:lnTo>
                      <a:pt x="612" y="531"/>
                    </a:lnTo>
                    <a:lnTo>
                      <a:pt x="625" y="528"/>
                    </a:lnTo>
                    <a:lnTo>
                      <a:pt x="636" y="525"/>
                    </a:lnTo>
                    <a:lnTo>
                      <a:pt x="647" y="521"/>
                    </a:lnTo>
                    <a:lnTo>
                      <a:pt x="658" y="517"/>
                    </a:lnTo>
                    <a:lnTo>
                      <a:pt x="668" y="512"/>
                    </a:lnTo>
                    <a:lnTo>
                      <a:pt x="679" y="507"/>
                    </a:lnTo>
                    <a:lnTo>
                      <a:pt x="690" y="501"/>
                    </a:lnTo>
                    <a:lnTo>
                      <a:pt x="699" y="494"/>
                    </a:lnTo>
                    <a:lnTo>
                      <a:pt x="718" y="481"/>
                    </a:lnTo>
                    <a:lnTo>
                      <a:pt x="734" y="465"/>
                    </a:lnTo>
                    <a:lnTo>
                      <a:pt x="750" y="449"/>
                    </a:lnTo>
                    <a:lnTo>
                      <a:pt x="764" y="429"/>
                    </a:lnTo>
                    <a:lnTo>
                      <a:pt x="770" y="419"/>
                    </a:lnTo>
                    <a:lnTo>
                      <a:pt x="776" y="409"/>
                    </a:lnTo>
                    <a:lnTo>
                      <a:pt x="781" y="399"/>
                    </a:lnTo>
                    <a:lnTo>
                      <a:pt x="786" y="389"/>
                    </a:lnTo>
                    <a:lnTo>
                      <a:pt x="790" y="378"/>
                    </a:lnTo>
                    <a:lnTo>
                      <a:pt x="795" y="367"/>
                    </a:lnTo>
                    <a:lnTo>
                      <a:pt x="797" y="355"/>
                    </a:lnTo>
                    <a:lnTo>
                      <a:pt x="801" y="343"/>
                    </a:lnTo>
                    <a:lnTo>
                      <a:pt x="803" y="332"/>
                    </a:lnTo>
                    <a:lnTo>
                      <a:pt x="804" y="320"/>
                    </a:lnTo>
                    <a:lnTo>
                      <a:pt x="805" y="307"/>
                    </a:lnTo>
                    <a:lnTo>
                      <a:pt x="805" y="295"/>
                    </a:lnTo>
                    <a:lnTo>
                      <a:pt x="805" y="283"/>
                    </a:lnTo>
                    <a:lnTo>
                      <a:pt x="804" y="270"/>
                    </a:lnTo>
                    <a:lnTo>
                      <a:pt x="803" y="258"/>
                    </a:lnTo>
                    <a:lnTo>
                      <a:pt x="801" y="246"/>
                    </a:lnTo>
                    <a:lnTo>
                      <a:pt x="797" y="234"/>
                    </a:lnTo>
                    <a:lnTo>
                      <a:pt x="795" y="223"/>
                    </a:lnTo>
                    <a:lnTo>
                      <a:pt x="790" y="212"/>
                    </a:lnTo>
                    <a:lnTo>
                      <a:pt x="786" y="201"/>
                    </a:lnTo>
                    <a:lnTo>
                      <a:pt x="781" y="191"/>
                    </a:lnTo>
                    <a:lnTo>
                      <a:pt x="776" y="179"/>
                    </a:lnTo>
                    <a:lnTo>
                      <a:pt x="770" y="169"/>
                    </a:lnTo>
                    <a:lnTo>
                      <a:pt x="764" y="159"/>
                    </a:lnTo>
                    <a:lnTo>
                      <a:pt x="750" y="141"/>
                    </a:lnTo>
                    <a:lnTo>
                      <a:pt x="734" y="124"/>
                    </a:lnTo>
                    <a:lnTo>
                      <a:pt x="718" y="109"/>
                    </a:lnTo>
                    <a:lnTo>
                      <a:pt x="699" y="94"/>
                    </a:lnTo>
                    <a:lnTo>
                      <a:pt x="690" y="89"/>
                    </a:lnTo>
                    <a:lnTo>
                      <a:pt x="679" y="82"/>
                    </a:lnTo>
                    <a:lnTo>
                      <a:pt x="668" y="77"/>
                    </a:lnTo>
                    <a:lnTo>
                      <a:pt x="658" y="72"/>
                    </a:lnTo>
                    <a:lnTo>
                      <a:pt x="647" y="68"/>
                    </a:lnTo>
                    <a:lnTo>
                      <a:pt x="636" y="64"/>
                    </a:lnTo>
                    <a:lnTo>
                      <a:pt x="625" y="61"/>
                    </a:lnTo>
                    <a:lnTo>
                      <a:pt x="612" y="58"/>
                    </a:lnTo>
                    <a:lnTo>
                      <a:pt x="601" y="56"/>
                    </a:lnTo>
                    <a:lnTo>
                      <a:pt x="589" y="55"/>
                    </a:lnTo>
                    <a:lnTo>
                      <a:pt x="576" y="54"/>
                    </a:lnTo>
                    <a:lnTo>
                      <a:pt x="564" y="53"/>
                    </a:lnTo>
                    <a:lnTo>
                      <a:pt x="27" y="53"/>
                    </a:lnTo>
                    <a:lnTo>
                      <a:pt x="23" y="53"/>
                    </a:lnTo>
                    <a:lnTo>
                      <a:pt x="17" y="52"/>
                    </a:lnTo>
                    <a:lnTo>
                      <a:pt x="12" y="48"/>
                    </a:lnTo>
                    <a:lnTo>
                      <a:pt x="8" y="45"/>
                    </a:lnTo>
                    <a:lnTo>
                      <a:pt x="6" y="42"/>
                    </a:lnTo>
                    <a:lnTo>
                      <a:pt x="2" y="37"/>
                    </a:lnTo>
                    <a:lnTo>
                      <a:pt x="1" y="31"/>
                    </a:lnTo>
                    <a:lnTo>
                      <a:pt x="0" y="27"/>
                    </a:lnTo>
                    <a:lnTo>
                      <a:pt x="1" y="21"/>
                    </a:lnTo>
                    <a:lnTo>
                      <a:pt x="2" y="16"/>
                    </a:lnTo>
                    <a:lnTo>
                      <a:pt x="6" y="11"/>
                    </a:lnTo>
                    <a:lnTo>
                      <a:pt x="8" y="8"/>
                    </a:lnTo>
                    <a:lnTo>
                      <a:pt x="12" y="5"/>
                    </a:lnTo>
                    <a:lnTo>
                      <a:pt x="17" y="1"/>
                    </a:lnTo>
                    <a:lnTo>
                      <a:pt x="23" y="0"/>
                    </a:lnTo>
                    <a:lnTo>
                      <a:pt x="27" y="0"/>
                    </a:lnTo>
                    <a:lnTo>
                      <a:pt x="564" y="0"/>
                    </a:lnTo>
                    <a:lnTo>
                      <a:pt x="579" y="0"/>
                    </a:lnTo>
                    <a:lnTo>
                      <a:pt x="594" y="1"/>
                    </a:lnTo>
                    <a:lnTo>
                      <a:pt x="609" y="3"/>
                    </a:lnTo>
                    <a:lnTo>
                      <a:pt x="623" y="6"/>
                    </a:lnTo>
                    <a:lnTo>
                      <a:pt x="638" y="9"/>
                    </a:lnTo>
                    <a:lnTo>
                      <a:pt x="651" y="12"/>
                    </a:lnTo>
                    <a:lnTo>
                      <a:pt x="665" y="18"/>
                    </a:lnTo>
                    <a:lnTo>
                      <a:pt x="678" y="22"/>
                    </a:lnTo>
                    <a:lnTo>
                      <a:pt x="692" y="29"/>
                    </a:lnTo>
                    <a:lnTo>
                      <a:pt x="704" y="35"/>
                    </a:lnTo>
                    <a:lnTo>
                      <a:pt x="716" y="43"/>
                    </a:lnTo>
                    <a:lnTo>
                      <a:pt x="729" y="50"/>
                    </a:lnTo>
                    <a:lnTo>
                      <a:pt x="740" y="58"/>
                    </a:lnTo>
                    <a:lnTo>
                      <a:pt x="751" y="67"/>
                    </a:lnTo>
                    <a:lnTo>
                      <a:pt x="762" y="76"/>
                    </a:lnTo>
                    <a:lnTo>
                      <a:pt x="773" y="86"/>
                    </a:lnTo>
                    <a:lnTo>
                      <a:pt x="783" y="96"/>
                    </a:lnTo>
                    <a:lnTo>
                      <a:pt x="792" y="107"/>
                    </a:lnTo>
                    <a:lnTo>
                      <a:pt x="801" y="118"/>
                    </a:lnTo>
                    <a:lnTo>
                      <a:pt x="808" y="130"/>
                    </a:lnTo>
                    <a:lnTo>
                      <a:pt x="816" y="141"/>
                    </a:lnTo>
                    <a:lnTo>
                      <a:pt x="823" y="154"/>
                    </a:lnTo>
                    <a:lnTo>
                      <a:pt x="830" y="167"/>
                    </a:lnTo>
                    <a:lnTo>
                      <a:pt x="835" y="179"/>
                    </a:lnTo>
                    <a:lnTo>
                      <a:pt x="841" y="193"/>
                    </a:lnTo>
                    <a:lnTo>
                      <a:pt x="845" y="207"/>
                    </a:lnTo>
                    <a:lnTo>
                      <a:pt x="850" y="221"/>
                    </a:lnTo>
                    <a:lnTo>
                      <a:pt x="853" y="235"/>
                    </a:lnTo>
                    <a:lnTo>
                      <a:pt x="855" y="250"/>
                    </a:lnTo>
                    <a:lnTo>
                      <a:pt x="858" y="265"/>
                    </a:lnTo>
                    <a:lnTo>
                      <a:pt x="859" y="279"/>
                    </a:lnTo>
                    <a:lnTo>
                      <a:pt x="859" y="295"/>
                    </a:lnTo>
                    <a:lnTo>
                      <a:pt x="859" y="309"/>
                    </a:lnTo>
                    <a:lnTo>
                      <a:pt x="858" y="325"/>
                    </a:lnTo>
                    <a:lnTo>
                      <a:pt x="855" y="340"/>
                    </a:lnTo>
                    <a:lnTo>
                      <a:pt x="853" y="354"/>
                    </a:lnTo>
                    <a:lnTo>
                      <a:pt x="850" y="369"/>
                    </a:lnTo>
                    <a:lnTo>
                      <a:pt x="845" y="382"/>
                    </a:lnTo>
                    <a:lnTo>
                      <a:pt x="841" y="396"/>
                    </a:lnTo>
                    <a:lnTo>
                      <a:pt x="835" y="409"/>
                    </a:lnTo>
                    <a:lnTo>
                      <a:pt x="830" y="423"/>
                    </a:lnTo>
                    <a:lnTo>
                      <a:pt x="823" y="435"/>
                    </a:lnTo>
                    <a:lnTo>
                      <a:pt x="816" y="447"/>
                    </a:lnTo>
                    <a:lnTo>
                      <a:pt x="808" y="460"/>
                    </a:lnTo>
                    <a:lnTo>
                      <a:pt x="801" y="471"/>
                    </a:lnTo>
                    <a:lnTo>
                      <a:pt x="792" y="482"/>
                    </a:lnTo>
                    <a:lnTo>
                      <a:pt x="783" y="493"/>
                    </a:lnTo>
                    <a:lnTo>
                      <a:pt x="773" y="503"/>
                    </a:lnTo>
                    <a:lnTo>
                      <a:pt x="762" y="514"/>
                    </a:lnTo>
                    <a:lnTo>
                      <a:pt x="751" y="522"/>
                    </a:lnTo>
                    <a:lnTo>
                      <a:pt x="740" y="531"/>
                    </a:lnTo>
                    <a:lnTo>
                      <a:pt x="729" y="539"/>
                    </a:lnTo>
                    <a:lnTo>
                      <a:pt x="716" y="547"/>
                    </a:lnTo>
                    <a:lnTo>
                      <a:pt x="704" y="554"/>
                    </a:lnTo>
                    <a:lnTo>
                      <a:pt x="692" y="561"/>
                    </a:lnTo>
                    <a:lnTo>
                      <a:pt x="678" y="566"/>
                    </a:lnTo>
                    <a:lnTo>
                      <a:pt x="665" y="572"/>
                    </a:lnTo>
                    <a:lnTo>
                      <a:pt x="651" y="576"/>
                    </a:lnTo>
                    <a:lnTo>
                      <a:pt x="638" y="581"/>
                    </a:lnTo>
                    <a:lnTo>
                      <a:pt x="623" y="584"/>
                    </a:lnTo>
                    <a:lnTo>
                      <a:pt x="609" y="586"/>
                    </a:lnTo>
                    <a:lnTo>
                      <a:pt x="594"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3">
                <a:extLst>
                  <a:ext uri="{FF2B5EF4-FFF2-40B4-BE49-F238E27FC236}">
                    <a16:creationId xmlns:a16="http://schemas.microsoft.com/office/drawing/2014/main" id="{45BFA3B7-296E-4C18-ABA0-71A1AE581DD4}"/>
                  </a:ext>
                </a:extLst>
              </p:cNvPr>
              <p:cNvSpPr>
                <a:spLocks/>
              </p:cNvSpPr>
              <p:nvPr/>
            </p:nvSpPr>
            <p:spPr bwMode="auto">
              <a:xfrm>
                <a:off x="6156325" y="5943600"/>
                <a:ext cx="85725" cy="149225"/>
              </a:xfrm>
              <a:custGeom>
                <a:avLst/>
                <a:gdLst>
                  <a:gd name="T0" fmla="*/ 188 w 215"/>
                  <a:gd name="T1" fmla="*/ 375 h 375"/>
                  <a:gd name="T2" fmla="*/ 183 w 215"/>
                  <a:gd name="T3" fmla="*/ 374 h 375"/>
                  <a:gd name="T4" fmla="*/ 178 w 215"/>
                  <a:gd name="T5" fmla="*/ 373 h 375"/>
                  <a:gd name="T6" fmla="*/ 173 w 215"/>
                  <a:gd name="T7" fmla="*/ 371 h 375"/>
                  <a:gd name="T8" fmla="*/ 169 w 215"/>
                  <a:gd name="T9" fmla="*/ 367 h 375"/>
                  <a:gd name="T10" fmla="*/ 8 w 215"/>
                  <a:gd name="T11" fmla="*/ 206 h 375"/>
                  <a:gd name="T12" fmla="*/ 5 w 215"/>
                  <a:gd name="T13" fmla="*/ 201 h 375"/>
                  <a:gd name="T14" fmla="*/ 2 w 215"/>
                  <a:gd name="T15" fmla="*/ 197 h 375"/>
                  <a:gd name="T16" fmla="*/ 0 w 215"/>
                  <a:gd name="T17" fmla="*/ 192 h 375"/>
                  <a:gd name="T18" fmla="*/ 0 w 215"/>
                  <a:gd name="T19" fmla="*/ 187 h 375"/>
                  <a:gd name="T20" fmla="*/ 0 w 215"/>
                  <a:gd name="T21" fmla="*/ 182 h 375"/>
                  <a:gd name="T22" fmla="*/ 2 w 215"/>
                  <a:gd name="T23" fmla="*/ 177 h 375"/>
                  <a:gd name="T24" fmla="*/ 5 w 215"/>
                  <a:gd name="T25" fmla="*/ 172 h 375"/>
                  <a:gd name="T26" fmla="*/ 8 w 215"/>
                  <a:gd name="T27" fmla="*/ 168 h 375"/>
                  <a:gd name="T28" fmla="*/ 169 w 215"/>
                  <a:gd name="T29" fmla="*/ 7 h 375"/>
                  <a:gd name="T30" fmla="*/ 173 w 215"/>
                  <a:gd name="T31" fmla="*/ 4 h 375"/>
                  <a:gd name="T32" fmla="*/ 178 w 215"/>
                  <a:gd name="T33" fmla="*/ 1 h 375"/>
                  <a:gd name="T34" fmla="*/ 183 w 215"/>
                  <a:gd name="T35" fmla="*/ 0 h 375"/>
                  <a:gd name="T36" fmla="*/ 188 w 215"/>
                  <a:gd name="T37" fmla="*/ 0 h 375"/>
                  <a:gd name="T38" fmla="*/ 193 w 215"/>
                  <a:gd name="T39" fmla="*/ 0 h 375"/>
                  <a:gd name="T40" fmla="*/ 198 w 215"/>
                  <a:gd name="T41" fmla="*/ 1 h 375"/>
                  <a:gd name="T42" fmla="*/ 202 w 215"/>
                  <a:gd name="T43" fmla="*/ 4 h 375"/>
                  <a:gd name="T44" fmla="*/ 207 w 215"/>
                  <a:gd name="T45" fmla="*/ 7 h 375"/>
                  <a:gd name="T46" fmla="*/ 210 w 215"/>
                  <a:gd name="T47" fmla="*/ 11 h 375"/>
                  <a:gd name="T48" fmla="*/ 212 w 215"/>
                  <a:gd name="T49" fmla="*/ 16 h 375"/>
                  <a:gd name="T50" fmla="*/ 215 w 215"/>
                  <a:gd name="T51" fmla="*/ 21 h 375"/>
                  <a:gd name="T52" fmla="*/ 215 w 215"/>
                  <a:gd name="T53" fmla="*/ 27 h 375"/>
                  <a:gd name="T54" fmla="*/ 215 w 215"/>
                  <a:gd name="T55" fmla="*/ 31 h 375"/>
                  <a:gd name="T56" fmla="*/ 212 w 215"/>
                  <a:gd name="T57" fmla="*/ 37 h 375"/>
                  <a:gd name="T58" fmla="*/ 210 w 215"/>
                  <a:gd name="T59" fmla="*/ 41 h 375"/>
                  <a:gd name="T60" fmla="*/ 207 w 215"/>
                  <a:gd name="T61" fmla="*/ 44 h 375"/>
                  <a:gd name="T62" fmla="*/ 64 w 215"/>
                  <a:gd name="T63" fmla="*/ 187 h 375"/>
                  <a:gd name="T64" fmla="*/ 207 w 215"/>
                  <a:gd name="T65" fmla="*/ 329 h 375"/>
                  <a:gd name="T66" fmla="*/ 210 w 215"/>
                  <a:gd name="T67" fmla="*/ 333 h 375"/>
                  <a:gd name="T68" fmla="*/ 212 w 215"/>
                  <a:gd name="T69" fmla="*/ 338 h 375"/>
                  <a:gd name="T70" fmla="*/ 215 w 215"/>
                  <a:gd name="T71" fmla="*/ 343 h 375"/>
                  <a:gd name="T72" fmla="*/ 215 w 215"/>
                  <a:gd name="T73" fmla="*/ 348 h 375"/>
                  <a:gd name="T74" fmla="*/ 215 w 215"/>
                  <a:gd name="T75" fmla="*/ 353 h 375"/>
                  <a:gd name="T76" fmla="*/ 212 w 215"/>
                  <a:gd name="T77" fmla="*/ 358 h 375"/>
                  <a:gd name="T78" fmla="*/ 210 w 215"/>
                  <a:gd name="T79" fmla="*/ 363 h 375"/>
                  <a:gd name="T80" fmla="*/ 207 w 215"/>
                  <a:gd name="T81" fmla="*/ 367 h 375"/>
                  <a:gd name="T82" fmla="*/ 202 w 215"/>
                  <a:gd name="T83" fmla="*/ 371 h 375"/>
                  <a:gd name="T84" fmla="*/ 198 w 215"/>
                  <a:gd name="T85" fmla="*/ 373 h 375"/>
                  <a:gd name="T86" fmla="*/ 193 w 215"/>
                  <a:gd name="T87" fmla="*/ 374 h 375"/>
                  <a:gd name="T88" fmla="*/ 188 w 215"/>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375">
                    <a:moveTo>
                      <a:pt x="188" y="375"/>
                    </a:moveTo>
                    <a:lnTo>
                      <a:pt x="183" y="374"/>
                    </a:lnTo>
                    <a:lnTo>
                      <a:pt x="178" y="373"/>
                    </a:lnTo>
                    <a:lnTo>
                      <a:pt x="173" y="371"/>
                    </a:lnTo>
                    <a:lnTo>
                      <a:pt x="169" y="367"/>
                    </a:lnTo>
                    <a:lnTo>
                      <a:pt x="8" y="206"/>
                    </a:lnTo>
                    <a:lnTo>
                      <a:pt x="5" y="201"/>
                    </a:lnTo>
                    <a:lnTo>
                      <a:pt x="2" y="197"/>
                    </a:lnTo>
                    <a:lnTo>
                      <a:pt x="0" y="192"/>
                    </a:lnTo>
                    <a:lnTo>
                      <a:pt x="0" y="187"/>
                    </a:lnTo>
                    <a:lnTo>
                      <a:pt x="0" y="182"/>
                    </a:lnTo>
                    <a:lnTo>
                      <a:pt x="2" y="177"/>
                    </a:lnTo>
                    <a:lnTo>
                      <a:pt x="5" y="172"/>
                    </a:lnTo>
                    <a:lnTo>
                      <a:pt x="8" y="168"/>
                    </a:lnTo>
                    <a:lnTo>
                      <a:pt x="169" y="7"/>
                    </a:lnTo>
                    <a:lnTo>
                      <a:pt x="173" y="4"/>
                    </a:lnTo>
                    <a:lnTo>
                      <a:pt x="178" y="1"/>
                    </a:lnTo>
                    <a:lnTo>
                      <a:pt x="183" y="0"/>
                    </a:lnTo>
                    <a:lnTo>
                      <a:pt x="188" y="0"/>
                    </a:lnTo>
                    <a:lnTo>
                      <a:pt x="193" y="0"/>
                    </a:lnTo>
                    <a:lnTo>
                      <a:pt x="198" y="1"/>
                    </a:lnTo>
                    <a:lnTo>
                      <a:pt x="202" y="4"/>
                    </a:lnTo>
                    <a:lnTo>
                      <a:pt x="207" y="7"/>
                    </a:lnTo>
                    <a:lnTo>
                      <a:pt x="210" y="11"/>
                    </a:lnTo>
                    <a:lnTo>
                      <a:pt x="212" y="16"/>
                    </a:lnTo>
                    <a:lnTo>
                      <a:pt x="215" y="21"/>
                    </a:lnTo>
                    <a:lnTo>
                      <a:pt x="215" y="27"/>
                    </a:lnTo>
                    <a:lnTo>
                      <a:pt x="215" y="31"/>
                    </a:lnTo>
                    <a:lnTo>
                      <a:pt x="212" y="37"/>
                    </a:lnTo>
                    <a:lnTo>
                      <a:pt x="210" y="41"/>
                    </a:lnTo>
                    <a:lnTo>
                      <a:pt x="207" y="44"/>
                    </a:lnTo>
                    <a:lnTo>
                      <a:pt x="64" y="187"/>
                    </a:lnTo>
                    <a:lnTo>
                      <a:pt x="207" y="329"/>
                    </a:lnTo>
                    <a:lnTo>
                      <a:pt x="210" y="333"/>
                    </a:lnTo>
                    <a:lnTo>
                      <a:pt x="212" y="338"/>
                    </a:lnTo>
                    <a:lnTo>
                      <a:pt x="215" y="343"/>
                    </a:lnTo>
                    <a:lnTo>
                      <a:pt x="215" y="348"/>
                    </a:lnTo>
                    <a:lnTo>
                      <a:pt x="215" y="353"/>
                    </a:lnTo>
                    <a:lnTo>
                      <a:pt x="212" y="358"/>
                    </a:lnTo>
                    <a:lnTo>
                      <a:pt x="210" y="363"/>
                    </a:lnTo>
                    <a:lnTo>
                      <a:pt x="207" y="367"/>
                    </a:lnTo>
                    <a:lnTo>
                      <a:pt x="202" y="371"/>
                    </a:lnTo>
                    <a:lnTo>
                      <a:pt x="198" y="373"/>
                    </a:lnTo>
                    <a:lnTo>
                      <a:pt x="193" y="374"/>
                    </a:lnTo>
                    <a:lnTo>
                      <a:pt x="188"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5" name="Group 76">
              <a:extLst>
                <a:ext uri="{FF2B5EF4-FFF2-40B4-BE49-F238E27FC236}">
                  <a16:creationId xmlns:a16="http://schemas.microsoft.com/office/drawing/2014/main" id="{83061349-56AA-4448-B838-DB71DD1F7F0A}"/>
                </a:ext>
              </a:extLst>
            </p:cNvPr>
            <p:cNvGrpSpPr/>
            <p:nvPr/>
          </p:nvGrpSpPr>
          <p:grpSpPr>
            <a:xfrm>
              <a:off x="8574798" y="4603610"/>
              <a:ext cx="574675" cy="296862"/>
              <a:chOff x="6731000" y="5795963"/>
              <a:chExt cx="574675" cy="296862"/>
            </a:xfrm>
            <a:grpFill/>
          </p:grpSpPr>
          <p:sp>
            <p:nvSpPr>
              <p:cNvPr id="746" name="Freeform 14">
                <a:extLst>
                  <a:ext uri="{FF2B5EF4-FFF2-40B4-BE49-F238E27FC236}">
                    <a16:creationId xmlns:a16="http://schemas.microsoft.com/office/drawing/2014/main" id="{BA564BC0-055C-4D6B-9B13-A4280AC80AAA}"/>
                  </a:ext>
                </a:extLst>
              </p:cNvPr>
              <p:cNvSpPr>
                <a:spLocks/>
              </p:cNvSpPr>
              <p:nvPr/>
            </p:nvSpPr>
            <p:spPr bwMode="auto">
              <a:xfrm>
                <a:off x="6965950" y="5795963"/>
                <a:ext cx="339725" cy="233363"/>
              </a:xfrm>
              <a:custGeom>
                <a:avLst/>
                <a:gdLst>
                  <a:gd name="T0" fmla="*/ 183 w 859"/>
                  <a:gd name="T1" fmla="*/ 590 h 590"/>
                  <a:gd name="T2" fmla="*/ 170 w 859"/>
                  <a:gd name="T3" fmla="*/ 582 h 590"/>
                  <a:gd name="T4" fmla="*/ 162 w 859"/>
                  <a:gd name="T5" fmla="*/ 568 h 590"/>
                  <a:gd name="T6" fmla="*/ 164 w 859"/>
                  <a:gd name="T7" fmla="*/ 553 h 590"/>
                  <a:gd name="T8" fmla="*/ 173 w 859"/>
                  <a:gd name="T9" fmla="*/ 540 h 590"/>
                  <a:gd name="T10" fmla="*/ 189 w 859"/>
                  <a:gd name="T11" fmla="*/ 536 h 590"/>
                  <a:gd name="T12" fmla="*/ 589 w 859"/>
                  <a:gd name="T13" fmla="*/ 535 h 590"/>
                  <a:gd name="T14" fmla="*/ 624 w 859"/>
                  <a:gd name="T15" fmla="*/ 528 h 590"/>
                  <a:gd name="T16" fmla="*/ 657 w 859"/>
                  <a:gd name="T17" fmla="*/ 517 h 590"/>
                  <a:gd name="T18" fmla="*/ 689 w 859"/>
                  <a:gd name="T19" fmla="*/ 501 h 590"/>
                  <a:gd name="T20" fmla="*/ 735 w 859"/>
                  <a:gd name="T21" fmla="*/ 465 h 590"/>
                  <a:gd name="T22" fmla="*/ 771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1 w 859"/>
                  <a:gd name="T35" fmla="*/ 212 h 590"/>
                  <a:gd name="T36" fmla="*/ 776 w 859"/>
                  <a:gd name="T37" fmla="*/ 179 h 590"/>
                  <a:gd name="T38" fmla="*/ 750 w 859"/>
                  <a:gd name="T39" fmla="*/ 141 h 590"/>
                  <a:gd name="T40" fmla="*/ 699 w 859"/>
                  <a:gd name="T41" fmla="*/ 94 h 590"/>
                  <a:gd name="T42" fmla="*/ 669 w 859"/>
                  <a:gd name="T43" fmla="*/ 77 h 590"/>
                  <a:gd name="T44" fmla="*/ 636 w 859"/>
                  <a:gd name="T45" fmla="*/ 64 h 590"/>
                  <a:gd name="T46" fmla="*/ 600 w 859"/>
                  <a:gd name="T47" fmla="*/ 56 h 590"/>
                  <a:gd name="T48" fmla="*/ 564 w 859"/>
                  <a:gd name="T49" fmla="*/ 53 h 590"/>
                  <a:gd name="T50" fmla="*/ 17 w 859"/>
                  <a:gd name="T51" fmla="*/ 52 h 590"/>
                  <a:gd name="T52" fmla="*/ 5 w 859"/>
                  <a:gd name="T53" fmla="*/ 42 h 590"/>
                  <a:gd name="T54" fmla="*/ 0 w 859"/>
                  <a:gd name="T55" fmla="*/ 27 h 590"/>
                  <a:gd name="T56" fmla="*/ 5 w 859"/>
                  <a:gd name="T57" fmla="*/ 11 h 590"/>
                  <a:gd name="T58" fmla="*/ 17 w 859"/>
                  <a:gd name="T59" fmla="*/ 1 h 590"/>
                  <a:gd name="T60" fmla="*/ 564 w 859"/>
                  <a:gd name="T61" fmla="*/ 0 h 590"/>
                  <a:gd name="T62" fmla="*/ 609 w 859"/>
                  <a:gd name="T63" fmla="*/ 3 h 590"/>
                  <a:gd name="T64" fmla="*/ 652 w 859"/>
                  <a:gd name="T65" fmla="*/ 12 h 590"/>
                  <a:gd name="T66" fmla="*/ 692 w 859"/>
                  <a:gd name="T67" fmla="*/ 29 h 590"/>
                  <a:gd name="T68" fmla="*/ 729 w 859"/>
                  <a:gd name="T69" fmla="*/ 50 h 590"/>
                  <a:gd name="T70" fmla="*/ 763 w 859"/>
                  <a:gd name="T71" fmla="*/ 76 h 590"/>
                  <a:gd name="T72" fmla="*/ 792 w 859"/>
                  <a:gd name="T73" fmla="*/ 107 h 590"/>
                  <a:gd name="T74" fmla="*/ 817 w 859"/>
                  <a:gd name="T75" fmla="*/ 141 h 590"/>
                  <a:gd name="T76" fmla="*/ 836 w 859"/>
                  <a:gd name="T77" fmla="*/ 179 h 590"/>
                  <a:gd name="T78" fmla="*/ 850 w 859"/>
                  <a:gd name="T79" fmla="*/ 221 h 590"/>
                  <a:gd name="T80" fmla="*/ 857 w 859"/>
                  <a:gd name="T81" fmla="*/ 265 h 590"/>
                  <a:gd name="T82" fmla="*/ 858 w 859"/>
                  <a:gd name="T83" fmla="*/ 309 h 590"/>
                  <a:gd name="T84" fmla="*/ 852 w 859"/>
                  <a:gd name="T85" fmla="*/ 354 h 590"/>
                  <a:gd name="T86" fmla="*/ 841 w 859"/>
                  <a:gd name="T87" fmla="*/ 396 h 590"/>
                  <a:gd name="T88" fmla="*/ 823 w 859"/>
                  <a:gd name="T89" fmla="*/ 435 h 590"/>
                  <a:gd name="T90" fmla="*/ 800 w 859"/>
                  <a:gd name="T91" fmla="*/ 471 h 590"/>
                  <a:gd name="T92" fmla="*/ 773 w 859"/>
                  <a:gd name="T93" fmla="*/ 503 h 590"/>
                  <a:gd name="T94" fmla="*/ 740 w 859"/>
                  <a:gd name="T95" fmla="*/ 531 h 590"/>
                  <a:gd name="T96" fmla="*/ 704 w 859"/>
                  <a:gd name="T97" fmla="*/ 554 h 590"/>
                  <a:gd name="T98" fmla="*/ 665 w 859"/>
                  <a:gd name="T99" fmla="*/ 572 h 590"/>
                  <a:gd name="T100" fmla="*/ 624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189" y="590"/>
                    </a:lnTo>
                    <a:lnTo>
                      <a:pt x="183" y="590"/>
                    </a:lnTo>
                    <a:lnTo>
                      <a:pt x="178" y="588"/>
                    </a:lnTo>
                    <a:lnTo>
                      <a:pt x="173" y="585"/>
                    </a:lnTo>
                    <a:lnTo>
                      <a:pt x="170" y="582"/>
                    </a:lnTo>
                    <a:lnTo>
                      <a:pt x="166" y="577"/>
                    </a:lnTo>
                    <a:lnTo>
                      <a:pt x="164" y="573"/>
                    </a:lnTo>
                    <a:lnTo>
                      <a:pt x="162" y="568"/>
                    </a:lnTo>
                    <a:lnTo>
                      <a:pt x="162" y="563"/>
                    </a:lnTo>
                    <a:lnTo>
                      <a:pt x="162" y="557"/>
                    </a:lnTo>
                    <a:lnTo>
                      <a:pt x="164" y="553"/>
                    </a:lnTo>
                    <a:lnTo>
                      <a:pt x="166" y="548"/>
                    </a:lnTo>
                    <a:lnTo>
                      <a:pt x="170" y="544"/>
                    </a:lnTo>
                    <a:lnTo>
                      <a:pt x="173" y="540"/>
                    </a:lnTo>
                    <a:lnTo>
                      <a:pt x="178" y="538"/>
                    </a:lnTo>
                    <a:lnTo>
                      <a:pt x="183" y="537"/>
                    </a:lnTo>
                    <a:lnTo>
                      <a:pt x="189" y="536"/>
                    </a:lnTo>
                    <a:lnTo>
                      <a:pt x="564" y="536"/>
                    </a:lnTo>
                    <a:lnTo>
                      <a:pt x="577" y="536"/>
                    </a:lnTo>
                    <a:lnTo>
                      <a:pt x="589" y="535"/>
                    </a:lnTo>
                    <a:lnTo>
                      <a:pt x="600" y="534"/>
                    </a:lnTo>
                    <a:lnTo>
                      <a:pt x="613" y="531"/>
                    </a:lnTo>
                    <a:lnTo>
                      <a:pt x="624" y="528"/>
                    </a:lnTo>
                    <a:lnTo>
                      <a:pt x="636" y="525"/>
                    </a:lnTo>
                    <a:lnTo>
                      <a:pt x="647" y="521"/>
                    </a:lnTo>
                    <a:lnTo>
                      <a:pt x="657" y="517"/>
                    </a:lnTo>
                    <a:lnTo>
                      <a:pt x="669" y="512"/>
                    </a:lnTo>
                    <a:lnTo>
                      <a:pt x="679" y="507"/>
                    </a:lnTo>
                    <a:lnTo>
                      <a:pt x="689" y="501"/>
                    </a:lnTo>
                    <a:lnTo>
                      <a:pt x="699" y="494"/>
                    </a:lnTo>
                    <a:lnTo>
                      <a:pt x="718" y="481"/>
                    </a:lnTo>
                    <a:lnTo>
                      <a:pt x="735" y="465"/>
                    </a:lnTo>
                    <a:lnTo>
                      <a:pt x="750" y="449"/>
                    </a:lnTo>
                    <a:lnTo>
                      <a:pt x="764" y="429"/>
                    </a:lnTo>
                    <a:lnTo>
                      <a:pt x="771" y="419"/>
                    </a:lnTo>
                    <a:lnTo>
                      <a:pt x="776" y="409"/>
                    </a:lnTo>
                    <a:lnTo>
                      <a:pt x="782" y="399"/>
                    </a:lnTo>
                    <a:lnTo>
                      <a:pt x="786" y="389"/>
                    </a:lnTo>
                    <a:lnTo>
                      <a:pt x="791" y="378"/>
                    </a:lnTo>
                    <a:lnTo>
                      <a:pt x="794" y="367"/>
                    </a:lnTo>
                    <a:lnTo>
                      <a:pt x="797" y="355"/>
                    </a:lnTo>
                    <a:lnTo>
                      <a:pt x="801" y="343"/>
                    </a:lnTo>
                    <a:lnTo>
                      <a:pt x="802" y="332"/>
                    </a:lnTo>
                    <a:lnTo>
                      <a:pt x="804" y="320"/>
                    </a:lnTo>
                    <a:lnTo>
                      <a:pt x="805" y="307"/>
                    </a:lnTo>
                    <a:lnTo>
                      <a:pt x="805" y="295"/>
                    </a:lnTo>
                    <a:lnTo>
                      <a:pt x="805" y="283"/>
                    </a:lnTo>
                    <a:lnTo>
                      <a:pt x="804" y="270"/>
                    </a:lnTo>
                    <a:lnTo>
                      <a:pt x="802" y="258"/>
                    </a:lnTo>
                    <a:lnTo>
                      <a:pt x="801" y="246"/>
                    </a:lnTo>
                    <a:lnTo>
                      <a:pt x="797" y="234"/>
                    </a:lnTo>
                    <a:lnTo>
                      <a:pt x="794" y="223"/>
                    </a:lnTo>
                    <a:lnTo>
                      <a:pt x="791" y="212"/>
                    </a:lnTo>
                    <a:lnTo>
                      <a:pt x="786" y="201"/>
                    </a:lnTo>
                    <a:lnTo>
                      <a:pt x="782" y="191"/>
                    </a:lnTo>
                    <a:lnTo>
                      <a:pt x="776" y="179"/>
                    </a:lnTo>
                    <a:lnTo>
                      <a:pt x="771" y="169"/>
                    </a:lnTo>
                    <a:lnTo>
                      <a:pt x="764" y="159"/>
                    </a:lnTo>
                    <a:lnTo>
                      <a:pt x="750" y="141"/>
                    </a:lnTo>
                    <a:lnTo>
                      <a:pt x="735" y="124"/>
                    </a:lnTo>
                    <a:lnTo>
                      <a:pt x="718" y="109"/>
                    </a:lnTo>
                    <a:lnTo>
                      <a:pt x="699" y="94"/>
                    </a:lnTo>
                    <a:lnTo>
                      <a:pt x="689" y="89"/>
                    </a:lnTo>
                    <a:lnTo>
                      <a:pt x="679" y="82"/>
                    </a:lnTo>
                    <a:lnTo>
                      <a:pt x="669" y="77"/>
                    </a:lnTo>
                    <a:lnTo>
                      <a:pt x="657" y="72"/>
                    </a:lnTo>
                    <a:lnTo>
                      <a:pt x="647" y="68"/>
                    </a:lnTo>
                    <a:lnTo>
                      <a:pt x="636" y="64"/>
                    </a:lnTo>
                    <a:lnTo>
                      <a:pt x="624" y="61"/>
                    </a:lnTo>
                    <a:lnTo>
                      <a:pt x="613" y="58"/>
                    </a:lnTo>
                    <a:lnTo>
                      <a:pt x="600" y="56"/>
                    </a:lnTo>
                    <a:lnTo>
                      <a:pt x="589" y="55"/>
                    </a:lnTo>
                    <a:lnTo>
                      <a:pt x="577" y="54"/>
                    </a:lnTo>
                    <a:lnTo>
                      <a:pt x="564" y="53"/>
                    </a:lnTo>
                    <a:lnTo>
                      <a:pt x="27" y="53"/>
                    </a:lnTo>
                    <a:lnTo>
                      <a:pt x="22" y="53"/>
                    </a:lnTo>
                    <a:lnTo>
                      <a:pt x="17" y="52"/>
                    </a:lnTo>
                    <a:lnTo>
                      <a:pt x="13" y="48"/>
                    </a:lnTo>
                    <a:lnTo>
                      <a:pt x="8" y="45"/>
                    </a:lnTo>
                    <a:lnTo>
                      <a:pt x="5" y="42"/>
                    </a:lnTo>
                    <a:lnTo>
                      <a:pt x="3" y="37"/>
                    </a:lnTo>
                    <a:lnTo>
                      <a:pt x="2" y="31"/>
                    </a:lnTo>
                    <a:lnTo>
                      <a:pt x="0" y="27"/>
                    </a:lnTo>
                    <a:lnTo>
                      <a:pt x="2" y="21"/>
                    </a:lnTo>
                    <a:lnTo>
                      <a:pt x="3" y="16"/>
                    </a:lnTo>
                    <a:lnTo>
                      <a:pt x="5" y="11"/>
                    </a:lnTo>
                    <a:lnTo>
                      <a:pt x="8" y="8"/>
                    </a:lnTo>
                    <a:lnTo>
                      <a:pt x="13" y="5"/>
                    </a:lnTo>
                    <a:lnTo>
                      <a:pt x="17" y="1"/>
                    </a:lnTo>
                    <a:lnTo>
                      <a:pt x="22" y="0"/>
                    </a:lnTo>
                    <a:lnTo>
                      <a:pt x="27" y="0"/>
                    </a:lnTo>
                    <a:lnTo>
                      <a:pt x="564" y="0"/>
                    </a:lnTo>
                    <a:lnTo>
                      <a:pt x="579" y="0"/>
                    </a:lnTo>
                    <a:lnTo>
                      <a:pt x="593" y="1"/>
                    </a:lnTo>
                    <a:lnTo>
                      <a:pt x="609" y="3"/>
                    </a:lnTo>
                    <a:lnTo>
                      <a:pt x="624" y="6"/>
                    </a:lnTo>
                    <a:lnTo>
                      <a:pt x="637" y="9"/>
                    </a:lnTo>
                    <a:lnTo>
                      <a:pt x="652" y="12"/>
                    </a:lnTo>
                    <a:lnTo>
                      <a:pt x="665" y="18"/>
                    </a:lnTo>
                    <a:lnTo>
                      <a:pt x="679" y="22"/>
                    </a:lnTo>
                    <a:lnTo>
                      <a:pt x="692" y="29"/>
                    </a:lnTo>
                    <a:lnTo>
                      <a:pt x="704" y="35"/>
                    </a:lnTo>
                    <a:lnTo>
                      <a:pt x="717" y="43"/>
                    </a:lnTo>
                    <a:lnTo>
                      <a:pt x="729" y="50"/>
                    </a:lnTo>
                    <a:lnTo>
                      <a:pt x="740" y="58"/>
                    </a:lnTo>
                    <a:lnTo>
                      <a:pt x="752" y="67"/>
                    </a:lnTo>
                    <a:lnTo>
                      <a:pt x="763" y="76"/>
                    </a:lnTo>
                    <a:lnTo>
                      <a:pt x="773" y="86"/>
                    </a:lnTo>
                    <a:lnTo>
                      <a:pt x="782" y="96"/>
                    </a:lnTo>
                    <a:lnTo>
                      <a:pt x="792" y="107"/>
                    </a:lnTo>
                    <a:lnTo>
                      <a:pt x="800" y="118"/>
                    </a:lnTo>
                    <a:lnTo>
                      <a:pt x="809" y="130"/>
                    </a:lnTo>
                    <a:lnTo>
                      <a:pt x="817" y="141"/>
                    </a:lnTo>
                    <a:lnTo>
                      <a:pt x="823" y="154"/>
                    </a:lnTo>
                    <a:lnTo>
                      <a:pt x="830" y="167"/>
                    </a:lnTo>
                    <a:lnTo>
                      <a:pt x="836" y="179"/>
                    </a:lnTo>
                    <a:lnTo>
                      <a:pt x="841" y="193"/>
                    </a:lnTo>
                    <a:lnTo>
                      <a:pt x="846" y="207"/>
                    </a:lnTo>
                    <a:lnTo>
                      <a:pt x="850" y="221"/>
                    </a:lnTo>
                    <a:lnTo>
                      <a:pt x="852" y="235"/>
                    </a:lnTo>
                    <a:lnTo>
                      <a:pt x="856" y="250"/>
                    </a:lnTo>
                    <a:lnTo>
                      <a:pt x="857" y="265"/>
                    </a:lnTo>
                    <a:lnTo>
                      <a:pt x="858" y="279"/>
                    </a:lnTo>
                    <a:lnTo>
                      <a:pt x="859" y="295"/>
                    </a:lnTo>
                    <a:lnTo>
                      <a:pt x="858" y="309"/>
                    </a:lnTo>
                    <a:lnTo>
                      <a:pt x="857" y="325"/>
                    </a:lnTo>
                    <a:lnTo>
                      <a:pt x="856" y="340"/>
                    </a:lnTo>
                    <a:lnTo>
                      <a:pt x="852" y="354"/>
                    </a:lnTo>
                    <a:lnTo>
                      <a:pt x="850" y="369"/>
                    </a:lnTo>
                    <a:lnTo>
                      <a:pt x="846" y="382"/>
                    </a:lnTo>
                    <a:lnTo>
                      <a:pt x="841" y="396"/>
                    </a:lnTo>
                    <a:lnTo>
                      <a:pt x="836" y="409"/>
                    </a:lnTo>
                    <a:lnTo>
                      <a:pt x="830" y="423"/>
                    </a:lnTo>
                    <a:lnTo>
                      <a:pt x="823" y="435"/>
                    </a:lnTo>
                    <a:lnTo>
                      <a:pt x="817" y="447"/>
                    </a:lnTo>
                    <a:lnTo>
                      <a:pt x="809" y="460"/>
                    </a:lnTo>
                    <a:lnTo>
                      <a:pt x="800" y="471"/>
                    </a:lnTo>
                    <a:lnTo>
                      <a:pt x="792" y="482"/>
                    </a:lnTo>
                    <a:lnTo>
                      <a:pt x="782" y="493"/>
                    </a:lnTo>
                    <a:lnTo>
                      <a:pt x="773" y="503"/>
                    </a:lnTo>
                    <a:lnTo>
                      <a:pt x="763" y="514"/>
                    </a:lnTo>
                    <a:lnTo>
                      <a:pt x="752" y="522"/>
                    </a:lnTo>
                    <a:lnTo>
                      <a:pt x="740" y="531"/>
                    </a:lnTo>
                    <a:lnTo>
                      <a:pt x="729" y="539"/>
                    </a:lnTo>
                    <a:lnTo>
                      <a:pt x="717" y="547"/>
                    </a:lnTo>
                    <a:lnTo>
                      <a:pt x="704" y="554"/>
                    </a:lnTo>
                    <a:lnTo>
                      <a:pt x="692" y="561"/>
                    </a:lnTo>
                    <a:lnTo>
                      <a:pt x="679" y="566"/>
                    </a:lnTo>
                    <a:lnTo>
                      <a:pt x="665" y="572"/>
                    </a:lnTo>
                    <a:lnTo>
                      <a:pt x="652" y="576"/>
                    </a:lnTo>
                    <a:lnTo>
                      <a:pt x="637" y="581"/>
                    </a:lnTo>
                    <a:lnTo>
                      <a:pt x="624" y="584"/>
                    </a:lnTo>
                    <a:lnTo>
                      <a:pt x="609" y="586"/>
                    </a:lnTo>
                    <a:lnTo>
                      <a:pt x="593"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15">
                <a:extLst>
                  <a:ext uri="{FF2B5EF4-FFF2-40B4-BE49-F238E27FC236}">
                    <a16:creationId xmlns:a16="http://schemas.microsoft.com/office/drawing/2014/main" id="{0A704419-9AE0-4700-8BF2-45E9D9E988A7}"/>
                  </a:ext>
                </a:extLst>
              </p:cNvPr>
              <p:cNvSpPr>
                <a:spLocks/>
              </p:cNvSpPr>
              <p:nvPr/>
            </p:nvSpPr>
            <p:spPr bwMode="auto">
              <a:xfrm>
                <a:off x="6731000" y="5795963"/>
                <a:ext cx="341313" cy="233363"/>
              </a:xfrm>
              <a:custGeom>
                <a:avLst/>
                <a:gdLst>
                  <a:gd name="T0" fmla="*/ 279 w 857"/>
                  <a:gd name="T1" fmla="*/ 590 h 590"/>
                  <a:gd name="T2" fmla="*/ 235 w 857"/>
                  <a:gd name="T3" fmla="*/ 584 h 590"/>
                  <a:gd name="T4" fmla="*/ 194 w 857"/>
                  <a:gd name="T5" fmla="*/ 572 h 590"/>
                  <a:gd name="T6" fmla="*/ 154 w 857"/>
                  <a:gd name="T7" fmla="*/ 554 h 590"/>
                  <a:gd name="T8" fmla="*/ 119 w 857"/>
                  <a:gd name="T9" fmla="*/ 531 h 590"/>
                  <a:gd name="T10" fmla="*/ 86 w 857"/>
                  <a:gd name="T11" fmla="*/ 503 h 590"/>
                  <a:gd name="T12" fmla="*/ 58 w 857"/>
                  <a:gd name="T13" fmla="*/ 471 h 590"/>
                  <a:gd name="T14" fmla="*/ 36 w 857"/>
                  <a:gd name="T15" fmla="*/ 435 h 590"/>
                  <a:gd name="T16" fmla="*/ 18 w 857"/>
                  <a:gd name="T17" fmla="*/ 396 h 590"/>
                  <a:gd name="T18" fmla="*/ 5 w 857"/>
                  <a:gd name="T19" fmla="*/ 354 h 590"/>
                  <a:gd name="T20" fmla="*/ 0 w 857"/>
                  <a:gd name="T21" fmla="*/ 309 h 590"/>
                  <a:gd name="T22" fmla="*/ 1 w 857"/>
                  <a:gd name="T23" fmla="*/ 265 h 590"/>
                  <a:gd name="T24" fmla="*/ 9 w 857"/>
                  <a:gd name="T25" fmla="*/ 221 h 590"/>
                  <a:gd name="T26" fmla="*/ 22 w 857"/>
                  <a:gd name="T27" fmla="*/ 179 h 590"/>
                  <a:gd name="T28" fmla="*/ 42 w 857"/>
                  <a:gd name="T29" fmla="*/ 141 h 590"/>
                  <a:gd name="T30" fmla="*/ 67 w 857"/>
                  <a:gd name="T31" fmla="*/ 107 h 590"/>
                  <a:gd name="T32" fmla="*/ 96 w 857"/>
                  <a:gd name="T33" fmla="*/ 76 h 590"/>
                  <a:gd name="T34" fmla="*/ 130 w 857"/>
                  <a:gd name="T35" fmla="*/ 50 h 590"/>
                  <a:gd name="T36" fmla="*/ 167 w 857"/>
                  <a:gd name="T37" fmla="*/ 29 h 590"/>
                  <a:gd name="T38" fmla="*/ 207 w 857"/>
                  <a:gd name="T39" fmla="*/ 12 h 590"/>
                  <a:gd name="T40" fmla="*/ 250 w 857"/>
                  <a:gd name="T41" fmla="*/ 3 h 590"/>
                  <a:gd name="T42" fmla="*/ 295 w 857"/>
                  <a:gd name="T43" fmla="*/ 0 h 590"/>
                  <a:gd name="T44" fmla="*/ 842 w 857"/>
                  <a:gd name="T45" fmla="*/ 1 h 590"/>
                  <a:gd name="T46" fmla="*/ 853 w 857"/>
                  <a:gd name="T47" fmla="*/ 11 h 590"/>
                  <a:gd name="T48" fmla="*/ 857 w 857"/>
                  <a:gd name="T49" fmla="*/ 27 h 590"/>
                  <a:gd name="T50" fmla="*/ 853 w 857"/>
                  <a:gd name="T51" fmla="*/ 42 h 590"/>
                  <a:gd name="T52" fmla="*/ 842 w 857"/>
                  <a:gd name="T53" fmla="*/ 52 h 590"/>
                  <a:gd name="T54" fmla="*/ 295 w 857"/>
                  <a:gd name="T55" fmla="*/ 53 h 590"/>
                  <a:gd name="T56" fmla="*/ 258 w 857"/>
                  <a:gd name="T57" fmla="*/ 56 h 590"/>
                  <a:gd name="T58" fmla="*/ 223 w 857"/>
                  <a:gd name="T59" fmla="*/ 64 h 590"/>
                  <a:gd name="T60" fmla="*/ 190 w 857"/>
                  <a:gd name="T61" fmla="*/ 77 h 590"/>
                  <a:gd name="T62" fmla="*/ 160 w 857"/>
                  <a:gd name="T63" fmla="*/ 94 h 590"/>
                  <a:gd name="T64" fmla="*/ 109 w 857"/>
                  <a:gd name="T65" fmla="*/ 141 h 590"/>
                  <a:gd name="T66" fmla="*/ 83 w 857"/>
                  <a:gd name="T67" fmla="*/ 179 h 590"/>
                  <a:gd name="T68" fmla="*/ 68 w 857"/>
                  <a:gd name="T69" fmla="*/ 212 h 590"/>
                  <a:gd name="T70" fmla="*/ 58 w 857"/>
                  <a:gd name="T71" fmla="*/ 246 h 590"/>
                  <a:gd name="T72" fmla="*/ 54 w 857"/>
                  <a:gd name="T73" fmla="*/ 283 h 590"/>
                  <a:gd name="T74" fmla="*/ 55 w 857"/>
                  <a:gd name="T75" fmla="*/ 320 h 590"/>
                  <a:gd name="T76" fmla="*/ 60 w 857"/>
                  <a:gd name="T77" fmla="*/ 355 h 590"/>
                  <a:gd name="T78" fmla="*/ 73 w 857"/>
                  <a:gd name="T79" fmla="*/ 389 h 590"/>
                  <a:gd name="T80" fmla="*/ 88 w 857"/>
                  <a:gd name="T81" fmla="*/ 419 h 590"/>
                  <a:gd name="T82" fmla="*/ 124 w 857"/>
                  <a:gd name="T83" fmla="*/ 465 h 590"/>
                  <a:gd name="T84" fmla="*/ 169 w 857"/>
                  <a:gd name="T85" fmla="*/ 501 h 590"/>
                  <a:gd name="T86" fmla="*/ 200 w 857"/>
                  <a:gd name="T87" fmla="*/ 517 h 590"/>
                  <a:gd name="T88" fmla="*/ 234 w 857"/>
                  <a:gd name="T89" fmla="*/ 528 h 590"/>
                  <a:gd name="T90" fmla="*/ 270 w 857"/>
                  <a:gd name="T91" fmla="*/ 535 h 590"/>
                  <a:gd name="T92" fmla="*/ 616 w 857"/>
                  <a:gd name="T93" fmla="*/ 536 h 590"/>
                  <a:gd name="T94" fmla="*/ 631 w 857"/>
                  <a:gd name="T95" fmla="*/ 540 h 590"/>
                  <a:gd name="T96" fmla="*/ 641 w 857"/>
                  <a:gd name="T97" fmla="*/ 553 h 590"/>
                  <a:gd name="T98" fmla="*/ 642 w 857"/>
                  <a:gd name="T99" fmla="*/ 568 h 590"/>
                  <a:gd name="T100" fmla="*/ 635 w 857"/>
                  <a:gd name="T101" fmla="*/ 582 h 590"/>
                  <a:gd name="T102" fmla="*/ 622 w 857"/>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7" h="590">
                    <a:moveTo>
                      <a:pt x="616" y="590"/>
                    </a:moveTo>
                    <a:lnTo>
                      <a:pt x="295" y="590"/>
                    </a:lnTo>
                    <a:lnTo>
                      <a:pt x="279" y="590"/>
                    </a:lnTo>
                    <a:lnTo>
                      <a:pt x="264" y="589"/>
                    </a:lnTo>
                    <a:lnTo>
                      <a:pt x="250" y="586"/>
                    </a:lnTo>
                    <a:lnTo>
                      <a:pt x="235" y="584"/>
                    </a:lnTo>
                    <a:lnTo>
                      <a:pt x="221" y="581"/>
                    </a:lnTo>
                    <a:lnTo>
                      <a:pt x="207" y="576"/>
                    </a:lnTo>
                    <a:lnTo>
                      <a:pt x="194" y="572"/>
                    </a:lnTo>
                    <a:lnTo>
                      <a:pt x="180" y="566"/>
                    </a:lnTo>
                    <a:lnTo>
                      <a:pt x="167" y="561"/>
                    </a:lnTo>
                    <a:lnTo>
                      <a:pt x="154" y="554"/>
                    </a:lnTo>
                    <a:lnTo>
                      <a:pt x="142" y="547"/>
                    </a:lnTo>
                    <a:lnTo>
                      <a:pt x="130" y="539"/>
                    </a:lnTo>
                    <a:lnTo>
                      <a:pt x="119" y="531"/>
                    </a:lnTo>
                    <a:lnTo>
                      <a:pt x="107" y="522"/>
                    </a:lnTo>
                    <a:lnTo>
                      <a:pt x="96" y="514"/>
                    </a:lnTo>
                    <a:lnTo>
                      <a:pt x="86" y="503"/>
                    </a:lnTo>
                    <a:lnTo>
                      <a:pt x="76" y="493"/>
                    </a:lnTo>
                    <a:lnTo>
                      <a:pt x="67" y="482"/>
                    </a:lnTo>
                    <a:lnTo>
                      <a:pt x="58" y="471"/>
                    </a:lnTo>
                    <a:lnTo>
                      <a:pt x="50" y="460"/>
                    </a:lnTo>
                    <a:lnTo>
                      <a:pt x="42" y="447"/>
                    </a:lnTo>
                    <a:lnTo>
                      <a:pt x="36" y="435"/>
                    </a:lnTo>
                    <a:lnTo>
                      <a:pt x="29" y="423"/>
                    </a:lnTo>
                    <a:lnTo>
                      <a:pt x="22" y="409"/>
                    </a:lnTo>
                    <a:lnTo>
                      <a:pt x="18" y="396"/>
                    </a:lnTo>
                    <a:lnTo>
                      <a:pt x="13" y="382"/>
                    </a:lnTo>
                    <a:lnTo>
                      <a:pt x="9" y="369"/>
                    </a:lnTo>
                    <a:lnTo>
                      <a:pt x="5" y="354"/>
                    </a:lnTo>
                    <a:lnTo>
                      <a:pt x="3" y="340"/>
                    </a:lnTo>
                    <a:lnTo>
                      <a:pt x="1" y="325"/>
                    </a:lnTo>
                    <a:lnTo>
                      <a:pt x="0" y="309"/>
                    </a:lnTo>
                    <a:lnTo>
                      <a:pt x="0" y="295"/>
                    </a:lnTo>
                    <a:lnTo>
                      <a:pt x="0" y="279"/>
                    </a:lnTo>
                    <a:lnTo>
                      <a:pt x="1" y="265"/>
                    </a:lnTo>
                    <a:lnTo>
                      <a:pt x="3" y="250"/>
                    </a:lnTo>
                    <a:lnTo>
                      <a:pt x="5" y="235"/>
                    </a:lnTo>
                    <a:lnTo>
                      <a:pt x="9" y="221"/>
                    </a:lnTo>
                    <a:lnTo>
                      <a:pt x="13" y="207"/>
                    </a:lnTo>
                    <a:lnTo>
                      <a:pt x="18" y="193"/>
                    </a:lnTo>
                    <a:lnTo>
                      <a:pt x="22" y="179"/>
                    </a:lnTo>
                    <a:lnTo>
                      <a:pt x="29" y="167"/>
                    </a:lnTo>
                    <a:lnTo>
                      <a:pt x="36" y="154"/>
                    </a:lnTo>
                    <a:lnTo>
                      <a:pt x="42" y="141"/>
                    </a:lnTo>
                    <a:lnTo>
                      <a:pt x="50" y="130"/>
                    </a:lnTo>
                    <a:lnTo>
                      <a:pt x="58" y="118"/>
                    </a:lnTo>
                    <a:lnTo>
                      <a:pt x="67" y="107"/>
                    </a:lnTo>
                    <a:lnTo>
                      <a:pt x="76" y="96"/>
                    </a:lnTo>
                    <a:lnTo>
                      <a:pt x="86" y="86"/>
                    </a:lnTo>
                    <a:lnTo>
                      <a:pt x="96" y="76"/>
                    </a:lnTo>
                    <a:lnTo>
                      <a:pt x="107" y="67"/>
                    </a:lnTo>
                    <a:lnTo>
                      <a:pt x="119" y="58"/>
                    </a:lnTo>
                    <a:lnTo>
                      <a:pt x="130" y="50"/>
                    </a:lnTo>
                    <a:lnTo>
                      <a:pt x="142" y="43"/>
                    </a:lnTo>
                    <a:lnTo>
                      <a:pt x="154" y="35"/>
                    </a:lnTo>
                    <a:lnTo>
                      <a:pt x="167" y="29"/>
                    </a:lnTo>
                    <a:lnTo>
                      <a:pt x="180" y="22"/>
                    </a:lnTo>
                    <a:lnTo>
                      <a:pt x="194" y="18"/>
                    </a:lnTo>
                    <a:lnTo>
                      <a:pt x="207" y="12"/>
                    </a:lnTo>
                    <a:lnTo>
                      <a:pt x="221" y="9"/>
                    </a:lnTo>
                    <a:lnTo>
                      <a:pt x="235" y="6"/>
                    </a:lnTo>
                    <a:lnTo>
                      <a:pt x="250" y="3"/>
                    </a:lnTo>
                    <a:lnTo>
                      <a:pt x="264" y="1"/>
                    </a:lnTo>
                    <a:lnTo>
                      <a:pt x="279" y="0"/>
                    </a:lnTo>
                    <a:lnTo>
                      <a:pt x="295" y="0"/>
                    </a:lnTo>
                    <a:lnTo>
                      <a:pt x="830" y="0"/>
                    </a:lnTo>
                    <a:lnTo>
                      <a:pt x="836" y="0"/>
                    </a:lnTo>
                    <a:lnTo>
                      <a:pt x="842" y="1"/>
                    </a:lnTo>
                    <a:lnTo>
                      <a:pt x="846" y="5"/>
                    </a:lnTo>
                    <a:lnTo>
                      <a:pt x="850" y="8"/>
                    </a:lnTo>
                    <a:lnTo>
                      <a:pt x="853" y="11"/>
                    </a:lnTo>
                    <a:lnTo>
                      <a:pt x="856" y="16"/>
                    </a:lnTo>
                    <a:lnTo>
                      <a:pt x="857" y="21"/>
                    </a:lnTo>
                    <a:lnTo>
                      <a:pt x="857" y="27"/>
                    </a:lnTo>
                    <a:lnTo>
                      <a:pt x="857" y="31"/>
                    </a:lnTo>
                    <a:lnTo>
                      <a:pt x="856" y="37"/>
                    </a:lnTo>
                    <a:lnTo>
                      <a:pt x="853" y="42"/>
                    </a:lnTo>
                    <a:lnTo>
                      <a:pt x="850" y="45"/>
                    </a:lnTo>
                    <a:lnTo>
                      <a:pt x="846" y="48"/>
                    </a:lnTo>
                    <a:lnTo>
                      <a:pt x="842" y="52"/>
                    </a:lnTo>
                    <a:lnTo>
                      <a:pt x="836" y="53"/>
                    </a:lnTo>
                    <a:lnTo>
                      <a:pt x="830" y="53"/>
                    </a:lnTo>
                    <a:lnTo>
                      <a:pt x="295" y="53"/>
                    </a:lnTo>
                    <a:lnTo>
                      <a:pt x="282" y="54"/>
                    </a:lnTo>
                    <a:lnTo>
                      <a:pt x="270" y="55"/>
                    </a:lnTo>
                    <a:lnTo>
                      <a:pt x="258" y="56"/>
                    </a:lnTo>
                    <a:lnTo>
                      <a:pt x="246" y="58"/>
                    </a:lnTo>
                    <a:lnTo>
                      <a:pt x="234" y="61"/>
                    </a:lnTo>
                    <a:lnTo>
                      <a:pt x="223" y="64"/>
                    </a:lnTo>
                    <a:lnTo>
                      <a:pt x="212" y="68"/>
                    </a:lnTo>
                    <a:lnTo>
                      <a:pt x="200" y="72"/>
                    </a:lnTo>
                    <a:lnTo>
                      <a:pt x="190" y="77"/>
                    </a:lnTo>
                    <a:lnTo>
                      <a:pt x="179" y="82"/>
                    </a:lnTo>
                    <a:lnTo>
                      <a:pt x="169" y="89"/>
                    </a:lnTo>
                    <a:lnTo>
                      <a:pt x="160" y="94"/>
                    </a:lnTo>
                    <a:lnTo>
                      <a:pt x="141" y="109"/>
                    </a:lnTo>
                    <a:lnTo>
                      <a:pt x="124" y="124"/>
                    </a:lnTo>
                    <a:lnTo>
                      <a:pt x="109" y="141"/>
                    </a:lnTo>
                    <a:lnTo>
                      <a:pt x="94" y="159"/>
                    </a:lnTo>
                    <a:lnTo>
                      <a:pt x="88" y="169"/>
                    </a:lnTo>
                    <a:lnTo>
                      <a:pt x="83" y="179"/>
                    </a:lnTo>
                    <a:lnTo>
                      <a:pt x="77" y="191"/>
                    </a:lnTo>
                    <a:lnTo>
                      <a:pt x="73" y="201"/>
                    </a:lnTo>
                    <a:lnTo>
                      <a:pt x="68" y="212"/>
                    </a:lnTo>
                    <a:lnTo>
                      <a:pt x="64" y="223"/>
                    </a:lnTo>
                    <a:lnTo>
                      <a:pt x="60" y="234"/>
                    </a:lnTo>
                    <a:lnTo>
                      <a:pt x="58" y="246"/>
                    </a:lnTo>
                    <a:lnTo>
                      <a:pt x="56" y="258"/>
                    </a:lnTo>
                    <a:lnTo>
                      <a:pt x="55" y="270"/>
                    </a:lnTo>
                    <a:lnTo>
                      <a:pt x="54" y="283"/>
                    </a:lnTo>
                    <a:lnTo>
                      <a:pt x="54" y="295"/>
                    </a:lnTo>
                    <a:lnTo>
                      <a:pt x="54" y="307"/>
                    </a:lnTo>
                    <a:lnTo>
                      <a:pt x="55" y="320"/>
                    </a:lnTo>
                    <a:lnTo>
                      <a:pt x="56" y="332"/>
                    </a:lnTo>
                    <a:lnTo>
                      <a:pt x="58" y="343"/>
                    </a:lnTo>
                    <a:lnTo>
                      <a:pt x="60" y="355"/>
                    </a:lnTo>
                    <a:lnTo>
                      <a:pt x="64" y="367"/>
                    </a:lnTo>
                    <a:lnTo>
                      <a:pt x="68" y="378"/>
                    </a:lnTo>
                    <a:lnTo>
                      <a:pt x="73" y="389"/>
                    </a:lnTo>
                    <a:lnTo>
                      <a:pt x="77" y="399"/>
                    </a:lnTo>
                    <a:lnTo>
                      <a:pt x="83" y="409"/>
                    </a:lnTo>
                    <a:lnTo>
                      <a:pt x="88" y="419"/>
                    </a:lnTo>
                    <a:lnTo>
                      <a:pt x="94" y="429"/>
                    </a:lnTo>
                    <a:lnTo>
                      <a:pt x="109" y="449"/>
                    </a:lnTo>
                    <a:lnTo>
                      <a:pt x="124" y="465"/>
                    </a:lnTo>
                    <a:lnTo>
                      <a:pt x="141" y="481"/>
                    </a:lnTo>
                    <a:lnTo>
                      <a:pt x="160" y="494"/>
                    </a:lnTo>
                    <a:lnTo>
                      <a:pt x="169" y="501"/>
                    </a:lnTo>
                    <a:lnTo>
                      <a:pt x="179" y="507"/>
                    </a:lnTo>
                    <a:lnTo>
                      <a:pt x="190" y="512"/>
                    </a:lnTo>
                    <a:lnTo>
                      <a:pt x="200" y="517"/>
                    </a:lnTo>
                    <a:lnTo>
                      <a:pt x="212" y="521"/>
                    </a:lnTo>
                    <a:lnTo>
                      <a:pt x="223" y="525"/>
                    </a:lnTo>
                    <a:lnTo>
                      <a:pt x="234" y="528"/>
                    </a:lnTo>
                    <a:lnTo>
                      <a:pt x="246" y="531"/>
                    </a:lnTo>
                    <a:lnTo>
                      <a:pt x="258" y="534"/>
                    </a:lnTo>
                    <a:lnTo>
                      <a:pt x="270" y="535"/>
                    </a:lnTo>
                    <a:lnTo>
                      <a:pt x="282" y="536"/>
                    </a:lnTo>
                    <a:lnTo>
                      <a:pt x="295" y="536"/>
                    </a:lnTo>
                    <a:lnTo>
                      <a:pt x="616" y="536"/>
                    </a:lnTo>
                    <a:lnTo>
                      <a:pt x="622" y="537"/>
                    </a:lnTo>
                    <a:lnTo>
                      <a:pt x="626" y="538"/>
                    </a:lnTo>
                    <a:lnTo>
                      <a:pt x="631" y="540"/>
                    </a:lnTo>
                    <a:lnTo>
                      <a:pt x="635" y="544"/>
                    </a:lnTo>
                    <a:lnTo>
                      <a:pt x="639" y="548"/>
                    </a:lnTo>
                    <a:lnTo>
                      <a:pt x="641" y="553"/>
                    </a:lnTo>
                    <a:lnTo>
                      <a:pt x="642" y="557"/>
                    </a:lnTo>
                    <a:lnTo>
                      <a:pt x="643" y="563"/>
                    </a:lnTo>
                    <a:lnTo>
                      <a:pt x="642" y="568"/>
                    </a:lnTo>
                    <a:lnTo>
                      <a:pt x="641" y="573"/>
                    </a:lnTo>
                    <a:lnTo>
                      <a:pt x="639" y="577"/>
                    </a:lnTo>
                    <a:lnTo>
                      <a:pt x="635" y="582"/>
                    </a:lnTo>
                    <a:lnTo>
                      <a:pt x="631" y="585"/>
                    </a:lnTo>
                    <a:lnTo>
                      <a:pt x="626" y="588"/>
                    </a:lnTo>
                    <a:lnTo>
                      <a:pt x="622" y="590"/>
                    </a:lnTo>
                    <a:lnTo>
                      <a:pt x="616"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6">
                <a:extLst>
                  <a:ext uri="{FF2B5EF4-FFF2-40B4-BE49-F238E27FC236}">
                    <a16:creationId xmlns:a16="http://schemas.microsoft.com/office/drawing/2014/main" id="{DFDEF0AC-C764-4574-8DEC-C06B762A65C5}"/>
                  </a:ext>
                </a:extLst>
              </p:cNvPr>
              <p:cNvSpPr>
                <a:spLocks/>
              </p:cNvSpPr>
              <p:nvPr/>
            </p:nvSpPr>
            <p:spPr bwMode="auto">
              <a:xfrm>
                <a:off x="7008813" y="5943600"/>
                <a:ext cx="84138" cy="149225"/>
              </a:xfrm>
              <a:custGeom>
                <a:avLst/>
                <a:gdLst>
                  <a:gd name="T0" fmla="*/ 187 w 214"/>
                  <a:gd name="T1" fmla="*/ 375 h 375"/>
                  <a:gd name="T2" fmla="*/ 183 w 214"/>
                  <a:gd name="T3" fmla="*/ 374 h 375"/>
                  <a:gd name="T4" fmla="*/ 177 w 214"/>
                  <a:gd name="T5" fmla="*/ 373 h 375"/>
                  <a:gd name="T6" fmla="*/ 173 w 214"/>
                  <a:gd name="T7" fmla="*/ 371 h 375"/>
                  <a:gd name="T8" fmla="*/ 168 w 214"/>
                  <a:gd name="T9" fmla="*/ 367 h 375"/>
                  <a:gd name="T10" fmla="*/ 8 w 214"/>
                  <a:gd name="T11" fmla="*/ 206 h 375"/>
                  <a:gd name="T12" fmla="*/ 5 w 214"/>
                  <a:gd name="T13" fmla="*/ 201 h 375"/>
                  <a:gd name="T14" fmla="*/ 2 w 214"/>
                  <a:gd name="T15" fmla="*/ 197 h 375"/>
                  <a:gd name="T16" fmla="*/ 0 w 214"/>
                  <a:gd name="T17" fmla="*/ 192 h 375"/>
                  <a:gd name="T18" fmla="*/ 0 w 214"/>
                  <a:gd name="T19" fmla="*/ 187 h 375"/>
                  <a:gd name="T20" fmla="*/ 0 w 214"/>
                  <a:gd name="T21" fmla="*/ 182 h 375"/>
                  <a:gd name="T22" fmla="*/ 2 w 214"/>
                  <a:gd name="T23" fmla="*/ 177 h 375"/>
                  <a:gd name="T24" fmla="*/ 5 w 214"/>
                  <a:gd name="T25" fmla="*/ 172 h 375"/>
                  <a:gd name="T26" fmla="*/ 8 w 214"/>
                  <a:gd name="T27" fmla="*/ 168 h 375"/>
                  <a:gd name="T28" fmla="*/ 168 w 214"/>
                  <a:gd name="T29" fmla="*/ 7 h 375"/>
                  <a:gd name="T30" fmla="*/ 173 w 214"/>
                  <a:gd name="T31" fmla="*/ 4 h 375"/>
                  <a:gd name="T32" fmla="*/ 177 w 214"/>
                  <a:gd name="T33" fmla="*/ 1 h 375"/>
                  <a:gd name="T34" fmla="*/ 183 w 214"/>
                  <a:gd name="T35" fmla="*/ 0 h 375"/>
                  <a:gd name="T36" fmla="*/ 187 w 214"/>
                  <a:gd name="T37" fmla="*/ 0 h 375"/>
                  <a:gd name="T38" fmla="*/ 193 w 214"/>
                  <a:gd name="T39" fmla="*/ 0 h 375"/>
                  <a:gd name="T40" fmla="*/ 197 w 214"/>
                  <a:gd name="T41" fmla="*/ 1 h 375"/>
                  <a:gd name="T42" fmla="*/ 203 w 214"/>
                  <a:gd name="T43" fmla="*/ 4 h 375"/>
                  <a:gd name="T44" fmla="*/ 206 w 214"/>
                  <a:gd name="T45" fmla="*/ 7 h 375"/>
                  <a:gd name="T46" fmla="*/ 210 w 214"/>
                  <a:gd name="T47" fmla="*/ 11 h 375"/>
                  <a:gd name="T48" fmla="*/ 213 w 214"/>
                  <a:gd name="T49" fmla="*/ 16 h 375"/>
                  <a:gd name="T50" fmla="*/ 214 w 214"/>
                  <a:gd name="T51" fmla="*/ 21 h 375"/>
                  <a:gd name="T52" fmla="*/ 214 w 214"/>
                  <a:gd name="T53" fmla="*/ 27 h 375"/>
                  <a:gd name="T54" fmla="*/ 214 w 214"/>
                  <a:gd name="T55" fmla="*/ 31 h 375"/>
                  <a:gd name="T56" fmla="*/ 213 w 214"/>
                  <a:gd name="T57" fmla="*/ 37 h 375"/>
                  <a:gd name="T58" fmla="*/ 210 w 214"/>
                  <a:gd name="T59" fmla="*/ 41 h 375"/>
                  <a:gd name="T60" fmla="*/ 206 w 214"/>
                  <a:gd name="T61" fmla="*/ 44 h 375"/>
                  <a:gd name="T62" fmla="*/ 65 w 214"/>
                  <a:gd name="T63" fmla="*/ 187 h 375"/>
                  <a:gd name="T64" fmla="*/ 206 w 214"/>
                  <a:gd name="T65" fmla="*/ 329 h 375"/>
                  <a:gd name="T66" fmla="*/ 210 w 214"/>
                  <a:gd name="T67" fmla="*/ 333 h 375"/>
                  <a:gd name="T68" fmla="*/ 213 w 214"/>
                  <a:gd name="T69" fmla="*/ 338 h 375"/>
                  <a:gd name="T70" fmla="*/ 214 w 214"/>
                  <a:gd name="T71" fmla="*/ 343 h 375"/>
                  <a:gd name="T72" fmla="*/ 214 w 214"/>
                  <a:gd name="T73" fmla="*/ 348 h 375"/>
                  <a:gd name="T74" fmla="*/ 214 w 214"/>
                  <a:gd name="T75" fmla="*/ 353 h 375"/>
                  <a:gd name="T76" fmla="*/ 213 w 214"/>
                  <a:gd name="T77" fmla="*/ 358 h 375"/>
                  <a:gd name="T78" fmla="*/ 210 w 214"/>
                  <a:gd name="T79" fmla="*/ 363 h 375"/>
                  <a:gd name="T80" fmla="*/ 206 w 214"/>
                  <a:gd name="T81" fmla="*/ 367 h 375"/>
                  <a:gd name="T82" fmla="*/ 203 w 214"/>
                  <a:gd name="T83" fmla="*/ 371 h 375"/>
                  <a:gd name="T84" fmla="*/ 197 w 214"/>
                  <a:gd name="T85" fmla="*/ 373 h 375"/>
                  <a:gd name="T86" fmla="*/ 193 w 214"/>
                  <a:gd name="T87" fmla="*/ 374 h 375"/>
                  <a:gd name="T88" fmla="*/ 187 w 214"/>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375">
                    <a:moveTo>
                      <a:pt x="187" y="375"/>
                    </a:moveTo>
                    <a:lnTo>
                      <a:pt x="183" y="374"/>
                    </a:lnTo>
                    <a:lnTo>
                      <a:pt x="177" y="373"/>
                    </a:lnTo>
                    <a:lnTo>
                      <a:pt x="173" y="371"/>
                    </a:lnTo>
                    <a:lnTo>
                      <a:pt x="168" y="367"/>
                    </a:lnTo>
                    <a:lnTo>
                      <a:pt x="8" y="206"/>
                    </a:lnTo>
                    <a:lnTo>
                      <a:pt x="5" y="201"/>
                    </a:lnTo>
                    <a:lnTo>
                      <a:pt x="2" y="197"/>
                    </a:lnTo>
                    <a:lnTo>
                      <a:pt x="0" y="192"/>
                    </a:lnTo>
                    <a:lnTo>
                      <a:pt x="0" y="187"/>
                    </a:lnTo>
                    <a:lnTo>
                      <a:pt x="0" y="182"/>
                    </a:lnTo>
                    <a:lnTo>
                      <a:pt x="2" y="177"/>
                    </a:lnTo>
                    <a:lnTo>
                      <a:pt x="5" y="172"/>
                    </a:lnTo>
                    <a:lnTo>
                      <a:pt x="8" y="168"/>
                    </a:lnTo>
                    <a:lnTo>
                      <a:pt x="168" y="7"/>
                    </a:lnTo>
                    <a:lnTo>
                      <a:pt x="173" y="4"/>
                    </a:lnTo>
                    <a:lnTo>
                      <a:pt x="177" y="1"/>
                    </a:lnTo>
                    <a:lnTo>
                      <a:pt x="183" y="0"/>
                    </a:lnTo>
                    <a:lnTo>
                      <a:pt x="187" y="0"/>
                    </a:lnTo>
                    <a:lnTo>
                      <a:pt x="193" y="0"/>
                    </a:lnTo>
                    <a:lnTo>
                      <a:pt x="197" y="1"/>
                    </a:lnTo>
                    <a:lnTo>
                      <a:pt x="203" y="4"/>
                    </a:lnTo>
                    <a:lnTo>
                      <a:pt x="206" y="7"/>
                    </a:lnTo>
                    <a:lnTo>
                      <a:pt x="210" y="11"/>
                    </a:lnTo>
                    <a:lnTo>
                      <a:pt x="213" y="16"/>
                    </a:lnTo>
                    <a:lnTo>
                      <a:pt x="214" y="21"/>
                    </a:lnTo>
                    <a:lnTo>
                      <a:pt x="214" y="27"/>
                    </a:lnTo>
                    <a:lnTo>
                      <a:pt x="214" y="31"/>
                    </a:lnTo>
                    <a:lnTo>
                      <a:pt x="213" y="37"/>
                    </a:lnTo>
                    <a:lnTo>
                      <a:pt x="210" y="41"/>
                    </a:lnTo>
                    <a:lnTo>
                      <a:pt x="206" y="44"/>
                    </a:lnTo>
                    <a:lnTo>
                      <a:pt x="65" y="187"/>
                    </a:lnTo>
                    <a:lnTo>
                      <a:pt x="206" y="329"/>
                    </a:lnTo>
                    <a:lnTo>
                      <a:pt x="210" y="333"/>
                    </a:lnTo>
                    <a:lnTo>
                      <a:pt x="213" y="338"/>
                    </a:lnTo>
                    <a:lnTo>
                      <a:pt x="214" y="343"/>
                    </a:lnTo>
                    <a:lnTo>
                      <a:pt x="214" y="348"/>
                    </a:lnTo>
                    <a:lnTo>
                      <a:pt x="214" y="353"/>
                    </a:lnTo>
                    <a:lnTo>
                      <a:pt x="213" y="358"/>
                    </a:lnTo>
                    <a:lnTo>
                      <a:pt x="210" y="363"/>
                    </a:lnTo>
                    <a:lnTo>
                      <a:pt x="206" y="367"/>
                    </a:lnTo>
                    <a:lnTo>
                      <a:pt x="203" y="371"/>
                    </a:lnTo>
                    <a:lnTo>
                      <a:pt x="197" y="373"/>
                    </a:lnTo>
                    <a:lnTo>
                      <a:pt x="193" y="374"/>
                    </a:lnTo>
                    <a:lnTo>
                      <a:pt x="187"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1" name="Group 192">
            <a:extLst>
              <a:ext uri="{FF2B5EF4-FFF2-40B4-BE49-F238E27FC236}">
                <a16:creationId xmlns:a16="http://schemas.microsoft.com/office/drawing/2014/main" id="{59D31C1E-4186-478F-9FFA-43288B3412F9}"/>
              </a:ext>
            </a:extLst>
          </p:cNvPr>
          <p:cNvGrpSpPr>
            <a:grpSpLocks noChangeAspect="1"/>
          </p:cNvGrpSpPr>
          <p:nvPr/>
        </p:nvGrpSpPr>
        <p:grpSpPr>
          <a:xfrm>
            <a:off x="2290912" y="3337031"/>
            <a:ext cx="308350" cy="159286"/>
            <a:chOff x="6731000" y="5795963"/>
            <a:chExt cx="574675" cy="296862"/>
          </a:xfrm>
          <a:solidFill>
            <a:schemeClr val="bg2"/>
          </a:solidFill>
          <a:effectLst/>
        </p:grpSpPr>
        <p:sp>
          <p:nvSpPr>
            <p:cNvPr id="752" name="Freeform 14">
              <a:extLst>
                <a:ext uri="{FF2B5EF4-FFF2-40B4-BE49-F238E27FC236}">
                  <a16:creationId xmlns:a16="http://schemas.microsoft.com/office/drawing/2014/main" id="{580D1B7C-038F-4D12-8F93-E133E09CAD21}"/>
                </a:ext>
              </a:extLst>
            </p:cNvPr>
            <p:cNvSpPr>
              <a:spLocks/>
            </p:cNvSpPr>
            <p:nvPr/>
          </p:nvSpPr>
          <p:spPr bwMode="auto">
            <a:xfrm>
              <a:off x="6965950" y="5795963"/>
              <a:ext cx="339725" cy="233363"/>
            </a:xfrm>
            <a:custGeom>
              <a:avLst/>
              <a:gdLst>
                <a:gd name="T0" fmla="*/ 183 w 859"/>
                <a:gd name="T1" fmla="*/ 590 h 590"/>
                <a:gd name="T2" fmla="*/ 170 w 859"/>
                <a:gd name="T3" fmla="*/ 582 h 590"/>
                <a:gd name="T4" fmla="*/ 162 w 859"/>
                <a:gd name="T5" fmla="*/ 568 h 590"/>
                <a:gd name="T6" fmla="*/ 164 w 859"/>
                <a:gd name="T7" fmla="*/ 553 h 590"/>
                <a:gd name="T8" fmla="*/ 173 w 859"/>
                <a:gd name="T9" fmla="*/ 540 h 590"/>
                <a:gd name="T10" fmla="*/ 189 w 859"/>
                <a:gd name="T11" fmla="*/ 536 h 590"/>
                <a:gd name="T12" fmla="*/ 589 w 859"/>
                <a:gd name="T13" fmla="*/ 535 h 590"/>
                <a:gd name="T14" fmla="*/ 624 w 859"/>
                <a:gd name="T15" fmla="*/ 528 h 590"/>
                <a:gd name="T16" fmla="*/ 657 w 859"/>
                <a:gd name="T17" fmla="*/ 517 h 590"/>
                <a:gd name="T18" fmla="*/ 689 w 859"/>
                <a:gd name="T19" fmla="*/ 501 h 590"/>
                <a:gd name="T20" fmla="*/ 735 w 859"/>
                <a:gd name="T21" fmla="*/ 465 h 590"/>
                <a:gd name="T22" fmla="*/ 771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1 w 859"/>
                <a:gd name="T35" fmla="*/ 212 h 590"/>
                <a:gd name="T36" fmla="*/ 776 w 859"/>
                <a:gd name="T37" fmla="*/ 179 h 590"/>
                <a:gd name="T38" fmla="*/ 750 w 859"/>
                <a:gd name="T39" fmla="*/ 141 h 590"/>
                <a:gd name="T40" fmla="*/ 699 w 859"/>
                <a:gd name="T41" fmla="*/ 94 h 590"/>
                <a:gd name="T42" fmla="*/ 669 w 859"/>
                <a:gd name="T43" fmla="*/ 77 h 590"/>
                <a:gd name="T44" fmla="*/ 636 w 859"/>
                <a:gd name="T45" fmla="*/ 64 h 590"/>
                <a:gd name="T46" fmla="*/ 600 w 859"/>
                <a:gd name="T47" fmla="*/ 56 h 590"/>
                <a:gd name="T48" fmla="*/ 564 w 859"/>
                <a:gd name="T49" fmla="*/ 53 h 590"/>
                <a:gd name="T50" fmla="*/ 17 w 859"/>
                <a:gd name="T51" fmla="*/ 52 h 590"/>
                <a:gd name="T52" fmla="*/ 5 w 859"/>
                <a:gd name="T53" fmla="*/ 42 h 590"/>
                <a:gd name="T54" fmla="*/ 0 w 859"/>
                <a:gd name="T55" fmla="*/ 27 h 590"/>
                <a:gd name="T56" fmla="*/ 5 w 859"/>
                <a:gd name="T57" fmla="*/ 11 h 590"/>
                <a:gd name="T58" fmla="*/ 17 w 859"/>
                <a:gd name="T59" fmla="*/ 1 h 590"/>
                <a:gd name="T60" fmla="*/ 564 w 859"/>
                <a:gd name="T61" fmla="*/ 0 h 590"/>
                <a:gd name="T62" fmla="*/ 609 w 859"/>
                <a:gd name="T63" fmla="*/ 3 h 590"/>
                <a:gd name="T64" fmla="*/ 652 w 859"/>
                <a:gd name="T65" fmla="*/ 12 h 590"/>
                <a:gd name="T66" fmla="*/ 692 w 859"/>
                <a:gd name="T67" fmla="*/ 29 h 590"/>
                <a:gd name="T68" fmla="*/ 729 w 859"/>
                <a:gd name="T69" fmla="*/ 50 h 590"/>
                <a:gd name="T70" fmla="*/ 763 w 859"/>
                <a:gd name="T71" fmla="*/ 76 h 590"/>
                <a:gd name="T72" fmla="*/ 792 w 859"/>
                <a:gd name="T73" fmla="*/ 107 h 590"/>
                <a:gd name="T74" fmla="*/ 817 w 859"/>
                <a:gd name="T75" fmla="*/ 141 h 590"/>
                <a:gd name="T76" fmla="*/ 836 w 859"/>
                <a:gd name="T77" fmla="*/ 179 h 590"/>
                <a:gd name="T78" fmla="*/ 850 w 859"/>
                <a:gd name="T79" fmla="*/ 221 h 590"/>
                <a:gd name="T80" fmla="*/ 857 w 859"/>
                <a:gd name="T81" fmla="*/ 265 h 590"/>
                <a:gd name="T82" fmla="*/ 858 w 859"/>
                <a:gd name="T83" fmla="*/ 309 h 590"/>
                <a:gd name="T84" fmla="*/ 852 w 859"/>
                <a:gd name="T85" fmla="*/ 354 h 590"/>
                <a:gd name="T86" fmla="*/ 841 w 859"/>
                <a:gd name="T87" fmla="*/ 396 h 590"/>
                <a:gd name="T88" fmla="*/ 823 w 859"/>
                <a:gd name="T89" fmla="*/ 435 h 590"/>
                <a:gd name="T90" fmla="*/ 800 w 859"/>
                <a:gd name="T91" fmla="*/ 471 h 590"/>
                <a:gd name="T92" fmla="*/ 773 w 859"/>
                <a:gd name="T93" fmla="*/ 503 h 590"/>
                <a:gd name="T94" fmla="*/ 740 w 859"/>
                <a:gd name="T95" fmla="*/ 531 h 590"/>
                <a:gd name="T96" fmla="*/ 704 w 859"/>
                <a:gd name="T97" fmla="*/ 554 h 590"/>
                <a:gd name="T98" fmla="*/ 665 w 859"/>
                <a:gd name="T99" fmla="*/ 572 h 590"/>
                <a:gd name="T100" fmla="*/ 624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189" y="590"/>
                  </a:lnTo>
                  <a:lnTo>
                    <a:pt x="183" y="590"/>
                  </a:lnTo>
                  <a:lnTo>
                    <a:pt x="178" y="588"/>
                  </a:lnTo>
                  <a:lnTo>
                    <a:pt x="173" y="585"/>
                  </a:lnTo>
                  <a:lnTo>
                    <a:pt x="170" y="582"/>
                  </a:lnTo>
                  <a:lnTo>
                    <a:pt x="166" y="577"/>
                  </a:lnTo>
                  <a:lnTo>
                    <a:pt x="164" y="573"/>
                  </a:lnTo>
                  <a:lnTo>
                    <a:pt x="162" y="568"/>
                  </a:lnTo>
                  <a:lnTo>
                    <a:pt x="162" y="563"/>
                  </a:lnTo>
                  <a:lnTo>
                    <a:pt x="162" y="557"/>
                  </a:lnTo>
                  <a:lnTo>
                    <a:pt x="164" y="553"/>
                  </a:lnTo>
                  <a:lnTo>
                    <a:pt x="166" y="548"/>
                  </a:lnTo>
                  <a:lnTo>
                    <a:pt x="170" y="544"/>
                  </a:lnTo>
                  <a:lnTo>
                    <a:pt x="173" y="540"/>
                  </a:lnTo>
                  <a:lnTo>
                    <a:pt x="178" y="538"/>
                  </a:lnTo>
                  <a:lnTo>
                    <a:pt x="183" y="537"/>
                  </a:lnTo>
                  <a:lnTo>
                    <a:pt x="189" y="536"/>
                  </a:lnTo>
                  <a:lnTo>
                    <a:pt x="564" y="536"/>
                  </a:lnTo>
                  <a:lnTo>
                    <a:pt x="577" y="536"/>
                  </a:lnTo>
                  <a:lnTo>
                    <a:pt x="589" y="535"/>
                  </a:lnTo>
                  <a:lnTo>
                    <a:pt x="600" y="534"/>
                  </a:lnTo>
                  <a:lnTo>
                    <a:pt x="613" y="531"/>
                  </a:lnTo>
                  <a:lnTo>
                    <a:pt x="624" y="528"/>
                  </a:lnTo>
                  <a:lnTo>
                    <a:pt x="636" y="525"/>
                  </a:lnTo>
                  <a:lnTo>
                    <a:pt x="647" y="521"/>
                  </a:lnTo>
                  <a:lnTo>
                    <a:pt x="657" y="517"/>
                  </a:lnTo>
                  <a:lnTo>
                    <a:pt x="669" y="512"/>
                  </a:lnTo>
                  <a:lnTo>
                    <a:pt x="679" y="507"/>
                  </a:lnTo>
                  <a:lnTo>
                    <a:pt x="689" y="501"/>
                  </a:lnTo>
                  <a:lnTo>
                    <a:pt x="699" y="494"/>
                  </a:lnTo>
                  <a:lnTo>
                    <a:pt x="718" y="481"/>
                  </a:lnTo>
                  <a:lnTo>
                    <a:pt x="735" y="465"/>
                  </a:lnTo>
                  <a:lnTo>
                    <a:pt x="750" y="449"/>
                  </a:lnTo>
                  <a:lnTo>
                    <a:pt x="764" y="429"/>
                  </a:lnTo>
                  <a:lnTo>
                    <a:pt x="771" y="419"/>
                  </a:lnTo>
                  <a:lnTo>
                    <a:pt x="776" y="409"/>
                  </a:lnTo>
                  <a:lnTo>
                    <a:pt x="782" y="399"/>
                  </a:lnTo>
                  <a:lnTo>
                    <a:pt x="786" y="389"/>
                  </a:lnTo>
                  <a:lnTo>
                    <a:pt x="791" y="378"/>
                  </a:lnTo>
                  <a:lnTo>
                    <a:pt x="794" y="367"/>
                  </a:lnTo>
                  <a:lnTo>
                    <a:pt x="797" y="355"/>
                  </a:lnTo>
                  <a:lnTo>
                    <a:pt x="801" y="343"/>
                  </a:lnTo>
                  <a:lnTo>
                    <a:pt x="802" y="332"/>
                  </a:lnTo>
                  <a:lnTo>
                    <a:pt x="804" y="320"/>
                  </a:lnTo>
                  <a:lnTo>
                    <a:pt x="805" y="307"/>
                  </a:lnTo>
                  <a:lnTo>
                    <a:pt x="805" y="295"/>
                  </a:lnTo>
                  <a:lnTo>
                    <a:pt x="805" y="283"/>
                  </a:lnTo>
                  <a:lnTo>
                    <a:pt x="804" y="270"/>
                  </a:lnTo>
                  <a:lnTo>
                    <a:pt x="802" y="258"/>
                  </a:lnTo>
                  <a:lnTo>
                    <a:pt x="801" y="246"/>
                  </a:lnTo>
                  <a:lnTo>
                    <a:pt x="797" y="234"/>
                  </a:lnTo>
                  <a:lnTo>
                    <a:pt x="794" y="223"/>
                  </a:lnTo>
                  <a:lnTo>
                    <a:pt x="791" y="212"/>
                  </a:lnTo>
                  <a:lnTo>
                    <a:pt x="786" y="201"/>
                  </a:lnTo>
                  <a:lnTo>
                    <a:pt x="782" y="191"/>
                  </a:lnTo>
                  <a:lnTo>
                    <a:pt x="776" y="179"/>
                  </a:lnTo>
                  <a:lnTo>
                    <a:pt x="771" y="169"/>
                  </a:lnTo>
                  <a:lnTo>
                    <a:pt x="764" y="159"/>
                  </a:lnTo>
                  <a:lnTo>
                    <a:pt x="750" y="141"/>
                  </a:lnTo>
                  <a:lnTo>
                    <a:pt x="735" y="124"/>
                  </a:lnTo>
                  <a:lnTo>
                    <a:pt x="718" y="109"/>
                  </a:lnTo>
                  <a:lnTo>
                    <a:pt x="699" y="94"/>
                  </a:lnTo>
                  <a:lnTo>
                    <a:pt x="689" y="89"/>
                  </a:lnTo>
                  <a:lnTo>
                    <a:pt x="679" y="82"/>
                  </a:lnTo>
                  <a:lnTo>
                    <a:pt x="669" y="77"/>
                  </a:lnTo>
                  <a:lnTo>
                    <a:pt x="657" y="72"/>
                  </a:lnTo>
                  <a:lnTo>
                    <a:pt x="647" y="68"/>
                  </a:lnTo>
                  <a:lnTo>
                    <a:pt x="636" y="64"/>
                  </a:lnTo>
                  <a:lnTo>
                    <a:pt x="624" y="61"/>
                  </a:lnTo>
                  <a:lnTo>
                    <a:pt x="613" y="58"/>
                  </a:lnTo>
                  <a:lnTo>
                    <a:pt x="600" y="56"/>
                  </a:lnTo>
                  <a:lnTo>
                    <a:pt x="589" y="55"/>
                  </a:lnTo>
                  <a:lnTo>
                    <a:pt x="577" y="54"/>
                  </a:lnTo>
                  <a:lnTo>
                    <a:pt x="564" y="53"/>
                  </a:lnTo>
                  <a:lnTo>
                    <a:pt x="27" y="53"/>
                  </a:lnTo>
                  <a:lnTo>
                    <a:pt x="22" y="53"/>
                  </a:lnTo>
                  <a:lnTo>
                    <a:pt x="17" y="52"/>
                  </a:lnTo>
                  <a:lnTo>
                    <a:pt x="13" y="48"/>
                  </a:lnTo>
                  <a:lnTo>
                    <a:pt x="8" y="45"/>
                  </a:lnTo>
                  <a:lnTo>
                    <a:pt x="5" y="42"/>
                  </a:lnTo>
                  <a:lnTo>
                    <a:pt x="3" y="37"/>
                  </a:lnTo>
                  <a:lnTo>
                    <a:pt x="2" y="31"/>
                  </a:lnTo>
                  <a:lnTo>
                    <a:pt x="0" y="27"/>
                  </a:lnTo>
                  <a:lnTo>
                    <a:pt x="2" y="21"/>
                  </a:lnTo>
                  <a:lnTo>
                    <a:pt x="3" y="16"/>
                  </a:lnTo>
                  <a:lnTo>
                    <a:pt x="5" y="11"/>
                  </a:lnTo>
                  <a:lnTo>
                    <a:pt x="8" y="8"/>
                  </a:lnTo>
                  <a:lnTo>
                    <a:pt x="13" y="5"/>
                  </a:lnTo>
                  <a:lnTo>
                    <a:pt x="17" y="1"/>
                  </a:lnTo>
                  <a:lnTo>
                    <a:pt x="22" y="0"/>
                  </a:lnTo>
                  <a:lnTo>
                    <a:pt x="27" y="0"/>
                  </a:lnTo>
                  <a:lnTo>
                    <a:pt x="564" y="0"/>
                  </a:lnTo>
                  <a:lnTo>
                    <a:pt x="579" y="0"/>
                  </a:lnTo>
                  <a:lnTo>
                    <a:pt x="593" y="1"/>
                  </a:lnTo>
                  <a:lnTo>
                    <a:pt x="609" y="3"/>
                  </a:lnTo>
                  <a:lnTo>
                    <a:pt x="624" y="6"/>
                  </a:lnTo>
                  <a:lnTo>
                    <a:pt x="637" y="9"/>
                  </a:lnTo>
                  <a:lnTo>
                    <a:pt x="652" y="12"/>
                  </a:lnTo>
                  <a:lnTo>
                    <a:pt x="665" y="18"/>
                  </a:lnTo>
                  <a:lnTo>
                    <a:pt x="679" y="22"/>
                  </a:lnTo>
                  <a:lnTo>
                    <a:pt x="692" y="29"/>
                  </a:lnTo>
                  <a:lnTo>
                    <a:pt x="704" y="35"/>
                  </a:lnTo>
                  <a:lnTo>
                    <a:pt x="717" y="43"/>
                  </a:lnTo>
                  <a:lnTo>
                    <a:pt x="729" y="50"/>
                  </a:lnTo>
                  <a:lnTo>
                    <a:pt x="740" y="58"/>
                  </a:lnTo>
                  <a:lnTo>
                    <a:pt x="752" y="67"/>
                  </a:lnTo>
                  <a:lnTo>
                    <a:pt x="763" y="76"/>
                  </a:lnTo>
                  <a:lnTo>
                    <a:pt x="773" y="86"/>
                  </a:lnTo>
                  <a:lnTo>
                    <a:pt x="782" y="96"/>
                  </a:lnTo>
                  <a:lnTo>
                    <a:pt x="792" y="107"/>
                  </a:lnTo>
                  <a:lnTo>
                    <a:pt x="800" y="118"/>
                  </a:lnTo>
                  <a:lnTo>
                    <a:pt x="809" y="130"/>
                  </a:lnTo>
                  <a:lnTo>
                    <a:pt x="817" y="141"/>
                  </a:lnTo>
                  <a:lnTo>
                    <a:pt x="823" y="154"/>
                  </a:lnTo>
                  <a:lnTo>
                    <a:pt x="830" y="167"/>
                  </a:lnTo>
                  <a:lnTo>
                    <a:pt x="836" y="179"/>
                  </a:lnTo>
                  <a:lnTo>
                    <a:pt x="841" y="193"/>
                  </a:lnTo>
                  <a:lnTo>
                    <a:pt x="846" y="207"/>
                  </a:lnTo>
                  <a:lnTo>
                    <a:pt x="850" y="221"/>
                  </a:lnTo>
                  <a:lnTo>
                    <a:pt x="852" y="235"/>
                  </a:lnTo>
                  <a:lnTo>
                    <a:pt x="856" y="250"/>
                  </a:lnTo>
                  <a:lnTo>
                    <a:pt x="857" y="265"/>
                  </a:lnTo>
                  <a:lnTo>
                    <a:pt x="858" y="279"/>
                  </a:lnTo>
                  <a:lnTo>
                    <a:pt x="859" y="295"/>
                  </a:lnTo>
                  <a:lnTo>
                    <a:pt x="858" y="309"/>
                  </a:lnTo>
                  <a:lnTo>
                    <a:pt x="857" y="325"/>
                  </a:lnTo>
                  <a:lnTo>
                    <a:pt x="856" y="340"/>
                  </a:lnTo>
                  <a:lnTo>
                    <a:pt x="852" y="354"/>
                  </a:lnTo>
                  <a:lnTo>
                    <a:pt x="850" y="369"/>
                  </a:lnTo>
                  <a:lnTo>
                    <a:pt x="846" y="382"/>
                  </a:lnTo>
                  <a:lnTo>
                    <a:pt x="841" y="396"/>
                  </a:lnTo>
                  <a:lnTo>
                    <a:pt x="836" y="409"/>
                  </a:lnTo>
                  <a:lnTo>
                    <a:pt x="830" y="423"/>
                  </a:lnTo>
                  <a:lnTo>
                    <a:pt x="823" y="435"/>
                  </a:lnTo>
                  <a:lnTo>
                    <a:pt x="817" y="447"/>
                  </a:lnTo>
                  <a:lnTo>
                    <a:pt x="809" y="460"/>
                  </a:lnTo>
                  <a:lnTo>
                    <a:pt x="800" y="471"/>
                  </a:lnTo>
                  <a:lnTo>
                    <a:pt x="792" y="482"/>
                  </a:lnTo>
                  <a:lnTo>
                    <a:pt x="782" y="493"/>
                  </a:lnTo>
                  <a:lnTo>
                    <a:pt x="773" y="503"/>
                  </a:lnTo>
                  <a:lnTo>
                    <a:pt x="763" y="514"/>
                  </a:lnTo>
                  <a:lnTo>
                    <a:pt x="752" y="522"/>
                  </a:lnTo>
                  <a:lnTo>
                    <a:pt x="740" y="531"/>
                  </a:lnTo>
                  <a:lnTo>
                    <a:pt x="729" y="539"/>
                  </a:lnTo>
                  <a:lnTo>
                    <a:pt x="717" y="547"/>
                  </a:lnTo>
                  <a:lnTo>
                    <a:pt x="704" y="554"/>
                  </a:lnTo>
                  <a:lnTo>
                    <a:pt x="692" y="561"/>
                  </a:lnTo>
                  <a:lnTo>
                    <a:pt x="679" y="566"/>
                  </a:lnTo>
                  <a:lnTo>
                    <a:pt x="665" y="572"/>
                  </a:lnTo>
                  <a:lnTo>
                    <a:pt x="652" y="576"/>
                  </a:lnTo>
                  <a:lnTo>
                    <a:pt x="637" y="581"/>
                  </a:lnTo>
                  <a:lnTo>
                    <a:pt x="624" y="584"/>
                  </a:lnTo>
                  <a:lnTo>
                    <a:pt x="609" y="586"/>
                  </a:lnTo>
                  <a:lnTo>
                    <a:pt x="593"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5">
              <a:extLst>
                <a:ext uri="{FF2B5EF4-FFF2-40B4-BE49-F238E27FC236}">
                  <a16:creationId xmlns:a16="http://schemas.microsoft.com/office/drawing/2014/main" id="{19B0D2D5-7863-4036-9937-CF2DDA92C674}"/>
                </a:ext>
              </a:extLst>
            </p:cNvPr>
            <p:cNvSpPr>
              <a:spLocks/>
            </p:cNvSpPr>
            <p:nvPr/>
          </p:nvSpPr>
          <p:spPr bwMode="auto">
            <a:xfrm>
              <a:off x="6731000" y="5795963"/>
              <a:ext cx="341313" cy="233363"/>
            </a:xfrm>
            <a:custGeom>
              <a:avLst/>
              <a:gdLst>
                <a:gd name="T0" fmla="*/ 279 w 857"/>
                <a:gd name="T1" fmla="*/ 590 h 590"/>
                <a:gd name="T2" fmla="*/ 235 w 857"/>
                <a:gd name="T3" fmla="*/ 584 h 590"/>
                <a:gd name="T4" fmla="*/ 194 w 857"/>
                <a:gd name="T5" fmla="*/ 572 h 590"/>
                <a:gd name="T6" fmla="*/ 154 w 857"/>
                <a:gd name="T7" fmla="*/ 554 h 590"/>
                <a:gd name="T8" fmla="*/ 119 w 857"/>
                <a:gd name="T9" fmla="*/ 531 h 590"/>
                <a:gd name="T10" fmla="*/ 86 w 857"/>
                <a:gd name="T11" fmla="*/ 503 h 590"/>
                <a:gd name="T12" fmla="*/ 58 w 857"/>
                <a:gd name="T13" fmla="*/ 471 h 590"/>
                <a:gd name="T14" fmla="*/ 36 w 857"/>
                <a:gd name="T15" fmla="*/ 435 h 590"/>
                <a:gd name="T16" fmla="*/ 18 w 857"/>
                <a:gd name="T17" fmla="*/ 396 h 590"/>
                <a:gd name="T18" fmla="*/ 5 w 857"/>
                <a:gd name="T19" fmla="*/ 354 h 590"/>
                <a:gd name="T20" fmla="*/ 0 w 857"/>
                <a:gd name="T21" fmla="*/ 309 h 590"/>
                <a:gd name="T22" fmla="*/ 1 w 857"/>
                <a:gd name="T23" fmla="*/ 265 h 590"/>
                <a:gd name="T24" fmla="*/ 9 w 857"/>
                <a:gd name="T25" fmla="*/ 221 h 590"/>
                <a:gd name="T26" fmla="*/ 22 w 857"/>
                <a:gd name="T27" fmla="*/ 179 h 590"/>
                <a:gd name="T28" fmla="*/ 42 w 857"/>
                <a:gd name="T29" fmla="*/ 141 h 590"/>
                <a:gd name="T30" fmla="*/ 67 w 857"/>
                <a:gd name="T31" fmla="*/ 107 h 590"/>
                <a:gd name="T32" fmla="*/ 96 w 857"/>
                <a:gd name="T33" fmla="*/ 76 h 590"/>
                <a:gd name="T34" fmla="*/ 130 w 857"/>
                <a:gd name="T35" fmla="*/ 50 h 590"/>
                <a:gd name="T36" fmla="*/ 167 w 857"/>
                <a:gd name="T37" fmla="*/ 29 h 590"/>
                <a:gd name="T38" fmla="*/ 207 w 857"/>
                <a:gd name="T39" fmla="*/ 12 h 590"/>
                <a:gd name="T40" fmla="*/ 250 w 857"/>
                <a:gd name="T41" fmla="*/ 3 h 590"/>
                <a:gd name="T42" fmla="*/ 295 w 857"/>
                <a:gd name="T43" fmla="*/ 0 h 590"/>
                <a:gd name="T44" fmla="*/ 842 w 857"/>
                <a:gd name="T45" fmla="*/ 1 h 590"/>
                <a:gd name="T46" fmla="*/ 853 w 857"/>
                <a:gd name="T47" fmla="*/ 11 h 590"/>
                <a:gd name="T48" fmla="*/ 857 w 857"/>
                <a:gd name="T49" fmla="*/ 27 h 590"/>
                <a:gd name="T50" fmla="*/ 853 w 857"/>
                <a:gd name="T51" fmla="*/ 42 h 590"/>
                <a:gd name="T52" fmla="*/ 842 w 857"/>
                <a:gd name="T53" fmla="*/ 52 h 590"/>
                <a:gd name="T54" fmla="*/ 295 w 857"/>
                <a:gd name="T55" fmla="*/ 53 h 590"/>
                <a:gd name="T56" fmla="*/ 258 w 857"/>
                <a:gd name="T57" fmla="*/ 56 h 590"/>
                <a:gd name="T58" fmla="*/ 223 w 857"/>
                <a:gd name="T59" fmla="*/ 64 h 590"/>
                <a:gd name="T60" fmla="*/ 190 w 857"/>
                <a:gd name="T61" fmla="*/ 77 h 590"/>
                <a:gd name="T62" fmla="*/ 160 w 857"/>
                <a:gd name="T63" fmla="*/ 94 h 590"/>
                <a:gd name="T64" fmla="*/ 109 w 857"/>
                <a:gd name="T65" fmla="*/ 141 h 590"/>
                <a:gd name="T66" fmla="*/ 83 w 857"/>
                <a:gd name="T67" fmla="*/ 179 h 590"/>
                <a:gd name="T68" fmla="*/ 68 w 857"/>
                <a:gd name="T69" fmla="*/ 212 h 590"/>
                <a:gd name="T70" fmla="*/ 58 w 857"/>
                <a:gd name="T71" fmla="*/ 246 h 590"/>
                <a:gd name="T72" fmla="*/ 54 w 857"/>
                <a:gd name="T73" fmla="*/ 283 h 590"/>
                <a:gd name="T74" fmla="*/ 55 w 857"/>
                <a:gd name="T75" fmla="*/ 320 h 590"/>
                <a:gd name="T76" fmla="*/ 60 w 857"/>
                <a:gd name="T77" fmla="*/ 355 h 590"/>
                <a:gd name="T78" fmla="*/ 73 w 857"/>
                <a:gd name="T79" fmla="*/ 389 h 590"/>
                <a:gd name="T80" fmla="*/ 88 w 857"/>
                <a:gd name="T81" fmla="*/ 419 h 590"/>
                <a:gd name="T82" fmla="*/ 124 w 857"/>
                <a:gd name="T83" fmla="*/ 465 h 590"/>
                <a:gd name="T84" fmla="*/ 169 w 857"/>
                <a:gd name="T85" fmla="*/ 501 h 590"/>
                <a:gd name="T86" fmla="*/ 200 w 857"/>
                <a:gd name="T87" fmla="*/ 517 h 590"/>
                <a:gd name="T88" fmla="*/ 234 w 857"/>
                <a:gd name="T89" fmla="*/ 528 h 590"/>
                <a:gd name="T90" fmla="*/ 270 w 857"/>
                <a:gd name="T91" fmla="*/ 535 h 590"/>
                <a:gd name="T92" fmla="*/ 616 w 857"/>
                <a:gd name="T93" fmla="*/ 536 h 590"/>
                <a:gd name="T94" fmla="*/ 631 w 857"/>
                <a:gd name="T95" fmla="*/ 540 h 590"/>
                <a:gd name="T96" fmla="*/ 641 w 857"/>
                <a:gd name="T97" fmla="*/ 553 h 590"/>
                <a:gd name="T98" fmla="*/ 642 w 857"/>
                <a:gd name="T99" fmla="*/ 568 h 590"/>
                <a:gd name="T100" fmla="*/ 635 w 857"/>
                <a:gd name="T101" fmla="*/ 582 h 590"/>
                <a:gd name="T102" fmla="*/ 622 w 857"/>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7" h="590">
                  <a:moveTo>
                    <a:pt x="616" y="590"/>
                  </a:moveTo>
                  <a:lnTo>
                    <a:pt x="295" y="590"/>
                  </a:lnTo>
                  <a:lnTo>
                    <a:pt x="279" y="590"/>
                  </a:lnTo>
                  <a:lnTo>
                    <a:pt x="264" y="589"/>
                  </a:lnTo>
                  <a:lnTo>
                    <a:pt x="250" y="586"/>
                  </a:lnTo>
                  <a:lnTo>
                    <a:pt x="235" y="584"/>
                  </a:lnTo>
                  <a:lnTo>
                    <a:pt x="221" y="581"/>
                  </a:lnTo>
                  <a:lnTo>
                    <a:pt x="207" y="576"/>
                  </a:lnTo>
                  <a:lnTo>
                    <a:pt x="194" y="572"/>
                  </a:lnTo>
                  <a:lnTo>
                    <a:pt x="180" y="566"/>
                  </a:lnTo>
                  <a:lnTo>
                    <a:pt x="167" y="561"/>
                  </a:lnTo>
                  <a:lnTo>
                    <a:pt x="154" y="554"/>
                  </a:lnTo>
                  <a:lnTo>
                    <a:pt x="142" y="547"/>
                  </a:lnTo>
                  <a:lnTo>
                    <a:pt x="130" y="539"/>
                  </a:lnTo>
                  <a:lnTo>
                    <a:pt x="119" y="531"/>
                  </a:lnTo>
                  <a:lnTo>
                    <a:pt x="107" y="522"/>
                  </a:lnTo>
                  <a:lnTo>
                    <a:pt x="96" y="514"/>
                  </a:lnTo>
                  <a:lnTo>
                    <a:pt x="86" y="503"/>
                  </a:lnTo>
                  <a:lnTo>
                    <a:pt x="76" y="493"/>
                  </a:lnTo>
                  <a:lnTo>
                    <a:pt x="67" y="482"/>
                  </a:lnTo>
                  <a:lnTo>
                    <a:pt x="58" y="471"/>
                  </a:lnTo>
                  <a:lnTo>
                    <a:pt x="50" y="460"/>
                  </a:lnTo>
                  <a:lnTo>
                    <a:pt x="42" y="447"/>
                  </a:lnTo>
                  <a:lnTo>
                    <a:pt x="36" y="435"/>
                  </a:lnTo>
                  <a:lnTo>
                    <a:pt x="29" y="423"/>
                  </a:lnTo>
                  <a:lnTo>
                    <a:pt x="22" y="409"/>
                  </a:lnTo>
                  <a:lnTo>
                    <a:pt x="18" y="396"/>
                  </a:lnTo>
                  <a:lnTo>
                    <a:pt x="13" y="382"/>
                  </a:lnTo>
                  <a:lnTo>
                    <a:pt x="9" y="369"/>
                  </a:lnTo>
                  <a:lnTo>
                    <a:pt x="5" y="354"/>
                  </a:lnTo>
                  <a:lnTo>
                    <a:pt x="3" y="340"/>
                  </a:lnTo>
                  <a:lnTo>
                    <a:pt x="1" y="325"/>
                  </a:lnTo>
                  <a:lnTo>
                    <a:pt x="0" y="309"/>
                  </a:lnTo>
                  <a:lnTo>
                    <a:pt x="0" y="295"/>
                  </a:lnTo>
                  <a:lnTo>
                    <a:pt x="0" y="279"/>
                  </a:lnTo>
                  <a:lnTo>
                    <a:pt x="1" y="265"/>
                  </a:lnTo>
                  <a:lnTo>
                    <a:pt x="3" y="250"/>
                  </a:lnTo>
                  <a:lnTo>
                    <a:pt x="5" y="235"/>
                  </a:lnTo>
                  <a:lnTo>
                    <a:pt x="9" y="221"/>
                  </a:lnTo>
                  <a:lnTo>
                    <a:pt x="13" y="207"/>
                  </a:lnTo>
                  <a:lnTo>
                    <a:pt x="18" y="193"/>
                  </a:lnTo>
                  <a:lnTo>
                    <a:pt x="22" y="179"/>
                  </a:lnTo>
                  <a:lnTo>
                    <a:pt x="29" y="167"/>
                  </a:lnTo>
                  <a:lnTo>
                    <a:pt x="36" y="154"/>
                  </a:lnTo>
                  <a:lnTo>
                    <a:pt x="42" y="141"/>
                  </a:lnTo>
                  <a:lnTo>
                    <a:pt x="50" y="130"/>
                  </a:lnTo>
                  <a:lnTo>
                    <a:pt x="58" y="118"/>
                  </a:lnTo>
                  <a:lnTo>
                    <a:pt x="67" y="107"/>
                  </a:lnTo>
                  <a:lnTo>
                    <a:pt x="76" y="96"/>
                  </a:lnTo>
                  <a:lnTo>
                    <a:pt x="86" y="86"/>
                  </a:lnTo>
                  <a:lnTo>
                    <a:pt x="96" y="76"/>
                  </a:lnTo>
                  <a:lnTo>
                    <a:pt x="107" y="67"/>
                  </a:lnTo>
                  <a:lnTo>
                    <a:pt x="119" y="58"/>
                  </a:lnTo>
                  <a:lnTo>
                    <a:pt x="130" y="50"/>
                  </a:lnTo>
                  <a:lnTo>
                    <a:pt x="142" y="43"/>
                  </a:lnTo>
                  <a:lnTo>
                    <a:pt x="154" y="35"/>
                  </a:lnTo>
                  <a:lnTo>
                    <a:pt x="167" y="29"/>
                  </a:lnTo>
                  <a:lnTo>
                    <a:pt x="180" y="22"/>
                  </a:lnTo>
                  <a:lnTo>
                    <a:pt x="194" y="18"/>
                  </a:lnTo>
                  <a:lnTo>
                    <a:pt x="207" y="12"/>
                  </a:lnTo>
                  <a:lnTo>
                    <a:pt x="221" y="9"/>
                  </a:lnTo>
                  <a:lnTo>
                    <a:pt x="235" y="6"/>
                  </a:lnTo>
                  <a:lnTo>
                    <a:pt x="250" y="3"/>
                  </a:lnTo>
                  <a:lnTo>
                    <a:pt x="264" y="1"/>
                  </a:lnTo>
                  <a:lnTo>
                    <a:pt x="279" y="0"/>
                  </a:lnTo>
                  <a:lnTo>
                    <a:pt x="295" y="0"/>
                  </a:lnTo>
                  <a:lnTo>
                    <a:pt x="830" y="0"/>
                  </a:lnTo>
                  <a:lnTo>
                    <a:pt x="836" y="0"/>
                  </a:lnTo>
                  <a:lnTo>
                    <a:pt x="842" y="1"/>
                  </a:lnTo>
                  <a:lnTo>
                    <a:pt x="846" y="5"/>
                  </a:lnTo>
                  <a:lnTo>
                    <a:pt x="850" y="8"/>
                  </a:lnTo>
                  <a:lnTo>
                    <a:pt x="853" y="11"/>
                  </a:lnTo>
                  <a:lnTo>
                    <a:pt x="856" y="16"/>
                  </a:lnTo>
                  <a:lnTo>
                    <a:pt x="857" y="21"/>
                  </a:lnTo>
                  <a:lnTo>
                    <a:pt x="857" y="27"/>
                  </a:lnTo>
                  <a:lnTo>
                    <a:pt x="857" y="31"/>
                  </a:lnTo>
                  <a:lnTo>
                    <a:pt x="856" y="37"/>
                  </a:lnTo>
                  <a:lnTo>
                    <a:pt x="853" y="42"/>
                  </a:lnTo>
                  <a:lnTo>
                    <a:pt x="850" y="45"/>
                  </a:lnTo>
                  <a:lnTo>
                    <a:pt x="846" y="48"/>
                  </a:lnTo>
                  <a:lnTo>
                    <a:pt x="842" y="52"/>
                  </a:lnTo>
                  <a:lnTo>
                    <a:pt x="836" y="53"/>
                  </a:lnTo>
                  <a:lnTo>
                    <a:pt x="830" y="53"/>
                  </a:lnTo>
                  <a:lnTo>
                    <a:pt x="295" y="53"/>
                  </a:lnTo>
                  <a:lnTo>
                    <a:pt x="282" y="54"/>
                  </a:lnTo>
                  <a:lnTo>
                    <a:pt x="270" y="55"/>
                  </a:lnTo>
                  <a:lnTo>
                    <a:pt x="258" y="56"/>
                  </a:lnTo>
                  <a:lnTo>
                    <a:pt x="246" y="58"/>
                  </a:lnTo>
                  <a:lnTo>
                    <a:pt x="234" y="61"/>
                  </a:lnTo>
                  <a:lnTo>
                    <a:pt x="223" y="64"/>
                  </a:lnTo>
                  <a:lnTo>
                    <a:pt x="212" y="68"/>
                  </a:lnTo>
                  <a:lnTo>
                    <a:pt x="200" y="72"/>
                  </a:lnTo>
                  <a:lnTo>
                    <a:pt x="190" y="77"/>
                  </a:lnTo>
                  <a:lnTo>
                    <a:pt x="179" y="82"/>
                  </a:lnTo>
                  <a:lnTo>
                    <a:pt x="169" y="89"/>
                  </a:lnTo>
                  <a:lnTo>
                    <a:pt x="160" y="94"/>
                  </a:lnTo>
                  <a:lnTo>
                    <a:pt x="141" y="109"/>
                  </a:lnTo>
                  <a:lnTo>
                    <a:pt x="124" y="124"/>
                  </a:lnTo>
                  <a:lnTo>
                    <a:pt x="109" y="141"/>
                  </a:lnTo>
                  <a:lnTo>
                    <a:pt x="94" y="159"/>
                  </a:lnTo>
                  <a:lnTo>
                    <a:pt x="88" y="169"/>
                  </a:lnTo>
                  <a:lnTo>
                    <a:pt x="83" y="179"/>
                  </a:lnTo>
                  <a:lnTo>
                    <a:pt x="77" y="191"/>
                  </a:lnTo>
                  <a:lnTo>
                    <a:pt x="73" y="201"/>
                  </a:lnTo>
                  <a:lnTo>
                    <a:pt x="68" y="212"/>
                  </a:lnTo>
                  <a:lnTo>
                    <a:pt x="64" y="223"/>
                  </a:lnTo>
                  <a:lnTo>
                    <a:pt x="60" y="234"/>
                  </a:lnTo>
                  <a:lnTo>
                    <a:pt x="58" y="246"/>
                  </a:lnTo>
                  <a:lnTo>
                    <a:pt x="56" y="258"/>
                  </a:lnTo>
                  <a:lnTo>
                    <a:pt x="55" y="270"/>
                  </a:lnTo>
                  <a:lnTo>
                    <a:pt x="54" y="283"/>
                  </a:lnTo>
                  <a:lnTo>
                    <a:pt x="54" y="295"/>
                  </a:lnTo>
                  <a:lnTo>
                    <a:pt x="54" y="307"/>
                  </a:lnTo>
                  <a:lnTo>
                    <a:pt x="55" y="320"/>
                  </a:lnTo>
                  <a:lnTo>
                    <a:pt x="56" y="332"/>
                  </a:lnTo>
                  <a:lnTo>
                    <a:pt x="58" y="343"/>
                  </a:lnTo>
                  <a:lnTo>
                    <a:pt x="60" y="355"/>
                  </a:lnTo>
                  <a:lnTo>
                    <a:pt x="64" y="367"/>
                  </a:lnTo>
                  <a:lnTo>
                    <a:pt x="68" y="378"/>
                  </a:lnTo>
                  <a:lnTo>
                    <a:pt x="73" y="389"/>
                  </a:lnTo>
                  <a:lnTo>
                    <a:pt x="77" y="399"/>
                  </a:lnTo>
                  <a:lnTo>
                    <a:pt x="83" y="409"/>
                  </a:lnTo>
                  <a:lnTo>
                    <a:pt x="88" y="419"/>
                  </a:lnTo>
                  <a:lnTo>
                    <a:pt x="94" y="429"/>
                  </a:lnTo>
                  <a:lnTo>
                    <a:pt x="109" y="449"/>
                  </a:lnTo>
                  <a:lnTo>
                    <a:pt x="124" y="465"/>
                  </a:lnTo>
                  <a:lnTo>
                    <a:pt x="141" y="481"/>
                  </a:lnTo>
                  <a:lnTo>
                    <a:pt x="160" y="494"/>
                  </a:lnTo>
                  <a:lnTo>
                    <a:pt x="169" y="501"/>
                  </a:lnTo>
                  <a:lnTo>
                    <a:pt x="179" y="507"/>
                  </a:lnTo>
                  <a:lnTo>
                    <a:pt x="190" y="512"/>
                  </a:lnTo>
                  <a:lnTo>
                    <a:pt x="200" y="517"/>
                  </a:lnTo>
                  <a:lnTo>
                    <a:pt x="212" y="521"/>
                  </a:lnTo>
                  <a:lnTo>
                    <a:pt x="223" y="525"/>
                  </a:lnTo>
                  <a:lnTo>
                    <a:pt x="234" y="528"/>
                  </a:lnTo>
                  <a:lnTo>
                    <a:pt x="246" y="531"/>
                  </a:lnTo>
                  <a:lnTo>
                    <a:pt x="258" y="534"/>
                  </a:lnTo>
                  <a:lnTo>
                    <a:pt x="270" y="535"/>
                  </a:lnTo>
                  <a:lnTo>
                    <a:pt x="282" y="536"/>
                  </a:lnTo>
                  <a:lnTo>
                    <a:pt x="295" y="536"/>
                  </a:lnTo>
                  <a:lnTo>
                    <a:pt x="616" y="536"/>
                  </a:lnTo>
                  <a:lnTo>
                    <a:pt x="622" y="537"/>
                  </a:lnTo>
                  <a:lnTo>
                    <a:pt x="626" y="538"/>
                  </a:lnTo>
                  <a:lnTo>
                    <a:pt x="631" y="540"/>
                  </a:lnTo>
                  <a:lnTo>
                    <a:pt x="635" y="544"/>
                  </a:lnTo>
                  <a:lnTo>
                    <a:pt x="639" y="548"/>
                  </a:lnTo>
                  <a:lnTo>
                    <a:pt x="641" y="553"/>
                  </a:lnTo>
                  <a:lnTo>
                    <a:pt x="642" y="557"/>
                  </a:lnTo>
                  <a:lnTo>
                    <a:pt x="643" y="563"/>
                  </a:lnTo>
                  <a:lnTo>
                    <a:pt x="642" y="568"/>
                  </a:lnTo>
                  <a:lnTo>
                    <a:pt x="641" y="573"/>
                  </a:lnTo>
                  <a:lnTo>
                    <a:pt x="639" y="577"/>
                  </a:lnTo>
                  <a:lnTo>
                    <a:pt x="635" y="582"/>
                  </a:lnTo>
                  <a:lnTo>
                    <a:pt x="631" y="585"/>
                  </a:lnTo>
                  <a:lnTo>
                    <a:pt x="626" y="588"/>
                  </a:lnTo>
                  <a:lnTo>
                    <a:pt x="622" y="590"/>
                  </a:lnTo>
                  <a:lnTo>
                    <a:pt x="616"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6">
              <a:extLst>
                <a:ext uri="{FF2B5EF4-FFF2-40B4-BE49-F238E27FC236}">
                  <a16:creationId xmlns:a16="http://schemas.microsoft.com/office/drawing/2014/main" id="{DE81B55E-B189-41EA-85F0-1A1C0CAC5279}"/>
                </a:ext>
              </a:extLst>
            </p:cNvPr>
            <p:cNvSpPr>
              <a:spLocks/>
            </p:cNvSpPr>
            <p:nvPr/>
          </p:nvSpPr>
          <p:spPr bwMode="auto">
            <a:xfrm>
              <a:off x="7008813" y="5943600"/>
              <a:ext cx="84138" cy="149225"/>
            </a:xfrm>
            <a:custGeom>
              <a:avLst/>
              <a:gdLst>
                <a:gd name="T0" fmla="*/ 187 w 214"/>
                <a:gd name="T1" fmla="*/ 375 h 375"/>
                <a:gd name="T2" fmla="*/ 183 w 214"/>
                <a:gd name="T3" fmla="*/ 374 h 375"/>
                <a:gd name="T4" fmla="*/ 177 w 214"/>
                <a:gd name="T5" fmla="*/ 373 h 375"/>
                <a:gd name="T6" fmla="*/ 173 w 214"/>
                <a:gd name="T7" fmla="*/ 371 h 375"/>
                <a:gd name="T8" fmla="*/ 168 w 214"/>
                <a:gd name="T9" fmla="*/ 367 h 375"/>
                <a:gd name="T10" fmla="*/ 8 w 214"/>
                <a:gd name="T11" fmla="*/ 206 h 375"/>
                <a:gd name="T12" fmla="*/ 5 w 214"/>
                <a:gd name="T13" fmla="*/ 201 h 375"/>
                <a:gd name="T14" fmla="*/ 2 w 214"/>
                <a:gd name="T15" fmla="*/ 197 h 375"/>
                <a:gd name="T16" fmla="*/ 0 w 214"/>
                <a:gd name="T17" fmla="*/ 192 h 375"/>
                <a:gd name="T18" fmla="*/ 0 w 214"/>
                <a:gd name="T19" fmla="*/ 187 h 375"/>
                <a:gd name="T20" fmla="*/ 0 w 214"/>
                <a:gd name="T21" fmla="*/ 182 h 375"/>
                <a:gd name="T22" fmla="*/ 2 w 214"/>
                <a:gd name="T23" fmla="*/ 177 h 375"/>
                <a:gd name="T24" fmla="*/ 5 w 214"/>
                <a:gd name="T25" fmla="*/ 172 h 375"/>
                <a:gd name="T26" fmla="*/ 8 w 214"/>
                <a:gd name="T27" fmla="*/ 168 h 375"/>
                <a:gd name="T28" fmla="*/ 168 w 214"/>
                <a:gd name="T29" fmla="*/ 7 h 375"/>
                <a:gd name="T30" fmla="*/ 173 w 214"/>
                <a:gd name="T31" fmla="*/ 4 h 375"/>
                <a:gd name="T32" fmla="*/ 177 w 214"/>
                <a:gd name="T33" fmla="*/ 1 h 375"/>
                <a:gd name="T34" fmla="*/ 183 w 214"/>
                <a:gd name="T35" fmla="*/ 0 h 375"/>
                <a:gd name="T36" fmla="*/ 187 w 214"/>
                <a:gd name="T37" fmla="*/ 0 h 375"/>
                <a:gd name="T38" fmla="*/ 193 w 214"/>
                <a:gd name="T39" fmla="*/ 0 h 375"/>
                <a:gd name="T40" fmla="*/ 197 w 214"/>
                <a:gd name="T41" fmla="*/ 1 h 375"/>
                <a:gd name="T42" fmla="*/ 203 w 214"/>
                <a:gd name="T43" fmla="*/ 4 h 375"/>
                <a:gd name="T44" fmla="*/ 206 w 214"/>
                <a:gd name="T45" fmla="*/ 7 h 375"/>
                <a:gd name="T46" fmla="*/ 210 w 214"/>
                <a:gd name="T47" fmla="*/ 11 h 375"/>
                <a:gd name="T48" fmla="*/ 213 w 214"/>
                <a:gd name="T49" fmla="*/ 16 h 375"/>
                <a:gd name="T50" fmla="*/ 214 w 214"/>
                <a:gd name="T51" fmla="*/ 21 h 375"/>
                <a:gd name="T52" fmla="*/ 214 w 214"/>
                <a:gd name="T53" fmla="*/ 27 h 375"/>
                <a:gd name="T54" fmla="*/ 214 w 214"/>
                <a:gd name="T55" fmla="*/ 31 h 375"/>
                <a:gd name="T56" fmla="*/ 213 w 214"/>
                <a:gd name="T57" fmla="*/ 37 h 375"/>
                <a:gd name="T58" fmla="*/ 210 w 214"/>
                <a:gd name="T59" fmla="*/ 41 h 375"/>
                <a:gd name="T60" fmla="*/ 206 w 214"/>
                <a:gd name="T61" fmla="*/ 44 h 375"/>
                <a:gd name="T62" fmla="*/ 65 w 214"/>
                <a:gd name="T63" fmla="*/ 187 h 375"/>
                <a:gd name="T64" fmla="*/ 206 w 214"/>
                <a:gd name="T65" fmla="*/ 329 h 375"/>
                <a:gd name="T66" fmla="*/ 210 w 214"/>
                <a:gd name="T67" fmla="*/ 333 h 375"/>
                <a:gd name="T68" fmla="*/ 213 w 214"/>
                <a:gd name="T69" fmla="*/ 338 h 375"/>
                <a:gd name="T70" fmla="*/ 214 w 214"/>
                <a:gd name="T71" fmla="*/ 343 h 375"/>
                <a:gd name="T72" fmla="*/ 214 w 214"/>
                <a:gd name="T73" fmla="*/ 348 h 375"/>
                <a:gd name="T74" fmla="*/ 214 w 214"/>
                <a:gd name="T75" fmla="*/ 353 h 375"/>
                <a:gd name="T76" fmla="*/ 213 w 214"/>
                <a:gd name="T77" fmla="*/ 358 h 375"/>
                <a:gd name="T78" fmla="*/ 210 w 214"/>
                <a:gd name="T79" fmla="*/ 363 h 375"/>
                <a:gd name="T80" fmla="*/ 206 w 214"/>
                <a:gd name="T81" fmla="*/ 367 h 375"/>
                <a:gd name="T82" fmla="*/ 203 w 214"/>
                <a:gd name="T83" fmla="*/ 371 h 375"/>
                <a:gd name="T84" fmla="*/ 197 w 214"/>
                <a:gd name="T85" fmla="*/ 373 h 375"/>
                <a:gd name="T86" fmla="*/ 193 w 214"/>
                <a:gd name="T87" fmla="*/ 374 h 375"/>
                <a:gd name="T88" fmla="*/ 187 w 214"/>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375">
                  <a:moveTo>
                    <a:pt x="187" y="375"/>
                  </a:moveTo>
                  <a:lnTo>
                    <a:pt x="183" y="374"/>
                  </a:lnTo>
                  <a:lnTo>
                    <a:pt x="177" y="373"/>
                  </a:lnTo>
                  <a:lnTo>
                    <a:pt x="173" y="371"/>
                  </a:lnTo>
                  <a:lnTo>
                    <a:pt x="168" y="367"/>
                  </a:lnTo>
                  <a:lnTo>
                    <a:pt x="8" y="206"/>
                  </a:lnTo>
                  <a:lnTo>
                    <a:pt x="5" y="201"/>
                  </a:lnTo>
                  <a:lnTo>
                    <a:pt x="2" y="197"/>
                  </a:lnTo>
                  <a:lnTo>
                    <a:pt x="0" y="192"/>
                  </a:lnTo>
                  <a:lnTo>
                    <a:pt x="0" y="187"/>
                  </a:lnTo>
                  <a:lnTo>
                    <a:pt x="0" y="182"/>
                  </a:lnTo>
                  <a:lnTo>
                    <a:pt x="2" y="177"/>
                  </a:lnTo>
                  <a:lnTo>
                    <a:pt x="5" y="172"/>
                  </a:lnTo>
                  <a:lnTo>
                    <a:pt x="8" y="168"/>
                  </a:lnTo>
                  <a:lnTo>
                    <a:pt x="168" y="7"/>
                  </a:lnTo>
                  <a:lnTo>
                    <a:pt x="173" y="4"/>
                  </a:lnTo>
                  <a:lnTo>
                    <a:pt x="177" y="1"/>
                  </a:lnTo>
                  <a:lnTo>
                    <a:pt x="183" y="0"/>
                  </a:lnTo>
                  <a:lnTo>
                    <a:pt x="187" y="0"/>
                  </a:lnTo>
                  <a:lnTo>
                    <a:pt x="193" y="0"/>
                  </a:lnTo>
                  <a:lnTo>
                    <a:pt x="197" y="1"/>
                  </a:lnTo>
                  <a:lnTo>
                    <a:pt x="203" y="4"/>
                  </a:lnTo>
                  <a:lnTo>
                    <a:pt x="206" y="7"/>
                  </a:lnTo>
                  <a:lnTo>
                    <a:pt x="210" y="11"/>
                  </a:lnTo>
                  <a:lnTo>
                    <a:pt x="213" y="16"/>
                  </a:lnTo>
                  <a:lnTo>
                    <a:pt x="214" y="21"/>
                  </a:lnTo>
                  <a:lnTo>
                    <a:pt x="214" y="27"/>
                  </a:lnTo>
                  <a:lnTo>
                    <a:pt x="214" y="31"/>
                  </a:lnTo>
                  <a:lnTo>
                    <a:pt x="213" y="37"/>
                  </a:lnTo>
                  <a:lnTo>
                    <a:pt x="210" y="41"/>
                  </a:lnTo>
                  <a:lnTo>
                    <a:pt x="206" y="44"/>
                  </a:lnTo>
                  <a:lnTo>
                    <a:pt x="65" y="187"/>
                  </a:lnTo>
                  <a:lnTo>
                    <a:pt x="206" y="329"/>
                  </a:lnTo>
                  <a:lnTo>
                    <a:pt x="210" y="333"/>
                  </a:lnTo>
                  <a:lnTo>
                    <a:pt x="213" y="338"/>
                  </a:lnTo>
                  <a:lnTo>
                    <a:pt x="214" y="343"/>
                  </a:lnTo>
                  <a:lnTo>
                    <a:pt x="214" y="348"/>
                  </a:lnTo>
                  <a:lnTo>
                    <a:pt x="214" y="353"/>
                  </a:lnTo>
                  <a:lnTo>
                    <a:pt x="213" y="358"/>
                  </a:lnTo>
                  <a:lnTo>
                    <a:pt x="210" y="363"/>
                  </a:lnTo>
                  <a:lnTo>
                    <a:pt x="206" y="367"/>
                  </a:lnTo>
                  <a:lnTo>
                    <a:pt x="203" y="371"/>
                  </a:lnTo>
                  <a:lnTo>
                    <a:pt x="197" y="373"/>
                  </a:lnTo>
                  <a:lnTo>
                    <a:pt x="193" y="374"/>
                  </a:lnTo>
                  <a:lnTo>
                    <a:pt x="187"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0" name="Freeform 40">
            <a:extLst>
              <a:ext uri="{FF2B5EF4-FFF2-40B4-BE49-F238E27FC236}">
                <a16:creationId xmlns:a16="http://schemas.microsoft.com/office/drawing/2014/main" id="{0CB2A91A-0BF4-416A-B349-A2A6D752C7DB}"/>
              </a:ext>
            </a:extLst>
          </p:cNvPr>
          <p:cNvSpPr>
            <a:spLocks noChangeAspect="1"/>
          </p:cNvSpPr>
          <p:nvPr/>
        </p:nvSpPr>
        <p:spPr bwMode="auto">
          <a:xfrm>
            <a:off x="4426614" y="3339586"/>
            <a:ext cx="308350" cy="154175"/>
          </a:xfrm>
          <a:custGeom>
            <a:avLst/>
            <a:gdLst>
              <a:gd name="T0" fmla="*/ 634 w 903"/>
              <a:gd name="T1" fmla="*/ 8 h 448"/>
              <a:gd name="T2" fmla="*/ 561 w 903"/>
              <a:gd name="T3" fmla="*/ 54 h 448"/>
              <a:gd name="T4" fmla="*/ 464 w 903"/>
              <a:gd name="T5" fmla="*/ 177 h 448"/>
              <a:gd name="T6" fmla="*/ 354 w 903"/>
              <a:gd name="T7" fmla="*/ 340 h 448"/>
              <a:gd name="T8" fmla="*/ 270 w 903"/>
              <a:gd name="T9" fmla="*/ 409 h 448"/>
              <a:gd name="T10" fmla="*/ 205 w 903"/>
              <a:gd name="T11" fmla="*/ 417 h 448"/>
              <a:gd name="T12" fmla="*/ 101 w 903"/>
              <a:gd name="T13" fmla="*/ 374 h 448"/>
              <a:gd name="T14" fmla="*/ 38 w 903"/>
              <a:gd name="T15" fmla="*/ 282 h 448"/>
              <a:gd name="T16" fmla="*/ 38 w 903"/>
              <a:gd name="T17" fmla="*/ 166 h 448"/>
              <a:gd name="T18" fmla="*/ 101 w 903"/>
              <a:gd name="T19" fmla="*/ 74 h 448"/>
              <a:gd name="T20" fmla="*/ 205 w 903"/>
              <a:gd name="T21" fmla="*/ 31 h 448"/>
              <a:gd name="T22" fmla="*/ 284 w 903"/>
              <a:gd name="T23" fmla="*/ 45 h 448"/>
              <a:gd name="T24" fmla="*/ 338 w 903"/>
              <a:gd name="T25" fmla="*/ 89 h 448"/>
              <a:gd name="T26" fmla="*/ 259 w 903"/>
              <a:gd name="T27" fmla="*/ 108 h 448"/>
              <a:gd name="T28" fmla="*/ 249 w 903"/>
              <a:gd name="T29" fmla="*/ 127 h 448"/>
              <a:gd name="T30" fmla="*/ 260 w 903"/>
              <a:gd name="T31" fmla="*/ 138 h 448"/>
              <a:gd name="T32" fmla="*/ 394 w 903"/>
              <a:gd name="T33" fmla="*/ 164 h 448"/>
              <a:gd name="T34" fmla="*/ 401 w 903"/>
              <a:gd name="T35" fmla="*/ 161 h 448"/>
              <a:gd name="T36" fmla="*/ 406 w 903"/>
              <a:gd name="T37" fmla="*/ 158 h 448"/>
              <a:gd name="T38" fmla="*/ 409 w 903"/>
              <a:gd name="T39" fmla="*/ 150 h 448"/>
              <a:gd name="T40" fmla="*/ 430 w 903"/>
              <a:gd name="T41" fmla="*/ 5 h 448"/>
              <a:gd name="T42" fmla="*/ 414 w 903"/>
              <a:gd name="T43" fmla="*/ 2 h 448"/>
              <a:gd name="T44" fmla="*/ 362 w 903"/>
              <a:gd name="T45" fmla="*/ 71 h 448"/>
              <a:gd name="T46" fmla="*/ 304 w 903"/>
              <a:gd name="T47" fmla="*/ 23 h 448"/>
              <a:gd name="T48" fmla="*/ 224 w 903"/>
              <a:gd name="T49" fmla="*/ 0 h 448"/>
              <a:gd name="T50" fmla="*/ 157 w 903"/>
              <a:gd name="T51" fmla="*/ 10 h 448"/>
              <a:gd name="T52" fmla="*/ 65 w 903"/>
              <a:gd name="T53" fmla="*/ 66 h 448"/>
              <a:gd name="T54" fmla="*/ 10 w 903"/>
              <a:gd name="T55" fmla="*/ 158 h 448"/>
              <a:gd name="T56" fmla="*/ 0 w 903"/>
              <a:gd name="T57" fmla="*/ 224 h 448"/>
              <a:gd name="T58" fmla="*/ 10 w 903"/>
              <a:gd name="T59" fmla="*/ 291 h 448"/>
              <a:gd name="T60" fmla="*/ 65 w 903"/>
              <a:gd name="T61" fmla="*/ 383 h 448"/>
              <a:gd name="T62" fmla="*/ 157 w 903"/>
              <a:gd name="T63" fmla="*/ 439 h 448"/>
              <a:gd name="T64" fmla="*/ 224 w 903"/>
              <a:gd name="T65" fmla="*/ 448 h 448"/>
              <a:gd name="T66" fmla="*/ 279 w 903"/>
              <a:gd name="T67" fmla="*/ 438 h 448"/>
              <a:gd name="T68" fmla="*/ 358 w 903"/>
              <a:gd name="T69" fmla="*/ 380 h 448"/>
              <a:gd name="T70" fmla="*/ 464 w 903"/>
              <a:gd name="T71" fmla="*/ 232 h 448"/>
              <a:gd name="T72" fmla="*/ 563 w 903"/>
              <a:gd name="T73" fmla="*/ 95 h 448"/>
              <a:gd name="T74" fmla="*/ 647 w 903"/>
              <a:gd name="T75" fmla="*/ 34 h 448"/>
              <a:gd name="T76" fmla="*/ 718 w 903"/>
              <a:gd name="T77" fmla="*/ 34 h 448"/>
              <a:gd name="T78" fmla="*/ 816 w 903"/>
              <a:gd name="T79" fmla="*/ 87 h 448"/>
              <a:gd name="T80" fmla="*/ 870 w 903"/>
              <a:gd name="T81" fmla="*/ 186 h 448"/>
              <a:gd name="T82" fmla="*/ 858 w 903"/>
              <a:gd name="T83" fmla="*/ 299 h 448"/>
              <a:gd name="T84" fmla="*/ 788 w 903"/>
              <a:gd name="T85" fmla="*/ 385 h 448"/>
              <a:gd name="T86" fmla="*/ 680 w 903"/>
              <a:gd name="T87" fmla="*/ 418 h 448"/>
              <a:gd name="T88" fmla="*/ 584 w 903"/>
              <a:gd name="T89" fmla="*/ 392 h 448"/>
              <a:gd name="T90" fmla="*/ 521 w 903"/>
              <a:gd name="T91" fmla="*/ 332 h 448"/>
              <a:gd name="T92" fmla="*/ 506 w 903"/>
              <a:gd name="T93" fmla="*/ 323 h 448"/>
              <a:gd name="T94" fmla="*/ 494 w 903"/>
              <a:gd name="T95" fmla="*/ 335 h 448"/>
              <a:gd name="T96" fmla="*/ 508 w 903"/>
              <a:gd name="T97" fmla="*/ 364 h 448"/>
              <a:gd name="T98" fmla="*/ 568 w 903"/>
              <a:gd name="T99" fmla="*/ 417 h 448"/>
              <a:gd name="T100" fmla="*/ 657 w 903"/>
              <a:gd name="T101" fmla="*/ 447 h 448"/>
              <a:gd name="T102" fmla="*/ 725 w 903"/>
              <a:gd name="T103" fmla="*/ 444 h 448"/>
              <a:gd name="T104" fmla="*/ 804 w 903"/>
              <a:gd name="T105" fmla="*/ 410 h 448"/>
              <a:gd name="T106" fmla="*/ 886 w 903"/>
              <a:gd name="T107" fmla="*/ 311 h 448"/>
              <a:gd name="T108" fmla="*/ 902 w 903"/>
              <a:gd name="T109" fmla="*/ 247 h 448"/>
              <a:gd name="T110" fmla="*/ 898 w 903"/>
              <a:gd name="T111" fmla="*/ 179 h 448"/>
              <a:gd name="T112" fmla="*/ 865 w 903"/>
              <a:gd name="T113" fmla="*/ 99 h 448"/>
              <a:gd name="T114" fmla="*/ 767 w 903"/>
              <a:gd name="T115" fmla="*/ 17 h 448"/>
              <a:gd name="T116" fmla="*/ 702 w 903"/>
              <a:gd name="T117" fmla="*/ 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448">
                <a:moveTo>
                  <a:pt x="680" y="0"/>
                </a:moveTo>
                <a:lnTo>
                  <a:pt x="670" y="0"/>
                </a:lnTo>
                <a:lnTo>
                  <a:pt x="660" y="1"/>
                </a:lnTo>
                <a:lnTo>
                  <a:pt x="651" y="3"/>
                </a:lnTo>
                <a:lnTo>
                  <a:pt x="642" y="5"/>
                </a:lnTo>
                <a:lnTo>
                  <a:pt x="634" y="8"/>
                </a:lnTo>
                <a:lnTo>
                  <a:pt x="625" y="11"/>
                </a:lnTo>
                <a:lnTo>
                  <a:pt x="616" y="15"/>
                </a:lnTo>
                <a:lnTo>
                  <a:pt x="608" y="18"/>
                </a:lnTo>
                <a:lnTo>
                  <a:pt x="592" y="29"/>
                </a:lnTo>
                <a:lnTo>
                  <a:pt x="576" y="41"/>
                </a:lnTo>
                <a:lnTo>
                  <a:pt x="561" y="54"/>
                </a:lnTo>
                <a:lnTo>
                  <a:pt x="546" y="69"/>
                </a:lnTo>
                <a:lnTo>
                  <a:pt x="532" y="84"/>
                </a:lnTo>
                <a:lnTo>
                  <a:pt x="518" y="101"/>
                </a:lnTo>
                <a:lnTo>
                  <a:pt x="504" y="119"/>
                </a:lnTo>
                <a:lnTo>
                  <a:pt x="491" y="137"/>
                </a:lnTo>
                <a:lnTo>
                  <a:pt x="464" y="177"/>
                </a:lnTo>
                <a:lnTo>
                  <a:pt x="438" y="217"/>
                </a:lnTo>
                <a:lnTo>
                  <a:pt x="415" y="254"/>
                </a:lnTo>
                <a:lnTo>
                  <a:pt x="391" y="290"/>
                </a:lnTo>
                <a:lnTo>
                  <a:pt x="378" y="308"/>
                </a:lnTo>
                <a:lnTo>
                  <a:pt x="365" y="324"/>
                </a:lnTo>
                <a:lnTo>
                  <a:pt x="354" y="340"/>
                </a:lnTo>
                <a:lnTo>
                  <a:pt x="340" y="355"/>
                </a:lnTo>
                <a:lnTo>
                  <a:pt x="327" y="369"/>
                </a:lnTo>
                <a:lnTo>
                  <a:pt x="313" y="381"/>
                </a:lnTo>
                <a:lnTo>
                  <a:pt x="299" y="392"/>
                </a:lnTo>
                <a:lnTo>
                  <a:pt x="285" y="401"/>
                </a:lnTo>
                <a:lnTo>
                  <a:pt x="270" y="409"/>
                </a:lnTo>
                <a:lnTo>
                  <a:pt x="255" y="414"/>
                </a:lnTo>
                <a:lnTo>
                  <a:pt x="247" y="416"/>
                </a:lnTo>
                <a:lnTo>
                  <a:pt x="240" y="417"/>
                </a:lnTo>
                <a:lnTo>
                  <a:pt x="231" y="418"/>
                </a:lnTo>
                <a:lnTo>
                  <a:pt x="224" y="418"/>
                </a:lnTo>
                <a:lnTo>
                  <a:pt x="205" y="417"/>
                </a:lnTo>
                <a:lnTo>
                  <a:pt x="185" y="414"/>
                </a:lnTo>
                <a:lnTo>
                  <a:pt x="166" y="410"/>
                </a:lnTo>
                <a:lnTo>
                  <a:pt x="149" y="403"/>
                </a:lnTo>
                <a:lnTo>
                  <a:pt x="132" y="395"/>
                </a:lnTo>
                <a:lnTo>
                  <a:pt x="116" y="385"/>
                </a:lnTo>
                <a:lnTo>
                  <a:pt x="101" y="374"/>
                </a:lnTo>
                <a:lnTo>
                  <a:pt x="87" y="362"/>
                </a:lnTo>
                <a:lnTo>
                  <a:pt x="75" y="348"/>
                </a:lnTo>
                <a:lnTo>
                  <a:pt x="63" y="333"/>
                </a:lnTo>
                <a:lnTo>
                  <a:pt x="53" y="317"/>
                </a:lnTo>
                <a:lnTo>
                  <a:pt x="46" y="299"/>
                </a:lnTo>
                <a:lnTo>
                  <a:pt x="38" y="282"/>
                </a:lnTo>
                <a:lnTo>
                  <a:pt x="34" y="263"/>
                </a:lnTo>
                <a:lnTo>
                  <a:pt x="31" y="244"/>
                </a:lnTo>
                <a:lnTo>
                  <a:pt x="30" y="224"/>
                </a:lnTo>
                <a:lnTo>
                  <a:pt x="31" y="205"/>
                </a:lnTo>
                <a:lnTo>
                  <a:pt x="34" y="186"/>
                </a:lnTo>
                <a:lnTo>
                  <a:pt x="38" y="166"/>
                </a:lnTo>
                <a:lnTo>
                  <a:pt x="46" y="149"/>
                </a:lnTo>
                <a:lnTo>
                  <a:pt x="53" y="132"/>
                </a:lnTo>
                <a:lnTo>
                  <a:pt x="63" y="116"/>
                </a:lnTo>
                <a:lnTo>
                  <a:pt x="75" y="101"/>
                </a:lnTo>
                <a:lnTo>
                  <a:pt x="87" y="87"/>
                </a:lnTo>
                <a:lnTo>
                  <a:pt x="101" y="74"/>
                </a:lnTo>
                <a:lnTo>
                  <a:pt x="116" y="63"/>
                </a:lnTo>
                <a:lnTo>
                  <a:pt x="132" y="54"/>
                </a:lnTo>
                <a:lnTo>
                  <a:pt x="149" y="45"/>
                </a:lnTo>
                <a:lnTo>
                  <a:pt x="166" y="39"/>
                </a:lnTo>
                <a:lnTo>
                  <a:pt x="185" y="34"/>
                </a:lnTo>
                <a:lnTo>
                  <a:pt x="205" y="31"/>
                </a:lnTo>
                <a:lnTo>
                  <a:pt x="224" y="30"/>
                </a:lnTo>
                <a:lnTo>
                  <a:pt x="237" y="31"/>
                </a:lnTo>
                <a:lnTo>
                  <a:pt x="250" y="33"/>
                </a:lnTo>
                <a:lnTo>
                  <a:pt x="261" y="37"/>
                </a:lnTo>
                <a:lnTo>
                  <a:pt x="273" y="41"/>
                </a:lnTo>
                <a:lnTo>
                  <a:pt x="284" y="45"/>
                </a:lnTo>
                <a:lnTo>
                  <a:pt x="295" y="52"/>
                </a:lnTo>
                <a:lnTo>
                  <a:pt x="304" y="58"/>
                </a:lnTo>
                <a:lnTo>
                  <a:pt x="314" y="66"/>
                </a:lnTo>
                <a:lnTo>
                  <a:pt x="323" y="73"/>
                </a:lnTo>
                <a:lnTo>
                  <a:pt x="330" y="82"/>
                </a:lnTo>
                <a:lnTo>
                  <a:pt x="338" y="89"/>
                </a:lnTo>
                <a:lnTo>
                  <a:pt x="345" y="98"/>
                </a:lnTo>
                <a:lnTo>
                  <a:pt x="357" y="114"/>
                </a:lnTo>
                <a:lnTo>
                  <a:pt x="366" y="128"/>
                </a:lnTo>
                <a:lnTo>
                  <a:pt x="266" y="108"/>
                </a:lnTo>
                <a:lnTo>
                  <a:pt x="262" y="108"/>
                </a:lnTo>
                <a:lnTo>
                  <a:pt x="259" y="108"/>
                </a:lnTo>
                <a:lnTo>
                  <a:pt x="257" y="110"/>
                </a:lnTo>
                <a:lnTo>
                  <a:pt x="254" y="111"/>
                </a:lnTo>
                <a:lnTo>
                  <a:pt x="251" y="115"/>
                </a:lnTo>
                <a:lnTo>
                  <a:pt x="247" y="120"/>
                </a:lnTo>
                <a:lnTo>
                  <a:pt x="247" y="123"/>
                </a:lnTo>
                <a:lnTo>
                  <a:pt x="249" y="127"/>
                </a:lnTo>
                <a:lnTo>
                  <a:pt x="249" y="130"/>
                </a:lnTo>
                <a:lnTo>
                  <a:pt x="251" y="132"/>
                </a:lnTo>
                <a:lnTo>
                  <a:pt x="252" y="134"/>
                </a:lnTo>
                <a:lnTo>
                  <a:pt x="254" y="136"/>
                </a:lnTo>
                <a:lnTo>
                  <a:pt x="257" y="137"/>
                </a:lnTo>
                <a:lnTo>
                  <a:pt x="260" y="138"/>
                </a:lnTo>
                <a:lnTo>
                  <a:pt x="392" y="162"/>
                </a:lnTo>
                <a:lnTo>
                  <a:pt x="393" y="164"/>
                </a:lnTo>
                <a:lnTo>
                  <a:pt x="394" y="164"/>
                </a:lnTo>
                <a:lnTo>
                  <a:pt x="394" y="164"/>
                </a:lnTo>
                <a:lnTo>
                  <a:pt x="394" y="164"/>
                </a:lnTo>
                <a:lnTo>
                  <a:pt x="394" y="164"/>
                </a:lnTo>
                <a:lnTo>
                  <a:pt x="398" y="163"/>
                </a:lnTo>
                <a:lnTo>
                  <a:pt x="400" y="162"/>
                </a:lnTo>
                <a:lnTo>
                  <a:pt x="400" y="162"/>
                </a:lnTo>
                <a:lnTo>
                  <a:pt x="401" y="162"/>
                </a:lnTo>
                <a:lnTo>
                  <a:pt x="401" y="162"/>
                </a:lnTo>
                <a:lnTo>
                  <a:pt x="401" y="161"/>
                </a:lnTo>
                <a:lnTo>
                  <a:pt x="402" y="161"/>
                </a:lnTo>
                <a:lnTo>
                  <a:pt x="403" y="161"/>
                </a:lnTo>
                <a:lnTo>
                  <a:pt x="404" y="160"/>
                </a:lnTo>
                <a:lnTo>
                  <a:pt x="404" y="160"/>
                </a:lnTo>
                <a:lnTo>
                  <a:pt x="405" y="159"/>
                </a:lnTo>
                <a:lnTo>
                  <a:pt x="406" y="158"/>
                </a:lnTo>
                <a:lnTo>
                  <a:pt x="407" y="157"/>
                </a:lnTo>
                <a:lnTo>
                  <a:pt x="407" y="155"/>
                </a:lnTo>
                <a:lnTo>
                  <a:pt x="408" y="155"/>
                </a:lnTo>
                <a:lnTo>
                  <a:pt x="408" y="152"/>
                </a:lnTo>
                <a:lnTo>
                  <a:pt x="409" y="151"/>
                </a:lnTo>
                <a:lnTo>
                  <a:pt x="409" y="150"/>
                </a:lnTo>
                <a:lnTo>
                  <a:pt x="434" y="19"/>
                </a:lnTo>
                <a:lnTo>
                  <a:pt x="434" y="16"/>
                </a:lnTo>
                <a:lnTo>
                  <a:pt x="434" y="13"/>
                </a:lnTo>
                <a:lnTo>
                  <a:pt x="433" y="10"/>
                </a:lnTo>
                <a:lnTo>
                  <a:pt x="432" y="8"/>
                </a:lnTo>
                <a:lnTo>
                  <a:pt x="430" y="5"/>
                </a:lnTo>
                <a:lnTo>
                  <a:pt x="428" y="3"/>
                </a:lnTo>
                <a:lnTo>
                  <a:pt x="425" y="2"/>
                </a:lnTo>
                <a:lnTo>
                  <a:pt x="422" y="1"/>
                </a:lnTo>
                <a:lnTo>
                  <a:pt x="419" y="1"/>
                </a:lnTo>
                <a:lnTo>
                  <a:pt x="416" y="1"/>
                </a:lnTo>
                <a:lnTo>
                  <a:pt x="414" y="2"/>
                </a:lnTo>
                <a:lnTo>
                  <a:pt x="410" y="4"/>
                </a:lnTo>
                <a:lnTo>
                  <a:pt x="407" y="9"/>
                </a:lnTo>
                <a:lnTo>
                  <a:pt x="405" y="14"/>
                </a:lnTo>
                <a:lnTo>
                  <a:pt x="388" y="105"/>
                </a:lnTo>
                <a:lnTo>
                  <a:pt x="376" y="89"/>
                </a:lnTo>
                <a:lnTo>
                  <a:pt x="362" y="71"/>
                </a:lnTo>
                <a:lnTo>
                  <a:pt x="355" y="62"/>
                </a:lnTo>
                <a:lnTo>
                  <a:pt x="345" y="54"/>
                </a:lnTo>
                <a:lnTo>
                  <a:pt x="336" y="45"/>
                </a:lnTo>
                <a:lnTo>
                  <a:pt x="327" y="37"/>
                </a:lnTo>
                <a:lnTo>
                  <a:pt x="316" y="29"/>
                </a:lnTo>
                <a:lnTo>
                  <a:pt x="304" y="23"/>
                </a:lnTo>
                <a:lnTo>
                  <a:pt x="292" y="16"/>
                </a:lnTo>
                <a:lnTo>
                  <a:pt x="281" y="11"/>
                </a:lnTo>
                <a:lnTo>
                  <a:pt x="267" y="7"/>
                </a:lnTo>
                <a:lnTo>
                  <a:pt x="254" y="3"/>
                </a:lnTo>
                <a:lnTo>
                  <a:pt x="239" y="1"/>
                </a:lnTo>
                <a:lnTo>
                  <a:pt x="224" y="0"/>
                </a:lnTo>
                <a:lnTo>
                  <a:pt x="212" y="0"/>
                </a:lnTo>
                <a:lnTo>
                  <a:pt x="201" y="1"/>
                </a:lnTo>
                <a:lnTo>
                  <a:pt x="190" y="2"/>
                </a:lnTo>
                <a:lnTo>
                  <a:pt x="179" y="4"/>
                </a:lnTo>
                <a:lnTo>
                  <a:pt x="168" y="8"/>
                </a:lnTo>
                <a:lnTo>
                  <a:pt x="157" y="10"/>
                </a:lnTo>
                <a:lnTo>
                  <a:pt x="147" y="14"/>
                </a:lnTo>
                <a:lnTo>
                  <a:pt x="137" y="17"/>
                </a:lnTo>
                <a:lnTo>
                  <a:pt x="118" y="27"/>
                </a:lnTo>
                <a:lnTo>
                  <a:pt x="98" y="39"/>
                </a:lnTo>
                <a:lnTo>
                  <a:pt x="81" y="52"/>
                </a:lnTo>
                <a:lnTo>
                  <a:pt x="65" y="66"/>
                </a:lnTo>
                <a:lnTo>
                  <a:pt x="51" y="82"/>
                </a:lnTo>
                <a:lnTo>
                  <a:pt x="38" y="99"/>
                </a:lnTo>
                <a:lnTo>
                  <a:pt x="27" y="118"/>
                </a:lnTo>
                <a:lnTo>
                  <a:pt x="18" y="137"/>
                </a:lnTo>
                <a:lnTo>
                  <a:pt x="14" y="147"/>
                </a:lnTo>
                <a:lnTo>
                  <a:pt x="10" y="158"/>
                </a:lnTo>
                <a:lnTo>
                  <a:pt x="7" y="169"/>
                </a:lnTo>
                <a:lnTo>
                  <a:pt x="5" y="179"/>
                </a:lnTo>
                <a:lnTo>
                  <a:pt x="3" y="190"/>
                </a:lnTo>
                <a:lnTo>
                  <a:pt x="1" y="202"/>
                </a:lnTo>
                <a:lnTo>
                  <a:pt x="1" y="212"/>
                </a:lnTo>
                <a:lnTo>
                  <a:pt x="0" y="224"/>
                </a:lnTo>
                <a:lnTo>
                  <a:pt x="1" y="236"/>
                </a:lnTo>
                <a:lnTo>
                  <a:pt x="1" y="247"/>
                </a:lnTo>
                <a:lnTo>
                  <a:pt x="3" y="259"/>
                </a:lnTo>
                <a:lnTo>
                  <a:pt x="5" y="269"/>
                </a:lnTo>
                <a:lnTo>
                  <a:pt x="7" y="280"/>
                </a:lnTo>
                <a:lnTo>
                  <a:pt x="10" y="291"/>
                </a:lnTo>
                <a:lnTo>
                  <a:pt x="14" y="302"/>
                </a:lnTo>
                <a:lnTo>
                  <a:pt x="18" y="311"/>
                </a:lnTo>
                <a:lnTo>
                  <a:pt x="27" y="332"/>
                </a:lnTo>
                <a:lnTo>
                  <a:pt x="38" y="350"/>
                </a:lnTo>
                <a:lnTo>
                  <a:pt x="51" y="367"/>
                </a:lnTo>
                <a:lnTo>
                  <a:pt x="65" y="383"/>
                </a:lnTo>
                <a:lnTo>
                  <a:pt x="81" y="397"/>
                </a:lnTo>
                <a:lnTo>
                  <a:pt x="98" y="410"/>
                </a:lnTo>
                <a:lnTo>
                  <a:pt x="118" y="422"/>
                </a:lnTo>
                <a:lnTo>
                  <a:pt x="137" y="431"/>
                </a:lnTo>
                <a:lnTo>
                  <a:pt x="147" y="435"/>
                </a:lnTo>
                <a:lnTo>
                  <a:pt x="157" y="439"/>
                </a:lnTo>
                <a:lnTo>
                  <a:pt x="168" y="442"/>
                </a:lnTo>
                <a:lnTo>
                  <a:pt x="179" y="444"/>
                </a:lnTo>
                <a:lnTo>
                  <a:pt x="190" y="446"/>
                </a:lnTo>
                <a:lnTo>
                  <a:pt x="201" y="447"/>
                </a:lnTo>
                <a:lnTo>
                  <a:pt x="212" y="448"/>
                </a:lnTo>
                <a:lnTo>
                  <a:pt x="224" y="448"/>
                </a:lnTo>
                <a:lnTo>
                  <a:pt x="234" y="448"/>
                </a:lnTo>
                <a:lnTo>
                  <a:pt x="243" y="447"/>
                </a:lnTo>
                <a:lnTo>
                  <a:pt x="252" y="446"/>
                </a:lnTo>
                <a:lnTo>
                  <a:pt x="261" y="444"/>
                </a:lnTo>
                <a:lnTo>
                  <a:pt x="270" y="441"/>
                </a:lnTo>
                <a:lnTo>
                  <a:pt x="279" y="438"/>
                </a:lnTo>
                <a:lnTo>
                  <a:pt x="287" y="435"/>
                </a:lnTo>
                <a:lnTo>
                  <a:pt x="296" y="430"/>
                </a:lnTo>
                <a:lnTo>
                  <a:pt x="312" y="419"/>
                </a:lnTo>
                <a:lnTo>
                  <a:pt x="328" y="408"/>
                </a:lnTo>
                <a:lnTo>
                  <a:pt x="343" y="395"/>
                </a:lnTo>
                <a:lnTo>
                  <a:pt x="358" y="380"/>
                </a:lnTo>
                <a:lnTo>
                  <a:pt x="372" y="365"/>
                </a:lnTo>
                <a:lnTo>
                  <a:pt x="386" y="348"/>
                </a:lnTo>
                <a:lnTo>
                  <a:pt x="400" y="329"/>
                </a:lnTo>
                <a:lnTo>
                  <a:pt x="413" y="311"/>
                </a:lnTo>
                <a:lnTo>
                  <a:pt x="438" y="271"/>
                </a:lnTo>
                <a:lnTo>
                  <a:pt x="464" y="232"/>
                </a:lnTo>
                <a:lnTo>
                  <a:pt x="488" y="195"/>
                </a:lnTo>
                <a:lnTo>
                  <a:pt x="512" y="159"/>
                </a:lnTo>
                <a:lnTo>
                  <a:pt x="524" y="142"/>
                </a:lnTo>
                <a:lnTo>
                  <a:pt x="537" y="125"/>
                </a:lnTo>
                <a:lnTo>
                  <a:pt x="550" y="110"/>
                </a:lnTo>
                <a:lnTo>
                  <a:pt x="563" y="95"/>
                </a:lnTo>
                <a:lnTo>
                  <a:pt x="577" y="81"/>
                </a:lnTo>
                <a:lnTo>
                  <a:pt x="590" y="68"/>
                </a:lnTo>
                <a:lnTo>
                  <a:pt x="604" y="57"/>
                </a:lnTo>
                <a:lnTo>
                  <a:pt x="619" y="48"/>
                </a:lnTo>
                <a:lnTo>
                  <a:pt x="632" y="41"/>
                </a:lnTo>
                <a:lnTo>
                  <a:pt x="647" y="34"/>
                </a:lnTo>
                <a:lnTo>
                  <a:pt x="655" y="32"/>
                </a:lnTo>
                <a:lnTo>
                  <a:pt x="664" y="31"/>
                </a:lnTo>
                <a:lnTo>
                  <a:pt x="671" y="30"/>
                </a:lnTo>
                <a:lnTo>
                  <a:pt x="680" y="30"/>
                </a:lnTo>
                <a:lnTo>
                  <a:pt x="699" y="31"/>
                </a:lnTo>
                <a:lnTo>
                  <a:pt x="718" y="34"/>
                </a:lnTo>
                <a:lnTo>
                  <a:pt x="737" y="39"/>
                </a:lnTo>
                <a:lnTo>
                  <a:pt x="755" y="45"/>
                </a:lnTo>
                <a:lnTo>
                  <a:pt x="772" y="54"/>
                </a:lnTo>
                <a:lnTo>
                  <a:pt x="788" y="63"/>
                </a:lnTo>
                <a:lnTo>
                  <a:pt x="802" y="74"/>
                </a:lnTo>
                <a:lnTo>
                  <a:pt x="816" y="87"/>
                </a:lnTo>
                <a:lnTo>
                  <a:pt x="829" y="101"/>
                </a:lnTo>
                <a:lnTo>
                  <a:pt x="839" y="116"/>
                </a:lnTo>
                <a:lnTo>
                  <a:pt x="849" y="132"/>
                </a:lnTo>
                <a:lnTo>
                  <a:pt x="858" y="149"/>
                </a:lnTo>
                <a:lnTo>
                  <a:pt x="864" y="166"/>
                </a:lnTo>
                <a:lnTo>
                  <a:pt x="870" y="186"/>
                </a:lnTo>
                <a:lnTo>
                  <a:pt x="872" y="205"/>
                </a:lnTo>
                <a:lnTo>
                  <a:pt x="873" y="224"/>
                </a:lnTo>
                <a:lnTo>
                  <a:pt x="872" y="244"/>
                </a:lnTo>
                <a:lnTo>
                  <a:pt x="870" y="263"/>
                </a:lnTo>
                <a:lnTo>
                  <a:pt x="864" y="282"/>
                </a:lnTo>
                <a:lnTo>
                  <a:pt x="858" y="299"/>
                </a:lnTo>
                <a:lnTo>
                  <a:pt x="849" y="317"/>
                </a:lnTo>
                <a:lnTo>
                  <a:pt x="839" y="333"/>
                </a:lnTo>
                <a:lnTo>
                  <a:pt x="829" y="348"/>
                </a:lnTo>
                <a:lnTo>
                  <a:pt x="816" y="362"/>
                </a:lnTo>
                <a:lnTo>
                  <a:pt x="802" y="374"/>
                </a:lnTo>
                <a:lnTo>
                  <a:pt x="788" y="385"/>
                </a:lnTo>
                <a:lnTo>
                  <a:pt x="772" y="395"/>
                </a:lnTo>
                <a:lnTo>
                  <a:pt x="755" y="403"/>
                </a:lnTo>
                <a:lnTo>
                  <a:pt x="737" y="410"/>
                </a:lnTo>
                <a:lnTo>
                  <a:pt x="718" y="414"/>
                </a:lnTo>
                <a:lnTo>
                  <a:pt x="699" y="417"/>
                </a:lnTo>
                <a:lnTo>
                  <a:pt x="680" y="418"/>
                </a:lnTo>
                <a:lnTo>
                  <a:pt x="660" y="417"/>
                </a:lnTo>
                <a:lnTo>
                  <a:pt x="643" y="415"/>
                </a:lnTo>
                <a:lnTo>
                  <a:pt x="626" y="411"/>
                </a:lnTo>
                <a:lnTo>
                  <a:pt x="611" y="406"/>
                </a:lnTo>
                <a:lnTo>
                  <a:pt x="597" y="399"/>
                </a:lnTo>
                <a:lnTo>
                  <a:pt x="584" y="392"/>
                </a:lnTo>
                <a:lnTo>
                  <a:pt x="572" y="384"/>
                </a:lnTo>
                <a:lnTo>
                  <a:pt x="563" y="376"/>
                </a:lnTo>
                <a:lnTo>
                  <a:pt x="545" y="361"/>
                </a:lnTo>
                <a:lnTo>
                  <a:pt x="533" y="347"/>
                </a:lnTo>
                <a:lnTo>
                  <a:pt x="524" y="336"/>
                </a:lnTo>
                <a:lnTo>
                  <a:pt x="521" y="332"/>
                </a:lnTo>
                <a:lnTo>
                  <a:pt x="520" y="328"/>
                </a:lnTo>
                <a:lnTo>
                  <a:pt x="518" y="326"/>
                </a:lnTo>
                <a:lnTo>
                  <a:pt x="515" y="325"/>
                </a:lnTo>
                <a:lnTo>
                  <a:pt x="512" y="324"/>
                </a:lnTo>
                <a:lnTo>
                  <a:pt x="509" y="323"/>
                </a:lnTo>
                <a:lnTo>
                  <a:pt x="506" y="323"/>
                </a:lnTo>
                <a:lnTo>
                  <a:pt x="504" y="324"/>
                </a:lnTo>
                <a:lnTo>
                  <a:pt x="501" y="325"/>
                </a:lnTo>
                <a:lnTo>
                  <a:pt x="498" y="327"/>
                </a:lnTo>
                <a:lnTo>
                  <a:pt x="496" y="329"/>
                </a:lnTo>
                <a:lnTo>
                  <a:pt x="495" y="332"/>
                </a:lnTo>
                <a:lnTo>
                  <a:pt x="494" y="335"/>
                </a:lnTo>
                <a:lnTo>
                  <a:pt x="493" y="338"/>
                </a:lnTo>
                <a:lnTo>
                  <a:pt x="493" y="340"/>
                </a:lnTo>
                <a:lnTo>
                  <a:pt x="494" y="343"/>
                </a:lnTo>
                <a:lnTo>
                  <a:pt x="495" y="347"/>
                </a:lnTo>
                <a:lnTo>
                  <a:pt x="499" y="352"/>
                </a:lnTo>
                <a:lnTo>
                  <a:pt x="508" y="364"/>
                </a:lnTo>
                <a:lnTo>
                  <a:pt x="515" y="372"/>
                </a:lnTo>
                <a:lnTo>
                  <a:pt x="523" y="381"/>
                </a:lnTo>
                <a:lnTo>
                  <a:pt x="533" y="389"/>
                </a:lnTo>
                <a:lnTo>
                  <a:pt x="543" y="399"/>
                </a:lnTo>
                <a:lnTo>
                  <a:pt x="555" y="409"/>
                </a:lnTo>
                <a:lnTo>
                  <a:pt x="568" y="417"/>
                </a:lnTo>
                <a:lnTo>
                  <a:pt x="583" y="426"/>
                </a:lnTo>
                <a:lnTo>
                  <a:pt x="600" y="433"/>
                </a:lnTo>
                <a:lnTo>
                  <a:pt x="617" y="440"/>
                </a:lnTo>
                <a:lnTo>
                  <a:pt x="637" y="444"/>
                </a:lnTo>
                <a:lnTo>
                  <a:pt x="646" y="446"/>
                </a:lnTo>
                <a:lnTo>
                  <a:pt x="657" y="447"/>
                </a:lnTo>
                <a:lnTo>
                  <a:pt x="668" y="448"/>
                </a:lnTo>
                <a:lnTo>
                  <a:pt x="680" y="448"/>
                </a:lnTo>
                <a:lnTo>
                  <a:pt x="690" y="448"/>
                </a:lnTo>
                <a:lnTo>
                  <a:pt x="702" y="447"/>
                </a:lnTo>
                <a:lnTo>
                  <a:pt x="713" y="446"/>
                </a:lnTo>
                <a:lnTo>
                  <a:pt x="725" y="444"/>
                </a:lnTo>
                <a:lnTo>
                  <a:pt x="735" y="442"/>
                </a:lnTo>
                <a:lnTo>
                  <a:pt x="746" y="439"/>
                </a:lnTo>
                <a:lnTo>
                  <a:pt x="756" y="435"/>
                </a:lnTo>
                <a:lnTo>
                  <a:pt x="767" y="431"/>
                </a:lnTo>
                <a:lnTo>
                  <a:pt x="786" y="422"/>
                </a:lnTo>
                <a:lnTo>
                  <a:pt x="804" y="410"/>
                </a:lnTo>
                <a:lnTo>
                  <a:pt x="821" y="397"/>
                </a:lnTo>
                <a:lnTo>
                  <a:pt x="837" y="383"/>
                </a:lnTo>
                <a:lnTo>
                  <a:pt x="852" y="367"/>
                </a:lnTo>
                <a:lnTo>
                  <a:pt x="865" y="350"/>
                </a:lnTo>
                <a:lnTo>
                  <a:pt x="876" y="332"/>
                </a:lnTo>
                <a:lnTo>
                  <a:pt x="886" y="311"/>
                </a:lnTo>
                <a:lnTo>
                  <a:pt x="890" y="302"/>
                </a:lnTo>
                <a:lnTo>
                  <a:pt x="893" y="291"/>
                </a:lnTo>
                <a:lnTo>
                  <a:pt x="896" y="280"/>
                </a:lnTo>
                <a:lnTo>
                  <a:pt x="898" y="269"/>
                </a:lnTo>
                <a:lnTo>
                  <a:pt x="901" y="259"/>
                </a:lnTo>
                <a:lnTo>
                  <a:pt x="902" y="247"/>
                </a:lnTo>
                <a:lnTo>
                  <a:pt x="903" y="236"/>
                </a:lnTo>
                <a:lnTo>
                  <a:pt x="903" y="224"/>
                </a:lnTo>
                <a:lnTo>
                  <a:pt x="903" y="212"/>
                </a:lnTo>
                <a:lnTo>
                  <a:pt x="902" y="202"/>
                </a:lnTo>
                <a:lnTo>
                  <a:pt x="901" y="190"/>
                </a:lnTo>
                <a:lnTo>
                  <a:pt x="898" y="179"/>
                </a:lnTo>
                <a:lnTo>
                  <a:pt x="896" y="169"/>
                </a:lnTo>
                <a:lnTo>
                  <a:pt x="893" y="158"/>
                </a:lnTo>
                <a:lnTo>
                  <a:pt x="890" y="147"/>
                </a:lnTo>
                <a:lnTo>
                  <a:pt x="886" y="137"/>
                </a:lnTo>
                <a:lnTo>
                  <a:pt x="876" y="118"/>
                </a:lnTo>
                <a:lnTo>
                  <a:pt x="865" y="99"/>
                </a:lnTo>
                <a:lnTo>
                  <a:pt x="852" y="82"/>
                </a:lnTo>
                <a:lnTo>
                  <a:pt x="837" y="66"/>
                </a:lnTo>
                <a:lnTo>
                  <a:pt x="821" y="52"/>
                </a:lnTo>
                <a:lnTo>
                  <a:pt x="804" y="39"/>
                </a:lnTo>
                <a:lnTo>
                  <a:pt x="786" y="27"/>
                </a:lnTo>
                <a:lnTo>
                  <a:pt x="767" y="17"/>
                </a:lnTo>
                <a:lnTo>
                  <a:pt x="756" y="14"/>
                </a:lnTo>
                <a:lnTo>
                  <a:pt x="746" y="10"/>
                </a:lnTo>
                <a:lnTo>
                  <a:pt x="735" y="8"/>
                </a:lnTo>
                <a:lnTo>
                  <a:pt x="725" y="4"/>
                </a:lnTo>
                <a:lnTo>
                  <a:pt x="713" y="2"/>
                </a:lnTo>
                <a:lnTo>
                  <a:pt x="702" y="1"/>
                </a:lnTo>
                <a:lnTo>
                  <a:pt x="690" y="0"/>
                </a:lnTo>
                <a:lnTo>
                  <a:pt x="680"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296" name="Group 50">
            <a:extLst>
              <a:ext uri="{FF2B5EF4-FFF2-40B4-BE49-F238E27FC236}">
                <a16:creationId xmlns:a16="http://schemas.microsoft.com/office/drawing/2014/main" id="{421FB49D-EF77-46AF-A2D2-DC5FCCC4E8EF}"/>
              </a:ext>
            </a:extLst>
          </p:cNvPr>
          <p:cNvGrpSpPr>
            <a:grpSpLocks noChangeAspect="1"/>
          </p:cNvGrpSpPr>
          <p:nvPr/>
        </p:nvGrpSpPr>
        <p:grpSpPr>
          <a:xfrm>
            <a:off x="614637" y="4940545"/>
            <a:ext cx="398924" cy="185136"/>
            <a:chOff x="1452563" y="838200"/>
            <a:chExt cx="287338" cy="133350"/>
          </a:xfrm>
          <a:solidFill>
            <a:schemeClr val="bg2"/>
          </a:solidFill>
          <a:effectLst/>
        </p:grpSpPr>
        <p:sp>
          <p:nvSpPr>
            <p:cNvPr id="297" name="Freeform 25">
              <a:extLst>
                <a:ext uri="{FF2B5EF4-FFF2-40B4-BE49-F238E27FC236}">
                  <a16:creationId xmlns:a16="http://schemas.microsoft.com/office/drawing/2014/main" id="{EE0A2B2C-C8E0-4443-9BDA-FFE7CD1DFBF3}"/>
                </a:ext>
              </a:extLst>
            </p:cNvPr>
            <p:cNvSpPr>
              <a:spLocks noEditPoints="1"/>
            </p:cNvSpPr>
            <p:nvPr/>
          </p:nvSpPr>
          <p:spPr bwMode="auto">
            <a:xfrm>
              <a:off x="1512888" y="838200"/>
              <a:ext cx="227013" cy="133350"/>
            </a:xfrm>
            <a:custGeom>
              <a:avLst/>
              <a:gdLst>
                <a:gd name="T0" fmla="*/ 575 w 715"/>
                <a:gd name="T1" fmla="*/ 343 h 421"/>
                <a:gd name="T2" fmla="*/ 564 w 715"/>
                <a:gd name="T3" fmla="*/ 363 h 421"/>
                <a:gd name="T4" fmla="*/ 548 w 715"/>
                <a:gd name="T5" fmla="*/ 378 h 421"/>
                <a:gd name="T6" fmla="*/ 529 w 715"/>
                <a:gd name="T7" fmla="*/ 387 h 421"/>
                <a:gd name="T8" fmla="*/ 509 w 715"/>
                <a:gd name="T9" fmla="*/ 391 h 421"/>
                <a:gd name="T10" fmla="*/ 48 w 715"/>
                <a:gd name="T11" fmla="*/ 390 h 421"/>
                <a:gd name="T12" fmla="*/ 38 w 715"/>
                <a:gd name="T13" fmla="*/ 387 h 421"/>
                <a:gd name="T14" fmla="*/ 31 w 715"/>
                <a:gd name="T15" fmla="*/ 378 h 421"/>
                <a:gd name="T16" fmla="*/ 31 w 715"/>
                <a:gd name="T17" fmla="*/ 364 h 421"/>
                <a:gd name="T18" fmla="*/ 139 w 715"/>
                <a:gd name="T19" fmla="*/ 89 h 421"/>
                <a:gd name="T20" fmla="*/ 151 w 715"/>
                <a:gd name="T21" fmla="*/ 66 h 421"/>
                <a:gd name="T22" fmla="*/ 164 w 715"/>
                <a:gd name="T23" fmla="*/ 46 h 421"/>
                <a:gd name="T24" fmla="*/ 181 w 715"/>
                <a:gd name="T25" fmla="*/ 34 h 421"/>
                <a:gd name="T26" fmla="*/ 192 w 715"/>
                <a:gd name="T27" fmla="*/ 31 h 421"/>
                <a:gd name="T28" fmla="*/ 203 w 715"/>
                <a:gd name="T29" fmla="*/ 30 h 421"/>
                <a:gd name="T30" fmla="*/ 664 w 715"/>
                <a:gd name="T31" fmla="*/ 31 h 421"/>
                <a:gd name="T32" fmla="*/ 677 w 715"/>
                <a:gd name="T33" fmla="*/ 37 h 421"/>
                <a:gd name="T34" fmla="*/ 683 w 715"/>
                <a:gd name="T35" fmla="*/ 44 h 421"/>
                <a:gd name="T36" fmla="*/ 685 w 715"/>
                <a:gd name="T37" fmla="*/ 53 h 421"/>
                <a:gd name="T38" fmla="*/ 684 w 715"/>
                <a:gd name="T39" fmla="*/ 68 h 421"/>
                <a:gd name="T40" fmla="*/ 706 w 715"/>
                <a:gd name="T41" fmla="*/ 24 h 421"/>
                <a:gd name="T42" fmla="*/ 699 w 715"/>
                <a:gd name="T43" fmla="*/ 15 h 421"/>
                <a:gd name="T44" fmla="*/ 688 w 715"/>
                <a:gd name="T45" fmla="*/ 8 h 421"/>
                <a:gd name="T46" fmla="*/ 673 w 715"/>
                <a:gd name="T47" fmla="*/ 2 h 421"/>
                <a:gd name="T48" fmla="*/ 654 w 715"/>
                <a:gd name="T49" fmla="*/ 0 h 421"/>
                <a:gd name="T50" fmla="*/ 192 w 715"/>
                <a:gd name="T51" fmla="*/ 1 h 421"/>
                <a:gd name="T52" fmla="*/ 173 w 715"/>
                <a:gd name="T53" fmla="*/ 5 h 421"/>
                <a:gd name="T54" fmla="*/ 158 w 715"/>
                <a:gd name="T55" fmla="*/ 13 h 421"/>
                <a:gd name="T56" fmla="*/ 144 w 715"/>
                <a:gd name="T57" fmla="*/ 25 h 421"/>
                <a:gd name="T58" fmla="*/ 129 w 715"/>
                <a:gd name="T59" fmla="*/ 43 h 421"/>
                <a:gd name="T60" fmla="*/ 116 w 715"/>
                <a:gd name="T61" fmla="*/ 68 h 421"/>
                <a:gd name="T62" fmla="*/ 5 w 715"/>
                <a:gd name="T63" fmla="*/ 343 h 421"/>
                <a:gd name="T64" fmla="*/ 1 w 715"/>
                <a:gd name="T65" fmla="*/ 359 h 421"/>
                <a:gd name="T66" fmla="*/ 0 w 715"/>
                <a:gd name="T67" fmla="*/ 373 h 421"/>
                <a:gd name="T68" fmla="*/ 3 w 715"/>
                <a:gd name="T69" fmla="*/ 387 h 421"/>
                <a:gd name="T70" fmla="*/ 9 w 715"/>
                <a:gd name="T71" fmla="*/ 400 h 421"/>
                <a:gd name="T72" fmla="*/ 17 w 715"/>
                <a:gd name="T73" fmla="*/ 409 h 421"/>
                <a:gd name="T74" fmla="*/ 28 w 715"/>
                <a:gd name="T75" fmla="*/ 416 h 421"/>
                <a:gd name="T76" fmla="*/ 40 w 715"/>
                <a:gd name="T77" fmla="*/ 420 h 421"/>
                <a:gd name="T78" fmla="*/ 54 w 715"/>
                <a:gd name="T79" fmla="*/ 421 h 421"/>
                <a:gd name="T80" fmla="*/ 516 w 715"/>
                <a:gd name="T81" fmla="*/ 421 h 421"/>
                <a:gd name="T82" fmla="*/ 531 w 715"/>
                <a:gd name="T83" fmla="*/ 418 h 421"/>
                <a:gd name="T84" fmla="*/ 551 w 715"/>
                <a:gd name="T85" fmla="*/ 410 h 421"/>
                <a:gd name="T86" fmla="*/ 577 w 715"/>
                <a:gd name="T87" fmla="*/ 393 h 421"/>
                <a:gd name="T88" fmla="*/ 592 w 715"/>
                <a:gd name="T89" fmla="*/ 375 h 421"/>
                <a:gd name="T90" fmla="*/ 599 w 715"/>
                <a:gd name="T91" fmla="*/ 361 h 421"/>
                <a:gd name="T92" fmla="*/ 709 w 715"/>
                <a:gd name="T93" fmla="*/ 89 h 421"/>
                <a:gd name="T94" fmla="*/ 714 w 715"/>
                <a:gd name="T95" fmla="*/ 72 h 421"/>
                <a:gd name="T96" fmla="*/ 715 w 715"/>
                <a:gd name="T97" fmla="*/ 54 h 421"/>
                <a:gd name="T98" fmla="*/ 713 w 715"/>
                <a:gd name="T99" fmla="*/ 38 h 421"/>
                <a:gd name="T100" fmla="*/ 706 w 715"/>
                <a:gd name="T101" fmla="*/ 2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5" h="421">
                  <a:moveTo>
                    <a:pt x="681" y="78"/>
                  </a:moveTo>
                  <a:lnTo>
                    <a:pt x="575" y="343"/>
                  </a:lnTo>
                  <a:lnTo>
                    <a:pt x="570" y="353"/>
                  </a:lnTo>
                  <a:lnTo>
                    <a:pt x="564" y="363"/>
                  </a:lnTo>
                  <a:lnTo>
                    <a:pt x="557" y="370"/>
                  </a:lnTo>
                  <a:lnTo>
                    <a:pt x="548" y="378"/>
                  </a:lnTo>
                  <a:lnTo>
                    <a:pt x="538" y="383"/>
                  </a:lnTo>
                  <a:lnTo>
                    <a:pt x="529" y="387"/>
                  </a:lnTo>
                  <a:lnTo>
                    <a:pt x="519" y="390"/>
                  </a:lnTo>
                  <a:lnTo>
                    <a:pt x="509" y="391"/>
                  </a:lnTo>
                  <a:lnTo>
                    <a:pt x="54" y="391"/>
                  </a:lnTo>
                  <a:lnTo>
                    <a:pt x="48" y="390"/>
                  </a:lnTo>
                  <a:lnTo>
                    <a:pt x="43" y="389"/>
                  </a:lnTo>
                  <a:lnTo>
                    <a:pt x="38" y="387"/>
                  </a:lnTo>
                  <a:lnTo>
                    <a:pt x="33" y="383"/>
                  </a:lnTo>
                  <a:lnTo>
                    <a:pt x="31" y="378"/>
                  </a:lnTo>
                  <a:lnTo>
                    <a:pt x="30" y="370"/>
                  </a:lnTo>
                  <a:lnTo>
                    <a:pt x="31" y="364"/>
                  </a:lnTo>
                  <a:lnTo>
                    <a:pt x="33" y="355"/>
                  </a:lnTo>
                  <a:lnTo>
                    <a:pt x="139" y="89"/>
                  </a:lnTo>
                  <a:lnTo>
                    <a:pt x="146" y="76"/>
                  </a:lnTo>
                  <a:lnTo>
                    <a:pt x="151" y="66"/>
                  </a:lnTo>
                  <a:lnTo>
                    <a:pt x="158" y="55"/>
                  </a:lnTo>
                  <a:lnTo>
                    <a:pt x="164" y="46"/>
                  </a:lnTo>
                  <a:lnTo>
                    <a:pt x="173" y="40"/>
                  </a:lnTo>
                  <a:lnTo>
                    <a:pt x="181" y="34"/>
                  </a:lnTo>
                  <a:lnTo>
                    <a:pt x="187" y="32"/>
                  </a:lnTo>
                  <a:lnTo>
                    <a:pt x="192" y="31"/>
                  </a:lnTo>
                  <a:lnTo>
                    <a:pt x="197" y="30"/>
                  </a:lnTo>
                  <a:lnTo>
                    <a:pt x="203" y="30"/>
                  </a:lnTo>
                  <a:lnTo>
                    <a:pt x="654" y="30"/>
                  </a:lnTo>
                  <a:lnTo>
                    <a:pt x="664" y="31"/>
                  </a:lnTo>
                  <a:lnTo>
                    <a:pt x="670" y="33"/>
                  </a:lnTo>
                  <a:lnTo>
                    <a:pt x="677" y="37"/>
                  </a:lnTo>
                  <a:lnTo>
                    <a:pt x="681" y="41"/>
                  </a:lnTo>
                  <a:lnTo>
                    <a:pt x="683" y="44"/>
                  </a:lnTo>
                  <a:lnTo>
                    <a:pt x="684" y="48"/>
                  </a:lnTo>
                  <a:lnTo>
                    <a:pt x="685" y="53"/>
                  </a:lnTo>
                  <a:lnTo>
                    <a:pt x="685" y="57"/>
                  </a:lnTo>
                  <a:lnTo>
                    <a:pt x="684" y="68"/>
                  </a:lnTo>
                  <a:lnTo>
                    <a:pt x="681" y="78"/>
                  </a:lnTo>
                  <a:close/>
                  <a:moveTo>
                    <a:pt x="706" y="24"/>
                  </a:moveTo>
                  <a:lnTo>
                    <a:pt x="702" y="19"/>
                  </a:lnTo>
                  <a:lnTo>
                    <a:pt x="699" y="15"/>
                  </a:lnTo>
                  <a:lnTo>
                    <a:pt x="694" y="12"/>
                  </a:lnTo>
                  <a:lnTo>
                    <a:pt x="688" y="8"/>
                  </a:lnTo>
                  <a:lnTo>
                    <a:pt x="682" y="4"/>
                  </a:lnTo>
                  <a:lnTo>
                    <a:pt x="673" y="2"/>
                  </a:lnTo>
                  <a:lnTo>
                    <a:pt x="665" y="1"/>
                  </a:lnTo>
                  <a:lnTo>
                    <a:pt x="654" y="0"/>
                  </a:lnTo>
                  <a:lnTo>
                    <a:pt x="203" y="0"/>
                  </a:lnTo>
                  <a:lnTo>
                    <a:pt x="192" y="1"/>
                  </a:lnTo>
                  <a:lnTo>
                    <a:pt x="182" y="2"/>
                  </a:lnTo>
                  <a:lnTo>
                    <a:pt x="173" y="5"/>
                  </a:lnTo>
                  <a:lnTo>
                    <a:pt x="165" y="9"/>
                  </a:lnTo>
                  <a:lnTo>
                    <a:pt x="158" y="13"/>
                  </a:lnTo>
                  <a:lnTo>
                    <a:pt x="150" y="18"/>
                  </a:lnTo>
                  <a:lnTo>
                    <a:pt x="144" y="25"/>
                  </a:lnTo>
                  <a:lnTo>
                    <a:pt x="138" y="30"/>
                  </a:lnTo>
                  <a:lnTo>
                    <a:pt x="129" y="43"/>
                  </a:lnTo>
                  <a:lnTo>
                    <a:pt x="122" y="56"/>
                  </a:lnTo>
                  <a:lnTo>
                    <a:pt x="116" y="68"/>
                  </a:lnTo>
                  <a:lnTo>
                    <a:pt x="112" y="78"/>
                  </a:lnTo>
                  <a:lnTo>
                    <a:pt x="5" y="343"/>
                  </a:lnTo>
                  <a:lnTo>
                    <a:pt x="3" y="352"/>
                  </a:lnTo>
                  <a:lnTo>
                    <a:pt x="1" y="359"/>
                  </a:lnTo>
                  <a:lnTo>
                    <a:pt x="0" y="367"/>
                  </a:lnTo>
                  <a:lnTo>
                    <a:pt x="0" y="373"/>
                  </a:lnTo>
                  <a:lnTo>
                    <a:pt x="1" y="381"/>
                  </a:lnTo>
                  <a:lnTo>
                    <a:pt x="3" y="387"/>
                  </a:lnTo>
                  <a:lnTo>
                    <a:pt x="5" y="394"/>
                  </a:lnTo>
                  <a:lnTo>
                    <a:pt x="9" y="400"/>
                  </a:lnTo>
                  <a:lnTo>
                    <a:pt x="13" y="404"/>
                  </a:lnTo>
                  <a:lnTo>
                    <a:pt x="17" y="409"/>
                  </a:lnTo>
                  <a:lnTo>
                    <a:pt x="23" y="413"/>
                  </a:lnTo>
                  <a:lnTo>
                    <a:pt x="28" y="416"/>
                  </a:lnTo>
                  <a:lnTo>
                    <a:pt x="33" y="418"/>
                  </a:lnTo>
                  <a:lnTo>
                    <a:pt x="40" y="420"/>
                  </a:lnTo>
                  <a:lnTo>
                    <a:pt x="47" y="421"/>
                  </a:lnTo>
                  <a:lnTo>
                    <a:pt x="54" y="421"/>
                  </a:lnTo>
                  <a:lnTo>
                    <a:pt x="509" y="421"/>
                  </a:lnTo>
                  <a:lnTo>
                    <a:pt x="516" y="421"/>
                  </a:lnTo>
                  <a:lnTo>
                    <a:pt x="523" y="420"/>
                  </a:lnTo>
                  <a:lnTo>
                    <a:pt x="531" y="418"/>
                  </a:lnTo>
                  <a:lnTo>
                    <a:pt x="537" y="416"/>
                  </a:lnTo>
                  <a:lnTo>
                    <a:pt x="551" y="410"/>
                  </a:lnTo>
                  <a:lnTo>
                    <a:pt x="564" y="402"/>
                  </a:lnTo>
                  <a:lnTo>
                    <a:pt x="577" y="393"/>
                  </a:lnTo>
                  <a:lnTo>
                    <a:pt x="588" y="381"/>
                  </a:lnTo>
                  <a:lnTo>
                    <a:pt x="592" y="375"/>
                  </a:lnTo>
                  <a:lnTo>
                    <a:pt x="596" y="369"/>
                  </a:lnTo>
                  <a:lnTo>
                    <a:pt x="599" y="361"/>
                  </a:lnTo>
                  <a:lnTo>
                    <a:pt x="603" y="355"/>
                  </a:lnTo>
                  <a:lnTo>
                    <a:pt x="709" y="89"/>
                  </a:lnTo>
                  <a:lnTo>
                    <a:pt x="712" y="81"/>
                  </a:lnTo>
                  <a:lnTo>
                    <a:pt x="714" y="72"/>
                  </a:lnTo>
                  <a:lnTo>
                    <a:pt x="715" y="62"/>
                  </a:lnTo>
                  <a:lnTo>
                    <a:pt x="715" y="54"/>
                  </a:lnTo>
                  <a:lnTo>
                    <a:pt x="714" y="46"/>
                  </a:lnTo>
                  <a:lnTo>
                    <a:pt x="713" y="38"/>
                  </a:lnTo>
                  <a:lnTo>
                    <a:pt x="710" y="31"/>
                  </a:lnTo>
                  <a:lnTo>
                    <a:pt x="70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6">
              <a:extLst>
                <a:ext uri="{FF2B5EF4-FFF2-40B4-BE49-F238E27FC236}">
                  <a16:creationId xmlns:a16="http://schemas.microsoft.com/office/drawing/2014/main" id="{DE6C60E6-ABCF-47F5-A183-7CDCFF415BDA}"/>
                </a:ext>
              </a:extLst>
            </p:cNvPr>
            <p:cNvSpPr>
              <a:spLocks/>
            </p:cNvSpPr>
            <p:nvPr/>
          </p:nvSpPr>
          <p:spPr bwMode="auto">
            <a:xfrm>
              <a:off x="1568450" y="866775"/>
              <a:ext cx="142875" cy="57150"/>
            </a:xfrm>
            <a:custGeom>
              <a:avLst/>
              <a:gdLst>
                <a:gd name="T0" fmla="*/ 425 w 447"/>
                <a:gd name="T1" fmla="*/ 1 h 181"/>
                <a:gd name="T2" fmla="*/ 166 w 447"/>
                <a:gd name="T3" fmla="*/ 148 h 181"/>
                <a:gd name="T4" fmla="*/ 26 w 447"/>
                <a:gd name="T5" fmla="*/ 4 h 181"/>
                <a:gd name="T6" fmla="*/ 24 w 447"/>
                <a:gd name="T7" fmla="*/ 2 h 181"/>
                <a:gd name="T8" fmla="*/ 22 w 447"/>
                <a:gd name="T9" fmla="*/ 1 h 181"/>
                <a:gd name="T10" fmla="*/ 18 w 447"/>
                <a:gd name="T11" fmla="*/ 0 h 181"/>
                <a:gd name="T12" fmla="*/ 15 w 447"/>
                <a:gd name="T13" fmla="*/ 0 h 181"/>
                <a:gd name="T14" fmla="*/ 13 w 447"/>
                <a:gd name="T15" fmla="*/ 0 h 181"/>
                <a:gd name="T16" fmla="*/ 10 w 447"/>
                <a:gd name="T17" fmla="*/ 1 h 181"/>
                <a:gd name="T18" fmla="*/ 8 w 447"/>
                <a:gd name="T19" fmla="*/ 2 h 181"/>
                <a:gd name="T20" fmla="*/ 4 w 447"/>
                <a:gd name="T21" fmla="*/ 4 h 181"/>
                <a:gd name="T22" fmla="*/ 2 w 447"/>
                <a:gd name="T23" fmla="*/ 6 h 181"/>
                <a:gd name="T24" fmla="*/ 1 w 447"/>
                <a:gd name="T25" fmla="*/ 9 h 181"/>
                <a:gd name="T26" fmla="*/ 0 w 447"/>
                <a:gd name="T27" fmla="*/ 12 h 181"/>
                <a:gd name="T28" fmla="*/ 0 w 447"/>
                <a:gd name="T29" fmla="*/ 15 h 181"/>
                <a:gd name="T30" fmla="*/ 0 w 447"/>
                <a:gd name="T31" fmla="*/ 17 h 181"/>
                <a:gd name="T32" fmla="*/ 1 w 447"/>
                <a:gd name="T33" fmla="*/ 20 h 181"/>
                <a:gd name="T34" fmla="*/ 2 w 447"/>
                <a:gd name="T35" fmla="*/ 23 h 181"/>
                <a:gd name="T36" fmla="*/ 4 w 447"/>
                <a:gd name="T37" fmla="*/ 26 h 181"/>
                <a:gd name="T38" fmla="*/ 152 w 447"/>
                <a:gd name="T39" fmla="*/ 177 h 181"/>
                <a:gd name="T40" fmla="*/ 154 w 447"/>
                <a:gd name="T41" fmla="*/ 179 h 181"/>
                <a:gd name="T42" fmla="*/ 158 w 447"/>
                <a:gd name="T43" fmla="*/ 180 h 181"/>
                <a:gd name="T44" fmla="*/ 160 w 447"/>
                <a:gd name="T45" fmla="*/ 181 h 181"/>
                <a:gd name="T46" fmla="*/ 163 w 447"/>
                <a:gd name="T47" fmla="*/ 181 h 181"/>
                <a:gd name="T48" fmla="*/ 167 w 447"/>
                <a:gd name="T49" fmla="*/ 181 h 181"/>
                <a:gd name="T50" fmla="*/ 171 w 447"/>
                <a:gd name="T51" fmla="*/ 179 h 181"/>
                <a:gd name="T52" fmla="*/ 440 w 447"/>
                <a:gd name="T53" fmla="*/ 28 h 181"/>
                <a:gd name="T54" fmla="*/ 443 w 447"/>
                <a:gd name="T55" fmla="*/ 26 h 181"/>
                <a:gd name="T56" fmla="*/ 444 w 447"/>
                <a:gd name="T57" fmla="*/ 24 h 181"/>
                <a:gd name="T58" fmla="*/ 446 w 447"/>
                <a:gd name="T59" fmla="*/ 21 h 181"/>
                <a:gd name="T60" fmla="*/ 447 w 447"/>
                <a:gd name="T61" fmla="*/ 18 h 181"/>
                <a:gd name="T62" fmla="*/ 447 w 447"/>
                <a:gd name="T63" fmla="*/ 16 h 181"/>
                <a:gd name="T64" fmla="*/ 447 w 447"/>
                <a:gd name="T65" fmla="*/ 13 h 181"/>
                <a:gd name="T66" fmla="*/ 447 w 447"/>
                <a:gd name="T67" fmla="*/ 10 h 181"/>
                <a:gd name="T68" fmla="*/ 446 w 447"/>
                <a:gd name="T69" fmla="*/ 8 h 181"/>
                <a:gd name="T70" fmla="*/ 444 w 447"/>
                <a:gd name="T71" fmla="*/ 4 h 181"/>
                <a:gd name="T72" fmla="*/ 442 w 447"/>
                <a:gd name="T73" fmla="*/ 3 h 181"/>
                <a:gd name="T74" fmla="*/ 440 w 447"/>
                <a:gd name="T75" fmla="*/ 1 h 181"/>
                <a:gd name="T76" fmla="*/ 436 w 447"/>
                <a:gd name="T77" fmla="*/ 0 h 181"/>
                <a:gd name="T78" fmla="*/ 433 w 447"/>
                <a:gd name="T79" fmla="*/ 0 h 181"/>
                <a:gd name="T80" fmla="*/ 431 w 447"/>
                <a:gd name="T81" fmla="*/ 0 h 181"/>
                <a:gd name="T82" fmla="*/ 428 w 447"/>
                <a:gd name="T83" fmla="*/ 0 h 181"/>
                <a:gd name="T84" fmla="*/ 425 w 447"/>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7" h="181">
                  <a:moveTo>
                    <a:pt x="425" y="1"/>
                  </a:moveTo>
                  <a:lnTo>
                    <a:pt x="166" y="148"/>
                  </a:lnTo>
                  <a:lnTo>
                    <a:pt x="26" y="4"/>
                  </a:lnTo>
                  <a:lnTo>
                    <a:pt x="24" y="2"/>
                  </a:lnTo>
                  <a:lnTo>
                    <a:pt x="22" y="1"/>
                  </a:lnTo>
                  <a:lnTo>
                    <a:pt x="18" y="0"/>
                  </a:lnTo>
                  <a:lnTo>
                    <a:pt x="15" y="0"/>
                  </a:lnTo>
                  <a:lnTo>
                    <a:pt x="13" y="0"/>
                  </a:lnTo>
                  <a:lnTo>
                    <a:pt x="10" y="1"/>
                  </a:lnTo>
                  <a:lnTo>
                    <a:pt x="8" y="2"/>
                  </a:lnTo>
                  <a:lnTo>
                    <a:pt x="4" y="4"/>
                  </a:lnTo>
                  <a:lnTo>
                    <a:pt x="2" y="6"/>
                  </a:lnTo>
                  <a:lnTo>
                    <a:pt x="1" y="9"/>
                  </a:lnTo>
                  <a:lnTo>
                    <a:pt x="0" y="12"/>
                  </a:lnTo>
                  <a:lnTo>
                    <a:pt x="0" y="15"/>
                  </a:lnTo>
                  <a:lnTo>
                    <a:pt x="0" y="17"/>
                  </a:lnTo>
                  <a:lnTo>
                    <a:pt x="1" y="20"/>
                  </a:lnTo>
                  <a:lnTo>
                    <a:pt x="2" y="23"/>
                  </a:lnTo>
                  <a:lnTo>
                    <a:pt x="4" y="26"/>
                  </a:lnTo>
                  <a:lnTo>
                    <a:pt x="152" y="177"/>
                  </a:lnTo>
                  <a:lnTo>
                    <a:pt x="154" y="179"/>
                  </a:lnTo>
                  <a:lnTo>
                    <a:pt x="158" y="180"/>
                  </a:lnTo>
                  <a:lnTo>
                    <a:pt x="160" y="181"/>
                  </a:lnTo>
                  <a:lnTo>
                    <a:pt x="163" y="181"/>
                  </a:lnTo>
                  <a:lnTo>
                    <a:pt x="167" y="181"/>
                  </a:lnTo>
                  <a:lnTo>
                    <a:pt x="171" y="179"/>
                  </a:lnTo>
                  <a:lnTo>
                    <a:pt x="440" y="28"/>
                  </a:lnTo>
                  <a:lnTo>
                    <a:pt x="443" y="26"/>
                  </a:lnTo>
                  <a:lnTo>
                    <a:pt x="444" y="24"/>
                  </a:lnTo>
                  <a:lnTo>
                    <a:pt x="446" y="21"/>
                  </a:lnTo>
                  <a:lnTo>
                    <a:pt x="447" y="18"/>
                  </a:lnTo>
                  <a:lnTo>
                    <a:pt x="447" y="16"/>
                  </a:lnTo>
                  <a:lnTo>
                    <a:pt x="447" y="13"/>
                  </a:lnTo>
                  <a:lnTo>
                    <a:pt x="447" y="10"/>
                  </a:lnTo>
                  <a:lnTo>
                    <a:pt x="446" y="8"/>
                  </a:lnTo>
                  <a:lnTo>
                    <a:pt x="444" y="4"/>
                  </a:lnTo>
                  <a:lnTo>
                    <a:pt x="442" y="3"/>
                  </a:lnTo>
                  <a:lnTo>
                    <a:pt x="440" y="1"/>
                  </a:lnTo>
                  <a:lnTo>
                    <a:pt x="436" y="0"/>
                  </a:lnTo>
                  <a:lnTo>
                    <a:pt x="433" y="0"/>
                  </a:lnTo>
                  <a:lnTo>
                    <a:pt x="431" y="0"/>
                  </a:lnTo>
                  <a:lnTo>
                    <a:pt x="428" y="0"/>
                  </a:lnTo>
                  <a:lnTo>
                    <a:pt x="42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7">
              <a:extLst>
                <a:ext uri="{FF2B5EF4-FFF2-40B4-BE49-F238E27FC236}">
                  <a16:creationId xmlns:a16="http://schemas.microsoft.com/office/drawing/2014/main" id="{5697A67C-96A7-429F-B5F0-17B8D0C36562}"/>
                </a:ext>
              </a:extLst>
            </p:cNvPr>
            <p:cNvSpPr>
              <a:spLocks/>
            </p:cNvSpPr>
            <p:nvPr/>
          </p:nvSpPr>
          <p:spPr bwMode="auto">
            <a:xfrm>
              <a:off x="1538288" y="914400"/>
              <a:ext cx="47625" cy="38100"/>
            </a:xfrm>
            <a:custGeom>
              <a:avLst/>
              <a:gdLst>
                <a:gd name="T0" fmla="*/ 126 w 150"/>
                <a:gd name="T1" fmla="*/ 3 h 120"/>
                <a:gd name="T2" fmla="*/ 6 w 150"/>
                <a:gd name="T3" fmla="*/ 93 h 120"/>
                <a:gd name="T4" fmla="*/ 4 w 150"/>
                <a:gd name="T5" fmla="*/ 95 h 120"/>
                <a:gd name="T6" fmla="*/ 2 w 150"/>
                <a:gd name="T7" fmla="*/ 98 h 120"/>
                <a:gd name="T8" fmla="*/ 1 w 150"/>
                <a:gd name="T9" fmla="*/ 100 h 120"/>
                <a:gd name="T10" fmla="*/ 0 w 150"/>
                <a:gd name="T11" fmla="*/ 103 h 120"/>
                <a:gd name="T12" fmla="*/ 0 w 150"/>
                <a:gd name="T13" fmla="*/ 105 h 120"/>
                <a:gd name="T14" fmla="*/ 0 w 150"/>
                <a:gd name="T15" fmla="*/ 109 h 120"/>
                <a:gd name="T16" fmla="*/ 1 w 150"/>
                <a:gd name="T17" fmla="*/ 112 h 120"/>
                <a:gd name="T18" fmla="*/ 3 w 150"/>
                <a:gd name="T19" fmla="*/ 114 h 120"/>
                <a:gd name="T20" fmla="*/ 5 w 150"/>
                <a:gd name="T21" fmla="*/ 117 h 120"/>
                <a:gd name="T22" fmla="*/ 8 w 150"/>
                <a:gd name="T23" fmla="*/ 118 h 120"/>
                <a:gd name="T24" fmla="*/ 11 w 150"/>
                <a:gd name="T25" fmla="*/ 119 h 120"/>
                <a:gd name="T26" fmla="*/ 15 w 150"/>
                <a:gd name="T27" fmla="*/ 120 h 120"/>
                <a:gd name="T28" fmla="*/ 19 w 150"/>
                <a:gd name="T29" fmla="*/ 119 h 120"/>
                <a:gd name="T30" fmla="*/ 23 w 150"/>
                <a:gd name="T31" fmla="*/ 117 h 120"/>
                <a:gd name="T32" fmla="*/ 144 w 150"/>
                <a:gd name="T33" fmla="*/ 27 h 120"/>
                <a:gd name="T34" fmla="*/ 146 w 150"/>
                <a:gd name="T35" fmla="*/ 25 h 120"/>
                <a:gd name="T36" fmla="*/ 148 w 150"/>
                <a:gd name="T37" fmla="*/ 23 h 120"/>
                <a:gd name="T38" fmla="*/ 150 w 150"/>
                <a:gd name="T39" fmla="*/ 20 h 120"/>
                <a:gd name="T40" fmla="*/ 150 w 150"/>
                <a:gd name="T41" fmla="*/ 18 h 120"/>
                <a:gd name="T42" fmla="*/ 150 w 150"/>
                <a:gd name="T43" fmla="*/ 14 h 120"/>
                <a:gd name="T44" fmla="*/ 150 w 150"/>
                <a:gd name="T45" fmla="*/ 11 h 120"/>
                <a:gd name="T46" fmla="*/ 149 w 150"/>
                <a:gd name="T47" fmla="*/ 9 h 120"/>
                <a:gd name="T48" fmla="*/ 148 w 150"/>
                <a:gd name="T49" fmla="*/ 6 h 120"/>
                <a:gd name="T50" fmla="*/ 145 w 150"/>
                <a:gd name="T51" fmla="*/ 4 h 120"/>
                <a:gd name="T52" fmla="*/ 142 w 150"/>
                <a:gd name="T53" fmla="*/ 1 h 120"/>
                <a:gd name="T54" fmla="*/ 140 w 150"/>
                <a:gd name="T55" fmla="*/ 0 h 120"/>
                <a:gd name="T56" fmla="*/ 137 w 150"/>
                <a:gd name="T57" fmla="*/ 0 h 120"/>
                <a:gd name="T58" fmla="*/ 135 w 150"/>
                <a:gd name="T59" fmla="*/ 0 h 120"/>
                <a:gd name="T60" fmla="*/ 131 w 150"/>
                <a:gd name="T61" fmla="*/ 0 h 120"/>
                <a:gd name="T62" fmla="*/ 128 w 150"/>
                <a:gd name="T63" fmla="*/ 1 h 120"/>
                <a:gd name="T64" fmla="*/ 126 w 150"/>
                <a:gd name="T65"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0" h="120">
                  <a:moveTo>
                    <a:pt x="126" y="3"/>
                  </a:moveTo>
                  <a:lnTo>
                    <a:pt x="6" y="93"/>
                  </a:lnTo>
                  <a:lnTo>
                    <a:pt x="4" y="95"/>
                  </a:lnTo>
                  <a:lnTo>
                    <a:pt x="2" y="98"/>
                  </a:lnTo>
                  <a:lnTo>
                    <a:pt x="1" y="100"/>
                  </a:lnTo>
                  <a:lnTo>
                    <a:pt x="0" y="103"/>
                  </a:lnTo>
                  <a:lnTo>
                    <a:pt x="0" y="105"/>
                  </a:lnTo>
                  <a:lnTo>
                    <a:pt x="0" y="109"/>
                  </a:lnTo>
                  <a:lnTo>
                    <a:pt x="1" y="112"/>
                  </a:lnTo>
                  <a:lnTo>
                    <a:pt x="3" y="114"/>
                  </a:lnTo>
                  <a:lnTo>
                    <a:pt x="5" y="117"/>
                  </a:lnTo>
                  <a:lnTo>
                    <a:pt x="8" y="118"/>
                  </a:lnTo>
                  <a:lnTo>
                    <a:pt x="11" y="119"/>
                  </a:lnTo>
                  <a:lnTo>
                    <a:pt x="15" y="120"/>
                  </a:lnTo>
                  <a:lnTo>
                    <a:pt x="19" y="119"/>
                  </a:lnTo>
                  <a:lnTo>
                    <a:pt x="23" y="117"/>
                  </a:lnTo>
                  <a:lnTo>
                    <a:pt x="144" y="27"/>
                  </a:lnTo>
                  <a:lnTo>
                    <a:pt x="146" y="25"/>
                  </a:lnTo>
                  <a:lnTo>
                    <a:pt x="148" y="23"/>
                  </a:lnTo>
                  <a:lnTo>
                    <a:pt x="150" y="20"/>
                  </a:lnTo>
                  <a:lnTo>
                    <a:pt x="150" y="18"/>
                  </a:lnTo>
                  <a:lnTo>
                    <a:pt x="150" y="14"/>
                  </a:lnTo>
                  <a:lnTo>
                    <a:pt x="150" y="11"/>
                  </a:lnTo>
                  <a:lnTo>
                    <a:pt x="149" y="9"/>
                  </a:lnTo>
                  <a:lnTo>
                    <a:pt x="148" y="6"/>
                  </a:lnTo>
                  <a:lnTo>
                    <a:pt x="145" y="4"/>
                  </a:lnTo>
                  <a:lnTo>
                    <a:pt x="142" y="1"/>
                  </a:lnTo>
                  <a:lnTo>
                    <a:pt x="140" y="0"/>
                  </a:lnTo>
                  <a:lnTo>
                    <a:pt x="137" y="0"/>
                  </a:lnTo>
                  <a:lnTo>
                    <a:pt x="135" y="0"/>
                  </a:lnTo>
                  <a:lnTo>
                    <a:pt x="131" y="0"/>
                  </a:lnTo>
                  <a:lnTo>
                    <a:pt x="128" y="1"/>
                  </a:lnTo>
                  <a:lnTo>
                    <a:pt x="1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8">
              <a:extLst>
                <a:ext uri="{FF2B5EF4-FFF2-40B4-BE49-F238E27FC236}">
                  <a16:creationId xmlns:a16="http://schemas.microsoft.com/office/drawing/2014/main" id="{F28D1636-AD94-433E-B221-737450E036EB}"/>
                </a:ext>
              </a:extLst>
            </p:cNvPr>
            <p:cNvSpPr>
              <a:spLocks/>
            </p:cNvSpPr>
            <p:nvPr/>
          </p:nvSpPr>
          <p:spPr bwMode="auto">
            <a:xfrm>
              <a:off x="1652588" y="914400"/>
              <a:ext cx="28575" cy="38100"/>
            </a:xfrm>
            <a:custGeom>
              <a:avLst/>
              <a:gdLst>
                <a:gd name="T0" fmla="*/ 27 w 90"/>
                <a:gd name="T1" fmla="*/ 8 h 121"/>
                <a:gd name="T2" fmla="*/ 26 w 90"/>
                <a:gd name="T3" fmla="*/ 5 h 121"/>
                <a:gd name="T4" fmla="*/ 24 w 90"/>
                <a:gd name="T5" fmla="*/ 4 h 121"/>
                <a:gd name="T6" fmla="*/ 20 w 90"/>
                <a:gd name="T7" fmla="*/ 2 h 121"/>
                <a:gd name="T8" fmla="*/ 18 w 90"/>
                <a:gd name="T9" fmla="*/ 1 h 121"/>
                <a:gd name="T10" fmla="*/ 15 w 90"/>
                <a:gd name="T11" fmla="*/ 0 h 121"/>
                <a:gd name="T12" fmla="*/ 12 w 90"/>
                <a:gd name="T13" fmla="*/ 1 h 121"/>
                <a:gd name="T14" fmla="*/ 10 w 90"/>
                <a:gd name="T15" fmla="*/ 2 h 121"/>
                <a:gd name="T16" fmla="*/ 6 w 90"/>
                <a:gd name="T17" fmla="*/ 4 h 121"/>
                <a:gd name="T18" fmla="*/ 4 w 90"/>
                <a:gd name="T19" fmla="*/ 6 h 121"/>
                <a:gd name="T20" fmla="*/ 2 w 90"/>
                <a:gd name="T21" fmla="*/ 8 h 121"/>
                <a:gd name="T22" fmla="*/ 1 w 90"/>
                <a:gd name="T23" fmla="*/ 10 h 121"/>
                <a:gd name="T24" fmla="*/ 0 w 90"/>
                <a:gd name="T25" fmla="*/ 13 h 121"/>
                <a:gd name="T26" fmla="*/ 0 w 90"/>
                <a:gd name="T27" fmla="*/ 15 h 121"/>
                <a:gd name="T28" fmla="*/ 0 w 90"/>
                <a:gd name="T29" fmla="*/ 19 h 121"/>
                <a:gd name="T30" fmla="*/ 1 w 90"/>
                <a:gd name="T31" fmla="*/ 22 h 121"/>
                <a:gd name="T32" fmla="*/ 2 w 90"/>
                <a:gd name="T33" fmla="*/ 24 h 121"/>
                <a:gd name="T34" fmla="*/ 62 w 90"/>
                <a:gd name="T35" fmla="*/ 114 h 121"/>
                <a:gd name="T36" fmla="*/ 65 w 90"/>
                <a:gd name="T37" fmla="*/ 117 h 121"/>
                <a:gd name="T38" fmla="*/ 67 w 90"/>
                <a:gd name="T39" fmla="*/ 119 h 121"/>
                <a:gd name="T40" fmla="*/ 72 w 90"/>
                <a:gd name="T41" fmla="*/ 120 h 121"/>
                <a:gd name="T42" fmla="*/ 75 w 90"/>
                <a:gd name="T43" fmla="*/ 121 h 121"/>
                <a:gd name="T44" fmla="*/ 79 w 90"/>
                <a:gd name="T45" fmla="*/ 120 h 121"/>
                <a:gd name="T46" fmla="*/ 84 w 90"/>
                <a:gd name="T47" fmla="*/ 118 h 121"/>
                <a:gd name="T48" fmla="*/ 86 w 90"/>
                <a:gd name="T49" fmla="*/ 117 h 121"/>
                <a:gd name="T50" fmla="*/ 88 w 90"/>
                <a:gd name="T51" fmla="*/ 114 h 121"/>
                <a:gd name="T52" fmla="*/ 89 w 90"/>
                <a:gd name="T53" fmla="*/ 112 h 121"/>
                <a:gd name="T54" fmla="*/ 90 w 90"/>
                <a:gd name="T55" fmla="*/ 109 h 121"/>
                <a:gd name="T56" fmla="*/ 90 w 90"/>
                <a:gd name="T57" fmla="*/ 106 h 121"/>
                <a:gd name="T58" fmla="*/ 90 w 90"/>
                <a:gd name="T59" fmla="*/ 103 h 121"/>
                <a:gd name="T60" fmla="*/ 89 w 90"/>
                <a:gd name="T61" fmla="*/ 100 h 121"/>
                <a:gd name="T62" fmla="*/ 88 w 90"/>
                <a:gd name="T63" fmla="*/ 98 h 121"/>
                <a:gd name="T64" fmla="*/ 27 w 90"/>
                <a:gd name="T65"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21">
                  <a:moveTo>
                    <a:pt x="27" y="8"/>
                  </a:moveTo>
                  <a:lnTo>
                    <a:pt x="26" y="5"/>
                  </a:lnTo>
                  <a:lnTo>
                    <a:pt x="24" y="4"/>
                  </a:lnTo>
                  <a:lnTo>
                    <a:pt x="20" y="2"/>
                  </a:lnTo>
                  <a:lnTo>
                    <a:pt x="18" y="1"/>
                  </a:lnTo>
                  <a:lnTo>
                    <a:pt x="15" y="0"/>
                  </a:lnTo>
                  <a:lnTo>
                    <a:pt x="12" y="1"/>
                  </a:lnTo>
                  <a:lnTo>
                    <a:pt x="10" y="2"/>
                  </a:lnTo>
                  <a:lnTo>
                    <a:pt x="6" y="4"/>
                  </a:lnTo>
                  <a:lnTo>
                    <a:pt x="4" y="6"/>
                  </a:lnTo>
                  <a:lnTo>
                    <a:pt x="2" y="8"/>
                  </a:lnTo>
                  <a:lnTo>
                    <a:pt x="1" y="10"/>
                  </a:lnTo>
                  <a:lnTo>
                    <a:pt x="0" y="13"/>
                  </a:lnTo>
                  <a:lnTo>
                    <a:pt x="0" y="15"/>
                  </a:lnTo>
                  <a:lnTo>
                    <a:pt x="0" y="19"/>
                  </a:lnTo>
                  <a:lnTo>
                    <a:pt x="1" y="22"/>
                  </a:lnTo>
                  <a:lnTo>
                    <a:pt x="2" y="24"/>
                  </a:lnTo>
                  <a:lnTo>
                    <a:pt x="62" y="114"/>
                  </a:lnTo>
                  <a:lnTo>
                    <a:pt x="65" y="117"/>
                  </a:lnTo>
                  <a:lnTo>
                    <a:pt x="67" y="119"/>
                  </a:lnTo>
                  <a:lnTo>
                    <a:pt x="72" y="120"/>
                  </a:lnTo>
                  <a:lnTo>
                    <a:pt x="75" y="121"/>
                  </a:lnTo>
                  <a:lnTo>
                    <a:pt x="79" y="120"/>
                  </a:lnTo>
                  <a:lnTo>
                    <a:pt x="84" y="118"/>
                  </a:lnTo>
                  <a:lnTo>
                    <a:pt x="86" y="117"/>
                  </a:lnTo>
                  <a:lnTo>
                    <a:pt x="88" y="114"/>
                  </a:lnTo>
                  <a:lnTo>
                    <a:pt x="89" y="112"/>
                  </a:lnTo>
                  <a:lnTo>
                    <a:pt x="90" y="109"/>
                  </a:lnTo>
                  <a:lnTo>
                    <a:pt x="90" y="106"/>
                  </a:lnTo>
                  <a:lnTo>
                    <a:pt x="90" y="103"/>
                  </a:lnTo>
                  <a:lnTo>
                    <a:pt x="89" y="100"/>
                  </a:lnTo>
                  <a:lnTo>
                    <a:pt x="88" y="98"/>
                  </a:lnTo>
                  <a:lnTo>
                    <a:pt x="2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9">
              <a:extLst>
                <a:ext uri="{FF2B5EF4-FFF2-40B4-BE49-F238E27FC236}">
                  <a16:creationId xmlns:a16="http://schemas.microsoft.com/office/drawing/2014/main" id="{22F375BF-A0EA-4B67-B8DB-FE24E55B4786}"/>
                </a:ext>
              </a:extLst>
            </p:cNvPr>
            <p:cNvSpPr>
              <a:spLocks/>
            </p:cNvSpPr>
            <p:nvPr/>
          </p:nvSpPr>
          <p:spPr bwMode="auto">
            <a:xfrm>
              <a:off x="1452563" y="838200"/>
              <a:ext cx="71438" cy="9525"/>
            </a:xfrm>
            <a:custGeom>
              <a:avLst/>
              <a:gdLst>
                <a:gd name="T0" fmla="*/ 15 w 227"/>
                <a:gd name="T1" fmla="*/ 30 h 30"/>
                <a:gd name="T2" fmla="*/ 212 w 227"/>
                <a:gd name="T3" fmla="*/ 30 h 30"/>
                <a:gd name="T4" fmla="*/ 215 w 227"/>
                <a:gd name="T5" fmla="*/ 30 h 30"/>
                <a:gd name="T6" fmla="*/ 217 w 227"/>
                <a:gd name="T7" fmla="*/ 29 h 30"/>
                <a:gd name="T8" fmla="*/ 220 w 227"/>
                <a:gd name="T9" fmla="*/ 28 h 30"/>
                <a:gd name="T10" fmla="*/ 222 w 227"/>
                <a:gd name="T11" fmla="*/ 26 h 30"/>
                <a:gd name="T12" fmla="*/ 223 w 227"/>
                <a:gd name="T13" fmla="*/ 24 h 30"/>
                <a:gd name="T14" fmla="*/ 226 w 227"/>
                <a:gd name="T15" fmla="*/ 20 h 30"/>
                <a:gd name="T16" fmla="*/ 227 w 227"/>
                <a:gd name="T17" fmla="*/ 18 h 30"/>
                <a:gd name="T18" fmla="*/ 227 w 227"/>
                <a:gd name="T19" fmla="*/ 15 h 30"/>
                <a:gd name="T20" fmla="*/ 227 w 227"/>
                <a:gd name="T21" fmla="*/ 12 h 30"/>
                <a:gd name="T22" fmla="*/ 226 w 227"/>
                <a:gd name="T23" fmla="*/ 10 h 30"/>
                <a:gd name="T24" fmla="*/ 224 w 227"/>
                <a:gd name="T25" fmla="*/ 7 h 30"/>
                <a:gd name="T26" fmla="*/ 222 w 227"/>
                <a:gd name="T27" fmla="*/ 4 h 30"/>
                <a:gd name="T28" fmla="*/ 220 w 227"/>
                <a:gd name="T29" fmla="*/ 2 h 30"/>
                <a:gd name="T30" fmla="*/ 217 w 227"/>
                <a:gd name="T31" fmla="*/ 1 h 30"/>
                <a:gd name="T32" fmla="*/ 215 w 227"/>
                <a:gd name="T33" fmla="*/ 0 h 30"/>
                <a:gd name="T34" fmla="*/ 212 w 227"/>
                <a:gd name="T35" fmla="*/ 0 h 30"/>
                <a:gd name="T36" fmla="*/ 15 w 227"/>
                <a:gd name="T37" fmla="*/ 0 h 30"/>
                <a:gd name="T38" fmla="*/ 13 w 227"/>
                <a:gd name="T39" fmla="*/ 0 h 30"/>
                <a:gd name="T40" fmla="*/ 10 w 227"/>
                <a:gd name="T41" fmla="*/ 1 h 30"/>
                <a:gd name="T42" fmla="*/ 8 w 227"/>
                <a:gd name="T43" fmla="*/ 2 h 30"/>
                <a:gd name="T44" fmla="*/ 6 w 227"/>
                <a:gd name="T45" fmla="*/ 4 h 30"/>
                <a:gd name="T46" fmla="*/ 4 w 227"/>
                <a:gd name="T47" fmla="*/ 7 h 30"/>
                <a:gd name="T48" fmla="*/ 2 w 227"/>
                <a:gd name="T49" fmla="*/ 10 h 30"/>
                <a:gd name="T50" fmla="*/ 1 w 227"/>
                <a:gd name="T51" fmla="*/ 12 h 30"/>
                <a:gd name="T52" fmla="*/ 0 w 227"/>
                <a:gd name="T53" fmla="*/ 15 h 30"/>
                <a:gd name="T54" fmla="*/ 1 w 227"/>
                <a:gd name="T55" fmla="*/ 18 h 30"/>
                <a:gd name="T56" fmla="*/ 2 w 227"/>
                <a:gd name="T57" fmla="*/ 20 h 30"/>
                <a:gd name="T58" fmla="*/ 4 w 227"/>
                <a:gd name="T59" fmla="*/ 24 h 30"/>
                <a:gd name="T60" fmla="*/ 6 w 227"/>
                <a:gd name="T61" fmla="*/ 26 h 30"/>
                <a:gd name="T62" fmla="*/ 8 w 227"/>
                <a:gd name="T63" fmla="*/ 28 h 30"/>
                <a:gd name="T64" fmla="*/ 10 w 227"/>
                <a:gd name="T65" fmla="*/ 29 h 30"/>
                <a:gd name="T66" fmla="*/ 13 w 227"/>
                <a:gd name="T67" fmla="*/ 30 h 30"/>
                <a:gd name="T68" fmla="*/ 15 w 227"/>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0">
                  <a:moveTo>
                    <a:pt x="15" y="30"/>
                  </a:moveTo>
                  <a:lnTo>
                    <a:pt x="212" y="30"/>
                  </a:lnTo>
                  <a:lnTo>
                    <a:pt x="215" y="30"/>
                  </a:lnTo>
                  <a:lnTo>
                    <a:pt x="217" y="29"/>
                  </a:lnTo>
                  <a:lnTo>
                    <a:pt x="220" y="28"/>
                  </a:lnTo>
                  <a:lnTo>
                    <a:pt x="222" y="26"/>
                  </a:lnTo>
                  <a:lnTo>
                    <a:pt x="223" y="24"/>
                  </a:lnTo>
                  <a:lnTo>
                    <a:pt x="226" y="20"/>
                  </a:lnTo>
                  <a:lnTo>
                    <a:pt x="227" y="18"/>
                  </a:lnTo>
                  <a:lnTo>
                    <a:pt x="227" y="15"/>
                  </a:lnTo>
                  <a:lnTo>
                    <a:pt x="227" y="12"/>
                  </a:lnTo>
                  <a:lnTo>
                    <a:pt x="226" y="10"/>
                  </a:lnTo>
                  <a:lnTo>
                    <a:pt x="224" y="7"/>
                  </a:lnTo>
                  <a:lnTo>
                    <a:pt x="222" y="4"/>
                  </a:lnTo>
                  <a:lnTo>
                    <a:pt x="220" y="2"/>
                  </a:lnTo>
                  <a:lnTo>
                    <a:pt x="217" y="1"/>
                  </a:lnTo>
                  <a:lnTo>
                    <a:pt x="215" y="0"/>
                  </a:lnTo>
                  <a:lnTo>
                    <a:pt x="212" y="0"/>
                  </a:lnTo>
                  <a:lnTo>
                    <a:pt x="15" y="0"/>
                  </a:lnTo>
                  <a:lnTo>
                    <a:pt x="13" y="0"/>
                  </a:lnTo>
                  <a:lnTo>
                    <a:pt x="10" y="1"/>
                  </a:lnTo>
                  <a:lnTo>
                    <a:pt x="8" y="2"/>
                  </a:lnTo>
                  <a:lnTo>
                    <a:pt x="6" y="4"/>
                  </a:lnTo>
                  <a:lnTo>
                    <a:pt x="4" y="7"/>
                  </a:lnTo>
                  <a:lnTo>
                    <a:pt x="2" y="10"/>
                  </a:lnTo>
                  <a:lnTo>
                    <a:pt x="1" y="12"/>
                  </a:lnTo>
                  <a:lnTo>
                    <a:pt x="0" y="15"/>
                  </a:lnTo>
                  <a:lnTo>
                    <a:pt x="1" y="18"/>
                  </a:lnTo>
                  <a:lnTo>
                    <a:pt x="2" y="20"/>
                  </a:lnTo>
                  <a:lnTo>
                    <a:pt x="4" y="24"/>
                  </a:lnTo>
                  <a:lnTo>
                    <a:pt x="6" y="26"/>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0">
              <a:extLst>
                <a:ext uri="{FF2B5EF4-FFF2-40B4-BE49-F238E27FC236}">
                  <a16:creationId xmlns:a16="http://schemas.microsoft.com/office/drawing/2014/main" id="{6670BD2B-3F4A-498C-8DDA-76F5C0C45F7B}"/>
                </a:ext>
              </a:extLst>
            </p:cNvPr>
            <p:cNvSpPr>
              <a:spLocks/>
            </p:cNvSpPr>
            <p:nvPr/>
          </p:nvSpPr>
          <p:spPr bwMode="auto">
            <a:xfrm>
              <a:off x="1452563" y="952500"/>
              <a:ext cx="33338" cy="9525"/>
            </a:xfrm>
            <a:custGeom>
              <a:avLst/>
              <a:gdLst>
                <a:gd name="T0" fmla="*/ 91 w 106"/>
                <a:gd name="T1" fmla="*/ 0 h 30"/>
                <a:gd name="T2" fmla="*/ 15 w 106"/>
                <a:gd name="T3" fmla="*/ 0 h 30"/>
                <a:gd name="T4" fmla="*/ 13 w 106"/>
                <a:gd name="T5" fmla="*/ 0 h 30"/>
                <a:gd name="T6" fmla="*/ 10 w 106"/>
                <a:gd name="T7" fmla="*/ 2 h 30"/>
                <a:gd name="T8" fmla="*/ 8 w 106"/>
                <a:gd name="T9" fmla="*/ 3 h 30"/>
                <a:gd name="T10" fmla="*/ 6 w 106"/>
                <a:gd name="T11" fmla="*/ 5 h 30"/>
                <a:gd name="T12" fmla="*/ 4 w 106"/>
                <a:gd name="T13" fmla="*/ 7 h 30"/>
                <a:gd name="T14" fmla="*/ 2 w 106"/>
                <a:gd name="T15" fmla="*/ 9 h 30"/>
                <a:gd name="T16" fmla="*/ 1 w 106"/>
                <a:gd name="T17" fmla="*/ 12 h 30"/>
                <a:gd name="T18" fmla="*/ 0 w 106"/>
                <a:gd name="T19" fmla="*/ 15 h 30"/>
                <a:gd name="T20" fmla="*/ 1 w 106"/>
                <a:gd name="T21" fmla="*/ 19 h 30"/>
                <a:gd name="T22" fmla="*/ 2 w 106"/>
                <a:gd name="T23" fmla="*/ 21 h 30"/>
                <a:gd name="T24" fmla="*/ 4 w 106"/>
                <a:gd name="T25" fmla="*/ 24 h 30"/>
                <a:gd name="T26" fmla="*/ 6 w 106"/>
                <a:gd name="T27" fmla="*/ 26 h 30"/>
                <a:gd name="T28" fmla="*/ 8 w 106"/>
                <a:gd name="T29" fmla="*/ 27 h 30"/>
                <a:gd name="T30" fmla="*/ 10 w 106"/>
                <a:gd name="T31" fmla="*/ 29 h 30"/>
                <a:gd name="T32" fmla="*/ 13 w 106"/>
                <a:gd name="T33" fmla="*/ 30 h 30"/>
                <a:gd name="T34" fmla="*/ 15 w 106"/>
                <a:gd name="T35" fmla="*/ 30 h 30"/>
                <a:gd name="T36" fmla="*/ 91 w 106"/>
                <a:gd name="T37" fmla="*/ 30 h 30"/>
                <a:gd name="T38" fmla="*/ 94 w 106"/>
                <a:gd name="T39" fmla="*/ 30 h 30"/>
                <a:gd name="T40" fmla="*/ 97 w 106"/>
                <a:gd name="T41" fmla="*/ 29 h 30"/>
                <a:gd name="T42" fmla="*/ 99 w 106"/>
                <a:gd name="T43" fmla="*/ 27 h 30"/>
                <a:gd name="T44" fmla="*/ 102 w 106"/>
                <a:gd name="T45" fmla="*/ 26 h 30"/>
                <a:gd name="T46" fmla="*/ 103 w 106"/>
                <a:gd name="T47" fmla="*/ 24 h 30"/>
                <a:gd name="T48" fmla="*/ 105 w 106"/>
                <a:gd name="T49" fmla="*/ 21 h 30"/>
                <a:gd name="T50" fmla="*/ 105 w 106"/>
                <a:gd name="T51" fmla="*/ 19 h 30"/>
                <a:gd name="T52" fmla="*/ 106 w 106"/>
                <a:gd name="T53" fmla="*/ 15 h 30"/>
                <a:gd name="T54" fmla="*/ 105 w 106"/>
                <a:gd name="T55" fmla="*/ 12 h 30"/>
                <a:gd name="T56" fmla="*/ 105 w 106"/>
                <a:gd name="T57" fmla="*/ 9 h 30"/>
                <a:gd name="T58" fmla="*/ 103 w 106"/>
                <a:gd name="T59" fmla="*/ 7 h 30"/>
                <a:gd name="T60" fmla="*/ 102 w 106"/>
                <a:gd name="T61" fmla="*/ 5 h 30"/>
                <a:gd name="T62" fmla="*/ 99 w 106"/>
                <a:gd name="T63" fmla="*/ 3 h 30"/>
                <a:gd name="T64" fmla="*/ 97 w 106"/>
                <a:gd name="T65" fmla="*/ 2 h 30"/>
                <a:gd name="T66" fmla="*/ 94 w 106"/>
                <a:gd name="T67" fmla="*/ 0 h 30"/>
                <a:gd name="T68" fmla="*/ 91 w 106"/>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30">
                  <a:moveTo>
                    <a:pt x="91" y="0"/>
                  </a:moveTo>
                  <a:lnTo>
                    <a:pt x="15" y="0"/>
                  </a:lnTo>
                  <a:lnTo>
                    <a:pt x="13" y="0"/>
                  </a:lnTo>
                  <a:lnTo>
                    <a:pt x="10" y="2"/>
                  </a:lnTo>
                  <a:lnTo>
                    <a:pt x="8" y="3"/>
                  </a:lnTo>
                  <a:lnTo>
                    <a:pt x="6" y="5"/>
                  </a:lnTo>
                  <a:lnTo>
                    <a:pt x="4" y="7"/>
                  </a:lnTo>
                  <a:lnTo>
                    <a:pt x="2" y="9"/>
                  </a:lnTo>
                  <a:lnTo>
                    <a:pt x="1" y="12"/>
                  </a:lnTo>
                  <a:lnTo>
                    <a:pt x="0" y="15"/>
                  </a:lnTo>
                  <a:lnTo>
                    <a:pt x="1" y="19"/>
                  </a:lnTo>
                  <a:lnTo>
                    <a:pt x="2" y="21"/>
                  </a:lnTo>
                  <a:lnTo>
                    <a:pt x="4" y="24"/>
                  </a:lnTo>
                  <a:lnTo>
                    <a:pt x="6" y="26"/>
                  </a:lnTo>
                  <a:lnTo>
                    <a:pt x="8" y="27"/>
                  </a:lnTo>
                  <a:lnTo>
                    <a:pt x="10" y="29"/>
                  </a:lnTo>
                  <a:lnTo>
                    <a:pt x="13" y="30"/>
                  </a:lnTo>
                  <a:lnTo>
                    <a:pt x="15" y="30"/>
                  </a:lnTo>
                  <a:lnTo>
                    <a:pt x="91" y="30"/>
                  </a:lnTo>
                  <a:lnTo>
                    <a:pt x="94" y="30"/>
                  </a:lnTo>
                  <a:lnTo>
                    <a:pt x="97" y="29"/>
                  </a:lnTo>
                  <a:lnTo>
                    <a:pt x="99" y="27"/>
                  </a:lnTo>
                  <a:lnTo>
                    <a:pt x="102" y="26"/>
                  </a:lnTo>
                  <a:lnTo>
                    <a:pt x="103" y="24"/>
                  </a:lnTo>
                  <a:lnTo>
                    <a:pt x="105" y="21"/>
                  </a:lnTo>
                  <a:lnTo>
                    <a:pt x="105" y="19"/>
                  </a:lnTo>
                  <a:lnTo>
                    <a:pt x="106" y="15"/>
                  </a:lnTo>
                  <a:lnTo>
                    <a:pt x="105" y="12"/>
                  </a:lnTo>
                  <a:lnTo>
                    <a:pt x="105" y="9"/>
                  </a:lnTo>
                  <a:lnTo>
                    <a:pt x="103" y="7"/>
                  </a:lnTo>
                  <a:lnTo>
                    <a:pt x="102" y="5"/>
                  </a:lnTo>
                  <a:lnTo>
                    <a:pt x="99" y="3"/>
                  </a:lnTo>
                  <a:lnTo>
                    <a:pt x="97" y="2"/>
                  </a:lnTo>
                  <a:lnTo>
                    <a:pt x="94"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1">
              <a:extLst>
                <a:ext uri="{FF2B5EF4-FFF2-40B4-BE49-F238E27FC236}">
                  <a16:creationId xmlns:a16="http://schemas.microsoft.com/office/drawing/2014/main" id="{6D3B7B67-CC3F-40E6-9D6D-9B840B6FE81D}"/>
                </a:ext>
              </a:extLst>
            </p:cNvPr>
            <p:cNvSpPr>
              <a:spLocks/>
            </p:cNvSpPr>
            <p:nvPr/>
          </p:nvSpPr>
          <p:spPr bwMode="auto">
            <a:xfrm>
              <a:off x="1452563" y="895350"/>
              <a:ext cx="46038" cy="9525"/>
            </a:xfrm>
            <a:custGeom>
              <a:avLst/>
              <a:gdLst>
                <a:gd name="T0" fmla="*/ 130 w 145"/>
                <a:gd name="T1" fmla="*/ 0 h 30"/>
                <a:gd name="T2" fmla="*/ 15 w 145"/>
                <a:gd name="T3" fmla="*/ 0 h 30"/>
                <a:gd name="T4" fmla="*/ 13 w 145"/>
                <a:gd name="T5" fmla="*/ 1 h 30"/>
                <a:gd name="T6" fmla="*/ 10 w 145"/>
                <a:gd name="T7" fmla="*/ 1 h 30"/>
                <a:gd name="T8" fmla="*/ 8 w 145"/>
                <a:gd name="T9" fmla="*/ 3 h 30"/>
                <a:gd name="T10" fmla="*/ 6 w 145"/>
                <a:gd name="T11" fmla="*/ 5 h 30"/>
                <a:gd name="T12" fmla="*/ 4 w 145"/>
                <a:gd name="T13" fmla="*/ 8 h 30"/>
                <a:gd name="T14" fmla="*/ 2 w 145"/>
                <a:gd name="T15" fmla="*/ 10 h 30"/>
                <a:gd name="T16" fmla="*/ 1 w 145"/>
                <a:gd name="T17" fmla="*/ 13 h 30"/>
                <a:gd name="T18" fmla="*/ 0 w 145"/>
                <a:gd name="T19" fmla="*/ 15 h 30"/>
                <a:gd name="T20" fmla="*/ 1 w 145"/>
                <a:gd name="T21" fmla="*/ 18 h 30"/>
                <a:gd name="T22" fmla="*/ 2 w 145"/>
                <a:gd name="T23" fmla="*/ 22 h 30"/>
                <a:gd name="T24" fmla="*/ 4 w 145"/>
                <a:gd name="T25" fmla="*/ 24 h 30"/>
                <a:gd name="T26" fmla="*/ 6 w 145"/>
                <a:gd name="T27" fmla="*/ 26 h 30"/>
                <a:gd name="T28" fmla="*/ 8 w 145"/>
                <a:gd name="T29" fmla="*/ 28 h 30"/>
                <a:gd name="T30" fmla="*/ 10 w 145"/>
                <a:gd name="T31" fmla="*/ 29 h 30"/>
                <a:gd name="T32" fmla="*/ 13 w 145"/>
                <a:gd name="T33" fmla="*/ 30 h 30"/>
                <a:gd name="T34" fmla="*/ 15 w 145"/>
                <a:gd name="T35" fmla="*/ 30 h 30"/>
                <a:gd name="T36" fmla="*/ 130 w 145"/>
                <a:gd name="T37" fmla="*/ 30 h 30"/>
                <a:gd name="T38" fmla="*/ 132 w 145"/>
                <a:gd name="T39" fmla="*/ 30 h 30"/>
                <a:gd name="T40" fmla="*/ 135 w 145"/>
                <a:gd name="T41" fmla="*/ 29 h 30"/>
                <a:gd name="T42" fmla="*/ 138 w 145"/>
                <a:gd name="T43" fmla="*/ 28 h 30"/>
                <a:gd name="T44" fmla="*/ 141 w 145"/>
                <a:gd name="T45" fmla="*/ 26 h 30"/>
                <a:gd name="T46" fmla="*/ 142 w 145"/>
                <a:gd name="T47" fmla="*/ 24 h 30"/>
                <a:gd name="T48" fmla="*/ 144 w 145"/>
                <a:gd name="T49" fmla="*/ 22 h 30"/>
                <a:gd name="T50" fmla="*/ 144 w 145"/>
                <a:gd name="T51" fmla="*/ 18 h 30"/>
                <a:gd name="T52" fmla="*/ 145 w 145"/>
                <a:gd name="T53" fmla="*/ 15 h 30"/>
                <a:gd name="T54" fmla="*/ 144 w 145"/>
                <a:gd name="T55" fmla="*/ 13 h 30"/>
                <a:gd name="T56" fmla="*/ 144 w 145"/>
                <a:gd name="T57" fmla="*/ 10 h 30"/>
                <a:gd name="T58" fmla="*/ 142 w 145"/>
                <a:gd name="T59" fmla="*/ 8 h 30"/>
                <a:gd name="T60" fmla="*/ 141 w 145"/>
                <a:gd name="T61" fmla="*/ 5 h 30"/>
                <a:gd name="T62" fmla="*/ 138 w 145"/>
                <a:gd name="T63" fmla="*/ 3 h 30"/>
                <a:gd name="T64" fmla="*/ 135 w 145"/>
                <a:gd name="T65" fmla="*/ 1 h 30"/>
                <a:gd name="T66" fmla="*/ 132 w 145"/>
                <a:gd name="T67" fmla="*/ 1 h 30"/>
                <a:gd name="T68" fmla="*/ 130 w 145"/>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30">
                  <a:moveTo>
                    <a:pt x="130" y="0"/>
                  </a:moveTo>
                  <a:lnTo>
                    <a:pt x="15" y="0"/>
                  </a:lnTo>
                  <a:lnTo>
                    <a:pt x="13" y="1"/>
                  </a:lnTo>
                  <a:lnTo>
                    <a:pt x="10" y="1"/>
                  </a:lnTo>
                  <a:lnTo>
                    <a:pt x="8" y="3"/>
                  </a:lnTo>
                  <a:lnTo>
                    <a:pt x="6" y="5"/>
                  </a:lnTo>
                  <a:lnTo>
                    <a:pt x="4" y="8"/>
                  </a:lnTo>
                  <a:lnTo>
                    <a:pt x="2" y="10"/>
                  </a:lnTo>
                  <a:lnTo>
                    <a:pt x="1" y="13"/>
                  </a:lnTo>
                  <a:lnTo>
                    <a:pt x="0" y="15"/>
                  </a:lnTo>
                  <a:lnTo>
                    <a:pt x="1" y="18"/>
                  </a:lnTo>
                  <a:lnTo>
                    <a:pt x="2" y="22"/>
                  </a:lnTo>
                  <a:lnTo>
                    <a:pt x="4" y="24"/>
                  </a:lnTo>
                  <a:lnTo>
                    <a:pt x="6" y="26"/>
                  </a:lnTo>
                  <a:lnTo>
                    <a:pt x="8" y="28"/>
                  </a:lnTo>
                  <a:lnTo>
                    <a:pt x="10" y="29"/>
                  </a:lnTo>
                  <a:lnTo>
                    <a:pt x="13" y="30"/>
                  </a:lnTo>
                  <a:lnTo>
                    <a:pt x="15" y="30"/>
                  </a:lnTo>
                  <a:lnTo>
                    <a:pt x="130" y="30"/>
                  </a:lnTo>
                  <a:lnTo>
                    <a:pt x="132" y="30"/>
                  </a:lnTo>
                  <a:lnTo>
                    <a:pt x="135" y="29"/>
                  </a:lnTo>
                  <a:lnTo>
                    <a:pt x="138" y="28"/>
                  </a:lnTo>
                  <a:lnTo>
                    <a:pt x="141" y="26"/>
                  </a:lnTo>
                  <a:lnTo>
                    <a:pt x="142" y="24"/>
                  </a:lnTo>
                  <a:lnTo>
                    <a:pt x="144" y="22"/>
                  </a:lnTo>
                  <a:lnTo>
                    <a:pt x="144" y="18"/>
                  </a:lnTo>
                  <a:lnTo>
                    <a:pt x="145" y="15"/>
                  </a:lnTo>
                  <a:lnTo>
                    <a:pt x="144" y="13"/>
                  </a:lnTo>
                  <a:lnTo>
                    <a:pt x="144" y="10"/>
                  </a:lnTo>
                  <a:lnTo>
                    <a:pt x="142" y="8"/>
                  </a:lnTo>
                  <a:lnTo>
                    <a:pt x="141" y="5"/>
                  </a:lnTo>
                  <a:lnTo>
                    <a:pt x="138" y="3"/>
                  </a:lnTo>
                  <a:lnTo>
                    <a:pt x="135" y="1"/>
                  </a:lnTo>
                  <a:lnTo>
                    <a:pt x="132" y="1"/>
                  </a:ln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6" name="Freeform 32">
            <a:extLst>
              <a:ext uri="{FF2B5EF4-FFF2-40B4-BE49-F238E27FC236}">
                <a16:creationId xmlns:a16="http://schemas.microsoft.com/office/drawing/2014/main" id="{183498E1-D877-401E-999F-1AA97A130E8B}"/>
              </a:ext>
            </a:extLst>
          </p:cNvPr>
          <p:cNvSpPr>
            <a:spLocks noChangeAspect="1" noEditPoints="1"/>
          </p:cNvSpPr>
          <p:nvPr/>
        </p:nvSpPr>
        <p:spPr bwMode="auto">
          <a:xfrm>
            <a:off x="1081444" y="4939307"/>
            <a:ext cx="275708" cy="187611"/>
          </a:xfrm>
          <a:custGeom>
            <a:avLst/>
            <a:gdLst>
              <a:gd name="T0" fmla="*/ 811 w 842"/>
              <a:gd name="T1" fmla="*/ 493 h 571"/>
              <a:gd name="T2" fmla="*/ 805 w 842"/>
              <a:gd name="T3" fmla="*/ 510 h 571"/>
              <a:gd name="T4" fmla="*/ 795 w 842"/>
              <a:gd name="T5" fmla="*/ 524 h 571"/>
              <a:gd name="T6" fmla="*/ 781 w 842"/>
              <a:gd name="T7" fmla="*/ 534 h 571"/>
              <a:gd name="T8" fmla="*/ 764 w 842"/>
              <a:gd name="T9" fmla="*/ 540 h 571"/>
              <a:gd name="T10" fmla="*/ 88 w 842"/>
              <a:gd name="T11" fmla="*/ 541 h 571"/>
              <a:gd name="T12" fmla="*/ 70 w 842"/>
              <a:gd name="T13" fmla="*/ 539 h 571"/>
              <a:gd name="T14" fmla="*/ 54 w 842"/>
              <a:gd name="T15" fmla="*/ 531 h 571"/>
              <a:gd name="T16" fmla="*/ 43 w 842"/>
              <a:gd name="T17" fmla="*/ 520 h 571"/>
              <a:gd name="T18" fmla="*/ 34 w 842"/>
              <a:gd name="T19" fmla="*/ 505 h 571"/>
              <a:gd name="T20" fmla="*/ 31 w 842"/>
              <a:gd name="T21" fmla="*/ 488 h 571"/>
              <a:gd name="T22" fmla="*/ 31 w 842"/>
              <a:gd name="T23" fmla="*/ 80 h 571"/>
              <a:gd name="T24" fmla="*/ 38 w 842"/>
              <a:gd name="T25" fmla="*/ 58 h 571"/>
              <a:gd name="T26" fmla="*/ 436 w 842"/>
              <a:gd name="T27" fmla="*/ 346 h 571"/>
              <a:gd name="T28" fmla="*/ 805 w 842"/>
              <a:gd name="T29" fmla="*/ 58 h 571"/>
              <a:gd name="T30" fmla="*/ 812 w 842"/>
              <a:gd name="T31" fmla="*/ 81 h 571"/>
              <a:gd name="T32" fmla="*/ 752 w 842"/>
              <a:gd name="T33" fmla="*/ 30 h 571"/>
              <a:gd name="T34" fmla="*/ 776 w 842"/>
              <a:gd name="T35" fmla="*/ 34 h 571"/>
              <a:gd name="T36" fmla="*/ 61 w 842"/>
              <a:gd name="T37" fmla="*/ 36 h 571"/>
              <a:gd name="T38" fmla="*/ 82 w 842"/>
              <a:gd name="T39" fmla="*/ 30 h 571"/>
              <a:gd name="T40" fmla="*/ 752 w 842"/>
              <a:gd name="T41" fmla="*/ 0 h 571"/>
              <a:gd name="T42" fmla="*/ 72 w 842"/>
              <a:gd name="T43" fmla="*/ 1 h 571"/>
              <a:gd name="T44" fmla="*/ 46 w 842"/>
              <a:gd name="T45" fmla="*/ 9 h 571"/>
              <a:gd name="T46" fmla="*/ 25 w 842"/>
              <a:gd name="T47" fmla="*/ 24 h 571"/>
              <a:gd name="T48" fmla="*/ 10 w 842"/>
              <a:gd name="T49" fmla="*/ 46 h 571"/>
              <a:gd name="T50" fmla="*/ 2 w 842"/>
              <a:gd name="T51" fmla="*/ 70 h 571"/>
              <a:gd name="T52" fmla="*/ 0 w 842"/>
              <a:gd name="T53" fmla="*/ 481 h 571"/>
              <a:gd name="T54" fmla="*/ 4 w 842"/>
              <a:gd name="T55" fmla="*/ 508 h 571"/>
              <a:gd name="T56" fmla="*/ 15 w 842"/>
              <a:gd name="T57" fmla="*/ 533 h 571"/>
              <a:gd name="T58" fmla="*/ 31 w 842"/>
              <a:gd name="T59" fmla="*/ 551 h 571"/>
              <a:gd name="T60" fmla="*/ 53 w 842"/>
              <a:gd name="T61" fmla="*/ 565 h 571"/>
              <a:gd name="T62" fmla="*/ 78 w 842"/>
              <a:gd name="T63" fmla="*/ 571 h 571"/>
              <a:gd name="T64" fmla="*/ 762 w 842"/>
              <a:gd name="T65" fmla="*/ 571 h 571"/>
              <a:gd name="T66" fmla="*/ 788 w 842"/>
              <a:gd name="T67" fmla="*/ 564 h 571"/>
              <a:gd name="T68" fmla="*/ 809 w 842"/>
              <a:gd name="T69" fmla="*/ 551 h 571"/>
              <a:gd name="T70" fmla="*/ 827 w 842"/>
              <a:gd name="T71" fmla="*/ 531 h 571"/>
              <a:gd name="T72" fmla="*/ 838 w 842"/>
              <a:gd name="T73" fmla="*/ 508 h 571"/>
              <a:gd name="T74" fmla="*/ 842 w 842"/>
              <a:gd name="T75" fmla="*/ 481 h 571"/>
              <a:gd name="T76" fmla="*/ 841 w 842"/>
              <a:gd name="T77" fmla="*/ 70 h 571"/>
              <a:gd name="T78" fmla="*/ 833 w 842"/>
              <a:gd name="T79" fmla="*/ 46 h 571"/>
              <a:gd name="T80" fmla="*/ 818 w 842"/>
              <a:gd name="T81" fmla="*/ 24 h 571"/>
              <a:gd name="T82" fmla="*/ 796 w 842"/>
              <a:gd name="T83" fmla="*/ 9 h 571"/>
              <a:gd name="T84" fmla="*/ 772 w 842"/>
              <a:gd name="T85" fmla="*/ 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2" h="571">
                <a:moveTo>
                  <a:pt x="812" y="481"/>
                </a:moveTo>
                <a:lnTo>
                  <a:pt x="812" y="488"/>
                </a:lnTo>
                <a:lnTo>
                  <a:pt x="811" y="493"/>
                </a:lnTo>
                <a:lnTo>
                  <a:pt x="810" y="499"/>
                </a:lnTo>
                <a:lnTo>
                  <a:pt x="808" y="505"/>
                </a:lnTo>
                <a:lnTo>
                  <a:pt x="805" y="510"/>
                </a:lnTo>
                <a:lnTo>
                  <a:pt x="803" y="514"/>
                </a:lnTo>
                <a:lnTo>
                  <a:pt x="798" y="520"/>
                </a:lnTo>
                <a:lnTo>
                  <a:pt x="795" y="524"/>
                </a:lnTo>
                <a:lnTo>
                  <a:pt x="791" y="527"/>
                </a:lnTo>
                <a:lnTo>
                  <a:pt x="787" y="531"/>
                </a:lnTo>
                <a:lnTo>
                  <a:pt x="781" y="534"/>
                </a:lnTo>
                <a:lnTo>
                  <a:pt x="776" y="537"/>
                </a:lnTo>
                <a:lnTo>
                  <a:pt x="771" y="538"/>
                </a:lnTo>
                <a:lnTo>
                  <a:pt x="764" y="540"/>
                </a:lnTo>
                <a:lnTo>
                  <a:pt x="759" y="541"/>
                </a:lnTo>
                <a:lnTo>
                  <a:pt x="752" y="541"/>
                </a:lnTo>
                <a:lnTo>
                  <a:pt x="88" y="541"/>
                </a:lnTo>
                <a:lnTo>
                  <a:pt x="81" y="541"/>
                </a:lnTo>
                <a:lnTo>
                  <a:pt x="76" y="540"/>
                </a:lnTo>
                <a:lnTo>
                  <a:pt x="70" y="539"/>
                </a:lnTo>
                <a:lnTo>
                  <a:pt x="65" y="537"/>
                </a:lnTo>
                <a:lnTo>
                  <a:pt x="60" y="535"/>
                </a:lnTo>
                <a:lnTo>
                  <a:pt x="54" y="531"/>
                </a:lnTo>
                <a:lnTo>
                  <a:pt x="50" y="528"/>
                </a:lnTo>
                <a:lnTo>
                  <a:pt x="47" y="524"/>
                </a:lnTo>
                <a:lnTo>
                  <a:pt x="43" y="520"/>
                </a:lnTo>
                <a:lnTo>
                  <a:pt x="39" y="515"/>
                </a:lnTo>
                <a:lnTo>
                  <a:pt x="37" y="510"/>
                </a:lnTo>
                <a:lnTo>
                  <a:pt x="34" y="505"/>
                </a:lnTo>
                <a:lnTo>
                  <a:pt x="33" y="499"/>
                </a:lnTo>
                <a:lnTo>
                  <a:pt x="31" y="494"/>
                </a:lnTo>
                <a:lnTo>
                  <a:pt x="31" y="488"/>
                </a:lnTo>
                <a:lnTo>
                  <a:pt x="30" y="481"/>
                </a:lnTo>
                <a:lnTo>
                  <a:pt x="30" y="90"/>
                </a:lnTo>
                <a:lnTo>
                  <a:pt x="31" y="80"/>
                </a:lnTo>
                <a:lnTo>
                  <a:pt x="32" y="72"/>
                </a:lnTo>
                <a:lnTo>
                  <a:pt x="35" y="64"/>
                </a:lnTo>
                <a:lnTo>
                  <a:pt x="38" y="58"/>
                </a:lnTo>
                <a:lnTo>
                  <a:pt x="427" y="343"/>
                </a:lnTo>
                <a:lnTo>
                  <a:pt x="432" y="345"/>
                </a:lnTo>
                <a:lnTo>
                  <a:pt x="436" y="346"/>
                </a:lnTo>
                <a:lnTo>
                  <a:pt x="441" y="345"/>
                </a:lnTo>
                <a:lnTo>
                  <a:pt x="446" y="342"/>
                </a:lnTo>
                <a:lnTo>
                  <a:pt x="805" y="58"/>
                </a:lnTo>
                <a:lnTo>
                  <a:pt x="808" y="65"/>
                </a:lnTo>
                <a:lnTo>
                  <a:pt x="810" y="73"/>
                </a:lnTo>
                <a:lnTo>
                  <a:pt x="812" y="81"/>
                </a:lnTo>
                <a:lnTo>
                  <a:pt x="812" y="90"/>
                </a:lnTo>
                <a:lnTo>
                  <a:pt x="812" y="481"/>
                </a:lnTo>
                <a:close/>
                <a:moveTo>
                  <a:pt x="752" y="30"/>
                </a:moveTo>
                <a:lnTo>
                  <a:pt x="761" y="30"/>
                </a:lnTo>
                <a:lnTo>
                  <a:pt x="768" y="32"/>
                </a:lnTo>
                <a:lnTo>
                  <a:pt x="776" y="34"/>
                </a:lnTo>
                <a:lnTo>
                  <a:pt x="782" y="36"/>
                </a:lnTo>
                <a:lnTo>
                  <a:pt x="436" y="312"/>
                </a:lnTo>
                <a:lnTo>
                  <a:pt x="61" y="36"/>
                </a:lnTo>
                <a:lnTo>
                  <a:pt x="67" y="33"/>
                </a:lnTo>
                <a:lnTo>
                  <a:pt x="75" y="31"/>
                </a:lnTo>
                <a:lnTo>
                  <a:pt x="82" y="30"/>
                </a:lnTo>
                <a:lnTo>
                  <a:pt x="91" y="30"/>
                </a:lnTo>
                <a:lnTo>
                  <a:pt x="752" y="30"/>
                </a:lnTo>
                <a:close/>
                <a:moveTo>
                  <a:pt x="752" y="0"/>
                </a:moveTo>
                <a:lnTo>
                  <a:pt x="91" y="0"/>
                </a:lnTo>
                <a:lnTo>
                  <a:pt x="80" y="0"/>
                </a:lnTo>
                <a:lnTo>
                  <a:pt x="72" y="1"/>
                </a:lnTo>
                <a:lnTo>
                  <a:pt x="62" y="3"/>
                </a:lnTo>
                <a:lnTo>
                  <a:pt x="53" y="6"/>
                </a:lnTo>
                <a:lnTo>
                  <a:pt x="46" y="9"/>
                </a:lnTo>
                <a:lnTo>
                  <a:pt x="38" y="14"/>
                </a:lnTo>
                <a:lnTo>
                  <a:pt x="32" y="19"/>
                </a:lnTo>
                <a:lnTo>
                  <a:pt x="25" y="24"/>
                </a:lnTo>
                <a:lnTo>
                  <a:pt x="20" y="31"/>
                </a:lnTo>
                <a:lnTo>
                  <a:pt x="15" y="38"/>
                </a:lnTo>
                <a:lnTo>
                  <a:pt x="10" y="46"/>
                </a:lnTo>
                <a:lnTo>
                  <a:pt x="7" y="53"/>
                </a:lnTo>
                <a:lnTo>
                  <a:pt x="4" y="62"/>
                </a:lnTo>
                <a:lnTo>
                  <a:pt x="2" y="70"/>
                </a:lnTo>
                <a:lnTo>
                  <a:pt x="1" y="80"/>
                </a:lnTo>
                <a:lnTo>
                  <a:pt x="0" y="90"/>
                </a:lnTo>
                <a:lnTo>
                  <a:pt x="0" y="481"/>
                </a:lnTo>
                <a:lnTo>
                  <a:pt x="1" y="491"/>
                </a:lnTo>
                <a:lnTo>
                  <a:pt x="2" y="499"/>
                </a:lnTo>
                <a:lnTo>
                  <a:pt x="4" y="508"/>
                </a:lnTo>
                <a:lnTo>
                  <a:pt x="7" y="516"/>
                </a:lnTo>
                <a:lnTo>
                  <a:pt x="10" y="525"/>
                </a:lnTo>
                <a:lnTo>
                  <a:pt x="15" y="533"/>
                </a:lnTo>
                <a:lnTo>
                  <a:pt x="20" y="539"/>
                </a:lnTo>
                <a:lnTo>
                  <a:pt x="25" y="545"/>
                </a:lnTo>
                <a:lnTo>
                  <a:pt x="31" y="551"/>
                </a:lnTo>
                <a:lnTo>
                  <a:pt x="38" y="556"/>
                </a:lnTo>
                <a:lnTo>
                  <a:pt x="45" y="560"/>
                </a:lnTo>
                <a:lnTo>
                  <a:pt x="53" y="565"/>
                </a:lnTo>
                <a:lnTo>
                  <a:pt x="61" y="567"/>
                </a:lnTo>
                <a:lnTo>
                  <a:pt x="69" y="569"/>
                </a:lnTo>
                <a:lnTo>
                  <a:pt x="78" y="571"/>
                </a:lnTo>
                <a:lnTo>
                  <a:pt x="88" y="571"/>
                </a:lnTo>
                <a:lnTo>
                  <a:pt x="752" y="571"/>
                </a:lnTo>
                <a:lnTo>
                  <a:pt x="762" y="571"/>
                </a:lnTo>
                <a:lnTo>
                  <a:pt x="771" y="569"/>
                </a:lnTo>
                <a:lnTo>
                  <a:pt x="779" y="567"/>
                </a:lnTo>
                <a:lnTo>
                  <a:pt x="788" y="564"/>
                </a:lnTo>
                <a:lnTo>
                  <a:pt x="795" y="560"/>
                </a:lnTo>
                <a:lnTo>
                  <a:pt x="803" y="556"/>
                </a:lnTo>
                <a:lnTo>
                  <a:pt x="809" y="551"/>
                </a:lnTo>
                <a:lnTo>
                  <a:pt x="816" y="544"/>
                </a:lnTo>
                <a:lnTo>
                  <a:pt x="822" y="538"/>
                </a:lnTo>
                <a:lnTo>
                  <a:pt x="827" y="531"/>
                </a:lnTo>
                <a:lnTo>
                  <a:pt x="832" y="524"/>
                </a:lnTo>
                <a:lnTo>
                  <a:pt x="836" y="516"/>
                </a:lnTo>
                <a:lnTo>
                  <a:pt x="838" y="508"/>
                </a:lnTo>
                <a:lnTo>
                  <a:pt x="840" y="499"/>
                </a:lnTo>
                <a:lnTo>
                  <a:pt x="842" y="490"/>
                </a:lnTo>
                <a:lnTo>
                  <a:pt x="842" y="481"/>
                </a:lnTo>
                <a:lnTo>
                  <a:pt x="842" y="90"/>
                </a:lnTo>
                <a:lnTo>
                  <a:pt x="842" y="80"/>
                </a:lnTo>
                <a:lnTo>
                  <a:pt x="841" y="70"/>
                </a:lnTo>
                <a:lnTo>
                  <a:pt x="839" y="62"/>
                </a:lnTo>
                <a:lnTo>
                  <a:pt x="836" y="53"/>
                </a:lnTo>
                <a:lnTo>
                  <a:pt x="833" y="46"/>
                </a:lnTo>
                <a:lnTo>
                  <a:pt x="828" y="38"/>
                </a:lnTo>
                <a:lnTo>
                  <a:pt x="823" y="31"/>
                </a:lnTo>
                <a:lnTo>
                  <a:pt x="818" y="24"/>
                </a:lnTo>
                <a:lnTo>
                  <a:pt x="811" y="19"/>
                </a:lnTo>
                <a:lnTo>
                  <a:pt x="804" y="14"/>
                </a:lnTo>
                <a:lnTo>
                  <a:pt x="796" y="9"/>
                </a:lnTo>
                <a:lnTo>
                  <a:pt x="789" y="6"/>
                </a:lnTo>
                <a:lnTo>
                  <a:pt x="780" y="3"/>
                </a:lnTo>
                <a:lnTo>
                  <a:pt x="772" y="1"/>
                </a:lnTo>
                <a:lnTo>
                  <a:pt x="762" y="0"/>
                </a:lnTo>
                <a:lnTo>
                  <a:pt x="752"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401" name="Group 85">
            <a:extLst>
              <a:ext uri="{FF2B5EF4-FFF2-40B4-BE49-F238E27FC236}">
                <a16:creationId xmlns:a16="http://schemas.microsoft.com/office/drawing/2014/main" id="{69B2650E-A4A6-42D1-83F2-B6E5DF39135C}"/>
              </a:ext>
            </a:extLst>
          </p:cNvPr>
          <p:cNvGrpSpPr>
            <a:grpSpLocks noChangeAspect="1"/>
          </p:cNvGrpSpPr>
          <p:nvPr/>
        </p:nvGrpSpPr>
        <p:grpSpPr>
          <a:xfrm>
            <a:off x="1467579" y="4879041"/>
            <a:ext cx="308144" cy="308144"/>
            <a:chOff x="4891088" y="2490788"/>
            <a:chExt cx="287338" cy="287338"/>
          </a:xfrm>
          <a:solidFill>
            <a:schemeClr val="bg2"/>
          </a:solidFill>
          <a:effectLst/>
        </p:grpSpPr>
        <p:sp>
          <p:nvSpPr>
            <p:cNvPr id="402" name="Freeform 14">
              <a:extLst>
                <a:ext uri="{FF2B5EF4-FFF2-40B4-BE49-F238E27FC236}">
                  <a16:creationId xmlns:a16="http://schemas.microsoft.com/office/drawing/2014/main" id="{28E67CDB-F4CC-4E96-B074-D8FB18B4D9EC}"/>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3" name="Freeform 15">
              <a:extLst>
                <a:ext uri="{FF2B5EF4-FFF2-40B4-BE49-F238E27FC236}">
                  <a16:creationId xmlns:a16="http://schemas.microsoft.com/office/drawing/2014/main" id="{EAB558BC-68EB-4E88-AAF5-371B67847032}"/>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4" name="Freeform 16">
              <a:extLst>
                <a:ext uri="{FF2B5EF4-FFF2-40B4-BE49-F238E27FC236}">
                  <a16:creationId xmlns:a16="http://schemas.microsoft.com/office/drawing/2014/main" id="{DDFD1824-3939-4256-8E4F-DAB20A029141}"/>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5" name="Freeform 17">
              <a:extLst>
                <a:ext uri="{FF2B5EF4-FFF2-40B4-BE49-F238E27FC236}">
                  <a16:creationId xmlns:a16="http://schemas.microsoft.com/office/drawing/2014/main" id="{3BB215C2-F46D-4C51-B04D-BB01A30C45DA}"/>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6" name="Freeform 18">
              <a:extLst>
                <a:ext uri="{FF2B5EF4-FFF2-40B4-BE49-F238E27FC236}">
                  <a16:creationId xmlns:a16="http://schemas.microsoft.com/office/drawing/2014/main" id="{C450286F-4FF2-480A-8DF8-009B612BE259}"/>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7" name="Freeform 19">
              <a:extLst>
                <a:ext uri="{FF2B5EF4-FFF2-40B4-BE49-F238E27FC236}">
                  <a16:creationId xmlns:a16="http://schemas.microsoft.com/office/drawing/2014/main" id="{5697689A-9F03-4B45-95E7-777667ECDDDA}"/>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830" name="Group 34">
            <a:extLst>
              <a:ext uri="{FF2B5EF4-FFF2-40B4-BE49-F238E27FC236}">
                <a16:creationId xmlns:a16="http://schemas.microsoft.com/office/drawing/2014/main" id="{79876AF9-1AB0-4BA7-B27A-5DC53CDBC20E}"/>
              </a:ext>
            </a:extLst>
          </p:cNvPr>
          <p:cNvGrpSpPr>
            <a:grpSpLocks noChangeAspect="1"/>
          </p:cNvGrpSpPr>
          <p:nvPr/>
        </p:nvGrpSpPr>
        <p:grpSpPr>
          <a:xfrm>
            <a:off x="1862148" y="4879041"/>
            <a:ext cx="349099" cy="308144"/>
            <a:chOff x="4318000" y="1955800"/>
            <a:chExt cx="284163" cy="250826"/>
          </a:xfrm>
          <a:solidFill>
            <a:schemeClr val="bg2"/>
          </a:solidFill>
        </p:grpSpPr>
        <p:sp>
          <p:nvSpPr>
            <p:cNvPr id="831" name="Freeform 85">
              <a:extLst>
                <a:ext uri="{FF2B5EF4-FFF2-40B4-BE49-F238E27FC236}">
                  <a16:creationId xmlns:a16="http://schemas.microsoft.com/office/drawing/2014/main" id="{ADFD4000-B1AC-467B-9066-5D16632E9815}"/>
                </a:ext>
              </a:extLst>
            </p:cNvPr>
            <p:cNvSpPr>
              <a:spLocks noEditPoints="1"/>
            </p:cNvSpPr>
            <p:nvPr/>
          </p:nvSpPr>
          <p:spPr bwMode="auto">
            <a:xfrm>
              <a:off x="4318000" y="1955800"/>
              <a:ext cx="258763" cy="173038"/>
            </a:xfrm>
            <a:custGeom>
              <a:avLst/>
              <a:gdLst>
                <a:gd name="T0" fmla="*/ 55 w 813"/>
                <a:gd name="T1" fmla="*/ 30 h 542"/>
                <a:gd name="T2" fmla="*/ 61 w 813"/>
                <a:gd name="T3" fmla="*/ 30 h 542"/>
                <a:gd name="T4" fmla="*/ 756 w 813"/>
                <a:gd name="T5" fmla="*/ 30 h 542"/>
                <a:gd name="T6" fmla="*/ 414 w 813"/>
                <a:gd name="T7" fmla="*/ 311 h 542"/>
                <a:gd name="T8" fmla="*/ 783 w 813"/>
                <a:gd name="T9" fmla="*/ 240 h 542"/>
                <a:gd name="T10" fmla="*/ 784 w 813"/>
                <a:gd name="T11" fmla="*/ 246 h 542"/>
                <a:gd name="T12" fmla="*/ 787 w 813"/>
                <a:gd name="T13" fmla="*/ 251 h 542"/>
                <a:gd name="T14" fmla="*/ 792 w 813"/>
                <a:gd name="T15" fmla="*/ 254 h 542"/>
                <a:gd name="T16" fmla="*/ 798 w 813"/>
                <a:gd name="T17" fmla="*/ 255 h 542"/>
                <a:gd name="T18" fmla="*/ 804 w 813"/>
                <a:gd name="T19" fmla="*/ 254 h 542"/>
                <a:gd name="T20" fmla="*/ 809 w 813"/>
                <a:gd name="T21" fmla="*/ 251 h 542"/>
                <a:gd name="T22" fmla="*/ 812 w 813"/>
                <a:gd name="T23" fmla="*/ 247 h 542"/>
                <a:gd name="T24" fmla="*/ 813 w 813"/>
                <a:gd name="T25" fmla="*/ 240 h 542"/>
                <a:gd name="T26" fmla="*/ 813 w 813"/>
                <a:gd name="T27" fmla="*/ 67 h 542"/>
                <a:gd name="T28" fmla="*/ 811 w 813"/>
                <a:gd name="T29" fmla="*/ 52 h 542"/>
                <a:gd name="T30" fmla="*/ 806 w 813"/>
                <a:gd name="T31" fmla="*/ 38 h 542"/>
                <a:gd name="T32" fmla="*/ 800 w 813"/>
                <a:gd name="T33" fmla="*/ 26 h 542"/>
                <a:gd name="T34" fmla="*/ 792 w 813"/>
                <a:gd name="T35" fmla="*/ 16 h 542"/>
                <a:gd name="T36" fmla="*/ 783 w 813"/>
                <a:gd name="T37" fmla="*/ 8 h 542"/>
                <a:gd name="T38" fmla="*/ 772 w 813"/>
                <a:gd name="T39" fmla="*/ 2 h 542"/>
                <a:gd name="T40" fmla="*/ 759 w 813"/>
                <a:gd name="T41" fmla="*/ 0 h 542"/>
                <a:gd name="T42" fmla="*/ 61 w 813"/>
                <a:gd name="T43" fmla="*/ 0 h 542"/>
                <a:gd name="T44" fmla="*/ 48 w 813"/>
                <a:gd name="T45" fmla="*/ 1 h 542"/>
                <a:gd name="T46" fmla="*/ 37 w 813"/>
                <a:gd name="T47" fmla="*/ 6 h 542"/>
                <a:gd name="T48" fmla="*/ 26 w 813"/>
                <a:gd name="T49" fmla="*/ 12 h 542"/>
                <a:gd name="T50" fmla="*/ 17 w 813"/>
                <a:gd name="T51" fmla="*/ 21 h 542"/>
                <a:gd name="T52" fmla="*/ 10 w 813"/>
                <a:gd name="T53" fmla="*/ 31 h 542"/>
                <a:gd name="T54" fmla="*/ 5 w 813"/>
                <a:gd name="T55" fmla="*/ 44 h 542"/>
                <a:gd name="T56" fmla="*/ 1 w 813"/>
                <a:gd name="T57" fmla="*/ 59 h 542"/>
                <a:gd name="T58" fmla="*/ 0 w 813"/>
                <a:gd name="T59" fmla="*/ 75 h 542"/>
                <a:gd name="T60" fmla="*/ 1 w 813"/>
                <a:gd name="T61" fmla="*/ 474 h 542"/>
                <a:gd name="T62" fmla="*/ 3 w 813"/>
                <a:gd name="T63" fmla="*/ 490 h 542"/>
                <a:gd name="T64" fmla="*/ 8 w 813"/>
                <a:gd name="T65" fmla="*/ 503 h 542"/>
                <a:gd name="T66" fmla="*/ 13 w 813"/>
                <a:gd name="T67" fmla="*/ 516 h 542"/>
                <a:gd name="T68" fmla="*/ 22 w 813"/>
                <a:gd name="T69" fmla="*/ 526 h 542"/>
                <a:gd name="T70" fmla="*/ 31 w 813"/>
                <a:gd name="T71" fmla="*/ 533 h 542"/>
                <a:gd name="T72" fmla="*/ 42 w 813"/>
                <a:gd name="T73" fmla="*/ 538 h 542"/>
                <a:gd name="T74" fmla="*/ 54 w 813"/>
                <a:gd name="T75" fmla="*/ 541 h 542"/>
                <a:gd name="T76" fmla="*/ 376 w 813"/>
                <a:gd name="T77" fmla="*/ 542 h 542"/>
                <a:gd name="T78" fmla="*/ 383 w 813"/>
                <a:gd name="T79" fmla="*/ 541 h 542"/>
                <a:gd name="T80" fmla="*/ 387 w 813"/>
                <a:gd name="T81" fmla="*/ 537 h 542"/>
                <a:gd name="T82" fmla="*/ 390 w 813"/>
                <a:gd name="T83" fmla="*/ 532 h 542"/>
                <a:gd name="T84" fmla="*/ 391 w 813"/>
                <a:gd name="T85" fmla="*/ 527 h 542"/>
                <a:gd name="T86" fmla="*/ 390 w 813"/>
                <a:gd name="T87" fmla="*/ 520 h 542"/>
                <a:gd name="T88" fmla="*/ 387 w 813"/>
                <a:gd name="T89" fmla="*/ 516 h 542"/>
                <a:gd name="T90" fmla="*/ 383 w 813"/>
                <a:gd name="T91" fmla="*/ 513 h 542"/>
                <a:gd name="T92" fmla="*/ 376 w 813"/>
                <a:gd name="T93" fmla="*/ 512 h 542"/>
                <a:gd name="T94" fmla="*/ 56 w 813"/>
                <a:gd name="T95" fmla="*/ 511 h 542"/>
                <a:gd name="T96" fmla="*/ 47 w 813"/>
                <a:gd name="T97" fmla="*/ 508 h 542"/>
                <a:gd name="T98" fmla="*/ 39 w 813"/>
                <a:gd name="T99" fmla="*/ 500 h 542"/>
                <a:gd name="T100" fmla="*/ 33 w 813"/>
                <a:gd name="T101" fmla="*/ 485 h 542"/>
                <a:gd name="T102" fmla="*/ 31 w 813"/>
                <a:gd name="T103" fmla="*/ 471 h 542"/>
                <a:gd name="T104" fmla="*/ 31 w 813"/>
                <a:gd name="T105" fmla="*/ 75 h 542"/>
                <a:gd name="T106" fmla="*/ 33 w 813"/>
                <a:gd name="T107" fmla="*/ 53 h 542"/>
                <a:gd name="T108" fmla="*/ 410 w 813"/>
                <a:gd name="T109" fmla="*/ 345 h 542"/>
                <a:gd name="T110" fmla="*/ 419 w 813"/>
                <a:gd name="T111" fmla="*/ 344 h 542"/>
                <a:gd name="T112" fmla="*/ 780 w 813"/>
                <a:gd name="T113" fmla="*/ 53 h 542"/>
                <a:gd name="T114" fmla="*/ 783 w 813"/>
                <a:gd name="T115" fmla="*/ 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3" h="542">
                  <a:moveTo>
                    <a:pt x="414" y="311"/>
                  </a:moveTo>
                  <a:lnTo>
                    <a:pt x="55" y="30"/>
                  </a:lnTo>
                  <a:lnTo>
                    <a:pt x="58" y="30"/>
                  </a:lnTo>
                  <a:lnTo>
                    <a:pt x="61" y="30"/>
                  </a:lnTo>
                  <a:lnTo>
                    <a:pt x="753" y="30"/>
                  </a:lnTo>
                  <a:lnTo>
                    <a:pt x="756" y="30"/>
                  </a:lnTo>
                  <a:lnTo>
                    <a:pt x="759" y="31"/>
                  </a:lnTo>
                  <a:lnTo>
                    <a:pt x="414" y="311"/>
                  </a:lnTo>
                  <a:close/>
                  <a:moveTo>
                    <a:pt x="783" y="75"/>
                  </a:moveTo>
                  <a:lnTo>
                    <a:pt x="783" y="240"/>
                  </a:lnTo>
                  <a:lnTo>
                    <a:pt x="783" y="244"/>
                  </a:lnTo>
                  <a:lnTo>
                    <a:pt x="784" y="246"/>
                  </a:lnTo>
                  <a:lnTo>
                    <a:pt x="786" y="249"/>
                  </a:lnTo>
                  <a:lnTo>
                    <a:pt x="787" y="251"/>
                  </a:lnTo>
                  <a:lnTo>
                    <a:pt x="789" y="253"/>
                  </a:lnTo>
                  <a:lnTo>
                    <a:pt x="792" y="254"/>
                  </a:lnTo>
                  <a:lnTo>
                    <a:pt x="795" y="255"/>
                  </a:lnTo>
                  <a:lnTo>
                    <a:pt x="798" y="255"/>
                  </a:lnTo>
                  <a:lnTo>
                    <a:pt x="801" y="255"/>
                  </a:lnTo>
                  <a:lnTo>
                    <a:pt x="804" y="254"/>
                  </a:lnTo>
                  <a:lnTo>
                    <a:pt x="806" y="253"/>
                  </a:lnTo>
                  <a:lnTo>
                    <a:pt x="809" y="251"/>
                  </a:lnTo>
                  <a:lnTo>
                    <a:pt x="811" y="249"/>
                  </a:lnTo>
                  <a:lnTo>
                    <a:pt x="812" y="247"/>
                  </a:lnTo>
                  <a:lnTo>
                    <a:pt x="813" y="244"/>
                  </a:lnTo>
                  <a:lnTo>
                    <a:pt x="813" y="240"/>
                  </a:lnTo>
                  <a:lnTo>
                    <a:pt x="813" y="75"/>
                  </a:lnTo>
                  <a:lnTo>
                    <a:pt x="813" y="67"/>
                  </a:lnTo>
                  <a:lnTo>
                    <a:pt x="812" y="59"/>
                  </a:lnTo>
                  <a:lnTo>
                    <a:pt x="811" y="52"/>
                  </a:lnTo>
                  <a:lnTo>
                    <a:pt x="809" y="44"/>
                  </a:lnTo>
                  <a:lnTo>
                    <a:pt x="806" y="38"/>
                  </a:lnTo>
                  <a:lnTo>
                    <a:pt x="803" y="31"/>
                  </a:lnTo>
                  <a:lnTo>
                    <a:pt x="800" y="26"/>
                  </a:lnTo>
                  <a:lnTo>
                    <a:pt x="797" y="21"/>
                  </a:lnTo>
                  <a:lnTo>
                    <a:pt x="792" y="16"/>
                  </a:lnTo>
                  <a:lnTo>
                    <a:pt x="788" y="12"/>
                  </a:lnTo>
                  <a:lnTo>
                    <a:pt x="783" y="8"/>
                  </a:lnTo>
                  <a:lnTo>
                    <a:pt x="777" y="6"/>
                  </a:lnTo>
                  <a:lnTo>
                    <a:pt x="772" y="2"/>
                  </a:lnTo>
                  <a:lnTo>
                    <a:pt x="766" y="1"/>
                  </a:lnTo>
                  <a:lnTo>
                    <a:pt x="759" y="0"/>
                  </a:lnTo>
                  <a:lnTo>
                    <a:pt x="753" y="0"/>
                  </a:lnTo>
                  <a:lnTo>
                    <a:pt x="61" y="0"/>
                  </a:lnTo>
                  <a:lnTo>
                    <a:pt x="54" y="0"/>
                  </a:lnTo>
                  <a:lnTo>
                    <a:pt x="48" y="1"/>
                  </a:lnTo>
                  <a:lnTo>
                    <a:pt x="42" y="2"/>
                  </a:lnTo>
                  <a:lnTo>
                    <a:pt x="37" y="6"/>
                  </a:lnTo>
                  <a:lnTo>
                    <a:pt x="31" y="8"/>
                  </a:lnTo>
                  <a:lnTo>
                    <a:pt x="26" y="12"/>
                  </a:lnTo>
                  <a:lnTo>
                    <a:pt x="22" y="16"/>
                  </a:lnTo>
                  <a:lnTo>
                    <a:pt x="17" y="21"/>
                  </a:lnTo>
                  <a:lnTo>
                    <a:pt x="13" y="26"/>
                  </a:lnTo>
                  <a:lnTo>
                    <a:pt x="10" y="31"/>
                  </a:lnTo>
                  <a:lnTo>
                    <a:pt x="8" y="38"/>
                  </a:lnTo>
                  <a:lnTo>
                    <a:pt x="5" y="44"/>
                  </a:lnTo>
                  <a:lnTo>
                    <a:pt x="3" y="52"/>
                  </a:lnTo>
                  <a:lnTo>
                    <a:pt x="1" y="59"/>
                  </a:lnTo>
                  <a:lnTo>
                    <a:pt x="1" y="67"/>
                  </a:lnTo>
                  <a:lnTo>
                    <a:pt x="0" y="75"/>
                  </a:lnTo>
                  <a:lnTo>
                    <a:pt x="0" y="467"/>
                  </a:lnTo>
                  <a:lnTo>
                    <a:pt x="1" y="474"/>
                  </a:lnTo>
                  <a:lnTo>
                    <a:pt x="1" y="483"/>
                  </a:lnTo>
                  <a:lnTo>
                    <a:pt x="3" y="490"/>
                  </a:lnTo>
                  <a:lnTo>
                    <a:pt x="5" y="497"/>
                  </a:lnTo>
                  <a:lnTo>
                    <a:pt x="8" y="503"/>
                  </a:lnTo>
                  <a:lnTo>
                    <a:pt x="10" y="510"/>
                  </a:lnTo>
                  <a:lnTo>
                    <a:pt x="13" y="516"/>
                  </a:lnTo>
                  <a:lnTo>
                    <a:pt x="17" y="520"/>
                  </a:lnTo>
                  <a:lnTo>
                    <a:pt x="22" y="526"/>
                  </a:lnTo>
                  <a:lnTo>
                    <a:pt x="26" y="530"/>
                  </a:lnTo>
                  <a:lnTo>
                    <a:pt x="31" y="533"/>
                  </a:lnTo>
                  <a:lnTo>
                    <a:pt x="37" y="536"/>
                  </a:lnTo>
                  <a:lnTo>
                    <a:pt x="42" y="538"/>
                  </a:lnTo>
                  <a:lnTo>
                    <a:pt x="48" y="540"/>
                  </a:lnTo>
                  <a:lnTo>
                    <a:pt x="54" y="541"/>
                  </a:lnTo>
                  <a:lnTo>
                    <a:pt x="61" y="542"/>
                  </a:lnTo>
                  <a:lnTo>
                    <a:pt x="376" y="542"/>
                  </a:lnTo>
                  <a:lnTo>
                    <a:pt x="380" y="541"/>
                  </a:lnTo>
                  <a:lnTo>
                    <a:pt x="383" y="541"/>
                  </a:lnTo>
                  <a:lnTo>
                    <a:pt x="385" y="538"/>
                  </a:lnTo>
                  <a:lnTo>
                    <a:pt x="387" y="537"/>
                  </a:lnTo>
                  <a:lnTo>
                    <a:pt x="389" y="535"/>
                  </a:lnTo>
                  <a:lnTo>
                    <a:pt x="390" y="532"/>
                  </a:lnTo>
                  <a:lnTo>
                    <a:pt x="391" y="530"/>
                  </a:lnTo>
                  <a:lnTo>
                    <a:pt x="391" y="527"/>
                  </a:lnTo>
                  <a:lnTo>
                    <a:pt x="391" y="523"/>
                  </a:lnTo>
                  <a:lnTo>
                    <a:pt x="390" y="520"/>
                  </a:lnTo>
                  <a:lnTo>
                    <a:pt x="389" y="518"/>
                  </a:lnTo>
                  <a:lnTo>
                    <a:pt x="387" y="516"/>
                  </a:lnTo>
                  <a:lnTo>
                    <a:pt x="385" y="514"/>
                  </a:lnTo>
                  <a:lnTo>
                    <a:pt x="383" y="513"/>
                  </a:lnTo>
                  <a:lnTo>
                    <a:pt x="380" y="512"/>
                  </a:lnTo>
                  <a:lnTo>
                    <a:pt x="376" y="512"/>
                  </a:lnTo>
                  <a:lnTo>
                    <a:pt x="61" y="512"/>
                  </a:lnTo>
                  <a:lnTo>
                    <a:pt x="56" y="511"/>
                  </a:lnTo>
                  <a:lnTo>
                    <a:pt x="52" y="510"/>
                  </a:lnTo>
                  <a:lnTo>
                    <a:pt x="47" y="508"/>
                  </a:lnTo>
                  <a:lnTo>
                    <a:pt x="44" y="505"/>
                  </a:lnTo>
                  <a:lnTo>
                    <a:pt x="39" y="500"/>
                  </a:lnTo>
                  <a:lnTo>
                    <a:pt x="35" y="492"/>
                  </a:lnTo>
                  <a:lnTo>
                    <a:pt x="33" y="485"/>
                  </a:lnTo>
                  <a:lnTo>
                    <a:pt x="31" y="477"/>
                  </a:lnTo>
                  <a:lnTo>
                    <a:pt x="31" y="471"/>
                  </a:lnTo>
                  <a:lnTo>
                    <a:pt x="31" y="467"/>
                  </a:lnTo>
                  <a:lnTo>
                    <a:pt x="31" y="75"/>
                  </a:lnTo>
                  <a:lnTo>
                    <a:pt x="31" y="66"/>
                  </a:lnTo>
                  <a:lnTo>
                    <a:pt x="33" y="53"/>
                  </a:lnTo>
                  <a:lnTo>
                    <a:pt x="404" y="342"/>
                  </a:lnTo>
                  <a:lnTo>
                    <a:pt x="410" y="345"/>
                  </a:lnTo>
                  <a:lnTo>
                    <a:pt x="414" y="345"/>
                  </a:lnTo>
                  <a:lnTo>
                    <a:pt x="419" y="344"/>
                  </a:lnTo>
                  <a:lnTo>
                    <a:pt x="424" y="342"/>
                  </a:lnTo>
                  <a:lnTo>
                    <a:pt x="780" y="53"/>
                  </a:lnTo>
                  <a:lnTo>
                    <a:pt x="783" y="66"/>
                  </a:lnTo>
                  <a:lnTo>
                    <a:pt x="783"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2" name="Freeform 86">
              <a:extLst>
                <a:ext uri="{FF2B5EF4-FFF2-40B4-BE49-F238E27FC236}">
                  <a16:creationId xmlns:a16="http://schemas.microsoft.com/office/drawing/2014/main" id="{400F4489-B180-46D9-8BAF-14869D6C4DF2}"/>
                </a:ext>
              </a:extLst>
            </p:cNvPr>
            <p:cNvSpPr>
              <a:spLocks/>
            </p:cNvSpPr>
            <p:nvPr/>
          </p:nvSpPr>
          <p:spPr bwMode="auto">
            <a:xfrm>
              <a:off x="4487863" y="2085975"/>
              <a:ext cx="107950" cy="60325"/>
            </a:xfrm>
            <a:custGeom>
              <a:avLst/>
              <a:gdLst>
                <a:gd name="T0" fmla="*/ 196 w 341"/>
                <a:gd name="T1" fmla="*/ 36 h 191"/>
                <a:gd name="T2" fmla="*/ 215 w 341"/>
                <a:gd name="T3" fmla="*/ 39 h 191"/>
                <a:gd name="T4" fmla="*/ 233 w 341"/>
                <a:gd name="T5" fmla="*/ 45 h 191"/>
                <a:gd name="T6" fmla="*/ 249 w 341"/>
                <a:gd name="T7" fmla="*/ 53 h 191"/>
                <a:gd name="T8" fmla="*/ 269 w 341"/>
                <a:gd name="T9" fmla="*/ 68 h 191"/>
                <a:gd name="T10" fmla="*/ 292 w 341"/>
                <a:gd name="T11" fmla="*/ 92 h 191"/>
                <a:gd name="T12" fmla="*/ 236 w 341"/>
                <a:gd name="T13" fmla="*/ 106 h 191"/>
                <a:gd name="T14" fmla="*/ 230 w 341"/>
                <a:gd name="T15" fmla="*/ 107 h 191"/>
                <a:gd name="T16" fmla="*/ 225 w 341"/>
                <a:gd name="T17" fmla="*/ 110 h 191"/>
                <a:gd name="T18" fmla="*/ 222 w 341"/>
                <a:gd name="T19" fmla="*/ 114 h 191"/>
                <a:gd name="T20" fmla="*/ 221 w 341"/>
                <a:gd name="T21" fmla="*/ 121 h 191"/>
                <a:gd name="T22" fmla="*/ 222 w 341"/>
                <a:gd name="T23" fmla="*/ 126 h 191"/>
                <a:gd name="T24" fmla="*/ 225 w 341"/>
                <a:gd name="T25" fmla="*/ 131 h 191"/>
                <a:gd name="T26" fmla="*/ 230 w 341"/>
                <a:gd name="T27" fmla="*/ 135 h 191"/>
                <a:gd name="T28" fmla="*/ 236 w 341"/>
                <a:gd name="T29" fmla="*/ 136 h 191"/>
                <a:gd name="T30" fmla="*/ 341 w 341"/>
                <a:gd name="T31" fmla="*/ 15 h 191"/>
                <a:gd name="T32" fmla="*/ 340 w 341"/>
                <a:gd name="T33" fmla="*/ 9 h 191"/>
                <a:gd name="T34" fmla="*/ 337 w 341"/>
                <a:gd name="T35" fmla="*/ 5 h 191"/>
                <a:gd name="T36" fmla="*/ 332 w 341"/>
                <a:gd name="T37" fmla="*/ 2 h 191"/>
                <a:gd name="T38" fmla="*/ 326 w 341"/>
                <a:gd name="T39" fmla="*/ 0 h 191"/>
                <a:gd name="T40" fmla="*/ 320 w 341"/>
                <a:gd name="T41" fmla="*/ 2 h 191"/>
                <a:gd name="T42" fmla="*/ 315 w 341"/>
                <a:gd name="T43" fmla="*/ 5 h 191"/>
                <a:gd name="T44" fmla="*/ 312 w 341"/>
                <a:gd name="T45" fmla="*/ 9 h 191"/>
                <a:gd name="T46" fmla="*/ 311 w 341"/>
                <a:gd name="T47" fmla="*/ 15 h 191"/>
                <a:gd name="T48" fmla="*/ 298 w 341"/>
                <a:gd name="T49" fmla="*/ 54 h 191"/>
                <a:gd name="T50" fmla="*/ 270 w 341"/>
                <a:gd name="T51" fmla="*/ 31 h 191"/>
                <a:gd name="T52" fmla="*/ 239 w 341"/>
                <a:gd name="T53" fmla="*/ 15 h 191"/>
                <a:gd name="T54" fmla="*/ 204 w 341"/>
                <a:gd name="T55" fmla="*/ 7 h 191"/>
                <a:gd name="T56" fmla="*/ 166 w 341"/>
                <a:gd name="T57" fmla="*/ 7 h 191"/>
                <a:gd name="T58" fmla="*/ 131 w 341"/>
                <a:gd name="T59" fmla="*/ 15 h 191"/>
                <a:gd name="T60" fmla="*/ 97 w 341"/>
                <a:gd name="T61" fmla="*/ 28 h 191"/>
                <a:gd name="T62" fmla="*/ 67 w 341"/>
                <a:gd name="T63" fmla="*/ 49 h 191"/>
                <a:gd name="T64" fmla="*/ 42 w 341"/>
                <a:gd name="T65" fmla="*/ 73 h 191"/>
                <a:gd name="T66" fmla="*/ 22 w 341"/>
                <a:gd name="T67" fmla="*/ 104 h 191"/>
                <a:gd name="T68" fmla="*/ 8 w 341"/>
                <a:gd name="T69" fmla="*/ 137 h 191"/>
                <a:gd name="T70" fmla="*/ 1 w 341"/>
                <a:gd name="T71" fmla="*/ 173 h 191"/>
                <a:gd name="T72" fmla="*/ 30 w 341"/>
                <a:gd name="T73" fmla="*/ 191 h 191"/>
                <a:gd name="T74" fmla="*/ 33 w 341"/>
                <a:gd name="T75" fmla="*/ 160 h 191"/>
                <a:gd name="T76" fmla="*/ 42 w 341"/>
                <a:gd name="T77" fmla="*/ 131 h 191"/>
                <a:gd name="T78" fmla="*/ 57 w 341"/>
                <a:gd name="T79" fmla="*/ 105 h 191"/>
                <a:gd name="T80" fmla="*/ 75 w 341"/>
                <a:gd name="T81" fmla="*/ 82 h 191"/>
                <a:gd name="T82" fmla="*/ 99 w 341"/>
                <a:gd name="T83" fmla="*/ 63 h 191"/>
                <a:gd name="T84" fmla="*/ 125 w 341"/>
                <a:gd name="T85" fmla="*/ 49 h 191"/>
                <a:gd name="T86" fmla="*/ 154 w 341"/>
                <a:gd name="T87" fmla="*/ 39 h 191"/>
                <a:gd name="T88" fmla="*/ 185 w 341"/>
                <a:gd name="T89" fmla="*/ 3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 h="191">
                  <a:moveTo>
                    <a:pt x="185" y="36"/>
                  </a:moveTo>
                  <a:lnTo>
                    <a:pt x="196" y="36"/>
                  </a:lnTo>
                  <a:lnTo>
                    <a:pt x="206" y="38"/>
                  </a:lnTo>
                  <a:lnTo>
                    <a:pt x="215" y="39"/>
                  </a:lnTo>
                  <a:lnTo>
                    <a:pt x="224" y="42"/>
                  </a:lnTo>
                  <a:lnTo>
                    <a:pt x="233" y="45"/>
                  </a:lnTo>
                  <a:lnTo>
                    <a:pt x="240" y="49"/>
                  </a:lnTo>
                  <a:lnTo>
                    <a:pt x="249" y="53"/>
                  </a:lnTo>
                  <a:lnTo>
                    <a:pt x="255" y="57"/>
                  </a:lnTo>
                  <a:lnTo>
                    <a:pt x="269" y="68"/>
                  </a:lnTo>
                  <a:lnTo>
                    <a:pt x="281" y="80"/>
                  </a:lnTo>
                  <a:lnTo>
                    <a:pt x="292" y="92"/>
                  </a:lnTo>
                  <a:lnTo>
                    <a:pt x="300" y="106"/>
                  </a:lnTo>
                  <a:lnTo>
                    <a:pt x="236" y="106"/>
                  </a:lnTo>
                  <a:lnTo>
                    <a:pt x="233" y="106"/>
                  </a:lnTo>
                  <a:lnTo>
                    <a:pt x="230" y="107"/>
                  </a:lnTo>
                  <a:lnTo>
                    <a:pt x="227" y="108"/>
                  </a:lnTo>
                  <a:lnTo>
                    <a:pt x="225" y="110"/>
                  </a:lnTo>
                  <a:lnTo>
                    <a:pt x="223" y="112"/>
                  </a:lnTo>
                  <a:lnTo>
                    <a:pt x="222" y="114"/>
                  </a:lnTo>
                  <a:lnTo>
                    <a:pt x="221" y="117"/>
                  </a:lnTo>
                  <a:lnTo>
                    <a:pt x="221" y="121"/>
                  </a:lnTo>
                  <a:lnTo>
                    <a:pt x="221" y="123"/>
                  </a:lnTo>
                  <a:lnTo>
                    <a:pt x="222" y="126"/>
                  </a:lnTo>
                  <a:lnTo>
                    <a:pt x="223" y="128"/>
                  </a:lnTo>
                  <a:lnTo>
                    <a:pt x="225" y="131"/>
                  </a:lnTo>
                  <a:lnTo>
                    <a:pt x="227" y="132"/>
                  </a:lnTo>
                  <a:lnTo>
                    <a:pt x="230" y="135"/>
                  </a:lnTo>
                  <a:lnTo>
                    <a:pt x="233" y="135"/>
                  </a:lnTo>
                  <a:lnTo>
                    <a:pt x="236" y="136"/>
                  </a:lnTo>
                  <a:lnTo>
                    <a:pt x="341" y="136"/>
                  </a:lnTo>
                  <a:lnTo>
                    <a:pt x="341" y="15"/>
                  </a:lnTo>
                  <a:lnTo>
                    <a:pt x="341" y="12"/>
                  </a:lnTo>
                  <a:lnTo>
                    <a:pt x="340" y="9"/>
                  </a:lnTo>
                  <a:lnTo>
                    <a:pt x="339" y="7"/>
                  </a:lnTo>
                  <a:lnTo>
                    <a:pt x="337" y="5"/>
                  </a:lnTo>
                  <a:lnTo>
                    <a:pt x="334" y="3"/>
                  </a:lnTo>
                  <a:lnTo>
                    <a:pt x="332" y="2"/>
                  </a:lnTo>
                  <a:lnTo>
                    <a:pt x="329" y="1"/>
                  </a:lnTo>
                  <a:lnTo>
                    <a:pt x="326" y="0"/>
                  </a:lnTo>
                  <a:lnTo>
                    <a:pt x="323" y="1"/>
                  </a:lnTo>
                  <a:lnTo>
                    <a:pt x="320" y="2"/>
                  </a:lnTo>
                  <a:lnTo>
                    <a:pt x="317" y="3"/>
                  </a:lnTo>
                  <a:lnTo>
                    <a:pt x="315" y="5"/>
                  </a:lnTo>
                  <a:lnTo>
                    <a:pt x="314" y="7"/>
                  </a:lnTo>
                  <a:lnTo>
                    <a:pt x="312" y="9"/>
                  </a:lnTo>
                  <a:lnTo>
                    <a:pt x="312" y="12"/>
                  </a:lnTo>
                  <a:lnTo>
                    <a:pt x="311" y="15"/>
                  </a:lnTo>
                  <a:lnTo>
                    <a:pt x="311" y="68"/>
                  </a:lnTo>
                  <a:lnTo>
                    <a:pt x="298" y="54"/>
                  </a:lnTo>
                  <a:lnTo>
                    <a:pt x="285" y="41"/>
                  </a:lnTo>
                  <a:lnTo>
                    <a:pt x="270" y="31"/>
                  </a:lnTo>
                  <a:lnTo>
                    <a:pt x="255" y="22"/>
                  </a:lnTo>
                  <a:lnTo>
                    <a:pt x="239" y="15"/>
                  </a:lnTo>
                  <a:lnTo>
                    <a:pt x="222" y="10"/>
                  </a:lnTo>
                  <a:lnTo>
                    <a:pt x="204" y="7"/>
                  </a:lnTo>
                  <a:lnTo>
                    <a:pt x="185" y="6"/>
                  </a:lnTo>
                  <a:lnTo>
                    <a:pt x="166" y="7"/>
                  </a:lnTo>
                  <a:lnTo>
                    <a:pt x="148" y="10"/>
                  </a:lnTo>
                  <a:lnTo>
                    <a:pt x="131" y="15"/>
                  </a:lnTo>
                  <a:lnTo>
                    <a:pt x="114" y="21"/>
                  </a:lnTo>
                  <a:lnTo>
                    <a:pt x="97" y="28"/>
                  </a:lnTo>
                  <a:lnTo>
                    <a:pt x="81" y="38"/>
                  </a:lnTo>
                  <a:lnTo>
                    <a:pt x="67" y="49"/>
                  </a:lnTo>
                  <a:lnTo>
                    <a:pt x="55" y="61"/>
                  </a:lnTo>
                  <a:lnTo>
                    <a:pt x="42" y="73"/>
                  </a:lnTo>
                  <a:lnTo>
                    <a:pt x="31" y="88"/>
                  </a:lnTo>
                  <a:lnTo>
                    <a:pt x="22" y="104"/>
                  </a:lnTo>
                  <a:lnTo>
                    <a:pt x="14" y="120"/>
                  </a:lnTo>
                  <a:lnTo>
                    <a:pt x="8" y="137"/>
                  </a:lnTo>
                  <a:lnTo>
                    <a:pt x="3" y="154"/>
                  </a:lnTo>
                  <a:lnTo>
                    <a:pt x="1" y="173"/>
                  </a:lnTo>
                  <a:lnTo>
                    <a:pt x="0" y="191"/>
                  </a:lnTo>
                  <a:lnTo>
                    <a:pt x="30" y="191"/>
                  </a:lnTo>
                  <a:lnTo>
                    <a:pt x="31" y="175"/>
                  </a:lnTo>
                  <a:lnTo>
                    <a:pt x="33" y="160"/>
                  </a:lnTo>
                  <a:lnTo>
                    <a:pt x="36" y="145"/>
                  </a:lnTo>
                  <a:lnTo>
                    <a:pt x="42" y="131"/>
                  </a:lnTo>
                  <a:lnTo>
                    <a:pt x="48" y="117"/>
                  </a:lnTo>
                  <a:lnTo>
                    <a:pt x="57" y="105"/>
                  </a:lnTo>
                  <a:lnTo>
                    <a:pt x="65" y="93"/>
                  </a:lnTo>
                  <a:lnTo>
                    <a:pt x="75" y="82"/>
                  </a:lnTo>
                  <a:lnTo>
                    <a:pt x="87" y="71"/>
                  </a:lnTo>
                  <a:lnTo>
                    <a:pt x="99" y="63"/>
                  </a:lnTo>
                  <a:lnTo>
                    <a:pt x="111" y="55"/>
                  </a:lnTo>
                  <a:lnTo>
                    <a:pt x="125" y="49"/>
                  </a:lnTo>
                  <a:lnTo>
                    <a:pt x="139" y="43"/>
                  </a:lnTo>
                  <a:lnTo>
                    <a:pt x="154" y="39"/>
                  </a:lnTo>
                  <a:lnTo>
                    <a:pt x="169" y="37"/>
                  </a:lnTo>
                  <a:lnTo>
                    <a:pt x="18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3" name="Freeform 87">
              <a:extLst>
                <a:ext uri="{FF2B5EF4-FFF2-40B4-BE49-F238E27FC236}">
                  <a16:creationId xmlns:a16="http://schemas.microsoft.com/office/drawing/2014/main" id="{2D227058-A4EF-44A4-A026-B5D5642033D9}"/>
                </a:ext>
              </a:extLst>
            </p:cNvPr>
            <p:cNvSpPr>
              <a:spLocks/>
            </p:cNvSpPr>
            <p:nvPr/>
          </p:nvSpPr>
          <p:spPr bwMode="auto">
            <a:xfrm>
              <a:off x="4491038" y="2147888"/>
              <a:ext cx="111125" cy="58738"/>
            </a:xfrm>
            <a:custGeom>
              <a:avLst/>
              <a:gdLst>
                <a:gd name="T0" fmla="*/ 322 w 353"/>
                <a:gd name="T1" fmla="*/ 16 h 185"/>
                <a:gd name="T2" fmla="*/ 316 w 353"/>
                <a:gd name="T3" fmla="*/ 46 h 185"/>
                <a:gd name="T4" fmla="*/ 304 w 353"/>
                <a:gd name="T5" fmla="*/ 74 h 185"/>
                <a:gd name="T6" fmla="*/ 287 w 353"/>
                <a:gd name="T7" fmla="*/ 98 h 185"/>
                <a:gd name="T8" fmla="*/ 267 w 353"/>
                <a:gd name="T9" fmla="*/ 120 h 185"/>
                <a:gd name="T10" fmla="*/ 241 w 353"/>
                <a:gd name="T11" fmla="*/ 137 h 185"/>
                <a:gd name="T12" fmla="*/ 213 w 353"/>
                <a:gd name="T13" fmla="*/ 149 h 185"/>
                <a:gd name="T14" fmla="*/ 183 w 353"/>
                <a:gd name="T15" fmla="*/ 155 h 185"/>
                <a:gd name="T16" fmla="*/ 157 w 353"/>
                <a:gd name="T17" fmla="*/ 155 h 185"/>
                <a:gd name="T18" fmla="*/ 139 w 353"/>
                <a:gd name="T19" fmla="*/ 153 h 185"/>
                <a:gd name="T20" fmla="*/ 121 w 353"/>
                <a:gd name="T21" fmla="*/ 149 h 185"/>
                <a:gd name="T22" fmla="*/ 104 w 353"/>
                <a:gd name="T23" fmla="*/ 142 h 185"/>
                <a:gd name="T24" fmla="*/ 88 w 353"/>
                <a:gd name="T25" fmla="*/ 134 h 185"/>
                <a:gd name="T26" fmla="*/ 73 w 353"/>
                <a:gd name="T27" fmla="*/ 124 h 185"/>
                <a:gd name="T28" fmla="*/ 59 w 353"/>
                <a:gd name="T29" fmla="*/ 112 h 185"/>
                <a:gd name="T30" fmla="*/ 47 w 353"/>
                <a:gd name="T31" fmla="*/ 98 h 185"/>
                <a:gd name="T32" fmla="*/ 105 w 353"/>
                <a:gd name="T33" fmla="*/ 91 h 185"/>
                <a:gd name="T34" fmla="*/ 110 w 353"/>
                <a:gd name="T35" fmla="*/ 90 h 185"/>
                <a:gd name="T36" fmla="*/ 115 w 353"/>
                <a:gd name="T37" fmla="*/ 86 h 185"/>
                <a:gd name="T38" fmla="*/ 119 w 353"/>
                <a:gd name="T39" fmla="*/ 81 h 185"/>
                <a:gd name="T40" fmla="*/ 120 w 353"/>
                <a:gd name="T41" fmla="*/ 76 h 185"/>
                <a:gd name="T42" fmla="*/ 119 w 353"/>
                <a:gd name="T43" fmla="*/ 70 h 185"/>
                <a:gd name="T44" fmla="*/ 115 w 353"/>
                <a:gd name="T45" fmla="*/ 65 h 185"/>
                <a:gd name="T46" fmla="*/ 110 w 353"/>
                <a:gd name="T47" fmla="*/ 62 h 185"/>
                <a:gd name="T48" fmla="*/ 105 w 353"/>
                <a:gd name="T49" fmla="*/ 61 h 185"/>
                <a:gd name="T50" fmla="*/ 0 w 353"/>
                <a:gd name="T51" fmla="*/ 151 h 185"/>
                <a:gd name="T52" fmla="*/ 1 w 353"/>
                <a:gd name="T53" fmla="*/ 157 h 185"/>
                <a:gd name="T54" fmla="*/ 4 w 353"/>
                <a:gd name="T55" fmla="*/ 162 h 185"/>
                <a:gd name="T56" fmla="*/ 8 w 353"/>
                <a:gd name="T57" fmla="*/ 165 h 185"/>
                <a:gd name="T58" fmla="*/ 15 w 353"/>
                <a:gd name="T59" fmla="*/ 166 h 185"/>
                <a:gd name="T60" fmla="*/ 20 w 353"/>
                <a:gd name="T61" fmla="*/ 165 h 185"/>
                <a:gd name="T62" fmla="*/ 25 w 353"/>
                <a:gd name="T63" fmla="*/ 162 h 185"/>
                <a:gd name="T64" fmla="*/ 29 w 353"/>
                <a:gd name="T65" fmla="*/ 157 h 185"/>
                <a:gd name="T66" fmla="*/ 30 w 353"/>
                <a:gd name="T67" fmla="*/ 151 h 185"/>
                <a:gd name="T68" fmla="*/ 43 w 353"/>
                <a:gd name="T69" fmla="*/ 138 h 185"/>
                <a:gd name="T70" fmla="*/ 74 w 353"/>
                <a:gd name="T71" fmla="*/ 160 h 185"/>
                <a:gd name="T72" fmla="*/ 109 w 353"/>
                <a:gd name="T73" fmla="*/ 177 h 185"/>
                <a:gd name="T74" fmla="*/ 148 w 353"/>
                <a:gd name="T75" fmla="*/ 184 h 185"/>
                <a:gd name="T76" fmla="*/ 186 w 353"/>
                <a:gd name="T77" fmla="*/ 185 h 185"/>
                <a:gd name="T78" fmla="*/ 223 w 353"/>
                <a:gd name="T79" fmla="*/ 178 h 185"/>
                <a:gd name="T80" fmla="*/ 256 w 353"/>
                <a:gd name="T81" fmla="*/ 164 h 185"/>
                <a:gd name="T82" fmla="*/ 285 w 353"/>
                <a:gd name="T83" fmla="*/ 143 h 185"/>
                <a:gd name="T84" fmla="*/ 311 w 353"/>
                <a:gd name="T85" fmla="*/ 118 h 185"/>
                <a:gd name="T86" fmla="*/ 331 w 353"/>
                <a:gd name="T87" fmla="*/ 89 h 185"/>
                <a:gd name="T88" fmla="*/ 345 w 353"/>
                <a:gd name="T89" fmla="*/ 55 h 185"/>
                <a:gd name="T90" fmla="*/ 352 w 353"/>
                <a:gd name="T91" fmla="*/ 19 h 185"/>
                <a:gd name="T92" fmla="*/ 323 w 353"/>
                <a:gd name="T9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185">
                  <a:moveTo>
                    <a:pt x="323" y="0"/>
                  </a:moveTo>
                  <a:lnTo>
                    <a:pt x="322" y="16"/>
                  </a:lnTo>
                  <a:lnTo>
                    <a:pt x="320" y="31"/>
                  </a:lnTo>
                  <a:lnTo>
                    <a:pt x="316" y="46"/>
                  </a:lnTo>
                  <a:lnTo>
                    <a:pt x="311" y="61"/>
                  </a:lnTo>
                  <a:lnTo>
                    <a:pt x="304" y="74"/>
                  </a:lnTo>
                  <a:lnTo>
                    <a:pt x="297" y="86"/>
                  </a:lnTo>
                  <a:lnTo>
                    <a:pt x="287" y="98"/>
                  </a:lnTo>
                  <a:lnTo>
                    <a:pt x="277" y="110"/>
                  </a:lnTo>
                  <a:lnTo>
                    <a:pt x="267" y="120"/>
                  </a:lnTo>
                  <a:lnTo>
                    <a:pt x="254" y="129"/>
                  </a:lnTo>
                  <a:lnTo>
                    <a:pt x="241" y="137"/>
                  </a:lnTo>
                  <a:lnTo>
                    <a:pt x="228" y="143"/>
                  </a:lnTo>
                  <a:lnTo>
                    <a:pt x="213" y="149"/>
                  </a:lnTo>
                  <a:lnTo>
                    <a:pt x="199" y="152"/>
                  </a:lnTo>
                  <a:lnTo>
                    <a:pt x="183" y="155"/>
                  </a:lnTo>
                  <a:lnTo>
                    <a:pt x="167" y="155"/>
                  </a:lnTo>
                  <a:lnTo>
                    <a:pt x="157" y="155"/>
                  </a:lnTo>
                  <a:lnTo>
                    <a:pt x="149" y="154"/>
                  </a:lnTo>
                  <a:lnTo>
                    <a:pt x="139" y="153"/>
                  </a:lnTo>
                  <a:lnTo>
                    <a:pt x="130" y="151"/>
                  </a:lnTo>
                  <a:lnTo>
                    <a:pt x="121" y="149"/>
                  </a:lnTo>
                  <a:lnTo>
                    <a:pt x="112" y="145"/>
                  </a:lnTo>
                  <a:lnTo>
                    <a:pt x="104" y="142"/>
                  </a:lnTo>
                  <a:lnTo>
                    <a:pt x="96" y="138"/>
                  </a:lnTo>
                  <a:lnTo>
                    <a:pt x="88" y="134"/>
                  </a:lnTo>
                  <a:lnTo>
                    <a:pt x="80" y="129"/>
                  </a:lnTo>
                  <a:lnTo>
                    <a:pt x="73" y="124"/>
                  </a:lnTo>
                  <a:lnTo>
                    <a:pt x="66" y="118"/>
                  </a:lnTo>
                  <a:lnTo>
                    <a:pt x="59" y="112"/>
                  </a:lnTo>
                  <a:lnTo>
                    <a:pt x="52" y="105"/>
                  </a:lnTo>
                  <a:lnTo>
                    <a:pt x="47" y="98"/>
                  </a:lnTo>
                  <a:lnTo>
                    <a:pt x="41" y="91"/>
                  </a:lnTo>
                  <a:lnTo>
                    <a:pt x="105" y="91"/>
                  </a:lnTo>
                  <a:lnTo>
                    <a:pt x="108" y="91"/>
                  </a:lnTo>
                  <a:lnTo>
                    <a:pt x="110" y="90"/>
                  </a:lnTo>
                  <a:lnTo>
                    <a:pt x="113" y="89"/>
                  </a:lnTo>
                  <a:lnTo>
                    <a:pt x="115" y="86"/>
                  </a:lnTo>
                  <a:lnTo>
                    <a:pt x="116" y="84"/>
                  </a:lnTo>
                  <a:lnTo>
                    <a:pt x="119" y="81"/>
                  </a:lnTo>
                  <a:lnTo>
                    <a:pt x="120" y="79"/>
                  </a:lnTo>
                  <a:lnTo>
                    <a:pt x="120" y="76"/>
                  </a:lnTo>
                  <a:lnTo>
                    <a:pt x="120" y="73"/>
                  </a:lnTo>
                  <a:lnTo>
                    <a:pt x="119" y="70"/>
                  </a:lnTo>
                  <a:lnTo>
                    <a:pt x="116" y="67"/>
                  </a:lnTo>
                  <a:lnTo>
                    <a:pt x="115" y="65"/>
                  </a:lnTo>
                  <a:lnTo>
                    <a:pt x="113" y="63"/>
                  </a:lnTo>
                  <a:lnTo>
                    <a:pt x="110" y="62"/>
                  </a:lnTo>
                  <a:lnTo>
                    <a:pt x="108" y="61"/>
                  </a:lnTo>
                  <a:lnTo>
                    <a:pt x="105" y="61"/>
                  </a:lnTo>
                  <a:lnTo>
                    <a:pt x="0" y="61"/>
                  </a:lnTo>
                  <a:lnTo>
                    <a:pt x="0" y="151"/>
                  </a:lnTo>
                  <a:lnTo>
                    <a:pt x="0" y="154"/>
                  </a:lnTo>
                  <a:lnTo>
                    <a:pt x="1" y="157"/>
                  </a:lnTo>
                  <a:lnTo>
                    <a:pt x="2" y="159"/>
                  </a:lnTo>
                  <a:lnTo>
                    <a:pt x="4" y="162"/>
                  </a:lnTo>
                  <a:lnTo>
                    <a:pt x="6" y="164"/>
                  </a:lnTo>
                  <a:lnTo>
                    <a:pt x="8" y="165"/>
                  </a:lnTo>
                  <a:lnTo>
                    <a:pt x="11" y="166"/>
                  </a:lnTo>
                  <a:lnTo>
                    <a:pt x="15" y="166"/>
                  </a:lnTo>
                  <a:lnTo>
                    <a:pt x="17" y="166"/>
                  </a:lnTo>
                  <a:lnTo>
                    <a:pt x="20" y="165"/>
                  </a:lnTo>
                  <a:lnTo>
                    <a:pt x="22" y="164"/>
                  </a:lnTo>
                  <a:lnTo>
                    <a:pt x="25" y="162"/>
                  </a:lnTo>
                  <a:lnTo>
                    <a:pt x="26" y="159"/>
                  </a:lnTo>
                  <a:lnTo>
                    <a:pt x="29" y="157"/>
                  </a:lnTo>
                  <a:lnTo>
                    <a:pt x="29" y="154"/>
                  </a:lnTo>
                  <a:lnTo>
                    <a:pt x="30" y="151"/>
                  </a:lnTo>
                  <a:lnTo>
                    <a:pt x="30" y="124"/>
                  </a:lnTo>
                  <a:lnTo>
                    <a:pt x="43" y="138"/>
                  </a:lnTo>
                  <a:lnTo>
                    <a:pt x="58" y="150"/>
                  </a:lnTo>
                  <a:lnTo>
                    <a:pt x="74" y="160"/>
                  </a:lnTo>
                  <a:lnTo>
                    <a:pt x="91" y="169"/>
                  </a:lnTo>
                  <a:lnTo>
                    <a:pt x="109" y="177"/>
                  </a:lnTo>
                  <a:lnTo>
                    <a:pt x="128" y="182"/>
                  </a:lnTo>
                  <a:lnTo>
                    <a:pt x="148" y="184"/>
                  </a:lnTo>
                  <a:lnTo>
                    <a:pt x="167" y="185"/>
                  </a:lnTo>
                  <a:lnTo>
                    <a:pt x="186" y="185"/>
                  </a:lnTo>
                  <a:lnTo>
                    <a:pt x="204" y="182"/>
                  </a:lnTo>
                  <a:lnTo>
                    <a:pt x="223" y="178"/>
                  </a:lnTo>
                  <a:lnTo>
                    <a:pt x="240" y="171"/>
                  </a:lnTo>
                  <a:lnTo>
                    <a:pt x="256" y="164"/>
                  </a:lnTo>
                  <a:lnTo>
                    <a:pt x="271" y="154"/>
                  </a:lnTo>
                  <a:lnTo>
                    <a:pt x="285" y="143"/>
                  </a:lnTo>
                  <a:lnTo>
                    <a:pt x="299" y="132"/>
                  </a:lnTo>
                  <a:lnTo>
                    <a:pt x="311" y="118"/>
                  </a:lnTo>
                  <a:lnTo>
                    <a:pt x="321" y="104"/>
                  </a:lnTo>
                  <a:lnTo>
                    <a:pt x="331" y="89"/>
                  </a:lnTo>
                  <a:lnTo>
                    <a:pt x="338" y="73"/>
                  </a:lnTo>
                  <a:lnTo>
                    <a:pt x="345" y="55"/>
                  </a:lnTo>
                  <a:lnTo>
                    <a:pt x="349" y="37"/>
                  </a:lnTo>
                  <a:lnTo>
                    <a:pt x="352" y="19"/>
                  </a:lnTo>
                  <a:lnTo>
                    <a:pt x="353" y="0"/>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52" name="Group 91">
            <a:extLst>
              <a:ext uri="{FF2B5EF4-FFF2-40B4-BE49-F238E27FC236}">
                <a16:creationId xmlns:a16="http://schemas.microsoft.com/office/drawing/2014/main" id="{5FC8B3C3-F940-4D15-B950-E2171E2511C9}"/>
              </a:ext>
            </a:extLst>
          </p:cNvPr>
          <p:cNvGrpSpPr>
            <a:grpSpLocks noChangeAspect="1"/>
          </p:cNvGrpSpPr>
          <p:nvPr/>
        </p:nvGrpSpPr>
        <p:grpSpPr>
          <a:xfrm>
            <a:off x="640294" y="5944848"/>
            <a:ext cx="347611" cy="310367"/>
            <a:chOff x="6543675" y="4589463"/>
            <a:chExt cx="711200" cy="635000"/>
          </a:xfrm>
          <a:solidFill>
            <a:schemeClr val="bg2"/>
          </a:solidFill>
          <a:effectLst/>
        </p:grpSpPr>
        <p:sp>
          <p:nvSpPr>
            <p:cNvPr id="353" name="Freeform 37">
              <a:extLst>
                <a:ext uri="{FF2B5EF4-FFF2-40B4-BE49-F238E27FC236}">
                  <a16:creationId xmlns:a16="http://schemas.microsoft.com/office/drawing/2014/main" id="{B9E9B2EB-80A0-4A98-8A8C-DBCC0F4E260F}"/>
                </a:ext>
              </a:extLst>
            </p:cNvPr>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38">
              <a:extLst>
                <a:ext uri="{FF2B5EF4-FFF2-40B4-BE49-F238E27FC236}">
                  <a16:creationId xmlns:a16="http://schemas.microsoft.com/office/drawing/2014/main" id="{06D4BD36-C5B0-4448-984A-6FFCB8B06F01}"/>
                </a:ext>
              </a:extLst>
            </p:cNvPr>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39">
              <a:extLst>
                <a:ext uri="{FF2B5EF4-FFF2-40B4-BE49-F238E27FC236}">
                  <a16:creationId xmlns:a16="http://schemas.microsoft.com/office/drawing/2014/main" id="{B2B13D79-AAB4-425C-BB60-A4B53ECDA921}"/>
                </a:ext>
              </a:extLst>
            </p:cNvPr>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40">
              <a:extLst>
                <a:ext uri="{FF2B5EF4-FFF2-40B4-BE49-F238E27FC236}">
                  <a16:creationId xmlns:a16="http://schemas.microsoft.com/office/drawing/2014/main" id="{400A228C-3B93-4131-A92C-67CF8411AA45}"/>
                </a:ext>
              </a:extLst>
            </p:cNvPr>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7" name="Group 48">
            <a:extLst>
              <a:ext uri="{FF2B5EF4-FFF2-40B4-BE49-F238E27FC236}">
                <a16:creationId xmlns:a16="http://schemas.microsoft.com/office/drawing/2014/main" id="{2B171553-D212-40B1-9B6C-D5DA5CC6665F}"/>
              </a:ext>
            </a:extLst>
          </p:cNvPr>
          <p:cNvGrpSpPr>
            <a:grpSpLocks noChangeAspect="1"/>
          </p:cNvGrpSpPr>
          <p:nvPr/>
        </p:nvGrpSpPr>
        <p:grpSpPr>
          <a:xfrm>
            <a:off x="1065227" y="5988207"/>
            <a:ext cx="308144" cy="221425"/>
            <a:chOff x="2223412" y="2552647"/>
            <a:chExt cx="664189" cy="477272"/>
          </a:xfrm>
          <a:solidFill>
            <a:schemeClr val="bg2"/>
          </a:solidFill>
          <a:effectLst/>
        </p:grpSpPr>
        <p:sp>
          <p:nvSpPr>
            <p:cNvPr id="358" name="Freeform 48">
              <a:extLst>
                <a:ext uri="{FF2B5EF4-FFF2-40B4-BE49-F238E27FC236}">
                  <a16:creationId xmlns:a16="http://schemas.microsoft.com/office/drawing/2014/main" id="{558FCA2C-6133-4EAE-94CB-27C7772B387E}"/>
                </a:ext>
              </a:extLst>
            </p:cNvPr>
            <p:cNvSpPr>
              <a:spLocks noEditPoints="1"/>
            </p:cNvSpPr>
            <p:nvPr/>
          </p:nvSpPr>
          <p:spPr bwMode="auto">
            <a:xfrm>
              <a:off x="2223412" y="2832507"/>
              <a:ext cx="664188" cy="197412"/>
            </a:xfrm>
            <a:custGeom>
              <a:avLst/>
              <a:gdLst>
                <a:gd name="T0" fmla="*/ 40 w 1079"/>
                <a:gd name="T1" fmla="*/ 279 h 319"/>
                <a:gd name="T2" fmla="*/ 1040 w 1079"/>
                <a:gd name="T3" fmla="*/ 279 h 319"/>
                <a:gd name="T4" fmla="*/ 1040 w 1079"/>
                <a:gd name="T5" fmla="*/ 40 h 319"/>
                <a:gd name="T6" fmla="*/ 40 w 1079"/>
                <a:gd name="T7" fmla="*/ 40 h 319"/>
                <a:gd name="T8" fmla="*/ 40 w 1079"/>
                <a:gd name="T9" fmla="*/ 279 h 319"/>
                <a:gd name="T10" fmla="*/ 1059 w 1079"/>
                <a:gd name="T11" fmla="*/ 319 h 319"/>
                <a:gd name="T12" fmla="*/ 20 w 1079"/>
                <a:gd name="T13" fmla="*/ 319 h 319"/>
                <a:gd name="T14" fmla="*/ 15 w 1079"/>
                <a:gd name="T15" fmla="*/ 319 h 319"/>
                <a:gd name="T16" fmla="*/ 11 w 1079"/>
                <a:gd name="T17" fmla="*/ 318 h 319"/>
                <a:gd name="T18" fmla="*/ 9 w 1079"/>
                <a:gd name="T19" fmla="*/ 317 h 319"/>
                <a:gd name="T20" fmla="*/ 5 w 1079"/>
                <a:gd name="T21" fmla="*/ 314 h 319"/>
                <a:gd name="T22" fmla="*/ 3 w 1079"/>
                <a:gd name="T23" fmla="*/ 311 h 319"/>
                <a:gd name="T24" fmla="*/ 1 w 1079"/>
                <a:gd name="T25" fmla="*/ 308 h 319"/>
                <a:gd name="T26" fmla="*/ 0 w 1079"/>
                <a:gd name="T27" fmla="*/ 304 h 319"/>
                <a:gd name="T28" fmla="*/ 0 w 1079"/>
                <a:gd name="T29" fmla="*/ 299 h 319"/>
                <a:gd name="T30" fmla="*/ 0 w 1079"/>
                <a:gd name="T31" fmla="*/ 20 h 319"/>
                <a:gd name="T32" fmla="*/ 0 w 1079"/>
                <a:gd name="T33" fmla="*/ 16 h 319"/>
                <a:gd name="T34" fmla="*/ 1 w 1079"/>
                <a:gd name="T35" fmla="*/ 12 h 319"/>
                <a:gd name="T36" fmla="*/ 3 w 1079"/>
                <a:gd name="T37" fmla="*/ 9 h 319"/>
                <a:gd name="T38" fmla="*/ 5 w 1079"/>
                <a:gd name="T39" fmla="*/ 6 h 319"/>
                <a:gd name="T40" fmla="*/ 9 w 1079"/>
                <a:gd name="T41" fmla="*/ 4 h 319"/>
                <a:gd name="T42" fmla="*/ 11 w 1079"/>
                <a:gd name="T43" fmla="*/ 1 h 319"/>
                <a:gd name="T44" fmla="*/ 15 w 1079"/>
                <a:gd name="T45" fmla="*/ 0 h 319"/>
                <a:gd name="T46" fmla="*/ 20 w 1079"/>
                <a:gd name="T47" fmla="*/ 0 h 319"/>
                <a:gd name="T48" fmla="*/ 1059 w 1079"/>
                <a:gd name="T49" fmla="*/ 0 h 319"/>
                <a:gd name="T50" fmla="*/ 1063 w 1079"/>
                <a:gd name="T51" fmla="*/ 0 h 319"/>
                <a:gd name="T52" fmla="*/ 1067 w 1079"/>
                <a:gd name="T53" fmla="*/ 1 h 319"/>
                <a:gd name="T54" fmla="*/ 1071 w 1079"/>
                <a:gd name="T55" fmla="*/ 4 h 319"/>
                <a:gd name="T56" fmla="*/ 1073 w 1079"/>
                <a:gd name="T57" fmla="*/ 6 h 319"/>
                <a:gd name="T58" fmla="*/ 1076 w 1079"/>
                <a:gd name="T59" fmla="*/ 9 h 319"/>
                <a:gd name="T60" fmla="*/ 1078 w 1079"/>
                <a:gd name="T61" fmla="*/ 12 h 319"/>
                <a:gd name="T62" fmla="*/ 1078 w 1079"/>
                <a:gd name="T63" fmla="*/ 16 h 319"/>
                <a:gd name="T64" fmla="*/ 1079 w 1079"/>
                <a:gd name="T65" fmla="*/ 20 h 319"/>
                <a:gd name="T66" fmla="*/ 1079 w 1079"/>
                <a:gd name="T67" fmla="*/ 299 h 319"/>
                <a:gd name="T68" fmla="*/ 1078 w 1079"/>
                <a:gd name="T69" fmla="*/ 304 h 319"/>
                <a:gd name="T70" fmla="*/ 1078 w 1079"/>
                <a:gd name="T71" fmla="*/ 308 h 319"/>
                <a:gd name="T72" fmla="*/ 1076 w 1079"/>
                <a:gd name="T73" fmla="*/ 311 h 319"/>
                <a:gd name="T74" fmla="*/ 1073 w 1079"/>
                <a:gd name="T75" fmla="*/ 314 h 319"/>
                <a:gd name="T76" fmla="*/ 1071 w 1079"/>
                <a:gd name="T77" fmla="*/ 317 h 319"/>
                <a:gd name="T78" fmla="*/ 1067 w 1079"/>
                <a:gd name="T79" fmla="*/ 318 h 319"/>
                <a:gd name="T80" fmla="*/ 1063 w 1079"/>
                <a:gd name="T81" fmla="*/ 319 h 319"/>
                <a:gd name="T82" fmla="*/ 1059 w 1079"/>
                <a:gd name="T83"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9" h="319">
                  <a:moveTo>
                    <a:pt x="40" y="279"/>
                  </a:moveTo>
                  <a:lnTo>
                    <a:pt x="1040" y="279"/>
                  </a:lnTo>
                  <a:lnTo>
                    <a:pt x="1040" y="40"/>
                  </a:lnTo>
                  <a:lnTo>
                    <a:pt x="40" y="40"/>
                  </a:lnTo>
                  <a:lnTo>
                    <a:pt x="40" y="279"/>
                  </a:lnTo>
                  <a:close/>
                  <a:moveTo>
                    <a:pt x="1059" y="319"/>
                  </a:moveTo>
                  <a:lnTo>
                    <a:pt x="20" y="319"/>
                  </a:lnTo>
                  <a:lnTo>
                    <a:pt x="15" y="319"/>
                  </a:lnTo>
                  <a:lnTo>
                    <a:pt x="11" y="318"/>
                  </a:lnTo>
                  <a:lnTo>
                    <a:pt x="9" y="317"/>
                  </a:lnTo>
                  <a:lnTo>
                    <a:pt x="5" y="314"/>
                  </a:lnTo>
                  <a:lnTo>
                    <a:pt x="3" y="311"/>
                  </a:lnTo>
                  <a:lnTo>
                    <a:pt x="1" y="308"/>
                  </a:lnTo>
                  <a:lnTo>
                    <a:pt x="0" y="304"/>
                  </a:lnTo>
                  <a:lnTo>
                    <a:pt x="0" y="299"/>
                  </a:lnTo>
                  <a:lnTo>
                    <a:pt x="0" y="20"/>
                  </a:lnTo>
                  <a:lnTo>
                    <a:pt x="0" y="16"/>
                  </a:lnTo>
                  <a:lnTo>
                    <a:pt x="1" y="12"/>
                  </a:lnTo>
                  <a:lnTo>
                    <a:pt x="3" y="9"/>
                  </a:lnTo>
                  <a:lnTo>
                    <a:pt x="5" y="6"/>
                  </a:lnTo>
                  <a:lnTo>
                    <a:pt x="9" y="4"/>
                  </a:lnTo>
                  <a:lnTo>
                    <a:pt x="11" y="1"/>
                  </a:lnTo>
                  <a:lnTo>
                    <a:pt x="15" y="0"/>
                  </a:lnTo>
                  <a:lnTo>
                    <a:pt x="20" y="0"/>
                  </a:lnTo>
                  <a:lnTo>
                    <a:pt x="1059" y="0"/>
                  </a:lnTo>
                  <a:lnTo>
                    <a:pt x="1063" y="0"/>
                  </a:lnTo>
                  <a:lnTo>
                    <a:pt x="1067" y="1"/>
                  </a:lnTo>
                  <a:lnTo>
                    <a:pt x="1071" y="4"/>
                  </a:lnTo>
                  <a:lnTo>
                    <a:pt x="1073" y="6"/>
                  </a:lnTo>
                  <a:lnTo>
                    <a:pt x="1076" y="9"/>
                  </a:lnTo>
                  <a:lnTo>
                    <a:pt x="1078" y="12"/>
                  </a:lnTo>
                  <a:lnTo>
                    <a:pt x="1078" y="16"/>
                  </a:lnTo>
                  <a:lnTo>
                    <a:pt x="1079" y="20"/>
                  </a:lnTo>
                  <a:lnTo>
                    <a:pt x="1079" y="299"/>
                  </a:lnTo>
                  <a:lnTo>
                    <a:pt x="1078" y="304"/>
                  </a:lnTo>
                  <a:lnTo>
                    <a:pt x="1078" y="308"/>
                  </a:lnTo>
                  <a:lnTo>
                    <a:pt x="1076" y="311"/>
                  </a:lnTo>
                  <a:lnTo>
                    <a:pt x="1073" y="314"/>
                  </a:lnTo>
                  <a:lnTo>
                    <a:pt x="1071" y="317"/>
                  </a:lnTo>
                  <a:lnTo>
                    <a:pt x="1067" y="318"/>
                  </a:lnTo>
                  <a:lnTo>
                    <a:pt x="1063" y="319"/>
                  </a:lnTo>
                  <a:lnTo>
                    <a:pt x="105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49">
              <a:extLst>
                <a:ext uri="{FF2B5EF4-FFF2-40B4-BE49-F238E27FC236}">
                  <a16:creationId xmlns:a16="http://schemas.microsoft.com/office/drawing/2014/main" id="{D058CCE8-3E35-4BA4-8D26-9F197817F5DE}"/>
                </a:ext>
              </a:extLst>
            </p:cNvPr>
            <p:cNvSpPr>
              <a:spLocks/>
            </p:cNvSpPr>
            <p:nvPr/>
          </p:nvSpPr>
          <p:spPr bwMode="auto">
            <a:xfrm>
              <a:off x="2592406" y="2684909"/>
              <a:ext cx="295195" cy="173427"/>
            </a:xfrm>
            <a:custGeom>
              <a:avLst/>
              <a:gdLst>
                <a:gd name="T0" fmla="*/ 460 w 480"/>
                <a:gd name="T1" fmla="*/ 280 h 280"/>
                <a:gd name="T2" fmla="*/ 456 w 480"/>
                <a:gd name="T3" fmla="*/ 280 h 280"/>
                <a:gd name="T4" fmla="*/ 452 w 480"/>
                <a:gd name="T5" fmla="*/ 278 h 280"/>
                <a:gd name="T6" fmla="*/ 448 w 480"/>
                <a:gd name="T7" fmla="*/ 276 h 280"/>
                <a:gd name="T8" fmla="*/ 444 w 480"/>
                <a:gd name="T9" fmla="*/ 272 h 280"/>
                <a:gd name="T10" fmla="*/ 251 w 480"/>
                <a:gd name="T11" fmla="*/ 40 h 280"/>
                <a:gd name="T12" fmla="*/ 21 w 480"/>
                <a:gd name="T13" fmla="*/ 40 h 280"/>
                <a:gd name="T14" fmla="*/ 16 w 480"/>
                <a:gd name="T15" fmla="*/ 40 h 280"/>
                <a:gd name="T16" fmla="*/ 12 w 480"/>
                <a:gd name="T17" fmla="*/ 39 h 280"/>
                <a:gd name="T18" fmla="*/ 10 w 480"/>
                <a:gd name="T19" fmla="*/ 36 h 280"/>
                <a:gd name="T20" fmla="*/ 6 w 480"/>
                <a:gd name="T21" fmla="*/ 34 h 280"/>
                <a:gd name="T22" fmla="*/ 3 w 480"/>
                <a:gd name="T23" fmla="*/ 31 h 280"/>
                <a:gd name="T24" fmla="*/ 2 w 480"/>
                <a:gd name="T25" fmla="*/ 27 h 280"/>
                <a:gd name="T26" fmla="*/ 1 w 480"/>
                <a:gd name="T27" fmla="*/ 24 h 280"/>
                <a:gd name="T28" fmla="*/ 0 w 480"/>
                <a:gd name="T29" fmla="*/ 20 h 280"/>
                <a:gd name="T30" fmla="*/ 1 w 480"/>
                <a:gd name="T31" fmla="*/ 16 h 280"/>
                <a:gd name="T32" fmla="*/ 2 w 480"/>
                <a:gd name="T33" fmla="*/ 13 h 280"/>
                <a:gd name="T34" fmla="*/ 3 w 480"/>
                <a:gd name="T35" fmla="*/ 9 h 280"/>
                <a:gd name="T36" fmla="*/ 6 w 480"/>
                <a:gd name="T37" fmla="*/ 5 h 280"/>
                <a:gd name="T38" fmla="*/ 10 w 480"/>
                <a:gd name="T39" fmla="*/ 3 h 280"/>
                <a:gd name="T40" fmla="*/ 12 w 480"/>
                <a:gd name="T41" fmla="*/ 1 h 280"/>
                <a:gd name="T42" fmla="*/ 16 w 480"/>
                <a:gd name="T43" fmla="*/ 0 h 280"/>
                <a:gd name="T44" fmla="*/ 21 w 480"/>
                <a:gd name="T45" fmla="*/ 0 h 280"/>
                <a:gd name="T46" fmla="*/ 261 w 480"/>
                <a:gd name="T47" fmla="*/ 0 h 280"/>
                <a:gd name="T48" fmla="*/ 264 w 480"/>
                <a:gd name="T49" fmla="*/ 0 h 280"/>
                <a:gd name="T50" fmla="*/ 269 w 480"/>
                <a:gd name="T51" fmla="*/ 1 h 280"/>
                <a:gd name="T52" fmla="*/ 273 w 480"/>
                <a:gd name="T53" fmla="*/ 4 h 280"/>
                <a:gd name="T54" fmla="*/ 275 w 480"/>
                <a:gd name="T55" fmla="*/ 6 h 280"/>
                <a:gd name="T56" fmla="*/ 475 w 480"/>
                <a:gd name="T57" fmla="*/ 247 h 280"/>
                <a:gd name="T58" fmla="*/ 478 w 480"/>
                <a:gd name="T59" fmla="*/ 250 h 280"/>
                <a:gd name="T60" fmla="*/ 479 w 480"/>
                <a:gd name="T61" fmla="*/ 254 h 280"/>
                <a:gd name="T62" fmla="*/ 480 w 480"/>
                <a:gd name="T63" fmla="*/ 257 h 280"/>
                <a:gd name="T64" fmla="*/ 480 w 480"/>
                <a:gd name="T65" fmla="*/ 261 h 280"/>
                <a:gd name="T66" fmla="*/ 479 w 480"/>
                <a:gd name="T67" fmla="*/ 265 h 280"/>
                <a:gd name="T68" fmla="*/ 478 w 480"/>
                <a:gd name="T69" fmla="*/ 269 h 280"/>
                <a:gd name="T70" fmla="*/ 475 w 480"/>
                <a:gd name="T71" fmla="*/ 272 h 280"/>
                <a:gd name="T72" fmla="*/ 473 w 480"/>
                <a:gd name="T73" fmla="*/ 275 h 280"/>
                <a:gd name="T74" fmla="*/ 467 w 480"/>
                <a:gd name="T75" fmla="*/ 278 h 280"/>
                <a:gd name="T76" fmla="*/ 460 w 480"/>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 h="280">
                  <a:moveTo>
                    <a:pt x="460" y="280"/>
                  </a:moveTo>
                  <a:lnTo>
                    <a:pt x="456" y="280"/>
                  </a:lnTo>
                  <a:lnTo>
                    <a:pt x="452" y="278"/>
                  </a:lnTo>
                  <a:lnTo>
                    <a:pt x="448" y="276"/>
                  </a:lnTo>
                  <a:lnTo>
                    <a:pt x="444" y="272"/>
                  </a:lnTo>
                  <a:lnTo>
                    <a:pt x="251" y="40"/>
                  </a:lnTo>
                  <a:lnTo>
                    <a:pt x="21" y="40"/>
                  </a:lnTo>
                  <a:lnTo>
                    <a:pt x="16" y="40"/>
                  </a:lnTo>
                  <a:lnTo>
                    <a:pt x="12" y="39"/>
                  </a:lnTo>
                  <a:lnTo>
                    <a:pt x="10" y="36"/>
                  </a:lnTo>
                  <a:lnTo>
                    <a:pt x="6" y="34"/>
                  </a:lnTo>
                  <a:lnTo>
                    <a:pt x="3" y="31"/>
                  </a:lnTo>
                  <a:lnTo>
                    <a:pt x="2" y="27"/>
                  </a:lnTo>
                  <a:lnTo>
                    <a:pt x="1" y="24"/>
                  </a:lnTo>
                  <a:lnTo>
                    <a:pt x="0" y="20"/>
                  </a:lnTo>
                  <a:lnTo>
                    <a:pt x="1" y="16"/>
                  </a:lnTo>
                  <a:lnTo>
                    <a:pt x="2" y="13"/>
                  </a:lnTo>
                  <a:lnTo>
                    <a:pt x="3" y="9"/>
                  </a:lnTo>
                  <a:lnTo>
                    <a:pt x="6" y="5"/>
                  </a:lnTo>
                  <a:lnTo>
                    <a:pt x="10" y="3"/>
                  </a:lnTo>
                  <a:lnTo>
                    <a:pt x="12" y="1"/>
                  </a:lnTo>
                  <a:lnTo>
                    <a:pt x="16" y="0"/>
                  </a:lnTo>
                  <a:lnTo>
                    <a:pt x="21" y="0"/>
                  </a:lnTo>
                  <a:lnTo>
                    <a:pt x="261" y="0"/>
                  </a:lnTo>
                  <a:lnTo>
                    <a:pt x="264" y="0"/>
                  </a:lnTo>
                  <a:lnTo>
                    <a:pt x="269" y="1"/>
                  </a:lnTo>
                  <a:lnTo>
                    <a:pt x="273" y="4"/>
                  </a:lnTo>
                  <a:lnTo>
                    <a:pt x="275" y="6"/>
                  </a:lnTo>
                  <a:lnTo>
                    <a:pt x="475" y="247"/>
                  </a:lnTo>
                  <a:lnTo>
                    <a:pt x="478" y="250"/>
                  </a:lnTo>
                  <a:lnTo>
                    <a:pt x="479" y="254"/>
                  </a:lnTo>
                  <a:lnTo>
                    <a:pt x="480" y="257"/>
                  </a:lnTo>
                  <a:lnTo>
                    <a:pt x="480" y="261"/>
                  </a:lnTo>
                  <a:lnTo>
                    <a:pt x="479" y="265"/>
                  </a:lnTo>
                  <a:lnTo>
                    <a:pt x="478" y="269"/>
                  </a:lnTo>
                  <a:lnTo>
                    <a:pt x="475" y="272"/>
                  </a:lnTo>
                  <a:lnTo>
                    <a:pt x="473" y="275"/>
                  </a:lnTo>
                  <a:lnTo>
                    <a:pt x="467" y="278"/>
                  </a:lnTo>
                  <a:lnTo>
                    <a:pt x="46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50">
              <a:extLst>
                <a:ext uri="{FF2B5EF4-FFF2-40B4-BE49-F238E27FC236}">
                  <a16:creationId xmlns:a16="http://schemas.microsoft.com/office/drawing/2014/main" id="{B3C3F27F-A180-4D1B-92A8-3B3E3851BD53}"/>
                </a:ext>
              </a:extLst>
            </p:cNvPr>
            <p:cNvSpPr>
              <a:spLocks/>
            </p:cNvSpPr>
            <p:nvPr/>
          </p:nvSpPr>
          <p:spPr bwMode="auto">
            <a:xfrm>
              <a:off x="2223412" y="2684909"/>
              <a:ext cx="295195" cy="173427"/>
            </a:xfrm>
            <a:custGeom>
              <a:avLst/>
              <a:gdLst>
                <a:gd name="T0" fmla="*/ 20 w 479"/>
                <a:gd name="T1" fmla="*/ 280 h 280"/>
                <a:gd name="T2" fmla="*/ 12 w 479"/>
                <a:gd name="T3" fmla="*/ 278 h 280"/>
                <a:gd name="T4" fmla="*/ 6 w 479"/>
                <a:gd name="T5" fmla="*/ 275 h 280"/>
                <a:gd name="T6" fmla="*/ 4 w 479"/>
                <a:gd name="T7" fmla="*/ 272 h 280"/>
                <a:gd name="T8" fmla="*/ 1 w 479"/>
                <a:gd name="T9" fmla="*/ 269 h 280"/>
                <a:gd name="T10" fmla="*/ 0 w 479"/>
                <a:gd name="T11" fmla="*/ 265 h 280"/>
                <a:gd name="T12" fmla="*/ 0 w 479"/>
                <a:gd name="T13" fmla="*/ 261 h 280"/>
                <a:gd name="T14" fmla="*/ 0 w 479"/>
                <a:gd name="T15" fmla="*/ 257 h 280"/>
                <a:gd name="T16" fmla="*/ 0 w 479"/>
                <a:gd name="T17" fmla="*/ 254 h 280"/>
                <a:gd name="T18" fmla="*/ 1 w 479"/>
                <a:gd name="T19" fmla="*/ 250 h 280"/>
                <a:gd name="T20" fmla="*/ 4 w 479"/>
                <a:gd name="T21" fmla="*/ 247 h 280"/>
                <a:gd name="T22" fmla="*/ 204 w 479"/>
                <a:gd name="T23" fmla="*/ 6 h 280"/>
                <a:gd name="T24" fmla="*/ 207 w 479"/>
                <a:gd name="T25" fmla="*/ 4 h 280"/>
                <a:gd name="T26" fmla="*/ 211 w 479"/>
                <a:gd name="T27" fmla="*/ 1 h 280"/>
                <a:gd name="T28" fmla="*/ 215 w 479"/>
                <a:gd name="T29" fmla="*/ 0 h 280"/>
                <a:gd name="T30" fmla="*/ 220 w 479"/>
                <a:gd name="T31" fmla="*/ 0 h 280"/>
                <a:gd name="T32" fmla="*/ 460 w 479"/>
                <a:gd name="T33" fmla="*/ 0 h 280"/>
                <a:gd name="T34" fmla="*/ 463 w 479"/>
                <a:gd name="T35" fmla="*/ 0 h 280"/>
                <a:gd name="T36" fmla="*/ 467 w 479"/>
                <a:gd name="T37" fmla="*/ 1 h 280"/>
                <a:gd name="T38" fmla="*/ 471 w 479"/>
                <a:gd name="T39" fmla="*/ 3 h 280"/>
                <a:gd name="T40" fmla="*/ 473 w 479"/>
                <a:gd name="T41" fmla="*/ 5 h 280"/>
                <a:gd name="T42" fmla="*/ 476 w 479"/>
                <a:gd name="T43" fmla="*/ 9 h 280"/>
                <a:gd name="T44" fmla="*/ 478 w 479"/>
                <a:gd name="T45" fmla="*/ 13 h 280"/>
                <a:gd name="T46" fmla="*/ 479 w 479"/>
                <a:gd name="T47" fmla="*/ 16 h 280"/>
                <a:gd name="T48" fmla="*/ 479 w 479"/>
                <a:gd name="T49" fmla="*/ 20 h 280"/>
                <a:gd name="T50" fmla="*/ 479 w 479"/>
                <a:gd name="T51" fmla="*/ 24 h 280"/>
                <a:gd name="T52" fmla="*/ 478 w 479"/>
                <a:gd name="T53" fmla="*/ 27 h 280"/>
                <a:gd name="T54" fmla="*/ 476 w 479"/>
                <a:gd name="T55" fmla="*/ 31 h 280"/>
                <a:gd name="T56" fmla="*/ 473 w 479"/>
                <a:gd name="T57" fmla="*/ 34 h 280"/>
                <a:gd name="T58" fmla="*/ 471 w 479"/>
                <a:gd name="T59" fmla="*/ 36 h 280"/>
                <a:gd name="T60" fmla="*/ 467 w 479"/>
                <a:gd name="T61" fmla="*/ 39 h 280"/>
                <a:gd name="T62" fmla="*/ 463 w 479"/>
                <a:gd name="T63" fmla="*/ 40 h 280"/>
                <a:gd name="T64" fmla="*/ 460 w 479"/>
                <a:gd name="T65" fmla="*/ 40 h 280"/>
                <a:gd name="T66" fmla="*/ 229 w 479"/>
                <a:gd name="T67" fmla="*/ 40 h 280"/>
                <a:gd name="T68" fmla="*/ 35 w 479"/>
                <a:gd name="T69" fmla="*/ 272 h 280"/>
                <a:gd name="T70" fmla="*/ 31 w 479"/>
                <a:gd name="T71" fmla="*/ 276 h 280"/>
                <a:gd name="T72" fmla="*/ 27 w 479"/>
                <a:gd name="T73" fmla="*/ 278 h 280"/>
                <a:gd name="T74" fmla="*/ 24 w 479"/>
                <a:gd name="T75" fmla="*/ 280 h 280"/>
                <a:gd name="T76" fmla="*/ 20 w 479"/>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9" h="280">
                  <a:moveTo>
                    <a:pt x="20" y="280"/>
                  </a:moveTo>
                  <a:lnTo>
                    <a:pt x="12" y="278"/>
                  </a:lnTo>
                  <a:lnTo>
                    <a:pt x="6" y="275"/>
                  </a:lnTo>
                  <a:lnTo>
                    <a:pt x="4" y="272"/>
                  </a:lnTo>
                  <a:lnTo>
                    <a:pt x="1" y="269"/>
                  </a:lnTo>
                  <a:lnTo>
                    <a:pt x="0" y="265"/>
                  </a:lnTo>
                  <a:lnTo>
                    <a:pt x="0" y="261"/>
                  </a:lnTo>
                  <a:lnTo>
                    <a:pt x="0" y="257"/>
                  </a:lnTo>
                  <a:lnTo>
                    <a:pt x="0" y="254"/>
                  </a:lnTo>
                  <a:lnTo>
                    <a:pt x="1" y="250"/>
                  </a:lnTo>
                  <a:lnTo>
                    <a:pt x="4" y="247"/>
                  </a:lnTo>
                  <a:lnTo>
                    <a:pt x="204" y="6"/>
                  </a:lnTo>
                  <a:lnTo>
                    <a:pt x="207" y="4"/>
                  </a:lnTo>
                  <a:lnTo>
                    <a:pt x="211" y="1"/>
                  </a:lnTo>
                  <a:lnTo>
                    <a:pt x="215" y="0"/>
                  </a:lnTo>
                  <a:lnTo>
                    <a:pt x="220" y="0"/>
                  </a:lnTo>
                  <a:lnTo>
                    <a:pt x="460" y="0"/>
                  </a:lnTo>
                  <a:lnTo>
                    <a:pt x="463" y="0"/>
                  </a:lnTo>
                  <a:lnTo>
                    <a:pt x="467" y="1"/>
                  </a:lnTo>
                  <a:lnTo>
                    <a:pt x="471" y="3"/>
                  </a:lnTo>
                  <a:lnTo>
                    <a:pt x="473" y="5"/>
                  </a:lnTo>
                  <a:lnTo>
                    <a:pt x="476" y="9"/>
                  </a:lnTo>
                  <a:lnTo>
                    <a:pt x="478" y="13"/>
                  </a:lnTo>
                  <a:lnTo>
                    <a:pt x="479" y="16"/>
                  </a:lnTo>
                  <a:lnTo>
                    <a:pt x="479" y="20"/>
                  </a:lnTo>
                  <a:lnTo>
                    <a:pt x="479" y="24"/>
                  </a:lnTo>
                  <a:lnTo>
                    <a:pt x="478" y="27"/>
                  </a:lnTo>
                  <a:lnTo>
                    <a:pt x="476" y="31"/>
                  </a:lnTo>
                  <a:lnTo>
                    <a:pt x="473" y="34"/>
                  </a:lnTo>
                  <a:lnTo>
                    <a:pt x="471" y="36"/>
                  </a:lnTo>
                  <a:lnTo>
                    <a:pt x="467" y="39"/>
                  </a:lnTo>
                  <a:lnTo>
                    <a:pt x="463" y="40"/>
                  </a:lnTo>
                  <a:lnTo>
                    <a:pt x="460" y="40"/>
                  </a:lnTo>
                  <a:lnTo>
                    <a:pt x="229" y="40"/>
                  </a:lnTo>
                  <a:lnTo>
                    <a:pt x="35" y="272"/>
                  </a:lnTo>
                  <a:lnTo>
                    <a:pt x="31" y="276"/>
                  </a:lnTo>
                  <a:lnTo>
                    <a:pt x="27" y="278"/>
                  </a:lnTo>
                  <a:lnTo>
                    <a:pt x="24" y="280"/>
                  </a:lnTo>
                  <a:lnTo>
                    <a:pt x="2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51">
              <a:extLst>
                <a:ext uri="{FF2B5EF4-FFF2-40B4-BE49-F238E27FC236}">
                  <a16:creationId xmlns:a16="http://schemas.microsoft.com/office/drawing/2014/main" id="{30811D99-003D-4734-BF3D-F6396819A599}"/>
                </a:ext>
              </a:extLst>
            </p:cNvPr>
            <p:cNvSpPr>
              <a:spLocks/>
            </p:cNvSpPr>
            <p:nvPr/>
          </p:nvSpPr>
          <p:spPr bwMode="auto">
            <a:xfrm>
              <a:off x="2544437" y="2552647"/>
              <a:ext cx="25830" cy="293350"/>
            </a:xfrm>
            <a:custGeom>
              <a:avLst/>
              <a:gdLst>
                <a:gd name="T0" fmla="*/ 20 w 41"/>
                <a:gd name="T1" fmla="*/ 478 h 478"/>
                <a:gd name="T2" fmla="*/ 16 w 41"/>
                <a:gd name="T3" fmla="*/ 478 h 478"/>
                <a:gd name="T4" fmla="*/ 12 w 41"/>
                <a:gd name="T5" fmla="*/ 477 h 478"/>
                <a:gd name="T6" fmla="*/ 8 w 41"/>
                <a:gd name="T7" fmla="*/ 475 h 478"/>
                <a:gd name="T8" fmla="*/ 6 w 41"/>
                <a:gd name="T9" fmla="*/ 472 h 478"/>
                <a:gd name="T10" fmla="*/ 3 w 41"/>
                <a:gd name="T11" fmla="*/ 470 h 478"/>
                <a:gd name="T12" fmla="*/ 2 w 41"/>
                <a:gd name="T13" fmla="*/ 466 h 478"/>
                <a:gd name="T14" fmla="*/ 1 w 41"/>
                <a:gd name="T15" fmla="*/ 462 h 478"/>
                <a:gd name="T16" fmla="*/ 0 w 41"/>
                <a:gd name="T17" fmla="*/ 459 h 478"/>
                <a:gd name="T18" fmla="*/ 0 w 41"/>
                <a:gd name="T19" fmla="*/ 20 h 478"/>
                <a:gd name="T20" fmla="*/ 1 w 41"/>
                <a:gd name="T21" fmla="*/ 16 h 478"/>
                <a:gd name="T22" fmla="*/ 2 w 41"/>
                <a:gd name="T23" fmla="*/ 13 h 478"/>
                <a:gd name="T24" fmla="*/ 3 w 41"/>
                <a:gd name="T25" fmla="*/ 9 h 478"/>
                <a:gd name="T26" fmla="*/ 6 w 41"/>
                <a:gd name="T27" fmla="*/ 5 h 478"/>
                <a:gd name="T28" fmla="*/ 8 w 41"/>
                <a:gd name="T29" fmla="*/ 3 h 478"/>
                <a:gd name="T30" fmla="*/ 12 w 41"/>
                <a:gd name="T31" fmla="*/ 1 h 478"/>
                <a:gd name="T32" fmla="*/ 16 w 41"/>
                <a:gd name="T33" fmla="*/ 0 h 478"/>
                <a:gd name="T34" fmla="*/ 20 w 41"/>
                <a:gd name="T35" fmla="*/ 0 h 478"/>
                <a:gd name="T36" fmla="*/ 25 w 41"/>
                <a:gd name="T37" fmla="*/ 0 h 478"/>
                <a:gd name="T38" fmla="*/ 28 w 41"/>
                <a:gd name="T39" fmla="*/ 1 h 478"/>
                <a:gd name="T40" fmla="*/ 31 w 41"/>
                <a:gd name="T41" fmla="*/ 3 h 478"/>
                <a:gd name="T42" fmla="*/ 34 w 41"/>
                <a:gd name="T43" fmla="*/ 5 h 478"/>
                <a:gd name="T44" fmla="*/ 37 w 41"/>
                <a:gd name="T45" fmla="*/ 9 h 478"/>
                <a:gd name="T46" fmla="*/ 38 w 41"/>
                <a:gd name="T47" fmla="*/ 13 h 478"/>
                <a:gd name="T48" fmla="*/ 39 w 41"/>
                <a:gd name="T49" fmla="*/ 16 h 478"/>
                <a:gd name="T50" fmla="*/ 41 w 41"/>
                <a:gd name="T51" fmla="*/ 20 h 478"/>
                <a:gd name="T52" fmla="*/ 41 w 41"/>
                <a:gd name="T53" fmla="*/ 459 h 478"/>
                <a:gd name="T54" fmla="*/ 39 w 41"/>
                <a:gd name="T55" fmla="*/ 462 h 478"/>
                <a:gd name="T56" fmla="*/ 38 w 41"/>
                <a:gd name="T57" fmla="*/ 466 h 478"/>
                <a:gd name="T58" fmla="*/ 37 w 41"/>
                <a:gd name="T59" fmla="*/ 470 h 478"/>
                <a:gd name="T60" fmla="*/ 34 w 41"/>
                <a:gd name="T61" fmla="*/ 472 h 478"/>
                <a:gd name="T62" fmla="*/ 31 w 41"/>
                <a:gd name="T63" fmla="*/ 475 h 478"/>
                <a:gd name="T64" fmla="*/ 28 w 41"/>
                <a:gd name="T65" fmla="*/ 477 h 478"/>
                <a:gd name="T66" fmla="*/ 25 w 41"/>
                <a:gd name="T67" fmla="*/ 478 h 478"/>
                <a:gd name="T68" fmla="*/ 20 w 41"/>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78">
                  <a:moveTo>
                    <a:pt x="20" y="478"/>
                  </a:moveTo>
                  <a:lnTo>
                    <a:pt x="16" y="478"/>
                  </a:lnTo>
                  <a:lnTo>
                    <a:pt x="12" y="477"/>
                  </a:lnTo>
                  <a:lnTo>
                    <a:pt x="8" y="475"/>
                  </a:lnTo>
                  <a:lnTo>
                    <a:pt x="6" y="472"/>
                  </a:lnTo>
                  <a:lnTo>
                    <a:pt x="3" y="470"/>
                  </a:lnTo>
                  <a:lnTo>
                    <a:pt x="2" y="466"/>
                  </a:lnTo>
                  <a:lnTo>
                    <a:pt x="1" y="462"/>
                  </a:lnTo>
                  <a:lnTo>
                    <a:pt x="0" y="459"/>
                  </a:lnTo>
                  <a:lnTo>
                    <a:pt x="0" y="20"/>
                  </a:lnTo>
                  <a:lnTo>
                    <a:pt x="1" y="16"/>
                  </a:lnTo>
                  <a:lnTo>
                    <a:pt x="2" y="13"/>
                  </a:lnTo>
                  <a:lnTo>
                    <a:pt x="3" y="9"/>
                  </a:lnTo>
                  <a:lnTo>
                    <a:pt x="6" y="5"/>
                  </a:lnTo>
                  <a:lnTo>
                    <a:pt x="8" y="3"/>
                  </a:lnTo>
                  <a:lnTo>
                    <a:pt x="12" y="1"/>
                  </a:lnTo>
                  <a:lnTo>
                    <a:pt x="16" y="0"/>
                  </a:lnTo>
                  <a:lnTo>
                    <a:pt x="20" y="0"/>
                  </a:lnTo>
                  <a:lnTo>
                    <a:pt x="25" y="0"/>
                  </a:lnTo>
                  <a:lnTo>
                    <a:pt x="28" y="1"/>
                  </a:lnTo>
                  <a:lnTo>
                    <a:pt x="31" y="3"/>
                  </a:lnTo>
                  <a:lnTo>
                    <a:pt x="34" y="5"/>
                  </a:lnTo>
                  <a:lnTo>
                    <a:pt x="37" y="9"/>
                  </a:lnTo>
                  <a:lnTo>
                    <a:pt x="38" y="13"/>
                  </a:lnTo>
                  <a:lnTo>
                    <a:pt x="39" y="16"/>
                  </a:lnTo>
                  <a:lnTo>
                    <a:pt x="41" y="20"/>
                  </a:lnTo>
                  <a:lnTo>
                    <a:pt x="41" y="459"/>
                  </a:lnTo>
                  <a:lnTo>
                    <a:pt x="39" y="462"/>
                  </a:lnTo>
                  <a:lnTo>
                    <a:pt x="38" y="466"/>
                  </a:lnTo>
                  <a:lnTo>
                    <a:pt x="37" y="470"/>
                  </a:lnTo>
                  <a:lnTo>
                    <a:pt x="34" y="472"/>
                  </a:lnTo>
                  <a:lnTo>
                    <a:pt x="31" y="475"/>
                  </a:lnTo>
                  <a:lnTo>
                    <a:pt x="28" y="477"/>
                  </a:lnTo>
                  <a:lnTo>
                    <a:pt x="25" y="478"/>
                  </a:lnTo>
                  <a:lnTo>
                    <a:pt x="2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52">
              <a:extLst>
                <a:ext uri="{FF2B5EF4-FFF2-40B4-BE49-F238E27FC236}">
                  <a16:creationId xmlns:a16="http://schemas.microsoft.com/office/drawing/2014/main" id="{279AACCB-0552-4B5C-9983-8F5B9F6A2B02}"/>
                </a:ext>
              </a:extLst>
            </p:cNvPr>
            <p:cNvSpPr>
              <a:spLocks/>
            </p:cNvSpPr>
            <p:nvPr/>
          </p:nvSpPr>
          <p:spPr bwMode="auto">
            <a:xfrm>
              <a:off x="2468794" y="2748214"/>
              <a:ext cx="173427" cy="99628"/>
            </a:xfrm>
            <a:custGeom>
              <a:avLst/>
              <a:gdLst>
                <a:gd name="T0" fmla="*/ 140 w 282"/>
                <a:gd name="T1" fmla="*/ 162 h 162"/>
                <a:gd name="T2" fmla="*/ 137 w 282"/>
                <a:gd name="T3" fmla="*/ 162 h 162"/>
                <a:gd name="T4" fmla="*/ 133 w 282"/>
                <a:gd name="T5" fmla="*/ 160 h 162"/>
                <a:gd name="T6" fmla="*/ 129 w 282"/>
                <a:gd name="T7" fmla="*/ 158 h 162"/>
                <a:gd name="T8" fmla="*/ 127 w 282"/>
                <a:gd name="T9" fmla="*/ 155 h 162"/>
                <a:gd name="T10" fmla="*/ 5 w 282"/>
                <a:gd name="T11" fmla="*/ 35 h 162"/>
                <a:gd name="T12" fmla="*/ 2 w 282"/>
                <a:gd name="T13" fmla="*/ 31 h 162"/>
                <a:gd name="T14" fmla="*/ 1 w 282"/>
                <a:gd name="T15" fmla="*/ 28 h 162"/>
                <a:gd name="T16" fmla="*/ 0 w 282"/>
                <a:gd name="T17" fmla="*/ 24 h 162"/>
                <a:gd name="T18" fmla="*/ 0 w 282"/>
                <a:gd name="T19" fmla="*/ 20 h 162"/>
                <a:gd name="T20" fmla="*/ 0 w 282"/>
                <a:gd name="T21" fmla="*/ 16 h 162"/>
                <a:gd name="T22" fmla="*/ 1 w 282"/>
                <a:gd name="T23" fmla="*/ 13 h 162"/>
                <a:gd name="T24" fmla="*/ 2 w 282"/>
                <a:gd name="T25" fmla="*/ 9 h 162"/>
                <a:gd name="T26" fmla="*/ 5 w 282"/>
                <a:gd name="T27" fmla="*/ 6 h 162"/>
                <a:gd name="T28" fmla="*/ 9 w 282"/>
                <a:gd name="T29" fmla="*/ 4 h 162"/>
                <a:gd name="T30" fmla="*/ 12 w 282"/>
                <a:gd name="T31" fmla="*/ 1 h 162"/>
                <a:gd name="T32" fmla="*/ 16 w 282"/>
                <a:gd name="T33" fmla="*/ 0 h 162"/>
                <a:gd name="T34" fmla="*/ 20 w 282"/>
                <a:gd name="T35" fmla="*/ 0 h 162"/>
                <a:gd name="T36" fmla="*/ 24 w 282"/>
                <a:gd name="T37" fmla="*/ 0 h 162"/>
                <a:gd name="T38" fmla="*/ 27 w 282"/>
                <a:gd name="T39" fmla="*/ 1 h 162"/>
                <a:gd name="T40" fmla="*/ 30 w 282"/>
                <a:gd name="T41" fmla="*/ 4 h 162"/>
                <a:gd name="T42" fmla="*/ 34 w 282"/>
                <a:gd name="T43" fmla="*/ 6 h 162"/>
                <a:gd name="T44" fmla="*/ 140 w 282"/>
                <a:gd name="T45" fmla="*/ 113 h 162"/>
                <a:gd name="T46" fmla="*/ 248 w 282"/>
                <a:gd name="T47" fmla="*/ 6 h 162"/>
                <a:gd name="T48" fmla="*/ 251 w 282"/>
                <a:gd name="T49" fmla="*/ 4 h 162"/>
                <a:gd name="T50" fmla="*/ 255 w 282"/>
                <a:gd name="T51" fmla="*/ 1 h 162"/>
                <a:gd name="T52" fmla="*/ 258 w 282"/>
                <a:gd name="T53" fmla="*/ 0 h 162"/>
                <a:gd name="T54" fmla="*/ 262 w 282"/>
                <a:gd name="T55" fmla="*/ 0 h 162"/>
                <a:gd name="T56" fmla="*/ 266 w 282"/>
                <a:gd name="T57" fmla="*/ 0 h 162"/>
                <a:gd name="T58" fmla="*/ 269 w 282"/>
                <a:gd name="T59" fmla="*/ 1 h 162"/>
                <a:gd name="T60" fmla="*/ 273 w 282"/>
                <a:gd name="T61" fmla="*/ 4 h 162"/>
                <a:gd name="T62" fmla="*/ 276 w 282"/>
                <a:gd name="T63" fmla="*/ 6 h 162"/>
                <a:gd name="T64" fmla="*/ 279 w 282"/>
                <a:gd name="T65" fmla="*/ 9 h 162"/>
                <a:gd name="T66" fmla="*/ 281 w 282"/>
                <a:gd name="T67" fmla="*/ 13 h 162"/>
                <a:gd name="T68" fmla="*/ 282 w 282"/>
                <a:gd name="T69" fmla="*/ 16 h 162"/>
                <a:gd name="T70" fmla="*/ 282 w 282"/>
                <a:gd name="T71" fmla="*/ 20 h 162"/>
                <a:gd name="T72" fmla="*/ 282 w 282"/>
                <a:gd name="T73" fmla="*/ 24 h 162"/>
                <a:gd name="T74" fmla="*/ 281 w 282"/>
                <a:gd name="T75" fmla="*/ 28 h 162"/>
                <a:gd name="T76" fmla="*/ 279 w 282"/>
                <a:gd name="T77" fmla="*/ 31 h 162"/>
                <a:gd name="T78" fmla="*/ 276 w 282"/>
                <a:gd name="T79" fmla="*/ 35 h 162"/>
                <a:gd name="T80" fmla="*/ 155 w 282"/>
                <a:gd name="T81" fmla="*/ 155 h 162"/>
                <a:gd name="T82" fmla="*/ 152 w 282"/>
                <a:gd name="T83" fmla="*/ 158 h 162"/>
                <a:gd name="T84" fmla="*/ 148 w 282"/>
                <a:gd name="T85" fmla="*/ 160 h 162"/>
                <a:gd name="T86" fmla="*/ 144 w 282"/>
                <a:gd name="T87" fmla="*/ 162 h 162"/>
                <a:gd name="T88" fmla="*/ 140 w 282"/>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62">
                  <a:moveTo>
                    <a:pt x="140" y="162"/>
                  </a:moveTo>
                  <a:lnTo>
                    <a:pt x="137" y="162"/>
                  </a:lnTo>
                  <a:lnTo>
                    <a:pt x="133" y="160"/>
                  </a:lnTo>
                  <a:lnTo>
                    <a:pt x="129" y="158"/>
                  </a:lnTo>
                  <a:lnTo>
                    <a:pt x="127" y="155"/>
                  </a:lnTo>
                  <a:lnTo>
                    <a:pt x="5" y="35"/>
                  </a:lnTo>
                  <a:lnTo>
                    <a:pt x="2" y="31"/>
                  </a:lnTo>
                  <a:lnTo>
                    <a:pt x="1" y="28"/>
                  </a:lnTo>
                  <a:lnTo>
                    <a:pt x="0" y="24"/>
                  </a:lnTo>
                  <a:lnTo>
                    <a:pt x="0" y="20"/>
                  </a:lnTo>
                  <a:lnTo>
                    <a:pt x="0" y="16"/>
                  </a:lnTo>
                  <a:lnTo>
                    <a:pt x="1" y="13"/>
                  </a:lnTo>
                  <a:lnTo>
                    <a:pt x="2" y="9"/>
                  </a:lnTo>
                  <a:lnTo>
                    <a:pt x="5" y="6"/>
                  </a:lnTo>
                  <a:lnTo>
                    <a:pt x="9" y="4"/>
                  </a:lnTo>
                  <a:lnTo>
                    <a:pt x="12" y="1"/>
                  </a:lnTo>
                  <a:lnTo>
                    <a:pt x="16" y="0"/>
                  </a:lnTo>
                  <a:lnTo>
                    <a:pt x="20" y="0"/>
                  </a:lnTo>
                  <a:lnTo>
                    <a:pt x="24" y="0"/>
                  </a:lnTo>
                  <a:lnTo>
                    <a:pt x="27" y="1"/>
                  </a:lnTo>
                  <a:lnTo>
                    <a:pt x="30" y="4"/>
                  </a:lnTo>
                  <a:lnTo>
                    <a:pt x="34" y="6"/>
                  </a:lnTo>
                  <a:lnTo>
                    <a:pt x="140" y="113"/>
                  </a:lnTo>
                  <a:lnTo>
                    <a:pt x="248" y="6"/>
                  </a:lnTo>
                  <a:lnTo>
                    <a:pt x="251" y="4"/>
                  </a:lnTo>
                  <a:lnTo>
                    <a:pt x="255" y="1"/>
                  </a:lnTo>
                  <a:lnTo>
                    <a:pt x="258" y="0"/>
                  </a:lnTo>
                  <a:lnTo>
                    <a:pt x="262" y="0"/>
                  </a:lnTo>
                  <a:lnTo>
                    <a:pt x="266" y="0"/>
                  </a:lnTo>
                  <a:lnTo>
                    <a:pt x="269" y="1"/>
                  </a:lnTo>
                  <a:lnTo>
                    <a:pt x="273" y="4"/>
                  </a:lnTo>
                  <a:lnTo>
                    <a:pt x="276" y="6"/>
                  </a:lnTo>
                  <a:lnTo>
                    <a:pt x="279" y="9"/>
                  </a:lnTo>
                  <a:lnTo>
                    <a:pt x="281" y="13"/>
                  </a:lnTo>
                  <a:lnTo>
                    <a:pt x="282" y="16"/>
                  </a:lnTo>
                  <a:lnTo>
                    <a:pt x="282" y="20"/>
                  </a:lnTo>
                  <a:lnTo>
                    <a:pt x="282" y="24"/>
                  </a:lnTo>
                  <a:lnTo>
                    <a:pt x="281" y="28"/>
                  </a:lnTo>
                  <a:lnTo>
                    <a:pt x="279" y="31"/>
                  </a:lnTo>
                  <a:lnTo>
                    <a:pt x="276" y="35"/>
                  </a:lnTo>
                  <a:lnTo>
                    <a:pt x="155" y="155"/>
                  </a:lnTo>
                  <a:lnTo>
                    <a:pt x="152" y="158"/>
                  </a:lnTo>
                  <a:lnTo>
                    <a:pt x="148" y="160"/>
                  </a:lnTo>
                  <a:lnTo>
                    <a:pt x="144" y="162"/>
                  </a:lnTo>
                  <a:lnTo>
                    <a:pt x="140"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2" name="Freeform 329">
            <a:extLst>
              <a:ext uri="{FF2B5EF4-FFF2-40B4-BE49-F238E27FC236}">
                <a16:creationId xmlns:a16="http://schemas.microsoft.com/office/drawing/2014/main" id="{9F5EFAB8-4B86-47D4-BEBE-AAA979557B45}"/>
              </a:ext>
            </a:extLst>
          </p:cNvPr>
          <p:cNvSpPr>
            <a:spLocks noChangeAspect="1" noEditPoints="1"/>
          </p:cNvSpPr>
          <p:nvPr/>
        </p:nvSpPr>
        <p:spPr bwMode="auto">
          <a:xfrm>
            <a:off x="1464006" y="5944848"/>
            <a:ext cx="315291" cy="306484"/>
          </a:xfrm>
          <a:custGeom>
            <a:avLst/>
            <a:gdLst>
              <a:gd name="T0" fmla="*/ 867 w 896"/>
              <a:gd name="T1" fmla="*/ 271 h 869"/>
              <a:gd name="T2" fmla="*/ 598 w 896"/>
              <a:gd name="T3" fmla="*/ 421 h 869"/>
              <a:gd name="T4" fmla="*/ 298 w 896"/>
              <a:gd name="T5" fmla="*/ 421 h 869"/>
              <a:gd name="T6" fmla="*/ 30 w 896"/>
              <a:gd name="T7" fmla="*/ 271 h 869"/>
              <a:gd name="T8" fmla="*/ 30 w 896"/>
              <a:gd name="T9" fmla="*/ 271 h 869"/>
              <a:gd name="T10" fmla="*/ 262 w 896"/>
              <a:gd name="T11" fmla="*/ 39 h 869"/>
              <a:gd name="T12" fmla="*/ 292 w 896"/>
              <a:gd name="T13" fmla="*/ 30 h 869"/>
              <a:gd name="T14" fmla="*/ 323 w 896"/>
              <a:gd name="T15" fmla="*/ 33 h 869"/>
              <a:gd name="T16" fmla="*/ 350 w 896"/>
              <a:gd name="T17" fmla="*/ 47 h 869"/>
              <a:gd name="T18" fmla="*/ 370 w 896"/>
              <a:gd name="T19" fmla="*/ 74 h 869"/>
              <a:gd name="T20" fmla="*/ 403 w 896"/>
              <a:gd name="T21" fmla="*/ 159 h 869"/>
              <a:gd name="T22" fmla="*/ 402 w 896"/>
              <a:gd name="T23" fmla="*/ 228 h 869"/>
              <a:gd name="T24" fmla="*/ 296 w 896"/>
              <a:gd name="T25" fmla="*/ 194 h 869"/>
              <a:gd name="T26" fmla="*/ 249 w 896"/>
              <a:gd name="T27" fmla="*/ 170 h 869"/>
              <a:gd name="T28" fmla="*/ 230 w 896"/>
              <a:gd name="T29" fmla="*/ 146 h 869"/>
              <a:gd name="T30" fmla="*/ 221 w 896"/>
              <a:gd name="T31" fmla="*/ 117 h 869"/>
              <a:gd name="T32" fmla="*/ 224 w 896"/>
              <a:gd name="T33" fmla="*/ 87 h 869"/>
              <a:gd name="T34" fmla="*/ 239 w 896"/>
              <a:gd name="T35" fmla="*/ 59 h 869"/>
              <a:gd name="T36" fmla="*/ 543 w 896"/>
              <a:gd name="T37" fmla="*/ 47 h 869"/>
              <a:gd name="T38" fmla="*/ 570 w 896"/>
              <a:gd name="T39" fmla="*/ 33 h 869"/>
              <a:gd name="T40" fmla="*/ 601 w 896"/>
              <a:gd name="T41" fmla="*/ 30 h 869"/>
              <a:gd name="T42" fmla="*/ 631 w 896"/>
              <a:gd name="T43" fmla="*/ 39 h 869"/>
              <a:gd name="T44" fmla="*/ 654 w 896"/>
              <a:gd name="T45" fmla="*/ 59 h 869"/>
              <a:gd name="T46" fmla="*/ 669 w 896"/>
              <a:gd name="T47" fmla="*/ 87 h 869"/>
              <a:gd name="T48" fmla="*/ 672 w 896"/>
              <a:gd name="T49" fmla="*/ 117 h 869"/>
              <a:gd name="T50" fmla="*/ 663 w 896"/>
              <a:gd name="T51" fmla="*/ 146 h 869"/>
              <a:gd name="T52" fmla="*/ 644 w 896"/>
              <a:gd name="T53" fmla="*/ 169 h 869"/>
              <a:gd name="T54" fmla="*/ 597 w 896"/>
              <a:gd name="T55" fmla="*/ 194 h 869"/>
              <a:gd name="T56" fmla="*/ 491 w 896"/>
              <a:gd name="T57" fmla="*/ 228 h 869"/>
              <a:gd name="T58" fmla="*/ 490 w 896"/>
              <a:gd name="T59" fmla="*/ 159 h 869"/>
              <a:gd name="T60" fmla="*/ 523 w 896"/>
              <a:gd name="T61" fmla="*/ 74 h 869"/>
              <a:gd name="T62" fmla="*/ 537 w 896"/>
              <a:gd name="T63" fmla="*/ 53 h 869"/>
              <a:gd name="T64" fmla="*/ 328 w 896"/>
              <a:gd name="T65" fmla="*/ 421 h 869"/>
              <a:gd name="T66" fmla="*/ 568 w 896"/>
              <a:gd name="T67" fmla="*/ 271 h 869"/>
              <a:gd name="T68" fmla="*/ 554 w 896"/>
              <a:gd name="T69" fmla="*/ 241 h 869"/>
              <a:gd name="T70" fmla="*/ 650 w 896"/>
              <a:gd name="T71" fmla="*/ 201 h 869"/>
              <a:gd name="T72" fmla="*/ 684 w 896"/>
              <a:gd name="T73" fmla="*/ 169 h 869"/>
              <a:gd name="T74" fmla="*/ 700 w 896"/>
              <a:gd name="T75" fmla="*/ 130 h 869"/>
              <a:gd name="T76" fmla="*/ 700 w 896"/>
              <a:gd name="T77" fmla="*/ 88 h 869"/>
              <a:gd name="T78" fmla="*/ 684 w 896"/>
              <a:gd name="T79" fmla="*/ 50 h 869"/>
              <a:gd name="T80" fmla="*/ 653 w 896"/>
              <a:gd name="T81" fmla="*/ 18 h 869"/>
              <a:gd name="T82" fmla="*/ 615 w 896"/>
              <a:gd name="T83" fmla="*/ 2 h 869"/>
              <a:gd name="T84" fmla="*/ 572 w 896"/>
              <a:gd name="T85" fmla="*/ 2 h 869"/>
              <a:gd name="T86" fmla="*/ 533 w 896"/>
              <a:gd name="T87" fmla="*/ 18 h 869"/>
              <a:gd name="T88" fmla="*/ 506 w 896"/>
              <a:gd name="T89" fmla="*/ 44 h 869"/>
              <a:gd name="T90" fmla="*/ 477 w 896"/>
              <a:gd name="T91" fmla="*/ 103 h 869"/>
              <a:gd name="T92" fmla="*/ 447 w 896"/>
              <a:gd name="T93" fmla="*/ 198 h 869"/>
              <a:gd name="T94" fmla="*/ 416 w 896"/>
              <a:gd name="T95" fmla="*/ 103 h 869"/>
              <a:gd name="T96" fmla="*/ 387 w 896"/>
              <a:gd name="T97" fmla="*/ 44 h 869"/>
              <a:gd name="T98" fmla="*/ 360 w 896"/>
              <a:gd name="T99" fmla="*/ 18 h 869"/>
              <a:gd name="T100" fmla="*/ 321 w 896"/>
              <a:gd name="T101" fmla="*/ 2 h 869"/>
              <a:gd name="T102" fmla="*/ 278 w 896"/>
              <a:gd name="T103" fmla="*/ 2 h 869"/>
              <a:gd name="T104" fmla="*/ 240 w 896"/>
              <a:gd name="T105" fmla="*/ 18 h 869"/>
              <a:gd name="T106" fmla="*/ 209 w 896"/>
              <a:gd name="T107" fmla="*/ 50 h 869"/>
              <a:gd name="T108" fmla="*/ 193 w 896"/>
              <a:gd name="T109" fmla="*/ 88 h 869"/>
              <a:gd name="T110" fmla="*/ 193 w 896"/>
              <a:gd name="T111" fmla="*/ 130 h 869"/>
              <a:gd name="T112" fmla="*/ 209 w 896"/>
              <a:gd name="T113" fmla="*/ 169 h 869"/>
              <a:gd name="T114" fmla="*/ 243 w 896"/>
              <a:gd name="T115" fmla="*/ 201 h 869"/>
              <a:gd name="T116" fmla="*/ 339 w 896"/>
              <a:gd name="T117" fmla="*/ 241 h 869"/>
              <a:gd name="T118" fmla="*/ 30 w 896"/>
              <a:gd name="T119" fmla="*/ 869 h 869"/>
              <a:gd name="T120" fmla="*/ 896 w 896"/>
              <a:gd name="T121" fmla="*/ 241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6" h="869">
                <a:moveTo>
                  <a:pt x="867" y="391"/>
                </a:moveTo>
                <a:lnTo>
                  <a:pt x="598" y="391"/>
                </a:lnTo>
                <a:lnTo>
                  <a:pt x="598" y="271"/>
                </a:lnTo>
                <a:lnTo>
                  <a:pt x="867" y="271"/>
                </a:lnTo>
                <a:lnTo>
                  <a:pt x="867" y="391"/>
                </a:lnTo>
                <a:close/>
                <a:moveTo>
                  <a:pt x="837" y="839"/>
                </a:moveTo>
                <a:lnTo>
                  <a:pt x="598" y="839"/>
                </a:lnTo>
                <a:lnTo>
                  <a:pt x="598" y="421"/>
                </a:lnTo>
                <a:lnTo>
                  <a:pt x="837" y="421"/>
                </a:lnTo>
                <a:lnTo>
                  <a:pt x="837" y="839"/>
                </a:lnTo>
                <a:close/>
                <a:moveTo>
                  <a:pt x="60" y="421"/>
                </a:moveTo>
                <a:lnTo>
                  <a:pt x="298" y="421"/>
                </a:lnTo>
                <a:lnTo>
                  <a:pt x="298" y="839"/>
                </a:lnTo>
                <a:lnTo>
                  <a:pt x="60" y="839"/>
                </a:lnTo>
                <a:lnTo>
                  <a:pt x="60" y="421"/>
                </a:lnTo>
                <a:close/>
                <a:moveTo>
                  <a:pt x="30" y="271"/>
                </a:moveTo>
                <a:lnTo>
                  <a:pt x="298" y="271"/>
                </a:lnTo>
                <a:lnTo>
                  <a:pt x="298" y="391"/>
                </a:lnTo>
                <a:lnTo>
                  <a:pt x="30" y="391"/>
                </a:lnTo>
                <a:lnTo>
                  <a:pt x="30" y="271"/>
                </a:lnTo>
                <a:close/>
                <a:moveTo>
                  <a:pt x="244" y="53"/>
                </a:moveTo>
                <a:lnTo>
                  <a:pt x="249" y="47"/>
                </a:lnTo>
                <a:lnTo>
                  <a:pt x="256" y="43"/>
                </a:lnTo>
                <a:lnTo>
                  <a:pt x="262" y="39"/>
                </a:lnTo>
                <a:lnTo>
                  <a:pt x="270" y="36"/>
                </a:lnTo>
                <a:lnTo>
                  <a:pt x="277" y="33"/>
                </a:lnTo>
                <a:lnTo>
                  <a:pt x="284" y="31"/>
                </a:lnTo>
                <a:lnTo>
                  <a:pt x="292" y="30"/>
                </a:lnTo>
                <a:lnTo>
                  <a:pt x="299" y="30"/>
                </a:lnTo>
                <a:lnTo>
                  <a:pt x="308" y="30"/>
                </a:lnTo>
                <a:lnTo>
                  <a:pt x="316" y="31"/>
                </a:lnTo>
                <a:lnTo>
                  <a:pt x="323" y="33"/>
                </a:lnTo>
                <a:lnTo>
                  <a:pt x="330" y="36"/>
                </a:lnTo>
                <a:lnTo>
                  <a:pt x="337" y="39"/>
                </a:lnTo>
                <a:lnTo>
                  <a:pt x="344" y="43"/>
                </a:lnTo>
                <a:lnTo>
                  <a:pt x="350" y="47"/>
                </a:lnTo>
                <a:lnTo>
                  <a:pt x="356" y="53"/>
                </a:lnTo>
                <a:lnTo>
                  <a:pt x="360" y="58"/>
                </a:lnTo>
                <a:lnTo>
                  <a:pt x="365" y="66"/>
                </a:lnTo>
                <a:lnTo>
                  <a:pt x="370" y="74"/>
                </a:lnTo>
                <a:lnTo>
                  <a:pt x="374" y="84"/>
                </a:lnTo>
                <a:lnTo>
                  <a:pt x="384" y="106"/>
                </a:lnTo>
                <a:lnTo>
                  <a:pt x="394" y="131"/>
                </a:lnTo>
                <a:lnTo>
                  <a:pt x="403" y="159"/>
                </a:lnTo>
                <a:lnTo>
                  <a:pt x="412" y="185"/>
                </a:lnTo>
                <a:lnTo>
                  <a:pt x="419" y="212"/>
                </a:lnTo>
                <a:lnTo>
                  <a:pt x="426" y="236"/>
                </a:lnTo>
                <a:lnTo>
                  <a:pt x="402" y="228"/>
                </a:lnTo>
                <a:lnTo>
                  <a:pt x="376" y="221"/>
                </a:lnTo>
                <a:lnTo>
                  <a:pt x="349" y="212"/>
                </a:lnTo>
                <a:lnTo>
                  <a:pt x="322" y="204"/>
                </a:lnTo>
                <a:lnTo>
                  <a:pt x="296" y="194"/>
                </a:lnTo>
                <a:lnTo>
                  <a:pt x="274" y="184"/>
                </a:lnTo>
                <a:lnTo>
                  <a:pt x="264" y="179"/>
                </a:lnTo>
                <a:lnTo>
                  <a:pt x="256" y="175"/>
                </a:lnTo>
                <a:lnTo>
                  <a:pt x="249" y="170"/>
                </a:lnTo>
                <a:lnTo>
                  <a:pt x="244" y="165"/>
                </a:lnTo>
                <a:lnTo>
                  <a:pt x="239" y="160"/>
                </a:lnTo>
                <a:lnTo>
                  <a:pt x="233" y="153"/>
                </a:lnTo>
                <a:lnTo>
                  <a:pt x="230" y="146"/>
                </a:lnTo>
                <a:lnTo>
                  <a:pt x="227" y="139"/>
                </a:lnTo>
                <a:lnTo>
                  <a:pt x="224" y="132"/>
                </a:lnTo>
                <a:lnTo>
                  <a:pt x="222" y="124"/>
                </a:lnTo>
                <a:lnTo>
                  <a:pt x="221" y="117"/>
                </a:lnTo>
                <a:lnTo>
                  <a:pt x="220" y="109"/>
                </a:lnTo>
                <a:lnTo>
                  <a:pt x="221" y="102"/>
                </a:lnTo>
                <a:lnTo>
                  <a:pt x="222" y="94"/>
                </a:lnTo>
                <a:lnTo>
                  <a:pt x="224" y="87"/>
                </a:lnTo>
                <a:lnTo>
                  <a:pt x="227" y="79"/>
                </a:lnTo>
                <a:lnTo>
                  <a:pt x="230" y="72"/>
                </a:lnTo>
                <a:lnTo>
                  <a:pt x="233" y="66"/>
                </a:lnTo>
                <a:lnTo>
                  <a:pt x="239" y="59"/>
                </a:lnTo>
                <a:lnTo>
                  <a:pt x="244" y="53"/>
                </a:lnTo>
                <a:lnTo>
                  <a:pt x="244" y="53"/>
                </a:lnTo>
                <a:close/>
                <a:moveTo>
                  <a:pt x="537" y="53"/>
                </a:moveTo>
                <a:lnTo>
                  <a:pt x="543" y="47"/>
                </a:lnTo>
                <a:lnTo>
                  <a:pt x="550" y="43"/>
                </a:lnTo>
                <a:lnTo>
                  <a:pt x="556" y="39"/>
                </a:lnTo>
                <a:lnTo>
                  <a:pt x="563" y="36"/>
                </a:lnTo>
                <a:lnTo>
                  <a:pt x="570" y="33"/>
                </a:lnTo>
                <a:lnTo>
                  <a:pt x="578" y="31"/>
                </a:lnTo>
                <a:lnTo>
                  <a:pt x="585" y="30"/>
                </a:lnTo>
                <a:lnTo>
                  <a:pt x="594" y="30"/>
                </a:lnTo>
                <a:lnTo>
                  <a:pt x="601" y="30"/>
                </a:lnTo>
                <a:lnTo>
                  <a:pt x="609" y="31"/>
                </a:lnTo>
                <a:lnTo>
                  <a:pt x="616" y="33"/>
                </a:lnTo>
                <a:lnTo>
                  <a:pt x="623" y="36"/>
                </a:lnTo>
                <a:lnTo>
                  <a:pt x="631" y="39"/>
                </a:lnTo>
                <a:lnTo>
                  <a:pt x="637" y="43"/>
                </a:lnTo>
                <a:lnTo>
                  <a:pt x="644" y="47"/>
                </a:lnTo>
                <a:lnTo>
                  <a:pt x="649" y="53"/>
                </a:lnTo>
                <a:lnTo>
                  <a:pt x="654" y="59"/>
                </a:lnTo>
                <a:lnTo>
                  <a:pt x="660" y="66"/>
                </a:lnTo>
                <a:lnTo>
                  <a:pt x="663" y="72"/>
                </a:lnTo>
                <a:lnTo>
                  <a:pt x="666" y="79"/>
                </a:lnTo>
                <a:lnTo>
                  <a:pt x="669" y="87"/>
                </a:lnTo>
                <a:lnTo>
                  <a:pt x="671" y="94"/>
                </a:lnTo>
                <a:lnTo>
                  <a:pt x="672" y="102"/>
                </a:lnTo>
                <a:lnTo>
                  <a:pt x="673" y="109"/>
                </a:lnTo>
                <a:lnTo>
                  <a:pt x="672" y="117"/>
                </a:lnTo>
                <a:lnTo>
                  <a:pt x="671" y="124"/>
                </a:lnTo>
                <a:lnTo>
                  <a:pt x="669" y="132"/>
                </a:lnTo>
                <a:lnTo>
                  <a:pt x="666" y="139"/>
                </a:lnTo>
                <a:lnTo>
                  <a:pt x="663" y="146"/>
                </a:lnTo>
                <a:lnTo>
                  <a:pt x="660" y="153"/>
                </a:lnTo>
                <a:lnTo>
                  <a:pt x="654" y="160"/>
                </a:lnTo>
                <a:lnTo>
                  <a:pt x="649" y="165"/>
                </a:lnTo>
                <a:lnTo>
                  <a:pt x="644" y="169"/>
                </a:lnTo>
                <a:lnTo>
                  <a:pt x="637" y="175"/>
                </a:lnTo>
                <a:lnTo>
                  <a:pt x="629" y="179"/>
                </a:lnTo>
                <a:lnTo>
                  <a:pt x="619" y="184"/>
                </a:lnTo>
                <a:lnTo>
                  <a:pt x="597" y="194"/>
                </a:lnTo>
                <a:lnTo>
                  <a:pt x="571" y="204"/>
                </a:lnTo>
                <a:lnTo>
                  <a:pt x="544" y="212"/>
                </a:lnTo>
                <a:lnTo>
                  <a:pt x="517" y="221"/>
                </a:lnTo>
                <a:lnTo>
                  <a:pt x="491" y="228"/>
                </a:lnTo>
                <a:lnTo>
                  <a:pt x="467" y="236"/>
                </a:lnTo>
                <a:lnTo>
                  <a:pt x="474" y="212"/>
                </a:lnTo>
                <a:lnTo>
                  <a:pt x="481" y="185"/>
                </a:lnTo>
                <a:lnTo>
                  <a:pt x="490" y="159"/>
                </a:lnTo>
                <a:lnTo>
                  <a:pt x="499" y="131"/>
                </a:lnTo>
                <a:lnTo>
                  <a:pt x="509" y="106"/>
                </a:lnTo>
                <a:lnTo>
                  <a:pt x="519" y="84"/>
                </a:lnTo>
                <a:lnTo>
                  <a:pt x="523" y="74"/>
                </a:lnTo>
                <a:lnTo>
                  <a:pt x="528" y="66"/>
                </a:lnTo>
                <a:lnTo>
                  <a:pt x="533" y="58"/>
                </a:lnTo>
                <a:lnTo>
                  <a:pt x="537" y="53"/>
                </a:lnTo>
                <a:lnTo>
                  <a:pt x="537" y="53"/>
                </a:lnTo>
                <a:close/>
                <a:moveTo>
                  <a:pt x="568" y="421"/>
                </a:moveTo>
                <a:lnTo>
                  <a:pt x="568" y="839"/>
                </a:lnTo>
                <a:lnTo>
                  <a:pt x="328" y="839"/>
                </a:lnTo>
                <a:lnTo>
                  <a:pt x="328" y="421"/>
                </a:lnTo>
                <a:lnTo>
                  <a:pt x="568" y="421"/>
                </a:lnTo>
                <a:close/>
                <a:moveTo>
                  <a:pt x="328" y="391"/>
                </a:moveTo>
                <a:lnTo>
                  <a:pt x="328" y="271"/>
                </a:lnTo>
                <a:lnTo>
                  <a:pt x="568" y="271"/>
                </a:lnTo>
                <a:lnTo>
                  <a:pt x="568" y="391"/>
                </a:lnTo>
                <a:lnTo>
                  <a:pt x="328" y="391"/>
                </a:lnTo>
                <a:close/>
                <a:moveTo>
                  <a:pt x="896" y="241"/>
                </a:moveTo>
                <a:lnTo>
                  <a:pt x="554" y="241"/>
                </a:lnTo>
                <a:lnTo>
                  <a:pt x="589" y="228"/>
                </a:lnTo>
                <a:lnTo>
                  <a:pt x="622" y="215"/>
                </a:lnTo>
                <a:lnTo>
                  <a:pt x="637" y="208"/>
                </a:lnTo>
                <a:lnTo>
                  <a:pt x="650" y="201"/>
                </a:lnTo>
                <a:lnTo>
                  <a:pt x="662" y="194"/>
                </a:lnTo>
                <a:lnTo>
                  <a:pt x="671" y="186"/>
                </a:lnTo>
                <a:lnTo>
                  <a:pt x="678" y="178"/>
                </a:lnTo>
                <a:lnTo>
                  <a:pt x="684" y="169"/>
                </a:lnTo>
                <a:lnTo>
                  <a:pt x="690" y="160"/>
                </a:lnTo>
                <a:lnTo>
                  <a:pt x="694" y="150"/>
                </a:lnTo>
                <a:lnTo>
                  <a:pt x="697" y="140"/>
                </a:lnTo>
                <a:lnTo>
                  <a:pt x="700" y="130"/>
                </a:lnTo>
                <a:lnTo>
                  <a:pt x="702" y="120"/>
                </a:lnTo>
                <a:lnTo>
                  <a:pt x="703" y="109"/>
                </a:lnTo>
                <a:lnTo>
                  <a:pt x="702" y="99"/>
                </a:lnTo>
                <a:lnTo>
                  <a:pt x="700" y="88"/>
                </a:lnTo>
                <a:lnTo>
                  <a:pt x="697" y="78"/>
                </a:lnTo>
                <a:lnTo>
                  <a:pt x="694" y="68"/>
                </a:lnTo>
                <a:lnTo>
                  <a:pt x="690" y="58"/>
                </a:lnTo>
                <a:lnTo>
                  <a:pt x="684" y="50"/>
                </a:lnTo>
                <a:lnTo>
                  <a:pt x="678" y="40"/>
                </a:lnTo>
                <a:lnTo>
                  <a:pt x="671" y="32"/>
                </a:lnTo>
                <a:lnTo>
                  <a:pt x="662" y="25"/>
                </a:lnTo>
                <a:lnTo>
                  <a:pt x="653" y="18"/>
                </a:lnTo>
                <a:lnTo>
                  <a:pt x="645" y="13"/>
                </a:lnTo>
                <a:lnTo>
                  <a:pt x="635" y="8"/>
                </a:lnTo>
                <a:lnTo>
                  <a:pt x="625" y="5"/>
                </a:lnTo>
                <a:lnTo>
                  <a:pt x="615" y="2"/>
                </a:lnTo>
                <a:lnTo>
                  <a:pt x="604" y="0"/>
                </a:lnTo>
                <a:lnTo>
                  <a:pt x="594" y="0"/>
                </a:lnTo>
                <a:lnTo>
                  <a:pt x="582" y="0"/>
                </a:lnTo>
                <a:lnTo>
                  <a:pt x="572" y="2"/>
                </a:lnTo>
                <a:lnTo>
                  <a:pt x="561" y="5"/>
                </a:lnTo>
                <a:lnTo>
                  <a:pt x="552" y="8"/>
                </a:lnTo>
                <a:lnTo>
                  <a:pt x="542" y="13"/>
                </a:lnTo>
                <a:lnTo>
                  <a:pt x="533" y="18"/>
                </a:lnTo>
                <a:lnTo>
                  <a:pt x="524" y="25"/>
                </a:lnTo>
                <a:lnTo>
                  <a:pt x="515" y="32"/>
                </a:lnTo>
                <a:lnTo>
                  <a:pt x="511" y="38"/>
                </a:lnTo>
                <a:lnTo>
                  <a:pt x="506" y="44"/>
                </a:lnTo>
                <a:lnTo>
                  <a:pt x="502" y="52"/>
                </a:lnTo>
                <a:lnTo>
                  <a:pt x="496" y="61"/>
                </a:lnTo>
                <a:lnTo>
                  <a:pt x="487" y="81"/>
                </a:lnTo>
                <a:lnTo>
                  <a:pt x="477" y="103"/>
                </a:lnTo>
                <a:lnTo>
                  <a:pt x="468" y="128"/>
                </a:lnTo>
                <a:lnTo>
                  <a:pt x="461" y="152"/>
                </a:lnTo>
                <a:lnTo>
                  <a:pt x="453" y="176"/>
                </a:lnTo>
                <a:lnTo>
                  <a:pt x="447" y="198"/>
                </a:lnTo>
                <a:lnTo>
                  <a:pt x="440" y="176"/>
                </a:lnTo>
                <a:lnTo>
                  <a:pt x="432" y="152"/>
                </a:lnTo>
                <a:lnTo>
                  <a:pt x="425" y="128"/>
                </a:lnTo>
                <a:lnTo>
                  <a:pt x="416" y="103"/>
                </a:lnTo>
                <a:lnTo>
                  <a:pt x="406" y="81"/>
                </a:lnTo>
                <a:lnTo>
                  <a:pt x="397" y="61"/>
                </a:lnTo>
                <a:lnTo>
                  <a:pt x="391" y="52"/>
                </a:lnTo>
                <a:lnTo>
                  <a:pt x="387" y="44"/>
                </a:lnTo>
                <a:lnTo>
                  <a:pt x="382" y="38"/>
                </a:lnTo>
                <a:lnTo>
                  <a:pt x="378" y="32"/>
                </a:lnTo>
                <a:lnTo>
                  <a:pt x="369" y="25"/>
                </a:lnTo>
                <a:lnTo>
                  <a:pt x="360" y="18"/>
                </a:lnTo>
                <a:lnTo>
                  <a:pt x="351" y="13"/>
                </a:lnTo>
                <a:lnTo>
                  <a:pt x="342" y="8"/>
                </a:lnTo>
                <a:lnTo>
                  <a:pt x="332" y="5"/>
                </a:lnTo>
                <a:lnTo>
                  <a:pt x="321" y="2"/>
                </a:lnTo>
                <a:lnTo>
                  <a:pt x="311" y="0"/>
                </a:lnTo>
                <a:lnTo>
                  <a:pt x="299" y="0"/>
                </a:lnTo>
                <a:lnTo>
                  <a:pt x="289" y="0"/>
                </a:lnTo>
                <a:lnTo>
                  <a:pt x="278" y="2"/>
                </a:lnTo>
                <a:lnTo>
                  <a:pt x="268" y="5"/>
                </a:lnTo>
                <a:lnTo>
                  <a:pt x="258" y="8"/>
                </a:lnTo>
                <a:lnTo>
                  <a:pt x="248" y="13"/>
                </a:lnTo>
                <a:lnTo>
                  <a:pt x="240" y="18"/>
                </a:lnTo>
                <a:lnTo>
                  <a:pt x="231" y="25"/>
                </a:lnTo>
                <a:lnTo>
                  <a:pt x="222" y="32"/>
                </a:lnTo>
                <a:lnTo>
                  <a:pt x="215" y="40"/>
                </a:lnTo>
                <a:lnTo>
                  <a:pt x="209" y="50"/>
                </a:lnTo>
                <a:lnTo>
                  <a:pt x="203" y="58"/>
                </a:lnTo>
                <a:lnTo>
                  <a:pt x="199" y="68"/>
                </a:lnTo>
                <a:lnTo>
                  <a:pt x="196" y="78"/>
                </a:lnTo>
                <a:lnTo>
                  <a:pt x="193" y="88"/>
                </a:lnTo>
                <a:lnTo>
                  <a:pt x="191" y="99"/>
                </a:lnTo>
                <a:lnTo>
                  <a:pt x="190" y="109"/>
                </a:lnTo>
                <a:lnTo>
                  <a:pt x="191" y="120"/>
                </a:lnTo>
                <a:lnTo>
                  <a:pt x="193" y="130"/>
                </a:lnTo>
                <a:lnTo>
                  <a:pt x="196" y="140"/>
                </a:lnTo>
                <a:lnTo>
                  <a:pt x="199" y="150"/>
                </a:lnTo>
                <a:lnTo>
                  <a:pt x="203" y="160"/>
                </a:lnTo>
                <a:lnTo>
                  <a:pt x="209" y="169"/>
                </a:lnTo>
                <a:lnTo>
                  <a:pt x="215" y="178"/>
                </a:lnTo>
                <a:lnTo>
                  <a:pt x="222" y="186"/>
                </a:lnTo>
                <a:lnTo>
                  <a:pt x="231" y="194"/>
                </a:lnTo>
                <a:lnTo>
                  <a:pt x="243" y="201"/>
                </a:lnTo>
                <a:lnTo>
                  <a:pt x="256" y="208"/>
                </a:lnTo>
                <a:lnTo>
                  <a:pt x="271" y="215"/>
                </a:lnTo>
                <a:lnTo>
                  <a:pt x="304" y="228"/>
                </a:lnTo>
                <a:lnTo>
                  <a:pt x="339" y="241"/>
                </a:lnTo>
                <a:lnTo>
                  <a:pt x="0" y="241"/>
                </a:lnTo>
                <a:lnTo>
                  <a:pt x="0" y="421"/>
                </a:lnTo>
                <a:lnTo>
                  <a:pt x="30" y="421"/>
                </a:lnTo>
                <a:lnTo>
                  <a:pt x="30" y="869"/>
                </a:lnTo>
                <a:lnTo>
                  <a:pt x="867" y="869"/>
                </a:lnTo>
                <a:lnTo>
                  <a:pt x="867" y="421"/>
                </a:lnTo>
                <a:lnTo>
                  <a:pt x="896" y="421"/>
                </a:lnTo>
                <a:lnTo>
                  <a:pt x="896" y="241"/>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484" name="Group 60">
            <a:extLst>
              <a:ext uri="{FF2B5EF4-FFF2-40B4-BE49-F238E27FC236}">
                <a16:creationId xmlns:a16="http://schemas.microsoft.com/office/drawing/2014/main" id="{42EEC3E0-D6CB-4A77-BA5E-02BD9229FAE4}"/>
              </a:ext>
            </a:extLst>
          </p:cNvPr>
          <p:cNvGrpSpPr>
            <a:grpSpLocks noChangeAspect="1"/>
          </p:cNvGrpSpPr>
          <p:nvPr/>
        </p:nvGrpSpPr>
        <p:grpSpPr>
          <a:xfrm>
            <a:off x="1898843" y="5975482"/>
            <a:ext cx="275708" cy="214440"/>
            <a:chOff x="1435611" y="2513327"/>
            <a:chExt cx="664188" cy="516592"/>
          </a:xfrm>
          <a:solidFill>
            <a:schemeClr val="bg2"/>
          </a:solidFill>
          <a:effectLst/>
        </p:grpSpPr>
        <p:sp>
          <p:nvSpPr>
            <p:cNvPr id="485" name="Freeform 43">
              <a:extLst>
                <a:ext uri="{FF2B5EF4-FFF2-40B4-BE49-F238E27FC236}">
                  <a16:creationId xmlns:a16="http://schemas.microsoft.com/office/drawing/2014/main" id="{1B7D425F-BADA-45A5-99A8-FA7B60A5692D}"/>
                </a:ext>
              </a:extLst>
            </p:cNvPr>
            <p:cNvSpPr>
              <a:spLocks noEditPoints="1"/>
            </p:cNvSpPr>
            <p:nvPr/>
          </p:nvSpPr>
          <p:spPr bwMode="auto">
            <a:xfrm>
              <a:off x="1435611" y="2832507"/>
              <a:ext cx="664188" cy="197412"/>
            </a:xfrm>
            <a:custGeom>
              <a:avLst/>
              <a:gdLst>
                <a:gd name="T0" fmla="*/ 41 w 1080"/>
                <a:gd name="T1" fmla="*/ 279 h 319"/>
                <a:gd name="T2" fmla="*/ 1039 w 1080"/>
                <a:gd name="T3" fmla="*/ 279 h 319"/>
                <a:gd name="T4" fmla="*/ 1039 w 1080"/>
                <a:gd name="T5" fmla="*/ 40 h 319"/>
                <a:gd name="T6" fmla="*/ 41 w 1080"/>
                <a:gd name="T7" fmla="*/ 40 h 319"/>
                <a:gd name="T8" fmla="*/ 41 w 1080"/>
                <a:gd name="T9" fmla="*/ 279 h 319"/>
                <a:gd name="T10" fmla="*/ 1060 w 1080"/>
                <a:gd name="T11" fmla="*/ 319 h 319"/>
                <a:gd name="T12" fmla="*/ 21 w 1080"/>
                <a:gd name="T13" fmla="*/ 319 h 319"/>
                <a:gd name="T14" fmla="*/ 16 w 1080"/>
                <a:gd name="T15" fmla="*/ 319 h 319"/>
                <a:gd name="T16" fmla="*/ 12 w 1080"/>
                <a:gd name="T17" fmla="*/ 318 h 319"/>
                <a:gd name="T18" fmla="*/ 8 w 1080"/>
                <a:gd name="T19" fmla="*/ 317 h 319"/>
                <a:gd name="T20" fmla="*/ 6 w 1080"/>
                <a:gd name="T21" fmla="*/ 314 h 319"/>
                <a:gd name="T22" fmla="*/ 3 w 1080"/>
                <a:gd name="T23" fmla="*/ 311 h 319"/>
                <a:gd name="T24" fmla="*/ 2 w 1080"/>
                <a:gd name="T25" fmla="*/ 308 h 319"/>
                <a:gd name="T26" fmla="*/ 1 w 1080"/>
                <a:gd name="T27" fmla="*/ 304 h 319"/>
                <a:gd name="T28" fmla="*/ 0 w 1080"/>
                <a:gd name="T29" fmla="*/ 299 h 319"/>
                <a:gd name="T30" fmla="*/ 0 w 1080"/>
                <a:gd name="T31" fmla="*/ 20 h 319"/>
                <a:gd name="T32" fmla="*/ 1 w 1080"/>
                <a:gd name="T33" fmla="*/ 16 h 319"/>
                <a:gd name="T34" fmla="*/ 2 w 1080"/>
                <a:gd name="T35" fmla="*/ 12 h 319"/>
                <a:gd name="T36" fmla="*/ 3 w 1080"/>
                <a:gd name="T37" fmla="*/ 9 h 319"/>
                <a:gd name="T38" fmla="*/ 6 w 1080"/>
                <a:gd name="T39" fmla="*/ 6 h 319"/>
                <a:gd name="T40" fmla="*/ 8 w 1080"/>
                <a:gd name="T41" fmla="*/ 4 h 319"/>
                <a:gd name="T42" fmla="*/ 12 w 1080"/>
                <a:gd name="T43" fmla="*/ 1 h 319"/>
                <a:gd name="T44" fmla="*/ 16 w 1080"/>
                <a:gd name="T45" fmla="*/ 0 h 319"/>
                <a:gd name="T46" fmla="*/ 21 w 1080"/>
                <a:gd name="T47" fmla="*/ 0 h 319"/>
                <a:gd name="T48" fmla="*/ 1060 w 1080"/>
                <a:gd name="T49" fmla="*/ 0 h 319"/>
                <a:gd name="T50" fmla="*/ 1064 w 1080"/>
                <a:gd name="T51" fmla="*/ 0 h 319"/>
                <a:gd name="T52" fmla="*/ 1068 w 1080"/>
                <a:gd name="T53" fmla="*/ 1 h 319"/>
                <a:gd name="T54" fmla="*/ 1071 w 1080"/>
                <a:gd name="T55" fmla="*/ 4 h 319"/>
                <a:gd name="T56" fmla="*/ 1074 w 1080"/>
                <a:gd name="T57" fmla="*/ 6 h 319"/>
                <a:gd name="T58" fmla="*/ 1076 w 1080"/>
                <a:gd name="T59" fmla="*/ 9 h 319"/>
                <a:gd name="T60" fmla="*/ 1078 w 1080"/>
                <a:gd name="T61" fmla="*/ 12 h 319"/>
                <a:gd name="T62" fmla="*/ 1079 w 1080"/>
                <a:gd name="T63" fmla="*/ 16 h 319"/>
                <a:gd name="T64" fmla="*/ 1080 w 1080"/>
                <a:gd name="T65" fmla="*/ 20 h 319"/>
                <a:gd name="T66" fmla="*/ 1080 w 1080"/>
                <a:gd name="T67" fmla="*/ 299 h 319"/>
                <a:gd name="T68" fmla="*/ 1079 w 1080"/>
                <a:gd name="T69" fmla="*/ 304 h 319"/>
                <a:gd name="T70" fmla="*/ 1078 w 1080"/>
                <a:gd name="T71" fmla="*/ 308 h 319"/>
                <a:gd name="T72" fmla="*/ 1076 w 1080"/>
                <a:gd name="T73" fmla="*/ 311 h 319"/>
                <a:gd name="T74" fmla="*/ 1074 w 1080"/>
                <a:gd name="T75" fmla="*/ 314 h 319"/>
                <a:gd name="T76" fmla="*/ 1071 w 1080"/>
                <a:gd name="T77" fmla="*/ 317 h 319"/>
                <a:gd name="T78" fmla="*/ 1068 w 1080"/>
                <a:gd name="T79" fmla="*/ 318 h 319"/>
                <a:gd name="T80" fmla="*/ 1064 w 1080"/>
                <a:gd name="T81" fmla="*/ 319 h 319"/>
                <a:gd name="T82" fmla="*/ 1060 w 1080"/>
                <a:gd name="T83"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0" h="319">
                  <a:moveTo>
                    <a:pt x="41" y="279"/>
                  </a:moveTo>
                  <a:lnTo>
                    <a:pt x="1039" y="279"/>
                  </a:lnTo>
                  <a:lnTo>
                    <a:pt x="1039" y="40"/>
                  </a:lnTo>
                  <a:lnTo>
                    <a:pt x="41" y="40"/>
                  </a:lnTo>
                  <a:lnTo>
                    <a:pt x="41" y="279"/>
                  </a:lnTo>
                  <a:close/>
                  <a:moveTo>
                    <a:pt x="1060" y="319"/>
                  </a:moveTo>
                  <a:lnTo>
                    <a:pt x="21" y="319"/>
                  </a:lnTo>
                  <a:lnTo>
                    <a:pt x="16" y="319"/>
                  </a:lnTo>
                  <a:lnTo>
                    <a:pt x="12" y="318"/>
                  </a:lnTo>
                  <a:lnTo>
                    <a:pt x="8" y="317"/>
                  </a:lnTo>
                  <a:lnTo>
                    <a:pt x="6" y="314"/>
                  </a:lnTo>
                  <a:lnTo>
                    <a:pt x="3" y="311"/>
                  </a:lnTo>
                  <a:lnTo>
                    <a:pt x="2" y="308"/>
                  </a:lnTo>
                  <a:lnTo>
                    <a:pt x="1" y="304"/>
                  </a:lnTo>
                  <a:lnTo>
                    <a:pt x="0" y="299"/>
                  </a:lnTo>
                  <a:lnTo>
                    <a:pt x="0" y="20"/>
                  </a:lnTo>
                  <a:lnTo>
                    <a:pt x="1" y="16"/>
                  </a:lnTo>
                  <a:lnTo>
                    <a:pt x="2" y="12"/>
                  </a:lnTo>
                  <a:lnTo>
                    <a:pt x="3" y="9"/>
                  </a:lnTo>
                  <a:lnTo>
                    <a:pt x="6" y="6"/>
                  </a:lnTo>
                  <a:lnTo>
                    <a:pt x="8" y="4"/>
                  </a:lnTo>
                  <a:lnTo>
                    <a:pt x="12" y="1"/>
                  </a:lnTo>
                  <a:lnTo>
                    <a:pt x="16" y="0"/>
                  </a:lnTo>
                  <a:lnTo>
                    <a:pt x="21" y="0"/>
                  </a:lnTo>
                  <a:lnTo>
                    <a:pt x="1060" y="0"/>
                  </a:lnTo>
                  <a:lnTo>
                    <a:pt x="1064" y="0"/>
                  </a:lnTo>
                  <a:lnTo>
                    <a:pt x="1068" y="1"/>
                  </a:lnTo>
                  <a:lnTo>
                    <a:pt x="1071" y="4"/>
                  </a:lnTo>
                  <a:lnTo>
                    <a:pt x="1074" y="6"/>
                  </a:lnTo>
                  <a:lnTo>
                    <a:pt x="1076" y="9"/>
                  </a:lnTo>
                  <a:lnTo>
                    <a:pt x="1078" y="12"/>
                  </a:lnTo>
                  <a:lnTo>
                    <a:pt x="1079" y="16"/>
                  </a:lnTo>
                  <a:lnTo>
                    <a:pt x="1080" y="20"/>
                  </a:lnTo>
                  <a:lnTo>
                    <a:pt x="1080" y="299"/>
                  </a:lnTo>
                  <a:lnTo>
                    <a:pt x="1079" y="304"/>
                  </a:lnTo>
                  <a:lnTo>
                    <a:pt x="1078" y="308"/>
                  </a:lnTo>
                  <a:lnTo>
                    <a:pt x="1076" y="311"/>
                  </a:lnTo>
                  <a:lnTo>
                    <a:pt x="1074" y="314"/>
                  </a:lnTo>
                  <a:lnTo>
                    <a:pt x="1071" y="317"/>
                  </a:lnTo>
                  <a:lnTo>
                    <a:pt x="1068" y="318"/>
                  </a:lnTo>
                  <a:lnTo>
                    <a:pt x="1064" y="319"/>
                  </a:lnTo>
                  <a:lnTo>
                    <a:pt x="1060"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4">
              <a:extLst>
                <a:ext uri="{FF2B5EF4-FFF2-40B4-BE49-F238E27FC236}">
                  <a16:creationId xmlns:a16="http://schemas.microsoft.com/office/drawing/2014/main" id="{AA66D3D2-8693-4BD9-A2A1-D8E77119BAD5}"/>
                </a:ext>
              </a:extLst>
            </p:cNvPr>
            <p:cNvSpPr>
              <a:spLocks/>
            </p:cNvSpPr>
            <p:nvPr/>
          </p:nvSpPr>
          <p:spPr bwMode="auto">
            <a:xfrm>
              <a:off x="1804604" y="2684909"/>
              <a:ext cx="295195" cy="173427"/>
            </a:xfrm>
            <a:custGeom>
              <a:avLst/>
              <a:gdLst>
                <a:gd name="T0" fmla="*/ 461 w 481"/>
                <a:gd name="T1" fmla="*/ 280 h 280"/>
                <a:gd name="T2" fmla="*/ 456 w 481"/>
                <a:gd name="T3" fmla="*/ 280 h 280"/>
                <a:gd name="T4" fmla="*/ 453 w 481"/>
                <a:gd name="T5" fmla="*/ 278 h 280"/>
                <a:gd name="T6" fmla="*/ 449 w 481"/>
                <a:gd name="T7" fmla="*/ 276 h 280"/>
                <a:gd name="T8" fmla="*/ 445 w 481"/>
                <a:gd name="T9" fmla="*/ 272 h 280"/>
                <a:gd name="T10" fmla="*/ 251 w 481"/>
                <a:gd name="T11" fmla="*/ 40 h 280"/>
                <a:gd name="T12" fmla="*/ 20 w 481"/>
                <a:gd name="T13" fmla="*/ 40 h 280"/>
                <a:gd name="T14" fmla="*/ 17 w 481"/>
                <a:gd name="T15" fmla="*/ 40 h 280"/>
                <a:gd name="T16" fmla="*/ 13 w 481"/>
                <a:gd name="T17" fmla="*/ 39 h 280"/>
                <a:gd name="T18" fmla="*/ 9 w 481"/>
                <a:gd name="T19" fmla="*/ 36 h 280"/>
                <a:gd name="T20" fmla="*/ 7 w 481"/>
                <a:gd name="T21" fmla="*/ 34 h 280"/>
                <a:gd name="T22" fmla="*/ 4 w 481"/>
                <a:gd name="T23" fmla="*/ 31 h 280"/>
                <a:gd name="T24" fmla="*/ 3 w 481"/>
                <a:gd name="T25" fmla="*/ 27 h 280"/>
                <a:gd name="T26" fmla="*/ 2 w 481"/>
                <a:gd name="T27" fmla="*/ 24 h 280"/>
                <a:gd name="T28" fmla="*/ 0 w 481"/>
                <a:gd name="T29" fmla="*/ 20 h 280"/>
                <a:gd name="T30" fmla="*/ 2 w 481"/>
                <a:gd name="T31" fmla="*/ 16 h 280"/>
                <a:gd name="T32" fmla="*/ 3 w 481"/>
                <a:gd name="T33" fmla="*/ 13 h 280"/>
                <a:gd name="T34" fmla="*/ 4 w 481"/>
                <a:gd name="T35" fmla="*/ 9 h 280"/>
                <a:gd name="T36" fmla="*/ 7 w 481"/>
                <a:gd name="T37" fmla="*/ 5 h 280"/>
                <a:gd name="T38" fmla="*/ 9 w 481"/>
                <a:gd name="T39" fmla="*/ 3 h 280"/>
                <a:gd name="T40" fmla="*/ 13 w 481"/>
                <a:gd name="T41" fmla="*/ 1 h 280"/>
                <a:gd name="T42" fmla="*/ 17 w 481"/>
                <a:gd name="T43" fmla="*/ 0 h 280"/>
                <a:gd name="T44" fmla="*/ 20 w 481"/>
                <a:gd name="T45" fmla="*/ 0 h 280"/>
                <a:gd name="T46" fmla="*/ 261 w 481"/>
                <a:gd name="T47" fmla="*/ 0 h 280"/>
                <a:gd name="T48" fmla="*/ 265 w 481"/>
                <a:gd name="T49" fmla="*/ 0 h 280"/>
                <a:gd name="T50" fmla="*/ 269 w 481"/>
                <a:gd name="T51" fmla="*/ 1 h 280"/>
                <a:gd name="T52" fmla="*/ 272 w 481"/>
                <a:gd name="T53" fmla="*/ 4 h 280"/>
                <a:gd name="T54" fmla="*/ 276 w 481"/>
                <a:gd name="T55" fmla="*/ 6 h 280"/>
                <a:gd name="T56" fmla="*/ 476 w 481"/>
                <a:gd name="T57" fmla="*/ 247 h 280"/>
                <a:gd name="T58" fmla="*/ 479 w 481"/>
                <a:gd name="T59" fmla="*/ 250 h 280"/>
                <a:gd name="T60" fmla="*/ 480 w 481"/>
                <a:gd name="T61" fmla="*/ 254 h 280"/>
                <a:gd name="T62" fmla="*/ 481 w 481"/>
                <a:gd name="T63" fmla="*/ 257 h 280"/>
                <a:gd name="T64" fmla="*/ 481 w 481"/>
                <a:gd name="T65" fmla="*/ 261 h 280"/>
                <a:gd name="T66" fmla="*/ 480 w 481"/>
                <a:gd name="T67" fmla="*/ 265 h 280"/>
                <a:gd name="T68" fmla="*/ 479 w 481"/>
                <a:gd name="T69" fmla="*/ 269 h 280"/>
                <a:gd name="T70" fmla="*/ 476 w 481"/>
                <a:gd name="T71" fmla="*/ 272 h 280"/>
                <a:gd name="T72" fmla="*/ 474 w 481"/>
                <a:gd name="T73" fmla="*/ 275 h 280"/>
                <a:gd name="T74" fmla="*/ 467 w 481"/>
                <a:gd name="T75" fmla="*/ 278 h 280"/>
                <a:gd name="T76" fmla="*/ 461 w 481"/>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1" h="280">
                  <a:moveTo>
                    <a:pt x="461" y="280"/>
                  </a:moveTo>
                  <a:lnTo>
                    <a:pt x="456" y="280"/>
                  </a:lnTo>
                  <a:lnTo>
                    <a:pt x="453" y="278"/>
                  </a:lnTo>
                  <a:lnTo>
                    <a:pt x="449" y="276"/>
                  </a:lnTo>
                  <a:lnTo>
                    <a:pt x="445" y="272"/>
                  </a:lnTo>
                  <a:lnTo>
                    <a:pt x="251" y="40"/>
                  </a:lnTo>
                  <a:lnTo>
                    <a:pt x="20" y="40"/>
                  </a:lnTo>
                  <a:lnTo>
                    <a:pt x="17" y="40"/>
                  </a:lnTo>
                  <a:lnTo>
                    <a:pt x="13" y="39"/>
                  </a:lnTo>
                  <a:lnTo>
                    <a:pt x="9" y="36"/>
                  </a:lnTo>
                  <a:lnTo>
                    <a:pt x="7" y="34"/>
                  </a:lnTo>
                  <a:lnTo>
                    <a:pt x="4" y="31"/>
                  </a:lnTo>
                  <a:lnTo>
                    <a:pt x="3" y="27"/>
                  </a:lnTo>
                  <a:lnTo>
                    <a:pt x="2" y="24"/>
                  </a:lnTo>
                  <a:lnTo>
                    <a:pt x="0" y="20"/>
                  </a:lnTo>
                  <a:lnTo>
                    <a:pt x="2" y="16"/>
                  </a:lnTo>
                  <a:lnTo>
                    <a:pt x="3" y="13"/>
                  </a:lnTo>
                  <a:lnTo>
                    <a:pt x="4" y="9"/>
                  </a:lnTo>
                  <a:lnTo>
                    <a:pt x="7" y="5"/>
                  </a:lnTo>
                  <a:lnTo>
                    <a:pt x="9" y="3"/>
                  </a:lnTo>
                  <a:lnTo>
                    <a:pt x="13" y="1"/>
                  </a:lnTo>
                  <a:lnTo>
                    <a:pt x="17" y="0"/>
                  </a:lnTo>
                  <a:lnTo>
                    <a:pt x="20" y="0"/>
                  </a:lnTo>
                  <a:lnTo>
                    <a:pt x="261" y="0"/>
                  </a:lnTo>
                  <a:lnTo>
                    <a:pt x="265" y="0"/>
                  </a:lnTo>
                  <a:lnTo>
                    <a:pt x="269" y="1"/>
                  </a:lnTo>
                  <a:lnTo>
                    <a:pt x="272" y="4"/>
                  </a:lnTo>
                  <a:lnTo>
                    <a:pt x="276" y="6"/>
                  </a:lnTo>
                  <a:lnTo>
                    <a:pt x="476" y="247"/>
                  </a:lnTo>
                  <a:lnTo>
                    <a:pt x="479" y="250"/>
                  </a:lnTo>
                  <a:lnTo>
                    <a:pt x="480" y="254"/>
                  </a:lnTo>
                  <a:lnTo>
                    <a:pt x="481" y="257"/>
                  </a:lnTo>
                  <a:lnTo>
                    <a:pt x="481" y="261"/>
                  </a:lnTo>
                  <a:lnTo>
                    <a:pt x="480" y="265"/>
                  </a:lnTo>
                  <a:lnTo>
                    <a:pt x="479" y="269"/>
                  </a:lnTo>
                  <a:lnTo>
                    <a:pt x="476" y="272"/>
                  </a:lnTo>
                  <a:lnTo>
                    <a:pt x="474" y="275"/>
                  </a:lnTo>
                  <a:lnTo>
                    <a:pt x="467" y="278"/>
                  </a:lnTo>
                  <a:lnTo>
                    <a:pt x="461"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5">
              <a:extLst>
                <a:ext uri="{FF2B5EF4-FFF2-40B4-BE49-F238E27FC236}">
                  <a16:creationId xmlns:a16="http://schemas.microsoft.com/office/drawing/2014/main" id="{D6401BBF-B073-4EFB-8DDE-9CA8E318DFBC}"/>
                </a:ext>
              </a:extLst>
            </p:cNvPr>
            <p:cNvSpPr>
              <a:spLocks/>
            </p:cNvSpPr>
            <p:nvPr/>
          </p:nvSpPr>
          <p:spPr bwMode="auto">
            <a:xfrm>
              <a:off x="1435611" y="2684909"/>
              <a:ext cx="295195" cy="173427"/>
            </a:xfrm>
            <a:custGeom>
              <a:avLst/>
              <a:gdLst>
                <a:gd name="T0" fmla="*/ 19 w 480"/>
                <a:gd name="T1" fmla="*/ 280 h 280"/>
                <a:gd name="T2" fmla="*/ 13 w 480"/>
                <a:gd name="T3" fmla="*/ 278 h 280"/>
                <a:gd name="T4" fmla="*/ 7 w 480"/>
                <a:gd name="T5" fmla="*/ 275 h 280"/>
                <a:gd name="T6" fmla="*/ 5 w 480"/>
                <a:gd name="T7" fmla="*/ 272 h 280"/>
                <a:gd name="T8" fmla="*/ 2 w 480"/>
                <a:gd name="T9" fmla="*/ 269 h 280"/>
                <a:gd name="T10" fmla="*/ 1 w 480"/>
                <a:gd name="T11" fmla="*/ 265 h 280"/>
                <a:gd name="T12" fmla="*/ 0 w 480"/>
                <a:gd name="T13" fmla="*/ 261 h 280"/>
                <a:gd name="T14" fmla="*/ 0 w 480"/>
                <a:gd name="T15" fmla="*/ 257 h 280"/>
                <a:gd name="T16" fmla="*/ 1 w 480"/>
                <a:gd name="T17" fmla="*/ 254 h 280"/>
                <a:gd name="T18" fmla="*/ 2 w 480"/>
                <a:gd name="T19" fmla="*/ 250 h 280"/>
                <a:gd name="T20" fmla="*/ 5 w 480"/>
                <a:gd name="T21" fmla="*/ 247 h 280"/>
                <a:gd name="T22" fmla="*/ 204 w 480"/>
                <a:gd name="T23" fmla="*/ 6 h 280"/>
                <a:gd name="T24" fmla="*/ 208 w 480"/>
                <a:gd name="T25" fmla="*/ 4 h 280"/>
                <a:gd name="T26" fmla="*/ 212 w 480"/>
                <a:gd name="T27" fmla="*/ 1 h 280"/>
                <a:gd name="T28" fmla="*/ 216 w 480"/>
                <a:gd name="T29" fmla="*/ 0 h 280"/>
                <a:gd name="T30" fmla="*/ 219 w 480"/>
                <a:gd name="T31" fmla="*/ 0 h 280"/>
                <a:gd name="T32" fmla="*/ 460 w 480"/>
                <a:gd name="T33" fmla="*/ 0 h 280"/>
                <a:gd name="T34" fmla="*/ 464 w 480"/>
                <a:gd name="T35" fmla="*/ 0 h 280"/>
                <a:gd name="T36" fmla="*/ 468 w 480"/>
                <a:gd name="T37" fmla="*/ 1 h 280"/>
                <a:gd name="T38" fmla="*/ 472 w 480"/>
                <a:gd name="T39" fmla="*/ 3 h 280"/>
                <a:gd name="T40" fmla="*/ 474 w 480"/>
                <a:gd name="T41" fmla="*/ 5 h 280"/>
                <a:gd name="T42" fmla="*/ 476 w 480"/>
                <a:gd name="T43" fmla="*/ 9 h 280"/>
                <a:gd name="T44" fmla="*/ 478 w 480"/>
                <a:gd name="T45" fmla="*/ 13 h 280"/>
                <a:gd name="T46" fmla="*/ 479 w 480"/>
                <a:gd name="T47" fmla="*/ 16 h 280"/>
                <a:gd name="T48" fmla="*/ 480 w 480"/>
                <a:gd name="T49" fmla="*/ 20 h 280"/>
                <a:gd name="T50" fmla="*/ 479 w 480"/>
                <a:gd name="T51" fmla="*/ 24 h 280"/>
                <a:gd name="T52" fmla="*/ 478 w 480"/>
                <a:gd name="T53" fmla="*/ 27 h 280"/>
                <a:gd name="T54" fmla="*/ 476 w 480"/>
                <a:gd name="T55" fmla="*/ 31 h 280"/>
                <a:gd name="T56" fmla="*/ 474 w 480"/>
                <a:gd name="T57" fmla="*/ 34 h 280"/>
                <a:gd name="T58" fmla="*/ 472 w 480"/>
                <a:gd name="T59" fmla="*/ 36 h 280"/>
                <a:gd name="T60" fmla="*/ 468 w 480"/>
                <a:gd name="T61" fmla="*/ 39 h 280"/>
                <a:gd name="T62" fmla="*/ 464 w 480"/>
                <a:gd name="T63" fmla="*/ 40 h 280"/>
                <a:gd name="T64" fmla="*/ 460 w 480"/>
                <a:gd name="T65" fmla="*/ 40 h 280"/>
                <a:gd name="T66" fmla="*/ 229 w 480"/>
                <a:gd name="T67" fmla="*/ 40 h 280"/>
                <a:gd name="T68" fmla="*/ 36 w 480"/>
                <a:gd name="T69" fmla="*/ 272 h 280"/>
                <a:gd name="T70" fmla="*/ 32 w 480"/>
                <a:gd name="T71" fmla="*/ 276 h 280"/>
                <a:gd name="T72" fmla="*/ 28 w 480"/>
                <a:gd name="T73" fmla="*/ 278 h 280"/>
                <a:gd name="T74" fmla="*/ 24 w 480"/>
                <a:gd name="T75" fmla="*/ 280 h 280"/>
                <a:gd name="T76" fmla="*/ 19 w 480"/>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 h="280">
                  <a:moveTo>
                    <a:pt x="19" y="280"/>
                  </a:moveTo>
                  <a:lnTo>
                    <a:pt x="13" y="278"/>
                  </a:lnTo>
                  <a:lnTo>
                    <a:pt x="7" y="275"/>
                  </a:lnTo>
                  <a:lnTo>
                    <a:pt x="5" y="272"/>
                  </a:lnTo>
                  <a:lnTo>
                    <a:pt x="2" y="269"/>
                  </a:lnTo>
                  <a:lnTo>
                    <a:pt x="1" y="265"/>
                  </a:lnTo>
                  <a:lnTo>
                    <a:pt x="0" y="261"/>
                  </a:lnTo>
                  <a:lnTo>
                    <a:pt x="0" y="257"/>
                  </a:lnTo>
                  <a:lnTo>
                    <a:pt x="1" y="254"/>
                  </a:lnTo>
                  <a:lnTo>
                    <a:pt x="2" y="250"/>
                  </a:lnTo>
                  <a:lnTo>
                    <a:pt x="5" y="247"/>
                  </a:lnTo>
                  <a:lnTo>
                    <a:pt x="204" y="6"/>
                  </a:lnTo>
                  <a:lnTo>
                    <a:pt x="208" y="4"/>
                  </a:lnTo>
                  <a:lnTo>
                    <a:pt x="212" y="1"/>
                  </a:lnTo>
                  <a:lnTo>
                    <a:pt x="216" y="0"/>
                  </a:lnTo>
                  <a:lnTo>
                    <a:pt x="219" y="0"/>
                  </a:lnTo>
                  <a:lnTo>
                    <a:pt x="460" y="0"/>
                  </a:lnTo>
                  <a:lnTo>
                    <a:pt x="464" y="0"/>
                  </a:lnTo>
                  <a:lnTo>
                    <a:pt x="468" y="1"/>
                  </a:lnTo>
                  <a:lnTo>
                    <a:pt x="472" y="3"/>
                  </a:lnTo>
                  <a:lnTo>
                    <a:pt x="474" y="5"/>
                  </a:lnTo>
                  <a:lnTo>
                    <a:pt x="476" y="9"/>
                  </a:lnTo>
                  <a:lnTo>
                    <a:pt x="478" y="13"/>
                  </a:lnTo>
                  <a:lnTo>
                    <a:pt x="479" y="16"/>
                  </a:lnTo>
                  <a:lnTo>
                    <a:pt x="480" y="20"/>
                  </a:lnTo>
                  <a:lnTo>
                    <a:pt x="479" y="24"/>
                  </a:lnTo>
                  <a:lnTo>
                    <a:pt x="478" y="27"/>
                  </a:lnTo>
                  <a:lnTo>
                    <a:pt x="476" y="31"/>
                  </a:lnTo>
                  <a:lnTo>
                    <a:pt x="474" y="34"/>
                  </a:lnTo>
                  <a:lnTo>
                    <a:pt x="472" y="36"/>
                  </a:lnTo>
                  <a:lnTo>
                    <a:pt x="468" y="39"/>
                  </a:lnTo>
                  <a:lnTo>
                    <a:pt x="464" y="40"/>
                  </a:lnTo>
                  <a:lnTo>
                    <a:pt x="460" y="40"/>
                  </a:lnTo>
                  <a:lnTo>
                    <a:pt x="229" y="40"/>
                  </a:lnTo>
                  <a:lnTo>
                    <a:pt x="36" y="272"/>
                  </a:lnTo>
                  <a:lnTo>
                    <a:pt x="32" y="276"/>
                  </a:lnTo>
                  <a:lnTo>
                    <a:pt x="28" y="278"/>
                  </a:lnTo>
                  <a:lnTo>
                    <a:pt x="24" y="280"/>
                  </a:lnTo>
                  <a:lnTo>
                    <a:pt x="19"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6">
              <a:extLst>
                <a:ext uri="{FF2B5EF4-FFF2-40B4-BE49-F238E27FC236}">
                  <a16:creationId xmlns:a16="http://schemas.microsoft.com/office/drawing/2014/main" id="{06719A4F-B913-45A2-ADF2-9DBAE05DE342}"/>
                </a:ext>
              </a:extLst>
            </p:cNvPr>
            <p:cNvSpPr>
              <a:spLocks/>
            </p:cNvSpPr>
            <p:nvPr/>
          </p:nvSpPr>
          <p:spPr bwMode="auto">
            <a:xfrm>
              <a:off x="1756635" y="2515172"/>
              <a:ext cx="23985" cy="293350"/>
            </a:xfrm>
            <a:custGeom>
              <a:avLst/>
              <a:gdLst>
                <a:gd name="T0" fmla="*/ 20 w 40"/>
                <a:gd name="T1" fmla="*/ 478 h 478"/>
                <a:gd name="T2" fmla="*/ 16 w 40"/>
                <a:gd name="T3" fmla="*/ 477 h 478"/>
                <a:gd name="T4" fmla="*/ 12 w 40"/>
                <a:gd name="T5" fmla="*/ 476 h 478"/>
                <a:gd name="T6" fmla="*/ 9 w 40"/>
                <a:gd name="T7" fmla="*/ 474 h 478"/>
                <a:gd name="T8" fmla="*/ 6 w 40"/>
                <a:gd name="T9" fmla="*/ 472 h 478"/>
                <a:gd name="T10" fmla="*/ 4 w 40"/>
                <a:gd name="T11" fmla="*/ 469 h 478"/>
                <a:gd name="T12" fmla="*/ 1 w 40"/>
                <a:gd name="T13" fmla="*/ 466 h 478"/>
                <a:gd name="T14" fmla="*/ 0 w 40"/>
                <a:gd name="T15" fmla="*/ 462 h 478"/>
                <a:gd name="T16" fmla="*/ 0 w 40"/>
                <a:gd name="T17" fmla="*/ 458 h 478"/>
                <a:gd name="T18" fmla="*/ 0 w 40"/>
                <a:gd name="T19" fmla="*/ 20 h 478"/>
                <a:gd name="T20" fmla="*/ 0 w 40"/>
                <a:gd name="T21" fmla="*/ 15 h 478"/>
                <a:gd name="T22" fmla="*/ 1 w 40"/>
                <a:gd name="T23" fmla="*/ 11 h 478"/>
                <a:gd name="T24" fmla="*/ 4 w 40"/>
                <a:gd name="T25" fmla="*/ 9 h 478"/>
                <a:gd name="T26" fmla="*/ 6 w 40"/>
                <a:gd name="T27" fmla="*/ 5 h 478"/>
                <a:gd name="T28" fmla="*/ 9 w 40"/>
                <a:gd name="T29" fmla="*/ 2 h 478"/>
                <a:gd name="T30" fmla="*/ 12 w 40"/>
                <a:gd name="T31" fmla="*/ 1 h 478"/>
                <a:gd name="T32" fmla="*/ 16 w 40"/>
                <a:gd name="T33" fmla="*/ 0 h 478"/>
                <a:gd name="T34" fmla="*/ 20 w 40"/>
                <a:gd name="T35" fmla="*/ 0 h 478"/>
                <a:gd name="T36" fmla="*/ 24 w 40"/>
                <a:gd name="T37" fmla="*/ 0 h 478"/>
                <a:gd name="T38" fmla="*/ 27 w 40"/>
                <a:gd name="T39" fmla="*/ 1 h 478"/>
                <a:gd name="T40" fmla="*/ 31 w 40"/>
                <a:gd name="T41" fmla="*/ 2 h 478"/>
                <a:gd name="T42" fmla="*/ 33 w 40"/>
                <a:gd name="T43" fmla="*/ 5 h 478"/>
                <a:gd name="T44" fmla="*/ 36 w 40"/>
                <a:gd name="T45" fmla="*/ 9 h 478"/>
                <a:gd name="T46" fmla="*/ 38 w 40"/>
                <a:gd name="T47" fmla="*/ 11 h 478"/>
                <a:gd name="T48" fmla="*/ 40 w 40"/>
                <a:gd name="T49" fmla="*/ 15 h 478"/>
                <a:gd name="T50" fmla="*/ 40 w 40"/>
                <a:gd name="T51" fmla="*/ 20 h 478"/>
                <a:gd name="T52" fmla="*/ 40 w 40"/>
                <a:gd name="T53" fmla="*/ 458 h 478"/>
                <a:gd name="T54" fmla="*/ 40 w 40"/>
                <a:gd name="T55" fmla="*/ 462 h 478"/>
                <a:gd name="T56" fmla="*/ 38 w 40"/>
                <a:gd name="T57" fmla="*/ 466 h 478"/>
                <a:gd name="T58" fmla="*/ 36 w 40"/>
                <a:gd name="T59" fmla="*/ 469 h 478"/>
                <a:gd name="T60" fmla="*/ 33 w 40"/>
                <a:gd name="T61" fmla="*/ 472 h 478"/>
                <a:gd name="T62" fmla="*/ 31 w 40"/>
                <a:gd name="T63" fmla="*/ 474 h 478"/>
                <a:gd name="T64" fmla="*/ 27 w 40"/>
                <a:gd name="T65" fmla="*/ 476 h 478"/>
                <a:gd name="T66" fmla="*/ 24 w 40"/>
                <a:gd name="T67" fmla="*/ 477 h 478"/>
                <a:gd name="T68" fmla="*/ 20 w 40"/>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78">
                  <a:moveTo>
                    <a:pt x="20" y="478"/>
                  </a:moveTo>
                  <a:lnTo>
                    <a:pt x="16" y="477"/>
                  </a:lnTo>
                  <a:lnTo>
                    <a:pt x="12" y="476"/>
                  </a:lnTo>
                  <a:lnTo>
                    <a:pt x="9" y="474"/>
                  </a:lnTo>
                  <a:lnTo>
                    <a:pt x="6" y="472"/>
                  </a:lnTo>
                  <a:lnTo>
                    <a:pt x="4" y="469"/>
                  </a:lnTo>
                  <a:lnTo>
                    <a:pt x="1" y="466"/>
                  </a:lnTo>
                  <a:lnTo>
                    <a:pt x="0" y="462"/>
                  </a:lnTo>
                  <a:lnTo>
                    <a:pt x="0" y="458"/>
                  </a:lnTo>
                  <a:lnTo>
                    <a:pt x="0" y="20"/>
                  </a:lnTo>
                  <a:lnTo>
                    <a:pt x="0" y="15"/>
                  </a:lnTo>
                  <a:lnTo>
                    <a:pt x="1" y="11"/>
                  </a:lnTo>
                  <a:lnTo>
                    <a:pt x="4" y="9"/>
                  </a:lnTo>
                  <a:lnTo>
                    <a:pt x="6" y="5"/>
                  </a:lnTo>
                  <a:lnTo>
                    <a:pt x="9" y="2"/>
                  </a:lnTo>
                  <a:lnTo>
                    <a:pt x="12" y="1"/>
                  </a:lnTo>
                  <a:lnTo>
                    <a:pt x="16" y="0"/>
                  </a:lnTo>
                  <a:lnTo>
                    <a:pt x="20" y="0"/>
                  </a:lnTo>
                  <a:lnTo>
                    <a:pt x="24" y="0"/>
                  </a:lnTo>
                  <a:lnTo>
                    <a:pt x="27" y="1"/>
                  </a:lnTo>
                  <a:lnTo>
                    <a:pt x="31" y="2"/>
                  </a:lnTo>
                  <a:lnTo>
                    <a:pt x="33" y="5"/>
                  </a:lnTo>
                  <a:lnTo>
                    <a:pt x="36" y="9"/>
                  </a:lnTo>
                  <a:lnTo>
                    <a:pt x="38" y="11"/>
                  </a:lnTo>
                  <a:lnTo>
                    <a:pt x="40" y="15"/>
                  </a:lnTo>
                  <a:lnTo>
                    <a:pt x="40" y="20"/>
                  </a:lnTo>
                  <a:lnTo>
                    <a:pt x="40" y="458"/>
                  </a:lnTo>
                  <a:lnTo>
                    <a:pt x="40" y="462"/>
                  </a:lnTo>
                  <a:lnTo>
                    <a:pt x="38" y="466"/>
                  </a:lnTo>
                  <a:lnTo>
                    <a:pt x="36" y="469"/>
                  </a:lnTo>
                  <a:lnTo>
                    <a:pt x="33" y="472"/>
                  </a:lnTo>
                  <a:lnTo>
                    <a:pt x="31" y="474"/>
                  </a:lnTo>
                  <a:lnTo>
                    <a:pt x="27" y="476"/>
                  </a:lnTo>
                  <a:lnTo>
                    <a:pt x="24" y="477"/>
                  </a:lnTo>
                  <a:lnTo>
                    <a:pt x="2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7">
              <a:extLst>
                <a:ext uri="{FF2B5EF4-FFF2-40B4-BE49-F238E27FC236}">
                  <a16:creationId xmlns:a16="http://schemas.microsoft.com/office/drawing/2014/main" id="{A3523922-555F-44F2-B74C-C891DE871DB7}"/>
                </a:ext>
              </a:extLst>
            </p:cNvPr>
            <p:cNvSpPr>
              <a:spLocks/>
            </p:cNvSpPr>
            <p:nvPr/>
          </p:nvSpPr>
          <p:spPr bwMode="auto">
            <a:xfrm>
              <a:off x="1680992" y="2513327"/>
              <a:ext cx="175272" cy="99628"/>
            </a:xfrm>
            <a:custGeom>
              <a:avLst/>
              <a:gdLst>
                <a:gd name="T0" fmla="*/ 264 w 284"/>
                <a:gd name="T1" fmla="*/ 162 h 162"/>
                <a:gd name="T2" fmla="*/ 260 w 284"/>
                <a:gd name="T3" fmla="*/ 162 h 162"/>
                <a:gd name="T4" fmla="*/ 256 w 284"/>
                <a:gd name="T5" fmla="*/ 161 h 162"/>
                <a:gd name="T6" fmla="*/ 253 w 284"/>
                <a:gd name="T7" fmla="*/ 159 h 162"/>
                <a:gd name="T8" fmla="*/ 250 w 284"/>
                <a:gd name="T9" fmla="*/ 157 h 162"/>
                <a:gd name="T10" fmla="*/ 142 w 284"/>
                <a:gd name="T11" fmla="*/ 49 h 162"/>
                <a:gd name="T12" fmla="*/ 35 w 284"/>
                <a:gd name="T13" fmla="*/ 157 h 162"/>
                <a:gd name="T14" fmla="*/ 32 w 284"/>
                <a:gd name="T15" fmla="*/ 159 h 162"/>
                <a:gd name="T16" fmla="*/ 28 w 284"/>
                <a:gd name="T17" fmla="*/ 161 h 162"/>
                <a:gd name="T18" fmla="*/ 25 w 284"/>
                <a:gd name="T19" fmla="*/ 162 h 162"/>
                <a:gd name="T20" fmla="*/ 20 w 284"/>
                <a:gd name="T21" fmla="*/ 162 h 162"/>
                <a:gd name="T22" fmla="*/ 17 w 284"/>
                <a:gd name="T23" fmla="*/ 162 h 162"/>
                <a:gd name="T24" fmla="*/ 13 w 284"/>
                <a:gd name="T25" fmla="*/ 161 h 162"/>
                <a:gd name="T26" fmla="*/ 10 w 284"/>
                <a:gd name="T27" fmla="*/ 159 h 162"/>
                <a:gd name="T28" fmla="*/ 7 w 284"/>
                <a:gd name="T29" fmla="*/ 157 h 162"/>
                <a:gd name="T30" fmla="*/ 4 w 284"/>
                <a:gd name="T31" fmla="*/ 153 h 162"/>
                <a:gd name="T32" fmla="*/ 3 w 284"/>
                <a:gd name="T33" fmla="*/ 149 h 162"/>
                <a:gd name="T34" fmla="*/ 2 w 284"/>
                <a:gd name="T35" fmla="*/ 146 h 162"/>
                <a:gd name="T36" fmla="*/ 0 w 284"/>
                <a:gd name="T37" fmla="*/ 142 h 162"/>
                <a:gd name="T38" fmla="*/ 2 w 284"/>
                <a:gd name="T39" fmla="*/ 138 h 162"/>
                <a:gd name="T40" fmla="*/ 3 w 284"/>
                <a:gd name="T41" fmla="*/ 135 h 162"/>
                <a:gd name="T42" fmla="*/ 4 w 284"/>
                <a:gd name="T43" fmla="*/ 131 h 162"/>
                <a:gd name="T44" fmla="*/ 7 w 284"/>
                <a:gd name="T45" fmla="*/ 128 h 162"/>
                <a:gd name="T46" fmla="*/ 128 w 284"/>
                <a:gd name="T47" fmla="*/ 7 h 162"/>
                <a:gd name="T48" fmla="*/ 131 w 284"/>
                <a:gd name="T49" fmla="*/ 4 h 162"/>
                <a:gd name="T50" fmla="*/ 135 w 284"/>
                <a:gd name="T51" fmla="*/ 3 h 162"/>
                <a:gd name="T52" fmla="*/ 138 w 284"/>
                <a:gd name="T53" fmla="*/ 2 h 162"/>
                <a:gd name="T54" fmla="*/ 142 w 284"/>
                <a:gd name="T55" fmla="*/ 0 h 162"/>
                <a:gd name="T56" fmla="*/ 146 w 284"/>
                <a:gd name="T57" fmla="*/ 2 h 162"/>
                <a:gd name="T58" fmla="*/ 150 w 284"/>
                <a:gd name="T59" fmla="*/ 3 h 162"/>
                <a:gd name="T60" fmla="*/ 153 w 284"/>
                <a:gd name="T61" fmla="*/ 4 h 162"/>
                <a:gd name="T62" fmla="*/ 157 w 284"/>
                <a:gd name="T63" fmla="*/ 7 h 162"/>
                <a:gd name="T64" fmla="*/ 277 w 284"/>
                <a:gd name="T65" fmla="*/ 128 h 162"/>
                <a:gd name="T66" fmla="*/ 280 w 284"/>
                <a:gd name="T67" fmla="*/ 131 h 162"/>
                <a:gd name="T68" fmla="*/ 282 w 284"/>
                <a:gd name="T69" fmla="*/ 135 h 162"/>
                <a:gd name="T70" fmla="*/ 284 w 284"/>
                <a:gd name="T71" fmla="*/ 138 h 162"/>
                <a:gd name="T72" fmla="*/ 284 w 284"/>
                <a:gd name="T73" fmla="*/ 142 h 162"/>
                <a:gd name="T74" fmla="*/ 284 w 284"/>
                <a:gd name="T75" fmla="*/ 146 h 162"/>
                <a:gd name="T76" fmla="*/ 282 w 284"/>
                <a:gd name="T77" fmla="*/ 149 h 162"/>
                <a:gd name="T78" fmla="*/ 280 w 284"/>
                <a:gd name="T79" fmla="*/ 153 h 162"/>
                <a:gd name="T80" fmla="*/ 277 w 284"/>
                <a:gd name="T81" fmla="*/ 157 h 162"/>
                <a:gd name="T82" fmla="*/ 275 w 284"/>
                <a:gd name="T83" fmla="*/ 159 h 162"/>
                <a:gd name="T84" fmla="*/ 271 w 284"/>
                <a:gd name="T85" fmla="*/ 161 h 162"/>
                <a:gd name="T86" fmla="*/ 268 w 284"/>
                <a:gd name="T87" fmla="*/ 162 h 162"/>
                <a:gd name="T88" fmla="*/ 264 w 284"/>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 h="162">
                  <a:moveTo>
                    <a:pt x="264" y="162"/>
                  </a:moveTo>
                  <a:lnTo>
                    <a:pt x="260" y="162"/>
                  </a:lnTo>
                  <a:lnTo>
                    <a:pt x="256" y="161"/>
                  </a:lnTo>
                  <a:lnTo>
                    <a:pt x="253" y="159"/>
                  </a:lnTo>
                  <a:lnTo>
                    <a:pt x="250" y="157"/>
                  </a:lnTo>
                  <a:lnTo>
                    <a:pt x="142" y="49"/>
                  </a:lnTo>
                  <a:lnTo>
                    <a:pt x="35" y="157"/>
                  </a:lnTo>
                  <a:lnTo>
                    <a:pt x="32" y="159"/>
                  </a:lnTo>
                  <a:lnTo>
                    <a:pt x="28" y="161"/>
                  </a:lnTo>
                  <a:lnTo>
                    <a:pt x="25" y="162"/>
                  </a:lnTo>
                  <a:lnTo>
                    <a:pt x="20" y="162"/>
                  </a:lnTo>
                  <a:lnTo>
                    <a:pt x="17" y="162"/>
                  </a:lnTo>
                  <a:lnTo>
                    <a:pt x="13" y="161"/>
                  </a:lnTo>
                  <a:lnTo>
                    <a:pt x="10" y="159"/>
                  </a:lnTo>
                  <a:lnTo>
                    <a:pt x="7" y="157"/>
                  </a:lnTo>
                  <a:lnTo>
                    <a:pt x="4" y="153"/>
                  </a:lnTo>
                  <a:lnTo>
                    <a:pt x="3" y="149"/>
                  </a:lnTo>
                  <a:lnTo>
                    <a:pt x="2" y="146"/>
                  </a:lnTo>
                  <a:lnTo>
                    <a:pt x="0" y="142"/>
                  </a:lnTo>
                  <a:lnTo>
                    <a:pt x="2" y="138"/>
                  </a:lnTo>
                  <a:lnTo>
                    <a:pt x="3" y="135"/>
                  </a:lnTo>
                  <a:lnTo>
                    <a:pt x="4" y="131"/>
                  </a:lnTo>
                  <a:lnTo>
                    <a:pt x="7" y="128"/>
                  </a:lnTo>
                  <a:lnTo>
                    <a:pt x="128" y="7"/>
                  </a:lnTo>
                  <a:lnTo>
                    <a:pt x="131" y="4"/>
                  </a:lnTo>
                  <a:lnTo>
                    <a:pt x="135" y="3"/>
                  </a:lnTo>
                  <a:lnTo>
                    <a:pt x="138" y="2"/>
                  </a:lnTo>
                  <a:lnTo>
                    <a:pt x="142" y="0"/>
                  </a:lnTo>
                  <a:lnTo>
                    <a:pt x="146" y="2"/>
                  </a:lnTo>
                  <a:lnTo>
                    <a:pt x="150" y="3"/>
                  </a:lnTo>
                  <a:lnTo>
                    <a:pt x="153" y="4"/>
                  </a:lnTo>
                  <a:lnTo>
                    <a:pt x="157" y="7"/>
                  </a:lnTo>
                  <a:lnTo>
                    <a:pt x="277" y="128"/>
                  </a:lnTo>
                  <a:lnTo>
                    <a:pt x="280" y="131"/>
                  </a:lnTo>
                  <a:lnTo>
                    <a:pt x="282" y="135"/>
                  </a:lnTo>
                  <a:lnTo>
                    <a:pt x="284" y="138"/>
                  </a:lnTo>
                  <a:lnTo>
                    <a:pt x="284" y="142"/>
                  </a:lnTo>
                  <a:lnTo>
                    <a:pt x="284" y="146"/>
                  </a:lnTo>
                  <a:lnTo>
                    <a:pt x="282" y="149"/>
                  </a:lnTo>
                  <a:lnTo>
                    <a:pt x="280" y="153"/>
                  </a:lnTo>
                  <a:lnTo>
                    <a:pt x="277" y="157"/>
                  </a:lnTo>
                  <a:lnTo>
                    <a:pt x="275" y="159"/>
                  </a:lnTo>
                  <a:lnTo>
                    <a:pt x="271" y="161"/>
                  </a:lnTo>
                  <a:lnTo>
                    <a:pt x="268" y="162"/>
                  </a:lnTo>
                  <a:lnTo>
                    <a:pt x="264"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9" name="Freeform 50">
            <a:extLst>
              <a:ext uri="{FF2B5EF4-FFF2-40B4-BE49-F238E27FC236}">
                <a16:creationId xmlns:a16="http://schemas.microsoft.com/office/drawing/2014/main" id="{6290D32C-FDCF-43D1-B5B1-B74D0DB1CBD2}"/>
              </a:ext>
            </a:extLst>
          </p:cNvPr>
          <p:cNvSpPr>
            <a:spLocks noChangeAspect="1" noEditPoints="1"/>
          </p:cNvSpPr>
          <p:nvPr/>
        </p:nvSpPr>
        <p:spPr bwMode="auto">
          <a:xfrm>
            <a:off x="2310430" y="5944848"/>
            <a:ext cx="293714" cy="306484"/>
          </a:xfrm>
          <a:custGeom>
            <a:avLst/>
            <a:gdLst>
              <a:gd name="T0" fmla="*/ 496 w 506"/>
              <a:gd name="T1" fmla="*/ 89 h 528"/>
              <a:gd name="T2" fmla="*/ 254 w 506"/>
              <a:gd name="T3" fmla="*/ 0 h 528"/>
              <a:gd name="T4" fmla="*/ 10 w 506"/>
              <a:gd name="T5" fmla="*/ 89 h 528"/>
              <a:gd name="T6" fmla="*/ 0 w 506"/>
              <a:gd name="T7" fmla="*/ 91 h 528"/>
              <a:gd name="T8" fmla="*/ 0 w 506"/>
              <a:gd name="T9" fmla="*/ 105 h 528"/>
              <a:gd name="T10" fmla="*/ 0 w 506"/>
              <a:gd name="T11" fmla="*/ 108 h 528"/>
              <a:gd name="T12" fmla="*/ 0 w 506"/>
              <a:gd name="T13" fmla="*/ 437 h 528"/>
              <a:gd name="T14" fmla="*/ 244 w 506"/>
              <a:gd name="T15" fmla="*/ 525 h 528"/>
              <a:gd name="T16" fmla="*/ 254 w 506"/>
              <a:gd name="T17" fmla="*/ 528 h 528"/>
              <a:gd name="T18" fmla="*/ 262 w 506"/>
              <a:gd name="T19" fmla="*/ 525 h 528"/>
              <a:gd name="T20" fmla="*/ 506 w 506"/>
              <a:gd name="T21" fmla="*/ 437 h 528"/>
              <a:gd name="T22" fmla="*/ 506 w 506"/>
              <a:gd name="T23" fmla="*/ 110 h 528"/>
              <a:gd name="T24" fmla="*/ 506 w 506"/>
              <a:gd name="T25" fmla="*/ 106 h 528"/>
              <a:gd name="T26" fmla="*/ 506 w 506"/>
              <a:gd name="T27" fmla="*/ 93 h 528"/>
              <a:gd name="T28" fmla="*/ 496 w 506"/>
              <a:gd name="T29" fmla="*/ 89 h 528"/>
              <a:gd name="T30" fmla="*/ 244 w 506"/>
              <a:gd name="T31" fmla="*/ 504 h 528"/>
              <a:gd name="T32" fmla="*/ 20 w 506"/>
              <a:gd name="T33" fmla="*/ 423 h 528"/>
              <a:gd name="T34" fmla="*/ 20 w 506"/>
              <a:gd name="T35" fmla="*/ 112 h 528"/>
              <a:gd name="T36" fmla="*/ 180 w 506"/>
              <a:gd name="T37" fmla="*/ 171 h 528"/>
              <a:gd name="T38" fmla="*/ 244 w 506"/>
              <a:gd name="T39" fmla="*/ 193 h 528"/>
              <a:gd name="T40" fmla="*/ 244 w 506"/>
              <a:gd name="T41" fmla="*/ 504 h 528"/>
              <a:gd name="T42" fmla="*/ 254 w 506"/>
              <a:gd name="T43" fmla="*/ 178 h 528"/>
              <a:gd name="T44" fmla="*/ 139 w 506"/>
              <a:gd name="T45" fmla="*/ 135 h 528"/>
              <a:gd name="T46" fmla="*/ 37 w 506"/>
              <a:gd name="T47" fmla="*/ 98 h 528"/>
              <a:gd name="T48" fmla="*/ 254 w 506"/>
              <a:gd name="T49" fmla="*/ 20 h 528"/>
              <a:gd name="T50" fmla="*/ 469 w 506"/>
              <a:gd name="T51" fmla="*/ 98 h 528"/>
              <a:gd name="T52" fmla="*/ 254 w 506"/>
              <a:gd name="T53" fmla="*/ 178 h 528"/>
              <a:gd name="T54" fmla="*/ 488 w 506"/>
              <a:gd name="T55" fmla="*/ 423 h 528"/>
              <a:gd name="T56" fmla="*/ 262 w 506"/>
              <a:gd name="T57" fmla="*/ 504 h 528"/>
              <a:gd name="T58" fmla="*/ 262 w 506"/>
              <a:gd name="T59" fmla="*/ 193 h 528"/>
              <a:gd name="T60" fmla="*/ 488 w 506"/>
              <a:gd name="T61" fmla="*/ 113 h 528"/>
              <a:gd name="T62" fmla="*/ 488 w 506"/>
              <a:gd name="T63" fmla="*/ 423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6" h="528">
                <a:moveTo>
                  <a:pt x="496" y="89"/>
                </a:moveTo>
                <a:lnTo>
                  <a:pt x="254" y="0"/>
                </a:lnTo>
                <a:lnTo>
                  <a:pt x="10" y="89"/>
                </a:lnTo>
                <a:lnTo>
                  <a:pt x="0" y="91"/>
                </a:lnTo>
                <a:lnTo>
                  <a:pt x="0" y="105"/>
                </a:lnTo>
                <a:lnTo>
                  <a:pt x="0" y="108"/>
                </a:lnTo>
                <a:lnTo>
                  <a:pt x="0" y="437"/>
                </a:lnTo>
                <a:lnTo>
                  <a:pt x="244" y="525"/>
                </a:lnTo>
                <a:lnTo>
                  <a:pt x="254" y="528"/>
                </a:lnTo>
                <a:lnTo>
                  <a:pt x="262" y="525"/>
                </a:lnTo>
                <a:lnTo>
                  <a:pt x="506" y="437"/>
                </a:lnTo>
                <a:lnTo>
                  <a:pt x="506" y="110"/>
                </a:lnTo>
                <a:lnTo>
                  <a:pt x="506" y="106"/>
                </a:lnTo>
                <a:lnTo>
                  <a:pt x="506" y="93"/>
                </a:lnTo>
                <a:lnTo>
                  <a:pt x="496" y="89"/>
                </a:lnTo>
                <a:close/>
                <a:moveTo>
                  <a:pt x="244" y="504"/>
                </a:moveTo>
                <a:lnTo>
                  <a:pt x="20" y="423"/>
                </a:lnTo>
                <a:lnTo>
                  <a:pt x="20" y="112"/>
                </a:lnTo>
                <a:lnTo>
                  <a:pt x="180" y="171"/>
                </a:lnTo>
                <a:lnTo>
                  <a:pt x="244" y="193"/>
                </a:lnTo>
                <a:lnTo>
                  <a:pt x="244" y="504"/>
                </a:lnTo>
                <a:close/>
                <a:moveTo>
                  <a:pt x="254" y="178"/>
                </a:moveTo>
                <a:lnTo>
                  <a:pt x="139" y="135"/>
                </a:lnTo>
                <a:lnTo>
                  <a:pt x="37" y="98"/>
                </a:lnTo>
                <a:lnTo>
                  <a:pt x="254" y="20"/>
                </a:lnTo>
                <a:lnTo>
                  <a:pt x="469" y="98"/>
                </a:lnTo>
                <a:lnTo>
                  <a:pt x="254" y="178"/>
                </a:lnTo>
                <a:close/>
                <a:moveTo>
                  <a:pt x="488" y="423"/>
                </a:moveTo>
                <a:lnTo>
                  <a:pt x="262" y="504"/>
                </a:lnTo>
                <a:lnTo>
                  <a:pt x="262" y="193"/>
                </a:lnTo>
                <a:lnTo>
                  <a:pt x="488" y="113"/>
                </a:lnTo>
                <a:lnTo>
                  <a:pt x="488" y="42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527" name="Group 76">
            <a:extLst>
              <a:ext uri="{FF2B5EF4-FFF2-40B4-BE49-F238E27FC236}">
                <a16:creationId xmlns:a16="http://schemas.microsoft.com/office/drawing/2014/main" id="{A05A195C-844E-4077-8467-626FF1706308}"/>
              </a:ext>
            </a:extLst>
          </p:cNvPr>
          <p:cNvGrpSpPr>
            <a:grpSpLocks noChangeAspect="1"/>
          </p:cNvGrpSpPr>
          <p:nvPr/>
        </p:nvGrpSpPr>
        <p:grpSpPr>
          <a:xfrm>
            <a:off x="2725826" y="5944848"/>
            <a:ext cx="306484" cy="306484"/>
            <a:chOff x="11593513" y="3067050"/>
            <a:chExt cx="285750" cy="285750"/>
          </a:xfrm>
          <a:solidFill>
            <a:schemeClr val="bg2"/>
          </a:solidFill>
          <a:effectLst/>
        </p:grpSpPr>
        <p:sp>
          <p:nvSpPr>
            <p:cNvPr id="528" name="Freeform 276">
              <a:extLst>
                <a:ext uri="{FF2B5EF4-FFF2-40B4-BE49-F238E27FC236}">
                  <a16:creationId xmlns:a16="http://schemas.microsoft.com/office/drawing/2014/main" id="{58B461F4-0EC8-4B5A-B069-3A81FC76B7F1}"/>
                </a:ext>
              </a:extLst>
            </p:cNvPr>
            <p:cNvSpPr>
              <a:spLocks noEditPoints="1"/>
            </p:cNvSpPr>
            <p:nvPr/>
          </p:nvSpPr>
          <p:spPr bwMode="auto">
            <a:xfrm>
              <a:off x="11688763" y="3067050"/>
              <a:ext cx="123825" cy="123825"/>
            </a:xfrm>
            <a:custGeom>
              <a:avLst/>
              <a:gdLst>
                <a:gd name="T0" fmla="*/ 327 w 390"/>
                <a:gd name="T1" fmla="*/ 75 h 389"/>
                <a:gd name="T2" fmla="*/ 62 w 390"/>
                <a:gd name="T3" fmla="*/ 75 h 389"/>
                <a:gd name="T4" fmla="*/ 359 w 390"/>
                <a:gd name="T5" fmla="*/ 290 h 389"/>
                <a:gd name="T6" fmla="*/ 209 w 390"/>
                <a:gd name="T7" fmla="*/ 146 h 389"/>
                <a:gd name="T8" fmla="*/ 359 w 390"/>
                <a:gd name="T9" fmla="*/ 290 h 389"/>
                <a:gd name="T10" fmla="*/ 179 w 390"/>
                <a:gd name="T11" fmla="*/ 146 h 389"/>
                <a:gd name="T12" fmla="*/ 30 w 390"/>
                <a:gd name="T13" fmla="*/ 290 h 389"/>
                <a:gd name="T14" fmla="*/ 8 w 390"/>
                <a:gd name="T15" fmla="*/ 313 h 389"/>
                <a:gd name="T16" fmla="*/ 189 w 390"/>
                <a:gd name="T17" fmla="*/ 388 h 389"/>
                <a:gd name="T18" fmla="*/ 189 w 390"/>
                <a:gd name="T19" fmla="*/ 388 h 389"/>
                <a:gd name="T20" fmla="*/ 194 w 390"/>
                <a:gd name="T21" fmla="*/ 389 h 389"/>
                <a:gd name="T22" fmla="*/ 199 w 390"/>
                <a:gd name="T23" fmla="*/ 388 h 389"/>
                <a:gd name="T24" fmla="*/ 200 w 390"/>
                <a:gd name="T25" fmla="*/ 388 h 389"/>
                <a:gd name="T26" fmla="*/ 380 w 390"/>
                <a:gd name="T27" fmla="*/ 313 h 389"/>
                <a:gd name="T28" fmla="*/ 386 w 390"/>
                <a:gd name="T29" fmla="*/ 308 h 389"/>
                <a:gd name="T30" fmla="*/ 389 w 390"/>
                <a:gd name="T31" fmla="*/ 299 h 389"/>
                <a:gd name="T32" fmla="*/ 389 w 390"/>
                <a:gd name="T33" fmla="*/ 74 h 389"/>
                <a:gd name="T34" fmla="*/ 389 w 390"/>
                <a:gd name="T35" fmla="*/ 73 h 389"/>
                <a:gd name="T36" fmla="*/ 389 w 390"/>
                <a:gd name="T37" fmla="*/ 71 h 389"/>
                <a:gd name="T38" fmla="*/ 387 w 390"/>
                <a:gd name="T39" fmla="*/ 68 h 389"/>
                <a:gd name="T40" fmla="*/ 386 w 390"/>
                <a:gd name="T41" fmla="*/ 65 h 389"/>
                <a:gd name="T42" fmla="*/ 384 w 390"/>
                <a:gd name="T43" fmla="*/ 63 h 389"/>
                <a:gd name="T44" fmla="*/ 383 w 390"/>
                <a:gd name="T45" fmla="*/ 63 h 389"/>
                <a:gd name="T46" fmla="*/ 382 w 390"/>
                <a:gd name="T47" fmla="*/ 62 h 389"/>
                <a:gd name="T48" fmla="*/ 380 w 390"/>
                <a:gd name="T49" fmla="*/ 61 h 389"/>
                <a:gd name="T50" fmla="*/ 199 w 390"/>
                <a:gd name="T51" fmla="*/ 0 h 389"/>
                <a:gd name="T52" fmla="*/ 190 w 390"/>
                <a:gd name="T53" fmla="*/ 0 h 389"/>
                <a:gd name="T54" fmla="*/ 8 w 390"/>
                <a:gd name="T55" fmla="*/ 61 h 389"/>
                <a:gd name="T56" fmla="*/ 6 w 390"/>
                <a:gd name="T57" fmla="*/ 62 h 389"/>
                <a:gd name="T58" fmla="*/ 5 w 390"/>
                <a:gd name="T59" fmla="*/ 63 h 389"/>
                <a:gd name="T60" fmla="*/ 4 w 390"/>
                <a:gd name="T61" fmla="*/ 63 h 389"/>
                <a:gd name="T62" fmla="*/ 2 w 390"/>
                <a:gd name="T63" fmla="*/ 65 h 389"/>
                <a:gd name="T64" fmla="*/ 1 w 390"/>
                <a:gd name="T65" fmla="*/ 69 h 389"/>
                <a:gd name="T66" fmla="*/ 0 w 390"/>
                <a:gd name="T67" fmla="*/ 71 h 389"/>
                <a:gd name="T68" fmla="*/ 0 w 390"/>
                <a:gd name="T69" fmla="*/ 74 h 389"/>
                <a:gd name="T70" fmla="*/ 0 w 390"/>
                <a:gd name="T71" fmla="*/ 74 h 389"/>
                <a:gd name="T72" fmla="*/ 0 w 390"/>
                <a:gd name="T73" fmla="*/ 299 h 389"/>
                <a:gd name="T74" fmla="*/ 2 w 390"/>
                <a:gd name="T75" fmla="*/ 308 h 389"/>
                <a:gd name="T76" fmla="*/ 8 w 390"/>
                <a:gd name="T77" fmla="*/ 313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389">
                  <a:moveTo>
                    <a:pt x="194" y="30"/>
                  </a:moveTo>
                  <a:lnTo>
                    <a:pt x="327" y="75"/>
                  </a:lnTo>
                  <a:lnTo>
                    <a:pt x="194" y="119"/>
                  </a:lnTo>
                  <a:lnTo>
                    <a:pt x="62" y="75"/>
                  </a:lnTo>
                  <a:lnTo>
                    <a:pt x="194" y="30"/>
                  </a:lnTo>
                  <a:close/>
                  <a:moveTo>
                    <a:pt x="359" y="290"/>
                  </a:moveTo>
                  <a:lnTo>
                    <a:pt x="209" y="352"/>
                  </a:lnTo>
                  <a:lnTo>
                    <a:pt x="209" y="146"/>
                  </a:lnTo>
                  <a:lnTo>
                    <a:pt x="359" y="95"/>
                  </a:lnTo>
                  <a:lnTo>
                    <a:pt x="359" y="290"/>
                  </a:lnTo>
                  <a:close/>
                  <a:moveTo>
                    <a:pt x="30" y="95"/>
                  </a:moveTo>
                  <a:lnTo>
                    <a:pt x="179" y="146"/>
                  </a:lnTo>
                  <a:lnTo>
                    <a:pt x="179" y="352"/>
                  </a:lnTo>
                  <a:lnTo>
                    <a:pt x="30" y="290"/>
                  </a:lnTo>
                  <a:lnTo>
                    <a:pt x="30" y="95"/>
                  </a:lnTo>
                  <a:close/>
                  <a:moveTo>
                    <a:pt x="8" y="313"/>
                  </a:moveTo>
                  <a:lnTo>
                    <a:pt x="189" y="388"/>
                  </a:lnTo>
                  <a:lnTo>
                    <a:pt x="189" y="388"/>
                  </a:lnTo>
                  <a:lnTo>
                    <a:pt x="189" y="388"/>
                  </a:lnTo>
                  <a:lnTo>
                    <a:pt x="189" y="388"/>
                  </a:lnTo>
                  <a:lnTo>
                    <a:pt x="191" y="389"/>
                  </a:lnTo>
                  <a:lnTo>
                    <a:pt x="194" y="389"/>
                  </a:lnTo>
                  <a:lnTo>
                    <a:pt x="197" y="389"/>
                  </a:lnTo>
                  <a:lnTo>
                    <a:pt x="199" y="388"/>
                  </a:lnTo>
                  <a:lnTo>
                    <a:pt x="200" y="388"/>
                  </a:lnTo>
                  <a:lnTo>
                    <a:pt x="200" y="388"/>
                  </a:lnTo>
                  <a:lnTo>
                    <a:pt x="200" y="388"/>
                  </a:lnTo>
                  <a:lnTo>
                    <a:pt x="380" y="313"/>
                  </a:lnTo>
                  <a:lnTo>
                    <a:pt x="383" y="311"/>
                  </a:lnTo>
                  <a:lnTo>
                    <a:pt x="386" y="308"/>
                  </a:lnTo>
                  <a:lnTo>
                    <a:pt x="389" y="304"/>
                  </a:lnTo>
                  <a:lnTo>
                    <a:pt x="389" y="299"/>
                  </a:lnTo>
                  <a:lnTo>
                    <a:pt x="390" y="75"/>
                  </a:lnTo>
                  <a:lnTo>
                    <a:pt x="389" y="74"/>
                  </a:lnTo>
                  <a:lnTo>
                    <a:pt x="389" y="74"/>
                  </a:lnTo>
                  <a:lnTo>
                    <a:pt x="389" y="73"/>
                  </a:lnTo>
                  <a:lnTo>
                    <a:pt x="389" y="73"/>
                  </a:lnTo>
                  <a:lnTo>
                    <a:pt x="389" y="71"/>
                  </a:lnTo>
                  <a:lnTo>
                    <a:pt x="387" y="69"/>
                  </a:lnTo>
                  <a:lnTo>
                    <a:pt x="387" y="68"/>
                  </a:lnTo>
                  <a:lnTo>
                    <a:pt x="387" y="68"/>
                  </a:lnTo>
                  <a:lnTo>
                    <a:pt x="386" y="65"/>
                  </a:lnTo>
                  <a:lnTo>
                    <a:pt x="384" y="64"/>
                  </a:lnTo>
                  <a:lnTo>
                    <a:pt x="384" y="63"/>
                  </a:lnTo>
                  <a:lnTo>
                    <a:pt x="383" y="63"/>
                  </a:lnTo>
                  <a:lnTo>
                    <a:pt x="383" y="63"/>
                  </a:lnTo>
                  <a:lnTo>
                    <a:pt x="383" y="62"/>
                  </a:lnTo>
                  <a:lnTo>
                    <a:pt x="382" y="62"/>
                  </a:lnTo>
                  <a:lnTo>
                    <a:pt x="381" y="62"/>
                  </a:lnTo>
                  <a:lnTo>
                    <a:pt x="380" y="61"/>
                  </a:lnTo>
                  <a:lnTo>
                    <a:pt x="379" y="60"/>
                  </a:lnTo>
                  <a:lnTo>
                    <a:pt x="199" y="0"/>
                  </a:lnTo>
                  <a:lnTo>
                    <a:pt x="194" y="0"/>
                  </a:lnTo>
                  <a:lnTo>
                    <a:pt x="190" y="0"/>
                  </a:lnTo>
                  <a:lnTo>
                    <a:pt x="9" y="60"/>
                  </a:lnTo>
                  <a:lnTo>
                    <a:pt x="8" y="61"/>
                  </a:lnTo>
                  <a:lnTo>
                    <a:pt x="7" y="62"/>
                  </a:lnTo>
                  <a:lnTo>
                    <a:pt x="6" y="62"/>
                  </a:lnTo>
                  <a:lnTo>
                    <a:pt x="5" y="62"/>
                  </a:lnTo>
                  <a:lnTo>
                    <a:pt x="5" y="63"/>
                  </a:lnTo>
                  <a:lnTo>
                    <a:pt x="5" y="63"/>
                  </a:lnTo>
                  <a:lnTo>
                    <a:pt x="4" y="63"/>
                  </a:lnTo>
                  <a:lnTo>
                    <a:pt x="4" y="64"/>
                  </a:lnTo>
                  <a:lnTo>
                    <a:pt x="2" y="65"/>
                  </a:lnTo>
                  <a:lnTo>
                    <a:pt x="1" y="68"/>
                  </a:lnTo>
                  <a:lnTo>
                    <a:pt x="1" y="69"/>
                  </a:lnTo>
                  <a:lnTo>
                    <a:pt x="1" y="69"/>
                  </a:lnTo>
                  <a:lnTo>
                    <a:pt x="0" y="71"/>
                  </a:lnTo>
                  <a:lnTo>
                    <a:pt x="0" y="73"/>
                  </a:lnTo>
                  <a:lnTo>
                    <a:pt x="0" y="74"/>
                  </a:lnTo>
                  <a:lnTo>
                    <a:pt x="0" y="74"/>
                  </a:lnTo>
                  <a:lnTo>
                    <a:pt x="0" y="74"/>
                  </a:lnTo>
                  <a:lnTo>
                    <a:pt x="0" y="75"/>
                  </a:lnTo>
                  <a:lnTo>
                    <a:pt x="0" y="299"/>
                  </a:lnTo>
                  <a:lnTo>
                    <a:pt x="0" y="304"/>
                  </a:lnTo>
                  <a:lnTo>
                    <a:pt x="2" y="308"/>
                  </a:lnTo>
                  <a:lnTo>
                    <a:pt x="5" y="311"/>
                  </a:lnTo>
                  <a:lnTo>
                    <a:pt x="8"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277">
              <a:extLst>
                <a:ext uri="{FF2B5EF4-FFF2-40B4-BE49-F238E27FC236}">
                  <a16:creationId xmlns:a16="http://schemas.microsoft.com/office/drawing/2014/main" id="{202FE555-F7DB-4FF7-B310-79018005BDE8}"/>
                </a:ext>
              </a:extLst>
            </p:cNvPr>
            <p:cNvSpPr>
              <a:spLocks noEditPoints="1"/>
            </p:cNvSpPr>
            <p:nvPr/>
          </p:nvSpPr>
          <p:spPr bwMode="auto">
            <a:xfrm>
              <a:off x="11774488" y="3190875"/>
              <a:ext cx="104775" cy="104775"/>
            </a:xfrm>
            <a:custGeom>
              <a:avLst/>
              <a:gdLst>
                <a:gd name="T0" fmla="*/ 180 w 330"/>
                <a:gd name="T1" fmla="*/ 291 h 330"/>
                <a:gd name="T2" fmla="*/ 300 w 330"/>
                <a:gd name="T3" fmla="*/ 97 h 330"/>
                <a:gd name="T4" fmla="*/ 30 w 330"/>
                <a:gd name="T5" fmla="*/ 97 h 330"/>
                <a:gd name="T6" fmla="*/ 151 w 330"/>
                <a:gd name="T7" fmla="*/ 291 h 330"/>
                <a:gd name="T8" fmla="*/ 30 w 330"/>
                <a:gd name="T9" fmla="*/ 97 h 330"/>
                <a:gd name="T10" fmla="*/ 274 w 330"/>
                <a:gd name="T11" fmla="*/ 76 h 330"/>
                <a:gd name="T12" fmla="*/ 55 w 330"/>
                <a:gd name="T13" fmla="*/ 76 h 330"/>
                <a:gd name="T14" fmla="*/ 330 w 330"/>
                <a:gd name="T15" fmla="*/ 75 h 330"/>
                <a:gd name="T16" fmla="*/ 329 w 330"/>
                <a:gd name="T17" fmla="*/ 71 h 330"/>
                <a:gd name="T18" fmla="*/ 329 w 330"/>
                <a:gd name="T19" fmla="*/ 70 h 330"/>
                <a:gd name="T20" fmla="*/ 326 w 330"/>
                <a:gd name="T21" fmla="*/ 65 h 330"/>
                <a:gd name="T22" fmla="*/ 325 w 330"/>
                <a:gd name="T23" fmla="*/ 64 h 330"/>
                <a:gd name="T24" fmla="*/ 324 w 330"/>
                <a:gd name="T25" fmla="*/ 63 h 330"/>
                <a:gd name="T26" fmla="*/ 321 w 330"/>
                <a:gd name="T27" fmla="*/ 62 h 330"/>
                <a:gd name="T28" fmla="*/ 320 w 330"/>
                <a:gd name="T29" fmla="*/ 62 h 330"/>
                <a:gd name="T30" fmla="*/ 168 w 330"/>
                <a:gd name="T31" fmla="*/ 1 h 330"/>
                <a:gd name="T32" fmla="*/ 162 w 330"/>
                <a:gd name="T33" fmla="*/ 1 h 330"/>
                <a:gd name="T34" fmla="*/ 9 w 330"/>
                <a:gd name="T35" fmla="*/ 62 h 330"/>
                <a:gd name="T36" fmla="*/ 9 w 330"/>
                <a:gd name="T37" fmla="*/ 62 h 330"/>
                <a:gd name="T38" fmla="*/ 6 w 330"/>
                <a:gd name="T39" fmla="*/ 63 h 330"/>
                <a:gd name="T40" fmla="*/ 5 w 330"/>
                <a:gd name="T41" fmla="*/ 64 h 330"/>
                <a:gd name="T42" fmla="*/ 4 w 330"/>
                <a:gd name="T43" fmla="*/ 65 h 330"/>
                <a:gd name="T44" fmla="*/ 2 w 330"/>
                <a:gd name="T45" fmla="*/ 70 h 330"/>
                <a:gd name="T46" fmla="*/ 1 w 330"/>
                <a:gd name="T47" fmla="*/ 71 h 330"/>
                <a:gd name="T48" fmla="*/ 0 w 330"/>
                <a:gd name="T49" fmla="*/ 75 h 330"/>
                <a:gd name="T50" fmla="*/ 0 w 330"/>
                <a:gd name="T51" fmla="*/ 76 h 330"/>
                <a:gd name="T52" fmla="*/ 0 w 330"/>
                <a:gd name="T53" fmla="*/ 241 h 330"/>
                <a:gd name="T54" fmla="*/ 2 w 330"/>
                <a:gd name="T55" fmla="*/ 248 h 330"/>
                <a:gd name="T56" fmla="*/ 8 w 330"/>
                <a:gd name="T57" fmla="*/ 254 h 330"/>
                <a:gd name="T58" fmla="*/ 159 w 330"/>
                <a:gd name="T59" fmla="*/ 329 h 330"/>
                <a:gd name="T60" fmla="*/ 162 w 330"/>
                <a:gd name="T61" fmla="*/ 330 h 330"/>
                <a:gd name="T62" fmla="*/ 169 w 330"/>
                <a:gd name="T63" fmla="*/ 330 h 330"/>
                <a:gd name="T64" fmla="*/ 172 w 330"/>
                <a:gd name="T65" fmla="*/ 329 h 330"/>
                <a:gd name="T66" fmla="*/ 321 w 330"/>
                <a:gd name="T67" fmla="*/ 254 h 330"/>
                <a:gd name="T68" fmla="*/ 328 w 330"/>
                <a:gd name="T69" fmla="*/ 248 h 330"/>
                <a:gd name="T70" fmla="*/ 330 w 330"/>
                <a:gd name="T71" fmla="*/ 241 h 330"/>
                <a:gd name="T72" fmla="*/ 330 w 330"/>
                <a:gd name="T73" fmla="*/ 76 h 330"/>
                <a:gd name="T74" fmla="*/ 330 w 330"/>
                <a:gd name="T75" fmla="*/ 7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0" h="330">
                  <a:moveTo>
                    <a:pt x="300" y="231"/>
                  </a:moveTo>
                  <a:lnTo>
                    <a:pt x="180" y="291"/>
                  </a:lnTo>
                  <a:lnTo>
                    <a:pt x="180" y="145"/>
                  </a:lnTo>
                  <a:lnTo>
                    <a:pt x="300" y="97"/>
                  </a:lnTo>
                  <a:lnTo>
                    <a:pt x="300" y="231"/>
                  </a:lnTo>
                  <a:close/>
                  <a:moveTo>
                    <a:pt x="30" y="97"/>
                  </a:moveTo>
                  <a:lnTo>
                    <a:pt x="151" y="145"/>
                  </a:lnTo>
                  <a:lnTo>
                    <a:pt x="151" y="291"/>
                  </a:lnTo>
                  <a:lnTo>
                    <a:pt x="30" y="231"/>
                  </a:lnTo>
                  <a:lnTo>
                    <a:pt x="30" y="97"/>
                  </a:lnTo>
                  <a:close/>
                  <a:moveTo>
                    <a:pt x="165" y="32"/>
                  </a:moveTo>
                  <a:lnTo>
                    <a:pt x="274" y="76"/>
                  </a:lnTo>
                  <a:lnTo>
                    <a:pt x="165" y="120"/>
                  </a:lnTo>
                  <a:lnTo>
                    <a:pt x="55" y="76"/>
                  </a:lnTo>
                  <a:lnTo>
                    <a:pt x="165" y="32"/>
                  </a:lnTo>
                  <a:close/>
                  <a:moveTo>
                    <a:pt x="330" y="75"/>
                  </a:moveTo>
                  <a:lnTo>
                    <a:pt x="330" y="73"/>
                  </a:lnTo>
                  <a:lnTo>
                    <a:pt x="329" y="71"/>
                  </a:lnTo>
                  <a:lnTo>
                    <a:pt x="329" y="70"/>
                  </a:lnTo>
                  <a:lnTo>
                    <a:pt x="329" y="70"/>
                  </a:lnTo>
                  <a:lnTo>
                    <a:pt x="327" y="67"/>
                  </a:lnTo>
                  <a:lnTo>
                    <a:pt x="326" y="65"/>
                  </a:lnTo>
                  <a:lnTo>
                    <a:pt x="326" y="65"/>
                  </a:lnTo>
                  <a:lnTo>
                    <a:pt x="325" y="64"/>
                  </a:lnTo>
                  <a:lnTo>
                    <a:pt x="325" y="64"/>
                  </a:lnTo>
                  <a:lnTo>
                    <a:pt x="324" y="63"/>
                  </a:lnTo>
                  <a:lnTo>
                    <a:pt x="323" y="62"/>
                  </a:lnTo>
                  <a:lnTo>
                    <a:pt x="321" y="62"/>
                  </a:lnTo>
                  <a:lnTo>
                    <a:pt x="320" y="62"/>
                  </a:lnTo>
                  <a:lnTo>
                    <a:pt x="320" y="62"/>
                  </a:lnTo>
                  <a:lnTo>
                    <a:pt x="171" y="1"/>
                  </a:lnTo>
                  <a:lnTo>
                    <a:pt x="168" y="1"/>
                  </a:lnTo>
                  <a:lnTo>
                    <a:pt x="165" y="0"/>
                  </a:lnTo>
                  <a:lnTo>
                    <a:pt x="162" y="1"/>
                  </a:lnTo>
                  <a:lnTo>
                    <a:pt x="159" y="1"/>
                  </a:lnTo>
                  <a:lnTo>
                    <a:pt x="9" y="62"/>
                  </a:lnTo>
                  <a:lnTo>
                    <a:pt x="9" y="62"/>
                  </a:lnTo>
                  <a:lnTo>
                    <a:pt x="9" y="62"/>
                  </a:lnTo>
                  <a:lnTo>
                    <a:pt x="7" y="62"/>
                  </a:lnTo>
                  <a:lnTo>
                    <a:pt x="6" y="63"/>
                  </a:lnTo>
                  <a:lnTo>
                    <a:pt x="6" y="64"/>
                  </a:lnTo>
                  <a:lnTo>
                    <a:pt x="5" y="64"/>
                  </a:lnTo>
                  <a:lnTo>
                    <a:pt x="5" y="65"/>
                  </a:lnTo>
                  <a:lnTo>
                    <a:pt x="4" y="65"/>
                  </a:lnTo>
                  <a:lnTo>
                    <a:pt x="3" y="67"/>
                  </a:lnTo>
                  <a:lnTo>
                    <a:pt x="2" y="70"/>
                  </a:lnTo>
                  <a:lnTo>
                    <a:pt x="1" y="70"/>
                  </a:lnTo>
                  <a:lnTo>
                    <a:pt x="1" y="71"/>
                  </a:lnTo>
                  <a:lnTo>
                    <a:pt x="1" y="73"/>
                  </a:lnTo>
                  <a:lnTo>
                    <a:pt x="0" y="75"/>
                  </a:lnTo>
                  <a:lnTo>
                    <a:pt x="0" y="75"/>
                  </a:lnTo>
                  <a:lnTo>
                    <a:pt x="0" y="76"/>
                  </a:lnTo>
                  <a:lnTo>
                    <a:pt x="0" y="76"/>
                  </a:lnTo>
                  <a:lnTo>
                    <a:pt x="0" y="241"/>
                  </a:lnTo>
                  <a:lnTo>
                    <a:pt x="1" y="245"/>
                  </a:lnTo>
                  <a:lnTo>
                    <a:pt x="2" y="248"/>
                  </a:lnTo>
                  <a:lnTo>
                    <a:pt x="5" y="251"/>
                  </a:lnTo>
                  <a:lnTo>
                    <a:pt x="8" y="254"/>
                  </a:lnTo>
                  <a:lnTo>
                    <a:pt x="158" y="329"/>
                  </a:lnTo>
                  <a:lnTo>
                    <a:pt x="159" y="329"/>
                  </a:lnTo>
                  <a:lnTo>
                    <a:pt x="159" y="329"/>
                  </a:lnTo>
                  <a:lnTo>
                    <a:pt x="162" y="330"/>
                  </a:lnTo>
                  <a:lnTo>
                    <a:pt x="165" y="330"/>
                  </a:lnTo>
                  <a:lnTo>
                    <a:pt x="169" y="330"/>
                  </a:lnTo>
                  <a:lnTo>
                    <a:pt x="171" y="329"/>
                  </a:lnTo>
                  <a:lnTo>
                    <a:pt x="172" y="329"/>
                  </a:lnTo>
                  <a:lnTo>
                    <a:pt x="172" y="329"/>
                  </a:lnTo>
                  <a:lnTo>
                    <a:pt x="321" y="254"/>
                  </a:lnTo>
                  <a:lnTo>
                    <a:pt x="326" y="251"/>
                  </a:lnTo>
                  <a:lnTo>
                    <a:pt x="328" y="248"/>
                  </a:lnTo>
                  <a:lnTo>
                    <a:pt x="329" y="245"/>
                  </a:lnTo>
                  <a:lnTo>
                    <a:pt x="330" y="241"/>
                  </a:lnTo>
                  <a:lnTo>
                    <a:pt x="330" y="76"/>
                  </a:lnTo>
                  <a:lnTo>
                    <a:pt x="330" y="76"/>
                  </a:lnTo>
                  <a:lnTo>
                    <a:pt x="330" y="76"/>
                  </a:lnTo>
                  <a:lnTo>
                    <a:pt x="330" y="75"/>
                  </a:lnTo>
                  <a:lnTo>
                    <a:pt x="33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278">
              <a:extLst>
                <a:ext uri="{FF2B5EF4-FFF2-40B4-BE49-F238E27FC236}">
                  <a16:creationId xmlns:a16="http://schemas.microsoft.com/office/drawing/2014/main" id="{CBC77AA9-BA08-437A-A2FE-0C0C0BC8DEB7}"/>
                </a:ext>
              </a:extLst>
            </p:cNvPr>
            <p:cNvSpPr>
              <a:spLocks noEditPoints="1"/>
            </p:cNvSpPr>
            <p:nvPr/>
          </p:nvSpPr>
          <p:spPr bwMode="auto">
            <a:xfrm>
              <a:off x="11593513" y="3200400"/>
              <a:ext cx="161925" cy="152400"/>
            </a:xfrm>
            <a:custGeom>
              <a:avLst/>
              <a:gdLst>
                <a:gd name="T0" fmla="*/ 271 w 510"/>
                <a:gd name="T1" fmla="*/ 443 h 481"/>
                <a:gd name="T2" fmla="*/ 480 w 510"/>
                <a:gd name="T3" fmla="*/ 111 h 481"/>
                <a:gd name="T4" fmla="*/ 30 w 510"/>
                <a:gd name="T5" fmla="*/ 111 h 481"/>
                <a:gd name="T6" fmla="*/ 240 w 510"/>
                <a:gd name="T7" fmla="*/ 443 h 481"/>
                <a:gd name="T8" fmla="*/ 30 w 510"/>
                <a:gd name="T9" fmla="*/ 111 h 481"/>
                <a:gd name="T10" fmla="*/ 445 w 510"/>
                <a:gd name="T11" fmla="*/ 91 h 481"/>
                <a:gd name="T12" fmla="*/ 66 w 510"/>
                <a:gd name="T13" fmla="*/ 91 h 481"/>
                <a:gd name="T14" fmla="*/ 510 w 510"/>
                <a:gd name="T15" fmla="*/ 89 h 481"/>
                <a:gd name="T16" fmla="*/ 509 w 510"/>
                <a:gd name="T17" fmla="*/ 83 h 481"/>
                <a:gd name="T18" fmla="*/ 508 w 510"/>
                <a:gd name="T19" fmla="*/ 83 h 481"/>
                <a:gd name="T20" fmla="*/ 505 w 510"/>
                <a:gd name="T21" fmla="*/ 79 h 481"/>
                <a:gd name="T22" fmla="*/ 505 w 510"/>
                <a:gd name="T23" fmla="*/ 79 h 481"/>
                <a:gd name="T24" fmla="*/ 504 w 510"/>
                <a:gd name="T25" fmla="*/ 78 h 481"/>
                <a:gd name="T26" fmla="*/ 503 w 510"/>
                <a:gd name="T27" fmla="*/ 78 h 481"/>
                <a:gd name="T28" fmla="*/ 499 w 510"/>
                <a:gd name="T29" fmla="*/ 76 h 481"/>
                <a:gd name="T30" fmla="*/ 255 w 510"/>
                <a:gd name="T31" fmla="*/ 0 h 481"/>
                <a:gd name="T32" fmla="*/ 11 w 510"/>
                <a:gd name="T33" fmla="*/ 76 h 481"/>
                <a:gd name="T34" fmla="*/ 8 w 510"/>
                <a:gd name="T35" fmla="*/ 78 h 481"/>
                <a:gd name="T36" fmla="*/ 7 w 510"/>
                <a:gd name="T37" fmla="*/ 78 h 481"/>
                <a:gd name="T38" fmla="*/ 6 w 510"/>
                <a:gd name="T39" fmla="*/ 79 h 481"/>
                <a:gd name="T40" fmla="*/ 6 w 510"/>
                <a:gd name="T41" fmla="*/ 79 h 481"/>
                <a:gd name="T42" fmla="*/ 3 w 510"/>
                <a:gd name="T43" fmla="*/ 83 h 481"/>
                <a:gd name="T44" fmla="*/ 1 w 510"/>
                <a:gd name="T45" fmla="*/ 83 h 481"/>
                <a:gd name="T46" fmla="*/ 0 w 510"/>
                <a:gd name="T47" fmla="*/ 89 h 481"/>
                <a:gd name="T48" fmla="*/ 0 w 510"/>
                <a:gd name="T49" fmla="*/ 90 h 481"/>
                <a:gd name="T50" fmla="*/ 0 w 510"/>
                <a:gd name="T51" fmla="*/ 91 h 481"/>
                <a:gd name="T52" fmla="*/ 1 w 510"/>
                <a:gd name="T53" fmla="*/ 380 h 481"/>
                <a:gd name="T54" fmla="*/ 6 w 510"/>
                <a:gd name="T55" fmla="*/ 387 h 481"/>
                <a:gd name="T56" fmla="*/ 250 w 510"/>
                <a:gd name="T57" fmla="*/ 480 h 481"/>
                <a:gd name="T58" fmla="*/ 255 w 510"/>
                <a:gd name="T59" fmla="*/ 481 h 481"/>
                <a:gd name="T60" fmla="*/ 260 w 510"/>
                <a:gd name="T61" fmla="*/ 480 h 481"/>
                <a:gd name="T62" fmla="*/ 505 w 510"/>
                <a:gd name="T63" fmla="*/ 387 h 481"/>
                <a:gd name="T64" fmla="*/ 509 w 510"/>
                <a:gd name="T65" fmla="*/ 380 h 481"/>
                <a:gd name="T66" fmla="*/ 510 w 510"/>
                <a:gd name="T67" fmla="*/ 91 h 481"/>
                <a:gd name="T68" fmla="*/ 510 w 510"/>
                <a:gd name="T69" fmla="*/ 90 h 481"/>
                <a:gd name="T70" fmla="*/ 510 w 510"/>
                <a:gd name="T71" fmla="*/ 8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481">
                  <a:moveTo>
                    <a:pt x="480" y="365"/>
                  </a:moveTo>
                  <a:lnTo>
                    <a:pt x="271" y="443"/>
                  </a:lnTo>
                  <a:lnTo>
                    <a:pt x="271" y="176"/>
                  </a:lnTo>
                  <a:lnTo>
                    <a:pt x="480" y="111"/>
                  </a:lnTo>
                  <a:lnTo>
                    <a:pt x="480" y="365"/>
                  </a:lnTo>
                  <a:close/>
                  <a:moveTo>
                    <a:pt x="30" y="111"/>
                  </a:moveTo>
                  <a:lnTo>
                    <a:pt x="240" y="176"/>
                  </a:lnTo>
                  <a:lnTo>
                    <a:pt x="240" y="443"/>
                  </a:lnTo>
                  <a:lnTo>
                    <a:pt x="30" y="365"/>
                  </a:lnTo>
                  <a:lnTo>
                    <a:pt x="30" y="111"/>
                  </a:lnTo>
                  <a:close/>
                  <a:moveTo>
                    <a:pt x="255" y="31"/>
                  </a:moveTo>
                  <a:lnTo>
                    <a:pt x="445" y="91"/>
                  </a:lnTo>
                  <a:lnTo>
                    <a:pt x="255" y="150"/>
                  </a:lnTo>
                  <a:lnTo>
                    <a:pt x="66" y="91"/>
                  </a:lnTo>
                  <a:lnTo>
                    <a:pt x="255" y="31"/>
                  </a:lnTo>
                  <a:close/>
                  <a:moveTo>
                    <a:pt x="510" y="89"/>
                  </a:moveTo>
                  <a:lnTo>
                    <a:pt x="509" y="87"/>
                  </a:lnTo>
                  <a:lnTo>
                    <a:pt x="509" y="83"/>
                  </a:lnTo>
                  <a:lnTo>
                    <a:pt x="508" y="83"/>
                  </a:lnTo>
                  <a:lnTo>
                    <a:pt x="508" y="83"/>
                  </a:lnTo>
                  <a:lnTo>
                    <a:pt x="507" y="81"/>
                  </a:lnTo>
                  <a:lnTo>
                    <a:pt x="505" y="79"/>
                  </a:lnTo>
                  <a:lnTo>
                    <a:pt x="505" y="79"/>
                  </a:lnTo>
                  <a:lnTo>
                    <a:pt x="505" y="79"/>
                  </a:lnTo>
                  <a:lnTo>
                    <a:pt x="505" y="79"/>
                  </a:lnTo>
                  <a:lnTo>
                    <a:pt x="504" y="78"/>
                  </a:lnTo>
                  <a:lnTo>
                    <a:pt x="504" y="78"/>
                  </a:lnTo>
                  <a:lnTo>
                    <a:pt x="503" y="78"/>
                  </a:lnTo>
                  <a:lnTo>
                    <a:pt x="501" y="77"/>
                  </a:lnTo>
                  <a:lnTo>
                    <a:pt x="499" y="76"/>
                  </a:lnTo>
                  <a:lnTo>
                    <a:pt x="260" y="1"/>
                  </a:lnTo>
                  <a:lnTo>
                    <a:pt x="255" y="0"/>
                  </a:lnTo>
                  <a:lnTo>
                    <a:pt x="250" y="1"/>
                  </a:lnTo>
                  <a:lnTo>
                    <a:pt x="11" y="76"/>
                  </a:lnTo>
                  <a:lnTo>
                    <a:pt x="9" y="77"/>
                  </a:lnTo>
                  <a:lnTo>
                    <a:pt x="8" y="78"/>
                  </a:lnTo>
                  <a:lnTo>
                    <a:pt x="7" y="78"/>
                  </a:lnTo>
                  <a:lnTo>
                    <a:pt x="7" y="78"/>
                  </a:lnTo>
                  <a:lnTo>
                    <a:pt x="6" y="79"/>
                  </a:lnTo>
                  <a:lnTo>
                    <a:pt x="6" y="79"/>
                  </a:lnTo>
                  <a:lnTo>
                    <a:pt x="6" y="79"/>
                  </a:lnTo>
                  <a:lnTo>
                    <a:pt x="6" y="79"/>
                  </a:lnTo>
                  <a:lnTo>
                    <a:pt x="4" y="81"/>
                  </a:lnTo>
                  <a:lnTo>
                    <a:pt x="3" y="83"/>
                  </a:lnTo>
                  <a:lnTo>
                    <a:pt x="3" y="83"/>
                  </a:lnTo>
                  <a:lnTo>
                    <a:pt x="1" y="83"/>
                  </a:lnTo>
                  <a:lnTo>
                    <a:pt x="1" y="87"/>
                  </a:lnTo>
                  <a:lnTo>
                    <a:pt x="0" y="89"/>
                  </a:lnTo>
                  <a:lnTo>
                    <a:pt x="0" y="89"/>
                  </a:lnTo>
                  <a:lnTo>
                    <a:pt x="0" y="90"/>
                  </a:lnTo>
                  <a:lnTo>
                    <a:pt x="0" y="90"/>
                  </a:lnTo>
                  <a:lnTo>
                    <a:pt x="0" y="91"/>
                  </a:lnTo>
                  <a:lnTo>
                    <a:pt x="0" y="375"/>
                  </a:lnTo>
                  <a:lnTo>
                    <a:pt x="1" y="380"/>
                  </a:lnTo>
                  <a:lnTo>
                    <a:pt x="3" y="384"/>
                  </a:lnTo>
                  <a:lnTo>
                    <a:pt x="6" y="387"/>
                  </a:lnTo>
                  <a:lnTo>
                    <a:pt x="10" y="390"/>
                  </a:lnTo>
                  <a:lnTo>
                    <a:pt x="250" y="480"/>
                  </a:lnTo>
                  <a:lnTo>
                    <a:pt x="253" y="480"/>
                  </a:lnTo>
                  <a:lnTo>
                    <a:pt x="255" y="481"/>
                  </a:lnTo>
                  <a:lnTo>
                    <a:pt x="258" y="480"/>
                  </a:lnTo>
                  <a:lnTo>
                    <a:pt x="260" y="480"/>
                  </a:lnTo>
                  <a:lnTo>
                    <a:pt x="500" y="389"/>
                  </a:lnTo>
                  <a:lnTo>
                    <a:pt x="505" y="387"/>
                  </a:lnTo>
                  <a:lnTo>
                    <a:pt x="508" y="384"/>
                  </a:lnTo>
                  <a:lnTo>
                    <a:pt x="509" y="380"/>
                  </a:lnTo>
                  <a:lnTo>
                    <a:pt x="510" y="375"/>
                  </a:lnTo>
                  <a:lnTo>
                    <a:pt x="510" y="91"/>
                  </a:lnTo>
                  <a:lnTo>
                    <a:pt x="510" y="90"/>
                  </a:lnTo>
                  <a:lnTo>
                    <a:pt x="510" y="90"/>
                  </a:lnTo>
                  <a:lnTo>
                    <a:pt x="510" y="89"/>
                  </a:lnTo>
                  <a:lnTo>
                    <a:pt x="51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45">
            <a:extLst>
              <a:ext uri="{FF2B5EF4-FFF2-40B4-BE49-F238E27FC236}">
                <a16:creationId xmlns:a16="http://schemas.microsoft.com/office/drawing/2014/main" id="{F8B6E61B-646E-4438-80D9-1AC4EA00E3D3}"/>
              </a:ext>
            </a:extLst>
          </p:cNvPr>
          <p:cNvGrpSpPr>
            <a:grpSpLocks noChangeAspect="1"/>
          </p:cNvGrpSpPr>
          <p:nvPr/>
        </p:nvGrpSpPr>
        <p:grpSpPr>
          <a:xfrm>
            <a:off x="3227960" y="5944848"/>
            <a:ext cx="234971" cy="306484"/>
            <a:chOff x="7632700" y="3638550"/>
            <a:chExt cx="219075" cy="285750"/>
          </a:xfrm>
          <a:solidFill>
            <a:schemeClr val="bg2"/>
          </a:solidFill>
          <a:effectLst/>
        </p:grpSpPr>
        <p:sp>
          <p:nvSpPr>
            <p:cNvPr id="623" name="Freeform 362">
              <a:extLst>
                <a:ext uri="{FF2B5EF4-FFF2-40B4-BE49-F238E27FC236}">
                  <a16:creationId xmlns:a16="http://schemas.microsoft.com/office/drawing/2014/main" id="{A5857099-393D-42D4-AC3B-816C9506A542}"/>
                </a:ext>
              </a:extLst>
            </p:cNvPr>
            <p:cNvSpPr>
              <a:spLocks noEditPoints="1"/>
            </p:cNvSpPr>
            <p:nvPr/>
          </p:nvSpPr>
          <p:spPr bwMode="auto">
            <a:xfrm>
              <a:off x="7632700" y="3638550"/>
              <a:ext cx="219075" cy="285750"/>
            </a:xfrm>
            <a:custGeom>
              <a:avLst/>
              <a:gdLst>
                <a:gd name="T0" fmla="*/ 84 w 689"/>
                <a:gd name="T1" fmla="*/ 870 h 900"/>
                <a:gd name="T2" fmla="*/ 66 w 689"/>
                <a:gd name="T3" fmla="*/ 865 h 900"/>
                <a:gd name="T4" fmla="*/ 52 w 689"/>
                <a:gd name="T5" fmla="*/ 856 h 900"/>
                <a:gd name="T6" fmla="*/ 40 w 689"/>
                <a:gd name="T7" fmla="*/ 843 h 900"/>
                <a:gd name="T8" fmla="*/ 32 w 689"/>
                <a:gd name="T9" fmla="*/ 827 h 900"/>
                <a:gd name="T10" fmla="*/ 30 w 689"/>
                <a:gd name="T11" fmla="*/ 810 h 900"/>
                <a:gd name="T12" fmla="*/ 659 w 689"/>
                <a:gd name="T13" fmla="*/ 810 h 900"/>
                <a:gd name="T14" fmla="*/ 657 w 689"/>
                <a:gd name="T15" fmla="*/ 827 h 900"/>
                <a:gd name="T16" fmla="*/ 650 w 689"/>
                <a:gd name="T17" fmla="*/ 843 h 900"/>
                <a:gd name="T18" fmla="*/ 638 w 689"/>
                <a:gd name="T19" fmla="*/ 856 h 900"/>
                <a:gd name="T20" fmla="*/ 623 w 689"/>
                <a:gd name="T21" fmla="*/ 865 h 900"/>
                <a:gd name="T22" fmla="*/ 606 w 689"/>
                <a:gd name="T23" fmla="*/ 870 h 900"/>
                <a:gd name="T24" fmla="*/ 659 w 689"/>
                <a:gd name="T25" fmla="*/ 570 h 900"/>
                <a:gd name="T26" fmla="*/ 659 w 689"/>
                <a:gd name="T27" fmla="*/ 331 h 900"/>
                <a:gd name="T28" fmla="*/ 606 w 689"/>
                <a:gd name="T29" fmla="*/ 30 h 900"/>
                <a:gd name="T30" fmla="*/ 623 w 689"/>
                <a:gd name="T31" fmla="*/ 35 h 900"/>
                <a:gd name="T32" fmla="*/ 638 w 689"/>
                <a:gd name="T33" fmla="*/ 44 h 900"/>
                <a:gd name="T34" fmla="*/ 650 w 689"/>
                <a:gd name="T35" fmla="*/ 57 h 900"/>
                <a:gd name="T36" fmla="*/ 657 w 689"/>
                <a:gd name="T37" fmla="*/ 72 h 900"/>
                <a:gd name="T38" fmla="*/ 659 w 689"/>
                <a:gd name="T39" fmla="*/ 90 h 900"/>
                <a:gd name="T40" fmla="*/ 30 w 689"/>
                <a:gd name="T41" fmla="*/ 90 h 900"/>
                <a:gd name="T42" fmla="*/ 32 w 689"/>
                <a:gd name="T43" fmla="*/ 72 h 900"/>
                <a:gd name="T44" fmla="*/ 40 w 689"/>
                <a:gd name="T45" fmla="*/ 57 h 900"/>
                <a:gd name="T46" fmla="*/ 52 w 689"/>
                <a:gd name="T47" fmla="*/ 44 h 900"/>
                <a:gd name="T48" fmla="*/ 66 w 689"/>
                <a:gd name="T49" fmla="*/ 35 h 900"/>
                <a:gd name="T50" fmla="*/ 84 w 689"/>
                <a:gd name="T51" fmla="*/ 30 h 900"/>
                <a:gd name="T52" fmla="*/ 90 w 689"/>
                <a:gd name="T53" fmla="*/ 0 h 900"/>
                <a:gd name="T54" fmla="*/ 63 w 689"/>
                <a:gd name="T55" fmla="*/ 5 h 900"/>
                <a:gd name="T56" fmla="*/ 40 w 689"/>
                <a:gd name="T57" fmla="*/ 15 h 900"/>
                <a:gd name="T58" fmla="*/ 21 w 689"/>
                <a:gd name="T59" fmla="*/ 34 h 900"/>
                <a:gd name="T60" fmla="*/ 7 w 689"/>
                <a:gd name="T61" fmla="*/ 55 h 900"/>
                <a:gd name="T62" fmla="*/ 0 w 689"/>
                <a:gd name="T63" fmla="*/ 81 h 900"/>
                <a:gd name="T64" fmla="*/ 0 w 689"/>
                <a:gd name="T65" fmla="*/ 819 h 900"/>
                <a:gd name="T66" fmla="*/ 7 w 689"/>
                <a:gd name="T67" fmla="*/ 846 h 900"/>
                <a:gd name="T68" fmla="*/ 21 w 689"/>
                <a:gd name="T69" fmla="*/ 867 h 900"/>
                <a:gd name="T70" fmla="*/ 40 w 689"/>
                <a:gd name="T71" fmla="*/ 885 h 900"/>
                <a:gd name="T72" fmla="*/ 63 w 689"/>
                <a:gd name="T73" fmla="*/ 896 h 900"/>
                <a:gd name="T74" fmla="*/ 90 w 689"/>
                <a:gd name="T75" fmla="*/ 900 h 900"/>
                <a:gd name="T76" fmla="*/ 618 w 689"/>
                <a:gd name="T77" fmla="*/ 898 h 900"/>
                <a:gd name="T78" fmla="*/ 642 w 689"/>
                <a:gd name="T79" fmla="*/ 889 h 900"/>
                <a:gd name="T80" fmla="*/ 664 w 689"/>
                <a:gd name="T81" fmla="*/ 873 h 900"/>
                <a:gd name="T82" fmla="*/ 679 w 689"/>
                <a:gd name="T83" fmla="*/ 853 h 900"/>
                <a:gd name="T84" fmla="*/ 688 w 689"/>
                <a:gd name="T85" fmla="*/ 828 h 900"/>
                <a:gd name="T86" fmla="*/ 689 w 689"/>
                <a:gd name="T87" fmla="*/ 90 h 900"/>
                <a:gd name="T88" fmla="*/ 686 w 689"/>
                <a:gd name="T89" fmla="*/ 63 h 900"/>
                <a:gd name="T90" fmla="*/ 674 w 689"/>
                <a:gd name="T91" fmla="*/ 40 h 900"/>
                <a:gd name="T92" fmla="*/ 657 w 689"/>
                <a:gd name="T93" fmla="*/ 21 h 900"/>
                <a:gd name="T94" fmla="*/ 635 w 689"/>
                <a:gd name="T95" fmla="*/ 7 h 900"/>
                <a:gd name="T96" fmla="*/ 609 w 689"/>
                <a:gd name="T97"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9" h="900">
                  <a:moveTo>
                    <a:pt x="600" y="870"/>
                  </a:moveTo>
                  <a:lnTo>
                    <a:pt x="90" y="870"/>
                  </a:lnTo>
                  <a:lnTo>
                    <a:pt x="84" y="870"/>
                  </a:lnTo>
                  <a:lnTo>
                    <a:pt x="78" y="869"/>
                  </a:lnTo>
                  <a:lnTo>
                    <a:pt x="72" y="867"/>
                  </a:lnTo>
                  <a:lnTo>
                    <a:pt x="66" y="865"/>
                  </a:lnTo>
                  <a:lnTo>
                    <a:pt x="61" y="863"/>
                  </a:lnTo>
                  <a:lnTo>
                    <a:pt x="57" y="859"/>
                  </a:lnTo>
                  <a:lnTo>
                    <a:pt x="52" y="856"/>
                  </a:lnTo>
                  <a:lnTo>
                    <a:pt x="47" y="852"/>
                  </a:lnTo>
                  <a:lnTo>
                    <a:pt x="44" y="848"/>
                  </a:lnTo>
                  <a:lnTo>
                    <a:pt x="40" y="843"/>
                  </a:lnTo>
                  <a:lnTo>
                    <a:pt x="38" y="838"/>
                  </a:lnTo>
                  <a:lnTo>
                    <a:pt x="34" y="834"/>
                  </a:lnTo>
                  <a:lnTo>
                    <a:pt x="32" y="827"/>
                  </a:lnTo>
                  <a:lnTo>
                    <a:pt x="31" y="822"/>
                  </a:lnTo>
                  <a:lnTo>
                    <a:pt x="30" y="817"/>
                  </a:lnTo>
                  <a:lnTo>
                    <a:pt x="30" y="810"/>
                  </a:lnTo>
                  <a:lnTo>
                    <a:pt x="30" y="600"/>
                  </a:lnTo>
                  <a:lnTo>
                    <a:pt x="659" y="600"/>
                  </a:lnTo>
                  <a:lnTo>
                    <a:pt x="659" y="810"/>
                  </a:lnTo>
                  <a:lnTo>
                    <a:pt x="659" y="816"/>
                  </a:lnTo>
                  <a:lnTo>
                    <a:pt x="658" y="822"/>
                  </a:lnTo>
                  <a:lnTo>
                    <a:pt x="657" y="827"/>
                  </a:lnTo>
                  <a:lnTo>
                    <a:pt x="655" y="834"/>
                  </a:lnTo>
                  <a:lnTo>
                    <a:pt x="652" y="838"/>
                  </a:lnTo>
                  <a:lnTo>
                    <a:pt x="650" y="843"/>
                  </a:lnTo>
                  <a:lnTo>
                    <a:pt x="646" y="848"/>
                  </a:lnTo>
                  <a:lnTo>
                    <a:pt x="642" y="852"/>
                  </a:lnTo>
                  <a:lnTo>
                    <a:pt x="638" y="856"/>
                  </a:lnTo>
                  <a:lnTo>
                    <a:pt x="633" y="859"/>
                  </a:lnTo>
                  <a:lnTo>
                    <a:pt x="628" y="863"/>
                  </a:lnTo>
                  <a:lnTo>
                    <a:pt x="623" y="865"/>
                  </a:lnTo>
                  <a:lnTo>
                    <a:pt x="618" y="867"/>
                  </a:lnTo>
                  <a:lnTo>
                    <a:pt x="611" y="869"/>
                  </a:lnTo>
                  <a:lnTo>
                    <a:pt x="606" y="870"/>
                  </a:lnTo>
                  <a:lnTo>
                    <a:pt x="600" y="870"/>
                  </a:lnTo>
                  <a:close/>
                  <a:moveTo>
                    <a:pt x="659" y="331"/>
                  </a:moveTo>
                  <a:lnTo>
                    <a:pt x="659" y="570"/>
                  </a:lnTo>
                  <a:lnTo>
                    <a:pt x="30" y="570"/>
                  </a:lnTo>
                  <a:lnTo>
                    <a:pt x="30" y="331"/>
                  </a:lnTo>
                  <a:lnTo>
                    <a:pt x="659" y="331"/>
                  </a:lnTo>
                  <a:close/>
                  <a:moveTo>
                    <a:pt x="90" y="30"/>
                  </a:moveTo>
                  <a:lnTo>
                    <a:pt x="600" y="30"/>
                  </a:lnTo>
                  <a:lnTo>
                    <a:pt x="606" y="30"/>
                  </a:lnTo>
                  <a:lnTo>
                    <a:pt x="611" y="31"/>
                  </a:lnTo>
                  <a:lnTo>
                    <a:pt x="618" y="32"/>
                  </a:lnTo>
                  <a:lnTo>
                    <a:pt x="623" y="35"/>
                  </a:lnTo>
                  <a:lnTo>
                    <a:pt x="628" y="38"/>
                  </a:lnTo>
                  <a:lnTo>
                    <a:pt x="633" y="40"/>
                  </a:lnTo>
                  <a:lnTo>
                    <a:pt x="638" y="44"/>
                  </a:lnTo>
                  <a:lnTo>
                    <a:pt x="642" y="47"/>
                  </a:lnTo>
                  <a:lnTo>
                    <a:pt x="646" y="52"/>
                  </a:lnTo>
                  <a:lnTo>
                    <a:pt x="650" y="57"/>
                  </a:lnTo>
                  <a:lnTo>
                    <a:pt x="652" y="61"/>
                  </a:lnTo>
                  <a:lnTo>
                    <a:pt x="655" y="67"/>
                  </a:lnTo>
                  <a:lnTo>
                    <a:pt x="657" y="72"/>
                  </a:lnTo>
                  <a:lnTo>
                    <a:pt x="658" y="78"/>
                  </a:lnTo>
                  <a:lnTo>
                    <a:pt x="659" y="84"/>
                  </a:lnTo>
                  <a:lnTo>
                    <a:pt x="659" y="90"/>
                  </a:lnTo>
                  <a:lnTo>
                    <a:pt x="659" y="301"/>
                  </a:lnTo>
                  <a:lnTo>
                    <a:pt x="30" y="301"/>
                  </a:lnTo>
                  <a:lnTo>
                    <a:pt x="30" y="90"/>
                  </a:lnTo>
                  <a:lnTo>
                    <a:pt x="30" y="84"/>
                  </a:lnTo>
                  <a:lnTo>
                    <a:pt x="31" y="78"/>
                  </a:lnTo>
                  <a:lnTo>
                    <a:pt x="32" y="72"/>
                  </a:lnTo>
                  <a:lnTo>
                    <a:pt x="34" y="67"/>
                  </a:lnTo>
                  <a:lnTo>
                    <a:pt x="38" y="61"/>
                  </a:lnTo>
                  <a:lnTo>
                    <a:pt x="40" y="57"/>
                  </a:lnTo>
                  <a:lnTo>
                    <a:pt x="44" y="52"/>
                  </a:lnTo>
                  <a:lnTo>
                    <a:pt x="47" y="47"/>
                  </a:lnTo>
                  <a:lnTo>
                    <a:pt x="52" y="44"/>
                  </a:lnTo>
                  <a:lnTo>
                    <a:pt x="57" y="41"/>
                  </a:lnTo>
                  <a:lnTo>
                    <a:pt x="61" y="38"/>
                  </a:lnTo>
                  <a:lnTo>
                    <a:pt x="66" y="35"/>
                  </a:lnTo>
                  <a:lnTo>
                    <a:pt x="72" y="32"/>
                  </a:lnTo>
                  <a:lnTo>
                    <a:pt x="78" y="31"/>
                  </a:lnTo>
                  <a:lnTo>
                    <a:pt x="84" y="30"/>
                  </a:lnTo>
                  <a:lnTo>
                    <a:pt x="90" y="30"/>
                  </a:lnTo>
                  <a:close/>
                  <a:moveTo>
                    <a:pt x="600" y="0"/>
                  </a:moveTo>
                  <a:lnTo>
                    <a:pt x="90" y="0"/>
                  </a:lnTo>
                  <a:lnTo>
                    <a:pt x="80" y="0"/>
                  </a:lnTo>
                  <a:lnTo>
                    <a:pt x="72" y="3"/>
                  </a:lnTo>
                  <a:lnTo>
                    <a:pt x="63" y="5"/>
                  </a:lnTo>
                  <a:lnTo>
                    <a:pt x="55" y="7"/>
                  </a:lnTo>
                  <a:lnTo>
                    <a:pt x="47" y="11"/>
                  </a:lnTo>
                  <a:lnTo>
                    <a:pt x="40" y="15"/>
                  </a:lnTo>
                  <a:lnTo>
                    <a:pt x="32" y="21"/>
                  </a:lnTo>
                  <a:lnTo>
                    <a:pt x="26" y="27"/>
                  </a:lnTo>
                  <a:lnTo>
                    <a:pt x="21" y="34"/>
                  </a:lnTo>
                  <a:lnTo>
                    <a:pt x="15" y="40"/>
                  </a:lnTo>
                  <a:lnTo>
                    <a:pt x="11" y="47"/>
                  </a:lnTo>
                  <a:lnTo>
                    <a:pt x="7" y="55"/>
                  </a:lnTo>
                  <a:lnTo>
                    <a:pt x="3" y="63"/>
                  </a:lnTo>
                  <a:lnTo>
                    <a:pt x="1" y="72"/>
                  </a:lnTo>
                  <a:lnTo>
                    <a:pt x="0" y="81"/>
                  </a:lnTo>
                  <a:lnTo>
                    <a:pt x="0" y="90"/>
                  </a:lnTo>
                  <a:lnTo>
                    <a:pt x="0" y="810"/>
                  </a:lnTo>
                  <a:lnTo>
                    <a:pt x="0" y="819"/>
                  </a:lnTo>
                  <a:lnTo>
                    <a:pt x="1" y="828"/>
                  </a:lnTo>
                  <a:lnTo>
                    <a:pt x="3" y="837"/>
                  </a:lnTo>
                  <a:lnTo>
                    <a:pt x="7" y="846"/>
                  </a:lnTo>
                  <a:lnTo>
                    <a:pt x="11" y="853"/>
                  </a:lnTo>
                  <a:lnTo>
                    <a:pt x="15" y="860"/>
                  </a:lnTo>
                  <a:lnTo>
                    <a:pt x="21" y="867"/>
                  </a:lnTo>
                  <a:lnTo>
                    <a:pt x="26" y="873"/>
                  </a:lnTo>
                  <a:lnTo>
                    <a:pt x="32" y="880"/>
                  </a:lnTo>
                  <a:lnTo>
                    <a:pt x="40" y="885"/>
                  </a:lnTo>
                  <a:lnTo>
                    <a:pt x="47" y="889"/>
                  </a:lnTo>
                  <a:lnTo>
                    <a:pt x="55" y="893"/>
                  </a:lnTo>
                  <a:lnTo>
                    <a:pt x="63" y="896"/>
                  </a:lnTo>
                  <a:lnTo>
                    <a:pt x="72" y="898"/>
                  </a:lnTo>
                  <a:lnTo>
                    <a:pt x="80" y="900"/>
                  </a:lnTo>
                  <a:lnTo>
                    <a:pt x="90" y="900"/>
                  </a:lnTo>
                  <a:lnTo>
                    <a:pt x="600" y="900"/>
                  </a:lnTo>
                  <a:lnTo>
                    <a:pt x="609" y="900"/>
                  </a:lnTo>
                  <a:lnTo>
                    <a:pt x="618" y="898"/>
                  </a:lnTo>
                  <a:lnTo>
                    <a:pt x="626" y="896"/>
                  </a:lnTo>
                  <a:lnTo>
                    <a:pt x="635" y="893"/>
                  </a:lnTo>
                  <a:lnTo>
                    <a:pt x="642" y="889"/>
                  </a:lnTo>
                  <a:lnTo>
                    <a:pt x="650" y="885"/>
                  </a:lnTo>
                  <a:lnTo>
                    <a:pt x="657" y="880"/>
                  </a:lnTo>
                  <a:lnTo>
                    <a:pt x="664" y="873"/>
                  </a:lnTo>
                  <a:lnTo>
                    <a:pt x="669" y="867"/>
                  </a:lnTo>
                  <a:lnTo>
                    <a:pt x="674" y="860"/>
                  </a:lnTo>
                  <a:lnTo>
                    <a:pt x="679" y="853"/>
                  </a:lnTo>
                  <a:lnTo>
                    <a:pt x="683" y="846"/>
                  </a:lnTo>
                  <a:lnTo>
                    <a:pt x="686" y="837"/>
                  </a:lnTo>
                  <a:lnTo>
                    <a:pt x="688" y="828"/>
                  </a:lnTo>
                  <a:lnTo>
                    <a:pt x="689" y="819"/>
                  </a:lnTo>
                  <a:lnTo>
                    <a:pt x="689" y="810"/>
                  </a:lnTo>
                  <a:lnTo>
                    <a:pt x="689" y="90"/>
                  </a:lnTo>
                  <a:lnTo>
                    <a:pt x="689" y="81"/>
                  </a:lnTo>
                  <a:lnTo>
                    <a:pt x="688" y="72"/>
                  </a:lnTo>
                  <a:lnTo>
                    <a:pt x="686" y="63"/>
                  </a:lnTo>
                  <a:lnTo>
                    <a:pt x="683" y="55"/>
                  </a:lnTo>
                  <a:lnTo>
                    <a:pt x="679" y="47"/>
                  </a:lnTo>
                  <a:lnTo>
                    <a:pt x="674" y="40"/>
                  </a:lnTo>
                  <a:lnTo>
                    <a:pt x="669" y="34"/>
                  </a:lnTo>
                  <a:lnTo>
                    <a:pt x="664" y="27"/>
                  </a:lnTo>
                  <a:lnTo>
                    <a:pt x="657" y="21"/>
                  </a:lnTo>
                  <a:lnTo>
                    <a:pt x="650" y="15"/>
                  </a:lnTo>
                  <a:lnTo>
                    <a:pt x="642" y="11"/>
                  </a:lnTo>
                  <a:lnTo>
                    <a:pt x="635" y="7"/>
                  </a:lnTo>
                  <a:lnTo>
                    <a:pt x="626" y="5"/>
                  </a:lnTo>
                  <a:lnTo>
                    <a:pt x="618" y="3"/>
                  </a:lnTo>
                  <a:lnTo>
                    <a:pt x="609" y="0"/>
                  </a:lnTo>
                  <a:lnTo>
                    <a:pt x="6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363">
              <a:extLst>
                <a:ext uri="{FF2B5EF4-FFF2-40B4-BE49-F238E27FC236}">
                  <a16:creationId xmlns:a16="http://schemas.microsoft.com/office/drawing/2014/main" id="{8CC7927D-CBAB-4AFE-B40C-C16470CFB391}"/>
                </a:ext>
              </a:extLst>
            </p:cNvPr>
            <p:cNvSpPr>
              <a:spLocks noEditPoints="1"/>
            </p:cNvSpPr>
            <p:nvPr/>
          </p:nvSpPr>
          <p:spPr bwMode="auto">
            <a:xfrm>
              <a:off x="7699375" y="3667125"/>
              <a:ext cx="85725" cy="28575"/>
            </a:xfrm>
            <a:custGeom>
              <a:avLst/>
              <a:gdLst>
                <a:gd name="T0" fmla="*/ 219 w 270"/>
                <a:gd name="T1" fmla="*/ 30 h 90"/>
                <a:gd name="T2" fmla="*/ 189 w 270"/>
                <a:gd name="T3" fmla="*/ 60 h 90"/>
                <a:gd name="T4" fmla="*/ 81 w 270"/>
                <a:gd name="T5" fmla="*/ 60 h 90"/>
                <a:gd name="T6" fmla="*/ 51 w 270"/>
                <a:gd name="T7" fmla="*/ 30 h 90"/>
                <a:gd name="T8" fmla="*/ 219 w 270"/>
                <a:gd name="T9" fmla="*/ 30 h 90"/>
                <a:gd name="T10" fmla="*/ 64 w 270"/>
                <a:gd name="T11" fmla="*/ 86 h 90"/>
                <a:gd name="T12" fmla="*/ 67 w 270"/>
                <a:gd name="T13" fmla="*/ 88 h 90"/>
                <a:gd name="T14" fmla="*/ 69 w 270"/>
                <a:gd name="T15" fmla="*/ 89 h 90"/>
                <a:gd name="T16" fmla="*/ 72 w 270"/>
                <a:gd name="T17" fmla="*/ 90 h 90"/>
                <a:gd name="T18" fmla="*/ 74 w 270"/>
                <a:gd name="T19" fmla="*/ 90 h 90"/>
                <a:gd name="T20" fmla="*/ 195 w 270"/>
                <a:gd name="T21" fmla="*/ 90 h 90"/>
                <a:gd name="T22" fmla="*/ 197 w 270"/>
                <a:gd name="T23" fmla="*/ 90 h 90"/>
                <a:gd name="T24" fmla="*/ 201 w 270"/>
                <a:gd name="T25" fmla="*/ 89 h 90"/>
                <a:gd name="T26" fmla="*/ 203 w 270"/>
                <a:gd name="T27" fmla="*/ 88 h 90"/>
                <a:gd name="T28" fmla="*/ 206 w 270"/>
                <a:gd name="T29" fmla="*/ 86 h 90"/>
                <a:gd name="T30" fmla="*/ 266 w 270"/>
                <a:gd name="T31" fmla="*/ 26 h 90"/>
                <a:gd name="T32" fmla="*/ 268 w 270"/>
                <a:gd name="T33" fmla="*/ 23 h 90"/>
                <a:gd name="T34" fmla="*/ 270 w 270"/>
                <a:gd name="T35" fmla="*/ 18 h 90"/>
                <a:gd name="T36" fmla="*/ 270 w 270"/>
                <a:gd name="T37" fmla="*/ 14 h 90"/>
                <a:gd name="T38" fmla="*/ 269 w 270"/>
                <a:gd name="T39" fmla="*/ 10 h 90"/>
                <a:gd name="T40" fmla="*/ 267 w 270"/>
                <a:gd name="T41" fmla="*/ 6 h 90"/>
                <a:gd name="T42" fmla="*/ 264 w 270"/>
                <a:gd name="T43" fmla="*/ 2 h 90"/>
                <a:gd name="T44" fmla="*/ 259 w 270"/>
                <a:gd name="T45" fmla="*/ 1 h 90"/>
                <a:gd name="T46" fmla="*/ 255 w 270"/>
                <a:gd name="T47" fmla="*/ 0 h 90"/>
                <a:gd name="T48" fmla="*/ 15 w 270"/>
                <a:gd name="T49" fmla="*/ 0 h 90"/>
                <a:gd name="T50" fmla="*/ 10 w 270"/>
                <a:gd name="T51" fmla="*/ 1 h 90"/>
                <a:gd name="T52" fmla="*/ 6 w 270"/>
                <a:gd name="T53" fmla="*/ 2 h 90"/>
                <a:gd name="T54" fmla="*/ 3 w 270"/>
                <a:gd name="T55" fmla="*/ 6 h 90"/>
                <a:gd name="T56" fmla="*/ 1 w 270"/>
                <a:gd name="T57" fmla="*/ 10 h 90"/>
                <a:gd name="T58" fmla="*/ 0 w 270"/>
                <a:gd name="T59" fmla="*/ 14 h 90"/>
                <a:gd name="T60" fmla="*/ 0 w 270"/>
                <a:gd name="T61" fmla="*/ 18 h 90"/>
                <a:gd name="T62" fmla="*/ 2 w 270"/>
                <a:gd name="T63" fmla="*/ 23 h 90"/>
                <a:gd name="T64" fmla="*/ 4 w 270"/>
                <a:gd name="T65" fmla="*/ 26 h 90"/>
                <a:gd name="T66" fmla="*/ 64 w 270"/>
                <a:gd name="T67"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219" y="30"/>
                  </a:moveTo>
                  <a:lnTo>
                    <a:pt x="189" y="60"/>
                  </a:lnTo>
                  <a:lnTo>
                    <a:pt x="81" y="60"/>
                  </a:lnTo>
                  <a:lnTo>
                    <a:pt x="51" y="30"/>
                  </a:lnTo>
                  <a:lnTo>
                    <a:pt x="219" y="30"/>
                  </a:lnTo>
                  <a:close/>
                  <a:moveTo>
                    <a:pt x="64" y="86"/>
                  </a:moveTo>
                  <a:lnTo>
                    <a:pt x="67" y="88"/>
                  </a:lnTo>
                  <a:lnTo>
                    <a:pt x="69" y="89"/>
                  </a:lnTo>
                  <a:lnTo>
                    <a:pt x="72" y="90"/>
                  </a:lnTo>
                  <a:lnTo>
                    <a:pt x="74" y="90"/>
                  </a:lnTo>
                  <a:lnTo>
                    <a:pt x="195" y="90"/>
                  </a:lnTo>
                  <a:lnTo>
                    <a:pt x="197" y="90"/>
                  </a:lnTo>
                  <a:lnTo>
                    <a:pt x="201" y="89"/>
                  </a:lnTo>
                  <a:lnTo>
                    <a:pt x="203" y="88"/>
                  </a:lnTo>
                  <a:lnTo>
                    <a:pt x="206" y="86"/>
                  </a:lnTo>
                  <a:lnTo>
                    <a:pt x="266" y="26"/>
                  </a:lnTo>
                  <a:lnTo>
                    <a:pt x="268" y="23"/>
                  </a:lnTo>
                  <a:lnTo>
                    <a:pt x="270" y="18"/>
                  </a:lnTo>
                  <a:lnTo>
                    <a:pt x="270" y="14"/>
                  </a:lnTo>
                  <a:lnTo>
                    <a:pt x="269" y="10"/>
                  </a:lnTo>
                  <a:lnTo>
                    <a:pt x="267" y="6"/>
                  </a:lnTo>
                  <a:lnTo>
                    <a:pt x="264" y="2"/>
                  </a:lnTo>
                  <a:lnTo>
                    <a:pt x="259" y="1"/>
                  </a:lnTo>
                  <a:lnTo>
                    <a:pt x="255" y="0"/>
                  </a:lnTo>
                  <a:lnTo>
                    <a:pt x="15" y="0"/>
                  </a:lnTo>
                  <a:lnTo>
                    <a:pt x="10" y="1"/>
                  </a:lnTo>
                  <a:lnTo>
                    <a:pt x="6" y="2"/>
                  </a:lnTo>
                  <a:lnTo>
                    <a:pt x="3" y="6"/>
                  </a:lnTo>
                  <a:lnTo>
                    <a:pt x="1" y="10"/>
                  </a:lnTo>
                  <a:lnTo>
                    <a:pt x="0" y="14"/>
                  </a:lnTo>
                  <a:lnTo>
                    <a:pt x="0" y="18"/>
                  </a:lnTo>
                  <a:lnTo>
                    <a:pt x="2" y="23"/>
                  </a:lnTo>
                  <a:lnTo>
                    <a:pt x="4" y="26"/>
                  </a:lnTo>
                  <a:lnTo>
                    <a:pt x="6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364">
              <a:extLst>
                <a:ext uri="{FF2B5EF4-FFF2-40B4-BE49-F238E27FC236}">
                  <a16:creationId xmlns:a16="http://schemas.microsoft.com/office/drawing/2014/main" id="{20CF752F-694D-45ED-8846-97D7288EF498}"/>
                </a:ext>
              </a:extLst>
            </p:cNvPr>
            <p:cNvSpPr>
              <a:spLocks noEditPoints="1"/>
            </p:cNvSpPr>
            <p:nvPr/>
          </p:nvSpPr>
          <p:spPr bwMode="auto">
            <a:xfrm>
              <a:off x="7699375" y="3762375"/>
              <a:ext cx="85725" cy="28575"/>
            </a:xfrm>
            <a:custGeom>
              <a:avLst/>
              <a:gdLst>
                <a:gd name="T0" fmla="*/ 219 w 270"/>
                <a:gd name="T1" fmla="*/ 30 h 90"/>
                <a:gd name="T2" fmla="*/ 189 w 270"/>
                <a:gd name="T3" fmla="*/ 60 h 90"/>
                <a:gd name="T4" fmla="*/ 81 w 270"/>
                <a:gd name="T5" fmla="*/ 60 h 90"/>
                <a:gd name="T6" fmla="*/ 51 w 270"/>
                <a:gd name="T7" fmla="*/ 30 h 90"/>
                <a:gd name="T8" fmla="*/ 219 w 270"/>
                <a:gd name="T9" fmla="*/ 30 h 90"/>
                <a:gd name="T10" fmla="*/ 4 w 270"/>
                <a:gd name="T11" fmla="*/ 26 h 90"/>
                <a:gd name="T12" fmla="*/ 64 w 270"/>
                <a:gd name="T13" fmla="*/ 86 h 90"/>
                <a:gd name="T14" fmla="*/ 67 w 270"/>
                <a:gd name="T15" fmla="*/ 88 h 90"/>
                <a:gd name="T16" fmla="*/ 69 w 270"/>
                <a:gd name="T17" fmla="*/ 89 h 90"/>
                <a:gd name="T18" fmla="*/ 72 w 270"/>
                <a:gd name="T19" fmla="*/ 90 h 90"/>
                <a:gd name="T20" fmla="*/ 74 w 270"/>
                <a:gd name="T21" fmla="*/ 90 h 90"/>
                <a:gd name="T22" fmla="*/ 195 w 270"/>
                <a:gd name="T23" fmla="*/ 90 h 90"/>
                <a:gd name="T24" fmla="*/ 197 w 270"/>
                <a:gd name="T25" fmla="*/ 90 h 90"/>
                <a:gd name="T26" fmla="*/ 201 w 270"/>
                <a:gd name="T27" fmla="*/ 89 h 90"/>
                <a:gd name="T28" fmla="*/ 203 w 270"/>
                <a:gd name="T29" fmla="*/ 88 h 90"/>
                <a:gd name="T30" fmla="*/ 206 w 270"/>
                <a:gd name="T31" fmla="*/ 86 h 90"/>
                <a:gd name="T32" fmla="*/ 266 w 270"/>
                <a:gd name="T33" fmla="*/ 26 h 90"/>
                <a:gd name="T34" fmla="*/ 268 w 270"/>
                <a:gd name="T35" fmla="*/ 22 h 90"/>
                <a:gd name="T36" fmla="*/ 270 w 270"/>
                <a:gd name="T37" fmla="*/ 19 h 90"/>
                <a:gd name="T38" fmla="*/ 270 w 270"/>
                <a:gd name="T39" fmla="*/ 13 h 90"/>
                <a:gd name="T40" fmla="*/ 269 w 270"/>
                <a:gd name="T41" fmla="*/ 9 h 90"/>
                <a:gd name="T42" fmla="*/ 267 w 270"/>
                <a:gd name="T43" fmla="*/ 6 h 90"/>
                <a:gd name="T44" fmla="*/ 264 w 270"/>
                <a:gd name="T45" fmla="*/ 3 h 90"/>
                <a:gd name="T46" fmla="*/ 259 w 270"/>
                <a:gd name="T47" fmla="*/ 0 h 90"/>
                <a:gd name="T48" fmla="*/ 255 w 270"/>
                <a:gd name="T49" fmla="*/ 0 h 90"/>
                <a:gd name="T50" fmla="*/ 15 w 270"/>
                <a:gd name="T51" fmla="*/ 0 h 90"/>
                <a:gd name="T52" fmla="*/ 10 w 270"/>
                <a:gd name="T53" fmla="*/ 0 h 90"/>
                <a:gd name="T54" fmla="*/ 6 w 270"/>
                <a:gd name="T55" fmla="*/ 3 h 90"/>
                <a:gd name="T56" fmla="*/ 3 w 270"/>
                <a:gd name="T57" fmla="*/ 6 h 90"/>
                <a:gd name="T58" fmla="*/ 1 w 270"/>
                <a:gd name="T59" fmla="*/ 9 h 90"/>
                <a:gd name="T60" fmla="*/ 0 w 270"/>
                <a:gd name="T61" fmla="*/ 13 h 90"/>
                <a:gd name="T62" fmla="*/ 0 w 270"/>
                <a:gd name="T63" fmla="*/ 19 h 90"/>
                <a:gd name="T64" fmla="*/ 2 w 270"/>
                <a:gd name="T65" fmla="*/ 22 h 90"/>
                <a:gd name="T66" fmla="*/ 4 w 270"/>
                <a:gd name="T67"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219" y="30"/>
                  </a:moveTo>
                  <a:lnTo>
                    <a:pt x="189" y="60"/>
                  </a:lnTo>
                  <a:lnTo>
                    <a:pt x="81" y="60"/>
                  </a:lnTo>
                  <a:lnTo>
                    <a:pt x="51" y="30"/>
                  </a:lnTo>
                  <a:lnTo>
                    <a:pt x="219" y="30"/>
                  </a:lnTo>
                  <a:close/>
                  <a:moveTo>
                    <a:pt x="4" y="26"/>
                  </a:moveTo>
                  <a:lnTo>
                    <a:pt x="64" y="86"/>
                  </a:lnTo>
                  <a:lnTo>
                    <a:pt x="67" y="88"/>
                  </a:lnTo>
                  <a:lnTo>
                    <a:pt x="69" y="89"/>
                  </a:lnTo>
                  <a:lnTo>
                    <a:pt x="72" y="90"/>
                  </a:lnTo>
                  <a:lnTo>
                    <a:pt x="74" y="90"/>
                  </a:lnTo>
                  <a:lnTo>
                    <a:pt x="195" y="90"/>
                  </a:lnTo>
                  <a:lnTo>
                    <a:pt x="197" y="90"/>
                  </a:lnTo>
                  <a:lnTo>
                    <a:pt x="201" y="89"/>
                  </a:lnTo>
                  <a:lnTo>
                    <a:pt x="203" y="88"/>
                  </a:lnTo>
                  <a:lnTo>
                    <a:pt x="206" y="86"/>
                  </a:lnTo>
                  <a:lnTo>
                    <a:pt x="266" y="26"/>
                  </a:lnTo>
                  <a:lnTo>
                    <a:pt x="268" y="22"/>
                  </a:lnTo>
                  <a:lnTo>
                    <a:pt x="270" y="19"/>
                  </a:lnTo>
                  <a:lnTo>
                    <a:pt x="270" y="13"/>
                  </a:lnTo>
                  <a:lnTo>
                    <a:pt x="269" y="9"/>
                  </a:lnTo>
                  <a:lnTo>
                    <a:pt x="267" y="6"/>
                  </a:lnTo>
                  <a:lnTo>
                    <a:pt x="264" y="3"/>
                  </a:lnTo>
                  <a:lnTo>
                    <a:pt x="259" y="0"/>
                  </a:lnTo>
                  <a:lnTo>
                    <a:pt x="255" y="0"/>
                  </a:lnTo>
                  <a:lnTo>
                    <a:pt x="15" y="0"/>
                  </a:lnTo>
                  <a:lnTo>
                    <a:pt x="10" y="0"/>
                  </a:lnTo>
                  <a:lnTo>
                    <a:pt x="6" y="3"/>
                  </a:lnTo>
                  <a:lnTo>
                    <a:pt x="3" y="6"/>
                  </a:lnTo>
                  <a:lnTo>
                    <a:pt x="1" y="9"/>
                  </a:lnTo>
                  <a:lnTo>
                    <a:pt x="0" y="13"/>
                  </a:lnTo>
                  <a:lnTo>
                    <a:pt x="0" y="19"/>
                  </a:lnTo>
                  <a:lnTo>
                    <a:pt x="2" y="22"/>
                  </a:lnTo>
                  <a:lnTo>
                    <a:pt x="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365">
              <a:extLst>
                <a:ext uri="{FF2B5EF4-FFF2-40B4-BE49-F238E27FC236}">
                  <a16:creationId xmlns:a16="http://schemas.microsoft.com/office/drawing/2014/main" id="{F297237A-AF1E-40C3-8798-B45A16882A1B}"/>
                </a:ext>
              </a:extLst>
            </p:cNvPr>
            <p:cNvSpPr>
              <a:spLocks noEditPoints="1"/>
            </p:cNvSpPr>
            <p:nvPr/>
          </p:nvSpPr>
          <p:spPr bwMode="auto">
            <a:xfrm>
              <a:off x="7699375" y="3848100"/>
              <a:ext cx="85725" cy="28575"/>
            </a:xfrm>
            <a:custGeom>
              <a:avLst/>
              <a:gdLst>
                <a:gd name="T0" fmla="*/ 189 w 270"/>
                <a:gd name="T1" fmla="*/ 61 h 90"/>
                <a:gd name="T2" fmla="*/ 81 w 270"/>
                <a:gd name="T3" fmla="*/ 61 h 90"/>
                <a:gd name="T4" fmla="*/ 51 w 270"/>
                <a:gd name="T5" fmla="*/ 30 h 90"/>
                <a:gd name="T6" fmla="*/ 219 w 270"/>
                <a:gd name="T7" fmla="*/ 30 h 90"/>
                <a:gd name="T8" fmla="*/ 189 w 270"/>
                <a:gd name="T9" fmla="*/ 61 h 90"/>
                <a:gd name="T10" fmla="*/ 255 w 270"/>
                <a:gd name="T11" fmla="*/ 0 h 90"/>
                <a:gd name="T12" fmla="*/ 15 w 270"/>
                <a:gd name="T13" fmla="*/ 0 h 90"/>
                <a:gd name="T14" fmla="*/ 10 w 270"/>
                <a:gd name="T15" fmla="*/ 1 h 90"/>
                <a:gd name="T16" fmla="*/ 6 w 270"/>
                <a:gd name="T17" fmla="*/ 3 h 90"/>
                <a:gd name="T18" fmla="*/ 3 w 270"/>
                <a:gd name="T19" fmla="*/ 6 h 90"/>
                <a:gd name="T20" fmla="*/ 1 w 270"/>
                <a:gd name="T21" fmla="*/ 9 h 90"/>
                <a:gd name="T22" fmla="*/ 0 w 270"/>
                <a:gd name="T23" fmla="*/ 14 h 90"/>
                <a:gd name="T24" fmla="*/ 0 w 270"/>
                <a:gd name="T25" fmla="*/ 18 h 90"/>
                <a:gd name="T26" fmla="*/ 2 w 270"/>
                <a:gd name="T27" fmla="*/ 22 h 90"/>
                <a:gd name="T28" fmla="*/ 4 w 270"/>
                <a:gd name="T29" fmla="*/ 25 h 90"/>
                <a:gd name="T30" fmla="*/ 64 w 270"/>
                <a:gd name="T31" fmla="*/ 86 h 90"/>
                <a:gd name="T32" fmla="*/ 67 w 270"/>
                <a:gd name="T33" fmla="*/ 87 h 90"/>
                <a:gd name="T34" fmla="*/ 69 w 270"/>
                <a:gd name="T35" fmla="*/ 89 h 90"/>
                <a:gd name="T36" fmla="*/ 72 w 270"/>
                <a:gd name="T37" fmla="*/ 89 h 90"/>
                <a:gd name="T38" fmla="*/ 74 w 270"/>
                <a:gd name="T39" fmla="*/ 90 h 90"/>
                <a:gd name="T40" fmla="*/ 195 w 270"/>
                <a:gd name="T41" fmla="*/ 90 h 90"/>
                <a:gd name="T42" fmla="*/ 197 w 270"/>
                <a:gd name="T43" fmla="*/ 89 h 90"/>
                <a:gd name="T44" fmla="*/ 201 w 270"/>
                <a:gd name="T45" fmla="*/ 89 h 90"/>
                <a:gd name="T46" fmla="*/ 203 w 270"/>
                <a:gd name="T47" fmla="*/ 87 h 90"/>
                <a:gd name="T48" fmla="*/ 206 w 270"/>
                <a:gd name="T49" fmla="*/ 86 h 90"/>
                <a:gd name="T50" fmla="*/ 266 w 270"/>
                <a:gd name="T51" fmla="*/ 25 h 90"/>
                <a:gd name="T52" fmla="*/ 268 w 270"/>
                <a:gd name="T53" fmla="*/ 22 h 90"/>
                <a:gd name="T54" fmla="*/ 270 w 270"/>
                <a:gd name="T55" fmla="*/ 18 h 90"/>
                <a:gd name="T56" fmla="*/ 270 w 270"/>
                <a:gd name="T57" fmla="*/ 14 h 90"/>
                <a:gd name="T58" fmla="*/ 269 w 270"/>
                <a:gd name="T59" fmla="*/ 9 h 90"/>
                <a:gd name="T60" fmla="*/ 267 w 270"/>
                <a:gd name="T61" fmla="*/ 5 h 90"/>
                <a:gd name="T62" fmla="*/ 264 w 270"/>
                <a:gd name="T63" fmla="*/ 3 h 90"/>
                <a:gd name="T64" fmla="*/ 259 w 270"/>
                <a:gd name="T65" fmla="*/ 1 h 90"/>
                <a:gd name="T66" fmla="*/ 255 w 270"/>
                <a:gd name="T6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189" y="61"/>
                  </a:moveTo>
                  <a:lnTo>
                    <a:pt x="81" y="61"/>
                  </a:lnTo>
                  <a:lnTo>
                    <a:pt x="51" y="30"/>
                  </a:lnTo>
                  <a:lnTo>
                    <a:pt x="219" y="30"/>
                  </a:lnTo>
                  <a:lnTo>
                    <a:pt x="189" y="61"/>
                  </a:lnTo>
                  <a:close/>
                  <a:moveTo>
                    <a:pt x="255" y="0"/>
                  </a:moveTo>
                  <a:lnTo>
                    <a:pt x="15" y="0"/>
                  </a:lnTo>
                  <a:lnTo>
                    <a:pt x="10" y="1"/>
                  </a:lnTo>
                  <a:lnTo>
                    <a:pt x="6" y="3"/>
                  </a:lnTo>
                  <a:lnTo>
                    <a:pt x="3" y="6"/>
                  </a:lnTo>
                  <a:lnTo>
                    <a:pt x="1" y="9"/>
                  </a:lnTo>
                  <a:lnTo>
                    <a:pt x="0" y="14"/>
                  </a:lnTo>
                  <a:lnTo>
                    <a:pt x="0" y="18"/>
                  </a:lnTo>
                  <a:lnTo>
                    <a:pt x="2" y="22"/>
                  </a:lnTo>
                  <a:lnTo>
                    <a:pt x="4" y="25"/>
                  </a:lnTo>
                  <a:lnTo>
                    <a:pt x="64" y="86"/>
                  </a:lnTo>
                  <a:lnTo>
                    <a:pt x="67" y="87"/>
                  </a:lnTo>
                  <a:lnTo>
                    <a:pt x="69" y="89"/>
                  </a:lnTo>
                  <a:lnTo>
                    <a:pt x="72" y="89"/>
                  </a:lnTo>
                  <a:lnTo>
                    <a:pt x="74" y="90"/>
                  </a:lnTo>
                  <a:lnTo>
                    <a:pt x="195" y="90"/>
                  </a:lnTo>
                  <a:lnTo>
                    <a:pt x="197" y="89"/>
                  </a:lnTo>
                  <a:lnTo>
                    <a:pt x="201" y="89"/>
                  </a:lnTo>
                  <a:lnTo>
                    <a:pt x="203" y="87"/>
                  </a:lnTo>
                  <a:lnTo>
                    <a:pt x="206" y="86"/>
                  </a:lnTo>
                  <a:lnTo>
                    <a:pt x="266" y="25"/>
                  </a:lnTo>
                  <a:lnTo>
                    <a:pt x="268" y="22"/>
                  </a:lnTo>
                  <a:lnTo>
                    <a:pt x="270" y="18"/>
                  </a:lnTo>
                  <a:lnTo>
                    <a:pt x="270" y="14"/>
                  </a:lnTo>
                  <a:lnTo>
                    <a:pt x="269" y="9"/>
                  </a:lnTo>
                  <a:lnTo>
                    <a:pt x="267" y="5"/>
                  </a:lnTo>
                  <a:lnTo>
                    <a:pt x="264" y="3"/>
                  </a:lnTo>
                  <a:lnTo>
                    <a:pt x="259" y="1"/>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9" name="Gruppieren 638">
            <a:extLst>
              <a:ext uri="{FF2B5EF4-FFF2-40B4-BE49-F238E27FC236}">
                <a16:creationId xmlns:a16="http://schemas.microsoft.com/office/drawing/2014/main" id="{8EDACC22-3F33-40DE-BF17-A3CB8CC59FAA}"/>
              </a:ext>
            </a:extLst>
          </p:cNvPr>
          <p:cNvGrpSpPr>
            <a:grpSpLocks noChangeAspect="1"/>
          </p:cNvGrpSpPr>
          <p:nvPr/>
        </p:nvGrpSpPr>
        <p:grpSpPr>
          <a:xfrm>
            <a:off x="3628772" y="5961845"/>
            <a:ext cx="275708" cy="241715"/>
            <a:chOff x="4330747" y="1069773"/>
            <a:chExt cx="345814" cy="303178"/>
          </a:xfrm>
          <a:solidFill>
            <a:schemeClr val="bg2"/>
          </a:solidFill>
          <a:effectLst/>
        </p:grpSpPr>
        <p:sp>
          <p:nvSpPr>
            <p:cNvPr id="640" name="Freeform 102">
              <a:extLst>
                <a:ext uri="{FF2B5EF4-FFF2-40B4-BE49-F238E27FC236}">
                  <a16:creationId xmlns:a16="http://schemas.microsoft.com/office/drawing/2014/main" id="{4D441DEE-3B24-4DB6-824D-D5EC72AE08A8}"/>
                </a:ext>
              </a:extLst>
            </p:cNvPr>
            <p:cNvSpPr>
              <a:spLocks noEditPoints="1"/>
            </p:cNvSpPr>
            <p:nvPr/>
          </p:nvSpPr>
          <p:spPr bwMode="auto">
            <a:xfrm>
              <a:off x="4330747" y="1069773"/>
              <a:ext cx="345814" cy="303178"/>
            </a:xfrm>
            <a:custGeom>
              <a:avLst/>
              <a:gdLst>
                <a:gd name="T0" fmla="*/ 216 w 217"/>
                <a:gd name="T1" fmla="*/ 112 h 190"/>
                <a:gd name="T2" fmla="*/ 189 w 217"/>
                <a:gd name="T3" fmla="*/ 9 h 190"/>
                <a:gd name="T4" fmla="*/ 189 w 217"/>
                <a:gd name="T5" fmla="*/ 9 h 190"/>
                <a:gd name="T6" fmla="*/ 187 w 217"/>
                <a:gd name="T7" fmla="*/ 5 h 190"/>
                <a:gd name="T8" fmla="*/ 184 w 217"/>
                <a:gd name="T9" fmla="*/ 2 h 190"/>
                <a:gd name="T10" fmla="*/ 180 w 217"/>
                <a:gd name="T11" fmla="*/ 0 h 190"/>
                <a:gd name="T12" fmla="*/ 176 w 217"/>
                <a:gd name="T13" fmla="*/ 0 h 190"/>
                <a:gd name="T14" fmla="*/ 108 w 217"/>
                <a:gd name="T15" fmla="*/ 0 h 190"/>
                <a:gd name="T16" fmla="*/ 41 w 217"/>
                <a:gd name="T17" fmla="*/ 0 h 190"/>
                <a:gd name="T18" fmla="*/ 41 w 217"/>
                <a:gd name="T19" fmla="*/ 0 h 190"/>
                <a:gd name="T20" fmla="*/ 36 w 217"/>
                <a:gd name="T21" fmla="*/ 0 h 190"/>
                <a:gd name="T22" fmla="*/ 33 w 217"/>
                <a:gd name="T23" fmla="*/ 2 h 190"/>
                <a:gd name="T24" fmla="*/ 29 w 217"/>
                <a:gd name="T25" fmla="*/ 5 h 190"/>
                <a:gd name="T26" fmla="*/ 27 w 217"/>
                <a:gd name="T27" fmla="*/ 9 h 190"/>
                <a:gd name="T28" fmla="*/ 0 w 217"/>
                <a:gd name="T29" fmla="*/ 112 h 190"/>
                <a:gd name="T30" fmla="*/ 0 w 217"/>
                <a:gd name="T31" fmla="*/ 112 h 190"/>
                <a:gd name="T32" fmla="*/ 0 w 217"/>
                <a:gd name="T33" fmla="*/ 115 h 190"/>
                <a:gd name="T34" fmla="*/ 0 w 217"/>
                <a:gd name="T35" fmla="*/ 162 h 190"/>
                <a:gd name="T36" fmla="*/ 0 w 217"/>
                <a:gd name="T37" fmla="*/ 162 h 190"/>
                <a:gd name="T38" fmla="*/ 0 w 217"/>
                <a:gd name="T39" fmla="*/ 168 h 190"/>
                <a:gd name="T40" fmla="*/ 2 w 217"/>
                <a:gd name="T41" fmla="*/ 173 h 190"/>
                <a:gd name="T42" fmla="*/ 4 w 217"/>
                <a:gd name="T43" fmla="*/ 177 h 190"/>
                <a:gd name="T44" fmla="*/ 8 w 217"/>
                <a:gd name="T45" fmla="*/ 181 h 190"/>
                <a:gd name="T46" fmla="*/ 12 w 217"/>
                <a:gd name="T47" fmla="*/ 185 h 190"/>
                <a:gd name="T48" fmla="*/ 16 w 217"/>
                <a:gd name="T49" fmla="*/ 188 h 190"/>
                <a:gd name="T50" fmla="*/ 21 w 217"/>
                <a:gd name="T51" fmla="*/ 189 h 190"/>
                <a:gd name="T52" fmla="*/ 26 w 217"/>
                <a:gd name="T53" fmla="*/ 190 h 190"/>
                <a:gd name="T54" fmla="*/ 189 w 217"/>
                <a:gd name="T55" fmla="*/ 190 h 190"/>
                <a:gd name="T56" fmla="*/ 189 w 217"/>
                <a:gd name="T57" fmla="*/ 190 h 190"/>
                <a:gd name="T58" fmla="*/ 196 w 217"/>
                <a:gd name="T59" fmla="*/ 189 h 190"/>
                <a:gd name="T60" fmla="*/ 201 w 217"/>
                <a:gd name="T61" fmla="*/ 188 h 190"/>
                <a:gd name="T62" fmla="*/ 205 w 217"/>
                <a:gd name="T63" fmla="*/ 185 h 190"/>
                <a:gd name="T64" fmla="*/ 209 w 217"/>
                <a:gd name="T65" fmla="*/ 181 h 190"/>
                <a:gd name="T66" fmla="*/ 212 w 217"/>
                <a:gd name="T67" fmla="*/ 177 h 190"/>
                <a:gd name="T68" fmla="*/ 215 w 217"/>
                <a:gd name="T69" fmla="*/ 173 h 190"/>
                <a:gd name="T70" fmla="*/ 216 w 217"/>
                <a:gd name="T71" fmla="*/ 168 h 190"/>
                <a:gd name="T72" fmla="*/ 217 w 217"/>
                <a:gd name="T73" fmla="*/ 162 h 190"/>
                <a:gd name="T74" fmla="*/ 217 w 217"/>
                <a:gd name="T75" fmla="*/ 115 h 190"/>
                <a:gd name="T76" fmla="*/ 217 w 217"/>
                <a:gd name="T77" fmla="*/ 115 h 190"/>
                <a:gd name="T78" fmla="*/ 216 w 217"/>
                <a:gd name="T79" fmla="*/ 112 h 190"/>
                <a:gd name="T80" fmla="*/ 216 w 217"/>
                <a:gd name="T81" fmla="*/ 112 h 190"/>
                <a:gd name="T82" fmla="*/ 203 w 217"/>
                <a:gd name="T83" fmla="*/ 162 h 190"/>
                <a:gd name="T84" fmla="*/ 203 w 217"/>
                <a:gd name="T85" fmla="*/ 162 h 190"/>
                <a:gd name="T86" fmla="*/ 202 w 217"/>
                <a:gd name="T87" fmla="*/ 168 h 190"/>
                <a:gd name="T88" fmla="*/ 200 w 217"/>
                <a:gd name="T89" fmla="*/ 172 h 190"/>
                <a:gd name="T90" fmla="*/ 195 w 217"/>
                <a:gd name="T91" fmla="*/ 175 h 190"/>
                <a:gd name="T92" fmla="*/ 189 w 217"/>
                <a:gd name="T93" fmla="*/ 176 h 190"/>
                <a:gd name="T94" fmla="*/ 26 w 217"/>
                <a:gd name="T95" fmla="*/ 176 h 190"/>
                <a:gd name="T96" fmla="*/ 26 w 217"/>
                <a:gd name="T97" fmla="*/ 176 h 190"/>
                <a:gd name="T98" fmla="*/ 21 w 217"/>
                <a:gd name="T99" fmla="*/ 175 h 190"/>
                <a:gd name="T100" fmla="*/ 17 w 217"/>
                <a:gd name="T101" fmla="*/ 172 h 190"/>
                <a:gd name="T102" fmla="*/ 14 w 217"/>
                <a:gd name="T103" fmla="*/ 168 h 190"/>
                <a:gd name="T104" fmla="*/ 13 w 217"/>
                <a:gd name="T105" fmla="*/ 162 h 190"/>
                <a:gd name="T106" fmla="*/ 13 w 217"/>
                <a:gd name="T107" fmla="*/ 115 h 190"/>
                <a:gd name="T108" fmla="*/ 41 w 217"/>
                <a:gd name="T109" fmla="*/ 13 h 190"/>
                <a:gd name="T110" fmla="*/ 176 w 217"/>
                <a:gd name="T111" fmla="*/ 13 h 190"/>
                <a:gd name="T112" fmla="*/ 203 w 217"/>
                <a:gd name="T113" fmla="*/ 115 h 190"/>
                <a:gd name="T114" fmla="*/ 203 w 217"/>
                <a:gd name="T115" fmla="*/ 16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90">
                  <a:moveTo>
                    <a:pt x="216" y="112"/>
                  </a:moveTo>
                  <a:lnTo>
                    <a:pt x="189" y="9"/>
                  </a:lnTo>
                  <a:lnTo>
                    <a:pt x="189" y="9"/>
                  </a:lnTo>
                  <a:lnTo>
                    <a:pt x="187" y="5"/>
                  </a:lnTo>
                  <a:lnTo>
                    <a:pt x="184" y="2"/>
                  </a:lnTo>
                  <a:lnTo>
                    <a:pt x="180" y="0"/>
                  </a:lnTo>
                  <a:lnTo>
                    <a:pt x="176" y="0"/>
                  </a:lnTo>
                  <a:lnTo>
                    <a:pt x="108" y="0"/>
                  </a:lnTo>
                  <a:lnTo>
                    <a:pt x="41" y="0"/>
                  </a:lnTo>
                  <a:lnTo>
                    <a:pt x="41" y="0"/>
                  </a:lnTo>
                  <a:lnTo>
                    <a:pt x="36" y="0"/>
                  </a:lnTo>
                  <a:lnTo>
                    <a:pt x="33" y="2"/>
                  </a:lnTo>
                  <a:lnTo>
                    <a:pt x="29" y="5"/>
                  </a:lnTo>
                  <a:lnTo>
                    <a:pt x="27" y="9"/>
                  </a:lnTo>
                  <a:lnTo>
                    <a:pt x="0" y="112"/>
                  </a:lnTo>
                  <a:lnTo>
                    <a:pt x="0" y="112"/>
                  </a:lnTo>
                  <a:lnTo>
                    <a:pt x="0" y="115"/>
                  </a:lnTo>
                  <a:lnTo>
                    <a:pt x="0" y="162"/>
                  </a:lnTo>
                  <a:lnTo>
                    <a:pt x="0" y="162"/>
                  </a:lnTo>
                  <a:lnTo>
                    <a:pt x="0" y="168"/>
                  </a:lnTo>
                  <a:lnTo>
                    <a:pt x="2" y="173"/>
                  </a:lnTo>
                  <a:lnTo>
                    <a:pt x="4" y="177"/>
                  </a:lnTo>
                  <a:lnTo>
                    <a:pt x="8" y="181"/>
                  </a:lnTo>
                  <a:lnTo>
                    <a:pt x="12" y="185"/>
                  </a:lnTo>
                  <a:lnTo>
                    <a:pt x="16" y="188"/>
                  </a:lnTo>
                  <a:lnTo>
                    <a:pt x="21" y="189"/>
                  </a:lnTo>
                  <a:lnTo>
                    <a:pt x="26" y="190"/>
                  </a:lnTo>
                  <a:lnTo>
                    <a:pt x="189" y="190"/>
                  </a:lnTo>
                  <a:lnTo>
                    <a:pt x="189" y="190"/>
                  </a:lnTo>
                  <a:lnTo>
                    <a:pt x="196" y="189"/>
                  </a:lnTo>
                  <a:lnTo>
                    <a:pt x="201" y="188"/>
                  </a:lnTo>
                  <a:lnTo>
                    <a:pt x="205" y="185"/>
                  </a:lnTo>
                  <a:lnTo>
                    <a:pt x="209" y="181"/>
                  </a:lnTo>
                  <a:lnTo>
                    <a:pt x="212" y="177"/>
                  </a:lnTo>
                  <a:lnTo>
                    <a:pt x="215" y="173"/>
                  </a:lnTo>
                  <a:lnTo>
                    <a:pt x="216" y="168"/>
                  </a:lnTo>
                  <a:lnTo>
                    <a:pt x="217" y="162"/>
                  </a:lnTo>
                  <a:lnTo>
                    <a:pt x="217" y="115"/>
                  </a:lnTo>
                  <a:lnTo>
                    <a:pt x="217" y="115"/>
                  </a:lnTo>
                  <a:lnTo>
                    <a:pt x="216" y="112"/>
                  </a:lnTo>
                  <a:lnTo>
                    <a:pt x="216" y="112"/>
                  </a:lnTo>
                  <a:close/>
                  <a:moveTo>
                    <a:pt x="203" y="162"/>
                  </a:moveTo>
                  <a:lnTo>
                    <a:pt x="203" y="162"/>
                  </a:lnTo>
                  <a:lnTo>
                    <a:pt x="202" y="168"/>
                  </a:lnTo>
                  <a:lnTo>
                    <a:pt x="200" y="172"/>
                  </a:lnTo>
                  <a:lnTo>
                    <a:pt x="195" y="175"/>
                  </a:lnTo>
                  <a:lnTo>
                    <a:pt x="189" y="176"/>
                  </a:lnTo>
                  <a:lnTo>
                    <a:pt x="26" y="176"/>
                  </a:lnTo>
                  <a:lnTo>
                    <a:pt x="26" y="176"/>
                  </a:lnTo>
                  <a:lnTo>
                    <a:pt x="21" y="175"/>
                  </a:lnTo>
                  <a:lnTo>
                    <a:pt x="17" y="172"/>
                  </a:lnTo>
                  <a:lnTo>
                    <a:pt x="14" y="168"/>
                  </a:lnTo>
                  <a:lnTo>
                    <a:pt x="13" y="162"/>
                  </a:lnTo>
                  <a:lnTo>
                    <a:pt x="13" y="115"/>
                  </a:lnTo>
                  <a:lnTo>
                    <a:pt x="41" y="13"/>
                  </a:lnTo>
                  <a:lnTo>
                    <a:pt x="176" y="13"/>
                  </a:lnTo>
                  <a:lnTo>
                    <a:pt x="203" y="115"/>
                  </a:lnTo>
                  <a:lnTo>
                    <a:pt x="203"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41" name="Freeform 103">
              <a:extLst>
                <a:ext uri="{FF2B5EF4-FFF2-40B4-BE49-F238E27FC236}">
                  <a16:creationId xmlns:a16="http://schemas.microsoft.com/office/drawing/2014/main" id="{0D688816-1688-4D9D-BF34-7E4E06107799}"/>
                </a:ext>
              </a:extLst>
            </p:cNvPr>
            <p:cNvSpPr>
              <a:spLocks noEditPoints="1"/>
            </p:cNvSpPr>
            <p:nvPr/>
          </p:nvSpPr>
          <p:spPr bwMode="auto">
            <a:xfrm>
              <a:off x="4373383" y="1112409"/>
              <a:ext cx="260545" cy="194225"/>
            </a:xfrm>
            <a:custGeom>
              <a:avLst/>
              <a:gdLst>
                <a:gd name="T0" fmla="*/ 31 w 165"/>
                <a:gd name="T1" fmla="*/ 0 h 122"/>
                <a:gd name="T2" fmla="*/ 28 w 165"/>
                <a:gd name="T3" fmla="*/ 1 h 122"/>
                <a:gd name="T4" fmla="*/ 25 w 165"/>
                <a:gd name="T5" fmla="*/ 3 h 122"/>
                <a:gd name="T6" fmla="*/ 0 w 165"/>
                <a:gd name="T7" fmla="*/ 86 h 122"/>
                <a:gd name="T8" fmla="*/ 0 w 165"/>
                <a:gd name="T9" fmla="*/ 89 h 122"/>
                <a:gd name="T10" fmla="*/ 2 w 165"/>
                <a:gd name="T11" fmla="*/ 92 h 122"/>
                <a:gd name="T12" fmla="*/ 8 w 165"/>
                <a:gd name="T13" fmla="*/ 95 h 122"/>
                <a:gd name="T14" fmla="*/ 35 w 165"/>
                <a:gd name="T15" fmla="*/ 95 h 122"/>
                <a:gd name="T16" fmla="*/ 49 w 165"/>
                <a:gd name="T17" fmla="*/ 114 h 122"/>
                <a:gd name="T18" fmla="*/ 51 w 165"/>
                <a:gd name="T19" fmla="*/ 118 h 122"/>
                <a:gd name="T20" fmla="*/ 57 w 165"/>
                <a:gd name="T21" fmla="*/ 122 h 122"/>
                <a:gd name="T22" fmla="*/ 106 w 165"/>
                <a:gd name="T23" fmla="*/ 122 h 122"/>
                <a:gd name="T24" fmla="*/ 110 w 165"/>
                <a:gd name="T25" fmla="*/ 122 h 122"/>
                <a:gd name="T26" fmla="*/ 116 w 165"/>
                <a:gd name="T27" fmla="*/ 118 h 122"/>
                <a:gd name="T28" fmla="*/ 129 w 165"/>
                <a:gd name="T29" fmla="*/ 95 h 122"/>
                <a:gd name="T30" fmla="*/ 140 w 165"/>
                <a:gd name="T31" fmla="*/ 95 h 122"/>
                <a:gd name="T32" fmla="*/ 159 w 165"/>
                <a:gd name="T33" fmla="*/ 95 h 122"/>
                <a:gd name="T34" fmla="*/ 164 w 165"/>
                <a:gd name="T35" fmla="*/ 92 h 122"/>
                <a:gd name="T36" fmla="*/ 165 w 165"/>
                <a:gd name="T37" fmla="*/ 89 h 122"/>
                <a:gd name="T38" fmla="*/ 142 w 165"/>
                <a:gd name="T39" fmla="*/ 5 h 122"/>
                <a:gd name="T40" fmla="*/ 142 w 165"/>
                <a:gd name="T41" fmla="*/ 3 h 122"/>
                <a:gd name="T42" fmla="*/ 138 w 165"/>
                <a:gd name="T43" fmla="*/ 1 h 122"/>
                <a:gd name="T44" fmla="*/ 136 w 165"/>
                <a:gd name="T45" fmla="*/ 0 h 122"/>
                <a:gd name="T46" fmla="*/ 129 w 165"/>
                <a:gd name="T47" fmla="*/ 82 h 122"/>
                <a:gd name="T48" fmla="*/ 124 w 165"/>
                <a:gd name="T49" fmla="*/ 82 h 122"/>
                <a:gd name="T50" fmla="*/ 118 w 165"/>
                <a:gd name="T51" fmla="*/ 86 h 122"/>
                <a:gd name="T52" fmla="*/ 106 w 165"/>
                <a:gd name="T53" fmla="*/ 108 h 122"/>
                <a:gd name="T54" fmla="*/ 51 w 165"/>
                <a:gd name="T55" fmla="*/ 89 h 122"/>
                <a:gd name="T56" fmla="*/ 49 w 165"/>
                <a:gd name="T57" fmla="*/ 86 h 122"/>
                <a:gd name="T58" fmla="*/ 42 w 165"/>
                <a:gd name="T59" fmla="*/ 82 h 122"/>
                <a:gd name="T60" fmla="*/ 27 w 165"/>
                <a:gd name="T61" fmla="*/ 82 h 122"/>
                <a:gd name="T62" fmla="*/ 31 w 165"/>
                <a:gd name="T63" fmla="*/ 7 h 122"/>
                <a:gd name="T64" fmla="*/ 155 w 165"/>
                <a:gd name="T65"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22">
                  <a:moveTo>
                    <a:pt x="136" y="0"/>
                  </a:moveTo>
                  <a:lnTo>
                    <a:pt x="31" y="0"/>
                  </a:lnTo>
                  <a:lnTo>
                    <a:pt x="31" y="0"/>
                  </a:lnTo>
                  <a:lnTo>
                    <a:pt x="28" y="1"/>
                  </a:lnTo>
                  <a:lnTo>
                    <a:pt x="27" y="2"/>
                  </a:lnTo>
                  <a:lnTo>
                    <a:pt x="25" y="3"/>
                  </a:lnTo>
                  <a:lnTo>
                    <a:pt x="24" y="5"/>
                  </a:lnTo>
                  <a:lnTo>
                    <a:pt x="0" y="86"/>
                  </a:lnTo>
                  <a:lnTo>
                    <a:pt x="0" y="86"/>
                  </a:lnTo>
                  <a:lnTo>
                    <a:pt x="0" y="89"/>
                  </a:lnTo>
                  <a:lnTo>
                    <a:pt x="2" y="92"/>
                  </a:lnTo>
                  <a:lnTo>
                    <a:pt x="2" y="92"/>
                  </a:lnTo>
                  <a:lnTo>
                    <a:pt x="4" y="94"/>
                  </a:lnTo>
                  <a:lnTo>
                    <a:pt x="8" y="95"/>
                  </a:lnTo>
                  <a:lnTo>
                    <a:pt x="27" y="95"/>
                  </a:lnTo>
                  <a:lnTo>
                    <a:pt x="35" y="95"/>
                  </a:lnTo>
                  <a:lnTo>
                    <a:pt x="38" y="95"/>
                  </a:lnTo>
                  <a:lnTo>
                    <a:pt x="49" y="114"/>
                  </a:lnTo>
                  <a:lnTo>
                    <a:pt x="49" y="114"/>
                  </a:lnTo>
                  <a:lnTo>
                    <a:pt x="51" y="118"/>
                  </a:lnTo>
                  <a:lnTo>
                    <a:pt x="53" y="120"/>
                  </a:lnTo>
                  <a:lnTo>
                    <a:pt x="57" y="122"/>
                  </a:lnTo>
                  <a:lnTo>
                    <a:pt x="60" y="122"/>
                  </a:lnTo>
                  <a:lnTo>
                    <a:pt x="106" y="122"/>
                  </a:lnTo>
                  <a:lnTo>
                    <a:pt x="106" y="122"/>
                  </a:lnTo>
                  <a:lnTo>
                    <a:pt x="110" y="122"/>
                  </a:lnTo>
                  <a:lnTo>
                    <a:pt x="113" y="120"/>
                  </a:lnTo>
                  <a:lnTo>
                    <a:pt x="116" y="118"/>
                  </a:lnTo>
                  <a:lnTo>
                    <a:pt x="118" y="114"/>
                  </a:lnTo>
                  <a:lnTo>
                    <a:pt x="129" y="95"/>
                  </a:lnTo>
                  <a:lnTo>
                    <a:pt x="132" y="95"/>
                  </a:lnTo>
                  <a:lnTo>
                    <a:pt x="140" y="95"/>
                  </a:lnTo>
                  <a:lnTo>
                    <a:pt x="159" y="95"/>
                  </a:lnTo>
                  <a:lnTo>
                    <a:pt x="159" y="95"/>
                  </a:lnTo>
                  <a:lnTo>
                    <a:pt x="162" y="94"/>
                  </a:lnTo>
                  <a:lnTo>
                    <a:pt x="164" y="92"/>
                  </a:lnTo>
                  <a:lnTo>
                    <a:pt x="164" y="92"/>
                  </a:lnTo>
                  <a:lnTo>
                    <a:pt x="165" y="89"/>
                  </a:lnTo>
                  <a:lnTo>
                    <a:pt x="165" y="86"/>
                  </a:lnTo>
                  <a:lnTo>
                    <a:pt x="142" y="5"/>
                  </a:lnTo>
                  <a:lnTo>
                    <a:pt x="142" y="5"/>
                  </a:lnTo>
                  <a:lnTo>
                    <a:pt x="142" y="3"/>
                  </a:lnTo>
                  <a:lnTo>
                    <a:pt x="140" y="2"/>
                  </a:lnTo>
                  <a:lnTo>
                    <a:pt x="138" y="1"/>
                  </a:lnTo>
                  <a:lnTo>
                    <a:pt x="136" y="0"/>
                  </a:lnTo>
                  <a:lnTo>
                    <a:pt x="136" y="0"/>
                  </a:lnTo>
                  <a:close/>
                  <a:moveTo>
                    <a:pt x="140" y="82"/>
                  </a:moveTo>
                  <a:lnTo>
                    <a:pt x="129" y="82"/>
                  </a:lnTo>
                  <a:lnTo>
                    <a:pt x="129" y="82"/>
                  </a:lnTo>
                  <a:lnTo>
                    <a:pt x="124" y="82"/>
                  </a:lnTo>
                  <a:lnTo>
                    <a:pt x="121" y="84"/>
                  </a:lnTo>
                  <a:lnTo>
                    <a:pt x="118" y="86"/>
                  </a:lnTo>
                  <a:lnTo>
                    <a:pt x="116" y="89"/>
                  </a:lnTo>
                  <a:lnTo>
                    <a:pt x="106" y="108"/>
                  </a:lnTo>
                  <a:lnTo>
                    <a:pt x="60" y="108"/>
                  </a:lnTo>
                  <a:lnTo>
                    <a:pt x="51" y="89"/>
                  </a:lnTo>
                  <a:lnTo>
                    <a:pt x="51" y="89"/>
                  </a:lnTo>
                  <a:lnTo>
                    <a:pt x="49" y="86"/>
                  </a:lnTo>
                  <a:lnTo>
                    <a:pt x="45" y="84"/>
                  </a:lnTo>
                  <a:lnTo>
                    <a:pt x="42" y="82"/>
                  </a:lnTo>
                  <a:lnTo>
                    <a:pt x="38" y="82"/>
                  </a:lnTo>
                  <a:lnTo>
                    <a:pt x="27" y="82"/>
                  </a:lnTo>
                  <a:lnTo>
                    <a:pt x="11" y="82"/>
                  </a:lnTo>
                  <a:lnTo>
                    <a:pt x="31" y="7"/>
                  </a:lnTo>
                  <a:lnTo>
                    <a:pt x="136" y="7"/>
                  </a:lnTo>
                  <a:lnTo>
                    <a:pt x="155" y="82"/>
                  </a:lnTo>
                  <a:lnTo>
                    <a:pt x="14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53" name="Group 15">
            <a:extLst>
              <a:ext uri="{FF2B5EF4-FFF2-40B4-BE49-F238E27FC236}">
                <a16:creationId xmlns:a16="http://schemas.microsoft.com/office/drawing/2014/main" id="{9AF7E26C-3906-4285-B000-DADD44B8587A}"/>
              </a:ext>
            </a:extLst>
          </p:cNvPr>
          <p:cNvGrpSpPr>
            <a:grpSpLocks noChangeAspect="1"/>
          </p:cNvGrpSpPr>
          <p:nvPr/>
        </p:nvGrpSpPr>
        <p:grpSpPr>
          <a:xfrm>
            <a:off x="4033190" y="5956631"/>
            <a:ext cx="275708" cy="252143"/>
            <a:chOff x="6996113" y="1466850"/>
            <a:chExt cx="371475" cy="339725"/>
          </a:xfrm>
          <a:solidFill>
            <a:schemeClr val="bg2"/>
          </a:solidFill>
          <a:effectLst/>
        </p:grpSpPr>
        <p:sp>
          <p:nvSpPr>
            <p:cNvPr id="654" name="Freeform 5">
              <a:extLst>
                <a:ext uri="{FF2B5EF4-FFF2-40B4-BE49-F238E27FC236}">
                  <a16:creationId xmlns:a16="http://schemas.microsoft.com/office/drawing/2014/main" id="{1291C311-11D4-40D1-99DE-E84A43E6497C}"/>
                </a:ext>
              </a:extLst>
            </p:cNvPr>
            <p:cNvSpPr>
              <a:spLocks noEditPoints="1"/>
            </p:cNvSpPr>
            <p:nvPr/>
          </p:nvSpPr>
          <p:spPr bwMode="auto">
            <a:xfrm>
              <a:off x="7119938" y="1466850"/>
              <a:ext cx="247650" cy="92075"/>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5" name="Freeform 6">
              <a:extLst>
                <a:ext uri="{FF2B5EF4-FFF2-40B4-BE49-F238E27FC236}">
                  <a16:creationId xmlns:a16="http://schemas.microsoft.com/office/drawing/2014/main" id="{B99203FE-EA9F-4926-A188-9F5D4F365FBC}"/>
                </a:ext>
              </a:extLst>
            </p:cNvPr>
            <p:cNvSpPr>
              <a:spLocks noEditPoints="1"/>
            </p:cNvSpPr>
            <p:nvPr/>
          </p:nvSpPr>
          <p:spPr bwMode="auto">
            <a:xfrm>
              <a:off x="7119938" y="1589088"/>
              <a:ext cx="247650" cy="93662"/>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6" name="Freeform 7">
              <a:extLst>
                <a:ext uri="{FF2B5EF4-FFF2-40B4-BE49-F238E27FC236}">
                  <a16:creationId xmlns:a16="http://schemas.microsoft.com/office/drawing/2014/main" id="{40F724C4-9D56-4658-A582-B2F2733327A2}"/>
                </a:ext>
              </a:extLst>
            </p:cNvPr>
            <p:cNvSpPr>
              <a:spLocks noEditPoints="1"/>
            </p:cNvSpPr>
            <p:nvPr/>
          </p:nvSpPr>
          <p:spPr bwMode="auto">
            <a:xfrm>
              <a:off x="7119938" y="1712913"/>
              <a:ext cx="247650" cy="93662"/>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7" name="Freeform 8">
              <a:extLst>
                <a:ext uri="{FF2B5EF4-FFF2-40B4-BE49-F238E27FC236}">
                  <a16:creationId xmlns:a16="http://schemas.microsoft.com/office/drawing/2014/main" id="{8E28F1DF-5FD6-4D2A-8F65-8C1EB541FB07}"/>
                </a:ext>
              </a:extLst>
            </p:cNvPr>
            <p:cNvSpPr>
              <a:spLocks noEditPoints="1"/>
            </p:cNvSpPr>
            <p:nvPr/>
          </p:nvSpPr>
          <p:spPr bwMode="auto">
            <a:xfrm>
              <a:off x="6996113" y="1466850"/>
              <a:ext cx="93663" cy="92075"/>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8" name="Freeform 9">
              <a:extLst>
                <a:ext uri="{FF2B5EF4-FFF2-40B4-BE49-F238E27FC236}">
                  <a16:creationId xmlns:a16="http://schemas.microsoft.com/office/drawing/2014/main" id="{2F679309-018C-4336-B82E-6B458B06FE14}"/>
                </a:ext>
              </a:extLst>
            </p:cNvPr>
            <p:cNvSpPr>
              <a:spLocks noEditPoints="1"/>
            </p:cNvSpPr>
            <p:nvPr/>
          </p:nvSpPr>
          <p:spPr bwMode="auto">
            <a:xfrm>
              <a:off x="6996113" y="1589088"/>
              <a:ext cx="93663" cy="936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9" name="Freeform 10">
              <a:extLst>
                <a:ext uri="{FF2B5EF4-FFF2-40B4-BE49-F238E27FC236}">
                  <a16:creationId xmlns:a16="http://schemas.microsoft.com/office/drawing/2014/main" id="{F31A20AD-2D8D-403E-9794-0CB2F6F4221C}"/>
                </a:ext>
              </a:extLst>
            </p:cNvPr>
            <p:cNvSpPr>
              <a:spLocks noEditPoints="1"/>
            </p:cNvSpPr>
            <p:nvPr/>
          </p:nvSpPr>
          <p:spPr bwMode="auto">
            <a:xfrm>
              <a:off x="6996113" y="1712913"/>
              <a:ext cx="93663" cy="936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68" name="Group 5134">
            <a:extLst>
              <a:ext uri="{FF2B5EF4-FFF2-40B4-BE49-F238E27FC236}">
                <a16:creationId xmlns:a16="http://schemas.microsoft.com/office/drawing/2014/main" id="{7D2CB19E-1BC8-47AF-8D53-81DA5DB6FB71}"/>
              </a:ext>
            </a:extLst>
          </p:cNvPr>
          <p:cNvGrpSpPr>
            <a:grpSpLocks noChangeAspect="1"/>
          </p:cNvGrpSpPr>
          <p:nvPr/>
        </p:nvGrpSpPr>
        <p:grpSpPr>
          <a:xfrm>
            <a:off x="4438917" y="5944848"/>
            <a:ext cx="275708" cy="275708"/>
            <a:chOff x="4386263" y="3243263"/>
            <a:chExt cx="371475" cy="371475"/>
          </a:xfrm>
          <a:solidFill>
            <a:schemeClr val="bg2"/>
          </a:solidFill>
          <a:effectLst/>
        </p:grpSpPr>
        <p:sp>
          <p:nvSpPr>
            <p:cNvPr id="669" name="Freeform 25">
              <a:extLst>
                <a:ext uri="{FF2B5EF4-FFF2-40B4-BE49-F238E27FC236}">
                  <a16:creationId xmlns:a16="http://schemas.microsoft.com/office/drawing/2014/main" id="{760EA597-56DC-4D3C-9607-E29309859B96}"/>
                </a:ext>
              </a:extLst>
            </p:cNvPr>
            <p:cNvSpPr>
              <a:spLocks noEditPoints="1"/>
            </p:cNvSpPr>
            <p:nvPr/>
          </p:nvSpPr>
          <p:spPr bwMode="auto">
            <a:xfrm>
              <a:off x="4386263" y="3243263"/>
              <a:ext cx="371475" cy="371475"/>
            </a:xfrm>
            <a:custGeom>
              <a:avLst/>
              <a:gdLst>
                <a:gd name="T0" fmla="*/ 94 w 96"/>
                <a:gd name="T1" fmla="*/ 96 h 96"/>
                <a:gd name="T2" fmla="*/ 2 w 96"/>
                <a:gd name="T3" fmla="*/ 96 h 96"/>
                <a:gd name="T4" fmla="*/ 0 w 96"/>
                <a:gd name="T5" fmla="*/ 94 h 96"/>
                <a:gd name="T6" fmla="*/ 0 w 96"/>
                <a:gd name="T7" fmla="*/ 2 h 96"/>
                <a:gd name="T8" fmla="*/ 2 w 96"/>
                <a:gd name="T9" fmla="*/ 0 h 96"/>
                <a:gd name="T10" fmla="*/ 94 w 96"/>
                <a:gd name="T11" fmla="*/ 0 h 96"/>
                <a:gd name="T12" fmla="*/ 96 w 96"/>
                <a:gd name="T13" fmla="*/ 2 h 96"/>
                <a:gd name="T14" fmla="*/ 96 w 96"/>
                <a:gd name="T15" fmla="*/ 94 h 96"/>
                <a:gd name="T16" fmla="*/ 94 w 96"/>
                <a:gd name="T17" fmla="*/ 96 h 96"/>
                <a:gd name="T18" fmla="*/ 4 w 96"/>
                <a:gd name="T19" fmla="*/ 92 h 96"/>
                <a:gd name="T20" fmla="*/ 92 w 96"/>
                <a:gd name="T21" fmla="*/ 92 h 96"/>
                <a:gd name="T22" fmla="*/ 92 w 96"/>
                <a:gd name="T23" fmla="*/ 4 h 96"/>
                <a:gd name="T24" fmla="*/ 4 w 96"/>
                <a:gd name="T25" fmla="*/ 4 h 96"/>
                <a:gd name="T26" fmla="*/ 4 w 96"/>
                <a:gd name="T2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96">
                  <a:moveTo>
                    <a:pt x="94" y="96"/>
                  </a:moveTo>
                  <a:cubicBezTo>
                    <a:pt x="2" y="96"/>
                    <a:pt x="2" y="96"/>
                    <a:pt x="2" y="96"/>
                  </a:cubicBezTo>
                  <a:cubicBezTo>
                    <a:pt x="1" y="96"/>
                    <a:pt x="0" y="95"/>
                    <a:pt x="0" y="94"/>
                  </a:cubicBezTo>
                  <a:cubicBezTo>
                    <a:pt x="0" y="2"/>
                    <a:pt x="0" y="2"/>
                    <a:pt x="0" y="2"/>
                  </a:cubicBezTo>
                  <a:cubicBezTo>
                    <a:pt x="0" y="1"/>
                    <a:pt x="1" y="0"/>
                    <a:pt x="2" y="0"/>
                  </a:cubicBezTo>
                  <a:cubicBezTo>
                    <a:pt x="94" y="0"/>
                    <a:pt x="94" y="0"/>
                    <a:pt x="94" y="0"/>
                  </a:cubicBezTo>
                  <a:cubicBezTo>
                    <a:pt x="95" y="0"/>
                    <a:pt x="96" y="1"/>
                    <a:pt x="96" y="2"/>
                  </a:cubicBezTo>
                  <a:cubicBezTo>
                    <a:pt x="96" y="94"/>
                    <a:pt x="96" y="94"/>
                    <a:pt x="96" y="94"/>
                  </a:cubicBezTo>
                  <a:cubicBezTo>
                    <a:pt x="96" y="95"/>
                    <a:pt x="95" y="96"/>
                    <a:pt x="94" y="96"/>
                  </a:cubicBezTo>
                  <a:close/>
                  <a:moveTo>
                    <a:pt x="4" y="92"/>
                  </a:moveTo>
                  <a:cubicBezTo>
                    <a:pt x="92" y="92"/>
                    <a:pt x="92" y="92"/>
                    <a:pt x="92" y="92"/>
                  </a:cubicBezTo>
                  <a:cubicBezTo>
                    <a:pt x="92" y="4"/>
                    <a:pt x="92" y="4"/>
                    <a:pt x="92" y="4"/>
                  </a:cubicBezTo>
                  <a:cubicBezTo>
                    <a:pt x="4" y="4"/>
                    <a:pt x="4" y="4"/>
                    <a:pt x="4" y="4"/>
                  </a:cubicBez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0" name="Freeform 26">
              <a:extLst>
                <a:ext uri="{FF2B5EF4-FFF2-40B4-BE49-F238E27FC236}">
                  <a16:creationId xmlns:a16="http://schemas.microsoft.com/office/drawing/2014/main" id="{CA294301-5D95-41D0-8FCC-C4B20F7883D5}"/>
                </a:ext>
              </a:extLst>
            </p:cNvPr>
            <p:cNvSpPr>
              <a:spLocks noEditPoints="1"/>
            </p:cNvSpPr>
            <p:nvPr/>
          </p:nvSpPr>
          <p:spPr bwMode="auto">
            <a:xfrm>
              <a:off x="4432301" y="3289301"/>
              <a:ext cx="279400" cy="109538"/>
            </a:xfrm>
            <a:custGeom>
              <a:avLst/>
              <a:gdLst>
                <a:gd name="T0" fmla="*/ 58 w 72"/>
                <a:gd name="T1" fmla="*/ 28 h 28"/>
                <a:gd name="T2" fmla="*/ 14 w 72"/>
                <a:gd name="T3" fmla="*/ 28 h 28"/>
                <a:gd name="T4" fmla="*/ 0 w 72"/>
                <a:gd name="T5" fmla="*/ 14 h 28"/>
                <a:gd name="T6" fmla="*/ 14 w 72"/>
                <a:gd name="T7" fmla="*/ 0 h 28"/>
                <a:gd name="T8" fmla="*/ 58 w 72"/>
                <a:gd name="T9" fmla="*/ 0 h 28"/>
                <a:gd name="T10" fmla="*/ 72 w 72"/>
                <a:gd name="T11" fmla="*/ 14 h 28"/>
                <a:gd name="T12" fmla="*/ 58 w 72"/>
                <a:gd name="T13" fmla="*/ 28 h 28"/>
                <a:gd name="T14" fmla="*/ 14 w 72"/>
                <a:gd name="T15" fmla="*/ 4 h 28"/>
                <a:gd name="T16" fmla="*/ 4 w 72"/>
                <a:gd name="T17" fmla="*/ 14 h 28"/>
                <a:gd name="T18" fmla="*/ 14 w 72"/>
                <a:gd name="T19" fmla="*/ 24 h 28"/>
                <a:gd name="T20" fmla="*/ 58 w 72"/>
                <a:gd name="T21" fmla="*/ 24 h 28"/>
                <a:gd name="T22" fmla="*/ 68 w 72"/>
                <a:gd name="T23" fmla="*/ 14 h 28"/>
                <a:gd name="T24" fmla="*/ 58 w 72"/>
                <a:gd name="T25" fmla="*/ 4 h 28"/>
                <a:gd name="T26" fmla="*/ 14 w 7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8">
                  <a:moveTo>
                    <a:pt x="58" y="28"/>
                  </a:moveTo>
                  <a:cubicBezTo>
                    <a:pt x="14" y="28"/>
                    <a:pt x="14" y="28"/>
                    <a:pt x="14" y="28"/>
                  </a:cubicBezTo>
                  <a:cubicBezTo>
                    <a:pt x="6" y="28"/>
                    <a:pt x="0" y="22"/>
                    <a:pt x="0" y="14"/>
                  </a:cubicBezTo>
                  <a:cubicBezTo>
                    <a:pt x="0" y="6"/>
                    <a:pt x="6" y="0"/>
                    <a:pt x="14" y="0"/>
                  </a:cubicBezTo>
                  <a:cubicBezTo>
                    <a:pt x="58" y="0"/>
                    <a:pt x="58" y="0"/>
                    <a:pt x="58" y="0"/>
                  </a:cubicBezTo>
                  <a:cubicBezTo>
                    <a:pt x="66" y="0"/>
                    <a:pt x="72" y="6"/>
                    <a:pt x="72" y="14"/>
                  </a:cubicBezTo>
                  <a:cubicBezTo>
                    <a:pt x="72" y="22"/>
                    <a:pt x="66" y="28"/>
                    <a:pt x="58" y="28"/>
                  </a:cubicBezTo>
                  <a:close/>
                  <a:moveTo>
                    <a:pt x="14" y="4"/>
                  </a:moveTo>
                  <a:cubicBezTo>
                    <a:pt x="8" y="4"/>
                    <a:pt x="4" y="8"/>
                    <a:pt x="4" y="14"/>
                  </a:cubicBezTo>
                  <a:cubicBezTo>
                    <a:pt x="4" y="20"/>
                    <a:pt x="8" y="24"/>
                    <a:pt x="14" y="24"/>
                  </a:cubicBezTo>
                  <a:cubicBezTo>
                    <a:pt x="58" y="24"/>
                    <a:pt x="58" y="24"/>
                    <a:pt x="58" y="24"/>
                  </a:cubicBezTo>
                  <a:cubicBezTo>
                    <a:pt x="64" y="24"/>
                    <a:pt x="68" y="20"/>
                    <a:pt x="68" y="14"/>
                  </a:cubicBezTo>
                  <a:cubicBezTo>
                    <a:pt x="68" y="8"/>
                    <a:pt x="64" y="4"/>
                    <a:pt x="58" y="4"/>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1" name="Freeform 27">
              <a:extLst>
                <a:ext uri="{FF2B5EF4-FFF2-40B4-BE49-F238E27FC236}">
                  <a16:creationId xmlns:a16="http://schemas.microsoft.com/office/drawing/2014/main" id="{D4D2C430-1B5A-46E7-AC98-A3E67D98577F}"/>
                </a:ext>
              </a:extLst>
            </p:cNvPr>
            <p:cNvSpPr>
              <a:spLocks noEditPoints="1"/>
            </p:cNvSpPr>
            <p:nvPr/>
          </p:nvSpPr>
          <p:spPr bwMode="auto">
            <a:xfrm>
              <a:off x="4432301" y="3460751"/>
              <a:ext cx="279400" cy="107950"/>
            </a:xfrm>
            <a:custGeom>
              <a:avLst/>
              <a:gdLst>
                <a:gd name="T0" fmla="*/ 58 w 72"/>
                <a:gd name="T1" fmla="*/ 28 h 28"/>
                <a:gd name="T2" fmla="*/ 14 w 72"/>
                <a:gd name="T3" fmla="*/ 28 h 28"/>
                <a:gd name="T4" fmla="*/ 0 w 72"/>
                <a:gd name="T5" fmla="*/ 14 h 28"/>
                <a:gd name="T6" fmla="*/ 14 w 72"/>
                <a:gd name="T7" fmla="*/ 0 h 28"/>
                <a:gd name="T8" fmla="*/ 58 w 72"/>
                <a:gd name="T9" fmla="*/ 0 h 28"/>
                <a:gd name="T10" fmla="*/ 72 w 72"/>
                <a:gd name="T11" fmla="*/ 14 h 28"/>
                <a:gd name="T12" fmla="*/ 58 w 72"/>
                <a:gd name="T13" fmla="*/ 28 h 28"/>
                <a:gd name="T14" fmla="*/ 14 w 72"/>
                <a:gd name="T15" fmla="*/ 4 h 28"/>
                <a:gd name="T16" fmla="*/ 4 w 72"/>
                <a:gd name="T17" fmla="*/ 14 h 28"/>
                <a:gd name="T18" fmla="*/ 14 w 72"/>
                <a:gd name="T19" fmla="*/ 24 h 28"/>
                <a:gd name="T20" fmla="*/ 58 w 72"/>
                <a:gd name="T21" fmla="*/ 24 h 28"/>
                <a:gd name="T22" fmla="*/ 68 w 72"/>
                <a:gd name="T23" fmla="*/ 14 h 28"/>
                <a:gd name="T24" fmla="*/ 58 w 72"/>
                <a:gd name="T25" fmla="*/ 4 h 28"/>
                <a:gd name="T26" fmla="*/ 14 w 7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8">
                  <a:moveTo>
                    <a:pt x="58" y="28"/>
                  </a:moveTo>
                  <a:cubicBezTo>
                    <a:pt x="14" y="28"/>
                    <a:pt x="14" y="28"/>
                    <a:pt x="14" y="28"/>
                  </a:cubicBezTo>
                  <a:cubicBezTo>
                    <a:pt x="6" y="28"/>
                    <a:pt x="0" y="22"/>
                    <a:pt x="0" y="14"/>
                  </a:cubicBezTo>
                  <a:cubicBezTo>
                    <a:pt x="0" y="6"/>
                    <a:pt x="6" y="0"/>
                    <a:pt x="14" y="0"/>
                  </a:cubicBezTo>
                  <a:cubicBezTo>
                    <a:pt x="58" y="0"/>
                    <a:pt x="58" y="0"/>
                    <a:pt x="58" y="0"/>
                  </a:cubicBezTo>
                  <a:cubicBezTo>
                    <a:pt x="66" y="0"/>
                    <a:pt x="72" y="6"/>
                    <a:pt x="72" y="14"/>
                  </a:cubicBezTo>
                  <a:cubicBezTo>
                    <a:pt x="72" y="22"/>
                    <a:pt x="66" y="28"/>
                    <a:pt x="58" y="28"/>
                  </a:cubicBezTo>
                  <a:close/>
                  <a:moveTo>
                    <a:pt x="14" y="4"/>
                  </a:moveTo>
                  <a:cubicBezTo>
                    <a:pt x="8" y="4"/>
                    <a:pt x="4" y="8"/>
                    <a:pt x="4" y="14"/>
                  </a:cubicBezTo>
                  <a:cubicBezTo>
                    <a:pt x="4" y="20"/>
                    <a:pt x="8" y="24"/>
                    <a:pt x="14" y="24"/>
                  </a:cubicBezTo>
                  <a:cubicBezTo>
                    <a:pt x="58" y="24"/>
                    <a:pt x="58" y="24"/>
                    <a:pt x="58" y="24"/>
                  </a:cubicBezTo>
                  <a:cubicBezTo>
                    <a:pt x="64" y="24"/>
                    <a:pt x="68" y="20"/>
                    <a:pt x="68" y="14"/>
                  </a:cubicBezTo>
                  <a:cubicBezTo>
                    <a:pt x="68" y="8"/>
                    <a:pt x="64" y="4"/>
                    <a:pt x="58" y="4"/>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2" name="Freeform 28">
              <a:extLst>
                <a:ext uri="{FF2B5EF4-FFF2-40B4-BE49-F238E27FC236}">
                  <a16:creationId xmlns:a16="http://schemas.microsoft.com/office/drawing/2014/main" id="{65E33A3A-22AB-4108-A31B-32945DBF20B5}"/>
                </a:ext>
              </a:extLst>
            </p:cNvPr>
            <p:cNvSpPr>
              <a:spLocks noEditPoints="1"/>
            </p:cNvSpPr>
            <p:nvPr/>
          </p:nvSpPr>
          <p:spPr bwMode="auto">
            <a:xfrm>
              <a:off x="4432301" y="3289301"/>
              <a:ext cx="109538" cy="10953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3" name="Freeform 29">
              <a:extLst>
                <a:ext uri="{FF2B5EF4-FFF2-40B4-BE49-F238E27FC236}">
                  <a16:creationId xmlns:a16="http://schemas.microsoft.com/office/drawing/2014/main" id="{24179FDB-9194-499E-88C7-8254D056BA5E}"/>
                </a:ext>
              </a:extLst>
            </p:cNvPr>
            <p:cNvSpPr>
              <a:spLocks noEditPoints="1"/>
            </p:cNvSpPr>
            <p:nvPr/>
          </p:nvSpPr>
          <p:spPr bwMode="auto">
            <a:xfrm>
              <a:off x="4603751" y="3460751"/>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78" name="Group 16">
            <a:extLst>
              <a:ext uri="{FF2B5EF4-FFF2-40B4-BE49-F238E27FC236}">
                <a16:creationId xmlns:a16="http://schemas.microsoft.com/office/drawing/2014/main" id="{30E97173-81D1-41F1-A06B-D450FF682C0F}"/>
              </a:ext>
            </a:extLst>
          </p:cNvPr>
          <p:cNvGrpSpPr>
            <a:grpSpLocks noChangeAspect="1"/>
          </p:cNvGrpSpPr>
          <p:nvPr/>
        </p:nvGrpSpPr>
        <p:grpSpPr>
          <a:xfrm>
            <a:off x="4898192" y="5944848"/>
            <a:ext cx="304792" cy="306484"/>
            <a:chOff x="11028363" y="1925638"/>
            <a:chExt cx="285750" cy="287337"/>
          </a:xfrm>
          <a:solidFill>
            <a:schemeClr val="bg2"/>
          </a:solidFill>
          <a:effectLst/>
        </p:grpSpPr>
        <p:sp>
          <p:nvSpPr>
            <p:cNvPr id="679" name="Freeform 210">
              <a:extLst>
                <a:ext uri="{FF2B5EF4-FFF2-40B4-BE49-F238E27FC236}">
                  <a16:creationId xmlns:a16="http://schemas.microsoft.com/office/drawing/2014/main" id="{30C9C7C0-4063-4EAD-8D6A-4BC3F3CF00C6}"/>
                </a:ext>
              </a:extLst>
            </p:cNvPr>
            <p:cNvSpPr>
              <a:spLocks noEditPoints="1"/>
            </p:cNvSpPr>
            <p:nvPr/>
          </p:nvSpPr>
          <p:spPr bwMode="auto">
            <a:xfrm>
              <a:off x="11028363" y="1925638"/>
              <a:ext cx="180975" cy="192088"/>
            </a:xfrm>
            <a:custGeom>
              <a:avLst/>
              <a:gdLst>
                <a:gd name="T0" fmla="*/ 270 w 571"/>
                <a:gd name="T1" fmla="*/ 30 h 601"/>
                <a:gd name="T2" fmla="*/ 51 w 571"/>
                <a:gd name="T3" fmla="*/ 150 h 601"/>
                <a:gd name="T4" fmla="*/ 520 w 571"/>
                <a:gd name="T5" fmla="*/ 150 h 601"/>
                <a:gd name="T6" fmla="*/ 300 w 571"/>
                <a:gd name="T7" fmla="*/ 30 h 601"/>
                <a:gd name="T8" fmla="*/ 520 w 571"/>
                <a:gd name="T9" fmla="*/ 150 h 601"/>
                <a:gd name="T10" fmla="*/ 541 w 571"/>
                <a:gd name="T11" fmla="*/ 254 h 601"/>
                <a:gd name="T12" fmla="*/ 542 w 571"/>
                <a:gd name="T13" fmla="*/ 261 h 601"/>
                <a:gd name="T14" fmla="*/ 545 w 571"/>
                <a:gd name="T15" fmla="*/ 265 h 601"/>
                <a:gd name="T16" fmla="*/ 551 w 571"/>
                <a:gd name="T17" fmla="*/ 268 h 601"/>
                <a:gd name="T18" fmla="*/ 556 w 571"/>
                <a:gd name="T19" fmla="*/ 269 h 601"/>
                <a:gd name="T20" fmla="*/ 561 w 571"/>
                <a:gd name="T21" fmla="*/ 268 h 601"/>
                <a:gd name="T22" fmla="*/ 567 w 571"/>
                <a:gd name="T23" fmla="*/ 265 h 601"/>
                <a:gd name="T24" fmla="*/ 570 w 571"/>
                <a:gd name="T25" fmla="*/ 261 h 601"/>
                <a:gd name="T26" fmla="*/ 571 w 571"/>
                <a:gd name="T27" fmla="*/ 254 h 601"/>
                <a:gd name="T28" fmla="*/ 571 w 571"/>
                <a:gd name="T29" fmla="*/ 167 h 601"/>
                <a:gd name="T30" fmla="*/ 571 w 571"/>
                <a:gd name="T31" fmla="*/ 162 h 601"/>
                <a:gd name="T32" fmla="*/ 568 w 571"/>
                <a:gd name="T33" fmla="*/ 156 h 601"/>
                <a:gd name="T34" fmla="*/ 417 w 571"/>
                <a:gd name="T35" fmla="*/ 5 h 601"/>
                <a:gd name="T36" fmla="*/ 411 w 571"/>
                <a:gd name="T37" fmla="*/ 2 h 601"/>
                <a:gd name="T38" fmla="*/ 406 w 571"/>
                <a:gd name="T39" fmla="*/ 0 h 601"/>
                <a:gd name="T40" fmla="*/ 162 w 571"/>
                <a:gd name="T41" fmla="*/ 0 h 601"/>
                <a:gd name="T42" fmla="*/ 156 w 571"/>
                <a:gd name="T43" fmla="*/ 3 h 601"/>
                <a:gd name="T44" fmla="*/ 4 w 571"/>
                <a:gd name="T45" fmla="*/ 155 h 601"/>
                <a:gd name="T46" fmla="*/ 4 w 571"/>
                <a:gd name="T47" fmla="*/ 155 h 601"/>
                <a:gd name="T48" fmla="*/ 1 w 571"/>
                <a:gd name="T49" fmla="*/ 159 h 601"/>
                <a:gd name="T50" fmla="*/ 1 w 571"/>
                <a:gd name="T51" fmla="*/ 161 h 601"/>
                <a:gd name="T52" fmla="*/ 0 w 571"/>
                <a:gd name="T53" fmla="*/ 164 h 601"/>
                <a:gd name="T54" fmla="*/ 0 w 571"/>
                <a:gd name="T55" fmla="*/ 165 h 601"/>
                <a:gd name="T56" fmla="*/ 0 w 571"/>
                <a:gd name="T57" fmla="*/ 590 h 601"/>
                <a:gd name="T58" fmla="*/ 2 w 571"/>
                <a:gd name="T59" fmla="*/ 595 h 601"/>
                <a:gd name="T60" fmla="*/ 6 w 571"/>
                <a:gd name="T61" fmla="*/ 599 h 601"/>
                <a:gd name="T62" fmla="*/ 12 w 571"/>
                <a:gd name="T63" fmla="*/ 601 h 601"/>
                <a:gd name="T64" fmla="*/ 240 w 571"/>
                <a:gd name="T65" fmla="*/ 601 h 601"/>
                <a:gd name="T66" fmla="*/ 246 w 571"/>
                <a:gd name="T67" fmla="*/ 600 h 601"/>
                <a:gd name="T68" fmla="*/ 251 w 571"/>
                <a:gd name="T69" fmla="*/ 597 h 601"/>
                <a:gd name="T70" fmla="*/ 254 w 571"/>
                <a:gd name="T71" fmla="*/ 593 h 601"/>
                <a:gd name="T72" fmla="*/ 255 w 571"/>
                <a:gd name="T73" fmla="*/ 586 h 601"/>
                <a:gd name="T74" fmla="*/ 254 w 571"/>
                <a:gd name="T75" fmla="*/ 581 h 601"/>
                <a:gd name="T76" fmla="*/ 251 w 571"/>
                <a:gd name="T77" fmla="*/ 576 h 601"/>
                <a:gd name="T78" fmla="*/ 246 w 571"/>
                <a:gd name="T79" fmla="*/ 573 h 601"/>
                <a:gd name="T80" fmla="*/ 240 w 571"/>
                <a:gd name="T81" fmla="*/ 571 h 601"/>
                <a:gd name="T82" fmla="*/ 30 w 571"/>
                <a:gd name="T83" fmla="*/ 18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601">
                  <a:moveTo>
                    <a:pt x="171" y="30"/>
                  </a:moveTo>
                  <a:lnTo>
                    <a:pt x="270" y="30"/>
                  </a:lnTo>
                  <a:lnTo>
                    <a:pt x="270" y="150"/>
                  </a:lnTo>
                  <a:lnTo>
                    <a:pt x="51" y="150"/>
                  </a:lnTo>
                  <a:lnTo>
                    <a:pt x="171" y="30"/>
                  </a:lnTo>
                  <a:close/>
                  <a:moveTo>
                    <a:pt x="520" y="150"/>
                  </a:moveTo>
                  <a:lnTo>
                    <a:pt x="300" y="150"/>
                  </a:lnTo>
                  <a:lnTo>
                    <a:pt x="300" y="30"/>
                  </a:lnTo>
                  <a:lnTo>
                    <a:pt x="400" y="30"/>
                  </a:lnTo>
                  <a:lnTo>
                    <a:pt x="520" y="150"/>
                  </a:lnTo>
                  <a:close/>
                  <a:moveTo>
                    <a:pt x="541" y="180"/>
                  </a:moveTo>
                  <a:lnTo>
                    <a:pt x="541" y="254"/>
                  </a:lnTo>
                  <a:lnTo>
                    <a:pt x="541" y="258"/>
                  </a:lnTo>
                  <a:lnTo>
                    <a:pt x="542" y="261"/>
                  </a:lnTo>
                  <a:lnTo>
                    <a:pt x="543" y="263"/>
                  </a:lnTo>
                  <a:lnTo>
                    <a:pt x="545" y="265"/>
                  </a:lnTo>
                  <a:lnTo>
                    <a:pt x="547" y="267"/>
                  </a:lnTo>
                  <a:lnTo>
                    <a:pt x="551" y="268"/>
                  </a:lnTo>
                  <a:lnTo>
                    <a:pt x="553" y="269"/>
                  </a:lnTo>
                  <a:lnTo>
                    <a:pt x="556" y="269"/>
                  </a:lnTo>
                  <a:lnTo>
                    <a:pt x="559" y="269"/>
                  </a:lnTo>
                  <a:lnTo>
                    <a:pt x="561" y="268"/>
                  </a:lnTo>
                  <a:lnTo>
                    <a:pt x="565" y="267"/>
                  </a:lnTo>
                  <a:lnTo>
                    <a:pt x="567" y="265"/>
                  </a:lnTo>
                  <a:lnTo>
                    <a:pt x="569" y="263"/>
                  </a:lnTo>
                  <a:lnTo>
                    <a:pt x="570" y="261"/>
                  </a:lnTo>
                  <a:lnTo>
                    <a:pt x="571" y="258"/>
                  </a:lnTo>
                  <a:lnTo>
                    <a:pt x="571" y="254"/>
                  </a:lnTo>
                  <a:lnTo>
                    <a:pt x="571" y="168"/>
                  </a:lnTo>
                  <a:lnTo>
                    <a:pt x="571" y="167"/>
                  </a:lnTo>
                  <a:lnTo>
                    <a:pt x="571" y="165"/>
                  </a:lnTo>
                  <a:lnTo>
                    <a:pt x="571" y="162"/>
                  </a:lnTo>
                  <a:lnTo>
                    <a:pt x="570" y="159"/>
                  </a:lnTo>
                  <a:lnTo>
                    <a:pt x="568" y="156"/>
                  </a:lnTo>
                  <a:lnTo>
                    <a:pt x="565" y="154"/>
                  </a:lnTo>
                  <a:lnTo>
                    <a:pt x="417" y="5"/>
                  </a:lnTo>
                  <a:lnTo>
                    <a:pt x="414" y="3"/>
                  </a:lnTo>
                  <a:lnTo>
                    <a:pt x="411" y="2"/>
                  </a:lnTo>
                  <a:lnTo>
                    <a:pt x="408" y="0"/>
                  </a:lnTo>
                  <a:lnTo>
                    <a:pt x="406" y="0"/>
                  </a:lnTo>
                  <a:lnTo>
                    <a:pt x="165" y="0"/>
                  </a:lnTo>
                  <a:lnTo>
                    <a:pt x="162" y="0"/>
                  </a:lnTo>
                  <a:lnTo>
                    <a:pt x="160" y="2"/>
                  </a:lnTo>
                  <a:lnTo>
                    <a:pt x="156" y="3"/>
                  </a:lnTo>
                  <a:lnTo>
                    <a:pt x="154" y="5"/>
                  </a:lnTo>
                  <a:lnTo>
                    <a:pt x="4" y="155"/>
                  </a:lnTo>
                  <a:lnTo>
                    <a:pt x="4" y="155"/>
                  </a:lnTo>
                  <a:lnTo>
                    <a:pt x="4" y="155"/>
                  </a:lnTo>
                  <a:lnTo>
                    <a:pt x="2" y="157"/>
                  </a:lnTo>
                  <a:lnTo>
                    <a:pt x="1" y="159"/>
                  </a:lnTo>
                  <a:lnTo>
                    <a:pt x="1" y="160"/>
                  </a:lnTo>
                  <a:lnTo>
                    <a:pt x="1" y="161"/>
                  </a:lnTo>
                  <a:lnTo>
                    <a:pt x="0" y="162"/>
                  </a:lnTo>
                  <a:lnTo>
                    <a:pt x="0" y="164"/>
                  </a:lnTo>
                  <a:lnTo>
                    <a:pt x="0" y="165"/>
                  </a:lnTo>
                  <a:lnTo>
                    <a:pt x="0" y="165"/>
                  </a:lnTo>
                  <a:lnTo>
                    <a:pt x="0" y="586"/>
                  </a:lnTo>
                  <a:lnTo>
                    <a:pt x="0" y="590"/>
                  </a:lnTo>
                  <a:lnTo>
                    <a:pt x="1" y="593"/>
                  </a:lnTo>
                  <a:lnTo>
                    <a:pt x="2" y="595"/>
                  </a:lnTo>
                  <a:lnTo>
                    <a:pt x="4" y="597"/>
                  </a:lnTo>
                  <a:lnTo>
                    <a:pt x="6" y="599"/>
                  </a:lnTo>
                  <a:lnTo>
                    <a:pt x="9" y="600"/>
                  </a:lnTo>
                  <a:lnTo>
                    <a:pt x="12" y="601"/>
                  </a:lnTo>
                  <a:lnTo>
                    <a:pt x="15" y="601"/>
                  </a:lnTo>
                  <a:lnTo>
                    <a:pt x="240" y="601"/>
                  </a:lnTo>
                  <a:lnTo>
                    <a:pt x="243" y="601"/>
                  </a:lnTo>
                  <a:lnTo>
                    <a:pt x="246" y="600"/>
                  </a:lnTo>
                  <a:lnTo>
                    <a:pt x="249" y="599"/>
                  </a:lnTo>
                  <a:lnTo>
                    <a:pt x="251" y="597"/>
                  </a:lnTo>
                  <a:lnTo>
                    <a:pt x="253" y="595"/>
                  </a:lnTo>
                  <a:lnTo>
                    <a:pt x="254" y="593"/>
                  </a:lnTo>
                  <a:lnTo>
                    <a:pt x="255" y="590"/>
                  </a:lnTo>
                  <a:lnTo>
                    <a:pt x="255" y="586"/>
                  </a:lnTo>
                  <a:lnTo>
                    <a:pt x="255" y="583"/>
                  </a:lnTo>
                  <a:lnTo>
                    <a:pt x="254" y="581"/>
                  </a:lnTo>
                  <a:lnTo>
                    <a:pt x="253" y="578"/>
                  </a:lnTo>
                  <a:lnTo>
                    <a:pt x="251" y="576"/>
                  </a:lnTo>
                  <a:lnTo>
                    <a:pt x="249" y="575"/>
                  </a:lnTo>
                  <a:lnTo>
                    <a:pt x="246" y="573"/>
                  </a:lnTo>
                  <a:lnTo>
                    <a:pt x="243" y="571"/>
                  </a:lnTo>
                  <a:lnTo>
                    <a:pt x="240" y="571"/>
                  </a:lnTo>
                  <a:lnTo>
                    <a:pt x="30" y="571"/>
                  </a:lnTo>
                  <a:lnTo>
                    <a:pt x="30" y="180"/>
                  </a:lnTo>
                  <a:lnTo>
                    <a:pt x="54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211">
              <a:extLst>
                <a:ext uri="{FF2B5EF4-FFF2-40B4-BE49-F238E27FC236}">
                  <a16:creationId xmlns:a16="http://schemas.microsoft.com/office/drawing/2014/main" id="{E660F0A6-1566-4356-94E1-76C0DE80FB06}"/>
                </a:ext>
              </a:extLst>
            </p:cNvPr>
            <p:cNvSpPr>
              <a:spLocks/>
            </p:cNvSpPr>
            <p:nvPr/>
          </p:nvSpPr>
          <p:spPr bwMode="auto">
            <a:xfrm>
              <a:off x="11180763" y="2070100"/>
              <a:ext cx="85725" cy="95250"/>
            </a:xfrm>
            <a:custGeom>
              <a:avLst/>
              <a:gdLst>
                <a:gd name="T0" fmla="*/ 144 w 270"/>
                <a:gd name="T1" fmla="*/ 3 h 301"/>
                <a:gd name="T2" fmla="*/ 138 w 270"/>
                <a:gd name="T3" fmla="*/ 0 h 301"/>
                <a:gd name="T4" fmla="*/ 135 w 270"/>
                <a:gd name="T5" fmla="*/ 0 h 301"/>
                <a:gd name="T6" fmla="*/ 135 w 270"/>
                <a:gd name="T7" fmla="*/ 0 h 301"/>
                <a:gd name="T8" fmla="*/ 132 w 270"/>
                <a:gd name="T9" fmla="*/ 0 h 301"/>
                <a:gd name="T10" fmla="*/ 126 w 270"/>
                <a:gd name="T11" fmla="*/ 3 h 301"/>
                <a:gd name="T12" fmla="*/ 4 w 270"/>
                <a:gd name="T13" fmla="*/ 125 h 301"/>
                <a:gd name="T14" fmla="*/ 1 w 270"/>
                <a:gd name="T15" fmla="*/ 130 h 301"/>
                <a:gd name="T16" fmla="*/ 0 w 270"/>
                <a:gd name="T17" fmla="*/ 135 h 301"/>
                <a:gd name="T18" fmla="*/ 1 w 270"/>
                <a:gd name="T19" fmla="*/ 142 h 301"/>
                <a:gd name="T20" fmla="*/ 4 w 270"/>
                <a:gd name="T21" fmla="*/ 146 h 301"/>
                <a:gd name="T22" fmla="*/ 10 w 270"/>
                <a:gd name="T23" fmla="*/ 149 h 301"/>
                <a:gd name="T24" fmla="*/ 15 w 270"/>
                <a:gd name="T25" fmla="*/ 150 h 301"/>
                <a:gd name="T26" fmla="*/ 20 w 270"/>
                <a:gd name="T27" fmla="*/ 149 h 301"/>
                <a:gd name="T28" fmla="*/ 26 w 270"/>
                <a:gd name="T29" fmla="*/ 146 h 301"/>
                <a:gd name="T30" fmla="*/ 120 w 270"/>
                <a:gd name="T31" fmla="*/ 285 h 301"/>
                <a:gd name="T32" fmla="*/ 121 w 270"/>
                <a:gd name="T33" fmla="*/ 292 h 301"/>
                <a:gd name="T34" fmla="*/ 124 w 270"/>
                <a:gd name="T35" fmla="*/ 296 h 301"/>
                <a:gd name="T36" fmla="*/ 130 w 270"/>
                <a:gd name="T37" fmla="*/ 300 h 301"/>
                <a:gd name="T38" fmla="*/ 135 w 270"/>
                <a:gd name="T39" fmla="*/ 301 h 301"/>
                <a:gd name="T40" fmla="*/ 141 w 270"/>
                <a:gd name="T41" fmla="*/ 299 h 301"/>
                <a:gd name="T42" fmla="*/ 146 w 270"/>
                <a:gd name="T43" fmla="*/ 296 h 301"/>
                <a:gd name="T44" fmla="*/ 149 w 270"/>
                <a:gd name="T45" fmla="*/ 292 h 301"/>
                <a:gd name="T46" fmla="*/ 150 w 270"/>
                <a:gd name="T47" fmla="*/ 286 h 301"/>
                <a:gd name="T48" fmla="*/ 244 w 270"/>
                <a:gd name="T49" fmla="*/ 146 h 301"/>
                <a:gd name="T50" fmla="*/ 250 w 270"/>
                <a:gd name="T51" fmla="*/ 149 h 301"/>
                <a:gd name="T52" fmla="*/ 255 w 270"/>
                <a:gd name="T53" fmla="*/ 150 h 301"/>
                <a:gd name="T54" fmla="*/ 261 w 270"/>
                <a:gd name="T55" fmla="*/ 149 h 301"/>
                <a:gd name="T56" fmla="*/ 266 w 270"/>
                <a:gd name="T57" fmla="*/ 146 h 301"/>
                <a:gd name="T58" fmla="*/ 269 w 270"/>
                <a:gd name="T59" fmla="*/ 141 h 301"/>
                <a:gd name="T60" fmla="*/ 270 w 270"/>
                <a:gd name="T61" fmla="*/ 135 h 301"/>
                <a:gd name="T62" fmla="*/ 269 w 270"/>
                <a:gd name="T63" fmla="*/ 130 h 301"/>
                <a:gd name="T64" fmla="*/ 266 w 270"/>
                <a:gd name="T6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301">
                  <a:moveTo>
                    <a:pt x="146" y="5"/>
                  </a:moveTo>
                  <a:lnTo>
                    <a:pt x="144" y="3"/>
                  </a:lnTo>
                  <a:lnTo>
                    <a:pt x="140" y="2"/>
                  </a:lnTo>
                  <a:lnTo>
                    <a:pt x="138" y="0"/>
                  </a:lnTo>
                  <a:lnTo>
                    <a:pt x="135" y="0"/>
                  </a:lnTo>
                  <a:lnTo>
                    <a:pt x="135" y="0"/>
                  </a:lnTo>
                  <a:lnTo>
                    <a:pt x="135" y="0"/>
                  </a:lnTo>
                  <a:lnTo>
                    <a:pt x="135" y="0"/>
                  </a:lnTo>
                  <a:lnTo>
                    <a:pt x="135" y="0"/>
                  </a:lnTo>
                  <a:lnTo>
                    <a:pt x="132" y="0"/>
                  </a:lnTo>
                  <a:lnTo>
                    <a:pt x="130" y="2"/>
                  </a:lnTo>
                  <a:lnTo>
                    <a:pt x="126" y="3"/>
                  </a:lnTo>
                  <a:lnTo>
                    <a:pt x="124" y="5"/>
                  </a:lnTo>
                  <a:lnTo>
                    <a:pt x="4" y="125"/>
                  </a:lnTo>
                  <a:lnTo>
                    <a:pt x="2" y="127"/>
                  </a:lnTo>
                  <a:lnTo>
                    <a:pt x="1" y="130"/>
                  </a:lnTo>
                  <a:lnTo>
                    <a:pt x="0" y="133"/>
                  </a:lnTo>
                  <a:lnTo>
                    <a:pt x="0" y="135"/>
                  </a:lnTo>
                  <a:lnTo>
                    <a:pt x="0" y="139"/>
                  </a:lnTo>
                  <a:lnTo>
                    <a:pt x="1" y="142"/>
                  </a:lnTo>
                  <a:lnTo>
                    <a:pt x="2" y="144"/>
                  </a:lnTo>
                  <a:lnTo>
                    <a:pt x="4" y="146"/>
                  </a:lnTo>
                  <a:lnTo>
                    <a:pt x="6" y="148"/>
                  </a:lnTo>
                  <a:lnTo>
                    <a:pt x="10" y="149"/>
                  </a:lnTo>
                  <a:lnTo>
                    <a:pt x="12" y="150"/>
                  </a:lnTo>
                  <a:lnTo>
                    <a:pt x="15" y="150"/>
                  </a:lnTo>
                  <a:lnTo>
                    <a:pt x="18" y="150"/>
                  </a:lnTo>
                  <a:lnTo>
                    <a:pt x="20" y="149"/>
                  </a:lnTo>
                  <a:lnTo>
                    <a:pt x="24" y="148"/>
                  </a:lnTo>
                  <a:lnTo>
                    <a:pt x="26" y="146"/>
                  </a:lnTo>
                  <a:lnTo>
                    <a:pt x="120" y="52"/>
                  </a:lnTo>
                  <a:lnTo>
                    <a:pt x="120" y="285"/>
                  </a:lnTo>
                  <a:lnTo>
                    <a:pt x="120" y="289"/>
                  </a:lnTo>
                  <a:lnTo>
                    <a:pt x="121" y="292"/>
                  </a:lnTo>
                  <a:lnTo>
                    <a:pt x="122" y="294"/>
                  </a:lnTo>
                  <a:lnTo>
                    <a:pt x="124" y="296"/>
                  </a:lnTo>
                  <a:lnTo>
                    <a:pt x="126" y="298"/>
                  </a:lnTo>
                  <a:lnTo>
                    <a:pt x="130" y="300"/>
                  </a:lnTo>
                  <a:lnTo>
                    <a:pt x="132" y="300"/>
                  </a:lnTo>
                  <a:lnTo>
                    <a:pt x="135" y="301"/>
                  </a:lnTo>
                  <a:lnTo>
                    <a:pt x="138" y="300"/>
                  </a:lnTo>
                  <a:lnTo>
                    <a:pt x="141" y="299"/>
                  </a:lnTo>
                  <a:lnTo>
                    <a:pt x="144" y="298"/>
                  </a:lnTo>
                  <a:lnTo>
                    <a:pt x="146" y="296"/>
                  </a:lnTo>
                  <a:lnTo>
                    <a:pt x="148" y="294"/>
                  </a:lnTo>
                  <a:lnTo>
                    <a:pt x="149" y="292"/>
                  </a:lnTo>
                  <a:lnTo>
                    <a:pt x="150" y="289"/>
                  </a:lnTo>
                  <a:lnTo>
                    <a:pt x="150" y="286"/>
                  </a:lnTo>
                  <a:lnTo>
                    <a:pt x="150" y="52"/>
                  </a:lnTo>
                  <a:lnTo>
                    <a:pt x="244" y="146"/>
                  </a:lnTo>
                  <a:lnTo>
                    <a:pt x="247" y="148"/>
                  </a:lnTo>
                  <a:lnTo>
                    <a:pt x="250" y="149"/>
                  </a:lnTo>
                  <a:lnTo>
                    <a:pt x="253" y="150"/>
                  </a:lnTo>
                  <a:lnTo>
                    <a:pt x="255" y="150"/>
                  </a:lnTo>
                  <a:lnTo>
                    <a:pt x="258" y="150"/>
                  </a:lnTo>
                  <a:lnTo>
                    <a:pt x="261" y="149"/>
                  </a:lnTo>
                  <a:lnTo>
                    <a:pt x="264" y="148"/>
                  </a:lnTo>
                  <a:lnTo>
                    <a:pt x="266" y="146"/>
                  </a:lnTo>
                  <a:lnTo>
                    <a:pt x="268" y="144"/>
                  </a:lnTo>
                  <a:lnTo>
                    <a:pt x="269" y="141"/>
                  </a:lnTo>
                  <a:lnTo>
                    <a:pt x="270" y="139"/>
                  </a:lnTo>
                  <a:lnTo>
                    <a:pt x="270" y="135"/>
                  </a:lnTo>
                  <a:lnTo>
                    <a:pt x="270" y="133"/>
                  </a:lnTo>
                  <a:lnTo>
                    <a:pt x="269" y="130"/>
                  </a:lnTo>
                  <a:lnTo>
                    <a:pt x="268" y="128"/>
                  </a:lnTo>
                  <a:lnTo>
                    <a:pt x="266" y="125"/>
                  </a:lnTo>
                  <a:lnTo>
                    <a:pt x="14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212">
              <a:extLst>
                <a:ext uri="{FF2B5EF4-FFF2-40B4-BE49-F238E27FC236}">
                  <a16:creationId xmlns:a16="http://schemas.microsoft.com/office/drawing/2014/main" id="{9878C4C8-C4EC-4B01-9B60-8214F27B0920}"/>
                </a:ext>
              </a:extLst>
            </p:cNvPr>
            <p:cNvSpPr>
              <a:spLocks noEditPoints="1"/>
            </p:cNvSpPr>
            <p:nvPr/>
          </p:nvSpPr>
          <p:spPr bwMode="auto">
            <a:xfrm>
              <a:off x="11133138" y="2032000"/>
              <a:ext cx="180975" cy="180975"/>
            </a:xfrm>
            <a:custGeom>
              <a:avLst/>
              <a:gdLst>
                <a:gd name="T0" fmla="*/ 235 w 572"/>
                <a:gd name="T1" fmla="*/ 536 h 571"/>
                <a:gd name="T2" fmla="*/ 176 w 572"/>
                <a:gd name="T3" fmla="*/ 516 h 571"/>
                <a:gd name="T4" fmla="*/ 123 w 572"/>
                <a:gd name="T5" fmla="*/ 483 h 571"/>
                <a:gd name="T6" fmla="*/ 81 w 572"/>
                <a:gd name="T7" fmla="*/ 439 h 571"/>
                <a:gd name="T8" fmla="*/ 50 w 572"/>
                <a:gd name="T9" fmla="*/ 385 h 571"/>
                <a:gd name="T10" fmla="*/ 33 w 572"/>
                <a:gd name="T11" fmla="*/ 325 h 571"/>
                <a:gd name="T12" fmla="*/ 32 w 572"/>
                <a:gd name="T13" fmla="*/ 260 h 571"/>
                <a:gd name="T14" fmla="*/ 46 w 572"/>
                <a:gd name="T15" fmla="*/ 198 h 571"/>
                <a:gd name="T16" fmla="*/ 74 w 572"/>
                <a:gd name="T17" fmla="*/ 143 h 571"/>
                <a:gd name="T18" fmla="*/ 115 w 572"/>
                <a:gd name="T19" fmla="*/ 97 h 571"/>
                <a:gd name="T20" fmla="*/ 165 w 572"/>
                <a:gd name="T21" fmla="*/ 62 h 571"/>
                <a:gd name="T22" fmla="*/ 223 w 572"/>
                <a:gd name="T23" fmla="*/ 38 h 571"/>
                <a:gd name="T24" fmla="*/ 286 w 572"/>
                <a:gd name="T25" fmla="*/ 30 h 571"/>
                <a:gd name="T26" fmla="*/ 350 w 572"/>
                <a:gd name="T27" fmla="*/ 38 h 571"/>
                <a:gd name="T28" fmla="*/ 408 w 572"/>
                <a:gd name="T29" fmla="*/ 62 h 571"/>
                <a:gd name="T30" fmla="*/ 457 w 572"/>
                <a:gd name="T31" fmla="*/ 97 h 571"/>
                <a:gd name="T32" fmla="*/ 498 w 572"/>
                <a:gd name="T33" fmla="*/ 143 h 571"/>
                <a:gd name="T34" fmla="*/ 526 w 572"/>
                <a:gd name="T35" fmla="*/ 198 h 571"/>
                <a:gd name="T36" fmla="*/ 540 w 572"/>
                <a:gd name="T37" fmla="*/ 260 h 571"/>
                <a:gd name="T38" fmla="*/ 539 w 572"/>
                <a:gd name="T39" fmla="*/ 325 h 571"/>
                <a:gd name="T40" fmla="*/ 522 w 572"/>
                <a:gd name="T41" fmla="*/ 385 h 571"/>
                <a:gd name="T42" fmla="*/ 491 w 572"/>
                <a:gd name="T43" fmla="*/ 439 h 571"/>
                <a:gd name="T44" fmla="*/ 449 w 572"/>
                <a:gd name="T45" fmla="*/ 483 h 571"/>
                <a:gd name="T46" fmla="*/ 396 w 572"/>
                <a:gd name="T47" fmla="*/ 516 h 571"/>
                <a:gd name="T48" fmla="*/ 337 w 572"/>
                <a:gd name="T49" fmla="*/ 536 h 571"/>
                <a:gd name="T50" fmla="*/ 286 w 572"/>
                <a:gd name="T51" fmla="*/ 541 h 571"/>
                <a:gd name="T52" fmla="*/ 228 w 572"/>
                <a:gd name="T53" fmla="*/ 6 h 571"/>
                <a:gd name="T54" fmla="*/ 163 w 572"/>
                <a:gd name="T55" fmla="*/ 28 h 571"/>
                <a:gd name="T56" fmla="*/ 105 w 572"/>
                <a:gd name="T57" fmla="*/ 66 h 571"/>
                <a:gd name="T58" fmla="*/ 57 w 572"/>
                <a:gd name="T59" fmla="*/ 115 h 571"/>
                <a:gd name="T60" fmla="*/ 22 w 572"/>
                <a:gd name="T61" fmla="*/ 175 h 571"/>
                <a:gd name="T62" fmla="*/ 4 w 572"/>
                <a:gd name="T63" fmla="*/ 243 h 571"/>
                <a:gd name="T64" fmla="*/ 2 w 572"/>
                <a:gd name="T65" fmla="*/ 315 h 571"/>
                <a:gd name="T66" fmla="*/ 18 w 572"/>
                <a:gd name="T67" fmla="*/ 384 h 571"/>
                <a:gd name="T68" fmla="*/ 49 w 572"/>
                <a:gd name="T69" fmla="*/ 445 h 571"/>
                <a:gd name="T70" fmla="*/ 94 w 572"/>
                <a:gd name="T71" fmla="*/ 498 h 571"/>
                <a:gd name="T72" fmla="*/ 150 w 572"/>
                <a:gd name="T73" fmla="*/ 537 h 571"/>
                <a:gd name="T74" fmla="*/ 215 w 572"/>
                <a:gd name="T75" fmla="*/ 563 h 571"/>
                <a:gd name="T76" fmla="*/ 286 w 572"/>
                <a:gd name="T77" fmla="*/ 571 h 571"/>
                <a:gd name="T78" fmla="*/ 358 w 572"/>
                <a:gd name="T79" fmla="*/ 563 h 571"/>
                <a:gd name="T80" fmla="*/ 422 w 572"/>
                <a:gd name="T81" fmla="*/ 537 h 571"/>
                <a:gd name="T82" fmla="*/ 478 w 572"/>
                <a:gd name="T83" fmla="*/ 498 h 571"/>
                <a:gd name="T84" fmla="*/ 523 w 572"/>
                <a:gd name="T85" fmla="*/ 445 h 571"/>
                <a:gd name="T86" fmla="*/ 555 w 572"/>
                <a:gd name="T87" fmla="*/ 384 h 571"/>
                <a:gd name="T88" fmla="*/ 570 w 572"/>
                <a:gd name="T89" fmla="*/ 315 h 571"/>
                <a:gd name="T90" fmla="*/ 569 w 572"/>
                <a:gd name="T91" fmla="*/ 243 h 571"/>
                <a:gd name="T92" fmla="*/ 550 w 572"/>
                <a:gd name="T93" fmla="*/ 175 h 571"/>
                <a:gd name="T94" fmla="*/ 515 w 572"/>
                <a:gd name="T95" fmla="*/ 115 h 571"/>
                <a:gd name="T96" fmla="*/ 468 w 572"/>
                <a:gd name="T97" fmla="*/ 66 h 571"/>
                <a:gd name="T98" fmla="*/ 410 w 572"/>
                <a:gd name="T99" fmla="*/ 28 h 571"/>
                <a:gd name="T100" fmla="*/ 344 w 572"/>
                <a:gd name="T101" fmla="*/ 6 h 571"/>
                <a:gd name="T102" fmla="*/ 286 w 572"/>
                <a:gd name="T10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2" h="571">
                  <a:moveTo>
                    <a:pt x="286" y="541"/>
                  </a:moveTo>
                  <a:lnTo>
                    <a:pt x="273" y="540"/>
                  </a:lnTo>
                  <a:lnTo>
                    <a:pt x="260" y="540"/>
                  </a:lnTo>
                  <a:lnTo>
                    <a:pt x="247" y="538"/>
                  </a:lnTo>
                  <a:lnTo>
                    <a:pt x="235" y="536"/>
                  </a:lnTo>
                  <a:lnTo>
                    <a:pt x="223" y="533"/>
                  </a:lnTo>
                  <a:lnTo>
                    <a:pt x="210" y="530"/>
                  </a:lnTo>
                  <a:lnTo>
                    <a:pt x="198" y="525"/>
                  </a:lnTo>
                  <a:lnTo>
                    <a:pt x="186" y="521"/>
                  </a:lnTo>
                  <a:lnTo>
                    <a:pt x="176" y="516"/>
                  </a:lnTo>
                  <a:lnTo>
                    <a:pt x="165" y="510"/>
                  </a:lnTo>
                  <a:lnTo>
                    <a:pt x="154" y="504"/>
                  </a:lnTo>
                  <a:lnTo>
                    <a:pt x="144" y="498"/>
                  </a:lnTo>
                  <a:lnTo>
                    <a:pt x="133" y="490"/>
                  </a:lnTo>
                  <a:lnTo>
                    <a:pt x="123" y="483"/>
                  </a:lnTo>
                  <a:lnTo>
                    <a:pt x="115" y="475"/>
                  </a:lnTo>
                  <a:lnTo>
                    <a:pt x="106" y="466"/>
                  </a:lnTo>
                  <a:lnTo>
                    <a:pt x="97" y="458"/>
                  </a:lnTo>
                  <a:lnTo>
                    <a:pt x="89" y="448"/>
                  </a:lnTo>
                  <a:lnTo>
                    <a:pt x="81" y="439"/>
                  </a:lnTo>
                  <a:lnTo>
                    <a:pt x="74" y="429"/>
                  </a:lnTo>
                  <a:lnTo>
                    <a:pt x="67" y="418"/>
                  </a:lnTo>
                  <a:lnTo>
                    <a:pt x="61" y="408"/>
                  </a:lnTo>
                  <a:lnTo>
                    <a:pt x="56" y="397"/>
                  </a:lnTo>
                  <a:lnTo>
                    <a:pt x="50" y="385"/>
                  </a:lnTo>
                  <a:lnTo>
                    <a:pt x="46" y="373"/>
                  </a:lnTo>
                  <a:lnTo>
                    <a:pt x="42" y="361"/>
                  </a:lnTo>
                  <a:lnTo>
                    <a:pt x="39" y="350"/>
                  </a:lnTo>
                  <a:lnTo>
                    <a:pt x="35" y="337"/>
                  </a:lnTo>
                  <a:lnTo>
                    <a:pt x="33" y="325"/>
                  </a:lnTo>
                  <a:lnTo>
                    <a:pt x="32" y="312"/>
                  </a:lnTo>
                  <a:lnTo>
                    <a:pt x="31" y="299"/>
                  </a:lnTo>
                  <a:lnTo>
                    <a:pt x="31" y="285"/>
                  </a:lnTo>
                  <a:lnTo>
                    <a:pt x="31" y="273"/>
                  </a:lnTo>
                  <a:lnTo>
                    <a:pt x="32" y="260"/>
                  </a:lnTo>
                  <a:lnTo>
                    <a:pt x="33" y="247"/>
                  </a:lnTo>
                  <a:lnTo>
                    <a:pt x="35" y="234"/>
                  </a:lnTo>
                  <a:lnTo>
                    <a:pt x="39" y="222"/>
                  </a:lnTo>
                  <a:lnTo>
                    <a:pt x="42" y="209"/>
                  </a:lnTo>
                  <a:lnTo>
                    <a:pt x="46" y="198"/>
                  </a:lnTo>
                  <a:lnTo>
                    <a:pt x="50" y="187"/>
                  </a:lnTo>
                  <a:lnTo>
                    <a:pt x="56" y="175"/>
                  </a:lnTo>
                  <a:lnTo>
                    <a:pt x="61" y="164"/>
                  </a:lnTo>
                  <a:lnTo>
                    <a:pt x="67" y="154"/>
                  </a:lnTo>
                  <a:lnTo>
                    <a:pt x="74" y="143"/>
                  </a:lnTo>
                  <a:lnTo>
                    <a:pt x="81" y="133"/>
                  </a:lnTo>
                  <a:lnTo>
                    <a:pt x="89" y="124"/>
                  </a:lnTo>
                  <a:lnTo>
                    <a:pt x="97" y="114"/>
                  </a:lnTo>
                  <a:lnTo>
                    <a:pt x="106" y="105"/>
                  </a:lnTo>
                  <a:lnTo>
                    <a:pt x="115" y="97"/>
                  </a:lnTo>
                  <a:lnTo>
                    <a:pt x="123" y="88"/>
                  </a:lnTo>
                  <a:lnTo>
                    <a:pt x="133" y="81"/>
                  </a:lnTo>
                  <a:lnTo>
                    <a:pt x="144" y="74"/>
                  </a:lnTo>
                  <a:lnTo>
                    <a:pt x="154" y="67"/>
                  </a:lnTo>
                  <a:lnTo>
                    <a:pt x="165" y="62"/>
                  </a:lnTo>
                  <a:lnTo>
                    <a:pt x="176" y="55"/>
                  </a:lnTo>
                  <a:lnTo>
                    <a:pt x="186" y="50"/>
                  </a:lnTo>
                  <a:lnTo>
                    <a:pt x="198" y="45"/>
                  </a:lnTo>
                  <a:lnTo>
                    <a:pt x="210" y="41"/>
                  </a:lnTo>
                  <a:lnTo>
                    <a:pt x="223" y="38"/>
                  </a:lnTo>
                  <a:lnTo>
                    <a:pt x="235" y="36"/>
                  </a:lnTo>
                  <a:lnTo>
                    <a:pt x="247" y="33"/>
                  </a:lnTo>
                  <a:lnTo>
                    <a:pt x="260" y="32"/>
                  </a:lnTo>
                  <a:lnTo>
                    <a:pt x="273" y="30"/>
                  </a:lnTo>
                  <a:lnTo>
                    <a:pt x="286" y="30"/>
                  </a:lnTo>
                  <a:lnTo>
                    <a:pt x="299" y="30"/>
                  </a:lnTo>
                  <a:lnTo>
                    <a:pt x="312" y="32"/>
                  </a:lnTo>
                  <a:lnTo>
                    <a:pt x="325" y="33"/>
                  </a:lnTo>
                  <a:lnTo>
                    <a:pt x="337" y="36"/>
                  </a:lnTo>
                  <a:lnTo>
                    <a:pt x="350" y="38"/>
                  </a:lnTo>
                  <a:lnTo>
                    <a:pt x="362" y="41"/>
                  </a:lnTo>
                  <a:lnTo>
                    <a:pt x="374" y="45"/>
                  </a:lnTo>
                  <a:lnTo>
                    <a:pt x="386" y="50"/>
                  </a:lnTo>
                  <a:lnTo>
                    <a:pt x="396" y="55"/>
                  </a:lnTo>
                  <a:lnTo>
                    <a:pt x="408" y="62"/>
                  </a:lnTo>
                  <a:lnTo>
                    <a:pt x="419" y="67"/>
                  </a:lnTo>
                  <a:lnTo>
                    <a:pt x="428" y="74"/>
                  </a:lnTo>
                  <a:lnTo>
                    <a:pt x="439" y="81"/>
                  </a:lnTo>
                  <a:lnTo>
                    <a:pt x="449" y="88"/>
                  </a:lnTo>
                  <a:lnTo>
                    <a:pt x="457" y="97"/>
                  </a:lnTo>
                  <a:lnTo>
                    <a:pt x="467" y="105"/>
                  </a:lnTo>
                  <a:lnTo>
                    <a:pt x="476" y="114"/>
                  </a:lnTo>
                  <a:lnTo>
                    <a:pt x="483" y="124"/>
                  </a:lnTo>
                  <a:lnTo>
                    <a:pt x="491" y="133"/>
                  </a:lnTo>
                  <a:lnTo>
                    <a:pt x="498" y="143"/>
                  </a:lnTo>
                  <a:lnTo>
                    <a:pt x="505" y="154"/>
                  </a:lnTo>
                  <a:lnTo>
                    <a:pt x="511" y="164"/>
                  </a:lnTo>
                  <a:lnTo>
                    <a:pt x="516" y="175"/>
                  </a:lnTo>
                  <a:lnTo>
                    <a:pt x="522" y="187"/>
                  </a:lnTo>
                  <a:lnTo>
                    <a:pt x="526" y="198"/>
                  </a:lnTo>
                  <a:lnTo>
                    <a:pt x="530" y="209"/>
                  </a:lnTo>
                  <a:lnTo>
                    <a:pt x="533" y="222"/>
                  </a:lnTo>
                  <a:lnTo>
                    <a:pt x="537" y="234"/>
                  </a:lnTo>
                  <a:lnTo>
                    <a:pt x="539" y="247"/>
                  </a:lnTo>
                  <a:lnTo>
                    <a:pt x="540" y="260"/>
                  </a:lnTo>
                  <a:lnTo>
                    <a:pt x="541" y="273"/>
                  </a:lnTo>
                  <a:lnTo>
                    <a:pt x="542" y="285"/>
                  </a:lnTo>
                  <a:lnTo>
                    <a:pt x="541" y="299"/>
                  </a:lnTo>
                  <a:lnTo>
                    <a:pt x="540" y="312"/>
                  </a:lnTo>
                  <a:lnTo>
                    <a:pt x="539" y="325"/>
                  </a:lnTo>
                  <a:lnTo>
                    <a:pt x="537" y="337"/>
                  </a:lnTo>
                  <a:lnTo>
                    <a:pt x="533" y="350"/>
                  </a:lnTo>
                  <a:lnTo>
                    <a:pt x="530" y="361"/>
                  </a:lnTo>
                  <a:lnTo>
                    <a:pt x="526" y="373"/>
                  </a:lnTo>
                  <a:lnTo>
                    <a:pt x="522" y="385"/>
                  </a:lnTo>
                  <a:lnTo>
                    <a:pt x="516" y="397"/>
                  </a:lnTo>
                  <a:lnTo>
                    <a:pt x="511" y="408"/>
                  </a:lnTo>
                  <a:lnTo>
                    <a:pt x="505" y="418"/>
                  </a:lnTo>
                  <a:lnTo>
                    <a:pt x="498" y="429"/>
                  </a:lnTo>
                  <a:lnTo>
                    <a:pt x="491" y="439"/>
                  </a:lnTo>
                  <a:lnTo>
                    <a:pt x="483" y="448"/>
                  </a:lnTo>
                  <a:lnTo>
                    <a:pt x="476" y="458"/>
                  </a:lnTo>
                  <a:lnTo>
                    <a:pt x="467" y="466"/>
                  </a:lnTo>
                  <a:lnTo>
                    <a:pt x="457" y="475"/>
                  </a:lnTo>
                  <a:lnTo>
                    <a:pt x="449" y="483"/>
                  </a:lnTo>
                  <a:lnTo>
                    <a:pt x="439" y="490"/>
                  </a:lnTo>
                  <a:lnTo>
                    <a:pt x="428" y="498"/>
                  </a:lnTo>
                  <a:lnTo>
                    <a:pt x="419" y="504"/>
                  </a:lnTo>
                  <a:lnTo>
                    <a:pt x="408" y="510"/>
                  </a:lnTo>
                  <a:lnTo>
                    <a:pt x="396" y="516"/>
                  </a:lnTo>
                  <a:lnTo>
                    <a:pt x="386" y="521"/>
                  </a:lnTo>
                  <a:lnTo>
                    <a:pt x="374" y="525"/>
                  </a:lnTo>
                  <a:lnTo>
                    <a:pt x="362" y="530"/>
                  </a:lnTo>
                  <a:lnTo>
                    <a:pt x="350" y="533"/>
                  </a:lnTo>
                  <a:lnTo>
                    <a:pt x="337" y="536"/>
                  </a:lnTo>
                  <a:lnTo>
                    <a:pt x="325" y="538"/>
                  </a:lnTo>
                  <a:lnTo>
                    <a:pt x="312" y="540"/>
                  </a:lnTo>
                  <a:lnTo>
                    <a:pt x="299" y="541"/>
                  </a:lnTo>
                  <a:lnTo>
                    <a:pt x="286" y="541"/>
                  </a:lnTo>
                  <a:lnTo>
                    <a:pt x="286" y="541"/>
                  </a:lnTo>
                  <a:close/>
                  <a:moveTo>
                    <a:pt x="286" y="0"/>
                  </a:moveTo>
                  <a:lnTo>
                    <a:pt x="271" y="0"/>
                  </a:lnTo>
                  <a:lnTo>
                    <a:pt x="257" y="2"/>
                  </a:lnTo>
                  <a:lnTo>
                    <a:pt x="243" y="4"/>
                  </a:lnTo>
                  <a:lnTo>
                    <a:pt x="228" y="6"/>
                  </a:lnTo>
                  <a:lnTo>
                    <a:pt x="215" y="9"/>
                  </a:lnTo>
                  <a:lnTo>
                    <a:pt x="201" y="13"/>
                  </a:lnTo>
                  <a:lnTo>
                    <a:pt x="189" y="18"/>
                  </a:lnTo>
                  <a:lnTo>
                    <a:pt x="175" y="23"/>
                  </a:lnTo>
                  <a:lnTo>
                    <a:pt x="163" y="28"/>
                  </a:lnTo>
                  <a:lnTo>
                    <a:pt x="150" y="35"/>
                  </a:lnTo>
                  <a:lnTo>
                    <a:pt x="138" y="41"/>
                  </a:lnTo>
                  <a:lnTo>
                    <a:pt x="126" y="49"/>
                  </a:lnTo>
                  <a:lnTo>
                    <a:pt x="116" y="57"/>
                  </a:lnTo>
                  <a:lnTo>
                    <a:pt x="105" y="66"/>
                  </a:lnTo>
                  <a:lnTo>
                    <a:pt x="94" y="74"/>
                  </a:lnTo>
                  <a:lnTo>
                    <a:pt x="85" y="84"/>
                  </a:lnTo>
                  <a:lnTo>
                    <a:pt x="75" y="94"/>
                  </a:lnTo>
                  <a:lnTo>
                    <a:pt x="65" y="104"/>
                  </a:lnTo>
                  <a:lnTo>
                    <a:pt x="57" y="115"/>
                  </a:lnTo>
                  <a:lnTo>
                    <a:pt x="49" y="126"/>
                  </a:lnTo>
                  <a:lnTo>
                    <a:pt x="42" y="138"/>
                  </a:lnTo>
                  <a:lnTo>
                    <a:pt x="35" y="149"/>
                  </a:lnTo>
                  <a:lnTo>
                    <a:pt x="29" y="162"/>
                  </a:lnTo>
                  <a:lnTo>
                    <a:pt x="22" y="175"/>
                  </a:lnTo>
                  <a:lnTo>
                    <a:pt x="18" y="188"/>
                  </a:lnTo>
                  <a:lnTo>
                    <a:pt x="13" y="201"/>
                  </a:lnTo>
                  <a:lnTo>
                    <a:pt x="10" y="215"/>
                  </a:lnTo>
                  <a:lnTo>
                    <a:pt x="6" y="229"/>
                  </a:lnTo>
                  <a:lnTo>
                    <a:pt x="4" y="243"/>
                  </a:lnTo>
                  <a:lnTo>
                    <a:pt x="2" y="257"/>
                  </a:lnTo>
                  <a:lnTo>
                    <a:pt x="1" y="271"/>
                  </a:lnTo>
                  <a:lnTo>
                    <a:pt x="0" y="285"/>
                  </a:lnTo>
                  <a:lnTo>
                    <a:pt x="1" y="300"/>
                  </a:lnTo>
                  <a:lnTo>
                    <a:pt x="2" y="315"/>
                  </a:lnTo>
                  <a:lnTo>
                    <a:pt x="4" y="329"/>
                  </a:lnTo>
                  <a:lnTo>
                    <a:pt x="6" y="343"/>
                  </a:lnTo>
                  <a:lnTo>
                    <a:pt x="10" y="357"/>
                  </a:lnTo>
                  <a:lnTo>
                    <a:pt x="13" y="371"/>
                  </a:lnTo>
                  <a:lnTo>
                    <a:pt x="18" y="384"/>
                  </a:lnTo>
                  <a:lnTo>
                    <a:pt x="22" y="397"/>
                  </a:lnTo>
                  <a:lnTo>
                    <a:pt x="29" y="410"/>
                  </a:lnTo>
                  <a:lnTo>
                    <a:pt x="35" y="421"/>
                  </a:lnTo>
                  <a:lnTo>
                    <a:pt x="42" y="433"/>
                  </a:lnTo>
                  <a:lnTo>
                    <a:pt x="49" y="445"/>
                  </a:lnTo>
                  <a:lnTo>
                    <a:pt x="57" y="457"/>
                  </a:lnTo>
                  <a:lnTo>
                    <a:pt x="65" y="468"/>
                  </a:lnTo>
                  <a:lnTo>
                    <a:pt x="75" y="478"/>
                  </a:lnTo>
                  <a:lnTo>
                    <a:pt x="85" y="488"/>
                  </a:lnTo>
                  <a:lnTo>
                    <a:pt x="94" y="498"/>
                  </a:lnTo>
                  <a:lnTo>
                    <a:pt x="105" y="506"/>
                  </a:lnTo>
                  <a:lnTo>
                    <a:pt x="116" y="515"/>
                  </a:lnTo>
                  <a:lnTo>
                    <a:pt x="126" y="522"/>
                  </a:lnTo>
                  <a:lnTo>
                    <a:pt x="138" y="530"/>
                  </a:lnTo>
                  <a:lnTo>
                    <a:pt x="150" y="537"/>
                  </a:lnTo>
                  <a:lnTo>
                    <a:pt x="163" y="544"/>
                  </a:lnTo>
                  <a:lnTo>
                    <a:pt x="175" y="549"/>
                  </a:lnTo>
                  <a:lnTo>
                    <a:pt x="189" y="554"/>
                  </a:lnTo>
                  <a:lnTo>
                    <a:pt x="201" y="559"/>
                  </a:lnTo>
                  <a:lnTo>
                    <a:pt x="215" y="563"/>
                  </a:lnTo>
                  <a:lnTo>
                    <a:pt x="228" y="566"/>
                  </a:lnTo>
                  <a:lnTo>
                    <a:pt x="243" y="568"/>
                  </a:lnTo>
                  <a:lnTo>
                    <a:pt x="257" y="570"/>
                  </a:lnTo>
                  <a:lnTo>
                    <a:pt x="271" y="571"/>
                  </a:lnTo>
                  <a:lnTo>
                    <a:pt x="286" y="571"/>
                  </a:lnTo>
                  <a:lnTo>
                    <a:pt x="301" y="571"/>
                  </a:lnTo>
                  <a:lnTo>
                    <a:pt x="315" y="570"/>
                  </a:lnTo>
                  <a:lnTo>
                    <a:pt x="330" y="568"/>
                  </a:lnTo>
                  <a:lnTo>
                    <a:pt x="344" y="566"/>
                  </a:lnTo>
                  <a:lnTo>
                    <a:pt x="358" y="563"/>
                  </a:lnTo>
                  <a:lnTo>
                    <a:pt x="371" y="559"/>
                  </a:lnTo>
                  <a:lnTo>
                    <a:pt x="385" y="554"/>
                  </a:lnTo>
                  <a:lnTo>
                    <a:pt x="397" y="549"/>
                  </a:lnTo>
                  <a:lnTo>
                    <a:pt x="410" y="544"/>
                  </a:lnTo>
                  <a:lnTo>
                    <a:pt x="422" y="537"/>
                  </a:lnTo>
                  <a:lnTo>
                    <a:pt x="434" y="530"/>
                  </a:lnTo>
                  <a:lnTo>
                    <a:pt x="446" y="522"/>
                  </a:lnTo>
                  <a:lnTo>
                    <a:pt x="457" y="515"/>
                  </a:lnTo>
                  <a:lnTo>
                    <a:pt x="468" y="506"/>
                  </a:lnTo>
                  <a:lnTo>
                    <a:pt x="478" y="498"/>
                  </a:lnTo>
                  <a:lnTo>
                    <a:pt x="488" y="488"/>
                  </a:lnTo>
                  <a:lnTo>
                    <a:pt x="497" y="478"/>
                  </a:lnTo>
                  <a:lnTo>
                    <a:pt x="507" y="468"/>
                  </a:lnTo>
                  <a:lnTo>
                    <a:pt x="515" y="457"/>
                  </a:lnTo>
                  <a:lnTo>
                    <a:pt x="523" y="445"/>
                  </a:lnTo>
                  <a:lnTo>
                    <a:pt x="530" y="433"/>
                  </a:lnTo>
                  <a:lnTo>
                    <a:pt x="538" y="421"/>
                  </a:lnTo>
                  <a:lnTo>
                    <a:pt x="543" y="410"/>
                  </a:lnTo>
                  <a:lnTo>
                    <a:pt x="550" y="397"/>
                  </a:lnTo>
                  <a:lnTo>
                    <a:pt x="555" y="384"/>
                  </a:lnTo>
                  <a:lnTo>
                    <a:pt x="559" y="371"/>
                  </a:lnTo>
                  <a:lnTo>
                    <a:pt x="562" y="357"/>
                  </a:lnTo>
                  <a:lnTo>
                    <a:pt x="566" y="343"/>
                  </a:lnTo>
                  <a:lnTo>
                    <a:pt x="569" y="329"/>
                  </a:lnTo>
                  <a:lnTo>
                    <a:pt x="570" y="315"/>
                  </a:lnTo>
                  <a:lnTo>
                    <a:pt x="571" y="300"/>
                  </a:lnTo>
                  <a:lnTo>
                    <a:pt x="572" y="285"/>
                  </a:lnTo>
                  <a:lnTo>
                    <a:pt x="571" y="271"/>
                  </a:lnTo>
                  <a:lnTo>
                    <a:pt x="570" y="257"/>
                  </a:lnTo>
                  <a:lnTo>
                    <a:pt x="569" y="243"/>
                  </a:lnTo>
                  <a:lnTo>
                    <a:pt x="566" y="229"/>
                  </a:lnTo>
                  <a:lnTo>
                    <a:pt x="562" y="215"/>
                  </a:lnTo>
                  <a:lnTo>
                    <a:pt x="559" y="201"/>
                  </a:lnTo>
                  <a:lnTo>
                    <a:pt x="555" y="188"/>
                  </a:lnTo>
                  <a:lnTo>
                    <a:pt x="550" y="175"/>
                  </a:lnTo>
                  <a:lnTo>
                    <a:pt x="543" y="162"/>
                  </a:lnTo>
                  <a:lnTo>
                    <a:pt x="538" y="149"/>
                  </a:lnTo>
                  <a:lnTo>
                    <a:pt x="530" y="138"/>
                  </a:lnTo>
                  <a:lnTo>
                    <a:pt x="523" y="126"/>
                  </a:lnTo>
                  <a:lnTo>
                    <a:pt x="515" y="115"/>
                  </a:lnTo>
                  <a:lnTo>
                    <a:pt x="507" y="104"/>
                  </a:lnTo>
                  <a:lnTo>
                    <a:pt x="497" y="94"/>
                  </a:lnTo>
                  <a:lnTo>
                    <a:pt x="488" y="84"/>
                  </a:lnTo>
                  <a:lnTo>
                    <a:pt x="478" y="74"/>
                  </a:lnTo>
                  <a:lnTo>
                    <a:pt x="468" y="66"/>
                  </a:lnTo>
                  <a:lnTo>
                    <a:pt x="457" y="57"/>
                  </a:lnTo>
                  <a:lnTo>
                    <a:pt x="446" y="49"/>
                  </a:lnTo>
                  <a:lnTo>
                    <a:pt x="434" y="41"/>
                  </a:lnTo>
                  <a:lnTo>
                    <a:pt x="422" y="35"/>
                  </a:lnTo>
                  <a:lnTo>
                    <a:pt x="410" y="28"/>
                  </a:lnTo>
                  <a:lnTo>
                    <a:pt x="397" y="23"/>
                  </a:lnTo>
                  <a:lnTo>
                    <a:pt x="385" y="18"/>
                  </a:lnTo>
                  <a:lnTo>
                    <a:pt x="371" y="13"/>
                  </a:lnTo>
                  <a:lnTo>
                    <a:pt x="358" y="9"/>
                  </a:lnTo>
                  <a:lnTo>
                    <a:pt x="344" y="6"/>
                  </a:lnTo>
                  <a:lnTo>
                    <a:pt x="330" y="4"/>
                  </a:lnTo>
                  <a:lnTo>
                    <a:pt x="315" y="2"/>
                  </a:lnTo>
                  <a:lnTo>
                    <a:pt x="301" y="0"/>
                  </a:lnTo>
                  <a:lnTo>
                    <a:pt x="286" y="0"/>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7" name="Group 44">
            <a:extLst>
              <a:ext uri="{FF2B5EF4-FFF2-40B4-BE49-F238E27FC236}">
                <a16:creationId xmlns:a16="http://schemas.microsoft.com/office/drawing/2014/main" id="{249EAA00-FAB0-4D84-96AA-9F57054FD78C}"/>
              </a:ext>
            </a:extLst>
          </p:cNvPr>
          <p:cNvGrpSpPr>
            <a:grpSpLocks noChangeAspect="1"/>
          </p:cNvGrpSpPr>
          <p:nvPr/>
        </p:nvGrpSpPr>
        <p:grpSpPr>
          <a:xfrm>
            <a:off x="5367763" y="5944848"/>
            <a:ext cx="306486" cy="306484"/>
            <a:chOff x="9309100" y="1925638"/>
            <a:chExt cx="287338" cy="287338"/>
          </a:xfrm>
          <a:solidFill>
            <a:schemeClr val="bg2"/>
          </a:solidFill>
          <a:effectLst/>
        </p:grpSpPr>
        <p:sp>
          <p:nvSpPr>
            <p:cNvPr id="688" name="Freeform 99">
              <a:extLst>
                <a:ext uri="{FF2B5EF4-FFF2-40B4-BE49-F238E27FC236}">
                  <a16:creationId xmlns:a16="http://schemas.microsoft.com/office/drawing/2014/main" id="{49D638CB-3313-4DD9-866D-6D46430FFCBC}"/>
                </a:ext>
              </a:extLst>
            </p:cNvPr>
            <p:cNvSpPr>
              <a:spLocks noEditPoints="1"/>
            </p:cNvSpPr>
            <p:nvPr/>
          </p:nvSpPr>
          <p:spPr bwMode="auto">
            <a:xfrm>
              <a:off x="9309100" y="1925638"/>
              <a:ext cx="287338" cy="287338"/>
            </a:xfrm>
            <a:custGeom>
              <a:avLst/>
              <a:gdLst>
                <a:gd name="T0" fmla="*/ 872 w 902"/>
                <a:gd name="T1" fmla="*/ 872 h 902"/>
                <a:gd name="T2" fmla="*/ 30 w 902"/>
                <a:gd name="T3" fmla="*/ 872 h 902"/>
                <a:gd name="T4" fmla="*/ 30 w 902"/>
                <a:gd name="T5" fmla="*/ 300 h 902"/>
                <a:gd name="T6" fmla="*/ 872 w 902"/>
                <a:gd name="T7" fmla="*/ 300 h 902"/>
                <a:gd name="T8" fmla="*/ 872 w 902"/>
                <a:gd name="T9" fmla="*/ 872 h 902"/>
                <a:gd name="T10" fmla="*/ 219 w 902"/>
                <a:gd name="T11" fmla="*/ 30 h 902"/>
                <a:gd name="T12" fmla="*/ 451 w 902"/>
                <a:gd name="T13" fmla="*/ 30 h 902"/>
                <a:gd name="T14" fmla="*/ 451 w 902"/>
                <a:gd name="T15" fmla="*/ 270 h 902"/>
                <a:gd name="T16" fmla="*/ 45 w 902"/>
                <a:gd name="T17" fmla="*/ 270 h 902"/>
                <a:gd name="T18" fmla="*/ 219 w 902"/>
                <a:gd name="T19" fmla="*/ 30 h 902"/>
                <a:gd name="T20" fmla="*/ 858 w 902"/>
                <a:gd name="T21" fmla="*/ 270 h 902"/>
                <a:gd name="T22" fmla="*/ 481 w 902"/>
                <a:gd name="T23" fmla="*/ 270 h 902"/>
                <a:gd name="T24" fmla="*/ 481 w 902"/>
                <a:gd name="T25" fmla="*/ 30 h 902"/>
                <a:gd name="T26" fmla="*/ 685 w 902"/>
                <a:gd name="T27" fmla="*/ 30 h 902"/>
                <a:gd name="T28" fmla="*/ 858 w 902"/>
                <a:gd name="T29" fmla="*/ 270 h 902"/>
                <a:gd name="T30" fmla="*/ 902 w 902"/>
                <a:gd name="T31" fmla="*/ 285 h 902"/>
                <a:gd name="T32" fmla="*/ 902 w 902"/>
                <a:gd name="T33" fmla="*/ 283 h 902"/>
                <a:gd name="T34" fmla="*/ 901 w 902"/>
                <a:gd name="T35" fmla="*/ 280 h 902"/>
                <a:gd name="T36" fmla="*/ 900 w 902"/>
                <a:gd name="T37" fmla="*/ 278 h 902"/>
                <a:gd name="T38" fmla="*/ 898 w 902"/>
                <a:gd name="T39" fmla="*/ 275 h 902"/>
                <a:gd name="T40" fmla="*/ 704 w 902"/>
                <a:gd name="T41" fmla="*/ 7 h 902"/>
                <a:gd name="T42" fmla="*/ 702 w 902"/>
                <a:gd name="T43" fmla="*/ 4 h 902"/>
                <a:gd name="T44" fmla="*/ 698 w 902"/>
                <a:gd name="T45" fmla="*/ 2 h 902"/>
                <a:gd name="T46" fmla="*/ 695 w 902"/>
                <a:gd name="T47" fmla="*/ 0 h 902"/>
                <a:gd name="T48" fmla="*/ 692 w 902"/>
                <a:gd name="T49" fmla="*/ 0 h 902"/>
                <a:gd name="T50" fmla="*/ 211 w 902"/>
                <a:gd name="T51" fmla="*/ 0 h 902"/>
                <a:gd name="T52" fmla="*/ 207 w 902"/>
                <a:gd name="T53" fmla="*/ 0 h 902"/>
                <a:gd name="T54" fmla="*/ 204 w 902"/>
                <a:gd name="T55" fmla="*/ 2 h 902"/>
                <a:gd name="T56" fmla="*/ 200 w 902"/>
                <a:gd name="T57" fmla="*/ 4 h 902"/>
                <a:gd name="T58" fmla="*/ 198 w 902"/>
                <a:gd name="T59" fmla="*/ 7 h 902"/>
                <a:gd name="T60" fmla="*/ 3 w 902"/>
                <a:gd name="T61" fmla="*/ 277 h 902"/>
                <a:gd name="T62" fmla="*/ 2 w 902"/>
                <a:gd name="T63" fmla="*/ 278 h 902"/>
                <a:gd name="T64" fmla="*/ 2 w 902"/>
                <a:gd name="T65" fmla="*/ 279 h 902"/>
                <a:gd name="T66" fmla="*/ 1 w 902"/>
                <a:gd name="T67" fmla="*/ 280 h 902"/>
                <a:gd name="T68" fmla="*/ 1 w 902"/>
                <a:gd name="T69" fmla="*/ 280 h 902"/>
                <a:gd name="T70" fmla="*/ 0 w 902"/>
                <a:gd name="T71" fmla="*/ 283 h 902"/>
                <a:gd name="T72" fmla="*/ 0 w 902"/>
                <a:gd name="T73" fmla="*/ 285 h 902"/>
                <a:gd name="T74" fmla="*/ 0 w 902"/>
                <a:gd name="T75" fmla="*/ 285 h 902"/>
                <a:gd name="T76" fmla="*/ 0 w 902"/>
                <a:gd name="T77" fmla="*/ 286 h 902"/>
                <a:gd name="T78" fmla="*/ 0 w 902"/>
                <a:gd name="T79" fmla="*/ 887 h 902"/>
                <a:gd name="T80" fmla="*/ 0 w 902"/>
                <a:gd name="T81" fmla="*/ 891 h 902"/>
                <a:gd name="T82" fmla="*/ 1 w 902"/>
                <a:gd name="T83" fmla="*/ 893 h 902"/>
                <a:gd name="T84" fmla="*/ 2 w 902"/>
                <a:gd name="T85" fmla="*/ 896 h 902"/>
                <a:gd name="T86" fmla="*/ 4 w 902"/>
                <a:gd name="T87" fmla="*/ 898 h 902"/>
                <a:gd name="T88" fmla="*/ 6 w 902"/>
                <a:gd name="T89" fmla="*/ 900 h 902"/>
                <a:gd name="T90" fmla="*/ 10 w 902"/>
                <a:gd name="T91" fmla="*/ 901 h 902"/>
                <a:gd name="T92" fmla="*/ 12 w 902"/>
                <a:gd name="T93" fmla="*/ 902 h 902"/>
                <a:gd name="T94" fmla="*/ 15 w 902"/>
                <a:gd name="T95" fmla="*/ 902 h 902"/>
                <a:gd name="T96" fmla="*/ 887 w 902"/>
                <a:gd name="T97" fmla="*/ 902 h 902"/>
                <a:gd name="T98" fmla="*/ 890 w 902"/>
                <a:gd name="T99" fmla="*/ 902 h 902"/>
                <a:gd name="T100" fmla="*/ 893 w 902"/>
                <a:gd name="T101" fmla="*/ 901 h 902"/>
                <a:gd name="T102" fmla="*/ 896 w 902"/>
                <a:gd name="T103" fmla="*/ 900 h 902"/>
                <a:gd name="T104" fmla="*/ 898 w 902"/>
                <a:gd name="T105" fmla="*/ 898 h 902"/>
                <a:gd name="T106" fmla="*/ 900 w 902"/>
                <a:gd name="T107" fmla="*/ 896 h 902"/>
                <a:gd name="T108" fmla="*/ 901 w 902"/>
                <a:gd name="T109" fmla="*/ 893 h 902"/>
                <a:gd name="T110" fmla="*/ 902 w 902"/>
                <a:gd name="T111" fmla="*/ 891 h 902"/>
                <a:gd name="T112" fmla="*/ 902 w 902"/>
                <a:gd name="T113" fmla="*/ 887 h 902"/>
                <a:gd name="T114" fmla="*/ 902 w 902"/>
                <a:gd name="T115" fmla="*/ 288 h 902"/>
                <a:gd name="T116" fmla="*/ 902 w 902"/>
                <a:gd name="T117" fmla="*/ 286 h 902"/>
                <a:gd name="T118" fmla="*/ 902 w 902"/>
                <a:gd name="T119" fmla="*/ 28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872" y="872"/>
                  </a:moveTo>
                  <a:lnTo>
                    <a:pt x="30" y="872"/>
                  </a:lnTo>
                  <a:lnTo>
                    <a:pt x="30" y="300"/>
                  </a:lnTo>
                  <a:lnTo>
                    <a:pt x="872" y="300"/>
                  </a:lnTo>
                  <a:lnTo>
                    <a:pt x="872" y="872"/>
                  </a:lnTo>
                  <a:close/>
                  <a:moveTo>
                    <a:pt x="219" y="30"/>
                  </a:moveTo>
                  <a:lnTo>
                    <a:pt x="451" y="30"/>
                  </a:lnTo>
                  <a:lnTo>
                    <a:pt x="451" y="270"/>
                  </a:lnTo>
                  <a:lnTo>
                    <a:pt x="45" y="270"/>
                  </a:lnTo>
                  <a:lnTo>
                    <a:pt x="219" y="30"/>
                  </a:lnTo>
                  <a:close/>
                  <a:moveTo>
                    <a:pt x="858" y="270"/>
                  </a:moveTo>
                  <a:lnTo>
                    <a:pt x="481" y="270"/>
                  </a:lnTo>
                  <a:lnTo>
                    <a:pt x="481" y="30"/>
                  </a:lnTo>
                  <a:lnTo>
                    <a:pt x="685" y="30"/>
                  </a:lnTo>
                  <a:lnTo>
                    <a:pt x="858" y="270"/>
                  </a:lnTo>
                  <a:close/>
                  <a:moveTo>
                    <a:pt x="902" y="285"/>
                  </a:moveTo>
                  <a:lnTo>
                    <a:pt x="902" y="283"/>
                  </a:lnTo>
                  <a:lnTo>
                    <a:pt x="901" y="280"/>
                  </a:lnTo>
                  <a:lnTo>
                    <a:pt x="900" y="278"/>
                  </a:lnTo>
                  <a:lnTo>
                    <a:pt x="898" y="275"/>
                  </a:lnTo>
                  <a:lnTo>
                    <a:pt x="704" y="7"/>
                  </a:lnTo>
                  <a:lnTo>
                    <a:pt x="702" y="4"/>
                  </a:lnTo>
                  <a:lnTo>
                    <a:pt x="698" y="2"/>
                  </a:lnTo>
                  <a:lnTo>
                    <a:pt x="695" y="0"/>
                  </a:lnTo>
                  <a:lnTo>
                    <a:pt x="692" y="0"/>
                  </a:lnTo>
                  <a:lnTo>
                    <a:pt x="211" y="0"/>
                  </a:lnTo>
                  <a:lnTo>
                    <a:pt x="207" y="0"/>
                  </a:lnTo>
                  <a:lnTo>
                    <a:pt x="204" y="2"/>
                  </a:lnTo>
                  <a:lnTo>
                    <a:pt x="200" y="4"/>
                  </a:lnTo>
                  <a:lnTo>
                    <a:pt x="198" y="7"/>
                  </a:lnTo>
                  <a:lnTo>
                    <a:pt x="3" y="277"/>
                  </a:lnTo>
                  <a:lnTo>
                    <a:pt x="2" y="278"/>
                  </a:lnTo>
                  <a:lnTo>
                    <a:pt x="2" y="279"/>
                  </a:lnTo>
                  <a:lnTo>
                    <a:pt x="1" y="280"/>
                  </a:lnTo>
                  <a:lnTo>
                    <a:pt x="1" y="280"/>
                  </a:lnTo>
                  <a:lnTo>
                    <a:pt x="0" y="283"/>
                  </a:lnTo>
                  <a:lnTo>
                    <a:pt x="0" y="285"/>
                  </a:lnTo>
                  <a:lnTo>
                    <a:pt x="0" y="285"/>
                  </a:lnTo>
                  <a:lnTo>
                    <a:pt x="0" y="286"/>
                  </a:lnTo>
                  <a:lnTo>
                    <a:pt x="0" y="887"/>
                  </a:lnTo>
                  <a:lnTo>
                    <a:pt x="0" y="891"/>
                  </a:lnTo>
                  <a:lnTo>
                    <a:pt x="1" y="893"/>
                  </a:lnTo>
                  <a:lnTo>
                    <a:pt x="2"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288"/>
                  </a:lnTo>
                  <a:lnTo>
                    <a:pt x="902" y="286"/>
                  </a:lnTo>
                  <a:lnTo>
                    <a:pt x="902"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00">
              <a:extLst>
                <a:ext uri="{FF2B5EF4-FFF2-40B4-BE49-F238E27FC236}">
                  <a16:creationId xmlns:a16="http://schemas.microsoft.com/office/drawing/2014/main" id="{E8A815F9-FBBC-44F0-9D55-B7FF1400E51D}"/>
                </a:ext>
              </a:extLst>
            </p:cNvPr>
            <p:cNvSpPr>
              <a:spLocks noEditPoints="1"/>
            </p:cNvSpPr>
            <p:nvPr/>
          </p:nvSpPr>
          <p:spPr bwMode="auto">
            <a:xfrm>
              <a:off x="9461500" y="2136775"/>
              <a:ext cx="106363" cy="47625"/>
            </a:xfrm>
            <a:custGeom>
              <a:avLst/>
              <a:gdLst>
                <a:gd name="T0" fmla="*/ 30 w 331"/>
                <a:gd name="T1" fmla="*/ 30 h 151"/>
                <a:gd name="T2" fmla="*/ 301 w 331"/>
                <a:gd name="T3" fmla="*/ 30 h 151"/>
                <a:gd name="T4" fmla="*/ 301 w 331"/>
                <a:gd name="T5" fmla="*/ 121 h 151"/>
                <a:gd name="T6" fmla="*/ 30 w 331"/>
                <a:gd name="T7" fmla="*/ 121 h 151"/>
                <a:gd name="T8" fmla="*/ 30 w 331"/>
                <a:gd name="T9" fmla="*/ 30 h 151"/>
                <a:gd name="T10" fmla="*/ 15 w 331"/>
                <a:gd name="T11" fmla="*/ 151 h 151"/>
                <a:gd name="T12" fmla="*/ 316 w 331"/>
                <a:gd name="T13" fmla="*/ 151 h 151"/>
                <a:gd name="T14" fmla="*/ 319 w 331"/>
                <a:gd name="T15" fmla="*/ 150 h 151"/>
                <a:gd name="T16" fmla="*/ 321 w 331"/>
                <a:gd name="T17" fmla="*/ 150 h 151"/>
                <a:gd name="T18" fmla="*/ 325 w 331"/>
                <a:gd name="T19" fmla="*/ 148 h 151"/>
                <a:gd name="T20" fmla="*/ 327 w 331"/>
                <a:gd name="T21" fmla="*/ 147 h 151"/>
                <a:gd name="T22" fmla="*/ 329 w 331"/>
                <a:gd name="T23" fmla="*/ 145 h 151"/>
                <a:gd name="T24" fmla="*/ 330 w 331"/>
                <a:gd name="T25" fmla="*/ 142 h 151"/>
                <a:gd name="T26" fmla="*/ 331 w 331"/>
                <a:gd name="T27" fmla="*/ 140 h 151"/>
                <a:gd name="T28" fmla="*/ 331 w 331"/>
                <a:gd name="T29" fmla="*/ 136 h 151"/>
                <a:gd name="T30" fmla="*/ 331 w 331"/>
                <a:gd name="T31" fmla="*/ 15 h 151"/>
                <a:gd name="T32" fmla="*/ 331 w 331"/>
                <a:gd name="T33" fmla="*/ 13 h 151"/>
                <a:gd name="T34" fmla="*/ 330 w 331"/>
                <a:gd name="T35" fmla="*/ 10 h 151"/>
                <a:gd name="T36" fmla="*/ 329 w 331"/>
                <a:gd name="T37" fmla="*/ 8 h 151"/>
                <a:gd name="T38" fmla="*/ 327 w 331"/>
                <a:gd name="T39" fmla="*/ 6 h 151"/>
                <a:gd name="T40" fmla="*/ 325 w 331"/>
                <a:gd name="T41" fmla="*/ 4 h 151"/>
                <a:gd name="T42" fmla="*/ 321 w 331"/>
                <a:gd name="T43" fmla="*/ 3 h 151"/>
                <a:gd name="T44" fmla="*/ 319 w 331"/>
                <a:gd name="T45" fmla="*/ 1 h 151"/>
                <a:gd name="T46" fmla="*/ 316 w 331"/>
                <a:gd name="T47" fmla="*/ 0 h 151"/>
                <a:gd name="T48" fmla="*/ 15 w 331"/>
                <a:gd name="T49" fmla="*/ 0 h 151"/>
                <a:gd name="T50" fmla="*/ 12 w 331"/>
                <a:gd name="T51" fmla="*/ 1 h 151"/>
                <a:gd name="T52" fmla="*/ 10 w 331"/>
                <a:gd name="T53" fmla="*/ 1 h 151"/>
                <a:gd name="T54" fmla="*/ 6 w 331"/>
                <a:gd name="T55" fmla="*/ 4 h 151"/>
                <a:gd name="T56" fmla="*/ 4 w 331"/>
                <a:gd name="T57" fmla="*/ 6 h 151"/>
                <a:gd name="T58" fmla="*/ 3 w 331"/>
                <a:gd name="T59" fmla="*/ 8 h 151"/>
                <a:gd name="T60" fmla="*/ 1 w 331"/>
                <a:gd name="T61" fmla="*/ 10 h 151"/>
                <a:gd name="T62" fmla="*/ 0 w 331"/>
                <a:gd name="T63" fmla="*/ 13 h 151"/>
                <a:gd name="T64" fmla="*/ 0 w 331"/>
                <a:gd name="T65" fmla="*/ 15 h 151"/>
                <a:gd name="T66" fmla="*/ 0 w 331"/>
                <a:gd name="T67" fmla="*/ 136 h 151"/>
                <a:gd name="T68" fmla="*/ 0 w 331"/>
                <a:gd name="T69" fmla="*/ 140 h 151"/>
                <a:gd name="T70" fmla="*/ 1 w 331"/>
                <a:gd name="T71" fmla="*/ 142 h 151"/>
                <a:gd name="T72" fmla="*/ 3 w 331"/>
                <a:gd name="T73" fmla="*/ 145 h 151"/>
                <a:gd name="T74" fmla="*/ 4 w 331"/>
                <a:gd name="T75" fmla="*/ 147 h 151"/>
                <a:gd name="T76" fmla="*/ 6 w 331"/>
                <a:gd name="T77" fmla="*/ 148 h 151"/>
                <a:gd name="T78" fmla="*/ 10 w 331"/>
                <a:gd name="T79" fmla="*/ 150 h 151"/>
                <a:gd name="T80" fmla="*/ 12 w 331"/>
                <a:gd name="T81" fmla="*/ 150 h 151"/>
                <a:gd name="T82" fmla="*/ 15 w 331"/>
                <a:gd name="T8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1" h="151">
                  <a:moveTo>
                    <a:pt x="30" y="30"/>
                  </a:moveTo>
                  <a:lnTo>
                    <a:pt x="301" y="30"/>
                  </a:lnTo>
                  <a:lnTo>
                    <a:pt x="301" y="121"/>
                  </a:lnTo>
                  <a:lnTo>
                    <a:pt x="30" y="121"/>
                  </a:lnTo>
                  <a:lnTo>
                    <a:pt x="30" y="30"/>
                  </a:lnTo>
                  <a:close/>
                  <a:moveTo>
                    <a:pt x="15" y="151"/>
                  </a:moveTo>
                  <a:lnTo>
                    <a:pt x="316" y="151"/>
                  </a:lnTo>
                  <a:lnTo>
                    <a:pt x="319" y="150"/>
                  </a:lnTo>
                  <a:lnTo>
                    <a:pt x="321" y="150"/>
                  </a:lnTo>
                  <a:lnTo>
                    <a:pt x="325" y="148"/>
                  </a:lnTo>
                  <a:lnTo>
                    <a:pt x="327" y="147"/>
                  </a:lnTo>
                  <a:lnTo>
                    <a:pt x="329" y="145"/>
                  </a:lnTo>
                  <a:lnTo>
                    <a:pt x="330" y="142"/>
                  </a:lnTo>
                  <a:lnTo>
                    <a:pt x="331" y="140"/>
                  </a:lnTo>
                  <a:lnTo>
                    <a:pt x="331" y="136"/>
                  </a:lnTo>
                  <a:lnTo>
                    <a:pt x="331" y="15"/>
                  </a:lnTo>
                  <a:lnTo>
                    <a:pt x="331" y="13"/>
                  </a:lnTo>
                  <a:lnTo>
                    <a:pt x="330" y="10"/>
                  </a:lnTo>
                  <a:lnTo>
                    <a:pt x="329" y="8"/>
                  </a:lnTo>
                  <a:lnTo>
                    <a:pt x="327" y="6"/>
                  </a:lnTo>
                  <a:lnTo>
                    <a:pt x="325" y="4"/>
                  </a:lnTo>
                  <a:lnTo>
                    <a:pt x="321" y="3"/>
                  </a:lnTo>
                  <a:lnTo>
                    <a:pt x="319" y="1"/>
                  </a:lnTo>
                  <a:lnTo>
                    <a:pt x="316" y="0"/>
                  </a:lnTo>
                  <a:lnTo>
                    <a:pt x="15" y="0"/>
                  </a:lnTo>
                  <a:lnTo>
                    <a:pt x="12" y="1"/>
                  </a:lnTo>
                  <a:lnTo>
                    <a:pt x="10" y="1"/>
                  </a:lnTo>
                  <a:lnTo>
                    <a:pt x="6" y="4"/>
                  </a:lnTo>
                  <a:lnTo>
                    <a:pt x="4" y="6"/>
                  </a:lnTo>
                  <a:lnTo>
                    <a:pt x="3" y="8"/>
                  </a:lnTo>
                  <a:lnTo>
                    <a:pt x="1" y="10"/>
                  </a:lnTo>
                  <a:lnTo>
                    <a:pt x="0" y="13"/>
                  </a:lnTo>
                  <a:lnTo>
                    <a:pt x="0" y="15"/>
                  </a:lnTo>
                  <a:lnTo>
                    <a:pt x="0" y="136"/>
                  </a:lnTo>
                  <a:lnTo>
                    <a:pt x="0" y="140"/>
                  </a:lnTo>
                  <a:lnTo>
                    <a:pt x="1" y="142"/>
                  </a:lnTo>
                  <a:lnTo>
                    <a:pt x="3" y="145"/>
                  </a:lnTo>
                  <a:lnTo>
                    <a:pt x="4" y="147"/>
                  </a:lnTo>
                  <a:lnTo>
                    <a:pt x="6" y="148"/>
                  </a:lnTo>
                  <a:lnTo>
                    <a:pt x="10" y="150"/>
                  </a:lnTo>
                  <a:lnTo>
                    <a:pt x="12" y="150"/>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0" name="Group 55">
            <a:extLst>
              <a:ext uri="{FF2B5EF4-FFF2-40B4-BE49-F238E27FC236}">
                <a16:creationId xmlns:a16="http://schemas.microsoft.com/office/drawing/2014/main" id="{2138BA3B-FF7F-4B58-AE4B-295F9D390281}"/>
              </a:ext>
            </a:extLst>
          </p:cNvPr>
          <p:cNvGrpSpPr>
            <a:grpSpLocks noChangeAspect="1"/>
          </p:cNvGrpSpPr>
          <p:nvPr/>
        </p:nvGrpSpPr>
        <p:grpSpPr>
          <a:xfrm>
            <a:off x="5778939" y="5944848"/>
            <a:ext cx="311649" cy="306484"/>
            <a:chOff x="2598738" y="1349375"/>
            <a:chExt cx="287338" cy="282576"/>
          </a:xfrm>
          <a:solidFill>
            <a:schemeClr val="bg2"/>
          </a:solidFill>
          <a:effectLst/>
        </p:grpSpPr>
        <p:sp>
          <p:nvSpPr>
            <p:cNvPr id="691" name="Freeform 101">
              <a:extLst>
                <a:ext uri="{FF2B5EF4-FFF2-40B4-BE49-F238E27FC236}">
                  <a16:creationId xmlns:a16="http://schemas.microsoft.com/office/drawing/2014/main" id="{1CE7E0BE-67BE-4F23-A81C-EBD793F9349D}"/>
                </a:ext>
              </a:extLst>
            </p:cNvPr>
            <p:cNvSpPr>
              <a:spLocks noEditPoints="1"/>
            </p:cNvSpPr>
            <p:nvPr/>
          </p:nvSpPr>
          <p:spPr bwMode="auto">
            <a:xfrm>
              <a:off x="2598738" y="1468438"/>
              <a:ext cx="287338" cy="163513"/>
            </a:xfrm>
            <a:custGeom>
              <a:avLst/>
              <a:gdLst>
                <a:gd name="T0" fmla="*/ 30 w 903"/>
                <a:gd name="T1" fmla="*/ 271 h 511"/>
                <a:gd name="T2" fmla="*/ 302 w 903"/>
                <a:gd name="T3" fmla="*/ 291 h 511"/>
                <a:gd name="T4" fmla="*/ 308 w 903"/>
                <a:gd name="T5" fmla="*/ 313 h 511"/>
                <a:gd name="T6" fmla="*/ 320 w 903"/>
                <a:gd name="T7" fmla="*/ 332 h 511"/>
                <a:gd name="T8" fmla="*/ 336 w 903"/>
                <a:gd name="T9" fmla="*/ 347 h 511"/>
                <a:gd name="T10" fmla="*/ 355 w 903"/>
                <a:gd name="T11" fmla="*/ 358 h 511"/>
                <a:gd name="T12" fmla="*/ 377 w 903"/>
                <a:gd name="T13" fmla="*/ 361 h 511"/>
                <a:gd name="T14" fmla="*/ 556 w 903"/>
                <a:gd name="T15" fmla="*/ 360 h 511"/>
                <a:gd name="T16" fmla="*/ 578 w 903"/>
                <a:gd name="T17" fmla="*/ 353 h 511"/>
                <a:gd name="T18" fmla="*/ 601 w 903"/>
                <a:gd name="T19" fmla="*/ 339 h 511"/>
                <a:gd name="T20" fmla="*/ 619 w 903"/>
                <a:gd name="T21" fmla="*/ 321 h 511"/>
                <a:gd name="T22" fmla="*/ 630 w 903"/>
                <a:gd name="T23" fmla="*/ 301 h 511"/>
                <a:gd name="T24" fmla="*/ 632 w 903"/>
                <a:gd name="T25" fmla="*/ 271 h 511"/>
                <a:gd name="T26" fmla="*/ 902 w 903"/>
                <a:gd name="T27" fmla="*/ 252 h 511"/>
                <a:gd name="T28" fmla="*/ 901 w 903"/>
                <a:gd name="T29" fmla="*/ 249 h 511"/>
                <a:gd name="T30" fmla="*/ 764 w 903"/>
                <a:gd name="T31" fmla="*/ 4 h 511"/>
                <a:gd name="T32" fmla="*/ 753 w 903"/>
                <a:gd name="T33" fmla="*/ 0 h 511"/>
                <a:gd name="T34" fmla="*/ 537 w 903"/>
                <a:gd name="T35" fmla="*/ 1 h 511"/>
                <a:gd name="T36" fmla="*/ 530 w 903"/>
                <a:gd name="T37" fmla="*/ 6 h 511"/>
                <a:gd name="T38" fmla="*/ 527 w 903"/>
                <a:gd name="T39" fmla="*/ 15 h 511"/>
                <a:gd name="T40" fmla="*/ 530 w 903"/>
                <a:gd name="T41" fmla="*/ 23 h 511"/>
                <a:gd name="T42" fmla="*/ 537 w 903"/>
                <a:gd name="T43" fmla="*/ 29 h 511"/>
                <a:gd name="T44" fmla="*/ 743 w 903"/>
                <a:gd name="T45" fmla="*/ 30 h 511"/>
                <a:gd name="T46" fmla="*/ 615 w 903"/>
                <a:gd name="T47" fmla="*/ 241 h 511"/>
                <a:gd name="T48" fmla="*/ 606 w 903"/>
                <a:gd name="T49" fmla="*/ 245 h 511"/>
                <a:gd name="T50" fmla="*/ 603 w 903"/>
                <a:gd name="T51" fmla="*/ 253 h 511"/>
                <a:gd name="T52" fmla="*/ 602 w 903"/>
                <a:gd name="T53" fmla="*/ 289 h 511"/>
                <a:gd name="T54" fmla="*/ 597 w 903"/>
                <a:gd name="T55" fmla="*/ 301 h 511"/>
                <a:gd name="T56" fmla="*/ 571 w 903"/>
                <a:gd name="T57" fmla="*/ 323 h 511"/>
                <a:gd name="T58" fmla="*/ 542 w 903"/>
                <a:gd name="T59" fmla="*/ 331 h 511"/>
                <a:gd name="T60" fmla="*/ 360 w 903"/>
                <a:gd name="T61" fmla="*/ 327 h 511"/>
                <a:gd name="T62" fmla="*/ 340 w 903"/>
                <a:gd name="T63" fmla="*/ 310 h 511"/>
                <a:gd name="T64" fmla="*/ 332 w 903"/>
                <a:gd name="T65" fmla="*/ 284 h 511"/>
                <a:gd name="T66" fmla="*/ 331 w 903"/>
                <a:gd name="T67" fmla="*/ 250 h 511"/>
                <a:gd name="T68" fmla="*/ 325 w 903"/>
                <a:gd name="T69" fmla="*/ 243 h 511"/>
                <a:gd name="T70" fmla="*/ 317 w 903"/>
                <a:gd name="T71" fmla="*/ 241 h 511"/>
                <a:gd name="T72" fmla="*/ 242 w 903"/>
                <a:gd name="T73" fmla="*/ 30 h 511"/>
                <a:gd name="T74" fmla="*/ 249 w 903"/>
                <a:gd name="T75" fmla="*/ 28 h 511"/>
                <a:gd name="T76" fmla="*/ 255 w 903"/>
                <a:gd name="T77" fmla="*/ 21 h 511"/>
                <a:gd name="T78" fmla="*/ 256 w 903"/>
                <a:gd name="T79" fmla="*/ 12 h 511"/>
                <a:gd name="T80" fmla="*/ 251 w 903"/>
                <a:gd name="T81" fmla="*/ 4 h 511"/>
                <a:gd name="T82" fmla="*/ 244 w 903"/>
                <a:gd name="T83" fmla="*/ 1 h 511"/>
                <a:gd name="T84" fmla="*/ 147 w 903"/>
                <a:gd name="T85" fmla="*/ 1 h 511"/>
                <a:gd name="T86" fmla="*/ 138 w 903"/>
                <a:gd name="T87" fmla="*/ 7 h 511"/>
                <a:gd name="T88" fmla="*/ 3 w 903"/>
                <a:gd name="T89" fmla="*/ 250 h 511"/>
                <a:gd name="T90" fmla="*/ 0 w 903"/>
                <a:gd name="T91" fmla="*/ 254 h 511"/>
                <a:gd name="T92" fmla="*/ 0 w 903"/>
                <a:gd name="T93" fmla="*/ 256 h 511"/>
                <a:gd name="T94" fmla="*/ 2 w 903"/>
                <a:gd name="T95" fmla="*/ 502 h 511"/>
                <a:gd name="T96" fmla="*/ 7 w 903"/>
                <a:gd name="T97" fmla="*/ 508 h 511"/>
                <a:gd name="T98" fmla="*/ 15 w 903"/>
                <a:gd name="T99" fmla="*/ 511 h 511"/>
                <a:gd name="T100" fmla="*/ 894 w 903"/>
                <a:gd name="T101" fmla="*/ 509 h 511"/>
                <a:gd name="T102" fmla="*/ 901 w 903"/>
                <a:gd name="T103" fmla="*/ 504 h 511"/>
                <a:gd name="T104" fmla="*/ 903 w 903"/>
                <a:gd name="T105" fmla="*/ 495 h 511"/>
                <a:gd name="T106" fmla="*/ 903 w 903"/>
                <a:gd name="T107" fmla="*/ 25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511">
                  <a:moveTo>
                    <a:pt x="873" y="480"/>
                  </a:moveTo>
                  <a:lnTo>
                    <a:pt x="30" y="480"/>
                  </a:lnTo>
                  <a:lnTo>
                    <a:pt x="30" y="271"/>
                  </a:lnTo>
                  <a:lnTo>
                    <a:pt x="302" y="271"/>
                  </a:lnTo>
                  <a:lnTo>
                    <a:pt x="302" y="284"/>
                  </a:lnTo>
                  <a:lnTo>
                    <a:pt x="302" y="291"/>
                  </a:lnTo>
                  <a:lnTo>
                    <a:pt x="303" y="299"/>
                  </a:lnTo>
                  <a:lnTo>
                    <a:pt x="305" y="305"/>
                  </a:lnTo>
                  <a:lnTo>
                    <a:pt x="308" y="313"/>
                  </a:lnTo>
                  <a:lnTo>
                    <a:pt x="311" y="319"/>
                  </a:lnTo>
                  <a:lnTo>
                    <a:pt x="315" y="326"/>
                  </a:lnTo>
                  <a:lnTo>
                    <a:pt x="320" y="332"/>
                  </a:lnTo>
                  <a:lnTo>
                    <a:pt x="324" y="338"/>
                  </a:lnTo>
                  <a:lnTo>
                    <a:pt x="330" y="343"/>
                  </a:lnTo>
                  <a:lnTo>
                    <a:pt x="336" y="347"/>
                  </a:lnTo>
                  <a:lnTo>
                    <a:pt x="342" y="352"/>
                  </a:lnTo>
                  <a:lnTo>
                    <a:pt x="349" y="355"/>
                  </a:lnTo>
                  <a:lnTo>
                    <a:pt x="355" y="358"/>
                  </a:lnTo>
                  <a:lnTo>
                    <a:pt x="362" y="359"/>
                  </a:lnTo>
                  <a:lnTo>
                    <a:pt x="369" y="361"/>
                  </a:lnTo>
                  <a:lnTo>
                    <a:pt x="377" y="361"/>
                  </a:lnTo>
                  <a:lnTo>
                    <a:pt x="542" y="361"/>
                  </a:lnTo>
                  <a:lnTo>
                    <a:pt x="549" y="361"/>
                  </a:lnTo>
                  <a:lnTo>
                    <a:pt x="556" y="360"/>
                  </a:lnTo>
                  <a:lnTo>
                    <a:pt x="563" y="358"/>
                  </a:lnTo>
                  <a:lnTo>
                    <a:pt x="571" y="355"/>
                  </a:lnTo>
                  <a:lnTo>
                    <a:pt x="578" y="353"/>
                  </a:lnTo>
                  <a:lnTo>
                    <a:pt x="586" y="348"/>
                  </a:lnTo>
                  <a:lnTo>
                    <a:pt x="593" y="344"/>
                  </a:lnTo>
                  <a:lnTo>
                    <a:pt x="601" y="339"/>
                  </a:lnTo>
                  <a:lnTo>
                    <a:pt x="607" y="333"/>
                  </a:lnTo>
                  <a:lnTo>
                    <a:pt x="613" y="328"/>
                  </a:lnTo>
                  <a:lnTo>
                    <a:pt x="619" y="321"/>
                  </a:lnTo>
                  <a:lnTo>
                    <a:pt x="623" y="315"/>
                  </a:lnTo>
                  <a:lnTo>
                    <a:pt x="627" y="309"/>
                  </a:lnTo>
                  <a:lnTo>
                    <a:pt x="630" y="301"/>
                  </a:lnTo>
                  <a:lnTo>
                    <a:pt x="632" y="294"/>
                  </a:lnTo>
                  <a:lnTo>
                    <a:pt x="632" y="286"/>
                  </a:lnTo>
                  <a:lnTo>
                    <a:pt x="632" y="271"/>
                  </a:lnTo>
                  <a:lnTo>
                    <a:pt x="873" y="271"/>
                  </a:lnTo>
                  <a:lnTo>
                    <a:pt x="873" y="480"/>
                  </a:lnTo>
                  <a:close/>
                  <a:moveTo>
                    <a:pt x="902" y="252"/>
                  </a:moveTo>
                  <a:lnTo>
                    <a:pt x="902" y="251"/>
                  </a:lnTo>
                  <a:lnTo>
                    <a:pt x="901" y="250"/>
                  </a:lnTo>
                  <a:lnTo>
                    <a:pt x="901" y="249"/>
                  </a:lnTo>
                  <a:lnTo>
                    <a:pt x="901" y="249"/>
                  </a:lnTo>
                  <a:lnTo>
                    <a:pt x="766" y="7"/>
                  </a:lnTo>
                  <a:lnTo>
                    <a:pt x="764" y="4"/>
                  </a:lnTo>
                  <a:lnTo>
                    <a:pt x="761" y="2"/>
                  </a:lnTo>
                  <a:lnTo>
                    <a:pt x="756" y="1"/>
                  </a:lnTo>
                  <a:lnTo>
                    <a:pt x="753" y="0"/>
                  </a:lnTo>
                  <a:lnTo>
                    <a:pt x="542" y="0"/>
                  </a:lnTo>
                  <a:lnTo>
                    <a:pt x="539" y="1"/>
                  </a:lnTo>
                  <a:lnTo>
                    <a:pt x="537" y="1"/>
                  </a:lnTo>
                  <a:lnTo>
                    <a:pt x="533" y="3"/>
                  </a:lnTo>
                  <a:lnTo>
                    <a:pt x="531" y="4"/>
                  </a:lnTo>
                  <a:lnTo>
                    <a:pt x="530" y="6"/>
                  </a:lnTo>
                  <a:lnTo>
                    <a:pt x="528" y="9"/>
                  </a:lnTo>
                  <a:lnTo>
                    <a:pt x="527" y="12"/>
                  </a:lnTo>
                  <a:lnTo>
                    <a:pt x="527" y="15"/>
                  </a:lnTo>
                  <a:lnTo>
                    <a:pt x="527" y="18"/>
                  </a:lnTo>
                  <a:lnTo>
                    <a:pt x="528" y="21"/>
                  </a:lnTo>
                  <a:lnTo>
                    <a:pt x="530" y="23"/>
                  </a:lnTo>
                  <a:lnTo>
                    <a:pt x="531" y="26"/>
                  </a:lnTo>
                  <a:lnTo>
                    <a:pt x="533" y="28"/>
                  </a:lnTo>
                  <a:lnTo>
                    <a:pt x="537" y="29"/>
                  </a:lnTo>
                  <a:lnTo>
                    <a:pt x="539" y="30"/>
                  </a:lnTo>
                  <a:lnTo>
                    <a:pt x="542" y="30"/>
                  </a:lnTo>
                  <a:lnTo>
                    <a:pt x="743" y="30"/>
                  </a:lnTo>
                  <a:lnTo>
                    <a:pt x="863" y="241"/>
                  </a:lnTo>
                  <a:lnTo>
                    <a:pt x="617" y="241"/>
                  </a:lnTo>
                  <a:lnTo>
                    <a:pt x="615" y="241"/>
                  </a:lnTo>
                  <a:lnTo>
                    <a:pt x="612" y="242"/>
                  </a:lnTo>
                  <a:lnTo>
                    <a:pt x="608" y="243"/>
                  </a:lnTo>
                  <a:lnTo>
                    <a:pt x="606" y="245"/>
                  </a:lnTo>
                  <a:lnTo>
                    <a:pt x="605" y="248"/>
                  </a:lnTo>
                  <a:lnTo>
                    <a:pt x="603" y="250"/>
                  </a:lnTo>
                  <a:lnTo>
                    <a:pt x="603" y="253"/>
                  </a:lnTo>
                  <a:lnTo>
                    <a:pt x="602" y="256"/>
                  </a:lnTo>
                  <a:lnTo>
                    <a:pt x="602" y="286"/>
                  </a:lnTo>
                  <a:lnTo>
                    <a:pt x="602" y="289"/>
                  </a:lnTo>
                  <a:lnTo>
                    <a:pt x="601" y="294"/>
                  </a:lnTo>
                  <a:lnTo>
                    <a:pt x="599" y="298"/>
                  </a:lnTo>
                  <a:lnTo>
                    <a:pt x="597" y="301"/>
                  </a:lnTo>
                  <a:lnTo>
                    <a:pt x="589" y="310"/>
                  </a:lnTo>
                  <a:lnTo>
                    <a:pt x="581" y="316"/>
                  </a:lnTo>
                  <a:lnTo>
                    <a:pt x="571" y="323"/>
                  </a:lnTo>
                  <a:lnTo>
                    <a:pt x="561" y="327"/>
                  </a:lnTo>
                  <a:lnTo>
                    <a:pt x="552" y="330"/>
                  </a:lnTo>
                  <a:lnTo>
                    <a:pt x="542" y="331"/>
                  </a:lnTo>
                  <a:lnTo>
                    <a:pt x="377" y="331"/>
                  </a:lnTo>
                  <a:lnTo>
                    <a:pt x="368" y="330"/>
                  </a:lnTo>
                  <a:lnTo>
                    <a:pt x="360" y="327"/>
                  </a:lnTo>
                  <a:lnTo>
                    <a:pt x="352" y="323"/>
                  </a:lnTo>
                  <a:lnTo>
                    <a:pt x="346" y="316"/>
                  </a:lnTo>
                  <a:lnTo>
                    <a:pt x="340" y="310"/>
                  </a:lnTo>
                  <a:lnTo>
                    <a:pt x="335" y="301"/>
                  </a:lnTo>
                  <a:lnTo>
                    <a:pt x="333" y="293"/>
                  </a:lnTo>
                  <a:lnTo>
                    <a:pt x="332" y="284"/>
                  </a:lnTo>
                  <a:lnTo>
                    <a:pt x="332" y="256"/>
                  </a:lnTo>
                  <a:lnTo>
                    <a:pt x="331" y="253"/>
                  </a:lnTo>
                  <a:lnTo>
                    <a:pt x="331" y="250"/>
                  </a:lnTo>
                  <a:lnTo>
                    <a:pt x="329" y="248"/>
                  </a:lnTo>
                  <a:lnTo>
                    <a:pt x="327" y="245"/>
                  </a:lnTo>
                  <a:lnTo>
                    <a:pt x="325" y="243"/>
                  </a:lnTo>
                  <a:lnTo>
                    <a:pt x="322" y="242"/>
                  </a:lnTo>
                  <a:lnTo>
                    <a:pt x="320" y="241"/>
                  </a:lnTo>
                  <a:lnTo>
                    <a:pt x="317" y="241"/>
                  </a:lnTo>
                  <a:lnTo>
                    <a:pt x="41" y="241"/>
                  </a:lnTo>
                  <a:lnTo>
                    <a:pt x="160" y="30"/>
                  </a:lnTo>
                  <a:lnTo>
                    <a:pt x="242" y="30"/>
                  </a:lnTo>
                  <a:lnTo>
                    <a:pt x="244" y="30"/>
                  </a:lnTo>
                  <a:lnTo>
                    <a:pt x="247" y="29"/>
                  </a:lnTo>
                  <a:lnTo>
                    <a:pt x="249" y="28"/>
                  </a:lnTo>
                  <a:lnTo>
                    <a:pt x="251" y="26"/>
                  </a:lnTo>
                  <a:lnTo>
                    <a:pt x="254" y="23"/>
                  </a:lnTo>
                  <a:lnTo>
                    <a:pt x="255" y="21"/>
                  </a:lnTo>
                  <a:lnTo>
                    <a:pt x="256" y="18"/>
                  </a:lnTo>
                  <a:lnTo>
                    <a:pt x="257" y="15"/>
                  </a:lnTo>
                  <a:lnTo>
                    <a:pt x="256" y="12"/>
                  </a:lnTo>
                  <a:lnTo>
                    <a:pt x="255" y="9"/>
                  </a:lnTo>
                  <a:lnTo>
                    <a:pt x="254" y="6"/>
                  </a:lnTo>
                  <a:lnTo>
                    <a:pt x="251" y="4"/>
                  </a:lnTo>
                  <a:lnTo>
                    <a:pt x="249" y="3"/>
                  </a:lnTo>
                  <a:lnTo>
                    <a:pt x="247" y="1"/>
                  </a:lnTo>
                  <a:lnTo>
                    <a:pt x="244" y="1"/>
                  </a:lnTo>
                  <a:lnTo>
                    <a:pt x="242" y="0"/>
                  </a:lnTo>
                  <a:lnTo>
                    <a:pt x="151" y="0"/>
                  </a:lnTo>
                  <a:lnTo>
                    <a:pt x="147" y="1"/>
                  </a:lnTo>
                  <a:lnTo>
                    <a:pt x="143" y="2"/>
                  </a:lnTo>
                  <a:lnTo>
                    <a:pt x="140" y="4"/>
                  </a:lnTo>
                  <a:lnTo>
                    <a:pt x="138" y="7"/>
                  </a:lnTo>
                  <a:lnTo>
                    <a:pt x="3" y="249"/>
                  </a:lnTo>
                  <a:lnTo>
                    <a:pt x="3" y="249"/>
                  </a:lnTo>
                  <a:lnTo>
                    <a:pt x="3" y="250"/>
                  </a:lnTo>
                  <a:lnTo>
                    <a:pt x="2" y="251"/>
                  </a:lnTo>
                  <a:lnTo>
                    <a:pt x="2" y="252"/>
                  </a:lnTo>
                  <a:lnTo>
                    <a:pt x="0" y="254"/>
                  </a:lnTo>
                  <a:lnTo>
                    <a:pt x="0" y="255"/>
                  </a:lnTo>
                  <a:lnTo>
                    <a:pt x="0" y="255"/>
                  </a:lnTo>
                  <a:lnTo>
                    <a:pt x="0" y="256"/>
                  </a:lnTo>
                  <a:lnTo>
                    <a:pt x="0" y="495"/>
                  </a:lnTo>
                  <a:lnTo>
                    <a:pt x="0" y="498"/>
                  </a:lnTo>
                  <a:lnTo>
                    <a:pt x="2" y="502"/>
                  </a:lnTo>
                  <a:lnTo>
                    <a:pt x="3" y="504"/>
                  </a:lnTo>
                  <a:lnTo>
                    <a:pt x="5" y="506"/>
                  </a:lnTo>
                  <a:lnTo>
                    <a:pt x="7" y="508"/>
                  </a:lnTo>
                  <a:lnTo>
                    <a:pt x="10" y="509"/>
                  </a:lnTo>
                  <a:lnTo>
                    <a:pt x="12" y="510"/>
                  </a:lnTo>
                  <a:lnTo>
                    <a:pt x="15" y="511"/>
                  </a:lnTo>
                  <a:lnTo>
                    <a:pt x="888" y="510"/>
                  </a:lnTo>
                  <a:lnTo>
                    <a:pt x="891" y="510"/>
                  </a:lnTo>
                  <a:lnTo>
                    <a:pt x="894" y="509"/>
                  </a:lnTo>
                  <a:lnTo>
                    <a:pt x="897" y="508"/>
                  </a:lnTo>
                  <a:lnTo>
                    <a:pt x="899" y="506"/>
                  </a:lnTo>
                  <a:lnTo>
                    <a:pt x="901" y="504"/>
                  </a:lnTo>
                  <a:lnTo>
                    <a:pt x="902" y="502"/>
                  </a:lnTo>
                  <a:lnTo>
                    <a:pt x="903" y="498"/>
                  </a:lnTo>
                  <a:lnTo>
                    <a:pt x="903" y="495"/>
                  </a:lnTo>
                  <a:lnTo>
                    <a:pt x="903" y="256"/>
                  </a:lnTo>
                  <a:lnTo>
                    <a:pt x="903" y="255"/>
                  </a:lnTo>
                  <a:lnTo>
                    <a:pt x="903" y="255"/>
                  </a:lnTo>
                  <a:lnTo>
                    <a:pt x="903" y="254"/>
                  </a:lnTo>
                  <a:lnTo>
                    <a:pt x="902"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02">
              <a:extLst>
                <a:ext uri="{FF2B5EF4-FFF2-40B4-BE49-F238E27FC236}">
                  <a16:creationId xmlns:a16="http://schemas.microsoft.com/office/drawing/2014/main" id="{70FAD03C-59D5-4E8C-851C-41A498A29776}"/>
                </a:ext>
              </a:extLst>
            </p:cNvPr>
            <p:cNvSpPr>
              <a:spLocks noEditPoints="1"/>
            </p:cNvSpPr>
            <p:nvPr/>
          </p:nvSpPr>
          <p:spPr bwMode="auto">
            <a:xfrm>
              <a:off x="2695575" y="1349375"/>
              <a:ext cx="190500" cy="173038"/>
            </a:xfrm>
            <a:custGeom>
              <a:avLst/>
              <a:gdLst>
                <a:gd name="T0" fmla="*/ 107 w 599"/>
                <a:gd name="T1" fmla="*/ 264 h 541"/>
                <a:gd name="T2" fmla="*/ 153 w 599"/>
                <a:gd name="T3" fmla="*/ 203 h 541"/>
                <a:gd name="T4" fmla="*/ 210 w 599"/>
                <a:gd name="T5" fmla="*/ 157 h 541"/>
                <a:gd name="T6" fmla="*/ 274 w 599"/>
                <a:gd name="T7" fmla="*/ 125 h 541"/>
                <a:gd name="T8" fmla="*/ 349 w 599"/>
                <a:gd name="T9" fmla="*/ 108 h 541"/>
                <a:gd name="T10" fmla="*/ 406 w 599"/>
                <a:gd name="T11" fmla="*/ 104 h 541"/>
                <a:gd name="T12" fmla="*/ 414 w 599"/>
                <a:gd name="T13" fmla="*/ 100 h 541"/>
                <a:gd name="T14" fmla="*/ 418 w 599"/>
                <a:gd name="T15" fmla="*/ 92 h 541"/>
                <a:gd name="T16" fmla="*/ 561 w 599"/>
                <a:gd name="T17" fmla="*/ 166 h 541"/>
                <a:gd name="T18" fmla="*/ 418 w 599"/>
                <a:gd name="T19" fmla="*/ 237 h 541"/>
                <a:gd name="T20" fmla="*/ 414 w 599"/>
                <a:gd name="T21" fmla="*/ 229 h 541"/>
                <a:gd name="T22" fmla="*/ 406 w 599"/>
                <a:gd name="T23" fmla="*/ 225 h 541"/>
                <a:gd name="T24" fmla="*/ 367 w 599"/>
                <a:gd name="T25" fmla="*/ 226 h 541"/>
                <a:gd name="T26" fmla="*/ 316 w 599"/>
                <a:gd name="T27" fmla="*/ 232 h 541"/>
                <a:gd name="T28" fmla="*/ 270 w 599"/>
                <a:gd name="T29" fmla="*/ 243 h 541"/>
                <a:gd name="T30" fmla="*/ 228 w 599"/>
                <a:gd name="T31" fmla="*/ 258 h 541"/>
                <a:gd name="T32" fmla="*/ 168 w 599"/>
                <a:gd name="T33" fmla="*/ 290 h 541"/>
                <a:gd name="T34" fmla="*/ 111 w 599"/>
                <a:gd name="T35" fmla="*/ 336 h 541"/>
                <a:gd name="T36" fmla="*/ 67 w 599"/>
                <a:gd name="T37" fmla="*/ 387 h 541"/>
                <a:gd name="T38" fmla="*/ 51 w 599"/>
                <a:gd name="T39" fmla="*/ 395 h 541"/>
                <a:gd name="T40" fmla="*/ 81 w 599"/>
                <a:gd name="T41" fmla="*/ 313 h 541"/>
                <a:gd name="T42" fmla="*/ 15 w 599"/>
                <a:gd name="T43" fmla="*/ 541 h 541"/>
                <a:gd name="T44" fmla="*/ 28 w 599"/>
                <a:gd name="T45" fmla="*/ 535 h 541"/>
                <a:gd name="T46" fmla="*/ 45 w 599"/>
                <a:gd name="T47" fmla="*/ 486 h 541"/>
                <a:gd name="T48" fmla="*/ 73 w 599"/>
                <a:gd name="T49" fmla="*/ 432 h 541"/>
                <a:gd name="T50" fmla="*/ 100 w 599"/>
                <a:gd name="T51" fmla="*/ 394 h 541"/>
                <a:gd name="T52" fmla="*/ 133 w 599"/>
                <a:gd name="T53" fmla="*/ 357 h 541"/>
                <a:gd name="T54" fmla="*/ 175 w 599"/>
                <a:gd name="T55" fmla="*/ 322 h 541"/>
                <a:gd name="T56" fmla="*/ 227 w 599"/>
                <a:gd name="T57" fmla="*/ 292 h 541"/>
                <a:gd name="T58" fmla="*/ 288 w 599"/>
                <a:gd name="T59" fmla="*/ 269 h 541"/>
                <a:gd name="T60" fmla="*/ 361 w 599"/>
                <a:gd name="T61" fmla="*/ 257 h 541"/>
                <a:gd name="T62" fmla="*/ 389 w 599"/>
                <a:gd name="T63" fmla="*/ 319 h 541"/>
                <a:gd name="T64" fmla="*/ 398 w 599"/>
                <a:gd name="T65" fmla="*/ 329 h 541"/>
                <a:gd name="T66" fmla="*/ 409 w 599"/>
                <a:gd name="T67" fmla="*/ 329 h 541"/>
                <a:gd name="T68" fmla="*/ 596 w 599"/>
                <a:gd name="T69" fmla="*/ 175 h 541"/>
                <a:gd name="T70" fmla="*/ 599 w 599"/>
                <a:gd name="T71" fmla="*/ 166 h 541"/>
                <a:gd name="T72" fmla="*/ 596 w 599"/>
                <a:gd name="T73" fmla="*/ 156 h 541"/>
                <a:gd name="T74" fmla="*/ 409 w 599"/>
                <a:gd name="T75" fmla="*/ 1 h 541"/>
                <a:gd name="T76" fmla="*/ 398 w 599"/>
                <a:gd name="T77" fmla="*/ 1 h 541"/>
                <a:gd name="T78" fmla="*/ 389 w 599"/>
                <a:gd name="T79" fmla="*/ 10 h 541"/>
                <a:gd name="T80" fmla="*/ 355 w 599"/>
                <a:gd name="T81" fmla="*/ 77 h 541"/>
                <a:gd name="T82" fmla="*/ 265 w 599"/>
                <a:gd name="T83" fmla="*/ 97 h 541"/>
                <a:gd name="T84" fmla="*/ 191 w 599"/>
                <a:gd name="T85" fmla="*/ 134 h 541"/>
                <a:gd name="T86" fmla="*/ 133 w 599"/>
                <a:gd name="T87" fmla="*/ 183 h 541"/>
                <a:gd name="T88" fmla="*/ 87 w 599"/>
                <a:gd name="T89" fmla="*/ 241 h 541"/>
                <a:gd name="T90" fmla="*/ 54 w 599"/>
                <a:gd name="T91" fmla="*/ 303 h 541"/>
                <a:gd name="T92" fmla="*/ 30 w 599"/>
                <a:gd name="T93" fmla="*/ 364 h 541"/>
                <a:gd name="T94" fmla="*/ 8 w 599"/>
                <a:gd name="T95" fmla="*/ 455 h 541"/>
                <a:gd name="T96" fmla="*/ 1 w 599"/>
                <a:gd name="T97" fmla="*/ 531 h 541"/>
                <a:gd name="T98" fmla="*/ 13 w 599"/>
                <a:gd name="T99"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41">
                  <a:moveTo>
                    <a:pt x="81" y="313"/>
                  </a:moveTo>
                  <a:lnTo>
                    <a:pt x="93" y="288"/>
                  </a:lnTo>
                  <a:lnTo>
                    <a:pt x="107" y="264"/>
                  </a:lnTo>
                  <a:lnTo>
                    <a:pt x="121" y="242"/>
                  </a:lnTo>
                  <a:lnTo>
                    <a:pt x="137" y="222"/>
                  </a:lnTo>
                  <a:lnTo>
                    <a:pt x="153" y="203"/>
                  </a:lnTo>
                  <a:lnTo>
                    <a:pt x="171" y="186"/>
                  </a:lnTo>
                  <a:lnTo>
                    <a:pt x="190" y="171"/>
                  </a:lnTo>
                  <a:lnTo>
                    <a:pt x="210" y="157"/>
                  </a:lnTo>
                  <a:lnTo>
                    <a:pt x="230" y="144"/>
                  </a:lnTo>
                  <a:lnTo>
                    <a:pt x="252" y="134"/>
                  </a:lnTo>
                  <a:lnTo>
                    <a:pt x="274" y="125"/>
                  </a:lnTo>
                  <a:lnTo>
                    <a:pt x="299" y="117"/>
                  </a:lnTo>
                  <a:lnTo>
                    <a:pt x="324" y="112"/>
                  </a:lnTo>
                  <a:lnTo>
                    <a:pt x="349" y="108"/>
                  </a:lnTo>
                  <a:lnTo>
                    <a:pt x="376" y="105"/>
                  </a:lnTo>
                  <a:lnTo>
                    <a:pt x="404" y="105"/>
                  </a:lnTo>
                  <a:lnTo>
                    <a:pt x="406" y="104"/>
                  </a:lnTo>
                  <a:lnTo>
                    <a:pt x="409" y="104"/>
                  </a:lnTo>
                  <a:lnTo>
                    <a:pt x="412" y="101"/>
                  </a:lnTo>
                  <a:lnTo>
                    <a:pt x="414" y="100"/>
                  </a:lnTo>
                  <a:lnTo>
                    <a:pt x="416" y="97"/>
                  </a:lnTo>
                  <a:lnTo>
                    <a:pt x="417" y="95"/>
                  </a:lnTo>
                  <a:lnTo>
                    <a:pt x="418" y="92"/>
                  </a:lnTo>
                  <a:lnTo>
                    <a:pt x="419" y="90"/>
                  </a:lnTo>
                  <a:lnTo>
                    <a:pt x="419" y="47"/>
                  </a:lnTo>
                  <a:lnTo>
                    <a:pt x="561" y="166"/>
                  </a:lnTo>
                  <a:lnTo>
                    <a:pt x="419" y="283"/>
                  </a:lnTo>
                  <a:lnTo>
                    <a:pt x="419" y="240"/>
                  </a:lnTo>
                  <a:lnTo>
                    <a:pt x="418" y="237"/>
                  </a:lnTo>
                  <a:lnTo>
                    <a:pt x="417" y="234"/>
                  </a:lnTo>
                  <a:lnTo>
                    <a:pt x="416" y="231"/>
                  </a:lnTo>
                  <a:lnTo>
                    <a:pt x="414" y="229"/>
                  </a:lnTo>
                  <a:lnTo>
                    <a:pt x="412" y="227"/>
                  </a:lnTo>
                  <a:lnTo>
                    <a:pt x="409" y="226"/>
                  </a:lnTo>
                  <a:lnTo>
                    <a:pt x="406" y="225"/>
                  </a:lnTo>
                  <a:lnTo>
                    <a:pt x="404" y="225"/>
                  </a:lnTo>
                  <a:lnTo>
                    <a:pt x="385" y="225"/>
                  </a:lnTo>
                  <a:lnTo>
                    <a:pt x="367" y="226"/>
                  </a:lnTo>
                  <a:lnTo>
                    <a:pt x="349" y="228"/>
                  </a:lnTo>
                  <a:lnTo>
                    <a:pt x="332" y="229"/>
                  </a:lnTo>
                  <a:lnTo>
                    <a:pt x="316" y="232"/>
                  </a:lnTo>
                  <a:lnTo>
                    <a:pt x="300" y="235"/>
                  </a:lnTo>
                  <a:lnTo>
                    <a:pt x="285" y="239"/>
                  </a:lnTo>
                  <a:lnTo>
                    <a:pt x="270" y="243"/>
                  </a:lnTo>
                  <a:lnTo>
                    <a:pt x="256" y="247"/>
                  </a:lnTo>
                  <a:lnTo>
                    <a:pt x="242" y="253"/>
                  </a:lnTo>
                  <a:lnTo>
                    <a:pt x="228" y="258"/>
                  </a:lnTo>
                  <a:lnTo>
                    <a:pt x="215" y="263"/>
                  </a:lnTo>
                  <a:lnTo>
                    <a:pt x="191" y="276"/>
                  </a:lnTo>
                  <a:lnTo>
                    <a:pt x="168" y="290"/>
                  </a:lnTo>
                  <a:lnTo>
                    <a:pt x="148" y="305"/>
                  </a:lnTo>
                  <a:lnTo>
                    <a:pt x="129" y="320"/>
                  </a:lnTo>
                  <a:lnTo>
                    <a:pt x="111" y="336"/>
                  </a:lnTo>
                  <a:lnTo>
                    <a:pt x="95" y="353"/>
                  </a:lnTo>
                  <a:lnTo>
                    <a:pt x="80" y="369"/>
                  </a:lnTo>
                  <a:lnTo>
                    <a:pt x="67" y="387"/>
                  </a:lnTo>
                  <a:lnTo>
                    <a:pt x="56" y="404"/>
                  </a:lnTo>
                  <a:lnTo>
                    <a:pt x="45" y="420"/>
                  </a:lnTo>
                  <a:lnTo>
                    <a:pt x="51" y="395"/>
                  </a:lnTo>
                  <a:lnTo>
                    <a:pt x="60" y="368"/>
                  </a:lnTo>
                  <a:lnTo>
                    <a:pt x="70" y="341"/>
                  </a:lnTo>
                  <a:lnTo>
                    <a:pt x="81" y="313"/>
                  </a:lnTo>
                  <a:close/>
                  <a:moveTo>
                    <a:pt x="13" y="541"/>
                  </a:moveTo>
                  <a:lnTo>
                    <a:pt x="14" y="541"/>
                  </a:lnTo>
                  <a:lnTo>
                    <a:pt x="15" y="541"/>
                  </a:lnTo>
                  <a:lnTo>
                    <a:pt x="20" y="540"/>
                  </a:lnTo>
                  <a:lnTo>
                    <a:pt x="25" y="538"/>
                  </a:lnTo>
                  <a:lnTo>
                    <a:pt x="28" y="535"/>
                  </a:lnTo>
                  <a:lnTo>
                    <a:pt x="30" y="529"/>
                  </a:lnTo>
                  <a:lnTo>
                    <a:pt x="33" y="517"/>
                  </a:lnTo>
                  <a:lnTo>
                    <a:pt x="45" y="486"/>
                  </a:lnTo>
                  <a:lnTo>
                    <a:pt x="54" y="466"/>
                  </a:lnTo>
                  <a:lnTo>
                    <a:pt x="66" y="443"/>
                  </a:lnTo>
                  <a:lnTo>
                    <a:pt x="73" y="432"/>
                  </a:lnTo>
                  <a:lnTo>
                    <a:pt x="81" y="420"/>
                  </a:lnTo>
                  <a:lnTo>
                    <a:pt x="90" y="407"/>
                  </a:lnTo>
                  <a:lnTo>
                    <a:pt x="100" y="394"/>
                  </a:lnTo>
                  <a:lnTo>
                    <a:pt x="109" y="382"/>
                  </a:lnTo>
                  <a:lnTo>
                    <a:pt x="121" y="369"/>
                  </a:lnTo>
                  <a:lnTo>
                    <a:pt x="133" y="357"/>
                  </a:lnTo>
                  <a:lnTo>
                    <a:pt x="146" y="345"/>
                  </a:lnTo>
                  <a:lnTo>
                    <a:pt x="160" y="333"/>
                  </a:lnTo>
                  <a:lnTo>
                    <a:pt x="175" y="322"/>
                  </a:lnTo>
                  <a:lnTo>
                    <a:pt x="192" y="312"/>
                  </a:lnTo>
                  <a:lnTo>
                    <a:pt x="209" y="301"/>
                  </a:lnTo>
                  <a:lnTo>
                    <a:pt x="227" y="292"/>
                  </a:lnTo>
                  <a:lnTo>
                    <a:pt x="247" y="284"/>
                  </a:lnTo>
                  <a:lnTo>
                    <a:pt x="267" y="276"/>
                  </a:lnTo>
                  <a:lnTo>
                    <a:pt x="288" y="269"/>
                  </a:lnTo>
                  <a:lnTo>
                    <a:pt x="312" y="263"/>
                  </a:lnTo>
                  <a:lnTo>
                    <a:pt x="337" y="259"/>
                  </a:lnTo>
                  <a:lnTo>
                    <a:pt x="361" y="257"/>
                  </a:lnTo>
                  <a:lnTo>
                    <a:pt x="388" y="255"/>
                  </a:lnTo>
                  <a:lnTo>
                    <a:pt x="388" y="315"/>
                  </a:lnTo>
                  <a:lnTo>
                    <a:pt x="389" y="319"/>
                  </a:lnTo>
                  <a:lnTo>
                    <a:pt x="391" y="323"/>
                  </a:lnTo>
                  <a:lnTo>
                    <a:pt x="393" y="327"/>
                  </a:lnTo>
                  <a:lnTo>
                    <a:pt x="398" y="329"/>
                  </a:lnTo>
                  <a:lnTo>
                    <a:pt x="401" y="330"/>
                  </a:lnTo>
                  <a:lnTo>
                    <a:pt x="405" y="330"/>
                  </a:lnTo>
                  <a:lnTo>
                    <a:pt x="409" y="329"/>
                  </a:lnTo>
                  <a:lnTo>
                    <a:pt x="413" y="327"/>
                  </a:lnTo>
                  <a:lnTo>
                    <a:pt x="594" y="178"/>
                  </a:lnTo>
                  <a:lnTo>
                    <a:pt x="596" y="175"/>
                  </a:lnTo>
                  <a:lnTo>
                    <a:pt x="598" y="172"/>
                  </a:lnTo>
                  <a:lnTo>
                    <a:pt x="599" y="169"/>
                  </a:lnTo>
                  <a:lnTo>
                    <a:pt x="599" y="166"/>
                  </a:lnTo>
                  <a:lnTo>
                    <a:pt x="599" y="163"/>
                  </a:lnTo>
                  <a:lnTo>
                    <a:pt x="598" y="159"/>
                  </a:lnTo>
                  <a:lnTo>
                    <a:pt x="596" y="156"/>
                  </a:lnTo>
                  <a:lnTo>
                    <a:pt x="594" y="154"/>
                  </a:lnTo>
                  <a:lnTo>
                    <a:pt x="414" y="3"/>
                  </a:lnTo>
                  <a:lnTo>
                    <a:pt x="409" y="1"/>
                  </a:lnTo>
                  <a:lnTo>
                    <a:pt x="405" y="0"/>
                  </a:lnTo>
                  <a:lnTo>
                    <a:pt x="401" y="0"/>
                  </a:lnTo>
                  <a:lnTo>
                    <a:pt x="398" y="1"/>
                  </a:lnTo>
                  <a:lnTo>
                    <a:pt x="393" y="3"/>
                  </a:lnTo>
                  <a:lnTo>
                    <a:pt x="391" y="6"/>
                  </a:lnTo>
                  <a:lnTo>
                    <a:pt x="389" y="10"/>
                  </a:lnTo>
                  <a:lnTo>
                    <a:pt x="388" y="13"/>
                  </a:lnTo>
                  <a:lnTo>
                    <a:pt x="388" y="75"/>
                  </a:lnTo>
                  <a:lnTo>
                    <a:pt x="355" y="77"/>
                  </a:lnTo>
                  <a:lnTo>
                    <a:pt x="323" y="81"/>
                  </a:lnTo>
                  <a:lnTo>
                    <a:pt x="293" y="89"/>
                  </a:lnTo>
                  <a:lnTo>
                    <a:pt x="265" y="97"/>
                  </a:lnTo>
                  <a:lnTo>
                    <a:pt x="238" y="108"/>
                  </a:lnTo>
                  <a:lnTo>
                    <a:pt x="213" y="120"/>
                  </a:lnTo>
                  <a:lnTo>
                    <a:pt x="191" y="134"/>
                  </a:lnTo>
                  <a:lnTo>
                    <a:pt x="169" y="149"/>
                  </a:lnTo>
                  <a:lnTo>
                    <a:pt x="150" y="166"/>
                  </a:lnTo>
                  <a:lnTo>
                    <a:pt x="133" y="183"/>
                  </a:lnTo>
                  <a:lnTo>
                    <a:pt x="116" y="202"/>
                  </a:lnTo>
                  <a:lnTo>
                    <a:pt x="101" y="222"/>
                  </a:lnTo>
                  <a:lnTo>
                    <a:pt x="87" y="241"/>
                  </a:lnTo>
                  <a:lnTo>
                    <a:pt x="75" y="261"/>
                  </a:lnTo>
                  <a:lnTo>
                    <a:pt x="64" y="282"/>
                  </a:lnTo>
                  <a:lnTo>
                    <a:pt x="54" y="303"/>
                  </a:lnTo>
                  <a:lnTo>
                    <a:pt x="45" y="323"/>
                  </a:lnTo>
                  <a:lnTo>
                    <a:pt x="37" y="344"/>
                  </a:lnTo>
                  <a:lnTo>
                    <a:pt x="30" y="364"/>
                  </a:lnTo>
                  <a:lnTo>
                    <a:pt x="25" y="384"/>
                  </a:lnTo>
                  <a:lnTo>
                    <a:pt x="15" y="421"/>
                  </a:lnTo>
                  <a:lnTo>
                    <a:pt x="8" y="455"/>
                  </a:lnTo>
                  <a:lnTo>
                    <a:pt x="1" y="506"/>
                  </a:lnTo>
                  <a:lnTo>
                    <a:pt x="0" y="526"/>
                  </a:lnTo>
                  <a:lnTo>
                    <a:pt x="1" y="531"/>
                  </a:lnTo>
                  <a:lnTo>
                    <a:pt x="4" y="536"/>
                  </a:lnTo>
                  <a:lnTo>
                    <a:pt x="7" y="539"/>
                  </a:lnTo>
                  <a:lnTo>
                    <a:pt x="13"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3" name="Group 71">
            <a:extLst>
              <a:ext uri="{FF2B5EF4-FFF2-40B4-BE49-F238E27FC236}">
                <a16:creationId xmlns:a16="http://schemas.microsoft.com/office/drawing/2014/main" id="{DEDE15B2-CDC8-49DA-89C7-B3AF3F6CB024}"/>
              </a:ext>
            </a:extLst>
          </p:cNvPr>
          <p:cNvGrpSpPr>
            <a:grpSpLocks noChangeAspect="1"/>
          </p:cNvGrpSpPr>
          <p:nvPr/>
        </p:nvGrpSpPr>
        <p:grpSpPr>
          <a:xfrm>
            <a:off x="6151667" y="5944848"/>
            <a:ext cx="355550" cy="308144"/>
            <a:chOff x="9307513" y="2533650"/>
            <a:chExt cx="285750" cy="247651"/>
          </a:xfrm>
          <a:solidFill>
            <a:schemeClr val="bg2"/>
          </a:solidFill>
          <a:effectLst/>
        </p:grpSpPr>
        <p:sp>
          <p:nvSpPr>
            <p:cNvPr id="694" name="Freeform 431">
              <a:extLst>
                <a:ext uri="{FF2B5EF4-FFF2-40B4-BE49-F238E27FC236}">
                  <a16:creationId xmlns:a16="http://schemas.microsoft.com/office/drawing/2014/main" id="{D6242F06-872E-4BD4-B9AB-40D64F8ABF06}"/>
                </a:ext>
              </a:extLst>
            </p:cNvPr>
            <p:cNvSpPr>
              <a:spLocks/>
            </p:cNvSpPr>
            <p:nvPr/>
          </p:nvSpPr>
          <p:spPr bwMode="auto">
            <a:xfrm>
              <a:off x="9307513" y="2709863"/>
              <a:ext cx="285750" cy="71438"/>
            </a:xfrm>
            <a:custGeom>
              <a:avLst/>
              <a:gdLst>
                <a:gd name="T0" fmla="*/ 879 w 900"/>
                <a:gd name="T1" fmla="*/ 1 h 225"/>
                <a:gd name="T2" fmla="*/ 450 w 900"/>
                <a:gd name="T3" fmla="*/ 194 h 225"/>
                <a:gd name="T4" fmla="*/ 22 w 900"/>
                <a:gd name="T5" fmla="*/ 1 h 225"/>
                <a:gd name="T6" fmla="*/ 18 w 900"/>
                <a:gd name="T7" fmla="*/ 0 h 225"/>
                <a:gd name="T8" fmla="*/ 15 w 900"/>
                <a:gd name="T9" fmla="*/ 0 h 225"/>
                <a:gd name="T10" fmla="*/ 13 w 900"/>
                <a:gd name="T11" fmla="*/ 0 h 225"/>
                <a:gd name="T12" fmla="*/ 10 w 900"/>
                <a:gd name="T13" fmla="*/ 1 h 225"/>
                <a:gd name="T14" fmla="*/ 8 w 900"/>
                <a:gd name="T15" fmla="*/ 2 h 225"/>
                <a:gd name="T16" fmla="*/ 5 w 900"/>
                <a:gd name="T17" fmla="*/ 5 h 225"/>
                <a:gd name="T18" fmla="*/ 4 w 900"/>
                <a:gd name="T19" fmla="*/ 7 h 225"/>
                <a:gd name="T20" fmla="*/ 1 w 900"/>
                <a:gd name="T21" fmla="*/ 9 h 225"/>
                <a:gd name="T22" fmla="*/ 0 w 900"/>
                <a:gd name="T23" fmla="*/ 12 h 225"/>
                <a:gd name="T24" fmla="*/ 0 w 900"/>
                <a:gd name="T25" fmla="*/ 15 h 225"/>
                <a:gd name="T26" fmla="*/ 0 w 900"/>
                <a:gd name="T27" fmla="*/ 17 h 225"/>
                <a:gd name="T28" fmla="*/ 1 w 900"/>
                <a:gd name="T29" fmla="*/ 21 h 225"/>
                <a:gd name="T30" fmla="*/ 2 w 900"/>
                <a:gd name="T31" fmla="*/ 23 h 225"/>
                <a:gd name="T32" fmla="*/ 5 w 900"/>
                <a:gd name="T33" fmla="*/ 25 h 225"/>
                <a:gd name="T34" fmla="*/ 7 w 900"/>
                <a:gd name="T35" fmla="*/ 27 h 225"/>
                <a:gd name="T36" fmla="*/ 9 w 900"/>
                <a:gd name="T37" fmla="*/ 29 h 225"/>
                <a:gd name="T38" fmla="*/ 444 w 900"/>
                <a:gd name="T39" fmla="*/ 224 h 225"/>
                <a:gd name="T40" fmla="*/ 447 w 900"/>
                <a:gd name="T41" fmla="*/ 225 h 225"/>
                <a:gd name="T42" fmla="*/ 450 w 900"/>
                <a:gd name="T43" fmla="*/ 225 h 225"/>
                <a:gd name="T44" fmla="*/ 453 w 900"/>
                <a:gd name="T45" fmla="*/ 225 h 225"/>
                <a:gd name="T46" fmla="*/ 457 w 900"/>
                <a:gd name="T47" fmla="*/ 224 h 225"/>
                <a:gd name="T48" fmla="*/ 891 w 900"/>
                <a:gd name="T49" fmla="*/ 29 h 225"/>
                <a:gd name="T50" fmla="*/ 894 w 900"/>
                <a:gd name="T51" fmla="*/ 27 h 225"/>
                <a:gd name="T52" fmla="*/ 896 w 900"/>
                <a:gd name="T53" fmla="*/ 25 h 225"/>
                <a:gd name="T54" fmla="*/ 898 w 900"/>
                <a:gd name="T55" fmla="*/ 23 h 225"/>
                <a:gd name="T56" fmla="*/ 899 w 900"/>
                <a:gd name="T57" fmla="*/ 21 h 225"/>
                <a:gd name="T58" fmla="*/ 900 w 900"/>
                <a:gd name="T59" fmla="*/ 17 h 225"/>
                <a:gd name="T60" fmla="*/ 900 w 900"/>
                <a:gd name="T61" fmla="*/ 15 h 225"/>
                <a:gd name="T62" fmla="*/ 900 w 900"/>
                <a:gd name="T63" fmla="*/ 12 h 225"/>
                <a:gd name="T64" fmla="*/ 899 w 900"/>
                <a:gd name="T65" fmla="*/ 9 h 225"/>
                <a:gd name="T66" fmla="*/ 897 w 900"/>
                <a:gd name="T67" fmla="*/ 7 h 225"/>
                <a:gd name="T68" fmla="*/ 896 w 900"/>
                <a:gd name="T69" fmla="*/ 5 h 225"/>
                <a:gd name="T70" fmla="*/ 894 w 900"/>
                <a:gd name="T71" fmla="*/ 2 h 225"/>
                <a:gd name="T72" fmla="*/ 890 w 900"/>
                <a:gd name="T73" fmla="*/ 1 h 225"/>
                <a:gd name="T74" fmla="*/ 887 w 900"/>
                <a:gd name="T75" fmla="*/ 0 h 225"/>
                <a:gd name="T76" fmla="*/ 885 w 900"/>
                <a:gd name="T77" fmla="*/ 0 h 225"/>
                <a:gd name="T78" fmla="*/ 882 w 900"/>
                <a:gd name="T79" fmla="*/ 0 h 225"/>
                <a:gd name="T80" fmla="*/ 879 w 900"/>
                <a:gd name="T81"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0" h="225">
                  <a:moveTo>
                    <a:pt x="879" y="1"/>
                  </a:moveTo>
                  <a:lnTo>
                    <a:pt x="450" y="194"/>
                  </a:lnTo>
                  <a:lnTo>
                    <a:pt x="22" y="1"/>
                  </a:lnTo>
                  <a:lnTo>
                    <a:pt x="18" y="0"/>
                  </a:lnTo>
                  <a:lnTo>
                    <a:pt x="15" y="0"/>
                  </a:lnTo>
                  <a:lnTo>
                    <a:pt x="13" y="0"/>
                  </a:lnTo>
                  <a:lnTo>
                    <a:pt x="10" y="1"/>
                  </a:lnTo>
                  <a:lnTo>
                    <a:pt x="8" y="2"/>
                  </a:lnTo>
                  <a:lnTo>
                    <a:pt x="5" y="5"/>
                  </a:lnTo>
                  <a:lnTo>
                    <a:pt x="4" y="7"/>
                  </a:lnTo>
                  <a:lnTo>
                    <a:pt x="1" y="9"/>
                  </a:lnTo>
                  <a:lnTo>
                    <a:pt x="0" y="12"/>
                  </a:lnTo>
                  <a:lnTo>
                    <a:pt x="0" y="15"/>
                  </a:lnTo>
                  <a:lnTo>
                    <a:pt x="0" y="17"/>
                  </a:lnTo>
                  <a:lnTo>
                    <a:pt x="1" y="21"/>
                  </a:lnTo>
                  <a:lnTo>
                    <a:pt x="2" y="23"/>
                  </a:lnTo>
                  <a:lnTo>
                    <a:pt x="5" y="25"/>
                  </a:lnTo>
                  <a:lnTo>
                    <a:pt x="7" y="27"/>
                  </a:lnTo>
                  <a:lnTo>
                    <a:pt x="9" y="29"/>
                  </a:lnTo>
                  <a:lnTo>
                    <a:pt x="444" y="224"/>
                  </a:lnTo>
                  <a:lnTo>
                    <a:pt x="447" y="225"/>
                  </a:lnTo>
                  <a:lnTo>
                    <a:pt x="450" y="225"/>
                  </a:lnTo>
                  <a:lnTo>
                    <a:pt x="453" y="225"/>
                  </a:lnTo>
                  <a:lnTo>
                    <a:pt x="457" y="224"/>
                  </a:lnTo>
                  <a:lnTo>
                    <a:pt x="891" y="29"/>
                  </a:lnTo>
                  <a:lnTo>
                    <a:pt x="894" y="27"/>
                  </a:lnTo>
                  <a:lnTo>
                    <a:pt x="896" y="25"/>
                  </a:lnTo>
                  <a:lnTo>
                    <a:pt x="898" y="23"/>
                  </a:lnTo>
                  <a:lnTo>
                    <a:pt x="899" y="21"/>
                  </a:lnTo>
                  <a:lnTo>
                    <a:pt x="900" y="17"/>
                  </a:lnTo>
                  <a:lnTo>
                    <a:pt x="900" y="15"/>
                  </a:lnTo>
                  <a:lnTo>
                    <a:pt x="900" y="12"/>
                  </a:lnTo>
                  <a:lnTo>
                    <a:pt x="899" y="9"/>
                  </a:lnTo>
                  <a:lnTo>
                    <a:pt x="897" y="7"/>
                  </a:lnTo>
                  <a:lnTo>
                    <a:pt x="896" y="5"/>
                  </a:lnTo>
                  <a:lnTo>
                    <a:pt x="894" y="2"/>
                  </a:lnTo>
                  <a:lnTo>
                    <a:pt x="890" y="1"/>
                  </a:lnTo>
                  <a:lnTo>
                    <a:pt x="887" y="0"/>
                  </a:lnTo>
                  <a:lnTo>
                    <a:pt x="885" y="0"/>
                  </a:lnTo>
                  <a:lnTo>
                    <a:pt x="882" y="0"/>
                  </a:lnTo>
                  <a:lnTo>
                    <a:pt x="8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32">
              <a:extLst>
                <a:ext uri="{FF2B5EF4-FFF2-40B4-BE49-F238E27FC236}">
                  <a16:creationId xmlns:a16="http://schemas.microsoft.com/office/drawing/2014/main" id="{62A06CD9-75C3-450B-B189-D99DD3CFA226}"/>
                </a:ext>
              </a:extLst>
            </p:cNvPr>
            <p:cNvSpPr>
              <a:spLocks/>
            </p:cNvSpPr>
            <p:nvPr/>
          </p:nvSpPr>
          <p:spPr bwMode="auto">
            <a:xfrm>
              <a:off x="9307513" y="2671763"/>
              <a:ext cx="285750" cy="71438"/>
            </a:xfrm>
            <a:custGeom>
              <a:avLst/>
              <a:gdLst>
                <a:gd name="T0" fmla="*/ 879 w 900"/>
                <a:gd name="T1" fmla="*/ 1 h 224"/>
                <a:gd name="T2" fmla="*/ 450 w 900"/>
                <a:gd name="T3" fmla="*/ 193 h 224"/>
                <a:gd name="T4" fmla="*/ 22 w 900"/>
                <a:gd name="T5" fmla="*/ 1 h 224"/>
                <a:gd name="T6" fmla="*/ 18 w 900"/>
                <a:gd name="T7" fmla="*/ 0 h 224"/>
                <a:gd name="T8" fmla="*/ 15 w 900"/>
                <a:gd name="T9" fmla="*/ 0 h 224"/>
                <a:gd name="T10" fmla="*/ 13 w 900"/>
                <a:gd name="T11" fmla="*/ 0 h 224"/>
                <a:gd name="T12" fmla="*/ 10 w 900"/>
                <a:gd name="T13" fmla="*/ 1 h 224"/>
                <a:gd name="T14" fmla="*/ 8 w 900"/>
                <a:gd name="T15" fmla="*/ 2 h 224"/>
                <a:gd name="T16" fmla="*/ 5 w 900"/>
                <a:gd name="T17" fmla="*/ 3 h 224"/>
                <a:gd name="T18" fmla="*/ 4 w 900"/>
                <a:gd name="T19" fmla="*/ 5 h 224"/>
                <a:gd name="T20" fmla="*/ 1 w 900"/>
                <a:gd name="T21" fmla="*/ 8 h 224"/>
                <a:gd name="T22" fmla="*/ 0 w 900"/>
                <a:gd name="T23" fmla="*/ 11 h 224"/>
                <a:gd name="T24" fmla="*/ 0 w 900"/>
                <a:gd name="T25" fmla="*/ 14 h 224"/>
                <a:gd name="T26" fmla="*/ 0 w 900"/>
                <a:gd name="T27" fmla="*/ 17 h 224"/>
                <a:gd name="T28" fmla="*/ 1 w 900"/>
                <a:gd name="T29" fmla="*/ 20 h 224"/>
                <a:gd name="T30" fmla="*/ 2 w 900"/>
                <a:gd name="T31" fmla="*/ 22 h 224"/>
                <a:gd name="T32" fmla="*/ 5 w 900"/>
                <a:gd name="T33" fmla="*/ 24 h 224"/>
                <a:gd name="T34" fmla="*/ 7 w 900"/>
                <a:gd name="T35" fmla="*/ 26 h 224"/>
                <a:gd name="T36" fmla="*/ 9 w 900"/>
                <a:gd name="T37" fmla="*/ 27 h 224"/>
                <a:gd name="T38" fmla="*/ 444 w 900"/>
                <a:gd name="T39" fmla="*/ 223 h 224"/>
                <a:gd name="T40" fmla="*/ 447 w 900"/>
                <a:gd name="T41" fmla="*/ 224 h 224"/>
                <a:gd name="T42" fmla="*/ 450 w 900"/>
                <a:gd name="T43" fmla="*/ 224 h 224"/>
                <a:gd name="T44" fmla="*/ 453 w 900"/>
                <a:gd name="T45" fmla="*/ 224 h 224"/>
                <a:gd name="T46" fmla="*/ 457 w 900"/>
                <a:gd name="T47" fmla="*/ 223 h 224"/>
                <a:gd name="T48" fmla="*/ 891 w 900"/>
                <a:gd name="T49" fmla="*/ 27 h 224"/>
                <a:gd name="T50" fmla="*/ 894 w 900"/>
                <a:gd name="T51" fmla="*/ 26 h 224"/>
                <a:gd name="T52" fmla="*/ 896 w 900"/>
                <a:gd name="T53" fmla="*/ 24 h 224"/>
                <a:gd name="T54" fmla="*/ 898 w 900"/>
                <a:gd name="T55" fmla="*/ 22 h 224"/>
                <a:gd name="T56" fmla="*/ 899 w 900"/>
                <a:gd name="T57" fmla="*/ 20 h 224"/>
                <a:gd name="T58" fmla="*/ 900 w 900"/>
                <a:gd name="T59" fmla="*/ 17 h 224"/>
                <a:gd name="T60" fmla="*/ 900 w 900"/>
                <a:gd name="T61" fmla="*/ 14 h 224"/>
                <a:gd name="T62" fmla="*/ 900 w 900"/>
                <a:gd name="T63" fmla="*/ 11 h 224"/>
                <a:gd name="T64" fmla="*/ 899 w 900"/>
                <a:gd name="T65" fmla="*/ 8 h 224"/>
                <a:gd name="T66" fmla="*/ 897 w 900"/>
                <a:gd name="T67" fmla="*/ 5 h 224"/>
                <a:gd name="T68" fmla="*/ 896 w 900"/>
                <a:gd name="T69" fmla="*/ 3 h 224"/>
                <a:gd name="T70" fmla="*/ 894 w 900"/>
                <a:gd name="T71" fmla="*/ 2 h 224"/>
                <a:gd name="T72" fmla="*/ 890 w 900"/>
                <a:gd name="T73" fmla="*/ 1 h 224"/>
                <a:gd name="T74" fmla="*/ 887 w 900"/>
                <a:gd name="T75" fmla="*/ 0 h 224"/>
                <a:gd name="T76" fmla="*/ 885 w 900"/>
                <a:gd name="T77" fmla="*/ 0 h 224"/>
                <a:gd name="T78" fmla="*/ 882 w 900"/>
                <a:gd name="T79" fmla="*/ 0 h 224"/>
                <a:gd name="T80" fmla="*/ 879 w 900"/>
                <a:gd name="T81"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0" h="224">
                  <a:moveTo>
                    <a:pt x="879" y="1"/>
                  </a:moveTo>
                  <a:lnTo>
                    <a:pt x="450" y="193"/>
                  </a:lnTo>
                  <a:lnTo>
                    <a:pt x="22" y="1"/>
                  </a:lnTo>
                  <a:lnTo>
                    <a:pt x="18" y="0"/>
                  </a:lnTo>
                  <a:lnTo>
                    <a:pt x="15" y="0"/>
                  </a:lnTo>
                  <a:lnTo>
                    <a:pt x="13" y="0"/>
                  </a:lnTo>
                  <a:lnTo>
                    <a:pt x="10" y="1"/>
                  </a:lnTo>
                  <a:lnTo>
                    <a:pt x="8" y="2"/>
                  </a:lnTo>
                  <a:lnTo>
                    <a:pt x="5" y="3"/>
                  </a:lnTo>
                  <a:lnTo>
                    <a:pt x="4" y="5"/>
                  </a:lnTo>
                  <a:lnTo>
                    <a:pt x="1" y="8"/>
                  </a:lnTo>
                  <a:lnTo>
                    <a:pt x="0" y="11"/>
                  </a:lnTo>
                  <a:lnTo>
                    <a:pt x="0" y="14"/>
                  </a:lnTo>
                  <a:lnTo>
                    <a:pt x="0" y="17"/>
                  </a:lnTo>
                  <a:lnTo>
                    <a:pt x="1" y="20"/>
                  </a:lnTo>
                  <a:lnTo>
                    <a:pt x="2" y="22"/>
                  </a:lnTo>
                  <a:lnTo>
                    <a:pt x="5" y="24"/>
                  </a:lnTo>
                  <a:lnTo>
                    <a:pt x="7" y="26"/>
                  </a:lnTo>
                  <a:lnTo>
                    <a:pt x="9" y="27"/>
                  </a:lnTo>
                  <a:lnTo>
                    <a:pt x="444" y="223"/>
                  </a:lnTo>
                  <a:lnTo>
                    <a:pt x="447" y="224"/>
                  </a:lnTo>
                  <a:lnTo>
                    <a:pt x="450" y="224"/>
                  </a:lnTo>
                  <a:lnTo>
                    <a:pt x="453" y="224"/>
                  </a:lnTo>
                  <a:lnTo>
                    <a:pt x="457" y="223"/>
                  </a:lnTo>
                  <a:lnTo>
                    <a:pt x="891" y="27"/>
                  </a:lnTo>
                  <a:lnTo>
                    <a:pt x="894" y="26"/>
                  </a:lnTo>
                  <a:lnTo>
                    <a:pt x="896" y="24"/>
                  </a:lnTo>
                  <a:lnTo>
                    <a:pt x="898" y="22"/>
                  </a:lnTo>
                  <a:lnTo>
                    <a:pt x="899" y="20"/>
                  </a:lnTo>
                  <a:lnTo>
                    <a:pt x="900" y="17"/>
                  </a:lnTo>
                  <a:lnTo>
                    <a:pt x="900" y="14"/>
                  </a:lnTo>
                  <a:lnTo>
                    <a:pt x="900" y="11"/>
                  </a:lnTo>
                  <a:lnTo>
                    <a:pt x="899" y="8"/>
                  </a:lnTo>
                  <a:lnTo>
                    <a:pt x="897" y="5"/>
                  </a:lnTo>
                  <a:lnTo>
                    <a:pt x="896" y="3"/>
                  </a:lnTo>
                  <a:lnTo>
                    <a:pt x="894" y="2"/>
                  </a:lnTo>
                  <a:lnTo>
                    <a:pt x="890" y="1"/>
                  </a:lnTo>
                  <a:lnTo>
                    <a:pt x="887" y="0"/>
                  </a:lnTo>
                  <a:lnTo>
                    <a:pt x="885" y="0"/>
                  </a:lnTo>
                  <a:lnTo>
                    <a:pt x="882" y="0"/>
                  </a:lnTo>
                  <a:lnTo>
                    <a:pt x="8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433">
              <a:extLst>
                <a:ext uri="{FF2B5EF4-FFF2-40B4-BE49-F238E27FC236}">
                  <a16:creationId xmlns:a16="http://schemas.microsoft.com/office/drawing/2014/main" id="{62848730-14DE-40F8-9353-B2702019C9AD}"/>
                </a:ext>
              </a:extLst>
            </p:cNvPr>
            <p:cNvSpPr>
              <a:spLocks/>
            </p:cNvSpPr>
            <p:nvPr/>
          </p:nvSpPr>
          <p:spPr bwMode="auto">
            <a:xfrm>
              <a:off x="9307513" y="2633663"/>
              <a:ext cx="285750" cy="71438"/>
            </a:xfrm>
            <a:custGeom>
              <a:avLst/>
              <a:gdLst>
                <a:gd name="T0" fmla="*/ 879 w 900"/>
                <a:gd name="T1" fmla="*/ 2 h 225"/>
                <a:gd name="T2" fmla="*/ 450 w 900"/>
                <a:gd name="T3" fmla="*/ 193 h 225"/>
                <a:gd name="T4" fmla="*/ 22 w 900"/>
                <a:gd name="T5" fmla="*/ 2 h 225"/>
                <a:gd name="T6" fmla="*/ 18 w 900"/>
                <a:gd name="T7" fmla="*/ 1 h 225"/>
                <a:gd name="T8" fmla="*/ 15 w 900"/>
                <a:gd name="T9" fmla="*/ 0 h 225"/>
                <a:gd name="T10" fmla="*/ 13 w 900"/>
                <a:gd name="T11" fmla="*/ 0 h 225"/>
                <a:gd name="T12" fmla="*/ 10 w 900"/>
                <a:gd name="T13" fmla="*/ 1 h 225"/>
                <a:gd name="T14" fmla="*/ 8 w 900"/>
                <a:gd name="T15" fmla="*/ 2 h 225"/>
                <a:gd name="T16" fmla="*/ 5 w 900"/>
                <a:gd name="T17" fmla="*/ 4 h 225"/>
                <a:gd name="T18" fmla="*/ 4 w 900"/>
                <a:gd name="T19" fmla="*/ 6 h 225"/>
                <a:gd name="T20" fmla="*/ 1 w 900"/>
                <a:gd name="T21" fmla="*/ 10 h 225"/>
                <a:gd name="T22" fmla="*/ 0 w 900"/>
                <a:gd name="T23" fmla="*/ 12 h 225"/>
                <a:gd name="T24" fmla="*/ 0 w 900"/>
                <a:gd name="T25" fmla="*/ 15 h 225"/>
                <a:gd name="T26" fmla="*/ 0 w 900"/>
                <a:gd name="T27" fmla="*/ 18 h 225"/>
                <a:gd name="T28" fmla="*/ 1 w 900"/>
                <a:gd name="T29" fmla="*/ 20 h 225"/>
                <a:gd name="T30" fmla="*/ 2 w 900"/>
                <a:gd name="T31" fmla="*/ 23 h 225"/>
                <a:gd name="T32" fmla="*/ 5 w 900"/>
                <a:gd name="T33" fmla="*/ 26 h 225"/>
                <a:gd name="T34" fmla="*/ 7 w 900"/>
                <a:gd name="T35" fmla="*/ 28 h 225"/>
                <a:gd name="T36" fmla="*/ 9 w 900"/>
                <a:gd name="T37" fmla="*/ 29 h 225"/>
                <a:gd name="T38" fmla="*/ 444 w 900"/>
                <a:gd name="T39" fmla="*/ 224 h 225"/>
                <a:gd name="T40" fmla="*/ 447 w 900"/>
                <a:gd name="T41" fmla="*/ 225 h 225"/>
                <a:gd name="T42" fmla="*/ 450 w 900"/>
                <a:gd name="T43" fmla="*/ 225 h 225"/>
                <a:gd name="T44" fmla="*/ 453 w 900"/>
                <a:gd name="T45" fmla="*/ 225 h 225"/>
                <a:gd name="T46" fmla="*/ 457 w 900"/>
                <a:gd name="T47" fmla="*/ 224 h 225"/>
                <a:gd name="T48" fmla="*/ 891 w 900"/>
                <a:gd name="T49" fmla="*/ 29 h 225"/>
                <a:gd name="T50" fmla="*/ 894 w 900"/>
                <a:gd name="T51" fmla="*/ 28 h 225"/>
                <a:gd name="T52" fmla="*/ 896 w 900"/>
                <a:gd name="T53" fmla="*/ 26 h 225"/>
                <a:gd name="T54" fmla="*/ 898 w 900"/>
                <a:gd name="T55" fmla="*/ 23 h 225"/>
                <a:gd name="T56" fmla="*/ 899 w 900"/>
                <a:gd name="T57" fmla="*/ 20 h 225"/>
                <a:gd name="T58" fmla="*/ 900 w 900"/>
                <a:gd name="T59" fmla="*/ 18 h 225"/>
                <a:gd name="T60" fmla="*/ 900 w 900"/>
                <a:gd name="T61" fmla="*/ 15 h 225"/>
                <a:gd name="T62" fmla="*/ 900 w 900"/>
                <a:gd name="T63" fmla="*/ 12 h 225"/>
                <a:gd name="T64" fmla="*/ 899 w 900"/>
                <a:gd name="T65" fmla="*/ 10 h 225"/>
                <a:gd name="T66" fmla="*/ 897 w 900"/>
                <a:gd name="T67" fmla="*/ 6 h 225"/>
                <a:gd name="T68" fmla="*/ 896 w 900"/>
                <a:gd name="T69" fmla="*/ 4 h 225"/>
                <a:gd name="T70" fmla="*/ 894 w 900"/>
                <a:gd name="T71" fmla="*/ 2 h 225"/>
                <a:gd name="T72" fmla="*/ 890 w 900"/>
                <a:gd name="T73" fmla="*/ 1 h 225"/>
                <a:gd name="T74" fmla="*/ 887 w 900"/>
                <a:gd name="T75" fmla="*/ 1 h 225"/>
                <a:gd name="T76" fmla="*/ 885 w 900"/>
                <a:gd name="T77" fmla="*/ 0 h 225"/>
                <a:gd name="T78" fmla="*/ 882 w 900"/>
                <a:gd name="T79" fmla="*/ 1 h 225"/>
                <a:gd name="T80" fmla="*/ 879 w 900"/>
                <a:gd name="T81" fmla="*/ 2 h 225"/>
                <a:gd name="T82" fmla="*/ 879 w 900"/>
                <a:gd name="T83" fmla="*/ 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0" h="225">
                  <a:moveTo>
                    <a:pt x="879" y="2"/>
                  </a:moveTo>
                  <a:lnTo>
                    <a:pt x="450" y="193"/>
                  </a:lnTo>
                  <a:lnTo>
                    <a:pt x="22" y="2"/>
                  </a:lnTo>
                  <a:lnTo>
                    <a:pt x="18" y="1"/>
                  </a:lnTo>
                  <a:lnTo>
                    <a:pt x="15" y="0"/>
                  </a:lnTo>
                  <a:lnTo>
                    <a:pt x="13" y="0"/>
                  </a:lnTo>
                  <a:lnTo>
                    <a:pt x="10" y="1"/>
                  </a:lnTo>
                  <a:lnTo>
                    <a:pt x="8" y="2"/>
                  </a:lnTo>
                  <a:lnTo>
                    <a:pt x="5" y="4"/>
                  </a:lnTo>
                  <a:lnTo>
                    <a:pt x="4" y="6"/>
                  </a:lnTo>
                  <a:lnTo>
                    <a:pt x="1" y="10"/>
                  </a:lnTo>
                  <a:lnTo>
                    <a:pt x="0" y="12"/>
                  </a:lnTo>
                  <a:lnTo>
                    <a:pt x="0" y="15"/>
                  </a:lnTo>
                  <a:lnTo>
                    <a:pt x="0" y="18"/>
                  </a:lnTo>
                  <a:lnTo>
                    <a:pt x="1" y="20"/>
                  </a:lnTo>
                  <a:lnTo>
                    <a:pt x="2" y="23"/>
                  </a:lnTo>
                  <a:lnTo>
                    <a:pt x="5" y="26"/>
                  </a:lnTo>
                  <a:lnTo>
                    <a:pt x="7" y="28"/>
                  </a:lnTo>
                  <a:lnTo>
                    <a:pt x="9" y="29"/>
                  </a:lnTo>
                  <a:lnTo>
                    <a:pt x="444" y="224"/>
                  </a:lnTo>
                  <a:lnTo>
                    <a:pt x="447" y="225"/>
                  </a:lnTo>
                  <a:lnTo>
                    <a:pt x="450" y="225"/>
                  </a:lnTo>
                  <a:lnTo>
                    <a:pt x="453" y="225"/>
                  </a:lnTo>
                  <a:lnTo>
                    <a:pt x="457" y="224"/>
                  </a:lnTo>
                  <a:lnTo>
                    <a:pt x="891" y="29"/>
                  </a:lnTo>
                  <a:lnTo>
                    <a:pt x="894" y="28"/>
                  </a:lnTo>
                  <a:lnTo>
                    <a:pt x="896" y="26"/>
                  </a:lnTo>
                  <a:lnTo>
                    <a:pt x="898" y="23"/>
                  </a:lnTo>
                  <a:lnTo>
                    <a:pt x="899" y="20"/>
                  </a:lnTo>
                  <a:lnTo>
                    <a:pt x="900" y="18"/>
                  </a:lnTo>
                  <a:lnTo>
                    <a:pt x="900" y="15"/>
                  </a:lnTo>
                  <a:lnTo>
                    <a:pt x="900" y="12"/>
                  </a:lnTo>
                  <a:lnTo>
                    <a:pt x="899" y="10"/>
                  </a:lnTo>
                  <a:lnTo>
                    <a:pt x="897" y="6"/>
                  </a:lnTo>
                  <a:lnTo>
                    <a:pt x="896" y="4"/>
                  </a:lnTo>
                  <a:lnTo>
                    <a:pt x="894" y="2"/>
                  </a:lnTo>
                  <a:lnTo>
                    <a:pt x="890" y="1"/>
                  </a:lnTo>
                  <a:lnTo>
                    <a:pt x="887" y="1"/>
                  </a:lnTo>
                  <a:lnTo>
                    <a:pt x="885" y="0"/>
                  </a:lnTo>
                  <a:lnTo>
                    <a:pt x="882" y="1"/>
                  </a:lnTo>
                  <a:lnTo>
                    <a:pt x="879" y="2"/>
                  </a:lnTo>
                  <a:lnTo>
                    <a:pt x="87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34">
              <a:extLst>
                <a:ext uri="{FF2B5EF4-FFF2-40B4-BE49-F238E27FC236}">
                  <a16:creationId xmlns:a16="http://schemas.microsoft.com/office/drawing/2014/main" id="{D523A55F-2E5B-468E-A5EF-342A8D4D9ACE}"/>
                </a:ext>
              </a:extLst>
            </p:cNvPr>
            <p:cNvSpPr>
              <a:spLocks noEditPoints="1"/>
            </p:cNvSpPr>
            <p:nvPr/>
          </p:nvSpPr>
          <p:spPr bwMode="auto">
            <a:xfrm>
              <a:off x="9307513" y="2533650"/>
              <a:ext cx="285750" cy="133350"/>
            </a:xfrm>
            <a:custGeom>
              <a:avLst/>
              <a:gdLst>
                <a:gd name="T0" fmla="*/ 450 w 900"/>
                <a:gd name="T1" fmla="*/ 31 h 420"/>
                <a:gd name="T2" fmla="*/ 849 w 900"/>
                <a:gd name="T3" fmla="*/ 209 h 420"/>
                <a:gd name="T4" fmla="*/ 450 w 900"/>
                <a:gd name="T5" fmla="*/ 388 h 420"/>
                <a:gd name="T6" fmla="*/ 52 w 900"/>
                <a:gd name="T7" fmla="*/ 209 h 420"/>
                <a:gd name="T8" fmla="*/ 450 w 900"/>
                <a:gd name="T9" fmla="*/ 31 h 420"/>
                <a:gd name="T10" fmla="*/ 9 w 900"/>
                <a:gd name="T11" fmla="*/ 223 h 420"/>
                <a:gd name="T12" fmla="*/ 444 w 900"/>
                <a:gd name="T13" fmla="*/ 418 h 420"/>
                <a:gd name="T14" fmla="*/ 447 w 900"/>
                <a:gd name="T15" fmla="*/ 419 h 420"/>
                <a:gd name="T16" fmla="*/ 450 w 900"/>
                <a:gd name="T17" fmla="*/ 420 h 420"/>
                <a:gd name="T18" fmla="*/ 453 w 900"/>
                <a:gd name="T19" fmla="*/ 419 h 420"/>
                <a:gd name="T20" fmla="*/ 457 w 900"/>
                <a:gd name="T21" fmla="*/ 418 h 420"/>
                <a:gd name="T22" fmla="*/ 891 w 900"/>
                <a:gd name="T23" fmla="*/ 223 h 420"/>
                <a:gd name="T24" fmla="*/ 895 w 900"/>
                <a:gd name="T25" fmla="*/ 221 h 420"/>
                <a:gd name="T26" fmla="*/ 898 w 900"/>
                <a:gd name="T27" fmla="*/ 218 h 420"/>
                <a:gd name="T28" fmla="*/ 900 w 900"/>
                <a:gd name="T29" fmla="*/ 213 h 420"/>
                <a:gd name="T30" fmla="*/ 900 w 900"/>
                <a:gd name="T31" fmla="*/ 209 h 420"/>
                <a:gd name="T32" fmla="*/ 900 w 900"/>
                <a:gd name="T33" fmla="*/ 205 h 420"/>
                <a:gd name="T34" fmla="*/ 898 w 900"/>
                <a:gd name="T35" fmla="*/ 201 h 420"/>
                <a:gd name="T36" fmla="*/ 895 w 900"/>
                <a:gd name="T37" fmla="*/ 197 h 420"/>
                <a:gd name="T38" fmla="*/ 891 w 900"/>
                <a:gd name="T39" fmla="*/ 195 h 420"/>
                <a:gd name="T40" fmla="*/ 457 w 900"/>
                <a:gd name="T41" fmla="*/ 1 h 420"/>
                <a:gd name="T42" fmla="*/ 453 w 900"/>
                <a:gd name="T43" fmla="*/ 0 h 420"/>
                <a:gd name="T44" fmla="*/ 450 w 900"/>
                <a:gd name="T45" fmla="*/ 0 h 420"/>
                <a:gd name="T46" fmla="*/ 447 w 900"/>
                <a:gd name="T47" fmla="*/ 0 h 420"/>
                <a:gd name="T48" fmla="*/ 444 w 900"/>
                <a:gd name="T49" fmla="*/ 1 h 420"/>
                <a:gd name="T50" fmla="*/ 9 w 900"/>
                <a:gd name="T51" fmla="*/ 195 h 420"/>
                <a:gd name="T52" fmla="*/ 6 w 900"/>
                <a:gd name="T53" fmla="*/ 197 h 420"/>
                <a:gd name="T54" fmla="*/ 2 w 900"/>
                <a:gd name="T55" fmla="*/ 201 h 420"/>
                <a:gd name="T56" fmla="*/ 1 w 900"/>
                <a:gd name="T57" fmla="*/ 205 h 420"/>
                <a:gd name="T58" fmla="*/ 0 w 900"/>
                <a:gd name="T59" fmla="*/ 209 h 420"/>
                <a:gd name="T60" fmla="*/ 1 w 900"/>
                <a:gd name="T61" fmla="*/ 213 h 420"/>
                <a:gd name="T62" fmla="*/ 2 w 900"/>
                <a:gd name="T63" fmla="*/ 218 h 420"/>
                <a:gd name="T64" fmla="*/ 6 w 900"/>
                <a:gd name="T65" fmla="*/ 221 h 420"/>
                <a:gd name="T66" fmla="*/ 9 w 900"/>
                <a:gd name="T67" fmla="*/ 22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0" h="420">
                  <a:moveTo>
                    <a:pt x="450" y="31"/>
                  </a:moveTo>
                  <a:lnTo>
                    <a:pt x="849" y="209"/>
                  </a:lnTo>
                  <a:lnTo>
                    <a:pt x="450" y="388"/>
                  </a:lnTo>
                  <a:lnTo>
                    <a:pt x="52" y="209"/>
                  </a:lnTo>
                  <a:lnTo>
                    <a:pt x="450" y="31"/>
                  </a:lnTo>
                  <a:close/>
                  <a:moveTo>
                    <a:pt x="9" y="223"/>
                  </a:moveTo>
                  <a:lnTo>
                    <a:pt x="444" y="418"/>
                  </a:lnTo>
                  <a:lnTo>
                    <a:pt x="447" y="419"/>
                  </a:lnTo>
                  <a:lnTo>
                    <a:pt x="450" y="420"/>
                  </a:lnTo>
                  <a:lnTo>
                    <a:pt x="453" y="419"/>
                  </a:lnTo>
                  <a:lnTo>
                    <a:pt x="457" y="418"/>
                  </a:lnTo>
                  <a:lnTo>
                    <a:pt x="891" y="223"/>
                  </a:lnTo>
                  <a:lnTo>
                    <a:pt x="895" y="221"/>
                  </a:lnTo>
                  <a:lnTo>
                    <a:pt x="898" y="218"/>
                  </a:lnTo>
                  <a:lnTo>
                    <a:pt x="900" y="213"/>
                  </a:lnTo>
                  <a:lnTo>
                    <a:pt x="900" y="209"/>
                  </a:lnTo>
                  <a:lnTo>
                    <a:pt x="900" y="205"/>
                  </a:lnTo>
                  <a:lnTo>
                    <a:pt x="898" y="201"/>
                  </a:lnTo>
                  <a:lnTo>
                    <a:pt x="895" y="197"/>
                  </a:lnTo>
                  <a:lnTo>
                    <a:pt x="891" y="195"/>
                  </a:lnTo>
                  <a:lnTo>
                    <a:pt x="457" y="1"/>
                  </a:lnTo>
                  <a:lnTo>
                    <a:pt x="453" y="0"/>
                  </a:lnTo>
                  <a:lnTo>
                    <a:pt x="450" y="0"/>
                  </a:lnTo>
                  <a:lnTo>
                    <a:pt x="447" y="0"/>
                  </a:lnTo>
                  <a:lnTo>
                    <a:pt x="444" y="1"/>
                  </a:lnTo>
                  <a:lnTo>
                    <a:pt x="9" y="195"/>
                  </a:lnTo>
                  <a:lnTo>
                    <a:pt x="6" y="197"/>
                  </a:lnTo>
                  <a:lnTo>
                    <a:pt x="2" y="201"/>
                  </a:lnTo>
                  <a:lnTo>
                    <a:pt x="1" y="205"/>
                  </a:lnTo>
                  <a:lnTo>
                    <a:pt x="0" y="209"/>
                  </a:lnTo>
                  <a:lnTo>
                    <a:pt x="1" y="213"/>
                  </a:lnTo>
                  <a:lnTo>
                    <a:pt x="2" y="218"/>
                  </a:lnTo>
                  <a:lnTo>
                    <a:pt x="6" y="221"/>
                  </a:lnTo>
                  <a:lnTo>
                    <a:pt x="9"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6" name="Group 1033">
            <a:extLst>
              <a:ext uri="{FF2B5EF4-FFF2-40B4-BE49-F238E27FC236}">
                <a16:creationId xmlns:a16="http://schemas.microsoft.com/office/drawing/2014/main" id="{0DB3ECE9-2CB4-424D-AC77-E206674EE4C8}"/>
              </a:ext>
            </a:extLst>
          </p:cNvPr>
          <p:cNvGrpSpPr>
            <a:grpSpLocks noChangeAspect="1"/>
          </p:cNvGrpSpPr>
          <p:nvPr/>
        </p:nvGrpSpPr>
        <p:grpSpPr>
          <a:xfrm>
            <a:off x="6625711" y="5944848"/>
            <a:ext cx="309520" cy="308144"/>
            <a:chOff x="6672263" y="3222625"/>
            <a:chExt cx="357187" cy="355600"/>
          </a:xfrm>
          <a:solidFill>
            <a:schemeClr val="bg2"/>
          </a:solidFill>
          <a:effectLst/>
        </p:grpSpPr>
        <p:sp>
          <p:nvSpPr>
            <p:cNvPr id="847" name="Freeform 11">
              <a:extLst>
                <a:ext uri="{FF2B5EF4-FFF2-40B4-BE49-F238E27FC236}">
                  <a16:creationId xmlns:a16="http://schemas.microsoft.com/office/drawing/2014/main" id="{BF1A4124-DA6B-4849-BA8F-DEFC07FA1928}"/>
                </a:ext>
              </a:extLst>
            </p:cNvPr>
            <p:cNvSpPr>
              <a:spLocks/>
            </p:cNvSpPr>
            <p:nvPr/>
          </p:nvSpPr>
          <p:spPr bwMode="auto">
            <a:xfrm>
              <a:off x="6672263" y="3500438"/>
              <a:ext cx="357187"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8" name="Freeform 12">
              <a:extLst>
                <a:ext uri="{FF2B5EF4-FFF2-40B4-BE49-F238E27FC236}">
                  <a16:creationId xmlns:a16="http://schemas.microsoft.com/office/drawing/2014/main" id="{3B63E615-EBBA-42FB-84C0-836B250674A2}"/>
                </a:ext>
              </a:extLst>
            </p:cNvPr>
            <p:cNvSpPr>
              <a:spLocks/>
            </p:cNvSpPr>
            <p:nvPr/>
          </p:nvSpPr>
          <p:spPr bwMode="auto">
            <a:xfrm>
              <a:off x="6672263" y="3562350"/>
              <a:ext cx="357187"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9" name="Freeform 13">
              <a:extLst>
                <a:ext uri="{FF2B5EF4-FFF2-40B4-BE49-F238E27FC236}">
                  <a16:creationId xmlns:a16="http://schemas.microsoft.com/office/drawing/2014/main" id="{C754D1A8-AF66-4004-9FD1-C2130E0DA77A}"/>
                </a:ext>
              </a:extLst>
            </p:cNvPr>
            <p:cNvSpPr>
              <a:spLocks/>
            </p:cNvSpPr>
            <p:nvPr/>
          </p:nvSpPr>
          <p:spPr bwMode="auto">
            <a:xfrm>
              <a:off x="6704013" y="3500438"/>
              <a:ext cx="14287"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0" name="Freeform 14">
              <a:extLst>
                <a:ext uri="{FF2B5EF4-FFF2-40B4-BE49-F238E27FC236}">
                  <a16:creationId xmlns:a16="http://schemas.microsoft.com/office/drawing/2014/main" id="{600ED904-3818-4B89-9A22-EC4A45325D2F}"/>
                </a:ext>
              </a:extLst>
            </p:cNvPr>
            <p:cNvSpPr>
              <a:spLocks/>
            </p:cNvSpPr>
            <p:nvPr/>
          </p:nvSpPr>
          <p:spPr bwMode="auto">
            <a:xfrm>
              <a:off x="6734175"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1" name="Freeform 15">
              <a:extLst>
                <a:ext uri="{FF2B5EF4-FFF2-40B4-BE49-F238E27FC236}">
                  <a16:creationId xmlns:a16="http://schemas.microsoft.com/office/drawing/2014/main" id="{1199E3FE-E355-4411-B97C-9482A0C2FC21}"/>
                </a:ext>
              </a:extLst>
            </p:cNvPr>
            <p:cNvSpPr>
              <a:spLocks/>
            </p:cNvSpPr>
            <p:nvPr/>
          </p:nvSpPr>
          <p:spPr bwMode="auto">
            <a:xfrm>
              <a:off x="6827838" y="3500438"/>
              <a:ext cx="14287"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2" name="Freeform 16">
              <a:extLst>
                <a:ext uri="{FF2B5EF4-FFF2-40B4-BE49-F238E27FC236}">
                  <a16:creationId xmlns:a16="http://schemas.microsoft.com/office/drawing/2014/main" id="{F94E6FB3-B01B-4FD4-A062-AC2DAB00FE6F}"/>
                </a:ext>
              </a:extLst>
            </p:cNvPr>
            <p:cNvSpPr>
              <a:spLocks/>
            </p:cNvSpPr>
            <p:nvPr/>
          </p:nvSpPr>
          <p:spPr bwMode="auto">
            <a:xfrm>
              <a:off x="6858000"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3" name="Freeform 17">
              <a:extLst>
                <a:ext uri="{FF2B5EF4-FFF2-40B4-BE49-F238E27FC236}">
                  <a16:creationId xmlns:a16="http://schemas.microsoft.com/office/drawing/2014/main" id="{D9E3117A-F00C-4A4B-8402-2E4E2281E516}"/>
                </a:ext>
              </a:extLst>
            </p:cNvPr>
            <p:cNvSpPr>
              <a:spLocks/>
            </p:cNvSpPr>
            <p:nvPr/>
          </p:nvSpPr>
          <p:spPr bwMode="auto">
            <a:xfrm>
              <a:off x="6981825"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4" name="Freeform 18">
              <a:extLst>
                <a:ext uri="{FF2B5EF4-FFF2-40B4-BE49-F238E27FC236}">
                  <a16:creationId xmlns:a16="http://schemas.microsoft.com/office/drawing/2014/main" id="{224EFFDD-A311-4987-8AC1-6BDE41A832D5}"/>
                </a:ext>
              </a:extLst>
            </p:cNvPr>
            <p:cNvSpPr>
              <a:spLocks/>
            </p:cNvSpPr>
            <p:nvPr/>
          </p:nvSpPr>
          <p:spPr bwMode="auto">
            <a:xfrm>
              <a:off x="6951663"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5" name="Freeform 19">
              <a:extLst>
                <a:ext uri="{FF2B5EF4-FFF2-40B4-BE49-F238E27FC236}">
                  <a16:creationId xmlns:a16="http://schemas.microsoft.com/office/drawing/2014/main" id="{8A6FF2E3-1A1A-4BBA-B32C-62F802B891FA}"/>
                </a:ext>
              </a:extLst>
            </p:cNvPr>
            <p:cNvSpPr>
              <a:spLocks noEditPoints="1"/>
            </p:cNvSpPr>
            <p:nvPr/>
          </p:nvSpPr>
          <p:spPr bwMode="auto">
            <a:xfrm>
              <a:off x="6704013" y="3346450"/>
              <a:ext cx="153987"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6" name="Freeform 20">
              <a:extLst>
                <a:ext uri="{FF2B5EF4-FFF2-40B4-BE49-F238E27FC236}">
                  <a16:creationId xmlns:a16="http://schemas.microsoft.com/office/drawing/2014/main" id="{0D94DE22-9445-4E0E-B6EA-56AF4470DCE6}"/>
                </a:ext>
              </a:extLst>
            </p:cNvPr>
            <p:cNvSpPr>
              <a:spLocks noEditPoints="1"/>
            </p:cNvSpPr>
            <p:nvPr/>
          </p:nvSpPr>
          <p:spPr bwMode="auto">
            <a:xfrm>
              <a:off x="6842125" y="3346450"/>
              <a:ext cx="155575"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7" name="Freeform 21">
              <a:extLst>
                <a:ext uri="{FF2B5EF4-FFF2-40B4-BE49-F238E27FC236}">
                  <a16:creationId xmlns:a16="http://schemas.microsoft.com/office/drawing/2014/main" id="{6E8A4781-E79A-4847-B89E-CA024950D546}"/>
                </a:ext>
              </a:extLst>
            </p:cNvPr>
            <p:cNvSpPr>
              <a:spLocks noEditPoints="1"/>
            </p:cNvSpPr>
            <p:nvPr/>
          </p:nvSpPr>
          <p:spPr bwMode="auto">
            <a:xfrm>
              <a:off x="6780213" y="3222625"/>
              <a:ext cx="155575"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8" name="Freeform 22">
              <a:extLst>
                <a:ext uri="{FF2B5EF4-FFF2-40B4-BE49-F238E27FC236}">
                  <a16:creationId xmlns:a16="http://schemas.microsoft.com/office/drawing/2014/main" id="{5AB33462-034A-4A5C-9912-7177B3FB5E7B}"/>
                </a:ext>
              </a:extLst>
            </p:cNvPr>
            <p:cNvSpPr>
              <a:spLocks noEditPoints="1"/>
            </p:cNvSpPr>
            <p:nvPr/>
          </p:nvSpPr>
          <p:spPr bwMode="auto">
            <a:xfrm>
              <a:off x="6827838" y="3222625"/>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9" name="Freeform 23">
              <a:extLst>
                <a:ext uri="{FF2B5EF4-FFF2-40B4-BE49-F238E27FC236}">
                  <a16:creationId xmlns:a16="http://schemas.microsoft.com/office/drawing/2014/main" id="{065A4FE1-1982-4EAA-9912-40F9373D1481}"/>
                </a:ext>
              </a:extLst>
            </p:cNvPr>
            <p:cNvSpPr>
              <a:spLocks noEditPoints="1"/>
            </p:cNvSpPr>
            <p:nvPr/>
          </p:nvSpPr>
          <p:spPr bwMode="auto">
            <a:xfrm>
              <a:off x="6750050" y="3346450"/>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0" name="Freeform 24">
              <a:extLst>
                <a:ext uri="{FF2B5EF4-FFF2-40B4-BE49-F238E27FC236}">
                  <a16:creationId xmlns:a16="http://schemas.microsoft.com/office/drawing/2014/main" id="{AA80A568-6EBD-4E60-82A7-2AA76627D97B}"/>
                </a:ext>
              </a:extLst>
            </p:cNvPr>
            <p:cNvSpPr>
              <a:spLocks noEditPoints="1"/>
            </p:cNvSpPr>
            <p:nvPr/>
          </p:nvSpPr>
          <p:spPr bwMode="auto">
            <a:xfrm>
              <a:off x="6889750" y="3346450"/>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61" name="Group 116">
            <a:extLst>
              <a:ext uri="{FF2B5EF4-FFF2-40B4-BE49-F238E27FC236}">
                <a16:creationId xmlns:a16="http://schemas.microsoft.com/office/drawing/2014/main" id="{2B1F4C36-7D62-4F77-964F-D22786832D53}"/>
              </a:ext>
            </a:extLst>
          </p:cNvPr>
          <p:cNvGrpSpPr>
            <a:grpSpLocks noChangeAspect="1"/>
          </p:cNvGrpSpPr>
          <p:nvPr/>
        </p:nvGrpSpPr>
        <p:grpSpPr>
          <a:xfrm>
            <a:off x="8294869" y="5944848"/>
            <a:ext cx="306814" cy="308144"/>
            <a:chOff x="7993127" y="1193798"/>
            <a:chExt cx="369873" cy="371474"/>
          </a:xfrm>
          <a:solidFill>
            <a:schemeClr val="bg2"/>
          </a:solidFill>
        </p:grpSpPr>
        <p:sp>
          <p:nvSpPr>
            <p:cNvPr id="862" name="Freeform 65">
              <a:extLst>
                <a:ext uri="{FF2B5EF4-FFF2-40B4-BE49-F238E27FC236}">
                  <a16:creationId xmlns:a16="http://schemas.microsoft.com/office/drawing/2014/main" id="{0E946F59-4780-426B-B846-34D7F0DB9CD6}"/>
                </a:ext>
              </a:extLst>
            </p:cNvPr>
            <p:cNvSpPr>
              <a:spLocks/>
            </p:cNvSpPr>
            <p:nvPr/>
          </p:nvSpPr>
          <p:spPr bwMode="auto">
            <a:xfrm>
              <a:off x="7993130" y="1255713"/>
              <a:ext cx="231777"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3" name="Freeform 66">
              <a:extLst>
                <a:ext uri="{FF2B5EF4-FFF2-40B4-BE49-F238E27FC236}">
                  <a16:creationId xmlns:a16="http://schemas.microsoft.com/office/drawing/2014/main" id="{89353958-31AA-4B50-91BE-2CF011F8836D}"/>
                </a:ext>
              </a:extLst>
            </p:cNvPr>
            <p:cNvSpPr>
              <a:spLocks noEditPoints="1"/>
            </p:cNvSpPr>
            <p:nvPr/>
          </p:nvSpPr>
          <p:spPr bwMode="auto">
            <a:xfrm>
              <a:off x="7993127" y="1193800"/>
              <a:ext cx="231777"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4" name="Freeform 67">
              <a:extLst>
                <a:ext uri="{FF2B5EF4-FFF2-40B4-BE49-F238E27FC236}">
                  <a16:creationId xmlns:a16="http://schemas.microsoft.com/office/drawing/2014/main" id="{67C3652E-1E63-4F83-8C4C-6A68DD3CA17B}"/>
                </a:ext>
              </a:extLst>
            </p:cNvPr>
            <p:cNvSpPr>
              <a:spLocks/>
            </p:cNvSpPr>
            <p:nvPr/>
          </p:nvSpPr>
          <p:spPr bwMode="auto">
            <a:xfrm>
              <a:off x="8101074" y="1193798"/>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5" name="Freeform 68">
              <a:extLst>
                <a:ext uri="{FF2B5EF4-FFF2-40B4-BE49-F238E27FC236}">
                  <a16:creationId xmlns:a16="http://schemas.microsoft.com/office/drawing/2014/main" id="{0D249BB7-E469-4AE6-B3AF-A53B27BE1978}"/>
                </a:ext>
              </a:extLst>
            </p:cNvPr>
            <p:cNvSpPr>
              <a:spLocks noEditPoints="1"/>
            </p:cNvSpPr>
            <p:nvPr/>
          </p:nvSpPr>
          <p:spPr bwMode="auto">
            <a:xfrm>
              <a:off x="8131223" y="1333497"/>
              <a:ext cx="231777"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4"/>
                    <a:pt x="13" y="0"/>
                    <a:pt x="30" y="0"/>
                  </a:cubicBezTo>
                  <a:cubicBezTo>
                    <a:pt x="47" y="0"/>
                    <a:pt x="60" y="14"/>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6" name="Freeform 69">
              <a:extLst>
                <a:ext uri="{FF2B5EF4-FFF2-40B4-BE49-F238E27FC236}">
                  <a16:creationId xmlns:a16="http://schemas.microsoft.com/office/drawing/2014/main" id="{A7134051-65D7-48F1-8D04-51EAAF10D172}"/>
                </a:ext>
              </a:extLst>
            </p:cNvPr>
            <p:cNvSpPr>
              <a:spLocks/>
            </p:cNvSpPr>
            <p:nvPr/>
          </p:nvSpPr>
          <p:spPr bwMode="auto">
            <a:xfrm>
              <a:off x="8216934" y="1390648"/>
              <a:ext cx="61912" cy="115888"/>
            </a:xfrm>
            <a:custGeom>
              <a:avLst/>
              <a:gdLst>
                <a:gd name="T0" fmla="*/ 8 w 16"/>
                <a:gd name="T1" fmla="*/ 30 h 30"/>
                <a:gd name="T2" fmla="*/ 0 w 16"/>
                <a:gd name="T3" fmla="*/ 21 h 30"/>
                <a:gd name="T4" fmla="*/ 2 w 16"/>
                <a:gd name="T5" fmla="*/ 19 h 30"/>
                <a:gd name="T6" fmla="*/ 4 w 16"/>
                <a:gd name="T7" fmla="*/ 21 h 30"/>
                <a:gd name="T8" fmla="*/ 8 w 16"/>
                <a:gd name="T9" fmla="*/ 26 h 30"/>
                <a:gd name="T10" fmla="*/ 12 w 16"/>
                <a:gd name="T11" fmla="*/ 21 h 30"/>
                <a:gd name="T12" fmla="*/ 8 w 16"/>
                <a:gd name="T13" fmla="*/ 17 h 30"/>
                <a:gd name="T14" fmla="*/ 0 w 16"/>
                <a:gd name="T15" fmla="*/ 8 h 30"/>
                <a:gd name="T16" fmla="*/ 8 w 16"/>
                <a:gd name="T17" fmla="*/ 0 h 30"/>
                <a:gd name="T18" fmla="*/ 16 w 16"/>
                <a:gd name="T19" fmla="*/ 8 h 30"/>
                <a:gd name="T20" fmla="*/ 14 w 16"/>
                <a:gd name="T21" fmla="*/ 10 h 30"/>
                <a:gd name="T22" fmla="*/ 12 w 16"/>
                <a:gd name="T23" fmla="*/ 8 h 30"/>
                <a:gd name="T24" fmla="*/ 8 w 16"/>
                <a:gd name="T25" fmla="*/ 4 h 30"/>
                <a:gd name="T26" fmla="*/ 4 w 16"/>
                <a:gd name="T27" fmla="*/ 8 h 30"/>
                <a:gd name="T28" fmla="*/ 8 w 16"/>
                <a:gd name="T29" fmla="*/ 13 h 30"/>
                <a:gd name="T30" fmla="*/ 16 w 16"/>
                <a:gd name="T31" fmla="*/ 21 h 30"/>
                <a:gd name="T32" fmla="*/ 8 w 16"/>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30">
                  <a:moveTo>
                    <a:pt x="8" y="30"/>
                  </a:moveTo>
                  <a:cubicBezTo>
                    <a:pt x="3" y="30"/>
                    <a:pt x="0" y="26"/>
                    <a:pt x="0" y="21"/>
                  </a:cubicBezTo>
                  <a:cubicBezTo>
                    <a:pt x="0" y="20"/>
                    <a:pt x="0" y="19"/>
                    <a:pt x="2" y="19"/>
                  </a:cubicBezTo>
                  <a:cubicBezTo>
                    <a:pt x="3" y="19"/>
                    <a:pt x="4" y="20"/>
                    <a:pt x="4" y="21"/>
                  </a:cubicBezTo>
                  <a:cubicBezTo>
                    <a:pt x="4" y="24"/>
                    <a:pt x="6" y="26"/>
                    <a:pt x="8" y="26"/>
                  </a:cubicBezTo>
                  <a:cubicBezTo>
                    <a:pt x="10" y="26"/>
                    <a:pt x="12" y="24"/>
                    <a:pt x="12" y="21"/>
                  </a:cubicBezTo>
                  <a:cubicBezTo>
                    <a:pt x="12" y="19"/>
                    <a:pt x="10" y="17"/>
                    <a:pt x="8" y="17"/>
                  </a:cubicBezTo>
                  <a:cubicBezTo>
                    <a:pt x="3" y="17"/>
                    <a:pt x="0" y="13"/>
                    <a:pt x="0" y="8"/>
                  </a:cubicBezTo>
                  <a:cubicBezTo>
                    <a:pt x="0" y="4"/>
                    <a:pt x="3" y="0"/>
                    <a:pt x="8" y="0"/>
                  </a:cubicBezTo>
                  <a:cubicBezTo>
                    <a:pt x="13" y="0"/>
                    <a:pt x="16" y="4"/>
                    <a:pt x="16" y="8"/>
                  </a:cubicBezTo>
                  <a:cubicBezTo>
                    <a:pt x="16" y="9"/>
                    <a:pt x="16" y="10"/>
                    <a:pt x="14" y="10"/>
                  </a:cubicBezTo>
                  <a:cubicBezTo>
                    <a:pt x="13" y="10"/>
                    <a:pt x="12" y="9"/>
                    <a:pt x="12" y="8"/>
                  </a:cubicBezTo>
                  <a:cubicBezTo>
                    <a:pt x="12" y="6"/>
                    <a:pt x="10" y="4"/>
                    <a:pt x="8" y="4"/>
                  </a:cubicBezTo>
                  <a:cubicBezTo>
                    <a:pt x="6" y="4"/>
                    <a:pt x="4" y="6"/>
                    <a:pt x="4" y="8"/>
                  </a:cubicBezTo>
                  <a:cubicBezTo>
                    <a:pt x="4" y="11"/>
                    <a:pt x="6" y="13"/>
                    <a:pt x="8" y="13"/>
                  </a:cubicBezTo>
                  <a:cubicBezTo>
                    <a:pt x="13" y="13"/>
                    <a:pt x="16" y="17"/>
                    <a:pt x="16" y="21"/>
                  </a:cubicBezTo>
                  <a:cubicBezTo>
                    <a:pt x="16" y="26"/>
                    <a:pt x="13" y="3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7" name="Freeform 70">
              <a:extLst>
                <a:ext uri="{FF2B5EF4-FFF2-40B4-BE49-F238E27FC236}">
                  <a16:creationId xmlns:a16="http://schemas.microsoft.com/office/drawing/2014/main" id="{A68C43A5-0638-4C77-8B62-66B106739370}"/>
                </a:ext>
              </a:extLst>
            </p:cNvPr>
            <p:cNvSpPr>
              <a:spLocks/>
            </p:cNvSpPr>
            <p:nvPr/>
          </p:nvSpPr>
          <p:spPr bwMode="auto">
            <a:xfrm>
              <a:off x="8239297" y="1492244"/>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8" name="Freeform 71">
              <a:extLst>
                <a:ext uri="{FF2B5EF4-FFF2-40B4-BE49-F238E27FC236}">
                  <a16:creationId xmlns:a16="http://schemas.microsoft.com/office/drawing/2014/main" id="{EB3714A0-CC27-4D9E-BC96-754D4BD8E4D0}"/>
                </a:ext>
              </a:extLst>
            </p:cNvPr>
            <p:cNvSpPr>
              <a:spLocks/>
            </p:cNvSpPr>
            <p:nvPr/>
          </p:nvSpPr>
          <p:spPr bwMode="auto">
            <a:xfrm>
              <a:off x="8239125" y="1371600"/>
              <a:ext cx="15875" cy="34925"/>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69" name="Group 219">
            <a:extLst>
              <a:ext uri="{FF2B5EF4-FFF2-40B4-BE49-F238E27FC236}">
                <a16:creationId xmlns:a16="http://schemas.microsoft.com/office/drawing/2014/main" id="{2198A826-F152-4BA8-A933-4A497F04FEA9}"/>
              </a:ext>
            </a:extLst>
          </p:cNvPr>
          <p:cNvGrpSpPr>
            <a:grpSpLocks noChangeAspect="1"/>
          </p:cNvGrpSpPr>
          <p:nvPr/>
        </p:nvGrpSpPr>
        <p:grpSpPr>
          <a:xfrm>
            <a:off x="7866168" y="5944848"/>
            <a:ext cx="306827" cy="308144"/>
            <a:chOff x="8855075" y="4826000"/>
            <a:chExt cx="369888" cy="371475"/>
          </a:xfrm>
          <a:solidFill>
            <a:schemeClr val="bg2"/>
          </a:solidFill>
        </p:grpSpPr>
        <p:sp>
          <p:nvSpPr>
            <p:cNvPr id="870" name="Freeform 84">
              <a:extLst>
                <a:ext uri="{FF2B5EF4-FFF2-40B4-BE49-F238E27FC236}">
                  <a16:creationId xmlns:a16="http://schemas.microsoft.com/office/drawing/2014/main" id="{2F696016-F962-4A90-AD0F-15D5495F3CC6}"/>
                </a:ext>
              </a:extLst>
            </p:cNvPr>
            <p:cNvSpPr>
              <a:spLocks noEditPoints="1"/>
            </p:cNvSpPr>
            <p:nvPr/>
          </p:nvSpPr>
          <p:spPr bwMode="auto">
            <a:xfrm>
              <a:off x="8993188" y="4965700"/>
              <a:ext cx="231775"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1" name="Freeform 85">
              <a:extLst>
                <a:ext uri="{FF2B5EF4-FFF2-40B4-BE49-F238E27FC236}">
                  <a16:creationId xmlns:a16="http://schemas.microsoft.com/office/drawing/2014/main" id="{CAFCD759-B2CA-4B32-8A47-D5EF5746F7E4}"/>
                </a:ext>
              </a:extLst>
            </p:cNvPr>
            <p:cNvSpPr>
              <a:spLocks/>
            </p:cNvSpPr>
            <p:nvPr/>
          </p:nvSpPr>
          <p:spPr bwMode="auto">
            <a:xfrm>
              <a:off x="9055100" y="5073650"/>
              <a:ext cx="107950"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2" name="Freeform 86">
              <a:extLst>
                <a:ext uri="{FF2B5EF4-FFF2-40B4-BE49-F238E27FC236}">
                  <a16:creationId xmlns:a16="http://schemas.microsoft.com/office/drawing/2014/main" id="{F63979FC-F55C-4178-B998-FCD7348632D1}"/>
                </a:ext>
              </a:extLst>
            </p:cNvPr>
            <p:cNvSpPr>
              <a:spLocks/>
            </p:cNvSpPr>
            <p:nvPr/>
          </p:nvSpPr>
          <p:spPr bwMode="auto">
            <a:xfrm>
              <a:off x="8855075" y="4887913"/>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3" name="Freeform 87">
              <a:extLst>
                <a:ext uri="{FF2B5EF4-FFF2-40B4-BE49-F238E27FC236}">
                  <a16:creationId xmlns:a16="http://schemas.microsoft.com/office/drawing/2014/main" id="{2A130EC2-807A-40E6-94B6-7887EDC98AAA}"/>
                </a:ext>
              </a:extLst>
            </p:cNvPr>
            <p:cNvSpPr>
              <a:spLocks noEditPoints="1"/>
            </p:cNvSpPr>
            <p:nvPr/>
          </p:nvSpPr>
          <p:spPr bwMode="auto">
            <a:xfrm>
              <a:off x="8855075" y="4826000"/>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4" name="Freeform 88">
              <a:extLst>
                <a:ext uri="{FF2B5EF4-FFF2-40B4-BE49-F238E27FC236}">
                  <a16:creationId xmlns:a16="http://schemas.microsoft.com/office/drawing/2014/main" id="{137548D2-7D42-4CF6-AFE0-2EA9123036DB}"/>
                </a:ext>
              </a:extLst>
            </p:cNvPr>
            <p:cNvSpPr>
              <a:spLocks/>
            </p:cNvSpPr>
            <p:nvPr/>
          </p:nvSpPr>
          <p:spPr bwMode="auto">
            <a:xfrm>
              <a:off x="8963025" y="4826000"/>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75" name="Group 1062">
            <a:extLst>
              <a:ext uri="{FF2B5EF4-FFF2-40B4-BE49-F238E27FC236}">
                <a16:creationId xmlns:a16="http://schemas.microsoft.com/office/drawing/2014/main" id="{BB47F82C-476B-4908-B581-9C3FCDA70CF1}"/>
              </a:ext>
            </a:extLst>
          </p:cNvPr>
          <p:cNvGrpSpPr>
            <a:grpSpLocks noChangeAspect="1"/>
          </p:cNvGrpSpPr>
          <p:nvPr/>
        </p:nvGrpSpPr>
        <p:grpSpPr>
          <a:xfrm>
            <a:off x="7059090" y="5944848"/>
            <a:ext cx="308149" cy="308144"/>
            <a:chOff x="3502025" y="4652942"/>
            <a:chExt cx="371477" cy="371469"/>
          </a:xfrm>
          <a:solidFill>
            <a:schemeClr val="bg2"/>
          </a:solidFill>
        </p:grpSpPr>
        <p:sp>
          <p:nvSpPr>
            <p:cNvPr id="876" name="Freeform 92">
              <a:extLst>
                <a:ext uri="{FF2B5EF4-FFF2-40B4-BE49-F238E27FC236}">
                  <a16:creationId xmlns:a16="http://schemas.microsoft.com/office/drawing/2014/main" id="{57FC0C3A-3E38-444B-8FD7-4906ABDFD23F}"/>
                </a:ext>
              </a:extLst>
            </p:cNvPr>
            <p:cNvSpPr>
              <a:spLocks/>
            </p:cNvSpPr>
            <p:nvPr/>
          </p:nvSpPr>
          <p:spPr bwMode="auto">
            <a:xfrm>
              <a:off x="3502025" y="4714860"/>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7" name="Freeform 93">
              <a:extLst>
                <a:ext uri="{FF2B5EF4-FFF2-40B4-BE49-F238E27FC236}">
                  <a16:creationId xmlns:a16="http://schemas.microsoft.com/office/drawing/2014/main" id="{F57489B7-7870-4515-B3C5-8057ECA53D91}"/>
                </a:ext>
              </a:extLst>
            </p:cNvPr>
            <p:cNvSpPr>
              <a:spLocks noEditPoints="1"/>
            </p:cNvSpPr>
            <p:nvPr/>
          </p:nvSpPr>
          <p:spPr bwMode="auto">
            <a:xfrm>
              <a:off x="3502029" y="4652942"/>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8" name="Freeform 94">
              <a:extLst>
                <a:ext uri="{FF2B5EF4-FFF2-40B4-BE49-F238E27FC236}">
                  <a16:creationId xmlns:a16="http://schemas.microsoft.com/office/drawing/2014/main" id="{DA8D9F39-421A-4731-BE12-2A4EC8E4370D}"/>
                </a:ext>
              </a:extLst>
            </p:cNvPr>
            <p:cNvSpPr>
              <a:spLocks noEditPoints="1"/>
            </p:cNvSpPr>
            <p:nvPr/>
          </p:nvSpPr>
          <p:spPr bwMode="auto">
            <a:xfrm>
              <a:off x="3641727" y="4792637"/>
              <a:ext cx="231775" cy="231774"/>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9" name="Freeform 95">
              <a:extLst>
                <a:ext uri="{FF2B5EF4-FFF2-40B4-BE49-F238E27FC236}">
                  <a16:creationId xmlns:a16="http://schemas.microsoft.com/office/drawing/2014/main" id="{4A0950A6-E97F-41B4-98D9-9B5FC826B2BA}"/>
                </a:ext>
              </a:extLst>
            </p:cNvPr>
            <p:cNvSpPr>
              <a:spLocks/>
            </p:cNvSpPr>
            <p:nvPr/>
          </p:nvSpPr>
          <p:spPr bwMode="auto">
            <a:xfrm>
              <a:off x="3703645" y="4916461"/>
              <a:ext cx="107950" cy="61913"/>
            </a:xfrm>
            <a:custGeom>
              <a:avLst/>
              <a:gdLst>
                <a:gd name="T0" fmla="*/ 14 w 28"/>
                <a:gd name="T1" fmla="*/ 16 h 16"/>
                <a:gd name="T2" fmla="*/ 13 w 28"/>
                <a:gd name="T3" fmla="*/ 15 h 16"/>
                <a:gd name="T4" fmla="*/ 1 w 28"/>
                <a:gd name="T5" fmla="*/ 3 h 16"/>
                <a:gd name="T6" fmla="*/ 1 w 28"/>
                <a:gd name="T7" fmla="*/ 1 h 16"/>
                <a:gd name="T8" fmla="*/ 3 w 28"/>
                <a:gd name="T9" fmla="*/ 1 h 16"/>
                <a:gd name="T10" fmla="*/ 14 w 28"/>
                <a:gd name="T11" fmla="*/ 11 h 16"/>
                <a:gd name="T12" fmla="*/ 25 w 28"/>
                <a:gd name="T13" fmla="*/ 1 h 16"/>
                <a:gd name="T14" fmla="*/ 27 w 28"/>
                <a:gd name="T15" fmla="*/ 1 h 16"/>
                <a:gd name="T16" fmla="*/ 27 w 28"/>
                <a:gd name="T17" fmla="*/ 3 h 16"/>
                <a:gd name="T18" fmla="*/ 15 w 28"/>
                <a:gd name="T19" fmla="*/ 15 h 16"/>
                <a:gd name="T20" fmla="*/ 14 w 28"/>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14" y="16"/>
                  </a:moveTo>
                  <a:cubicBezTo>
                    <a:pt x="13" y="16"/>
                    <a:pt x="13" y="16"/>
                    <a:pt x="13" y="15"/>
                  </a:cubicBezTo>
                  <a:cubicBezTo>
                    <a:pt x="1" y="3"/>
                    <a:pt x="1" y="3"/>
                    <a:pt x="1" y="3"/>
                  </a:cubicBezTo>
                  <a:cubicBezTo>
                    <a:pt x="0" y="3"/>
                    <a:pt x="0" y="1"/>
                    <a:pt x="1" y="1"/>
                  </a:cubicBezTo>
                  <a:cubicBezTo>
                    <a:pt x="1" y="0"/>
                    <a:pt x="3" y="0"/>
                    <a:pt x="3" y="1"/>
                  </a:cubicBezTo>
                  <a:cubicBezTo>
                    <a:pt x="14" y="11"/>
                    <a:pt x="14" y="11"/>
                    <a:pt x="14" y="11"/>
                  </a:cubicBezTo>
                  <a:cubicBezTo>
                    <a:pt x="25" y="1"/>
                    <a:pt x="25" y="1"/>
                    <a:pt x="25" y="1"/>
                  </a:cubicBezTo>
                  <a:cubicBezTo>
                    <a:pt x="25" y="0"/>
                    <a:pt x="27" y="0"/>
                    <a:pt x="27" y="1"/>
                  </a:cubicBezTo>
                  <a:cubicBezTo>
                    <a:pt x="28" y="1"/>
                    <a:pt x="28" y="3"/>
                    <a:pt x="27" y="3"/>
                  </a:cubicBezTo>
                  <a:cubicBezTo>
                    <a:pt x="15" y="15"/>
                    <a:pt x="15" y="15"/>
                    <a:pt x="15" y="15"/>
                  </a:cubicBezTo>
                  <a:cubicBezTo>
                    <a:pt x="15" y="16"/>
                    <a:pt x="15" y="16"/>
                    <a:pt x="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0" name="Freeform 96">
              <a:extLst>
                <a:ext uri="{FF2B5EF4-FFF2-40B4-BE49-F238E27FC236}">
                  <a16:creationId xmlns:a16="http://schemas.microsoft.com/office/drawing/2014/main" id="{AC317D36-CC90-407D-819A-D7449DD54BC1}"/>
                </a:ext>
              </a:extLst>
            </p:cNvPr>
            <p:cNvSpPr>
              <a:spLocks/>
            </p:cNvSpPr>
            <p:nvPr/>
          </p:nvSpPr>
          <p:spPr bwMode="auto">
            <a:xfrm>
              <a:off x="3749692" y="4854554"/>
              <a:ext cx="15875" cy="123824"/>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1" name="Freeform 97">
              <a:extLst>
                <a:ext uri="{FF2B5EF4-FFF2-40B4-BE49-F238E27FC236}">
                  <a16:creationId xmlns:a16="http://schemas.microsoft.com/office/drawing/2014/main" id="{C6E50748-9D7A-4BF3-A119-903769B3DBBA}"/>
                </a:ext>
              </a:extLst>
            </p:cNvPr>
            <p:cNvSpPr>
              <a:spLocks/>
            </p:cNvSpPr>
            <p:nvPr/>
          </p:nvSpPr>
          <p:spPr bwMode="auto">
            <a:xfrm>
              <a:off x="3609975" y="4652963"/>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82" name="Group 1083">
            <a:extLst>
              <a:ext uri="{FF2B5EF4-FFF2-40B4-BE49-F238E27FC236}">
                <a16:creationId xmlns:a16="http://schemas.microsoft.com/office/drawing/2014/main" id="{ED344DDA-581A-47AC-8A2B-6097C5382018}"/>
              </a:ext>
            </a:extLst>
          </p:cNvPr>
          <p:cNvGrpSpPr>
            <a:grpSpLocks noChangeAspect="1"/>
          </p:cNvGrpSpPr>
          <p:nvPr/>
        </p:nvGrpSpPr>
        <p:grpSpPr>
          <a:xfrm>
            <a:off x="7460637" y="5944848"/>
            <a:ext cx="308144" cy="308144"/>
            <a:chOff x="8350250" y="4516438"/>
            <a:chExt cx="371475" cy="371475"/>
          </a:xfrm>
          <a:solidFill>
            <a:schemeClr val="bg2"/>
          </a:solidFill>
        </p:grpSpPr>
        <p:sp>
          <p:nvSpPr>
            <p:cNvPr id="883" name="Freeform 110">
              <a:extLst>
                <a:ext uri="{FF2B5EF4-FFF2-40B4-BE49-F238E27FC236}">
                  <a16:creationId xmlns:a16="http://schemas.microsoft.com/office/drawing/2014/main" id="{469BBC93-354A-4E87-9B23-77CC575FB6EC}"/>
                </a:ext>
              </a:extLst>
            </p:cNvPr>
            <p:cNvSpPr>
              <a:spLocks noEditPoints="1"/>
            </p:cNvSpPr>
            <p:nvPr/>
          </p:nvSpPr>
          <p:spPr bwMode="auto">
            <a:xfrm>
              <a:off x="8489950" y="4656138"/>
              <a:ext cx="231775"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4" name="Freeform 111">
              <a:extLst>
                <a:ext uri="{FF2B5EF4-FFF2-40B4-BE49-F238E27FC236}">
                  <a16:creationId xmlns:a16="http://schemas.microsoft.com/office/drawing/2014/main" id="{177688C4-19F1-4CB3-8385-5483B64BE076}"/>
                </a:ext>
              </a:extLst>
            </p:cNvPr>
            <p:cNvSpPr>
              <a:spLocks/>
            </p:cNvSpPr>
            <p:nvPr/>
          </p:nvSpPr>
          <p:spPr bwMode="auto">
            <a:xfrm>
              <a:off x="8543925" y="4733926"/>
              <a:ext cx="131763" cy="92075"/>
            </a:xfrm>
            <a:custGeom>
              <a:avLst/>
              <a:gdLst>
                <a:gd name="T0" fmla="*/ 14 w 34"/>
                <a:gd name="T1" fmla="*/ 24 h 24"/>
                <a:gd name="T2" fmla="*/ 13 w 34"/>
                <a:gd name="T3" fmla="*/ 23 h 24"/>
                <a:gd name="T4" fmla="*/ 1 w 34"/>
                <a:gd name="T5" fmla="*/ 11 h 24"/>
                <a:gd name="T6" fmla="*/ 1 w 34"/>
                <a:gd name="T7" fmla="*/ 9 h 24"/>
                <a:gd name="T8" fmla="*/ 3 w 34"/>
                <a:gd name="T9" fmla="*/ 9 h 24"/>
                <a:gd name="T10" fmla="*/ 14 w 34"/>
                <a:gd name="T11" fmla="*/ 19 h 24"/>
                <a:gd name="T12" fmla="*/ 31 w 34"/>
                <a:gd name="T13" fmla="*/ 1 h 24"/>
                <a:gd name="T14" fmla="*/ 33 w 34"/>
                <a:gd name="T15" fmla="*/ 1 h 24"/>
                <a:gd name="T16" fmla="*/ 33 w 34"/>
                <a:gd name="T17" fmla="*/ 3 h 24"/>
                <a:gd name="T18" fmla="*/ 15 w 34"/>
                <a:gd name="T19" fmla="*/ 23 h 24"/>
                <a:gd name="T20" fmla="*/ 14 w 34"/>
                <a:gd name="T21" fmla="*/ 24 h 24"/>
                <a:gd name="T22" fmla="*/ 14 w 3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4">
                  <a:moveTo>
                    <a:pt x="14" y="24"/>
                  </a:moveTo>
                  <a:cubicBezTo>
                    <a:pt x="13" y="24"/>
                    <a:pt x="13" y="24"/>
                    <a:pt x="13" y="23"/>
                  </a:cubicBezTo>
                  <a:cubicBezTo>
                    <a:pt x="1" y="11"/>
                    <a:pt x="1" y="11"/>
                    <a:pt x="1" y="11"/>
                  </a:cubicBezTo>
                  <a:cubicBezTo>
                    <a:pt x="0" y="11"/>
                    <a:pt x="0" y="9"/>
                    <a:pt x="1" y="9"/>
                  </a:cubicBezTo>
                  <a:cubicBezTo>
                    <a:pt x="1" y="8"/>
                    <a:pt x="3" y="8"/>
                    <a:pt x="3" y="9"/>
                  </a:cubicBezTo>
                  <a:cubicBezTo>
                    <a:pt x="14" y="19"/>
                    <a:pt x="14" y="19"/>
                    <a:pt x="14" y="19"/>
                  </a:cubicBezTo>
                  <a:cubicBezTo>
                    <a:pt x="31" y="1"/>
                    <a:pt x="31" y="1"/>
                    <a:pt x="31" y="1"/>
                  </a:cubicBezTo>
                  <a:cubicBezTo>
                    <a:pt x="31" y="0"/>
                    <a:pt x="33" y="0"/>
                    <a:pt x="33" y="1"/>
                  </a:cubicBezTo>
                  <a:cubicBezTo>
                    <a:pt x="34" y="1"/>
                    <a:pt x="34" y="3"/>
                    <a:pt x="33" y="3"/>
                  </a:cubicBezTo>
                  <a:cubicBezTo>
                    <a:pt x="15" y="23"/>
                    <a:pt x="15" y="23"/>
                    <a:pt x="15" y="23"/>
                  </a:cubicBezTo>
                  <a:cubicBezTo>
                    <a:pt x="15" y="24"/>
                    <a:pt x="15" y="24"/>
                    <a:pt x="14" y="24"/>
                  </a:cubicBezTo>
                  <a:cubicBezTo>
                    <a:pt x="14" y="24"/>
                    <a:pt x="14"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5" name="Freeform 112">
              <a:extLst>
                <a:ext uri="{FF2B5EF4-FFF2-40B4-BE49-F238E27FC236}">
                  <a16:creationId xmlns:a16="http://schemas.microsoft.com/office/drawing/2014/main" id="{4531245F-A73E-4899-A261-F70AD959F87B}"/>
                </a:ext>
              </a:extLst>
            </p:cNvPr>
            <p:cNvSpPr>
              <a:spLocks/>
            </p:cNvSpPr>
            <p:nvPr/>
          </p:nvSpPr>
          <p:spPr bwMode="auto">
            <a:xfrm>
              <a:off x="8350250" y="4578351"/>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6" name="Freeform 113">
              <a:extLst>
                <a:ext uri="{FF2B5EF4-FFF2-40B4-BE49-F238E27FC236}">
                  <a16:creationId xmlns:a16="http://schemas.microsoft.com/office/drawing/2014/main" id="{C751D731-D92E-4E94-81C2-9CF9D7E62157}"/>
                </a:ext>
              </a:extLst>
            </p:cNvPr>
            <p:cNvSpPr>
              <a:spLocks noEditPoints="1"/>
            </p:cNvSpPr>
            <p:nvPr/>
          </p:nvSpPr>
          <p:spPr bwMode="auto">
            <a:xfrm>
              <a:off x="8350250" y="4516438"/>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7" name="Freeform 114">
              <a:extLst>
                <a:ext uri="{FF2B5EF4-FFF2-40B4-BE49-F238E27FC236}">
                  <a16:creationId xmlns:a16="http://schemas.microsoft.com/office/drawing/2014/main" id="{93333B30-382F-482A-825D-1FCD0650F60E}"/>
                </a:ext>
              </a:extLst>
            </p:cNvPr>
            <p:cNvSpPr>
              <a:spLocks/>
            </p:cNvSpPr>
            <p:nvPr/>
          </p:nvSpPr>
          <p:spPr bwMode="auto">
            <a:xfrm>
              <a:off x="8458200" y="4516438"/>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83" name="Group 61">
            <a:extLst>
              <a:ext uri="{FF2B5EF4-FFF2-40B4-BE49-F238E27FC236}">
                <a16:creationId xmlns:a16="http://schemas.microsoft.com/office/drawing/2014/main" id="{FC1BD4FE-959D-4C52-8566-FD92344DD680}"/>
              </a:ext>
            </a:extLst>
          </p:cNvPr>
          <p:cNvGrpSpPr>
            <a:grpSpLocks noChangeAspect="1"/>
          </p:cNvGrpSpPr>
          <p:nvPr/>
        </p:nvGrpSpPr>
        <p:grpSpPr>
          <a:xfrm>
            <a:off x="690521" y="5386481"/>
            <a:ext cx="247156" cy="368675"/>
            <a:chOff x="11647488" y="3046413"/>
            <a:chExt cx="190500" cy="284163"/>
          </a:xfrm>
          <a:solidFill>
            <a:schemeClr val="bg2"/>
          </a:solidFill>
          <a:effectLst/>
        </p:grpSpPr>
        <p:sp>
          <p:nvSpPr>
            <p:cNvPr id="384" name="Freeform 165">
              <a:extLst>
                <a:ext uri="{FF2B5EF4-FFF2-40B4-BE49-F238E27FC236}">
                  <a16:creationId xmlns:a16="http://schemas.microsoft.com/office/drawing/2014/main" id="{930592E7-2397-4539-B1FD-6CBCE09C2B06}"/>
                </a:ext>
              </a:extLst>
            </p:cNvPr>
            <p:cNvSpPr>
              <a:spLocks noEditPoints="1"/>
            </p:cNvSpPr>
            <p:nvPr/>
          </p:nvSpPr>
          <p:spPr bwMode="auto">
            <a:xfrm>
              <a:off x="11647488" y="3046413"/>
              <a:ext cx="190500" cy="284163"/>
            </a:xfrm>
            <a:custGeom>
              <a:avLst/>
              <a:gdLst>
                <a:gd name="T0" fmla="*/ 232 w 598"/>
                <a:gd name="T1" fmla="*/ 857 h 896"/>
                <a:gd name="T2" fmla="*/ 160 w 598"/>
                <a:gd name="T3" fmla="*/ 827 h 896"/>
                <a:gd name="T4" fmla="*/ 101 w 598"/>
                <a:gd name="T5" fmla="*/ 778 h 896"/>
                <a:gd name="T6" fmla="*/ 57 w 598"/>
                <a:gd name="T7" fmla="*/ 714 h 896"/>
                <a:gd name="T8" fmla="*/ 33 w 598"/>
                <a:gd name="T9" fmla="*/ 638 h 896"/>
                <a:gd name="T10" fmla="*/ 33 w 598"/>
                <a:gd name="T11" fmla="*/ 557 h 896"/>
                <a:gd name="T12" fmla="*/ 57 w 598"/>
                <a:gd name="T13" fmla="*/ 481 h 896"/>
                <a:gd name="T14" fmla="*/ 101 w 598"/>
                <a:gd name="T15" fmla="*/ 417 h 896"/>
                <a:gd name="T16" fmla="*/ 160 w 598"/>
                <a:gd name="T17" fmla="*/ 368 h 896"/>
                <a:gd name="T18" fmla="*/ 232 w 598"/>
                <a:gd name="T19" fmla="*/ 337 h 896"/>
                <a:gd name="T20" fmla="*/ 314 w 598"/>
                <a:gd name="T21" fmla="*/ 329 h 896"/>
                <a:gd name="T22" fmla="*/ 392 w 598"/>
                <a:gd name="T23" fmla="*/ 345 h 896"/>
                <a:gd name="T24" fmla="*/ 460 w 598"/>
                <a:gd name="T25" fmla="*/ 382 h 896"/>
                <a:gd name="T26" fmla="*/ 515 w 598"/>
                <a:gd name="T27" fmla="*/ 437 h 896"/>
                <a:gd name="T28" fmla="*/ 552 w 598"/>
                <a:gd name="T29" fmla="*/ 506 h 896"/>
                <a:gd name="T30" fmla="*/ 568 w 598"/>
                <a:gd name="T31" fmla="*/ 584 h 896"/>
                <a:gd name="T32" fmla="*/ 560 w 598"/>
                <a:gd name="T33" fmla="*/ 665 h 896"/>
                <a:gd name="T34" fmla="*/ 530 w 598"/>
                <a:gd name="T35" fmla="*/ 737 h 896"/>
                <a:gd name="T36" fmla="*/ 481 w 598"/>
                <a:gd name="T37" fmla="*/ 796 h 896"/>
                <a:gd name="T38" fmla="*/ 416 w 598"/>
                <a:gd name="T39" fmla="*/ 840 h 896"/>
                <a:gd name="T40" fmla="*/ 340 w 598"/>
                <a:gd name="T41" fmla="*/ 864 h 896"/>
                <a:gd name="T42" fmla="*/ 522 w 598"/>
                <a:gd name="T43" fmla="*/ 174 h 896"/>
                <a:gd name="T44" fmla="*/ 476 w 598"/>
                <a:gd name="T45" fmla="*/ 70 h 896"/>
                <a:gd name="T46" fmla="*/ 378 w 598"/>
                <a:gd name="T47" fmla="*/ 8 h 896"/>
                <a:gd name="T48" fmla="*/ 255 w 598"/>
                <a:gd name="T49" fmla="*/ 8 h 896"/>
                <a:gd name="T50" fmla="*/ 163 w 598"/>
                <a:gd name="T51" fmla="*/ 68 h 896"/>
                <a:gd name="T52" fmla="*/ 121 w 598"/>
                <a:gd name="T53" fmla="*/ 173 h 896"/>
                <a:gd name="T54" fmla="*/ 163 w 598"/>
                <a:gd name="T55" fmla="*/ 128 h 896"/>
                <a:gd name="T56" fmla="*/ 221 w 598"/>
                <a:gd name="T57" fmla="*/ 56 h 896"/>
                <a:gd name="T58" fmla="*/ 315 w 598"/>
                <a:gd name="T59" fmla="*/ 30 h 896"/>
                <a:gd name="T60" fmla="*/ 415 w 598"/>
                <a:gd name="T61" fmla="*/ 58 h 896"/>
                <a:gd name="T62" fmla="*/ 479 w 598"/>
                <a:gd name="T63" fmla="*/ 129 h 896"/>
                <a:gd name="T64" fmla="*/ 484 w 598"/>
                <a:gd name="T65" fmla="*/ 362 h 896"/>
                <a:gd name="T66" fmla="*/ 417 w 598"/>
                <a:gd name="T67" fmla="*/ 323 h 896"/>
                <a:gd name="T68" fmla="*/ 340 w 598"/>
                <a:gd name="T69" fmla="*/ 301 h 896"/>
                <a:gd name="T70" fmla="*/ 254 w 598"/>
                <a:gd name="T71" fmla="*/ 302 h 896"/>
                <a:gd name="T72" fmla="*/ 170 w 598"/>
                <a:gd name="T73" fmla="*/ 328 h 896"/>
                <a:gd name="T74" fmla="*/ 99 w 598"/>
                <a:gd name="T75" fmla="*/ 376 h 896"/>
                <a:gd name="T76" fmla="*/ 44 w 598"/>
                <a:gd name="T77" fmla="*/ 442 h 896"/>
                <a:gd name="T78" fmla="*/ 10 w 598"/>
                <a:gd name="T79" fmla="*/ 523 h 896"/>
                <a:gd name="T80" fmla="*/ 1 w 598"/>
                <a:gd name="T81" fmla="*/ 612 h 896"/>
                <a:gd name="T82" fmla="*/ 18 w 598"/>
                <a:gd name="T83" fmla="*/ 700 h 896"/>
                <a:gd name="T84" fmla="*/ 60 w 598"/>
                <a:gd name="T85" fmla="*/ 776 h 896"/>
                <a:gd name="T86" fmla="*/ 121 w 598"/>
                <a:gd name="T87" fmla="*/ 837 h 896"/>
                <a:gd name="T88" fmla="*/ 197 w 598"/>
                <a:gd name="T89" fmla="*/ 878 h 896"/>
                <a:gd name="T90" fmla="*/ 284 w 598"/>
                <a:gd name="T91" fmla="*/ 896 h 896"/>
                <a:gd name="T92" fmla="*/ 375 w 598"/>
                <a:gd name="T93" fmla="*/ 887 h 896"/>
                <a:gd name="T94" fmla="*/ 455 w 598"/>
                <a:gd name="T95" fmla="*/ 853 h 896"/>
                <a:gd name="T96" fmla="*/ 521 w 598"/>
                <a:gd name="T97" fmla="*/ 799 h 896"/>
                <a:gd name="T98" fmla="*/ 569 w 598"/>
                <a:gd name="T99" fmla="*/ 727 h 896"/>
                <a:gd name="T100" fmla="*/ 595 w 598"/>
                <a:gd name="T101" fmla="*/ 642 h 896"/>
                <a:gd name="T102" fmla="*/ 595 w 598"/>
                <a:gd name="T103" fmla="*/ 556 h 896"/>
                <a:gd name="T104" fmla="*/ 574 w 598"/>
                <a:gd name="T105" fmla="*/ 478 h 896"/>
                <a:gd name="T106" fmla="*/ 532 w 598"/>
                <a:gd name="T107" fmla="*/ 41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8" h="896">
                  <a:moveTo>
                    <a:pt x="300" y="866"/>
                  </a:moveTo>
                  <a:lnTo>
                    <a:pt x="286" y="866"/>
                  </a:lnTo>
                  <a:lnTo>
                    <a:pt x="272" y="865"/>
                  </a:lnTo>
                  <a:lnTo>
                    <a:pt x="259" y="864"/>
                  </a:lnTo>
                  <a:lnTo>
                    <a:pt x="245" y="861"/>
                  </a:lnTo>
                  <a:lnTo>
                    <a:pt x="232" y="857"/>
                  </a:lnTo>
                  <a:lnTo>
                    <a:pt x="220" y="854"/>
                  </a:lnTo>
                  <a:lnTo>
                    <a:pt x="207" y="850"/>
                  </a:lnTo>
                  <a:lnTo>
                    <a:pt x="195" y="846"/>
                  </a:lnTo>
                  <a:lnTo>
                    <a:pt x="183" y="840"/>
                  </a:lnTo>
                  <a:lnTo>
                    <a:pt x="171" y="834"/>
                  </a:lnTo>
                  <a:lnTo>
                    <a:pt x="160" y="827"/>
                  </a:lnTo>
                  <a:lnTo>
                    <a:pt x="149" y="820"/>
                  </a:lnTo>
                  <a:lnTo>
                    <a:pt x="138" y="812"/>
                  </a:lnTo>
                  <a:lnTo>
                    <a:pt x="129" y="805"/>
                  </a:lnTo>
                  <a:lnTo>
                    <a:pt x="119" y="796"/>
                  </a:lnTo>
                  <a:lnTo>
                    <a:pt x="109" y="788"/>
                  </a:lnTo>
                  <a:lnTo>
                    <a:pt x="101" y="778"/>
                  </a:lnTo>
                  <a:lnTo>
                    <a:pt x="92" y="769"/>
                  </a:lnTo>
                  <a:lnTo>
                    <a:pt x="84" y="758"/>
                  </a:lnTo>
                  <a:lnTo>
                    <a:pt x="76" y="747"/>
                  </a:lnTo>
                  <a:lnTo>
                    <a:pt x="70" y="737"/>
                  </a:lnTo>
                  <a:lnTo>
                    <a:pt x="63" y="726"/>
                  </a:lnTo>
                  <a:lnTo>
                    <a:pt x="57" y="714"/>
                  </a:lnTo>
                  <a:lnTo>
                    <a:pt x="52" y="702"/>
                  </a:lnTo>
                  <a:lnTo>
                    <a:pt x="47" y="689"/>
                  </a:lnTo>
                  <a:lnTo>
                    <a:pt x="43" y="678"/>
                  </a:lnTo>
                  <a:lnTo>
                    <a:pt x="39" y="665"/>
                  </a:lnTo>
                  <a:lnTo>
                    <a:pt x="36" y="652"/>
                  </a:lnTo>
                  <a:lnTo>
                    <a:pt x="33" y="638"/>
                  </a:lnTo>
                  <a:lnTo>
                    <a:pt x="32" y="625"/>
                  </a:lnTo>
                  <a:lnTo>
                    <a:pt x="31" y="611"/>
                  </a:lnTo>
                  <a:lnTo>
                    <a:pt x="30" y="597"/>
                  </a:lnTo>
                  <a:lnTo>
                    <a:pt x="31" y="584"/>
                  </a:lnTo>
                  <a:lnTo>
                    <a:pt x="32" y="570"/>
                  </a:lnTo>
                  <a:lnTo>
                    <a:pt x="33" y="557"/>
                  </a:lnTo>
                  <a:lnTo>
                    <a:pt x="36" y="543"/>
                  </a:lnTo>
                  <a:lnTo>
                    <a:pt x="39" y="530"/>
                  </a:lnTo>
                  <a:lnTo>
                    <a:pt x="43" y="517"/>
                  </a:lnTo>
                  <a:lnTo>
                    <a:pt x="47" y="506"/>
                  </a:lnTo>
                  <a:lnTo>
                    <a:pt x="52" y="493"/>
                  </a:lnTo>
                  <a:lnTo>
                    <a:pt x="57" y="481"/>
                  </a:lnTo>
                  <a:lnTo>
                    <a:pt x="63" y="469"/>
                  </a:lnTo>
                  <a:lnTo>
                    <a:pt x="70" y="458"/>
                  </a:lnTo>
                  <a:lnTo>
                    <a:pt x="76" y="447"/>
                  </a:lnTo>
                  <a:lnTo>
                    <a:pt x="84" y="437"/>
                  </a:lnTo>
                  <a:lnTo>
                    <a:pt x="92" y="426"/>
                  </a:lnTo>
                  <a:lnTo>
                    <a:pt x="101" y="417"/>
                  </a:lnTo>
                  <a:lnTo>
                    <a:pt x="109" y="407"/>
                  </a:lnTo>
                  <a:lnTo>
                    <a:pt x="119" y="399"/>
                  </a:lnTo>
                  <a:lnTo>
                    <a:pt x="129" y="390"/>
                  </a:lnTo>
                  <a:lnTo>
                    <a:pt x="138" y="382"/>
                  </a:lnTo>
                  <a:lnTo>
                    <a:pt x="149" y="374"/>
                  </a:lnTo>
                  <a:lnTo>
                    <a:pt x="160" y="368"/>
                  </a:lnTo>
                  <a:lnTo>
                    <a:pt x="171" y="361"/>
                  </a:lnTo>
                  <a:lnTo>
                    <a:pt x="183" y="355"/>
                  </a:lnTo>
                  <a:lnTo>
                    <a:pt x="195" y="349"/>
                  </a:lnTo>
                  <a:lnTo>
                    <a:pt x="207" y="345"/>
                  </a:lnTo>
                  <a:lnTo>
                    <a:pt x="220" y="341"/>
                  </a:lnTo>
                  <a:lnTo>
                    <a:pt x="232" y="337"/>
                  </a:lnTo>
                  <a:lnTo>
                    <a:pt x="245" y="334"/>
                  </a:lnTo>
                  <a:lnTo>
                    <a:pt x="259" y="331"/>
                  </a:lnTo>
                  <a:lnTo>
                    <a:pt x="272" y="330"/>
                  </a:lnTo>
                  <a:lnTo>
                    <a:pt x="286" y="329"/>
                  </a:lnTo>
                  <a:lnTo>
                    <a:pt x="300" y="328"/>
                  </a:lnTo>
                  <a:lnTo>
                    <a:pt x="314" y="329"/>
                  </a:lnTo>
                  <a:lnTo>
                    <a:pt x="327" y="330"/>
                  </a:lnTo>
                  <a:lnTo>
                    <a:pt x="340" y="331"/>
                  </a:lnTo>
                  <a:lnTo>
                    <a:pt x="353" y="334"/>
                  </a:lnTo>
                  <a:lnTo>
                    <a:pt x="367" y="337"/>
                  </a:lnTo>
                  <a:lnTo>
                    <a:pt x="379" y="341"/>
                  </a:lnTo>
                  <a:lnTo>
                    <a:pt x="392" y="345"/>
                  </a:lnTo>
                  <a:lnTo>
                    <a:pt x="405" y="349"/>
                  </a:lnTo>
                  <a:lnTo>
                    <a:pt x="416" y="355"/>
                  </a:lnTo>
                  <a:lnTo>
                    <a:pt x="428" y="361"/>
                  </a:lnTo>
                  <a:lnTo>
                    <a:pt x="439" y="368"/>
                  </a:lnTo>
                  <a:lnTo>
                    <a:pt x="450" y="374"/>
                  </a:lnTo>
                  <a:lnTo>
                    <a:pt x="460" y="382"/>
                  </a:lnTo>
                  <a:lnTo>
                    <a:pt x="471" y="390"/>
                  </a:lnTo>
                  <a:lnTo>
                    <a:pt x="481" y="399"/>
                  </a:lnTo>
                  <a:lnTo>
                    <a:pt x="490" y="407"/>
                  </a:lnTo>
                  <a:lnTo>
                    <a:pt x="499" y="417"/>
                  </a:lnTo>
                  <a:lnTo>
                    <a:pt x="507" y="426"/>
                  </a:lnTo>
                  <a:lnTo>
                    <a:pt x="515" y="437"/>
                  </a:lnTo>
                  <a:lnTo>
                    <a:pt x="522" y="447"/>
                  </a:lnTo>
                  <a:lnTo>
                    <a:pt x="530" y="458"/>
                  </a:lnTo>
                  <a:lnTo>
                    <a:pt x="536" y="469"/>
                  </a:lnTo>
                  <a:lnTo>
                    <a:pt x="542" y="481"/>
                  </a:lnTo>
                  <a:lnTo>
                    <a:pt x="547" y="493"/>
                  </a:lnTo>
                  <a:lnTo>
                    <a:pt x="552" y="506"/>
                  </a:lnTo>
                  <a:lnTo>
                    <a:pt x="557" y="517"/>
                  </a:lnTo>
                  <a:lnTo>
                    <a:pt x="560" y="530"/>
                  </a:lnTo>
                  <a:lnTo>
                    <a:pt x="563" y="543"/>
                  </a:lnTo>
                  <a:lnTo>
                    <a:pt x="565" y="557"/>
                  </a:lnTo>
                  <a:lnTo>
                    <a:pt x="567" y="570"/>
                  </a:lnTo>
                  <a:lnTo>
                    <a:pt x="568" y="584"/>
                  </a:lnTo>
                  <a:lnTo>
                    <a:pt x="568" y="597"/>
                  </a:lnTo>
                  <a:lnTo>
                    <a:pt x="568" y="611"/>
                  </a:lnTo>
                  <a:lnTo>
                    <a:pt x="567" y="625"/>
                  </a:lnTo>
                  <a:lnTo>
                    <a:pt x="565" y="638"/>
                  </a:lnTo>
                  <a:lnTo>
                    <a:pt x="563" y="652"/>
                  </a:lnTo>
                  <a:lnTo>
                    <a:pt x="560" y="665"/>
                  </a:lnTo>
                  <a:lnTo>
                    <a:pt x="557" y="678"/>
                  </a:lnTo>
                  <a:lnTo>
                    <a:pt x="552" y="689"/>
                  </a:lnTo>
                  <a:lnTo>
                    <a:pt x="547" y="702"/>
                  </a:lnTo>
                  <a:lnTo>
                    <a:pt x="542" y="714"/>
                  </a:lnTo>
                  <a:lnTo>
                    <a:pt x="536" y="726"/>
                  </a:lnTo>
                  <a:lnTo>
                    <a:pt x="530" y="737"/>
                  </a:lnTo>
                  <a:lnTo>
                    <a:pt x="522" y="747"/>
                  </a:lnTo>
                  <a:lnTo>
                    <a:pt x="515" y="758"/>
                  </a:lnTo>
                  <a:lnTo>
                    <a:pt x="507" y="769"/>
                  </a:lnTo>
                  <a:lnTo>
                    <a:pt x="499" y="778"/>
                  </a:lnTo>
                  <a:lnTo>
                    <a:pt x="490" y="788"/>
                  </a:lnTo>
                  <a:lnTo>
                    <a:pt x="481" y="796"/>
                  </a:lnTo>
                  <a:lnTo>
                    <a:pt x="471" y="805"/>
                  </a:lnTo>
                  <a:lnTo>
                    <a:pt x="460" y="812"/>
                  </a:lnTo>
                  <a:lnTo>
                    <a:pt x="450" y="820"/>
                  </a:lnTo>
                  <a:lnTo>
                    <a:pt x="439" y="827"/>
                  </a:lnTo>
                  <a:lnTo>
                    <a:pt x="428" y="834"/>
                  </a:lnTo>
                  <a:lnTo>
                    <a:pt x="416" y="840"/>
                  </a:lnTo>
                  <a:lnTo>
                    <a:pt x="405" y="846"/>
                  </a:lnTo>
                  <a:lnTo>
                    <a:pt x="392" y="850"/>
                  </a:lnTo>
                  <a:lnTo>
                    <a:pt x="379" y="854"/>
                  </a:lnTo>
                  <a:lnTo>
                    <a:pt x="367" y="857"/>
                  </a:lnTo>
                  <a:lnTo>
                    <a:pt x="353" y="861"/>
                  </a:lnTo>
                  <a:lnTo>
                    <a:pt x="340" y="864"/>
                  </a:lnTo>
                  <a:lnTo>
                    <a:pt x="327" y="865"/>
                  </a:lnTo>
                  <a:lnTo>
                    <a:pt x="314" y="866"/>
                  </a:lnTo>
                  <a:lnTo>
                    <a:pt x="300" y="866"/>
                  </a:lnTo>
                  <a:close/>
                  <a:moveTo>
                    <a:pt x="523" y="401"/>
                  </a:moveTo>
                  <a:lnTo>
                    <a:pt x="523" y="194"/>
                  </a:lnTo>
                  <a:lnTo>
                    <a:pt x="522" y="174"/>
                  </a:lnTo>
                  <a:lnTo>
                    <a:pt x="519" y="155"/>
                  </a:lnTo>
                  <a:lnTo>
                    <a:pt x="515" y="136"/>
                  </a:lnTo>
                  <a:lnTo>
                    <a:pt x="507" y="117"/>
                  </a:lnTo>
                  <a:lnTo>
                    <a:pt x="499" y="100"/>
                  </a:lnTo>
                  <a:lnTo>
                    <a:pt x="488" y="84"/>
                  </a:lnTo>
                  <a:lnTo>
                    <a:pt x="476" y="70"/>
                  </a:lnTo>
                  <a:lnTo>
                    <a:pt x="463" y="56"/>
                  </a:lnTo>
                  <a:lnTo>
                    <a:pt x="448" y="44"/>
                  </a:lnTo>
                  <a:lnTo>
                    <a:pt x="432" y="33"/>
                  </a:lnTo>
                  <a:lnTo>
                    <a:pt x="415" y="23"/>
                  </a:lnTo>
                  <a:lnTo>
                    <a:pt x="397" y="15"/>
                  </a:lnTo>
                  <a:lnTo>
                    <a:pt x="378" y="8"/>
                  </a:lnTo>
                  <a:lnTo>
                    <a:pt x="358" y="4"/>
                  </a:lnTo>
                  <a:lnTo>
                    <a:pt x="336" y="1"/>
                  </a:lnTo>
                  <a:lnTo>
                    <a:pt x="315" y="0"/>
                  </a:lnTo>
                  <a:lnTo>
                    <a:pt x="293" y="1"/>
                  </a:lnTo>
                  <a:lnTo>
                    <a:pt x="274" y="4"/>
                  </a:lnTo>
                  <a:lnTo>
                    <a:pt x="255" y="8"/>
                  </a:lnTo>
                  <a:lnTo>
                    <a:pt x="237" y="15"/>
                  </a:lnTo>
                  <a:lnTo>
                    <a:pt x="220" y="22"/>
                  </a:lnTo>
                  <a:lnTo>
                    <a:pt x="204" y="32"/>
                  </a:lnTo>
                  <a:lnTo>
                    <a:pt x="189" y="43"/>
                  </a:lnTo>
                  <a:lnTo>
                    <a:pt x="176" y="54"/>
                  </a:lnTo>
                  <a:lnTo>
                    <a:pt x="163" y="68"/>
                  </a:lnTo>
                  <a:lnTo>
                    <a:pt x="152" y="83"/>
                  </a:lnTo>
                  <a:lnTo>
                    <a:pt x="143" y="99"/>
                  </a:lnTo>
                  <a:lnTo>
                    <a:pt x="135" y="116"/>
                  </a:lnTo>
                  <a:lnTo>
                    <a:pt x="129" y="135"/>
                  </a:lnTo>
                  <a:lnTo>
                    <a:pt x="124" y="154"/>
                  </a:lnTo>
                  <a:lnTo>
                    <a:pt x="121" y="173"/>
                  </a:lnTo>
                  <a:lnTo>
                    <a:pt x="120" y="194"/>
                  </a:lnTo>
                  <a:lnTo>
                    <a:pt x="150" y="194"/>
                  </a:lnTo>
                  <a:lnTo>
                    <a:pt x="151" y="176"/>
                  </a:lnTo>
                  <a:lnTo>
                    <a:pt x="153" y="160"/>
                  </a:lnTo>
                  <a:lnTo>
                    <a:pt x="158" y="143"/>
                  </a:lnTo>
                  <a:lnTo>
                    <a:pt x="163" y="128"/>
                  </a:lnTo>
                  <a:lnTo>
                    <a:pt x="169" y="114"/>
                  </a:lnTo>
                  <a:lnTo>
                    <a:pt x="177" y="100"/>
                  </a:lnTo>
                  <a:lnTo>
                    <a:pt x="186" y="87"/>
                  </a:lnTo>
                  <a:lnTo>
                    <a:pt x="197" y="76"/>
                  </a:lnTo>
                  <a:lnTo>
                    <a:pt x="208" y="66"/>
                  </a:lnTo>
                  <a:lnTo>
                    <a:pt x="221" y="56"/>
                  </a:lnTo>
                  <a:lnTo>
                    <a:pt x="235" y="49"/>
                  </a:lnTo>
                  <a:lnTo>
                    <a:pt x="248" y="43"/>
                  </a:lnTo>
                  <a:lnTo>
                    <a:pt x="264" y="37"/>
                  </a:lnTo>
                  <a:lnTo>
                    <a:pt x="281" y="33"/>
                  </a:lnTo>
                  <a:lnTo>
                    <a:pt x="297" y="31"/>
                  </a:lnTo>
                  <a:lnTo>
                    <a:pt x="315" y="30"/>
                  </a:lnTo>
                  <a:lnTo>
                    <a:pt x="333" y="31"/>
                  </a:lnTo>
                  <a:lnTo>
                    <a:pt x="351" y="33"/>
                  </a:lnTo>
                  <a:lnTo>
                    <a:pt x="368" y="37"/>
                  </a:lnTo>
                  <a:lnTo>
                    <a:pt x="385" y="43"/>
                  </a:lnTo>
                  <a:lnTo>
                    <a:pt x="400" y="49"/>
                  </a:lnTo>
                  <a:lnTo>
                    <a:pt x="415" y="58"/>
                  </a:lnTo>
                  <a:lnTo>
                    <a:pt x="429" y="67"/>
                  </a:lnTo>
                  <a:lnTo>
                    <a:pt x="442" y="78"/>
                  </a:lnTo>
                  <a:lnTo>
                    <a:pt x="454" y="89"/>
                  </a:lnTo>
                  <a:lnTo>
                    <a:pt x="463" y="101"/>
                  </a:lnTo>
                  <a:lnTo>
                    <a:pt x="472" y="115"/>
                  </a:lnTo>
                  <a:lnTo>
                    <a:pt x="479" y="129"/>
                  </a:lnTo>
                  <a:lnTo>
                    <a:pt x="486" y="145"/>
                  </a:lnTo>
                  <a:lnTo>
                    <a:pt x="490" y="160"/>
                  </a:lnTo>
                  <a:lnTo>
                    <a:pt x="493" y="177"/>
                  </a:lnTo>
                  <a:lnTo>
                    <a:pt x="493" y="194"/>
                  </a:lnTo>
                  <a:lnTo>
                    <a:pt x="493" y="371"/>
                  </a:lnTo>
                  <a:lnTo>
                    <a:pt x="484" y="362"/>
                  </a:lnTo>
                  <a:lnTo>
                    <a:pt x="473" y="355"/>
                  </a:lnTo>
                  <a:lnTo>
                    <a:pt x="462" y="347"/>
                  </a:lnTo>
                  <a:lnTo>
                    <a:pt x="452" y="341"/>
                  </a:lnTo>
                  <a:lnTo>
                    <a:pt x="441" y="334"/>
                  </a:lnTo>
                  <a:lnTo>
                    <a:pt x="429" y="328"/>
                  </a:lnTo>
                  <a:lnTo>
                    <a:pt x="417" y="323"/>
                  </a:lnTo>
                  <a:lnTo>
                    <a:pt x="405" y="318"/>
                  </a:lnTo>
                  <a:lnTo>
                    <a:pt x="393" y="313"/>
                  </a:lnTo>
                  <a:lnTo>
                    <a:pt x="380" y="310"/>
                  </a:lnTo>
                  <a:lnTo>
                    <a:pt x="367" y="307"/>
                  </a:lnTo>
                  <a:lnTo>
                    <a:pt x="354" y="303"/>
                  </a:lnTo>
                  <a:lnTo>
                    <a:pt x="340" y="301"/>
                  </a:lnTo>
                  <a:lnTo>
                    <a:pt x="327" y="300"/>
                  </a:lnTo>
                  <a:lnTo>
                    <a:pt x="314" y="299"/>
                  </a:lnTo>
                  <a:lnTo>
                    <a:pt x="300" y="299"/>
                  </a:lnTo>
                  <a:lnTo>
                    <a:pt x="284" y="299"/>
                  </a:lnTo>
                  <a:lnTo>
                    <a:pt x="269" y="300"/>
                  </a:lnTo>
                  <a:lnTo>
                    <a:pt x="254" y="302"/>
                  </a:lnTo>
                  <a:lnTo>
                    <a:pt x="240" y="305"/>
                  </a:lnTo>
                  <a:lnTo>
                    <a:pt x="225" y="308"/>
                  </a:lnTo>
                  <a:lnTo>
                    <a:pt x="211" y="312"/>
                  </a:lnTo>
                  <a:lnTo>
                    <a:pt x="197" y="317"/>
                  </a:lnTo>
                  <a:lnTo>
                    <a:pt x="183" y="323"/>
                  </a:lnTo>
                  <a:lnTo>
                    <a:pt x="170" y="328"/>
                  </a:lnTo>
                  <a:lnTo>
                    <a:pt x="158" y="334"/>
                  </a:lnTo>
                  <a:lnTo>
                    <a:pt x="145" y="342"/>
                  </a:lnTo>
                  <a:lnTo>
                    <a:pt x="133" y="349"/>
                  </a:lnTo>
                  <a:lnTo>
                    <a:pt x="121" y="358"/>
                  </a:lnTo>
                  <a:lnTo>
                    <a:pt x="109" y="367"/>
                  </a:lnTo>
                  <a:lnTo>
                    <a:pt x="99" y="376"/>
                  </a:lnTo>
                  <a:lnTo>
                    <a:pt x="88" y="386"/>
                  </a:lnTo>
                  <a:lnTo>
                    <a:pt x="78" y="396"/>
                  </a:lnTo>
                  <a:lnTo>
                    <a:pt x="69" y="407"/>
                  </a:lnTo>
                  <a:lnTo>
                    <a:pt x="60" y="419"/>
                  </a:lnTo>
                  <a:lnTo>
                    <a:pt x="52" y="431"/>
                  </a:lnTo>
                  <a:lnTo>
                    <a:pt x="44" y="442"/>
                  </a:lnTo>
                  <a:lnTo>
                    <a:pt x="37" y="455"/>
                  </a:lnTo>
                  <a:lnTo>
                    <a:pt x="30" y="468"/>
                  </a:lnTo>
                  <a:lnTo>
                    <a:pt x="24" y="481"/>
                  </a:lnTo>
                  <a:lnTo>
                    <a:pt x="18" y="495"/>
                  </a:lnTo>
                  <a:lnTo>
                    <a:pt x="14" y="509"/>
                  </a:lnTo>
                  <a:lnTo>
                    <a:pt x="10" y="523"/>
                  </a:lnTo>
                  <a:lnTo>
                    <a:pt x="7" y="538"/>
                  </a:lnTo>
                  <a:lnTo>
                    <a:pt x="5" y="552"/>
                  </a:lnTo>
                  <a:lnTo>
                    <a:pt x="2" y="566"/>
                  </a:lnTo>
                  <a:lnTo>
                    <a:pt x="1" y="583"/>
                  </a:lnTo>
                  <a:lnTo>
                    <a:pt x="0" y="597"/>
                  </a:lnTo>
                  <a:lnTo>
                    <a:pt x="1" y="612"/>
                  </a:lnTo>
                  <a:lnTo>
                    <a:pt x="2" y="627"/>
                  </a:lnTo>
                  <a:lnTo>
                    <a:pt x="5" y="642"/>
                  </a:lnTo>
                  <a:lnTo>
                    <a:pt x="7" y="657"/>
                  </a:lnTo>
                  <a:lnTo>
                    <a:pt x="10" y="672"/>
                  </a:lnTo>
                  <a:lnTo>
                    <a:pt x="14" y="686"/>
                  </a:lnTo>
                  <a:lnTo>
                    <a:pt x="18" y="700"/>
                  </a:lnTo>
                  <a:lnTo>
                    <a:pt x="24" y="714"/>
                  </a:lnTo>
                  <a:lnTo>
                    <a:pt x="30" y="727"/>
                  </a:lnTo>
                  <a:lnTo>
                    <a:pt x="37" y="740"/>
                  </a:lnTo>
                  <a:lnTo>
                    <a:pt x="44" y="753"/>
                  </a:lnTo>
                  <a:lnTo>
                    <a:pt x="52" y="764"/>
                  </a:lnTo>
                  <a:lnTo>
                    <a:pt x="60" y="776"/>
                  </a:lnTo>
                  <a:lnTo>
                    <a:pt x="69" y="788"/>
                  </a:lnTo>
                  <a:lnTo>
                    <a:pt x="78" y="799"/>
                  </a:lnTo>
                  <a:lnTo>
                    <a:pt x="88" y="808"/>
                  </a:lnTo>
                  <a:lnTo>
                    <a:pt x="99" y="819"/>
                  </a:lnTo>
                  <a:lnTo>
                    <a:pt x="109" y="827"/>
                  </a:lnTo>
                  <a:lnTo>
                    <a:pt x="121" y="837"/>
                  </a:lnTo>
                  <a:lnTo>
                    <a:pt x="133" y="846"/>
                  </a:lnTo>
                  <a:lnTo>
                    <a:pt x="145" y="853"/>
                  </a:lnTo>
                  <a:lnTo>
                    <a:pt x="158" y="861"/>
                  </a:lnTo>
                  <a:lnTo>
                    <a:pt x="170" y="867"/>
                  </a:lnTo>
                  <a:lnTo>
                    <a:pt x="183" y="872"/>
                  </a:lnTo>
                  <a:lnTo>
                    <a:pt x="197" y="878"/>
                  </a:lnTo>
                  <a:lnTo>
                    <a:pt x="211" y="883"/>
                  </a:lnTo>
                  <a:lnTo>
                    <a:pt x="225" y="887"/>
                  </a:lnTo>
                  <a:lnTo>
                    <a:pt x="240" y="890"/>
                  </a:lnTo>
                  <a:lnTo>
                    <a:pt x="254" y="893"/>
                  </a:lnTo>
                  <a:lnTo>
                    <a:pt x="269" y="895"/>
                  </a:lnTo>
                  <a:lnTo>
                    <a:pt x="284" y="896"/>
                  </a:lnTo>
                  <a:lnTo>
                    <a:pt x="300" y="896"/>
                  </a:lnTo>
                  <a:lnTo>
                    <a:pt x="315" y="896"/>
                  </a:lnTo>
                  <a:lnTo>
                    <a:pt x="330" y="895"/>
                  </a:lnTo>
                  <a:lnTo>
                    <a:pt x="345" y="893"/>
                  </a:lnTo>
                  <a:lnTo>
                    <a:pt x="360" y="890"/>
                  </a:lnTo>
                  <a:lnTo>
                    <a:pt x="375" y="887"/>
                  </a:lnTo>
                  <a:lnTo>
                    <a:pt x="389" y="883"/>
                  </a:lnTo>
                  <a:lnTo>
                    <a:pt x="402" y="878"/>
                  </a:lnTo>
                  <a:lnTo>
                    <a:pt x="415" y="872"/>
                  </a:lnTo>
                  <a:lnTo>
                    <a:pt x="429" y="867"/>
                  </a:lnTo>
                  <a:lnTo>
                    <a:pt x="442" y="861"/>
                  </a:lnTo>
                  <a:lnTo>
                    <a:pt x="455" y="853"/>
                  </a:lnTo>
                  <a:lnTo>
                    <a:pt x="467" y="846"/>
                  </a:lnTo>
                  <a:lnTo>
                    <a:pt x="478" y="837"/>
                  </a:lnTo>
                  <a:lnTo>
                    <a:pt x="489" y="827"/>
                  </a:lnTo>
                  <a:lnTo>
                    <a:pt x="501" y="819"/>
                  </a:lnTo>
                  <a:lnTo>
                    <a:pt x="511" y="808"/>
                  </a:lnTo>
                  <a:lnTo>
                    <a:pt x="521" y="799"/>
                  </a:lnTo>
                  <a:lnTo>
                    <a:pt x="530" y="788"/>
                  </a:lnTo>
                  <a:lnTo>
                    <a:pt x="539" y="776"/>
                  </a:lnTo>
                  <a:lnTo>
                    <a:pt x="547" y="764"/>
                  </a:lnTo>
                  <a:lnTo>
                    <a:pt x="555" y="753"/>
                  </a:lnTo>
                  <a:lnTo>
                    <a:pt x="562" y="740"/>
                  </a:lnTo>
                  <a:lnTo>
                    <a:pt x="569" y="727"/>
                  </a:lnTo>
                  <a:lnTo>
                    <a:pt x="575" y="714"/>
                  </a:lnTo>
                  <a:lnTo>
                    <a:pt x="580" y="700"/>
                  </a:lnTo>
                  <a:lnTo>
                    <a:pt x="585" y="686"/>
                  </a:lnTo>
                  <a:lnTo>
                    <a:pt x="589" y="672"/>
                  </a:lnTo>
                  <a:lnTo>
                    <a:pt x="593" y="657"/>
                  </a:lnTo>
                  <a:lnTo>
                    <a:pt x="595" y="642"/>
                  </a:lnTo>
                  <a:lnTo>
                    <a:pt x="597" y="629"/>
                  </a:lnTo>
                  <a:lnTo>
                    <a:pt x="598" y="612"/>
                  </a:lnTo>
                  <a:lnTo>
                    <a:pt x="598" y="597"/>
                  </a:lnTo>
                  <a:lnTo>
                    <a:pt x="598" y="584"/>
                  </a:lnTo>
                  <a:lnTo>
                    <a:pt x="597" y="570"/>
                  </a:lnTo>
                  <a:lnTo>
                    <a:pt x="595" y="556"/>
                  </a:lnTo>
                  <a:lnTo>
                    <a:pt x="593" y="542"/>
                  </a:lnTo>
                  <a:lnTo>
                    <a:pt x="591" y="529"/>
                  </a:lnTo>
                  <a:lnTo>
                    <a:pt x="588" y="516"/>
                  </a:lnTo>
                  <a:lnTo>
                    <a:pt x="583" y="503"/>
                  </a:lnTo>
                  <a:lnTo>
                    <a:pt x="579" y="491"/>
                  </a:lnTo>
                  <a:lnTo>
                    <a:pt x="574" y="478"/>
                  </a:lnTo>
                  <a:lnTo>
                    <a:pt x="568" y="466"/>
                  </a:lnTo>
                  <a:lnTo>
                    <a:pt x="562" y="454"/>
                  </a:lnTo>
                  <a:lnTo>
                    <a:pt x="555" y="442"/>
                  </a:lnTo>
                  <a:lnTo>
                    <a:pt x="548" y="432"/>
                  </a:lnTo>
                  <a:lnTo>
                    <a:pt x="540" y="421"/>
                  </a:lnTo>
                  <a:lnTo>
                    <a:pt x="532" y="410"/>
                  </a:lnTo>
                  <a:lnTo>
                    <a:pt x="523" y="401"/>
                  </a:lnTo>
                  <a:lnTo>
                    <a:pt x="523"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66">
              <a:extLst>
                <a:ext uri="{FF2B5EF4-FFF2-40B4-BE49-F238E27FC236}">
                  <a16:creationId xmlns:a16="http://schemas.microsoft.com/office/drawing/2014/main" id="{137F3688-B038-476A-A0D8-A0CA3B6A3163}"/>
                </a:ext>
              </a:extLst>
            </p:cNvPr>
            <p:cNvSpPr>
              <a:spLocks/>
            </p:cNvSpPr>
            <p:nvPr/>
          </p:nvSpPr>
          <p:spPr bwMode="auto">
            <a:xfrm>
              <a:off x="11733213" y="3227388"/>
              <a:ext cx="19050" cy="57150"/>
            </a:xfrm>
            <a:custGeom>
              <a:avLst/>
              <a:gdLst>
                <a:gd name="T0" fmla="*/ 30 w 60"/>
                <a:gd name="T1" fmla="*/ 0 h 179"/>
                <a:gd name="T2" fmla="*/ 23 w 60"/>
                <a:gd name="T3" fmla="*/ 1 h 179"/>
                <a:gd name="T4" fmla="*/ 18 w 60"/>
                <a:gd name="T5" fmla="*/ 2 h 179"/>
                <a:gd name="T6" fmla="*/ 13 w 60"/>
                <a:gd name="T7" fmla="*/ 5 h 179"/>
                <a:gd name="T8" fmla="*/ 8 w 60"/>
                <a:gd name="T9" fmla="*/ 8 h 179"/>
                <a:gd name="T10" fmla="*/ 5 w 60"/>
                <a:gd name="T11" fmla="*/ 12 h 179"/>
                <a:gd name="T12" fmla="*/ 2 w 60"/>
                <a:gd name="T13" fmla="*/ 18 h 179"/>
                <a:gd name="T14" fmla="*/ 0 w 60"/>
                <a:gd name="T15" fmla="*/ 23 h 179"/>
                <a:gd name="T16" fmla="*/ 0 w 60"/>
                <a:gd name="T17" fmla="*/ 29 h 179"/>
                <a:gd name="T18" fmla="*/ 1 w 60"/>
                <a:gd name="T19" fmla="*/ 37 h 179"/>
                <a:gd name="T20" fmla="*/ 4 w 60"/>
                <a:gd name="T21" fmla="*/ 44 h 179"/>
                <a:gd name="T22" fmla="*/ 8 w 60"/>
                <a:gd name="T23" fmla="*/ 51 h 179"/>
                <a:gd name="T24" fmla="*/ 15 w 60"/>
                <a:gd name="T25" fmla="*/ 55 h 179"/>
                <a:gd name="T26" fmla="*/ 15 w 60"/>
                <a:gd name="T27" fmla="*/ 164 h 179"/>
                <a:gd name="T28" fmla="*/ 15 w 60"/>
                <a:gd name="T29" fmla="*/ 166 h 179"/>
                <a:gd name="T30" fmla="*/ 16 w 60"/>
                <a:gd name="T31" fmla="*/ 170 h 179"/>
                <a:gd name="T32" fmla="*/ 17 w 60"/>
                <a:gd name="T33" fmla="*/ 172 h 179"/>
                <a:gd name="T34" fmla="*/ 19 w 60"/>
                <a:gd name="T35" fmla="*/ 175 h 179"/>
                <a:gd name="T36" fmla="*/ 21 w 60"/>
                <a:gd name="T37" fmla="*/ 176 h 179"/>
                <a:gd name="T38" fmla="*/ 23 w 60"/>
                <a:gd name="T39" fmla="*/ 178 h 179"/>
                <a:gd name="T40" fmla="*/ 27 w 60"/>
                <a:gd name="T41" fmla="*/ 178 h 179"/>
                <a:gd name="T42" fmla="*/ 30 w 60"/>
                <a:gd name="T43" fmla="*/ 179 h 179"/>
                <a:gd name="T44" fmla="*/ 33 w 60"/>
                <a:gd name="T45" fmla="*/ 178 h 179"/>
                <a:gd name="T46" fmla="*/ 35 w 60"/>
                <a:gd name="T47" fmla="*/ 178 h 179"/>
                <a:gd name="T48" fmla="*/ 38 w 60"/>
                <a:gd name="T49" fmla="*/ 176 h 179"/>
                <a:gd name="T50" fmla="*/ 40 w 60"/>
                <a:gd name="T51" fmla="*/ 175 h 179"/>
                <a:gd name="T52" fmla="*/ 42 w 60"/>
                <a:gd name="T53" fmla="*/ 173 h 179"/>
                <a:gd name="T54" fmla="*/ 44 w 60"/>
                <a:gd name="T55" fmla="*/ 170 h 179"/>
                <a:gd name="T56" fmla="*/ 44 w 60"/>
                <a:gd name="T57" fmla="*/ 167 h 179"/>
                <a:gd name="T58" fmla="*/ 45 w 60"/>
                <a:gd name="T59" fmla="*/ 164 h 179"/>
                <a:gd name="T60" fmla="*/ 45 w 60"/>
                <a:gd name="T61" fmla="*/ 55 h 179"/>
                <a:gd name="T62" fmla="*/ 50 w 60"/>
                <a:gd name="T63" fmla="*/ 51 h 179"/>
                <a:gd name="T64" fmla="*/ 55 w 60"/>
                <a:gd name="T65" fmla="*/ 44 h 179"/>
                <a:gd name="T66" fmla="*/ 59 w 60"/>
                <a:gd name="T67" fmla="*/ 37 h 179"/>
                <a:gd name="T68" fmla="*/ 60 w 60"/>
                <a:gd name="T69" fmla="*/ 29 h 179"/>
                <a:gd name="T70" fmla="*/ 59 w 60"/>
                <a:gd name="T71" fmla="*/ 23 h 179"/>
                <a:gd name="T72" fmla="*/ 58 w 60"/>
                <a:gd name="T73" fmla="*/ 18 h 179"/>
                <a:gd name="T74" fmla="*/ 54 w 60"/>
                <a:gd name="T75" fmla="*/ 12 h 179"/>
                <a:gd name="T76" fmla="*/ 51 w 60"/>
                <a:gd name="T77" fmla="*/ 8 h 179"/>
                <a:gd name="T78" fmla="*/ 46 w 60"/>
                <a:gd name="T79" fmla="*/ 5 h 179"/>
                <a:gd name="T80" fmla="*/ 42 w 60"/>
                <a:gd name="T81" fmla="*/ 2 h 179"/>
                <a:gd name="T82" fmla="*/ 35 w 60"/>
                <a:gd name="T83" fmla="*/ 1 h 179"/>
                <a:gd name="T84" fmla="*/ 30 w 60"/>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179">
                  <a:moveTo>
                    <a:pt x="30" y="0"/>
                  </a:moveTo>
                  <a:lnTo>
                    <a:pt x="23" y="1"/>
                  </a:lnTo>
                  <a:lnTo>
                    <a:pt x="18" y="2"/>
                  </a:lnTo>
                  <a:lnTo>
                    <a:pt x="13" y="5"/>
                  </a:lnTo>
                  <a:lnTo>
                    <a:pt x="8" y="8"/>
                  </a:lnTo>
                  <a:lnTo>
                    <a:pt x="5" y="12"/>
                  </a:lnTo>
                  <a:lnTo>
                    <a:pt x="2" y="18"/>
                  </a:lnTo>
                  <a:lnTo>
                    <a:pt x="0" y="23"/>
                  </a:lnTo>
                  <a:lnTo>
                    <a:pt x="0" y="29"/>
                  </a:lnTo>
                  <a:lnTo>
                    <a:pt x="1" y="37"/>
                  </a:lnTo>
                  <a:lnTo>
                    <a:pt x="4" y="44"/>
                  </a:lnTo>
                  <a:lnTo>
                    <a:pt x="8" y="51"/>
                  </a:lnTo>
                  <a:lnTo>
                    <a:pt x="15" y="55"/>
                  </a:lnTo>
                  <a:lnTo>
                    <a:pt x="15" y="164"/>
                  </a:lnTo>
                  <a:lnTo>
                    <a:pt x="15" y="166"/>
                  </a:lnTo>
                  <a:lnTo>
                    <a:pt x="16" y="170"/>
                  </a:lnTo>
                  <a:lnTo>
                    <a:pt x="17" y="172"/>
                  </a:lnTo>
                  <a:lnTo>
                    <a:pt x="19" y="175"/>
                  </a:lnTo>
                  <a:lnTo>
                    <a:pt x="21" y="176"/>
                  </a:lnTo>
                  <a:lnTo>
                    <a:pt x="23" y="178"/>
                  </a:lnTo>
                  <a:lnTo>
                    <a:pt x="27" y="178"/>
                  </a:lnTo>
                  <a:lnTo>
                    <a:pt x="30" y="179"/>
                  </a:lnTo>
                  <a:lnTo>
                    <a:pt x="33" y="178"/>
                  </a:lnTo>
                  <a:lnTo>
                    <a:pt x="35" y="178"/>
                  </a:lnTo>
                  <a:lnTo>
                    <a:pt x="38" y="176"/>
                  </a:lnTo>
                  <a:lnTo>
                    <a:pt x="40" y="175"/>
                  </a:lnTo>
                  <a:lnTo>
                    <a:pt x="42" y="173"/>
                  </a:lnTo>
                  <a:lnTo>
                    <a:pt x="44" y="170"/>
                  </a:lnTo>
                  <a:lnTo>
                    <a:pt x="44" y="167"/>
                  </a:lnTo>
                  <a:lnTo>
                    <a:pt x="45" y="164"/>
                  </a:lnTo>
                  <a:lnTo>
                    <a:pt x="45" y="55"/>
                  </a:lnTo>
                  <a:lnTo>
                    <a:pt x="50" y="51"/>
                  </a:lnTo>
                  <a:lnTo>
                    <a:pt x="55" y="44"/>
                  </a:lnTo>
                  <a:lnTo>
                    <a:pt x="59" y="37"/>
                  </a:lnTo>
                  <a:lnTo>
                    <a:pt x="60" y="29"/>
                  </a:lnTo>
                  <a:lnTo>
                    <a:pt x="59" y="23"/>
                  </a:lnTo>
                  <a:lnTo>
                    <a:pt x="58" y="18"/>
                  </a:lnTo>
                  <a:lnTo>
                    <a:pt x="54" y="12"/>
                  </a:lnTo>
                  <a:lnTo>
                    <a:pt x="51" y="8"/>
                  </a:lnTo>
                  <a:lnTo>
                    <a:pt x="46" y="5"/>
                  </a:lnTo>
                  <a:lnTo>
                    <a:pt x="42" y="2"/>
                  </a:lnTo>
                  <a:lnTo>
                    <a:pt x="35" y="1"/>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9" name="Group 189">
            <a:extLst>
              <a:ext uri="{FF2B5EF4-FFF2-40B4-BE49-F238E27FC236}">
                <a16:creationId xmlns:a16="http://schemas.microsoft.com/office/drawing/2014/main" id="{DE48E0B5-9A4C-481A-A613-87B594E22972}"/>
              </a:ext>
            </a:extLst>
          </p:cNvPr>
          <p:cNvGrpSpPr>
            <a:grpSpLocks noChangeAspect="1"/>
          </p:cNvGrpSpPr>
          <p:nvPr/>
        </p:nvGrpSpPr>
        <p:grpSpPr>
          <a:xfrm>
            <a:off x="1066057" y="5417576"/>
            <a:ext cx="306483" cy="306484"/>
            <a:chOff x="8113713" y="4646613"/>
            <a:chExt cx="371475" cy="371476"/>
          </a:xfrm>
          <a:solidFill>
            <a:schemeClr val="bg2"/>
          </a:solidFill>
          <a:effectLst/>
        </p:grpSpPr>
        <p:sp>
          <p:nvSpPr>
            <p:cNvPr id="440" name="Freeform 104">
              <a:extLst>
                <a:ext uri="{FF2B5EF4-FFF2-40B4-BE49-F238E27FC236}">
                  <a16:creationId xmlns:a16="http://schemas.microsoft.com/office/drawing/2014/main" id="{F365F347-51D7-4A44-B471-6F576B16684E}"/>
                </a:ext>
              </a:extLst>
            </p:cNvPr>
            <p:cNvSpPr>
              <a:spLocks noEditPoints="1"/>
            </p:cNvSpPr>
            <p:nvPr/>
          </p:nvSpPr>
          <p:spPr bwMode="auto">
            <a:xfrm>
              <a:off x="8113713" y="4832351"/>
              <a:ext cx="325438" cy="185738"/>
            </a:xfrm>
            <a:custGeom>
              <a:avLst/>
              <a:gdLst>
                <a:gd name="T0" fmla="*/ 24 w 84"/>
                <a:gd name="T1" fmla="*/ 48 h 48"/>
                <a:gd name="T2" fmla="*/ 0 w 84"/>
                <a:gd name="T3" fmla="*/ 24 h 48"/>
                <a:gd name="T4" fmla="*/ 24 w 84"/>
                <a:gd name="T5" fmla="*/ 0 h 48"/>
                <a:gd name="T6" fmla="*/ 47 w 84"/>
                <a:gd name="T7" fmla="*/ 16 h 48"/>
                <a:gd name="T8" fmla="*/ 76 w 84"/>
                <a:gd name="T9" fmla="*/ 16 h 48"/>
                <a:gd name="T10" fmla="*/ 77 w 84"/>
                <a:gd name="T11" fmla="*/ 17 h 48"/>
                <a:gd name="T12" fmla="*/ 83 w 84"/>
                <a:gd name="T13" fmla="*/ 23 h 48"/>
                <a:gd name="T14" fmla="*/ 83 w 84"/>
                <a:gd name="T15" fmla="*/ 25 h 48"/>
                <a:gd name="T16" fmla="*/ 77 w 84"/>
                <a:gd name="T17" fmla="*/ 31 h 48"/>
                <a:gd name="T18" fmla="*/ 76 w 84"/>
                <a:gd name="T19" fmla="*/ 32 h 48"/>
                <a:gd name="T20" fmla="*/ 71 w 84"/>
                <a:gd name="T21" fmla="*/ 32 h 48"/>
                <a:gd name="T22" fmla="*/ 67 w 84"/>
                <a:gd name="T23" fmla="*/ 35 h 48"/>
                <a:gd name="T24" fmla="*/ 65 w 84"/>
                <a:gd name="T25" fmla="*/ 35 h 48"/>
                <a:gd name="T26" fmla="*/ 61 w 84"/>
                <a:gd name="T27" fmla="*/ 32 h 48"/>
                <a:gd name="T28" fmla="*/ 59 w 84"/>
                <a:gd name="T29" fmla="*/ 32 h 48"/>
                <a:gd name="T30" fmla="*/ 55 w 84"/>
                <a:gd name="T31" fmla="*/ 35 h 48"/>
                <a:gd name="T32" fmla="*/ 53 w 84"/>
                <a:gd name="T33" fmla="*/ 35 h 48"/>
                <a:gd name="T34" fmla="*/ 49 w 84"/>
                <a:gd name="T35" fmla="*/ 32 h 48"/>
                <a:gd name="T36" fmla="*/ 47 w 84"/>
                <a:gd name="T37" fmla="*/ 32 h 48"/>
                <a:gd name="T38" fmla="*/ 24 w 84"/>
                <a:gd name="T39" fmla="*/ 48 h 48"/>
                <a:gd name="T40" fmla="*/ 24 w 84"/>
                <a:gd name="T41" fmla="*/ 4 h 48"/>
                <a:gd name="T42" fmla="*/ 4 w 84"/>
                <a:gd name="T43" fmla="*/ 24 h 48"/>
                <a:gd name="T44" fmla="*/ 24 w 84"/>
                <a:gd name="T45" fmla="*/ 44 h 48"/>
                <a:gd name="T46" fmla="*/ 43 w 84"/>
                <a:gd name="T47" fmla="*/ 29 h 48"/>
                <a:gd name="T48" fmla="*/ 45 w 84"/>
                <a:gd name="T49" fmla="*/ 28 h 48"/>
                <a:gd name="T50" fmla="*/ 50 w 84"/>
                <a:gd name="T51" fmla="*/ 28 h 48"/>
                <a:gd name="T52" fmla="*/ 51 w 84"/>
                <a:gd name="T53" fmla="*/ 29 h 48"/>
                <a:gd name="T54" fmla="*/ 54 w 84"/>
                <a:gd name="T55" fmla="*/ 31 h 48"/>
                <a:gd name="T56" fmla="*/ 57 w 84"/>
                <a:gd name="T57" fmla="*/ 29 h 48"/>
                <a:gd name="T58" fmla="*/ 58 w 84"/>
                <a:gd name="T59" fmla="*/ 28 h 48"/>
                <a:gd name="T60" fmla="*/ 62 w 84"/>
                <a:gd name="T61" fmla="*/ 28 h 48"/>
                <a:gd name="T62" fmla="*/ 63 w 84"/>
                <a:gd name="T63" fmla="*/ 29 h 48"/>
                <a:gd name="T64" fmla="*/ 66 w 84"/>
                <a:gd name="T65" fmla="*/ 31 h 48"/>
                <a:gd name="T66" fmla="*/ 69 w 84"/>
                <a:gd name="T67" fmla="*/ 29 h 48"/>
                <a:gd name="T68" fmla="*/ 70 w 84"/>
                <a:gd name="T69" fmla="*/ 28 h 48"/>
                <a:gd name="T70" fmla="*/ 75 w 84"/>
                <a:gd name="T71" fmla="*/ 28 h 48"/>
                <a:gd name="T72" fmla="*/ 79 w 84"/>
                <a:gd name="T73" fmla="*/ 24 h 48"/>
                <a:gd name="T74" fmla="*/ 75 w 84"/>
                <a:gd name="T75" fmla="*/ 20 h 48"/>
                <a:gd name="T76" fmla="*/ 45 w 84"/>
                <a:gd name="T77" fmla="*/ 20 h 48"/>
                <a:gd name="T78" fmla="*/ 43 w 84"/>
                <a:gd name="T79" fmla="*/ 19 h 48"/>
                <a:gd name="T80" fmla="*/ 24 w 84"/>
                <a:gd name="T8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48">
                  <a:moveTo>
                    <a:pt x="24" y="48"/>
                  </a:moveTo>
                  <a:cubicBezTo>
                    <a:pt x="11" y="48"/>
                    <a:pt x="0" y="37"/>
                    <a:pt x="0" y="24"/>
                  </a:cubicBezTo>
                  <a:cubicBezTo>
                    <a:pt x="0" y="11"/>
                    <a:pt x="11" y="0"/>
                    <a:pt x="24" y="0"/>
                  </a:cubicBezTo>
                  <a:cubicBezTo>
                    <a:pt x="34" y="0"/>
                    <a:pt x="43" y="7"/>
                    <a:pt x="47" y="16"/>
                  </a:cubicBezTo>
                  <a:cubicBezTo>
                    <a:pt x="76" y="16"/>
                    <a:pt x="76" y="16"/>
                    <a:pt x="76" y="16"/>
                  </a:cubicBezTo>
                  <a:cubicBezTo>
                    <a:pt x="77" y="16"/>
                    <a:pt x="77" y="16"/>
                    <a:pt x="77" y="17"/>
                  </a:cubicBezTo>
                  <a:cubicBezTo>
                    <a:pt x="83" y="23"/>
                    <a:pt x="83" y="23"/>
                    <a:pt x="83" y="23"/>
                  </a:cubicBezTo>
                  <a:cubicBezTo>
                    <a:pt x="84" y="23"/>
                    <a:pt x="84" y="25"/>
                    <a:pt x="83" y="25"/>
                  </a:cubicBezTo>
                  <a:cubicBezTo>
                    <a:pt x="77" y="31"/>
                    <a:pt x="77" y="31"/>
                    <a:pt x="77" y="31"/>
                  </a:cubicBezTo>
                  <a:cubicBezTo>
                    <a:pt x="77" y="32"/>
                    <a:pt x="77" y="32"/>
                    <a:pt x="76" y="32"/>
                  </a:cubicBezTo>
                  <a:cubicBezTo>
                    <a:pt x="71" y="32"/>
                    <a:pt x="71" y="32"/>
                    <a:pt x="71" y="32"/>
                  </a:cubicBezTo>
                  <a:cubicBezTo>
                    <a:pt x="67" y="35"/>
                    <a:pt x="67" y="35"/>
                    <a:pt x="67" y="35"/>
                  </a:cubicBezTo>
                  <a:cubicBezTo>
                    <a:pt x="67" y="36"/>
                    <a:pt x="65" y="36"/>
                    <a:pt x="65" y="35"/>
                  </a:cubicBezTo>
                  <a:cubicBezTo>
                    <a:pt x="61" y="32"/>
                    <a:pt x="61" y="32"/>
                    <a:pt x="61" y="32"/>
                  </a:cubicBezTo>
                  <a:cubicBezTo>
                    <a:pt x="59" y="32"/>
                    <a:pt x="59" y="32"/>
                    <a:pt x="59" y="32"/>
                  </a:cubicBezTo>
                  <a:cubicBezTo>
                    <a:pt x="55" y="35"/>
                    <a:pt x="55" y="35"/>
                    <a:pt x="55" y="35"/>
                  </a:cubicBezTo>
                  <a:cubicBezTo>
                    <a:pt x="55" y="36"/>
                    <a:pt x="53" y="36"/>
                    <a:pt x="53" y="35"/>
                  </a:cubicBezTo>
                  <a:cubicBezTo>
                    <a:pt x="49" y="32"/>
                    <a:pt x="49" y="32"/>
                    <a:pt x="49" y="32"/>
                  </a:cubicBezTo>
                  <a:cubicBezTo>
                    <a:pt x="47" y="32"/>
                    <a:pt x="47" y="32"/>
                    <a:pt x="47" y="32"/>
                  </a:cubicBezTo>
                  <a:cubicBezTo>
                    <a:pt x="43" y="41"/>
                    <a:pt x="34" y="48"/>
                    <a:pt x="24" y="48"/>
                  </a:cubicBezTo>
                  <a:close/>
                  <a:moveTo>
                    <a:pt x="24" y="4"/>
                  </a:moveTo>
                  <a:cubicBezTo>
                    <a:pt x="13" y="4"/>
                    <a:pt x="4" y="13"/>
                    <a:pt x="4" y="24"/>
                  </a:cubicBezTo>
                  <a:cubicBezTo>
                    <a:pt x="4" y="35"/>
                    <a:pt x="13" y="44"/>
                    <a:pt x="24" y="44"/>
                  </a:cubicBezTo>
                  <a:cubicBezTo>
                    <a:pt x="33" y="44"/>
                    <a:pt x="41" y="38"/>
                    <a:pt x="43" y="29"/>
                  </a:cubicBezTo>
                  <a:cubicBezTo>
                    <a:pt x="43" y="29"/>
                    <a:pt x="44" y="28"/>
                    <a:pt x="45" y="28"/>
                  </a:cubicBezTo>
                  <a:cubicBezTo>
                    <a:pt x="50" y="28"/>
                    <a:pt x="50" y="28"/>
                    <a:pt x="50" y="28"/>
                  </a:cubicBezTo>
                  <a:cubicBezTo>
                    <a:pt x="51" y="28"/>
                    <a:pt x="51" y="28"/>
                    <a:pt x="51" y="29"/>
                  </a:cubicBezTo>
                  <a:cubicBezTo>
                    <a:pt x="54" y="31"/>
                    <a:pt x="54" y="31"/>
                    <a:pt x="54" y="31"/>
                  </a:cubicBezTo>
                  <a:cubicBezTo>
                    <a:pt x="57" y="29"/>
                    <a:pt x="57" y="29"/>
                    <a:pt x="57" y="29"/>
                  </a:cubicBezTo>
                  <a:cubicBezTo>
                    <a:pt x="57" y="28"/>
                    <a:pt x="57" y="28"/>
                    <a:pt x="58" y="28"/>
                  </a:cubicBezTo>
                  <a:cubicBezTo>
                    <a:pt x="62" y="28"/>
                    <a:pt x="62" y="28"/>
                    <a:pt x="62" y="28"/>
                  </a:cubicBezTo>
                  <a:cubicBezTo>
                    <a:pt x="63" y="28"/>
                    <a:pt x="63" y="28"/>
                    <a:pt x="63" y="29"/>
                  </a:cubicBezTo>
                  <a:cubicBezTo>
                    <a:pt x="66" y="31"/>
                    <a:pt x="66" y="31"/>
                    <a:pt x="66" y="31"/>
                  </a:cubicBezTo>
                  <a:cubicBezTo>
                    <a:pt x="69" y="29"/>
                    <a:pt x="69" y="29"/>
                    <a:pt x="69" y="29"/>
                  </a:cubicBezTo>
                  <a:cubicBezTo>
                    <a:pt x="69" y="28"/>
                    <a:pt x="69" y="28"/>
                    <a:pt x="70" y="28"/>
                  </a:cubicBezTo>
                  <a:cubicBezTo>
                    <a:pt x="75" y="28"/>
                    <a:pt x="75" y="28"/>
                    <a:pt x="75" y="28"/>
                  </a:cubicBezTo>
                  <a:cubicBezTo>
                    <a:pt x="79" y="24"/>
                    <a:pt x="79" y="24"/>
                    <a:pt x="79" y="24"/>
                  </a:cubicBezTo>
                  <a:cubicBezTo>
                    <a:pt x="75" y="20"/>
                    <a:pt x="75" y="20"/>
                    <a:pt x="75" y="20"/>
                  </a:cubicBezTo>
                  <a:cubicBezTo>
                    <a:pt x="45" y="20"/>
                    <a:pt x="45" y="20"/>
                    <a:pt x="45" y="20"/>
                  </a:cubicBezTo>
                  <a:cubicBezTo>
                    <a:pt x="44" y="20"/>
                    <a:pt x="43" y="19"/>
                    <a:pt x="43" y="19"/>
                  </a:cubicBezTo>
                  <a:cubicBezTo>
                    <a:pt x="41" y="10"/>
                    <a:pt x="33"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5">
              <a:extLst>
                <a:ext uri="{FF2B5EF4-FFF2-40B4-BE49-F238E27FC236}">
                  <a16:creationId xmlns:a16="http://schemas.microsoft.com/office/drawing/2014/main" id="{2722475C-BBA1-4989-83AE-A3CD06F8B1D1}"/>
                </a:ext>
              </a:extLst>
            </p:cNvPr>
            <p:cNvSpPr>
              <a:spLocks noEditPoints="1"/>
            </p:cNvSpPr>
            <p:nvPr/>
          </p:nvSpPr>
          <p:spPr bwMode="auto">
            <a:xfrm>
              <a:off x="8145463" y="48942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Oval 106">
              <a:extLst>
                <a:ext uri="{FF2B5EF4-FFF2-40B4-BE49-F238E27FC236}">
                  <a16:creationId xmlns:a16="http://schemas.microsoft.com/office/drawing/2014/main" id="{CF8FEF93-650F-4992-B4FB-0D62CFCFE394}"/>
                </a:ext>
              </a:extLst>
            </p:cNvPr>
            <p:cNvSpPr>
              <a:spLocks noChangeArrowheads="1"/>
            </p:cNvSpPr>
            <p:nvPr/>
          </p:nvSpPr>
          <p:spPr bwMode="auto">
            <a:xfrm>
              <a:off x="8361363" y="4794251"/>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7">
              <a:extLst>
                <a:ext uri="{FF2B5EF4-FFF2-40B4-BE49-F238E27FC236}">
                  <a16:creationId xmlns:a16="http://schemas.microsoft.com/office/drawing/2014/main" id="{48BC79BE-B0D5-4010-81E8-FC719E4E570A}"/>
                </a:ext>
              </a:extLst>
            </p:cNvPr>
            <p:cNvSpPr>
              <a:spLocks/>
            </p:cNvSpPr>
            <p:nvPr/>
          </p:nvSpPr>
          <p:spPr bwMode="auto">
            <a:xfrm>
              <a:off x="8369301" y="4808538"/>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8">
              <a:extLst>
                <a:ext uri="{FF2B5EF4-FFF2-40B4-BE49-F238E27FC236}">
                  <a16:creationId xmlns:a16="http://schemas.microsoft.com/office/drawing/2014/main" id="{36A41A9F-7F0B-496A-A16F-ECBF784C8029}"/>
                </a:ext>
              </a:extLst>
            </p:cNvPr>
            <p:cNvSpPr>
              <a:spLocks/>
            </p:cNvSpPr>
            <p:nvPr/>
          </p:nvSpPr>
          <p:spPr bwMode="auto">
            <a:xfrm>
              <a:off x="8269288" y="4754563"/>
              <a:ext cx="215900" cy="171450"/>
            </a:xfrm>
            <a:custGeom>
              <a:avLst/>
              <a:gdLst>
                <a:gd name="T0" fmla="*/ 54 w 56"/>
                <a:gd name="T1" fmla="*/ 44 h 44"/>
                <a:gd name="T2" fmla="*/ 50 w 56"/>
                <a:gd name="T3" fmla="*/ 44 h 44"/>
                <a:gd name="T4" fmla="*/ 48 w 56"/>
                <a:gd name="T5" fmla="*/ 42 h 44"/>
                <a:gd name="T6" fmla="*/ 50 w 56"/>
                <a:gd name="T7" fmla="*/ 40 h 44"/>
                <a:gd name="T8" fmla="*/ 52 w 56"/>
                <a:gd name="T9" fmla="*/ 40 h 44"/>
                <a:gd name="T10" fmla="*/ 52 w 56"/>
                <a:gd name="T11" fmla="*/ 4 h 44"/>
                <a:gd name="T12" fmla="*/ 4 w 56"/>
                <a:gd name="T13" fmla="*/ 4 h 44"/>
                <a:gd name="T14" fmla="*/ 4 w 56"/>
                <a:gd name="T15" fmla="*/ 18 h 44"/>
                <a:gd name="T16" fmla="*/ 2 w 56"/>
                <a:gd name="T17" fmla="*/ 20 h 44"/>
                <a:gd name="T18" fmla="*/ 0 w 56"/>
                <a:gd name="T19" fmla="*/ 18 h 44"/>
                <a:gd name="T20" fmla="*/ 0 w 56"/>
                <a:gd name="T21" fmla="*/ 2 h 44"/>
                <a:gd name="T22" fmla="*/ 2 w 56"/>
                <a:gd name="T23" fmla="*/ 0 h 44"/>
                <a:gd name="T24" fmla="*/ 54 w 56"/>
                <a:gd name="T25" fmla="*/ 0 h 44"/>
                <a:gd name="T26" fmla="*/ 56 w 56"/>
                <a:gd name="T27" fmla="*/ 2 h 44"/>
                <a:gd name="T28" fmla="*/ 56 w 56"/>
                <a:gd name="T29" fmla="*/ 42 h 44"/>
                <a:gd name="T30" fmla="*/ 54 w 56"/>
                <a:gd name="T3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44">
                  <a:moveTo>
                    <a:pt x="54" y="44"/>
                  </a:moveTo>
                  <a:cubicBezTo>
                    <a:pt x="50" y="44"/>
                    <a:pt x="50" y="44"/>
                    <a:pt x="50" y="44"/>
                  </a:cubicBezTo>
                  <a:cubicBezTo>
                    <a:pt x="49" y="44"/>
                    <a:pt x="48" y="43"/>
                    <a:pt x="48" y="42"/>
                  </a:cubicBezTo>
                  <a:cubicBezTo>
                    <a:pt x="48" y="41"/>
                    <a:pt x="49" y="40"/>
                    <a:pt x="50" y="40"/>
                  </a:cubicBezTo>
                  <a:cubicBezTo>
                    <a:pt x="52" y="40"/>
                    <a:pt x="52" y="40"/>
                    <a:pt x="52" y="40"/>
                  </a:cubicBezTo>
                  <a:cubicBezTo>
                    <a:pt x="52" y="4"/>
                    <a:pt x="52" y="4"/>
                    <a:pt x="52" y="4"/>
                  </a:cubicBezTo>
                  <a:cubicBezTo>
                    <a:pt x="4" y="4"/>
                    <a:pt x="4" y="4"/>
                    <a:pt x="4" y="4"/>
                  </a:cubicBezTo>
                  <a:cubicBezTo>
                    <a:pt x="4" y="18"/>
                    <a:pt x="4" y="18"/>
                    <a:pt x="4" y="18"/>
                  </a:cubicBezTo>
                  <a:cubicBezTo>
                    <a:pt x="4" y="19"/>
                    <a:pt x="3"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42"/>
                    <a:pt x="56" y="42"/>
                    <a:pt x="56" y="42"/>
                  </a:cubicBezTo>
                  <a:cubicBezTo>
                    <a:pt x="56" y="43"/>
                    <a:pt x="55" y="44"/>
                    <a:pt x="5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09">
              <a:extLst>
                <a:ext uri="{FF2B5EF4-FFF2-40B4-BE49-F238E27FC236}">
                  <a16:creationId xmlns:a16="http://schemas.microsoft.com/office/drawing/2014/main" id="{0781D84F-4C0F-4122-A0E2-6584E3F48222}"/>
                </a:ext>
              </a:extLst>
            </p:cNvPr>
            <p:cNvSpPr>
              <a:spLocks/>
            </p:cNvSpPr>
            <p:nvPr/>
          </p:nvSpPr>
          <p:spPr bwMode="auto">
            <a:xfrm>
              <a:off x="8299451" y="4646613"/>
              <a:ext cx="155575" cy="123825"/>
            </a:xfrm>
            <a:custGeom>
              <a:avLst/>
              <a:gdLst>
                <a:gd name="T0" fmla="*/ 38 w 40"/>
                <a:gd name="T1" fmla="*/ 32 h 32"/>
                <a:gd name="T2" fmla="*/ 36 w 40"/>
                <a:gd name="T3" fmla="*/ 30 h 32"/>
                <a:gd name="T4" fmla="*/ 36 w 40"/>
                <a:gd name="T5" fmla="*/ 20 h 32"/>
                <a:gd name="T6" fmla="*/ 20 w 40"/>
                <a:gd name="T7" fmla="*/ 4 h 32"/>
                <a:gd name="T8" fmla="*/ 4 w 40"/>
                <a:gd name="T9" fmla="*/ 20 h 32"/>
                <a:gd name="T10" fmla="*/ 4 w 40"/>
                <a:gd name="T11" fmla="*/ 30 h 32"/>
                <a:gd name="T12" fmla="*/ 2 w 40"/>
                <a:gd name="T13" fmla="*/ 32 h 32"/>
                <a:gd name="T14" fmla="*/ 0 w 40"/>
                <a:gd name="T15" fmla="*/ 30 h 32"/>
                <a:gd name="T16" fmla="*/ 0 w 40"/>
                <a:gd name="T17" fmla="*/ 20 h 32"/>
                <a:gd name="T18" fmla="*/ 20 w 40"/>
                <a:gd name="T19" fmla="*/ 0 h 32"/>
                <a:gd name="T20" fmla="*/ 40 w 40"/>
                <a:gd name="T21" fmla="*/ 20 h 32"/>
                <a:gd name="T22" fmla="*/ 40 w 40"/>
                <a:gd name="T23" fmla="*/ 30 h 32"/>
                <a:gd name="T24" fmla="*/ 38 w 4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2">
                  <a:moveTo>
                    <a:pt x="38" y="32"/>
                  </a:moveTo>
                  <a:cubicBezTo>
                    <a:pt x="37" y="32"/>
                    <a:pt x="36" y="31"/>
                    <a:pt x="36" y="30"/>
                  </a:cubicBezTo>
                  <a:cubicBezTo>
                    <a:pt x="36" y="20"/>
                    <a:pt x="36" y="20"/>
                    <a:pt x="36" y="20"/>
                  </a:cubicBezTo>
                  <a:cubicBezTo>
                    <a:pt x="36" y="11"/>
                    <a:pt x="29" y="4"/>
                    <a:pt x="20" y="4"/>
                  </a:cubicBezTo>
                  <a:cubicBezTo>
                    <a:pt x="11" y="4"/>
                    <a:pt x="4" y="11"/>
                    <a:pt x="4" y="20"/>
                  </a:cubicBezTo>
                  <a:cubicBezTo>
                    <a:pt x="4" y="30"/>
                    <a:pt x="4" y="30"/>
                    <a:pt x="4" y="30"/>
                  </a:cubicBezTo>
                  <a:cubicBezTo>
                    <a:pt x="4" y="31"/>
                    <a:pt x="3" y="32"/>
                    <a:pt x="2" y="32"/>
                  </a:cubicBezTo>
                  <a:cubicBezTo>
                    <a:pt x="1" y="32"/>
                    <a:pt x="0" y="31"/>
                    <a:pt x="0" y="30"/>
                  </a:cubicBezTo>
                  <a:cubicBezTo>
                    <a:pt x="0" y="20"/>
                    <a:pt x="0" y="20"/>
                    <a:pt x="0" y="20"/>
                  </a:cubicBezTo>
                  <a:cubicBezTo>
                    <a:pt x="0" y="9"/>
                    <a:pt x="9" y="0"/>
                    <a:pt x="20" y="0"/>
                  </a:cubicBezTo>
                  <a:cubicBezTo>
                    <a:pt x="31" y="0"/>
                    <a:pt x="40" y="9"/>
                    <a:pt x="40" y="20"/>
                  </a:cubicBezTo>
                  <a:cubicBezTo>
                    <a:pt x="40" y="30"/>
                    <a:pt x="40" y="30"/>
                    <a:pt x="40" y="30"/>
                  </a:cubicBezTo>
                  <a:cubicBezTo>
                    <a:pt x="40" y="31"/>
                    <a:pt x="39"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3" name="Group 3161">
            <a:extLst>
              <a:ext uri="{FF2B5EF4-FFF2-40B4-BE49-F238E27FC236}">
                <a16:creationId xmlns:a16="http://schemas.microsoft.com/office/drawing/2014/main" id="{E58CB7E2-F0F1-4589-BD7B-3CC2BC5982D2}"/>
              </a:ext>
            </a:extLst>
          </p:cNvPr>
          <p:cNvGrpSpPr>
            <a:grpSpLocks noChangeAspect="1"/>
          </p:cNvGrpSpPr>
          <p:nvPr/>
        </p:nvGrpSpPr>
        <p:grpSpPr>
          <a:xfrm>
            <a:off x="6664558" y="5417576"/>
            <a:ext cx="231827" cy="306484"/>
            <a:chOff x="9180513" y="1933575"/>
            <a:chExt cx="280987" cy="371475"/>
          </a:xfrm>
          <a:solidFill>
            <a:schemeClr val="bg2"/>
          </a:solidFill>
          <a:effectLst/>
        </p:grpSpPr>
        <p:sp>
          <p:nvSpPr>
            <p:cNvPr id="464" name="Oval 20">
              <a:extLst>
                <a:ext uri="{FF2B5EF4-FFF2-40B4-BE49-F238E27FC236}">
                  <a16:creationId xmlns:a16="http://schemas.microsoft.com/office/drawing/2014/main" id="{27FB389F-23F3-4340-BBB0-97B933D6D37A}"/>
                </a:ext>
              </a:extLst>
            </p:cNvPr>
            <p:cNvSpPr>
              <a:spLocks noChangeArrowheads="1"/>
            </p:cNvSpPr>
            <p:nvPr/>
          </p:nvSpPr>
          <p:spPr bwMode="auto">
            <a:xfrm>
              <a:off x="9305925" y="2151063"/>
              <a:ext cx="30162"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21">
              <a:extLst>
                <a:ext uri="{FF2B5EF4-FFF2-40B4-BE49-F238E27FC236}">
                  <a16:creationId xmlns:a16="http://schemas.microsoft.com/office/drawing/2014/main" id="{9CE1FA4E-0052-4EB6-B3A4-DAB6093EECBC}"/>
                </a:ext>
              </a:extLst>
            </p:cNvPr>
            <p:cNvSpPr>
              <a:spLocks/>
            </p:cNvSpPr>
            <p:nvPr/>
          </p:nvSpPr>
          <p:spPr bwMode="auto">
            <a:xfrm>
              <a:off x="9313863" y="2165350"/>
              <a:ext cx="14287" cy="61913"/>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22">
              <a:extLst>
                <a:ext uri="{FF2B5EF4-FFF2-40B4-BE49-F238E27FC236}">
                  <a16:creationId xmlns:a16="http://schemas.microsoft.com/office/drawing/2014/main" id="{744F8669-232A-4B0C-AAB2-EF5F6FE113C2}"/>
                </a:ext>
              </a:extLst>
            </p:cNvPr>
            <p:cNvSpPr>
              <a:spLocks noEditPoints="1"/>
            </p:cNvSpPr>
            <p:nvPr/>
          </p:nvSpPr>
          <p:spPr bwMode="auto">
            <a:xfrm>
              <a:off x="9180513" y="2073275"/>
              <a:ext cx="280987" cy="231775"/>
            </a:xfrm>
            <a:custGeom>
              <a:avLst/>
              <a:gdLst>
                <a:gd name="T0" fmla="*/ 70 w 72"/>
                <a:gd name="T1" fmla="*/ 60 h 60"/>
                <a:gd name="T2" fmla="*/ 2 w 72"/>
                <a:gd name="T3" fmla="*/ 60 h 60"/>
                <a:gd name="T4" fmla="*/ 0 w 72"/>
                <a:gd name="T5" fmla="*/ 58 h 60"/>
                <a:gd name="T6" fmla="*/ 0 w 72"/>
                <a:gd name="T7" fmla="*/ 2 h 60"/>
                <a:gd name="T8" fmla="*/ 2 w 72"/>
                <a:gd name="T9" fmla="*/ 0 h 60"/>
                <a:gd name="T10" fmla="*/ 70 w 72"/>
                <a:gd name="T11" fmla="*/ 0 h 60"/>
                <a:gd name="T12" fmla="*/ 72 w 72"/>
                <a:gd name="T13" fmla="*/ 2 h 60"/>
                <a:gd name="T14" fmla="*/ 72 w 72"/>
                <a:gd name="T15" fmla="*/ 58 h 60"/>
                <a:gd name="T16" fmla="*/ 70 w 72"/>
                <a:gd name="T17" fmla="*/ 60 h 60"/>
                <a:gd name="T18" fmla="*/ 4 w 72"/>
                <a:gd name="T19" fmla="*/ 56 h 60"/>
                <a:gd name="T20" fmla="*/ 68 w 72"/>
                <a:gd name="T21" fmla="*/ 56 h 60"/>
                <a:gd name="T22" fmla="*/ 68 w 72"/>
                <a:gd name="T23" fmla="*/ 4 h 60"/>
                <a:gd name="T24" fmla="*/ 4 w 72"/>
                <a:gd name="T25" fmla="*/ 4 h 60"/>
                <a:gd name="T26" fmla="*/ 4 w 72"/>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60">
                  <a:moveTo>
                    <a:pt x="70" y="60"/>
                  </a:moveTo>
                  <a:cubicBezTo>
                    <a:pt x="2" y="60"/>
                    <a:pt x="2" y="60"/>
                    <a:pt x="2" y="60"/>
                  </a:cubicBezTo>
                  <a:cubicBezTo>
                    <a:pt x="1" y="60"/>
                    <a:pt x="0" y="59"/>
                    <a:pt x="0" y="58"/>
                  </a:cubicBezTo>
                  <a:cubicBezTo>
                    <a:pt x="0" y="2"/>
                    <a:pt x="0" y="2"/>
                    <a:pt x="0" y="2"/>
                  </a:cubicBezTo>
                  <a:cubicBezTo>
                    <a:pt x="0" y="1"/>
                    <a:pt x="1" y="0"/>
                    <a:pt x="2" y="0"/>
                  </a:cubicBezTo>
                  <a:cubicBezTo>
                    <a:pt x="70" y="0"/>
                    <a:pt x="70" y="0"/>
                    <a:pt x="70" y="0"/>
                  </a:cubicBezTo>
                  <a:cubicBezTo>
                    <a:pt x="71" y="0"/>
                    <a:pt x="72" y="1"/>
                    <a:pt x="72" y="2"/>
                  </a:cubicBezTo>
                  <a:cubicBezTo>
                    <a:pt x="72" y="58"/>
                    <a:pt x="72" y="58"/>
                    <a:pt x="72" y="58"/>
                  </a:cubicBezTo>
                  <a:cubicBezTo>
                    <a:pt x="72" y="59"/>
                    <a:pt x="71" y="60"/>
                    <a:pt x="70" y="60"/>
                  </a:cubicBezTo>
                  <a:close/>
                  <a:moveTo>
                    <a:pt x="4" y="56"/>
                  </a:moveTo>
                  <a:cubicBezTo>
                    <a:pt x="68" y="56"/>
                    <a:pt x="68" y="56"/>
                    <a:pt x="68" y="56"/>
                  </a:cubicBezTo>
                  <a:cubicBezTo>
                    <a:pt x="68" y="4"/>
                    <a:pt x="68" y="4"/>
                    <a:pt x="68"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23">
              <a:extLst>
                <a:ext uri="{FF2B5EF4-FFF2-40B4-BE49-F238E27FC236}">
                  <a16:creationId xmlns:a16="http://schemas.microsoft.com/office/drawing/2014/main" id="{BF2540B3-E406-47FD-9931-D545193A4559}"/>
                </a:ext>
              </a:extLst>
            </p:cNvPr>
            <p:cNvSpPr>
              <a:spLocks/>
            </p:cNvSpPr>
            <p:nvPr/>
          </p:nvSpPr>
          <p:spPr bwMode="auto">
            <a:xfrm>
              <a:off x="9228138" y="1933575"/>
              <a:ext cx="187325" cy="155575"/>
            </a:xfrm>
            <a:custGeom>
              <a:avLst/>
              <a:gdLst>
                <a:gd name="T0" fmla="*/ 46 w 48"/>
                <a:gd name="T1" fmla="*/ 40 h 40"/>
                <a:gd name="T2" fmla="*/ 44 w 48"/>
                <a:gd name="T3" fmla="*/ 38 h 40"/>
                <a:gd name="T4" fmla="*/ 44 w 48"/>
                <a:gd name="T5" fmla="*/ 24 h 40"/>
                <a:gd name="T6" fmla="*/ 24 w 48"/>
                <a:gd name="T7" fmla="*/ 4 h 40"/>
                <a:gd name="T8" fmla="*/ 4 w 48"/>
                <a:gd name="T9" fmla="*/ 24 h 40"/>
                <a:gd name="T10" fmla="*/ 2 w 48"/>
                <a:gd name="T11" fmla="*/ 26 h 40"/>
                <a:gd name="T12" fmla="*/ 0 w 48"/>
                <a:gd name="T13" fmla="*/ 24 h 40"/>
                <a:gd name="T14" fmla="*/ 24 w 48"/>
                <a:gd name="T15" fmla="*/ 0 h 40"/>
                <a:gd name="T16" fmla="*/ 48 w 48"/>
                <a:gd name="T17" fmla="*/ 24 h 40"/>
                <a:gd name="T18" fmla="*/ 48 w 48"/>
                <a:gd name="T19" fmla="*/ 38 h 40"/>
                <a:gd name="T20" fmla="*/ 46 w 48"/>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0">
                  <a:moveTo>
                    <a:pt x="46" y="40"/>
                  </a:moveTo>
                  <a:cubicBezTo>
                    <a:pt x="45" y="40"/>
                    <a:pt x="44" y="39"/>
                    <a:pt x="44" y="38"/>
                  </a:cubicBezTo>
                  <a:cubicBezTo>
                    <a:pt x="44" y="24"/>
                    <a:pt x="44" y="24"/>
                    <a:pt x="44" y="24"/>
                  </a:cubicBezTo>
                  <a:cubicBezTo>
                    <a:pt x="44" y="13"/>
                    <a:pt x="35" y="4"/>
                    <a:pt x="24" y="4"/>
                  </a:cubicBezTo>
                  <a:cubicBezTo>
                    <a:pt x="13" y="4"/>
                    <a:pt x="4" y="13"/>
                    <a:pt x="4" y="24"/>
                  </a:cubicBezTo>
                  <a:cubicBezTo>
                    <a:pt x="4" y="25"/>
                    <a:pt x="3" y="26"/>
                    <a:pt x="2" y="26"/>
                  </a:cubicBezTo>
                  <a:cubicBezTo>
                    <a:pt x="1" y="26"/>
                    <a:pt x="0" y="25"/>
                    <a:pt x="0" y="24"/>
                  </a:cubicBezTo>
                  <a:cubicBezTo>
                    <a:pt x="0" y="11"/>
                    <a:pt x="11" y="0"/>
                    <a:pt x="24" y="0"/>
                  </a:cubicBezTo>
                  <a:cubicBezTo>
                    <a:pt x="37" y="0"/>
                    <a:pt x="48" y="11"/>
                    <a:pt x="48" y="24"/>
                  </a:cubicBezTo>
                  <a:cubicBezTo>
                    <a:pt x="48" y="38"/>
                    <a:pt x="48" y="38"/>
                    <a:pt x="48" y="38"/>
                  </a:cubicBezTo>
                  <a:cubicBezTo>
                    <a:pt x="48" y="39"/>
                    <a:pt x="47" y="40"/>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2" name="Group 36">
            <a:extLst>
              <a:ext uri="{FF2B5EF4-FFF2-40B4-BE49-F238E27FC236}">
                <a16:creationId xmlns:a16="http://schemas.microsoft.com/office/drawing/2014/main" id="{7C3BD149-5D57-4BE6-9F2A-286862CA0CE6}"/>
              </a:ext>
            </a:extLst>
          </p:cNvPr>
          <p:cNvGrpSpPr>
            <a:grpSpLocks noChangeAspect="1"/>
          </p:cNvGrpSpPr>
          <p:nvPr/>
        </p:nvGrpSpPr>
        <p:grpSpPr>
          <a:xfrm>
            <a:off x="1471554" y="5417576"/>
            <a:ext cx="300194" cy="306484"/>
            <a:chOff x="5610225" y="5173663"/>
            <a:chExt cx="530225" cy="541338"/>
          </a:xfrm>
          <a:solidFill>
            <a:schemeClr val="bg2"/>
          </a:solidFill>
          <a:effectLst/>
        </p:grpSpPr>
        <p:sp>
          <p:nvSpPr>
            <p:cNvPr id="473" name="Freeform 5">
              <a:extLst>
                <a:ext uri="{FF2B5EF4-FFF2-40B4-BE49-F238E27FC236}">
                  <a16:creationId xmlns:a16="http://schemas.microsoft.com/office/drawing/2014/main" id="{E138D064-C717-460A-8C0B-2B74C8CEC70D}"/>
                </a:ext>
              </a:extLst>
            </p:cNvPr>
            <p:cNvSpPr>
              <a:spLocks/>
            </p:cNvSpPr>
            <p:nvPr/>
          </p:nvSpPr>
          <p:spPr bwMode="auto">
            <a:xfrm>
              <a:off x="5795963" y="5356226"/>
              <a:ext cx="180975" cy="130175"/>
            </a:xfrm>
            <a:custGeom>
              <a:avLst/>
              <a:gdLst>
                <a:gd name="T0" fmla="*/ 38 w 114"/>
                <a:gd name="T1" fmla="*/ 82 h 82"/>
                <a:gd name="T2" fmla="*/ 38 w 114"/>
                <a:gd name="T3" fmla="*/ 82 h 82"/>
                <a:gd name="T4" fmla="*/ 37 w 114"/>
                <a:gd name="T5" fmla="*/ 82 h 82"/>
                <a:gd name="T6" fmla="*/ 33 w 114"/>
                <a:gd name="T7" fmla="*/ 81 h 82"/>
                <a:gd name="T8" fmla="*/ 2 w 114"/>
                <a:gd name="T9" fmla="*/ 47 h 82"/>
                <a:gd name="T10" fmla="*/ 2 w 114"/>
                <a:gd name="T11" fmla="*/ 47 h 82"/>
                <a:gd name="T12" fmla="*/ 0 w 114"/>
                <a:gd name="T13" fmla="*/ 45 h 82"/>
                <a:gd name="T14" fmla="*/ 0 w 114"/>
                <a:gd name="T15" fmla="*/ 42 h 82"/>
                <a:gd name="T16" fmla="*/ 0 w 114"/>
                <a:gd name="T17" fmla="*/ 40 h 82"/>
                <a:gd name="T18" fmla="*/ 2 w 114"/>
                <a:gd name="T19" fmla="*/ 39 h 82"/>
                <a:gd name="T20" fmla="*/ 2 w 114"/>
                <a:gd name="T21" fmla="*/ 39 h 82"/>
                <a:gd name="T22" fmla="*/ 3 w 114"/>
                <a:gd name="T23" fmla="*/ 37 h 82"/>
                <a:gd name="T24" fmla="*/ 7 w 114"/>
                <a:gd name="T25" fmla="*/ 35 h 82"/>
                <a:gd name="T26" fmla="*/ 8 w 114"/>
                <a:gd name="T27" fmla="*/ 37 h 82"/>
                <a:gd name="T28" fmla="*/ 12 w 114"/>
                <a:gd name="T29" fmla="*/ 39 h 82"/>
                <a:gd name="T30" fmla="*/ 38 w 114"/>
                <a:gd name="T31" fmla="*/ 66 h 82"/>
                <a:gd name="T32" fmla="*/ 102 w 114"/>
                <a:gd name="T33" fmla="*/ 2 h 82"/>
                <a:gd name="T34" fmla="*/ 102 w 114"/>
                <a:gd name="T35" fmla="*/ 2 h 82"/>
                <a:gd name="T36" fmla="*/ 105 w 114"/>
                <a:gd name="T37" fmla="*/ 0 h 82"/>
                <a:gd name="T38" fmla="*/ 107 w 114"/>
                <a:gd name="T39" fmla="*/ 0 h 82"/>
                <a:gd name="T40" fmla="*/ 110 w 114"/>
                <a:gd name="T41" fmla="*/ 0 h 82"/>
                <a:gd name="T42" fmla="*/ 112 w 114"/>
                <a:gd name="T43" fmla="*/ 2 h 82"/>
                <a:gd name="T44" fmla="*/ 112 w 114"/>
                <a:gd name="T45" fmla="*/ 2 h 82"/>
                <a:gd name="T46" fmla="*/ 114 w 114"/>
                <a:gd name="T47" fmla="*/ 4 h 82"/>
                <a:gd name="T48" fmla="*/ 114 w 114"/>
                <a:gd name="T49" fmla="*/ 7 h 82"/>
                <a:gd name="T50" fmla="*/ 114 w 114"/>
                <a:gd name="T51" fmla="*/ 9 h 82"/>
                <a:gd name="T52" fmla="*/ 112 w 114"/>
                <a:gd name="T53" fmla="*/ 12 h 82"/>
                <a:gd name="T54" fmla="*/ 43 w 114"/>
                <a:gd name="T55" fmla="*/ 81 h 82"/>
                <a:gd name="T56" fmla="*/ 43 w 114"/>
                <a:gd name="T57" fmla="*/ 81 h 82"/>
                <a:gd name="T58" fmla="*/ 42 w 114"/>
                <a:gd name="T59" fmla="*/ 82 h 82"/>
                <a:gd name="T60" fmla="*/ 38 w 114"/>
                <a:gd name="T61" fmla="*/ 82 h 82"/>
                <a:gd name="T62" fmla="*/ 38 w 114"/>
                <a:gd name="T6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82">
                  <a:moveTo>
                    <a:pt x="38" y="82"/>
                  </a:moveTo>
                  <a:lnTo>
                    <a:pt x="38" y="82"/>
                  </a:lnTo>
                  <a:lnTo>
                    <a:pt x="37" y="82"/>
                  </a:lnTo>
                  <a:lnTo>
                    <a:pt x="33" y="81"/>
                  </a:lnTo>
                  <a:lnTo>
                    <a:pt x="2" y="47"/>
                  </a:lnTo>
                  <a:lnTo>
                    <a:pt x="2" y="47"/>
                  </a:lnTo>
                  <a:lnTo>
                    <a:pt x="0" y="45"/>
                  </a:lnTo>
                  <a:lnTo>
                    <a:pt x="0" y="42"/>
                  </a:lnTo>
                  <a:lnTo>
                    <a:pt x="0" y="40"/>
                  </a:lnTo>
                  <a:lnTo>
                    <a:pt x="2" y="39"/>
                  </a:lnTo>
                  <a:lnTo>
                    <a:pt x="2" y="39"/>
                  </a:lnTo>
                  <a:lnTo>
                    <a:pt x="3" y="37"/>
                  </a:lnTo>
                  <a:lnTo>
                    <a:pt x="7" y="35"/>
                  </a:lnTo>
                  <a:lnTo>
                    <a:pt x="8" y="37"/>
                  </a:lnTo>
                  <a:lnTo>
                    <a:pt x="12" y="39"/>
                  </a:lnTo>
                  <a:lnTo>
                    <a:pt x="38" y="66"/>
                  </a:lnTo>
                  <a:lnTo>
                    <a:pt x="102" y="2"/>
                  </a:lnTo>
                  <a:lnTo>
                    <a:pt x="102" y="2"/>
                  </a:lnTo>
                  <a:lnTo>
                    <a:pt x="105" y="0"/>
                  </a:lnTo>
                  <a:lnTo>
                    <a:pt x="107" y="0"/>
                  </a:lnTo>
                  <a:lnTo>
                    <a:pt x="110" y="0"/>
                  </a:lnTo>
                  <a:lnTo>
                    <a:pt x="112" y="2"/>
                  </a:lnTo>
                  <a:lnTo>
                    <a:pt x="112" y="2"/>
                  </a:lnTo>
                  <a:lnTo>
                    <a:pt x="114" y="4"/>
                  </a:lnTo>
                  <a:lnTo>
                    <a:pt x="114" y="7"/>
                  </a:lnTo>
                  <a:lnTo>
                    <a:pt x="114" y="9"/>
                  </a:lnTo>
                  <a:lnTo>
                    <a:pt x="112" y="12"/>
                  </a:lnTo>
                  <a:lnTo>
                    <a:pt x="43" y="81"/>
                  </a:lnTo>
                  <a:lnTo>
                    <a:pt x="43" y="81"/>
                  </a:lnTo>
                  <a:lnTo>
                    <a:pt x="42" y="82"/>
                  </a:lnTo>
                  <a:lnTo>
                    <a:pt x="38" y="82"/>
                  </a:lnTo>
                  <a:lnTo>
                    <a:pt x="3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6">
              <a:extLst>
                <a:ext uri="{FF2B5EF4-FFF2-40B4-BE49-F238E27FC236}">
                  <a16:creationId xmlns:a16="http://schemas.microsoft.com/office/drawing/2014/main" id="{612A5D60-5B5F-415E-A837-F32D70BF8046}"/>
                </a:ext>
              </a:extLst>
            </p:cNvPr>
            <p:cNvSpPr>
              <a:spLocks noEditPoints="1"/>
            </p:cNvSpPr>
            <p:nvPr/>
          </p:nvSpPr>
          <p:spPr bwMode="auto">
            <a:xfrm>
              <a:off x="5749925" y="5303838"/>
              <a:ext cx="250825" cy="252413"/>
            </a:xfrm>
            <a:custGeom>
              <a:avLst/>
              <a:gdLst>
                <a:gd name="T0" fmla="*/ 79 w 158"/>
                <a:gd name="T1" fmla="*/ 159 h 159"/>
                <a:gd name="T2" fmla="*/ 49 w 158"/>
                <a:gd name="T3" fmla="*/ 154 h 159"/>
                <a:gd name="T4" fmla="*/ 22 w 158"/>
                <a:gd name="T5" fmla="*/ 135 h 159"/>
                <a:gd name="T6" fmla="*/ 5 w 158"/>
                <a:gd name="T7" fmla="*/ 110 h 159"/>
                <a:gd name="T8" fmla="*/ 0 w 158"/>
                <a:gd name="T9" fmla="*/ 80 h 159"/>
                <a:gd name="T10" fmla="*/ 0 w 158"/>
                <a:gd name="T11" fmla="*/ 63 h 159"/>
                <a:gd name="T12" fmla="*/ 14 w 158"/>
                <a:gd name="T13" fmla="*/ 35 h 159"/>
                <a:gd name="T14" fmla="*/ 34 w 158"/>
                <a:gd name="T15" fmla="*/ 15 h 159"/>
                <a:gd name="T16" fmla="*/ 62 w 158"/>
                <a:gd name="T17" fmla="*/ 2 h 159"/>
                <a:gd name="T18" fmla="*/ 79 w 158"/>
                <a:gd name="T19" fmla="*/ 0 h 159"/>
                <a:gd name="T20" fmla="*/ 109 w 158"/>
                <a:gd name="T21" fmla="*/ 7 h 159"/>
                <a:gd name="T22" fmla="*/ 136 w 158"/>
                <a:gd name="T23" fmla="*/ 23 h 159"/>
                <a:gd name="T24" fmla="*/ 153 w 158"/>
                <a:gd name="T25" fmla="*/ 48 h 159"/>
                <a:gd name="T26" fmla="*/ 158 w 158"/>
                <a:gd name="T27" fmla="*/ 80 h 159"/>
                <a:gd name="T28" fmla="*/ 158 w 158"/>
                <a:gd name="T29" fmla="*/ 95 h 159"/>
                <a:gd name="T30" fmla="*/ 144 w 158"/>
                <a:gd name="T31" fmla="*/ 124 h 159"/>
                <a:gd name="T32" fmla="*/ 124 w 158"/>
                <a:gd name="T33" fmla="*/ 145 h 159"/>
                <a:gd name="T34" fmla="*/ 96 w 158"/>
                <a:gd name="T35" fmla="*/ 157 h 159"/>
                <a:gd name="T36" fmla="*/ 79 w 158"/>
                <a:gd name="T37" fmla="*/ 159 h 159"/>
                <a:gd name="T38" fmla="*/ 79 w 158"/>
                <a:gd name="T39" fmla="*/ 13 h 159"/>
                <a:gd name="T40" fmla="*/ 54 w 158"/>
                <a:gd name="T41" fmla="*/ 18 h 159"/>
                <a:gd name="T42" fmla="*/ 32 w 158"/>
                <a:gd name="T43" fmla="*/ 33 h 159"/>
                <a:gd name="T44" fmla="*/ 19 w 158"/>
                <a:gd name="T45" fmla="*/ 55 h 159"/>
                <a:gd name="T46" fmla="*/ 14 w 158"/>
                <a:gd name="T47" fmla="*/ 80 h 159"/>
                <a:gd name="T48" fmla="*/ 14 w 158"/>
                <a:gd name="T49" fmla="*/ 93 h 159"/>
                <a:gd name="T50" fmla="*/ 24 w 158"/>
                <a:gd name="T51" fmla="*/ 117 h 159"/>
                <a:gd name="T52" fmla="*/ 42 w 158"/>
                <a:gd name="T53" fmla="*/ 135 h 159"/>
                <a:gd name="T54" fmla="*/ 66 w 158"/>
                <a:gd name="T55" fmla="*/ 145 h 159"/>
                <a:gd name="T56" fmla="*/ 79 w 158"/>
                <a:gd name="T57" fmla="*/ 145 h 159"/>
                <a:gd name="T58" fmla="*/ 104 w 158"/>
                <a:gd name="T59" fmla="*/ 140 h 159"/>
                <a:gd name="T60" fmla="*/ 126 w 158"/>
                <a:gd name="T61" fmla="*/ 127 h 159"/>
                <a:gd name="T62" fmla="*/ 139 w 158"/>
                <a:gd name="T63" fmla="*/ 105 h 159"/>
                <a:gd name="T64" fmla="*/ 144 w 158"/>
                <a:gd name="T65" fmla="*/ 80 h 159"/>
                <a:gd name="T66" fmla="*/ 144 w 158"/>
                <a:gd name="T67" fmla="*/ 67 h 159"/>
                <a:gd name="T68" fmla="*/ 134 w 158"/>
                <a:gd name="T69" fmla="*/ 43 h 159"/>
                <a:gd name="T70" fmla="*/ 116 w 158"/>
                <a:gd name="T71" fmla="*/ 25 h 159"/>
                <a:gd name="T72" fmla="*/ 92 w 158"/>
                <a:gd name="T73" fmla="*/ 15 h 159"/>
                <a:gd name="T74" fmla="*/ 79 w 158"/>
                <a:gd name="T7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79" y="159"/>
                  </a:moveTo>
                  <a:lnTo>
                    <a:pt x="79" y="159"/>
                  </a:lnTo>
                  <a:lnTo>
                    <a:pt x="62" y="157"/>
                  </a:lnTo>
                  <a:lnTo>
                    <a:pt x="49" y="154"/>
                  </a:lnTo>
                  <a:lnTo>
                    <a:pt x="34" y="145"/>
                  </a:lnTo>
                  <a:lnTo>
                    <a:pt x="22" y="135"/>
                  </a:lnTo>
                  <a:lnTo>
                    <a:pt x="14" y="124"/>
                  </a:lnTo>
                  <a:lnTo>
                    <a:pt x="5" y="110"/>
                  </a:lnTo>
                  <a:lnTo>
                    <a:pt x="0" y="95"/>
                  </a:lnTo>
                  <a:lnTo>
                    <a:pt x="0" y="80"/>
                  </a:lnTo>
                  <a:lnTo>
                    <a:pt x="0" y="80"/>
                  </a:lnTo>
                  <a:lnTo>
                    <a:pt x="0" y="63"/>
                  </a:lnTo>
                  <a:lnTo>
                    <a:pt x="5" y="48"/>
                  </a:lnTo>
                  <a:lnTo>
                    <a:pt x="14" y="35"/>
                  </a:lnTo>
                  <a:lnTo>
                    <a:pt x="22" y="23"/>
                  </a:lnTo>
                  <a:lnTo>
                    <a:pt x="34" y="15"/>
                  </a:lnTo>
                  <a:lnTo>
                    <a:pt x="49" y="7"/>
                  </a:lnTo>
                  <a:lnTo>
                    <a:pt x="62" y="2"/>
                  </a:lnTo>
                  <a:lnTo>
                    <a:pt x="79" y="0"/>
                  </a:lnTo>
                  <a:lnTo>
                    <a:pt x="79" y="0"/>
                  </a:lnTo>
                  <a:lnTo>
                    <a:pt x="96" y="2"/>
                  </a:lnTo>
                  <a:lnTo>
                    <a:pt x="109" y="7"/>
                  </a:lnTo>
                  <a:lnTo>
                    <a:pt x="124" y="15"/>
                  </a:lnTo>
                  <a:lnTo>
                    <a:pt x="136" y="23"/>
                  </a:lnTo>
                  <a:lnTo>
                    <a:pt x="144" y="35"/>
                  </a:lnTo>
                  <a:lnTo>
                    <a:pt x="153" y="48"/>
                  </a:lnTo>
                  <a:lnTo>
                    <a:pt x="158" y="63"/>
                  </a:lnTo>
                  <a:lnTo>
                    <a:pt x="158" y="80"/>
                  </a:lnTo>
                  <a:lnTo>
                    <a:pt x="158" y="80"/>
                  </a:lnTo>
                  <a:lnTo>
                    <a:pt x="158" y="95"/>
                  </a:lnTo>
                  <a:lnTo>
                    <a:pt x="153" y="110"/>
                  </a:lnTo>
                  <a:lnTo>
                    <a:pt x="144" y="124"/>
                  </a:lnTo>
                  <a:lnTo>
                    <a:pt x="136" y="135"/>
                  </a:lnTo>
                  <a:lnTo>
                    <a:pt x="124" y="145"/>
                  </a:lnTo>
                  <a:lnTo>
                    <a:pt x="109" y="154"/>
                  </a:lnTo>
                  <a:lnTo>
                    <a:pt x="96" y="157"/>
                  </a:lnTo>
                  <a:lnTo>
                    <a:pt x="79" y="159"/>
                  </a:lnTo>
                  <a:lnTo>
                    <a:pt x="79" y="159"/>
                  </a:lnTo>
                  <a:close/>
                  <a:moveTo>
                    <a:pt x="79" y="13"/>
                  </a:moveTo>
                  <a:lnTo>
                    <a:pt x="79" y="13"/>
                  </a:lnTo>
                  <a:lnTo>
                    <a:pt x="66" y="15"/>
                  </a:lnTo>
                  <a:lnTo>
                    <a:pt x="54" y="18"/>
                  </a:lnTo>
                  <a:lnTo>
                    <a:pt x="42" y="25"/>
                  </a:lnTo>
                  <a:lnTo>
                    <a:pt x="32" y="33"/>
                  </a:lnTo>
                  <a:lnTo>
                    <a:pt x="24" y="43"/>
                  </a:lnTo>
                  <a:lnTo>
                    <a:pt x="19" y="55"/>
                  </a:lnTo>
                  <a:lnTo>
                    <a:pt x="14" y="67"/>
                  </a:lnTo>
                  <a:lnTo>
                    <a:pt x="14" y="80"/>
                  </a:lnTo>
                  <a:lnTo>
                    <a:pt x="14" y="80"/>
                  </a:lnTo>
                  <a:lnTo>
                    <a:pt x="14" y="93"/>
                  </a:lnTo>
                  <a:lnTo>
                    <a:pt x="19" y="105"/>
                  </a:lnTo>
                  <a:lnTo>
                    <a:pt x="24" y="117"/>
                  </a:lnTo>
                  <a:lnTo>
                    <a:pt x="32" y="127"/>
                  </a:lnTo>
                  <a:lnTo>
                    <a:pt x="42" y="135"/>
                  </a:lnTo>
                  <a:lnTo>
                    <a:pt x="54" y="140"/>
                  </a:lnTo>
                  <a:lnTo>
                    <a:pt x="66" y="145"/>
                  </a:lnTo>
                  <a:lnTo>
                    <a:pt x="79" y="145"/>
                  </a:lnTo>
                  <a:lnTo>
                    <a:pt x="79" y="145"/>
                  </a:lnTo>
                  <a:lnTo>
                    <a:pt x="92" y="145"/>
                  </a:lnTo>
                  <a:lnTo>
                    <a:pt x="104" y="140"/>
                  </a:lnTo>
                  <a:lnTo>
                    <a:pt x="116" y="135"/>
                  </a:lnTo>
                  <a:lnTo>
                    <a:pt x="126" y="127"/>
                  </a:lnTo>
                  <a:lnTo>
                    <a:pt x="134" y="117"/>
                  </a:lnTo>
                  <a:lnTo>
                    <a:pt x="139" y="105"/>
                  </a:lnTo>
                  <a:lnTo>
                    <a:pt x="144" y="93"/>
                  </a:lnTo>
                  <a:lnTo>
                    <a:pt x="144" y="80"/>
                  </a:lnTo>
                  <a:lnTo>
                    <a:pt x="144" y="80"/>
                  </a:lnTo>
                  <a:lnTo>
                    <a:pt x="144" y="67"/>
                  </a:lnTo>
                  <a:lnTo>
                    <a:pt x="139" y="55"/>
                  </a:lnTo>
                  <a:lnTo>
                    <a:pt x="134" y="43"/>
                  </a:lnTo>
                  <a:lnTo>
                    <a:pt x="126" y="33"/>
                  </a:lnTo>
                  <a:lnTo>
                    <a:pt x="116" y="25"/>
                  </a:lnTo>
                  <a:lnTo>
                    <a:pt x="104" y="18"/>
                  </a:lnTo>
                  <a:lnTo>
                    <a:pt x="92" y="15"/>
                  </a:lnTo>
                  <a:lnTo>
                    <a:pt x="79" y="13"/>
                  </a:lnTo>
                  <a:lnTo>
                    <a:pt x="7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a:extLst>
                <a:ext uri="{FF2B5EF4-FFF2-40B4-BE49-F238E27FC236}">
                  <a16:creationId xmlns:a16="http://schemas.microsoft.com/office/drawing/2014/main" id="{85CE6690-51B1-4386-8849-73F5F58E8235}"/>
                </a:ext>
              </a:extLst>
            </p:cNvPr>
            <p:cNvSpPr>
              <a:spLocks noEditPoints="1"/>
            </p:cNvSpPr>
            <p:nvPr/>
          </p:nvSpPr>
          <p:spPr bwMode="auto">
            <a:xfrm>
              <a:off x="5610225" y="5173663"/>
              <a:ext cx="530225" cy="541338"/>
            </a:xfrm>
            <a:custGeom>
              <a:avLst/>
              <a:gdLst>
                <a:gd name="T0" fmla="*/ 165 w 334"/>
                <a:gd name="T1" fmla="*/ 341 h 341"/>
                <a:gd name="T2" fmla="*/ 142 w 334"/>
                <a:gd name="T3" fmla="*/ 331 h 341"/>
                <a:gd name="T4" fmla="*/ 100 w 334"/>
                <a:gd name="T5" fmla="*/ 301 h 341"/>
                <a:gd name="T6" fmla="*/ 55 w 334"/>
                <a:gd name="T7" fmla="*/ 236 h 341"/>
                <a:gd name="T8" fmla="*/ 25 w 334"/>
                <a:gd name="T9" fmla="*/ 162 h 341"/>
                <a:gd name="T10" fmla="*/ 1 w 334"/>
                <a:gd name="T11" fmla="*/ 69 h 341"/>
                <a:gd name="T12" fmla="*/ 0 w 334"/>
                <a:gd name="T13" fmla="*/ 52 h 341"/>
                <a:gd name="T14" fmla="*/ 5 w 334"/>
                <a:gd name="T15" fmla="*/ 47 h 341"/>
                <a:gd name="T16" fmla="*/ 18 w 334"/>
                <a:gd name="T17" fmla="*/ 48 h 341"/>
                <a:gd name="T18" fmla="*/ 30 w 334"/>
                <a:gd name="T19" fmla="*/ 50 h 341"/>
                <a:gd name="T20" fmla="*/ 70 w 334"/>
                <a:gd name="T21" fmla="*/ 45 h 341"/>
                <a:gd name="T22" fmla="*/ 129 w 334"/>
                <a:gd name="T23" fmla="*/ 27 h 341"/>
                <a:gd name="T24" fmla="*/ 160 w 334"/>
                <a:gd name="T25" fmla="*/ 3 h 341"/>
                <a:gd name="T26" fmla="*/ 167 w 334"/>
                <a:gd name="T27" fmla="*/ 0 h 341"/>
                <a:gd name="T28" fmla="*/ 174 w 334"/>
                <a:gd name="T29" fmla="*/ 3 h 341"/>
                <a:gd name="T30" fmla="*/ 206 w 334"/>
                <a:gd name="T31" fmla="*/ 27 h 341"/>
                <a:gd name="T32" fmla="*/ 264 w 334"/>
                <a:gd name="T33" fmla="*/ 45 h 341"/>
                <a:gd name="T34" fmla="*/ 304 w 334"/>
                <a:gd name="T35" fmla="*/ 50 h 341"/>
                <a:gd name="T36" fmla="*/ 326 w 334"/>
                <a:gd name="T37" fmla="*/ 47 h 341"/>
                <a:gd name="T38" fmla="*/ 331 w 334"/>
                <a:gd name="T39" fmla="*/ 48 h 341"/>
                <a:gd name="T40" fmla="*/ 334 w 334"/>
                <a:gd name="T41" fmla="*/ 53 h 341"/>
                <a:gd name="T42" fmla="*/ 318 w 334"/>
                <a:gd name="T43" fmla="*/ 139 h 341"/>
                <a:gd name="T44" fmla="*/ 294 w 334"/>
                <a:gd name="T45" fmla="*/ 211 h 341"/>
                <a:gd name="T46" fmla="*/ 254 w 334"/>
                <a:gd name="T47" fmla="*/ 281 h 341"/>
                <a:gd name="T48" fmla="*/ 206 w 334"/>
                <a:gd name="T49" fmla="*/ 324 h 341"/>
                <a:gd name="T50" fmla="*/ 169 w 334"/>
                <a:gd name="T51" fmla="*/ 341 h 341"/>
                <a:gd name="T52" fmla="*/ 167 w 334"/>
                <a:gd name="T53" fmla="*/ 341 h 341"/>
                <a:gd name="T54" fmla="*/ 18 w 334"/>
                <a:gd name="T55" fmla="*/ 85 h 341"/>
                <a:gd name="T56" fmla="*/ 45 w 334"/>
                <a:gd name="T57" fmla="*/ 177 h 341"/>
                <a:gd name="T58" fmla="*/ 73 w 334"/>
                <a:gd name="T59" fmla="*/ 241 h 341"/>
                <a:gd name="T60" fmla="*/ 114 w 334"/>
                <a:gd name="T61" fmla="*/ 294 h 341"/>
                <a:gd name="T62" fmla="*/ 167 w 334"/>
                <a:gd name="T63" fmla="*/ 328 h 341"/>
                <a:gd name="T64" fmla="*/ 206 w 334"/>
                <a:gd name="T65" fmla="*/ 308 h 341"/>
                <a:gd name="T66" fmla="*/ 252 w 334"/>
                <a:gd name="T67" fmla="*/ 259 h 341"/>
                <a:gd name="T68" fmla="*/ 284 w 334"/>
                <a:gd name="T69" fmla="*/ 199 h 341"/>
                <a:gd name="T70" fmla="*/ 309 w 334"/>
                <a:gd name="T71" fmla="*/ 117 h 341"/>
                <a:gd name="T72" fmla="*/ 319 w 334"/>
                <a:gd name="T73" fmla="*/ 62 h 341"/>
                <a:gd name="T74" fmla="*/ 287 w 334"/>
                <a:gd name="T75" fmla="*/ 62 h 341"/>
                <a:gd name="T76" fmla="*/ 227 w 334"/>
                <a:gd name="T77" fmla="*/ 50 h 341"/>
                <a:gd name="T78" fmla="*/ 177 w 334"/>
                <a:gd name="T79" fmla="*/ 27 h 341"/>
                <a:gd name="T80" fmla="*/ 157 w 334"/>
                <a:gd name="T81" fmla="*/ 27 h 341"/>
                <a:gd name="T82" fmla="*/ 107 w 334"/>
                <a:gd name="T83" fmla="*/ 50 h 341"/>
                <a:gd name="T84" fmla="*/ 47 w 334"/>
                <a:gd name="T85" fmla="*/ 62 h 341"/>
                <a:gd name="T86" fmla="*/ 30 w 334"/>
                <a:gd name="T87" fmla="*/ 64 h 341"/>
                <a:gd name="T88" fmla="*/ 15 w 334"/>
                <a:gd name="T89" fmla="*/ 6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4" h="341">
                  <a:moveTo>
                    <a:pt x="167" y="341"/>
                  </a:moveTo>
                  <a:lnTo>
                    <a:pt x="167" y="341"/>
                  </a:lnTo>
                  <a:lnTo>
                    <a:pt x="165" y="341"/>
                  </a:lnTo>
                  <a:lnTo>
                    <a:pt x="165" y="341"/>
                  </a:lnTo>
                  <a:lnTo>
                    <a:pt x="154" y="336"/>
                  </a:lnTo>
                  <a:lnTo>
                    <a:pt x="142" y="331"/>
                  </a:lnTo>
                  <a:lnTo>
                    <a:pt x="130" y="324"/>
                  </a:lnTo>
                  <a:lnTo>
                    <a:pt x="120" y="318"/>
                  </a:lnTo>
                  <a:lnTo>
                    <a:pt x="100" y="301"/>
                  </a:lnTo>
                  <a:lnTo>
                    <a:pt x="83" y="281"/>
                  </a:lnTo>
                  <a:lnTo>
                    <a:pt x="68" y="259"/>
                  </a:lnTo>
                  <a:lnTo>
                    <a:pt x="55" y="236"/>
                  </a:lnTo>
                  <a:lnTo>
                    <a:pt x="43" y="211"/>
                  </a:lnTo>
                  <a:lnTo>
                    <a:pt x="33" y="187"/>
                  </a:lnTo>
                  <a:lnTo>
                    <a:pt x="25" y="162"/>
                  </a:lnTo>
                  <a:lnTo>
                    <a:pt x="18" y="139"/>
                  </a:lnTo>
                  <a:lnTo>
                    <a:pt x="8" y="99"/>
                  </a:lnTo>
                  <a:lnTo>
                    <a:pt x="1" y="69"/>
                  </a:lnTo>
                  <a:lnTo>
                    <a:pt x="0" y="53"/>
                  </a:lnTo>
                  <a:lnTo>
                    <a:pt x="0" y="53"/>
                  </a:lnTo>
                  <a:lnTo>
                    <a:pt x="0" y="52"/>
                  </a:lnTo>
                  <a:lnTo>
                    <a:pt x="1" y="48"/>
                  </a:lnTo>
                  <a:lnTo>
                    <a:pt x="1" y="48"/>
                  </a:lnTo>
                  <a:lnTo>
                    <a:pt x="5" y="47"/>
                  </a:lnTo>
                  <a:lnTo>
                    <a:pt x="8" y="47"/>
                  </a:lnTo>
                  <a:lnTo>
                    <a:pt x="8" y="47"/>
                  </a:lnTo>
                  <a:lnTo>
                    <a:pt x="18" y="48"/>
                  </a:lnTo>
                  <a:lnTo>
                    <a:pt x="30" y="50"/>
                  </a:lnTo>
                  <a:lnTo>
                    <a:pt x="30" y="50"/>
                  </a:lnTo>
                  <a:lnTo>
                    <a:pt x="30" y="50"/>
                  </a:lnTo>
                  <a:lnTo>
                    <a:pt x="30" y="50"/>
                  </a:lnTo>
                  <a:lnTo>
                    <a:pt x="48" y="48"/>
                  </a:lnTo>
                  <a:lnTo>
                    <a:pt x="70" y="45"/>
                  </a:lnTo>
                  <a:lnTo>
                    <a:pt x="90" y="40"/>
                  </a:lnTo>
                  <a:lnTo>
                    <a:pt x="110" y="33"/>
                  </a:lnTo>
                  <a:lnTo>
                    <a:pt x="129" y="27"/>
                  </a:lnTo>
                  <a:lnTo>
                    <a:pt x="144" y="18"/>
                  </a:lnTo>
                  <a:lnTo>
                    <a:pt x="155" y="10"/>
                  </a:lnTo>
                  <a:lnTo>
                    <a:pt x="160" y="3"/>
                  </a:lnTo>
                  <a:lnTo>
                    <a:pt x="160" y="3"/>
                  </a:lnTo>
                  <a:lnTo>
                    <a:pt x="164" y="2"/>
                  </a:lnTo>
                  <a:lnTo>
                    <a:pt x="167" y="0"/>
                  </a:lnTo>
                  <a:lnTo>
                    <a:pt x="170" y="2"/>
                  </a:lnTo>
                  <a:lnTo>
                    <a:pt x="174" y="3"/>
                  </a:lnTo>
                  <a:lnTo>
                    <a:pt x="174" y="3"/>
                  </a:lnTo>
                  <a:lnTo>
                    <a:pt x="179" y="10"/>
                  </a:lnTo>
                  <a:lnTo>
                    <a:pt x="190" y="18"/>
                  </a:lnTo>
                  <a:lnTo>
                    <a:pt x="206" y="27"/>
                  </a:lnTo>
                  <a:lnTo>
                    <a:pt x="224" y="33"/>
                  </a:lnTo>
                  <a:lnTo>
                    <a:pt x="244" y="40"/>
                  </a:lnTo>
                  <a:lnTo>
                    <a:pt x="264" y="45"/>
                  </a:lnTo>
                  <a:lnTo>
                    <a:pt x="286" y="48"/>
                  </a:lnTo>
                  <a:lnTo>
                    <a:pt x="304" y="50"/>
                  </a:lnTo>
                  <a:lnTo>
                    <a:pt x="304" y="50"/>
                  </a:lnTo>
                  <a:lnTo>
                    <a:pt x="316" y="48"/>
                  </a:lnTo>
                  <a:lnTo>
                    <a:pt x="326" y="47"/>
                  </a:lnTo>
                  <a:lnTo>
                    <a:pt x="326" y="47"/>
                  </a:lnTo>
                  <a:lnTo>
                    <a:pt x="329" y="47"/>
                  </a:lnTo>
                  <a:lnTo>
                    <a:pt x="331" y="48"/>
                  </a:lnTo>
                  <a:lnTo>
                    <a:pt x="331" y="48"/>
                  </a:lnTo>
                  <a:lnTo>
                    <a:pt x="334" y="50"/>
                  </a:lnTo>
                  <a:lnTo>
                    <a:pt x="334" y="53"/>
                  </a:lnTo>
                  <a:lnTo>
                    <a:pt x="334" y="53"/>
                  </a:lnTo>
                  <a:lnTo>
                    <a:pt x="333" y="69"/>
                  </a:lnTo>
                  <a:lnTo>
                    <a:pt x="328" y="97"/>
                  </a:lnTo>
                  <a:lnTo>
                    <a:pt x="318" y="139"/>
                  </a:lnTo>
                  <a:lnTo>
                    <a:pt x="313" y="162"/>
                  </a:lnTo>
                  <a:lnTo>
                    <a:pt x="304" y="186"/>
                  </a:lnTo>
                  <a:lnTo>
                    <a:pt x="294" y="211"/>
                  </a:lnTo>
                  <a:lnTo>
                    <a:pt x="282" y="236"/>
                  </a:lnTo>
                  <a:lnTo>
                    <a:pt x="269" y="259"/>
                  </a:lnTo>
                  <a:lnTo>
                    <a:pt x="254" y="281"/>
                  </a:lnTo>
                  <a:lnTo>
                    <a:pt x="236" y="301"/>
                  </a:lnTo>
                  <a:lnTo>
                    <a:pt x="216" y="318"/>
                  </a:lnTo>
                  <a:lnTo>
                    <a:pt x="206" y="324"/>
                  </a:lnTo>
                  <a:lnTo>
                    <a:pt x="194" y="331"/>
                  </a:lnTo>
                  <a:lnTo>
                    <a:pt x="182" y="336"/>
                  </a:lnTo>
                  <a:lnTo>
                    <a:pt x="169" y="341"/>
                  </a:lnTo>
                  <a:lnTo>
                    <a:pt x="169" y="341"/>
                  </a:lnTo>
                  <a:lnTo>
                    <a:pt x="167" y="341"/>
                  </a:lnTo>
                  <a:lnTo>
                    <a:pt x="167" y="341"/>
                  </a:lnTo>
                  <a:close/>
                  <a:moveTo>
                    <a:pt x="15" y="62"/>
                  </a:moveTo>
                  <a:lnTo>
                    <a:pt x="15" y="62"/>
                  </a:lnTo>
                  <a:lnTo>
                    <a:pt x="18" y="85"/>
                  </a:lnTo>
                  <a:lnTo>
                    <a:pt x="27" y="117"/>
                  </a:lnTo>
                  <a:lnTo>
                    <a:pt x="37" y="157"/>
                  </a:lnTo>
                  <a:lnTo>
                    <a:pt x="45" y="177"/>
                  </a:lnTo>
                  <a:lnTo>
                    <a:pt x="53" y="199"/>
                  </a:lnTo>
                  <a:lnTo>
                    <a:pt x="62" y="221"/>
                  </a:lnTo>
                  <a:lnTo>
                    <a:pt x="73" y="241"/>
                  </a:lnTo>
                  <a:lnTo>
                    <a:pt x="85" y="261"/>
                  </a:lnTo>
                  <a:lnTo>
                    <a:pt x="98" y="277"/>
                  </a:lnTo>
                  <a:lnTo>
                    <a:pt x="114" y="294"/>
                  </a:lnTo>
                  <a:lnTo>
                    <a:pt x="130" y="308"/>
                  </a:lnTo>
                  <a:lnTo>
                    <a:pt x="147" y="319"/>
                  </a:lnTo>
                  <a:lnTo>
                    <a:pt x="167" y="328"/>
                  </a:lnTo>
                  <a:lnTo>
                    <a:pt x="167" y="328"/>
                  </a:lnTo>
                  <a:lnTo>
                    <a:pt x="187" y="319"/>
                  </a:lnTo>
                  <a:lnTo>
                    <a:pt x="206" y="308"/>
                  </a:lnTo>
                  <a:lnTo>
                    <a:pt x="224" y="294"/>
                  </a:lnTo>
                  <a:lnTo>
                    <a:pt x="239" y="277"/>
                  </a:lnTo>
                  <a:lnTo>
                    <a:pt x="252" y="259"/>
                  </a:lnTo>
                  <a:lnTo>
                    <a:pt x="264" y="241"/>
                  </a:lnTo>
                  <a:lnTo>
                    <a:pt x="274" y="219"/>
                  </a:lnTo>
                  <a:lnTo>
                    <a:pt x="284" y="199"/>
                  </a:lnTo>
                  <a:lnTo>
                    <a:pt x="293" y="177"/>
                  </a:lnTo>
                  <a:lnTo>
                    <a:pt x="299" y="157"/>
                  </a:lnTo>
                  <a:lnTo>
                    <a:pt x="309" y="117"/>
                  </a:lnTo>
                  <a:lnTo>
                    <a:pt x="316" y="85"/>
                  </a:lnTo>
                  <a:lnTo>
                    <a:pt x="319" y="62"/>
                  </a:lnTo>
                  <a:lnTo>
                    <a:pt x="319" y="62"/>
                  </a:lnTo>
                  <a:lnTo>
                    <a:pt x="304" y="64"/>
                  </a:lnTo>
                  <a:lnTo>
                    <a:pt x="304" y="64"/>
                  </a:lnTo>
                  <a:lnTo>
                    <a:pt x="287" y="62"/>
                  </a:lnTo>
                  <a:lnTo>
                    <a:pt x="267" y="60"/>
                  </a:lnTo>
                  <a:lnTo>
                    <a:pt x="247" y="55"/>
                  </a:lnTo>
                  <a:lnTo>
                    <a:pt x="227" y="50"/>
                  </a:lnTo>
                  <a:lnTo>
                    <a:pt x="209" y="42"/>
                  </a:lnTo>
                  <a:lnTo>
                    <a:pt x="192" y="35"/>
                  </a:lnTo>
                  <a:lnTo>
                    <a:pt x="177" y="27"/>
                  </a:lnTo>
                  <a:lnTo>
                    <a:pt x="167" y="18"/>
                  </a:lnTo>
                  <a:lnTo>
                    <a:pt x="167" y="18"/>
                  </a:lnTo>
                  <a:lnTo>
                    <a:pt x="157" y="27"/>
                  </a:lnTo>
                  <a:lnTo>
                    <a:pt x="142" y="35"/>
                  </a:lnTo>
                  <a:lnTo>
                    <a:pt x="125" y="42"/>
                  </a:lnTo>
                  <a:lnTo>
                    <a:pt x="107" y="50"/>
                  </a:lnTo>
                  <a:lnTo>
                    <a:pt x="87" y="55"/>
                  </a:lnTo>
                  <a:lnTo>
                    <a:pt x="67" y="60"/>
                  </a:lnTo>
                  <a:lnTo>
                    <a:pt x="47" y="62"/>
                  </a:lnTo>
                  <a:lnTo>
                    <a:pt x="30" y="64"/>
                  </a:lnTo>
                  <a:lnTo>
                    <a:pt x="30" y="64"/>
                  </a:lnTo>
                  <a:lnTo>
                    <a:pt x="30" y="64"/>
                  </a:lnTo>
                  <a:lnTo>
                    <a:pt x="30" y="64"/>
                  </a:lnTo>
                  <a:lnTo>
                    <a:pt x="15" y="62"/>
                  </a:lnTo>
                  <a:lnTo>
                    <a:pt x="15"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5" name="Group 4103">
            <a:extLst>
              <a:ext uri="{FF2B5EF4-FFF2-40B4-BE49-F238E27FC236}">
                <a16:creationId xmlns:a16="http://schemas.microsoft.com/office/drawing/2014/main" id="{7BEDD00C-3F2C-486A-A1A7-3F916E5D0006}"/>
              </a:ext>
            </a:extLst>
          </p:cNvPr>
          <p:cNvGrpSpPr>
            <a:grpSpLocks noChangeAspect="1"/>
          </p:cNvGrpSpPr>
          <p:nvPr/>
        </p:nvGrpSpPr>
        <p:grpSpPr>
          <a:xfrm>
            <a:off x="1939775" y="5417576"/>
            <a:ext cx="193844" cy="306484"/>
            <a:chOff x="4454526" y="3243263"/>
            <a:chExt cx="234950" cy="371476"/>
          </a:xfrm>
          <a:solidFill>
            <a:schemeClr val="bg2"/>
          </a:solidFill>
          <a:effectLst/>
        </p:grpSpPr>
        <p:sp>
          <p:nvSpPr>
            <p:cNvPr id="506" name="Freeform 18">
              <a:extLst>
                <a:ext uri="{FF2B5EF4-FFF2-40B4-BE49-F238E27FC236}">
                  <a16:creationId xmlns:a16="http://schemas.microsoft.com/office/drawing/2014/main" id="{BFCBD402-77F8-4F2E-87DD-85D1760D4297}"/>
                </a:ext>
              </a:extLst>
            </p:cNvPr>
            <p:cNvSpPr>
              <a:spLocks/>
            </p:cNvSpPr>
            <p:nvPr/>
          </p:nvSpPr>
          <p:spPr bwMode="auto">
            <a:xfrm>
              <a:off x="4454526" y="3243263"/>
              <a:ext cx="222250" cy="201613"/>
            </a:xfrm>
            <a:custGeom>
              <a:avLst/>
              <a:gdLst>
                <a:gd name="T0" fmla="*/ 42 w 56"/>
                <a:gd name="T1" fmla="*/ 52 h 52"/>
                <a:gd name="T2" fmla="*/ 40 w 56"/>
                <a:gd name="T3" fmla="*/ 51 h 52"/>
                <a:gd name="T4" fmla="*/ 41 w 56"/>
                <a:gd name="T5" fmla="*/ 48 h 52"/>
                <a:gd name="T6" fmla="*/ 52 w 56"/>
                <a:gd name="T7" fmla="*/ 28 h 52"/>
                <a:gd name="T8" fmla="*/ 28 w 56"/>
                <a:gd name="T9" fmla="*/ 4 h 52"/>
                <a:gd name="T10" fmla="*/ 4 w 56"/>
                <a:gd name="T11" fmla="*/ 28 h 52"/>
                <a:gd name="T12" fmla="*/ 15 w 56"/>
                <a:gd name="T13" fmla="*/ 48 h 52"/>
                <a:gd name="T14" fmla="*/ 16 w 56"/>
                <a:gd name="T15" fmla="*/ 51 h 52"/>
                <a:gd name="T16" fmla="*/ 13 w 56"/>
                <a:gd name="T17" fmla="*/ 52 h 52"/>
                <a:gd name="T18" fmla="*/ 0 w 56"/>
                <a:gd name="T19" fmla="*/ 28 h 52"/>
                <a:gd name="T20" fmla="*/ 28 w 56"/>
                <a:gd name="T21" fmla="*/ 0 h 52"/>
                <a:gd name="T22" fmla="*/ 56 w 56"/>
                <a:gd name="T23" fmla="*/ 28 h 52"/>
                <a:gd name="T24" fmla="*/ 43 w 56"/>
                <a:gd name="T25" fmla="*/ 52 h 52"/>
                <a:gd name="T26" fmla="*/ 42 w 56"/>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52">
                  <a:moveTo>
                    <a:pt x="42" y="52"/>
                  </a:moveTo>
                  <a:cubicBezTo>
                    <a:pt x="41" y="52"/>
                    <a:pt x="41" y="52"/>
                    <a:pt x="40" y="51"/>
                  </a:cubicBezTo>
                  <a:cubicBezTo>
                    <a:pt x="40" y="50"/>
                    <a:pt x="40" y="49"/>
                    <a:pt x="41" y="48"/>
                  </a:cubicBezTo>
                  <a:cubicBezTo>
                    <a:pt x="48" y="44"/>
                    <a:pt x="52" y="36"/>
                    <a:pt x="52" y="28"/>
                  </a:cubicBezTo>
                  <a:cubicBezTo>
                    <a:pt x="52" y="15"/>
                    <a:pt x="41" y="4"/>
                    <a:pt x="28" y="4"/>
                  </a:cubicBezTo>
                  <a:cubicBezTo>
                    <a:pt x="15" y="4"/>
                    <a:pt x="4" y="15"/>
                    <a:pt x="4" y="28"/>
                  </a:cubicBezTo>
                  <a:cubicBezTo>
                    <a:pt x="4" y="36"/>
                    <a:pt x="8" y="44"/>
                    <a:pt x="15" y="48"/>
                  </a:cubicBezTo>
                  <a:cubicBezTo>
                    <a:pt x="16" y="49"/>
                    <a:pt x="16" y="50"/>
                    <a:pt x="16" y="51"/>
                  </a:cubicBezTo>
                  <a:cubicBezTo>
                    <a:pt x="15" y="52"/>
                    <a:pt x="14" y="52"/>
                    <a:pt x="13" y="52"/>
                  </a:cubicBezTo>
                  <a:cubicBezTo>
                    <a:pt x="5" y="46"/>
                    <a:pt x="0" y="38"/>
                    <a:pt x="0" y="28"/>
                  </a:cubicBezTo>
                  <a:cubicBezTo>
                    <a:pt x="0" y="13"/>
                    <a:pt x="13" y="0"/>
                    <a:pt x="28" y="0"/>
                  </a:cubicBezTo>
                  <a:cubicBezTo>
                    <a:pt x="43" y="0"/>
                    <a:pt x="56" y="13"/>
                    <a:pt x="56" y="28"/>
                  </a:cubicBezTo>
                  <a:cubicBezTo>
                    <a:pt x="56" y="38"/>
                    <a:pt x="51" y="46"/>
                    <a:pt x="43" y="52"/>
                  </a:cubicBezTo>
                  <a:cubicBezTo>
                    <a:pt x="43" y="52"/>
                    <a:pt x="42" y="52"/>
                    <a:pt x="4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9">
              <a:extLst>
                <a:ext uri="{FF2B5EF4-FFF2-40B4-BE49-F238E27FC236}">
                  <a16:creationId xmlns:a16="http://schemas.microsoft.com/office/drawing/2014/main" id="{E236356F-514F-4DE1-BA78-4232438A6B8B}"/>
                </a:ext>
              </a:extLst>
            </p:cNvPr>
            <p:cNvSpPr>
              <a:spLocks noEditPoints="1"/>
            </p:cNvSpPr>
            <p:nvPr/>
          </p:nvSpPr>
          <p:spPr bwMode="auto">
            <a:xfrm>
              <a:off x="4454526" y="3336926"/>
              <a:ext cx="234950" cy="277813"/>
            </a:xfrm>
            <a:custGeom>
              <a:avLst/>
              <a:gdLst>
                <a:gd name="T0" fmla="*/ 52 w 59"/>
                <a:gd name="T1" fmla="*/ 72 h 72"/>
                <a:gd name="T2" fmla="*/ 20 w 59"/>
                <a:gd name="T3" fmla="*/ 72 h 72"/>
                <a:gd name="T4" fmla="*/ 18 w 59"/>
                <a:gd name="T5" fmla="*/ 71 h 72"/>
                <a:gd name="T6" fmla="*/ 2 w 59"/>
                <a:gd name="T7" fmla="*/ 47 h 72"/>
                <a:gd name="T8" fmla="*/ 1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1 h 72"/>
                <a:gd name="T58" fmla="*/ 5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8" y="72"/>
                    <a:pt x="18" y="71"/>
                  </a:cubicBezTo>
                  <a:cubicBezTo>
                    <a:pt x="2" y="47"/>
                    <a:pt x="2" y="47"/>
                    <a:pt x="2" y="47"/>
                  </a:cubicBezTo>
                  <a:cubicBezTo>
                    <a:pt x="0" y="45"/>
                    <a:pt x="0" y="41"/>
                    <a:pt x="1"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8" y="38"/>
                    <a:pt x="59" y="44"/>
                    <a:pt x="58" y="48"/>
                  </a:cubicBezTo>
                  <a:cubicBezTo>
                    <a:pt x="54" y="70"/>
                    <a:pt x="54" y="70"/>
                    <a:pt x="54" y="70"/>
                  </a:cubicBezTo>
                  <a:cubicBezTo>
                    <a:pt x="53" y="71"/>
                    <a:pt x="53" y="72"/>
                    <a:pt x="52" y="72"/>
                  </a:cubicBezTo>
                  <a:close/>
                  <a:moveTo>
                    <a:pt x="21" y="68"/>
                  </a:moveTo>
                  <a:cubicBezTo>
                    <a:pt x="50" y="68"/>
                    <a:pt x="50" y="68"/>
                    <a:pt x="50" y="68"/>
                  </a:cubicBezTo>
                  <a:cubicBezTo>
                    <a:pt x="54" y="48"/>
                    <a:pt x="54" y="48"/>
                    <a:pt x="54" y="48"/>
                  </a:cubicBezTo>
                  <a:cubicBezTo>
                    <a:pt x="54" y="44"/>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1"/>
                  </a:cubicBezTo>
                  <a:cubicBezTo>
                    <a:pt x="4" y="42"/>
                    <a:pt x="4" y="44"/>
                    <a:pt x="5"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3" name="Group 25">
            <a:extLst>
              <a:ext uri="{FF2B5EF4-FFF2-40B4-BE49-F238E27FC236}">
                <a16:creationId xmlns:a16="http://schemas.microsoft.com/office/drawing/2014/main" id="{67C21529-77F1-4B04-8A70-A757DB757E26}"/>
              </a:ext>
            </a:extLst>
          </p:cNvPr>
          <p:cNvGrpSpPr>
            <a:grpSpLocks noChangeAspect="1"/>
          </p:cNvGrpSpPr>
          <p:nvPr/>
        </p:nvGrpSpPr>
        <p:grpSpPr>
          <a:xfrm>
            <a:off x="2304045" y="5417576"/>
            <a:ext cx="306484" cy="306484"/>
            <a:chOff x="11028363" y="3071813"/>
            <a:chExt cx="285750" cy="285750"/>
          </a:xfrm>
          <a:solidFill>
            <a:schemeClr val="bg2"/>
          </a:solidFill>
          <a:effectLst/>
        </p:grpSpPr>
        <p:sp>
          <p:nvSpPr>
            <p:cNvPr id="524" name="Freeform 249">
              <a:extLst>
                <a:ext uri="{FF2B5EF4-FFF2-40B4-BE49-F238E27FC236}">
                  <a16:creationId xmlns:a16="http://schemas.microsoft.com/office/drawing/2014/main" id="{9E336EF8-2EA5-46B6-8805-DEA9C8178A5C}"/>
                </a:ext>
              </a:extLst>
            </p:cNvPr>
            <p:cNvSpPr>
              <a:spLocks noEditPoints="1"/>
            </p:cNvSpPr>
            <p:nvPr/>
          </p:nvSpPr>
          <p:spPr bwMode="auto">
            <a:xfrm>
              <a:off x="11028363" y="3071813"/>
              <a:ext cx="285750" cy="285750"/>
            </a:xfrm>
            <a:custGeom>
              <a:avLst/>
              <a:gdLst>
                <a:gd name="T0" fmla="*/ 870 w 902"/>
                <a:gd name="T1" fmla="*/ 780 h 902"/>
                <a:gd name="T2" fmla="*/ 861 w 902"/>
                <a:gd name="T3" fmla="*/ 799 h 902"/>
                <a:gd name="T4" fmla="*/ 846 w 902"/>
                <a:gd name="T5" fmla="*/ 818 h 902"/>
                <a:gd name="T6" fmla="*/ 829 w 902"/>
                <a:gd name="T7" fmla="*/ 832 h 902"/>
                <a:gd name="T8" fmla="*/ 810 w 902"/>
                <a:gd name="T9" fmla="*/ 840 h 902"/>
                <a:gd name="T10" fmla="*/ 105 w 902"/>
                <a:gd name="T11" fmla="*/ 842 h 902"/>
                <a:gd name="T12" fmla="*/ 86 w 902"/>
                <a:gd name="T13" fmla="*/ 838 h 902"/>
                <a:gd name="T14" fmla="*/ 66 w 902"/>
                <a:gd name="T15" fmla="*/ 827 h 902"/>
                <a:gd name="T16" fmla="*/ 49 w 902"/>
                <a:gd name="T17" fmla="*/ 812 h 902"/>
                <a:gd name="T18" fmla="*/ 36 w 902"/>
                <a:gd name="T19" fmla="*/ 793 h 902"/>
                <a:gd name="T20" fmla="*/ 30 w 902"/>
                <a:gd name="T21" fmla="*/ 774 h 902"/>
                <a:gd name="T22" fmla="*/ 30 w 902"/>
                <a:gd name="T23" fmla="*/ 99 h 902"/>
                <a:gd name="T24" fmla="*/ 36 w 902"/>
                <a:gd name="T25" fmla="*/ 80 h 902"/>
                <a:gd name="T26" fmla="*/ 49 w 902"/>
                <a:gd name="T27" fmla="*/ 61 h 902"/>
                <a:gd name="T28" fmla="*/ 66 w 902"/>
                <a:gd name="T29" fmla="*/ 45 h 902"/>
                <a:gd name="T30" fmla="*/ 86 w 902"/>
                <a:gd name="T31" fmla="*/ 35 h 902"/>
                <a:gd name="T32" fmla="*/ 105 w 902"/>
                <a:gd name="T33" fmla="*/ 30 h 902"/>
                <a:gd name="T34" fmla="*/ 810 w 902"/>
                <a:gd name="T35" fmla="*/ 32 h 902"/>
                <a:gd name="T36" fmla="*/ 829 w 902"/>
                <a:gd name="T37" fmla="*/ 41 h 902"/>
                <a:gd name="T38" fmla="*/ 846 w 902"/>
                <a:gd name="T39" fmla="*/ 56 h 902"/>
                <a:gd name="T40" fmla="*/ 861 w 902"/>
                <a:gd name="T41" fmla="*/ 73 h 902"/>
                <a:gd name="T42" fmla="*/ 870 w 902"/>
                <a:gd name="T43" fmla="*/ 92 h 902"/>
                <a:gd name="T44" fmla="*/ 872 w 902"/>
                <a:gd name="T45" fmla="*/ 767 h 902"/>
                <a:gd name="T46" fmla="*/ 95 w 902"/>
                <a:gd name="T47" fmla="*/ 1 h 902"/>
                <a:gd name="T48" fmla="*/ 68 w 902"/>
                <a:gd name="T49" fmla="*/ 10 h 902"/>
                <a:gd name="T50" fmla="*/ 42 w 902"/>
                <a:gd name="T51" fmla="*/ 27 h 902"/>
                <a:gd name="T52" fmla="*/ 19 w 902"/>
                <a:gd name="T53" fmla="*/ 51 h 902"/>
                <a:gd name="T54" fmla="*/ 5 w 902"/>
                <a:gd name="T55" fmla="*/ 77 h 902"/>
                <a:gd name="T56" fmla="*/ 0 w 902"/>
                <a:gd name="T57" fmla="*/ 106 h 902"/>
                <a:gd name="T58" fmla="*/ 2 w 902"/>
                <a:gd name="T59" fmla="*/ 784 h 902"/>
                <a:gd name="T60" fmla="*/ 12 w 902"/>
                <a:gd name="T61" fmla="*/ 809 h 902"/>
                <a:gd name="T62" fmla="*/ 28 w 902"/>
                <a:gd name="T63" fmla="*/ 833 h 902"/>
                <a:gd name="T64" fmla="*/ 49 w 902"/>
                <a:gd name="T65" fmla="*/ 852 h 902"/>
                <a:gd name="T66" fmla="*/ 73 w 902"/>
                <a:gd name="T67" fmla="*/ 866 h 902"/>
                <a:gd name="T68" fmla="*/ 90 w 902"/>
                <a:gd name="T69" fmla="*/ 887 h 902"/>
                <a:gd name="T70" fmla="*/ 92 w 902"/>
                <a:gd name="T71" fmla="*/ 896 h 902"/>
                <a:gd name="T72" fmla="*/ 99 w 902"/>
                <a:gd name="T73" fmla="*/ 901 h 902"/>
                <a:gd name="T74" fmla="*/ 108 w 902"/>
                <a:gd name="T75" fmla="*/ 902 h 902"/>
                <a:gd name="T76" fmla="*/ 116 w 902"/>
                <a:gd name="T77" fmla="*/ 898 h 902"/>
                <a:gd name="T78" fmla="*/ 120 w 902"/>
                <a:gd name="T79" fmla="*/ 890 h 902"/>
                <a:gd name="T80" fmla="*/ 782 w 902"/>
                <a:gd name="T81" fmla="*/ 872 h 902"/>
                <a:gd name="T82" fmla="*/ 783 w 902"/>
                <a:gd name="T83" fmla="*/ 894 h 902"/>
                <a:gd name="T84" fmla="*/ 788 w 902"/>
                <a:gd name="T85" fmla="*/ 900 h 902"/>
                <a:gd name="T86" fmla="*/ 797 w 902"/>
                <a:gd name="T87" fmla="*/ 902 h 902"/>
                <a:gd name="T88" fmla="*/ 805 w 902"/>
                <a:gd name="T89" fmla="*/ 900 h 902"/>
                <a:gd name="T90" fmla="*/ 810 w 902"/>
                <a:gd name="T91" fmla="*/ 894 h 902"/>
                <a:gd name="T92" fmla="*/ 812 w 902"/>
                <a:gd name="T93" fmla="*/ 871 h 902"/>
                <a:gd name="T94" fmla="*/ 837 w 902"/>
                <a:gd name="T95" fmla="*/ 862 h 902"/>
                <a:gd name="T96" fmla="*/ 860 w 902"/>
                <a:gd name="T97" fmla="*/ 845 h 902"/>
                <a:gd name="T98" fmla="*/ 880 w 902"/>
                <a:gd name="T99" fmla="*/ 825 h 902"/>
                <a:gd name="T100" fmla="*/ 895 w 902"/>
                <a:gd name="T101" fmla="*/ 802 h 902"/>
                <a:gd name="T102" fmla="*/ 901 w 902"/>
                <a:gd name="T103" fmla="*/ 776 h 902"/>
                <a:gd name="T104" fmla="*/ 901 w 902"/>
                <a:gd name="T105" fmla="*/ 97 h 902"/>
                <a:gd name="T106" fmla="*/ 892 w 902"/>
                <a:gd name="T107" fmla="*/ 68 h 902"/>
                <a:gd name="T108" fmla="*/ 875 w 902"/>
                <a:gd name="T109" fmla="*/ 42 h 902"/>
                <a:gd name="T110" fmla="*/ 852 w 902"/>
                <a:gd name="T111" fmla="*/ 21 h 902"/>
                <a:gd name="T112" fmla="*/ 825 w 902"/>
                <a:gd name="T113" fmla="*/ 6 h 902"/>
                <a:gd name="T114" fmla="*/ 797 w 902"/>
                <a:gd name="T11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872" y="767"/>
                  </a:moveTo>
                  <a:lnTo>
                    <a:pt x="871" y="774"/>
                  </a:lnTo>
                  <a:lnTo>
                    <a:pt x="870" y="780"/>
                  </a:lnTo>
                  <a:lnTo>
                    <a:pt x="868" y="787"/>
                  </a:lnTo>
                  <a:lnTo>
                    <a:pt x="865" y="793"/>
                  </a:lnTo>
                  <a:lnTo>
                    <a:pt x="861" y="799"/>
                  </a:lnTo>
                  <a:lnTo>
                    <a:pt x="857" y="806"/>
                  </a:lnTo>
                  <a:lnTo>
                    <a:pt x="852" y="812"/>
                  </a:lnTo>
                  <a:lnTo>
                    <a:pt x="846" y="818"/>
                  </a:lnTo>
                  <a:lnTo>
                    <a:pt x="841" y="823"/>
                  </a:lnTo>
                  <a:lnTo>
                    <a:pt x="836" y="827"/>
                  </a:lnTo>
                  <a:lnTo>
                    <a:pt x="829" y="832"/>
                  </a:lnTo>
                  <a:lnTo>
                    <a:pt x="823" y="836"/>
                  </a:lnTo>
                  <a:lnTo>
                    <a:pt x="816" y="838"/>
                  </a:lnTo>
                  <a:lnTo>
                    <a:pt x="810" y="840"/>
                  </a:lnTo>
                  <a:lnTo>
                    <a:pt x="803" y="842"/>
                  </a:lnTo>
                  <a:lnTo>
                    <a:pt x="797" y="842"/>
                  </a:lnTo>
                  <a:lnTo>
                    <a:pt x="105" y="842"/>
                  </a:lnTo>
                  <a:lnTo>
                    <a:pt x="99" y="842"/>
                  </a:lnTo>
                  <a:lnTo>
                    <a:pt x="92" y="840"/>
                  </a:lnTo>
                  <a:lnTo>
                    <a:pt x="86" y="838"/>
                  </a:lnTo>
                  <a:lnTo>
                    <a:pt x="79" y="836"/>
                  </a:lnTo>
                  <a:lnTo>
                    <a:pt x="73" y="832"/>
                  </a:lnTo>
                  <a:lnTo>
                    <a:pt x="66" y="827"/>
                  </a:lnTo>
                  <a:lnTo>
                    <a:pt x="60" y="823"/>
                  </a:lnTo>
                  <a:lnTo>
                    <a:pt x="55" y="818"/>
                  </a:lnTo>
                  <a:lnTo>
                    <a:pt x="49" y="812"/>
                  </a:lnTo>
                  <a:lnTo>
                    <a:pt x="45" y="806"/>
                  </a:lnTo>
                  <a:lnTo>
                    <a:pt x="41" y="799"/>
                  </a:lnTo>
                  <a:lnTo>
                    <a:pt x="36" y="793"/>
                  </a:lnTo>
                  <a:lnTo>
                    <a:pt x="34" y="787"/>
                  </a:lnTo>
                  <a:lnTo>
                    <a:pt x="31" y="780"/>
                  </a:lnTo>
                  <a:lnTo>
                    <a:pt x="30" y="774"/>
                  </a:lnTo>
                  <a:lnTo>
                    <a:pt x="30" y="767"/>
                  </a:lnTo>
                  <a:lnTo>
                    <a:pt x="30" y="105"/>
                  </a:lnTo>
                  <a:lnTo>
                    <a:pt x="30" y="99"/>
                  </a:lnTo>
                  <a:lnTo>
                    <a:pt x="31" y="92"/>
                  </a:lnTo>
                  <a:lnTo>
                    <a:pt x="34" y="86"/>
                  </a:lnTo>
                  <a:lnTo>
                    <a:pt x="36" y="80"/>
                  </a:lnTo>
                  <a:lnTo>
                    <a:pt x="41" y="73"/>
                  </a:lnTo>
                  <a:lnTo>
                    <a:pt x="45" y="67"/>
                  </a:lnTo>
                  <a:lnTo>
                    <a:pt x="49" y="61"/>
                  </a:lnTo>
                  <a:lnTo>
                    <a:pt x="55" y="56"/>
                  </a:lnTo>
                  <a:lnTo>
                    <a:pt x="60" y="51"/>
                  </a:lnTo>
                  <a:lnTo>
                    <a:pt x="66" y="45"/>
                  </a:lnTo>
                  <a:lnTo>
                    <a:pt x="73" y="41"/>
                  </a:lnTo>
                  <a:lnTo>
                    <a:pt x="79" y="38"/>
                  </a:lnTo>
                  <a:lnTo>
                    <a:pt x="86" y="35"/>
                  </a:lnTo>
                  <a:lnTo>
                    <a:pt x="92" y="32"/>
                  </a:lnTo>
                  <a:lnTo>
                    <a:pt x="99" y="31"/>
                  </a:lnTo>
                  <a:lnTo>
                    <a:pt x="105" y="30"/>
                  </a:lnTo>
                  <a:lnTo>
                    <a:pt x="797" y="30"/>
                  </a:lnTo>
                  <a:lnTo>
                    <a:pt x="803" y="31"/>
                  </a:lnTo>
                  <a:lnTo>
                    <a:pt x="810" y="32"/>
                  </a:lnTo>
                  <a:lnTo>
                    <a:pt x="816" y="35"/>
                  </a:lnTo>
                  <a:lnTo>
                    <a:pt x="823" y="38"/>
                  </a:lnTo>
                  <a:lnTo>
                    <a:pt x="829" y="41"/>
                  </a:lnTo>
                  <a:lnTo>
                    <a:pt x="836" y="45"/>
                  </a:lnTo>
                  <a:lnTo>
                    <a:pt x="841" y="51"/>
                  </a:lnTo>
                  <a:lnTo>
                    <a:pt x="846" y="56"/>
                  </a:lnTo>
                  <a:lnTo>
                    <a:pt x="852" y="61"/>
                  </a:lnTo>
                  <a:lnTo>
                    <a:pt x="857" y="67"/>
                  </a:lnTo>
                  <a:lnTo>
                    <a:pt x="861" y="73"/>
                  </a:lnTo>
                  <a:lnTo>
                    <a:pt x="865" y="80"/>
                  </a:lnTo>
                  <a:lnTo>
                    <a:pt x="868" y="86"/>
                  </a:lnTo>
                  <a:lnTo>
                    <a:pt x="870" y="92"/>
                  </a:lnTo>
                  <a:lnTo>
                    <a:pt x="871" y="100"/>
                  </a:lnTo>
                  <a:lnTo>
                    <a:pt x="872" y="106"/>
                  </a:lnTo>
                  <a:lnTo>
                    <a:pt x="872" y="767"/>
                  </a:lnTo>
                  <a:close/>
                  <a:moveTo>
                    <a:pt x="797" y="0"/>
                  </a:moveTo>
                  <a:lnTo>
                    <a:pt x="105" y="0"/>
                  </a:lnTo>
                  <a:lnTo>
                    <a:pt x="95" y="1"/>
                  </a:lnTo>
                  <a:lnTo>
                    <a:pt x="86" y="3"/>
                  </a:lnTo>
                  <a:lnTo>
                    <a:pt x="76" y="6"/>
                  </a:lnTo>
                  <a:lnTo>
                    <a:pt x="68" y="10"/>
                  </a:lnTo>
                  <a:lnTo>
                    <a:pt x="58" y="15"/>
                  </a:lnTo>
                  <a:lnTo>
                    <a:pt x="49" y="21"/>
                  </a:lnTo>
                  <a:lnTo>
                    <a:pt x="42" y="27"/>
                  </a:lnTo>
                  <a:lnTo>
                    <a:pt x="33" y="35"/>
                  </a:lnTo>
                  <a:lnTo>
                    <a:pt x="27" y="42"/>
                  </a:lnTo>
                  <a:lnTo>
                    <a:pt x="19" y="51"/>
                  </a:lnTo>
                  <a:lnTo>
                    <a:pt x="14" y="59"/>
                  </a:lnTo>
                  <a:lnTo>
                    <a:pt x="9" y="68"/>
                  </a:lnTo>
                  <a:lnTo>
                    <a:pt x="5" y="77"/>
                  </a:lnTo>
                  <a:lnTo>
                    <a:pt x="2" y="87"/>
                  </a:lnTo>
                  <a:lnTo>
                    <a:pt x="0" y="97"/>
                  </a:lnTo>
                  <a:lnTo>
                    <a:pt x="0" y="106"/>
                  </a:lnTo>
                  <a:lnTo>
                    <a:pt x="0" y="767"/>
                  </a:lnTo>
                  <a:lnTo>
                    <a:pt x="0" y="776"/>
                  </a:lnTo>
                  <a:lnTo>
                    <a:pt x="2" y="784"/>
                  </a:lnTo>
                  <a:lnTo>
                    <a:pt x="4" y="793"/>
                  </a:lnTo>
                  <a:lnTo>
                    <a:pt x="8" y="802"/>
                  </a:lnTo>
                  <a:lnTo>
                    <a:pt x="12" y="809"/>
                  </a:lnTo>
                  <a:lnTo>
                    <a:pt x="16" y="818"/>
                  </a:lnTo>
                  <a:lnTo>
                    <a:pt x="21" y="825"/>
                  </a:lnTo>
                  <a:lnTo>
                    <a:pt x="28" y="833"/>
                  </a:lnTo>
                  <a:lnTo>
                    <a:pt x="34" y="839"/>
                  </a:lnTo>
                  <a:lnTo>
                    <a:pt x="42" y="845"/>
                  </a:lnTo>
                  <a:lnTo>
                    <a:pt x="49" y="852"/>
                  </a:lnTo>
                  <a:lnTo>
                    <a:pt x="57" y="857"/>
                  </a:lnTo>
                  <a:lnTo>
                    <a:pt x="64" y="862"/>
                  </a:lnTo>
                  <a:lnTo>
                    <a:pt x="73" y="866"/>
                  </a:lnTo>
                  <a:lnTo>
                    <a:pt x="81" y="869"/>
                  </a:lnTo>
                  <a:lnTo>
                    <a:pt x="90" y="871"/>
                  </a:lnTo>
                  <a:lnTo>
                    <a:pt x="90" y="887"/>
                  </a:lnTo>
                  <a:lnTo>
                    <a:pt x="90" y="890"/>
                  </a:lnTo>
                  <a:lnTo>
                    <a:pt x="91" y="894"/>
                  </a:lnTo>
                  <a:lnTo>
                    <a:pt x="92" y="896"/>
                  </a:lnTo>
                  <a:lnTo>
                    <a:pt x="94" y="898"/>
                  </a:lnTo>
                  <a:lnTo>
                    <a:pt x="96" y="900"/>
                  </a:lnTo>
                  <a:lnTo>
                    <a:pt x="99" y="901"/>
                  </a:lnTo>
                  <a:lnTo>
                    <a:pt x="102" y="902"/>
                  </a:lnTo>
                  <a:lnTo>
                    <a:pt x="105" y="902"/>
                  </a:lnTo>
                  <a:lnTo>
                    <a:pt x="108" y="902"/>
                  </a:lnTo>
                  <a:lnTo>
                    <a:pt x="110" y="901"/>
                  </a:lnTo>
                  <a:lnTo>
                    <a:pt x="114" y="900"/>
                  </a:lnTo>
                  <a:lnTo>
                    <a:pt x="116" y="898"/>
                  </a:lnTo>
                  <a:lnTo>
                    <a:pt x="118" y="896"/>
                  </a:lnTo>
                  <a:lnTo>
                    <a:pt x="119" y="894"/>
                  </a:lnTo>
                  <a:lnTo>
                    <a:pt x="120" y="890"/>
                  </a:lnTo>
                  <a:lnTo>
                    <a:pt x="120" y="887"/>
                  </a:lnTo>
                  <a:lnTo>
                    <a:pt x="120" y="872"/>
                  </a:lnTo>
                  <a:lnTo>
                    <a:pt x="782" y="872"/>
                  </a:lnTo>
                  <a:lnTo>
                    <a:pt x="782" y="887"/>
                  </a:lnTo>
                  <a:lnTo>
                    <a:pt x="782" y="890"/>
                  </a:lnTo>
                  <a:lnTo>
                    <a:pt x="783" y="894"/>
                  </a:lnTo>
                  <a:lnTo>
                    <a:pt x="784" y="896"/>
                  </a:lnTo>
                  <a:lnTo>
                    <a:pt x="786" y="898"/>
                  </a:lnTo>
                  <a:lnTo>
                    <a:pt x="788" y="900"/>
                  </a:lnTo>
                  <a:lnTo>
                    <a:pt x="791" y="901"/>
                  </a:lnTo>
                  <a:lnTo>
                    <a:pt x="794" y="902"/>
                  </a:lnTo>
                  <a:lnTo>
                    <a:pt x="797" y="902"/>
                  </a:lnTo>
                  <a:lnTo>
                    <a:pt x="799" y="902"/>
                  </a:lnTo>
                  <a:lnTo>
                    <a:pt x="802" y="901"/>
                  </a:lnTo>
                  <a:lnTo>
                    <a:pt x="805" y="900"/>
                  </a:lnTo>
                  <a:lnTo>
                    <a:pt x="807" y="898"/>
                  </a:lnTo>
                  <a:lnTo>
                    <a:pt x="809" y="896"/>
                  </a:lnTo>
                  <a:lnTo>
                    <a:pt x="810" y="894"/>
                  </a:lnTo>
                  <a:lnTo>
                    <a:pt x="811" y="890"/>
                  </a:lnTo>
                  <a:lnTo>
                    <a:pt x="812" y="887"/>
                  </a:lnTo>
                  <a:lnTo>
                    <a:pt x="812" y="871"/>
                  </a:lnTo>
                  <a:lnTo>
                    <a:pt x="821" y="869"/>
                  </a:lnTo>
                  <a:lnTo>
                    <a:pt x="828" y="866"/>
                  </a:lnTo>
                  <a:lnTo>
                    <a:pt x="837" y="862"/>
                  </a:lnTo>
                  <a:lnTo>
                    <a:pt x="845" y="857"/>
                  </a:lnTo>
                  <a:lnTo>
                    <a:pt x="853" y="852"/>
                  </a:lnTo>
                  <a:lnTo>
                    <a:pt x="860" y="845"/>
                  </a:lnTo>
                  <a:lnTo>
                    <a:pt x="867" y="839"/>
                  </a:lnTo>
                  <a:lnTo>
                    <a:pt x="874" y="833"/>
                  </a:lnTo>
                  <a:lnTo>
                    <a:pt x="880" y="825"/>
                  </a:lnTo>
                  <a:lnTo>
                    <a:pt x="885" y="818"/>
                  </a:lnTo>
                  <a:lnTo>
                    <a:pt x="890" y="809"/>
                  </a:lnTo>
                  <a:lnTo>
                    <a:pt x="895" y="802"/>
                  </a:lnTo>
                  <a:lnTo>
                    <a:pt x="898" y="793"/>
                  </a:lnTo>
                  <a:lnTo>
                    <a:pt x="900" y="784"/>
                  </a:lnTo>
                  <a:lnTo>
                    <a:pt x="901" y="776"/>
                  </a:lnTo>
                  <a:lnTo>
                    <a:pt x="902" y="767"/>
                  </a:lnTo>
                  <a:lnTo>
                    <a:pt x="902" y="105"/>
                  </a:lnTo>
                  <a:lnTo>
                    <a:pt x="901" y="97"/>
                  </a:lnTo>
                  <a:lnTo>
                    <a:pt x="900" y="87"/>
                  </a:lnTo>
                  <a:lnTo>
                    <a:pt x="897" y="77"/>
                  </a:lnTo>
                  <a:lnTo>
                    <a:pt x="892" y="68"/>
                  </a:lnTo>
                  <a:lnTo>
                    <a:pt x="887" y="59"/>
                  </a:lnTo>
                  <a:lnTo>
                    <a:pt x="882" y="51"/>
                  </a:lnTo>
                  <a:lnTo>
                    <a:pt x="875" y="42"/>
                  </a:lnTo>
                  <a:lnTo>
                    <a:pt x="868" y="35"/>
                  </a:lnTo>
                  <a:lnTo>
                    <a:pt x="860" y="27"/>
                  </a:lnTo>
                  <a:lnTo>
                    <a:pt x="852" y="21"/>
                  </a:lnTo>
                  <a:lnTo>
                    <a:pt x="843" y="15"/>
                  </a:lnTo>
                  <a:lnTo>
                    <a:pt x="835" y="10"/>
                  </a:lnTo>
                  <a:lnTo>
                    <a:pt x="825" y="6"/>
                  </a:lnTo>
                  <a:lnTo>
                    <a:pt x="815" y="3"/>
                  </a:lnTo>
                  <a:lnTo>
                    <a:pt x="806" y="1"/>
                  </a:lnTo>
                  <a:lnTo>
                    <a:pt x="7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250">
              <a:extLst>
                <a:ext uri="{FF2B5EF4-FFF2-40B4-BE49-F238E27FC236}">
                  <a16:creationId xmlns:a16="http://schemas.microsoft.com/office/drawing/2014/main" id="{0B7177F6-7B05-4916-9AA4-F1D9CF6A5D07}"/>
                </a:ext>
              </a:extLst>
            </p:cNvPr>
            <p:cNvSpPr>
              <a:spLocks noEditPoints="1"/>
            </p:cNvSpPr>
            <p:nvPr/>
          </p:nvSpPr>
          <p:spPr bwMode="auto">
            <a:xfrm>
              <a:off x="11056938" y="3109913"/>
              <a:ext cx="219075" cy="200025"/>
            </a:xfrm>
            <a:custGeom>
              <a:avLst/>
              <a:gdLst>
                <a:gd name="T0" fmla="*/ 659 w 692"/>
                <a:gd name="T1" fmla="*/ 562 h 632"/>
                <a:gd name="T2" fmla="*/ 649 w 692"/>
                <a:gd name="T3" fmla="*/ 582 h 632"/>
                <a:gd name="T4" fmla="*/ 631 w 692"/>
                <a:gd name="T5" fmla="*/ 596 h 632"/>
                <a:gd name="T6" fmla="*/ 608 w 692"/>
                <a:gd name="T7" fmla="*/ 602 h 632"/>
                <a:gd name="T8" fmla="*/ 107 w 692"/>
                <a:gd name="T9" fmla="*/ 601 h 632"/>
                <a:gd name="T10" fmla="*/ 85 w 692"/>
                <a:gd name="T11" fmla="*/ 593 h 632"/>
                <a:gd name="T12" fmla="*/ 70 w 692"/>
                <a:gd name="T13" fmla="*/ 578 h 632"/>
                <a:gd name="T14" fmla="*/ 61 w 692"/>
                <a:gd name="T15" fmla="*/ 555 h 632"/>
                <a:gd name="T16" fmla="*/ 75 w 692"/>
                <a:gd name="T17" fmla="*/ 512 h 632"/>
                <a:gd name="T18" fmla="*/ 86 w 692"/>
                <a:gd name="T19" fmla="*/ 508 h 632"/>
                <a:gd name="T20" fmla="*/ 90 w 692"/>
                <a:gd name="T21" fmla="*/ 497 h 632"/>
                <a:gd name="T22" fmla="*/ 88 w 692"/>
                <a:gd name="T23" fmla="*/ 369 h 632"/>
                <a:gd name="T24" fmla="*/ 78 w 692"/>
                <a:gd name="T25" fmla="*/ 362 h 632"/>
                <a:gd name="T26" fmla="*/ 75 w 692"/>
                <a:gd name="T27" fmla="*/ 271 h 632"/>
                <a:gd name="T28" fmla="*/ 86 w 692"/>
                <a:gd name="T29" fmla="*/ 267 h 632"/>
                <a:gd name="T30" fmla="*/ 90 w 692"/>
                <a:gd name="T31" fmla="*/ 256 h 632"/>
                <a:gd name="T32" fmla="*/ 88 w 692"/>
                <a:gd name="T33" fmla="*/ 128 h 632"/>
                <a:gd name="T34" fmla="*/ 78 w 692"/>
                <a:gd name="T35" fmla="*/ 121 h 632"/>
                <a:gd name="T36" fmla="*/ 60 w 692"/>
                <a:gd name="T37" fmla="*/ 84 h 632"/>
                <a:gd name="T38" fmla="*/ 66 w 692"/>
                <a:gd name="T39" fmla="*/ 61 h 632"/>
                <a:gd name="T40" fmla="*/ 80 w 692"/>
                <a:gd name="T41" fmla="*/ 43 h 632"/>
                <a:gd name="T42" fmla="*/ 101 w 692"/>
                <a:gd name="T43" fmla="*/ 33 h 632"/>
                <a:gd name="T44" fmla="*/ 601 w 692"/>
                <a:gd name="T45" fmla="*/ 31 h 632"/>
                <a:gd name="T46" fmla="*/ 626 w 692"/>
                <a:gd name="T47" fmla="*/ 36 h 632"/>
                <a:gd name="T48" fmla="*/ 645 w 692"/>
                <a:gd name="T49" fmla="*/ 47 h 632"/>
                <a:gd name="T50" fmla="*/ 657 w 692"/>
                <a:gd name="T51" fmla="*/ 67 h 632"/>
                <a:gd name="T52" fmla="*/ 661 w 692"/>
                <a:gd name="T53" fmla="*/ 91 h 632"/>
                <a:gd name="T54" fmla="*/ 60 w 692"/>
                <a:gd name="T55" fmla="*/ 482 h 632"/>
                <a:gd name="T56" fmla="*/ 60 w 692"/>
                <a:gd name="T57" fmla="*/ 151 h 632"/>
                <a:gd name="T58" fmla="*/ 601 w 692"/>
                <a:gd name="T59" fmla="*/ 0 h 632"/>
                <a:gd name="T60" fmla="*/ 92 w 692"/>
                <a:gd name="T61" fmla="*/ 5 h 632"/>
                <a:gd name="T62" fmla="*/ 61 w 692"/>
                <a:gd name="T63" fmla="*/ 21 h 632"/>
                <a:gd name="T64" fmla="*/ 41 w 692"/>
                <a:gd name="T65" fmla="*/ 46 h 632"/>
                <a:gd name="T66" fmla="*/ 30 w 692"/>
                <a:gd name="T67" fmla="*/ 82 h 632"/>
                <a:gd name="T68" fmla="*/ 12 w 692"/>
                <a:gd name="T69" fmla="*/ 121 h 632"/>
                <a:gd name="T70" fmla="*/ 2 w 692"/>
                <a:gd name="T71" fmla="*/ 128 h 632"/>
                <a:gd name="T72" fmla="*/ 0 w 692"/>
                <a:gd name="T73" fmla="*/ 256 h 632"/>
                <a:gd name="T74" fmla="*/ 4 w 692"/>
                <a:gd name="T75" fmla="*/ 267 h 632"/>
                <a:gd name="T76" fmla="*/ 15 w 692"/>
                <a:gd name="T77" fmla="*/ 271 h 632"/>
                <a:gd name="T78" fmla="*/ 12 w 692"/>
                <a:gd name="T79" fmla="*/ 362 h 632"/>
                <a:gd name="T80" fmla="*/ 2 w 692"/>
                <a:gd name="T81" fmla="*/ 369 h 632"/>
                <a:gd name="T82" fmla="*/ 0 w 692"/>
                <a:gd name="T83" fmla="*/ 497 h 632"/>
                <a:gd name="T84" fmla="*/ 4 w 692"/>
                <a:gd name="T85" fmla="*/ 508 h 632"/>
                <a:gd name="T86" fmla="*/ 15 w 692"/>
                <a:gd name="T87" fmla="*/ 512 h 632"/>
                <a:gd name="T88" fmla="*/ 32 w 692"/>
                <a:gd name="T89" fmla="*/ 562 h 632"/>
                <a:gd name="T90" fmla="*/ 45 w 692"/>
                <a:gd name="T91" fmla="*/ 594 h 632"/>
                <a:gd name="T92" fmla="*/ 69 w 692"/>
                <a:gd name="T93" fmla="*/ 617 h 632"/>
                <a:gd name="T94" fmla="*/ 101 w 692"/>
                <a:gd name="T95" fmla="*/ 630 h 632"/>
                <a:gd name="T96" fmla="*/ 611 w 692"/>
                <a:gd name="T97" fmla="*/ 632 h 632"/>
                <a:gd name="T98" fmla="*/ 646 w 692"/>
                <a:gd name="T99" fmla="*/ 622 h 632"/>
                <a:gd name="T100" fmla="*/ 672 w 692"/>
                <a:gd name="T101" fmla="*/ 601 h 632"/>
                <a:gd name="T102" fmla="*/ 688 w 692"/>
                <a:gd name="T103" fmla="*/ 570 h 632"/>
                <a:gd name="T104" fmla="*/ 692 w 692"/>
                <a:gd name="T105" fmla="*/ 91 h 632"/>
                <a:gd name="T106" fmla="*/ 685 w 692"/>
                <a:gd name="T107" fmla="*/ 55 h 632"/>
                <a:gd name="T108" fmla="*/ 666 w 692"/>
                <a:gd name="T109" fmla="*/ 26 h 632"/>
                <a:gd name="T110" fmla="*/ 637 w 692"/>
                <a:gd name="T111" fmla="*/ 8 h 632"/>
                <a:gd name="T112" fmla="*/ 601 w 692"/>
                <a:gd name="T113" fmla="*/ 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2" h="632">
                  <a:moveTo>
                    <a:pt x="661" y="542"/>
                  </a:moveTo>
                  <a:lnTo>
                    <a:pt x="661" y="549"/>
                  </a:lnTo>
                  <a:lnTo>
                    <a:pt x="660" y="555"/>
                  </a:lnTo>
                  <a:lnTo>
                    <a:pt x="659" y="562"/>
                  </a:lnTo>
                  <a:lnTo>
                    <a:pt x="657" y="567"/>
                  </a:lnTo>
                  <a:lnTo>
                    <a:pt x="655" y="572"/>
                  </a:lnTo>
                  <a:lnTo>
                    <a:pt x="652" y="577"/>
                  </a:lnTo>
                  <a:lnTo>
                    <a:pt x="649" y="582"/>
                  </a:lnTo>
                  <a:lnTo>
                    <a:pt x="645" y="586"/>
                  </a:lnTo>
                  <a:lnTo>
                    <a:pt x="641" y="589"/>
                  </a:lnTo>
                  <a:lnTo>
                    <a:pt x="636" y="593"/>
                  </a:lnTo>
                  <a:lnTo>
                    <a:pt x="631" y="596"/>
                  </a:lnTo>
                  <a:lnTo>
                    <a:pt x="626" y="598"/>
                  </a:lnTo>
                  <a:lnTo>
                    <a:pt x="620" y="600"/>
                  </a:lnTo>
                  <a:lnTo>
                    <a:pt x="614" y="601"/>
                  </a:lnTo>
                  <a:lnTo>
                    <a:pt x="608" y="602"/>
                  </a:lnTo>
                  <a:lnTo>
                    <a:pt x="601" y="602"/>
                  </a:lnTo>
                  <a:lnTo>
                    <a:pt x="120" y="602"/>
                  </a:lnTo>
                  <a:lnTo>
                    <a:pt x="114" y="602"/>
                  </a:lnTo>
                  <a:lnTo>
                    <a:pt x="107" y="601"/>
                  </a:lnTo>
                  <a:lnTo>
                    <a:pt x="101" y="600"/>
                  </a:lnTo>
                  <a:lnTo>
                    <a:pt x="95" y="598"/>
                  </a:lnTo>
                  <a:lnTo>
                    <a:pt x="90" y="596"/>
                  </a:lnTo>
                  <a:lnTo>
                    <a:pt x="85" y="593"/>
                  </a:lnTo>
                  <a:lnTo>
                    <a:pt x="80" y="589"/>
                  </a:lnTo>
                  <a:lnTo>
                    <a:pt x="76" y="586"/>
                  </a:lnTo>
                  <a:lnTo>
                    <a:pt x="73" y="582"/>
                  </a:lnTo>
                  <a:lnTo>
                    <a:pt x="70" y="578"/>
                  </a:lnTo>
                  <a:lnTo>
                    <a:pt x="66" y="572"/>
                  </a:lnTo>
                  <a:lnTo>
                    <a:pt x="64" y="567"/>
                  </a:lnTo>
                  <a:lnTo>
                    <a:pt x="62" y="562"/>
                  </a:lnTo>
                  <a:lnTo>
                    <a:pt x="61" y="555"/>
                  </a:lnTo>
                  <a:lnTo>
                    <a:pt x="60" y="549"/>
                  </a:lnTo>
                  <a:lnTo>
                    <a:pt x="60" y="542"/>
                  </a:lnTo>
                  <a:lnTo>
                    <a:pt x="60" y="512"/>
                  </a:lnTo>
                  <a:lnTo>
                    <a:pt x="75" y="512"/>
                  </a:lnTo>
                  <a:lnTo>
                    <a:pt x="78" y="511"/>
                  </a:lnTo>
                  <a:lnTo>
                    <a:pt x="81" y="511"/>
                  </a:lnTo>
                  <a:lnTo>
                    <a:pt x="84" y="509"/>
                  </a:lnTo>
                  <a:lnTo>
                    <a:pt x="86" y="508"/>
                  </a:lnTo>
                  <a:lnTo>
                    <a:pt x="88" y="506"/>
                  </a:lnTo>
                  <a:lnTo>
                    <a:pt x="89" y="503"/>
                  </a:lnTo>
                  <a:lnTo>
                    <a:pt x="90" y="501"/>
                  </a:lnTo>
                  <a:lnTo>
                    <a:pt x="90" y="497"/>
                  </a:lnTo>
                  <a:lnTo>
                    <a:pt x="90" y="376"/>
                  </a:lnTo>
                  <a:lnTo>
                    <a:pt x="90" y="374"/>
                  </a:lnTo>
                  <a:lnTo>
                    <a:pt x="89" y="371"/>
                  </a:lnTo>
                  <a:lnTo>
                    <a:pt x="88" y="369"/>
                  </a:lnTo>
                  <a:lnTo>
                    <a:pt x="86" y="366"/>
                  </a:lnTo>
                  <a:lnTo>
                    <a:pt x="84" y="364"/>
                  </a:lnTo>
                  <a:lnTo>
                    <a:pt x="81" y="362"/>
                  </a:lnTo>
                  <a:lnTo>
                    <a:pt x="78" y="362"/>
                  </a:lnTo>
                  <a:lnTo>
                    <a:pt x="75" y="361"/>
                  </a:lnTo>
                  <a:lnTo>
                    <a:pt x="60" y="361"/>
                  </a:lnTo>
                  <a:lnTo>
                    <a:pt x="60" y="271"/>
                  </a:lnTo>
                  <a:lnTo>
                    <a:pt x="75" y="271"/>
                  </a:lnTo>
                  <a:lnTo>
                    <a:pt x="78" y="271"/>
                  </a:lnTo>
                  <a:lnTo>
                    <a:pt x="81" y="270"/>
                  </a:lnTo>
                  <a:lnTo>
                    <a:pt x="84" y="269"/>
                  </a:lnTo>
                  <a:lnTo>
                    <a:pt x="86" y="267"/>
                  </a:lnTo>
                  <a:lnTo>
                    <a:pt x="88" y="265"/>
                  </a:lnTo>
                  <a:lnTo>
                    <a:pt x="89" y="263"/>
                  </a:lnTo>
                  <a:lnTo>
                    <a:pt x="90" y="259"/>
                  </a:lnTo>
                  <a:lnTo>
                    <a:pt x="90" y="256"/>
                  </a:lnTo>
                  <a:lnTo>
                    <a:pt x="90" y="136"/>
                  </a:lnTo>
                  <a:lnTo>
                    <a:pt x="90" y="133"/>
                  </a:lnTo>
                  <a:lnTo>
                    <a:pt x="89" y="130"/>
                  </a:lnTo>
                  <a:lnTo>
                    <a:pt x="88" y="128"/>
                  </a:lnTo>
                  <a:lnTo>
                    <a:pt x="86" y="126"/>
                  </a:lnTo>
                  <a:lnTo>
                    <a:pt x="84" y="123"/>
                  </a:lnTo>
                  <a:lnTo>
                    <a:pt x="81" y="122"/>
                  </a:lnTo>
                  <a:lnTo>
                    <a:pt x="78" y="121"/>
                  </a:lnTo>
                  <a:lnTo>
                    <a:pt x="75" y="121"/>
                  </a:lnTo>
                  <a:lnTo>
                    <a:pt x="60" y="121"/>
                  </a:lnTo>
                  <a:lnTo>
                    <a:pt x="60" y="91"/>
                  </a:lnTo>
                  <a:lnTo>
                    <a:pt x="60" y="84"/>
                  </a:lnTo>
                  <a:lnTo>
                    <a:pt x="61" y="77"/>
                  </a:lnTo>
                  <a:lnTo>
                    <a:pt x="62" y="72"/>
                  </a:lnTo>
                  <a:lnTo>
                    <a:pt x="64" y="67"/>
                  </a:lnTo>
                  <a:lnTo>
                    <a:pt x="66" y="61"/>
                  </a:lnTo>
                  <a:lnTo>
                    <a:pt x="70" y="56"/>
                  </a:lnTo>
                  <a:lnTo>
                    <a:pt x="73" y="52"/>
                  </a:lnTo>
                  <a:lnTo>
                    <a:pt x="76" y="47"/>
                  </a:lnTo>
                  <a:lnTo>
                    <a:pt x="80" y="43"/>
                  </a:lnTo>
                  <a:lnTo>
                    <a:pt x="85" y="40"/>
                  </a:lnTo>
                  <a:lnTo>
                    <a:pt x="90" y="38"/>
                  </a:lnTo>
                  <a:lnTo>
                    <a:pt x="95" y="36"/>
                  </a:lnTo>
                  <a:lnTo>
                    <a:pt x="101" y="33"/>
                  </a:lnTo>
                  <a:lnTo>
                    <a:pt x="107" y="32"/>
                  </a:lnTo>
                  <a:lnTo>
                    <a:pt x="114" y="31"/>
                  </a:lnTo>
                  <a:lnTo>
                    <a:pt x="120" y="31"/>
                  </a:lnTo>
                  <a:lnTo>
                    <a:pt x="601" y="31"/>
                  </a:lnTo>
                  <a:lnTo>
                    <a:pt x="608" y="31"/>
                  </a:lnTo>
                  <a:lnTo>
                    <a:pt x="615" y="32"/>
                  </a:lnTo>
                  <a:lnTo>
                    <a:pt x="620" y="33"/>
                  </a:lnTo>
                  <a:lnTo>
                    <a:pt x="626" y="36"/>
                  </a:lnTo>
                  <a:lnTo>
                    <a:pt x="631" y="38"/>
                  </a:lnTo>
                  <a:lnTo>
                    <a:pt x="636" y="40"/>
                  </a:lnTo>
                  <a:lnTo>
                    <a:pt x="641" y="43"/>
                  </a:lnTo>
                  <a:lnTo>
                    <a:pt x="645" y="47"/>
                  </a:lnTo>
                  <a:lnTo>
                    <a:pt x="649" y="52"/>
                  </a:lnTo>
                  <a:lnTo>
                    <a:pt x="652" y="56"/>
                  </a:lnTo>
                  <a:lnTo>
                    <a:pt x="655" y="61"/>
                  </a:lnTo>
                  <a:lnTo>
                    <a:pt x="657" y="67"/>
                  </a:lnTo>
                  <a:lnTo>
                    <a:pt x="659" y="72"/>
                  </a:lnTo>
                  <a:lnTo>
                    <a:pt x="660" y="78"/>
                  </a:lnTo>
                  <a:lnTo>
                    <a:pt x="661" y="85"/>
                  </a:lnTo>
                  <a:lnTo>
                    <a:pt x="661" y="91"/>
                  </a:lnTo>
                  <a:lnTo>
                    <a:pt x="661" y="542"/>
                  </a:lnTo>
                  <a:close/>
                  <a:moveTo>
                    <a:pt x="30" y="391"/>
                  </a:moveTo>
                  <a:lnTo>
                    <a:pt x="60" y="391"/>
                  </a:lnTo>
                  <a:lnTo>
                    <a:pt x="60" y="482"/>
                  </a:lnTo>
                  <a:lnTo>
                    <a:pt x="30" y="482"/>
                  </a:lnTo>
                  <a:lnTo>
                    <a:pt x="30" y="391"/>
                  </a:lnTo>
                  <a:close/>
                  <a:moveTo>
                    <a:pt x="30" y="151"/>
                  </a:moveTo>
                  <a:lnTo>
                    <a:pt x="60" y="151"/>
                  </a:lnTo>
                  <a:lnTo>
                    <a:pt x="60" y="241"/>
                  </a:lnTo>
                  <a:lnTo>
                    <a:pt x="30" y="241"/>
                  </a:lnTo>
                  <a:lnTo>
                    <a:pt x="30" y="151"/>
                  </a:lnTo>
                  <a:close/>
                  <a:moveTo>
                    <a:pt x="601" y="0"/>
                  </a:moveTo>
                  <a:lnTo>
                    <a:pt x="120" y="0"/>
                  </a:lnTo>
                  <a:lnTo>
                    <a:pt x="110" y="1"/>
                  </a:lnTo>
                  <a:lnTo>
                    <a:pt x="101" y="2"/>
                  </a:lnTo>
                  <a:lnTo>
                    <a:pt x="92" y="5"/>
                  </a:lnTo>
                  <a:lnTo>
                    <a:pt x="84" y="8"/>
                  </a:lnTo>
                  <a:lnTo>
                    <a:pt x="76" y="11"/>
                  </a:lnTo>
                  <a:lnTo>
                    <a:pt x="69" y="15"/>
                  </a:lnTo>
                  <a:lnTo>
                    <a:pt x="61" y="21"/>
                  </a:lnTo>
                  <a:lnTo>
                    <a:pt x="55" y="26"/>
                  </a:lnTo>
                  <a:lnTo>
                    <a:pt x="49" y="32"/>
                  </a:lnTo>
                  <a:lnTo>
                    <a:pt x="45" y="39"/>
                  </a:lnTo>
                  <a:lnTo>
                    <a:pt x="41" y="46"/>
                  </a:lnTo>
                  <a:lnTo>
                    <a:pt x="36" y="55"/>
                  </a:lnTo>
                  <a:lnTo>
                    <a:pt x="33" y="63"/>
                  </a:lnTo>
                  <a:lnTo>
                    <a:pt x="32" y="72"/>
                  </a:lnTo>
                  <a:lnTo>
                    <a:pt x="30" y="82"/>
                  </a:lnTo>
                  <a:lnTo>
                    <a:pt x="30" y="91"/>
                  </a:lnTo>
                  <a:lnTo>
                    <a:pt x="30" y="121"/>
                  </a:lnTo>
                  <a:lnTo>
                    <a:pt x="15" y="121"/>
                  </a:lnTo>
                  <a:lnTo>
                    <a:pt x="12" y="121"/>
                  </a:lnTo>
                  <a:lnTo>
                    <a:pt x="9" y="122"/>
                  </a:lnTo>
                  <a:lnTo>
                    <a:pt x="6" y="123"/>
                  </a:lnTo>
                  <a:lnTo>
                    <a:pt x="4" y="126"/>
                  </a:lnTo>
                  <a:lnTo>
                    <a:pt x="2" y="128"/>
                  </a:lnTo>
                  <a:lnTo>
                    <a:pt x="1" y="130"/>
                  </a:lnTo>
                  <a:lnTo>
                    <a:pt x="0" y="133"/>
                  </a:lnTo>
                  <a:lnTo>
                    <a:pt x="0" y="136"/>
                  </a:lnTo>
                  <a:lnTo>
                    <a:pt x="0" y="256"/>
                  </a:lnTo>
                  <a:lnTo>
                    <a:pt x="0" y="259"/>
                  </a:lnTo>
                  <a:lnTo>
                    <a:pt x="1" y="263"/>
                  </a:lnTo>
                  <a:lnTo>
                    <a:pt x="2" y="265"/>
                  </a:lnTo>
                  <a:lnTo>
                    <a:pt x="4" y="267"/>
                  </a:lnTo>
                  <a:lnTo>
                    <a:pt x="6" y="269"/>
                  </a:lnTo>
                  <a:lnTo>
                    <a:pt x="9" y="270"/>
                  </a:lnTo>
                  <a:lnTo>
                    <a:pt x="12" y="271"/>
                  </a:lnTo>
                  <a:lnTo>
                    <a:pt x="15" y="271"/>
                  </a:lnTo>
                  <a:lnTo>
                    <a:pt x="30" y="271"/>
                  </a:lnTo>
                  <a:lnTo>
                    <a:pt x="30" y="361"/>
                  </a:lnTo>
                  <a:lnTo>
                    <a:pt x="15" y="361"/>
                  </a:lnTo>
                  <a:lnTo>
                    <a:pt x="12" y="362"/>
                  </a:lnTo>
                  <a:lnTo>
                    <a:pt x="9" y="362"/>
                  </a:lnTo>
                  <a:lnTo>
                    <a:pt x="6" y="364"/>
                  </a:lnTo>
                  <a:lnTo>
                    <a:pt x="4" y="366"/>
                  </a:lnTo>
                  <a:lnTo>
                    <a:pt x="2" y="369"/>
                  </a:lnTo>
                  <a:lnTo>
                    <a:pt x="1" y="371"/>
                  </a:lnTo>
                  <a:lnTo>
                    <a:pt x="0" y="374"/>
                  </a:lnTo>
                  <a:lnTo>
                    <a:pt x="0" y="376"/>
                  </a:lnTo>
                  <a:lnTo>
                    <a:pt x="0" y="497"/>
                  </a:lnTo>
                  <a:lnTo>
                    <a:pt x="0" y="499"/>
                  </a:lnTo>
                  <a:lnTo>
                    <a:pt x="1" y="503"/>
                  </a:lnTo>
                  <a:lnTo>
                    <a:pt x="2" y="505"/>
                  </a:lnTo>
                  <a:lnTo>
                    <a:pt x="4" y="508"/>
                  </a:lnTo>
                  <a:lnTo>
                    <a:pt x="6" y="509"/>
                  </a:lnTo>
                  <a:lnTo>
                    <a:pt x="9" y="511"/>
                  </a:lnTo>
                  <a:lnTo>
                    <a:pt x="12" y="511"/>
                  </a:lnTo>
                  <a:lnTo>
                    <a:pt x="15" y="512"/>
                  </a:lnTo>
                  <a:lnTo>
                    <a:pt x="30" y="512"/>
                  </a:lnTo>
                  <a:lnTo>
                    <a:pt x="30" y="542"/>
                  </a:lnTo>
                  <a:lnTo>
                    <a:pt x="30" y="552"/>
                  </a:lnTo>
                  <a:lnTo>
                    <a:pt x="32" y="562"/>
                  </a:lnTo>
                  <a:lnTo>
                    <a:pt x="34" y="570"/>
                  </a:lnTo>
                  <a:lnTo>
                    <a:pt x="36" y="579"/>
                  </a:lnTo>
                  <a:lnTo>
                    <a:pt x="41" y="586"/>
                  </a:lnTo>
                  <a:lnTo>
                    <a:pt x="45" y="594"/>
                  </a:lnTo>
                  <a:lnTo>
                    <a:pt x="49" y="601"/>
                  </a:lnTo>
                  <a:lnTo>
                    <a:pt x="55" y="607"/>
                  </a:lnTo>
                  <a:lnTo>
                    <a:pt x="61" y="613"/>
                  </a:lnTo>
                  <a:lnTo>
                    <a:pt x="69" y="617"/>
                  </a:lnTo>
                  <a:lnTo>
                    <a:pt x="76" y="622"/>
                  </a:lnTo>
                  <a:lnTo>
                    <a:pt x="84" y="626"/>
                  </a:lnTo>
                  <a:lnTo>
                    <a:pt x="92" y="628"/>
                  </a:lnTo>
                  <a:lnTo>
                    <a:pt x="101" y="630"/>
                  </a:lnTo>
                  <a:lnTo>
                    <a:pt x="110" y="632"/>
                  </a:lnTo>
                  <a:lnTo>
                    <a:pt x="120" y="632"/>
                  </a:lnTo>
                  <a:lnTo>
                    <a:pt x="601" y="632"/>
                  </a:lnTo>
                  <a:lnTo>
                    <a:pt x="611" y="632"/>
                  </a:lnTo>
                  <a:lnTo>
                    <a:pt x="620" y="630"/>
                  </a:lnTo>
                  <a:lnTo>
                    <a:pt x="629" y="628"/>
                  </a:lnTo>
                  <a:lnTo>
                    <a:pt x="637" y="626"/>
                  </a:lnTo>
                  <a:lnTo>
                    <a:pt x="646" y="622"/>
                  </a:lnTo>
                  <a:lnTo>
                    <a:pt x="653" y="617"/>
                  </a:lnTo>
                  <a:lnTo>
                    <a:pt x="660" y="613"/>
                  </a:lnTo>
                  <a:lnTo>
                    <a:pt x="666" y="607"/>
                  </a:lnTo>
                  <a:lnTo>
                    <a:pt x="672" y="601"/>
                  </a:lnTo>
                  <a:lnTo>
                    <a:pt x="677" y="594"/>
                  </a:lnTo>
                  <a:lnTo>
                    <a:pt x="681" y="586"/>
                  </a:lnTo>
                  <a:lnTo>
                    <a:pt x="685" y="579"/>
                  </a:lnTo>
                  <a:lnTo>
                    <a:pt x="688" y="570"/>
                  </a:lnTo>
                  <a:lnTo>
                    <a:pt x="690" y="562"/>
                  </a:lnTo>
                  <a:lnTo>
                    <a:pt x="691" y="552"/>
                  </a:lnTo>
                  <a:lnTo>
                    <a:pt x="692" y="542"/>
                  </a:lnTo>
                  <a:lnTo>
                    <a:pt x="692" y="91"/>
                  </a:lnTo>
                  <a:lnTo>
                    <a:pt x="691" y="82"/>
                  </a:lnTo>
                  <a:lnTo>
                    <a:pt x="690" y="72"/>
                  </a:lnTo>
                  <a:lnTo>
                    <a:pt x="688" y="63"/>
                  </a:lnTo>
                  <a:lnTo>
                    <a:pt x="685" y="55"/>
                  </a:lnTo>
                  <a:lnTo>
                    <a:pt x="681" y="46"/>
                  </a:lnTo>
                  <a:lnTo>
                    <a:pt x="677" y="39"/>
                  </a:lnTo>
                  <a:lnTo>
                    <a:pt x="672" y="32"/>
                  </a:lnTo>
                  <a:lnTo>
                    <a:pt x="666" y="26"/>
                  </a:lnTo>
                  <a:lnTo>
                    <a:pt x="660" y="21"/>
                  </a:lnTo>
                  <a:lnTo>
                    <a:pt x="653" y="15"/>
                  </a:lnTo>
                  <a:lnTo>
                    <a:pt x="646" y="11"/>
                  </a:lnTo>
                  <a:lnTo>
                    <a:pt x="637" y="8"/>
                  </a:lnTo>
                  <a:lnTo>
                    <a:pt x="629" y="5"/>
                  </a:lnTo>
                  <a:lnTo>
                    <a:pt x="620" y="2"/>
                  </a:lnTo>
                  <a:lnTo>
                    <a:pt x="611" y="1"/>
                  </a:lnTo>
                  <a:lnTo>
                    <a:pt x="601" y="1"/>
                  </a:lnTo>
                  <a:lnTo>
                    <a:pt x="6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251">
              <a:extLst>
                <a:ext uri="{FF2B5EF4-FFF2-40B4-BE49-F238E27FC236}">
                  <a16:creationId xmlns:a16="http://schemas.microsoft.com/office/drawing/2014/main" id="{5E08FF07-204C-45AB-84E5-3FDD9DFEC33A}"/>
                </a:ext>
              </a:extLst>
            </p:cNvPr>
            <p:cNvSpPr>
              <a:spLocks noEditPoints="1"/>
            </p:cNvSpPr>
            <p:nvPr/>
          </p:nvSpPr>
          <p:spPr bwMode="auto">
            <a:xfrm>
              <a:off x="11114088" y="3148013"/>
              <a:ext cx="123825" cy="123825"/>
            </a:xfrm>
            <a:custGeom>
              <a:avLst/>
              <a:gdLst>
                <a:gd name="T0" fmla="*/ 280 w 391"/>
                <a:gd name="T1" fmla="*/ 133 h 391"/>
                <a:gd name="T2" fmla="*/ 348 w 391"/>
                <a:gd name="T3" fmla="*/ 132 h 391"/>
                <a:gd name="T4" fmla="*/ 300 w 391"/>
                <a:gd name="T5" fmla="*/ 180 h 391"/>
                <a:gd name="T6" fmla="*/ 258 w 391"/>
                <a:gd name="T7" fmla="*/ 280 h 391"/>
                <a:gd name="T8" fmla="*/ 259 w 391"/>
                <a:gd name="T9" fmla="*/ 348 h 391"/>
                <a:gd name="T10" fmla="*/ 211 w 391"/>
                <a:gd name="T11" fmla="*/ 299 h 391"/>
                <a:gd name="T12" fmla="*/ 181 w 391"/>
                <a:gd name="T13" fmla="*/ 299 h 391"/>
                <a:gd name="T14" fmla="*/ 132 w 391"/>
                <a:gd name="T15" fmla="*/ 348 h 391"/>
                <a:gd name="T16" fmla="*/ 133 w 391"/>
                <a:gd name="T17" fmla="*/ 280 h 391"/>
                <a:gd name="T18" fmla="*/ 133 w 391"/>
                <a:gd name="T19" fmla="*/ 112 h 391"/>
                <a:gd name="T20" fmla="*/ 132 w 391"/>
                <a:gd name="T21" fmla="*/ 43 h 391"/>
                <a:gd name="T22" fmla="*/ 181 w 391"/>
                <a:gd name="T23" fmla="*/ 91 h 391"/>
                <a:gd name="T24" fmla="*/ 211 w 391"/>
                <a:gd name="T25" fmla="*/ 91 h 391"/>
                <a:gd name="T26" fmla="*/ 259 w 391"/>
                <a:gd name="T27" fmla="*/ 43 h 391"/>
                <a:gd name="T28" fmla="*/ 258 w 391"/>
                <a:gd name="T29" fmla="*/ 112 h 391"/>
                <a:gd name="T30" fmla="*/ 166 w 391"/>
                <a:gd name="T31" fmla="*/ 265 h 391"/>
                <a:gd name="T32" fmla="*/ 138 w 391"/>
                <a:gd name="T33" fmla="*/ 243 h 391"/>
                <a:gd name="T34" fmla="*/ 122 w 391"/>
                <a:gd name="T35" fmla="*/ 210 h 391"/>
                <a:gd name="T36" fmla="*/ 124 w 391"/>
                <a:gd name="T37" fmla="*/ 173 h 391"/>
                <a:gd name="T38" fmla="*/ 142 w 391"/>
                <a:gd name="T39" fmla="*/ 143 h 391"/>
                <a:gd name="T40" fmla="*/ 174 w 391"/>
                <a:gd name="T41" fmla="*/ 123 h 391"/>
                <a:gd name="T42" fmla="*/ 211 w 391"/>
                <a:gd name="T43" fmla="*/ 122 h 391"/>
                <a:gd name="T44" fmla="*/ 243 w 391"/>
                <a:gd name="T45" fmla="*/ 137 h 391"/>
                <a:gd name="T46" fmla="*/ 265 w 391"/>
                <a:gd name="T47" fmla="*/ 166 h 391"/>
                <a:gd name="T48" fmla="*/ 271 w 391"/>
                <a:gd name="T49" fmla="*/ 203 h 391"/>
                <a:gd name="T50" fmla="*/ 258 w 391"/>
                <a:gd name="T51" fmla="*/ 237 h 391"/>
                <a:gd name="T52" fmla="*/ 231 w 391"/>
                <a:gd name="T53" fmla="*/ 262 h 391"/>
                <a:gd name="T54" fmla="*/ 196 w 391"/>
                <a:gd name="T55" fmla="*/ 270 h 391"/>
                <a:gd name="T56" fmla="*/ 99 w 391"/>
                <a:gd name="T57" fmla="*/ 155 h 391"/>
                <a:gd name="T58" fmla="*/ 35 w 391"/>
                <a:gd name="T59" fmla="*/ 156 h 391"/>
                <a:gd name="T60" fmla="*/ 61 w 391"/>
                <a:gd name="T61" fmla="*/ 100 h 391"/>
                <a:gd name="T62" fmla="*/ 94 w 391"/>
                <a:gd name="T63" fmla="*/ 223 h 391"/>
                <a:gd name="T64" fmla="*/ 61 w 391"/>
                <a:gd name="T65" fmla="*/ 292 h 391"/>
                <a:gd name="T66" fmla="*/ 35 w 391"/>
                <a:gd name="T67" fmla="*/ 236 h 391"/>
                <a:gd name="T68" fmla="*/ 287 w 391"/>
                <a:gd name="T69" fmla="*/ 248 h 391"/>
                <a:gd name="T70" fmla="*/ 359 w 391"/>
                <a:gd name="T71" fmla="*/ 223 h 391"/>
                <a:gd name="T72" fmla="*/ 337 w 391"/>
                <a:gd name="T73" fmla="*/ 281 h 391"/>
                <a:gd name="T74" fmla="*/ 390 w 391"/>
                <a:gd name="T75" fmla="*/ 176 h 391"/>
                <a:gd name="T76" fmla="*/ 358 w 391"/>
                <a:gd name="T77" fmla="*/ 87 h 391"/>
                <a:gd name="T78" fmla="*/ 334 w 391"/>
                <a:gd name="T79" fmla="*/ 57 h 391"/>
                <a:gd name="T80" fmla="*/ 271 w 391"/>
                <a:gd name="T81" fmla="*/ 15 h 391"/>
                <a:gd name="T82" fmla="*/ 176 w 391"/>
                <a:gd name="T83" fmla="*/ 1 h 391"/>
                <a:gd name="T84" fmla="*/ 87 w 391"/>
                <a:gd name="T85" fmla="*/ 34 h 391"/>
                <a:gd name="T86" fmla="*/ 58 w 391"/>
                <a:gd name="T87" fmla="*/ 58 h 391"/>
                <a:gd name="T88" fmla="*/ 16 w 391"/>
                <a:gd name="T89" fmla="*/ 120 h 391"/>
                <a:gd name="T90" fmla="*/ 1 w 391"/>
                <a:gd name="T91" fmla="*/ 216 h 391"/>
                <a:gd name="T92" fmla="*/ 33 w 391"/>
                <a:gd name="T93" fmla="*/ 305 h 391"/>
                <a:gd name="T94" fmla="*/ 58 w 391"/>
                <a:gd name="T95" fmla="*/ 333 h 391"/>
                <a:gd name="T96" fmla="*/ 120 w 391"/>
                <a:gd name="T97" fmla="*/ 375 h 391"/>
                <a:gd name="T98" fmla="*/ 196 w 391"/>
                <a:gd name="T99" fmla="*/ 391 h 391"/>
                <a:gd name="T100" fmla="*/ 235 w 391"/>
                <a:gd name="T101" fmla="*/ 387 h 391"/>
                <a:gd name="T102" fmla="*/ 319 w 391"/>
                <a:gd name="T103" fmla="*/ 346 h 391"/>
                <a:gd name="T104" fmla="*/ 334 w 391"/>
                <a:gd name="T105" fmla="*/ 333 h 391"/>
                <a:gd name="T106" fmla="*/ 382 w 391"/>
                <a:gd name="T107" fmla="*/ 25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1" h="391">
                  <a:moveTo>
                    <a:pt x="300" y="180"/>
                  </a:moveTo>
                  <a:lnTo>
                    <a:pt x="297" y="167"/>
                  </a:lnTo>
                  <a:lnTo>
                    <a:pt x="292" y="155"/>
                  </a:lnTo>
                  <a:lnTo>
                    <a:pt x="287" y="144"/>
                  </a:lnTo>
                  <a:lnTo>
                    <a:pt x="280" y="133"/>
                  </a:lnTo>
                  <a:lnTo>
                    <a:pt x="322" y="89"/>
                  </a:lnTo>
                  <a:lnTo>
                    <a:pt x="330" y="100"/>
                  </a:lnTo>
                  <a:lnTo>
                    <a:pt x="337" y="110"/>
                  </a:lnTo>
                  <a:lnTo>
                    <a:pt x="343" y="120"/>
                  </a:lnTo>
                  <a:lnTo>
                    <a:pt x="348" y="132"/>
                  </a:lnTo>
                  <a:lnTo>
                    <a:pt x="352" y="143"/>
                  </a:lnTo>
                  <a:lnTo>
                    <a:pt x="356" y="156"/>
                  </a:lnTo>
                  <a:lnTo>
                    <a:pt x="359" y="167"/>
                  </a:lnTo>
                  <a:lnTo>
                    <a:pt x="360" y="180"/>
                  </a:lnTo>
                  <a:lnTo>
                    <a:pt x="300" y="180"/>
                  </a:lnTo>
                  <a:close/>
                  <a:moveTo>
                    <a:pt x="211" y="299"/>
                  </a:moveTo>
                  <a:lnTo>
                    <a:pt x="224" y="297"/>
                  </a:lnTo>
                  <a:lnTo>
                    <a:pt x="237" y="293"/>
                  </a:lnTo>
                  <a:lnTo>
                    <a:pt x="247" y="286"/>
                  </a:lnTo>
                  <a:lnTo>
                    <a:pt x="258" y="280"/>
                  </a:lnTo>
                  <a:lnTo>
                    <a:pt x="301" y="323"/>
                  </a:lnTo>
                  <a:lnTo>
                    <a:pt x="291" y="330"/>
                  </a:lnTo>
                  <a:lnTo>
                    <a:pt x="282" y="337"/>
                  </a:lnTo>
                  <a:lnTo>
                    <a:pt x="271" y="343"/>
                  </a:lnTo>
                  <a:lnTo>
                    <a:pt x="259" y="348"/>
                  </a:lnTo>
                  <a:lnTo>
                    <a:pt x="249" y="353"/>
                  </a:lnTo>
                  <a:lnTo>
                    <a:pt x="236" y="356"/>
                  </a:lnTo>
                  <a:lnTo>
                    <a:pt x="224" y="358"/>
                  </a:lnTo>
                  <a:lnTo>
                    <a:pt x="211" y="360"/>
                  </a:lnTo>
                  <a:lnTo>
                    <a:pt x="211" y="299"/>
                  </a:lnTo>
                  <a:close/>
                  <a:moveTo>
                    <a:pt x="133" y="280"/>
                  </a:moveTo>
                  <a:lnTo>
                    <a:pt x="144" y="286"/>
                  </a:lnTo>
                  <a:lnTo>
                    <a:pt x="155" y="293"/>
                  </a:lnTo>
                  <a:lnTo>
                    <a:pt x="168" y="297"/>
                  </a:lnTo>
                  <a:lnTo>
                    <a:pt x="181" y="299"/>
                  </a:lnTo>
                  <a:lnTo>
                    <a:pt x="181" y="360"/>
                  </a:lnTo>
                  <a:lnTo>
                    <a:pt x="168" y="358"/>
                  </a:lnTo>
                  <a:lnTo>
                    <a:pt x="155" y="356"/>
                  </a:lnTo>
                  <a:lnTo>
                    <a:pt x="144" y="353"/>
                  </a:lnTo>
                  <a:lnTo>
                    <a:pt x="132" y="348"/>
                  </a:lnTo>
                  <a:lnTo>
                    <a:pt x="121" y="343"/>
                  </a:lnTo>
                  <a:lnTo>
                    <a:pt x="110" y="337"/>
                  </a:lnTo>
                  <a:lnTo>
                    <a:pt x="100" y="330"/>
                  </a:lnTo>
                  <a:lnTo>
                    <a:pt x="90" y="323"/>
                  </a:lnTo>
                  <a:lnTo>
                    <a:pt x="133" y="280"/>
                  </a:lnTo>
                  <a:close/>
                  <a:moveTo>
                    <a:pt x="181" y="91"/>
                  </a:moveTo>
                  <a:lnTo>
                    <a:pt x="168" y="95"/>
                  </a:lnTo>
                  <a:lnTo>
                    <a:pt x="155" y="99"/>
                  </a:lnTo>
                  <a:lnTo>
                    <a:pt x="144" y="104"/>
                  </a:lnTo>
                  <a:lnTo>
                    <a:pt x="133" y="112"/>
                  </a:lnTo>
                  <a:lnTo>
                    <a:pt x="90" y="69"/>
                  </a:lnTo>
                  <a:lnTo>
                    <a:pt x="100" y="61"/>
                  </a:lnTo>
                  <a:lnTo>
                    <a:pt x="110" y="54"/>
                  </a:lnTo>
                  <a:lnTo>
                    <a:pt x="121" y="49"/>
                  </a:lnTo>
                  <a:lnTo>
                    <a:pt x="132" y="43"/>
                  </a:lnTo>
                  <a:lnTo>
                    <a:pt x="144" y="39"/>
                  </a:lnTo>
                  <a:lnTo>
                    <a:pt x="155" y="36"/>
                  </a:lnTo>
                  <a:lnTo>
                    <a:pt x="168" y="32"/>
                  </a:lnTo>
                  <a:lnTo>
                    <a:pt x="181" y="31"/>
                  </a:lnTo>
                  <a:lnTo>
                    <a:pt x="181" y="91"/>
                  </a:lnTo>
                  <a:close/>
                  <a:moveTo>
                    <a:pt x="258" y="112"/>
                  </a:moveTo>
                  <a:lnTo>
                    <a:pt x="247" y="104"/>
                  </a:lnTo>
                  <a:lnTo>
                    <a:pt x="237" y="99"/>
                  </a:lnTo>
                  <a:lnTo>
                    <a:pt x="224" y="95"/>
                  </a:lnTo>
                  <a:lnTo>
                    <a:pt x="211" y="91"/>
                  </a:lnTo>
                  <a:lnTo>
                    <a:pt x="211" y="31"/>
                  </a:lnTo>
                  <a:lnTo>
                    <a:pt x="224" y="32"/>
                  </a:lnTo>
                  <a:lnTo>
                    <a:pt x="236" y="36"/>
                  </a:lnTo>
                  <a:lnTo>
                    <a:pt x="249" y="39"/>
                  </a:lnTo>
                  <a:lnTo>
                    <a:pt x="259" y="43"/>
                  </a:lnTo>
                  <a:lnTo>
                    <a:pt x="271" y="49"/>
                  </a:lnTo>
                  <a:lnTo>
                    <a:pt x="282" y="54"/>
                  </a:lnTo>
                  <a:lnTo>
                    <a:pt x="291" y="61"/>
                  </a:lnTo>
                  <a:lnTo>
                    <a:pt x="301" y="69"/>
                  </a:lnTo>
                  <a:lnTo>
                    <a:pt x="258" y="112"/>
                  </a:lnTo>
                  <a:close/>
                  <a:moveTo>
                    <a:pt x="196" y="270"/>
                  </a:moveTo>
                  <a:lnTo>
                    <a:pt x="189" y="270"/>
                  </a:lnTo>
                  <a:lnTo>
                    <a:pt x="181" y="269"/>
                  </a:lnTo>
                  <a:lnTo>
                    <a:pt x="174" y="267"/>
                  </a:lnTo>
                  <a:lnTo>
                    <a:pt x="166" y="265"/>
                  </a:lnTo>
                  <a:lnTo>
                    <a:pt x="160" y="262"/>
                  </a:lnTo>
                  <a:lnTo>
                    <a:pt x="154" y="257"/>
                  </a:lnTo>
                  <a:lnTo>
                    <a:pt x="148" y="253"/>
                  </a:lnTo>
                  <a:lnTo>
                    <a:pt x="142" y="249"/>
                  </a:lnTo>
                  <a:lnTo>
                    <a:pt x="138" y="243"/>
                  </a:lnTo>
                  <a:lnTo>
                    <a:pt x="134" y="237"/>
                  </a:lnTo>
                  <a:lnTo>
                    <a:pt x="130" y="232"/>
                  </a:lnTo>
                  <a:lnTo>
                    <a:pt x="126" y="225"/>
                  </a:lnTo>
                  <a:lnTo>
                    <a:pt x="124" y="218"/>
                  </a:lnTo>
                  <a:lnTo>
                    <a:pt x="122" y="210"/>
                  </a:lnTo>
                  <a:lnTo>
                    <a:pt x="121" y="203"/>
                  </a:lnTo>
                  <a:lnTo>
                    <a:pt x="121" y="195"/>
                  </a:lnTo>
                  <a:lnTo>
                    <a:pt x="121" y="188"/>
                  </a:lnTo>
                  <a:lnTo>
                    <a:pt x="122" y="180"/>
                  </a:lnTo>
                  <a:lnTo>
                    <a:pt x="124" y="173"/>
                  </a:lnTo>
                  <a:lnTo>
                    <a:pt x="126" y="166"/>
                  </a:lnTo>
                  <a:lnTo>
                    <a:pt x="130" y="160"/>
                  </a:lnTo>
                  <a:lnTo>
                    <a:pt x="134" y="153"/>
                  </a:lnTo>
                  <a:lnTo>
                    <a:pt x="138" y="148"/>
                  </a:lnTo>
                  <a:lnTo>
                    <a:pt x="142" y="143"/>
                  </a:lnTo>
                  <a:lnTo>
                    <a:pt x="148" y="137"/>
                  </a:lnTo>
                  <a:lnTo>
                    <a:pt x="154" y="133"/>
                  </a:lnTo>
                  <a:lnTo>
                    <a:pt x="160" y="130"/>
                  </a:lnTo>
                  <a:lnTo>
                    <a:pt x="166" y="127"/>
                  </a:lnTo>
                  <a:lnTo>
                    <a:pt x="174" y="123"/>
                  </a:lnTo>
                  <a:lnTo>
                    <a:pt x="181" y="122"/>
                  </a:lnTo>
                  <a:lnTo>
                    <a:pt x="189" y="120"/>
                  </a:lnTo>
                  <a:lnTo>
                    <a:pt x="196" y="120"/>
                  </a:lnTo>
                  <a:lnTo>
                    <a:pt x="204" y="120"/>
                  </a:lnTo>
                  <a:lnTo>
                    <a:pt x="211" y="122"/>
                  </a:lnTo>
                  <a:lnTo>
                    <a:pt x="219" y="123"/>
                  </a:lnTo>
                  <a:lnTo>
                    <a:pt x="225" y="127"/>
                  </a:lnTo>
                  <a:lnTo>
                    <a:pt x="231" y="130"/>
                  </a:lnTo>
                  <a:lnTo>
                    <a:pt x="238" y="133"/>
                  </a:lnTo>
                  <a:lnTo>
                    <a:pt x="243" y="137"/>
                  </a:lnTo>
                  <a:lnTo>
                    <a:pt x="249" y="143"/>
                  </a:lnTo>
                  <a:lnTo>
                    <a:pt x="254" y="148"/>
                  </a:lnTo>
                  <a:lnTo>
                    <a:pt x="258" y="153"/>
                  </a:lnTo>
                  <a:lnTo>
                    <a:pt x="261" y="160"/>
                  </a:lnTo>
                  <a:lnTo>
                    <a:pt x="265" y="166"/>
                  </a:lnTo>
                  <a:lnTo>
                    <a:pt x="268" y="173"/>
                  </a:lnTo>
                  <a:lnTo>
                    <a:pt x="270" y="180"/>
                  </a:lnTo>
                  <a:lnTo>
                    <a:pt x="271" y="188"/>
                  </a:lnTo>
                  <a:lnTo>
                    <a:pt x="271" y="195"/>
                  </a:lnTo>
                  <a:lnTo>
                    <a:pt x="271" y="203"/>
                  </a:lnTo>
                  <a:lnTo>
                    <a:pt x="270" y="210"/>
                  </a:lnTo>
                  <a:lnTo>
                    <a:pt x="268" y="218"/>
                  </a:lnTo>
                  <a:lnTo>
                    <a:pt x="265" y="225"/>
                  </a:lnTo>
                  <a:lnTo>
                    <a:pt x="261" y="232"/>
                  </a:lnTo>
                  <a:lnTo>
                    <a:pt x="258" y="237"/>
                  </a:lnTo>
                  <a:lnTo>
                    <a:pt x="254" y="243"/>
                  </a:lnTo>
                  <a:lnTo>
                    <a:pt x="249" y="249"/>
                  </a:lnTo>
                  <a:lnTo>
                    <a:pt x="243" y="253"/>
                  </a:lnTo>
                  <a:lnTo>
                    <a:pt x="238" y="257"/>
                  </a:lnTo>
                  <a:lnTo>
                    <a:pt x="231" y="262"/>
                  </a:lnTo>
                  <a:lnTo>
                    <a:pt x="225" y="265"/>
                  </a:lnTo>
                  <a:lnTo>
                    <a:pt x="219" y="267"/>
                  </a:lnTo>
                  <a:lnTo>
                    <a:pt x="211" y="269"/>
                  </a:lnTo>
                  <a:lnTo>
                    <a:pt x="204" y="270"/>
                  </a:lnTo>
                  <a:lnTo>
                    <a:pt x="196" y="270"/>
                  </a:lnTo>
                  <a:lnTo>
                    <a:pt x="196" y="270"/>
                  </a:lnTo>
                  <a:close/>
                  <a:moveTo>
                    <a:pt x="69" y="89"/>
                  </a:moveTo>
                  <a:lnTo>
                    <a:pt x="111" y="133"/>
                  </a:lnTo>
                  <a:lnTo>
                    <a:pt x="105" y="144"/>
                  </a:lnTo>
                  <a:lnTo>
                    <a:pt x="99" y="155"/>
                  </a:lnTo>
                  <a:lnTo>
                    <a:pt x="94" y="167"/>
                  </a:lnTo>
                  <a:lnTo>
                    <a:pt x="92" y="180"/>
                  </a:lnTo>
                  <a:lnTo>
                    <a:pt x="31" y="180"/>
                  </a:lnTo>
                  <a:lnTo>
                    <a:pt x="33" y="167"/>
                  </a:lnTo>
                  <a:lnTo>
                    <a:pt x="35" y="156"/>
                  </a:lnTo>
                  <a:lnTo>
                    <a:pt x="39" y="144"/>
                  </a:lnTo>
                  <a:lnTo>
                    <a:pt x="43" y="132"/>
                  </a:lnTo>
                  <a:lnTo>
                    <a:pt x="48" y="120"/>
                  </a:lnTo>
                  <a:lnTo>
                    <a:pt x="55" y="110"/>
                  </a:lnTo>
                  <a:lnTo>
                    <a:pt x="61" y="100"/>
                  </a:lnTo>
                  <a:lnTo>
                    <a:pt x="69" y="90"/>
                  </a:lnTo>
                  <a:lnTo>
                    <a:pt x="69" y="89"/>
                  </a:lnTo>
                  <a:close/>
                  <a:moveTo>
                    <a:pt x="31" y="210"/>
                  </a:moveTo>
                  <a:lnTo>
                    <a:pt x="92" y="210"/>
                  </a:lnTo>
                  <a:lnTo>
                    <a:pt x="94" y="223"/>
                  </a:lnTo>
                  <a:lnTo>
                    <a:pt x="99" y="236"/>
                  </a:lnTo>
                  <a:lnTo>
                    <a:pt x="105" y="248"/>
                  </a:lnTo>
                  <a:lnTo>
                    <a:pt x="111" y="258"/>
                  </a:lnTo>
                  <a:lnTo>
                    <a:pt x="69" y="301"/>
                  </a:lnTo>
                  <a:lnTo>
                    <a:pt x="61" y="292"/>
                  </a:lnTo>
                  <a:lnTo>
                    <a:pt x="55" y="281"/>
                  </a:lnTo>
                  <a:lnTo>
                    <a:pt x="48" y="270"/>
                  </a:lnTo>
                  <a:lnTo>
                    <a:pt x="43" y="260"/>
                  </a:lnTo>
                  <a:lnTo>
                    <a:pt x="39" y="248"/>
                  </a:lnTo>
                  <a:lnTo>
                    <a:pt x="35" y="236"/>
                  </a:lnTo>
                  <a:lnTo>
                    <a:pt x="33" y="223"/>
                  </a:lnTo>
                  <a:lnTo>
                    <a:pt x="31" y="210"/>
                  </a:lnTo>
                  <a:close/>
                  <a:moveTo>
                    <a:pt x="322" y="301"/>
                  </a:moveTo>
                  <a:lnTo>
                    <a:pt x="280" y="258"/>
                  </a:lnTo>
                  <a:lnTo>
                    <a:pt x="287" y="248"/>
                  </a:lnTo>
                  <a:lnTo>
                    <a:pt x="292" y="236"/>
                  </a:lnTo>
                  <a:lnTo>
                    <a:pt x="297" y="223"/>
                  </a:lnTo>
                  <a:lnTo>
                    <a:pt x="300" y="210"/>
                  </a:lnTo>
                  <a:lnTo>
                    <a:pt x="360" y="210"/>
                  </a:lnTo>
                  <a:lnTo>
                    <a:pt x="359" y="223"/>
                  </a:lnTo>
                  <a:lnTo>
                    <a:pt x="356" y="236"/>
                  </a:lnTo>
                  <a:lnTo>
                    <a:pt x="352" y="248"/>
                  </a:lnTo>
                  <a:lnTo>
                    <a:pt x="348" y="260"/>
                  </a:lnTo>
                  <a:lnTo>
                    <a:pt x="343" y="270"/>
                  </a:lnTo>
                  <a:lnTo>
                    <a:pt x="337" y="281"/>
                  </a:lnTo>
                  <a:lnTo>
                    <a:pt x="330" y="292"/>
                  </a:lnTo>
                  <a:lnTo>
                    <a:pt x="322" y="301"/>
                  </a:lnTo>
                  <a:lnTo>
                    <a:pt x="322" y="301"/>
                  </a:lnTo>
                  <a:close/>
                  <a:moveTo>
                    <a:pt x="391" y="195"/>
                  </a:moveTo>
                  <a:lnTo>
                    <a:pt x="390" y="176"/>
                  </a:lnTo>
                  <a:lnTo>
                    <a:pt x="388" y="157"/>
                  </a:lnTo>
                  <a:lnTo>
                    <a:pt x="382" y="137"/>
                  </a:lnTo>
                  <a:lnTo>
                    <a:pt x="376" y="120"/>
                  </a:lnTo>
                  <a:lnTo>
                    <a:pt x="367" y="103"/>
                  </a:lnTo>
                  <a:lnTo>
                    <a:pt x="358" y="87"/>
                  </a:lnTo>
                  <a:lnTo>
                    <a:pt x="347" y="72"/>
                  </a:lnTo>
                  <a:lnTo>
                    <a:pt x="334" y="58"/>
                  </a:lnTo>
                  <a:lnTo>
                    <a:pt x="334" y="57"/>
                  </a:lnTo>
                  <a:lnTo>
                    <a:pt x="334" y="57"/>
                  </a:lnTo>
                  <a:lnTo>
                    <a:pt x="334" y="57"/>
                  </a:lnTo>
                  <a:lnTo>
                    <a:pt x="333" y="57"/>
                  </a:lnTo>
                  <a:lnTo>
                    <a:pt x="319" y="44"/>
                  </a:lnTo>
                  <a:lnTo>
                    <a:pt x="304" y="34"/>
                  </a:lnTo>
                  <a:lnTo>
                    <a:pt x="288" y="24"/>
                  </a:lnTo>
                  <a:lnTo>
                    <a:pt x="271" y="15"/>
                  </a:lnTo>
                  <a:lnTo>
                    <a:pt x="254" y="9"/>
                  </a:lnTo>
                  <a:lnTo>
                    <a:pt x="235" y="5"/>
                  </a:lnTo>
                  <a:lnTo>
                    <a:pt x="215" y="1"/>
                  </a:lnTo>
                  <a:lnTo>
                    <a:pt x="196" y="0"/>
                  </a:lnTo>
                  <a:lnTo>
                    <a:pt x="176" y="1"/>
                  </a:lnTo>
                  <a:lnTo>
                    <a:pt x="156" y="4"/>
                  </a:lnTo>
                  <a:lnTo>
                    <a:pt x="138" y="9"/>
                  </a:lnTo>
                  <a:lnTo>
                    <a:pt x="120" y="15"/>
                  </a:lnTo>
                  <a:lnTo>
                    <a:pt x="103" y="24"/>
                  </a:lnTo>
                  <a:lnTo>
                    <a:pt x="87" y="34"/>
                  </a:lnTo>
                  <a:lnTo>
                    <a:pt x="72" y="44"/>
                  </a:lnTo>
                  <a:lnTo>
                    <a:pt x="58" y="57"/>
                  </a:lnTo>
                  <a:lnTo>
                    <a:pt x="58" y="57"/>
                  </a:lnTo>
                  <a:lnTo>
                    <a:pt x="58" y="57"/>
                  </a:lnTo>
                  <a:lnTo>
                    <a:pt x="58" y="58"/>
                  </a:lnTo>
                  <a:lnTo>
                    <a:pt x="57" y="58"/>
                  </a:lnTo>
                  <a:lnTo>
                    <a:pt x="45" y="72"/>
                  </a:lnTo>
                  <a:lnTo>
                    <a:pt x="33" y="87"/>
                  </a:lnTo>
                  <a:lnTo>
                    <a:pt x="24" y="103"/>
                  </a:lnTo>
                  <a:lnTo>
                    <a:pt x="16" y="120"/>
                  </a:lnTo>
                  <a:lnTo>
                    <a:pt x="9" y="137"/>
                  </a:lnTo>
                  <a:lnTo>
                    <a:pt x="4" y="157"/>
                  </a:lnTo>
                  <a:lnTo>
                    <a:pt x="1" y="176"/>
                  </a:lnTo>
                  <a:lnTo>
                    <a:pt x="0" y="195"/>
                  </a:lnTo>
                  <a:lnTo>
                    <a:pt x="1" y="216"/>
                  </a:lnTo>
                  <a:lnTo>
                    <a:pt x="4" y="235"/>
                  </a:lnTo>
                  <a:lnTo>
                    <a:pt x="9" y="253"/>
                  </a:lnTo>
                  <a:lnTo>
                    <a:pt x="16" y="271"/>
                  </a:lnTo>
                  <a:lnTo>
                    <a:pt x="24" y="288"/>
                  </a:lnTo>
                  <a:lnTo>
                    <a:pt x="33" y="305"/>
                  </a:lnTo>
                  <a:lnTo>
                    <a:pt x="45" y="320"/>
                  </a:lnTo>
                  <a:lnTo>
                    <a:pt x="57" y="333"/>
                  </a:lnTo>
                  <a:lnTo>
                    <a:pt x="58" y="333"/>
                  </a:lnTo>
                  <a:lnTo>
                    <a:pt x="58" y="333"/>
                  </a:lnTo>
                  <a:lnTo>
                    <a:pt x="58" y="333"/>
                  </a:lnTo>
                  <a:lnTo>
                    <a:pt x="58" y="335"/>
                  </a:lnTo>
                  <a:lnTo>
                    <a:pt x="72" y="346"/>
                  </a:lnTo>
                  <a:lnTo>
                    <a:pt x="87" y="358"/>
                  </a:lnTo>
                  <a:lnTo>
                    <a:pt x="103" y="368"/>
                  </a:lnTo>
                  <a:lnTo>
                    <a:pt x="120" y="375"/>
                  </a:lnTo>
                  <a:lnTo>
                    <a:pt x="138" y="383"/>
                  </a:lnTo>
                  <a:lnTo>
                    <a:pt x="156" y="387"/>
                  </a:lnTo>
                  <a:lnTo>
                    <a:pt x="176" y="390"/>
                  </a:lnTo>
                  <a:lnTo>
                    <a:pt x="196" y="391"/>
                  </a:lnTo>
                  <a:lnTo>
                    <a:pt x="196" y="391"/>
                  </a:lnTo>
                  <a:lnTo>
                    <a:pt x="196" y="391"/>
                  </a:lnTo>
                  <a:lnTo>
                    <a:pt x="196" y="391"/>
                  </a:lnTo>
                  <a:lnTo>
                    <a:pt x="196" y="391"/>
                  </a:lnTo>
                  <a:lnTo>
                    <a:pt x="215" y="390"/>
                  </a:lnTo>
                  <a:lnTo>
                    <a:pt x="235" y="387"/>
                  </a:lnTo>
                  <a:lnTo>
                    <a:pt x="254" y="383"/>
                  </a:lnTo>
                  <a:lnTo>
                    <a:pt x="271" y="375"/>
                  </a:lnTo>
                  <a:lnTo>
                    <a:pt x="288" y="368"/>
                  </a:lnTo>
                  <a:lnTo>
                    <a:pt x="304" y="358"/>
                  </a:lnTo>
                  <a:lnTo>
                    <a:pt x="319" y="346"/>
                  </a:lnTo>
                  <a:lnTo>
                    <a:pt x="333" y="335"/>
                  </a:lnTo>
                  <a:lnTo>
                    <a:pt x="334" y="333"/>
                  </a:lnTo>
                  <a:lnTo>
                    <a:pt x="334" y="333"/>
                  </a:lnTo>
                  <a:lnTo>
                    <a:pt x="334" y="333"/>
                  </a:lnTo>
                  <a:lnTo>
                    <a:pt x="334" y="333"/>
                  </a:lnTo>
                  <a:lnTo>
                    <a:pt x="347" y="320"/>
                  </a:lnTo>
                  <a:lnTo>
                    <a:pt x="358" y="305"/>
                  </a:lnTo>
                  <a:lnTo>
                    <a:pt x="367" y="288"/>
                  </a:lnTo>
                  <a:lnTo>
                    <a:pt x="376" y="271"/>
                  </a:lnTo>
                  <a:lnTo>
                    <a:pt x="382" y="253"/>
                  </a:lnTo>
                  <a:lnTo>
                    <a:pt x="388" y="235"/>
                  </a:lnTo>
                  <a:lnTo>
                    <a:pt x="390" y="216"/>
                  </a:lnTo>
                  <a:lnTo>
                    <a:pt x="391" y="195"/>
                  </a:lnTo>
                  <a:lnTo>
                    <a:pt x="391"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99">
            <a:extLst>
              <a:ext uri="{FF2B5EF4-FFF2-40B4-BE49-F238E27FC236}">
                <a16:creationId xmlns:a16="http://schemas.microsoft.com/office/drawing/2014/main" id="{54DC84F6-F0A3-42DC-90F1-6F56C1F7B2F7}"/>
              </a:ext>
            </a:extLst>
          </p:cNvPr>
          <p:cNvGrpSpPr>
            <a:grpSpLocks noChangeAspect="1"/>
          </p:cNvGrpSpPr>
          <p:nvPr/>
        </p:nvGrpSpPr>
        <p:grpSpPr>
          <a:xfrm>
            <a:off x="2770877" y="5417576"/>
            <a:ext cx="216382" cy="306484"/>
            <a:chOff x="1003300" y="4391025"/>
            <a:chExt cx="503238" cy="712788"/>
          </a:xfrm>
          <a:solidFill>
            <a:schemeClr val="bg2"/>
          </a:solidFill>
          <a:effectLst/>
        </p:grpSpPr>
        <p:sp>
          <p:nvSpPr>
            <p:cNvPr id="585" name="Freeform 5">
              <a:extLst>
                <a:ext uri="{FF2B5EF4-FFF2-40B4-BE49-F238E27FC236}">
                  <a16:creationId xmlns:a16="http://schemas.microsoft.com/office/drawing/2014/main" id="{13353055-AE69-44D0-94C2-7CCC737DA25F}"/>
                </a:ext>
              </a:extLst>
            </p:cNvPr>
            <p:cNvSpPr>
              <a:spLocks noEditPoints="1"/>
            </p:cNvSpPr>
            <p:nvPr/>
          </p:nvSpPr>
          <p:spPr bwMode="auto">
            <a:xfrm>
              <a:off x="1412875" y="4489450"/>
              <a:ext cx="93663" cy="180975"/>
            </a:xfrm>
            <a:custGeom>
              <a:avLst/>
              <a:gdLst>
                <a:gd name="T0" fmla="*/ 31 w 38"/>
                <a:gd name="T1" fmla="*/ 74 h 74"/>
                <a:gd name="T2" fmla="*/ 27 w 38"/>
                <a:gd name="T3" fmla="*/ 73 h 74"/>
                <a:gd name="T4" fmla="*/ 18 w 38"/>
                <a:gd name="T5" fmla="*/ 52 h 74"/>
                <a:gd name="T6" fmla="*/ 17 w 38"/>
                <a:gd name="T7" fmla="*/ 49 h 74"/>
                <a:gd name="T8" fmla="*/ 2 w 38"/>
                <a:gd name="T9" fmla="*/ 10 h 74"/>
                <a:gd name="T10" fmla="*/ 4 w 38"/>
                <a:gd name="T11" fmla="*/ 2 h 74"/>
                <a:gd name="T12" fmla="*/ 12 w 38"/>
                <a:gd name="T13" fmla="*/ 4 h 74"/>
                <a:gd name="T14" fmla="*/ 29 w 38"/>
                <a:gd name="T15" fmla="*/ 46 h 74"/>
                <a:gd name="T16" fmla="*/ 29 w 38"/>
                <a:gd name="T17" fmla="*/ 48 h 74"/>
                <a:gd name="T18" fmla="*/ 30 w 38"/>
                <a:gd name="T19" fmla="*/ 49 h 74"/>
                <a:gd name="T20" fmla="*/ 34 w 38"/>
                <a:gd name="T21" fmla="*/ 63 h 74"/>
                <a:gd name="T22" fmla="*/ 36 w 38"/>
                <a:gd name="T23" fmla="*/ 72 h 74"/>
                <a:gd name="T24" fmla="*/ 31 w 38"/>
                <a:gd name="T25" fmla="*/ 74 h 74"/>
                <a:gd name="T26" fmla="*/ 31 w 38"/>
                <a:gd name="T27" fmla="*/ 74 h 74"/>
                <a:gd name="T28" fmla="*/ 31 w 38"/>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4">
                  <a:moveTo>
                    <a:pt x="31" y="74"/>
                  </a:moveTo>
                  <a:cubicBezTo>
                    <a:pt x="29" y="74"/>
                    <a:pt x="28" y="74"/>
                    <a:pt x="27" y="73"/>
                  </a:cubicBezTo>
                  <a:cubicBezTo>
                    <a:pt x="23" y="70"/>
                    <a:pt x="19" y="60"/>
                    <a:pt x="18" y="52"/>
                  </a:cubicBezTo>
                  <a:cubicBezTo>
                    <a:pt x="17" y="52"/>
                    <a:pt x="17" y="51"/>
                    <a:pt x="17" y="49"/>
                  </a:cubicBezTo>
                  <a:cubicBezTo>
                    <a:pt x="15" y="43"/>
                    <a:pt x="11" y="26"/>
                    <a:pt x="2" y="10"/>
                  </a:cubicBezTo>
                  <a:cubicBezTo>
                    <a:pt x="0" y="7"/>
                    <a:pt x="1" y="3"/>
                    <a:pt x="4" y="2"/>
                  </a:cubicBezTo>
                  <a:cubicBezTo>
                    <a:pt x="7" y="0"/>
                    <a:pt x="11" y="1"/>
                    <a:pt x="12" y="4"/>
                  </a:cubicBezTo>
                  <a:cubicBezTo>
                    <a:pt x="23" y="21"/>
                    <a:pt x="27" y="39"/>
                    <a:pt x="29" y="46"/>
                  </a:cubicBezTo>
                  <a:cubicBezTo>
                    <a:pt x="29" y="47"/>
                    <a:pt x="29" y="48"/>
                    <a:pt x="29" y="48"/>
                  </a:cubicBezTo>
                  <a:cubicBezTo>
                    <a:pt x="29" y="48"/>
                    <a:pt x="30" y="49"/>
                    <a:pt x="30" y="49"/>
                  </a:cubicBezTo>
                  <a:cubicBezTo>
                    <a:pt x="31" y="55"/>
                    <a:pt x="33" y="62"/>
                    <a:pt x="34" y="63"/>
                  </a:cubicBezTo>
                  <a:cubicBezTo>
                    <a:pt x="37" y="65"/>
                    <a:pt x="38" y="69"/>
                    <a:pt x="36" y="72"/>
                  </a:cubicBezTo>
                  <a:cubicBezTo>
                    <a:pt x="34" y="73"/>
                    <a:pt x="32" y="74"/>
                    <a:pt x="31" y="74"/>
                  </a:cubicBezTo>
                  <a:close/>
                  <a:moveTo>
                    <a:pt x="31" y="74"/>
                  </a:moveTo>
                  <a:cubicBezTo>
                    <a:pt x="31" y="74"/>
                    <a:pt x="31" y="74"/>
                    <a:pt x="31"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6" name="Freeform 6">
              <a:extLst>
                <a:ext uri="{FF2B5EF4-FFF2-40B4-BE49-F238E27FC236}">
                  <a16:creationId xmlns:a16="http://schemas.microsoft.com/office/drawing/2014/main" id="{1FD42FF9-5A0E-45CB-A1FC-C5EB5C21A66D}"/>
                </a:ext>
              </a:extLst>
            </p:cNvPr>
            <p:cNvSpPr>
              <a:spLocks noEditPoints="1"/>
            </p:cNvSpPr>
            <p:nvPr/>
          </p:nvSpPr>
          <p:spPr bwMode="auto">
            <a:xfrm>
              <a:off x="1216025" y="4391025"/>
              <a:ext cx="196850" cy="85725"/>
            </a:xfrm>
            <a:custGeom>
              <a:avLst/>
              <a:gdLst>
                <a:gd name="T0" fmla="*/ 74 w 80"/>
                <a:gd name="T1" fmla="*/ 35 h 35"/>
                <a:gd name="T2" fmla="*/ 69 w 80"/>
                <a:gd name="T3" fmla="*/ 34 h 35"/>
                <a:gd name="T4" fmla="*/ 25 w 80"/>
                <a:gd name="T5" fmla="*/ 12 h 35"/>
                <a:gd name="T6" fmla="*/ 8 w 80"/>
                <a:gd name="T7" fmla="*/ 14 h 35"/>
                <a:gd name="T8" fmla="*/ 1 w 80"/>
                <a:gd name="T9" fmla="*/ 9 h 35"/>
                <a:gd name="T10" fmla="*/ 6 w 80"/>
                <a:gd name="T11" fmla="*/ 2 h 35"/>
                <a:gd name="T12" fmla="*/ 26 w 80"/>
                <a:gd name="T13" fmla="*/ 0 h 35"/>
                <a:gd name="T14" fmla="*/ 26 w 80"/>
                <a:gd name="T15" fmla="*/ 0 h 35"/>
                <a:gd name="T16" fmla="*/ 78 w 80"/>
                <a:gd name="T17" fmla="*/ 25 h 35"/>
                <a:gd name="T18" fmla="*/ 78 w 80"/>
                <a:gd name="T19" fmla="*/ 34 h 35"/>
                <a:gd name="T20" fmla="*/ 74 w 80"/>
                <a:gd name="T21" fmla="*/ 35 h 35"/>
                <a:gd name="T22" fmla="*/ 74 w 80"/>
                <a:gd name="T23" fmla="*/ 35 h 35"/>
                <a:gd name="T24" fmla="*/ 74 w 80"/>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5">
                  <a:moveTo>
                    <a:pt x="74" y="35"/>
                  </a:moveTo>
                  <a:cubicBezTo>
                    <a:pt x="72" y="35"/>
                    <a:pt x="70" y="35"/>
                    <a:pt x="69" y="34"/>
                  </a:cubicBezTo>
                  <a:cubicBezTo>
                    <a:pt x="57" y="21"/>
                    <a:pt x="42" y="14"/>
                    <a:pt x="25" y="12"/>
                  </a:cubicBezTo>
                  <a:cubicBezTo>
                    <a:pt x="19" y="12"/>
                    <a:pt x="14" y="13"/>
                    <a:pt x="8" y="14"/>
                  </a:cubicBezTo>
                  <a:cubicBezTo>
                    <a:pt x="5" y="14"/>
                    <a:pt x="2" y="12"/>
                    <a:pt x="1" y="9"/>
                  </a:cubicBezTo>
                  <a:cubicBezTo>
                    <a:pt x="0" y="5"/>
                    <a:pt x="3" y="2"/>
                    <a:pt x="6" y="2"/>
                  </a:cubicBezTo>
                  <a:cubicBezTo>
                    <a:pt x="12" y="0"/>
                    <a:pt x="19" y="0"/>
                    <a:pt x="26" y="0"/>
                  </a:cubicBezTo>
                  <a:cubicBezTo>
                    <a:pt x="26" y="0"/>
                    <a:pt x="26" y="0"/>
                    <a:pt x="26" y="0"/>
                  </a:cubicBezTo>
                  <a:cubicBezTo>
                    <a:pt x="46" y="2"/>
                    <a:pt x="64" y="10"/>
                    <a:pt x="78" y="25"/>
                  </a:cubicBezTo>
                  <a:cubicBezTo>
                    <a:pt x="80" y="27"/>
                    <a:pt x="80" y="31"/>
                    <a:pt x="78" y="34"/>
                  </a:cubicBezTo>
                  <a:cubicBezTo>
                    <a:pt x="77" y="35"/>
                    <a:pt x="75" y="35"/>
                    <a:pt x="74" y="35"/>
                  </a:cubicBezTo>
                  <a:close/>
                  <a:moveTo>
                    <a:pt x="74" y="35"/>
                  </a:moveTo>
                  <a:cubicBezTo>
                    <a:pt x="74" y="35"/>
                    <a:pt x="74" y="35"/>
                    <a:pt x="74"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7" name="Freeform 7">
              <a:extLst>
                <a:ext uri="{FF2B5EF4-FFF2-40B4-BE49-F238E27FC236}">
                  <a16:creationId xmlns:a16="http://schemas.microsoft.com/office/drawing/2014/main" id="{A2655096-B6C1-44C5-9D56-A59D91770186}"/>
                </a:ext>
              </a:extLst>
            </p:cNvPr>
            <p:cNvSpPr>
              <a:spLocks noEditPoints="1"/>
            </p:cNvSpPr>
            <p:nvPr/>
          </p:nvSpPr>
          <p:spPr bwMode="auto">
            <a:xfrm>
              <a:off x="1006475" y="4427538"/>
              <a:ext cx="165100" cy="165100"/>
            </a:xfrm>
            <a:custGeom>
              <a:avLst/>
              <a:gdLst>
                <a:gd name="T0" fmla="*/ 6 w 67"/>
                <a:gd name="T1" fmla="*/ 67 h 67"/>
                <a:gd name="T2" fmla="*/ 5 w 67"/>
                <a:gd name="T3" fmla="*/ 67 h 67"/>
                <a:gd name="T4" fmla="*/ 0 w 67"/>
                <a:gd name="T5" fmla="*/ 62 h 67"/>
                <a:gd name="T6" fmla="*/ 3 w 67"/>
                <a:gd name="T7" fmla="*/ 56 h 67"/>
                <a:gd name="T8" fmla="*/ 4 w 67"/>
                <a:gd name="T9" fmla="*/ 55 h 67"/>
                <a:gd name="T10" fmla="*/ 14 w 67"/>
                <a:gd name="T11" fmla="*/ 46 h 67"/>
                <a:gd name="T12" fmla="*/ 15 w 67"/>
                <a:gd name="T13" fmla="*/ 44 h 67"/>
                <a:gd name="T14" fmla="*/ 24 w 67"/>
                <a:gd name="T15" fmla="*/ 33 h 67"/>
                <a:gd name="T16" fmla="*/ 56 w 67"/>
                <a:gd name="T17" fmla="*/ 2 h 67"/>
                <a:gd name="T18" fmla="*/ 65 w 67"/>
                <a:gd name="T19" fmla="*/ 3 h 67"/>
                <a:gd name="T20" fmla="*/ 63 w 67"/>
                <a:gd name="T21" fmla="*/ 12 h 67"/>
                <a:gd name="T22" fmla="*/ 33 w 67"/>
                <a:gd name="T23" fmla="*/ 41 h 67"/>
                <a:gd name="T24" fmla="*/ 25 w 67"/>
                <a:gd name="T25" fmla="*/ 51 h 67"/>
                <a:gd name="T26" fmla="*/ 24 w 67"/>
                <a:gd name="T27" fmla="*/ 53 h 67"/>
                <a:gd name="T28" fmla="*/ 14 w 67"/>
                <a:gd name="T29" fmla="*/ 63 h 67"/>
                <a:gd name="T30" fmla="*/ 6 w 67"/>
                <a:gd name="T31" fmla="*/ 67 h 67"/>
                <a:gd name="T32" fmla="*/ 6 w 67"/>
                <a:gd name="T33" fmla="*/ 67 h 67"/>
                <a:gd name="T34" fmla="*/ 6 w 67"/>
                <a:gd name="T3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67">
                  <a:moveTo>
                    <a:pt x="6" y="67"/>
                  </a:moveTo>
                  <a:cubicBezTo>
                    <a:pt x="6" y="67"/>
                    <a:pt x="6" y="67"/>
                    <a:pt x="5" y="67"/>
                  </a:cubicBezTo>
                  <a:cubicBezTo>
                    <a:pt x="3" y="66"/>
                    <a:pt x="1" y="64"/>
                    <a:pt x="0" y="62"/>
                  </a:cubicBezTo>
                  <a:cubicBezTo>
                    <a:pt x="0" y="59"/>
                    <a:pt x="1" y="57"/>
                    <a:pt x="3" y="56"/>
                  </a:cubicBezTo>
                  <a:cubicBezTo>
                    <a:pt x="3" y="55"/>
                    <a:pt x="4" y="55"/>
                    <a:pt x="4" y="55"/>
                  </a:cubicBezTo>
                  <a:cubicBezTo>
                    <a:pt x="6" y="54"/>
                    <a:pt x="10" y="51"/>
                    <a:pt x="14" y="46"/>
                  </a:cubicBezTo>
                  <a:cubicBezTo>
                    <a:pt x="15" y="44"/>
                    <a:pt x="15" y="44"/>
                    <a:pt x="15" y="44"/>
                  </a:cubicBezTo>
                  <a:cubicBezTo>
                    <a:pt x="18" y="41"/>
                    <a:pt x="20" y="37"/>
                    <a:pt x="24" y="33"/>
                  </a:cubicBezTo>
                  <a:cubicBezTo>
                    <a:pt x="34" y="20"/>
                    <a:pt x="45" y="10"/>
                    <a:pt x="56" y="2"/>
                  </a:cubicBezTo>
                  <a:cubicBezTo>
                    <a:pt x="59" y="0"/>
                    <a:pt x="63" y="1"/>
                    <a:pt x="65" y="3"/>
                  </a:cubicBezTo>
                  <a:cubicBezTo>
                    <a:pt x="67" y="6"/>
                    <a:pt x="66" y="10"/>
                    <a:pt x="63" y="12"/>
                  </a:cubicBezTo>
                  <a:cubicBezTo>
                    <a:pt x="53" y="19"/>
                    <a:pt x="43" y="29"/>
                    <a:pt x="33" y="41"/>
                  </a:cubicBezTo>
                  <a:cubicBezTo>
                    <a:pt x="30" y="45"/>
                    <a:pt x="27" y="48"/>
                    <a:pt x="25" y="51"/>
                  </a:cubicBezTo>
                  <a:cubicBezTo>
                    <a:pt x="24" y="53"/>
                    <a:pt x="24" y="53"/>
                    <a:pt x="24" y="53"/>
                  </a:cubicBezTo>
                  <a:cubicBezTo>
                    <a:pt x="20" y="58"/>
                    <a:pt x="17" y="61"/>
                    <a:pt x="14" y="63"/>
                  </a:cubicBezTo>
                  <a:cubicBezTo>
                    <a:pt x="10" y="66"/>
                    <a:pt x="8" y="67"/>
                    <a:pt x="6" y="67"/>
                  </a:cubicBezTo>
                  <a:close/>
                  <a:moveTo>
                    <a:pt x="6" y="67"/>
                  </a:moveTo>
                  <a:cubicBezTo>
                    <a:pt x="6" y="67"/>
                    <a:pt x="6" y="67"/>
                    <a:pt x="6" y="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8" name="Freeform 8">
              <a:extLst>
                <a:ext uri="{FF2B5EF4-FFF2-40B4-BE49-F238E27FC236}">
                  <a16:creationId xmlns:a16="http://schemas.microsoft.com/office/drawing/2014/main" id="{377353EF-7513-484E-8ED5-FED73457258F}"/>
                </a:ext>
              </a:extLst>
            </p:cNvPr>
            <p:cNvSpPr>
              <a:spLocks noEditPoints="1"/>
            </p:cNvSpPr>
            <p:nvPr/>
          </p:nvSpPr>
          <p:spPr bwMode="auto">
            <a:xfrm>
              <a:off x="1003300" y="4686300"/>
              <a:ext cx="111125" cy="60325"/>
            </a:xfrm>
            <a:custGeom>
              <a:avLst/>
              <a:gdLst>
                <a:gd name="T0" fmla="*/ 7 w 45"/>
                <a:gd name="T1" fmla="*/ 25 h 25"/>
                <a:gd name="T2" fmla="*/ 1 w 45"/>
                <a:gd name="T3" fmla="*/ 21 h 25"/>
                <a:gd name="T4" fmla="*/ 6 w 45"/>
                <a:gd name="T5" fmla="*/ 13 h 25"/>
                <a:gd name="T6" fmla="*/ 35 w 45"/>
                <a:gd name="T7" fmla="*/ 1 h 25"/>
                <a:gd name="T8" fmla="*/ 44 w 45"/>
                <a:gd name="T9" fmla="*/ 4 h 25"/>
                <a:gd name="T10" fmla="*/ 41 w 45"/>
                <a:gd name="T11" fmla="*/ 12 h 25"/>
                <a:gd name="T12" fmla="*/ 9 w 45"/>
                <a:gd name="T13" fmla="*/ 25 h 25"/>
                <a:gd name="T14" fmla="*/ 7 w 45"/>
                <a:gd name="T15" fmla="*/ 25 h 25"/>
                <a:gd name="T16" fmla="*/ 7 w 45"/>
                <a:gd name="T17" fmla="*/ 25 h 25"/>
                <a:gd name="T18" fmla="*/ 7 w 45"/>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5">
                  <a:moveTo>
                    <a:pt x="7" y="25"/>
                  </a:moveTo>
                  <a:cubicBezTo>
                    <a:pt x="4" y="25"/>
                    <a:pt x="2" y="24"/>
                    <a:pt x="1" y="21"/>
                  </a:cubicBezTo>
                  <a:cubicBezTo>
                    <a:pt x="0" y="17"/>
                    <a:pt x="2" y="14"/>
                    <a:pt x="6" y="13"/>
                  </a:cubicBezTo>
                  <a:cubicBezTo>
                    <a:pt x="17" y="10"/>
                    <a:pt x="28" y="5"/>
                    <a:pt x="35" y="1"/>
                  </a:cubicBezTo>
                  <a:cubicBezTo>
                    <a:pt x="38" y="0"/>
                    <a:pt x="42" y="1"/>
                    <a:pt x="44" y="4"/>
                  </a:cubicBezTo>
                  <a:cubicBezTo>
                    <a:pt x="45" y="7"/>
                    <a:pt x="44" y="11"/>
                    <a:pt x="41" y="12"/>
                  </a:cubicBezTo>
                  <a:cubicBezTo>
                    <a:pt x="33" y="16"/>
                    <a:pt x="21" y="22"/>
                    <a:pt x="9" y="25"/>
                  </a:cubicBezTo>
                  <a:cubicBezTo>
                    <a:pt x="8" y="25"/>
                    <a:pt x="8" y="25"/>
                    <a:pt x="7" y="25"/>
                  </a:cubicBezTo>
                  <a:close/>
                  <a:moveTo>
                    <a:pt x="7" y="25"/>
                  </a:moveTo>
                  <a:cubicBezTo>
                    <a:pt x="7" y="25"/>
                    <a:pt x="7" y="25"/>
                    <a:pt x="7"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9" name="Freeform 9">
              <a:extLst>
                <a:ext uri="{FF2B5EF4-FFF2-40B4-BE49-F238E27FC236}">
                  <a16:creationId xmlns:a16="http://schemas.microsoft.com/office/drawing/2014/main" id="{5ADCD0D8-0DBF-4F4B-8780-04110B357F87}"/>
                </a:ext>
              </a:extLst>
            </p:cNvPr>
            <p:cNvSpPr>
              <a:spLocks noEditPoints="1"/>
            </p:cNvSpPr>
            <p:nvPr/>
          </p:nvSpPr>
          <p:spPr bwMode="auto">
            <a:xfrm>
              <a:off x="1117600" y="4513263"/>
              <a:ext cx="290513" cy="182563"/>
            </a:xfrm>
            <a:custGeom>
              <a:avLst/>
              <a:gdLst>
                <a:gd name="T0" fmla="*/ 7 w 118"/>
                <a:gd name="T1" fmla="*/ 74 h 74"/>
                <a:gd name="T2" fmla="*/ 2 w 118"/>
                <a:gd name="T3" fmla="*/ 71 h 74"/>
                <a:gd name="T4" fmla="*/ 3 w 118"/>
                <a:gd name="T5" fmla="*/ 63 h 74"/>
                <a:gd name="T6" fmla="*/ 45 w 118"/>
                <a:gd name="T7" fmla="*/ 27 h 74"/>
                <a:gd name="T8" fmla="*/ 94 w 118"/>
                <a:gd name="T9" fmla="*/ 5 h 74"/>
                <a:gd name="T10" fmla="*/ 117 w 118"/>
                <a:gd name="T11" fmla="*/ 27 h 74"/>
                <a:gd name="T12" fmla="*/ 113 w 118"/>
                <a:gd name="T13" fmla="*/ 34 h 74"/>
                <a:gd name="T14" fmla="*/ 105 w 118"/>
                <a:gd name="T15" fmla="*/ 30 h 74"/>
                <a:gd name="T16" fmla="*/ 90 w 118"/>
                <a:gd name="T17" fmla="*/ 17 h 74"/>
                <a:gd name="T18" fmla="*/ 54 w 118"/>
                <a:gd name="T19" fmla="*/ 35 h 74"/>
                <a:gd name="T20" fmla="*/ 10 w 118"/>
                <a:gd name="T21" fmla="*/ 73 h 74"/>
                <a:gd name="T22" fmla="*/ 7 w 118"/>
                <a:gd name="T23" fmla="*/ 74 h 74"/>
                <a:gd name="T24" fmla="*/ 7 w 118"/>
                <a:gd name="T25" fmla="*/ 74 h 74"/>
                <a:gd name="T26" fmla="*/ 7 w 118"/>
                <a:gd name="T2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74">
                  <a:moveTo>
                    <a:pt x="7" y="74"/>
                  </a:moveTo>
                  <a:cubicBezTo>
                    <a:pt x="5" y="74"/>
                    <a:pt x="3" y="73"/>
                    <a:pt x="2" y="71"/>
                  </a:cubicBezTo>
                  <a:cubicBezTo>
                    <a:pt x="0" y="69"/>
                    <a:pt x="0" y="65"/>
                    <a:pt x="3" y="63"/>
                  </a:cubicBezTo>
                  <a:cubicBezTo>
                    <a:pt x="25" y="48"/>
                    <a:pt x="45" y="27"/>
                    <a:pt x="45" y="27"/>
                  </a:cubicBezTo>
                  <a:cubicBezTo>
                    <a:pt x="61" y="8"/>
                    <a:pt x="79" y="0"/>
                    <a:pt x="94" y="5"/>
                  </a:cubicBezTo>
                  <a:cubicBezTo>
                    <a:pt x="109" y="9"/>
                    <a:pt x="115" y="19"/>
                    <a:pt x="117" y="27"/>
                  </a:cubicBezTo>
                  <a:cubicBezTo>
                    <a:pt x="118" y="30"/>
                    <a:pt x="116" y="33"/>
                    <a:pt x="113" y="34"/>
                  </a:cubicBezTo>
                  <a:cubicBezTo>
                    <a:pt x="110" y="35"/>
                    <a:pt x="106" y="34"/>
                    <a:pt x="105" y="30"/>
                  </a:cubicBezTo>
                  <a:cubicBezTo>
                    <a:pt x="103" y="24"/>
                    <a:pt x="98" y="19"/>
                    <a:pt x="90" y="17"/>
                  </a:cubicBezTo>
                  <a:cubicBezTo>
                    <a:pt x="79" y="13"/>
                    <a:pt x="64" y="24"/>
                    <a:pt x="54" y="35"/>
                  </a:cubicBezTo>
                  <a:cubicBezTo>
                    <a:pt x="52" y="38"/>
                    <a:pt x="32" y="58"/>
                    <a:pt x="10" y="73"/>
                  </a:cubicBezTo>
                  <a:cubicBezTo>
                    <a:pt x="9" y="74"/>
                    <a:pt x="8" y="74"/>
                    <a:pt x="7" y="74"/>
                  </a:cubicBezTo>
                  <a:close/>
                  <a:moveTo>
                    <a:pt x="7" y="74"/>
                  </a:moveTo>
                  <a:cubicBezTo>
                    <a:pt x="7" y="74"/>
                    <a:pt x="7" y="74"/>
                    <a:pt x="7"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0" name="Freeform 10">
              <a:extLst>
                <a:ext uri="{FF2B5EF4-FFF2-40B4-BE49-F238E27FC236}">
                  <a16:creationId xmlns:a16="http://schemas.microsoft.com/office/drawing/2014/main" id="{3DE2469E-F928-417E-AACE-85B95035CDCA}"/>
                </a:ext>
              </a:extLst>
            </p:cNvPr>
            <p:cNvSpPr>
              <a:spLocks noEditPoints="1"/>
            </p:cNvSpPr>
            <p:nvPr/>
          </p:nvSpPr>
          <p:spPr bwMode="auto">
            <a:xfrm>
              <a:off x="1033463" y="4627563"/>
              <a:ext cx="369888" cy="279400"/>
            </a:xfrm>
            <a:custGeom>
              <a:avLst/>
              <a:gdLst>
                <a:gd name="T0" fmla="*/ 7 w 150"/>
                <a:gd name="T1" fmla="*/ 114 h 114"/>
                <a:gd name="T2" fmla="*/ 1 w 150"/>
                <a:gd name="T3" fmla="*/ 110 h 114"/>
                <a:gd name="T4" fmla="*/ 4 w 150"/>
                <a:gd name="T5" fmla="*/ 102 h 114"/>
                <a:gd name="T6" fmla="*/ 82 w 150"/>
                <a:gd name="T7" fmla="*/ 58 h 114"/>
                <a:gd name="T8" fmla="*/ 138 w 150"/>
                <a:gd name="T9" fmla="*/ 5 h 114"/>
                <a:gd name="T10" fmla="*/ 146 w 150"/>
                <a:gd name="T11" fmla="*/ 1 h 114"/>
                <a:gd name="T12" fmla="*/ 149 w 150"/>
                <a:gd name="T13" fmla="*/ 9 h 114"/>
                <a:gd name="T14" fmla="*/ 89 w 150"/>
                <a:gd name="T15" fmla="*/ 69 h 114"/>
                <a:gd name="T16" fmla="*/ 9 w 150"/>
                <a:gd name="T17" fmla="*/ 113 h 114"/>
                <a:gd name="T18" fmla="*/ 7 w 150"/>
                <a:gd name="T19" fmla="*/ 114 h 114"/>
                <a:gd name="T20" fmla="*/ 7 w 150"/>
                <a:gd name="T21" fmla="*/ 114 h 114"/>
                <a:gd name="T22" fmla="*/ 7 w 150"/>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114">
                  <a:moveTo>
                    <a:pt x="7" y="114"/>
                  </a:moveTo>
                  <a:cubicBezTo>
                    <a:pt x="4" y="114"/>
                    <a:pt x="2" y="113"/>
                    <a:pt x="1" y="110"/>
                  </a:cubicBezTo>
                  <a:cubicBezTo>
                    <a:pt x="0" y="107"/>
                    <a:pt x="1" y="103"/>
                    <a:pt x="4" y="102"/>
                  </a:cubicBezTo>
                  <a:cubicBezTo>
                    <a:pt x="31" y="91"/>
                    <a:pt x="68" y="68"/>
                    <a:pt x="82" y="58"/>
                  </a:cubicBezTo>
                  <a:cubicBezTo>
                    <a:pt x="112" y="39"/>
                    <a:pt x="131" y="20"/>
                    <a:pt x="138" y="5"/>
                  </a:cubicBezTo>
                  <a:cubicBezTo>
                    <a:pt x="139" y="2"/>
                    <a:pt x="143" y="0"/>
                    <a:pt x="146" y="1"/>
                  </a:cubicBezTo>
                  <a:cubicBezTo>
                    <a:pt x="149" y="3"/>
                    <a:pt x="150" y="6"/>
                    <a:pt x="149" y="9"/>
                  </a:cubicBezTo>
                  <a:cubicBezTo>
                    <a:pt x="140" y="33"/>
                    <a:pt x="111" y="54"/>
                    <a:pt x="89" y="69"/>
                  </a:cubicBezTo>
                  <a:cubicBezTo>
                    <a:pt x="74" y="78"/>
                    <a:pt x="36" y="102"/>
                    <a:pt x="9" y="113"/>
                  </a:cubicBezTo>
                  <a:cubicBezTo>
                    <a:pt x="8" y="114"/>
                    <a:pt x="8" y="114"/>
                    <a:pt x="7" y="114"/>
                  </a:cubicBezTo>
                  <a:close/>
                  <a:moveTo>
                    <a:pt x="7" y="114"/>
                  </a:moveTo>
                  <a:cubicBezTo>
                    <a:pt x="7" y="114"/>
                    <a:pt x="7" y="114"/>
                    <a:pt x="7" y="1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1" name="Freeform 11">
              <a:extLst>
                <a:ext uri="{FF2B5EF4-FFF2-40B4-BE49-F238E27FC236}">
                  <a16:creationId xmlns:a16="http://schemas.microsoft.com/office/drawing/2014/main" id="{FD280802-CABC-4CAA-AB23-F3190937FA86}"/>
                </a:ext>
              </a:extLst>
            </p:cNvPr>
            <p:cNvSpPr>
              <a:spLocks noEditPoints="1"/>
            </p:cNvSpPr>
            <p:nvPr/>
          </p:nvSpPr>
          <p:spPr bwMode="auto">
            <a:xfrm>
              <a:off x="1155700" y="4454525"/>
              <a:ext cx="153988" cy="101600"/>
            </a:xfrm>
            <a:custGeom>
              <a:avLst/>
              <a:gdLst>
                <a:gd name="T0" fmla="*/ 15 w 62"/>
                <a:gd name="T1" fmla="*/ 35 h 41"/>
                <a:gd name="T2" fmla="*/ 33 w 62"/>
                <a:gd name="T3" fmla="*/ 21 h 41"/>
                <a:gd name="T4" fmla="*/ 56 w 62"/>
                <a:gd name="T5" fmla="*/ 13 h 41"/>
                <a:gd name="T6" fmla="*/ 62 w 62"/>
                <a:gd name="T7" fmla="*/ 7 h 41"/>
                <a:gd name="T8" fmla="*/ 56 w 62"/>
                <a:gd name="T9" fmla="*/ 0 h 41"/>
                <a:gd name="T10" fmla="*/ 6 w 62"/>
                <a:gd name="T11" fmla="*/ 26 h 41"/>
                <a:gd name="T12" fmla="*/ 15 w 62"/>
                <a:gd name="T13" fmla="*/ 35 h 41"/>
                <a:gd name="T14" fmla="*/ 15 w 62"/>
                <a:gd name="T15" fmla="*/ 35 h 41"/>
                <a:gd name="T16" fmla="*/ 15 w 62"/>
                <a:gd name="T1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1">
                  <a:moveTo>
                    <a:pt x="15" y="35"/>
                  </a:moveTo>
                  <a:cubicBezTo>
                    <a:pt x="20" y="30"/>
                    <a:pt x="26" y="25"/>
                    <a:pt x="33" y="21"/>
                  </a:cubicBezTo>
                  <a:cubicBezTo>
                    <a:pt x="40" y="17"/>
                    <a:pt x="48" y="14"/>
                    <a:pt x="56" y="13"/>
                  </a:cubicBezTo>
                  <a:cubicBezTo>
                    <a:pt x="59" y="13"/>
                    <a:pt x="62" y="10"/>
                    <a:pt x="62" y="7"/>
                  </a:cubicBezTo>
                  <a:cubicBezTo>
                    <a:pt x="62" y="4"/>
                    <a:pt x="59" y="0"/>
                    <a:pt x="56" y="0"/>
                  </a:cubicBezTo>
                  <a:cubicBezTo>
                    <a:pt x="36" y="3"/>
                    <a:pt x="20" y="13"/>
                    <a:pt x="6" y="26"/>
                  </a:cubicBezTo>
                  <a:cubicBezTo>
                    <a:pt x="0" y="32"/>
                    <a:pt x="9" y="41"/>
                    <a:pt x="15" y="35"/>
                  </a:cubicBezTo>
                  <a:close/>
                  <a:moveTo>
                    <a:pt x="15" y="35"/>
                  </a:moveTo>
                  <a:cubicBezTo>
                    <a:pt x="15" y="35"/>
                    <a:pt x="15" y="35"/>
                    <a:pt x="15"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2" name="Freeform 12">
              <a:extLst>
                <a:ext uri="{FF2B5EF4-FFF2-40B4-BE49-F238E27FC236}">
                  <a16:creationId xmlns:a16="http://schemas.microsoft.com/office/drawing/2014/main" id="{3CE609D2-8AA9-4BB5-9F2E-B111BB376CD0}"/>
                </a:ext>
              </a:extLst>
            </p:cNvPr>
            <p:cNvSpPr>
              <a:spLocks noEditPoints="1"/>
            </p:cNvSpPr>
            <p:nvPr/>
          </p:nvSpPr>
          <p:spPr bwMode="auto">
            <a:xfrm>
              <a:off x="1011238" y="4560888"/>
              <a:ext cx="144463" cy="107950"/>
            </a:xfrm>
            <a:custGeom>
              <a:avLst/>
              <a:gdLst>
                <a:gd name="T0" fmla="*/ 8 w 59"/>
                <a:gd name="T1" fmla="*/ 43 h 44"/>
                <a:gd name="T2" fmla="*/ 32 w 59"/>
                <a:gd name="T3" fmla="*/ 32 h 44"/>
                <a:gd name="T4" fmla="*/ 54 w 59"/>
                <a:gd name="T5" fmla="*/ 14 h 44"/>
                <a:gd name="T6" fmla="*/ 45 w 59"/>
                <a:gd name="T7" fmla="*/ 6 h 44"/>
                <a:gd name="T8" fmla="*/ 26 w 59"/>
                <a:gd name="T9" fmla="*/ 21 h 44"/>
                <a:gd name="T10" fmla="*/ 5 w 59"/>
                <a:gd name="T11" fmla="*/ 31 h 44"/>
                <a:gd name="T12" fmla="*/ 1 w 59"/>
                <a:gd name="T13" fmla="*/ 39 h 44"/>
                <a:gd name="T14" fmla="*/ 8 w 59"/>
                <a:gd name="T15" fmla="*/ 43 h 44"/>
                <a:gd name="T16" fmla="*/ 8 w 59"/>
                <a:gd name="T17" fmla="*/ 43 h 44"/>
                <a:gd name="T18" fmla="*/ 8 w 59"/>
                <a:gd name="T19"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4">
                  <a:moveTo>
                    <a:pt x="8" y="43"/>
                  </a:moveTo>
                  <a:cubicBezTo>
                    <a:pt x="17" y="41"/>
                    <a:pt x="24" y="36"/>
                    <a:pt x="32" y="32"/>
                  </a:cubicBezTo>
                  <a:cubicBezTo>
                    <a:pt x="40" y="28"/>
                    <a:pt x="47" y="21"/>
                    <a:pt x="54" y="14"/>
                  </a:cubicBezTo>
                  <a:cubicBezTo>
                    <a:pt x="59" y="9"/>
                    <a:pt x="50" y="0"/>
                    <a:pt x="45" y="6"/>
                  </a:cubicBezTo>
                  <a:cubicBezTo>
                    <a:pt x="39" y="12"/>
                    <a:pt x="33" y="17"/>
                    <a:pt x="26" y="21"/>
                  </a:cubicBezTo>
                  <a:cubicBezTo>
                    <a:pt x="19" y="25"/>
                    <a:pt x="12" y="29"/>
                    <a:pt x="5" y="31"/>
                  </a:cubicBezTo>
                  <a:cubicBezTo>
                    <a:pt x="2" y="32"/>
                    <a:pt x="0" y="36"/>
                    <a:pt x="1" y="39"/>
                  </a:cubicBezTo>
                  <a:cubicBezTo>
                    <a:pt x="1" y="42"/>
                    <a:pt x="5" y="44"/>
                    <a:pt x="8" y="43"/>
                  </a:cubicBezTo>
                  <a:close/>
                  <a:moveTo>
                    <a:pt x="8" y="43"/>
                  </a:moveTo>
                  <a:cubicBezTo>
                    <a:pt x="8" y="43"/>
                    <a:pt x="8" y="43"/>
                    <a:pt x="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3" name="Freeform 13">
              <a:extLst>
                <a:ext uri="{FF2B5EF4-FFF2-40B4-BE49-F238E27FC236}">
                  <a16:creationId xmlns:a16="http://schemas.microsoft.com/office/drawing/2014/main" id="{E249284B-4297-4BD8-B9F3-F10F9E82202A}"/>
                </a:ext>
              </a:extLst>
            </p:cNvPr>
            <p:cNvSpPr>
              <a:spLocks noEditPoints="1"/>
            </p:cNvSpPr>
            <p:nvPr/>
          </p:nvSpPr>
          <p:spPr bwMode="auto">
            <a:xfrm>
              <a:off x="1235075" y="4592638"/>
              <a:ext cx="103188" cy="107950"/>
            </a:xfrm>
            <a:custGeom>
              <a:avLst/>
              <a:gdLst>
                <a:gd name="T0" fmla="*/ 7 w 42"/>
                <a:gd name="T1" fmla="*/ 44 h 44"/>
                <a:gd name="T2" fmla="*/ 3 w 42"/>
                <a:gd name="T3" fmla="*/ 42 h 44"/>
                <a:gd name="T4" fmla="*/ 3 w 42"/>
                <a:gd name="T5" fmla="*/ 33 h 44"/>
                <a:gd name="T6" fmla="*/ 30 w 42"/>
                <a:gd name="T7" fmla="*/ 4 h 44"/>
                <a:gd name="T8" fmla="*/ 39 w 42"/>
                <a:gd name="T9" fmla="*/ 2 h 44"/>
                <a:gd name="T10" fmla="*/ 40 w 42"/>
                <a:gd name="T11" fmla="*/ 11 h 44"/>
                <a:gd name="T12" fmla="*/ 11 w 42"/>
                <a:gd name="T13" fmla="*/ 43 h 44"/>
                <a:gd name="T14" fmla="*/ 7 w 42"/>
                <a:gd name="T15" fmla="*/ 44 h 44"/>
                <a:gd name="T16" fmla="*/ 7 w 42"/>
                <a:gd name="T17" fmla="*/ 44 h 44"/>
                <a:gd name="T18" fmla="*/ 7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7" y="44"/>
                  </a:moveTo>
                  <a:cubicBezTo>
                    <a:pt x="6" y="44"/>
                    <a:pt x="4" y="44"/>
                    <a:pt x="3" y="42"/>
                  </a:cubicBezTo>
                  <a:cubicBezTo>
                    <a:pt x="0" y="40"/>
                    <a:pt x="1" y="36"/>
                    <a:pt x="3" y="33"/>
                  </a:cubicBezTo>
                  <a:cubicBezTo>
                    <a:pt x="14" y="24"/>
                    <a:pt x="23" y="14"/>
                    <a:pt x="30" y="4"/>
                  </a:cubicBezTo>
                  <a:cubicBezTo>
                    <a:pt x="32" y="1"/>
                    <a:pt x="36" y="0"/>
                    <a:pt x="39" y="2"/>
                  </a:cubicBezTo>
                  <a:cubicBezTo>
                    <a:pt x="42" y="4"/>
                    <a:pt x="42" y="8"/>
                    <a:pt x="40" y="11"/>
                  </a:cubicBezTo>
                  <a:cubicBezTo>
                    <a:pt x="33" y="22"/>
                    <a:pt x="23" y="33"/>
                    <a:pt x="11" y="43"/>
                  </a:cubicBezTo>
                  <a:cubicBezTo>
                    <a:pt x="10" y="44"/>
                    <a:pt x="9" y="44"/>
                    <a:pt x="7" y="44"/>
                  </a:cubicBezTo>
                  <a:close/>
                  <a:moveTo>
                    <a:pt x="7" y="44"/>
                  </a:moveTo>
                  <a:cubicBezTo>
                    <a:pt x="7" y="44"/>
                    <a:pt x="7" y="44"/>
                    <a:pt x="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4" name="Freeform 14">
              <a:extLst>
                <a:ext uri="{FF2B5EF4-FFF2-40B4-BE49-F238E27FC236}">
                  <a16:creationId xmlns:a16="http://schemas.microsoft.com/office/drawing/2014/main" id="{392D30AD-CD5F-4EBE-A66B-1047779E1A4B}"/>
                </a:ext>
              </a:extLst>
            </p:cNvPr>
            <p:cNvSpPr>
              <a:spLocks noEditPoints="1"/>
            </p:cNvSpPr>
            <p:nvPr/>
          </p:nvSpPr>
          <p:spPr bwMode="auto">
            <a:xfrm>
              <a:off x="1012825" y="4719638"/>
              <a:ext cx="190500" cy="107950"/>
            </a:xfrm>
            <a:custGeom>
              <a:avLst/>
              <a:gdLst>
                <a:gd name="T0" fmla="*/ 7 w 77"/>
                <a:gd name="T1" fmla="*/ 44 h 44"/>
                <a:gd name="T2" fmla="*/ 1 w 77"/>
                <a:gd name="T3" fmla="*/ 40 h 44"/>
                <a:gd name="T4" fmla="*/ 5 w 77"/>
                <a:gd name="T5" fmla="*/ 32 h 44"/>
                <a:gd name="T6" fmla="*/ 5 w 77"/>
                <a:gd name="T7" fmla="*/ 32 h 44"/>
                <a:gd name="T8" fmla="*/ 47 w 77"/>
                <a:gd name="T9" fmla="*/ 13 h 44"/>
                <a:gd name="T10" fmla="*/ 67 w 77"/>
                <a:gd name="T11" fmla="*/ 1 h 44"/>
                <a:gd name="T12" fmla="*/ 75 w 77"/>
                <a:gd name="T13" fmla="*/ 3 h 44"/>
                <a:gd name="T14" fmla="*/ 74 w 77"/>
                <a:gd name="T15" fmla="*/ 12 h 44"/>
                <a:gd name="T16" fmla="*/ 53 w 77"/>
                <a:gd name="T17" fmla="*/ 24 h 44"/>
                <a:gd name="T18" fmla="*/ 9 w 77"/>
                <a:gd name="T19" fmla="*/ 44 h 44"/>
                <a:gd name="T20" fmla="*/ 9 w 77"/>
                <a:gd name="T21" fmla="*/ 44 h 44"/>
                <a:gd name="T22" fmla="*/ 7 w 77"/>
                <a:gd name="T23" fmla="*/ 44 h 44"/>
                <a:gd name="T24" fmla="*/ 7 w 77"/>
                <a:gd name="T25" fmla="*/ 44 h 44"/>
                <a:gd name="T26" fmla="*/ 7 w 77"/>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44">
                  <a:moveTo>
                    <a:pt x="7" y="44"/>
                  </a:moveTo>
                  <a:cubicBezTo>
                    <a:pt x="4" y="44"/>
                    <a:pt x="2" y="43"/>
                    <a:pt x="1" y="40"/>
                  </a:cubicBezTo>
                  <a:cubicBezTo>
                    <a:pt x="0" y="37"/>
                    <a:pt x="2" y="33"/>
                    <a:pt x="5" y="32"/>
                  </a:cubicBezTo>
                  <a:cubicBezTo>
                    <a:pt x="5" y="32"/>
                    <a:pt x="5" y="32"/>
                    <a:pt x="5" y="32"/>
                  </a:cubicBezTo>
                  <a:cubicBezTo>
                    <a:pt x="11" y="30"/>
                    <a:pt x="28" y="24"/>
                    <a:pt x="47" y="13"/>
                  </a:cubicBezTo>
                  <a:cubicBezTo>
                    <a:pt x="54" y="9"/>
                    <a:pt x="61" y="5"/>
                    <a:pt x="67" y="1"/>
                  </a:cubicBezTo>
                  <a:cubicBezTo>
                    <a:pt x="70" y="0"/>
                    <a:pt x="73" y="0"/>
                    <a:pt x="75" y="3"/>
                  </a:cubicBezTo>
                  <a:cubicBezTo>
                    <a:pt x="77" y="6"/>
                    <a:pt x="76" y="10"/>
                    <a:pt x="74" y="12"/>
                  </a:cubicBezTo>
                  <a:cubicBezTo>
                    <a:pt x="67" y="16"/>
                    <a:pt x="60" y="20"/>
                    <a:pt x="53" y="24"/>
                  </a:cubicBezTo>
                  <a:cubicBezTo>
                    <a:pt x="33" y="35"/>
                    <a:pt x="16" y="41"/>
                    <a:pt x="9" y="44"/>
                  </a:cubicBezTo>
                  <a:cubicBezTo>
                    <a:pt x="9" y="44"/>
                    <a:pt x="9" y="44"/>
                    <a:pt x="9" y="44"/>
                  </a:cubicBezTo>
                  <a:cubicBezTo>
                    <a:pt x="8" y="44"/>
                    <a:pt x="8" y="44"/>
                    <a:pt x="7" y="44"/>
                  </a:cubicBezTo>
                  <a:close/>
                  <a:moveTo>
                    <a:pt x="7" y="44"/>
                  </a:moveTo>
                  <a:cubicBezTo>
                    <a:pt x="7" y="44"/>
                    <a:pt x="7" y="44"/>
                    <a:pt x="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5" name="Freeform 15">
              <a:extLst>
                <a:ext uri="{FF2B5EF4-FFF2-40B4-BE49-F238E27FC236}">
                  <a16:creationId xmlns:a16="http://schemas.microsoft.com/office/drawing/2014/main" id="{1E84ED70-F0A5-4E04-B2EB-E4D735CCB9BE}"/>
                </a:ext>
              </a:extLst>
            </p:cNvPr>
            <p:cNvSpPr>
              <a:spLocks noEditPoints="1"/>
            </p:cNvSpPr>
            <p:nvPr/>
          </p:nvSpPr>
          <p:spPr bwMode="auto">
            <a:xfrm>
              <a:off x="1203325" y="4826000"/>
              <a:ext cx="261938" cy="122238"/>
            </a:xfrm>
            <a:custGeom>
              <a:avLst/>
              <a:gdLst>
                <a:gd name="T0" fmla="*/ 99 w 106"/>
                <a:gd name="T1" fmla="*/ 50 h 50"/>
                <a:gd name="T2" fmla="*/ 97 w 106"/>
                <a:gd name="T3" fmla="*/ 49 h 50"/>
                <a:gd name="T4" fmla="*/ 64 w 106"/>
                <a:gd name="T5" fmla="*/ 30 h 50"/>
                <a:gd name="T6" fmla="*/ 36 w 106"/>
                <a:gd name="T7" fmla="*/ 14 h 50"/>
                <a:gd name="T8" fmla="*/ 10 w 106"/>
                <a:gd name="T9" fmla="*/ 29 h 50"/>
                <a:gd name="T10" fmla="*/ 1 w 106"/>
                <a:gd name="T11" fmla="*/ 27 h 50"/>
                <a:gd name="T12" fmla="*/ 3 w 106"/>
                <a:gd name="T13" fmla="*/ 18 h 50"/>
                <a:gd name="T14" fmla="*/ 34 w 106"/>
                <a:gd name="T15" fmla="*/ 2 h 50"/>
                <a:gd name="T16" fmla="*/ 71 w 106"/>
                <a:gd name="T17" fmla="*/ 20 h 50"/>
                <a:gd name="T18" fmla="*/ 101 w 106"/>
                <a:gd name="T19" fmla="*/ 37 h 50"/>
                <a:gd name="T20" fmla="*/ 105 w 106"/>
                <a:gd name="T21" fmla="*/ 45 h 50"/>
                <a:gd name="T22" fmla="*/ 99 w 106"/>
                <a:gd name="T23" fmla="*/ 50 h 50"/>
                <a:gd name="T24" fmla="*/ 99 w 106"/>
                <a:gd name="T25" fmla="*/ 50 h 50"/>
                <a:gd name="T26" fmla="*/ 99 w 106"/>
                <a:gd name="T2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50">
                  <a:moveTo>
                    <a:pt x="99" y="50"/>
                  </a:moveTo>
                  <a:cubicBezTo>
                    <a:pt x="98" y="50"/>
                    <a:pt x="97" y="49"/>
                    <a:pt x="97" y="49"/>
                  </a:cubicBezTo>
                  <a:cubicBezTo>
                    <a:pt x="86" y="46"/>
                    <a:pt x="75" y="38"/>
                    <a:pt x="64" y="30"/>
                  </a:cubicBezTo>
                  <a:cubicBezTo>
                    <a:pt x="54" y="23"/>
                    <a:pt x="41" y="13"/>
                    <a:pt x="36" y="14"/>
                  </a:cubicBezTo>
                  <a:cubicBezTo>
                    <a:pt x="31" y="15"/>
                    <a:pt x="15" y="25"/>
                    <a:pt x="10" y="29"/>
                  </a:cubicBezTo>
                  <a:cubicBezTo>
                    <a:pt x="7" y="30"/>
                    <a:pt x="3" y="30"/>
                    <a:pt x="1" y="27"/>
                  </a:cubicBezTo>
                  <a:cubicBezTo>
                    <a:pt x="0" y="24"/>
                    <a:pt x="0" y="20"/>
                    <a:pt x="3" y="18"/>
                  </a:cubicBezTo>
                  <a:cubicBezTo>
                    <a:pt x="20" y="8"/>
                    <a:pt x="28" y="3"/>
                    <a:pt x="34" y="2"/>
                  </a:cubicBezTo>
                  <a:cubicBezTo>
                    <a:pt x="44" y="0"/>
                    <a:pt x="57" y="9"/>
                    <a:pt x="71" y="20"/>
                  </a:cubicBezTo>
                  <a:cubicBezTo>
                    <a:pt x="82" y="27"/>
                    <a:pt x="92" y="35"/>
                    <a:pt x="101" y="37"/>
                  </a:cubicBezTo>
                  <a:cubicBezTo>
                    <a:pt x="104" y="39"/>
                    <a:pt x="106" y="42"/>
                    <a:pt x="105" y="45"/>
                  </a:cubicBezTo>
                  <a:cubicBezTo>
                    <a:pt x="104" y="48"/>
                    <a:pt x="101" y="50"/>
                    <a:pt x="99" y="50"/>
                  </a:cubicBezTo>
                  <a:close/>
                  <a:moveTo>
                    <a:pt x="99" y="50"/>
                  </a:moveTo>
                  <a:cubicBezTo>
                    <a:pt x="99" y="50"/>
                    <a:pt x="99" y="50"/>
                    <a:pt x="99"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6" name="Freeform 16">
              <a:extLst>
                <a:ext uri="{FF2B5EF4-FFF2-40B4-BE49-F238E27FC236}">
                  <a16:creationId xmlns:a16="http://schemas.microsoft.com/office/drawing/2014/main" id="{FB183058-D96F-4522-B60D-A5EF76319B0C}"/>
                </a:ext>
              </a:extLst>
            </p:cNvPr>
            <p:cNvSpPr>
              <a:spLocks noEditPoints="1"/>
            </p:cNvSpPr>
            <p:nvPr/>
          </p:nvSpPr>
          <p:spPr bwMode="auto">
            <a:xfrm>
              <a:off x="1066800" y="4886325"/>
              <a:ext cx="138113" cy="92075"/>
            </a:xfrm>
            <a:custGeom>
              <a:avLst/>
              <a:gdLst>
                <a:gd name="T0" fmla="*/ 7 w 56"/>
                <a:gd name="T1" fmla="*/ 37 h 37"/>
                <a:gd name="T2" fmla="*/ 1 w 56"/>
                <a:gd name="T3" fmla="*/ 33 h 37"/>
                <a:gd name="T4" fmla="*/ 5 w 56"/>
                <a:gd name="T5" fmla="*/ 25 h 37"/>
                <a:gd name="T6" fmla="*/ 45 w 56"/>
                <a:gd name="T7" fmla="*/ 2 h 37"/>
                <a:gd name="T8" fmla="*/ 54 w 56"/>
                <a:gd name="T9" fmla="*/ 4 h 37"/>
                <a:gd name="T10" fmla="*/ 52 w 56"/>
                <a:gd name="T11" fmla="*/ 12 h 37"/>
                <a:gd name="T12" fmla="*/ 9 w 56"/>
                <a:gd name="T13" fmla="*/ 37 h 37"/>
                <a:gd name="T14" fmla="*/ 7 w 56"/>
                <a:gd name="T15" fmla="*/ 37 h 37"/>
                <a:gd name="T16" fmla="*/ 7 w 56"/>
                <a:gd name="T17" fmla="*/ 37 h 37"/>
                <a:gd name="T18" fmla="*/ 7 w 56"/>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7">
                  <a:moveTo>
                    <a:pt x="7" y="37"/>
                  </a:moveTo>
                  <a:cubicBezTo>
                    <a:pt x="4" y="37"/>
                    <a:pt x="2" y="35"/>
                    <a:pt x="1" y="33"/>
                  </a:cubicBezTo>
                  <a:cubicBezTo>
                    <a:pt x="0" y="29"/>
                    <a:pt x="2" y="26"/>
                    <a:pt x="5" y="25"/>
                  </a:cubicBezTo>
                  <a:cubicBezTo>
                    <a:pt x="13" y="23"/>
                    <a:pt x="31" y="11"/>
                    <a:pt x="45" y="2"/>
                  </a:cubicBezTo>
                  <a:cubicBezTo>
                    <a:pt x="48" y="0"/>
                    <a:pt x="52" y="1"/>
                    <a:pt x="54" y="4"/>
                  </a:cubicBezTo>
                  <a:cubicBezTo>
                    <a:pt x="56" y="6"/>
                    <a:pt x="55" y="10"/>
                    <a:pt x="52" y="12"/>
                  </a:cubicBezTo>
                  <a:cubicBezTo>
                    <a:pt x="32" y="25"/>
                    <a:pt x="17" y="35"/>
                    <a:pt x="9" y="37"/>
                  </a:cubicBezTo>
                  <a:cubicBezTo>
                    <a:pt x="8" y="37"/>
                    <a:pt x="7" y="37"/>
                    <a:pt x="7" y="37"/>
                  </a:cubicBezTo>
                  <a:close/>
                  <a:moveTo>
                    <a:pt x="7" y="37"/>
                  </a:moveTo>
                  <a:cubicBezTo>
                    <a:pt x="7" y="37"/>
                    <a:pt x="7" y="37"/>
                    <a:pt x="7"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7" name="Freeform 17">
              <a:extLst>
                <a:ext uri="{FF2B5EF4-FFF2-40B4-BE49-F238E27FC236}">
                  <a16:creationId xmlns:a16="http://schemas.microsoft.com/office/drawing/2014/main" id="{2DCF6291-BF5B-42BD-BD27-D6FB4B236924}"/>
                </a:ext>
              </a:extLst>
            </p:cNvPr>
            <p:cNvSpPr>
              <a:spLocks noEditPoints="1"/>
            </p:cNvSpPr>
            <p:nvPr/>
          </p:nvSpPr>
          <p:spPr bwMode="auto">
            <a:xfrm>
              <a:off x="1349375" y="4967288"/>
              <a:ext cx="76200" cy="55563"/>
            </a:xfrm>
            <a:custGeom>
              <a:avLst/>
              <a:gdLst>
                <a:gd name="T0" fmla="*/ 24 w 31"/>
                <a:gd name="T1" fmla="*/ 22 h 22"/>
                <a:gd name="T2" fmla="*/ 22 w 31"/>
                <a:gd name="T3" fmla="*/ 21 h 22"/>
                <a:gd name="T4" fmla="*/ 4 w 31"/>
                <a:gd name="T5" fmla="*/ 12 h 22"/>
                <a:gd name="T6" fmla="*/ 2 w 31"/>
                <a:gd name="T7" fmla="*/ 4 h 22"/>
                <a:gd name="T8" fmla="*/ 11 w 31"/>
                <a:gd name="T9" fmla="*/ 1 h 22"/>
                <a:gd name="T10" fmla="*/ 26 w 31"/>
                <a:gd name="T11" fmla="*/ 10 h 22"/>
                <a:gd name="T12" fmla="*/ 30 w 31"/>
                <a:gd name="T13" fmla="*/ 18 h 22"/>
                <a:gd name="T14" fmla="*/ 24 w 31"/>
                <a:gd name="T15" fmla="*/ 22 h 22"/>
                <a:gd name="T16" fmla="*/ 24 w 31"/>
                <a:gd name="T17" fmla="*/ 22 h 22"/>
                <a:gd name="T18" fmla="*/ 24 w 31"/>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2">
                  <a:moveTo>
                    <a:pt x="24" y="22"/>
                  </a:moveTo>
                  <a:cubicBezTo>
                    <a:pt x="23" y="22"/>
                    <a:pt x="23" y="22"/>
                    <a:pt x="22" y="21"/>
                  </a:cubicBezTo>
                  <a:cubicBezTo>
                    <a:pt x="17" y="20"/>
                    <a:pt x="10" y="16"/>
                    <a:pt x="4" y="12"/>
                  </a:cubicBezTo>
                  <a:cubicBezTo>
                    <a:pt x="1" y="10"/>
                    <a:pt x="0" y="6"/>
                    <a:pt x="2" y="4"/>
                  </a:cubicBezTo>
                  <a:cubicBezTo>
                    <a:pt x="4" y="1"/>
                    <a:pt x="8" y="0"/>
                    <a:pt x="11" y="1"/>
                  </a:cubicBezTo>
                  <a:cubicBezTo>
                    <a:pt x="16" y="5"/>
                    <a:pt x="22" y="8"/>
                    <a:pt x="26" y="10"/>
                  </a:cubicBezTo>
                  <a:cubicBezTo>
                    <a:pt x="29" y="11"/>
                    <a:pt x="31" y="15"/>
                    <a:pt x="30" y="18"/>
                  </a:cubicBezTo>
                  <a:cubicBezTo>
                    <a:pt x="29" y="20"/>
                    <a:pt x="27" y="22"/>
                    <a:pt x="24" y="22"/>
                  </a:cubicBezTo>
                  <a:close/>
                  <a:moveTo>
                    <a:pt x="24" y="22"/>
                  </a:moveTo>
                  <a:cubicBezTo>
                    <a:pt x="24" y="22"/>
                    <a:pt x="24" y="22"/>
                    <a:pt x="2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8" name="Freeform 18">
              <a:extLst>
                <a:ext uri="{FF2B5EF4-FFF2-40B4-BE49-F238E27FC236}">
                  <a16:creationId xmlns:a16="http://schemas.microsoft.com/office/drawing/2014/main" id="{1C3985D6-D972-4AF4-80A9-039A0FBF00E6}"/>
                </a:ext>
              </a:extLst>
            </p:cNvPr>
            <p:cNvSpPr>
              <a:spLocks noEditPoints="1"/>
            </p:cNvSpPr>
            <p:nvPr/>
          </p:nvSpPr>
          <p:spPr bwMode="auto">
            <a:xfrm>
              <a:off x="1122363" y="4924425"/>
              <a:ext cx="227013" cy="122238"/>
            </a:xfrm>
            <a:custGeom>
              <a:avLst/>
              <a:gdLst>
                <a:gd name="T0" fmla="*/ 7 w 92"/>
                <a:gd name="T1" fmla="*/ 50 h 50"/>
                <a:gd name="T2" fmla="*/ 2 w 92"/>
                <a:gd name="T3" fmla="*/ 47 h 50"/>
                <a:gd name="T4" fmla="*/ 4 w 92"/>
                <a:gd name="T5" fmla="*/ 39 h 50"/>
                <a:gd name="T6" fmla="*/ 12 w 92"/>
                <a:gd name="T7" fmla="*/ 33 h 50"/>
                <a:gd name="T8" fmla="*/ 63 w 92"/>
                <a:gd name="T9" fmla="*/ 1 h 50"/>
                <a:gd name="T10" fmla="*/ 88 w 92"/>
                <a:gd name="T11" fmla="*/ 10 h 50"/>
                <a:gd name="T12" fmla="*/ 90 w 92"/>
                <a:gd name="T13" fmla="*/ 19 h 50"/>
                <a:gd name="T14" fmla="*/ 81 w 92"/>
                <a:gd name="T15" fmla="*/ 21 h 50"/>
                <a:gd name="T16" fmla="*/ 65 w 92"/>
                <a:gd name="T17" fmla="*/ 13 h 50"/>
                <a:gd name="T18" fmla="*/ 19 w 92"/>
                <a:gd name="T19" fmla="*/ 43 h 50"/>
                <a:gd name="T20" fmla="*/ 11 w 92"/>
                <a:gd name="T21" fmla="*/ 49 h 50"/>
                <a:gd name="T22" fmla="*/ 7 w 92"/>
                <a:gd name="T23" fmla="*/ 50 h 50"/>
                <a:gd name="T24" fmla="*/ 7 w 92"/>
                <a:gd name="T25" fmla="*/ 50 h 50"/>
                <a:gd name="T26" fmla="*/ 7 w 92"/>
                <a:gd name="T2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50">
                  <a:moveTo>
                    <a:pt x="7" y="50"/>
                  </a:moveTo>
                  <a:cubicBezTo>
                    <a:pt x="5" y="50"/>
                    <a:pt x="3" y="49"/>
                    <a:pt x="2" y="47"/>
                  </a:cubicBezTo>
                  <a:cubicBezTo>
                    <a:pt x="0" y="45"/>
                    <a:pt x="1" y="41"/>
                    <a:pt x="4" y="39"/>
                  </a:cubicBezTo>
                  <a:cubicBezTo>
                    <a:pt x="6" y="37"/>
                    <a:pt x="9" y="35"/>
                    <a:pt x="12" y="33"/>
                  </a:cubicBezTo>
                  <a:cubicBezTo>
                    <a:pt x="39" y="13"/>
                    <a:pt x="55" y="2"/>
                    <a:pt x="63" y="1"/>
                  </a:cubicBezTo>
                  <a:cubicBezTo>
                    <a:pt x="68" y="0"/>
                    <a:pt x="75" y="3"/>
                    <a:pt x="88" y="10"/>
                  </a:cubicBezTo>
                  <a:cubicBezTo>
                    <a:pt x="91" y="12"/>
                    <a:pt x="92" y="16"/>
                    <a:pt x="90" y="19"/>
                  </a:cubicBezTo>
                  <a:cubicBezTo>
                    <a:pt x="88" y="22"/>
                    <a:pt x="84" y="23"/>
                    <a:pt x="81" y="21"/>
                  </a:cubicBezTo>
                  <a:cubicBezTo>
                    <a:pt x="69" y="14"/>
                    <a:pt x="66" y="13"/>
                    <a:pt x="65" y="13"/>
                  </a:cubicBezTo>
                  <a:cubicBezTo>
                    <a:pt x="58" y="14"/>
                    <a:pt x="30" y="35"/>
                    <a:pt x="19" y="43"/>
                  </a:cubicBezTo>
                  <a:cubicBezTo>
                    <a:pt x="16" y="45"/>
                    <a:pt x="13" y="48"/>
                    <a:pt x="11" y="49"/>
                  </a:cubicBezTo>
                  <a:cubicBezTo>
                    <a:pt x="10" y="50"/>
                    <a:pt x="9" y="50"/>
                    <a:pt x="7" y="50"/>
                  </a:cubicBezTo>
                  <a:close/>
                  <a:moveTo>
                    <a:pt x="7" y="50"/>
                  </a:moveTo>
                  <a:cubicBezTo>
                    <a:pt x="7" y="50"/>
                    <a:pt x="7" y="50"/>
                    <a:pt x="7"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9" name="Freeform 19">
              <a:extLst>
                <a:ext uri="{FF2B5EF4-FFF2-40B4-BE49-F238E27FC236}">
                  <a16:creationId xmlns:a16="http://schemas.microsoft.com/office/drawing/2014/main" id="{2BEC47C9-E096-4B5F-9B7C-5F933C35A730}"/>
                </a:ext>
              </a:extLst>
            </p:cNvPr>
            <p:cNvSpPr>
              <a:spLocks noEditPoints="1"/>
            </p:cNvSpPr>
            <p:nvPr/>
          </p:nvSpPr>
          <p:spPr bwMode="auto">
            <a:xfrm>
              <a:off x="1182688" y="5016500"/>
              <a:ext cx="188913" cy="87313"/>
            </a:xfrm>
            <a:custGeom>
              <a:avLst/>
              <a:gdLst>
                <a:gd name="T0" fmla="*/ 7 w 76"/>
                <a:gd name="T1" fmla="*/ 35 h 35"/>
                <a:gd name="T2" fmla="*/ 3 w 76"/>
                <a:gd name="T3" fmla="*/ 33 h 35"/>
                <a:gd name="T4" fmla="*/ 3 w 76"/>
                <a:gd name="T5" fmla="*/ 25 h 35"/>
                <a:gd name="T6" fmla="*/ 34 w 76"/>
                <a:gd name="T7" fmla="*/ 2 h 35"/>
                <a:gd name="T8" fmla="*/ 63 w 76"/>
                <a:gd name="T9" fmla="*/ 14 h 35"/>
                <a:gd name="T10" fmla="*/ 72 w 76"/>
                <a:gd name="T11" fmla="*/ 21 h 35"/>
                <a:gd name="T12" fmla="*/ 74 w 76"/>
                <a:gd name="T13" fmla="*/ 29 h 35"/>
                <a:gd name="T14" fmla="*/ 66 w 76"/>
                <a:gd name="T15" fmla="*/ 31 h 35"/>
                <a:gd name="T16" fmla="*/ 55 w 76"/>
                <a:gd name="T17" fmla="*/ 24 h 35"/>
                <a:gd name="T18" fmla="*/ 36 w 76"/>
                <a:gd name="T19" fmla="*/ 14 h 35"/>
                <a:gd name="T20" fmla="*/ 11 w 76"/>
                <a:gd name="T21" fmla="*/ 33 h 35"/>
                <a:gd name="T22" fmla="*/ 7 w 76"/>
                <a:gd name="T23" fmla="*/ 35 h 35"/>
                <a:gd name="T24" fmla="*/ 7 w 76"/>
                <a:gd name="T25" fmla="*/ 35 h 35"/>
                <a:gd name="T26" fmla="*/ 7 w 76"/>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35">
                  <a:moveTo>
                    <a:pt x="7" y="35"/>
                  </a:moveTo>
                  <a:cubicBezTo>
                    <a:pt x="5" y="35"/>
                    <a:pt x="4" y="35"/>
                    <a:pt x="3" y="33"/>
                  </a:cubicBezTo>
                  <a:cubicBezTo>
                    <a:pt x="0" y="31"/>
                    <a:pt x="0" y="27"/>
                    <a:pt x="3" y="25"/>
                  </a:cubicBezTo>
                  <a:cubicBezTo>
                    <a:pt x="6" y="21"/>
                    <a:pt x="23" y="4"/>
                    <a:pt x="34" y="2"/>
                  </a:cubicBezTo>
                  <a:cubicBezTo>
                    <a:pt x="44" y="0"/>
                    <a:pt x="52" y="7"/>
                    <a:pt x="63" y="14"/>
                  </a:cubicBezTo>
                  <a:cubicBezTo>
                    <a:pt x="66" y="16"/>
                    <a:pt x="69" y="18"/>
                    <a:pt x="72" y="21"/>
                  </a:cubicBezTo>
                  <a:cubicBezTo>
                    <a:pt x="75" y="22"/>
                    <a:pt x="76" y="26"/>
                    <a:pt x="74" y="29"/>
                  </a:cubicBezTo>
                  <a:cubicBezTo>
                    <a:pt x="72" y="32"/>
                    <a:pt x="68" y="33"/>
                    <a:pt x="66" y="31"/>
                  </a:cubicBezTo>
                  <a:cubicBezTo>
                    <a:pt x="62" y="29"/>
                    <a:pt x="58" y="26"/>
                    <a:pt x="55" y="24"/>
                  </a:cubicBezTo>
                  <a:cubicBezTo>
                    <a:pt x="47" y="18"/>
                    <a:pt x="41" y="13"/>
                    <a:pt x="36" y="14"/>
                  </a:cubicBezTo>
                  <a:cubicBezTo>
                    <a:pt x="32" y="15"/>
                    <a:pt x="20" y="25"/>
                    <a:pt x="11" y="33"/>
                  </a:cubicBezTo>
                  <a:cubicBezTo>
                    <a:pt x="10" y="35"/>
                    <a:pt x="9" y="35"/>
                    <a:pt x="7" y="35"/>
                  </a:cubicBezTo>
                  <a:close/>
                  <a:moveTo>
                    <a:pt x="7" y="35"/>
                  </a:moveTo>
                  <a:cubicBezTo>
                    <a:pt x="7" y="35"/>
                    <a:pt x="7" y="35"/>
                    <a:pt x="7"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00" name="Freeform 20">
              <a:extLst>
                <a:ext uri="{FF2B5EF4-FFF2-40B4-BE49-F238E27FC236}">
                  <a16:creationId xmlns:a16="http://schemas.microsoft.com/office/drawing/2014/main" id="{D48A5194-8B6F-4F2D-8EC3-674317BDD507}"/>
                </a:ext>
              </a:extLst>
            </p:cNvPr>
            <p:cNvSpPr>
              <a:spLocks noEditPoints="1"/>
            </p:cNvSpPr>
            <p:nvPr/>
          </p:nvSpPr>
          <p:spPr bwMode="auto">
            <a:xfrm>
              <a:off x="1408113" y="4678363"/>
              <a:ext cx="98425" cy="104775"/>
            </a:xfrm>
            <a:custGeom>
              <a:avLst/>
              <a:gdLst>
                <a:gd name="T0" fmla="*/ 1 w 40"/>
                <a:gd name="T1" fmla="*/ 11 h 43"/>
                <a:gd name="T2" fmla="*/ 30 w 40"/>
                <a:gd name="T3" fmla="*/ 41 h 43"/>
                <a:gd name="T4" fmla="*/ 38 w 40"/>
                <a:gd name="T5" fmla="*/ 39 h 43"/>
                <a:gd name="T6" fmla="*/ 36 w 40"/>
                <a:gd name="T7" fmla="*/ 31 h 43"/>
                <a:gd name="T8" fmla="*/ 21 w 40"/>
                <a:gd name="T9" fmla="*/ 23 h 43"/>
                <a:gd name="T10" fmla="*/ 13 w 40"/>
                <a:gd name="T11" fmla="*/ 7 h 43"/>
                <a:gd name="T12" fmla="*/ 1 w 40"/>
                <a:gd name="T13" fmla="*/ 11 h 43"/>
                <a:gd name="T14" fmla="*/ 1 w 40"/>
                <a:gd name="T15" fmla="*/ 11 h 43"/>
                <a:gd name="T16" fmla="*/ 1 w 40"/>
                <a:gd name="T17"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3">
                  <a:moveTo>
                    <a:pt x="1" y="11"/>
                  </a:moveTo>
                  <a:cubicBezTo>
                    <a:pt x="4" y="27"/>
                    <a:pt x="15" y="36"/>
                    <a:pt x="30" y="41"/>
                  </a:cubicBezTo>
                  <a:cubicBezTo>
                    <a:pt x="33" y="43"/>
                    <a:pt x="36" y="42"/>
                    <a:pt x="38" y="39"/>
                  </a:cubicBezTo>
                  <a:cubicBezTo>
                    <a:pt x="40" y="37"/>
                    <a:pt x="39" y="32"/>
                    <a:pt x="36" y="31"/>
                  </a:cubicBezTo>
                  <a:cubicBezTo>
                    <a:pt x="31" y="29"/>
                    <a:pt x="25" y="26"/>
                    <a:pt x="21" y="23"/>
                  </a:cubicBezTo>
                  <a:cubicBezTo>
                    <a:pt x="16" y="19"/>
                    <a:pt x="14" y="13"/>
                    <a:pt x="13" y="7"/>
                  </a:cubicBezTo>
                  <a:cubicBezTo>
                    <a:pt x="12" y="0"/>
                    <a:pt x="0" y="3"/>
                    <a:pt x="1" y="11"/>
                  </a:cubicBezTo>
                  <a:close/>
                  <a:moveTo>
                    <a:pt x="1" y="11"/>
                  </a:moveTo>
                  <a:cubicBezTo>
                    <a:pt x="1" y="11"/>
                    <a:pt x="1" y="11"/>
                    <a:pt x="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01" name="Freeform 21">
              <a:extLst>
                <a:ext uri="{FF2B5EF4-FFF2-40B4-BE49-F238E27FC236}">
                  <a16:creationId xmlns:a16="http://schemas.microsoft.com/office/drawing/2014/main" id="{7E71AC38-4325-4651-8051-0E9942B1D701}"/>
                </a:ext>
              </a:extLst>
            </p:cNvPr>
            <p:cNvSpPr>
              <a:spLocks noEditPoints="1"/>
            </p:cNvSpPr>
            <p:nvPr/>
          </p:nvSpPr>
          <p:spPr bwMode="auto">
            <a:xfrm>
              <a:off x="1349375" y="4749800"/>
              <a:ext cx="134938" cy="117475"/>
            </a:xfrm>
            <a:custGeom>
              <a:avLst/>
              <a:gdLst>
                <a:gd name="T0" fmla="*/ 2 w 55"/>
                <a:gd name="T1" fmla="*/ 8 h 48"/>
                <a:gd name="T2" fmla="*/ 44 w 55"/>
                <a:gd name="T3" fmla="*/ 46 h 48"/>
                <a:gd name="T4" fmla="*/ 48 w 55"/>
                <a:gd name="T5" fmla="*/ 34 h 48"/>
                <a:gd name="T6" fmla="*/ 35 w 55"/>
                <a:gd name="T7" fmla="*/ 28 h 48"/>
                <a:gd name="T8" fmla="*/ 13 w 55"/>
                <a:gd name="T9" fmla="*/ 5 h 48"/>
                <a:gd name="T10" fmla="*/ 6 w 55"/>
                <a:gd name="T11" fmla="*/ 1 h 48"/>
                <a:gd name="T12" fmla="*/ 2 w 55"/>
                <a:gd name="T13" fmla="*/ 8 h 48"/>
                <a:gd name="T14" fmla="*/ 2 w 55"/>
                <a:gd name="T15" fmla="*/ 8 h 48"/>
                <a:gd name="T16" fmla="*/ 2 w 55"/>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8">
                  <a:moveTo>
                    <a:pt x="2" y="8"/>
                  </a:moveTo>
                  <a:cubicBezTo>
                    <a:pt x="9" y="27"/>
                    <a:pt x="26" y="40"/>
                    <a:pt x="44" y="46"/>
                  </a:cubicBezTo>
                  <a:cubicBezTo>
                    <a:pt x="52" y="48"/>
                    <a:pt x="55" y="36"/>
                    <a:pt x="48" y="34"/>
                  </a:cubicBezTo>
                  <a:cubicBezTo>
                    <a:pt x="43" y="33"/>
                    <a:pt x="40" y="31"/>
                    <a:pt x="35" y="28"/>
                  </a:cubicBezTo>
                  <a:cubicBezTo>
                    <a:pt x="26" y="23"/>
                    <a:pt x="17" y="15"/>
                    <a:pt x="13" y="5"/>
                  </a:cubicBezTo>
                  <a:cubicBezTo>
                    <a:pt x="12" y="2"/>
                    <a:pt x="9" y="0"/>
                    <a:pt x="6" y="1"/>
                  </a:cubicBezTo>
                  <a:cubicBezTo>
                    <a:pt x="3" y="2"/>
                    <a:pt x="0" y="5"/>
                    <a:pt x="2" y="8"/>
                  </a:cubicBezTo>
                  <a:close/>
                  <a:moveTo>
                    <a:pt x="2" y="8"/>
                  </a:moveTo>
                  <a:cubicBezTo>
                    <a:pt x="2" y="8"/>
                    <a:pt x="2" y="8"/>
                    <a:pt x="2"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65" name="Group 5125">
            <a:extLst>
              <a:ext uri="{FF2B5EF4-FFF2-40B4-BE49-F238E27FC236}">
                <a16:creationId xmlns:a16="http://schemas.microsoft.com/office/drawing/2014/main" id="{CA0FD400-311B-4FCB-B3FE-C8114E2C0DD7}"/>
              </a:ext>
            </a:extLst>
          </p:cNvPr>
          <p:cNvGrpSpPr>
            <a:grpSpLocks noChangeAspect="1"/>
          </p:cNvGrpSpPr>
          <p:nvPr/>
        </p:nvGrpSpPr>
        <p:grpSpPr>
          <a:xfrm>
            <a:off x="3191373" y="5416746"/>
            <a:ext cx="308144" cy="308144"/>
            <a:chOff x="411163" y="3849688"/>
            <a:chExt cx="371475" cy="371475"/>
          </a:xfrm>
          <a:solidFill>
            <a:schemeClr val="bg2"/>
          </a:solidFill>
          <a:effectLst/>
        </p:grpSpPr>
        <p:sp>
          <p:nvSpPr>
            <p:cNvPr id="666" name="Freeform 20">
              <a:extLst>
                <a:ext uri="{FF2B5EF4-FFF2-40B4-BE49-F238E27FC236}">
                  <a16:creationId xmlns:a16="http://schemas.microsoft.com/office/drawing/2014/main" id="{11DA0A4A-6750-4AFD-BB5D-F4DAAAB75DBD}"/>
                </a:ext>
              </a:extLst>
            </p:cNvPr>
            <p:cNvSpPr>
              <a:spLocks noEditPoints="1"/>
            </p:cNvSpPr>
            <p:nvPr/>
          </p:nvSpPr>
          <p:spPr bwMode="auto">
            <a:xfrm>
              <a:off x="465138" y="4105276"/>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7" name="Freeform 21">
              <a:extLst>
                <a:ext uri="{FF2B5EF4-FFF2-40B4-BE49-F238E27FC236}">
                  <a16:creationId xmlns:a16="http://schemas.microsoft.com/office/drawing/2014/main" id="{9264E518-385E-4C92-8154-34784DCA01CE}"/>
                </a:ext>
              </a:extLst>
            </p:cNvPr>
            <p:cNvSpPr>
              <a:spLocks noEditPoints="1"/>
            </p:cNvSpPr>
            <p:nvPr/>
          </p:nvSpPr>
          <p:spPr bwMode="auto">
            <a:xfrm>
              <a:off x="411163" y="3849688"/>
              <a:ext cx="371475" cy="371475"/>
            </a:xfrm>
            <a:custGeom>
              <a:avLst/>
              <a:gdLst>
                <a:gd name="T0" fmla="*/ 30 w 96"/>
                <a:gd name="T1" fmla="*/ 96 h 96"/>
                <a:gd name="T2" fmla="*/ 9 w 96"/>
                <a:gd name="T3" fmla="*/ 87 h 96"/>
                <a:gd name="T4" fmla="*/ 0 w 96"/>
                <a:gd name="T5" fmla="*/ 66 h 96"/>
                <a:gd name="T6" fmla="*/ 9 w 96"/>
                <a:gd name="T7" fmla="*/ 45 h 96"/>
                <a:gd name="T8" fmla="*/ 30 w 96"/>
                <a:gd name="T9" fmla="*/ 36 h 96"/>
                <a:gd name="T10" fmla="*/ 42 w 96"/>
                <a:gd name="T11" fmla="*/ 39 h 96"/>
                <a:gd name="T12" fmla="*/ 81 w 96"/>
                <a:gd name="T13" fmla="*/ 1 h 96"/>
                <a:gd name="T14" fmla="*/ 82 w 96"/>
                <a:gd name="T15" fmla="*/ 0 h 96"/>
                <a:gd name="T16" fmla="*/ 94 w 96"/>
                <a:gd name="T17" fmla="*/ 0 h 96"/>
                <a:gd name="T18" fmla="*/ 96 w 96"/>
                <a:gd name="T19" fmla="*/ 2 h 96"/>
                <a:gd name="T20" fmla="*/ 96 w 96"/>
                <a:gd name="T21" fmla="*/ 14 h 96"/>
                <a:gd name="T22" fmla="*/ 95 w 96"/>
                <a:gd name="T23" fmla="*/ 15 h 96"/>
                <a:gd name="T24" fmla="*/ 92 w 96"/>
                <a:gd name="T25" fmla="*/ 19 h 96"/>
                <a:gd name="T26" fmla="*/ 92 w 96"/>
                <a:gd name="T27" fmla="*/ 24 h 96"/>
                <a:gd name="T28" fmla="*/ 90 w 96"/>
                <a:gd name="T29" fmla="*/ 26 h 96"/>
                <a:gd name="T30" fmla="*/ 85 w 96"/>
                <a:gd name="T31" fmla="*/ 26 h 96"/>
                <a:gd name="T32" fmla="*/ 84 w 96"/>
                <a:gd name="T33" fmla="*/ 27 h 96"/>
                <a:gd name="T34" fmla="*/ 84 w 96"/>
                <a:gd name="T35" fmla="*/ 32 h 96"/>
                <a:gd name="T36" fmla="*/ 82 w 96"/>
                <a:gd name="T37" fmla="*/ 34 h 96"/>
                <a:gd name="T38" fmla="*/ 77 w 96"/>
                <a:gd name="T39" fmla="*/ 34 h 96"/>
                <a:gd name="T40" fmla="*/ 76 w 96"/>
                <a:gd name="T41" fmla="*/ 35 h 96"/>
                <a:gd name="T42" fmla="*/ 76 w 96"/>
                <a:gd name="T43" fmla="*/ 40 h 96"/>
                <a:gd name="T44" fmla="*/ 74 w 96"/>
                <a:gd name="T45" fmla="*/ 42 h 96"/>
                <a:gd name="T46" fmla="*/ 69 w 96"/>
                <a:gd name="T47" fmla="*/ 42 h 96"/>
                <a:gd name="T48" fmla="*/ 57 w 96"/>
                <a:gd name="T49" fmla="*/ 54 h 96"/>
                <a:gd name="T50" fmla="*/ 51 w 96"/>
                <a:gd name="T51" fmla="*/ 87 h 96"/>
                <a:gd name="T52" fmla="*/ 30 w 96"/>
                <a:gd name="T53" fmla="*/ 96 h 96"/>
                <a:gd name="T54" fmla="*/ 30 w 96"/>
                <a:gd name="T55" fmla="*/ 40 h 96"/>
                <a:gd name="T56" fmla="*/ 12 w 96"/>
                <a:gd name="T57" fmla="*/ 48 h 96"/>
                <a:gd name="T58" fmla="*/ 4 w 96"/>
                <a:gd name="T59" fmla="*/ 66 h 96"/>
                <a:gd name="T60" fmla="*/ 12 w 96"/>
                <a:gd name="T61" fmla="*/ 84 h 96"/>
                <a:gd name="T62" fmla="*/ 30 w 96"/>
                <a:gd name="T63" fmla="*/ 92 h 96"/>
                <a:gd name="T64" fmla="*/ 48 w 96"/>
                <a:gd name="T65" fmla="*/ 84 h 96"/>
                <a:gd name="T66" fmla="*/ 53 w 96"/>
                <a:gd name="T67" fmla="*/ 54 h 96"/>
                <a:gd name="T68" fmla="*/ 53 w 96"/>
                <a:gd name="T69" fmla="*/ 52 h 96"/>
                <a:gd name="T70" fmla="*/ 67 w 96"/>
                <a:gd name="T71" fmla="*/ 39 h 96"/>
                <a:gd name="T72" fmla="*/ 68 w 96"/>
                <a:gd name="T73" fmla="*/ 38 h 96"/>
                <a:gd name="T74" fmla="*/ 72 w 96"/>
                <a:gd name="T75" fmla="*/ 38 h 96"/>
                <a:gd name="T76" fmla="*/ 72 w 96"/>
                <a:gd name="T77" fmla="*/ 34 h 96"/>
                <a:gd name="T78" fmla="*/ 73 w 96"/>
                <a:gd name="T79" fmla="*/ 33 h 96"/>
                <a:gd name="T80" fmla="*/ 75 w 96"/>
                <a:gd name="T81" fmla="*/ 31 h 96"/>
                <a:gd name="T82" fmla="*/ 76 w 96"/>
                <a:gd name="T83" fmla="*/ 30 h 96"/>
                <a:gd name="T84" fmla="*/ 80 w 96"/>
                <a:gd name="T85" fmla="*/ 30 h 96"/>
                <a:gd name="T86" fmla="*/ 80 w 96"/>
                <a:gd name="T87" fmla="*/ 26 h 96"/>
                <a:gd name="T88" fmla="*/ 81 w 96"/>
                <a:gd name="T89" fmla="*/ 25 h 96"/>
                <a:gd name="T90" fmla="*/ 83 w 96"/>
                <a:gd name="T91" fmla="*/ 23 h 96"/>
                <a:gd name="T92" fmla="*/ 84 w 96"/>
                <a:gd name="T93" fmla="*/ 22 h 96"/>
                <a:gd name="T94" fmla="*/ 88 w 96"/>
                <a:gd name="T95" fmla="*/ 22 h 96"/>
                <a:gd name="T96" fmla="*/ 88 w 96"/>
                <a:gd name="T97" fmla="*/ 18 h 96"/>
                <a:gd name="T98" fmla="*/ 89 w 96"/>
                <a:gd name="T99" fmla="*/ 17 h 96"/>
                <a:gd name="T100" fmla="*/ 92 w 96"/>
                <a:gd name="T101" fmla="*/ 13 h 96"/>
                <a:gd name="T102" fmla="*/ 92 w 96"/>
                <a:gd name="T103" fmla="*/ 4 h 96"/>
                <a:gd name="T104" fmla="*/ 83 w 96"/>
                <a:gd name="T105" fmla="*/ 4 h 96"/>
                <a:gd name="T106" fmla="*/ 44 w 96"/>
                <a:gd name="T107" fmla="*/ 43 h 96"/>
                <a:gd name="T108" fmla="*/ 42 w 96"/>
                <a:gd name="T109" fmla="*/ 43 h 96"/>
                <a:gd name="T110" fmla="*/ 30 w 96"/>
                <a:gd name="T111"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96">
                  <a:moveTo>
                    <a:pt x="30" y="96"/>
                  </a:moveTo>
                  <a:cubicBezTo>
                    <a:pt x="22" y="96"/>
                    <a:pt x="14" y="93"/>
                    <a:pt x="9" y="87"/>
                  </a:cubicBezTo>
                  <a:cubicBezTo>
                    <a:pt x="3" y="82"/>
                    <a:pt x="0" y="74"/>
                    <a:pt x="0" y="66"/>
                  </a:cubicBezTo>
                  <a:cubicBezTo>
                    <a:pt x="0" y="58"/>
                    <a:pt x="3" y="50"/>
                    <a:pt x="9" y="45"/>
                  </a:cubicBezTo>
                  <a:cubicBezTo>
                    <a:pt x="14" y="39"/>
                    <a:pt x="22" y="36"/>
                    <a:pt x="30" y="36"/>
                  </a:cubicBezTo>
                  <a:cubicBezTo>
                    <a:pt x="34" y="36"/>
                    <a:pt x="39" y="37"/>
                    <a:pt x="42" y="39"/>
                  </a:cubicBezTo>
                  <a:cubicBezTo>
                    <a:pt x="81" y="1"/>
                    <a:pt x="81" y="1"/>
                    <a:pt x="81" y="1"/>
                  </a:cubicBezTo>
                  <a:cubicBezTo>
                    <a:pt x="81" y="0"/>
                    <a:pt x="81" y="0"/>
                    <a:pt x="82" y="0"/>
                  </a:cubicBezTo>
                  <a:cubicBezTo>
                    <a:pt x="94" y="0"/>
                    <a:pt x="94" y="0"/>
                    <a:pt x="94" y="0"/>
                  </a:cubicBezTo>
                  <a:cubicBezTo>
                    <a:pt x="95" y="0"/>
                    <a:pt x="96" y="1"/>
                    <a:pt x="96" y="2"/>
                  </a:cubicBezTo>
                  <a:cubicBezTo>
                    <a:pt x="96" y="14"/>
                    <a:pt x="96" y="14"/>
                    <a:pt x="96" y="14"/>
                  </a:cubicBezTo>
                  <a:cubicBezTo>
                    <a:pt x="96" y="15"/>
                    <a:pt x="96" y="15"/>
                    <a:pt x="95" y="15"/>
                  </a:cubicBezTo>
                  <a:cubicBezTo>
                    <a:pt x="92" y="19"/>
                    <a:pt x="92" y="19"/>
                    <a:pt x="92" y="19"/>
                  </a:cubicBezTo>
                  <a:cubicBezTo>
                    <a:pt x="92" y="24"/>
                    <a:pt x="92" y="24"/>
                    <a:pt x="92" y="24"/>
                  </a:cubicBezTo>
                  <a:cubicBezTo>
                    <a:pt x="92" y="25"/>
                    <a:pt x="91" y="26"/>
                    <a:pt x="90" y="26"/>
                  </a:cubicBezTo>
                  <a:cubicBezTo>
                    <a:pt x="85" y="26"/>
                    <a:pt x="85" y="26"/>
                    <a:pt x="85" y="26"/>
                  </a:cubicBezTo>
                  <a:cubicBezTo>
                    <a:pt x="84" y="27"/>
                    <a:pt x="84" y="27"/>
                    <a:pt x="84" y="27"/>
                  </a:cubicBezTo>
                  <a:cubicBezTo>
                    <a:pt x="84" y="32"/>
                    <a:pt x="84" y="32"/>
                    <a:pt x="84" y="32"/>
                  </a:cubicBezTo>
                  <a:cubicBezTo>
                    <a:pt x="84" y="33"/>
                    <a:pt x="83" y="34"/>
                    <a:pt x="82" y="34"/>
                  </a:cubicBezTo>
                  <a:cubicBezTo>
                    <a:pt x="77" y="34"/>
                    <a:pt x="77" y="34"/>
                    <a:pt x="77" y="34"/>
                  </a:cubicBezTo>
                  <a:cubicBezTo>
                    <a:pt x="76" y="35"/>
                    <a:pt x="76" y="35"/>
                    <a:pt x="76" y="35"/>
                  </a:cubicBezTo>
                  <a:cubicBezTo>
                    <a:pt x="76" y="40"/>
                    <a:pt x="76" y="40"/>
                    <a:pt x="76" y="40"/>
                  </a:cubicBezTo>
                  <a:cubicBezTo>
                    <a:pt x="76" y="41"/>
                    <a:pt x="75" y="42"/>
                    <a:pt x="74" y="42"/>
                  </a:cubicBezTo>
                  <a:cubicBezTo>
                    <a:pt x="69" y="42"/>
                    <a:pt x="69" y="42"/>
                    <a:pt x="69" y="42"/>
                  </a:cubicBezTo>
                  <a:cubicBezTo>
                    <a:pt x="57" y="54"/>
                    <a:pt x="57" y="54"/>
                    <a:pt x="57" y="54"/>
                  </a:cubicBezTo>
                  <a:cubicBezTo>
                    <a:pt x="63" y="65"/>
                    <a:pt x="60" y="78"/>
                    <a:pt x="51" y="87"/>
                  </a:cubicBezTo>
                  <a:cubicBezTo>
                    <a:pt x="46" y="93"/>
                    <a:pt x="38" y="96"/>
                    <a:pt x="30" y="96"/>
                  </a:cubicBezTo>
                  <a:close/>
                  <a:moveTo>
                    <a:pt x="30" y="40"/>
                  </a:moveTo>
                  <a:cubicBezTo>
                    <a:pt x="23" y="40"/>
                    <a:pt x="17" y="43"/>
                    <a:pt x="12" y="48"/>
                  </a:cubicBezTo>
                  <a:cubicBezTo>
                    <a:pt x="7" y="53"/>
                    <a:pt x="4" y="59"/>
                    <a:pt x="4" y="66"/>
                  </a:cubicBezTo>
                  <a:cubicBezTo>
                    <a:pt x="4" y="73"/>
                    <a:pt x="7" y="79"/>
                    <a:pt x="12" y="84"/>
                  </a:cubicBezTo>
                  <a:cubicBezTo>
                    <a:pt x="17" y="89"/>
                    <a:pt x="23" y="92"/>
                    <a:pt x="30" y="92"/>
                  </a:cubicBezTo>
                  <a:cubicBezTo>
                    <a:pt x="37" y="92"/>
                    <a:pt x="43" y="89"/>
                    <a:pt x="48" y="84"/>
                  </a:cubicBezTo>
                  <a:cubicBezTo>
                    <a:pt x="56" y="76"/>
                    <a:pt x="58" y="64"/>
                    <a:pt x="53" y="54"/>
                  </a:cubicBezTo>
                  <a:cubicBezTo>
                    <a:pt x="53" y="53"/>
                    <a:pt x="53" y="52"/>
                    <a:pt x="53" y="52"/>
                  </a:cubicBezTo>
                  <a:cubicBezTo>
                    <a:pt x="67" y="39"/>
                    <a:pt x="67" y="39"/>
                    <a:pt x="67" y="39"/>
                  </a:cubicBezTo>
                  <a:cubicBezTo>
                    <a:pt x="67" y="38"/>
                    <a:pt x="67" y="38"/>
                    <a:pt x="68" y="38"/>
                  </a:cubicBezTo>
                  <a:cubicBezTo>
                    <a:pt x="72" y="38"/>
                    <a:pt x="72" y="38"/>
                    <a:pt x="72" y="38"/>
                  </a:cubicBezTo>
                  <a:cubicBezTo>
                    <a:pt x="72" y="34"/>
                    <a:pt x="72" y="34"/>
                    <a:pt x="72" y="34"/>
                  </a:cubicBezTo>
                  <a:cubicBezTo>
                    <a:pt x="72" y="33"/>
                    <a:pt x="72" y="33"/>
                    <a:pt x="73" y="33"/>
                  </a:cubicBezTo>
                  <a:cubicBezTo>
                    <a:pt x="75" y="31"/>
                    <a:pt x="75" y="31"/>
                    <a:pt x="75" y="31"/>
                  </a:cubicBezTo>
                  <a:cubicBezTo>
                    <a:pt x="75" y="30"/>
                    <a:pt x="75" y="30"/>
                    <a:pt x="76" y="30"/>
                  </a:cubicBezTo>
                  <a:cubicBezTo>
                    <a:pt x="80" y="30"/>
                    <a:pt x="80" y="30"/>
                    <a:pt x="80" y="30"/>
                  </a:cubicBezTo>
                  <a:cubicBezTo>
                    <a:pt x="80" y="26"/>
                    <a:pt x="80" y="26"/>
                    <a:pt x="80" y="26"/>
                  </a:cubicBezTo>
                  <a:cubicBezTo>
                    <a:pt x="80" y="25"/>
                    <a:pt x="80" y="25"/>
                    <a:pt x="81" y="25"/>
                  </a:cubicBezTo>
                  <a:cubicBezTo>
                    <a:pt x="83" y="23"/>
                    <a:pt x="83" y="23"/>
                    <a:pt x="83" y="23"/>
                  </a:cubicBezTo>
                  <a:cubicBezTo>
                    <a:pt x="83" y="22"/>
                    <a:pt x="83" y="22"/>
                    <a:pt x="84" y="22"/>
                  </a:cubicBezTo>
                  <a:cubicBezTo>
                    <a:pt x="88" y="22"/>
                    <a:pt x="88" y="22"/>
                    <a:pt x="88" y="22"/>
                  </a:cubicBezTo>
                  <a:cubicBezTo>
                    <a:pt x="88" y="18"/>
                    <a:pt x="88" y="18"/>
                    <a:pt x="88" y="18"/>
                  </a:cubicBezTo>
                  <a:cubicBezTo>
                    <a:pt x="88" y="17"/>
                    <a:pt x="88" y="17"/>
                    <a:pt x="89" y="17"/>
                  </a:cubicBezTo>
                  <a:cubicBezTo>
                    <a:pt x="92" y="13"/>
                    <a:pt x="92" y="13"/>
                    <a:pt x="92" y="13"/>
                  </a:cubicBezTo>
                  <a:cubicBezTo>
                    <a:pt x="92" y="4"/>
                    <a:pt x="92" y="4"/>
                    <a:pt x="92" y="4"/>
                  </a:cubicBezTo>
                  <a:cubicBezTo>
                    <a:pt x="83" y="4"/>
                    <a:pt x="83" y="4"/>
                    <a:pt x="83" y="4"/>
                  </a:cubicBezTo>
                  <a:cubicBezTo>
                    <a:pt x="44" y="43"/>
                    <a:pt x="44" y="43"/>
                    <a:pt x="44" y="43"/>
                  </a:cubicBezTo>
                  <a:cubicBezTo>
                    <a:pt x="44" y="43"/>
                    <a:pt x="43" y="43"/>
                    <a:pt x="42" y="43"/>
                  </a:cubicBezTo>
                  <a:cubicBezTo>
                    <a:pt x="38" y="41"/>
                    <a:pt x="34" y="40"/>
                    <a:pt x="3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682" name="Freeform 21">
            <a:extLst>
              <a:ext uri="{FF2B5EF4-FFF2-40B4-BE49-F238E27FC236}">
                <a16:creationId xmlns:a16="http://schemas.microsoft.com/office/drawing/2014/main" id="{0339FC68-6EB0-4981-8C00-EFE2AEFC04C5}"/>
              </a:ext>
            </a:extLst>
          </p:cNvPr>
          <p:cNvSpPr>
            <a:spLocks noChangeAspect="1" noEditPoints="1"/>
          </p:cNvSpPr>
          <p:nvPr/>
        </p:nvSpPr>
        <p:spPr bwMode="auto">
          <a:xfrm>
            <a:off x="4022019" y="5465574"/>
            <a:ext cx="330486" cy="210489"/>
          </a:xfrm>
          <a:custGeom>
            <a:avLst/>
            <a:gdLst>
              <a:gd name="T0" fmla="*/ 539 w 840"/>
              <a:gd name="T1" fmla="*/ 480 h 533"/>
              <a:gd name="T2" fmla="*/ 486 w 840"/>
              <a:gd name="T3" fmla="*/ 409 h 533"/>
              <a:gd name="T4" fmla="*/ 491 w 840"/>
              <a:gd name="T5" fmla="*/ 315 h 533"/>
              <a:gd name="T6" fmla="*/ 551 w 840"/>
              <a:gd name="T7" fmla="*/ 249 h 533"/>
              <a:gd name="T8" fmla="*/ 642 w 840"/>
              <a:gd name="T9" fmla="*/ 236 h 533"/>
              <a:gd name="T10" fmla="*/ 719 w 840"/>
              <a:gd name="T11" fmla="*/ 282 h 533"/>
              <a:gd name="T12" fmla="*/ 750 w 840"/>
              <a:gd name="T13" fmla="*/ 368 h 533"/>
              <a:gd name="T14" fmla="*/ 719 w 840"/>
              <a:gd name="T15" fmla="*/ 454 h 533"/>
              <a:gd name="T16" fmla="*/ 642 w 840"/>
              <a:gd name="T17" fmla="*/ 501 h 533"/>
              <a:gd name="T18" fmla="*/ 383 w 840"/>
              <a:gd name="T19" fmla="*/ 321 h 533"/>
              <a:gd name="T20" fmla="*/ 312 w 840"/>
              <a:gd name="T21" fmla="*/ 228 h 533"/>
              <a:gd name="T22" fmla="*/ 490 w 840"/>
              <a:gd name="T23" fmla="*/ 261 h 533"/>
              <a:gd name="T24" fmla="*/ 430 w 840"/>
              <a:gd name="T25" fmla="*/ 309 h 533"/>
              <a:gd name="T26" fmla="*/ 161 w 840"/>
              <a:gd name="T27" fmla="*/ 487 h 533"/>
              <a:gd name="T28" fmla="*/ 101 w 840"/>
              <a:gd name="T29" fmla="*/ 420 h 533"/>
              <a:gd name="T30" fmla="*/ 97 w 840"/>
              <a:gd name="T31" fmla="*/ 328 h 533"/>
              <a:gd name="T32" fmla="*/ 150 w 840"/>
              <a:gd name="T33" fmla="*/ 257 h 533"/>
              <a:gd name="T34" fmla="*/ 239 w 840"/>
              <a:gd name="T35" fmla="*/ 234 h 533"/>
              <a:gd name="T36" fmla="*/ 321 w 840"/>
              <a:gd name="T37" fmla="*/ 273 h 533"/>
              <a:gd name="T38" fmla="*/ 359 w 840"/>
              <a:gd name="T39" fmla="*/ 354 h 533"/>
              <a:gd name="T40" fmla="*/ 337 w 840"/>
              <a:gd name="T41" fmla="*/ 444 h 533"/>
              <a:gd name="T42" fmla="*/ 265 w 840"/>
              <a:gd name="T43" fmla="*/ 496 h 533"/>
              <a:gd name="T44" fmla="*/ 774 w 840"/>
              <a:gd name="T45" fmla="*/ 323 h 533"/>
              <a:gd name="T46" fmla="*/ 715 w 840"/>
              <a:gd name="T47" fmla="*/ 237 h 533"/>
              <a:gd name="T48" fmla="*/ 615 w 840"/>
              <a:gd name="T49" fmla="*/ 203 h 533"/>
              <a:gd name="T50" fmla="*/ 630 w 840"/>
              <a:gd name="T51" fmla="*/ 33 h 533"/>
              <a:gd name="T52" fmla="*/ 676 w 840"/>
              <a:gd name="T53" fmla="*/ 46 h 533"/>
              <a:gd name="T54" fmla="*/ 695 w 840"/>
              <a:gd name="T55" fmla="*/ 53 h 533"/>
              <a:gd name="T56" fmla="*/ 704 w 840"/>
              <a:gd name="T57" fmla="*/ 37 h 533"/>
              <a:gd name="T58" fmla="*/ 679 w 840"/>
              <a:gd name="T59" fmla="*/ 7 h 533"/>
              <a:gd name="T60" fmla="*/ 634 w 840"/>
              <a:gd name="T61" fmla="*/ 1 h 533"/>
              <a:gd name="T62" fmla="*/ 226 w 840"/>
              <a:gd name="T63" fmla="*/ 7 h 533"/>
              <a:gd name="T64" fmla="*/ 180 w 840"/>
              <a:gd name="T65" fmla="*/ 1 h 533"/>
              <a:gd name="T66" fmla="*/ 141 w 840"/>
              <a:gd name="T67" fmla="*/ 25 h 533"/>
              <a:gd name="T68" fmla="*/ 139 w 840"/>
              <a:gd name="T69" fmla="*/ 48 h 533"/>
              <a:gd name="T70" fmla="*/ 157 w 840"/>
              <a:gd name="T71" fmla="*/ 52 h 533"/>
              <a:gd name="T72" fmla="*/ 186 w 840"/>
              <a:gd name="T73" fmla="*/ 30 h 533"/>
              <a:gd name="T74" fmla="*/ 250 w 840"/>
              <a:gd name="T75" fmla="*/ 205 h 533"/>
              <a:gd name="T76" fmla="*/ 164 w 840"/>
              <a:gd name="T77" fmla="*/ 215 h 533"/>
              <a:gd name="T78" fmla="*/ 85 w 840"/>
              <a:gd name="T79" fmla="*/ 281 h 533"/>
              <a:gd name="T80" fmla="*/ 12 w 840"/>
              <a:gd name="T81" fmla="*/ 353 h 533"/>
              <a:gd name="T82" fmla="*/ 0 w 840"/>
              <a:gd name="T83" fmla="*/ 368 h 533"/>
              <a:gd name="T84" fmla="*/ 12 w 840"/>
              <a:gd name="T85" fmla="*/ 383 h 533"/>
              <a:gd name="T86" fmla="*/ 85 w 840"/>
              <a:gd name="T87" fmla="*/ 455 h 533"/>
              <a:gd name="T88" fmla="*/ 164 w 840"/>
              <a:gd name="T89" fmla="*/ 521 h 533"/>
              <a:gd name="T90" fmla="*/ 275 w 840"/>
              <a:gd name="T91" fmla="*/ 525 h 533"/>
              <a:gd name="T92" fmla="*/ 361 w 840"/>
              <a:gd name="T93" fmla="*/ 460 h 533"/>
              <a:gd name="T94" fmla="*/ 390 w 840"/>
              <a:gd name="T95" fmla="*/ 363 h 533"/>
              <a:gd name="T96" fmla="*/ 420 w 840"/>
              <a:gd name="T97" fmla="*/ 338 h 533"/>
              <a:gd name="T98" fmla="*/ 449 w 840"/>
              <a:gd name="T99" fmla="*/ 363 h 533"/>
              <a:gd name="T100" fmla="*/ 478 w 840"/>
              <a:gd name="T101" fmla="*/ 460 h 533"/>
              <a:gd name="T102" fmla="*/ 566 w 840"/>
              <a:gd name="T103" fmla="*/ 525 h 533"/>
              <a:gd name="T104" fmla="*/ 675 w 840"/>
              <a:gd name="T105" fmla="*/ 521 h 533"/>
              <a:gd name="T106" fmla="*/ 755 w 840"/>
              <a:gd name="T107" fmla="*/ 455 h 533"/>
              <a:gd name="T108" fmla="*/ 827 w 840"/>
              <a:gd name="T109" fmla="*/ 383 h 533"/>
              <a:gd name="T110" fmla="*/ 840 w 840"/>
              <a:gd name="T111" fmla="*/ 368 h 533"/>
              <a:gd name="T112" fmla="*/ 827 w 840"/>
              <a:gd name="T113" fmla="*/ 35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0" h="533">
                <a:moveTo>
                  <a:pt x="615" y="503"/>
                </a:moveTo>
                <a:lnTo>
                  <a:pt x="601" y="502"/>
                </a:lnTo>
                <a:lnTo>
                  <a:pt x="587" y="501"/>
                </a:lnTo>
                <a:lnTo>
                  <a:pt x="575" y="496"/>
                </a:lnTo>
                <a:lnTo>
                  <a:pt x="563" y="492"/>
                </a:lnTo>
                <a:lnTo>
                  <a:pt x="551" y="487"/>
                </a:lnTo>
                <a:lnTo>
                  <a:pt x="539" y="480"/>
                </a:lnTo>
                <a:lnTo>
                  <a:pt x="530" y="472"/>
                </a:lnTo>
                <a:lnTo>
                  <a:pt x="520" y="463"/>
                </a:lnTo>
                <a:lnTo>
                  <a:pt x="511" y="454"/>
                </a:lnTo>
                <a:lnTo>
                  <a:pt x="503" y="444"/>
                </a:lnTo>
                <a:lnTo>
                  <a:pt x="496" y="432"/>
                </a:lnTo>
                <a:lnTo>
                  <a:pt x="491" y="420"/>
                </a:lnTo>
                <a:lnTo>
                  <a:pt x="486" y="409"/>
                </a:lnTo>
                <a:lnTo>
                  <a:pt x="482" y="396"/>
                </a:lnTo>
                <a:lnTo>
                  <a:pt x="480" y="382"/>
                </a:lnTo>
                <a:lnTo>
                  <a:pt x="480" y="368"/>
                </a:lnTo>
                <a:lnTo>
                  <a:pt x="480" y="354"/>
                </a:lnTo>
                <a:lnTo>
                  <a:pt x="482" y="341"/>
                </a:lnTo>
                <a:lnTo>
                  <a:pt x="486" y="328"/>
                </a:lnTo>
                <a:lnTo>
                  <a:pt x="491" y="315"/>
                </a:lnTo>
                <a:lnTo>
                  <a:pt x="496" y="304"/>
                </a:lnTo>
                <a:lnTo>
                  <a:pt x="503" y="293"/>
                </a:lnTo>
                <a:lnTo>
                  <a:pt x="511" y="282"/>
                </a:lnTo>
                <a:lnTo>
                  <a:pt x="520" y="273"/>
                </a:lnTo>
                <a:lnTo>
                  <a:pt x="530" y="264"/>
                </a:lnTo>
                <a:lnTo>
                  <a:pt x="539" y="257"/>
                </a:lnTo>
                <a:lnTo>
                  <a:pt x="551" y="249"/>
                </a:lnTo>
                <a:lnTo>
                  <a:pt x="563" y="244"/>
                </a:lnTo>
                <a:lnTo>
                  <a:pt x="575" y="239"/>
                </a:lnTo>
                <a:lnTo>
                  <a:pt x="587" y="236"/>
                </a:lnTo>
                <a:lnTo>
                  <a:pt x="601" y="234"/>
                </a:lnTo>
                <a:lnTo>
                  <a:pt x="615" y="233"/>
                </a:lnTo>
                <a:lnTo>
                  <a:pt x="629" y="234"/>
                </a:lnTo>
                <a:lnTo>
                  <a:pt x="642" y="236"/>
                </a:lnTo>
                <a:lnTo>
                  <a:pt x="655" y="239"/>
                </a:lnTo>
                <a:lnTo>
                  <a:pt x="668" y="244"/>
                </a:lnTo>
                <a:lnTo>
                  <a:pt x="680" y="249"/>
                </a:lnTo>
                <a:lnTo>
                  <a:pt x="690" y="257"/>
                </a:lnTo>
                <a:lnTo>
                  <a:pt x="701" y="264"/>
                </a:lnTo>
                <a:lnTo>
                  <a:pt x="711" y="273"/>
                </a:lnTo>
                <a:lnTo>
                  <a:pt x="719" y="282"/>
                </a:lnTo>
                <a:lnTo>
                  <a:pt x="727" y="293"/>
                </a:lnTo>
                <a:lnTo>
                  <a:pt x="733" y="304"/>
                </a:lnTo>
                <a:lnTo>
                  <a:pt x="740" y="315"/>
                </a:lnTo>
                <a:lnTo>
                  <a:pt x="744" y="328"/>
                </a:lnTo>
                <a:lnTo>
                  <a:pt x="747" y="341"/>
                </a:lnTo>
                <a:lnTo>
                  <a:pt x="749" y="354"/>
                </a:lnTo>
                <a:lnTo>
                  <a:pt x="750" y="368"/>
                </a:lnTo>
                <a:lnTo>
                  <a:pt x="749" y="382"/>
                </a:lnTo>
                <a:lnTo>
                  <a:pt x="747" y="396"/>
                </a:lnTo>
                <a:lnTo>
                  <a:pt x="744" y="409"/>
                </a:lnTo>
                <a:lnTo>
                  <a:pt x="740" y="420"/>
                </a:lnTo>
                <a:lnTo>
                  <a:pt x="733" y="432"/>
                </a:lnTo>
                <a:lnTo>
                  <a:pt x="727" y="444"/>
                </a:lnTo>
                <a:lnTo>
                  <a:pt x="719" y="454"/>
                </a:lnTo>
                <a:lnTo>
                  <a:pt x="711" y="463"/>
                </a:lnTo>
                <a:lnTo>
                  <a:pt x="701" y="472"/>
                </a:lnTo>
                <a:lnTo>
                  <a:pt x="690" y="480"/>
                </a:lnTo>
                <a:lnTo>
                  <a:pt x="680" y="487"/>
                </a:lnTo>
                <a:lnTo>
                  <a:pt x="668" y="492"/>
                </a:lnTo>
                <a:lnTo>
                  <a:pt x="655" y="496"/>
                </a:lnTo>
                <a:lnTo>
                  <a:pt x="642" y="501"/>
                </a:lnTo>
                <a:lnTo>
                  <a:pt x="629" y="502"/>
                </a:lnTo>
                <a:lnTo>
                  <a:pt x="615" y="503"/>
                </a:lnTo>
                <a:close/>
                <a:moveTo>
                  <a:pt x="420" y="308"/>
                </a:moveTo>
                <a:lnTo>
                  <a:pt x="410" y="309"/>
                </a:lnTo>
                <a:lnTo>
                  <a:pt x="400" y="311"/>
                </a:lnTo>
                <a:lnTo>
                  <a:pt x="391" y="315"/>
                </a:lnTo>
                <a:lnTo>
                  <a:pt x="383" y="321"/>
                </a:lnTo>
                <a:lnTo>
                  <a:pt x="377" y="305"/>
                </a:lnTo>
                <a:lnTo>
                  <a:pt x="370" y="290"/>
                </a:lnTo>
                <a:lnTo>
                  <a:pt x="360" y="275"/>
                </a:lnTo>
                <a:lnTo>
                  <a:pt x="351" y="261"/>
                </a:lnTo>
                <a:lnTo>
                  <a:pt x="339" y="249"/>
                </a:lnTo>
                <a:lnTo>
                  <a:pt x="326" y="237"/>
                </a:lnTo>
                <a:lnTo>
                  <a:pt x="312" y="228"/>
                </a:lnTo>
                <a:lnTo>
                  <a:pt x="296" y="220"/>
                </a:lnTo>
                <a:lnTo>
                  <a:pt x="420" y="151"/>
                </a:lnTo>
                <a:lnTo>
                  <a:pt x="544" y="220"/>
                </a:lnTo>
                <a:lnTo>
                  <a:pt x="529" y="228"/>
                </a:lnTo>
                <a:lnTo>
                  <a:pt x="515" y="237"/>
                </a:lnTo>
                <a:lnTo>
                  <a:pt x="502" y="249"/>
                </a:lnTo>
                <a:lnTo>
                  <a:pt x="490" y="261"/>
                </a:lnTo>
                <a:lnTo>
                  <a:pt x="479" y="275"/>
                </a:lnTo>
                <a:lnTo>
                  <a:pt x="471" y="290"/>
                </a:lnTo>
                <a:lnTo>
                  <a:pt x="463" y="305"/>
                </a:lnTo>
                <a:lnTo>
                  <a:pt x="457" y="321"/>
                </a:lnTo>
                <a:lnTo>
                  <a:pt x="449" y="315"/>
                </a:lnTo>
                <a:lnTo>
                  <a:pt x="440" y="311"/>
                </a:lnTo>
                <a:lnTo>
                  <a:pt x="430" y="309"/>
                </a:lnTo>
                <a:lnTo>
                  <a:pt x="420" y="308"/>
                </a:lnTo>
                <a:close/>
                <a:moveTo>
                  <a:pt x="225" y="503"/>
                </a:moveTo>
                <a:lnTo>
                  <a:pt x="211" y="502"/>
                </a:lnTo>
                <a:lnTo>
                  <a:pt x="199" y="501"/>
                </a:lnTo>
                <a:lnTo>
                  <a:pt x="185" y="496"/>
                </a:lnTo>
                <a:lnTo>
                  <a:pt x="173" y="492"/>
                </a:lnTo>
                <a:lnTo>
                  <a:pt x="161" y="487"/>
                </a:lnTo>
                <a:lnTo>
                  <a:pt x="150" y="480"/>
                </a:lnTo>
                <a:lnTo>
                  <a:pt x="140" y="472"/>
                </a:lnTo>
                <a:lnTo>
                  <a:pt x="130" y="463"/>
                </a:lnTo>
                <a:lnTo>
                  <a:pt x="121" y="454"/>
                </a:lnTo>
                <a:lnTo>
                  <a:pt x="113" y="444"/>
                </a:lnTo>
                <a:lnTo>
                  <a:pt x="106" y="432"/>
                </a:lnTo>
                <a:lnTo>
                  <a:pt x="101" y="420"/>
                </a:lnTo>
                <a:lnTo>
                  <a:pt x="97" y="409"/>
                </a:lnTo>
                <a:lnTo>
                  <a:pt x="93" y="396"/>
                </a:lnTo>
                <a:lnTo>
                  <a:pt x="91" y="382"/>
                </a:lnTo>
                <a:lnTo>
                  <a:pt x="90" y="368"/>
                </a:lnTo>
                <a:lnTo>
                  <a:pt x="91" y="354"/>
                </a:lnTo>
                <a:lnTo>
                  <a:pt x="93" y="341"/>
                </a:lnTo>
                <a:lnTo>
                  <a:pt x="97" y="328"/>
                </a:lnTo>
                <a:lnTo>
                  <a:pt x="101" y="315"/>
                </a:lnTo>
                <a:lnTo>
                  <a:pt x="106" y="304"/>
                </a:lnTo>
                <a:lnTo>
                  <a:pt x="113" y="293"/>
                </a:lnTo>
                <a:lnTo>
                  <a:pt x="121" y="282"/>
                </a:lnTo>
                <a:lnTo>
                  <a:pt x="130" y="273"/>
                </a:lnTo>
                <a:lnTo>
                  <a:pt x="140" y="264"/>
                </a:lnTo>
                <a:lnTo>
                  <a:pt x="150" y="257"/>
                </a:lnTo>
                <a:lnTo>
                  <a:pt x="161" y="249"/>
                </a:lnTo>
                <a:lnTo>
                  <a:pt x="173" y="244"/>
                </a:lnTo>
                <a:lnTo>
                  <a:pt x="185" y="239"/>
                </a:lnTo>
                <a:lnTo>
                  <a:pt x="199" y="236"/>
                </a:lnTo>
                <a:lnTo>
                  <a:pt x="211" y="234"/>
                </a:lnTo>
                <a:lnTo>
                  <a:pt x="225" y="233"/>
                </a:lnTo>
                <a:lnTo>
                  <a:pt x="239" y="234"/>
                </a:lnTo>
                <a:lnTo>
                  <a:pt x="252" y="236"/>
                </a:lnTo>
                <a:lnTo>
                  <a:pt x="265" y="239"/>
                </a:lnTo>
                <a:lnTo>
                  <a:pt x="278" y="244"/>
                </a:lnTo>
                <a:lnTo>
                  <a:pt x="290" y="249"/>
                </a:lnTo>
                <a:lnTo>
                  <a:pt x="300" y="257"/>
                </a:lnTo>
                <a:lnTo>
                  <a:pt x="311" y="264"/>
                </a:lnTo>
                <a:lnTo>
                  <a:pt x="321" y="273"/>
                </a:lnTo>
                <a:lnTo>
                  <a:pt x="329" y="282"/>
                </a:lnTo>
                <a:lnTo>
                  <a:pt x="337" y="293"/>
                </a:lnTo>
                <a:lnTo>
                  <a:pt x="344" y="304"/>
                </a:lnTo>
                <a:lnTo>
                  <a:pt x="350" y="315"/>
                </a:lnTo>
                <a:lnTo>
                  <a:pt x="354" y="328"/>
                </a:lnTo>
                <a:lnTo>
                  <a:pt x="357" y="341"/>
                </a:lnTo>
                <a:lnTo>
                  <a:pt x="359" y="354"/>
                </a:lnTo>
                <a:lnTo>
                  <a:pt x="360" y="368"/>
                </a:lnTo>
                <a:lnTo>
                  <a:pt x="359" y="382"/>
                </a:lnTo>
                <a:lnTo>
                  <a:pt x="357" y="396"/>
                </a:lnTo>
                <a:lnTo>
                  <a:pt x="354" y="409"/>
                </a:lnTo>
                <a:lnTo>
                  <a:pt x="350" y="420"/>
                </a:lnTo>
                <a:lnTo>
                  <a:pt x="344" y="432"/>
                </a:lnTo>
                <a:lnTo>
                  <a:pt x="337" y="444"/>
                </a:lnTo>
                <a:lnTo>
                  <a:pt x="329" y="454"/>
                </a:lnTo>
                <a:lnTo>
                  <a:pt x="321" y="463"/>
                </a:lnTo>
                <a:lnTo>
                  <a:pt x="311" y="472"/>
                </a:lnTo>
                <a:lnTo>
                  <a:pt x="300" y="480"/>
                </a:lnTo>
                <a:lnTo>
                  <a:pt x="290" y="487"/>
                </a:lnTo>
                <a:lnTo>
                  <a:pt x="278" y="492"/>
                </a:lnTo>
                <a:lnTo>
                  <a:pt x="265" y="496"/>
                </a:lnTo>
                <a:lnTo>
                  <a:pt x="252" y="501"/>
                </a:lnTo>
                <a:lnTo>
                  <a:pt x="239" y="502"/>
                </a:lnTo>
                <a:lnTo>
                  <a:pt x="225" y="503"/>
                </a:lnTo>
                <a:close/>
                <a:moveTo>
                  <a:pt x="825" y="353"/>
                </a:moveTo>
                <a:lnTo>
                  <a:pt x="779" y="353"/>
                </a:lnTo>
                <a:lnTo>
                  <a:pt x="777" y="338"/>
                </a:lnTo>
                <a:lnTo>
                  <a:pt x="774" y="323"/>
                </a:lnTo>
                <a:lnTo>
                  <a:pt x="769" y="308"/>
                </a:lnTo>
                <a:lnTo>
                  <a:pt x="762" y="294"/>
                </a:lnTo>
                <a:lnTo>
                  <a:pt x="755" y="281"/>
                </a:lnTo>
                <a:lnTo>
                  <a:pt x="746" y="268"/>
                </a:lnTo>
                <a:lnTo>
                  <a:pt x="737" y="258"/>
                </a:lnTo>
                <a:lnTo>
                  <a:pt x="727" y="247"/>
                </a:lnTo>
                <a:lnTo>
                  <a:pt x="715" y="237"/>
                </a:lnTo>
                <a:lnTo>
                  <a:pt x="703" y="229"/>
                </a:lnTo>
                <a:lnTo>
                  <a:pt x="689" y="221"/>
                </a:lnTo>
                <a:lnTo>
                  <a:pt x="675" y="215"/>
                </a:lnTo>
                <a:lnTo>
                  <a:pt x="661" y="209"/>
                </a:lnTo>
                <a:lnTo>
                  <a:pt x="646" y="206"/>
                </a:lnTo>
                <a:lnTo>
                  <a:pt x="631" y="204"/>
                </a:lnTo>
                <a:lnTo>
                  <a:pt x="615" y="203"/>
                </a:lnTo>
                <a:lnTo>
                  <a:pt x="607" y="203"/>
                </a:lnTo>
                <a:lnTo>
                  <a:pt x="598" y="204"/>
                </a:lnTo>
                <a:lnTo>
                  <a:pt x="590" y="205"/>
                </a:lnTo>
                <a:lnTo>
                  <a:pt x="581" y="207"/>
                </a:lnTo>
                <a:lnTo>
                  <a:pt x="450" y="133"/>
                </a:lnTo>
                <a:lnTo>
                  <a:pt x="623" y="36"/>
                </a:lnTo>
                <a:lnTo>
                  <a:pt x="630" y="33"/>
                </a:lnTo>
                <a:lnTo>
                  <a:pt x="639" y="31"/>
                </a:lnTo>
                <a:lnTo>
                  <a:pt x="646" y="30"/>
                </a:lnTo>
                <a:lnTo>
                  <a:pt x="654" y="30"/>
                </a:lnTo>
                <a:lnTo>
                  <a:pt x="661" y="32"/>
                </a:lnTo>
                <a:lnTo>
                  <a:pt x="667" y="35"/>
                </a:lnTo>
                <a:lnTo>
                  <a:pt x="672" y="40"/>
                </a:lnTo>
                <a:lnTo>
                  <a:pt x="676" y="46"/>
                </a:lnTo>
                <a:lnTo>
                  <a:pt x="679" y="49"/>
                </a:lnTo>
                <a:lnTo>
                  <a:pt x="681" y="51"/>
                </a:lnTo>
                <a:lnTo>
                  <a:pt x="683" y="52"/>
                </a:lnTo>
                <a:lnTo>
                  <a:pt x="686" y="53"/>
                </a:lnTo>
                <a:lnTo>
                  <a:pt x="689" y="53"/>
                </a:lnTo>
                <a:lnTo>
                  <a:pt x="691" y="53"/>
                </a:lnTo>
                <a:lnTo>
                  <a:pt x="695" y="53"/>
                </a:lnTo>
                <a:lnTo>
                  <a:pt x="698" y="51"/>
                </a:lnTo>
                <a:lnTo>
                  <a:pt x="700" y="50"/>
                </a:lnTo>
                <a:lnTo>
                  <a:pt x="702" y="48"/>
                </a:lnTo>
                <a:lnTo>
                  <a:pt x="703" y="45"/>
                </a:lnTo>
                <a:lnTo>
                  <a:pt x="704" y="42"/>
                </a:lnTo>
                <a:lnTo>
                  <a:pt x="705" y="39"/>
                </a:lnTo>
                <a:lnTo>
                  <a:pt x="704" y="37"/>
                </a:lnTo>
                <a:lnTo>
                  <a:pt x="704" y="34"/>
                </a:lnTo>
                <a:lnTo>
                  <a:pt x="703" y="31"/>
                </a:lnTo>
                <a:lnTo>
                  <a:pt x="699" y="25"/>
                </a:lnTo>
                <a:lnTo>
                  <a:pt x="695" y="20"/>
                </a:lnTo>
                <a:lnTo>
                  <a:pt x="689" y="15"/>
                </a:lnTo>
                <a:lnTo>
                  <a:pt x="684" y="10"/>
                </a:lnTo>
                <a:lnTo>
                  <a:pt x="679" y="7"/>
                </a:lnTo>
                <a:lnTo>
                  <a:pt x="672" y="4"/>
                </a:lnTo>
                <a:lnTo>
                  <a:pt x="666" y="2"/>
                </a:lnTo>
                <a:lnTo>
                  <a:pt x="659" y="1"/>
                </a:lnTo>
                <a:lnTo>
                  <a:pt x="653" y="0"/>
                </a:lnTo>
                <a:lnTo>
                  <a:pt x="646" y="0"/>
                </a:lnTo>
                <a:lnTo>
                  <a:pt x="640" y="0"/>
                </a:lnTo>
                <a:lnTo>
                  <a:pt x="634" y="1"/>
                </a:lnTo>
                <a:lnTo>
                  <a:pt x="627" y="2"/>
                </a:lnTo>
                <a:lnTo>
                  <a:pt x="621" y="5"/>
                </a:lnTo>
                <a:lnTo>
                  <a:pt x="614" y="7"/>
                </a:lnTo>
                <a:lnTo>
                  <a:pt x="608" y="10"/>
                </a:lnTo>
                <a:lnTo>
                  <a:pt x="420" y="116"/>
                </a:lnTo>
                <a:lnTo>
                  <a:pt x="233" y="10"/>
                </a:lnTo>
                <a:lnTo>
                  <a:pt x="226" y="7"/>
                </a:lnTo>
                <a:lnTo>
                  <a:pt x="220" y="5"/>
                </a:lnTo>
                <a:lnTo>
                  <a:pt x="214" y="2"/>
                </a:lnTo>
                <a:lnTo>
                  <a:pt x="207" y="1"/>
                </a:lnTo>
                <a:lnTo>
                  <a:pt x="201" y="0"/>
                </a:lnTo>
                <a:lnTo>
                  <a:pt x="193" y="0"/>
                </a:lnTo>
                <a:lnTo>
                  <a:pt x="187" y="0"/>
                </a:lnTo>
                <a:lnTo>
                  <a:pt x="180" y="1"/>
                </a:lnTo>
                <a:lnTo>
                  <a:pt x="174" y="2"/>
                </a:lnTo>
                <a:lnTo>
                  <a:pt x="168" y="4"/>
                </a:lnTo>
                <a:lnTo>
                  <a:pt x="161" y="7"/>
                </a:lnTo>
                <a:lnTo>
                  <a:pt x="156" y="10"/>
                </a:lnTo>
                <a:lnTo>
                  <a:pt x="150" y="15"/>
                </a:lnTo>
                <a:lnTo>
                  <a:pt x="146" y="20"/>
                </a:lnTo>
                <a:lnTo>
                  <a:pt x="141" y="25"/>
                </a:lnTo>
                <a:lnTo>
                  <a:pt x="138" y="31"/>
                </a:lnTo>
                <a:lnTo>
                  <a:pt x="136" y="34"/>
                </a:lnTo>
                <a:lnTo>
                  <a:pt x="135" y="37"/>
                </a:lnTo>
                <a:lnTo>
                  <a:pt x="135" y="39"/>
                </a:lnTo>
                <a:lnTo>
                  <a:pt x="135" y="42"/>
                </a:lnTo>
                <a:lnTo>
                  <a:pt x="136" y="45"/>
                </a:lnTo>
                <a:lnTo>
                  <a:pt x="139" y="48"/>
                </a:lnTo>
                <a:lnTo>
                  <a:pt x="141" y="50"/>
                </a:lnTo>
                <a:lnTo>
                  <a:pt x="143" y="51"/>
                </a:lnTo>
                <a:lnTo>
                  <a:pt x="145" y="53"/>
                </a:lnTo>
                <a:lnTo>
                  <a:pt x="148" y="53"/>
                </a:lnTo>
                <a:lnTo>
                  <a:pt x="151" y="53"/>
                </a:lnTo>
                <a:lnTo>
                  <a:pt x="155" y="53"/>
                </a:lnTo>
                <a:lnTo>
                  <a:pt x="157" y="52"/>
                </a:lnTo>
                <a:lnTo>
                  <a:pt x="159" y="51"/>
                </a:lnTo>
                <a:lnTo>
                  <a:pt x="161" y="49"/>
                </a:lnTo>
                <a:lnTo>
                  <a:pt x="163" y="46"/>
                </a:lnTo>
                <a:lnTo>
                  <a:pt x="168" y="40"/>
                </a:lnTo>
                <a:lnTo>
                  <a:pt x="173" y="35"/>
                </a:lnTo>
                <a:lnTo>
                  <a:pt x="179" y="32"/>
                </a:lnTo>
                <a:lnTo>
                  <a:pt x="186" y="30"/>
                </a:lnTo>
                <a:lnTo>
                  <a:pt x="193" y="30"/>
                </a:lnTo>
                <a:lnTo>
                  <a:pt x="202" y="31"/>
                </a:lnTo>
                <a:lnTo>
                  <a:pt x="209" y="33"/>
                </a:lnTo>
                <a:lnTo>
                  <a:pt x="218" y="37"/>
                </a:lnTo>
                <a:lnTo>
                  <a:pt x="389" y="133"/>
                </a:lnTo>
                <a:lnTo>
                  <a:pt x="259" y="206"/>
                </a:lnTo>
                <a:lnTo>
                  <a:pt x="250" y="205"/>
                </a:lnTo>
                <a:lnTo>
                  <a:pt x="243" y="204"/>
                </a:lnTo>
                <a:lnTo>
                  <a:pt x="234" y="203"/>
                </a:lnTo>
                <a:lnTo>
                  <a:pt x="225" y="203"/>
                </a:lnTo>
                <a:lnTo>
                  <a:pt x="209" y="204"/>
                </a:lnTo>
                <a:lnTo>
                  <a:pt x="194" y="206"/>
                </a:lnTo>
                <a:lnTo>
                  <a:pt x="179" y="209"/>
                </a:lnTo>
                <a:lnTo>
                  <a:pt x="164" y="215"/>
                </a:lnTo>
                <a:lnTo>
                  <a:pt x="150" y="221"/>
                </a:lnTo>
                <a:lnTo>
                  <a:pt x="138" y="229"/>
                </a:lnTo>
                <a:lnTo>
                  <a:pt x="126" y="237"/>
                </a:lnTo>
                <a:lnTo>
                  <a:pt x="114" y="247"/>
                </a:lnTo>
                <a:lnTo>
                  <a:pt x="103" y="258"/>
                </a:lnTo>
                <a:lnTo>
                  <a:pt x="94" y="269"/>
                </a:lnTo>
                <a:lnTo>
                  <a:pt x="85" y="281"/>
                </a:lnTo>
                <a:lnTo>
                  <a:pt x="78" y="294"/>
                </a:lnTo>
                <a:lnTo>
                  <a:pt x="72" y="308"/>
                </a:lnTo>
                <a:lnTo>
                  <a:pt x="67" y="323"/>
                </a:lnTo>
                <a:lnTo>
                  <a:pt x="64" y="338"/>
                </a:lnTo>
                <a:lnTo>
                  <a:pt x="61" y="353"/>
                </a:lnTo>
                <a:lnTo>
                  <a:pt x="15" y="353"/>
                </a:lnTo>
                <a:lnTo>
                  <a:pt x="12" y="353"/>
                </a:lnTo>
                <a:lnTo>
                  <a:pt x="10" y="354"/>
                </a:lnTo>
                <a:lnTo>
                  <a:pt x="7" y="356"/>
                </a:lnTo>
                <a:lnTo>
                  <a:pt x="5" y="357"/>
                </a:lnTo>
                <a:lnTo>
                  <a:pt x="3" y="359"/>
                </a:lnTo>
                <a:lnTo>
                  <a:pt x="1" y="363"/>
                </a:lnTo>
                <a:lnTo>
                  <a:pt x="0" y="365"/>
                </a:lnTo>
                <a:lnTo>
                  <a:pt x="0" y="368"/>
                </a:lnTo>
                <a:lnTo>
                  <a:pt x="0" y="371"/>
                </a:lnTo>
                <a:lnTo>
                  <a:pt x="1" y="374"/>
                </a:lnTo>
                <a:lnTo>
                  <a:pt x="3" y="377"/>
                </a:lnTo>
                <a:lnTo>
                  <a:pt x="5" y="379"/>
                </a:lnTo>
                <a:lnTo>
                  <a:pt x="7" y="381"/>
                </a:lnTo>
                <a:lnTo>
                  <a:pt x="10" y="382"/>
                </a:lnTo>
                <a:lnTo>
                  <a:pt x="12" y="383"/>
                </a:lnTo>
                <a:lnTo>
                  <a:pt x="15" y="383"/>
                </a:lnTo>
                <a:lnTo>
                  <a:pt x="61" y="383"/>
                </a:lnTo>
                <a:lnTo>
                  <a:pt x="64" y="399"/>
                </a:lnTo>
                <a:lnTo>
                  <a:pt x="67" y="414"/>
                </a:lnTo>
                <a:lnTo>
                  <a:pt x="72" y="428"/>
                </a:lnTo>
                <a:lnTo>
                  <a:pt x="78" y="442"/>
                </a:lnTo>
                <a:lnTo>
                  <a:pt x="85" y="455"/>
                </a:lnTo>
                <a:lnTo>
                  <a:pt x="94" y="468"/>
                </a:lnTo>
                <a:lnTo>
                  <a:pt x="103" y="479"/>
                </a:lnTo>
                <a:lnTo>
                  <a:pt x="114" y="490"/>
                </a:lnTo>
                <a:lnTo>
                  <a:pt x="126" y="500"/>
                </a:lnTo>
                <a:lnTo>
                  <a:pt x="138" y="508"/>
                </a:lnTo>
                <a:lnTo>
                  <a:pt x="150" y="515"/>
                </a:lnTo>
                <a:lnTo>
                  <a:pt x="164" y="521"/>
                </a:lnTo>
                <a:lnTo>
                  <a:pt x="179" y="526"/>
                </a:lnTo>
                <a:lnTo>
                  <a:pt x="194" y="530"/>
                </a:lnTo>
                <a:lnTo>
                  <a:pt x="209" y="532"/>
                </a:lnTo>
                <a:lnTo>
                  <a:pt x="225" y="533"/>
                </a:lnTo>
                <a:lnTo>
                  <a:pt x="243" y="532"/>
                </a:lnTo>
                <a:lnTo>
                  <a:pt x="259" y="530"/>
                </a:lnTo>
                <a:lnTo>
                  <a:pt x="275" y="525"/>
                </a:lnTo>
                <a:lnTo>
                  <a:pt x="290" y="520"/>
                </a:lnTo>
                <a:lnTo>
                  <a:pt x="304" y="514"/>
                </a:lnTo>
                <a:lnTo>
                  <a:pt x="318" y="505"/>
                </a:lnTo>
                <a:lnTo>
                  <a:pt x="330" y="495"/>
                </a:lnTo>
                <a:lnTo>
                  <a:pt x="342" y="485"/>
                </a:lnTo>
                <a:lnTo>
                  <a:pt x="353" y="473"/>
                </a:lnTo>
                <a:lnTo>
                  <a:pt x="361" y="460"/>
                </a:lnTo>
                <a:lnTo>
                  <a:pt x="370" y="446"/>
                </a:lnTo>
                <a:lnTo>
                  <a:pt x="377" y="432"/>
                </a:lnTo>
                <a:lnTo>
                  <a:pt x="383" y="417"/>
                </a:lnTo>
                <a:lnTo>
                  <a:pt x="387" y="401"/>
                </a:lnTo>
                <a:lnTo>
                  <a:pt x="389" y="385"/>
                </a:lnTo>
                <a:lnTo>
                  <a:pt x="390" y="368"/>
                </a:lnTo>
                <a:lnTo>
                  <a:pt x="390" y="363"/>
                </a:lnTo>
                <a:lnTo>
                  <a:pt x="392" y="356"/>
                </a:lnTo>
                <a:lnTo>
                  <a:pt x="396" y="352"/>
                </a:lnTo>
                <a:lnTo>
                  <a:pt x="399" y="347"/>
                </a:lnTo>
                <a:lnTo>
                  <a:pt x="403" y="343"/>
                </a:lnTo>
                <a:lnTo>
                  <a:pt x="409" y="340"/>
                </a:lnTo>
                <a:lnTo>
                  <a:pt x="414" y="339"/>
                </a:lnTo>
                <a:lnTo>
                  <a:pt x="420" y="338"/>
                </a:lnTo>
                <a:lnTo>
                  <a:pt x="426" y="339"/>
                </a:lnTo>
                <a:lnTo>
                  <a:pt x="432" y="340"/>
                </a:lnTo>
                <a:lnTo>
                  <a:pt x="436" y="343"/>
                </a:lnTo>
                <a:lnTo>
                  <a:pt x="442" y="347"/>
                </a:lnTo>
                <a:lnTo>
                  <a:pt x="445" y="352"/>
                </a:lnTo>
                <a:lnTo>
                  <a:pt x="448" y="356"/>
                </a:lnTo>
                <a:lnTo>
                  <a:pt x="449" y="363"/>
                </a:lnTo>
                <a:lnTo>
                  <a:pt x="450" y="368"/>
                </a:lnTo>
                <a:lnTo>
                  <a:pt x="451" y="385"/>
                </a:lnTo>
                <a:lnTo>
                  <a:pt x="454" y="401"/>
                </a:lnTo>
                <a:lnTo>
                  <a:pt x="458" y="417"/>
                </a:lnTo>
                <a:lnTo>
                  <a:pt x="463" y="432"/>
                </a:lnTo>
                <a:lnTo>
                  <a:pt x="470" y="446"/>
                </a:lnTo>
                <a:lnTo>
                  <a:pt x="478" y="460"/>
                </a:lnTo>
                <a:lnTo>
                  <a:pt x="488" y="473"/>
                </a:lnTo>
                <a:lnTo>
                  <a:pt x="499" y="485"/>
                </a:lnTo>
                <a:lnTo>
                  <a:pt x="510" y="495"/>
                </a:lnTo>
                <a:lnTo>
                  <a:pt x="523" y="505"/>
                </a:lnTo>
                <a:lnTo>
                  <a:pt x="536" y="514"/>
                </a:lnTo>
                <a:lnTo>
                  <a:pt x="551" y="520"/>
                </a:lnTo>
                <a:lnTo>
                  <a:pt x="566" y="525"/>
                </a:lnTo>
                <a:lnTo>
                  <a:pt x="582" y="530"/>
                </a:lnTo>
                <a:lnTo>
                  <a:pt x="598" y="532"/>
                </a:lnTo>
                <a:lnTo>
                  <a:pt x="615" y="533"/>
                </a:lnTo>
                <a:lnTo>
                  <a:pt x="631" y="532"/>
                </a:lnTo>
                <a:lnTo>
                  <a:pt x="646" y="530"/>
                </a:lnTo>
                <a:lnTo>
                  <a:pt x="661" y="526"/>
                </a:lnTo>
                <a:lnTo>
                  <a:pt x="675" y="521"/>
                </a:lnTo>
                <a:lnTo>
                  <a:pt x="689" y="515"/>
                </a:lnTo>
                <a:lnTo>
                  <a:pt x="703" y="508"/>
                </a:lnTo>
                <a:lnTo>
                  <a:pt x="715" y="500"/>
                </a:lnTo>
                <a:lnTo>
                  <a:pt x="727" y="490"/>
                </a:lnTo>
                <a:lnTo>
                  <a:pt x="737" y="479"/>
                </a:lnTo>
                <a:lnTo>
                  <a:pt x="746" y="468"/>
                </a:lnTo>
                <a:lnTo>
                  <a:pt x="755" y="455"/>
                </a:lnTo>
                <a:lnTo>
                  <a:pt x="762" y="442"/>
                </a:lnTo>
                <a:lnTo>
                  <a:pt x="769" y="428"/>
                </a:lnTo>
                <a:lnTo>
                  <a:pt x="774" y="414"/>
                </a:lnTo>
                <a:lnTo>
                  <a:pt x="777" y="399"/>
                </a:lnTo>
                <a:lnTo>
                  <a:pt x="779" y="383"/>
                </a:lnTo>
                <a:lnTo>
                  <a:pt x="825" y="383"/>
                </a:lnTo>
                <a:lnTo>
                  <a:pt x="827" y="383"/>
                </a:lnTo>
                <a:lnTo>
                  <a:pt x="831" y="382"/>
                </a:lnTo>
                <a:lnTo>
                  <a:pt x="833" y="381"/>
                </a:lnTo>
                <a:lnTo>
                  <a:pt x="835" y="379"/>
                </a:lnTo>
                <a:lnTo>
                  <a:pt x="837" y="377"/>
                </a:lnTo>
                <a:lnTo>
                  <a:pt x="838" y="374"/>
                </a:lnTo>
                <a:lnTo>
                  <a:pt x="839" y="371"/>
                </a:lnTo>
                <a:lnTo>
                  <a:pt x="840" y="368"/>
                </a:lnTo>
                <a:lnTo>
                  <a:pt x="839" y="365"/>
                </a:lnTo>
                <a:lnTo>
                  <a:pt x="838" y="363"/>
                </a:lnTo>
                <a:lnTo>
                  <a:pt x="837" y="359"/>
                </a:lnTo>
                <a:lnTo>
                  <a:pt x="835" y="357"/>
                </a:lnTo>
                <a:lnTo>
                  <a:pt x="833" y="356"/>
                </a:lnTo>
                <a:lnTo>
                  <a:pt x="831" y="354"/>
                </a:lnTo>
                <a:lnTo>
                  <a:pt x="827" y="353"/>
                </a:lnTo>
                <a:lnTo>
                  <a:pt x="825" y="353"/>
                </a:lnTo>
                <a:close/>
              </a:path>
            </a:pathLst>
          </a:custGeom>
          <a:solidFill>
            <a:schemeClr val="bg2"/>
          </a:solidFill>
          <a:ln w="3175">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83" name="Group 25">
            <a:extLst>
              <a:ext uri="{FF2B5EF4-FFF2-40B4-BE49-F238E27FC236}">
                <a16:creationId xmlns:a16="http://schemas.microsoft.com/office/drawing/2014/main" id="{4F793574-28C5-47A9-8F8B-DB0540552D83}"/>
              </a:ext>
            </a:extLst>
          </p:cNvPr>
          <p:cNvGrpSpPr>
            <a:grpSpLocks noChangeAspect="1"/>
          </p:cNvGrpSpPr>
          <p:nvPr/>
        </p:nvGrpSpPr>
        <p:grpSpPr>
          <a:xfrm>
            <a:off x="3638321" y="5417576"/>
            <a:ext cx="330486" cy="306484"/>
            <a:chOff x="9888538" y="2498726"/>
            <a:chExt cx="284162" cy="263525"/>
          </a:xfrm>
          <a:solidFill>
            <a:schemeClr val="bg2"/>
          </a:solidFill>
          <a:effectLst/>
        </p:grpSpPr>
        <p:sp>
          <p:nvSpPr>
            <p:cNvPr id="684" name="Freeform 26">
              <a:extLst>
                <a:ext uri="{FF2B5EF4-FFF2-40B4-BE49-F238E27FC236}">
                  <a16:creationId xmlns:a16="http://schemas.microsoft.com/office/drawing/2014/main" id="{55EB0950-DF6A-412E-BF1B-690FCE422E23}"/>
                </a:ext>
              </a:extLst>
            </p:cNvPr>
            <p:cNvSpPr>
              <a:spLocks noEditPoints="1"/>
            </p:cNvSpPr>
            <p:nvPr/>
          </p:nvSpPr>
          <p:spPr bwMode="auto">
            <a:xfrm>
              <a:off x="9888538" y="2498726"/>
              <a:ext cx="284162" cy="263525"/>
            </a:xfrm>
            <a:custGeom>
              <a:avLst/>
              <a:gdLst>
                <a:gd name="T0" fmla="*/ 573 w 896"/>
                <a:gd name="T1" fmla="*/ 758 h 829"/>
                <a:gd name="T2" fmla="*/ 509 w 896"/>
                <a:gd name="T3" fmla="*/ 637 h 829"/>
                <a:gd name="T4" fmla="*/ 549 w 896"/>
                <a:gd name="T5" fmla="*/ 506 h 829"/>
                <a:gd name="T6" fmla="*/ 670 w 896"/>
                <a:gd name="T7" fmla="*/ 441 h 829"/>
                <a:gd name="T8" fmla="*/ 801 w 896"/>
                <a:gd name="T9" fmla="*/ 481 h 829"/>
                <a:gd name="T10" fmla="*/ 867 w 896"/>
                <a:gd name="T11" fmla="*/ 601 h 829"/>
                <a:gd name="T12" fmla="*/ 826 w 896"/>
                <a:gd name="T13" fmla="*/ 734 h 829"/>
                <a:gd name="T14" fmla="*/ 706 w 896"/>
                <a:gd name="T15" fmla="*/ 798 h 829"/>
                <a:gd name="T16" fmla="*/ 109 w 896"/>
                <a:gd name="T17" fmla="*/ 768 h 829"/>
                <a:gd name="T18" fmla="*/ 33 w 896"/>
                <a:gd name="T19" fmla="*/ 655 h 829"/>
                <a:gd name="T20" fmla="*/ 61 w 896"/>
                <a:gd name="T21" fmla="*/ 520 h 829"/>
                <a:gd name="T22" fmla="*/ 173 w 896"/>
                <a:gd name="T23" fmla="*/ 444 h 829"/>
                <a:gd name="T24" fmla="*/ 309 w 896"/>
                <a:gd name="T25" fmla="*/ 471 h 829"/>
                <a:gd name="T26" fmla="*/ 385 w 896"/>
                <a:gd name="T27" fmla="*/ 583 h 829"/>
                <a:gd name="T28" fmla="*/ 358 w 896"/>
                <a:gd name="T29" fmla="*/ 720 h 829"/>
                <a:gd name="T30" fmla="*/ 245 w 896"/>
                <a:gd name="T31" fmla="*/ 795 h 829"/>
                <a:gd name="T32" fmla="*/ 744 w 896"/>
                <a:gd name="T33" fmla="*/ 235 h 829"/>
                <a:gd name="T34" fmla="*/ 596 w 896"/>
                <a:gd name="T35" fmla="*/ 8 h 829"/>
                <a:gd name="T36" fmla="*/ 516 w 896"/>
                <a:gd name="T37" fmla="*/ 8 h 829"/>
                <a:gd name="T38" fmla="*/ 478 w 896"/>
                <a:gd name="T39" fmla="*/ 36 h 829"/>
                <a:gd name="T40" fmla="*/ 490 w 896"/>
                <a:gd name="T41" fmla="*/ 201 h 829"/>
                <a:gd name="T42" fmla="*/ 508 w 896"/>
                <a:gd name="T43" fmla="*/ 189 h 829"/>
                <a:gd name="T44" fmla="*/ 557 w 896"/>
                <a:gd name="T45" fmla="*/ 31 h 829"/>
                <a:gd name="T46" fmla="*/ 660 w 896"/>
                <a:gd name="T47" fmla="*/ 195 h 829"/>
                <a:gd name="T48" fmla="*/ 735 w 896"/>
                <a:gd name="T49" fmla="*/ 416 h 829"/>
                <a:gd name="T50" fmla="*/ 619 w 896"/>
                <a:gd name="T51" fmla="*/ 421 h 829"/>
                <a:gd name="T52" fmla="*/ 532 w 896"/>
                <a:gd name="T53" fmla="*/ 480 h 829"/>
                <a:gd name="T54" fmla="*/ 563 w 896"/>
                <a:gd name="T55" fmla="*/ 320 h 829"/>
                <a:gd name="T56" fmla="*/ 584 w 896"/>
                <a:gd name="T57" fmla="*/ 356 h 829"/>
                <a:gd name="T58" fmla="*/ 603 w 896"/>
                <a:gd name="T59" fmla="*/ 365 h 829"/>
                <a:gd name="T60" fmla="*/ 610 w 896"/>
                <a:gd name="T61" fmla="*/ 332 h 829"/>
                <a:gd name="T62" fmla="*/ 541 w 896"/>
                <a:gd name="T63" fmla="*/ 276 h 829"/>
                <a:gd name="T64" fmla="*/ 414 w 896"/>
                <a:gd name="T65" fmla="*/ 263 h 829"/>
                <a:gd name="T66" fmla="*/ 311 w 896"/>
                <a:gd name="T67" fmla="*/ 299 h 829"/>
                <a:gd name="T68" fmla="*/ 286 w 896"/>
                <a:gd name="T69" fmla="*/ 356 h 829"/>
                <a:gd name="T70" fmla="*/ 305 w 896"/>
                <a:gd name="T71" fmla="*/ 365 h 829"/>
                <a:gd name="T72" fmla="*/ 316 w 896"/>
                <a:gd name="T73" fmla="*/ 342 h 829"/>
                <a:gd name="T74" fmla="*/ 388 w 896"/>
                <a:gd name="T75" fmla="*/ 297 h 829"/>
                <a:gd name="T76" fmla="*/ 325 w 896"/>
                <a:gd name="T77" fmla="*/ 446 h 829"/>
                <a:gd name="T78" fmla="*/ 224 w 896"/>
                <a:gd name="T79" fmla="*/ 411 h 829"/>
                <a:gd name="T80" fmla="*/ 105 w 896"/>
                <a:gd name="T81" fmla="*/ 438 h 829"/>
                <a:gd name="T82" fmla="*/ 306 w 896"/>
                <a:gd name="T83" fmla="*/ 39 h 829"/>
                <a:gd name="T84" fmla="*/ 379 w 896"/>
                <a:gd name="T85" fmla="*/ 37 h 829"/>
                <a:gd name="T86" fmla="*/ 396 w 896"/>
                <a:gd name="T87" fmla="*/ 199 h 829"/>
                <a:gd name="T88" fmla="*/ 416 w 896"/>
                <a:gd name="T89" fmla="*/ 195 h 829"/>
                <a:gd name="T90" fmla="*/ 414 w 896"/>
                <a:gd name="T91" fmla="*/ 26 h 829"/>
                <a:gd name="T92" fmla="*/ 343 w 896"/>
                <a:gd name="T93" fmla="*/ 0 h 829"/>
                <a:gd name="T94" fmla="*/ 274 w 896"/>
                <a:gd name="T95" fmla="*/ 26 h 829"/>
                <a:gd name="T96" fmla="*/ 31 w 896"/>
                <a:gd name="T97" fmla="*/ 510 h 829"/>
                <a:gd name="T98" fmla="*/ 1 w 896"/>
                <a:gd name="T99" fmla="*/ 604 h 829"/>
                <a:gd name="T100" fmla="*/ 26 w 896"/>
                <a:gd name="T101" fmla="*/ 719 h 829"/>
                <a:gd name="T102" fmla="*/ 148 w 896"/>
                <a:gd name="T103" fmla="*/ 819 h 829"/>
                <a:gd name="T104" fmla="*/ 272 w 896"/>
                <a:gd name="T105" fmla="*/ 819 h 829"/>
                <a:gd name="T106" fmla="*/ 394 w 896"/>
                <a:gd name="T107" fmla="*/ 719 h 829"/>
                <a:gd name="T108" fmla="*/ 418 w 896"/>
                <a:gd name="T109" fmla="*/ 292 h 829"/>
                <a:gd name="T110" fmla="*/ 480 w 896"/>
                <a:gd name="T111" fmla="*/ 651 h 829"/>
                <a:gd name="T112" fmla="*/ 554 w 896"/>
                <a:gd name="T113" fmla="*/ 781 h 829"/>
                <a:gd name="T114" fmla="*/ 677 w 896"/>
                <a:gd name="T115" fmla="*/ 829 h 829"/>
                <a:gd name="T116" fmla="*/ 821 w 896"/>
                <a:gd name="T117" fmla="*/ 781 h 829"/>
                <a:gd name="T118" fmla="*/ 894 w 896"/>
                <a:gd name="T119" fmla="*/ 651 h 829"/>
                <a:gd name="T120" fmla="*/ 885 w 896"/>
                <a:gd name="T121" fmla="*/ 54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6" h="829">
                  <a:moveTo>
                    <a:pt x="688" y="799"/>
                  </a:moveTo>
                  <a:lnTo>
                    <a:pt x="670" y="798"/>
                  </a:lnTo>
                  <a:lnTo>
                    <a:pt x="652" y="795"/>
                  </a:lnTo>
                  <a:lnTo>
                    <a:pt x="634" y="790"/>
                  </a:lnTo>
                  <a:lnTo>
                    <a:pt x="618" y="785"/>
                  </a:lnTo>
                  <a:lnTo>
                    <a:pt x="602" y="777"/>
                  </a:lnTo>
                  <a:lnTo>
                    <a:pt x="587" y="768"/>
                  </a:lnTo>
                  <a:lnTo>
                    <a:pt x="573" y="758"/>
                  </a:lnTo>
                  <a:lnTo>
                    <a:pt x="561" y="746"/>
                  </a:lnTo>
                  <a:lnTo>
                    <a:pt x="549" y="734"/>
                  </a:lnTo>
                  <a:lnTo>
                    <a:pt x="539" y="720"/>
                  </a:lnTo>
                  <a:lnTo>
                    <a:pt x="530" y="705"/>
                  </a:lnTo>
                  <a:lnTo>
                    <a:pt x="522" y="689"/>
                  </a:lnTo>
                  <a:lnTo>
                    <a:pt x="517" y="673"/>
                  </a:lnTo>
                  <a:lnTo>
                    <a:pt x="512" y="655"/>
                  </a:lnTo>
                  <a:lnTo>
                    <a:pt x="509" y="637"/>
                  </a:lnTo>
                  <a:lnTo>
                    <a:pt x="508" y="619"/>
                  </a:lnTo>
                  <a:lnTo>
                    <a:pt x="509" y="601"/>
                  </a:lnTo>
                  <a:lnTo>
                    <a:pt x="512" y="583"/>
                  </a:lnTo>
                  <a:lnTo>
                    <a:pt x="517" y="566"/>
                  </a:lnTo>
                  <a:lnTo>
                    <a:pt x="522" y="550"/>
                  </a:lnTo>
                  <a:lnTo>
                    <a:pt x="530" y="534"/>
                  </a:lnTo>
                  <a:lnTo>
                    <a:pt x="539" y="520"/>
                  </a:lnTo>
                  <a:lnTo>
                    <a:pt x="549" y="506"/>
                  </a:lnTo>
                  <a:lnTo>
                    <a:pt x="561" y="493"/>
                  </a:lnTo>
                  <a:lnTo>
                    <a:pt x="573" y="481"/>
                  </a:lnTo>
                  <a:lnTo>
                    <a:pt x="587" y="471"/>
                  </a:lnTo>
                  <a:lnTo>
                    <a:pt x="602" y="462"/>
                  </a:lnTo>
                  <a:lnTo>
                    <a:pt x="618" y="454"/>
                  </a:lnTo>
                  <a:lnTo>
                    <a:pt x="634" y="448"/>
                  </a:lnTo>
                  <a:lnTo>
                    <a:pt x="652" y="444"/>
                  </a:lnTo>
                  <a:lnTo>
                    <a:pt x="670" y="441"/>
                  </a:lnTo>
                  <a:lnTo>
                    <a:pt x="688" y="441"/>
                  </a:lnTo>
                  <a:lnTo>
                    <a:pt x="706" y="441"/>
                  </a:lnTo>
                  <a:lnTo>
                    <a:pt x="724" y="444"/>
                  </a:lnTo>
                  <a:lnTo>
                    <a:pt x="741" y="448"/>
                  </a:lnTo>
                  <a:lnTo>
                    <a:pt x="757" y="454"/>
                  </a:lnTo>
                  <a:lnTo>
                    <a:pt x="773" y="462"/>
                  </a:lnTo>
                  <a:lnTo>
                    <a:pt x="787" y="471"/>
                  </a:lnTo>
                  <a:lnTo>
                    <a:pt x="801" y="481"/>
                  </a:lnTo>
                  <a:lnTo>
                    <a:pt x="814" y="493"/>
                  </a:lnTo>
                  <a:lnTo>
                    <a:pt x="826" y="506"/>
                  </a:lnTo>
                  <a:lnTo>
                    <a:pt x="837" y="520"/>
                  </a:lnTo>
                  <a:lnTo>
                    <a:pt x="845" y="534"/>
                  </a:lnTo>
                  <a:lnTo>
                    <a:pt x="853" y="550"/>
                  </a:lnTo>
                  <a:lnTo>
                    <a:pt x="859" y="566"/>
                  </a:lnTo>
                  <a:lnTo>
                    <a:pt x="863" y="583"/>
                  </a:lnTo>
                  <a:lnTo>
                    <a:pt x="867" y="601"/>
                  </a:lnTo>
                  <a:lnTo>
                    <a:pt x="867" y="619"/>
                  </a:lnTo>
                  <a:lnTo>
                    <a:pt x="867" y="637"/>
                  </a:lnTo>
                  <a:lnTo>
                    <a:pt x="863" y="655"/>
                  </a:lnTo>
                  <a:lnTo>
                    <a:pt x="859" y="673"/>
                  </a:lnTo>
                  <a:lnTo>
                    <a:pt x="853" y="689"/>
                  </a:lnTo>
                  <a:lnTo>
                    <a:pt x="845" y="705"/>
                  </a:lnTo>
                  <a:lnTo>
                    <a:pt x="837" y="720"/>
                  </a:lnTo>
                  <a:lnTo>
                    <a:pt x="826" y="734"/>
                  </a:lnTo>
                  <a:lnTo>
                    <a:pt x="814" y="746"/>
                  </a:lnTo>
                  <a:lnTo>
                    <a:pt x="801" y="758"/>
                  </a:lnTo>
                  <a:lnTo>
                    <a:pt x="787" y="768"/>
                  </a:lnTo>
                  <a:lnTo>
                    <a:pt x="773" y="777"/>
                  </a:lnTo>
                  <a:lnTo>
                    <a:pt x="757" y="785"/>
                  </a:lnTo>
                  <a:lnTo>
                    <a:pt x="741" y="790"/>
                  </a:lnTo>
                  <a:lnTo>
                    <a:pt x="724" y="795"/>
                  </a:lnTo>
                  <a:lnTo>
                    <a:pt x="706" y="798"/>
                  </a:lnTo>
                  <a:lnTo>
                    <a:pt x="688" y="799"/>
                  </a:lnTo>
                  <a:close/>
                  <a:moveTo>
                    <a:pt x="210" y="799"/>
                  </a:moveTo>
                  <a:lnTo>
                    <a:pt x="192" y="798"/>
                  </a:lnTo>
                  <a:lnTo>
                    <a:pt x="173" y="795"/>
                  </a:lnTo>
                  <a:lnTo>
                    <a:pt x="156" y="790"/>
                  </a:lnTo>
                  <a:lnTo>
                    <a:pt x="140" y="785"/>
                  </a:lnTo>
                  <a:lnTo>
                    <a:pt x="124" y="777"/>
                  </a:lnTo>
                  <a:lnTo>
                    <a:pt x="109" y="768"/>
                  </a:lnTo>
                  <a:lnTo>
                    <a:pt x="95" y="758"/>
                  </a:lnTo>
                  <a:lnTo>
                    <a:pt x="82" y="746"/>
                  </a:lnTo>
                  <a:lnTo>
                    <a:pt x="71" y="734"/>
                  </a:lnTo>
                  <a:lnTo>
                    <a:pt x="61" y="720"/>
                  </a:lnTo>
                  <a:lnTo>
                    <a:pt x="51" y="705"/>
                  </a:lnTo>
                  <a:lnTo>
                    <a:pt x="44" y="689"/>
                  </a:lnTo>
                  <a:lnTo>
                    <a:pt x="39" y="673"/>
                  </a:lnTo>
                  <a:lnTo>
                    <a:pt x="33" y="655"/>
                  </a:lnTo>
                  <a:lnTo>
                    <a:pt x="31" y="637"/>
                  </a:lnTo>
                  <a:lnTo>
                    <a:pt x="30" y="619"/>
                  </a:lnTo>
                  <a:lnTo>
                    <a:pt x="31" y="601"/>
                  </a:lnTo>
                  <a:lnTo>
                    <a:pt x="33" y="583"/>
                  </a:lnTo>
                  <a:lnTo>
                    <a:pt x="39" y="566"/>
                  </a:lnTo>
                  <a:lnTo>
                    <a:pt x="44" y="550"/>
                  </a:lnTo>
                  <a:lnTo>
                    <a:pt x="51" y="534"/>
                  </a:lnTo>
                  <a:lnTo>
                    <a:pt x="61" y="520"/>
                  </a:lnTo>
                  <a:lnTo>
                    <a:pt x="71" y="506"/>
                  </a:lnTo>
                  <a:lnTo>
                    <a:pt x="82" y="493"/>
                  </a:lnTo>
                  <a:lnTo>
                    <a:pt x="95" y="481"/>
                  </a:lnTo>
                  <a:lnTo>
                    <a:pt x="109" y="471"/>
                  </a:lnTo>
                  <a:lnTo>
                    <a:pt x="124" y="462"/>
                  </a:lnTo>
                  <a:lnTo>
                    <a:pt x="140" y="454"/>
                  </a:lnTo>
                  <a:lnTo>
                    <a:pt x="156" y="448"/>
                  </a:lnTo>
                  <a:lnTo>
                    <a:pt x="173" y="444"/>
                  </a:lnTo>
                  <a:lnTo>
                    <a:pt x="192" y="441"/>
                  </a:lnTo>
                  <a:lnTo>
                    <a:pt x="210" y="441"/>
                  </a:lnTo>
                  <a:lnTo>
                    <a:pt x="228" y="441"/>
                  </a:lnTo>
                  <a:lnTo>
                    <a:pt x="245" y="444"/>
                  </a:lnTo>
                  <a:lnTo>
                    <a:pt x="263" y="448"/>
                  </a:lnTo>
                  <a:lnTo>
                    <a:pt x="279" y="454"/>
                  </a:lnTo>
                  <a:lnTo>
                    <a:pt x="295" y="462"/>
                  </a:lnTo>
                  <a:lnTo>
                    <a:pt x="309" y="471"/>
                  </a:lnTo>
                  <a:lnTo>
                    <a:pt x="323" y="481"/>
                  </a:lnTo>
                  <a:lnTo>
                    <a:pt x="336" y="493"/>
                  </a:lnTo>
                  <a:lnTo>
                    <a:pt x="348" y="506"/>
                  </a:lnTo>
                  <a:lnTo>
                    <a:pt x="358" y="520"/>
                  </a:lnTo>
                  <a:lnTo>
                    <a:pt x="367" y="534"/>
                  </a:lnTo>
                  <a:lnTo>
                    <a:pt x="374" y="550"/>
                  </a:lnTo>
                  <a:lnTo>
                    <a:pt x="381" y="566"/>
                  </a:lnTo>
                  <a:lnTo>
                    <a:pt x="385" y="583"/>
                  </a:lnTo>
                  <a:lnTo>
                    <a:pt x="387" y="601"/>
                  </a:lnTo>
                  <a:lnTo>
                    <a:pt x="388" y="619"/>
                  </a:lnTo>
                  <a:lnTo>
                    <a:pt x="387" y="637"/>
                  </a:lnTo>
                  <a:lnTo>
                    <a:pt x="385" y="655"/>
                  </a:lnTo>
                  <a:lnTo>
                    <a:pt x="381" y="673"/>
                  </a:lnTo>
                  <a:lnTo>
                    <a:pt x="374" y="689"/>
                  </a:lnTo>
                  <a:lnTo>
                    <a:pt x="367" y="705"/>
                  </a:lnTo>
                  <a:lnTo>
                    <a:pt x="358" y="720"/>
                  </a:lnTo>
                  <a:lnTo>
                    <a:pt x="348" y="734"/>
                  </a:lnTo>
                  <a:lnTo>
                    <a:pt x="336" y="746"/>
                  </a:lnTo>
                  <a:lnTo>
                    <a:pt x="323" y="758"/>
                  </a:lnTo>
                  <a:lnTo>
                    <a:pt x="309" y="768"/>
                  </a:lnTo>
                  <a:lnTo>
                    <a:pt x="295" y="777"/>
                  </a:lnTo>
                  <a:lnTo>
                    <a:pt x="279" y="785"/>
                  </a:lnTo>
                  <a:lnTo>
                    <a:pt x="263" y="790"/>
                  </a:lnTo>
                  <a:lnTo>
                    <a:pt x="245" y="795"/>
                  </a:lnTo>
                  <a:lnTo>
                    <a:pt x="228" y="798"/>
                  </a:lnTo>
                  <a:lnTo>
                    <a:pt x="210" y="799"/>
                  </a:lnTo>
                  <a:close/>
                  <a:moveTo>
                    <a:pt x="867" y="511"/>
                  </a:moveTo>
                  <a:lnTo>
                    <a:pt x="865" y="510"/>
                  </a:lnTo>
                  <a:lnTo>
                    <a:pt x="865" y="509"/>
                  </a:lnTo>
                  <a:lnTo>
                    <a:pt x="746" y="240"/>
                  </a:lnTo>
                  <a:lnTo>
                    <a:pt x="745" y="237"/>
                  </a:lnTo>
                  <a:lnTo>
                    <a:pt x="744" y="235"/>
                  </a:lnTo>
                  <a:lnTo>
                    <a:pt x="686" y="178"/>
                  </a:lnTo>
                  <a:lnTo>
                    <a:pt x="632" y="32"/>
                  </a:lnTo>
                  <a:lnTo>
                    <a:pt x="631" y="29"/>
                  </a:lnTo>
                  <a:lnTo>
                    <a:pt x="629" y="26"/>
                  </a:lnTo>
                  <a:lnTo>
                    <a:pt x="622" y="20"/>
                  </a:lnTo>
                  <a:lnTo>
                    <a:pt x="614" y="15"/>
                  </a:lnTo>
                  <a:lnTo>
                    <a:pt x="606" y="11"/>
                  </a:lnTo>
                  <a:lnTo>
                    <a:pt x="596" y="8"/>
                  </a:lnTo>
                  <a:lnTo>
                    <a:pt x="586" y="4"/>
                  </a:lnTo>
                  <a:lnTo>
                    <a:pt x="577" y="2"/>
                  </a:lnTo>
                  <a:lnTo>
                    <a:pt x="566" y="1"/>
                  </a:lnTo>
                  <a:lnTo>
                    <a:pt x="555" y="1"/>
                  </a:lnTo>
                  <a:lnTo>
                    <a:pt x="546" y="1"/>
                  </a:lnTo>
                  <a:lnTo>
                    <a:pt x="535" y="2"/>
                  </a:lnTo>
                  <a:lnTo>
                    <a:pt x="525" y="4"/>
                  </a:lnTo>
                  <a:lnTo>
                    <a:pt x="516" y="8"/>
                  </a:lnTo>
                  <a:lnTo>
                    <a:pt x="506" y="11"/>
                  </a:lnTo>
                  <a:lnTo>
                    <a:pt x="497" y="15"/>
                  </a:lnTo>
                  <a:lnTo>
                    <a:pt x="490" y="20"/>
                  </a:lnTo>
                  <a:lnTo>
                    <a:pt x="483" y="26"/>
                  </a:lnTo>
                  <a:lnTo>
                    <a:pt x="481" y="29"/>
                  </a:lnTo>
                  <a:lnTo>
                    <a:pt x="479" y="31"/>
                  </a:lnTo>
                  <a:lnTo>
                    <a:pt x="478" y="34"/>
                  </a:lnTo>
                  <a:lnTo>
                    <a:pt x="478" y="36"/>
                  </a:lnTo>
                  <a:lnTo>
                    <a:pt x="478" y="186"/>
                  </a:lnTo>
                  <a:lnTo>
                    <a:pt x="478" y="189"/>
                  </a:lnTo>
                  <a:lnTo>
                    <a:pt x="479" y="191"/>
                  </a:lnTo>
                  <a:lnTo>
                    <a:pt x="481" y="195"/>
                  </a:lnTo>
                  <a:lnTo>
                    <a:pt x="483" y="197"/>
                  </a:lnTo>
                  <a:lnTo>
                    <a:pt x="485" y="199"/>
                  </a:lnTo>
                  <a:lnTo>
                    <a:pt x="488" y="200"/>
                  </a:lnTo>
                  <a:lnTo>
                    <a:pt x="490" y="201"/>
                  </a:lnTo>
                  <a:lnTo>
                    <a:pt x="493" y="201"/>
                  </a:lnTo>
                  <a:lnTo>
                    <a:pt x="496" y="201"/>
                  </a:lnTo>
                  <a:lnTo>
                    <a:pt x="500" y="200"/>
                  </a:lnTo>
                  <a:lnTo>
                    <a:pt x="502" y="199"/>
                  </a:lnTo>
                  <a:lnTo>
                    <a:pt x="504" y="197"/>
                  </a:lnTo>
                  <a:lnTo>
                    <a:pt x="506" y="195"/>
                  </a:lnTo>
                  <a:lnTo>
                    <a:pt x="507" y="191"/>
                  </a:lnTo>
                  <a:lnTo>
                    <a:pt x="508" y="189"/>
                  </a:lnTo>
                  <a:lnTo>
                    <a:pt x="508" y="186"/>
                  </a:lnTo>
                  <a:lnTo>
                    <a:pt x="508" y="44"/>
                  </a:lnTo>
                  <a:lnTo>
                    <a:pt x="514" y="41"/>
                  </a:lnTo>
                  <a:lnTo>
                    <a:pt x="519" y="37"/>
                  </a:lnTo>
                  <a:lnTo>
                    <a:pt x="524" y="35"/>
                  </a:lnTo>
                  <a:lnTo>
                    <a:pt x="531" y="33"/>
                  </a:lnTo>
                  <a:lnTo>
                    <a:pt x="543" y="31"/>
                  </a:lnTo>
                  <a:lnTo>
                    <a:pt x="557" y="31"/>
                  </a:lnTo>
                  <a:lnTo>
                    <a:pt x="571" y="32"/>
                  </a:lnTo>
                  <a:lnTo>
                    <a:pt x="584" y="34"/>
                  </a:lnTo>
                  <a:lnTo>
                    <a:pt x="591" y="36"/>
                  </a:lnTo>
                  <a:lnTo>
                    <a:pt x="596" y="39"/>
                  </a:lnTo>
                  <a:lnTo>
                    <a:pt x="601" y="42"/>
                  </a:lnTo>
                  <a:lnTo>
                    <a:pt x="606" y="45"/>
                  </a:lnTo>
                  <a:lnTo>
                    <a:pt x="659" y="191"/>
                  </a:lnTo>
                  <a:lnTo>
                    <a:pt x="660" y="195"/>
                  </a:lnTo>
                  <a:lnTo>
                    <a:pt x="662" y="197"/>
                  </a:lnTo>
                  <a:lnTo>
                    <a:pt x="720" y="255"/>
                  </a:lnTo>
                  <a:lnTo>
                    <a:pt x="806" y="447"/>
                  </a:lnTo>
                  <a:lnTo>
                    <a:pt x="793" y="438"/>
                  </a:lnTo>
                  <a:lnTo>
                    <a:pt x="779" y="431"/>
                  </a:lnTo>
                  <a:lnTo>
                    <a:pt x="765" y="425"/>
                  </a:lnTo>
                  <a:lnTo>
                    <a:pt x="750" y="420"/>
                  </a:lnTo>
                  <a:lnTo>
                    <a:pt x="735" y="416"/>
                  </a:lnTo>
                  <a:lnTo>
                    <a:pt x="720" y="413"/>
                  </a:lnTo>
                  <a:lnTo>
                    <a:pt x="704" y="411"/>
                  </a:lnTo>
                  <a:lnTo>
                    <a:pt x="688" y="411"/>
                  </a:lnTo>
                  <a:lnTo>
                    <a:pt x="674" y="411"/>
                  </a:lnTo>
                  <a:lnTo>
                    <a:pt x="660" y="412"/>
                  </a:lnTo>
                  <a:lnTo>
                    <a:pt x="646" y="415"/>
                  </a:lnTo>
                  <a:lnTo>
                    <a:pt x="632" y="418"/>
                  </a:lnTo>
                  <a:lnTo>
                    <a:pt x="619" y="421"/>
                  </a:lnTo>
                  <a:lnTo>
                    <a:pt x="607" y="427"/>
                  </a:lnTo>
                  <a:lnTo>
                    <a:pt x="595" y="432"/>
                  </a:lnTo>
                  <a:lnTo>
                    <a:pt x="583" y="438"/>
                  </a:lnTo>
                  <a:lnTo>
                    <a:pt x="572" y="446"/>
                  </a:lnTo>
                  <a:lnTo>
                    <a:pt x="561" y="453"/>
                  </a:lnTo>
                  <a:lnTo>
                    <a:pt x="551" y="462"/>
                  </a:lnTo>
                  <a:lnTo>
                    <a:pt x="541" y="471"/>
                  </a:lnTo>
                  <a:lnTo>
                    <a:pt x="532" y="480"/>
                  </a:lnTo>
                  <a:lnTo>
                    <a:pt x="523" y="491"/>
                  </a:lnTo>
                  <a:lnTo>
                    <a:pt x="516" y="502"/>
                  </a:lnTo>
                  <a:lnTo>
                    <a:pt x="508" y="512"/>
                  </a:lnTo>
                  <a:lnTo>
                    <a:pt x="508" y="297"/>
                  </a:lnTo>
                  <a:lnTo>
                    <a:pt x="525" y="302"/>
                  </a:lnTo>
                  <a:lnTo>
                    <a:pt x="539" y="307"/>
                  </a:lnTo>
                  <a:lnTo>
                    <a:pt x="552" y="313"/>
                  </a:lnTo>
                  <a:lnTo>
                    <a:pt x="563" y="320"/>
                  </a:lnTo>
                  <a:lnTo>
                    <a:pt x="571" y="327"/>
                  </a:lnTo>
                  <a:lnTo>
                    <a:pt x="578" y="335"/>
                  </a:lnTo>
                  <a:lnTo>
                    <a:pt x="580" y="339"/>
                  </a:lnTo>
                  <a:lnTo>
                    <a:pt x="582" y="342"/>
                  </a:lnTo>
                  <a:lnTo>
                    <a:pt x="583" y="346"/>
                  </a:lnTo>
                  <a:lnTo>
                    <a:pt x="583" y="351"/>
                  </a:lnTo>
                  <a:lnTo>
                    <a:pt x="583" y="354"/>
                  </a:lnTo>
                  <a:lnTo>
                    <a:pt x="584" y="356"/>
                  </a:lnTo>
                  <a:lnTo>
                    <a:pt x="585" y="359"/>
                  </a:lnTo>
                  <a:lnTo>
                    <a:pt x="587" y="361"/>
                  </a:lnTo>
                  <a:lnTo>
                    <a:pt x="589" y="363"/>
                  </a:lnTo>
                  <a:lnTo>
                    <a:pt x="593" y="365"/>
                  </a:lnTo>
                  <a:lnTo>
                    <a:pt x="595" y="365"/>
                  </a:lnTo>
                  <a:lnTo>
                    <a:pt x="598" y="366"/>
                  </a:lnTo>
                  <a:lnTo>
                    <a:pt x="601" y="365"/>
                  </a:lnTo>
                  <a:lnTo>
                    <a:pt x="603" y="365"/>
                  </a:lnTo>
                  <a:lnTo>
                    <a:pt x="607" y="363"/>
                  </a:lnTo>
                  <a:lnTo>
                    <a:pt x="609" y="361"/>
                  </a:lnTo>
                  <a:lnTo>
                    <a:pt x="611" y="359"/>
                  </a:lnTo>
                  <a:lnTo>
                    <a:pt x="612" y="356"/>
                  </a:lnTo>
                  <a:lnTo>
                    <a:pt x="613" y="354"/>
                  </a:lnTo>
                  <a:lnTo>
                    <a:pt x="613" y="351"/>
                  </a:lnTo>
                  <a:lnTo>
                    <a:pt x="612" y="341"/>
                  </a:lnTo>
                  <a:lnTo>
                    <a:pt x="610" y="332"/>
                  </a:lnTo>
                  <a:lnTo>
                    <a:pt x="606" y="323"/>
                  </a:lnTo>
                  <a:lnTo>
                    <a:pt x="600" y="314"/>
                  </a:lnTo>
                  <a:lnTo>
                    <a:pt x="594" y="307"/>
                  </a:lnTo>
                  <a:lnTo>
                    <a:pt x="585" y="299"/>
                  </a:lnTo>
                  <a:lnTo>
                    <a:pt x="577" y="293"/>
                  </a:lnTo>
                  <a:lnTo>
                    <a:pt x="566" y="287"/>
                  </a:lnTo>
                  <a:lnTo>
                    <a:pt x="554" y="281"/>
                  </a:lnTo>
                  <a:lnTo>
                    <a:pt x="541" y="276"/>
                  </a:lnTo>
                  <a:lnTo>
                    <a:pt x="528" y="272"/>
                  </a:lnTo>
                  <a:lnTo>
                    <a:pt x="514" y="267"/>
                  </a:lnTo>
                  <a:lnTo>
                    <a:pt x="499" y="265"/>
                  </a:lnTo>
                  <a:lnTo>
                    <a:pt x="483" y="263"/>
                  </a:lnTo>
                  <a:lnTo>
                    <a:pt x="465" y="261"/>
                  </a:lnTo>
                  <a:lnTo>
                    <a:pt x="448" y="261"/>
                  </a:lnTo>
                  <a:lnTo>
                    <a:pt x="431" y="261"/>
                  </a:lnTo>
                  <a:lnTo>
                    <a:pt x="414" y="263"/>
                  </a:lnTo>
                  <a:lnTo>
                    <a:pt x="399" y="265"/>
                  </a:lnTo>
                  <a:lnTo>
                    <a:pt x="383" y="267"/>
                  </a:lnTo>
                  <a:lnTo>
                    <a:pt x="369" y="272"/>
                  </a:lnTo>
                  <a:lnTo>
                    <a:pt x="355" y="276"/>
                  </a:lnTo>
                  <a:lnTo>
                    <a:pt x="342" y="281"/>
                  </a:lnTo>
                  <a:lnTo>
                    <a:pt x="332" y="287"/>
                  </a:lnTo>
                  <a:lnTo>
                    <a:pt x="321" y="293"/>
                  </a:lnTo>
                  <a:lnTo>
                    <a:pt x="311" y="299"/>
                  </a:lnTo>
                  <a:lnTo>
                    <a:pt x="304" y="307"/>
                  </a:lnTo>
                  <a:lnTo>
                    <a:pt x="296" y="314"/>
                  </a:lnTo>
                  <a:lnTo>
                    <a:pt x="291" y="323"/>
                  </a:lnTo>
                  <a:lnTo>
                    <a:pt x="288" y="332"/>
                  </a:lnTo>
                  <a:lnTo>
                    <a:pt x="285" y="341"/>
                  </a:lnTo>
                  <a:lnTo>
                    <a:pt x="285" y="351"/>
                  </a:lnTo>
                  <a:lnTo>
                    <a:pt x="285" y="354"/>
                  </a:lnTo>
                  <a:lnTo>
                    <a:pt x="286" y="356"/>
                  </a:lnTo>
                  <a:lnTo>
                    <a:pt x="287" y="359"/>
                  </a:lnTo>
                  <a:lnTo>
                    <a:pt x="289" y="361"/>
                  </a:lnTo>
                  <a:lnTo>
                    <a:pt x="291" y="363"/>
                  </a:lnTo>
                  <a:lnTo>
                    <a:pt x="293" y="365"/>
                  </a:lnTo>
                  <a:lnTo>
                    <a:pt x="296" y="365"/>
                  </a:lnTo>
                  <a:lnTo>
                    <a:pt x="300" y="366"/>
                  </a:lnTo>
                  <a:lnTo>
                    <a:pt x="302" y="365"/>
                  </a:lnTo>
                  <a:lnTo>
                    <a:pt x="305" y="365"/>
                  </a:lnTo>
                  <a:lnTo>
                    <a:pt x="307" y="363"/>
                  </a:lnTo>
                  <a:lnTo>
                    <a:pt x="309" y="361"/>
                  </a:lnTo>
                  <a:lnTo>
                    <a:pt x="311" y="359"/>
                  </a:lnTo>
                  <a:lnTo>
                    <a:pt x="312" y="356"/>
                  </a:lnTo>
                  <a:lnTo>
                    <a:pt x="313" y="354"/>
                  </a:lnTo>
                  <a:lnTo>
                    <a:pt x="313" y="351"/>
                  </a:lnTo>
                  <a:lnTo>
                    <a:pt x="315" y="346"/>
                  </a:lnTo>
                  <a:lnTo>
                    <a:pt x="316" y="342"/>
                  </a:lnTo>
                  <a:lnTo>
                    <a:pt x="317" y="339"/>
                  </a:lnTo>
                  <a:lnTo>
                    <a:pt x="319" y="335"/>
                  </a:lnTo>
                  <a:lnTo>
                    <a:pt x="325" y="327"/>
                  </a:lnTo>
                  <a:lnTo>
                    <a:pt x="334" y="320"/>
                  </a:lnTo>
                  <a:lnTo>
                    <a:pt x="345" y="313"/>
                  </a:lnTo>
                  <a:lnTo>
                    <a:pt x="357" y="307"/>
                  </a:lnTo>
                  <a:lnTo>
                    <a:pt x="372" y="302"/>
                  </a:lnTo>
                  <a:lnTo>
                    <a:pt x="388" y="297"/>
                  </a:lnTo>
                  <a:lnTo>
                    <a:pt x="388" y="512"/>
                  </a:lnTo>
                  <a:lnTo>
                    <a:pt x="382" y="500"/>
                  </a:lnTo>
                  <a:lnTo>
                    <a:pt x="373" y="490"/>
                  </a:lnTo>
                  <a:lnTo>
                    <a:pt x="365" y="480"/>
                  </a:lnTo>
                  <a:lnTo>
                    <a:pt x="356" y="471"/>
                  </a:lnTo>
                  <a:lnTo>
                    <a:pt x="347" y="462"/>
                  </a:lnTo>
                  <a:lnTo>
                    <a:pt x="336" y="453"/>
                  </a:lnTo>
                  <a:lnTo>
                    <a:pt x="325" y="446"/>
                  </a:lnTo>
                  <a:lnTo>
                    <a:pt x="313" y="438"/>
                  </a:lnTo>
                  <a:lnTo>
                    <a:pt x="302" y="432"/>
                  </a:lnTo>
                  <a:lnTo>
                    <a:pt x="290" y="427"/>
                  </a:lnTo>
                  <a:lnTo>
                    <a:pt x="277" y="421"/>
                  </a:lnTo>
                  <a:lnTo>
                    <a:pt x="264" y="418"/>
                  </a:lnTo>
                  <a:lnTo>
                    <a:pt x="251" y="415"/>
                  </a:lnTo>
                  <a:lnTo>
                    <a:pt x="238" y="412"/>
                  </a:lnTo>
                  <a:lnTo>
                    <a:pt x="224" y="411"/>
                  </a:lnTo>
                  <a:lnTo>
                    <a:pt x="210" y="411"/>
                  </a:lnTo>
                  <a:lnTo>
                    <a:pt x="194" y="411"/>
                  </a:lnTo>
                  <a:lnTo>
                    <a:pt x="178" y="413"/>
                  </a:lnTo>
                  <a:lnTo>
                    <a:pt x="162" y="416"/>
                  </a:lnTo>
                  <a:lnTo>
                    <a:pt x="147" y="420"/>
                  </a:lnTo>
                  <a:lnTo>
                    <a:pt x="133" y="425"/>
                  </a:lnTo>
                  <a:lnTo>
                    <a:pt x="118" y="431"/>
                  </a:lnTo>
                  <a:lnTo>
                    <a:pt x="105" y="438"/>
                  </a:lnTo>
                  <a:lnTo>
                    <a:pt x="92" y="447"/>
                  </a:lnTo>
                  <a:lnTo>
                    <a:pt x="178" y="255"/>
                  </a:lnTo>
                  <a:lnTo>
                    <a:pt x="235" y="197"/>
                  </a:lnTo>
                  <a:lnTo>
                    <a:pt x="236" y="195"/>
                  </a:lnTo>
                  <a:lnTo>
                    <a:pt x="239" y="191"/>
                  </a:lnTo>
                  <a:lnTo>
                    <a:pt x="296" y="45"/>
                  </a:lnTo>
                  <a:lnTo>
                    <a:pt x="302" y="42"/>
                  </a:lnTo>
                  <a:lnTo>
                    <a:pt x="306" y="39"/>
                  </a:lnTo>
                  <a:lnTo>
                    <a:pt x="311" y="36"/>
                  </a:lnTo>
                  <a:lnTo>
                    <a:pt x="317" y="34"/>
                  </a:lnTo>
                  <a:lnTo>
                    <a:pt x="330" y="31"/>
                  </a:lnTo>
                  <a:lnTo>
                    <a:pt x="342" y="30"/>
                  </a:lnTo>
                  <a:lnTo>
                    <a:pt x="355" y="31"/>
                  </a:lnTo>
                  <a:lnTo>
                    <a:pt x="367" y="33"/>
                  </a:lnTo>
                  <a:lnTo>
                    <a:pt x="373" y="35"/>
                  </a:lnTo>
                  <a:lnTo>
                    <a:pt x="379" y="37"/>
                  </a:lnTo>
                  <a:lnTo>
                    <a:pt x="384" y="41"/>
                  </a:lnTo>
                  <a:lnTo>
                    <a:pt x="388" y="44"/>
                  </a:lnTo>
                  <a:lnTo>
                    <a:pt x="388" y="186"/>
                  </a:lnTo>
                  <a:lnTo>
                    <a:pt x="389" y="189"/>
                  </a:lnTo>
                  <a:lnTo>
                    <a:pt x="389" y="191"/>
                  </a:lnTo>
                  <a:lnTo>
                    <a:pt x="392" y="195"/>
                  </a:lnTo>
                  <a:lnTo>
                    <a:pt x="393" y="197"/>
                  </a:lnTo>
                  <a:lnTo>
                    <a:pt x="396" y="199"/>
                  </a:lnTo>
                  <a:lnTo>
                    <a:pt x="398" y="200"/>
                  </a:lnTo>
                  <a:lnTo>
                    <a:pt x="401" y="201"/>
                  </a:lnTo>
                  <a:lnTo>
                    <a:pt x="403" y="201"/>
                  </a:lnTo>
                  <a:lnTo>
                    <a:pt x="407" y="201"/>
                  </a:lnTo>
                  <a:lnTo>
                    <a:pt x="410" y="200"/>
                  </a:lnTo>
                  <a:lnTo>
                    <a:pt x="412" y="199"/>
                  </a:lnTo>
                  <a:lnTo>
                    <a:pt x="414" y="197"/>
                  </a:lnTo>
                  <a:lnTo>
                    <a:pt x="416" y="195"/>
                  </a:lnTo>
                  <a:lnTo>
                    <a:pt x="417" y="191"/>
                  </a:lnTo>
                  <a:lnTo>
                    <a:pt x="418" y="189"/>
                  </a:lnTo>
                  <a:lnTo>
                    <a:pt x="418" y="186"/>
                  </a:lnTo>
                  <a:lnTo>
                    <a:pt x="418" y="36"/>
                  </a:lnTo>
                  <a:lnTo>
                    <a:pt x="418" y="34"/>
                  </a:lnTo>
                  <a:lnTo>
                    <a:pt x="417" y="31"/>
                  </a:lnTo>
                  <a:lnTo>
                    <a:pt x="416" y="29"/>
                  </a:lnTo>
                  <a:lnTo>
                    <a:pt x="414" y="26"/>
                  </a:lnTo>
                  <a:lnTo>
                    <a:pt x="408" y="20"/>
                  </a:lnTo>
                  <a:lnTo>
                    <a:pt x="400" y="15"/>
                  </a:lnTo>
                  <a:lnTo>
                    <a:pt x="392" y="11"/>
                  </a:lnTo>
                  <a:lnTo>
                    <a:pt x="383" y="6"/>
                  </a:lnTo>
                  <a:lnTo>
                    <a:pt x="373" y="4"/>
                  </a:lnTo>
                  <a:lnTo>
                    <a:pt x="364" y="2"/>
                  </a:lnTo>
                  <a:lnTo>
                    <a:pt x="354" y="1"/>
                  </a:lnTo>
                  <a:lnTo>
                    <a:pt x="343" y="0"/>
                  </a:lnTo>
                  <a:lnTo>
                    <a:pt x="334" y="1"/>
                  </a:lnTo>
                  <a:lnTo>
                    <a:pt x="324" y="2"/>
                  </a:lnTo>
                  <a:lnTo>
                    <a:pt x="315" y="4"/>
                  </a:lnTo>
                  <a:lnTo>
                    <a:pt x="305" y="6"/>
                  </a:lnTo>
                  <a:lnTo>
                    <a:pt x="296" y="11"/>
                  </a:lnTo>
                  <a:lnTo>
                    <a:pt x="288" y="15"/>
                  </a:lnTo>
                  <a:lnTo>
                    <a:pt x="280" y="20"/>
                  </a:lnTo>
                  <a:lnTo>
                    <a:pt x="274" y="26"/>
                  </a:lnTo>
                  <a:lnTo>
                    <a:pt x="272" y="29"/>
                  </a:lnTo>
                  <a:lnTo>
                    <a:pt x="271" y="31"/>
                  </a:lnTo>
                  <a:lnTo>
                    <a:pt x="212" y="178"/>
                  </a:lnTo>
                  <a:lnTo>
                    <a:pt x="154" y="235"/>
                  </a:lnTo>
                  <a:lnTo>
                    <a:pt x="152" y="237"/>
                  </a:lnTo>
                  <a:lnTo>
                    <a:pt x="151" y="240"/>
                  </a:lnTo>
                  <a:lnTo>
                    <a:pt x="31" y="509"/>
                  </a:lnTo>
                  <a:lnTo>
                    <a:pt x="31" y="510"/>
                  </a:lnTo>
                  <a:lnTo>
                    <a:pt x="31" y="511"/>
                  </a:lnTo>
                  <a:lnTo>
                    <a:pt x="24" y="523"/>
                  </a:lnTo>
                  <a:lnTo>
                    <a:pt x="18" y="536"/>
                  </a:lnTo>
                  <a:lnTo>
                    <a:pt x="13" y="549"/>
                  </a:lnTo>
                  <a:lnTo>
                    <a:pt x="9" y="562"/>
                  </a:lnTo>
                  <a:lnTo>
                    <a:pt x="4" y="576"/>
                  </a:lnTo>
                  <a:lnTo>
                    <a:pt x="2" y="590"/>
                  </a:lnTo>
                  <a:lnTo>
                    <a:pt x="1" y="604"/>
                  </a:lnTo>
                  <a:lnTo>
                    <a:pt x="0" y="619"/>
                  </a:lnTo>
                  <a:lnTo>
                    <a:pt x="0" y="630"/>
                  </a:lnTo>
                  <a:lnTo>
                    <a:pt x="1" y="641"/>
                  </a:lnTo>
                  <a:lnTo>
                    <a:pt x="2" y="651"/>
                  </a:lnTo>
                  <a:lnTo>
                    <a:pt x="4" y="662"/>
                  </a:lnTo>
                  <a:lnTo>
                    <a:pt x="10" y="681"/>
                  </a:lnTo>
                  <a:lnTo>
                    <a:pt x="17" y="700"/>
                  </a:lnTo>
                  <a:lnTo>
                    <a:pt x="26" y="719"/>
                  </a:lnTo>
                  <a:lnTo>
                    <a:pt x="36" y="736"/>
                  </a:lnTo>
                  <a:lnTo>
                    <a:pt x="48" y="753"/>
                  </a:lnTo>
                  <a:lnTo>
                    <a:pt x="61" y="767"/>
                  </a:lnTo>
                  <a:lnTo>
                    <a:pt x="76" y="781"/>
                  </a:lnTo>
                  <a:lnTo>
                    <a:pt x="92" y="792"/>
                  </a:lnTo>
                  <a:lnTo>
                    <a:pt x="110" y="803"/>
                  </a:lnTo>
                  <a:lnTo>
                    <a:pt x="128" y="812"/>
                  </a:lnTo>
                  <a:lnTo>
                    <a:pt x="148" y="819"/>
                  </a:lnTo>
                  <a:lnTo>
                    <a:pt x="167" y="824"/>
                  </a:lnTo>
                  <a:lnTo>
                    <a:pt x="178" y="827"/>
                  </a:lnTo>
                  <a:lnTo>
                    <a:pt x="188" y="828"/>
                  </a:lnTo>
                  <a:lnTo>
                    <a:pt x="199" y="829"/>
                  </a:lnTo>
                  <a:lnTo>
                    <a:pt x="210" y="829"/>
                  </a:lnTo>
                  <a:lnTo>
                    <a:pt x="231" y="828"/>
                  </a:lnTo>
                  <a:lnTo>
                    <a:pt x="251" y="824"/>
                  </a:lnTo>
                  <a:lnTo>
                    <a:pt x="272" y="819"/>
                  </a:lnTo>
                  <a:lnTo>
                    <a:pt x="291" y="812"/>
                  </a:lnTo>
                  <a:lnTo>
                    <a:pt x="309" y="803"/>
                  </a:lnTo>
                  <a:lnTo>
                    <a:pt x="326" y="792"/>
                  </a:lnTo>
                  <a:lnTo>
                    <a:pt x="342" y="781"/>
                  </a:lnTo>
                  <a:lnTo>
                    <a:pt x="357" y="767"/>
                  </a:lnTo>
                  <a:lnTo>
                    <a:pt x="371" y="753"/>
                  </a:lnTo>
                  <a:lnTo>
                    <a:pt x="383" y="737"/>
                  </a:lnTo>
                  <a:lnTo>
                    <a:pt x="394" y="719"/>
                  </a:lnTo>
                  <a:lnTo>
                    <a:pt x="402" y="700"/>
                  </a:lnTo>
                  <a:lnTo>
                    <a:pt x="409" y="681"/>
                  </a:lnTo>
                  <a:lnTo>
                    <a:pt x="414" y="662"/>
                  </a:lnTo>
                  <a:lnTo>
                    <a:pt x="416" y="651"/>
                  </a:lnTo>
                  <a:lnTo>
                    <a:pt x="417" y="641"/>
                  </a:lnTo>
                  <a:lnTo>
                    <a:pt x="418" y="630"/>
                  </a:lnTo>
                  <a:lnTo>
                    <a:pt x="418" y="619"/>
                  </a:lnTo>
                  <a:lnTo>
                    <a:pt x="418" y="292"/>
                  </a:lnTo>
                  <a:lnTo>
                    <a:pt x="433" y="291"/>
                  </a:lnTo>
                  <a:lnTo>
                    <a:pt x="448" y="291"/>
                  </a:lnTo>
                  <a:lnTo>
                    <a:pt x="464" y="291"/>
                  </a:lnTo>
                  <a:lnTo>
                    <a:pt x="478" y="292"/>
                  </a:lnTo>
                  <a:lnTo>
                    <a:pt x="478" y="619"/>
                  </a:lnTo>
                  <a:lnTo>
                    <a:pt x="478" y="630"/>
                  </a:lnTo>
                  <a:lnTo>
                    <a:pt x="479" y="641"/>
                  </a:lnTo>
                  <a:lnTo>
                    <a:pt x="480" y="651"/>
                  </a:lnTo>
                  <a:lnTo>
                    <a:pt x="483" y="662"/>
                  </a:lnTo>
                  <a:lnTo>
                    <a:pt x="488" y="681"/>
                  </a:lnTo>
                  <a:lnTo>
                    <a:pt x="495" y="700"/>
                  </a:lnTo>
                  <a:lnTo>
                    <a:pt x="504" y="719"/>
                  </a:lnTo>
                  <a:lnTo>
                    <a:pt x="515" y="736"/>
                  </a:lnTo>
                  <a:lnTo>
                    <a:pt x="526" y="753"/>
                  </a:lnTo>
                  <a:lnTo>
                    <a:pt x="540" y="767"/>
                  </a:lnTo>
                  <a:lnTo>
                    <a:pt x="554" y="781"/>
                  </a:lnTo>
                  <a:lnTo>
                    <a:pt x="570" y="792"/>
                  </a:lnTo>
                  <a:lnTo>
                    <a:pt x="588" y="803"/>
                  </a:lnTo>
                  <a:lnTo>
                    <a:pt x="607" y="812"/>
                  </a:lnTo>
                  <a:lnTo>
                    <a:pt x="626" y="819"/>
                  </a:lnTo>
                  <a:lnTo>
                    <a:pt x="645" y="824"/>
                  </a:lnTo>
                  <a:lnTo>
                    <a:pt x="656" y="827"/>
                  </a:lnTo>
                  <a:lnTo>
                    <a:pt x="666" y="828"/>
                  </a:lnTo>
                  <a:lnTo>
                    <a:pt x="677" y="829"/>
                  </a:lnTo>
                  <a:lnTo>
                    <a:pt x="688" y="829"/>
                  </a:lnTo>
                  <a:lnTo>
                    <a:pt x="709" y="828"/>
                  </a:lnTo>
                  <a:lnTo>
                    <a:pt x="730" y="824"/>
                  </a:lnTo>
                  <a:lnTo>
                    <a:pt x="750" y="819"/>
                  </a:lnTo>
                  <a:lnTo>
                    <a:pt x="769" y="812"/>
                  </a:lnTo>
                  <a:lnTo>
                    <a:pt x="787" y="803"/>
                  </a:lnTo>
                  <a:lnTo>
                    <a:pt x="804" y="792"/>
                  </a:lnTo>
                  <a:lnTo>
                    <a:pt x="821" y="781"/>
                  </a:lnTo>
                  <a:lnTo>
                    <a:pt x="835" y="767"/>
                  </a:lnTo>
                  <a:lnTo>
                    <a:pt x="849" y="753"/>
                  </a:lnTo>
                  <a:lnTo>
                    <a:pt x="861" y="737"/>
                  </a:lnTo>
                  <a:lnTo>
                    <a:pt x="872" y="719"/>
                  </a:lnTo>
                  <a:lnTo>
                    <a:pt x="880" y="700"/>
                  </a:lnTo>
                  <a:lnTo>
                    <a:pt x="888" y="681"/>
                  </a:lnTo>
                  <a:lnTo>
                    <a:pt x="892" y="662"/>
                  </a:lnTo>
                  <a:lnTo>
                    <a:pt x="894" y="651"/>
                  </a:lnTo>
                  <a:lnTo>
                    <a:pt x="895" y="641"/>
                  </a:lnTo>
                  <a:lnTo>
                    <a:pt x="896" y="630"/>
                  </a:lnTo>
                  <a:lnTo>
                    <a:pt x="896" y="619"/>
                  </a:lnTo>
                  <a:lnTo>
                    <a:pt x="896" y="604"/>
                  </a:lnTo>
                  <a:lnTo>
                    <a:pt x="894" y="590"/>
                  </a:lnTo>
                  <a:lnTo>
                    <a:pt x="892" y="576"/>
                  </a:lnTo>
                  <a:lnTo>
                    <a:pt x="889" y="562"/>
                  </a:lnTo>
                  <a:lnTo>
                    <a:pt x="885" y="549"/>
                  </a:lnTo>
                  <a:lnTo>
                    <a:pt x="879" y="536"/>
                  </a:lnTo>
                  <a:lnTo>
                    <a:pt x="873" y="523"/>
                  </a:lnTo>
                  <a:lnTo>
                    <a:pt x="867" y="511"/>
                  </a:lnTo>
                  <a:lnTo>
                    <a:pt x="867" y="51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85" name="Freeform 27">
              <a:extLst>
                <a:ext uri="{FF2B5EF4-FFF2-40B4-BE49-F238E27FC236}">
                  <a16:creationId xmlns:a16="http://schemas.microsoft.com/office/drawing/2014/main" id="{86AF2571-BDB3-43CD-B0EA-87084D6A5DCA}"/>
                </a:ext>
              </a:extLst>
            </p:cNvPr>
            <p:cNvSpPr>
              <a:spLocks/>
            </p:cNvSpPr>
            <p:nvPr/>
          </p:nvSpPr>
          <p:spPr bwMode="auto">
            <a:xfrm>
              <a:off x="9912350" y="2657476"/>
              <a:ext cx="44450" cy="44450"/>
            </a:xfrm>
            <a:custGeom>
              <a:avLst/>
              <a:gdLst>
                <a:gd name="T0" fmla="*/ 114 w 142"/>
                <a:gd name="T1" fmla="*/ 1 h 144"/>
                <a:gd name="T2" fmla="*/ 90 w 142"/>
                <a:gd name="T3" fmla="*/ 6 h 144"/>
                <a:gd name="T4" fmla="*/ 66 w 142"/>
                <a:gd name="T5" fmla="*/ 15 h 144"/>
                <a:gd name="T6" fmla="*/ 46 w 142"/>
                <a:gd name="T7" fmla="*/ 29 h 144"/>
                <a:gd name="T8" fmla="*/ 29 w 142"/>
                <a:gd name="T9" fmla="*/ 47 h 144"/>
                <a:gd name="T10" fmla="*/ 15 w 142"/>
                <a:gd name="T11" fmla="*/ 68 h 144"/>
                <a:gd name="T12" fmla="*/ 5 w 142"/>
                <a:gd name="T13" fmla="*/ 90 h 144"/>
                <a:gd name="T14" fmla="*/ 0 w 142"/>
                <a:gd name="T15" fmla="*/ 116 h 144"/>
                <a:gd name="T16" fmla="*/ 0 w 142"/>
                <a:gd name="T17" fmla="*/ 132 h 144"/>
                <a:gd name="T18" fmla="*/ 2 w 142"/>
                <a:gd name="T19" fmla="*/ 136 h 144"/>
                <a:gd name="T20" fmla="*/ 6 w 142"/>
                <a:gd name="T21" fmla="*/ 140 h 144"/>
                <a:gd name="T22" fmla="*/ 12 w 142"/>
                <a:gd name="T23" fmla="*/ 142 h 144"/>
                <a:gd name="T24" fmla="*/ 17 w 142"/>
                <a:gd name="T25" fmla="*/ 142 h 144"/>
                <a:gd name="T26" fmla="*/ 22 w 142"/>
                <a:gd name="T27" fmla="*/ 140 h 144"/>
                <a:gd name="T28" fmla="*/ 27 w 142"/>
                <a:gd name="T29" fmla="*/ 137 h 144"/>
                <a:gd name="T30" fmla="*/ 29 w 142"/>
                <a:gd name="T31" fmla="*/ 132 h 144"/>
                <a:gd name="T32" fmla="*/ 30 w 142"/>
                <a:gd name="T33" fmla="*/ 118 h 144"/>
                <a:gd name="T34" fmla="*/ 34 w 142"/>
                <a:gd name="T35" fmla="*/ 99 h 144"/>
                <a:gd name="T36" fmla="*/ 42 w 142"/>
                <a:gd name="T37" fmla="*/ 82 h 144"/>
                <a:gd name="T38" fmla="*/ 51 w 142"/>
                <a:gd name="T39" fmla="*/ 65 h 144"/>
                <a:gd name="T40" fmla="*/ 65 w 142"/>
                <a:gd name="T41" fmla="*/ 53 h 144"/>
                <a:gd name="T42" fmla="*/ 81 w 142"/>
                <a:gd name="T43" fmla="*/ 42 h 144"/>
                <a:gd name="T44" fmla="*/ 98 w 142"/>
                <a:gd name="T45" fmla="*/ 34 h 144"/>
                <a:gd name="T46" fmla="*/ 118 w 142"/>
                <a:gd name="T47" fmla="*/ 30 h 144"/>
                <a:gd name="T48" fmla="*/ 131 w 142"/>
                <a:gd name="T49" fmla="*/ 30 h 144"/>
                <a:gd name="T50" fmla="*/ 136 w 142"/>
                <a:gd name="T51" fmla="*/ 28 h 144"/>
                <a:gd name="T52" fmla="*/ 140 w 142"/>
                <a:gd name="T53" fmla="*/ 24 h 144"/>
                <a:gd name="T54" fmla="*/ 142 w 142"/>
                <a:gd name="T55" fmla="*/ 18 h 144"/>
                <a:gd name="T56" fmla="*/ 142 w 142"/>
                <a:gd name="T57" fmla="*/ 12 h 144"/>
                <a:gd name="T58" fmla="*/ 140 w 142"/>
                <a:gd name="T59" fmla="*/ 7 h 144"/>
                <a:gd name="T60" fmla="*/ 136 w 142"/>
                <a:gd name="T61" fmla="*/ 2 h 144"/>
                <a:gd name="T62" fmla="*/ 131 w 142"/>
                <a:gd name="T63" fmla="*/ 0 h 144"/>
                <a:gd name="T64" fmla="*/ 127 w 142"/>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4">
                  <a:moveTo>
                    <a:pt x="127" y="0"/>
                  </a:moveTo>
                  <a:lnTo>
                    <a:pt x="114" y="1"/>
                  </a:lnTo>
                  <a:lnTo>
                    <a:pt x="102" y="2"/>
                  </a:lnTo>
                  <a:lnTo>
                    <a:pt x="90" y="6"/>
                  </a:lnTo>
                  <a:lnTo>
                    <a:pt x="78" y="10"/>
                  </a:lnTo>
                  <a:lnTo>
                    <a:pt x="66" y="15"/>
                  </a:lnTo>
                  <a:lnTo>
                    <a:pt x="56" y="22"/>
                  </a:lnTo>
                  <a:lnTo>
                    <a:pt x="46" y="29"/>
                  </a:lnTo>
                  <a:lnTo>
                    <a:pt x="37" y="38"/>
                  </a:lnTo>
                  <a:lnTo>
                    <a:pt x="29" y="47"/>
                  </a:lnTo>
                  <a:lnTo>
                    <a:pt x="21" y="57"/>
                  </a:lnTo>
                  <a:lnTo>
                    <a:pt x="15" y="68"/>
                  </a:lnTo>
                  <a:lnTo>
                    <a:pt x="10" y="78"/>
                  </a:lnTo>
                  <a:lnTo>
                    <a:pt x="5" y="90"/>
                  </a:lnTo>
                  <a:lnTo>
                    <a:pt x="2" y="103"/>
                  </a:lnTo>
                  <a:lnTo>
                    <a:pt x="0" y="116"/>
                  </a:lnTo>
                  <a:lnTo>
                    <a:pt x="0" y="129"/>
                  </a:lnTo>
                  <a:lnTo>
                    <a:pt x="0" y="132"/>
                  </a:lnTo>
                  <a:lnTo>
                    <a:pt x="1" y="134"/>
                  </a:lnTo>
                  <a:lnTo>
                    <a:pt x="2" y="136"/>
                  </a:lnTo>
                  <a:lnTo>
                    <a:pt x="4" y="139"/>
                  </a:lnTo>
                  <a:lnTo>
                    <a:pt x="6" y="140"/>
                  </a:lnTo>
                  <a:lnTo>
                    <a:pt x="9" y="142"/>
                  </a:lnTo>
                  <a:lnTo>
                    <a:pt x="12" y="142"/>
                  </a:lnTo>
                  <a:lnTo>
                    <a:pt x="15" y="144"/>
                  </a:lnTo>
                  <a:lnTo>
                    <a:pt x="17" y="142"/>
                  </a:lnTo>
                  <a:lnTo>
                    <a:pt x="20" y="142"/>
                  </a:lnTo>
                  <a:lnTo>
                    <a:pt x="22" y="140"/>
                  </a:lnTo>
                  <a:lnTo>
                    <a:pt x="25" y="139"/>
                  </a:lnTo>
                  <a:lnTo>
                    <a:pt x="27" y="137"/>
                  </a:lnTo>
                  <a:lnTo>
                    <a:pt x="28" y="134"/>
                  </a:lnTo>
                  <a:lnTo>
                    <a:pt x="29" y="132"/>
                  </a:lnTo>
                  <a:lnTo>
                    <a:pt x="30" y="129"/>
                  </a:lnTo>
                  <a:lnTo>
                    <a:pt x="30" y="118"/>
                  </a:lnTo>
                  <a:lnTo>
                    <a:pt x="31" y="108"/>
                  </a:lnTo>
                  <a:lnTo>
                    <a:pt x="34" y="99"/>
                  </a:lnTo>
                  <a:lnTo>
                    <a:pt x="37" y="90"/>
                  </a:lnTo>
                  <a:lnTo>
                    <a:pt x="42" y="82"/>
                  </a:lnTo>
                  <a:lnTo>
                    <a:pt x="46" y="73"/>
                  </a:lnTo>
                  <a:lnTo>
                    <a:pt x="51" y="65"/>
                  </a:lnTo>
                  <a:lnTo>
                    <a:pt x="58" y="59"/>
                  </a:lnTo>
                  <a:lnTo>
                    <a:pt x="65" y="53"/>
                  </a:lnTo>
                  <a:lnTo>
                    <a:pt x="73" y="47"/>
                  </a:lnTo>
                  <a:lnTo>
                    <a:pt x="81" y="42"/>
                  </a:lnTo>
                  <a:lnTo>
                    <a:pt x="90" y="38"/>
                  </a:lnTo>
                  <a:lnTo>
                    <a:pt x="98" y="34"/>
                  </a:lnTo>
                  <a:lnTo>
                    <a:pt x="108" y="32"/>
                  </a:lnTo>
                  <a:lnTo>
                    <a:pt x="118" y="30"/>
                  </a:lnTo>
                  <a:lnTo>
                    <a:pt x="127" y="30"/>
                  </a:lnTo>
                  <a:lnTo>
                    <a:pt x="131" y="30"/>
                  </a:lnTo>
                  <a:lnTo>
                    <a:pt x="134" y="29"/>
                  </a:lnTo>
                  <a:lnTo>
                    <a:pt x="136" y="28"/>
                  </a:lnTo>
                  <a:lnTo>
                    <a:pt x="138" y="26"/>
                  </a:lnTo>
                  <a:lnTo>
                    <a:pt x="140" y="24"/>
                  </a:lnTo>
                  <a:lnTo>
                    <a:pt x="141" y="21"/>
                  </a:lnTo>
                  <a:lnTo>
                    <a:pt x="142" y="18"/>
                  </a:lnTo>
                  <a:lnTo>
                    <a:pt x="142" y="15"/>
                  </a:lnTo>
                  <a:lnTo>
                    <a:pt x="142" y="12"/>
                  </a:lnTo>
                  <a:lnTo>
                    <a:pt x="141" y="10"/>
                  </a:lnTo>
                  <a:lnTo>
                    <a:pt x="140" y="7"/>
                  </a:lnTo>
                  <a:lnTo>
                    <a:pt x="138" y="5"/>
                  </a:lnTo>
                  <a:lnTo>
                    <a:pt x="136" y="2"/>
                  </a:lnTo>
                  <a:lnTo>
                    <a:pt x="134" y="1"/>
                  </a:lnTo>
                  <a:lnTo>
                    <a:pt x="131" y="0"/>
                  </a:lnTo>
                  <a:lnTo>
                    <a:pt x="127" y="0"/>
                  </a:lnTo>
                  <a:lnTo>
                    <a:pt x="127"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86" name="Freeform 28">
              <a:extLst>
                <a:ext uri="{FF2B5EF4-FFF2-40B4-BE49-F238E27FC236}">
                  <a16:creationId xmlns:a16="http://schemas.microsoft.com/office/drawing/2014/main" id="{D605A008-A2D9-4996-9984-B74D1624C1C7}"/>
                </a:ext>
              </a:extLst>
            </p:cNvPr>
            <p:cNvSpPr>
              <a:spLocks/>
            </p:cNvSpPr>
            <p:nvPr/>
          </p:nvSpPr>
          <p:spPr bwMode="auto">
            <a:xfrm>
              <a:off x="10067925" y="2657476"/>
              <a:ext cx="44450" cy="44450"/>
            </a:xfrm>
            <a:custGeom>
              <a:avLst/>
              <a:gdLst>
                <a:gd name="T0" fmla="*/ 114 w 142"/>
                <a:gd name="T1" fmla="*/ 1 h 144"/>
                <a:gd name="T2" fmla="*/ 90 w 142"/>
                <a:gd name="T3" fmla="*/ 6 h 144"/>
                <a:gd name="T4" fmla="*/ 66 w 142"/>
                <a:gd name="T5" fmla="*/ 15 h 144"/>
                <a:gd name="T6" fmla="*/ 46 w 142"/>
                <a:gd name="T7" fmla="*/ 29 h 144"/>
                <a:gd name="T8" fmla="*/ 29 w 142"/>
                <a:gd name="T9" fmla="*/ 47 h 144"/>
                <a:gd name="T10" fmla="*/ 15 w 142"/>
                <a:gd name="T11" fmla="*/ 68 h 144"/>
                <a:gd name="T12" fmla="*/ 5 w 142"/>
                <a:gd name="T13" fmla="*/ 90 h 144"/>
                <a:gd name="T14" fmla="*/ 0 w 142"/>
                <a:gd name="T15" fmla="*/ 116 h 144"/>
                <a:gd name="T16" fmla="*/ 0 w 142"/>
                <a:gd name="T17" fmla="*/ 132 h 144"/>
                <a:gd name="T18" fmla="*/ 2 w 142"/>
                <a:gd name="T19" fmla="*/ 136 h 144"/>
                <a:gd name="T20" fmla="*/ 6 w 142"/>
                <a:gd name="T21" fmla="*/ 140 h 144"/>
                <a:gd name="T22" fmla="*/ 12 w 142"/>
                <a:gd name="T23" fmla="*/ 142 h 144"/>
                <a:gd name="T24" fmla="*/ 17 w 142"/>
                <a:gd name="T25" fmla="*/ 142 h 144"/>
                <a:gd name="T26" fmla="*/ 22 w 142"/>
                <a:gd name="T27" fmla="*/ 140 h 144"/>
                <a:gd name="T28" fmla="*/ 27 w 142"/>
                <a:gd name="T29" fmla="*/ 137 h 144"/>
                <a:gd name="T30" fmla="*/ 29 w 142"/>
                <a:gd name="T31" fmla="*/ 132 h 144"/>
                <a:gd name="T32" fmla="*/ 30 w 142"/>
                <a:gd name="T33" fmla="*/ 118 h 144"/>
                <a:gd name="T34" fmla="*/ 34 w 142"/>
                <a:gd name="T35" fmla="*/ 99 h 144"/>
                <a:gd name="T36" fmla="*/ 42 w 142"/>
                <a:gd name="T37" fmla="*/ 82 h 144"/>
                <a:gd name="T38" fmla="*/ 51 w 142"/>
                <a:gd name="T39" fmla="*/ 65 h 144"/>
                <a:gd name="T40" fmla="*/ 65 w 142"/>
                <a:gd name="T41" fmla="*/ 53 h 144"/>
                <a:gd name="T42" fmla="*/ 81 w 142"/>
                <a:gd name="T43" fmla="*/ 42 h 144"/>
                <a:gd name="T44" fmla="*/ 98 w 142"/>
                <a:gd name="T45" fmla="*/ 34 h 144"/>
                <a:gd name="T46" fmla="*/ 118 w 142"/>
                <a:gd name="T47" fmla="*/ 30 h 144"/>
                <a:gd name="T48" fmla="*/ 130 w 142"/>
                <a:gd name="T49" fmla="*/ 30 h 144"/>
                <a:gd name="T50" fmla="*/ 136 w 142"/>
                <a:gd name="T51" fmla="*/ 28 h 144"/>
                <a:gd name="T52" fmla="*/ 140 w 142"/>
                <a:gd name="T53" fmla="*/ 24 h 144"/>
                <a:gd name="T54" fmla="*/ 142 w 142"/>
                <a:gd name="T55" fmla="*/ 18 h 144"/>
                <a:gd name="T56" fmla="*/ 142 w 142"/>
                <a:gd name="T57" fmla="*/ 12 h 144"/>
                <a:gd name="T58" fmla="*/ 140 w 142"/>
                <a:gd name="T59" fmla="*/ 7 h 144"/>
                <a:gd name="T60" fmla="*/ 136 w 142"/>
                <a:gd name="T61" fmla="*/ 2 h 144"/>
                <a:gd name="T62" fmla="*/ 130 w 142"/>
                <a:gd name="T63" fmla="*/ 0 h 144"/>
                <a:gd name="T64" fmla="*/ 127 w 142"/>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4">
                  <a:moveTo>
                    <a:pt x="127" y="0"/>
                  </a:moveTo>
                  <a:lnTo>
                    <a:pt x="114" y="1"/>
                  </a:lnTo>
                  <a:lnTo>
                    <a:pt x="102" y="2"/>
                  </a:lnTo>
                  <a:lnTo>
                    <a:pt x="90" y="6"/>
                  </a:lnTo>
                  <a:lnTo>
                    <a:pt x="78" y="10"/>
                  </a:lnTo>
                  <a:lnTo>
                    <a:pt x="66" y="15"/>
                  </a:lnTo>
                  <a:lnTo>
                    <a:pt x="56" y="22"/>
                  </a:lnTo>
                  <a:lnTo>
                    <a:pt x="46" y="29"/>
                  </a:lnTo>
                  <a:lnTo>
                    <a:pt x="37" y="38"/>
                  </a:lnTo>
                  <a:lnTo>
                    <a:pt x="29" y="47"/>
                  </a:lnTo>
                  <a:lnTo>
                    <a:pt x="21" y="57"/>
                  </a:lnTo>
                  <a:lnTo>
                    <a:pt x="15" y="68"/>
                  </a:lnTo>
                  <a:lnTo>
                    <a:pt x="10" y="78"/>
                  </a:lnTo>
                  <a:lnTo>
                    <a:pt x="5" y="90"/>
                  </a:lnTo>
                  <a:lnTo>
                    <a:pt x="2" y="103"/>
                  </a:lnTo>
                  <a:lnTo>
                    <a:pt x="0" y="116"/>
                  </a:lnTo>
                  <a:lnTo>
                    <a:pt x="0" y="129"/>
                  </a:lnTo>
                  <a:lnTo>
                    <a:pt x="0" y="132"/>
                  </a:lnTo>
                  <a:lnTo>
                    <a:pt x="1" y="134"/>
                  </a:lnTo>
                  <a:lnTo>
                    <a:pt x="2" y="136"/>
                  </a:lnTo>
                  <a:lnTo>
                    <a:pt x="4" y="139"/>
                  </a:lnTo>
                  <a:lnTo>
                    <a:pt x="6" y="140"/>
                  </a:lnTo>
                  <a:lnTo>
                    <a:pt x="8" y="142"/>
                  </a:lnTo>
                  <a:lnTo>
                    <a:pt x="12" y="142"/>
                  </a:lnTo>
                  <a:lnTo>
                    <a:pt x="15" y="144"/>
                  </a:lnTo>
                  <a:lnTo>
                    <a:pt x="17" y="142"/>
                  </a:lnTo>
                  <a:lnTo>
                    <a:pt x="20" y="142"/>
                  </a:lnTo>
                  <a:lnTo>
                    <a:pt x="22" y="140"/>
                  </a:lnTo>
                  <a:lnTo>
                    <a:pt x="25" y="139"/>
                  </a:lnTo>
                  <a:lnTo>
                    <a:pt x="27" y="137"/>
                  </a:lnTo>
                  <a:lnTo>
                    <a:pt x="28" y="134"/>
                  </a:lnTo>
                  <a:lnTo>
                    <a:pt x="29" y="132"/>
                  </a:lnTo>
                  <a:lnTo>
                    <a:pt x="30" y="129"/>
                  </a:lnTo>
                  <a:lnTo>
                    <a:pt x="30" y="118"/>
                  </a:lnTo>
                  <a:lnTo>
                    <a:pt x="31" y="108"/>
                  </a:lnTo>
                  <a:lnTo>
                    <a:pt x="34" y="99"/>
                  </a:lnTo>
                  <a:lnTo>
                    <a:pt x="37" y="90"/>
                  </a:lnTo>
                  <a:lnTo>
                    <a:pt x="42" y="82"/>
                  </a:lnTo>
                  <a:lnTo>
                    <a:pt x="46" y="73"/>
                  </a:lnTo>
                  <a:lnTo>
                    <a:pt x="51" y="65"/>
                  </a:lnTo>
                  <a:lnTo>
                    <a:pt x="58" y="59"/>
                  </a:lnTo>
                  <a:lnTo>
                    <a:pt x="65" y="53"/>
                  </a:lnTo>
                  <a:lnTo>
                    <a:pt x="73" y="47"/>
                  </a:lnTo>
                  <a:lnTo>
                    <a:pt x="81" y="42"/>
                  </a:lnTo>
                  <a:lnTo>
                    <a:pt x="90" y="38"/>
                  </a:lnTo>
                  <a:lnTo>
                    <a:pt x="98" y="34"/>
                  </a:lnTo>
                  <a:lnTo>
                    <a:pt x="108" y="32"/>
                  </a:lnTo>
                  <a:lnTo>
                    <a:pt x="118" y="30"/>
                  </a:lnTo>
                  <a:lnTo>
                    <a:pt x="127" y="30"/>
                  </a:lnTo>
                  <a:lnTo>
                    <a:pt x="130" y="30"/>
                  </a:lnTo>
                  <a:lnTo>
                    <a:pt x="134" y="29"/>
                  </a:lnTo>
                  <a:lnTo>
                    <a:pt x="136" y="28"/>
                  </a:lnTo>
                  <a:lnTo>
                    <a:pt x="138" y="26"/>
                  </a:lnTo>
                  <a:lnTo>
                    <a:pt x="140" y="24"/>
                  </a:lnTo>
                  <a:lnTo>
                    <a:pt x="141" y="21"/>
                  </a:lnTo>
                  <a:lnTo>
                    <a:pt x="142" y="18"/>
                  </a:lnTo>
                  <a:lnTo>
                    <a:pt x="142" y="15"/>
                  </a:lnTo>
                  <a:lnTo>
                    <a:pt x="142" y="12"/>
                  </a:lnTo>
                  <a:lnTo>
                    <a:pt x="141" y="10"/>
                  </a:lnTo>
                  <a:lnTo>
                    <a:pt x="140" y="7"/>
                  </a:lnTo>
                  <a:lnTo>
                    <a:pt x="138" y="5"/>
                  </a:lnTo>
                  <a:lnTo>
                    <a:pt x="136" y="2"/>
                  </a:lnTo>
                  <a:lnTo>
                    <a:pt x="134" y="1"/>
                  </a:lnTo>
                  <a:lnTo>
                    <a:pt x="130" y="0"/>
                  </a:lnTo>
                  <a:lnTo>
                    <a:pt x="127" y="0"/>
                  </a:lnTo>
                  <a:lnTo>
                    <a:pt x="127"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709" name="Group 30">
            <a:extLst>
              <a:ext uri="{FF2B5EF4-FFF2-40B4-BE49-F238E27FC236}">
                <a16:creationId xmlns:a16="http://schemas.microsoft.com/office/drawing/2014/main" id="{7025E874-E5DD-45C8-94DA-96AA11A2D58D}"/>
              </a:ext>
            </a:extLst>
          </p:cNvPr>
          <p:cNvGrpSpPr>
            <a:grpSpLocks noChangeAspect="1"/>
          </p:cNvGrpSpPr>
          <p:nvPr/>
        </p:nvGrpSpPr>
        <p:grpSpPr>
          <a:xfrm>
            <a:off x="4427747" y="5471237"/>
            <a:ext cx="318657" cy="199162"/>
            <a:chOff x="2563815" y="4944271"/>
            <a:chExt cx="571500" cy="357190"/>
          </a:xfrm>
          <a:solidFill>
            <a:schemeClr val="bg2"/>
          </a:solidFill>
          <a:effectLst/>
        </p:grpSpPr>
        <p:sp>
          <p:nvSpPr>
            <p:cNvPr id="710" name="Freeform 106">
              <a:extLst>
                <a:ext uri="{FF2B5EF4-FFF2-40B4-BE49-F238E27FC236}">
                  <a16:creationId xmlns:a16="http://schemas.microsoft.com/office/drawing/2014/main" id="{72A51143-74D7-47A2-8A63-5A4B924575FA}"/>
                </a:ext>
              </a:extLst>
            </p:cNvPr>
            <p:cNvSpPr>
              <a:spLocks noEditPoints="1"/>
            </p:cNvSpPr>
            <p:nvPr/>
          </p:nvSpPr>
          <p:spPr bwMode="auto">
            <a:xfrm>
              <a:off x="2563815" y="4944271"/>
              <a:ext cx="571500" cy="357190"/>
            </a:xfrm>
            <a:custGeom>
              <a:avLst/>
              <a:gdLst>
                <a:gd name="T0" fmla="*/ 216 w 216"/>
                <a:gd name="T1" fmla="*/ 66 h 135"/>
                <a:gd name="T2" fmla="*/ 216 w 216"/>
                <a:gd name="T3" fmla="*/ 65 h 135"/>
                <a:gd name="T4" fmla="*/ 216 w 216"/>
                <a:gd name="T5" fmla="*/ 65 h 135"/>
                <a:gd name="T6" fmla="*/ 216 w 216"/>
                <a:gd name="T7" fmla="*/ 64 h 135"/>
                <a:gd name="T8" fmla="*/ 197 w 216"/>
                <a:gd name="T9" fmla="*/ 39 h 135"/>
                <a:gd name="T10" fmla="*/ 172 w 216"/>
                <a:gd name="T11" fmla="*/ 18 h 135"/>
                <a:gd name="T12" fmla="*/ 141 w 216"/>
                <a:gd name="T13" fmla="*/ 5 h 135"/>
                <a:gd name="T14" fmla="*/ 117 w 216"/>
                <a:gd name="T15" fmla="*/ 0 h 135"/>
                <a:gd name="T16" fmla="*/ 109 w 216"/>
                <a:gd name="T17" fmla="*/ 0 h 135"/>
                <a:gd name="T18" fmla="*/ 91 w 216"/>
                <a:gd name="T19" fmla="*/ 1 h 135"/>
                <a:gd name="T20" fmla="*/ 59 w 216"/>
                <a:gd name="T21" fmla="*/ 10 h 135"/>
                <a:gd name="T22" fmla="*/ 32 w 216"/>
                <a:gd name="T23" fmla="*/ 27 h 135"/>
                <a:gd name="T24" fmla="*/ 9 w 216"/>
                <a:gd name="T25" fmla="*/ 51 h 135"/>
                <a:gd name="T26" fmla="*/ 1 w 216"/>
                <a:gd name="T27" fmla="*/ 64 h 135"/>
                <a:gd name="T28" fmla="*/ 1 w 216"/>
                <a:gd name="T29" fmla="*/ 65 h 135"/>
                <a:gd name="T30" fmla="*/ 0 w 216"/>
                <a:gd name="T31" fmla="*/ 65 h 135"/>
                <a:gd name="T32" fmla="*/ 0 w 216"/>
                <a:gd name="T33" fmla="*/ 66 h 135"/>
                <a:gd name="T34" fmla="*/ 0 w 216"/>
                <a:gd name="T35" fmla="*/ 67 h 135"/>
                <a:gd name="T36" fmla="*/ 0 w 216"/>
                <a:gd name="T37" fmla="*/ 69 h 135"/>
                <a:gd name="T38" fmla="*/ 0 w 216"/>
                <a:gd name="T39" fmla="*/ 70 h 135"/>
                <a:gd name="T40" fmla="*/ 1 w 216"/>
                <a:gd name="T41" fmla="*/ 70 h 135"/>
                <a:gd name="T42" fmla="*/ 1 w 216"/>
                <a:gd name="T43" fmla="*/ 70 h 135"/>
                <a:gd name="T44" fmla="*/ 19 w 216"/>
                <a:gd name="T45" fmla="*/ 97 h 135"/>
                <a:gd name="T46" fmla="*/ 45 w 216"/>
                <a:gd name="T47" fmla="*/ 118 h 135"/>
                <a:gd name="T48" fmla="*/ 75 w 216"/>
                <a:gd name="T49" fmla="*/ 131 h 135"/>
                <a:gd name="T50" fmla="*/ 100 w 216"/>
                <a:gd name="T51" fmla="*/ 135 h 135"/>
                <a:gd name="T52" fmla="*/ 109 w 216"/>
                <a:gd name="T53" fmla="*/ 135 h 135"/>
                <a:gd name="T54" fmla="*/ 125 w 216"/>
                <a:gd name="T55" fmla="*/ 134 h 135"/>
                <a:gd name="T56" fmla="*/ 157 w 216"/>
                <a:gd name="T57" fmla="*/ 125 h 135"/>
                <a:gd name="T58" fmla="*/ 185 w 216"/>
                <a:gd name="T59" fmla="*/ 107 h 135"/>
                <a:gd name="T60" fmla="*/ 208 w 216"/>
                <a:gd name="T61" fmla="*/ 85 h 135"/>
                <a:gd name="T62" fmla="*/ 216 w 216"/>
                <a:gd name="T63" fmla="*/ 70 h 135"/>
                <a:gd name="T64" fmla="*/ 216 w 216"/>
                <a:gd name="T65" fmla="*/ 70 h 135"/>
                <a:gd name="T66" fmla="*/ 216 w 216"/>
                <a:gd name="T67" fmla="*/ 70 h 135"/>
                <a:gd name="T68" fmla="*/ 216 w 216"/>
                <a:gd name="T69" fmla="*/ 69 h 135"/>
                <a:gd name="T70" fmla="*/ 216 w 216"/>
                <a:gd name="T71" fmla="*/ 67 h 135"/>
                <a:gd name="T72" fmla="*/ 216 w 216"/>
                <a:gd name="T73" fmla="*/ 66 h 135"/>
                <a:gd name="T74" fmla="*/ 109 w 216"/>
                <a:gd name="T75" fmla="*/ 122 h 135"/>
                <a:gd name="T76" fmla="*/ 80 w 216"/>
                <a:gd name="T77" fmla="*/ 118 h 135"/>
                <a:gd name="T78" fmla="*/ 54 w 216"/>
                <a:gd name="T79" fmla="*/ 107 h 135"/>
                <a:gd name="T80" fmla="*/ 32 w 216"/>
                <a:gd name="T81" fmla="*/ 90 h 135"/>
                <a:gd name="T82" fmla="*/ 14 w 216"/>
                <a:gd name="T83" fmla="*/ 67 h 135"/>
                <a:gd name="T84" fmla="*/ 22 w 216"/>
                <a:gd name="T85" fmla="*/ 56 h 135"/>
                <a:gd name="T86" fmla="*/ 42 w 216"/>
                <a:gd name="T87" fmla="*/ 37 h 135"/>
                <a:gd name="T88" fmla="*/ 66 w 216"/>
                <a:gd name="T89" fmla="*/ 22 h 135"/>
                <a:gd name="T90" fmla="*/ 94 w 216"/>
                <a:gd name="T91" fmla="*/ 14 h 135"/>
                <a:gd name="T92" fmla="*/ 109 w 216"/>
                <a:gd name="T93" fmla="*/ 13 h 135"/>
                <a:gd name="T94" fmla="*/ 136 w 216"/>
                <a:gd name="T95" fmla="*/ 17 h 135"/>
                <a:gd name="T96" fmla="*/ 163 w 216"/>
                <a:gd name="T97" fmla="*/ 28 h 135"/>
                <a:gd name="T98" fmla="*/ 185 w 216"/>
                <a:gd name="T99" fmla="*/ 46 h 135"/>
                <a:gd name="T100" fmla="*/ 202 w 216"/>
                <a:gd name="T101" fmla="*/ 67 h 135"/>
                <a:gd name="T102" fmla="*/ 195 w 216"/>
                <a:gd name="T103" fmla="*/ 80 h 135"/>
                <a:gd name="T104" fmla="*/ 174 w 216"/>
                <a:gd name="T105" fmla="*/ 99 h 135"/>
                <a:gd name="T106" fmla="*/ 150 w 216"/>
                <a:gd name="T107" fmla="*/ 113 h 135"/>
                <a:gd name="T108" fmla="*/ 123 w 216"/>
                <a:gd name="T109" fmla="*/ 121 h 135"/>
                <a:gd name="T110" fmla="*/ 109 w 216"/>
                <a:gd name="T111" fmla="*/ 12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6" h="135">
                  <a:moveTo>
                    <a:pt x="216" y="66"/>
                  </a:moveTo>
                  <a:lnTo>
                    <a:pt x="216" y="66"/>
                  </a:lnTo>
                  <a:lnTo>
                    <a:pt x="216" y="65"/>
                  </a:lnTo>
                  <a:lnTo>
                    <a:pt x="216" y="65"/>
                  </a:lnTo>
                  <a:lnTo>
                    <a:pt x="216" y="65"/>
                  </a:lnTo>
                  <a:lnTo>
                    <a:pt x="216" y="65"/>
                  </a:lnTo>
                  <a:lnTo>
                    <a:pt x="216" y="64"/>
                  </a:lnTo>
                  <a:lnTo>
                    <a:pt x="216" y="64"/>
                  </a:lnTo>
                  <a:lnTo>
                    <a:pt x="208" y="51"/>
                  </a:lnTo>
                  <a:lnTo>
                    <a:pt x="197" y="39"/>
                  </a:lnTo>
                  <a:lnTo>
                    <a:pt x="185" y="27"/>
                  </a:lnTo>
                  <a:lnTo>
                    <a:pt x="172" y="18"/>
                  </a:lnTo>
                  <a:lnTo>
                    <a:pt x="157" y="10"/>
                  </a:lnTo>
                  <a:lnTo>
                    <a:pt x="141" y="5"/>
                  </a:lnTo>
                  <a:lnTo>
                    <a:pt x="125" y="1"/>
                  </a:lnTo>
                  <a:lnTo>
                    <a:pt x="117" y="0"/>
                  </a:lnTo>
                  <a:lnTo>
                    <a:pt x="109" y="0"/>
                  </a:lnTo>
                  <a:lnTo>
                    <a:pt x="109" y="0"/>
                  </a:lnTo>
                  <a:lnTo>
                    <a:pt x="100" y="0"/>
                  </a:lnTo>
                  <a:lnTo>
                    <a:pt x="91" y="1"/>
                  </a:lnTo>
                  <a:lnTo>
                    <a:pt x="75" y="5"/>
                  </a:lnTo>
                  <a:lnTo>
                    <a:pt x="59" y="10"/>
                  </a:lnTo>
                  <a:lnTo>
                    <a:pt x="45" y="18"/>
                  </a:lnTo>
                  <a:lnTo>
                    <a:pt x="32" y="27"/>
                  </a:lnTo>
                  <a:lnTo>
                    <a:pt x="19" y="39"/>
                  </a:lnTo>
                  <a:lnTo>
                    <a:pt x="9" y="51"/>
                  </a:lnTo>
                  <a:lnTo>
                    <a:pt x="1" y="64"/>
                  </a:lnTo>
                  <a:lnTo>
                    <a:pt x="1" y="64"/>
                  </a:lnTo>
                  <a:lnTo>
                    <a:pt x="1" y="65"/>
                  </a:lnTo>
                  <a:lnTo>
                    <a:pt x="1" y="65"/>
                  </a:lnTo>
                  <a:lnTo>
                    <a:pt x="0" y="65"/>
                  </a:lnTo>
                  <a:lnTo>
                    <a:pt x="0" y="65"/>
                  </a:lnTo>
                  <a:lnTo>
                    <a:pt x="0" y="66"/>
                  </a:lnTo>
                  <a:lnTo>
                    <a:pt x="0" y="66"/>
                  </a:lnTo>
                  <a:lnTo>
                    <a:pt x="0" y="67"/>
                  </a:lnTo>
                  <a:lnTo>
                    <a:pt x="0" y="67"/>
                  </a:lnTo>
                  <a:lnTo>
                    <a:pt x="0" y="69"/>
                  </a:lnTo>
                  <a:lnTo>
                    <a:pt x="0" y="69"/>
                  </a:lnTo>
                  <a:lnTo>
                    <a:pt x="0" y="70"/>
                  </a:lnTo>
                  <a:lnTo>
                    <a:pt x="0" y="70"/>
                  </a:lnTo>
                  <a:lnTo>
                    <a:pt x="1" y="70"/>
                  </a:lnTo>
                  <a:lnTo>
                    <a:pt x="1" y="70"/>
                  </a:lnTo>
                  <a:lnTo>
                    <a:pt x="1" y="70"/>
                  </a:lnTo>
                  <a:lnTo>
                    <a:pt x="1" y="70"/>
                  </a:lnTo>
                  <a:lnTo>
                    <a:pt x="9" y="85"/>
                  </a:lnTo>
                  <a:lnTo>
                    <a:pt x="19" y="97"/>
                  </a:lnTo>
                  <a:lnTo>
                    <a:pt x="32" y="107"/>
                  </a:lnTo>
                  <a:lnTo>
                    <a:pt x="45" y="118"/>
                  </a:lnTo>
                  <a:lnTo>
                    <a:pt x="59" y="125"/>
                  </a:lnTo>
                  <a:lnTo>
                    <a:pt x="75" y="131"/>
                  </a:lnTo>
                  <a:lnTo>
                    <a:pt x="91" y="134"/>
                  </a:lnTo>
                  <a:lnTo>
                    <a:pt x="100" y="135"/>
                  </a:lnTo>
                  <a:lnTo>
                    <a:pt x="109" y="135"/>
                  </a:lnTo>
                  <a:lnTo>
                    <a:pt x="109" y="135"/>
                  </a:lnTo>
                  <a:lnTo>
                    <a:pt x="117" y="135"/>
                  </a:lnTo>
                  <a:lnTo>
                    <a:pt x="125" y="134"/>
                  </a:lnTo>
                  <a:lnTo>
                    <a:pt x="141" y="131"/>
                  </a:lnTo>
                  <a:lnTo>
                    <a:pt x="157" y="125"/>
                  </a:lnTo>
                  <a:lnTo>
                    <a:pt x="172" y="118"/>
                  </a:lnTo>
                  <a:lnTo>
                    <a:pt x="185" y="107"/>
                  </a:lnTo>
                  <a:lnTo>
                    <a:pt x="197" y="97"/>
                  </a:lnTo>
                  <a:lnTo>
                    <a:pt x="208" y="85"/>
                  </a:lnTo>
                  <a:lnTo>
                    <a:pt x="216" y="70"/>
                  </a:lnTo>
                  <a:lnTo>
                    <a:pt x="216" y="70"/>
                  </a:lnTo>
                  <a:lnTo>
                    <a:pt x="216" y="70"/>
                  </a:lnTo>
                  <a:lnTo>
                    <a:pt x="216" y="70"/>
                  </a:lnTo>
                  <a:lnTo>
                    <a:pt x="216" y="70"/>
                  </a:lnTo>
                  <a:lnTo>
                    <a:pt x="216" y="70"/>
                  </a:lnTo>
                  <a:lnTo>
                    <a:pt x="216" y="69"/>
                  </a:lnTo>
                  <a:lnTo>
                    <a:pt x="216" y="69"/>
                  </a:lnTo>
                  <a:lnTo>
                    <a:pt x="216" y="67"/>
                  </a:lnTo>
                  <a:lnTo>
                    <a:pt x="216" y="67"/>
                  </a:lnTo>
                  <a:lnTo>
                    <a:pt x="216" y="66"/>
                  </a:lnTo>
                  <a:lnTo>
                    <a:pt x="216" y="66"/>
                  </a:lnTo>
                  <a:close/>
                  <a:moveTo>
                    <a:pt x="109" y="122"/>
                  </a:moveTo>
                  <a:lnTo>
                    <a:pt x="109" y="122"/>
                  </a:lnTo>
                  <a:lnTo>
                    <a:pt x="94" y="121"/>
                  </a:lnTo>
                  <a:lnTo>
                    <a:pt x="80" y="118"/>
                  </a:lnTo>
                  <a:lnTo>
                    <a:pt x="66" y="113"/>
                  </a:lnTo>
                  <a:lnTo>
                    <a:pt x="54" y="107"/>
                  </a:lnTo>
                  <a:lnTo>
                    <a:pt x="42" y="99"/>
                  </a:lnTo>
                  <a:lnTo>
                    <a:pt x="32" y="90"/>
                  </a:lnTo>
                  <a:lnTo>
                    <a:pt x="22" y="80"/>
                  </a:lnTo>
                  <a:lnTo>
                    <a:pt x="14" y="67"/>
                  </a:lnTo>
                  <a:lnTo>
                    <a:pt x="14" y="67"/>
                  </a:lnTo>
                  <a:lnTo>
                    <a:pt x="22" y="56"/>
                  </a:lnTo>
                  <a:lnTo>
                    <a:pt x="32" y="46"/>
                  </a:lnTo>
                  <a:lnTo>
                    <a:pt x="42" y="37"/>
                  </a:lnTo>
                  <a:lnTo>
                    <a:pt x="54" y="28"/>
                  </a:lnTo>
                  <a:lnTo>
                    <a:pt x="66" y="22"/>
                  </a:lnTo>
                  <a:lnTo>
                    <a:pt x="80" y="17"/>
                  </a:lnTo>
                  <a:lnTo>
                    <a:pt x="94" y="14"/>
                  </a:lnTo>
                  <a:lnTo>
                    <a:pt x="109" y="13"/>
                  </a:lnTo>
                  <a:lnTo>
                    <a:pt x="109" y="13"/>
                  </a:lnTo>
                  <a:lnTo>
                    <a:pt x="123" y="14"/>
                  </a:lnTo>
                  <a:lnTo>
                    <a:pt x="136" y="17"/>
                  </a:lnTo>
                  <a:lnTo>
                    <a:pt x="150" y="22"/>
                  </a:lnTo>
                  <a:lnTo>
                    <a:pt x="163" y="28"/>
                  </a:lnTo>
                  <a:lnTo>
                    <a:pt x="174" y="37"/>
                  </a:lnTo>
                  <a:lnTo>
                    <a:pt x="185" y="46"/>
                  </a:lnTo>
                  <a:lnTo>
                    <a:pt x="195" y="56"/>
                  </a:lnTo>
                  <a:lnTo>
                    <a:pt x="202" y="67"/>
                  </a:lnTo>
                  <a:lnTo>
                    <a:pt x="202" y="67"/>
                  </a:lnTo>
                  <a:lnTo>
                    <a:pt x="195" y="80"/>
                  </a:lnTo>
                  <a:lnTo>
                    <a:pt x="185" y="90"/>
                  </a:lnTo>
                  <a:lnTo>
                    <a:pt x="174" y="99"/>
                  </a:lnTo>
                  <a:lnTo>
                    <a:pt x="163" y="107"/>
                  </a:lnTo>
                  <a:lnTo>
                    <a:pt x="150" y="113"/>
                  </a:lnTo>
                  <a:lnTo>
                    <a:pt x="136" y="118"/>
                  </a:lnTo>
                  <a:lnTo>
                    <a:pt x="123" y="121"/>
                  </a:lnTo>
                  <a:lnTo>
                    <a:pt x="109" y="122"/>
                  </a:lnTo>
                  <a:lnTo>
                    <a:pt x="109" y="1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107">
              <a:extLst>
                <a:ext uri="{FF2B5EF4-FFF2-40B4-BE49-F238E27FC236}">
                  <a16:creationId xmlns:a16="http://schemas.microsoft.com/office/drawing/2014/main" id="{2A8CC48F-EE4B-4C6C-8759-4222D6C98743}"/>
                </a:ext>
              </a:extLst>
            </p:cNvPr>
            <p:cNvSpPr>
              <a:spLocks/>
            </p:cNvSpPr>
            <p:nvPr/>
          </p:nvSpPr>
          <p:spPr bwMode="auto">
            <a:xfrm>
              <a:off x="2778125" y="5055396"/>
              <a:ext cx="79375" cy="79375"/>
            </a:xfrm>
            <a:custGeom>
              <a:avLst/>
              <a:gdLst>
                <a:gd name="T0" fmla="*/ 28 w 31"/>
                <a:gd name="T1" fmla="*/ 0 h 30"/>
                <a:gd name="T2" fmla="*/ 28 w 31"/>
                <a:gd name="T3" fmla="*/ 0 h 30"/>
                <a:gd name="T4" fmla="*/ 28 w 31"/>
                <a:gd name="T5" fmla="*/ 0 h 30"/>
                <a:gd name="T6" fmla="*/ 28 w 31"/>
                <a:gd name="T7" fmla="*/ 0 h 30"/>
                <a:gd name="T8" fmla="*/ 21 w 31"/>
                <a:gd name="T9" fmla="*/ 0 h 30"/>
                <a:gd name="T10" fmla="*/ 16 w 31"/>
                <a:gd name="T11" fmla="*/ 2 h 30"/>
                <a:gd name="T12" fmla="*/ 12 w 31"/>
                <a:gd name="T13" fmla="*/ 4 h 30"/>
                <a:gd name="T14" fmla="*/ 8 w 31"/>
                <a:gd name="T15" fmla="*/ 8 h 30"/>
                <a:gd name="T16" fmla="*/ 5 w 31"/>
                <a:gd name="T17" fmla="*/ 11 h 30"/>
                <a:gd name="T18" fmla="*/ 2 w 31"/>
                <a:gd name="T19" fmla="*/ 16 h 30"/>
                <a:gd name="T20" fmla="*/ 1 w 31"/>
                <a:gd name="T21" fmla="*/ 21 h 30"/>
                <a:gd name="T22" fmla="*/ 0 w 31"/>
                <a:gd name="T23" fmla="*/ 26 h 30"/>
                <a:gd name="T24" fmla="*/ 0 w 31"/>
                <a:gd name="T25" fmla="*/ 26 h 30"/>
                <a:gd name="T26" fmla="*/ 1 w 31"/>
                <a:gd name="T27" fmla="*/ 29 h 30"/>
                <a:gd name="T28" fmla="*/ 4 w 31"/>
                <a:gd name="T29" fmla="*/ 30 h 30"/>
                <a:gd name="T30" fmla="*/ 4 w 31"/>
                <a:gd name="T31" fmla="*/ 30 h 30"/>
                <a:gd name="T32" fmla="*/ 6 w 31"/>
                <a:gd name="T33" fmla="*/ 29 h 30"/>
                <a:gd name="T34" fmla="*/ 7 w 31"/>
                <a:gd name="T35" fmla="*/ 26 h 30"/>
                <a:gd name="T36" fmla="*/ 7 w 31"/>
                <a:gd name="T37" fmla="*/ 26 h 30"/>
                <a:gd name="T38" fmla="*/ 7 w 31"/>
                <a:gd name="T39" fmla="*/ 22 h 30"/>
                <a:gd name="T40" fmla="*/ 8 w 31"/>
                <a:gd name="T41" fmla="*/ 19 h 30"/>
                <a:gd name="T42" fmla="*/ 10 w 31"/>
                <a:gd name="T43" fmla="*/ 15 h 30"/>
                <a:gd name="T44" fmla="*/ 13 w 31"/>
                <a:gd name="T45" fmla="*/ 12 h 30"/>
                <a:gd name="T46" fmla="*/ 16 w 31"/>
                <a:gd name="T47" fmla="*/ 10 h 30"/>
                <a:gd name="T48" fmla="*/ 19 w 31"/>
                <a:gd name="T49" fmla="*/ 8 h 30"/>
                <a:gd name="T50" fmla="*/ 23 w 31"/>
                <a:gd name="T51" fmla="*/ 7 h 30"/>
                <a:gd name="T52" fmla="*/ 28 w 31"/>
                <a:gd name="T53" fmla="*/ 6 h 30"/>
                <a:gd name="T54" fmla="*/ 28 w 31"/>
                <a:gd name="T55" fmla="*/ 6 h 30"/>
                <a:gd name="T56" fmla="*/ 28 w 31"/>
                <a:gd name="T57" fmla="*/ 6 h 30"/>
                <a:gd name="T58" fmla="*/ 30 w 31"/>
                <a:gd name="T59" fmla="*/ 5 h 30"/>
                <a:gd name="T60" fmla="*/ 31 w 31"/>
                <a:gd name="T61" fmla="*/ 3 h 30"/>
                <a:gd name="T62" fmla="*/ 31 w 31"/>
                <a:gd name="T63" fmla="*/ 3 h 30"/>
                <a:gd name="T64" fmla="*/ 30 w 31"/>
                <a:gd name="T65" fmla="*/ 1 h 30"/>
                <a:gd name="T66" fmla="*/ 28 w 31"/>
                <a:gd name="T67" fmla="*/ 0 h 30"/>
                <a:gd name="T68" fmla="*/ 28 w 3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30">
                  <a:moveTo>
                    <a:pt x="28" y="0"/>
                  </a:moveTo>
                  <a:lnTo>
                    <a:pt x="28" y="0"/>
                  </a:lnTo>
                  <a:lnTo>
                    <a:pt x="28" y="0"/>
                  </a:lnTo>
                  <a:lnTo>
                    <a:pt x="28" y="0"/>
                  </a:lnTo>
                  <a:lnTo>
                    <a:pt x="21" y="0"/>
                  </a:lnTo>
                  <a:lnTo>
                    <a:pt x="16" y="2"/>
                  </a:lnTo>
                  <a:lnTo>
                    <a:pt x="12" y="4"/>
                  </a:lnTo>
                  <a:lnTo>
                    <a:pt x="8" y="8"/>
                  </a:lnTo>
                  <a:lnTo>
                    <a:pt x="5" y="11"/>
                  </a:lnTo>
                  <a:lnTo>
                    <a:pt x="2" y="16"/>
                  </a:lnTo>
                  <a:lnTo>
                    <a:pt x="1" y="21"/>
                  </a:lnTo>
                  <a:lnTo>
                    <a:pt x="0" y="26"/>
                  </a:lnTo>
                  <a:lnTo>
                    <a:pt x="0" y="26"/>
                  </a:lnTo>
                  <a:lnTo>
                    <a:pt x="1" y="29"/>
                  </a:lnTo>
                  <a:lnTo>
                    <a:pt x="4" y="30"/>
                  </a:lnTo>
                  <a:lnTo>
                    <a:pt x="4" y="30"/>
                  </a:lnTo>
                  <a:lnTo>
                    <a:pt x="6" y="29"/>
                  </a:lnTo>
                  <a:lnTo>
                    <a:pt x="7" y="26"/>
                  </a:lnTo>
                  <a:lnTo>
                    <a:pt x="7" y="26"/>
                  </a:lnTo>
                  <a:lnTo>
                    <a:pt x="7" y="22"/>
                  </a:lnTo>
                  <a:lnTo>
                    <a:pt x="8" y="19"/>
                  </a:lnTo>
                  <a:lnTo>
                    <a:pt x="10" y="15"/>
                  </a:lnTo>
                  <a:lnTo>
                    <a:pt x="13" y="12"/>
                  </a:lnTo>
                  <a:lnTo>
                    <a:pt x="16" y="10"/>
                  </a:lnTo>
                  <a:lnTo>
                    <a:pt x="19" y="8"/>
                  </a:lnTo>
                  <a:lnTo>
                    <a:pt x="23" y="7"/>
                  </a:lnTo>
                  <a:lnTo>
                    <a:pt x="28" y="6"/>
                  </a:lnTo>
                  <a:lnTo>
                    <a:pt x="28" y="6"/>
                  </a:lnTo>
                  <a:lnTo>
                    <a:pt x="28" y="6"/>
                  </a:lnTo>
                  <a:lnTo>
                    <a:pt x="30" y="5"/>
                  </a:lnTo>
                  <a:lnTo>
                    <a:pt x="31" y="3"/>
                  </a:lnTo>
                  <a:lnTo>
                    <a:pt x="31" y="3"/>
                  </a:lnTo>
                  <a:lnTo>
                    <a:pt x="30" y="1"/>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08">
              <a:extLst>
                <a:ext uri="{FF2B5EF4-FFF2-40B4-BE49-F238E27FC236}">
                  <a16:creationId xmlns:a16="http://schemas.microsoft.com/office/drawing/2014/main" id="{CC7726F1-C9DE-415A-BBBA-3D7ACAAA99C5}"/>
                </a:ext>
              </a:extLst>
            </p:cNvPr>
            <p:cNvSpPr>
              <a:spLocks noEditPoints="1"/>
            </p:cNvSpPr>
            <p:nvPr/>
          </p:nvSpPr>
          <p:spPr bwMode="auto">
            <a:xfrm>
              <a:off x="2722565" y="4999831"/>
              <a:ext cx="254000" cy="254000"/>
            </a:xfrm>
            <a:custGeom>
              <a:avLst/>
              <a:gdLst>
                <a:gd name="T0" fmla="*/ 49 w 96"/>
                <a:gd name="T1" fmla="*/ 0 h 95"/>
                <a:gd name="T2" fmla="*/ 30 w 96"/>
                <a:gd name="T3" fmla="*/ 4 h 95"/>
                <a:gd name="T4" fmla="*/ 15 w 96"/>
                <a:gd name="T5" fmla="*/ 14 h 95"/>
                <a:gd name="T6" fmla="*/ 4 w 96"/>
                <a:gd name="T7" fmla="*/ 29 h 95"/>
                <a:gd name="T8" fmla="*/ 0 w 96"/>
                <a:gd name="T9" fmla="*/ 47 h 95"/>
                <a:gd name="T10" fmla="*/ 1 w 96"/>
                <a:gd name="T11" fmla="*/ 58 h 95"/>
                <a:gd name="T12" fmla="*/ 9 w 96"/>
                <a:gd name="T13" fmla="*/ 74 h 95"/>
                <a:gd name="T14" fmla="*/ 22 w 96"/>
                <a:gd name="T15" fmla="*/ 87 h 95"/>
                <a:gd name="T16" fmla="*/ 38 w 96"/>
                <a:gd name="T17" fmla="*/ 94 h 95"/>
                <a:gd name="T18" fmla="*/ 49 w 96"/>
                <a:gd name="T19" fmla="*/ 95 h 95"/>
                <a:gd name="T20" fmla="*/ 67 w 96"/>
                <a:gd name="T21" fmla="*/ 91 h 95"/>
                <a:gd name="T22" fmla="*/ 81 w 96"/>
                <a:gd name="T23" fmla="*/ 81 h 95"/>
                <a:gd name="T24" fmla="*/ 92 w 96"/>
                <a:gd name="T25" fmla="*/ 66 h 95"/>
                <a:gd name="T26" fmla="*/ 96 w 96"/>
                <a:gd name="T27" fmla="*/ 47 h 95"/>
                <a:gd name="T28" fmla="*/ 95 w 96"/>
                <a:gd name="T29" fmla="*/ 38 h 95"/>
                <a:gd name="T30" fmla="*/ 87 w 96"/>
                <a:gd name="T31" fmla="*/ 21 h 95"/>
                <a:gd name="T32" fmla="*/ 74 w 96"/>
                <a:gd name="T33" fmla="*/ 8 h 95"/>
                <a:gd name="T34" fmla="*/ 58 w 96"/>
                <a:gd name="T35" fmla="*/ 1 h 95"/>
                <a:gd name="T36" fmla="*/ 49 w 96"/>
                <a:gd name="T37" fmla="*/ 0 h 95"/>
                <a:gd name="T38" fmla="*/ 49 w 96"/>
                <a:gd name="T39" fmla="*/ 88 h 95"/>
                <a:gd name="T40" fmla="*/ 32 w 96"/>
                <a:gd name="T41" fmla="*/ 85 h 95"/>
                <a:gd name="T42" fmla="*/ 20 w 96"/>
                <a:gd name="T43" fmla="*/ 76 h 95"/>
                <a:gd name="T44" fmla="*/ 11 w 96"/>
                <a:gd name="T45" fmla="*/ 64 h 95"/>
                <a:gd name="T46" fmla="*/ 7 w 96"/>
                <a:gd name="T47" fmla="*/ 47 h 95"/>
                <a:gd name="T48" fmla="*/ 9 w 96"/>
                <a:gd name="T49" fmla="*/ 39 h 95"/>
                <a:gd name="T50" fmla="*/ 15 w 96"/>
                <a:gd name="T51" fmla="*/ 25 h 95"/>
                <a:gd name="T52" fmla="*/ 25 w 96"/>
                <a:gd name="T53" fmla="*/ 13 h 95"/>
                <a:gd name="T54" fmla="*/ 40 w 96"/>
                <a:gd name="T55" fmla="*/ 7 h 95"/>
                <a:gd name="T56" fmla="*/ 49 w 96"/>
                <a:gd name="T57" fmla="*/ 7 h 95"/>
                <a:gd name="T58" fmla="*/ 64 w 96"/>
                <a:gd name="T59" fmla="*/ 10 h 95"/>
                <a:gd name="T60" fmla="*/ 77 w 96"/>
                <a:gd name="T61" fmla="*/ 19 h 95"/>
                <a:gd name="T62" fmla="*/ 85 w 96"/>
                <a:gd name="T63" fmla="*/ 32 h 95"/>
                <a:gd name="T64" fmla="*/ 89 w 96"/>
                <a:gd name="T65" fmla="*/ 47 h 95"/>
                <a:gd name="T66" fmla="*/ 87 w 96"/>
                <a:gd name="T67" fmla="*/ 55 h 95"/>
                <a:gd name="T68" fmla="*/ 82 w 96"/>
                <a:gd name="T69" fmla="*/ 70 h 95"/>
                <a:gd name="T70" fmla="*/ 71 w 96"/>
                <a:gd name="T71" fmla="*/ 81 h 95"/>
                <a:gd name="T72" fmla="*/ 57 w 96"/>
                <a:gd name="T73" fmla="*/ 87 h 95"/>
                <a:gd name="T74" fmla="*/ 49 w 96"/>
                <a:gd name="T75" fmla="*/ 8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49" y="0"/>
                  </a:moveTo>
                  <a:lnTo>
                    <a:pt x="49" y="0"/>
                  </a:lnTo>
                  <a:lnTo>
                    <a:pt x="38" y="1"/>
                  </a:lnTo>
                  <a:lnTo>
                    <a:pt x="30" y="4"/>
                  </a:lnTo>
                  <a:lnTo>
                    <a:pt x="22" y="8"/>
                  </a:lnTo>
                  <a:lnTo>
                    <a:pt x="15" y="14"/>
                  </a:lnTo>
                  <a:lnTo>
                    <a:pt x="9" y="21"/>
                  </a:lnTo>
                  <a:lnTo>
                    <a:pt x="4" y="29"/>
                  </a:lnTo>
                  <a:lnTo>
                    <a:pt x="1" y="38"/>
                  </a:lnTo>
                  <a:lnTo>
                    <a:pt x="0" y="47"/>
                  </a:lnTo>
                  <a:lnTo>
                    <a:pt x="0" y="47"/>
                  </a:lnTo>
                  <a:lnTo>
                    <a:pt x="1" y="58"/>
                  </a:lnTo>
                  <a:lnTo>
                    <a:pt x="4" y="66"/>
                  </a:lnTo>
                  <a:lnTo>
                    <a:pt x="9" y="74"/>
                  </a:lnTo>
                  <a:lnTo>
                    <a:pt x="15" y="81"/>
                  </a:lnTo>
                  <a:lnTo>
                    <a:pt x="22" y="87"/>
                  </a:lnTo>
                  <a:lnTo>
                    <a:pt x="30" y="91"/>
                  </a:lnTo>
                  <a:lnTo>
                    <a:pt x="38" y="94"/>
                  </a:lnTo>
                  <a:lnTo>
                    <a:pt x="49" y="95"/>
                  </a:lnTo>
                  <a:lnTo>
                    <a:pt x="49" y="95"/>
                  </a:lnTo>
                  <a:lnTo>
                    <a:pt x="58" y="94"/>
                  </a:lnTo>
                  <a:lnTo>
                    <a:pt x="67" y="91"/>
                  </a:lnTo>
                  <a:lnTo>
                    <a:pt x="74" y="87"/>
                  </a:lnTo>
                  <a:lnTo>
                    <a:pt x="81" y="81"/>
                  </a:lnTo>
                  <a:lnTo>
                    <a:pt x="87" y="74"/>
                  </a:lnTo>
                  <a:lnTo>
                    <a:pt x="92" y="66"/>
                  </a:lnTo>
                  <a:lnTo>
                    <a:pt x="95" y="58"/>
                  </a:lnTo>
                  <a:lnTo>
                    <a:pt x="96" y="47"/>
                  </a:lnTo>
                  <a:lnTo>
                    <a:pt x="96" y="47"/>
                  </a:lnTo>
                  <a:lnTo>
                    <a:pt x="95" y="38"/>
                  </a:lnTo>
                  <a:lnTo>
                    <a:pt x="92" y="29"/>
                  </a:lnTo>
                  <a:lnTo>
                    <a:pt x="87" y="21"/>
                  </a:lnTo>
                  <a:lnTo>
                    <a:pt x="81" y="14"/>
                  </a:lnTo>
                  <a:lnTo>
                    <a:pt x="74" y="8"/>
                  </a:lnTo>
                  <a:lnTo>
                    <a:pt x="67" y="4"/>
                  </a:lnTo>
                  <a:lnTo>
                    <a:pt x="58" y="1"/>
                  </a:lnTo>
                  <a:lnTo>
                    <a:pt x="49" y="0"/>
                  </a:lnTo>
                  <a:lnTo>
                    <a:pt x="49" y="0"/>
                  </a:lnTo>
                  <a:close/>
                  <a:moveTo>
                    <a:pt x="49" y="88"/>
                  </a:moveTo>
                  <a:lnTo>
                    <a:pt x="49" y="88"/>
                  </a:lnTo>
                  <a:lnTo>
                    <a:pt x="40" y="87"/>
                  </a:lnTo>
                  <a:lnTo>
                    <a:pt x="32" y="85"/>
                  </a:lnTo>
                  <a:lnTo>
                    <a:pt x="25" y="81"/>
                  </a:lnTo>
                  <a:lnTo>
                    <a:pt x="20" y="76"/>
                  </a:lnTo>
                  <a:lnTo>
                    <a:pt x="15" y="70"/>
                  </a:lnTo>
                  <a:lnTo>
                    <a:pt x="11" y="64"/>
                  </a:lnTo>
                  <a:lnTo>
                    <a:pt x="9" y="55"/>
                  </a:lnTo>
                  <a:lnTo>
                    <a:pt x="7" y="47"/>
                  </a:lnTo>
                  <a:lnTo>
                    <a:pt x="7" y="47"/>
                  </a:lnTo>
                  <a:lnTo>
                    <a:pt x="9" y="39"/>
                  </a:lnTo>
                  <a:lnTo>
                    <a:pt x="11" y="32"/>
                  </a:lnTo>
                  <a:lnTo>
                    <a:pt x="15" y="25"/>
                  </a:lnTo>
                  <a:lnTo>
                    <a:pt x="20" y="19"/>
                  </a:lnTo>
                  <a:lnTo>
                    <a:pt x="25" y="13"/>
                  </a:lnTo>
                  <a:lnTo>
                    <a:pt x="32" y="10"/>
                  </a:lnTo>
                  <a:lnTo>
                    <a:pt x="40" y="7"/>
                  </a:lnTo>
                  <a:lnTo>
                    <a:pt x="49" y="7"/>
                  </a:lnTo>
                  <a:lnTo>
                    <a:pt x="49" y="7"/>
                  </a:lnTo>
                  <a:lnTo>
                    <a:pt x="57" y="7"/>
                  </a:lnTo>
                  <a:lnTo>
                    <a:pt x="64" y="10"/>
                  </a:lnTo>
                  <a:lnTo>
                    <a:pt x="71" y="13"/>
                  </a:lnTo>
                  <a:lnTo>
                    <a:pt x="77" y="19"/>
                  </a:lnTo>
                  <a:lnTo>
                    <a:pt x="82" y="25"/>
                  </a:lnTo>
                  <a:lnTo>
                    <a:pt x="85" y="32"/>
                  </a:lnTo>
                  <a:lnTo>
                    <a:pt x="87" y="39"/>
                  </a:lnTo>
                  <a:lnTo>
                    <a:pt x="89" y="47"/>
                  </a:lnTo>
                  <a:lnTo>
                    <a:pt x="89" y="47"/>
                  </a:lnTo>
                  <a:lnTo>
                    <a:pt x="87" y="55"/>
                  </a:lnTo>
                  <a:lnTo>
                    <a:pt x="85" y="64"/>
                  </a:lnTo>
                  <a:lnTo>
                    <a:pt x="82" y="70"/>
                  </a:lnTo>
                  <a:lnTo>
                    <a:pt x="77" y="76"/>
                  </a:lnTo>
                  <a:lnTo>
                    <a:pt x="71" y="81"/>
                  </a:lnTo>
                  <a:lnTo>
                    <a:pt x="64" y="85"/>
                  </a:lnTo>
                  <a:lnTo>
                    <a:pt x="57" y="87"/>
                  </a:lnTo>
                  <a:lnTo>
                    <a:pt x="49" y="88"/>
                  </a:lnTo>
                  <a:lnTo>
                    <a:pt x="49"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3" name="Group 38">
            <a:extLst>
              <a:ext uri="{FF2B5EF4-FFF2-40B4-BE49-F238E27FC236}">
                <a16:creationId xmlns:a16="http://schemas.microsoft.com/office/drawing/2014/main" id="{B53A06B9-6578-4FF7-839F-E58014B5DE6A}"/>
              </a:ext>
            </a:extLst>
          </p:cNvPr>
          <p:cNvGrpSpPr>
            <a:grpSpLocks noChangeAspect="1"/>
          </p:cNvGrpSpPr>
          <p:nvPr/>
        </p:nvGrpSpPr>
        <p:grpSpPr>
          <a:xfrm>
            <a:off x="4933528" y="5417576"/>
            <a:ext cx="234121" cy="306484"/>
            <a:chOff x="3778250" y="3690146"/>
            <a:chExt cx="436565" cy="571500"/>
          </a:xfrm>
          <a:solidFill>
            <a:schemeClr val="bg2"/>
          </a:solidFill>
          <a:effectLst/>
        </p:grpSpPr>
        <p:sp>
          <p:nvSpPr>
            <p:cNvPr id="714" name="Freeform 116">
              <a:extLst>
                <a:ext uri="{FF2B5EF4-FFF2-40B4-BE49-F238E27FC236}">
                  <a16:creationId xmlns:a16="http://schemas.microsoft.com/office/drawing/2014/main" id="{EEBC3567-EA64-4D0C-8383-B89492304253}"/>
                </a:ext>
              </a:extLst>
            </p:cNvPr>
            <p:cNvSpPr>
              <a:spLocks noEditPoints="1"/>
            </p:cNvSpPr>
            <p:nvPr/>
          </p:nvSpPr>
          <p:spPr bwMode="auto">
            <a:xfrm>
              <a:off x="3778250" y="3690146"/>
              <a:ext cx="436565" cy="571500"/>
            </a:xfrm>
            <a:custGeom>
              <a:avLst/>
              <a:gdLst>
                <a:gd name="T0" fmla="*/ 143 w 164"/>
                <a:gd name="T1" fmla="*/ 61 h 217"/>
                <a:gd name="T2" fmla="*/ 138 w 164"/>
                <a:gd name="T3" fmla="*/ 37 h 217"/>
                <a:gd name="T4" fmla="*/ 116 w 164"/>
                <a:gd name="T5" fmla="*/ 10 h 217"/>
                <a:gd name="T6" fmla="*/ 88 w 164"/>
                <a:gd name="T7" fmla="*/ 0 h 217"/>
                <a:gd name="T8" fmla="*/ 75 w 164"/>
                <a:gd name="T9" fmla="*/ 0 h 217"/>
                <a:gd name="T10" fmla="*/ 48 w 164"/>
                <a:gd name="T11" fmla="*/ 10 h 217"/>
                <a:gd name="T12" fmla="*/ 25 w 164"/>
                <a:gd name="T13" fmla="*/ 37 h 217"/>
                <a:gd name="T14" fmla="*/ 21 w 164"/>
                <a:gd name="T15" fmla="*/ 61 h 217"/>
                <a:gd name="T16" fmla="*/ 17 w 164"/>
                <a:gd name="T17" fmla="*/ 88 h 217"/>
                <a:gd name="T18" fmla="*/ 7 w 164"/>
                <a:gd name="T19" fmla="*/ 94 h 217"/>
                <a:gd name="T20" fmla="*/ 0 w 164"/>
                <a:gd name="T21" fmla="*/ 104 h 217"/>
                <a:gd name="T22" fmla="*/ 0 w 164"/>
                <a:gd name="T23" fmla="*/ 135 h 217"/>
                <a:gd name="T24" fmla="*/ 0 w 164"/>
                <a:gd name="T25" fmla="*/ 156 h 217"/>
                <a:gd name="T26" fmla="*/ 6 w 164"/>
                <a:gd name="T27" fmla="*/ 179 h 217"/>
                <a:gd name="T28" fmla="*/ 27 w 164"/>
                <a:gd name="T29" fmla="*/ 207 h 217"/>
                <a:gd name="T30" fmla="*/ 55 w 164"/>
                <a:gd name="T31" fmla="*/ 216 h 217"/>
                <a:gd name="T32" fmla="*/ 102 w 164"/>
                <a:gd name="T33" fmla="*/ 217 h 217"/>
                <a:gd name="T34" fmla="*/ 126 w 164"/>
                <a:gd name="T35" fmla="*/ 212 h 217"/>
                <a:gd name="T36" fmla="*/ 153 w 164"/>
                <a:gd name="T37" fmla="*/ 190 h 217"/>
                <a:gd name="T38" fmla="*/ 162 w 164"/>
                <a:gd name="T39" fmla="*/ 162 h 217"/>
                <a:gd name="T40" fmla="*/ 164 w 164"/>
                <a:gd name="T41" fmla="*/ 135 h 217"/>
                <a:gd name="T42" fmla="*/ 164 w 164"/>
                <a:gd name="T43" fmla="*/ 109 h 217"/>
                <a:gd name="T44" fmla="*/ 159 w 164"/>
                <a:gd name="T45" fmla="*/ 97 h 217"/>
                <a:gd name="T46" fmla="*/ 151 w 164"/>
                <a:gd name="T47" fmla="*/ 90 h 217"/>
                <a:gd name="T48" fmla="*/ 143 w 164"/>
                <a:gd name="T49" fmla="*/ 88 h 217"/>
                <a:gd name="T50" fmla="*/ 35 w 164"/>
                <a:gd name="T51" fmla="*/ 51 h 217"/>
                <a:gd name="T52" fmla="*/ 49 w 164"/>
                <a:gd name="T53" fmla="*/ 28 h 217"/>
                <a:gd name="T54" fmla="*/ 72 w 164"/>
                <a:gd name="T55" fmla="*/ 14 h 217"/>
                <a:gd name="T56" fmla="*/ 92 w 164"/>
                <a:gd name="T57" fmla="*/ 14 h 217"/>
                <a:gd name="T58" fmla="*/ 115 w 164"/>
                <a:gd name="T59" fmla="*/ 28 h 217"/>
                <a:gd name="T60" fmla="*/ 129 w 164"/>
                <a:gd name="T61" fmla="*/ 51 h 217"/>
                <a:gd name="T62" fmla="*/ 115 w 164"/>
                <a:gd name="T63" fmla="*/ 88 h 217"/>
                <a:gd name="T64" fmla="*/ 115 w 164"/>
                <a:gd name="T65" fmla="*/ 54 h 217"/>
                <a:gd name="T66" fmla="*/ 106 w 164"/>
                <a:gd name="T67" fmla="*/ 37 h 217"/>
                <a:gd name="T68" fmla="*/ 89 w 164"/>
                <a:gd name="T69" fmla="*/ 28 h 217"/>
                <a:gd name="T70" fmla="*/ 75 w 164"/>
                <a:gd name="T71" fmla="*/ 28 h 217"/>
                <a:gd name="T72" fmla="*/ 58 w 164"/>
                <a:gd name="T73" fmla="*/ 37 h 217"/>
                <a:gd name="T74" fmla="*/ 49 w 164"/>
                <a:gd name="T75" fmla="*/ 54 h 217"/>
                <a:gd name="T76" fmla="*/ 34 w 164"/>
                <a:gd name="T77" fmla="*/ 88 h 217"/>
                <a:gd name="T78" fmla="*/ 109 w 164"/>
                <a:gd name="T79" fmla="*/ 61 h 217"/>
                <a:gd name="T80" fmla="*/ 55 w 164"/>
                <a:gd name="T81" fmla="*/ 61 h 217"/>
                <a:gd name="T82" fmla="*/ 55 w 164"/>
                <a:gd name="T83" fmla="*/ 55 h 217"/>
                <a:gd name="T84" fmla="*/ 63 w 164"/>
                <a:gd name="T85" fmla="*/ 42 h 217"/>
                <a:gd name="T86" fmla="*/ 76 w 164"/>
                <a:gd name="T87" fmla="*/ 35 h 217"/>
                <a:gd name="T88" fmla="*/ 88 w 164"/>
                <a:gd name="T89" fmla="*/ 35 h 217"/>
                <a:gd name="T90" fmla="*/ 101 w 164"/>
                <a:gd name="T91" fmla="*/ 42 h 217"/>
                <a:gd name="T92" fmla="*/ 108 w 164"/>
                <a:gd name="T93" fmla="*/ 55 h 217"/>
                <a:gd name="T94" fmla="*/ 150 w 164"/>
                <a:gd name="T95" fmla="*/ 129 h 217"/>
                <a:gd name="T96" fmla="*/ 150 w 164"/>
                <a:gd name="T97" fmla="*/ 156 h 217"/>
                <a:gd name="T98" fmla="*/ 146 w 164"/>
                <a:gd name="T99" fmla="*/ 174 h 217"/>
                <a:gd name="T100" fmla="*/ 129 w 164"/>
                <a:gd name="T101" fmla="*/ 196 h 217"/>
                <a:gd name="T102" fmla="*/ 102 w 164"/>
                <a:gd name="T103" fmla="*/ 203 h 217"/>
                <a:gd name="T104" fmla="*/ 52 w 164"/>
                <a:gd name="T105" fmla="*/ 203 h 217"/>
                <a:gd name="T106" fmla="*/ 28 w 164"/>
                <a:gd name="T107" fmla="*/ 190 h 217"/>
                <a:gd name="T108" fmla="*/ 15 w 164"/>
                <a:gd name="T109" fmla="*/ 166 h 217"/>
                <a:gd name="T110" fmla="*/ 14 w 164"/>
                <a:gd name="T111" fmla="*/ 135 h 217"/>
                <a:gd name="T112" fmla="*/ 14 w 164"/>
                <a:gd name="T113" fmla="*/ 109 h 217"/>
                <a:gd name="T114" fmla="*/ 18 w 164"/>
                <a:gd name="T115" fmla="*/ 102 h 217"/>
                <a:gd name="T116" fmla="*/ 34 w 164"/>
                <a:gd name="T117" fmla="*/ 101 h 217"/>
                <a:gd name="T118" fmla="*/ 143 w 164"/>
                <a:gd name="T119" fmla="*/ 101 h 217"/>
                <a:gd name="T120" fmla="*/ 148 w 164"/>
                <a:gd name="T121" fmla="*/ 103 h 217"/>
                <a:gd name="T122" fmla="*/ 150 w 164"/>
                <a:gd name="T123" fmla="*/ 12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217">
                  <a:moveTo>
                    <a:pt x="143" y="88"/>
                  </a:moveTo>
                  <a:lnTo>
                    <a:pt x="143" y="61"/>
                  </a:lnTo>
                  <a:lnTo>
                    <a:pt x="143" y="61"/>
                  </a:lnTo>
                  <a:lnTo>
                    <a:pt x="143" y="54"/>
                  </a:lnTo>
                  <a:lnTo>
                    <a:pt x="142" y="49"/>
                  </a:lnTo>
                  <a:lnTo>
                    <a:pt x="138" y="37"/>
                  </a:lnTo>
                  <a:lnTo>
                    <a:pt x="133" y="27"/>
                  </a:lnTo>
                  <a:lnTo>
                    <a:pt x="125" y="17"/>
                  </a:lnTo>
                  <a:lnTo>
                    <a:pt x="116" y="10"/>
                  </a:lnTo>
                  <a:lnTo>
                    <a:pt x="106" y="5"/>
                  </a:lnTo>
                  <a:lnTo>
                    <a:pt x="94" y="1"/>
                  </a:lnTo>
                  <a:lnTo>
                    <a:pt x="88" y="0"/>
                  </a:lnTo>
                  <a:lnTo>
                    <a:pt x="81" y="0"/>
                  </a:lnTo>
                  <a:lnTo>
                    <a:pt x="81" y="0"/>
                  </a:lnTo>
                  <a:lnTo>
                    <a:pt x="75" y="0"/>
                  </a:lnTo>
                  <a:lnTo>
                    <a:pt x="69" y="1"/>
                  </a:lnTo>
                  <a:lnTo>
                    <a:pt x="58" y="5"/>
                  </a:lnTo>
                  <a:lnTo>
                    <a:pt x="48" y="10"/>
                  </a:lnTo>
                  <a:lnTo>
                    <a:pt x="38" y="17"/>
                  </a:lnTo>
                  <a:lnTo>
                    <a:pt x="31" y="27"/>
                  </a:lnTo>
                  <a:lnTo>
                    <a:pt x="25" y="37"/>
                  </a:lnTo>
                  <a:lnTo>
                    <a:pt x="22" y="49"/>
                  </a:lnTo>
                  <a:lnTo>
                    <a:pt x="21" y="54"/>
                  </a:lnTo>
                  <a:lnTo>
                    <a:pt x="21" y="61"/>
                  </a:lnTo>
                  <a:lnTo>
                    <a:pt x="21" y="88"/>
                  </a:lnTo>
                  <a:lnTo>
                    <a:pt x="21" y="88"/>
                  </a:lnTo>
                  <a:lnTo>
                    <a:pt x="17" y="88"/>
                  </a:lnTo>
                  <a:lnTo>
                    <a:pt x="13" y="90"/>
                  </a:lnTo>
                  <a:lnTo>
                    <a:pt x="10" y="91"/>
                  </a:lnTo>
                  <a:lnTo>
                    <a:pt x="7" y="94"/>
                  </a:lnTo>
                  <a:lnTo>
                    <a:pt x="3" y="97"/>
                  </a:lnTo>
                  <a:lnTo>
                    <a:pt x="2" y="100"/>
                  </a:lnTo>
                  <a:lnTo>
                    <a:pt x="0" y="104"/>
                  </a:lnTo>
                  <a:lnTo>
                    <a:pt x="0" y="109"/>
                  </a:lnTo>
                  <a:lnTo>
                    <a:pt x="0" y="129"/>
                  </a:lnTo>
                  <a:lnTo>
                    <a:pt x="0" y="135"/>
                  </a:lnTo>
                  <a:lnTo>
                    <a:pt x="0" y="150"/>
                  </a:lnTo>
                  <a:lnTo>
                    <a:pt x="0" y="156"/>
                  </a:lnTo>
                  <a:lnTo>
                    <a:pt x="0" y="156"/>
                  </a:lnTo>
                  <a:lnTo>
                    <a:pt x="0" y="162"/>
                  </a:lnTo>
                  <a:lnTo>
                    <a:pt x="1" y="168"/>
                  </a:lnTo>
                  <a:lnTo>
                    <a:pt x="6" y="179"/>
                  </a:lnTo>
                  <a:lnTo>
                    <a:pt x="11" y="190"/>
                  </a:lnTo>
                  <a:lnTo>
                    <a:pt x="18" y="199"/>
                  </a:lnTo>
                  <a:lnTo>
                    <a:pt x="27" y="207"/>
                  </a:lnTo>
                  <a:lnTo>
                    <a:pt x="37" y="212"/>
                  </a:lnTo>
                  <a:lnTo>
                    <a:pt x="50" y="216"/>
                  </a:lnTo>
                  <a:lnTo>
                    <a:pt x="55" y="216"/>
                  </a:lnTo>
                  <a:lnTo>
                    <a:pt x="62" y="217"/>
                  </a:lnTo>
                  <a:lnTo>
                    <a:pt x="102" y="217"/>
                  </a:lnTo>
                  <a:lnTo>
                    <a:pt x="102" y="217"/>
                  </a:lnTo>
                  <a:lnTo>
                    <a:pt x="108" y="216"/>
                  </a:lnTo>
                  <a:lnTo>
                    <a:pt x="114" y="216"/>
                  </a:lnTo>
                  <a:lnTo>
                    <a:pt x="126" y="212"/>
                  </a:lnTo>
                  <a:lnTo>
                    <a:pt x="137" y="207"/>
                  </a:lnTo>
                  <a:lnTo>
                    <a:pt x="145" y="199"/>
                  </a:lnTo>
                  <a:lnTo>
                    <a:pt x="153" y="190"/>
                  </a:lnTo>
                  <a:lnTo>
                    <a:pt x="158" y="179"/>
                  </a:lnTo>
                  <a:lnTo>
                    <a:pt x="162" y="168"/>
                  </a:lnTo>
                  <a:lnTo>
                    <a:pt x="162" y="162"/>
                  </a:lnTo>
                  <a:lnTo>
                    <a:pt x="164" y="156"/>
                  </a:lnTo>
                  <a:lnTo>
                    <a:pt x="164" y="150"/>
                  </a:lnTo>
                  <a:lnTo>
                    <a:pt x="164" y="135"/>
                  </a:lnTo>
                  <a:lnTo>
                    <a:pt x="164" y="129"/>
                  </a:lnTo>
                  <a:lnTo>
                    <a:pt x="164" y="109"/>
                  </a:lnTo>
                  <a:lnTo>
                    <a:pt x="164" y="109"/>
                  </a:lnTo>
                  <a:lnTo>
                    <a:pt x="162" y="104"/>
                  </a:lnTo>
                  <a:lnTo>
                    <a:pt x="161" y="100"/>
                  </a:lnTo>
                  <a:lnTo>
                    <a:pt x="159" y="97"/>
                  </a:lnTo>
                  <a:lnTo>
                    <a:pt x="157" y="94"/>
                  </a:lnTo>
                  <a:lnTo>
                    <a:pt x="154" y="91"/>
                  </a:lnTo>
                  <a:lnTo>
                    <a:pt x="151" y="90"/>
                  </a:lnTo>
                  <a:lnTo>
                    <a:pt x="147" y="88"/>
                  </a:lnTo>
                  <a:lnTo>
                    <a:pt x="143" y="88"/>
                  </a:lnTo>
                  <a:lnTo>
                    <a:pt x="143" y="88"/>
                  </a:lnTo>
                  <a:close/>
                  <a:moveTo>
                    <a:pt x="34" y="61"/>
                  </a:moveTo>
                  <a:lnTo>
                    <a:pt x="34" y="61"/>
                  </a:lnTo>
                  <a:lnTo>
                    <a:pt x="35" y="51"/>
                  </a:lnTo>
                  <a:lnTo>
                    <a:pt x="38" y="43"/>
                  </a:lnTo>
                  <a:lnTo>
                    <a:pt x="42" y="35"/>
                  </a:lnTo>
                  <a:lnTo>
                    <a:pt x="49" y="28"/>
                  </a:lnTo>
                  <a:lnTo>
                    <a:pt x="55" y="21"/>
                  </a:lnTo>
                  <a:lnTo>
                    <a:pt x="63" y="17"/>
                  </a:lnTo>
                  <a:lnTo>
                    <a:pt x="72" y="14"/>
                  </a:lnTo>
                  <a:lnTo>
                    <a:pt x="81" y="13"/>
                  </a:lnTo>
                  <a:lnTo>
                    <a:pt x="81" y="13"/>
                  </a:lnTo>
                  <a:lnTo>
                    <a:pt x="92" y="14"/>
                  </a:lnTo>
                  <a:lnTo>
                    <a:pt x="100" y="17"/>
                  </a:lnTo>
                  <a:lnTo>
                    <a:pt x="108" y="21"/>
                  </a:lnTo>
                  <a:lnTo>
                    <a:pt x="115" y="28"/>
                  </a:lnTo>
                  <a:lnTo>
                    <a:pt x="121" y="35"/>
                  </a:lnTo>
                  <a:lnTo>
                    <a:pt x="126" y="43"/>
                  </a:lnTo>
                  <a:lnTo>
                    <a:pt x="129" y="51"/>
                  </a:lnTo>
                  <a:lnTo>
                    <a:pt x="130" y="61"/>
                  </a:lnTo>
                  <a:lnTo>
                    <a:pt x="130" y="88"/>
                  </a:lnTo>
                  <a:lnTo>
                    <a:pt x="115" y="88"/>
                  </a:lnTo>
                  <a:lnTo>
                    <a:pt x="115" y="61"/>
                  </a:lnTo>
                  <a:lnTo>
                    <a:pt x="115" y="61"/>
                  </a:lnTo>
                  <a:lnTo>
                    <a:pt x="115" y="54"/>
                  </a:lnTo>
                  <a:lnTo>
                    <a:pt x="113" y="48"/>
                  </a:lnTo>
                  <a:lnTo>
                    <a:pt x="110" y="42"/>
                  </a:lnTo>
                  <a:lnTo>
                    <a:pt x="106" y="37"/>
                  </a:lnTo>
                  <a:lnTo>
                    <a:pt x="101" y="33"/>
                  </a:lnTo>
                  <a:lnTo>
                    <a:pt x="95" y="30"/>
                  </a:lnTo>
                  <a:lnTo>
                    <a:pt x="89" y="28"/>
                  </a:lnTo>
                  <a:lnTo>
                    <a:pt x="81" y="27"/>
                  </a:lnTo>
                  <a:lnTo>
                    <a:pt x="81" y="27"/>
                  </a:lnTo>
                  <a:lnTo>
                    <a:pt x="75" y="28"/>
                  </a:lnTo>
                  <a:lnTo>
                    <a:pt x="68" y="30"/>
                  </a:lnTo>
                  <a:lnTo>
                    <a:pt x="63" y="33"/>
                  </a:lnTo>
                  <a:lnTo>
                    <a:pt x="58" y="37"/>
                  </a:lnTo>
                  <a:lnTo>
                    <a:pt x="54" y="42"/>
                  </a:lnTo>
                  <a:lnTo>
                    <a:pt x="51" y="48"/>
                  </a:lnTo>
                  <a:lnTo>
                    <a:pt x="49" y="54"/>
                  </a:lnTo>
                  <a:lnTo>
                    <a:pt x="48" y="61"/>
                  </a:lnTo>
                  <a:lnTo>
                    <a:pt x="48" y="88"/>
                  </a:lnTo>
                  <a:lnTo>
                    <a:pt x="34" y="88"/>
                  </a:lnTo>
                  <a:lnTo>
                    <a:pt x="34" y="61"/>
                  </a:lnTo>
                  <a:close/>
                  <a:moveTo>
                    <a:pt x="109" y="61"/>
                  </a:moveTo>
                  <a:lnTo>
                    <a:pt x="109" y="61"/>
                  </a:lnTo>
                  <a:lnTo>
                    <a:pt x="109" y="88"/>
                  </a:lnTo>
                  <a:lnTo>
                    <a:pt x="55" y="88"/>
                  </a:lnTo>
                  <a:lnTo>
                    <a:pt x="55" y="61"/>
                  </a:lnTo>
                  <a:lnTo>
                    <a:pt x="55" y="61"/>
                  </a:lnTo>
                  <a:lnTo>
                    <a:pt x="55" y="61"/>
                  </a:lnTo>
                  <a:lnTo>
                    <a:pt x="55" y="55"/>
                  </a:lnTo>
                  <a:lnTo>
                    <a:pt x="57" y="50"/>
                  </a:lnTo>
                  <a:lnTo>
                    <a:pt x="59" y="46"/>
                  </a:lnTo>
                  <a:lnTo>
                    <a:pt x="63" y="42"/>
                  </a:lnTo>
                  <a:lnTo>
                    <a:pt x="67" y="39"/>
                  </a:lnTo>
                  <a:lnTo>
                    <a:pt x="71" y="36"/>
                  </a:lnTo>
                  <a:lnTo>
                    <a:pt x="76" y="35"/>
                  </a:lnTo>
                  <a:lnTo>
                    <a:pt x="81" y="34"/>
                  </a:lnTo>
                  <a:lnTo>
                    <a:pt x="81" y="34"/>
                  </a:lnTo>
                  <a:lnTo>
                    <a:pt x="88" y="35"/>
                  </a:lnTo>
                  <a:lnTo>
                    <a:pt x="93" y="36"/>
                  </a:lnTo>
                  <a:lnTo>
                    <a:pt x="97" y="39"/>
                  </a:lnTo>
                  <a:lnTo>
                    <a:pt x="101" y="42"/>
                  </a:lnTo>
                  <a:lnTo>
                    <a:pt x="104" y="46"/>
                  </a:lnTo>
                  <a:lnTo>
                    <a:pt x="107" y="50"/>
                  </a:lnTo>
                  <a:lnTo>
                    <a:pt x="108" y="55"/>
                  </a:lnTo>
                  <a:lnTo>
                    <a:pt x="109" y="61"/>
                  </a:lnTo>
                  <a:lnTo>
                    <a:pt x="109" y="61"/>
                  </a:lnTo>
                  <a:close/>
                  <a:moveTo>
                    <a:pt x="150" y="129"/>
                  </a:moveTo>
                  <a:lnTo>
                    <a:pt x="150" y="135"/>
                  </a:lnTo>
                  <a:lnTo>
                    <a:pt x="150" y="150"/>
                  </a:lnTo>
                  <a:lnTo>
                    <a:pt x="150" y="156"/>
                  </a:lnTo>
                  <a:lnTo>
                    <a:pt x="150" y="156"/>
                  </a:lnTo>
                  <a:lnTo>
                    <a:pt x="149" y="166"/>
                  </a:lnTo>
                  <a:lnTo>
                    <a:pt x="146" y="174"/>
                  </a:lnTo>
                  <a:lnTo>
                    <a:pt x="142" y="182"/>
                  </a:lnTo>
                  <a:lnTo>
                    <a:pt x="136" y="190"/>
                  </a:lnTo>
                  <a:lnTo>
                    <a:pt x="129" y="196"/>
                  </a:lnTo>
                  <a:lnTo>
                    <a:pt x="120" y="200"/>
                  </a:lnTo>
                  <a:lnTo>
                    <a:pt x="112" y="203"/>
                  </a:lnTo>
                  <a:lnTo>
                    <a:pt x="102" y="203"/>
                  </a:lnTo>
                  <a:lnTo>
                    <a:pt x="62" y="203"/>
                  </a:lnTo>
                  <a:lnTo>
                    <a:pt x="62" y="203"/>
                  </a:lnTo>
                  <a:lnTo>
                    <a:pt x="52" y="203"/>
                  </a:lnTo>
                  <a:lnTo>
                    <a:pt x="43" y="200"/>
                  </a:lnTo>
                  <a:lnTo>
                    <a:pt x="35" y="196"/>
                  </a:lnTo>
                  <a:lnTo>
                    <a:pt x="28" y="190"/>
                  </a:lnTo>
                  <a:lnTo>
                    <a:pt x="22" y="182"/>
                  </a:lnTo>
                  <a:lnTo>
                    <a:pt x="18" y="174"/>
                  </a:lnTo>
                  <a:lnTo>
                    <a:pt x="15" y="166"/>
                  </a:lnTo>
                  <a:lnTo>
                    <a:pt x="14" y="156"/>
                  </a:lnTo>
                  <a:lnTo>
                    <a:pt x="14" y="150"/>
                  </a:lnTo>
                  <a:lnTo>
                    <a:pt x="14" y="135"/>
                  </a:lnTo>
                  <a:lnTo>
                    <a:pt x="14" y="129"/>
                  </a:lnTo>
                  <a:lnTo>
                    <a:pt x="14" y="109"/>
                  </a:lnTo>
                  <a:lnTo>
                    <a:pt x="14" y="109"/>
                  </a:lnTo>
                  <a:lnTo>
                    <a:pt x="15" y="105"/>
                  </a:lnTo>
                  <a:lnTo>
                    <a:pt x="16" y="103"/>
                  </a:lnTo>
                  <a:lnTo>
                    <a:pt x="18" y="102"/>
                  </a:lnTo>
                  <a:lnTo>
                    <a:pt x="21" y="101"/>
                  </a:lnTo>
                  <a:lnTo>
                    <a:pt x="21" y="101"/>
                  </a:lnTo>
                  <a:lnTo>
                    <a:pt x="34" y="101"/>
                  </a:lnTo>
                  <a:lnTo>
                    <a:pt x="130" y="101"/>
                  </a:lnTo>
                  <a:lnTo>
                    <a:pt x="130" y="101"/>
                  </a:lnTo>
                  <a:lnTo>
                    <a:pt x="143" y="101"/>
                  </a:lnTo>
                  <a:lnTo>
                    <a:pt x="143" y="101"/>
                  </a:lnTo>
                  <a:lnTo>
                    <a:pt x="145" y="102"/>
                  </a:lnTo>
                  <a:lnTo>
                    <a:pt x="148" y="103"/>
                  </a:lnTo>
                  <a:lnTo>
                    <a:pt x="149" y="105"/>
                  </a:lnTo>
                  <a:lnTo>
                    <a:pt x="150" y="109"/>
                  </a:lnTo>
                  <a:lnTo>
                    <a:pt x="15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17">
              <a:extLst>
                <a:ext uri="{FF2B5EF4-FFF2-40B4-BE49-F238E27FC236}">
                  <a16:creationId xmlns:a16="http://schemas.microsoft.com/office/drawing/2014/main" id="{0D063631-EB07-49E6-B899-553952EE8EE3}"/>
                </a:ext>
              </a:extLst>
            </p:cNvPr>
            <p:cNvSpPr>
              <a:spLocks/>
            </p:cNvSpPr>
            <p:nvPr/>
          </p:nvSpPr>
          <p:spPr bwMode="auto">
            <a:xfrm>
              <a:off x="3960815" y="4031456"/>
              <a:ext cx="71440" cy="103190"/>
            </a:xfrm>
            <a:custGeom>
              <a:avLst/>
              <a:gdLst>
                <a:gd name="T0" fmla="*/ 13 w 28"/>
                <a:gd name="T1" fmla="*/ 0 h 40"/>
                <a:gd name="T2" fmla="*/ 13 w 28"/>
                <a:gd name="T3" fmla="*/ 0 h 40"/>
                <a:gd name="T4" fmla="*/ 8 w 28"/>
                <a:gd name="T5" fmla="*/ 1 h 40"/>
                <a:gd name="T6" fmla="*/ 4 w 28"/>
                <a:gd name="T7" fmla="*/ 4 h 40"/>
                <a:gd name="T8" fmla="*/ 1 w 28"/>
                <a:gd name="T9" fmla="*/ 8 h 40"/>
                <a:gd name="T10" fmla="*/ 0 w 28"/>
                <a:gd name="T11" fmla="*/ 13 h 40"/>
                <a:gd name="T12" fmla="*/ 0 w 28"/>
                <a:gd name="T13" fmla="*/ 13 h 40"/>
                <a:gd name="T14" fmla="*/ 2 w 28"/>
                <a:gd name="T15" fmla="*/ 22 h 40"/>
                <a:gd name="T16" fmla="*/ 5 w 28"/>
                <a:gd name="T17" fmla="*/ 32 h 40"/>
                <a:gd name="T18" fmla="*/ 5 w 28"/>
                <a:gd name="T19" fmla="*/ 32 h 40"/>
                <a:gd name="T20" fmla="*/ 6 w 28"/>
                <a:gd name="T21" fmla="*/ 35 h 40"/>
                <a:gd name="T22" fmla="*/ 8 w 28"/>
                <a:gd name="T23" fmla="*/ 38 h 40"/>
                <a:gd name="T24" fmla="*/ 10 w 28"/>
                <a:gd name="T25" fmla="*/ 40 h 40"/>
                <a:gd name="T26" fmla="*/ 13 w 28"/>
                <a:gd name="T27" fmla="*/ 40 h 40"/>
                <a:gd name="T28" fmla="*/ 13 w 28"/>
                <a:gd name="T29" fmla="*/ 40 h 40"/>
                <a:gd name="T30" fmla="*/ 18 w 28"/>
                <a:gd name="T31" fmla="*/ 40 h 40"/>
                <a:gd name="T32" fmla="*/ 20 w 28"/>
                <a:gd name="T33" fmla="*/ 38 h 40"/>
                <a:gd name="T34" fmla="*/ 22 w 28"/>
                <a:gd name="T35" fmla="*/ 35 h 40"/>
                <a:gd name="T36" fmla="*/ 23 w 28"/>
                <a:gd name="T37" fmla="*/ 32 h 40"/>
                <a:gd name="T38" fmla="*/ 23 w 28"/>
                <a:gd name="T39" fmla="*/ 32 h 40"/>
                <a:gd name="T40" fmla="*/ 26 w 28"/>
                <a:gd name="T41" fmla="*/ 22 h 40"/>
                <a:gd name="T42" fmla="*/ 28 w 28"/>
                <a:gd name="T43" fmla="*/ 13 h 40"/>
                <a:gd name="T44" fmla="*/ 28 w 28"/>
                <a:gd name="T45" fmla="*/ 13 h 40"/>
                <a:gd name="T46" fmla="*/ 27 w 28"/>
                <a:gd name="T47" fmla="*/ 8 h 40"/>
                <a:gd name="T48" fmla="*/ 24 w 28"/>
                <a:gd name="T49" fmla="*/ 4 h 40"/>
                <a:gd name="T50" fmla="*/ 20 w 28"/>
                <a:gd name="T51" fmla="*/ 1 h 40"/>
                <a:gd name="T52" fmla="*/ 13 w 28"/>
                <a:gd name="T53" fmla="*/ 0 h 40"/>
                <a:gd name="T54" fmla="*/ 13 w 28"/>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40">
                  <a:moveTo>
                    <a:pt x="13" y="0"/>
                  </a:moveTo>
                  <a:lnTo>
                    <a:pt x="13" y="0"/>
                  </a:lnTo>
                  <a:lnTo>
                    <a:pt x="8" y="1"/>
                  </a:lnTo>
                  <a:lnTo>
                    <a:pt x="4" y="4"/>
                  </a:lnTo>
                  <a:lnTo>
                    <a:pt x="1" y="8"/>
                  </a:lnTo>
                  <a:lnTo>
                    <a:pt x="0" y="13"/>
                  </a:lnTo>
                  <a:lnTo>
                    <a:pt x="0" y="13"/>
                  </a:lnTo>
                  <a:lnTo>
                    <a:pt x="2" y="22"/>
                  </a:lnTo>
                  <a:lnTo>
                    <a:pt x="5" y="32"/>
                  </a:lnTo>
                  <a:lnTo>
                    <a:pt x="5" y="32"/>
                  </a:lnTo>
                  <a:lnTo>
                    <a:pt x="6" y="35"/>
                  </a:lnTo>
                  <a:lnTo>
                    <a:pt x="8" y="38"/>
                  </a:lnTo>
                  <a:lnTo>
                    <a:pt x="10" y="40"/>
                  </a:lnTo>
                  <a:lnTo>
                    <a:pt x="13" y="40"/>
                  </a:lnTo>
                  <a:lnTo>
                    <a:pt x="13" y="40"/>
                  </a:lnTo>
                  <a:lnTo>
                    <a:pt x="18" y="40"/>
                  </a:lnTo>
                  <a:lnTo>
                    <a:pt x="20" y="38"/>
                  </a:lnTo>
                  <a:lnTo>
                    <a:pt x="22" y="35"/>
                  </a:lnTo>
                  <a:lnTo>
                    <a:pt x="23" y="32"/>
                  </a:lnTo>
                  <a:lnTo>
                    <a:pt x="23" y="32"/>
                  </a:lnTo>
                  <a:lnTo>
                    <a:pt x="26" y="22"/>
                  </a:lnTo>
                  <a:lnTo>
                    <a:pt x="28" y="13"/>
                  </a:lnTo>
                  <a:lnTo>
                    <a:pt x="28" y="13"/>
                  </a:lnTo>
                  <a:lnTo>
                    <a:pt x="27" y="8"/>
                  </a:lnTo>
                  <a:lnTo>
                    <a:pt x="24" y="4"/>
                  </a:lnTo>
                  <a:lnTo>
                    <a:pt x="20" y="1"/>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6" name="Group 11">
            <a:extLst>
              <a:ext uri="{FF2B5EF4-FFF2-40B4-BE49-F238E27FC236}">
                <a16:creationId xmlns:a16="http://schemas.microsoft.com/office/drawing/2014/main" id="{05E4EA8A-DEF9-4898-9755-DD591C77CF06}"/>
              </a:ext>
            </a:extLst>
          </p:cNvPr>
          <p:cNvGrpSpPr>
            <a:grpSpLocks noChangeAspect="1"/>
          </p:cNvGrpSpPr>
          <p:nvPr/>
        </p:nvGrpSpPr>
        <p:grpSpPr>
          <a:xfrm>
            <a:off x="5383152" y="5456764"/>
            <a:ext cx="275708" cy="228110"/>
            <a:chOff x="3845139" y="2635095"/>
            <a:chExt cx="566405" cy="468621"/>
          </a:xfrm>
          <a:solidFill>
            <a:schemeClr val="bg2"/>
          </a:solidFill>
          <a:effectLst/>
        </p:grpSpPr>
        <p:sp>
          <p:nvSpPr>
            <p:cNvPr id="717" name="Freeform 28">
              <a:extLst>
                <a:ext uri="{FF2B5EF4-FFF2-40B4-BE49-F238E27FC236}">
                  <a16:creationId xmlns:a16="http://schemas.microsoft.com/office/drawing/2014/main" id="{C6690683-F85F-48B7-B0AD-D9C9A7186905}"/>
                </a:ext>
              </a:extLst>
            </p:cNvPr>
            <p:cNvSpPr>
              <a:spLocks noEditPoints="1"/>
            </p:cNvSpPr>
            <p:nvPr/>
          </p:nvSpPr>
          <p:spPr bwMode="auto">
            <a:xfrm>
              <a:off x="3845139" y="2635095"/>
              <a:ext cx="566405" cy="173427"/>
            </a:xfrm>
            <a:custGeom>
              <a:avLst/>
              <a:gdLst>
                <a:gd name="T0" fmla="*/ 41 w 920"/>
                <a:gd name="T1" fmla="*/ 240 h 281"/>
                <a:gd name="T2" fmla="*/ 881 w 920"/>
                <a:gd name="T3" fmla="*/ 240 h 281"/>
                <a:gd name="T4" fmla="*/ 881 w 920"/>
                <a:gd name="T5" fmla="*/ 41 h 281"/>
                <a:gd name="T6" fmla="*/ 41 w 920"/>
                <a:gd name="T7" fmla="*/ 41 h 281"/>
                <a:gd name="T8" fmla="*/ 41 w 920"/>
                <a:gd name="T9" fmla="*/ 240 h 281"/>
                <a:gd name="T10" fmla="*/ 901 w 920"/>
                <a:gd name="T11" fmla="*/ 281 h 281"/>
                <a:gd name="T12" fmla="*/ 20 w 920"/>
                <a:gd name="T13" fmla="*/ 281 h 281"/>
                <a:gd name="T14" fmla="*/ 16 w 920"/>
                <a:gd name="T15" fmla="*/ 280 h 281"/>
                <a:gd name="T16" fmla="*/ 12 w 920"/>
                <a:gd name="T17" fmla="*/ 279 h 281"/>
                <a:gd name="T18" fmla="*/ 9 w 920"/>
                <a:gd name="T19" fmla="*/ 277 h 281"/>
                <a:gd name="T20" fmla="*/ 6 w 920"/>
                <a:gd name="T21" fmla="*/ 275 h 281"/>
                <a:gd name="T22" fmla="*/ 4 w 920"/>
                <a:gd name="T23" fmla="*/ 272 h 281"/>
                <a:gd name="T24" fmla="*/ 3 w 920"/>
                <a:gd name="T25" fmla="*/ 269 h 281"/>
                <a:gd name="T26" fmla="*/ 1 w 920"/>
                <a:gd name="T27" fmla="*/ 265 h 281"/>
                <a:gd name="T28" fmla="*/ 0 w 920"/>
                <a:gd name="T29" fmla="*/ 261 h 281"/>
                <a:gd name="T30" fmla="*/ 0 w 920"/>
                <a:gd name="T31" fmla="*/ 20 h 281"/>
                <a:gd name="T32" fmla="*/ 1 w 920"/>
                <a:gd name="T33" fmla="*/ 17 h 281"/>
                <a:gd name="T34" fmla="*/ 3 w 920"/>
                <a:gd name="T35" fmla="*/ 13 h 281"/>
                <a:gd name="T36" fmla="*/ 4 w 920"/>
                <a:gd name="T37" fmla="*/ 9 h 281"/>
                <a:gd name="T38" fmla="*/ 6 w 920"/>
                <a:gd name="T39" fmla="*/ 7 h 281"/>
                <a:gd name="T40" fmla="*/ 9 w 920"/>
                <a:gd name="T41" fmla="*/ 4 h 281"/>
                <a:gd name="T42" fmla="*/ 12 w 920"/>
                <a:gd name="T43" fmla="*/ 3 h 281"/>
                <a:gd name="T44" fmla="*/ 16 w 920"/>
                <a:gd name="T45" fmla="*/ 2 h 281"/>
                <a:gd name="T46" fmla="*/ 20 w 920"/>
                <a:gd name="T47" fmla="*/ 0 h 281"/>
                <a:gd name="T48" fmla="*/ 901 w 920"/>
                <a:gd name="T49" fmla="*/ 0 h 281"/>
                <a:gd name="T50" fmla="*/ 904 w 920"/>
                <a:gd name="T51" fmla="*/ 2 h 281"/>
                <a:gd name="T52" fmla="*/ 908 w 920"/>
                <a:gd name="T53" fmla="*/ 3 h 281"/>
                <a:gd name="T54" fmla="*/ 912 w 920"/>
                <a:gd name="T55" fmla="*/ 4 h 281"/>
                <a:gd name="T56" fmla="*/ 914 w 920"/>
                <a:gd name="T57" fmla="*/ 7 h 281"/>
                <a:gd name="T58" fmla="*/ 917 w 920"/>
                <a:gd name="T59" fmla="*/ 9 h 281"/>
                <a:gd name="T60" fmla="*/ 919 w 920"/>
                <a:gd name="T61" fmla="*/ 13 h 281"/>
                <a:gd name="T62" fmla="*/ 919 w 920"/>
                <a:gd name="T63" fmla="*/ 17 h 281"/>
                <a:gd name="T64" fmla="*/ 920 w 920"/>
                <a:gd name="T65" fmla="*/ 20 h 281"/>
                <a:gd name="T66" fmla="*/ 920 w 920"/>
                <a:gd name="T67" fmla="*/ 261 h 281"/>
                <a:gd name="T68" fmla="*/ 919 w 920"/>
                <a:gd name="T69" fmla="*/ 265 h 281"/>
                <a:gd name="T70" fmla="*/ 919 w 920"/>
                <a:gd name="T71" fmla="*/ 269 h 281"/>
                <a:gd name="T72" fmla="*/ 917 w 920"/>
                <a:gd name="T73" fmla="*/ 272 h 281"/>
                <a:gd name="T74" fmla="*/ 914 w 920"/>
                <a:gd name="T75" fmla="*/ 275 h 281"/>
                <a:gd name="T76" fmla="*/ 912 w 920"/>
                <a:gd name="T77" fmla="*/ 277 h 281"/>
                <a:gd name="T78" fmla="*/ 908 w 920"/>
                <a:gd name="T79" fmla="*/ 279 h 281"/>
                <a:gd name="T80" fmla="*/ 904 w 920"/>
                <a:gd name="T81" fmla="*/ 280 h 281"/>
                <a:gd name="T82" fmla="*/ 901 w 920"/>
                <a:gd name="T8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0" h="281">
                  <a:moveTo>
                    <a:pt x="41" y="240"/>
                  </a:moveTo>
                  <a:lnTo>
                    <a:pt x="881" y="240"/>
                  </a:lnTo>
                  <a:lnTo>
                    <a:pt x="881" y="41"/>
                  </a:lnTo>
                  <a:lnTo>
                    <a:pt x="41" y="41"/>
                  </a:lnTo>
                  <a:lnTo>
                    <a:pt x="41" y="240"/>
                  </a:lnTo>
                  <a:close/>
                  <a:moveTo>
                    <a:pt x="901" y="281"/>
                  </a:moveTo>
                  <a:lnTo>
                    <a:pt x="20" y="281"/>
                  </a:lnTo>
                  <a:lnTo>
                    <a:pt x="16" y="280"/>
                  </a:lnTo>
                  <a:lnTo>
                    <a:pt x="12" y="279"/>
                  </a:lnTo>
                  <a:lnTo>
                    <a:pt x="9" y="277"/>
                  </a:lnTo>
                  <a:lnTo>
                    <a:pt x="6" y="275"/>
                  </a:lnTo>
                  <a:lnTo>
                    <a:pt x="4" y="272"/>
                  </a:lnTo>
                  <a:lnTo>
                    <a:pt x="3" y="269"/>
                  </a:lnTo>
                  <a:lnTo>
                    <a:pt x="1" y="265"/>
                  </a:lnTo>
                  <a:lnTo>
                    <a:pt x="0" y="261"/>
                  </a:lnTo>
                  <a:lnTo>
                    <a:pt x="0" y="20"/>
                  </a:lnTo>
                  <a:lnTo>
                    <a:pt x="1" y="17"/>
                  </a:lnTo>
                  <a:lnTo>
                    <a:pt x="3" y="13"/>
                  </a:lnTo>
                  <a:lnTo>
                    <a:pt x="4" y="9"/>
                  </a:lnTo>
                  <a:lnTo>
                    <a:pt x="6" y="7"/>
                  </a:lnTo>
                  <a:lnTo>
                    <a:pt x="9" y="4"/>
                  </a:lnTo>
                  <a:lnTo>
                    <a:pt x="12" y="3"/>
                  </a:lnTo>
                  <a:lnTo>
                    <a:pt x="16" y="2"/>
                  </a:lnTo>
                  <a:lnTo>
                    <a:pt x="20" y="0"/>
                  </a:lnTo>
                  <a:lnTo>
                    <a:pt x="901" y="0"/>
                  </a:lnTo>
                  <a:lnTo>
                    <a:pt x="904" y="2"/>
                  </a:lnTo>
                  <a:lnTo>
                    <a:pt x="908" y="3"/>
                  </a:lnTo>
                  <a:lnTo>
                    <a:pt x="912" y="4"/>
                  </a:lnTo>
                  <a:lnTo>
                    <a:pt x="914" y="7"/>
                  </a:lnTo>
                  <a:lnTo>
                    <a:pt x="917" y="9"/>
                  </a:lnTo>
                  <a:lnTo>
                    <a:pt x="919" y="13"/>
                  </a:lnTo>
                  <a:lnTo>
                    <a:pt x="919" y="17"/>
                  </a:lnTo>
                  <a:lnTo>
                    <a:pt x="920" y="20"/>
                  </a:lnTo>
                  <a:lnTo>
                    <a:pt x="920" y="261"/>
                  </a:lnTo>
                  <a:lnTo>
                    <a:pt x="919" y="265"/>
                  </a:lnTo>
                  <a:lnTo>
                    <a:pt x="919" y="269"/>
                  </a:lnTo>
                  <a:lnTo>
                    <a:pt x="917" y="272"/>
                  </a:lnTo>
                  <a:lnTo>
                    <a:pt x="914" y="275"/>
                  </a:lnTo>
                  <a:lnTo>
                    <a:pt x="912" y="277"/>
                  </a:lnTo>
                  <a:lnTo>
                    <a:pt x="908" y="279"/>
                  </a:lnTo>
                  <a:lnTo>
                    <a:pt x="904" y="280"/>
                  </a:lnTo>
                  <a:lnTo>
                    <a:pt x="90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18" name="Freeform 29">
              <a:extLst>
                <a:ext uri="{FF2B5EF4-FFF2-40B4-BE49-F238E27FC236}">
                  <a16:creationId xmlns:a16="http://schemas.microsoft.com/office/drawing/2014/main" id="{861FE4BE-F5CC-4D5E-8162-74038C0E875E}"/>
                </a:ext>
              </a:extLst>
            </p:cNvPr>
            <p:cNvSpPr>
              <a:spLocks/>
            </p:cNvSpPr>
            <p:nvPr/>
          </p:nvSpPr>
          <p:spPr bwMode="auto">
            <a:xfrm>
              <a:off x="3845139" y="2635095"/>
              <a:ext cx="173427" cy="173427"/>
            </a:xfrm>
            <a:custGeom>
              <a:avLst/>
              <a:gdLst>
                <a:gd name="T0" fmla="*/ 261 w 281"/>
                <a:gd name="T1" fmla="*/ 281 h 281"/>
                <a:gd name="T2" fmla="*/ 257 w 281"/>
                <a:gd name="T3" fmla="*/ 280 h 281"/>
                <a:gd name="T4" fmla="*/ 253 w 281"/>
                <a:gd name="T5" fmla="*/ 279 h 281"/>
                <a:gd name="T6" fmla="*/ 250 w 281"/>
                <a:gd name="T7" fmla="*/ 277 h 281"/>
                <a:gd name="T8" fmla="*/ 246 w 281"/>
                <a:gd name="T9" fmla="*/ 275 h 281"/>
                <a:gd name="T10" fmla="*/ 6 w 281"/>
                <a:gd name="T11" fmla="*/ 35 h 281"/>
                <a:gd name="T12" fmla="*/ 4 w 281"/>
                <a:gd name="T13" fmla="*/ 31 h 281"/>
                <a:gd name="T14" fmla="*/ 3 w 281"/>
                <a:gd name="T15" fmla="*/ 28 h 281"/>
                <a:gd name="T16" fmla="*/ 1 w 281"/>
                <a:gd name="T17" fmla="*/ 24 h 281"/>
                <a:gd name="T18" fmla="*/ 0 w 281"/>
                <a:gd name="T19" fmla="*/ 20 h 281"/>
                <a:gd name="T20" fmla="*/ 1 w 281"/>
                <a:gd name="T21" fmla="*/ 17 h 281"/>
                <a:gd name="T22" fmla="*/ 3 w 281"/>
                <a:gd name="T23" fmla="*/ 13 h 281"/>
                <a:gd name="T24" fmla="*/ 4 w 281"/>
                <a:gd name="T25" fmla="*/ 10 h 281"/>
                <a:gd name="T26" fmla="*/ 6 w 281"/>
                <a:gd name="T27" fmla="*/ 7 h 281"/>
                <a:gd name="T28" fmla="*/ 10 w 281"/>
                <a:gd name="T29" fmla="*/ 4 h 281"/>
                <a:gd name="T30" fmla="*/ 12 w 281"/>
                <a:gd name="T31" fmla="*/ 2 h 281"/>
                <a:gd name="T32" fmla="*/ 16 w 281"/>
                <a:gd name="T33" fmla="*/ 2 h 281"/>
                <a:gd name="T34" fmla="*/ 20 w 281"/>
                <a:gd name="T35" fmla="*/ 0 h 281"/>
                <a:gd name="T36" fmla="*/ 25 w 281"/>
                <a:gd name="T37" fmla="*/ 2 h 281"/>
                <a:gd name="T38" fmla="*/ 27 w 281"/>
                <a:gd name="T39" fmla="*/ 2 h 281"/>
                <a:gd name="T40" fmla="*/ 31 w 281"/>
                <a:gd name="T41" fmla="*/ 4 h 281"/>
                <a:gd name="T42" fmla="*/ 35 w 281"/>
                <a:gd name="T43" fmla="*/ 7 h 281"/>
                <a:gd name="T44" fmla="*/ 275 w 281"/>
                <a:gd name="T45" fmla="*/ 246 h 281"/>
                <a:gd name="T46" fmla="*/ 277 w 281"/>
                <a:gd name="T47" fmla="*/ 250 h 281"/>
                <a:gd name="T48" fmla="*/ 280 w 281"/>
                <a:gd name="T49" fmla="*/ 254 h 281"/>
                <a:gd name="T50" fmla="*/ 280 w 281"/>
                <a:gd name="T51" fmla="*/ 256 h 281"/>
                <a:gd name="T52" fmla="*/ 281 w 281"/>
                <a:gd name="T53" fmla="*/ 261 h 281"/>
                <a:gd name="T54" fmla="*/ 280 w 281"/>
                <a:gd name="T55" fmla="*/ 265 h 281"/>
                <a:gd name="T56" fmla="*/ 280 w 281"/>
                <a:gd name="T57" fmla="*/ 269 h 281"/>
                <a:gd name="T58" fmla="*/ 277 w 281"/>
                <a:gd name="T59" fmla="*/ 271 h 281"/>
                <a:gd name="T60" fmla="*/ 275 w 281"/>
                <a:gd name="T61" fmla="*/ 275 h 281"/>
                <a:gd name="T62" fmla="*/ 271 w 281"/>
                <a:gd name="T63" fmla="*/ 277 h 281"/>
                <a:gd name="T64" fmla="*/ 268 w 281"/>
                <a:gd name="T65" fmla="*/ 279 h 281"/>
                <a:gd name="T66" fmla="*/ 265 w 281"/>
                <a:gd name="T67" fmla="*/ 280 h 281"/>
                <a:gd name="T68" fmla="*/ 261 w 281"/>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1" h="281">
                  <a:moveTo>
                    <a:pt x="261" y="281"/>
                  </a:moveTo>
                  <a:lnTo>
                    <a:pt x="257" y="280"/>
                  </a:lnTo>
                  <a:lnTo>
                    <a:pt x="253" y="279"/>
                  </a:lnTo>
                  <a:lnTo>
                    <a:pt x="250" y="277"/>
                  </a:lnTo>
                  <a:lnTo>
                    <a:pt x="246" y="275"/>
                  </a:lnTo>
                  <a:lnTo>
                    <a:pt x="6" y="35"/>
                  </a:lnTo>
                  <a:lnTo>
                    <a:pt x="4" y="31"/>
                  </a:lnTo>
                  <a:lnTo>
                    <a:pt x="3" y="28"/>
                  </a:lnTo>
                  <a:lnTo>
                    <a:pt x="1" y="24"/>
                  </a:lnTo>
                  <a:lnTo>
                    <a:pt x="0" y="20"/>
                  </a:lnTo>
                  <a:lnTo>
                    <a:pt x="1" y="17"/>
                  </a:lnTo>
                  <a:lnTo>
                    <a:pt x="3" y="13"/>
                  </a:lnTo>
                  <a:lnTo>
                    <a:pt x="4" y="10"/>
                  </a:lnTo>
                  <a:lnTo>
                    <a:pt x="6" y="7"/>
                  </a:lnTo>
                  <a:lnTo>
                    <a:pt x="10" y="4"/>
                  </a:lnTo>
                  <a:lnTo>
                    <a:pt x="12" y="2"/>
                  </a:lnTo>
                  <a:lnTo>
                    <a:pt x="16" y="2"/>
                  </a:lnTo>
                  <a:lnTo>
                    <a:pt x="20" y="0"/>
                  </a:lnTo>
                  <a:lnTo>
                    <a:pt x="25" y="2"/>
                  </a:lnTo>
                  <a:lnTo>
                    <a:pt x="27" y="2"/>
                  </a:lnTo>
                  <a:lnTo>
                    <a:pt x="31" y="4"/>
                  </a:lnTo>
                  <a:lnTo>
                    <a:pt x="35" y="7"/>
                  </a:lnTo>
                  <a:lnTo>
                    <a:pt x="275" y="246"/>
                  </a:lnTo>
                  <a:lnTo>
                    <a:pt x="277" y="250"/>
                  </a:lnTo>
                  <a:lnTo>
                    <a:pt x="280" y="254"/>
                  </a:lnTo>
                  <a:lnTo>
                    <a:pt x="280" y="256"/>
                  </a:lnTo>
                  <a:lnTo>
                    <a:pt x="281" y="261"/>
                  </a:lnTo>
                  <a:lnTo>
                    <a:pt x="280" y="265"/>
                  </a:lnTo>
                  <a:lnTo>
                    <a:pt x="280" y="269"/>
                  </a:lnTo>
                  <a:lnTo>
                    <a:pt x="277" y="271"/>
                  </a:lnTo>
                  <a:lnTo>
                    <a:pt x="275" y="275"/>
                  </a:lnTo>
                  <a:lnTo>
                    <a:pt x="271" y="277"/>
                  </a:lnTo>
                  <a:lnTo>
                    <a:pt x="268" y="279"/>
                  </a:lnTo>
                  <a:lnTo>
                    <a:pt x="265"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19" name="Freeform 30">
              <a:extLst>
                <a:ext uri="{FF2B5EF4-FFF2-40B4-BE49-F238E27FC236}">
                  <a16:creationId xmlns:a16="http://schemas.microsoft.com/office/drawing/2014/main" id="{028AE766-E214-4532-BAD6-F20B1717930E}"/>
                </a:ext>
              </a:extLst>
            </p:cNvPr>
            <p:cNvSpPr>
              <a:spLocks/>
            </p:cNvSpPr>
            <p:nvPr/>
          </p:nvSpPr>
          <p:spPr bwMode="auto">
            <a:xfrm>
              <a:off x="3981667" y="2635095"/>
              <a:ext cx="171582" cy="173427"/>
            </a:xfrm>
            <a:custGeom>
              <a:avLst/>
              <a:gdLst>
                <a:gd name="T0" fmla="*/ 261 w 281"/>
                <a:gd name="T1" fmla="*/ 281 h 281"/>
                <a:gd name="T2" fmla="*/ 257 w 281"/>
                <a:gd name="T3" fmla="*/ 280 h 281"/>
                <a:gd name="T4" fmla="*/ 253 w 281"/>
                <a:gd name="T5" fmla="*/ 279 h 281"/>
                <a:gd name="T6" fmla="*/ 250 w 281"/>
                <a:gd name="T7" fmla="*/ 277 h 281"/>
                <a:gd name="T8" fmla="*/ 246 w 281"/>
                <a:gd name="T9" fmla="*/ 275 h 281"/>
                <a:gd name="T10" fmla="*/ 6 w 281"/>
                <a:gd name="T11" fmla="*/ 35 h 281"/>
                <a:gd name="T12" fmla="*/ 4 w 281"/>
                <a:gd name="T13" fmla="*/ 31 h 281"/>
                <a:gd name="T14" fmla="*/ 2 w 281"/>
                <a:gd name="T15" fmla="*/ 28 h 281"/>
                <a:gd name="T16" fmla="*/ 1 w 281"/>
                <a:gd name="T17" fmla="*/ 24 h 281"/>
                <a:gd name="T18" fmla="*/ 0 w 281"/>
                <a:gd name="T19" fmla="*/ 20 h 281"/>
                <a:gd name="T20" fmla="*/ 1 w 281"/>
                <a:gd name="T21" fmla="*/ 17 h 281"/>
                <a:gd name="T22" fmla="*/ 2 w 281"/>
                <a:gd name="T23" fmla="*/ 13 h 281"/>
                <a:gd name="T24" fmla="*/ 4 w 281"/>
                <a:gd name="T25" fmla="*/ 10 h 281"/>
                <a:gd name="T26" fmla="*/ 6 w 281"/>
                <a:gd name="T27" fmla="*/ 7 h 281"/>
                <a:gd name="T28" fmla="*/ 10 w 281"/>
                <a:gd name="T29" fmla="*/ 4 h 281"/>
                <a:gd name="T30" fmla="*/ 12 w 281"/>
                <a:gd name="T31" fmla="*/ 2 h 281"/>
                <a:gd name="T32" fmla="*/ 16 w 281"/>
                <a:gd name="T33" fmla="*/ 2 h 281"/>
                <a:gd name="T34" fmla="*/ 20 w 281"/>
                <a:gd name="T35" fmla="*/ 0 h 281"/>
                <a:gd name="T36" fmla="*/ 25 w 281"/>
                <a:gd name="T37" fmla="*/ 2 h 281"/>
                <a:gd name="T38" fmla="*/ 28 w 281"/>
                <a:gd name="T39" fmla="*/ 2 h 281"/>
                <a:gd name="T40" fmla="*/ 31 w 281"/>
                <a:gd name="T41" fmla="*/ 4 h 281"/>
                <a:gd name="T42" fmla="*/ 35 w 281"/>
                <a:gd name="T43" fmla="*/ 7 h 281"/>
                <a:gd name="T44" fmla="*/ 274 w 281"/>
                <a:gd name="T45" fmla="*/ 246 h 281"/>
                <a:gd name="T46" fmla="*/ 277 w 281"/>
                <a:gd name="T47" fmla="*/ 250 h 281"/>
                <a:gd name="T48" fmla="*/ 279 w 281"/>
                <a:gd name="T49" fmla="*/ 254 h 281"/>
                <a:gd name="T50" fmla="*/ 279 w 281"/>
                <a:gd name="T51" fmla="*/ 256 h 281"/>
                <a:gd name="T52" fmla="*/ 281 w 281"/>
                <a:gd name="T53" fmla="*/ 261 h 281"/>
                <a:gd name="T54" fmla="*/ 279 w 281"/>
                <a:gd name="T55" fmla="*/ 265 h 281"/>
                <a:gd name="T56" fmla="*/ 279 w 281"/>
                <a:gd name="T57" fmla="*/ 269 h 281"/>
                <a:gd name="T58" fmla="*/ 277 w 281"/>
                <a:gd name="T59" fmla="*/ 271 h 281"/>
                <a:gd name="T60" fmla="*/ 274 w 281"/>
                <a:gd name="T61" fmla="*/ 275 h 281"/>
                <a:gd name="T62" fmla="*/ 272 w 281"/>
                <a:gd name="T63" fmla="*/ 277 h 281"/>
                <a:gd name="T64" fmla="*/ 268 w 281"/>
                <a:gd name="T65" fmla="*/ 279 h 281"/>
                <a:gd name="T66" fmla="*/ 264 w 281"/>
                <a:gd name="T67" fmla="*/ 280 h 281"/>
                <a:gd name="T68" fmla="*/ 261 w 281"/>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1" h="281">
                  <a:moveTo>
                    <a:pt x="261" y="281"/>
                  </a:moveTo>
                  <a:lnTo>
                    <a:pt x="257" y="280"/>
                  </a:lnTo>
                  <a:lnTo>
                    <a:pt x="253" y="279"/>
                  </a:lnTo>
                  <a:lnTo>
                    <a:pt x="250" y="277"/>
                  </a:lnTo>
                  <a:lnTo>
                    <a:pt x="246" y="275"/>
                  </a:lnTo>
                  <a:lnTo>
                    <a:pt x="6" y="35"/>
                  </a:lnTo>
                  <a:lnTo>
                    <a:pt x="4" y="31"/>
                  </a:lnTo>
                  <a:lnTo>
                    <a:pt x="2" y="28"/>
                  </a:lnTo>
                  <a:lnTo>
                    <a:pt x="1" y="24"/>
                  </a:lnTo>
                  <a:lnTo>
                    <a:pt x="0" y="20"/>
                  </a:lnTo>
                  <a:lnTo>
                    <a:pt x="1" y="17"/>
                  </a:lnTo>
                  <a:lnTo>
                    <a:pt x="2" y="13"/>
                  </a:lnTo>
                  <a:lnTo>
                    <a:pt x="4" y="10"/>
                  </a:lnTo>
                  <a:lnTo>
                    <a:pt x="6" y="7"/>
                  </a:lnTo>
                  <a:lnTo>
                    <a:pt x="10" y="4"/>
                  </a:lnTo>
                  <a:lnTo>
                    <a:pt x="12" y="2"/>
                  </a:lnTo>
                  <a:lnTo>
                    <a:pt x="16" y="2"/>
                  </a:lnTo>
                  <a:lnTo>
                    <a:pt x="20" y="0"/>
                  </a:lnTo>
                  <a:lnTo>
                    <a:pt x="25" y="2"/>
                  </a:lnTo>
                  <a:lnTo>
                    <a:pt x="28" y="2"/>
                  </a:lnTo>
                  <a:lnTo>
                    <a:pt x="31" y="4"/>
                  </a:lnTo>
                  <a:lnTo>
                    <a:pt x="35" y="7"/>
                  </a:lnTo>
                  <a:lnTo>
                    <a:pt x="274" y="246"/>
                  </a:lnTo>
                  <a:lnTo>
                    <a:pt x="277" y="250"/>
                  </a:lnTo>
                  <a:lnTo>
                    <a:pt x="279" y="254"/>
                  </a:lnTo>
                  <a:lnTo>
                    <a:pt x="279" y="256"/>
                  </a:lnTo>
                  <a:lnTo>
                    <a:pt x="281" y="261"/>
                  </a:lnTo>
                  <a:lnTo>
                    <a:pt x="279" y="265"/>
                  </a:lnTo>
                  <a:lnTo>
                    <a:pt x="279" y="269"/>
                  </a:lnTo>
                  <a:lnTo>
                    <a:pt x="277" y="271"/>
                  </a:lnTo>
                  <a:lnTo>
                    <a:pt x="274" y="275"/>
                  </a:lnTo>
                  <a:lnTo>
                    <a:pt x="272" y="277"/>
                  </a:lnTo>
                  <a:lnTo>
                    <a:pt x="268" y="279"/>
                  </a:lnTo>
                  <a:lnTo>
                    <a:pt x="264"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0" name="Freeform 31">
              <a:extLst>
                <a:ext uri="{FF2B5EF4-FFF2-40B4-BE49-F238E27FC236}">
                  <a16:creationId xmlns:a16="http://schemas.microsoft.com/office/drawing/2014/main" id="{89B8C6A0-AFA4-4FAC-A13D-D534EBB17020}"/>
                </a:ext>
              </a:extLst>
            </p:cNvPr>
            <p:cNvSpPr>
              <a:spLocks/>
            </p:cNvSpPr>
            <p:nvPr/>
          </p:nvSpPr>
          <p:spPr bwMode="auto">
            <a:xfrm>
              <a:off x="4116349" y="2635095"/>
              <a:ext cx="171582" cy="173427"/>
            </a:xfrm>
            <a:custGeom>
              <a:avLst/>
              <a:gdLst>
                <a:gd name="T0" fmla="*/ 261 w 280"/>
                <a:gd name="T1" fmla="*/ 281 h 281"/>
                <a:gd name="T2" fmla="*/ 257 w 280"/>
                <a:gd name="T3" fmla="*/ 280 h 281"/>
                <a:gd name="T4" fmla="*/ 253 w 280"/>
                <a:gd name="T5" fmla="*/ 279 h 281"/>
                <a:gd name="T6" fmla="*/ 249 w 280"/>
                <a:gd name="T7" fmla="*/ 277 h 281"/>
                <a:gd name="T8" fmla="*/ 246 w 280"/>
                <a:gd name="T9" fmla="*/ 275 h 281"/>
                <a:gd name="T10" fmla="*/ 6 w 280"/>
                <a:gd name="T11" fmla="*/ 35 h 281"/>
                <a:gd name="T12" fmla="*/ 3 w 280"/>
                <a:gd name="T13" fmla="*/ 31 h 281"/>
                <a:gd name="T14" fmla="*/ 2 w 280"/>
                <a:gd name="T15" fmla="*/ 28 h 281"/>
                <a:gd name="T16" fmla="*/ 1 w 280"/>
                <a:gd name="T17" fmla="*/ 24 h 281"/>
                <a:gd name="T18" fmla="*/ 0 w 280"/>
                <a:gd name="T19" fmla="*/ 20 h 281"/>
                <a:gd name="T20" fmla="*/ 1 w 280"/>
                <a:gd name="T21" fmla="*/ 17 h 281"/>
                <a:gd name="T22" fmla="*/ 2 w 280"/>
                <a:gd name="T23" fmla="*/ 13 h 281"/>
                <a:gd name="T24" fmla="*/ 3 w 280"/>
                <a:gd name="T25" fmla="*/ 10 h 281"/>
                <a:gd name="T26" fmla="*/ 6 w 280"/>
                <a:gd name="T27" fmla="*/ 7 h 281"/>
                <a:gd name="T28" fmla="*/ 10 w 280"/>
                <a:gd name="T29" fmla="*/ 4 h 281"/>
                <a:gd name="T30" fmla="*/ 13 w 280"/>
                <a:gd name="T31" fmla="*/ 2 h 281"/>
                <a:gd name="T32" fmla="*/ 16 w 280"/>
                <a:gd name="T33" fmla="*/ 2 h 281"/>
                <a:gd name="T34" fmla="*/ 21 w 280"/>
                <a:gd name="T35" fmla="*/ 0 h 281"/>
                <a:gd name="T36" fmla="*/ 25 w 280"/>
                <a:gd name="T37" fmla="*/ 2 h 281"/>
                <a:gd name="T38" fmla="*/ 28 w 280"/>
                <a:gd name="T39" fmla="*/ 2 h 281"/>
                <a:gd name="T40" fmla="*/ 31 w 280"/>
                <a:gd name="T41" fmla="*/ 4 h 281"/>
                <a:gd name="T42" fmla="*/ 35 w 280"/>
                <a:gd name="T43" fmla="*/ 7 h 281"/>
                <a:gd name="T44" fmla="*/ 274 w 280"/>
                <a:gd name="T45" fmla="*/ 246 h 281"/>
                <a:gd name="T46" fmla="*/ 277 w 280"/>
                <a:gd name="T47" fmla="*/ 250 h 281"/>
                <a:gd name="T48" fmla="*/ 279 w 280"/>
                <a:gd name="T49" fmla="*/ 254 h 281"/>
                <a:gd name="T50" fmla="*/ 280 w 280"/>
                <a:gd name="T51" fmla="*/ 256 h 281"/>
                <a:gd name="T52" fmla="*/ 280 w 280"/>
                <a:gd name="T53" fmla="*/ 261 h 281"/>
                <a:gd name="T54" fmla="*/ 280 w 280"/>
                <a:gd name="T55" fmla="*/ 265 h 281"/>
                <a:gd name="T56" fmla="*/ 279 w 280"/>
                <a:gd name="T57" fmla="*/ 269 h 281"/>
                <a:gd name="T58" fmla="*/ 277 w 280"/>
                <a:gd name="T59" fmla="*/ 271 h 281"/>
                <a:gd name="T60" fmla="*/ 274 w 280"/>
                <a:gd name="T61" fmla="*/ 275 h 281"/>
                <a:gd name="T62" fmla="*/ 272 w 280"/>
                <a:gd name="T63" fmla="*/ 277 h 281"/>
                <a:gd name="T64" fmla="*/ 268 w 280"/>
                <a:gd name="T65" fmla="*/ 279 h 281"/>
                <a:gd name="T66" fmla="*/ 264 w 280"/>
                <a:gd name="T67" fmla="*/ 280 h 281"/>
                <a:gd name="T68" fmla="*/ 261 w 280"/>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281">
                  <a:moveTo>
                    <a:pt x="261" y="281"/>
                  </a:moveTo>
                  <a:lnTo>
                    <a:pt x="257" y="280"/>
                  </a:lnTo>
                  <a:lnTo>
                    <a:pt x="253" y="279"/>
                  </a:lnTo>
                  <a:lnTo>
                    <a:pt x="249" y="277"/>
                  </a:lnTo>
                  <a:lnTo>
                    <a:pt x="246" y="275"/>
                  </a:lnTo>
                  <a:lnTo>
                    <a:pt x="6" y="35"/>
                  </a:lnTo>
                  <a:lnTo>
                    <a:pt x="3" y="31"/>
                  </a:lnTo>
                  <a:lnTo>
                    <a:pt x="2" y="28"/>
                  </a:lnTo>
                  <a:lnTo>
                    <a:pt x="1" y="24"/>
                  </a:lnTo>
                  <a:lnTo>
                    <a:pt x="0" y="20"/>
                  </a:lnTo>
                  <a:lnTo>
                    <a:pt x="1" y="17"/>
                  </a:lnTo>
                  <a:lnTo>
                    <a:pt x="2" y="13"/>
                  </a:lnTo>
                  <a:lnTo>
                    <a:pt x="3" y="10"/>
                  </a:lnTo>
                  <a:lnTo>
                    <a:pt x="6" y="7"/>
                  </a:lnTo>
                  <a:lnTo>
                    <a:pt x="10" y="4"/>
                  </a:lnTo>
                  <a:lnTo>
                    <a:pt x="13" y="2"/>
                  </a:lnTo>
                  <a:lnTo>
                    <a:pt x="16" y="2"/>
                  </a:lnTo>
                  <a:lnTo>
                    <a:pt x="21" y="0"/>
                  </a:lnTo>
                  <a:lnTo>
                    <a:pt x="25" y="2"/>
                  </a:lnTo>
                  <a:lnTo>
                    <a:pt x="28" y="2"/>
                  </a:lnTo>
                  <a:lnTo>
                    <a:pt x="31" y="4"/>
                  </a:lnTo>
                  <a:lnTo>
                    <a:pt x="35" y="7"/>
                  </a:lnTo>
                  <a:lnTo>
                    <a:pt x="274" y="246"/>
                  </a:lnTo>
                  <a:lnTo>
                    <a:pt x="277" y="250"/>
                  </a:lnTo>
                  <a:lnTo>
                    <a:pt x="279" y="254"/>
                  </a:lnTo>
                  <a:lnTo>
                    <a:pt x="280" y="256"/>
                  </a:lnTo>
                  <a:lnTo>
                    <a:pt x="280" y="261"/>
                  </a:lnTo>
                  <a:lnTo>
                    <a:pt x="280" y="265"/>
                  </a:lnTo>
                  <a:lnTo>
                    <a:pt x="279" y="269"/>
                  </a:lnTo>
                  <a:lnTo>
                    <a:pt x="277" y="271"/>
                  </a:lnTo>
                  <a:lnTo>
                    <a:pt x="274" y="275"/>
                  </a:lnTo>
                  <a:lnTo>
                    <a:pt x="272" y="277"/>
                  </a:lnTo>
                  <a:lnTo>
                    <a:pt x="268" y="279"/>
                  </a:lnTo>
                  <a:lnTo>
                    <a:pt x="264"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1" name="Freeform 32">
              <a:extLst>
                <a:ext uri="{FF2B5EF4-FFF2-40B4-BE49-F238E27FC236}">
                  <a16:creationId xmlns:a16="http://schemas.microsoft.com/office/drawing/2014/main" id="{97436F0D-AC29-4153-B638-F2D5B8F7A3A2}"/>
                </a:ext>
              </a:extLst>
            </p:cNvPr>
            <p:cNvSpPr>
              <a:spLocks/>
            </p:cNvSpPr>
            <p:nvPr/>
          </p:nvSpPr>
          <p:spPr bwMode="auto">
            <a:xfrm>
              <a:off x="4252877" y="2635095"/>
              <a:ext cx="158667" cy="160512"/>
            </a:xfrm>
            <a:custGeom>
              <a:avLst/>
              <a:gdLst>
                <a:gd name="T0" fmla="*/ 240 w 259"/>
                <a:gd name="T1" fmla="*/ 261 h 261"/>
                <a:gd name="T2" fmla="*/ 236 w 259"/>
                <a:gd name="T3" fmla="*/ 260 h 261"/>
                <a:gd name="T4" fmla="*/ 232 w 259"/>
                <a:gd name="T5" fmla="*/ 259 h 261"/>
                <a:gd name="T6" fmla="*/ 228 w 259"/>
                <a:gd name="T7" fmla="*/ 258 h 261"/>
                <a:gd name="T8" fmla="*/ 225 w 259"/>
                <a:gd name="T9" fmla="*/ 255 h 261"/>
                <a:gd name="T10" fmla="*/ 5 w 259"/>
                <a:gd name="T11" fmla="*/ 35 h 261"/>
                <a:gd name="T12" fmla="*/ 2 w 259"/>
                <a:gd name="T13" fmla="*/ 31 h 261"/>
                <a:gd name="T14" fmla="*/ 1 w 259"/>
                <a:gd name="T15" fmla="*/ 28 h 261"/>
                <a:gd name="T16" fmla="*/ 0 w 259"/>
                <a:gd name="T17" fmla="*/ 24 h 261"/>
                <a:gd name="T18" fmla="*/ 0 w 259"/>
                <a:gd name="T19" fmla="*/ 20 h 261"/>
                <a:gd name="T20" fmla="*/ 0 w 259"/>
                <a:gd name="T21" fmla="*/ 17 h 261"/>
                <a:gd name="T22" fmla="*/ 1 w 259"/>
                <a:gd name="T23" fmla="*/ 13 h 261"/>
                <a:gd name="T24" fmla="*/ 2 w 259"/>
                <a:gd name="T25" fmla="*/ 10 h 261"/>
                <a:gd name="T26" fmla="*/ 5 w 259"/>
                <a:gd name="T27" fmla="*/ 7 h 261"/>
                <a:gd name="T28" fmla="*/ 9 w 259"/>
                <a:gd name="T29" fmla="*/ 4 h 261"/>
                <a:gd name="T30" fmla="*/ 12 w 259"/>
                <a:gd name="T31" fmla="*/ 2 h 261"/>
                <a:gd name="T32" fmla="*/ 16 w 259"/>
                <a:gd name="T33" fmla="*/ 2 h 261"/>
                <a:gd name="T34" fmla="*/ 20 w 259"/>
                <a:gd name="T35" fmla="*/ 0 h 261"/>
                <a:gd name="T36" fmla="*/ 23 w 259"/>
                <a:gd name="T37" fmla="*/ 2 h 261"/>
                <a:gd name="T38" fmla="*/ 27 w 259"/>
                <a:gd name="T39" fmla="*/ 2 h 261"/>
                <a:gd name="T40" fmla="*/ 30 w 259"/>
                <a:gd name="T41" fmla="*/ 4 h 261"/>
                <a:gd name="T42" fmla="*/ 33 w 259"/>
                <a:gd name="T43" fmla="*/ 7 h 261"/>
                <a:gd name="T44" fmla="*/ 253 w 259"/>
                <a:gd name="T45" fmla="*/ 227 h 261"/>
                <a:gd name="T46" fmla="*/ 256 w 259"/>
                <a:gd name="T47" fmla="*/ 230 h 261"/>
                <a:gd name="T48" fmla="*/ 258 w 259"/>
                <a:gd name="T49" fmla="*/ 233 h 261"/>
                <a:gd name="T50" fmla="*/ 258 w 259"/>
                <a:gd name="T51" fmla="*/ 236 h 261"/>
                <a:gd name="T52" fmla="*/ 259 w 259"/>
                <a:gd name="T53" fmla="*/ 240 h 261"/>
                <a:gd name="T54" fmla="*/ 258 w 259"/>
                <a:gd name="T55" fmla="*/ 245 h 261"/>
                <a:gd name="T56" fmla="*/ 258 w 259"/>
                <a:gd name="T57" fmla="*/ 249 h 261"/>
                <a:gd name="T58" fmla="*/ 256 w 259"/>
                <a:gd name="T59" fmla="*/ 251 h 261"/>
                <a:gd name="T60" fmla="*/ 253 w 259"/>
                <a:gd name="T61" fmla="*/ 255 h 261"/>
                <a:gd name="T62" fmla="*/ 251 w 259"/>
                <a:gd name="T63" fmla="*/ 258 h 261"/>
                <a:gd name="T64" fmla="*/ 247 w 259"/>
                <a:gd name="T65" fmla="*/ 259 h 261"/>
                <a:gd name="T66" fmla="*/ 243 w 259"/>
                <a:gd name="T67" fmla="*/ 260 h 261"/>
                <a:gd name="T68" fmla="*/ 240 w 259"/>
                <a:gd name="T6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9" h="261">
                  <a:moveTo>
                    <a:pt x="240" y="261"/>
                  </a:moveTo>
                  <a:lnTo>
                    <a:pt x="236" y="260"/>
                  </a:lnTo>
                  <a:lnTo>
                    <a:pt x="232" y="259"/>
                  </a:lnTo>
                  <a:lnTo>
                    <a:pt x="228" y="258"/>
                  </a:lnTo>
                  <a:lnTo>
                    <a:pt x="225" y="255"/>
                  </a:lnTo>
                  <a:lnTo>
                    <a:pt x="5" y="35"/>
                  </a:lnTo>
                  <a:lnTo>
                    <a:pt x="2" y="31"/>
                  </a:lnTo>
                  <a:lnTo>
                    <a:pt x="1" y="28"/>
                  </a:lnTo>
                  <a:lnTo>
                    <a:pt x="0" y="24"/>
                  </a:lnTo>
                  <a:lnTo>
                    <a:pt x="0" y="20"/>
                  </a:lnTo>
                  <a:lnTo>
                    <a:pt x="0" y="17"/>
                  </a:lnTo>
                  <a:lnTo>
                    <a:pt x="1" y="13"/>
                  </a:lnTo>
                  <a:lnTo>
                    <a:pt x="2" y="10"/>
                  </a:lnTo>
                  <a:lnTo>
                    <a:pt x="5" y="7"/>
                  </a:lnTo>
                  <a:lnTo>
                    <a:pt x="9" y="4"/>
                  </a:lnTo>
                  <a:lnTo>
                    <a:pt x="12" y="2"/>
                  </a:lnTo>
                  <a:lnTo>
                    <a:pt x="16" y="2"/>
                  </a:lnTo>
                  <a:lnTo>
                    <a:pt x="20" y="0"/>
                  </a:lnTo>
                  <a:lnTo>
                    <a:pt x="23" y="2"/>
                  </a:lnTo>
                  <a:lnTo>
                    <a:pt x="27" y="2"/>
                  </a:lnTo>
                  <a:lnTo>
                    <a:pt x="30" y="4"/>
                  </a:lnTo>
                  <a:lnTo>
                    <a:pt x="33" y="7"/>
                  </a:lnTo>
                  <a:lnTo>
                    <a:pt x="253" y="227"/>
                  </a:lnTo>
                  <a:lnTo>
                    <a:pt x="256" y="230"/>
                  </a:lnTo>
                  <a:lnTo>
                    <a:pt x="258" y="233"/>
                  </a:lnTo>
                  <a:lnTo>
                    <a:pt x="258" y="236"/>
                  </a:lnTo>
                  <a:lnTo>
                    <a:pt x="259" y="240"/>
                  </a:lnTo>
                  <a:lnTo>
                    <a:pt x="258" y="245"/>
                  </a:lnTo>
                  <a:lnTo>
                    <a:pt x="258" y="249"/>
                  </a:lnTo>
                  <a:lnTo>
                    <a:pt x="256" y="251"/>
                  </a:lnTo>
                  <a:lnTo>
                    <a:pt x="253" y="255"/>
                  </a:lnTo>
                  <a:lnTo>
                    <a:pt x="251" y="258"/>
                  </a:lnTo>
                  <a:lnTo>
                    <a:pt x="247" y="259"/>
                  </a:lnTo>
                  <a:lnTo>
                    <a:pt x="243" y="260"/>
                  </a:lnTo>
                  <a:lnTo>
                    <a:pt x="24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2" name="Freeform 33">
              <a:extLst>
                <a:ext uri="{FF2B5EF4-FFF2-40B4-BE49-F238E27FC236}">
                  <a16:creationId xmlns:a16="http://schemas.microsoft.com/office/drawing/2014/main" id="{49289CC8-D1B9-4573-8D86-5F1FBA1F0AEA}"/>
                </a:ext>
              </a:extLst>
            </p:cNvPr>
            <p:cNvSpPr>
              <a:spLocks noEditPoints="1"/>
            </p:cNvSpPr>
            <p:nvPr/>
          </p:nvSpPr>
          <p:spPr bwMode="auto">
            <a:xfrm>
              <a:off x="3894953" y="2782692"/>
              <a:ext cx="99628" cy="321024"/>
            </a:xfrm>
            <a:custGeom>
              <a:avLst/>
              <a:gdLst>
                <a:gd name="T0" fmla="*/ 40 w 160"/>
                <a:gd name="T1" fmla="*/ 481 h 521"/>
                <a:gd name="T2" fmla="*/ 119 w 160"/>
                <a:gd name="T3" fmla="*/ 481 h 521"/>
                <a:gd name="T4" fmla="*/ 119 w 160"/>
                <a:gd name="T5" fmla="*/ 41 h 521"/>
                <a:gd name="T6" fmla="*/ 40 w 160"/>
                <a:gd name="T7" fmla="*/ 41 h 521"/>
                <a:gd name="T8" fmla="*/ 40 w 160"/>
                <a:gd name="T9" fmla="*/ 481 h 521"/>
                <a:gd name="T10" fmla="*/ 139 w 160"/>
                <a:gd name="T11" fmla="*/ 521 h 521"/>
                <a:gd name="T12" fmla="*/ 20 w 160"/>
                <a:gd name="T13" fmla="*/ 521 h 521"/>
                <a:gd name="T14" fmla="*/ 16 w 160"/>
                <a:gd name="T15" fmla="*/ 521 h 521"/>
                <a:gd name="T16" fmla="*/ 12 w 160"/>
                <a:gd name="T17" fmla="*/ 519 h 521"/>
                <a:gd name="T18" fmla="*/ 8 w 160"/>
                <a:gd name="T19" fmla="*/ 517 h 521"/>
                <a:gd name="T20" fmla="*/ 5 w 160"/>
                <a:gd name="T21" fmla="*/ 515 h 521"/>
                <a:gd name="T22" fmla="*/ 2 w 160"/>
                <a:gd name="T23" fmla="*/ 512 h 521"/>
                <a:gd name="T24" fmla="*/ 1 w 160"/>
                <a:gd name="T25" fmla="*/ 508 h 521"/>
                <a:gd name="T26" fmla="*/ 0 w 160"/>
                <a:gd name="T27" fmla="*/ 505 h 521"/>
                <a:gd name="T28" fmla="*/ 0 w 160"/>
                <a:gd name="T29" fmla="*/ 501 h 521"/>
                <a:gd name="T30" fmla="*/ 0 w 160"/>
                <a:gd name="T31" fmla="*/ 21 h 521"/>
                <a:gd name="T32" fmla="*/ 0 w 160"/>
                <a:gd name="T33" fmla="*/ 16 h 521"/>
                <a:gd name="T34" fmla="*/ 1 w 160"/>
                <a:gd name="T35" fmla="*/ 13 h 521"/>
                <a:gd name="T36" fmla="*/ 2 w 160"/>
                <a:gd name="T37" fmla="*/ 10 h 521"/>
                <a:gd name="T38" fmla="*/ 5 w 160"/>
                <a:gd name="T39" fmla="*/ 6 h 521"/>
                <a:gd name="T40" fmla="*/ 8 w 160"/>
                <a:gd name="T41" fmla="*/ 4 h 521"/>
                <a:gd name="T42" fmla="*/ 12 w 160"/>
                <a:gd name="T43" fmla="*/ 3 h 521"/>
                <a:gd name="T44" fmla="*/ 16 w 160"/>
                <a:gd name="T45" fmla="*/ 1 h 521"/>
                <a:gd name="T46" fmla="*/ 20 w 160"/>
                <a:gd name="T47" fmla="*/ 0 h 521"/>
                <a:gd name="T48" fmla="*/ 139 w 160"/>
                <a:gd name="T49" fmla="*/ 0 h 521"/>
                <a:gd name="T50" fmla="*/ 144 w 160"/>
                <a:gd name="T51" fmla="*/ 1 h 521"/>
                <a:gd name="T52" fmla="*/ 148 w 160"/>
                <a:gd name="T53" fmla="*/ 3 h 521"/>
                <a:gd name="T54" fmla="*/ 150 w 160"/>
                <a:gd name="T55" fmla="*/ 4 h 521"/>
                <a:gd name="T56" fmla="*/ 154 w 160"/>
                <a:gd name="T57" fmla="*/ 6 h 521"/>
                <a:gd name="T58" fmla="*/ 156 w 160"/>
                <a:gd name="T59" fmla="*/ 10 h 521"/>
                <a:gd name="T60" fmla="*/ 158 w 160"/>
                <a:gd name="T61" fmla="*/ 13 h 521"/>
                <a:gd name="T62" fmla="*/ 159 w 160"/>
                <a:gd name="T63" fmla="*/ 16 h 521"/>
                <a:gd name="T64" fmla="*/ 160 w 160"/>
                <a:gd name="T65" fmla="*/ 21 h 521"/>
                <a:gd name="T66" fmla="*/ 160 w 160"/>
                <a:gd name="T67" fmla="*/ 501 h 521"/>
                <a:gd name="T68" fmla="*/ 159 w 160"/>
                <a:gd name="T69" fmla="*/ 505 h 521"/>
                <a:gd name="T70" fmla="*/ 158 w 160"/>
                <a:gd name="T71" fmla="*/ 508 h 521"/>
                <a:gd name="T72" fmla="*/ 156 w 160"/>
                <a:gd name="T73" fmla="*/ 512 h 521"/>
                <a:gd name="T74" fmla="*/ 154 w 160"/>
                <a:gd name="T75" fmla="*/ 515 h 521"/>
                <a:gd name="T76" fmla="*/ 150 w 160"/>
                <a:gd name="T77" fmla="*/ 517 h 521"/>
                <a:gd name="T78" fmla="*/ 148 w 160"/>
                <a:gd name="T79" fmla="*/ 519 h 521"/>
                <a:gd name="T80" fmla="*/ 144 w 160"/>
                <a:gd name="T81" fmla="*/ 521 h 521"/>
                <a:gd name="T82" fmla="*/ 139 w 160"/>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21">
                  <a:moveTo>
                    <a:pt x="40" y="481"/>
                  </a:moveTo>
                  <a:lnTo>
                    <a:pt x="119" y="481"/>
                  </a:lnTo>
                  <a:lnTo>
                    <a:pt x="119" y="41"/>
                  </a:lnTo>
                  <a:lnTo>
                    <a:pt x="40" y="41"/>
                  </a:lnTo>
                  <a:lnTo>
                    <a:pt x="40" y="481"/>
                  </a:lnTo>
                  <a:close/>
                  <a:moveTo>
                    <a:pt x="139" y="521"/>
                  </a:moveTo>
                  <a:lnTo>
                    <a:pt x="20" y="521"/>
                  </a:lnTo>
                  <a:lnTo>
                    <a:pt x="16" y="521"/>
                  </a:lnTo>
                  <a:lnTo>
                    <a:pt x="12" y="519"/>
                  </a:lnTo>
                  <a:lnTo>
                    <a:pt x="8" y="517"/>
                  </a:lnTo>
                  <a:lnTo>
                    <a:pt x="5" y="515"/>
                  </a:lnTo>
                  <a:lnTo>
                    <a:pt x="2" y="512"/>
                  </a:lnTo>
                  <a:lnTo>
                    <a:pt x="1" y="508"/>
                  </a:lnTo>
                  <a:lnTo>
                    <a:pt x="0" y="505"/>
                  </a:lnTo>
                  <a:lnTo>
                    <a:pt x="0" y="501"/>
                  </a:lnTo>
                  <a:lnTo>
                    <a:pt x="0" y="21"/>
                  </a:lnTo>
                  <a:lnTo>
                    <a:pt x="0" y="16"/>
                  </a:lnTo>
                  <a:lnTo>
                    <a:pt x="1" y="13"/>
                  </a:lnTo>
                  <a:lnTo>
                    <a:pt x="2" y="10"/>
                  </a:lnTo>
                  <a:lnTo>
                    <a:pt x="5" y="6"/>
                  </a:lnTo>
                  <a:lnTo>
                    <a:pt x="8" y="4"/>
                  </a:lnTo>
                  <a:lnTo>
                    <a:pt x="12" y="3"/>
                  </a:lnTo>
                  <a:lnTo>
                    <a:pt x="16" y="1"/>
                  </a:lnTo>
                  <a:lnTo>
                    <a:pt x="20" y="0"/>
                  </a:lnTo>
                  <a:lnTo>
                    <a:pt x="139" y="0"/>
                  </a:lnTo>
                  <a:lnTo>
                    <a:pt x="144" y="1"/>
                  </a:lnTo>
                  <a:lnTo>
                    <a:pt x="148" y="3"/>
                  </a:lnTo>
                  <a:lnTo>
                    <a:pt x="150" y="4"/>
                  </a:lnTo>
                  <a:lnTo>
                    <a:pt x="154" y="6"/>
                  </a:lnTo>
                  <a:lnTo>
                    <a:pt x="156" y="10"/>
                  </a:lnTo>
                  <a:lnTo>
                    <a:pt x="158" y="13"/>
                  </a:lnTo>
                  <a:lnTo>
                    <a:pt x="159" y="16"/>
                  </a:lnTo>
                  <a:lnTo>
                    <a:pt x="160" y="21"/>
                  </a:lnTo>
                  <a:lnTo>
                    <a:pt x="160" y="501"/>
                  </a:lnTo>
                  <a:lnTo>
                    <a:pt x="159" y="505"/>
                  </a:lnTo>
                  <a:lnTo>
                    <a:pt x="158" y="508"/>
                  </a:lnTo>
                  <a:lnTo>
                    <a:pt x="156" y="512"/>
                  </a:lnTo>
                  <a:lnTo>
                    <a:pt x="154" y="515"/>
                  </a:lnTo>
                  <a:lnTo>
                    <a:pt x="150" y="517"/>
                  </a:lnTo>
                  <a:lnTo>
                    <a:pt x="148" y="519"/>
                  </a:lnTo>
                  <a:lnTo>
                    <a:pt x="144" y="521"/>
                  </a:lnTo>
                  <a:lnTo>
                    <a:pt x="139"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3" name="Freeform 34">
              <a:extLst>
                <a:ext uri="{FF2B5EF4-FFF2-40B4-BE49-F238E27FC236}">
                  <a16:creationId xmlns:a16="http://schemas.microsoft.com/office/drawing/2014/main" id="{7D0109D8-BBA2-42A9-A311-235D6069C758}"/>
                </a:ext>
              </a:extLst>
            </p:cNvPr>
            <p:cNvSpPr>
              <a:spLocks noEditPoints="1"/>
            </p:cNvSpPr>
            <p:nvPr/>
          </p:nvSpPr>
          <p:spPr bwMode="auto">
            <a:xfrm>
              <a:off x="4263947" y="2782692"/>
              <a:ext cx="97783" cy="321024"/>
            </a:xfrm>
            <a:custGeom>
              <a:avLst/>
              <a:gdLst>
                <a:gd name="T0" fmla="*/ 39 w 159"/>
                <a:gd name="T1" fmla="*/ 481 h 521"/>
                <a:gd name="T2" fmla="*/ 119 w 159"/>
                <a:gd name="T3" fmla="*/ 481 h 521"/>
                <a:gd name="T4" fmla="*/ 119 w 159"/>
                <a:gd name="T5" fmla="*/ 41 h 521"/>
                <a:gd name="T6" fmla="*/ 39 w 159"/>
                <a:gd name="T7" fmla="*/ 41 h 521"/>
                <a:gd name="T8" fmla="*/ 39 w 159"/>
                <a:gd name="T9" fmla="*/ 481 h 521"/>
                <a:gd name="T10" fmla="*/ 139 w 159"/>
                <a:gd name="T11" fmla="*/ 521 h 521"/>
                <a:gd name="T12" fmla="*/ 20 w 159"/>
                <a:gd name="T13" fmla="*/ 521 h 521"/>
                <a:gd name="T14" fmla="*/ 15 w 159"/>
                <a:gd name="T15" fmla="*/ 521 h 521"/>
                <a:gd name="T16" fmla="*/ 11 w 159"/>
                <a:gd name="T17" fmla="*/ 519 h 521"/>
                <a:gd name="T18" fmla="*/ 8 w 159"/>
                <a:gd name="T19" fmla="*/ 517 h 521"/>
                <a:gd name="T20" fmla="*/ 5 w 159"/>
                <a:gd name="T21" fmla="*/ 515 h 521"/>
                <a:gd name="T22" fmla="*/ 2 w 159"/>
                <a:gd name="T23" fmla="*/ 512 h 521"/>
                <a:gd name="T24" fmla="*/ 1 w 159"/>
                <a:gd name="T25" fmla="*/ 508 h 521"/>
                <a:gd name="T26" fmla="*/ 0 w 159"/>
                <a:gd name="T27" fmla="*/ 505 h 521"/>
                <a:gd name="T28" fmla="*/ 0 w 159"/>
                <a:gd name="T29" fmla="*/ 501 h 521"/>
                <a:gd name="T30" fmla="*/ 0 w 159"/>
                <a:gd name="T31" fmla="*/ 21 h 521"/>
                <a:gd name="T32" fmla="*/ 0 w 159"/>
                <a:gd name="T33" fmla="*/ 16 h 521"/>
                <a:gd name="T34" fmla="*/ 1 w 159"/>
                <a:gd name="T35" fmla="*/ 13 h 521"/>
                <a:gd name="T36" fmla="*/ 2 w 159"/>
                <a:gd name="T37" fmla="*/ 10 h 521"/>
                <a:gd name="T38" fmla="*/ 5 w 159"/>
                <a:gd name="T39" fmla="*/ 6 h 521"/>
                <a:gd name="T40" fmla="*/ 8 w 159"/>
                <a:gd name="T41" fmla="*/ 4 h 521"/>
                <a:gd name="T42" fmla="*/ 11 w 159"/>
                <a:gd name="T43" fmla="*/ 3 h 521"/>
                <a:gd name="T44" fmla="*/ 15 w 159"/>
                <a:gd name="T45" fmla="*/ 1 h 521"/>
                <a:gd name="T46" fmla="*/ 20 w 159"/>
                <a:gd name="T47" fmla="*/ 0 h 521"/>
                <a:gd name="T48" fmla="*/ 139 w 159"/>
                <a:gd name="T49" fmla="*/ 0 h 521"/>
                <a:gd name="T50" fmla="*/ 144 w 159"/>
                <a:gd name="T51" fmla="*/ 1 h 521"/>
                <a:gd name="T52" fmla="*/ 147 w 159"/>
                <a:gd name="T53" fmla="*/ 3 h 521"/>
                <a:gd name="T54" fmla="*/ 150 w 159"/>
                <a:gd name="T55" fmla="*/ 4 h 521"/>
                <a:gd name="T56" fmla="*/ 154 w 159"/>
                <a:gd name="T57" fmla="*/ 6 h 521"/>
                <a:gd name="T58" fmla="*/ 156 w 159"/>
                <a:gd name="T59" fmla="*/ 10 h 521"/>
                <a:gd name="T60" fmla="*/ 157 w 159"/>
                <a:gd name="T61" fmla="*/ 13 h 521"/>
                <a:gd name="T62" fmla="*/ 159 w 159"/>
                <a:gd name="T63" fmla="*/ 16 h 521"/>
                <a:gd name="T64" fmla="*/ 159 w 159"/>
                <a:gd name="T65" fmla="*/ 21 h 521"/>
                <a:gd name="T66" fmla="*/ 159 w 159"/>
                <a:gd name="T67" fmla="*/ 501 h 521"/>
                <a:gd name="T68" fmla="*/ 159 w 159"/>
                <a:gd name="T69" fmla="*/ 505 h 521"/>
                <a:gd name="T70" fmla="*/ 157 w 159"/>
                <a:gd name="T71" fmla="*/ 508 h 521"/>
                <a:gd name="T72" fmla="*/ 156 w 159"/>
                <a:gd name="T73" fmla="*/ 512 h 521"/>
                <a:gd name="T74" fmla="*/ 154 w 159"/>
                <a:gd name="T75" fmla="*/ 515 h 521"/>
                <a:gd name="T76" fmla="*/ 150 w 159"/>
                <a:gd name="T77" fmla="*/ 517 h 521"/>
                <a:gd name="T78" fmla="*/ 147 w 159"/>
                <a:gd name="T79" fmla="*/ 519 h 521"/>
                <a:gd name="T80" fmla="*/ 144 w 159"/>
                <a:gd name="T81" fmla="*/ 521 h 521"/>
                <a:gd name="T82" fmla="*/ 139 w 159"/>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521">
                  <a:moveTo>
                    <a:pt x="39" y="481"/>
                  </a:moveTo>
                  <a:lnTo>
                    <a:pt x="119" y="481"/>
                  </a:lnTo>
                  <a:lnTo>
                    <a:pt x="119" y="41"/>
                  </a:lnTo>
                  <a:lnTo>
                    <a:pt x="39" y="41"/>
                  </a:lnTo>
                  <a:lnTo>
                    <a:pt x="39" y="481"/>
                  </a:lnTo>
                  <a:close/>
                  <a:moveTo>
                    <a:pt x="139" y="521"/>
                  </a:moveTo>
                  <a:lnTo>
                    <a:pt x="20" y="521"/>
                  </a:lnTo>
                  <a:lnTo>
                    <a:pt x="15" y="521"/>
                  </a:lnTo>
                  <a:lnTo>
                    <a:pt x="11" y="519"/>
                  </a:lnTo>
                  <a:lnTo>
                    <a:pt x="8" y="517"/>
                  </a:lnTo>
                  <a:lnTo>
                    <a:pt x="5" y="515"/>
                  </a:lnTo>
                  <a:lnTo>
                    <a:pt x="2" y="512"/>
                  </a:lnTo>
                  <a:lnTo>
                    <a:pt x="1" y="508"/>
                  </a:lnTo>
                  <a:lnTo>
                    <a:pt x="0" y="505"/>
                  </a:lnTo>
                  <a:lnTo>
                    <a:pt x="0" y="501"/>
                  </a:lnTo>
                  <a:lnTo>
                    <a:pt x="0" y="21"/>
                  </a:lnTo>
                  <a:lnTo>
                    <a:pt x="0" y="16"/>
                  </a:lnTo>
                  <a:lnTo>
                    <a:pt x="1" y="13"/>
                  </a:lnTo>
                  <a:lnTo>
                    <a:pt x="2" y="10"/>
                  </a:lnTo>
                  <a:lnTo>
                    <a:pt x="5" y="6"/>
                  </a:lnTo>
                  <a:lnTo>
                    <a:pt x="8" y="4"/>
                  </a:lnTo>
                  <a:lnTo>
                    <a:pt x="11" y="3"/>
                  </a:lnTo>
                  <a:lnTo>
                    <a:pt x="15" y="1"/>
                  </a:lnTo>
                  <a:lnTo>
                    <a:pt x="20" y="0"/>
                  </a:lnTo>
                  <a:lnTo>
                    <a:pt x="139" y="0"/>
                  </a:lnTo>
                  <a:lnTo>
                    <a:pt x="144" y="1"/>
                  </a:lnTo>
                  <a:lnTo>
                    <a:pt x="147" y="3"/>
                  </a:lnTo>
                  <a:lnTo>
                    <a:pt x="150" y="4"/>
                  </a:lnTo>
                  <a:lnTo>
                    <a:pt x="154" y="6"/>
                  </a:lnTo>
                  <a:lnTo>
                    <a:pt x="156" y="10"/>
                  </a:lnTo>
                  <a:lnTo>
                    <a:pt x="157" y="13"/>
                  </a:lnTo>
                  <a:lnTo>
                    <a:pt x="159" y="16"/>
                  </a:lnTo>
                  <a:lnTo>
                    <a:pt x="159" y="21"/>
                  </a:lnTo>
                  <a:lnTo>
                    <a:pt x="159" y="501"/>
                  </a:lnTo>
                  <a:lnTo>
                    <a:pt x="159" y="505"/>
                  </a:lnTo>
                  <a:lnTo>
                    <a:pt x="157" y="508"/>
                  </a:lnTo>
                  <a:lnTo>
                    <a:pt x="156" y="512"/>
                  </a:lnTo>
                  <a:lnTo>
                    <a:pt x="154" y="515"/>
                  </a:lnTo>
                  <a:lnTo>
                    <a:pt x="150" y="517"/>
                  </a:lnTo>
                  <a:lnTo>
                    <a:pt x="147" y="519"/>
                  </a:lnTo>
                  <a:lnTo>
                    <a:pt x="144" y="521"/>
                  </a:lnTo>
                  <a:lnTo>
                    <a:pt x="139"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grpSp>
      <p:grpSp>
        <p:nvGrpSpPr>
          <p:cNvPr id="776" name="Group 103">
            <a:extLst>
              <a:ext uri="{FF2B5EF4-FFF2-40B4-BE49-F238E27FC236}">
                <a16:creationId xmlns:a16="http://schemas.microsoft.com/office/drawing/2014/main" id="{1A099A4B-1C13-4FCA-8E44-B41B99EB2FEA}"/>
              </a:ext>
            </a:extLst>
          </p:cNvPr>
          <p:cNvGrpSpPr>
            <a:grpSpLocks noChangeAspect="1"/>
          </p:cNvGrpSpPr>
          <p:nvPr/>
        </p:nvGrpSpPr>
        <p:grpSpPr>
          <a:xfrm>
            <a:off x="5765612" y="5473301"/>
            <a:ext cx="338303" cy="195035"/>
            <a:chOff x="7335838" y="1962150"/>
            <a:chExt cx="892175" cy="514350"/>
          </a:xfrm>
          <a:solidFill>
            <a:schemeClr val="bg2"/>
          </a:solidFill>
          <a:effectLst/>
        </p:grpSpPr>
        <p:sp>
          <p:nvSpPr>
            <p:cNvPr id="777" name="Freeform 142">
              <a:extLst>
                <a:ext uri="{FF2B5EF4-FFF2-40B4-BE49-F238E27FC236}">
                  <a16:creationId xmlns:a16="http://schemas.microsoft.com/office/drawing/2014/main" id="{33FA594D-A5AC-4F0D-BEDD-4FB4DB8E58CE}"/>
                </a:ext>
              </a:extLst>
            </p:cNvPr>
            <p:cNvSpPr>
              <a:spLocks noEditPoints="1"/>
            </p:cNvSpPr>
            <p:nvPr/>
          </p:nvSpPr>
          <p:spPr bwMode="auto">
            <a:xfrm>
              <a:off x="7335838" y="1962150"/>
              <a:ext cx="892175" cy="514350"/>
            </a:xfrm>
            <a:custGeom>
              <a:avLst/>
              <a:gdLst>
                <a:gd name="T0" fmla="*/ 67 w 235"/>
                <a:gd name="T1" fmla="*/ 134 h 134"/>
                <a:gd name="T2" fmla="*/ 0 w 235"/>
                <a:gd name="T3" fmla="*/ 67 h 134"/>
                <a:gd name="T4" fmla="*/ 67 w 235"/>
                <a:gd name="T5" fmla="*/ 0 h 134"/>
                <a:gd name="T6" fmla="*/ 130 w 235"/>
                <a:gd name="T7" fmla="*/ 45 h 134"/>
                <a:gd name="T8" fmla="*/ 212 w 235"/>
                <a:gd name="T9" fmla="*/ 45 h 134"/>
                <a:gd name="T10" fmla="*/ 216 w 235"/>
                <a:gd name="T11" fmla="*/ 46 h 134"/>
                <a:gd name="T12" fmla="*/ 233 w 235"/>
                <a:gd name="T13" fmla="*/ 63 h 134"/>
                <a:gd name="T14" fmla="*/ 233 w 235"/>
                <a:gd name="T15" fmla="*/ 71 h 134"/>
                <a:gd name="T16" fmla="*/ 216 w 235"/>
                <a:gd name="T17" fmla="*/ 88 h 134"/>
                <a:gd name="T18" fmla="*/ 212 w 235"/>
                <a:gd name="T19" fmla="*/ 89 h 134"/>
                <a:gd name="T20" fmla="*/ 198 w 235"/>
                <a:gd name="T21" fmla="*/ 89 h 134"/>
                <a:gd name="T22" fmla="*/ 188 w 235"/>
                <a:gd name="T23" fmla="*/ 99 h 134"/>
                <a:gd name="T24" fmla="*/ 180 w 235"/>
                <a:gd name="T25" fmla="*/ 99 h 134"/>
                <a:gd name="T26" fmla="*/ 171 w 235"/>
                <a:gd name="T27" fmla="*/ 89 h 134"/>
                <a:gd name="T28" fmla="*/ 164 w 235"/>
                <a:gd name="T29" fmla="*/ 89 h 134"/>
                <a:gd name="T30" fmla="*/ 155 w 235"/>
                <a:gd name="T31" fmla="*/ 99 h 134"/>
                <a:gd name="T32" fmla="*/ 147 w 235"/>
                <a:gd name="T33" fmla="*/ 99 h 134"/>
                <a:gd name="T34" fmla="*/ 137 w 235"/>
                <a:gd name="T35" fmla="*/ 89 h 134"/>
                <a:gd name="T36" fmla="*/ 130 w 235"/>
                <a:gd name="T37" fmla="*/ 89 h 134"/>
                <a:gd name="T38" fmla="*/ 67 w 235"/>
                <a:gd name="T39" fmla="*/ 134 h 134"/>
                <a:gd name="T40" fmla="*/ 67 w 235"/>
                <a:gd name="T41" fmla="*/ 11 h 134"/>
                <a:gd name="T42" fmla="*/ 11 w 235"/>
                <a:gd name="T43" fmla="*/ 67 h 134"/>
                <a:gd name="T44" fmla="*/ 67 w 235"/>
                <a:gd name="T45" fmla="*/ 123 h 134"/>
                <a:gd name="T46" fmla="*/ 121 w 235"/>
                <a:gd name="T47" fmla="*/ 82 h 134"/>
                <a:gd name="T48" fmla="*/ 126 w 235"/>
                <a:gd name="T49" fmla="*/ 78 h 134"/>
                <a:gd name="T50" fmla="*/ 140 w 235"/>
                <a:gd name="T51" fmla="*/ 78 h 134"/>
                <a:gd name="T52" fmla="*/ 144 w 235"/>
                <a:gd name="T53" fmla="*/ 80 h 134"/>
                <a:gd name="T54" fmla="*/ 151 w 235"/>
                <a:gd name="T55" fmla="*/ 87 h 134"/>
                <a:gd name="T56" fmla="*/ 158 w 235"/>
                <a:gd name="T57" fmla="*/ 80 h 134"/>
                <a:gd name="T58" fmla="*/ 162 w 235"/>
                <a:gd name="T59" fmla="*/ 78 h 134"/>
                <a:gd name="T60" fmla="*/ 173 w 235"/>
                <a:gd name="T61" fmla="*/ 78 h 134"/>
                <a:gd name="T62" fmla="*/ 177 w 235"/>
                <a:gd name="T63" fmla="*/ 80 h 134"/>
                <a:gd name="T64" fmla="*/ 184 w 235"/>
                <a:gd name="T65" fmla="*/ 87 h 134"/>
                <a:gd name="T66" fmla="*/ 191 w 235"/>
                <a:gd name="T67" fmla="*/ 80 h 134"/>
                <a:gd name="T68" fmla="*/ 195 w 235"/>
                <a:gd name="T69" fmla="*/ 78 h 134"/>
                <a:gd name="T70" fmla="*/ 210 w 235"/>
                <a:gd name="T71" fmla="*/ 78 h 134"/>
                <a:gd name="T72" fmla="*/ 221 w 235"/>
                <a:gd name="T73" fmla="*/ 67 h 134"/>
                <a:gd name="T74" fmla="*/ 210 w 235"/>
                <a:gd name="T75" fmla="*/ 56 h 134"/>
                <a:gd name="T76" fmla="*/ 126 w 235"/>
                <a:gd name="T77" fmla="*/ 56 h 134"/>
                <a:gd name="T78" fmla="*/ 121 w 235"/>
                <a:gd name="T79" fmla="*/ 52 h 134"/>
                <a:gd name="T80" fmla="*/ 67 w 235"/>
                <a:gd name="T81" fmla="*/ 1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134">
                  <a:moveTo>
                    <a:pt x="67" y="134"/>
                  </a:moveTo>
                  <a:cubicBezTo>
                    <a:pt x="30" y="134"/>
                    <a:pt x="0" y="104"/>
                    <a:pt x="0" y="67"/>
                  </a:cubicBezTo>
                  <a:cubicBezTo>
                    <a:pt x="0" y="30"/>
                    <a:pt x="30" y="0"/>
                    <a:pt x="67" y="0"/>
                  </a:cubicBezTo>
                  <a:cubicBezTo>
                    <a:pt x="95" y="0"/>
                    <a:pt x="121" y="18"/>
                    <a:pt x="130" y="45"/>
                  </a:cubicBezTo>
                  <a:cubicBezTo>
                    <a:pt x="212" y="45"/>
                    <a:pt x="212" y="45"/>
                    <a:pt x="212" y="45"/>
                  </a:cubicBezTo>
                  <a:cubicBezTo>
                    <a:pt x="214" y="45"/>
                    <a:pt x="215" y="45"/>
                    <a:pt x="216" y="46"/>
                  </a:cubicBezTo>
                  <a:cubicBezTo>
                    <a:pt x="233" y="63"/>
                    <a:pt x="233" y="63"/>
                    <a:pt x="233" y="63"/>
                  </a:cubicBezTo>
                  <a:cubicBezTo>
                    <a:pt x="235" y="65"/>
                    <a:pt x="235" y="69"/>
                    <a:pt x="233" y="71"/>
                  </a:cubicBezTo>
                  <a:cubicBezTo>
                    <a:pt x="216" y="88"/>
                    <a:pt x="216" y="88"/>
                    <a:pt x="216" y="88"/>
                  </a:cubicBezTo>
                  <a:cubicBezTo>
                    <a:pt x="215" y="89"/>
                    <a:pt x="214" y="89"/>
                    <a:pt x="212" y="89"/>
                  </a:cubicBezTo>
                  <a:cubicBezTo>
                    <a:pt x="198" y="89"/>
                    <a:pt x="198" y="89"/>
                    <a:pt x="198" y="89"/>
                  </a:cubicBezTo>
                  <a:cubicBezTo>
                    <a:pt x="188" y="99"/>
                    <a:pt x="188" y="99"/>
                    <a:pt x="188" y="99"/>
                  </a:cubicBezTo>
                  <a:cubicBezTo>
                    <a:pt x="186" y="101"/>
                    <a:pt x="182" y="101"/>
                    <a:pt x="180" y="99"/>
                  </a:cubicBezTo>
                  <a:cubicBezTo>
                    <a:pt x="171" y="89"/>
                    <a:pt x="171" y="89"/>
                    <a:pt x="171" y="89"/>
                  </a:cubicBezTo>
                  <a:cubicBezTo>
                    <a:pt x="164" y="89"/>
                    <a:pt x="164" y="89"/>
                    <a:pt x="164" y="89"/>
                  </a:cubicBezTo>
                  <a:cubicBezTo>
                    <a:pt x="155" y="99"/>
                    <a:pt x="155" y="99"/>
                    <a:pt x="155" y="99"/>
                  </a:cubicBezTo>
                  <a:cubicBezTo>
                    <a:pt x="153" y="101"/>
                    <a:pt x="149" y="101"/>
                    <a:pt x="147" y="99"/>
                  </a:cubicBezTo>
                  <a:cubicBezTo>
                    <a:pt x="137" y="89"/>
                    <a:pt x="137" y="89"/>
                    <a:pt x="137" y="89"/>
                  </a:cubicBezTo>
                  <a:cubicBezTo>
                    <a:pt x="130" y="89"/>
                    <a:pt x="130" y="89"/>
                    <a:pt x="130" y="89"/>
                  </a:cubicBezTo>
                  <a:cubicBezTo>
                    <a:pt x="121" y="116"/>
                    <a:pt x="95" y="134"/>
                    <a:pt x="67" y="134"/>
                  </a:cubicBezTo>
                  <a:close/>
                  <a:moveTo>
                    <a:pt x="67" y="11"/>
                  </a:moveTo>
                  <a:cubicBezTo>
                    <a:pt x="36" y="11"/>
                    <a:pt x="11" y="36"/>
                    <a:pt x="11" y="67"/>
                  </a:cubicBezTo>
                  <a:cubicBezTo>
                    <a:pt x="11" y="98"/>
                    <a:pt x="36" y="123"/>
                    <a:pt x="67" y="123"/>
                  </a:cubicBezTo>
                  <a:cubicBezTo>
                    <a:pt x="92" y="123"/>
                    <a:pt x="114" y="106"/>
                    <a:pt x="121" y="82"/>
                  </a:cubicBezTo>
                  <a:cubicBezTo>
                    <a:pt x="121" y="80"/>
                    <a:pt x="124" y="78"/>
                    <a:pt x="126" y="78"/>
                  </a:cubicBezTo>
                  <a:cubicBezTo>
                    <a:pt x="140" y="78"/>
                    <a:pt x="140" y="78"/>
                    <a:pt x="140" y="78"/>
                  </a:cubicBezTo>
                  <a:cubicBezTo>
                    <a:pt x="141" y="78"/>
                    <a:pt x="142" y="79"/>
                    <a:pt x="144" y="80"/>
                  </a:cubicBezTo>
                  <a:cubicBezTo>
                    <a:pt x="151" y="87"/>
                    <a:pt x="151" y="87"/>
                    <a:pt x="151" y="87"/>
                  </a:cubicBezTo>
                  <a:cubicBezTo>
                    <a:pt x="158" y="80"/>
                    <a:pt x="158" y="80"/>
                    <a:pt x="158" y="80"/>
                  </a:cubicBezTo>
                  <a:cubicBezTo>
                    <a:pt x="159" y="79"/>
                    <a:pt x="160" y="78"/>
                    <a:pt x="162" y="78"/>
                  </a:cubicBezTo>
                  <a:cubicBezTo>
                    <a:pt x="173" y="78"/>
                    <a:pt x="173" y="78"/>
                    <a:pt x="173" y="78"/>
                  </a:cubicBezTo>
                  <a:cubicBezTo>
                    <a:pt x="175" y="78"/>
                    <a:pt x="176" y="79"/>
                    <a:pt x="177" y="80"/>
                  </a:cubicBezTo>
                  <a:cubicBezTo>
                    <a:pt x="184" y="87"/>
                    <a:pt x="184" y="87"/>
                    <a:pt x="184" y="87"/>
                  </a:cubicBezTo>
                  <a:cubicBezTo>
                    <a:pt x="191" y="80"/>
                    <a:pt x="191" y="80"/>
                    <a:pt x="191" y="80"/>
                  </a:cubicBezTo>
                  <a:cubicBezTo>
                    <a:pt x="193" y="79"/>
                    <a:pt x="194" y="78"/>
                    <a:pt x="195" y="78"/>
                  </a:cubicBezTo>
                  <a:cubicBezTo>
                    <a:pt x="210" y="78"/>
                    <a:pt x="210" y="78"/>
                    <a:pt x="210" y="78"/>
                  </a:cubicBezTo>
                  <a:cubicBezTo>
                    <a:pt x="221" y="67"/>
                    <a:pt x="221" y="67"/>
                    <a:pt x="221" y="67"/>
                  </a:cubicBezTo>
                  <a:cubicBezTo>
                    <a:pt x="210" y="56"/>
                    <a:pt x="210" y="56"/>
                    <a:pt x="210" y="56"/>
                  </a:cubicBezTo>
                  <a:cubicBezTo>
                    <a:pt x="126" y="56"/>
                    <a:pt x="126" y="56"/>
                    <a:pt x="126" y="56"/>
                  </a:cubicBezTo>
                  <a:cubicBezTo>
                    <a:pt x="124" y="56"/>
                    <a:pt x="121" y="54"/>
                    <a:pt x="121" y="52"/>
                  </a:cubicBezTo>
                  <a:cubicBezTo>
                    <a:pt x="114" y="28"/>
                    <a:pt x="92" y="11"/>
                    <a:pt x="6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778" name="Freeform 143">
              <a:extLst>
                <a:ext uri="{FF2B5EF4-FFF2-40B4-BE49-F238E27FC236}">
                  <a16:creationId xmlns:a16="http://schemas.microsoft.com/office/drawing/2014/main" id="{F51E51D0-0C1F-4BDA-B76D-210C8F723C35}"/>
                </a:ext>
              </a:extLst>
            </p:cNvPr>
            <p:cNvSpPr>
              <a:spLocks noEditPoints="1"/>
            </p:cNvSpPr>
            <p:nvPr/>
          </p:nvSpPr>
          <p:spPr bwMode="auto">
            <a:xfrm>
              <a:off x="7418388" y="2135188"/>
              <a:ext cx="171450" cy="168275"/>
            </a:xfrm>
            <a:custGeom>
              <a:avLst/>
              <a:gdLst>
                <a:gd name="T0" fmla="*/ 23 w 45"/>
                <a:gd name="T1" fmla="*/ 44 h 44"/>
                <a:gd name="T2" fmla="*/ 0 w 45"/>
                <a:gd name="T3" fmla="*/ 22 h 44"/>
                <a:gd name="T4" fmla="*/ 23 w 45"/>
                <a:gd name="T5" fmla="*/ 0 h 44"/>
                <a:gd name="T6" fmla="*/ 45 w 45"/>
                <a:gd name="T7" fmla="*/ 22 h 44"/>
                <a:gd name="T8" fmla="*/ 23 w 45"/>
                <a:gd name="T9" fmla="*/ 44 h 44"/>
                <a:gd name="T10" fmla="*/ 23 w 45"/>
                <a:gd name="T11" fmla="*/ 11 h 44"/>
                <a:gd name="T12" fmla="*/ 11 w 45"/>
                <a:gd name="T13" fmla="*/ 22 h 44"/>
                <a:gd name="T14" fmla="*/ 23 w 45"/>
                <a:gd name="T15" fmla="*/ 33 h 44"/>
                <a:gd name="T16" fmla="*/ 34 w 45"/>
                <a:gd name="T17" fmla="*/ 22 h 44"/>
                <a:gd name="T18" fmla="*/ 23 w 45"/>
                <a:gd name="T1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3" y="44"/>
                  </a:moveTo>
                  <a:cubicBezTo>
                    <a:pt x="10" y="44"/>
                    <a:pt x="0" y="34"/>
                    <a:pt x="0" y="22"/>
                  </a:cubicBezTo>
                  <a:cubicBezTo>
                    <a:pt x="0" y="10"/>
                    <a:pt x="10" y="0"/>
                    <a:pt x="23" y="0"/>
                  </a:cubicBezTo>
                  <a:cubicBezTo>
                    <a:pt x="35" y="0"/>
                    <a:pt x="45" y="10"/>
                    <a:pt x="45" y="22"/>
                  </a:cubicBezTo>
                  <a:cubicBezTo>
                    <a:pt x="45" y="34"/>
                    <a:pt x="35" y="44"/>
                    <a:pt x="23" y="44"/>
                  </a:cubicBezTo>
                  <a:close/>
                  <a:moveTo>
                    <a:pt x="23" y="11"/>
                  </a:moveTo>
                  <a:cubicBezTo>
                    <a:pt x="17" y="11"/>
                    <a:pt x="11" y="16"/>
                    <a:pt x="11" y="22"/>
                  </a:cubicBezTo>
                  <a:cubicBezTo>
                    <a:pt x="11" y="28"/>
                    <a:pt x="17" y="33"/>
                    <a:pt x="23" y="33"/>
                  </a:cubicBezTo>
                  <a:cubicBezTo>
                    <a:pt x="29" y="33"/>
                    <a:pt x="34" y="28"/>
                    <a:pt x="34" y="22"/>
                  </a:cubicBezTo>
                  <a:cubicBezTo>
                    <a:pt x="34" y="16"/>
                    <a:pt x="29" y="11"/>
                    <a:pt x="2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grpSp>
      <p:grpSp>
        <p:nvGrpSpPr>
          <p:cNvPr id="898" name="Group 87">
            <a:extLst>
              <a:ext uri="{FF2B5EF4-FFF2-40B4-BE49-F238E27FC236}">
                <a16:creationId xmlns:a16="http://schemas.microsoft.com/office/drawing/2014/main" id="{F6B9F785-9A11-45A4-86FB-84B004995D80}"/>
              </a:ext>
            </a:extLst>
          </p:cNvPr>
          <p:cNvGrpSpPr>
            <a:grpSpLocks noChangeAspect="1"/>
          </p:cNvGrpSpPr>
          <p:nvPr/>
        </p:nvGrpSpPr>
        <p:grpSpPr>
          <a:xfrm>
            <a:off x="6201192" y="5416746"/>
            <a:ext cx="256501" cy="308144"/>
            <a:chOff x="6496050" y="3059113"/>
            <a:chExt cx="236538" cy="284162"/>
          </a:xfrm>
          <a:solidFill>
            <a:schemeClr val="bg2"/>
          </a:solidFill>
          <a:effectLst/>
        </p:grpSpPr>
        <p:sp>
          <p:nvSpPr>
            <p:cNvPr id="899" name="Freeform 294">
              <a:extLst>
                <a:ext uri="{FF2B5EF4-FFF2-40B4-BE49-F238E27FC236}">
                  <a16:creationId xmlns:a16="http://schemas.microsoft.com/office/drawing/2014/main" id="{F866BAB9-25BB-4065-A5A9-04B085A68328}"/>
                </a:ext>
              </a:extLst>
            </p:cNvPr>
            <p:cNvSpPr>
              <a:spLocks noEditPoints="1"/>
            </p:cNvSpPr>
            <p:nvPr/>
          </p:nvSpPr>
          <p:spPr bwMode="auto">
            <a:xfrm>
              <a:off x="6546850" y="3130550"/>
              <a:ext cx="128588" cy="127000"/>
            </a:xfrm>
            <a:custGeom>
              <a:avLst/>
              <a:gdLst>
                <a:gd name="T0" fmla="*/ 271 w 404"/>
                <a:gd name="T1" fmla="*/ 229 h 401"/>
                <a:gd name="T2" fmla="*/ 269 w 404"/>
                <a:gd name="T3" fmla="*/ 238 h 401"/>
                <a:gd name="T4" fmla="*/ 312 w 404"/>
                <a:gd name="T5" fmla="*/ 348 h 401"/>
                <a:gd name="T6" fmla="*/ 214 w 404"/>
                <a:gd name="T7" fmla="*/ 284 h 401"/>
                <a:gd name="T8" fmla="*/ 205 w 404"/>
                <a:gd name="T9" fmla="*/ 284 h 401"/>
                <a:gd name="T10" fmla="*/ 106 w 404"/>
                <a:gd name="T11" fmla="*/ 348 h 401"/>
                <a:gd name="T12" fmla="*/ 150 w 404"/>
                <a:gd name="T13" fmla="*/ 238 h 401"/>
                <a:gd name="T14" fmla="*/ 146 w 404"/>
                <a:gd name="T15" fmla="*/ 229 h 401"/>
                <a:gd name="T16" fmla="*/ 60 w 404"/>
                <a:gd name="T17" fmla="*/ 163 h 401"/>
                <a:gd name="T18" fmla="*/ 169 w 404"/>
                <a:gd name="T19" fmla="*/ 162 h 401"/>
                <a:gd name="T20" fmla="*/ 176 w 404"/>
                <a:gd name="T21" fmla="*/ 157 h 401"/>
                <a:gd name="T22" fmla="*/ 209 w 404"/>
                <a:gd name="T23" fmla="*/ 61 h 401"/>
                <a:gd name="T24" fmla="*/ 242 w 404"/>
                <a:gd name="T25" fmla="*/ 157 h 401"/>
                <a:gd name="T26" fmla="*/ 249 w 404"/>
                <a:gd name="T27" fmla="*/ 162 h 401"/>
                <a:gd name="T28" fmla="*/ 348 w 404"/>
                <a:gd name="T29" fmla="*/ 163 h 401"/>
                <a:gd name="T30" fmla="*/ 389 w 404"/>
                <a:gd name="T31" fmla="*/ 133 h 401"/>
                <a:gd name="T32" fmla="*/ 224 w 404"/>
                <a:gd name="T33" fmla="*/ 10 h 401"/>
                <a:gd name="T34" fmla="*/ 219 w 404"/>
                <a:gd name="T35" fmla="*/ 3 h 401"/>
                <a:gd name="T36" fmla="*/ 209 w 404"/>
                <a:gd name="T37" fmla="*/ 0 h 401"/>
                <a:gd name="T38" fmla="*/ 209 w 404"/>
                <a:gd name="T39" fmla="*/ 0 h 401"/>
                <a:gd name="T40" fmla="*/ 201 w 404"/>
                <a:gd name="T41" fmla="*/ 3 h 401"/>
                <a:gd name="T42" fmla="*/ 196 w 404"/>
                <a:gd name="T43" fmla="*/ 10 h 401"/>
                <a:gd name="T44" fmla="*/ 15 w 404"/>
                <a:gd name="T45" fmla="*/ 133 h 401"/>
                <a:gd name="T46" fmla="*/ 6 w 404"/>
                <a:gd name="T47" fmla="*/ 135 h 401"/>
                <a:gd name="T48" fmla="*/ 1 w 404"/>
                <a:gd name="T49" fmla="*/ 143 h 401"/>
                <a:gd name="T50" fmla="*/ 1 w 404"/>
                <a:gd name="T51" fmla="*/ 152 h 401"/>
                <a:gd name="T52" fmla="*/ 6 w 404"/>
                <a:gd name="T53" fmla="*/ 160 h 401"/>
                <a:gd name="T54" fmla="*/ 61 w 404"/>
                <a:gd name="T55" fmla="*/ 381 h 401"/>
                <a:gd name="T56" fmla="*/ 60 w 404"/>
                <a:gd name="T57" fmla="*/ 391 h 401"/>
                <a:gd name="T58" fmla="*/ 65 w 404"/>
                <a:gd name="T59" fmla="*/ 398 h 401"/>
                <a:gd name="T60" fmla="*/ 74 w 404"/>
                <a:gd name="T61" fmla="*/ 401 h 401"/>
                <a:gd name="T62" fmla="*/ 83 w 404"/>
                <a:gd name="T63" fmla="*/ 399 h 401"/>
                <a:gd name="T64" fmla="*/ 336 w 404"/>
                <a:gd name="T65" fmla="*/ 399 h 401"/>
                <a:gd name="T66" fmla="*/ 344 w 404"/>
                <a:gd name="T67" fmla="*/ 401 h 401"/>
                <a:gd name="T68" fmla="*/ 353 w 404"/>
                <a:gd name="T69" fmla="*/ 398 h 401"/>
                <a:gd name="T70" fmla="*/ 358 w 404"/>
                <a:gd name="T71" fmla="*/ 391 h 401"/>
                <a:gd name="T72" fmla="*/ 358 w 404"/>
                <a:gd name="T73" fmla="*/ 381 h 401"/>
                <a:gd name="T74" fmla="*/ 399 w 404"/>
                <a:gd name="T75" fmla="*/ 159 h 401"/>
                <a:gd name="T76" fmla="*/ 403 w 404"/>
                <a:gd name="T77" fmla="*/ 151 h 401"/>
                <a:gd name="T78" fmla="*/ 403 w 404"/>
                <a:gd name="T79" fmla="*/ 143 h 401"/>
                <a:gd name="T80" fmla="*/ 398 w 404"/>
                <a:gd name="T81" fmla="*/ 135 h 401"/>
                <a:gd name="T82" fmla="*/ 389 w 404"/>
                <a:gd name="T83" fmla="*/ 133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4" h="401">
                  <a:moveTo>
                    <a:pt x="275" y="226"/>
                  </a:moveTo>
                  <a:lnTo>
                    <a:pt x="271" y="229"/>
                  </a:lnTo>
                  <a:lnTo>
                    <a:pt x="269" y="234"/>
                  </a:lnTo>
                  <a:lnTo>
                    <a:pt x="269" y="238"/>
                  </a:lnTo>
                  <a:lnTo>
                    <a:pt x="270" y="243"/>
                  </a:lnTo>
                  <a:lnTo>
                    <a:pt x="312" y="348"/>
                  </a:lnTo>
                  <a:lnTo>
                    <a:pt x="218" y="285"/>
                  </a:lnTo>
                  <a:lnTo>
                    <a:pt x="214" y="284"/>
                  </a:lnTo>
                  <a:lnTo>
                    <a:pt x="209" y="283"/>
                  </a:lnTo>
                  <a:lnTo>
                    <a:pt x="205" y="284"/>
                  </a:lnTo>
                  <a:lnTo>
                    <a:pt x="202" y="285"/>
                  </a:lnTo>
                  <a:lnTo>
                    <a:pt x="106" y="348"/>
                  </a:lnTo>
                  <a:lnTo>
                    <a:pt x="149" y="243"/>
                  </a:lnTo>
                  <a:lnTo>
                    <a:pt x="150" y="238"/>
                  </a:lnTo>
                  <a:lnTo>
                    <a:pt x="149" y="234"/>
                  </a:lnTo>
                  <a:lnTo>
                    <a:pt x="146" y="229"/>
                  </a:lnTo>
                  <a:lnTo>
                    <a:pt x="143" y="225"/>
                  </a:lnTo>
                  <a:lnTo>
                    <a:pt x="60" y="163"/>
                  </a:lnTo>
                  <a:lnTo>
                    <a:pt x="165" y="163"/>
                  </a:lnTo>
                  <a:lnTo>
                    <a:pt x="169" y="162"/>
                  </a:lnTo>
                  <a:lnTo>
                    <a:pt x="173" y="160"/>
                  </a:lnTo>
                  <a:lnTo>
                    <a:pt x="176" y="157"/>
                  </a:lnTo>
                  <a:lnTo>
                    <a:pt x="178" y="152"/>
                  </a:lnTo>
                  <a:lnTo>
                    <a:pt x="209" y="61"/>
                  </a:lnTo>
                  <a:lnTo>
                    <a:pt x="239" y="152"/>
                  </a:lnTo>
                  <a:lnTo>
                    <a:pt x="242" y="157"/>
                  </a:lnTo>
                  <a:lnTo>
                    <a:pt x="246" y="160"/>
                  </a:lnTo>
                  <a:lnTo>
                    <a:pt x="249" y="162"/>
                  </a:lnTo>
                  <a:lnTo>
                    <a:pt x="254" y="163"/>
                  </a:lnTo>
                  <a:lnTo>
                    <a:pt x="348" y="163"/>
                  </a:lnTo>
                  <a:lnTo>
                    <a:pt x="275" y="226"/>
                  </a:lnTo>
                  <a:close/>
                  <a:moveTo>
                    <a:pt x="389" y="133"/>
                  </a:moveTo>
                  <a:lnTo>
                    <a:pt x="265" y="133"/>
                  </a:lnTo>
                  <a:lnTo>
                    <a:pt x="224" y="10"/>
                  </a:lnTo>
                  <a:lnTo>
                    <a:pt x="222" y="6"/>
                  </a:lnTo>
                  <a:lnTo>
                    <a:pt x="219" y="3"/>
                  </a:lnTo>
                  <a:lnTo>
                    <a:pt x="215" y="0"/>
                  </a:lnTo>
                  <a:lnTo>
                    <a:pt x="209" y="0"/>
                  </a:lnTo>
                  <a:lnTo>
                    <a:pt x="209" y="0"/>
                  </a:lnTo>
                  <a:lnTo>
                    <a:pt x="209" y="0"/>
                  </a:lnTo>
                  <a:lnTo>
                    <a:pt x="205" y="0"/>
                  </a:lnTo>
                  <a:lnTo>
                    <a:pt x="201" y="3"/>
                  </a:lnTo>
                  <a:lnTo>
                    <a:pt x="198" y="6"/>
                  </a:lnTo>
                  <a:lnTo>
                    <a:pt x="196" y="10"/>
                  </a:lnTo>
                  <a:lnTo>
                    <a:pt x="154" y="133"/>
                  </a:lnTo>
                  <a:lnTo>
                    <a:pt x="15" y="133"/>
                  </a:lnTo>
                  <a:lnTo>
                    <a:pt x="11" y="133"/>
                  </a:lnTo>
                  <a:lnTo>
                    <a:pt x="6" y="135"/>
                  </a:lnTo>
                  <a:lnTo>
                    <a:pt x="3" y="138"/>
                  </a:lnTo>
                  <a:lnTo>
                    <a:pt x="1" y="143"/>
                  </a:lnTo>
                  <a:lnTo>
                    <a:pt x="0" y="148"/>
                  </a:lnTo>
                  <a:lnTo>
                    <a:pt x="1" y="152"/>
                  </a:lnTo>
                  <a:lnTo>
                    <a:pt x="3" y="157"/>
                  </a:lnTo>
                  <a:lnTo>
                    <a:pt x="6" y="160"/>
                  </a:lnTo>
                  <a:lnTo>
                    <a:pt x="116" y="242"/>
                  </a:lnTo>
                  <a:lnTo>
                    <a:pt x="61" y="381"/>
                  </a:lnTo>
                  <a:lnTo>
                    <a:pt x="60" y="385"/>
                  </a:lnTo>
                  <a:lnTo>
                    <a:pt x="60" y="391"/>
                  </a:lnTo>
                  <a:lnTo>
                    <a:pt x="62" y="395"/>
                  </a:lnTo>
                  <a:lnTo>
                    <a:pt x="65" y="398"/>
                  </a:lnTo>
                  <a:lnTo>
                    <a:pt x="69" y="400"/>
                  </a:lnTo>
                  <a:lnTo>
                    <a:pt x="74" y="401"/>
                  </a:lnTo>
                  <a:lnTo>
                    <a:pt x="79" y="401"/>
                  </a:lnTo>
                  <a:lnTo>
                    <a:pt x="83" y="399"/>
                  </a:lnTo>
                  <a:lnTo>
                    <a:pt x="209" y="316"/>
                  </a:lnTo>
                  <a:lnTo>
                    <a:pt x="336" y="399"/>
                  </a:lnTo>
                  <a:lnTo>
                    <a:pt x="340" y="401"/>
                  </a:lnTo>
                  <a:lnTo>
                    <a:pt x="344" y="401"/>
                  </a:lnTo>
                  <a:lnTo>
                    <a:pt x="348" y="401"/>
                  </a:lnTo>
                  <a:lnTo>
                    <a:pt x="353" y="398"/>
                  </a:lnTo>
                  <a:lnTo>
                    <a:pt x="356" y="395"/>
                  </a:lnTo>
                  <a:lnTo>
                    <a:pt x="358" y="391"/>
                  </a:lnTo>
                  <a:lnTo>
                    <a:pt x="359" y="387"/>
                  </a:lnTo>
                  <a:lnTo>
                    <a:pt x="358" y="381"/>
                  </a:lnTo>
                  <a:lnTo>
                    <a:pt x="301" y="242"/>
                  </a:lnTo>
                  <a:lnTo>
                    <a:pt x="399" y="159"/>
                  </a:lnTo>
                  <a:lnTo>
                    <a:pt x="401" y="156"/>
                  </a:lnTo>
                  <a:lnTo>
                    <a:pt x="403" y="151"/>
                  </a:lnTo>
                  <a:lnTo>
                    <a:pt x="404" y="147"/>
                  </a:lnTo>
                  <a:lnTo>
                    <a:pt x="403" y="143"/>
                  </a:lnTo>
                  <a:lnTo>
                    <a:pt x="401" y="138"/>
                  </a:lnTo>
                  <a:lnTo>
                    <a:pt x="398" y="135"/>
                  </a:lnTo>
                  <a:lnTo>
                    <a:pt x="393" y="133"/>
                  </a:lnTo>
                  <a:lnTo>
                    <a:pt x="389"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0" name="Freeform 295">
              <a:extLst>
                <a:ext uri="{FF2B5EF4-FFF2-40B4-BE49-F238E27FC236}">
                  <a16:creationId xmlns:a16="http://schemas.microsoft.com/office/drawing/2014/main" id="{B35121B2-31A7-4E27-B4DD-40575D49D752}"/>
                </a:ext>
              </a:extLst>
            </p:cNvPr>
            <p:cNvSpPr>
              <a:spLocks noEditPoints="1"/>
            </p:cNvSpPr>
            <p:nvPr/>
          </p:nvSpPr>
          <p:spPr bwMode="auto">
            <a:xfrm>
              <a:off x="6496050" y="3059113"/>
              <a:ext cx="236538" cy="284162"/>
            </a:xfrm>
            <a:custGeom>
              <a:avLst/>
              <a:gdLst>
                <a:gd name="T0" fmla="*/ 334 w 746"/>
                <a:gd name="T1" fmla="*/ 842 h 897"/>
                <a:gd name="T2" fmla="*/ 279 w 746"/>
                <a:gd name="T3" fmla="*/ 804 h 897"/>
                <a:gd name="T4" fmla="*/ 230 w 746"/>
                <a:gd name="T5" fmla="*/ 760 h 897"/>
                <a:gd name="T6" fmla="*/ 185 w 746"/>
                <a:gd name="T7" fmla="*/ 713 h 897"/>
                <a:gd name="T8" fmla="*/ 146 w 746"/>
                <a:gd name="T9" fmla="*/ 661 h 897"/>
                <a:gd name="T10" fmla="*/ 112 w 746"/>
                <a:gd name="T11" fmla="*/ 605 h 897"/>
                <a:gd name="T12" fmla="*/ 83 w 746"/>
                <a:gd name="T13" fmla="*/ 547 h 897"/>
                <a:gd name="T14" fmla="*/ 60 w 746"/>
                <a:gd name="T15" fmla="*/ 485 h 897"/>
                <a:gd name="T16" fmla="*/ 43 w 746"/>
                <a:gd name="T17" fmla="*/ 422 h 897"/>
                <a:gd name="T18" fmla="*/ 33 w 746"/>
                <a:gd name="T19" fmla="*/ 356 h 897"/>
                <a:gd name="T20" fmla="*/ 29 w 746"/>
                <a:gd name="T21" fmla="*/ 288 h 897"/>
                <a:gd name="T22" fmla="*/ 716 w 746"/>
                <a:gd name="T23" fmla="*/ 288 h 897"/>
                <a:gd name="T24" fmla="*/ 713 w 746"/>
                <a:gd name="T25" fmla="*/ 356 h 897"/>
                <a:gd name="T26" fmla="*/ 703 w 746"/>
                <a:gd name="T27" fmla="*/ 422 h 897"/>
                <a:gd name="T28" fmla="*/ 686 w 746"/>
                <a:gd name="T29" fmla="*/ 485 h 897"/>
                <a:gd name="T30" fmla="*/ 663 w 746"/>
                <a:gd name="T31" fmla="*/ 547 h 897"/>
                <a:gd name="T32" fmla="*/ 634 w 746"/>
                <a:gd name="T33" fmla="*/ 605 h 897"/>
                <a:gd name="T34" fmla="*/ 600 w 746"/>
                <a:gd name="T35" fmla="*/ 661 h 897"/>
                <a:gd name="T36" fmla="*/ 561 w 746"/>
                <a:gd name="T37" fmla="*/ 713 h 897"/>
                <a:gd name="T38" fmla="*/ 516 w 746"/>
                <a:gd name="T39" fmla="*/ 760 h 897"/>
                <a:gd name="T40" fmla="*/ 467 w 746"/>
                <a:gd name="T41" fmla="*/ 804 h 897"/>
                <a:gd name="T42" fmla="*/ 412 w 746"/>
                <a:gd name="T43" fmla="*/ 842 h 897"/>
                <a:gd name="T44" fmla="*/ 716 w 746"/>
                <a:gd name="T45" fmla="*/ 30 h 897"/>
                <a:gd name="T46" fmla="*/ 29 w 746"/>
                <a:gd name="T47" fmla="*/ 30 h 897"/>
                <a:gd name="T48" fmla="*/ 14 w 746"/>
                <a:gd name="T49" fmla="*/ 0 h 897"/>
                <a:gd name="T50" fmla="*/ 7 w 746"/>
                <a:gd name="T51" fmla="*/ 2 h 897"/>
                <a:gd name="T52" fmla="*/ 1 w 746"/>
                <a:gd name="T53" fmla="*/ 9 h 897"/>
                <a:gd name="T54" fmla="*/ 0 w 746"/>
                <a:gd name="T55" fmla="*/ 288 h 897"/>
                <a:gd name="T56" fmla="*/ 4 w 746"/>
                <a:gd name="T57" fmla="*/ 360 h 897"/>
                <a:gd name="T58" fmla="*/ 14 w 746"/>
                <a:gd name="T59" fmla="*/ 430 h 897"/>
                <a:gd name="T60" fmla="*/ 31 w 746"/>
                <a:gd name="T61" fmla="*/ 497 h 897"/>
                <a:gd name="T62" fmla="*/ 56 w 746"/>
                <a:gd name="T63" fmla="*/ 561 h 897"/>
                <a:gd name="T64" fmla="*/ 87 w 746"/>
                <a:gd name="T65" fmla="*/ 623 h 897"/>
                <a:gd name="T66" fmla="*/ 123 w 746"/>
                <a:gd name="T67" fmla="*/ 682 h 897"/>
                <a:gd name="T68" fmla="*/ 166 w 746"/>
                <a:gd name="T69" fmla="*/ 736 h 897"/>
                <a:gd name="T70" fmla="*/ 213 w 746"/>
                <a:gd name="T71" fmla="*/ 786 h 897"/>
                <a:gd name="T72" fmla="*/ 267 w 746"/>
                <a:gd name="T73" fmla="*/ 832 h 897"/>
                <a:gd name="T74" fmla="*/ 324 w 746"/>
                <a:gd name="T75" fmla="*/ 871 h 897"/>
                <a:gd name="T76" fmla="*/ 369 w 746"/>
                <a:gd name="T77" fmla="*/ 897 h 897"/>
                <a:gd name="T78" fmla="*/ 380 w 746"/>
                <a:gd name="T79" fmla="*/ 895 h 897"/>
                <a:gd name="T80" fmla="*/ 441 w 746"/>
                <a:gd name="T81" fmla="*/ 858 h 897"/>
                <a:gd name="T82" fmla="*/ 498 w 746"/>
                <a:gd name="T83" fmla="*/ 817 h 897"/>
                <a:gd name="T84" fmla="*/ 549 w 746"/>
                <a:gd name="T85" fmla="*/ 770 h 897"/>
                <a:gd name="T86" fmla="*/ 595 w 746"/>
                <a:gd name="T87" fmla="*/ 718 h 897"/>
                <a:gd name="T88" fmla="*/ 636 w 746"/>
                <a:gd name="T89" fmla="*/ 663 h 897"/>
                <a:gd name="T90" fmla="*/ 670 w 746"/>
                <a:gd name="T91" fmla="*/ 603 h 897"/>
                <a:gd name="T92" fmla="*/ 699 w 746"/>
                <a:gd name="T93" fmla="*/ 540 h 897"/>
                <a:gd name="T94" fmla="*/ 720 w 746"/>
                <a:gd name="T95" fmla="*/ 475 h 897"/>
                <a:gd name="T96" fmla="*/ 736 w 746"/>
                <a:gd name="T97" fmla="*/ 406 h 897"/>
                <a:gd name="T98" fmla="*/ 745 w 746"/>
                <a:gd name="T99" fmla="*/ 337 h 897"/>
                <a:gd name="T100" fmla="*/ 746 w 746"/>
                <a:gd name="T101" fmla="*/ 15 h 897"/>
                <a:gd name="T102" fmla="*/ 744 w 746"/>
                <a:gd name="T103" fmla="*/ 6 h 897"/>
                <a:gd name="T104" fmla="*/ 737 w 746"/>
                <a:gd name="T105" fmla="*/ 1 h 897"/>
                <a:gd name="T106" fmla="*/ 731 w 746"/>
                <a:gd name="T107" fmla="*/ 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6" h="897">
                  <a:moveTo>
                    <a:pt x="372" y="865"/>
                  </a:moveTo>
                  <a:lnTo>
                    <a:pt x="353" y="854"/>
                  </a:lnTo>
                  <a:lnTo>
                    <a:pt x="334" y="842"/>
                  </a:lnTo>
                  <a:lnTo>
                    <a:pt x="316" y="830"/>
                  </a:lnTo>
                  <a:lnTo>
                    <a:pt x="298" y="817"/>
                  </a:lnTo>
                  <a:lnTo>
                    <a:pt x="279" y="804"/>
                  </a:lnTo>
                  <a:lnTo>
                    <a:pt x="262" y="790"/>
                  </a:lnTo>
                  <a:lnTo>
                    <a:pt x="246" y="775"/>
                  </a:lnTo>
                  <a:lnTo>
                    <a:pt x="230" y="760"/>
                  </a:lnTo>
                  <a:lnTo>
                    <a:pt x="214" y="745"/>
                  </a:lnTo>
                  <a:lnTo>
                    <a:pt x="199" y="729"/>
                  </a:lnTo>
                  <a:lnTo>
                    <a:pt x="185" y="713"/>
                  </a:lnTo>
                  <a:lnTo>
                    <a:pt x="171" y="696"/>
                  </a:lnTo>
                  <a:lnTo>
                    <a:pt x="158" y="679"/>
                  </a:lnTo>
                  <a:lnTo>
                    <a:pt x="146" y="661"/>
                  </a:lnTo>
                  <a:lnTo>
                    <a:pt x="133" y="642"/>
                  </a:lnTo>
                  <a:lnTo>
                    <a:pt x="122" y="624"/>
                  </a:lnTo>
                  <a:lnTo>
                    <a:pt x="112" y="605"/>
                  </a:lnTo>
                  <a:lnTo>
                    <a:pt x="101" y="587"/>
                  </a:lnTo>
                  <a:lnTo>
                    <a:pt x="91" y="567"/>
                  </a:lnTo>
                  <a:lnTo>
                    <a:pt x="83" y="547"/>
                  </a:lnTo>
                  <a:lnTo>
                    <a:pt x="74" y="527"/>
                  </a:lnTo>
                  <a:lnTo>
                    <a:pt x="67" y="507"/>
                  </a:lnTo>
                  <a:lnTo>
                    <a:pt x="60" y="485"/>
                  </a:lnTo>
                  <a:lnTo>
                    <a:pt x="54" y="465"/>
                  </a:lnTo>
                  <a:lnTo>
                    <a:pt x="48" y="444"/>
                  </a:lnTo>
                  <a:lnTo>
                    <a:pt x="43" y="422"/>
                  </a:lnTo>
                  <a:lnTo>
                    <a:pt x="39" y="400"/>
                  </a:lnTo>
                  <a:lnTo>
                    <a:pt x="36" y="378"/>
                  </a:lnTo>
                  <a:lnTo>
                    <a:pt x="33" y="356"/>
                  </a:lnTo>
                  <a:lnTo>
                    <a:pt x="31" y="333"/>
                  </a:lnTo>
                  <a:lnTo>
                    <a:pt x="30" y="311"/>
                  </a:lnTo>
                  <a:lnTo>
                    <a:pt x="29" y="288"/>
                  </a:lnTo>
                  <a:lnTo>
                    <a:pt x="29" y="149"/>
                  </a:lnTo>
                  <a:lnTo>
                    <a:pt x="716" y="149"/>
                  </a:lnTo>
                  <a:lnTo>
                    <a:pt x="716" y="288"/>
                  </a:lnTo>
                  <a:lnTo>
                    <a:pt x="716" y="311"/>
                  </a:lnTo>
                  <a:lnTo>
                    <a:pt x="715" y="333"/>
                  </a:lnTo>
                  <a:lnTo>
                    <a:pt x="713" y="356"/>
                  </a:lnTo>
                  <a:lnTo>
                    <a:pt x="710" y="378"/>
                  </a:lnTo>
                  <a:lnTo>
                    <a:pt x="707" y="400"/>
                  </a:lnTo>
                  <a:lnTo>
                    <a:pt x="703" y="422"/>
                  </a:lnTo>
                  <a:lnTo>
                    <a:pt x="698" y="444"/>
                  </a:lnTo>
                  <a:lnTo>
                    <a:pt x="692" y="465"/>
                  </a:lnTo>
                  <a:lnTo>
                    <a:pt x="686" y="485"/>
                  </a:lnTo>
                  <a:lnTo>
                    <a:pt x="679" y="507"/>
                  </a:lnTo>
                  <a:lnTo>
                    <a:pt x="672" y="527"/>
                  </a:lnTo>
                  <a:lnTo>
                    <a:pt x="663" y="547"/>
                  </a:lnTo>
                  <a:lnTo>
                    <a:pt x="655" y="567"/>
                  </a:lnTo>
                  <a:lnTo>
                    <a:pt x="645" y="587"/>
                  </a:lnTo>
                  <a:lnTo>
                    <a:pt x="634" y="605"/>
                  </a:lnTo>
                  <a:lnTo>
                    <a:pt x="624" y="624"/>
                  </a:lnTo>
                  <a:lnTo>
                    <a:pt x="612" y="642"/>
                  </a:lnTo>
                  <a:lnTo>
                    <a:pt x="600" y="661"/>
                  </a:lnTo>
                  <a:lnTo>
                    <a:pt x="587" y="679"/>
                  </a:lnTo>
                  <a:lnTo>
                    <a:pt x="575" y="696"/>
                  </a:lnTo>
                  <a:lnTo>
                    <a:pt x="561" y="713"/>
                  </a:lnTo>
                  <a:lnTo>
                    <a:pt x="547" y="729"/>
                  </a:lnTo>
                  <a:lnTo>
                    <a:pt x="532" y="745"/>
                  </a:lnTo>
                  <a:lnTo>
                    <a:pt x="516" y="760"/>
                  </a:lnTo>
                  <a:lnTo>
                    <a:pt x="500" y="775"/>
                  </a:lnTo>
                  <a:lnTo>
                    <a:pt x="484" y="790"/>
                  </a:lnTo>
                  <a:lnTo>
                    <a:pt x="467" y="804"/>
                  </a:lnTo>
                  <a:lnTo>
                    <a:pt x="448" y="817"/>
                  </a:lnTo>
                  <a:lnTo>
                    <a:pt x="430" y="830"/>
                  </a:lnTo>
                  <a:lnTo>
                    <a:pt x="412" y="842"/>
                  </a:lnTo>
                  <a:lnTo>
                    <a:pt x="393" y="854"/>
                  </a:lnTo>
                  <a:lnTo>
                    <a:pt x="372" y="865"/>
                  </a:lnTo>
                  <a:close/>
                  <a:moveTo>
                    <a:pt x="716" y="30"/>
                  </a:moveTo>
                  <a:lnTo>
                    <a:pt x="716" y="119"/>
                  </a:lnTo>
                  <a:lnTo>
                    <a:pt x="29" y="119"/>
                  </a:lnTo>
                  <a:lnTo>
                    <a:pt x="29" y="30"/>
                  </a:lnTo>
                  <a:lnTo>
                    <a:pt x="716" y="30"/>
                  </a:lnTo>
                  <a:close/>
                  <a:moveTo>
                    <a:pt x="731" y="0"/>
                  </a:moveTo>
                  <a:lnTo>
                    <a:pt x="14" y="0"/>
                  </a:lnTo>
                  <a:lnTo>
                    <a:pt x="12" y="0"/>
                  </a:lnTo>
                  <a:lnTo>
                    <a:pt x="9" y="1"/>
                  </a:lnTo>
                  <a:lnTo>
                    <a:pt x="7" y="2"/>
                  </a:lnTo>
                  <a:lnTo>
                    <a:pt x="5" y="4"/>
                  </a:lnTo>
                  <a:lnTo>
                    <a:pt x="2" y="6"/>
                  </a:lnTo>
                  <a:lnTo>
                    <a:pt x="1" y="9"/>
                  </a:lnTo>
                  <a:lnTo>
                    <a:pt x="0" y="11"/>
                  </a:lnTo>
                  <a:lnTo>
                    <a:pt x="0" y="15"/>
                  </a:lnTo>
                  <a:lnTo>
                    <a:pt x="0" y="288"/>
                  </a:lnTo>
                  <a:lnTo>
                    <a:pt x="0" y="313"/>
                  </a:lnTo>
                  <a:lnTo>
                    <a:pt x="1" y="337"/>
                  </a:lnTo>
                  <a:lnTo>
                    <a:pt x="4" y="360"/>
                  </a:lnTo>
                  <a:lnTo>
                    <a:pt x="7" y="384"/>
                  </a:lnTo>
                  <a:lnTo>
                    <a:pt x="10" y="406"/>
                  </a:lnTo>
                  <a:lnTo>
                    <a:pt x="14" y="430"/>
                  </a:lnTo>
                  <a:lnTo>
                    <a:pt x="20" y="452"/>
                  </a:lnTo>
                  <a:lnTo>
                    <a:pt x="25" y="475"/>
                  </a:lnTo>
                  <a:lnTo>
                    <a:pt x="31" y="497"/>
                  </a:lnTo>
                  <a:lnTo>
                    <a:pt x="39" y="518"/>
                  </a:lnTo>
                  <a:lnTo>
                    <a:pt x="47" y="540"/>
                  </a:lnTo>
                  <a:lnTo>
                    <a:pt x="56" y="561"/>
                  </a:lnTo>
                  <a:lnTo>
                    <a:pt x="66" y="583"/>
                  </a:lnTo>
                  <a:lnTo>
                    <a:pt x="76" y="603"/>
                  </a:lnTo>
                  <a:lnTo>
                    <a:pt x="87" y="623"/>
                  </a:lnTo>
                  <a:lnTo>
                    <a:pt x="98" y="644"/>
                  </a:lnTo>
                  <a:lnTo>
                    <a:pt x="110" y="663"/>
                  </a:lnTo>
                  <a:lnTo>
                    <a:pt x="123" y="682"/>
                  </a:lnTo>
                  <a:lnTo>
                    <a:pt x="137" y="700"/>
                  </a:lnTo>
                  <a:lnTo>
                    <a:pt x="151" y="718"/>
                  </a:lnTo>
                  <a:lnTo>
                    <a:pt x="166" y="736"/>
                  </a:lnTo>
                  <a:lnTo>
                    <a:pt x="181" y="754"/>
                  </a:lnTo>
                  <a:lnTo>
                    <a:pt x="197" y="770"/>
                  </a:lnTo>
                  <a:lnTo>
                    <a:pt x="213" y="786"/>
                  </a:lnTo>
                  <a:lnTo>
                    <a:pt x="230" y="802"/>
                  </a:lnTo>
                  <a:lnTo>
                    <a:pt x="248" y="817"/>
                  </a:lnTo>
                  <a:lnTo>
                    <a:pt x="267" y="832"/>
                  </a:lnTo>
                  <a:lnTo>
                    <a:pt x="286" y="846"/>
                  </a:lnTo>
                  <a:lnTo>
                    <a:pt x="305" y="858"/>
                  </a:lnTo>
                  <a:lnTo>
                    <a:pt x="324" y="871"/>
                  </a:lnTo>
                  <a:lnTo>
                    <a:pt x="345" y="884"/>
                  </a:lnTo>
                  <a:lnTo>
                    <a:pt x="366" y="895"/>
                  </a:lnTo>
                  <a:lnTo>
                    <a:pt x="369" y="897"/>
                  </a:lnTo>
                  <a:lnTo>
                    <a:pt x="372" y="897"/>
                  </a:lnTo>
                  <a:lnTo>
                    <a:pt x="377" y="897"/>
                  </a:lnTo>
                  <a:lnTo>
                    <a:pt x="380" y="895"/>
                  </a:lnTo>
                  <a:lnTo>
                    <a:pt x="400" y="884"/>
                  </a:lnTo>
                  <a:lnTo>
                    <a:pt x="422" y="871"/>
                  </a:lnTo>
                  <a:lnTo>
                    <a:pt x="441" y="858"/>
                  </a:lnTo>
                  <a:lnTo>
                    <a:pt x="460" y="846"/>
                  </a:lnTo>
                  <a:lnTo>
                    <a:pt x="479" y="832"/>
                  </a:lnTo>
                  <a:lnTo>
                    <a:pt x="498" y="817"/>
                  </a:lnTo>
                  <a:lnTo>
                    <a:pt x="515" y="802"/>
                  </a:lnTo>
                  <a:lnTo>
                    <a:pt x="532" y="786"/>
                  </a:lnTo>
                  <a:lnTo>
                    <a:pt x="549" y="770"/>
                  </a:lnTo>
                  <a:lnTo>
                    <a:pt x="565" y="754"/>
                  </a:lnTo>
                  <a:lnTo>
                    <a:pt x="580" y="737"/>
                  </a:lnTo>
                  <a:lnTo>
                    <a:pt x="595" y="718"/>
                  </a:lnTo>
                  <a:lnTo>
                    <a:pt x="609" y="700"/>
                  </a:lnTo>
                  <a:lnTo>
                    <a:pt x="623" y="682"/>
                  </a:lnTo>
                  <a:lnTo>
                    <a:pt x="636" y="663"/>
                  </a:lnTo>
                  <a:lnTo>
                    <a:pt x="647" y="644"/>
                  </a:lnTo>
                  <a:lnTo>
                    <a:pt x="659" y="623"/>
                  </a:lnTo>
                  <a:lnTo>
                    <a:pt x="670" y="603"/>
                  </a:lnTo>
                  <a:lnTo>
                    <a:pt x="680" y="583"/>
                  </a:lnTo>
                  <a:lnTo>
                    <a:pt x="690" y="561"/>
                  </a:lnTo>
                  <a:lnTo>
                    <a:pt x="699" y="540"/>
                  </a:lnTo>
                  <a:lnTo>
                    <a:pt x="706" y="518"/>
                  </a:lnTo>
                  <a:lnTo>
                    <a:pt x="714" y="497"/>
                  </a:lnTo>
                  <a:lnTo>
                    <a:pt x="720" y="475"/>
                  </a:lnTo>
                  <a:lnTo>
                    <a:pt x="726" y="452"/>
                  </a:lnTo>
                  <a:lnTo>
                    <a:pt x="732" y="430"/>
                  </a:lnTo>
                  <a:lnTo>
                    <a:pt x="736" y="406"/>
                  </a:lnTo>
                  <a:lnTo>
                    <a:pt x="739" y="384"/>
                  </a:lnTo>
                  <a:lnTo>
                    <a:pt x="742" y="360"/>
                  </a:lnTo>
                  <a:lnTo>
                    <a:pt x="745" y="337"/>
                  </a:lnTo>
                  <a:lnTo>
                    <a:pt x="746" y="313"/>
                  </a:lnTo>
                  <a:lnTo>
                    <a:pt x="746" y="288"/>
                  </a:lnTo>
                  <a:lnTo>
                    <a:pt x="746" y="15"/>
                  </a:lnTo>
                  <a:lnTo>
                    <a:pt x="746" y="11"/>
                  </a:lnTo>
                  <a:lnTo>
                    <a:pt x="745" y="9"/>
                  </a:lnTo>
                  <a:lnTo>
                    <a:pt x="744" y="6"/>
                  </a:lnTo>
                  <a:lnTo>
                    <a:pt x="741" y="4"/>
                  </a:lnTo>
                  <a:lnTo>
                    <a:pt x="739" y="3"/>
                  </a:lnTo>
                  <a:lnTo>
                    <a:pt x="737" y="1"/>
                  </a:lnTo>
                  <a:lnTo>
                    <a:pt x="734" y="0"/>
                  </a:lnTo>
                  <a:lnTo>
                    <a:pt x="731" y="0"/>
                  </a:lnTo>
                  <a:lnTo>
                    <a:pt x="7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21" name="Group 15">
            <a:extLst>
              <a:ext uri="{FF2B5EF4-FFF2-40B4-BE49-F238E27FC236}">
                <a16:creationId xmlns:a16="http://schemas.microsoft.com/office/drawing/2014/main" id="{9A2A8F3B-023D-403E-A9A9-0E4C5BC98644}"/>
              </a:ext>
            </a:extLst>
          </p:cNvPr>
          <p:cNvGrpSpPr>
            <a:grpSpLocks noChangeAspect="1"/>
          </p:cNvGrpSpPr>
          <p:nvPr/>
        </p:nvGrpSpPr>
        <p:grpSpPr>
          <a:xfrm>
            <a:off x="671400" y="2724897"/>
            <a:ext cx="307606" cy="305545"/>
            <a:chOff x="5507038" y="2324101"/>
            <a:chExt cx="711200" cy="706438"/>
          </a:xfrm>
          <a:solidFill>
            <a:schemeClr val="bg2"/>
          </a:solidFill>
          <a:effectLst/>
        </p:grpSpPr>
        <p:sp>
          <p:nvSpPr>
            <p:cNvPr id="322" name="Freeform 23">
              <a:extLst>
                <a:ext uri="{FF2B5EF4-FFF2-40B4-BE49-F238E27FC236}">
                  <a16:creationId xmlns:a16="http://schemas.microsoft.com/office/drawing/2014/main" id="{593BD56F-656E-4DCC-835B-4D91F6F65F07}"/>
                </a:ext>
              </a:extLst>
            </p:cNvPr>
            <p:cNvSpPr>
              <a:spLocks/>
            </p:cNvSpPr>
            <p:nvPr/>
          </p:nvSpPr>
          <p:spPr bwMode="auto">
            <a:xfrm>
              <a:off x="5575300" y="2374901"/>
              <a:ext cx="250825" cy="176213"/>
            </a:xfrm>
            <a:custGeom>
              <a:avLst/>
              <a:gdLst>
                <a:gd name="T0" fmla="*/ 758 w 790"/>
                <a:gd name="T1" fmla="*/ 78 h 559"/>
                <a:gd name="T2" fmla="*/ 772 w 790"/>
                <a:gd name="T3" fmla="*/ 72 h 559"/>
                <a:gd name="T4" fmla="*/ 783 w 790"/>
                <a:gd name="T5" fmla="*/ 61 h 559"/>
                <a:gd name="T6" fmla="*/ 789 w 790"/>
                <a:gd name="T7" fmla="*/ 48 h 559"/>
                <a:gd name="T8" fmla="*/ 789 w 790"/>
                <a:gd name="T9" fmla="*/ 31 h 559"/>
                <a:gd name="T10" fmla="*/ 783 w 790"/>
                <a:gd name="T11" fmla="*/ 18 h 559"/>
                <a:gd name="T12" fmla="*/ 772 w 790"/>
                <a:gd name="T13" fmla="*/ 6 h 559"/>
                <a:gd name="T14" fmla="*/ 758 w 790"/>
                <a:gd name="T15" fmla="*/ 0 h 559"/>
                <a:gd name="T16" fmla="*/ 749 w 790"/>
                <a:gd name="T17" fmla="*/ 0 h 559"/>
                <a:gd name="T18" fmla="*/ 689 w 790"/>
                <a:gd name="T19" fmla="*/ 2 h 559"/>
                <a:gd name="T20" fmla="*/ 627 w 790"/>
                <a:gd name="T21" fmla="*/ 9 h 559"/>
                <a:gd name="T22" fmla="*/ 569 w 790"/>
                <a:gd name="T23" fmla="*/ 20 h 559"/>
                <a:gd name="T24" fmla="*/ 511 w 790"/>
                <a:gd name="T25" fmla="*/ 36 h 559"/>
                <a:gd name="T26" fmla="*/ 455 w 790"/>
                <a:gd name="T27" fmla="*/ 55 h 559"/>
                <a:gd name="T28" fmla="*/ 400 w 790"/>
                <a:gd name="T29" fmla="*/ 78 h 559"/>
                <a:gd name="T30" fmla="*/ 349 w 790"/>
                <a:gd name="T31" fmla="*/ 106 h 559"/>
                <a:gd name="T32" fmla="*/ 298 w 790"/>
                <a:gd name="T33" fmla="*/ 137 h 559"/>
                <a:gd name="T34" fmla="*/ 251 w 790"/>
                <a:gd name="T35" fmla="*/ 172 h 559"/>
                <a:gd name="T36" fmla="*/ 207 w 790"/>
                <a:gd name="T37" fmla="*/ 210 h 559"/>
                <a:gd name="T38" fmla="*/ 164 w 790"/>
                <a:gd name="T39" fmla="*/ 252 h 559"/>
                <a:gd name="T40" fmla="*/ 125 w 790"/>
                <a:gd name="T41" fmla="*/ 296 h 559"/>
                <a:gd name="T42" fmla="*/ 89 w 790"/>
                <a:gd name="T43" fmla="*/ 344 h 559"/>
                <a:gd name="T44" fmla="*/ 57 w 790"/>
                <a:gd name="T45" fmla="*/ 395 h 559"/>
                <a:gd name="T46" fmla="*/ 28 w 790"/>
                <a:gd name="T47" fmla="*/ 449 h 559"/>
                <a:gd name="T48" fmla="*/ 3 w 790"/>
                <a:gd name="T49" fmla="*/ 505 h 559"/>
                <a:gd name="T50" fmla="*/ 0 w 790"/>
                <a:gd name="T51" fmla="*/ 520 h 559"/>
                <a:gd name="T52" fmla="*/ 3 w 790"/>
                <a:gd name="T53" fmla="*/ 535 h 559"/>
                <a:gd name="T54" fmla="*/ 12 w 790"/>
                <a:gd name="T55" fmla="*/ 548 h 559"/>
                <a:gd name="T56" fmla="*/ 24 w 790"/>
                <a:gd name="T57" fmla="*/ 556 h 559"/>
                <a:gd name="T58" fmla="*/ 40 w 790"/>
                <a:gd name="T59" fmla="*/ 559 h 559"/>
                <a:gd name="T60" fmla="*/ 51 w 790"/>
                <a:gd name="T61" fmla="*/ 557 h 559"/>
                <a:gd name="T62" fmla="*/ 61 w 790"/>
                <a:gd name="T63" fmla="*/ 553 h 559"/>
                <a:gd name="T64" fmla="*/ 70 w 790"/>
                <a:gd name="T65" fmla="*/ 545 h 559"/>
                <a:gd name="T66" fmla="*/ 77 w 790"/>
                <a:gd name="T67" fmla="*/ 535 h 559"/>
                <a:gd name="T68" fmla="*/ 99 w 790"/>
                <a:gd name="T69" fmla="*/ 483 h 559"/>
                <a:gd name="T70" fmla="*/ 125 w 790"/>
                <a:gd name="T71" fmla="*/ 435 h 559"/>
                <a:gd name="T72" fmla="*/ 155 w 790"/>
                <a:gd name="T73" fmla="*/ 389 h 559"/>
                <a:gd name="T74" fmla="*/ 187 w 790"/>
                <a:gd name="T75" fmla="*/ 347 h 559"/>
                <a:gd name="T76" fmla="*/ 222 w 790"/>
                <a:gd name="T77" fmla="*/ 306 h 559"/>
                <a:gd name="T78" fmla="*/ 260 w 790"/>
                <a:gd name="T79" fmla="*/ 269 h 559"/>
                <a:gd name="T80" fmla="*/ 301 w 790"/>
                <a:gd name="T81" fmla="*/ 235 h 559"/>
                <a:gd name="T82" fmla="*/ 343 w 790"/>
                <a:gd name="T83" fmla="*/ 203 h 559"/>
                <a:gd name="T84" fmla="*/ 388 w 790"/>
                <a:gd name="T85" fmla="*/ 175 h 559"/>
                <a:gd name="T86" fmla="*/ 435 w 790"/>
                <a:gd name="T87" fmla="*/ 151 h 559"/>
                <a:gd name="T88" fmla="*/ 484 w 790"/>
                <a:gd name="T89" fmla="*/ 130 h 559"/>
                <a:gd name="T90" fmla="*/ 535 w 790"/>
                <a:gd name="T91" fmla="*/ 112 h 559"/>
                <a:gd name="T92" fmla="*/ 587 w 790"/>
                <a:gd name="T93" fmla="*/ 98 h 559"/>
                <a:gd name="T94" fmla="*/ 640 w 790"/>
                <a:gd name="T95" fmla="*/ 88 h 559"/>
                <a:gd name="T96" fmla="*/ 695 w 790"/>
                <a:gd name="T97" fmla="*/ 81 h 559"/>
                <a:gd name="T98" fmla="*/ 749 w 790"/>
                <a:gd name="T99" fmla="*/ 7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0" h="559">
                  <a:moveTo>
                    <a:pt x="749" y="79"/>
                  </a:moveTo>
                  <a:lnTo>
                    <a:pt x="758" y="78"/>
                  </a:lnTo>
                  <a:lnTo>
                    <a:pt x="765" y="76"/>
                  </a:lnTo>
                  <a:lnTo>
                    <a:pt x="772" y="72"/>
                  </a:lnTo>
                  <a:lnTo>
                    <a:pt x="779" y="68"/>
                  </a:lnTo>
                  <a:lnTo>
                    <a:pt x="783" y="61"/>
                  </a:lnTo>
                  <a:lnTo>
                    <a:pt x="786" y="55"/>
                  </a:lnTo>
                  <a:lnTo>
                    <a:pt x="789" y="48"/>
                  </a:lnTo>
                  <a:lnTo>
                    <a:pt x="790" y="39"/>
                  </a:lnTo>
                  <a:lnTo>
                    <a:pt x="789" y="31"/>
                  </a:lnTo>
                  <a:lnTo>
                    <a:pt x="786" y="24"/>
                  </a:lnTo>
                  <a:lnTo>
                    <a:pt x="783" y="18"/>
                  </a:lnTo>
                  <a:lnTo>
                    <a:pt x="779" y="11"/>
                  </a:lnTo>
                  <a:lnTo>
                    <a:pt x="772" y="6"/>
                  </a:lnTo>
                  <a:lnTo>
                    <a:pt x="765" y="3"/>
                  </a:lnTo>
                  <a:lnTo>
                    <a:pt x="758" y="0"/>
                  </a:lnTo>
                  <a:lnTo>
                    <a:pt x="749" y="0"/>
                  </a:lnTo>
                  <a:lnTo>
                    <a:pt x="749" y="0"/>
                  </a:lnTo>
                  <a:lnTo>
                    <a:pt x="719" y="0"/>
                  </a:lnTo>
                  <a:lnTo>
                    <a:pt x="689" y="2"/>
                  </a:lnTo>
                  <a:lnTo>
                    <a:pt x="658" y="4"/>
                  </a:lnTo>
                  <a:lnTo>
                    <a:pt x="627" y="9"/>
                  </a:lnTo>
                  <a:lnTo>
                    <a:pt x="598" y="13"/>
                  </a:lnTo>
                  <a:lnTo>
                    <a:pt x="569" y="20"/>
                  </a:lnTo>
                  <a:lnTo>
                    <a:pt x="540" y="27"/>
                  </a:lnTo>
                  <a:lnTo>
                    <a:pt x="511" y="36"/>
                  </a:lnTo>
                  <a:lnTo>
                    <a:pt x="483" y="44"/>
                  </a:lnTo>
                  <a:lnTo>
                    <a:pt x="455" y="55"/>
                  </a:lnTo>
                  <a:lnTo>
                    <a:pt x="427" y="66"/>
                  </a:lnTo>
                  <a:lnTo>
                    <a:pt x="400" y="78"/>
                  </a:lnTo>
                  <a:lnTo>
                    <a:pt x="375" y="91"/>
                  </a:lnTo>
                  <a:lnTo>
                    <a:pt x="349" y="106"/>
                  </a:lnTo>
                  <a:lnTo>
                    <a:pt x="323" y="121"/>
                  </a:lnTo>
                  <a:lnTo>
                    <a:pt x="298" y="137"/>
                  </a:lnTo>
                  <a:lnTo>
                    <a:pt x="275" y="154"/>
                  </a:lnTo>
                  <a:lnTo>
                    <a:pt x="251" y="172"/>
                  </a:lnTo>
                  <a:lnTo>
                    <a:pt x="228" y="190"/>
                  </a:lnTo>
                  <a:lnTo>
                    <a:pt x="207" y="210"/>
                  </a:lnTo>
                  <a:lnTo>
                    <a:pt x="184" y="230"/>
                  </a:lnTo>
                  <a:lnTo>
                    <a:pt x="164" y="252"/>
                  </a:lnTo>
                  <a:lnTo>
                    <a:pt x="144" y="274"/>
                  </a:lnTo>
                  <a:lnTo>
                    <a:pt x="125" y="296"/>
                  </a:lnTo>
                  <a:lnTo>
                    <a:pt x="107" y="320"/>
                  </a:lnTo>
                  <a:lnTo>
                    <a:pt x="89" y="344"/>
                  </a:lnTo>
                  <a:lnTo>
                    <a:pt x="72" y="369"/>
                  </a:lnTo>
                  <a:lnTo>
                    <a:pt x="57" y="395"/>
                  </a:lnTo>
                  <a:lnTo>
                    <a:pt x="42" y="421"/>
                  </a:lnTo>
                  <a:lnTo>
                    <a:pt x="28" y="449"/>
                  </a:lnTo>
                  <a:lnTo>
                    <a:pt x="14" y="475"/>
                  </a:lnTo>
                  <a:lnTo>
                    <a:pt x="3" y="505"/>
                  </a:lnTo>
                  <a:lnTo>
                    <a:pt x="1" y="512"/>
                  </a:lnTo>
                  <a:lnTo>
                    <a:pt x="0" y="520"/>
                  </a:lnTo>
                  <a:lnTo>
                    <a:pt x="1" y="528"/>
                  </a:lnTo>
                  <a:lnTo>
                    <a:pt x="3" y="535"/>
                  </a:lnTo>
                  <a:lnTo>
                    <a:pt x="6" y="541"/>
                  </a:lnTo>
                  <a:lnTo>
                    <a:pt x="12" y="548"/>
                  </a:lnTo>
                  <a:lnTo>
                    <a:pt x="18" y="553"/>
                  </a:lnTo>
                  <a:lnTo>
                    <a:pt x="24" y="556"/>
                  </a:lnTo>
                  <a:lnTo>
                    <a:pt x="32" y="558"/>
                  </a:lnTo>
                  <a:lnTo>
                    <a:pt x="40" y="559"/>
                  </a:lnTo>
                  <a:lnTo>
                    <a:pt x="46" y="559"/>
                  </a:lnTo>
                  <a:lnTo>
                    <a:pt x="51" y="557"/>
                  </a:lnTo>
                  <a:lnTo>
                    <a:pt x="57" y="556"/>
                  </a:lnTo>
                  <a:lnTo>
                    <a:pt x="61" y="553"/>
                  </a:lnTo>
                  <a:lnTo>
                    <a:pt x="67" y="549"/>
                  </a:lnTo>
                  <a:lnTo>
                    <a:pt x="70" y="545"/>
                  </a:lnTo>
                  <a:lnTo>
                    <a:pt x="74" y="540"/>
                  </a:lnTo>
                  <a:lnTo>
                    <a:pt x="77" y="535"/>
                  </a:lnTo>
                  <a:lnTo>
                    <a:pt x="88" y="509"/>
                  </a:lnTo>
                  <a:lnTo>
                    <a:pt x="99" y="483"/>
                  </a:lnTo>
                  <a:lnTo>
                    <a:pt x="112" y="460"/>
                  </a:lnTo>
                  <a:lnTo>
                    <a:pt x="125" y="435"/>
                  </a:lnTo>
                  <a:lnTo>
                    <a:pt x="140" y="413"/>
                  </a:lnTo>
                  <a:lnTo>
                    <a:pt x="155" y="389"/>
                  </a:lnTo>
                  <a:lnTo>
                    <a:pt x="171" y="368"/>
                  </a:lnTo>
                  <a:lnTo>
                    <a:pt x="187" y="347"/>
                  </a:lnTo>
                  <a:lnTo>
                    <a:pt x="204" y="327"/>
                  </a:lnTo>
                  <a:lnTo>
                    <a:pt x="222" y="306"/>
                  </a:lnTo>
                  <a:lnTo>
                    <a:pt x="241" y="287"/>
                  </a:lnTo>
                  <a:lnTo>
                    <a:pt x="260" y="269"/>
                  </a:lnTo>
                  <a:lnTo>
                    <a:pt x="281" y="252"/>
                  </a:lnTo>
                  <a:lnTo>
                    <a:pt x="301" y="235"/>
                  </a:lnTo>
                  <a:lnTo>
                    <a:pt x="322" y="219"/>
                  </a:lnTo>
                  <a:lnTo>
                    <a:pt x="343" y="203"/>
                  </a:lnTo>
                  <a:lnTo>
                    <a:pt x="366" y="189"/>
                  </a:lnTo>
                  <a:lnTo>
                    <a:pt x="388" y="175"/>
                  </a:lnTo>
                  <a:lnTo>
                    <a:pt x="411" y="162"/>
                  </a:lnTo>
                  <a:lnTo>
                    <a:pt x="435" y="151"/>
                  </a:lnTo>
                  <a:lnTo>
                    <a:pt x="460" y="140"/>
                  </a:lnTo>
                  <a:lnTo>
                    <a:pt x="484" y="130"/>
                  </a:lnTo>
                  <a:lnTo>
                    <a:pt x="509" y="121"/>
                  </a:lnTo>
                  <a:lnTo>
                    <a:pt x="535" y="112"/>
                  </a:lnTo>
                  <a:lnTo>
                    <a:pt x="560" y="104"/>
                  </a:lnTo>
                  <a:lnTo>
                    <a:pt x="587" y="98"/>
                  </a:lnTo>
                  <a:lnTo>
                    <a:pt x="613" y="93"/>
                  </a:lnTo>
                  <a:lnTo>
                    <a:pt x="640" y="88"/>
                  </a:lnTo>
                  <a:lnTo>
                    <a:pt x="668" y="84"/>
                  </a:lnTo>
                  <a:lnTo>
                    <a:pt x="695" y="81"/>
                  </a:lnTo>
                  <a:lnTo>
                    <a:pt x="723" y="80"/>
                  </a:lnTo>
                  <a:lnTo>
                    <a:pt x="7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24">
              <a:extLst>
                <a:ext uri="{FF2B5EF4-FFF2-40B4-BE49-F238E27FC236}">
                  <a16:creationId xmlns:a16="http://schemas.microsoft.com/office/drawing/2014/main" id="{35E45EC4-1F48-417F-85ED-6E636446C058}"/>
                </a:ext>
              </a:extLst>
            </p:cNvPr>
            <p:cNvSpPr>
              <a:spLocks/>
            </p:cNvSpPr>
            <p:nvPr/>
          </p:nvSpPr>
          <p:spPr bwMode="auto">
            <a:xfrm>
              <a:off x="5557838" y="2574926"/>
              <a:ext cx="30163" cy="68263"/>
            </a:xfrm>
            <a:custGeom>
              <a:avLst/>
              <a:gdLst>
                <a:gd name="T0" fmla="*/ 58 w 92"/>
                <a:gd name="T1" fmla="*/ 0 h 215"/>
                <a:gd name="T2" fmla="*/ 50 w 92"/>
                <a:gd name="T3" fmla="*/ 0 h 215"/>
                <a:gd name="T4" fmla="*/ 42 w 92"/>
                <a:gd name="T5" fmla="*/ 1 h 215"/>
                <a:gd name="T6" fmla="*/ 36 w 92"/>
                <a:gd name="T7" fmla="*/ 3 h 215"/>
                <a:gd name="T8" fmla="*/ 29 w 92"/>
                <a:gd name="T9" fmla="*/ 7 h 215"/>
                <a:gd name="T10" fmla="*/ 22 w 92"/>
                <a:gd name="T11" fmla="*/ 12 h 215"/>
                <a:gd name="T12" fmla="*/ 18 w 92"/>
                <a:gd name="T13" fmla="*/ 18 h 215"/>
                <a:gd name="T14" fmla="*/ 14 w 92"/>
                <a:gd name="T15" fmla="*/ 25 h 215"/>
                <a:gd name="T16" fmla="*/ 12 w 92"/>
                <a:gd name="T17" fmla="*/ 32 h 215"/>
                <a:gd name="T18" fmla="*/ 7 w 92"/>
                <a:gd name="T19" fmla="*/ 68 h 215"/>
                <a:gd name="T20" fmla="*/ 2 w 92"/>
                <a:gd name="T21" fmla="*/ 103 h 215"/>
                <a:gd name="T22" fmla="*/ 0 w 92"/>
                <a:gd name="T23" fmla="*/ 139 h 215"/>
                <a:gd name="T24" fmla="*/ 0 w 92"/>
                <a:gd name="T25" fmla="*/ 176 h 215"/>
                <a:gd name="T26" fmla="*/ 0 w 92"/>
                <a:gd name="T27" fmla="*/ 183 h 215"/>
                <a:gd name="T28" fmla="*/ 2 w 92"/>
                <a:gd name="T29" fmla="*/ 191 h 215"/>
                <a:gd name="T30" fmla="*/ 7 w 92"/>
                <a:gd name="T31" fmla="*/ 198 h 215"/>
                <a:gd name="T32" fmla="*/ 11 w 92"/>
                <a:gd name="T33" fmla="*/ 204 h 215"/>
                <a:gd name="T34" fmla="*/ 17 w 92"/>
                <a:gd name="T35" fmla="*/ 208 h 215"/>
                <a:gd name="T36" fmla="*/ 23 w 92"/>
                <a:gd name="T37" fmla="*/ 213 h 215"/>
                <a:gd name="T38" fmla="*/ 31 w 92"/>
                <a:gd name="T39" fmla="*/ 215 h 215"/>
                <a:gd name="T40" fmla="*/ 39 w 92"/>
                <a:gd name="T41" fmla="*/ 215 h 215"/>
                <a:gd name="T42" fmla="*/ 48 w 92"/>
                <a:gd name="T43" fmla="*/ 215 h 215"/>
                <a:gd name="T44" fmla="*/ 55 w 92"/>
                <a:gd name="T45" fmla="*/ 213 h 215"/>
                <a:gd name="T46" fmla="*/ 61 w 92"/>
                <a:gd name="T47" fmla="*/ 208 h 215"/>
                <a:gd name="T48" fmla="*/ 68 w 92"/>
                <a:gd name="T49" fmla="*/ 204 h 215"/>
                <a:gd name="T50" fmla="*/ 73 w 92"/>
                <a:gd name="T51" fmla="*/ 198 h 215"/>
                <a:gd name="T52" fmla="*/ 76 w 92"/>
                <a:gd name="T53" fmla="*/ 191 h 215"/>
                <a:gd name="T54" fmla="*/ 78 w 92"/>
                <a:gd name="T55" fmla="*/ 183 h 215"/>
                <a:gd name="T56" fmla="*/ 79 w 92"/>
                <a:gd name="T57" fmla="*/ 176 h 215"/>
                <a:gd name="T58" fmla="*/ 80 w 92"/>
                <a:gd name="T59" fmla="*/ 143 h 215"/>
                <a:gd name="T60" fmla="*/ 83 w 92"/>
                <a:gd name="T61" fmla="*/ 111 h 215"/>
                <a:gd name="T62" fmla="*/ 86 w 92"/>
                <a:gd name="T63" fmla="*/ 78 h 215"/>
                <a:gd name="T64" fmla="*/ 90 w 92"/>
                <a:gd name="T65" fmla="*/ 47 h 215"/>
                <a:gd name="T66" fmla="*/ 92 w 92"/>
                <a:gd name="T67" fmla="*/ 39 h 215"/>
                <a:gd name="T68" fmla="*/ 90 w 92"/>
                <a:gd name="T69" fmla="*/ 31 h 215"/>
                <a:gd name="T70" fmla="*/ 88 w 92"/>
                <a:gd name="T71" fmla="*/ 23 h 215"/>
                <a:gd name="T72" fmla="*/ 84 w 92"/>
                <a:gd name="T73" fmla="*/ 17 h 215"/>
                <a:gd name="T74" fmla="*/ 79 w 92"/>
                <a:gd name="T75" fmla="*/ 11 h 215"/>
                <a:gd name="T76" fmla="*/ 74 w 92"/>
                <a:gd name="T77" fmla="*/ 6 h 215"/>
                <a:gd name="T78" fmla="*/ 66 w 92"/>
                <a:gd name="T79" fmla="*/ 2 h 215"/>
                <a:gd name="T80" fmla="*/ 58 w 92"/>
                <a:gd name="T8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215">
                  <a:moveTo>
                    <a:pt x="58" y="0"/>
                  </a:moveTo>
                  <a:lnTo>
                    <a:pt x="50" y="0"/>
                  </a:lnTo>
                  <a:lnTo>
                    <a:pt x="42" y="1"/>
                  </a:lnTo>
                  <a:lnTo>
                    <a:pt x="36" y="3"/>
                  </a:lnTo>
                  <a:lnTo>
                    <a:pt x="29" y="7"/>
                  </a:lnTo>
                  <a:lnTo>
                    <a:pt x="22" y="12"/>
                  </a:lnTo>
                  <a:lnTo>
                    <a:pt x="18" y="18"/>
                  </a:lnTo>
                  <a:lnTo>
                    <a:pt x="14" y="25"/>
                  </a:lnTo>
                  <a:lnTo>
                    <a:pt x="12" y="32"/>
                  </a:lnTo>
                  <a:lnTo>
                    <a:pt x="7" y="68"/>
                  </a:lnTo>
                  <a:lnTo>
                    <a:pt x="2" y="103"/>
                  </a:lnTo>
                  <a:lnTo>
                    <a:pt x="0" y="139"/>
                  </a:lnTo>
                  <a:lnTo>
                    <a:pt x="0" y="176"/>
                  </a:lnTo>
                  <a:lnTo>
                    <a:pt x="0" y="183"/>
                  </a:lnTo>
                  <a:lnTo>
                    <a:pt x="2" y="191"/>
                  </a:lnTo>
                  <a:lnTo>
                    <a:pt x="7" y="198"/>
                  </a:lnTo>
                  <a:lnTo>
                    <a:pt x="11" y="204"/>
                  </a:lnTo>
                  <a:lnTo>
                    <a:pt x="17" y="208"/>
                  </a:lnTo>
                  <a:lnTo>
                    <a:pt x="23" y="213"/>
                  </a:lnTo>
                  <a:lnTo>
                    <a:pt x="31" y="215"/>
                  </a:lnTo>
                  <a:lnTo>
                    <a:pt x="39" y="215"/>
                  </a:lnTo>
                  <a:lnTo>
                    <a:pt x="48" y="215"/>
                  </a:lnTo>
                  <a:lnTo>
                    <a:pt x="55" y="213"/>
                  </a:lnTo>
                  <a:lnTo>
                    <a:pt x="61" y="208"/>
                  </a:lnTo>
                  <a:lnTo>
                    <a:pt x="68" y="204"/>
                  </a:lnTo>
                  <a:lnTo>
                    <a:pt x="73" y="198"/>
                  </a:lnTo>
                  <a:lnTo>
                    <a:pt x="76" y="191"/>
                  </a:lnTo>
                  <a:lnTo>
                    <a:pt x="78" y="183"/>
                  </a:lnTo>
                  <a:lnTo>
                    <a:pt x="79" y="176"/>
                  </a:lnTo>
                  <a:lnTo>
                    <a:pt x="80" y="143"/>
                  </a:lnTo>
                  <a:lnTo>
                    <a:pt x="83" y="111"/>
                  </a:lnTo>
                  <a:lnTo>
                    <a:pt x="86" y="78"/>
                  </a:lnTo>
                  <a:lnTo>
                    <a:pt x="90" y="47"/>
                  </a:lnTo>
                  <a:lnTo>
                    <a:pt x="92" y="39"/>
                  </a:lnTo>
                  <a:lnTo>
                    <a:pt x="90" y="31"/>
                  </a:lnTo>
                  <a:lnTo>
                    <a:pt x="88" y="23"/>
                  </a:lnTo>
                  <a:lnTo>
                    <a:pt x="84" y="17"/>
                  </a:lnTo>
                  <a:lnTo>
                    <a:pt x="79" y="11"/>
                  </a:lnTo>
                  <a:lnTo>
                    <a:pt x="74" y="6"/>
                  </a:lnTo>
                  <a:lnTo>
                    <a:pt x="66" y="2"/>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25">
              <a:extLst>
                <a:ext uri="{FF2B5EF4-FFF2-40B4-BE49-F238E27FC236}">
                  <a16:creationId xmlns:a16="http://schemas.microsoft.com/office/drawing/2014/main" id="{C78EE0D3-3BE4-48BA-A3DD-1647EB7D9AD8}"/>
                </a:ext>
              </a:extLst>
            </p:cNvPr>
            <p:cNvSpPr>
              <a:spLocks noEditPoints="1"/>
            </p:cNvSpPr>
            <p:nvPr/>
          </p:nvSpPr>
          <p:spPr bwMode="auto">
            <a:xfrm>
              <a:off x="5507038" y="2324101"/>
              <a:ext cx="711200" cy="706438"/>
            </a:xfrm>
            <a:custGeom>
              <a:avLst/>
              <a:gdLst>
                <a:gd name="T0" fmla="*/ 874 w 2240"/>
                <a:gd name="T1" fmla="*/ 1847 h 2227"/>
                <a:gd name="T2" fmla="*/ 661 w 2240"/>
                <a:gd name="T3" fmla="*/ 1797 h 2227"/>
                <a:gd name="T4" fmla="*/ 470 w 2240"/>
                <a:gd name="T5" fmla="*/ 1700 h 2227"/>
                <a:gd name="T6" fmla="*/ 310 w 2240"/>
                <a:gd name="T7" fmla="*/ 1560 h 2227"/>
                <a:gd name="T8" fmla="*/ 187 w 2240"/>
                <a:gd name="T9" fmla="*/ 1387 h 2227"/>
                <a:gd name="T10" fmla="*/ 107 w 2240"/>
                <a:gd name="T11" fmla="*/ 1186 h 2227"/>
                <a:gd name="T12" fmla="*/ 79 w 2240"/>
                <a:gd name="T13" fmla="*/ 966 h 2227"/>
                <a:gd name="T14" fmla="*/ 107 w 2240"/>
                <a:gd name="T15" fmla="*/ 744 h 2227"/>
                <a:gd name="T16" fmla="*/ 187 w 2240"/>
                <a:gd name="T17" fmla="*/ 544 h 2227"/>
                <a:gd name="T18" fmla="*/ 310 w 2240"/>
                <a:gd name="T19" fmla="*/ 370 h 2227"/>
                <a:gd name="T20" fmla="*/ 470 w 2240"/>
                <a:gd name="T21" fmla="*/ 231 h 2227"/>
                <a:gd name="T22" fmla="*/ 661 w 2240"/>
                <a:gd name="T23" fmla="*/ 133 h 2227"/>
                <a:gd name="T24" fmla="*/ 875 w 2240"/>
                <a:gd name="T25" fmla="*/ 84 h 2227"/>
                <a:gd name="T26" fmla="*/ 1100 w 2240"/>
                <a:gd name="T27" fmla="*/ 89 h 2227"/>
                <a:gd name="T28" fmla="*/ 1309 w 2240"/>
                <a:gd name="T29" fmla="*/ 150 h 2227"/>
                <a:gd name="T30" fmla="*/ 1495 w 2240"/>
                <a:gd name="T31" fmla="*/ 256 h 2227"/>
                <a:gd name="T32" fmla="*/ 1648 w 2240"/>
                <a:gd name="T33" fmla="*/ 403 h 2227"/>
                <a:gd name="T34" fmla="*/ 1763 w 2240"/>
                <a:gd name="T35" fmla="*/ 582 h 2227"/>
                <a:gd name="T36" fmla="*/ 1833 w 2240"/>
                <a:gd name="T37" fmla="*/ 787 h 2227"/>
                <a:gd name="T38" fmla="*/ 1850 w 2240"/>
                <a:gd name="T39" fmla="*/ 1010 h 2227"/>
                <a:gd name="T40" fmla="*/ 1810 w 2240"/>
                <a:gd name="T41" fmla="*/ 1229 h 2227"/>
                <a:gd name="T42" fmla="*/ 1722 w 2240"/>
                <a:gd name="T43" fmla="*/ 1425 h 2227"/>
                <a:gd name="T44" fmla="*/ 1591 w 2240"/>
                <a:gd name="T45" fmla="*/ 1591 h 2227"/>
                <a:gd name="T46" fmla="*/ 1423 w 2240"/>
                <a:gd name="T47" fmla="*/ 1722 h 2227"/>
                <a:gd name="T48" fmla="*/ 1227 w 2240"/>
                <a:gd name="T49" fmla="*/ 1811 h 2227"/>
                <a:gd name="T50" fmla="*/ 1010 w 2240"/>
                <a:gd name="T51" fmla="*/ 1850 h 2227"/>
                <a:gd name="T52" fmla="*/ 1737 w 2240"/>
                <a:gd name="T53" fmla="*/ 1545 h 2227"/>
                <a:gd name="T54" fmla="*/ 1847 w 2240"/>
                <a:gd name="T55" fmla="*/ 1357 h 2227"/>
                <a:gd name="T56" fmla="*/ 1913 w 2240"/>
                <a:gd name="T57" fmla="*/ 1147 h 2227"/>
                <a:gd name="T58" fmla="*/ 1929 w 2240"/>
                <a:gd name="T59" fmla="*/ 915 h 2227"/>
                <a:gd name="T60" fmla="*/ 1887 w 2240"/>
                <a:gd name="T61" fmla="*/ 678 h 2227"/>
                <a:gd name="T62" fmla="*/ 1790 w 2240"/>
                <a:gd name="T63" fmla="*/ 465 h 2227"/>
                <a:gd name="T64" fmla="*/ 1647 w 2240"/>
                <a:gd name="T65" fmla="*/ 283 h 2227"/>
                <a:gd name="T66" fmla="*/ 1465 w 2240"/>
                <a:gd name="T67" fmla="*/ 140 h 2227"/>
                <a:gd name="T68" fmla="*/ 1252 w 2240"/>
                <a:gd name="T69" fmla="*/ 43 h 2227"/>
                <a:gd name="T70" fmla="*/ 1015 w 2240"/>
                <a:gd name="T71" fmla="*/ 1 h 2227"/>
                <a:gd name="T72" fmla="*/ 771 w 2240"/>
                <a:gd name="T73" fmla="*/ 19 h 2227"/>
                <a:gd name="T74" fmla="*/ 547 w 2240"/>
                <a:gd name="T75" fmla="*/ 95 h 2227"/>
                <a:gd name="T76" fmla="*/ 351 w 2240"/>
                <a:gd name="T77" fmla="*/ 220 h 2227"/>
                <a:gd name="T78" fmla="*/ 191 w 2240"/>
                <a:gd name="T79" fmla="*/ 388 h 2227"/>
                <a:gd name="T80" fmla="*/ 76 w 2240"/>
                <a:gd name="T81" fmla="*/ 590 h 2227"/>
                <a:gd name="T82" fmla="*/ 11 w 2240"/>
                <a:gd name="T83" fmla="*/ 818 h 2227"/>
                <a:gd name="T84" fmla="*/ 4 w 2240"/>
                <a:gd name="T85" fmla="*/ 1064 h 2227"/>
                <a:gd name="T86" fmla="*/ 58 w 2240"/>
                <a:gd name="T87" fmla="*/ 1297 h 2227"/>
                <a:gd name="T88" fmla="*/ 164 w 2240"/>
                <a:gd name="T89" fmla="*/ 1505 h 2227"/>
                <a:gd name="T90" fmla="*/ 316 w 2240"/>
                <a:gd name="T91" fmla="*/ 1680 h 2227"/>
                <a:gd name="T92" fmla="*/ 504 w 2240"/>
                <a:gd name="T93" fmla="*/ 1814 h 2227"/>
                <a:gd name="T94" fmla="*/ 724 w 2240"/>
                <a:gd name="T95" fmla="*/ 1900 h 2227"/>
                <a:gd name="T96" fmla="*/ 964 w 2240"/>
                <a:gd name="T97" fmla="*/ 1931 h 2227"/>
                <a:gd name="T98" fmla="*/ 1060 w 2240"/>
                <a:gd name="T99" fmla="*/ 1926 h 2227"/>
                <a:gd name="T100" fmla="*/ 1196 w 2240"/>
                <a:gd name="T101" fmla="*/ 1903 h 2227"/>
                <a:gd name="T102" fmla="*/ 1408 w 2240"/>
                <a:gd name="T103" fmla="*/ 1823 h 2227"/>
                <a:gd name="T104" fmla="*/ 1592 w 2240"/>
                <a:gd name="T105" fmla="*/ 1699 h 2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0" h="2227">
                  <a:moveTo>
                    <a:pt x="964" y="1851"/>
                  </a:moveTo>
                  <a:lnTo>
                    <a:pt x="964" y="1891"/>
                  </a:lnTo>
                  <a:lnTo>
                    <a:pt x="964" y="1851"/>
                  </a:lnTo>
                  <a:lnTo>
                    <a:pt x="920" y="1850"/>
                  </a:lnTo>
                  <a:lnTo>
                    <a:pt x="874" y="1847"/>
                  </a:lnTo>
                  <a:lnTo>
                    <a:pt x="830" y="1841"/>
                  </a:lnTo>
                  <a:lnTo>
                    <a:pt x="787" y="1833"/>
                  </a:lnTo>
                  <a:lnTo>
                    <a:pt x="744" y="1823"/>
                  </a:lnTo>
                  <a:lnTo>
                    <a:pt x="701" y="1811"/>
                  </a:lnTo>
                  <a:lnTo>
                    <a:pt x="661" y="1797"/>
                  </a:lnTo>
                  <a:lnTo>
                    <a:pt x="621" y="1782"/>
                  </a:lnTo>
                  <a:lnTo>
                    <a:pt x="582" y="1764"/>
                  </a:lnTo>
                  <a:lnTo>
                    <a:pt x="543" y="1744"/>
                  </a:lnTo>
                  <a:lnTo>
                    <a:pt x="506" y="1722"/>
                  </a:lnTo>
                  <a:lnTo>
                    <a:pt x="470" y="1700"/>
                  </a:lnTo>
                  <a:lnTo>
                    <a:pt x="435" y="1674"/>
                  </a:lnTo>
                  <a:lnTo>
                    <a:pt x="402" y="1648"/>
                  </a:lnTo>
                  <a:lnTo>
                    <a:pt x="370" y="1620"/>
                  </a:lnTo>
                  <a:lnTo>
                    <a:pt x="339" y="1591"/>
                  </a:lnTo>
                  <a:lnTo>
                    <a:pt x="310" y="1560"/>
                  </a:lnTo>
                  <a:lnTo>
                    <a:pt x="282" y="1529"/>
                  </a:lnTo>
                  <a:lnTo>
                    <a:pt x="256" y="1495"/>
                  </a:lnTo>
                  <a:lnTo>
                    <a:pt x="230" y="1460"/>
                  </a:lnTo>
                  <a:lnTo>
                    <a:pt x="208" y="1425"/>
                  </a:lnTo>
                  <a:lnTo>
                    <a:pt x="187" y="1387"/>
                  </a:lnTo>
                  <a:lnTo>
                    <a:pt x="167" y="1348"/>
                  </a:lnTo>
                  <a:lnTo>
                    <a:pt x="149" y="1309"/>
                  </a:lnTo>
                  <a:lnTo>
                    <a:pt x="133" y="1269"/>
                  </a:lnTo>
                  <a:lnTo>
                    <a:pt x="120" y="1229"/>
                  </a:lnTo>
                  <a:lnTo>
                    <a:pt x="107" y="1186"/>
                  </a:lnTo>
                  <a:lnTo>
                    <a:pt x="97" y="1144"/>
                  </a:lnTo>
                  <a:lnTo>
                    <a:pt x="89" y="1100"/>
                  </a:lnTo>
                  <a:lnTo>
                    <a:pt x="84" y="1055"/>
                  </a:lnTo>
                  <a:lnTo>
                    <a:pt x="80" y="1010"/>
                  </a:lnTo>
                  <a:lnTo>
                    <a:pt x="79" y="966"/>
                  </a:lnTo>
                  <a:lnTo>
                    <a:pt x="80" y="920"/>
                  </a:lnTo>
                  <a:lnTo>
                    <a:pt x="84" y="875"/>
                  </a:lnTo>
                  <a:lnTo>
                    <a:pt x="89" y="830"/>
                  </a:lnTo>
                  <a:lnTo>
                    <a:pt x="97" y="787"/>
                  </a:lnTo>
                  <a:lnTo>
                    <a:pt x="107" y="744"/>
                  </a:lnTo>
                  <a:lnTo>
                    <a:pt x="120" y="703"/>
                  </a:lnTo>
                  <a:lnTo>
                    <a:pt x="133" y="661"/>
                  </a:lnTo>
                  <a:lnTo>
                    <a:pt x="149" y="621"/>
                  </a:lnTo>
                  <a:lnTo>
                    <a:pt x="167" y="582"/>
                  </a:lnTo>
                  <a:lnTo>
                    <a:pt x="187" y="544"/>
                  </a:lnTo>
                  <a:lnTo>
                    <a:pt x="208" y="507"/>
                  </a:lnTo>
                  <a:lnTo>
                    <a:pt x="231" y="471"/>
                  </a:lnTo>
                  <a:lnTo>
                    <a:pt x="256" y="436"/>
                  </a:lnTo>
                  <a:lnTo>
                    <a:pt x="282" y="403"/>
                  </a:lnTo>
                  <a:lnTo>
                    <a:pt x="310" y="370"/>
                  </a:lnTo>
                  <a:lnTo>
                    <a:pt x="339" y="339"/>
                  </a:lnTo>
                  <a:lnTo>
                    <a:pt x="370" y="310"/>
                  </a:lnTo>
                  <a:lnTo>
                    <a:pt x="402" y="282"/>
                  </a:lnTo>
                  <a:lnTo>
                    <a:pt x="435" y="256"/>
                  </a:lnTo>
                  <a:lnTo>
                    <a:pt x="470" y="231"/>
                  </a:lnTo>
                  <a:lnTo>
                    <a:pt x="506" y="208"/>
                  </a:lnTo>
                  <a:lnTo>
                    <a:pt x="544" y="187"/>
                  </a:lnTo>
                  <a:lnTo>
                    <a:pt x="582" y="168"/>
                  </a:lnTo>
                  <a:lnTo>
                    <a:pt x="621" y="150"/>
                  </a:lnTo>
                  <a:lnTo>
                    <a:pt x="661" y="133"/>
                  </a:lnTo>
                  <a:lnTo>
                    <a:pt x="701" y="119"/>
                  </a:lnTo>
                  <a:lnTo>
                    <a:pt x="744" y="107"/>
                  </a:lnTo>
                  <a:lnTo>
                    <a:pt x="787" y="97"/>
                  </a:lnTo>
                  <a:lnTo>
                    <a:pt x="830" y="89"/>
                  </a:lnTo>
                  <a:lnTo>
                    <a:pt x="875" y="84"/>
                  </a:lnTo>
                  <a:lnTo>
                    <a:pt x="920" y="80"/>
                  </a:lnTo>
                  <a:lnTo>
                    <a:pt x="964" y="79"/>
                  </a:lnTo>
                  <a:lnTo>
                    <a:pt x="1010" y="80"/>
                  </a:lnTo>
                  <a:lnTo>
                    <a:pt x="1055" y="84"/>
                  </a:lnTo>
                  <a:lnTo>
                    <a:pt x="1100" y="89"/>
                  </a:lnTo>
                  <a:lnTo>
                    <a:pt x="1143" y="97"/>
                  </a:lnTo>
                  <a:lnTo>
                    <a:pt x="1186" y="107"/>
                  </a:lnTo>
                  <a:lnTo>
                    <a:pt x="1227" y="119"/>
                  </a:lnTo>
                  <a:lnTo>
                    <a:pt x="1269" y="133"/>
                  </a:lnTo>
                  <a:lnTo>
                    <a:pt x="1309" y="150"/>
                  </a:lnTo>
                  <a:lnTo>
                    <a:pt x="1348" y="166"/>
                  </a:lnTo>
                  <a:lnTo>
                    <a:pt x="1386" y="187"/>
                  </a:lnTo>
                  <a:lnTo>
                    <a:pt x="1423" y="208"/>
                  </a:lnTo>
                  <a:lnTo>
                    <a:pt x="1460" y="231"/>
                  </a:lnTo>
                  <a:lnTo>
                    <a:pt x="1495" y="256"/>
                  </a:lnTo>
                  <a:lnTo>
                    <a:pt x="1527" y="282"/>
                  </a:lnTo>
                  <a:lnTo>
                    <a:pt x="1560" y="310"/>
                  </a:lnTo>
                  <a:lnTo>
                    <a:pt x="1591" y="339"/>
                  </a:lnTo>
                  <a:lnTo>
                    <a:pt x="1620" y="370"/>
                  </a:lnTo>
                  <a:lnTo>
                    <a:pt x="1648" y="403"/>
                  </a:lnTo>
                  <a:lnTo>
                    <a:pt x="1674" y="435"/>
                  </a:lnTo>
                  <a:lnTo>
                    <a:pt x="1699" y="471"/>
                  </a:lnTo>
                  <a:lnTo>
                    <a:pt x="1722" y="507"/>
                  </a:lnTo>
                  <a:lnTo>
                    <a:pt x="1743" y="544"/>
                  </a:lnTo>
                  <a:lnTo>
                    <a:pt x="1763" y="582"/>
                  </a:lnTo>
                  <a:lnTo>
                    <a:pt x="1780" y="621"/>
                  </a:lnTo>
                  <a:lnTo>
                    <a:pt x="1797" y="661"/>
                  </a:lnTo>
                  <a:lnTo>
                    <a:pt x="1810" y="703"/>
                  </a:lnTo>
                  <a:lnTo>
                    <a:pt x="1823" y="744"/>
                  </a:lnTo>
                  <a:lnTo>
                    <a:pt x="1833" y="787"/>
                  </a:lnTo>
                  <a:lnTo>
                    <a:pt x="1841" y="830"/>
                  </a:lnTo>
                  <a:lnTo>
                    <a:pt x="1846" y="875"/>
                  </a:lnTo>
                  <a:lnTo>
                    <a:pt x="1850" y="920"/>
                  </a:lnTo>
                  <a:lnTo>
                    <a:pt x="1851" y="966"/>
                  </a:lnTo>
                  <a:lnTo>
                    <a:pt x="1850" y="1010"/>
                  </a:lnTo>
                  <a:lnTo>
                    <a:pt x="1846" y="1055"/>
                  </a:lnTo>
                  <a:lnTo>
                    <a:pt x="1841" y="1100"/>
                  </a:lnTo>
                  <a:lnTo>
                    <a:pt x="1833" y="1144"/>
                  </a:lnTo>
                  <a:lnTo>
                    <a:pt x="1823" y="1186"/>
                  </a:lnTo>
                  <a:lnTo>
                    <a:pt x="1810" y="1229"/>
                  </a:lnTo>
                  <a:lnTo>
                    <a:pt x="1797" y="1269"/>
                  </a:lnTo>
                  <a:lnTo>
                    <a:pt x="1780" y="1309"/>
                  </a:lnTo>
                  <a:lnTo>
                    <a:pt x="1763" y="1348"/>
                  </a:lnTo>
                  <a:lnTo>
                    <a:pt x="1743" y="1387"/>
                  </a:lnTo>
                  <a:lnTo>
                    <a:pt x="1722" y="1425"/>
                  </a:lnTo>
                  <a:lnTo>
                    <a:pt x="1699" y="1460"/>
                  </a:lnTo>
                  <a:lnTo>
                    <a:pt x="1674" y="1495"/>
                  </a:lnTo>
                  <a:lnTo>
                    <a:pt x="1648" y="1529"/>
                  </a:lnTo>
                  <a:lnTo>
                    <a:pt x="1620" y="1560"/>
                  </a:lnTo>
                  <a:lnTo>
                    <a:pt x="1591" y="1591"/>
                  </a:lnTo>
                  <a:lnTo>
                    <a:pt x="1560" y="1620"/>
                  </a:lnTo>
                  <a:lnTo>
                    <a:pt x="1527" y="1648"/>
                  </a:lnTo>
                  <a:lnTo>
                    <a:pt x="1495" y="1674"/>
                  </a:lnTo>
                  <a:lnTo>
                    <a:pt x="1460" y="1700"/>
                  </a:lnTo>
                  <a:lnTo>
                    <a:pt x="1423" y="1722"/>
                  </a:lnTo>
                  <a:lnTo>
                    <a:pt x="1386" y="1744"/>
                  </a:lnTo>
                  <a:lnTo>
                    <a:pt x="1348" y="1764"/>
                  </a:lnTo>
                  <a:lnTo>
                    <a:pt x="1309" y="1782"/>
                  </a:lnTo>
                  <a:lnTo>
                    <a:pt x="1269" y="1797"/>
                  </a:lnTo>
                  <a:lnTo>
                    <a:pt x="1227" y="1811"/>
                  </a:lnTo>
                  <a:lnTo>
                    <a:pt x="1186" y="1823"/>
                  </a:lnTo>
                  <a:lnTo>
                    <a:pt x="1143" y="1833"/>
                  </a:lnTo>
                  <a:lnTo>
                    <a:pt x="1100" y="1841"/>
                  </a:lnTo>
                  <a:lnTo>
                    <a:pt x="1055" y="1847"/>
                  </a:lnTo>
                  <a:lnTo>
                    <a:pt x="1010" y="1850"/>
                  </a:lnTo>
                  <a:lnTo>
                    <a:pt x="964" y="1851"/>
                  </a:lnTo>
                  <a:close/>
                  <a:moveTo>
                    <a:pt x="2240" y="2171"/>
                  </a:moveTo>
                  <a:lnTo>
                    <a:pt x="1682" y="1612"/>
                  </a:lnTo>
                  <a:lnTo>
                    <a:pt x="1710" y="1579"/>
                  </a:lnTo>
                  <a:lnTo>
                    <a:pt x="1737" y="1545"/>
                  </a:lnTo>
                  <a:lnTo>
                    <a:pt x="1762" y="1510"/>
                  </a:lnTo>
                  <a:lnTo>
                    <a:pt x="1786" y="1474"/>
                  </a:lnTo>
                  <a:lnTo>
                    <a:pt x="1808" y="1436"/>
                  </a:lnTo>
                  <a:lnTo>
                    <a:pt x="1828" y="1398"/>
                  </a:lnTo>
                  <a:lnTo>
                    <a:pt x="1847" y="1357"/>
                  </a:lnTo>
                  <a:lnTo>
                    <a:pt x="1864" y="1317"/>
                  </a:lnTo>
                  <a:lnTo>
                    <a:pt x="1879" y="1276"/>
                  </a:lnTo>
                  <a:lnTo>
                    <a:pt x="1892" y="1234"/>
                  </a:lnTo>
                  <a:lnTo>
                    <a:pt x="1903" y="1191"/>
                  </a:lnTo>
                  <a:lnTo>
                    <a:pt x="1913" y="1147"/>
                  </a:lnTo>
                  <a:lnTo>
                    <a:pt x="1920" y="1102"/>
                  </a:lnTo>
                  <a:lnTo>
                    <a:pt x="1926" y="1057"/>
                  </a:lnTo>
                  <a:lnTo>
                    <a:pt x="1929" y="1012"/>
                  </a:lnTo>
                  <a:lnTo>
                    <a:pt x="1930" y="966"/>
                  </a:lnTo>
                  <a:lnTo>
                    <a:pt x="1929" y="915"/>
                  </a:lnTo>
                  <a:lnTo>
                    <a:pt x="1926" y="867"/>
                  </a:lnTo>
                  <a:lnTo>
                    <a:pt x="1919" y="818"/>
                  </a:lnTo>
                  <a:lnTo>
                    <a:pt x="1911" y="771"/>
                  </a:lnTo>
                  <a:lnTo>
                    <a:pt x="1900" y="724"/>
                  </a:lnTo>
                  <a:lnTo>
                    <a:pt x="1887" y="678"/>
                  </a:lnTo>
                  <a:lnTo>
                    <a:pt x="1872" y="633"/>
                  </a:lnTo>
                  <a:lnTo>
                    <a:pt x="1854" y="590"/>
                  </a:lnTo>
                  <a:lnTo>
                    <a:pt x="1835" y="547"/>
                  </a:lnTo>
                  <a:lnTo>
                    <a:pt x="1814" y="506"/>
                  </a:lnTo>
                  <a:lnTo>
                    <a:pt x="1790" y="465"/>
                  </a:lnTo>
                  <a:lnTo>
                    <a:pt x="1766" y="426"/>
                  </a:lnTo>
                  <a:lnTo>
                    <a:pt x="1739" y="388"/>
                  </a:lnTo>
                  <a:lnTo>
                    <a:pt x="1710" y="351"/>
                  </a:lnTo>
                  <a:lnTo>
                    <a:pt x="1680" y="316"/>
                  </a:lnTo>
                  <a:lnTo>
                    <a:pt x="1647" y="283"/>
                  </a:lnTo>
                  <a:lnTo>
                    <a:pt x="1614" y="250"/>
                  </a:lnTo>
                  <a:lnTo>
                    <a:pt x="1579" y="220"/>
                  </a:lnTo>
                  <a:lnTo>
                    <a:pt x="1542" y="191"/>
                  </a:lnTo>
                  <a:lnTo>
                    <a:pt x="1504" y="164"/>
                  </a:lnTo>
                  <a:lnTo>
                    <a:pt x="1465" y="140"/>
                  </a:lnTo>
                  <a:lnTo>
                    <a:pt x="1424" y="116"/>
                  </a:lnTo>
                  <a:lnTo>
                    <a:pt x="1383" y="95"/>
                  </a:lnTo>
                  <a:lnTo>
                    <a:pt x="1340" y="76"/>
                  </a:lnTo>
                  <a:lnTo>
                    <a:pt x="1297" y="58"/>
                  </a:lnTo>
                  <a:lnTo>
                    <a:pt x="1252" y="43"/>
                  </a:lnTo>
                  <a:lnTo>
                    <a:pt x="1206" y="30"/>
                  </a:lnTo>
                  <a:lnTo>
                    <a:pt x="1159" y="19"/>
                  </a:lnTo>
                  <a:lnTo>
                    <a:pt x="1112" y="11"/>
                  </a:lnTo>
                  <a:lnTo>
                    <a:pt x="1064" y="4"/>
                  </a:lnTo>
                  <a:lnTo>
                    <a:pt x="1015" y="1"/>
                  </a:lnTo>
                  <a:lnTo>
                    <a:pt x="964" y="0"/>
                  </a:lnTo>
                  <a:lnTo>
                    <a:pt x="915" y="1"/>
                  </a:lnTo>
                  <a:lnTo>
                    <a:pt x="866" y="4"/>
                  </a:lnTo>
                  <a:lnTo>
                    <a:pt x="818" y="11"/>
                  </a:lnTo>
                  <a:lnTo>
                    <a:pt x="771" y="19"/>
                  </a:lnTo>
                  <a:lnTo>
                    <a:pt x="724" y="30"/>
                  </a:lnTo>
                  <a:lnTo>
                    <a:pt x="678" y="43"/>
                  </a:lnTo>
                  <a:lnTo>
                    <a:pt x="633" y="58"/>
                  </a:lnTo>
                  <a:lnTo>
                    <a:pt x="590" y="76"/>
                  </a:lnTo>
                  <a:lnTo>
                    <a:pt x="547" y="95"/>
                  </a:lnTo>
                  <a:lnTo>
                    <a:pt x="506" y="116"/>
                  </a:lnTo>
                  <a:lnTo>
                    <a:pt x="464" y="140"/>
                  </a:lnTo>
                  <a:lnTo>
                    <a:pt x="425" y="164"/>
                  </a:lnTo>
                  <a:lnTo>
                    <a:pt x="388" y="192"/>
                  </a:lnTo>
                  <a:lnTo>
                    <a:pt x="351" y="220"/>
                  </a:lnTo>
                  <a:lnTo>
                    <a:pt x="316" y="250"/>
                  </a:lnTo>
                  <a:lnTo>
                    <a:pt x="283" y="283"/>
                  </a:lnTo>
                  <a:lnTo>
                    <a:pt x="250" y="316"/>
                  </a:lnTo>
                  <a:lnTo>
                    <a:pt x="220" y="351"/>
                  </a:lnTo>
                  <a:lnTo>
                    <a:pt x="191" y="388"/>
                  </a:lnTo>
                  <a:lnTo>
                    <a:pt x="164" y="426"/>
                  </a:lnTo>
                  <a:lnTo>
                    <a:pt x="140" y="465"/>
                  </a:lnTo>
                  <a:lnTo>
                    <a:pt x="116" y="506"/>
                  </a:lnTo>
                  <a:lnTo>
                    <a:pt x="95" y="547"/>
                  </a:lnTo>
                  <a:lnTo>
                    <a:pt x="76" y="590"/>
                  </a:lnTo>
                  <a:lnTo>
                    <a:pt x="58" y="633"/>
                  </a:lnTo>
                  <a:lnTo>
                    <a:pt x="43" y="678"/>
                  </a:lnTo>
                  <a:lnTo>
                    <a:pt x="30" y="724"/>
                  </a:lnTo>
                  <a:lnTo>
                    <a:pt x="19" y="771"/>
                  </a:lnTo>
                  <a:lnTo>
                    <a:pt x="11" y="818"/>
                  </a:lnTo>
                  <a:lnTo>
                    <a:pt x="4" y="867"/>
                  </a:lnTo>
                  <a:lnTo>
                    <a:pt x="1" y="915"/>
                  </a:lnTo>
                  <a:lnTo>
                    <a:pt x="0" y="966"/>
                  </a:lnTo>
                  <a:lnTo>
                    <a:pt x="1" y="1015"/>
                  </a:lnTo>
                  <a:lnTo>
                    <a:pt x="4" y="1064"/>
                  </a:lnTo>
                  <a:lnTo>
                    <a:pt x="11" y="1112"/>
                  </a:lnTo>
                  <a:lnTo>
                    <a:pt x="19" y="1159"/>
                  </a:lnTo>
                  <a:lnTo>
                    <a:pt x="30" y="1206"/>
                  </a:lnTo>
                  <a:lnTo>
                    <a:pt x="43" y="1252"/>
                  </a:lnTo>
                  <a:lnTo>
                    <a:pt x="58" y="1297"/>
                  </a:lnTo>
                  <a:lnTo>
                    <a:pt x="76" y="1341"/>
                  </a:lnTo>
                  <a:lnTo>
                    <a:pt x="95" y="1383"/>
                  </a:lnTo>
                  <a:lnTo>
                    <a:pt x="116" y="1426"/>
                  </a:lnTo>
                  <a:lnTo>
                    <a:pt x="140" y="1466"/>
                  </a:lnTo>
                  <a:lnTo>
                    <a:pt x="164" y="1505"/>
                  </a:lnTo>
                  <a:lnTo>
                    <a:pt x="191" y="1542"/>
                  </a:lnTo>
                  <a:lnTo>
                    <a:pt x="220" y="1579"/>
                  </a:lnTo>
                  <a:lnTo>
                    <a:pt x="250" y="1614"/>
                  </a:lnTo>
                  <a:lnTo>
                    <a:pt x="283" y="1647"/>
                  </a:lnTo>
                  <a:lnTo>
                    <a:pt x="316" y="1680"/>
                  </a:lnTo>
                  <a:lnTo>
                    <a:pt x="351" y="1710"/>
                  </a:lnTo>
                  <a:lnTo>
                    <a:pt x="388" y="1739"/>
                  </a:lnTo>
                  <a:lnTo>
                    <a:pt x="425" y="1766"/>
                  </a:lnTo>
                  <a:lnTo>
                    <a:pt x="464" y="1791"/>
                  </a:lnTo>
                  <a:lnTo>
                    <a:pt x="504" y="1814"/>
                  </a:lnTo>
                  <a:lnTo>
                    <a:pt x="547" y="1835"/>
                  </a:lnTo>
                  <a:lnTo>
                    <a:pt x="590" y="1854"/>
                  </a:lnTo>
                  <a:lnTo>
                    <a:pt x="633" y="1872"/>
                  </a:lnTo>
                  <a:lnTo>
                    <a:pt x="678" y="1887"/>
                  </a:lnTo>
                  <a:lnTo>
                    <a:pt x="724" y="1900"/>
                  </a:lnTo>
                  <a:lnTo>
                    <a:pt x="771" y="1912"/>
                  </a:lnTo>
                  <a:lnTo>
                    <a:pt x="818" y="1919"/>
                  </a:lnTo>
                  <a:lnTo>
                    <a:pt x="866" y="1926"/>
                  </a:lnTo>
                  <a:lnTo>
                    <a:pt x="915" y="1929"/>
                  </a:lnTo>
                  <a:lnTo>
                    <a:pt x="964" y="1931"/>
                  </a:lnTo>
                  <a:lnTo>
                    <a:pt x="966" y="1931"/>
                  </a:lnTo>
                  <a:lnTo>
                    <a:pt x="989" y="1931"/>
                  </a:lnTo>
                  <a:lnTo>
                    <a:pt x="1013" y="1929"/>
                  </a:lnTo>
                  <a:lnTo>
                    <a:pt x="1036" y="1928"/>
                  </a:lnTo>
                  <a:lnTo>
                    <a:pt x="1060" y="1926"/>
                  </a:lnTo>
                  <a:lnTo>
                    <a:pt x="1083" y="1924"/>
                  </a:lnTo>
                  <a:lnTo>
                    <a:pt x="1105" y="1920"/>
                  </a:lnTo>
                  <a:lnTo>
                    <a:pt x="1129" y="1917"/>
                  </a:lnTo>
                  <a:lnTo>
                    <a:pt x="1151" y="1913"/>
                  </a:lnTo>
                  <a:lnTo>
                    <a:pt x="1196" y="1903"/>
                  </a:lnTo>
                  <a:lnTo>
                    <a:pt x="1241" y="1891"/>
                  </a:lnTo>
                  <a:lnTo>
                    <a:pt x="1283" y="1877"/>
                  </a:lnTo>
                  <a:lnTo>
                    <a:pt x="1326" y="1861"/>
                  </a:lnTo>
                  <a:lnTo>
                    <a:pt x="1367" y="1843"/>
                  </a:lnTo>
                  <a:lnTo>
                    <a:pt x="1408" y="1823"/>
                  </a:lnTo>
                  <a:lnTo>
                    <a:pt x="1447" y="1802"/>
                  </a:lnTo>
                  <a:lnTo>
                    <a:pt x="1485" y="1778"/>
                  </a:lnTo>
                  <a:lnTo>
                    <a:pt x="1522" y="1754"/>
                  </a:lnTo>
                  <a:lnTo>
                    <a:pt x="1558" y="1727"/>
                  </a:lnTo>
                  <a:lnTo>
                    <a:pt x="1592" y="1699"/>
                  </a:lnTo>
                  <a:lnTo>
                    <a:pt x="1626" y="1669"/>
                  </a:lnTo>
                  <a:lnTo>
                    <a:pt x="2184" y="2227"/>
                  </a:lnTo>
                  <a:lnTo>
                    <a:pt x="2240" y="2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26">
              <a:extLst>
                <a:ext uri="{FF2B5EF4-FFF2-40B4-BE49-F238E27FC236}">
                  <a16:creationId xmlns:a16="http://schemas.microsoft.com/office/drawing/2014/main" id="{4646FFFC-D199-4B2F-AFAF-FD0EA6B1B745}"/>
                </a:ext>
              </a:extLst>
            </p:cNvPr>
            <p:cNvSpPr>
              <a:spLocks noEditPoints="1"/>
            </p:cNvSpPr>
            <p:nvPr/>
          </p:nvSpPr>
          <p:spPr bwMode="auto">
            <a:xfrm>
              <a:off x="5634038" y="2476501"/>
              <a:ext cx="381000" cy="303213"/>
            </a:xfrm>
            <a:custGeom>
              <a:avLst/>
              <a:gdLst>
                <a:gd name="T0" fmla="*/ 880 w 1200"/>
                <a:gd name="T1" fmla="*/ 79 h 959"/>
                <a:gd name="T2" fmla="*/ 960 w 1200"/>
                <a:gd name="T3" fmla="*/ 880 h 959"/>
                <a:gd name="T4" fmla="*/ 560 w 1200"/>
                <a:gd name="T5" fmla="*/ 880 h 959"/>
                <a:gd name="T6" fmla="*/ 640 w 1200"/>
                <a:gd name="T7" fmla="*/ 319 h 959"/>
                <a:gd name="T8" fmla="*/ 560 w 1200"/>
                <a:gd name="T9" fmla="*/ 880 h 959"/>
                <a:gd name="T10" fmla="*/ 240 w 1200"/>
                <a:gd name="T11" fmla="*/ 560 h 959"/>
                <a:gd name="T12" fmla="*/ 320 w 1200"/>
                <a:gd name="T13" fmla="*/ 880 h 959"/>
                <a:gd name="T14" fmla="*/ 1160 w 1200"/>
                <a:gd name="T15" fmla="*/ 880 h 959"/>
                <a:gd name="T16" fmla="*/ 1040 w 1200"/>
                <a:gd name="T17" fmla="*/ 0 h 959"/>
                <a:gd name="T18" fmla="*/ 800 w 1200"/>
                <a:gd name="T19" fmla="*/ 880 h 959"/>
                <a:gd name="T20" fmla="*/ 720 w 1200"/>
                <a:gd name="T21" fmla="*/ 239 h 959"/>
                <a:gd name="T22" fmla="*/ 480 w 1200"/>
                <a:gd name="T23" fmla="*/ 880 h 959"/>
                <a:gd name="T24" fmla="*/ 400 w 1200"/>
                <a:gd name="T25" fmla="*/ 479 h 959"/>
                <a:gd name="T26" fmla="*/ 160 w 1200"/>
                <a:gd name="T27" fmla="*/ 880 h 959"/>
                <a:gd name="T28" fmla="*/ 33 w 1200"/>
                <a:gd name="T29" fmla="*/ 880 h 959"/>
                <a:gd name="T30" fmla="*/ 18 w 1200"/>
                <a:gd name="T31" fmla="*/ 886 h 959"/>
                <a:gd name="T32" fmla="*/ 7 w 1200"/>
                <a:gd name="T33" fmla="*/ 896 h 959"/>
                <a:gd name="T34" fmla="*/ 1 w 1200"/>
                <a:gd name="T35" fmla="*/ 911 h 959"/>
                <a:gd name="T36" fmla="*/ 1 w 1200"/>
                <a:gd name="T37" fmla="*/ 928 h 959"/>
                <a:gd name="T38" fmla="*/ 7 w 1200"/>
                <a:gd name="T39" fmla="*/ 941 h 959"/>
                <a:gd name="T40" fmla="*/ 18 w 1200"/>
                <a:gd name="T41" fmla="*/ 952 h 959"/>
                <a:gd name="T42" fmla="*/ 33 w 1200"/>
                <a:gd name="T43" fmla="*/ 958 h 959"/>
                <a:gd name="T44" fmla="*/ 160 w 1200"/>
                <a:gd name="T45" fmla="*/ 959 h 959"/>
                <a:gd name="T46" fmla="*/ 480 w 1200"/>
                <a:gd name="T47" fmla="*/ 959 h 959"/>
                <a:gd name="T48" fmla="*/ 800 w 1200"/>
                <a:gd name="T49" fmla="*/ 959 h 959"/>
                <a:gd name="T50" fmla="*/ 1160 w 1200"/>
                <a:gd name="T51" fmla="*/ 959 h 959"/>
                <a:gd name="T52" fmla="*/ 1175 w 1200"/>
                <a:gd name="T53" fmla="*/ 956 h 959"/>
                <a:gd name="T54" fmla="*/ 1188 w 1200"/>
                <a:gd name="T55" fmla="*/ 948 h 959"/>
                <a:gd name="T56" fmla="*/ 1197 w 1200"/>
                <a:gd name="T57" fmla="*/ 935 h 959"/>
                <a:gd name="T58" fmla="*/ 1200 w 1200"/>
                <a:gd name="T59" fmla="*/ 919 h 959"/>
                <a:gd name="T60" fmla="*/ 1197 w 1200"/>
                <a:gd name="T61" fmla="*/ 904 h 959"/>
                <a:gd name="T62" fmla="*/ 1188 w 1200"/>
                <a:gd name="T63" fmla="*/ 891 h 959"/>
                <a:gd name="T64" fmla="*/ 1175 w 1200"/>
                <a:gd name="T65" fmla="*/ 882 h 959"/>
                <a:gd name="T66" fmla="*/ 1160 w 1200"/>
                <a:gd name="T67" fmla="*/ 88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0" h="959">
                  <a:moveTo>
                    <a:pt x="880" y="880"/>
                  </a:moveTo>
                  <a:lnTo>
                    <a:pt x="880" y="79"/>
                  </a:lnTo>
                  <a:lnTo>
                    <a:pt x="960" y="79"/>
                  </a:lnTo>
                  <a:lnTo>
                    <a:pt x="960" y="880"/>
                  </a:lnTo>
                  <a:lnTo>
                    <a:pt x="880" y="880"/>
                  </a:lnTo>
                  <a:close/>
                  <a:moveTo>
                    <a:pt x="560" y="880"/>
                  </a:moveTo>
                  <a:lnTo>
                    <a:pt x="560" y="319"/>
                  </a:lnTo>
                  <a:lnTo>
                    <a:pt x="640" y="319"/>
                  </a:lnTo>
                  <a:lnTo>
                    <a:pt x="640" y="880"/>
                  </a:lnTo>
                  <a:lnTo>
                    <a:pt x="560" y="880"/>
                  </a:lnTo>
                  <a:close/>
                  <a:moveTo>
                    <a:pt x="240" y="880"/>
                  </a:moveTo>
                  <a:lnTo>
                    <a:pt x="240" y="560"/>
                  </a:lnTo>
                  <a:lnTo>
                    <a:pt x="320" y="560"/>
                  </a:lnTo>
                  <a:lnTo>
                    <a:pt x="320" y="880"/>
                  </a:lnTo>
                  <a:lnTo>
                    <a:pt x="240" y="880"/>
                  </a:lnTo>
                  <a:close/>
                  <a:moveTo>
                    <a:pt x="1160" y="880"/>
                  </a:moveTo>
                  <a:lnTo>
                    <a:pt x="1040" y="880"/>
                  </a:lnTo>
                  <a:lnTo>
                    <a:pt x="1040" y="0"/>
                  </a:lnTo>
                  <a:lnTo>
                    <a:pt x="800" y="0"/>
                  </a:lnTo>
                  <a:lnTo>
                    <a:pt x="800" y="880"/>
                  </a:lnTo>
                  <a:lnTo>
                    <a:pt x="720" y="880"/>
                  </a:lnTo>
                  <a:lnTo>
                    <a:pt x="720" y="239"/>
                  </a:lnTo>
                  <a:lnTo>
                    <a:pt x="480" y="239"/>
                  </a:lnTo>
                  <a:lnTo>
                    <a:pt x="480" y="880"/>
                  </a:lnTo>
                  <a:lnTo>
                    <a:pt x="400" y="880"/>
                  </a:lnTo>
                  <a:lnTo>
                    <a:pt x="400" y="479"/>
                  </a:lnTo>
                  <a:lnTo>
                    <a:pt x="160" y="479"/>
                  </a:lnTo>
                  <a:lnTo>
                    <a:pt x="160" y="880"/>
                  </a:lnTo>
                  <a:lnTo>
                    <a:pt x="41" y="880"/>
                  </a:lnTo>
                  <a:lnTo>
                    <a:pt x="33" y="880"/>
                  </a:lnTo>
                  <a:lnTo>
                    <a:pt x="25" y="882"/>
                  </a:lnTo>
                  <a:lnTo>
                    <a:pt x="18" y="886"/>
                  </a:lnTo>
                  <a:lnTo>
                    <a:pt x="11" y="891"/>
                  </a:lnTo>
                  <a:lnTo>
                    <a:pt x="7" y="896"/>
                  </a:lnTo>
                  <a:lnTo>
                    <a:pt x="4" y="904"/>
                  </a:lnTo>
                  <a:lnTo>
                    <a:pt x="1" y="911"/>
                  </a:lnTo>
                  <a:lnTo>
                    <a:pt x="0" y="919"/>
                  </a:lnTo>
                  <a:lnTo>
                    <a:pt x="1" y="928"/>
                  </a:lnTo>
                  <a:lnTo>
                    <a:pt x="4" y="935"/>
                  </a:lnTo>
                  <a:lnTo>
                    <a:pt x="7" y="941"/>
                  </a:lnTo>
                  <a:lnTo>
                    <a:pt x="11" y="948"/>
                  </a:lnTo>
                  <a:lnTo>
                    <a:pt x="18" y="952"/>
                  </a:lnTo>
                  <a:lnTo>
                    <a:pt x="25" y="956"/>
                  </a:lnTo>
                  <a:lnTo>
                    <a:pt x="33" y="958"/>
                  </a:lnTo>
                  <a:lnTo>
                    <a:pt x="41" y="959"/>
                  </a:lnTo>
                  <a:lnTo>
                    <a:pt x="160" y="959"/>
                  </a:lnTo>
                  <a:lnTo>
                    <a:pt x="400" y="959"/>
                  </a:lnTo>
                  <a:lnTo>
                    <a:pt x="480" y="959"/>
                  </a:lnTo>
                  <a:lnTo>
                    <a:pt x="720" y="959"/>
                  </a:lnTo>
                  <a:lnTo>
                    <a:pt x="800" y="959"/>
                  </a:lnTo>
                  <a:lnTo>
                    <a:pt x="1040" y="959"/>
                  </a:lnTo>
                  <a:lnTo>
                    <a:pt x="1160" y="959"/>
                  </a:lnTo>
                  <a:lnTo>
                    <a:pt x="1168" y="958"/>
                  </a:lnTo>
                  <a:lnTo>
                    <a:pt x="1175" y="956"/>
                  </a:lnTo>
                  <a:lnTo>
                    <a:pt x="1182" y="952"/>
                  </a:lnTo>
                  <a:lnTo>
                    <a:pt x="1188" y="948"/>
                  </a:lnTo>
                  <a:lnTo>
                    <a:pt x="1193" y="941"/>
                  </a:lnTo>
                  <a:lnTo>
                    <a:pt x="1197" y="935"/>
                  </a:lnTo>
                  <a:lnTo>
                    <a:pt x="1199" y="928"/>
                  </a:lnTo>
                  <a:lnTo>
                    <a:pt x="1200" y="919"/>
                  </a:lnTo>
                  <a:lnTo>
                    <a:pt x="1199" y="911"/>
                  </a:lnTo>
                  <a:lnTo>
                    <a:pt x="1197" y="904"/>
                  </a:lnTo>
                  <a:lnTo>
                    <a:pt x="1193" y="896"/>
                  </a:lnTo>
                  <a:lnTo>
                    <a:pt x="1188" y="891"/>
                  </a:lnTo>
                  <a:lnTo>
                    <a:pt x="1182" y="886"/>
                  </a:lnTo>
                  <a:lnTo>
                    <a:pt x="1175" y="882"/>
                  </a:lnTo>
                  <a:lnTo>
                    <a:pt x="1168" y="880"/>
                  </a:lnTo>
                  <a:lnTo>
                    <a:pt x="1160"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63" name="Gruppieren 362">
            <a:extLst>
              <a:ext uri="{FF2B5EF4-FFF2-40B4-BE49-F238E27FC236}">
                <a16:creationId xmlns:a16="http://schemas.microsoft.com/office/drawing/2014/main" id="{D54FC58E-238B-4546-979B-770DCB295F06}"/>
              </a:ext>
            </a:extLst>
          </p:cNvPr>
          <p:cNvGrpSpPr>
            <a:grpSpLocks noChangeAspect="1"/>
          </p:cNvGrpSpPr>
          <p:nvPr/>
        </p:nvGrpSpPr>
        <p:grpSpPr>
          <a:xfrm>
            <a:off x="1059516" y="2724897"/>
            <a:ext cx="319566" cy="306484"/>
            <a:chOff x="4169357" y="2751655"/>
            <a:chExt cx="805286" cy="772321"/>
          </a:xfrm>
          <a:solidFill>
            <a:schemeClr val="bg2"/>
          </a:solidFill>
          <a:effectLst/>
        </p:grpSpPr>
        <p:sp>
          <p:nvSpPr>
            <p:cNvPr id="364" name="Freeform 9">
              <a:extLst>
                <a:ext uri="{FF2B5EF4-FFF2-40B4-BE49-F238E27FC236}">
                  <a16:creationId xmlns:a16="http://schemas.microsoft.com/office/drawing/2014/main" id="{F6E697EC-1C5A-4324-9FCF-7F4F56CD9F87}"/>
                </a:ext>
              </a:extLst>
            </p:cNvPr>
            <p:cNvSpPr>
              <a:spLocks noEditPoints="1"/>
            </p:cNvSpPr>
            <p:nvPr/>
          </p:nvSpPr>
          <p:spPr bwMode="auto">
            <a:xfrm>
              <a:off x="4169357" y="2751655"/>
              <a:ext cx="569822" cy="567468"/>
            </a:xfrm>
            <a:custGeom>
              <a:avLst/>
              <a:gdLst>
                <a:gd name="T0" fmla="*/ 396 w 965"/>
                <a:gd name="T1" fmla="*/ 62 h 966"/>
                <a:gd name="T2" fmla="*/ 297 w 965"/>
                <a:gd name="T3" fmla="*/ 96 h 966"/>
                <a:gd name="T4" fmla="*/ 210 w 965"/>
                <a:gd name="T5" fmla="*/ 152 h 966"/>
                <a:gd name="T6" fmla="*/ 139 w 965"/>
                <a:gd name="T7" fmla="*/ 226 h 966"/>
                <a:gd name="T8" fmla="*/ 87 w 965"/>
                <a:gd name="T9" fmla="*/ 315 h 966"/>
                <a:gd name="T10" fmla="*/ 58 w 965"/>
                <a:gd name="T11" fmla="*/ 418 h 966"/>
                <a:gd name="T12" fmla="*/ 56 w 965"/>
                <a:gd name="T13" fmla="*/ 526 h 966"/>
                <a:gd name="T14" fmla="*/ 80 w 965"/>
                <a:gd name="T15" fmla="*/ 631 h 966"/>
                <a:gd name="T16" fmla="*/ 127 w 965"/>
                <a:gd name="T17" fmla="*/ 722 h 966"/>
                <a:gd name="T18" fmla="*/ 194 w 965"/>
                <a:gd name="T19" fmla="*/ 801 h 966"/>
                <a:gd name="T20" fmla="*/ 278 w 965"/>
                <a:gd name="T21" fmla="*/ 860 h 966"/>
                <a:gd name="T22" fmla="*/ 376 w 965"/>
                <a:gd name="T23" fmla="*/ 898 h 966"/>
                <a:gd name="T24" fmla="*/ 482 w 965"/>
                <a:gd name="T25" fmla="*/ 912 h 966"/>
                <a:gd name="T26" fmla="*/ 590 w 965"/>
                <a:gd name="T27" fmla="*/ 898 h 966"/>
                <a:gd name="T28" fmla="*/ 687 w 965"/>
                <a:gd name="T29" fmla="*/ 860 h 966"/>
                <a:gd name="T30" fmla="*/ 771 w 965"/>
                <a:gd name="T31" fmla="*/ 801 h 966"/>
                <a:gd name="T32" fmla="*/ 838 w 965"/>
                <a:gd name="T33" fmla="*/ 722 h 966"/>
                <a:gd name="T34" fmla="*/ 886 w 965"/>
                <a:gd name="T35" fmla="*/ 631 h 966"/>
                <a:gd name="T36" fmla="*/ 909 w 965"/>
                <a:gd name="T37" fmla="*/ 526 h 966"/>
                <a:gd name="T38" fmla="*/ 907 w 965"/>
                <a:gd name="T39" fmla="*/ 418 h 966"/>
                <a:gd name="T40" fmla="*/ 878 w 965"/>
                <a:gd name="T41" fmla="*/ 315 h 966"/>
                <a:gd name="T42" fmla="*/ 826 w 965"/>
                <a:gd name="T43" fmla="*/ 226 h 966"/>
                <a:gd name="T44" fmla="*/ 756 w 965"/>
                <a:gd name="T45" fmla="*/ 152 h 966"/>
                <a:gd name="T46" fmla="*/ 668 w 965"/>
                <a:gd name="T47" fmla="*/ 96 h 966"/>
                <a:gd name="T48" fmla="*/ 569 w 965"/>
                <a:gd name="T49" fmla="*/ 62 h 966"/>
                <a:gd name="T50" fmla="*/ 482 w 965"/>
                <a:gd name="T51" fmla="*/ 966 h 966"/>
                <a:gd name="T52" fmla="*/ 362 w 965"/>
                <a:gd name="T53" fmla="*/ 950 h 966"/>
                <a:gd name="T54" fmla="*/ 252 w 965"/>
                <a:gd name="T55" fmla="*/ 907 h 966"/>
                <a:gd name="T56" fmla="*/ 158 w 965"/>
                <a:gd name="T57" fmla="*/ 840 h 966"/>
                <a:gd name="T58" fmla="*/ 82 w 965"/>
                <a:gd name="T59" fmla="*/ 753 h 966"/>
                <a:gd name="T60" fmla="*/ 29 w 965"/>
                <a:gd name="T61" fmla="*/ 648 h 966"/>
                <a:gd name="T62" fmla="*/ 2 w 965"/>
                <a:gd name="T63" fmla="*/ 532 h 966"/>
                <a:gd name="T64" fmla="*/ 6 w 965"/>
                <a:gd name="T65" fmla="*/ 410 h 966"/>
                <a:gd name="T66" fmla="*/ 38 w 965"/>
                <a:gd name="T67" fmla="*/ 295 h 966"/>
                <a:gd name="T68" fmla="*/ 95 w 965"/>
                <a:gd name="T69" fmla="*/ 194 h 966"/>
                <a:gd name="T70" fmla="*/ 176 w 965"/>
                <a:gd name="T71" fmla="*/ 110 h 966"/>
                <a:gd name="T72" fmla="*/ 273 w 965"/>
                <a:gd name="T73" fmla="*/ 48 h 966"/>
                <a:gd name="T74" fmla="*/ 386 w 965"/>
                <a:gd name="T75" fmla="*/ 9 h 966"/>
                <a:gd name="T76" fmla="*/ 508 w 965"/>
                <a:gd name="T77" fmla="*/ 0 h 966"/>
                <a:gd name="T78" fmla="*/ 625 w 965"/>
                <a:gd name="T79" fmla="*/ 22 h 966"/>
                <a:gd name="T80" fmla="*/ 733 w 965"/>
                <a:gd name="T81" fmla="*/ 70 h 966"/>
                <a:gd name="T82" fmla="*/ 824 w 965"/>
                <a:gd name="T83" fmla="*/ 142 h 966"/>
                <a:gd name="T84" fmla="*/ 896 w 965"/>
                <a:gd name="T85" fmla="*/ 233 h 966"/>
                <a:gd name="T86" fmla="*/ 944 w 965"/>
                <a:gd name="T87" fmla="*/ 339 h 966"/>
                <a:gd name="T88" fmla="*/ 965 w 965"/>
                <a:gd name="T89" fmla="*/ 458 h 966"/>
                <a:gd name="T90" fmla="*/ 955 w 965"/>
                <a:gd name="T91" fmla="*/ 580 h 966"/>
                <a:gd name="T92" fmla="*/ 918 w 965"/>
                <a:gd name="T93" fmla="*/ 692 h 966"/>
                <a:gd name="T94" fmla="*/ 855 w 965"/>
                <a:gd name="T95" fmla="*/ 790 h 966"/>
                <a:gd name="T96" fmla="*/ 771 w 965"/>
                <a:gd name="T97" fmla="*/ 869 h 966"/>
                <a:gd name="T98" fmla="*/ 670 w 965"/>
                <a:gd name="T99" fmla="*/ 928 h 966"/>
                <a:gd name="T100" fmla="*/ 556 w 965"/>
                <a:gd name="T101" fmla="*/ 96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5" h="966">
                  <a:moveTo>
                    <a:pt x="482" y="53"/>
                  </a:moveTo>
                  <a:lnTo>
                    <a:pt x="461" y="54"/>
                  </a:lnTo>
                  <a:lnTo>
                    <a:pt x="438" y="55"/>
                  </a:lnTo>
                  <a:lnTo>
                    <a:pt x="417" y="59"/>
                  </a:lnTo>
                  <a:lnTo>
                    <a:pt x="396" y="62"/>
                  </a:lnTo>
                  <a:lnTo>
                    <a:pt x="376" y="68"/>
                  </a:lnTo>
                  <a:lnTo>
                    <a:pt x="355" y="73"/>
                  </a:lnTo>
                  <a:lnTo>
                    <a:pt x="335" y="80"/>
                  </a:lnTo>
                  <a:lnTo>
                    <a:pt x="316" y="88"/>
                  </a:lnTo>
                  <a:lnTo>
                    <a:pt x="297" y="96"/>
                  </a:lnTo>
                  <a:lnTo>
                    <a:pt x="278" y="106"/>
                  </a:lnTo>
                  <a:lnTo>
                    <a:pt x="260" y="116"/>
                  </a:lnTo>
                  <a:lnTo>
                    <a:pt x="243" y="127"/>
                  </a:lnTo>
                  <a:lnTo>
                    <a:pt x="226" y="139"/>
                  </a:lnTo>
                  <a:lnTo>
                    <a:pt x="210" y="152"/>
                  </a:lnTo>
                  <a:lnTo>
                    <a:pt x="194" y="165"/>
                  </a:lnTo>
                  <a:lnTo>
                    <a:pt x="179" y="180"/>
                  </a:lnTo>
                  <a:lnTo>
                    <a:pt x="165" y="194"/>
                  </a:lnTo>
                  <a:lnTo>
                    <a:pt x="151" y="210"/>
                  </a:lnTo>
                  <a:lnTo>
                    <a:pt x="139" y="226"/>
                  </a:lnTo>
                  <a:lnTo>
                    <a:pt x="127" y="243"/>
                  </a:lnTo>
                  <a:lnTo>
                    <a:pt x="115" y="261"/>
                  </a:lnTo>
                  <a:lnTo>
                    <a:pt x="105" y="278"/>
                  </a:lnTo>
                  <a:lnTo>
                    <a:pt x="95" y="296"/>
                  </a:lnTo>
                  <a:lnTo>
                    <a:pt x="87" y="315"/>
                  </a:lnTo>
                  <a:lnTo>
                    <a:pt x="80" y="336"/>
                  </a:lnTo>
                  <a:lnTo>
                    <a:pt x="73" y="356"/>
                  </a:lnTo>
                  <a:lnTo>
                    <a:pt x="67" y="376"/>
                  </a:lnTo>
                  <a:lnTo>
                    <a:pt x="62" y="396"/>
                  </a:lnTo>
                  <a:lnTo>
                    <a:pt x="58" y="418"/>
                  </a:lnTo>
                  <a:lnTo>
                    <a:pt x="56" y="439"/>
                  </a:lnTo>
                  <a:lnTo>
                    <a:pt x="54" y="461"/>
                  </a:lnTo>
                  <a:lnTo>
                    <a:pt x="54" y="483"/>
                  </a:lnTo>
                  <a:lnTo>
                    <a:pt x="54" y="505"/>
                  </a:lnTo>
                  <a:lnTo>
                    <a:pt x="56" y="526"/>
                  </a:lnTo>
                  <a:lnTo>
                    <a:pt x="58" y="549"/>
                  </a:lnTo>
                  <a:lnTo>
                    <a:pt x="62" y="569"/>
                  </a:lnTo>
                  <a:lnTo>
                    <a:pt x="67" y="590"/>
                  </a:lnTo>
                  <a:lnTo>
                    <a:pt x="73" y="610"/>
                  </a:lnTo>
                  <a:lnTo>
                    <a:pt x="80" y="631"/>
                  </a:lnTo>
                  <a:lnTo>
                    <a:pt x="87" y="650"/>
                  </a:lnTo>
                  <a:lnTo>
                    <a:pt x="95" y="669"/>
                  </a:lnTo>
                  <a:lnTo>
                    <a:pt x="105" y="688"/>
                  </a:lnTo>
                  <a:lnTo>
                    <a:pt x="115" y="706"/>
                  </a:lnTo>
                  <a:lnTo>
                    <a:pt x="127" y="722"/>
                  </a:lnTo>
                  <a:lnTo>
                    <a:pt x="139" y="739"/>
                  </a:lnTo>
                  <a:lnTo>
                    <a:pt x="151" y="756"/>
                  </a:lnTo>
                  <a:lnTo>
                    <a:pt x="165" y="772"/>
                  </a:lnTo>
                  <a:lnTo>
                    <a:pt x="179" y="786"/>
                  </a:lnTo>
                  <a:lnTo>
                    <a:pt x="194" y="801"/>
                  </a:lnTo>
                  <a:lnTo>
                    <a:pt x="210" y="814"/>
                  </a:lnTo>
                  <a:lnTo>
                    <a:pt x="226" y="827"/>
                  </a:lnTo>
                  <a:lnTo>
                    <a:pt x="243" y="839"/>
                  </a:lnTo>
                  <a:lnTo>
                    <a:pt x="260" y="850"/>
                  </a:lnTo>
                  <a:lnTo>
                    <a:pt x="278" y="860"/>
                  </a:lnTo>
                  <a:lnTo>
                    <a:pt x="297" y="869"/>
                  </a:lnTo>
                  <a:lnTo>
                    <a:pt x="316" y="878"/>
                  </a:lnTo>
                  <a:lnTo>
                    <a:pt x="335" y="886"/>
                  </a:lnTo>
                  <a:lnTo>
                    <a:pt x="355" y="893"/>
                  </a:lnTo>
                  <a:lnTo>
                    <a:pt x="376" y="898"/>
                  </a:lnTo>
                  <a:lnTo>
                    <a:pt x="396" y="903"/>
                  </a:lnTo>
                  <a:lnTo>
                    <a:pt x="417" y="907"/>
                  </a:lnTo>
                  <a:lnTo>
                    <a:pt x="438" y="910"/>
                  </a:lnTo>
                  <a:lnTo>
                    <a:pt x="461" y="912"/>
                  </a:lnTo>
                  <a:lnTo>
                    <a:pt x="482" y="912"/>
                  </a:lnTo>
                  <a:lnTo>
                    <a:pt x="504" y="912"/>
                  </a:lnTo>
                  <a:lnTo>
                    <a:pt x="527" y="910"/>
                  </a:lnTo>
                  <a:lnTo>
                    <a:pt x="548" y="907"/>
                  </a:lnTo>
                  <a:lnTo>
                    <a:pt x="569" y="903"/>
                  </a:lnTo>
                  <a:lnTo>
                    <a:pt x="590" y="898"/>
                  </a:lnTo>
                  <a:lnTo>
                    <a:pt x="610" y="893"/>
                  </a:lnTo>
                  <a:lnTo>
                    <a:pt x="630" y="886"/>
                  </a:lnTo>
                  <a:lnTo>
                    <a:pt x="649" y="878"/>
                  </a:lnTo>
                  <a:lnTo>
                    <a:pt x="668" y="869"/>
                  </a:lnTo>
                  <a:lnTo>
                    <a:pt x="687" y="860"/>
                  </a:lnTo>
                  <a:lnTo>
                    <a:pt x="705" y="850"/>
                  </a:lnTo>
                  <a:lnTo>
                    <a:pt x="722" y="839"/>
                  </a:lnTo>
                  <a:lnTo>
                    <a:pt x="739" y="827"/>
                  </a:lnTo>
                  <a:lnTo>
                    <a:pt x="756" y="814"/>
                  </a:lnTo>
                  <a:lnTo>
                    <a:pt x="771" y="801"/>
                  </a:lnTo>
                  <a:lnTo>
                    <a:pt x="786" y="786"/>
                  </a:lnTo>
                  <a:lnTo>
                    <a:pt x="800" y="772"/>
                  </a:lnTo>
                  <a:lnTo>
                    <a:pt x="814" y="756"/>
                  </a:lnTo>
                  <a:lnTo>
                    <a:pt x="826" y="739"/>
                  </a:lnTo>
                  <a:lnTo>
                    <a:pt x="838" y="722"/>
                  </a:lnTo>
                  <a:lnTo>
                    <a:pt x="850" y="706"/>
                  </a:lnTo>
                  <a:lnTo>
                    <a:pt x="860" y="688"/>
                  </a:lnTo>
                  <a:lnTo>
                    <a:pt x="870" y="669"/>
                  </a:lnTo>
                  <a:lnTo>
                    <a:pt x="878" y="650"/>
                  </a:lnTo>
                  <a:lnTo>
                    <a:pt x="886" y="631"/>
                  </a:lnTo>
                  <a:lnTo>
                    <a:pt x="892" y="610"/>
                  </a:lnTo>
                  <a:lnTo>
                    <a:pt x="898" y="590"/>
                  </a:lnTo>
                  <a:lnTo>
                    <a:pt x="903" y="569"/>
                  </a:lnTo>
                  <a:lnTo>
                    <a:pt x="907" y="549"/>
                  </a:lnTo>
                  <a:lnTo>
                    <a:pt x="909" y="526"/>
                  </a:lnTo>
                  <a:lnTo>
                    <a:pt x="911" y="505"/>
                  </a:lnTo>
                  <a:lnTo>
                    <a:pt x="911" y="483"/>
                  </a:lnTo>
                  <a:lnTo>
                    <a:pt x="911" y="461"/>
                  </a:lnTo>
                  <a:lnTo>
                    <a:pt x="909" y="439"/>
                  </a:lnTo>
                  <a:lnTo>
                    <a:pt x="907" y="418"/>
                  </a:lnTo>
                  <a:lnTo>
                    <a:pt x="903" y="396"/>
                  </a:lnTo>
                  <a:lnTo>
                    <a:pt x="898" y="376"/>
                  </a:lnTo>
                  <a:lnTo>
                    <a:pt x="892" y="356"/>
                  </a:lnTo>
                  <a:lnTo>
                    <a:pt x="886" y="336"/>
                  </a:lnTo>
                  <a:lnTo>
                    <a:pt x="878" y="315"/>
                  </a:lnTo>
                  <a:lnTo>
                    <a:pt x="870" y="296"/>
                  </a:lnTo>
                  <a:lnTo>
                    <a:pt x="860" y="278"/>
                  </a:lnTo>
                  <a:lnTo>
                    <a:pt x="850" y="261"/>
                  </a:lnTo>
                  <a:lnTo>
                    <a:pt x="838" y="243"/>
                  </a:lnTo>
                  <a:lnTo>
                    <a:pt x="826" y="226"/>
                  </a:lnTo>
                  <a:lnTo>
                    <a:pt x="814" y="210"/>
                  </a:lnTo>
                  <a:lnTo>
                    <a:pt x="800" y="194"/>
                  </a:lnTo>
                  <a:lnTo>
                    <a:pt x="786" y="180"/>
                  </a:lnTo>
                  <a:lnTo>
                    <a:pt x="771" y="165"/>
                  </a:lnTo>
                  <a:lnTo>
                    <a:pt x="756" y="152"/>
                  </a:lnTo>
                  <a:lnTo>
                    <a:pt x="739" y="139"/>
                  </a:lnTo>
                  <a:lnTo>
                    <a:pt x="722" y="127"/>
                  </a:lnTo>
                  <a:lnTo>
                    <a:pt x="705" y="116"/>
                  </a:lnTo>
                  <a:lnTo>
                    <a:pt x="687" y="106"/>
                  </a:lnTo>
                  <a:lnTo>
                    <a:pt x="668" y="96"/>
                  </a:lnTo>
                  <a:lnTo>
                    <a:pt x="649" y="88"/>
                  </a:lnTo>
                  <a:lnTo>
                    <a:pt x="630" y="80"/>
                  </a:lnTo>
                  <a:lnTo>
                    <a:pt x="610" y="73"/>
                  </a:lnTo>
                  <a:lnTo>
                    <a:pt x="590" y="68"/>
                  </a:lnTo>
                  <a:lnTo>
                    <a:pt x="569" y="62"/>
                  </a:lnTo>
                  <a:lnTo>
                    <a:pt x="548" y="59"/>
                  </a:lnTo>
                  <a:lnTo>
                    <a:pt x="527" y="55"/>
                  </a:lnTo>
                  <a:lnTo>
                    <a:pt x="504" y="54"/>
                  </a:lnTo>
                  <a:lnTo>
                    <a:pt x="482" y="53"/>
                  </a:lnTo>
                  <a:close/>
                  <a:moveTo>
                    <a:pt x="482" y="966"/>
                  </a:moveTo>
                  <a:lnTo>
                    <a:pt x="457" y="965"/>
                  </a:lnTo>
                  <a:lnTo>
                    <a:pt x="433" y="964"/>
                  </a:lnTo>
                  <a:lnTo>
                    <a:pt x="409" y="960"/>
                  </a:lnTo>
                  <a:lnTo>
                    <a:pt x="386" y="956"/>
                  </a:lnTo>
                  <a:lnTo>
                    <a:pt x="362" y="950"/>
                  </a:lnTo>
                  <a:lnTo>
                    <a:pt x="340" y="944"/>
                  </a:lnTo>
                  <a:lnTo>
                    <a:pt x="317" y="937"/>
                  </a:lnTo>
                  <a:lnTo>
                    <a:pt x="295" y="928"/>
                  </a:lnTo>
                  <a:lnTo>
                    <a:pt x="273" y="918"/>
                  </a:lnTo>
                  <a:lnTo>
                    <a:pt x="252" y="907"/>
                  </a:lnTo>
                  <a:lnTo>
                    <a:pt x="232" y="896"/>
                  </a:lnTo>
                  <a:lnTo>
                    <a:pt x="213" y="883"/>
                  </a:lnTo>
                  <a:lnTo>
                    <a:pt x="194" y="869"/>
                  </a:lnTo>
                  <a:lnTo>
                    <a:pt x="176" y="856"/>
                  </a:lnTo>
                  <a:lnTo>
                    <a:pt x="158" y="840"/>
                  </a:lnTo>
                  <a:lnTo>
                    <a:pt x="141" y="825"/>
                  </a:lnTo>
                  <a:lnTo>
                    <a:pt x="126" y="808"/>
                  </a:lnTo>
                  <a:lnTo>
                    <a:pt x="110" y="790"/>
                  </a:lnTo>
                  <a:lnTo>
                    <a:pt x="95" y="772"/>
                  </a:lnTo>
                  <a:lnTo>
                    <a:pt x="82" y="753"/>
                  </a:lnTo>
                  <a:lnTo>
                    <a:pt x="69" y="733"/>
                  </a:lnTo>
                  <a:lnTo>
                    <a:pt x="58" y="712"/>
                  </a:lnTo>
                  <a:lnTo>
                    <a:pt x="47" y="692"/>
                  </a:lnTo>
                  <a:lnTo>
                    <a:pt x="38" y="671"/>
                  </a:lnTo>
                  <a:lnTo>
                    <a:pt x="29" y="648"/>
                  </a:lnTo>
                  <a:lnTo>
                    <a:pt x="21" y="626"/>
                  </a:lnTo>
                  <a:lnTo>
                    <a:pt x="15" y="604"/>
                  </a:lnTo>
                  <a:lnTo>
                    <a:pt x="10" y="580"/>
                  </a:lnTo>
                  <a:lnTo>
                    <a:pt x="6" y="557"/>
                  </a:lnTo>
                  <a:lnTo>
                    <a:pt x="2" y="532"/>
                  </a:lnTo>
                  <a:lnTo>
                    <a:pt x="0" y="507"/>
                  </a:lnTo>
                  <a:lnTo>
                    <a:pt x="0" y="483"/>
                  </a:lnTo>
                  <a:lnTo>
                    <a:pt x="0" y="458"/>
                  </a:lnTo>
                  <a:lnTo>
                    <a:pt x="2" y="433"/>
                  </a:lnTo>
                  <a:lnTo>
                    <a:pt x="6" y="410"/>
                  </a:lnTo>
                  <a:lnTo>
                    <a:pt x="10" y="386"/>
                  </a:lnTo>
                  <a:lnTo>
                    <a:pt x="15" y="363"/>
                  </a:lnTo>
                  <a:lnTo>
                    <a:pt x="21" y="339"/>
                  </a:lnTo>
                  <a:lnTo>
                    <a:pt x="29" y="317"/>
                  </a:lnTo>
                  <a:lnTo>
                    <a:pt x="38" y="295"/>
                  </a:lnTo>
                  <a:lnTo>
                    <a:pt x="47" y="274"/>
                  </a:lnTo>
                  <a:lnTo>
                    <a:pt x="58" y="253"/>
                  </a:lnTo>
                  <a:lnTo>
                    <a:pt x="69" y="233"/>
                  </a:lnTo>
                  <a:lnTo>
                    <a:pt x="82" y="213"/>
                  </a:lnTo>
                  <a:lnTo>
                    <a:pt x="95" y="194"/>
                  </a:lnTo>
                  <a:lnTo>
                    <a:pt x="110" y="176"/>
                  </a:lnTo>
                  <a:lnTo>
                    <a:pt x="126" y="159"/>
                  </a:lnTo>
                  <a:lnTo>
                    <a:pt x="141" y="142"/>
                  </a:lnTo>
                  <a:lnTo>
                    <a:pt x="158" y="126"/>
                  </a:lnTo>
                  <a:lnTo>
                    <a:pt x="176" y="110"/>
                  </a:lnTo>
                  <a:lnTo>
                    <a:pt x="194" y="96"/>
                  </a:lnTo>
                  <a:lnTo>
                    <a:pt x="213" y="82"/>
                  </a:lnTo>
                  <a:lnTo>
                    <a:pt x="232" y="70"/>
                  </a:lnTo>
                  <a:lnTo>
                    <a:pt x="252" y="59"/>
                  </a:lnTo>
                  <a:lnTo>
                    <a:pt x="273" y="48"/>
                  </a:lnTo>
                  <a:lnTo>
                    <a:pt x="295" y="39"/>
                  </a:lnTo>
                  <a:lnTo>
                    <a:pt x="317" y="30"/>
                  </a:lnTo>
                  <a:lnTo>
                    <a:pt x="340" y="22"/>
                  </a:lnTo>
                  <a:lnTo>
                    <a:pt x="362" y="15"/>
                  </a:lnTo>
                  <a:lnTo>
                    <a:pt x="386" y="9"/>
                  </a:lnTo>
                  <a:lnTo>
                    <a:pt x="409" y="6"/>
                  </a:lnTo>
                  <a:lnTo>
                    <a:pt x="433" y="3"/>
                  </a:lnTo>
                  <a:lnTo>
                    <a:pt x="457" y="0"/>
                  </a:lnTo>
                  <a:lnTo>
                    <a:pt x="482" y="0"/>
                  </a:lnTo>
                  <a:lnTo>
                    <a:pt x="508" y="0"/>
                  </a:lnTo>
                  <a:lnTo>
                    <a:pt x="531" y="3"/>
                  </a:lnTo>
                  <a:lnTo>
                    <a:pt x="556" y="6"/>
                  </a:lnTo>
                  <a:lnTo>
                    <a:pt x="580" y="9"/>
                  </a:lnTo>
                  <a:lnTo>
                    <a:pt x="603" y="15"/>
                  </a:lnTo>
                  <a:lnTo>
                    <a:pt x="625" y="22"/>
                  </a:lnTo>
                  <a:lnTo>
                    <a:pt x="648" y="30"/>
                  </a:lnTo>
                  <a:lnTo>
                    <a:pt x="670" y="39"/>
                  </a:lnTo>
                  <a:lnTo>
                    <a:pt x="692" y="48"/>
                  </a:lnTo>
                  <a:lnTo>
                    <a:pt x="713" y="59"/>
                  </a:lnTo>
                  <a:lnTo>
                    <a:pt x="733" y="70"/>
                  </a:lnTo>
                  <a:lnTo>
                    <a:pt x="752" y="82"/>
                  </a:lnTo>
                  <a:lnTo>
                    <a:pt x="771" y="96"/>
                  </a:lnTo>
                  <a:lnTo>
                    <a:pt x="789" y="110"/>
                  </a:lnTo>
                  <a:lnTo>
                    <a:pt x="807" y="126"/>
                  </a:lnTo>
                  <a:lnTo>
                    <a:pt x="824" y="142"/>
                  </a:lnTo>
                  <a:lnTo>
                    <a:pt x="840" y="159"/>
                  </a:lnTo>
                  <a:lnTo>
                    <a:pt x="855" y="176"/>
                  </a:lnTo>
                  <a:lnTo>
                    <a:pt x="869" y="194"/>
                  </a:lnTo>
                  <a:lnTo>
                    <a:pt x="883" y="213"/>
                  </a:lnTo>
                  <a:lnTo>
                    <a:pt x="896" y="233"/>
                  </a:lnTo>
                  <a:lnTo>
                    <a:pt x="907" y="253"/>
                  </a:lnTo>
                  <a:lnTo>
                    <a:pt x="918" y="274"/>
                  </a:lnTo>
                  <a:lnTo>
                    <a:pt x="927" y="295"/>
                  </a:lnTo>
                  <a:lnTo>
                    <a:pt x="936" y="317"/>
                  </a:lnTo>
                  <a:lnTo>
                    <a:pt x="944" y="339"/>
                  </a:lnTo>
                  <a:lnTo>
                    <a:pt x="951" y="363"/>
                  </a:lnTo>
                  <a:lnTo>
                    <a:pt x="955" y="386"/>
                  </a:lnTo>
                  <a:lnTo>
                    <a:pt x="960" y="410"/>
                  </a:lnTo>
                  <a:lnTo>
                    <a:pt x="963" y="433"/>
                  </a:lnTo>
                  <a:lnTo>
                    <a:pt x="965" y="458"/>
                  </a:lnTo>
                  <a:lnTo>
                    <a:pt x="965" y="483"/>
                  </a:lnTo>
                  <a:lnTo>
                    <a:pt x="965" y="507"/>
                  </a:lnTo>
                  <a:lnTo>
                    <a:pt x="963" y="532"/>
                  </a:lnTo>
                  <a:lnTo>
                    <a:pt x="960" y="557"/>
                  </a:lnTo>
                  <a:lnTo>
                    <a:pt x="955" y="580"/>
                  </a:lnTo>
                  <a:lnTo>
                    <a:pt x="951" y="604"/>
                  </a:lnTo>
                  <a:lnTo>
                    <a:pt x="944" y="626"/>
                  </a:lnTo>
                  <a:lnTo>
                    <a:pt x="936" y="648"/>
                  </a:lnTo>
                  <a:lnTo>
                    <a:pt x="927" y="671"/>
                  </a:lnTo>
                  <a:lnTo>
                    <a:pt x="918" y="692"/>
                  </a:lnTo>
                  <a:lnTo>
                    <a:pt x="907" y="712"/>
                  </a:lnTo>
                  <a:lnTo>
                    <a:pt x="896" y="733"/>
                  </a:lnTo>
                  <a:lnTo>
                    <a:pt x="883" y="753"/>
                  </a:lnTo>
                  <a:lnTo>
                    <a:pt x="869" y="772"/>
                  </a:lnTo>
                  <a:lnTo>
                    <a:pt x="855" y="790"/>
                  </a:lnTo>
                  <a:lnTo>
                    <a:pt x="840" y="808"/>
                  </a:lnTo>
                  <a:lnTo>
                    <a:pt x="824" y="825"/>
                  </a:lnTo>
                  <a:lnTo>
                    <a:pt x="807" y="840"/>
                  </a:lnTo>
                  <a:lnTo>
                    <a:pt x="789" y="856"/>
                  </a:lnTo>
                  <a:lnTo>
                    <a:pt x="771" y="869"/>
                  </a:lnTo>
                  <a:lnTo>
                    <a:pt x="752" y="883"/>
                  </a:lnTo>
                  <a:lnTo>
                    <a:pt x="733" y="896"/>
                  </a:lnTo>
                  <a:lnTo>
                    <a:pt x="713" y="907"/>
                  </a:lnTo>
                  <a:lnTo>
                    <a:pt x="692" y="918"/>
                  </a:lnTo>
                  <a:lnTo>
                    <a:pt x="670" y="928"/>
                  </a:lnTo>
                  <a:lnTo>
                    <a:pt x="648" y="937"/>
                  </a:lnTo>
                  <a:lnTo>
                    <a:pt x="625" y="944"/>
                  </a:lnTo>
                  <a:lnTo>
                    <a:pt x="603" y="950"/>
                  </a:lnTo>
                  <a:lnTo>
                    <a:pt x="580" y="956"/>
                  </a:lnTo>
                  <a:lnTo>
                    <a:pt x="556" y="960"/>
                  </a:lnTo>
                  <a:lnTo>
                    <a:pt x="531" y="964"/>
                  </a:lnTo>
                  <a:lnTo>
                    <a:pt x="508" y="965"/>
                  </a:lnTo>
                  <a:lnTo>
                    <a:pt x="482" y="9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0">
              <a:extLst>
                <a:ext uri="{FF2B5EF4-FFF2-40B4-BE49-F238E27FC236}">
                  <a16:creationId xmlns:a16="http://schemas.microsoft.com/office/drawing/2014/main" id="{53C6C2D2-5AEE-4BB8-8EEE-0D7C8BEBE15C}"/>
                </a:ext>
              </a:extLst>
            </p:cNvPr>
            <p:cNvSpPr>
              <a:spLocks/>
            </p:cNvSpPr>
            <p:nvPr/>
          </p:nvSpPr>
          <p:spPr bwMode="auto">
            <a:xfrm>
              <a:off x="4642638" y="3191971"/>
              <a:ext cx="332005" cy="332005"/>
            </a:xfrm>
            <a:custGeom>
              <a:avLst/>
              <a:gdLst>
                <a:gd name="T0" fmla="*/ 536 w 563"/>
                <a:gd name="T1" fmla="*/ 562 h 562"/>
                <a:gd name="T2" fmla="*/ 531 w 563"/>
                <a:gd name="T3" fmla="*/ 562 h 562"/>
                <a:gd name="T4" fmla="*/ 526 w 563"/>
                <a:gd name="T5" fmla="*/ 560 h 562"/>
                <a:gd name="T6" fmla="*/ 521 w 563"/>
                <a:gd name="T7" fmla="*/ 558 h 562"/>
                <a:gd name="T8" fmla="*/ 517 w 563"/>
                <a:gd name="T9" fmla="*/ 555 h 562"/>
                <a:gd name="T10" fmla="*/ 8 w 563"/>
                <a:gd name="T11" fmla="*/ 44 h 562"/>
                <a:gd name="T12" fmla="*/ 4 w 563"/>
                <a:gd name="T13" fmla="*/ 41 h 562"/>
                <a:gd name="T14" fmla="*/ 1 w 563"/>
                <a:gd name="T15" fmla="*/ 37 h 562"/>
                <a:gd name="T16" fmla="*/ 0 w 563"/>
                <a:gd name="T17" fmla="*/ 31 h 562"/>
                <a:gd name="T18" fmla="*/ 0 w 563"/>
                <a:gd name="T19" fmla="*/ 27 h 562"/>
                <a:gd name="T20" fmla="*/ 0 w 563"/>
                <a:gd name="T21" fmla="*/ 21 h 562"/>
                <a:gd name="T22" fmla="*/ 1 w 563"/>
                <a:gd name="T23" fmla="*/ 16 h 562"/>
                <a:gd name="T24" fmla="*/ 4 w 563"/>
                <a:gd name="T25" fmla="*/ 11 h 562"/>
                <a:gd name="T26" fmla="*/ 8 w 563"/>
                <a:gd name="T27" fmla="*/ 7 h 562"/>
                <a:gd name="T28" fmla="*/ 11 w 563"/>
                <a:gd name="T29" fmla="*/ 4 h 562"/>
                <a:gd name="T30" fmla="*/ 17 w 563"/>
                <a:gd name="T31" fmla="*/ 1 h 562"/>
                <a:gd name="T32" fmla="*/ 21 w 563"/>
                <a:gd name="T33" fmla="*/ 0 h 562"/>
                <a:gd name="T34" fmla="*/ 27 w 563"/>
                <a:gd name="T35" fmla="*/ 0 h 562"/>
                <a:gd name="T36" fmla="*/ 31 w 563"/>
                <a:gd name="T37" fmla="*/ 0 h 562"/>
                <a:gd name="T38" fmla="*/ 37 w 563"/>
                <a:gd name="T39" fmla="*/ 1 h 562"/>
                <a:gd name="T40" fmla="*/ 41 w 563"/>
                <a:gd name="T41" fmla="*/ 4 h 562"/>
                <a:gd name="T42" fmla="*/ 45 w 563"/>
                <a:gd name="T43" fmla="*/ 7 h 562"/>
                <a:gd name="T44" fmla="*/ 555 w 563"/>
                <a:gd name="T45" fmla="*/ 516 h 562"/>
                <a:gd name="T46" fmla="*/ 558 w 563"/>
                <a:gd name="T47" fmla="*/ 521 h 562"/>
                <a:gd name="T48" fmla="*/ 560 w 563"/>
                <a:gd name="T49" fmla="*/ 525 h 562"/>
                <a:gd name="T50" fmla="*/ 563 w 563"/>
                <a:gd name="T51" fmla="*/ 531 h 562"/>
                <a:gd name="T52" fmla="*/ 563 w 563"/>
                <a:gd name="T53" fmla="*/ 536 h 562"/>
                <a:gd name="T54" fmla="*/ 563 w 563"/>
                <a:gd name="T55" fmla="*/ 541 h 562"/>
                <a:gd name="T56" fmla="*/ 560 w 563"/>
                <a:gd name="T57" fmla="*/ 546 h 562"/>
                <a:gd name="T58" fmla="*/ 558 w 563"/>
                <a:gd name="T59" fmla="*/ 550 h 562"/>
                <a:gd name="T60" fmla="*/ 555 w 563"/>
                <a:gd name="T61" fmla="*/ 555 h 562"/>
                <a:gd name="T62" fmla="*/ 550 w 563"/>
                <a:gd name="T63" fmla="*/ 558 h 562"/>
                <a:gd name="T64" fmla="*/ 546 w 563"/>
                <a:gd name="T65" fmla="*/ 560 h 562"/>
                <a:gd name="T66" fmla="*/ 541 w 563"/>
                <a:gd name="T67" fmla="*/ 562 h 562"/>
                <a:gd name="T68" fmla="*/ 536 w 563"/>
                <a:gd name="T69"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3" h="562">
                  <a:moveTo>
                    <a:pt x="536" y="562"/>
                  </a:moveTo>
                  <a:lnTo>
                    <a:pt x="531" y="562"/>
                  </a:lnTo>
                  <a:lnTo>
                    <a:pt x="526" y="560"/>
                  </a:lnTo>
                  <a:lnTo>
                    <a:pt x="521" y="558"/>
                  </a:lnTo>
                  <a:lnTo>
                    <a:pt x="517" y="555"/>
                  </a:lnTo>
                  <a:lnTo>
                    <a:pt x="8" y="44"/>
                  </a:lnTo>
                  <a:lnTo>
                    <a:pt x="4" y="41"/>
                  </a:lnTo>
                  <a:lnTo>
                    <a:pt x="1" y="37"/>
                  </a:lnTo>
                  <a:lnTo>
                    <a:pt x="0" y="31"/>
                  </a:lnTo>
                  <a:lnTo>
                    <a:pt x="0" y="27"/>
                  </a:lnTo>
                  <a:lnTo>
                    <a:pt x="0" y="21"/>
                  </a:lnTo>
                  <a:lnTo>
                    <a:pt x="1" y="16"/>
                  </a:lnTo>
                  <a:lnTo>
                    <a:pt x="4" y="11"/>
                  </a:lnTo>
                  <a:lnTo>
                    <a:pt x="8" y="7"/>
                  </a:lnTo>
                  <a:lnTo>
                    <a:pt x="11" y="4"/>
                  </a:lnTo>
                  <a:lnTo>
                    <a:pt x="17" y="1"/>
                  </a:lnTo>
                  <a:lnTo>
                    <a:pt x="21" y="0"/>
                  </a:lnTo>
                  <a:lnTo>
                    <a:pt x="27" y="0"/>
                  </a:lnTo>
                  <a:lnTo>
                    <a:pt x="31" y="0"/>
                  </a:lnTo>
                  <a:lnTo>
                    <a:pt x="37" y="1"/>
                  </a:lnTo>
                  <a:lnTo>
                    <a:pt x="41" y="4"/>
                  </a:lnTo>
                  <a:lnTo>
                    <a:pt x="45" y="7"/>
                  </a:lnTo>
                  <a:lnTo>
                    <a:pt x="555" y="516"/>
                  </a:lnTo>
                  <a:lnTo>
                    <a:pt x="558" y="521"/>
                  </a:lnTo>
                  <a:lnTo>
                    <a:pt x="560" y="525"/>
                  </a:lnTo>
                  <a:lnTo>
                    <a:pt x="563" y="531"/>
                  </a:lnTo>
                  <a:lnTo>
                    <a:pt x="563" y="536"/>
                  </a:lnTo>
                  <a:lnTo>
                    <a:pt x="563" y="541"/>
                  </a:lnTo>
                  <a:lnTo>
                    <a:pt x="560" y="546"/>
                  </a:lnTo>
                  <a:lnTo>
                    <a:pt x="558" y="550"/>
                  </a:lnTo>
                  <a:lnTo>
                    <a:pt x="555" y="555"/>
                  </a:lnTo>
                  <a:lnTo>
                    <a:pt x="550" y="558"/>
                  </a:lnTo>
                  <a:lnTo>
                    <a:pt x="546" y="560"/>
                  </a:lnTo>
                  <a:lnTo>
                    <a:pt x="541" y="562"/>
                  </a:lnTo>
                  <a:lnTo>
                    <a:pt x="536"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1">
              <a:extLst>
                <a:ext uri="{FF2B5EF4-FFF2-40B4-BE49-F238E27FC236}">
                  <a16:creationId xmlns:a16="http://schemas.microsoft.com/office/drawing/2014/main" id="{D5E014B4-84F6-4238-8554-5DA607D449B0}"/>
                </a:ext>
              </a:extLst>
            </p:cNvPr>
            <p:cNvSpPr>
              <a:spLocks/>
            </p:cNvSpPr>
            <p:nvPr/>
          </p:nvSpPr>
          <p:spPr bwMode="auto">
            <a:xfrm>
              <a:off x="4232931" y="2812876"/>
              <a:ext cx="235464" cy="237819"/>
            </a:xfrm>
            <a:custGeom>
              <a:avLst/>
              <a:gdLst>
                <a:gd name="T0" fmla="*/ 23 w 403"/>
                <a:gd name="T1" fmla="*/ 402 h 402"/>
                <a:gd name="T2" fmla="*/ 13 w 403"/>
                <a:gd name="T3" fmla="*/ 398 h 402"/>
                <a:gd name="T4" fmla="*/ 6 w 403"/>
                <a:gd name="T5" fmla="*/ 391 h 402"/>
                <a:gd name="T6" fmla="*/ 2 w 403"/>
                <a:gd name="T7" fmla="*/ 381 h 402"/>
                <a:gd name="T8" fmla="*/ 2 w 403"/>
                <a:gd name="T9" fmla="*/ 356 h 402"/>
                <a:gd name="T10" fmla="*/ 5 w 403"/>
                <a:gd name="T11" fmla="*/ 318 h 402"/>
                <a:gd name="T12" fmla="*/ 13 w 403"/>
                <a:gd name="T13" fmla="*/ 282 h 402"/>
                <a:gd name="T14" fmla="*/ 24 w 403"/>
                <a:gd name="T15" fmla="*/ 247 h 402"/>
                <a:gd name="T16" fmla="*/ 39 w 403"/>
                <a:gd name="T17" fmla="*/ 213 h 402"/>
                <a:gd name="T18" fmla="*/ 55 w 403"/>
                <a:gd name="T19" fmla="*/ 182 h 402"/>
                <a:gd name="T20" fmla="*/ 76 w 403"/>
                <a:gd name="T21" fmla="*/ 151 h 402"/>
                <a:gd name="T22" fmla="*/ 99 w 403"/>
                <a:gd name="T23" fmla="*/ 123 h 402"/>
                <a:gd name="T24" fmla="*/ 124 w 403"/>
                <a:gd name="T25" fmla="*/ 97 h 402"/>
                <a:gd name="T26" fmla="*/ 152 w 403"/>
                <a:gd name="T27" fmla="*/ 75 h 402"/>
                <a:gd name="T28" fmla="*/ 182 w 403"/>
                <a:gd name="T29" fmla="*/ 55 h 402"/>
                <a:gd name="T30" fmla="*/ 213 w 403"/>
                <a:gd name="T31" fmla="*/ 37 h 402"/>
                <a:gd name="T32" fmla="*/ 247 w 403"/>
                <a:gd name="T33" fmla="*/ 23 h 402"/>
                <a:gd name="T34" fmla="*/ 283 w 403"/>
                <a:gd name="T35" fmla="*/ 12 h 402"/>
                <a:gd name="T36" fmla="*/ 320 w 403"/>
                <a:gd name="T37" fmla="*/ 4 h 402"/>
                <a:gd name="T38" fmla="*/ 357 w 403"/>
                <a:gd name="T39" fmla="*/ 1 h 402"/>
                <a:gd name="T40" fmla="*/ 382 w 403"/>
                <a:gd name="T41" fmla="*/ 1 h 402"/>
                <a:gd name="T42" fmla="*/ 392 w 403"/>
                <a:gd name="T43" fmla="*/ 4 h 402"/>
                <a:gd name="T44" fmla="*/ 398 w 403"/>
                <a:gd name="T45" fmla="*/ 12 h 402"/>
                <a:gd name="T46" fmla="*/ 403 w 403"/>
                <a:gd name="T47" fmla="*/ 21 h 402"/>
                <a:gd name="T48" fmla="*/ 403 w 403"/>
                <a:gd name="T49" fmla="*/ 32 h 402"/>
                <a:gd name="T50" fmla="*/ 398 w 403"/>
                <a:gd name="T51" fmla="*/ 43 h 402"/>
                <a:gd name="T52" fmla="*/ 392 w 403"/>
                <a:gd name="T53" fmla="*/ 49 h 402"/>
                <a:gd name="T54" fmla="*/ 382 w 403"/>
                <a:gd name="T55" fmla="*/ 54 h 402"/>
                <a:gd name="T56" fmla="*/ 360 w 403"/>
                <a:gd name="T57" fmla="*/ 55 h 402"/>
                <a:gd name="T58" fmla="*/ 328 w 403"/>
                <a:gd name="T59" fmla="*/ 58 h 402"/>
                <a:gd name="T60" fmla="*/ 296 w 403"/>
                <a:gd name="T61" fmla="*/ 64 h 402"/>
                <a:gd name="T62" fmla="*/ 266 w 403"/>
                <a:gd name="T63" fmla="*/ 74 h 402"/>
                <a:gd name="T64" fmla="*/ 237 w 403"/>
                <a:gd name="T65" fmla="*/ 86 h 402"/>
                <a:gd name="T66" fmla="*/ 210 w 403"/>
                <a:gd name="T67" fmla="*/ 101 h 402"/>
                <a:gd name="T68" fmla="*/ 184 w 403"/>
                <a:gd name="T69" fmla="*/ 118 h 402"/>
                <a:gd name="T70" fmla="*/ 160 w 403"/>
                <a:gd name="T71" fmla="*/ 138 h 402"/>
                <a:gd name="T72" fmla="*/ 138 w 403"/>
                <a:gd name="T73" fmla="*/ 159 h 402"/>
                <a:gd name="T74" fmla="*/ 118 w 403"/>
                <a:gd name="T75" fmla="*/ 184 h 402"/>
                <a:gd name="T76" fmla="*/ 101 w 403"/>
                <a:gd name="T77" fmla="*/ 210 h 402"/>
                <a:gd name="T78" fmla="*/ 87 w 403"/>
                <a:gd name="T79" fmla="*/ 237 h 402"/>
                <a:gd name="T80" fmla="*/ 74 w 403"/>
                <a:gd name="T81" fmla="*/ 266 h 402"/>
                <a:gd name="T82" fmla="*/ 64 w 403"/>
                <a:gd name="T83" fmla="*/ 296 h 402"/>
                <a:gd name="T84" fmla="*/ 59 w 403"/>
                <a:gd name="T85" fmla="*/ 327 h 402"/>
                <a:gd name="T86" fmla="*/ 55 w 403"/>
                <a:gd name="T87" fmla="*/ 360 h 402"/>
                <a:gd name="T88" fmla="*/ 54 w 403"/>
                <a:gd name="T89" fmla="*/ 381 h 402"/>
                <a:gd name="T90" fmla="*/ 50 w 403"/>
                <a:gd name="T91" fmla="*/ 391 h 402"/>
                <a:gd name="T92" fmla="*/ 43 w 403"/>
                <a:gd name="T93" fmla="*/ 398 h 402"/>
                <a:gd name="T94" fmla="*/ 33 w 403"/>
                <a:gd name="T9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3" h="402">
                  <a:moveTo>
                    <a:pt x="27" y="402"/>
                  </a:moveTo>
                  <a:lnTo>
                    <a:pt x="23" y="402"/>
                  </a:lnTo>
                  <a:lnTo>
                    <a:pt x="17" y="400"/>
                  </a:lnTo>
                  <a:lnTo>
                    <a:pt x="13" y="398"/>
                  </a:lnTo>
                  <a:lnTo>
                    <a:pt x="8" y="395"/>
                  </a:lnTo>
                  <a:lnTo>
                    <a:pt x="6" y="391"/>
                  </a:lnTo>
                  <a:lnTo>
                    <a:pt x="3" y="387"/>
                  </a:lnTo>
                  <a:lnTo>
                    <a:pt x="2" y="381"/>
                  </a:lnTo>
                  <a:lnTo>
                    <a:pt x="0" y="376"/>
                  </a:lnTo>
                  <a:lnTo>
                    <a:pt x="2" y="356"/>
                  </a:lnTo>
                  <a:lnTo>
                    <a:pt x="3" y="337"/>
                  </a:lnTo>
                  <a:lnTo>
                    <a:pt x="5" y="318"/>
                  </a:lnTo>
                  <a:lnTo>
                    <a:pt x="8" y="300"/>
                  </a:lnTo>
                  <a:lnTo>
                    <a:pt x="13" y="282"/>
                  </a:lnTo>
                  <a:lnTo>
                    <a:pt x="18" y="265"/>
                  </a:lnTo>
                  <a:lnTo>
                    <a:pt x="24" y="247"/>
                  </a:lnTo>
                  <a:lnTo>
                    <a:pt x="31" y="230"/>
                  </a:lnTo>
                  <a:lnTo>
                    <a:pt x="39" y="213"/>
                  </a:lnTo>
                  <a:lnTo>
                    <a:pt x="46" y="197"/>
                  </a:lnTo>
                  <a:lnTo>
                    <a:pt x="55" y="182"/>
                  </a:lnTo>
                  <a:lnTo>
                    <a:pt x="65" y="166"/>
                  </a:lnTo>
                  <a:lnTo>
                    <a:pt x="76" y="151"/>
                  </a:lnTo>
                  <a:lnTo>
                    <a:pt x="87" y="137"/>
                  </a:lnTo>
                  <a:lnTo>
                    <a:pt x="99" y="123"/>
                  </a:lnTo>
                  <a:lnTo>
                    <a:pt x="111" y="111"/>
                  </a:lnTo>
                  <a:lnTo>
                    <a:pt x="124" y="97"/>
                  </a:lnTo>
                  <a:lnTo>
                    <a:pt x="138" y="86"/>
                  </a:lnTo>
                  <a:lnTo>
                    <a:pt x="152" y="75"/>
                  </a:lnTo>
                  <a:lnTo>
                    <a:pt x="166" y="65"/>
                  </a:lnTo>
                  <a:lnTo>
                    <a:pt x="182" y="55"/>
                  </a:lnTo>
                  <a:lnTo>
                    <a:pt x="198" y="46"/>
                  </a:lnTo>
                  <a:lnTo>
                    <a:pt x="213" y="37"/>
                  </a:lnTo>
                  <a:lnTo>
                    <a:pt x="230" y="30"/>
                  </a:lnTo>
                  <a:lnTo>
                    <a:pt x="247" y="23"/>
                  </a:lnTo>
                  <a:lnTo>
                    <a:pt x="265" y="17"/>
                  </a:lnTo>
                  <a:lnTo>
                    <a:pt x="283" y="12"/>
                  </a:lnTo>
                  <a:lnTo>
                    <a:pt x="301" y="8"/>
                  </a:lnTo>
                  <a:lnTo>
                    <a:pt x="320" y="4"/>
                  </a:lnTo>
                  <a:lnTo>
                    <a:pt x="338" y="2"/>
                  </a:lnTo>
                  <a:lnTo>
                    <a:pt x="357" y="1"/>
                  </a:lnTo>
                  <a:lnTo>
                    <a:pt x="376" y="0"/>
                  </a:lnTo>
                  <a:lnTo>
                    <a:pt x="382" y="1"/>
                  </a:lnTo>
                  <a:lnTo>
                    <a:pt x="387" y="2"/>
                  </a:lnTo>
                  <a:lnTo>
                    <a:pt x="392" y="4"/>
                  </a:lnTo>
                  <a:lnTo>
                    <a:pt x="395" y="8"/>
                  </a:lnTo>
                  <a:lnTo>
                    <a:pt x="398" y="12"/>
                  </a:lnTo>
                  <a:lnTo>
                    <a:pt x="402" y="17"/>
                  </a:lnTo>
                  <a:lnTo>
                    <a:pt x="403" y="21"/>
                  </a:lnTo>
                  <a:lnTo>
                    <a:pt x="403" y="27"/>
                  </a:lnTo>
                  <a:lnTo>
                    <a:pt x="403" y="32"/>
                  </a:lnTo>
                  <a:lnTo>
                    <a:pt x="402" y="38"/>
                  </a:lnTo>
                  <a:lnTo>
                    <a:pt x="398" y="43"/>
                  </a:lnTo>
                  <a:lnTo>
                    <a:pt x="395" y="46"/>
                  </a:lnTo>
                  <a:lnTo>
                    <a:pt x="392" y="49"/>
                  </a:lnTo>
                  <a:lnTo>
                    <a:pt x="387" y="52"/>
                  </a:lnTo>
                  <a:lnTo>
                    <a:pt x="382" y="54"/>
                  </a:lnTo>
                  <a:lnTo>
                    <a:pt x="376" y="54"/>
                  </a:lnTo>
                  <a:lnTo>
                    <a:pt x="360" y="55"/>
                  </a:lnTo>
                  <a:lnTo>
                    <a:pt x="343" y="56"/>
                  </a:lnTo>
                  <a:lnTo>
                    <a:pt x="328" y="58"/>
                  </a:lnTo>
                  <a:lnTo>
                    <a:pt x="312" y="60"/>
                  </a:lnTo>
                  <a:lnTo>
                    <a:pt x="296" y="64"/>
                  </a:lnTo>
                  <a:lnTo>
                    <a:pt x="281" y="68"/>
                  </a:lnTo>
                  <a:lnTo>
                    <a:pt x="266" y="74"/>
                  </a:lnTo>
                  <a:lnTo>
                    <a:pt x="252" y="80"/>
                  </a:lnTo>
                  <a:lnTo>
                    <a:pt x="237" y="86"/>
                  </a:lnTo>
                  <a:lnTo>
                    <a:pt x="224" y="93"/>
                  </a:lnTo>
                  <a:lnTo>
                    <a:pt x="210" y="101"/>
                  </a:lnTo>
                  <a:lnTo>
                    <a:pt x="197" y="109"/>
                  </a:lnTo>
                  <a:lnTo>
                    <a:pt x="184" y="118"/>
                  </a:lnTo>
                  <a:lnTo>
                    <a:pt x="172" y="128"/>
                  </a:lnTo>
                  <a:lnTo>
                    <a:pt x="160" y="138"/>
                  </a:lnTo>
                  <a:lnTo>
                    <a:pt x="150" y="148"/>
                  </a:lnTo>
                  <a:lnTo>
                    <a:pt x="138" y="159"/>
                  </a:lnTo>
                  <a:lnTo>
                    <a:pt x="128" y="171"/>
                  </a:lnTo>
                  <a:lnTo>
                    <a:pt x="118" y="184"/>
                  </a:lnTo>
                  <a:lnTo>
                    <a:pt x="109" y="196"/>
                  </a:lnTo>
                  <a:lnTo>
                    <a:pt x="101" y="210"/>
                  </a:lnTo>
                  <a:lnTo>
                    <a:pt x="94" y="223"/>
                  </a:lnTo>
                  <a:lnTo>
                    <a:pt x="87" y="237"/>
                  </a:lnTo>
                  <a:lnTo>
                    <a:pt x="80" y="251"/>
                  </a:lnTo>
                  <a:lnTo>
                    <a:pt x="74" y="266"/>
                  </a:lnTo>
                  <a:lnTo>
                    <a:pt x="69" y="280"/>
                  </a:lnTo>
                  <a:lnTo>
                    <a:pt x="64" y="296"/>
                  </a:lnTo>
                  <a:lnTo>
                    <a:pt x="61" y="312"/>
                  </a:lnTo>
                  <a:lnTo>
                    <a:pt x="59" y="327"/>
                  </a:lnTo>
                  <a:lnTo>
                    <a:pt x="57" y="343"/>
                  </a:lnTo>
                  <a:lnTo>
                    <a:pt x="55" y="360"/>
                  </a:lnTo>
                  <a:lnTo>
                    <a:pt x="54" y="376"/>
                  </a:lnTo>
                  <a:lnTo>
                    <a:pt x="54" y="381"/>
                  </a:lnTo>
                  <a:lnTo>
                    <a:pt x="52" y="387"/>
                  </a:lnTo>
                  <a:lnTo>
                    <a:pt x="50" y="391"/>
                  </a:lnTo>
                  <a:lnTo>
                    <a:pt x="46" y="395"/>
                  </a:lnTo>
                  <a:lnTo>
                    <a:pt x="43" y="398"/>
                  </a:lnTo>
                  <a:lnTo>
                    <a:pt x="39" y="400"/>
                  </a:lnTo>
                  <a:lnTo>
                    <a:pt x="33" y="402"/>
                  </a:lnTo>
                  <a:lnTo>
                    <a:pt x="27"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6" name="Group 17">
            <a:extLst>
              <a:ext uri="{FF2B5EF4-FFF2-40B4-BE49-F238E27FC236}">
                <a16:creationId xmlns:a16="http://schemas.microsoft.com/office/drawing/2014/main" id="{68F50753-713D-4751-B565-FAD5F2E62333}"/>
              </a:ext>
            </a:extLst>
          </p:cNvPr>
          <p:cNvGrpSpPr>
            <a:grpSpLocks noChangeAspect="1"/>
          </p:cNvGrpSpPr>
          <p:nvPr/>
        </p:nvGrpSpPr>
        <p:grpSpPr>
          <a:xfrm>
            <a:off x="1483797" y="2724898"/>
            <a:ext cx="275708" cy="271929"/>
            <a:chOff x="4857750" y="2539206"/>
            <a:chExt cx="579440" cy="571500"/>
          </a:xfrm>
          <a:solidFill>
            <a:schemeClr val="bg2"/>
          </a:solidFill>
          <a:effectLst/>
        </p:grpSpPr>
        <p:sp>
          <p:nvSpPr>
            <p:cNvPr id="707" name="Freeform 127">
              <a:extLst>
                <a:ext uri="{FF2B5EF4-FFF2-40B4-BE49-F238E27FC236}">
                  <a16:creationId xmlns:a16="http://schemas.microsoft.com/office/drawing/2014/main" id="{4C85E65D-990F-4371-B86B-5284EBD0E36F}"/>
                </a:ext>
              </a:extLst>
            </p:cNvPr>
            <p:cNvSpPr>
              <a:spLocks noEditPoints="1"/>
            </p:cNvSpPr>
            <p:nvPr/>
          </p:nvSpPr>
          <p:spPr bwMode="auto">
            <a:xfrm>
              <a:off x="4857750" y="2539206"/>
              <a:ext cx="579440" cy="571500"/>
            </a:xfrm>
            <a:custGeom>
              <a:avLst/>
              <a:gdLst>
                <a:gd name="T0" fmla="*/ 127 w 217"/>
                <a:gd name="T1" fmla="*/ 0 h 216"/>
                <a:gd name="T2" fmla="*/ 103 w 217"/>
                <a:gd name="T3" fmla="*/ 6 h 216"/>
                <a:gd name="T4" fmla="*/ 84 w 217"/>
                <a:gd name="T5" fmla="*/ 19 h 216"/>
                <a:gd name="T6" fmla="*/ 67 w 217"/>
                <a:gd name="T7" fmla="*/ 36 h 216"/>
                <a:gd name="T8" fmla="*/ 57 w 217"/>
                <a:gd name="T9" fmla="*/ 57 h 216"/>
                <a:gd name="T10" fmla="*/ 54 w 217"/>
                <a:gd name="T11" fmla="*/ 81 h 216"/>
                <a:gd name="T12" fmla="*/ 56 w 217"/>
                <a:gd name="T13" fmla="*/ 101 h 216"/>
                <a:gd name="T14" fmla="*/ 7 w 217"/>
                <a:gd name="T15" fmla="*/ 175 h 216"/>
                <a:gd name="T16" fmla="*/ 4 w 217"/>
                <a:gd name="T17" fmla="*/ 180 h 216"/>
                <a:gd name="T18" fmla="*/ 0 w 217"/>
                <a:gd name="T19" fmla="*/ 193 h 216"/>
                <a:gd name="T20" fmla="*/ 2 w 217"/>
                <a:gd name="T21" fmla="*/ 202 h 216"/>
                <a:gd name="T22" fmla="*/ 10 w 217"/>
                <a:gd name="T23" fmla="*/ 212 h 216"/>
                <a:gd name="T24" fmla="*/ 23 w 217"/>
                <a:gd name="T25" fmla="*/ 216 h 216"/>
                <a:gd name="T26" fmla="*/ 33 w 217"/>
                <a:gd name="T27" fmla="*/ 214 h 216"/>
                <a:gd name="T28" fmla="*/ 41 w 217"/>
                <a:gd name="T29" fmla="*/ 209 h 216"/>
                <a:gd name="T30" fmla="*/ 106 w 217"/>
                <a:gd name="T31" fmla="*/ 157 h 216"/>
                <a:gd name="T32" fmla="*/ 135 w 217"/>
                <a:gd name="T33" fmla="*/ 162 h 216"/>
                <a:gd name="T34" fmla="*/ 152 w 217"/>
                <a:gd name="T35" fmla="*/ 161 h 216"/>
                <a:gd name="T36" fmla="*/ 174 w 217"/>
                <a:gd name="T37" fmla="*/ 153 h 216"/>
                <a:gd name="T38" fmla="*/ 193 w 217"/>
                <a:gd name="T39" fmla="*/ 139 h 216"/>
                <a:gd name="T40" fmla="*/ 207 w 217"/>
                <a:gd name="T41" fmla="*/ 120 h 216"/>
                <a:gd name="T42" fmla="*/ 215 w 217"/>
                <a:gd name="T43" fmla="*/ 98 h 216"/>
                <a:gd name="T44" fmla="*/ 217 w 217"/>
                <a:gd name="T45" fmla="*/ 81 h 216"/>
                <a:gd name="T46" fmla="*/ 213 w 217"/>
                <a:gd name="T47" fmla="*/ 57 h 216"/>
                <a:gd name="T48" fmla="*/ 203 w 217"/>
                <a:gd name="T49" fmla="*/ 36 h 216"/>
                <a:gd name="T50" fmla="*/ 187 w 217"/>
                <a:gd name="T51" fmla="*/ 19 h 216"/>
                <a:gd name="T52" fmla="*/ 167 w 217"/>
                <a:gd name="T53" fmla="*/ 6 h 216"/>
                <a:gd name="T54" fmla="*/ 143 w 217"/>
                <a:gd name="T55" fmla="*/ 0 h 216"/>
                <a:gd name="T56" fmla="*/ 33 w 217"/>
                <a:gd name="T57" fmla="*/ 201 h 216"/>
                <a:gd name="T58" fmla="*/ 23 w 217"/>
                <a:gd name="T59" fmla="*/ 205 h 216"/>
                <a:gd name="T60" fmla="*/ 15 w 217"/>
                <a:gd name="T61" fmla="*/ 201 h 216"/>
                <a:gd name="T62" fmla="*/ 12 w 217"/>
                <a:gd name="T63" fmla="*/ 193 h 216"/>
                <a:gd name="T64" fmla="*/ 15 w 217"/>
                <a:gd name="T65" fmla="*/ 185 h 216"/>
                <a:gd name="T66" fmla="*/ 78 w 217"/>
                <a:gd name="T67" fmla="*/ 139 h 216"/>
                <a:gd name="T68" fmla="*/ 135 w 217"/>
                <a:gd name="T69" fmla="*/ 149 h 216"/>
                <a:gd name="T70" fmla="*/ 122 w 217"/>
                <a:gd name="T71" fmla="*/ 148 h 216"/>
                <a:gd name="T72" fmla="*/ 103 w 217"/>
                <a:gd name="T73" fmla="*/ 141 h 216"/>
                <a:gd name="T74" fmla="*/ 87 w 217"/>
                <a:gd name="T75" fmla="*/ 129 h 216"/>
                <a:gd name="T76" fmla="*/ 76 w 217"/>
                <a:gd name="T77" fmla="*/ 113 h 216"/>
                <a:gd name="T78" fmla="*/ 68 w 217"/>
                <a:gd name="T79" fmla="*/ 94 h 216"/>
                <a:gd name="T80" fmla="*/ 67 w 217"/>
                <a:gd name="T81" fmla="*/ 81 h 216"/>
                <a:gd name="T82" fmla="*/ 70 w 217"/>
                <a:gd name="T83" fmla="*/ 61 h 216"/>
                <a:gd name="T84" fmla="*/ 79 w 217"/>
                <a:gd name="T85" fmla="*/ 43 h 216"/>
                <a:gd name="T86" fmla="*/ 92 w 217"/>
                <a:gd name="T87" fmla="*/ 29 h 216"/>
                <a:gd name="T88" fmla="*/ 109 w 217"/>
                <a:gd name="T89" fmla="*/ 19 h 216"/>
                <a:gd name="T90" fmla="*/ 129 w 217"/>
                <a:gd name="T91" fmla="*/ 13 h 216"/>
                <a:gd name="T92" fmla="*/ 142 w 217"/>
                <a:gd name="T93" fmla="*/ 13 h 216"/>
                <a:gd name="T94" fmla="*/ 162 w 217"/>
                <a:gd name="T95" fmla="*/ 19 h 216"/>
                <a:gd name="T96" fmla="*/ 178 w 217"/>
                <a:gd name="T97" fmla="*/ 29 h 216"/>
                <a:gd name="T98" fmla="*/ 192 w 217"/>
                <a:gd name="T99" fmla="*/ 43 h 216"/>
                <a:gd name="T100" fmla="*/ 200 w 217"/>
                <a:gd name="T101" fmla="*/ 61 h 216"/>
                <a:gd name="T102" fmla="*/ 203 w 217"/>
                <a:gd name="T103" fmla="*/ 81 h 216"/>
                <a:gd name="T104" fmla="*/ 202 w 217"/>
                <a:gd name="T105" fmla="*/ 94 h 216"/>
                <a:gd name="T106" fmla="*/ 195 w 217"/>
                <a:gd name="T107" fmla="*/ 113 h 216"/>
                <a:gd name="T108" fmla="*/ 183 w 217"/>
                <a:gd name="T109" fmla="*/ 129 h 216"/>
                <a:gd name="T110" fmla="*/ 168 w 217"/>
                <a:gd name="T111" fmla="*/ 141 h 216"/>
                <a:gd name="T112" fmla="*/ 149 w 217"/>
                <a:gd name="T113" fmla="*/ 148 h 216"/>
                <a:gd name="T114" fmla="*/ 135 w 217"/>
                <a:gd name="T115" fmla="*/ 14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216">
                  <a:moveTo>
                    <a:pt x="135" y="0"/>
                  </a:moveTo>
                  <a:lnTo>
                    <a:pt x="135" y="0"/>
                  </a:lnTo>
                  <a:lnTo>
                    <a:pt x="127" y="0"/>
                  </a:lnTo>
                  <a:lnTo>
                    <a:pt x="119" y="1"/>
                  </a:lnTo>
                  <a:lnTo>
                    <a:pt x="111" y="3"/>
                  </a:lnTo>
                  <a:lnTo>
                    <a:pt x="103" y="6"/>
                  </a:lnTo>
                  <a:lnTo>
                    <a:pt x="96" y="9"/>
                  </a:lnTo>
                  <a:lnTo>
                    <a:pt x="90" y="13"/>
                  </a:lnTo>
                  <a:lnTo>
                    <a:pt x="84" y="19"/>
                  </a:lnTo>
                  <a:lnTo>
                    <a:pt x="78" y="24"/>
                  </a:lnTo>
                  <a:lnTo>
                    <a:pt x="73" y="29"/>
                  </a:lnTo>
                  <a:lnTo>
                    <a:pt x="67" y="36"/>
                  </a:lnTo>
                  <a:lnTo>
                    <a:pt x="63" y="42"/>
                  </a:lnTo>
                  <a:lnTo>
                    <a:pt x="60" y="49"/>
                  </a:lnTo>
                  <a:lnTo>
                    <a:pt x="57" y="57"/>
                  </a:lnTo>
                  <a:lnTo>
                    <a:pt x="55" y="65"/>
                  </a:lnTo>
                  <a:lnTo>
                    <a:pt x="54" y="73"/>
                  </a:lnTo>
                  <a:lnTo>
                    <a:pt x="54" y="81"/>
                  </a:lnTo>
                  <a:lnTo>
                    <a:pt x="54" y="81"/>
                  </a:lnTo>
                  <a:lnTo>
                    <a:pt x="54" y="91"/>
                  </a:lnTo>
                  <a:lnTo>
                    <a:pt x="56" y="101"/>
                  </a:lnTo>
                  <a:lnTo>
                    <a:pt x="59" y="110"/>
                  </a:lnTo>
                  <a:lnTo>
                    <a:pt x="63" y="119"/>
                  </a:lnTo>
                  <a:lnTo>
                    <a:pt x="7" y="175"/>
                  </a:lnTo>
                  <a:lnTo>
                    <a:pt x="7" y="175"/>
                  </a:lnTo>
                  <a:lnTo>
                    <a:pt x="7" y="175"/>
                  </a:lnTo>
                  <a:lnTo>
                    <a:pt x="4" y="180"/>
                  </a:lnTo>
                  <a:lnTo>
                    <a:pt x="2" y="184"/>
                  </a:lnTo>
                  <a:lnTo>
                    <a:pt x="0" y="188"/>
                  </a:lnTo>
                  <a:lnTo>
                    <a:pt x="0" y="193"/>
                  </a:lnTo>
                  <a:lnTo>
                    <a:pt x="0" y="193"/>
                  </a:lnTo>
                  <a:lnTo>
                    <a:pt x="0" y="198"/>
                  </a:lnTo>
                  <a:lnTo>
                    <a:pt x="2" y="202"/>
                  </a:lnTo>
                  <a:lnTo>
                    <a:pt x="4" y="206"/>
                  </a:lnTo>
                  <a:lnTo>
                    <a:pt x="7" y="209"/>
                  </a:lnTo>
                  <a:lnTo>
                    <a:pt x="10" y="212"/>
                  </a:lnTo>
                  <a:lnTo>
                    <a:pt x="14" y="214"/>
                  </a:lnTo>
                  <a:lnTo>
                    <a:pt x="19" y="216"/>
                  </a:lnTo>
                  <a:lnTo>
                    <a:pt x="23" y="216"/>
                  </a:lnTo>
                  <a:lnTo>
                    <a:pt x="23" y="216"/>
                  </a:lnTo>
                  <a:lnTo>
                    <a:pt x="28" y="216"/>
                  </a:lnTo>
                  <a:lnTo>
                    <a:pt x="33" y="214"/>
                  </a:lnTo>
                  <a:lnTo>
                    <a:pt x="37" y="212"/>
                  </a:lnTo>
                  <a:lnTo>
                    <a:pt x="41" y="209"/>
                  </a:lnTo>
                  <a:lnTo>
                    <a:pt x="41" y="209"/>
                  </a:lnTo>
                  <a:lnTo>
                    <a:pt x="97" y="153"/>
                  </a:lnTo>
                  <a:lnTo>
                    <a:pt x="97" y="153"/>
                  </a:lnTo>
                  <a:lnTo>
                    <a:pt x="106" y="157"/>
                  </a:lnTo>
                  <a:lnTo>
                    <a:pt x="116" y="160"/>
                  </a:lnTo>
                  <a:lnTo>
                    <a:pt x="125" y="162"/>
                  </a:lnTo>
                  <a:lnTo>
                    <a:pt x="135" y="162"/>
                  </a:lnTo>
                  <a:lnTo>
                    <a:pt x="135" y="162"/>
                  </a:lnTo>
                  <a:lnTo>
                    <a:pt x="143" y="162"/>
                  </a:lnTo>
                  <a:lnTo>
                    <a:pt x="152" y="161"/>
                  </a:lnTo>
                  <a:lnTo>
                    <a:pt x="160" y="159"/>
                  </a:lnTo>
                  <a:lnTo>
                    <a:pt x="167" y="156"/>
                  </a:lnTo>
                  <a:lnTo>
                    <a:pt x="174" y="153"/>
                  </a:lnTo>
                  <a:lnTo>
                    <a:pt x="181" y="149"/>
                  </a:lnTo>
                  <a:lnTo>
                    <a:pt x="187" y="144"/>
                  </a:lnTo>
                  <a:lnTo>
                    <a:pt x="193" y="139"/>
                  </a:lnTo>
                  <a:lnTo>
                    <a:pt x="199" y="132"/>
                  </a:lnTo>
                  <a:lnTo>
                    <a:pt x="203" y="126"/>
                  </a:lnTo>
                  <a:lnTo>
                    <a:pt x="207" y="120"/>
                  </a:lnTo>
                  <a:lnTo>
                    <a:pt x="210" y="113"/>
                  </a:lnTo>
                  <a:lnTo>
                    <a:pt x="213" y="106"/>
                  </a:lnTo>
                  <a:lnTo>
                    <a:pt x="215" y="98"/>
                  </a:lnTo>
                  <a:lnTo>
                    <a:pt x="216" y="89"/>
                  </a:lnTo>
                  <a:lnTo>
                    <a:pt x="217" y="81"/>
                  </a:lnTo>
                  <a:lnTo>
                    <a:pt x="217" y="81"/>
                  </a:lnTo>
                  <a:lnTo>
                    <a:pt x="216" y="73"/>
                  </a:lnTo>
                  <a:lnTo>
                    <a:pt x="215" y="65"/>
                  </a:lnTo>
                  <a:lnTo>
                    <a:pt x="213" y="57"/>
                  </a:lnTo>
                  <a:lnTo>
                    <a:pt x="210" y="49"/>
                  </a:lnTo>
                  <a:lnTo>
                    <a:pt x="207" y="42"/>
                  </a:lnTo>
                  <a:lnTo>
                    <a:pt x="203" y="36"/>
                  </a:lnTo>
                  <a:lnTo>
                    <a:pt x="199" y="29"/>
                  </a:lnTo>
                  <a:lnTo>
                    <a:pt x="193" y="24"/>
                  </a:lnTo>
                  <a:lnTo>
                    <a:pt x="187" y="19"/>
                  </a:lnTo>
                  <a:lnTo>
                    <a:pt x="181" y="13"/>
                  </a:lnTo>
                  <a:lnTo>
                    <a:pt x="174" y="9"/>
                  </a:lnTo>
                  <a:lnTo>
                    <a:pt x="167" y="6"/>
                  </a:lnTo>
                  <a:lnTo>
                    <a:pt x="160" y="3"/>
                  </a:lnTo>
                  <a:lnTo>
                    <a:pt x="152" y="1"/>
                  </a:lnTo>
                  <a:lnTo>
                    <a:pt x="143" y="0"/>
                  </a:lnTo>
                  <a:lnTo>
                    <a:pt x="135" y="0"/>
                  </a:lnTo>
                  <a:lnTo>
                    <a:pt x="135" y="0"/>
                  </a:lnTo>
                  <a:close/>
                  <a:moveTo>
                    <a:pt x="33" y="201"/>
                  </a:moveTo>
                  <a:lnTo>
                    <a:pt x="33" y="201"/>
                  </a:lnTo>
                  <a:lnTo>
                    <a:pt x="28" y="204"/>
                  </a:lnTo>
                  <a:lnTo>
                    <a:pt x="23" y="205"/>
                  </a:lnTo>
                  <a:lnTo>
                    <a:pt x="23" y="205"/>
                  </a:lnTo>
                  <a:lnTo>
                    <a:pt x="19" y="204"/>
                  </a:lnTo>
                  <a:lnTo>
                    <a:pt x="15" y="201"/>
                  </a:lnTo>
                  <a:lnTo>
                    <a:pt x="13" y="197"/>
                  </a:lnTo>
                  <a:lnTo>
                    <a:pt x="12" y="193"/>
                  </a:lnTo>
                  <a:lnTo>
                    <a:pt x="12" y="193"/>
                  </a:lnTo>
                  <a:lnTo>
                    <a:pt x="13" y="188"/>
                  </a:lnTo>
                  <a:lnTo>
                    <a:pt x="15" y="185"/>
                  </a:lnTo>
                  <a:lnTo>
                    <a:pt x="15" y="185"/>
                  </a:lnTo>
                  <a:lnTo>
                    <a:pt x="70" y="129"/>
                  </a:lnTo>
                  <a:lnTo>
                    <a:pt x="70" y="129"/>
                  </a:lnTo>
                  <a:lnTo>
                    <a:pt x="78" y="139"/>
                  </a:lnTo>
                  <a:lnTo>
                    <a:pt x="87" y="147"/>
                  </a:lnTo>
                  <a:lnTo>
                    <a:pt x="33" y="201"/>
                  </a:lnTo>
                  <a:close/>
                  <a:moveTo>
                    <a:pt x="135" y="149"/>
                  </a:moveTo>
                  <a:lnTo>
                    <a:pt x="135" y="149"/>
                  </a:lnTo>
                  <a:lnTo>
                    <a:pt x="129" y="149"/>
                  </a:lnTo>
                  <a:lnTo>
                    <a:pt x="122" y="148"/>
                  </a:lnTo>
                  <a:lnTo>
                    <a:pt x="116" y="146"/>
                  </a:lnTo>
                  <a:lnTo>
                    <a:pt x="109" y="144"/>
                  </a:lnTo>
                  <a:lnTo>
                    <a:pt x="103" y="141"/>
                  </a:lnTo>
                  <a:lnTo>
                    <a:pt x="97" y="138"/>
                  </a:lnTo>
                  <a:lnTo>
                    <a:pt x="92" y="133"/>
                  </a:lnTo>
                  <a:lnTo>
                    <a:pt x="87" y="129"/>
                  </a:lnTo>
                  <a:lnTo>
                    <a:pt x="83" y="124"/>
                  </a:lnTo>
                  <a:lnTo>
                    <a:pt x="79" y="119"/>
                  </a:lnTo>
                  <a:lnTo>
                    <a:pt x="76" y="113"/>
                  </a:lnTo>
                  <a:lnTo>
                    <a:pt x="73" y="108"/>
                  </a:lnTo>
                  <a:lnTo>
                    <a:pt x="70" y="102"/>
                  </a:lnTo>
                  <a:lnTo>
                    <a:pt x="68" y="94"/>
                  </a:lnTo>
                  <a:lnTo>
                    <a:pt x="67" y="88"/>
                  </a:lnTo>
                  <a:lnTo>
                    <a:pt x="67" y="81"/>
                  </a:lnTo>
                  <a:lnTo>
                    <a:pt x="67" y="81"/>
                  </a:lnTo>
                  <a:lnTo>
                    <a:pt x="67" y="74"/>
                  </a:lnTo>
                  <a:lnTo>
                    <a:pt x="68" y="68"/>
                  </a:lnTo>
                  <a:lnTo>
                    <a:pt x="70" y="61"/>
                  </a:lnTo>
                  <a:lnTo>
                    <a:pt x="73" y="54"/>
                  </a:lnTo>
                  <a:lnTo>
                    <a:pt x="76" y="48"/>
                  </a:lnTo>
                  <a:lnTo>
                    <a:pt x="79" y="43"/>
                  </a:lnTo>
                  <a:lnTo>
                    <a:pt x="83" y="38"/>
                  </a:lnTo>
                  <a:lnTo>
                    <a:pt x="87" y="33"/>
                  </a:lnTo>
                  <a:lnTo>
                    <a:pt x="92" y="29"/>
                  </a:lnTo>
                  <a:lnTo>
                    <a:pt x="97" y="25"/>
                  </a:lnTo>
                  <a:lnTo>
                    <a:pt x="103" y="22"/>
                  </a:lnTo>
                  <a:lnTo>
                    <a:pt x="109" y="19"/>
                  </a:lnTo>
                  <a:lnTo>
                    <a:pt x="116" y="17"/>
                  </a:lnTo>
                  <a:lnTo>
                    <a:pt x="122" y="14"/>
                  </a:lnTo>
                  <a:lnTo>
                    <a:pt x="129" y="13"/>
                  </a:lnTo>
                  <a:lnTo>
                    <a:pt x="135" y="13"/>
                  </a:lnTo>
                  <a:lnTo>
                    <a:pt x="135" y="13"/>
                  </a:lnTo>
                  <a:lnTo>
                    <a:pt x="142" y="13"/>
                  </a:lnTo>
                  <a:lnTo>
                    <a:pt x="149" y="14"/>
                  </a:lnTo>
                  <a:lnTo>
                    <a:pt x="156" y="17"/>
                  </a:lnTo>
                  <a:lnTo>
                    <a:pt x="162" y="19"/>
                  </a:lnTo>
                  <a:lnTo>
                    <a:pt x="168" y="22"/>
                  </a:lnTo>
                  <a:lnTo>
                    <a:pt x="173" y="25"/>
                  </a:lnTo>
                  <a:lnTo>
                    <a:pt x="178" y="29"/>
                  </a:lnTo>
                  <a:lnTo>
                    <a:pt x="183" y="33"/>
                  </a:lnTo>
                  <a:lnTo>
                    <a:pt x="187" y="38"/>
                  </a:lnTo>
                  <a:lnTo>
                    <a:pt x="192" y="43"/>
                  </a:lnTo>
                  <a:lnTo>
                    <a:pt x="195" y="48"/>
                  </a:lnTo>
                  <a:lnTo>
                    <a:pt x="198" y="54"/>
                  </a:lnTo>
                  <a:lnTo>
                    <a:pt x="200" y="61"/>
                  </a:lnTo>
                  <a:lnTo>
                    <a:pt x="202" y="68"/>
                  </a:lnTo>
                  <a:lnTo>
                    <a:pt x="203" y="74"/>
                  </a:lnTo>
                  <a:lnTo>
                    <a:pt x="203" y="81"/>
                  </a:lnTo>
                  <a:lnTo>
                    <a:pt x="203" y="81"/>
                  </a:lnTo>
                  <a:lnTo>
                    <a:pt x="203" y="88"/>
                  </a:lnTo>
                  <a:lnTo>
                    <a:pt x="202" y="94"/>
                  </a:lnTo>
                  <a:lnTo>
                    <a:pt x="200" y="102"/>
                  </a:lnTo>
                  <a:lnTo>
                    <a:pt x="198" y="108"/>
                  </a:lnTo>
                  <a:lnTo>
                    <a:pt x="195" y="113"/>
                  </a:lnTo>
                  <a:lnTo>
                    <a:pt x="192" y="119"/>
                  </a:lnTo>
                  <a:lnTo>
                    <a:pt x="187" y="124"/>
                  </a:lnTo>
                  <a:lnTo>
                    <a:pt x="183" y="129"/>
                  </a:lnTo>
                  <a:lnTo>
                    <a:pt x="178" y="133"/>
                  </a:lnTo>
                  <a:lnTo>
                    <a:pt x="173" y="138"/>
                  </a:lnTo>
                  <a:lnTo>
                    <a:pt x="168" y="141"/>
                  </a:lnTo>
                  <a:lnTo>
                    <a:pt x="162" y="144"/>
                  </a:lnTo>
                  <a:lnTo>
                    <a:pt x="156" y="146"/>
                  </a:lnTo>
                  <a:lnTo>
                    <a:pt x="149" y="148"/>
                  </a:lnTo>
                  <a:lnTo>
                    <a:pt x="142" y="149"/>
                  </a:lnTo>
                  <a:lnTo>
                    <a:pt x="135" y="149"/>
                  </a:lnTo>
                  <a:lnTo>
                    <a:pt x="13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28">
              <a:extLst>
                <a:ext uri="{FF2B5EF4-FFF2-40B4-BE49-F238E27FC236}">
                  <a16:creationId xmlns:a16="http://schemas.microsoft.com/office/drawing/2014/main" id="{535C2503-1326-4713-A1DB-B63349BB4694}"/>
                </a:ext>
              </a:extLst>
            </p:cNvPr>
            <p:cNvSpPr>
              <a:spLocks/>
            </p:cNvSpPr>
            <p:nvPr/>
          </p:nvSpPr>
          <p:spPr bwMode="auto">
            <a:xfrm>
              <a:off x="5095875" y="2634456"/>
              <a:ext cx="134940" cy="127000"/>
            </a:xfrm>
            <a:custGeom>
              <a:avLst/>
              <a:gdLst>
                <a:gd name="T0" fmla="*/ 47 w 51"/>
                <a:gd name="T1" fmla="*/ 0 h 50"/>
                <a:gd name="T2" fmla="*/ 47 w 51"/>
                <a:gd name="T3" fmla="*/ 0 h 50"/>
                <a:gd name="T4" fmla="*/ 38 w 51"/>
                <a:gd name="T5" fmla="*/ 1 h 50"/>
                <a:gd name="T6" fmla="*/ 29 w 51"/>
                <a:gd name="T7" fmla="*/ 3 h 50"/>
                <a:gd name="T8" fmla="*/ 20 w 51"/>
                <a:gd name="T9" fmla="*/ 8 h 50"/>
                <a:gd name="T10" fmla="*/ 14 w 51"/>
                <a:gd name="T11" fmla="*/ 13 h 50"/>
                <a:gd name="T12" fmla="*/ 8 w 51"/>
                <a:gd name="T13" fmla="*/ 20 h 50"/>
                <a:gd name="T14" fmla="*/ 4 w 51"/>
                <a:gd name="T15" fmla="*/ 29 h 50"/>
                <a:gd name="T16" fmla="*/ 1 w 51"/>
                <a:gd name="T17" fmla="*/ 38 h 50"/>
                <a:gd name="T18" fmla="*/ 0 w 51"/>
                <a:gd name="T19" fmla="*/ 47 h 50"/>
                <a:gd name="T20" fmla="*/ 0 w 51"/>
                <a:gd name="T21" fmla="*/ 47 h 50"/>
                <a:gd name="T22" fmla="*/ 1 w 51"/>
                <a:gd name="T23" fmla="*/ 49 h 50"/>
                <a:gd name="T24" fmla="*/ 3 w 51"/>
                <a:gd name="T25" fmla="*/ 50 h 50"/>
                <a:gd name="T26" fmla="*/ 3 w 51"/>
                <a:gd name="T27" fmla="*/ 50 h 50"/>
                <a:gd name="T28" fmla="*/ 6 w 51"/>
                <a:gd name="T29" fmla="*/ 49 h 50"/>
                <a:gd name="T30" fmla="*/ 7 w 51"/>
                <a:gd name="T31" fmla="*/ 47 h 50"/>
                <a:gd name="T32" fmla="*/ 7 w 51"/>
                <a:gd name="T33" fmla="*/ 47 h 50"/>
                <a:gd name="T34" fmla="*/ 7 w 51"/>
                <a:gd name="T35" fmla="*/ 39 h 50"/>
                <a:gd name="T36" fmla="*/ 10 w 51"/>
                <a:gd name="T37" fmla="*/ 31 h 50"/>
                <a:gd name="T38" fmla="*/ 13 w 51"/>
                <a:gd name="T39" fmla="*/ 25 h 50"/>
                <a:gd name="T40" fmla="*/ 18 w 51"/>
                <a:gd name="T41" fmla="*/ 18 h 50"/>
                <a:gd name="T42" fmla="*/ 25 w 51"/>
                <a:gd name="T43" fmla="*/ 13 h 50"/>
                <a:gd name="T44" fmla="*/ 32 w 51"/>
                <a:gd name="T45" fmla="*/ 9 h 50"/>
                <a:gd name="T46" fmla="*/ 39 w 51"/>
                <a:gd name="T47" fmla="*/ 7 h 50"/>
                <a:gd name="T48" fmla="*/ 47 w 51"/>
                <a:gd name="T49" fmla="*/ 6 h 50"/>
                <a:gd name="T50" fmla="*/ 47 w 51"/>
                <a:gd name="T51" fmla="*/ 6 h 50"/>
                <a:gd name="T52" fmla="*/ 50 w 51"/>
                <a:gd name="T53" fmla="*/ 5 h 50"/>
                <a:gd name="T54" fmla="*/ 51 w 51"/>
                <a:gd name="T55" fmla="*/ 3 h 50"/>
                <a:gd name="T56" fmla="*/ 51 w 51"/>
                <a:gd name="T57" fmla="*/ 3 h 50"/>
                <a:gd name="T58" fmla="*/ 50 w 51"/>
                <a:gd name="T59" fmla="*/ 1 h 50"/>
                <a:gd name="T60" fmla="*/ 47 w 51"/>
                <a:gd name="T61" fmla="*/ 0 h 50"/>
                <a:gd name="T62" fmla="*/ 47 w 51"/>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50">
                  <a:moveTo>
                    <a:pt x="47" y="0"/>
                  </a:moveTo>
                  <a:lnTo>
                    <a:pt x="47" y="0"/>
                  </a:lnTo>
                  <a:lnTo>
                    <a:pt x="38" y="1"/>
                  </a:lnTo>
                  <a:lnTo>
                    <a:pt x="29" y="3"/>
                  </a:lnTo>
                  <a:lnTo>
                    <a:pt x="20" y="8"/>
                  </a:lnTo>
                  <a:lnTo>
                    <a:pt x="14" y="13"/>
                  </a:lnTo>
                  <a:lnTo>
                    <a:pt x="8" y="20"/>
                  </a:lnTo>
                  <a:lnTo>
                    <a:pt x="4" y="29"/>
                  </a:lnTo>
                  <a:lnTo>
                    <a:pt x="1" y="38"/>
                  </a:lnTo>
                  <a:lnTo>
                    <a:pt x="0" y="47"/>
                  </a:lnTo>
                  <a:lnTo>
                    <a:pt x="0" y="47"/>
                  </a:lnTo>
                  <a:lnTo>
                    <a:pt x="1" y="49"/>
                  </a:lnTo>
                  <a:lnTo>
                    <a:pt x="3" y="50"/>
                  </a:lnTo>
                  <a:lnTo>
                    <a:pt x="3" y="50"/>
                  </a:lnTo>
                  <a:lnTo>
                    <a:pt x="6" y="49"/>
                  </a:lnTo>
                  <a:lnTo>
                    <a:pt x="7" y="47"/>
                  </a:lnTo>
                  <a:lnTo>
                    <a:pt x="7" y="47"/>
                  </a:lnTo>
                  <a:lnTo>
                    <a:pt x="7" y="39"/>
                  </a:lnTo>
                  <a:lnTo>
                    <a:pt x="10" y="31"/>
                  </a:lnTo>
                  <a:lnTo>
                    <a:pt x="13" y="25"/>
                  </a:lnTo>
                  <a:lnTo>
                    <a:pt x="18" y="18"/>
                  </a:lnTo>
                  <a:lnTo>
                    <a:pt x="25" y="13"/>
                  </a:lnTo>
                  <a:lnTo>
                    <a:pt x="32" y="9"/>
                  </a:lnTo>
                  <a:lnTo>
                    <a:pt x="39" y="7"/>
                  </a:lnTo>
                  <a:lnTo>
                    <a:pt x="47" y="6"/>
                  </a:lnTo>
                  <a:lnTo>
                    <a:pt x="47" y="6"/>
                  </a:lnTo>
                  <a:lnTo>
                    <a:pt x="50" y="5"/>
                  </a:lnTo>
                  <a:lnTo>
                    <a:pt x="51" y="3"/>
                  </a:lnTo>
                  <a:lnTo>
                    <a:pt x="51" y="3"/>
                  </a:lnTo>
                  <a:lnTo>
                    <a:pt x="50" y="1"/>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9" name="Group 412">
            <a:extLst>
              <a:ext uri="{FF2B5EF4-FFF2-40B4-BE49-F238E27FC236}">
                <a16:creationId xmlns:a16="http://schemas.microsoft.com/office/drawing/2014/main" id="{B2898C53-4DBD-48A8-B9C1-B41BC465D916}"/>
              </a:ext>
            </a:extLst>
          </p:cNvPr>
          <p:cNvGrpSpPr>
            <a:grpSpLocks noChangeAspect="1"/>
          </p:cNvGrpSpPr>
          <p:nvPr/>
        </p:nvGrpSpPr>
        <p:grpSpPr>
          <a:xfrm>
            <a:off x="2304707" y="2724897"/>
            <a:ext cx="305161" cy="306484"/>
            <a:chOff x="7996238" y="5214938"/>
            <a:chExt cx="366712" cy="368301"/>
          </a:xfrm>
          <a:solidFill>
            <a:schemeClr val="bg2"/>
          </a:solidFill>
          <a:effectLst/>
        </p:grpSpPr>
        <p:sp>
          <p:nvSpPr>
            <p:cNvPr id="780" name="Freeform 50">
              <a:extLst>
                <a:ext uri="{FF2B5EF4-FFF2-40B4-BE49-F238E27FC236}">
                  <a16:creationId xmlns:a16="http://schemas.microsoft.com/office/drawing/2014/main" id="{4B56388C-C10F-4EE0-A1D8-7883C34FD6C1}"/>
                </a:ext>
              </a:extLst>
            </p:cNvPr>
            <p:cNvSpPr>
              <a:spLocks noEditPoints="1"/>
            </p:cNvSpPr>
            <p:nvPr/>
          </p:nvSpPr>
          <p:spPr bwMode="auto">
            <a:xfrm>
              <a:off x="7996238" y="5214938"/>
              <a:ext cx="293687"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1" name="Freeform 51">
              <a:extLst>
                <a:ext uri="{FF2B5EF4-FFF2-40B4-BE49-F238E27FC236}">
                  <a16:creationId xmlns:a16="http://schemas.microsoft.com/office/drawing/2014/main" id="{F89B7DC0-443F-4F2D-BD29-6FF378D14B33}"/>
                </a:ext>
              </a:extLst>
            </p:cNvPr>
            <p:cNvSpPr>
              <a:spLocks/>
            </p:cNvSpPr>
            <p:nvPr/>
          </p:nvSpPr>
          <p:spPr bwMode="auto">
            <a:xfrm>
              <a:off x="8231188" y="5451476"/>
              <a:ext cx="131762" cy="131763"/>
            </a:xfrm>
            <a:custGeom>
              <a:avLst/>
              <a:gdLst>
                <a:gd name="T0" fmla="*/ 32 w 34"/>
                <a:gd name="T1" fmla="*/ 34 h 34"/>
                <a:gd name="T2" fmla="*/ 31 w 34"/>
                <a:gd name="T3" fmla="*/ 33 h 34"/>
                <a:gd name="T4" fmla="*/ 1 w 34"/>
                <a:gd name="T5" fmla="*/ 4 h 34"/>
                <a:gd name="T6" fmla="*/ 1 w 34"/>
                <a:gd name="T7" fmla="*/ 1 h 34"/>
                <a:gd name="T8" fmla="*/ 4 w 34"/>
                <a:gd name="T9" fmla="*/ 1 h 34"/>
                <a:gd name="T10" fmla="*/ 33 w 34"/>
                <a:gd name="T11" fmla="*/ 31 h 34"/>
                <a:gd name="T12" fmla="*/ 33 w 34"/>
                <a:gd name="T13" fmla="*/ 33 h 34"/>
                <a:gd name="T14" fmla="*/ 32 w 3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4">
                  <a:moveTo>
                    <a:pt x="32" y="34"/>
                  </a:moveTo>
                  <a:cubicBezTo>
                    <a:pt x="31" y="34"/>
                    <a:pt x="31" y="34"/>
                    <a:pt x="31" y="33"/>
                  </a:cubicBezTo>
                  <a:cubicBezTo>
                    <a:pt x="1" y="4"/>
                    <a:pt x="1" y="4"/>
                    <a:pt x="1" y="4"/>
                  </a:cubicBezTo>
                  <a:cubicBezTo>
                    <a:pt x="0" y="3"/>
                    <a:pt x="0" y="2"/>
                    <a:pt x="1" y="1"/>
                  </a:cubicBezTo>
                  <a:cubicBezTo>
                    <a:pt x="2" y="0"/>
                    <a:pt x="3" y="0"/>
                    <a:pt x="4" y="1"/>
                  </a:cubicBezTo>
                  <a:cubicBezTo>
                    <a:pt x="33" y="31"/>
                    <a:pt x="33" y="31"/>
                    <a:pt x="33" y="31"/>
                  </a:cubicBezTo>
                  <a:cubicBezTo>
                    <a:pt x="34" y="31"/>
                    <a:pt x="34" y="33"/>
                    <a:pt x="33" y="33"/>
                  </a:cubicBezTo>
                  <a:cubicBezTo>
                    <a:pt x="33" y="34"/>
                    <a:pt x="33" y="34"/>
                    <a:pt x="32"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2" name="Freeform 52">
              <a:extLst>
                <a:ext uri="{FF2B5EF4-FFF2-40B4-BE49-F238E27FC236}">
                  <a16:creationId xmlns:a16="http://schemas.microsoft.com/office/drawing/2014/main" id="{1B03F7B6-E370-4ED9-B152-19C2873967B5}"/>
                </a:ext>
              </a:extLst>
            </p:cNvPr>
            <p:cNvSpPr>
              <a:spLocks noEditPoints="1"/>
            </p:cNvSpPr>
            <p:nvPr/>
          </p:nvSpPr>
          <p:spPr bwMode="auto">
            <a:xfrm>
              <a:off x="8077200" y="5276851"/>
              <a:ext cx="134937" cy="147638"/>
            </a:xfrm>
            <a:custGeom>
              <a:avLst/>
              <a:gdLst>
                <a:gd name="T0" fmla="*/ 17 w 35"/>
                <a:gd name="T1" fmla="*/ 38 h 38"/>
                <a:gd name="T2" fmla="*/ 17 w 35"/>
                <a:gd name="T3" fmla="*/ 38 h 38"/>
                <a:gd name="T4" fmla="*/ 8 w 35"/>
                <a:gd name="T5" fmla="*/ 31 h 38"/>
                <a:gd name="T6" fmla="*/ 1 w 35"/>
                <a:gd name="T7" fmla="*/ 23 h 38"/>
                <a:gd name="T8" fmla="*/ 4 w 35"/>
                <a:gd name="T9" fmla="*/ 12 h 38"/>
                <a:gd name="T10" fmla="*/ 16 w 35"/>
                <a:gd name="T11" fmla="*/ 6 h 38"/>
                <a:gd name="T12" fmla="*/ 27 w 35"/>
                <a:gd name="T13" fmla="*/ 0 h 38"/>
                <a:gd name="T14" fmla="*/ 29 w 35"/>
                <a:gd name="T15" fmla="*/ 0 h 38"/>
                <a:gd name="T16" fmla="*/ 31 w 35"/>
                <a:gd name="T17" fmla="*/ 1 h 38"/>
                <a:gd name="T18" fmla="*/ 28 w 35"/>
                <a:gd name="T19" fmla="*/ 32 h 38"/>
                <a:gd name="T20" fmla="*/ 17 w 35"/>
                <a:gd name="T21" fmla="*/ 38 h 38"/>
                <a:gd name="T22" fmla="*/ 28 w 35"/>
                <a:gd name="T23" fmla="*/ 5 h 38"/>
                <a:gd name="T24" fmla="*/ 17 w 35"/>
                <a:gd name="T25" fmla="*/ 10 h 38"/>
                <a:gd name="T26" fmla="*/ 7 w 35"/>
                <a:gd name="T27" fmla="*/ 15 h 38"/>
                <a:gd name="T28" fmla="*/ 4 w 35"/>
                <a:gd name="T29" fmla="*/ 22 h 38"/>
                <a:gd name="T30" fmla="*/ 10 w 35"/>
                <a:gd name="T31" fmla="*/ 28 h 38"/>
                <a:gd name="T32" fmla="*/ 11 w 35"/>
                <a:gd name="T33" fmla="*/ 29 h 38"/>
                <a:gd name="T34" fmla="*/ 17 w 35"/>
                <a:gd name="T35" fmla="*/ 34 h 38"/>
                <a:gd name="T36" fmla="*/ 25 w 35"/>
                <a:gd name="T37" fmla="*/ 29 h 38"/>
                <a:gd name="T38" fmla="*/ 28 w 35"/>
                <a:gd name="T3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8">
                  <a:moveTo>
                    <a:pt x="17" y="38"/>
                  </a:moveTo>
                  <a:cubicBezTo>
                    <a:pt x="17" y="38"/>
                    <a:pt x="17" y="38"/>
                    <a:pt x="17" y="38"/>
                  </a:cubicBezTo>
                  <a:cubicBezTo>
                    <a:pt x="15" y="38"/>
                    <a:pt x="11" y="37"/>
                    <a:pt x="8" y="31"/>
                  </a:cubicBezTo>
                  <a:cubicBezTo>
                    <a:pt x="4" y="29"/>
                    <a:pt x="1" y="26"/>
                    <a:pt x="1" y="23"/>
                  </a:cubicBezTo>
                  <a:cubicBezTo>
                    <a:pt x="0" y="20"/>
                    <a:pt x="1" y="16"/>
                    <a:pt x="4" y="12"/>
                  </a:cubicBezTo>
                  <a:cubicBezTo>
                    <a:pt x="8" y="8"/>
                    <a:pt x="12" y="7"/>
                    <a:pt x="16" y="6"/>
                  </a:cubicBezTo>
                  <a:cubicBezTo>
                    <a:pt x="20" y="5"/>
                    <a:pt x="24" y="3"/>
                    <a:pt x="27" y="0"/>
                  </a:cubicBezTo>
                  <a:cubicBezTo>
                    <a:pt x="28" y="0"/>
                    <a:pt x="29" y="0"/>
                    <a:pt x="29" y="0"/>
                  </a:cubicBezTo>
                  <a:cubicBezTo>
                    <a:pt x="30" y="0"/>
                    <a:pt x="30" y="1"/>
                    <a:pt x="31" y="1"/>
                  </a:cubicBezTo>
                  <a:cubicBezTo>
                    <a:pt x="35" y="10"/>
                    <a:pt x="33" y="26"/>
                    <a:pt x="28" y="32"/>
                  </a:cubicBezTo>
                  <a:cubicBezTo>
                    <a:pt x="25" y="35"/>
                    <a:pt x="22" y="38"/>
                    <a:pt x="17" y="38"/>
                  </a:cubicBezTo>
                  <a:close/>
                  <a:moveTo>
                    <a:pt x="28" y="5"/>
                  </a:moveTo>
                  <a:cubicBezTo>
                    <a:pt x="24" y="7"/>
                    <a:pt x="21" y="9"/>
                    <a:pt x="17" y="10"/>
                  </a:cubicBezTo>
                  <a:cubicBezTo>
                    <a:pt x="13" y="11"/>
                    <a:pt x="10" y="12"/>
                    <a:pt x="7" y="15"/>
                  </a:cubicBezTo>
                  <a:cubicBezTo>
                    <a:pt x="6" y="17"/>
                    <a:pt x="4" y="20"/>
                    <a:pt x="4" y="22"/>
                  </a:cubicBezTo>
                  <a:cubicBezTo>
                    <a:pt x="5" y="24"/>
                    <a:pt x="7" y="26"/>
                    <a:pt x="10" y="28"/>
                  </a:cubicBezTo>
                  <a:cubicBezTo>
                    <a:pt x="11" y="28"/>
                    <a:pt x="11" y="28"/>
                    <a:pt x="11" y="29"/>
                  </a:cubicBezTo>
                  <a:cubicBezTo>
                    <a:pt x="13" y="32"/>
                    <a:pt x="15" y="34"/>
                    <a:pt x="17" y="34"/>
                  </a:cubicBezTo>
                  <a:cubicBezTo>
                    <a:pt x="19" y="34"/>
                    <a:pt x="22" y="32"/>
                    <a:pt x="25" y="29"/>
                  </a:cubicBezTo>
                  <a:cubicBezTo>
                    <a:pt x="29" y="25"/>
                    <a:pt x="30" y="13"/>
                    <a:pt x="2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3" name="Freeform 53">
              <a:extLst>
                <a:ext uri="{FF2B5EF4-FFF2-40B4-BE49-F238E27FC236}">
                  <a16:creationId xmlns:a16="http://schemas.microsoft.com/office/drawing/2014/main" id="{FDACD9DA-7DD9-4AEC-AEB6-BDE09119E75B}"/>
                </a:ext>
              </a:extLst>
            </p:cNvPr>
            <p:cNvSpPr>
              <a:spLocks/>
            </p:cNvSpPr>
            <p:nvPr/>
          </p:nvSpPr>
          <p:spPr bwMode="auto">
            <a:xfrm>
              <a:off x="8080375" y="5322888"/>
              <a:ext cx="88900" cy="123825"/>
            </a:xfrm>
            <a:custGeom>
              <a:avLst/>
              <a:gdLst>
                <a:gd name="T0" fmla="*/ 2 w 23"/>
                <a:gd name="T1" fmla="*/ 32 h 32"/>
                <a:gd name="T2" fmla="*/ 1 w 23"/>
                <a:gd name="T3" fmla="*/ 32 h 32"/>
                <a:gd name="T4" fmla="*/ 0 w 23"/>
                <a:gd name="T5" fmla="*/ 29 h 32"/>
                <a:gd name="T6" fmla="*/ 20 w 23"/>
                <a:gd name="T7" fmla="*/ 0 h 32"/>
                <a:gd name="T8" fmla="*/ 22 w 23"/>
                <a:gd name="T9" fmla="*/ 1 h 32"/>
                <a:gd name="T10" fmla="*/ 22 w 23"/>
                <a:gd name="T11" fmla="*/ 3 h 32"/>
                <a:gd name="T12" fmla="*/ 4 w 23"/>
                <a:gd name="T13" fmla="*/ 31 h 32"/>
                <a:gd name="T14" fmla="*/ 2 w 2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2" y="32"/>
                  </a:moveTo>
                  <a:cubicBezTo>
                    <a:pt x="2" y="32"/>
                    <a:pt x="2" y="32"/>
                    <a:pt x="1" y="32"/>
                  </a:cubicBezTo>
                  <a:cubicBezTo>
                    <a:pt x="0" y="31"/>
                    <a:pt x="0" y="30"/>
                    <a:pt x="0" y="29"/>
                  </a:cubicBezTo>
                  <a:cubicBezTo>
                    <a:pt x="3" y="21"/>
                    <a:pt x="9" y="10"/>
                    <a:pt x="20" y="0"/>
                  </a:cubicBezTo>
                  <a:cubicBezTo>
                    <a:pt x="20" y="0"/>
                    <a:pt x="22" y="0"/>
                    <a:pt x="22" y="1"/>
                  </a:cubicBezTo>
                  <a:cubicBezTo>
                    <a:pt x="23" y="1"/>
                    <a:pt x="23" y="3"/>
                    <a:pt x="22" y="3"/>
                  </a:cubicBezTo>
                  <a:cubicBezTo>
                    <a:pt x="12" y="13"/>
                    <a:pt x="7" y="23"/>
                    <a:pt x="4" y="31"/>
                  </a:cubicBezTo>
                  <a:cubicBezTo>
                    <a:pt x="4" y="32"/>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17" name="Group 122">
            <a:extLst>
              <a:ext uri="{FF2B5EF4-FFF2-40B4-BE49-F238E27FC236}">
                <a16:creationId xmlns:a16="http://schemas.microsoft.com/office/drawing/2014/main" id="{42306408-29DE-4BD5-A0B1-F0FDE7302ECE}"/>
              </a:ext>
            </a:extLst>
          </p:cNvPr>
          <p:cNvGrpSpPr>
            <a:grpSpLocks noChangeAspect="1"/>
          </p:cNvGrpSpPr>
          <p:nvPr/>
        </p:nvGrpSpPr>
        <p:grpSpPr>
          <a:xfrm>
            <a:off x="1883284" y="2724897"/>
            <a:ext cx="306826" cy="308144"/>
            <a:chOff x="3417888" y="1931988"/>
            <a:chExt cx="369887" cy="371476"/>
          </a:xfrm>
          <a:solidFill>
            <a:schemeClr val="bg2"/>
          </a:solidFill>
          <a:effectLst/>
        </p:grpSpPr>
        <p:sp>
          <p:nvSpPr>
            <p:cNvPr id="918" name="Freeform 31">
              <a:extLst>
                <a:ext uri="{FF2B5EF4-FFF2-40B4-BE49-F238E27FC236}">
                  <a16:creationId xmlns:a16="http://schemas.microsoft.com/office/drawing/2014/main" id="{0AF7781B-C9C2-4FB6-9F56-0305BFE1BEC6}"/>
                </a:ext>
              </a:extLst>
            </p:cNvPr>
            <p:cNvSpPr>
              <a:spLocks noEditPoints="1"/>
            </p:cNvSpPr>
            <p:nvPr/>
          </p:nvSpPr>
          <p:spPr bwMode="auto">
            <a:xfrm>
              <a:off x="3417888" y="1931988"/>
              <a:ext cx="293687"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9" name="Freeform 32">
              <a:extLst>
                <a:ext uri="{FF2B5EF4-FFF2-40B4-BE49-F238E27FC236}">
                  <a16:creationId xmlns:a16="http://schemas.microsoft.com/office/drawing/2014/main" id="{CA026EC6-3072-4A7C-81ED-3050FF9FC946}"/>
                </a:ext>
              </a:extLst>
            </p:cNvPr>
            <p:cNvSpPr>
              <a:spLocks/>
            </p:cNvSpPr>
            <p:nvPr/>
          </p:nvSpPr>
          <p:spPr bwMode="auto">
            <a:xfrm>
              <a:off x="3652838" y="2168526"/>
              <a:ext cx="134937" cy="134938"/>
            </a:xfrm>
            <a:custGeom>
              <a:avLst/>
              <a:gdLst>
                <a:gd name="T0" fmla="*/ 33 w 35"/>
                <a:gd name="T1" fmla="*/ 35 h 35"/>
                <a:gd name="T2" fmla="*/ 32 w 35"/>
                <a:gd name="T3" fmla="*/ 34 h 35"/>
                <a:gd name="T4" fmla="*/ 1 w 35"/>
                <a:gd name="T5" fmla="*/ 4 h 35"/>
                <a:gd name="T6" fmla="*/ 1 w 35"/>
                <a:gd name="T7" fmla="*/ 1 h 35"/>
                <a:gd name="T8" fmla="*/ 4 w 35"/>
                <a:gd name="T9" fmla="*/ 1 h 35"/>
                <a:gd name="T10" fmla="*/ 34 w 35"/>
                <a:gd name="T11" fmla="*/ 32 h 35"/>
                <a:gd name="T12" fmla="*/ 34 w 35"/>
                <a:gd name="T13" fmla="*/ 34 h 35"/>
                <a:gd name="T14" fmla="*/ 33 w 35"/>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5">
                  <a:moveTo>
                    <a:pt x="33" y="35"/>
                  </a:moveTo>
                  <a:cubicBezTo>
                    <a:pt x="32" y="35"/>
                    <a:pt x="32" y="35"/>
                    <a:pt x="32" y="34"/>
                  </a:cubicBezTo>
                  <a:cubicBezTo>
                    <a:pt x="1" y="4"/>
                    <a:pt x="1" y="4"/>
                    <a:pt x="1" y="4"/>
                  </a:cubicBezTo>
                  <a:cubicBezTo>
                    <a:pt x="0" y="3"/>
                    <a:pt x="0" y="2"/>
                    <a:pt x="1" y="1"/>
                  </a:cubicBezTo>
                  <a:cubicBezTo>
                    <a:pt x="2" y="0"/>
                    <a:pt x="3" y="0"/>
                    <a:pt x="4" y="1"/>
                  </a:cubicBezTo>
                  <a:cubicBezTo>
                    <a:pt x="34" y="32"/>
                    <a:pt x="34" y="32"/>
                    <a:pt x="34" y="32"/>
                  </a:cubicBezTo>
                  <a:cubicBezTo>
                    <a:pt x="35" y="32"/>
                    <a:pt x="35" y="34"/>
                    <a:pt x="34" y="34"/>
                  </a:cubicBezTo>
                  <a:cubicBezTo>
                    <a:pt x="34" y="35"/>
                    <a:pt x="34" y="35"/>
                    <a:pt x="3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0" name="Freeform 33">
              <a:extLst>
                <a:ext uri="{FF2B5EF4-FFF2-40B4-BE49-F238E27FC236}">
                  <a16:creationId xmlns:a16="http://schemas.microsoft.com/office/drawing/2014/main" id="{4FE0106B-4317-4E8F-AD48-9E5AD210FF94}"/>
                </a:ext>
              </a:extLst>
            </p:cNvPr>
            <p:cNvSpPr>
              <a:spLocks/>
            </p:cNvSpPr>
            <p:nvPr/>
          </p:nvSpPr>
          <p:spPr bwMode="auto">
            <a:xfrm>
              <a:off x="3487738" y="1978026"/>
              <a:ext cx="153987" cy="198438"/>
            </a:xfrm>
            <a:custGeom>
              <a:avLst/>
              <a:gdLst>
                <a:gd name="T0" fmla="*/ 2 w 40"/>
                <a:gd name="T1" fmla="*/ 50 h 51"/>
                <a:gd name="T2" fmla="*/ 0 w 40"/>
                <a:gd name="T3" fmla="*/ 49 h 51"/>
                <a:gd name="T4" fmla="*/ 1 w 40"/>
                <a:gd name="T5" fmla="*/ 47 h 51"/>
                <a:gd name="T6" fmla="*/ 10 w 40"/>
                <a:gd name="T7" fmla="*/ 43 h 51"/>
                <a:gd name="T8" fmla="*/ 10 w 40"/>
                <a:gd name="T9" fmla="*/ 37 h 51"/>
                <a:gd name="T10" fmla="*/ 6 w 40"/>
                <a:gd name="T11" fmla="*/ 27 h 51"/>
                <a:gd name="T12" fmla="*/ 3 w 40"/>
                <a:gd name="T13" fmla="*/ 21 h 51"/>
                <a:gd name="T14" fmla="*/ 4 w 40"/>
                <a:gd name="T15" fmla="*/ 18 h 51"/>
                <a:gd name="T16" fmla="*/ 5 w 40"/>
                <a:gd name="T17" fmla="*/ 17 h 51"/>
                <a:gd name="T18" fmla="*/ 5 w 40"/>
                <a:gd name="T19" fmla="*/ 7 h 51"/>
                <a:gd name="T20" fmla="*/ 9 w 40"/>
                <a:gd name="T21" fmla="*/ 6 h 51"/>
                <a:gd name="T22" fmla="*/ 22 w 40"/>
                <a:gd name="T23" fmla="*/ 0 h 51"/>
                <a:gd name="T24" fmla="*/ 36 w 40"/>
                <a:gd name="T25" fmla="*/ 8 h 51"/>
                <a:gd name="T26" fmla="*/ 35 w 40"/>
                <a:gd name="T27" fmla="*/ 17 h 51"/>
                <a:gd name="T28" fmla="*/ 36 w 40"/>
                <a:gd name="T29" fmla="*/ 18 h 51"/>
                <a:gd name="T30" fmla="*/ 37 w 40"/>
                <a:gd name="T31" fmla="*/ 21 h 51"/>
                <a:gd name="T32" fmla="*/ 34 w 40"/>
                <a:gd name="T33" fmla="*/ 27 h 51"/>
                <a:gd name="T34" fmla="*/ 30 w 40"/>
                <a:gd name="T35" fmla="*/ 37 h 51"/>
                <a:gd name="T36" fmla="*/ 30 w 40"/>
                <a:gd name="T37" fmla="*/ 43 h 51"/>
                <a:gd name="T38" fmla="*/ 39 w 40"/>
                <a:gd name="T39" fmla="*/ 47 h 51"/>
                <a:gd name="T40" fmla="*/ 40 w 40"/>
                <a:gd name="T41" fmla="*/ 49 h 51"/>
                <a:gd name="T42" fmla="*/ 37 w 40"/>
                <a:gd name="T43" fmla="*/ 50 h 51"/>
                <a:gd name="T44" fmla="*/ 27 w 40"/>
                <a:gd name="T45" fmla="*/ 46 h 51"/>
                <a:gd name="T46" fmla="*/ 26 w 40"/>
                <a:gd name="T47" fmla="*/ 44 h 51"/>
                <a:gd name="T48" fmla="*/ 26 w 40"/>
                <a:gd name="T49" fmla="*/ 36 h 51"/>
                <a:gd name="T50" fmla="*/ 27 w 40"/>
                <a:gd name="T51" fmla="*/ 34 h 51"/>
                <a:gd name="T52" fmla="*/ 27 w 40"/>
                <a:gd name="T53" fmla="*/ 34 h 51"/>
                <a:gd name="T54" fmla="*/ 30 w 40"/>
                <a:gd name="T55" fmla="*/ 26 h 51"/>
                <a:gd name="T56" fmla="*/ 32 w 40"/>
                <a:gd name="T57" fmla="*/ 24 h 51"/>
                <a:gd name="T58" fmla="*/ 33 w 40"/>
                <a:gd name="T59" fmla="*/ 21 h 51"/>
                <a:gd name="T60" fmla="*/ 32 w 40"/>
                <a:gd name="T61" fmla="*/ 20 h 51"/>
                <a:gd name="T62" fmla="*/ 30 w 40"/>
                <a:gd name="T63" fmla="*/ 18 h 51"/>
                <a:gd name="T64" fmla="*/ 31 w 40"/>
                <a:gd name="T65" fmla="*/ 16 h 51"/>
                <a:gd name="T66" fmla="*/ 32 w 40"/>
                <a:gd name="T67" fmla="*/ 8 h 51"/>
                <a:gd name="T68" fmla="*/ 22 w 40"/>
                <a:gd name="T69" fmla="*/ 4 h 51"/>
                <a:gd name="T70" fmla="*/ 12 w 40"/>
                <a:gd name="T71" fmla="*/ 8 h 51"/>
                <a:gd name="T72" fmla="*/ 10 w 40"/>
                <a:gd name="T73" fmla="*/ 10 h 51"/>
                <a:gd name="T74" fmla="*/ 8 w 40"/>
                <a:gd name="T75" fmla="*/ 10 h 51"/>
                <a:gd name="T76" fmla="*/ 9 w 40"/>
                <a:gd name="T77" fmla="*/ 16 h 51"/>
                <a:gd name="T78" fmla="*/ 10 w 40"/>
                <a:gd name="T79" fmla="*/ 18 h 51"/>
                <a:gd name="T80" fmla="*/ 8 w 40"/>
                <a:gd name="T81" fmla="*/ 20 h 51"/>
                <a:gd name="T82" fmla="*/ 8 w 40"/>
                <a:gd name="T83" fmla="*/ 20 h 51"/>
                <a:gd name="T84" fmla="*/ 8 w 40"/>
                <a:gd name="T85" fmla="*/ 24 h 51"/>
                <a:gd name="T86" fmla="*/ 10 w 40"/>
                <a:gd name="T87" fmla="*/ 26 h 51"/>
                <a:gd name="T88" fmla="*/ 13 w 40"/>
                <a:gd name="T89" fmla="*/ 34 h 51"/>
                <a:gd name="T90" fmla="*/ 14 w 40"/>
                <a:gd name="T91" fmla="*/ 36 h 51"/>
                <a:gd name="T92" fmla="*/ 14 w 40"/>
                <a:gd name="T93" fmla="*/ 44 h 51"/>
                <a:gd name="T94" fmla="*/ 13 w 40"/>
                <a:gd name="T95" fmla="*/ 46 h 51"/>
                <a:gd name="T96" fmla="*/ 3 w 40"/>
                <a:gd name="T97" fmla="*/ 50 h 51"/>
                <a:gd name="T98" fmla="*/ 2 w 40"/>
                <a:gd name="T99"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 h="51">
                  <a:moveTo>
                    <a:pt x="2" y="50"/>
                  </a:moveTo>
                  <a:cubicBezTo>
                    <a:pt x="1" y="50"/>
                    <a:pt x="1" y="50"/>
                    <a:pt x="0" y="49"/>
                  </a:cubicBezTo>
                  <a:cubicBezTo>
                    <a:pt x="0" y="48"/>
                    <a:pt x="0" y="47"/>
                    <a:pt x="1" y="47"/>
                  </a:cubicBezTo>
                  <a:cubicBezTo>
                    <a:pt x="4" y="45"/>
                    <a:pt x="7" y="44"/>
                    <a:pt x="10" y="43"/>
                  </a:cubicBezTo>
                  <a:cubicBezTo>
                    <a:pt x="10" y="37"/>
                    <a:pt x="10" y="37"/>
                    <a:pt x="10" y="37"/>
                  </a:cubicBezTo>
                  <a:cubicBezTo>
                    <a:pt x="9" y="36"/>
                    <a:pt x="6" y="33"/>
                    <a:pt x="6" y="27"/>
                  </a:cubicBezTo>
                  <a:cubicBezTo>
                    <a:pt x="4" y="26"/>
                    <a:pt x="3" y="24"/>
                    <a:pt x="3" y="21"/>
                  </a:cubicBezTo>
                  <a:cubicBezTo>
                    <a:pt x="3" y="20"/>
                    <a:pt x="4" y="19"/>
                    <a:pt x="4" y="18"/>
                  </a:cubicBezTo>
                  <a:cubicBezTo>
                    <a:pt x="5" y="18"/>
                    <a:pt x="5" y="17"/>
                    <a:pt x="5" y="17"/>
                  </a:cubicBezTo>
                  <a:cubicBezTo>
                    <a:pt x="4" y="14"/>
                    <a:pt x="3" y="10"/>
                    <a:pt x="5" y="7"/>
                  </a:cubicBezTo>
                  <a:cubicBezTo>
                    <a:pt x="6" y="6"/>
                    <a:pt x="7" y="6"/>
                    <a:pt x="9" y="6"/>
                  </a:cubicBezTo>
                  <a:cubicBezTo>
                    <a:pt x="11" y="2"/>
                    <a:pt x="17" y="0"/>
                    <a:pt x="22" y="0"/>
                  </a:cubicBezTo>
                  <a:cubicBezTo>
                    <a:pt x="28" y="0"/>
                    <a:pt x="35" y="2"/>
                    <a:pt x="36" y="8"/>
                  </a:cubicBezTo>
                  <a:cubicBezTo>
                    <a:pt x="37" y="11"/>
                    <a:pt x="36" y="15"/>
                    <a:pt x="35" y="17"/>
                  </a:cubicBezTo>
                  <a:cubicBezTo>
                    <a:pt x="35" y="17"/>
                    <a:pt x="35" y="18"/>
                    <a:pt x="36" y="18"/>
                  </a:cubicBezTo>
                  <a:cubicBezTo>
                    <a:pt x="36" y="19"/>
                    <a:pt x="37" y="20"/>
                    <a:pt x="37" y="21"/>
                  </a:cubicBezTo>
                  <a:cubicBezTo>
                    <a:pt x="37" y="24"/>
                    <a:pt x="36" y="26"/>
                    <a:pt x="34" y="27"/>
                  </a:cubicBezTo>
                  <a:cubicBezTo>
                    <a:pt x="34" y="33"/>
                    <a:pt x="31" y="36"/>
                    <a:pt x="30" y="37"/>
                  </a:cubicBezTo>
                  <a:cubicBezTo>
                    <a:pt x="30" y="43"/>
                    <a:pt x="30" y="43"/>
                    <a:pt x="30" y="43"/>
                  </a:cubicBezTo>
                  <a:cubicBezTo>
                    <a:pt x="33" y="44"/>
                    <a:pt x="36" y="45"/>
                    <a:pt x="39" y="47"/>
                  </a:cubicBezTo>
                  <a:cubicBezTo>
                    <a:pt x="40" y="47"/>
                    <a:pt x="40" y="48"/>
                    <a:pt x="40" y="49"/>
                  </a:cubicBezTo>
                  <a:cubicBezTo>
                    <a:pt x="39" y="50"/>
                    <a:pt x="38" y="51"/>
                    <a:pt x="37" y="50"/>
                  </a:cubicBezTo>
                  <a:cubicBezTo>
                    <a:pt x="34" y="49"/>
                    <a:pt x="31" y="47"/>
                    <a:pt x="27" y="46"/>
                  </a:cubicBezTo>
                  <a:cubicBezTo>
                    <a:pt x="26" y="46"/>
                    <a:pt x="26" y="45"/>
                    <a:pt x="26" y="44"/>
                  </a:cubicBezTo>
                  <a:cubicBezTo>
                    <a:pt x="26" y="36"/>
                    <a:pt x="26" y="36"/>
                    <a:pt x="26" y="36"/>
                  </a:cubicBezTo>
                  <a:cubicBezTo>
                    <a:pt x="26" y="35"/>
                    <a:pt x="27" y="34"/>
                    <a:pt x="27" y="34"/>
                  </a:cubicBezTo>
                  <a:cubicBezTo>
                    <a:pt x="27" y="34"/>
                    <a:pt x="27" y="34"/>
                    <a:pt x="27" y="34"/>
                  </a:cubicBezTo>
                  <a:cubicBezTo>
                    <a:pt x="27" y="34"/>
                    <a:pt x="30" y="33"/>
                    <a:pt x="30" y="26"/>
                  </a:cubicBezTo>
                  <a:cubicBezTo>
                    <a:pt x="30" y="25"/>
                    <a:pt x="31" y="24"/>
                    <a:pt x="32" y="24"/>
                  </a:cubicBezTo>
                  <a:cubicBezTo>
                    <a:pt x="32" y="24"/>
                    <a:pt x="33" y="23"/>
                    <a:pt x="33" y="21"/>
                  </a:cubicBezTo>
                  <a:cubicBezTo>
                    <a:pt x="33" y="20"/>
                    <a:pt x="32" y="20"/>
                    <a:pt x="32" y="20"/>
                  </a:cubicBezTo>
                  <a:cubicBezTo>
                    <a:pt x="31" y="20"/>
                    <a:pt x="30" y="19"/>
                    <a:pt x="30" y="18"/>
                  </a:cubicBezTo>
                  <a:cubicBezTo>
                    <a:pt x="30" y="17"/>
                    <a:pt x="30" y="17"/>
                    <a:pt x="31" y="16"/>
                  </a:cubicBezTo>
                  <a:cubicBezTo>
                    <a:pt x="32" y="14"/>
                    <a:pt x="33" y="11"/>
                    <a:pt x="32" y="8"/>
                  </a:cubicBezTo>
                  <a:cubicBezTo>
                    <a:pt x="31" y="6"/>
                    <a:pt x="27" y="4"/>
                    <a:pt x="22" y="4"/>
                  </a:cubicBezTo>
                  <a:cubicBezTo>
                    <a:pt x="17" y="4"/>
                    <a:pt x="13" y="6"/>
                    <a:pt x="12" y="8"/>
                  </a:cubicBezTo>
                  <a:cubicBezTo>
                    <a:pt x="12" y="10"/>
                    <a:pt x="11" y="10"/>
                    <a:pt x="10" y="10"/>
                  </a:cubicBezTo>
                  <a:cubicBezTo>
                    <a:pt x="8" y="10"/>
                    <a:pt x="8" y="10"/>
                    <a:pt x="8" y="10"/>
                  </a:cubicBezTo>
                  <a:cubicBezTo>
                    <a:pt x="7" y="10"/>
                    <a:pt x="8" y="12"/>
                    <a:pt x="9" y="16"/>
                  </a:cubicBezTo>
                  <a:cubicBezTo>
                    <a:pt x="10" y="17"/>
                    <a:pt x="10" y="17"/>
                    <a:pt x="10" y="18"/>
                  </a:cubicBezTo>
                  <a:cubicBezTo>
                    <a:pt x="10" y="19"/>
                    <a:pt x="9" y="20"/>
                    <a:pt x="8" y="20"/>
                  </a:cubicBezTo>
                  <a:cubicBezTo>
                    <a:pt x="8" y="20"/>
                    <a:pt x="8" y="20"/>
                    <a:pt x="8" y="20"/>
                  </a:cubicBezTo>
                  <a:cubicBezTo>
                    <a:pt x="7" y="22"/>
                    <a:pt x="8" y="24"/>
                    <a:pt x="8" y="24"/>
                  </a:cubicBezTo>
                  <a:cubicBezTo>
                    <a:pt x="9" y="24"/>
                    <a:pt x="10" y="25"/>
                    <a:pt x="10" y="26"/>
                  </a:cubicBezTo>
                  <a:cubicBezTo>
                    <a:pt x="10" y="33"/>
                    <a:pt x="13" y="34"/>
                    <a:pt x="13" y="34"/>
                  </a:cubicBezTo>
                  <a:cubicBezTo>
                    <a:pt x="13" y="34"/>
                    <a:pt x="14" y="35"/>
                    <a:pt x="14" y="36"/>
                  </a:cubicBezTo>
                  <a:cubicBezTo>
                    <a:pt x="14" y="44"/>
                    <a:pt x="14" y="44"/>
                    <a:pt x="14" y="44"/>
                  </a:cubicBezTo>
                  <a:cubicBezTo>
                    <a:pt x="14" y="45"/>
                    <a:pt x="14" y="46"/>
                    <a:pt x="13" y="46"/>
                  </a:cubicBezTo>
                  <a:cubicBezTo>
                    <a:pt x="9" y="47"/>
                    <a:pt x="6" y="49"/>
                    <a:pt x="3" y="50"/>
                  </a:cubicBezTo>
                  <a:cubicBezTo>
                    <a:pt x="3" y="50"/>
                    <a:pt x="2"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36" name="Group 14">
            <a:extLst>
              <a:ext uri="{FF2B5EF4-FFF2-40B4-BE49-F238E27FC236}">
                <a16:creationId xmlns:a16="http://schemas.microsoft.com/office/drawing/2014/main" id="{290575C2-4546-4022-A2F0-EBE06D0CE179}"/>
              </a:ext>
            </a:extLst>
          </p:cNvPr>
          <p:cNvGrpSpPr>
            <a:grpSpLocks noChangeAspect="1"/>
          </p:cNvGrpSpPr>
          <p:nvPr/>
        </p:nvGrpSpPr>
        <p:grpSpPr>
          <a:xfrm>
            <a:off x="660857" y="1647825"/>
            <a:ext cx="306484" cy="306484"/>
            <a:chOff x="11593513" y="782638"/>
            <a:chExt cx="285750" cy="285750"/>
          </a:xfrm>
          <a:solidFill>
            <a:schemeClr val="bg2"/>
          </a:solidFill>
          <a:effectLst/>
        </p:grpSpPr>
        <p:sp>
          <p:nvSpPr>
            <p:cNvPr id="737" name="Freeform 300">
              <a:extLst>
                <a:ext uri="{FF2B5EF4-FFF2-40B4-BE49-F238E27FC236}">
                  <a16:creationId xmlns:a16="http://schemas.microsoft.com/office/drawing/2014/main" id="{5C4B32E8-D91D-4EB8-8F16-786623D5FD83}"/>
                </a:ext>
              </a:extLst>
            </p:cNvPr>
            <p:cNvSpPr>
              <a:spLocks/>
            </p:cNvSpPr>
            <p:nvPr/>
          </p:nvSpPr>
          <p:spPr bwMode="auto">
            <a:xfrm>
              <a:off x="11726863" y="1038225"/>
              <a:ext cx="38100" cy="9525"/>
            </a:xfrm>
            <a:custGeom>
              <a:avLst/>
              <a:gdLst>
                <a:gd name="T0" fmla="*/ 15 w 120"/>
                <a:gd name="T1" fmla="*/ 30 h 30"/>
                <a:gd name="T2" fmla="*/ 105 w 120"/>
                <a:gd name="T3" fmla="*/ 30 h 30"/>
                <a:gd name="T4" fmla="*/ 108 w 120"/>
                <a:gd name="T5" fmla="*/ 30 h 30"/>
                <a:gd name="T6" fmla="*/ 111 w 120"/>
                <a:gd name="T7" fmla="*/ 29 h 30"/>
                <a:gd name="T8" fmla="*/ 114 w 120"/>
                <a:gd name="T9" fmla="*/ 28 h 30"/>
                <a:gd name="T10" fmla="*/ 116 w 120"/>
                <a:gd name="T11" fmla="*/ 26 h 30"/>
                <a:gd name="T12" fmla="*/ 118 w 120"/>
                <a:gd name="T13" fmla="*/ 24 h 30"/>
                <a:gd name="T14" fmla="*/ 119 w 120"/>
                <a:gd name="T15" fmla="*/ 22 h 30"/>
                <a:gd name="T16" fmla="*/ 120 w 120"/>
                <a:gd name="T17" fmla="*/ 19 h 30"/>
                <a:gd name="T18" fmla="*/ 120 w 120"/>
                <a:gd name="T19" fmla="*/ 15 h 30"/>
                <a:gd name="T20" fmla="*/ 120 w 120"/>
                <a:gd name="T21" fmla="*/ 13 h 30"/>
                <a:gd name="T22" fmla="*/ 119 w 120"/>
                <a:gd name="T23" fmla="*/ 10 h 30"/>
                <a:gd name="T24" fmla="*/ 118 w 120"/>
                <a:gd name="T25" fmla="*/ 8 h 30"/>
                <a:gd name="T26" fmla="*/ 116 w 120"/>
                <a:gd name="T27" fmla="*/ 5 h 30"/>
                <a:gd name="T28" fmla="*/ 114 w 120"/>
                <a:gd name="T29" fmla="*/ 4 h 30"/>
                <a:gd name="T30" fmla="*/ 111 w 120"/>
                <a:gd name="T31" fmla="*/ 1 h 30"/>
                <a:gd name="T32" fmla="*/ 108 w 120"/>
                <a:gd name="T33" fmla="*/ 1 h 30"/>
                <a:gd name="T34" fmla="*/ 105 w 120"/>
                <a:gd name="T35" fmla="*/ 0 h 30"/>
                <a:gd name="T36" fmla="*/ 15 w 120"/>
                <a:gd name="T37" fmla="*/ 0 h 30"/>
                <a:gd name="T38" fmla="*/ 12 w 120"/>
                <a:gd name="T39" fmla="*/ 1 h 30"/>
                <a:gd name="T40" fmla="*/ 9 w 120"/>
                <a:gd name="T41" fmla="*/ 1 h 30"/>
                <a:gd name="T42" fmla="*/ 7 w 120"/>
                <a:gd name="T43" fmla="*/ 4 h 30"/>
                <a:gd name="T44" fmla="*/ 5 w 120"/>
                <a:gd name="T45" fmla="*/ 5 h 30"/>
                <a:gd name="T46" fmla="*/ 2 w 120"/>
                <a:gd name="T47" fmla="*/ 8 h 30"/>
                <a:gd name="T48" fmla="*/ 1 w 120"/>
                <a:gd name="T49" fmla="*/ 10 h 30"/>
                <a:gd name="T50" fmla="*/ 0 w 120"/>
                <a:gd name="T51" fmla="*/ 13 h 30"/>
                <a:gd name="T52" fmla="*/ 0 w 120"/>
                <a:gd name="T53" fmla="*/ 15 h 30"/>
                <a:gd name="T54" fmla="*/ 0 w 120"/>
                <a:gd name="T55" fmla="*/ 19 h 30"/>
                <a:gd name="T56" fmla="*/ 1 w 120"/>
                <a:gd name="T57" fmla="*/ 22 h 30"/>
                <a:gd name="T58" fmla="*/ 2 w 120"/>
                <a:gd name="T59" fmla="*/ 24 h 30"/>
                <a:gd name="T60" fmla="*/ 5 w 120"/>
                <a:gd name="T61" fmla="*/ 26 h 30"/>
                <a:gd name="T62" fmla="*/ 7 w 120"/>
                <a:gd name="T63" fmla="*/ 28 h 30"/>
                <a:gd name="T64" fmla="*/ 9 w 120"/>
                <a:gd name="T65" fmla="*/ 29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1" y="29"/>
                  </a:lnTo>
                  <a:lnTo>
                    <a:pt x="114" y="28"/>
                  </a:lnTo>
                  <a:lnTo>
                    <a:pt x="116" y="26"/>
                  </a:lnTo>
                  <a:lnTo>
                    <a:pt x="118" y="24"/>
                  </a:lnTo>
                  <a:lnTo>
                    <a:pt x="119" y="22"/>
                  </a:lnTo>
                  <a:lnTo>
                    <a:pt x="120" y="19"/>
                  </a:lnTo>
                  <a:lnTo>
                    <a:pt x="120" y="15"/>
                  </a:lnTo>
                  <a:lnTo>
                    <a:pt x="120" y="13"/>
                  </a:lnTo>
                  <a:lnTo>
                    <a:pt x="119" y="10"/>
                  </a:lnTo>
                  <a:lnTo>
                    <a:pt x="118" y="8"/>
                  </a:lnTo>
                  <a:lnTo>
                    <a:pt x="116" y="5"/>
                  </a:lnTo>
                  <a:lnTo>
                    <a:pt x="114" y="4"/>
                  </a:lnTo>
                  <a:lnTo>
                    <a:pt x="111" y="1"/>
                  </a:lnTo>
                  <a:lnTo>
                    <a:pt x="108" y="1"/>
                  </a:lnTo>
                  <a:lnTo>
                    <a:pt x="105" y="0"/>
                  </a:lnTo>
                  <a:lnTo>
                    <a:pt x="15" y="0"/>
                  </a:lnTo>
                  <a:lnTo>
                    <a:pt x="12" y="1"/>
                  </a:lnTo>
                  <a:lnTo>
                    <a:pt x="9" y="1"/>
                  </a:lnTo>
                  <a:lnTo>
                    <a:pt x="7" y="4"/>
                  </a:lnTo>
                  <a:lnTo>
                    <a:pt x="5" y="5"/>
                  </a:lnTo>
                  <a:lnTo>
                    <a:pt x="2" y="8"/>
                  </a:lnTo>
                  <a:lnTo>
                    <a:pt x="1" y="10"/>
                  </a:lnTo>
                  <a:lnTo>
                    <a:pt x="0" y="13"/>
                  </a:lnTo>
                  <a:lnTo>
                    <a:pt x="0" y="15"/>
                  </a:lnTo>
                  <a:lnTo>
                    <a:pt x="0" y="19"/>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38" name="Freeform 301">
              <a:extLst>
                <a:ext uri="{FF2B5EF4-FFF2-40B4-BE49-F238E27FC236}">
                  <a16:creationId xmlns:a16="http://schemas.microsoft.com/office/drawing/2014/main" id="{FEEE0F0A-EF08-4212-89D4-DB5A66A74995}"/>
                </a:ext>
              </a:extLst>
            </p:cNvPr>
            <p:cNvSpPr>
              <a:spLocks/>
            </p:cNvSpPr>
            <p:nvPr/>
          </p:nvSpPr>
          <p:spPr bwMode="auto">
            <a:xfrm>
              <a:off x="11669713" y="811213"/>
              <a:ext cx="9525" cy="161925"/>
            </a:xfrm>
            <a:custGeom>
              <a:avLst/>
              <a:gdLst>
                <a:gd name="T0" fmla="*/ 15 w 31"/>
                <a:gd name="T1" fmla="*/ 510 h 510"/>
                <a:gd name="T2" fmla="*/ 18 w 31"/>
                <a:gd name="T3" fmla="*/ 510 h 510"/>
                <a:gd name="T4" fmla="*/ 21 w 31"/>
                <a:gd name="T5" fmla="*/ 509 h 510"/>
                <a:gd name="T6" fmla="*/ 23 w 31"/>
                <a:gd name="T7" fmla="*/ 507 h 510"/>
                <a:gd name="T8" fmla="*/ 25 w 31"/>
                <a:gd name="T9" fmla="*/ 506 h 510"/>
                <a:gd name="T10" fmla="*/ 27 w 31"/>
                <a:gd name="T11" fmla="*/ 504 h 510"/>
                <a:gd name="T12" fmla="*/ 29 w 31"/>
                <a:gd name="T13" fmla="*/ 500 h 510"/>
                <a:gd name="T14" fmla="*/ 30 w 31"/>
                <a:gd name="T15" fmla="*/ 498 h 510"/>
                <a:gd name="T16" fmla="*/ 31 w 31"/>
                <a:gd name="T17" fmla="*/ 495 h 510"/>
                <a:gd name="T18" fmla="*/ 31 w 31"/>
                <a:gd name="T19" fmla="*/ 15 h 510"/>
                <a:gd name="T20" fmla="*/ 30 w 31"/>
                <a:gd name="T21" fmla="*/ 12 h 510"/>
                <a:gd name="T22" fmla="*/ 29 w 31"/>
                <a:gd name="T23" fmla="*/ 9 h 510"/>
                <a:gd name="T24" fmla="*/ 27 w 31"/>
                <a:gd name="T25" fmla="*/ 7 h 510"/>
                <a:gd name="T26" fmla="*/ 25 w 31"/>
                <a:gd name="T27" fmla="*/ 5 h 510"/>
                <a:gd name="T28" fmla="*/ 23 w 31"/>
                <a:gd name="T29" fmla="*/ 3 h 510"/>
                <a:gd name="T30" fmla="*/ 21 w 31"/>
                <a:gd name="T31" fmla="*/ 1 h 510"/>
                <a:gd name="T32" fmla="*/ 18 w 31"/>
                <a:gd name="T33" fmla="*/ 0 h 510"/>
                <a:gd name="T34" fmla="*/ 15 w 31"/>
                <a:gd name="T35" fmla="*/ 0 h 510"/>
                <a:gd name="T36" fmla="*/ 13 w 31"/>
                <a:gd name="T37" fmla="*/ 0 h 510"/>
                <a:gd name="T38" fmla="*/ 9 w 31"/>
                <a:gd name="T39" fmla="*/ 1 h 510"/>
                <a:gd name="T40" fmla="*/ 7 w 31"/>
                <a:gd name="T41" fmla="*/ 3 h 510"/>
                <a:gd name="T42" fmla="*/ 5 w 31"/>
                <a:gd name="T43" fmla="*/ 5 h 510"/>
                <a:gd name="T44" fmla="*/ 3 w 31"/>
                <a:gd name="T45" fmla="*/ 7 h 510"/>
                <a:gd name="T46" fmla="*/ 2 w 31"/>
                <a:gd name="T47" fmla="*/ 9 h 510"/>
                <a:gd name="T48" fmla="*/ 1 w 31"/>
                <a:gd name="T49" fmla="*/ 12 h 510"/>
                <a:gd name="T50" fmla="*/ 0 w 31"/>
                <a:gd name="T51" fmla="*/ 15 h 510"/>
                <a:gd name="T52" fmla="*/ 0 w 31"/>
                <a:gd name="T53" fmla="*/ 495 h 510"/>
                <a:gd name="T54" fmla="*/ 1 w 31"/>
                <a:gd name="T55" fmla="*/ 498 h 510"/>
                <a:gd name="T56" fmla="*/ 2 w 31"/>
                <a:gd name="T57" fmla="*/ 500 h 510"/>
                <a:gd name="T58" fmla="*/ 3 w 31"/>
                <a:gd name="T59" fmla="*/ 504 h 510"/>
                <a:gd name="T60" fmla="*/ 5 w 31"/>
                <a:gd name="T61" fmla="*/ 506 h 510"/>
                <a:gd name="T62" fmla="*/ 7 w 31"/>
                <a:gd name="T63" fmla="*/ 507 h 510"/>
                <a:gd name="T64" fmla="*/ 9 w 31"/>
                <a:gd name="T65" fmla="*/ 509 h 510"/>
                <a:gd name="T66" fmla="*/ 13 w 31"/>
                <a:gd name="T67" fmla="*/ 510 h 510"/>
                <a:gd name="T68" fmla="*/ 15 w 31"/>
                <a:gd name="T69"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510">
                  <a:moveTo>
                    <a:pt x="15" y="510"/>
                  </a:moveTo>
                  <a:lnTo>
                    <a:pt x="18" y="510"/>
                  </a:lnTo>
                  <a:lnTo>
                    <a:pt x="21" y="509"/>
                  </a:lnTo>
                  <a:lnTo>
                    <a:pt x="23" y="507"/>
                  </a:lnTo>
                  <a:lnTo>
                    <a:pt x="25" y="506"/>
                  </a:lnTo>
                  <a:lnTo>
                    <a:pt x="27" y="504"/>
                  </a:lnTo>
                  <a:lnTo>
                    <a:pt x="29" y="500"/>
                  </a:lnTo>
                  <a:lnTo>
                    <a:pt x="30" y="498"/>
                  </a:lnTo>
                  <a:lnTo>
                    <a:pt x="31" y="495"/>
                  </a:lnTo>
                  <a:lnTo>
                    <a:pt x="31" y="15"/>
                  </a:lnTo>
                  <a:lnTo>
                    <a:pt x="30" y="12"/>
                  </a:lnTo>
                  <a:lnTo>
                    <a:pt x="29" y="9"/>
                  </a:lnTo>
                  <a:lnTo>
                    <a:pt x="27" y="7"/>
                  </a:lnTo>
                  <a:lnTo>
                    <a:pt x="25" y="5"/>
                  </a:lnTo>
                  <a:lnTo>
                    <a:pt x="23" y="3"/>
                  </a:lnTo>
                  <a:lnTo>
                    <a:pt x="21" y="1"/>
                  </a:lnTo>
                  <a:lnTo>
                    <a:pt x="18" y="0"/>
                  </a:lnTo>
                  <a:lnTo>
                    <a:pt x="15" y="0"/>
                  </a:lnTo>
                  <a:lnTo>
                    <a:pt x="13" y="0"/>
                  </a:lnTo>
                  <a:lnTo>
                    <a:pt x="9" y="1"/>
                  </a:lnTo>
                  <a:lnTo>
                    <a:pt x="7" y="3"/>
                  </a:lnTo>
                  <a:lnTo>
                    <a:pt x="5" y="5"/>
                  </a:lnTo>
                  <a:lnTo>
                    <a:pt x="3" y="7"/>
                  </a:lnTo>
                  <a:lnTo>
                    <a:pt x="2" y="9"/>
                  </a:lnTo>
                  <a:lnTo>
                    <a:pt x="1" y="12"/>
                  </a:lnTo>
                  <a:lnTo>
                    <a:pt x="0" y="15"/>
                  </a:lnTo>
                  <a:lnTo>
                    <a:pt x="0" y="495"/>
                  </a:lnTo>
                  <a:lnTo>
                    <a:pt x="1" y="498"/>
                  </a:lnTo>
                  <a:lnTo>
                    <a:pt x="2" y="500"/>
                  </a:lnTo>
                  <a:lnTo>
                    <a:pt x="3" y="504"/>
                  </a:lnTo>
                  <a:lnTo>
                    <a:pt x="5" y="506"/>
                  </a:lnTo>
                  <a:lnTo>
                    <a:pt x="7" y="507"/>
                  </a:lnTo>
                  <a:lnTo>
                    <a:pt x="9" y="509"/>
                  </a:lnTo>
                  <a:lnTo>
                    <a:pt x="13" y="510"/>
                  </a:lnTo>
                  <a:lnTo>
                    <a:pt x="15"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39" name="Freeform 302">
              <a:extLst>
                <a:ext uri="{FF2B5EF4-FFF2-40B4-BE49-F238E27FC236}">
                  <a16:creationId xmlns:a16="http://schemas.microsoft.com/office/drawing/2014/main" id="{663943CA-EDEF-42EE-9DF9-B661BD200442}"/>
                </a:ext>
              </a:extLst>
            </p:cNvPr>
            <p:cNvSpPr>
              <a:spLocks noEditPoints="1"/>
            </p:cNvSpPr>
            <p:nvPr/>
          </p:nvSpPr>
          <p:spPr bwMode="auto">
            <a:xfrm>
              <a:off x="11660188" y="982663"/>
              <a:ext cx="38100" cy="65088"/>
            </a:xfrm>
            <a:custGeom>
              <a:avLst/>
              <a:gdLst>
                <a:gd name="T0" fmla="*/ 91 w 121"/>
                <a:gd name="T1" fmla="*/ 179 h 209"/>
                <a:gd name="T2" fmla="*/ 30 w 121"/>
                <a:gd name="T3" fmla="*/ 179 h 209"/>
                <a:gd name="T4" fmla="*/ 30 w 121"/>
                <a:gd name="T5" fmla="*/ 30 h 209"/>
                <a:gd name="T6" fmla="*/ 91 w 121"/>
                <a:gd name="T7" fmla="*/ 30 h 209"/>
                <a:gd name="T8" fmla="*/ 91 w 121"/>
                <a:gd name="T9" fmla="*/ 179 h 209"/>
                <a:gd name="T10" fmla="*/ 106 w 121"/>
                <a:gd name="T11" fmla="*/ 0 h 209"/>
                <a:gd name="T12" fmla="*/ 15 w 121"/>
                <a:gd name="T13" fmla="*/ 0 h 209"/>
                <a:gd name="T14" fmla="*/ 13 w 121"/>
                <a:gd name="T15" fmla="*/ 0 h 209"/>
                <a:gd name="T16" fmla="*/ 9 w 121"/>
                <a:gd name="T17" fmla="*/ 1 h 209"/>
                <a:gd name="T18" fmla="*/ 7 w 121"/>
                <a:gd name="T19" fmla="*/ 2 h 209"/>
                <a:gd name="T20" fmla="*/ 5 w 121"/>
                <a:gd name="T21" fmla="*/ 4 h 209"/>
                <a:gd name="T22" fmla="*/ 3 w 121"/>
                <a:gd name="T23" fmla="*/ 6 h 209"/>
                <a:gd name="T24" fmla="*/ 1 w 121"/>
                <a:gd name="T25" fmla="*/ 10 h 209"/>
                <a:gd name="T26" fmla="*/ 1 w 121"/>
                <a:gd name="T27" fmla="*/ 12 h 209"/>
                <a:gd name="T28" fmla="*/ 0 w 121"/>
                <a:gd name="T29" fmla="*/ 15 h 209"/>
                <a:gd name="T30" fmla="*/ 0 w 121"/>
                <a:gd name="T31" fmla="*/ 194 h 209"/>
                <a:gd name="T32" fmla="*/ 1 w 121"/>
                <a:gd name="T33" fmla="*/ 198 h 209"/>
                <a:gd name="T34" fmla="*/ 1 w 121"/>
                <a:gd name="T35" fmla="*/ 201 h 209"/>
                <a:gd name="T36" fmla="*/ 3 w 121"/>
                <a:gd name="T37" fmla="*/ 203 h 209"/>
                <a:gd name="T38" fmla="*/ 5 w 121"/>
                <a:gd name="T39" fmla="*/ 205 h 209"/>
                <a:gd name="T40" fmla="*/ 7 w 121"/>
                <a:gd name="T41" fmla="*/ 207 h 209"/>
                <a:gd name="T42" fmla="*/ 9 w 121"/>
                <a:gd name="T43" fmla="*/ 208 h 209"/>
                <a:gd name="T44" fmla="*/ 13 w 121"/>
                <a:gd name="T45" fmla="*/ 209 h 209"/>
                <a:gd name="T46" fmla="*/ 15 w 121"/>
                <a:gd name="T47" fmla="*/ 209 h 209"/>
                <a:gd name="T48" fmla="*/ 106 w 121"/>
                <a:gd name="T49" fmla="*/ 209 h 209"/>
                <a:gd name="T50" fmla="*/ 108 w 121"/>
                <a:gd name="T51" fmla="*/ 209 h 209"/>
                <a:gd name="T52" fmla="*/ 111 w 121"/>
                <a:gd name="T53" fmla="*/ 208 h 209"/>
                <a:gd name="T54" fmla="*/ 113 w 121"/>
                <a:gd name="T55" fmla="*/ 207 h 209"/>
                <a:gd name="T56" fmla="*/ 116 w 121"/>
                <a:gd name="T57" fmla="*/ 205 h 209"/>
                <a:gd name="T58" fmla="*/ 117 w 121"/>
                <a:gd name="T59" fmla="*/ 203 h 209"/>
                <a:gd name="T60" fmla="*/ 119 w 121"/>
                <a:gd name="T61" fmla="*/ 201 h 209"/>
                <a:gd name="T62" fmla="*/ 119 w 121"/>
                <a:gd name="T63" fmla="*/ 198 h 209"/>
                <a:gd name="T64" fmla="*/ 121 w 121"/>
                <a:gd name="T65" fmla="*/ 194 h 209"/>
                <a:gd name="T66" fmla="*/ 121 w 121"/>
                <a:gd name="T67" fmla="*/ 15 h 209"/>
                <a:gd name="T68" fmla="*/ 119 w 121"/>
                <a:gd name="T69" fmla="*/ 12 h 209"/>
                <a:gd name="T70" fmla="*/ 119 w 121"/>
                <a:gd name="T71" fmla="*/ 10 h 209"/>
                <a:gd name="T72" fmla="*/ 117 w 121"/>
                <a:gd name="T73" fmla="*/ 6 h 209"/>
                <a:gd name="T74" fmla="*/ 116 w 121"/>
                <a:gd name="T75" fmla="*/ 4 h 209"/>
                <a:gd name="T76" fmla="*/ 113 w 121"/>
                <a:gd name="T77" fmla="*/ 2 h 209"/>
                <a:gd name="T78" fmla="*/ 111 w 121"/>
                <a:gd name="T79" fmla="*/ 1 h 209"/>
                <a:gd name="T80" fmla="*/ 108 w 121"/>
                <a:gd name="T81" fmla="*/ 0 h 209"/>
                <a:gd name="T82" fmla="*/ 106 w 121"/>
                <a:gd name="T83" fmla="*/ 0 h 209"/>
                <a:gd name="T84" fmla="*/ 106 w 121"/>
                <a:gd name="T85"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209">
                  <a:moveTo>
                    <a:pt x="91" y="179"/>
                  </a:moveTo>
                  <a:lnTo>
                    <a:pt x="30" y="179"/>
                  </a:lnTo>
                  <a:lnTo>
                    <a:pt x="30" y="30"/>
                  </a:lnTo>
                  <a:lnTo>
                    <a:pt x="91" y="30"/>
                  </a:lnTo>
                  <a:lnTo>
                    <a:pt x="91" y="179"/>
                  </a:lnTo>
                  <a:close/>
                  <a:moveTo>
                    <a:pt x="106" y="0"/>
                  </a:moveTo>
                  <a:lnTo>
                    <a:pt x="15" y="0"/>
                  </a:lnTo>
                  <a:lnTo>
                    <a:pt x="13" y="0"/>
                  </a:lnTo>
                  <a:lnTo>
                    <a:pt x="9" y="1"/>
                  </a:lnTo>
                  <a:lnTo>
                    <a:pt x="7" y="2"/>
                  </a:lnTo>
                  <a:lnTo>
                    <a:pt x="5" y="4"/>
                  </a:lnTo>
                  <a:lnTo>
                    <a:pt x="3" y="6"/>
                  </a:lnTo>
                  <a:lnTo>
                    <a:pt x="1" y="10"/>
                  </a:lnTo>
                  <a:lnTo>
                    <a:pt x="1" y="12"/>
                  </a:lnTo>
                  <a:lnTo>
                    <a:pt x="0" y="15"/>
                  </a:lnTo>
                  <a:lnTo>
                    <a:pt x="0" y="194"/>
                  </a:lnTo>
                  <a:lnTo>
                    <a:pt x="1" y="198"/>
                  </a:lnTo>
                  <a:lnTo>
                    <a:pt x="1" y="201"/>
                  </a:lnTo>
                  <a:lnTo>
                    <a:pt x="3" y="203"/>
                  </a:lnTo>
                  <a:lnTo>
                    <a:pt x="5" y="205"/>
                  </a:lnTo>
                  <a:lnTo>
                    <a:pt x="7" y="207"/>
                  </a:lnTo>
                  <a:lnTo>
                    <a:pt x="9" y="208"/>
                  </a:lnTo>
                  <a:lnTo>
                    <a:pt x="13" y="209"/>
                  </a:lnTo>
                  <a:lnTo>
                    <a:pt x="15" y="209"/>
                  </a:lnTo>
                  <a:lnTo>
                    <a:pt x="106" y="209"/>
                  </a:lnTo>
                  <a:lnTo>
                    <a:pt x="108" y="209"/>
                  </a:lnTo>
                  <a:lnTo>
                    <a:pt x="111" y="208"/>
                  </a:lnTo>
                  <a:lnTo>
                    <a:pt x="113" y="207"/>
                  </a:lnTo>
                  <a:lnTo>
                    <a:pt x="116" y="205"/>
                  </a:lnTo>
                  <a:lnTo>
                    <a:pt x="117" y="203"/>
                  </a:lnTo>
                  <a:lnTo>
                    <a:pt x="119" y="201"/>
                  </a:lnTo>
                  <a:lnTo>
                    <a:pt x="119" y="198"/>
                  </a:lnTo>
                  <a:lnTo>
                    <a:pt x="121" y="194"/>
                  </a:lnTo>
                  <a:lnTo>
                    <a:pt x="121" y="15"/>
                  </a:lnTo>
                  <a:lnTo>
                    <a:pt x="119" y="12"/>
                  </a:lnTo>
                  <a:lnTo>
                    <a:pt x="119" y="10"/>
                  </a:lnTo>
                  <a:lnTo>
                    <a:pt x="117" y="6"/>
                  </a:lnTo>
                  <a:lnTo>
                    <a:pt x="116" y="4"/>
                  </a:lnTo>
                  <a:lnTo>
                    <a:pt x="113" y="2"/>
                  </a:lnTo>
                  <a:lnTo>
                    <a:pt x="111" y="1"/>
                  </a:lnTo>
                  <a:lnTo>
                    <a:pt x="108" y="0"/>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0" name="Freeform 303">
              <a:extLst>
                <a:ext uri="{FF2B5EF4-FFF2-40B4-BE49-F238E27FC236}">
                  <a16:creationId xmlns:a16="http://schemas.microsoft.com/office/drawing/2014/main" id="{692A137E-FE39-4173-B74C-CC6FCCCBF200}"/>
                </a:ext>
              </a:extLst>
            </p:cNvPr>
            <p:cNvSpPr>
              <a:spLocks/>
            </p:cNvSpPr>
            <p:nvPr/>
          </p:nvSpPr>
          <p:spPr bwMode="auto">
            <a:xfrm>
              <a:off x="11736388" y="906463"/>
              <a:ext cx="9525" cy="114300"/>
            </a:xfrm>
            <a:custGeom>
              <a:avLst/>
              <a:gdLst>
                <a:gd name="T0" fmla="*/ 15 w 30"/>
                <a:gd name="T1" fmla="*/ 360 h 360"/>
                <a:gd name="T2" fmla="*/ 18 w 30"/>
                <a:gd name="T3" fmla="*/ 360 h 360"/>
                <a:gd name="T4" fmla="*/ 20 w 30"/>
                <a:gd name="T5" fmla="*/ 358 h 360"/>
                <a:gd name="T6" fmla="*/ 24 w 30"/>
                <a:gd name="T7" fmla="*/ 357 h 360"/>
                <a:gd name="T8" fmla="*/ 26 w 30"/>
                <a:gd name="T9" fmla="*/ 355 h 360"/>
                <a:gd name="T10" fmla="*/ 28 w 30"/>
                <a:gd name="T11" fmla="*/ 353 h 360"/>
                <a:gd name="T12" fmla="*/ 29 w 30"/>
                <a:gd name="T13" fmla="*/ 351 h 360"/>
                <a:gd name="T14" fmla="*/ 30 w 30"/>
                <a:gd name="T15" fmla="*/ 348 h 360"/>
                <a:gd name="T16" fmla="*/ 30 w 30"/>
                <a:gd name="T17" fmla="*/ 345 h 360"/>
                <a:gd name="T18" fmla="*/ 30 w 30"/>
                <a:gd name="T19" fmla="*/ 14 h 360"/>
                <a:gd name="T20" fmla="*/ 30 w 30"/>
                <a:gd name="T21" fmla="*/ 12 h 360"/>
                <a:gd name="T22" fmla="*/ 29 w 30"/>
                <a:gd name="T23" fmla="*/ 9 h 360"/>
                <a:gd name="T24" fmla="*/ 28 w 30"/>
                <a:gd name="T25" fmla="*/ 7 h 360"/>
                <a:gd name="T26" fmla="*/ 26 w 30"/>
                <a:gd name="T27" fmla="*/ 4 h 360"/>
                <a:gd name="T28" fmla="*/ 24 w 30"/>
                <a:gd name="T29" fmla="*/ 3 h 360"/>
                <a:gd name="T30" fmla="*/ 20 w 30"/>
                <a:gd name="T31" fmla="*/ 1 h 360"/>
                <a:gd name="T32" fmla="*/ 18 w 30"/>
                <a:gd name="T33" fmla="*/ 1 h 360"/>
                <a:gd name="T34" fmla="*/ 15 w 30"/>
                <a:gd name="T35" fmla="*/ 0 h 360"/>
                <a:gd name="T36" fmla="*/ 12 w 30"/>
                <a:gd name="T37" fmla="*/ 1 h 360"/>
                <a:gd name="T38" fmla="*/ 10 w 30"/>
                <a:gd name="T39" fmla="*/ 1 h 360"/>
                <a:gd name="T40" fmla="*/ 7 w 30"/>
                <a:gd name="T41" fmla="*/ 3 h 360"/>
                <a:gd name="T42" fmla="*/ 4 w 30"/>
                <a:gd name="T43" fmla="*/ 4 h 360"/>
                <a:gd name="T44" fmla="*/ 2 w 30"/>
                <a:gd name="T45" fmla="*/ 7 h 360"/>
                <a:gd name="T46" fmla="*/ 1 w 30"/>
                <a:gd name="T47" fmla="*/ 9 h 360"/>
                <a:gd name="T48" fmla="*/ 0 w 30"/>
                <a:gd name="T49" fmla="*/ 12 h 360"/>
                <a:gd name="T50" fmla="*/ 0 w 30"/>
                <a:gd name="T51" fmla="*/ 14 h 360"/>
                <a:gd name="T52" fmla="*/ 0 w 30"/>
                <a:gd name="T53" fmla="*/ 345 h 360"/>
                <a:gd name="T54" fmla="*/ 0 w 30"/>
                <a:gd name="T55" fmla="*/ 348 h 360"/>
                <a:gd name="T56" fmla="*/ 1 w 30"/>
                <a:gd name="T57" fmla="*/ 351 h 360"/>
                <a:gd name="T58" fmla="*/ 2 w 30"/>
                <a:gd name="T59" fmla="*/ 353 h 360"/>
                <a:gd name="T60" fmla="*/ 4 w 30"/>
                <a:gd name="T61" fmla="*/ 355 h 360"/>
                <a:gd name="T62" fmla="*/ 7 w 30"/>
                <a:gd name="T63" fmla="*/ 357 h 360"/>
                <a:gd name="T64" fmla="*/ 10 w 30"/>
                <a:gd name="T65" fmla="*/ 358 h 360"/>
                <a:gd name="T66" fmla="*/ 12 w 30"/>
                <a:gd name="T67" fmla="*/ 360 h 360"/>
                <a:gd name="T68" fmla="*/ 15 w 30"/>
                <a:gd name="T69"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60">
                  <a:moveTo>
                    <a:pt x="15" y="360"/>
                  </a:moveTo>
                  <a:lnTo>
                    <a:pt x="18" y="360"/>
                  </a:lnTo>
                  <a:lnTo>
                    <a:pt x="20" y="358"/>
                  </a:lnTo>
                  <a:lnTo>
                    <a:pt x="24" y="357"/>
                  </a:lnTo>
                  <a:lnTo>
                    <a:pt x="26" y="355"/>
                  </a:lnTo>
                  <a:lnTo>
                    <a:pt x="28" y="353"/>
                  </a:lnTo>
                  <a:lnTo>
                    <a:pt x="29" y="351"/>
                  </a:lnTo>
                  <a:lnTo>
                    <a:pt x="30" y="348"/>
                  </a:lnTo>
                  <a:lnTo>
                    <a:pt x="30" y="345"/>
                  </a:lnTo>
                  <a:lnTo>
                    <a:pt x="30" y="14"/>
                  </a:lnTo>
                  <a:lnTo>
                    <a:pt x="30" y="12"/>
                  </a:lnTo>
                  <a:lnTo>
                    <a:pt x="29" y="9"/>
                  </a:lnTo>
                  <a:lnTo>
                    <a:pt x="28" y="7"/>
                  </a:lnTo>
                  <a:lnTo>
                    <a:pt x="26" y="4"/>
                  </a:lnTo>
                  <a:lnTo>
                    <a:pt x="24" y="3"/>
                  </a:lnTo>
                  <a:lnTo>
                    <a:pt x="20" y="1"/>
                  </a:lnTo>
                  <a:lnTo>
                    <a:pt x="18" y="1"/>
                  </a:lnTo>
                  <a:lnTo>
                    <a:pt x="15" y="0"/>
                  </a:lnTo>
                  <a:lnTo>
                    <a:pt x="12" y="1"/>
                  </a:lnTo>
                  <a:lnTo>
                    <a:pt x="10" y="1"/>
                  </a:lnTo>
                  <a:lnTo>
                    <a:pt x="7" y="3"/>
                  </a:lnTo>
                  <a:lnTo>
                    <a:pt x="4" y="4"/>
                  </a:lnTo>
                  <a:lnTo>
                    <a:pt x="2" y="7"/>
                  </a:lnTo>
                  <a:lnTo>
                    <a:pt x="1" y="9"/>
                  </a:lnTo>
                  <a:lnTo>
                    <a:pt x="0" y="12"/>
                  </a:lnTo>
                  <a:lnTo>
                    <a:pt x="0" y="14"/>
                  </a:lnTo>
                  <a:lnTo>
                    <a:pt x="0" y="345"/>
                  </a:lnTo>
                  <a:lnTo>
                    <a:pt x="0" y="348"/>
                  </a:lnTo>
                  <a:lnTo>
                    <a:pt x="1" y="351"/>
                  </a:lnTo>
                  <a:lnTo>
                    <a:pt x="2" y="353"/>
                  </a:lnTo>
                  <a:lnTo>
                    <a:pt x="4" y="355"/>
                  </a:lnTo>
                  <a:lnTo>
                    <a:pt x="7" y="357"/>
                  </a:lnTo>
                  <a:lnTo>
                    <a:pt x="10" y="358"/>
                  </a:lnTo>
                  <a:lnTo>
                    <a:pt x="12" y="360"/>
                  </a:lnTo>
                  <a:lnTo>
                    <a:pt x="15"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1" name="Freeform 304">
              <a:extLst>
                <a:ext uri="{FF2B5EF4-FFF2-40B4-BE49-F238E27FC236}">
                  <a16:creationId xmlns:a16="http://schemas.microsoft.com/office/drawing/2014/main" id="{03FFB01E-B2A8-4CE2-BA02-C8BAC71F43E2}"/>
                </a:ext>
              </a:extLst>
            </p:cNvPr>
            <p:cNvSpPr>
              <a:spLocks/>
            </p:cNvSpPr>
            <p:nvPr/>
          </p:nvSpPr>
          <p:spPr bwMode="auto">
            <a:xfrm>
              <a:off x="11612563" y="858838"/>
              <a:ext cx="9525" cy="169863"/>
            </a:xfrm>
            <a:custGeom>
              <a:avLst/>
              <a:gdLst>
                <a:gd name="T0" fmla="*/ 15 w 30"/>
                <a:gd name="T1" fmla="*/ 0 h 539"/>
                <a:gd name="T2" fmla="*/ 12 w 30"/>
                <a:gd name="T3" fmla="*/ 0 h 539"/>
                <a:gd name="T4" fmla="*/ 10 w 30"/>
                <a:gd name="T5" fmla="*/ 1 h 539"/>
                <a:gd name="T6" fmla="*/ 7 w 30"/>
                <a:gd name="T7" fmla="*/ 2 h 539"/>
                <a:gd name="T8" fmla="*/ 4 w 30"/>
                <a:gd name="T9" fmla="*/ 4 h 539"/>
                <a:gd name="T10" fmla="*/ 2 w 30"/>
                <a:gd name="T11" fmla="*/ 6 h 539"/>
                <a:gd name="T12" fmla="*/ 1 w 30"/>
                <a:gd name="T13" fmla="*/ 10 h 539"/>
                <a:gd name="T14" fmla="*/ 0 w 30"/>
                <a:gd name="T15" fmla="*/ 12 h 539"/>
                <a:gd name="T16" fmla="*/ 0 w 30"/>
                <a:gd name="T17" fmla="*/ 15 h 539"/>
                <a:gd name="T18" fmla="*/ 0 w 30"/>
                <a:gd name="T19" fmla="*/ 525 h 539"/>
                <a:gd name="T20" fmla="*/ 0 w 30"/>
                <a:gd name="T21" fmla="*/ 528 h 539"/>
                <a:gd name="T22" fmla="*/ 1 w 30"/>
                <a:gd name="T23" fmla="*/ 531 h 539"/>
                <a:gd name="T24" fmla="*/ 2 w 30"/>
                <a:gd name="T25" fmla="*/ 533 h 539"/>
                <a:gd name="T26" fmla="*/ 4 w 30"/>
                <a:gd name="T27" fmla="*/ 535 h 539"/>
                <a:gd name="T28" fmla="*/ 7 w 30"/>
                <a:gd name="T29" fmla="*/ 537 h 539"/>
                <a:gd name="T30" fmla="*/ 10 w 30"/>
                <a:gd name="T31" fmla="*/ 538 h 539"/>
                <a:gd name="T32" fmla="*/ 12 w 30"/>
                <a:gd name="T33" fmla="*/ 539 h 539"/>
                <a:gd name="T34" fmla="*/ 15 w 30"/>
                <a:gd name="T35" fmla="*/ 539 h 539"/>
                <a:gd name="T36" fmla="*/ 18 w 30"/>
                <a:gd name="T37" fmla="*/ 539 h 539"/>
                <a:gd name="T38" fmla="*/ 22 w 30"/>
                <a:gd name="T39" fmla="*/ 538 h 539"/>
                <a:gd name="T40" fmla="*/ 24 w 30"/>
                <a:gd name="T41" fmla="*/ 537 h 539"/>
                <a:gd name="T42" fmla="*/ 26 w 30"/>
                <a:gd name="T43" fmla="*/ 535 h 539"/>
                <a:gd name="T44" fmla="*/ 28 w 30"/>
                <a:gd name="T45" fmla="*/ 533 h 539"/>
                <a:gd name="T46" fmla="*/ 29 w 30"/>
                <a:gd name="T47" fmla="*/ 531 h 539"/>
                <a:gd name="T48" fmla="*/ 30 w 30"/>
                <a:gd name="T49" fmla="*/ 528 h 539"/>
                <a:gd name="T50" fmla="*/ 30 w 30"/>
                <a:gd name="T51" fmla="*/ 525 h 539"/>
                <a:gd name="T52" fmla="*/ 30 w 30"/>
                <a:gd name="T53" fmla="*/ 15 h 539"/>
                <a:gd name="T54" fmla="*/ 30 w 30"/>
                <a:gd name="T55" fmla="*/ 12 h 539"/>
                <a:gd name="T56" fmla="*/ 29 w 30"/>
                <a:gd name="T57" fmla="*/ 10 h 539"/>
                <a:gd name="T58" fmla="*/ 28 w 30"/>
                <a:gd name="T59" fmla="*/ 6 h 539"/>
                <a:gd name="T60" fmla="*/ 26 w 30"/>
                <a:gd name="T61" fmla="*/ 4 h 539"/>
                <a:gd name="T62" fmla="*/ 24 w 30"/>
                <a:gd name="T63" fmla="*/ 2 h 539"/>
                <a:gd name="T64" fmla="*/ 22 w 30"/>
                <a:gd name="T65" fmla="*/ 1 h 539"/>
                <a:gd name="T66" fmla="*/ 18 w 30"/>
                <a:gd name="T67" fmla="*/ 0 h 539"/>
                <a:gd name="T68" fmla="*/ 15 w 30"/>
                <a:gd name="T69"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539">
                  <a:moveTo>
                    <a:pt x="15" y="0"/>
                  </a:moveTo>
                  <a:lnTo>
                    <a:pt x="12" y="0"/>
                  </a:lnTo>
                  <a:lnTo>
                    <a:pt x="10" y="1"/>
                  </a:lnTo>
                  <a:lnTo>
                    <a:pt x="7" y="2"/>
                  </a:lnTo>
                  <a:lnTo>
                    <a:pt x="4" y="4"/>
                  </a:lnTo>
                  <a:lnTo>
                    <a:pt x="2" y="6"/>
                  </a:lnTo>
                  <a:lnTo>
                    <a:pt x="1" y="10"/>
                  </a:lnTo>
                  <a:lnTo>
                    <a:pt x="0" y="12"/>
                  </a:lnTo>
                  <a:lnTo>
                    <a:pt x="0" y="15"/>
                  </a:lnTo>
                  <a:lnTo>
                    <a:pt x="0" y="525"/>
                  </a:lnTo>
                  <a:lnTo>
                    <a:pt x="0" y="528"/>
                  </a:lnTo>
                  <a:lnTo>
                    <a:pt x="1" y="531"/>
                  </a:lnTo>
                  <a:lnTo>
                    <a:pt x="2" y="533"/>
                  </a:lnTo>
                  <a:lnTo>
                    <a:pt x="4" y="535"/>
                  </a:lnTo>
                  <a:lnTo>
                    <a:pt x="7" y="537"/>
                  </a:lnTo>
                  <a:lnTo>
                    <a:pt x="10" y="538"/>
                  </a:lnTo>
                  <a:lnTo>
                    <a:pt x="12" y="539"/>
                  </a:lnTo>
                  <a:lnTo>
                    <a:pt x="15" y="539"/>
                  </a:lnTo>
                  <a:lnTo>
                    <a:pt x="18" y="539"/>
                  </a:lnTo>
                  <a:lnTo>
                    <a:pt x="22" y="538"/>
                  </a:lnTo>
                  <a:lnTo>
                    <a:pt x="24" y="537"/>
                  </a:lnTo>
                  <a:lnTo>
                    <a:pt x="26" y="535"/>
                  </a:lnTo>
                  <a:lnTo>
                    <a:pt x="28" y="533"/>
                  </a:lnTo>
                  <a:lnTo>
                    <a:pt x="29" y="531"/>
                  </a:lnTo>
                  <a:lnTo>
                    <a:pt x="30" y="528"/>
                  </a:lnTo>
                  <a:lnTo>
                    <a:pt x="30" y="525"/>
                  </a:lnTo>
                  <a:lnTo>
                    <a:pt x="30" y="15"/>
                  </a:lnTo>
                  <a:lnTo>
                    <a:pt x="30" y="12"/>
                  </a:lnTo>
                  <a:lnTo>
                    <a:pt x="29" y="10"/>
                  </a:lnTo>
                  <a:lnTo>
                    <a:pt x="28" y="6"/>
                  </a:lnTo>
                  <a:lnTo>
                    <a:pt x="26" y="4"/>
                  </a:lnTo>
                  <a:lnTo>
                    <a:pt x="24" y="2"/>
                  </a:lnTo>
                  <a:lnTo>
                    <a:pt x="22"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2" name="Freeform 305">
              <a:extLst>
                <a:ext uri="{FF2B5EF4-FFF2-40B4-BE49-F238E27FC236}">
                  <a16:creationId xmlns:a16="http://schemas.microsoft.com/office/drawing/2014/main" id="{20F4A639-08E8-4BED-ABB0-B933FA202369}"/>
                </a:ext>
              </a:extLst>
            </p:cNvPr>
            <p:cNvSpPr>
              <a:spLocks noEditPoints="1"/>
            </p:cNvSpPr>
            <p:nvPr/>
          </p:nvSpPr>
          <p:spPr bwMode="auto">
            <a:xfrm>
              <a:off x="11593513" y="782638"/>
              <a:ext cx="285750" cy="285750"/>
            </a:xfrm>
            <a:custGeom>
              <a:avLst/>
              <a:gdLst>
                <a:gd name="T0" fmla="*/ 559 w 900"/>
                <a:gd name="T1" fmla="*/ 179 h 900"/>
                <a:gd name="T2" fmla="*/ 866 w 900"/>
                <a:gd name="T3" fmla="*/ 838 h 900"/>
                <a:gd name="T4" fmla="*/ 570 w 900"/>
                <a:gd name="T5" fmla="*/ 869 h 900"/>
                <a:gd name="T6" fmla="*/ 390 w 900"/>
                <a:gd name="T7" fmla="*/ 330 h 900"/>
                <a:gd name="T8" fmla="*/ 570 w 900"/>
                <a:gd name="T9" fmla="*/ 869 h 900"/>
                <a:gd name="T10" fmla="*/ 180 w 900"/>
                <a:gd name="T11" fmla="*/ 29 h 900"/>
                <a:gd name="T12" fmla="*/ 360 w 900"/>
                <a:gd name="T13" fmla="*/ 315 h 900"/>
                <a:gd name="T14" fmla="*/ 180 w 900"/>
                <a:gd name="T15" fmla="*/ 869 h 900"/>
                <a:gd name="T16" fmla="*/ 30 w 900"/>
                <a:gd name="T17" fmla="*/ 150 h 900"/>
                <a:gd name="T18" fmla="*/ 150 w 900"/>
                <a:gd name="T19" fmla="*/ 869 h 900"/>
                <a:gd name="T20" fmla="*/ 30 w 900"/>
                <a:gd name="T21" fmla="*/ 150 h 900"/>
                <a:gd name="T22" fmla="*/ 660 w 900"/>
                <a:gd name="T23" fmla="*/ 128 h 900"/>
                <a:gd name="T24" fmla="*/ 656 w 900"/>
                <a:gd name="T25" fmla="*/ 122 h 900"/>
                <a:gd name="T26" fmla="*/ 652 w 900"/>
                <a:gd name="T27" fmla="*/ 119 h 900"/>
                <a:gd name="T28" fmla="*/ 646 w 900"/>
                <a:gd name="T29" fmla="*/ 118 h 900"/>
                <a:gd name="T30" fmla="*/ 640 w 900"/>
                <a:gd name="T31" fmla="*/ 118 h 900"/>
                <a:gd name="T32" fmla="*/ 532 w 900"/>
                <a:gd name="T33" fmla="*/ 157 h 900"/>
                <a:gd name="T34" fmla="*/ 528 w 900"/>
                <a:gd name="T35" fmla="*/ 161 h 900"/>
                <a:gd name="T36" fmla="*/ 526 w 900"/>
                <a:gd name="T37" fmla="*/ 165 h 900"/>
                <a:gd name="T38" fmla="*/ 525 w 900"/>
                <a:gd name="T39" fmla="*/ 172 h 900"/>
                <a:gd name="T40" fmla="*/ 568 w 900"/>
                <a:gd name="T41" fmla="*/ 300 h 900"/>
                <a:gd name="T42" fmla="*/ 390 w 900"/>
                <a:gd name="T43" fmla="*/ 15 h 900"/>
                <a:gd name="T44" fmla="*/ 389 w 900"/>
                <a:gd name="T45" fmla="*/ 9 h 900"/>
                <a:gd name="T46" fmla="*/ 386 w 900"/>
                <a:gd name="T47" fmla="*/ 5 h 900"/>
                <a:gd name="T48" fmla="*/ 381 w 900"/>
                <a:gd name="T49" fmla="*/ 2 h 900"/>
                <a:gd name="T50" fmla="*/ 375 w 900"/>
                <a:gd name="T51" fmla="*/ 0 h 900"/>
                <a:gd name="T52" fmla="*/ 162 w 900"/>
                <a:gd name="T53" fmla="*/ 1 h 900"/>
                <a:gd name="T54" fmla="*/ 156 w 900"/>
                <a:gd name="T55" fmla="*/ 3 h 900"/>
                <a:gd name="T56" fmla="*/ 153 w 900"/>
                <a:gd name="T57" fmla="*/ 7 h 900"/>
                <a:gd name="T58" fmla="*/ 151 w 900"/>
                <a:gd name="T59" fmla="*/ 12 h 900"/>
                <a:gd name="T60" fmla="*/ 150 w 900"/>
                <a:gd name="T61" fmla="*/ 120 h 900"/>
                <a:gd name="T62" fmla="*/ 12 w 900"/>
                <a:gd name="T63" fmla="*/ 120 h 900"/>
                <a:gd name="T64" fmla="*/ 7 w 900"/>
                <a:gd name="T65" fmla="*/ 122 h 900"/>
                <a:gd name="T66" fmla="*/ 3 w 900"/>
                <a:gd name="T67" fmla="*/ 127 h 900"/>
                <a:gd name="T68" fmla="*/ 0 w 900"/>
                <a:gd name="T69" fmla="*/ 132 h 900"/>
                <a:gd name="T70" fmla="*/ 0 w 900"/>
                <a:gd name="T71" fmla="*/ 885 h 900"/>
                <a:gd name="T72" fmla="*/ 1 w 900"/>
                <a:gd name="T73" fmla="*/ 891 h 900"/>
                <a:gd name="T74" fmla="*/ 5 w 900"/>
                <a:gd name="T75" fmla="*/ 895 h 900"/>
                <a:gd name="T76" fmla="*/ 9 w 900"/>
                <a:gd name="T77" fmla="*/ 898 h 900"/>
                <a:gd name="T78" fmla="*/ 15 w 900"/>
                <a:gd name="T79" fmla="*/ 900 h 900"/>
                <a:gd name="T80" fmla="*/ 375 w 900"/>
                <a:gd name="T81" fmla="*/ 900 h 900"/>
                <a:gd name="T82" fmla="*/ 588 w 900"/>
                <a:gd name="T83" fmla="*/ 899 h 900"/>
                <a:gd name="T84" fmla="*/ 593 w 900"/>
                <a:gd name="T85" fmla="*/ 897 h 900"/>
                <a:gd name="T86" fmla="*/ 598 w 900"/>
                <a:gd name="T87" fmla="*/ 893 h 900"/>
                <a:gd name="T88" fmla="*/ 600 w 900"/>
                <a:gd name="T89" fmla="*/ 887 h 900"/>
                <a:gd name="T90" fmla="*/ 600 w 900"/>
                <a:gd name="T91" fmla="*/ 396 h 900"/>
                <a:gd name="T92" fmla="*/ 768 w 900"/>
                <a:gd name="T93" fmla="*/ 893 h 900"/>
                <a:gd name="T94" fmla="*/ 771 w 900"/>
                <a:gd name="T95" fmla="*/ 897 h 900"/>
                <a:gd name="T96" fmla="*/ 777 w 900"/>
                <a:gd name="T97" fmla="*/ 899 h 900"/>
                <a:gd name="T98" fmla="*/ 782 w 900"/>
                <a:gd name="T99" fmla="*/ 899 h 900"/>
                <a:gd name="T100" fmla="*/ 890 w 900"/>
                <a:gd name="T101" fmla="*/ 862 h 900"/>
                <a:gd name="T102" fmla="*/ 897 w 900"/>
                <a:gd name="T103" fmla="*/ 856 h 900"/>
                <a:gd name="T104" fmla="*/ 900 w 900"/>
                <a:gd name="T105" fmla="*/ 848 h 900"/>
                <a:gd name="T106" fmla="*/ 899 w 900"/>
                <a:gd name="T107" fmla="*/ 844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0" h="900">
                  <a:moveTo>
                    <a:pt x="790" y="866"/>
                  </a:moveTo>
                  <a:lnTo>
                    <a:pt x="559" y="179"/>
                  </a:lnTo>
                  <a:lnTo>
                    <a:pt x="636" y="151"/>
                  </a:lnTo>
                  <a:lnTo>
                    <a:pt x="866" y="838"/>
                  </a:lnTo>
                  <a:lnTo>
                    <a:pt x="790" y="866"/>
                  </a:lnTo>
                  <a:close/>
                  <a:moveTo>
                    <a:pt x="570" y="869"/>
                  </a:moveTo>
                  <a:lnTo>
                    <a:pt x="390" y="869"/>
                  </a:lnTo>
                  <a:lnTo>
                    <a:pt x="390" y="330"/>
                  </a:lnTo>
                  <a:lnTo>
                    <a:pt x="570" y="330"/>
                  </a:lnTo>
                  <a:lnTo>
                    <a:pt x="570" y="869"/>
                  </a:lnTo>
                  <a:close/>
                  <a:moveTo>
                    <a:pt x="180" y="135"/>
                  </a:moveTo>
                  <a:lnTo>
                    <a:pt x="180" y="29"/>
                  </a:lnTo>
                  <a:lnTo>
                    <a:pt x="360" y="29"/>
                  </a:lnTo>
                  <a:lnTo>
                    <a:pt x="360" y="315"/>
                  </a:lnTo>
                  <a:lnTo>
                    <a:pt x="360" y="869"/>
                  </a:lnTo>
                  <a:lnTo>
                    <a:pt x="180" y="869"/>
                  </a:lnTo>
                  <a:lnTo>
                    <a:pt x="180" y="135"/>
                  </a:lnTo>
                  <a:close/>
                  <a:moveTo>
                    <a:pt x="30" y="150"/>
                  </a:moveTo>
                  <a:lnTo>
                    <a:pt x="150" y="150"/>
                  </a:lnTo>
                  <a:lnTo>
                    <a:pt x="150" y="869"/>
                  </a:lnTo>
                  <a:lnTo>
                    <a:pt x="30" y="869"/>
                  </a:lnTo>
                  <a:lnTo>
                    <a:pt x="30" y="150"/>
                  </a:lnTo>
                  <a:close/>
                  <a:moveTo>
                    <a:pt x="899" y="843"/>
                  </a:moveTo>
                  <a:lnTo>
                    <a:pt x="660" y="128"/>
                  </a:lnTo>
                  <a:lnTo>
                    <a:pt x="659" y="125"/>
                  </a:lnTo>
                  <a:lnTo>
                    <a:pt x="656" y="122"/>
                  </a:lnTo>
                  <a:lnTo>
                    <a:pt x="654" y="120"/>
                  </a:lnTo>
                  <a:lnTo>
                    <a:pt x="652" y="119"/>
                  </a:lnTo>
                  <a:lnTo>
                    <a:pt x="649" y="118"/>
                  </a:lnTo>
                  <a:lnTo>
                    <a:pt x="646" y="118"/>
                  </a:lnTo>
                  <a:lnTo>
                    <a:pt x="643" y="118"/>
                  </a:lnTo>
                  <a:lnTo>
                    <a:pt x="640" y="118"/>
                  </a:lnTo>
                  <a:lnTo>
                    <a:pt x="536" y="156"/>
                  </a:lnTo>
                  <a:lnTo>
                    <a:pt x="532" y="157"/>
                  </a:lnTo>
                  <a:lnTo>
                    <a:pt x="530" y="159"/>
                  </a:lnTo>
                  <a:lnTo>
                    <a:pt x="528" y="161"/>
                  </a:lnTo>
                  <a:lnTo>
                    <a:pt x="527" y="163"/>
                  </a:lnTo>
                  <a:lnTo>
                    <a:pt x="526" y="165"/>
                  </a:lnTo>
                  <a:lnTo>
                    <a:pt x="525" y="168"/>
                  </a:lnTo>
                  <a:lnTo>
                    <a:pt x="525" y="172"/>
                  </a:lnTo>
                  <a:lnTo>
                    <a:pt x="526" y="175"/>
                  </a:lnTo>
                  <a:lnTo>
                    <a:pt x="568" y="300"/>
                  </a:lnTo>
                  <a:lnTo>
                    <a:pt x="390" y="300"/>
                  </a:lnTo>
                  <a:lnTo>
                    <a:pt x="390" y="15"/>
                  </a:lnTo>
                  <a:lnTo>
                    <a:pt x="390" y="12"/>
                  </a:lnTo>
                  <a:lnTo>
                    <a:pt x="389" y="9"/>
                  </a:lnTo>
                  <a:lnTo>
                    <a:pt x="387" y="7"/>
                  </a:lnTo>
                  <a:lnTo>
                    <a:pt x="386" y="5"/>
                  </a:lnTo>
                  <a:lnTo>
                    <a:pt x="384" y="3"/>
                  </a:lnTo>
                  <a:lnTo>
                    <a:pt x="381" y="2"/>
                  </a:lnTo>
                  <a:lnTo>
                    <a:pt x="379" y="1"/>
                  </a:lnTo>
                  <a:lnTo>
                    <a:pt x="375" y="0"/>
                  </a:lnTo>
                  <a:lnTo>
                    <a:pt x="165" y="0"/>
                  </a:lnTo>
                  <a:lnTo>
                    <a:pt x="162" y="1"/>
                  </a:lnTo>
                  <a:lnTo>
                    <a:pt x="160" y="2"/>
                  </a:lnTo>
                  <a:lnTo>
                    <a:pt x="156" y="3"/>
                  </a:lnTo>
                  <a:lnTo>
                    <a:pt x="154" y="5"/>
                  </a:lnTo>
                  <a:lnTo>
                    <a:pt x="153" y="7"/>
                  </a:lnTo>
                  <a:lnTo>
                    <a:pt x="151" y="9"/>
                  </a:lnTo>
                  <a:lnTo>
                    <a:pt x="151" y="12"/>
                  </a:lnTo>
                  <a:lnTo>
                    <a:pt x="150" y="15"/>
                  </a:lnTo>
                  <a:lnTo>
                    <a:pt x="150" y="120"/>
                  </a:lnTo>
                  <a:lnTo>
                    <a:pt x="15" y="120"/>
                  </a:lnTo>
                  <a:lnTo>
                    <a:pt x="12" y="120"/>
                  </a:lnTo>
                  <a:lnTo>
                    <a:pt x="9" y="121"/>
                  </a:lnTo>
                  <a:lnTo>
                    <a:pt x="7" y="122"/>
                  </a:lnTo>
                  <a:lnTo>
                    <a:pt x="5" y="125"/>
                  </a:lnTo>
                  <a:lnTo>
                    <a:pt x="3" y="127"/>
                  </a:lnTo>
                  <a:lnTo>
                    <a:pt x="1" y="129"/>
                  </a:lnTo>
                  <a:lnTo>
                    <a:pt x="0" y="132"/>
                  </a:lnTo>
                  <a:lnTo>
                    <a:pt x="0" y="135"/>
                  </a:lnTo>
                  <a:lnTo>
                    <a:pt x="0" y="885"/>
                  </a:lnTo>
                  <a:lnTo>
                    <a:pt x="0" y="887"/>
                  </a:lnTo>
                  <a:lnTo>
                    <a:pt x="1" y="891"/>
                  </a:lnTo>
                  <a:lnTo>
                    <a:pt x="3" y="893"/>
                  </a:lnTo>
                  <a:lnTo>
                    <a:pt x="5" y="895"/>
                  </a:lnTo>
                  <a:lnTo>
                    <a:pt x="7" y="897"/>
                  </a:lnTo>
                  <a:lnTo>
                    <a:pt x="9" y="898"/>
                  </a:lnTo>
                  <a:lnTo>
                    <a:pt x="12" y="899"/>
                  </a:lnTo>
                  <a:lnTo>
                    <a:pt x="15" y="900"/>
                  </a:lnTo>
                  <a:lnTo>
                    <a:pt x="165" y="900"/>
                  </a:lnTo>
                  <a:lnTo>
                    <a:pt x="375" y="900"/>
                  </a:lnTo>
                  <a:lnTo>
                    <a:pt x="585" y="900"/>
                  </a:lnTo>
                  <a:lnTo>
                    <a:pt x="588" y="899"/>
                  </a:lnTo>
                  <a:lnTo>
                    <a:pt x="591" y="898"/>
                  </a:lnTo>
                  <a:lnTo>
                    <a:pt x="593" y="897"/>
                  </a:lnTo>
                  <a:lnTo>
                    <a:pt x="595" y="895"/>
                  </a:lnTo>
                  <a:lnTo>
                    <a:pt x="598" y="893"/>
                  </a:lnTo>
                  <a:lnTo>
                    <a:pt x="599" y="891"/>
                  </a:lnTo>
                  <a:lnTo>
                    <a:pt x="600" y="887"/>
                  </a:lnTo>
                  <a:lnTo>
                    <a:pt x="600" y="885"/>
                  </a:lnTo>
                  <a:lnTo>
                    <a:pt x="600" y="396"/>
                  </a:lnTo>
                  <a:lnTo>
                    <a:pt x="765" y="890"/>
                  </a:lnTo>
                  <a:lnTo>
                    <a:pt x="768" y="893"/>
                  </a:lnTo>
                  <a:lnTo>
                    <a:pt x="769" y="895"/>
                  </a:lnTo>
                  <a:lnTo>
                    <a:pt x="771" y="897"/>
                  </a:lnTo>
                  <a:lnTo>
                    <a:pt x="774" y="898"/>
                  </a:lnTo>
                  <a:lnTo>
                    <a:pt x="777" y="899"/>
                  </a:lnTo>
                  <a:lnTo>
                    <a:pt x="780" y="900"/>
                  </a:lnTo>
                  <a:lnTo>
                    <a:pt x="782" y="899"/>
                  </a:lnTo>
                  <a:lnTo>
                    <a:pt x="785" y="899"/>
                  </a:lnTo>
                  <a:lnTo>
                    <a:pt x="890" y="862"/>
                  </a:lnTo>
                  <a:lnTo>
                    <a:pt x="895" y="860"/>
                  </a:lnTo>
                  <a:lnTo>
                    <a:pt x="897" y="856"/>
                  </a:lnTo>
                  <a:lnTo>
                    <a:pt x="899" y="852"/>
                  </a:lnTo>
                  <a:lnTo>
                    <a:pt x="900" y="848"/>
                  </a:lnTo>
                  <a:lnTo>
                    <a:pt x="900" y="846"/>
                  </a:lnTo>
                  <a:lnTo>
                    <a:pt x="899" y="844"/>
                  </a:lnTo>
                  <a:lnTo>
                    <a:pt x="899" y="8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962" name="Group 8">
            <a:extLst>
              <a:ext uri="{FF2B5EF4-FFF2-40B4-BE49-F238E27FC236}">
                <a16:creationId xmlns:a16="http://schemas.microsoft.com/office/drawing/2014/main" id="{10E4D06B-8357-4D1C-B287-172E9009CF9C}"/>
              </a:ext>
            </a:extLst>
          </p:cNvPr>
          <p:cNvGrpSpPr>
            <a:grpSpLocks noChangeAspect="1"/>
          </p:cNvGrpSpPr>
          <p:nvPr/>
        </p:nvGrpSpPr>
        <p:grpSpPr>
          <a:xfrm>
            <a:off x="1066057" y="1713930"/>
            <a:ext cx="306484" cy="174274"/>
            <a:chOff x="765175" y="1027113"/>
            <a:chExt cx="1052513" cy="598487"/>
          </a:xfrm>
          <a:solidFill>
            <a:schemeClr val="bg2"/>
          </a:solidFill>
        </p:grpSpPr>
        <p:sp>
          <p:nvSpPr>
            <p:cNvPr id="963" name="Freeform 5">
              <a:extLst>
                <a:ext uri="{FF2B5EF4-FFF2-40B4-BE49-F238E27FC236}">
                  <a16:creationId xmlns:a16="http://schemas.microsoft.com/office/drawing/2014/main" id="{45AAA7C4-275A-4F92-8D7A-B8B920D5672A}"/>
                </a:ext>
              </a:extLst>
            </p:cNvPr>
            <p:cNvSpPr>
              <a:spLocks noEditPoints="1"/>
            </p:cNvSpPr>
            <p:nvPr/>
          </p:nvSpPr>
          <p:spPr bwMode="auto">
            <a:xfrm>
              <a:off x="1058863" y="1362075"/>
              <a:ext cx="458788" cy="263525"/>
            </a:xfrm>
            <a:custGeom>
              <a:avLst/>
              <a:gdLst>
                <a:gd name="T0" fmla="*/ 568 w 1152"/>
                <a:gd name="T1" fmla="*/ 663 h 663"/>
                <a:gd name="T2" fmla="*/ 12 w 1152"/>
                <a:gd name="T3" fmla="*/ 447 h 663"/>
                <a:gd name="T4" fmla="*/ 0 w 1152"/>
                <a:gd name="T5" fmla="*/ 418 h 663"/>
                <a:gd name="T6" fmla="*/ 0 w 1152"/>
                <a:gd name="T7" fmla="*/ 49 h 663"/>
                <a:gd name="T8" fmla="*/ 18 w 1152"/>
                <a:gd name="T9" fmla="*/ 13 h 663"/>
                <a:gd name="T10" fmla="*/ 58 w 1152"/>
                <a:gd name="T11" fmla="*/ 7 h 663"/>
                <a:gd name="T12" fmla="*/ 587 w 1152"/>
                <a:gd name="T13" fmla="*/ 184 h 663"/>
                <a:gd name="T14" fmla="*/ 1094 w 1152"/>
                <a:gd name="T15" fmla="*/ 4 h 663"/>
                <a:gd name="T16" fmla="*/ 1134 w 1152"/>
                <a:gd name="T17" fmla="*/ 10 h 663"/>
                <a:gd name="T18" fmla="*/ 1152 w 1152"/>
                <a:gd name="T19" fmla="*/ 45 h 663"/>
                <a:gd name="T20" fmla="*/ 1152 w 1152"/>
                <a:gd name="T21" fmla="*/ 415 h 663"/>
                <a:gd name="T22" fmla="*/ 1140 w 1152"/>
                <a:gd name="T23" fmla="*/ 445 h 663"/>
                <a:gd name="T24" fmla="*/ 568 w 1152"/>
                <a:gd name="T25" fmla="*/ 663 h 663"/>
                <a:gd name="T26" fmla="*/ 88 w 1152"/>
                <a:gd name="T27" fmla="*/ 400 h 663"/>
                <a:gd name="T28" fmla="*/ 568 w 1152"/>
                <a:gd name="T29" fmla="*/ 575 h 663"/>
                <a:gd name="T30" fmla="*/ 1064 w 1152"/>
                <a:gd name="T31" fmla="*/ 396 h 663"/>
                <a:gd name="T32" fmla="*/ 1064 w 1152"/>
                <a:gd name="T33" fmla="*/ 107 h 663"/>
                <a:gd name="T34" fmla="*/ 602 w 1152"/>
                <a:gd name="T35" fmla="*/ 271 h 663"/>
                <a:gd name="T36" fmla="*/ 574 w 1152"/>
                <a:gd name="T37" fmla="*/ 272 h 663"/>
                <a:gd name="T38" fmla="*/ 88 w 1152"/>
                <a:gd name="T39" fmla="*/ 109 h 663"/>
                <a:gd name="T40" fmla="*/ 88 w 1152"/>
                <a:gd name="T41" fmla="*/ 40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2" h="663">
                  <a:moveTo>
                    <a:pt x="568" y="663"/>
                  </a:moveTo>
                  <a:cubicBezTo>
                    <a:pt x="210" y="663"/>
                    <a:pt x="19" y="456"/>
                    <a:pt x="12" y="447"/>
                  </a:cubicBezTo>
                  <a:cubicBezTo>
                    <a:pt x="4" y="439"/>
                    <a:pt x="0" y="429"/>
                    <a:pt x="0" y="418"/>
                  </a:cubicBezTo>
                  <a:cubicBezTo>
                    <a:pt x="0" y="49"/>
                    <a:pt x="0" y="49"/>
                    <a:pt x="0" y="49"/>
                  </a:cubicBezTo>
                  <a:cubicBezTo>
                    <a:pt x="0" y="35"/>
                    <a:pt x="7" y="21"/>
                    <a:pt x="18" y="13"/>
                  </a:cubicBezTo>
                  <a:cubicBezTo>
                    <a:pt x="30" y="5"/>
                    <a:pt x="45" y="3"/>
                    <a:pt x="58" y="7"/>
                  </a:cubicBezTo>
                  <a:cubicBezTo>
                    <a:pt x="587" y="184"/>
                    <a:pt x="587" y="184"/>
                    <a:pt x="587" y="184"/>
                  </a:cubicBezTo>
                  <a:cubicBezTo>
                    <a:pt x="1094" y="4"/>
                    <a:pt x="1094" y="4"/>
                    <a:pt x="1094" y="4"/>
                  </a:cubicBezTo>
                  <a:cubicBezTo>
                    <a:pt x="1107" y="0"/>
                    <a:pt x="1122" y="2"/>
                    <a:pt x="1134" y="10"/>
                  </a:cubicBezTo>
                  <a:cubicBezTo>
                    <a:pt x="1145" y="18"/>
                    <a:pt x="1152" y="31"/>
                    <a:pt x="1152" y="45"/>
                  </a:cubicBezTo>
                  <a:cubicBezTo>
                    <a:pt x="1152" y="415"/>
                    <a:pt x="1152" y="415"/>
                    <a:pt x="1152" y="415"/>
                  </a:cubicBezTo>
                  <a:cubicBezTo>
                    <a:pt x="1152" y="426"/>
                    <a:pt x="1148" y="437"/>
                    <a:pt x="1140" y="445"/>
                  </a:cubicBezTo>
                  <a:cubicBezTo>
                    <a:pt x="1131" y="454"/>
                    <a:pt x="926" y="663"/>
                    <a:pt x="568" y="663"/>
                  </a:cubicBezTo>
                  <a:close/>
                  <a:moveTo>
                    <a:pt x="88" y="400"/>
                  </a:moveTo>
                  <a:cubicBezTo>
                    <a:pt x="132" y="440"/>
                    <a:pt x="296" y="575"/>
                    <a:pt x="568" y="575"/>
                  </a:cubicBezTo>
                  <a:cubicBezTo>
                    <a:pt x="842" y="575"/>
                    <a:pt x="1020" y="437"/>
                    <a:pt x="1064" y="396"/>
                  </a:cubicBezTo>
                  <a:cubicBezTo>
                    <a:pt x="1064" y="107"/>
                    <a:pt x="1064" y="107"/>
                    <a:pt x="1064" y="107"/>
                  </a:cubicBezTo>
                  <a:cubicBezTo>
                    <a:pt x="602" y="271"/>
                    <a:pt x="602" y="271"/>
                    <a:pt x="602" y="271"/>
                  </a:cubicBezTo>
                  <a:cubicBezTo>
                    <a:pt x="593" y="275"/>
                    <a:pt x="583" y="275"/>
                    <a:pt x="574" y="272"/>
                  </a:cubicBezTo>
                  <a:cubicBezTo>
                    <a:pt x="88" y="109"/>
                    <a:pt x="88" y="109"/>
                    <a:pt x="88" y="109"/>
                  </a:cubicBezTo>
                  <a:lnTo>
                    <a:pt x="88" y="40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4" name="Freeform 6">
              <a:extLst>
                <a:ext uri="{FF2B5EF4-FFF2-40B4-BE49-F238E27FC236}">
                  <a16:creationId xmlns:a16="http://schemas.microsoft.com/office/drawing/2014/main" id="{C3AEEFA9-1A02-4C26-A9BB-E1633B56A747}"/>
                </a:ext>
              </a:extLst>
            </p:cNvPr>
            <p:cNvSpPr>
              <a:spLocks/>
            </p:cNvSpPr>
            <p:nvPr/>
          </p:nvSpPr>
          <p:spPr bwMode="auto">
            <a:xfrm>
              <a:off x="765175" y="1027113"/>
              <a:ext cx="1052513" cy="369888"/>
            </a:xfrm>
            <a:custGeom>
              <a:avLst/>
              <a:gdLst>
                <a:gd name="T0" fmla="*/ 2617 w 2647"/>
                <a:gd name="T1" fmla="*/ 431 h 927"/>
                <a:gd name="T2" fmla="*/ 1327 w 2647"/>
                <a:gd name="T3" fmla="*/ 3 h 927"/>
                <a:gd name="T4" fmla="*/ 1300 w 2647"/>
                <a:gd name="T5" fmla="*/ 3 h 927"/>
                <a:gd name="T6" fmla="*/ 30 w 2647"/>
                <a:gd name="T7" fmla="*/ 434 h 927"/>
                <a:gd name="T8" fmla="*/ 0 w 2647"/>
                <a:gd name="T9" fmla="*/ 476 h 927"/>
                <a:gd name="T10" fmla="*/ 30 w 2647"/>
                <a:gd name="T11" fmla="*/ 517 h 927"/>
                <a:gd name="T12" fmla="*/ 1297 w 2647"/>
                <a:gd name="T13" fmla="*/ 925 h 927"/>
                <a:gd name="T14" fmla="*/ 1310 w 2647"/>
                <a:gd name="T15" fmla="*/ 927 h 927"/>
                <a:gd name="T16" fmla="*/ 1324 w 2647"/>
                <a:gd name="T17" fmla="*/ 925 h 927"/>
                <a:gd name="T18" fmla="*/ 1954 w 2647"/>
                <a:gd name="T19" fmla="*/ 725 h 927"/>
                <a:gd name="T20" fmla="*/ 1954 w 2647"/>
                <a:gd name="T21" fmla="*/ 715 h 927"/>
                <a:gd name="T22" fmla="*/ 1821 w 2647"/>
                <a:gd name="T23" fmla="*/ 675 h 927"/>
                <a:gd name="T24" fmla="*/ 1311 w 2647"/>
                <a:gd name="T25" fmla="*/ 838 h 927"/>
                <a:gd name="T26" fmla="*/ 183 w 2647"/>
                <a:gd name="T27" fmla="*/ 474 h 927"/>
                <a:gd name="T28" fmla="*/ 1314 w 2647"/>
                <a:gd name="T29" fmla="*/ 91 h 927"/>
                <a:gd name="T30" fmla="*/ 2461 w 2647"/>
                <a:gd name="T31" fmla="*/ 471 h 927"/>
                <a:gd name="T32" fmla="*/ 2017 w 2647"/>
                <a:gd name="T33" fmla="*/ 613 h 927"/>
                <a:gd name="T34" fmla="*/ 2029 w 2647"/>
                <a:gd name="T35" fmla="*/ 616 h 927"/>
                <a:gd name="T36" fmla="*/ 2070 w 2647"/>
                <a:gd name="T37" fmla="*/ 672 h 927"/>
                <a:gd name="T38" fmla="*/ 2070 w 2647"/>
                <a:gd name="T39" fmla="*/ 688 h 927"/>
                <a:gd name="T40" fmla="*/ 2616 w 2647"/>
                <a:gd name="T41" fmla="*/ 514 h 927"/>
                <a:gd name="T42" fmla="*/ 2647 w 2647"/>
                <a:gd name="T43" fmla="*/ 472 h 927"/>
                <a:gd name="T44" fmla="*/ 2617 w 2647"/>
                <a:gd name="T45" fmla="*/ 431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7" h="927">
                  <a:moveTo>
                    <a:pt x="2617" y="431"/>
                  </a:moveTo>
                  <a:cubicBezTo>
                    <a:pt x="1327" y="3"/>
                    <a:pt x="1327" y="3"/>
                    <a:pt x="1327" y="3"/>
                  </a:cubicBezTo>
                  <a:cubicBezTo>
                    <a:pt x="1318" y="0"/>
                    <a:pt x="1309" y="0"/>
                    <a:pt x="1300" y="3"/>
                  </a:cubicBezTo>
                  <a:cubicBezTo>
                    <a:pt x="30" y="434"/>
                    <a:pt x="30" y="434"/>
                    <a:pt x="30" y="434"/>
                  </a:cubicBezTo>
                  <a:cubicBezTo>
                    <a:pt x="12" y="440"/>
                    <a:pt x="0" y="457"/>
                    <a:pt x="0" y="476"/>
                  </a:cubicBezTo>
                  <a:cubicBezTo>
                    <a:pt x="0" y="495"/>
                    <a:pt x="12" y="511"/>
                    <a:pt x="30" y="517"/>
                  </a:cubicBezTo>
                  <a:cubicBezTo>
                    <a:pt x="1297" y="925"/>
                    <a:pt x="1297" y="925"/>
                    <a:pt x="1297" y="925"/>
                  </a:cubicBezTo>
                  <a:cubicBezTo>
                    <a:pt x="1301" y="927"/>
                    <a:pt x="1306" y="927"/>
                    <a:pt x="1310" y="927"/>
                  </a:cubicBezTo>
                  <a:cubicBezTo>
                    <a:pt x="1315" y="927"/>
                    <a:pt x="1320" y="927"/>
                    <a:pt x="1324" y="925"/>
                  </a:cubicBezTo>
                  <a:cubicBezTo>
                    <a:pt x="1954" y="725"/>
                    <a:pt x="1954" y="725"/>
                    <a:pt x="1954" y="725"/>
                  </a:cubicBezTo>
                  <a:cubicBezTo>
                    <a:pt x="1954" y="715"/>
                    <a:pt x="1954" y="715"/>
                    <a:pt x="1954" y="715"/>
                  </a:cubicBezTo>
                  <a:cubicBezTo>
                    <a:pt x="1821" y="675"/>
                    <a:pt x="1821" y="675"/>
                    <a:pt x="1821" y="675"/>
                  </a:cubicBezTo>
                  <a:cubicBezTo>
                    <a:pt x="1311" y="838"/>
                    <a:pt x="1311" y="838"/>
                    <a:pt x="1311" y="838"/>
                  </a:cubicBezTo>
                  <a:cubicBezTo>
                    <a:pt x="183" y="474"/>
                    <a:pt x="183" y="474"/>
                    <a:pt x="183" y="474"/>
                  </a:cubicBezTo>
                  <a:cubicBezTo>
                    <a:pt x="1314" y="91"/>
                    <a:pt x="1314" y="91"/>
                    <a:pt x="1314" y="91"/>
                  </a:cubicBezTo>
                  <a:cubicBezTo>
                    <a:pt x="2461" y="471"/>
                    <a:pt x="2461" y="471"/>
                    <a:pt x="2461" y="471"/>
                  </a:cubicBezTo>
                  <a:cubicBezTo>
                    <a:pt x="2017" y="613"/>
                    <a:pt x="2017" y="613"/>
                    <a:pt x="2017" y="613"/>
                  </a:cubicBezTo>
                  <a:cubicBezTo>
                    <a:pt x="2029" y="616"/>
                    <a:pt x="2029" y="616"/>
                    <a:pt x="2029" y="616"/>
                  </a:cubicBezTo>
                  <a:cubicBezTo>
                    <a:pt x="2053" y="624"/>
                    <a:pt x="2070" y="646"/>
                    <a:pt x="2070" y="672"/>
                  </a:cubicBezTo>
                  <a:cubicBezTo>
                    <a:pt x="2070" y="688"/>
                    <a:pt x="2070" y="688"/>
                    <a:pt x="2070" y="688"/>
                  </a:cubicBezTo>
                  <a:cubicBezTo>
                    <a:pt x="2616" y="514"/>
                    <a:pt x="2616" y="514"/>
                    <a:pt x="2616" y="514"/>
                  </a:cubicBezTo>
                  <a:cubicBezTo>
                    <a:pt x="2634" y="508"/>
                    <a:pt x="2647" y="491"/>
                    <a:pt x="2647" y="472"/>
                  </a:cubicBezTo>
                  <a:cubicBezTo>
                    <a:pt x="2647" y="453"/>
                    <a:pt x="2635" y="437"/>
                    <a:pt x="2617" y="4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5" name="Freeform 7">
              <a:extLst>
                <a:ext uri="{FF2B5EF4-FFF2-40B4-BE49-F238E27FC236}">
                  <a16:creationId xmlns:a16="http://schemas.microsoft.com/office/drawing/2014/main" id="{EF7EC304-C4B7-4F31-B00B-DC58E1E06CA9}"/>
                </a:ext>
              </a:extLst>
            </p:cNvPr>
            <p:cNvSpPr>
              <a:spLocks/>
            </p:cNvSpPr>
            <p:nvPr/>
          </p:nvSpPr>
          <p:spPr bwMode="auto">
            <a:xfrm>
              <a:off x="1270000" y="1196975"/>
              <a:ext cx="322263" cy="420688"/>
            </a:xfrm>
            <a:custGeom>
              <a:avLst/>
              <a:gdLst>
                <a:gd name="T0" fmla="*/ 808 w 808"/>
                <a:gd name="T1" fmla="*/ 542 h 1058"/>
                <a:gd name="T2" fmla="*/ 772 w 808"/>
                <a:gd name="T3" fmla="*/ 480 h 1058"/>
                <a:gd name="T4" fmla="*/ 772 w 808"/>
                <a:gd name="T5" fmla="*/ 249 h 1058"/>
                <a:gd name="T6" fmla="*/ 751 w 808"/>
                <a:gd name="T7" fmla="*/ 221 h 1058"/>
                <a:gd name="T8" fmla="*/ 41 w 808"/>
                <a:gd name="T9" fmla="*/ 5 h 1058"/>
                <a:gd name="T10" fmla="*/ 5 w 808"/>
                <a:gd name="T11" fmla="*/ 24 h 1058"/>
                <a:gd name="T12" fmla="*/ 24 w 808"/>
                <a:gd name="T13" fmla="*/ 61 h 1058"/>
                <a:gd name="T14" fmla="*/ 712 w 808"/>
                <a:gd name="T15" fmla="*/ 271 h 1058"/>
                <a:gd name="T16" fmla="*/ 712 w 808"/>
                <a:gd name="T17" fmla="*/ 480 h 1058"/>
                <a:gd name="T18" fmla="*/ 676 w 808"/>
                <a:gd name="T19" fmla="*/ 542 h 1058"/>
                <a:gd name="T20" fmla="*/ 712 w 808"/>
                <a:gd name="T21" fmla="*/ 604 h 1058"/>
                <a:gd name="T22" fmla="*/ 712 w 808"/>
                <a:gd name="T23" fmla="*/ 1029 h 1058"/>
                <a:gd name="T24" fmla="*/ 742 w 808"/>
                <a:gd name="T25" fmla="*/ 1058 h 1058"/>
                <a:gd name="T26" fmla="*/ 772 w 808"/>
                <a:gd name="T27" fmla="*/ 1029 h 1058"/>
                <a:gd name="T28" fmla="*/ 772 w 808"/>
                <a:gd name="T29" fmla="*/ 604 h 1058"/>
                <a:gd name="T30" fmla="*/ 808 w 808"/>
                <a:gd name="T31" fmla="*/ 54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8" h="1058">
                  <a:moveTo>
                    <a:pt x="808" y="542"/>
                  </a:moveTo>
                  <a:cubicBezTo>
                    <a:pt x="808" y="515"/>
                    <a:pt x="792" y="491"/>
                    <a:pt x="772" y="480"/>
                  </a:cubicBezTo>
                  <a:cubicBezTo>
                    <a:pt x="772" y="249"/>
                    <a:pt x="772" y="249"/>
                    <a:pt x="772" y="249"/>
                  </a:cubicBezTo>
                  <a:cubicBezTo>
                    <a:pt x="772" y="236"/>
                    <a:pt x="763" y="225"/>
                    <a:pt x="751" y="221"/>
                  </a:cubicBezTo>
                  <a:cubicBezTo>
                    <a:pt x="41" y="5"/>
                    <a:pt x="41" y="5"/>
                    <a:pt x="41" y="5"/>
                  </a:cubicBezTo>
                  <a:cubicBezTo>
                    <a:pt x="26" y="0"/>
                    <a:pt x="9" y="9"/>
                    <a:pt x="5" y="24"/>
                  </a:cubicBezTo>
                  <a:cubicBezTo>
                    <a:pt x="0" y="40"/>
                    <a:pt x="8" y="56"/>
                    <a:pt x="24" y="61"/>
                  </a:cubicBezTo>
                  <a:cubicBezTo>
                    <a:pt x="712" y="271"/>
                    <a:pt x="712" y="271"/>
                    <a:pt x="712" y="271"/>
                  </a:cubicBezTo>
                  <a:cubicBezTo>
                    <a:pt x="712" y="480"/>
                    <a:pt x="712" y="480"/>
                    <a:pt x="712" y="480"/>
                  </a:cubicBezTo>
                  <a:cubicBezTo>
                    <a:pt x="692" y="491"/>
                    <a:pt x="676" y="515"/>
                    <a:pt x="676" y="542"/>
                  </a:cubicBezTo>
                  <a:cubicBezTo>
                    <a:pt x="676" y="569"/>
                    <a:pt x="692" y="593"/>
                    <a:pt x="712" y="604"/>
                  </a:cubicBezTo>
                  <a:cubicBezTo>
                    <a:pt x="712" y="1029"/>
                    <a:pt x="712" y="1029"/>
                    <a:pt x="712" y="1029"/>
                  </a:cubicBezTo>
                  <a:cubicBezTo>
                    <a:pt x="712" y="1045"/>
                    <a:pt x="726" y="1058"/>
                    <a:pt x="742" y="1058"/>
                  </a:cubicBezTo>
                  <a:cubicBezTo>
                    <a:pt x="758" y="1058"/>
                    <a:pt x="772" y="1045"/>
                    <a:pt x="772" y="1029"/>
                  </a:cubicBezTo>
                  <a:cubicBezTo>
                    <a:pt x="772" y="604"/>
                    <a:pt x="772" y="604"/>
                    <a:pt x="772" y="604"/>
                  </a:cubicBezTo>
                  <a:cubicBezTo>
                    <a:pt x="792" y="593"/>
                    <a:pt x="808" y="569"/>
                    <a:pt x="808" y="5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02" name="Group 28">
            <a:extLst>
              <a:ext uri="{FF2B5EF4-FFF2-40B4-BE49-F238E27FC236}">
                <a16:creationId xmlns:a16="http://schemas.microsoft.com/office/drawing/2014/main" id="{56B3FFCB-B041-4FE9-A12E-F30C79DB8162}"/>
              </a:ext>
            </a:extLst>
          </p:cNvPr>
          <p:cNvGrpSpPr>
            <a:grpSpLocks noChangeAspect="1"/>
          </p:cNvGrpSpPr>
          <p:nvPr/>
        </p:nvGrpSpPr>
        <p:grpSpPr>
          <a:xfrm>
            <a:off x="660027" y="3801969"/>
            <a:ext cx="308144" cy="308144"/>
            <a:chOff x="9312275" y="4222751"/>
            <a:chExt cx="285750" cy="285750"/>
          </a:xfrm>
          <a:solidFill>
            <a:schemeClr val="bg2"/>
          </a:solidFill>
          <a:effectLst/>
        </p:grpSpPr>
        <p:sp>
          <p:nvSpPr>
            <p:cNvPr id="703" name="Freeform 35">
              <a:extLst>
                <a:ext uri="{FF2B5EF4-FFF2-40B4-BE49-F238E27FC236}">
                  <a16:creationId xmlns:a16="http://schemas.microsoft.com/office/drawing/2014/main" id="{0C53AE35-1707-424F-8CFD-D12C05676AEC}"/>
                </a:ext>
              </a:extLst>
            </p:cNvPr>
            <p:cNvSpPr>
              <a:spLocks noEditPoints="1"/>
            </p:cNvSpPr>
            <p:nvPr/>
          </p:nvSpPr>
          <p:spPr bwMode="auto">
            <a:xfrm>
              <a:off x="9312275" y="4222751"/>
              <a:ext cx="228600" cy="247650"/>
            </a:xfrm>
            <a:custGeom>
              <a:avLst/>
              <a:gdLst>
                <a:gd name="T0" fmla="*/ 421 w 722"/>
                <a:gd name="T1" fmla="*/ 121 h 781"/>
                <a:gd name="T2" fmla="*/ 451 w 722"/>
                <a:gd name="T3" fmla="*/ 91 h 781"/>
                <a:gd name="T4" fmla="*/ 301 w 722"/>
                <a:gd name="T5" fmla="*/ 121 h 781"/>
                <a:gd name="T6" fmla="*/ 271 w 722"/>
                <a:gd name="T7" fmla="*/ 91 h 781"/>
                <a:gd name="T8" fmla="*/ 301 w 722"/>
                <a:gd name="T9" fmla="*/ 121 h 781"/>
                <a:gd name="T10" fmla="*/ 120 w 722"/>
                <a:gd name="T11" fmla="*/ 121 h 781"/>
                <a:gd name="T12" fmla="*/ 150 w 722"/>
                <a:gd name="T13" fmla="*/ 91 h 781"/>
                <a:gd name="T14" fmla="*/ 601 w 722"/>
                <a:gd name="T15" fmla="*/ 121 h 781"/>
                <a:gd name="T16" fmla="*/ 571 w 722"/>
                <a:gd name="T17" fmla="*/ 91 h 781"/>
                <a:gd name="T18" fmla="*/ 601 w 722"/>
                <a:gd name="T19" fmla="*/ 121 h 781"/>
                <a:gd name="T20" fmla="*/ 391 w 722"/>
                <a:gd name="T21" fmla="*/ 151 h 781"/>
                <a:gd name="T22" fmla="*/ 481 w 722"/>
                <a:gd name="T23" fmla="*/ 61 h 781"/>
                <a:gd name="T24" fmla="*/ 451 w 722"/>
                <a:gd name="T25" fmla="*/ 30 h 781"/>
                <a:gd name="T26" fmla="*/ 571 w 722"/>
                <a:gd name="T27" fmla="*/ 61 h 781"/>
                <a:gd name="T28" fmla="*/ 541 w 722"/>
                <a:gd name="T29" fmla="*/ 151 h 781"/>
                <a:gd name="T30" fmla="*/ 631 w 722"/>
                <a:gd name="T31" fmla="*/ 61 h 781"/>
                <a:gd name="T32" fmla="*/ 601 w 722"/>
                <a:gd name="T33" fmla="*/ 30 h 781"/>
                <a:gd name="T34" fmla="*/ 692 w 722"/>
                <a:gd name="T35" fmla="*/ 356 h 781"/>
                <a:gd name="T36" fmla="*/ 693 w 722"/>
                <a:gd name="T37" fmla="*/ 363 h 781"/>
                <a:gd name="T38" fmla="*/ 696 w 722"/>
                <a:gd name="T39" fmla="*/ 367 h 781"/>
                <a:gd name="T40" fmla="*/ 700 w 722"/>
                <a:gd name="T41" fmla="*/ 370 h 781"/>
                <a:gd name="T42" fmla="*/ 707 w 722"/>
                <a:gd name="T43" fmla="*/ 371 h 781"/>
                <a:gd name="T44" fmla="*/ 712 w 722"/>
                <a:gd name="T45" fmla="*/ 370 h 781"/>
                <a:gd name="T46" fmla="*/ 717 w 722"/>
                <a:gd name="T47" fmla="*/ 367 h 781"/>
                <a:gd name="T48" fmla="*/ 721 w 722"/>
                <a:gd name="T49" fmla="*/ 363 h 781"/>
                <a:gd name="T50" fmla="*/ 722 w 722"/>
                <a:gd name="T51" fmla="*/ 356 h 781"/>
                <a:gd name="T52" fmla="*/ 721 w 722"/>
                <a:gd name="T53" fmla="*/ 13 h 781"/>
                <a:gd name="T54" fmla="*/ 718 w 722"/>
                <a:gd name="T55" fmla="*/ 7 h 781"/>
                <a:gd name="T56" fmla="*/ 715 w 722"/>
                <a:gd name="T57" fmla="*/ 3 h 781"/>
                <a:gd name="T58" fmla="*/ 709 w 722"/>
                <a:gd name="T59" fmla="*/ 1 h 781"/>
                <a:gd name="T60" fmla="*/ 15 w 722"/>
                <a:gd name="T61" fmla="*/ 0 h 781"/>
                <a:gd name="T62" fmla="*/ 10 w 722"/>
                <a:gd name="T63" fmla="*/ 2 h 781"/>
                <a:gd name="T64" fmla="*/ 5 w 722"/>
                <a:gd name="T65" fmla="*/ 5 h 781"/>
                <a:gd name="T66" fmla="*/ 2 w 722"/>
                <a:gd name="T67" fmla="*/ 9 h 781"/>
                <a:gd name="T68" fmla="*/ 0 w 722"/>
                <a:gd name="T69" fmla="*/ 15 h 781"/>
                <a:gd name="T70" fmla="*/ 0 w 722"/>
                <a:gd name="T71" fmla="*/ 769 h 781"/>
                <a:gd name="T72" fmla="*/ 3 w 722"/>
                <a:gd name="T73" fmla="*/ 775 h 781"/>
                <a:gd name="T74" fmla="*/ 7 w 722"/>
                <a:gd name="T75" fmla="*/ 779 h 781"/>
                <a:gd name="T76" fmla="*/ 12 w 722"/>
                <a:gd name="T77" fmla="*/ 781 h 781"/>
                <a:gd name="T78" fmla="*/ 357 w 722"/>
                <a:gd name="T79" fmla="*/ 781 h 781"/>
                <a:gd name="T80" fmla="*/ 362 w 722"/>
                <a:gd name="T81" fmla="*/ 780 h 781"/>
                <a:gd name="T82" fmla="*/ 367 w 722"/>
                <a:gd name="T83" fmla="*/ 777 h 781"/>
                <a:gd name="T84" fmla="*/ 371 w 722"/>
                <a:gd name="T85" fmla="*/ 773 h 781"/>
                <a:gd name="T86" fmla="*/ 372 w 722"/>
                <a:gd name="T87" fmla="*/ 766 h 781"/>
                <a:gd name="T88" fmla="*/ 371 w 722"/>
                <a:gd name="T89" fmla="*/ 761 h 781"/>
                <a:gd name="T90" fmla="*/ 367 w 722"/>
                <a:gd name="T91" fmla="*/ 755 h 781"/>
                <a:gd name="T92" fmla="*/ 362 w 722"/>
                <a:gd name="T93" fmla="*/ 752 h 781"/>
                <a:gd name="T94" fmla="*/ 357 w 722"/>
                <a:gd name="T95" fmla="*/ 751 h 781"/>
                <a:gd name="T96" fmla="*/ 30 w 722"/>
                <a:gd name="T97" fmla="*/ 30 h 781"/>
                <a:gd name="T98" fmla="*/ 120 w 722"/>
                <a:gd name="T99" fmla="*/ 61 h 781"/>
                <a:gd name="T100" fmla="*/ 90 w 722"/>
                <a:gd name="T101" fmla="*/ 151 h 781"/>
                <a:gd name="T102" fmla="*/ 180 w 722"/>
                <a:gd name="T103" fmla="*/ 61 h 781"/>
                <a:gd name="T104" fmla="*/ 150 w 722"/>
                <a:gd name="T105" fmla="*/ 30 h 781"/>
                <a:gd name="T106" fmla="*/ 271 w 722"/>
                <a:gd name="T107" fmla="*/ 61 h 781"/>
                <a:gd name="T108" fmla="*/ 241 w 722"/>
                <a:gd name="T109" fmla="*/ 151 h 781"/>
                <a:gd name="T110" fmla="*/ 331 w 722"/>
                <a:gd name="T111" fmla="*/ 61 h 781"/>
                <a:gd name="T112" fmla="*/ 301 w 722"/>
                <a:gd name="T113" fmla="*/ 30 h 781"/>
                <a:gd name="T114" fmla="*/ 421 w 722"/>
                <a:gd name="T115" fmla="*/ 6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2" h="781">
                  <a:moveTo>
                    <a:pt x="451" y="121"/>
                  </a:moveTo>
                  <a:lnTo>
                    <a:pt x="421" y="121"/>
                  </a:lnTo>
                  <a:lnTo>
                    <a:pt x="421" y="91"/>
                  </a:lnTo>
                  <a:lnTo>
                    <a:pt x="451" y="91"/>
                  </a:lnTo>
                  <a:lnTo>
                    <a:pt x="451" y="121"/>
                  </a:lnTo>
                  <a:close/>
                  <a:moveTo>
                    <a:pt x="301" y="121"/>
                  </a:moveTo>
                  <a:lnTo>
                    <a:pt x="271" y="121"/>
                  </a:lnTo>
                  <a:lnTo>
                    <a:pt x="271" y="91"/>
                  </a:lnTo>
                  <a:lnTo>
                    <a:pt x="301" y="91"/>
                  </a:lnTo>
                  <a:lnTo>
                    <a:pt x="301" y="121"/>
                  </a:lnTo>
                  <a:close/>
                  <a:moveTo>
                    <a:pt x="150" y="121"/>
                  </a:moveTo>
                  <a:lnTo>
                    <a:pt x="120" y="121"/>
                  </a:lnTo>
                  <a:lnTo>
                    <a:pt x="120" y="91"/>
                  </a:lnTo>
                  <a:lnTo>
                    <a:pt x="150" y="91"/>
                  </a:lnTo>
                  <a:lnTo>
                    <a:pt x="150" y="121"/>
                  </a:lnTo>
                  <a:close/>
                  <a:moveTo>
                    <a:pt x="601" y="121"/>
                  </a:moveTo>
                  <a:lnTo>
                    <a:pt x="571" y="121"/>
                  </a:lnTo>
                  <a:lnTo>
                    <a:pt x="571" y="91"/>
                  </a:lnTo>
                  <a:lnTo>
                    <a:pt x="601" y="91"/>
                  </a:lnTo>
                  <a:lnTo>
                    <a:pt x="601" y="121"/>
                  </a:lnTo>
                  <a:close/>
                  <a:moveTo>
                    <a:pt x="391" y="61"/>
                  </a:moveTo>
                  <a:lnTo>
                    <a:pt x="391" y="151"/>
                  </a:lnTo>
                  <a:lnTo>
                    <a:pt x="481" y="151"/>
                  </a:lnTo>
                  <a:lnTo>
                    <a:pt x="481" y="61"/>
                  </a:lnTo>
                  <a:lnTo>
                    <a:pt x="451" y="61"/>
                  </a:lnTo>
                  <a:lnTo>
                    <a:pt x="451" y="30"/>
                  </a:lnTo>
                  <a:lnTo>
                    <a:pt x="571" y="30"/>
                  </a:lnTo>
                  <a:lnTo>
                    <a:pt x="571" y="61"/>
                  </a:lnTo>
                  <a:lnTo>
                    <a:pt x="541" y="61"/>
                  </a:lnTo>
                  <a:lnTo>
                    <a:pt x="541" y="151"/>
                  </a:lnTo>
                  <a:lnTo>
                    <a:pt x="631" y="151"/>
                  </a:lnTo>
                  <a:lnTo>
                    <a:pt x="631" y="61"/>
                  </a:lnTo>
                  <a:lnTo>
                    <a:pt x="601" y="61"/>
                  </a:lnTo>
                  <a:lnTo>
                    <a:pt x="601" y="30"/>
                  </a:lnTo>
                  <a:lnTo>
                    <a:pt x="692" y="30"/>
                  </a:lnTo>
                  <a:lnTo>
                    <a:pt x="692" y="356"/>
                  </a:lnTo>
                  <a:lnTo>
                    <a:pt x="692" y="359"/>
                  </a:lnTo>
                  <a:lnTo>
                    <a:pt x="693" y="363"/>
                  </a:lnTo>
                  <a:lnTo>
                    <a:pt x="694" y="365"/>
                  </a:lnTo>
                  <a:lnTo>
                    <a:pt x="696" y="367"/>
                  </a:lnTo>
                  <a:lnTo>
                    <a:pt x="698" y="369"/>
                  </a:lnTo>
                  <a:lnTo>
                    <a:pt x="700" y="370"/>
                  </a:lnTo>
                  <a:lnTo>
                    <a:pt x="703" y="371"/>
                  </a:lnTo>
                  <a:lnTo>
                    <a:pt x="707" y="371"/>
                  </a:lnTo>
                  <a:lnTo>
                    <a:pt x="709" y="371"/>
                  </a:lnTo>
                  <a:lnTo>
                    <a:pt x="712" y="370"/>
                  </a:lnTo>
                  <a:lnTo>
                    <a:pt x="715" y="369"/>
                  </a:lnTo>
                  <a:lnTo>
                    <a:pt x="717" y="367"/>
                  </a:lnTo>
                  <a:lnTo>
                    <a:pt x="718" y="365"/>
                  </a:lnTo>
                  <a:lnTo>
                    <a:pt x="721" y="363"/>
                  </a:lnTo>
                  <a:lnTo>
                    <a:pt x="721" y="359"/>
                  </a:lnTo>
                  <a:lnTo>
                    <a:pt x="722" y="356"/>
                  </a:lnTo>
                  <a:lnTo>
                    <a:pt x="722" y="15"/>
                  </a:lnTo>
                  <a:lnTo>
                    <a:pt x="721" y="13"/>
                  </a:lnTo>
                  <a:lnTo>
                    <a:pt x="721" y="9"/>
                  </a:lnTo>
                  <a:lnTo>
                    <a:pt x="718" y="7"/>
                  </a:lnTo>
                  <a:lnTo>
                    <a:pt x="717" y="5"/>
                  </a:lnTo>
                  <a:lnTo>
                    <a:pt x="715" y="3"/>
                  </a:lnTo>
                  <a:lnTo>
                    <a:pt x="712" y="2"/>
                  </a:lnTo>
                  <a:lnTo>
                    <a:pt x="709" y="1"/>
                  </a:lnTo>
                  <a:lnTo>
                    <a:pt x="707" y="0"/>
                  </a:lnTo>
                  <a:lnTo>
                    <a:pt x="15" y="0"/>
                  </a:lnTo>
                  <a:lnTo>
                    <a:pt x="12" y="1"/>
                  </a:lnTo>
                  <a:lnTo>
                    <a:pt x="10" y="2"/>
                  </a:lnTo>
                  <a:lnTo>
                    <a:pt x="7" y="3"/>
                  </a:lnTo>
                  <a:lnTo>
                    <a:pt x="5" y="5"/>
                  </a:lnTo>
                  <a:lnTo>
                    <a:pt x="3" y="7"/>
                  </a:lnTo>
                  <a:lnTo>
                    <a:pt x="2" y="9"/>
                  </a:lnTo>
                  <a:lnTo>
                    <a:pt x="0" y="13"/>
                  </a:lnTo>
                  <a:lnTo>
                    <a:pt x="0" y="15"/>
                  </a:lnTo>
                  <a:lnTo>
                    <a:pt x="0" y="766"/>
                  </a:lnTo>
                  <a:lnTo>
                    <a:pt x="0" y="769"/>
                  </a:lnTo>
                  <a:lnTo>
                    <a:pt x="2" y="773"/>
                  </a:lnTo>
                  <a:lnTo>
                    <a:pt x="3" y="775"/>
                  </a:lnTo>
                  <a:lnTo>
                    <a:pt x="5" y="777"/>
                  </a:lnTo>
                  <a:lnTo>
                    <a:pt x="7" y="779"/>
                  </a:lnTo>
                  <a:lnTo>
                    <a:pt x="10" y="780"/>
                  </a:lnTo>
                  <a:lnTo>
                    <a:pt x="12" y="781"/>
                  </a:lnTo>
                  <a:lnTo>
                    <a:pt x="15" y="781"/>
                  </a:lnTo>
                  <a:lnTo>
                    <a:pt x="357" y="781"/>
                  </a:lnTo>
                  <a:lnTo>
                    <a:pt x="359" y="781"/>
                  </a:lnTo>
                  <a:lnTo>
                    <a:pt x="362" y="780"/>
                  </a:lnTo>
                  <a:lnTo>
                    <a:pt x="364" y="779"/>
                  </a:lnTo>
                  <a:lnTo>
                    <a:pt x="367" y="777"/>
                  </a:lnTo>
                  <a:lnTo>
                    <a:pt x="369" y="775"/>
                  </a:lnTo>
                  <a:lnTo>
                    <a:pt x="371" y="773"/>
                  </a:lnTo>
                  <a:lnTo>
                    <a:pt x="371" y="769"/>
                  </a:lnTo>
                  <a:lnTo>
                    <a:pt x="372" y="766"/>
                  </a:lnTo>
                  <a:lnTo>
                    <a:pt x="371" y="764"/>
                  </a:lnTo>
                  <a:lnTo>
                    <a:pt x="371" y="761"/>
                  </a:lnTo>
                  <a:lnTo>
                    <a:pt x="369" y="759"/>
                  </a:lnTo>
                  <a:lnTo>
                    <a:pt x="367" y="755"/>
                  </a:lnTo>
                  <a:lnTo>
                    <a:pt x="364" y="754"/>
                  </a:lnTo>
                  <a:lnTo>
                    <a:pt x="362" y="752"/>
                  </a:lnTo>
                  <a:lnTo>
                    <a:pt x="359" y="751"/>
                  </a:lnTo>
                  <a:lnTo>
                    <a:pt x="357" y="751"/>
                  </a:lnTo>
                  <a:lnTo>
                    <a:pt x="30" y="751"/>
                  </a:lnTo>
                  <a:lnTo>
                    <a:pt x="30" y="30"/>
                  </a:lnTo>
                  <a:lnTo>
                    <a:pt x="120" y="30"/>
                  </a:lnTo>
                  <a:lnTo>
                    <a:pt x="120" y="61"/>
                  </a:lnTo>
                  <a:lnTo>
                    <a:pt x="90" y="61"/>
                  </a:lnTo>
                  <a:lnTo>
                    <a:pt x="90" y="151"/>
                  </a:lnTo>
                  <a:lnTo>
                    <a:pt x="180" y="151"/>
                  </a:lnTo>
                  <a:lnTo>
                    <a:pt x="180" y="61"/>
                  </a:lnTo>
                  <a:lnTo>
                    <a:pt x="150" y="61"/>
                  </a:lnTo>
                  <a:lnTo>
                    <a:pt x="150" y="30"/>
                  </a:lnTo>
                  <a:lnTo>
                    <a:pt x="271" y="30"/>
                  </a:lnTo>
                  <a:lnTo>
                    <a:pt x="271" y="61"/>
                  </a:lnTo>
                  <a:lnTo>
                    <a:pt x="241" y="61"/>
                  </a:lnTo>
                  <a:lnTo>
                    <a:pt x="241" y="151"/>
                  </a:lnTo>
                  <a:lnTo>
                    <a:pt x="331" y="151"/>
                  </a:lnTo>
                  <a:lnTo>
                    <a:pt x="331" y="61"/>
                  </a:lnTo>
                  <a:lnTo>
                    <a:pt x="301" y="61"/>
                  </a:lnTo>
                  <a:lnTo>
                    <a:pt x="301" y="30"/>
                  </a:lnTo>
                  <a:lnTo>
                    <a:pt x="421" y="30"/>
                  </a:lnTo>
                  <a:lnTo>
                    <a:pt x="421" y="61"/>
                  </a:lnTo>
                  <a:lnTo>
                    <a:pt x="39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4" name="Freeform 36">
              <a:extLst>
                <a:ext uri="{FF2B5EF4-FFF2-40B4-BE49-F238E27FC236}">
                  <a16:creationId xmlns:a16="http://schemas.microsoft.com/office/drawing/2014/main" id="{E63D4C70-16D1-4B2F-BB7A-97341360063C}"/>
                </a:ext>
              </a:extLst>
            </p:cNvPr>
            <p:cNvSpPr>
              <a:spLocks noEditPoints="1"/>
            </p:cNvSpPr>
            <p:nvPr/>
          </p:nvSpPr>
          <p:spPr bwMode="auto">
            <a:xfrm>
              <a:off x="9464675" y="4370388"/>
              <a:ext cx="133350" cy="138113"/>
            </a:xfrm>
            <a:custGeom>
              <a:avLst/>
              <a:gdLst>
                <a:gd name="T0" fmla="*/ 33 w 420"/>
                <a:gd name="T1" fmla="*/ 139 h 436"/>
                <a:gd name="T2" fmla="*/ 46 w 420"/>
                <a:gd name="T3" fmla="*/ 102 h 436"/>
                <a:gd name="T4" fmla="*/ 69 w 420"/>
                <a:gd name="T5" fmla="*/ 71 h 436"/>
                <a:gd name="T6" fmla="*/ 100 w 420"/>
                <a:gd name="T7" fmla="*/ 47 h 436"/>
                <a:gd name="T8" fmla="*/ 138 w 420"/>
                <a:gd name="T9" fmla="*/ 34 h 436"/>
                <a:gd name="T10" fmla="*/ 179 w 420"/>
                <a:gd name="T11" fmla="*/ 31 h 436"/>
                <a:gd name="T12" fmla="*/ 218 w 420"/>
                <a:gd name="T13" fmla="*/ 42 h 436"/>
                <a:gd name="T14" fmla="*/ 251 w 420"/>
                <a:gd name="T15" fmla="*/ 62 h 436"/>
                <a:gd name="T16" fmla="*/ 277 w 420"/>
                <a:gd name="T17" fmla="*/ 91 h 436"/>
                <a:gd name="T18" fmla="*/ 294 w 420"/>
                <a:gd name="T19" fmla="*/ 127 h 436"/>
                <a:gd name="T20" fmla="*/ 301 w 420"/>
                <a:gd name="T21" fmla="*/ 166 h 436"/>
                <a:gd name="T22" fmla="*/ 294 w 420"/>
                <a:gd name="T23" fmla="*/ 207 h 436"/>
                <a:gd name="T24" fmla="*/ 277 w 420"/>
                <a:gd name="T25" fmla="*/ 242 h 436"/>
                <a:gd name="T26" fmla="*/ 251 w 420"/>
                <a:gd name="T27" fmla="*/ 270 h 436"/>
                <a:gd name="T28" fmla="*/ 218 w 420"/>
                <a:gd name="T29" fmla="*/ 290 h 436"/>
                <a:gd name="T30" fmla="*/ 179 w 420"/>
                <a:gd name="T31" fmla="*/ 300 h 436"/>
                <a:gd name="T32" fmla="*/ 138 w 420"/>
                <a:gd name="T33" fmla="*/ 299 h 436"/>
                <a:gd name="T34" fmla="*/ 100 w 420"/>
                <a:gd name="T35" fmla="*/ 285 h 436"/>
                <a:gd name="T36" fmla="*/ 69 w 420"/>
                <a:gd name="T37" fmla="*/ 261 h 436"/>
                <a:gd name="T38" fmla="*/ 46 w 420"/>
                <a:gd name="T39" fmla="*/ 230 h 436"/>
                <a:gd name="T40" fmla="*/ 33 w 420"/>
                <a:gd name="T41" fmla="*/ 193 h 436"/>
                <a:gd name="T42" fmla="*/ 416 w 420"/>
                <a:gd name="T43" fmla="*/ 411 h 436"/>
                <a:gd name="T44" fmla="*/ 304 w 420"/>
                <a:gd name="T45" fmla="*/ 256 h 436"/>
                <a:gd name="T46" fmla="*/ 323 w 420"/>
                <a:gd name="T47" fmla="*/ 214 h 436"/>
                <a:gd name="T48" fmla="*/ 331 w 420"/>
                <a:gd name="T49" fmla="*/ 166 h 436"/>
                <a:gd name="T50" fmla="*/ 323 w 420"/>
                <a:gd name="T51" fmla="*/ 117 h 436"/>
                <a:gd name="T52" fmla="*/ 303 w 420"/>
                <a:gd name="T53" fmla="*/ 74 h 436"/>
                <a:gd name="T54" fmla="*/ 271 w 420"/>
                <a:gd name="T55" fmla="*/ 39 h 436"/>
                <a:gd name="T56" fmla="*/ 230 w 420"/>
                <a:gd name="T57" fmla="*/ 14 h 436"/>
                <a:gd name="T58" fmla="*/ 182 w 420"/>
                <a:gd name="T59" fmla="*/ 1 h 436"/>
                <a:gd name="T60" fmla="*/ 132 w 420"/>
                <a:gd name="T61" fmla="*/ 5 h 436"/>
                <a:gd name="T62" fmla="*/ 87 w 420"/>
                <a:gd name="T63" fmla="*/ 21 h 436"/>
                <a:gd name="T64" fmla="*/ 48 w 420"/>
                <a:gd name="T65" fmla="*/ 50 h 436"/>
                <a:gd name="T66" fmla="*/ 20 w 420"/>
                <a:gd name="T67" fmla="*/ 88 h 436"/>
                <a:gd name="T68" fmla="*/ 3 w 420"/>
                <a:gd name="T69" fmla="*/ 133 h 436"/>
                <a:gd name="T70" fmla="*/ 1 w 420"/>
                <a:gd name="T71" fmla="*/ 183 h 436"/>
                <a:gd name="T72" fmla="*/ 13 w 420"/>
                <a:gd name="T73" fmla="*/ 230 h 436"/>
                <a:gd name="T74" fmla="*/ 37 w 420"/>
                <a:gd name="T75" fmla="*/ 271 h 436"/>
                <a:gd name="T76" fmla="*/ 73 w 420"/>
                <a:gd name="T77" fmla="*/ 303 h 436"/>
                <a:gd name="T78" fmla="*/ 117 w 420"/>
                <a:gd name="T79" fmla="*/ 324 h 436"/>
                <a:gd name="T80" fmla="*/ 166 w 420"/>
                <a:gd name="T81" fmla="*/ 331 h 436"/>
                <a:gd name="T82" fmla="*/ 204 w 420"/>
                <a:gd name="T83" fmla="*/ 327 h 436"/>
                <a:gd name="T84" fmla="*/ 241 w 420"/>
                <a:gd name="T85" fmla="*/ 313 h 436"/>
                <a:gd name="T86" fmla="*/ 395 w 420"/>
                <a:gd name="T87" fmla="*/ 432 h 436"/>
                <a:gd name="T88" fmla="*/ 402 w 420"/>
                <a:gd name="T89" fmla="*/ 436 h 436"/>
                <a:gd name="T90" fmla="*/ 411 w 420"/>
                <a:gd name="T91" fmla="*/ 435 h 436"/>
                <a:gd name="T92" fmla="*/ 418 w 420"/>
                <a:gd name="T93" fmla="*/ 430 h 436"/>
                <a:gd name="T94" fmla="*/ 420 w 420"/>
                <a:gd name="T95" fmla="*/ 422 h 436"/>
                <a:gd name="T96" fmla="*/ 418 w 420"/>
                <a:gd name="T97" fmla="*/ 41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0" h="436">
                  <a:moveTo>
                    <a:pt x="30" y="166"/>
                  </a:moveTo>
                  <a:lnTo>
                    <a:pt x="31" y="152"/>
                  </a:lnTo>
                  <a:lnTo>
                    <a:pt x="33" y="139"/>
                  </a:lnTo>
                  <a:lnTo>
                    <a:pt x="36" y="127"/>
                  </a:lnTo>
                  <a:lnTo>
                    <a:pt x="41" y="114"/>
                  </a:lnTo>
                  <a:lnTo>
                    <a:pt x="46" y="102"/>
                  </a:lnTo>
                  <a:lnTo>
                    <a:pt x="53" y="91"/>
                  </a:lnTo>
                  <a:lnTo>
                    <a:pt x="61" y="81"/>
                  </a:lnTo>
                  <a:lnTo>
                    <a:pt x="69" y="71"/>
                  </a:lnTo>
                  <a:lnTo>
                    <a:pt x="79" y="62"/>
                  </a:lnTo>
                  <a:lnTo>
                    <a:pt x="90" y="54"/>
                  </a:lnTo>
                  <a:lnTo>
                    <a:pt x="100" y="47"/>
                  </a:lnTo>
                  <a:lnTo>
                    <a:pt x="112" y="42"/>
                  </a:lnTo>
                  <a:lnTo>
                    <a:pt x="125" y="37"/>
                  </a:lnTo>
                  <a:lnTo>
                    <a:pt x="138" y="34"/>
                  </a:lnTo>
                  <a:lnTo>
                    <a:pt x="152" y="31"/>
                  </a:lnTo>
                  <a:lnTo>
                    <a:pt x="166" y="31"/>
                  </a:lnTo>
                  <a:lnTo>
                    <a:pt x="179" y="31"/>
                  </a:lnTo>
                  <a:lnTo>
                    <a:pt x="193" y="34"/>
                  </a:lnTo>
                  <a:lnTo>
                    <a:pt x="205" y="37"/>
                  </a:lnTo>
                  <a:lnTo>
                    <a:pt x="218" y="42"/>
                  </a:lnTo>
                  <a:lnTo>
                    <a:pt x="230" y="47"/>
                  </a:lnTo>
                  <a:lnTo>
                    <a:pt x="241" y="54"/>
                  </a:lnTo>
                  <a:lnTo>
                    <a:pt x="251" y="62"/>
                  </a:lnTo>
                  <a:lnTo>
                    <a:pt x="261" y="71"/>
                  </a:lnTo>
                  <a:lnTo>
                    <a:pt x="270" y="81"/>
                  </a:lnTo>
                  <a:lnTo>
                    <a:pt x="277" y="91"/>
                  </a:lnTo>
                  <a:lnTo>
                    <a:pt x="285" y="102"/>
                  </a:lnTo>
                  <a:lnTo>
                    <a:pt x="290" y="114"/>
                  </a:lnTo>
                  <a:lnTo>
                    <a:pt x="294" y="127"/>
                  </a:lnTo>
                  <a:lnTo>
                    <a:pt x="297" y="139"/>
                  </a:lnTo>
                  <a:lnTo>
                    <a:pt x="300" y="152"/>
                  </a:lnTo>
                  <a:lnTo>
                    <a:pt x="301" y="166"/>
                  </a:lnTo>
                  <a:lnTo>
                    <a:pt x="300" y="180"/>
                  </a:lnTo>
                  <a:lnTo>
                    <a:pt x="297" y="193"/>
                  </a:lnTo>
                  <a:lnTo>
                    <a:pt x="294" y="207"/>
                  </a:lnTo>
                  <a:lnTo>
                    <a:pt x="290" y="219"/>
                  </a:lnTo>
                  <a:lnTo>
                    <a:pt x="285" y="230"/>
                  </a:lnTo>
                  <a:lnTo>
                    <a:pt x="277" y="242"/>
                  </a:lnTo>
                  <a:lnTo>
                    <a:pt x="270" y="252"/>
                  </a:lnTo>
                  <a:lnTo>
                    <a:pt x="261" y="261"/>
                  </a:lnTo>
                  <a:lnTo>
                    <a:pt x="251" y="270"/>
                  </a:lnTo>
                  <a:lnTo>
                    <a:pt x="241" y="279"/>
                  </a:lnTo>
                  <a:lnTo>
                    <a:pt x="230" y="285"/>
                  </a:lnTo>
                  <a:lnTo>
                    <a:pt x="218" y="290"/>
                  </a:lnTo>
                  <a:lnTo>
                    <a:pt x="205" y="295"/>
                  </a:lnTo>
                  <a:lnTo>
                    <a:pt x="193" y="299"/>
                  </a:lnTo>
                  <a:lnTo>
                    <a:pt x="179" y="300"/>
                  </a:lnTo>
                  <a:lnTo>
                    <a:pt x="166" y="301"/>
                  </a:lnTo>
                  <a:lnTo>
                    <a:pt x="152" y="300"/>
                  </a:lnTo>
                  <a:lnTo>
                    <a:pt x="138" y="299"/>
                  </a:lnTo>
                  <a:lnTo>
                    <a:pt x="125" y="295"/>
                  </a:lnTo>
                  <a:lnTo>
                    <a:pt x="112" y="290"/>
                  </a:lnTo>
                  <a:lnTo>
                    <a:pt x="100" y="285"/>
                  </a:lnTo>
                  <a:lnTo>
                    <a:pt x="90" y="279"/>
                  </a:lnTo>
                  <a:lnTo>
                    <a:pt x="79" y="270"/>
                  </a:lnTo>
                  <a:lnTo>
                    <a:pt x="69" y="261"/>
                  </a:lnTo>
                  <a:lnTo>
                    <a:pt x="61" y="252"/>
                  </a:lnTo>
                  <a:lnTo>
                    <a:pt x="53" y="242"/>
                  </a:lnTo>
                  <a:lnTo>
                    <a:pt x="46" y="230"/>
                  </a:lnTo>
                  <a:lnTo>
                    <a:pt x="41" y="219"/>
                  </a:lnTo>
                  <a:lnTo>
                    <a:pt x="36" y="207"/>
                  </a:lnTo>
                  <a:lnTo>
                    <a:pt x="33" y="193"/>
                  </a:lnTo>
                  <a:lnTo>
                    <a:pt x="31" y="180"/>
                  </a:lnTo>
                  <a:lnTo>
                    <a:pt x="30" y="166"/>
                  </a:lnTo>
                  <a:close/>
                  <a:moveTo>
                    <a:pt x="416" y="411"/>
                  </a:moveTo>
                  <a:lnTo>
                    <a:pt x="285" y="280"/>
                  </a:lnTo>
                  <a:lnTo>
                    <a:pt x="295" y="269"/>
                  </a:lnTo>
                  <a:lnTo>
                    <a:pt x="304" y="256"/>
                  </a:lnTo>
                  <a:lnTo>
                    <a:pt x="311" y="242"/>
                  </a:lnTo>
                  <a:lnTo>
                    <a:pt x="319" y="228"/>
                  </a:lnTo>
                  <a:lnTo>
                    <a:pt x="323" y="214"/>
                  </a:lnTo>
                  <a:lnTo>
                    <a:pt x="327" y="198"/>
                  </a:lnTo>
                  <a:lnTo>
                    <a:pt x="329" y="182"/>
                  </a:lnTo>
                  <a:lnTo>
                    <a:pt x="331" y="166"/>
                  </a:lnTo>
                  <a:lnTo>
                    <a:pt x="329" y="149"/>
                  </a:lnTo>
                  <a:lnTo>
                    <a:pt x="327" y="133"/>
                  </a:lnTo>
                  <a:lnTo>
                    <a:pt x="323" y="117"/>
                  </a:lnTo>
                  <a:lnTo>
                    <a:pt x="318" y="102"/>
                  </a:lnTo>
                  <a:lnTo>
                    <a:pt x="310" y="88"/>
                  </a:lnTo>
                  <a:lnTo>
                    <a:pt x="303" y="74"/>
                  </a:lnTo>
                  <a:lnTo>
                    <a:pt x="293" y="61"/>
                  </a:lnTo>
                  <a:lnTo>
                    <a:pt x="282" y="50"/>
                  </a:lnTo>
                  <a:lnTo>
                    <a:pt x="271" y="39"/>
                  </a:lnTo>
                  <a:lnTo>
                    <a:pt x="258" y="29"/>
                  </a:lnTo>
                  <a:lnTo>
                    <a:pt x="244" y="21"/>
                  </a:lnTo>
                  <a:lnTo>
                    <a:pt x="230" y="14"/>
                  </a:lnTo>
                  <a:lnTo>
                    <a:pt x="214" y="8"/>
                  </a:lnTo>
                  <a:lnTo>
                    <a:pt x="199" y="5"/>
                  </a:lnTo>
                  <a:lnTo>
                    <a:pt x="182" y="1"/>
                  </a:lnTo>
                  <a:lnTo>
                    <a:pt x="166" y="0"/>
                  </a:lnTo>
                  <a:lnTo>
                    <a:pt x="149" y="1"/>
                  </a:lnTo>
                  <a:lnTo>
                    <a:pt x="132" y="5"/>
                  </a:lnTo>
                  <a:lnTo>
                    <a:pt x="117" y="8"/>
                  </a:lnTo>
                  <a:lnTo>
                    <a:pt x="102" y="14"/>
                  </a:lnTo>
                  <a:lnTo>
                    <a:pt x="87" y="21"/>
                  </a:lnTo>
                  <a:lnTo>
                    <a:pt x="73" y="29"/>
                  </a:lnTo>
                  <a:lnTo>
                    <a:pt x="60" y="39"/>
                  </a:lnTo>
                  <a:lnTo>
                    <a:pt x="48" y="50"/>
                  </a:lnTo>
                  <a:lnTo>
                    <a:pt x="37" y="61"/>
                  </a:lnTo>
                  <a:lnTo>
                    <a:pt x="29" y="74"/>
                  </a:lnTo>
                  <a:lnTo>
                    <a:pt x="20" y="88"/>
                  </a:lnTo>
                  <a:lnTo>
                    <a:pt x="13" y="102"/>
                  </a:lnTo>
                  <a:lnTo>
                    <a:pt x="7" y="117"/>
                  </a:lnTo>
                  <a:lnTo>
                    <a:pt x="3" y="133"/>
                  </a:lnTo>
                  <a:lnTo>
                    <a:pt x="1" y="149"/>
                  </a:lnTo>
                  <a:lnTo>
                    <a:pt x="0" y="166"/>
                  </a:lnTo>
                  <a:lnTo>
                    <a:pt x="1" y="183"/>
                  </a:lnTo>
                  <a:lnTo>
                    <a:pt x="3" y="199"/>
                  </a:lnTo>
                  <a:lnTo>
                    <a:pt x="7" y="215"/>
                  </a:lnTo>
                  <a:lnTo>
                    <a:pt x="13" y="230"/>
                  </a:lnTo>
                  <a:lnTo>
                    <a:pt x="20" y="245"/>
                  </a:lnTo>
                  <a:lnTo>
                    <a:pt x="29" y="258"/>
                  </a:lnTo>
                  <a:lnTo>
                    <a:pt x="37" y="271"/>
                  </a:lnTo>
                  <a:lnTo>
                    <a:pt x="48" y="283"/>
                  </a:lnTo>
                  <a:lnTo>
                    <a:pt x="60" y="294"/>
                  </a:lnTo>
                  <a:lnTo>
                    <a:pt x="73" y="303"/>
                  </a:lnTo>
                  <a:lnTo>
                    <a:pt x="87" y="312"/>
                  </a:lnTo>
                  <a:lnTo>
                    <a:pt x="102" y="318"/>
                  </a:lnTo>
                  <a:lnTo>
                    <a:pt x="117" y="324"/>
                  </a:lnTo>
                  <a:lnTo>
                    <a:pt x="132" y="328"/>
                  </a:lnTo>
                  <a:lnTo>
                    <a:pt x="149" y="330"/>
                  </a:lnTo>
                  <a:lnTo>
                    <a:pt x="166" y="331"/>
                  </a:lnTo>
                  <a:lnTo>
                    <a:pt x="179" y="331"/>
                  </a:lnTo>
                  <a:lnTo>
                    <a:pt x="191" y="329"/>
                  </a:lnTo>
                  <a:lnTo>
                    <a:pt x="204" y="327"/>
                  </a:lnTo>
                  <a:lnTo>
                    <a:pt x="217" y="322"/>
                  </a:lnTo>
                  <a:lnTo>
                    <a:pt x="229" y="318"/>
                  </a:lnTo>
                  <a:lnTo>
                    <a:pt x="241" y="313"/>
                  </a:lnTo>
                  <a:lnTo>
                    <a:pt x="251" y="306"/>
                  </a:lnTo>
                  <a:lnTo>
                    <a:pt x="262" y="300"/>
                  </a:lnTo>
                  <a:lnTo>
                    <a:pt x="395" y="432"/>
                  </a:lnTo>
                  <a:lnTo>
                    <a:pt x="397" y="434"/>
                  </a:lnTo>
                  <a:lnTo>
                    <a:pt x="400" y="435"/>
                  </a:lnTo>
                  <a:lnTo>
                    <a:pt x="402" y="436"/>
                  </a:lnTo>
                  <a:lnTo>
                    <a:pt x="405" y="436"/>
                  </a:lnTo>
                  <a:lnTo>
                    <a:pt x="409" y="436"/>
                  </a:lnTo>
                  <a:lnTo>
                    <a:pt x="411" y="435"/>
                  </a:lnTo>
                  <a:lnTo>
                    <a:pt x="414" y="434"/>
                  </a:lnTo>
                  <a:lnTo>
                    <a:pt x="416" y="432"/>
                  </a:lnTo>
                  <a:lnTo>
                    <a:pt x="418" y="430"/>
                  </a:lnTo>
                  <a:lnTo>
                    <a:pt x="419" y="427"/>
                  </a:lnTo>
                  <a:lnTo>
                    <a:pt x="420" y="425"/>
                  </a:lnTo>
                  <a:lnTo>
                    <a:pt x="420" y="422"/>
                  </a:lnTo>
                  <a:lnTo>
                    <a:pt x="420" y="419"/>
                  </a:lnTo>
                  <a:lnTo>
                    <a:pt x="419" y="416"/>
                  </a:lnTo>
                  <a:lnTo>
                    <a:pt x="418" y="413"/>
                  </a:lnTo>
                  <a:lnTo>
                    <a:pt x="416"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724" name="Group 63">
            <a:extLst>
              <a:ext uri="{FF2B5EF4-FFF2-40B4-BE49-F238E27FC236}">
                <a16:creationId xmlns:a16="http://schemas.microsoft.com/office/drawing/2014/main" id="{6E87007C-021B-41F0-A49D-7FBB46B03692}"/>
              </a:ext>
            </a:extLst>
          </p:cNvPr>
          <p:cNvGrpSpPr>
            <a:grpSpLocks noChangeAspect="1"/>
          </p:cNvGrpSpPr>
          <p:nvPr>
            <p:custDataLst>
              <p:tags r:id="rId1"/>
            </p:custDataLst>
          </p:nvPr>
        </p:nvGrpSpPr>
        <p:grpSpPr>
          <a:xfrm>
            <a:off x="1517085" y="3801969"/>
            <a:ext cx="209131" cy="308144"/>
            <a:chOff x="9428012" y="1701541"/>
            <a:chExt cx="416963" cy="614374"/>
          </a:xfrm>
          <a:solidFill>
            <a:schemeClr val="bg2"/>
          </a:solidFill>
          <a:effectLst/>
        </p:grpSpPr>
        <p:sp>
          <p:nvSpPr>
            <p:cNvPr id="725" name="Freeform 12">
              <a:extLst>
                <a:ext uri="{FF2B5EF4-FFF2-40B4-BE49-F238E27FC236}">
                  <a16:creationId xmlns:a16="http://schemas.microsoft.com/office/drawing/2014/main" id="{49063748-3F94-49CE-92C8-56DCDAB2F014}"/>
                </a:ext>
              </a:extLst>
            </p:cNvPr>
            <p:cNvSpPr>
              <a:spLocks noEditPoints="1"/>
            </p:cNvSpPr>
            <p:nvPr/>
          </p:nvSpPr>
          <p:spPr bwMode="auto">
            <a:xfrm>
              <a:off x="9428012" y="1701541"/>
              <a:ext cx="416963" cy="614374"/>
            </a:xfrm>
            <a:custGeom>
              <a:avLst/>
              <a:gdLst>
                <a:gd name="T0" fmla="*/ 39 w 679"/>
                <a:gd name="T1" fmla="*/ 960 h 1000"/>
                <a:gd name="T2" fmla="*/ 639 w 679"/>
                <a:gd name="T3" fmla="*/ 960 h 1000"/>
                <a:gd name="T4" fmla="*/ 639 w 679"/>
                <a:gd name="T5" fmla="*/ 40 h 1000"/>
                <a:gd name="T6" fmla="*/ 188 w 679"/>
                <a:gd name="T7" fmla="*/ 40 h 1000"/>
                <a:gd name="T8" fmla="*/ 39 w 679"/>
                <a:gd name="T9" fmla="*/ 189 h 1000"/>
                <a:gd name="T10" fmla="*/ 39 w 679"/>
                <a:gd name="T11" fmla="*/ 960 h 1000"/>
                <a:gd name="T12" fmla="*/ 659 w 679"/>
                <a:gd name="T13" fmla="*/ 1000 h 1000"/>
                <a:gd name="T14" fmla="*/ 19 w 679"/>
                <a:gd name="T15" fmla="*/ 1000 h 1000"/>
                <a:gd name="T16" fmla="*/ 16 w 679"/>
                <a:gd name="T17" fmla="*/ 999 h 1000"/>
                <a:gd name="T18" fmla="*/ 12 w 679"/>
                <a:gd name="T19" fmla="*/ 999 h 1000"/>
                <a:gd name="T20" fmla="*/ 8 w 679"/>
                <a:gd name="T21" fmla="*/ 996 h 1000"/>
                <a:gd name="T22" fmla="*/ 6 w 679"/>
                <a:gd name="T23" fmla="*/ 994 h 1000"/>
                <a:gd name="T24" fmla="*/ 3 w 679"/>
                <a:gd name="T25" fmla="*/ 991 h 1000"/>
                <a:gd name="T26" fmla="*/ 1 w 679"/>
                <a:gd name="T27" fmla="*/ 988 h 1000"/>
                <a:gd name="T28" fmla="*/ 1 w 679"/>
                <a:gd name="T29" fmla="*/ 984 h 1000"/>
                <a:gd name="T30" fmla="*/ 0 w 679"/>
                <a:gd name="T31" fmla="*/ 980 h 1000"/>
                <a:gd name="T32" fmla="*/ 0 w 679"/>
                <a:gd name="T33" fmla="*/ 180 h 1000"/>
                <a:gd name="T34" fmla="*/ 1 w 679"/>
                <a:gd name="T35" fmla="*/ 176 h 1000"/>
                <a:gd name="T36" fmla="*/ 1 w 679"/>
                <a:gd name="T37" fmla="*/ 173 h 1000"/>
                <a:gd name="T38" fmla="*/ 3 w 679"/>
                <a:gd name="T39" fmla="*/ 169 h 1000"/>
                <a:gd name="T40" fmla="*/ 6 w 679"/>
                <a:gd name="T41" fmla="*/ 165 h 1000"/>
                <a:gd name="T42" fmla="*/ 166 w 679"/>
                <a:gd name="T43" fmla="*/ 6 h 1000"/>
                <a:gd name="T44" fmla="*/ 169 w 679"/>
                <a:gd name="T45" fmla="*/ 4 h 1000"/>
                <a:gd name="T46" fmla="*/ 172 w 679"/>
                <a:gd name="T47" fmla="*/ 1 h 1000"/>
                <a:gd name="T48" fmla="*/ 176 w 679"/>
                <a:gd name="T49" fmla="*/ 0 h 1000"/>
                <a:gd name="T50" fmla="*/ 180 w 679"/>
                <a:gd name="T51" fmla="*/ 0 h 1000"/>
                <a:gd name="T52" fmla="*/ 659 w 679"/>
                <a:gd name="T53" fmla="*/ 0 h 1000"/>
                <a:gd name="T54" fmla="*/ 664 w 679"/>
                <a:gd name="T55" fmla="*/ 0 h 1000"/>
                <a:gd name="T56" fmla="*/ 668 w 679"/>
                <a:gd name="T57" fmla="*/ 1 h 1000"/>
                <a:gd name="T58" fmla="*/ 670 w 679"/>
                <a:gd name="T59" fmla="*/ 4 h 1000"/>
                <a:gd name="T60" fmla="*/ 674 w 679"/>
                <a:gd name="T61" fmla="*/ 6 h 1000"/>
                <a:gd name="T62" fmla="*/ 676 w 679"/>
                <a:gd name="T63" fmla="*/ 9 h 1000"/>
                <a:gd name="T64" fmla="*/ 678 w 679"/>
                <a:gd name="T65" fmla="*/ 12 h 1000"/>
                <a:gd name="T66" fmla="*/ 679 w 679"/>
                <a:gd name="T67" fmla="*/ 16 h 1000"/>
                <a:gd name="T68" fmla="*/ 679 w 679"/>
                <a:gd name="T69" fmla="*/ 20 h 1000"/>
                <a:gd name="T70" fmla="*/ 679 w 679"/>
                <a:gd name="T71" fmla="*/ 980 h 1000"/>
                <a:gd name="T72" fmla="*/ 679 w 679"/>
                <a:gd name="T73" fmla="*/ 984 h 1000"/>
                <a:gd name="T74" fmla="*/ 678 w 679"/>
                <a:gd name="T75" fmla="*/ 988 h 1000"/>
                <a:gd name="T76" fmla="*/ 676 w 679"/>
                <a:gd name="T77" fmla="*/ 991 h 1000"/>
                <a:gd name="T78" fmla="*/ 674 w 679"/>
                <a:gd name="T79" fmla="*/ 994 h 1000"/>
                <a:gd name="T80" fmla="*/ 670 w 679"/>
                <a:gd name="T81" fmla="*/ 996 h 1000"/>
                <a:gd name="T82" fmla="*/ 668 w 679"/>
                <a:gd name="T83" fmla="*/ 999 h 1000"/>
                <a:gd name="T84" fmla="*/ 664 w 679"/>
                <a:gd name="T85" fmla="*/ 999 h 1000"/>
                <a:gd name="T86" fmla="*/ 659 w 679"/>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9" h="1000">
                  <a:moveTo>
                    <a:pt x="39" y="960"/>
                  </a:moveTo>
                  <a:lnTo>
                    <a:pt x="639" y="960"/>
                  </a:lnTo>
                  <a:lnTo>
                    <a:pt x="639" y="40"/>
                  </a:lnTo>
                  <a:lnTo>
                    <a:pt x="188" y="40"/>
                  </a:lnTo>
                  <a:lnTo>
                    <a:pt x="39" y="189"/>
                  </a:lnTo>
                  <a:lnTo>
                    <a:pt x="39" y="960"/>
                  </a:lnTo>
                  <a:close/>
                  <a:moveTo>
                    <a:pt x="659" y="1000"/>
                  </a:moveTo>
                  <a:lnTo>
                    <a:pt x="19" y="1000"/>
                  </a:lnTo>
                  <a:lnTo>
                    <a:pt x="16" y="999"/>
                  </a:lnTo>
                  <a:lnTo>
                    <a:pt x="12" y="999"/>
                  </a:lnTo>
                  <a:lnTo>
                    <a:pt x="8" y="996"/>
                  </a:lnTo>
                  <a:lnTo>
                    <a:pt x="6" y="994"/>
                  </a:lnTo>
                  <a:lnTo>
                    <a:pt x="3" y="991"/>
                  </a:lnTo>
                  <a:lnTo>
                    <a:pt x="1" y="988"/>
                  </a:lnTo>
                  <a:lnTo>
                    <a:pt x="1" y="984"/>
                  </a:lnTo>
                  <a:lnTo>
                    <a:pt x="0" y="980"/>
                  </a:lnTo>
                  <a:lnTo>
                    <a:pt x="0" y="180"/>
                  </a:lnTo>
                  <a:lnTo>
                    <a:pt x="1" y="176"/>
                  </a:lnTo>
                  <a:lnTo>
                    <a:pt x="1" y="173"/>
                  </a:lnTo>
                  <a:lnTo>
                    <a:pt x="3" y="169"/>
                  </a:lnTo>
                  <a:lnTo>
                    <a:pt x="6" y="165"/>
                  </a:lnTo>
                  <a:lnTo>
                    <a:pt x="166" y="6"/>
                  </a:lnTo>
                  <a:lnTo>
                    <a:pt x="169" y="4"/>
                  </a:lnTo>
                  <a:lnTo>
                    <a:pt x="172" y="1"/>
                  </a:lnTo>
                  <a:lnTo>
                    <a:pt x="176" y="0"/>
                  </a:lnTo>
                  <a:lnTo>
                    <a:pt x="180" y="0"/>
                  </a:lnTo>
                  <a:lnTo>
                    <a:pt x="659" y="0"/>
                  </a:lnTo>
                  <a:lnTo>
                    <a:pt x="664" y="0"/>
                  </a:lnTo>
                  <a:lnTo>
                    <a:pt x="668" y="1"/>
                  </a:lnTo>
                  <a:lnTo>
                    <a:pt x="670" y="4"/>
                  </a:lnTo>
                  <a:lnTo>
                    <a:pt x="674" y="6"/>
                  </a:lnTo>
                  <a:lnTo>
                    <a:pt x="676" y="9"/>
                  </a:lnTo>
                  <a:lnTo>
                    <a:pt x="678" y="12"/>
                  </a:lnTo>
                  <a:lnTo>
                    <a:pt x="679" y="16"/>
                  </a:lnTo>
                  <a:lnTo>
                    <a:pt x="679" y="20"/>
                  </a:lnTo>
                  <a:lnTo>
                    <a:pt x="679" y="980"/>
                  </a:lnTo>
                  <a:lnTo>
                    <a:pt x="679" y="984"/>
                  </a:lnTo>
                  <a:lnTo>
                    <a:pt x="678" y="988"/>
                  </a:lnTo>
                  <a:lnTo>
                    <a:pt x="676" y="991"/>
                  </a:lnTo>
                  <a:lnTo>
                    <a:pt x="674" y="994"/>
                  </a:lnTo>
                  <a:lnTo>
                    <a:pt x="670" y="996"/>
                  </a:lnTo>
                  <a:lnTo>
                    <a:pt x="668" y="999"/>
                  </a:lnTo>
                  <a:lnTo>
                    <a:pt x="664" y="999"/>
                  </a:lnTo>
                  <a:lnTo>
                    <a:pt x="659"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3">
              <a:extLst>
                <a:ext uri="{FF2B5EF4-FFF2-40B4-BE49-F238E27FC236}">
                  <a16:creationId xmlns:a16="http://schemas.microsoft.com/office/drawing/2014/main" id="{D19858FA-AC5D-4442-99E4-34F3800B7C14}"/>
                </a:ext>
              </a:extLst>
            </p:cNvPr>
            <p:cNvSpPr>
              <a:spLocks/>
            </p:cNvSpPr>
            <p:nvPr/>
          </p:nvSpPr>
          <p:spPr bwMode="auto">
            <a:xfrm>
              <a:off x="9428012" y="1701542"/>
              <a:ext cx="123612" cy="123614"/>
            </a:xfrm>
            <a:custGeom>
              <a:avLst/>
              <a:gdLst>
                <a:gd name="T0" fmla="*/ 180 w 200"/>
                <a:gd name="T1" fmla="*/ 200 h 200"/>
                <a:gd name="T2" fmla="*/ 19 w 200"/>
                <a:gd name="T3" fmla="*/ 200 h 200"/>
                <a:gd name="T4" fmla="*/ 16 w 200"/>
                <a:gd name="T5" fmla="*/ 200 h 200"/>
                <a:gd name="T6" fmla="*/ 12 w 200"/>
                <a:gd name="T7" fmla="*/ 199 h 200"/>
                <a:gd name="T8" fmla="*/ 8 w 200"/>
                <a:gd name="T9" fmla="*/ 196 h 200"/>
                <a:gd name="T10" fmla="*/ 6 w 200"/>
                <a:gd name="T11" fmla="*/ 194 h 200"/>
                <a:gd name="T12" fmla="*/ 3 w 200"/>
                <a:gd name="T13" fmla="*/ 191 h 200"/>
                <a:gd name="T14" fmla="*/ 1 w 200"/>
                <a:gd name="T15" fmla="*/ 188 h 200"/>
                <a:gd name="T16" fmla="*/ 1 w 200"/>
                <a:gd name="T17" fmla="*/ 184 h 200"/>
                <a:gd name="T18" fmla="*/ 0 w 200"/>
                <a:gd name="T19" fmla="*/ 180 h 200"/>
                <a:gd name="T20" fmla="*/ 1 w 200"/>
                <a:gd name="T21" fmla="*/ 176 h 200"/>
                <a:gd name="T22" fmla="*/ 1 w 200"/>
                <a:gd name="T23" fmla="*/ 173 h 200"/>
                <a:gd name="T24" fmla="*/ 3 w 200"/>
                <a:gd name="T25" fmla="*/ 169 h 200"/>
                <a:gd name="T26" fmla="*/ 6 w 200"/>
                <a:gd name="T27" fmla="*/ 165 h 200"/>
                <a:gd name="T28" fmla="*/ 8 w 200"/>
                <a:gd name="T29" fmla="*/ 164 h 200"/>
                <a:gd name="T30" fmla="*/ 12 w 200"/>
                <a:gd name="T31" fmla="*/ 162 h 200"/>
                <a:gd name="T32" fmla="*/ 16 w 200"/>
                <a:gd name="T33" fmla="*/ 160 h 200"/>
                <a:gd name="T34" fmla="*/ 19 w 200"/>
                <a:gd name="T35" fmla="*/ 160 h 200"/>
                <a:gd name="T36" fmla="*/ 160 w 200"/>
                <a:gd name="T37" fmla="*/ 160 h 200"/>
                <a:gd name="T38" fmla="*/ 160 w 200"/>
                <a:gd name="T39" fmla="*/ 20 h 200"/>
                <a:gd name="T40" fmla="*/ 160 w 200"/>
                <a:gd name="T41" fmla="*/ 16 h 200"/>
                <a:gd name="T42" fmla="*/ 161 w 200"/>
                <a:gd name="T43" fmla="*/ 12 h 200"/>
                <a:gd name="T44" fmla="*/ 164 w 200"/>
                <a:gd name="T45" fmla="*/ 9 h 200"/>
                <a:gd name="T46" fmla="*/ 166 w 200"/>
                <a:gd name="T47" fmla="*/ 6 h 200"/>
                <a:gd name="T48" fmla="*/ 169 w 200"/>
                <a:gd name="T49" fmla="*/ 4 h 200"/>
                <a:gd name="T50" fmla="*/ 172 w 200"/>
                <a:gd name="T51" fmla="*/ 1 h 200"/>
                <a:gd name="T52" fmla="*/ 176 w 200"/>
                <a:gd name="T53" fmla="*/ 0 h 200"/>
                <a:gd name="T54" fmla="*/ 180 w 200"/>
                <a:gd name="T55" fmla="*/ 0 h 200"/>
                <a:gd name="T56" fmla="*/ 183 w 200"/>
                <a:gd name="T57" fmla="*/ 0 h 200"/>
                <a:gd name="T58" fmla="*/ 187 w 200"/>
                <a:gd name="T59" fmla="*/ 1 h 200"/>
                <a:gd name="T60" fmla="*/ 191 w 200"/>
                <a:gd name="T61" fmla="*/ 4 h 200"/>
                <a:gd name="T62" fmla="*/ 193 w 200"/>
                <a:gd name="T63" fmla="*/ 6 h 200"/>
                <a:gd name="T64" fmla="*/ 196 w 200"/>
                <a:gd name="T65" fmla="*/ 9 h 200"/>
                <a:gd name="T66" fmla="*/ 198 w 200"/>
                <a:gd name="T67" fmla="*/ 12 h 200"/>
                <a:gd name="T68" fmla="*/ 200 w 200"/>
                <a:gd name="T69" fmla="*/ 16 h 200"/>
                <a:gd name="T70" fmla="*/ 200 w 200"/>
                <a:gd name="T71" fmla="*/ 20 h 200"/>
                <a:gd name="T72" fmla="*/ 200 w 200"/>
                <a:gd name="T73" fmla="*/ 180 h 200"/>
                <a:gd name="T74" fmla="*/ 200 w 200"/>
                <a:gd name="T75" fmla="*/ 184 h 200"/>
                <a:gd name="T76" fmla="*/ 198 w 200"/>
                <a:gd name="T77" fmla="*/ 188 h 200"/>
                <a:gd name="T78" fmla="*/ 196 w 200"/>
                <a:gd name="T79" fmla="*/ 191 h 200"/>
                <a:gd name="T80" fmla="*/ 193 w 200"/>
                <a:gd name="T81" fmla="*/ 194 h 200"/>
                <a:gd name="T82" fmla="*/ 191 w 200"/>
                <a:gd name="T83" fmla="*/ 196 h 200"/>
                <a:gd name="T84" fmla="*/ 187 w 200"/>
                <a:gd name="T85" fmla="*/ 199 h 200"/>
                <a:gd name="T86" fmla="*/ 183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19" y="200"/>
                  </a:lnTo>
                  <a:lnTo>
                    <a:pt x="16" y="200"/>
                  </a:lnTo>
                  <a:lnTo>
                    <a:pt x="12" y="199"/>
                  </a:lnTo>
                  <a:lnTo>
                    <a:pt x="8" y="196"/>
                  </a:lnTo>
                  <a:lnTo>
                    <a:pt x="6" y="194"/>
                  </a:lnTo>
                  <a:lnTo>
                    <a:pt x="3" y="191"/>
                  </a:lnTo>
                  <a:lnTo>
                    <a:pt x="1" y="188"/>
                  </a:lnTo>
                  <a:lnTo>
                    <a:pt x="1" y="184"/>
                  </a:lnTo>
                  <a:lnTo>
                    <a:pt x="0" y="180"/>
                  </a:lnTo>
                  <a:lnTo>
                    <a:pt x="1" y="176"/>
                  </a:lnTo>
                  <a:lnTo>
                    <a:pt x="1" y="173"/>
                  </a:lnTo>
                  <a:lnTo>
                    <a:pt x="3" y="169"/>
                  </a:lnTo>
                  <a:lnTo>
                    <a:pt x="6" y="165"/>
                  </a:lnTo>
                  <a:lnTo>
                    <a:pt x="8" y="164"/>
                  </a:lnTo>
                  <a:lnTo>
                    <a:pt x="12" y="162"/>
                  </a:lnTo>
                  <a:lnTo>
                    <a:pt x="16" y="160"/>
                  </a:lnTo>
                  <a:lnTo>
                    <a:pt x="19" y="160"/>
                  </a:lnTo>
                  <a:lnTo>
                    <a:pt x="160" y="160"/>
                  </a:lnTo>
                  <a:lnTo>
                    <a:pt x="160" y="20"/>
                  </a:lnTo>
                  <a:lnTo>
                    <a:pt x="160" y="16"/>
                  </a:lnTo>
                  <a:lnTo>
                    <a:pt x="161" y="12"/>
                  </a:lnTo>
                  <a:lnTo>
                    <a:pt x="164" y="9"/>
                  </a:lnTo>
                  <a:lnTo>
                    <a:pt x="166" y="6"/>
                  </a:lnTo>
                  <a:lnTo>
                    <a:pt x="169" y="4"/>
                  </a:lnTo>
                  <a:lnTo>
                    <a:pt x="172" y="1"/>
                  </a:lnTo>
                  <a:lnTo>
                    <a:pt x="176" y="0"/>
                  </a:lnTo>
                  <a:lnTo>
                    <a:pt x="180" y="0"/>
                  </a:lnTo>
                  <a:lnTo>
                    <a:pt x="183" y="0"/>
                  </a:lnTo>
                  <a:lnTo>
                    <a:pt x="187" y="1"/>
                  </a:lnTo>
                  <a:lnTo>
                    <a:pt x="191" y="4"/>
                  </a:lnTo>
                  <a:lnTo>
                    <a:pt x="193" y="6"/>
                  </a:lnTo>
                  <a:lnTo>
                    <a:pt x="196" y="9"/>
                  </a:lnTo>
                  <a:lnTo>
                    <a:pt x="198" y="12"/>
                  </a:lnTo>
                  <a:lnTo>
                    <a:pt x="200" y="16"/>
                  </a:lnTo>
                  <a:lnTo>
                    <a:pt x="200" y="20"/>
                  </a:lnTo>
                  <a:lnTo>
                    <a:pt x="200" y="180"/>
                  </a:lnTo>
                  <a:lnTo>
                    <a:pt x="200" y="184"/>
                  </a:lnTo>
                  <a:lnTo>
                    <a:pt x="198" y="188"/>
                  </a:lnTo>
                  <a:lnTo>
                    <a:pt x="196" y="191"/>
                  </a:lnTo>
                  <a:lnTo>
                    <a:pt x="193" y="194"/>
                  </a:lnTo>
                  <a:lnTo>
                    <a:pt x="191" y="196"/>
                  </a:lnTo>
                  <a:lnTo>
                    <a:pt x="187" y="199"/>
                  </a:lnTo>
                  <a:lnTo>
                    <a:pt x="183"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61">
              <a:extLst>
                <a:ext uri="{FF2B5EF4-FFF2-40B4-BE49-F238E27FC236}">
                  <a16:creationId xmlns:a16="http://schemas.microsoft.com/office/drawing/2014/main" id="{F93EBAF7-190D-4251-B03F-BAB14D97CA1E}"/>
                </a:ext>
              </a:extLst>
            </p:cNvPr>
            <p:cNvSpPr>
              <a:spLocks noEditPoints="1"/>
            </p:cNvSpPr>
            <p:nvPr/>
          </p:nvSpPr>
          <p:spPr bwMode="auto">
            <a:xfrm>
              <a:off x="9501818" y="1898953"/>
              <a:ext cx="271210" cy="269365"/>
            </a:xfrm>
            <a:custGeom>
              <a:avLst/>
              <a:gdLst>
                <a:gd name="T0" fmla="*/ 184 w 440"/>
                <a:gd name="T1" fmla="*/ 43 h 439"/>
                <a:gd name="T2" fmla="*/ 134 w 440"/>
                <a:gd name="T3" fmla="*/ 60 h 439"/>
                <a:gd name="T4" fmla="*/ 92 w 440"/>
                <a:gd name="T5" fmla="*/ 91 h 439"/>
                <a:gd name="T6" fmla="*/ 61 w 440"/>
                <a:gd name="T7" fmla="*/ 134 h 439"/>
                <a:gd name="T8" fmla="*/ 44 w 440"/>
                <a:gd name="T9" fmla="*/ 182 h 439"/>
                <a:gd name="T10" fmla="*/ 41 w 440"/>
                <a:gd name="T11" fmla="*/ 237 h 439"/>
                <a:gd name="T12" fmla="*/ 53 w 440"/>
                <a:gd name="T13" fmla="*/ 289 h 439"/>
                <a:gd name="T14" fmla="*/ 81 w 440"/>
                <a:gd name="T15" fmla="*/ 334 h 439"/>
                <a:gd name="T16" fmla="*/ 119 w 440"/>
                <a:gd name="T17" fmla="*/ 369 h 439"/>
                <a:gd name="T18" fmla="*/ 167 w 440"/>
                <a:gd name="T19" fmla="*/ 391 h 439"/>
                <a:gd name="T20" fmla="*/ 220 w 440"/>
                <a:gd name="T21" fmla="*/ 398 h 439"/>
                <a:gd name="T22" fmla="*/ 273 w 440"/>
                <a:gd name="T23" fmla="*/ 391 h 439"/>
                <a:gd name="T24" fmla="*/ 321 w 440"/>
                <a:gd name="T25" fmla="*/ 369 h 439"/>
                <a:gd name="T26" fmla="*/ 359 w 440"/>
                <a:gd name="T27" fmla="*/ 334 h 439"/>
                <a:gd name="T28" fmla="*/ 385 w 440"/>
                <a:gd name="T29" fmla="*/ 289 h 439"/>
                <a:gd name="T30" fmla="*/ 399 w 440"/>
                <a:gd name="T31" fmla="*/ 237 h 439"/>
                <a:gd name="T32" fmla="*/ 396 w 440"/>
                <a:gd name="T33" fmla="*/ 182 h 439"/>
                <a:gd name="T34" fmla="*/ 378 w 440"/>
                <a:gd name="T35" fmla="*/ 134 h 439"/>
                <a:gd name="T36" fmla="*/ 347 w 440"/>
                <a:gd name="T37" fmla="*/ 91 h 439"/>
                <a:gd name="T38" fmla="*/ 306 w 440"/>
                <a:gd name="T39" fmla="*/ 60 h 439"/>
                <a:gd name="T40" fmla="*/ 256 w 440"/>
                <a:gd name="T41" fmla="*/ 43 h 439"/>
                <a:gd name="T42" fmla="*/ 220 w 440"/>
                <a:gd name="T43" fmla="*/ 439 h 439"/>
                <a:gd name="T44" fmla="*/ 154 w 440"/>
                <a:gd name="T45" fmla="*/ 429 h 439"/>
                <a:gd name="T46" fmla="*/ 97 w 440"/>
                <a:gd name="T47" fmla="*/ 401 h 439"/>
                <a:gd name="T48" fmla="*/ 50 w 440"/>
                <a:gd name="T49" fmla="*/ 359 h 439"/>
                <a:gd name="T50" fmla="*/ 17 w 440"/>
                <a:gd name="T51" fmla="*/ 304 h 439"/>
                <a:gd name="T52" fmla="*/ 1 w 440"/>
                <a:gd name="T53" fmla="*/ 242 h 439"/>
                <a:gd name="T54" fmla="*/ 4 w 440"/>
                <a:gd name="T55" fmla="*/ 175 h 439"/>
                <a:gd name="T56" fmla="*/ 26 w 440"/>
                <a:gd name="T57" fmla="*/ 114 h 439"/>
                <a:gd name="T58" fmla="*/ 65 w 440"/>
                <a:gd name="T59" fmla="*/ 63 h 439"/>
                <a:gd name="T60" fmla="*/ 116 w 440"/>
                <a:gd name="T61" fmla="*/ 26 h 439"/>
                <a:gd name="T62" fmla="*/ 175 w 440"/>
                <a:gd name="T63" fmla="*/ 3 h 439"/>
                <a:gd name="T64" fmla="*/ 242 w 440"/>
                <a:gd name="T65" fmla="*/ 0 h 439"/>
                <a:gd name="T66" fmla="*/ 306 w 440"/>
                <a:gd name="T67" fmla="*/ 16 h 439"/>
                <a:gd name="T68" fmla="*/ 359 w 440"/>
                <a:gd name="T69" fmla="*/ 49 h 439"/>
                <a:gd name="T70" fmla="*/ 402 w 440"/>
                <a:gd name="T71" fmla="*/ 96 h 439"/>
                <a:gd name="T72" fmla="*/ 430 w 440"/>
                <a:gd name="T73" fmla="*/ 154 h 439"/>
                <a:gd name="T74" fmla="*/ 440 w 440"/>
                <a:gd name="T75" fmla="*/ 219 h 439"/>
                <a:gd name="T76" fmla="*/ 430 w 440"/>
                <a:gd name="T77" fmla="*/ 284 h 439"/>
                <a:gd name="T78" fmla="*/ 402 w 440"/>
                <a:gd name="T79" fmla="*/ 342 h 439"/>
                <a:gd name="T80" fmla="*/ 359 w 440"/>
                <a:gd name="T81" fmla="*/ 388 h 439"/>
                <a:gd name="T82" fmla="*/ 306 w 440"/>
                <a:gd name="T83" fmla="*/ 422 h 439"/>
                <a:gd name="T84" fmla="*/ 242 w 440"/>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0" h="439">
                  <a:moveTo>
                    <a:pt x="220" y="39"/>
                  </a:moveTo>
                  <a:lnTo>
                    <a:pt x="201" y="39"/>
                  </a:lnTo>
                  <a:lnTo>
                    <a:pt x="184" y="43"/>
                  </a:lnTo>
                  <a:lnTo>
                    <a:pt x="167" y="47"/>
                  </a:lnTo>
                  <a:lnTo>
                    <a:pt x="150" y="53"/>
                  </a:lnTo>
                  <a:lnTo>
                    <a:pt x="134" y="60"/>
                  </a:lnTo>
                  <a:lnTo>
                    <a:pt x="119" y="70"/>
                  </a:lnTo>
                  <a:lnTo>
                    <a:pt x="106" y="80"/>
                  </a:lnTo>
                  <a:lnTo>
                    <a:pt x="92" y="91"/>
                  </a:lnTo>
                  <a:lnTo>
                    <a:pt x="81" y="105"/>
                  </a:lnTo>
                  <a:lnTo>
                    <a:pt x="71" y="119"/>
                  </a:lnTo>
                  <a:lnTo>
                    <a:pt x="61" y="134"/>
                  </a:lnTo>
                  <a:lnTo>
                    <a:pt x="53" y="149"/>
                  </a:lnTo>
                  <a:lnTo>
                    <a:pt x="49" y="166"/>
                  </a:lnTo>
                  <a:lnTo>
                    <a:pt x="44" y="182"/>
                  </a:lnTo>
                  <a:lnTo>
                    <a:pt x="41" y="201"/>
                  </a:lnTo>
                  <a:lnTo>
                    <a:pt x="40" y="219"/>
                  </a:lnTo>
                  <a:lnTo>
                    <a:pt x="41" y="237"/>
                  </a:lnTo>
                  <a:lnTo>
                    <a:pt x="44" y="255"/>
                  </a:lnTo>
                  <a:lnTo>
                    <a:pt x="49" y="273"/>
                  </a:lnTo>
                  <a:lnTo>
                    <a:pt x="53" y="289"/>
                  </a:lnTo>
                  <a:lnTo>
                    <a:pt x="61" y="305"/>
                  </a:lnTo>
                  <a:lnTo>
                    <a:pt x="71" y="320"/>
                  </a:lnTo>
                  <a:lnTo>
                    <a:pt x="81" y="334"/>
                  </a:lnTo>
                  <a:lnTo>
                    <a:pt x="92" y="346"/>
                  </a:lnTo>
                  <a:lnTo>
                    <a:pt x="106" y="357"/>
                  </a:lnTo>
                  <a:lnTo>
                    <a:pt x="119" y="369"/>
                  </a:lnTo>
                  <a:lnTo>
                    <a:pt x="134" y="377"/>
                  </a:lnTo>
                  <a:lnTo>
                    <a:pt x="150" y="385"/>
                  </a:lnTo>
                  <a:lnTo>
                    <a:pt x="167" y="391"/>
                  </a:lnTo>
                  <a:lnTo>
                    <a:pt x="184" y="396"/>
                  </a:lnTo>
                  <a:lnTo>
                    <a:pt x="201" y="398"/>
                  </a:lnTo>
                  <a:lnTo>
                    <a:pt x="220" y="398"/>
                  </a:lnTo>
                  <a:lnTo>
                    <a:pt x="239" y="398"/>
                  </a:lnTo>
                  <a:lnTo>
                    <a:pt x="256" y="396"/>
                  </a:lnTo>
                  <a:lnTo>
                    <a:pt x="273" y="391"/>
                  </a:lnTo>
                  <a:lnTo>
                    <a:pt x="289" y="385"/>
                  </a:lnTo>
                  <a:lnTo>
                    <a:pt x="306" y="377"/>
                  </a:lnTo>
                  <a:lnTo>
                    <a:pt x="321" y="369"/>
                  </a:lnTo>
                  <a:lnTo>
                    <a:pt x="334" y="357"/>
                  </a:lnTo>
                  <a:lnTo>
                    <a:pt x="347" y="346"/>
                  </a:lnTo>
                  <a:lnTo>
                    <a:pt x="359" y="334"/>
                  </a:lnTo>
                  <a:lnTo>
                    <a:pt x="369" y="320"/>
                  </a:lnTo>
                  <a:lnTo>
                    <a:pt x="378" y="305"/>
                  </a:lnTo>
                  <a:lnTo>
                    <a:pt x="385" y="289"/>
                  </a:lnTo>
                  <a:lnTo>
                    <a:pt x="391" y="273"/>
                  </a:lnTo>
                  <a:lnTo>
                    <a:pt x="396" y="255"/>
                  </a:lnTo>
                  <a:lnTo>
                    <a:pt x="399" y="237"/>
                  </a:lnTo>
                  <a:lnTo>
                    <a:pt x="400" y="219"/>
                  </a:lnTo>
                  <a:lnTo>
                    <a:pt x="399" y="201"/>
                  </a:lnTo>
                  <a:lnTo>
                    <a:pt x="396" y="182"/>
                  </a:lnTo>
                  <a:lnTo>
                    <a:pt x="391" y="166"/>
                  </a:lnTo>
                  <a:lnTo>
                    <a:pt x="385" y="149"/>
                  </a:lnTo>
                  <a:lnTo>
                    <a:pt x="378" y="134"/>
                  </a:lnTo>
                  <a:lnTo>
                    <a:pt x="369" y="119"/>
                  </a:lnTo>
                  <a:lnTo>
                    <a:pt x="359" y="105"/>
                  </a:lnTo>
                  <a:lnTo>
                    <a:pt x="347" y="91"/>
                  </a:lnTo>
                  <a:lnTo>
                    <a:pt x="334" y="80"/>
                  </a:lnTo>
                  <a:lnTo>
                    <a:pt x="321" y="70"/>
                  </a:lnTo>
                  <a:lnTo>
                    <a:pt x="306" y="60"/>
                  </a:lnTo>
                  <a:lnTo>
                    <a:pt x="289" y="53"/>
                  </a:lnTo>
                  <a:lnTo>
                    <a:pt x="273" y="47"/>
                  </a:lnTo>
                  <a:lnTo>
                    <a:pt x="256" y="43"/>
                  </a:lnTo>
                  <a:lnTo>
                    <a:pt x="239" y="39"/>
                  </a:lnTo>
                  <a:lnTo>
                    <a:pt x="220" y="39"/>
                  </a:lnTo>
                  <a:close/>
                  <a:moveTo>
                    <a:pt x="220" y="439"/>
                  </a:moveTo>
                  <a:lnTo>
                    <a:pt x="198" y="438"/>
                  </a:lnTo>
                  <a:lnTo>
                    <a:pt x="175" y="434"/>
                  </a:lnTo>
                  <a:lnTo>
                    <a:pt x="154" y="429"/>
                  </a:lnTo>
                  <a:lnTo>
                    <a:pt x="134" y="422"/>
                  </a:lnTo>
                  <a:lnTo>
                    <a:pt x="116" y="412"/>
                  </a:lnTo>
                  <a:lnTo>
                    <a:pt x="97" y="401"/>
                  </a:lnTo>
                  <a:lnTo>
                    <a:pt x="80" y="388"/>
                  </a:lnTo>
                  <a:lnTo>
                    <a:pt x="65" y="375"/>
                  </a:lnTo>
                  <a:lnTo>
                    <a:pt x="50"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50" y="79"/>
                  </a:lnTo>
                  <a:lnTo>
                    <a:pt x="65" y="63"/>
                  </a:lnTo>
                  <a:lnTo>
                    <a:pt x="80" y="49"/>
                  </a:lnTo>
                  <a:lnTo>
                    <a:pt x="97" y="37"/>
                  </a:lnTo>
                  <a:lnTo>
                    <a:pt x="116" y="26"/>
                  </a:lnTo>
                  <a:lnTo>
                    <a:pt x="134" y="16"/>
                  </a:lnTo>
                  <a:lnTo>
                    <a:pt x="154" y="9"/>
                  </a:lnTo>
                  <a:lnTo>
                    <a:pt x="175" y="3"/>
                  </a:lnTo>
                  <a:lnTo>
                    <a:pt x="198" y="0"/>
                  </a:lnTo>
                  <a:lnTo>
                    <a:pt x="220" y="0"/>
                  </a:lnTo>
                  <a:lnTo>
                    <a:pt x="242" y="0"/>
                  </a:lnTo>
                  <a:lnTo>
                    <a:pt x="263" y="3"/>
                  </a:lnTo>
                  <a:lnTo>
                    <a:pt x="284" y="9"/>
                  </a:lnTo>
                  <a:lnTo>
                    <a:pt x="306" y="16"/>
                  </a:lnTo>
                  <a:lnTo>
                    <a:pt x="324" y="26"/>
                  </a:lnTo>
                  <a:lnTo>
                    <a:pt x="343" y="37"/>
                  </a:lnTo>
                  <a:lnTo>
                    <a:pt x="359" y="49"/>
                  </a:lnTo>
                  <a:lnTo>
                    <a:pt x="375" y="63"/>
                  </a:lnTo>
                  <a:lnTo>
                    <a:pt x="389" y="79"/>
                  </a:lnTo>
                  <a:lnTo>
                    <a:pt x="402" y="96"/>
                  </a:lnTo>
                  <a:lnTo>
                    <a:pt x="414" y="114"/>
                  </a:lnTo>
                  <a:lnTo>
                    <a:pt x="422" y="134"/>
                  </a:lnTo>
                  <a:lnTo>
                    <a:pt x="430" y="154"/>
                  </a:lnTo>
                  <a:lnTo>
                    <a:pt x="435" y="175"/>
                  </a:lnTo>
                  <a:lnTo>
                    <a:pt x="439" y="197"/>
                  </a:lnTo>
                  <a:lnTo>
                    <a:pt x="440" y="219"/>
                  </a:lnTo>
                  <a:lnTo>
                    <a:pt x="439" y="242"/>
                  </a:lnTo>
                  <a:lnTo>
                    <a:pt x="435" y="263"/>
                  </a:lnTo>
                  <a:lnTo>
                    <a:pt x="430" y="284"/>
                  </a:lnTo>
                  <a:lnTo>
                    <a:pt x="422" y="304"/>
                  </a:lnTo>
                  <a:lnTo>
                    <a:pt x="414" y="324"/>
                  </a:lnTo>
                  <a:lnTo>
                    <a:pt x="402" y="342"/>
                  </a:lnTo>
                  <a:lnTo>
                    <a:pt x="389" y="359"/>
                  </a:lnTo>
                  <a:lnTo>
                    <a:pt x="375" y="375"/>
                  </a:lnTo>
                  <a:lnTo>
                    <a:pt x="359" y="388"/>
                  </a:lnTo>
                  <a:lnTo>
                    <a:pt x="343" y="401"/>
                  </a:lnTo>
                  <a:lnTo>
                    <a:pt x="324" y="412"/>
                  </a:lnTo>
                  <a:lnTo>
                    <a:pt x="306"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62">
              <a:extLst>
                <a:ext uri="{FF2B5EF4-FFF2-40B4-BE49-F238E27FC236}">
                  <a16:creationId xmlns:a16="http://schemas.microsoft.com/office/drawing/2014/main" id="{BB7553BB-5C9B-480A-BFBA-1C282E15D972}"/>
                </a:ext>
              </a:extLst>
            </p:cNvPr>
            <p:cNvSpPr>
              <a:spLocks/>
            </p:cNvSpPr>
            <p:nvPr/>
          </p:nvSpPr>
          <p:spPr bwMode="auto">
            <a:xfrm>
              <a:off x="9575610" y="1983821"/>
              <a:ext cx="110698" cy="110698"/>
            </a:xfrm>
            <a:custGeom>
              <a:avLst/>
              <a:gdLst>
                <a:gd name="T0" fmla="*/ 20 w 180"/>
                <a:gd name="T1" fmla="*/ 180 h 180"/>
                <a:gd name="T2" fmla="*/ 16 w 180"/>
                <a:gd name="T3" fmla="*/ 180 h 180"/>
                <a:gd name="T4" fmla="*/ 13 w 180"/>
                <a:gd name="T5" fmla="*/ 179 h 180"/>
                <a:gd name="T6" fmla="*/ 10 w 180"/>
                <a:gd name="T7" fmla="*/ 176 h 180"/>
                <a:gd name="T8" fmla="*/ 7 w 180"/>
                <a:gd name="T9" fmla="*/ 174 h 180"/>
                <a:gd name="T10" fmla="*/ 4 w 180"/>
                <a:gd name="T11" fmla="*/ 171 h 180"/>
                <a:gd name="T12" fmla="*/ 3 w 180"/>
                <a:gd name="T13" fmla="*/ 167 h 180"/>
                <a:gd name="T14" fmla="*/ 2 w 180"/>
                <a:gd name="T15" fmla="*/ 164 h 180"/>
                <a:gd name="T16" fmla="*/ 0 w 180"/>
                <a:gd name="T17" fmla="*/ 160 h 180"/>
                <a:gd name="T18" fmla="*/ 2 w 180"/>
                <a:gd name="T19" fmla="*/ 156 h 180"/>
                <a:gd name="T20" fmla="*/ 3 w 180"/>
                <a:gd name="T21" fmla="*/ 152 h 180"/>
                <a:gd name="T22" fmla="*/ 4 w 180"/>
                <a:gd name="T23" fmla="*/ 149 h 180"/>
                <a:gd name="T24" fmla="*/ 7 w 180"/>
                <a:gd name="T25" fmla="*/ 146 h 180"/>
                <a:gd name="T26" fmla="*/ 147 w 180"/>
                <a:gd name="T27" fmla="*/ 6 h 180"/>
                <a:gd name="T28" fmla="*/ 149 w 180"/>
                <a:gd name="T29" fmla="*/ 3 h 180"/>
                <a:gd name="T30" fmla="*/ 153 w 180"/>
                <a:gd name="T31" fmla="*/ 1 h 180"/>
                <a:gd name="T32" fmla="*/ 157 w 180"/>
                <a:gd name="T33" fmla="*/ 1 h 180"/>
                <a:gd name="T34" fmla="*/ 161 w 180"/>
                <a:gd name="T35" fmla="*/ 0 h 180"/>
                <a:gd name="T36" fmla="*/ 164 w 180"/>
                <a:gd name="T37" fmla="*/ 1 h 180"/>
                <a:gd name="T38" fmla="*/ 168 w 180"/>
                <a:gd name="T39" fmla="*/ 1 h 180"/>
                <a:gd name="T40" fmla="*/ 172 w 180"/>
                <a:gd name="T41" fmla="*/ 3 h 180"/>
                <a:gd name="T42" fmla="*/ 175 w 180"/>
                <a:gd name="T43" fmla="*/ 6 h 180"/>
                <a:gd name="T44" fmla="*/ 178 w 180"/>
                <a:gd name="T45" fmla="*/ 8 h 180"/>
                <a:gd name="T46" fmla="*/ 179 w 180"/>
                <a:gd name="T47" fmla="*/ 12 h 180"/>
                <a:gd name="T48" fmla="*/ 180 w 180"/>
                <a:gd name="T49" fmla="*/ 16 h 180"/>
                <a:gd name="T50" fmla="*/ 180 w 180"/>
                <a:gd name="T51" fmla="*/ 20 h 180"/>
                <a:gd name="T52" fmla="*/ 180 w 180"/>
                <a:gd name="T53" fmla="*/ 23 h 180"/>
                <a:gd name="T54" fmla="*/ 179 w 180"/>
                <a:gd name="T55" fmla="*/ 27 h 180"/>
                <a:gd name="T56" fmla="*/ 178 w 180"/>
                <a:gd name="T57" fmla="*/ 31 h 180"/>
                <a:gd name="T58" fmla="*/ 175 w 180"/>
                <a:gd name="T59" fmla="*/ 34 h 180"/>
                <a:gd name="T60" fmla="*/ 35 w 180"/>
                <a:gd name="T61" fmla="*/ 174 h 180"/>
                <a:gd name="T62" fmla="*/ 31 w 180"/>
                <a:gd name="T63" fmla="*/ 176 h 180"/>
                <a:gd name="T64" fmla="*/ 29 w 180"/>
                <a:gd name="T65" fmla="*/ 179 h 180"/>
                <a:gd name="T66" fmla="*/ 25 w 180"/>
                <a:gd name="T67" fmla="*/ 180 h 180"/>
                <a:gd name="T68" fmla="*/ 20 w 18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20" y="180"/>
                  </a:moveTo>
                  <a:lnTo>
                    <a:pt x="16" y="180"/>
                  </a:lnTo>
                  <a:lnTo>
                    <a:pt x="13" y="179"/>
                  </a:lnTo>
                  <a:lnTo>
                    <a:pt x="10" y="176"/>
                  </a:lnTo>
                  <a:lnTo>
                    <a:pt x="7" y="174"/>
                  </a:lnTo>
                  <a:lnTo>
                    <a:pt x="4" y="171"/>
                  </a:lnTo>
                  <a:lnTo>
                    <a:pt x="3" y="167"/>
                  </a:lnTo>
                  <a:lnTo>
                    <a:pt x="2" y="164"/>
                  </a:lnTo>
                  <a:lnTo>
                    <a:pt x="0" y="160"/>
                  </a:lnTo>
                  <a:lnTo>
                    <a:pt x="2" y="156"/>
                  </a:lnTo>
                  <a:lnTo>
                    <a:pt x="3" y="152"/>
                  </a:lnTo>
                  <a:lnTo>
                    <a:pt x="4" y="149"/>
                  </a:lnTo>
                  <a:lnTo>
                    <a:pt x="7" y="146"/>
                  </a:lnTo>
                  <a:lnTo>
                    <a:pt x="147" y="6"/>
                  </a:lnTo>
                  <a:lnTo>
                    <a:pt x="149" y="3"/>
                  </a:lnTo>
                  <a:lnTo>
                    <a:pt x="153" y="1"/>
                  </a:lnTo>
                  <a:lnTo>
                    <a:pt x="157" y="1"/>
                  </a:lnTo>
                  <a:lnTo>
                    <a:pt x="161" y="0"/>
                  </a:lnTo>
                  <a:lnTo>
                    <a:pt x="164" y="1"/>
                  </a:lnTo>
                  <a:lnTo>
                    <a:pt x="168" y="1"/>
                  </a:lnTo>
                  <a:lnTo>
                    <a:pt x="172" y="3"/>
                  </a:lnTo>
                  <a:lnTo>
                    <a:pt x="175" y="6"/>
                  </a:lnTo>
                  <a:lnTo>
                    <a:pt x="178" y="8"/>
                  </a:lnTo>
                  <a:lnTo>
                    <a:pt x="179" y="12"/>
                  </a:lnTo>
                  <a:lnTo>
                    <a:pt x="180" y="16"/>
                  </a:lnTo>
                  <a:lnTo>
                    <a:pt x="180" y="20"/>
                  </a:lnTo>
                  <a:lnTo>
                    <a:pt x="180" y="23"/>
                  </a:lnTo>
                  <a:lnTo>
                    <a:pt x="179" y="27"/>
                  </a:lnTo>
                  <a:lnTo>
                    <a:pt x="178" y="31"/>
                  </a:lnTo>
                  <a:lnTo>
                    <a:pt x="175" y="34"/>
                  </a:lnTo>
                  <a:lnTo>
                    <a:pt x="35" y="174"/>
                  </a:lnTo>
                  <a:lnTo>
                    <a:pt x="31" y="176"/>
                  </a:lnTo>
                  <a:lnTo>
                    <a:pt x="29" y="179"/>
                  </a:lnTo>
                  <a:lnTo>
                    <a:pt x="25" y="180"/>
                  </a:lnTo>
                  <a:lnTo>
                    <a:pt x="2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63">
              <a:extLst>
                <a:ext uri="{FF2B5EF4-FFF2-40B4-BE49-F238E27FC236}">
                  <a16:creationId xmlns:a16="http://schemas.microsoft.com/office/drawing/2014/main" id="{01DAC39E-9067-4DFA-9D33-720403FF3FF7}"/>
                </a:ext>
              </a:extLst>
            </p:cNvPr>
            <p:cNvSpPr>
              <a:spLocks/>
            </p:cNvSpPr>
            <p:nvPr/>
          </p:nvSpPr>
          <p:spPr bwMode="auto">
            <a:xfrm>
              <a:off x="9575610" y="1983821"/>
              <a:ext cx="110699" cy="110699"/>
            </a:xfrm>
            <a:custGeom>
              <a:avLst/>
              <a:gdLst>
                <a:gd name="T0" fmla="*/ 161 w 180"/>
                <a:gd name="T1" fmla="*/ 180 h 180"/>
                <a:gd name="T2" fmla="*/ 157 w 180"/>
                <a:gd name="T3" fmla="*/ 180 h 180"/>
                <a:gd name="T4" fmla="*/ 153 w 180"/>
                <a:gd name="T5" fmla="*/ 179 h 180"/>
                <a:gd name="T6" fmla="*/ 149 w 180"/>
                <a:gd name="T7" fmla="*/ 176 h 180"/>
                <a:gd name="T8" fmla="*/ 147 w 180"/>
                <a:gd name="T9" fmla="*/ 174 h 180"/>
                <a:gd name="T10" fmla="*/ 7 w 180"/>
                <a:gd name="T11" fmla="*/ 34 h 180"/>
                <a:gd name="T12" fmla="*/ 4 w 180"/>
                <a:gd name="T13" fmla="*/ 31 h 180"/>
                <a:gd name="T14" fmla="*/ 3 w 180"/>
                <a:gd name="T15" fmla="*/ 27 h 180"/>
                <a:gd name="T16" fmla="*/ 2 w 180"/>
                <a:gd name="T17" fmla="*/ 23 h 180"/>
                <a:gd name="T18" fmla="*/ 0 w 180"/>
                <a:gd name="T19" fmla="*/ 20 h 180"/>
                <a:gd name="T20" fmla="*/ 2 w 180"/>
                <a:gd name="T21" fmla="*/ 16 h 180"/>
                <a:gd name="T22" fmla="*/ 3 w 180"/>
                <a:gd name="T23" fmla="*/ 12 h 180"/>
                <a:gd name="T24" fmla="*/ 4 w 180"/>
                <a:gd name="T25" fmla="*/ 8 h 180"/>
                <a:gd name="T26" fmla="*/ 7 w 180"/>
                <a:gd name="T27" fmla="*/ 6 h 180"/>
                <a:gd name="T28" fmla="*/ 10 w 180"/>
                <a:gd name="T29" fmla="*/ 3 h 180"/>
                <a:gd name="T30" fmla="*/ 13 w 180"/>
                <a:gd name="T31" fmla="*/ 1 h 180"/>
                <a:gd name="T32" fmla="*/ 16 w 180"/>
                <a:gd name="T33" fmla="*/ 1 h 180"/>
                <a:gd name="T34" fmla="*/ 20 w 180"/>
                <a:gd name="T35" fmla="*/ 0 h 180"/>
                <a:gd name="T36" fmla="*/ 25 w 180"/>
                <a:gd name="T37" fmla="*/ 1 h 180"/>
                <a:gd name="T38" fmla="*/ 29 w 180"/>
                <a:gd name="T39" fmla="*/ 1 h 180"/>
                <a:gd name="T40" fmla="*/ 31 w 180"/>
                <a:gd name="T41" fmla="*/ 3 h 180"/>
                <a:gd name="T42" fmla="*/ 35 w 180"/>
                <a:gd name="T43" fmla="*/ 6 h 180"/>
                <a:gd name="T44" fmla="*/ 175 w 180"/>
                <a:gd name="T45" fmla="*/ 146 h 180"/>
                <a:gd name="T46" fmla="*/ 178 w 180"/>
                <a:gd name="T47" fmla="*/ 149 h 180"/>
                <a:gd name="T48" fmla="*/ 179 w 180"/>
                <a:gd name="T49" fmla="*/ 152 h 180"/>
                <a:gd name="T50" fmla="*/ 180 w 180"/>
                <a:gd name="T51" fmla="*/ 156 h 180"/>
                <a:gd name="T52" fmla="*/ 180 w 180"/>
                <a:gd name="T53" fmla="*/ 160 h 180"/>
                <a:gd name="T54" fmla="*/ 180 w 180"/>
                <a:gd name="T55" fmla="*/ 164 h 180"/>
                <a:gd name="T56" fmla="*/ 179 w 180"/>
                <a:gd name="T57" fmla="*/ 167 h 180"/>
                <a:gd name="T58" fmla="*/ 178 w 180"/>
                <a:gd name="T59" fmla="*/ 171 h 180"/>
                <a:gd name="T60" fmla="*/ 175 w 180"/>
                <a:gd name="T61" fmla="*/ 174 h 180"/>
                <a:gd name="T62" fmla="*/ 172 w 180"/>
                <a:gd name="T63" fmla="*/ 176 h 180"/>
                <a:gd name="T64" fmla="*/ 168 w 180"/>
                <a:gd name="T65" fmla="*/ 179 h 180"/>
                <a:gd name="T66" fmla="*/ 164 w 180"/>
                <a:gd name="T67" fmla="*/ 180 h 180"/>
                <a:gd name="T68" fmla="*/ 161 w 18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161" y="180"/>
                  </a:moveTo>
                  <a:lnTo>
                    <a:pt x="157" y="180"/>
                  </a:lnTo>
                  <a:lnTo>
                    <a:pt x="153" y="179"/>
                  </a:lnTo>
                  <a:lnTo>
                    <a:pt x="149" y="176"/>
                  </a:lnTo>
                  <a:lnTo>
                    <a:pt x="147" y="174"/>
                  </a:lnTo>
                  <a:lnTo>
                    <a:pt x="7" y="34"/>
                  </a:lnTo>
                  <a:lnTo>
                    <a:pt x="4" y="31"/>
                  </a:lnTo>
                  <a:lnTo>
                    <a:pt x="3" y="27"/>
                  </a:lnTo>
                  <a:lnTo>
                    <a:pt x="2" y="23"/>
                  </a:lnTo>
                  <a:lnTo>
                    <a:pt x="0" y="20"/>
                  </a:lnTo>
                  <a:lnTo>
                    <a:pt x="2" y="16"/>
                  </a:lnTo>
                  <a:lnTo>
                    <a:pt x="3" y="12"/>
                  </a:lnTo>
                  <a:lnTo>
                    <a:pt x="4" y="8"/>
                  </a:lnTo>
                  <a:lnTo>
                    <a:pt x="7" y="6"/>
                  </a:lnTo>
                  <a:lnTo>
                    <a:pt x="10" y="3"/>
                  </a:lnTo>
                  <a:lnTo>
                    <a:pt x="13" y="1"/>
                  </a:lnTo>
                  <a:lnTo>
                    <a:pt x="16" y="1"/>
                  </a:lnTo>
                  <a:lnTo>
                    <a:pt x="20" y="0"/>
                  </a:lnTo>
                  <a:lnTo>
                    <a:pt x="25" y="1"/>
                  </a:lnTo>
                  <a:lnTo>
                    <a:pt x="29" y="1"/>
                  </a:lnTo>
                  <a:lnTo>
                    <a:pt x="31" y="3"/>
                  </a:lnTo>
                  <a:lnTo>
                    <a:pt x="35" y="6"/>
                  </a:lnTo>
                  <a:lnTo>
                    <a:pt x="175" y="146"/>
                  </a:lnTo>
                  <a:lnTo>
                    <a:pt x="178" y="149"/>
                  </a:lnTo>
                  <a:lnTo>
                    <a:pt x="179" y="152"/>
                  </a:lnTo>
                  <a:lnTo>
                    <a:pt x="180" y="156"/>
                  </a:lnTo>
                  <a:lnTo>
                    <a:pt x="180" y="160"/>
                  </a:lnTo>
                  <a:lnTo>
                    <a:pt x="180" y="164"/>
                  </a:lnTo>
                  <a:lnTo>
                    <a:pt x="179" y="167"/>
                  </a:lnTo>
                  <a:lnTo>
                    <a:pt x="178" y="171"/>
                  </a:lnTo>
                  <a:lnTo>
                    <a:pt x="175" y="174"/>
                  </a:lnTo>
                  <a:lnTo>
                    <a:pt x="172" y="176"/>
                  </a:lnTo>
                  <a:lnTo>
                    <a:pt x="168" y="179"/>
                  </a:lnTo>
                  <a:lnTo>
                    <a:pt x="164" y="180"/>
                  </a:lnTo>
                  <a:lnTo>
                    <a:pt x="16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0" name="Group 69">
            <a:extLst>
              <a:ext uri="{FF2B5EF4-FFF2-40B4-BE49-F238E27FC236}">
                <a16:creationId xmlns:a16="http://schemas.microsoft.com/office/drawing/2014/main" id="{BB72AF8C-B011-46C2-A3F1-262F4099717F}"/>
              </a:ext>
            </a:extLst>
          </p:cNvPr>
          <p:cNvGrpSpPr>
            <a:grpSpLocks noChangeAspect="1"/>
          </p:cNvGrpSpPr>
          <p:nvPr>
            <p:custDataLst>
              <p:tags r:id="rId2"/>
            </p:custDataLst>
          </p:nvPr>
        </p:nvGrpSpPr>
        <p:grpSpPr>
          <a:xfrm>
            <a:off x="1114270" y="3801969"/>
            <a:ext cx="210058" cy="308144"/>
            <a:chOff x="10213970" y="1701539"/>
            <a:chExt cx="418811" cy="614373"/>
          </a:xfrm>
          <a:solidFill>
            <a:schemeClr val="bg2"/>
          </a:solidFill>
          <a:effectLst/>
        </p:grpSpPr>
        <p:sp>
          <p:nvSpPr>
            <p:cNvPr id="731" name="Freeform 64">
              <a:extLst>
                <a:ext uri="{FF2B5EF4-FFF2-40B4-BE49-F238E27FC236}">
                  <a16:creationId xmlns:a16="http://schemas.microsoft.com/office/drawing/2014/main" id="{B8DF4C49-A40B-4BE2-86AF-88CFB20A4613}"/>
                </a:ext>
              </a:extLst>
            </p:cNvPr>
            <p:cNvSpPr>
              <a:spLocks noEditPoints="1"/>
            </p:cNvSpPr>
            <p:nvPr/>
          </p:nvSpPr>
          <p:spPr bwMode="auto">
            <a:xfrm>
              <a:off x="10213973" y="1701539"/>
              <a:ext cx="418808" cy="614373"/>
            </a:xfrm>
            <a:custGeom>
              <a:avLst/>
              <a:gdLst>
                <a:gd name="T0" fmla="*/ 41 w 680"/>
                <a:gd name="T1" fmla="*/ 960 h 1000"/>
                <a:gd name="T2" fmla="*/ 639 w 680"/>
                <a:gd name="T3" fmla="*/ 960 h 1000"/>
                <a:gd name="T4" fmla="*/ 639 w 680"/>
                <a:gd name="T5" fmla="*/ 40 h 1000"/>
                <a:gd name="T6" fmla="*/ 189 w 680"/>
                <a:gd name="T7" fmla="*/ 40 h 1000"/>
                <a:gd name="T8" fmla="*/ 41 w 680"/>
                <a:gd name="T9" fmla="*/ 189 h 1000"/>
                <a:gd name="T10" fmla="*/ 41 w 680"/>
                <a:gd name="T11" fmla="*/ 960 h 1000"/>
                <a:gd name="T12" fmla="*/ 661 w 680"/>
                <a:gd name="T13" fmla="*/ 1000 h 1000"/>
                <a:gd name="T14" fmla="*/ 20 w 680"/>
                <a:gd name="T15" fmla="*/ 1000 h 1000"/>
                <a:gd name="T16" fmla="*/ 16 w 680"/>
                <a:gd name="T17" fmla="*/ 999 h 1000"/>
                <a:gd name="T18" fmla="*/ 12 w 680"/>
                <a:gd name="T19" fmla="*/ 999 h 1000"/>
                <a:gd name="T20" fmla="*/ 9 w 680"/>
                <a:gd name="T21" fmla="*/ 996 h 1000"/>
                <a:gd name="T22" fmla="*/ 6 w 680"/>
                <a:gd name="T23" fmla="*/ 994 h 1000"/>
                <a:gd name="T24" fmla="*/ 4 w 680"/>
                <a:gd name="T25" fmla="*/ 991 h 1000"/>
                <a:gd name="T26" fmla="*/ 2 w 680"/>
                <a:gd name="T27" fmla="*/ 988 h 1000"/>
                <a:gd name="T28" fmla="*/ 1 w 680"/>
                <a:gd name="T29" fmla="*/ 984 h 1000"/>
                <a:gd name="T30" fmla="*/ 0 w 680"/>
                <a:gd name="T31" fmla="*/ 980 h 1000"/>
                <a:gd name="T32" fmla="*/ 0 w 680"/>
                <a:gd name="T33" fmla="*/ 180 h 1000"/>
                <a:gd name="T34" fmla="*/ 1 w 680"/>
                <a:gd name="T35" fmla="*/ 176 h 1000"/>
                <a:gd name="T36" fmla="*/ 2 w 680"/>
                <a:gd name="T37" fmla="*/ 173 h 1000"/>
                <a:gd name="T38" fmla="*/ 4 w 680"/>
                <a:gd name="T39" fmla="*/ 169 h 1000"/>
                <a:gd name="T40" fmla="*/ 6 w 680"/>
                <a:gd name="T41" fmla="*/ 165 h 1000"/>
                <a:gd name="T42" fmla="*/ 166 w 680"/>
                <a:gd name="T43" fmla="*/ 6 h 1000"/>
                <a:gd name="T44" fmla="*/ 169 w 680"/>
                <a:gd name="T45" fmla="*/ 4 h 1000"/>
                <a:gd name="T46" fmla="*/ 173 w 680"/>
                <a:gd name="T47" fmla="*/ 1 h 1000"/>
                <a:gd name="T48" fmla="*/ 176 w 680"/>
                <a:gd name="T49" fmla="*/ 0 h 1000"/>
                <a:gd name="T50" fmla="*/ 180 w 680"/>
                <a:gd name="T51" fmla="*/ 0 h 1000"/>
                <a:gd name="T52" fmla="*/ 661 w 680"/>
                <a:gd name="T53" fmla="*/ 0 h 1000"/>
                <a:gd name="T54" fmla="*/ 664 w 680"/>
                <a:gd name="T55" fmla="*/ 0 h 1000"/>
                <a:gd name="T56" fmla="*/ 668 w 680"/>
                <a:gd name="T57" fmla="*/ 1 h 1000"/>
                <a:gd name="T58" fmla="*/ 672 w 680"/>
                <a:gd name="T59" fmla="*/ 4 h 1000"/>
                <a:gd name="T60" fmla="*/ 674 w 680"/>
                <a:gd name="T61" fmla="*/ 6 h 1000"/>
                <a:gd name="T62" fmla="*/ 677 w 680"/>
                <a:gd name="T63" fmla="*/ 9 h 1000"/>
                <a:gd name="T64" fmla="*/ 678 w 680"/>
                <a:gd name="T65" fmla="*/ 12 h 1000"/>
                <a:gd name="T66" fmla="*/ 679 w 680"/>
                <a:gd name="T67" fmla="*/ 16 h 1000"/>
                <a:gd name="T68" fmla="*/ 680 w 680"/>
                <a:gd name="T69" fmla="*/ 20 h 1000"/>
                <a:gd name="T70" fmla="*/ 680 w 680"/>
                <a:gd name="T71" fmla="*/ 980 h 1000"/>
                <a:gd name="T72" fmla="*/ 679 w 680"/>
                <a:gd name="T73" fmla="*/ 984 h 1000"/>
                <a:gd name="T74" fmla="*/ 678 w 680"/>
                <a:gd name="T75" fmla="*/ 988 h 1000"/>
                <a:gd name="T76" fmla="*/ 677 w 680"/>
                <a:gd name="T77" fmla="*/ 991 h 1000"/>
                <a:gd name="T78" fmla="*/ 674 w 680"/>
                <a:gd name="T79" fmla="*/ 994 h 1000"/>
                <a:gd name="T80" fmla="*/ 672 w 680"/>
                <a:gd name="T81" fmla="*/ 996 h 1000"/>
                <a:gd name="T82" fmla="*/ 668 w 680"/>
                <a:gd name="T83" fmla="*/ 999 h 1000"/>
                <a:gd name="T84" fmla="*/ 664 w 680"/>
                <a:gd name="T85" fmla="*/ 999 h 1000"/>
                <a:gd name="T86" fmla="*/ 661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1" y="960"/>
                  </a:moveTo>
                  <a:lnTo>
                    <a:pt x="639" y="960"/>
                  </a:lnTo>
                  <a:lnTo>
                    <a:pt x="639" y="40"/>
                  </a:lnTo>
                  <a:lnTo>
                    <a:pt x="189" y="40"/>
                  </a:lnTo>
                  <a:lnTo>
                    <a:pt x="41" y="189"/>
                  </a:lnTo>
                  <a:lnTo>
                    <a:pt x="41" y="960"/>
                  </a:lnTo>
                  <a:close/>
                  <a:moveTo>
                    <a:pt x="661" y="1000"/>
                  </a:moveTo>
                  <a:lnTo>
                    <a:pt x="20" y="1000"/>
                  </a:lnTo>
                  <a:lnTo>
                    <a:pt x="16" y="999"/>
                  </a:lnTo>
                  <a:lnTo>
                    <a:pt x="12" y="999"/>
                  </a:lnTo>
                  <a:lnTo>
                    <a:pt x="9" y="996"/>
                  </a:lnTo>
                  <a:lnTo>
                    <a:pt x="6" y="994"/>
                  </a:lnTo>
                  <a:lnTo>
                    <a:pt x="4" y="991"/>
                  </a:lnTo>
                  <a:lnTo>
                    <a:pt x="2" y="988"/>
                  </a:lnTo>
                  <a:lnTo>
                    <a:pt x="1" y="984"/>
                  </a:lnTo>
                  <a:lnTo>
                    <a:pt x="0" y="980"/>
                  </a:lnTo>
                  <a:lnTo>
                    <a:pt x="0" y="180"/>
                  </a:lnTo>
                  <a:lnTo>
                    <a:pt x="1" y="176"/>
                  </a:lnTo>
                  <a:lnTo>
                    <a:pt x="2" y="173"/>
                  </a:lnTo>
                  <a:lnTo>
                    <a:pt x="4" y="169"/>
                  </a:lnTo>
                  <a:lnTo>
                    <a:pt x="6" y="165"/>
                  </a:lnTo>
                  <a:lnTo>
                    <a:pt x="166" y="6"/>
                  </a:lnTo>
                  <a:lnTo>
                    <a:pt x="169" y="4"/>
                  </a:lnTo>
                  <a:lnTo>
                    <a:pt x="173" y="1"/>
                  </a:lnTo>
                  <a:lnTo>
                    <a:pt x="176" y="0"/>
                  </a:lnTo>
                  <a:lnTo>
                    <a:pt x="180" y="0"/>
                  </a:lnTo>
                  <a:lnTo>
                    <a:pt x="661" y="0"/>
                  </a:lnTo>
                  <a:lnTo>
                    <a:pt x="664" y="0"/>
                  </a:lnTo>
                  <a:lnTo>
                    <a:pt x="668" y="1"/>
                  </a:lnTo>
                  <a:lnTo>
                    <a:pt x="672" y="4"/>
                  </a:lnTo>
                  <a:lnTo>
                    <a:pt x="674" y="6"/>
                  </a:lnTo>
                  <a:lnTo>
                    <a:pt x="677" y="9"/>
                  </a:lnTo>
                  <a:lnTo>
                    <a:pt x="678" y="12"/>
                  </a:lnTo>
                  <a:lnTo>
                    <a:pt x="679" y="16"/>
                  </a:lnTo>
                  <a:lnTo>
                    <a:pt x="680" y="20"/>
                  </a:lnTo>
                  <a:lnTo>
                    <a:pt x="680" y="980"/>
                  </a:lnTo>
                  <a:lnTo>
                    <a:pt x="679" y="984"/>
                  </a:lnTo>
                  <a:lnTo>
                    <a:pt x="678" y="988"/>
                  </a:lnTo>
                  <a:lnTo>
                    <a:pt x="677" y="991"/>
                  </a:lnTo>
                  <a:lnTo>
                    <a:pt x="674" y="994"/>
                  </a:lnTo>
                  <a:lnTo>
                    <a:pt x="672" y="996"/>
                  </a:lnTo>
                  <a:lnTo>
                    <a:pt x="668" y="999"/>
                  </a:lnTo>
                  <a:lnTo>
                    <a:pt x="664" y="999"/>
                  </a:lnTo>
                  <a:lnTo>
                    <a:pt x="661"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65">
              <a:extLst>
                <a:ext uri="{FF2B5EF4-FFF2-40B4-BE49-F238E27FC236}">
                  <a16:creationId xmlns:a16="http://schemas.microsoft.com/office/drawing/2014/main" id="{44ECD01C-7ECB-46CC-844C-BEF886E3FB7B}"/>
                </a:ext>
              </a:extLst>
            </p:cNvPr>
            <p:cNvSpPr>
              <a:spLocks/>
            </p:cNvSpPr>
            <p:nvPr/>
          </p:nvSpPr>
          <p:spPr bwMode="auto">
            <a:xfrm>
              <a:off x="10213970" y="1701540"/>
              <a:ext cx="123613" cy="123613"/>
            </a:xfrm>
            <a:custGeom>
              <a:avLst/>
              <a:gdLst>
                <a:gd name="T0" fmla="*/ 180 w 200"/>
                <a:gd name="T1" fmla="*/ 200 h 200"/>
                <a:gd name="T2" fmla="*/ 20 w 200"/>
                <a:gd name="T3" fmla="*/ 200 h 200"/>
                <a:gd name="T4" fmla="*/ 16 w 200"/>
                <a:gd name="T5" fmla="*/ 200 h 200"/>
                <a:gd name="T6" fmla="*/ 12 w 200"/>
                <a:gd name="T7" fmla="*/ 199 h 200"/>
                <a:gd name="T8" fmla="*/ 9 w 200"/>
                <a:gd name="T9" fmla="*/ 196 h 200"/>
                <a:gd name="T10" fmla="*/ 6 w 200"/>
                <a:gd name="T11" fmla="*/ 194 h 200"/>
                <a:gd name="T12" fmla="*/ 4 w 200"/>
                <a:gd name="T13" fmla="*/ 191 h 200"/>
                <a:gd name="T14" fmla="*/ 2 w 200"/>
                <a:gd name="T15" fmla="*/ 188 h 200"/>
                <a:gd name="T16" fmla="*/ 1 w 200"/>
                <a:gd name="T17" fmla="*/ 184 h 200"/>
                <a:gd name="T18" fmla="*/ 0 w 200"/>
                <a:gd name="T19" fmla="*/ 180 h 200"/>
                <a:gd name="T20" fmla="*/ 1 w 200"/>
                <a:gd name="T21" fmla="*/ 176 h 200"/>
                <a:gd name="T22" fmla="*/ 2 w 200"/>
                <a:gd name="T23" fmla="*/ 173 h 200"/>
                <a:gd name="T24" fmla="*/ 4 w 200"/>
                <a:gd name="T25" fmla="*/ 169 h 200"/>
                <a:gd name="T26" fmla="*/ 6 w 200"/>
                <a:gd name="T27" fmla="*/ 165 h 200"/>
                <a:gd name="T28" fmla="*/ 9 w 200"/>
                <a:gd name="T29" fmla="*/ 164 h 200"/>
                <a:gd name="T30" fmla="*/ 12 w 200"/>
                <a:gd name="T31" fmla="*/ 162 h 200"/>
                <a:gd name="T32" fmla="*/ 16 w 200"/>
                <a:gd name="T33" fmla="*/ 160 h 200"/>
                <a:gd name="T34" fmla="*/ 20 w 200"/>
                <a:gd name="T35" fmla="*/ 160 h 200"/>
                <a:gd name="T36" fmla="*/ 160 w 200"/>
                <a:gd name="T37" fmla="*/ 160 h 200"/>
                <a:gd name="T38" fmla="*/ 160 w 200"/>
                <a:gd name="T39" fmla="*/ 20 h 200"/>
                <a:gd name="T40" fmla="*/ 161 w 200"/>
                <a:gd name="T41" fmla="*/ 16 h 200"/>
                <a:gd name="T42" fmla="*/ 161 w 200"/>
                <a:gd name="T43" fmla="*/ 12 h 200"/>
                <a:gd name="T44" fmla="*/ 164 w 200"/>
                <a:gd name="T45" fmla="*/ 9 h 200"/>
                <a:gd name="T46" fmla="*/ 166 w 200"/>
                <a:gd name="T47" fmla="*/ 6 h 200"/>
                <a:gd name="T48" fmla="*/ 169 w 200"/>
                <a:gd name="T49" fmla="*/ 4 h 200"/>
                <a:gd name="T50" fmla="*/ 173 w 200"/>
                <a:gd name="T51" fmla="*/ 1 h 200"/>
                <a:gd name="T52" fmla="*/ 176 w 200"/>
                <a:gd name="T53" fmla="*/ 0 h 200"/>
                <a:gd name="T54" fmla="*/ 180 w 200"/>
                <a:gd name="T55" fmla="*/ 0 h 200"/>
                <a:gd name="T56" fmla="*/ 185 w 200"/>
                <a:gd name="T57" fmla="*/ 0 h 200"/>
                <a:gd name="T58" fmla="*/ 189 w 200"/>
                <a:gd name="T59" fmla="*/ 1 h 200"/>
                <a:gd name="T60" fmla="*/ 191 w 200"/>
                <a:gd name="T61" fmla="*/ 4 h 200"/>
                <a:gd name="T62" fmla="*/ 195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5 w 200"/>
                <a:gd name="T81" fmla="*/ 194 h 200"/>
                <a:gd name="T82" fmla="*/ 191 w 200"/>
                <a:gd name="T83" fmla="*/ 196 h 200"/>
                <a:gd name="T84" fmla="*/ 189 w 200"/>
                <a:gd name="T85" fmla="*/ 199 h 200"/>
                <a:gd name="T86" fmla="*/ 185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2" y="199"/>
                  </a:lnTo>
                  <a:lnTo>
                    <a:pt x="9" y="196"/>
                  </a:lnTo>
                  <a:lnTo>
                    <a:pt x="6" y="194"/>
                  </a:lnTo>
                  <a:lnTo>
                    <a:pt x="4" y="191"/>
                  </a:lnTo>
                  <a:lnTo>
                    <a:pt x="2" y="188"/>
                  </a:lnTo>
                  <a:lnTo>
                    <a:pt x="1" y="184"/>
                  </a:lnTo>
                  <a:lnTo>
                    <a:pt x="0" y="180"/>
                  </a:lnTo>
                  <a:lnTo>
                    <a:pt x="1" y="176"/>
                  </a:lnTo>
                  <a:lnTo>
                    <a:pt x="2" y="173"/>
                  </a:lnTo>
                  <a:lnTo>
                    <a:pt x="4" y="169"/>
                  </a:lnTo>
                  <a:lnTo>
                    <a:pt x="6" y="165"/>
                  </a:lnTo>
                  <a:lnTo>
                    <a:pt x="9" y="164"/>
                  </a:lnTo>
                  <a:lnTo>
                    <a:pt x="12" y="162"/>
                  </a:lnTo>
                  <a:lnTo>
                    <a:pt x="16" y="160"/>
                  </a:lnTo>
                  <a:lnTo>
                    <a:pt x="20" y="160"/>
                  </a:lnTo>
                  <a:lnTo>
                    <a:pt x="160" y="160"/>
                  </a:lnTo>
                  <a:lnTo>
                    <a:pt x="160" y="20"/>
                  </a:lnTo>
                  <a:lnTo>
                    <a:pt x="161" y="16"/>
                  </a:lnTo>
                  <a:lnTo>
                    <a:pt x="161" y="12"/>
                  </a:lnTo>
                  <a:lnTo>
                    <a:pt x="164" y="9"/>
                  </a:lnTo>
                  <a:lnTo>
                    <a:pt x="166" y="6"/>
                  </a:lnTo>
                  <a:lnTo>
                    <a:pt x="169" y="4"/>
                  </a:lnTo>
                  <a:lnTo>
                    <a:pt x="173" y="1"/>
                  </a:lnTo>
                  <a:lnTo>
                    <a:pt x="176" y="0"/>
                  </a:lnTo>
                  <a:lnTo>
                    <a:pt x="180" y="0"/>
                  </a:lnTo>
                  <a:lnTo>
                    <a:pt x="185" y="0"/>
                  </a:lnTo>
                  <a:lnTo>
                    <a:pt x="189" y="1"/>
                  </a:lnTo>
                  <a:lnTo>
                    <a:pt x="191" y="4"/>
                  </a:lnTo>
                  <a:lnTo>
                    <a:pt x="195" y="6"/>
                  </a:lnTo>
                  <a:lnTo>
                    <a:pt x="197" y="9"/>
                  </a:lnTo>
                  <a:lnTo>
                    <a:pt x="199" y="12"/>
                  </a:lnTo>
                  <a:lnTo>
                    <a:pt x="200" y="16"/>
                  </a:lnTo>
                  <a:lnTo>
                    <a:pt x="200" y="20"/>
                  </a:lnTo>
                  <a:lnTo>
                    <a:pt x="200" y="180"/>
                  </a:lnTo>
                  <a:lnTo>
                    <a:pt x="200" y="184"/>
                  </a:lnTo>
                  <a:lnTo>
                    <a:pt x="199" y="188"/>
                  </a:lnTo>
                  <a:lnTo>
                    <a:pt x="197" y="191"/>
                  </a:lnTo>
                  <a:lnTo>
                    <a:pt x="195" y="194"/>
                  </a:lnTo>
                  <a:lnTo>
                    <a:pt x="191" y="196"/>
                  </a:lnTo>
                  <a:lnTo>
                    <a:pt x="189" y="199"/>
                  </a:lnTo>
                  <a:lnTo>
                    <a:pt x="185"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66">
              <a:extLst>
                <a:ext uri="{FF2B5EF4-FFF2-40B4-BE49-F238E27FC236}">
                  <a16:creationId xmlns:a16="http://schemas.microsoft.com/office/drawing/2014/main" id="{6ACF832D-C36C-4590-9BF8-8776304BE8E0}"/>
                </a:ext>
              </a:extLst>
            </p:cNvPr>
            <p:cNvSpPr>
              <a:spLocks noEditPoints="1"/>
            </p:cNvSpPr>
            <p:nvPr/>
          </p:nvSpPr>
          <p:spPr bwMode="auto">
            <a:xfrm>
              <a:off x="10287777" y="1898952"/>
              <a:ext cx="271211" cy="269364"/>
            </a:xfrm>
            <a:custGeom>
              <a:avLst/>
              <a:gdLst>
                <a:gd name="T0" fmla="*/ 184 w 440"/>
                <a:gd name="T1" fmla="*/ 43 h 439"/>
                <a:gd name="T2" fmla="*/ 134 w 440"/>
                <a:gd name="T3" fmla="*/ 60 h 439"/>
                <a:gd name="T4" fmla="*/ 93 w 440"/>
                <a:gd name="T5" fmla="*/ 91 h 439"/>
                <a:gd name="T6" fmla="*/ 62 w 440"/>
                <a:gd name="T7" fmla="*/ 134 h 439"/>
                <a:gd name="T8" fmla="*/ 44 w 440"/>
                <a:gd name="T9" fmla="*/ 182 h 439"/>
                <a:gd name="T10" fmla="*/ 41 w 440"/>
                <a:gd name="T11" fmla="*/ 237 h 439"/>
                <a:gd name="T12" fmla="*/ 55 w 440"/>
                <a:gd name="T13" fmla="*/ 289 h 439"/>
                <a:gd name="T14" fmla="*/ 81 w 440"/>
                <a:gd name="T15" fmla="*/ 334 h 439"/>
                <a:gd name="T16" fmla="*/ 120 w 440"/>
                <a:gd name="T17" fmla="*/ 369 h 439"/>
                <a:gd name="T18" fmla="*/ 167 w 440"/>
                <a:gd name="T19" fmla="*/ 391 h 439"/>
                <a:gd name="T20" fmla="*/ 220 w 440"/>
                <a:gd name="T21" fmla="*/ 398 h 439"/>
                <a:gd name="T22" fmla="*/ 274 w 440"/>
                <a:gd name="T23" fmla="*/ 391 h 439"/>
                <a:gd name="T24" fmla="*/ 321 w 440"/>
                <a:gd name="T25" fmla="*/ 369 h 439"/>
                <a:gd name="T26" fmla="*/ 359 w 440"/>
                <a:gd name="T27" fmla="*/ 334 h 439"/>
                <a:gd name="T28" fmla="*/ 387 w 440"/>
                <a:gd name="T29" fmla="*/ 289 h 439"/>
                <a:gd name="T30" fmla="*/ 399 w 440"/>
                <a:gd name="T31" fmla="*/ 237 h 439"/>
                <a:gd name="T32" fmla="*/ 397 w 440"/>
                <a:gd name="T33" fmla="*/ 182 h 439"/>
                <a:gd name="T34" fmla="*/ 378 w 440"/>
                <a:gd name="T35" fmla="*/ 134 h 439"/>
                <a:gd name="T36" fmla="*/ 347 w 440"/>
                <a:gd name="T37" fmla="*/ 91 h 439"/>
                <a:gd name="T38" fmla="*/ 306 w 440"/>
                <a:gd name="T39" fmla="*/ 60 h 439"/>
                <a:gd name="T40" fmla="*/ 256 w 440"/>
                <a:gd name="T41" fmla="*/ 43 h 439"/>
                <a:gd name="T42" fmla="*/ 220 w 440"/>
                <a:gd name="T43" fmla="*/ 439 h 439"/>
                <a:gd name="T44" fmla="*/ 154 w 440"/>
                <a:gd name="T45" fmla="*/ 429 h 439"/>
                <a:gd name="T46" fmla="*/ 97 w 440"/>
                <a:gd name="T47" fmla="*/ 401 h 439"/>
                <a:gd name="T48" fmla="*/ 50 w 440"/>
                <a:gd name="T49" fmla="*/ 359 h 439"/>
                <a:gd name="T50" fmla="*/ 18 w 440"/>
                <a:gd name="T51" fmla="*/ 304 h 439"/>
                <a:gd name="T52" fmla="*/ 2 w 440"/>
                <a:gd name="T53" fmla="*/ 242 h 439"/>
                <a:gd name="T54" fmla="*/ 5 w 440"/>
                <a:gd name="T55" fmla="*/ 175 h 439"/>
                <a:gd name="T56" fmla="*/ 26 w 440"/>
                <a:gd name="T57" fmla="*/ 114 h 439"/>
                <a:gd name="T58" fmla="*/ 65 w 440"/>
                <a:gd name="T59" fmla="*/ 63 h 439"/>
                <a:gd name="T60" fmla="*/ 116 w 440"/>
                <a:gd name="T61" fmla="*/ 26 h 439"/>
                <a:gd name="T62" fmla="*/ 175 w 440"/>
                <a:gd name="T63" fmla="*/ 3 h 439"/>
                <a:gd name="T64" fmla="*/ 243 w 440"/>
                <a:gd name="T65" fmla="*/ 0 h 439"/>
                <a:gd name="T66" fmla="*/ 306 w 440"/>
                <a:gd name="T67" fmla="*/ 16 h 439"/>
                <a:gd name="T68" fmla="*/ 361 w 440"/>
                <a:gd name="T69" fmla="*/ 49 h 439"/>
                <a:gd name="T70" fmla="*/ 403 w 440"/>
                <a:gd name="T71" fmla="*/ 96 h 439"/>
                <a:gd name="T72" fmla="*/ 430 w 440"/>
                <a:gd name="T73" fmla="*/ 154 h 439"/>
                <a:gd name="T74" fmla="*/ 440 w 440"/>
                <a:gd name="T75" fmla="*/ 219 h 439"/>
                <a:gd name="T76" fmla="*/ 430 w 440"/>
                <a:gd name="T77" fmla="*/ 284 h 439"/>
                <a:gd name="T78" fmla="*/ 403 w 440"/>
                <a:gd name="T79" fmla="*/ 342 h 439"/>
                <a:gd name="T80" fmla="*/ 361 w 440"/>
                <a:gd name="T81" fmla="*/ 388 h 439"/>
                <a:gd name="T82" fmla="*/ 306 w 440"/>
                <a:gd name="T83" fmla="*/ 422 h 439"/>
                <a:gd name="T84" fmla="*/ 243 w 440"/>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0" h="439">
                  <a:moveTo>
                    <a:pt x="220" y="39"/>
                  </a:moveTo>
                  <a:lnTo>
                    <a:pt x="202" y="39"/>
                  </a:lnTo>
                  <a:lnTo>
                    <a:pt x="184" y="43"/>
                  </a:lnTo>
                  <a:lnTo>
                    <a:pt x="167" y="47"/>
                  </a:lnTo>
                  <a:lnTo>
                    <a:pt x="151" y="53"/>
                  </a:lnTo>
                  <a:lnTo>
                    <a:pt x="134" y="60"/>
                  </a:lnTo>
                  <a:lnTo>
                    <a:pt x="120" y="70"/>
                  </a:lnTo>
                  <a:lnTo>
                    <a:pt x="106" y="80"/>
                  </a:lnTo>
                  <a:lnTo>
                    <a:pt x="93" y="91"/>
                  </a:lnTo>
                  <a:lnTo>
                    <a:pt x="81" y="105"/>
                  </a:lnTo>
                  <a:lnTo>
                    <a:pt x="71" y="119"/>
                  </a:lnTo>
                  <a:lnTo>
                    <a:pt x="62" y="134"/>
                  </a:lnTo>
                  <a:lnTo>
                    <a:pt x="55" y="149"/>
                  </a:lnTo>
                  <a:lnTo>
                    <a:pt x="49" y="166"/>
                  </a:lnTo>
                  <a:lnTo>
                    <a:pt x="44" y="182"/>
                  </a:lnTo>
                  <a:lnTo>
                    <a:pt x="41" y="201"/>
                  </a:lnTo>
                  <a:lnTo>
                    <a:pt x="40" y="219"/>
                  </a:lnTo>
                  <a:lnTo>
                    <a:pt x="41" y="237"/>
                  </a:lnTo>
                  <a:lnTo>
                    <a:pt x="44" y="255"/>
                  </a:lnTo>
                  <a:lnTo>
                    <a:pt x="49" y="273"/>
                  </a:lnTo>
                  <a:lnTo>
                    <a:pt x="55" y="289"/>
                  </a:lnTo>
                  <a:lnTo>
                    <a:pt x="62" y="305"/>
                  </a:lnTo>
                  <a:lnTo>
                    <a:pt x="71" y="320"/>
                  </a:lnTo>
                  <a:lnTo>
                    <a:pt x="81" y="334"/>
                  </a:lnTo>
                  <a:lnTo>
                    <a:pt x="93" y="346"/>
                  </a:lnTo>
                  <a:lnTo>
                    <a:pt x="106" y="357"/>
                  </a:lnTo>
                  <a:lnTo>
                    <a:pt x="120" y="369"/>
                  </a:lnTo>
                  <a:lnTo>
                    <a:pt x="134" y="377"/>
                  </a:lnTo>
                  <a:lnTo>
                    <a:pt x="151" y="385"/>
                  </a:lnTo>
                  <a:lnTo>
                    <a:pt x="167" y="391"/>
                  </a:lnTo>
                  <a:lnTo>
                    <a:pt x="184" y="396"/>
                  </a:lnTo>
                  <a:lnTo>
                    <a:pt x="202" y="398"/>
                  </a:lnTo>
                  <a:lnTo>
                    <a:pt x="220" y="398"/>
                  </a:lnTo>
                  <a:lnTo>
                    <a:pt x="239" y="398"/>
                  </a:lnTo>
                  <a:lnTo>
                    <a:pt x="256" y="396"/>
                  </a:lnTo>
                  <a:lnTo>
                    <a:pt x="274" y="391"/>
                  </a:lnTo>
                  <a:lnTo>
                    <a:pt x="290" y="385"/>
                  </a:lnTo>
                  <a:lnTo>
                    <a:pt x="306" y="377"/>
                  </a:lnTo>
                  <a:lnTo>
                    <a:pt x="321" y="369"/>
                  </a:lnTo>
                  <a:lnTo>
                    <a:pt x="334" y="357"/>
                  </a:lnTo>
                  <a:lnTo>
                    <a:pt x="347" y="346"/>
                  </a:lnTo>
                  <a:lnTo>
                    <a:pt x="359" y="334"/>
                  </a:lnTo>
                  <a:lnTo>
                    <a:pt x="369" y="320"/>
                  </a:lnTo>
                  <a:lnTo>
                    <a:pt x="378" y="305"/>
                  </a:lnTo>
                  <a:lnTo>
                    <a:pt x="387" y="289"/>
                  </a:lnTo>
                  <a:lnTo>
                    <a:pt x="392" y="273"/>
                  </a:lnTo>
                  <a:lnTo>
                    <a:pt x="397" y="255"/>
                  </a:lnTo>
                  <a:lnTo>
                    <a:pt x="399" y="237"/>
                  </a:lnTo>
                  <a:lnTo>
                    <a:pt x="400" y="219"/>
                  </a:lnTo>
                  <a:lnTo>
                    <a:pt x="399" y="201"/>
                  </a:lnTo>
                  <a:lnTo>
                    <a:pt x="397" y="182"/>
                  </a:lnTo>
                  <a:lnTo>
                    <a:pt x="392" y="166"/>
                  </a:lnTo>
                  <a:lnTo>
                    <a:pt x="387" y="149"/>
                  </a:lnTo>
                  <a:lnTo>
                    <a:pt x="378" y="134"/>
                  </a:lnTo>
                  <a:lnTo>
                    <a:pt x="369" y="119"/>
                  </a:lnTo>
                  <a:lnTo>
                    <a:pt x="359" y="105"/>
                  </a:lnTo>
                  <a:lnTo>
                    <a:pt x="347" y="91"/>
                  </a:lnTo>
                  <a:lnTo>
                    <a:pt x="334" y="80"/>
                  </a:lnTo>
                  <a:lnTo>
                    <a:pt x="321" y="70"/>
                  </a:lnTo>
                  <a:lnTo>
                    <a:pt x="306" y="60"/>
                  </a:lnTo>
                  <a:lnTo>
                    <a:pt x="290" y="53"/>
                  </a:lnTo>
                  <a:lnTo>
                    <a:pt x="274" y="47"/>
                  </a:lnTo>
                  <a:lnTo>
                    <a:pt x="256" y="43"/>
                  </a:lnTo>
                  <a:lnTo>
                    <a:pt x="239" y="39"/>
                  </a:lnTo>
                  <a:lnTo>
                    <a:pt x="220" y="39"/>
                  </a:lnTo>
                  <a:close/>
                  <a:moveTo>
                    <a:pt x="220" y="439"/>
                  </a:moveTo>
                  <a:lnTo>
                    <a:pt x="198" y="438"/>
                  </a:lnTo>
                  <a:lnTo>
                    <a:pt x="175" y="434"/>
                  </a:lnTo>
                  <a:lnTo>
                    <a:pt x="154" y="429"/>
                  </a:lnTo>
                  <a:lnTo>
                    <a:pt x="134" y="422"/>
                  </a:lnTo>
                  <a:lnTo>
                    <a:pt x="116" y="412"/>
                  </a:lnTo>
                  <a:lnTo>
                    <a:pt x="97" y="401"/>
                  </a:lnTo>
                  <a:lnTo>
                    <a:pt x="80" y="388"/>
                  </a:lnTo>
                  <a:lnTo>
                    <a:pt x="65" y="375"/>
                  </a:lnTo>
                  <a:lnTo>
                    <a:pt x="50" y="359"/>
                  </a:lnTo>
                  <a:lnTo>
                    <a:pt x="38" y="342"/>
                  </a:lnTo>
                  <a:lnTo>
                    <a:pt x="26" y="324"/>
                  </a:lnTo>
                  <a:lnTo>
                    <a:pt x="18" y="304"/>
                  </a:lnTo>
                  <a:lnTo>
                    <a:pt x="10" y="284"/>
                  </a:lnTo>
                  <a:lnTo>
                    <a:pt x="5" y="263"/>
                  </a:lnTo>
                  <a:lnTo>
                    <a:pt x="2" y="242"/>
                  </a:lnTo>
                  <a:lnTo>
                    <a:pt x="0" y="219"/>
                  </a:lnTo>
                  <a:lnTo>
                    <a:pt x="2" y="197"/>
                  </a:lnTo>
                  <a:lnTo>
                    <a:pt x="5" y="175"/>
                  </a:lnTo>
                  <a:lnTo>
                    <a:pt x="10" y="154"/>
                  </a:lnTo>
                  <a:lnTo>
                    <a:pt x="18" y="134"/>
                  </a:lnTo>
                  <a:lnTo>
                    <a:pt x="26" y="114"/>
                  </a:lnTo>
                  <a:lnTo>
                    <a:pt x="38" y="96"/>
                  </a:lnTo>
                  <a:lnTo>
                    <a:pt x="50" y="79"/>
                  </a:lnTo>
                  <a:lnTo>
                    <a:pt x="65" y="63"/>
                  </a:lnTo>
                  <a:lnTo>
                    <a:pt x="80" y="49"/>
                  </a:lnTo>
                  <a:lnTo>
                    <a:pt x="97" y="37"/>
                  </a:lnTo>
                  <a:lnTo>
                    <a:pt x="116" y="26"/>
                  </a:lnTo>
                  <a:lnTo>
                    <a:pt x="134" y="16"/>
                  </a:lnTo>
                  <a:lnTo>
                    <a:pt x="154" y="9"/>
                  </a:lnTo>
                  <a:lnTo>
                    <a:pt x="175" y="3"/>
                  </a:lnTo>
                  <a:lnTo>
                    <a:pt x="198" y="0"/>
                  </a:lnTo>
                  <a:lnTo>
                    <a:pt x="220" y="0"/>
                  </a:lnTo>
                  <a:lnTo>
                    <a:pt x="243" y="0"/>
                  </a:lnTo>
                  <a:lnTo>
                    <a:pt x="265" y="3"/>
                  </a:lnTo>
                  <a:lnTo>
                    <a:pt x="286" y="9"/>
                  </a:lnTo>
                  <a:lnTo>
                    <a:pt x="306" y="16"/>
                  </a:lnTo>
                  <a:lnTo>
                    <a:pt x="325" y="26"/>
                  </a:lnTo>
                  <a:lnTo>
                    <a:pt x="343" y="37"/>
                  </a:lnTo>
                  <a:lnTo>
                    <a:pt x="361" y="49"/>
                  </a:lnTo>
                  <a:lnTo>
                    <a:pt x="375" y="63"/>
                  </a:lnTo>
                  <a:lnTo>
                    <a:pt x="390" y="79"/>
                  </a:lnTo>
                  <a:lnTo>
                    <a:pt x="403" y="96"/>
                  </a:lnTo>
                  <a:lnTo>
                    <a:pt x="414" y="114"/>
                  </a:lnTo>
                  <a:lnTo>
                    <a:pt x="423" y="134"/>
                  </a:lnTo>
                  <a:lnTo>
                    <a:pt x="430" y="154"/>
                  </a:lnTo>
                  <a:lnTo>
                    <a:pt x="435" y="175"/>
                  </a:lnTo>
                  <a:lnTo>
                    <a:pt x="439" y="197"/>
                  </a:lnTo>
                  <a:lnTo>
                    <a:pt x="440" y="219"/>
                  </a:lnTo>
                  <a:lnTo>
                    <a:pt x="439" y="242"/>
                  </a:lnTo>
                  <a:lnTo>
                    <a:pt x="435" y="263"/>
                  </a:lnTo>
                  <a:lnTo>
                    <a:pt x="430" y="284"/>
                  </a:lnTo>
                  <a:lnTo>
                    <a:pt x="423" y="304"/>
                  </a:lnTo>
                  <a:lnTo>
                    <a:pt x="414" y="324"/>
                  </a:lnTo>
                  <a:lnTo>
                    <a:pt x="403" y="342"/>
                  </a:lnTo>
                  <a:lnTo>
                    <a:pt x="390" y="359"/>
                  </a:lnTo>
                  <a:lnTo>
                    <a:pt x="375" y="375"/>
                  </a:lnTo>
                  <a:lnTo>
                    <a:pt x="361" y="388"/>
                  </a:lnTo>
                  <a:lnTo>
                    <a:pt x="343" y="401"/>
                  </a:lnTo>
                  <a:lnTo>
                    <a:pt x="325" y="412"/>
                  </a:lnTo>
                  <a:lnTo>
                    <a:pt x="306" y="422"/>
                  </a:lnTo>
                  <a:lnTo>
                    <a:pt x="286" y="429"/>
                  </a:lnTo>
                  <a:lnTo>
                    <a:pt x="265" y="434"/>
                  </a:lnTo>
                  <a:lnTo>
                    <a:pt x="243"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67">
              <a:extLst>
                <a:ext uri="{FF2B5EF4-FFF2-40B4-BE49-F238E27FC236}">
                  <a16:creationId xmlns:a16="http://schemas.microsoft.com/office/drawing/2014/main" id="{0F5E3289-47EE-4D23-B151-765AF82D5537}"/>
                </a:ext>
              </a:extLst>
            </p:cNvPr>
            <p:cNvSpPr>
              <a:spLocks/>
            </p:cNvSpPr>
            <p:nvPr/>
          </p:nvSpPr>
          <p:spPr bwMode="auto">
            <a:xfrm>
              <a:off x="10387407" y="1972749"/>
              <a:ext cx="23985" cy="121769"/>
            </a:xfrm>
            <a:custGeom>
              <a:avLst/>
              <a:gdLst>
                <a:gd name="T0" fmla="*/ 19 w 39"/>
                <a:gd name="T1" fmla="*/ 200 h 200"/>
                <a:gd name="T2" fmla="*/ 16 w 39"/>
                <a:gd name="T3" fmla="*/ 200 h 200"/>
                <a:gd name="T4" fmla="*/ 12 w 39"/>
                <a:gd name="T5" fmla="*/ 199 h 200"/>
                <a:gd name="T6" fmla="*/ 8 w 39"/>
                <a:gd name="T7" fmla="*/ 196 h 200"/>
                <a:gd name="T8" fmla="*/ 5 w 39"/>
                <a:gd name="T9" fmla="*/ 194 h 200"/>
                <a:gd name="T10" fmla="*/ 2 w 39"/>
                <a:gd name="T11" fmla="*/ 191 h 200"/>
                <a:gd name="T12" fmla="*/ 1 w 39"/>
                <a:gd name="T13" fmla="*/ 187 h 200"/>
                <a:gd name="T14" fmla="*/ 0 w 39"/>
                <a:gd name="T15" fmla="*/ 184 h 200"/>
                <a:gd name="T16" fmla="*/ 0 w 39"/>
                <a:gd name="T17" fmla="*/ 180 h 200"/>
                <a:gd name="T18" fmla="*/ 0 w 39"/>
                <a:gd name="T19" fmla="*/ 20 h 200"/>
                <a:gd name="T20" fmla="*/ 0 w 39"/>
                <a:gd name="T21" fmla="*/ 16 h 200"/>
                <a:gd name="T22" fmla="*/ 1 w 39"/>
                <a:gd name="T23" fmla="*/ 12 h 200"/>
                <a:gd name="T24" fmla="*/ 2 w 39"/>
                <a:gd name="T25" fmla="*/ 8 h 200"/>
                <a:gd name="T26" fmla="*/ 5 w 39"/>
                <a:gd name="T27" fmla="*/ 6 h 200"/>
                <a:gd name="T28" fmla="*/ 8 w 39"/>
                <a:gd name="T29" fmla="*/ 4 h 200"/>
                <a:gd name="T30" fmla="*/ 12 w 39"/>
                <a:gd name="T31" fmla="*/ 1 h 200"/>
                <a:gd name="T32" fmla="*/ 16 w 39"/>
                <a:gd name="T33" fmla="*/ 0 h 200"/>
                <a:gd name="T34" fmla="*/ 19 w 39"/>
                <a:gd name="T35" fmla="*/ 0 h 200"/>
                <a:gd name="T36" fmla="*/ 23 w 39"/>
                <a:gd name="T37" fmla="*/ 0 h 200"/>
                <a:gd name="T38" fmla="*/ 27 w 39"/>
                <a:gd name="T39" fmla="*/ 1 h 200"/>
                <a:gd name="T40" fmla="*/ 31 w 39"/>
                <a:gd name="T41" fmla="*/ 4 h 200"/>
                <a:gd name="T42" fmla="*/ 33 w 39"/>
                <a:gd name="T43" fmla="*/ 6 h 200"/>
                <a:gd name="T44" fmla="*/ 36 w 39"/>
                <a:gd name="T45" fmla="*/ 8 h 200"/>
                <a:gd name="T46" fmla="*/ 38 w 39"/>
                <a:gd name="T47" fmla="*/ 12 h 200"/>
                <a:gd name="T48" fmla="*/ 39 w 39"/>
                <a:gd name="T49" fmla="*/ 16 h 200"/>
                <a:gd name="T50" fmla="*/ 39 w 39"/>
                <a:gd name="T51" fmla="*/ 20 h 200"/>
                <a:gd name="T52" fmla="*/ 39 w 39"/>
                <a:gd name="T53" fmla="*/ 180 h 200"/>
                <a:gd name="T54" fmla="*/ 39 w 39"/>
                <a:gd name="T55" fmla="*/ 184 h 200"/>
                <a:gd name="T56" fmla="*/ 38 w 39"/>
                <a:gd name="T57" fmla="*/ 187 h 200"/>
                <a:gd name="T58" fmla="*/ 36 w 39"/>
                <a:gd name="T59" fmla="*/ 191 h 200"/>
                <a:gd name="T60" fmla="*/ 33 w 39"/>
                <a:gd name="T61" fmla="*/ 194 h 200"/>
                <a:gd name="T62" fmla="*/ 31 w 39"/>
                <a:gd name="T63" fmla="*/ 196 h 200"/>
                <a:gd name="T64" fmla="*/ 27 w 39"/>
                <a:gd name="T65" fmla="*/ 199 h 200"/>
                <a:gd name="T66" fmla="*/ 23 w 39"/>
                <a:gd name="T67" fmla="*/ 200 h 200"/>
                <a:gd name="T68" fmla="*/ 19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19" y="200"/>
                  </a:moveTo>
                  <a:lnTo>
                    <a:pt x="16" y="200"/>
                  </a:lnTo>
                  <a:lnTo>
                    <a:pt x="12" y="199"/>
                  </a:lnTo>
                  <a:lnTo>
                    <a:pt x="8" y="196"/>
                  </a:lnTo>
                  <a:lnTo>
                    <a:pt x="5" y="194"/>
                  </a:lnTo>
                  <a:lnTo>
                    <a:pt x="2" y="191"/>
                  </a:lnTo>
                  <a:lnTo>
                    <a:pt x="1" y="187"/>
                  </a:lnTo>
                  <a:lnTo>
                    <a:pt x="0" y="184"/>
                  </a:lnTo>
                  <a:lnTo>
                    <a:pt x="0" y="180"/>
                  </a:lnTo>
                  <a:lnTo>
                    <a:pt x="0" y="20"/>
                  </a:lnTo>
                  <a:lnTo>
                    <a:pt x="0" y="16"/>
                  </a:lnTo>
                  <a:lnTo>
                    <a:pt x="1" y="12"/>
                  </a:lnTo>
                  <a:lnTo>
                    <a:pt x="2" y="8"/>
                  </a:lnTo>
                  <a:lnTo>
                    <a:pt x="5" y="6"/>
                  </a:lnTo>
                  <a:lnTo>
                    <a:pt x="8" y="4"/>
                  </a:lnTo>
                  <a:lnTo>
                    <a:pt x="12" y="1"/>
                  </a:lnTo>
                  <a:lnTo>
                    <a:pt x="16" y="0"/>
                  </a:lnTo>
                  <a:lnTo>
                    <a:pt x="19" y="0"/>
                  </a:lnTo>
                  <a:lnTo>
                    <a:pt x="23" y="0"/>
                  </a:lnTo>
                  <a:lnTo>
                    <a:pt x="27" y="1"/>
                  </a:lnTo>
                  <a:lnTo>
                    <a:pt x="31" y="4"/>
                  </a:lnTo>
                  <a:lnTo>
                    <a:pt x="33" y="6"/>
                  </a:lnTo>
                  <a:lnTo>
                    <a:pt x="36" y="8"/>
                  </a:lnTo>
                  <a:lnTo>
                    <a:pt x="38" y="12"/>
                  </a:lnTo>
                  <a:lnTo>
                    <a:pt x="39" y="16"/>
                  </a:lnTo>
                  <a:lnTo>
                    <a:pt x="39" y="20"/>
                  </a:lnTo>
                  <a:lnTo>
                    <a:pt x="39" y="180"/>
                  </a:lnTo>
                  <a:lnTo>
                    <a:pt x="39" y="184"/>
                  </a:lnTo>
                  <a:lnTo>
                    <a:pt x="38" y="187"/>
                  </a:lnTo>
                  <a:lnTo>
                    <a:pt x="36" y="191"/>
                  </a:lnTo>
                  <a:lnTo>
                    <a:pt x="33" y="194"/>
                  </a:lnTo>
                  <a:lnTo>
                    <a:pt x="31" y="196"/>
                  </a:lnTo>
                  <a:lnTo>
                    <a:pt x="27" y="199"/>
                  </a:lnTo>
                  <a:lnTo>
                    <a:pt x="23" y="200"/>
                  </a:lnTo>
                  <a:lnTo>
                    <a:pt x="19"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68">
              <a:extLst>
                <a:ext uri="{FF2B5EF4-FFF2-40B4-BE49-F238E27FC236}">
                  <a16:creationId xmlns:a16="http://schemas.microsoft.com/office/drawing/2014/main" id="{ABA7F1C4-2840-4B71-9817-A30B00B57685}"/>
                </a:ext>
              </a:extLst>
            </p:cNvPr>
            <p:cNvSpPr>
              <a:spLocks/>
            </p:cNvSpPr>
            <p:nvPr/>
          </p:nvSpPr>
          <p:spPr bwMode="auto">
            <a:xfrm>
              <a:off x="10435376" y="1972749"/>
              <a:ext cx="25830" cy="121769"/>
            </a:xfrm>
            <a:custGeom>
              <a:avLst/>
              <a:gdLst>
                <a:gd name="T0" fmla="*/ 20 w 40"/>
                <a:gd name="T1" fmla="*/ 200 h 200"/>
                <a:gd name="T2" fmla="*/ 16 w 40"/>
                <a:gd name="T3" fmla="*/ 200 h 200"/>
                <a:gd name="T4" fmla="*/ 12 w 40"/>
                <a:gd name="T5" fmla="*/ 199 h 200"/>
                <a:gd name="T6" fmla="*/ 9 w 40"/>
                <a:gd name="T7" fmla="*/ 196 h 200"/>
                <a:gd name="T8" fmla="*/ 6 w 40"/>
                <a:gd name="T9" fmla="*/ 194 h 200"/>
                <a:gd name="T10" fmla="*/ 4 w 40"/>
                <a:gd name="T11" fmla="*/ 191 h 200"/>
                <a:gd name="T12" fmla="*/ 1 w 40"/>
                <a:gd name="T13" fmla="*/ 187 h 200"/>
                <a:gd name="T14" fmla="*/ 0 w 40"/>
                <a:gd name="T15" fmla="*/ 184 h 200"/>
                <a:gd name="T16" fmla="*/ 0 w 40"/>
                <a:gd name="T17" fmla="*/ 180 h 200"/>
                <a:gd name="T18" fmla="*/ 0 w 40"/>
                <a:gd name="T19" fmla="*/ 20 h 200"/>
                <a:gd name="T20" fmla="*/ 0 w 40"/>
                <a:gd name="T21" fmla="*/ 16 h 200"/>
                <a:gd name="T22" fmla="*/ 1 w 40"/>
                <a:gd name="T23" fmla="*/ 12 h 200"/>
                <a:gd name="T24" fmla="*/ 4 w 40"/>
                <a:gd name="T25" fmla="*/ 8 h 200"/>
                <a:gd name="T26" fmla="*/ 6 w 40"/>
                <a:gd name="T27" fmla="*/ 6 h 200"/>
                <a:gd name="T28" fmla="*/ 9 w 40"/>
                <a:gd name="T29" fmla="*/ 4 h 200"/>
                <a:gd name="T30" fmla="*/ 12 w 40"/>
                <a:gd name="T31" fmla="*/ 1 h 200"/>
                <a:gd name="T32" fmla="*/ 16 w 40"/>
                <a:gd name="T33" fmla="*/ 0 h 200"/>
                <a:gd name="T34" fmla="*/ 20 w 40"/>
                <a:gd name="T35" fmla="*/ 0 h 200"/>
                <a:gd name="T36" fmla="*/ 24 w 40"/>
                <a:gd name="T37" fmla="*/ 0 h 200"/>
                <a:gd name="T38" fmla="*/ 27 w 40"/>
                <a:gd name="T39" fmla="*/ 1 h 200"/>
                <a:gd name="T40" fmla="*/ 31 w 40"/>
                <a:gd name="T41" fmla="*/ 4 h 200"/>
                <a:gd name="T42" fmla="*/ 35 w 40"/>
                <a:gd name="T43" fmla="*/ 6 h 200"/>
                <a:gd name="T44" fmla="*/ 37 w 40"/>
                <a:gd name="T45" fmla="*/ 8 h 200"/>
                <a:gd name="T46" fmla="*/ 39 w 40"/>
                <a:gd name="T47" fmla="*/ 12 h 200"/>
                <a:gd name="T48" fmla="*/ 40 w 40"/>
                <a:gd name="T49" fmla="*/ 16 h 200"/>
                <a:gd name="T50" fmla="*/ 40 w 40"/>
                <a:gd name="T51" fmla="*/ 20 h 200"/>
                <a:gd name="T52" fmla="*/ 40 w 40"/>
                <a:gd name="T53" fmla="*/ 180 h 200"/>
                <a:gd name="T54" fmla="*/ 40 w 40"/>
                <a:gd name="T55" fmla="*/ 184 h 200"/>
                <a:gd name="T56" fmla="*/ 39 w 40"/>
                <a:gd name="T57" fmla="*/ 187 h 200"/>
                <a:gd name="T58" fmla="*/ 37 w 40"/>
                <a:gd name="T59" fmla="*/ 191 h 200"/>
                <a:gd name="T60" fmla="*/ 35 w 40"/>
                <a:gd name="T61" fmla="*/ 194 h 200"/>
                <a:gd name="T62" fmla="*/ 31 w 40"/>
                <a:gd name="T63" fmla="*/ 196 h 200"/>
                <a:gd name="T64" fmla="*/ 27 w 40"/>
                <a:gd name="T65" fmla="*/ 199 h 200"/>
                <a:gd name="T66" fmla="*/ 24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6" y="200"/>
                  </a:lnTo>
                  <a:lnTo>
                    <a:pt x="12" y="199"/>
                  </a:lnTo>
                  <a:lnTo>
                    <a:pt x="9" y="196"/>
                  </a:lnTo>
                  <a:lnTo>
                    <a:pt x="6" y="194"/>
                  </a:lnTo>
                  <a:lnTo>
                    <a:pt x="4" y="191"/>
                  </a:lnTo>
                  <a:lnTo>
                    <a:pt x="1" y="187"/>
                  </a:lnTo>
                  <a:lnTo>
                    <a:pt x="0" y="184"/>
                  </a:lnTo>
                  <a:lnTo>
                    <a:pt x="0" y="180"/>
                  </a:lnTo>
                  <a:lnTo>
                    <a:pt x="0" y="20"/>
                  </a:lnTo>
                  <a:lnTo>
                    <a:pt x="0" y="16"/>
                  </a:lnTo>
                  <a:lnTo>
                    <a:pt x="1" y="12"/>
                  </a:lnTo>
                  <a:lnTo>
                    <a:pt x="4" y="8"/>
                  </a:lnTo>
                  <a:lnTo>
                    <a:pt x="6" y="6"/>
                  </a:lnTo>
                  <a:lnTo>
                    <a:pt x="9" y="4"/>
                  </a:lnTo>
                  <a:lnTo>
                    <a:pt x="12" y="1"/>
                  </a:lnTo>
                  <a:lnTo>
                    <a:pt x="16" y="0"/>
                  </a:lnTo>
                  <a:lnTo>
                    <a:pt x="20" y="0"/>
                  </a:lnTo>
                  <a:lnTo>
                    <a:pt x="24" y="0"/>
                  </a:lnTo>
                  <a:lnTo>
                    <a:pt x="27" y="1"/>
                  </a:lnTo>
                  <a:lnTo>
                    <a:pt x="31" y="4"/>
                  </a:lnTo>
                  <a:lnTo>
                    <a:pt x="35" y="6"/>
                  </a:lnTo>
                  <a:lnTo>
                    <a:pt x="37" y="8"/>
                  </a:lnTo>
                  <a:lnTo>
                    <a:pt x="39" y="12"/>
                  </a:lnTo>
                  <a:lnTo>
                    <a:pt x="40" y="16"/>
                  </a:lnTo>
                  <a:lnTo>
                    <a:pt x="40" y="20"/>
                  </a:lnTo>
                  <a:lnTo>
                    <a:pt x="40" y="180"/>
                  </a:lnTo>
                  <a:lnTo>
                    <a:pt x="40" y="184"/>
                  </a:lnTo>
                  <a:lnTo>
                    <a:pt x="39" y="187"/>
                  </a:lnTo>
                  <a:lnTo>
                    <a:pt x="37" y="191"/>
                  </a:lnTo>
                  <a:lnTo>
                    <a:pt x="35" y="194"/>
                  </a:lnTo>
                  <a:lnTo>
                    <a:pt x="31" y="196"/>
                  </a:lnTo>
                  <a:lnTo>
                    <a:pt x="27" y="199"/>
                  </a:lnTo>
                  <a:lnTo>
                    <a:pt x="24"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0" name="Group 63">
            <a:extLst>
              <a:ext uri="{FF2B5EF4-FFF2-40B4-BE49-F238E27FC236}">
                <a16:creationId xmlns:a16="http://schemas.microsoft.com/office/drawing/2014/main" id="{8A5A169F-909B-42E7-A5CE-36C656279FB7}"/>
              </a:ext>
            </a:extLst>
          </p:cNvPr>
          <p:cNvGrpSpPr>
            <a:grpSpLocks noChangeAspect="1"/>
          </p:cNvGrpSpPr>
          <p:nvPr/>
        </p:nvGrpSpPr>
        <p:grpSpPr>
          <a:xfrm>
            <a:off x="1882625" y="3801969"/>
            <a:ext cx="308144" cy="308144"/>
            <a:chOff x="5792788" y="814388"/>
            <a:chExt cx="303213" cy="303213"/>
          </a:xfrm>
          <a:solidFill>
            <a:schemeClr val="bg2"/>
          </a:solidFill>
          <a:effectLst/>
        </p:grpSpPr>
        <p:sp>
          <p:nvSpPr>
            <p:cNvPr id="771" name="Freeform 24">
              <a:extLst>
                <a:ext uri="{FF2B5EF4-FFF2-40B4-BE49-F238E27FC236}">
                  <a16:creationId xmlns:a16="http://schemas.microsoft.com/office/drawing/2014/main" id="{DEDFEFA2-AB87-4130-9EED-3EB857EC1750}"/>
                </a:ext>
              </a:extLst>
            </p:cNvPr>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2" name="Freeform 25">
              <a:extLst>
                <a:ext uri="{FF2B5EF4-FFF2-40B4-BE49-F238E27FC236}">
                  <a16:creationId xmlns:a16="http://schemas.microsoft.com/office/drawing/2014/main" id="{6710C79C-D756-4A9F-AD19-AB53800CBFD1}"/>
                </a:ext>
              </a:extLst>
            </p:cNvPr>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3" name="Freeform 26">
              <a:extLst>
                <a:ext uri="{FF2B5EF4-FFF2-40B4-BE49-F238E27FC236}">
                  <a16:creationId xmlns:a16="http://schemas.microsoft.com/office/drawing/2014/main" id="{F2E7164A-9C9D-475E-86B0-3EBFFF5758F6}"/>
                </a:ext>
              </a:extLst>
            </p:cNvPr>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4" name="Freeform 27">
              <a:extLst>
                <a:ext uri="{FF2B5EF4-FFF2-40B4-BE49-F238E27FC236}">
                  <a16:creationId xmlns:a16="http://schemas.microsoft.com/office/drawing/2014/main" id="{CFB9DBCD-8DF6-4434-8AB0-809B0E03B411}"/>
                </a:ext>
              </a:extLst>
            </p:cNvPr>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5" name="Freeform 28">
              <a:extLst>
                <a:ext uri="{FF2B5EF4-FFF2-40B4-BE49-F238E27FC236}">
                  <a16:creationId xmlns:a16="http://schemas.microsoft.com/office/drawing/2014/main" id="{8B8BB423-BE21-45EA-B3C1-4B6896C3C860}"/>
                </a:ext>
              </a:extLst>
            </p:cNvPr>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91" name="Group 112">
            <a:extLst>
              <a:ext uri="{FF2B5EF4-FFF2-40B4-BE49-F238E27FC236}">
                <a16:creationId xmlns:a16="http://schemas.microsoft.com/office/drawing/2014/main" id="{990AE082-20A0-49CB-AB96-C61EB6B8A653}"/>
              </a:ext>
            </a:extLst>
          </p:cNvPr>
          <p:cNvGrpSpPr>
            <a:grpSpLocks noChangeAspect="1"/>
          </p:cNvGrpSpPr>
          <p:nvPr/>
        </p:nvGrpSpPr>
        <p:grpSpPr>
          <a:xfrm>
            <a:off x="2304045" y="3801969"/>
            <a:ext cx="308144" cy="308144"/>
            <a:chOff x="11601450" y="1933576"/>
            <a:chExt cx="285750" cy="285750"/>
          </a:xfrm>
          <a:solidFill>
            <a:schemeClr val="bg2"/>
          </a:solidFill>
          <a:effectLst/>
        </p:grpSpPr>
        <p:sp>
          <p:nvSpPr>
            <p:cNvPr id="792" name="Freeform 293">
              <a:extLst>
                <a:ext uri="{FF2B5EF4-FFF2-40B4-BE49-F238E27FC236}">
                  <a16:creationId xmlns:a16="http://schemas.microsoft.com/office/drawing/2014/main" id="{31BC1D4E-BEC6-4B96-8F1E-C97385C6F3CE}"/>
                </a:ext>
              </a:extLst>
            </p:cNvPr>
            <p:cNvSpPr>
              <a:spLocks noEditPoints="1"/>
            </p:cNvSpPr>
            <p:nvPr/>
          </p:nvSpPr>
          <p:spPr bwMode="auto">
            <a:xfrm>
              <a:off x="11744325" y="1933576"/>
              <a:ext cx="142875" cy="190500"/>
            </a:xfrm>
            <a:custGeom>
              <a:avLst/>
              <a:gdLst>
                <a:gd name="T0" fmla="*/ 29 w 450"/>
                <a:gd name="T1" fmla="*/ 570 h 600"/>
                <a:gd name="T2" fmla="*/ 29 w 450"/>
                <a:gd name="T3" fmla="*/ 30 h 600"/>
                <a:gd name="T4" fmla="*/ 270 w 450"/>
                <a:gd name="T5" fmla="*/ 30 h 600"/>
                <a:gd name="T6" fmla="*/ 270 w 450"/>
                <a:gd name="T7" fmla="*/ 165 h 600"/>
                <a:gd name="T8" fmla="*/ 270 w 450"/>
                <a:gd name="T9" fmla="*/ 168 h 600"/>
                <a:gd name="T10" fmla="*/ 271 w 450"/>
                <a:gd name="T11" fmla="*/ 171 h 600"/>
                <a:gd name="T12" fmla="*/ 272 w 450"/>
                <a:gd name="T13" fmla="*/ 173 h 600"/>
                <a:gd name="T14" fmla="*/ 275 w 450"/>
                <a:gd name="T15" fmla="*/ 175 h 600"/>
                <a:gd name="T16" fmla="*/ 277 w 450"/>
                <a:gd name="T17" fmla="*/ 178 h 600"/>
                <a:gd name="T18" fmla="*/ 279 w 450"/>
                <a:gd name="T19" fmla="*/ 179 h 600"/>
                <a:gd name="T20" fmla="*/ 282 w 450"/>
                <a:gd name="T21" fmla="*/ 180 h 600"/>
                <a:gd name="T22" fmla="*/ 285 w 450"/>
                <a:gd name="T23" fmla="*/ 180 h 600"/>
                <a:gd name="T24" fmla="*/ 420 w 450"/>
                <a:gd name="T25" fmla="*/ 180 h 600"/>
                <a:gd name="T26" fmla="*/ 420 w 450"/>
                <a:gd name="T27" fmla="*/ 570 h 600"/>
                <a:gd name="T28" fmla="*/ 29 w 450"/>
                <a:gd name="T29" fmla="*/ 570 h 600"/>
                <a:gd name="T30" fmla="*/ 300 w 450"/>
                <a:gd name="T31" fmla="*/ 52 h 600"/>
                <a:gd name="T32" fmla="*/ 399 w 450"/>
                <a:gd name="T33" fmla="*/ 150 h 600"/>
                <a:gd name="T34" fmla="*/ 300 w 450"/>
                <a:gd name="T35" fmla="*/ 150 h 600"/>
                <a:gd name="T36" fmla="*/ 300 w 450"/>
                <a:gd name="T37" fmla="*/ 52 h 600"/>
                <a:gd name="T38" fmla="*/ 446 w 450"/>
                <a:gd name="T39" fmla="*/ 154 h 600"/>
                <a:gd name="T40" fmla="*/ 296 w 450"/>
                <a:gd name="T41" fmla="*/ 4 h 600"/>
                <a:gd name="T42" fmla="*/ 293 w 450"/>
                <a:gd name="T43" fmla="*/ 2 h 600"/>
                <a:gd name="T44" fmla="*/ 291 w 450"/>
                <a:gd name="T45" fmla="*/ 1 h 600"/>
                <a:gd name="T46" fmla="*/ 287 w 450"/>
                <a:gd name="T47" fmla="*/ 0 h 600"/>
                <a:gd name="T48" fmla="*/ 285 w 450"/>
                <a:gd name="T49" fmla="*/ 0 h 600"/>
                <a:gd name="T50" fmla="*/ 15 w 450"/>
                <a:gd name="T51" fmla="*/ 0 h 600"/>
                <a:gd name="T52" fmla="*/ 11 w 450"/>
                <a:gd name="T53" fmla="*/ 0 h 600"/>
                <a:gd name="T54" fmla="*/ 8 w 450"/>
                <a:gd name="T55" fmla="*/ 1 h 600"/>
                <a:gd name="T56" fmla="*/ 6 w 450"/>
                <a:gd name="T57" fmla="*/ 2 h 600"/>
                <a:gd name="T58" fmla="*/ 4 w 450"/>
                <a:gd name="T59" fmla="*/ 4 h 600"/>
                <a:gd name="T60" fmla="*/ 2 w 450"/>
                <a:gd name="T61" fmla="*/ 6 h 600"/>
                <a:gd name="T62" fmla="*/ 1 w 450"/>
                <a:gd name="T63" fmla="*/ 10 h 600"/>
                <a:gd name="T64" fmla="*/ 0 w 450"/>
                <a:gd name="T65" fmla="*/ 12 h 600"/>
                <a:gd name="T66" fmla="*/ 0 w 450"/>
                <a:gd name="T67" fmla="*/ 15 h 600"/>
                <a:gd name="T68" fmla="*/ 0 w 450"/>
                <a:gd name="T69" fmla="*/ 585 h 600"/>
                <a:gd name="T70" fmla="*/ 0 w 450"/>
                <a:gd name="T71" fmla="*/ 589 h 600"/>
                <a:gd name="T72" fmla="*/ 1 w 450"/>
                <a:gd name="T73" fmla="*/ 592 h 600"/>
                <a:gd name="T74" fmla="*/ 2 w 450"/>
                <a:gd name="T75" fmla="*/ 594 h 600"/>
                <a:gd name="T76" fmla="*/ 4 w 450"/>
                <a:gd name="T77" fmla="*/ 596 h 600"/>
                <a:gd name="T78" fmla="*/ 6 w 450"/>
                <a:gd name="T79" fmla="*/ 598 h 600"/>
                <a:gd name="T80" fmla="*/ 8 w 450"/>
                <a:gd name="T81" fmla="*/ 599 h 600"/>
                <a:gd name="T82" fmla="*/ 11 w 450"/>
                <a:gd name="T83" fmla="*/ 600 h 600"/>
                <a:gd name="T84" fmla="*/ 15 w 450"/>
                <a:gd name="T85" fmla="*/ 600 h 600"/>
                <a:gd name="T86" fmla="*/ 435 w 450"/>
                <a:gd name="T87" fmla="*/ 600 h 600"/>
                <a:gd name="T88" fmla="*/ 438 w 450"/>
                <a:gd name="T89" fmla="*/ 600 h 600"/>
                <a:gd name="T90" fmla="*/ 440 w 450"/>
                <a:gd name="T91" fmla="*/ 599 h 600"/>
                <a:gd name="T92" fmla="*/ 444 w 450"/>
                <a:gd name="T93" fmla="*/ 598 h 600"/>
                <a:gd name="T94" fmla="*/ 446 w 450"/>
                <a:gd name="T95" fmla="*/ 596 h 600"/>
                <a:gd name="T96" fmla="*/ 448 w 450"/>
                <a:gd name="T97" fmla="*/ 594 h 600"/>
                <a:gd name="T98" fmla="*/ 449 w 450"/>
                <a:gd name="T99" fmla="*/ 592 h 600"/>
                <a:gd name="T100" fmla="*/ 450 w 450"/>
                <a:gd name="T101" fmla="*/ 589 h 600"/>
                <a:gd name="T102" fmla="*/ 450 w 450"/>
                <a:gd name="T103" fmla="*/ 585 h 600"/>
                <a:gd name="T104" fmla="*/ 450 w 450"/>
                <a:gd name="T105" fmla="*/ 165 h 600"/>
                <a:gd name="T106" fmla="*/ 449 w 450"/>
                <a:gd name="T107" fmla="*/ 159 h 600"/>
                <a:gd name="T108" fmla="*/ 446 w 450"/>
                <a:gd name="T109" fmla="*/ 15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600">
                  <a:moveTo>
                    <a:pt x="29" y="570"/>
                  </a:moveTo>
                  <a:lnTo>
                    <a:pt x="29" y="30"/>
                  </a:lnTo>
                  <a:lnTo>
                    <a:pt x="270" y="30"/>
                  </a:lnTo>
                  <a:lnTo>
                    <a:pt x="270" y="165"/>
                  </a:lnTo>
                  <a:lnTo>
                    <a:pt x="270" y="168"/>
                  </a:lnTo>
                  <a:lnTo>
                    <a:pt x="271" y="171"/>
                  </a:lnTo>
                  <a:lnTo>
                    <a:pt x="272" y="173"/>
                  </a:lnTo>
                  <a:lnTo>
                    <a:pt x="275" y="175"/>
                  </a:lnTo>
                  <a:lnTo>
                    <a:pt x="277" y="178"/>
                  </a:lnTo>
                  <a:lnTo>
                    <a:pt x="279" y="179"/>
                  </a:lnTo>
                  <a:lnTo>
                    <a:pt x="282" y="180"/>
                  </a:lnTo>
                  <a:lnTo>
                    <a:pt x="285" y="180"/>
                  </a:lnTo>
                  <a:lnTo>
                    <a:pt x="420" y="180"/>
                  </a:lnTo>
                  <a:lnTo>
                    <a:pt x="420" y="570"/>
                  </a:lnTo>
                  <a:lnTo>
                    <a:pt x="29" y="570"/>
                  </a:lnTo>
                  <a:close/>
                  <a:moveTo>
                    <a:pt x="300" y="52"/>
                  </a:moveTo>
                  <a:lnTo>
                    <a:pt x="399" y="150"/>
                  </a:lnTo>
                  <a:lnTo>
                    <a:pt x="300" y="150"/>
                  </a:lnTo>
                  <a:lnTo>
                    <a:pt x="300" y="52"/>
                  </a:lnTo>
                  <a:close/>
                  <a:moveTo>
                    <a:pt x="446" y="154"/>
                  </a:moveTo>
                  <a:lnTo>
                    <a:pt x="296" y="4"/>
                  </a:lnTo>
                  <a:lnTo>
                    <a:pt x="293" y="2"/>
                  </a:lnTo>
                  <a:lnTo>
                    <a:pt x="291" y="1"/>
                  </a:lnTo>
                  <a:lnTo>
                    <a:pt x="287" y="0"/>
                  </a:lnTo>
                  <a:lnTo>
                    <a:pt x="285" y="0"/>
                  </a:lnTo>
                  <a:lnTo>
                    <a:pt x="15" y="0"/>
                  </a:lnTo>
                  <a:lnTo>
                    <a:pt x="11" y="0"/>
                  </a:lnTo>
                  <a:lnTo>
                    <a:pt x="8" y="1"/>
                  </a:lnTo>
                  <a:lnTo>
                    <a:pt x="6" y="2"/>
                  </a:lnTo>
                  <a:lnTo>
                    <a:pt x="4" y="4"/>
                  </a:lnTo>
                  <a:lnTo>
                    <a:pt x="2" y="6"/>
                  </a:lnTo>
                  <a:lnTo>
                    <a:pt x="1" y="10"/>
                  </a:lnTo>
                  <a:lnTo>
                    <a:pt x="0" y="12"/>
                  </a:lnTo>
                  <a:lnTo>
                    <a:pt x="0" y="15"/>
                  </a:lnTo>
                  <a:lnTo>
                    <a:pt x="0" y="585"/>
                  </a:lnTo>
                  <a:lnTo>
                    <a:pt x="0" y="589"/>
                  </a:lnTo>
                  <a:lnTo>
                    <a:pt x="1" y="592"/>
                  </a:lnTo>
                  <a:lnTo>
                    <a:pt x="2" y="594"/>
                  </a:lnTo>
                  <a:lnTo>
                    <a:pt x="4" y="596"/>
                  </a:lnTo>
                  <a:lnTo>
                    <a:pt x="6" y="598"/>
                  </a:lnTo>
                  <a:lnTo>
                    <a:pt x="8" y="599"/>
                  </a:lnTo>
                  <a:lnTo>
                    <a:pt x="11" y="600"/>
                  </a:lnTo>
                  <a:lnTo>
                    <a:pt x="15" y="600"/>
                  </a:lnTo>
                  <a:lnTo>
                    <a:pt x="435" y="600"/>
                  </a:lnTo>
                  <a:lnTo>
                    <a:pt x="438" y="600"/>
                  </a:lnTo>
                  <a:lnTo>
                    <a:pt x="440" y="599"/>
                  </a:lnTo>
                  <a:lnTo>
                    <a:pt x="444" y="598"/>
                  </a:lnTo>
                  <a:lnTo>
                    <a:pt x="446" y="596"/>
                  </a:lnTo>
                  <a:lnTo>
                    <a:pt x="448" y="594"/>
                  </a:lnTo>
                  <a:lnTo>
                    <a:pt x="449" y="592"/>
                  </a:lnTo>
                  <a:lnTo>
                    <a:pt x="450" y="589"/>
                  </a:lnTo>
                  <a:lnTo>
                    <a:pt x="450" y="585"/>
                  </a:lnTo>
                  <a:lnTo>
                    <a:pt x="450" y="165"/>
                  </a:lnTo>
                  <a:lnTo>
                    <a:pt x="449" y="159"/>
                  </a:lnTo>
                  <a:lnTo>
                    <a:pt x="44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3" name="Freeform 294">
              <a:extLst>
                <a:ext uri="{FF2B5EF4-FFF2-40B4-BE49-F238E27FC236}">
                  <a16:creationId xmlns:a16="http://schemas.microsoft.com/office/drawing/2014/main" id="{8ED017E4-8E16-4B31-A1DD-1A13B1C3E563}"/>
                </a:ext>
              </a:extLst>
            </p:cNvPr>
            <p:cNvSpPr>
              <a:spLocks noEditPoints="1"/>
            </p:cNvSpPr>
            <p:nvPr/>
          </p:nvSpPr>
          <p:spPr bwMode="auto">
            <a:xfrm>
              <a:off x="11601450" y="2124076"/>
              <a:ext cx="261938" cy="95250"/>
            </a:xfrm>
            <a:custGeom>
              <a:avLst/>
              <a:gdLst>
                <a:gd name="T0" fmla="*/ 298 w 825"/>
                <a:gd name="T1" fmla="*/ 60 h 301"/>
                <a:gd name="T2" fmla="*/ 354 w 825"/>
                <a:gd name="T3" fmla="*/ 77 h 301"/>
                <a:gd name="T4" fmla="*/ 396 w 825"/>
                <a:gd name="T5" fmla="*/ 103 h 301"/>
                <a:gd name="T6" fmla="*/ 261 w 825"/>
                <a:gd name="T7" fmla="*/ 120 h 301"/>
                <a:gd name="T8" fmla="*/ 253 w 825"/>
                <a:gd name="T9" fmla="*/ 123 h 301"/>
                <a:gd name="T10" fmla="*/ 247 w 825"/>
                <a:gd name="T11" fmla="*/ 130 h 301"/>
                <a:gd name="T12" fmla="*/ 246 w 825"/>
                <a:gd name="T13" fmla="*/ 138 h 301"/>
                <a:gd name="T14" fmla="*/ 250 w 825"/>
                <a:gd name="T15" fmla="*/ 147 h 301"/>
                <a:gd name="T16" fmla="*/ 258 w 825"/>
                <a:gd name="T17" fmla="*/ 150 h 301"/>
                <a:gd name="T18" fmla="*/ 546 w 825"/>
                <a:gd name="T19" fmla="*/ 151 h 301"/>
                <a:gd name="T20" fmla="*/ 604 w 825"/>
                <a:gd name="T21" fmla="*/ 155 h 301"/>
                <a:gd name="T22" fmla="*/ 658 w 825"/>
                <a:gd name="T23" fmla="*/ 165 h 301"/>
                <a:gd name="T24" fmla="*/ 706 w 825"/>
                <a:gd name="T25" fmla="*/ 180 h 301"/>
                <a:gd name="T26" fmla="*/ 747 w 825"/>
                <a:gd name="T27" fmla="*/ 199 h 301"/>
                <a:gd name="T28" fmla="*/ 777 w 825"/>
                <a:gd name="T29" fmla="*/ 221 h 301"/>
                <a:gd name="T30" fmla="*/ 182 w 825"/>
                <a:gd name="T31" fmla="*/ 241 h 301"/>
                <a:gd name="T32" fmla="*/ 30 w 825"/>
                <a:gd name="T33" fmla="*/ 30 h 301"/>
                <a:gd name="T34" fmla="*/ 532 w 825"/>
                <a:gd name="T35" fmla="*/ 120 h 301"/>
                <a:gd name="T36" fmla="*/ 458 w 825"/>
                <a:gd name="T37" fmla="*/ 120 h 301"/>
                <a:gd name="T38" fmla="*/ 444 w 825"/>
                <a:gd name="T39" fmla="*/ 107 h 301"/>
                <a:gd name="T40" fmla="*/ 401 w 825"/>
                <a:gd name="T41" fmla="*/ 70 h 301"/>
                <a:gd name="T42" fmla="*/ 369 w 825"/>
                <a:gd name="T43" fmla="*/ 52 h 301"/>
                <a:gd name="T44" fmla="*/ 331 w 825"/>
                <a:gd name="T45" fmla="*/ 37 h 301"/>
                <a:gd name="T46" fmla="*/ 300 w 825"/>
                <a:gd name="T47" fmla="*/ 30 h 301"/>
                <a:gd name="T48" fmla="*/ 182 w 825"/>
                <a:gd name="T49" fmla="*/ 15 h 301"/>
                <a:gd name="T50" fmla="*/ 179 w 825"/>
                <a:gd name="T51" fmla="*/ 8 h 301"/>
                <a:gd name="T52" fmla="*/ 172 w 825"/>
                <a:gd name="T53" fmla="*/ 1 h 301"/>
                <a:gd name="T54" fmla="*/ 15 w 825"/>
                <a:gd name="T55" fmla="*/ 0 h 301"/>
                <a:gd name="T56" fmla="*/ 6 w 825"/>
                <a:gd name="T57" fmla="*/ 3 h 301"/>
                <a:gd name="T58" fmla="*/ 1 w 825"/>
                <a:gd name="T59" fmla="*/ 10 h 301"/>
                <a:gd name="T60" fmla="*/ 0 w 825"/>
                <a:gd name="T61" fmla="*/ 286 h 301"/>
                <a:gd name="T62" fmla="*/ 2 w 825"/>
                <a:gd name="T63" fmla="*/ 295 h 301"/>
                <a:gd name="T64" fmla="*/ 9 w 825"/>
                <a:gd name="T65" fmla="*/ 300 h 301"/>
                <a:gd name="T66" fmla="*/ 167 w 825"/>
                <a:gd name="T67" fmla="*/ 301 h 301"/>
                <a:gd name="T68" fmla="*/ 174 w 825"/>
                <a:gd name="T69" fmla="*/ 299 h 301"/>
                <a:gd name="T70" fmla="*/ 180 w 825"/>
                <a:gd name="T71" fmla="*/ 292 h 301"/>
                <a:gd name="T72" fmla="*/ 182 w 825"/>
                <a:gd name="T73" fmla="*/ 271 h 301"/>
                <a:gd name="T74" fmla="*/ 816 w 825"/>
                <a:gd name="T75" fmla="*/ 270 h 301"/>
                <a:gd name="T76" fmla="*/ 823 w 825"/>
                <a:gd name="T77" fmla="*/ 265 h 301"/>
                <a:gd name="T78" fmla="*/ 825 w 825"/>
                <a:gd name="T79" fmla="*/ 256 h 301"/>
                <a:gd name="T80" fmla="*/ 822 w 825"/>
                <a:gd name="T81" fmla="*/ 235 h 301"/>
                <a:gd name="T82" fmla="*/ 810 w 825"/>
                <a:gd name="T83" fmla="*/ 213 h 301"/>
                <a:gd name="T84" fmla="*/ 789 w 825"/>
                <a:gd name="T85" fmla="*/ 192 h 301"/>
                <a:gd name="T86" fmla="*/ 752 w 825"/>
                <a:gd name="T87" fmla="*/ 167 h 301"/>
                <a:gd name="T88" fmla="*/ 706 w 825"/>
                <a:gd name="T89" fmla="*/ 148 h 301"/>
                <a:gd name="T90" fmla="*/ 653 w 825"/>
                <a:gd name="T91" fmla="*/ 133 h 301"/>
                <a:gd name="T92" fmla="*/ 594 w 825"/>
                <a:gd name="T93" fmla="*/ 123 h 301"/>
                <a:gd name="T94" fmla="*/ 532 w 825"/>
                <a:gd name="T95"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5" h="301">
                  <a:moveTo>
                    <a:pt x="182" y="241"/>
                  </a:moveTo>
                  <a:lnTo>
                    <a:pt x="182" y="60"/>
                  </a:lnTo>
                  <a:lnTo>
                    <a:pt x="298" y="60"/>
                  </a:lnTo>
                  <a:lnTo>
                    <a:pt x="319" y="65"/>
                  </a:lnTo>
                  <a:lnTo>
                    <a:pt x="337" y="71"/>
                  </a:lnTo>
                  <a:lnTo>
                    <a:pt x="354" y="77"/>
                  </a:lnTo>
                  <a:lnTo>
                    <a:pt x="370" y="86"/>
                  </a:lnTo>
                  <a:lnTo>
                    <a:pt x="384" y="94"/>
                  </a:lnTo>
                  <a:lnTo>
                    <a:pt x="396" y="103"/>
                  </a:lnTo>
                  <a:lnTo>
                    <a:pt x="407" y="112"/>
                  </a:lnTo>
                  <a:lnTo>
                    <a:pt x="416" y="120"/>
                  </a:lnTo>
                  <a:lnTo>
                    <a:pt x="261" y="120"/>
                  </a:lnTo>
                  <a:lnTo>
                    <a:pt x="258" y="121"/>
                  </a:lnTo>
                  <a:lnTo>
                    <a:pt x="255" y="122"/>
                  </a:lnTo>
                  <a:lnTo>
                    <a:pt x="253" y="123"/>
                  </a:lnTo>
                  <a:lnTo>
                    <a:pt x="250" y="126"/>
                  </a:lnTo>
                  <a:lnTo>
                    <a:pt x="248" y="128"/>
                  </a:lnTo>
                  <a:lnTo>
                    <a:pt x="247" y="130"/>
                  </a:lnTo>
                  <a:lnTo>
                    <a:pt x="246" y="133"/>
                  </a:lnTo>
                  <a:lnTo>
                    <a:pt x="246" y="135"/>
                  </a:lnTo>
                  <a:lnTo>
                    <a:pt x="246" y="138"/>
                  </a:lnTo>
                  <a:lnTo>
                    <a:pt x="247" y="142"/>
                  </a:lnTo>
                  <a:lnTo>
                    <a:pt x="248" y="145"/>
                  </a:lnTo>
                  <a:lnTo>
                    <a:pt x="250" y="147"/>
                  </a:lnTo>
                  <a:lnTo>
                    <a:pt x="253" y="148"/>
                  </a:lnTo>
                  <a:lnTo>
                    <a:pt x="255" y="149"/>
                  </a:lnTo>
                  <a:lnTo>
                    <a:pt x="258" y="150"/>
                  </a:lnTo>
                  <a:lnTo>
                    <a:pt x="261" y="151"/>
                  </a:lnTo>
                  <a:lnTo>
                    <a:pt x="527" y="150"/>
                  </a:lnTo>
                  <a:lnTo>
                    <a:pt x="546" y="151"/>
                  </a:lnTo>
                  <a:lnTo>
                    <a:pt x="565" y="151"/>
                  </a:lnTo>
                  <a:lnTo>
                    <a:pt x="584" y="153"/>
                  </a:lnTo>
                  <a:lnTo>
                    <a:pt x="604" y="155"/>
                  </a:lnTo>
                  <a:lnTo>
                    <a:pt x="623" y="158"/>
                  </a:lnTo>
                  <a:lnTo>
                    <a:pt x="641" y="161"/>
                  </a:lnTo>
                  <a:lnTo>
                    <a:pt x="658" y="165"/>
                  </a:lnTo>
                  <a:lnTo>
                    <a:pt x="675" y="169"/>
                  </a:lnTo>
                  <a:lnTo>
                    <a:pt x="691" y="175"/>
                  </a:lnTo>
                  <a:lnTo>
                    <a:pt x="706" y="180"/>
                  </a:lnTo>
                  <a:lnTo>
                    <a:pt x="721" y="185"/>
                  </a:lnTo>
                  <a:lnTo>
                    <a:pt x="735" y="192"/>
                  </a:lnTo>
                  <a:lnTo>
                    <a:pt x="747" y="199"/>
                  </a:lnTo>
                  <a:lnTo>
                    <a:pt x="759" y="206"/>
                  </a:lnTo>
                  <a:lnTo>
                    <a:pt x="768" y="213"/>
                  </a:lnTo>
                  <a:lnTo>
                    <a:pt x="777" y="221"/>
                  </a:lnTo>
                  <a:lnTo>
                    <a:pt x="785" y="231"/>
                  </a:lnTo>
                  <a:lnTo>
                    <a:pt x="792" y="241"/>
                  </a:lnTo>
                  <a:lnTo>
                    <a:pt x="182" y="241"/>
                  </a:lnTo>
                  <a:close/>
                  <a:moveTo>
                    <a:pt x="151" y="271"/>
                  </a:moveTo>
                  <a:lnTo>
                    <a:pt x="30" y="271"/>
                  </a:lnTo>
                  <a:lnTo>
                    <a:pt x="30" y="30"/>
                  </a:lnTo>
                  <a:lnTo>
                    <a:pt x="151" y="30"/>
                  </a:lnTo>
                  <a:lnTo>
                    <a:pt x="151" y="271"/>
                  </a:lnTo>
                  <a:close/>
                  <a:moveTo>
                    <a:pt x="532" y="120"/>
                  </a:moveTo>
                  <a:lnTo>
                    <a:pt x="529" y="120"/>
                  </a:lnTo>
                  <a:lnTo>
                    <a:pt x="527" y="120"/>
                  </a:lnTo>
                  <a:lnTo>
                    <a:pt x="458" y="120"/>
                  </a:lnTo>
                  <a:lnTo>
                    <a:pt x="456" y="119"/>
                  </a:lnTo>
                  <a:lnTo>
                    <a:pt x="454" y="118"/>
                  </a:lnTo>
                  <a:lnTo>
                    <a:pt x="444" y="107"/>
                  </a:lnTo>
                  <a:lnTo>
                    <a:pt x="432" y="96"/>
                  </a:lnTo>
                  <a:lnTo>
                    <a:pt x="418" y="83"/>
                  </a:lnTo>
                  <a:lnTo>
                    <a:pt x="401" y="70"/>
                  </a:lnTo>
                  <a:lnTo>
                    <a:pt x="392" y="63"/>
                  </a:lnTo>
                  <a:lnTo>
                    <a:pt x="381" y="58"/>
                  </a:lnTo>
                  <a:lnTo>
                    <a:pt x="369" y="52"/>
                  </a:lnTo>
                  <a:lnTo>
                    <a:pt x="357" y="46"/>
                  </a:lnTo>
                  <a:lnTo>
                    <a:pt x="345" y="42"/>
                  </a:lnTo>
                  <a:lnTo>
                    <a:pt x="331" y="37"/>
                  </a:lnTo>
                  <a:lnTo>
                    <a:pt x="317" y="33"/>
                  </a:lnTo>
                  <a:lnTo>
                    <a:pt x="301" y="30"/>
                  </a:lnTo>
                  <a:lnTo>
                    <a:pt x="300" y="30"/>
                  </a:lnTo>
                  <a:lnTo>
                    <a:pt x="299" y="30"/>
                  </a:lnTo>
                  <a:lnTo>
                    <a:pt x="182" y="30"/>
                  </a:lnTo>
                  <a:lnTo>
                    <a:pt x="182" y="15"/>
                  </a:lnTo>
                  <a:lnTo>
                    <a:pt x="181" y="13"/>
                  </a:lnTo>
                  <a:lnTo>
                    <a:pt x="180" y="10"/>
                  </a:lnTo>
                  <a:lnTo>
                    <a:pt x="179" y="8"/>
                  </a:lnTo>
                  <a:lnTo>
                    <a:pt x="177" y="6"/>
                  </a:lnTo>
                  <a:lnTo>
                    <a:pt x="174" y="3"/>
                  </a:lnTo>
                  <a:lnTo>
                    <a:pt x="172" y="1"/>
                  </a:lnTo>
                  <a:lnTo>
                    <a:pt x="169" y="0"/>
                  </a:lnTo>
                  <a:lnTo>
                    <a:pt x="167" y="0"/>
                  </a:lnTo>
                  <a:lnTo>
                    <a:pt x="15" y="0"/>
                  </a:lnTo>
                  <a:lnTo>
                    <a:pt x="12" y="0"/>
                  </a:lnTo>
                  <a:lnTo>
                    <a:pt x="9" y="1"/>
                  </a:lnTo>
                  <a:lnTo>
                    <a:pt x="6" y="3"/>
                  </a:lnTo>
                  <a:lnTo>
                    <a:pt x="4" y="6"/>
                  </a:lnTo>
                  <a:lnTo>
                    <a:pt x="2" y="8"/>
                  </a:lnTo>
                  <a:lnTo>
                    <a:pt x="1" y="10"/>
                  </a:lnTo>
                  <a:lnTo>
                    <a:pt x="0" y="13"/>
                  </a:lnTo>
                  <a:lnTo>
                    <a:pt x="0" y="15"/>
                  </a:lnTo>
                  <a:lnTo>
                    <a:pt x="0" y="286"/>
                  </a:lnTo>
                  <a:lnTo>
                    <a:pt x="0" y="289"/>
                  </a:lnTo>
                  <a:lnTo>
                    <a:pt x="1" y="292"/>
                  </a:lnTo>
                  <a:lnTo>
                    <a:pt x="2" y="295"/>
                  </a:lnTo>
                  <a:lnTo>
                    <a:pt x="4" y="297"/>
                  </a:lnTo>
                  <a:lnTo>
                    <a:pt x="6" y="299"/>
                  </a:lnTo>
                  <a:lnTo>
                    <a:pt x="9" y="300"/>
                  </a:lnTo>
                  <a:lnTo>
                    <a:pt x="12" y="301"/>
                  </a:lnTo>
                  <a:lnTo>
                    <a:pt x="15" y="301"/>
                  </a:lnTo>
                  <a:lnTo>
                    <a:pt x="167" y="301"/>
                  </a:lnTo>
                  <a:lnTo>
                    <a:pt x="169" y="301"/>
                  </a:lnTo>
                  <a:lnTo>
                    <a:pt x="172" y="300"/>
                  </a:lnTo>
                  <a:lnTo>
                    <a:pt x="174" y="299"/>
                  </a:lnTo>
                  <a:lnTo>
                    <a:pt x="177" y="297"/>
                  </a:lnTo>
                  <a:lnTo>
                    <a:pt x="179" y="295"/>
                  </a:lnTo>
                  <a:lnTo>
                    <a:pt x="180" y="292"/>
                  </a:lnTo>
                  <a:lnTo>
                    <a:pt x="181" y="289"/>
                  </a:lnTo>
                  <a:lnTo>
                    <a:pt x="182" y="286"/>
                  </a:lnTo>
                  <a:lnTo>
                    <a:pt x="182" y="271"/>
                  </a:lnTo>
                  <a:lnTo>
                    <a:pt x="810" y="271"/>
                  </a:lnTo>
                  <a:lnTo>
                    <a:pt x="813" y="271"/>
                  </a:lnTo>
                  <a:lnTo>
                    <a:pt x="816" y="270"/>
                  </a:lnTo>
                  <a:lnTo>
                    <a:pt x="819" y="269"/>
                  </a:lnTo>
                  <a:lnTo>
                    <a:pt x="821" y="267"/>
                  </a:lnTo>
                  <a:lnTo>
                    <a:pt x="823" y="265"/>
                  </a:lnTo>
                  <a:lnTo>
                    <a:pt x="824" y="261"/>
                  </a:lnTo>
                  <a:lnTo>
                    <a:pt x="825" y="259"/>
                  </a:lnTo>
                  <a:lnTo>
                    <a:pt x="825" y="256"/>
                  </a:lnTo>
                  <a:lnTo>
                    <a:pt x="825" y="249"/>
                  </a:lnTo>
                  <a:lnTo>
                    <a:pt x="824" y="241"/>
                  </a:lnTo>
                  <a:lnTo>
                    <a:pt x="822" y="235"/>
                  </a:lnTo>
                  <a:lnTo>
                    <a:pt x="819" y="227"/>
                  </a:lnTo>
                  <a:lnTo>
                    <a:pt x="814" y="221"/>
                  </a:lnTo>
                  <a:lnTo>
                    <a:pt x="810" y="213"/>
                  </a:lnTo>
                  <a:lnTo>
                    <a:pt x="805" y="207"/>
                  </a:lnTo>
                  <a:lnTo>
                    <a:pt x="798" y="200"/>
                  </a:lnTo>
                  <a:lnTo>
                    <a:pt x="789" y="192"/>
                  </a:lnTo>
                  <a:lnTo>
                    <a:pt x="778" y="183"/>
                  </a:lnTo>
                  <a:lnTo>
                    <a:pt x="765" y="175"/>
                  </a:lnTo>
                  <a:lnTo>
                    <a:pt x="752" y="167"/>
                  </a:lnTo>
                  <a:lnTo>
                    <a:pt x="738" y="161"/>
                  </a:lnTo>
                  <a:lnTo>
                    <a:pt x="722" y="154"/>
                  </a:lnTo>
                  <a:lnTo>
                    <a:pt x="706" y="148"/>
                  </a:lnTo>
                  <a:lnTo>
                    <a:pt x="689" y="143"/>
                  </a:lnTo>
                  <a:lnTo>
                    <a:pt x="671" y="137"/>
                  </a:lnTo>
                  <a:lnTo>
                    <a:pt x="653" y="133"/>
                  </a:lnTo>
                  <a:lnTo>
                    <a:pt x="634" y="130"/>
                  </a:lnTo>
                  <a:lnTo>
                    <a:pt x="613" y="127"/>
                  </a:lnTo>
                  <a:lnTo>
                    <a:pt x="594" y="123"/>
                  </a:lnTo>
                  <a:lnTo>
                    <a:pt x="574" y="122"/>
                  </a:lnTo>
                  <a:lnTo>
                    <a:pt x="552" y="121"/>
                  </a:lnTo>
                  <a:lnTo>
                    <a:pt x="53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4" name="Freeform 295">
              <a:extLst>
                <a:ext uri="{FF2B5EF4-FFF2-40B4-BE49-F238E27FC236}">
                  <a16:creationId xmlns:a16="http://schemas.microsoft.com/office/drawing/2014/main" id="{E73D72BF-CAE0-4EA0-ABB5-BADE10E54C9E}"/>
                </a:ext>
              </a:extLst>
            </p:cNvPr>
            <p:cNvSpPr>
              <a:spLocks/>
            </p:cNvSpPr>
            <p:nvPr/>
          </p:nvSpPr>
          <p:spPr bwMode="auto">
            <a:xfrm>
              <a:off x="11623675" y="2184401"/>
              <a:ext cx="12700" cy="12700"/>
            </a:xfrm>
            <a:custGeom>
              <a:avLst/>
              <a:gdLst>
                <a:gd name="T0" fmla="*/ 19 w 37"/>
                <a:gd name="T1" fmla="*/ 0 h 39"/>
                <a:gd name="T2" fmla="*/ 15 w 37"/>
                <a:gd name="T3" fmla="*/ 1 h 39"/>
                <a:gd name="T4" fmla="*/ 12 w 37"/>
                <a:gd name="T5" fmla="*/ 2 h 39"/>
                <a:gd name="T6" fmla="*/ 8 w 37"/>
                <a:gd name="T7" fmla="*/ 4 h 39"/>
                <a:gd name="T8" fmla="*/ 5 w 37"/>
                <a:gd name="T9" fmla="*/ 6 h 39"/>
                <a:gd name="T10" fmla="*/ 3 w 37"/>
                <a:gd name="T11" fmla="*/ 9 h 39"/>
                <a:gd name="T12" fmla="*/ 1 w 37"/>
                <a:gd name="T13" fmla="*/ 13 h 39"/>
                <a:gd name="T14" fmla="*/ 0 w 37"/>
                <a:gd name="T15" fmla="*/ 16 h 39"/>
                <a:gd name="T16" fmla="*/ 0 w 37"/>
                <a:gd name="T17" fmla="*/ 20 h 39"/>
                <a:gd name="T18" fmla="*/ 0 w 37"/>
                <a:gd name="T19" fmla="*/ 23 h 39"/>
                <a:gd name="T20" fmla="*/ 1 w 37"/>
                <a:gd name="T21" fmla="*/ 28 h 39"/>
                <a:gd name="T22" fmla="*/ 3 w 37"/>
                <a:gd name="T23" fmla="*/ 31 h 39"/>
                <a:gd name="T24" fmla="*/ 5 w 37"/>
                <a:gd name="T25" fmla="*/ 33 h 39"/>
                <a:gd name="T26" fmla="*/ 8 w 37"/>
                <a:gd name="T27" fmla="*/ 36 h 39"/>
                <a:gd name="T28" fmla="*/ 12 w 37"/>
                <a:gd name="T29" fmla="*/ 37 h 39"/>
                <a:gd name="T30" fmla="*/ 15 w 37"/>
                <a:gd name="T31" fmla="*/ 39 h 39"/>
                <a:gd name="T32" fmla="*/ 19 w 37"/>
                <a:gd name="T33" fmla="*/ 39 h 39"/>
                <a:gd name="T34" fmla="*/ 22 w 37"/>
                <a:gd name="T35" fmla="*/ 38 h 39"/>
                <a:gd name="T36" fmla="*/ 27 w 37"/>
                <a:gd name="T37" fmla="*/ 37 h 39"/>
                <a:gd name="T38" fmla="*/ 30 w 37"/>
                <a:gd name="T39" fmla="*/ 36 h 39"/>
                <a:gd name="T40" fmla="*/ 32 w 37"/>
                <a:gd name="T41" fmla="*/ 33 h 39"/>
                <a:gd name="T42" fmla="*/ 34 w 37"/>
                <a:gd name="T43" fmla="*/ 31 h 39"/>
                <a:gd name="T44" fmla="*/ 36 w 37"/>
                <a:gd name="T45" fmla="*/ 28 h 39"/>
                <a:gd name="T46" fmla="*/ 37 w 37"/>
                <a:gd name="T47" fmla="*/ 23 h 39"/>
                <a:gd name="T48" fmla="*/ 37 w 37"/>
                <a:gd name="T49" fmla="*/ 20 h 39"/>
                <a:gd name="T50" fmla="*/ 37 w 37"/>
                <a:gd name="T51" fmla="*/ 16 h 39"/>
                <a:gd name="T52" fmla="*/ 36 w 37"/>
                <a:gd name="T53" fmla="*/ 13 h 39"/>
                <a:gd name="T54" fmla="*/ 34 w 37"/>
                <a:gd name="T55" fmla="*/ 9 h 39"/>
                <a:gd name="T56" fmla="*/ 32 w 37"/>
                <a:gd name="T57" fmla="*/ 6 h 39"/>
                <a:gd name="T58" fmla="*/ 30 w 37"/>
                <a:gd name="T59" fmla="*/ 4 h 39"/>
                <a:gd name="T60" fmla="*/ 27 w 37"/>
                <a:gd name="T61" fmla="*/ 2 h 39"/>
                <a:gd name="T62" fmla="*/ 22 w 37"/>
                <a:gd name="T63" fmla="*/ 1 h 39"/>
                <a:gd name="T64" fmla="*/ 19 w 37"/>
                <a:gd name="T6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39">
                  <a:moveTo>
                    <a:pt x="19" y="0"/>
                  </a:moveTo>
                  <a:lnTo>
                    <a:pt x="15" y="1"/>
                  </a:lnTo>
                  <a:lnTo>
                    <a:pt x="12" y="2"/>
                  </a:lnTo>
                  <a:lnTo>
                    <a:pt x="8" y="4"/>
                  </a:lnTo>
                  <a:lnTo>
                    <a:pt x="5" y="6"/>
                  </a:lnTo>
                  <a:lnTo>
                    <a:pt x="3" y="9"/>
                  </a:lnTo>
                  <a:lnTo>
                    <a:pt x="1" y="13"/>
                  </a:lnTo>
                  <a:lnTo>
                    <a:pt x="0" y="16"/>
                  </a:lnTo>
                  <a:lnTo>
                    <a:pt x="0" y="20"/>
                  </a:lnTo>
                  <a:lnTo>
                    <a:pt x="0" y="23"/>
                  </a:lnTo>
                  <a:lnTo>
                    <a:pt x="1" y="28"/>
                  </a:lnTo>
                  <a:lnTo>
                    <a:pt x="3" y="31"/>
                  </a:lnTo>
                  <a:lnTo>
                    <a:pt x="5" y="33"/>
                  </a:lnTo>
                  <a:lnTo>
                    <a:pt x="8" y="36"/>
                  </a:lnTo>
                  <a:lnTo>
                    <a:pt x="12" y="37"/>
                  </a:lnTo>
                  <a:lnTo>
                    <a:pt x="15" y="39"/>
                  </a:lnTo>
                  <a:lnTo>
                    <a:pt x="19" y="39"/>
                  </a:lnTo>
                  <a:lnTo>
                    <a:pt x="22" y="38"/>
                  </a:lnTo>
                  <a:lnTo>
                    <a:pt x="27" y="37"/>
                  </a:lnTo>
                  <a:lnTo>
                    <a:pt x="30" y="36"/>
                  </a:lnTo>
                  <a:lnTo>
                    <a:pt x="32" y="33"/>
                  </a:lnTo>
                  <a:lnTo>
                    <a:pt x="34" y="31"/>
                  </a:lnTo>
                  <a:lnTo>
                    <a:pt x="36" y="28"/>
                  </a:lnTo>
                  <a:lnTo>
                    <a:pt x="37" y="23"/>
                  </a:lnTo>
                  <a:lnTo>
                    <a:pt x="37" y="20"/>
                  </a:lnTo>
                  <a:lnTo>
                    <a:pt x="37" y="16"/>
                  </a:lnTo>
                  <a:lnTo>
                    <a:pt x="36" y="13"/>
                  </a:lnTo>
                  <a:lnTo>
                    <a:pt x="34" y="9"/>
                  </a:lnTo>
                  <a:lnTo>
                    <a:pt x="32" y="6"/>
                  </a:lnTo>
                  <a:lnTo>
                    <a:pt x="30" y="4"/>
                  </a:lnTo>
                  <a:lnTo>
                    <a:pt x="27" y="2"/>
                  </a:lnTo>
                  <a:lnTo>
                    <a:pt x="22" y="1"/>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821" name="Freeform 180">
            <a:extLst>
              <a:ext uri="{FF2B5EF4-FFF2-40B4-BE49-F238E27FC236}">
                <a16:creationId xmlns:a16="http://schemas.microsoft.com/office/drawing/2014/main" id="{6C699BE3-1305-47AA-849A-8EBB2A3272A4}"/>
              </a:ext>
            </a:extLst>
          </p:cNvPr>
          <p:cNvSpPr>
            <a:spLocks noChangeAspect="1" noEditPoints="1"/>
          </p:cNvSpPr>
          <p:nvPr/>
        </p:nvSpPr>
        <p:spPr bwMode="auto">
          <a:xfrm>
            <a:off x="2760748" y="3801969"/>
            <a:ext cx="236641" cy="308144"/>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822" name="Group 36">
            <a:extLst>
              <a:ext uri="{FF2B5EF4-FFF2-40B4-BE49-F238E27FC236}">
                <a16:creationId xmlns:a16="http://schemas.microsoft.com/office/drawing/2014/main" id="{3D201513-14C6-4962-9393-C3DB9A0B035C}"/>
              </a:ext>
            </a:extLst>
          </p:cNvPr>
          <p:cNvGrpSpPr>
            <a:grpSpLocks noChangeAspect="1"/>
          </p:cNvGrpSpPr>
          <p:nvPr/>
        </p:nvGrpSpPr>
        <p:grpSpPr>
          <a:xfrm>
            <a:off x="3227125" y="3801969"/>
            <a:ext cx="236641" cy="308144"/>
            <a:chOff x="11066463" y="1360488"/>
            <a:chExt cx="220663" cy="287338"/>
          </a:xfrm>
          <a:solidFill>
            <a:schemeClr val="bg2"/>
          </a:solidFill>
        </p:grpSpPr>
        <p:sp>
          <p:nvSpPr>
            <p:cNvPr id="823" name="Freeform 180">
              <a:extLst>
                <a:ext uri="{FF2B5EF4-FFF2-40B4-BE49-F238E27FC236}">
                  <a16:creationId xmlns:a16="http://schemas.microsoft.com/office/drawing/2014/main" id="{B30BAE1C-A436-4359-B310-20994C9D81B1}"/>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4" name="Freeform 181">
              <a:extLst>
                <a:ext uri="{FF2B5EF4-FFF2-40B4-BE49-F238E27FC236}">
                  <a16:creationId xmlns:a16="http://schemas.microsoft.com/office/drawing/2014/main" id="{547B2AF2-9F32-4C32-B78A-8BC96584347E}"/>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5" name="Freeform 182">
              <a:extLst>
                <a:ext uri="{FF2B5EF4-FFF2-40B4-BE49-F238E27FC236}">
                  <a16:creationId xmlns:a16="http://schemas.microsoft.com/office/drawing/2014/main" id="{A569C4C2-7374-41CF-95E8-4D76F24C881F}"/>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6" name="Freeform 183">
              <a:extLst>
                <a:ext uri="{FF2B5EF4-FFF2-40B4-BE49-F238E27FC236}">
                  <a16:creationId xmlns:a16="http://schemas.microsoft.com/office/drawing/2014/main" id="{B47674F2-DA2A-49BD-A447-41F38310BD87}"/>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7" name="Freeform 184">
              <a:extLst>
                <a:ext uri="{FF2B5EF4-FFF2-40B4-BE49-F238E27FC236}">
                  <a16:creationId xmlns:a16="http://schemas.microsoft.com/office/drawing/2014/main" id="{A850DF7D-259A-4BE3-AD4D-FE0A9C1CE84B}"/>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8" name="Freeform 185">
              <a:extLst>
                <a:ext uri="{FF2B5EF4-FFF2-40B4-BE49-F238E27FC236}">
                  <a16:creationId xmlns:a16="http://schemas.microsoft.com/office/drawing/2014/main" id="{67E15788-F58E-442A-B146-C2BF1B1656EE}"/>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9" name="Freeform 186">
              <a:extLst>
                <a:ext uri="{FF2B5EF4-FFF2-40B4-BE49-F238E27FC236}">
                  <a16:creationId xmlns:a16="http://schemas.microsoft.com/office/drawing/2014/main" id="{A3D3DD90-A23F-4162-8F9A-42193E0B926F}"/>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34" name="Group 38">
            <a:extLst>
              <a:ext uri="{FF2B5EF4-FFF2-40B4-BE49-F238E27FC236}">
                <a16:creationId xmlns:a16="http://schemas.microsoft.com/office/drawing/2014/main" id="{3D272311-F146-416A-ADD3-27FF77707C22}"/>
              </a:ext>
            </a:extLst>
          </p:cNvPr>
          <p:cNvGrpSpPr>
            <a:grpSpLocks noChangeAspect="1"/>
          </p:cNvGrpSpPr>
          <p:nvPr/>
        </p:nvGrpSpPr>
        <p:grpSpPr>
          <a:xfrm>
            <a:off x="3674454" y="3801969"/>
            <a:ext cx="258221" cy="308144"/>
            <a:chOff x="9907588" y="1354138"/>
            <a:chExt cx="238125" cy="284163"/>
          </a:xfrm>
          <a:solidFill>
            <a:schemeClr val="bg2"/>
          </a:solidFill>
        </p:grpSpPr>
        <p:sp>
          <p:nvSpPr>
            <p:cNvPr id="835" name="Freeform 383">
              <a:extLst>
                <a:ext uri="{FF2B5EF4-FFF2-40B4-BE49-F238E27FC236}">
                  <a16:creationId xmlns:a16="http://schemas.microsoft.com/office/drawing/2014/main" id="{4EA065ED-A8AB-428F-8C72-572A6740A3AD}"/>
                </a:ext>
              </a:extLst>
            </p:cNvPr>
            <p:cNvSpPr>
              <a:spLocks noEditPoints="1"/>
            </p:cNvSpPr>
            <p:nvPr/>
          </p:nvSpPr>
          <p:spPr bwMode="auto">
            <a:xfrm>
              <a:off x="9950450" y="1443038"/>
              <a:ext cx="152400" cy="149225"/>
            </a:xfrm>
            <a:custGeom>
              <a:avLst/>
              <a:gdLst>
                <a:gd name="T0" fmla="*/ 184 w 480"/>
                <a:gd name="T1" fmla="*/ 194 h 466"/>
                <a:gd name="T2" fmla="*/ 191 w 480"/>
                <a:gd name="T3" fmla="*/ 189 h 466"/>
                <a:gd name="T4" fmla="*/ 239 w 480"/>
                <a:gd name="T5" fmla="*/ 59 h 466"/>
                <a:gd name="T6" fmla="*/ 287 w 480"/>
                <a:gd name="T7" fmla="*/ 189 h 466"/>
                <a:gd name="T8" fmla="*/ 295 w 480"/>
                <a:gd name="T9" fmla="*/ 194 h 466"/>
                <a:gd name="T10" fmla="*/ 420 w 480"/>
                <a:gd name="T11" fmla="*/ 195 h 466"/>
                <a:gd name="T12" fmla="*/ 321 w 480"/>
                <a:gd name="T13" fmla="*/ 271 h 466"/>
                <a:gd name="T14" fmla="*/ 317 w 480"/>
                <a:gd name="T15" fmla="*/ 280 h 466"/>
                <a:gd name="T16" fmla="*/ 362 w 480"/>
                <a:gd name="T17" fmla="*/ 417 h 466"/>
                <a:gd name="T18" fmla="*/ 244 w 480"/>
                <a:gd name="T19" fmla="*/ 346 h 466"/>
                <a:gd name="T20" fmla="*/ 236 w 480"/>
                <a:gd name="T21" fmla="*/ 346 h 466"/>
                <a:gd name="T22" fmla="*/ 115 w 480"/>
                <a:gd name="T23" fmla="*/ 417 h 466"/>
                <a:gd name="T24" fmla="*/ 158 w 480"/>
                <a:gd name="T25" fmla="*/ 280 h 466"/>
                <a:gd name="T26" fmla="*/ 156 w 480"/>
                <a:gd name="T27" fmla="*/ 271 h 466"/>
                <a:gd name="T28" fmla="*/ 59 w 480"/>
                <a:gd name="T29" fmla="*/ 195 h 466"/>
                <a:gd name="T30" fmla="*/ 126 w 480"/>
                <a:gd name="T31" fmla="*/ 285 h 466"/>
                <a:gd name="T32" fmla="*/ 75 w 480"/>
                <a:gd name="T33" fmla="*/ 450 h 466"/>
                <a:gd name="T34" fmla="*/ 77 w 480"/>
                <a:gd name="T35" fmla="*/ 458 h 466"/>
                <a:gd name="T36" fmla="*/ 84 w 480"/>
                <a:gd name="T37" fmla="*/ 465 h 466"/>
                <a:gd name="T38" fmla="*/ 94 w 480"/>
                <a:gd name="T39" fmla="*/ 465 h 466"/>
                <a:gd name="T40" fmla="*/ 239 w 480"/>
                <a:gd name="T41" fmla="*/ 378 h 466"/>
                <a:gd name="T42" fmla="*/ 386 w 480"/>
                <a:gd name="T43" fmla="*/ 465 h 466"/>
                <a:gd name="T44" fmla="*/ 395 w 480"/>
                <a:gd name="T45" fmla="*/ 465 h 466"/>
                <a:gd name="T46" fmla="*/ 402 w 480"/>
                <a:gd name="T47" fmla="*/ 458 h 466"/>
                <a:gd name="T48" fmla="*/ 405 w 480"/>
                <a:gd name="T49" fmla="*/ 450 h 466"/>
                <a:gd name="T50" fmla="*/ 350 w 480"/>
                <a:gd name="T51" fmla="*/ 285 h 466"/>
                <a:gd name="T52" fmla="*/ 477 w 480"/>
                <a:gd name="T53" fmla="*/ 189 h 466"/>
                <a:gd name="T54" fmla="*/ 480 w 480"/>
                <a:gd name="T55" fmla="*/ 181 h 466"/>
                <a:gd name="T56" fmla="*/ 477 w 480"/>
                <a:gd name="T57" fmla="*/ 171 h 466"/>
                <a:gd name="T58" fmla="*/ 469 w 480"/>
                <a:gd name="T59" fmla="*/ 166 h 466"/>
                <a:gd name="T60" fmla="*/ 310 w 480"/>
                <a:gd name="T61" fmla="*/ 166 h 466"/>
                <a:gd name="T62" fmla="*/ 251 w 480"/>
                <a:gd name="T63" fmla="*/ 6 h 466"/>
                <a:gd name="T64" fmla="*/ 245 w 480"/>
                <a:gd name="T65" fmla="*/ 1 h 466"/>
                <a:gd name="T66" fmla="*/ 235 w 480"/>
                <a:gd name="T67" fmla="*/ 1 h 466"/>
                <a:gd name="T68" fmla="*/ 228 w 480"/>
                <a:gd name="T69" fmla="*/ 6 h 466"/>
                <a:gd name="T70" fmla="*/ 169 w 480"/>
                <a:gd name="T71" fmla="*/ 166 h 466"/>
                <a:gd name="T72" fmla="*/ 10 w 480"/>
                <a:gd name="T73" fmla="*/ 166 h 466"/>
                <a:gd name="T74" fmla="*/ 3 w 480"/>
                <a:gd name="T75" fmla="*/ 171 h 466"/>
                <a:gd name="T76" fmla="*/ 0 w 480"/>
                <a:gd name="T77" fmla="*/ 181 h 466"/>
                <a:gd name="T78" fmla="*/ 2 w 480"/>
                <a:gd name="T79" fmla="*/ 189 h 466"/>
                <a:gd name="T80" fmla="*/ 126 w 480"/>
                <a:gd name="T81" fmla="*/ 285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0" h="466">
                  <a:moveTo>
                    <a:pt x="179" y="195"/>
                  </a:moveTo>
                  <a:lnTo>
                    <a:pt x="184" y="194"/>
                  </a:lnTo>
                  <a:lnTo>
                    <a:pt x="188" y="192"/>
                  </a:lnTo>
                  <a:lnTo>
                    <a:pt x="191" y="189"/>
                  </a:lnTo>
                  <a:lnTo>
                    <a:pt x="193" y="186"/>
                  </a:lnTo>
                  <a:lnTo>
                    <a:pt x="239" y="59"/>
                  </a:lnTo>
                  <a:lnTo>
                    <a:pt x="285" y="186"/>
                  </a:lnTo>
                  <a:lnTo>
                    <a:pt x="287" y="189"/>
                  </a:lnTo>
                  <a:lnTo>
                    <a:pt x="291" y="192"/>
                  </a:lnTo>
                  <a:lnTo>
                    <a:pt x="295" y="194"/>
                  </a:lnTo>
                  <a:lnTo>
                    <a:pt x="299" y="195"/>
                  </a:lnTo>
                  <a:lnTo>
                    <a:pt x="420" y="195"/>
                  </a:lnTo>
                  <a:lnTo>
                    <a:pt x="324" y="268"/>
                  </a:lnTo>
                  <a:lnTo>
                    <a:pt x="321" y="271"/>
                  </a:lnTo>
                  <a:lnTo>
                    <a:pt x="318" y="276"/>
                  </a:lnTo>
                  <a:lnTo>
                    <a:pt x="317" y="280"/>
                  </a:lnTo>
                  <a:lnTo>
                    <a:pt x="318" y="285"/>
                  </a:lnTo>
                  <a:lnTo>
                    <a:pt x="362" y="417"/>
                  </a:lnTo>
                  <a:lnTo>
                    <a:pt x="248" y="347"/>
                  </a:lnTo>
                  <a:lnTo>
                    <a:pt x="244" y="346"/>
                  </a:lnTo>
                  <a:lnTo>
                    <a:pt x="239" y="345"/>
                  </a:lnTo>
                  <a:lnTo>
                    <a:pt x="236" y="346"/>
                  </a:lnTo>
                  <a:lnTo>
                    <a:pt x="232" y="347"/>
                  </a:lnTo>
                  <a:lnTo>
                    <a:pt x="115" y="417"/>
                  </a:lnTo>
                  <a:lnTo>
                    <a:pt x="157" y="284"/>
                  </a:lnTo>
                  <a:lnTo>
                    <a:pt x="158" y="280"/>
                  </a:lnTo>
                  <a:lnTo>
                    <a:pt x="157" y="276"/>
                  </a:lnTo>
                  <a:lnTo>
                    <a:pt x="156" y="271"/>
                  </a:lnTo>
                  <a:lnTo>
                    <a:pt x="153" y="268"/>
                  </a:lnTo>
                  <a:lnTo>
                    <a:pt x="59" y="195"/>
                  </a:lnTo>
                  <a:lnTo>
                    <a:pt x="179" y="195"/>
                  </a:lnTo>
                  <a:close/>
                  <a:moveTo>
                    <a:pt x="126" y="285"/>
                  </a:moveTo>
                  <a:lnTo>
                    <a:pt x="76" y="445"/>
                  </a:lnTo>
                  <a:lnTo>
                    <a:pt x="75" y="450"/>
                  </a:lnTo>
                  <a:lnTo>
                    <a:pt x="76" y="455"/>
                  </a:lnTo>
                  <a:lnTo>
                    <a:pt x="77" y="458"/>
                  </a:lnTo>
                  <a:lnTo>
                    <a:pt x="80" y="462"/>
                  </a:lnTo>
                  <a:lnTo>
                    <a:pt x="84" y="465"/>
                  </a:lnTo>
                  <a:lnTo>
                    <a:pt x="90" y="466"/>
                  </a:lnTo>
                  <a:lnTo>
                    <a:pt x="94" y="465"/>
                  </a:lnTo>
                  <a:lnTo>
                    <a:pt x="97" y="464"/>
                  </a:lnTo>
                  <a:lnTo>
                    <a:pt x="239" y="378"/>
                  </a:lnTo>
                  <a:lnTo>
                    <a:pt x="381" y="464"/>
                  </a:lnTo>
                  <a:lnTo>
                    <a:pt x="386" y="465"/>
                  </a:lnTo>
                  <a:lnTo>
                    <a:pt x="391" y="465"/>
                  </a:lnTo>
                  <a:lnTo>
                    <a:pt x="395" y="465"/>
                  </a:lnTo>
                  <a:lnTo>
                    <a:pt x="400" y="462"/>
                  </a:lnTo>
                  <a:lnTo>
                    <a:pt x="402" y="458"/>
                  </a:lnTo>
                  <a:lnTo>
                    <a:pt x="404" y="454"/>
                  </a:lnTo>
                  <a:lnTo>
                    <a:pt x="405" y="450"/>
                  </a:lnTo>
                  <a:lnTo>
                    <a:pt x="404" y="445"/>
                  </a:lnTo>
                  <a:lnTo>
                    <a:pt x="350" y="285"/>
                  </a:lnTo>
                  <a:lnTo>
                    <a:pt x="473" y="192"/>
                  </a:lnTo>
                  <a:lnTo>
                    <a:pt x="477" y="189"/>
                  </a:lnTo>
                  <a:lnTo>
                    <a:pt x="479" y="185"/>
                  </a:lnTo>
                  <a:lnTo>
                    <a:pt x="480" y="181"/>
                  </a:lnTo>
                  <a:lnTo>
                    <a:pt x="479" y="175"/>
                  </a:lnTo>
                  <a:lnTo>
                    <a:pt x="477" y="171"/>
                  </a:lnTo>
                  <a:lnTo>
                    <a:pt x="473" y="168"/>
                  </a:lnTo>
                  <a:lnTo>
                    <a:pt x="469" y="166"/>
                  </a:lnTo>
                  <a:lnTo>
                    <a:pt x="465" y="166"/>
                  </a:lnTo>
                  <a:lnTo>
                    <a:pt x="310" y="166"/>
                  </a:lnTo>
                  <a:lnTo>
                    <a:pt x="254" y="11"/>
                  </a:lnTo>
                  <a:lnTo>
                    <a:pt x="251" y="6"/>
                  </a:lnTo>
                  <a:lnTo>
                    <a:pt x="248" y="3"/>
                  </a:lnTo>
                  <a:lnTo>
                    <a:pt x="245" y="1"/>
                  </a:lnTo>
                  <a:lnTo>
                    <a:pt x="239" y="0"/>
                  </a:lnTo>
                  <a:lnTo>
                    <a:pt x="235" y="1"/>
                  </a:lnTo>
                  <a:lnTo>
                    <a:pt x="231" y="3"/>
                  </a:lnTo>
                  <a:lnTo>
                    <a:pt x="228" y="6"/>
                  </a:lnTo>
                  <a:lnTo>
                    <a:pt x="225" y="11"/>
                  </a:lnTo>
                  <a:lnTo>
                    <a:pt x="169" y="166"/>
                  </a:lnTo>
                  <a:lnTo>
                    <a:pt x="15" y="166"/>
                  </a:lnTo>
                  <a:lnTo>
                    <a:pt x="10" y="166"/>
                  </a:lnTo>
                  <a:lnTo>
                    <a:pt x="6" y="168"/>
                  </a:lnTo>
                  <a:lnTo>
                    <a:pt x="3" y="171"/>
                  </a:lnTo>
                  <a:lnTo>
                    <a:pt x="0" y="175"/>
                  </a:lnTo>
                  <a:lnTo>
                    <a:pt x="0" y="181"/>
                  </a:lnTo>
                  <a:lnTo>
                    <a:pt x="0" y="185"/>
                  </a:lnTo>
                  <a:lnTo>
                    <a:pt x="2" y="189"/>
                  </a:lnTo>
                  <a:lnTo>
                    <a:pt x="5" y="192"/>
                  </a:lnTo>
                  <a:lnTo>
                    <a:pt x="126"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6" name="Freeform 384">
              <a:extLst>
                <a:ext uri="{FF2B5EF4-FFF2-40B4-BE49-F238E27FC236}">
                  <a16:creationId xmlns:a16="http://schemas.microsoft.com/office/drawing/2014/main" id="{8F2B9B11-B53F-4044-B62B-9DB32AA4DBDA}"/>
                </a:ext>
              </a:extLst>
            </p:cNvPr>
            <p:cNvSpPr>
              <a:spLocks/>
            </p:cNvSpPr>
            <p:nvPr/>
          </p:nvSpPr>
          <p:spPr bwMode="auto">
            <a:xfrm>
              <a:off x="9936163" y="1382713"/>
              <a:ext cx="200025" cy="7938"/>
            </a:xfrm>
            <a:custGeom>
              <a:avLst/>
              <a:gdLst>
                <a:gd name="T0" fmla="*/ 15 w 629"/>
                <a:gd name="T1" fmla="*/ 0 h 29"/>
                <a:gd name="T2" fmla="*/ 12 w 629"/>
                <a:gd name="T3" fmla="*/ 0 h 29"/>
                <a:gd name="T4" fmla="*/ 9 w 629"/>
                <a:gd name="T5" fmla="*/ 1 h 29"/>
                <a:gd name="T6" fmla="*/ 7 w 629"/>
                <a:gd name="T7" fmla="*/ 2 h 29"/>
                <a:gd name="T8" fmla="*/ 4 w 629"/>
                <a:gd name="T9" fmla="*/ 4 h 29"/>
                <a:gd name="T10" fmla="*/ 2 w 629"/>
                <a:gd name="T11" fmla="*/ 6 h 29"/>
                <a:gd name="T12" fmla="*/ 1 w 629"/>
                <a:gd name="T13" fmla="*/ 9 h 29"/>
                <a:gd name="T14" fmla="*/ 0 w 629"/>
                <a:gd name="T15" fmla="*/ 11 h 29"/>
                <a:gd name="T16" fmla="*/ 0 w 629"/>
                <a:gd name="T17" fmla="*/ 14 h 29"/>
                <a:gd name="T18" fmla="*/ 0 w 629"/>
                <a:gd name="T19" fmla="*/ 18 h 29"/>
                <a:gd name="T20" fmla="*/ 1 w 629"/>
                <a:gd name="T21" fmla="*/ 20 h 29"/>
                <a:gd name="T22" fmla="*/ 2 w 629"/>
                <a:gd name="T23" fmla="*/ 23 h 29"/>
                <a:gd name="T24" fmla="*/ 4 w 629"/>
                <a:gd name="T25" fmla="*/ 25 h 29"/>
                <a:gd name="T26" fmla="*/ 7 w 629"/>
                <a:gd name="T27" fmla="*/ 27 h 29"/>
                <a:gd name="T28" fmla="*/ 9 w 629"/>
                <a:gd name="T29" fmla="*/ 28 h 29"/>
                <a:gd name="T30" fmla="*/ 12 w 629"/>
                <a:gd name="T31" fmla="*/ 29 h 29"/>
                <a:gd name="T32" fmla="*/ 15 w 629"/>
                <a:gd name="T33" fmla="*/ 29 h 29"/>
                <a:gd name="T34" fmla="*/ 614 w 629"/>
                <a:gd name="T35" fmla="*/ 29 h 29"/>
                <a:gd name="T36" fmla="*/ 618 w 629"/>
                <a:gd name="T37" fmla="*/ 29 h 29"/>
                <a:gd name="T38" fmla="*/ 621 w 629"/>
                <a:gd name="T39" fmla="*/ 28 h 29"/>
                <a:gd name="T40" fmla="*/ 623 w 629"/>
                <a:gd name="T41" fmla="*/ 27 h 29"/>
                <a:gd name="T42" fmla="*/ 625 w 629"/>
                <a:gd name="T43" fmla="*/ 25 h 29"/>
                <a:gd name="T44" fmla="*/ 627 w 629"/>
                <a:gd name="T45" fmla="*/ 23 h 29"/>
                <a:gd name="T46" fmla="*/ 628 w 629"/>
                <a:gd name="T47" fmla="*/ 20 h 29"/>
                <a:gd name="T48" fmla="*/ 629 w 629"/>
                <a:gd name="T49" fmla="*/ 18 h 29"/>
                <a:gd name="T50" fmla="*/ 629 w 629"/>
                <a:gd name="T51" fmla="*/ 14 h 29"/>
                <a:gd name="T52" fmla="*/ 629 w 629"/>
                <a:gd name="T53" fmla="*/ 11 h 29"/>
                <a:gd name="T54" fmla="*/ 628 w 629"/>
                <a:gd name="T55" fmla="*/ 9 h 29"/>
                <a:gd name="T56" fmla="*/ 627 w 629"/>
                <a:gd name="T57" fmla="*/ 6 h 29"/>
                <a:gd name="T58" fmla="*/ 625 w 629"/>
                <a:gd name="T59" fmla="*/ 4 h 29"/>
                <a:gd name="T60" fmla="*/ 623 w 629"/>
                <a:gd name="T61" fmla="*/ 2 h 29"/>
                <a:gd name="T62" fmla="*/ 621 w 629"/>
                <a:gd name="T63" fmla="*/ 1 h 29"/>
                <a:gd name="T64" fmla="*/ 618 w 629"/>
                <a:gd name="T65" fmla="*/ 0 h 29"/>
                <a:gd name="T66" fmla="*/ 614 w 629"/>
                <a:gd name="T67" fmla="*/ 0 h 29"/>
                <a:gd name="T68" fmla="*/ 15 w 629"/>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9" h="29">
                  <a:moveTo>
                    <a:pt x="15" y="0"/>
                  </a:moveTo>
                  <a:lnTo>
                    <a:pt x="12" y="0"/>
                  </a:lnTo>
                  <a:lnTo>
                    <a:pt x="9" y="1"/>
                  </a:lnTo>
                  <a:lnTo>
                    <a:pt x="7" y="2"/>
                  </a:lnTo>
                  <a:lnTo>
                    <a:pt x="4" y="4"/>
                  </a:lnTo>
                  <a:lnTo>
                    <a:pt x="2" y="6"/>
                  </a:lnTo>
                  <a:lnTo>
                    <a:pt x="1" y="9"/>
                  </a:lnTo>
                  <a:lnTo>
                    <a:pt x="0" y="11"/>
                  </a:lnTo>
                  <a:lnTo>
                    <a:pt x="0" y="14"/>
                  </a:lnTo>
                  <a:lnTo>
                    <a:pt x="0" y="18"/>
                  </a:lnTo>
                  <a:lnTo>
                    <a:pt x="1" y="20"/>
                  </a:lnTo>
                  <a:lnTo>
                    <a:pt x="2" y="23"/>
                  </a:lnTo>
                  <a:lnTo>
                    <a:pt x="4" y="25"/>
                  </a:lnTo>
                  <a:lnTo>
                    <a:pt x="7" y="27"/>
                  </a:lnTo>
                  <a:lnTo>
                    <a:pt x="9" y="28"/>
                  </a:lnTo>
                  <a:lnTo>
                    <a:pt x="12" y="29"/>
                  </a:lnTo>
                  <a:lnTo>
                    <a:pt x="15" y="29"/>
                  </a:lnTo>
                  <a:lnTo>
                    <a:pt x="614" y="29"/>
                  </a:lnTo>
                  <a:lnTo>
                    <a:pt x="618" y="29"/>
                  </a:lnTo>
                  <a:lnTo>
                    <a:pt x="621" y="28"/>
                  </a:lnTo>
                  <a:lnTo>
                    <a:pt x="623" y="27"/>
                  </a:lnTo>
                  <a:lnTo>
                    <a:pt x="625" y="25"/>
                  </a:lnTo>
                  <a:lnTo>
                    <a:pt x="627" y="23"/>
                  </a:lnTo>
                  <a:lnTo>
                    <a:pt x="628" y="20"/>
                  </a:lnTo>
                  <a:lnTo>
                    <a:pt x="629" y="18"/>
                  </a:lnTo>
                  <a:lnTo>
                    <a:pt x="629" y="14"/>
                  </a:lnTo>
                  <a:lnTo>
                    <a:pt x="629" y="11"/>
                  </a:lnTo>
                  <a:lnTo>
                    <a:pt x="628" y="9"/>
                  </a:lnTo>
                  <a:lnTo>
                    <a:pt x="627" y="6"/>
                  </a:lnTo>
                  <a:lnTo>
                    <a:pt x="625" y="4"/>
                  </a:lnTo>
                  <a:lnTo>
                    <a:pt x="623" y="2"/>
                  </a:lnTo>
                  <a:lnTo>
                    <a:pt x="621" y="1"/>
                  </a:lnTo>
                  <a:lnTo>
                    <a:pt x="618" y="0"/>
                  </a:lnTo>
                  <a:lnTo>
                    <a:pt x="614"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7" name="Freeform 385">
              <a:extLst>
                <a:ext uri="{FF2B5EF4-FFF2-40B4-BE49-F238E27FC236}">
                  <a16:creationId xmlns:a16="http://schemas.microsoft.com/office/drawing/2014/main" id="{F199E7FE-7928-43D3-B547-9A0695722B40}"/>
                </a:ext>
              </a:extLst>
            </p:cNvPr>
            <p:cNvSpPr>
              <a:spLocks noEditPoints="1"/>
            </p:cNvSpPr>
            <p:nvPr/>
          </p:nvSpPr>
          <p:spPr bwMode="auto">
            <a:xfrm>
              <a:off x="9907588" y="1354138"/>
              <a:ext cx="238125" cy="284163"/>
            </a:xfrm>
            <a:custGeom>
              <a:avLst/>
              <a:gdLst>
                <a:gd name="T0" fmla="*/ 85 w 750"/>
                <a:gd name="T1" fmla="*/ 868 h 899"/>
                <a:gd name="T2" fmla="*/ 68 w 750"/>
                <a:gd name="T3" fmla="*/ 864 h 899"/>
                <a:gd name="T4" fmla="*/ 53 w 750"/>
                <a:gd name="T5" fmla="*/ 856 h 899"/>
                <a:gd name="T6" fmla="*/ 41 w 750"/>
                <a:gd name="T7" fmla="*/ 843 h 899"/>
                <a:gd name="T8" fmla="*/ 33 w 750"/>
                <a:gd name="T9" fmla="*/ 827 h 899"/>
                <a:gd name="T10" fmla="*/ 31 w 750"/>
                <a:gd name="T11" fmla="*/ 809 h 899"/>
                <a:gd name="T12" fmla="*/ 46 w 750"/>
                <a:gd name="T13" fmla="*/ 191 h 899"/>
                <a:gd name="T14" fmla="*/ 74 w 750"/>
                <a:gd name="T15" fmla="*/ 205 h 899"/>
                <a:gd name="T16" fmla="*/ 106 w 750"/>
                <a:gd name="T17" fmla="*/ 209 h 899"/>
                <a:gd name="T18" fmla="*/ 735 w 750"/>
                <a:gd name="T19" fmla="*/ 179 h 899"/>
                <a:gd name="T20" fmla="*/ 91 w 750"/>
                <a:gd name="T21" fmla="*/ 178 h 899"/>
                <a:gd name="T22" fmla="*/ 70 w 750"/>
                <a:gd name="T23" fmla="*/ 171 h 899"/>
                <a:gd name="T24" fmla="*/ 53 w 750"/>
                <a:gd name="T25" fmla="*/ 158 h 899"/>
                <a:gd name="T26" fmla="*/ 40 w 750"/>
                <a:gd name="T27" fmla="*/ 140 h 899"/>
                <a:gd name="T28" fmla="*/ 32 w 750"/>
                <a:gd name="T29" fmla="*/ 119 h 899"/>
                <a:gd name="T30" fmla="*/ 31 w 750"/>
                <a:gd name="T31" fmla="*/ 97 h 899"/>
                <a:gd name="T32" fmla="*/ 37 w 750"/>
                <a:gd name="T33" fmla="*/ 76 h 899"/>
                <a:gd name="T34" fmla="*/ 48 w 750"/>
                <a:gd name="T35" fmla="*/ 56 h 899"/>
                <a:gd name="T36" fmla="*/ 63 w 750"/>
                <a:gd name="T37" fmla="*/ 43 h 899"/>
                <a:gd name="T38" fmla="*/ 84 w 750"/>
                <a:gd name="T39" fmla="*/ 33 h 899"/>
                <a:gd name="T40" fmla="*/ 106 w 750"/>
                <a:gd name="T41" fmla="*/ 30 h 899"/>
                <a:gd name="T42" fmla="*/ 742 w 750"/>
                <a:gd name="T43" fmla="*/ 29 h 899"/>
                <a:gd name="T44" fmla="*/ 748 w 750"/>
                <a:gd name="T45" fmla="*/ 23 h 899"/>
                <a:gd name="T46" fmla="*/ 750 w 750"/>
                <a:gd name="T47" fmla="*/ 15 h 899"/>
                <a:gd name="T48" fmla="*/ 748 w 750"/>
                <a:gd name="T49" fmla="*/ 6 h 899"/>
                <a:gd name="T50" fmla="*/ 742 w 750"/>
                <a:gd name="T51" fmla="*/ 1 h 899"/>
                <a:gd name="T52" fmla="*/ 106 w 750"/>
                <a:gd name="T53" fmla="*/ 0 h 899"/>
                <a:gd name="T54" fmla="*/ 75 w 750"/>
                <a:gd name="T55" fmla="*/ 4 h 899"/>
                <a:gd name="T56" fmla="*/ 47 w 750"/>
                <a:gd name="T57" fmla="*/ 18 h 899"/>
                <a:gd name="T58" fmla="*/ 25 w 750"/>
                <a:gd name="T59" fmla="*/ 38 h 899"/>
                <a:gd name="T60" fmla="*/ 9 w 750"/>
                <a:gd name="T61" fmla="*/ 64 h 899"/>
                <a:gd name="T62" fmla="*/ 1 w 750"/>
                <a:gd name="T63" fmla="*/ 94 h 899"/>
                <a:gd name="T64" fmla="*/ 1 w 750"/>
                <a:gd name="T65" fmla="*/ 818 h 899"/>
                <a:gd name="T66" fmla="*/ 8 w 750"/>
                <a:gd name="T67" fmla="*/ 844 h 899"/>
                <a:gd name="T68" fmla="*/ 22 w 750"/>
                <a:gd name="T69" fmla="*/ 866 h 899"/>
                <a:gd name="T70" fmla="*/ 41 w 750"/>
                <a:gd name="T71" fmla="*/ 883 h 899"/>
                <a:gd name="T72" fmla="*/ 64 w 750"/>
                <a:gd name="T73" fmla="*/ 895 h 899"/>
                <a:gd name="T74" fmla="*/ 91 w 750"/>
                <a:gd name="T75" fmla="*/ 899 h 899"/>
                <a:gd name="T76" fmla="*/ 742 w 750"/>
                <a:gd name="T77" fmla="*/ 898 h 899"/>
                <a:gd name="T78" fmla="*/ 748 w 750"/>
                <a:gd name="T79" fmla="*/ 893 h 899"/>
                <a:gd name="T80" fmla="*/ 750 w 750"/>
                <a:gd name="T81" fmla="*/ 884 h 899"/>
                <a:gd name="T82" fmla="*/ 749 w 750"/>
                <a:gd name="T83" fmla="*/ 189 h 899"/>
                <a:gd name="T84" fmla="*/ 744 w 750"/>
                <a:gd name="T85" fmla="*/ 182 h 899"/>
                <a:gd name="T86" fmla="*/ 735 w 750"/>
                <a:gd name="T87" fmla="*/ 17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0" h="899">
                  <a:moveTo>
                    <a:pt x="720" y="869"/>
                  </a:moveTo>
                  <a:lnTo>
                    <a:pt x="91" y="869"/>
                  </a:lnTo>
                  <a:lnTo>
                    <a:pt x="85" y="868"/>
                  </a:lnTo>
                  <a:lnTo>
                    <a:pt x="79" y="868"/>
                  </a:lnTo>
                  <a:lnTo>
                    <a:pt x="73" y="866"/>
                  </a:lnTo>
                  <a:lnTo>
                    <a:pt x="68" y="864"/>
                  </a:lnTo>
                  <a:lnTo>
                    <a:pt x="62" y="862"/>
                  </a:lnTo>
                  <a:lnTo>
                    <a:pt x="58" y="859"/>
                  </a:lnTo>
                  <a:lnTo>
                    <a:pt x="53" y="856"/>
                  </a:lnTo>
                  <a:lnTo>
                    <a:pt x="48" y="851"/>
                  </a:lnTo>
                  <a:lnTo>
                    <a:pt x="44" y="847"/>
                  </a:lnTo>
                  <a:lnTo>
                    <a:pt x="41" y="843"/>
                  </a:lnTo>
                  <a:lnTo>
                    <a:pt x="38" y="837"/>
                  </a:lnTo>
                  <a:lnTo>
                    <a:pt x="36" y="832"/>
                  </a:lnTo>
                  <a:lnTo>
                    <a:pt x="33" y="827"/>
                  </a:lnTo>
                  <a:lnTo>
                    <a:pt x="32" y="820"/>
                  </a:lnTo>
                  <a:lnTo>
                    <a:pt x="31" y="815"/>
                  </a:lnTo>
                  <a:lnTo>
                    <a:pt x="31" y="809"/>
                  </a:lnTo>
                  <a:lnTo>
                    <a:pt x="31" y="178"/>
                  </a:lnTo>
                  <a:lnTo>
                    <a:pt x="39" y="185"/>
                  </a:lnTo>
                  <a:lnTo>
                    <a:pt x="46" y="191"/>
                  </a:lnTo>
                  <a:lnTo>
                    <a:pt x="55" y="196"/>
                  </a:lnTo>
                  <a:lnTo>
                    <a:pt x="64" y="201"/>
                  </a:lnTo>
                  <a:lnTo>
                    <a:pt x="74" y="205"/>
                  </a:lnTo>
                  <a:lnTo>
                    <a:pt x="85" y="207"/>
                  </a:lnTo>
                  <a:lnTo>
                    <a:pt x="95" y="209"/>
                  </a:lnTo>
                  <a:lnTo>
                    <a:pt x="106" y="209"/>
                  </a:lnTo>
                  <a:lnTo>
                    <a:pt x="720" y="209"/>
                  </a:lnTo>
                  <a:lnTo>
                    <a:pt x="720" y="869"/>
                  </a:lnTo>
                  <a:close/>
                  <a:moveTo>
                    <a:pt x="735" y="179"/>
                  </a:moveTo>
                  <a:lnTo>
                    <a:pt x="106" y="179"/>
                  </a:lnTo>
                  <a:lnTo>
                    <a:pt x="99" y="179"/>
                  </a:lnTo>
                  <a:lnTo>
                    <a:pt x="91" y="178"/>
                  </a:lnTo>
                  <a:lnTo>
                    <a:pt x="84" y="176"/>
                  </a:lnTo>
                  <a:lnTo>
                    <a:pt x="76" y="174"/>
                  </a:lnTo>
                  <a:lnTo>
                    <a:pt x="70" y="171"/>
                  </a:lnTo>
                  <a:lnTo>
                    <a:pt x="63" y="166"/>
                  </a:lnTo>
                  <a:lnTo>
                    <a:pt x="58" y="162"/>
                  </a:lnTo>
                  <a:lnTo>
                    <a:pt x="53" y="158"/>
                  </a:lnTo>
                  <a:lnTo>
                    <a:pt x="48" y="153"/>
                  </a:lnTo>
                  <a:lnTo>
                    <a:pt x="44" y="146"/>
                  </a:lnTo>
                  <a:lnTo>
                    <a:pt x="40" y="140"/>
                  </a:lnTo>
                  <a:lnTo>
                    <a:pt x="37" y="133"/>
                  </a:lnTo>
                  <a:lnTo>
                    <a:pt x="34" y="127"/>
                  </a:lnTo>
                  <a:lnTo>
                    <a:pt x="32" y="119"/>
                  </a:lnTo>
                  <a:lnTo>
                    <a:pt x="31" y="112"/>
                  </a:lnTo>
                  <a:lnTo>
                    <a:pt x="31" y="104"/>
                  </a:lnTo>
                  <a:lnTo>
                    <a:pt x="31" y="97"/>
                  </a:lnTo>
                  <a:lnTo>
                    <a:pt x="32" y="90"/>
                  </a:lnTo>
                  <a:lnTo>
                    <a:pt x="34" y="82"/>
                  </a:lnTo>
                  <a:lnTo>
                    <a:pt x="37" y="76"/>
                  </a:lnTo>
                  <a:lnTo>
                    <a:pt x="40" y="69"/>
                  </a:lnTo>
                  <a:lnTo>
                    <a:pt x="44" y="63"/>
                  </a:lnTo>
                  <a:lnTo>
                    <a:pt x="48" y="56"/>
                  </a:lnTo>
                  <a:lnTo>
                    <a:pt x="53" y="51"/>
                  </a:lnTo>
                  <a:lnTo>
                    <a:pt x="58" y="47"/>
                  </a:lnTo>
                  <a:lnTo>
                    <a:pt x="63" y="43"/>
                  </a:lnTo>
                  <a:lnTo>
                    <a:pt x="70" y="38"/>
                  </a:lnTo>
                  <a:lnTo>
                    <a:pt x="76" y="35"/>
                  </a:lnTo>
                  <a:lnTo>
                    <a:pt x="84" y="33"/>
                  </a:lnTo>
                  <a:lnTo>
                    <a:pt x="91" y="31"/>
                  </a:lnTo>
                  <a:lnTo>
                    <a:pt x="99" y="30"/>
                  </a:lnTo>
                  <a:lnTo>
                    <a:pt x="106" y="30"/>
                  </a:lnTo>
                  <a:lnTo>
                    <a:pt x="735" y="30"/>
                  </a:lnTo>
                  <a:lnTo>
                    <a:pt x="739" y="29"/>
                  </a:lnTo>
                  <a:lnTo>
                    <a:pt x="742" y="29"/>
                  </a:lnTo>
                  <a:lnTo>
                    <a:pt x="744" y="26"/>
                  </a:lnTo>
                  <a:lnTo>
                    <a:pt x="746" y="25"/>
                  </a:lnTo>
                  <a:lnTo>
                    <a:pt x="748" y="23"/>
                  </a:lnTo>
                  <a:lnTo>
                    <a:pt x="749" y="20"/>
                  </a:lnTo>
                  <a:lnTo>
                    <a:pt x="750" y="18"/>
                  </a:lnTo>
                  <a:lnTo>
                    <a:pt x="750" y="15"/>
                  </a:lnTo>
                  <a:lnTo>
                    <a:pt x="750" y="12"/>
                  </a:lnTo>
                  <a:lnTo>
                    <a:pt x="749" y="8"/>
                  </a:lnTo>
                  <a:lnTo>
                    <a:pt x="748" y="6"/>
                  </a:lnTo>
                  <a:lnTo>
                    <a:pt x="746" y="4"/>
                  </a:lnTo>
                  <a:lnTo>
                    <a:pt x="744" y="2"/>
                  </a:lnTo>
                  <a:lnTo>
                    <a:pt x="742" y="1"/>
                  </a:lnTo>
                  <a:lnTo>
                    <a:pt x="739" y="0"/>
                  </a:lnTo>
                  <a:lnTo>
                    <a:pt x="735" y="0"/>
                  </a:lnTo>
                  <a:lnTo>
                    <a:pt x="106" y="0"/>
                  </a:lnTo>
                  <a:lnTo>
                    <a:pt x="95" y="0"/>
                  </a:lnTo>
                  <a:lnTo>
                    <a:pt x="85" y="2"/>
                  </a:lnTo>
                  <a:lnTo>
                    <a:pt x="75" y="4"/>
                  </a:lnTo>
                  <a:lnTo>
                    <a:pt x="65" y="7"/>
                  </a:lnTo>
                  <a:lnTo>
                    <a:pt x="56" y="13"/>
                  </a:lnTo>
                  <a:lnTo>
                    <a:pt x="47" y="18"/>
                  </a:lnTo>
                  <a:lnTo>
                    <a:pt x="39" y="23"/>
                  </a:lnTo>
                  <a:lnTo>
                    <a:pt x="31" y="31"/>
                  </a:lnTo>
                  <a:lnTo>
                    <a:pt x="25" y="38"/>
                  </a:lnTo>
                  <a:lnTo>
                    <a:pt x="18" y="46"/>
                  </a:lnTo>
                  <a:lnTo>
                    <a:pt x="13" y="54"/>
                  </a:lnTo>
                  <a:lnTo>
                    <a:pt x="9" y="64"/>
                  </a:lnTo>
                  <a:lnTo>
                    <a:pt x="6" y="73"/>
                  </a:lnTo>
                  <a:lnTo>
                    <a:pt x="2" y="83"/>
                  </a:lnTo>
                  <a:lnTo>
                    <a:pt x="1" y="94"/>
                  </a:lnTo>
                  <a:lnTo>
                    <a:pt x="0" y="104"/>
                  </a:lnTo>
                  <a:lnTo>
                    <a:pt x="0" y="809"/>
                  </a:lnTo>
                  <a:lnTo>
                    <a:pt x="1" y="818"/>
                  </a:lnTo>
                  <a:lnTo>
                    <a:pt x="2" y="827"/>
                  </a:lnTo>
                  <a:lnTo>
                    <a:pt x="5" y="835"/>
                  </a:lnTo>
                  <a:lnTo>
                    <a:pt x="8" y="844"/>
                  </a:lnTo>
                  <a:lnTo>
                    <a:pt x="12" y="851"/>
                  </a:lnTo>
                  <a:lnTo>
                    <a:pt x="16" y="859"/>
                  </a:lnTo>
                  <a:lnTo>
                    <a:pt x="22" y="866"/>
                  </a:lnTo>
                  <a:lnTo>
                    <a:pt x="27" y="873"/>
                  </a:lnTo>
                  <a:lnTo>
                    <a:pt x="33" y="878"/>
                  </a:lnTo>
                  <a:lnTo>
                    <a:pt x="41" y="883"/>
                  </a:lnTo>
                  <a:lnTo>
                    <a:pt x="48" y="889"/>
                  </a:lnTo>
                  <a:lnTo>
                    <a:pt x="56" y="892"/>
                  </a:lnTo>
                  <a:lnTo>
                    <a:pt x="64" y="895"/>
                  </a:lnTo>
                  <a:lnTo>
                    <a:pt x="73" y="897"/>
                  </a:lnTo>
                  <a:lnTo>
                    <a:pt x="83" y="898"/>
                  </a:lnTo>
                  <a:lnTo>
                    <a:pt x="91" y="899"/>
                  </a:lnTo>
                  <a:lnTo>
                    <a:pt x="735" y="899"/>
                  </a:lnTo>
                  <a:lnTo>
                    <a:pt x="739" y="899"/>
                  </a:lnTo>
                  <a:lnTo>
                    <a:pt x="742" y="898"/>
                  </a:lnTo>
                  <a:lnTo>
                    <a:pt x="744" y="896"/>
                  </a:lnTo>
                  <a:lnTo>
                    <a:pt x="746" y="895"/>
                  </a:lnTo>
                  <a:lnTo>
                    <a:pt x="748" y="893"/>
                  </a:lnTo>
                  <a:lnTo>
                    <a:pt x="749" y="890"/>
                  </a:lnTo>
                  <a:lnTo>
                    <a:pt x="750" y="888"/>
                  </a:lnTo>
                  <a:lnTo>
                    <a:pt x="750" y="884"/>
                  </a:lnTo>
                  <a:lnTo>
                    <a:pt x="750" y="194"/>
                  </a:lnTo>
                  <a:lnTo>
                    <a:pt x="750" y="191"/>
                  </a:lnTo>
                  <a:lnTo>
                    <a:pt x="749" y="189"/>
                  </a:lnTo>
                  <a:lnTo>
                    <a:pt x="748" y="186"/>
                  </a:lnTo>
                  <a:lnTo>
                    <a:pt x="746" y="184"/>
                  </a:lnTo>
                  <a:lnTo>
                    <a:pt x="744" y="182"/>
                  </a:lnTo>
                  <a:lnTo>
                    <a:pt x="742" y="180"/>
                  </a:lnTo>
                  <a:lnTo>
                    <a:pt x="739" y="179"/>
                  </a:lnTo>
                  <a:lnTo>
                    <a:pt x="735" y="179"/>
                  </a:lnTo>
                  <a:lnTo>
                    <a:pt x="735"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38" name="Group 215">
            <a:extLst>
              <a:ext uri="{FF2B5EF4-FFF2-40B4-BE49-F238E27FC236}">
                <a16:creationId xmlns:a16="http://schemas.microsoft.com/office/drawing/2014/main" id="{C0341592-A62B-478C-923C-E99FA2E4E1E4}"/>
              </a:ext>
            </a:extLst>
          </p:cNvPr>
          <p:cNvGrpSpPr>
            <a:grpSpLocks noChangeAspect="1"/>
          </p:cNvGrpSpPr>
          <p:nvPr/>
        </p:nvGrpSpPr>
        <p:grpSpPr>
          <a:xfrm>
            <a:off x="4032334" y="3801969"/>
            <a:ext cx="309856" cy="308144"/>
            <a:chOff x="8167688" y="2505075"/>
            <a:chExt cx="287338" cy="285750"/>
          </a:xfrm>
          <a:solidFill>
            <a:schemeClr val="bg2"/>
          </a:solidFill>
        </p:grpSpPr>
        <p:sp>
          <p:nvSpPr>
            <p:cNvPr id="839" name="Freeform 347">
              <a:extLst>
                <a:ext uri="{FF2B5EF4-FFF2-40B4-BE49-F238E27FC236}">
                  <a16:creationId xmlns:a16="http://schemas.microsoft.com/office/drawing/2014/main" id="{F6FE4A10-F072-41CD-90CD-E63F5F0C3F18}"/>
                </a:ext>
              </a:extLst>
            </p:cNvPr>
            <p:cNvSpPr>
              <a:spLocks/>
            </p:cNvSpPr>
            <p:nvPr/>
          </p:nvSpPr>
          <p:spPr bwMode="auto">
            <a:xfrm>
              <a:off x="8343900" y="2692400"/>
              <a:ext cx="76200" cy="58738"/>
            </a:xfrm>
            <a:custGeom>
              <a:avLst/>
              <a:gdLst>
                <a:gd name="T0" fmla="*/ 214 w 240"/>
                <a:gd name="T1" fmla="*/ 5 h 187"/>
                <a:gd name="T2" fmla="*/ 90 w 240"/>
                <a:gd name="T3" fmla="*/ 143 h 187"/>
                <a:gd name="T4" fmla="*/ 26 w 240"/>
                <a:gd name="T5" fmla="*/ 79 h 187"/>
                <a:gd name="T6" fmla="*/ 24 w 240"/>
                <a:gd name="T7" fmla="*/ 77 h 187"/>
                <a:gd name="T8" fmla="*/ 20 w 240"/>
                <a:gd name="T9" fmla="*/ 75 h 187"/>
                <a:gd name="T10" fmla="*/ 18 w 240"/>
                <a:gd name="T11" fmla="*/ 75 h 187"/>
                <a:gd name="T12" fmla="*/ 15 w 240"/>
                <a:gd name="T13" fmla="*/ 73 h 187"/>
                <a:gd name="T14" fmla="*/ 12 w 240"/>
                <a:gd name="T15" fmla="*/ 75 h 187"/>
                <a:gd name="T16" fmla="*/ 10 w 240"/>
                <a:gd name="T17" fmla="*/ 76 h 187"/>
                <a:gd name="T18" fmla="*/ 6 w 240"/>
                <a:gd name="T19" fmla="*/ 77 h 187"/>
                <a:gd name="T20" fmla="*/ 4 w 240"/>
                <a:gd name="T21" fmla="*/ 79 h 187"/>
                <a:gd name="T22" fmla="*/ 2 w 240"/>
                <a:gd name="T23" fmla="*/ 81 h 187"/>
                <a:gd name="T24" fmla="*/ 1 w 240"/>
                <a:gd name="T25" fmla="*/ 84 h 187"/>
                <a:gd name="T26" fmla="*/ 0 w 240"/>
                <a:gd name="T27" fmla="*/ 86 h 187"/>
                <a:gd name="T28" fmla="*/ 0 w 240"/>
                <a:gd name="T29" fmla="*/ 90 h 187"/>
                <a:gd name="T30" fmla="*/ 0 w 240"/>
                <a:gd name="T31" fmla="*/ 93 h 187"/>
                <a:gd name="T32" fmla="*/ 1 w 240"/>
                <a:gd name="T33" fmla="*/ 95 h 187"/>
                <a:gd name="T34" fmla="*/ 2 w 240"/>
                <a:gd name="T35" fmla="*/ 97 h 187"/>
                <a:gd name="T36" fmla="*/ 4 w 240"/>
                <a:gd name="T37" fmla="*/ 99 h 187"/>
                <a:gd name="T38" fmla="*/ 91 w 240"/>
                <a:gd name="T39" fmla="*/ 187 h 187"/>
                <a:gd name="T40" fmla="*/ 237 w 240"/>
                <a:gd name="T41" fmla="*/ 24 h 187"/>
                <a:gd name="T42" fmla="*/ 239 w 240"/>
                <a:gd name="T43" fmla="*/ 22 h 187"/>
                <a:gd name="T44" fmla="*/ 240 w 240"/>
                <a:gd name="T45" fmla="*/ 19 h 187"/>
                <a:gd name="T46" fmla="*/ 240 w 240"/>
                <a:gd name="T47" fmla="*/ 17 h 187"/>
                <a:gd name="T48" fmla="*/ 240 w 240"/>
                <a:gd name="T49" fmla="*/ 14 h 187"/>
                <a:gd name="T50" fmla="*/ 240 w 240"/>
                <a:gd name="T51" fmla="*/ 11 h 187"/>
                <a:gd name="T52" fmla="*/ 239 w 240"/>
                <a:gd name="T53" fmla="*/ 8 h 187"/>
                <a:gd name="T54" fmla="*/ 238 w 240"/>
                <a:gd name="T55" fmla="*/ 6 h 187"/>
                <a:gd name="T56" fmla="*/ 235 w 240"/>
                <a:gd name="T57" fmla="*/ 3 h 187"/>
                <a:gd name="T58" fmla="*/ 233 w 240"/>
                <a:gd name="T59" fmla="*/ 2 h 187"/>
                <a:gd name="T60" fmla="*/ 230 w 240"/>
                <a:gd name="T61" fmla="*/ 1 h 187"/>
                <a:gd name="T62" fmla="*/ 227 w 240"/>
                <a:gd name="T63" fmla="*/ 0 h 187"/>
                <a:gd name="T64" fmla="*/ 225 w 240"/>
                <a:gd name="T65" fmla="*/ 0 h 187"/>
                <a:gd name="T66" fmla="*/ 218 w 240"/>
                <a:gd name="T67" fmla="*/ 2 h 187"/>
                <a:gd name="T68" fmla="*/ 214 w 240"/>
                <a:gd name="T69" fmla="*/ 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87">
                  <a:moveTo>
                    <a:pt x="214" y="5"/>
                  </a:moveTo>
                  <a:lnTo>
                    <a:pt x="90" y="143"/>
                  </a:lnTo>
                  <a:lnTo>
                    <a:pt x="26" y="79"/>
                  </a:lnTo>
                  <a:lnTo>
                    <a:pt x="24" y="77"/>
                  </a:lnTo>
                  <a:lnTo>
                    <a:pt x="20" y="75"/>
                  </a:lnTo>
                  <a:lnTo>
                    <a:pt x="18" y="75"/>
                  </a:lnTo>
                  <a:lnTo>
                    <a:pt x="15" y="73"/>
                  </a:lnTo>
                  <a:lnTo>
                    <a:pt x="12" y="75"/>
                  </a:lnTo>
                  <a:lnTo>
                    <a:pt x="10" y="76"/>
                  </a:lnTo>
                  <a:lnTo>
                    <a:pt x="6" y="77"/>
                  </a:lnTo>
                  <a:lnTo>
                    <a:pt x="4" y="79"/>
                  </a:lnTo>
                  <a:lnTo>
                    <a:pt x="2" y="81"/>
                  </a:lnTo>
                  <a:lnTo>
                    <a:pt x="1" y="84"/>
                  </a:lnTo>
                  <a:lnTo>
                    <a:pt x="0" y="86"/>
                  </a:lnTo>
                  <a:lnTo>
                    <a:pt x="0" y="90"/>
                  </a:lnTo>
                  <a:lnTo>
                    <a:pt x="0" y="93"/>
                  </a:lnTo>
                  <a:lnTo>
                    <a:pt x="1" y="95"/>
                  </a:lnTo>
                  <a:lnTo>
                    <a:pt x="2" y="97"/>
                  </a:lnTo>
                  <a:lnTo>
                    <a:pt x="4" y="99"/>
                  </a:lnTo>
                  <a:lnTo>
                    <a:pt x="91" y="187"/>
                  </a:lnTo>
                  <a:lnTo>
                    <a:pt x="237" y="24"/>
                  </a:lnTo>
                  <a:lnTo>
                    <a:pt x="239" y="22"/>
                  </a:lnTo>
                  <a:lnTo>
                    <a:pt x="240" y="19"/>
                  </a:lnTo>
                  <a:lnTo>
                    <a:pt x="240" y="17"/>
                  </a:lnTo>
                  <a:lnTo>
                    <a:pt x="240" y="14"/>
                  </a:lnTo>
                  <a:lnTo>
                    <a:pt x="240" y="11"/>
                  </a:lnTo>
                  <a:lnTo>
                    <a:pt x="239" y="8"/>
                  </a:lnTo>
                  <a:lnTo>
                    <a:pt x="238" y="6"/>
                  </a:lnTo>
                  <a:lnTo>
                    <a:pt x="235" y="3"/>
                  </a:lnTo>
                  <a:lnTo>
                    <a:pt x="233" y="2"/>
                  </a:lnTo>
                  <a:lnTo>
                    <a:pt x="230" y="1"/>
                  </a:lnTo>
                  <a:lnTo>
                    <a:pt x="227" y="0"/>
                  </a:lnTo>
                  <a:lnTo>
                    <a:pt x="225" y="0"/>
                  </a:lnTo>
                  <a:lnTo>
                    <a:pt x="218" y="2"/>
                  </a:lnTo>
                  <a:lnTo>
                    <a:pt x="2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348">
              <a:extLst>
                <a:ext uri="{FF2B5EF4-FFF2-40B4-BE49-F238E27FC236}">
                  <a16:creationId xmlns:a16="http://schemas.microsoft.com/office/drawing/2014/main" id="{F9A6677B-51B6-4F4E-8FEB-D68980694A18}"/>
                </a:ext>
              </a:extLst>
            </p:cNvPr>
            <p:cNvSpPr>
              <a:spLocks noEditPoints="1"/>
            </p:cNvSpPr>
            <p:nvPr/>
          </p:nvSpPr>
          <p:spPr bwMode="auto">
            <a:xfrm>
              <a:off x="8310563" y="2647950"/>
              <a:ext cx="144463" cy="142875"/>
            </a:xfrm>
            <a:custGeom>
              <a:avLst/>
              <a:gdLst>
                <a:gd name="T0" fmla="*/ 185 w 451"/>
                <a:gd name="T1" fmla="*/ 416 h 450"/>
                <a:gd name="T2" fmla="*/ 132 w 451"/>
                <a:gd name="T3" fmla="*/ 397 h 450"/>
                <a:gd name="T4" fmla="*/ 87 w 451"/>
                <a:gd name="T5" fmla="*/ 364 h 450"/>
                <a:gd name="T6" fmla="*/ 54 w 451"/>
                <a:gd name="T7" fmla="*/ 319 h 450"/>
                <a:gd name="T8" fmla="*/ 33 w 451"/>
                <a:gd name="T9" fmla="*/ 264 h 450"/>
                <a:gd name="T10" fmla="*/ 31 w 451"/>
                <a:gd name="T11" fmla="*/ 205 h 450"/>
                <a:gd name="T12" fmla="*/ 45 w 451"/>
                <a:gd name="T13" fmla="*/ 150 h 450"/>
                <a:gd name="T14" fmla="*/ 74 w 451"/>
                <a:gd name="T15" fmla="*/ 101 h 450"/>
                <a:gd name="T16" fmla="*/ 116 w 451"/>
                <a:gd name="T17" fmla="*/ 63 h 450"/>
                <a:gd name="T18" fmla="*/ 167 w 451"/>
                <a:gd name="T19" fmla="*/ 38 h 450"/>
                <a:gd name="T20" fmla="*/ 225 w 451"/>
                <a:gd name="T21" fmla="*/ 30 h 450"/>
                <a:gd name="T22" fmla="*/ 283 w 451"/>
                <a:gd name="T23" fmla="*/ 38 h 450"/>
                <a:gd name="T24" fmla="*/ 334 w 451"/>
                <a:gd name="T25" fmla="*/ 63 h 450"/>
                <a:gd name="T26" fmla="*/ 376 w 451"/>
                <a:gd name="T27" fmla="*/ 101 h 450"/>
                <a:gd name="T28" fmla="*/ 405 w 451"/>
                <a:gd name="T29" fmla="*/ 150 h 450"/>
                <a:gd name="T30" fmla="*/ 420 w 451"/>
                <a:gd name="T31" fmla="*/ 205 h 450"/>
                <a:gd name="T32" fmla="*/ 416 w 451"/>
                <a:gd name="T33" fmla="*/ 264 h 450"/>
                <a:gd name="T34" fmla="*/ 397 w 451"/>
                <a:gd name="T35" fmla="*/ 319 h 450"/>
                <a:gd name="T36" fmla="*/ 363 w 451"/>
                <a:gd name="T37" fmla="*/ 364 h 450"/>
                <a:gd name="T38" fmla="*/ 318 w 451"/>
                <a:gd name="T39" fmla="*/ 397 h 450"/>
                <a:gd name="T40" fmla="*/ 264 w 451"/>
                <a:gd name="T41" fmla="*/ 416 h 450"/>
                <a:gd name="T42" fmla="*/ 225 w 451"/>
                <a:gd name="T43" fmla="*/ 0 h 450"/>
                <a:gd name="T44" fmla="*/ 191 w 451"/>
                <a:gd name="T45" fmla="*/ 2 h 450"/>
                <a:gd name="T46" fmla="*/ 159 w 451"/>
                <a:gd name="T47" fmla="*/ 10 h 450"/>
                <a:gd name="T48" fmla="*/ 118 w 451"/>
                <a:gd name="T49" fmla="*/ 28 h 450"/>
                <a:gd name="T50" fmla="*/ 65 w 451"/>
                <a:gd name="T51" fmla="*/ 66 h 450"/>
                <a:gd name="T52" fmla="*/ 27 w 451"/>
                <a:gd name="T53" fmla="*/ 118 h 450"/>
                <a:gd name="T54" fmla="*/ 10 w 451"/>
                <a:gd name="T55" fmla="*/ 158 h 450"/>
                <a:gd name="T56" fmla="*/ 2 w 451"/>
                <a:gd name="T57" fmla="*/ 191 h 450"/>
                <a:gd name="T58" fmla="*/ 0 w 451"/>
                <a:gd name="T59" fmla="*/ 224 h 450"/>
                <a:gd name="T60" fmla="*/ 2 w 451"/>
                <a:gd name="T61" fmla="*/ 260 h 450"/>
                <a:gd name="T62" fmla="*/ 10 w 451"/>
                <a:gd name="T63" fmla="*/ 292 h 450"/>
                <a:gd name="T64" fmla="*/ 27 w 451"/>
                <a:gd name="T65" fmla="*/ 333 h 450"/>
                <a:gd name="T66" fmla="*/ 65 w 451"/>
                <a:gd name="T67" fmla="*/ 384 h 450"/>
                <a:gd name="T68" fmla="*/ 118 w 451"/>
                <a:gd name="T69" fmla="*/ 423 h 450"/>
                <a:gd name="T70" fmla="*/ 159 w 451"/>
                <a:gd name="T71" fmla="*/ 441 h 450"/>
                <a:gd name="T72" fmla="*/ 191 w 451"/>
                <a:gd name="T73" fmla="*/ 448 h 450"/>
                <a:gd name="T74" fmla="*/ 225 w 451"/>
                <a:gd name="T75" fmla="*/ 450 h 450"/>
                <a:gd name="T76" fmla="*/ 259 w 451"/>
                <a:gd name="T77" fmla="*/ 448 h 450"/>
                <a:gd name="T78" fmla="*/ 292 w 451"/>
                <a:gd name="T79" fmla="*/ 441 h 450"/>
                <a:gd name="T80" fmla="*/ 332 w 451"/>
                <a:gd name="T81" fmla="*/ 423 h 450"/>
                <a:gd name="T82" fmla="*/ 384 w 451"/>
                <a:gd name="T83" fmla="*/ 384 h 450"/>
                <a:gd name="T84" fmla="*/ 423 w 451"/>
                <a:gd name="T85" fmla="*/ 333 h 450"/>
                <a:gd name="T86" fmla="*/ 440 w 451"/>
                <a:gd name="T87" fmla="*/ 292 h 450"/>
                <a:gd name="T88" fmla="*/ 447 w 451"/>
                <a:gd name="T89" fmla="*/ 260 h 450"/>
                <a:gd name="T90" fmla="*/ 451 w 451"/>
                <a:gd name="T91" fmla="*/ 224 h 450"/>
                <a:gd name="T92" fmla="*/ 447 w 451"/>
                <a:gd name="T93" fmla="*/ 191 h 450"/>
                <a:gd name="T94" fmla="*/ 440 w 451"/>
                <a:gd name="T95" fmla="*/ 158 h 450"/>
                <a:gd name="T96" fmla="*/ 423 w 451"/>
                <a:gd name="T97" fmla="*/ 118 h 450"/>
                <a:gd name="T98" fmla="*/ 384 w 451"/>
                <a:gd name="T99" fmla="*/ 66 h 450"/>
                <a:gd name="T100" fmla="*/ 332 w 451"/>
                <a:gd name="T101" fmla="*/ 28 h 450"/>
                <a:gd name="T102" fmla="*/ 292 w 451"/>
                <a:gd name="T103" fmla="*/ 10 h 450"/>
                <a:gd name="T104" fmla="*/ 259 w 451"/>
                <a:gd name="T105" fmla="*/ 2 h 450"/>
                <a:gd name="T106" fmla="*/ 225 w 451"/>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1" h="450">
                  <a:moveTo>
                    <a:pt x="225" y="420"/>
                  </a:moveTo>
                  <a:lnTo>
                    <a:pt x="206" y="419"/>
                  </a:lnTo>
                  <a:lnTo>
                    <a:pt x="185" y="416"/>
                  </a:lnTo>
                  <a:lnTo>
                    <a:pt x="167" y="412"/>
                  </a:lnTo>
                  <a:lnTo>
                    <a:pt x="149" y="405"/>
                  </a:lnTo>
                  <a:lnTo>
                    <a:pt x="132" y="397"/>
                  </a:lnTo>
                  <a:lnTo>
                    <a:pt x="116" y="387"/>
                  </a:lnTo>
                  <a:lnTo>
                    <a:pt x="101" y="375"/>
                  </a:lnTo>
                  <a:lnTo>
                    <a:pt x="87" y="364"/>
                  </a:lnTo>
                  <a:lnTo>
                    <a:pt x="74" y="350"/>
                  </a:lnTo>
                  <a:lnTo>
                    <a:pt x="63" y="335"/>
                  </a:lnTo>
                  <a:lnTo>
                    <a:pt x="54" y="319"/>
                  </a:lnTo>
                  <a:lnTo>
                    <a:pt x="45" y="301"/>
                  </a:lnTo>
                  <a:lnTo>
                    <a:pt x="39" y="283"/>
                  </a:lnTo>
                  <a:lnTo>
                    <a:pt x="33" y="264"/>
                  </a:lnTo>
                  <a:lnTo>
                    <a:pt x="31" y="245"/>
                  </a:lnTo>
                  <a:lnTo>
                    <a:pt x="30" y="224"/>
                  </a:lnTo>
                  <a:lnTo>
                    <a:pt x="31" y="205"/>
                  </a:lnTo>
                  <a:lnTo>
                    <a:pt x="33" y="186"/>
                  </a:lnTo>
                  <a:lnTo>
                    <a:pt x="39" y="168"/>
                  </a:lnTo>
                  <a:lnTo>
                    <a:pt x="45" y="150"/>
                  </a:lnTo>
                  <a:lnTo>
                    <a:pt x="54" y="132"/>
                  </a:lnTo>
                  <a:lnTo>
                    <a:pt x="63" y="116"/>
                  </a:lnTo>
                  <a:lnTo>
                    <a:pt x="74" y="101"/>
                  </a:lnTo>
                  <a:lnTo>
                    <a:pt x="87" y="87"/>
                  </a:lnTo>
                  <a:lnTo>
                    <a:pt x="101" y="75"/>
                  </a:lnTo>
                  <a:lnTo>
                    <a:pt x="116" y="63"/>
                  </a:lnTo>
                  <a:lnTo>
                    <a:pt x="132" y="53"/>
                  </a:lnTo>
                  <a:lnTo>
                    <a:pt x="149" y="46"/>
                  </a:lnTo>
                  <a:lnTo>
                    <a:pt x="167" y="38"/>
                  </a:lnTo>
                  <a:lnTo>
                    <a:pt x="185" y="34"/>
                  </a:lnTo>
                  <a:lnTo>
                    <a:pt x="206" y="31"/>
                  </a:lnTo>
                  <a:lnTo>
                    <a:pt x="225" y="30"/>
                  </a:lnTo>
                  <a:lnTo>
                    <a:pt x="245" y="31"/>
                  </a:lnTo>
                  <a:lnTo>
                    <a:pt x="264" y="34"/>
                  </a:lnTo>
                  <a:lnTo>
                    <a:pt x="283" y="38"/>
                  </a:lnTo>
                  <a:lnTo>
                    <a:pt x="301" y="46"/>
                  </a:lnTo>
                  <a:lnTo>
                    <a:pt x="318" y="53"/>
                  </a:lnTo>
                  <a:lnTo>
                    <a:pt x="334" y="63"/>
                  </a:lnTo>
                  <a:lnTo>
                    <a:pt x="349" y="75"/>
                  </a:lnTo>
                  <a:lnTo>
                    <a:pt x="363" y="87"/>
                  </a:lnTo>
                  <a:lnTo>
                    <a:pt x="376" y="101"/>
                  </a:lnTo>
                  <a:lnTo>
                    <a:pt x="386" y="116"/>
                  </a:lnTo>
                  <a:lnTo>
                    <a:pt x="397" y="132"/>
                  </a:lnTo>
                  <a:lnTo>
                    <a:pt x="405" y="150"/>
                  </a:lnTo>
                  <a:lnTo>
                    <a:pt x="411" y="168"/>
                  </a:lnTo>
                  <a:lnTo>
                    <a:pt x="416" y="186"/>
                  </a:lnTo>
                  <a:lnTo>
                    <a:pt x="420" y="205"/>
                  </a:lnTo>
                  <a:lnTo>
                    <a:pt x="421" y="224"/>
                  </a:lnTo>
                  <a:lnTo>
                    <a:pt x="420" y="245"/>
                  </a:lnTo>
                  <a:lnTo>
                    <a:pt x="416" y="264"/>
                  </a:lnTo>
                  <a:lnTo>
                    <a:pt x="411" y="283"/>
                  </a:lnTo>
                  <a:lnTo>
                    <a:pt x="405" y="301"/>
                  </a:lnTo>
                  <a:lnTo>
                    <a:pt x="397" y="319"/>
                  </a:lnTo>
                  <a:lnTo>
                    <a:pt x="386" y="335"/>
                  </a:lnTo>
                  <a:lnTo>
                    <a:pt x="376" y="350"/>
                  </a:lnTo>
                  <a:lnTo>
                    <a:pt x="363" y="364"/>
                  </a:lnTo>
                  <a:lnTo>
                    <a:pt x="349" y="375"/>
                  </a:lnTo>
                  <a:lnTo>
                    <a:pt x="334" y="387"/>
                  </a:lnTo>
                  <a:lnTo>
                    <a:pt x="318" y="397"/>
                  </a:lnTo>
                  <a:lnTo>
                    <a:pt x="301" y="405"/>
                  </a:lnTo>
                  <a:lnTo>
                    <a:pt x="283" y="412"/>
                  </a:lnTo>
                  <a:lnTo>
                    <a:pt x="264" y="416"/>
                  </a:lnTo>
                  <a:lnTo>
                    <a:pt x="245" y="419"/>
                  </a:lnTo>
                  <a:lnTo>
                    <a:pt x="225" y="420"/>
                  </a:lnTo>
                  <a:close/>
                  <a:moveTo>
                    <a:pt x="225" y="0"/>
                  </a:moveTo>
                  <a:lnTo>
                    <a:pt x="213" y="0"/>
                  </a:lnTo>
                  <a:lnTo>
                    <a:pt x="202" y="1"/>
                  </a:lnTo>
                  <a:lnTo>
                    <a:pt x="191" y="2"/>
                  </a:lnTo>
                  <a:lnTo>
                    <a:pt x="180" y="4"/>
                  </a:lnTo>
                  <a:lnTo>
                    <a:pt x="169" y="7"/>
                  </a:lnTo>
                  <a:lnTo>
                    <a:pt x="159" y="10"/>
                  </a:lnTo>
                  <a:lnTo>
                    <a:pt x="148" y="14"/>
                  </a:lnTo>
                  <a:lnTo>
                    <a:pt x="137" y="18"/>
                  </a:lnTo>
                  <a:lnTo>
                    <a:pt x="118" y="28"/>
                  </a:lnTo>
                  <a:lnTo>
                    <a:pt x="100" y="38"/>
                  </a:lnTo>
                  <a:lnTo>
                    <a:pt x="82" y="51"/>
                  </a:lnTo>
                  <a:lnTo>
                    <a:pt x="65" y="66"/>
                  </a:lnTo>
                  <a:lnTo>
                    <a:pt x="52" y="82"/>
                  </a:lnTo>
                  <a:lnTo>
                    <a:pt x="39" y="99"/>
                  </a:lnTo>
                  <a:lnTo>
                    <a:pt x="27" y="118"/>
                  </a:lnTo>
                  <a:lnTo>
                    <a:pt x="17" y="138"/>
                  </a:lnTo>
                  <a:lnTo>
                    <a:pt x="13" y="148"/>
                  </a:lnTo>
                  <a:lnTo>
                    <a:pt x="10" y="158"/>
                  </a:lnTo>
                  <a:lnTo>
                    <a:pt x="7" y="169"/>
                  </a:lnTo>
                  <a:lnTo>
                    <a:pt x="4" y="179"/>
                  </a:lnTo>
                  <a:lnTo>
                    <a:pt x="2" y="191"/>
                  </a:lnTo>
                  <a:lnTo>
                    <a:pt x="1" y="202"/>
                  </a:lnTo>
                  <a:lnTo>
                    <a:pt x="0" y="214"/>
                  </a:lnTo>
                  <a:lnTo>
                    <a:pt x="0" y="224"/>
                  </a:lnTo>
                  <a:lnTo>
                    <a:pt x="0" y="236"/>
                  </a:lnTo>
                  <a:lnTo>
                    <a:pt x="1" y="248"/>
                  </a:lnTo>
                  <a:lnTo>
                    <a:pt x="2" y="260"/>
                  </a:lnTo>
                  <a:lnTo>
                    <a:pt x="4" y="270"/>
                  </a:lnTo>
                  <a:lnTo>
                    <a:pt x="7" y="281"/>
                  </a:lnTo>
                  <a:lnTo>
                    <a:pt x="10" y="292"/>
                  </a:lnTo>
                  <a:lnTo>
                    <a:pt x="13" y="303"/>
                  </a:lnTo>
                  <a:lnTo>
                    <a:pt x="17" y="313"/>
                  </a:lnTo>
                  <a:lnTo>
                    <a:pt x="27" y="333"/>
                  </a:lnTo>
                  <a:lnTo>
                    <a:pt x="39" y="351"/>
                  </a:lnTo>
                  <a:lnTo>
                    <a:pt x="52" y="368"/>
                  </a:lnTo>
                  <a:lnTo>
                    <a:pt x="65" y="384"/>
                  </a:lnTo>
                  <a:lnTo>
                    <a:pt x="82" y="399"/>
                  </a:lnTo>
                  <a:lnTo>
                    <a:pt x="100" y="412"/>
                  </a:lnTo>
                  <a:lnTo>
                    <a:pt x="118" y="423"/>
                  </a:lnTo>
                  <a:lnTo>
                    <a:pt x="137" y="432"/>
                  </a:lnTo>
                  <a:lnTo>
                    <a:pt x="148" y="436"/>
                  </a:lnTo>
                  <a:lnTo>
                    <a:pt x="159" y="441"/>
                  </a:lnTo>
                  <a:lnTo>
                    <a:pt x="169" y="443"/>
                  </a:lnTo>
                  <a:lnTo>
                    <a:pt x="180" y="446"/>
                  </a:lnTo>
                  <a:lnTo>
                    <a:pt x="191" y="448"/>
                  </a:lnTo>
                  <a:lnTo>
                    <a:pt x="202" y="449"/>
                  </a:lnTo>
                  <a:lnTo>
                    <a:pt x="213" y="450"/>
                  </a:lnTo>
                  <a:lnTo>
                    <a:pt x="225" y="450"/>
                  </a:lnTo>
                  <a:lnTo>
                    <a:pt x="237" y="450"/>
                  </a:lnTo>
                  <a:lnTo>
                    <a:pt x="248" y="449"/>
                  </a:lnTo>
                  <a:lnTo>
                    <a:pt x="259" y="448"/>
                  </a:lnTo>
                  <a:lnTo>
                    <a:pt x="271" y="446"/>
                  </a:lnTo>
                  <a:lnTo>
                    <a:pt x="282" y="443"/>
                  </a:lnTo>
                  <a:lnTo>
                    <a:pt x="292" y="441"/>
                  </a:lnTo>
                  <a:lnTo>
                    <a:pt x="303" y="436"/>
                  </a:lnTo>
                  <a:lnTo>
                    <a:pt x="313" y="432"/>
                  </a:lnTo>
                  <a:lnTo>
                    <a:pt x="332" y="423"/>
                  </a:lnTo>
                  <a:lnTo>
                    <a:pt x="351" y="412"/>
                  </a:lnTo>
                  <a:lnTo>
                    <a:pt x="368" y="399"/>
                  </a:lnTo>
                  <a:lnTo>
                    <a:pt x="384" y="384"/>
                  </a:lnTo>
                  <a:lnTo>
                    <a:pt x="399" y="368"/>
                  </a:lnTo>
                  <a:lnTo>
                    <a:pt x="412" y="351"/>
                  </a:lnTo>
                  <a:lnTo>
                    <a:pt x="423" y="333"/>
                  </a:lnTo>
                  <a:lnTo>
                    <a:pt x="432" y="313"/>
                  </a:lnTo>
                  <a:lnTo>
                    <a:pt x="437" y="303"/>
                  </a:lnTo>
                  <a:lnTo>
                    <a:pt x="440" y="292"/>
                  </a:lnTo>
                  <a:lnTo>
                    <a:pt x="443" y="281"/>
                  </a:lnTo>
                  <a:lnTo>
                    <a:pt x="445" y="270"/>
                  </a:lnTo>
                  <a:lnTo>
                    <a:pt x="447" y="260"/>
                  </a:lnTo>
                  <a:lnTo>
                    <a:pt x="450" y="248"/>
                  </a:lnTo>
                  <a:lnTo>
                    <a:pt x="450" y="236"/>
                  </a:lnTo>
                  <a:lnTo>
                    <a:pt x="451" y="224"/>
                  </a:lnTo>
                  <a:lnTo>
                    <a:pt x="450" y="214"/>
                  </a:lnTo>
                  <a:lnTo>
                    <a:pt x="450" y="202"/>
                  </a:lnTo>
                  <a:lnTo>
                    <a:pt x="447" y="191"/>
                  </a:lnTo>
                  <a:lnTo>
                    <a:pt x="445" y="179"/>
                  </a:lnTo>
                  <a:lnTo>
                    <a:pt x="443" y="169"/>
                  </a:lnTo>
                  <a:lnTo>
                    <a:pt x="440" y="158"/>
                  </a:lnTo>
                  <a:lnTo>
                    <a:pt x="437" y="148"/>
                  </a:lnTo>
                  <a:lnTo>
                    <a:pt x="432" y="138"/>
                  </a:lnTo>
                  <a:lnTo>
                    <a:pt x="423" y="118"/>
                  </a:lnTo>
                  <a:lnTo>
                    <a:pt x="412" y="99"/>
                  </a:lnTo>
                  <a:lnTo>
                    <a:pt x="399" y="82"/>
                  </a:lnTo>
                  <a:lnTo>
                    <a:pt x="384" y="66"/>
                  </a:lnTo>
                  <a:lnTo>
                    <a:pt x="368" y="51"/>
                  </a:lnTo>
                  <a:lnTo>
                    <a:pt x="351" y="38"/>
                  </a:lnTo>
                  <a:lnTo>
                    <a:pt x="332" y="28"/>
                  </a:lnTo>
                  <a:lnTo>
                    <a:pt x="313" y="18"/>
                  </a:lnTo>
                  <a:lnTo>
                    <a:pt x="303" y="14"/>
                  </a:lnTo>
                  <a:lnTo>
                    <a:pt x="292" y="10"/>
                  </a:lnTo>
                  <a:lnTo>
                    <a:pt x="282" y="7"/>
                  </a:lnTo>
                  <a:lnTo>
                    <a:pt x="271" y="4"/>
                  </a:lnTo>
                  <a:lnTo>
                    <a:pt x="259" y="2"/>
                  </a:lnTo>
                  <a:lnTo>
                    <a:pt x="248" y="1"/>
                  </a:lnTo>
                  <a:lnTo>
                    <a:pt x="237"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349">
              <a:extLst>
                <a:ext uri="{FF2B5EF4-FFF2-40B4-BE49-F238E27FC236}">
                  <a16:creationId xmlns:a16="http://schemas.microsoft.com/office/drawing/2014/main" id="{F9CF074D-806F-403E-80FB-1497AD27A040}"/>
                </a:ext>
              </a:extLst>
            </p:cNvPr>
            <p:cNvSpPr>
              <a:spLocks noEditPoints="1"/>
            </p:cNvSpPr>
            <p:nvPr/>
          </p:nvSpPr>
          <p:spPr bwMode="auto">
            <a:xfrm>
              <a:off x="8167688" y="2505075"/>
              <a:ext cx="200025" cy="257175"/>
            </a:xfrm>
            <a:custGeom>
              <a:avLst/>
              <a:gdLst>
                <a:gd name="T0" fmla="*/ 250 w 630"/>
                <a:gd name="T1" fmla="*/ 88 h 811"/>
                <a:gd name="T2" fmla="*/ 257 w 630"/>
                <a:gd name="T3" fmla="*/ 75 h 811"/>
                <a:gd name="T4" fmla="*/ 263 w 630"/>
                <a:gd name="T5" fmla="*/ 52 h 811"/>
                <a:gd name="T6" fmla="*/ 291 w 630"/>
                <a:gd name="T7" fmla="*/ 33 h 811"/>
                <a:gd name="T8" fmla="*/ 354 w 630"/>
                <a:gd name="T9" fmla="*/ 37 h 811"/>
                <a:gd name="T10" fmla="*/ 374 w 630"/>
                <a:gd name="T11" fmla="*/ 56 h 811"/>
                <a:gd name="T12" fmla="*/ 378 w 630"/>
                <a:gd name="T13" fmla="*/ 78 h 811"/>
                <a:gd name="T14" fmla="*/ 387 w 630"/>
                <a:gd name="T15" fmla="*/ 89 h 811"/>
                <a:gd name="T16" fmla="*/ 179 w 630"/>
                <a:gd name="T17" fmla="*/ 240 h 811"/>
                <a:gd name="T18" fmla="*/ 53 w 630"/>
                <a:gd name="T19" fmla="*/ 779 h 811"/>
                <a:gd name="T20" fmla="*/ 30 w 630"/>
                <a:gd name="T21" fmla="*/ 748 h 811"/>
                <a:gd name="T22" fmla="*/ 75 w 630"/>
                <a:gd name="T23" fmla="*/ 180 h 811"/>
                <a:gd name="T24" fmla="*/ 62 w 630"/>
                <a:gd name="T25" fmla="*/ 187 h 811"/>
                <a:gd name="T26" fmla="*/ 60 w 630"/>
                <a:gd name="T27" fmla="*/ 740 h 811"/>
                <a:gd name="T28" fmla="*/ 68 w 630"/>
                <a:gd name="T29" fmla="*/ 750 h 811"/>
                <a:gd name="T30" fmla="*/ 361 w 630"/>
                <a:gd name="T31" fmla="*/ 750 h 811"/>
                <a:gd name="T32" fmla="*/ 370 w 630"/>
                <a:gd name="T33" fmla="*/ 740 h 811"/>
                <a:gd name="T34" fmla="*/ 366 w 630"/>
                <a:gd name="T35" fmla="*/ 726 h 811"/>
                <a:gd name="T36" fmla="*/ 90 w 630"/>
                <a:gd name="T37" fmla="*/ 721 h 811"/>
                <a:gd name="T38" fmla="*/ 151 w 630"/>
                <a:gd name="T39" fmla="*/ 261 h 811"/>
                <a:gd name="T40" fmla="*/ 161 w 630"/>
                <a:gd name="T41" fmla="*/ 270 h 811"/>
                <a:gd name="T42" fmla="*/ 474 w 630"/>
                <a:gd name="T43" fmla="*/ 268 h 811"/>
                <a:gd name="T44" fmla="*/ 480 w 630"/>
                <a:gd name="T45" fmla="*/ 256 h 811"/>
                <a:gd name="T46" fmla="*/ 541 w 630"/>
                <a:gd name="T47" fmla="*/ 366 h 811"/>
                <a:gd name="T48" fmla="*/ 552 w 630"/>
                <a:gd name="T49" fmla="*/ 376 h 811"/>
                <a:gd name="T50" fmla="*/ 566 w 630"/>
                <a:gd name="T51" fmla="*/ 371 h 811"/>
                <a:gd name="T52" fmla="*/ 570 w 630"/>
                <a:gd name="T53" fmla="*/ 195 h 811"/>
                <a:gd name="T54" fmla="*/ 564 w 630"/>
                <a:gd name="T55" fmla="*/ 183 h 811"/>
                <a:gd name="T56" fmla="*/ 480 w 630"/>
                <a:gd name="T57" fmla="*/ 150 h 811"/>
                <a:gd name="T58" fmla="*/ 602 w 630"/>
                <a:gd name="T59" fmla="*/ 365 h 811"/>
                <a:gd name="T60" fmla="*/ 615 w 630"/>
                <a:gd name="T61" fmla="*/ 371 h 811"/>
                <a:gd name="T62" fmla="*/ 628 w 630"/>
                <a:gd name="T63" fmla="*/ 365 h 811"/>
                <a:gd name="T64" fmla="*/ 630 w 630"/>
                <a:gd name="T65" fmla="*/ 133 h 811"/>
                <a:gd name="T66" fmla="*/ 621 w 630"/>
                <a:gd name="T67" fmla="*/ 121 h 811"/>
                <a:gd name="T68" fmla="*/ 479 w 630"/>
                <a:gd name="T69" fmla="*/ 72 h 811"/>
                <a:gd name="T70" fmla="*/ 471 w 630"/>
                <a:gd name="T71" fmla="*/ 61 h 811"/>
                <a:gd name="T72" fmla="*/ 400 w 630"/>
                <a:gd name="T73" fmla="*/ 41 h 811"/>
                <a:gd name="T74" fmla="*/ 380 w 630"/>
                <a:gd name="T75" fmla="*/ 17 h 811"/>
                <a:gd name="T76" fmla="*/ 340 w 630"/>
                <a:gd name="T77" fmla="*/ 1 h 811"/>
                <a:gd name="T78" fmla="*/ 284 w 630"/>
                <a:gd name="T79" fmla="*/ 3 h 811"/>
                <a:gd name="T80" fmla="*/ 249 w 630"/>
                <a:gd name="T81" fmla="*/ 22 h 811"/>
                <a:gd name="T82" fmla="*/ 231 w 630"/>
                <a:gd name="T83" fmla="*/ 52 h 811"/>
                <a:gd name="T84" fmla="*/ 156 w 630"/>
                <a:gd name="T85" fmla="*/ 63 h 811"/>
                <a:gd name="T86" fmla="*/ 150 w 630"/>
                <a:gd name="T87" fmla="*/ 75 h 811"/>
                <a:gd name="T88" fmla="*/ 6 w 630"/>
                <a:gd name="T89" fmla="*/ 123 h 811"/>
                <a:gd name="T90" fmla="*/ 0 w 630"/>
                <a:gd name="T91" fmla="*/ 135 h 811"/>
                <a:gd name="T92" fmla="*/ 4 w 630"/>
                <a:gd name="T93" fmla="*/ 770 h 811"/>
                <a:gd name="T94" fmla="*/ 23 w 630"/>
                <a:gd name="T95" fmla="*/ 797 h 811"/>
                <a:gd name="T96" fmla="*/ 56 w 630"/>
                <a:gd name="T97" fmla="*/ 810 h 811"/>
                <a:gd name="T98" fmla="*/ 380 w 630"/>
                <a:gd name="T99" fmla="*/ 810 h 811"/>
                <a:gd name="T100" fmla="*/ 389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79" y="90"/>
                  </a:moveTo>
                  <a:lnTo>
                    <a:pt x="242" y="90"/>
                  </a:lnTo>
                  <a:lnTo>
                    <a:pt x="245" y="90"/>
                  </a:lnTo>
                  <a:lnTo>
                    <a:pt x="247" y="89"/>
                  </a:lnTo>
                  <a:lnTo>
                    <a:pt x="250" y="88"/>
                  </a:lnTo>
                  <a:lnTo>
                    <a:pt x="252" y="86"/>
                  </a:lnTo>
                  <a:lnTo>
                    <a:pt x="254" y="84"/>
                  </a:lnTo>
                  <a:lnTo>
                    <a:pt x="255" y="81"/>
                  </a:lnTo>
                  <a:lnTo>
                    <a:pt x="257" y="78"/>
                  </a:lnTo>
                  <a:lnTo>
                    <a:pt x="257" y="75"/>
                  </a:lnTo>
                  <a:lnTo>
                    <a:pt x="257" y="70"/>
                  </a:lnTo>
                  <a:lnTo>
                    <a:pt x="258" y="64"/>
                  </a:lnTo>
                  <a:lnTo>
                    <a:pt x="259" y="60"/>
                  </a:lnTo>
                  <a:lnTo>
                    <a:pt x="261" y="56"/>
                  </a:lnTo>
                  <a:lnTo>
                    <a:pt x="263" y="52"/>
                  </a:lnTo>
                  <a:lnTo>
                    <a:pt x="265" y="47"/>
                  </a:lnTo>
                  <a:lnTo>
                    <a:pt x="268" y="44"/>
                  </a:lnTo>
                  <a:lnTo>
                    <a:pt x="271" y="42"/>
                  </a:lnTo>
                  <a:lnTo>
                    <a:pt x="280" y="37"/>
                  </a:lnTo>
                  <a:lnTo>
                    <a:pt x="291" y="33"/>
                  </a:lnTo>
                  <a:lnTo>
                    <a:pt x="304" y="31"/>
                  </a:lnTo>
                  <a:lnTo>
                    <a:pt x="318" y="30"/>
                  </a:lnTo>
                  <a:lnTo>
                    <a:pt x="331" y="31"/>
                  </a:lnTo>
                  <a:lnTo>
                    <a:pt x="344" y="33"/>
                  </a:lnTo>
                  <a:lnTo>
                    <a:pt x="354" y="37"/>
                  </a:lnTo>
                  <a:lnTo>
                    <a:pt x="362" y="42"/>
                  </a:lnTo>
                  <a:lnTo>
                    <a:pt x="367" y="44"/>
                  </a:lnTo>
                  <a:lnTo>
                    <a:pt x="370" y="47"/>
                  </a:lnTo>
                  <a:lnTo>
                    <a:pt x="372" y="52"/>
                  </a:lnTo>
                  <a:lnTo>
                    <a:pt x="374" y="56"/>
                  </a:lnTo>
                  <a:lnTo>
                    <a:pt x="376" y="60"/>
                  </a:lnTo>
                  <a:lnTo>
                    <a:pt x="377" y="64"/>
                  </a:lnTo>
                  <a:lnTo>
                    <a:pt x="377" y="70"/>
                  </a:lnTo>
                  <a:lnTo>
                    <a:pt x="378" y="75"/>
                  </a:lnTo>
                  <a:lnTo>
                    <a:pt x="378" y="78"/>
                  </a:lnTo>
                  <a:lnTo>
                    <a:pt x="380" y="81"/>
                  </a:lnTo>
                  <a:lnTo>
                    <a:pt x="381" y="84"/>
                  </a:lnTo>
                  <a:lnTo>
                    <a:pt x="383" y="86"/>
                  </a:lnTo>
                  <a:lnTo>
                    <a:pt x="385" y="88"/>
                  </a:lnTo>
                  <a:lnTo>
                    <a:pt x="387" y="89"/>
                  </a:lnTo>
                  <a:lnTo>
                    <a:pt x="390" y="90"/>
                  </a:lnTo>
                  <a:lnTo>
                    <a:pt x="393" y="90"/>
                  </a:lnTo>
                  <a:lnTo>
                    <a:pt x="450" y="90"/>
                  </a:lnTo>
                  <a:lnTo>
                    <a:pt x="450" y="240"/>
                  </a:lnTo>
                  <a:lnTo>
                    <a:pt x="179" y="240"/>
                  </a:lnTo>
                  <a:lnTo>
                    <a:pt x="179" y="90"/>
                  </a:lnTo>
                  <a:close/>
                  <a:moveTo>
                    <a:pt x="374" y="781"/>
                  </a:moveTo>
                  <a:lnTo>
                    <a:pt x="75" y="781"/>
                  </a:lnTo>
                  <a:lnTo>
                    <a:pt x="63" y="780"/>
                  </a:lnTo>
                  <a:lnTo>
                    <a:pt x="53" y="779"/>
                  </a:lnTo>
                  <a:lnTo>
                    <a:pt x="46" y="776"/>
                  </a:lnTo>
                  <a:lnTo>
                    <a:pt x="39" y="772"/>
                  </a:lnTo>
                  <a:lnTo>
                    <a:pt x="35" y="765"/>
                  </a:lnTo>
                  <a:lnTo>
                    <a:pt x="32" y="758"/>
                  </a:lnTo>
                  <a:lnTo>
                    <a:pt x="30" y="748"/>
                  </a:lnTo>
                  <a:lnTo>
                    <a:pt x="30" y="736"/>
                  </a:lnTo>
                  <a:lnTo>
                    <a:pt x="30" y="150"/>
                  </a:lnTo>
                  <a:lnTo>
                    <a:pt x="150" y="150"/>
                  </a:lnTo>
                  <a:lnTo>
                    <a:pt x="150" y="180"/>
                  </a:lnTo>
                  <a:lnTo>
                    <a:pt x="75" y="180"/>
                  </a:lnTo>
                  <a:lnTo>
                    <a:pt x="71" y="181"/>
                  </a:lnTo>
                  <a:lnTo>
                    <a:pt x="68" y="182"/>
                  </a:lnTo>
                  <a:lnTo>
                    <a:pt x="66" y="183"/>
                  </a:lnTo>
                  <a:lnTo>
                    <a:pt x="64" y="185"/>
                  </a:lnTo>
                  <a:lnTo>
                    <a:pt x="62" y="187"/>
                  </a:lnTo>
                  <a:lnTo>
                    <a:pt x="61" y="190"/>
                  </a:lnTo>
                  <a:lnTo>
                    <a:pt x="60" y="193"/>
                  </a:lnTo>
                  <a:lnTo>
                    <a:pt x="60" y="195"/>
                  </a:lnTo>
                  <a:lnTo>
                    <a:pt x="60" y="736"/>
                  </a:lnTo>
                  <a:lnTo>
                    <a:pt x="60" y="740"/>
                  </a:lnTo>
                  <a:lnTo>
                    <a:pt x="61" y="742"/>
                  </a:lnTo>
                  <a:lnTo>
                    <a:pt x="62" y="745"/>
                  </a:lnTo>
                  <a:lnTo>
                    <a:pt x="64" y="747"/>
                  </a:lnTo>
                  <a:lnTo>
                    <a:pt x="66" y="748"/>
                  </a:lnTo>
                  <a:lnTo>
                    <a:pt x="68" y="750"/>
                  </a:lnTo>
                  <a:lnTo>
                    <a:pt x="71" y="750"/>
                  </a:lnTo>
                  <a:lnTo>
                    <a:pt x="75" y="751"/>
                  </a:lnTo>
                  <a:lnTo>
                    <a:pt x="355" y="751"/>
                  </a:lnTo>
                  <a:lnTo>
                    <a:pt x="358" y="750"/>
                  </a:lnTo>
                  <a:lnTo>
                    <a:pt x="361"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1" y="723"/>
                  </a:lnTo>
                  <a:lnTo>
                    <a:pt x="358"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59" y="270"/>
                  </a:lnTo>
                  <a:lnTo>
                    <a:pt x="161" y="270"/>
                  </a:lnTo>
                  <a:lnTo>
                    <a:pt x="164" y="271"/>
                  </a:lnTo>
                  <a:lnTo>
                    <a:pt x="465" y="271"/>
                  </a:lnTo>
                  <a:lnTo>
                    <a:pt x="468" y="270"/>
                  </a:lnTo>
                  <a:lnTo>
                    <a:pt x="471" y="270"/>
                  </a:lnTo>
                  <a:lnTo>
                    <a:pt x="474" y="268"/>
                  </a:lnTo>
                  <a:lnTo>
                    <a:pt x="476" y="267"/>
                  </a:lnTo>
                  <a:lnTo>
                    <a:pt x="477" y="264"/>
                  </a:lnTo>
                  <a:lnTo>
                    <a:pt x="479" y="261"/>
                  </a:lnTo>
                  <a:lnTo>
                    <a:pt x="479" y="259"/>
                  </a:lnTo>
                  <a:lnTo>
                    <a:pt x="480" y="256"/>
                  </a:lnTo>
                  <a:lnTo>
                    <a:pt x="480" y="210"/>
                  </a:lnTo>
                  <a:lnTo>
                    <a:pt x="540" y="210"/>
                  </a:lnTo>
                  <a:lnTo>
                    <a:pt x="540" y="361"/>
                  </a:lnTo>
                  <a:lnTo>
                    <a:pt x="540" y="364"/>
                  </a:lnTo>
                  <a:lnTo>
                    <a:pt x="541" y="366"/>
                  </a:lnTo>
                  <a:lnTo>
                    <a:pt x="542" y="369"/>
                  </a:lnTo>
                  <a:lnTo>
                    <a:pt x="544" y="371"/>
                  </a:lnTo>
                  <a:lnTo>
                    <a:pt x="546" y="374"/>
                  </a:lnTo>
                  <a:lnTo>
                    <a:pt x="549" y="375"/>
                  </a:lnTo>
                  <a:lnTo>
                    <a:pt x="552" y="376"/>
                  </a:lnTo>
                  <a:lnTo>
                    <a:pt x="555" y="376"/>
                  </a:lnTo>
                  <a:lnTo>
                    <a:pt x="558" y="376"/>
                  </a:lnTo>
                  <a:lnTo>
                    <a:pt x="560"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0" y="182"/>
                  </a:lnTo>
                  <a:lnTo>
                    <a:pt x="558" y="181"/>
                  </a:lnTo>
                  <a:lnTo>
                    <a:pt x="555" y="180"/>
                  </a:lnTo>
                  <a:lnTo>
                    <a:pt x="480" y="180"/>
                  </a:lnTo>
                  <a:lnTo>
                    <a:pt x="480" y="150"/>
                  </a:lnTo>
                  <a:lnTo>
                    <a:pt x="600" y="150"/>
                  </a:lnTo>
                  <a:lnTo>
                    <a:pt x="600" y="357"/>
                  </a:lnTo>
                  <a:lnTo>
                    <a:pt x="600" y="360"/>
                  </a:lnTo>
                  <a:lnTo>
                    <a:pt x="601" y="362"/>
                  </a:lnTo>
                  <a:lnTo>
                    <a:pt x="602" y="365"/>
                  </a:lnTo>
                  <a:lnTo>
                    <a:pt x="604" y="367"/>
                  </a:lnTo>
                  <a:lnTo>
                    <a:pt x="606" y="368"/>
                  </a:lnTo>
                  <a:lnTo>
                    <a:pt x="610" y="370"/>
                  </a:lnTo>
                  <a:lnTo>
                    <a:pt x="612" y="370"/>
                  </a:lnTo>
                  <a:lnTo>
                    <a:pt x="615" y="371"/>
                  </a:lnTo>
                  <a:lnTo>
                    <a:pt x="618" y="370"/>
                  </a:lnTo>
                  <a:lnTo>
                    <a:pt x="621"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1" y="121"/>
                  </a:lnTo>
                  <a:lnTo>
                    <a:pt x="618" y="121"/>
                  </a:lnTo>
                  <a:lnTo>
                    <a:pt x="615" y="120"/>
                  </a:lnTo>
                  <a:lnTo>
                    <a:pt x="480" y="120"/>
                  </a:lnTo>
                  <a:lnTo>
                    <a:pt x="480" y="75"/>
                  </a:lnTo>
                  <a:lnTo>
                    <a:pt x="479" y="72"/>
                  </a:lnTo>
                  <a:lnTo>
                    <a:pt x="479" y="70"/>
                  </a:lnTo>
                  <a:lnTo>
                    <a:pt x="477" y="68"/>
                  </a:lnTo>
                  <a:lnTo>
                    <a:pt x="476" y="64"/>
                  </a:lnTo>
                  <a:lnTo>
                    <a:pt x="474" y="63"/>
                  </a:lnTo>
                  <a:lnTo>
                    <a:pt x="471" y="61"/>
                  </a:lnTo>
                  <a:lnTo>
                    <a:pt x="468" y="60"/>
                  </a:lnTo>
                  <a:lnTo>
                    <a:pt x="465" y="60"/>
                  </a:lnTo>
                  <a:lnTo>
                    <a:pt x="406" y="60"/>
                  </a:lnTo>
                  <a:lnTo>
                    <a:pt x="404" y="52"/>
                  </a:lnTo>
                  <a:lnTo>
                    <a:pt x="400" y="41"/>
                  </a:lnTo>
                  <a:lnTo>
                    <a:pt x="398" y="37"/>
                  </a:lnTo>
                  <a:lnTo>
                    <a:pt x="393" y="31"/>
                  </a:lnTo>
                  <a:lnTo>
                    <a:pt x="390" y="26"/>
                  </a:lnTo>
                  <a:lnTo>
                    <a:pt x="385" y="22"/>
                  </a:lnTo>
                  <a:lnTo>
                    <a:pt x="380" y="17"/>
                  </a:lnTo>
                  <a:lnTo>
                    <a:pt x="374" y="13"/>
                  </a:lnTo>
                  <a:lnTo>
                    <a:pt x="367" y="10"/>
                  </a:lnTo>
                  <a:lnTo>
                    <a:pt x="359" y="7"/>
                  </a:lnTo>
                  <a:lnTo>
                    <a:pt x="350" y="3"/>
                  </a:lnTo>
                  <a:lnTo>
                    <a:pt x="340" y="1"/>
                  </a:lnTo>
                  <a:lnTo>
                    <a:pt x="329" y="0"/>
                  </a:lnTo>
                  <a:lnTo>
                    <a:pt x="318" y="0"/>
                  </a:lnTo>
                  <a:lnTo>
                    <a:pt x="306" y="0"/>
                  </a:lnTo>
                  <a:lnTo>
                    <a:pt x="294" y="1"/>
                  </a:lnTo>
                  <a:lnTo>
                    <a:pt x="284" y="3"/>
                  </a:lnTo>
                  <a:lnTo>
                    <a:pt x="276" y="7"/>
                  </a:lnTo>
                  <a:lnTo>
                    <a:pt x="268" y="10"/>
                  </a:lnTo>
                  <a:lnTo>
                    <a:pt x="261" y="13"/>
                  </a:lnTo>
                  <a:lnTo>
                    <a:pt x="254" y="17"/>
                  </a:lnTo>
                  <a:lnTo>
                    <a:pt x="249" y="22"/>
                  </a:lnTo>
                  <a:lnTo>
                    <a:pt x="245" y="26"/>
                  </a:lnTo>
                  <a:lnTo>
                    <a:pt x="240" y="31"/>
                  </a:lnTo>
                  <a:lnTo>
                    <a:pt x="237" y="37"/>
                  </a:lnTo>
                  <a:lnTo>
                    <a:pt x="234" y="41"/>
                  </a:lnTo>
                  <a:lnTo>
                    <a:pt x="231" y="52"/>
                  </a:lnTo>
                  <a:lnTo>
                    <a:pt x="228" y="60"/>
                  </a:lnTo>
                  <a:lnTo>
                    <a:pt x="164" y="60"/>
                  </a:lnTo>
                  <a:lnTo>
                    <a:pt x="161" y="60"/>
                  </a:lnTo>
                  <a:lnTo>
                    <a:pt x="159" y="61"/>
                  </a:lnTo>
                  <a:lnTo>
                    <a:pt x="156" y="63"/>
                  </a:lnTo>
                  <a:lnTo>
                    <a:pt x="154" y="64"/>
                  </a:lnTo>
                  <a:lnTo>
                    <a:pt x="152" y="68"/>
                  </a:lnTo>
                  <a:lnTo>
                    <a:pt x="151" y="70"/>
                  </a:lnTo>
                  <a:lnTo>
                    <a:pt x="150" y="72"/>
                  </a:lnTo>
                  <a:lnTo>
                    <a:pt x="150" y="75"/>
                  </a:lnTo>
                  <a:lnTo>
                    <a:pt x="150" y="120"/>
                  </a:lnTo>
                  <a:lnTo>
                    <a:pt x="15" y="120"/>
                  </a:lnTo>
                  <a:lnTo>
                    <a:pt x="11" y="121"/>
                  </a:lnTo>
                  <a:lnTo>
                    <a:pt x="8" y="121"/>
                  </a:lnTo>
                  <a:lnTo>
                    <a:pt x="6" y="123"/>
                  </a:lnTo>
                  <a:lnTo>
                    <a:pt x="4" y="125"/>
                  </a:lnTo>
                  <a:lnTo>
                    <a:pt x="2" y="127"/>
                  </a:lnTo>
                  <a:lnTo>
                    <a:pt x="1" y="130"/>
                  </a:lnTo>
                  <a:lnTo>
                    <a:pt x="0" y="133"/>
                  </a:lnTo>
                  <a:lnTo>
                    <a:pt x="0" y="135"/>
                  </a:lnTo>
                  <a:lnTo>
                    <a:pt x="0" y="736"/>
                  </a:lnTo>
                  <a:lnTo>
                    <a:pt x="0" y="745"/>
                  </a:lnTo>
                  <a:lnTo>
                    <a:pt x="1" y="754"/>
                  </a:lnTo>
                  <a:lnTo>
                    <a:pt x="2" y="762"/>
                  </a:lnTo>
                  <a:lnTo>
                    <a:pt x="4" y="770"/>
                  </a:lnTo>
                  <a:lnTo>
                    <a:pt x="7" y="776"/>
                  </a:lnTo>
                  <a:lnTo>
                    <a:pt x="10" y="782"/>
                  </a:lnTo>
                  <a:lnTo>
                    <a:pt x="14" y="788"/>
                  </a:lnTo>
                  <a:lnTo>
                    <a:pt x="18" y="793"/>
                  </a:lnTo>
                  <a:lnTo>
                    <a:pt x="23" y="797"/>
                  </a:lnTo>
                  <a:lnTo>
                    <a:pt x="29" y="801"/>
                  </a:lnTo>
                  <a:lnTo>
                    <a:pt x="35" y="804"/>
                  </a:lnTo>
                  <a:lnTo>
                    <a:pt x="41" y="807"/>
                  </a:lnTo>
                  <a:lnTo>
                    <a:pt x="49" y="808"/>
                  </a:lnTo>
                  <a:lnTo>
                    <a:pt x="56" y="810"/>
                  </a:lnTo>
                  <a:lnTo>
                    <a:pt x="65" y="811"/>
                  </a:lnTo>
                  <a:lnTo>
                    <a:pt x="75" y="811"/>
                  </a:lnTo>
                  <a:lnTo>
                    <a:pt x="374" y="811"/>
                  </a:lnTo>
                  <a:lnTo>
                    <a:pt x="377" y="811"/>
                  </a:lnTo>
                  <a:lnTo>
                    <a:pt x="380" y="810"/>
                  </a:lnTo>
                  <a:lnTo>
                    <a:pt x="383" y="809"/>
                  </a:lnTo>
                  <a:lnTo>
                    <a:pt x="385" y="807"/>
                  </a:lnTo>
                  <a:lnTo>
                    <a:pt x="387" y="805"/>
                  </a:lnTo>
                  <a:lnTo>
                    <a:pt x="388" y="803"/>
                  </a:lnTo>
                  <a:lnTo>
                    <a:pt x="389" y="800"/>
                  </a:lnTo>
                  <a:lnTo>
                    <a:pt x="389" y="796"/>
                  </a:lnTo>
                  <a:lnTo>
                    <a:pt x="389" y="793"/>
                  </a:lnTo>
                  <a:lnTo>
                    <a:pt x="388" y="791"/>
                  </a:lnTo>
                  <a:lnTo>
                    <a:pt x="387" y="788"/>
                  </a:lnTo>
                  <a:lnTo>
                    <a:pt x="385" y="786"/>
                  </a:lnTo>
                  <a:lnTo>
                    <a:pt x="383" y="784"/>
                  </a:lnTo>
                  <a:lnTo>
                    <a:pt x="380" y="782"/>
                  </a:lnTo>
                  <a:lnTo>
                    <a:pt x="377" y="781"/>
                  </a:lnTo>
                  <a:lnTo>
                    <a:pt x="374"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350">
              <a:extLst>
                <a:ext uri="{FF2B5EF4-FFF2-40B4-BE49-F238E27FC236}">
                  <a16:creationId xmlns:a16="http://schemas.microsoft.com/office/drawing/2014/main" id="{B0AE23F3-4647-44CC-B23C-FDB31775BA9D}"/>
                </a:ext>
              </a:extLst>
            </p:cNvPr>
            <p:cNvSpPr>
              <a:spLocks/>
            </p:cNvSpPr>
            <p:nvPr/>
          </p:nvSpPr>
          <p:spPr bwMode="auto">
            <a:xfrm>
              <a:off x="8228013" y="260985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29 h 30"/>
                <a:gd name="T40" fmla="*/ 210 w 219"/>
                <a:gd name="T41" fmla="*/ 29 h 30"/>
                <a:gd name="T42" fmla="*/ 212 w 219"/>
                <a:gd name="T43" fmla="*/ 28 h 30"/>
                <a:gd name="T44" fmla="*/ 214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2"/>
                  </a:lnTo>
                  <a:lnTo>
                    <a:pt x="0" y="15"/>
                  </a:lnTo>
                  <a:lnTo>
                    <a:pt x="0" y="18"/>
                  </a:lnTo>
                  <a:lnTo>
                    <a:pt x="1" y="20"/>
                  </a:lnTo>
                  <a:lnTo>
                    <a:pt x="2" y="23"/>
                  </a:lnTo>
                  <a:lnTo>
                    <a:pt x="4" y="26"/>
                  </a:lnTo>
                  <a:lnTo>
                    <a:pt x="7" y="28"/>
                  </a:lnTo>
                  <a:lnTo>
                    <a:pt x="9" y="29"/>
                  </a:lnTo>
                  <a:lnTo>
                    <a:pt x="12" y="30"/>
                  </a:lnTo>
                  <a:lnTo>
                    <a:pt x="15" y="30"/>
                  </a:lnTo>
                  <a:lnTo>
                    <a:pt x="204" y="30"/>
                  </a:lnTo>
                  <a:lnTo>
                    <a:pt x="207" y="29"/>
                  </a:lnTo>
                  <a:lnTo>
                    <a:pt x="210" y="29"/>
                  </a:lnTo>
                  <a:lnTo>
                    <a:pt x="212" y="28"/>
                  </a:lnTo>
                  <a:lnTo>
                    <a:pt x="214" y="26"/>
                  </a:lnTo>
                  <a:lnTo>
                    <a:pt x="216" y="23"/>
                  </a:lnTo>
                  <a:lnTo>
                    <a:pt x="218" y="20"/>
                  </a:lnTo>
                  <a:lnTo>
                    <a:pt x="218" y="18"/>
                  </a:lnTo>
                  <a:lnTo>
                    <a:pt x="219" y="15"/>
                  </a:lnTo>
                  <a:lnTo>
                    <a:pt x="218" y="12"/>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351">
              <a:extLst>
                <a:ext uri="{FF2B5EF4-FFF2-40B4-BE49-F238E27FC236}">
                  <a16:creationId xmlns:a16="http://schemas.microsoft.com/office/drawing/2014/main" id="{BE8DB067-45E1-42EE-8D26-3EE7B707D942}"/>
                </a:ext>
              </a:extLst>
            </p:cNvPr>
            <p:cNvSpPr>
              <a:spLocks/>
            </p:cNvSpPr>
            <p:nvPr/>
          </p:nvSpPr>
          <p:spPr bwMode="auto">
            <a:xfrm>
              <a:off x="8228013" y="2638425"/>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8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1"/>
                  </a:lnTo>
                  <a:lnTo>
                    <a:pt x="0" y="15"/>
                  </a:lnTo>
                  <a:lnTo>
                    <a:pt x="0" y="18"/>
                  </a:lnTo>
                  <a:lnTo>
                    <a:pt x="1" y="21"/>
                  </a:lnTo>
                  <a:lnTo>
                    <a:pt x="2" y="23"/>
                  </a:lnTo>
                  <a:lnTo>
                    <a:pt x="4" y="25"/>
                  </a:lnTo>
                  <a:lnTo>
                    <a:pt x="7" y="28"/>
                  </a:lnTo>
                  <a:lnTo>
                    <a:pt x="9" y="29"/>
                  </a:lnTo>
                  <a:lnTo>
                    <a:pt x="12" y="30"/>
                  </a:lnTo>
                  <a:lnTo>
                    <a:pt x="15" y="30"/>
                  </a:lnTo>
                  <a:lnTo>
                    <a:pt x="204" y="30"/>
                  </a:lnTo>
                  <a:lnTo>
                    <a:pt x="207" y="30"/>
                  </a:lnTo>
                  <a:lnTo>
                    <a:pt x="210" y="29"/>
                  </a:lnTo>
                  <a:lnTo>
                    <a:pt x="212" y="28"/>
                  </a:lnTo>
                  <a:lnTo>
                    <a:pt x="214" y="25"/>
                  </a:lnTo>
                  <a:lnTo>
                    <a:pt x="216" y="23"/>
                  </a:lnTo>
                  <a:lnTo>
                    <a:pt x="218" y="21"/>
                  </a:lnTo>
                  <a:lnTo>
                    <a:pt x="218" y="18"/>
                  </a:lnTo>
                  <a:lnTo>
                    <a:pt x="219" y="15"/>
                  </a:lnTo>
                  <a:lnTo>
                    <a:pt x="218" y="11"/>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352">
              <a:extLst>
                <a:ext uri="{FF2B5EF4-FFF2-40B4-BE49-F238E27FC236}">
                  <a16:creationId xmlns:a16="http://schemas.microsoft.com/office/drawing/2014/main" id="{6CFF5EE2-A695-4856-97A6-20A590455566}"/>
                </a:ext>
              </a:extLst>
            </p:cNvPr>
            <p:cNvSpPr>
              <a:spLocks/>
            </p:cNvSpPr>
            <p:nvPr/>
          </p:nvSpPr>
          <p:spPr bwMode="auto">
            <a:xfrm>
              <a:off x="8228013" y="266700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7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7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4 w 219"/>
                <a:gd name="T61" fmla="*/ 4 h 30"/>
                <a:gd name="T62" fmla="*/ 212 w 219"/>
                <a:gd name="T63" fmla="*/ 3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3"/>
                  </a:lnTo>
                  <a:lnTo>
                    <a:pt x="4" y="4"/>
                  </a:lnTo>
                  <a:lnTo>
                    <a:pt x="2" y="7"/>
                  </a:lnTo>
                  <a:lnTo>
                    <a:pt x="1" y="9"/>
                  </a:lnTo>
                  <a:lnTo>
                    <a:pt x="0" y="12"/>
                  </a:lnTo>
                  <a:lnTo>
                    <a:pt x="0" y="15"/>
                  </a:lnTo>
                  <a:lnTo>
                    <a:pt x="0" y="18"/>
                  </a:lnTo>
                  <a:lnTo>
                    <a:pt x="1" y="21"/>
                  </a:lnTo>
                  <a:lnTo>
                    <a:pt x="2" y="23"/>
                  </a:lnTo>
                  <a:lnTo>
                    <a:pt x="4" y="25"/>
                  </a:lnTo>
                  <a:lnTo>
                    <a:pt x="7" y="27"/>
                  </a:lnTo>
                  <a:lnTo>
                    <a:pt x="9" y="29"/>
                  </a:lnTo>
                  <a:lnTo>
                    <a:pt x="12" y="30"/>
                  </a:lnTo>
                  <a:lnTo>
                    <a:pt x="15" y="30"/>
                  </a:lnTo>
                  <a:lnTo>
                    <a:pt x="204" y="30"/>
                  </a:lnTo>
                  <a:lnTo>
                    <a:pt x="207" y="30"/>
                  </a:lnTo>
                  <a:lnTo>
                    <a:pt x="210" y="29"/>
                  </a:lnTo>
                  <a:lnTo>
                    <a:pt x="212" y="27"/>
                  </a:lnTo>
                  <a:lnTo>
                    <a:pt x="214" y="25"/>
                  </a:lnTo>
                  <a:lnTo>
                    <a:pt x="216" y="23"/>
                  </a:lnTo>
                  <a:lnTo>
                    <a:pt x="218" y="21"/>
                  </a:lnTo>
                  <a:lnTo>
                    <a:pt x="218" y="18"/>
                  </a:lnTo>
                  <a:lnTo>
                    <a:pt x="219" y="15"/>
                  </a:lnTo>
                  <a:lnTo>
                    <a:pt x="218" y="12"/>
                  </a:lnTo>
                  <a:lnTo>
                    <a:pt x="218" y="9"/>
                  </a:lnTo>
                  <a:lnTo>
                    <a:pt x="216" y="7"/>
                  </a:lnTo>
                  <a:lnTo>
                    <a:pt x="214" y="4"/>
                  </a:lnTo>
                  <a:lnTo>
                    <a:pt x="212" y="3"/>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353">
              <a:extLst>
                <a:ext uri="{FF2B5EF4-FFF2-40B4-BE49-F238E27FC236}">
                  <a16:creationId xmlns:a16="http://schemas.microsoft.com/office/drawing/2014/main" id="{CAB90323-E09C-4B90-959E-CB33DEDF0D49}"/>
                </a:ext>
              </a:extLst>
            </p:cNvPr>
            <p:cNvSpPr>
              <a:spLocks/>
            </p:cNvSpPr>
            <p:nvPr/>
          </p:nvSpPr>
          <p:spPr bwMode="auto">
            <a:xfrm>
              <a:off x="8228013" y="2695575"/>
              <a:ext cx="46038" cy="9525"/>
            </a:xfrm>
            <a:custGeom>
              <a:avLst/>
              <a:gdLst>
                <a:gd name="T0" fmla="*/ 129 w 143"/>
                <a:gd name="T1" fmla="*/ 29 h 29"/>
                <a:gd name="T2" fmla="*/ 132 w 143"/>
                <a:gd name="T3" fmla="*/ 29 h 29"/>
                <a:gd name="T4" fmla="*/ 134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4 w 143"/>
                <a:gd name="T29" fmla="*/ 2 h 29"/>
                <a:gd name="T30" fmla="*/ 132 w 143"/>
                <a:gd name="T31" fmla="*/ 1 h 29"/>
                <a:gd name="T32" fmla="*/ 129 w 143"/>
                <a:gd name="T33" fmla="*/ 0 h 29"/>
                <a:gd name="T34" fmla="*/ 15 w 143"/>
                <a:gd name="T35" fmla="*/ 0 h 29"/>
                <a:gd name="T36" fmla="*/ 12 w 143"/>
                <a:gd name="T37" fmla="*/ 1 h 29"/>
                <a:gd name="T38" fmla="*/ 9 w 143"/>
                <a:gd name="T39" fmla="*/ 2 h 29"/>
                <a:gd name="T40" fmla="*/ 7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7 w 143"/>
                <a:gd name="T61" fmla="*/ 27 h 29"/>
                <a:gd name="T62" fmla="*/ 9 w 143"/>
                <a:gd name="T63" fmla="*/ 28 h 29"/>
                <a:gd name="T64" fmla="*/ 12 w 143"/>
                <a:gd name="T65" fmla="*/ 29 h 29"/>
                <a:gd name="T66" fmla="*/ 15 w 143"/>
                <a:gd name="T67" fmla="*/ 29 h 29"/>
                <a:gd name="T68" fmla="*/ 129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9" y="29"/>
                  </a:moveTo>
                  <a:lnTo>
                    <a:pt x="132" y="29"/>
                  </a:lnTo>
                  <a:lnTo>
                    <a:pt x="134"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4" y="2"/>
                  </a:lnTo>
                  <a:lnTo>
                    <a:pt x="132" y="1"/>
                  </a:lnTo>
                  <a:lnTo>
                    <a:pt x="129" y="0"/>
                  </a:lnTo>
                  <a:lnTo>
                    <a:pt x="15" y="0"/>
                  </a:lnTo>
                  <a:lnTo>
                    <a:pt x="12" y="1"/>
                  </a:lnTo>
                  <a:lnTo>
                    <a:pt x="9" y="2"/>
                  </a:lnTo>
                  <a:lnTo>
                    <a:pt x="7" y="3"/>
                  </a:lnTo>
                  <a:lnTo>
                    <a:pt x="4" y="5"/>
                  </a:lnTo>
                  <a:lnTo>
                    <a:pt x="2" y="7"/>
                  </a:lnTo>
                  <a:lnTo>
                    <a:pt x="1" y="9"/>
                  </a:lnTo>
                  <a:lnTo>
                    <a:pt x="0" y="12"/>
                  </a:lnTo>
                  <a:lnTo>
                    <a:pt x="0" y="14"/>
                  </a:lnTo>
                  <a:lnTo>
                    <a:pt x="0" y="18"/>
                  </a:lnTo>
                  <a:lnTo>
                    <a:pt x="1" y="21"/>
                  </a:lnTo>
                  <a:lnTo>
                    <a:pt x="2" y="23"/>
                  </a:lnTo>
                  <a:lnTo>
                    <a:pt x="4" y="26"/>
                  </a:lnTo>
                  <a:lnTo>
                    <a:pt x="7" y="27"/>
                  </a:lnTo>
                  <a:lnTo>
                    <a:pt x="9" y="28"/>
                  </a:lnTo>
                  <a:lnTo>
                    <a:pt x="12" y="29"/>
                  </a:lnTo>
                  <a:lnTo>
                    <a:pt x="15" y="29"/>
                  </a:lnTo>
                  <a:lnTo>
                    <a:pt x="12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117">
            <a:extLst>
              <a:ext uri="{FF2B5EF4-FFF2-40B4-BE49-F238E27FC236}">
                <a16:creationId xmlns:a16="http://schemas.microsoft.com/office/drawing/2014/main" id="{F029C63F-F899-48B0-8C73-43CB3FD8D801}"/>
              </a:ext>
            </a:extLst>
          </p:cNvPr>
          <p:cNvGrpSpPr>
            <a:grpSpLocks noChangeAspect="1"/>
          </p:cNvGrpSpPr>
          <p:nvPr/>
        </p:nvGrpSpPr>
        <p:grpSpPr>
          <a:xfrm>
            <a:off x="4438917" y="3801969"/>
            <a:ext cx="308144" cy="308144"/>
            <a:chOff x="4159250" y="2833688"/>
            <a:chExt cx="371476" cy="371476"/>
          </a:xfrm>
          <a:solidFill>
            <a:schemeClr val="bg2"/>
          </a:solidFill>
        </p:grpSpPr>
        <p:sp>
          <p:nvSpPr>
            <p:cNvPr id="889" name="Freeform 33">
              <a:extLst>
                <a:ext uri="{FF2B5EF4-FFF2-40B4-BE49-F238E27FC236}">
                  <a16:creationId xmlns:a16="http://schemas.microsoft.com/office/drawing/2014/main" id="{CED36EB0-2F6C-4977-BA0F-73F716ABAAC1}"/>
                </a:ext>
              </a:extLst>
            </p:cNvPr>
            <p:cNvSpPr>
              <a:spLocks noEditPoints="1"/>
            </p:cNvSpPr>
            <p:nvPr/>
          </p:nvSpPr>
          <p:spPr bwMode="auto">
            <a:xfrm>
              <a:off x="4344988" y="3019426"/>
              <a:ext cx="185738" cy="185738"/>
            </a:xfrm>
            <a:custGeom>
              <a:avLst/>
              <a:gdLst>
                <a:gd name="T0" fmla="*/ 2 w 48"/>
                <a:gd name="T1" fmla="*/ 48 h 48"/>
                <a:gd name="T2" fmla="*/ 1 w 48"/>
                <a:gd name="T3" fmla="*/ 47 h 48"/>
                <a:gd name="T4" fmla="*/ 0 w 48"/>
                <a:gd name="T5" fmla="*/ 45 h 48"/>
                <a:gd name="T6" fmla="*/ 4 w 48"/>
                <a:gd name="T7" fmla="*/ 31 h 48"/>
                <a:gd name="T8" fmla="*/ 5 w 48"/>
                <a:gd name="T9" fmla="*/ 31 h 48"/>
                <a:gd name="T10" fmla="*/ 35 w 48"/>
                <a:gd name="T11" fmla="*/ 1 h 48"/>
                <a:gd name="T12" fmla="*/ 37 w 48"/>
                <a:gd name="T13" fmla="*/ 1 h 48"/>
                <a:gd name="T14" fmla="*/ 47 w 48"/>
                <a:gd name="T15" fmla="*/ 11 h 48"/>
                <a:gd name="T16" fmla="*/ 47 w 48"/>
                <a:gd name="T17" fmla="*/ 13 h 48"/>
                <a:gd name="T18" fmla="*/ 17 w 48"/>
                <a:gd name="T19" fmla="*/ 43 h 48"/>
                <a:gd name="T20" fmla="*/ 17 w 48"/>
                <a:gd name="T21" fmla="*/ 44 h 48"/>
                <a:gd name="T22" fmla="*/ 3 w 48"/>
                <a:gd name="T23" fmla="*/ 48 h 48"/>
                <a:gd name="T24" fmla="*/ 2 w 48"/>
                <a:gd name="T25" fmla="*/ 48 h 48"/>
                <a:gd name="T26" fmla="*/ 8 w 48"/>
                <a:gd name="T27" fmla="*/ 33 h 48"/>
                <a:gd name="T28" fmla="*/ 5 w 48"/>
                <a:gd name="T29" fmla="*/ 43 h 48"/>
                <a:gd name="T30" fmla="*/ 15 w 48"/>
                <a:gd name="T31" fmla="*/ 40 h 48"/>
                <a:gd name="T32" fmla="*/ 43 w 48"/>
                <a:gd name="T33" fmla="*/ 12 h 48"/>
                <a:gd name="T34" fmla="*/ 36 w 48"/>
                <a:gd name="T35" fmla="*/ 5 h 48"/>
                <a:gd name="T36" fmla="*/ 8 w 48"/>
                <a:gd name="T37"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2" y="48"/>
                  </a:moveTo>
                  <a:cubicBezTo>
                    <a:pt x="1" y="48"/>
                    <a:pt x="1" y="48"/>
                    <a:pt x="1" y="47"/>
                  </a:cubicBezTo>
                  <a:cubicBezTo>
                    <a:pt x="0" y="47"/>
                    <a:pt x="0" y="46"/>
                    <a:pt x="0" y="45"/>
                  </a:cubicBezTo>
                  <a:cubicBezTo>
                    <a:pt x="4" y="31"/>
                    <a:pt x="4" y="31"/>
                    <a:pt x="4" y="31"/>
                  </a:cubicBezTo>
                  <a:cubicBezTo>
                    <a:pt x="4" y="31"/>
                    <a:pt x="4" y="31"/>
                    <a:pt x="5" y="31"/>
                  </a:cubicBezTo>
                  <a:cubicBezTo>
                    <a:pt x="35" y="1"/>
                    <a:pt x="35" y="1"/>
                    <a:pt x="35" y="1"/>
                  </a:cubicBezTo>
                  <a:cubicBezTo>
                    <a:pt x="35" y="0"/>
                    <a:pt x="37" y="0"/>
                    <a:pt x="37" y="1"/>
                  </a:cubicBezTo>
                  <a:cubicBezTo>
                    <a:pt x="47" y="11"/>
                    <a:pt x="47" y="11"/>
                    <a:pt x="47" y="11"/>
                  </a:cubicBezTo>
                  <a:cubicBezTo>
                    <a:pt x="48" y="11"/>
                    <a:pt x="48" y="13"/>
                    <a:pt x="47" y="13"/>
                  </a:cubicBezTo>
                  <a:cubicBezTo>
                    <a:pt x="17" y="43"/>
                    <a:pt x="17" y="43"/>
                    <a:pt x="17" y="43"/>
                  </a:cubicBezTo>
                  <a:cubicBezTo>
                    <a:pt x="17" y="44"/>
                    <a:pt x="17" y="44"/>
                    <a:pt x="17" y="44"/>
                  </a:cubicBezTo>
                  <a:cubicBezTo>
                    <a:pt x="3" y="48"/>
                    <a:pt x="3" y="48"/>
                    <a:pt x="3" y="48"/>
                  </a:cubicBezTo>
                  <a:cubicBezTo>
                    <a:pt x="2" y="48"/>
                    <a:pt x="2" y="48"/>
                    <a:pt x="2" y="48"/>
                  </a:cubicBezTo>
                  <a:close/>
                  <a:moveTo>
                    <a:pt x="8" y="33"/>
                  </a:moveTo>
                  <a:cubicBezTo>
                    <a:pt x="5" y="43"/>
                    <a:pt x="5" y="43"/>
                    <a:pt x="5" y="43"/>
                  </a:cubicBezTo>
                  <a:cubicBezTo>
                    <a:pt x="15" y="40"/>
                    <a:pt x="15" y="40"/>
                    <a:pt x="15" y="40"/>
                  </a:cubicBezTo>
                  <a:cubicBezTo>
                    <a:pt x="43" y="12"/>
                    <a:pt x="43" y="12"/>
                    <a:pt x="43" y="12"/>
                  </a:cubicBezTo>
                  <a:cubicBezTo>
                    <a:pt x="36" y="5"/>
                    <a:pt x="36" y="5"/>
                    <a:pt x="36" y="5"/>
                  </a:cubicBezTo>
                  <a:lnTo>
                    <a:pt x="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0" name="Freeform 34">
              <a:extLst>
                <a:ext uri="{FF2B5EF4-FFF2-40B4-BE49-F238E27FC236}">
                  <a16:creationId xmlns:a16="http://schemas.microsoft.com/office/drawing/2014/main" id="{FB8BEBFB-6831-4057-854B-44076858217F}"/>
                </a:ext>
              </a:extLst>
            </p:cNvPr>
            <p:cNvSpPr>
              <a:spLocks/>
            </p:cNvSpPr>
            <p:nvPr/>
          </p:nvSpPr>
          <p:spPr bwMode="auto">
            <a:xfrm>
              <a:off x="4449763" y="3054351"/>
              <a:ext cx="46038" cy="46038"/>
            </a:xfrm>
            <a:custGeom>
              <a:avLst/>
              <a:gdLst>
                <a:gd name="T0" fmla="*/ 24 w 29"/>
                <a:gd name="T1" fmla="*/ 29 h 29"/>
                <a:gd name="T2" fmla="*/ 0 w 29"/>
                <a:gd name="T3" fmla="*/ 5 h 29"/>
                <a:gd name="T4" fmla="*/ 5 w 29"/>
                <a:gd name="T5" fmla="*/ 0 h 29"/>
                <a:gd name="T6" fmla="*/ 29 w 29"/>
                <a:gd name="T7" fmla="*/ 24 h 29"/>
                <a:gd name="T8" fmla="*/ 24 w 29"/>
                <a:gd name="T9" fmla="*/ 29 h 29"/>
              </a:gdLst>
              <a:ahLst/>
              <a:cxnLst>
                <a:cxn ang="0">
                  <a:pos x="T0" y="T1"/>
                </a:cxn>
                <a:cxn ang="0">
                  <a:pos x="T2" y="T3"/>
                </a:cxn>
                <a:cxn ang="0">
                  <a:pos x="T4" y="T5"/>
                </a:cxn>
                <a:cxn ang="0">
                  <a:pos x="T6" y="T7"/>
                </a:cxn>
                <a:cxn ang="0">
                  <a:pos x="T8" y="T9"/>
                </a:cxn>
              </a:cxnLst>
              <a:rect l="0" t="0" r="r" b="b"/>
              <a:pathLst>
                <a:path w="29" h="29">
                  <a:moveTo>
                    <a:pt x="24" y="29"/>
                  </a:moveTo>
                  <a:lnTo>
                    <a:pt x="0" y="5"/>
                  </a:lnTo>
                  <a:lnTo>
                    <a:pt x="5" y="0"/>
                  </a:lnTo>
                  <a:lnTo>
                    <a:pt x="29" y="24"/>
                  </a:lnTo>
                  <a:lnTo>
                    <a:pt x="2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1" name="Freeform 35">
              <a:extLst>
                <a:ext uri="{FF2B5EF4-FFF2-40B4-BE49-F238E27FC236}">
                  <a16:creationId xmlns:a16="http://schemas.microsoft.com/office/drawing/2014/main" id="{F3365EA3-DD39-4AE2-AA22-3B06936025EA}"/>
                </a:ext>
              </a:extLst>
            </p:cNvPr>
            <p:cNvSpPr>
              <a:spLocks/>
            </p:cNvSpPr>
            <p:nvPr/>
          </p:nvSpPr>
          <p:spPr bwMode="auto">
            <a:xfrm>
              <a:off x="4360863" y="3135313"/>
              <a:ext cx="53975" cy="53975"/>
            </a:xfrm>
            <a:custGeom>
              <a:avLst/>
              <a:gdLst>
                <a:gd name="T0" fmla="*/ 12 w 14"/>
                <a:gd name="T1" fmla="*/ 14 h 14"/>
                <a:gd name="T2" fmla="*/ 11 w 14"/>
                <a:gd name="T3" fmla="*/ 13 h 14"/>
                <a:gd name="T4" fmla="*/ 1 w 14"/>
                <a:gd name="T5" fmla="*/ 3 h 14"/>
                <a:gd name="T6" fmla="*/ 1 w 14"/>
                <a:gd name="T7" fmla="*/ 1 h 14"/>
                <a:gd name="T8" fmla="*/ 3 w 14"/>
                <a:gd name="T9" fmla="*/ 1 h 14"/>
                <a:gd name="T10" fmla="*/ 13 w 14"/>
                <a:gd name="T11" fmla="*/ 11 h 14"/>
                <a:gd name="T12" fmla="*/ 13 w 14"/>
                <a:gd name="T13" fmla="*/ 13 h 14"/>
                <a:gd name="T14" fmla="*/ 12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2" y="14"/>
                  </a:moveTo>
                  <a:cubicBezTo>
                    <a:pt x="11" y="14"/>
                    <a:pt x="11" y="14"/>
                    <a:pt x="11" y="13"/>
                  </a:cubicBezTo>
                  <a:cubicBezTo>
                    <a:pt x="1" y="3"/>
                    <a:pt x="1" y="3"/>
                    <a:pt x="1" y="3"/>
                  </a:cubicBezTo>
                  <a:cubicBezTo>
                    <a:pt x="0" y="3"/>
                    <a:pt x="0" y="1"/>
                    <a:pt x="1" y="1"/>
                  </a:cubicBezTo>
                  <a:cubicBezTo>
                    <a:pt x="1" y="0"/>
                    <a:pt x="3" y="0"/>
                    <a:pt x="3" y="1"/>
                  </a:cubicBezTo>
                  <a:cubicBezTo>
                    <a:pt x="13" y="11"/>
                    <a:pt x="13" y="11"/>
                    <a:pt x="13" y="11"/>
                  </a:cubicBezTo>
                  <a:cubicBezTo>
                    <a:pt x="14" y="11"/>
                    <a:pt x="14" y="13"/>
                    <a:pt x="13" y="13"/>
                  </a:cubicBezTo>
                  <a:cubicBezTo>
                    <a:pt x="13" y="14"/>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2" name="Freeform 36">
              <a:extLst>
                <a:ext uri="{FF2B5EF4-FFF2-40B4-BE49-F238E27FC236}">
                  <a16:creationId xmlns:a16="http://schemas.microsoft.com/office/drawing/2014/main" id="{939100F3-86AA-4AD0-B8DD-DADF400B3BAC}"/>
                </a:ext>
              </a:extLst>
            </p:cNvPr>
            <p:cNvSpPr>
              <a:spLocks/>
            </p:cNvSpPr>
            <p:nvPr/>
          </p:nvSpPr>
          <p:spPr bwMode="auto">
            <a:xfrm>
              <a:off x="4205288" y="2927351"/>
              <a:ext cx="85725" cy="14288"/>
            </a:xfrm>
            <a:custGeom>
              <a:avLst/>
              <a:gdLst>
                <a:gd name="T0" fmla="*/ 20 w 22"/>
                <a:gd name="T1" fmla="*/ 4 h 4"/>
                <a:gd name="T2" fmla="*/ 2 w 22"/>
                <a:gd name="T3" fmla="*/ 4 h 4"/>
                <a:gd name="T4" fmla="*/ 0 w 22"/>
                <a:gd name="T5" fmla="*/ 2 h 4"/>
                <a:gd name="T6" fmla="*/ 2 w 22"/>
                <a:gd name="T7" fmla="*/ 0 h 4"/>
                <a:gd name="T8" fmla="*/ 20 w 22"/>
                <a:gd name="T9" fmla="*/ 0 h 4"/>
                <a:gd name="T10" fmla="*/ 22 w 22"/>
                <a:gd name="T11" fmla="*/ 2 h 4"/>
                <a:gd name="T12" fmla="*/ 20 w 2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2" h="4">
                  <a:moveTo>
                    <a:pt x="20" y="4"/>
                  </a:moveTo>
                  <a:cubicBezTo>
                    <a:pt x="2" y="4"/>
                    <a:pt x="2" y="4"/>
                    <a:pt x="2" y="4"/>
                  </a:cubicBezTo>
                  <a:cubicBezTo>
                    <a:pt x="1" y="4"/>
                    <a:pt x="0" y="3"/>
                    <a:pt x="0" y="2"/>
                  </a:cubicBezTo>
                  <a:cubicBezTo>
                    <a:pt x="0" y="1"/>
                    <a:pt x="1" y="0"/>
                    <a:pt x="2" y="0"/>
                  </a:cubicBezTo>
                  <a:cubicBezTo>
                    <a:pt x="20" y="0"/>
                    <a:pt x="20" y="0"/>
                    <a:pt x="20" y="0"/>
                  </a:cubicBezTo>
                  <a:cubicBezTo>
                    <a:pt x="21" y="0"/>
                    <a:pt x="22" y="1"/>
                    <a:pt x="22" y="2"/>
                  </a:cubicBezTo>
                  <a:cubicBezTo>
                    <a:pt x="22" y="3"/>
                    <a:pt x="21" y="4"/>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3" name="Freeform 37">
              <a:extLst>
                <a:ext uri="{FF2B5EF4-FFF2-40B4-BE49-F238E27FC236}">
                  <a16:creationId xmlns:a16="http://schemas.microsoft.com/office/drawing/2014/main" id="{418449C2-323A-49D2-AAEB-98CED5B97531}"/>
                </a:ext>
              </a:extLst>
            </p:cNvPr>
            <p:cNvSpPr>
              <a:spLocks/>
            </p:cNvSpPr>
            <p:nvPr/>
          </p:nvSpPr>
          <p:spPr bwMode="auto">
            <a:xfrm>
              <a:off x="4205288" y="2973388"/>
              <a:ext cx="139700" cy="15875"/>
            </a:xfrm>
            <a:custGeom>
              <a:avLst/>
              <a:gdLst>
                <a:gd name="T0" fmla="*/ 34 w 36"/>
                <a:gd name="T1" fmla="*/ 4 h 4"/>
                <a:gd name="T2" fmla="*/ 2 w 36"/>
                <a:gd name="T3" fmla="*/ 4 h 4"/>
                <a:gd name="T4" fmla="*/ 0 w 36"/>
                <a:gd name="T5" fmla="*/ 2 h 4"/>
                <a:gd name="T6" fmla="*/ 2 w 36"/>
                <a:gd name="T7" fmla="*/ 0 h 4"/>
                <a:gd name="T8" fmla="*/ 34 w 36"/>
                <a:gd name="T9" fmla="*/ 0 h 4"/>
                <a:gd name="T10" fmla="*/ 36 w 36"/>
                <a:gd name="T11" fmla="*/ 2 h 4"/>
                <a:gd name="T12" fmla="*/ 34 w 3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4"/>
                  </a:moveTo>
                  <a:cubicBezTo>
                    <a:pt x="2" y="4"/>
                    <a:pt x="2" y="4"/>
                    <a:pt x="2" y="4"/>
                  </a:cubicBezTo>
                  <a:cubicBezTo>
                    <a:pt x="1" y="4"/>
                    <a:pt x="0" y="3"/>
                    <a:pt x="0" y="2"/>
                  </a:cubicBezTo>
                  <a:cubicBezTo>
                    <a:pt x="0" y="1"/>
                    <a:pt x="1" y="0"/>
                    <a:pt x="2" y="0"/>
                  </a:cubicBezTo>
                  <a:cubicBezTo>
                    <a:pt x="34" y="0"/>
                    <a:pt x="34" y="0"/>
                    <a:pt x="34" y="0"/>
                  </a:cubicBezTo>
                  <a:cubicBezTo>
                    <a:pt x="35" y="0"/>
                    <a:pt x="36" y="1"/>
                    <a:pt x="36" y="2"/>
                  </a:cubicBezTo>
                  <a:cubicBezTo>
                    <a:pt x="36" y="3"/>
                    <a:pt x="35"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4" name="Freeform 38">
              <a:extLst>
                <a:ext uri="{FF2B5EF4-FFF2-40B4-BE49-F238E27FC236}">
                  <a16:creationId xmlns:a16="http://schemas.microsoft.com/office/drawing/2014/main" id="{74486A9C-526B-47BB-BF3A-E16E1BFD2144}"/>
                </a:ext>
              </a:extLst>
            </p:cNvPr>
            <p:cNvSpPr>
              <a:spLocks/>
            </p:cNvSpPr>
            <p:nvPr/>
          </p:nvSpPr>
          <p:spPr bwMode="auto">
            <a:xfrm>
              <a:off x="4205288" y="3019426"/>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5" name="Freeform 39">
              <a:extLst>
                <a:ext uri="{FF2B5EF4-FFF2-40B4-BE49-F238E27FC236}">
                  <a16:creationId xmlns:a16="http://schemas.microsoft.com/office/drawing/2014/main" id="{C13EFB31-9E9F-4823-AC19-FC7B30E461D1}"/>
                </a:ext>
              </a:extLst>
            </p:cNvPr>
            <p:cNvSpPr>
              <a:spLocks/>
            </p:cNvSpPr>
            <p:nvPr/>
          </p:nvSpPr>
          <p:spPr bwMode="auto">
            <a:xfrm>
              <a:off x="4205288" y="3065463"/>
              <a:ext cx="93663" cy="15875"/>
            </a:xfrm>
            <a:custGeom>
              <a:avLst/>
              <a:gdLst>
                <a:gd name="T0" fmla="*/ 22 w 24"/>
                <a:gd name="T1" fmla="*/ 4 h 4"/>
                <a:gd name="T2" fmla="*/ 2 w 24"/>
                <a:gd name="T3" fmla="*/ 4 h 4"/>
                <a:gd name="T4" fmla="*/ 0 w 24"/>
                <a:gd name="T5" fmla="*/ 2 h 4"/>
                <a:gd name="T6" fmla="*/ 2 w 24"/>
                <a:gd name="T7" fmla="*/ 0 h 4"/>
                <a:gd name="T8" fmla="*/ 22 w 24"/>
                <a:gd name="T9" fmla="*/ 0 h 4"/>
                <a:gd name="T10" fmla="*/ 24 w 24"/>
                <a:gd name="T11" fmla="*/ 2 h 4"/>
                <a:gd name="T12" fmla="*/ 2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4"/>
                  </a:moveTo>
                  <a:cubicBezTo>
                    <a:pt x="2" y="4"/>
                    <a:pt x="2" y="4"/>
                    <a:pt x="2" y="4"/>
                  </a:cubicBezTo>
                  <a:cubicBezTo>
                    <a:pt x="1" y="4"/>
                    <a:pt x="0" y="3"/>
                    <a:pt x="0" y="2"/>
                  </a:cubicBezTo>
                  <a:cubicBezTo>
                    <a:pt x="0" y="1"/>
                    <a:pt x="1" y="0"/>
                    <a:pt x="2" y="0"/>
                  </a:cubicBezTo>
                  <a:cubicBezTo>
                    <a:pt x="22" y="0"/>
                    <a:pt x="22" y="0"/>
                    <a:pt x="22" y="0"/>
                  </a:cubicBezTo>
                  <a:cubicBezTo>
                    <a:pt x="23" y="0"/>
                    <a:pt x="24" y="1"/>
                    <a:pt x="24" y="2"/>
                  </a:cubicBezTo>
                  <a:cubicBezTo>
                    <a:pt x="24" y="3"/>
                    <a:pt x="23"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6" name="Freeform 40">
              <a:extLst>
                <a:ext uri="{FF2B5EF4-FFF2-40B4-BE49-F238E27FC236}">
                  <a16:creationId xmlns:a16="http://schemas.microsoft.com/office/drawing/2014/main" id="{179FEFD7-7C9E-492D-86CB-15D0F16F7FA1}"/>
                </a:ext>
              </a:extLst>
            </p:cNvPr>
            <p:cNvSpPr>
              <a:spLocks/>
            </p:cNvSpPr>
            <p:nvPr/>
          </p:nvSpPr>
          <p:spPr bwMode="auto">
            <a:xfrm>
              <a:off x="4159250" y="2833688"/>
              <a:ext cx="263525" cy="341313"/>
            </a:xfrm>
            <a:custGeom>
              <a:avLst/>
              <a:gdLst>
                <a:gd name="T0" fmla="*/ 44 w 68"/>
                <a:gd name="T1" fmla="*/ 88 h 88"/>
                <a:gd name="T2" fmla="*/ 2 w 68"/>
                <a:gd name="T3" fmla="*/ 88 h 88"/>
                <a:gd name="T4" fmla="*/ 0 w 68"/>
                <a:gd name="T5" fmla="*/ 86 h 88"/>
                <a:gd name="T6" fmla="*/ 0 w 68"/>
                <a:gd name="T7" fmla="*/ 2 h 88"/>
                <a:gd name="T8" fmla="*/ 2 w 68"/>
                <a:gd name="T9" fmla="*/ 0 h 88"/>
                <a:gd name="T10" fmla="*/ 46 w 68"/>
                <a:gd name="T11" fmla="*/ 0 h 88"/>
                <a:gd name="T12" fmla="*/ 47 w 68"/>
                <a:gd name="T13" fmla="*/ 1 h 88"/>
                <a:gd name="T14" fmla="*/ 67 w 68"/>
                <a:gd name="T15" fmla="*/ 21 h 88"/>
                <a:gd name="T16" fmla="*/ 68 w 68"/>
                <a:gd name="T17" fmla="*/ 22 h 88"/>
                <a:gd name="T18" fmla="*/ 68 w 68"/>
                <a:gd name="T19" fmla="*/ 54 h 88"/>
                <a:gd name="T20" fmla="*/ 66 w 68"/>
                <a:gd name="T21" fmla="*/ 56 h 88"/>
                <a:gd name="T22" fmla="*/ 64 w 68"/>
                <a:gd name="T23" fmla="*/ 54 h 88"/>
                <a:gd name="T24" fmla="*/ 64 w 68"/>
                <a:gd name="T25" fmla="*/ 23 h 88"/>
                <a:gd name="T26" fmla="*/ 45 w 68"/>
                <a:gd name="T27" fmla="*/ 4 h 88"/>
                <a:gd name="T28" fmla="*/ 4 w 68"/>
                <a:gd name="T29" fmla="*/ 4 h 88"/>
                <a:gd name="T30" fmla="*/ 4 w 68"/>
                <a:gd name="T31" fmla="*/ 84 h 88"/>
                <a:gd name="T32" fmla="*/ 44 w 68"/>
                <a:gd name="T33" fmla="*/ 84 h 88"/>
                <a:gd name="T34" fmla="*/ 46 w 68"/>
                <a:gd name="T35" fmla="*/ 86 h 88"/>
                <a:gd name="T36" fmla="*/ 44 w 6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88">
                  <a:moveTo>
                    <a:pt x="44" y="88"/>
                  </a:moveTo>
                  <a:cubicBezTo>
                    <a:pt x="2" y="88"/>
                    <a:pt x="2" y="88"/>
                    <a:pt x="2" y="88"/>
                  </a:cubicBezTo>
                  <a:cubicBezTo>
                    <a:pt x="1" y="88"/>
                    <a:pt x="0" y="87"/>
                    <a:pt x="0" y="86"/>
                  </a:cubicBezTo>
                  <a:cubicBezTo>
                    <a:pt x="0" y="2"/>
                    <a:pt x="0" y="2"/>
                    <a:pt x="0" y="2"/>
                  </a:cubicBezTo>
                  <a:cubicBezTo>
                    <a:pt x="0" y="1"/>
                    <a:pt x="1" y="0"/>
                    <a:pt x="2" y="0"/>
                  </a:cubicBezTo>
                  <a:cubicBezTo>
                    <a:pt x="46" y="0"/>
                    <a:pt x="46" y="0"/>
                    <a:pt x="46" y="0"/>
                  </a:cubicBezTo>
                  <a:cubicBezTo>
                    <a:pt x="47" y="0"/>
                    <a:pt x="47" y="0"/>
                    <a:pt x="47" y="1"/>
                  </a:cubicBezTo>
                  <a:cubicBezTo>
                    <a:pt x="67" y="21"/>
                    <a:pt x="67" y="21"/>
                    <a:pt x="67" y="21"/>
                  </a:cubicBezTo>
                  <a:cubicBezTo>
                    <a:pt x="68" y="21"/>
                    <a:pt x="68" y="21"/>
                    <a:pt x="68" y="22"/>
                  </a:cubicBezTo>
                  <a:cubicBezTo>
                    <a:pt x="68" y="54"/>
                    <a:pt x="68" y="54"/>
                    <a:pt x="68" y="54"/>
                  </a:cubicBezTo>
                  <a:cubicBezTo>
                    <a:pt x="68" y="55"/>
                    <a:pt x="67" y="56"/>
                    <a:pt x="66" y="56"/>
                  </a:cubicBezTo>
                  <a:cubicBezTo>
                    <a:pt x="65" y="56"/>
                    <a:pt x="64" y="55"/>
                    <a:pt x="64" y="54"/>
                  </a:cubicBezTo>
                  <a:cubicBezTo>
                    <a:pt x="64" y="23"/>
                    <a:pt x="64" y="23"/>
                    <a:pt x="64" y="23"/>
                  </a:cubicBezTo>
                  <a:cubicBezTo>
                    <a:pt x="45" y="4"/>
                    <a:pt x="45" y="4"/>
                    <a:pt x="45" y="4"/>
                  </a:cubicBezTo>
                  <a:cubicBezTo>
                    <a:pt x="4" y="4"/>
                    <a:pt x="4" y="4"/>
                    <a:pt x="4" y="4"/>
                  </a:cubicBezTo>
                  <a:cubicBezTo>
                    <a:pt x="4" y="84"/>
                    <a:pt x="4" y="84"/>
                    <a:pt x="4" y="84"/>
                  </a:cubicBezTo>
                  <a:cubicBezTo>
                    <a:pt x="44" y="84"/>
                    <a:pt x="44" y="84"/>
                    <a:pt x="44" y="84"/>
                  </a:cubicBezTo>
                  <a:cubicBezTo>
                    <a:pt x="45" y="84"/>
                    <a:pt x="46" y="85"/>
                    <a:pt x="46" y="86"/>
                  </a:cubicBezTo>
                  <a:cubicBezTo>
                    <a:pt x="46" y="87"/>
                    <a:pt x="45" y="88"/>
                    <a:pt x="4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7" name="Freeform 41">
              <a:extLst>
                <a:ext uri="{FF2B5EF4-FFF2-40B4-BE49-F238E27FC236}">
                  <a16:creationId xmlns:a16="http://schemas.microsoft.com/office/drawing/2014/main" id="{2408864C-4FFF-47F2-B83A-8BBE1813828C}"/>
                </a:ext>
              </a:extLst>
            </p:cNvPr>
            <p:cNvSpPr>
              <a:spLocks/>
            </p:cNvSpPr>
            <p:nvPr/>
          </p:nvSpPr>
          <p:spPr bwMode="auto">
            <a:xfrm>
              <a:off x="4329113" y="2833688"/>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01" name="Group 13">
            <a:extLst>
              <a:ext uri="{FF2B5EF4-FFF2-40B4-BE49-F238E27FC236}">
                <a16:creationId xmlns:a16="http://schemas.microsoft.com/office/drawing/2014/main" id="{D3FD6323-76E4-4FDE-856E-F2B55F8B0F2C}"/>
              </a:ext>
            </a:extLst>
          </p:cNvPr>
          <p:cNvGrpSpPr>
            <a:grpSpLocks noChangeAspect="1"/>
          </p:cNvGrpSpPr>
          <p:nvPr/>
        </p:nvGrpSpPr>
        <p:grpSpPr>
          <a:xfrm>
            <a:off x="4922904" y="3801969"/>
            <a:ext cx="255369" cy="308144"/>
            <a:chOff x="11630025" y="1360488"/>
            <a:chExt cx="238125" cy="287338"/>
          </a:xfrm>
          <a:solidFill>
            <a:schemeClr val="bg2"/>
          </a:solidFill>
          <a:effectLst/>
        </p:grpSpPr>
        <p:sp>
          <p:nvSpPr>
            <p:cNvPr id="902" name="Freeform 197">
              <a:extLst>
                <a:ext uri="{FF2B5EF4-FFF2-40B4-BE49-F238E27FC236}">
                  <a16:creationId xmlns:a16="http://schemas.microsoft.com/office/drawing/2014/main" id="{E87E55E4-132D-4A0D-A3E3-D23406AE6FE8}"/>
                </a:ext>
              </a:extLst>
            </p:cNvPr>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3" name="Freeform 198">
              <a:extLst>
                <a:ext uri="{FF2B5EF4-FFF2-40B4-BE49-F238E27FC236}">
                  <a16:creationId xmlns:a16="http://schemas.microsoft.com/office/drawing/2014/main" id="{57835C2C-8EFE-4C8A-98F0-E2169D55A72B}"/>
                </a:ext>
              </a:extLst>
            </p:cNvPr>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4" name="Freeform 199">
              <a:extLst>
                <a:ext uri="{FF2B5EF4-FFF2-40B4-BE49-F238E27FC236}">
                  <a16:creationId xmlns:a16="http://schemas.microsoft.com/office/drawing/2014/main" id="{DC0E8205-A064-4A90-8B89-020A41D779BD}"/>
                </a:ext>
              </a:extLst>
            </p:cNvPr>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5" name="Freeform 200">
              <a:extLst>
                <a:ext uri="{FF2B5EF4-FFF2-40B4-BE49-F238E27FC236}">
                  <a16:creationId xmlns:a16="http://schemas.microsoft.com/office/drawing/2014/main" id="{9D47BF4D-C42F-4BD0-A4FA-4F36B643B62A}"/>
                </a:ext>
              </a:extLst>
            </p:cNvPr>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906" name="Freeform 302">
            <a:extLst>
              <a:ext uri="{FF2B5EF4-FFF2-40B4-BE49-F238E27FC236}">
                <a16:creationId xmlns:a16="http://schemas.microsoft.com/office/drawing/2014/main" id="{2DE2A4AD-A26F-4157-B73F-A31481E1A580}"/>
              </a:ext>
            </a:extLst>
          </p:cNvPr>
          <p:cNvSpPr>
            <a:spLocks noChangeAspect="1" noEditPoints="1"/>
          </p:cNvSpPr>
          <p:nvPr/>
        </p:nvSpPr>
        <p:spPr bwMode="auto">
          <a:xfrm>
            <a:off x="5399949" y="3801969"/>
            <a:ext cx="242113" cy="308144"/>
          </a:xfrm>
          <a:custGeom>
            <a:avLst/>
            <a:gdLst>
              <a:gd name="T0" fmla="*/ 209 w 660"/>
              <a:gd name="T1" fmla="*/ 30 h 841"/>
              <a:gd name="T2" fmla="*/ 480 w 660"/>
              <a:gd name="T3" fmla="*/ 165 h 841"/>
              <a:gd name="T4" fmla="*/ 481 w 660"/>
              <a:gd name="T5" fmla="*/ 171 h 841"/>
              <a:gd name="T6" fmla="*/ 484 w 660"/>
              <a:gd name="T7" fmla="*/ 175 h 841"/>
              <a:gd name="T8" fmla="*/ 489 w 660"/>
              <a:gd name="T9" fmla="*/ 179 h 841"/>
              <a:gd name="T10" fmla="*/ 495 w 660"/>
              <a:gd name="T11" fmla="*/ 180 h 841"/>
              <a:gd name="T12" fmla="*/ 630 w 660"/>
              <a:gd name="T13" fmla="*/ 630 h 841"/>
              <a:gd name="T14" fmla="*/ 570 w 660"/>
              <a:gd name="T15" fmla="*/ 721 h 841"/>
              <a:gd name="T16" fmla="*/ 120 w 660"/>
              <a:gd name="T17" fmla="*/ 122 h 841"/>
              <a:gd name="T18" fmla="*/ 179 w 660"/>
              <a:gd name="T19" fmla="*/ 645 h 841"/>
              <a:gd name="T20" fmla="*/ 181 w 660"/>
              <a:gd name="T21" fmla="*/ 652 h 841"/>
              <a:gd name="T22" fmla="*/ 184 w 660"/>
              <a:gd name="T23" fmla="*/ 657 h 841"/>
              <a:gd name="T24" fmla="*/ 189 w 660"/>
              <a:gd name="T25" fmla="*/ 659 h 841"/>
              <a:gd name="T26" fmla="*/ 194 w 660"/>
              <a:gd name="T27" fmla="*/ 660 h 841"/>
              <a:gd name="T28" fmla="*/ 570 w 660"/>
              <a:gd name="T29" fmla="*/ 721 h 841"/>
              <a:gd name="T30" fmla="*/ 30 w 660"/>
              <a:gd name="T31" fmla="*/ 811 h 841"/>
              <a:gd name="T32" fmla="*/ 90 w 660"/>
              <a:gd name="T33" fmla="*/ 210 h 841"/>
              <a:gd name="T34" fmla="*/ 90 w 660"/>
              <a:gd name="T35" fmla="*/ 739 h 841"/>
              <a:gd name="T36" fmla="*/ 92 w 660"/>
              <a:gd name="T37" fmla="*/ 745 h 841"/>
              <a:gd name="T38" fmla="*/ 96 w 660"/>
              <a:gd name="T39" fmla="*/ 748 h 841"/>
              <a:gd name="T40" fmla="*/ 101 w 660"/>
              <a:gd name="T41" fmla="*/ 750 h 841"/>
              <a:gd name="T42" fmla="*/ 510 w 660"/>
              <a:gd name="T43" fmla="*/ 751 h 841"/>
              <a:gd name="T44" fmla="*/ 510 w 660"/>
              <a:gd name="T45" fmla="*/ 52 h 841"/>
              <a:gd name="T46" fmla="*/ 510 w 660"/>
              <a:gd name="T47" fmla="*/ 150 h 841"/>
              <a:gd name="T48" fmla="*/ 659 w 660"/>
              <a:gd name="T49" fmla="*/ 160 h 841"/>
              <a:gd name="T50" fmla="*/ 656 w 660"/>
              <a:gd name="T51" fmla="*/ 154 h 841"/>
              <a:gd name="T52" fmla="*/ 504 w 660"/>
              <a:gd name="T53" fmla="*/ 3 h 841"/>
              <a:gd name="T54" fmla="*/ 498 w 660"/>
              <a:gd name="T55" fmla="*/ 1 h 841"/>
              <a:gd name="T56" fmla="*/ 194 w 660"/>
              <a:gd name="T57" fmla="*/ 0 h 841"/>
              <a:gd name="T58" fmla="*/ 189 w 660"/>
              <a:gd name="T59" fmla="*/ 1 h 841"/>
              <a:gd name="T60" fmla="*/ 184 w 660"/>
              <a:gd name="T61" fmla="*/ 4 h 841"/>
              <a:gd name="T62" fmla="*/ 181 w 660"/>
              <a:gd name="T63" fmla="*/ 9 h 841"/>
              <a:gd name="T64" fmla="*/ 179 w 660"/>
              <a:gd name="T65" fmla="*/ 15 h 841"/>
              <a:gd name="T66" fmla="*/ 105 w 660"/>
              <a:gd name="T67" fmla="*/ 91 h 841"/>
              <a:gd name="T68" fmla="*/ 98 w 660"/>
              <a:gd name="T69" fmla="*/ 93 h 841"/>
              <a:gd name="T70" fmla="*/ 94 w 660"/>
              <a:gd name="T71" fmla="*/ 96 h 841"/>
              <a:gd name="T72" fmla="*/ 91 w 660"/>
              <a:gd name="T73" fmla="*/ 100 h 841"/>
              <a:gd name="T74" fmla="*/ 90 w 660"/>
              <a:gd name="T75" fmla="*/ 107 h 841"/>
              <a:gd name="T76" fmla="*/ 15 w 660"/>
              <a:gd name="T77" fmla="*/ 180 h 841"/>
              <a:gd name="T78" fmla="*/ 8 w 660"/>
              <a:gd name="T79" fmla="*/ 182 h 841"/>
              <a:gd name="T80" fmla="*/ 4 w 660"/>
              <a:gd name="T81" fmla="*/ 185 h 841"/>
              <a:gd name="T82" fmla="*/ 1 w 660"/>
              <a:gd name="T83" fmla="*/ 189 h 841"/>
              <a:gd name="T84" fmla="*/ 0 w 660"/>
              <a:gd name="T85" fmla="*/ 195 h 841"/>
              <a:gd name="T86" fmla="*/ 0 w 660"/>
              <a:gd name="T87" fmla="*/ 829 h 841"/>
              <a:gd name="T88" fmla="*/ 2 w 660"/>
              <a:gd name="T89" fmla="*/ 835 h 841"/>
              <a:gd name="T90" fmla="*/ 6 w 660"/>
              <a:gd name="T91" fmla="*/ 839 h 841"/>
              <a:gd name="T92" fmla="*/ 11 w 660"/>
              <a:gd name="T93" fmla="*/ 841 h 841"/>
              <a:gd name="T94" fmla="*/ 525 w 660"/>
              <a:gd name="T95" fmla="*/ 841 h 841"/>
              <a:gd name="T96" fmla="*/ 530 w 660"/>
              <a:gd name="T97" fmla="*/ 840 h 841"/>
              <a:gd name="T98" fmla="*/ 536 w 660"/>
              <a:gd name="T99" fmla="*/ 837 h 841"/>
              <a:gd name="T100" fmla="*/ 539 w 660"/>
              <a:gd name="T101" fmla="*/ 832 h 841"/>
              <a:gd name="T102" fmla="*/ 540 w 660"/>
              <a:gd name="T103" fmla="*/ 826 h 841"/>
              <a:gd name="T104" fmla="*/ 585 w 660"/>
              <a:gd name="T105" fmla="*/ 751 h 841"/>
              <a:gd name="T106" fmla="*/ 591 w 660"/>
              <a:gd name="T107" fmla="*/ 750 h 841"/>
              <a:gd name="T108" fmla="*/ 596 w 660"/>
              <a:gd name="T109" fmla="*/ 747 h 841"/>
              <a:gd name="T110" fmla="*/ 599 w 660"/>
              <a:gd name="T111" fmla="*/ 741 h 841"/>
              <a:gd name="T112" fmla="*/ 600 w 660"/>
              <a:gd name="T113" fmla="*/ 736 h 841"/>
              <a:gd name="T114" fmla="*/ 645 w 660"/>
              <a:gd name="T115" fmla="*/ 660 h 841"/>
              <a:gd name="T116" fmla="*/ 651 w 660"/>
              <a:gd name="T117" fmla="*/ 659 h 841"/>
              <a:gd name="T118" fmla="*/ 656 w 660"/>
              <a:gd name="T119" fmla="*/ 657 h 841"/>
              <a:gd name="T120" fmla="*/ 659 w 660"/>
              <a:gd name="T121" fmla="*/ 652 h 841"/>
              <a:gd name="T122" fmla="*/ 660 w 660"/>
              <a:gd name="T123" fmla="*/ 645 h 841"/>
              <a:gd name="T124" fmla="*/ 660 w 660"/>
              <a:gd name="T125" fmla="*/ 163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841">
                <a:moveTo>
                  <a:pt x="209" y="630"/>
                </a:moveTo>
                <a:lnTo>
                  <a:pt x="209" y="30"/>
                </a:lnTo>
                <a:lnTo>
                  <a:pt x="480" y="30"/>
                </a:lnTo>
                <a:lnTo>
                  <a:pt x="480" y="165"/>
                </a:lnTo>
                <a:lnTo>
                  <a:pt x="480" y="168"/>
                </a:lnTo>
                <a:lnTo>
                  <a:pt x="481" y="171"/>
                </a:lnTo>
                <a:lnTo>
                  <a:pt x="482" y="173"/>
                </a:lnTo>
                <a:lnTo>
                  <a:pt x="484" y="175"/>
                </a:lnTo>
                <a:lnTo>
                  <a:pt x="487" y="177"/>
                </a:lnTo>
                <a:lnTo>
                  <a:pt x="489" y="179"/>
                </a:lnTo>
                <a:lnTo>
                  <a:pt x="492" y="180"/>
                </a:lnTo>
                <a:lnTo>
                  <a:pt x="495" y="180"/>
                </a:lnTo>
                <a:lnTo>
                  <a:pt x="630" y="180"/>
                </a:lnTo>
                <a:lnTo>
                  <a:pt x="630" y="630"/>
                </a:lnTo>
                <a:lnTo>
                  <a:pt x="209" y="630"/>
                </a:lnTo>
                <a:close/>
                <a:moveTo>
                  <a:pt x="570" y="721"/>
                </a:moveTo>
                <a:lnTo>
                  <a:pt x="120" y="721"/>
                </a:lnTo>
                <a:lnTo>
                  <a:pt x="120" y="122"/>
                </a:lnTo>
                <a:lnTo>
                  <a:pt x="179" y="122"/>
                </a:lnTo>
                <a:lnTo>
                  <a:pt x="179" y="645"/>
                </a:lnTo>
                <a:lnTo>
                  <a:pt x="179" y="648"/>
                </a:lnTo>
                <a:lnTo>
                  <a:pt x="181" y="652"/>
                </a:lnTo>
                <a:lnTo>
                  <a:pt x="183" y="655"/>
                </a:lnTo>
                <a:lnTo>
                  <a:pt x="184" y="657"/>
                </a:lnTo>
                <a:lnTo>
                  <a:pt x="186" y="658"/>
                </a:lnTo>
                <a:lnTo>
                  <a:pt x="189" y="659"/>
                </a:lnTo>
                <a:lnTo>
                  <a:pt x="191" y="660"/>
                </a:lnTo>
                <a:lnTo>
                  <a:pt x="194" y="660"/>
                </a:lnTo>
                <a:lnTo>
                  <a:pt x="570" y="660"/>
                </a:lnTo>
                <a:lnTo>
                  <a:pt x="570" y="721"/>
                </a:lnTo>
                <a:close/>
                <a:moveTo>
                  <a:pt x="510" y="811"/>
                </a:moveTo>
                <a:lnTo>
                  <a:pt x="30" y="811"/>
                </a:lnTo>
                <a:lnTo>
                  <a:pt x="30" y="210"/>
                </a:lnTo>
                <a:lnTo>
                  <a:pt x="90" y="210"/>
                </a:lnTo>
                <a:lnTo>
                  <a:pt x="90" y="736"/>
                </a:lnTo>
                <a:lnTo>
                  <a:pt x="90" y="739"/>
                </a:lnTo>
                <a:lnTo>
                  <a:pt x="91" y="741"/>
                </a:lnTo>
                <a:lnTo>
                  <a:pt x="92" y="745"/>
                </a:lnTo>
                <a:lnTo>
                  <a:pt x="94" y="747"/>
                </a:lnTo>
                <a:lnTo>
                  <a:pt x="96" y="748"/>
                </a:lnTo>
                <a:lnTo>
                  <a:pt x="98" y="750"/>
                </a:lnTo>
                <a:lnTo>
                  <a:pt x="101" y="750"/>
                </a:lnTo>
                <a:lnTo>
                  <a:pt x="105" y="751"/>
                </a:lnTo>
                <a:lnTo>
                  <a:pt x="510" y="751"/>
                </a:lnTo>
                <a:lnTo>
                  <a:pt x="510" y="811"/>
                </a:lnTo>
                <a:close/>
                <a:moveTo>
                  <a:pt x="510" y="52"/>
                </a:moveTo>
                <a:lnTo>
                  <a:pt x="609" y="150"/>
                </a:lnTo>
                <a:lnTo>
                  <a:pt x="510" y="150"/>
                </a:lnTo>
                <a:lnTo>
                  <a:pt x="510" y="52"/>
                </a:lnTo>
                <a:close/>
                <a:moveTo>
                  <a:pt x="659" y="160"/>
                </a:moveTo>
                <a:lnTo>
                  <a:pt x="658" y="157"/>
                </a:lnTo>
                <a:lnTo>
                  <a:pt x="656" y="154"/>
                </a:lnTo>
                <a:lnTo>
                  <a:pt x="506" y="4"/>
                </a:lnTo>
                <a:lnTo>
                  <a:pt x="504" y="3"/>
                </a:lnTo>
                <a:lnTo>
                  <a:pt x="500" y="1"/>
                </a:lnTo>
                <a:lnTo>
                  <a:pt x="498" y="1"/>
                </a:lnTo>
                <a:lnTo>
                  <a:pt x="495" y="0"/>
                </a:lnTo>
                <a:lnTo>
                  <a:pt x="194" y="0"/>
                </a:lnTo>
                <a:lnTo>
                  <a:pt x="191" y="0"/>
                </a:lnTo>
                <a:lnTo>
                  <a:pt x="189" y="1"/>
                </a:lnTo>
                <a:lnTo>
                  <a:pt x="186" y="3"/>
                </a:lnTo>
                <a:lnTo>
                  <a:pt x="184" y="4"/>
                </a:lnTo>
                <a:lnTo>
                  <a:pt x="183" y="6"/>
                </a:lnTo>
                <a:lnTo>
                  <a:pt x="181" y="9"/>
                </a:lnTo>
                <a:lnTo>
                  <a:pt x="179" y="12"/>
                </a:lnTo>
                <a:lnTo>
                  <a:pt x="179" y="15"/>
                </a:lnTo>
                <a:lnTo>
                  <a:pt x="179" y="91"/>
                </a:lnTo>
                <a:lnTo>
                  <a:pt x="105" y="91"/>
                </a:lnTo>
                <a:lnTo>
                  <a:pt x="101" y="92"/>
                </a:lnTo>
                <a:lnTo>
                  <a:pt x="98" y="93"/>
                </a:lnTo>
                <a:lnTo>
                  <a:pt x="96" y="94"/>
                </a:lnTo>
                <a:lnTo>
                  <a:pt x="94" y="96"/>
                </a:lnTo>
                <a:lnTo>
                  <a:pt x="92" y="98"/>
                </a:lnTo>
                <a:lnTo>
                  <a:pt x="91" y="100"/>
                </a:lnTo>
                <a:lnTo>
                  <a:pt x="90" y="104"/>
                </a:lnTo>
                <a:lnTo>
                  <a:pt x="90" y="107"/>
                </a:lnTo>
                <a:lnTo>
                  <a:pt x="90" y="180"/>
                </a:lnTo>
                <a:lnTo>
                  <a:pt x="15" y="180"/>
                </a:lnTo>
                <a:lnTo>
                  <a:pt x="11" y="181"/>
                </a:lnTo>
                <a:lnTo>
                  <a:pt x="8" y="182"/>
                </a:lnTo>
                <a:lnTo>
                  <a:pt x="6" y="183"/>
                </a:lnTo>
                <a:lnTo>
                  <a:pt x="4" y="185"/>
                </a:lnTo>
                <a:lnTo>
                  <a:pt x="2" y="187"/>
                </a:lnTo>
                <a:lnTo>
                  <a:pt x="1" y="189"/>
                </a:lnTo>
                <a:lnTo>
                  <a:pt x="0" y="192"/>
                </a:lnTo>
                <a:lnTo>
                  <a:pt x="0" y="195"/>
                </a:lnTo>
                <a:lnTo>
                  <a:pt x="0" y="826"/>
                </a:lnTo>
                <a:lnTo>
                  <a:pt x="0" y="829"/>
                </a:lnTo>
                <a:lnTo>
                  <a:pt x="1" y="832"/>
                </a:lnTo>
                <a:lnTo>
                  <a:pt x="2" y="835"/>
                </a:lnTo>
                <a:lnTo>
                  <a:pt x="4" y="837"/>
                </a:lnTo>
                <a:lnTo>
                  <a:pt x="6" y="839"/>
                </a:lnTo>
                <a:lnTo>
                  <a:pt x="8" y="840"/>
                </a:lnTo>
                <a:lnTo>
                  <a:pt x="11" y="841"/>
                </a:lnTo>
                <a:lnTo>
                  <a:pt x="15" y="841"/>
                </a:lnTo>
                <a:lnTo>
                  <a:pt x="525" y="841"/>
                </a:lnTo>
                <a:lnTo>
                  <a:pt x="528" y="841"/>
                </a:lnTo>
                <a:lnTo>
                  <a:pt x="530" y="840"/>
                </a:lnTo>
                <a:lnTo>
                  <a:pt x="534" y="839"/>
                </a:lnTo>
                <a:lnTo>
                  <a:pt x="536" y="837"/>
                </a:lnTo>
                <a:lnTo>
                  <a:pt x="538" y="835"/>
                </a:lnTo>
                <a:lnTo>
                  <a:pt x="539" y="832"/>
                </a:lnTo>
                <a:lnTo>
                  <a:pt x="540" y="829"/>
                </a:lnTo>
                <a:lnTo>
                  <a:pt x="540" y="826"/>
                </a:lnTo>
                <a:lnTo>
                  <a:pt x="540" y="751"/>
                </a:lnTo>
                <a:lnTo>
                  <a:pt x="585" y="751"/>
                </a:lnTo>
                <a:lnTo>
                  <a:pt x="588" y="750"/>
                </a:lnTo>
                <a:lnTo>
                  <a:pt x="591" y="750"/>
                </a:lnTo>
                <a:lnTo>
                  <a:pt x="594" y="748"/>
                </a:lnTo>
                <a:lnTo>
                  <a:pt x="596" y="747"/>
                </a:lnTo>
                <a:lnTo>
                  <a:pt x="598" y="745"/>
                </a:lnTo>
                <a:lnTo>
                  <a:pt x="599" y="741"/>
                </a:lnTo>
                <a:lnTo>
                  <a:pt x="600" y="739"/>
                </a:lnTo>
                <a:lnTo>
                  <a:pt x="600" y="736"/>
                </a:lnTo>
                <a:lnTo>
                  <a:pt x="600" y="660"/>
                </a:lnTo>
                <a:lnTo>
                  <a:pt x="645" y="660"/>
                </a:lnTo>
                <a:lnTo>
                  <a:pt x="648" y="660"/>
                </a:lnTo>
                <a:lnTo>
                  <a:pt x="651" y="659"/>
                </a:lnTo>
                <a:lnTo>
                  <a:pt x="653" y="658"/>
                </a:lnTo>
                <a:lnTo>
                  <a:pt x="656" y="657"/>
                </a:lnTo>
                <a:lnTo>
                  <a:pt x="658" y="655"/>
                </a:lnTo>
                <a:lnTo>
                  <a:pt x="659" y="652"/>
                </a:lnTo>
                <a:lnTo>
                  <a:pt x="660" y="648"/>
                </a:lnTo>
                <a:lnTo>
                  <a:pt x="660" y="645"/>
                </a:lnTo>
                <a:lnTo>
                  <a:pt x="660" y="165"/>
                </a:lnTo>
                <a:lnTo>
                  <a:pt x="660" y="163"/>
                </a:lnTo>
                <a:lnTo>
                  <a:pt x="659" y="16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907" name="Group 46">
            <a:extLst>
              <a:ext uri="{FF2B5EF4-FFF2-40B4-BE49-F238E27FC236}">
                <a16:creationId xmlns:a16="http://schemas.microsoft.com/office/drawing/2014/main" id="{4E0D0129-A77D-4222-AB21-057755722515}"/>
              </a:ext>
            </a:extLst>
          </p:cNvPr>
          <p:cNvGrpSpPr>
            <a:grpSpLocks noChangeAspect="1"/>
          </p:cNvGrpSpPr>
          <p:nvPr/>
        </p:nvGrpSpPr>
        <p:grpSpPr>
          <a:xfrm>
            <a:off x="5817564" y="3801969"/>
            <a:ext cx="234399" cy="308144"/>
            <a:chOff x="4430713" y="3243263"/>
            <a:chExt cx="282575" cy="371476"/>
          </a:xfrm>
          <a:solidFill>
            <a:schemeClr val="bg2"/>
          </a:solidFill>
          <a:effectLst/>
        </p:grpSpPr>
        <p:sp>
          <p:nvSpPr>
            <p:cNvPr id="908" name="Freeform 19">
              <a:extLst>
                <a:ext uri="{FF2B5EF4-FFF2-40B4-BE49-F238E27FC236}">
                  <a16:creationId xmlns:a16="http://schemas.microsoft.com/office/drawing/2014/main" id="{F7021510-C16F-45B8-AF25-7E73DB3CC853}"/>
                </a:ext>
              </a:extLst>
            </p:cNvPr>
            <p:cNvSpPr>
              <a:spLocks/>
            </p:cNvSpPr>
            <p:nvPr/>
          </p:nvSpPr>
          <p:spPr bwMode="auto">
            <a:xfrm>
              <a:off x="4478338" y="3482976"/>
              <a:ext cx="77788" cy="61913"/>
            </a:xfrm>
            <a:custGeom>
              <a:avLst/>
              <a:gdLst>
                <a:gd name="T0" fmla="*/ 4 w 20"/>
                <a:gd name="T1" fmla="*/ 16 h 16"/>
                <a:gd name="T2" fmla="*/ 0 w 20"/>
                <a:gd name="T3" fmla="*/ 16 h 16"/>
                <a:gd name="T4" fmla="*/ 0 w 20"/>
                <a:gd name="T5" fmla="*/ 14 h 16"/>
                <a:gd name="T6" fmla="*/ 5 w 20"/>
                <a:gd name="T7" fmla="*/ 7 h 16"/>
                <a:gd name="T8" fmla="*/ 16 w 20"/>
                <a:gd name="T9" fmla="*/ 4 h 16"/>
                <a:gd name="T10" fmla="*/ 16 w 20"/>
                <a:gd name="T11" fmla="*/ 0 h 16"/>
                <a:gd name="T12" fmla="*/ 20 w 20"/>
                <a:gd name="T13" fmla="*/ 0 h 16"/>
                <a:gd name="T14" fmla="*/ 20 w 20"/>
                <a:gd name="T15" fmla="*/ 6 h 16"/>
                <a:gd name="T16" fmla="*/ 18 w 20"/>
                <a:gd name="T17" fmla="*/ 8 h 16"/>
                <a:gd name="T18" fmla="*/ 6 w 20"/>
                <a:gd name="T19" fmla="*/ 11 h 16"/>
                <a:gd name="T20" fmla="*/ 4 w 20"/>
                <a:gd name="T21" fmla="*/ 14 h 16"/>
                <a:gd name="T22" fmla="*/ 4 w 2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4" y="16"/>
                  </a:moveTo>
                  <a:cubicBezTo>
                    <a:pt x="0" y="16"/>
                    <a:pt x="0" y="16"/>
                    <a:pt x="0" y="16"/>
                  </a:cubicBezTo>
                  <a:cubicBezTo>
                    <a:pt x="0" y="14"/>
                    <a:pt x="0" y="14"/>
                    <a:pt x="0" y="14"/>
                  </a:cubicBezTo>
                  <a:cubicBezTo>
                    <a:pt x="0" y="11"/>
                    <a:pt x="2" y="8"/>
                    <a:pt x="5" y="7"/>
                  </a:cubicBezTo>
                  <a:cubicBezTo>
                    <a:pt x="16" y="4"/>
                    <a:pt x="16" y="4"/>
                    <a:pt x="16" y="4"/>
                  </a:cubicBezTo>
                  <a:cubicBezTo>
                    <a:pt x="16" y="0"/>
                    <a:pt x="16" y="0"/>
                    <a:pt x="16" y="0"/>
                  </a:cubicBezTo>
                  <a:cubicBezTo>
                    <a:pt x="20" y="0"/>
                    <a:pt x="20" y="0"/>
                    <a:pt x="20" y="0"/>
                  </a:cubicBezTo>
                  <a:cubicBezTo>
                    <a:pt x="20" y="6"/>
                    <a:pt x="20" y="6"/>
                    <a:pt x="20" y="6"/>
                  </a:cubicBezTo>
                  <a:cubicBezTo>
                    <a:pt x="20" y="7"/>
                    <a:pt x="19" y="8"/>
                    <a:pt x="18" y="8"/>
                  </a:cubicBezTo>
                  <a:cubicBezTo>
                    <a:pt x="6" y="11"/>
                    <a:pt x="6" y="11"/>
                    <a:pt x="6" y="11"/>
                  </a:cubicBezTo>
                  <a:cubicBezTo>
                    <a:pt x="5" y="11"/>
                    <a:pt x="4" y="13"/>
                    <a:pt x="4" y="1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9" name="Freeform 20">
              <a:extLst>
                <a:ext uri="{FF2B5EF4-FFF2-40B4-BE49-F238E27FC236}">
                  <a16:creationId xmlns:a16="http://schemas.microsoft.com/office/drawing/2014/main" id="{6E718210-620E-4E5C-8DF0-ED9779BB1B46}"/>
                </a:ext>
              </a:extLst>
            </p:cNvPr>
            <p:cNvSpPr>
              <a:spLocks/>
            </p:cNvSpPr>
            <p:nvPr/>
          </p:nvSpPr>
          <p:spPr bwMode="auto">
            <a:xfrm>
              <a:off x="4587876" y="3482976"/>
              <a:ext cx="77788" cy="61913"/>
            </a:xfrm>
            <a:custGeom>
              <a:avLst/>
              <a:gdLst>
                <a:gd name="T0" fmla="*/ 20 w 20"/>
                <a:gd name="T1" fmla="*/ 16 h 16"/>
                <a:gd name="T2" fmla="*/ 16 w 20"/>
                <a:gd name="T3" fmla="*/ 16 h 16"/>
                <a:gd name="T4" fmla="*/ 16 w 20"/>
                <a:gd name="T5" fmla="*/ 14 h 16"/>
                <a:gd name="T6" fmla="*/ 13 w 20"/>
                <a:gd name="T7" fmla="*/ 11 h 16"/>
                <a:gd name="T8" fmla="*/ 2 w 20"/>
                <a:gd name="T9" fmla="*/ 8 h 16"/>
                <a:gd name="T10" fmla="*/ 0 w 20"/>
                <a:gd name="T11" fmla="*/ 6 h 16"/>
                <a:gd name="T12" fmla="*/ 0 w 20"/>
                <a:gd name="T13" fmla="*/ 0 h 16"/>
                <a:gd name="T14" fmla="*/ 4 w 20"/>
                <a:gd name="T15" fmla="*/ 0 h 16"/>
                <a:gd name="T16" fmla="*/ 4 w 20"/>
                <a:gd name="T17" fmla="*/ 4 h 16"/>
                <a:gd name="T18" fmla="*/ 14 w 20"/>
                <a:gd name="T19" fmla="*/ 7 h 16"/>
                <a:gd name="T20" fmla="*/ 20 w 20"/>
                <a:gd name="T21" fmla="*/ 14 h 16"/>
                <a:gd name="T22" fmla="*/ 20 w 2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20" y="16"/>
                  </a:moveTo>
                  <a:cubicBezTo>
                    <a:pt x="16" y="16"/>
                    <a:pt x="16" y="16"/>
                    <a:pt x="16" y="16"/>
                  </a:cubicBezTo>
                  <a:cubicBezTo>
                    <a:pt x="16" y="14"/>
                    <a:pt x="16" y="14"/>
                    <a:pt x="16" y="14"/>
                  </a:cubicBezTo>
                  <a:cubicBezTo>
                    <a:pt x="16" y="13"/>
                    <a:pt x="15" y="11"/>
                    <a:pt x="13" y="11"/>
                  </a:cubicBezTo>
                  <a:cubicBezTo>
                    <a:pt x="2" y="8"/>
                    <a:pt x="2" y="8"/>
                    <a:pt x="2" y="8"/>
                  </a:cubicBezTo>
                  <a:cubicBezTo>
                    <a:pt x="1" y="8"/>
                    <a:pt x="0" y="7"/>
                    <a:pt x="0" y="6"/>
                  </a:cubicBezTo>
                  <a:cubicBezTo>
                    <a:pt x="0" y="0"/>
                    <a:pt x="0" y="0"/>
                    <a:pt x="0" y="0"/>
                  </a:cubicBezTo>
                  <a:cubicBezTo>
                    <a:pt x="4" y="0"/>
                    <a:pt x="4" y="0"/>
                    <a:pt x="4" y="0"/>
                  </a:cubicBezTo>
                  <a:cubicBezTo>
                    <a:pt x="4" y="4"/>
                    <a:pt x="4" y="4"/>
                    <a:pt x="4" y="4"/>
                  </a:cubicBezTo>
                  <a:cubicBezTo>
                    <a:pt x="14" y="7"/>
                    <a:pt x="14" y="7"/>
                    <a:pt x="14" y="7"/>
                  </a:cubicBezTo>
                  <a:cubicBezTo>
                    <a:pt x="18" y="8"/>
                    <a:pt x="20" y="11"/>
                    <a:pt x="20" y="14"/>
                  </a:cubicBezTo>
                  <a:lnTo>
                    <a:pt x="2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0" name="Freeform 21">
              <a:extLst>
                <a:ext uri="{FF2B5EF4-FFF2-40B4-BE49-F238E27FC236}">
                  <a16:creationId xmlns:a16="http://schemas.microsoft.com/office/drawing/2014/main" id="{F6FAFF83-0164-434C-94D4-E2E910589958}"/>
                </a:ext>
              </a:extLst>
            </p:cNvPr>
            <p:cNvSpPr>
              <a:spLocks noEditPoints="1"/>
            </p:cNvSpPr>
            <p:nvPr/>
          </p:nvSpPr>
          <p:spPr bwMode="auto">
            <a:xfrm>
              <a:off x="4516438" y="3382963"/>
              <a:ext cx="111125" cy="115888"/>
            </a:xfrm>
            <a:custGeom>
              <a:avLst/>
              <a:gdLst>
                <a:gd name="T0" fmla="*/ 14 w 28"/>
                <a:gd name="T1" fmla="*/ 30 h 30"/>
                <a:gd name="T2" fmla="*/ 0 w 28"/>
                <a:gd name="T3" fmla="*/ 15 h 30"/>
                <a:gd name="T4" fmla="*/ 14 w 28"/>
                <a:gd name="T5" fmla="*/ 0 h 30"/>
                <a:gd name="T6" fmla="*/ 28 w 28"/>
                <a:gd name="T7" fmla="*/ 15 h 30"/>
                <a:gd name="T8" fmla="*/ 14 w 28"/>
                <a:gd name="T9" fmla="*/ 30 h 30"/>
                <a:gd name="T10" fmla="*/ 14 w 28"/>
                <a:gd name="T11" fmla="*/ 4 h 30"/>
                <a:gd name="T12" fmla="*/ 4 w 28"/>
                <a:gd name="T13" fmla="*/ 15 h 30"/>
                <a:gd name="T14" fmla="*/ 14 w 28"/>
                <a:gd name="T15" fmla="*/ 26 h 30"/>
                <a:gd name="T16" fmla="*/ 24 w 28"/>
                <a:gd name="T17" fmla="*/ 15 h 30"/>
                <a:gd name="T18" fmla="*/ 14 w 28"/>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0">
                  <a:moveTo>
                    <a:pt x="14" y="30"/>
                  </a:moveTo>
                  <a:cubicBezTo>
                    <a:pt x="6" y="30"/>
                    <a:pt x="0" y="23"/>
                    <a:pt x="0" y="15"/>
                  </a:cubicBezTo>
                  <a:cubicBezTo>
                    <a:pt x="0" y="7"/>
                    <a:pt x="6" y="0"/>
                    <a:pt x="14" y="0"/>
                  </a:cubicBezTo>
                  <a:cubicBezTo>
                    <a:pt x="22" y="0"/>
                    <a:pt x="28" y="7"/>
                    <a:pt x="28" y="15"/>
                  </a:cubicBezTo>
                  <a:cubicBezTo>
                    <a:pt x="28" y="23"/>
                    <a:pt x="22" y="30"/>
                    <a:pt x="14" y="30"/>
                  </a:cubicBezTo>
                  <a:close/>
                  <a:moveTo>
                    <a:pt x="14" y="4"/>
                  </a:moveTo>
                  <a:cubicBezTo>
                    <a:pt x="8" y="4"/>
                    <a:pt x="4" y="9"/>
                    <a:pt x="4" y="15"/>
                  </a:cubicBezTo>
                  <a:cubicBezTo>
                    <a:pt x="4" y="21"/>
                    <a:pt x="8" y="26"/>
                    <a:pt x="14" y="26"/>
                  </a:cubicBezTo>
                  <a:cubicBezTo>
                    <a:pt x="20" y="26"/>
                    <a:pt x="24" y="21"/>
                    <a:pt x="24" y="15"/>
                  </a:cubicBezTo>
                  <a:cubicBezTo>
                    <a:pt x="24" y="9"/>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1" name="Freeform 22">
              <a:extLst>
                <a:ext uri="{FF2B5EF4-FFF2-40B4-BE49-F238E27FC236}">
                  <a16:creationId xmlns:a16="http://schemas.microsoft.com/office/drawing/2014/main" id="{9CD0F07D-260C-4C96-AD3E-483CD50C2A04}"/>
                </a:ext>
              </a:extLst>
            </p:cNvPr>
            <p:cNvSpPr>
              <a:spLocks/>
            </p:cNvSpPr>
            <p:nvPr/>
          </p:nvSpPr>
          <p:spPr bwMode="auto">
            <a:xfrm>
              <a:off x="4521201" y="3417888"/>
              <a:ext cx="101600" cy="30163"/>
            </a:xfrm>
            <a:custGeom>
              <a:avLst/>
              <a:gdLst>
                <a:gd name="T0" fmla="*/ 21 w 26"/>
                <a:gd name="T1" fmla="*/ 7 h 8"/>
                <a:gd name="T2" fmla="*/ 20 w 26"/>
                <a:gd name="T3" fmla="*/ 7 h 8"/>
                <a:gd name="T4" fmla="*/ 15 w 26"/>
                <a:gd name="T5" fmla="*/ 5 h 8"/>
                <a:gd name="T6" fmla="*/ 0 w 26"/>
                <a:gd name="T7" fmla="*/ 5 h 8"/>
                <a:gd name="T8" fmla="*/ 2 w 26"/>
                <a:gd name="T9" fmla="*/ 2 h 8"/>
                <a:gd name="T10" fmla="*/ 14 w 26"/>
                <a:gd name="T11" fmla="*/ 0 h 8"/>
                <a:gd name="T12" fmla="*/ 15 w 26"/>
                <a:gd name="T13" fmla="*/ 0 h 8"/>
                <a:gd name="T14" fmla="*/ 17 w 26"/>
                <a:gd name="T15" fmla="*/ 1 h 8"/>
                <a:gd name="T16" fmla="*/ 20 w 26"/>
                <a:gd name="T17" fmla="*/ 3 h 8"/>
                <a:gd name="T18" fmla="*/ 23 w 26"/>
                <a:gd name="T19" fmla="*/ 2 h 8"/>
                <a:gd name="T20" fmla="*/ 26 w 26"/>
                <a:gd name="T21" fmla="*/ 5 h 8"/>
                <a:gd name="T22" fmla="*/ 21 w 26"/>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8">
                  <a:moveTo>
                    <a:pt x="21" y="7"/>
                  </a:moveTo>
                  <a:cubicBezTo>
                    <a:pt x="21" y="7"/>
                    <a:pt x="20" y="7"/>
                    <a:pt x="20" y="7"/>
                  </a:cubicBezTo>
                  <a:cubicBezTo>
                    <a:pt x="18" y="7"/>
                    <a:pt x="16" y="6"/>
                    <a:pt x="15" y="5"/>
                  </a:cubicBezTo>
                  <a:cubicBezTo>
                    <a:pt x="10" y="8"/>
                    <a:pt x="4" y="8"/>
                    <a:pt x="0" y="5"/>
                  </a:cubicBezTo>
                  <a:cubicBezTo>
                    <a:pt x="2" y="2"/>
                    <a:pt x="2" y="2"/>
                    <a:pt x="2" y="2"/>
                  </a:cubicBezTo>
                  <a:cubicBezTo>
                    <a:pt x="5" y="3"/>
                    <a:pt x="10" y="4"/>
                    <a:pt x="14" y="0"/>
                  </a:cubicBezTo>
                  <a:cubicBezTo>
                    <a:pt x="14" y="0"/>
                    <a:pt x="15" y="0"/>
                    <a:pt x="15" y="0"/>
                  </a:cubicBezTo>
                  <a:cubicBezTo>
                    <a:pt x="16" y="0"/>
                    <a:pt x="16" y="0"/>
                    <a:pt x="17" y="1"/>
                  </a:cubicBezTo>
                  <a:cubicBezTo>
                    <a:pt x="18" y="2"/>
                    <a:pt x="19" y="3"/>
                    <a:pt x="20" y="3"/>
                  </a:cubicBezTo>
                  <a:cubicBezTo>
                    <a:pt x="22" y="3"/>
                    <a:pt x="23" y="3"/>
                    <a:pt x="23" y="2"/>
                  </a:cubicBezTo>
                  <a:cubicBezTo>
                    <a:pt x="26" y="5"/>
                    <a:pt x="26" y="5"/>
                    <a:pt x="26" y="5"/>
                  </a:cubicBezTo>
                  <a:cubicBezTo>
                    <a:pt x="25" y="6"/>
                    <a:pt x="23" y="7"/>
                    <a:pt x="2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2" name="Freeform 23">
              <a:extLst>
                <a:ext uri="{FF2B5EF4-FFF2-40B4-BE49-F238E27FC236}">
                  <a16:creationId xmlns:a16="http://schemas.microsoft.com/office/drawing/2014/main" id="{42F227D6-015C-46BC-BA3C-62E6AF9B116B}"/>
                </a:ext>
              </a:extLst>
            </p:cNvPr>
            <p:cNvSpPr>
              <a:spLocks/>
            </p:cNvSpPr>
            <p:nvPr/>
          </p:nvSpPr>
          <p:spPr bwMode="auto">
            <a:xfrm>
              <a:off x="4430713" y="3305176"/>
              <a:ext cx="282575" cy="309563"/>
            </a:xfrm>
            <a:custGeom>
              <a:avLst/>
              <a:gdLst>
                <a:gd name="T0" fmla="*/ 70 w 72"/>
                <a:gd name="T1" fmla="*/ 80 h 80"/>
                <a:gd name="T2" fmla="*/ 2 w 72"/>
                <a:gd name="T3" fmla="*/ 80 h 80"/>
                <a:gd name="T4" fmla="*/ 0 w 72"/>
                <a:gd name="T5" fmla="*/ 78 h 80"/>
                <a:gd name="T6" fmla="*/ 0 w 72"/>
                <a:gd name="T7" fmla="*/ 2 h 80"/>
                <a:gd name="T8" fmla="*/ 2 w 72"/>
                <a:gd name="T9" fmla="*/ 0 h 80"/>
                <a:gd name="T10" fmla="*/ 26 w 72"/>
                <a:gd name="T11" fmla="*/ 0 h 80"/>
                <a:gd name="T12" fmla="*/ 26 w 72"/>
                <a:gd name="T13" fmla="*/ 4 h 80"/>
                <a:gd name="T14" fmla="*/ 4 w 72"/>
                <a:gd name="T15" fmla="*/ 4 h 80"/>
                <a:gd name="T16" fmla="*/ 4 w 72"/>
                <a:gd name="T17" fmla="*/ 76 h 80"/>
                <a:gd name="T18" fmla="*/ 68 w 72"/>
                <a:gd name="T19" fmla="*/ 76 h 80"/>
                <a:gd name="T20" fmla="*/ 68 w 72"/>
                <a:gd name="T21" fmla="*/ 4 h 80"/>
                <a:gd name="T22" fmla="*/ 46 w 72"/>
                <a:gd name="T23" fmla="*/ 4 h 80"/>
                <a:gd name="T24" fmla="*/ 46 w 72"/>
                <a:gd name="T25" fmla="*/ 0 h 80"/>
                <a:gd name="T26" fmla="*/ 70 w 72"/>
                <a:gd name="T27" fmla="*/ 0 h 80"/>
                <a:gd name="T28" fmla="*/ 72 w 72"/>
                <a:gd name="T29" fmla="*/ 2 h 80"/>
                <a:gd name="T30" fmla="*/ 72 w 72"/>
                <a:gd name="T31" fmla="*/ 78 h 80"/>
                <a:gd name="T32" fmla="*/ 70 w 72"/>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80">
                  <a:moveTo>
                    <a:pt x="70" y="80"/>
                  </a:moveTo>
                  <a:cubicBezTo>
                    <a:pt x="2" y="80"/>
                    <a:pt x="2" y="80"/>
                    <a:pt x="2" y="80"/>
                  </a:cubicBezTo>
                  <a:cubicBezTo>
                    <a:pt x="1" y="80"/>
                    <a:pt x="0" y="79"/>
                    <a:pt x="0" y="78"/>
                  </a:cubicBezTo>
                  <a:cubicBezTo>
                    <a:pt x="0" y="2"/>
                    <a:pt x="0" y="2"/>
                    <a:pt x="0" y="2"/>
                  </a:cubicBezTo>
                  <a:cubicBezTo>
                    <a:pt x="0" y="1"/>
                    <a:pt x="1" y="0"/>
                    <a:pt x="2" y="0"/>
                  </a:cubicBezTo>
                  <a:cubicBezTo>
                    <a:pt x="26" y="0"/>
                    <a:pt x="26" y="0"/>
                    <a:pt x="26" y="0"/>
                  </a:cubicBezTo>
                  <a:cubicBezTo>
                    <a:pt x="26" y="4"/>
                    <a:pt x="26" y="4"/>
                    <a:pt x="26" y="4"/>
                  </a:cubicBezTo>
                  <a:cubicBezTo>
                    <a:pt x="4" y="4"/>
                    <a:pt x="4" y="4"/>
                    <a:pt x="4" y="4"/>
                  </a:cubicBezTo>
                  <a:cubicBezTo>
                    <a:pt x="4" y="76"/>
                    <a:pt x="4" y="76"/>
                    <a:pt x="4" y="76"/>
                  </a:cubicBezTo>
                  <a:cubicBezTo>
                    <a:pt x="68" y="76"/>
                    <a:pt x="68" y="76"/>
                    <a:pt x="68" y="76"/>
                  </a:cubicBezTo>
                  <a:cubicBezTo>
                    <a:pt x="68" y="4"/>
                    <a:pt x="68" y="4"/>
                    <a:pt x="68" y="4"/>
                  </a:cubicBezTo>
                  <a:cubicBezTo>
                    <a:pt x="46" y="4"/>
                    <a:pt x="46" y="4"/>
                    <a:pt x="46" y="4"/>
                  </a:cubicBezTo>
                  <a:cubicBezTo>
                    <a:pt x="46" y="0"/>
                    <a:pt x="46" y="0"/>
                    <a:pt x="46" y="0"/>
                  </a:cubicBezTo>
                  <a:cubicBezTo>
                    <a:pt x="70" y="0"/>
                    <a:pt x="70" y="0"/>
                    <a:pt x="70" y="0"/>
                  </a:cubicBezTo>
                  <a:cubicBezTo>
                    <a:pt x="71" y="0"/>
                    <a:pt x="72" y="1"/>
                    <a:pt x="72" y="2"/>
                  </a:cubicBezTo>
                  <a:cubicBezTo>
                    <a:pt x="72" y="78"/>
                    <a:pt x="72" y="78"/>
                    <a:pt x="72" y="78"/>
                  </a:cubicBezTo>
                  <a:cubicBezTo>
                    <a:pt x="72" y="79"/>
                    <a:pt x="71" y="80"/>
                    <a:pt x="7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3" name="Freeform 24">
              <a:extLst>
                <a:ext uri="{FF2B5EF4-FFF2-40B4-BE49-F238E27FC236}">
                  <a16:creationId xmlns:a16="http://schemas.microsoft.com/office/drawing/2014/main" id="{18FE9CB2-72B4-4ECD-A679-C1FEDEF55BC6}"/>
                </a:ext>
              </a:extLst>
            </p:cNvPr>
            <p:cNvSpPr>
              <a:spLocks noEditPoints="1"/>
            </p:cNvSpPr>
            <p:nvPr/>
          </p:nvSpPr>
          <p:spPr bwMode="auto">
            <a:xfrm>
              <a:off x="4524376" y="3243263"/>
              <a:ext cx="95250" cy="123825"/>
            </a:xfrm>
            <a:custGeom>
              <a:avLst/>
              <a:gdLst>
                <a:gd name="T0" fmla="*/ 22 w 24"/>
                <a:gd name="T1" fmla="*/ 32 h 32"/>
                <a:gd name="T2" fmla="*/ 2 w 24"/>
                <a:gd name="T3" fmla="*/ 32 h 32"/>
                <a:gd name="T4" fmla="*/ 0 w 24"/>
                <a:gd name="T5" fmla="*/ 30 h 32"/>
                <a:gd name="T6" fmla="*/ 0 w 24"/>
                <a:gd name="T7" fmla="*/ 12 h 32"/>
                <a:gd name="T8" fmla="*/ 12 w 24"/>
                <a:gd name="T9" fmla="*/ 0 h 32"/>
                <a:gd name="T10" fmla="*/ 24 w 24"/>
                <a:gd name="T11" fmla="*/ 12 h 32"/>
                <a:gd name="T12" fmla="*/ 24 w 24"/>
                <a:gd name="T13" fmla="*/ 30 h 32"/>
                <a:gd name="T14" fmla="*/ 22 w 24"/>
                <a:gd name="T15" fmla="*/ 32 h 32"/>
                <a:gd name="T16" fmla="*/ 4 w 24"/>
                <a:gd name="T17" fmla="*/ 28 h 32"/>
                <a:gd name="T18" fmla="*/ 20 w 24"/>
                <a:gd name="T19" fmla="*/ 28 h 32"/>
                <a:gd name="T20" fmla="*/ 20 w 24"/>
                <a:gd name="T21" fmla="*/ 12 h 32"/>
                <a:gd name="T22" fmla="*/ 12 w 24"/>
                <a:gd name="T23" fmla="*/ 4 h 32"/>
                <a:gd name="T24" fmla="*/ 4 w 24"/>
                <a:gd name="T25" fmla="*/ 12 h 32"/>
                <a:gd name="T26" fmla="*/ 4 w 24"/>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22" y="32"/>
                  </a:moveTo>
                  <a:cubicBezTo>
                    <a:pt x="2" y="32"/>
                    <a:pt x="2" y="32"/>
                    <a:pt x="2" y="32"/>
                  </a:cubicBezTo>
                  <a:cubicBezTo>
                    <a:pt x="1" y="32"/>
                    <a:pt x="0" y="31"/>
                    <a:pt x="0" y="30"/>
                  </a:cubicBezTo>
                  <a:cubicBezTo>
                    <a:pt x="0" y="12"/>
                    <a:pt x="0" y="12"/>
                    <a:pt x="0" y="12"/>
                  </a:cubicBezTo>
                  <a:cubicBezTo>
                    <a:pt x="0" y="5"/>
                    <a:pt x="5" y="0"/>
                    <a:pt x="12" y="0"/>
                  </a:cubicBezTo>
                  <a:cubicBezTo>
                    <a:pt x="19" y="0"/>
                    <a:pt x="24" y="5"/>
                    <a:pt x="24" y="12"/>
                  </a:cubicBezTo>
                  <a:cubicBezTo>
                    <a:pt x="24" y="30"/>
                    <a:pt x="24" y="30"/>
                    <a:pt x="24" y="30"/>
                  </a:cubicBezTo>
                  <a:cubicBezTo>
                    <a:pt x="24" y="31"/>
                    <a:pt x="23" y="32"/>
                    <a:pt x="22" y="32"/>
                  </a:cubicBezTo>
                  <a:close/>
                  <a:moveTo>
                    <a:pt x="4" y="28"/>
                  </a:moveTo>
                  <a:cubicBezTo>
                    <a:pt x="20" y="28"/>
                    <a:pt x="20" y="28"/>
                    <a:pt x="20" y="28"/>
                  </a:cubicBezTo>
                  <a:cubicBezTo>
                    <a:pt x="20" y="12"/>
                    <a:pt x="20" y="12"/>
                    <a:pt x="20" y="12"/>
                  </a:cubicBezTo>
                  <a:cubicBezTo>
                    <a:pt x="20" y="8"/>
                    <a:pt x="16" y="4"/>
                    <a:pt x="12" y="4"/>
                  </a:cubicBezTo>
                  <a:cubicBezTo>
                    <a:pt x="8" y="4"/>
                    <a:pt x="4" y="8"/>
                    <a:pt x="4" y="12"/>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4" name="Rectangle 25">
              <a:extLst>
                <a:ext uri="{FF2B5EF4-FFF2-40B4-BE49-F238E27FC236}">
                  <a16:creationId xmlns:a16="http://schemas.microsoft.com/office/drawing/2014/main" id="{78A1F972-1D33-4B36-B2DC-0CFB561703F2}"/>
                </a:ext>
              </a:extLst>
            </p:cNvPr>
            <p:cNvSpPr>
              <a:spLocks noChangeArrowheads="1"/>
            </p:cNvSpPr>
            <p:nvPr/>
          </p:nvSpPr>
          <p:spPr bwMode="auto">
            <a:xfrm>
              <a:off x="4438651" y="3536951"/>
              <a:ext cx="2667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5" name="Rectangle 26">
              <a:extLst>
                <a:ext uri="{FF2B5EF4-FFF2-40B4-BE49-F238E27FC236}">
                  <a16:creationId xmlns:a16="http://schemas.microsoft.com/office/drawing/2014/main" id="{BA27E7E7-A2A4-484F-9060-FBFEF5752D9B}"/>
                </a:ext>
              </a:extLst>
            </p:cNvPr>
            <p:cNvSpPr>
              <a:spLocks noChangeArrowheads="1"/>
            </p:cNvSpPr>
            <p:nvPr/>
          </p:nvSpPr>
          <p:spPr bwMode="auto">
            <a:xfrm>
              <a:off x="4603751" y="3568701"/>
              <a:ext cx="6191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6" name="Oval 27">
              <a:extLst>
                <a:ext uri="{FF2B5EF4-FFF2-40B4-BE49-F238E27FC236}">
                  <a16:creationId xmlns:a16="http://schemas.microsoft.com/office/drawing/2014/main" id="{6FE130EF-A3E4-4A40-96B9-0C5586FD56F1}"/>
                </a:ext>
              </a:extLst>
            </p:cNvPr>
            <p:cNvSpPr>
              <a:spLocks noChangeArrowheads="1"/>
            </p:cNvSpPr>
            <p:nvPr/>
          </p:nvSpPr>
          <p:spPr bwMode="auto">
            <a:xfrm>
              <a:off x="4556126" y="3275013"/>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21" name="Group 4120">
            <a:extLst>
              <a:ext uri="{FF2B5EF4-FFF2-40B4-BE49-F238E27FC236}">
                <a16:creationId xmlns:a16="http://schemas.microsoft.com/office/drawing/2014/main" id="{16C8D63F-7DEA-4467-993D-A07B4D000A0E}"/>
              </a:ext>
            </a:extLst>
          </p:cNvPr>
          <p:cNvGrpSpPr>
            <a:grpSpLocks noChangeAspect="1"/>
          </p:cNvGrpSpPr>
          <p:nvPr/>
        </p:nvGrpSpPr>
        <p:grpSpPr>
          <a:xfrm>
            <a:off x="6206975" y="3801969"/>
            <a:ext cx="244935" cy="308144"/>
            <a:chOff x="4422775" y="3243263"/>
            <a:chExt cx="295275" cy="371475"/>
          </a:xfrm>
          <a:solidFill>
            <a:schemeClr val="bg2"/>
          </a:solidFill>
          <a:effectLst/>
        </p:grpSpPr>
        <p:sp>
          <p:nvSpPr>
            <p:cNvPr id="922" name="Freeform 8">
              <a:extLst>
                <a:ext uri="{FF2B5EF4-FFF2-40B4-BE49-F238E27FC236}">
                  <a16:creationId xmlns:a16="http://schemas.microsoft.com/office/drawing/2014/main" id="{8DADBF57-B200-451E-9839-C63D7212D372}"/>
                </a:ext>
              </a:extLst>
            </p:cNvPr>
            <p:cNvSpPr>
              <a:spLocks/>
            </p:cNvSpPr>
            <p:nvPr/>
          </p:nvSpPr>
          <p:spPr bwMode="auto">
            <a:xfrm>
              <a:off x="4422775" y="3275013"/>
              <a:ext cx="295275" cy="339725"/>
            </a:xfrm>
            <a:custGeom>
              <a:avLst/>
              <a:gdLst>
                <a:gd name="T0" fmla="*/ 74 w 76"/>
                <a:gd name="T1" fmla="*/ 88 h 88"/>
                <a:gd name="T2" fmla="*/ 2 w 76"/>
                <a:gd name="T3" fmla="*/ 88 h 88"/>
                <a:gd name="T4" fmla="*/ 0 w 76"/>
                <a:gd name="T5" fmla="*/ 86 h 88"/>
                <a:gd name="T6" fmla="*/ 0 w 76"/>
                <a:gd name="T7" fmla="*/ 2 h 88"/>
                <a:gd name="T8" fmla="*/ 2 w 76"/>
                <a:gd name="T9" fmla="*/ 0 h 88"/>
                <a:gd name="T10" fmla="*/ 10 w 76"/>
                <a:gd name="T11" fmla="*/ 0 h 88"/>
                <a:gd name="T12" fmla="*/ 12 w 76"/>
                <a:gd name="T13" fmla="*/ 2 h 88"/>
                <a:gd name="T14" fmla="*/ 10 w 76"/>
                <a:gd name="T15" fmla="*/ 4 h 88"/>
                <a:gd name="T16" fmla="*/ 4 w 76"/>
                <a:gd name="T17" fmla="*/ 4 h 88"/>
                <a:gd name="T18" fmla="*/ 4 w 76"/>
                <a:gd name="T19" fmla="*/ 84 h 88"/>
                <a:gd name="T20" fmla="*/ 72 w 76"/>
                <a:gd name="T21" fmla="*/ 84 h 88"/>
                <a:gd name="T22" fmla="*/ 72 w 76"/>
                <a:gd name="T23" fmla="*/ 4 h 88"/>
                <a:gd name="T24" fmla="*/ 66 w 76"/>
                <a:gd name="T25" fmla="*/ 4 h 88"/>
                <a:gd name="T26" fmla="*/ 64 w 76"/>
                <a:gd name="T27" fmla="*/ 2 h 88"/>
                <a:gd name="T28" fmla="*/ 66 w 76"/>
                <a:gd name="T29" fmla="*/ 0 h 88"/>
                <a:gd name="T30" fmla="*/ 74 w 76"/>
                <a:gd name="T31" fmla="*/ 0 h 88"/>
                <a:gd name="T32" fmla="*/ 76 w 76"/>
                <a:gd name="T33" fmla="*/ 2 h 88"/>
                <a:gd name="T34" fmla="*/ 76 w 76"/>
                <a:gd name="T35" fmla="*/ 86 h 88"/>
                <a:gd name="T36" fmla="*/ 74 w 7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8">
                  <a:moveTo>
                    <a:pt x="74" y="88"/>
                  </a:moveTo>
                  <a:cubicBezTo>
                    <a:pt x="2" y="88"/>
                    <a:pt x="2" y="88"/>
                    <a:pt x="2" y="88"/>
                  </a:cubicBezTo>
                  <a:cubicBezTo>
                    <a:pt x="1" y="88"/>
                    <a:pt x="0" y="87"/>
                    <a:pt x="0" y="86"/>
                  </a:cubicBezTo>
                  <a:cubicBezTo>
                    <a:pt x="0" y="2"/>
                    <a:pt x="0" y="2"/>
                    <a:pt x="0" y="2"/>
                  </a:cubicBezTo>
                  <a:cubicBezTo>
                    <a:pt x="0" y="1"/>
                    <a:pt x="1" y="0"/>
                    <a:pt x="2" y="0"/>
                  </a:cubicBezTo>
                  <a:cubicBezTo>
                    <a:pt x="10" y="0"/>
                    <a:pt x="10" y="0"/>
                    <a:pt x="10" y="0"/>
                  </a:cubicBezTo>
                  <a:cubicBezTo>
                    <a:pt x="11" y="0"/>
                    <a:pt x="12" y="1"/>
                    <a:pt x="12" y="2"/>
                  </a:cubicBezTo>
                  <a:cubicBezTo>
                    <a:pt x="12" y="3"/>
                    <a:pt x="11" y="4"/>
                    <a:pt x="10" y="4"/>
                  </a:cubicBezTo>
                  <a:cubicBezTo>
                    <a:pt x="4" y="4"/>
                    <a:pt x="4" y="4"/>
                    <a:pt x="4" y="4"/>
                  </a:cubicBezTo>
                  <a:cubicBezTo>
                    <a:pt x="4" y="84"/>
                    <a:pt x="4" y="84"/>
                    <a:pt x="4" y="84"/>
                  </a:cubicBezTo>
                  <a:cubicBezTo>
                    <a:pt x="72" y="84"/>
                    <a:pt x="72" y="84"/>
                    <a:pt x="72" y="84"/>
                  </a:cubicBezTo>
                  <a:cubicBezTo>
                    <a:pt x="72" y="4"/>
                    <a:pt x="72" y="4"/>
                    <a:pt x="72" y="4"/>
                  </a:cubicBezTo>
                  <a:cubicBezTo>
                    <a:pt x="66" y="4"/>
                    <a:pt x="66" y="4"/>
                    <a:pt x="66" y="4"/>
                  </a:cubicBezTo>
                  <a:cubicBezTo>
                    <a:pt x="65" y="4"/>
                    <a:pt x="64" y="3"/>
                    <a:pt x="64" y="2"/>
                  </a:cubicBezTo>
                  <a:cubicBezTo>
                    <a:pt x="64" y="1"/>
                    <a:pt x="65" y="0"/>
                    <a:pt x="66" y="0"/>
                  </a:cubicBezTo>
                  <a:cubicBezTo>
                    <a:pt x="74" y="0"/>
                    <a:pt x="74" y="0"/>
                    <a:pt x="74" y="0"/>
                  </a:cubicBezTo>
                  <a:cubicBezTo>
                    <a:pt x="75" y="0"/>
                    <a:pt x="76" y="1"/>
                    <a:pt x="76" y="2"/>
                  </a:cubicBezTo>
                  <a:cubicBezTo>
                    <a:pt x="76" y="86"/>
                    <a:pt x="76" y="86"/>
                    <a:pt x="76" y="86"/>
                  </a:cubicBezTo>
                  <a:cubicBezTo>
                    <a:pt x="76" y="87"/>
                    <a:pt x="75" y="88"/>
                    <a:pt x="7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3" name="Freeform 9">
              <a:extLst>
                <a:ext uri="{FF2B5EF4-FFF2-40B4-BE49-F238E27FC236}">
                  <a16:creationId xmlns:a16="http://schemas.microsoft.com/office/drawing/2014/main" id="{04C2CD5B-4558-481C-9E48-7A06C60164A2}"/>
                </a:ext>
              </a:extLst>
            </p:cNvPr>
            <p:cNvSpPr>
              <a:spLocks noEditPoints="1"/>
            </p:cNvSpPr>
            <p:nvPr/>
          </p:nvSpPr>
          <p:spPr bwMode="auto">
            <a:xfrm>
              <a:off x="4484688" y="3243263"/>
              <a:ext cx="171450" cy="77788"/>
            </a:xfrm>
            <a:custGeom>
              <a:avLst/>
              <a:gdLst>
                <a:gd name="T0" fmla="*/ 42 w 44"/>
                <a:gd name="T1" fmla="*/ 20 h 20"/>
                <a:gd name="T2" fmla="*/ 2 w 44"/>
                <a:gd name="T3" fmla="*/ 20 h 20"/>
                <a:gd name="T4" fmla="*/ 0 w 44"/>
                <a:gd name="T5" fmla="*/ 18 h 20"/>
                <a:gd name="T6" fmla="*/ 0 w 44"/>
                <a:gd name="T7" fmla="*/ 10 h 20"/>
                <a:gd name="T8" fmla="*/ 2 w 44"/>
                <a:gd name="T9" fmla="*/ 8 h 20"/>
                <a:gd name="T10" fmla="*/ 12 w 44"/>
                <a:gd name="T11" fmla="*/ 8 h 20"/>
                <a:gd name="T12" fmla="*/ 22 w 44"/>
                <a:gd name="T13" fmla="*/ 0 h 20"/>
                <a:gd name="T14" fmla="*/ 32 w 44"/>
                <a:gd name="T15" fmla="*/ 8 h 20"/>
                <a:gd name="T16" fmla="*/ 42 w 44"/>
                <a:gd name="T17" fmla="*/ 8 h 20"/>
                <a:gd name="T18" fmla="*/ 44 w 44"/>
                <a:gd name="T19" fmla="*/ 10 h 20"/>
                <a:gd name="T20" fmla="*/ 44 w 44"/>
                <a:gd name="T21" fmla="*/ 18 h 20"/>
                <a:gd name="T22" fmla="*/ 42 w 44"/>
                <a:gd name="T23" fmla="*/ 20 h 20"/>
                <a:gd name="T24" fmla="*/ 4 w 44"/>
                <a:gd name="T25" fmla="*/ 16 h 20"/>
                <a:gd name="T26" fmla="*/ 40 w 44"/>
                <a:gd name="T27" fmla="*/ 16 h 20"/>
                <a:gd name="T28" fmla="*/ 40 w 44"/>
                <a:gd name="T29" fmla="*/ 12 h 20"/>
                <a:gd name="T30" fmla="*/ 30 w 44"/>
                <a:gd name="T31" fmla="*/ 12 h 20"/>
                <a:gd name="T32" fmla="*/ 28 w 44"/>
                <a:gd name="T33" fmla="*/ 10 h 20"/>
                <a:gd name="T34" fmla="*/ 22 w 44"/>
                <a:gd name="T35" fmla="*/ 4 h 20"/>
                <a:gd name="T36" fmla="*/ 16 w 44"/>
                <a:gd name="T37" fmla="*/ 10 h 20"/>
                <a:gd name="T38" fmla="*/ 14 w 44"/>
                <a:gd name="T39" fmla="*/ 12 h 20"/>
                <a:gd name="T40" fmla="*/ 4 w 44"/>
                <a:gd name="T41" fmla="*/ 12 h 20"/>
                <a:gd name="T42" fmla="*/ 4 w 44"/>
                <a:gd name="T4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20">
                  <a:moveTo>
                    <a:pt x="42" y="20"/>
                  </a:moveTo>
                  <a:cubicBezTo>
                    <a:pt x="2" y="20"/>
                    <a:pt x="2" y="20"/>
                    <a:pt x="2" y="20"/>
                  </a:cubicBezTo>
                  <a:cubicBezTo>
                    <a:pt x="1" y="20"/>
                    <a:pt x="0" y="19"/>
                    <a:pt x="0" y="18"/>
                  </a:cubicBezTo>
                  <a:cubicBezTo>
                    <a:pt x="0" y="10"/>
                    <a:pt x="0" y="10"/>
                    <a:pt x="0" y="10"/>
                  </a:cubicBezTo>
                  <a:cubicBezTo>
                    <a:pt x="0" y="9"/>
                    <a:pt x="1" y="8"/>
                    <a:pt x="2" y="8"/>
                  </a:cubicBezTo>
                  <a:cubicBezTo>
                    <a:pt x="12" y="8"/>
                    <a:pt x="12" y="8"/>
                    <a:pt x="12" y="8"/>
                  </a:cubicBezTo>
                  <a:cubicBezTo>
                    <a:pt x="13" y="3"/>
                    <a:pt x="17" y="0"/>
                    <a:pt x="22" y="0"/>
                  </a:cubicBezTo>
                  <a:cubicBezTo>
                    <a:pt x="27" y="0"/>
                    <a:pt x="31" y="3"/>
                    <a:pt x="32" y="8"/>
                  </a:cubicBezTo>
                  <a:cubicBezTo>
                    <a:pt x="42" y="8"/>
                    <a:pt x="42" y="8"/>
                    <a:pt x="42" y="8"/>
                  </a:cubicBezTo>
                  <a:cubicBezTo>
                    <a:pt x="43" y="8"/>
                    <a:pt x="44" y="9"/>
                    <a:pt x="44" y="10"/>
                  </a:cubicBezTo>
                  <a:cubicBezTo>
                    <a:pt x="44" y="18"/>
                    <a:pt x="44" y="18"/>
                    <a:pt x="44" y="18"/>
                  </a:cubicBezTo>
                  <a:cubicBezTo>
                    <a:pt x="44" y="19"/>
                    <a:pt x="43" y="20"/>
                    <a:pt x="42" y="20"/>
                  </a:cubicBezTo>
                  <a:close/>
                  <a:moveTo>
                    <a:pt x="4" y="16"/>
                  </a:moveTo>
                  <a:cubicBezTo>
                    <a:pt x="40" y="16"/>
                    <a:pt x="40" y="16"/>
                    <a:pt x="40" y="16"/>
                  </a:cubicBezTo>
                  <a:cubicBezTo>
                    <a:pt x="40" y="12"/>
                    <a:pt x="40" y="12"/>
                    <a:pt x="40" y="12"/>
                  </a:cubicBezTo>
                  <a:cubicBezTo>
                    <a:pt x="30" y="12"/>
                    <a:pt x="30" y="12"/>
                    <a:pt x="30" y="12"/>
                  </a:cubicBezTo>
                  <a:cubicBezTo>
                    <a:pt x="29" y="12"/>
                    <a:pt x="28" y="11"/>
                    <a:pt x="28" y="10"/>
                  </a:cubicBezTo>
                  <a:cubicBezTo>
                    <a:pt x="28" y="7"/>
                    <a:pt x="25" y="4"/>
                    <a:pt x="22" y="4"/>
                  </a:cubicBezTo>
                  <a:cubicBezTo>
                    <a:pt x="19" y="4"/>
                    <a:pt x="16" y="7"/>
                    <a:pt x="16" y="10"/>
                  </a:cubicBezTo>
                  <a:cubicBezTo>
                    <a:pt x="16" y="11"/>
                    <a:pt x="15" y="12"/>
                    <a:pt x="14" y="12"/>
                  </a:cubicBezTo>
                  <a:cubicBezTo>
                    <a:pt x="4" y="12"/>
                    <a:pt x="4" y="12"/>
                    <a:pt x="4" y="12"/>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4" name="Freeform 10">
              <a:extLst>
                <a:ext uri="{FF2B5EF4-FFF2-40B4-BE49-F238E27FC236}">
                  <a16:creationId xmlns:a16="http://schemas.microsoft.com/office/drawing/2014/main" id="{3BF50B22-CFDE-477F-B953-9FB05D7DD259}"/>
                </a:ext>
              </a:extLst>
            </p:cNvPr>
            <p:cNvSpPr>
              <a:spLocks/>
            </p:cNvSpPr>
            <p:nvPr/>
          </p:nvSpPr>
          <p:spPr bwMode="auto">
            <a:xfrm>
              <a:off x="4452938" y="3305176"/>
              <a:ext cx="233363" cy="279400"/>
            </a:xfrm>
            <a:custGeom>
              <a:avLst/>
              <a:gdLst>
                <a:gd name="T0" fmla="*/ 58 w 60"/>
                <a:gd name="T1" fmla="*/ 72 h 72"/>
                <a:gd name="T2" fmla="*/ 2 w 60"/>
                <a:gd name="T3" fmla="*/ 72 h 72"/>
                <a:gd name="T4" fmla="*/ 0 w 60"/>
                <a:gd name="T5" fmla="*/ 70 h 72"/>
                <a:gd name="T6" fmla="*/ 0 w 60"/>
                <a:gd name="T7" fmla="*/ 2 h 72"/>
                <a:gd name="T8" fmla="*/ 2 w 60"/>
                <a:gd name="T9" fmla="*/ 0 h 72"/>
                <a:gd name="T10" fmla="*/ 4 w 60"/>
                <a:gd name="T11" fmla="*/ 2 h 72"/>
                <a:gd name="T12" fmla="*/ 4 w 60"/>
                <a:gd name="T13" fmla="*/ 68 h 72"/>
                <a:gd name="T14" fmla="*/ 56 w 60"/>
                <a:gd name="T15" fmla="*/ 68 h 72"/>
                <a:gd name="T16" fmla="*/ 56 w 60"/>
                <a:gd name="T17" fmla="*/ 2 h 72"/>
                <a:gd name="T18" fmla="*/ 58 w 60"/>
                <a:gd name="T19" fmla="*/ 0 h 72"/>
                <a:gd name="T20" fmla="*/ 60 w 60"/>
                <a:gd name="T21" fmla="*/ 2 h 72"/>
                <a:gd name="T22" fmla="*/ 60 w 60"/>
                <a:gd name="T23" fmla="*/ 70 h 72"/>
                <a:gd name="T24" fmla="*/ 58 w 60"/>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2">
                  <a:moveTo>
                    <a:pt x="58" y="72"/>
                  </a:moveTo>
                  <a:cubicBezTo>
                    <a:pt x="2" y="72"/>
                    <a:pt x="2" y="72"/>
                    <a:pt x="2" y="72"/>
                  </a:cubicBezTo>
                  <a:cubicBezTo>
                    <a:pt x="1" y="72"/>
                    <a:pt x="0" y="71"/>
                    <a:pt x="0" y="70"/>
                  </a:cubicBezTo>
                  <a:cubicBezTo>
                    <a:pt x="0" y="2"/>
                    <a:pt x="0" y="2"/>
                    <a:pt x="0" y="2"/>
                  </a:cubicBezTo>
                  <a:cubicBezTo>
                    <a:pt x="0" y="1"/>
                    <a:pt x="1" y="0"/>
                    <a:pt x="2" y="0"/>
                  </a:cubicBezTo>
                  <a:cubicBezTo>
                    <a:pt x="3" y="0"/>
                    <a:pt x="4" y="1"/>
                    <a:pt x="4" y="2"/>
                  </a:cubicBezTo>
                  <a:cubicBezTo>
                    <a:pt x="4" y="68"/>
                    <a:pt x="4" y="68"/>
                    <a:pt x="4" y="68"/>
                  </a:cubicBezTo>
                  <a:cubicBezTo>
                    <a:pt x="56" y="68"/>
                    <a:pt x="56" y="68"/>
                    <a:pt x="56" y="68"/>
                  </a:cubicBezTo>
                  <a:cubicBezTo>
                    <a:pt x="56" y="2"/>
                    <a:pt x="56" y="2"/>
                    <a:pt x="56" y="2"/>
                  </a:cubicBezTo>
                  <a:cubicBezTo>
                    <a:pt x="56" y="1"/>
                    <a:pt x="57" y="0"/>
                    <a:pt x="58" y="0"/>
                  </a:cubicBezTo>
                  <a:cubicBezTo>
                    <a:pt x="59" y="0"/>
                    <a:pt x="60" y="1"/>
                    <a:pt x="60" y="2"/>
                  </a:cubicBezTo>
                  <a:cubicBezTo>
                    <a:pt x="60" y="70"/>
                    <a:pt x="60" y="70"/>
                    <a:pt x="60" y="70"/>
                  </a:cubicBezTo>
                  <a:cubicBezTo>
                    <a:pt x="60" y="71"/>
                    <a:pt x="59" y="72"/>
                    <a:pt x="58"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5" name="Freeform 11">
              <a:extLst>
                <a:ext uri="{FF2B5EF4-FFF2-40B4-BE49-F238E27FC236}">
                  <a16:creationId xmlns:a16="http://schemas.microsoft.com/office/drawing/2014/main" id="{7E6BD2A8-1EBE-40F6-8F45-CCD91570359F}"/>
                </a:ext>
              </a:extLst>
            </p:cNvPr>
            <p:cNvSpPr>
              <a:spLocks/>
            </p:cNvSpPr>
            <p:nvPr/>
          </p:nvSpPr>
          <p:spPr bwMode="auto">
            <a:xfrm>
              <a:off x="4530725" y="3367088"/>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6" name="Freeform 12">
              <a:extLst>
                <a:ext uri="{FF2B5EF4-FFF2-40B4-BE49-F238E27FC236}">
                  <a16:creationId xmlns:a16="http://schemas.microsoft.com/office/drawing/2014/main" id="{5C9D361F-65A5-41D1-ABB5-F9DD4A75A2B6}"/>
                </a:ext>
              </a:extLst>
            </p:cNvPr>
            <p:cNvSpPr>
              <a:spLocks/>
            </p:cNvSpPr>
            <p:nvPr/>
          </p:nvSpPr>
          <p:spPr bwMode="auto">
            <a:xfrm>
              <a:off x="4530725" y="3413126"/>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7" name="Freeform 13">
              <a:extLst>
                <a:ext uri="{FF2B5EF4-FFF2-40B4-BE49-F238E27FC236}">
                  <a16:creationId xmlns:a16="http://schemas.microsoft.com/office/drawing/2014/main" id="{D38B2C5A-70B6-46BF-9D4F-7ED0A952C203}"/>
                </a:ext>
              </a:extLst>
            </p:cNvPr>
            <p:cNvSpPr>
              <a:spLocks/>
            </p:cNvSpPr>
            <p:nvPr/>
          </p:nvSpPr>
          <p:spPr bwMode="auto">
            <a:xfrm>
              <a:off x="4530725" y="3460751"/>
              <a:ext cx="109538"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8" name="Freeform 14">
              <a:extLst>
                <a:ext uri="{FF2B5EF4-FFF2-40B4-BE49-F238E27FC236}">
                  <a16:creationId xmlns:a16="http://schemas.microsoft.com/office/drawing/2014/main" id="{3BE5C1E7-E45D-4E37-8CAA-72CBAF202490}"/>
                </a:ext>
              </a:extLst>
            </p:cNvPr>
            <p:cNvSpPr>
              <a:spLocks/>
            </p:cNvSpPr>
            <p:nvPr/>
          </p:nvSpPr>
          <p:spPr bwMode="auto">
            <a:xfrm>
              <a:off x="4530725" y="3506788"/>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9" name="Freeform 15">
              <a:extLst>
                <a:ext uri="{FF2B5EF4-FFF2-40B4-BE49-F238E27FC236}">
                  <a16:creationId xmlns:a16="http://schemas.microsoft.com/office/drawing/2014/main" id="{9B230F81-29AB-4C9C-A789-B28FCEA4F926}"/>
                </a:ext>
              </a:extLst>
            </p:cNvPr>
            <p:cNvSpPr>
              <a:spLocks/>
            </p:cNvSpPr>
            <p:nvPr/>
          </p:nvSpPr>
          <p:spPr bwMode="auto">
            <a:xfrm>
              <a:off x="4492625" y="3367088"/>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0" name="Freeform 16">
              <a:extLst>
                <a:ext uri="{FF2B5EF4-FFF2-40B4-BE49-F238E27FC236}">
                  <a16:creationId xmlns:a16="http://schemas.microsoft.com/office/drawing/2014/main" id="{66DA7DF7-BDAD-458C-B752-C0A6478C5650}"/>
                </a:ext>
              </a:extLst>
            </p:cNvPr>
            <p:cNvSpPr>
              <a:spLocks/>
            </p:cNvSpPr>
            <p:nvPr/>
          </p:nvSpPr>
          <p:spPr bwMode="auto">
            <a:xfrm>
              <a:off x="4492625" y="3413126"/>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1" name="Freeform 17">
              <a:extLst>
                <a:ext uri="{FF2B5EF4-FFF2-40B4-BE49-F238E27FC236}">
                  <a16:creationId xmlns:a16="http://schemas.microsoft.com/office/drawing/2014/main" id="{48E4C3FA-552D-4B7A-ADD4-2FE8C45CB0B6}"/>
                </a:ext>
              </a:extLst>
            </p:cNvPr>
            <p:cNvSpPr>
              <a:spLocks/>
            </p:cNvSpPr>
            <p:nvPr/>
          </p:nvSpPr>
          <p:spPr bwMode="auto">
            <a:xfrm>
              <a:off x="4492625" y="3460751"/>
              <a:ext cx="22225" cy="14288"/>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2" name="Freeform 18">
              <a:extLst>
                <a:ext uri="{FF2B5EF4-FFF2-40B4-BE49-F238E27FC236}">
                  <a16:creationId xmlns:a16="http://schemas.microsoft.com/office/drawing/2014/main" id="{6FE81CA5-F2DF-400B-8AFA-79CDA45B4877}"/>
                </a:ext>
              </a:extLst>
            </p:cNvPr>
            <p:cNvSpPr>
              <a:spLocks/>
            </p:cNvSpPr>
            <p:nvPr/>
          </p:nvSpPr>
          <p:spPr bwMode="auto">
            <a:xfrm>
              <a:off x="4492625" y="3506788"/>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33" name="Group 134">
            <a:extLst>
              <a:ext uri="{FF2B5EF4-FFF2-40B4-BE49-F238E27FC236}">
                <a16:creationId xmlns:a16="http://schemas.microsoft.com/office/drawing/2014/main" id="{20BC701B-DB2E-4E9C-A86A-498D6C7E9717}"/>
              </a:ext>
            </a:extLst>
          </p:cNvPr>
          <p:cNvGrpSpPr>
            <a:grpSpLocks noChangeAspect="1"/>
          </p:cNvGrpSpPr>
          <p:nvPr/>
        </p:nvGrpSpPr>
        <p:grpSpPr>
          <a:xfrm>
            <a:off x="6663929" y="3801969"/>
            <a:ext cx="233085" cy="308144"/>
            <a:chOff x="5570538" y="3949700"/>
            <a:chExt cx="280988" cy="371475"/>
          </a:xfrm>
          <a:solidFill>
            <a:schemeClr val="bg2"/>
          </a:solidFill>
        </p:grpSpPr>
        <p:sp>
          <p:nvSpPr>
            <p:cNvPr id="934" name="Freeform 31">
              <a:extLst>
                <a:ext uri="{FF2B5EF4-FFF2-40B4-BE49-F238E27FC236}">
                  <a16:creationId xmlns:a16="http://schemas.microsoft.com/office/drawing/2014/main" id="{454061ED-5D77-46B1-9592-4A4FE478C5B6}"/>
                </a:ext>
              </a:extLst>
            </p:cNvPr>
            <p:cNvSpPr>
              <a:spLocks/>
            </p:cNvSpPr>
            <p:nvPr/>
          </p:nvSpPr>
          <p:spPr bwMode="auto">
            <a:xfrm>
              <a:off x="5600700" y="3981450"/>
              <a:ext cx="203200" cy="46038"/>
            </a:xfrm>
            <a:custGeom>
              <a:avLst/>
              <a:gdLst>
                <a:gd name="T0" fmla="*/ 50 w 52"/>
                <a:gd name="T1" fmla="*/ 12 h 12"/>
                <a:gd name="T2" fmla="*/ 48 w 52"/>
                <a:gd name="T3" fmla="*/ 10 h 12"/>
                <a:gd name="T4" fmla="*/ 48 w 52"/>
                <a:gd name="T5" fmla="*/ 4 h 12"/>
                <a:gd name="T6" fmla="*/ 2 w 52"/>
                <a:gd name="T7" fmla="*/ 4 h 12"/>
                <a:gd name="T8" fmla="*/ 0 w 52"/>
                <a:gd name="T9" fmla="*/ 2 h 12"/>
                <a:gd name="T10" fmla="*/ 2 w 52"/>
                <a:gd name="T11" fmla="*/ 0 h 12"/>
                <a:gd name="T12" fmla="*/ 50 w 52"/>
                <a:gd name="T13" fmla="*/ 0 h 12"/>
                <a:gd name="T14" fmla="*/ 52 w 52"/>
                <a:gd name="T15" fmla="*/ 2 h 12"/>
                <a:gd name="T16" fmla="*/ 52 w 52"/>
                <a:gd name="T17" fmla="*/ 10 h 12"/>
                <a:gd name="T18" fmla="*/ 50 w 52"/>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2">
                  <a:moveTo>
                    <a:pt x="50" y="12"/>
                  </a:moveTo>
                  <a:cubicBezTo>
                    <a:pt x="49" y="12"/>
                    <a:pt x="48" y="11"/>
                    <a:pt x="48" y="10"/>
                  </a:cubicBezTo>
                  <a:cubicBezTo>
                    <a:pt x="48" y="4"/>
                    <a:pt x="48" y="4"/>
                    <a:pt x="48" y="4"/>
                  </a:cubicBezTo>
                  <a:cubicBezTo>
                    <a:pt x="2" y="4"/>
                    <a:pt x="2" y="4"/>
                    <a:pt x="2" y="4"/>
                  </a:cubicBezTo>
                  <a:cubicBezTo>
                    <a:pt x="1" y="4"/>
                    <a:pt x="0" y="3"/>
                    <a:pt x="0" y="2"/>
                  </a:cubicBezTo>
                  <a:cubicBezTo>
                    <a:pt x="0" y="1"/>
                    <a:pt x="1" y="0"/>
                    <a:pt x="2" y="0"/>
                  </a:cubicBezTo>
                  <a:cubicBezTo>
                    <a:pt x="50" y="0"/>
                    <a:pt x="50" y="0"/>
                    <a:pt x="50" y="0"/>
                  </a:cubicBezTo>
                  <a:cubicBezTo>
                    <a:pt x="51" y="0"/>
                    <a:pt x="52" y="1"/>
                    <a:pt x="52" y="2"/>
                  </a:cubicBezTo>
                  <a:cubicBezTo>
                    <a:pt x="52" y="10"/>
                    <a:pt x="52" y="10"/>
                    <a:pt x="52" y="10"/>
                  </a:cubicBezTo>
                  <a:cubicBezTo>
                    <a:pt x="52" y="11"/>
                    <a:pt x="51" y="12"/>
                    <a:pt x="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5" name="Freeform 32">
              <a:extLst>
                <a:ext uri="{FF2B5EF4-FFF2-40B4-BE49-F238E27FC236}">
                  <a16:creationId xmlns:a16="http://schemas.microsoft.com/office/drawing/2014/main" id="{735A0D33-F86D-4B07-909D-433AD2800123}"/>
                </a:ext>
              </a:extLst>
            </p:cNvPr>
            <p:cNvSpPr>
              <a:spLocks noEditPoints="1"/>
            </p:cNvSpPr>
            <p:nvPr/>
          </p:nvSpPr>
          <p:spPr bwMode="auto">
            <a:xfrm>
              <a:off x="5570538" y="3949700"/>
              <a:ext cx="280988" cy="371475"/>
            </a:xfrm>
            <a:custGeom>
              <a:avLst/>
              <a:gdLst>
                <a:gd name="T0" fmla="*/ 70 w 72"/>
                <a:gd name="T1" fmla="*/ 96 h 96"/>
                <a:gd name="T2" fmla="*/ 10 w 72"/>
                <a:gd name="T3" fmla="*/ 96 h 96"/>
                <a:gd name="T4" fmla="*/ 0 w 72"/>
                <a:gd name="T5" fmla="*/ 86 h 96"/>
                <a:gd name="T6" fmla="*/ 0 w 72"/>
                <a:gd name="T7" fmla="*/ 10 h 96"/>
                <a:gd name="T8" fmla="*/ 10 w 72"/>
                <a:gd name="T9" fmla="*/ 0 h 96"/>
                <a:gd name="T10" fmla="*/ 66 w 72"/>
                <a:gd name="T11" fmla="*/ 0 h 96"/>
                <a:gd name="T12" fmla="*/ 68 w 72"/>
                <a:gd name="T13" fmla="*/ 2 h 96"/>
                <a:gd name="T14" fmla="*/ 68 w 72"/>
                <a:gd name="T15" fmla="*/ 16 h 96"/>
                <a:gd name="T16" fmla="*/ 70 w 72"/>
                <a:gd name="T17" fmla="*/ 16 h 96"/>
                <a:gd name="T18" fmla="*/ 72 w 72"/>
                <a:gd name="T19" fmla="*/ 18 h 96"/>
                <a:gd name="T20" fmla="*/ 72 w 72"/>
                <a:gd name="T21" fmla="*/ 94 h 96"/>
                <a:gd name="T22" fmla="*/ 70 w 72"/>
                <a:gd name="T23" fmla="*/ 96 h 96"/>
                <a:gd name="T24" fmla="*/ 4 w 72"/>
                <a:gd name="T25" fmla="*/ 18 h 96"/>
                <a:gd name="T26" fmla="*/ 4 w 72"/>
                <a:gd name="T27" fmla="*/ 86 h 96"/>
                <a:gd name="T28" fmla="*/ 10 w 72"/>
                <a:gd name="T29" fmla="*/ 92 h 96"/>
                <a:gd name="T30" fmla="*/ 68 w 72"/>
                <a:gd name="T31" fmla="*/ 92 h 96"/>
                <a:gd name="T32" fmla="*/ 68 w 72"/>
                <a:gd name="T33" fmla="*/ 20 h 96"/>
                <a:gd name="T34" fmla="*/ 10 w 72"/>
                <a:gd name="T35" fmla="*/ 20 h 96"/>
                <a:gd name="T36" fmla="*/ 4 w 72"/>
                <a:gd name="T37" fmla="*/ 18 h 96"/>
                <a:gd name="T38" fmla="*/ 10 w 72"/>
                <a:gd name="T39" fmla="*/ 4 h 96"/>
                <a:gd name="T40" fmla="*/ 4 w 72"/>
                <a:gd name="T41" fmla="*/ 10 h 96"/>
                <a:gd name="T42" fmla="*/ 10 w 72"/>
                <a:gd name="T43" fmla="*/ 16 h 96"/>
                <a:gd name="T44" fmla="*/ 64 w 72"/>
                <a:gd name="T45" fmla="*/ 16 h 96"/>
                <a:gd name="T46" fmla="*/ 64 w 72"/>
                <a:gd name="T47" fmla="*/ 4 h 96"/>
                <a:gd name="T48" fmla="*/ 10 w 72"/>
                <a:gd name="T4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96">
                  <a:moveTo>
                    <a:pt x="70" y="96"/>
                  </a:moveTo>
                  <a:cubicBezTo>
                    <a:pt x="10" y="96"/>
                    <a:pt x="10" y="96"/>
                    <a:pt x="10" y="96"/>
                  </a:cubicBezTo>
                  <a:cubicBezTo>
                    <a:pt x="4" y="96"/>
                    <a:pt x="0" y="92"/>
                    <a:pt x="0" y="86"/>
                  </a:cubicBezTo>
                  <a:cubicBezTo>
                    <a:pt x="0" y="10"/>
                    <a:pt x="0" y="10"/>
                    <a:pt x="0" y="10"/>
                  </a:cubicBezTo>
                  <a:cubicBezTo>
                    <a:pt x="0" y="4"/>
                    <a:pt x="4" y="0"/>
                    <a:pt x="10" y="0"/>
                  </a:cubicBezTo>
                  <a:cubicBezTo>
                    <a:pt x="66" y="0"/>
                    <a:pt x="66" y="0"/>
                    <a:pt x="66" y="0"/>
                  </a:cubicBezTo>
                  <a:cubicBezTo>
                    <a:pt x="67" y="0"/>
                    <a:pt x="68" y="1"/>
                    <a:pt x="68" y="2"/>
                  </a:cubicBezTo>
                  <a:cubicBezTo>
                    <a:pt x="68" y="16"/>
                    <a:pt x="68" y="16"/>
                    <a:pt x="68" y="16"/>
                  </a:cubicBezTo>
                  <a:cubicBezTo>
                    <a:pt x="70" y="16"/>
                    <a:pt x="70" y="16"/>
                    <a:pt x="70" y="16"/>
                  </a:cubicBezTo>
                  <a:cubicBezTo>
                    <a:pt x="71" y="16"/>
                    <a:pt x="72" y="17"/>
                    <a:pt x="72" y="18"/>
                  </a:cubicBezTo>
                  <a:cubicBezTo>
                    <a:pt x="72" y="94"/>
                    <a:pt x="72" y="94"/>
                    <a:pt x="72" y="94"/>
                  </a:cubicBezTo>
                  <a:cubicBezTo>
                    <a:pt x="72" y="95"/>
                    <a:pt x="71" y="96"/>
                    <a:pt x="70" y="96"/>
                  </a:cubicBezTo>
                  <a:close/>
                  <a:moveTo>
                    <a:pt x="4" y="18"/>
                  </a:moveTo>
                  <a:cubicBezTo>
                    <a:pt x="4" y="86"/>
                    <a:pt x="4" y="86"/>
                    <a:pt x="4" y="86"/>
                  </a:cubicBezTo>
                  <a:cubicBezTo>
                    <a:pt x="4" y="89"/>
                    <a:pt x="7" y="92"/>
                    <a:pt x="10" y="92"/>
                  </a:cubicBezTo>
                  <a:cubicBezTo>
                    <a:pt x="68" y="92"/>
                    <a:pt x="68" y="92"/>
                    <a:pt x="68" y="92"/>
                  </a:cubicBezTo>
                  <a:cubicBezTo>
                    <a:pt x="68" y="20"/>
                    <a:pt x="68" y="20"/>
                    <a:pt x="68" y="20"/>
                  </a:cubicBezTo>
                  <a:cubicBezTo>
                    <a:pt x="10" y="20"/>
                    <a:pt x="10" y="20"/>
                    <a:pt x="10" y="20"/>
                  </a:cubicBezTo>
                  <a:cubicBezTo>
                    <a:pt x="8" y="20"/>
                    <a:pt x="6" y="19"/>
                    <a:pt x="4" y="18"/>
                  </a:cubicBezTo>
                  <a:close/>
                  <a:moveTo>
                    <a:pt x="10" y="4"/>
                  </a:moveTo>
                  <a:cubicBezTo>
                    <a:pt x="7" y="4"/>
                    <a:pt x="4" y="7"/>
                    <a:pt x="4" y="10"/>
                  </a:cubicBezTo>
                  <a:cubicBezTo>
                    <a:pt x="4" y="13"/>
                    <a:pt x="7" y="16"/>
                    <a:pt x="10" y="16"/>
                  </a:cubicBezTo>
                  <a:cubicBezTo>
                    <a:pt x="64" y="16"/>
                    <a:pt x="64" y="16"/>
                    <a:pt x="64" y="16"/>
                  </a:cubicBezTo>
                  <a:cubicBezTo>
                    <a:pt x="64" y="4"/>
                    <a:pt x="64" y="4"/>
                    <a:pt x="64" y="4"/>
                  </a:cubicBez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6" name="Freeform 33">
              <a:extLst>
                <a:ext uri="{FF2B5EF4-FFF2-40B4-BE49-F238E27FC236}">
                  <a16:creationId xmlns:a16="http://schemas.microsoft.com/office/drawing/2014/main" id="{079CE20B-0C5E-4BC2-BB88-1ED624760526}"/>
                </a:ext>
              </a:extLst>
            </p:cNvPr>
            <p:cNvSpPr>
              <a:spLocks/>
            </p:cNvSpPr>
            <p:nvPr/>
          </p:nvSpPr>
          <p:spPr bwMode="auto">
            <a:xfrm>
              <a:off x="5678488" y="4073525"/>
              <a:ext cx="63500" cy="77788"/>
            </a:xfrm>
            <a:custGeom>
              <a:avLst/>
              <a:gdLst>
                <a:gd name="T0" fmla="*/ 14 w 16"/>
                <a:gd name="T1" fmla="*/ 20 h 20"/>
                <a:gd name="T2" fmla="*/ 12 w 16"/>
                <a:gd name="T3" fmla="*/ 18 h 20"/>
                <a:gd name="T4" fmla="*/ 12 w 16"/>
                <a:gd name="T5" fmla="*/ 8 h 20"/>
                <a:gd name="T6" fmla="*/ 8 w 16"/>
                <a:gd name="T7" fmla="*/ 4 h 20"/>
                <a:gd name="T8" fmla="*/ 4 w 16"/>
                <a:gd name="T9" fmla="*/ 8 h 20"/>
                <a:gd name="T10" fmla="*/ 4 w 16"/>
                <a:gd name="T11" fmla="*/ 18 h 20"/>
                <a:gd name="T12" fmla="*/ 2 w 16"/>
                <a:gd name="T13" fmla="*/ 20 h 20"/>
                <a:gd name="T14" fmla="*/ 0 w 16"/>
                <a:gd name="T15" fmla="*/ 18 h 20"/>
                <a:gd name="T16" fmla="*/ 0 w 16"/>
                <a:gd name="T17" fmla="*/ 8 h 20"/>
                <a:gd name="T18" fmla="*/ 8 w 16"/>
                <a:gd name="T19" fmla="*/ 0 h 20"/>
                <a:gd name="T20" fmla="*/ 16 w 16"/>
                <a:gd name="T21" fmla="*/ 8 h 20"/>
                <a:gd name="T22" fmla="*/ 16 w 16"/>
                <a:gd name="T23" fmla="*/ 18 h 20"/>
                <a:gd name="T24" fmla="*/ 14 w 16"/>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0">
                  <a:moveTo>
                    <a:pt x="14" y="20"/>
                  </a:moveTo>
                  <a:cubicBezTo>
                    <a:pt x="13" y="20"/>
                    <a:pt x="12" y="19"/>
                    <a:pt x="12" y="18"/>
                  </a:cubicBezTo>
                  <a:cubicBezTo>
                    <a:pt x="12" y="8"/>
                    <a:pt x="12" y="8"/>
                    <a:pt x="12" y="8"/>
                  </a:cubicBezTo>
                  <a:cubicBezTo>
                    <a:pt x="12" y="6"/>
                    <a:pt x="10" y="4"/>
                    <a:pt x="8" y="4"/>
                  </a:cubicBezTo>
                  <a:cubicBezTo>
                    <a:pt x="6" y="4"/>
                    <a:pt x="4" y="6"/>
                    <a:pt x="4" y="8"/>
                  </a:cubicBezTo>
                  <a:cubicBezTo>
                    <a:pt x="4" y="18"/>
                    <a:pt x="4" y="18"/>
                    <a:pt x="4" y="18"/>
                  </a:cubicBezTo>
                  <a:cubicBezTo>
                    <a:pt x="4" y="19"/>
                    <a:pt x="3" y="20"/>
                    <a:pt x="2" y="20"/>
                  </a:cubicBezTo>
                  <a:cubicBezTo>
                    <a:pt x="1" y="20"/>
                    <a:pt x="0" y="19"/>
                    <a:pt x="0" y="18"/>
                  </a:cubicBezTo>
                  <a:cubicBezTo>
                    <a:pt x="0" y="8"/>
                    <a:pt x="0" y="8"/>
                    <a:pt x="0" y="8"/>
                  </a:cubicBezTo>
                  <a:cubicBezTo>
                    <a:pt x="0" y="4"/>
                    <a:pt x="4" y="0"/>
                    <a:pt x="8" y="0"/>
                  </a:cubicBezTo>
                  <a:cubicBezTo>
                    <a:pt x="12" y="0"/>
                    <a:pt x="16" y="4"/>
                    <a:pt x="16" y="8"/>
                  </a:cubicBezTo>
                  <a:cubicBezTo>
                    <a:pt x="16" y="18"/>
                    <a:pt x="16" y="18"/>
                    <a:pt x="16" y="18"/>
                  </a:cubicBezTo>
                  <a:cubicBezTo>
                    <a:pt x="16" y="19"/>
                    <a:pt x="15" y="20"/>
                    <a:pt x="1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7" name="Freeform 34">
              <a:extLst>
                <a:ext uri="{FF2B5EF4-FFF2-40B4-BE49-F238E27FC236}">
                  <a16:creationId xmlns:a16="http://schemas.microsoft.com/office/drawing/2014/main" id="{8680E497-B901-4D43-B6B5-3AC8F4C704BC}"/>
                </a:ext>
              </a:extLst>
            </p:cNvPr>
            <p:cNvSpPr>
              <a:spLocks/>
            </p:cNvSpPr>
            <p:nvPr/>
          </p:nvSpPr>
          <p:spPr bwMode="auto">
            <a:xfrm>
              <a:off x="5678488" y="4119563"/>
              <a:ext cx="63500"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8" name="Freeform 35">
              <a:extLst>
                <a:ext uri="{FF2B5EF4-FFF2-40B4-BE49-F238E27FC236}">
                  <a16:creationId xmlns:a16="http://schemas.microsoft.com/office/drawing/2014/main" id="{EE690111-294D-4867-ACB3-B1ADCB692EB8}"/>
                </a:ext>
              </a:extLst>
            </p:cNvPr>
            <p:cNvSpPr>
              <a:spLocks noEditPoints="1"/>
            </p:cNvSpPr>
            <p:nvPr/>
          </p:nvSpPr>
          <p:spPr bwMode="auto">
            <a:xfrm>
              <a:off x="5616575" y="4181475"/>
              <a:ext cx="61913" cy="77788"/>
            </a:xfrm>
            <a:custGeom>
              <a:avLst/>
              <a:gdLst>
                <a:gd name="T0" fmla="*/ 10 w 16"/>
                <a:gd name="T1" fmla="*/ 20 h 20"/>
                <a:gd name="T2" fmla="*/ 2 w 16"/>
                <a:gd name="T3" fmla="*/ 20 h 20"/>
                <a:gd name="T4" fmla="*/ 0 w 16"/>
                <a:gd name="T5" fmla="*/ 18 h 20"/>
                <a:gd name="T6" fmla="*/ 0 w 16"/>
                <a:gd name="T7" fmla="*/ 2 h 20"/>
                <a:gd name="T8" fmla="*/ 2 w 16"/>
                <a:gd name="T9" fmla="*/ 0 h 20"/>
                <a:gd name="T10" fmla="*/ 10 w 16"/>
                <a:gd name="T11" fmla="*/ 0 h 20"/>
                <a:gd name="T12" fmla="*/ 16 w 16"/>
                <a:gd name="T13" fmla="*/ 6 h 20"/>
                <a:gd name="T14" fmla="*/ 14 w 16"/>
                <a:gd name="T15" fmla="*/ 10 h 20"/>
                <a:gd name="T16" fmla="*/ 16 w 16"/>
                <a:gd name="T17" fmla="*/ 14 h 20"/>
                <a:gd name="T18" fmla="*/ 10 w 16"/>
                <a:gd name="T19" fmla="*/ 20 h 20"/>
                <a:gd name="T20" fmla="*/ 4 w 16"/>
                <a:gd name="T21" fmla="*/ 16 h 20"/>
                <a:gd name="T22" fmla="*/ 10 w 16"/>
                <a:gd name="T23" fmla="*/ 16 h 20"/>
                <a:gd name="T24" fmla="*/ 12 w 16"/>
                <a:gd name="T25" fmla="*/ 14 h 20"/>
                <a:gd name="T26" fmla="*/ 10 w 16"/>
                <a:gd name="T27" fmla="*/ 12 h 20"/>
                <a:gd name="T28" fmla="*/ 4 w 16"/>
                <a:gd name="T29" fmla="*/ 12 h 20"/>
                <a:gd name="T30" fmla="*/ 4 w 16"/>
                <a:gd name="T31" fmla="*/ 16 h 20"/>
                <a:gd name="T32" fmla="*/ 4 w 16"/>
                <a:gd name="T33" fmla="*/ 8 h 20"/>
                <a:gd name="T34" fmla="*/ 10 w 16"/>
                <a:gd name="T35" fmla="*/ 8 h 20"/>
                <a:gd name="T36" fmla="*/ 12 w 16"/>
                <a:gd name="T37" fmla="*/ 6 h 20"/>
                <a:gd name="T38" fmla="*/ 10 w 16"/>
                <a:gd name="T39" fmla="*/ 4 h 20"/>
                <a:gd name="T40" fmla="*/ 4 w 16"/>
                <a:gd name="T41" fmla="*/ 4 h 20"/>
                <a:gd name="T42" fmla="*/ 4 w 16"/>
                <a:gd name="T4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0">
                  <a:moveTo>
                    <a:pt x="10" y="20"/>
                  </a:moveTo>
                  <a:cubicBezTo>
                    <a:pt x="2" y="20"/>
                    <a:pt x="2" y="20"/>
                    <a:pt x="2" y="20"/>
                  </a:cubicBezTo>
                  <a:cubicBezTo>
                    <a:pt x="1" y="20"/>
                    <a:pt x="0" y="19"/>
                    <a:pt x="0" y="18"/>
                  </a:cubicBezTo>
                  <a:cubicBezTo>
                    <a:pt x="0" y="2"/>
                    <a:pt x="0" y="2"/>
                    <a:pt x="0" y="2"/>
                  </a:cubicBezTo>
                  <a:cubicBezTo>
                    <a:pt x="0" y="1"/>
                    <a:pt x="1" y="0"/>
                    <a:pt x="2" y="0"/>
                  </a:cubicBezTo>
                  <a:cubicBezTo>
                    <a:pt x="10" y="0"/>
                    <a:pt x="10" y="0"/>
                    <a:pt x="10" y="0"/>
                  </a:cubicBezTo>
                  <a:cubicBezTo>
                    <a:pt x="13" y="0"/>
                    <a:pt x="16" y="3"/>
                    <a:pt x="16" y="6"/>
                  </a:cubicBezTo>
                  <a:cubicBezTo>
                    <a:pt x="16" y="8"/>
                    <a:pt x="15" y="9"/>
                    <a:pt x="14" y="10"/>
                  </a:cubicBezTo>
                  <a:cubicBezTo>
                    <a:pt x="15" y="11"/>
                    <a:pt x="16" y="12"/>
                    <a:pt x="16" y="14"/>
                  </a:cubicBezTo>
                  <a:cubicBezTo>
                    <a:pt x="16" y="17"/>
                    <a:pt x="13" y="20"/>
                    <a:pt x="10" y="20"/>
                  </a:cubicBezTo>
                  <a:close/>
                  <a:moveTo>
                    <a:pt x="4" y="16"/>
                  </a:moveTo>
                  <a:cubicBezTo>
                    <a:pt x="10" y="16"/>
                    <a:pt x="10" y="16"/>
                    <a:pt x="10" y="16"/>
                  </a:cubicBezTo>
                  <a:cubicBezTo>
                    <a:pt x="11" y="16"/>
                    <a:pt x="12" y="15"/>
                    <a:pt x="12" y="14"/>
                  </a:cubicBezTo>
                  <a:cubicBezTo>
                    <a:pt x="12" y="13"/>
                    <a:pt x="11" y="12"/>
                    <a:pt x="10" y="12"/>
                  </a:cubicBezTo>
                  <a:cubicBezTo>
                    <a:pt x="4" y="12"/>
                    <a:pt x="4" y="12"/>
                    <a:pt x="4" y="12"/>
                  </a:cubicBezTo>
                  <a:lnTo>
                    <a:pt x="4" y="16"/>
                  </a:lnTo>
                  <a:close/>
                  <a:moveTo>
                    <a:pt x="4" y="8"/>
                  </a:moveTo>
                  <a:cubicBezTo>
                    <a:pt x="10" y="8"/>
                    <a:pt x="10" y="8"/>
                    <a:pt x="10" y="8"/>
                  </a:cubicBezTo>
                  <a:cubicBezTo>
                    <a:pt x="11" y="8"/>
                    <a:pt x="12" y="7"/>
                    <a:pt x="12" y="6"/>
                  </a:cubicBezTo>
                  <a:cubicBezTo>
                    <a:pt x="12" y="5"/>
                    <a:pt x="11" y="4"/>
                    <a:pt x="10"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9" name="Freeform 36">
              <a:extLst>
                <a:ext uri="{FF2B5EF4-FFF2-40B4-BE49-F238E27FC236}">
                  <a16:creationId xmlns:a16="http://schemas.microsoft.com/office/drawing/2014/main" id="{1D633C6E-1C8B-4819-B115-8DE980CAB7D9}"/>
                </a:ext>
              </a:extLst>
            </p:cNvPr>
            <p:cNvSpPr>
              <a:spLocks/>
            </p:cNvSpPr>
            <p:nvPr/>
          </p:nvSpPr>
          <p:spPr bwMode="auto">
            <a:xfrm>
              <a:off x="5741988" y="4181475"/>
              <a:ext cx="61913" cy="77788"/>
            </a:xfrm>
            <a:custGeom>
              <a:avLst/>
              <a:gdLst>
                <a:gd name="T0" fmla="*/ 14 w 16"/>
                <a:gd name="T1" fmla="*/ 20 h 20"/>
                <a:gd name="T2" fmla="*/ 10 w 16"/>
                <a:gd name="T3" fmla="*/ 20 h 20"/>
                <a:gd name="T4" fmla="*/ 0 w 16"/>
                <a:gd name="T5" fmla="*/ 10 h 20"/>
                <a:gd name="T6" fmla="*/ 10 w 16"/>
                <a:gd name="T7" fmla="*/ 0 h 20"/>
                <a:gd name="T8" fmla="*/ 14 w 16"/>
                <a:gd name="T9" fmla="*/ 0 h 20"/>
                <a:gd name="T10" fmla="*/ 16 w 16"/>
                <a:gd name="T11" fmla="*/ 2 h 20"/>
                <a:gd name="T12" fmla="*/ 14 w 16"/>
                <a:gd name="T13" fmla="*/ 4 h 20"/>
                <a:gd name="T14" fmla="*/ 10 w 16"/>
                <a:gd name="T15" fmla="*/ 4 h 20"/>
                <a:gd name="T16" fmla="*/ 4 w 16"/>
                <a:gd name="T17" fmla="*/ 10 h 20"/>
                <a:gd name="T18" fmla="*/ 10 w 16"/>
                <a:gd name="T19" fmla="*/ 16 h 20"/>
                <a:gd name="T20" fmla="*/ 14 w 16"/>
                <a:gd name="T21" fmla="*/ 16 h 20"/>
                <a:gd name="T22" fmla="*/ 16 w 16"/>
                <a:gd name="T23" fmla="*/ 18 h 20"/>
                <a:gd name="T24" fmla="*/ 14 w 16"/>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0">
                  <a:moveTo>
                    <a:pt x="14" y="20"/>
                  </a:moveTo>
                  <a:cubicBezTo>
                    <a:pt x="10" y="20"/>
                    <a:pt x="10" y="20"/>
                    <a:pt x="10" y="20"/>
                  </a:cubicBezTo>
                  <a:cubicBezTo>
                    <a:pt x="4" y="20"/>
                    <a:pt x="0" y="16"/>
                    <a:pt x="0" y="10"/>
                  </a:cubicBezTo>
                  <a:cubicBezTo>
                    <a:pt x="0" y="4"/>
                    <a:pt x="4" y="0"/>
                    <a:pt x="10" y="0"/>
                  </a:cubicBezTo>
                  <a:cubicBezTo>
                    <a:pt x="14" y="0"/>
                    <a:pt x="14" y="0"/>
                    <a:pt x="14" y="0"/>
                  </a:cubicBezTo>
                  <a:cubicBezTo>
                    <a:pt x="15" y="0"/>
                    <a:pt x="16" y="1"/>
                    <a:pt x="16" y="2"/>
                  </a:cubicBezTo>
                  <a:cubicBezTo>
                    <a:pt x="16" y="3"/>
                    <a:pt x="15" y="4"/>
                    <a:pt x="14" y="4"/>
                  </a:cubicBezTo>
                  <a:cubicBezTo>
                    <a:pt x="10" y="4"/>
                    <a:pt x="10" y="4"/>
                    <a:pt x="10" y="4"/>
                  </a:cubicBezTo>
                  <a:cubicBezTo>
                    <a:pt x="7" y="4"/>
                    <a:pt x="4" y="7"/>
                    <a:pt x="4" y="10"/>
                  </a:cubicBezTo>
                  <a:cubicBezTo>
                    <a:pt x="4" y="13"/>
                    <a:pt x="7" y="16"/>
                    <a:pt x="10" y="16"/>
                  </a:cubicBezTo>
                  <a:cubicBezTo>
                    <a:pt x="14" y="16"/>
                    <a:pt x="14" y="16"/>
                    <a:pt x="14" y="16"/>
                  </a:cubicBezTo>
                  <a:cubicBezTo>
                    <a:pt x="15" y="16"/>
                    <a:pt x="16" y="17"/>
                    <a:pt x="16" y="18"/>
                  </a:cubicBezTo>
                  <a:cubicBezTo>
                    <a:pt x="16" y="19"/>
                    <a:pt x="15" y="20"/>
                    <a:pt x="1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47" name="Group 81">
            <a:extLst>
              <a:ext uri="{FF2B5EF4-FFF2-40B4-BE49-F238E27FC236}">
                <a16:creationId xmlns:a16="http://schemas.microsoft.com/office/drawing/2014/main" id="{6C5B7C6D-2FAB-40A8-AC44-072DFBBDF18E}"/>
              </a:ext>
            </a:extLst>
          </p:cNvPr>
          <p:cNvGrpSpPr>
            <a:grpSpLocks noChangeAspect="1"/>
          </p:cNvGrpSpPr>
          <p:nvPr/>
        </p:nvGrpSpPr>
        <p:grpSpPr>
          <a:xfrm>
            <a:off x="7064798" y="3801969"/>
            <a:ext cx="296732" cy="308144"/>
            <a:chOff x="10469563" y="811213"/>
            <a:chExt cx="247650" cy="257175"/>
          </a:xfrm>
          <a:solidFill>
            <a:schemeClr val="bg2"/>
          </a:solidFill>
        </p:grpSpPr>
        <p:sp>
          <p:nvSpPr>
            <p:cNvPr id="948" name="Freeform 354">
              <a:extLst>
                <a:ext uri="{FF2B5EF4-FFF2-40B4-BE49-F238E27FC236}">
                  <a16:creationId xmlns:a16="http://schemas.microsoft.com/office/drawing/2014/main" id="{F68CD5E4-459A-4C8E-9752-7A72F8F37CD0}"/>
                </a:ext>
              </a:extLst>
            </p:cNvPr>
            <p:cNvSpPr>
              <a:spLocks noEditPoints="1"/>
            </p:cNvSpPr>
            <p:nvPr/>
          </p:nvSpPr>
          <p:spPr bwMode="auto">
            <a:xfrm>
              <a:off x="10545763" y="858838"/>
              <a:ext cx="85725" cy="66675"/>
            </a:xfrm>
            <a:custGeom>
              <a:avLst/>
              <a:gdLst>
                <a:gd name="T0" fmla="*/ 240 w 270"/>
                <a:gd name="T1" fmla="*/ 179 h 210"/>
                <a:gd name="T2" fmla="*/ 30 w 270"/>
                <a:gd name="T3" fmla="*/ 179 h 210"/>
                <a:gd name="T4" fmla="*/ 30 w 270"/>
                <a:gd name="T5" fmla="*/ 30 h 210"/>
                <a:gd name="T6" fmla="*/ 240 w 270"/>
                <a:gd name="T7" fmla="*/ 30 h 210"/>
                <a:gd name="T8" fmla="*/ 240 w 270"/>
                <a:gd name="T9" fmla="*/ 179 h 210"/>
                <a:gd name="T10" fmla="*/ 255 w 270"/>
                <a:gd name="T11" fmla="*/ 0 h 210"/>
                <a:gd name="T12" fmla="*/ 15 w 270"/>
                <a:gd name="T13" fmla="*/ 0 h 210"/>
                <a:gd name="T14" fmla="*/ 12 w 270"/>
                <a:gd name="T15" fmla="*/ 0 h 210"/>
                <a:gd name="T16" fmla="*/ 10 w 270"/>
                <a:gd name="T17" fmla="*/ 1 h 210"/>
                <a:gd name="T18" fmla="*/ 6 w 270"/>
                <a:gd name="T19" fmla="*/ 2 h 210"/>
                <a:gd name="T20" fmla="*/ 4 w 270"/>
                <a:gd name="T21" fmla="*/ 4 h 210"/>
                <a:gd name="T22" fmla="*/ 3 w 270"/>
                <a:gd name="T23" fmla="*/ 6 h 210"/>
                <a:gd name="T24" fmla="*/ 1 w 270"/>
                <a:gd name="T25" fmla="*/ 10 h 210"/>
                <a:gd name="T26" fmla="*/ 0 w 270"/>
                <a:gd name="T27" fmla="*/ 12 h 210"/>
                <a:gd name="T28" fmla="*/ 0 w 270"/>
                <a:gd name="T29" fmla="*/ 15 h 210"/>
                <a:gd name="T30" fmla="*/ 0 w 270"/>
                <a:gd name="T31" fmla="*/ 194 h 210"/>
                <a:gd name="T32" fmla="*/ 0 w 270"/>
                <a:gd name="T33" fmla="*/ 198 h 210"/>
                <a:gd name="T34" fmla="*/ 1 w 270"/>
                <a:gd name="T35" fmla="*/ 201 h 210"/>
                <a:gd name="T36" fmla="*/ 3 w 270"/>
                <a:gd name="T37" fmla="*/ 203 h 210"/>
                <a:gd name="T38" fmla="*/ 4 w 270"/>
                <a:gd name="T39" fmla="*/ 205 h 210"/>
                <a:gd name="T40" fmla="*/ 6 w 270"/>
                <a:gd name="T41" fmla="*/ 207 h 210"/>
                <a:gd name="T42" fmla="*/ 10 w 270"/>
                <a:gd name="T43" fmla="*/ 208 h 210"/>
                <a:gd name="T44" fmla="*/ 12 w 270"/>
                <a:gd name="T45" fmla="*/ 209 h 210"/>
                <a:gd name="T46" fmla="*/ 15 w 270"/>
                <a:gd name="T47" fmla="*/ 210 h 210"/>
                <a:gd name="T48" fmla="*/ 255 w 270"/>
                <a:gd name="T49" fmla="*/ 209 h 210"/>
                <a:gd name="T50" fmla="*/ 259 w 270"/>
                <a:gd name="T51" fmla="*/ 209 h 210"/>
                <a:gd name="T52" fmla="*/ 261 w 270"/>
                <a:gd name="T53" fmla="*/ 208 h 210"/>
                <a:gd name="T54" fmla="*/ 264 w 270"/>
                <a:gd name="T55" fmla="*/ 207 h 210"/>
                <a:gd name="T56" fmla="*/ 266 w 270"/>
                <a:gd name="T57" fmla="*/ 205 h 210"/>
                <a:gd name="T58" fmla="*/ 267 w 270"/>
                <a:gd name="T59" fmla="*/ 203 h 210"/>
                <a:gd name="T60" fmla="*/ 269 w 270"/>
                <a:gd name="T61" fmla="*/ 201 h 210"/>
                <a:gd name="T62" fmla="*/ 270 w 270"/>
                <a:gd name="T63" fmla="*/ 198 h 210"/>
                <a:gd name="T64" fmla="*/ 270 w 270"/>
                <a:gd name="T65" fmla="*/ 194 h 210"/>
                <a:gd name="T66" fmla="*/ 270 w 270"/>
                <a:gd name="T67" fmla="*/ 15 h 210"/>
                <a:gd name="T68" fmla="*/ 270 w 270"/>
                <a:gd name="T69" fmla="*/ 12 h 210"/>
                <a:gd name="T70" fmla="*/ 269 w 270"/>
                <a:gd name="T71" fmla="*/ 10 h 210"/>
                <a:gd name="T72" fmla="*/ 267 w 270"/>
                <a:gd name="T73" fmla="*/ 6 h 210"/>
                <a:gd name="T74" fmla="*/ 266 w 270"/>
                <a:gd name="T75" fmla="*/ 4 h 210"/>
                <a:gd name="T76" fmla="*/ 264 w 270"/>
                <a:gd name="T77" fmla="*/ 2 h 210"/>
                <a:gd name="T78" fmla="*/ 261 w 270"/>
                <a:gd name="T79" fmla="*/ 1 h 210"/>
                <a:gd name="T80" fmla="*/ 259 w 270"/>
                <a:gd name="T81" fmla="*/ 0 h 210"/>
                <a:gd name="T82" fmla="*/ 255 w 270"/>
                <a:gd name="T83"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10">
                  <a:moveTo>
                    <a:pt x="240" y="179"/>
                  </a:moveTo>
                  <a:lnTo>
                    <a:pt x="30" y="179"/>
                  </a:lnTo>
                  <a:lnTo>
                    <a:pt x="30" y="30"/>
                  </a:lnTo>
                  <a:lnTo>
                    <a:pt x="240" y="30"/>
                  </a:lnTo>
                  <a:lnTo>
                    <a:pt x="240" y="179"/>
                  </a:lnTo>
                  <a:close/>
                  <a:moveTo>
                    <a:pt x="255" y="0"/>
                  </a:moveTo>
                  <a:lnTo>
                    <a:pt x="15" y="0"/>
                  </a:lnTo>
                  <a:lnTo>
                    <a:pt x="12" y="0"/>
                  </a:lnTo>
                  <a:lnTo>
                    <a:pt x="10" y="1"/>
                  </a:lnTo>
                  <a:lnTo>
                    <a:pt x="6" y="2"/>
                  </a:lnTo>
                  <a:lnTo>
                    <a:pt x="4" y="4"/>
                  </a:lnTo>
                  <a:lnTo>
                    <a:pt x="3" y="6"/>
                  </a:lnTo>
                  <a:lnTo>
                    <a:pt x="1" y="10"/>
                  </a:lnTo>
                  <a:lnTo>
                    <a:pt x="0" y="12"/>
                  </a:lnTo>
                  <a:lnTo>
                    <a:pt x="0" y="15"/>
                  </a:lnTo>
                  <a:lnTo>
                    <a:pt x="0" y="194"/>
                  </a:lnTo>
                  <a:lnTo>
                    <a:pt x="0" y="198"/>
                  </a:lnTo>
                  <a:lnTo>
                    <a:pt x="1" y="201"/>
                  </a:lnTo>
                  <a:lnTo>
                    <a:pt x="3" y="203"/>
                  </a:lnTo>
                  <a:lnTo>
                    <a:pt x="4" y="205"/>
                  </a:lnTo>
                  <a:lnTo>
                    <a:pt x="6" y="207"/>
                  </a:lnTo>
                  <a:lnTo>
                    <a:pt x="10" y="208"/>
                  </a:lnTo>
                  <a:lnTo>
                    <a:pt x="12" y="209"/>
                  </a:lnTo>
                  <a:lnTo>
                    <a:pt x="15" y="210"/>
                  </a:lnTo>
                  <a:lnTo>
                    <a:pt x="255" y="209"/>
                  </a:lnTo>
                  <a:lnTo>
                    <a:pt x="259" y="209"/>
                  </a:lnTo>
                  <a:lnTo>
                    <a:pt x="261" y="208"/>
                  </a:lnTo>
                  <a:lnTo>
                    <a:pt x="264" y="207"/>
                  </a:lnTo>
                  <a:lnTo>
                    <a:pt x="266" y="205"/>
                  </a:lnTo>
                  <a:lnTo>
                    <a:pt x="267" y="203"/>
                  </a:lnTo>
                  <a:lnTo>
                    <a:pt x="269" y="201"/>
                  </a:lnTo>
                  <a:lnTo>
                    <a:pt x="270" y="198"/>
                  </a:lnTo>
                  <a:lnTo>
                    <a:pt x="270" y="194"/>
                  </a:lnTo>
                  <a:lnTo>
                    <a:pt x="270" y="15"/>
                  </a:lnTo>
                  <a:lnTo>
                    <a:pt x="270" y="12"/>
                  </a:lnTo>
                  <a:lnTo>
                    <a:pt x="269" y="10"/>
                  </a:lnTo>
                  <a:lnTo>
                    <a:pt x="267" y="6"/>
                  </a:lnTo>
                  <a:lnTo>
                    <a:pt x="266" y="4"/>
                  </a:lnTo>
                  <a:lnTo>
                    <a:pt x="264" y="2"/>
                  </a:lnTo>
                  <a:lnTo>
                    <a:pt x="261" y="1"/>
                  </a:lnTo>
                  <a:lnTo>
                    <a:pt x="259" y="0"/>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355">
              <a:extLst>
                <a:ext uri="{FF2B5EF4-FFF2-40B4-BE49-F238E27FC236}">
                  <a16:creationId xmlns:a16="http://schemas.microsoft.com/office/drawing/2014/main" id="{F27A9729-BD32-4061-8704-FAAD8C2EFF2E}"/>
                </a:ext>
              </a:extLst>
            </p:cNvPr>
            <p:cNvSpPr>
              <a:spLocks noEditPoints="1"/>
            </p:cNvSpPr>
            <p:nvPr/>
          </p:nvSpPr>
          <p:spPr bwMode="auto">
            <a:xfrm>
              <a:off x="10469563" y="811213"/>
              <a:ext cx="247650" cy="257175"/>
            </a:xfrm>
            <a:custGeom>
              <a:avLst/>
              <a:gdLst>
                <a:gd name="T0" fmla="*/ 749 w 779"/>
                <a:gd name="T1" fmla="*/ 660 h 810"/>
                <a:gd name="T2" fmla="*/ 138 w 779"/>
                <a:gd name="T3" fmla="*/ 719 h 810"/>
                <a:gd name="T4" fmla="*/ 148 w 779"/>
                <a:gd name="T5" fmla="*/ 711 h 810"/>
                <a:gd name="T6" fmla="*/ 147 w 779"/>
                <a:gd name="T7" fmla="*/ 696 h 810"/>
                <a:gd name="T8" fmla="*/ 134 w 779"/>
                <a:gd name="T9" fmla="*/ 689 h 810"/>
                <a:gd name="T10" fmla="*/ 140 w 779"/>
                <a:gd name="T11" fmla="*/ 599 h 810"/>
                <a:gd name="T12" fmla="*/ 149 w 779"/>
                <a:gd name="T13" fmla="*/ 588 h 810"/>
                <a:gd name="T14" fmla="*/ 145 w 779"/>
                <a:gd name="T15" fmla="*/ 574 h 810"/>
                <a:gd name="T16" fmla="*/ 89 w 779"/>
                <a:gd name="T17" fmla="*/ 570 h 810"/>
                <a:gd name="T18" fmla="*/ 143 w 779"/>
                <a:gd name="T19" fmla="*/ 477 h 810"/>
                <a:gd name="T20" fmla="*/ 149 w 779"/>
                <a:gd name="T21" fmla="*/ 465 h 810"/>
                <a:gd name="T22" fmla="*/ 143 w 779"/>
                <a:gd name="T23" fmla="*/ 452 h 810"/>
                <a:gd name="T24" fmla="*/ 89 w 779"/>
                <a:gd name="T25" fmla="*/ 359 h 810"/>
                <a:gd name="T26" fmla="*/ 145 w 779"/>
                <a:gd name="T27" fmla="*/ 355 h 810"/>
                <a:gd name="T28" fmla="*/ 149 w 779"/>
                <a:gd name="T29" fmla="*/ 342 h 810"/>
                <a:gd name="T30" fmla="*/ 140 w 779"/>
                <a:gd name="T31" fmla="*/ 332 h 810"/>
                <a:gd name="T32" fmla="*/ 134 w 779"/>
                <a:gd name="T33" fmla="*/ 240 h 810"/>
                <a:gd name="T34" fmla="*/ 147 w 779"/>
                <a:gd name="T35" fmla="*/ 233 h 810"/>
                <a:gd name="T36" fmla="*/ 148 w 779"/>
                <a:gd name="T37" fmla="*/ 219 h 810"/>
                <a:gd name="T38" fmla="*/ 138 w 779"/>
                <a:gd name="T39" fmla="*/ 210 h 810"/>
                <a:gd name="T40" fmla="*/ 138 w 779"/>
                <a:gd name="T41" fmla="*/ 120 h 810"/>
                <a:gd name="T42" fmla="*/ 148 w 779"/>
                <a:gd name="T43" fmla="*/ 110 h 810"/>
                <a:gd name="T44" fmla="*/ 147 w 779"/>
                <a:gd name="T45" fmla="*/ 97 h 810"/>
                <a:gd name="T46" fmla="*/ 134 w 779"/>
                <a:gd name="T47" fmla="*/ 90 h 810"/>
                <a:gd name="T48" fmla="*/ 629 w 779"/>
                <a:gd name="T49" fmla="*/ 225 h 810"/>
                <a:gd name="T50" fmla="*/ 749 w 779"/>
                <a:gd name="T51" fmla="*/ 90 h 810"/>
                <a:gd name="T52" fmla="*/ 659 w 779"/>
                <a:gd name="T53" fmla="*/ 390 h 810"/>
                <a:gd name="T54" fmla="*/ 749 w 779"/>
                <a:gd name="T55" fmla="*/ 359 h 810"/>
                <a:gd name="T56" fmla="*/ 764 w 779"/>
                <a:gd name="T57" fmla="*/ 60 h 810"/>
                <a:gd name="T58" fmla="*/ 657 w 779"/>
                <a:gd name="T59" fmla="*/ 7 h 810"/>
                <a:gd name="T60" fmla="*/ 644 w 779"/>
                <a:gd name="T61" fmla="*/ 0 h 810"/>
                <a:gd name="T62" fmla="*/ 64 w 779"/>
                <a:gd name="T63" fmla="*/ 5 h 810"/>
                <a:gd name="T64" fmla="*/ 60 w 779"/>
                <a:gd name="T65" fmla="*/ 90 h 810"/>
                <a:gd name="T66" fmla="*/ 4 w 779"/>
                <a:gd name="T67" fmla="*/ 94 h 810"/>
                <a:gd name="T68" fmla="*/ 0 w 779"/>
                <a:gd name="T69" fmla="*/ 108 h 810"/>
                <a:gd name="T70" fmla="*/ 8 w 779"/>
                <a:gd name="T71" fmla="*/ 119 h 810"/>
                <a:gd name="T72" fmla="*/ 15 w 779"/>
                <a:gd name="T73" fmla="*/ 210 h 810"/>
                <a:gd name="T74" fmla="*/ 2 w 779"/>
                <a:gd name="T75" fmla="*/ 216 h 810"/>
                <a:gd name="T76" fmla="*/ 1 w 779"/>
                <a:gd name="T77" fmla="*/ 231 h 810"/>
                <a:gd name="T78" fmla="*/ 11 w 779"/>
                <a:gd name="T79" fmla="*/ 240 h 810"/>
                <a:gd name="T80" fmla="*/ 11 w 779"/>
                <a:gd name="T81" fmla="*/ 331 h 810"/>
                <a:gd name="T82" fmla="*/ 1 w 779"/>
                <a:gd name="T83" fmla="*/ 339 h 810"/>
                <a:gd name="T84" fmla="*/ 2 w 779"/>
                <a:gd name="T85" fmla="*/ 353 h 810"/>
                <a:gd name="T86" fmla="*/ 15 w 779"/>
                <a:gd name="T87" fmla="*/ 360 h 810"/>
                <a:gd name="T88" fmla="*/ 8 w 779"/>
                <a:gd name="T89" fmla="*/ 451 h 810"/>
                <a:gd name="T90" fmla="*/ 0 w 779"/>
                <a:gd name="T91" fmla="*/ 462 h 810"/>
                <a:gd name="T92" fmla="*/ 4 w 779"/>
                <a:gd name="T93" fmla="*/ 476 h 810"/>
                <a:gd name="T94" fmla="*/ 60 w 779"/>
                <a:gd name="T95" fmla="*/ 480 h 810"/>
                <a:gd name="T96" fmla="*/ 6 w 779"/>
                <a:gd name="T97" fmla="*/ 572 h 810"/>
                <a:gd name="T98" fmla="*/ 0 w 779"/>
                <a:gd name="T99" fmla="*/ 585 h 810"/>
                <a:gd name="T100" fmla="*/ 6 w 779"/>
                <a:gd name="T101" fmla="*/ 598 h 810"/>
                <a:gd name="T102" fmla="*/ 60 w 779"/>
                <a:gd name="T103" fmla="*/ 689 h 810"/>
                <a:gd name="T104" fmla="*/ 4 w 779"/>
                <a:gd name="T105" fmla="*/ 694 h 810"/>
                <a:gd name="T106" fmla="*/ 0 w 779"/>
                <a:gd name="T107" fmla="*/ 708 h 810"/>
                <a:gd name="T108" fmla="*/ 8 w 779"/>
                <a:gd name="T109" fmla="*/ 718 h 810"/>
                <a:gd name="T110" fmla="*/ 60 w 779"/>
                <a:gd name="T111" fmla="*/ 797 h 810"/>
                <a:gd name="T112" fmla="*/ 68 w 779"/>
                <a:gd name="T113" fmla="*/ 808 h 810"/>
                <a:gd name="T114" fmla="*/ 650 w 779"/>
                <a:gd name="T115" fmla="*/ 808 h 810"/>
                <a:gd name="T116" fmla="*/ 659 w 779"/>
                <a:gd name="T117" fmla="*/ 797 h 810"/>
                <a:gd name="T118" fmla="*/ 770 w 779"/>
                <a:gd name="T119" fmla="*/ 688 h 810"/>
                <a:gd name="T120" fmla="*/ 779 w 779"/>
                <a:gd name="T121" fmla="*/ 678 h 810"/>
                <a:gd name="T122" fmla="*/ 779 w 779"/>
                <a:gd name="T123" fmla="*/ 75 h 810"/>
                <a:gd name="T124" fmla="*/ 772 w 779"/>
                <a:gd name="T125" fmla="*/ 62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9" h="810">
                  <a:moveTo>
                    <a:pt x="749" y="660"/>
                  </a:moveTo>
                  <a:lnTo>
                    <a:pt x="659" y="660"/>
                  </a:lnTo>
                  <a:lnTo>
                    <a:pt x="659" y="540"/>
                  </a:lnTo>
                  <a:lnTo>
                    <a:pt x="749" y="540"/>
                  </a:lnTo>
                  <a:lnTo>
                    <a:pt x="749" y="660"/>
                  </a:lnTo>
                  <a:close/>
                  <a:moveTo>
                    <a:pt x="629" y="779"/>
                  </a:moveTo>
                  <a:lnTo>
                    <a:pt x="89" y="779"/>
                  </a:lnTo>
                  <a:lnTo>
                    <a:pt x="89" y="719"/>
                  </a:lnTo>
                  <a:lnTo>
                    <a:pt x="134" y="719"/>
                  </a:lnTo>
                  <a:lnTo>
                    <a:pt x="138" y="719"/>
                  </a:lnTo>
                  <a:lnTo>
                    <a:pt x="140" y="718"/>
                  </a:lnTo>
                  <a:lnTo>
                    <a:pt x="143" y="717"/>
                  </a:lnTo>
                  <a:lnTo>
                    <a:pt x="145" y="715"/>
                  </a:lnTo>
                  <a:lnTo>
                    <a:pt x="147" y="713"/>
                  </a:lnTo>
                  <a:lnTo>
                    <a:pt x="148" y="711"/>
                  </a:lnTo>
                  <a:lnTo>
                    <a:pt x="149" y="708"/>
                  </a:lnTo>
                  <a:lnTo>
                    <a:pt x="149" y="704"/>
                  </a:lnTo>
                  <a:lnTo>
                    <a:pt x="149" y="702"/>
                  </a:lnTo>
                  <a:lnTo>
                    <a:pt x="148" y="699"/>
                  </a:lnTo>
                  <a:lnTo>
                    <a:pt x="147" y="696"/>
                  </a:lnTo>
                  <a:lnTo>
                    <a:pt x="145" y="694"/>
                  </a:lnTo>
                  <a:lnTo>
                    <a:pt x="143" y="693"/>
                  </a:lnTo>
                  <a:lnTo>
                    <a:pt x="140" y="691"/>
                  </a:lnTo>
                  <a:lnTo>
                    <a:pt x="138" y="691"/>
                  </a:lnTo>
                  <a:lnTo>
                    <a:pt x="134" y="689"/>
                  </a:lnTo>
                  <a:lnTo>
                    <a:pt x="89" y="689"/>
                  </a:lnTo>
                  <a:lnTo>
                    <a:pt x="89" y="600"/>
                  </a:lnTo>
                  <a:lnTo>
                    <a:pt x="134" y="600"/>
                  </a:lnTo>
                  <a:lnTo>
                    <a:pt x="138" y="600"/>
                  </a:lnTo>
                  <a:lnTo>
                    <a:pt x="140" y="599"/>
                  </a:lnTo>
                  <a:lnTo>
                    <a:pt x="143" y="598"/>
                  </a:lnTo>
                  <a:lnTo>
                    <a:pt x="145" y="595"/>
                  </a:lnTo>
                  <a:lnTo>
                    <a:pt x="147" y="593"/>
                  </a:lnTo>
                  <a:lnTo>
                    <a:pt x="148" y="590"/>
                  </a:lnTo>
                  <a:lnTo>
                    <a:pt x="149" y="588"/>
                  </a:lnTo>
                  <a:lnTo>
                    <a:pt x="149" y="585"/>
                  </a:lnTo>
                  <a:lnTo>
                    <a:pt x="149" y="582"/>
                  </a:lnTo>
                  <a:lnTo>
                    <a:pt x="148" y="579"/>
                  </a:lnTo>
                  <a:lnTo>
                    <a:pt x="147" y="576"/>
                  </a:lnTo>
                  <a:lnTo>
                    <a:pt x="145" y="574"/>
                  </a:lnTo>
                  <a:lnTo>
                    <a:pt x="143" y="572"/>
                  </a:lnTo>
                  <a:lnTo>
                    <a:pt x="140" y="571"/>
                  </a:lnTo>
                  <a:lnTo>
                    <a:pt x="138" y="570"/>
                  </a:lnTo>
                  <a:lnTo>
                    <a:pt x="134" y="570"/>
                  </a:lnTo>
                  <a:lnTo>
                    <a:pt x="89" y="570"/>
                  </a:lnTo>
                  <a:lnTo>
                    <a:pt x="89" y="480"/>
                  </a:lnTo>
                  <a:lnTo>
                    <a:pt x="134" y="480"/>
                  </a:lnTo>
                  <a:lnTo>
                    <a:pt x="138" y="479"/>
                  </a:lnTo>
                  <a:lnTo>
                    <a:pt x="140" y="479"/>
                  </a:lnTo>
                  <a:lnTo>
                    <a:pt x="143" y="477"/>
                  </a:lnTo>
                  <a:lnTo>
                    <a:pt x="145" y="476"/>
                  </a:lnTo>
                  <a:lnTo>
                    <a:pt x="147" y="474"/>
                  </a:lnTo>
                  <a:lnTo>
                    <a:pt x="148" y="470"/>
                  </a:lnTo>
                  <a:lnTo>
                    <a:pt x="149" y="468"/>
                  </a:lnTo>
                  <a:lnTo>
                    <a:pt x="149" y="465"/>
                  </a:lnTo>
                  <a:lnTo>
                    <a:pt x="149" y="462"/>
                  </a:lnTo>
                  <a:lnTo>
                    <a:pt x="148" y="459"/>
                  </a:lnTo>
                  <a:lnTo>
                    <a:pt x="147" y="457"/>
                  </a:lnTo>
                  <a:lnTo>
                    <a:pt x="145" y="454"/>
                  </a:lnTo>
                  <a:lnTo>
                    <a:pt x="143" y="452"/>
                  </a:lnTo>
                  <a:lnTo>
                    <a:pt x="140" y="451"/>
                  </a:lnTo>
                  <a:lnTo>
                    <a:pt x="138" y="450"/>
                  </a:lnTo>
                  <a:lnTo>
                    <a:pt x="134" y="450"/>
                  </a:lnTo>
                  <a:lnTo>
                    <a:pt x="89" y="450"/>
                  </a:lnTo>
                  <a:lnTo>
                    <a:pt x="89" y="359"/>
                  </a:lnTo>
                  <a:lnTo>
                    <a:pt x="134" y="359"/>
                  </a:lnTo>
                  <a:lnTo>
                    <a:pt x="138" y="359"/>
                  </a:lnTo>
                  <a:lnTo>
                    <a:pt x="140" y="358"/>
                  </a:lnTo>
                  <a:lnTo>
                    <a:pt x="143" y="357"/>
                  </a:lnTo>
                  <a:lnTo>
                    <a:pt x="145" y="355"/>
                  </a:lnTo>
                  <a:lnTo>
                    <a:pt x="147" y="353"/>
                  </a:lnTo>
                  <a:lnTo>
                    <a:pt x="148" y="351"/>
                  </a:lnTo>
                  <a:lnTo>
                    <a:pt x="149" y="348"/>
                  </a:lnTo>
                  <a:lnTo>
                    <a:pt x="149" y="344"/>
                  </a:lnTo>
                  <a:lnTo>
                    <a:pt x="149" y="342"/>
                  </a:lnTo>
                  <a:lnTo>
                    <a:pt x="148" y="339"/>
                  </a:lnTo>
                  <a:lnTo>
                    <a:pt x="147" y="337"/>
                  </a:lnTo>
                  <a:lnTo>
                    <a:pt x="145" y="335"/>
                  </a:lnTo>
                  <a:lnTo>
                    <a:pt x="143" y="333"/>
                  </a:lnTo>
                  <a:lnTo>
                    <a:pt x="140" y="332"/>
                  </a:lnTo>
                  <a:lnTo>
                    <a:pt x="138" y="331"/>
                  </a:lnTo>
                  <a:lnTo>
                    <a:pt x="134" y="329"/>
                  </a:lnTo>
                  <a:lnTo>
                    <a:pt x="89" y="329"/>
                  </a:lnTo>
                  <a:lnTo>
                    <a:pt x="89" y="240"/>
                  </a:lnTo>
                  <a:lnTo>
                    <a:pt x="134" y="240"/>
                  </a:lnTo>
                  <a:lnTo>
                    <a:pt x="138" y="240"/>
                  </a:lnTo>
                  <a:lnTo>
                    <a:pt x="140" y="239"/>
                  </a:lnTo>
                  <a:lnTo>
                    <a:pt x="143" y="238"/>
                  </a:lnTo>
                  <a:lnTo>
                    <a:pt x="145" y="235"/>
                  </a:lnTo>
                  <a:lnTo>
                    <a:pt x="147" y="233"/>
                  </a:lnTo>
                  <a:lnTo>
                    <a:pt x="148" y="231"/>
                  </a:lnTo>
                  <a:lnTo>
                    <a:pt x="149" y="228"/>
                  </a:lnTo>
                  <a:lnTo>
                    <a:pt x="149" y="225"/>
                  </a:lnTo>
                  <a:lnTo>
                    <a:pt x="149" y="222"/>
                  </a:lnTo>
                  <a:lnTo>
                    <a:pt x="148" y="219"/>
                  </a:lnTo>
                  <a:lnTo>
                    <a:pt x="147" y="216"/>
                  </a:lnTo>
                  <a:lnTo>
                    <a:pt x="145" y="214"/>
                  </a:lnTo>
                  <a:lnTo>
                    <a:pt x="143" y="213"/>
                  </a:lnTo>
                  <a:lnTo>
                    <a:pt x="140" y="211"/>
                  </a:lnTo>
                  <a:lnTo>
                    <a:pt x="138" y="210"/>
                  </a:lnTo>
                  <a:lnTo>
                    <a:pt x="134" y="210"/>
                  </a:lnTo>
                  <a:lnTo>
                    <a:pt x="89" y="210"/>
                  </a:lnTo>
                  <a:lnTo>
                    <a:pt x="89" y="120"/>
                  </a:lnTo>
                  <a:lnTo>
                    <a:pt x="134" y="120"/>
                  </a:lnTo>
                  <a:lnTo>
                    <a:pt x="138" y="120"/>
                  </a:lnTo>
                  <a:lnTo>
                    <a:pt x="140" y="119"/>
                  </a:lnTo>
                  <a:lnTo>
                    <a:pt x="143" y="118"/>
                  </a:lnTo>
                  <a:lnTo>
                    <a:pt x="145" y="116"/>
                  </a:lnTo>
                  <a:lnTo>
                    <a:pt x="147" y="114"/>
                  </a:lnTo>
                  <a:lnTo>
                    <a:pt x="148" y="110"/>
                  </a:lnTo>
                  <a:lnTo>
                    <a:pt x="149" y="108"/>
                  </a:lnTo>
                  <a:lnTo>
                    <a:pt x="149" y="105"/>
                  </a:lnTo>
                  <a:lnTo>
                    <a:pt x="149" y="102"/>
                  </a:lnTo>
                  <a:lnTo>
                    <a:pt x="148" y="99"/>
                  </a:lnTo>
                  <a:lnTo>
                    <a:pt x="147" y="97"/>
                  </a:lnTo>
                  <a:lnTo>
                    <a:pt x="145" y="94"/>
                  </a:lnTo>
                  <a:lnTo>
                    <a:pt x="143" y="92"/>
                  </a:lnTo>
                  <a:lnTo>
                    <a:pt x="140" y="91"/>
                  </a:lnTo>
                  <a:lnTo>
                    <a:pt x="138" y="90"/>
                  </a:lnTo>
                  <a:lnTo>
                    <a:pt x="134" y="90"/>
                  </a:lnTo>
                  <a:lnTo>
                    <a:pt x="89" y="90"/>
                  </a:lnTo>
                  <a:lnTo>
                    <a:pt x="89" y="30"/>
                  </a:lnTo>
                  <a:lnTo>
                    <a:pt x="629" y="30"/>
                  </a:lnTo>
                  <a:lnTo>
                    <a:pt x="629" y="75"/>
                  </a:lnTo>
                  <a:lnTo>
                    <a:pt x="629" y="225"/>
                  </a:lnTo>
                  <a:lnTo>
                    <a:pt x="629" y="375"/>
                  </a:lnTo>
                  <a:lnTo>
                    <a:pt x="629" y="525"/>
                  </a:lnTo>
                  <a:lnTo>
                    <a:pt x="629" y="675"/>
                  </a:lnTo>
                  <a:lnTo>
                    <a:pt x="629" y="779"/>
                  </a:lnTo>
                  <a:close/>
                  <a:moveTo>
                    <a:pt x="749" y="90"/>
                  </a:moveTo>
                  <a:lnTo>
                    <a:pt x="749" y="210"/>
                  </a:lnTo>
                  <a:lnTo>
                    <a:pt x="659" y="210"/>
                  </a:lnTo>
                  <a:lnTo>
                    <a:pt x="659" y="90"/>
                  </a:lnTo>
                  <a:lnTo>
                    <a:pt x="749" y="90"/>
                  </a:lnTo>
                  <a:close/>
                  <a:moveTo>
                    <a:pt x="659" y="390"/>
                  </a:moveTo>
                  <a:lnTo>
                    <a:pt x="749" y="390"/>
                  </a:lnTo>
                  <a:lnTo>
                    <a:pt x="749" y="510"/>
                  </a:lnTo>
                  <a:lnTo>
                    <a:pt x="659" y="510"/>
                  </a:lnTo>
                  <a:lnTo>
                    <a:pt x="659" y="390"/>
                  </a:lnTo>
                  <a:close/>
                  <a:moveTo>
                    <a:pt x="749" y="359"/>
                  </a:moveTo>
                  <a:lnTo>
                    <a:pt x="659" y="359"/>
                  </a:lnTo>
                  <a:lnTo>
                    <a:pt x="659" y="240"/>
                  </a:lnTo>
                  <a:lnTo>
                    <a:pt x="749" y="240"/>
                  </a:lnTo>
                  <a:lnTo>
                    <a:pt x="749" y="359"/>
                  </a:lnTo>
                  <a:close/>
                  <a:moveTo>
                    <a:pt x="764" y="60"/>
                  </a:moveTo>
                  <a:lnTo>
                    <a:pt x="659" y="60"/>
                  </a:lnTo>
                  <a:lnTo>
                    <a:pt x="659" y="15"/>
                  </a:lnTo>
                  <a:lnTo>
                    <a:pt x="659" y="12"/>
                  </a:lnTo>
                  <a:lnTo>
                    <a:pt x="658" y="9"/>
                  </a:lnTo>
                  <a:lnTo>
                    <a:pt x="657" y="7"/>
                  </a:lnTo>
                  <a:lnTo>
                    <a:pt x="655" y="5"/>
                  </a:lnTo>
                  <a:lnTo>
                    <a:pt x="653" y="3"/>
                  </a:lnTo>
                  <a:lnTo>
                    <a:pt x="650" y="1"/>
                  </a:lnTo>
                  <a:lnTo>
                    <a:pt x="647" y="0"/>
                  </a:lnTo>
                  <a:lnTo>
                    <a:pt x="644" y="0"/>
                  </a:lnTo>
                  <a:lnTo>
                    <a:pt x="75" y="0"/>
                  </a:lnTo>
                  <a:lnTo>
                    <a:pt x="71" y="0"/>
                  </a:lnTo>
                  <a:lnTo>
                    <a:pt x="68" y="1"/>
                  </a:lnTo>
                  <a:lnTo>
                    <a:pt x="66" y="3"/>
                  </a:lnTo>
                  <a:lnTo>
                    <a:pt x="64" y="5"/>
                  </a:lnTo>
                  <a:lnTo>
                    <a:pt x="62" y="7"/>
                  </a:lnTo>
                  <a:lnTo>
                    <a:pt x="61" y="9"/>
                  </a:lnTo>
                  <a:lnTo>
                    <a:pt x="60" y="12"/>
                  </a:lnTo>
                  <a:lnTo>
                    <a:pt x="60" y="15"/>
                  </a:lnTo>
                  <a:lnTo>
                    <a:pt x="60" y="90"/>
                  </a:lnTo>
                  <a:lnTo>
                    <a:pt x="15" y="90"/>
                  </a:lnTo>
                  <a:lnTo>
                    <a:pt x="11" y="90"/>
                  </a:lnTo>
                  <a:lnTo>
                    <a:pt x="8" y="91"/>
                  </a:lnTo>
                  <a:lnTo>
                    <a:pt x="6" y="92"/>
                  </a:lnTo>
                  <a:lnTo>
                    <a:pt x="4" y="94"/>
                  </a:lnTo>
                  <a:lnTo>
                    <a:pt x="2" y="97"/>
                  </a:lnTo>
                  <a:lnTo>
                    <a:pt x="1" y="99"/>
                  </a:lnTo>
                  <a:lnTo>
                    <a:pt x="0" y="102"/>
                  </a:lnTo>
                  <a:lnTo>
                    <a:pt x="0" y="105"/>
                  </a:lnTo>
                  <a:lnTo>
                    <a:pt x="0" y="108"/>
                  </a:lnTo>
                  <a:lnTo>
                    <a:pt x="1" y="110"/>
                  </a:lnTo>
                  <a:lnTo>
                    <a:pt x="2" y="114"/>
                  </a:lnTo>
                  <a:lnTo>
                    <a:pt x="4" y="116"/>
                  </a:lnTo>
                  <a:lnTo>
                    <a:pt x="6" y="118"/>
                  </a:lnTo>
                  <a:lnTo>
                    <a:pt x="8" y="119"/>
                  </a:lnTo>
                  <a:lnTo>
                    <a:pt x="11" y="120"/>
                  </a:lnTo>
                  <a:lnTo>
                    <a:pt x="15" y="120"/>
                  </a:lnTo>
                  <a:lnTo>
                    <a:pt x="60" y="120"/>
                  </a:lnTo>
                  <a:lnTo>
                    <a:pt x="60" y="210"/>
                  </a:lnTo>
                  <a:lnTo>
                    <a:pt x="15" y="210"/>
                  </a:lnTo>
                  <a:lnTo>
                    <a:pt x="11" y="210"/>
                  </a:lnTo>
                  <a:lnTo>
                    <a:pt x="8" y="211"/>
                  </a:lnTo>
                  <a:lnTo>
                    <a:pt x="6" y="213"/>
                  </a:lnTo>
                  <a:lnTo>
                    <a:pt x="4" y="214"/>
                  </a:lnTo>
                  <a:lnTo>
                    <a:pt x="2" y="216"/>
                  </a:lnTo>
                  <a:lnTo>
                    <a:pt x="1" y="219"/>
                  </a:lnTo>
                  <a:lnTo>
                    <a:pt x="0" y="222"/>
                  </a:lnTo>
                  <a:lnTo>
                    <a:pt x="0" y="225"/>
                  </a:lnTo>
                  <a:lnTo>
                    <a:pt x="0" y="228"/>
                  </a:lnTo>
                  <a:lnTo>
                    <a:pt x="1" y="231"/>
                  </a:lnTo>
                  <a:lnTo>
                    <a:pt x="2" y="233"/>
                  </a:lnTo>
                  <a:lnTo>
                    <a:pt x="4" y="235"/>
                  </a:lnTo>
                  <a:lnTo>
                    <a:pt x="6" y="238"/>
                  </a:lnTo>
                  <a:lnTo>
                    <a:pt x="8" y="239"/>
                  </a:lnTo>
                  <a:lnTo>
                    <a:pt x="11" y="240"/>
                  </a:lnTo>
                  <a:lnTo>
                    <a:pt x="15" y="240"/>
                  </a:lnTo>
                  <a:lnTo>
                    <a:pt x="60" y="240"/>
                  </a:lnTo>
                  <a:lnTo>
                    <a:pt x="60" y="329"/>
                  </a:lnTo>
                  <a:lnTo>
                    <a:pt x="15" y="329"/>
                  </a:lnTo>
                  <a:lnTo>
                    <a:pt x="11" y="331"/>
                  </a:lnTo>
                  <a:lnTo>
                    <a:pt x="8" y="332"/>
                  </a:lnTo>
                  <a:lnTo>
                    <a:pt x="6" y="333"/>
                  </a:lnTo>
                  <a:lnTo>
                    <a:pt x="4" y="335"/>
                  </a:lnTo>
                  <a:lnTo>
                    <a:pt x="2" y="337"/>
                  </a:lnTo>
                  <a:lnTo>
                    <a:pt x="1" y="339"/>
                  </a:lnTo>
                  <a:lnTo>
                    <a:pt x="0" y="342"/>
                  </a:lnTo>
                  <a:lnTo>
                    <a:pt x="0" y="344"/>
                  </a:lnTo>
                  <a:lnTo>
                    <a:pt x="0" y="348"/>
                  </a:lnTo>
                  <a:lnTo>
                    <a:pt x="1" y="351"/>
                  </a:lnTo>
                  <a:lnTo>
                    <a:pt x="2" y="353"/>
                  </a:lnTo>
                  <a:lnTo>
                    <a:pt x="4" y="355"/>
                  </a:lnTo>
                  <a:lnTo>
                    <a:pt x="6" y="357"/>
                  </a:lnTo>
                  <a:lnTo>
                    <a:pt x="8" y="358"/>
                  </a:lnTo>
                  <a:lnTo>
                    <a:pt x="11" y="359"/>
                  </a:lnTo>
                  <a:lnTo>
                    <a:pt x="15" y="360"/>
                  </a:lnTo>
                  <a:lnTo>
                    <a:pt x="60" y="359"/>
                  </a:lnTo>
                  <a:lnTo>
                    <a:pt x="60" y="450"/>
                  </a:lnTo>
                  <a:lnTo>
                    <a:pt x="15" y="450"/>
                  </a:lnTo>
                  <a:lnTo>
                    <a:pt x="11" y="450"/>
                  </a:lnTo>
                  <a:lnTo>
                    <a:pt x="8" y="451"/>
                  </a:lnTo>
                  <a:lnTo>
                    <a:pt x="6" y="452"/>
                  </a:lnTo>
                  <a:lnTo>
                    <a:pt x="4" y="454"/>
                  </a:lnTo>
                  <a:lnTo>
                    <a:pt x="2" y="457"/>
                  </a:lnTo>
                  <a:lnTo>
                    <a:pt x="1" y="459"/>
                  </a:lnTo>
                  <a:lnTo>
                    <a:pt x="0" y="462"/>
                  </a:lnTo>
                  <a:lnTo>
                    <a:pt x="0" y="465"/>
                  </a:lnTo>
                  <a:lnTo>
                    <a:pt x="0" y="468"/>
                  </a:lnTo>
                  <a:lnTo>
                    <a:pt x="1" y="470"/>
                  </a:lnTo>
                  <a:lnTo>
                    <a:pt x="2" y="474"/>
                  </a:lnTo>
                  <a:lnTo>
                    <a:pt x="4" y="476"/>
                  </a:lnTo>
                  <a:lnTo>
                    <a:pt x="6" y="477"/>
                  </a:lnTo>
                  <a:lnTo>
                    <a:pt x="8" y="479"/>
                  </a:lnTo>
                  <a:lnTo>
                    <a:pt x="11" y="479"/>
                  </a:lnTo>
                  <a:lnTo>
                    <a:pt x="15" y="480"/>
                  </a:lnTo>
                  <a:lnTo>
                    <a:pt x="60" y="480"/>
                  </a:lnTo>
                  <a:lnTo>
                    <a:pt x="60" y="570"/>
                  </a:lnTo>
                  <a:lnTo>
                    <a:pt x="15" y="570"/>
                  </a:lnTo>
                  <a:lnTo>
                    <a:pt x="11" y="570"/>
                  </a:lnTo>
                  <a:lnTo>
                    <a:pt x="8" y="571"/>
                  </a:lnTo>
                  <a:lnTo>
                    <a:pt x="6" y="572"/>
                  </a:lnTo>
                  <a:lnTo>
                    <a:pt x="4" y="574"/>
                  </a:lnTo>
                  <a:lnTo>
                    <a:pt x="2" y="576"/>
                  </a:lnTo>
                  <a:lnTo>
                    <a:pt x="1" y="579"/>
                  </a:lnTo>
                  <a:lnTo>
                    <a:pt x="0" y="582"/>
                  </a:lnTo>
                  <a:lnTo>
                    <a:pt x="0" y="585"/>
                  </a:lnTo>
                  <a:lnTo>
                    <a:pt x="0" y="588"/>
                  </a:lnTo>
                  <a:lnTo>
                    <a:pt x="1" y="590"/>
                  </a:lnTo>
                  <a:lnTo>
                    <a:pt x="2" y="593"/>
                  </a:lnTo>
                  <a:lnTo>
                    <a:pt x="4" y="595"/>
                  </a:lnTo>
                  <a:lnTo>
                    <a:pt x="6" y="598"/>
                  </a:lnTo>
                  <a:lnTo>
                    <a:pt x="8" y="599"/>
                  </a:lnTo>
                  <a:lnTo>
                    <a:pt x="11" y="600"/>
                  </a:lnTo>
                  <a:lnTo>
                    <a:pt x="15" y="600"/>
                  </a:lnTo>
                  <a:lnTo>
                    <a:pt x="60" y="600"/>
                  </a:lnTo>
                  <a:lnTo>
                    <a:pt x="60" y="689"/>
                  </a:lnTo>
                  <a:lnTo>
                    <a:pt x="15" y="689"/>
                  </a:lnTo>
                  <a:lnTo>
                    <a:pt x="11" y="691"/>
                  </a:lnTo>
                  <a:lnTo>
                    <a:pt x="8" y="691"/>
                  </a:lnTo>
                  <a:lnTo>
                    <a:pt x="6" y="693"/>
                  </a:lnTo>
                  <a:lnTo>
                    <a:pt x="4" y="694"/>
                  </a:lnTo>
                  <a:lnTo>
                    <a:pt x="2" y="696"/>
                  </a:lnTo>
                  <a:lnTo>
                    <a:pt x="1" y="699"/>
                  </a:lnTo>
                  <a:lnTo>
                    <a:pt x="0" y="702"/>
                  </a:lnTo>
                  <a:lnTo>
                    <a:pt x="0" y="704"/>
                  </a:lnTo>
                  <a:lnTo>
                    <a:pt x="0" y="708"/>
                  </a:lnTo>
                  <a:lnTo>
                    <a:pt x="1" y="711"/>
                  </a:lnTo>
                  <a:lnTo>
                    <a:pt x="2" y="713"/>
                  </a:lnTo>
                  <a:lnTo>
                    <a:pt x="4" y="715"/>
                  </a:lnTo>
                  <a:lnTo>
                    <a:pt x="6" y="717"/>
                  </a:lnTo>
                  <a:lnTo>
                    <a:pt x="8" y="718"/>
                  </a:lnTo>
                  <a:lnTo>
                    <a:pt x="11" y="719"/>
                  </a:lnTo>
                  <a:lnTo>
                    <a:pt x="15" y="719"/>
                  </a:lnTo>
                  <a:lnTo>
                    <a:pt x="60" y="719"/>
                  </a:lnTo>
                  <a:lnTo>
                    <a:pt x="60" y="795"/>
                  </a:lnTo>
                  <a:lnTo>
                    <a:pt x="60" y="797"/>
                  </a:lnTo>
                  <a:lnTo>
                    <a:pt x="61" y="801"/>
                  </a:lnTo>
                  <a:lnTo>
                    <a:pt x="62" y="803"/>
                  </a:lnTo>
                  <a:lnTo>
                    <a:pt x="64" y="805"/>
                  </a:lnTo>
                  <a:lnTo>
                    <a:pt x="66" y="807"/>
                  </a:lnTo>
                  <a:lnTo>
                    <a:pt x="68" y="808"/>
                  </a:lnTo>
                  <a:lnTo>
                    <a:pt x="71" y="809"/>
                  </a:lnTo>
                  <a:lnTo>
                    <a:pt x="75" y="810"/>
                  </a:lnTo>
                  <a:lnTo>
                    <a:pt x="644" y="810"/>
                  </a:lnTo>
                  <a:lnTo>
                    <a:pt x="647" y="809"/>
                  </a:lnTo>
                  <a:lnTo>
                    <a:pt x="650" y="808"/>
                  </a:lnTo>
                  <a:lnTo>
                    <a:pt x="653" y="807"/>
                  </a:lnTo>
                  <a:lnTo>
                    <a:pt x="655" y="805"/>
                  </a:lnTo>
                  <a:lnTo>
                    <a:pt x="657" y="803"/>
                  </a:lnTo>
                  <a:lnTo>
                    <a:pt x="658" y="801"/>
                  </a:lnTo>
                  <a:lnTo>
                    <a:pt x="659" y="797"/>
                  </a:lnTo>
                  <a:lnTo>
                    <a:pt x="659" y="795"/>
                  </a:lnTo>
                  <a:lnTo>
                    <a:pt x="659" y="689"/>
                  </a:lnTo>
                  <a:lnTo>
                    <a:pt x="764" y="689"/>
                  </a:lnTo>
                  <a:lnTo>
                    <a:pt x="767" y="689"/>
                  </a:lnTo>
                  <a:lnTo>
                    <a:pt x="770" y="688"/>
                  </a:lnTo>
                  <a:lnTo>
                    <a:pt x="772" y="687"/>
                  </a:lnTo>
                  <a:lnTo>
                    <a:pt x="774" y="685"/>
                  </a:lnTo>
                  <a:lnTo>
                    <a:pt x="776" y="683"/>
                  </a:lnTo>
                  <a:lnTo>
                    <a:pt x="778" y="681"/>
                  </a:lnTo>
                  <a:lnTo>
                    <a:pt x="779" y="678"/>
                  </a:lnTo>
                  <a:lnTo>
                    <a:pt x="779" y="675"/>
                  </a:lnTo>
                  <a:lnTo>
                    <a:pt x="779" y="525"/>
                  </a:lnTo>
                  <a:lnTo>
                    <a:pt x="779" y="375"/>
                  </a:lnTo>
                  <a:lnTo>
                    <a:pt x="779" y="225"/>
                  </a:lnTo>
                  <a:lnTo>
                    <a:pt x="779" y="75"/>
                  </a:lnTo>
                  <a:lnTo>
                    <a:pt x="779" y="72"/>
                  </a:lnTo>
                  <a:lnTo>
                    <a:pt x="778" y="69"/>
                  </a:lnTo>
                  <a:lnTo>
                    <a:pt x="776" y="67"/>
                  </a:lnTo>
                  <a:lnTo>
                    <a:pt x="774" y="64"/>
                  </a:lnTo>
                  <a:lnTo>
                    <a:pt x="772" y="62"/>
                  </a:lnTo>
                  <a:lnTo>
                    <a:pt x="770" y="61"/>
                  </a:lnTo>
                  <a:lnTo>
                    <a:pt x="767" y="60"/>
                  </a:lnTo>
                  <a:lnTo>
                    <a:pt x="76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0" name="Group 100">
            <a:extLst>
              <a:ext uri="{FF2B5EF4-FFF2-40B4-BE49-F238E27FC236}">
                <a16:creationId xmlns:a16="http://schemas.microsoft.com/office/drawing/2014/main" id="{2AF3D632-61AC-4999-BDEF-0B785A0F7775}"/>
              </a:ext>
            </a:extLst>
          </p:cNvPr>
          <p:cNvGrpSpPr>
            <a:grpSpLocks noChangeAspect="1"/>
          </p:cNvGrpSpPr>
          <p:nvPr/>
        </p:nvGrpSpPr>
        <p:grpSpPr>
          <a:xfrm>
            <a:off x="7460637" y="3801969"/>
            <a:ext cx="308144" cy="308144"/>
            <a:chOff x="8166100" y="1924050"/>
            <a:chExt cx="285750" cy="285750"/>
          </a:xfrm>
          <a:solidFill>
            <a:schemeClr val="bg2"/>
          </a:solidFill>
        </p:grpSpPr>
        <p:sp>
          <p:nvSpPr>
            <p:cNvPr id="951" name="Freeform 402">
              <a:extLst>
                <a:ext uri="{FF2B5EF4-FFF2-40B4-BE49-F238E27FC236}">
                  <a16:creationId xmlns:a16="http://schemas.microsoft.com/office/drawing/2014/main" id="{EBC1A420-69B5-434F-B61E-6416E6908454}"/>
                </a:ext>
              </a:extLst>
            </p:cNvPr>
            <p:cNvSpPr>
              <a:spLocks/>
            </p:cNvSpPr>
            <p:nvPr/>
          </p:nvSpPr>
          <p:spPr bwMode="auto">
            <a:xfrm>
              <a:off x="8204200" y="1962150"/>
              <a:ext cx="133350" cy="9525"/>
            </a:xfrm>
            <a:custGeom>
              <a:avLst/>
              <a:gdLst>
                <a:gd name="T0" fmla="*/ 405 w 420"/>
                <a:gd name="T1" fmla="*/ 0 h 29"/>
                <a:gd name="T2" fmla="*/ 15 w 420"/>
                <a:gd name="T3" fmla="*/ 0 h 29"/>
                <a:gd name="T4" fmla="*/ 12 w 420"/>
                <a:gd name="T5" fmla="*/ 1 h 29"/>
                <a:gd name="T6" fmla="*/ 10 w 420"/>
                <a:gd name="T7" fmla="*/ 1 h 29"/>
                <a:gd name="T8" fmla="*/ 7 w 420"/>
                <a:gd name="T9" fmla="*/ 3 h 29"/>
                <a:gd name="T10" fmla="*/ 5 w 420"/>
                <a:gd name="T11" fmla="*/ 4 h 29"/>
                <a:gd name="T12" fmla="*/ 3 w 420"/>
                <a:gd name="T13" fmla="*/ 6 h 29"/>
                <a:gd name="T14" fmla="*/ 2 w 420"/>
                <a:gd name="T15" fmla="*/ 9 h 29"/>
                <a:gd name="T16" fmla="*/ 0 w 420"/>
                <a:gd name="T17" fmla="*/ 12 h 29"/>
                <a:gd name="T18" fmla="*/ 0 w 420"/>
                <a:gd name="T19" fmla="*/ 15 h 29"/>
                <a:gd name="T20" fmla="*/ 0 w 420"/>
                <a:gd name="T21" fmla="*/ 18 h 29"/>
                <a:gd name="T22" fmla="*/ 2 w 420"/>
                <a:gd name="T23" fmla="*/ 21 h 29"/>
                <a:gd name="T24" fmla="*/ 3 w 420"/>
                <a:gd name="T25" fmla="*/ 23 h 29"/>
                <a:gd name="T26" fmla="*/ 5 w 420"/>
                <a:gd name="T27" fmla="*/ 25 h 29"/>
                <a:gd name="T28" fmla="*/ 7 w 420"/>
                <a:gd name="T29" fmla="*/ 27 h 29"/>
                <a:gd name="T30" fmla="*/ 9 w 420"/>
                <a:gd name="T31" fmla="*/ 28 h 29"/>
                <a:gd name="T32" fmla="*/ 12 w 420"/>
                <a:gd name="T33" fmla="*/ 29 h 29"/>
                <a:gd name="T34" fmla="*/ 15 w 420"/>
                <a:gd name="T35" fmla="*/ 29 h 29"/>
                <a:gd name="T36" fmla="*/ 405 w 420"/>
                <a:gd name="T37" fmla="*/ 29 h 29"/>
                <a:gd name="T38" fmla="*/ 409 w 420"/>
                <a:gd name="T39" fmla="*/ 29 h 29"/>
                <a:gd name="T40" fmla="*/ 411 w 420"/>
                <a:gd name="T41" fmla="*/ 28 h 29"/>
                <a:gd name="T42" fmla="*/ 414 w 420"/>
                <a:gd name="T43" fmla="*/ 27 h 29"/>
                <a:gd name="T44" fmla="*/ 416 w 420"/>
                <a:gd name="T45" fmla="*/ 25 h 29"/>
                <a:gd name="T46" fmla="*/ 417 w 420"/>
                <a:gd name="T47" fmla="*/ 23 h 29"/>
                <a:gd name="T48" fmla="*/ 419 w 420"/>
                <a:gd name="T49" fmla="*/ 21 h 29"/>
                <a:gd name="T50" fmla="*/ 420 w 420"/>
                <a:gd name="T51" fmla="*/ 18 h 29"/>
                <a:gd name="T52" fmla="*/ 420 w 420"/>
                <a:gd name="T53" fmla="*/ 15 h 29"/>
                <a:gd name="T54" fmla="*/ 420 w 420"/>
                <a:gd name="T55" fmla="*/ 11 h 29"/>
                <a:gd name="T56" fmla="*/ 419 w 420"/>
                <a:gd name="T57" fmla="*/ 9 h 29"/>
                <a:gd name="T58" fmla="*/ 417 w 420"/>
                <a:gd name="T59" fmla="*/ 6 h 29"/>
                <a:gd name="T60" fmla="*/ 416 w 420"/>
                <a:gd name="T61" fmla="*/ 4 h 29"/>
                <a:gd name="T62" fmla="*/ 414 w 420"/>
                <a:gd name="T63" fmla="*/ 3 h 29"/>
                <a:gd name="T64" fmla="*/ 411 w 420"/>
                <a:gd name="T65" fmla="*/ 1 h 29"/>
                <a:gd name="T66" fmla="*/ 409 w 420"/>
                <a:gd name="T67" fmla="*/ 1 h 29"/>
                <a:gd name="T68" fmla="*/ 405 w 420"/>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29">
                  <a:moveTo>
                    <a:pt x="405" y="0"/>
                  </a:moveTo>
                  <a:lnTo>
                    <a:pt x="15" y="0"/>
                  </a:lnTo>
                  <a:lnTo>
                    <a:pt x="12" y="1"/>
                  </a:lnTo>
                  <a:lnTo>
                    <a:pt x="10" y="1"/>
                  </a:lnTo>
                  <a:lnTo>
                    <a:pt x="7" y="3"/>
                  </a:lnTo>
                  <a:lnTo>
                    <a:pt x="5" y="4"/>
                  </a:lnTo>
                  <a:lnTo>
                    <a:pt x="3" y="6"/>
                  </a:lnTo>
                  <a:lnTo>
                    <a:pt x="2" y="9"/>
                  </a:lnTo>
                  <a:lnTo>
                    <a:pt x="0" y="12"/>
                  </a:lnTo>
                  <a:lnTo>
                    <a:pt x="0" y="15"/>
                  </a:lnTo>
                  <a:lnTo>
                    <a:pt x="0" y="18"/>
                  </a:lnTo>
                  <a:lnTo>
                    <a:pt x="2" y="21"/>
                  </a:lnTo>
                  <a:lnTo>
                    <a:pt x="3" y="23"/>
                  </a:lnTo>
                  <a:lnTo>
                    <a:pt x="5" y="25"/>
                  </a:lnTo>
                  <a:lnTo>
                    <a:pt x="7" y="27"/>
                  </a:lnTo>
                  <a:lnTo>
                    <a:pt x="9" y="28"/>
                  </a:lnTo>
                  <a:lnTo>
                    <a:pt x="12" y="29"/>
                  </a:lnTo>
                  <a:lnTo>
                    <a:pt x="15" y="29"/>
                  </a:lnTo>
                  <a:lnTo>
                    <a:pt x="405" y="29"/>
                  </a:lnTo>
                  <a:lnTo>
                    <a:pt x="409" y="29"/>
                  </a:lnTo>
                  <a:lnTo>
                    <a:pt x="411" y="28"/>
                  </a:lnTo>
                  <a:lnTo>
                    <a:pt x="414" y="27"/>
                  </a:lnTo>
                  <a:lnTo>
                    <a:pt x="416" y="25"/>
                  </a:lnTo>
                  <a:lnTo>
                    <a:pt x="417" y="23"/>
                  </a:lnTo>
                  <a:lnTo>
                    <a:pt x="419" y="21"/>
                  </a:lnTo>
                  <a:lnTo>
                    <a:pt x="420" y="18"/>
                  </a:lnTo>
                  <a:lnTo>
                    <a:pt x="420" y="15"/>
                  </a:lnTo>
                  <a:lnTo>
                    <a:pt x="420" y="11"/>
                  </a:lnTo>
                  <a:lnTo>
                    <a:pt x="419" y="9"/>
                  </a:lnTo>
                  <a:lnTo>
                    <a:pt x="417" y="6"/>
                  </a:lnTo>
                  <a:lnTo>
                    <a:pt x="416" y="4"/>
                  </a:lnTo>
                  <a:lnTo>
                    <a:pt x="414" y="3"/>
                  </a:lnTo>
                  <a:lnTo>
                    <a:pt x="411" y="1"/>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403">
              <a:extLst>
                <a:ext uri="{FF2B5EF4-FFF2-40B4-BE49-F238E27FC236}">
                  <a16:creationId xmlns:a16="http://schemas.microsoft.com/office/drawing/2014/main" id="{83682441-7334-4D29-B54E-012B1C310BCF}"/>
                </a:ext>
              </a:extLst>
            </p:cNvPr>
            <p:cNvSpPr>
              <a:spLocks noEditPoints="1"/>
            </p:cNvSpPr>
            <p:nvPr/>
          </p:nvSpPr>
          <p:spPr bwMode="auto">
            <a:xfrm>
              <a:off x="8204200" y="1990725"/>
              <a:ext cx="76200" cy="85725"/>
            </a:xfrm>
            <a:custGeom>
              <a:avLst/>
              <a:gdLst>
                <a:gd name="T0" fmla="*/ 30 w 240"/>
                <a:gd name="T1" fmla="*/ 31 h 271"/>
                <a:gd name="T2" fmla="*/ 210 w 240"/>
                <a:gd name="T3" fmla="*/ 31 h 271"/>
                <a:gd name="T4" fmla="*/ 210 w 240"/>
                <a:gd name="T5" fmla="*/ 241 h 271"/>
                <a:gd name="T6" fmla="*/ 30 w 240"/>
                <a:gd name="T7" fmla="*/ 241 h 271"/>
                <a:gd name="T8" fmla="*/ 30 w 240"/>
                <a:gd name="T9" fmla="*/ 31 h 271"/>
                <a:gd name="T10" fmla="*/ 15 w 240"/>
                <a:gd name="T11" fmla="*/ 271 h 271"/>
                <a:gd name="T12" fmla="*/ 225 w 240"/>
                <a:gd name="T13" fmla="*/ 271 h 271"/>
                <a:gd name="T14" fmla="*/ 228 w 240"/>
                <a:gd name="T15" fmla="*/ 271 h 271"/>
                <a:gd name="T16" fmla="*/ 231 w 240"/>
                <a:gd name="T17" fmla="*/ 270 h 271"/>
                <a:gd name="T18" fmla="*/ 233 w 240"/>
                <a:gd name="T19" fmla="*/ 268 h 271"/>
                <a:gd name="T20" fmla="*/ 236 w 240"/>
                <a:gd name="T21" fmla="*/ 266 h 271"/>
                <a:gd name="T22" fmla="*/ 238 w 240"/>
                <a:gd name="T23" fmla="*/ 264 h 271"/>
                <a:gd name="T24" fmla="*/ 239 w 240"/>
                <a:gd name="T25" fmla="*/ 262 h 271"/>
                <a:gd name="T26" fmla="*/ 240 w 240"/>
                <a:gd name="T27" fmla="*/ 259 h 271"/>
                <a:gd name="T28" fmla="*/ 240 w 240"/>
                <a:gd name="T29" fmla="*/ 256 h 271"/>
                <a:gd name="T30" fmla="*/ 240 w 240"/>
                <a:gd name="T31" fmla="*/ 16 h 271"/>
                <a:gd name="T32" fmla="*/ 240 w 240"/>
                <a:gd name="T33" fmla="*/ 13 h 271"/>
                <a:gd name="T34" fmla="*/ 239 w 240"/>
                <a:gd name="T35" fmla="*/ 10 h 271"/>
                <a:gd name="T36" fmla="*/ 238 w 240"/>
                <a:gd name="T37" fmla="*/ 8 h 271"/>
                <a:gd name="T38" fmla="*/ 236 w 240"/>
                <a:gd name="T39" fmla="*/ 6 h 271"/>
                <a:gd name="T40" fmla="*/ 233 w 240"/>
                <a:gd name="T41" fmla="*/ 4 h 271"/>
                <a:gd name="T42" fmla="*/ 231 w 240"/>
                <a:gd name="T43" fmla="*/ 2 h 271"/>
                <a:gd name="T44" fmla="*/ 228 w 240"/>
                <a:gd name="T45" fmla="*/ 1 h 271"/>
                <a:gd name="T46" fmla="*/ 225 w 240"/>
                <a:gd name="T47" fmla="*/ 0 h 271"/>
                <a:gd name="T48" fmla="*/ 15 w 240"/>
                <a:gd name="T49" fmla="*/ 0 h 271"/>
                <a:gd name="T50" fmla="*/ 12 w 240"/>
                <a:gd name="T51" fmla="*/ 1 h 271"/>
                <a:gd name="T52" fmla="*/ 10 w 240"/>
                <a:gd name="T53" fmla="*/ 2 h 271"/>
                <a:gd name="T54" fmla="*/ 7 w 240"/>
                <a:gd name="T55" fmla="*/ 4 h 271"/>
                <a:gd name="T56" fmla="*/ 5 w 240"/>
                <a:gd name="T57" fmla="*/ 6 h 271"/>
                <a:gd name="T58" fmla="*/ 3 w 240"/>
                <a:gd name="T59" fmla="*/ 8 h 271"/>
                <a:gd name="T60" fmla="*/ 2 w 240"/>
                <a:gd name="T61" fmla="*/ 10 h 271"/>
                <a:gd name="T62" fmla="*/ 0 w 240"/>
                <a:gd name="T63" fmla="*/ 13 h 271"/>
                <a:gd name="T64" fmla="*/ 0 w 240"/>
                <a:gd name="T65" fmla="*/ 16 h 271"/>
                <a:gd name="T66" fmla="*/ 0 w 240"/>
                <a:gd name="T67" fmla="*/ 256 h 271"/>
                <a:gd name="T68" fmla="*/ 0 w 240"/>
                <a:gd name="T69" fmla="*/ 259 h 271"/>
                <a:gd name="T70" fmla="*/ 2 w 240"/>
                <a:gd name="T71" fmla="*/ 262 h 271"/>
                <a:gd name="T72" fmla="*/ 3 w 240"/>
                <a:gd name="T73" fmla="*/ 264 h 271"/>
                <a:gd name="T74" fmla="*/ 5 w 240"/>
                <a:gd name="T75" fmla="*/ 266 h 271"/>
                <a:gd name="T76" fmla="*/ 7 w 240"/>
                <a:gd name="T77" fmla="*/ 268 h 271"/>
                <a:gd name="T78" fmla="*/ 9 w 240"/>
                <a:gd name="T79" fmla="*/ 270 h 271"/>
                <a:gd name="T80" fmla="*/ 12 w 240"/>
                <a:gd name="T81" fmla="*/ 271 h 271"/>
                <a:gd name="T82" fmla="*/ 15 w 240"/>
                <a:gd name="T83" fmla="*/ 271 h 271"/>
                <a:gd name="T84" fmla="*/ 15 w 240"/>
                <a:gd name="T85"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71">
                  <a:moveTo>
                    <a:pt x="30" y="31"/>
                  </a:moveTo>
                  <a:lnTo>
                    <a:pt x="210" y="31"/>
                  </a:lnTo>
                  <a:lnTo>
                    <a:pt x="210" y="241"/>
                  </a:lnTo>
                  <a:lnTo>
                    <a:pt x="30" y="241"/>
                  </a:lnTo>
                  <a:lnTo>
                    <a:pt x="30" y="31"/>
                  </a:lnTo>
                  <a:close/>
                  <a:moveTo>
                    <a:pt x="15" y="271"/>
                  </a:moveTo>
                  <a:lnTo>
                    <a:pt x="225" y="271"/>
                  </a:lnTo>
                  <a:lnTo>
                    <a:pt x="228" y="271"/>
                  </a:lnTo>
                  <a:lnTo>
                    <a:pt x="231" y="270"/>
                  </a:lnTo>
                  <a:lnTo>
                    <a:pt x="233" y="268"/>
                  </a:lnTo>
                  <a:lnTo>
                    <a:pt x="236" y="266"/>
                  </a:lnTo>
                  <a:lnTo>
                    <a:pt x="238" y="264"/>
                  </a:lnTo>
                  <a:lnTo>
                    <a:pt x="239" y="262"/>
                  </a:lnTo>
                  <a:lnTo>
                    <a:pt x="240" y="259"/>
                  </a:lnTo>
                  <a:lnTo>
                    <a:pt x="240" y="256"/>
                  </a:lnTo>
                  <a:lnTo>
                    <a:pt x="240" y="16"/>
                  </a:lnTo>
                  <a:lnTo>
                    <a:pt x="240" y="13"/>
                  </a:lnTo>
                  <a:lnTo>
                    <a:pt x="239" y="10"/>
                  </a:lnTo>
                  <a:lnTo>
                    <a:pt x="238" y="8"/>
                  </a:lnTo>
                  <a:lnTo>
                    <a:pt x="236" y="6"/>
                  </a:lnTo>
                  <a:lnTo>
                    <a:pt x="233" y="4"/>
                  </a:lnTo>
                  <a:lnTo>
                    <a:pt x="231" y="2"/>
                  </a:lnTo>
                  <a:lnTo>
                    <a:pt x="228" y="1"/>
                  </a:lnTo>
                  <a:lnTo>
                    <a:pt x="225" y="0"/>
                  </a:lnTo>
                  <a:lnTo>
                    <a:pt x="15" y="0"/>
                  </a:lnTo>
                  <a:lnTo>
                    <a:pt x="12" y="1"/>
                  </a:lnTo>
                  <a:lnTo>
                    <a:pt x="10" y="2"/>
                  </a:lnTo>
                  <a:lnTo>
                    <a:pt x="7" y="4"/>
                  </a:lnTo>
                  <a:lnTo>
                    <a:pt x="5" y="6"/>
                  </a:lnTo>
                  <a:lnTo>
                    <a:pt x="3" y="8"/>
                  </a:lnTo>
                  <a:lnTo>
                    <a:pt x="2" y="10"/>
                  </a:lnTo>
                  <a:lnTo>
                    <a:pt x="0" y="13"/>
                  </a:lnTo>
                  <a:lnTo>
                    <a:pt x="0" y="16"/>
                  </a:lnTo>
                  <a:lnTo>
                    <a:pt x="0" y="256"/>
                  </a:lnTo>
                  <a:lnTo>
                    <a:pt x="0" y="259"/>
                  </a:lnTo>
                  <a:lnTo>
                    <a:pt x="2" y="262"/>
                  </a:lnTo>
                  <a:lnTo>
                    <a:pt x="3" y="264"/>
                  </a:lnTo>
                  <a:lnTo>
                    <a:pt x="5" y="266"/>
                  </a:lnTo>
                  <a:lnTo>
                    <a:pt x="7" y="268"/>
                  </a:lnTo>
                  <a:lnTo>
                    <a:pt x="9" y="270"/>
                  </a:lnTo>
                  <a:lnTo>
                    <a:pt x="12" y="271"/>
                  </a:lnTo>
                  <a:lnTo>
                    <a:pt x="15" y="271"/>
                  </a:lnTo>
                  <a:lnTo>
                    <a:pt x="1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404">
              <a:extLst>
                <a:ext uri="{FF2B5EF4-FFF2-40B4-BE49-F238E27FC236}">
                  <a16:creationId xmlns:a16="http://schemas.microsoft.com/office/drawing/2014/main" id="{9EB07230-B297-41A3-B386-3686ED47D760}"/>
                </a:ext>
              </a:extLst>
            </p:cNvPr>
            <p:cNvSpPr>
              <a:spLocks/>
            </p:cNvSpPr>
            <p:nvPr/>
          </p:nvSpPr>
          <p:spPr bwMode="auto">
            <a:xfrm>
              <a:off x="8299450" y="2009775"/>
              <a:ext cx="38100" cy="9525"/>
            </a:xfrm>
            <a:custGeom>
              <a:avLst/>
              <a:gdLst>
                <a:gd name="T0" fmla="*/ 104 w 119"/>
                <a:gd name="T1" fmla="*/ 0 h 30"/>
                <a:gd name="T2" fmla="*/ 15 w 119"/>
                <a:gd name="T3" fmla="*/ 0 h 30"/>
                <a:gd name="T4" fmla="*/ 11 w 119"/>
                <a:gd name="T5" fmla="*/ 0 h 30"/>
                <a:gd name="T6" fmla="*/ 8 w 119"/>
                <a:gd name="T7" fmla="*/ 1 h 30"/>
                <a:gd name="T8" fmla="*/ 6 w 119"/>
                <a:gd name="T9" fmla="*/ 2 h 30"/>
                <a:gd name="T10" fmla="*/ 4 w 119"/>
                <a:gd name="T11" fmla="*/ 4 h 30"/>
                <a:gd name="T12" fmla="*/ 2 w 119"/>
                <a:gd name="T13" fmla="*/ 7 h 30"/>
                <a:gd name="T14" fmla="*/ 1 w 119"/>
                <a:gd name="T15" fmla="*/ 9 h 30"/>
                <a:gd name="T16" fmla="*/ 0 w 119"/>
                <a:gd name="T17" fmla="*/ 12 h 30"/>
                <a:gd name="T18" fmla="*/ 0 w 119"/>
                <a:gd name="T19" fmla="*/ 15 h 30"/>
                <a:gd name="T20" fmla="*/ 0 w 119"/>
                <a:gd name="T21" fmla="*/ 17 h 30"/>
                <a:gd name="T22" fmla="*/ 1 w 119"/>
                <a:gd name="T23" fmla="*/ 21 h 30"/>
                <a:gd name="T24" fmla="*/ 2 w 119"/>
                <a:gd name="T25" fmla="*/ 24 h 30"/>
                <a:gd name="T26" fmla="*/ 4 w 119"/>
                <a:gd name="T27" fmla="*/ 26 h 30"/>
                <a:gd name="T28" fmla="*/ 6 w 119"/>
                <a:gd name="T29" fmla="*/ 27 h 30"/>
                <a:gd name="T30" fmla="*/ 8 w 119"/>
                <a:gd name="T31" fmla="*/ 29 h 30"/>
                <a:gd name="T32" fmla="*/ 11 w 119"/>
                <a:gd name="T33" fmla="*/ 29 h 30"/>
                <a:gd name="T34" fmla="*/ 15 w 119"/>
                <a:gd name="T35" fmla="*/ 30 h 30"/>
                <a:gd name="T36" fmla="*/ 104 w 119"/>
                <a:gd name="T37" fmla="*/ 30 h 30"/>
                <a:gd name="T38" fmla="*/ 108 w 119"/>
                <a:gd name="T39" fmla="*/ 29 h 30"/>
                <a:gd name="T40" fmla="*/ 110 w 119"/>
                <a:gd name="T41" fmla="*/ 29 h 30"/>
                <a:gd name="T42" fmla="*/ 113 w 119"/>
                <a:gd name="T43" fmla="*/ 27 h 30"/>
                <a:gd name="T44" fmla="*/ 115 w 119"/>
                <a:gd name="T45" fmla="*/ 26 h 30"/>
                <a:gd name="T46" fmla="*/ 116 w 119"/>
                <a:gd name="T47" fmla="*/ 24 h 30"/>
                <a:gd name="T48" fmla="*/ 118 w 119"/>
                <a:gd name="T49" fmla="*/ 21 h 30"/>
                <a:gd name="T50" fmla="*/ 119 w 119"/>
                <a:gd name="T51" fmla="*/ 17 h 30"/>
                <a:gd name="T52" fmla="*/ 119 w 119"/>
                <a:gd name="T53" fmla="*/ 15 h 30"/>
                <a:gd name="T54" fmla="*/ 119 w 119"/>
                <a:gd name="T55" fmla="*/ 12 h 30"/>
                <a:gd name="T56" fmla="*/ 118 w 119"/>
                <a:gd name="T57" fmla="*/ 9 h 30"/>
                <a:gd name="T58" fmla="*/ 116 w 119"/>
                <a:gd name="T59" fmla="*/ 7 h 30"/>
                <a:gd name="T60" fmla="*/ 115 w 119"/>
                <a:gd name="T61" fmla="*/ 4 h 30"/>
                <a:gd name="T62" fmla="*/ 113 w 119"/>
                <a:gd name="T63" fmla="*/ 2 h 30"/>
                <a:gd name="T64" fmla="*/ 110 w 119"/>
                <a:gd name="T65" fmla="*/ 1 h 30"/>
                <a:gd name="T66" fmla="*/ 108 w 119"/>
                <a:gd name="T67" fmla="*/ 0 h 30"/>
                <a:gd name="T68" fmla="*/ 104 w 1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0">
                  <a:moveTo>
                    <a:pt x="104" y="0"/>
                  </a:moveTo>
                  <a:lnTo>
                    <a:pt x="15" y="0"/>
                  </a:lnTo>
                  <a:lnTo>
                    <a:pt x="11" y="0"/>
                  </a:lnTo>
                  <a:lnTo>
                    <a:pt x="8" y="1"/>
                  </a:lnTo>
                  <a:lnTo>
                    <a:pt x="6" y="2"/>
                  </a:lnTo>
                  <a:lnTo>
                    <a:pt x="4" y="4"/>
                  </a:lnTo>
                  <a:lnTo>
                    <a:pt x="2" y="7"/>
                  </a:lnTo>
                  <a:lnTo>
                    <a:pt x="1" y="9"/>
                  </a:lnTo>
                  <a:lnTo>
                    <a:pt x="0" y="12"/>
                  </a:lnTo>
                  <a:lnTo>
                    <a:pt x="0" y="15"/>
                  </a:lnTo>
                  <a:lnTo>
                    <a:pt x="0" y="17"/>
                  </a:lnTo>
                  <a:lnTo>
                    <a:pt x="1" y="21"/>
                  </a:lnTo>
                  <a:lnTo>
                    <a:pt x="2" y="24"/>
                  </a:lnTo>
                  <a:lnTo>
                    <a:pt x="4" y="26"/>
                  </a:lnTo>
                  <a:lnTo>
                    <a:pt x="6" y="27"/>
                  </a:lnTo>
                  <a:lnTo>
                    <a:pt x="8" y="29"/>
                  </a:lnTo>
                  <a:lnTo>
                    <a:pt x="11" y="29"/>
                  </a:lnTo>
                  <a:lnTo>
                    <a:pt x="15" y="30"/>
                  </a:lnTo>
                  <a:lnTo>
                    <a:pt x="104" y="30"/>
                  </a:lnTo>
                  <a:lnTo>
                    <a:pt x="108" y="29"/>
                  </a:lnTo>
                  <a:lnTo>
                    <a:pt x="110" y="29"/>
                  </a:lnTo>
                  <a:lnTo>
                    <a:pt x="113" y="27"/>
                  </a:lnTo>
                  <a:lnTo>
                    <a:pt x="115" y="26"/>
                  </a:lnTo>
                  <a:lnTo>
                    <a:pt x="116" y="24"/>
                  </a:lnTo>
                  <a:lnTo>
                    <a:pt x="118" y="21"/>
                  </a:lnTo>
                  <a:lnTo>
                    <a:pt x="119" y="17"/>
                  </a:lnTo>
                  <a:lnTo>
                    <a:pt x="119" y="15"/>
                  </a:lnTo>
                  <a:lnTo>
                    <a:pt x="119" y="12"/>
                  </a:lnTo>
                  <a:lnTo>
                    <a:pt x="118" y="9"/>
                  </a:lnTo>
                  <a:lnTo>
                    <a:pt x="116" y="7"/>
                  </a:lnTo>
                  <a:lnTo>
                    <a:pt x="115" y="4"/>
                  </a:lnTo>
                  <a:lnTo>
                    <a:pt x="113" y="2"/>
                  </a:lnTo>
                  <a:lnTo>
                    <a:pt x="110" y="1"/>
                  </a:lnTo>
                  <a:lnTo>
                    <a:pt x="108" y="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405">
              <a:extLst>
                <a:ext uri="{FF2B5EF4-FFF2-40B4-BE49-F238E27FC236}">
                  <a16:creationId xmlns:a16="http://schemas.microsoft.com/office/drawing/2014/main" id="{800A31C3-9450-42AE-975D-E3CEB57B9003}"/>
                </a:ext>
              </a:extLst>
            </p:cNvPr>
            <p:cNvSpPr>
              <a:spLocks/>
            </p:cNvSpPr>
            <p:nvPr/>
          </p:nvSpPr>
          <p:spPr bwMode="auto">
            <a:xfrm>
              <a:off x="8289925" y="202882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2 h 30"/>
                <a:gd name="T18" fmla="*/ 0 w 149"/>
                <a:gd name="T19" fmla="*/ 15 h 30"/>
                <a:gd name="T20" fmla="*/ 0 w 149"/>
                <a:gd name="T21" fmla="*/ 18 h 30"/>
                <a:gd name="T22" fmla="*/ 1 w 149"/>
                <a:gd name="T23" fmla="*/ 20 h 30"/>
                <a:gd name="T24" fmla="*/ 2 w 149"/>
                <a:gd name="T25" fmla="*/ 24 h 30"/>
                <a:gd name="T26" fmla="*/ 4 w 149"/>
                <a:gd name="T27" fmla="*/ 26 h 30"/>
                <a:gd name="T28" fmla="*/ 6 w 149"/>
                <a:gd name="T29" fmla="*/ 27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7 h 30"/>
                <a:gd name="T44" fmla="*/ 145 w 149"/>
                <a:gd name="T45" fmla="*/ 26 h 30"/>
                <a:gd name="T46" fmla="*/ 146 w 149"/>
                <a:gd name="T47" fmla="*/ 24 h 30"/>
                <a:gd name="T48" fmla="*/ 148 w 149"/>
                <a:gd name="T49" fmla="*/ 20 h 30"/>
                <a:gd name="T50" fmla="*/ 149 w 149"/>
                <a:gd name="T51" fmla="*/ 18 h 30"/>
                <a:gd name="T52" fmla="*/ 149 w 149"/>
                <a:gd name="T53" fmla="*/ 15 h 30"/>
                <a:gd name="T54" fmla="*/ 149 w 149"/>
                <a:gd name="T55" fmla="*/ 12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7"/>
                  </a:lnTo>
                  <a:lnTo>
                    <a:pt x="8" y="29"/>
                  </a:lnTo>
                  <a:lnTo>
                    <a:pt x="12" y="30"/>
                  </a:lnTo>
                  <a:lnTo>
                    <a:pt x="15" y="30"/>
                  </a:lnTo>
                  <a:lnTo>
                    <a:pt x="134" y="30"/>
                  </a:lnTo>
                  <a:lnTo>
                    <a:pt x="138" y="30"/>
                  </a:lnTo>
                  <a:lnTo>
                    <a:pt x="140" y="29"/>
                  </a:lnTo>
                  <a:lnTo>
                    <a:pt x="143" y="27"/>
                  </a:lnTo>
                  <a:lnTo>
                    <a:pt x="145" y="26"/>
                  </a:lnTo>
                  <a:lnTo>
                    <a:pt x="146" y="24"/>
                  </a:lnTo>
                  <a:lnTo>
                    <a:pt x="148" y="20"/>
                  </a:lnTo>
                  <a:lnTo>
                    <a:pt x="149" y="18"/>
                  </a:lnTo>
                  <a:lnTo>
                    <a:pt x="149" y="15"/>
                  </a:lnTo>
                  <a:lnTo>
                    <a:pt x="149" y="12"/>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406">
              <a:extLst>
                <a:ext uri="{FF2B5EF4-FFF2-40B4-BE49-F238E27FC236}">
                  <a16:creationId xmlns:a16="http://schemas.microsoft.com/office/drawing/2014/main" id="{31E233B0-657C-4B9C-A6FD-62D82054AD0E}"/>
                </a:ext>
              </a:extLst>
            </p:cNvPr>
            <p:cNvSpPr>
              <a:spLocks/>
            </p:cNvSpPr>
            <p:nvPr/>
          </p:nvSpPr>
          <p:spPr bwMode="auto">
            <a:xfrm>
              <a:off x="8289925" y="204787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2 h 30"/>
                <a:gd name="T18" fmla="*/ 0 w 149"/>
                <a:gd name="T19" fmla="*/ 15 h 30"/>
                <a:gd name="T20" fmla="*/ 0 w 149"/>
                <a:gd name="T21" fmla="*/ 18 h 30"/>
                <a:gd name="T22" fmla="*/ 1 w 149"/>
                <a:gd name="T23" fmla="*/ 20 h 30"/>
                <a:gd name="T24" fmla="*/ 2 w 149"/>
                <a:gd name="T25" fmla="*/ 23 h 30"/>
                <a:gd name="T26" fmla="*/ 4 w 149"/>
                <a:gd name="T27" fmla="*/ 26 h 30"/>
                <a:gd name="T28" fmla="*/ 6 w 149"/>
                <a:gd name="T29" fmla="*/ 28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8 h 30"/>
                <a:gd name="T44" fmla="*/ 145 w 149"/>
                <a:gd name="T45" fmla="*/ 26 h 30"/>
                <a:gd name="T46" fmla="*/ 146 w 149"/>
                <a:gd name="T47" fmla="*/ 23 h 30"/>
                <a:gd name="T48" fmla="*/ 148 w 149"/>
                <a:gd name="T49" fmla="*/ 20 h 30"/>
                <a:gd name="T50" fmla="*/ 149 w 149"/>
                <a:gd name="T51" fmla="*/ 18 h 30"/>
                <a:gd name="T52" fmla="*/ 149 w 149"/>
                <a:gd name="T53" fmla="*/ 15 h 30"/>
                <a:gd name="T54" fmla="*/ 149 w 149"/>
                <a:gd name="T55" fmla="*/ 12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2"/>
                  </a:lnTo>
                  <a:lnTo>
                    <a:pt x="0" y="15"/>
                  </a:lnTo>
                  <a:lnTo>
                    <a:pt x="0" y="18"/>
                  </a:lnTo>
                  <a:lnTo>
                    <a:pt x="1" y="20"/>
                  </a:lnTo>
                  <a:lnTo>
                    <a:pt x="2" y="23"/>
                  </a:lnTo>
                  <a:lnTo>
                    <a:pt x="4" y="26"/>
                  </a:lnTo>
                  <a:lnTo>
                    <a:pt x="6" y="28"/>
                  </a:lnTo>
                  <a:lnTo>
                    <a:pt x="8" y="29"/>
                  </a:lnTo>
                  <a:lnTo>
                    <a:pt x="12" y="30"/>
                  </a:lnTo>
                  <a:lnTo>
                    <a:pt x="15" y="30"/>
                  </a:lnTo>
                  <a:lnTo>
                    <a:pt x="134" y="30"/>
                  </a:lnTo>
                  <a:lnTo>
                    <a:pt x="138" y="30"/>
                  </a:lnTo>
                  <a:lnTo>
                    <a:pt x="140" y="29"/>
                  </a:lnTo>
                  <a:lnTo>
                    <a:pt x="143" y="28"/>
                  </a:lnTo>
                  <a:lnTo>
                    <a:pt x="145" y="26"/>
                  </a:lnTo>
                  <a:lnTo>
                    <a:pt x="146" y="23"/>
                  </a:lnTo>
                  <a:lnTo>
                    <a:pt x="148" y="20"/>
                  </a:lnTo>
                  <a:lnTo>
                    <a:pt x="149" y="18"/>
                  </a:lnTo>
                  <a:lnTo>
                    <a:pt x="149" y="15"/>
                  </a:lnTo>
                  <a:lnTo>
                    <a:pt x="149" y="12"/>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407">
              <a:extLst>
                <a:ext uri="{FF2B5EF4-FFF2-40B4-BE49-F238E27FC236}">
                  <a16:creationId xmlns:a16="http://schemas.microsoft.com/office/drawing/2014/main" id="{9DC7BFB5-DB4A-4654-8F18-981B4BCBAA83}"/>
                </a:ext>
              </a:extLst>
            </p:cNvPr>
            <p:cNvSpPr>
              <a:spLocks/>
            </p:cNvSpPr>
            <p:nvPr/>
          </p:nvSpPr>
          <p:spPr bwMode="auto">
            <a:xfrm>
              <a:off x="8289925" y="206692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1 h 30"/>
                <a:gd name="T18" fmla="*/ 0 w 149"/>
                <a:gd name="T19" fmla="*/ 15 h 30"/>
                <a:gd name="T20" fmla="*/ 0 w 149"/>
                <a:gd name="T21" fmla="*/ 18 h 30"/>
                <a:gd name="T22" fmla="*/ 1 w 149"/>
                <a:gd name="T23" fmla="*/ 21 h 30"/>
                <a:gd name="T24" fmla="*/ 2 w 149"/>
                <a:gd name="T25" fmla="*/ 23 h 30"/>
                <a:gd name="T26" fmla="*/ 4 w 149"/>
                <a:gd name="T27" fmla="*/ 25 h 30"/>
                <a:gd name="T28" fmla="*/ 6 w 149"/>
                <a:gd name="T29" fmla="*/ 27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7 h 30"/>
                <a:gd name="T44" fmla="*/ 145 w 149"/>
                <a:gd name="T45" fmla="*/ 25 h 30"/>
                <a:gd name="T46" fmla="*/ 146 w 149"/>
                <a:gd name="T47" fmla="*/ 23 h 30"/>
                <a:gd name="T48" fmla="*/ 148 w 149"/>
                <a:gd name="T49" fmla="*/ 21 h 30"/>
                <a:gd name="T50" fmla="*/ 149 w 149"/>
                <a:gd name="T51" fmla="*/ 18 h 30"/>
                <a:gd name="T52" fmla="*/ 149 w 149"/>
                <a:gd name="T53" fmla="*/ 15 h 30"/>
                <a:gd name="T54" fmla="*/ 149 w 149"/>
                <a:gd name="T55" fmla="*/ 11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34" y="30"/>
                  </a:lnTo>
                  <a:lnTo>
                    <a:pt x="138" y="30"/>
                  </a:lnTo>
                  <a:lnTo>
                    <a:pt x="140" y="29"/>
                  </a:lnTo>
                  <a:lnTo>
                    <a:pt x="143" y="27"/>
                  </a:lnTo>
                  <a:lnTo>
                    <a:pt x="145" y="25"/>
                  </a:lnTo>
                  <a:lnTo>
                    <a:pt x="146" y="23"/>
                  </a:lnTo>
                  <a:lnTo>
                    <a:pt x="148" y="21"/>
                  </a:lnTo>
                  <a:lnTo>
                    <a:pt x="149" y="18"/>
                  </a:lnTo>
                  <a:lnTo>
                    <a:pt x="149" y="15"/>
                  </a:lnTo>
                  <a:lnTo>
                    <a:pt x="149" y="11"/>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408">
              <a:extLst>
                <a:ext uri="{FF2B5EF4-FFF2-40B4-BE49-F238E27FC236}">
                  <a16:creationId xmlns:a16="http://schemas.microsoft.com/office/drawing/2014/main" id="{8819E48D-C555-4637-A960-036F2ACB1D40}"/>
                </a:ext>
              </a:extLst>
            </p:cNvPr>
            <p:cNvSpPr>
              <a:spLocks/>
            </p:cNvSpPr>
            <p:nvPr/>
          </p:nvSpPr>
          <p:spPr bwMode="auto">
            <a:xfrm>
              <a:off x="8204200" y="2085975"/>
              <a:ext cx="133350" cy="9525"/>
            </a:xfrm>
            <a:custGeom>
              <a:avLst/>
              <a:gdLst>
                <a:gd name="T0" fmla="*/ 405 w 420"/>
                <a:gd name="T1" fmla="*/ 0 h 29"/>
                <a:gd name="T2" fmla="*/ 15 w 420"/>
                <a:gd name="T3" fmla="*/ 0 h 29"/>
                <a:gd name="T4" fmla="*/ 12 w 420"/>
                <a:gd name="T5" fmla="*/ 0 h 29"/>
                <a:gd name="T6" fmla="*/ 10 w 420"/>
                <a:gd name="T7" fmla="*/ 1 h 29"/>
                <a:gd name="T8" fmla="*/ 7 w 420"/>
                <a:gd name="T9" fmla="*/ 3 h 29"/>
                <a:gd name="T10" fmla="*/ 5 w 420"/>
                <a:gd name="T11" fmla="*/ 4 h 29"/>
                <a:gd name="T12" fmla="*/ 3 w 420"/>
                <a:gd name="T13" fmla="*/ 6 h 29"/>
                <a:gd name="T14" fmla="*/ 2 w 420"/>
                <a:gd name="T15" fmla="*/ 9 h 29"/>
                <a:gd name="T16" fmla="*/ 0 w 420"/>
                <a:gd name="T17" fmla="*/ 11 h 29"/>
                <a:gd name="T18" fmla="*/ 0 w 420"/>
                <a:gd name="T19" fmla="*/ 14 h 29"/>
                <a:gd name="T20" fmla="*/ 0 w 420"/>
                <a:gd name="T21" fmla="*/ 18 h 29"/>
                <a:gd name="T22" fmla="*/ 2 w 420"/>
                <a:gd name="T23" fmla="*/ 21 h 29"/>
                <a:gd name="T24" fmla="*/ 3 w 420"/>
                <a:gd name="T25" fmla="*/ 23 h 29"/>
                <a:gd name="T26" fmla="*/ 5 w 420"/>
                <a:gd name="T27" fmla="*/ 25 h 29"/>
                <a:gd name="T28" fmla="*/ 7 w 420"/>
                <a:gd name="T29" fmla="*/ 27 h 29"/>
                <a:gd name="T30" fmla="*/ 9 w 420"/>
                <a:gd name="T31" fmla="*/ 28 h 29"/>
                <a:gd name="T32" fmla="*/ 12 w 420"/>
                <a:gd name="T33" fmla="*/ 29 h 29"/>
                <a:gd name="T34" fmla="*/ 15 w 420"/>
                <a:gd name="T35" fmla="*/ 29 h 29"/>
                <a:gd name="T36" fmla="*/ 405 w 420"/>
                <a:gd name="T37" fmla="*/ 29 h 29"/>
                <a:gd name="T38" fmla="*/ 409 w 420"/>
                <a:gd name="T39" fmla="*/ 29 h 29"/>
                <a:gd name="T40" fmla="*/ 411 w 420"/>
                <a:gd name="T41" fmla="*/ 28 h 29"/>
                <a:gd name="T42" fmla="*/ 414 w 420"/>
                <a:gd name="T43" fmla="*/ 27 h 29"/>
                <a:gd name="T44" fmla="*/ 416 w 420"/>
                <a:gd name="T45" fmla="*/ 25 h 29"/>
                <a:gd name="T46" fmla="*/ 417 w 420"/>
                <a:gd name="T47" fmla="*/ 23 h 29"/>
                <a:gd name="T48" fmla="*/ 419 w 420"/>
                <a:gd name="T49" fmla="*/ 21 h 29"/>
                <a:gd name="T50" fmla="*/ 420 w 420"/>
                <a:gd name="T51" fmla="*/ 18 h 29"/>
                <a:gd name="T52" fmla="*/ 420 w 420"/>
                <a:gd name="T53" fmla="*/ 14 h 29"/>
                <a:gd name="T54" fmla="*/ 420 w 420"/>
                <a:gd name="T55" fmla="*/ 11 h 29"/>
                <a:gd name="T56" fmla="*/ 419 w 420"/>
                <a:gd name="T57" fmla="*/ 9 h 29"/>
                <a:gd name="T58" fmla="*/ 417 w 420"/>
                <a:gd name="T59" fmla="*/ 6 h 29"/>
                <a:gd name="T60" fmla="*/ 416 w 420"/>
                <a:gd name="T61" fmla="*/ 4 h 29"/>
                <a:gd name="T62" fmla="*/ 414 w 420"/>
                <a:gd name="T63" fmla="*/ 3 h 29"/>
                <a:gd name="T64" fmla="*/ 411 w 420"/>
                <a:gd name="T65" fmla="*/ 1 h 29"/>
                <a:gd name="T66" fmla="*/ 409 w 420"/>
                <a:gd name="T67" fmla="*/ 0 h 29"/>
                <a:gd name="T68" fmla="*/ 405 w 420"/>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29">
                  <a:moveTo>
                    <a:pt x="405" y="0"/>
                  </a:moveTo>
                  <a:lnTo>
                    <a:pt x="15" y="0"/>
                  </a:lnTo>
                  <a:lnTo>
                    <a:pt x="12" y="0"/>
                  </a:lnTo>
                  <a:lnTo>
                    <a:pt x="10" y="1"/>
                  </a:lnTo>
                  <a:lnTo>
                    <a:pt x="7" y="3"/>
                  </a:lnTo>
                  <a:lnTo>
                    <a:pt x="5" y="4"/>
                  </a:lnTo>
                  <a:lnTo>
                    <a:pt x="3" y="6"/>
                  </a:lnTo>
                  <a:lnTo>
                    <a:pt x="2" y="9"/>
                  </a:lnTo>
                  <a:lnTo>
                    <a:pt x="0" y="11"/>
                  </a:lnTo>
                  <a:lnTo>
                    <a:pt x="0" y="14"/>
                  </a:lnTo>
                  <a:lnTo>
                    <a:pt x="0" y="18"/>
                  </a:lnTo>
                  <a:lnTo>
                    <a:pt x="2" y="21"/>
                  </a:lnTo>
                  <a:lnTo>
                    <a:pt x="3" y="23"/>
                  </a:lnTo>
                  <a:lnTo>
                    <a:pt x="5" y="25"/>
                  </a:lnTo>
                  <a:lnTo>
                    <a:pt x="7" y="27"/>
                  </a:lnTo>
                  <a:lnTo>
                    <a:pt x="9" y="28"/>
                  </a:lnTo>
                  <a:lnTo>
                    <a:pt x="12" y="29"/>
                  </a:lnTo>
                  <a:lnTo>
                    <a:pt x="15" y="29"/>
                  </a:lnTo>
                  <a:lnTo>
                    <a:pt x="405" y="29"/>
                  </a:lnTo>
                  <a:lnTo>
                    <a:pt x="409" y="29"/>
                  </a:lnTo>
                  <a:lnTo>
                    <a:pt x="411" y="28"/>
                  </a:lnTo>
                  <a:lnTo>
                    <a:pt x="414" y="27"/>
                  </a:lnTo>
                  <a:lnTo>
                    <a:pt x="416" y="25"/>
                  </a:lnTo>
                  <a:lnTo>
                    <a:pt x="417" y="23"/>
                  </a:lnTo>
                  <a:lnTo>
                    <a:pt x="419" y="21"/>
                  </a:lnTo>
                  <a:lnTo>
                    <a:pt x="420" y="18"/>
                  </a:lnTo>
                  <a:lnTo>
                    <a:pt x="420" y="14"/>
                  </a:lnTo>
                  <a:lnTo>
                    <a:pt x="420" y="11"/>
                  </a:lnTo>
                  <a:lnTo>
                    <a:pt x="419" y="9"/>
                  </a:lnTo>
                  <a:lnTo>
                    <a:pt x="417" y="6"/>
                  </a:lnTo>
                  <a:lnTo>
                    <a:pt x="416" y="4"/>
                  </a:lnTo>
                  <a:lnTo>
                    <a:pt x="414" y="3"/>
                  </a:lnTo>
                  <a:lnTo>
                    <a:pt x="411" y="1"/>
                  </a:lnTo>
                  <a:lnTo>
                    <a:pt x="409" y="0"/>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409">
              <a:extLst>
                <a:ext uri="{FF2B5EF4-FFF2-40B4-BE49-F238E27FC236}">
                  <a16:creationId xmlns:a16="http://schemas.microsoft.com/office/drawing/2014/main" id="{3720630B-7CD1-4BFA-A1F1-07F5EBD4E04E}"/>
                </a:ext>
              </a:extLst>
            </p:cNvPr>
            <p:cNvSpPr>
              <a:spLocks/>
            </p:cNvSpPr>
            <p:nvPr/>
          </p:nvSpPr>
          <p:spPr bwMode="auto">
            <a:xfrm>
              <a:off x="8204200" y="2105025"/>
              <a:ext cx="133350" cy="9525"/>
            </a:xfrm>
            <a:custGeom>
              <a:avLst/>
              <a:gdLst>
                <a:gd name="T0" fmla="*/ 405 w 420"/>
                <a:gd name="T1" fmla="*/ 0 h 30"/>
                <a:gd name="T2" fmla="*/ 15 w 420"/>
                <a:gd name="T3" fmla="*/ 0 h 30"/>
                <a:gd name="T4" fmla="*/ 12 w 420"/>
                <a:gd name="T5" fmla="*/ 1 h 30"/>
                <a:gd name="T6" fmla="*/ 10 w 420"/>
                <a:gd name="T7" fmla="*/ 1 h 30"/>
                <a:gd name="T8" fmla="*/ 7 w 420"/>
                <a:gd name="T9" fmla="*/ 4 h 30"/>
                <a:gd name="T10" fmla="*/ 5 w 420"/>
                <a:gd name="T11" fmla="*/ 5 h 30"/>
                <a:gd name="T12" fmla="*/ 3 w 420"/>
                <a:gd name="T13" fmla="*/ 8 h 30"/>
                <a:gd name="T14" fmla="*/ 2 w 420"/>
                <a:gd name="T15" fmla="*/ 10 h 30"/>
                <a:gd name="T16" fmla="*/ 0 w 420"/>
                <a:gd name="T17" fmla="*/ 13 h 30"/>
                <a:gd name="T18" fmla="*/ 0 w 420"/>
                <a:gd name="T19" fmla="*/ 15 h 30"/>
                <a:gd name="T20" fmla="*/ 0 w 420"/>
                <a:gd name="T21" fmla="*/ 19 h 30"/>
                <a:gd name="T22" fmla="*/ 2 w 420"/>
                <a:gd name="T23" fmla="*/ 22 h 30"/>
                <a:gd name="T24" fmla="*/ 3 w 420"/>
                <a:gd name="T25" fmla="*/ 24 h 30"/>
                <a:gd name="T26" fmla="*/ 5 w 420"/>
                <a:gd name="T27" fmla="*/ 26 h 30"/>
                <a:gd name="T28" fmla="*/ 7 w 420"/>
                <a:gd name="T29" fmla="*/ 28 h 30"/>
                <a:gd name="T30" fmla="*/ 9 w 420"/>
                <a:gd name="T31" fmla="*/ 29 h 30"/>
                <a:gd name="T32" fmla="*/ 12 w 420"/>
                <a:gd name="T33" fmla="*/ 30 h 30"/>
                <a:gd name="T34" fmla="*/ 15 w 420"/>
                <a:gd name="T35" fmla="*/ 30 h 30"/>
                <a:gd name="T36" fmla="*/ 405 w 420"/>
                <a:gd name="T37" fmla="*/ 30 h 30"/>
                <a:gd name="T38" fmla="*/ 409 w 420"/>
                <a:gd name="T39" fmla="*/ 30 h 30"/>
                <a:gd name="T40" fmla="*/ 411 w 420"/>
                <a:gd name="T41" fmla="*/ 29 h 30"/>
                <a:gd name="T42" fmla="*/ 414 w 420"/>
                <a:gd name="T43" fmla="*/ 28 h 30"/>
                <a:gd name="T44" fmla="*/ 416 w 420"/>
                <a:gd name="T45" fmla="*/ 26 h 30"/>
                <a:gd name="T46" fmla="*/ 417 w 420"/>
                <a:gd name="T47" fmla="*/ 24 h 30"/>
                <a:gd name="T48" fmla="*/ 419 w 420"/>
                <a:gd name="T49" fmla="*/ 22 h 30"/>
                <a:gd name="T50" fmla="*/ 420 w 420"/>
                <a:gd name="T51" fmla="*/ 19 h 30"/>
                <a:gd name="T52" fmla="*/ 420 w 420"/>
                <a:gd name="T53" fmla="*/ 15 h 30"/>
                <a:gd name="T54" fmla="*/ 420 w 420"/>
                <a:gd name="T55" fmla="*/ 13 h 30"/>
                <a:gd name="T56" fmla="*/ 419 w 420"/>
                <a:gd name="T57" fmla="*/ 10 h 30"/>
                <a:gd name="T58" fmla="*/ 417 w 420"/>
                <a:gd name="T59" fmla="*/ 8 h 30"/>
                <a:gd name="T60" fmla="*/ 416 w 420"/>
                <a:gd name="T61" fmla="*/ 5 h 30"/>
                <a:gd name="T62" fmla="*/ 414 w 420"/>
                <a:gd name="T63" fmla="*/ 4 h 30"/>
                <a:gd name="T64" fmla="*/ 411 w 420"/>
                <a:gd name="T65" fmla="*/ 1 h 30"/>
                <a:gd name="T66" fmla="*/ 409 w 420"/>
                <a:gd name="T67" fmla="*/ 1 h 30"/>
                <a:gd name="T68" fmla="*/ 405 w 4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405" y="0"/>
                  </a:moveTo>
                  <a:lnTo>
                    <a:pt x="15" y="0"/>
                  </a:lnTo>
                  <a:lnTo>
                    <a:pt x="12" y="1"/>
                  </a:lnTo>
                  <a:lnTo>
                    <a:pt x="10" y="1"/>
                  </a:lnTo>
                  <a:lnTo>
                    <a:pt x="7" y="4"/>
                  </a:lnTo>
                  <a:lnTo>
                    <a:pt x="5" y="5"/>
                  </a:lnTo>
                  <a:lnTo>
                    <a:pt x="3" y="8"/>
                  </a:lnTo>
                  <a:lnTo>
                    <a:pt x="2" y="10"/>
                  </a:lnTo>
                  <a:lnTo>
                    <a:pt x="0" y="13"/>
                  </a:lnTo>
                  <a:lnTo>
                    <a:pt x="0" y="15"/>
                  </a:lnTo>
                  <a:lnTo>
                    <a:pt x="0" y="19"/>
                  </a:lnTo>
                  <a:lnTo>
                    <a:pt x="2" y="22"/>
                  </a:lnTo>
                  <a:lnTo>
                    <a:pt x="3" y="24"/>
                  </a:lnTo>
                  <a:lnTo>
                    <a:pt x="5" y="26"/>
                  </a:lnTo>
                  <a:lnTo>
                    <a:pt x="7" y="28"/>
                  </a:lnTo>
                  <a:lnTo>
                    <a:pt x="9" y="29"/>
                  </a:lnTo>
                  <a:lnTo>
                    <a:pt x="12" y="30"/>
                  </a:lnTo>
                  <a:lnTo>
                    <a:pt x="15" y="30"/>
                  </a:lnTo>
                  <a:lnTo>
                    <a:pt x="405" y="30"/>
                  </a:lnTo>
                  <a:lnTo>
                    <a:pt x="409" y="30"/>
                  </a:lnTo>
                  <a:lnTo>
                    <a:pt x="411" y="29"/>
                  </a:lnTo>
                  <a:lnTo>
                    <a:pt x="414" y="28"/>
                  </a:lnTo>
                  <a:lnTo>
                    <a:pt x="416" y="26"/>
                  </a:lnTo>
                  <a:lnTo>
                    <a:pt x="417" y="24"/>
                  </a:lnTo>
                  <a:lnTo>
                    <a:pt x="419" y="22"/>
                  </a:lnTo>
                  <a:lnTo>
                    <a:pt x="420" y="19"/>
                  </a:lnTo>
                  <a:lnTo>
                    <a:pt x="420" y="15"/>
                  </a:lnTo>
                  <a:lnTo>
                    <a:pt x="420" y="13"/>
                  </a:lnTo>
                  <a:lnTo>
                    <a:pt x="419" y="10"/>
                  </a:lnTo>
                  <a:lnTo>
                    <a:pt x="417" y="8"/>
                  </a:lnTo>
                  <a:lnTo>
                    <a:pt x="416" y="5"/>
                  </a:lnTo>
                  <a:lnTo>
                    <a:pt x="414" y="4"/>
                  </a:lnTo>
                  <a:lnTo>
                    <a:pt x="411" y="1"/>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410">
              <a:extLst>
                <a:ext uri="{FF2B5EF4-FFF2-40B4-BE49-F238E27FC236}">
                  <a16:creationId xmlns:a16="http://schemas.microsoft.com/office/drawing/2014/main" id="{5606805E-9F24-4C6D-954F-514973457757}"/>
                </a:ext>
              </a:extLst>
            </p:cNvPr>
            <p:cNvSpPr>
              <a:spLocks/>
            </p:cNvSpPr>
            <p:nvPr/>
          </p:nvSpPr>
          <p:spPr bwMode="auto">
            <a:xfrm>
              <a:off x="8204200" y="2124075"/>
              <a:ext cx="133350" cy="9525"/>
            </a:xfrm>
            <a:custGeom>
              <a:avLst/>
              <a:gdLst>
                <a:gd name="T0" fmla="*/ 405 w 420"/>
                <a:gd name="T1" fmla="*/ 0 h 31"/>
                <a:gd name="T2" fmla="*/ 15 w 420"/>
                <a:gd name="T3" fmla="*/ 0 h 31"/>
                <a:gd name="T4" fmla="*/ 12 w 420"/>
                <a:gd name="T5" fmla="*/ 1 h 31"/>
                <a:gd name="T6" fmla="*/ 10 w 420"/>
                <a:gd name="T7" fmla="*/ 2 h 31"/>
                <a:gd name="T8" fmla="*/ 7 w 420"/>
                <a:gd name="T9" fmla="*/ 3 h 31"/>
                <a:gd name="T10" fmla="*/ 5 w 420"/>
                <a:gd name="T11" fmla="*/ 6 h 31"/>
                <a:gd name="T12" fmla="*/ 3 w 420"/>
                <a:gd name="T13" fmla="*/ 8 h 31"/>
                <a:gd name="T14" fmla="*/ 2 w 420"/>
                <a:gd name="T15" fmla="*/ 10 h 31"/>
                <a:gd name="T16" fmla="*/ 0 w 420"/>
                <a:gd name="T17" fmla="*/ 13 h 31"/>
                <a:gd name="T18" fmla="*/ 0 w 420"/>
                <a:gd name="T19" fmla="*/ 16 h 31"/>
                <a:gd name="T20" fmla="*/ 0 w 420"/>
                <a:gd name="T21" fmla="*/ 18 h 31"/>
                <a:gd name="T22" fmla="*/ 2 w 420"/>
                <a:gd name="T23" fmla="*/ 22 h 31"/>
                <a:gd name="T24" fmla="*/ 3 w 420"/>
                <a:gd name="T25" fmla="*/ 24 h 31"/>
                <a:gd name="T26" fmla="*/ 5 w 420"/>
                <a:gd name="T27" fmla="*/ 26 h 31"/>
                <a:gd name="T28" fmla="*/ 7 w 420"/>
                <a:gd name="T29" fmla="*/ 28 h 31"/>
                <a:gd name="T30" fmla="*/ 9 w 420"/>
                <a:gd name="T31" fmla="*/ 29 h 31"/>
                <a:gd name="T32" fmla="*/ 12 w 420"/>
                <a:gd name="T33" fmla="*/ 30 h 31"/>
                <a:gd name="T34" fmla="*/ 15 w 420"/>
                <a:gd name="T35" fmla="*/ 31 h 31"/>
                <a:gd name="T36" fmla="*/ 405 w 420"/>
                <a:gd name="T37" fmla="*/ 31 h 31"/>
                <a:gd name="T38" fmla="*/ 409 w 420"/>
                <a:gd name="T39" fmla="*/ 30 h 31"/>
                <a:gd name="T40" fmla="*/ 411 w 420"/>
                <a:gd name="T41" fmla="*/ 29 h 31"/>
                <a:gd name="T42" fmla="*/ 414 w 420"/>
                <a:gd name="T43" fmla="*/ 28 h 31"/>
                <a:gd name="T44" fmla="*/ 416 w 420"/>
                <a:gd name="T45" fmla="*/ 26 h 31"/>
                <a:gd name="T46" fmla="*/ 417 w 420"/>
                <a:gd name="T47" fmla="*/ 24 h 31"/>
                <a:gd name="T48" fmla="*/ 419 w 420"/>
                <a:gd name="T49" fmla="*/ 22 h 31"/>
                <a:gd name="T50" fmla="*/ 420 w 420"/>
                <a:gd name="T51" fmla="*/ 18 h 31"/>
                <a:gd name="T52" fmla="*/ 420 w 420"/>
                <a:gd name="T53" fmla="*/ 16 h 31"/>
                <a:gd name="T54" fmla="*/ 420 w 420"/>
                <a:gd name="T55" fmla="*/ 13 h 31"/>
                <a:gd name="T56" fmla="*/ 419 w 420"/>
                <a:gd name="T57" fmla="*/ 10 h 31"/>
                <a:gd name="T58" fmla="*/ 417 w 420"/>
                <a:gd name="T59" fmla="*/ 8 h 31"/>
                <a:gd name="T60" fmla="*/ 416 w 420"/>
                <a:gd name="T61" fmla="*/ 6 h 31"/>
                <a:gd name="T62" fmla="*/ 414 w 420"/>
                <a:gd name="T63" fmla="*/ 3 h 31"/>
                <a:gd name="T64" fmla="*/ 411 w 420"/>
                <a:gd name="T65" fmla="*/ 2 h 31"/>
                <a:gd name="T66" fmla="*/ 409 w 420"/>
                <a:gd name="T67" fmla="*/ 1 h 31"/>
                <a:gd name="T68" fmla="*/ 405 w 42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1">
                  <a:moveTo>
                    <a:pt x="405" y="0"/>
                  </a:moveTo>
                  <a:lnTo>
                    <a:pt x="15" y="0"/>
                  </a:lnTo>
                  <a:lnTo>
                    <a:pt x="12" y="1"/>
                  </a:lnTo>
                  <a:lnTo>
                    <a:pt x="10" y="2"/>
                  </a:lnTo>
                  <a:lnTo>
                    <a:pt x="7" y="3"/>
                  </a:lnTo>
                  <a:lnTo>
                    <a:pt x="5" y="6"/>
                  </a:lnTo>
                  <a:lnTo>
                    <a:pt x="3" y="8"/>
                  </a:lnTo>
                  <a:lnTo>
                    <a:pt x="2" y="10"/>
                  </a:lnTo>
                  <a:lnTo>
                    <a:pt x="0" y="13"/>
                  </a:lnTo>
                  <a:lnTo>
                    <a:pt x="0" y="16"/>
                  </a:lnTo>
                  <a:lnTo>
                    <a:pt x="0" y="18"/>
                  </a:lnTo>
                  <a:lnTo>
                    <a:pt x="2" y="22"/>
                  </a:lnTo>
                  <a:lnTo>
                    <a:pt x="3" y="24"/>
                  </a:lnTo>
                  <a:lnTo>
                    <a:pt x="5" y="26"/>
                  </a:lnTo>
                  <a:lnTo>
                    <a:pt x="7" y="28"/>
                  </a:lnTo>
                  <a:lnTo>
                    <a:pt x="9" y="29"/>
                  </a:lnTo>
                  <a:lnTo>
                    <a:pt x="12" y="30"/>
                  </a:lnTo>
                  <a:lnTo>
                    <a:pt x="15" y="31"/>
                  </a:lnTo>
                  <a:lnTo>
                    <a:pt x="405" y="31"/>
                  </a:lnTo>
                  <a:lnTo>
                    <a:pt x="409" y="30"/>
                  </a:lnTo>
                  <a:lnTo>
                    <a:pt x="411" y="29"/>
                  </a:lnTo>
                  <a:lnTo>
                    <a:pt x="414" y="28"/>
                  </a:lnTo>
                  <a:lnTo>
                    <a:pt x="416" y="26"/>
                  </a:lnTo>
                  <a:lnTo>
                    <a:pt x="417" y="24"/>
                  </a:lnTo>
                  <a:lnTo>
                    <a:pt x="419" y="22"/>
                  </a:lnTo>
                  <a:lnTo>
                    <a:pt x="420" y="18"/>
                  </a:lnTo>
                  <a:lnTo>
                    <a:pt x="420" y="16"/>
                  </a:lnTo>
                  <a:lnTo>
                    <a:pt x="420" y="13"/>
                  </a:lnTo>
                  <a:lnTo>
                    <a:pt x="419" y="10"/>
                  </a:lnTo>
                  <a:lnTo>
                    <a:pt x="417" y="8"/>
                  </a:lnTo>
                  <a:lnTo>
                    <a:pt x="416" y="6"/>
                  </a:lnTo>
                  <a:lnTo>
                    <a:pt x="414" y="3"/>
                  </a:lnTo>
                  <a:lnTo>
                    <a:pt x="411" y="2"/>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411">
              <a:extLst>
                <a:ext uri="{FF2B5EF4-FFF2-40B4-BE49-F238E27FC236}">
                  <a16:creationId xmlns:a16="http://schemas.microsoft.com/office/drawing/2014/main" id="{EE711EB0-B3C1-4A45-9E20-561DD3B3012D}"/>
                </a:ext>
              </a:extLst>
            </p:cNvPr>
            <p:cNvSpPr>
              <a:spLocks/>
            </p:cNvSpPr>
            <p:nvPr/>
          </p:nvSpPr>
          <p:spPr bwMode="auto">
            <a:xfrm>
              <a:off x="8204200" y="2143125"/>
              <a:ext cx="133350" cy="9525"/>
            </a:xfrm>
            <a:custGeom>
              <a:avLst/>
              <a:gdLst>
                <a:gd name="T0" fmla="*/ 405 w 420"/>
                <a:gd name="T1" fmla="*/ 0 h 30"/>
                <a:gd name="T2" fmla="*/ 15 w 420"/>
                <a:gd name="T3" fmla="*/ 0 h 30"/>
                <a:gd name="T4" fmla="*/ 12 w 420"/>
                <a:gd name="T5" fmla="*/ 0 h 30"/>
                <a:gd name="T6" fmla="*/ 10 w 420"/>
                <a:gd name="T7" fmla="*/ 1 h 30"/>
                <a:gd name="T8" fmla="*/ 7 w 420"/>
                <a:gd name="T9" fmla="*/ 2 h 30"/>
                <a:gd name="T10" fmla="*/ 5 w 420"/>
                <a:gd name="T11" fmla="*/ 4 h 30"/>
                <a:gd name="T12" fmla="*/ 3 w 420"/>
                <a:gd name="T13" fmla="*/ 7 h 30"/>
                <a:gd name="T14" fmla="*/ 2 w 420"/>
                <a:gd name="T15" fmla="*/ 9 h 30"/>
                <a:gd name="T16" fmla="*/ 0 w 420"/>
                <a:gd name="T17" fmla="*/ 12 h 30"/>
                <a:gd name="T18" fmla="*/ 0 w 420"/>
                <a:gd name="T19" fmla="*/ 15 h 30"/>
                <a:gd name="T20" fmla="*/ 0 w 420"/>
                <a:gd name="T21" fmla="*/ 17 h 30"/>
                <a:gd name="T22" fmla="*/ 2 w 420"/>
                <a:gd name="T23" fmla="*/ 20 h 30"/>
                <a:gd name="T24" fmla="*/ 3 w 420"/>
                <a:gd name="T25" fmla="*/ 24 h 30"/>
                <a:gd name="T26" fmla="*/ 5 w 420"/>
                <a:gd name="T27" fmla="*/ 26 h 30"/>
                <a:gd name="T28" fmla="*/ 7 w 420"/>
                <a:gd name="T29" fmla="*/ 27 h 30"/>
                <a:gd name="T30" fmla="*/ 9 w 420"/>
                <a:gd name="T31" fmla="*/ 29 h 30"/>
                <a:gd name="T32" fmla="*/ 12 w 420"/>
                <a:gd name="T33" fmla="*/ 29 h 30"/>
                <a:gd name="T34" fmla="*/ 15 w 420"/>
                <a:gd name="T35" fmla="*/ 30 h 30"/>
                <a:gd name="T36" fmla="*/ 405 w 420"/>
                <a:gd name="T37" fmla="*/ 30 h 30"/>
                <a:gd name="T38" fmla="*/ 409 w 420"/>
                <a:gd name="T39" fmla="*/ 29 h 30"/>
                <a:gd name="T40" fmla="*/ 411 w 420"/>
                <a:gd name="T41" fmla="*/ 29 h 30"/>
                <a:gd name="T42" fmla="*/ 414 w 420"/>
                <a:gd name="T43" fmla="*/ 27 h 30"/>
                <a:gd name="T44" fmla="*/ 416 w 420"/>
                <a:gd name="T45" fmla="*/ 26 h 30"/>
                <a:gd name="T46" fmla="*/ 417 w 420"/>
                <a:gd name="T47" fmla="*/ 24 h 30"/>
                <a:gd name="T48" fmla="*/ 419 w 420"/>
                <a:gd name="T49" fmla="*/ 20 h 30"/>
                <a:gd name="T50" fmla="*/ 420 w 420"/>
                <a:gd name="T51" fmla="*/ 17 h 30"/>
                <a:gd name="T52" fmla="*/ 420 w 420"/>
                <a:gd name="T53" fmla="*/ 15 h 30"/>
                <a:gd name="T54" fmla="*/ 420 w 420"/>
                <a:gd name="T55" fmla="*/ 12 h 30"/>
                <a:gd name="T56" fmla="*/ 419 w 420"/>
                <a:gd name="T57" fmla="*/ 9 h 30"/>
                <a:gd name="T58" fmla="*/ 417 w 420"/>
                <a:gd name="T59" fmla="*/ 7 h 30"/>
                <a:gd name="T60" fmla="*/ 416 w 420"/>
                <a:gd name="T61" fmla="*/ 4 h 30"/>
                <a:gd name="T62" fmla="*/ 414 w 420"/>
                <a:gd name="T63" fmla="*/ 2 h 30"/>
                <a:gd name="T64" fmla="*/ 411 w 420"/>
                <a:gd name="T65" fmla="*/ 1 h 30"/>
                <a:gd name="T66" fmla="*/ 409 w 420"/>
                <a:gd name="T67" fmla="*/ 0 h 30"/>
                <a:gd name="T68" fmla="*/ 405 w 4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405" y="0"/>
                  </a:moveTo>
                  <a:lnTo>
                    <a:pt x="15" y="0"/>
                  </a:lnTo>
                  <a:lnTo>
                    <a:pt x="12" y="0"/>
                  </a:lnTo>
                  <a:lnTo>
                    <a:pt x="10" y="1"/>
                  </a:lnTo>
                  <a:lnTo>
                    <a:pt x="7" y="2"/>
                  </a:lnTo>
                  <a:lnTo>
                    <a:pt x="5" y="4"/>
                  </a:lnTo>
                  <a:lnTo>
                    <a:pt x="3" y="7"/>
                  </a:lnTo>
                  <a:lnTo>
                    <a:pt x="2" y="9"/>
                  </a:lnTo>
                  <a:lnTo>
                    <a:pt x="0" y="12"/>
                  </a:lnTo>
                  <a:lnTo>
                    <a:pt x="0" y="15"/>
                  </a:lnTo>
                  <a:lnTo>
                    <a:pt x="0" y="17"/>
                  </a:lnTo>
                  <a:lnTo>
                    <a:pt x="2" y="20"/>
                  </a:lnTo>
                  <a:lnTo>
                    <a:pt x="3" y="24"/>
                  </a:lnTo>
                  <a:lnTo>
                    <a:pt x="5" y="26"/>
                  </a:lnTo>
                  <a:lnTo>
                    <a:pt x="7" y="27"/>
                  </a:lnTo>
                  <a:lnTo>
                    <a:pt x="9" y="29"/>
                  </a:lnTo>
                  <a:lnTo>
                    <a:pt x="12" y="29"/>
                  </a:lnTo>
                  <a:lnTo>
                    <a:pt x="15" y="30"/>
                  </a:lnTo>
                  <a:lnTo>
                    <a:pt x="405" y="30"/>
                  </a:lnTo>
                  <a:lnTo>
                    <a:pt x="409" y="29"/>
                  </a:lnTo>
                  <a:lnTo>
                    <a:pt x="411" y="29"/>
                  </a:lnTo>
                  <a:lnTo>
                    <a:pt x="414" y="27"/>
                  </a:lnTo>
                  <a:lnTo>
                    <a:pt x="416" y="26"/>
                  </a:lnTo>
                  <a:lnTo>
                    <a:pt x="417" y="24"/>
                  </a:lnTo>
                  <a:lnTo>
                    <a:pt x="419" y="20"/>
                  </a:lnTo>
                  <a:lnTo>
                    <a:pt x="420" y="17"/>
                  </a:lnTo>
                  <a:lnTo>
                    <a:pt x="420" y="15"/>
                  </a:lnTo>
                  <a:lnTo>
                    <a:pt x="420" y="12"/>
                  </a:lnTo>
                  <a:lnTo>
                    <a:pt x="419" y="9"/>
                  </a:lnTo>
                  <a:lnTo>
                    <a:pt x="417" y="7"/>
                  </a:lnTo>
                  <a:lnTo>
                    <a:pt x="416" y="4"/>
                  </a:lnTo>
                  <a:lnTo>
                    <a:pt x="414" y="2"/>
                  </a:lnTo>
                  <a:lnTo>
                    <a:pt x="411" y="1"/>
                  </a:lnTo>
                  <a:lnTo>
                    <a:pt x="409" y="0"/>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412">
              <a:extLst>
                <a:ext uri="{FF2B5EF4-FFF2-40B4-BE49-F238E27FC236}">
                  <a16:creationId xmlns:a16="http://schemas.microsoft.com/office/drawing/2014/main" id="{20C3FEA4-2A86-407E-997C-1E9972327910}"/>
                </a:ext>
              </a:extLst>
            </p:cNvPr>
            <p:cNvSpPr>
              <a:spLocks noEditPoints="1"/>
            </p:cNvSpPr>
            <p:nvPr/>
          </p:nvSpPr>
          <p:spPr bwMode="auto">
            <a:xfrm>
              <a:off x="8166100" y="1924050"/>
              <a:ext cx="285750" cy="285750"/>
            </a:xfrm>
            <a:custGeom>
              <a:avLst/>
              <a:gdLst>
                <a:gd name="T0" fmla="*/ 867 w 899"/>
                <a:gd name="T1" fmla="*/ 786 h 899"/>
                <a:gd name="T2" fmla="*/ 857 w 899"/>
                <a:gd name="T3" fmla="*/ 815 h 899"/>
                <a:gd name="T4" fmla="*/ 839 w 899"/>
                <a:gd name="T5" fmla="*/ 839 h 899"/>
                <a:gd name="T6" fmla="*/ 814 w 899"/>
                <a:gd name="T7" fmla="*/ 857 h 899"/>
                <a:gd name="T8" fmla="*/ 785 w 899"/>
                <a:gd name="T9" fmla="*/ 867 h 899"/>
                <a:gd name="T10" fmla="*/ 753 w 899"/>
                <a:gd name="T11" fmla="*/ 870 h 899"/>
                <a:gd name="T12" fmla="*/ 723 w 899"/>
                <a:gd name="T13" fmla="*/ 861 h 899"/>
                <a:gd name="T14" fmla="*/ 698 w 899"/>
                <a:gd name="T15" fmla="*/ 846 h 899"/>
                <a:gd name="T16" fmla="*/ 677 w 899"/>
                <a:gd name="T17" fmla="*/ 824 h 899"/>
                <a:gd name="T18" fmla="*/ 664 w 899"/>
                <a:gd name="T19" fmla="*/ 796 h 899"/>
                <a:gd name="T20" fmla="*/ 659 w 899"/>
                <a:gd name="T21" fmla="*/ 765 h 899"/>
                <a:gd name="T22" fmla="*/ 719 w 899"/>
                <a:gd name="T23" fmla="*/ 765 h 899"/>
                <a:gd name="T24" fmla="*/ 727 w 899"/>
                <a:gd name="T25" fmla="*/ 789 h 899"/>
                <a:gd name="T26" fmla="*/ 747 w 899"/>
                <a:gd name="T27" fmla="*/ 807 h 899"/>
                <a:gd name="T28" fmla="*/ 773 w 899"/>
                <a:gd name="T29" fmla="*/ 809 h 899"/>
                <a:gd name="T30" fmla="*/ 796 w 899"/>
                <a:gd name="T31" fmla="*/ 797 h 899"/>
                <a:gd name="T32" fmla="*/ 809 w 899"/>
                <a:gd name="T33" fmla="*/ 773 h 899"/>
                <a:gd name="T34" fmla="*/ 809 w 899"/>
                <a:gd name="T35" fmla="*/ 192 h 899"/>
                <a:gd name="T36" fmla="*/ 804 w 899"/>
                <a:gd name="T37" fmla="*/ 185 h 899"/>
                <a:gd name="T38" fmla="*/ 797 w 899"/>
                <a:gd name="T39" fmla="*/ 180 h 899"/>
                <a:gd name="T40" fmla="*/ 749 w 899"/>
                <a:gd name="T41" fmla="*/ 149 h 899"/>
                <a:gd name="T42" fmla="*/ 134 w 899"/>
                <a:gd name="T43" fmla="*/ 870 h 899"/>
                <a:gd name="T44" fmla="*/ 100 w 899"/>
                <a:gd name="T45" fmla="*/ 865 h 899"/>
                <a:gd name="T46" fmla="*/ 71 w 899"/>
                <a:gd name="T47" fmla="*/ 854 h 899"/>
                <a:gd name="T48" fmla="*/ 50 w 899"/>
                <a:gd name="T49" fmla="*/ 835 h 899"/>
                <a:gd name="T50" fmla="*/ 36 w 899"/>
                <a:gd name="T51" fmla="*/ 810 h 899"/>
                <a:gd name="T52" fmla="*/ 30 w 899"/>
                <a:gd name="T53" fmla="*/ 777 h 899"/>
                <a:gd name="T54" fmla="*/ 629 w 899"/>
                <a:gd name="T55" fmla="*/ 30 h 899"/>
                <a:gd name="T56" fmla="*/ 632 w 899"/>
                <a:gd name="T57" fmla="*/ 796 h 899"/>
                <a:gd name="T58" fmla="*/ 650 w 899"/>
                <a:gd name="T59" fmla="*/ 836 h 899"/>
                <a:gd name="T60" fmla="*/ 679 w 899"/>
                <a:gd name="T61" fmla="*/ 870 h 899"/>
                <a:gd name="T62" fmla="*/ 779 w 899"/>
                <a:gd name="T63" fmla="*/ 209 h 899"/>
                <a:gd name="T64" fmla="*/ 778 w 899"/>
                <a:gd name="T65" fmla="*/ 770 h 899"/>
                <a:gd name="T66" fmla="*/ 772 w 899"/>
                <a:gd name="T67" fmla="*/ 777 h 899"/>
                <a:gd name="T68" fmla="*/ 764 w 899"/>
                <a:gd name="T69" fmla="*/ 780 h 899"/>
                <a:gd name="T70" fmla="*/ 756 w 899"/>
                <a:gd name="T71" fmla="*/ 777 h 899"/>
                <a:gd name="T72" fmla="*/ 750 w 899"/>
                <a:gd name="T73" fmla="*/ 770 h 899"/>
                <a:gd name="T74" fmla="*/ 749 w 899"/>
                <a:gd name="T75" fmla="*/ 209 h 899"/>
                <a:gd name="T76" fmla="*/ 749 w 899"/>
                <a:gd name="T77" fmla="*/ 75 h 899"/>
                <a:gd name="T78" fmla="*/ 747 w 899"/>
                <a:gd name="T79" fmla="*/ 66 h 899"/>
                <a:gd name="T80" fmla="*/ 740 w 899"/>
                <a:gd name="T81" fmla="*/ 61 h 899"/>
                <a:gd name="T82" fmla="*/ 659 w 899"/>
                <a:gd name="T83" fmla="*/ 60 h 899"/>
                <a:gd name="T84" fmla="*/ 658 w 899"/>
                <a:gd name="T85" fmla="*/ 10 h 899"/>
                <a:gd name="T86" fmla="*/ 653 w 899"/>
                <a:gd name="T87" fmla="*/ 2 h 899"/>
                <a:gd name="T88" fmla="*/ 644 w 899"/>
                <a:gd name="T89" fmla="*/ 0 h 899"/>
                <a:gd name="T90" fmla="*/ 8 w 899"/>
                <a:gd name="T91" fmla="*/ 1 h 899"/>
                <a:gd name="T92" fmla="*/ 2 w 899"/>
                <a:gd name="T93" fmla="*/ 6 h 899"/>
                <a:gd name="T94" fmla="*/ 0 w 899"/>
                <a:gd name="T95" fmla="*/ 15 h 899"/>
                <a:gd name="T96" fmla="*/ 2 w 899"/>
                <a:gd name="T97" fmla="*/ 795 h 899"/>
                <a:gd name="T98" fmla="*/ 14 w 899"/>
                <a:gd name="T99" fmla="*/ 833 h 899"/>
                <a:gd name="T100" fmla="*/ 36 w 899"/>
                <a:gd name="T101" fmla="*/ 863 h 899"/>
                <a:gd name="T102" fmla="*/ 66 w 899"/>
                <a:gd name="T103" fmla="*/ 886 h 899"/>
                <a:gd name="T104" fmla="*/ 105 w 899"/>
                <a:gd name="T105" fmla="*/ 897 h 899"/>
                <a:gd name="T106" fmla="*/ 764 w 899"/>
                <a:gd name="T107" fmla="*/ 899 h 899"/>
                <a:gd name="T108" fmla="*/ 804 w 899"/>
                <a:gd name="T109" fmla="*/ 893 h 899"/>
                <a:gd name="T110" fmla="*/ 840 w 899"/>
                <a:gd name="T111" fmla="*/ 877 h 899"/>
                <a:gd name="T112" fmla="*/ 868 w 899"/>
                <a:gd name="T113" fmla="*/ 850 h 899"/>
                <a:gd name="T114" fmla="*/ 889 w 899"/>
                <a:gd name="T115" fmla="*/ 817 h 899"/>
                <a:gd name="T116" fmla="*/ 898 w 899"/>
                <a:gd name="T117" fmla="*/ 779 h 899"/>
                <a:gd name="T118" fmla="*/ 898 w 899"/>
                <a:gd name="T119" fmla="*/ 131 h 899"/>
                <a:gd name="T120" fmla="*/ 895 w 899"/>
                <a:gd name="T121" fmla="*/ 124 h 899"/>
                <a:gd name="T122" fmla="*/ 888 w 899"/>
                <a:gd name="T123" fmla="*/ 1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9" h="899">
                  <a:moveTo>
                    <a:pt x="870" y="765"/>
                  </a:moveTo>
                  <a:lnTo>
                    <a:pt x="868" y="776"/>
                  </a:lnTo>
                  <a:lnTo>
                    <a:pt x="867" y="786"/>
                  </a:lnTo>
                  <a:lnTo>
                    <a:pt x="864" y="796"/>
                  </a:lnTo>
                  <a:lnTo>
                    <a:pt x="861" y="805"/>
                  </a:lnTo>
                  <a:lnTo>
                    <a:pt x="857" y="815"/>
                  </a:lnTo>
                  <a:lnTo>
                    <a:pt x="851" y="824"/>
                  </a:lnTo>
                  <a:lnTo>
                    <a:pt x="845" y="831"/>
                  </a:lnTo>
                  <a:lnTo>
                    <a:pt x="839" y="839"/>
                  </a:lnTo>
                  <a:lnTo>
                    <a:pt x="831" y="846"/>
                  </a:lnTo>
                  <a:lnTo>
                    <a:pt x="823" y="851"/>
                  </a:lnTo>
                  <a:lnTo>
                    <a:pt x="814" y="857"/>
                  </a:lnTo>
                  <a:lnTo>
                    <a:pt x="805" y="861"/>
                  </a:lnTo>
                  <a:lnTo>
                    <a:pt x="796" y="865"/>
                  </a:lnTo>
                  <a:lnTo>
                    <a:pt x="785" y="867"/>
                  </a:lnTo>
                  <a:lnTo>
                    <a:pt x="774" y="870"/>
                  </a:lnTo>
                  <a:lnTo>
                    <a:pt x="764" y="870"/>
                  </a:lnTo>
                  <a:lnTo>
                    <a:pt x="753" y="870"/>
                  </a:lnTo>
                  <a:lnTo>
                    <a:pt x="743" y="867"/>
                  </a:lnTo>
                  <a:lnTo>
                    <a:pt x="733" y="865"/>
                  </a:lnTo>
                  <a:lnTo>
                    <a:pt x="723" y="861"/>
                  </a:lnTo>
                  <a:lnTo>
                    <a:pt x="715" y="857"/>
                  </a:lnTo>
                  <a:lnTo>
                    <a:pt x="706" y="851"/>
                  </a:lnTo>
                  <a:lnTo>
                    <a:pt x="698" y="846"/>
                  </a:lnTo>
                  <a:lnTo>
                    <a:pt x="690" y="839"/>
                  </a:lnTo>
                  <a:lnTo>
                    <a:pt x="684" y="831"/>
                  </a:lnTo>
                  <a:lnTo>
                    <a:pt x="677" y="824"/>
                  </a:lnTo>
                  <a:lnTo>
                    <a:pt x="672" y="815"/>
                  </a:lnTo>
                  <a:lnTo>
                    <a:pt x="668" y="805"/>
                  </a:lnTo>
                  <a:lnTo>
                    <a:pt x="664" y="796"/>
                  </a:lnTo>
                  <a:lnTo>
                    <a:pt x="661" y="786"/>
                  </a:lnTo>
                  <a:lnTo>
                    <a:pt x="660" y="776"/>
                  </a:lnTo>
                  <a:lnTo>
                    <a:pt x="659" y="765"/>
                  </a:lnTo>
                  <a:lnTo>
                    <a:pt x="659" y="90"/>
                  </a:lnTo>
                  <a:lnTo>
                    <a:pt x="719" y="90"/>
                  </a:lnTo>
                  <a:lnTo>
                    <a:pt x="719" y="765"/>
                  </a:lnTo>
                  <a:lnTo>
                    <a:pt x="720" y="773"/>
                  </a:lnTo>
                  <a:lnTo>
                    <a:pt x="723" y="782"/>
                  </a:lnTo>
                  <a:lnTo>
                    <a:pt x="727" y="789"/>
                  </a:lnTo>
                  <a:lnTo>
                    <a:pt x="733" y="797"/>
                  </a:lnTo>
                  <a:lnTo>
                    <a:pt x="739" y="802"/>
                  </a:lnTo>
                  <a:lnTo>
                    <a:pt x="747" y="807"/>
                  </a:lnTo>
                  <a:lnTo>
                    <a:pt x="755" y="809"/>
                  </a:lnTo>
                  <a:lnTo>
                    <a:pt x="764" y="810"/>
                  </a:lnTo>
                  <a:lnTo>
                    <a:pt x="773" y="809"/>
                  </a:lnTo>
                  <a:lnTo>
                    <a:pt x="782" y="807"/>
                  </a:lnTo>
                  <a:lnTo>
                    <a:pt x="789" y="802"/>
                  </a:lnTo>
                  <a:lnTo>
                    <a:pt x="796" y="797"/>
                  </a:lnTo>
                  <a:lnTo>
                    <a:pt x="801" y="789"/>
                  </a:lnTo>
                  <a:lnTo>
                    <a:pt x="805" y="782"/>
                  </a:lnTo>
                  <a:lnTo>
                    <a:pt x="809" y="773"/>
                  </a:lnTo>
                  <a:lnTo>
                    <a:pt x="810" y="765"/>
                  </a:lnTo>
                  <a:lnTo>
                    <a:pt x="810" y="194"/>
                  </a:lnTo>
                  <a:lnTo>
                    <a:pt x="809" y="192"/>
                  </a:lnTo>
                  <a:lnTo>
                    <a:pt x="808" y="189"/>
                  </a:lnTo>
                  <a:lnTo>
                    <a:pt x="806" y="187"/>
                  </a:lnTo>
                  <a:lnTo>
                    <a:pt x="804" y="185"/>
                  </a:lnTo>
                  <a:lnTo>
                    <a:pt x="802" y="183"/>
                  </a:lnTo>
                  <a:lnTo>
                    <a:pt x="800" y="182"/>
                  </a:lnTo>
                  <a:lnTo>
                    <a:pt x="797" y="180"/>
                  </a:lnTo>
                  <a:lnTo>
                    <a:pt x="794" y="179"/>
                  </a:lnTo>
                  <a:lnTo>
                    <a:pt x="749" y="179"/>
                  </a:lnTo>
                  <a:lnTo>
                    <a:pt x="749" y="149"/>
                  </a:lnTo>
                  <a:lnTo>
                    <a:pt x="870" y="149"/>
                  </a:lnTo>
                  <a:lnTo>
                    <a:pt x="870" y="765"/>
                  </a:lnTo>
                  <a:close/>
                  <a:moveTo>
                    <a:pt x="134" y="870"/>
                  </a:moveTo>
                  <a:lnTo>
                    <a:pt x="123" y="870"/>
                  </a:lnTo>
                  <a:lnTo>
                    <a:pt x="111" y="867"/>
                  </a:lnTo>
                  <a:lnTo>
                    <a:pt x="100" y="865"/>
                  </a:lnTo>
                  <a:lnTo>
                    <a:pt x="90" y="862"/>
                  </a:lnTo>
                  <a:lnTo>
                    <a:pt x="80" y="859"/>
                  </a:lnTo>
                  <a:lnTo>
                    <a:pt x="71" y="854"/>
                  </a:lnTo>
                  <a:lnTo>
                    <a:pt x="64" y="848"/>
                  </a:lnTo>
                  <a:lnTo>
                    <a:pt x="56" y="842"/>
                  </a:lnTo>
                  <a:lnTo>
                    <a:pt x="50" y="835"/>
                  </a:lnTo>
                  <a:lnTo>
                    <a:pt x="45" y="827"/>
                  </a:lnTo>
                  <a:lnTo>
                    <a:pt x="40" y="818"/>
                  </a:lnTo>
                  <a:lnTo>
                    <a:pt x="36" y="810"/>
                  </a:lnTo>
                  <a:lnTo>
                    <a:pt x="33" y="799"/>
                  </a:lnTo>
                  <a:lnTo>
                    <a:pt x="31" y="788"/>
                  </a:lnTo>
                  <a:lnTo>
                    <a:pt x="30" y="777"/>
                  </a:lnTo>
                  <a:lnTo>
                    <a:pt x="30" y="765"/>
                  </a:lnTo>
                  <a:lnTo>
                    <a:pt x="30" y="30"/>
                  </a:lnTo>
                  <a:lnTo>
                    <a:pt x="629" y="30"/>
                  </a:lnTo>
                  <a:lnTo>
                    <a:pt x="629" y="765"/>
                  </a:lnTo>
                  <a:lnTo>
                    <a:pt x="630" y="780"/>
                  </a:lnTo>
                  <a:lnTo>
                    <a:pt x="632" y="796"/>
                  </a:lnTo>
                  <a:lnTo>
                    <a:pt x="637" y="810"/>
                  </a:lnTo>
                  <a:lnTo>
                    <a:pt x="643" y="824"/>
                  </a:lnTo>
                  <a:lnTo>
                    <a:pt x="650" y="836"/>
                  </a:lnTo>
                  <a:lnTo>
                    <a:pt x="659" y="849"/>
                  </a:lnTo>
                  <a:lnTo>
                    <a:pt x="669" y="860"/>
                  </a:lnTo>
                  <a:lnTo>
                    <a:pt x="679" y="870"/>
                  </a:lnTo>
                  <a:lnTo>
                    <a:pt x="134" y="870"/>
                  </a:lnTo>
                  <a:close/>
                  <a:moveTo>
                    <a:pt x="749" y="209"/>
                  </a:moveTo>
                  <a:lnTo>
                    <a:pt x="779" y="209"/>
                  </a:lnTo>
                  <a:lnTo>
                    <a:pt x="779" y="765"/>
                  </a:lnTo>
                  <a:lnTo>
                    <a:pt x="779" y="768"/>
                  </a:lnTo>
                  <a:lnTo>
                    <a:pt x="778" y="770"/>
                  </a:lnTo>
                  <a:lnTo>
                    <a:pt x="777" y="773"/>
                  </a:lnTo>
                  <a:lnTo>
                    <a:pt x="774" y="776"/>
                  </a:lnTo>
                  <a:lnTo>
                    <a:pt x="772" y="777"/>
                  </a:lnTo>
                  <a:lnTo>
                    <a:pt x="770" y="779"/>
                  </a:lnTo>
                  <a:lnTo>
                    <a:pt x="767" y="780"/>
                  </a:lnTo>
                  <a:lnTo>
                    <a:pt x="764" y="780"/>
                  </a:lnTo>
                  <a:lnTo>
                    <a:pt x="762" y="780"/>
                  </a:lnTo>
                  <a:lnTo>
                    <a:pt x="758" y="779"/>
                  </a:lnTo>
                  <a:lnTo>
                    <a:pt x="756" y="777"/>
                  </a:lnTo>
                  <a:lnTo>
                    <a:pt x="754" y="776"/>
                  </a:lnTo>
                  <a:lnTo>
                    <a:pt x="752" y="773"/>
                  </a:lnTo>
                  <a:lnTo>
                    <a:pt x="750" y="770"/>
                  </a:lnTo>
                  <a:lnTo>
                    <a:pt x="750" y="768"/>
                  </a:lnTo>
                  <a:lnTo>
                    <a:pt x="749" y="765"/>
                  </a:lnTo>
                  <a:lnTo>
                    <a:pt x="749" y="209"/>
                  </a:lnTo>
                  <a:close/>
                  <a:moveTo>
                    <a:pt x="884" y="120"/>
                  </a:moveTo>
                  <a:lnTo>
                    <a:pt x="749" y="120"/>
                  </a:lnTo>
                  <a:lnTo>
                    <a:pt x="749" y="75"/>
                  </a:lnTo>
                  <a:lnTo>
                    <a:pt x="749" y="72"/>
                  </a:lnTo>
                  <a:lnTo>
                    <a:pt x="748" y="69"/>
                  </a:lnTo>
                  <a:lnTo>
                    <a:pt x="747" y="66"/>
                  </a:lnTo>
                  <a:lnTo>
                    <a:pt x="745" y="64"/>
                  </a:lnTo>
                  <a:lnTo>
                    <a:pt x="742" y="63"/>
                  </a:lnTo>
                  <a:lnTo>
                    <a:pt x="740" y="61"/>
                  </a:lnTo>
                  <a:lnTo>
                    <a:pt x="737" y="60"/>
                  </a:lnTo>
                  <a:lnTo>
                    <a:pt x="734" y="60"/>
                  </a:lnTo>
                  <a:lnTo>
                    <a:pt x="659" y="60"/>
                  </a:lnTo>
                  <a:lnTo>
                    <a:pt x="659" y="15"/>
                  </a:lnTo>
                  <a:lnTo>
                    <a:pt x="659" y="12"/>
                  </a:lnTo>
                  <a:lnTo>
                    <a:pt x="658" y="10"/>
                  </a:lnTo>
                  <a:lnTo>
                    <a:pt x="657" y="6"/>
                  </a:lnTo>
                  <a:lnTo>
                    <a:pt x="655" y="4"/>
                  </a:lnTo>
                  <a:lnTo>
                    <a:pt x="653" y="2"/>
                  </a:lnTo>
                  <a:lnTo>
                    <a:pt x="650" y="1"/>
                  </a:lnTo>
                  <a:lnTo>
                    <a:pt x="647" y="0"/>
                  </a:lnTo>
                  <a:lnTo>
                    <a:pt x="644" y="0"/>
                  </a:lnTo>
                  <a:lnTo>
                    <a:pt x="15" y="0"/>
                  </a:lnTo>
                  <a:lnTo>
                    <a:pt x="12" y="0"/>
                  </a:lnTo>
                  <a:lnTo>
                    <a:pt x="8" y="1"/>
                  </a:lnTo>
                  <a:lnTo>
                    <a:pt x="6" y="2"/>
                  </a:lnTo>
                  <a:lnTo>
                    <a:pt x="4" y="4"/>
                  </a:lnTo>
                  <a:lnTo>
                    <a:pt x="2" y="6"/>
                  </a:lnTo>
                  <a:lnTo>
                    <a:pt x="1" y="10"/>
                  </a:lnTo>
                  <a:lnTo>
                    <a:pt x="0" y="12"/>
                  </a:lnTo>
                  <a:lnTo>
                    <a:pt x="0" y="15"/>
                  </a:lnTo>
                  <a:lnTo>
                    <a:pt x="0" y="765"/>
                  </a:lnTo>
                  <a:lnTo>
                    <a:pt x="0" y="780"/>
                  </a:lnTo>
                  <a:lnTo>
                    <a:pt x="2" y="795"/>
                  </a:lnTo>
                  <a:lnTo>
                    <a:pt x="5" y="808"/>
                  </a:lnTo>
                  <a:lnTo>
                    <a:pt x="8" y="820"/>
                  </a:lnTo>
                  <a:lnTo>
                    <a:pt x="14" y="833"/>
                  </a:lnTo>
                  <a:lnTo>
                    <a:pt x="20" y="844"/>
                  </a:lnTo>
                  <a:lnTo>
                    <a:pt x="28" y="855"/>
                  </a:lnTo>
                  <a:lnTo>
                    <a:pt x="36" y="863"/>
                  </a:lnTo>
                  <a:lnTo>
                    <a:pt x="45" y="872"/>
                  </a:lnTo>
                  <a:lnTo>
                    <a:pt x="55" y="879"/>
                  </a:lnTo>
                  <a:lnTo>
                    <a:pt x="66" y="886"/>
                  </a:lnTo>
                  <a:lnTo>
                    <a:pt x="78" y="890"/>
                  </a:lnTo>
                  <a:lnTo>
                    <a:pt x="91" y="894"/>
                  </a:lnTo>
                  <a:lnTo>
                    <a:pt x="105" y="897"/>
                  </a:lnTo>
                  <a:lnTo>
                    <a:pt x="119" y="899"/>
                  </a:lnTo>
                  <a:lnTo>
                    <a:pt x="134" y="899"/>
                  </a:lnTo>
                  <a:lnTo>
                    <a:pt x="764" y="899"/>
                  </a:lnTo>
                  <a:lnTo>
                    <a:pt x="778" y="898"/>
                  </a:lnTo>
                  <a:lnTo>
                    <a:pt x="792" y="897"/>
                  </a:lnTo>
                  <a:lnTo>
                    <a:pt x="804" y="893"/>
                  </a:lnTo>
                  <a:lnTo>
                    <a:pt x="817" y="889"/>
                  </a:lnTo>
                  <a:lnTo>
                    <a:pt x="829" y="883"/>
                  </a:lnTo>
                  <a:lnTo>
                    <a:pt x="840" y="877"/>
                  </a:lnTo>
                  <a:lnTo>
                    <a:pt x="850" y="869"/>
                  </a:lnTo>
                  <a:lnTo>
                    <a:pt x="860" y="860"/>
                  </a:lnTo>
                  <a:lnTo>
                    <a:pt x="868" y="850"/>
                  </a:lnTo>
                  <a:lnTo>
                    <a:pt x="876" y="840"/>
                  </a:lnTo>
                  <a:lnTo>
                    <a:pt x="882" y="829"/>
                  </a:lnTo>
                  <a:lnTo>
                    <a:pt x="889" y="817"/>
                  </a:lnTo>
                  <a:lnTo>
                    <a:pt x="893" y="804"/>
                  </a:lnTo>
                  <a:lnTo>
                    <a:pt x="896" y="792"/>
                  </a:lnTo>
                  <a:lnTo>
                    <a:pt x="898" y="779"/>
                  </a:lnTo>
                  <a:lnTo>
                    <a:pt x="899" y="765"/>
                  </a:lnTo>
                  <a:lnTo>
                    <a:pt x="899" y="135"/>
                  </a:lnTo>
                  <a:lnTo>
                    <a:pt x="898" y="131"/>
                  </a:lnTo>
                  <a:lnTo>
                    <a:pt x="898" y="129"/>
                  </a:lnTo>
                  <a:lnTo>
                    <a:pt x="896" y="126"/>
                  </a:lnTo>
                  <a:lnTo>
                    <a:pt x="895" y="124"/>
                  </a:lnTo>
                  <a:lnTo>
                    <a:pt x="893" y="123"/>
                  </a:lnTo>
                  <a:lnTo>
                    <a:pt x="890" y="121"/>
                  </a:lnTo>
                  <a:lnTo>
                    <a:pt x="888" y="121"/>
                  </a:lnTo>
                  <a:lnTo>
                    <a:pt x="88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6" name="Group 103">
            <a:extLst>
              <a:ext uri="{FF2B5EF4-FFF2-40B4-BE49-F238E27FC236}">
                <a16:creationId xmlns:a16="http://schemas.microsoft.com/office/drawing/2014/main" id="{F19A4FFA-B075-42D0-B690-F3F58462EFE1}"/>
              </a:ext>
            </a:extLst>
          </p:cNvPr>
          <p:cNvGrpSpPr>
            <a:grpSpLocks noChangeAspect="1"/>
          </p:cNvGrpSpPr>
          <p:nvPr/>
        </p:nvGrpSpPr>
        <p:grpSpPr>
          <a:xfrm>
            <a:off x="7854252" y="3801969"/>
            <a:ext cx="330657" cy="308144"/>
            <a:chOff x="893763" y="1054101"/>
            <a:chExt cx="746125" cy="695324"/>
          </a:xfrm>
          <a:solidFill>
            <a:schemeClr val="bg2"/>
          </a:solidFill>
        </p:grpSpPr>
        <p:sp>
          <p:nvSpPr>
            <p:cNvPr id="967" name="Freeform 18">
              <a:extLst>
                <a:ext uri="{FF2B5EF4-FFF2-40B4-BE49-F238E27FC236}">
                  <a16:creationId xmlns:a16="http://schemas.microsoft.com/office/drawing/2014/main" id="{D8FBCF28-7DE2-4561-92E5-91ED66F0CFC6}"/>
                </a:ext>
              </a:extLst>
            </p:cNvPr>
            <p:cNvSpPr>
              <a:spLocks noEditPoints="1"/>
            </p:cNvSpPr>
            <p:nvPr/>
          </p:nvSpPr>
          <p:spPr bwMode="auto">
            <a:xfrm>
              <a:off x="893763" y="1054101"/>
              <a:ext cx="746125" cy="695324"/>
            </a:xfrm>
            <a:custGeom>
              <a:avLst/>
              <a:gdLst>
                <a:gd name="T0" fmla="*/ 1197 w 1208"/>
                <a:gd name="T1" fmla="*/ 7 h 1017"/>
                <a:gd name="T2" fmla="*/ 1173 w 1208"/>
                <a:gd name="T3" fmla="*/ 2 h 1017"/>
                <a:gd name="T4" fmla="*/ 604 w 1208"/>
                <a:gd name="T5" fmla="*/ 152 h 1017"/>
                <a:gd name="T6" fmla="*/ 35 w 1208"/>
                <a:gd name="T7" fmla="*/ 2 h 1017"/>
                <a:gd name="T8" fmla="*/ 11 w 1208"/>
                <a:gd name="T9" fmla="*/ 7 h 1017"/>
                <a:gd name="T10" fmla="*/ 0 w 1208"/>
                <a:gd name="T11" fmla="*/ 29 h 1017"/>
                <a:gd name="T12" fmla="*/ 0 w 1208"/>
                <a:gd name="T13" fmla="*/ 837 h 1017"/>
                <a:gd name="T14" fmla="*/ 21 w 1208"/>
                <a:gd name="T15" fmla="*/ 864 h 1017"/>
                <a:gd name="T16" fmla="*/ 597 w 1208"/>
                <a:gd name="T17" fmla="*/ 1016 h 1017"/>
                <a:gd name="T18" fmla="*/ 599 w 1208"/>
                <a:gd name="T19" fmla="*/ 1016 h 1017"/>
                <a:gd name="T20" fmla="*/ 600 w 1208"/>
                <a:gd name="T21" fmla="*/ 1017 h 1017"/>
                <a:gd name="T22" fmla="*/ 604 w 1208"/>
                <a:gd name="T23" fmla="*/ 1017 h 1017"/>
                <a:gd name="T24" fmla="*/ 604 w 1208"/>
                <a:gd name="T25" fmla="*/ 1017 h 1017"/>
                <a:gd name="T26" fmla="*/ 604 w 1208"/>
                <a:gd name="T27" fmla="*/ 1017 h 1017"/>
                <a:gd name="T28" fmla="*/ 608 w 1208"/>
                <a:gd name="T29" fmla="*/ 1017 h 1017"/>
                <a:gd name="T30" fmla="*/ 609 w 1208"/>
                <a:gd name="T31" fmla="*/ 1016 h 1017"/>
                <a:gd name="T32" fmla="*/ 611 w 1208"/>
                <a:gd name="T33" fmla="*/ 1016 h 1017"/>
                <a:gd name="T34" fmla="*/ 1187 w 1208"/>
                <a:gd name="T35" fmla="*/ 864 h 1017"/>
                <a:gd name="T36" fmla="*/ 1208 w 1208"/>
                <a:gd name="T37" fmla="*/ 837 h 1017"/>
                <a:gd name="T38" fmla="*/ 1208 w 1208"/>
                <a:gd name="T39" fmla="*/ 29 h 1017"/>
                <a:gd name="T40" fmla="*/ 1197 w 1208"/>
                <a:gd name="T41" fmla="*/ 7 h 1017"/>
                <a:gd name="T42" fmla="*/ 56 w 1208"/>
                <a:gd name="T43" fmla="*/ 65 h 1017"/>
                <a:gd name="T44" fmla="*/ 576 w 1208"/>
                <a:gd name="T45" fmla="*/ 203 h 1017"/>
                <a:gd name="T46" fmla="*/ 576 w 1208"/>
                <a:gd name="T47" fmla="*/ 953 h 1017"/>
                <a:gd name="T48" fmla="*/ 56 w 1208"/>
                <a:gd name="T49" fmla="*/ 815 h 1017"/>
                <a:gd name="T50" fmla="*/ 56 w 1208"/>
                <a:gd name="T51" fmla="*/ 65 h 1017"/>
                <a:gd name="T52" fmla="*/ 1152 w 1208"/>
                <a:gd name="T53" fmla="*/ 815 h 1017"/>
                <a:gd name="T54" fmla="*/ 632 w 1208"/>
                <a:gd name="T55" fmla="*/ 953 h 1017"/>
                <a:gd name="T56" fmla="*/ 632 w 1208"/>
                <a:gd name="T57" fmla="*/ 203 h 1017"/>
                <a:gd name="T58" fmla="*/ 1152 w 1208"/>
                <a:gd name="T59" fmla="*/ 65 h 1017"/>
                <a:gd name="T60" fmla="*/ 1152 w 1208"/>
                <a:gd name="T61" fmla="*/ 815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8" h="1017">
                  <a:moveTo>
                    <a:pt x="1197" y="7"/>
                  </a:moveTo>
                  <a:cubicBezTo>
                    <a:pt x="1190" y="2"/>
                    <a:pt x="1181" y="0"/>
                    <a:pt x="1173" y="2"/>
                  </a:cubicBezTo>
                  <a:cubicBezTo>
                    <a:pt x="604" y="152"/>
                    <a:pt x="604" y="152"/>
                    <a:pt x="604" y="152"/>
                  </a:cubicBezTo>
                  <a:cubicBezTo>
                    <a:pt x="35" y="2"/>
                    <a:pt x="35" y="2"/>
                    <a:pt x="35" y="2"/>
                  </a:cubicBezTo>
                  <a:cubicBezTo>
                    <a:pt x="27" y="0"/>
                    <a:pt x="18" y="2"/>
                    <a:pt x="11" y="7"/>
                  </a:cubicBezTo>
                  <a:cubicBezTo>
                    <a:pt x="4" y="12"/>
                    <a:pt x="0" y="20"/>
                    <a:pt x="0" y="29"/>
                  </a:cubicBezTo>
                  <a:cubicBezTo>
                    <a:pt x="0" y="837"/>
                    <a:pt x="0" y="837"/>
                    <a:pt x="0" y="837"/>
                  </a:cubicBezTo>
                  <a:cubicBezTo>
                    <a:pt x="0" y="850"/>
                    <a:pt x="9" y="861"/>
                    <a:pt x="21" y="864"/>
                  </a:cubicBezTo>
                  <a:cubicBezTo>
                    <a:pt x="597" y="1016"/>
                    <a:pt x="597" y="1016"/>
                    <a:pt x="597" y="1016"/>
                  </a:cubicBezTo>
                  <a:cubicBezTo>
                    <a:pt x="597" y="1016"/>
                    <a:pt x="598" y="1016"/>
                    <a:pt x="599" y="1016"/>
                  </a:cubicBezTo>
                  <a:cubicBezTo>
                    <a:pt x="599" y="1016"/>
                    <a:pt x="599" y="1017"/>
                    <a:pt x="600" y="1017"/>
                  </a:cubicBezTo>
                  <a:cubicBezTo>
                    <a:pt x="601" y="1017"/>
                    <a:pt x="603" y="1017"/>
                    <a:pt x="604" y="1017"/>
                  </a:cubicBezTo>
                  <a:cubicBezTo>
                    <a:pt x="604" y="1017"/>
                    <a:pt x="604" y="1017"/>
                    <a:pt x="604" y="1017"/>
                  </a:cubicBezTo>
                  <a:cubicBezTo>
                    <a:pt x="604" y="1017"/>
                    <a:pt x="604" y="1017"/>
                    <a:pt x="604" y="1017"/>
                  </a:cubicBezTo>
                  <a:cubicBezTo>
                    <a:pt x="605" y="1017"/>
                    <a:pt x="607" y="1017"/>
                    <a:pt x="608" y="1017"/>
                  </a:cubicBezTo>
                  <a:cubicBezTo>
                    <a:pt x="609" y="1017"/>
                    <a:pt x="609" y="1016"/>
                    <a:pt x="609" y="1016"/>
                  </a:cubicBezTo>
                  <a:cubicBezTo>
                    <a:pt x="610" y="1016"/>
                    <a:pt x="611" y="1016"/>
                    <a:pt x="611" y="1016"/>
                  </a:cubicBezTo>
                  <a:cubicBezTo>
                    <a:pt x="1187" y="864"/>
                    <a:pt x="1187" y="864"/>
                    <a:pt x="1187" y="864"/>
                  </a:cubicBezTo>
                  <a:cubicBezTo>
                    <a:pt x="1199" y="861"/>
                    <a:pt x="1208" y="850"/>
                    <a:pt x="1208" y="837"/>
                  </a:cubicBezTo>
                  <a:cubicBezTo>
                    <a:pt x="1208" y="29"/>
                    <a:pt x="1208" y="29"/>
                    <a:pt x="1208" y="29"/>
                  </a:cubicBezTo>
                  <a:cubicBezTo>
                    <a:pt x="1208" y="20"/>
                    <a:pt x="1204" y="12"/>
                    <a:pt x="1197" y="7"/>
                  </a:cubicBezTo>
                  <a:close/>
                  <a:moveTo>
                    <a:pt x="56" y="65"/>
                  </a:moveTo>
                  <a:cubicBezTo>
                    <a:pt x="576" y="203"/>
                    <a:pt x="576" y="203"/>
                    <a:pt x="576" y="203"/>
                  </a:cubicBezTo>
                  <a:cubicBezTo>
                    <a:pt x="576" y="953"/>
                    <a:pt x="576" y="953"/>
                    <a:pt x="576" y="953"/>
                  </a:cubicBezTo>
                  <a:cubicBezTo>
                    <a:pt x="56" y="815"/>
                    <a:pt x="56" y="815"/>
                    <a:pt x="56" y="815"/>
                  </a:cubicBezTo>
                  <a:lnTo>
                    <a:pt x="56" y="65"/>
                  </a:lnTo>
                  <a:close/>
                  <a:moveTo>
                    <a:pt x="1152" y="815"/>
                  </a:moveTo>
                  <a:cubicBezTo>
                    <a:pt x="632" y="953"/>
                    <a:pt x="632" y="953"/>
                    <a:pt x="632" y="953"/>
                  </a:cubicBezTo>
                  <a:cubicBezTo>
                    <a:pt x="632" y="203"/>
                    <a:pt x="632" y="203"/>
                    <a:pt x="632" y="203"/>
                  </a:cubicBezTo>
                  <a:cubicBezTo>
                    <a:pt x="1152" y="65"/>
                    <a:pt x="1152" y="65"/>
                    <a:pt x="1152" y="65"/>
                  </a:cubicBezTo>
                  <a:lnTo>
                    <a:pt x="1152" y="8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9">
              <a:extLst>
                <a:ext uri="{FF2B5EF4-FFF2-40B4-BE49-F238E27FC236}">
                  <a16:creationId xmlns:a16="http://schemas.microsoft.com/office/drawing/2014/main" id="{E80F4104-57FA-4D13-8879-9C0DFAF6D93D}"/>
                </a:ext>
              </a:extLst>
            </p:cNvPr>
            <p:cNvSpPr>
              <a:spLocks/>
            </p:cNvSpPr>
            <p:nvPr/>
          </p:nvSpPr>
          <p:spPr bwMode="auto">
            <a:xfrm>
              <a:off x="960438" y="1208088"/>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20">
              <a:extLst>
                <a:ext uri="{FF2B5EF4-FFF2-40B4-BE49-F238E27FC236}">
                  <a16:creationId xmlns:a16="http://schemas.microsoft.com/office/drawing/2014/main" id="{2FDD4042-71FE-4606-A694-524D9833D380}"/>
                </a:ext>
              </a:extLst>
            </p:cNvPr>
            <p:cNvSpPr>
              <a:spLocks/>
            </p:cNvSpPr>
            <p:nvPr/>
          </p:nvSpPr>
          <p:spPr bwMode="auto">
            <a:xfrm>
              <a:off x="960438" y="1301750"/>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21">
              <a:extLst>
                <a:ext uri="{FF2B5EF4-FFF2-40B4-BE49-F238E27FC236}">
                  <a16:creationId xmlns:a16="http://schemas.microsoft.com/office/drawing/2014/main" id="{EB4BC74F-5CF1-429C-A34E-939042B7FC8A}"/>
                </a:ext>
              </a:extLst>
            </p:cNvPr>
            <p:cNvSpPr>
              <a:spLocks/>
            </p:cNvSpPr>
            <p:nvPr/>
          </p:nvSpPr>
          <p:spPr bwMode="auto">
            <a:xfrm>
              <a:off x="960438" y="1393825"/>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22">
              <a:extLst>
                <a:ext uri="{FF2B5EF4-FFF2-40B4-BE49-F238E27FC236}">
                  <a16:creationId xmlns:a16="http://schemas.microsoft.com/office/drawing/2014/main" id="{B53BC119-8F63-428F-8143-05DA82A4879B}"/>
                </a:ext>
              </a:extLst>
            </p:cNvPr>
            <p:cNvSpPr>
              <a:spLocks/>
            </p:cNvSpPr>
            <p:nvPr/>
          </p:nvSpPr>
          <p:spPr bwMode="auto">
            <a:xfrm>
              <a:off x="960438" y="1487488"/>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23">
              <a:extLst>
                <a:ext uri="{FF2B5EF4-FFF2-40B4-BE49-F238E27FC236}">
                  <a16:creationId xmlns:a16="http://schemas.microsoft.com/office/drawing/2014/main" id="{0AD9D7BA-D37C-4EBD-80C4-80A205489165}"/>
                </a:ext>
              </a:extLst>
            </p:cNvPr>
            <p:cNvSpPr>
              <a:spLocks/>
            </p:cNvSpPr>
            <p:nvPr/>
          </p:nvSpPr>
          <p:spPr bwMode="auto">
            <a:xfrm>
              <a:off x="1314451" y="1208088"/>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24">
              <a:extLst>
                <a:ext uri="{FF2B5EF4-FFF2-40B4-BE49-F238E27FC236}">
                  <a16:creationId xmlns:a16="http://schemas.microsoft.com/office/drawing/2014/main" id="{93F8A8A4-96CB-49CD-A1CF-550066D25644}"/>
                </a:ext>
              </a:extLst>
            </p:cNvPr>
            <p:cNvSpPr>
              <a:spLocks/>
            </p:cNvSpPr>
            <p:nvPr/>
          </p:nvSpPr>
          <p:spPr bwMode="auto">
            <a:xfrm>
              <a:off x="1314451" y="1301750"/>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25">
              <a:extLst>
                <a:ext uri="{FF2B5EF4-FFF2-40B4-BE49-F238E27FC236}">
                  <a16:creationId xmlns:a16="http://schemas.microsoft.com/office/drawing/2014/main" id="{9E5A7001-CD96-4476-BDD8-3ED2FEC0B279}"/>
                </a:ext>
              </a:extLst>
            </p:cNvPr>
            <p:cNvSpPr>
              <a:spLocks/>
            </p:cNvSpPr>
            <p:nvPr/>
          </p:nvSpPr>
          <p:spPr bwMode="auto">
            <a:xfrm>
              <a:off x="1314451" y="1393825"/>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26">
              <a:extLst>
                <a:ext uri="{FF2B5EF4-FFF2-40B4-BE49-F238E27FC236}">
                  <a16:creationId xmlns:a16="http://schemas.microsoft.com/office/drawing/2014/main" id="{29632C16-B4E2-41B2-A791-9469AD0DA4A8}"/>
                </a:ext>
              </a:extLst>
            </p:cNvPr>
            <p:cNvSpPr>
              <a:spLocks/>
            </p:cNvSpPr>
            <p:nvPr/>
          </p:nvSpPr>
          <p:spPr bwMode="auto">
            <a:xfrm>
              <a:off x="1314451" y="1487488"/>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0" name="Group 76">
            <a:extLst>
              <a:ext uri="{FF2B5EF4-FFF2-40B4-BE49-F238E27FC236}">
                <a16:creationId xmlns:a16="http://schemas.microsoft.com/office/drawing/2014/main" id="{08F15AC5-9326-4811-AF33-BC12D74D7C6C}"/>
              </a:ext>
            </a:extLst>
          </p:cNvPr>
          <p:cNvGrpSpPr>
            <a:grpSpLocks noChangeAspect="1"/>
          </p:cNvGrpSpPr>
          <p:nvPr/>
        </p:nvGrpSpPr>
        <p:grpSpPr>
          <a:xfrm>
            <a:off x="8294203" y="3801969"/>
            <a:ext cx="308145" cy="308144"/>
            <a:chOff x="6832600" y="-1198563"/>
            <a:chExt cx="371476" cy="371475"/>
          </a:xfrm>
          <a:solidFill>
            <a:schemeClr val="bg2"/>
          </a:solidFill>
          <a:effectLst/>
        </p:grpSpPr>
        <p:sp>
          <p:nvSpPr>
            <p:cNvPr id="981" name="Freeform 5">
              <a:extLst>
                <a:ext uri="{FF2B5EF4-FFF2-40B4-BE49-F238E27FC236}">
                  <a16:creationId xmlns:a16="http://schemas.microsoft.com/office/drawing/2014/main" id="{29BA8E58-F6CB-477D-896C-6FEA8C68C3B7}"/>
                </a:ext>
              </a:extLst>
            </p:cNvPr>
            <p:cNvSpPr>
              <a:spLocks/>
            </p:cNvSpPr>
            <p:nvPr/>
          </p:nvSpPr>
          <p:spPr bwMode="auto">
            <a:xfrm>
              <a:off x="6832600" y="-1166813"/>
              <a:ext cx="309563" cy="339725"/>
            </a:xfrm>
            <a:custGeom>
              <a:avLst/>
              <a:gdLst>
                <a:gd name="T0" fmla="*/ 78 w 80"/>
                <a:gd name="T1" fmla="*/ 88 h 88"/>
                <a:gd name="T2" fmla="*/ 2 w 80"/>
                <a:gd name="T3" fmla="*/ 88 h 88"/>
                <a:gd name="T4" fmla="*/ 0 w 80"/>
                <a:gd name="T5" fmla="*/ 86 h 88"/>
                <a:gd name="T6" fmla="*/ 0 w 80"/>
                <a:gd name="T7" fmla="*/ 2 h 88"/>
                <a:gd name="T8" fmla="*/ 2 w 80"/>
                <a:gd name="T9" fmla="*/ 0 h 88"/>
                <a:gd name="T10" fmla="*/ 58 w 80"/>
                <a:gd name="T11" fmla="*/ 0 h 88"/>
                <a:gd name="T12" fmla="*/ 60 w 80"/>
                <a:gd name="T13" fmla="*/ 2 h 88"/>
                <a:gd name="T14" fmla="*/ 58 w 80"/>
                <a:gd name="T15" fmla="*/ 4 h 88"/>
                <a:gd name="T16" fmla="*/ 4 w 80"/>
                <a:gd name="T17" fmla="*/ 4 h 88"/>
                <a:gd name="T18" fmla="*/ 4 w 80"/>
                <a:gd name="T19" fmla="*/ 84 h 88"/>
                <a:gd name="T20" fmla="*/ 76 w 80"/>
                <a:gd name="T21" fmla="*/ 84 h 88"/>
                <a:gd name="T22" fmla="*/ 76 w 80"/>
                <a:gd name="T23" fmla="*/ 38 h 88"/>
                <a:gd name="T24" fmla="*/ 78 w 80"/>
                <a:gd name="T25" fmla="*/ 36 h 88"/>
                <a:gd name="T26" fmla="*/ 80 w 80"/>
                <a:gd name="T27" fmla="*/ 38 h 88"/>
                <a:gd name="T28" fmla="*/ 80 w 80"/>
                <a:gd name="T29" fmla="*/ 86 h 88"/>
                <a:gd name="T30" fmla="*/ 78 w 80"/>
                <a:gd name="T3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8">
                  <a:moveTo>
                    <a:pt x="78" y="88"/>
                  </a:moveTo>
                  <a:cubicBezTo>
                    <a:pt x="2" y="88"/>
                    <a:pt x="2" y="88"/>
                    <a:pt x="2" y="88"/>
                  </a:cubicBezTo>
                  <a:cubicBezTo>
                    <a:pt x="1" y="88"/>
                    <a:pt x="0" y="87"/>
                    <a:pt x="0" y="86"/>
                  </a:cubicBezTo>
                  <a:cubicBezTo>
                    <a:pt x="0" y="2"/>
                    <a:pt x="0" y="2"/>
                    <a:pt x="0" y="2"/>
                  </a:cubicBezTo>
                  <a:cubicBezTo>
                    <a:pt x="0" y="1"/>
                    <a:pt x="1" y="0"/>
                    <a:pt x="2" y="0"/>
                  </a:cubicBezTo>
                  <a:cubicBezTo>
                    <a:pt x="58" y="0"/>
                    <a:pt x="58" y="0"/>
                    <a:pt x="58" y="0"/>
                  </a:cubicBezTo>
                  <a:cubicBezTo>
                    <a:pt x="59" y="0"/>
                    <a:pt x="60" y="1"/>
                    <a:pt x="60" y="2"/>
                  </a:cubicBezTo>
                  <a:cubicBezTo>
                    <a:pt x="60" y="3"/>
                    <a:pt x="59" y="4"/>
                    <a:pt x="58" y="4"/>
                  </a:cubicBezTo>
                  <a:cubicBezTo>
                    <a:pt x="4" y="4"/>
                    <a:pt x="4" y="4"/>
                    <a:pt x="4" y="4"/>
                  </a:cubicBezTo>
                  <a:cubicBezTo>
                    <a:pt x="4" y="84"/>
                    <a:pt x="4" y="84"/>
                    <a:pt x="4" y="84"/>
                  </a:cubicBezTo>
                  <a:cubicBezTo>
                    <a:pt x="76" y="84"/>
                    <a:pt x="76" y="84"/>
                    <a:pt x="76" y="84"/>
                  </a:cubicBezTo>
                  <a:cubicBezTo>
                    <a:pt x="76" y="38"/>
                    <a:pt x="76" y="38"/>
                    <a:pt x="76" y="38"/>
                  </a:cubicBezTo>
                  <a:cubicBezTo>
                    <a:pt x="76" y="37"/>
                    <a:pt x="77" y="36"/>
                    <a:pt x="78" y="36"/>
                  </a:cubicBezTo>
                  <a:cubicBezTo>
                    <a:pt x="79" y="36"/>
                    <a:pt x="80" y="37"/>
                    <a:pt x="80" y="38"/>
                  </a:cubicBezTo>
                  <a:cubicBezTo>
                    <a:pt x="80" y="86"/>
                    <a:pt x="80" y="86"/>
                    <a:pt x="80" y="86"/>
                  </a:cubicBezTo>
                  <a:cubicBezTo>
                    <a:pt x="80" y="87"/>
                    <a:pt x="79" y="88"/>
                    <a:pt x="7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2" name="Freeform 6">
              <a:extLst>
                <a:ext uri="{FF2B5EF4-FFF2-40B4-BE49-F238E27FC236}">
                  <a16:creationId xmlns:a16="http://schemas.microsoft.com/office/drawing/2014/main" id="{47B43BBD-5C69-4286-8375-991C348A0B23}"/>
                </a:ext>
              </a:extLst>
            </p:cNvPr>
            <p:cNvSpPr>
              <a:spLocks noEditPoints="1"/>
            </p:cNvSpPr>
            <p:nvPr/>
          </p:nvSpPr>
          <p:spPr bwMode="auto">
            <a:xfrm>
              <a:off x="6945313" y="-1198563"/>
              <a:ext cx="258763" cy="258763"/>
            </a:xfrm>
            <a:custGeom>
              <a:avLst/>
              <a:gdLst>
                <a:gd name="T0" fmla="*/ 2 w 67"/>
                <a:gd name="T1" fmla="*/ 67 h 67"/>
                <a:gd name="T2" fmla="*/ 1 w 67"/>
                <a:gd name="T3" fmla="*/ 66 h 67"/>
                <a:gd name="T4" fmla="*/ 1 w 67"/>
                <a:gd name="T5" fmla="*/ 64 h 67"/>
                <a:gd name="T6" fmla="*/ 9 w 67"/>
                <a:gd name="T7" fmla="*/ 44 h 67"/>
                <a:gd name="T8" fmla="*/ 10 w 67"/>
                <a:gd name="T9" fmla="*/ 43 h 67"/>
                <a:gd name="T10" fmla="*/ 52 w 67"/>
                <a:gd name="T11" fmla="*/ 1 h 67"/>
                <a:gd name="T12" fmla="*/ 55 w 67"/>
                <a:gd name="T13" fmla="*/ 1 h 67"/>
                <a:gd name="T14" fmla="*/ 66 w 67"/>
                <a:gd name="T15" fmla="*/ 12 h 67"/>
                <a:gd name="T16" fmla="*/ 66 w 67"/>
                <a:gd name="T17" fmla="*/ 15 h 67"/>
                <a:gd name="T18" fmla="*/ 24 w 67"/>
                <a:gd name="T19" fmla="*/ 58 h 67"/>
                <a:gd name="T20" fmla="*/ 23 w 67"/>
                <a:gd name="T21" fmla="*/ 58 h 67"/>
                <a:gd name="T22" fmla="*/ 3 w 67"/>
                <a:gd name="T23" fmla="*/ 66 h 67"/>
                <a:gd name="T24" fmla="*/ 2 w 67"/>
                <a:gd name="T25" fmla="*/ 67 h 67"/>
                <a:gd name="T26" fmla="*/ 13 w 67"/>
                <a:gd name="T27" fmla="*/ 46 h 67"/>
                <a:gd name="T28" fmla="*/ 6 w 67"/>
                <a:gd name="T29" fmla="*/ 61 h 67"/>
                <a:gd name="T30" fmla="*/ 21 w 67"/>
                <a:gd name="T31" fmla="*/ 54 h 67"/>
                <a:gd name="T32" fmla="*/ 62 w 67"/>
                <a:gd name="T33" fmla="*/ 13 h 67"/>
                <a:gd name="T34" fmla="*/ 54 w 67"/>
                <a:gd name="T35" fmla="*/ 5 h 67"/>
                <a:gd name="T36" fmla="*/ 13 w 67"/>
                <a:gd name="T37" fmla="*/ 4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2" y="67"/>
                  </a:moveTo>
                  <a:cubicBezTo>
                    <a:pt x="2" y="67"/>
                    <a:pt x="1" y="66"/>
                    <a:pt x="1" y="66"/>
                  </a:cubicBezTo>
                  <a:cubicBezTo>
                    <a:pt x="1" y="65"/>
                    <a:pt x="0" y="65"/>
                    <a:pt x="1" y="64"/>
                  </a:cubicBezTo>
                  <a:cubicBezTo>
                    <a:pt x="9" y="44"/>
                    <a:pt x="9" y="44"/>
                    <a:pt x="9" y="44"/>
                  </a:cubicBezTo>
                  <a:cubicBezTo>
                    <a:pt x="9" y="44"/>
                    <a:pt x="9" y="44"/>
                    <a:pt x="10" y="43"/>
                  </a:cubicBezTo>
                  <a:cubicBezTo>
                    <a:pt x="52" y="1"/>
                    <a:pt x="52" y="1"/>
                    <a:pt x="52" y="1"/>
                  </a:cubicBezTo>
                  <a:cubicBezTo>
                    <a:pt x="53" y="0"/>
                    <a:pt x="54" y="0"/>
                    <a:pt x="55" y="1"/>
                  </a:cubicBezTo>
                  <a:cubicBezTo>
                    <a:pt x="66" y="12"/>
                    <a:pt x="66" y="12"/>
                    <a:pt x="66" y="12"/>
                  </a:cubicBezTo>
                  <a:cubicBezTo>
                    <a:pt x="67" y="13"/>
                    <a:pt x="67" y="14"/>
                    <a:pt x="66" y="15"/>
                  </a:cubicBezTo>
                  <a:cubicBezTo>
                    <a:pt x="24" y="58"/>
                    <a:pt x="24" y="58"/>
                    <a:pt x="24" y="58"/>
                  </a:cubicBezTo>
                  <a:cubicBezTo>
                    <a:pt x="24" y="58"/>
                    <a:pt x="23" y="58"/>
                    <a:pt x="23" y="58"/>
                  </a:cubicBezTo>
                  <a:cubicBezTo>
                    <a:pt x="3" y="66"/>
                    <a:pt x="3" y="66"/>
                    <a:pt x="3" y="66"/>
                  </a:cubicBezTo>
                  <a:cubicBezTo>
                    <a:pt x="3" y="67"/>
                    <a:pt x="3" y="67"/>
                    <a:pt x="2" y="67"/>
                  </a:cubicBezTo>
                  <a:close/>
                  <a:moveTo>
                    <a:pt x="13" y="46"/>
                  </a:moveTo>
                  <a:cubicBezTo>
                    <a:pt x="6" y="61"/>
                    <a:pt x="6" y="61"/>
                    <a:pt x="6" y="61"/>
                  </a:cubicBezTo>
                  <a:cubicBezTo>
                    <a:pt x="21" y="54"/>
                    <a:pt x="21" y="54"/>
                    <a:pt x="21" y="54"/>
                  </a:cubicBezTo>
                  <a:cubicBezTo>
                    <a:pt x="62" y="13"/>
                    <a:pt x="62" y="13"/>
                    <a:pt x="62" y="13"/>
                  </a:cubicBezTo>
                  <a:cubicBezTo>
                    <a:pt x="54" y="5"/>
                    <a:pt x="54" y="5"/>
                    <a:pt x="54" y="5"/>
                  </a:cubicBezTo>
                  <a:lnTo>
                    <a:pt x="1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3" name="Freeform 7">
              <a:extLst>
                <a:ext uri="{FF2B5EF4-FFF2-40B4-BE49-F238E27FC236}">
                  <a16:creationId xmlns:a16="http://schemas.microsoft.com/office/drawing/2014/main" id="{1B3308EC-2441-4798-95D3-0FFD454A820E}"/>
                </a:ext>
              </a:extLst>
            </p:cNvPr>
            <p:cNvSpPr>
              <a:spLocks/>
            </p:cNvSpPr>
            <p:nvPr/>
          </p:nvSpPr>
          <p:spPr bwMode="auto">
            <a:xfrm>
              <a:off x="7115175" y="-1171576"/>
              <a:ext cx="61913" cy="61913"/>
            </a:xfrm>
            <a:custGeom>
              <a:avLst/>
              <a:gdLst>
                <a:gd name="T0" fmla="*/ 14 w 16"/>
                <a:gd name="T1" fmla="*/ 16 h 16"/>
                <a:gd name="T2" fmla="*/ 12 w 16"/>
                <a:gd name="T3" fmla="*/ 15 h 16"/>
                <a:gd name="T4" fmla="*/ 1 w 16"/>
                <a:gd name="T5" fmla="*/ 4 h 16"/>
                <a:gd name="T6" fmla="*/ 1 w 16"/>
                <a:gd name="T7" fmla="*/ 1 h 16"/>
                <a:gd name="T8" fmla="*/ 4 w 16"/>
                <a:gd name="T9" fmla="*/ 1 h 16"/>
                <a:gd name="T10" fmla="*/ 15 w 16"/>
                <a:gd name="T11" fmla="*/ 12 h 16"/>
                <a:gd name="T12" fmla="*/ 15 w 16"/>
                <a:gd name="T13" fmla="*/ 15 h 16"/>
                <a:gd name="T14" fmla="*/ 14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14" y="16"/>
                  </a:moveTo>
                  <a:cubicBezTo>
                    <a:pt x="13" y="16"/>
                    <a:pt x="13" y="16"/>
                    <a:pt x="12" y="15"/>
                  </a:cubicBezTo>
                  <a:cubicBezTo>
                    <a:pt x="1" y="4"/>
                    <a:pt x="1" y="4"/>
                    <a:pt x="1" y="4"/>
                  </a:cubicBezTo>
                  <a:cubicBezTo>
                    <a:pt x="0" y="3"/>
                    <a:pt x="0" y="2"/>
                    <a:pt x="1" y="1"/>
                  </a:cubicBezTo>
                  <a:cubicBezTo>
                    <a:pt x="2" y="0"/>
                    <a:pt x="3" y="0"/>
                    <a:pt x="4" y="1"/>
                  </a:cubicBezTo>
                  <a:cubicBezTo>
                    <a:pt x="15" y="12"/>
                    <a:pt x="15" y="12"/>
                    <a:pt x="15" y="12"/>
                  </a:cubicBezTo>
                  <a:cubicBezTo>
                    <a:pt x="16" y="13"/>
                    <a:pt x="16" y="14"/>
                    <a:pt x="15" y="15"/>
                  </a:cubicBezTo>
                  <a:cubicBezTo>
                    <a:pt x="15" y="16"/>
                    <a:pt x="14" y="16"/>
                    <a:pt x="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4" name="Freeform 8">
              <a:extLst>
                <a:ext uri="{FF2B5EF4-FFF2-40B4-BE49-F238E27FC236}">
                  <a16:creationId xmlns:a16="http://schemas.microsoft.com/office/drawing/2014/main" id="{81FF958F-F350-4EC4-9CE9-8976DECC30AC}"/>
                </a:ext>
              </a:extLst>
            </p:cNvPr>
            <p:cNvSpPr>
              <a:spLocks/>
            </p:cNvSpPr>
            <p:nvPr/>
          </p:nvSpPr>
          <p:spPr bwMode="auto">
            <a:xfrm>
              <a:off x="6980238" y="-1031876"/>
              <a:ext cx="57150" cy="57150"/>
            </a:xfrm>
            <a:custGeom>
              <a:avLst/>
              <a:gdLst>
                <a:gd name="T0" fmla="*/ 13 w 15"/>
                <a:gd name="T1" fmla="*/ 15 h 15"/>
                <a:gd name="T2" fmla="*/ 12 w 15"/>
                <a:gd name="T3" fmla="*/ 15 h 15"/>
                <a:gd name="T4" fmla="*/ 1 w 15"/>
                <a:gd name="T5" fmla="*/ 3 h 15"/>
                <a:gd name="T6" fmla="*/ 1 w 15"/>
                <a:gd name="T7" fmla="*/ 0 h 15"/>
                <a:gd name="T8" fmla="*/ 3 w 15"/>
                <a:gd name="T9" fmla="*/ 0 h 15"/>
                <a:gd name="T10" fmla="*/ 15 w 15"/>
                <a:gd name="T11" fmla="*/ 12 h 15"/>
                <a:gd name="T12" fmla="*/ 15 w 15"/>
                <a:gd name="T13" fmla="*/ 15 h 15"/>
                <a:gd name="T14" fmla="*/ 13 w 1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13" y="15"/>
                  </a:moveTo>
                  <a:cubicBezTo>
                    <a:pt x="13" y="15"/>
                    <a:pt x="12" y="15"/>
                    <a:pt x="12" y="15"/>
                  </a:cubicBezTo>
                  <a:cubicBezTo>
                    <a:pt x="1" y="3"/>
                    <a:pt x="1" y="3"/>
                    <a:pt x="1" y="3"/>
                  </a:cubicBezTo>
                  <a:cubicBezTo>
                    <a:pt x="0" y="2"/>
                    <a:pt x="0" y="1"/>
                    <a:pt x="1" y="0"/>
                  </a:cubicBezTo>
                  <a:cubicBezTo>
                    <a:pt x="1" y="0"/>
                    <a:pt x="3" y="0"/>
                    <a:pt x="3" y="0"/>
                  </a:cubicBezTo>
                  <a:cubicBezTo>
                    <a:pt x="15" y="12"/>
                    <a:pt x="15" y="12"/>
                    <a:pt x="15" y="12"/>
                  </a:cubicBezTo>
                  <a:cubicBezTo>
                    <a:pt x="15" y="12"/>
                    <a:pt x="15" y="14"/>
                    <a:pt x="15" y="15"/>
                  </a:cubicBezTo>
                  <a:cubicBezTo>
                    <a:pt x="14" y="15"/>
                    <a:pt x="14" y="15"/>
                    <a:pt x="1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08" name="Freeform 79">
            <a:extLst>
              <a:ext uri="{FF2B5EF4-FFF2-40B4-BE49-F238E27FC236}">
                <a16:creationId xmlns:a16="http://schemas.microsoft.com/office/drawing/2014/main" id="{9EFF79E3-8069-464F-B32B-1FA4C771C46B}"/>
              </a:ext>
            </a:extLst>
          </p:cNvPr>
          <p:cNvSpPr>
            <a:spLocks noChangeAspect="1" noEditPoints="1"/>
          </p:cNvSpPr>
          <p:nvPr/>
        </p:nvSpPr>
        <p:spPr bwMode="auto">
          <a:xfrm>
            <a:off x="701722" y="2186361"/>
            <a:ext cx="224755" cy="306484"/>
          </a:xfrm>
          <a:custGeom>
            <a:avLst/>
            <a:gdLst>
              <a:gd name="T0" fmla="*/ 388 w 659"/>
              <a:gd name="T1" fmla="*/ 627 h 898"/>
              <a:gd name="T2" fmla="*/ 272 w 659"/>
              <a:gd name="T3" fmla="*/ 627 h 898"/>
              <a:gd name="T4" fmla="*/ 250 w 659"/>
              <a:gd name="T5" fmla="*/ 618 h 898"/>
              <a:gd name="T6" fmla="*/ 191 w 659"/>
              <a:gd name="T7" fmla="*/ 594 h 898"/>
              <a:gd name="T8" fmla="*/ 112 w 659"/>
              <a:gd name="T9" fmla="*/ 534 h 898"/>
              <a:gd name="T10" fmla="*/ 57 w 659"/>
              <a:gd name="T11" fmla="*/ 452 h 898"/>
              <a:gd name="T12" fmla="*/ 32 w 659"/>
              <a:gd name="T13" fmla="*/ 367 h 898"/>
              <a:gd name="T14" fmla="*/ 31 w 659"/>
              <a:gd name="T15" fmla="*/ 314 h 898"/>
              <a:gd name="T16" fmla="*/ 40 w 659"/>
              <a:gd name="T17" fmla="*/ 254 h 898"/>
              <a:gd name="T18" fmla="*/ 60 w 659"/>
              <a:gd name="T19" fmla="*/ 200 h 898"/>
              <a:gd name="T20" fmla="*/ 90 w 659"/>
              <a:gd name="T21" fmla="*/ 149 h 898"/>
              <a:gd name="T22" fmla="*/ 129 w 659"/>
              <a:gd name="T23" fmla="*/ 108 h 898"/>
              <a:gd name="T24" fmla="*/ 175 w 659"/>
              <a:gd name="T25" fmla="*/ 73 h 898"/>
              <a:gd name="T26" fmla="*/ 227 w 659"/>
              <a:gd name="T27" fmla="*/ 48 h 898"/>
              <a:gd name="T28" fmla="*/ 285 w 659"/>
              <a:gd name="T29" fmla="*/ 33 h 898"/>
              <a:gd name="T30" fmla="*/ 346 w 659"/>
              <a:gd name="T31" fmla="*/ 29 h 898"/>
              <a:gd name="T32" fmla="*/ 405 w 659"/>
              <a:gd name="T33" fmla="*/ 39 h 898"/>
              <a:gd name="T34" fmla="*/ 460 w 659"/>
              <a:gd name="T35" fmla="*/ 59 h 898"/>
              <a:gd name="T36" fmla="*/ 510 w 659"/>
              <a:gd name="T37" fmla="*/ 89 h 898"/>
              <a:gd name="T38" fmla="*/ 551 w 659"/>
              <a:gd name="T39" fmla="*/ 128 h 898"/>
              <a:gd name="T40" fmla="*/ 587 w 659"/>
              <a:gd name="T41" fmla="*/ 174 h 898"/>
              <a:gd name="T42" fmla="*/ 611 w 659"/>
              <a:gd name="T43" fmla="*/ 226 h 898"/>
              <a:gd name="T44" fmla="*/ 626 w 659"/>
              <a:gd name="T45" fmla="*/ 283 h 898"/>
              <a:gd name="T46" fmla="*/ 630 w 659"/>
              <a:gd name="T47" fmla="*/ 342 h 898"/>
              <a:gd name="T48" fmla="*/ 620 w 659"/>
              <a:gd name="T49" fmla="*/ 405 h 898"/>
              <a:gd name="T50" fmla="*/ 579 w 659"/>
              <a:gd name="T51" fmla="*/ 496 h 898"/>
              <a:gd name="T52" fmla="*/ 512 w 659"/>
              <a:gd name="T53" fmla="*/ 567 h 898"/>
              <a:gd name="T54" fmla="*/ 435 w 659"/>
              <a:gd name="T55" fmla="*/ 609 h 898"/>
              <a:gd name="T56" fmla="*/ 330 w 659"/>
              <a:gd name="T57" fmla="*/ 0 h 898"/>
              <a:gd name="T58" fmla="*/ 264 w 659"/>
              <a:gd name="T59" fmla="*/ 6 h 898"/>
              <a:gd name="T60" fmla="*/ 202 w 659"/>
              <a:gd name="T61" fmla="*/ 25 h 898"/>
              <a:gd name="T62" fmla="*/ 146 w 659"/>
              <a:gd name="T63" fmla="*/ 56 h 898"/>
              <a:gd name="T64" fmla="*/ 97 w 659"/>
              <a:gd name="T65" fmla="*/ 96 h 898"/>
              <a:gd name="T66" fmla="*/ 57 w 659"/>
              <a:gd name="T67" fmla="*/ 145 h 898"/>
              <a:gd name="T68" fmla="*/ 26 w 659"/>
              <a:gd name="T69" fmla="*/ 201 h 898"/>
              <a:gd name="T70" fmla="*/ 7 w 659"/>
              <a:gd name="T71" fmla="*/ 263 h 898"/>
              <a:gd name="T72" fmla="*/ 0 w 659"/>
              <a:gd name="T73" fmla="*/ 329 h 898"/>
              <a:gd name="T74" fmla="*/ 5 w 659"/>
              <a:gd name="T75" fmla="*/ 385 h 898"/>
              <a:gd name="T76" fmla="*/ 19 w 659"/>
              <a:gd name="T77" fmla="*/ 437 h 898"/>
              <a:gd name="T78" fmla="*/ 40 w 659"/>
              <a:gd name="T79" fmla="*/ 486 h 898"/>
              <a:gd name="T80" fmla="*/ 69 w 659"/>
              <a:gd name="T81" fmla="*/ 531 h 898"/>
              <a:gd name="T82" fmla="*/ 105 w 659"/>
              <a:gd name="T83" fmla="*/ 570 h 898"/>
              <a:gd name="T84" fmla="*/ 147 w 659"/>
              <a:gd name="T85" fmla="*/ 603 h 898"/>
              <a:gd name="T86" fmla="*/ 195 w 659"/>
              <a:gd name="T87" fmla="*/ 630 h 898"/>
              <a:gd name="T88" fmla="*/ 248 w 659"/>
              <a:gd name="T89" fmla="*/ 648 h 898"/>
              <a:gd name="T90" fmla="*/ 326 w 659"/>
              <a:gd name="T91" fmla="*/ 897 h 898"/>
              <a:gd name="T92" fmla="*/ 343 w 659"/>
              <a:gd name="T93" fmla="*/ 892 h 898"/>
              <a:gd name="T94" fmla="*/ 440 w 659"/>
              <a:gd name="T95" fmla="*/ 639 h 898"/>
              <a:gd name="T96" fmla="*/ 490 w 659"/>
              <a:gd name="T97" fmla="*/ 617 h 898"/>
              <a:gd name="T98" fmla="*/ 534 w 659"/>
              <a:gd name="T99" fmla="*/ 588 h 898"/>
              <a:gd name="T100" fmla="*/ 574 w 659"/>
              <a:gd name="T101" fmla="*/ 551 h 898"/>
              <a:gd name="T102" fmla="*/ 606 w 659"/>
              <a:gd name="T103" fmla="*/ 509 h 898"/>
              <a:gd name="T104" fmla="*/ 632 w 659"/>
              <a:gd name="T105" fmla="*/ 463 h 898"/>
              <a:gd name="T106" fmla="*/ 650 w 659"/>
              <a:gd name="T107" fmla="*/ 411 h 898"/>
              <a:gd name="T108" fmla="*/ 658 w 659"/>
              <a:gd name="T109" fmla="*/ 357 h 898"/>
              <a:gd name="T110" fmla="*/ 658 w 659"/>
              <a:gd name="T111" fmla="*/ 295 h 898"/>
              <a:gd name="T112" fmla="*/ 645 w 659"/>
              <a:gd name="T113" fmla="*/ 231 h 898"/>
              <a:gd name="T114" fmla="*/ 620 w 659"/>
              <a:gd name="T115" fmla="*/ 172 h 898"/>
              <a:gd name="T116" fmla="*/ 585 w 659"/>
              <a:gd name="T117" fmla="*/ 119 h 898"/>
              <a:gd name="T118" fmla="*/ 540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1" y="624"/>
                </a:lnTo>
                <a:lnTo>
                  <a:pt x="388" y="627"/>
                </a:lnTo>
                <a:lnTo>
                  <a:pt x="387" y="631"/>
                </a:lnTo>
                <a:lnTo>
                  <a:pt x="330" y="828"/>
                </a:lnTo>
                <a:lnTo>
                  <a:pt x="273" y="631"/>
                </a:lnTo>
                <a:lnTo>
                  <a:pt x="272" y="627"/>
                </a:lnTo>
                <a:lnTo>
                  <a:pt x="270" y="624"/>
                </a:lnTo>
                <a:lnTo>
                  <a:pt x="267" y="622"/>
                </a:lnTo>
                <a:lnTo>
                  <a:pt x="263" y="621"/>
                </a:lnTo>
                <a:lnTo>
                  <a:pt x="250" y="618"/>
                </a:lnTo>
                <a:lnTo>
                  <a:pt x="238" y="613"/>
                </a:lnTo>
                <a:lnTo>
                  <a:pt x="225" y="609"/>
                </a:lnTo>
                <a:lnTo>
                  <a:pt x="213" y="605"/>
                </a:lnTo>
                <a:lnTo>
                  <a:pt x="191" y="594"/>
                </a:lnTo>
                <a:lnTo>
                  <a:pt x="168" y="581"/>
                </a:lnTo>
                <a:lnTo>
                  <a:pt x="148" y="567"/>
                </a:lnTo>
                <a:lnTo>
                  <a:pt x="129" y="551"/>
                </a:lnTo>
                <a:lnTo>
                  <a:pt x="112" y="534"/>
                </a:lnTo>
                <a:lnTo>
                  <a:pt x="96" y="515"/>
                </a:lnTo>
                <a:lnTo>
                  <a:pt x="81" y="496"/>
                </a:lnTo>
                <a:lnTo>
                  <a:pt x="68" y="474"/>
                </a:lnTo>
                <a:lnTo>
                  <a:pt x="57" y="452"/>
                </a:lnTo>
                <a:lnTo>
                  <a:pt x="47" y="430"/>
                </a:lnTo>
                <a:lnTo>
                  <a:pt x="40" y="405"/>
                </a:lnTo>
                <a:lnTo>
                  <a:pt x="35" y="380"/>
                </a:lnTo>
                <a:lnTo>
                  <a:pt x="32" y="367"/>
                </a:lnTo>
                <a:lnTo>
                  <a:pt x="31" y="355"/>
                </a:lnTo>
                <a:lnTo>
                  <a:pt x="30" y="342"/>
                </a:lnTo>
                <a:lnTo>
                  <a:pt x="30" y="329"/>
                </a:lnTo>
                <a:lnTo>
                  <a:pt x="31" y="314"/>
                </a:lnTo>
                <a:lnTo>
                  <a:pt x="32" y="298"/>
                </a:lnTo>
                <a:lnTo>
                  <a:pt x="34" y="283"/>
                </a:lnTo>
                <a:lnTo>
                  <a:pt x="37" y="269"/>
                </a:lnTo>
                <a:lnTo>
                  <a:pt x="40" y="254"/>
                </a:lnTo>
                <a:lnTo>
                  <a:pt x="44" y="240"/>
                </a:lnTo>
                <a:lnTo>
                  <a:pt x="49" y="226"/>
                </a:lnTo>
                <a:lnTo>
                  <a:pt x="54" y="212"/>
                </a:lnTo>
                <a:lnTo>
                  <a:pt x="60" y="200"/>
                </a:lnTo>
                <a:lnTo>
                  <a:pt x="67" y="187"/>
                </a:lnTo>
                <a:lnTo>
                  <a:pt x="74" y="174"/>
                </a:lnTo>
                <a:lnTo>
                  <a:pt x="82" y="161"/>
                </a:lnTo>
                <a:lnTo>
                  <a:pt x="90" y="149"/>
                </a:lnTo>
                <a:lnTo>
                  <a:pt x="99" y="139"/>
                </a:lnTo>
                <a:lnTo>
                  <a:pt x="108" y="128"/>
                </a:lnTo>
                <a:lnTo>
                  <a:pt x="118" y="117"/>
                </a:lnTo>
                <a:lnTo>
                  <a:pt x="129" y="108"/>
                </a:lnTo>
                <a:lnTo>
                  <a:pt x="139" y="98"/>
                </a:lnTo>
                <a:lnTo>
                  <a:pt x="151" y="89"/>
                </a:lnTo>
                <a:lnTo>
                  <a:pt x="163" y="81"/>
                </a:lnTo>
                <a:lnTo>
                  <a:pt x="175" y="73"/>
                </a:lnTo>
                <a:lnTo>
                  <a:pt x="188" y="66"/>
                </a:lnTo>
                <a:lnTo>
                  <a:pt x="200" y="59"/>
                </a:lnTo>
                <a:lnTo>
                  <a:pt x="213" y="53"/>
                </a:lnTo>
                <a:lnTo>
                  <a:pt x="227" y="48"/>
                </a:lnTo>
                <a:lnTo>
                  <a:pt x="241" y="43"/>
                </a:lnTo>
                <a:lnTo>
                  <a:pt x="255" y="39"/>
                </a:lnTo>
                <a:lnTo>
                  <a:pt x="270" y="36"/>
                </a:lnTo>
                <a:lnTo>
                  <a:pt x="285" y="33"/>
                </a:lnTo>
                <a:lnTo>
                  <a:pt x="300" y="31"/>
                </a:lnTo>
                <a:lnTo>
                  <a:pt x="315" y="29"/>
                </a:lnTo>
                <a:lnTo>
                  <a:pt x="330" y="29"/>
                </a:lnTo>
                <a:lnTo>
                  <a:pt x="346" y="29"/>
                </a:lnTo>
                <a:lnTo>
                  <a:pt x="361" y="31"/>
                </a:lnTo>
                <a:lnTo>
                  <a:pt x="376" y="33"/>
                </a:lnTo>
                <a:lnTo>
                  <a:pt x="391" y="36"/>
                </a:lnTo>
                <a:lnTo>
                  <a:pt x="405" y="39"/>
                </a:lnTo>
                <a:lnTo>
                  <a:pt x="419" y="43"/>
                </a:lnTo>
                <a:lnTo>
                  <a:pt x="433" y="48"/>
                </a:lnTo>
                <a:lnTo>
                  <a:pt x="447" y="53"/>
                </a:lnTo>
                <a:lnTo>
                  <a:pt x="460" y="59"/>
                </a:lnTo>
                <a:lnTo>
                  <a:pt x="473" y="66"/>
                </a:lnTo>
                <a:lnTo>
                  <a:pt x="485" y="72"/>
                </a:lnTo>
                <a:lnTo>
                  <a:pt x="498" y="81"/>
                </a:lnTo>
                <a:lnTo>
                  <a:pt x="510" y="89"/>
                </a:lnTo>
                <a:lnTo>
                  <a:pt x="520" y="98"/>
                </a:lnTo>
                <a:lnTo>
                  <a:pt x="531" y="108"/>
                </a:lnTo>
                <a:lnTo>
                  <a:pt x="542" y="117"/>
                </a:lnTo>
                <a:lnTo>
                  <a:pt x="551" y="128"/>
                </a:lnTo>
                <a:lnTo>
                  <a:pt x="561" y="139"/>
                </a:lnTo>
                <a:lnTo>
                  <a:pt x="571" y="149"/>
                </a:lnTo>
                <a:lnTo>
                  <a:pt x="578" y="161"/>
                </a:lnTo>
                <a:lnTo>
                  <a:pt x="587" y="174"/>
                </a:lnTo>
                <a:lnTo>
                  <a:pt x="593" y="187"/>
                </a:lnTo>
                <a:lnTo>
                  <a:pt x="601" y="200"/>
                </a:lnTo>
                <a:lnTo>
                  <a:pt x="606" y="212"/>
                </a:lnTo>
                <a:lnTo>
                  <a:pt x="611" y="226"/>
                </a:lnTo>
                <a:lnTo>
                  <a:pt x="617" y="240"/>
                </a:lnTo>
                <a:lnTo>
                  <a:pt x="620" y="254"/>
                </a:lnTo>
                <a:lnTo>
                  <a:pt x="624" y="269"/>
                </a:lnTo>
                <a:lnTo>
                  <a:pt x="626" y="283"/>
                </a:lnTo>
                <a:lnTo>
                  <a:pt x="628" y="298"/>
                </a:lnTo>
                <a:lnTo>
                  <a:pt x="630" y="314"/>
                </a:lnTo>
                <a:lnTo>
                  <a:pt x="630" y="329"/>
                </a:lnTo>
                <a:lnTo>
                  <a:pt x="630" y="342"/>
                </a:lnTo>
                <a:lnTo>
                  <a:pt x="628" y="355"/>
                </a:lnTo>
                <a:lnTo>
                  <a:pt x="627" y="367"/>
                </a:lnTo>
                <a:lnTo>
                  <a:pt x="625" y="380"/>
                </a:lnTo>
                <a:lnTo>
                  <a:pt x="620" y="405"/>
                </a:lnTo>
                <a:lnTo>
                  <a:pt x="612" y="430"/>
                </a:lnTo>
                <a:lnTo>
                  <a:pt x="604" y="452"/>
                </a:lnTo>
                <a:lnTo>
                  <a:pt x="592" y="474"/>
                </a:lnTo>
                <a:lnTo>
                  <a:pt x="579" y="496"/>
                </a:lnTo>
                <a:lnTo>
                  <a:pt x="565" y="515"/>
                </a:lnTo>
                <a:lnTo>
                  <a:pt x="549" y="534"/>
                </a:lnTo>
                <a:lnTo>
                  <a:pt x="531" y="551"/>
                </a:lnTo>
                <a:lnTo>
                  <a:pt x="512" y="567"/>
                </a:lnTo>
                <a:lnTo>
                  <a:pt x="492" y="581"/>
                </a:lnTo>
                <a:lnTo>
                  <a:pt x="470" y="594"/>
                </a:lnTo>
                <a:lnTo>
                  <a:pt x="447" y="605"/>
                </a:lnTo>
                <a:lnTo>
                  <a:pt x="435" y="609"/>
                </a:lnTo>
                <a:lnTo>
                  <a:pt x="423" y="613"/>
                </a:lnTo>
                <a:lnTo>
                  <a:pt x="410" y="618"/>
                </a:lnTo>
                <a:lnTo>
                  <a:pt x="397" y="621"/>
                </a:lnTo>
                <a:close/>
                <a:moveTo>
                  <a:pt x="330" y="0"/>
                </a:moveTo>
                <a:lnTo>
                  <a:pt x="313" y="0"/>
                </a:lnTo>
                <a:lnTo>
                  <a:pt x="297" y="1"/>
                </a:lnTo>
                <a:lnTo>
                  <a:pt x="280" y="3"/>
                </a:lnTo>
                <a:lnTo>
                  <a:pt x="264" y="6"/>
                </a:lnTo>
                <a:lnTo>
                  <a:pt x="248" y="10"/>
                </a:lnTo>
                <a:lnTo>
                  <a:pt x="233" y="15"/>
                </a:lnTo>
                <a:lnTo>
                  <a:pt x="217" y="20"/>
                </a:lnTo>
                <a:lnTo>
                  <a:pt x="202" y="25"/>
                </a:lnTo>
                <a:lnTo>
                  <a:pt x="188" y="32"/>
                </a:lnTo>
                <a:lnTo>
                  <a:pt x="174" y="39"/>
                </a:lnTo>
                <a:lnTo>
                  <a:pt x="160" y="48"/>
                </a:lnTo>
                <a:lnTo>
                  <a:pt x="146" y="56"/>
                </a:lnTo>
                <a:lnTo>
                  <a:pt x="133" y="65"/>
                </a:lnTo>
                <a:lnTo>
                  <a:pt x="120" y="74"/>
                </a:lnTo>
                <a:lnTo>
                  <a:pt x="108" y="85"/>
                </a:lnTo>
                <a:lnTo>
                  <a:pt x="97" y="96"/>
                </a:lnTo>
                <a:lnTo>
                  <a:pt x="86" y="108"/>
                </a:lnTo>
                <a:lnTo>
                  <a:pt x="76" y="119"/>
                </a:lnTo>
                <a:lnTo>
                  <a:pt x="66" y="132"/>
                </a:lnTo>
                <a:lnTo>
                  <a:pt x="57" y="145"/>
                </a:lnTo>
                <a:lnTo>
                  <a:pt x="49" y="158"/>
                </a:lnTo>
                <a:lnTo>
                  <a:pt x="40" y="172"/>
                </a:lnTo>
                <a:lnTo>
                  <a:pt x="34" y="187"/>
                </a:lnTo>
                <a:lnTo>
                  <a:pt x="26" y="201"/>
                </a:lnTo>
                <a:lnTo>
                  <a:pt x="21" y="216"/>
                </a:lnTo>
                <a:lnTo>
                  <a:pt x="15" y="231"/>
                </a:lnTo>
                <a:lnTo>
                  <a:pt x="11" y="247"/>
                </a:lnTo>
                <a:lnTo>
                  <a:pt x="7" y="263"/>
                </a:lnTo>
                <a:lnTo>
                  <a:pt x="5" y="279"/>
                </a:lnTo>
                <a:lnTo>
                  <a:pt x="3" y="296"/>
                </a:lnTo>
                <a:lnTo>
                  <a:pt x="1" y="312"/>
                </a:lnTo>
                <a:lnTo>
                  <a:pt x="0" y="329"/>
                </a:lnTo>
                <a:lnTo>
                  <a:pt x="0" y="343"/>
                </a:lnTo>
                <a:lnTo>
                  <a:pt x="1" y="357"/>
                </a:lnTo>
                <a:lnTo>
                  <a:pt x="4" y="371"/>
                </a:lnTo>
                <a:lnTo>
                  <a:pt x="5" y="385"/>
                </a:lnTo>
                <a:lnTo>
                  <a:pt x="8" y="397"/>
                </a:lnTo>
                <a:lnTo>
                  <a:pt x="11" y="411"/>
                </a:lnTo>
                <a:lnTo>
                  <a:pt x="14" y="424"/>
                </a:lnTo>
                <a:lnTo>
                  <a:pt x="19" y="437"/>
                </a:lnTo>
                <a:lnTo>
                  <a:pt x="23" y="450"/>
                </a:lnTo>
                <a:lnTo>
                  <a:pt x="28" y="463"/>
                </a:lnTo>
                <a:lnTo>
                  <a:pt x="34" y="474"/>
                </a:lnTo>
                <a:lnTo>
                  <a:pt x="40" y="486"/>
                </a:lnTo>
                <a:lnTo>
                  <a:pt x="46" y="498"/>
                </a:lnTo>
                <a:lnTo>
                  <a:pt x="54" y="509"/>
                </a:lnTo>
                <a:lnTo>
                  <a:pt x="61" y="520"/>
                </a:lnTo>
                <a:lnTo>
                  <a:pt x="69" y="531"/>
                </a:lnTo>
                <a:lnTo>
                  <a:pt x="77" y="541"/>
                </a:lnTo>
                <a:lnTo>
                  <a:pt x="86" y="551"/>
                </a:lnTo>
                <a:lnTo>
                  <a:pt x="96" y="561"/>
                </a:lnTo>
                <a:lnTo>
                  <a:pt x="105" y="570"/>
                </a:lnTo>
                <a:lnTo>
                  <a:pt x="115" y="579"/>
                </a:lnTo>
                <a:lnTo>
                  <a:pt x="126" y="588"/>
                </a:lnTo>
                <a:lnTo>
                  <a:pt x="136" y="595"/>
                </a:lnTo>
                <a:lnTo>
                  <a:pt x="147" y="603"/>
                </a:lnTo>
                <a:lnTo>
                  <a:pt x="159" y="610"/>
                </a:lnTo>
                <a:lnTo>
                  <a:pt x="171" y="617"/>
                </a:lnTo>
                <a:lnTo>
                  <a:pt x="182" y="623"/>
                </a:lnTo>
                <a:lnTo>
                  <a:pt x="195" y="630"/>
                </a:lnTo>
                <a:lnTo>
                  <a:pt x="208" y="635"/>
                </a:lnTo>
                <a:lnTo>
                  <a:pt x="221" y="639"/>
                </a:lnTo>
                <a:lnTo>
                  <a:pt x="234" y="643"/>
                </a:lnTo>
                <a:lnTo>
                  <a:pt x="248" y="648"/>
                </a:lnTo>
                <a:lnTo>
                  <a:pt x="316" y="887"/>
                </a:lnTo>
                <a:lnTo>
                  <a:pt x="318" y="892"/>
                </a:lnTo>
                <a:lnTo>
                  <a:pt x="321" y="895"/>
                </a:lnTo>
                <a:lnTo>
                  <a:pt x="326" y="897"/>
                </a:lnTo>
                <a:lnTo>
                  <a:pt x="330" y="898"/>
                </a:lnTo>
                <a:lnTo>
                  <a:pt x="335" y="897"/>
                </a:lnTo>
                <a:lnTo>
                  <a:pt x="340" y="895"/>
                </a:lnTo>
                <a:lnTo>
                  <a:pt x="343" y="892"/>
                </a:lnTo>
                <a:lnTo>
                  <a:pt x="345" y="887"/>
                </a:lnTo>
                <a:lnTo>
                  <a:pt x="413" y="648"/>
                </a:lnTo>
                <a:lnTo>
                  <a:pt x="426" y="643"/>
                </a:lnTo>
                <a:lnTo>
                  <a:pt x="440" y="639"/>
                </a:lnTo>
                <a:lnTo>
                  <a:pt x="453" y="635"/>
                </a:lnTo>
                <a:lnTo>
                  <a:pt x="466" y="630"/>
                </a:lnTo>
                <a:lnTo>
                  <a:pt x="478" y="623"/>
                </a:lnTo>
                <a:lnTo>
                  <a:pt x="490" y="617"/>
                </a:lnTo>
                <a:lnTo>
                  <a:pt x="501" y="610"/>
                </a:lnTo>
                <a:lnTo>
                  <a:pt x="513" y="603"/>
                </a:lnTo>
                <a:lnTo>
                  <a:pt x="524" y="595"/>
                </a:lnTo>
                <a:lnTo>
                  <a:pt x="534" y="588"/>
                </a:lnTo>
                <a:lnTo>
                  <a:pt x="545" y="579"/>
                </a:lnTo>
                <a:lnTo>
                  <a:pt x="555" y="570"/>
                </a:lnTo>
                <a:lnTo>
                  <a:pt x="564" y="561"/>
                </a:lnTo>
                <a:lnTo>
                  <a:pt x="574" y="551"/>
                </a:lnTo>
                <a:lnTo>
                  <a:pt x="582" y="541"/>
                </a:lnTo>
                <a:lnTo>
                  <a:pt x="591" y="531"/>
                </a:lnTo>
                <a:lnTo>
                  <a:pt x="599" y="520"/>
                </a:lnTo>
                <a:lnTo>
                  <a:pt x="606" y="509"/>
                </a:lnTo>
                <a:lnTo>
                  <a:pt x="613" y="498"/>
                </a:lnTo>
                <a:lnTo>
                  <a:pt x="620" y="486"/>
                </a:lnTo>
                <a:lnTo>
                  <a:pt x="626" y="474"/>
                </a:lnTo>
                <a:lnTo>
                  <a:pt x="632" y="463"/>
                </a:lnTo>
                <a:lnTo>
                  <a:pt x="637" y="450"/>
                </a:lnTo>
                <a:lnTo>
                  <a:pt x="641" y="437"/>
                </a:lnTo>
                <a:lnTo>
                  <a:pt x="646" y="424"/>
                </a:lnTo>
                <a:lnTo>
                  <a:pt x="650" y="411"/>
                </a:lnTo>
                <a:lnTo>
                  <a:pt x="653" y="399"/>
                </a:lnTo>
                <a:lnTo>
                  <a:pt x="655" y="385"/>
                </a:lnTo>
                <a:lnTo>
                  <a:pt x="657" y="371"/>
                </a:lnTo>
                <a:lnTo>
                  <a:pt x="658" y="357"/>
                </a:lnTo>
                <a:lnTo>
                  <a:pt x="659" y="343"/>
                </a:lnTo>
                <a:lnTo>
                  <a:pt x="659" y="329"/>
                </a:lnTo>
                <a:lnTo>
                  <a:pt x="659" y="312"/>
                </a:lnTo>
                <a:lnTo>
                  <a:pt x="658" y="295"/>
                </a:lnTo>
                <a:lnTo>
                  <a:pt x="656" y="279"/>
                </a:lnTo>
                <a:lnTo>
                  <a:pt x="653" y="263"/>
                </a:lnTo>
                <a:lnTo>
                  <a:pt x="650" y="247"/>
                </a:lnTo>
                <a:lnTo>
                  <a:pt x="645" y="231"/>
                </a:lnTo>
                <a:lnTo>
                  <a:pt x="640" y="216"/>
                </a:lnTo>
                <a:lnTo>
                  <a:pt x="634" y="201"/>
                </a:lnTo>
                <a:lnTo>
                  <a:pt x="627" y="187"/>
                </a:lnTo>
                <a:lnTo>
                  <a:pt x="620" y="172"/>
                </a:lnTo>
                <a:lnTo>
                  <a:pt x="612" y="158"/>
                </a:lnTo>
                <a:lnTo>
                  <a:pt x="604" y="145"/>
                </a:lnTo>
                <a:lnTo>
                  <a:pt x="594" y="132"/>
                </a:lnTo>
                <a:lnTo>
                  <a:pt x="585" y="119"/>
                </a:lnTo>
                <a:lnTo>
                  <a:pt x="574" y="108"/>
                </a:lnTo>
                <a:lnTo>
                  <a:pt x="563" y="96"/>
                </a:lnTo>
                <a:lnTo>
                  <a:pt x="551" y="85"/>
                </a:lnTo>
                <a:lnTo>
                  <a:pt x="540" y="74"/>
                </a:lnTo>
                <a:lnTo>
                  <a:pt x="527" y="65"/>
                </a:lnTo>
                <a:lnTo>
                  <a:pt x="514" y="56"/>
                </a:lnTo>
                <a:lnTo>
                  <a:pt x="501" y="48"/>
                </a:lnTo>
                <a:lnTo>
                  <a:pt x="487" y="39"/>
                </a:lnTo>
                <a:lnTo>
                  <a:pt x="473" y="32"/>
                </a:lnTo>
                <a:lnTo>
                  <a:pt x="458" y="25"/>
                </a:lnTo>
                <a:lnTo>
                  <a:pt x="443" y="20"/>
                </a:lnTo>
                <a:lnTo>
                  <a:pt x="428" y="15"/>
                </a:lnTo>
                <a:lnTo>
                  <a:pt x="412" y="10"/>
                </a:lnTo>
                <a:lnTo>
                  <a:pt x="396" y="6"/>
                </a:lnTo>
                <a:lnTo>
                  <a:pt x="380" y="3"/>
                </a:lnTo>
                <a:lnTo>
                  <a:pt x="364" y="2"/>
                </a:lnTo>
                <a:lnTo>
                  <a:pt x="347" y="0"/>
                </a:lnTo>
                <a:lnTo>
                  <a:pt x="330" y="0"/>
                </a:lnTo>
                <a:lnTo>
                  <a:pt x="330"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417" name="Group 84">
            <a:extLst>
              <a:ext uri="{FF2B5EF4-FFF2-40B4-BE49-F238E27FC236}">
                <a16:creationId xmlns:a16="http://schemas.microsoft.com/office/drawing/2014/main" id="{682DF283-89B7-4197-83E7-228AA0927289}"/>
              </a:ext>
            </a:extLst>
          </p:cNvPr>
          <p:cNvGrpSpPr>
            <a:grpSpLocks noChangeAspect="1"/>
          </p:cNvGrpSpPr>
          <p:nvPr/>
        </p:nvGrpSpPr>
        <p:grpSpPr>
          <a:xfrm>
            <a:off x="1112029" y="2186361"/>
            <a:ext cx="214539" cy="306484"/>
            <a:chOff x="368300" y="1355725"/>
            <a:chExt cx="200025" cy="285750"/>
          </a:xfrm>
          <a:solidFill>
            <a:schemeClr val="bg2"/>
          </a:solidFill>
          <a:effectLst/>
        </p:grpSpPr>
        <p:sp>
          <p:nvSpPr>
            <p:cNvPr id="418" name="Freeform 56">
              <a:extLst>
                <a:ext uri="{FF2B5EF4-FFF2-40B4-BE49-F238E27FC236}">
                  <a16:creationId xmlns:a16="http://schemas.microsoft.com/office/drawing/2014/main" id="{61C39617-9295-41DC-A83E-F87563452D88}"/>
                </a:ext>
              </a:extLst>
            </p:cNvPr>
            <p:cNvSpPr>
              <a:spLocks noEditPoints="1"/>
            </p:cNvSpPr>
            <p:nvPr/>
          </p:nvSpPr>
          <p:spPr bwMode="auto">
            <a:xfrm>
              <a:off x="368300" y="1355725"/>
              <a:ext cx="200025" cy="285750"/>
            </a:xfrm>
            <a:custGeom>
              <a:avLst/>
              <a:gdLst>
                <a:gd name="T0" fmla="*/ 223 w 629"/>
                <a:gd name="T1" fmla="*/ 726 h 899"/>
                <a:gd name="T2" fmla="*/ 127 w 629"/>
                <a:gd name="T3" fmla="*/ 569 h 899"/>
                <a:gd name="T4" fmla="*/ 58 w 629"/>
                <a:gd name="T5" fmla="*/ 429 h 899"/>
                <a:gd name="T6" fmla="*/ 35 w 629"/>
                <a:gd name="T7" fmla="*/ 359 h 899"/>
                <a:gd name="T8" fmla="*/ 30 w 629"/>
                <a:gd name="T9" fmla="*/ 300 h 899"/>
                <a:gd name="T10" fmla="*/ 38 w 629"/>
                <a:gd name="T11" fmla="*/ 244 h 899"/>
                <a:gd name="T12" fmla="*/ 57 w 629"/>
                <a:gd name="T13" fmla="*/ 191 h 899"/>
                <a:gd name="T14" fmla="*/ 86 w 629"/>
                <a:gd name="T15" fmla="*/ 144 h 899"/>
                <a:gd name="T16" fmla="*/ 123 w 629"/>
                <a:gd name="T17" fmla="*/ 104 h 899"/>
                <a:gd name="T18" fmla="*/ 166 w 629"/>
                <a:gd name="T19" fmla="*/ 71 h 899"/>
                <a:gd name="T20" fmla="*/ 216 w 629"/>
                <a:gd name="T21" fmla="*/ 48 h 899"/>
                <a:gd name="T22" fmla="*/ 270 w 629"/>
                <a:gd name="T23" fmla="*/ 34 h 899"/>
                <a:gd name="T24" fmla="*/ 328 w 629"/>
                <a:gd name="T25" fmla="*/ 31 h 899"/>
                <a:gd name="T26" fmla="*/ 385 w 629"/>
                <a:gd name="T27" fmla="*/ 39 h 899"/>
                <a:gd name="T28" fmla="*/ 437 w 629"/>
                <a:gd name="T29" fmla="*/ 58 h 899"/>
                <a:gd name="T30" fmla="*/ 484 w 629"/>
                <a:gd name="T31" fmla="*/ 86 h 899"/>
                <a:gd name="T32" fmla="*/ 525 w 629"/>
                <a:gd name="T33" fmla="*/ 124 h 899"/>
                <a:gd name="T34" fmla="*/ 557 w 629"/>
                <a:gd name="T35" fmla="*/ 168 h 899"/>
                <a:gd name="T36" fmla="*/ 582 w 629"/>
                <a:gd name="T37" fmla="*/ 217 h 899"/>
                <a:gd name="T38" fmla="*/ 596 w 629"/>
                <a:gd name="T39" fmla="*/ 271 h 899"/>
                <a:gd name="T40" fmla="*/ 598 w 629"/>
                <a:gd name="T41" fmla="*/ 328 h 899"/>
                <a:gd name="T42" fmla="*/ 584 w 629"/>
                <a:gd name="T43" fmla="*/ 392 h 899"/>
                <a:gd name="T44" fmla="*/ 544 w 629"/>
                <a:gd name="T45" fmla="*/ 487 h 899"/>
                <a:gd name="T46" fmla="*/ 453 w 629"/>
                <a:gd name="T47" fmla="*/ 650 h 899"/>
                <a:gd name="T48" fmla="*/ 342 w 629"/>
                <a:gd name="T49" fmla="*/ 819 h 899"/>
                <a:gd name="T50" fmla="*/ 298 w 629"/>
                <a:gd name="T51" fmla="*/ 1 h 899"/>
                <a:gd name="T52" fmla="*/ 235 w 629"/>
                <a:gd name="T53" fmla="*/ 10 h 899"/>
                <a:gd name="T54" fmla="*/ 177 w 629"/>
                <a:gd name="T55" fmla="*/ 32 h 899"/>
                <a:gd name="T56" fmla="*/ 126 w 629"/>
                <a:gd name="T57" fmla="*/ 63 h 899"/>
                <a:gd name="T58" fmla="*/ 81 w 629"/>
                <a:gd name="T59" fmla="*/ 103 h 899"/>
                <a:gd name="T60" fmla="*/ 45 w 629"/>
                <a:gd name="T61" fmla="*/ 152 h 899"/>
                <a:gd name="T62" fmla="*/ 19 w 629"/>
                <a:gd name="T63" fmla="*/ 207 h 899"/>
                <a:gd name="T64" fmla="*/ 3 w 629"/>
                <a:gd name="T65" fmla="*/ 267 h 899"/>
                <a:gd name="T66" fmla="*/ 1 w 629"/>
                <a:gd name="T67" fmla="*/ 331 h 899"/>
                <a:gd name="T68" fmla="*/ 19 w 629"/>
                <a:gd name="T69" fmla="*/ 408 h 899"/>
                <a:gd name="T70" fmla="*/ 67 w 629"/>
                <a:gd name="T71" fmla="*/ 521 h 899"/>
                <a:gd name="T72" fmla="*/ 174 w 629"/>
                <a:gd name="T73" fmla="*/ 706 h 899"/>
                <a:gd name="T74" fmla="*/ 285 w 629"/>
                <a:gd name="T75" fmla="*/ 870 h 899"/>
                <a:gd name="T76" fmla="*/ 311 w 629"/>
                <a:gd name="T77" fmla="*/ 898 h 899"/>
                <a:gd name="T78" fmla="*/ 324 w 629"/>
                <a:gd name="T79" fmla="*/ 895 h 899"/>
                <a:gd name="T80" fmla="*/ 402 w 629"/>
                <a:gd name="T81" fmla="*/ 785 h 899"/>
                <a:gd name="T82" fmla="*/ 510 w 629"/>
                <a:gd name="T83" fmla="*/ 615 h 899"/>
                <a:gd name="T84" fmla="*/ 592 w 629"/>
                <a:gd name="T85" fmla="*/ 451 h 899"/>
                <a:gd name="T86" fmla="*/ 621 w 629"/>
                <a:gd name="T87" fmla="*/ 368 h 899"/>
                <a:gd name="T88" fmla="*/ 628 w 629"/>
                <a:gd name="T89" fmla="*/ 299 h 899"/>
                <a:gd name="T90" fmla="*/ 619 w 629"/>
                <a:gd name="T91" fmla="*/ 236 h 899"/>
                <a:gd name="T92" fmla="*/ 598 w 629"/>
                <a:gd name="T93" fmla="*/ 178 h 899"/>
                <a:gd name="T94" fmla="*/ 566 w 629"/>
                <a:gd name="T95" fmla="*/ 127 h 899"/>
                <a:gd name="T96" fmla="*/ 525 w 629"/>
                <a:gd name="T97" fmla="*/ 82 h 899"/>
                <a:gd name="T98" fmla="*/ 477 w 629"/>
                <a:gd name="T99" fmla="*/ 46 h 899"/>
                <a:gd name="T100" fmla="*/ 422 w 629"/>
                <a:gd name="T101" fmla="*/ 19 h 899"/>
                <a:gd name="T102" fmla="*/ 362 w 629"/>
                <a:gd name="T103" fmla="*/ 4 h 899"/>
                <a:gd name="T104" fmla="*/ 314 w 629"/>
                <a:gd name="T105"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9" h="899">
                  <a:moveTo>
                    <a:pt x="314" y="859"/>
                  </a:moveTo>
                  <a:lnTo>
                    <a:pt x="285" y="819"/>
                  </a:lnTo>
                  <a:lnTo>
                    <a:pt x="246" y="760"/>
                  </a:lnTo>
                  <a:lnTo>
                    <a:pt x="223" y="726"/>
                  </a:lnTo>
                  <a:lnTo>
                    <a:pt x="200" y="690"/>
                  </a:lnTo>
                  <a:lnTo>
                    <a:pt x="175" y="650"/>
                  </a:lnTo>
                  <a:lnTo>
                    <a:pt x="150" y="610"/>
                  </a:lnTo>
                  <a:lnTo>
                    <a:pt x="127" y="569"/>
                  </a:lnTo>
                  <a:lnTo>
                    <a:pt x="104" y="528"/>
                  </a:lnTo>
                  <a:lnTo>
                    <a:pt x="84" y="487"/>
                  </a:lnTo>
                  <a:lnTo>
                    <a:pt x="66" y="448"/>
                  </a:lnTo>
                  <a:lnTo>
                    <a:pt x="58" y="429"/>
                  </a:lnTo>
                  <a:lnTo>
                    <a:pt x="51" y="410"/>
                  </a:lnTo>
                  <a:lnTo>
                    <a:pt x="45" y="392"/>
                  </a:lnTo>
                  <a:lnTo>
                    <a:pt x="39" y="375"/>
                  </a:lnTo>
                  <a:lnTo>
                    <a:pt x="35" y="359"/>
                  </a:lnTo>
                  <a:lnTo>
                    <a:pt x="32" y="343"/>
                  </a:lnTo>
                  <a:lnTo>
                    <a:pt x="30" y="328"/>
                  </a:lnTo>
                  <a:lnTo>
                    <a:pt x="30" y="315"/>
                  </a:lnTo>
                  <a:lnTo>
                    <a:pt x="30" y="300"/>
                  </a:lnTo>
                  <a:lnTo>
                    <a:pt x="31" y="285"/>
                  </a:lnTo>
                  <a:lnTo>
                    <a:pt x="33" y="271"/>
                  </a:lnTo>
                  <a:lnTo>
                    <a:pt x="35" y="257"/>
                  </a:lnTo>
                  <a:lnTo>
                    <a:pt x="38" y="244"/>
                  </a:lnTo>
                  <a:lnTo>
                    <a:pt x="42" y="231"/>
                  </a:lnTo>
                  <a:lnTo>
                    <a:pt x="47" y="217"/>
                  </a:lnTo>
                  <a:lnTo>
                    <a:pt x="52" y="204"/>
                  </a:lnTo>
                  <a:lnTo>
                    <a:pt x="57" y="191"/>
                  </a:lnTo>
                  <a:lnTo>
                    <a:pt x="64" y="179"/>
                  </a:lnTo>
                  <a:lnTo>
                    <a:pt x="70" y="168"/>
                  </a:lnTo>
                  <a:lnTo>
                    <a:pt x="78" y="156"/>
                  </a:lnTo>
                  <a:lnTo>
                    <a:pt x="86" y="144"/>
                  </a:lnTo>
                  <a:lnTo>
                    <a:pt x="95" y="133"/>
                  </a:lnTo>
                  <a:lnTo>
                    <a:pt x="103" y="124"/>
                  </a:lnTo>
                  <a:lnTo>
                    <a:pt x="113" y="114"/>
                  </a:lnTo>
                  <a:lnTo>
                    <a:pt x="123" y="104"/>
                  </a:lnTo>
                  <a:lnTo>
                    <a:pt x="133" y="95"/>
                  </a:lnTo>
                  <a:lnTo>
                    <a:pt x="144" y="86"/>
                  </a:lnTo>
                  <a:lnTo>
                    <a:pt x="155" y="79"/>
                  </a:lnTo>
                  <a:lnTo>
                    <a:pt x="166" y="71"/>
                  </a:lnTo>
                  <a:lnTo>
                    <a:pt x="178" y="65"/>
                  </a:lnTo>
                  <a:lnTo>
                    <a:pt x="191" y="58"/>
                  </a:lnTo>
                  <a:lnTo>
                    <a:pt x="203" y="53"/>
                  </a:lnTo>
                  <a:lnTo>
                    <a:pt x="216" y="48"/>
                  </a:lnTo>
                  <a:lnTo>
                    <a:pt x="230" y="44"/>
                  </a:lnTo>
                  <a:lnTo>
                    <a:pt x="242" y="39"/>
                  </a:lnTo>
                  <a:lnTo>
                    <a:pt x="256" y="36"/>
                  </a:lnTo>
                  <a:lnTo>
                    <a:pt x="270" y="34"/>
                  </a:lnTo>
                  <a:lnTo>
                    <a:pt x="285" y="32"/>
                  </a:lnTo>
                  <a:lnTo>
                    <a:pt x="299" y="31"/>
                  </a:lnTo>
                  <a:lnTo>
                    <a:pt x="314" y="31"/>
                  </a:lnTo>
                  <a:lnTo>
                    <a:pt x="328" y="31"/>
                  </a:lnTo>
                  <a:lnTo>
                    <a:pt x="343" y="32"/>
                  </a:lnTo>
                  <a:lnTo>
                    <a:pt x="357" y="34"/>
                  </a:lnTo>
                  <a:lnTo>
                    <a:pt x="371" y="36"/>
                  </a:lnTo>
                  <a:lnTo>
                    <a:pt x="385" y="39"/>
                  </a:lnTo>
                  <a:lnTo>
                    <a:pt x="399" y="44"/>
                  </a:lnTo>
                  <a:lnTo>
                    <a:pt x="412" y="48"/>
                  </a:lnTo>
                  <a:lnTo>
                    <a:pt x="424" y="53"/>
                  </a:lnTo>
                  <a:lnTo>
                    <a:pt x="437" y="58"/>
                  </a:lnTo>
                  <a:lnTo>
                    <a:pt x="450" y="65"/>
                  </a:lnTo>
                  <a:lnTo>
                    <a:pt x="462" y="71"/>
                  </a:lnTo>
                  <a:lnTo>
                    <a:pt x="473" y="79"/>
                  </a:lnTo>
                  <a:lnTo>
                    <a:pt x="484" y="86"/>
                  </a:lnTo>
                  <a:lnTo>
                    <a:pt x="495" y="95"/>
                  </a:lnTo>
                  <a:lnTo>
                    <a:pt x="506" y="104"/>
                  </a:lnTo>
                  <a:lnTo>
                    <a:pt x="515" y="114"/>
                  </a:lnTo>
                  <a:lnTo>
                    <a:pt x="525" y="124"/>
                  </a:lnTo>
                  <a:lnTo>
                    <a:pt x="534" y="133"/>
                  </a:lnTo>
                  <a:lnTo>
                    <a:pt x="542" y="145"/>
                  </a:lnTo>
                  <a:lnTo>
                    <a:pt x="550" y="156"/>
                  </a:lnTo>
                  <a:lnTo>
                    <a:pt x="557" y="168"/>
                  </a:lnTo>
                  <a:lnTo>
                    <a:pt x="565" y="179"/>
                  </a:lnTo>
                  <a:lnTo>
                    <a:pt x="571" y="191"/>
                  </a:lnTo>
                  <a:lnTo>
                    <a:pt x="576" y="204"/>
                  </a:lnTo>
                  <a:lnTo>
                    <a:pt x="582" y="217"/>
                  </a:lnTo>
                  <a:lnTo>
                    <a:pt x="586" y="231"/>
                  </a:lnTo>
                  <a:lnTo>
                    <a:pt x="589" y="244"/>
                  </a:lnTo>
                  <a:lnTo>
                    <a:pt x="592" y="257"/>
                  </a:lnTo>
                  <a:lnTo>
                    <a:pt x="596" y="271"/>
                  </a:lnTo>
                  <a:lnTo>
                    <a:pt x="597" y="285"/>
                  </a:lnTo>
                  <a:lnTo>
                    <a:pt x="598" y="300"/>
                  </a:lnTo>
                  <a:lnTo>
                    <a:pt x="599" y="315"/>
                  </a:lnTo>
                  <a:lnTo>
                    <a:pt x="598" y="328"/>
                  </a:lnTo>
                  <a:lnTo>
                    <a:pt x="596" y="343"/>
                  </a:lnTo>
                  <a:lnTo>
                    <a:pt x="592" y="359"/>
                  </a:lnTo>
                  <a:lnTo>
                    <a:pt x="589" y="375"/>
                  </a:lnTo>
                  <a:lnTo>
                    <a:pt x="584" y="392"/>
                  </a:lnTo>
                  <a:lnTo>
                    <a:pt x="577" y="410"/>
                  </a:lnTo>
                  <a:lnTo>
                    <a:pt x="570" y="429"/>
                  </a:lnTo>
                  <a:lnTo>
                    <a:pt x="562" y="448"/>
                  </a:lnTo>
                  <a:lnTo>
                    <a:pt x="544" y="487"/>
                  </a:lnTo>
                  <a:lnTo>
                    <a:pt x="523" y="528"/>
                  </a:lnTo>
                  <a:lnTo>
                    <a:pt x="500" y="569"/>
                  </a:lnTo>
                  <a:lnTo>
                    <a:pt x="477" y="610"/>
                  </a:lnTo>
                  <a:lnTo>
                    <a:pt x="453" y="650"/>
                  </a:lnTo>
                  <a:lnTo>
                    <a:pt x="429" y="690"/>
                  </a:lnTo>
                  <a:lnTo>
                    <a:pt x="405" y="726"/>
                  </a:lnTo>
                  <a:lnTo>
                    <a:pt x="382" y="760"/>
                  </a:lnTo>
                  <a:lnTo>
                    <a:pt x="342" y="819"/>
                  </a:lnTo>
                  <a:lnTo>
                    <a:pt x="314" y="859"/>
                  </a:lnTo>
                  <a:lnTo>
                    <a:pt x="314" y="859"/>
                  </a:lnTo>
                  <a:close/>
                  <a:moveTo>
                    <a:pt x="314" y="0"/>
                  </a:moveTo>
                  <a:lnTo>
                    <a:pt x="298" y="1"/>
                  </a:lnTo>
                  <a:lnTo>
                    <a:pt x="282" y="2"/>
                  </a:lnTo>
                  <a:lnTo>
                    <a:pt x="266" y="4"/>
                  </a:lnTo>
                  <a:lnTo>
                    <a:pt x="251" y="6"/>
                  </a:lnTo>
                  <a:lnTo>
                    <a:pt x="235" y="10"/>
                  </a:lnTo>
                  <a:lnTo>
                    <a:pt x="220" y="15"/>
                  </a:lnTo>
                  <a:lnTo>
                    <a:pt x="206" y="19"/>
                  </a:lnTo>
                  <a:lnTo>
                    <a:pt x="191" y="25"/>
                  </a:lnTo>
                  <a:lnTo>
                    <a:pt x="177" y="32"/>
                  </a:lnTo>
                  <a:lnTo>
                    <a:pt x="164" y="38"/>
                  </a:lnTo>
                  <a:lnTo>
                    <a:pt x="150" y="46"/>
                  </a:lnTo>
                  <a:lnTo>
                    <a:pt x="139" y="54"/>
                  </a:lnTo>
                  <a:lnTo>
                    <a:pt x="126" y="63"/>
                  </a:lnTo>
                  <a:lnTo>
                    <a:pt x="114" y="72"/>
                  </a:lnTo>
                  <a:lnTo>
                    <a:pt x="102" y="82"/>
                  </a:lnTo>
                  <a:lnTo>
                    <a:pt x="92" y="93"/>
                  </a:lnTo>
                  <a:lnTo>
                    <a:pt x="81" y="103"/>
                  </a:lnTo>
                  <a:lnTo>
                    <a:pt x="71" y="115"/>
                  </a:lnTo>
                  <a:lnTo>
                    <a:pt x="62" y="127"/>
                  </a:lnTo>
                  <a:lnTo>
                    <a:pt x="53" y="139"/>
                  </a:lnTo>
                  <a:lnTo>
                    <a:pt x="45" y="152"/>
                  </a:lnTo>
                  <a:lnTo>
                    <a:pt x="37" y="165"/>
                  </a:lnTo>
                  <a:lnTo>
                    <a:pt x="31" y="178"/>
                  </a:lnTo>
                  <a:lnTo>
                    <a:pt x="24" y="192"/>
                  </a:lnTo>
                  <a:lnTo>
                    <a:pt x="19" y="207"/>
                  </a:lnTo>
                  <a:lnTo>
                    <a:pt x="13" y="221"/>
                  </a:lnTo>
                  <a:lnTo>
                    <a:pt x="9" y="236"/>
                  </a:lnTo>
                  <a:lnTo>
                    <a:pt x="6" y="251"/>
                  </a:lnTo>
                  <a:lnTo>
                    <a:pt x="3" y="267"/>
                  </a:lnTo>
                  <a:lnTo>
                    <a:pt x="1" y="283"/>
                  </a:lnTo>
                  <a:lnTo>
                    <a:pt x="0" y="299"/>
                  </a:lnTo>
                  <a:lnTo>
                    <a:pt x="0" y="315"/>
                  </a:lnTo>
                  <a:lnTo>
                    <a:pt x="1" y="331"/>
                  </a:lnTo>
                  <a:lnTo>
                    <a:pt x="3" y="348"/>
                  </a:lnTo>
                  <a:lnTo>
                    <a:pt x="7" y="368"/>
                  </a:lnTo>
                  <a:lnTo>
                    <a:pt x="11" y="387"/>
                  </a:lnTo>
                  <a:lnTo>
                    <a:pt x="19" y="408"/>
                  </a:lnTo>
                  <a:lnTo>
                    <a:pt x="26" y="430"/>
                  </a:lnTo>
                  <a:lnTo>
                    <a:pt x="35" y="451"/>
                  </a:lnTo>
                  <a:lnTo>
                    <a:pt x="45" y="473"/>
                  </a:lnTo>
                  <a:lnTo>
                    <a:pt x="67" y="521"/>
                  </a:lnTo>
                  <a:lnTo>
                    <a:pt x="92" y="568"/>
                  </a:lnTo>
                  <a:lnTo>
                    <a:pt x="118" y="615"/>
                  </a:lnTo>
                  <a:lnTo>
                    <a:pt x="146" y="661"/>
                  </a:lnTo>
                  <a:lnTo>
                    <a:pt x="174" y="706"/>
                  </a:lnTo>
                  <a:lnTo>
                    <a:pt x="201" y="747"/>
                  </a:lnTo>
                  <a:lnTo>
                    <a:pt x="226" y="785"/>
                  </a:lnTo>
                  <a:lnTo>
                    <a:pt x="250" y="819"/>
                  </a:lnTo>
                  <a:lnTo>
                    <a:pt x="285" y="870"/>
                  </a:lnTo>
                  <a:lnTo>
                    <a:pt x="302" y="893"/>
                  </a:lnTo>
                  <a:lnTo>
                    <a:pt x="305" y="895"/>
                  </a:lnTo>
                  <a:lnTo>
                    <a:pt x="308" y="897"/>
                  </a:lnTo>
                  <a:lnTo>
                    <a:pt x="311" y="898"/>
                  </a:lnTo>
                  <a:lnTo>
                    <a:pt x="314" y="899"/>
                  </a:lnTo>
                  <a:lnTo>
                    <a:pt x="317" y="898"/>
                  </a:lnTo>
                  <a:lnTo>
                    <a:pt x="321" y="897"/>
                  </a:lnTo>
                  <a:lnTo>
                    <a:pt x="324" y="895"/>
                  </a:lnTo>
                  <a:lnTo>
                    <a:pt x="326" y="893"/>
                  </a:lnTo>
                  <a:lnTo>
                    <a:pt x="343" y="870"/>
                  </a:lnTo>
                  <a:lnTo>
                    <a:pt x="378" y="819"/>
                  </a:lnTo>
                  <a:lnTo>
                    <a:pt x="402" y="785"/>
                  </a:lnTo>
                  <a:lnTo>
                    <a:pt x="428" y="747"/>
                  </a:lnTo>
                  <a:lnTo>
                    <a:pt x="454" y="706"/>
                  </a:lnTo>
                  <a:lnTo>
                    <a:pt x="482" y="661"/>
                  </a:lnTo>
                  <a:lnTo>
                    <a:pt x="510" y="615"/>
                  </a:lnTo>
                  <a:lnTo>
                    <a:pt x="536" y="568"/>
                  </a:lnTo>
                  <a:lnTo>
                    <a:pt x="561" y="521"/>
                  </a:lnTo>
                  <a:lnTo>
                    <a:pt x="583" y="473"/>
                  </a:lnTo>
                  <a:lnTo>
                    <a:pt x="592" y="451"/>
                  </a:lnTo>
                  <a:lnTo>
                    <a:pt x="602" y="430"/>
                  </a:lnTo>
                  <a:lnTo>
                    <a:pt x="609" y="408"/>
                  </a:lnTo>
                  <a:lnTo>
                    <a:pt x="616" y="387"/>
                  </a:lnTo>
                  <a:lnTo>
                    <a:pt x="621" y="368"/>
                  </a:lnTo>
                  <a:lnTo>
                    <a:pt x="626" y="348"/>
                  </a:lnTo>
                  <a:lnTo>
                    <a:pt x="628" y="331"/>
                  </a:lnTo>
                  <a:lnTo>
                    <a:pt x="629" y="315"/>
                  </a:lnTo>
                  <a:lnTo>
                    <a:pt x="628" y="299"/>
                  </a:lnTo>
                  <a:lnTo>
                    <a:pt x="627" y="283"/>
                  </a:lnTo>
                  <a:lnTo>
                    <a:pt x="624" y="267"/>
                  </a:lnTo>
                  <a:lnTo>
                    <a:pt x="622" y="251"/>
                  </a:lnTo>
                  <a:lnTo>
                    <a:pt x="619" y="236"/>
                  </a:lnTo>
                  <a:lnTo>
                    <a:pt x="615" y="221"/>
                  </a:lnTo>
                  <a:lnTo>
                    <a:pt x="609" y="207"/>
                  </a:lnTo>
                  <a:lnTo>
                    <a:pt x="604" y="192"/>
                  </a:lnTo>
                  <a:lnTo>
                    <a:pt x="598" y="178"/>
                  </a:lnTo>
                  <a:lnTo>
                    <a:pt x="590" y="165"/>
                  </a:lnTo>
                  <a:lnTo>
                    <a:pt x="583" y="152"/>
                  </a:lnTo>
                  <a:lnTo>
                    <a:pt x="575" y="139"/>
                  </a:lnTo>
                  <a:lnTo>
                    <a:pt x="566" y="127"/>
                  </a:lnTo>
                  <a:lnTo>
                    <a:pt x="557" y="115"/>
                  </a:lnTo>
                  <a:lnTo>
                    <a:pt x="546" y="103"/>
                  </a:lnTo>
                  <a:lnTo>
                    <a:pt x="537" y="93"/>
                  </a:lnTo>
                  <a:lnTo>
                    <a:pt x="525" y="82"/>
                  </a:lnTo>
                  <a:lnTo>
                    <a:pt x="514" y="72"/>
                  </a:lnTo>
                  <a:lnTo>
                    <a:pt x="502" y="63"/>
                  </a:lnTo>
                  <a:lnTo>
                    <a:pt x="490" y="54"/>
                  </a:lnTo>
                  <a:lnTo>
                    <a:pt x="477" y="46"/>
                  </a:lnTo>
                  <a:lnTo>
                    <a:pt x="464" y="38"/>
                  </a:lnTo>
                  <a:lnTo>
                    <a:pt x="450" y="32"/>
                  </a:lnTo>
                  <a:lnTo>
                    <a:pt x="436" y="25"/>
                  </a:lnTo>
                  <a:lnTo>
                    <a:pt x="422" y="19"/>
                  </a:lnTo>
                  <a:lnTo>
                    <a:pt x="407" y="15"/>
                  </a:lnTo>
                  <a:lnTo>
                    <a:pt x="392" y="10"/>
                  </a:lnTo>
                  <a:lnTo>
                    <a:pt x="377" y="7"/>
                  </a:lnTo>
                  <a:lnTo>
                    <a:pt x="362" y="4"/>
                  </a:lnTo>
                  <a:lnTo>
                    <a:pt x="346" y="2"/>
                  </a:lnTo>
                  <a:lnTo>
                    <a:pt x="330" y="1"/>
                  </a:lnTo>
                  <a:lnTo>
                    <a:pt x="314" y="1"/>
                  </a:lnTo>
                  <a:lnTo>
                    <a:pt x="3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57">
              <a:extLst>
                <a:ext uri="{FF2B5EF4-FFF2-40B4-BE49-F238E27FC236}">
                  <a16:creationId xmlns:a16="http://schemas.microsoft.com/office/drawing/2014/main" id="{10663785-3E88-4FEC-BFAF-56C7D379B275}"/>
                </a:ext>
              </a:extLst>
            </p:cNvPr>
            <p:cNvSpPr>
              <a:spLocks noEditPoints="1"/>
            </p:cNvSpPr>
            <p:nvPr/>
          </p:nvSpPr>
          <p:spPr bwMode="auto">
            <a:xfrm>
              <a:off x="425450" y="1412875"/>
              <a:ext cx="85725" cy="85725"/>
            </a:xfrm>
            <a:custGeom>
              <a:avLst/>
              <a:gdLst>
                <a:gd name="T0" fmla="*/ 114 w 270"/>
                <a:gd name="T1" fmla="*/ 238 h 270"/>
                <a:gd name="T2" fmla="*/ 85 w 270"/>
                <a:gd name="T3" fmla="*/ 227 h 270"/>
                <a:gd name="T4" fmla="*/ 61 w 270"/>
                <a:gd name="T5" fmla="*/ 209 h 270"/>
                <a:gd name="T6" fmla="*/ 43 w 270"/>
                <a:gd name="T7" fmla="*/ 184 h 270"/>
                <a:gd name="T8" fmla="*/ 32 w 270"/>
                <a:gd name="T9" fmla="*/ 156 h 270"/>
                <a:gd name="T10" fmla="*/ 30 w 270"/>
                <a:gd name="T11" fmla="*/ 124 h 270"/>
                <a:gd name="T12" fmla="*/ 39 w 270"/>
                <a:gd name="T13" fmla="*/ 93 h 270"/>
                <a:gd name="T14" fmla="*/ 54 w 270"/>
                <a:gd name="T15" fmla="*/ 68 h 270"/>
                <a:gd name="T16" fmla="*/ 76 w 270"/>
                <a:gd name="T17" fmla="*/ 47 h 270"/>
                <a:gd name="T18" fmla="*/ 104 w 270"/>
                <a:gd name="T19" fmla="*/ 35 h 270"/>
                <a:gd name="T20" fmla="*/ 135 w 270"/>
                <a:gd name="T21" fmla="*/ 30 h 270"/>
                <a:gd name="T22" fmla="*/ 166 w 270"/>
                <a:gd name="T23" fmla="*/ 35 h 270"/>
                <a:gd name="T24" fmla="*/ 194 w 270"/>
                <a:gd name="T25" fmla="*/ 47 h 270"/>
                <a:gd name="T26" fmla="*/ 215 w 270"/>
                <a:gd name="T27" fmla="*/ 68 h 270"/>
                <a:gd name="T28" fmla="*/ 231 w 270"/>
                <a:gd name="T29" fmla="*/ 95 h 270"/>
                <a:gd name="T30" fmla="*/ 239 w 270"/>
                <a:gd name="T31" fmla="*/ 124 h 270"/>
                <a:gd name="T32" fmla="*/ 238 w 270"/>
                <a:gd name="T33" fmla="*/ 156 h 270"/>
                <a:gd name="T34" fmla="*/ 227 w 270"/>
                <a:gd name="T35" fmla="*/ 184 h 270"/>
                <a:gd name="T36" fmla="*/ 209 w 270"/>
                <a:gd name="T37" fmla="*/ 209 h 270"/>
                <a:gd name="T38" fmla="*/ 184 w 270"/>
                <a:gd name="T39" fmla="*/ 227 h 270"/>
                <a:gd name="T40" fmla="*/ 157 w 270"/>
                <a:gd name="T41" fmla="*/ 238 h 270"/>
                <a:gd name="T42" fmla="*/ 135 w 270"/>
                <a:gd name="T43" fmla="*/ 0 h 270"/>
                <a:gd name="T44" fmla="*/ 94 w 270"/>
                <a:gd name="T45" fmla="*/ 6 h 270"/>
                <a:gd name="T46" fmla="*/ 59 w 270"/>
                <a:gd name="T47" fmla="*/ 23 h 270"/>
                <a:gd name="T48" fmla="*/ 31 w 270"/>
                <a:gd name="T49" fmla="*/ 50 h 270"/>
                <a:gd name="T50" fmla="*/ 11 w 270"/>
                <a:gd name="T51" fmla="*/ 83 h 270"/>
                <a:gd name="T52" fmla="*/ 0 w 270"/>
                <a:gd name="T53" fmla="*/ 121 h 270"/>
                <a:gd name="T54" fmla="*/ 2 w 270"/>
                <a:gd name="T55" fmla="*/ 162 h 270"/>
                <a:gd name="T56" fmla="*/ 16 w 270"/>
                <a:gd name="T57" fmla="*/ 199 h 270"/>
                <a:gd name="T58" fmla="*/ 40 w 270"/>
                <a:gd name="T59" fmla="*/ 230 h 270"/>
                <a:gd name="T60" fmla="*/ 71 w 270"/>
                <a:gd name="T61" fmla="*/ 253 h 270"/>
                <a:gd name="T62" fmla="*/ 107 w 270"/>
                <a:gd name="T63" fmla="*/ 267 h 270"/>
                <a:gd name="T64" fmla="*/ 149 w 270"/>
                <a:gd name="T65" fmla="*/ 269 h 270"/>
                <a:gd name="T66" fmla="*/ 188 w 270"/>
                <a:gd name="T67" fmla="*/ 259 h 270"/>
                <a:gd name="T68" fmla="*/ 221 w 270"/>
                <a:gd name="T69" fmla="*/ 239 h 270"/>
                <a:gd name="T70" fmla="*/ 246 w 270"/>
                <a:gd name="T71" fmla="*/ 210 h 270"/>
                <a:gd name="T72" fmla="*/ 264 w 270"/>
                <a:gd name="T73" fmla="*/ 175 h 270"/>
                <a:gd name="T74" fmla="*/ 270 w 270"/>
                <a:gd name="T75" fmla="*/ 135 h 270"/>
                <a:gd name="T76" fmla="*/ 264 w 270"/>
                <a:gd name="T77" fmla="*/ 95 h 270"/>
                <a:gd name="T78" fmla="*/ 246 w 270"/>
                <a:gd name="T79" fmla="*/ 59 h 270"/>
                <a:gd name="T80" fmla="*/ 221 w 270"/>
                <a:gd name="T81" fmla="*/ 30 h 270"/>
                <a:gd name="T82" fmla="*/ 188 w 270"/>
                <a:gd name="T83" fmla="*/ 11 h 270"/>
                <a:gd name="T84" fmla="*/ 149 w 270"/>
                <a:gd name="T8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0" h="270">
                  <a:moveTo>
                    <a:pt x="135" y="240"/>
                  </a:moveTo>
                  <a:lnTo>
                    <a:pt x="124" y="239"/>
                  </a:lnTo>
                  <a:lnTo>
                    <a:pt x="114" y="238"/>
                  </a:lnTo>
                  <a:lnTo>
                    <a:pt x="104" y="235"/>
                  </a:lnTo>
                  <a:lnTo>
                    <a:pt x="94" y="231"/>
                  </a:lnTo>
                  <a:lnTo>
                    <a:pt x="85" y="227"/>
                  </a:lnTo>
                  <a:lnTo>
                    <a:pt x="76" y="222"/>
                  </a:lnTo>
                  <a:lnTo>
                    <a:pt x="69" y="215"/>
                  </a:lnTo>
                  <a:lnTo>
                    <a:pt x="61" y="209"/>
                  </a:lnTo>
                  <a:lnTo>
                    <a:pt x="54" y="201"/>
                  </a:lnTo>
                  <a:lnTo>
                    <a:pt x="48" y="193"/>
                  </a:lnTo>
                  <a:lnTo>
                    <a:pt x="43" y="184"/>
                  </a:lnTo>
                  <a:lnTo>
                    <a:pt x="39" y="176"/>
                  </a:lnTo>
                  <a:lnTo>
                    <a:pt x="35" y="166"/>
                  </a:lnTo>
                  <a:lnTo>
                    <a:pt x="32" y="156"/>
                  </a:lnTo>
                  <a:lnTo>
                    <a:pt x="30" y="146"/>
                  </a:lnTo>
                  <a:lnTo>
                    <a:pt x="30" y="135"/>
                  </a:lnTo>
                  <a:lnTo>
                    <a:pt x="30" y="124"/>
                  </a:lnTo>
                  <a:lnTo>
                    <a:pt x="32" y="114"/>
                  </a:lnTo>
                  <a:lnTo>
                    <a:pt x="35" y="103"/>
                  </a:lnTo>
                  <a:lnTo>
                    <a:pt x="39" y="93"/>
                  </a:lnTo>
                  <a:lnTo>
                    <a:pt x="43" y="85"/>
                  </a:lnTo>
                  <a:lnTo>
                    <a:pt x="48" y="76"/>
                  </a:lnTo>
                  <a:lnTo>
                    <a:pt x="54" y="68"/>
                  </a:lnTo>
                  <a:lnTo>
                    <a:pt x="61" y="60"/>
                  </a:lnTo>
                  <a:lnTo>
                    <a:pt x="69" y="54"/>
                  </a:lnTo>
                  <a:lnTo>
                    <a:pt x="76" y="47"/>
                  </a:lnTo>
                  <a:lnTo>
                    <a:pt x="85" y="42"/>
                  </a:lnTo>
                  <a:lnTo>
                    <a:pt x="94" y="38"/>
                  </a:lnTo>
                  <a:lnTo>
                    <a:pt x="104" y="35"/>
                  </a:lnTo>
                  <a:lnTo>
                    <a:pt x="114" y="33"/>
                  </a:lnTo>
                  <a:lnTo>
                    <a:pt x="124" y="30"/>
                  </a:lnTo>
                  <a:lnTo>
                    <a:pt x="135" y="30"/>
                  </a:lnTo>
                  <a:lnTo>
                    <a:pt x="146" y="30"/>
                  </a:lnTo>
                  <a:lnTo>
                    <a:pt x="157" y="33"/>
                  </a:lnTo>
                  <a:lnTo>
                    <a:pt x="166" y="35"/>
                  </a:lnTo>
                  <a:lnTo>
                    <a:pt x="176" y="38"/>
                  </a:lnTo>
                  <a:lnTo>
                    <a:pt x="184" y="42"/>
                  </a:lnTo>
                  <a:lnTo>
                    <a:pt x="194" y="47"/>
                  </a:lnTo>
                  <a:lnTo>
                    <a:pt x="201" y="54"/>
                  </a:lnTo>
                  <a:lnTo>
                    <a:pt x="209" y="60"/>
                  </a:lnTo>
                  <a:lnTo>
                    <a:pt x="215" y="68"/>
                  </a:lnTo>
                  <a:lnTo>
                    <a:pt x="222" y="76"/>
                  </a:lnTo>
                  <a:lnTo>
                    <a:pt x="227" y="85"/>
                  </a:lnTo>
                  <a:lnTo>
                    <a:pt x="231" y="95"/>
                  </a:lnTo>
                  <a:lnTo>
                    <a:pt x="235" y="104"/>
                  </a:lnTo>
                  <a:lnTo>
                    <a:pt x="238" y="114"/>
                  </a:lnTo>
                  <a:lnTo>
                    <a:pt x="239" y="124"/>
                  </a:lnTo>
                  <a:lnTo>
                    <a:pt x="240" y="135"/>
                  </a:lnTo>
                  <a:lnTo>
                    <a:pt x="239" y="146"/>
                  </a:lnTo>
                  <a:lnTo>
                    <a:pt x="238" y="156"/>
                  </a:lnTo>
                  <a:lnTo>
                    <a:pt x="235" y="166"/>
                  </a:lnTo>
                  <a:lnTo>
                    <a:pt x="231" y="176"/>
                  </a:lnTo>
                  <a:lnTo>
                    <a:pt x="227" y="184"/>
                  </a:lnTo>
                  <a:lnTo>
                    <a:pt x="222" y="193"/>
                  </a:lnTo>
                  <a:lnTo>
                    <a:pt x="215" y="201"/>
                  </a:lnTo>
                  <a:lnTo>
                    <a:pt x="209" y="209"/>
                  </a:lnTo>
                  <a:lnTo>
                    <a:pt x="201" y="215"/>
                  </a:lnTo>
                  <a:lnTo>
                    <a:pt x="194" y="222"/>
                  </a:lnTo>
                  <a:lnTo>
                    <a:pt x="184" y="227"/>
                  </a:lnTo>
                  <a:lnTo>
                    <a:pt x="176" y="231"/>
                  </a:lnTo>
                  <a:lnTo>
                    <a:pt x="166" y="235"/>
                  </a:lnTo>
                  <a:lnTo>
                    <a:pt x="157" y="238"/>
                  </a:lnTo>
                  <a:lnTo>
                    <a:pt x="146" y="239"/>
                  </a:lnTo>
                  <a:lnTo>
                    <a:pt x="135" y="240"/>
                  </a:lnTo>
                  <a:close/>
                  <a:moveTo>
                    <a:pt x="135" y="0"/>
                  </a:moveTo>
                  <a:lnTo>
                    <a:pt x="121" y="0"/>
                  </a:lnTo>
                  <a:lnTo>
                    <a:pt x="107" y="3"/>
                  </a:lnTo>
                  <a:lnTo>
                    <a:pt x="94" y="6"/>
                  </a:lnTo>
                  <a:lnTo>
                    <a:pt x="83" y="11"/>
                  </a:lnTo>
                  <a:lnTo>
                    <a:pt x="71" y="16"/>
                  </a:lnTo>
                  <a:lnTo>
                    <a:pt x="59" y="23"/>
                  </a:lnTo>
                  <a:lnTo>
                    <a:pt x="50" y="30"/>
                  </a:lnTo>
                  <a:lnTo>
                    <a:pt x="40" y="40"/>
                  </a:lnTo>
                  <a:lnTo>
                    <a:pt x="31" y="50"/>
                  </a:lnTo>
                  <a:lnTo>
                    <a:pt x="23" y="59"/>
                  </a:lnTo>
                  <a:lnTo>
                    <a:pt x="16" y="71"/>
                  </a:lnTo>
                  <a:lnTo>
                    <a:pt x="11" y="83"/>
                  </a:lnTo>
                  <a:lnTo>
                    <a:pt x="6" y="95"/>
                  </a:lnTo>
                  <a:lnTo>
                    <a:pt x="2" y="107"/>
                  </a:lnTo>
                  <a:lnTo>
                    <a:pt x="0" y="121"/>
                  </a:lnTo>
                  <a:lnTo>
                    <a:pt x="0" y="135"/>
                  </a:lnTo>
                  <a:lnTo>
                    <a:pt x="0" y="148"/>
                  </a:lnTo>
                  <a:lnTo>
                    <a:pt x="2" y="162"/>
                  </a:lnTo>
                  <a:lnTo>
                    <a:pt x="6" y="175"/>
                  </a:lnTo>
                  <a:lnTo>
                    <a:pt x="11" y="188"/>
                  </a:lnTo>
                  <a:lnTo>
                    <a:pt x="16" y="199"/>
                  </a:lnTo>
                  <a:lnTo>
                    <a:pt x="23" y="210"/>
                  </a:lnTo>
                  <a:lnTo>
                    <a:pt x="31" y="221"/>
                  </a:lnTo>
                  <a:lnTo>
                    <a:pt x="40" y="230"/>
                  </a:lnTo>
                  <a:lnTo>
                    <a:pt x="50" y="239"/>
                  </a:lnTo>
                  <a:lnTo>
                    <a:pt x="59" y="246"/>
                  </a:lnTo>
                  <a:lnTo>
                    <a:pt x="71" y="253"/>
                  </a:lnTo>
                  <a:lnTo>
                    <a:pt x="83" y="259"/>
                  </a:lnTo>
                  <a:lnTo>
                    <a:pt x="94" y="264"/>
                  </a:lnTo>
                  <a:lnTo>
                    <a:pt x="107" y="267"/>
                  </a:lnTo>
                  <a:lnTo>
                    <a:pt x="121" y="269"/>
                  </a:lnTo>
                  <a:lnTo>
                    <a:pt x="135" y="270"/>
                  </a:lnTo>
                  <a:lnTo>
                    <a:pt x="149" y="269"/>
                  </a:lnTo>
                  <a:lnTo>
                    <a:pt x="162" y="267"/>
                  </a:lnTo>
                  <a:lnTo>
                    <a:pt x="175" y="264"/>
                  </a:lnTo>
                  <a:lnTo>
                    <a:pt x="188" y="259"/>
                  </a:lnTo>
                  <a:lnTo>
                    <a:pt x="199" y="253"/>
                  </a:lnTo>
                  <a:lnTo>
                    <a:pt x="210" y="246"/>
                  </a:lnTo>
                  <a:lnTo>
                    <a:pt x="221" y="239"/>
                  </a:lnTo>
                  <a:lnTo>
                    <a:pt x="230" y="230"/>
                  </a:lnTo>
                  <a:lnTo>
                    <a:pt x="239" y="221"/>
                  </a:lnTo>
                  <a:lnTo>
                    <a:pt x="246" y="210"/>
                  </a:lnTo>
                  <a:lnTo>
                    <a:pt x="254" y="199"/>
                  </a:lnTo>
                  <a:lnTo>
                    <a:pt x="259" y="188"/>
                  </a:lnTo>
                  <a:lnTo>
                    <a:pt x="264" y="175"/>
                  </a:lnTo>
                  <a:lnTo>
                    <a:pt x="267" y="162"/>
                  </a:lnTo>
                  <a:lnTo>
                    <a:pt x="269" y="148"/>
                  </a:lnTo>
                  <a:lnTo>
                    <a:pt x="270" y="135"/>
                  </a:lnTo>
                  <a:lnTo>
                    <a:pt x="269" y="121"/>
                  </a:lnTo>
                  <a:lnTo>
                    <a:pt x="267" y="107"/>
                  </a:lnTo>
                  <a:lnTo>
                    <a:pt x="264" y="95"/>
                  </a:lnTo>
                  <a:lnTo>
                    <a:pt x="259" y="83"/>
                  </a:lnTo>
                  <a:lnTo>
                    <a:pt x="254" y="71"/>
                  </a:lnTo>
                  <a:lnTo>
                    <a:pt x="246" y="59"/>
                  </a:lnTo>
                  <a:lnTo>
                    <a:pt x="239" y="50"/>
                  </a:lnTo>
                  <a:lnTo>
                    <a:pt x="230" y="40"/>
                  </a:lnTo>
                  <a:lnTo>
                    <a:pt x="221" y="30"/>
                  </a:lnTo>
                  <a:lnTo>
                    <a:pt x="210" y="23"/>
                  </a:lnTo>
                  <a:lnTo>
                    <a:pt x="199" y="16"/>
                  </a:lnTo>
                  <a:lnTo>
                    <a:pt x="188" y="11"/>
                  </a:lnTo>
                  <a:lnTo>
                    <a:pt x="175" y="6"/>
                  </a:lnTo>
                  <a:lnTo>
                    <a:pt x="162" y="3"/>
                  </a:lnTo>
                  <a:lnTo>
                    <a:pt x="149"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0" name="Freeform 260">
            <a:extLst>
              <a:ext uri="{FF2B5EF4-FFF2-40B4-BE49-F238E27FC236}">
                <a16:creationId xmlns:a16="http://schemas.microsoft.com/office/drawing/2014/main" id="{4FB6652F-7ACD-4E9C-BBB1-D5C363AD61FA}"/>
              </a:ext>
            </a:extLst>
          </p:cNvPr>
          <p:cNvSpPr>
            <a:spLocks noChangeAspect="1" noEditPoints="1"/>
          </p:cNvSpPr>
          <p:nvPr/>
        </p:nvSpPr>
        <p:spPr bwMode="auto">
          <a:xfrm>
            <a:off x="1518919" y="2186361"/>
            <a:ext cx="205464" cy="306484"/>
          </a:xfrm>
          <a:custGeom>
            <a:avLst/>
            <a:gdLst>
              <a:gd name="T0" fmla="*/ 30 w 598"/>
              <a:gd name="T1" fmla="*/ 486 h 897"/>
              <a:gd name="T2" fmla="*/ 30 w 598"/>
              <a:gd name="T3" fmla="*/ 38 h 897"/>
              <a:gd name="T4" fmla="*/ 546 w 598"/>
              <a:gd name="T5" fmla="*/ 255 h 897"/>
              <a:gd name="T6" fmla="*/ 30 w 598"/>
              <a:gd name="T7" fmla="*/ 486 h 897"/>
              <a:gd name="T8" fmla="*/ 589 w 598"/>
              <a:gd name="T9" fmla="*/ 241 h 897"/>
              <a:gd name="T10" fmla="*/ 21 w 598"/>
              <a:gd name="T11" fmla="*/ 2 h 897"/>
              <a:gd name="T12" fmla="*/ 21 w 598"/>
              <a:gd name="T13" fmla="*/ 2 h 897"/>
              <a:gd name="T14" fmla="*/ 21 w 598"/>
              <a:gd name="T15" fmla="*/ 2 h 897"/>
              <a:gd name="T16" fmla="*/ 19 w 598"/>
              <a:gd name="T17" fmla="*/ 1 h 897"/>
              <a:gd name="T18" fmla="*/ 15 w 598"/>
              <a:gd name="T19" fmla="*/ 1 h 897"/>
              <a:gd name="T20" fmla="*/ 15 w 598"/>
              <a:gd name="T21" fmla="*/ 0 h 897"/>
              <a:gd name="T22" fmla="*/ 15 w 598"/>
              <a:gd name="T23" fmla="*/ 0 h 897"/>
              <a:gd name="T24" fmla="*/ 15 w 598"/>
              <a:gd name="T25" fmla="*/ 0 h 897"/>
              <a:gd name="T26" fmla="*/ 14 w 598"/>
              <a:gd name="T27" fmla="*/ 0 h 897"/>
              <a:gd name="T28" fmla="*/ 12 w 598"/>
              <a:gd name="T29" fmla="*/ 1 h 897"/>
              <a:gd name="T30" fmla="*/ 10 w 598"/>
              <a:gd name="T31" fmla="*/ 1 h 897"/>
              <a:gd name="T32" fmla="*/ 9 w 598"/>
              <a:gd name="T33" fmla="*/ 2 h 897"/>
              <a:gd name="T34" fmla="*/ 9 w 598"/>
              <a:gd name="T35" fmla="*/ 2 h 897"/>
              <a:gd name="T36" fmla="*/ 8 w 598"/>
              <a:gd name="T37" fmla="*/ 2 h 897"/>
              <a:gd name="T38" fmla="*/ 7 w 598"/>
              <a:gd name="T39" fmla="*/ 3 h 897"/>
              <a:gd name="T40" fmla="*/ 6 w 598"/>
              <a:gd name="T41" fmla="*/ 3 h 897"/>
              <a:gd name="T42" fmla="*/ 5 w 598"/>
              <a:gd name="T43" fmla="*/ 4 h 897"/>
              <a:gd name="T44" fmla="*/ 5 w 598"/>
              <a:gd name="T45" fmla="*/ 4 h 897"/>
              <a:gd name="T46" fmla="*/ 5 w 598"/>
              <a:gd name="T47" fmla="*/ 5 h 897"/>
              <a:gd name="T48" fmla="*/ 3 w 598"/>
              <a:gd name="T49" fmla="*/ 8 h 897"/>
              <a:gd name="T50" fmla="*/ 1 w 598"/>
              <a:gd name="T51" fmla="*/ 10 h 897"/>
              <a:gd name="T52" fmla="*/ 1 w 598"/>
              <a:gd name="T53" fmla="*/ 10 h 897"/>
              <a:gd name="T54" fmla="*/ 1 w 598"/>
              <a:gd name="T55" fmla="*/ 11 h 897"/>
              <a:gd name="T56" fmla="*/ 0 w 598"/>
              <a:gd name="T57" fmla="*/ 13 h 897"/>
              <a:gd name="T58" fmla="*/ 0 w 598"/>
              <a:gd name="T59" fmla="*/ 15 h 897"/>
              <a:gd name="T60" fmla="*/ 0 w 598"/>
              <a:gd name="T61" fmla="*/ 509 h 897"/>
              <a:gd name="T62" fmla="*/ 0 w 598"/>
              <a:gd name="T63" fmla="*/ 882 h 897"/>
              <a:gd name="T64" fmla="*/ 0 w 598"/>
              <a:gd name="T65" fmla="*/ 886 h 897"/>
              <a:gd name="T66" fmla="*/ 1 w 598"/>
              <a:gd name="T67" fmla="*/ 889 h 897"/>
              <a:gd name="T68" fmla="*/ 3 w 598"/>
              <a:gd name="T69" fmla="*/ 891 h 897"/>
              <a:gd name="T70" fmla="*/ 5 w 598"/>
              <a:gd name="T71" fmla="*/ 893 h 897"/>
              <a:gd name="T72" fmla="*/ 7 w 598"/>
              <a:gd name="T73" fmla="*/ 895 h 897"/>
              <a:gd name="T74" fmla="*/ 9 w 598"/>
              <a:gd name="T75" fmla="*/ 896 h 897"/>
              <a:gd name="T76" fmla="*/ 12 w 598"/>
              <a:gd name="T77" fmla="*/ 897 h 897"/>
              <a:gd name="T78" fmla="*/ 15 w 598"/>
              <a:gd name="T79" fmla="*/ 897 h 897"/>
              <a:gd name="T80" fmla="*/ 19 w 598"/>
              <a:gd name="T81" fmla="*/ 897 h 897"/>
              <a:gd name="T82" fmla="*/ 21 w 598"/>
              <a:gd name="T83" fmla="*/ 896 h 897"/>
              <a:gd name="T84" fmla="*/ 24 w 598"/>
              <a:gd name="T85" fmla="*/ 895 h 897"/>
              <a:gd name="T86" fmla="*/ 26 w 598"/>
              <a:gd name="T87" fmla="*/ 893 h 897"/>
              <a:gd name="T88" fmla="*/ 27 w 598"/>
              <a:gd name="T89" fmla="*/ 891 h 897"/>
              <a:gd name="T90" fmla="*/ 29 w 598"/>
              <a:gd name="T91" fmla="*/ 889 h 897"/>
              <a:gd name="T92" fmla="*/ 29 w 598"/>
              <a:gd name="T93" fmla="*/ 886 h 897"/>
              <a:gd name="T94" fmla="*/ 30 w 598"/>
              <a:gd name="T95" fmla="*/ 882 h 897"/>
              <a:gd name="T96" fmla="*/ 30 w 598"/>
              <a:gd name="T97" fmla="*/ 519 h 897"/>
              <a:gd name="T98" fmla="*/ 590 w 598"/>
              <a:gd name="T99" fmla="*/ 269 h 897"/>
              <a:gd name="T100" fmla="*/ 593 w 598"/>
              <a:gd name="T101" fmla="*/ 266 h 897"/>
              <a:gd name="T102" fmla="*/ 596 w 598"/>
              <a:gd name="T103" fmla="*/ 263 h 897"/>
              <a:gd name="T104" fmla="*/ 597 w 598"/>
              <a:gd name="T105" fmla="*/ 259 h 897"/>
              <a:gd name="T106" fmla="*/ 598 w 598"/>
              <a:gd name="T107" fmla="*/ 255 h 897"/>
              <a:gd name="T108" fmla="*/ 597 w 598"/>
              <a:gd name="T109" fmla="*/ 250 h 897"/>
              <a:gd name="T110" fmla="*/ 596 w 598"/>
              <a:gd name="T111" fmla="*/ 246 h 897"/>
              <a:gd name="T112" fmla="*/ 593 w 598"/>
              <a:gd name="T113" fmla="*/ 243 h 897"/>
              <a:gd name="T114" fmla="*/ 589 w 598"/>
              <a:gd name="T115" fmla="*/ 241 h 897"/>
              <a:gd name="T116" fmla="*/ 589 w 598"/>
              <a:gd name="T117" fmla="*/ 24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8" h="897">
                <a:moveTo>
                  <a:pt x="30" y="486"/>
                </a:moveTo>
                <a:lnTo>
                  <a:pt x="30" y="38"/>
                </a:lnTo>
                <a:lnTo>
                  <a:pt x="546" y="255"/>
                </a:lnTo>
                <a:lnTo>
                  <a:pt x="30" y="486"/>
                </a:lnTo>
                <a:close/>
                <a:moveTo>
                  <a:pt x="589" y="241"/>
                </a:moveTo>
                <a:lnTo>
                  <a:pt x="21" y="2"/>
                </a:lnTo>
                <a:lnTo>
                  <a:pt x="21" y="2"/>
                </a:lnTo>
                <a:lnTo>
                  <a:pt x="21" y="2"/>
                </a:lnTo>
                <a:lnTo>
                  <a:pt x="19" y="1"/>
                </a:lnTo>
                <a:lnTo>
                  <a:pt x="15" y="1"/>
                </a:lnTo>
                <a:lnTo>
                  <a:pt x="15" y="0"/>
                </a:lnTo>
                <a:lnTo>
                  <a:pt x="15" y="0"/>
                </a:lnTo>
                <a:lnTo>
                  <a:pt x="15" y="0"/>
                </a:lnTo>
                <a:lnTo>
                  <a:pt x="14" y="0"/>
                </a:lnTo>
                <a:lnTo>
                  <a:pt x="12" y="1"/>
                </a:lnTo>
                <a:lnTo>
                  <a:pt x="10" y="1"/>
                </a:lnTo>
                <a:lnTo>
                  <a:pt x="9" y="2"/>
                </a:lnTo>
                <a:lnTo>
                  <a:pt x="9" y="2"/>
                </a:lnTo>
                <a:lnTo>
                  <a:pt x="8" y="2"/>
                </a:lnTo>
                <a:lnTo>
                  <a:pt x="7" y="3"/>
                </a:lnTo>
                <a:lnTo>
                  <a:pt x="6" y="3"/>
                </a:lnTo>
                <a:lnTo>
                  <a:pt x="5" y="4"/>
                </a:lnTo>
                <a:lnTo>
                  <a:pt x="5" y="4"/>
                </a:lnTo>
                <a:lnTo>
                  <a:pt x="5" y="5"/>
                </a:lnTo>
                <a:lnTo>
                  <a:pt x="3" y="8"/>
                </a:lnTo>
                <a:lnTo>
                  <a:pt x="1" y="10"/>
                </a:lnTo>
                <a:lnTo>
                  <a:pt x="1" y="10"/>
                </a:lnTo>
                <a:lnTo>
                  <a:pt x="1" y="11"/>
                </a:lnTo>
                <a:lnTo>
                  <a:pt x="0" y="13"/>
                </a:lnTo>
                <a:lnTo>
                  <a:pt x="0" y="15"/>
                </a:lnTo>
                <a:lnTo>
                  <a:pt x="0" y="509"/>
                </a:lnTo>
                <a:lnTo>
                  <a:pt x="0" y="882"/>
                </a:lnTo>
                <a:lnTo>
                  <a:pt x="0" y="886"/>
                </a:lnTo>
                <a:lnTo>
                  <a:pt x="1" y="889"/>
                </a:lnTo>
                <a:lnTo>
                  <a:pt x="3" y="891"/>
                </a:lnTo>
                <a:lnTo>
                  <a:pt x="5" y="893"/>
                </a:lnTo>
                <a:lnTo>
                  <a:pt x="7" y="895"/>
                </a:lnTo>
                <a:lnTo>
                  <a:pt x="9" y="896"/>
                </a:lnTo>
                <a:lnTo>
                  <a:pt x="12" y="897"/>
                </a:lnTo>
                <a:lnTo>
                  <a:pt x="15" y="897"/>
                </a:lnTo>
                <a:lnTo>
                  <a:pt x="19" y="897"/>
                </a:lnTo>
                <a:lnTo>
                  <a:pt x="21" y="896"/>
                </a:lnTo>
                <a:lnTo>
                  <a:pt x="24" y="895"/>
                </a:lnTo>
                <a:lnTo>
                  <a:pt x="26" y="893"/>
                </a:lnTo>
                <a:lnTo>
                  <a:pt x="27" y="891"/>
                </a:lnTo>
                <a:lnTo>
                  <a:pt x="29" y="889"/>
                </a:lnTo>
                <a:lnTo>
                  <a:pt x="29" y="886"/>
                </a:lnTo>
                <a:lnTo>
                  <a:pt x="30" y="882"/>
                </a:lnTo>
                <a:lnTo>
                  <a:pt x="30" y="519"/>
                </a:lnTo>
                <a:lnTo>
                  <a:pt x="590" y="269"/>
                </a:lnTo>
                <a:lnTo>
                  <a:pt x="593" y="266"/>
                </a:lnTo>
                <a:lnTo>
                  <a:pt x="596" y="263"/>
                </a:lnTo>
                <a:lnTo>
                  <a:pt x="597" y="259"/>
                </a:lnTo>
                <a:lnTo>
                  <a:pt x="598" y="255"/>
                </a:lnTo>
                <a:lnTo>
                  <a:pt x="597" y="250"/>
                </a:lnTo>
                <a:lnTo>
                  <a:pt x="596" y="246"/>
                </a:lnTo>
                <a:lnTo>
                  <a:pt x="593" y="243"/>
                </a:lnTo>
                <a:lnTo>
                  <a:pt x="589" y="241"/>
                </a:lnTo>
                <a:lnTo>
                  <a:pt x="589" y="24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421" name="Freeform 357">
            <a:extLst>
              <a:ext uri="{FF2B5EF4-FFF2-40B4-BE49-F238E27FC236}">
                <a16:creationId xmlns:a16="http://schemas.microsoft.com/office/drawing/2014/main" id="{496B8051-781D-40ED-B2FC-BF2DA29B9D0E}"/>
              </a:ext>
            </a:extLst>
          </p:cNvPr>
          <p:cNvSpPr>
            <a:spLocks noChangeAspect="1" noEditPoints="1"/>
          </p:cNvSpPr>
          <p:nvPr/>
        </p:nvSpPr>
        <p:spPr bwMode="auto">
          <a:xfrm>
            <a:off x="1929173" y="2186361"/>
            <a:ext cx="215048" cy="306484"/>
          </a:xfrm>
          <a:custGeom>
            <a:avLst/>
            <a:gdLst>
              <a:gd name="T0" fmla="*/ 250 w 632"/>
              <a:gd name="T1" fmla="*/ 68 h 903"/>
              <a:gd name="T2" fmla="*/ 281 w 632"/>
              <a:gd name="T3" fmla="*/ 38 h 903"/>
              <a:gd name="T4" fmla="*/ 324 w 632"/>
              <a:gd name="T5" fmla="*/ 30 h 903"/>
              <a:gd name="T6" fmla="*/ 364 w 632"/>
              <a:gd name="T7" fmla="*/ 47 h 903"/>
              <a:gd name="T8" fmla="*/ 388 w 632"/>
              <a:gd name="T9" fmla="*/ 82 h 903"/>
              <a:gd name="T10" fmla="*/ 388 w 632"/>
              <a:gd name="T11" fmla="*/ 127 h 903"/>
              <a:gd name="T12" fmla="*/ 364 w 632"/>
              <a:gd name="T13" fmla="*/ 163 h 903"/>
              <a:gd name="T14" fmla="*/ 324 w 632"/>
              <a:gd name="T15" fmla="*/ 180 h 903"/>
              <a:gd name="T16" fmla="*/ 281 w 632"/>
              <a:gd name="T17" fmla="*/ 171 h 903"/>
              <a:gd name="T18" fmla="*/ 250 w 632"/>
              <a:gd name="T19" fmla="*/ 140 h 903"/>
              <a:gd name="T20" fmla="*/ 623 w 632"/>
              <a:gd name="T21" fmla="*/ 573 h 903"/>
              <a:gd name="T22" fmla="*/ 529 w 632"/>
              <a:gd name="T23" fmla="*/ 653 h 903"/>
              <a:gd name="T24" fmla="*/ 529 w 632"/>
              <a:gd name="T25" fmla="*/ 670 h 903"/>
              <a:gd name="T26" fmla="*/ 545 w 632"/>
              <a:gd name="T27" fmla="*/ 677 h 903"/>
              <a:gd name="T28" fmla="*/ 595 w 632"/>
              <a:gd name="T29" fmla="*/ 650 h 903"/>
              <a:gd name="T30" fmla="*/ 542 w 632"/>
              <a:gd name="T31" fmla="*/ 760 h 903"/>
              <a:gd name="T32" fmla="*/ 429 w 632"/>
              <a:gd name="T33" fmla="*/ 850 h 903"/>
              <a:gd name="T34" fmla="*/ 357 w 632"/>
              <a:gd name="T35" fmla="*/ 870 h 903"/>
              <a:gd name="T36" fmla="*/ 473 w 632"/>
              <a:gd name="T37" fmla="*/ 359 h 903"/>
              <a:gd name="T38" fmla="*/ 482 w 632"/>
              <a:gd name="T39" fmla="*/ 346 h 903"/>
              <a:gd name="T40" fmla="*/ 473 w 632"/>
              <a:gd name="T41" fmla="*/ 332 h 903"/>
              <a:gd name="T42" fmla="*/ 349 w 632"/>
              <a:gd name="T43" fmla="*/ 205 h 903"/>
              <a:gd name="T44" fmla="*/ 395 w 632"/>
              <a:gd name="T45" fmla="*/ 174 h 903"/>
              <a:gd name="T46" fmla="*/ 420 w 632"/>
              <a:gd name="T47" fmla="*/ 124 h 903"/>
              <a:gd name="T48" fmla="*/ 414 w 632"/>
              <a:gd name="T49" fmla="*/ 64 h 903"/>
              <a:gd name="T50" fmla="*/ 375 w 632"/>
              <a:gd name="T51" fmla="*/ 17 h 903"/>
              <a:gd name="T52" fmla="*/ 316 w 632"/>
              <a:gd name="T53" fmla="*/ 0 h 903"/>
              <a:gd name="T54" fmla="*/ 257 w 632"/>
              <a:gd name="T55" fmla="*/ 17 h 903"/>
              <a:gd name="T56" fmla="*/ 220 w 632"/>
              <a:gd name="T57" fmla="*/ 64 h 903"/>
              <a:gd name="T58" fmla="*/ 213 w 632"/>
              <a:gd name="T59" fmla="*/ 124 h 903"/>
              <a:gd name="T60" fmla="*/ 237 w 632"/>
              <a:gd name="T61" fmla="*/ 174 h 903"/>
              <a:gd name="T62" fmla="*/ 283 w 632"/>
              <a:gd name="T63" fmla="*/ 205 h 903"/>
              <a:gd name="T64" fmla="*/ 159 w 632"/>
              <a:gd name="T65" fmla="*/ 332 h 903"/>
              <a:gd name="T66" fmla="*/ 151 w 632"/>
              <a:gd name="T67" fmla="*/ 346 h 903"/>
              <a:gd name="T68" fmla="*/ 159 w 632"/>
              <a:gd name="T69" fmla="*/ 359 h 903"/>
              <a:gd name="T70" fmla="*/ 275 w 632"/>
              <a:gd name="T71" fmla="*/ 870 h 903"/>
              <a:gd name="T72" fmla="*/ 203 w 632"/>
              <a:gd name="T73" fmla="*/ 850 h 903"/>
              <a:gd name="T74" fmla="*/ 90 w 632"/>
              <a:gd name="T75" fmla="*/ 760 h 903"/>
              <a:gd name="T76" fmla="*/ 37 w 632"/>
              <a:gd name="T77" fmla="*/ 651 h 903"/>
              <a:gd name="T78" fmla="*/ 88 w 632"/>
              <a:gd name="T79" fmla="*/ 677 h 903"/>
              <a:gd name="T80" fmla="*/ 103 w 632"/>
              <a:gd name="T81" fmla="*/ 670 h 903"/>
              <a:gd name="T82" fmla="*/ 103 w 632"/>
              <a:gd name="T83" fmla="*/ 653 h 903"/>
              <a:gd name="T84" fmla="*/ 9 w 632"/>
              <a:gd name="T85" fmla="*/ 573 h 903"/>
              <a:gd name="T86" fmla="*/ 2 w 632"/>
              <a:gd name="T87" fmla="*/ 619 h 903"/>
              <a:gd name="T88" fmla="*/ 25 w 632"/>
              <a:gd name="T89" fmla="*/ 710 h 903"/>
              <a:gd name="T90" fmla="*/ 73 w 632"/>
              <a:gd name="T91" fmla="*/ 787 h 903"/>
              <a:gd name="T92" fmla="*/ 139 w 632"/>
              <a:gd name="T93" fmla="*/ 848 h 903"/>
              <a:gd name="T94" fmla="*/ 223 w 632"/>
              <a:gd name="T95" fmla="*/ 889 h 903"/>
              <a:gd name="T96" fmla="*/ 316 w 632"/>
              <a:gd name="T97" fmla="*/ 903 h 903"/>
              <a:gd name="T98" fmla="*/ 410 w 632"/>
              <a:gd name="T99" fmla="*/ 889 h 903"/>
              <a:gd name="T100" fmla="*/ 493 w 632"/>
              <a:gd name="T101" fmla="*/ 848 h 903"/>
              <a:gd name="T102" fmla="*/ 560 w 632"/>
              <a:gd name="T103" fmla="*/ 787 h 903"/>
              <a:gd name="T104" fmla="*/ 608 w 632"/>
              <a:gd name="T105" fmla="*/ 710 h 903"/>
              <a:gd name="T106" fmla="*/ 630 w 632"/>
              <a:gd name="T107" fmla="*/ 619 h 903"/>
              <a:gd name="T108" fmla="*/ 623 w 632"/>
              <a:gd name="T109" fmla="*/ 5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2" h="903">
                <a:moveTo>
                  <a:pt x="241" y="105"/>
                </a:moveTo>
                <a:lnTo>
                  <a:pt x="241" y="97"/>
                </a:lnTo>
                <a:lnTo>
                  <a:pt x="242" y="90"/>
                </a:lnTo>
                <a:lnTo>
                  <a:pt x="244" y="82"/>
                </a:lnTo>
                <a:lnTo>
                  <a:pt x="246" y="76"/>
                </a:lnTo>
                <a:lnTo>
                  <a:pt x="250" y="68"/>
                </a:lnTo>
                <a:lnTo>
                  <a:pt x="254" y="63"/>
                </a:lnTo>
                <a:lnTo>
                  <a:pt x="258" y="57"/>
                </a:lnTo>
                <a:lnTo>
                  <a:pt x="264" y="51"/>
                </a:lnTo>
                <a:lnTo>
                  <a:pt x="269" y="47"/>
                </a:lnTo>
                <a:lnTo>
                  <a:pt x="274" y="43"/>
                </a:lnTo>
                <a:lnTo>
                  <a:pt x="281" y="38"/>
                </a:lnTo>
                <a:lnTo>
                  <a:pt x="287" y="35"/>
                </a:lnTo>
                <a:lnTo>
                  <a:pt x="294" y="33"/>
                </a:lnTo>
                <a:lnTo>
                  <a:pt x="301" y="31"/>
                </a:lnTo>
                <a:lnTo>
                  <a:pt x="309" y="30"/>
                </a:lnTo>
                <a:lnTo>
                  <a:pt x="316" y="30"/>
                </a:lnTo>
                <a:lnTo>
                  <a:pt x="324" y="30"/>
                </a:lnTo>
                <a:lnTo>
                  <a:pt x="331" y="31"/>
                </a:lnTo>
                <a:lnTo>
                  <a:pt x="339" y="33"/>
                </a:lnTo>
                <a:lnTo>
                  <a:pt x="345" y="35"/>
                </a:lnTo>
                <a:lnTo>
                  <a:pt x="353" y="38"/>
                </a:lnTo>
                <a:lnTo>
                  <a:pt x="358" y="43"/>
                </a:lnTo>
                <a:lnTo>
                  <a:pt x="364" y="47"/>
                </a:lnTo>
                <a:lnTo>
                  <a:pt x="370" y="51"/>
                </a:lnTo>
                <a:lnTo>
                  <a:pt x="374" y="57"/>
                </a:lnTo>
                <a:lnTo>
                  <a:pt x="378" y="63"/>
                </a:lnTo>
                <a:lnTo>
                  <a:pt x="383" y="68"/>
                </a:lnTo>
                <a:lnTo>
                  <a:pt x="386" y="76"/>
                </a:lnTo>
                <a:lnTo>
                  <a:pt x="388" y="82"/>
                </a:lnTo>
                <a:lnTo>
                  <a:pt x="390" y="90"/>
                </a:lnTo>
                <a:lnTo>
                  <a:pt x="391" y="97"/>
                </a:lnTo>
                <a:lnTo>
                  <a:pt x="391" y="105"/>
                </a:lnTo>
                <a:lnTo>
                  <a:pt x="391" y="112"/>
                </a:lnTo>
                <a:lnTo>
                  <a:pt x="390" y="120"/>
                </a:lnTo>
                <a:lnTo>
                  <a:pt x="388" y="127"/>
                </a:lnTo>
                <a:lnTo>
                  <a:pt x="386" y="134"/>
                </a:lnTo>
                <a:lnTo>
                  <a:pt x="383" y="140"/>
                </a:lnTo>
                <a:lnTo>
                  <a:pt x="378" y="147"/>
                </a:lnTo>
                <a:lnTo>
                  <a:pt x="374" y="152"/>
                </a:lnTo>
                <a:lnTo>
                  <a:pt x="370" y="158"/>
                </a:lnTo>
                <a:lnTo>
                  <a:pt x="364" y="163"/>
                </a:lnTo>
                <a:lnTo>
                  <a:pt x="358" y="167"/>
                </a:lnTo>
                <a:lnTo>
                  <a:pt x="353" y="171"/>
                </a:lnTo>
                <a:lnTo>
                  <a:pt x="345" y="175"/>
                </a:lnTo>
                <a:lnTo>
                  <a:pt x="339" y="177"/>
                </a:lnTo>
                <a:lnTo>
                  <a:pt x="331" y="179"/>
                </a:lnTo>
                <a:lnTo>
                  <a:pt x="324" y="180"/>
                </a:lnTo>
                <a:lnTo>
                  <a:pt x="316" y="180"/>
                </a:lnTo>
                <a:lnTo>
                  <a:pt x="309" y="180"/>
                </a:lnTo>
                <a:lnTo>
                  <a:pt x="301" y="179"/>
                </a:lnTo>
                <a:lnTo>
                  <a:pt x="294" y="177"/>
                </a:lnTo>
                <a:lnTo>
                  <a:pt x="287" y="175"/>
                </a:lnTo>
                <a:lnTo>
                  <a:pt x="281" y="171"/>
                </a:lnTo>
                <a:lnTo>
                  <a:pt x="274" y="167"/>
                </a:lnTo>
                <a:lnTo>
                  <a:pt x="269" y="163"/>
                </a:lnTo>
                <a:lnTo>
                  <a:pt x="264" y="158"/>
                </a:lnTo>
                <a:lnTo>
                  <a:pt x="258" y="152"/>
                </a:lnTo>
                <a:lnTo>
                  <a:pt x="254" y="147"/>
                </a:lnTo>
                <a:lnTo>
                  <a:pt x="250" y="140"/>
                </a:lnTo>
                <a:lnTo>
                  <a:pt x="246" y="134"/>
                </a:lnTo>
                <a:lnTo>
                  <a:pt x="244" y="127"/>
                </a:lnTo>
                <a:lnTo>
                  <a:pt x="242" y="120"/>
                </a:lnTo>
                <a:lnTo>
                  <a:pt x="241" y="112"/>
                </a:lnTo>
                <a:lnTo>
                  <a:pt x="241" y="105"/>
                </a:lnTo>
                <a:close/>
                <a:moveTo>
                  <a:pt x="623" y="573"/>
                </a:moveTo>
                <a:lnTo>
                  <a:pt x="619" y="572"/>
                </a:lnTo>
                <a:lnTo>
                  <a:pt x="614" y="572"/>
                </a:lnTo>
                <a:lnTo>
                  <a:pt x="610" y="574"/>
                </a:lnTo>
                <a:lnTo>
                  <a:pt x="607" y="576"/>
                </a:lnTo>
                <a:lnTo>
                  <a:pt x="532" y="651"/>
                </a:lnTo>
                <a:lnTo>
                  <a:pt x="529" y="653"/>
                </a:lnTo>
                <a:lnTo>
                  <a:pt x="528" y="656"/>
                </a:lnTo>
                <a:lnTo>
                  <a:pt x="527" y="659"/>
                </a:lnTo>
                <a:lnTo>
                  <a:pt x="527" y="662"/>
                </a:lnTo>
                <a:lnTo>
                  <a:pt x="527" y="665"/>
                </a:lnTo>
                <a:lnTo>
                  <a:pt x="528" y="667"/>
                </a:lnTo>
                <a:lnTo>
                  <a:pt x="529" y="670"/>
                </a:lnTo>
                <a:lnTo>
                  <a:pt x="532" y="673"/>
                </a:lnTo>
                <a:lnTo>
                  <a:pt x="534" y="675"/>
                </a:lnTo>
                <a:lnTo>
                  <a:pt x="536" y="676"/>
                </a:lnTo>
                <a:lnTo>
                  <a:pt x="539" y="677"/>
                </a:lnTo>
                <a:lnTo>
                  <a:pt x="542" y="677"/>
                </a:lnTo>
                <a:lnTo>
                  <a:pt x="545" y="677"/>
                </a:lnTo>
                <a:lnTo>
                  <a:pt x="548" y="676"/>
                </a:lnTo>
                <a:lnTo>
                  <a:pt x="550" y="675"/>
                </a:lnTo>
                <a:lnTo>
                  <a:pt x="553" y="673"/>
                </a:lnTo>
                <a:lnTo>
                  <a:pt x="599" y="625"/>
                </a:lnTo>
                <a:lnTo>
                  <a:pt x="597" y="638"/>
                </a:lnTo>
                <a:lnTo>
                  <a:pt x="595" y="650"/>
                </a:lnTo>
                <a:lnTo>
                  <a:pt x="592" y="663"/>
                </a:lnTo>
                <a:lnTo>
                  <a:pt x="588" y="675"/>
                </a:lnTo>
                <a:lnTo>
                  <a:pt x="580" y="697"/>
                </a:lnTo>
                <a:lnTo>
                  <a:pt x="569" y="720"/>
                </a:lnTo>
                <a:lnTo>
                  <a:pt x="557" y="741"/>
                </a:lnTo>
                <a:lnTo>
                  <a:pt x="542" y="760"/>
                </a:lnTo>
                <a:lnTo>
                  <a:pt x="527" y="780"/>
                </a:lnTo>
                <a:lnTo>
                  <a:pt x="510" y="797"/>
                </a:lnTo>
                <a:lnTo>
                  <a:pt x="492" y="812"/>
                </a:lnTo>
                <a:lnTo>
                  <a:pt x="472" y="826"/>
                </a:lnTo>
                <a:lnTo>
                  <a:pt x="451" y="839"/>
                </a:lnTo>
                <a:lnTo>
                  <a:pt x="429" y="850"/>
                </a:lnTo>
                <a:lnTo>
                  <a:pt x="417" y="854"/>
                </a:lnTo>
                <a:lnTo>
                  <a:pt x="405" y="858"/>
                </a:lnTo>
                <a:lnTo>
                  <a:pt x="393" y="861"/>
                </a:lnTo>
                <a:lnTo>
                  <a:pt x="381" y="865"/>
                </a:lnTo>
                <a:lnTo>
                  <a:pt x="370" y="868"/>
                </a:lnTo>
                <a:lnTo>
                  <a:pt x="357" y="870"/>
                </a:lnTo>
                <a:lnTo>
                  <a:pt x="344" y="871"/>
                </a:lnTo>
                <a:lnTo>
                  <a:pt x="331" y="872"/>
                </a:lnTo>
                <a:lnTo>
                  <a:pt x="331" y="361"/>
                </a:lnTo>
                <a:lnTo>
                  <a:pt x="466" y="361"/>
                </a:lnTo>
                <a:lnTo>
                  <a:pt x="469" y="360"/>
                </a:lnTo>
                <a:lnTo>
                  <a:pt x="473" y="359"/>
                </a:lnTo>
                <a:lnTo>
                  <a:pt x="475" y="358"/>
                </a:lnTo>
                <a:lnTo>
                  <a:pt x="477" y="356"/>
                </a:lnTo>
                <a:lnTo>
                  <a:pt x="479" y="354"/>
                </a:lnTo>
                <a:lnTo>
                  <a:pt x="480" y="352"/>
                </a:lnTo>
                <a:lnTo>
                  <a:pt x="481" y="348"/>
                </a:lnTo>
                <a:lnTo>
                  <a:pt x="482" y="346"/>
                </a:lnTo>
                <a:lnTo>
                  <a:pt x="481" y="343"/>
                </a:lnTo>
                <a:lnTo>
                  <a:pt x="480" y="340"/>
                </a:lnTo>
                <a:lnTo>
                  <a:pt x="479" y="338"/>
                </a:lnTo>
                <a:lnTo>
                  <a:pt x="477" y="336"/>
                </a:lnTo>
                <a:lnTo>
                  <a:pt x="475" y="333"/>
                </a:lnTo>
                <a:lnTo>
                  <a:pt x="473" y="332"/>
                </a:lnTo>
                <a:lnTo>
                  <a:pt x="469" y="331"/>
                </a:lnTo>
                <a:lnTo>
                  <a:pt x="466" y="330"/>
                </a:lnTo>
                <a:lnTo>
                  <a:pt x="331" y="330"/>
                </a:lnTo>
                <a:lnTo>
                  <a:pt x="331" y="209"/>
                </a:lnTo>
                <a:lnTo>
                  <a:pt x="341" y="207"/>
                </a:lnTo>
                <a:lnTo>
                  <a:pt x="349" y="205"/>
                </a:lnTo>
                <a:lnTo>
                  <a:pt x="359" y="202"/>
                </a:lnTo>
                <a:lnTo>
                  <a:pt x="366" y="197"/>
                </a:lnTo>
                <a:lnTo>
                  <a:pt x="375" y="192"/>
                </a:lnTo>
                <a:lnTo>
                  <a:pt x="383" y="186"/>
                </a:lnTo>
                <a:lnTo>
                  <a:pt x="389" y="181"/>
                </a:lnTo>
                <a:lnTo>
                  <a:pt x="395" y="174"/>
                </a:lnTo>
                <a:lnTo>
                  <a:pt x="402" y="167"/>
                </a:lnTo>
                <a:lnTo>
                  <a:pt x="406" y="160"/>
                </a:lnTo>
                <a:lnTo>
                  <a:pt x="410" y="151"/>
                </a:lnTo>
                <a:lnTo>
                  <a:pt x="415" y="142"/>
                </a:lnTo>
                <a:lnTo>
                  <a:pt x="418" y="134"/>
                </a:lnTo>
                <a:lnTo>
                  <a:pt x="420" y="124"/>
                </a:lnTo>
                <a:lnTo>
                  <a:pt x="421" y="115"/>
                </a:lnTo>
                <a:lnTo>
                  <a:pt x="421" y="105"/>
                </a:lnTo>
                <a:lnTo>
                  <a:pt x="421" y="94"/>
                </a:lnTo>
                <a:lnTo>
                  <a:pt x="419" y="83"/>
                </a:lnTo>
                <a:lnTo>
                  <a:pt x="417" y="74"/>
                </a:lnTo>
                <a:lnTo>
                  <a:pt x="414" y="64"/>
                </a:lnTo>
                <a:lnTo>
                  <a:pt x="409" y="55"/>
                </a:lnTo>
                <a:lnTo>
                  <a:pt x="404" y="46"/>
                </a:lnTo>
                <a:lnTo>
                  <a:pt x="398" y="37"/>
                </a:lnTo>
                <a:lnTo>
                  <a:pt x="391" y="30"/>
                </a:lnTo>
                <a:lnTo>
                  <a:pt x="384" y="23"/>
                </a:lnTo>
                <a:lnTo>
                  <a:pt x="375" y="17"/>
                </a:lnTo>
                <a:lnTo>
                  <a:pt x="366" y="13"/>
                </a:lnTo>
                <a:lnTo>
                  <a:pt x="357" y="7"/>
                </a:lnTo>
                <a:lnTo>
                  <a:pt x="347" y="4"/>
                </a:lnTo>
                <a:lnTo>
                  <a:pt x="338" y="2"/>
                </a:lnTo>
                <a:lnTo>
                  <a:pt x="327" y="0"/>
                </a:lnTo>
                <a:lnTo>
                  <a:pt x="316" y="0"/>
                </a:lnTo>
                <a:lnTo>
                  <a:pt x="305" y="0"/>
                </a:lnTo>
                <a:lnTo>
                  <a:pt x="295" y="2"/>
                </a:lnTo>
                <a:lnTo>
                  <a:pt x="285" y="4"/>
                </a:lnTo>
                <a:lnTo>
                  <a:pt x="275" y="7"/>
                </a:lnTo>
                <a:lnTo>
                  <a:pt x="266" y="13"/>
                </a:lnTo>
                <a:lnTo>
                  <a:pt x="257" y="17"/>
                </a:lnTo>
                <a:lnTo>
                  <a:pt x="250" y="23"/>
                </a:lnTo>
                <a:lnTo>
                  <a:pt x="242" y="30"/>
                </a:lnTo>
                <a:lnTo>
                  <a:pt x="235" y="37"/>
                </a:lnTo>
                <a:lnTo>
                  <a:pt x="229" y="46"/>
                </a:lnTo>
                <a:lnTo>
                  <a:pt x="224" y="55"/>
                </a:lnTo>
                <a:lnTo>
                  <a:pt x="220" y="64"/>
                </a:lnTo>
                <a:lnTo>
                  <a:pt x="215" y="74"/>
                </a:lnTo>
                <a:lnTo>
                  <a:pt x="213" y="83"/>
                </a:lnTo>
                <a:lnTo>
                  <a:pt x="211" y="94"/>
                </a:lnTo>
                <a:lnTo>
                  <a:pt x="211" y="105"/>
                </a:lnTo>
                <a:lnTo>
                  <a:pt x="211" y="115"/>
                </a:lnTo>
                <a:lnTo>
                  <a:pt x="213" y="124"/>
                </a:lnTo>
                <a:lnTo>
                  <a:pt x="215" y="134"/>
                </a:lnTo>
                <a:lnTo>
                  <a:pt x="217" y="142"/>
                </a:lnTo>
                <a:lnTo>
                  <a:pt x="222" y="151"/>
                </a:lnTo>
                <a:lnTo>
                  <a:pt x="226" y="160"/>
                </a:lnTo>
                <a:lnTo>
                  <a:pt x="231" y="167"/>
                </a:lnTo>
                <a:lnTo>
                  <a:pt x="237" y="174"/>
                </a:lnTo>
                <a:lnTo>
                  <a:pt x="243" y="181"/>
                </a:lnTo>
                <a:lnTo>
                  <a:pt x="251" y="186"/>
                </a:lnTo>
                <a:lnTo>
                  <a:pt x="257" y="192"/>
                </a:lnTo>
                <a:lnTo>
                  <a:pt x="266" y="197"/>
                </a:lnTo>
                <a:lnTo>
                  <a:pt x="274" y="202"/>
                </a:lnTo>
                <a:lnTo>
                  <a:pt x="283" y="205"/>
                </a:lnTo>
                <a:lnTo>
                  <a:pt x="291" y="207"/>
                </a:lnTo>
                <a:lnTo>
                  <a:pt x="301" y="209"/>
                </a:lnTo>
                <a:lnTo>
                  <a:pt x="301" y="330"/>
                </a:lnTo>
                <a:lnTo>
                  <a:pt x="166" y="330"/>
                </a:lnTo>
                <a:lnTo>
                  <a:pt x="163" y="331"/>
                </a:lnTo>
                <a:lnTo>
                  <a:pt x="159" y="332"/>
                </a:lnTo>
                <a:lnTo>
                  <a:pt x="157" y="333"/>
                </a:lnTo>
                <a:lnTo>
                  <a:pt x="155" y="336"/>
                </a:lnTo>
                <a:lnTo>
                  <a:pt x="153" y="338"/>
                </a:lnTo>
                <a:lnTo>
                  <a:pt x="152" y="340"/>
                </a:lnTo>
                <a:lnTo>
                  <a:pt x="151" y="343"/>
                </a:lnTo>
                <a:lnTo>
                  <a:pt x="151" y="346"/>
                </a:lnTo>
                <a:lnTo>
                  <a:pt x="151" y="348"/>
                </a:lnTo>
                <a:lnTo>
                  <a:pt x="152" y="352"/>
                </a:lnTo>
                <a:lnTo>
                  <a:pt x="153" y="354"/>
                </a:lnTo>
                <a:lnTo>
                  <a:pt x="155" y="356"/>
                </a:lnTo>
                <a:lnTo>
                  <a:pt x="157" y="358"/>
                </a:lnTo>
                <a:lnTo>
                  <a:pt x="159" y="359"/>
                </a:lnTo>
                <a:lnTo>
                  <a:pt x="163" y="360"/>
                </a:lnTo>
                <a:lnTo>
                  <a:pt x="166" y="361"/>
                </a:lnTo>
                <a:lnTo>
                  <a:pt x="301" y="361"/>
                </a:lnTo>
                <a:lnTo>
                  <a:pt x="301" y="872"/>
                </a:lnTo>
                <a:lnTo>
                  <a:pt x="288" y="871"/>
                </a:lnTo>
                <a:lnTo>
                  <a:pt x="275" y="870"/>
                </a:lnTo>
                <a:lnTo>
                  <a:pt x="264" y="868"/>
                </a:lnTo>
                <a:lnTo>
                  <a:pt x="251" y="865"/>
                </a:lnTo>
                <a:lnTo>
                  <a:pt x="239" y="861"/>
                </a:lnTo>
                <a:lnTo>
                  <a:pt x="227" y="858"/>
                </a:lnTo>
                <a:lnTo>
                  <a:pt x="215" y="854"/>
                </a:lnTo>
                <a:lnTo>
                  <a:pt x="203" y="850"/>
                </a:lnTo>
                <a:lnTo>
                  <a:pt x="182" y="839"/>
                </a:lnTo>
                <a:lnTo>
                  <a:pt x="161" y="826"/>
                </a:lnTo>
                <a:lnTo>
                  <a:pt x="141" y="812"/>
                </a:lnTo>
                <a:lnTo>
                  <a:pt x="122" y="797"/>
                </a:lnTo>
                <a:lnTo>
                  <a:pt x="105" y="780"/>
                </a:lnTo>
                <a:lnTo>
                  <a:pt x="90" y="760"/>
                </a:lnTo>
                <a:lnTo>
                  <a:pt x="76" y="741"/>
                </a:lnTo>
                <a:lnTo>
                  <a:pt x="63" y="720"/>
                </a:lnTo>
                <a:lnTo>
                  <a:pt x="52" y="698"/>
                </a:lnTo>
                <a:lnTo>
                  <a:pt x="44" y="675"/>
                </a:lnTo>
                <a:lnTo>
                  <a:pt x="40" y="663"/>
                </a:lnTo>
                <a:lnTo>
                  <a:pt x="37" y="651"/>
                </a:lnTo>
                <a:lnTo>
                  <a:pt x="35" y="638"/>
                </a:lnTo>
                <a:lnTo>
                  <a:pt x="33" y="625"/>
                </a:lnTo>
                <a:lnTo>
                  <a:pt x="80" y="673"/>
                </a:lnTo>
                <a:lnTo>
                  <a:pt x="82" y="675"/>
                </a:lnTo>
                <a:lnTo>
                  <a:pt x="84" y="676"/>
                </a:lnTo>
                <a:lnTo>
                  <a:pt x="88" y="677"/>
                </a:lnTo>
                <a:lnTo>
                  <a:pt x="91" y="677"/>
                </a:lnTo>
                <a:lnTo>
                  <a:pt x="93" y="677"/>
                </a:lnTo>
                <a:lnTo>
                  <a:pt x="96" y="676"/>
                </a:lnTo>
                <a:lnTo>
                  <a:pt x="98" y="675"/>
                </a:lnTo>
                <a:lnTo>
                  <a:pt x="102" y="673"/>
                </a:lnTo>
                <a:lnTo>
                  <a:pt x="103" y="670"/>
                </a:lnTo>
                <a:lnTo>
                  <a:pt x="105" y="667"/>
                </a:lnTo>
                <a:lnTo>
                  <a:pt x="105" y="665"/>
                </a:lnTo>
                <a:lnTo>
                  <a:pt x="106" y="662"/>
                </a:lnTo>
                <a:lnTo>
                  <a:pt x="105" y="659"/>
                </a:lnTo>
                <a:lnTo>
                  <a:pt x="105" y="656"/>
                </a:lnTo>
                <a:lnTo>
                  <a:pt x="103" y="653"/>
                </a:lnTo>
                <a:lnTo>
                  <a:pt x="102" y="651"/>
                </a:lnTo>
                <a:lnTo>
                  <a:pt x="25" y="576"/>
                </a:lnTo>
                <a:lnTo>
                  <a:pt x="22" y="574"/>
                </a:lnTo>
                <a:lnTo>
                  <a:pt x="18" y="572"/>
                </a:lnTo>
                <a:lnTo>
                  <a:pt x="14" y="572"/>
                </a:lnTo>
                <a:lnTo>
                  <a:pt x="9" y="573"/>
                </a:lnTo>
                <a:lnTo>
                  <a:pt x="6" y="575"/>
                </a:lnTo>
                <a:lnTo>
                  <a:pt x="3" y="578"/>
                </a:lnTo>
                <a:lnTo>
                  <a:pt x="1" y="582"/>
                </a:lnTo>
                <a:lnTo>
                  <a:pt x="0" y="587"/>
                </a:lnTo>
                <a:lnTo>
                  <a:pt x="1" y="603"/>
                </a:lnTo>
                <a:lnTo>
                  <a:pt x="2" y="619"/>
                </a:lnTo>
                <a:lnTo>
                  <a:pt x="4" y="635"/>
                </a:lnTo>
                <a:lnTo>
                  <a:pt x="6" y="650"/>
                </a:lnTo>
                <a:lnTo>
                  <a:pt x="10" y="666"/>
                </a:lnTo>
                <a:lnTo>
                  <a:pt x="15" y="681"/>
                </a:lnTo>
                <a:lnTo>
                  <a:pt x="19" y="695"/>
                </a:lnTo>
                <a:lnTo>
                  <a:pt x="25" y="710"/>
                </a:lnTo>
                <a:lnTo>
                  <a:pt x="32" y="724"/>
                </a:lnTo>
                <a:lnTo>
                  <a:pt x="38" y="737"/>
                </a:lnTo>
                <a:lnTo>
                  <a:pt x="46" y="751"/>
                </a:lnTo>
                <a:lnTo>
                  <a:pt x="54" y="764"/>
                </a:lnTo>
                <a:lnTo>
                  <a:pt x="63" y="776"/>
                </a:lnTo>
                <a:lnTo>
                  <a:pt x="73" y="787"/>
                </a:lnTo>
                <a:lnTo>
                  <a:pt x="82" y="799"/>
                </a:lnTo>
                <a:lnTo>
                  <a:pt x="93" y="810"/>
                </a:lnTo>
                <a:lnTo>
                  <a:pt x="104" y="821"/>
                </a:lnTo>
                <a:lnTo>
                  <a:pt x="116" y="830"/>
                </a:lnTo>
                <a:lnTo>
                  <a:pt x="127" y="840"/>
                </a:lnTo>
                <a:lnTo>
                  <a:pt x="139" y="848"/>
                </a:lnTo>
                <a:lnTo>
                  <a:pt x="152" y="857"/>
                </a:lnTo>
                <a:lnTo>
                  <a:pt x="166" y="865"/>
                </a:lnTo>
                <a:lnTo>
                  <a:pt x="179" y="872"/>
                </a:lnTo>
                <a:lnTo>
                  <a:pt x="194" y="879"/>
                </a:lnTo>
                <a:lnTo>
                  <a:pt x="208" y="884"/>
                </a:lnTo>
                <a:lnTo>
                  <a:pt x="223" y="889"/>
                </a:lnTo>
                <a:lnTo>
                  <a:pt x="238" y="894"/>
                </a:lnTo>
                <a:lnTo>
                  <a:pt x="253" y="897"/>
                </a:lnTo>
                <a:lnTo>
                  <a:pt x="268" y="899"/>
                </a:lnTo>
                <a:lnTo>
                  <a:pt x="284" y="901"/>
                </a:lnTo>
                <a:lnTo>
                  <a:pt x="300" y="902"/>
                </a:lnTo>
                <a:lnTo>
                  <a:pt x="316" y="903"/>
                </a:lnTo>
                <a:lnTo>
                  <a:pt x="332" y="902"/>
                </a:lnTo>
                <a:lnTo>
                  <a:pt x="348" y="901"/>
                </a:lnTo>
                <a:lnTo>
                  <a:pt x="364" y="899"/>
                </a:lnTo>
                <a:lnTo>
                  <a:pt x="379" y="897"/>
                </a:lnTo>
                <a:lnTo>
                  <a:pt x="395" y="892"/>
                </a:lnTo>
                <a:lnTo>
                  <a:pt x="410" y="889"/>
                </a:lnTo>
                <a:lnTo>
                  <a:pt x="424" y="884"/>
                </a:lnTo>
                <a:lnTo>
                  <a:pt x="439" y="879"/>
                </a:lnTo>
                <a:lnTo>
                  <a:pt x="453" y="872"/>
                </a:lnTo>
                <a:lnTo>
                  <a:pt x="467" y="865"/>
                </a:lnTo>
                <a:lnTo>
                  <a:pt x="480" y="857"/>
                </a:lnTo>
                <a:lnTo>
                  <a:pt x="493" y="848"/>
                </a:lnTo>
                <a:lnTo>
                  <a:pt x="505" y="840"/>
                </a:lnTo>
                <a:lnTo>
                  <a:pt x="518" y="830"/>
                </a:lnTo>
                <a:lnTo>
                  <a:pt x="528" y="821"/>
                </a:lnTo>
                <a:lnTo>
                  <a:pt x="539" y="810"/>
                </a:lnTo>
                <a:lnTo>
                  <a:pt x="550" y="799"/>
                </a:lnTo>
                <a:lnTo>
                  <a:pt x="560" y="787"/>
                </a:lnTo>
                <a:lnTo>
                  <a:pt x="569" y="776"/>
                </a:lnTo>
                <a:lnTo>
                  <a:pt x="578" y="764"/>
                </a:lnTo>
                <a:lnTo>
                  <a:pt x="586" y="751"/>
                </a:lnTo>
                <a:lnTo>
                  <a:pt x="594" y="737"/>
                </a:lnTo>
                <a:lnTo>
                  <a:pt x="601" y="724"/>
                </a:lnTo>
                <a:lnTo>
                  <a:pt x="608" y="710"/>
                </a:lnTo>
                <a:lnTo>
                  <a:pt x="613" y="695"/>
                </a:lnTo>
                <a:lnTo>
                  <a:pt x="619" y="681"/>
                </a:lnTo>
                <a:lnTo>
                  <a:pt x="623" y="666"/>
                </a:lnTo>
                <a:lnTo>
                  <a:pt x="626" y="650"/>
                </a:lnTo>
                <a:lnTo>
                  <a:pt x="628" y="635"/>
                </a:lnTo>
                <a:lnTo>
                  <a:pt x="630" y="619"/>
                </a:lnTo>
                <a:lnTo>
                  <a:pt x="631" y="603"/>
                </a:lnTo>
                <a:lnTo>
                  <a:pt x="632" y="587"/>
                </a:lnTo>
                <a:lnTo>
                  <a:pt x="631" y="582"/>
                </a:lnTo>
                <a:lnTo>
                  <a:pt x="630" y="578"/>
                </a:lnTo>
                <a:lnTo>
                  <a:pt x="627" y="575"/>
                </a:lnTo>
                <a:lnTo>
                  <a:pt x="623" y="573"/>
                </a:lnTo>
                <a:lnTo>
                  <a:pt x="623" y="57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508" name="Group 343">
            <a:extLst>
              <a:ext uri="{FF2B5EF4-FFF2-40B4-BE49-F238E27FC236}">
                <a16:creationId xmlns:a16="http://schemas.microsoft.com/office/drawing/2014/main" id="{FC0EAE6F-DEC7-47FE-A8BE-C20A3D09C20E}"/>
              </a:ext>
            </a:extLst>
          </p:cNvPr>
          <p:cNvGrpSpPr>
            <a:grpSpLocks noChangeAspect="1"/>
          </p:cNvGrpSpPr>
          <p:nvPr/>
        </p:nvGrpSpPr>
        <p:grpSpPr>
          <a:xfrm>
            <a:off x="2357108" y="2186361"/>
            <a:ext cx="200358" cy="306484"/>
            <a:chOff x="4419600" y="4024313"/>
            <a:chExt cx="695325" cy="1063625"/>
          </a:xfrm>
          <a:solidFill>
            <a:schemeClr val="bg2"/>
          </a:solidFill>
          <a:effectLst/>
        </p:grpSpPr>
        <p:sp>
          <p:nvSpPr>
            <p:cNvPr id="509" name="Freeform 13">
              <a:extLst>
                <a:ext uri="{FF2B5EF4-FFF2-40B4-BE49-F238E27FC236}">
                  <a16:creationId xmlns:a16="http://schemas.microsoft.com/office/drawing/2014/main" id="{BF51272E-80A1-4C7B-91E4-58CD407EB3D3}"/>
                </a:ext>
              </a:extLst>
            </p:cNvPr>
            <p:cNvSpPr>
              <a:spLocks noEditPoints="1"/>
            </p:cNvSpPr>
            <p:nvPr/>
          </p:nvSpPr>
          <p:spPr bwMode="auto">
            <a:xfrm>
              <a:off x="4541838" y="4146550"/>
              <a:ext cx="449263" cy="449263"/>
            </a:xfrm>
            <a:custGeom>
              <a:avLst/>
              <a:gdLst>
                <a:gd name="T0" fmla="*/ 355 w 850"/>
                <a:gd name="T1" fmla="*/ 85 h 850"/>
                <a:gd name="T2" fmla="*/ 275 w 850"/>
                <a:gd name="T3" fmla="*/ 113 h 850"/>
                <a:gd name="T4" fmla="*/ 204 w 850"/>
                <a:gd name="T5" fmla="*/ 157 h 850"/>
                <a:gd name="T6" fmla="*/ 146 w 850"/>
                <a:gd name="T7" fmla="*/ 218 h 850"/>
                <a:gd name="T8" fmla="*/ 105 w 850"/>
                <a:gd name="T9" fmla="*/ 290 h 850"/>
                <a:gd name="T10" fmla="*/ 81 w 850"/>
                <a:gd name="T11" fmla="*/ 373 h 850"/>
                <a:gd name="T12" fmla="*/ 79 w 850"/>
                <a:gd name="T13" fmla="*/ 461 h 850"/>
                <a:gd name="T14" fmla="*/ 98 w 850"/>
                <a:gd name="T15" fmla="*/ 545 h 850"/>
                <a:gd name="T16" fmla="*/ 137 w 850"/>
                <a:gd name="T17" fmla="*/ 620 h 850"/>
                <a:gd name="T18" fmla="*/ 191 w 850"/>
                <a:gd name="T19" fmla="*/ 684 h 850"/>
                <a:gd name="T20" fmla="*/ 259 w 850"/>
                <a:gd name="T21" fmla="*/ 731 h 850"/>
                <a:gd name="T22" fmla="*/ 339 w 850"/>
                <a:gd name="T23" fmla="*/ 762 h 850"/>
                <a:gd name="T24" fmla="*/ 425 w 850"/>
                <a:gd name="T25" fmla="*/ 774 h 850"/>
                <a:gd name="T26" fmla="*/ 512 w 850"/>
                <a:gd name="T27" fmla="*/ 762 h 850"/>
                <a:gd name="T28" fmla="*/ 590 w 850"/>
                <a:gd name="T29" fmla="*/ 731 h 850"/>
                <a:gd name="T30" fmla="*/ 658 w 850"/>
                <a:gd name="T31" fmla="*/ 684 h 850"/>
                <a:gd name="T32" fmla="*/ 714 w 850"/>
                <a:gd name="T33" fmla="*/ 620 h 850"/>
                <a:gd name="T34" fmla="*/ 752 w 850"/>
                <a:gd name="T35" fmla="*/ 545 h 850"/>
                <a:gd name="T36" fmla="*/ 771 w 850"/>
                <a:gd name="T37" fmla="*/ 461 h 850"/>
                <a:gd name="T38" fmla="*/ 769 w 850"/>
                <a:gd name="T39" fmla="*/ 373 h 850"/>
                <a:gd name="T40" fmla="*/ 746 w 850"/>
                <a:gd name="T41" fmla="*/ 290 h 850"/>
                <a:gd name="T42" fmla="*/ 704 w 850"/>
                <a:gd name="T43" fmla="*/ 218 h 850"/>
                <a:gd name="T44" fmla="*/ 646 w 850"/>
                <a:gd name="T45" fmla="*/ 157 h 850"/>
                <a:gd name="T46" fmla="*/ 576 w 850"/>
                <a:gd name="T47" fmla="*/ 113 h 850"/>
                <a:gd name="T48" fmla="*/ 495 w 850"/>
                <a:gd name="T49" fmla="*/ 85 h 850"/>
                <a:gd name="T50" fmla="*/ 425 w 850"/>
                <a:gd name="T51" fmla="*/ 850 h 850"/>
                <a:gd name="T52" fmla="*/ 319 w 850"/>
                <a:gd name="T53" fmla="*/ 838 h 850"/>
                <a:gd name="T54" fmla="*/ 223 w 850"/>
                <a:gd name="T55" fmla="*/ 799 h 850"/>
                <a:gd name="T56" fmla="*/ 140 w 850"/>
                <a:gd name="T57" fmla="*/ 740 h 850"/>
                <a:gd name="T58" fmla="*/ 73 w 850"/>
                <a:gd name="T59" fmla="*/ 663 h 850"/>
                <a:gd name="T60" fmla="*/ 26 w 850"/>
                <a:gd name="T61" fmla="*/ 572 h 850"/>
                <a:gd name="T62" fmla="*/ 2 w 850"/>
                <a:gd name="T63" fmla="*/ 469 h 850"/>
                <a:gd name="T64" fmla="*/ 5 w 850"/>
                <a:gd name="T65" fmla="*/ 361 h 850"/>
                <a:gd name="T66" fmla="*/ 34 w 850"/>
                <a:gd name="T67" fmla="*/ 261 h 850"/>
                <a:gd name="T68" fmla="*/ 85 w 850"/>
                <a:gd name="T69" fmla="*/ 171 h 850"/>
                <a:gd name="T70" fmla="*/ 155 w 850"/>
                <a:gd name="T71" fmla="*/ 98 h 850"/>
                <a:gd name="T72" fmla="*/ 241 w 850"/>
                <a:gd name="T73" fmla="*/ 43 h 850"/>
                <a:gd name="T74" fmla="*/ 340 w 850"/>
                <a:gd name="T75" fmla="*/ 10 h 850"/>
                <a:gd name="T76" fmla="*/ 447 w 850"/>
                <a:gd name="T77" fmla="*/ 1 h 850"/>
                <a:gd name="T78" fmla="*/ 551 w 850"/>
                <a:gd name="T79" fmla="*/ 19 h 850"/>
                <a:gd name="T80" fmla="*/ 646 w 850"/>
                <a:gd name="T81" fmla="*/ 62 h 850"/>
                <a:gd name="T82" fmla="*/ 725 w 850"/>
                <a:gd name="T83" fmla="*/ 126 h 850"/>
                <a:gd name="T84" fmla="*/ 788 w 850"/>
                <a:gd name="T85" fmla="*/ 205 h 850"/>
                <a:gd name="T86" fmla="*/ 831 w 850"/>
                <a:gd name="T87" fmla="*/ 300 h 850"/>
                <a:gd name="T88" fmla="*/ 850 w 850"/>
                <a:gd name="T89" fmla="*/ 404 h 850"/>
                <a:gd name="T90" fmla="*/ 841 w 850"/>
                <a:gd name="T91" fmla="*/ 511 h 850"/>
                <a:gd name="T92" fmla="*/ 808 w 850"/>
                <a:gd name="T93" fmla="*/ 610 h 850"/>
                <a:gd name="T94" fmla="*/ 753 w 850"/>
                <a:gd name="T95" fmla="*/ 696 h 850"/>
                <a:gd name="T96" fmla="*/ 680 w 850"/>
                <a:gd name="T97" fmla="*/ 766 h 850"/>
                <a:gd name="T98" fmla="*/ 590 w 850"/>
                <a:gd name="T99" fmla="*/ 817 h 850"/>
                <a:gd name="T100" fmla="*/ 489 w 850"/>
                <a:gd name="T101" fmla="*/ 846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0" h="850">
                  <a:moveTo>
                    <a:pt x="425" y="78"/>
                  </a:moveTo>
                  <a:lnTo>
                    <a:pt x="408" y="79"/>
                  </a:lnTo>
                  <a:lnTo>
                    <a:pt x="390" y="80"/>
                  </a:lnTo>
                  <a:lnTo>
                    <a:pt x="373" y="82"/>
                  </a:lnTo>
                  <a:lnTo>
                    <a:pt x="355" y="85"/>
                  </a:lnTo>
                  <a:lnTo>
                    <a:pt x="339" y="89"/>
                  </a:lnTo>
                  <a:lnTo>
                    <a:pt x="322" y="94"/>
                  </a:lnTo>
                  <a:lnTo>
                    <a:pt x="306" y="99"/>
                  </a:lnTo>
                  <a:lnTo>
                    <a:pt x="290" y="105"/>
                  </a:lnTo>
                  <a:lnTo>
                    <a:pt x="275" y="113"/>
                  </a:lnTo>
                  <a:lnTo>
                    <a:pt x="259" y="120"/>
                  </a:lnTo>
                  <a:lnTo>
                    <a:pt x="245" y="129"/>
                  </a:lnTo>
                  <a:lnTo>
                    <a:pt x="231" y="137"/>
                  </a:lnTo>
                  <a:lnTo>
                    <a:pt x="217" y="147"/>
                  </a:lnTo>
                  <a:lnTo>
                    <a:pt x="204" y="157"/>
                  </a:lnTo>
                  <a:lnTo>
                    <a:pt x="191" y="168"/>
                  </a:lnTo>
                  <a:lnTo>
                    <a:pt x="179" y="180"/>
                  </a:lnTo>
                  <a:lnTo>
                    <a:pt x="167" y="193"/>
                  </a:lnTo>
                  <a:lnTo>
                    <a:pt x="157" y="204"/>
                  </a:lnTo>
                  <a:lnTo>
                    <a:pt x="146" y="218"/>
                  </a:lnTo>
                  <a:lnTo>
                    <a:pt x="137" y="232"/>
                  </a:lnTo>
                  <a:lnTo>
                    <a:pt x="128" y="246"/>
                  </a:lnTo>
                  <a:lnTo>
                    <a:pt x="120" y="261"/>
                  </a:lnTo>
                  <a:lnTo>
                    <a:pt x="111" y="275"/>
                  </a:lnTo>
                  <a:lnTo>
                    <a:pt x="105" y="290"/>
                  </a:lnTo>
                  <a:lnTo>
                    <a:pt x="98" y="306"/>
                  </a:lnTo>
                  <a:lnTo>
                    <a:pt x="93" y="322"/>
                  </a:lnTo>
                  <a:lnTo>
                    <a:pt x="88" y="339"/>
                  </a:lnTo>
                  <a:lnTo>
                    <a:pt x="85" y="356"/>
                  </a:lnTo>
                  <a:lnTo>
                    <a:pt x="81" y="373"/>
                  </a:lnTo>
                  <a:lnTo>
                    <a:pt x="79" y="390"/>
                  </a:lnTo>
                  <a:lnTo>
                    <a:pt x="78" y="408"/>
                  </a:lnTo>
                  <a:lnTo>
                    <a:pt x="77" y="425"/>
                  </a:lnTo>
                  <a:lnTo>
                    <a:pt x="78" y="443"/>
                  </a:lnTo>
                  <a:lnTo>
                    <a:pt x="79" y="461"/>
                  </a:lnTo>
                  <a:lnTo>
                    <a:pt x="81" y="478"/>
                  </a:lnTo>
                  <a:lnTo>
                    <a:pt x="85" y="495"/>
                  </a:lnTo>
                  <a:lnTo>
                    <a:pt x="88" y="512"/>
                  </a:lnTo>
                  <a:lnTo>
                    <a:pt x="93" y="529"/>
                  </a:lnTo>
                  <a:lnTo>
                    <a:pt x="98" y="545"/>
                  </a:lnTo>
                  <a:lnTo>
                    <a:pt x="105" y="561"/>
                  </a:lnTo>
                  <a:lnTo>
                    <a:pt x="111" y="576"/>
                  </a:lnTo>
                  <a:lnTo>
                    <a:pt x="120" y="591"/>
                  </a:lnTo>
                  <a:lnTo>
                    <a:pt x="128" y="606"/>
                  </a:lnTo>
                  <a:lnTo>
                    <a:pt x="137" y="620"/>
                  </a:lnTo>
                  <a:lnTo>
                    <a:pt x="146" y="634"/>
                  </a:lnTo>
                  <a:lnTo>
                    <a:pt x="157" y="647"/>
                  </a:lnTo>
                  <a:lnTo>
                    <a:pt x="167" y="659"/>
                  </a:lnTo>
                  <a:lnTo>
                    <a:pt x="179" y="672"/>
                  </a:lnTo>
                  <a:lnTo>
                    <a:pt x="191" y="684"/>
                  </a:lnTo>
                  <a:lnTo>
                    <a:pt x="204" y="694"/>
                  </a:lnTo>
                  <a:lnTo>
                    <a:pt x="217" y="705"/>
                  </a:lnTo>
                  <a:lnTo>
                    <a:pt x="231" y="714"/>
                  </a:lnTo>
                  <a:lnTo>
                    <a:pt x="245" y="723"/>
                  </a:lnTo>
                  <a:lnTo>
                    <a:pt x="259" y="731"/>
                  </a:lnTo>
                  <a:lnTo>
                    <a:pt x="275" y="739"/>
                  </a:lnTo>
                  <a:lnTo>
                    <a:pt x="290" y="746"/>
                  </a:lnTo>
                  <a:lnTo>
                    <a:pt x="306" y="753"/>
                  </a:lnTo>
                  <a:lnTo>
                    <a:pt x="322" y="758"/>
                  </a:lnTo>
                  <a:lnTo>
                    <a:pt x="339" y="762"/>
                  </a:lnTo>
                  <a:lnTo>
                    <a:pt x="355" y="766"/>
                  </a:lnTo>
                  <a:lnTo>
                    <a:pt x="373" y="770"/>
                  </a:lnTo>
                  <a:lnTo>
                    <a:pt x="390" y="772"/>
                  </a:lnTo>
                  <a:lnTo>
                    <a:pt x="408" y="773"/>
                  </a:lnTo>
                  <a:lnTo>
                    <a:pt x="425" y="774"/>
                  </a:lnTo>
                  <a:lnTo>
                    <a:pt x="443" y="773"/>
                  </a:lnTo>
                  <a:lnTo>
                    <a:pt x="461" y="772"/>
                  </a:lnTo>
                  <a:lnTo>
                    <a:pt x="478" y="770"/>
                  </a:lnTo>
                  <a:lnTo>
                    <a:pt x="495" y="766"/>
                  </a:lnTo>
                  <a:lnTo>
                    <a:pt x="512" y="762"/>
                  </a:lnTo>
                  <a:lnTo>
                    <a:pt x="529" y="758"/>
                  </a:lnTo>
                  <a:lnTo>
                    <a:pt x="545" y="753"/>
                  </a:lnTo>
                  <a:lnTo>
                    <a:pt x="561" y="746"/>
                  </a:lnTo>
                  <a:lnTo>
                    <a:pt x="576" y="739"/>
                  </a:lnTo>
                  <a:lnTo>
                    <a:pt x="590" y="731"/>
                  </a:lnTo>
                  <a:lnTo>
                    <a:pt x="605" y="723"/>
                  </a:lnTo>
                  <a:lnTo>
                    <a:pt x="619" y="714"/>
                  </a:lnTo>
                  <a:lnTo>
                    <a:pt x="633" y="705"/>
                  </a:lnTo>
                  <a:lnTo>
                    <a:pt x="646" y="694"/>
                  </a:lnTo>
                  <a:lnTo>
                    <a:pt x="658" y="684"/>
                  </a:lnTo>
                  <a:lnTo>
                    <a:pt x="671" y="672"/>
                  </a:lnTo>
                  <a:lnTo>
                    <a:pt x="683" y="659"/>
                  </a:lnTo>
                  <a:lnTo>
                    <a:pt x="694" y="647"/>
                  </a:lnTo>
                  <a:lnTo>
                    <a:pt x="704" y="634"/>
                  </a:lnTo>
                  <a:lnTo>
                    <a:pt x="714" y="620"/>
                  </a:lnTo>
                  <a:lnTo>
                    <a:pt x="722" y="606"/>
                  </a:lnTo>
                  <a:lnTo>
                    <a:pt x="731" y="591"/>
                  </a:lnTo>
                  <a:lnTo>
                    <a:pt x="738" y="576"/>
                  </a:lnTo>
                  <a:lnTo>
                    <a:pt x="746" y="561"/>
                  </a:lnTo>
                  <a:lnTo>
                    <a:pt x="752" y="545"/>
                  </a:lnTo>
                  <a:lnTo>
                    <a:pt x="757" y="529"/>
                  </a:lnTo>
                  <a:lnTo>
                    <a:pt x="762" y="512"/>
                  </a:lnTo>
                  <a:lnTo>
                    <a:pt x="766" y="495"/>
                  </a:lnTo>
                  <a:lnTo>
                    <a:pt x="769" y="478"/>
                  </a:lnTo>
                  <a:lnTo>
                    <a:pt x="771" y="461"/>
                  </a:lnTo>
                  <a:lnTo>
                    <a:pt x="772" y="443"/>
                  </a:lnTo>
                  <a:lnTo>
                    <a:pt x="773" y="425"/>
                  </a:lnTo>
                  <a:lnTo>
                    <a:pt x="772" y="408"/>
                  </a:lnTo>
                  <a:lnTo>
                    <a:pt x="771" y="390"/>
                  </a:lnTo>
                  <a:lnTo>
                    <a:pt x="769" y="373"/>
                  </a:lnTo>
                  <a:lnTo>
                    <a:pt x="766" y="356"/>
                  </a:lnTo>
                  <a:lnTo>
                    <a:pt x="762" y="339"/>
                  </a:lnTo>
                  <a:lnTo>
                    <a:pt x="757" y="322"/>
                  </a:lnTo>
                  <a:lnTo>
                    <a:pt x="752" y="306"/>
                  </a:lnTo>
                  <a:lnTo>
                    <a:pt x="746" y="290"/>
                  </a:lnTo>
                  <a:lnTo>
                    <a:pt x="738" y="275"/>
                  </a:lnTo>
                  <a:lnTo>
                    <a:pt x="731" y="261"/>
                  </a:lnTo>
                  <a:lnTo>
                    <a:pt x="722" y="246"/>
                  </a:lnTo>
                  <a:lnTo>
                    <a:pt x="714" y="232"/>
                  </a:lnTo>
                  <a:lnTo>
                    <a:pt x="704" y="218"/>
                  </a:lnTo>
                  <a:lnTo>
                    <a:pt x="694" y="204"/>
                  </a:lnTo>
                  <a:lnTo>
                    <a:pt x="683" y="193"/>
                  </a:lnTo>
                  <a:lnTo>
                    <a:pt x="671" y="180"/>
                  </a:lnTo>
                  <a:lnTo>
                    <a:pt x="658" y="168"/>
                  </a:lnTo>
                  <a:lnTo>
                    <a:pt x="646" y="157"/>
                  </a:lnTo>
                  <a:lnTo>
                    <a:pt x="633" y="147"/>
                  </a:lnTo>
                  <a:lnTo>
                    <a:pt x="619" y="137"/>
                  </a:lnTo>
                  <a:lnTo>
                    <a:pt x="605" y="129"/>
                  </a:lnTo>
                  <a:lnTo>
                    <a:pt x="590" y="120"/>
                  </a:lnTo>
                  <a:lnTo>
                    <a:pt x="576" y="113"/>
                  </a:lnTo>
                  <a:lnTo>
                    <a:pt x="561" y="105"/>
                  </a:lnTo>
                  <a:lnTo>
                    <a:pt x="545" y="99"/>
                  </a:lnTo>
                  <a:lnTo>
                    <a:pt x="529" y="94"/>
                  </a:lnTo>
                  <a:lnTo>
                    <a:pt x="512" y="89"/>
                  </a:lnTo>
                  <a:lnTo>
                    <a:pt x="495" y="85"/>
                  </a:lnTo>
                  <a:lnTo>
                    <a:pt x="478" y="82"/>
                  </a:lnTo>
                  <a:lnTo>
                    <a:pt x="461" y="80"/>
                  </a:lnTo>
                  <a:lnTo>
                    <a:pt x="443" y="79"/>
                  </a:lnTo>
                  <a:lnTo>
                    <a:pt x="425" y="78"/>
                  </a:lnTo>
                  <a:close/>
                  <a:moveTo>
                    <a:pt x="425" y="850"/>
                  </a:moveTo>
                  <a:lnTo>
                    <a:pt x="403" y="850"/>
                  </a:lnTo>
                  <a:lnTo>
                    <a:pt x="382" y="848"/>
                  </a:lnTo>
                  <a:lnTo>
                    <a:pt x="361" y="846"/>
                  </a:lnTo>
                  <a:lnTo>
                    <a:pt x="340" y="842"/>
                  </a:lnTo>
                  <a:lnTo>
                    <a:pt x="319" y="838"/>
                  </a:lnTo>
                  <a:lnTo>
                    <a:pt x="299" y="831"/>
                  </a:lnTo>
                  <a:lnTo>
                    <a:pt x="279" y="825"/>
                  </a:lnTo>
                  <a:lnTo>
                    <a:pt x="260" y="817"/>
                  </a:lnTo>
                  <a:lnTo>
                    <a:pt x="241" y="809"/>
                  </a:lnTo>
                  <a:lnTo>
                    <a:pt x="223" y="799"/>
                  </a:lnTo>
                  <a:lnTo>
                    <a:pt x="205" y="789"/>
                  </a:lnTo>
                  <a:lnTo>
                    <a:pt x="188" y="778"/>
                  </a:lnTo>
                  <a:lnTo>
                    <a:pt x="171" y="766"/>
                  </a:lnTo>
                  <a:lnTo>
                    <a:pt x="155" y="754"/>
                  </a:lnTo>
                  <a:lnTo>
                    <a:pt x="140" y="740"/>
                  </a:lnTo>
                  <a:lnTo>
                    <a:pt x="125" y="726"/>
                  </a:lnTo>
                  <a:lnTo>
                    <a:pt x="110" y="711"/>
                  </a:lnTo>
                  <a:lnTo>
                    <a:pt x="97" y="696"/>
                  </a:lnTo>
                  <a:lnTo>
                    <a:pt x="85" y="680"/>
                  </a:lnTo>
                  <a:lnTo>
                    <a:pt x="73" y="663"/>
                  </a:lnTo>
                  <a:lnTo>
                    <a:pt x="61" y="646"/>
                  </a:lnTo>
                  <a:lnTo>
                    <a:pt x="52" y="628"/>
                  </a:lnTo>
                  <a:lnTo>
                    <a:pt x="42" y="610"/>
                  </a:lnTo>
                  <a:lnTo>
                    <a:pt x="34" y="591"/>
                  </a:lnTo>
                  <a:lnTo>
                    <a:pt x="26" y="572"/>
                  </a:lnTo>
                  <a:lnTo>
                    <a:pt x="19" y="552"/>
                  </a:lnTo>
                  <a:lnTo>
                    <a:pt x="13" y="532"/>
                  </a:lnTo>
                  <a:lnTo>
                    <a:pt x="9" y="511"/>
                  </a:lnTo>
                  <a:lnTo>
                    <a:pt x="5" y="490"/>
                  </a:lnTo>
                  <a:lnTo>
                    <a:pt x="2" y="469"/>
                  </a:lnTo>
                  <a:lnTo>
                    <a:pt x="1" y="448"/>
                  </a:lnTo>
                  <a:lnTo>
                    <a:pt x="0" y="425"/>
                  </a:lnTo>
                  <a:lnTo>
                    <a:pt x="1" y="404"/>
                  </a:lnTo>
                  <a:lnTo>
                    <a:pt x="2" y="383"/>
                  </a:lnTo>
                  <a:lnTo>
                    <a:pt x="5" y="361"/>
                  </a:lnTo>
                  <a:lnTo>
                    <a:pt x="9" y="340"/>
                  </a:lnTo>
                  <a:lnTo>
                    <a:pt x="13" y="320"/>
                  </a:lnTo>
                  <a:lnTo>
                    <a:pt x="19" y="300"/>
                  </a:lnTo>
                  <a:lnTo>
                    <a:pt x="26" y="280"/>
                  </a:lnTo>
                  <a:lnTo>
                    <a:pt x="34" y="261"/>
                  </a:lnTo>
                  <a:lnTo>
                    <a:pt x="42" y="241"/>
                  </a:lnTo>
                  <a:lnTo>
                    <a:pt x="52" y="223"/>
                  </a:lnTo>
                  <a:lnTo>
                    <a:pt x="61" y="205"/>
                  </a:lnTo>
                  <a:lnTo>
                    <a:pt x="73" y="188"/>
                  </a:lnTo>
                  <a:lnTo>
                    <a:pt x="85" y="171"/>
                  </a:lnTo>
                  <a:lnTo>
                    <a:pt x="97" y="155"/>
                  </a:lnTo>
                  <a:lnTo>
                    <a:pt x="110" y="140"/>
                  </a:lnTo>
                  <a:lnTo>
                    <a:pt x="125" y="126"/>
                  </a:lnTo>
                  <a:lnTo>
                    <a:pt x="140" y="112"/>
                  </a:lnTo>
                  <a:lnTo>
                    <a:pt x="155" y="98"/>
                  </a:lnTo>
                  <a:lnTo>
                    <a:pt x="171" y="85"/>
                  </a:lnTo>
                  <a:lnTo>
                    <a:pt x="188" y="73"/>
                  </a:lnTo>
                  <a:lnTo>
                    <a:pt x="205" y="62"/>
                  </a:lnTo>
                  <a:lnTo>
                    <a:pt x="223" y="52"/>
                  </a:lnTo>
                  <a:lnTo>
                    <a:pt x="241" y="43"/>
                  </a:lnTo>
                  <a:lnTo>
                    <a:pt x="260" y="34"/>
                  </a:lnTo>
                  <a:lnTo>
                    <a:pt x="279" y="27"/>
                  </a:lnTo>
                  <a:lnTo>
                    <a:pt x="299" y="19"/>
                  </a:lnTo>
                  <a:lnTo>
                    <a:pt x="319" y="14"/>
                  </a:lnTo>
                  <a:lnTo>
                    <a:pt x="340" y="10"/>
                  </a:lnTo>
                  <a:lnTo>
                    <a:pt x="361" y="5"/>
                  </a:lnTo>
                  <a:lnTo>
                    <a:pt x="382" y="3"/>
                  </a:lnTo>
                  <a:lnTo>
                    <a:pt x="403" y="1"/>
                  </a:lnTo>
                  <a:lnTo>
                    <a:pt x="425" y="0"/>
                  </a:lnTo>
                  <a:lnTo>
                    <a:pt x="447" y="1"/>
                  </a:lnTo>
                  <a:lnTo>
                    <a:pt x="468" y="3"/>
                  </a:lnTo>
                  <a:lnTo>
                    <a:pt x="489" y="5"/>
                  </a:lnTo>
                  <a:lnTo>
                    <a:pt x="511" y="10"/>
                  </a:lnTo>
                  <a:lnTo>
                    <a:pt x="531" y="14"/>
                  </a:lnTo>
                  <a:lnTo>
                    <a:pt x="551" y="19"/>
                  </a:lnTo>
                  <a:lnTo>
                    <a:pt x="571" y="27"/>
                  </a:lnTo>
                  <a:lnTo>
                    <a:pt x="590" y="34"/>
                  </a:lnTo>
                  <a:lnTo>
                    <a:pt x="610" y="43"/>
                  </a:lnTo>
                  <a:lnTo>
                    <a:pt x="628" y="52"/>
                  </a:lnTo>
                  <a:lnTo>
                    <a:pt x="646" y="62"/>
                  </a:lnTo>
                  <a:lnTo>
                    <a:pt x="663" y="73"/>
                  </a:lnTo>
                  <a:lnTo>
                    <a:pt x="680" y="85"/>
                  </a:lnTo>
                  <a:lnTo>
                    <a:pt x="696" y="98"/>
                  </a:lnTo>
                  <a:lnTo>
                    <a:pt x="711" y="112"/>
                  </a:lnTo>
                  <a:lnTo>
                    <a:pt x="725" y="126"/>
                  </a:lnTo>
                  <a:lnTo>
                    <a:pt x="739" y="140"/>
                  </a:lnTo>
                  <a:lnTo>
                    <a:pt x="753" y="155"/>
                  </a:lnTo>
                  <a:lnTo>
                    <a:pt x="766" y="171"/>
                  </a:lnTo>
                  <a:lnTo>
                    <a:pt x="777" y="188"/>
                  </a:lnTo>
                  <a:lnTo>
                    <a:pt x="788" y="205"/>
                  </a:lnTo>
                  <a:lnTo>
                    <a:pt x="799" y="223"/>
                  </a:lnTo>
                  <a:lnTo>
                    <a:pt x="808" y="241"/>
                  </a:lnTo>
                  <a:lnTo>
                    <a:pt x="817" y="261"/>
                  </a:lnTo>
                  <a:lnTo>
                    <a:pt x="824" y="280"/>
                  </a:lnTo>
                  <a:lnTo>
                    <a:pt x="831" y="300"/>
                  </a:lnTo>
                  <a:lnTo>
                    <a:pt x="837" y="320"/>
                  </a:lnTo>
                  <a:lnTo>
                    <a:pt x="841" y="340"/>
                  </a:lnTo>
                  <a:lnTo>
                    <a:pt x="846" y="361"/>
                  </a:lnTo>
                  <a:lnTo>
                    <a:pt x="848" y="383"/>
                  </a:lnTo>
                  <a:lnTo>
                    <a:pt x="850" y="404"/>
                  </a:lnTo>
                  <a:lnTo>
                    <a:pt x="850" y="425"/>
                  </a:lnTo>
                  <a:lnTo>
                    <a:pt x="850" y="448"/>
                  </a:lnTo>
                  <a:lnTo>
                    <a:pt x="848" y="469"/>
                  </a:lnTo>
                  <a:lnTo>
                    <a:pt x="846" y="490"/>
                  </a:lnTo>
                  <a:lnTo>
                    <a:pt x="841" y="511"/>
                  </a:lnTo>
                  <a:lnTo>
                    <a:pt x="837" y="532"/>
                  </a:lnTo>
                  <a:lnTo>
                    <a:pt x="831" y="552"/>
                  </a:lnTo>
                  <a:lnTo>
                    <a:pt x="824" y="572"/>
                  </a:lnTo>
                  <a:lnTo>
                    <a:pt x="817" y="591"/>
                  </a:lnTo>
                  <a:lnTo>
                    <a:pt x="808" y="610"/>
                  </a:lnTo>
                  <a:lnTo>
                    <a:pt x="799" y="628"/>
                  </a:lnTo>
                  <a:lnTo>
                    <a:pt x="788" y="646"/>
                  </a:lnTo>
                  <a:lnTo>
                    <a:pt x="777" y="663"/>
                  </a:lnTo>
                  <a:lnTo>
                    <a:pt x="766" y="680"/>
                  </a:lnTo>
                  <a:lnTo>
                    <a:pt x="753" y="696"/>
                  </a:lnTo>
                  <a:lnTo>
                    <a:pt x="739" y="711"/>
                  </a:lnTo>
                  <a:lnTo>
                    <a:pt x="725" y="726"/>
                  </a:lnTo>
                  <a:lnTo>
                    <a:pt x="711" y="740"/>
                  </a:lnTo>
                  <a:lnTo>
                    <a:pt x="696" y="754"/>
                  </a:lnTo>
                  <a:lnTo>
                    <a:pt x="680" y="766"/>
                  </a:lnTo>
                  <a:lnTo>
                    <a:pt x="663" y="778"/>
                  </a:lnTo>
                  <a:lnTo>
                    <a:pt x="646" y="789"/>
                  </a:lnTo>
                  <a:lnTo>
                    <a:pt x="628" y="799"/>
                  </a:lnTo>
                  <a:lnTo>
                    <a:pt x="610" y="809"/>
                  </a:lnTo>
                  <a:lnTo>
                    <a:pt x="590" y="817"/>
                  </a:lnTo>
                  <a:lnTo>
                    <a:pt x="571" y="825"/>
                  </a:lnTo>
                  <a:lnTo>
                    <a:pt x="551" y="831"/>
                  </a:lnTo>
                  <a:lnTo>
                    <a:pt x="531" y="838"/>
                  </a:lnTo>
                  <a:lnTo>
                    <a:pt x="511" y="842"/>
                  </a:lnTo>
                  <a:lnTo>
                    <a:pt x="489" y="846"/>
                  </a:lnTo>
                  <a:lnTo>
                    <a:pt x="468" y="848"/>
                  </a:lnTo>
                  <a:lnTo>
                    <a:pt x="447" y="850"/>
                  </a:lnTo>
                  <a:lnTo>
                    <a:pt x="42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4">
              <a:extLst>
                <a:ext uri="{FF2B5EF4-FFF2-40B4-BE49-F238E27FC236}">
                  <a16:creationId xmlns:a16="http://schemas.microsoft.com/office/drawing/2014/main" id="{FFDA030E-2091-487D-B188-BF882D87FBF2}"/>
                </a:ext>
              </a:extLst>
            </p:cNvPr>
            <p:cNvSpPr>
              <a:spLocks noEditPoints="1"/>
            </p:cNvSpPr>
            <p:nvPr/>
          </p:nvSpPr>
          <p:spPr bwMode="auto">
            <a:xfrm>
              <a:off x="4419600" y="4024313"/>
              <a:ext cx="695325" cy="1063625"/>
            </a:xfrm>
            <a:custGeom>
              <a:avLst/>
              <a:gdLst>
                <a:gd name="T0" fmla="*/ 568 w 1315"/>
                <a:gd name="T1" fmla="*/ 84 h 2010"/>
                <a:gd name="T2" fmla="*/ 458 w 1315"/>
                <a:gd name="T3" fmla="*/ 113 h 2010"/>
                <a:gd name="T4" fmla="*/ 357 w 1315"/>
                <a:gd name="T5" fmla="*/ 162 h 2010"/>
                <a:gd name="T6" fmla="*/ 268 w 1315"/>
                <a:gd name="T7" fmla="*/ 229 h 2010"/>
                <a:gd name="T8" fmla="*/ 192 w 1315"/>
                <a:gd name="T9" fmla="*/ 311 h 2010"/>
                <a:gd name="T10" fmla="*/ 135 w 1315"/>
                <a:gd name="T11" fmla="*/ 406 h 2010"/>
                <a:gd name="T12" fmla="*/ 96 w 1315"/>
                <a:gd name="T13" fmla="*/ 513 h 2010"/>
                <a:gd name="T14" fmla="*/ 79 w 1315"/>
                <a:gd name="T15" fmla="*/ 627 h 2010"/>
                <a:gd name="T16" fmla="*/ 81 w 1315"/>
                <a:gd name="T17" fmla="*/ 716 h 2010"/>
                <a:gd name="T18" fmla="*/ 93 w 1315"/>
                <a:gd name="T19" fmla="*/ 791 h 2010"/>
                <a:gd name="T20" fmla="*/ 116 w 1315"/>
                <a:gd name="T21" fmla="*/ 865 h 2010"/>
                <a:gd name="T22" fmla="*/ 149 w 1315"/>
                <a:gd name="T23" fmla="*/ 935 h 2010"/>
                <a:gd name="T24" fmla="*/ 1165 w 1315"/>
                <a:gd name="T25" fmla="*/ 936 h 2010"/>
                <a:gd name="T26" fmla="*/ 1198 w 1315"/>
                <a:gd name="T27" fmla="*/ 866 h 2010"/>
                <a:gd name="T28" fmla="*/ 1221 w 1315"/>
                <a:gd name="T29" fmla="*/ 791 h 2010"/>
                <a:gd name="T30" fmla="*/ 1234 w 1315"/>
                <a:gd name="T31" fmla="*/ 716 h 2010"/>
                <a:gd name="T32" fmla="*/ 1236 w 1315"/>
                <a:gd name="T33" fmla="*/ 627 h 2010"/>
                <a:gd name="T34" fmla="*/ 1219 w 1315"/>
                <a:gd name="T35" fmla="*/ 513 h 2010"/>
                <a:gd name="T36" fmla="*/ 1180 w 1315"/>
                <a:gd name="T37" fmla="*/ 406 h 2010"/>
                <a:gd name="T38" fmla="*/ 1121 w 1315"/>
                <a:gd name="T39" fmla="*/ 311 h 2010"/>
                <a:gd name="T40" fmla="*/ 1047 w 1315"/>
                <a:gd name="T41" fmla="*/ 229 h 2010"/>
                <a:gd name="T42" fmla="*/ 957 w 1315"/>
                <a:gd name="T43" fmla="*/ 162 h 2010"/>
                <a:gd name="T44" fmla="*/ 856 w 1315"/>
                <a:gd name="T45" fmla="*/ 113 h 2010"/>
                <a:gd name="T46" fmla="*/ 745 w 1315"/>
                <a:gd name="T47" fmla="*/ 84 h 2010"/>
                <a:gd name="T48" fmla="*/ 657 w 1315"/>
                <a:gd name="T49" fmla="*/ 2010 h 2010"/>
                <a:gd name="T50" fmla="*/ 638 w 1315"/>
                <a:gd name="T51" fmla="*/ 2005 h 2010"/>
                <a:gd name="T52" fmla="*/ 623 w 1315"/>
                <a:gd name="T53" fmla="*/ 1990 h 2010"/>
                <a:gd name="T54" fmla="*/ 60 w 1315"/>
                <a:gd name="T55" fmla="*/ 933 h 2010"/>
                <a:gd name="T56" fmla="*/ 30 w 1315"/>
                <a:gd name="T57" fmla="*/ 851 h 2010"/>
                <a:gd name="T58" fmla="*/ 9 w 1315"/>
                <a:gd name="T59" fmla="*/ 767 h 2010"/>
                <a:gd name="T60" fmla="*/ 1 w 1315"/>
                <a:gd name="T61" fmla="*/ 680 h 2010"/>
                <a:gd name="T62" fmla="*/ 7 w 1315"/>
                <a:gd name="T63" fmla="*/ 557 h 2010"/>
                <a:gd name="T64" fmla="*/ 40 w 1315"/>
                <a:gd name="T65" fmla="*/ 432 h 2010"/>
                <a:gd name="T66" fmla="*/ 96 w 1315"/>
                <a:gd name="T67" fmla="*/ 317 h 2010"/>
                <a:gd name="T68" fmla="*/ 171 w 1315"/>
                <a:gd name="T69" fmla="*/ 216 h 2010"/>
                <a:gd name="T70" fmla="*/ 265 w 1315"/>
                <a:gd name="T71" fmla="*/ 131 h 2010"/>
                <a:gd name="T72" fmla="*/ 373 w 1315"/>
                <a:gd name="T73" fmla="*/ 65 h 2010"/>
                <a:gd name="T74" fmla="*/ 493 w 1315"/>
                <a:gd name="T75" fmla="*/ 22 h 2010"/>
                <a:gd name="T76" fmla="*/ 624 w 1315"/>
                <a:gd name="T77" fmla="*/ 2 h 2010"/>
                <a:gd name="T78" fmla="*/ 757 w 1315"/>
                <a:gd name="T79" fmla="*/ 8 h 2010"/>
                <a:gd name="T80" fmla="*/ 883 w 1315"/>
                <a:gd name="T81" fmla="*/ 41 h 2010"/>
                <a:gd name="T82" fmla="*/ 998 w 1315"/>
                <a:gd name="T83" fmla="*/ 96 h 2010"/>
                <a:gd name="T84" fmla="*/ 1099 w 1315"/>
                <a:gd name="T85" fmla="*/ 172 h 2010"/>
                <a:gd name="T86" fmla="*/ 1184 w 1315"/>
                <a:gd name="T87" fmla="*/ 265 h 2010"/>
                <a:gd name="T88" fmla="*/ 1249 w 1315"/>
                <a:gd name="T89" fmla="*/ 373 h 2010"/>
                <a:gd name="T90" fmla="*/ 1293 w 1315"/>
                <a:gd name="T91" fmla="*/ 494 h 2010"/>
                <a:gd name="T92" fmla="*/ 1313 w 1315"/>
                <a:gd name="T93" fmla="*/ 624 h 2010"/>
                <a:gd name="T94" fmla="*/ 1310 w 1315"/>
                <a:gd name="T95" fmla="*/ 723 h 2010"/>
                <a:gd name="T96" fmla="*/ 1296 w 1315"/>
                <a:gd name="T97" fmla="*/ 809 h 2010"/>
                <a:gd name="T98" fmla="*/ 1270 w 1315"/>
                <a:gd name="T99" fmla="*/ 892 h 2010"/>
                <a:gd name="T100" fmla="*/ 1234 w 1315"/>
                <a:gd name="T101" fmla="*/ 972 h 2010"/>
                <a:gd name="T102" fmla="*/ 685 w 1315"/>
                <a:gd name="T103" fmla="*/ 1999 h 2010"/>
                <a:gd name="T104" fmla="*/ 667 w 1315"/>
                <a:gd name="T105" fmla="*/ 2009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5" h="2010">
                  <a:moveTo>
                    <a:pt x="657" y="78"/>
                  </a:moveTo>
                  <a:lnTo>
                    <a:pt x="627" y="79"/>
                  </a:lnTo>
                  <a:lnTo>
                    <a:pt x="598" y="81"/>
                  </a:lnTo>
                  <a:lnTo>
                    <a:pt x="568" y="84"/>
                  </a:lnTo>
                  <a:lnTo>
                    <a:pt x="541" y="90"/>
                  </a:lnTo>
                  <a:lnTo>
                    <a:pt x="512" y="96"/>
                  </a:lnTo>
                  <a:lnTo>
                    <a:pt x="484" y="105"/>
                  </a:lnTo>
                  <a:lnTo>
                    <a:pt x="458" y="113"/>
                  </a:lnTo>
                  <a:lnTo>
                    <a:pt x="431" y="124"/>
                  </a:lnTo>
                  <a:lnTo>
                    <a:pt x="406" y="135"/>
                  </a:lnTo>
                  <a:lnTo>
                    <a:pt x="381" y="148"/>
                  </a:lnTo>
                  <a:lnTo>
                    <a:pt x="357" y="162"/>
                  </a:lnTo>
                  <a:lnTo>
                    <a:pt x="334" y="177"/>
                  </a:lnTo>
                  <a:lnTo>
                    <a:pt x="310" y="194"/>
                  </a:lnTo>
                  <a:lnTo>
                    <a:pt x="289" y="211"/>
                  </a:lnTo>
                  <a:lnTo>
                    <a:pt x="268" y="229"/>
                  </a:lnTo>
                  <a:lnTo>
                    <a:pt x="248" y="248"/>
                  </a:lnTo>
                  <a:lnTo>
                    <a:pt x="228" y="268"/>
                  </a:lnTo>
                  <a:lnTo>
                    <a:pt x="210" y="290"/>
                  </a:lnTo>
                  <a:lnTo>
                    <a:pt x="192" y="311"/>
                  </a:lnTo>
                  <a:lnTo>
                    <a:pt x="176" y="334"/>
                  </a:lnTo>
                  <a:lnTo>
                    <a:pt x="161" y="358"/>
                  </a:lnTo>
                  <a:lnTo>
                    <a:pt x="148" y="382"/>
                  </a:lnTo>
                  <a:lnTo>
                    <a:pt x="135" y="406"/>
                  </a:lnTo>
                  <a:lnTo>
                    <a:pt x="123" y="432"/>
                  </a:lnTo>
                  <a:lnTo>
                    <a:pt x="113" y="459"/>
                  </a:lnTo>
                  <a:lnTo>
                    <a:pt x="103" y="485"/>
                  </a:lnTo>
                  <a:lnTo>
                    <a:pt x="96" y="513"/>
                  </a:lnTo>
                  <a:lnTo>
                    <a:pt x="89" y="541"/>
                  </a:lnTo>
                  <a:lnTo>
                    <a:pt x="84" y="570"/>
                  </a:lnTo>
                  <a:lnTo>
                    <a:pt x="81" y="599"/>
                  </a:lnTo>
                  <a:lnTo>
                    <a:pt x="79" y="627"/>
                  </a:lnTo>
                  <a:lnTo>
                    <a:pt x="77" y="657"/>
                  </a:lnTo>
                  <a:lnTo>
                    <a:pt x="77" y="677"/>
                  </a:lnTo>
                  <a:lnTo>
                    <a:pt x="79" y="697"/>
                  </a:lnTo>
                  <a:lnTo>
                    <a:pt x="81" y="716"/>
                  </a:lnTo>
                  <a:lnTo>
                    <a:pt x="83" y="735"/>
                  </a:lnTo>
                  <a:lnTo>
                    <a:pt x="86" y="754"/>
                  </a:lnTo>
                  <a:lnTo>
                    <a:pt x="89" y="772"/>
                  </a:lnTo>
                  <a:lnTo>
                    <a:pt x="93" y="791"/>
                  </a:lnTo>
                  <a:lnTo>
                    <a:pt x="98" y="810"/>
                  </a:lnTo>
                  <a:lnTo>
                    <a:pt x="103" y="828"/>
                  </a:lnTo>
                  <a:lnTo>
                    <a:pt x="109" y="846"/>
                  </a:lnTo>
                  <a:lnTo>
                    <a:pt x="116" y="865"/>
                  </a:lnTo>
                  <a:lnTo>
                    <a:pt x="123" y="883"/>
                  </a:lnTo>
                  <a:lnTo>
                    <a:pt x="131" y="901"/>
                  </a:lnTo>
                  <a:lnTo>
                    <a:pt x="139" y="918"/>
                  </a:lnTo>
                  <a:lnTo>
                    <a:pt x="149" y="935"/>
                  </a:lnTo>
                  <a:lnTo>
                    <a:pt x="158" y="952"/>
                  </a:lnTo>
                  <a:lnTo>
                    <a:pt x="657" y="1889"/>
                  </a:lnTo>
                  <a:lnTo>
                    <a:pt x="1155" y="954"/>
                  </a:lnTo>
                  <a:lnTo>
                    <a:pt x="1165" y="936"/>
                  </a:lnTo>
                  <a:lnTo>
                    <a:pt x="1174" y="919"/>
                  </a:lnTo>
                  <a:lnTo>
                    <a:pt x="1183" y="902"/>
                  </a:lnTo>
                  <a:lnTo>
                    <a:pt x="1190" y="884"/>
                  </a:lnTo>
                  <a:lnTo>
                    <a:pt x="1198" y="866"/>
                  </a:lnTo>
                  <a:lnTo>
                    <a:pt x="1204" y="847"/>
                  </a:lnTo>
                  <a:lnTo>
                    <a:pt x="1210" y="828"/>
                  </a:lnTo>
                  <a:lnTo>
                    <a:pt x="1216" y="810"/>
                  </a:lnTo>
                  <a:lnTo>
                    <a:pt x="1221" y="791"/>
                  </a:lnTo>
                  <a:lnTo>
                    <a:pt x="1225" y="773"/>
                  </a:lnTo>
                  <a:lnTo>
                    <a:pt x="1228" y="754"/>
                  </a:lnTo>
                  <a:lnTo>
                    <a:pt x="1232" y="735"/>
                  </a:lnTo>
                  <a:lnTo>
                    <a:pt x="1234" y="716"/>
                  </a:lnTo>
                  <a:lnTo>
                    <a:pt x="1236" y="697"/>
                  </a:lnTo>
                  <a:lnTo>
                    <a:pt x="1237" y="677"/>
                  </a:lnTo>
                  <a:lnTo>
                    <a:pt x="1237" y="657"/>
                  </a:lnTo>
                  <a:lnTo>
                    <a:pt x="1236" y="627"/>
                  </a:lnTo>
                  <a:lnTo>
                    <a:pt x="1234" y="599"/>
                  </a:lnTo>
                  <a:lnTo>
                    <a:pt x="1231" y="570"/>
                  </a:lnTo>
                  <a:lnTo>
                    <a:pt x="1225" y="541"/>
                  </a:lnTo>
                  <a:lnTo>
                    <a:pt x="1219" y="513"/>
                  </a:lnTo>
                  <a:lnTo>
                    <a:pt x="1210" y="485"/>
                  </a:lnTo>
                  <a:lnTo>
                    <a:pt x="1202" y="459"/>
                  </a:lnTo>
                  <a:lnTo>
                    <a:pt x="1191" y="432"/>
                  </a:lnTo>
                  <a:lnTo>
                    <a:pt x="1180" y="406"/>
                  </a:lnTo>
                  <a:lnTo>
                    <a:pt x="1167" y="382"/>
                  </a:lnTo>
                  <a:lnTo>
                    <a:pt x="1153" y="358"/>
                  </a:lnTo>
                  <a:lnTo>
                    <a:pt x="1138" y="334"/>
                  </a:lnTo>
                  <a:lnTo>
                    <a:pt x="1121" y="311"/>
                  </a:lnTo>
                  <a:lnTo>
                    <a:pt x="1104" y="290"/>
                  </a:lnTo>
                  <a:lnTo>
                    <a:pt x="1086" y="268"/>
                  </a:lnTo>
                  <a:lnTo>
                    <a:pt x="1067" y="248"/>
                  </a:lnTo>
                  <a:lnTo>
                    <a:pt x="1047" y="229"/>
                  </a:lnTo>
                  <a:lnTo>
                    <a:pt x="1025" y="211"/>
                  </a:lnTo>
                  <a:lnTo>
                    <a:pt x="1004" y="194"/>
                  </a:lnTo>
                  <a:lnTo>
                    <a:pt x="981" y="177"/>
                  </a:lnTo>
                  <a:lnTo>
                    <a:pt x="957" y="162"/>
                  </a:lnTo>
                  <a:lnTo>
                    <a:pt x="933" y="148"/>
                  </a:lnTo>
                  <a:lnTo>
                    <a:pt x="909" y="135"/>
                  </a:lnTo>
                  <a:lnTo>
                    <a:pt x="882" y="124"/>
                  </a:lnTo>
                  <a:lnTo>
                    <a:pt x="856" y="113"/>
                  </a:lnTo>
                  <a:lnTo>
                    <a:pt x="829" y="105"/>
                  </a:lnTo>
                  <a:lnTo>
                    <a:pt x="802" y="96"/>
                  </a:lnTo>
                  <a:lnTo>
                    <a:pt x="774" y="90"/>
                  </a:lnTo>
                  <a:lnTo>
                    <a:pt x="745" y="84"/>
                  </a:lnTo>
                  <a:lnTo>
                    <a:pt x="716" y="81"/>
                  </a:lnTo>
                  <a:lnTo>
                    <a:pt x="686" y="79"/>
                  </a:lnTo>
                  <a:lnTo>
                    <a:pt x="657" y="78"/>
                  </a:lnTo>
                  <a:close/>
                  <a:moveTo>
                    <a:pt x="657" y="2010"/>
                  </a:moveTo>
                  <a:lnTo>
                    <a:pt x="651" y="2010"/>
                  </a:lnTo>
                  <a:lnTo>
                    <a:pt x="647" y="2009"/>
                  </a:lnTo>
                  <a:lnTo>
                    <a:pt x="642" y="2007"/>
                  </a:lnTo>
                  <a:lnTo>
                    <a:pt x="638" y="2005"/>
                  </a:lnTo>
                  <a:lnTo>
                    <a:pt x="633" y="2002"/>
                  </a:lnTo>
                  <a:lnTo>
                    <a:pt x="629" y="1999"/>
                  </a:lnTo>
                  <a:lnTo>
                    <a:pt x="626" y="1994"/>
                  </a:lnTo>
                  <a:lnTo>
                    <a:pt x="623" y="1990"/>
                  </a:lnTo>
                  <a:lnTo>
                    <a:pt x="91" y="990"/>
                  </a:lnTo>
                  <a:lnTo>
                    <a:pt x="80" y="971"/>
                  </a:lnTo>
                  <a:lnTo>
                    <a:pt x="70" y="952"/>
                  </a:lnTo>
                  <a:lnTo>
                    <a:pt x="60" y="933"/>
                  </a:lnTo>
                  <a:lnTo>
                    <a:pt x="52" y="912"/>
                  </a:lnTo>
                  <a:lnTo>
                    <a:pt x="43" y="892"/>
                  </a:lnTo>
                  <a:lnTo>
                    <a:pt x="36" y="872"/>
                  </a:lnTo>
                  <a:lnTo>
                    <a:pt x="30" y="851"/>
                  </a:lnTo>
                  <a:lnTo>
                    <a:pt x="23" y="830"/>
                  </a:lnTo>
                  <a:lnTo>
                    <a:pt x="18" y="809"/>
                  </a:lnTo>
                  <a:lnTo>
                    <a:pt x="14" y="788"/>
                  </a:lnTo>
                  <a:lnTo>
                    <a:pt x="9" y="767"/>
                  </a:lnTo>
                  <a:lnTo>
                    <a:pt x="6" y="744"/>
                  </a:lnTo>
                  <a:lnTo>
                    <a:pt x="3" y="723"/>
                  </a:lnTo>
                  <a:lnTo>
                    <a:pt x="2" y="702"/>
                  </a:lnTo>
                  <a:lnTo>
                    <a:pt x="1" y="680"/>
                  </a:lnTo>
                  <a:lnTo>
                    <a:pt x="0" y="657"/>
                  </a:lnTo>
                  <a:lnTo>
                    <a:pt x="1" y="624"/>
                  </a:lnTo>
                  <a:lnTo>
                    <a:pt x="3" y="590"/>
                  </a:lnTo>
                  <a:lnTo>
                    <a:pt x="7" y="557"/>
                  </a:lnTo>
                  <a:lnTo>
                    <a:pt x="14" y="525"/>
                  </a:lnTo>
                  <a:lnTo>
                    <a:pt x="21" y="494"/>
                  </a:lnTo>
                  <a:lnTo>
                    <a:pt x="30" y="463"/>
                  </a:lnTo>
                  <a:lnTo>
                    <a:pt x="40" y="432"/>
                  </a:lnTo>
                  <a:lnTo>
                    <a:pt x="52" y="402"/>
                  </a:lnTo>
                  <a:lnTo>
                    <a:pt x="65" y="373"/>
                  </a:lnTo>
                  <a:lnTo>
                    <a:pt x="80" y="345"/>
                  </a:lnTo>
                  <a:lnTo>
                    <a:pt x="96" y="317"/>
                  </a:lnTo>
                  <a:lnTo>
                    <a:pt x="113" y="291"/>
                  </a:lnTo>
                  <a:lnTo>
                    <a:pt x="131" y="265"/>
                  </a:lnTo>
                  <a:lnTo>
                    <a:pt x="151" y="240"/>
                  </a:lnTo>
                  <a:lnTo>
                    <a:pt x="171" y="216"/>
                  </a:lnTo>
                  <a:lnTo>
                    <a:pt x="192" y="194"/>
                  </a:lnTo>
                  <a:lnTo>
                    <a:pt x="216" y="172"/>
                  </a:lnTo>
                  <a:lnTo>
                    <a:pt x="239" y="151"/>
                  </a:lnTo>
                  <a:lnTo>
                    <a:pt x="265" y="131"/>
                  </a:lnTo>
                  <a:lnTo>
                    <a:pt x="290" y="113"/>
                  </a:lnTo>
                  <a:lnTo>
                    <a:pt x="317" y="96"/>
                  </a:lnTo>
                  <a:lnTo>
                    <a:pt x="344" y="80"/>
                  </a:lnTo>
                  <a:lnTo>
                    <a:pt x="373" y="65"/>
                  </a:lnTo>
                  <a:lnTo>
                    <a:pt x="402" y="53"/>
                  </a:lnTo>
                  <a:lnTo>
                    <a:pt x="431" y="41"/>
                  </a:lnTo>
                  <a:lnTo>
                    <a:pt x="462" y="30"/>
                  </a:lnTo>
                  <a:lnTo>
                    <a:pt x="493" y="22"/>
                  </a:lnTo>
                  <a:lnTo>
                    <a:pt x="525" y="14"/>
                  </a:lnTo>
                  <a:lnTo>
                    <a:pt x="557" y="8"/>
                  </a:lnTo>
                  <a:lnTo>
                    <a:pt x="590" y="5"/>
                  </a:lnTo>
                  <a:lnTo>
                    <a:pt x="624" y="2"/>
                  </a:lnTo>
                  <a:lnTo>
                    <a:pt x="657" y="0"/>
                  </a:lnTo>
                  <a:lnTo>
                    <a:pt x="691" y="2"/>
                  </a:lnTo>
                  <a:lnTo>
                    <a:pt x="724" y="4"/>
                  </a:lnTo>
                  <a:lnTo>
                    <a:pt x="757" y="8"/>
                  </a:lnTo>
                  <a:lnTo>
                    <a:pt x="790" y="14"/>
                  </a:lnTo>
                  <a:lnTo>
                    <a:pt x="821" y="22"/>
                  </a:lnTo>
                  <a:lnTo>
                    <a:pt x="852" y="30"/>
                  </a:lnTo>
                  <a:lnTo>
                    <a:pt x="883" y="41"/>
                  </a:lnTo>
                  <a:lnTo>
                    <a:pt x="913" y="53"/>
                  </a:lnTo>
                  <a:lnTo>
                    <a:pt x="941" y="65"/>
                  </a:lnTo>
                  <a:lnTo>
                    <a:pt x="970" y="80"/>
                  </a:lnTo>
                  <a:lnTo>
                    <a:pt x="998" y="96"/>
                  </a:lnTo>
                  <a:lnTo>
                    <a:pt x="1024" y="113"/>
                  </a:lnTo>
                  <a:lnTo>
                    <a:pt x="1050" y="131"/>
                  </a:lnTo>
                  <a:lnTo>
                    <a:pt x="1074" y="151"/>
                  </a:lnTo>
                  <a:lnTo>
                    <a:pt x="1099" y="172"/>
                  </a:lnTo>
                  <a:lnTo>
                    <a:pt x="1121" y="194"/>
                  </a:lnTo>
                  <a:lnTo>
                    <a:pt x="1143" y="216"/>
                  </a:lnTo>
                  <a:lnTo>
                    <a:pt x="1164" y="240"/>
                  </a:lnTo>
                  <a:lnTo>
                    <a:pt x="1184" y="265"/>
                  </a:lnTo>
                  <a:lnTo>
                    <a:pt x="1202" y="291"/>
                  </a:lnTo>
                  <a:lnTo>
                    <a:pt x="1219" y="317"/>
                  </a:lnTo>
                  <a:lnTo>
                    <a:pt x="1235" y="345"/>
                  </a:lnTo>
                  <a:lnTo>
                    <a:pt x="1249" y="373"/>
                  </a:lnTo>
                  <a:lnTo>
                    <a:pt x="1262" y="402"/>
                  </a:lnTo>
                  <a:lnTo>
                    <a:pt x="1274" y="432"/>
                  </a:lnTo>
                  <a:lnTo>
                    <a:pt x="1285" y="463"/>
                  </a:lnTo>
                  <a:lnTo>
                    <a:pt x="1293" y="494"/>
                  </a:lnTo>
                  <a:lnTo>
                    <a:pt x="1301" y="525"/>
                  </a:lnTo>
                  <a:lnTo>
                    <a:pt x="1306" y="557"/>
                  </a:lnTo>
                  <a:lnTo>
                    <a:pt x="1310" y="590"/>
                  </a:lnTo>
                  <a:lnTo>
                    <a:pt x="1313" y="624"/>
                  </a:lnTo>
                  <a:lnTo>
                    <a:pt x="1315" y="657"/>
                  </a:lnTo>
                  <a:lnTo>
                    <a:pt x="1313" y="680"/>
                  </a:lnTo>
                  <a:lnTo>
                    <a:pt x="1312" y="702"/>
                  </a:lnTo>
                  <a:lnTo>
                    <a:pt x="1310" y="723"/>
                  </a:lnTo>
                  <a:lnTo>
                    <a:pt x="1308" y="744"/>
                  </a:lnTo>
                  <a:lnTo>
                    <a:pt x="1305" y="767"/>
                  </a:lnTo>
                  <a:lnTo>
                    <a:pt x="1301" y="788"/>
                  </a:lnTo>
                  <a:lnTo>
                    <a:pt x="1296" y="809"/>
                  </a:lnTo>
                  <a:lnTo>
                    <a:pt x="1291" y="830"/>
                  </a:lnTo>
                  <a:lnTo>
                    <a:pt x="1285" y="852"/>
                  </a:lnTo>
                  <a:lnTo>
                    <a:pt x="1277" y="872"/>
                  </a:lnTo>
                  <a:lnTo>
                    <a:pt x="1270" y="892"/>
                  </a:lnTo>
                  <a:lnTo>
                    <a:pt x="1262" y="912"/>
                  </a:lnTo>
                  <a:lnTo>
                    <a:pt x="1253" y="933"/>
                  </a:lnTo>
                  <a:lnTo>
                    <a:pt x="1243" y="953"/>
                  </a:lnTo>
                  <a:lnTo>
                    <a:pt x="1234" y="972"/>
                  </a:lnTo>
                  <a:lnTo>
                    <a:pt x="1222" y="991"/>
                  </a:lnTo>
                  <a:lnTo>
                    <a:pt x="691" y="1990"/>
                  </a:lnTo>
                  <a:lnTo>
                    <a:pt x="689" y="1994"/>
                  </a:lnTo>
                  <a:lnTo>
                    <a:pt x="685" y="1999"/>
                  </a:lnTo>
                  <a:lnTo>
                    <a:pt x="681" y="2002"/>
                  </a:lnTo>
                  <a:lnTo>
                    <a:pt x="677" y="2005"/>
                  </a:lnTo>
                  <a:lnTo>
                    <a:pt x="673" y="2007"/>
                  </a:lnTo>
                  <a:lnTo>
                    <a:pt x="667" y="2009"/>
                  </a:lnTo>
                  <a:lnTo>
                    <a:pt x="662" y="2010"/>
                  </a:lnTo>
                  <a:lnTo>
                    <a:pt x="657" y="20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8" name="Gruppieren 567">
            <a:extLst>
              <a:ext uri="{FF2B5EF4-FFF2-40B4-BE49-F238E27FC236}">
                <a16:creationId xmlns:a16="http://schemas.microsoft.com/office/drawing/2014/main" id="{9EFCA280-3F12-416E-ABBB-2618E6F707BB}"/>
              </a:ext>
            </a:extLst>
          </p:cNvPr>
          <p:cNvGrpSpPr>
            <a:grpSpLocks noChangeAspect="1"/>
          </p:cNvGrpSpPr>
          <p:nvPr/>
        </p:nvGrpSpPr>
        <p:grpSpPr>
          <a:xfrm>
            <a:off x="2684033" y="2186361"/>
            <a:ext cx="390070" cy="306484"/>
            <a:chOff x="3334078" y="1994770"/>
            <a:chExt cx="511175" cy="401638"/>
          </a:xfrm>
          <a:solidFill>
            <a:schemeClr val="bg2"/>
          </a:solidFill>
          <a:effectLst/>
        </p:grpSpPr>
        <p:sp>
          <p:nvSpPr>
            <p:cNvPr id="569" name="Freeform 53">
              <a:extLst>
                <a:ext uri="{FF2B5EF4-FFF2-40B4-BE49-F238E27FC236}">
                  <a16:creationId xmlns:a16="http://schemas.microsoft.com/office/drawing/2014/main" id="{7F846816-2F8E-44FD-B551-5CFE94E5F381}"/>
                </a:ext>
              </a:extLst>
            </p:cNvPr>
            <p:cNvSpPr>
              <a:spLocks noEditPoints="1"/>
            </p:cNvSpPr>
            <p:nvPr/>
          </p:nvSpPr>
          <p:spPr bwMode="auto">
            <a:xfrm>
              <a:off x="3334078" y="1994770"/>
              <a:ext cx="493713" cy="401638"/>
            </a:xfrm>
            <a:custGeom>
              <a:avLst/>
              <a:gdLst>
                <a:gd name="T0" fmla="*/ 63 w 1243"/>
                <a:gd name="T1" fmla="*/ 966 h 1013"/>
                <a:gd name="T2" fmla="*/ 1178 w 1243"/>
                <a:gd name="T3" fmla="*/ 966 h 1013"/>
                <a:gd name="T4" fmla="*/ 621 w 1243"/>
                <a:gd name="T5" fmla="*/ 66 h 1013"/>
                <a:gd name="T6" fmla="*/ 63 w 1243"/>
                <a:gd name="T7" fmla="*/ 966 h 1013"/>
                <a:gd name="T8" fmla="*/ 1220 w 1243"/>
                <a:gd name="T9" fmla="*/ 1013 h 1013"/>
                <a:gd name="T10" fmla="*/ 22 w 1243"/>
                <a:gd name="T11" fmla="*/ 1013 h 1013"/>
                <a:gd name="T12" fmla="*/ 16 w 1243"/>
                <a:gd name="T13" fmla="*/ 1012 h 1013"/>
                <a:gd name="T14" fmla="*/ 11 w 1243"/>
                <a:gd name="T15" fmla="*/ 1009 h 1013"/>
                <a:gd name="T16" fmla="*/ 6 w 1243"/>
                <a:gd name="T17" fmla="*/ 1006 h 1013"/>
                <a:gd name="T18" fmla="*/ 2 w 1243"/>
                <a:gd name="T19" fmla="*/ 1001 h 1013"/>
                <a:gd name="T20" fmla="*/ 0 w 1243"/>
                <a:gd name="T21" fmla="*/ 996 h 1013"/>
                <a:gd name="T22" fmla="*/ 0 w 1243"/>
                <a:gd name="T23" fmla="*/ 990 h 1013"/>
                <a:gd name="T24" fmla="*/ 0 w 1243"/>
                <a:gd name="T25" fmla="*/ 984 h 1013"/>
                <a:gd name="T26" fmla="*/ 2 w 1243"/>
                <a:gd name="T27" fmla="*/ 977 h 1013"/>
                <a:gd name="T28" fmla="*/ 602 w 1243"/>
                <a:gd name="T29" fmla="*/ 10 h 1013"/>
                <a:gd name="T30" fmla="*/ 606 w 1243"/>
                <a:gd name="T31" fmla="*/ 6 h 1013"/>
                <a:gd name="T32" fmla="*/ 610 w 1243"/>
                <a:gd name="T33" fmla="*/ 2 h 1013"/>
                <a:gd name="T34" fmla="*/ 615 w 1243"/>
                <a:gd name="T35" fmla="*/ 1 h 1013"/>
                <a:gd name="T36" fmla="*/ 621 w 1243"/>
                <a:gd name="T37" fmla="*/ 0 h 1013"/>
                <a:gd name="T38" fmla="*/ 626 w 1243"/>
                <a:gd name="T39" fmla="*/ 1 h 1013"/>
                <a:gd name="T40" fmla="*/ 633 w 1243"/>
                <a:gd name="T41" fmla="*/ 2 h 1013"/>
                <a:gd name="T42" fmla="*/ 637 w 1243"/>
                <a:gd name="T43" fmla="*/ 6 h 1013"/>
                <a:gd name="T44" fmla="*/ 641 w 1243"/>
                <a:gd name="T45" fmla="*/ 10 h 1013"/>
                <a:gd name="T46" fmla="*/ 1240 w 1243"/>
                <a:gd name="T47" fmla="*/ 977 h 1013"/>
                <a:gd name="T48" fmla="*/ 1242 w 1243"/>
                <a:gd name="T49" fmla="*/ 984 h 1013"/>
                <a:gd name="T50" fmla="*/ 1243 w 1243"/>
                <a:gd name="T51" fmla="*/ 990 h 1013"/>
                <a:gd name="T52" fmla="*/ 1242 w 1243"/>
                <a:gd name="T53" fmla="*/ 996 h 1013"/>
                <a:gd name="T54" fmla="*/ 1240 w 1243"/>
                <a:gd name="T55" fmla="*/ 1001 h 1013"/>
                <a:gd name="T56" fmla="*/ 1236 w 1243"/>
                <a:gd name="T57" fmla="*/ 1006 h 1013"/>
                <a:gd name="T58" fmla="*/ 1232 w 1243"/>
                <a:gd name="T59" fmla="*/ 1009 h 1013"/>
                <a:gd name="T60" fmla="*/ 1226 w 1243"/>
                <a:gd name="T61" fmla="*/ 1012 h 1013"/>
                <a:gd name="T62" fmla="*/ 1220 w 1243"/>
                <a:gd name="T63"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3" h="1013">
                  <a:moveTo>
                    <a:pt x="63" y="966"/>
                  </a:moveTo>
                  <a:lnTo>
                    <a:pt x="1178" y="966"/>
                  </a:lnTo>
                  <a:lnTo>
                    <a:pt x="621" y="66"/>
                  </a:lnTo>
                  <a:lnTo>
                    <a:pt x="63" y="966"/>
                  </a:lnTo>
                  <a:close/>
                  <a:moveTo>
                    <a:pt x="1220" y="1013"/>
                  </a:moveTo>
                  <a:lnTo>
                    <a:pt x="22" y="1013"/>
                  </a:lnTo>
                  <a:lnTo>
                    <a:pt x="16" y="1012"/>
                  </a:lnTo>
                  <a:lnTo>
                    <a:pt x="11" y="1009"/>
                  </a:lnTo>
                  <a:lnTo>
                    <a:pt x="6" y="1006"/>
                  </a:lnTo>
                  <a:lnTo>
                    <a:pt x="2" y="1001"/>
                  </a:lnTo>
                  <a:lnTo>
                    <a:pt x="0" y="996"/>
                  </a:lnTo>
                  <a:lnTo>
                    <a:pt x="0" y="990"/>
                  </a:lnTo>
                  <a:lnTo>
                    <a:pt x="0" y="984"/>
                  </a:lnTo>
                  <a:lnTo>
                    <a:pt x="2" y="977"/>
                  </a:lnTo>
                  <a:lnTo>
                    <a:pt x="602" y="10"/>
                  </a:lnTo>
                  <a:lnTo>
                    <a:pt x="606" y="6"/>
                  </a:lnTo>
                  <a:lnTo>
                    <a:pt x="610" y="2"/>
                  </a:lnTo>
                  <a:lnTo>
                    <a:pt x="615" y="1"/>
                  </a:lnTo>
                  <a:lnTo>
                    <a:pt x="621" y="0"/>
                  </a:lnTo>
                  <a:lnTo>
                    <a:pt x="626" y="1"/>
                  </a:lnTo>
                  <a:lnTo>
                    <a:pt x="633" y="2"/>
                  </a:lnTo>
                  <a:lnTo>
                    <a:pt x="637" y="6"/>
                  </a:lnTo>
                  <a:lnTo>
                    <a:pt x="641" y="10"/>
                  </a:lnTo>
                  <a:lnTo>
                    <a:pt x="1240" y="977"/>
                  </a:lnTo>
                  <a:lnTo>
                    <a:pt x="1242" y="984"/>
                  </a:lnTo>
                  <a:lnTo>
                    <a:pt x="1243" y="990"/>
                  </a:lnTo>
                  <a:lnTo>
                    <a:pt x="1242" y="996"/>
                  </a:lnTo>
                  <a:lnTo>
                    <a:pt x="1240" y="1001"/>
                  </a:lnTo>
                  <a:lnTo>
                    <a:pt x="1236" y="1006"/>
                  </a:lnTo>
                  <a:lnTo>
                    <a:pt x="1232" y="1009"/>
                  </a:lnTo>
                  <a:lnTo>
                    <a:pt x="1226" y="1012"/>
                  </a:lnTo>
                  <a:lnTo>
                    <a:pt x="1220" y="10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0" name="Rectangle 54">
              <a:extLst>
                <a:ext uri="{FF2B5EF4-FFF2-40B4-BE49-F238E27FC236}">
                  <a16:creationId xmlns:a16="http://schemas.microsoft.com/office/drawing/2014/main" id="{797E0A28-D8C5-474E-A5DA-90D6F9EC7E15}"/>
                </a:ext>
              </a:extLst>
            </p:cNvPr>
            <p:cNvSpPr>
              <a:spLocks noChangeArrowheads="1"/>
            </p:cNvSpPr>
            <p:nvPr/>
          </p:nvSpPr>
          <p:spPr bwMode="auto">
            <a:xfrm>
              <a:off x="3416628" y="2250357"/>
              <a:ext cx="328613" cy="174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1" name="Rectangle 55">
              <a:extLst>
                <a:ext uri="{FF2B5EF4-FFF2-40B4-BE49-F238E27FC236}">
                  <a16:creationId xmlns:a16="http://schemas.microsoft.com/office/drawing/2014/main" id="{6EDABFAD-FDDA-46B8-A4F6-A9B43CB81C0F}"/>
                </a:ext>
              </a:extLst>
            </p:cNvPr>
            <p:cNvSpPr>
              <a:spLocks noChangeArrowheads="1"/>
            </p:cNvSpPr>
            <p:nvPr/>
          </p:nvSpPr>
          <p:spPr bwMode="auto">
            <a:xfrm>
              <a:off x="3489653" y="2140820"/>
              <a:ext cx="182563" cy="174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2" name="Freeform 79">
              <a:extLst>
                <a:ext uri="{FF2B5EF4-FFF2-40B4-BE49-F238E27FC236}">
                  <a16:creationId xmlns:a16="http://schemas.microsoft.com/office/drawing/2014/main" id="{0A1A5549-1C64-4C40-8312-CBB9958D44C8}"/>
                </a:ext>
              </a:extLst>
            </p:cNvPr>
            <p:cNvSpPr>
              <a:spLocks noEditPoints="1"/>
            </p:cNvSpPr>
            <p:nvPr/>
          </p:nvSpPr>
          <p:spPr bwMode="auto">
            <a:xfrm>
              <a:off x="3718253" y="2031282"/>
              <a:ext cx="127000" cy="127000"/>
            </a:xfrm>
            <a:custGeom>
              <a:avLst/>
              <a:gdLst>
                <a:gd name="T0" fmla="*/ 139 w 323"/>
                <a:gd name="T1" fmla="*/ 48 h 322"/>
                <a:gd name="T2" fmla="*/ 107 w 323"/>
                <a:gd name="T3" fmla="*/ 60 h 322"/>
                <a:gd name="T4" fmla="*/ 81 w 323"/>
                <a:gd name="T5" fmla="*/ 80 h 322"/>
                <a:gd name="T6" fmla="*/ 60 w 323"/>
                <a:gd name="T7" fmla="*/ 105 h 322"/>
                <a:gd name="T8" fmla="*/ 49 w 323"/>
                <a:gd name="T9" fmla="*/ 137 h 322"/>
                <a:gd name="T10" fmla="*/ 48 w 323"/>
                <a:gd name="T11" fmla="*/ 173 h 322"/>
                <a:gd name="T12" fmla="*/ 55 w 323"/>
                <a:gd name="T13" fmla="*/ 206 h 322"/>
                <a:gd name="T14" fmla="*/ 72 w 323"/>
                <a:gd name="T15" fmla="*/ 234 h 322"/>
                <a:gd name="T16" fmla="*/ 97 w 323"/>
                <a:gd name="T17" fmla="*/ 256 h 322"/>
                <a:gd name="T18" fmla="*/ 128 w 323"/>
                <a:gd name="T19" fmla="*/ 271 h 322"/>
                <a:gd name="T20" fmla="*/ 162 w 323"/>
                <a:gd name="T21" fmla="*/ 276 h 322"/>
                <a:gd name="T22" fmla="*/ 196 w 323"/>
                <a:gd name="T23" fmla="*/ 271 h 322"/>
                <a:gd name="T24" fmla="*/ 226 w 323"/>
                <a:gd name="T25" fmla="*/ 256 h 322"/>
                <a:gd name="T26" fmla="*/ 250 w 323"/>
                <a:gd name="T27" fmla="*/ 234 h 322"/>
                <a:gd name="T28" fmla="*/ 267 w 323"/>
                <a:gd name="T29" fmla="*/ 206 h 322"/>
                <a:gd name="T30" fmla="*/ 276 w 323"/>
                <a:gd name="T31" fmla="*/ 173 h 322"/>
                <a:gd name="T32" fmla="*/ 275 w 323"/>
                <a:gd name="T33" fmla="*/ 137 h 322"/>
                <a:gd name="T34" fmla="*/ 263 w 323"/>
                <a:gd name="T35" fmla="*/ 105 h 322"/>
                <a:gd name="T36" fmla="*/ 243 w 323"/>
                <a:gd name="T37" fmla="*/ 80 h 322"/>
                <a:gd name="T38" fmla="*/ 217 w 323"/>
                <a:gd name="T39" fmla="*/ 60 h 322"/>
                <a:gd name="T40" fmla="*/ 185 w 323"/>
                <a:gd name="T41" fmla="*/ 48 h 322"/>
                <a:gd name="T42" fmla="*/ 162 w 323"/>
                <a:gd name="T43" fmla="*/ 322 h 322"/>
                <a:gd name="T44" fmla="*/ 114 w 323"/>
                <a:gd name="T45" fmla="*/ 315 h 322"/>
                <a:gd name="T46" fmla="*/ 71 w 323"/>
                <a:gd name="T47" fmla="*/ 294 h 322"/>
                <a:gd name="T48" fmla="*/ 38 w 323"/>
                <a:gd name="T49" fmla="*/ 264 h 322"/>
                <a:gd name="T50" fmla="*/ 14 w 323"/>
                <a:gd name="T51" fmla="*/ 223 h 322"/>
                <a:gd name="T52" fmla="*/ 1 w 323"/>
                <a:gd name="T53" fmla="*/ 178 h 322"/>
                <a:gd name="T54" fmla="*/ 4 w 323"/>
                <a:gd name="T55" fmla="*/ 129 h 322"/>
                <a:gd name="T56" fmla="*/ 20 w 323"/>
                <a:gd name="T57" fmla="*/ 84 h 322"/>
                <a:gd name="T58" fmla="*/ 48 w 323"/>
                <a:gd name="T59" fmla="*/ 46 h 322"/>
                <a:gd name="T60" fmla="*/ 85 w 323"/>
                <a:gd name="T61" fmla="*/ 19 h 322"/>
                <a:gd name="T62" fmla="*/ 129 w 323"/>
                <a:gd name="T63" fmla="*/ 2 h 322"/>
                <a:gd name="T64" fmla="*/ 178 w 323"/>
                <a:gd name="T65" fmla="*/ 0 h 322"/>
                <a:gd name="T66" fmla="*/ 225 w 323"/>
                <a:gd name="T67" fmla="*/ 12 h 322"/>
                <a:gd name="T68" fmla="*/ 265 w 323"/>
                <a:gd name="T69" fmla="*/ 37 h 322"/>
                <a:gd name="T70" fmla="*/ 296 w 323"/>
                <a:gd name="T71" fmla="*/ 71 h 322"/>
                <a:gd name="T72" fmla="*/ 315 w 323"/>
                <a:gd name="T73" fmla="*/ 113 h 322"/>
                <a:gd name="T74" fmla="*/ 323 w 323"/>
                <a:gd name="T75" fmla="*/ 160 h 322"/>
                <a:gd name="T76" fmla="*/ 315 w 323"/>
                <a:gd name="T77" fmla="*/ 208 h 322"/>
                <a:gd name="T78" fmla="*/ 296 w 323"/>
                <a:gd name="T79" fmla="*/ 251 h 322"/>
                <a:gd name="T80" fmla="*/ 265 w 323"/>
                <a:gd name="T81" fmla="*/ 286 h 322"/>
                <a:gd name="T82" fmla="*/ 225 w 323"/>
                <a:gd name="T83" fmla="*/ 309 h 322"/>
                <a:gd name="T84" fmla="*/ 178 w 323"/>
                <a:gd name="T85"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322">
                  <a:moveTo>
                    <a:pt x="162" y="45"/>
                  </a:moveTo>
                  <a:lnTo>
                    <a:pt x="150" y="46"/>
                  </a:lnTo>
                  <a:lnTo>
                    <a:pt x="139" y="48"/>
                  </a:lnTo>
                  <a:lnTo>
                    <a:pt x="128" y="50"/>
                  </a:lnTo>
                  <a:lnTo>
                    <a:pt x="117" y="55"/>
                  </a:lnTo>
                  <a:lnTo>
                    <a:pt x="107" y="60"/>
                  </a:lnTo>
                  <a:lnTo>
                    <a:pt x="97" y="65"/>
                  </a:lnTo>
                  <a:lnTo>
                    <a:pt x="88" y="72"/>
                  </a:lnTo>
                  <a:lnTo>
                    <a:pt x="81" y="80"/>
                  </a:lnTo>
                  <a:lnTo>
                    <a:pt x="72" y="87"/>
                  </a:lnTo>
                  <a:lnTo>
                    <a:pt x="66" y="97"/>
                  </a:lnTo>
                  <a:lnTo>
                    <a:pt x="60" y="105"/>
                  </a:lnTo>
                  <a:lnTo>
                    <a:pt x="55" y="116"/>
                  </a:lnTo>
                  <a:lnTo>
                    <a:pt x="52" y="126"/>
                  </a:lnTo>
                  <a:lnTo>
                    <a:pt x="49" y="137"/>
                  </a:lnTo>
                  <a:lnTo>
                    <a:pt x="48" y="149"/>
                  </a:lnTo>
                  <a:lnTo>
                    <a:pt x="47" y="160"/>
                  </a:lnTo>
                  <a:lnTo>
                    <a:pt x="48" y="173"/>
                  </a:lnTo>
                  <a:lnTo>
                    <a:pt x="49" y="184"/>
                  </a:lnTo>
                  <a:lnTo>
                    <a:pt x="52" y="195"/>
                  </a:lnTo>
                  <a:lnTo>
                    <a:pt x="55" y="206"/>
                  </a:lnTo>
                  <a:lnTo>
                    <a:pt x="60" y="216"/>
                  </a:lnTo>
                  <a:lnTo>
                    <a:pt x="66" y="225"/>
                  </a:lnTo>
                  <a:lnTo>
                    <a:pt x="72" y="234"/>
                  </a:lnTo>
                  <a:lnTo>
                    <a:pt x="81" y="243"/>
                  </a:lnTo>
                  <a:lnTo>
                    <a:pt x="88" y="250"/>
                  </a:lnTo>
                  <a:lnTo>
                    <a:pt x="97" y="256"/>
                  </a:lnTo>
                  <a:lnTo>
                    <a:pt x="107" y="262"/>
                  </a:lnTo>
                  <a:lnTo>
                    <a:pt x="117" y="267"/>
                  </a:lnTo>
                  <a:lnTo>
                    <a:pt x="128" y="271"/>
                  </a:lnTo>
                  <a:lnTo>
                    <a:pt x="139" y="273"/>
                  </a:lnTo>
                  <a:lnTo>
                    <a:pt x="150" y="276"/>
                  </a:lnTo>
                  <a:lnTo>
                    <a:pt x="162" y="276"/>
                  </a:lnTo>
                  <a:lnTo>
                    <a:pt x="174" y="276"/>
                  </a:lnTo>
                  <a:lnTo>
                    <a:pt x="185" y="273"/>
                  </a:lnTo>
                  <a:lnTo>
                    <a:pt x="196" y="271"/>
                  </a:lnTo>
                  <a:lnTo>
                    <a:pt x="206" y="267"/>
                  </a:lnTo>
                  <a:lnTo>
                    <a:pt x="217" y="262"/>
                  </a:lnTo>
                  <a:lnTo>
                    <a:pt x="226" y="256"/>
                  </a:lnTo>
                  <a:lnTo>
                    <a:pt x="236" y="250"/>
                  </a:lnTo>
                  <a:lnTo>
                    <a:pt x="243" y="243"/>
                  </a:lnTo>
                  <a:lnTo>
                    <a:pt x="250" y="234"/>
                  </a:lnTo>
                  <a:lnTo>
                    <a:pt x="258" y="225"/>
                  </a:lnTo>
                  <a:lnTo>
                    <a:pt x="263" y="216"/>
                  </a:lnTo>
                  <a:lnTo>
                    <a:pt x="267" y="206"/>
                  </a:lnTo>
                  <a:lnTo>
                    <a:pt x="272" y="195"/>
                  </a:lnTo>
                  <a:lnTo>
                    <a:pt x="275" y="184"/>
                  </a:lnTo>
                  <a:lnTo>
                    <a:pt x="276" y="173"/>
                  </a:lnTo>
                  <a:lnTo>
                    <a:pt x="277" y="160"/>
                  </a:lnTo>
                  <a:lnTo>
                    <a:pt x="276" y="149"/>
                  </a:lnTo>
                  <a:lnTo>
                    <a:pt x="275" y="137"/>
                  </a:lnTo>
                  <a:lnTo>
                    <a:pt x="272" y="126"/>
                  </a:lnTo>
                  <a:lnTo>
                    <a:pt x="267" y="116"/>
                  </a:lnTo>
                  <a:lnTo>
                    <a:pt x="263" y="105"/>
                  </a:lnTo>
                  <a:lnTo>
                    <a:pt x="258" y="97"/>
                  </a:lnTo>
                  <a:lnTo>
                    <a:pt x="250" y="87"/>
                  </a:lnTo>
                  <a:lnTo>
                    <a:pt x="243" y="80"/>
                  </a:lnTo>
                  <a:lnTo>
                    <a:pt x="236" y="72"/>
                  </a:lnTo>
                  <a:lnTo>
                    <a:pt x="226" y="65"/>
                  </a:lnTo>
                  <a:lnTo>
                    <a:pt x="217" y="60"/>
                  </a:lnTo>
                  <a:lnTo>
                    <a:pt x="206" y="55"/>
                  </a:lnTo>
                  <a:lnTo>
                    <a:pt x="196" y="50"/>
                  </a:lnTo>
                  <a:lnTo>
                    <a:pt x="185" y="48"/>
                  </a:lnTo>
                  <a:lnTo>
                    <a:pt x="174" y="46"/>
                  </a:lnTo>
                  <a:lnTo>
                    <a:pt x="162" y="45"/>
                  </a:lnTo>
                  <a:close/>
                  <a:moveTo>
                    <a:pt x="162" y="322"/>
                  </a:moveTo>
                  <a:lnTo>
                    <a:pt x="146" y="321"/>
                  </a:lnTo>
                  <a:lnTo>
                    <a:pt x="129" y="319"/>
                  </a:lnTo>
                  <a:lnTo>
                    <a:pt x="114" y="315"/>
                  </a:lnTo>
                  <a:lnTo>
                    <a:pt x="99" y="309"/>
                  </a:lnTo>
                  <a:lnTo>
                    <a:pt x="85" y="303"/>
                  </a:lnTo>
                  <a:lnTo>
                    <a:pt x="71" y="294"/>
                  </a:lnTo>
                  <a:lnTo>
                    <a:pt x="59" y="286"/>
                  </a:lnTo>
                  <a:lnTo>
                    <a:pt x="48" y="275"/>
                  </a:lnTo>
                  <a:lnTo>
                    <a:pt x="38" y="264"/>
                  </a:lnTo>
                  <a:lnTo>
                    <a:pt x="28" y="251"/>
                  </a:lnTo>
                  <a:lnTo>
                    <a:pt x="20" y="238"/>
                  </a:lnTo>
                  <a:lnTo>
                    <a:pt x="14" y="223"/>
                  </a:lnTo>
                  <a:lnTo>
                    <a:pt x="7" y="208"/>
                  </a:lnTo>
                  <a:lnTo>
                    <a:pt x="4" y="194"/>
                  </a:lnTo>
                  <a:lnTo>
                    <a:pt x="1" y="178"/>
                  </a:lnTo>
                  <a:lnTo>
                    <a:pt x="0" y="160"/>
                  </a:lnTo>
                  <a:lnTo>
                    <a:pt x="1" y="145"/>
                  </a:lnTo>
                  <a:lnTo>
                    <a:pt x="4" y="129"/>
                  </a:lnTo>
                  <a:lnTo>
                    <a:pt x="7" y="113"/>
                  </a:lnTo>
                  <a:lnTo>
                    <a:pt x="14" y="98"/>
                  </a:lnTo>
                  <a:lnTo>
                    <a:pt x="20" y="84"/>
                  </a:lnTo>
                  <a:lnTo>
                    <a:pt x="28" y="71"/>
                  </a:lnTo>
                  <a:lnTo>
                    <a:pt x="38" y="59"/>
                  </a:lnTo>
                  <a:lnTo>
                    <a:pt x="48" y="46"/>
                  </a:lnTo>
                  <a:lnTo>
                    <a:pt x="59" y="37"/>
                  </a:lnTo>
                  <a:lnTo>
                    <a:pt x="71" y="27"/>
                  </a:lnTo>
                  <a:lnTo>
                    <a:pt x="85" y="19"/>
                  </a:lnTo>
                  <a:lnTo>
                    <a:pt x="99" y="12"/>
                  </a:lnTo>
                  <a:lnTo>
                    <a:pt x="114" y="7"/>
                  </a:lnTo>
                  <a:lnTo>
                    <a:pt x="129" y="2"/>
                  </a:lnTo>
                  <a:lnTo>
                    <a:pt x="146" y="0"/>
                  </a:lnTo>
                  <a:lnTo>
                    <a:pt x="162" y="0"/>
                  </a:lnTo>
                  <a:lnTo>
                    <a:pt x="178" y="0"/>
                  </a:lnTo>
                  <a:lnTo>
                    <a:pt x="194" y="2"/>
                  </a:lnTo>
                  <a:lnTo>
                    <a:pt x="210" y="7"/>
                  </a:lnTo>
                  <a:lnTo>
                    <a:pt x="225" y="12"/>
                  </a:lnTo>
                  <a:lnTo>
                    <a:pt x="239" y="19"/>
                  </a:lnTo>
                  <a:lnTo>
                    <a:pt x="252" y="27"/>
                  </a:lnTo>
                  <a:lnTo>
                    <a:pt x="265" y="37"/>
                  </a:lnTo>
                  <a:lnTo>
                    <a:pt x="276" y="46"/>
                  </a:lnTo>
                  <a:lnTo>
                    <a:pt x="286" y="59"/>
                  </a:lnTo>
                  <a:lnTo>
                    <a:pt x="296" y="71"/>
                  </a:lnTo>
                  <a:lnTo>
                    <a:pt x="304" y="84"/>
                  </a:lnTo>
                  <a:lnTo>
                    <a:pt x="310" y="98"/>
                  </a:lnTo>
                  <a:lnTo>
                    <a:pt x="315" y="113"/>
                  </a:lnTo>
                  <a:lnTo>
                    <a:pt x="320" y="129"/>
                  </a:lnTo>
                  <a:lnTo>
                    <a:pt x="323" y="145"/>
                  </a:lnTo>
                  <a:lnTo>
                    <a:pt x="323" y="160"/>
                  </a:lnTo>
                  <a:lnTo>
                    <a:pt x="323" y="178"/>
                  </a:lnTo>
                  <a:lnTo>
                    <a:pt x="320" y="194"/>
                  </a:lnTo>
                  <a:lnTo>
                    <a:pt x="315" y="208"/>
                  </a:lnTo>
                  <a:lnTo>
                    <a:pt x="310" y="223"/>
                  </a:lnTo>
                  <a:lnTo>
                    <a:pt x="304" y="238"/>
                  </a:lnTo>
                  <a:lnTo>
                    <a:pt x="296" y="251"/>
                  </a:lnTo>
                  <a:lnTo>
                    <a:pt x="286" y="264"/>
                  </a:lnTo>
                  <a:lnTo>
                    <a:pt x="276" y="275"/>
                  </a:lnTo>
                  <a:lnTo>
                    <a:pt x="265" y="286"/>
                  </a:lnTo>
                  <a:lnTo>
                    <a:pt x="252" y="294"/>
                  </a:lnTo>
                  <a:lnTo>
                    <a:pt x="239" y="303"/>
                  </a:lnTo>
                  <a:lnTo>
                    <a:pt x="225" y="309"/>
                  </a:lnTo>
                  <a:lnTo>
                    <a:pt x="210" y="315"/>
                  </a:lnTo>
                  <a:lnTo>
                    <a:pt x="194" y="319"/>
                  </a:lnTo>
                  <a:lnTo>
                    <a:pt x="178" y="321"/>
                  </a:lnTo>
                  <a:lnTo>
                    <a:pt x="162" y="3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3" name="Freeform 80">
              <a:extLst>
                <a:ext uri="{FF2B5EF4-FFF2-40B4-BE49-F238E27FC236}">
                  <a16:creationId xmlns:a16="http://schemas.microsoft.com/office/drawing/2014/main" id="{25440F99-29AD-4590-99D3-A08800C683EE}"/>
                </a:ext>
              </a:extLst>
            </p:cNvPr>
            <p:cNvSpPr>
              <a:spLocks/>
            </p:cNvSpPr>
            <p:nvPr/>
          </p:nvSpPr>
          <p:spPr bwMode="auto">
            <a:xfrm>
              <a:off x="3572203" y="2085257"/>
              <a:ext cx="163513" cy="19050"/>
            </a:xfrm>
            <a:custGeom>
              <a:avLst/>
              <a:gdLst>
                <a:gd name="T0" fmla="*/ 391 w 415"/>
                <a:gd name="T1" fmla="*/ 47 h 47"/>
                <a:gd name="T2" fmla="*/ 23 w 415"/>
                <a:gd name="T3" fmla="*/ 47 h 47"/>
                <a:gd name="T4" fmla="*/ 19 w 415"/>
                <a:gd name="T5" fmla="*/ 47 h 47"/>
                <a:gd name="T6" fmla="*/ 14 w 415"/>
                <a:gd name="T7" fmla="*/ 44 h 47"/>
                <a:gd name="T8" fmla="*/ 10 w 415"/>
                <a:gd name="T9" fmla="*/ 43 h 47"/>
                <a:gd name="T10" fmla="*/ 6 w 415"/>
                <a:gd name="T11" fmla="*/ 39 h 47"/>
                <a:gd name="T12" fmla="*/ 4 w 415"/>
                <a:gd name="T13" fmla="*/ 37 h 47"/>
                <a:gd name="T14" fmla="*/ 1 w 415"/>
                <a:gd name="T15" fmla="*/ 32 h 47"/>
                <a:gd name="T16" fmla="*/ 0 w 415"/>
                <a:gd name="T17" fmla="*/ 28 h 47"/>
                <a:gd name="T18" fmla="*/ 0 w 415"/>
                <a:gd name="T19" fmla="*/ 23 h 47"/>
                <a:gd name="T20" fmla="*/ 0 w 415"/>
                <a:gd name="T21" fmla="*/ 19 h 47"/>
                <a:gd name="T22" fmla="*/ 1 w 415"/>
                <a:gd name="T23" fmla="*/ 15 h 47"/>
                <a:gd name="T24" fmla="*/ 4 w 415"/>
                <a:gd name="T25" fmla="*/ 11 h 47"/>
                <a:gd name="T26" fmla="*/ 6 w 415"/>
                <a:gd name="T27" fmla="*/ 8 h 47"/>
                <a:gd name="T28" fmla="*/ 10 w 415"/>
                <a:gd name="T29" fmla="*/ 5 h 47"/>
                <a:gd name="T30" fmla="*/ 14 w 415"/>
                <a:gd name="T31" fmla="*/ 3 h 47"/>
                <a:gd name="T32" fmla="*/ 19 w 415"/>
                <a:gd name="T33" fmla="*/ 1 h 47"/>
                <a:gd name="T34" fmla="*/ 23 w 415"/>
                <a:gd name="T35" fmla="*/ 0 h 47"/>
                <a:gd name="T36" fmla="*/ 391 w 415"/>
                <a:gd name="T37" fmla="*/ 0 h 47"/>
                <a:gd name="T38" fmla="*/ 396 w 415"/>
                <a:gd name="T39" fmla="*/ 1 h 47"/>
                <a:gd name="T40" fmla="*/ 401 w 415"/>
                <a:gd name="T41" fmla="*/ 3 h 47"/>
                <a:gd name="T42" fmla="*/ 405 w 415"/>
                <a:gd name="T43" fmla="*/ 5 h 47"/>
                <a:gd name="T44" fmla="*/ 409 w 415"/>
                <a:gd name="T45" fmla="*/ 8 h 47"/>
                <a:gd name="T46" fmla="*/ 411 w 415"/>
                <a:gd name="T47" fmla="*/ 11 h 47"/>
                <a:gd name="T48" fmla="*/ 413 w 415"/>
                <a:gd name="T49" fmla="*/ 15 h 47"/>
                <a:gd name="T50" fmla="*/ 415 w 415"/>
                <a:gd name="T51" fmla="*/ 19 h 47"/>
                <a:gd name="T52" fmla="*/ 415 w 415"/>
                <a:gd name="T53" fmla="*/ 23 h 47"/>
                <a:gd name="T54" fmla="*/ 415 w 415"/>
                <a:gd name="T55" fmla="*/ 28 h 47"/>
                <a:gd name="T56" fmla="*/ 413 w 415"/>
                <a:gd name="T57" fmla="*/ 32 h 47"/>
                <a:gd name="T58" fmla="*/ 411 w 415"/>
                <a:gd name="T59" fmla="*/ 37 h 47"/>
                <a:gd name="T60" fmla="*/ 409 w 415"/>
                <a:gd name="T61" fmla="*/ 39 h 47"/>
                <a:gd name="T62" fmla="*/ 405 w 415"/>
                <a:gd name="T63" fmla="*/ 43 h 47"/>
                <a:gd name="T64" fmla="*/ 401 w 415"/>
                <a:gd name="T65" fmla="*/ 44 h 47"/>
                <a:gd name="T66" fmla="*/ 396 w 415"/>
                <a:gd name="T67" fmla="*/ 47 h 47"/>
                <a:gd name="T68" fmla="*/ 391 w 415"/>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7">
                  <a:moveTo>
                    <a:pt x="391" y="47"/>
                  </a:moveTo>
                  <a:lnTo>
                    <a:pt x="23" y="47"/>
                  </a:lnTo>
                  <a:lnTo>
                    <a:pt x="19" y="47"/>
                  </a:lnTo>
                  <a:lnTo>
                    <a:pt x="14" y="44"/>
                  </a:lnTo>
                  <a:lnTo>
                    <a:pt x="10" y="43"/>
                  </a:lnTo>
                  <a:lnTo>
                    <a:pt x="6" y="39"/>
                  </a:lnTo>
                  <a:lnTo>
                    <a:pt x="4" y="37"/>
                  </a:lnTo>
                  <a:lnTo>
                    <a:pt x="1" y="32"/>
                  </a:lnTo>
                  <a:lnTo>
                    <a:pt x="0" y="28"/>
                  </a:lnTo>
                  <a:lnTo>
                    <a:pt x="0" y="23"/>
                  </a:lnTo>
                  <a:lnTo>
                    <a:pt x="0" y="19"/>
                  </a:lnTo>
                  <a:lnTo>
                    <a:pt x="1" y="15"/>
                  </a:lnTo>
                  <a:lnTo>
                    <a:pt x="4" y="11"/>
                  </a:lnTo>
                  <a:lnTo>
                    <a:pt x="6" y="8"/>
                  </a:lnTo>
                  <a:lnTo>
                    <a:pt x="10" y="5"/>
                  </a:lnTo>
                  <a:lnTo>
                    <a:pt x="14" y="3"/>
                  </a:lnTo>
                  <a:lnTo>
                    <a:pt x="19" y="1"/>
                  </a:lnTo>
                  <a:lnTo>
                    <a:pt x="23" y="0"/>
                  </a:lnTo>
                  <a:lnTo>
                    <a:pt x="391" y="0"/>
                  </a:lnTo>
                  <a:lnTo>
                    <a:pt x="396" y="1"/>
                  </a:lnTo>
                  <a:lnTo>
                    <a:pt x="401" y="3"/>
                  </a:lnTo>
                  <a:lnTo>
                    <a:pt x="405" y="5"/>
                  </a:lnTo>
                  <a:lnTo>
                    <a:pt x="409" y="8"/>
                  </a:lnTo>
                  <a:lnTo>
                    <a:pt x="411" y="11"/>
                  </a:lnTo>
                  <a:lnTo>
                    <a:pt x="413" y="15"/>
                  </a:lnTo>
                  <a:lnTo>
                    <a:pt x="415" y="19"/>
                  </a:lnTo>
                  <a:lnTo>
                    <a:pt x="415" y="23"/>
                  </a:lnTo>
                  <a:lnTo>
                    <a:pt x="415" y="28"/>
                  </a:lnTo>
                  <a:lnTo>
                    <a:pt x="413" y="32"/>
                  </a:lnTo>
                  <a:lnTo>
                    <a:pt x="411" y="37"/>
                  </a:lnTo>
                  <a:lnTo>
                    <a:pt x="409" y="39"/>
                  </a:lnTo>
                  <a:lnTo>
                    <a:pt x="405" y="43"/>
                  </a:lnTo>
                  <a:lnTo>
                    <a:pt x="401" y="44"/>
                  </a:lnTo>
                  <a:lnTo>
                    <a:pt x="396" y="47"/>
                  </a:lnTo>
                  <a:lnTo>
                    <a:pt x="391" y="4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9">
            <a:extLst>
              <a:ext uri="{FF2B5EF4-FFF2-40B4-BE49-F238E27FC236}">
                <a16:creationId xmlns:a16="http://schemas.microsoft.com/office/drawing/2014/main" id="{BE613E8C-5CB0-4C97-897B-078E8CEAB1AE}"/>
              </a:ext>
            </a:extLst>
          </p:cNvPr>
          <p:cNvGrpSpPr>
            <a:grpSpLocks noChangeAspect="1"/>
          </p:cNvGrpSpPr>
          <p:nvPr/>
        </p:nvGrpSpPr>
        <p:grpSpPr>
          <a:xfrm>
            <a:off x="3192203" y="2186361"/>
            <a:ext cx="306484" cy="306484"/>
            <a:chOff x="901700" y="785813"/>
            <a:chExt cx="285750" cy="285750"/>
          </a:xfrm>
          <a:solidFill>
            <a:schemeClr val="bg2"/>
          </a:solidFill>
          <a:effectLst/>
        </p:grpSpPr>
        <p:sp>
          <p:nvSpPr>
            <p:cNvPr id="604" name="Freeform 17">
              <a:extLst>
                <a:ext uri="{FF2B5EF4-FFF2-40B4-BE49-F238E27FC236}">
                  <a16:creationId xmlns:a16="http://schemas.microsoft.com/office/drawing/2014/main" id="{3B9C9302-2C45-4BE8-8AA3-49108DCD1736}"/>
                </a:ext>
              </a:extLst>
            </p:cNvPr>
            <p:cNvSpPr>
              <a:spLocks noEditPoints="1"/>
            </p:cNvSpPr>
            <p:nvPr/>
          </p:nvSpPr>
          <p:spPr bwMode="auto">
            <a:xfrm>
              <a:off x="901700" y="785813"/>
              <a:ext cx="266700" cy="266700"/>
            </a:xfrm>
            <a:custGeom>
              <a:avLst/>
              <a:gdLst>
                <a:gd name="T0" fmla="*/ 270 w 839"/>
                <a:gd name="T1" fmla="*/ 203 h 838"/>
                <a:gd name="T2" fmla="*/ 30 w 839"/>
                <a:gd name="T3" fmla="*/ 636 h 838"/>
                <a:gd name="T4" fmla="*/ 570 w 839"/>
                <a:gd name="T5" fmla="*/ 44 h 838"/>
                <a:gd name="T6" fmla="*/ 809 w 839"/>
                <a:gd name="T7" fmla="*/ 389 h 838"/>
                <a:gd name="T8" fmla="*/ 810 w 839"/>
                <a:gd name="T9" fmla="*/ 395 h 838"/>
                <a:gd name="T10" fmla="*/ 814 w 839"/>
                <a:gd name="T11" fmla="*/ 400 h 838"/>
                <a:gd name="T12" fmla="*/ 819 w 839"/>
                <a:gd name="T13" fmla="*/ 403 h 838"/>
                <a:gd name="T14" fmla="*/ 824 w 839"/>
                <a:gd name="T15" fmla="*/ 404 h 838"/>
                <a:gd name="T16" fmla="*/ 830 w 839"/>
                <a:gd name="T17" fmla="*/ 403 h 838"/>
                <a:gd name="T18" fmla="*/ 835 w 839"/>
                <a:gd name="T19" fmla="*/ 400 h 838"/>
                <a:gd name="T20" fmla="*/ 838 w 839"/>
                <a:gd name="T21" fmla="*/ 395 h 838"/>
                <a:gd name="T22" fmla="*/ 839 w 839"/>
                <a:gd name="T23" fmla="*/ 389 h 838"/>
                <a:gd name="T24" fmla="*/ 839 w 839"/>
                <a:gd name="T25" fmla="*/ 191 h 838"/>
                <a:gd name="T26" fmla="*/ 835 w 839"/>
                <a:gd name="T27" fmla="*/ 185 h 838"/>
                <a:gd name="T28" fmla="*/ 563 w 839"/>
                <a:gd name="T29" fmla="*/ 3 h 838"/>
                <a:gd name="T30" fmla="*/ 561 w 839"/>
                <a:gd name="T31" fmla="*/ 2 h 838"/>
                <a:gd name="T32" fmla="*/ 560 w 839"/>
                <a:gd name="T33" fmla="*/ 1 h 838"/>
                <a:gd name="T34" fmla="*/ 549 w 839"/>
                <a:gd name="T35" fmla="*/ 1 h 838"/>
                <a:gd name="T36" fmla="*/ 548 w 839"/>
                <a:gd name="T37" fmla="*/ 2 h 838"/>
                <a:gd name="T38" fmla="*/ 546 w 839"/>
                <a:gd name="T39" fmla="*/ 3 h 838"/>
                <a:gd name="T40" fmla="*/ 24 w 839"/>
                <a:gd name="T41" fmla="*/ 3 h 838"/>
                <a:gd name="T42" fmla="*/ 16 w 839"/>
                <a:gd name="T43" fmla="*/ 0 h 838"/>
                <a:gd name="T44" fmla="*/ 8 w 839"/>
                <a:gd name="T45" fmla="*/ 2 h 838"/>
                <a:gd name="T46" fmla="*/ 2 w 839"/>
                <a:gd name="T47" fmla="*/ 7 h 838"/>
                <a:gd name="T48" fmla="*/ 0 w 839"/>
                <a:gd name="T49" fmla="*/ 15 h 838"/>
                <a:gd name="T50" fmla="*/ 0 w 839"/>
                <a:gd name="T51" fmla="*/ 648 h 838"/>
                <a:gd name="T52" fmla="*/ 5 w 839"/>
                <a:gd name="T53" fmla="*/ 654 h 838"/>
                <a:gd name="T54" fmla="*/ 276 w 839"/>
                <a:gd name="T55" fmla="*/ 836 h 838"/>
                <a:gd name="T56" fmla="*/ 279 w 839"/>
                <a:gd name="T57" fmla="*/ 837 h 838"/>
                <a:gd name="T58" fmla="*/ 280 w 839"/>
                <a:gd name="T59" fmla="*/ 838 h 838"/>
                <a:gd name="T60" fmla="*/ 285 w 839"/>
                <a:gd name="T61" fmla="*/ 838 h 838"/>
                <a:gd name="T62" fmla="*/ 290 w 839"/>
                <a:gd name="T63" fmla="*/ 838 h 838"/>
                <a:gd name="T64" fmla="*/ 291 w 839"/>
                <a:gd name="T65" fmla="*/ 837 h 838"/>
                <a:gd name="T66" fmla="*/ 294 w 839"/>
                <a:gd name="T67" fmla="*/ 836 h 838"/>
                <a:gd name="T68" fmla="*/ 520 w 839"/>
                <a:gd name="T69" fmla="*/ 684 h 838"/>
                <a:gd name="T70" fmla="*/ 524 w 839"/>
                <a:gd name="T71" fmla="*/ 680 h 838"/>
                <a:gd name="T72" fmla="*/ 525 w 839"/>
                <a:gd name="T73" fmla="*/ 674 h 838"/>
                <a:gd name="T74" fmla="*/ 524 w 839"/>
                <a:gd name="T75" fmla="*/ 668 h 838"/>
                <a:gd name="T76" fmla="*/ 520 w 839"/>
                <a:gd name="T77" fmla="*/ 663 h 838"/>
                <a:gd name="T78" fmla="*/ 515 w 839"/>
                <a:gd name="T79" fmla="*/ 660 h 838"/>
                <a:gd name="T80" fmla="*/ 510 w 839"/>
                <a:gd name="T81" fmla="*/ 659 h 838"/>
                <a:gd name="T82" fmla="*/ 504 w 839"/>
                <a:gd name="T83" fmla="*/ 661 h 838"/>
                <a:gd name="T84" fmla="*/ 300 w 839"/>
                <a:gd name="T85" fmla="*/ 796 h 838"/>
                <a:gd name="T86" fmla="*/ 540 w 839"/>
                <a:gd name="T87" fmla="*/ 44 h 838"/>
                <a:gd name="T88" fmla="*/ 540 w 839"/>
                <a:gd name="T89" fmla="*/ 392 h 838"/>
                <a:gd name="T90" fmla="*/ 542 w 839"/>
                <a:gd name="T91" fmla="*/ 398 h 838"/>
                <a:gd name="T92" fmla="*/ 546 w 839"/>
                <a:gd name="T93" fmla="*/ 402 h 838"/>
                <a:gd name="T94" fmla="*/ 551 w 839"/>
                <a:gd name="T95" fmla="*/ 404 h 838"/>
                <a:gd name="T96" fmla="*/ 558 w 839"/>
                <a:gd name="T97" fmla="*/ 404 h 838"/>
                <a:gd name="T98" fmla="*/ 563 w 839"/>
                <a:gd name="T99" fmla="*/ 402 h 838"/>
                <a:gd name="T100" fmla="*/ 567 w 839"/>
                <a:gd name="T101" fmla="*/ 398 h 838"/>
                <a:gd name="T102" fmla="*/ 570 w 839"/>
                <a:gd name="T103" fmla="*/ 392 h 838"/>
                <a:gd name="T104" fmla="*/ 570 w 839"/>
                <a:gd name="T105" fmla="*/ 44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9" h="838">
                  <a:moveTo>
                    <a:pt x="30" y="44"/>
                  </a:moveTo>
                  <a:lnTo>
                    <a:pt x="270" y="203"/>
                  </a:lnTo>
                  <a:lnTo>
                    <a:pt x="270" y="796"/>
                  </a:lnTo>
                  <a:lnTo>
                    <a:pt x="30" y="636"/>
                  </a:lnTo>
                  <a:lnTo>
                    <a:pt x="30" y="44"/>
                  </a:lnTo>
                  <a:close/>
                  <a:moveTo>
                    <a:pt x="570" y="44"/>
                  </a:moveTo>
                  <a:lnTo>
                    <a:pt x="809" y="203"/>
                  </a:lnTo>
                  <a:lnTo>
                    <a:pt x="809" y="389"/>
                  </a:lnTo>
                  <a:lnTo>
                    <a:pt x="809" y="392"/>
                  </a:lnTo>
                  <a:lnTo>
                    <a:pt x="810" y="395"/>
                  </a:lnTo>
                  <a:lnTo>
                    <a:pt x="811" y="398"/>
                  </a:lnTo>
                  <a:lnTo>
                    <a:pt x="814" y="400"/>
                  </a:lnTo>
                  <a:lnTo>
                    <a:pt x="816" y="402"/>
                  </a:lnTo>
                  <a:lnTo>
                    <a:pt x="819" y="403"/>
                  </a:lnTo>
                  <a:lnTo>
                    <a:pt x="821" y="404"/>
                  </a:lnTo>
                  <a:lnTo>
                    <a:pt x="824" y="404"/>
                  </a:lnTo>
                  <a:lnTo>
                    <a:pt x="827" y="404"/>
                  </a:lnTo>
                  <a:lnTo>
                    <a:pt x="830" y="403"/>
                  </a:lnTo>
                  <a:lnTo>
                    <a:pt x="833" y="402"/>
                  </a:lnTo>
                  <a:lnTo>
                    <a:pt x="835" y="400"/>
                  </a:lnTo>
                  <a:lnTo>
                    <a:pt x="837" y="398"/>
                  </a:lnTo>
                  <a:lnTo>
                    <a:pt x="838" y="395"/>
                  </a:lnTo>
                  <a:lnTo>
                    <a:pt x="839" y="392"/>
                  </a:lnTo>
                  <a:lnTo>
                    <a:pt x="839" y="389"/>
                  </a:lnTo>
                  <a:lnTo>
                    <a:pt x="839" y="194"/>
                  </a:lnTo>
                  <a:lnTo>
                    <a:pt x="839" y="191"/>
                  </a:lnTo>
                  <a:lnTo>
                    <a:pt x="837" y="188"/>
                  </a:lnTo>
                  <a:lnTo>
                    <a:pt x="835" y="185"/>
                  </a:lnTo>
                  <a:lnTo>
                    <a:pt x="833" y="183"/>
                  </a:lnTo>
                  <a:lnTo>
                    <a:pt x="563" y="3"/>
                  </a:lnTo>
                  <a:lnTo>
                    <a:pt x="562" y="2"/>
                  </a:lnTo>
                  <a:lnTo>
                    <a:pt x="561" y="2"/>
                  </a:lnTo>
                  <a:lnTo>
                    <a:pt x="560" y="2"/>
                  </a:lnTo>
                  <a:lnTo>
                    <a:pt x="560" y="1"/>
                  </a:lnTo>
                  <a:lnTo>
                    <a:pt x="555" y="0"/>
                  </a:lnTo>
                  <a:lnTo>
                    <a:pt x="549" y="1"/>
                  </a:lnTo>
                  <a:lnTo>
                    <a:pt x="548" y="2"/>
                  </a:lnTo>
                  <a:lnTo>
                    <a:pt x="548" y="2"/>
                  </a:lnTo>
                  <a:lnTo>
                    <a:pt x="547" y="2"/>
                  </a:lnTo>
                  <a:lnTo>
                    <a:pt x="546" y="3"/>
                  </a:lnTo>
                  <a:lnTo>
                    <a:pt x="285" y="177"/>
                  </a:lnTo>
                  <a:lnTo>
                    <a:pt x="24" y="3"/>
                  </a:lnTo>
                  <a:lnTo>
                    <a:pt x="20" y="1"/>
                  </a:lnTo>
                  <a:lnTo>
                    <a:pt x="16" y="0"/>
                  </a:lnTo>
                  <a:lnTo>
                    <a:pt x="12" y="1"/>
                  </a:lnTo>
                  <a:lnTo>
                    <a:pt x="8" y="2"/>
                  </a:lnTo>
                  <a:lnTo>
                    <a:pt x="5" y="4"/>
                  </a:lnTo>
                  <a:lnTo>
                    <a:pt x="2" y="7"/>
                  </a:lnTo>
                  <a:lnTo>
                    <a:pt x="0" y="12"/>
                  </a:lnTo>
                  <a:lnTo>
                    <a:pt x="0" y="15"/>
                  </a:lnTo>
                  <a:lnTo>
                    <a:pt x="0" y="644"/>
                  </a:lnTo>
                  <a:lnTo>
                    <a:pt x="0" y="648"/>
                  </a:lnTo>
                  <a:lnTo>
                    <a:pt x="2" y="651"/>
                  </a:lnTo>
                  <a:lnTo>
                    <a:pt x="5" y="654"/>
                  </a:lnTo>
                  <a:lnTo>
                    <a:pt x="7" y="656"/>
                  </a:lnTo>
                  <a:lnTo>
                    <a:pt x="276" y="836"/>
                  </a:lnTo>
                  <a:lnTo>
                    <a:pt x="277" y="836"/>
                  </a:lnTo>
                  <a:lnTo>
                    <a:pt x="279" y="837"/>
                  </a:lnTo>
                  <a:lnTo>
                    <a:pt x="279" y="837"/>
                  </a:lnTo>
                  <a:lnTo>
                    <a:pt x="280" y="838"/>
                  </a:lnTo>
                  <a:lnTo>
                    <a:pt x="282" y="838"/>
                  </a:lnTo>
                  <a:lnTo>
                    <a:pt x="285" y="838"/>
                  </a:lnTo>
                  <a:lnTo>
                    <a:pt x="287" y="838"/>
                  </a:lnTo>
                  <a:lnTo>
                    <a:pt x="290" y="838"/>
                  </a:lnTo>
                  <a:lnTo>
                    <a:pt x="290" y="837"/>
                  </a:lnTo>
                  <a:lnTo>
                    <a:pt x="291" y="837"/>
                  </a:lnTo>
                  <a:lnTo>
                    <a:pt x="292" y="836"/>
                  </a:lnTo>
                  <a:lnTo>
                    <a:pt x="294" y="836"/>
                  </a:lnTo>
                  <a:lnTo>
                    <a:pt x="518" y="686"/>
                  </a:lnTo>
                  <a:lnTo>
                    <a:pt x="520" y="684"/>
                  </a:lnTo>
                  <a:lnTo>
                    <a:pt x="522" y="682"/>
                  </a:lnTo>
                  <a:lnTo>
                    <a:pt x="524" y="680"/>
                  </a:lnTo>
                  <a:lnTo>
                    <a:pt x="525" y="677"/>
                  </a:lnTo>
                  <a:lnTo>
                    <a:pt x="525" y="674"/>
                  </a:lnTo>
                  <a:lnTo>
                    <a:pt x="525" y="671"/>
                  </a:lnTo>
                  <a:lnTo>
                    <a:pt x="524" y="668"/>
                  </a:lnTo>
                  <a:lnTo>
                    <a:pt x="522" y="666"/>
                  </a:lnTo>
                  <a:lnTo>
                    <a:pt x="520" y="663"/>
                  </a:lnTo>
                  <a:lnTo>
                    <a:pt x="518" y="662"/>
                  </a:lnTo>
                  <a:lnTo>
                    <a:pt x="515" y="660"/>
                  </a:lnTo>
                  <a:lnTo>
                    <a:pt x="513" y="660"/>
                  </a:lnTo>
                  <a:lnTo>
                    <a:pt x="510" y="659"/>
                  </a:lnTo>
                  <a:lnTo>
                    <a:pt x="506" y="660"/>
                  </a:lnTo>
                  <a:lnTo>
                    <a:pt x="504" y="661"/>
                  </a:lnTo>
                  <a:lnTo>
                    <a:pt x="501" y="662"/>
                  </a:lnTo>
                  <a:lnTo>
                    <a:pt x="300" y="796"/>
                  </a:lnTo>
                  <a:lnTo>
                    <a:pt x="300" y="203"/>
                  </a:lnTo>
                  <a:lnTo>
                    <a:pt x="540" y="44"/>
                  </a:lnTo>
                  <a:lnTo>
                    <a:pt x="540" y="389"/>
                  </a:lnTo>
                  <a:lnTo>
                    <a:pt x="540" y="392"/>
                  </a:lnTo>
                  <a:lnTo>
                    <a:pt x="541" y="395"/>
                  </a:lnTo>
                  <a:lnTo>
                    <a:pt x="542" y="398"/>
                  </a:lnTo>
                  <a:lnTo>
                    <a:pt x="544" y="400"/>
                  </a:lnTo>
                  <a:lnTo>
                    <a:pt x="546" y="402"/>
                  </a:lnTo>
                  <a:lnTo>
                    <a:pt x="549" y="403"/>
                  </a:lnTo>
                  <a:lnTo>
                    <a:pt x="551" y="404"/>
                  </a:lnTo>
                  <a:lnTo>
                    <a:pt x="555" y="404"/>
                  </a:lnTo>
                  <a:lnTo>
                    <a:pt x="558" y="404"/>
                  </a:lnTo>
                  <a:lnTo>
                    <a:pt x="560" y="403"/>
                  </a:lnTo>
                  <a:lnTo>
                    <a:pt x="563" y="402"/>
                  </a:lnTo>
                  <a:lnTo>
                    <a:pt x="565" y="400"/>
                  </a:lnTo>
                  <a:lnTo>
                    <a:pt x="567" y="398"/>
                  </a:lnTo>
                  <a:lnTo>
                    <a:pt x="569" y="395"/>
                  </a:lnTo>
                  <a:lnTo>
                    <a:pt x="570" y="392"/>
                  </a:lnTo>
                  <a:lnTo>
                    <a:pt x="570" y="389"/>
                  </a:lnTo>
                  <a:lnTo>
                    <a:pt x="57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8">
              <a:extLst>
                <a:ext uri="{FF2B5EF4-FFF2-40B4-BE49-F238E27FC236}">
                  <a16:creationId xmlns:a16="http://schemas.microsoft.com/office/drawing/2014/main" id="{08B26AD9-9E0A-4276-951C-62A08E6D7987}"/>
                </a:ext>
              </a:extLst>
            </p:cNvPr>
            <p:cNvSpPr>
              <a:spLocks noEditPoints="1"/>
            </p:cNvSpPr>
            <p:nvPr/>
          </p:nvSpPr>
          <p:spPr bwMode="auto">
            <a:xfrm>
              <a:off x="1111250" y="957263"/>
              <a:ext cx="47625" cy="47625"/>
            </a:xfrm>
            <a:custGeom>
              <a:avLst/>
              <a:gdLst>
                <a:gd name="T0" fmla="*/ 67 w 150"/>
                <a:gd name="T1" fmla="*/ 120 h 150"/>
                <a:gd name="T2" fmla="*/ 51 w 150"/>
                <a:gd name="T3" fmla="*/ 112 h 150"/>
                <a:gd name="T4" fmla="*/ 38 w 150"/>
                <a:gd name="T5" fmla="*/ 100 h 150"/>
                <a:gd name="T6" fmla="*/ 31 w 150"/>
                <a:gd name="T7" fmla="*/ 84 h 150"/>
                <a:gd name="T8" fmla="*/ 31 w 150"/>
                <a:gd name="T9" fmla="*/ 66 h 150"/>
                <a:gd name="T10" fmla="*/ 38 w 150"/>
                <a:gd name="T11" fmla="*/ 50 h 150"/>
                <a:gd name="T12" fmla="*/ 51 w 150"/>
                <a:gd name="T13" fmla="*/ 38 h 150"/>
                <a:gd name="T14" fmla="*/ 67 w 150"/>
                <a:gd name="T15" fmla="*/ 31 h 150"/>
                <a:gd name="T16" fmla="*/ 84 w 150"/>
                <a:gd name="T17" fmla="*/ 31 h 150"/>
                <a:gd name="T18" fmla="*/ 100 w 150"/>
                <a:gd name="T19" fmla="*/ 38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20 h 150"/>
                <a:gd name="T32" fmla="*/ 75 w 150"/>
                <a:gd name="T33" fmla="*/ 120 h 150"/>
                <a:gd name="T34" fmla="*/ 68 w 150"/>
                <a:gd name="T35" fmla="*/ 1 h 150"/>
                <a:gd name="T36" fmla="*/ 53 w 150"/>
                <a:gd name="T37" fmla="*/ 4 h 150"/>
                <a:gd name="T38" fmla="*/ 40 w 150"/>
                <a:gd name="T39" fmla="*/ 9 h 150"/>
                <a:gd name="T40" fmla="*/ 27 w 150"/>
                <a:gd name="T41" fmla="*/ 17 h 150"/>
                <a:gd name="T42" fmla="*/ 18 w 150"/>
                <a:gd name="T43" fmla="*/ 28 h 150"/>
                <a:gd name="T44" fmla="*/ 9 w 150"/>
                <a:gd name="T45" fmla="*/ 39 h 150"/>
                <a:gd name="T46" fmla="*/ 4 w 150"/>
                <a:gd name="T47" fmla="*/ 53 h 150"/>
                <a:gd name="T48" fmla="*/ 0 w 150"/>
                <a:gd name="T49" fmla="*/ 67 h 150"/>
                <a:gd name="T50" fmla="*/ 0 w 150"/>
                <a:gd name="T51" fmla="*/ 83 h 150"/>
                <a:gd name="T52" fmla="*/ 4 w 150"/>
                <a:gd name="T53" fmla="*/ 97 h 150"/>
                <a:gd name="T54" fmla="*/ 9 w 150"/>
                <a:gd name="T55" fmla="*/ 111 h 150"/>
                <a:gd name="T56" fmla="*/ 18 w 150"/>
                <a:gd name="T57" fmla="*/ 123 h 150"/>
                <a:gd name="T58" fmla="*/ 27 w 150"/>
                <a:gd name="T59" fmla="*/ 132 h 150"/>
                <a:gd name="T60" fmla="*/ 40 w 150"/>
                <a:gd name="T61" fmla="*/ 141 h 150"/>
                <a:gd name="T62" fmla="*/ 53 w 150"/>
                <a:gd name="T63" fmla="*/ 146 h 150"/>
                <a:gd name="T64" fmla="*/ 68 w 150"/>
                <a:gd name="T65" fmla="*/ 150 h 150"/>
                <a:gd name="T66" fmla="*/ 83 w 150"/>
                <a:gd name="T67" fmla="*/ 150 h 150"/>
                <a:gd name="T68" fmla="*/ 98 w 150"/>
                <a:gd name="T69" fmla="*/ 146 h 150"/>
                <a:gd name="T70" fmla="*/ 111 w 150"/>
                <a:gd name="T71" fmla="*/ 141 h 150"/>
                <a:gd name="T72" fmla="*/ 122 w 150"/>
                <a:gd name="T73" fmla="*/ 132 h 150"/>
                <a:gd name="T74" fmla="*/ 133 w 150"/>
                <a:gd name="T75" fmla="*/ 123 h 150"/>
                <a:gd name="T76" fmla="*/ 142 w 150"/>
                <a:gd name="T77" fmla="*/ 111 h 150"/>
                <a:gd name="T78" fmla="*/ 147 w 150"/>
                <a:gd name="T79" fmla="*/ 97 h 150"/>
                <a:gd name="T80" fmla="*/ 150 w 150"/>
                <a:gd name="T81" fmla="*/ 83 h 150"/>
                <a:gd name="T82" fmla="*/ 150 w 150"/>
                <a:gd name="T83" fmla="*/ 67 h 150"/>
                <a:gd name="T84" fmla="*/ 147 w 150"/>
                <a:gd name="T85" fmla="*/ 53 h 150"/>
                <a:gd name="T86" fmla="*/ 142 w 150"/>
                <a:gd name="T87" fmla="*/ 39 h 150"/>
                <a:gd name="T88" fmla="*/ 133 w 150"/>
                <a:gd name="T89" fmla="*/ 28 h 150"/>
                <a:gd name="T90" fmla="*/ 122 w 150"/>
                <a:gd name="T91" fmla="*/ 17 h 150"/>
                <a:gd name="T92" fmla="*/ 111 w 150"/>
                <a:gd name="T93" fmla="*/ 9 h 150"/>
                <a:gd name="T94" fmla="*/ 98 w 150"/>
                <a:gd name="T95" fmla="*/ 4 h 150"/>
                <a:gd name="T96" fmla="*/ 83 w 150"/>
                <a:gd name="T97" fmla="*/ 1 h 150"/>
                <a:gd name="T98" fmla="*/ 75 w 150"/>
                <a:gd name="T9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50">
                  <a:moveTo>
                    <a:pt x="75" y="120"/>
                  </a:moveTo>
                  <a:lnTo>
                    <a:pt x="67" y="120"/>
                  </a:lnTo>
                  <a:lnTo>
                    <a:pt x="58" y="116"/>
                  </a:lnTo>
                  <a:lnTo>
                    <a:pt x="51" y="112"/>
                  </a:lnTo>
                  <a:lnTo>
                    <a:pt x="43" y="107"/>
                  </a:lnTo>
                  <a:lnTo>
                    <a:pt x="38" y="100"/>
                  </a:lnTo>
                  <a:lnTo>
                    <a:pt x="34" y="93"/>
                  </a:lnTo>
                  <a:lnTo>
                    <a:pt x="31" y="84"/>
                  </a:lnTo>
                  <a:lnTo>
                    <a:pt x="30" y="75"/>
                  </a:lnTo>
                  <a:lnTo>
                    <a:pt x="31" y="66"/>
                  </a:lnTo>
                  <a:lnTo>
                    <a:pt x="34" y="58"/>
                  </a:lnTo>
                  <a:lnTo>
                    <a:pt x="38" y="50"/>
                  </a:lnTo>
                  <a:lnTo>
                    <a:pt x="43" y="44"/>
                  </a:lnTo>
                  <a:lnTo>
                    <a:pt x="51" y="38"/>
                  </a:lnTo>
                  <a:lnTo>
                    <a:pt x="58" y="34"/>
                  </a:lnTo>
                  <a:lnTo>
                    <a:pt x="67" y="31"/>
                  </a:lnTo>
                  <a:lnTo>
                    <a:pt x="75" y="30"/>
                  </a:lnTo>
                  <a:lnTo>
                    <a:pt x="84" y="31"/>
                  </a:lnTo>
                  <a:lnTo>
                    <a:pt x="92" y="34"/>
                  </a:lnTo>
                  <a:lnTo>
                    <a:pt x="100" y="38"/>
                  </a:lnTo>
                  <a:lnTo>
                    <a:pt x="107" y="44"/>
                  </a:lnTo>
                  <a:lnTo>
                    <a:pt x="113" y="50"/>
                  </a:lnTo>
                  <a:lnTo>
                    <a:pt x="117" y="58"/>
                  </a:lnTo>
                  <a:lnTo>
                    <a:pt x="119" y="66"/>
                  </a:lnTo>
                  <a:lnTo>
                    <a:pt x="120" y="75"/>
                  </a:lnTo>
                  <a:lnTo>
                    <a:pt x="119" y="84"/>
                  </a:lnTo>
                  <a:lnTo>
                    <a:pt x="117" y="93"/>
                  </a:lnTo>
                  <a:lnTo>
                    <a:pt x="113" y="100"/>
                  </a:lnTo>
                  <a:lnTo>
                    <a:pt x="107" y="107"/>
                  </a:lnTo>
                  <a:lnTo>
                    <a:pt x="100" y="112"/>
                  </a:lnTo>
                  <a:lnTo>
                    <a:pt x="92" y="116"/>
                  </a:lnTo>
                  <a:lnTo>
                    <a:pt x="84" y="120"/>
                  </a:lnTo>
                  <a:lnTo>
                    <a:pt x="75" y="121"/>
                  </a:lnTo>
                  <a:lnTo>
                    <a:pt x="75" y="120"/>
                  </a:lnTo>
                  <a:close/>
                  <a:moveTo>
                    <a:pt x="75" y="0"/>
                  </a:moveTo>
                  <a:lnTo>
                    <a:pt x="68" y="1"/>
                  </a:lnTo>
                  <a:lnTo>
                    <a:pt x="60" y="2"/>
                  </a:lnTo>
                  <a:lnTo>
                    <a:pt x="53" y="4"/>
                  </a:lnTo>
                  <a:lnTo>
                    <a:pt x="46" y="6"/>
                  </a:lnTo>
                  <a:lnTo>
                    <a:pt x="40" y="9"/>
                  </a:lnTo>
                  <a:lnTo>
                    <a:pt x="34" y="13"/>
                  </a:lnTo>
                  <a:lnTo>
                    <a:pt x="27" y="17"/>
                  </a:lnTo>
                  <a:lnTo>
                    <a:pt x="22" y="22"/>
                  </a:lnTo>
                  <a:lnTo>
                    <a:pt x="18" y="28"/>
                  </a:lnTo>
                  <a:lnTo>
                    <a:pt x="13" y="33"/>
                  </a:lnTo>
                  <a:lnTo>
                    <a:pt x="9" y="39"/>
                  </a:lnTo>
                  <a:lnTo>
                    <a:pt x="6" y="46"/>
                  </a:lnTo>
                  <a:lnTo>
                    <a:pt x="4" y="53"/>
                  </a:lnTo>
                  <a:lnTo>
                    <a:pt x="2" y="60"/>
                  </a:lnTo>
                  <a:lnTo>
                    <a:pt x="0" y="67"/>
                  </a:lnTo>
                  <a:lnTo>
                    <a:pt x="0" y="75"/>
                  </a:lnTo>
                  <a:lnTo>
                    <a:pt x="0" y="83"/>
                  </a:lnTo>
                  <a:lnTo>
                    <a:pt x="2" y="91"/>
                  </a:lnTo>
                  <a:lnTo>
                    <a:pt x="4" y="97"/>
                  </a:lnTo>
                  <a:lnTo>
                    <a:pt x="6" y="105"/>
                  </a:lnTo>
                  <a:lnTo>
                    <a:pt x="9" y="111"/>
                  </a:lnTo>
                  <a:lnTo>
                    <a:pt x="13" y="117"/>
                  </a:lnTo>
                  <a:lnTo>
                    <a:pt x="18" y="123"/>
                  </a:lnTo>
                  <a:lnTo>
                    <a:pt x="22" y="128"/>
                  </a:lnTo>
                  <a:lnTo>
                    <a:pt x="27" y="132"/>
                  </a:lnTo>
                  <a:lnTo>
                    <a:pt x="34" y="137"/>
                  </a:lnTo>
                  <a:lnTo>
                    <a:pt x="40" y="141"/>
                  </a:lnTo>
                  <a:lnTo>
                    <a:pt x="46" y="144"/>
                  </a:lnTo>
                  <a:lnTo>
                    <a:pt x="53" y="146"/>
                  </a:lnTo>
                  <a:lnTo>
                    <a:pt x="60" y="148"/>
                  </a:lnTo>
                  <a:lnTo>
                    <a:pt x="68" y="150"/>
                  </a:lnTo>
                  <a:lnTo>
                    <a:pt x="75" y="150"/>
                  </a:lnTo>
                  <a:lnTo>
                    <a:pt x="83" y="150"/>
                  </a:lnTo>
                  <a:lnTo>
                    <a:pt x="90" y="148"/>
                  </a:lnTo>
                  <a:lnTo>
                    <a:pt x="98" y="146"/>
                  </a:lnTo>
                  <a:lnTo>
                    <a:pt x="104" y="144"/>
                  </a:lnTo>
                  <a:lnTo>
                    <a:pt x="111" y="141"/>
                  </a:lnTo>
                  <a:lnTo>
                    <a:pt x="117" y="137"/>
                  </a:lnTo>
                  <a:lnTo>
                    <a:pt x="122" y="132"/>
                  </a:lnTo>
                  <a:lnTo>
                    <a:pt x="128" y="128"/>
                  </a:lnTo>
                  <a:lnTo>
                    <a:pt x="133" y="123"/>
                  </a:lnTo>
                  <a:lnTo>
                    <a:pt x="137" y="117"/>
                  </a:lnTo>
                  <a:lnTo>
                    <a:pt x="142" y="111"/>
                  </a:lnTo>
                  <a:lnTo>
                    <a:pt x="144" y="105"/>
                  </a:lnTo>
                  <a:lnTo>
                    <a:pt x="147" y="97"/>
                  </a:lnTo>
                  <a:lnTo>
                    <a:pt x="149" y="91"/>
                  </a:lnTo>
                  <a:lnTo>
                    <a:pt x="150" y="83"/>
                  </a:lnTo>
                  <a:lnTo>
                    <a:pt x="150" y="75"/>
                  </a:lnTo>
                  <a:lnTo>
                    <a:pt x="150" y="67"/>
                  </a:lnTo>
                  <a:lnTo>
                    <a:pt x="149" y="60"/>
                  </a:lnTo>
                  <a:lnTo>
                    <a:pt x="147" y="53"/>
                  </a:lnTo>
                  <a:lnTo>
                    <a:pt x="144" y="46"/>
                  </a:lnTo>
                  <a:lnTo>
                    <a:pt x="142" y="39"/>
                  </a:lnTo>
                  <a:lnTo>
                    <a:pt x="137" y="33"/>
                  </a:lnTo>
                  <a:lnTo>
                    <a:pt x="133" y="28"/>
                  </a:lnTo>
                  <a:lnTo>
                    <a:pt x="128" y="22"/>
                  </a:lnTo>
                  <a:lnTo>
                    <a:pt x="122" y="17"/>
                  </a:lnTo>
                  <a:lnTo>
                    <a:pt x="117" y="13"/>
                  </a:lnTo>
                  <a:lnTo>
                    <a:pt x="111" y="9"/>
                  </a:lnTo>
                  <a:lnTo>
                    <a:pt x="104" y="6"/>
                  </a:lnTo>
                  <a:lnTo>
                    <a:pt x="98" y="4"/>
                  </a:lnTo>
                  <a:lnTo>
                    <a:pt x="90" y="2"/>
                  </a:lnTo>
                  <a:lnTo>
                    <a:pt x="83" y="1"/>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9">
              <a:extLst>
                <a:ext uri="{FF2B5EF4-FFF2-40B4-BE49-F238E27FC236}">
                  <a16:creationId xmlns:a16="http://schemas.microsoft.com/office/drawing/2014/main" id="{86E1A9C9-8B95-4761-AFC6-F18DD916E534}"/>
                </a:ext>
              </a:extLst>
            </p:cNvPr>
            <p:cNvSpPr>
              <a:spLocks noEditPoints="1"/>
            </p:cNvSpPr>
            <p:nvPr/>
          </p:nvSpPr>
          <p:spPr bwMode="auto">
            <a:xfrm>
              <a:off x="1082675" y="928688"/>
              <a:ext cx="104775" cy="142875"/>
            </a:xfrm>
            <a:custGeom>
              <a:avLst/>
              <a:gdLst>
                <a:gd name="T0" fmla="*/ 145 w 329"/>
                <a:gd name="T1" fmla="*/ 385 h 450"/>
                <a:gd name="T2" fmla="*/ 101 w 329"/>
                <a:gd name="T3" fmla="*/ 322 h 450"/>
                <a:gd name="T4" fmla="*/ 69 w 329"/>
                <a:gd name="T5" fmla="*/ 270 h 450"/>
                <a:gd name="T6" fmla="*/ 51 w 329"/>
                <a:gd name="T7" fmla="*/ 235 h 450"/>
                <a:gd name="T8" fmla="*/ 38 w 329"/>
                <a:gd name="T9" fmla="*/ 204 h 450"/>
                <a:gd name="T10" fmla="*/ 31 w 329"/>
                <a:gd name="T11" fmla="*/ 176 h 450"/>
                <a:gd name="T12" fmla="*/ 31 w 329"/>
                <a:gd name="T13" fmla="*/ 152 h 450"/>
                <a:gd name="T14" fmla="*/ 36 w 329"/>
                <a:gd name="T15" fmla="*/ 125 h 450"/>
                <a:gd name="T16" fmla="*/ 46 w 329"/>
                <a:gd name="T17" fmla="*/ 101 h 450"/>
                <a:gd name="T18" fmla="*/ 61 w 329"/>
                <a:gd name="T19" fmla="*/ 79 h 450"/>
                <a:gd name="T20" fmla="*/ 79 w 329"/>
                <a:gd name="T21" fmla="*/ 61 h 450"/>
                <a:gd name="T22" fmla="*/ 100 w 329"/>
                <a:gd name="T23" fmla="*/ 47 h 450"/>
                <a:gd name="T24" fmla="*/ 125 w 329"/>
                <a:gd name="T25" fmla="*/ 36 h 450"/>
                <a:gd name="T26" fmla="*/ 150 w 329"/>
                <a:gd name="T27" fmla="*/ 31 h 450"/>
                <a:gd name="T28" fmla="*/ 178 w 329"/>
                <a:gd name="T29" fmla="*/ 31 h 450"/>
                <a:gd name="T30" fmla="*/ 204 w 329"/>
                <a:gd name="T31" fmla="*/ 36 h 450"/>
                <a:gd name="T32" fmla="*/ 229 w 329"/>
                <a:gd name="T33" fmla="*/ 47 h 450"/>
                <a:gd name="T34" fmla="*/ 250 w 329"/>
                <a:gd name="T35" fmla="*/ 61 h 450"/>
                <a:gd name="T36" fmla="*/ 268 w 329"/>
                <a:gd name="T37" fmla="*/ 79 h 450"/>
                <a:gd name="T38" fmla="*/ 283 w 329"/>
                <a:gd name="T39" fmla="*/ 101 h 450"/>
                <a:gd name="T40" fmla="*/ 293 w 329"/>
                <a:gd name="T41" fmla="*/ 125 h 450"/>
                <a:gd name="T42" fmla="*/ 298 w 329"/>
                <a:gd name="T43" fmla="*/ 152 h 450"/>
                <a:gd name="T44" fmla="*/ 298 w 329"/>
                <a:gd name="T45" fmla="*/ 176 h 450"/>
                <a:gd name="T46" fmla="*/ 291 w 329"/>
                <a:gd name="T47" fmla="*/ 204 h 450"/>
                <a:gd name="T48" fmla="*/ 277 w 329"/>
                <a:gd name="T49" fmla="*/ 235 h 450"/>
                <a:gd name="T50" fmla="*/ 260 w 329"/>
                <a:gd name="T51" fmla="*/ 270 h 450"/>
                <a:gd name="T52" fmla="*/ 227 w 329"/>
                <a:gd name="T53" fmla="*/ 322 h 450"/>
                <a:gd name="T54" fmla="*/ 184 w 329"/>
                <a:gd name="T55" fmla="*/ 385 h 450"/>
                <a:gd name="T56" fmla="*/ 164 w 329"/>
                <a:gd name="T57" fmla="*/ 0 h 450"/>
                <a:gd name="T58" fmla="*/ 131 w 329"/>
                <a:gd name="T59" fmla="*/ 3 h 450"/>
                <a:gd name="T60" fmla="*/ 100 w 329"/>
                <a:gd name="T61" fmla="*/ 13 h 450"/>
                <a:gd name="T62" fmla="*/ 72 w 329"/>
                <a:gd name="T63" fmla="*/ 29 h 450"/>
                <a:gd name="T64" fmla="*/ 48 w 329"/>
                <a:gd name="T65" fmla="*/ 49 h 450"/>
                <a:gd name="T66" fmla="*/ 27 w 329"/>
                <a:gd name="T67" fmla="*/ 73 h 450"/>
                <a:gd name="T68" fmla="*/ 12 w 329"/>
                <a:gd name="T69" fmla="*/ 102 h 450"/>
                <a:gd name="T70" fmla="*/ 3 w 329"/>
                <a:gd name="T71" fmla="*/ 132 h 450"/>
                <a:gd name="T72" fmla="*/ 0 w 329"/>
                <a:gd name="T73" fmla="*/ 165 h 450"/>
                <a:gd name="T74" fmla="*/ 1 w 329"/>
                <a:gd name="T75" fmla="*/ 183 h 450"/>
                <a:gd name="T76" fmla="*/ 6 w 329"/>
                <a:gd name="T77" fmla="*/ 202 h 450"/>
                <a:gd name="T78" fmla="*/ 22 w 329"/>
                <a:gd name="T79" fmla="*/ 244 h 450"/>
                <a:gd name="T80" fmla="*/ 47 w 329"/>
                <a:gd name="T81" fmla="*/ 290 h 450"/>
                <a:gd name="T82" fmla="*/ 73 w 329"/>
                <a:gd name="T83" fmla="*/ 335 h 450"/>
                <a:gd name="T84" fmla="*/ 126 w 329"/>
                <a:gd name="T85" fmla="*/ 410 h 450"/>
                <a:gd name="T86" fmla="*/ 153 w 329"/>
                <a:gd name="T87" fmla="*/ 444 h 450"/>
                <a:gd name="T88" fmla="*/ 158 w 329"/>
                <a:gd name="T89" fmla="*/ 448 h 450"/>
                <a:gd name="T90" fmla="*/ 164 w 329"/>
                <a:gd name="T91" fmla="*/ 450 h 450"/>
                <a:gd name="T92" fmla="*/ 171 w 329"/>
                <a:gd name="T93" fmla="*/ 448 h 450"/>
                <a:gd name="T94" fmla="*/ 176 w 329"/>
                <a:gd name="T95" fmla="*/ 444 h 450"/>
                <a:gd name="T96" fmla="*/ 203 w 329"/>
                <a:gd name="T97" fmla="*/ 410 h 450"/>
                <a:gd name="T98" fmla="*/ 255 w 329"/>
                <a:gd name="T99" fmla="*/ 335 h 450"/>
                <a:gd name="T100" fmla="*/ 282 w 329"/>
                <a:gd name="T101" fmla="*/ 290 h 450"/>
                <a:gd name="T102" fmla="*/ 306 w 329"/>
                <a:gd name="T103" fmla="*/ 245 h 450"/>
                <a:gd name="T104" fmla="*/ 323 w 329"/>
                <a:gd name="T105" fmla="*/ 202 h 450"/>
                <a:gd name="T106" fmla="*/ 327 w 329"/>
                <a:gd name="T107" fmla="*/ 183 h 450"/>
                <a:gd name="T108" fmla="*/ 329 w 329"/>
                <a:gd name="T109" fmla="*/ 165 h 450"/>
                <a:gd name="T110" fmla="*/ 326 w 329"/>
                <a:gd name="T111" fmla="*/ 132 h 450"/>
                <a:gd name="T112" fmla="*/ 316 w 329"/>
                <a:gd name="T113" fmla="*/ 102 h 450"/>
                <a:gd name="T114" fmla="*/ 301 w 329"/>
                <a:gd name="T115" fmla="*/ 73 h 450"/>
                <a:gd name="T116" fmla="*/ 281 w 329"/>
                <a:gd name="T117" fmla="*/ 49 h 450"/>
                <a:gd name="T118" fmla="*/ 256 w 329"/>
                <a:gd name="T119" fmla="*/ 29 h 450"/>
                <a:gd name="T120" fmla="*/ 229 w 329"/>
                <a:gd name="T121" fmla="*/ 14 h 450"/>
                <a:gd name="T122" fmla="*/ 198 w 329"/>
                <a:gd name="T123" fmla="*/ 4 h 450"/>
                <a:gd name="T124" fmla="*/ 164 w 329"/>
                <a:gd name="T12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9" h="450">
                  <a:moveTo>
                    <a:pt x="164" y="411"/>
                  </a:moveTo>
                  <a:lnTo>
                    <a:pt x="145" y="385"/>
                  </a:lnTo>
                  <a:lnTo>
                    <a:pt x="124" y="355"/>
                  </a:lnTo>
                  <a:lnTo>
                    <a:pt x="101" y="322"/>
                  </a:lnTo>
                  <a:lnTo>
                    <a:pt x="80" y="287"/>
                  </a:lnTo>
                  <a:lnTo>
                    <a:pt x="69" y="270"/>
                  </a:lnTo>
                  <a:lnTo>
                    <a:pt x="59" y="252"/>
                  </a:lnTo>
                  <a:lnTo>
                    <a:pt x="51" y="235"/>
                  </a:lnTo>
                  <a:lnTo>
                    <a:pt x="45" y="219"/>
                  </a:lnTo>
                  <a:lnTo>
                    <a:pt x="38" y="204"/>
                  </a:lnTo>
                  <a:lnTo>
                    <a:pt x="34" y="190"/>
                  </a:lnTo>
                  <a:lnTo>
                    <a:pt x="31" y="176"/>
                  </a:lnTo>
                  <a:lnTo>
                    <a:pt x="30" y="165"/>
                  </a:lnTo>
                  <a:lnTo>
                    <a:pt x="31" y="152"/>
                  </a:lnTo>
                  <a:lnTo>
                    <a:pt x="33" y="138"/>
                  </a:lnTo>
                  <a:lnTo>
                    <a:pt x="36" y="125"/>
                  </a:lnTo>
                  <a:lnTo>
                    <a:pt x="40" y="113"/>
                  </a:lnTo>
                  <a:lnTo>
                    <a:pt x="46" y="101"/>
                  </a:lnTo>
                  <a:lnTo>
                    <a:pt x="53" y="90"/>
                  </a:lnTo>
                  <a:lnTo>
                    <a:pt x="61" y="79"/>
                  </a:lnTo>
                  <a:lnTo>
                    <a:pt x="69" y="69"/>
                  </a:lnTo>
                  <a:lnTo>
                    <a:pt x="79" y="61"/>
                  </a:lnTo>
                  <a:lnTo>
                    <a:pt x="89" y="53"/>
                  </a:lnTo>
                  <a:lnTo>
                    <a:pt x="100" y="47"/>
                  </a:lnTo>
                  <a:lnTo>
                    <a:pt x="112" y="41"/>
                  </a:lnTo>
                  <a:lnTo>
                    <a:pt x="125" y="36"/>
                  </a:lnTo>
                  <a:lnTo>
                    <a:pt x="138" y="33"/>
                  </a:lnTo>
                  <a:lnTo>
                    <a:pt x="150" y="31"/>
                  </a:lnTo>
                  <a:lnTo>
                    <a:pt x="164" y="30"/>
                  </a:lnTo>
                  <a:lnTo>
                    <a:pt x="178" y="31"/>
                  </a:lnTo>
                  <a:lnTo>
                    <a:pt x="191" y="33"/>
                  </a:lnTo>
                  <a:lnTo>
                    <a:pt x="204" y="36"/>
                  </a:lnTo>
                  <a:lnTo>
                    <a:pt x="217" y="41"/>
                  </a:lnTo>
                  <a:lnTo>
                    <a:pt x="229" y="47"/>
                  </a:lnTo>
                  <a:lnTo>
                    <a:pt x="239" y="53"/>
                  </a:lnTo>
                  <a:lnTo>
                    <a:pt x="250" y="61"/>
                  </a:lnTo>
                  <a:lnTo>
                    <a:pt x="260" y="69"/>
                  </a:lnTo>
                  <a:lnTo>
                    <a:pt x="268" y="79"/>
                  </a:lnTo>
                  <a:lnTo>
                    <a:pt x="276" y="90"/>
                  </a:lnTo>
                  <a:lnTo>
                    <a:pt x="283" y="101"/>
                  </a:lnTo>
                  <a:lnTo>
                    <a:pt x="288" y="112"/>
                  </a:lnTo>
                  <a:lnTo>
                    <a:pt x="293" y="125"/>
                  </a:lnTo>
                  <a:lnTo>
                    <a:pt x="296" y="138"/>
                  </a:lnTo>
                  <a:lnTo>
                    <a:pt x="298" y="152"/>
                  </a:lnTo>
                  <a:lnTo>
                    <a:pt x="299" y="165"/>
                  </a:lnTo>
                  <a:lnTo>
                    <a:pt x="298" y="176"/>
                  </a:lnTo>
                  <a:lnTo>
                    <a:pt x="295" y="190"/>
                  </a:lnTo>
                  <a:lnTo>
                    <a:pt x="291" y="204"/>
                  </a:lnTo>
                  <a:lnTo>
                    <a:pt x="284" y="219"/>
                  </a:lnTo>
                  <a:lnTo>
                    <a:pt x="277" y="235"/>
                  </a:lnTo>
                  <a:lnTo>
                    <a:pt x="269" y="252"/>
                  </a:lnTo>
                  <a:lnTo>
                    <a:pt x="260" y="270"/>
                  </a:lnTo>
                  <a:lnTo>
                    <a:pt x="249" y="287"/>
                  </a:lnTo>
                  <a:lnTo>
                    <a:pt x="227" y="322"/>
                  </a:lnTo>
                  <a:lnTo>
                    <a:pt x="205" y="355"/>
                  </a:lnTo>
                  <a:lnTo>
                    <a:pt x="184" y="385"/>
                  </a:lnTo>
                  <a:lnTo>
                    <a:pt x="164" y="411"/>
                  </a:lnTo>
                  <a:close/>
                  <a:moveTo>
                    <a:pt x="164" y="0"/>
                  </a:moveTo>
                  <a:lnTo>
                    <a:pt x="147" y="1"/>
                  </a:lnTo>
                  <a:lnTo>
                    <a:pt x="131" y="3"/>
                  </a:lnTo>
                  <a:lnTo>
                    <a:pt x="115" y="7"/>
                  </a:lnTo>
                  <a:lnTo>
                    <a:pt x="100" y="13"/>
                  </a:lnTo>
                  <a:lnTo>
                    <a:pt x="86" y="20"/>
                  </a:lnTo>
                  <a:lnTo>
                    <a:pt x="72" y="29"/>
                  </a:lnTo>
                  <a:lnTo>
                    <a:pt x="59" y="38"/>
                  </a:lnTo>
                  <a:lnTo>
                    <a:pt x="48" y="49"/>
                  </a:lnTo>
                  <a:lnTo>
                    <a:pt x="37" y="61"/>
                  </a:lnTo>
                  <a:lnTo>
                    <a:pt x="27" y="73"/>
                  </a:lnTo>
                  <a:lnTo>
                    <a:pt x="20" y="87"/>
                  </a:lnTo>
                  <a:lnTo>
                    <a:pt x="12" y="102"/>
                  </a:lnTo>
                  <a:lnTo>
                    <a:pt x="7" y="117"/>
                  </a:lnTo>
                  <a:lnTo>
                    <a:pt x="3" y="132"/>
                  </a:lnTo>
                  <a:lnTo>
                    <a:pt x="1" y="149"/>
                  </a:lnTo>
                  <a:lnTo>
                    <a:pt x="0" y="165"/>
                  </a:lnTo>
                  <a:lnTo>
                    <a:pt x="0" y="173"/>
                  </a:lnTo>
                  <a:lnTo>
                    <a:pt x="1" y="183"/>
                  </a:lnTo>
                  <a:lnTo>
                    <a:pt x="3" y="192"/>
                  </a:lnTo>
                  <a:lnTo>
                    <a:pt x="6" y="202"/>
                  </a:lnTo>
                  <a:lnTo>
                    <a:pt x="13" y="222"/>
                  </a:lnTo>
                  <a:lnTo>
                    <a:pt x="22" y="244"/>
                  </a:lnTo>
                  <a:lnTo>
                    <a:pt x="34" y="266"/>
                  </a:lnTo>
                  <a:lnTo>
                    <a:pt x="47" y="290"/>
                  </a:lnTo>
                  <a:lnTo>
                    <a:pt x="59" y="312"/>
                  </a:lnTo>
                  <a:lnTo>
                    <a:pt x="73" y="335"/>
                  </a:lnTo>
                  <a:lnTo>
                    <a:pt x="101" y="375"/>
                  </a:lnTo>
                  <a:lnTo>
                    <a:pt x="126" y="410"/>
                  </a:lnTo>
                  <a:lnTo>
                    <a:pt x="144" y="433"/>
                  </a:lnTo>
                  <a:lnTo>
                    <a:pt x="153" y="444"/>
                  </a:lnTo>
                  <a:lnTo>
                    <a:pt x="155" y="446"/>
                  </a:lnTo>
                  <a:lnTo>
                    <a:pt x="158" y="448"/>
                  </a:lnTo>
                  <a:lnTo>
                    <a:pt x="161" y="449"/>
                  </a:lnTo>
                  <a:lnTo>
                    <a:pt x="164" y="450"/>
                  </a:lnTo>
                  <a:lnTo>
                    <a:pt x="168" y="449"/>
                  </a:lnTo>
                  <a:lnTo>
                    <a:pt x="171" y="448"/>
                  </a:lnTo>
                  <a:lnTo>
                    <a:pt x="174" y="446"/>
                  </a:lnTo>
                  <a:lnTo>
                    <a:pt x="176" y="444"/>
                  </a:lnTo>
                  <a:lnTo>
                    <a:pt x="185" y="433"/>
                  </a:lnTo>
                  <a:lnTo>
                    <a:pt x="203" y="410"/>
                  </a:lnTo>
                  <a:lnTo>
                    <a:pt x="227" y="375"/>
                  </a:lnTo>
                  <a:lnTo>
                    <a:pt x="255" y="335"/>
                  </a:lnTo>
                  <a:lnTo>
                    <a:pt x="269" y="312"/>
                  </a:lnTo>
                  <a:lnTo>
                    <a:pt x="282" y="290"/>
                  </a:lnTo>
                  <a:lnTo>
                    <a:pt x="295" y="267"/>
                  </a:lnTo>
                  <a:lnTo>
                    <a:pt x="306" y="245"/>
                  </a:lnTo>
                  <a:lnTo>
                    <a:pt x="315" y="222"/>
                  </a:lnTo>
                  <a:lnTo>
                    <a:pt x="323" y="202"/>
                  </a:lnTo>
                  <a:lnTo>
                    <a:pt x="326" y="192"/>
                  </a:lnTo>
                  <a:lnTo>
                    <a:pt x="327" y="183"/>
                  </a:lnTo>
                  <a:lnTo>
                    <a:pt x="329" y="173"/>
                  </a:lnTo>
                  <a:lnTo>
                    <a:pt x="329" y="165"/>
                  </a:lnTo>
                  <a:lnTo>
                    <a:pt x="328" y="149"/>
                  </a:lnTo>
                  <a:lnTo>
                    <a:pt x="326" y="132"/>
                  </a:lnTo>
                  <a:lnTo>
                    <a:pt x="322" y="117"/>
                  </a:lnTo>
                  <a:lnTo>
                    <a:pt x="316" y="102"/>
                  </a:lnTo>
                  <a:lnTo>
                    <a:pt x="309" y="87"/>
                  </a:lnTo>
                  <a:lnTo>
                    <a:pt x="301" y="73"/>
                  </a:lnTo>
                  <a:lnTo>
                    <a:pt x="292" y="61"/>
                  </a:lnTo>
                  <a:lnTo>
                    <a:pt x="281" y="49"/>
                  </a:lnTo>
                  <a:lnTo>
                    <a:pt x="269" y="38"/>
                  </a:lnTo>
                  <a:lnTo>
                    <a:pt x="256" y="29"/>
                  </a:lnTo>
                  <a:lnTo>
                    <a:pt x="242" y="20"/>
                  </a:lnTo>
                  <a:lnTo>
                    <a:pt x="229" y="14"/>
                  </a:lnTo>
                  <a:lnTo>
                    <a:pt x="214" y="7"/>
                  </a:lnTo>
                  <a:lnTo>
                    <a:pt x="198" y="4"/>
                  </a:lnTo>
                  <a:lnTo>
                    <a:pt x="181" y="1"/>
                  </a:lnTo>
                  <a:lnTo>
                    <a:pt x="164" y="0"/>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8" name="Group 47">
            <a:extLst>
              <a:ext uri="{FF2B5EF4-FFF2-40B4-BE49-F238E27FC236}">
                <a16:creationId xmlns:a16="http://schemas.microsoft.com/office/drawing/2014/main" id="{C47FB556-FA90-474A-AE69-B36D3FBDBC88}"/>
              </a:ext>
            </a:extLst>
          </p:cNvPr>
          <p:cNvGrpSpPr>
            <a:grpSpLocks noChangeAspect="1"/>
          </p:cNvGrpSpPr>
          <p:nvPr/>
        </p:nvGrpSpPr>
        <p:grpSpPr>
          <a:xfrm>
            <a:off x="3268824" y="2186361"/>
            <a:ext cx="153242" cy="306484"/>
            <a:chOff x="958850" y="2497138"/>
            <a:chExt cx="142875" cy="285750"/>
          </a:xfrm>
          <a:solidFill>
            <a:schemeClr val="bg2"/>
          </a:solidFill>
          <a:effectLst/>
        </p:grpSpPr>
        <p:sp>
          <p:nvSpPr>
            <p:cNvPr id="619" name="Freeform 75">
              <a:extLst>
                <a:ext uri="{FF2B5EF4-FFF2-40B4-BE49-F238E27FC236}">
                  <a16:creationId xmlns:a16="http://schemas.microsoft.com/office/drawing/2014/main" id="{90FC2106-BD49-440C-ABC6-5A187EC50B27}"/>
                </a:ext>
              </a:extLst>
            </p:cNvPr>
            <p:cNvSpPr>
              <a:spLocks noEditPoints="1"/>
            </p:cNvSpPr>
            <p:nvPr/>
          </p:nvSpPr>
          <p:spPr bwMode="auto">
            <a:xfrm>
              <a:off x="958850" y="2497138"/>
              <a:ext cx="142875" cy="242888"/>
            </a:xfrm>
            <a:custGeom>
              <a:avLst/>
              <a:gdLst>
                <a:gd name="T0" fmla="*/ 289 w 449"/>
                <a:gd name="T1" fmla="*/ 38 h 763"/>
                <a:gd name="T2" fmla="*/ 334 w 449"/>
                <a:gd name="T3" fmla="*/ 57 h 763"/>
                <a:gd name="T4" fmla="*/ 363 w 449"/>
                <a:gd name="T5" fmla="*/ 81 h 763"/>
                <a:gd name="T6" fmla="*/ 386 w 449"/>
                <a:gd name="T7" fmla="*/ 111 h 763"/>
                <a:gd name="T8" fmla="*/ 412 w 449"/>
                <a:gd name="T9" fmla="*/ 179 h 763"/>
                <a:gd name="T10" fmla="*/ 418 w 449"/>
                <a:gd name="T11" fmla="*/ 264 h 763"/>
                <a:gd name="T12" fmla="*/ 400 w 449"/>
                <a:gd name="T13" fmla="*/ 323 h 763"/>
                <a:gd name="T14" fmla="*/ 336 w 449"/>
                <a:gd name="T15" fmla="*/ 434 h 763"/>
                <a:gd name="T16" fmla="*/ 253 w 449"/>
                <a:gd name="T17" fmla="*/ 566 h 763"/>
                <a:gd name="T18" fmla="*/ 216 w 449"/>
                <a:gd name="T19" fmla="*/ 605 h 763"/>
                <a:gd name="T20" fmla="*/ 160 w 449"/>
                <a:gd name="T21" fmla="*/ 505 h 763"/>
                <a:gd name="T22" fmla="*/ 78 w 449"/>
                <a:gd name="T23" fmla="*/ 377 h 763"/>
                <a:gd name="T24" fmla="*/ 35 w 449"/>
                <a:gd name="T25" fmla="*/ 286 h 763"/>
                <a:gd name="T26" fmla="*/ 31 w 449"/>
                <a:gd name="T27" fmla="*/ 227 h 763"/>
                <a:gd name="T28" fmla="*/ 50 w 449"/>
                <a:gd name="T29" fmla="*/ 138 h 763"/>
                <a:gd name="T30" fmla="*/ 74 w 449"/>
                <a:gd name="T31" fmla="*/ 95 h 763"/>
                <a:gd name="T32" fmla="*/ 101 w 449"/>
                <a:gd name="T33" fmla="*/ 68 h 763"/>
                <a:gd name="T34" fmla="*/ 133 w 449"/>
                <a:gd name="T35" fmla="*/ 48 h 763"/>
                <a:gd name="T36" fmla="*/ 202 w 449"/>
                <a:gd name="T37" fmla="*/ 31 h 763"/>
                <a:gd name="T38" fmla="*/ 210 w 449"/>
                <a:gd name="T39" fmla="*/ 748 h 763"/>
                <a:gd name="T40" fmla="*/ 214 w 449"/>
                <a:gd name="T41" fmla="*/ 759 h 763"/>
                <a:gd name="T42" fmla="*/ 225 w 449"/>
                <a:gd name="T43" fmla="*/ 763 h 763"/>
                <a:gd name="T44" fmla="*/ 235 w 449"/>
                <a:gd name="T45" fmla="*/ 759 h 763"/>
                <a:gd name="T46" fmla="*/ 240 w 449"/>
                <a:gd name="T47" fmla="*/ 748 h 763"/>
                <a:gd name="T48" fmla="*/ 245 w 449"/>
                <a:gd name="T49" fmla="*/ 656 h 763"/>
                <a:gd name="T50" fmla="*/ 288 w 449"/>
                <a:gd name="T51" fmla="*/ 565 h 763"/>
                <a:gd name="T52" fmla="*/ 363 w 449"/>
                <a:gd name="T53" fmla="*/ 448 h 763"/>
                <a:gd name="T54" fmla="*/ 424 w 449"/>
                <a:gd name="T55" fmla="*/ 344 h 763"/>
                <a:gd name="T56" fmla="*/ 444 w 449"/>
                <a:gd name="T57" fmla="*/ 290 h 763"/>
                <a:gd name="T58" fmla="*/ 448 w 449"/>
                <a:gd name="T59" fmla="*/ 224 h 763"/>
                <a:gd name="T60" fmla="*/ 438 w 449"/>
                <a:gd name="T61" fmla="*/ 158 h 763"/>
                <a:gd name="T62" fmla="*/ 422 w 449"/>
                <a:gd name="T63" fmla="*/ 113 h 763"/>
                <a:gd name="T64" fmla="*/ 398 w 449"/>
                <a:gd name="T65" fmla="*/ 74 h 763"/>
                <a:gd name="T66" fmla="*/ 367 w 449"/>
                <a:gd name="T67" fmla="*/ 43 h 763"/>
                <a:gd name="T68" fmla="*/ 331 w 449"/>
                <a:gd name="T69" fmla="*/ 21 h 763"/>
                <a:gd name="T70" fmla="*/ 287 w 449"/>
                <a:gd name="T71" fmla="*/ 6 h 763"/>
                <a:gd name="T72" fmla="*/ 238 w 449"/>
                <a:gd name="T73" fmla="*/ 0 h 763"/>
                <a:gd name="T74" fmla="*/ 186 w 449"/>
                <a:gd name="T75" fmla="*/ 2 h 763"/>
                <a:gd name="T76" fmla="*/ 140 w 449"/>
                <a:gd name="T77" fmla="*/ 12 h 763"/>
                <a:gd name="T78" fmla="*/ 100 w 449"/>
                <a:gd name="T79" fmla="*/ 32 h 763"/>
                <a:gd name="T80" fmla="*/ 66 w 449"/>
                <a:gd name="T81" fmla="*/ 58 h 763"/>
                <a:gd name="T82" fmla="*/ 40 w 449"/>
                <a:gd name="T83" fmla="*/ 93 h 763"/>
                <a:gd name="T84" fmla="*/ 19 w 449"/>
                <a:gd name="T85" fmla="*/ 134 h 763"/>
                <a:gd name="T86" fmla="*/ 5 w 449"/>
                <a:gd name="T87" fmla="*/ 184 h 763"/>
                <a:gd name="T88" fmla="*/ 0 w 449"/>
                <a:gd name="T89" fmla="*/ 266 h 763"/>
                <a:gd name="T90" fmla="*/ 14 w 449"/>
                <a:gd name="T91" fmla="*/ 316 h 763"/>
                <a:gd name="T92" fmla="*/ 49 w 449"/>
                <a:gd name="T93" fmla="*/ 387 h 763"/>
                <a:gd name="T94" fmla="*/ 126 w 449"/>
                <a:gd name="T95" fmla="*/ 509 h 763"/>
                <a:gd name="T96" fmla="*/ 191 w 449"/>
                <a:gd name="T97" fmla="*/ 620 h 763"/>
                <a:gd name="T98" fmla="*/ 209 w 449"/>
                <a:gd name="T99" fmla="*/ 67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9" h="763">
                  <a:moveTo>
                    <a:pt x="225" y="29"/>
                  </a:moveTo>
                  <a:lnTo>
                    <a:pt x="247" y="31"/>
                  </a:lnTo>
                  <a:lnTo>
                    <a:pt x="269" y="33"/>
                  </a:lnTo>
                  <a:lnTo>
                    <a:pt x="289" y="38"/>
                  </a:lnTo>
                  <a:lnTo>
                    <a:pt x="308" y="44"/>
                  </a:lnTo>
                  <a:lnTo>
                    <a:pt x="317" y="48"/>
                  </a:lnTo>
                  <a:lnTo>
                    <a:pt x="325" y="52"/>
                  </a:lnTo>
                  <a:lnTo>
                    <a:pt x="334" y="57"/>
                  </a:lnTo>
                  <a:lnTo>
                    <a:pt x="341" y="63"/>
                  </a:lnTo>
                  <a:lnTo>
                    <a:pt x="349" y="68"/>
                  </a:lnTo>
                  <a:lnTo>
                    <a:pt x="356" y="74"/>
                  </a:lnTo>
                  <a:lnTo>
                    <a:pt x="363" y="81"/>
                  </a:lnTo>
                  <a:lnTo>
                    <a:pt x="369" y="87"/>
                  </a:lnTo>
                  <a:lnTo>
                    <a:pt x="376" y="95"/>
                  </a:lnTo>
                  <a:lnTo>
                    <a:pt x="381" y="102"/>
                  </a:lnTo>
                  <a:lnTo>
                    <a:pt x="386" y="111"/>
                  </a:lnTo>
                  <a:lnTo>
                    <a:pt x="391" y="119"/>
                  </a:lnTo>
                  <a:lnTo>
                    <a:pt x="399" y="138"/>
                  </a:lnTo>
                  <a:lnTo>
                    <a:pt x="407" y="158"/>
                  </a:lnTo>
                  <a:lnTo>
                    <a:pt x="412" y="179"/>
                  </a:lnTo>
                  <a:lnTo>
                    <a:pt x="416" y="203"/>
                  </a:lnTo>
                  <a:lnTo>
                    <a:pt x="418" y="227"/>
                  </a:lnTo>
                  <a:lnTo>
                    <a:pt x="420" y="254"/>
                  </a:lnTo>
                  <a:lnTo>
                    <a:pt x="418" y="264"/>
                  </a:lnTo>
                  <a:lnTo>
                    <a:pt x="417" y="274"/>
                  </a:lnTo>
                  <a:lnTo>
                    <a:pt x="414" y="286"/>
                  </a:lnTo>
                  <a:lnTo>
                    <a:pt x="411" y="298"/>
                  </a:lnTo>
                  <a:lnTo>
                    <a:pt x="400" y="323"/>
                  </a:lnTo>
                  <a:lnTo>
                    <a:pt x="387" y="349"/>
                  </a:lnTo>
                  <a:lnTo>
                    <a:pt x="371" y="377"/>
                  </a:lnTo>
                  <a:lnTo>
                    <a:pt x="354" y="405"/>
                  </a:lnTo>
                  <a:lnTo>
                    <a:pt x="336" y="434"/>
                  </a:lnTo>
                  <a:lnTo>
                    <a:pt x="317" y="463"/>
                  </a:lnTo>
                  <a:lnTo>
                    <a:pt x="290" y="505"/>
                  </a:lnTo>
                  <a:lnTo>
                    <a:pt x="264" y="546"/>
                  </a:lnTo>
                  <a:lnTo>
                    <a:pt x="253" y="566"/>
                  </a:lnTo>
                  <a:lnTo>
                    <a:pt x="242" y="586"/>
                  </a:lnTo>
                  <a:lnTo>
                    <a:pt x="232" y="605"/>
                  </a:lnTo>
                  <a:lnTo>
                    <a:pt x="225" y="623"/>
                  </a:lnTo>
                  <a:lnTo>
                    <a:pt x="216" y="605"/>
                  </a:lnTo>
                  <a:lnTo>
                    <a:pt x="208" y="586"/>
                  </a:lnTo>
                  <a:lnTo>
                    <a:pt x="197" y="566"/>
                  </a:lnTo>
                  <a:lnTo>
                    <a:pt x="185" y="546"/>
                  </a:lnTo>
                  <a:lnTo>
                    <a:pt x="160" y="505"/>
                  </a:lnTo>
                  <a:lnTo>
                    <a:pt x="133" y="463"/>
                  </a:lnTo>
                  <a:lnTo>
                    <a:pt x="114" y="434"/>
                  </a:lnTo>
                  <a:lnTo>
                    <a:pt x="95" y="405"/>
                  </a:lnTo>
                  <a:lnTo>
                    <a:pt x="78" y="377"/>
                  </a:lnTo>
                  <a:lnTo>
                    <a:pt x="62" y="349"/>
                  </a:lnTo>
                  <a:lnTo>
                    <a:pt x="49" y="323"/>
                  </a:lnTo>
                  <a:lnTo>
                    <a:pt x="39" y="298"/>
                  </a:lnTo>
                  <a:lnTo>
                    <a:pt x="35" y="286"/>
                  </a:lnTo>
                  <a:lnTo>
                    <a:pt x="32" y="274"/>
                  </a:lnTo>
                  <a:lnTo>
                    <a:pt x="30" y="264"/>
                  </a:lnTo>
                  <a:lnTo>
                    <a:pt x="30" y="254"/>
                  </a:lnTo>
                  <a:lnTo>
                    <a:pt x="31" y="227"/>
                  </a:lnTo>
                  <a:lnTo>
                    <a:pt x="33" y="203"/>
                  </a:lnTo>
                  <a:lnTo>
                    <a:pt x="38" y="179"/>
                  </a:lnTo>
                  <a:lnTo>
                    <a:pt x="43" y="158"/>
                  </a:lnTo>
                  <a:lnTo>
                    <a:pt x="50" y="138"/>
                  </a:lnTo>
                  <a:lnTo>
                    <a:pt x="59" y="119"/>
                  </a:lnTo>
                  <a:lnTo>
                    <a:pt x="63" y="111"/>
                  </a:lnTo>
                  <a:lnTo>
                    <a:pt x="69" y="102"/>
                  </a:lnTo>
                  <a:lnTo>
                    <a:pt x="74" y="95"/>
                  </a:lnTo>
                  <a:lnTo>
                    <a:pt x="80" y="87"/>
                  </a:lnTo>
                  <a:lnTo>
                    <a:pt x="87" y="81"/>
                  </a:lnTo>
                  <a:lnTo>
                    <a:pt x="93" y="74"/>
                  </a:lnTo>
                  <a:lnTo>
                    <a:pt x="101" y="68"/>
                  </a:lnTo>
                  <a:lnTo>
                    <a:pt x="108" y="63"/>
                  </a:lnTo>
                  <a:lnTo>
                    <a:pt x="116" y="57"/>
                  </a:lnTo>
                  <a:lnTo>
                    <a:pt x="124" y="52"/>
                  </a:lnTo>
                  <a:lnTo>
                    <a:pt x="133" y="48"/>
                  </a:lnTo>
                  <a:lnTo>
                    <a:pt x="141" y="44"/>
                  </a:lnTo>
                  <a:lnTo>
                    <a:pt x="161" y="38"/>
                  </a:lnTo>
                  <a:lnTo>
                    <a:pt x="180" y="33"/>
                  </a:lnTo>
                  <a:lnTo>
                    <a:pt x="202" y="31"/>
                  </a:lnTo>
                  <a:lnTo>
                    <a:pt x="225" y="29"/>
                  </a:lnTo>
                  <a:lnTo>
                    <a:pt x="225" y="29"/>
                  </a:lnTo>
                  <a:close/>
                  <a:moveTo>
                    <a:pt x="210" y="688"/>
                  </a:moveTo>
                  <a:lnTo>
                    <a:pt x="210" y="748"/>
                  </a:lnTo>
                  <a:lnTo>
                    <a:pt x="210" y="751"/>
                  </a:lnTo>
                  <a:lnTo>
                    <a:pt x="211" y="754"/>
                  </a:lnTo>
                  <a:lnTo>
                    <a:pt x="212" y="757"/>
                  </a:lnTo>
                  <a:lnTo>
                    <a:pt x="214" y="759"/>
                  </a:lnTo>
                  <a:lnTo>
                    <a:pt x="216" y="761"/>
                  </a:lnTo>
                  <a:lnTo>
                    <a:pt x="219" y="762"/>
                  </a:lnTo>
                  <a:lnTo>
                    <a:pt x="222" y="763"/>
                  </a:lnTo>
                  <a:lnTo>
                    <a:pt x="225" y="763"/>
                  </a:lnTo>
                  <a:lnTo>
                    <a:pt x="228" y="763"/>
                  </a:lnTo>
                  <a:lnTo>
                    <a:pt x="230" y="762"/>
                  </a:lnTo>
                  <a:lnTo>
                    <a:pt x="233" y="761"/>
                  </a:lnTo>
                  <a:lnTo>
                    <a:pt x="235" y="759"/>
                  </a:lnTo>
                  <a:lnTo>
                    <a:pt x="238" y="757"/>
                  </a:lnTo>
                  <a:lnTo>
                    <a:pt x="239" y="754"/>
                  </a:lnTo>
                  <a:lnTo>
                    <a:pt x="240" y="751"/>
                  </a:lnTo>
                  <a:lnTo>
                    <a:pt x="240" y="748"/>
                  </a:lnTo>
                  <a:lnTo>
                    <a:pt x="240" y="688"/>
                  </a:lnTo>
                  <a:lnTo>
                    <a:pt x="240" y="678"/>
                  </a:lnTo>
                  <a:lnTo>
                    <a:pt x="242" y="667"/>
                  </a:lnTo>
                  <a:lnTo>
                    <a:pt x="245" y="656"/>
                  </a:lnTo>
                  <a:lnTo>
                    <a:pt x="248" y="645"/>
                  </a:lnTo>
                  <a:lnTo>
                    <a:pt x="259" y="620"/>
                  </a:lnTo>
                  <a:lnTo>
                    <a:pt x="272" y="593"/>
                  </a:lnTo>
                  <a:lnTo>
                    <a:pt x="288" y="565"/>
                  </a:lnTo>
                  <a:lnTo>
                    <a:pt x="305" y="538"/>
                  </a:lnTo>
                  <a:lnTo>
                    <a:pt x="323" y="509"/>
                  </a:lnTo>
                  <a:lnTo>
                    <a:pt x="342" y="480"/>
                  </a:lnTo>
                  <a:lnTo>
                    <a:pt x="363" y="448"/>
                  </a:lnTo>
                  <a:lnTo>
                    <a:pt x="382" y="417"/>
                  </a:lnTo>
                  <a:lnTo>
                    <a:pt x="400" y="387"/>
                  </a:lnTo>
                  <a:lnTo>
                    <a:pt x="416" y="358"/>
                  </a:lnTo>
                  <a:lnTo>
                    <a:pt x="424" y="344"/>
                  </a:lnTo>
                  <a:lnTo>
                    <a:pt x="430" y="330"/>
                  </a:lnTo>
                  <a:lnTo>
                    <a:pt x="436" y="316"/>
                  </a:lnTo>
                  <a:lnTo>
                    <a:pt x="441" y="303"/>
                  </a:lnTo>
                  <a:lnTo>
                    <a:pt x="444" y="290"/>
                  </a:lnTo>
                  <a:lnTo>
                    <a:pt x="447" y="278"/>
                  </a:lnTo>
                  <a:lnTo>
                    <a:pt x="448" y="266"/>
                  </a:lnTo>
                  <a:lnTo>
                    <a:pt x="449" y="254"/>
                  </a:lnTo>
                  <a:lnTo>
                    <a:pt x="448" y="224"/>
                  </a:lnTo>
                  <a:lnTo>
                    <a:pt x="445" y="196"/>
                  </a:lnTo>
                  <a:lnTo>
                    <a:pt x="443" y="184"/>
                  </a:lnTo>
                  <a:lnTo>
                    <a:pt x="441" y="171"/>
                  </a:lnTo>
                  <a:lnTo>
                    <a:pt x="438" y="158"/>
                  </a:lnTo>
                  <a:lnTo>
                    <a:pt x="435" y="146"/>
                  </a:lnTo>
                  <a:lnTo>
                    <a:pt x="430" y="134"/>
                  </a:lnTo>
                  <a:lnTo>
                    <a:pt x="426" y="124"/>
                  </a:lnTo>
                  <a:lnTo>
                    <a:pt x="422" y="113"/>
                  </a:lnTo>
                  <a:lnTo>
                    <a:pt x="416" y="102"/>
                  </a:lnTo>
                  <a:lnTo>
                    <a:pt x="410" y="93"/>
                  </a:lnTo>
                  <a:lnTo>
                    <a:pt x="405" y="83"/>
                  </a:lnTo>
                  <a:lnTo>
                    <a:pt x="398" y="74"/>
                  </a:lnTo>
                  <a:lnTo>
                    <a:pt x="391" y="66"/>
                  </a:lnTo>
                  <a:lnTo>
                    <a:pt x="383" y="58"/>
                  </a:lnTo>
                  <a:lnTo>
                    <a:pt x="376" y="51"/>
                  </a:lnTo>
                  <a:lnTo>
                    <a:pt x="367" y="43"/>
                  </a:lnTo>
                  <a:lnTo>
                    <a:pt x="359" y="37"/>
                  </a:lnTo>
                  <a:lnTo>
                    <a:pt x="350" y="32"/>
                  </a:lnTo>
                  <a:lnTo>
                    <a:pt x="340" y="26"/>
                  </a:lnTo>
                  <a:lnTo>
                    <a:pt x="331" y="21"/>
                  </a:lnTo>
                  <a:lnTo>
                    <a:pt x="320" y="17"/>
                  </a:lnTo>
                  <a:lnTo>
                    <a:pt x="309" y="12"/>
                  </a:lnTo>
                  <a:lnTo>
                    <a:pt x="299" y="9"/>
                  </a:lnTo>
                  <a:lnTo>
                    <a:pt x="287" y="6"/>
                  </a:lnTo>
                  <a:lnTo>
                    <a:pt x="275" y="4"/>
                  </a:lnTo>
                  <a:lnTo>
                    <a:pt x="263" y="2"/>
                  </a:lnTo>
                  <a:lnTo>
                    <a:pt x="250" y="1"/>
                  </a:lnTo>
                  <a:lnTo>
                    <a:pt x="238" y="0"/>
                  </a:lnTo>
                  <a:lnTo>
                    <a:pt x="225" y="0"/>
                  </a:lnTo>
                  <a:lnTo>
                    <a:pt x="212" y="0"/>
                  </a:lnTo>
                  <a:lnTo>
                    <a:pt x="199" y="1"/>
                  </a:lnTo>
                  <a:lnTo>
                    <a:pt x="186" y="2"/>
                  </a:lnTo>
                  <a:lnTo>
                    <a:pt x="175" y="4"/>
                  </a:lnTo>
                  <a:lnTo>
                    <a:pt x="163" y="6"/>
                  </a:lnTo>
                  <a:lnTo>
                    <a:pt x="151" y="9"/>
                  </a:lnTo>
                  <a:lnTo>
                    <a:pt x="140" y="12"/>
                  </a:lnTo>
                  <a:lnTo>
                    <a:pt x="130" y="17"/>
                  </a:lnTo>
                  <a:lnTo>
                    <a:pt x="119" y="21"/>
                  </a:lnTo>
                  <a:lnTo>
                    <a:pt x="109" y="26"/>
                  </a:lnTo>
                  <a:lnTo>
                    <a:pt x="100" y="32"/>
                  </a:lnTo>
                  <a:lnTo>
                    <a:pt x="91" y="37"/>
                  </a:lnTo>
                  <a:lnTo>
                    <a:pt x="82" y="43"/>
                  </a:lnTo>
                  <a:lnTo>
                    <a:pt x="74" y="51"/>
                  </a:lnTo>
                  <a:lnTo>
                    <a:pt x="66" y="58"/>
                  </a:lnTo>
                  <a:lnTo>
                    <a:pt x="59" y="66"/>
                  </a:lnTo>
                  <a:lnTo>
                    <a:pt x="51" y="74"/>
                  </a:lnTo>
                  <a:lnTo>
                    <a:pt x="45" y="83"/>
                  </a:lnTo>
                  <a:lnTo>
                    <a:pt x="40" y="93"/>
                  </a:lnTo>
                  <a:lnTo>
                    <a:pt x="33" y="102"/>
                  </a:lnTo>
                  <a:lnTo>
                    <a:pt x="28" y="113"/>
                  </a:lnTo>
                  <a:lnTo>
                    <a:pt x="24" y="124"/>
                  </a:lnTo>
                  <a:lnTo>
                    <a:pt x="19" y="134"/>
                  </a:lnTo>
                  <a:lnTo>
                    <a:pt x="15" y="146"/>
                  </a:lnTo>
                  <a:lnTo>
                    <a:pt x="12" y="158"/>
                  </a:lnTo>
                  <a:lnTo>
                    <a:pt x="9" y="171"/>
                  </a:lnTo>
                  <a:lnTo>
                    <a:pt x="5" y="184"/>
                  </a:lnTo>
                  <a:lnTo>
                    <a:pt x="3" y="196"/>
                  </a:lnTo>
                  <a:lnTo>
                    <a:pt x="1" y="224"/>
                  </a:lnTo>
                  <a:lnTo>
                    <a:pt x="0" y="254"/>
                  </a:lnTo>
                  <a:lnTo>
                    <a:pt x="0" y="266"/>
                  </a:lnTo>
                  <a:lnTo>
                    <a:pt x="2" y="278"/>
                  </a:lnTo>
                  <a:lnTo>
                    <a:pt x="5" y="290"/>
                  </a:lnTo>
                  <a:lnTo>
                    <a:pt x="9" y="303"/>
                  </a:lnTo>
                  <a:lnTo>
                    <a:pt x="14" y="316"/>
                  </a:lnTo>
                  <a:lnTo>
                    <a:pt x="19" y="330"/>
                  </a:lnTo>
                  <a:lnTo>
                    <a:pt x="26" y="344"/>
                  </a:lnTo>
                  <a:lnTo>
                    <a:pt x="33" y="358"/>
                  </a:lnTo>
                  <a:lnTo>
                    <a:pt x="49" y="387"/>
                  </a:lnTo>
                  <a:lnTo>
                    <a:pt x="68" y="417"/>
                  </a:lnTo>
                  <a:lnTo>
                    <a:pt x="87" y="448"/>
                  </a:lnTo>
                  <a:lnTo>
                    <a:pt x="107" y="480"/>
                  </a:lnTo>
                  <a:lnTo>
                    <a:pt x="126" y="509"/>
                  </a:lnTo>
                  <a:lnTo>
                    <a:pt x="145" y="538"/>
                  </a:lnTo>
                  <a:lnTo>
                    <a:pt x="162" y="565"/>
                  </a:lnTo>
                  <a:lnTo>
                    <a:pt x="178" y="593"/>
                  </a:lnTo>
                  <a:lnTo>
                    <a:pt x="191" y="620"/>
                  </a:lnTo>
                  <a:lnTo>
                    <a:pt x="201" y="645"/>
                  </a:lnTo>
                  <a:lnTo>
                    <a:pt x="204" y="656"/>
                  </a:lnTo>
                  <a:lnTo>
                    <a:pt x="208" y="668"/>
                  </a:lnTo>
                  <a:lnTo>
                    <a:pt x="209" y="679"/>
                  </a:lnTo>
                  <a:lnTo>
                    <a:pt x="210" y="688"/>
                  </a:lnTo>
                  <a:lnTo>
                    <a:pt x="210" y="6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76">
              <a:extLst>
                <a:ext uri="{FF2B5EF4-FFF2-40B4-BE49-F238E27FC236}">
                  <a16:creationId xmlns:a16="http://schemas.microsoft.com/office/drawing/2014/main" id="{818C6493-9970-4260-8B80-52DDEA96EA6C}"/>
                </a:ext>
              </a:extLst>
            </p:cNvPr>
            <p:cNvSpPr>
              <a:spLocks/>
            </p:cNvSpPr>
            <p:nvPr/>
          </p:nvSpPr>
          <p:spPr bwMode="auto">
            <a:xfrm>
              <a:off x="968375" y="2735263"/>
              <a:ext cx="123825" cy="47625"/>
            </a:xfrm>
            <a:custGeom>
              <a:avLst/>
              <a:gdLst>
                <a:gd name="T0" fmla="*/ 387 w 390"/>
                <a:gd name="T1" fmla="*/ 8 h 150"/>
                <a:gd name="T2" fmla="*/ 383 w 390"/>
                <a:gd name="T3" fmla="*/ 3 h 150"/>
                <a:gd name="T4" fmla="*/ 379 w 390"/>
                <a:gd name="T5" fmla="*/ 0 h 150"/>
                <a:gd name="T6" fmla="*/ 372 w 390"/>
                <a:gd name="T7" fmla="*/ 0 h 150"/>
                <a:gd name="T8" fmla="*/ 195 w 390"/>
                <a:gd name="T9" fmla="*/ 59 h 150"/>
                <a:gd name="T10" fmla="*/ 17 w 390"/>
                <a:gd name="T11" fmla="*/ 0 h 150"/>
                <a:gd name="T12" fmla="*/ 11 w 390"/>
                <a:gd name="T13" fmla="*/ 0 h 150"/>
                <a:gd name="T14" fmla="*/ 5 w 390"/>
                <a:gd name="T15" fmla="*/ 3 h 150"/>
                <a:gd name="T16" fmla="*/ 2 w 390"/>
                <a:gd name="T17" fmla="*/ 8 h 150"/>
                <a:gd name="T18" fmla="*/ 0 w 390"/>
                <a:gd name="T19" fmla="*/ 13 h 150"/>
                <a:gd name="T20" fmla="*/ 0 w 390"/>
                <a:gd name="T21" fmla="*/ 20 h 150"/>
                <a:gd name="T22" fmla="*/ 3 w 390"/>
                <a:gd name="T23" fmla="*/ 24 h 150"/>
                <a:gd name="T24" fmla="*/ 8 w 390"/>
                <a:gd name="T25" fmla="*/ 28 h 150"/>
                <a:gd name="T26" fmla="*/ 148 w 390"/>
                <a:gd name="T27" fmla="*/ 75 h 150"/>
                <a:gd name="T28" fmla="*/ 8 w 390"/>
                <a:gd name="T29" fmla="*/ 122 h 150"/>
                <a:gd name="T30" fmla="*/ 3 w 390"/>
                <a:gd name="T31" fmla="*/ 125 h 150"/>
                <a:gd name="T32" fmla="*/ 0 w 390"/>
                <a:gd name="T33" fmla="*/ 131 h 150"/>
                <a:gd name="T34" fmla="*/ 0 w 390"/>
                <a:gd name="T35" fmla="*/ 137 h 150"/>
                <a:gd name="T36" fmla="*/ 3 w 390"/>
                <a:gd name="T37" fmla="*/ 144 h 150"/>
                <a:gd name="T38" fmla="*/ 11 w 390"/>
                <a:gd name="T39" fmla="*/ 149 h 150"/>
                <a:gd name="T40" fmla="*/ 17 w 390"/>
                <a:gd name="T41" fmla="*/ 150 h 150"/>
                <a:gd name="T42" fmla="*/ 195 w 390"/>
                <a:gd name="T43" fmla="*/ 91 h 150"/>
                <a:gd name="T44" fmla="*/ 372 w 390"/>
                <a:gd name="T45" fmla="*/ 150 h 150"/>
                <a:gd name="T46" fmla="*/ 379 w 390"/>
                <a:gd name="T47" fmla="*/ 149 h 150"/>
                <a:gd name="T48" fmla="*/ 386 w 390"/>
                <a:gd name="T49" fmla="*/ 144 h 150"/>
                <a:gd name="T50" fmla="*/ 390 w 390"/>
                <a:gd name="T51" fmla="*/ 137 h 150"/>
                <a:gd name="T52" fmla="*/ 388 w 390"/>
                <a:gd name="T53" fmla="*/ 131 h 150"/>
                <a:gd name="T54" fmla="*/ 386 w 390"/>
                <a:gd name="T55" fmla="*/ 125 h 150"/>
                <a:gd name="T56" fmla="*/ 382 w 390"/>
                <a:gd name="T57" fmla="*/ 122 h 150"/>
                <a:gd name="T58" fmla="*/ 242 w 390"/>
                <a:gd name="T59" fmla="*/ 75 h 150"/>
                <a:gd name="T60" fmla="*/ 382 w 390"/>
                <a:gd name="T61" fmla="*/ 28 h 150"/>
                <a:gd name="T62" fmla="*/ 386 w 390"/>
                <a:gd name="T63" fmla="*/ 24 h 150"/>
                <a:gd name="T64" fmla="*/ 388 w 390"/>
                <a:gd name="T65" fmla="*/ 20 h 150"/>
                <a:gd name="T66" fmla="*/ 390 w 390"/>
                <a:gd name="T67" fmla="*/ 13 h 150"/>
                <a:gd name="T68" fmla="*/ 388 w 390"/>
                <a:gd name="T69"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0" h="150">
                  <a:moveTo>
                    <a:pt x="388" y="10"/>
                  </a:moveTo>
                  <a:lnTo>
                    <a:pt x="387" y="8"/>
                  </a:lnTo>
                  <a:lnTo>
                    <a:pt x="385" y="6"/>
                  </a:lnTo>
                  <a:lnTo>
                    <a:pt x="383" y="3"/>
                  </a:lnTo>
                  <a:lnTo>
                    <a:pt x="381" y="1"/>
                  </a:lnTo>
                  <a:lnTo>
                    <a:pt x="379" y="0"/>
                  </a:lnTo>
                  <a:lnTo>
                    <a:pt x="376" y="0"/>
                  </a:lnTo>
                  <a:lnTo>
                    <a:pt x="372" y="0"/>
                  </a:lnTo>
                  <a:lnTo>
                    <a:pt x="369" y="1"/>
                  </a:lnTo>
                  <a:lnTo>
                    <a:pt x="195" y="59"/>
                  </a:lnTo>
                  <a:lnTo>
                    <a:pt x="19" y="1"/>
                  </a:lnTo>
                  <a:lnTo>
                    <a:pt x="17" y="0"/>
                  </a:lnTo>
                  <a:lnTo>
                    <a:pt x="14" y="0"/>
                  </a:lnTo>
                  <a:lnTo>
                    <a:pt x="11" y="0"/>
                  </a:lnTo>
                  <a:lnTo>
                    <a:pt x="9" y="1"/>
                  </a:lnTo>
                  <a:lnTo>
                    <a:pt x="5" y="3"/>
                  </a:lnTo>
                  <a:lnTo>
                    <a:pt x="3" y="6"/>
                  </a:lnTo>
                  <a:lnTo>
                    <a:pt x="2" y="8"/>
                  </a:lnTo>
                  <a:lnTo>
                    <a:pt x="1" y="11"/>
                  </a:lnTo>
                  <a:lnTo>
                    <a:pt x="0" y="13"/>
                  </a:lnTo>
                  <a:lnTo>
                    <a:pt x="0" y="16"/>
                  </a:lnTo>
                  <a:lnTo>
                    <a:pt x="0" y="20"/>
                  </a:lnTo>
                  <a:lnTo>
                    <a:pt x="1" y="22"/>
                  </a:lnTo>
                  <a:lnTo>
                    <a:pt x="3" y="24"/>
                  </a:lnTo>
                  <a:lnTo>
                    <a:pt x="5" y="26"/>
                  </a:lnTo>
                  <a:lnTo>
                    <a:pt x="8" y="28"/>
                  </a:lnTo>
                  <a:lnTo>
                    <a:pt x="10" y="29"/>
                  </a:lnTo>
                  <a:lnTo>
                    <a:pt x="148" y="75"/>
                  </a:lnTo>
                  <a:lnTo>
                    <a:pt x="10" y="121"/>
                  </a:lnTo>
                  <a:lnTo>
                    <a:pt x="8" y="122"/>
                  </a:lnTo>
                  <a:lnTo>
                    <a:pt x="5" y="123"/>
                  </a:lnTo>
                  <a:lnTo>
                    <a:pt x="3" y="125"/>
                  </a:lnTo>
                  <a:lnTo>
                    <a:pt x="1" y="129"/>
                  </a:lnTo>
                  <a:lnTo>
                    <a:pt x="0" y="131"/>
                  </a:lnTo>
                  <a:lnTo>
                    <a:pt x="0" y="134"/>
                  </a:lnTo>
                  <a:lnTo>
                    <a:pt x="0" y="137"/>
                  </a:lnTo>
                  <a:lnTo>
                    <a:pt x="1" y="139"/>
                  </a:lnTo>
                  <a:lnTo>
                    <a:pt x="3" y="144"/>
                  </a:lnTo>
                  <a:lnTo>
                    <a:pt x="6" y="147"/>
                  </a:lnTo>
                  <a:lnTo>
                    <a:pt x="11" y="149"/>
                  </a:lnTo>
                  <a:lnTo>
                    <a:pt x="15" y="150"/>
                  </a:lnTo>
                  <a:lnTo>
                    <a:pt x="17" y="150"/>
                  </a:lnTo>
                  <a:lnTo>
                    <a:pt x="19" y="149"/>
                  </a:lnTo>
                  <a:lnTo>
                    <a:pt x="195" y="91"/>
                  </a:lnTo>
                  <a:lnTo>
                    <a:pt x="369" y="149"/>
                  </a:lnTo>
                  <a:lnTo>
                    <a:pt x="372" y="150"/>
                  </a:lnTo>
                  <a:lnTo>
                    <a:pt x="375" y="150"/>
                  </a:lnTo>
                  <a:lnTo>
                    <a:pt x="379" y="149"/>
                  </a:lnTo>
                  <a:lnTo>
                    <a:pt x="383" y="147"/>
                  </a:lnTo>
                  <a:lnTo>
                    <a:pt x="386" y="144"/>
                  </a:lnTo>
                  <a:lnTo>
                    <a:pt x="388" y="139"/>
                  </a:lnTo>
                  <a:lnTo>
                    <a:pt x="390" y="137"/>
                  </a:lnTo>
                  <a:lnTo>
                    <a:pt x="390" y="134"/>
                  </a:lnTo>
                  <a:lnTo>
                    <a:pt x="388" y="131"/>
                  </a:lnTo>
                  <a:lnTo>
                    <a:pt x="387" y="129"/>
                  </a:lnTo>
                  <a:lnTo>
                    <a:pt x="386" y="125"/>
                  </a:lnTo>
                  <a:lnTo>
                    <a:pt x="384" y="123"/>
                  </a:lnTo>
                  <a:lnTo>
                    <a:pt x="382" y="122"/>
                  </a:lnTo>
                  <a:lnTo>
                    <a:pt x="379" y="121"/>
                  </a:lnTo>
                  <a:lnTo>
                    <a:pt x="242" y="75"/>
                  </a:lnTo>
                  <a:lnTo>
                    <a:pt x="379" y="29"/>
                  </a:lnTo>
                  <a:lnTo>
                    <a:pt x="382" y="28"/>
                  </a:lnTo>
                  <a:lnTo>
                    <a:pt x="384" y="26"/>
                  </a:lnTo>
                  <a:lnTo>
                    <a:pt x="386" y="24"/>
                  </a:lnTo>
                  <a:lnTo>
                    <a:pt x="387" y="22"/>
                  </a:lnTo>
                  <a:lnTo>
                    <a:pt x="388" y="20"/>
                  </a:lnTo>
                  <a:lnTo>
                    <a:pt x="390" y="16"/>
                  </a:lnTo>
                  <a:lnTo>
                    <a:pt x="390" y="13"/>
                  </a:lnTo>
                  <a:lnTo>
                    <a:pt x="388" y="11"/>
                  </a:lnTo>
                  <a:lnTo>
                    <a:pt x="38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77">
              <a:extLst>
                <a:ext uri="{FF2B5EF4-FFF2-40B4-BE49-F238E27FC236}">
                  <a16:creationId xmlns:a16="http://schemas.microsoft.com/office/drawing/2014/main" id="{C1DD5064-62C0-4A10-982C-C2011848514E}"/>
                </a:ext>
              </a:extLst>
            </p:cNvPr>
            <p:cNvSpPr>
              <a:spLocks noEditPoints="1"/>
            </p:cNvSpPr>
            <p:nvPr/>
          </p:nvSpPr>
          <p:spPr bwMode="auto">
            <a:xfrm>
              <a:off x="996950" y="2535238"/>
              <a:ext cx="66675" cy="66675"/>
            </a:xfrm>
            <a:custGeom>
              <a:avLst/>
              <a:gdLst>
                <a:gd name="T0" fmla="*/ 120 w 210"/>
                <a:gd name="T1" fmla="*/ 31 h 210"/>
                <a:gd name="T2" fmla="*/ 140 w 210"/>
                <a:gd name="T3" fmla="*/ 39 h 210"/>
                <a:gd name="T4" fmla="*/ 157 w 210"/>
                <a:gd name="T5" fmla="*/ 52 h 210"/>
                <a:gd name="T6" fmla="*/ 170 w 210"/>
                <a:gd name="T7" fmla="*/ 70 h 210"/>
                <a:gd name="T8" fmla="*/ 179 w 210"/>
                <a:gd name="T9" fmla="*/ 90 h 210"/>
                <a:gd name="T10" fmla="*/ 180 w 210"/>
                <a:gd name="T11" fmla="*/ 113 h 210"/>
                <a:gd name="T12" fmla="*/ 173 w 210"/>
                <a:gd name="T13" fmla="*/ 134 h 210"/>
                <a:gd name="T14" fmla="*/ 163 w 210"/>
                <a:gd name="T15" fmla="*/ 152 h 210"/>
                <a:gd name="T16" fmla="*/ 147 w 210"/>
                <a:gd name="T17" fmla="*/ 167 h 210"/>
                <a:gd name="T18" fmla="*/ 127 w 210"/>
                <a:gd name="T19" fmla="*/ 177 h 210"/>
                <a:gd name="T20" fmla="*/ 105 w 210"/>
                <a:gd name="T21" fmla="*/ 180 h 210"/>
                <a:gd name="T22" fmla="*/ 82 w 210"/>
                <a:gd name="T23" fmla="*/ 177 h 210"/>
                <a:gd name="T24" fmla="*/ 63 w 210"/>
                <a:gd name="T25" fmla="*/ 167 h 210"/>
                <a:gd name="T26" fmla="*/ 47 w 210"/>
                <a:gd name="T27" fmla="*/ 152 h 210"/>
                <a:gd name="T28" fmla="*/ 35 w 210"/>
                <a:gd name="T29" fmla="*/ 134 h 210"/>
                <a:gd name="T30" fmla="*/ 30 w 210"/>
                <a:gd name="T31" fmla="*/ 113 h 210"/>
                <a:gd name="T32" fmla="*/ 31 w 210"/>
                <a:gd name="T33" fmla="*/ 90 h 210"/>
                <a:gd name="T34" fmla="*/ 38 w 210"/>
                <a:gd name="T35" fmla="*/ 70 h 210"/>
                <a:gd name="T36" fmla="*/ 51 w 210"/>
                <a:gd name="T37" fmla="*/ 52 h 210"/>
                <a:gd name="T38" fmla="*/ 69 w 210"/>
                <a:gd name="T39" fmla="*/ 39 h 210"/>
                <a:gd name="T40" fmla="*/ 90 w 210"/>
                <a:gd name="T41" fmla="*/ 31 h 210"/>
                <a:gd name="T42" fmla="*/ 105 w 210"/>
                <a:gd name="T43" fmla="*/ 30 h 210"/>
                <a:gd name="T44" fmla="*/ 126 w 210"/>
                <a:gd name="T45" fmla="*/ 208 h 210"/>
                <a:gd name="T46" fmla="*/ 155 w 210"/>
                <a:gd name="T47" fmla="*/ 197 h 210"/>
                <a:gd name="T48" fmla="*/ 179 w 210"/>
                <a:gd name="T49" fmla="*/ 179 h 210"/>
                <a:gd name="T50" fmla="*/ 197 w 210"/>
                <a:gd name="T51" fmla="*/ 155 h 210"/>
                <a:gd name="T52" fmla="*/ 208 w 210"/>
                <a:gd name="T53" fmla="*/ 127 h 210"/>
                <a:gd name="T54" fmla="*/ 209 w 210"/>
                <a:gd name="T55" fmla="*/ 94 h 210"/>
                <a:gd name="T56" fmla="*/ 201 w 210"/>
                <a:gd name="T57" fmla="*/ 65 h 210"/>
                <a:gd name="T58" fmla="*/ 186 w 210"/>
                <a:gd name="T59" fmla="*/ 39 h 210"/>
                <a:gd name="T60" fmla="*/ 164 w 210"/>
                <a:gd name="T61" fmla="*/ 19 h 210"/>
                <a:gd name="T62" fmla="*/ 136 w 210"/>
                <a:gd name="T63" fmla="*/ 5 h 210"/>
                <a:gd name="T64" fmla="*/ 105 w 210"/>
                <a:gd name="T65" fmla="*/ 0 h 210"/>
                <a:gd name="T66" fmla="*/ 74 w 210"/>
                <a:gd name="T67" fmla="*/ 5 h 210"/>
                <a:gd name="T68" fmla="*/ 46 w 210"/>
                <a:gd name="T69" fmla="*/ 19 h 210"/>
                <a:gd name="T70" fmla="*/ 23 w 210"/>
                <a:gd name="T71" fmla="*/ 39 h 210"/>
                <a:gd name="T72" fmla="*/ 8 w 210"/>
                <a:gd name="T73" fmla="*/ 65 h 210"/>
                <a:gd name="T74" fmla="*/ 0 w 210"/>
                <a:gd name="T75" fmla="*/ 94 h 210"/>
                <a:gd name="T76" fmla="*/ 2 w 210"/>
                <a:gd name="T77" fmla="*/ 127 h 210"/>
                <a:gd name="T78" fmla="*/ 13 w 210"/>
                <a:gd name="T79" fmla="*/ 155 h 210"/>
                <a:gd name="T80" fmla="*/ 31 w 210"/>
                <a:gd name="T81" fmla="*/ 179 h 210"/>
                <a:gd name="T82" fmla="*/ 55 w 210"/>
                <a:gd name="T83" fmla="*/ 197 h 210"/>
                <a:gd name="T84" fmla="*/ 83 w 210"/>
                <a:gd name="T85"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30"/>
                  </a:moveTo>
                  <a:lnTo>
                    <a:pt x="112" y="30"/>
                  </a:lnTo>
                  <a:lnTo>
                    <a:pt x="120" y="31"/>
                  </a:lnTo>
                  <a:lnTo>
                    <a:pt x="127" y="33"/>
                  </a:lnTo>
                  <a:lnTo>
                    <a:pt x="134" y="36"/>
                  </a:lnTo>
                  <a:lnTo>
                    <a:pt x="140" y="39"/>
                  </a:lnTo>
                  <a:lnTo>
                    <a:pt x="147" y="43"/>
                  </a:lnTo>
                  <a:lnTo>
                    <a:pt x="152" y="47"/>
                  </a:lnTo>
                  <a:lnTo>
                    <a:pt x="157" y="52"/>
                  </a:lnTo>
                  <a:lnTo>
                    <a:pt x="163" y="57"/>
                  </a:lnTo>
                  <a:lnTo>
                    <a:pt x="167" y="63"/>
                  </a:lnTo>
                  <a:lnTo>
                    <a:pt x="170" y="70"/>
                  </a:lnTo>
                  <a:lnTo>
                    <a:pt x="173" y="76"/>
                  </a:lnTo>
                  <a:lnTo>
                    <a:pt x="176" y="83"/>
                  </a:lnTo>
                  <a:lnTo>
                    <a:pt x="179" y="90"/>
                  </a:lnTo>
                  <a:lnTo>
                    <a:pt x="180" y="98"/>
                  </a:lnTo>
                  <a:lnTo>
                    <a:pt x="180" y="105"/>
                  </a:lnTo>
                  <a:lnTo>
                    <a:pt x="180" y="113"/>
                  </a:lnTo>
                  <a:lnTo>
                    <a:pt x="179" y="120"/>
                  </a:lnTo>
                  <a:lnTo>
                    <a:pt x="176" y="128"/>
                  </a:lnTo>
                  <a:lnTo>
                    <a:pt x="173" y="134"/>
                  </a:lnTo>
                  <a:lnTo>
                    <a:pt x="170" y="140"/>
                  </a:lnTo>
                  <a:lnTo>
                    <a:pt x="167" y="147"/>
                  </a:lnTo>
                  <a:lnTo>
                    <a:pt x="163" y="152"/>
                  </a:lnTo>
                  <a:lnTo>
                    <a:pt x="157" y="158"/>
                  </a:lnTo>
                  <a:lnTo>
                    <a:pt x="152" y="163"/>
                  </a:lnTo>
                  <a:lnTo>
                    <a:pt x="147" y="167"/>
                  </a:lnTo>
                  <a:lnTo>
                    <a:pt x="140" y="170"/>
                  </a:lnTo>
                  <a:lnTo>
                    <a:pt x="134" y="174"/>
                  </a:lnTo>
                  <a:lnTo>
                    <a:pt x="127" y="177"/>
                  </a:lnTo>
                  <a:lnTo>
                    <a:pt x="120" y="179"/>
                  </a:lnTo>
                  <a:lnTo>
                    <a:pt x="112" y="180"/>
                  </a:lnTo>
                  <a:lnTo>
                    <a:pt x="105" y="180"/>
                  </a:lnTo>
                  <a:lnTo>
                    <a:pt x="97" y="180"/>
                  </a:lnTo>
                  <a:lnTo>
                    <a:pt x="90" y="178"/>
                  </a:lnTo>
                  <a:lnTo>
                    <a:pt x="82" y="177"/>
                  </a:lnTo>
                  <a:lnTo>
                    <a:pt x="76" y="174"/>
                  </a:lnTo>
                  <a:lnTo>
                    <a:pt x="69" y="170"/>
                  </a:lnTo>
                  <a:lnTo>
                    <a:pt x="63" y="167"/>
                  </a:lnTo>
                  <a:lnTo>
                    <a:pt x="57" y="163"/>
                  </a:lnTo>
                  <a:lnTo>
                    <a:pt x="51" y="158"/>
                  </a:lnTo>
                  <a:lnTo>
                    <a:pt x="47" y="152"/>
                  </a:lnTo>
                  <a:lnTo>
                    <a:pt x="43" y="147"/>
                  </a:lnTo>
                  <a:lnTo>
                    <a:pt x="38" y="140"/>
                  </a:lnTo>
                  <a:lnTo>
                    <a:pt x="35" y="134"/>
                  </a:lnTo>
                  <a:lnTo>
                    <a:pt x="33" y="128"/>
                  </a:lnTo>
                  <a:lnTo>
                    <a:pt x="31" y="120"/>
                  </a:lnTo>
                  <a:lnTo>
                    <a:pt x="30" y="113"/>
                  </a:lnTo>
                  <a:lnTo>
                    <a:pt x="30" y="105"/>
                  </a:lnTo>
                  <a:lnTo>
                    <a:pt x="30" y="98"/>
                  </a:lnTo>
                  <a:lnTo>
                    <a:pt x="31" y="90"/>
                  </a:lnTo>
                  <a:lnTo>
                    <a:pt x="33" y="83"/>
                  </a:lnTo>
                  <a:lnTo>
                    <a:pt x="35" y="76"/>
                  </a:lnTo>
                  <a:lnTo>
                    <a:pt x="38" y="70"/>
                  </a:lnTo>
                  <a:lnTo>
                    <a:pt x="43" y="63"/>
                  </a:lnTo>
                  <a:lnTo>
                    <a:pt x="47" y="57"/>
                  </a:lnTo>
                  <a:lnTo>
                    <a:pt x="51" y="52"/>
                  </a:lnTo>
                  <a:lnTo>
                    <a:pt x="57" y="47"/>
                  </a:lnTo>
                  <a:lnTo>
                    <a:pt x="63" y="43"/>
                  </a:lnTo>
                  <a:lnTo>
                    <a:pt x="69" y="39"/>
                  </a:lnTo>
                  <a:lnTo>
                    <a:pt x="76" y="36"/>
                  </a:lnTo>
                  <a:lnTo>
                    <a:pt x="82" y="33"/>
                  </a:lnTo>
                  <a:lnTo>
                    <a:pt x="90" y="31"/>
                  </a:lnTo>
                  <a:lnTo>
                    <a:pt x="97" y="30"/>
                  </a:lnTo>
                  <a:lnTo>
                    <a:pt x="105" y="30"/>
                  </a:lnTo>
                  <a:lnTo>
                    <a:pt x="105" y="30"/>
                  </a:lnTo>
                  <a:close/>
                  <a:moveTo>
                    <a:pt x="105" y="210"/>
                  </a:moveTo>
                  <a:lnTo>
                    <a:pt x="115" y="209"/>
                  </a:lnTo>
                  <a:lnTo>
                    <a:pt x="126" y="208"/>
                  </a:lnTo>
                  <a:lnTo>
                    <a:pt x="136" y="206"/>
                  </a:lnTo>
                  <a:lnTo>
                    <a:pt x="145" y="201"/>
                  </a:lnTo>
                  <a:lnTo>
                    <a:pt x="155" y="197"/>
                  </a:lnTo>
                  <a:lnTo>
                    <a:pt x="164" y="192"/>
                  </a:lnTo>
                  <a:lnTo>
                    <a:pt x="171" y="186"/>
                  </a:lnTo>
                  <a:lnTo>
                    <a:pt x="179" y="179"/>
                  </a:lnTo>
                  <a:lnTo>
                    <a:pt x="186" y="171"/>
                  </a:lnTo>
                  <a:lnTo>
                    <a:pt x="191" y="164"/>
                  </a:lnTo>
                  <a:lnTo>
                    <a:pt x="197" y="155"/>
                  </a:lnTo>
                  <a:lnTo>
                    <a:pt x="201" y="146"/>
                  </a:lnTo>
                  <a:lnTo>
                    <a:pt x="205" y="136"/>
                  </a:lnTo>
                  <a:lnTo>
                    <a:pt x="208" y="127"/>
                  </a:lnTo>
                  <a:lnTo>
                    <a:pt x="209" y="116"/>
                  </a:lnTo>
                  <a:lnTo>
                    <a:pt x="210" y="105"/>
                  </a:lnTo>
                  <a:lnTo>
                    <a:pt x="209" y="94"/>
                  </a:lnTo>
                  <a:lnTo>
                    <a:pt x="208" y="84"/>
                  </a:lnTo>
                  <a:lnTo>
                    <a:pt x="205" y="74"/>
                  </a:lnTo>
                  <a:lnTo>
                    <a:pt x="201" y="65"/>
                  </a:lnTo>
                  <a:lnTo>
                    <a:pt x="197" y="55"/>
                  </a:lnTo>
                  <a:lnTo>
                    <a:pt x="191" y="46"/>
                  </a:lnTo>
                  <a:lnTo>
                    <a:pt x="186" y="39"/>
                  </a:lnTo>
                  <a:lnTo>
                    <a:pt x="179" y="31"/>
                  </a:lnTo>
                  <a:lnTo>
                    <a:pt x="171" y="24"/>
                  </a:lnTo>
                  <a:lnTo>
                    <a:pt x="164" y="19"/>
                  </a:lnTo>
                  <a:lnTo>
                    <a:pt x="155" y="13"/>
                  </a:lnTo>
                  <a:lnTo>
                    <a:pt x="145" y="9"/>
                  </a:lnTo>
                  <a:lnTo>
                    <a:pt x="136" y="5"/>
                  </a:lnTo>
                  <a:lnTo>
                    <a:pt x="126" y="2"/>
                  </a:lnTo>
                  <a:lnTo>
                    <a:pt x="115" y="0"/>
                  </a:lnTo>
                  <a:lnTo>
                    <a:pt x="105" y="0"/>
                  </a:lnTo>
                  <a:lnTo>
                    <a:pt x="94" y="0"/>
                  </a:lnTo>
                  <a:lnTo>
                    <a:pt x="83" y="2"/>
                  </a:lnTo>
                  <a:lnTo>
                    <a:pt x="74" y="5"/>
                  </a:lnTo>
                  <a:lnTo>
                    <a:pt x="64" y="9"/>
                  </a:lnTo>
                  <a:lnTo>
                    <a:pt x="55" y="13"/>
                  </a:lnTo>
                  <a:lnTo>
                    <a:pt x="46" y="19"/>
                  </a:lnTo>
                  <a:lnTo>
                    <a:pt x="38" y="24"/>
                  </a:lnTo>
                  <a:lnTo>
                    <a:pt x="31" y="31"/>
                  </a:lnTo>
                  <a:lnTo>
                    <a:pt x="23" y="39"/>
                  </a:lnTo>
                  <a:lnTo>
                    <a:pt x="18" y="46"/>
                  </a:lnTo>
                  <a:lnTo>
                    <a:pt x="13" y="55"/>
                  </a:lnTo>
                  <a:lnTo>
                    <a:pt x="8" y="65"/>
                  </a:lnTo>
                  <a:lnTo>
                    <a:pt x="4" y="74"/>
                  </a:lnTo>
                  <a:lnTo>
                    <a:pt x="2" y="84"/>
                  </a:lnTo>
                  <a:lnTo>
                    <a:pt x="0" y="94"/>
                  </a:lnTo>
                  <a:lnTo>
                    <a:pt x="0" y="105"/>
                  </a:lnTo>
                  <a:lnTo>
                    <a:pt x="0" y="116"/>
                  </a:lnTo>
                  <a:lnTo>
                    <a:pt x="2" y="127"/>
                  </a:lnTo>
                  <a:lnTo>
                    <a:pt x="4" y="136"/>
                  </a:lnTo>
                  <a:lnTo>
                    <a:pt x="8" y="146"/>
                  </a:lnTo>
                  <a:lnTo>
                    <a:pt x="13" y="155"/>
                  </a:lnTo>
                  <a:lnTo>
                    <a:pt x="18" y="164"/>
                  </a:lnTo>
                  <a:lnTo>
                    <a:pt x="23" y="171"/>
                  </a:lnTo>
                  <a:lnTo>
                    <a:pt x="31" y="179"/>
                  </a:lnTo>
                  <a:lnTo>
                    <a:pt x="38" y="186"/>
                  </a:lnTo>
                  <a:lnTo>
                    <a:pt x="46" y="192"/>
                  </a:lnTo>
                  <a:lnTo>
                    <a:pt x="55" y="197"/>
                  </a:lnTo>
                  <a:lnTo>
                    <a:pt x="64" y="201"/>
                  </a:lnTo>
                  <a:lnTo>
                    <a:pt x="74" y="206"/>
                  </a:lnTo>
                  <a:lnTo>
                    <a:pt x="83" y="208"/>
                  </a:lnTo>
                  <a:lnTo>
                    <a:pt x="94" y="209"/>
                  </a:lnTo>
                  <a:lnTo>
                    <a:pt x="10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2" name="Group 27">
            <a:extLst>
              <a:ext uri="{FF2B5EF4-FFF2-40B4-BE49-F238E27FC236}">
                <a16:creationId xmlns:a16="http://schemas.microsoft.com/office/drawing/2014/main" id="{CA9FA35F-3CD6-4A23-BC9D-D588B35CBA2F}"/>
              </a:ext>
            </a:extLst>
          </p:cNvPr>
          <p:cNvGrpSpPr>
            <a:grpSpLocks noChangeAspect="1"/>
          </p:cNvGrpSpPr>
          <p:nvPr/>
        </p:nvGrpSpPr>
        <p:grpSpPr>
          <a:xfrm>
            <a:off x="3688633" y="2186361"/>
            <a:ext cx="229863" cy="306484"/>
            <a:chOff x="1484315" y="4841081"/>
            <a:chExt cx="428625" cy="571500"/>
          </a:xfrm>
          <a:solidFill>
            <a:schemeClr val="bg2"/>
          </a:solidFill>
          <a:effectLst/>
        </p:grpSpPr>
        <p:sp>
          <p:nvSpPr>
            <p:cNvPr id="643" name="Freeform 109">
              <a:extLst>
                <a:ext uri="{FF2B5EF4-FFF2-40B4-BE49-F238E27FC236}">
                  <a16:creationId xmlns:a16="http://schemas.microsoft.com/office/drawing/2014/main" id="{FA359796-FC4B-4B22-94BD-D107D6BC28ED}"/>
                </a:ext>
              </a:extLst>
            </p:cNvPr>
            <p:cNvSpPr>
              <a:spLocks noEditPoints="1"/>
            </p:cNvSpPr>
            <p:nvPr/>
          </p:nvSpPr>
          <p:spPr bwMode="auto">
            <a:xfrm>
              <a:off x="1595440" y="4944271"/>
              <a:ext cx="214315" cy="214315"/>
            </a:xfrm>
            <a:custGeom>
              <a:avLst/>
              <a:gdLst>
                <a:gd name="T0" fmla="*/ 40 w 81"/>
                <a:gd name="T1" fmla="*/ 82 h 82"/>
                <a:gd name="T2" fmla="*/ 56 w 81"/>
                <a:gd name="T3" fmla="*/ 79 h 82"/>
                <a:gd name="T4" fmla="*/ 69 w 81"/>
                <a:gd name="T5" fmla="*/ 69 h 82"/>
                <a:gd name="T6" fmla="*/ 78 w 81"/>
                <a:gd name="T7" fmla="*/ 57 h 82"/>
                <a:gd name="T8" fmla="*/ 81 w 81"/>
                <a:gd name="T9" fmla="*/ 41 h 82"/>
                <a:gd name="T10" fmla="*/ 80 w 81"/>
                <a:gd name="T11" fmla="*/ 32 h 82"/>
                <a:gd name="T12" fmla="*/ 73 w 81"/>
                <a:gd name="T13" fmla="*/ 18 h 82"/>
                <a:gd name="T14" fmla="*/ 63 w 81"/>
                <a:gd name="T15" fmla="*/ 7 h 82"/>
                <a:gd name="T16" fmla="*/ 48 w 81"/>
                <a:gd name="T17" fmla="*/ 1 h 82"/>
                <a:gd name="T18" fmla="*/ 40 w 81"/>
                <a:gd name="T19" fmla="*/ 0 h 82"/>
                <a:gd name="T20" fmla="*/ 24 w 81"/>
                <a:gd name="T21" fmla="*/ 4 h 82"/>
                <a:gd name="T22" fmla="*/ 11 w 81"/>
                <a:gd name="T23" fmla="*/ 12 h 82"/>
                <a:gd name="T24" fmla="*/ 3 w 81"/>
                <a:gd name="T25" fmla="*/ 25 h 82"/>
                <a:gd name="T26" fmla="*/ 0 w 81"/>
                <a:gd name="T27" fmla="*/ 41 h 82"/>
                <a:gd name="T28" fmla="*/ 1 w 81"/>
                <a:gd name="T29" fmla="*/ 49 h 82"/>
                <a:gd name="T30" fmla="*/ 7 w 81"/>
                <a:gd name="T31" fmla="*/ 63 h 82"/>
                <a:gd name="T32" fmla="*/ 17 w 81"/>
                <a:gd name="T33" fmla="*/ 74 h 82"/>
                <a:gd name="T34" fmla="*/ 31 w 81"/>
                <a:gd name="T35" fmla="*/ 81 h 82"/>
                <a:gd name="T36" fmla="*/ 40 w 81"/>
                <a:gd name="T37" fmla="*/ 82 h 82"/>
                <a:gd name="T38" fmla="*/ 40 w 81"/>
                <a:gd name="T39" fmla="*/ 7 h 82"/>
                <a:gd name="T40" fmla="*/ 53 w 81"/>
                <a:gd name="T41" fmla="*/ 10 h 82"/>
                <a:gd name="T42" fmla="*/ 64 w 81"/>
                <a:gd name="T43" fmla="*/ 17 h 82"/>
                <a:gd name="T44" fmla="*/ 71 w 81"/>
                <a:gd name="T45" fmla="*/ 27 h 82"/>
                <a:gd name="T46" fmla="*/ 74 w 81"/>
                <a:gd name="T47" fmla="*/ 41 h 82"/>
                <a:gd name="T48" fmla="*/ 73 w 81"/>
                <a:gd name="T49" fmla="*/ 48 h 82"/>
                <a:gd name="T50" fmla="*/ 68 w 81"/>
                <a:gd name="T51" fmla="*/ 60 h 82"/>
                <a:gd name="T52" fmla="*/ 59 w 81"/>
                <a:gd name="T53" fmla="*/ 69 h 82"/>
                <a:gd name="T54" fmla="*/ 47 w 81"/>
                <a:gd name="T55" fmla="*/ 74 h 82"/>
                <a:gd name="T56" fmla="*/ 40 w 81"/>
                <a:gd name="T57" fmla="*/ 74 h 82"/>
                <a:gd name="T58" fmla="*/ 27 w 81"/>
                <a:gd name="T59" fmla="*/ 72 h 82"/>
                <a:gd name="T60" fmla="*/ 16 w 81"/>
                <a:gd name="T61" fmla="*/ 65 h 82"/>
                <a:gd name="T62" fmla="*/ 9 w 81"/>
                <a:gd name="T63" fmla="*/ 54 h 82"/>
                <a:gd name="T64" fmla="*/ 6 w 81"/>
                <a:gd name="T65" fmla="*/ 41 h 82"/>
                <a:gd name="T66" fmla="*/ 7 w 81"/>
                <a:gd name="T67" fmla="*/ 34 h 82"/>
                <a:gd name="T68" fmla="*/ 12 w 81"/>
                <a:gd name="T69" fmla="*/ 22 h 82"/>
                <a:gd name="T70" fmla="*/ 21 w 81"/>
                <a:gd name="T71" fmla="*/ 13 h 82"/>
                <a:gd name="T72" fmla="*/ 33 w 81"/>
                <a:gd name="T73" fmla="*/ 8 h 82"/>
                <a:gd name="T74" fmla="*/ 40 w 81"/>
                <a:gd name="T7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2">
                  <a:moveTo>
                    <a:pt x="40" y="82"/>
                  </a:moveTo>
                  <a:lnTo>
                    <a:pt x="40" y="82"/>
                  </a:lnTo>
                  <a:lnTo>
                    <a:pt x="48" y="81"/>
                  </a:lnTo>
                  <a:lnTo>
                    <a:pt x="56" y="79"/>
                  </a:lnTo>
                  <a:lnTo>
                    <a:pt x="63" y="74"/>
                  </a:lnTo>
                  <a:lnTo>
                    <a:pt x="69" y="69"/>
                  </a:lnTo>
                  <a:lnTo>
                    <a:pt x="73" y="63"/>
                  </a:lnTo>
                  <a:lnTo>
                    <a:pt x="78" y="57"/>
                  </a:lnTo>
                  <a:lnTo>
                    <a:pt x="80" y="49"/>
                  </a:lnTo>
                  <a:lnTo>
                    <a:pt x="81" y="41"/>
                  </a:lnTo>
                  <a:lnTo>
                    <a:pt x="81" y="41"/>
                  </a:lnTo>
                  <a:lnTo>
                    <a:pt x="80" y="32"/>
                  </a:lnTo>
                  <a:lnTo>
                    <a:pt x="78" y="25"/>
                  </a:lnTo>
                  <a:lnTo>
                    <a:pt x="73" y="18"/>
                  </a:lnTo>
                  <a:lnTo>
                    <a:pt x="69" y="12"/>
                  </a:lnTo>
                  <a:lnTo>
                    <a:pt x="63" y="7"/>
                  </a:lnTo>
                  <a:lnTo>
                    <a:pt x="56" y="4"/>
                  </a:lnTo>
                  <a:lnTo>
                    <a:pt x="48" y="1"/>
                  </a:lnTo>
                  <a:lnTo>
                    <a:pt x="40" y="0"/>
                  </a:lnTo>
                  <a:lnTo>
                    <a:pt x="40" y="0"/>
                  </a:lnTo>
                  <a:lnTo>
                    <a:pt x="31" y="1"/>
                  </a:lnTo>
                  <a:lnTo>
                    <a:pt x="24" y="4"/>
                  </a:lnTo>
                  <a:lnTo>
                    <a:pt x="17" y="7"/>
                  </a:lnTo>
                  <a:lnTo>
                    <a:pt x="11" y="12"/>
                  </a:lnTo>
                  <a:lnTo>
                    <a:pt x="7" y="18"/>
                  </a:lnTo>
                  <a:lnTo>
                    <a:pt x="3" y="25"/>
                  </a:lnTo>
                  <a:lnTo>
                    <a:pt x="1" y="32"/>
                  </a:lnTo>
                  <a:lnTo>
                    <a:pt x="0" y="41"/>
                  </a:lnTo>
                  <a:lnTo>
                    <a:pt x="0" y="41"/>
                  </a:lnTo>
                  <a:lnTo>
                    <a:pt x="1" y="49"/>
                  </a:lnTo>
                  <a:lnTo>
                    <a:pt x="3" y="57"/>
                  </a:lnTo>
                  <a:lnTo>
                    <a:pt x="7" y="63"/>
                  </a:lnTo>
                  <a:lnTo>
                    <a:pt x="11" y="69"/>
                  </a:lnTo>
                  <a:lnTo>
                    <a:pt x="17" y="74"/>
                  </a:lnTo>
                  <a:lnTo>
                    <a:pt x="24" y="79"/>
                  </a:lnTo>
                  <a:lnTo>
                    <a:pt x="31" y="81"/>
                  </a:lnTo>
                  <a:lnTo>
                    <a:pt x="40" y="82"/>
                  </a:lnTo>
                  <a:lnTo>
                    <a:pt x="40" y="82"/>
                  </a:lnTo>
                  <a:close/>
                  <a:moveTo>
                    <a:pt x="40" y="7"/>
                  </a:moveTo>
                  <a:lnTo>
                    <a:pt x="40" y="7"/>
                  </a:lnTo>
                  <a:lnTo>
                    <a:pt x="47" y="8"/>
                  </a:lnTo>
                  <a:lnTo>
                    <a:pt x="53" y="10"/>
                  </a:lnTo>
                  <a:lnTo>
                    <a:pt x="59" y="13"/>
                  </a:lnTo>
                  <a:lnTo>
                    <a:pt x="64" y="17"/>
                  </a:lnTo>
                  <a:lnTo>
                    <a:pt x="68" y="22"/>
                  </a:lnTo>
                  <a:lnTo>
                    <a:pt x="71" y="27"/>
                  </a:lnTo>
                  <a:lnTo>
                    <a:pt x="73" y="34"/>
                  </a:lnTo>
                  <a:lnTo>
                    <a:pt x="74" y="41"/>
                  </a:lnTo>
                  <a:lnTo>
                    <a:pt x="74" y="41"/>
                  </a:lnTo>
                  <a:lnTo>
                    <a:pt x="73" y="48"/>
                  </a:lnTo>
                  <a:lnTo>
                    <a:pt x="71" y="54"/>
                  </a:lnTo>
                  <a:lnTo>
                    <a:pt x="68" y="60"/>
                  </a:lnTo>
                  <a:lnTo>
                    <a:pt x="64" y="65"/>
                  </a:lnTo>
                  <a:lnTo>
                    <a:pt x="59" y="69"/>
                  </a:lnTo>
                  <a:lnTo>
                    <a:pt x="53" y="72"/>
                  </a:lnTo>
                  <a:lnTo>
                    <a:pt x="47" y="74"/>
                  </a:lnTo>
                  <a:lnTo>
                    <a:pt x="40" y="74"/>
                  </a:lnTo>
                  <a:lnTo>
                    <a:pt x="40" y="74"/>
                  </a:lnTo>
                  <a:lnTo>
                    <a:pt x="33" y="74"/>
                  </a:lnTo>
                  <a:lnTo>
                    <a:pt x="27" y="72"/>
                  </a:lnTo>
                  <a:lnTo>
                    <a:pt x="21" y="69"/>
                  </a:lnTo>
                  <a:lnTo>
                    <a:pt x="16" y="65"/>
                  </a:lnTo>
                  <a:lnTo>
                    <a:pt x="12" y="60"/>
                  </a:lnTo>
                  <a:lnTo>
                    <a:pt x="9" y="54"/>
                  </a:lnTo>
                  <a:lnTo>
                    <a:pt x="7" y="48"/>
                  </a:lnTo>
                  <a:lnTo>
                    <a:pt x="6" y="41"/>
                  </a:lnTo>
                  <a:lnTo>
                    <a:pt x="6" y="41"/>
                  </a:lnTo>
                  <a:lnTo>
                    <a:pt x="7" y="34"/>
                  </a:lnTo>
                  <a:lnTo>
                    <a:pt x="9" y="27"/>
                  </a:lnTo>
                  <a:lnTo>
                    <a:pt x="12" y="22"/>
                  </a:lnTo>
                  <a:lnTo>
                    <a:pt x="16" y="17"/>
                  </a:lnTo>
                  <a:lnTo>
                    <a:pt x="21" y="13"/>
                  </a:lnTo>
                  <a:lnTo>
                    <a:pt x="27" y="10"/>
                  </a:lnTo>
                  <a:lnTo>
                    <a:pt x="33" y="8"/>
                  </a:lnTo>
                  <a:lnTo>
                    <a:pt x="40" y="7"/>
                  </a:lnTo>
                  <a:lnTo>
                    <a:pt x="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44" name="Freeform 110">
              <a:extLst>
                <a:ext uri="{FF2B5EF4-FFF2-40B4-BE49-F238E27FC236}">
                  <a16:creationId xmlns:a16="http://schemas.microsoft.com/office/drawing/2014/main" id="{3303026D-D055-4B4D-923E-DBF0EA0C49FF}"/>
                </a:ext>
              </a:extLst>
            </p:cNvPr>
            <p:cNvSpPr>
              <a:spLocks noEditPoints="1"/>
            </p:cNvSpPr>
            <p:nvPr/>
          </p:nvSpPr>
          <p:spPr bwMode="auto">
            <a:xfrm>
              <a:off x="1484315" y="4841081"/>
              <a:ext cx="428625" cy="571500"/>
            </a:xfrm>
            <a:custGeom>
              <a:avLst/>
              <a:gdLst>
                <a:gd name="T0" fmla="*/ 81 w 163"/>
                <a:gd name="T1" fmla="*/ 0 h 217"/>
                <a:gd name="T2" fmla="*/ 64 w 163"/>
                <a:gd name="T3" fmla="*/ 2 h 217"/>
                <a:gd name="T4" fmla="*/ 50 w 163"/>
                <a:gd name="T5" fmla="*/ 7 h 217"/>
                <a:gd name="T6" fmla="*/ 35 w 163"/>
                <a:gd name="T7" fmla="*/ 14 h 217"/>
                <a:gd name="T8" fmla="*/ 23 w 163"/>
                <a:gd name="T9" fmla="*/ 24 h 217"/>
                <a:gd name="T10" fmla="*/ 14 w 163"/>
                <a:gd name="T11" fmla="*/ 35 h 217"/>
                <a:gd name="T12" fmla="*/ 6 w 163"/>
                <a:gd name="T13" fmla="*/ 50 h 217"/>
                <a:gd name="T14" fmla="*/ 2 w 163"/>
                <a:gd name="T15" fmla="*/ 65 h 217"/>
                <a:gd name="T16" fmla="*/ 0 w 163"/>
                <a:gd name="T17" fmla="*/ 82 h 217"/>
                <a:gd name="T18" fmla="*/ 1 w 163"/>
                <a:gd name="T19" fmla="*/ 91 h 217"/>
                <a:gd name="T20" fmla="*/ 4 w 163"/>
                <a:gd name="T21" fmla="*/ 108 h 217"/>
                <a:gd name="T22" fmla="*/ 14 w 163"/>
                <a:gd name="T23" fmla="*/ 135 h 217"/>
                <a:gd name="T24" fmla="*/ 34 w 163"/>
                <a:gd name="T25" fmla="*/ 168 h 217"/>
                <a:gd name="T26" fmla="*/ 70 w 163"/>
                <a:gd name="T27" fmla="*/ 212 h 217"/>
                <a:gd name="T28" fmla="*/ 73 w 163"/>
                <a:gd name="T29" fmla="*/ 215 h 217"/>
                <a:gd name="T30" fmla="*/ 81 w 163"/>
                <a:gd name="T31" fmla="*/ 217 h 217"/>
                <a:gd name="T32" fmla="*/ 82 w 163"/>
                <a:gd name="T33" fmla="*/ 217 h 217"/>
                <a:gd name="T34" fmla="*/ 86 w 163"/>
                <a:gd name="T35" fmla="*/ 216 h 217"/>
                <a:gd name="T36" fmla="*/ 92 w 163"/>
                <a:gd name="T37" fmla="*/ 212 h 217"/>
                <a:gd name="T38" fmla="*/ 115 w 163"/>
                <a:gd name="T39" fmla="*/ 183 h 217"/>
                <a:gd name="T40" fmla="*/ 138 w 163"/>
                <a:gd name="T41" fmla="*/ 151 h 217"/>
                <a:gd name="T42" fmla="*/ 155 w 163"/>
                <a:gd name="T43" fmla="*/ 118 h 217"/>
                <a:gd name="T44" fmla="*/ 161 w 163"/>
                <a:gd name="T45" fmla="*/ 99 h 217"/>
                <a:gd name="T46" fmla="*/ 163 w 163"/>
                <a:gd name="T47" fmla="*/ 82 h 217"/>
                <a:gd name="T48" fmla="*/ 162 w 163"/>
                <a:gd name="T49" fmla="*/ 73 h 217"/>
                <a:gd name="T50" fmla="*/ 159 w 163"/>
                <a:gd name="T51" fmla="*/ 57 h 217"/>
                <a:gd name="T52" fmla="*/ 152 w 163"/>
                <a:gd name="T53" fmla="*/ 43 h 217"/>
                <a:gd name="T54" fmla="*/ 144 w 163"/>
                <a:gd name="T55" fmla="*/ 29 h 217"/>
                <a:gd name="T56" fmla="*/ 133 w 163"/>
                <a:gd name="T57" fmla="*/ 18 h 217"/>
                <a:gd name="T58" fmla="*/ 120 w 163"/>
                <a:gd name="T59" fmla="*/ 10 h 217"/>
                <a:gd name="T60" fmla="*/ 105 w 163"/>
                <a:gd name="T61" fmla="*/ 4 h 217"/>
                <a:gd name="T62" fmla="*/ 90 w 163"/>
                <a:gd name="T63" fmla="*/ 1 h 217"/>
                <a:gd name="T64" fmla="*/ 81 w 163"/>
                <a:gd name="T65" fmla="*/ 0 h 217"/>
                <a:gd name="T66" fmla="*/ 82 w 163"/>
                <a:gd name="T67" fmla="*/ 203 h 217"/>
                <a:gd name="T68" fmla="*/ 81 w 163"/>
                <a:gd name="T69" fmla="*/ 204 h 217"/>
                <a:gd name="T70" fmla="*/ 80 w 163"/>
                <a:gd name="T71" fmla="*/ 203 h 217"/>
                <a:gd name="T72" fmla="*/ 48 w 163"/>
                <a:gd name="T73" fmla="*/ 164 h 217"/>
                <a:gd name="T74" fmla="*/ 28 w 163"/>
                <a:gd name="T75" fmla="*/ 132 h 217"/>
                <a:gd name="T76" fmla="*/ 17 w 163"/>
                <a:gd name="T77" fmla="*/ 106 h 217"/>
                <a:gd name="T78" fmla="*/ 14 w 163"/>
                <a:gd name="T79" fmla="*/ 90 h 217"/>
                <a:gd name="T80" fmla="*/ 13 w 163"/>
                <a:gd name="T81" fmla="*/ 82 h 217"/>
                <a:gd name="T82" fmla="*/ 15 w 163"/>
                <a:gd name="T83" fmla="*/ 68 h 217"/>
                <a:gd name="T84" fmla="*/ 18 w 163"/>
                <a:gd name="T85" fmla="*/ 55 h 217"/>
                <a:gd name="T86" fmla="*/ 25 w 163"/>
                <a:gd name="T87" fmla="*/ 44 h 217"/>
                <a:gd name="T88" fmla="*/ 33 w 163"/>
                <a:gd name="T89" fmla="*/ 33 h 217"/>
                <a:gd name="T90" fmla="*/ 43 w 163"/>
                <a:gd name="T91" fmla="*/ 25 h 217"/>
                <a:gd name="T92" fmla="*/ 55 w 163"/>
                <a:gd name="T93" fmla="*/ 19 h 217"/>
                <a:gd name="T94" fmla="*/ 67 w 163"/>
                <a:gd name="T95" fmla="*/ 15 h 217"/>
                <a:gd name="T96" fmla="*/ 81 w 163"/>
                <a:gd name="T97" fmla="*/ 14 h 217"/>
                <a:gd name="T98" fmla="*/ 88 w 163"/>
                <a:gd name="T99" fmla="*/ 14 h 217"/>
                <a:gd name="T100" fmla="*/ 101 w 163"/>
                <a:gd name="T101" fmla="*/ 17 h 217"/>
                <a:gd name="T102" fmla="*/ 113 w 163"/>
                <a:gd name="T103" fmla="*/ 22 h 217"/>
                <a:gd name="T104" fmla="*/ 125 w 163"/>
                <a:gd name="T105" fmla="*/ 29 h 217"/>
                <a:gd name="T106" fmla="*/ 133 w 163"/>
                <a:gd name="T107" fmla="*/ 39 h 217"/>
                <a:gd name="T108" fmla="*/ 141 w 163"/>
                <a:gd name="T109" fmla="*/ 49 h 217"/>
                <a:gd name="T110" fmla="*/ 146 w 163"/>
                <a:gd name="T111" fmla="*/ 61 h 217"/>
                <a:gd name="T112" fmla="*/ 148 w 163"/>
                <a:gd name="T113" fmla="*/ 74 h 217"/>
                <a:gd name="T114" fmla="*/ 149 w 163"/>
                <a:gd name="T115" fmla="*/ 82 h 217"/>
                <a:gd name="T116" fmla="*/ 147 w 163"/>
                <a:gd name="T117" fmla="*/ 98 h 217"/>
                <a:gd name="T118" fmla="*/ 142 w 163"/>
                <a:gd name="T119" fmla="*/ 115 h 217"/>
                <a:gd name="T120" fmla="*/ 125 w 163"/>
                <a:gd name="T121" fmla="*/ 148 h 217"/>
                <a:gd name="T122" fmla="*/ 103 w 163"/>
                <a:gd name="T123" fmla="*/ 178 h 217"/>
                <a:gd name="T124" fmla="*/ 82 w 163"/>
                <a:gd name="T125" fmla="*/ 20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217">
                  <a:moveTo>
                    <a:pt x="81" y="0"/>
                  </a:moveTo>
                  <a:lnTo>
                    <a:pt x="81" y="0"/>
                  </a:lnTo>
                  <a:lnTo>
                    <a:pt x="72" y="1"/>
                  </a:lnTo>
                  <a:lnTo>
                    <a:pt x="64" y="2"/>
                  </a:lnTo>
                  <a:lnTo>
                    <a:pt x="57" y="4"/>
                  </a:lnTo>
                  <a:lnTo>
                    <a:pt x="50" y="7"/>
                  </a:lnTo>
                  <a:lnTo>
                    <a:pt x="43" y="10"/>
                  </a:lnTo>
                  <a:lnTo>
                    <a:pt x="35" y="14"/>
                  </a:lnTo>
                  <a:lnTo>
                    <a:pt x="29" y="18"/>
                  </a:lnTo>
                  <a:lnTo>
                    <a:pt x="23" y="24"/>
                  </a:lnTo>
                  <a:lnTo>
                    <a:pt x="18" y="29"/>
                  </a:lnTo>
                  <a:lnTo>
                    <a:pt x="14" y="35"/>
                  </a:lnTo>
                  <a:lnTo>
                    <a:pt x="10" y="43"/>
                  </a:lnTo>
                  <a:lnTo>
                    <a:pt x="6" y="50"/>
                  </a:lnTo>
                  <a:lnTo>
                    <a:pt x="4" y="57"/>
                  </a:lnTo>
                  <a:lnTo>
                    <a:pt x="2" y="65"/>
                  </a:lnTo>
                  <a:lnTo>
                    <a:pt x="0" y="73"/>
                  </a:lnTo>
                  <a:lnTo>
                    <a:pt x="0" y="82"/>
                  </a:lnTo>
                  <a:lnTo>
                    <a:pt x="0" y="82"/>
                  </a:lnTo>
                  <a:lnTo>
                    <a:pt x="1" y="91"/>
                  </a:lnTo>
                  <a:lnTo>
                    <a:pt x="2" y="99"/>
                  </a:lnTo>
                  <a:lnTo>
                    <a:pt x="4" y="108"/>
                  </a:lnTo>
                  <a:lnTo>
                    <a:pt x="7" y="118"/>
                  </a:lnTo>
                  <a:lnTo>
                    <a:pt x="14" y="135"/>
                  </a:lnTo>
                  <a:lnTo>
                    <a:pt x="24" y="151"/>
                  </a:lnTo>
                  <a:lnTo>
                    <a:pt x="34" y="168"/>
                  </a:lnTo>
                  <a:lnTo>
                    <a:pt x="47" y="183"/>
                  </a:lnTo>
                  <a:lnTo>
                    <a:pt x="70" y="212"/>
                  </a:lnTo>
                  <a:lnTo>
                    <a:pt x="70" y="212"/>
                  </a:lnTo>
                  <a:lnTo>
                    <a:pt x="73" y="215"/>
                  </a:lnTo>
                  <a:lnTo>
                    <a:pt x="76" y="216"/>
                  </a:lnTo>
                  <a:lnTo>
                    <a:pt x="81" y="217"/>
                  </a:lnTo>
                  <a:lnTo>
                    <a:pt x="81" y="217"/>
                  </a:lnTo>
                  <a:lnTo>
                    <a:pt x="82" y="217"/>
                  </a:lnTo>
                  <a:lnTo>
                    <a:pt x="82" y="217"/>
                  </a:lnTo>
                  <a:lnTo>
                    <a:pt x="86" y="216"/>
                  </a:lnTo>
                  <a:lnTo>
                    <a:pt x="89" y="215"/>
                  </a:lnTo>
                  <a:lnTo>
                    <a:pt x="92" y="212"/>
                  </a:lnTo>
                  <a:lnTo>
                    <a:pt x="92" y="212"/>
                  </a:lnTo>
                  <a:lnTo>
                    <a:pt x="115" y="183"/>
                  </a:lnTo>
                  <a:lnTo>
                    <a:pt x="128" y="168"/>
                  </a:lnTo>
                  <a:lnTo>
                    <a:pt x="138" y="151"/>
                  </a:lnTo>
                  <a:lnTo>
                    <a:pt x="148" y="135"/>
                  </a:lnTo>
                  <a:lnTo>
                    <a:pt x="155" y="118"/>
                  </a:lnTo>
                  <a:lnTo>
                    <a:pt x="159" y="108"/>
                  </a:lnTo>
                  <a:lnTo>
                    <a:pt x="161" y="99"/>
                  </a:lnTo>
                  <a:lnTo>
                    <a:pt x="162" y="91"/>
                  </a:lnTo>
                  <a:lnTo>
                    <a:pt x="163" y="82"/>
                  </a:lnTo>
                  <a:lnTo>
                    <a:pt x="163" y="82"/>
                  </a:lnTo>
                  <a:lnTo>
                    <a:pt x="162" y="73"/>
                  </a:lnTo>
                  <a:lnTo>
                    <a:pt x="161" y="65"/>
                  </a:lnTo>
                  <a:lnTo>
                    <a:pt x="159" y="57"/>
                  </a:lnTo>
                  <a:lnTo>
                    <a:pt x="156" y="50"/>
                  </a:lnTo>
                  <a:lnTo>
                    <a:pt x="152" y="43"/>
                  </a:lnTo>
                  <a:lnTo>
                    <a:pt x="148" y="35"/>
                  </a:lnTo>
                  <a:lnTo>
                    <a:pt x="144" y="29"/>
                  </a:lnTo>
                  <a:lnTo>
                    <a:pt x="139" y="24"/>
                  </a:lnTo>
                  <a:lnTo>
                    <a:pt x="133" y="18"/>
                  </a:lnTo>
                  <a:lnTo>
                    <a:pt x="127" y="14"/>
                  </a:lnTo>
                  <a:lnTo>
                    <a:pt x="120" y="10"/>
                  </a:lnTo>
                  <a:lnTo>
                    <a:pt x="112" y="7"/>
                  </a:lnTo>
                  <a:lnTo>
                    <a:pt x="105" y="4"/>
                  </a:lnTo>
                  <a:lnTo>
                    <a:pt x="97" y="2"/>
                  </a:lnTo>
                  <a:lnTo>
                    <a:pt x="90" y="1"/>
                  </a:lnTo>
                  <a:lnTo>
                    <a:pt x="81" y="0"/>
                  </a:lnTo>
                  <a:lnTo>
                    <a:pt x="81" y="0"/>
                  </a:lnTo>
                  <a:close/>
                  <a:moveTo>
                    <a:pt x="82" y="203"/>
                  </a:moveTo>
                  <a:lnTo>
                    <a:pt x="82" y="203"/>
                  </a:lnTo>
                  <a:lnTo>
                    <a:pt x="81" y="204"/>
                  </a:lnTo>
                  <a:lnTo>
                    <a:pt x="81" y="204"/>
                  </a:lnTo>
                  <a:lnTo>
                    <a:pt x="80" y="203"/>
                  </a:lnTo>
                  <a:lnTo>
                    <a:pt x="80" y="203"/>
                  </a:lnTo>
                  <a:lnTo>
                    <a:pt x="59" y="178"/>
                  </a:lnTo>
                  <a:lnTo>
                    <a:pt x="48" y="164"/>
                  </a:lnTo>
                  <a:lnTo>
                    <a:pt x="37" y="148"/>
                  </a:lnTo>
                  <a:lnTo>
                    <a:pt x="28" y="132"/>
                  </a:lnTo>
                  <a:lnTo>
                    <a:pt x="20" y="115"/>
                  </a:lnTo>
                  <a:lnTo>
                    <a:pt x="17" y="106"/>
                  </a:lnTo>
                  <a:lnTo>
                    <a:pt x="15" y="98"/>
                  </a:lnTo>
                  <a:lnTo>
                    <a:pt x="14" y="90"/>
                  </a:lnTo>
                  <a:lnTo>
                    <a:pt x="13" y="82"/>
                  </a:lnTo>
                  <a:lnTo>
                    <a:pt x="13" y="82"/>
                  </a:lnTo>
                  <a:lnTo>
                    <a:pt x="14" y="74"/>
                  </a:lnTo>
                  <a:lnTo>
                    <a:pt x="15" y="68"/>
                  </a:lnTo>
                  <a:lnTo>
                    <a:pt x="16" y="61"/>
                  </a:lnTo>
                  <a:lnTo>
                    <a:pt x="18" y="55"/>
                  </a:lnTo>
                  <a:lnTo>
                    <a:pt x="21" y="49"/>
                  </a:lnTo>
                  <a:lnTo>
                    <a:pt x="25" y="44"/>
                  </a:lnTo>
                  <a:lnTo>
                    <a:pt x="28" y="39"/>
                  </a:lnTo>
                  <a:lnTo>
                    <a:pt x="33" y="33"/>
                  </a:lnTo>
                  <a:lnTo>
                    <a:pt x="37" y="29"/>
                  </a:lnTo>
                  <a:lnTo>
                    <a:pt x="43" y="25"/>
                  </a:lnTo>
                  <a:lnTo>
                    <a:pt x="49" y="22"/>
                  </a:lnTo>
                  <a:lnTo>
                    <a:pt x="55" y="19"/>
                  </a:lnTo>
                  <a:lnTo>
                    <a:pt x="61" y="17"/>
                  </a:lnTo>
                  <a:lnTo>
                    <a:pt x="67" y="15"/>
                  </a:lnTo>
                  <a:lnTo>
                    <a:pt x="74" y="14"/>
                  </a:lnTo>
                  <a:lnTo>
                    <a:pt x="81" y="14"/>
                  </a:lnTo>
                  <a:lnTo>
                    <a:pt x="81" y="14"/>
                  </a:lnTo>
                  <a:lnTo>
                    <a:pt x="88" y="14"/>
                  </a:lnTo>
                  <a:lnTo>
                    <a:pt x="95" y="15"/>
                  </a:lnTo>
                  <a:lnTo>
                    <a:pt x="101" y="17"/>
                  </a:lnTo>
                  <a:lnTo>
                    <a:pt x="107" y="19"/>
                  </a:lnTo>
                  <a:lnTo>
                    <a:pt x="113" y="22"/>
                  </a:lnTo>
                  <a:lnTo>
                    <a:pt x="119" y="25"/>
                  </a:lnTo>
                  <a:lnTo>
                    <a:pt x="125" y="29"/>
                  </a:lnTo>
                  <a:lnTo>
                    <a:pt x="129" y="33"/>
                  </a:lnTo>
                  <a:lnTo>
                    <a:pt x="133" y="39"/>
                  </a:lnTo>
                  <a:lnTo>
                    <a:pt x="137" y="44"/>
                  </a:lnTo>
                  <a:lnTo>
                    <a:pt x="141" y="49"/>
                  </a:lnTo>
                  <a:lnTo>
                    <a:pt x="143" y="55"/>
                  </a:lnTo>
                  <a:lnTo>
                    <a:pt x="146" y="61"/>
                  </a:lnTo>
                  <a:lnTo>
                    <a:pt x="147" y="68"/>
                  </a:lnTo>
                  <a:lnTo>
                    <a:pt x="148" y="74"/>
                  </a:lnTo>
                  <a:lnTo>
                    <a:pt x="149" y="82"/>
                  </a:lnTo>
                  <a:lnTo>
                    <a:pt x="149" y="82"/>
                  </a:lnTo>
                  <a:lnTo>
                    <a:pt x="148" y="90"/>
                  </a:lnTo>
                  <a:lnTo>
                    <a:pt x="147" y="98"/>
                  </a:lnTo>
                  <a:lnTo>
                    <a:pt x="145" y="106"/>
                  </a:lnTo>
                  <a:lnTo>
                    <a:pt x="142" y="115"/>
                  </a:lnTo>
                  <a:lnTo>
                    <a:pt x="134" y="132"/>
                  </a:lnTo>
                  <a:lnTo>
                    <a:pt x="125" y="148"/>
                  </a:lnTo>
                  <a:lnTo>
                    <a:pt x="114" y="164"/>
                  </a:lnTo>
                  <a:lnTo>
                    <a:pt x="103" y="178"/>
                  </a:lnTo>
                  <a:lnTo>
                    <a:pt x="82" y="203"/>
                  </a:lnTo>
                  <a:lnTo>
                    <a:pt x="82"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74" name="Gruppieren 673">
            <a:extLst>
              <a:ext uri="{FF2B5EF4-FFF2-40B4-BE49-F238E27FC236}">
                <a16:creationId xmlns:a16="http://schemas.microsoft.com/office/drawing/2014/main" id="{DBE688EB-1255-4612-AFE1-24F02634B91E}"/>
              </a:ext>
            </a:extLst>
          </p:cNvPr>
          <p:cNvGrpSpPr>
            <a:grpSpLocks noChangeAspect="1"/>
          </p:cNvGrpSpPr>
          <p:nvPr/>
        </p:nvGrpSpPr>
        <p:grpSpPr>
          <a:xfrm>
            <a:off x="4085101" y="2186361"/>
            <a:ext cx="204322" cy="306484"/>
            <a:chOff x="5057203" y="2130473"/>
            <a:chExt cx="179243" cy="268866"/>
          </a:xfrm>
          <a:solidFill>
            <a:schemeClr val="bg2"/>
          </a:solidFill>
          <a:effectLst/>
        </p:grpSpPr>
        <p:sp>
          <p:nvSpPr>
            <p:cNvPr id="675" name="Freeform 91">
              <a:extLst>
                <a:ext uri="{FF2B5EF4-FFF2-40B4-BE49-F238E27FC236}">
                  <a16:creationId xmlns:a16="http://schemas.microsoft.com/office/drawing/2014/main" id="{03079BF6-7C9C-4D5D-82D6-442DDD057285}"/>
                </a:ext>
              </a:extLst>
            </p:cNvPr>
            <p:cNvSpPr>
              <a:spLocks/>
            </p:cNvSpPr>
            <p:nvPr/>
          </p:nvSpPr>
          <p:spPr bwMode="auto">
            <a:xfrm>
              <a:off x="5088570" y="2354528"/>
              <a:ext cx="116508" cy="44811"/>
            </a:xfrm>
            <a:custGeom>
              <a:avLst/>
              <a:gdLst>
                <a:gd name="T0" fmla="*/ 387 w 389"/>
                <a:gd name="T1" fmla="*/ 8 h 150"/>
                <a:gd name="T2" fmla="*/ 383 w 389"/>
                <a:gd name="T3" fmla="*/ 3 h 150"/>
                <a:gd name="T4" fmla="*/ 377 w 389"/>
                <a:gd name="T5" fmla="*/ 0 h 150"/>
                <a:gd name="T6" fmla="*/ 372 w 389"/>
                <a:gd name="T7" fmla="*/ 0 h 150"/>
                <a:gd name="T8" fmla="*/ 194 w 389"/>
                <a:gd name="T9" fmla="*/ 59 h 150"/>
                <a:gd name="T10" fmla="*/ 16 w 389"/>
                <a:gd name="T11" fmla="*/ 0 h 150"/>
                <a:gd name="T12" fmla="*/ 10 w 389"/>
                <a:gd name="T13" fmla="*/ 0 h 150"/>
                <a:gd name="T14" fmla="*/ 5 w 389"/>
                <a:gd name="T15" fmla="*/ 3 h 150"/>
                <a:gd name="T16" fmla="*/ 2 w 389"/>
                <a:gd name="T17" fmla="*/ 8 h 150"/>
                <a:gd name="T18" fmla="*/ 0 w 389"/>
                <a:gd name="T19" fmla="*/ 13 h 150"/>
                <a:gd name="T20" fmla="*/ 0 w 389"/>
                <a:gd name="T21" fmla="*/ 20 h 150"/>
                <a:gd name="T22" fmla="*/ 3 w 389"/>
                <a:gd name="T23" fmla="*/ 24 h 150"/>
                <a:gd name="T24" fmla="*/ 7 w 389"/>
                <a:gd name="T25" fmla="*/ 28 h 150"/>
                <a:gd name="T26" fmla="*/ 146 w 389"/>
                <a:gd name="T27" fmla="*/ 75 h 150"/>
                <a:gd name="T28" fmla="*/ 7 w 389"/>
                <a:gd name="T29" fmla="*/ 122 h 150"/>
                <a:gd name="T30" fmla="*/ 3 w 389"/>
                <a:gd name="T31" fmla="*/ 125 h 150"/>
                <a:gd name="T32" fmla="*/ 0 w 389"/>
                <a:gd name="T33" fmla="*/ 131 h 150"/>
                <a:gd name="T34" fmla="*/ 0 w 389"/>
                <a:gd name="T35" fmla="*/ 137 h 150"/>
                <a:gd name="T36" fmla="*/ 2 w 389"/>
                <a:gd name="T37" fmla="*/ 144 h 150"/>
                <a:gd name="T38" fmla="*/ 9 w 389"/>
                <a:gd name="T39" fmla="*/ 149 h 150"/>
                <a:gd name="T40" fmla="*/ 17 w 389"/>
                <a:gd name="T41" fmla="*/ 150 h 150"/>
                <a:gd name="T42" fmla="*/ 194 w 389"/>
                <a:gd name="T43" fmla="*/ 91 h 150"/>
                <a:gd name="T44" fmla="*/ 371 w 389"/>
                <a:gd name="T45" fmla="*/ 150 h 150"/>
                <a:gd name="T46" fmla="*/ 378 w 389"/>
                <a:gd name="T47" fmla="*/ 149 h 150"/>
                <a:gd name="T48" fmla="*/ 386 w 389"/>
                <a:gd name="T49" fmla="*/ 144 h 150"/>
                <a:gd name="T50" fmla="*/ 389 w 389"/>
                <a:gd name="T51" fmla="*/ 137 h 150"/>
                <a:gd name="T52" fmla="*/ 388 w 389"/>
                <a:gd name="T53" fmla="*/ 131 h 150"/>
                <a:gd name="T54" fmla="*/ 386 w 389"/>
                <a:gd name="T55" fmla="*/ 125 h 150"/>
                <a:gd name="T56" fmla="*/ 382 w 389"/>
                <a:gd name="T57" fmla="*/ 122 h 150"/>
                <a:gd name="T58" fmla="*/ 242 w 389"/>
                <a:gd name="T59" fmla="*/ 75 h 150"/>
                <a:gd name="T60" fmla="*/ 382 w 389"/>
                <a:gd name="T61" fmla="*/ 28 h 150"/>
                <a:gd name="T62" fmla="*/ 386 w 389"/>
                <a:gd name="T63" fmla="*/ 24 h 150"/>
                <a:gd name="T64" fmla="*/ 388 w 389"/>
                <a:gd name="T65" fmla="*/ 20 h 150"/>
                <a:gd name="T66" fmla="*/ 389 w 389"/>
                <a:gd name="T67" fmla="*/ 13 h 150"/>
                <a:gd name="T68" fmla="*/ 388 w 389"/>
                <a:gd name="T69"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9" h="150">
                  <a:moveTo>
                    <a:pt x="388" y="10"/>
                  </a:moveTo>
                  <a:lnTo>
                    <a:pt x="387" y="8"/>
                  </a:lnTo>
                  <a:lnTo>
                    <a:pt x="385" y="6"/>
                  </a:lnTo>
                  <a:lnTo>
                    <a:pt x="383" y="3"/>
                  </a:lnTo>
                  <a:lnTo>
                    <a:pt x="381" y="1"/>
                  </a:lnTo>
                  <a:lnTo>
                    <a:pt x="377" y="0"/>
                  </a:lnTo>
                  <a:lnTo>
                    <a:pt x="375" y="0"/>
                  </a:lnTo>
                  <a:lnTo>
                    <a:pt x="372" y="0"/>
                  </a:lnTo>
                  <a:lnTo>
                    <a:pt x="369" y="1"/>
                  </a:lnTo>
                  <a:lnTo>
                    <a:pt x="194" y="59"/>
                  </a:lnTo>
                  <a:lnTo>
                    <a:pt x="19" y="1"/>
                  </a:lnTo>
                  <a:lnTo>
                    <a:pt x="16" y="0"/>
                  </a:lnTo>
                  <a:lnTo>
                    <a:pt x="14" y="0"/>
                  </a:lnTo>
                  <a:lnTo>
                    <a:pt x="10" y="0"/>
                  </a:lnTo>
                  <a:lnTo>
                    <a:pt x="7" y="1"/>
                  </a:lnTo>
                  <a:lnTo>
                    <a:pt x="5" y="3"/>
                  </a:lnTo>
                  <a:lnTo>
                    <a:pt x="3" y="6"/>
                  </a:lnTo>
                  <a:lnTo>
                    <a:pt x="2" y="8"/>
                  </a:lnTo>
                  <a:lnTo>
                    <a:pt x="0" y="11"/>
                  </a:lnTo>
                  <a:lnTo>
                    <a:pt x="0" y="13"/>
                  </a:lnTo>
                  <a:lnTo>
                    <a:pt x="0" y="16"/>
                  </a:lnTo>
                  <a:lnTo>
                    <a:pt x="0" y="20"/>
                  </a:lnTo>
                  <a:lnTo>
                    <a:pt x="1" y="22"/>
                  </a:lnTo>
                  <a:lnTo>
                    <a:pt x="3" y="24"/>
                  </a:lnTo>
                  <a:lnTo>
                    <a:pt x="4" y="26"/>
                  </a:lnTo>
                  <a:lnTo>
                    <a:pt x="7" y="28"/>
                  </a:lnTo>
                  <a:lnTo>
                    <a:pt x="9" y="29"/>
                  </a:lnTo>
                  <a:lnTo>
                    <a:pt x="146" y="75"/>
                  </a:lnTo>
                  <a:lnTo>
                    <a:pt x="9" y="121"/>
                  </a:lnTo>
                  <a:lnTo>
                    <a:pt x="7" y="122"/>
                  </a:lnTo>
                  <a:lnTo>
                    <a:pt x="4" y="123"/>
                  </a:lnTo>
                  <a:lnTo>
                    <a:pt x="3" y="125"/>
                  </a:lnTo>
                  <a:lnTo>
                    <a:pt x="1" y="129"/>
                  </a:lnTo>
                  <a:lnTo>
                    <a:pt x="0" y="131"/>
                  </a:lnTo>
                  <a:lnTo>
                    <a:pt x="0" y="134"/>
                  </a:lnTo>
                  <a:lnTo>
                    <a:pt x="0" y="137"/>
                  </a:lnTo>
                  <a:lnTo>
                    <a:pt x="0" y="139"/>
                  </a:lnTo>
                  <a:lnTo>
                    <a:pt x="2" y="144"/>
                  </a:lnTo>
                  <a:lnTo>
                    <a:pt x="6" y="147"/>
                  </a:lnTo>
                  <a:lnTo>
                    <a:pt x="9" y="149"/>
                  </a:lnTo>
                  <a:lnTo>
                    <a:pt x="15" y="150"/>
                  </a:lnTo>
                  <a:lnTo>
                    <a:pt x="17" y="150"/>
                  </a:lnTo>
                  <a:lnTo>
                    <a:pt x="19" y="149"/>
                  </a:lnTo>
                  <a:lnTo>
                    <a:pt x="194" y="91"/>
                  </a:lnTo>
                  <a:lnTo>
                    <a:pt x="369" y="149"/>
                  </a:lnTo>
                  <a:lnTo>
                    <a:pt x="371" y="150"/>
                  </a:lnTo>
                  <a:lnTo>
                    <a:pt x="374" y="150"/>
                  </a:lnTo>
                  <a:lnTo>
                    <a:pt x="378" y="149"/>
                  </a:lnTo>
                  <a:lnTo>
                    <a:pt x="383" y="147"/>
                  </a:lnTo>
                  <a:lnTo>
                    <a:pt x="386" y="144"/>
                  </a:lnTo>
                  <a:lnTo>
                    <a:pt x="388" y="139"/>
                  </a:lnTo>
                  <a:lnTo>
                    <a:pt x="389" y="137"/>
                  </a:lnTo>
                  <a:lnTo>
                    <a:pt x="389" y="134"/>
                  </a:lnTo>
                  <a:lnTo>
                    <a:pt x="388" y="131"/>
                  </a:lnTo>
                  <a:lnTo>
                    <a:pt x="387" y="129"/>
                  </a:lnTo>
                  <a:lnTo>
                    <a:pt x="386" y="125"/>
                  </a:lnTo>
                  <a:lnTo>
                    <a:pt x="384" y="123"/>
                  </a:lnTo>
                  <a:lnTo>
                    <a:pt x="382" y="122"/>
                  </a:lnTo>
                  <a:lnTo>
                    <a:pt x="378" y="121"/>
                  </a:lnTo>
                  <a:lnTo>
                    <a:pt x="242" y="75"/>
                  </a:lnTo>
                  <a:lnTo>
                    <a:pt x="378" y="29"/>
                  </a:lnTo>
                  <a:lnTo>
                    <a:pt x="382" y="28"/>
                  </a:lnTo>
                  <a:lnTo>
                    <a:pt x="384" y="26"/>
                  </a:lnTo>
                  <a:lnTo>
                    <a:pt x="386" y="24"/>
                  </a:lnTo>
                  <a:lnTo>
                    <a:pt x="387" y="22"/>
                  </a:lnTo>
                  <a:lnTo>
                    <a:pt x="388" y="20"/>
                  </a:lnTo>
                  <a:lnTo>
                    <a:pt x="389" y="16"/>
                  </a:lnTo>
                  <a:lnTo>
                    <a:pt x="389" y="13"/>
                  </a:lnTo>
                  <a:lnTo>
                    <a:pt x="388" y="11"/>
                  </a:lnTo>
                  <a:lnTo>
                    <a:pt x="388" y="1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6" name="Freeform 92">
              <a:extLst>
                <a:ext uri="{FF2B5EF4-FFF2-40B4-BE49-F238E27FC236}">
                  <a16:creationId xmlns:a16="http://schemas.microsoft.com/office/drawing/2014/main" id="{CB074D9B-0422-458F-8737-7AB11A796425}"/>
                </a:ext>
              </a:extLst>
            </p:cNvPr>
            <p:cNvSpPr>
              <a:spLocks noEditPoints="1"/>
            </p:cNvSpPr>
            <p:nvPr/>
          </p:nvSpPr>
          <p:spPr bwMode="auto">
            <a:xfrm>
              <a:off x="5088570" y="2161840"/>
              <a:ext cx="116508" cy="116508"/>
            </a:xfrm>
            <a:custGeom>
              <a:avLst/>
              <a:gdLst>
                <a:gd name="T0" fmla="*/ 161 w 389"/>
                <a:gd name="T1" fmla="*/ 357 h 390"/>
                <a:gd name="T2" fmla="*/ 115 w 389"/>
                <a:gd name="T3" fmla="*/ 339 h 390"/>
                <a:gd name="T4" fmla="*/ 78 w 389"/>
                <a:gd name="T5" fmla="*/ 312 h 390"/>
                <a:gd name="T6" fmla="*/ 49 w 389"/>
                <a:gd name="T7" fmla="*/ 273 h 390"/>
                <a:gd name="T8" fmla="*/ 33 w 389"/>
                <a:gd name="T9" fmla="*/ 228 h 390"/>
                <a:gd name="T10" fmla="*/ 30 w 389"/>
                <a:gd name="T11" fmla="*/ 178 h 390"/>
                <a:gd name="T12" fmla="*/ 42 w 389"/>
                <a:gd name="T13" fmla="*/ 131 h 390"/>
                <a:gd name="T14" fmla="*/ 67 w 389"/>
                <a:gd name="T15" fmla="*/ 90 h 390"/>
                <a:gd name="T16" fmla="*/ 102 w 389"/>
                <a:gd name="T17" fmla="*/ 58 h 390"/>
                <a:gd name="T18" fmla="*/ 145 w 389"/>
                <a:gd name="T19" fmla="*/ 38 h 390"/>
                <a:gd name="T20" fmla="*/ 194 w 389"/>
                <a:gd name="T21" fmla="*/ 30 h 390"/>
                <a:gd name="T22" fmla="*/ 243 w 389"/>
                <a:gd name="T23" fmla="*/ 38 h 390"/>
                <a:gd name="T24" fmla="*/ 286 w 389"/>
                <a:gd name="T25" fmla="*/ 58 h 390"/>
                <a:gd name="T26" fmla="*/ 321 w 389"/>
                <a:gd name="T27" fmla="*/ 90 h 390"/>
                <a:gd name="T28" fmla="*/ 346 w 389"/>
                <a:gd name="T29" fmla="*/ 131 h 390"/>
                <a:gd name="T30" fmla="*/ 358 w 389"/>
                <a:gd name="T31" fmla="*/ 178 h 390"/>
                <a:gd name="T32" fmla="*/ 356 w 389"/>
                <a:gd name="T33" fmla="*/ 228 h 390"/>
                <a:gd name="T34" fmla="*/ 339 w 389"/>
                <a:gd name="T35" fmla="*/ 273 h 390"/>
                <a:gd name="T36" fmla="*/ 311 w 389"/>
                <a:gd name="T37" fmla="*/ 312 h 390"/>
                <a:gd name="T38" fmla="*/ 273 w 389"/>
                <a:gd name="T39" fmla="*/ 339 h 390"/>
                <a:gd name="T40" fmla="*/ 228 w 389"/>
                <a:gd name="T41" fmla="*/ 357 h 390"/>
                <a:gd name="T42" fmla="*/ 194 w 389"/>
                <a:gd name="T43" fmla="*/ 0 h 390"/>
                <a:gd name="T44" fmla="*/ 137 w 389"/>
                <a:gd name="T45" fmla="*/ 9 h 390"/>
                <a:gd name="T46" fmla="*/ 85 w 389"/>
                <a:gd name="T47" fmla="*/ 34 h 390"/>
                <a:gd name="T48" fmla="*/ 44 w 389"/>
                <a:gd name="T49" fmla="*/ 71 h 390"/>
                <a:gd name="T50" fmla="*/ 15 w 389"/>
                <a:gd name="T51" fmla="*/ 119 h 390"/>
                <a:gd name="T52" fmla="*/ 1 w 389"/>
                <a:gd name="T53" fmla="*/ 175 h 390"/>
                <a:gd name="T54" fmla="*/ 3 w 389"/>
                <a:gd name="T55" fmla="*/ 235 h 390"/>
                <a:gd name="T56" fmla="*/ 23 w 389"/>
                <a:gd name="T57" fmla="*/ 288 h 390"/>
                <a:gd name="T58" fmla="*/ 56 w 389"/>
                <a:gd name="T59" fmla="*/ 333 h 390"/>
                <a:gd name="T60" fmla="*/ 101 w 389"/>
                <a:gd name="T61" fmla="*/ 366 h 390"/>
                <a:gd name="T62" fmla="*/ 155 w 389"/>
                <a:gd name="T63" fmla="*/ 385 h 390"/>
                <a:gd name="T64" fmla="*/ 214 w 389"/>
                <a:gd name="T65" fmla="*/ 389 h 390"/>
                <a:gd name="T66" fmla="*/ 269 w 389"/>
                <a:gd name="T67" fmla="*/ 375 h 390"/>
                <a:gd name="T68" fmla="*/ 317 w 389"/>
                <a:gd name="T69" fmla="*/ 345 h 390"/>
                <a:gd name="T70" fmla="*/ 356 w 389"/>
                <a:gd name="T71" fmla="*/ 304 h 390"/>
                <a:gd name="T72" fmla="*/ 381 w 389"/>
                <a:gd name="T73" fmla="*/ 253 h 390"/>
                <a:gd name="T74" fmla="*/ 389 w 389"/>
                <a:gd name="T75" fmla="*/ 195 h 390"/>
                <a:gd name="T76" fmla="*/ 381 w 389"/>
                <a:gd name="T77" fmla="*/ 137 h 390"/>
                <a:gd name="T78" fmla="*/ 356 w 389"/>
                <a:gd name="T79" fmla="*/ 86 h 390"/>
                <a:gd name="T80" fmla="*/ 317 w 389"/>
                <a:gd name="T81" fmla="*/ 45 h 390"/>
                <a:gd name="T82" fmla="*/ 269 w 389"/>
                <a:gd name="T83" fmla="*/ 15 h 390"/>
                <a:gd name="T84" fmla="*/ 214 w 389"/>
                <a:gd name="T85" fmla="*/ 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9" h="390">
                  <a:moveTo>
                    <a:pt x="194" y="360"/>
                  </a:moveTo>
                  <a:lnTo>
                    <a:pt x="177" y="359"/>
                  </a:lnTo>
                  <a:lnTo>
                    <a:pt x="161" y="357"/>
                  </a:lnTo>
                  <a:lnTo>
                    <a:pt x="145" y="352"/>
                  </a:lnTo>
                  <a:lnTo>
                    <a:pt x="130" y="347"/>
                  </a:lnTo>
                  <a:lnTo>
                    <a:pt x="115" y="339"/>
                  </a:lnTo>
                  <a:lnTo>
                    <a:pt x="102" y="332"/>
                  </a:lnTo>
                  <a:lnTo>
                    <a:pt x="90" y="322"/>
                  </a:lnTo>
                  <a:lnTo>
                    <a:pt x="78" y="312"/>
                  </a:lnTo>
                  <a:lnTo>
                    <a:pt x="67" y="300"/>
                  </a:lnTo>
                  <a:lnTo>
                    <a:pt x="57" y="287"/>
                  </a:lnTo>
                  <a:lnTo>
                    <a:pt x="49" y="273"/>
                  </a:lnTo>
                  <a:lnTo>
                    <a:pt x="42" y="259"/>
                  </a:lnTo>
                  <a:lnTo>
                    <a:pt x="37" y="244"/>
                  </a:lnTo>
                  <a:lnTo>
                    <a:pt x="33" y="228"/>
                  </a:lnTo>
                  <a:lnTo>
                    <a:pt x="30" y="212"/>
                  </a:lnTo>
                  <a:lnTo>
                    <a:pt x="30" y="195"/>
                  </a:lnTo>
                  <a:lnTo>
                    <a:pt x="30" y="178"/>
                  </a:lnTo>
                  <a:lnTo>
                    <a:pt x="33" y="162"/>
                  </a:lnTo>
                  <a:lnTo>
                    <a:pt x="37" y="146"/>
                  </a:lnTo>
                  <a:lnTo>
                    <a:pt x="42" y="131"/>
                  </a:lnTo>
                  <a:lnTo>
                    <a:pt x="49" y="117"/>
                  </a:lnTo>
                  <a:lnTo>
                    <a:pt x="57" y="103"/>
                  </a:lnTo>
                  <a:lnTo>
                    <a:pt x="67" y="90"/>
                  </a:lnTo>
                  <a:lnTo>
                    <a:pt x="78" y="78"/>
                  </a:lnTo>
                  <a:lnTo>
                    <a:pt x="90" y="68"/>
                  </a:lnTo>
                  <a:lnTo>
                    <a:pt x="102" y="58"/>
                  </a:lnTo>
                  <a:lnTo>
                    <a:pt x="115" y="51"/>
                  </a:lnTo>
                  <a:lnTo>
                    <a:pt x="130" y="43"/>
                  </a:lnTo>
                  <a:lnTo>
                    <a:pt x="145" y="38"/>
                  </a:lnTo>
                  <a:lnTo>
                    <a:pt x="161" y="34"/>
                  </a:lnTo>
                  <a:lnTo>
                    <a:pt x="177" y="31"/>
                  </a:lnTo>
                  <a:lnTo>
                    <a:pt x="194" y="30"/>
                  </a:lnTo>
                  <a:lnTo>
                    <a:pt x="210" y="31"/>
                  </a:lnTo>
                  <a:lnTo>
                    <a:pt x="228" y="34"/>
                  </a:lnTo>
                  <a:lnTo>
                    <a:pt x="243" y="38"/>
                  </a:lnTo>
                  <a:lnTo>
                    <a:pt x="259" y="43"/>
                  </a:lnTo>
                  <a:lnTo>
                    <a:pt x="273" y="51"/>
                  </a:lnTo>
                  <a:lnTo>
                    <a:pt x="286" y="58"/>
                  </a:lnTo>
                  <a:lnTo>
                    <a:pt x="299" y="68"/>
                  </a:lnTo>
                  <a:lnTo>
                    <a:pt x="311" y="78"/>
                  </a:lnTo>
                  <a:lnTo>
                    <a:pt x="321" y="90"/>
                  </a:lnTo>
                  <a:lnTo>
                    <a:pt x="330" y="103"/>
                  </a:lnTo>
                  <a:lnTo>
                    <a:pt x="339" y="117"/>
                  </a:lnTo>
                  <a:lnTo>
                    <a:pt x="346" y="131"/>
                  </a:lnTo>
                  <a:lnTo>
                    <a:pt x="352" y="146"/>
                  </a:lnTo>
                  <a:lnTo>
                    <a:pt x="356" y="162"/>
                  </a:lnTo>
                  <a:lnTo>
                    <a:pt x="358" y="178"/>
                  </a:lnTo>
                  <a:lnTo>
                    <a:pt x="359" y="195"/>
                  </a:lnTo>
                  <a:lnTo>
                    <a:pt x="358" y="212"/>
                  </a:lnTo>
                  <a:lnTo>
                    <a:pt x="356" y="228"/>
                  </a:lnTo>
                  <a:lnTo>
                    <a:pt x="352" y="244"/>
                  </a:lnTo>
                  <a:lnTo>
                    <a:pt x="346" y="259"/>
                  </a:lnTo>
                  <a:lnTo>
                    <a:pt x="339" y="273"/>
                  </a:lnTo>
                  <a:lnTo>
                    <a:pt x="330" y="287"/>
                  </a:lnTo>
                  <a:lnTo>
                    <a:pt x="321" y="300"/>
                  </a:lnTo>
                  <a:lnTo>
                    <a:pt x="311" y="312"/>
                  </a:lnTo>
                  <a:lnTo>
                    <a:pt x="299" y="322"/>
                  </a:lnTo>
                  <a:lnTo>
                    <a:pt x="286" y="332"/>
                  </a:lnTo>
                  <a:lnTo>
                    <a:pt x="273" y="339"/>
                  </a:lnTo>
                  <a:lnTo>
                    <a:pt x="259" y="347"/>
                  </a:lnTo>
                  <a:lnTo>
                    <a:pt x="243" y="352"/>
                  </a:lnTo>
                  <a:lnTo>
                    <a:pt x="228" y="357"/>
                  </a:lnTo>
                  <a:lnTo>
                    <a:pt x="210" y="359"/>
                  </a:lnTo>
                  <a:lnTo>
                    <a:pt x="194" y="360"/>
                  </a:lnTo>
                  <a:close/>
                  <a:moveTo>
                    <a:pt x="194" y="0"/>
                  </a:moveTo>
                  <a:lnTo>
                    <a:pt x="174" y="1"/>
                  </a:lnTo>
                  <a:lnTo>
                    <a:pt x="155" y="5"/>
                  </a:lnTo>
                  <a:lnTo>
                    <a:pt x="137" y="9"/>
                  </a:lnTo>
                  <a:lnTo>
                    <a:pt x="118" y="15"/>
                  </a:lnTo>
                  <a:lnTo>
                    <a:pt x="101" y="24"/>
                  </a:lnTo>
                  <a:lnTo>
                    <a:pt x="85" y="34"/>
                  </a:lnTo>
                  <a:lnTo>
                    <a:pt x="70" y="45"/>
                  </a:lnTo>
                  <a:lnTo>
                    <a:pt x="56" y="57"/>
                  </a:lnTo>
                  <a:lnTo>
                    <a:pt x="44" y="71"/>
                  </a:lnTo>
                  <a:lnTo>
                    <a:pt x="33" y="86"/>
                  </a:lnTo>
                  <a:lnTo>
                    <a:pt x="23" y="102"/>
                  </a:lnTo>
                  <a:lnTo>
                    <a:pt x="15" y="119"/>
                  </a:lnTo>
                  <a:lnTo>
                    <a:pt x="8" y="137"/>
                  </a:lnTo>
                  <a:lnTo>
                    <a:pt x="3" y="155"/>
                  </a:lnTo>
                  <a:lnTo>
                    <a:pt x="1" y="175"/>
                  </a:lnTo>
                  <a:lnTo>
                    <a:pt x="0" y="195"/>
                  </a:lnTo>
                  <a:lnTo>
                    <a:pt x="1" y="215"/>
                  </a:lnTo>
                  <a:lnTo>
                    <a:pt x="3" y="235"/>
                  </a:lnTo>
                  <a:lnTo>
                    <a:pt x="8" y="253"/>
                  </a:lnTo>
                  <a:lnTo>
                    <a:pt x="15" y="271"/>
                  </a:lnTo>
                  <a:lnTo>
                    <a:pt x="23" y="288"/>
                  </a:lnTo>
                  <a:lnTo>
                    <a:pt x="33" y="304"/>
                  </a:lnTo>
                  <a:lnTo>
                    <a:pt x="44" y="319"/>
                  </a:lnTo>
                  <a:lnTo>
                    <a:pt x="56" y="333"/>
                  </a:lnTo>
                  <a:lnTo>
                    <a:pt x="70" y="345"/>
                  </a:lnTo>
                  <a:lnTo>
                    <a:pt x="85" y="357"/>
                  </a:lnTo>
                  <a:lnTo>
                    <a:pt x="101" y="366"/>
                  </a:lnTo>
                  <a:lnTo>
                    <a:pt x="118" y="375"/>
                  </a:lnTo>
                  <a:lnTo>
                    <a:pt x="137" y="381"/>
                  </a:lnTo>
                  <a:lnTo>
                    <a:pt x="155" y="385"/>
                  </a:lnTo>
                  <a:lnTo>
                    <a:pt x="174" y="389"/>
                  </a:lnTo>
                  <a:lnTo>
                    <a:pt x="194" y="390"/>
                  </a:lnTo>
                  <a:lnTo>
                    <a:pt x="214" y="389"/>
                  </a:lnTo>
                  <a:lnTo>
                    <a:pt x="233" y="385"/>
                  </a:lnTo>
                  <a:lnTo>
                    <a:pt x="252" y="381"/>
                  </a:lnTo>
                  <a:lnTo>
                    <a:pt x="269" y="375"/>
                  </a:lnTo>
                  <a:lnTo>
                    <a:pt x="286" y="366"/>
                  </a:lnTo>
                  <a:lnTo>
                    <a:pt x="302" y="357"/>
                  </a:lnTo>
                  <a:lnTo>
                    <a:pt x="317" y="345"/>
                  </a:lnTo>
                  <a:lnTo>
                    <a:pt x="331" y="333"/>
                  </a:lnTo>
                  <a:lnTo>
                    <a:pt x="344" y="319"/>
                  </a:lnTo>
                  <a:lnTo>
                    <a:pt x="356" y="304"/>
                  </a:lnTo>
                  <a:lnTo>
                    <a:pt x="366" y="288"/>
                  </a:lnTo>
                  <a:lnTo>
                    <a:pt x="373" y="271"/>
                  </a:lnTo>
                  <a:lnTo>
                    <a:pt x="381" y="253"/>
                  </a:lnTo>
                  <a:lnTo>
                    <a:pt x="385" y="235"/>
                  </a:lnTo>
                  <a:lnTo>
                    <a:pt x="388" y="215"/>
                  </a:lnTo>
                  <a:lnTo>
                    <a:pt x="389" y="195"/>
                  </a:lnTo>
                  <a:lnTo>
                    <a:pt x="388" y="175"/>
                  </a:lnTo>
                  <a:lnTo>
                    <a:pt x="385" y="155"/>
                  </a:lnTo>
                  <a:lnTo>
                    <a:pt x="381" y="137"/>
                  </a:lnTo>
                  <a:lnTo>
                    <a:pt x="373" y="119"/>
                  </a:lnTo>
                  <a:lnTo>
                    <a:pt x="366" y="102"/>
                  </a:lnTo>
                  <a:lnTo>
                    <a:pt x="356" y="86"/>
                  </a:lnTo>
                  <a:lnTo>
                    <a:pt x="344" y="71"/>
                  </a:lnTo>
                  <a:lnTo>
                    <a:pt x="331" y="57"/>
                  </a:lnTo>
                  <a:lnTo>
                    <a:pt x="317" y="45"/>
                  </a:lnTo>
                  <a:lnTo>
                    <a:pt x="302" y="34"/>
                  </a:lnTo>
                  <a:lnTo>
                    <a:pt x="286" y="24"/>
                  </a:lnTo>
                  <a:lnTo>
                    <a:pt x="269" y="15"/>
                  </a:lnTo>
                  <a:lnTo>
                    <a:pt x="252" y="9"/>
                  </a:lnTo>
                  <a:lnTo>
                    <a:pt x="233" y="5"/>
                  </a:lnTo>
                  <a:lnTo>
                    <a:pt x="214" y="1"/>
                  </a:lnTo>
                  <a:lnTo>
                    <a:pt x="194" y="0"/>
                  </a:lnTo>
                  <a:lnTo>
                    <a:pt x="19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7" name="Freeform 93">
              <a:extLst>
                <a:ext uri="{FF2B5EF4-FFF2-40B4-BE49-F238E27FC236}">
                  <a16:creationId xmlns:a16="http://schemas.microsoft.com/office/drawing/2014/main" id="{7C80426B-8EE0-4A28-90A7-9A3D5E187210}"/>
                </a:ext>
              </a:extLst>
            </p:cNvPr>
            <p:cNvSpPr>
              <a:spLocks noEditPoints="1"/>
            </p:cNvSpPr>
            <p:nvPr/>
          </p:nvSpPr>
          <p:spPr bwMode="auto">
            <a:xfrm>
              <a:off x="5057203" y="2130473"/>
              <a:ext cx="179243" cy="228536"/>
            </a:xfrm>
            <a:custGeom>
              <a:avLst/>
              <a:gdLst>
                <a:gd name="T0" fmla="*/ 335 w 599"/>
                <a:gd name="T1" fmla="*/ 571 h 763"/>
                <a:gd name="T2" fmla="*/ 263 w 599"/>
                <a:gd name="T3" fmla="*/ 571 h 763"/>
                <a:gd name="T4" fmla="*/ 242 w 599"/>
                <a:gd name="T5" fmla="*/ 562 h 763"/>
                <a:gd name="T6" fmla="*/ 185 w 599"/>
                <a:gd name="T7" fmla="*/ 543 h 763"/>
                <a:gd name="T8" fmla="*/ 108 w 599"/>
                <a:gd name="T9" fmla="*/ 489 h 763"/>
                <a:gd name="T10" fmla="*/ 55 w 599"/>
                <a:gd name="T11" fmla="*/ 415 h 763"/>
                <a:gd name="T12" fmla="*/ 32 w 599"/>
                <a:gd name="T13" fmla="*/ 335 h 763"/>
                <a:gd name="T14" fmla="*/ 30 w 599"/>
                <a:gd name="T15" fmla="*/ 285 h 763"/>
                <a:gd name="T16" fmla="*/ 38 w 599"/>
                <a:gd name="T17" fmla="*/ 232 h 763"/>
                <a:gd name="T18" fmla="*/ 57 w 599"/>
                <a:gd name="T19" fmla="*/ 182 h 763"/>
                <a:gd name="T20" fmla="*/ 83 w 599"/>
                <a:gd name="T21" fmla="*/ 138 h 763"/>
                <a:gd name="T22" fmla="*/ 118 w 599"/>
                <a:gd name="T23" fmla="*/ 99 h 763"/>
                <a:gd name="T24" fmla="*/ 159 w 599"/>
                <a:gd name="T25" fmla="*/ 68 h 763"/>
                <a:gd name="T26" fmla="*/ 206 w 599"/>
                <a:gd name="T27" fmla="*/ 46 h 763"/>
                <a:gd name="T28" fmla="*/ 258 w 599"/>
                <a:gd name="T29" fmla="*/ 33 h 763"/>
                <a:gd name="T30" fmla="*/ 313 w 599"/>
                <a:gd name="T31" fmla="*/ 29 h 763"/>
                <a:gd name="T32" fmla="*/ 367 w 599"/>
                <a:gd name="T33" fmla="*/ 38 h 763"/>
                <a:gd name="T34" fmla="*/ 416 w 599"/>
                <a:gd name="T35" fmla="*/ 56 h 763"/>
                <a:gd name="T36" fmla="*/ 460 w 599"/>
                <a:gd name="T37" fmla="*/ 83 h 763"/>
                <a:gd name="T38" fmla="*/ 498 w 599"/>
                <a:gd name="T39" fmla="*/ 118 h 763"/>
                <a:gd name="T40" fmla="*/ 529 w 599"/>
                <a:gd name="T41" fmla="*/ 159 h 763"/>
                <a:gd name="T42" fmla="*/ 552 w 599"/>
                <a:gd name="T43" fmla="*/ 206 h 763"/>
                <a:gd name="T44" fmla="*/ 566 w 599"/>
                <a:gd name="T45" fmla="*/ 258 h 763"/>
                <a:gd name="T46" fmla="*/ 568 w 599"/>
                <a:gd name="T47" fmla="*/ 311 h 763"/>
                <a:gd name="T48" fmla="*/ 559 w 599"/>
                <a:gd name="T49" fmla="*/ 371 h 763"/>
                <a:gd name="T50" fmla="*/ 520 w 599"/>
                <a:gd name="T51" fmla="*/ 454 h 763"/>
                <a:gd name="T52" fmla="*/ 455 w 599"/>
                <a:gd name="T53" fmla="*/ 519 h 763"/>
                <a:gd name="T54" fmla="*/ 381 w 599"/>
                <a:gd name="T55" fmla="*/ 556 h 763"/>
                <a:gd name="T56" fmla="*/ 345 w 599"/>
                <a:gd name="T57" fmla="*/ 564 h 763"/>
                <a:gd name="T58" fmla="*/ 253 w 599"/>
                <a:gd name="T59" fmla="*/ 3 h 763"/>
                <a:gd name="T60" fmla="*/ 197 w 599"/>
                <a:gd name="T61" fmla="*/ 18 h 763"/>
                <a:gd name="T62" fmla="*/ 144 w 599"/>
                <a:gd name="T63" fmla="*/ 42 h 763"/>
                <a:gd name="T64" fmla="*/ 98 w 599"/>
                <a:gd name="T65" fmla="*/ 78 h 763"/>
                <a:gd name="T66" fmla="*/ 59 w 599"/>
                <a:gd name="T67" fmla="*/ 119 h 763"/>
                <a:gd name="T68" fmla="*/ 29 w 599"/>
                <a:gd name="T69" fmla="*/ 170 h 763"/>
                <a:gd name="T70" fmla="*/ 9 w 599"/>
                <a:gd name="T71" fmla="*/ 224 h 763"/>
                <a:gd name="T72" fmla="*/ 0 w 599"/>
                <a:gd name="T73" fmla="*/ 284 h 763"/>
                <a:gd name="T74" fmla="*/ 2 w 599"/>
                <a:gd name="T75" fmla="*/ 339 h 763"/>
                <a:gd name="T76" fmla="*/ 14 w 599"/>
                <a:gd name="T77" fmla="*/ 389 h 763"/>
                <a:gd name="T78" fmla="*/ 33 w 599"/>
                <a:gd name="T79" fmla="*/ 436 h 763"/>
                <a:gd name="T80" fmla="*/ 83 w 599"/>
                <a:gd name="T81" fmla="*/ 508 h 763"/>
                <a:gd name="T82" fmla="*/ 133 w 599"/>
                <a:gd name="T83" fmla="*/ 547 h 763"/>
                <a:gd name="T84" fmla="*/ 176 w 599"/>
                <a:gd name="T85" fmla="*/ 572 h 763"/>
                <a:gd name="T86" fmla="*/ 226 w 599"/>
                <a:gd name="T87" fmla="*/ 589 h 763"/>
                <a:gd name="T88" fmla="*/ 290 w 599"/>
                <a:gd name="T89" fmla="*/ 760 h 763"/>
                <a:gd name="T90" fmla="*/ 308 w 599"/>
                <a:gd name="T91" fmla="*/ 760 h 763"/>
                <a:gd name="T92" fmla="*/ 372 w 599"/>
                <a:gd name="T93" fmla="*/ 589 h 763"/>
                <a:gd name="T94" fmla="*/ 421 w 599"/>
                <a:gd name="T95" fmla="*/ 572 h 763"/>
                <a:gd name="T96" fmla="*/ 466 w 599"/>
                <a:gd name="T97" fmla="*/ 547 h 763"/>
                <a:gd name="T98" fmla="*/ 514 w 599"/>
                <a:gd name="T99" fmla="*/ 508 h 763"/>
                <a:gd name="T100" fmla="*/ 566 w 599"/>
                <a:gd name="T101" fmla="*/ 436 h 763"/>
                <a:gd name="T102" fmla="*/ 585 w 599"/>
                <a:gd name="T103" fmla="*/ 389 h 763"/>
                <a:gd name="T104" fmla="*/ 596 w 599"/>
                <a:gd name="T105" fmla="*/ 339 h 763"/>
                <a:gd name="T106" fmla="*/ 598 w 599"/>
                <a:gd name="T107" fmla="*/ 284 h 763"/>
                <a:gd name="T108" fmla="*/ 589 w 599"/>
                <a:gd name="T109" fmla="*/ 224 h 763"/>
                <a:gd name="T110" fmla="*/ 569 w 599"/>
                <a:gd name="T111" fmla="*/ 170 h 763"/>
                <a:gd name="T112" fmla="*/ 539 w 599"/>
                <a:gd name="T113" fmla="*/ 119 h 763"/>
                <a:gd name="T114" fmla="*/ 501 w 599"/>
                <a:gd name="T115" fmla="*/ 78 h 763"/>
                <a:gd name="T116" fmla="*/ 455 w 599"/>
                <a:gd name="T117" fmla="*/ 42 h 763"/>
                <a:gd name="T118" fmla="*/ 402 w 599"/>
                <a:gd name="T119" fmla="*/ 18 h 763"/>
                <a:gd name="T120" fmla="*/ 344 w 599"/>
                <a:gd name="T121" fmla="*/ 3 h 763"/>
                <a:gd name="T122" fmla="*/ 299 w 599"/>
                <a:gd name="T123"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9" h="763">
                  <a:moveTo>
                    <a:pt x="345" y="564"/>
                  </a:moveTo>
                  <a:lnTo>
                    <a:pt x="341" y="565"/>
                  </a:lnTo>
                  <a:lnTo>
                    <a:pt x="338" y="567"/>
                  </a:lnTo>
                  <a:lnTo>
                    <a:pt x="335" y="571"/>
                  </a:lnTo>
                  <a:lnTo>
                    <a:pt x="333" y="575"/>
                  </a:lnTo>
                  <a:lnTo>
                    <a:pt x="299" y="694"/>
                  </a:lnTo>
                  <a:lnTo>
                    <a:pt x="265" y="575"/>
                  </a:lnTo>
                  <a:lnTo>
                    <a:pt x="263" y="571"/>
                  </a:lnTo>
                  <a:lnTo>
                    <a:pt x="261" y="567"/>
                  </a:lnTo>
                  <a:lnTo>
                    <a:pt x="258" y="565"/>
                  </a:lnTo>
                  <a:lnTo>
                    <a:pt x="253" y="564"/>
                  </a:lnTo>
                  <a:lnTo>
                    <a:pt x="242" y="562"/>
                  </a:lnTo>
                  <a:lnTo>
                    <a:pt x="230" y="559"/>
                  </a:lnTo>
                  <a:lnTo>
                    <a:pt x="218" y="556"/>
                  </a:lnTo>
                  <a:lnTo>
                    <a:pt x="206" y="551"/>
                  </a:lnTo>
                  <a:lnTo>
                    <a:pt x="185" y="543"/>
                  </a:lnTo>
                  <a:lnTo>
                    <a:pt x="164" y="532"/>
                  </a:lnTo>
                  <a:lnTo>
                    <a:pt x="144" y="519"/>
                  </a:lnTo>
                  <a:lnTo>
                    <a:pt x="125" y="505"/>
                  </a:lnTo>
                  <a:lnTo>
                    <a:pt x="108" y="489"/>
                  </a:lnTo>
                  <a:lnTo>
                    <a:pt x="93" y="472"/>
                  </a:lnTo>
                  <a:lnTo>
                    <a:pt x="79" y="454"/>
                  </a:lnTo>
                  <a:lnTo>
                    <a:pt x="66" y="435"/>
                  </a:lnTo>
                  <a:lnTo>
                    <a:pt x="55" y="415"/>
                  </a:lnTo>
                  <a:lnTo>
                    <a:pt x="46" y="393"/>
                  </a:lnTo>
                  <a:lnTo>
                    <a:pt x="39" y="371"/>
                  </a:lnTo>
                  <a:lnTo>
                    <a:pt x="34" y="347"/>
                  </a:lnTo>
                  <a:lnTo>
                    <a:pt x="32" y="335"/>
                  </a:lnTo>
                  <a:lnTo>
                    <a:pt x="31" y="324"/>
                  </a:lnTo>
                  <a:lnTo>
                    <a:pt x="30" y="311"/>
                  </a:lnTo>
                  <a:lnTo>
                    <a:pt x="30" y="299"/>
                  </a:lnTo>
                  <a:lnTo>
                    <a:pt x="30" y="285"/>
                  </a:lnTo>
                  <a:lnTo>
                    <a:pt x="31" y="271"/>
                  </a:lnTo>
                  <a:lnTo>
                    <a:pt x="33" y="258"/>
                  </a:lnTo>
                  <a:lnTo>
                    <a:pt x="35" y="244"/>
                  </a:lnTo>
                  <a:lnTo>
                    <a:pt x="38" y="232"/>
                  </a:lnTo>
                  <a:lnTo>
                    <a:pt x="42" y="219"/>
                  </a:lnTo>
                  <a:lnTo>
                    <a:pt x="46" y="206"/>
                  </a:lnTo>
                  <a:lnTo>
                    <a:pt x="51" y="194"/>
                  </a:lnTo>
                  <a:lnTo>
                    <a:pt x="57" y="182"/>
                  </a:lnTo>
                  <a:lnTo>
                    <a:pt x="62" y="171"/>
                  </a:lnTo>
                  <a:lnTo>
                    <a:pt x="68" y="159"/>
                  </a:lnTo>
                  <a:lnTo>
                    <a:pt x="76" y="148"/>
                  </a:lnTo>
                  <a:lnTo>
                    <a:pt x="83" y="138"/>
                  </a:lnTo>
                  <a:lnTo>
                    <a:pt x="91" y="128"/>
                  </a:lnTo>
                  <a:lnTo>
                    <a:pt x="99" y="118"/>
                  </a:lnTo>
                  <a:lnTo>
                    <a:pt x="109" y="109"/>
                  </a:lnTo>
                  <a:lnTo>
                    <a:pt x="118" y="99"/>
                  </a:lnTo>
                  <a:lnTo>
                    <a:pt x="127" y="92"/>
                  </a:lnTo>
                  <a:lnTo>
                    <a:pt x="138" y="83"/>
                  </a:lnTo>
                  <a:lnTo>
                    <a:pt x="149" y="75"/>
                  </a:lnTo>
                  <a:lnTo>
                    <a:pt x="159" y="68"/>
                  </a:lnTo>
                  <a:lnTo>
                    <a:pt x="171" y="62"/>
                  </a:lnTo>
                  <a:lnTo>
                    <a:pt x="183" y="56"/>
                  </a:lnTo>
                  <a:lnTo>
                    <a:pt x="195" y="51"/>
                  </a:lnTo>
                  <a:lnTo>
                    <a:pt x="206" y="46"/>
                  </a:lnTo>
                  <a:lnTo>
                    <a:pt x="219" y="41"/>
                  </a:lnTo>
                  <a:lnTo>
                    <a:pt x="232" y="38"/>
                  </a:lnTo>
                  <a:lnTo>
                    <a:pt x="245" y="35"/>
                  </a:lnTo>
                  <a:lnTo>
                    <a:pt x="258" y="33"/>
                  </a:lnTo>
                  <a:lnTo>
                    <a:pt x="272" y="31"/>
                  </a:lnTo>
                  <a:lnTo>
                    <a:pt x="286" y="29"/>
                  </a:lnTo>
                  <a:lnTo>
                    <a:pt x="299" y="29"/>
                  </a:lnTo>
                  <a:lnTo>
                    <a:pt x="313" y="29"/>
                  </a:lnTo>
                  <a:lnTo>
                    <a:pt x="326" y="31"/>
                  </a:lnTo>
                  <a:lnTo>
                    <a:pt x="340" y="33"/>
                  </a:lnTo>
                  <a:lnTo>
                    <a:pt x="353" y="35"/>
                  </a:lnTo>
                  <a:lnTo>
                    <a:pt x="367" y="38"/>
                  </a:lnTo>
                  <a:lnTo>
                    <a:pt x="380" y="41"/>
                  </a:lnTo>
                  <a:lnTo>
                    <a:pt x="391" y="46"/>
                  </a:lnTo>
                  <a:lnTo>
                    <a:pt x="404" y="51"/>
                  </a:lnTo>
                  <a:lnTo>
                    <a:pt x="416" y="56"/>
                  </a:lnTo>
                  <a:lnTo>
                    <a:pt x="428" y="62"/>
                  </a:lnTo>
                  <a:lnTo>
                    <a:pt x="439" y="68"/>
                  </a:lnTo>
                  <a:lnTo>
                    <a:pt x="449" y="75"/>
                  </a:lnTo>
                  <a:lnTo>
                    <a:pt x="460" y="83"/>
                  </a:lnTo>
                  <a:lnTo>
                    <a:pt x="471" y="90"/>
                  </a:lnTo>
                  <a:lnTo>
                    <a:pt x="480" y="99"/>
                  </a:lnTo>
                  <a:lnTo>
                    <a:pt x="490" y="109"/>
                  </a:lnTo>
                  <a:lnTo>
                    <a:pt x="498" y="118"/>
                  </a:lnTo>
                  <a:lnTo>
                    <a:pt x="507" y="128"/>
                  </a:lnTo>
                  <a:lnTo>
                    <a:pt x="516" y="138"/>
                  </a:lnTo>
                  <a:lnTo>
                    <a:pt x="523" y="148"/>
                  </a:lnTo>
                  <a:lnTo>
                    <a:pt x="529" y="159"/>
                  </a:lnTo>
                  <a:lnTo>
                    <a:pt x="536" y="171"/>
                  </a:lnTo>
                  <a:lnTo>
                    <a:pt x="542" y="182"/>
                  </a:lnTo>
                  <a:lnTo>
                    <a:pt x="548" y="194"/>
                  </a:lnTo>
                  <a:lnTo>
                    <a:pt x="552" y="206"/>
                  </a:lnTo>
                  <a:lnTo>
                    <a:pt x="556" y="219"/>
                  </a:lnTo>
                  <a:lnTo>
                    <a:pt x="561" y="232"/>
                  </a:lnTo>
                  <a:lnTo>
                    <a:pt x="564" y="244"/>
                  </a:lnTo>
                  <a:lnTo>
                    <a:pt x="566" y="258"/>
                  </a:lnTo>
                  <a:lnTo>
                    <a:pt x="567" y="271"/>
                  </a:lnTo>
                  <a:lnTo>
                    <a:pt x="568" y="285"/>
                  </a:lnTo>
                  <a:lnTo>
                    <a:pt x="569" y="299"/>
                  </a:lnTo>
                  <a:lnTo>
                    <a:pt x="568" y="311"/>
                  </a:lnTo>
                  <a:lnTo>
                    <a:pt x="568" y="324"/>
                  </a:lnTo>
                  <a:lnTo>
                    <a:pt x="566" y="335"/>
                  </a:lnTo>
                  <a:lnTo>
                    <a:pt x="565" y="347"/>
                  </a:lnTo>
                  <a:lnTo>
                    <a:pt x="559" y="371"/>
                  </a:lnTo>
                  <a:lnTo>
                    <a:pt x="552" y="393"/>
                  </a:lnTo>
                  <a:lnTo>
                    <a:pt x="543" y="415"/>
                  </a:lnTo>
                  <a:lnTo>
                    <a:pt x="533" y="435"/>
                  </a:lnTo>
                  <a:lnTo>
                    <a:pt x="520" y="454"/>
                  </a:lnTo>
                  <a:lnTo>
                    <a:pt x="506" y="472"/>
                  </a:lnTo>
                  <a:lnTo>
                    <a:pt x="490" y="489"/>
                  </a:lnTo>
                  <a:lnTo>
                    <a:pt x="473" y="505"/>
                  </a:lnTo>
                  <a:lnTo>
                    <a:pt x="455" y="519"/>
                  </a:lnTo>
                  <a:lnTo>
                    <a:pt x="434" y="532"/>
                  </a:lnTo>
                  <a:lnTo>
                    <a:pt x="414" y="543"/>
                  </a:lnTo>
                  <a:lnTo>
                    <a:pt x="391" y="551"/>
                  </a:lnTo>
                  <a:lnTo>
                    <a:pt x="381" y="556"/>
                  </a:lnTo>
                  <a:lnTo>
                    <a:pt x="369" y="559"/>
                  </a:lnTo>
                  <a:lnTo>
                    <a:pt x="357" y="562"/>
                  </a:lnTo>
                  <a:lnTo>
                    <a:pt x="345" y="564"/>
                  </a:lnTo>
                  <a:lnTo>
                    <a:pt x="345" y="564"/>
                  </a:lnTo>
                  <a:close/>
                  <a:moveTo>
                    <a:pt x="299" y="0"/>
                  </a:moveTo>
                  <a:lnTo>
                    <a:pt x="283" y="0"/>
                  </a:lnTo>
                  <a:lnTo>
                    <a:pt x="268" y="1"/>
                  </a:lnTo>
                  <a:lnTo>
                    <a:pt x="253" y="3"/>
                  </a:lnTo>
                  <a:lnTo>
                    <a:pt x="238" y="6"/>
                  </a:lnTo>
                  <a:lnTo>
                    <a:pt x="225" y="9"/>
                  </a:lnTo>
                  <a:lnTo>
                    <a:pt x="211" y="12"/>
                  </a:lnTo>
                  <a:lnTo>
                    <a:pt x="197" y="18"/>
                  </a:lnTo>
                  <a:lnTo>
                    <a:pt x="183" y="23"/>
                  </a:lnTo>
                  <a:lnTo>
                    <a:pt x="169" y="29"/>
                  </a:lnTo>
                  <a:lnTo>
                    <a:pt x="156" y="36"/>
                  </a:lnTo>
                  <a:lnTo>
                    <a:pt x="144" y="42"/>
                  </a:lnTo>
                  <a:lnTo>
                    <a:pt x="131" y="51"/>
                  </a:lnTo>
                  <a:lnTo>
                    <a:pt x="120" y="59"/>
                  </a:lnTo>
                  <a:lnTo>
                    <a:pt x="109" y="68"/>
                  </a:lnTo>
                  <a:lnTo>
                    <a:pt x="98" y="78"/>
                  </a:lnTo>
                  <a:lnTo>
                    <a:pt x="88" y="87"/>
                  </a:lnTo>
                  <a:lnTo>
                    <a:pt x="78" y="98"/>
                  </a:lnTo>
                  <a:lnTo>
                    <a:pt x="68" y="109"/>
                  </a:lnTo>
                  <a:lnTo>
                    <a:pt x="59" y="119"/>
                  </a:lnTo>
                  <a:lnTo>
                    <a:pt x="51" y="131"/>
                  </a:lnTo>
                  <a:lnTo>
                    <a:pt x="43" y="144"/>
                  </a:lnTo>
                  <a:lnTo>
                    <a:pt x="36" y="157"/>
                  </a:lnTo>
                  <a:lnTo>
                    <a:pt x="29" y="170"/>
                  </a:lnTo>
                  <a:lnTo>
                    <a:pt x="23" y="182"/>
                  </a:lnTo>
                  <a:lnTo>
                    <a:pt x="18" y="196"/>
                  </a:lnTo>
                  <a:lnTo>
                    <a:pt x="13" y="210"/>
                  </a:lnTo>
                  <a:lnTo>
                    <a:pt x="9" y="224"/>
                  </a:lnTo>
                  <a:lnTo>
                    <a:pt x="5" y="239"/>
                  </a:lnTo>
                  <a:lnTo>
                    <a:pt x="3" y="253"/>
                  </a:lnTo>
                  <a:lnTo>
                    <a:pt x="1" y="268"/>
                  </a:lnTo>
                  <a:lnTo>
                    <a:pt x="0" y="284"/>
                  </a:lnTo>
                  <a:lnTo>
                    <a:pt x="0" y="299"/>
                  </a:lnTo>
                  <a:lnTo>
                    <a:pt x="0" y="312"/>
                  </a:lnTo>
                  <a:lnTo>
                    <a:pt x="1" y="326"/>
                  </a:lnTo>
                  <a:lnTo>
                    <a:pt x="2" y="339"/>
                  </a:lnTo>
                  <a:lnTo>
                    <a:pt x="4" y="351"/>
                  </a:lnTo>
                  <a:lnTo>
                    <a:pt x="6" y="364"/>
                  </a:lnTo>
                  <a:lnTo>
                    <a:pt x="9" y="377"/>
                  </a:lnTo>
                  <a:lnTo>
                    <a:pt x="14" y="389"/>
                  </a:lnTo>
                  <a:lnTo>
                    <a:pt x="17" y="401"/>
                  </a:lnTo>
                  <a:lnTo>
                    <a:pt x="22" y="413"/>
                  </a:lnTo>
                  <a:lnTo>
                    <a:pt x="27" y="424"/>
                  </a:lnTo>
                  <a:lnTo>
                    <a:pt x="33" y="436"/>
                  </a:lnTo>
                  <a:lnTo>
                    <a:pt x="38" y="447"/>
                  </a:lnTo>
                  <a:lnTo>
                    <a:pt x="52" y="468"/>
                  </a:lnTo>
                  <a:lnTo>
                    <a:pt x="67" y="488"/>
                  </a:lnTo>
                  <a:lnTo>
                    <a:pt x="83" y="508"/>
                  </a:lnTo>
                  <a:lnTo>
                    <a:pt x="101" y="525"/>
                  </a:lnTo>
                  <a:lnTo>
                    <a:pt x="111" y="532"/>
                  </a:lnTo>
                  <a:lnTo>
                    <a:pt x="122" y="541"/>
                  </a:lnTo>
                  <a:lnTo>
                    <a:pt x="133" y="547"/>
                  </a:lnTo>
                  <a:lnTo>
                    <a:pt x="143" y="555"/>
                  </a:lnTo>
                  <a:lnTo>
                    <a:pt x="154" y="561"/>
                  </a:lnTo>
                  <a:lnTo>
                    <a:pt x="165" y="566"/>
                  </a:lnTo>
                  <a:lnTo>
                    <a:pt x="176" y="572"/>
                  </a:lnTo>
                  <a:lnTo>
                    <a:pt x="188" y="577"/>
                  </a:lnTo>
                  <a:lnTo>
                    <a:pt x="201" y="581"/>
                  </a:lnTo>
                  <a:lnTo>
                    <a:pt x="213" y="586"/>
                  </a:lnTo>
                  <a:lnTo>
                    <a:pt x="226" y="589"/>
                  </a:lnTo>
                  <a:lnTo>
                    <a:pt x="238" y="592"/>
                  </a:lnTo>
                  <a:lnTo>
                    <a:pt x="284" y="753"/>
                  </a:lnTo>
                  <a:lnTo>
                    <a:pt x="287" y="757"/>
                  </a:lnTo>
                  <a:lnTo>
                    <a:pt x="290" y="760"/>
                  </a:lnTo>
                  <a:lnTo>
                    <a:pt x="294" y="762"/>
                  </a:lnTo>
                  <a:lnTo>
                    <a:pt x="299" y="763"/>
                  </a:lnTo>
                  <a:lnTo>
                    <a:pt x="304" y="762"/>
                  </a:lnTo>
                  <a:lnTo>
                    <a:pt x="308" y="760"/>
                  </a:lnTo>
                  <a:lnTo>
                    <a:pt x="311" y="757"/>
                  </a:lnTo>
                  <a:lnTo>
                    <a:pt x="313" y="753"/>
                  </a:lnTo>
                  <a:lnTo>
                    <a:pt x="359" y="592"/>
                  </a:lnTo>
                  <a:lnTo>
                    <a:pt x="372" y="589"/>
                  </a:lnTo>
                  <a:lnTo>
                    <a:pt x="385" y="586"/>
                  </a:lnTo>
                  <a:lnTo>
                    <a:pt x="398" y="581"/>
                  </a:lnTo>
                  <a:lnTo>
                    <a:pt x="410" y="577"/>
                  </a:lnTo>
                  <a:lnTo>
                    <a:pt x="421" y="572"/>
                  </a:lnTo>
                  <a:lnTo>
                    <a:pt x="433" y="566"/>
                  </a:lnTo>
                  <a:lnTo>
                    <a:pt x="445" y="561"/>
                  </a:lnTo>
                  <a:lnTo>
                    <a:pt x="456" y="555"/>
                  </a:lnTo>
                  <a:lnTo>
                    <a:pt x="466" y="547"/>
                  </a:lnTo>
                  <a:lnTo>
                    <a:pt x="477" y="541"/>
                  </a:lnTo>
                  <a:lnTo>
                    <a:pt x="487" y="532"/>
                  </a:lnTo>
                  <a:lnTo>
                    <a:pt x="496" y="525"/>
                  </a:lnTo>
                  <a:lnTo>
                    <a:pt x="514" y="508"/>
                  </a:lnTo>
                  <a:lnTo>
                    <a:pt x="532" y="488"/>
                  </a:lnTo>
                  <a:lnTo>
                    <a:pt x="547" y="468"/>
                  </a:lnTo>
                  <a:lnTo>
                    <a:pt x="559" y="447"/>
                  </a:lnTo>
                  <a:lnTo>
                    <a:pt x="566" y="436"/>
                  </a:lnTo>
                  <a:lnTo>
                    <a:pt x="571" y="424"/>
                  </a:lnTo>
                  <a:lnTo>
                    <a:pt x="577" y="413"/>
                  </a:lnTo>
                  <a:lnTo>
                    <a:pt x="581" y="401"/>
                  </a:lnTo>
                  <a:lnTo>
                    <a:pt x="585" y="389"/>
                  </a:lnTo>
                  <a:lnTo>
                    <a:pt x="588" y="377"/>
                  </a:lnTo>
                  <a:lnTo>
                    <a:pt x="592" y="364"/>
                  </a:lnTo>
                  <a:lnTo>
                    <a:pt x="594" y="351"/>
                  </a:lnTo>
                  <a:lnTo>
                    <a:pt x="596" y="339"/>
                  </a:lnTo>
                  <a:lnTo>
                    <a:pt x="598" y="326"/>
                  </a:lnTo>
                  <a:lnTo>
                    <a:pt x="598" y="312"/>
                  </a:lnTo>
                  <a:lnTo>
                    <a:pt x="599" y="299"/>
                  </a:lnTo>
                  <a:lnTo>
                    <a:pt x="598" y="284"/>
                  </a:lnTo>
                  <a:lnTo>
                    <a:pt x="597" y="268"/>
                  </a:lnTo>
                  <a:lnTo>
                    <a:pt x="595" y="253"/>
                  </a:lnTo>
                  <a:lnTo>
                    <a:pt x="593" y="239"/>
                  </a:lnTo>
                  <a:lnTo>
                    <a:pt x="589" y="224"/>
                  </a:lnTo>
                  <a:lnTo>
                    <a:pt x="585" y="210"/>
                  </a:lnTo>
                  <a:lnTo>
                    <a:pt x="581" y="196"/>
                  </a:lnTo>
                  <a:lnTo>
                    <a:pt x="575" y="182"/>
                  </a:lnTo>
                  <a:lnTo>
                    <a:pt x="569" y="170"/>
                  </a:lnTo>
                  <a:lnTo>
                    <a:pt x="563" y="157"/>
                  </a:lnTo>
                  <a:lnTo>
                    <a:pt x="555" y="144"/>
                  </a:lnTo>
                  <a:lnTo>
                    <a:pt x="548" y="131"/>
                  </a:lnTo>
                  <a:lnTo>
                    <a:pt x="539" y="119"/>
                  </a:lnTo>
                  <a:lnTo>
                    <a:pt x="531" y="109"/>
                  </a:lnTo>
                  <a:lnTo>
                    <a:pt x="521" y="98"/>
                  </a:lnTo>
                  <a:lnTo>
                    <a:pt x="511" y="87"/>
                  </a:lnTo>
                  <a:lnTo>
                    <a:pt x="501" y="78"/>
                  </a:lnTo>
                  <a:lnTo>
                    <a:pt x="490" y="68"/>
                  </a:lnTo>
                  <a:lnTo>
                    <a:pt x="478" y="59"/>
                  </a:lnTo>
                  <a:lnTo>
                    <a:pt x="466" y="51"/>
                  </a:lnTo>
                  <a:lnTo>
                    <a:pt x="455" y="42"/>
                  </a:lnTo>
                  <a:lnTo>
                    <a:pt x="442" y="36"/>
                  </a:lnTo>
                  <a:lnTo>
                    <a:pt x="429" y="29"/>
                  </a:lnTo>
                  <a:lnTo>
                    <a:pt x="416" y="23"/>
                  </a:lnTo>
                  <a:lnTo>
                    <a:pt x="402" y="18"/>
                  </a:lnTo>
                  <a:lnTo>
                    <a:pt x="388" y="13"/>
                  </a:lnTo>
                  <a:lnTo>
                    <a:pt x="374" y="9"/>
                  </a:lnTo>
                  <a:lnTo>
                    <a:pt x="359" y="6"/>
                  </a:lnTo>
                  <a:lnTo>
                    <a:pt x="344" y="3"/>
                  </a:lnTo>
                  <a:lnTo>
                    <a:pt x="329" y="1"/>
                  </a:lnTo>
                  <a:lnTo>
                    <a:pt x="314" y="0"/>
                  </a:lnTo>
                  <a:lnTo>
                    <a:pt x="299" y="0"/>
                  </a:lnTo>
                  <a:lnTo>
                    <a:pt x="2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69" name="Freeform 144">
            <a:extLst>
              <a:ext uri="{FF2B5EF4-FFF2-40B4-BE49-F238E27FC236}">
                <a16:creationId xmlns:a16="http://schemas.microsoft.com/office/drawing/2014/main" id="{478C355F-11E9-4171-81B3-F8C1D52510CC}"/>
              </a:ext>
            </a:extLst>
          </p:cNvPr>
          <p:cNvSpPr>
            <a:spLocks noChangeAspect="1" noEditPoints="1"/>
          </p:cNvSpPr>
          <p:nvPr>
            <p:custDataLst>
              <p:tags r:id="rId3"/>
            </p:custDataLst>
          </p:nvPr>
        </p:nvSpPr>
        <p:spPr bwMode="auto">
          <a:xfrm>
            <a:off x="4466958" y="2186361"/>
            <a:ext cx="252062" cy="306484"/>
          </a:xfrm>
          <a:custGeom>
            <a:avLst/>
            <a:gdLst>
              <a:gd name="T0" fmla="*/ 638 w 702"/>
              <a:gd name="T1" fmla="*/ 461 h 859"/>
              <a:gd name="T2" fmla="*/ 578 w 702"/>
              <a:gd name="T3" fmla="*/ 471 h 859"/>
              <a:gd name="T4" fmla="*/ 495 w 702"/>
              <a:gd name="T5" fmla="*/ 475 h 859"/>
              <a:gd name="T6" fmla="*/ 432 w 702"/>
              <a:gd name="T7" fmla="*/ 471 h 859"/>
              <a:gd name="T8" fmla="*/ 372 w 702"/>
              <a:gd name="T9" fmla="*/ 461 h 859"/>
              <a:gd name="T10" fmla="*/ 312 w 702"/>
              <a:gd name="T11" fmla="*/ 448 h 859"/>
              <a:gd name="T12" fmla="*/ 251 w 702"/>
              <a:gd name="T13" fmla="*/ 438 h 859"/>
              <a:gd name="T14" fmla="*/ 188 w 702"/>
              <a:gd name="T15" fmla="*/ 430 h 859"/>
              <a:gd name="T16" fmla="*/ 123 w 702"/>
              <a:gd name="T17" fmla="*/ 431 h 859"/>
              <a:gd name="T18" fmla="*/ 61 w 702"/>
              <a:gd name="T19" fmla="*/ 440 h 859"/>
              <a:gd name="T20" fmla="*/ 55 w 702"/>
              <a:gd name="T21" fmla="*/ 51 h 859"/>
              <a:gd name="T22" fmla="*/ 118 w 702"/>
              <a:gd name="T23" fmla="*/ 41 h 859"/>
              <a:gd name="T24" fmla="*/ 187 w 702"/>
              <a:gd name="T25" fmla="*/ 40 h 859"/>
              <a:gd name="T26" fmla="*/ 245 w 702"/>
              <a:gd name="T27" fmla="*/ 47 h 859"/>
              <a:gd name="T28" fmla="*/ 344 w 702"/>
              <a:gd name="T29" fmla="*/ 66 h 859"/>
              <a:gd name="T30" fmla="*/ 406 w 702"/>
              <a:gd name="T31" fmla="*/ 78 h 859"/>
              <a:gd name="T32" fmla="*/ 472 w 702"/>
              <a:gd name="T33" fmla="*/ 84 h 859"/>
              <a:gd name="T34" fmla="*/ 550 w 702"/>
              <a:gd name="T35" fmla="*/ 83 h 859"/>
              <a:gd name="T36" fmla="*/ 617 w 702"/>
              <a:gd name="T37" fmla="*/ 76 h 859"/>
              <a:gd name="T38" fmla="*/ 663 w 702"/>
              <a:gd name="T39" fmla="*/ 66 h 859"/>
              <a:gd name="T40" fmla="*/ 676 w 702"/>
              <a:gd name="T41" fmla="*/ 22 h 859"/>
              <a:gd name="T42" fmla="*/ 648 w 702"/>
              <a:gd name="T43" fmla="*/ 29 h 859"/>
              <a:gd name="T44" fmla="*/ 569 w 702"/>
              <a:gd name="T45" fmla="*/ 42 h 859"/>
              <a:gd name="T46" fmla="*/ 473 w 702"/>
              <a:gd name="T47" fmla="*/ 45 h 859"/>
              <a:gd name="T48" fmla="*/ 412 w 702"/>
              <a:gd name="T49" fmla="*/ 39 h 859"/>
              <a:gd name="T50" fmla="*/ 351 w 702"/>
              <a:gd name="T51" fmla="*/ 27 h 859"/>
              <a:gd name="T52" fmla="*/ 292 w 702"/>
              <a:gd name="T53" fmla="*/ 15 h 859"/>
              <a:gd name="T54" fmla="*/ 230 w 702"/>
              <a:gd name="T55" fmla="*/ 4 h 859"/>
              <a:gd name="T56" fmla="*/ 166 w 702"/>
              <a:gd name="T57" fmla="*/ 0 h 859"/>
              <a:gd name="T58" fmla="*/ 67 w 702"/>
              <a:gd name="T59" fmla="*/ 9 h 859"/>
              <a:gd name="T60" fmla="*/ 18 w 702"/>
              <a:gd name="T61" fmla="*/ 23 h 859"/>
              <a:gd name="T62" fmla="*/ 0 w 702"/>
              <a:gd name="T63" fmla="*/ 34 h 859"/>
              <a:gd name="T64" fmla="*/ 0 w 702"/>
              <a:gd name="T65" fmla="*/ 859 h 859"/>
              <a:gd name="T66" fmla="*/ 55 w 702"/>
              <a:gd name="T67" fmla="*/ 481 h 859"/>
              <a:gd name="T68" fmla="*/ 118 w 702"/>
              <a:gd name="T69" fmla="*/ 471 h 859"/>
              <a:gd name="T70" fmla="*/ 187 w 702"/>
              <a:gd name="T71" fmla="*/ 470 h 859"/>
              <a:gd name="T72" fmla="*/ 245 w 702"/>
              <a:gd name="T73" fmla="*/ 475 h 859"/>
              <a:gd name="T74" fmla="*/ 344 w 702"/>
              <a:gd name="T75" fmla="*/ 496 h 859"/>
              <a:gd name="T76" fmla="*/ 406 w 702"/>
              <a:gd name="T77" fmla="*/ 507 h 859"/>
              <a:gd name="T78" fmla="*/ 472 w 702"/>
              <a:gd name="T79" fmla="*/ 514 h 859"/>
              <a:gd name="T80" fmla="*/ 575 w 702"/>
              <a:gd name="T81" fmla="*/ 511 h 859"/>
              <a:gd name="T82" fmla="*/ 658 w 702"/>
              <a:gd name="T83" fmla="*/ 497 h 859"/>
              <a:gd name="T84" fmla="*/ 689 w 702"/>
              <a:gd name="T85" fmla="*/ 488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2" h="859">
                <a:moveTo>
                  <a:pt x="663" y="455"/>
                </a:moveTo>
                <a:lnTo>
                  <a:pt x="652" y="458"/>
                </a:lnTo>
                <a:lnTo>
                  <a:pt x="638" y="461"/>
                </a:lnTo>
                <a:lnTo>
                  <a:pt x="621" y="465"/>
                </a:lnTo>
                <a:lnTo>
                  <a:pt x="601" y="468"/>
                </a:lnTo>
                <a:lnTo>
                  <a:pt x="578" y="471"/>
                </a:lnTo>
                <a:lnTo>
                  <a:pt x="553" y="473"/>
                </a:lnTo>
                <a:lnTo>
                  <a:pt x="525" y="475"/>
                </a:lnTo>
                <a:lnTo>
                  <a:pt x="495" y="475"/>
                </a:lnTo>
                <a:lnTo>
                  <a:pt x="473" y="475"/>
                </a:lnTo>
                <a:lnTo>
                  <a:pt x="453" y="473"/>
                </a:lnTo>
                <a:lnTo>
                  <a:pt x="432" y="471"/>
                </a:lnTo>
                <a:lnTo>
                  <a:pt x="412" y="469"/>
                </a:lnTo>
                <a:lnTo>
                  <a:pt x="391" y="465"/>
                </a:lnTo>
                <a:lnTo>
                  <a:pt x="372" y="461"/>
                </a:lnTo>
                <a:lnTo>
                  <a:pt x="351" y="457"/>
                </a:lnTo>
                <a:lnTo>
                  <a:pt x="332" y="453"/>
                </a:lnTo>
                <a:lnTo>
                  <a:pt x="312" y="448"/>
                </a:lnTo>
                <a:lnTo>
                  <a:pt x="292" y="444"/>
                </a:lnTo>
                <a:lnTo>
                  <a:pt x="271" y="441"/>
                </a:lnTo>
                <a:lnTo>
                  <a:pt x="251" y="438"/>
                </a:lnTo>
                <a:lnTo>
                  <a:pt x="230" y="434"/>
                </a:lnTo>
                <a:lnTo>
                  <a:pt x="210" y="432"/>
                </a:lnTo>
                <a:lnTo>
                  <a:pt x="188" y="430"/>
                </a:lnTo>
                <a:lnTo>
                  <a:pt x="166" y="430"/>
                </a:lnTo>
                <a:lnTo>
                  <a:pt x="144" y="430"/>
                </a:lnTo>
                <a:lnTo>
                  <a:pt x="123" y="431"/>
                </a:lnTo>
                <a:lnTo>
                  <a:pt x="105" y="433"/>
                </a:lnTo>
                <a:lnTo>
                  <a:pt x="89" y="434"/>
                </a:lnTo>
                <a:lnTo>
                  <a:pt x="61" y="440"/>
                </a:lnTo>
                <a:lnTo>
                  <a:pt x="39" y="445"/>
                </a:lnTo>
                <a:lnTo>
                  <a:pt x="39" y="56"/>
                </a:lnTo>
                <a:lnTo>
                  <a:pt x="55" y="51"/>
                </a:lnTo>
                <a:lnTo>
                  <a:pt x="81" y="45"/>
                </a:lnTo>
                <a:lnTo>
                  <a:pt x="98" y="43"/>
                </a:lnTo>
                <a:lnTo>
                  <a:pt x="118" y="41"/>
                </a:lnTo>
                <a:lnTo>
                  <a:pt x="140" y="40"/>
                </a:lnTo>
                <a:lnTo>
                  <a:pt x="166" y="39"/>
                </a:lnTo>
                <a:lnTo>
                  <a:pt x="187" y="40"/>
                </a:lnTo>
                <a:lnTo>
                  <a:pt x="206" y="41"/>
                </a:lnTo>
                <a:lnTo>
                  <a:pt x="226" y="43"/>
                </a:lnTo>
                <a:lnTo>
                  <a:pt x="245" y="47"/>
                </a:lnTo>
                <a:lnTo>
                  <a:pt x="284" y="53"/>
                </a:lnTo>
                <a:lnTo>
                  <a:pt x="324" y="62"/>
                </a:lnTo>
                <a:lnTo>
                  <a:pt x="344" y="66"/>
                </a:lnTo>
                <a:lnTo>
                  <a:pt x="364" y="70"/>
                </a:lnTo>
                <a:lnTo>
                  <a:pt x="386" y="74"/>
                </a:lnTo>
                <a:lnTo>
                  <a:pt x="406" y="78"/>
                </a:lnTo>
                <a:lnTo>
                  <a:pt x="428" y="80"/>
                </a:lnTo>
                <a:lnTo>
                  <a:pt x="449" y="83"/>
                </a:lnTo>
                <a:lnTo>
                  <a:pt x="472" y="84"/>
                </a:lnTo>
                <a:lnTo>
                  <a:pt x="495" y="84"/>
                </a:lnTo>
                <a:lnTo>
                  <a:pt x="523" y="84"/>
                </a:lnTo>
                <a:lnTo>
                  <a:pt x="550" y="83"/>
                </a:lnTo>
                <a:lnTo>
                  <a:pt x="575" y="81"/>
                </a:lnTo>
                <a:lnTo>
                  <a:pt x="596" y="78"/>
                </a:lnTo>
                <a:lnTo>
                  <a:pt x="617" y="76"/>
                </a:lnTo>
                <a:lnTo>
                  <a:pt x="635" y="72"/>
                </a:lnTo>
                <a:lnTo>
                  <a:pt x="650" y="69"/>
                </a:lnTo>
                <a:lnTo>
                  <a:pt x="663" y="66"/>
                </a:lnTo>
                <a:lnTo>
                  <a:pt x="663" y="455"/>
                </a:lnTo>
                <a:close/>
                <a:moveTo>
                  <a:pt x="702" y="12"/>
                </a:moveTo>
                <a:lnTo>
                  <a:pt x="676" y="22"/>
                </a:lnTo>
                <a:lnTo>
                  <a:pt x="673" y="23"/>
                </a:lnTo>
                <a:lnTo>
                  <a:pt x="663" y="25"/>
                </a:lnTo>
                <a:lnTo>
                  <a:pt x="648" y="29"/>
                </a:lnTo>
                <a:lnTo>
                  <a:pt x="627" y="34"/>
                </a:lnTo>
                <a:lnTo>
                  <a:pt x="601" y="38"/>
                </a:lnTo>
                <a:lnTo>
                  <a:pt x="569" y="42"/>
                </a:lnTo>
                <a:lnTo>
                  <a:pt x="535" y="44"/>
                </a:lnTo>
                <a:lnTo>
                  <a:pt x="495" y="45"/>
                </a:lnTo>
                <a:lnTo>
                  <a:pt x="473" y="45"/>
                </a:lnTo>
                <a:lnTo>
                  <a:pt x="453" y="44"/>
                </a:lnTo>
                <a:lnTo>
                  <a:pt x="432" y="41"/>
                </a:lnTo>
                <a:lnTo>
                  <a:pt x="412" y="39"/>
                </a:lnTo>
                <a:lnTo>
                  <a:pt x="391" y="36"/>
                </a:lnTo>
                <a:lnTo>
                  <a:pt x="372" y="31"/>
                </a:lnTo>
                <a:lnTo>
                  <a:pt x="351" y="27"/>
                </a:lnTo>
                <a:lnTo>
                  <a:pt x="332" y="23"/>
                </a:lnTo>
                <a:lnTo>
                  <a:pt x="312" y="20"/>
                </a:lnTo>
                <a:lnTo>
                  <a:pt x="292" y="15"/>
                </a:lnTo>
                <a:lnTo>
                  <a:pt x="271" y="11"/>
                </a:lnTo>
                <a:lnTo>
                  <a:pt x="251" y="8"/>
                </a:lnTo>
                <a:lnTo>
                  <a:pt x="230" y="4"/>
                </a:lnTo>
                <a:lnTo>
                  <a:pt x="210" y="2"/>
                </a:lnTo>
                <a:lnTo>
                  <a:pt x="188" y="1"/>
                </a:lnTo>
                <a:lnTo>
                  <a:pt x="166" y="0"/>
                </a:lnTo>
                <a:lnTo>
                  <a:pt x="126" y="1"/>
                </a:lnTo>
                <a:lnTo>
                  <a:pt x="94" y="4"/>
                </a:lnTo>
                <a:lnTo>
                  <a:pt x="67" y="9"/>
                </a:lnTo>
                <a:lnTo>
                  <a:pt x="45" y="13"/>
                </a:lnTo>
                <a:lnTo>
                  <a:pt x="30" y="18"/>
                </a:lnTo>
                <a:lnTo>
                  <a:pt x="18" y="23"/>
                </a:lnTo>
                <a:lnTo>
                  <a:pt x="12" y="26"/>
                </a:lnTo>
                <a:lnTo>
                  <a:pt x="9" y="28"/>
                </a:lnTo>
                <a:lnTo>
                  <a:pt x="0" y="34"/>
                </a:lnTo>
                <a:lnTo>
                  <a:pt x="0" y="40"/>
                </a:lnTo>
                <a:lnTo>
                  <a:pt x="0" y="479"/>
                </a:lnTo>
                <a:lnTo>
                  <a:pt x="0" y="859"/>
                </a:lnTo>
                <a:lnTo>
                  <a:pt x="39" y="859"/>
                </a:lnTo>
                <a:lnTo>
                  <a:pt x="39" y="486"/>
                </a:lnTo>
                <a:lnTo>
                  <a:pt x="55" y="481"/>
                </a:lnTo>
                <a:lnTo>
                  <a:pt x="81" y="475"/>
                </a:lnTo>
                <a:lnTo>
                  <a:pt x="98" y="473"/>
                </a:lnTo>
                <a:lnTo>
                  <a:pt x="118" y="471"/>
                </a:lnTo>
                <a:lnTo>
                  <a:pt x="140" y="470"/>
                </a:lnTo>
                <a:lnTo>
                  <a:pt x="166" y="469"/>
                </a:lnTo>
                <a:lnTo>
                  <a:pt x="187" y="470"/>
                </a:lnTo>
                <a:lnTo>
                  <a:pt x="206" y="471"/>
                </a:lnTo>
                <a:lnTo>
                  <a:pt x="226" y="473"/>
                </a:lnTo>
                <a:lnTo>
                  <a:pt x="245" y="475"/>
                </a:lnTo>
                <a:lnTo>
                  <a:pt x="284" y="483"/>
                </a:lnTo>
                <a:lnTo>
                  <a:pt x="324" y="492"/>
                </a:lnTo>
                <a:lnTo>
                  <a:pt x="344" y="496"/>
                </a:lnTo>
                <a:lnTo>
                  <a:pt x="364" y="499"/>
                </a:lnTo>
                <a:lnTo>
                  <a:pt x="386" y="503"/>
                </a:lnTo>
                <a:lnTo>
                  <a:pt x="406" y="507"/>
                </a:lnTo>
                <a:lnTo>
                  <a:pt x="428" y="510"/>
                </a:lnTo>
                <a:lnTo>
                  <a:pt x="449" y="512"/>
                </a:lnTo>
                <a:lnTo>
                  <a:pt x="472" y="514"/>
                </a:lnTo>
                <a:lnTo>
                  <a:pt x="495" y="514"/>
                </a:lnTo>
                <a:lnTo>
                  <a:pt x="537" y="513"/>
                </a:lnTo>
                <a:lnTo>
                  <a:pt x="575" y="511"/>
                </a:lnTo>
                <a:lnTo>
                  <a:pt x="607" y="507"/>
                </a:lnTo>
                <a:lnTo>
                  <a:pt x="635" y="501"/>
                </a:lnTo>
                <a:lnTo>
                  <a:pt x="658" y="497"/>
                </a:lnTo>
                <a:lnTo>
                  <a:pt x="674" y="493"/>
                </a:lnTo>
                <a:lnTo>
                  <a:pt x="685" y="489"/>
                </a:lnTo>
                <a:lnTo>
                  <a:pt x="689" y="488"/>
                </a:lnTo>
                <a:lnTo>
                  <a:pt x="702" y="483"/>
                </a:lnTo>
                <a:lnTo>
                  <a:pt x="702" y="12"/>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784" name="Group 44">
            <a:extLst>
              <a:ext uri="{FF2B5EF4-FFF2-40B4-BE49-F238E27FC236}">
                <a16:creationId xmlns:a16="http://schemas.microsoft.com/office/drawing/2014/main" id="{9846A4B3-C22B-405D-8960-A46CDCF543BE}"/>
              </a:ext>
            </a:extLst>
          </p:cNvPr>
          <p:cNvGrpSpPr>
            <a:grpSpLocks noChangeAspect="1"/>
          </p:cNvGrpSpPr>
          <p:nvPr/>
        </p:nvGrpSpPr>
        <p:grpSpPr>
          <a:xfrm>
            <a:off x="4964603" y="2186361"/>
            <a:ext cx="171972" cy="306484"/>
            <a:chOff x="3813175" y="1927225"/>
            <a:chExt cx="160338" cy="285750"/>
          </a:xfrm>
          <a:solidFill>
            <a:schemeClr val="bg2"/>
          </a:solidFill>
          <a:effectLst/>
        </p:grpSpPr>
        <p:sp>
          <p:nvSpPr>
            <p:cNvPr id="785" name="Freeform 71">
              <a:extLst>
                <a:ext uri="{FF2B5EF4-FFF2-40B4-BE49-F238E27FC236}">
                  <a16:creationId xmlns:a16="http://schemas.microsoft.com/office/drawing/2014/main" id="{B92F1D4D-0F37-4E21-844B-B471093FDDDB}"/>
                </a:ext>
              </a:extLst>
            </p:cNvPr>
            <p:cNvSpPr>
              <a:spLocks noEditPoints="1"/>
            </p:cNvSpPr>
            <p:nvPr/>
          </p:nvSpPr>
          <p:spPr bwMode="auto">
            <a:xfrm>
              <a:off x="3813175" y="1927225"/>
              <a:ext cx="160338" cy="285750"/>
            </a:xfrm>
            <a:custGeom>
              <a:avLst/>
              <a:gdLst>
                <a:gd name="T0" fmla="*/ 312 w 509"/>
                <a:gd name="T1" fmla="*/ 603 h 898"/>
                <a:gd name="T2" fmla="*/ 263 w 509"/>
                <a:gd name="T3" fmla="*/ 695 h 898"/>
                <a:gd name="T4" fmla="*/ 224 w 509"/>
                <a:gd name="T5" fmla="*/ 650 h 898"/>
                <a:gd name="T6" fmla="*/ 168 w 509"/>
                <a:gd name="T7" fmla="*/ 555 h 898"/>
                <a:gd name="T8" fmla="*/ 87 w 509"/>
                <a:gd name="T9" fmla="*/ 423 h 898"/>
                <a:gd name="T10" fmla="*/ 46 w 509"/>
                <a:gd name="T11" fmla="*/ 335 h 898"/>
                <a:gd name="T12" fmla="*/ 30 w 509"/>
                <a:gd name="T13" fmla="*/ 270 h 898"/>
                <a:gd name="T14" fmla="*/ 32 w 509"/>
                <a:gd name="T15" fmla="*/ 210 h 898"/>
                <a:gd name="T16" fmla="*/ 45 w 509"/>
                <a:gd name="T17" fmla="*/ 160 h 898"/>
                <a:gd name="T18" fmla="*/ 65 w 509"/>
                <a:gd name="T19" fmla="*/ 119 h 898"/>
                <a:gd name="T20" fmla="*/ 93 w 509"/>
                <a:gd name="T21" fmla="*/ 86 h 898"/>
                <a:gd name="T22" fmla="*/ 126 w 509"/>
                <a:gd name="T23" fmla="*/ 62 h 898"/>
                <a:gd name="T24" fmla="*/ 194 w 509"/>
                <a:gd name="T25" fmla="*/ 36 h 898"/>
                <a:gd name="T26" fmla="*/ 275 w 509"/>
                <a:gd name="T27" fmla="*/ 30 h 898"/>
                <a:gd name="T28" fmla="*/ 354 w 509"/>
                <a:gd name="T29" fmla="*/ 48 h 898"/>
                <a:gd name="T30" fmla="*/ 399 w 509"/>
                <a:gd name="T31" fmla="*/ 73 h 898"/>
                <a:gd name="T32" fmla="*/ 430 w 509"/>
                <a:gd name="T33" fmla="*/ 101 h 898"/>
                <a:gd name="T34" fmla="*/ 454 w 509"/>
                <a:gd name="T35" fmla="*/ 139 h 898"/>
                <a:gd name="T36" fmla="*/ 471 w 509"/>
                <a:gd name="T37" fmla="*/ 184 h 898"/>
                <a:gd name="T38" fmla="*/ 478 w 509"/>
                <a:gd name="T39" fmla="*/ 239 h 898"/>
                <a:gd name="T40" fmla="*/ 473 w 509"/>
                <a:gd name="T41" fmla="*/ 302 h 898"/>
                <a:gd name="T42" fmla="*/ 448 w 509"/>
                <a:gd name="T43" fmla="*/ 371 h 898"/>
                <a:gd name="T44" fmla="*/ 379 w 509"/>
                <a:gd name="T45" fmla="*/ 495 h 898"/>
                <a:gd name="T46" fmla="*/ 232 w 509"/>
                <a:gd name="T47" fmla="*/ 0 h 898"/>
                <a:gd name="T48" fmla="*/ 144 w 509"/>
                <a:gd name="T49" fmla="*/ 21 h 898"/>
                <a:gd name="T50" fmla="*/ 92 w 509"/>
                <a:gd name="T51" fmla="*/ 49 h 898"/>
                <a:gd name="T52" fmla="*/ 57 w 509"/>
                <a:gd name="T53" fmla="*/ 81 h 898"/>
                <a:gd name="T54" fmla="*/ 29 w 509"/>
                <a:gd name="T55" fmla="*/ 123 h 898"/>
                <a:gd name="T56" fmla="*/ 9 w 509"/>
                <a:gd name="T57" fmla="*/ 175 h 898"/>
                <a:gd name="T58" fmla="*/ 0 w 509"/>
                <a:gd name="T59" fmla="*/ 237 h 898"/>
                <a:gd name="T60" fmla="*/ 7 w 509"/>
                <a:gd name="T61" fmla="*/ 307 h 898"/>
                <a:gd name="T62" fmla="*/ 31 w 509"/>
                <a:gd name="T63" fmla="*/ 379 h 898"/>
                <a:gd name="T64" fmla="*/ 104 w 509"/>
                <a:gd name="T65" fmla="*/ 510 h 898"/>
                <a:gd name="T66" fmla="*/ 188 w 509"/>
                <a:gd name="T67" fmla="*/ 647 h 898"/>
                <a:gd name="T68" fmla="*/ 225 w 509"/>
                <a:gd name="T69" fmla="*/ 724 h 898"/>
                <a:gd name="T70" fmla="*/ 239 w 509"/>
                <a:gd name="T71" fmla="*/ 780 h 898"/>
                <a:gd name="T72" fmla="*/ 241 w 509"/>
                <a:gd name="T73" fmla="*/ 888 h 898"/>
                <a:gd name="T74" fmla="*/ 248 w 509"/>
                <a:gd name="T75" fmla="*/ 897 h 898"/>
                <a:gd name="T76" fmla="*/ 260 w 509"/>
                <a:gd name="T77" fmla="*/ 897 h 898"/>
                <a:gd name="T78" fmla="*/ 268 w 509"/>
                <a:gd name="T79" fmla="*/ 888 h 898"/>
                <a:gd name="T80" fmla="*/ 270 w 509"/>
                <a:gd name="T81" fmla="*/ 780 h 898"/>
                <a:gd name="T82" fmla="*/ 284 w 509"/>
                <a:gd name="T83" fmla="*/ 724 h 898"/>
                <a:gd name="T84" fmla="*/ 321 w 509"/>
                <a:gd name="T85" fmla="*/ 647 h 898"/>
                <a:gd name="T86" fmla="*/ 405 w 509"/>
                <a:gd name="T87" fmla="*/ 510 h 898"/>
                <a:gd name="T88" fmla="*/ 477 w 509"/>
                <a:gd name="T89" fmla="*/ 379 h 898"/>
                <a:gd name="T90" fmla="*/ 503 w 509"/>
                <a:gd name="T91" fmla="*/ 307 h 898"/>
                <a:gd name="T92" fmla="*/ 508 w 509"/>
                <a:gd name="T93" fmla="*/ 237 h 898"/>
                <a:gd name="T94" fmla="*/ 500 w 509"/>
                <a:gd name="T95" fmla="*/ 175 h 898"/>
                <a:gd name="T96" fmla="*/ 480 w 509"/>
                <a:gd name="T97" fmla="*/ 123 h 898"/>
                <a:gd name="T98" fmla="*/ 452 w 509"/>
                <a:gd name="T99" fmla="*/ 81 h 898"/>
                <a:gd name="T100" fmla="*/ 416 w 509"/>
                <a:gd name="T101" fmla="*/ 49 h 898"/>
                <a:gd name="T102" fmla="*/ 365 w 509"/>
                <a:gd name="T103" fmla="*/ 21 h 898"/>
                <a:gd name="T104" fmla="*/ 276 w 509"/>
                <a:gd name="T10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9" h="898">
                  <a:moveTo>
                    <a:pt x="356" y="531"/>
                  </a:moveTo>
                  <a:lnTo>
                    <a:pt x="340" y="555"/>
                  </a:lnTo>
                  <a:lnTo>
                    <a:pt x="325" y="579"/>
                  </a:lnTo>
                  <a:lnTo>
                    <a:pt x="312" y="603"/>
                  </a:lnTo>
                  <a:lnTo>
                    <a:pt x="298" y="626"/>
                  </a:lnTo>
                  <a:lnTo>
                    <a:pt x="285" y="650"/>
                  </a:lnTo>
                  <a:lnTo>
                    <a:pt x="273" y="672"/>
                  </a:lnTo>
                  <a:lnTo>
                    <a:pt x="263" y="695"/>
                  </a:lnTo>
                  <a:lnTo>
                    <a:pt x="255" y="717"/>
                  </a:lnTo>
                  <a:lnTo>
                    <a:pt x="245" y="695"/>
                  </a:lnTo>
                  <a:lnTo>
                    <a:pt x="236" y="672"/>
                  </a:lnTo>
                  <a:lnTo>
                    <a:pt x="224" y="650"/>
                  </a:lnTo>
                  <a:lnTo>
                    <a:pt x="211" y="626"/>
                  </a:lnTo>
                  <a:lnTo>
                    <a:pt x="197" y="603"/>
                  </a:lnTo>
                  <a:lnTo>
                    <a:pt x="183" y="579"/>
                  </a:lnTo>
                  <a:lnTo>
                    <a:pt x="168" y="555"/>
                  </a:lnTo>
                  <a:lnTo>
                    <a:pt x="152" y="531"/>
                  </a:lnTo>
                  <a:lnTo>
                    <a:pt x="130" y="495"/>
                  </a:lnTo>
                  <a:lnTo>
                    <a:pt x="108" y="460"/>
                  </a:lnTo>
                  <a:lnTo>
                    <a:pt x="87" y="423"/>
                  </a:lnTo>
                  <a:lnTo>
                    <a:pt x="69" y="388"/>
                  </a:lnTo>
                  <a:lnTo>
                    <a:pt x="60" y="371"/>
                  </a:lnTo>
                  <a:lnTo>
                    <a:pt x="53" y="353"/>
                  </a:lnTo>
                  <a:lnTo>
                    <a:pt x="46" y="335"/>
                  </a:lnTo>
                  <a:lnTo>
                    <a:pt x="41" y="318"/>
                  </a:lnTo>
                  <a:lnTo>
                    <a:pt x="35" y="302"/>
                  </a:lnTo>
                  <a:lnTo>
                    <a:pt x="32" y="286"/>
                  </a:lnTo>
                  <a:lnTo>
                    <a:pt x="30" y="270"/>
                  </a:lnTo>
                  <a:lnTo>
                    <a:pt x="30" y="254"/>
                  </a:lnTo>
                  <a:lnTo>
                    <a:pt x="30" y="239"/>
                  </a:lnTo>
                  <a:lnTo>
                    <a:pt x="31" y="224"/>
                  </a:lnTo>
                  <a:lnTo>
                    <a:pt x="32" y="210"/>
                  </a:lnTo>
                  <a:lnTo>
                    <a:pt x="34" y="196"/>
                  </a:lnTo>
                  <a:lnTo>
                    <a:pt x="38" y="184"/>
                  </a:lnTo>
                  <a:lnTo>
                    <a:pt x="41" y="172"/>
                  </a:lnTo>
                  <a:lnTo>
                    <a:pt x="45" y="160"/>
                  </a:lnTo>
                  <a:lnTo>
                    <a:pt x="49" y="149"/>
                  </a:lnTo>
                  <a:lnTo>
                    <a:pt x="55" y="139"/>
                  </a:lnTo>
                  <a:lnTo>
                    <a:pt x="60" y="128"/>
                  </a:lnTo>
                  <a:lnTo>
                    <a:pt x="65" y="119"/>
                  </a:lnTo>
                  <a:lnTo>
                    <a:pt x="72" y="110"/>
                  </a:lnTo>
                  <a:lnTo>
                    <a:pt x="79" y="101"/>
                  </a:lnTo>
                  <a:lnTo>
                    <a:pt x="86" y="94"/>
                  </a:lnTo>
                  <a:lnTo>
                    <a:pt x="93" y="86"/>
                  </a:lnTo>
                  <a:lnTo>
                    <a:pt x="102" y="80"/>
                  </a:lnTo>
                  <a:lnTo>
                    <a:pt x="109" y="73"/>
                  </a:lnTo>
                  <a:lnTo>
                    <a:pt x="118" y="67"/>
                  </a:lnTo>
                  <a:lnTo>
                    <a:pt x="126" y="62"/>
                  </a:lnTo>
                  <a:lnTo>
                    <a:pt x="136" y="56"/>
                  </a:lnTo>
                  <a:lnTo>
                    <a:pt x="154" y="48"/>
                  </a:lnTo>
                  <a:lnTo>
                    <a:pt x="174" y="41"/>
                  </a:lnTo>
                  <a:lnTo>
                    <a:pt x="194" y="36"/>
                  </a:lnTo>
                  <a:lnTo>
                    <a:pt x="213" y="32"/>
                  </a:lnTo>
                  <a:lnTo>
                    <a:pt x="233" y="30"/>
                  </a:lnTo>
                  <a:lnTo>
                    <a:pt x="255" y="30"/>
                  </a:lnTo>
                  <a:lnTo>
                    <a:pt x="275" y="30"/>
                  </a:lnTo>
                  <a:lnTo>
                    <a:pt x="295" y="32"/>
                  </a:lnTo>
                  <a:lnTo>
                    <a:pt x="316" y="36"/>
                  </a:lnTo>
                  <a:lnTo>
                    <a:pt x="335" y="41"/>
                  </a:lnTo>
                  <a:lnTo>
                    <a:pt x="354" y="48"/>
                  </a:lnTo>
                  <a:lnTo>
                    <a:pt x="374" y="56"/>
                  </a:lnTo>
                  <a:lnTo>
                    <a:pt x="382" y="62"/>
                  </a:lnTo>
                  <a:lnTo>
                    <a:pt x="391" y="67"/>
                  </a:lnTo>
                  <a:lnTo>
                    <a:pt x="399" y="73"/>
                  </a:lnTo>
                  <a:lnTo>
                    <a:pt x="408" y="80"/>
                  </a:lnTo>
                  <a:lnTo>
                    <a:pt x="415" y="86"/>
                  </a:lnTo>
                  <a:lnTo>
                    <a:pt x="423" y="94"/>
                  </a:lnTo>
                  <a:lnTo>
                    <a:pt x="430" y="101"/>
                  </a:lnTo>
                  <a:lnTo>
                    <a:pt x="437" y="110"/>
                  </a:lnTo>
                  <a:lnTo>
                    <a:pt x="443" y="119"/>
                  </a:lnTo>
                  <a:lnTo>
                    <a:pt x="448" y="128"/>
                  </a:lnTo>
                  <a:lnTo>
                    <a:pt x="454" y="139"/>
                  </a:lnTo>
                  <a:lnTo>
                    <a:pt x="459" y="149"/>
                  </a:lnTo>
                  <a:lnTo>
                    <a:pt x="463" y="160"/>
                  </a:lnTo>
                  <a:lnTo>
                    <a:pt x="468" y="172"/>
                  </a:lnTo>
                  <a:lnTo>
                    <a:pt x="471" y="184"/>
                  </a:lnTo>
                  <a:lnTo>
                    <a:pt x="474" y="196"/>
                  </a:lnTo>
                  <a:lnTo>
                    <a:pt x="476" y="210"/>
                  </a:lnTo>
                  <a:lnTo>
                    <a:pt x="477" y="224"/>
                  </a:lnTo>
                  <a:lnTo>
                    <a:pt x="478" y="239"/>
                  </a:lnTo>
                  <a:lnTo>
                    <a:pt x="480" y="254"/>
                  </a:lnTo>
                  <a:lnTo>
                    <a:pt x="478" y="270"/>
                  </a:lnTo>
                  <a:lnTo>
                    <a:pt x="476" y="286"/>
                  </a:lnTo>
                  <a:lnTo>
                    <a:pt x="473" y="302"/>
                  </a:lnTo>
                  <a:lnTo>
                    <a:pt x="469" y="318"/>
                  </a:lnTo>
                  <a:lnTo>
                    <a:pt x="462" y="335"/>
                  </a:lnTo>
                  <a:lnTo>
                    <a:pt x="456" y="353"/>
                  </a:lnTo>
                  <a:lnTo>
                    <a:pt x="448" y="371"/>
                  </a:lnTo>
                  <a:lnTo>
                    <a:pt x="440" y="388"/>
                  </a:lnTo>
                  <a:lnTo>
                    <a:pt x="422" y="423"/>
                  </a:lnTo>
                  <a:lnTo>
                    <a:pt x="401" y="460"/>
                  </a:lnTo>
                  <a:lnTo>
                    <a:pt x="379" y="495"/>
                  </a:lnTo>
                  <a:lnTo>
                    <a:pt x="356" y="531"/>
                  </a:lnTo>
                  <a:lnTo>
                    <a:pt x="356" y="531"/>
                  </a:lnTo>
                  <a:close/>
                  <a:moveTo>
                    <a:pt x="255" y="0"/>
                  </a:moveTo>
                  <a:lnTo>
                    <a:pt x="232" y="0"/>
                  </a:lnTo>
                  <a:lnTo>
                    <a:pt x="210" y="3"/>
                  </a:lnTo>
                  <a:lnTo>
                    <a:pt x="187" y="7"/>
                  </a:lnTo>
                  <a:lnTo>
                    <a:pt x="165" y="12"/>
                  </a:lnTo>
                  <a:lnTo>
                    <a:pt x="144" y="21"/>
                  </a:lnTo>
                  <a:lnTo>
                    <a:pt x="122" y="31"/>
                  </a:lnTo>
                  <a:lnTo>
                    <a:pt x="111" y="36"/>
                  </a:lnTo>
                  <a:lnTo>
                    <a:pt x="102" y="42"/>
                  </a:lnTo>
                  <a:lnTo>
                    <a:pt x="92" y="49"/>
                  </a:lnTo>
                  <a:lnTo>
                    <a:pt x="83" y="56"/>
                  </a:lnTo>
                  <a:lnTo>
                    <a:pt x="74" y="64"/>
                  </a:lnTo>
                  <a:lnTo>
                    <a:pt x="65" y="72"/>
                  </a:lnTo>
                  <a:lnTo>
                    <a:pt x="57" y="81"/>
                  </a:lnTo>
                  <a:lnTo>
                    <a:pt x="49" y="91"/>
                  </a:lnTo>
                  <a:lnTo>
                    <a:pt x="42" y="101"/>
                  </a:lnTo>
                  <a:lnTo>
                    <a:pt x="35" y="112"/>
                  </a:lnTo>
                  <a:lnTo>
                    <a:pt x="29" y="123"/>
                  </a:lnTo>
                  <a:lnTo>
                    <a:pt x="23" y="134"/>
                  </a:lnTo>
                  <a:lnTo>
                    <a:pt x="17" y="147"/>
                  </a:lnTo>
                  <a:lnTo>
                    <a:pt x="13" y="161"/>
                  </a:lnTo>
                  <a:lnTo>
                    <a:pt x="9" y="175"/>
                  </a:lnTo>
                  <a:lnTo>
                    <a:pt x="6" y="189"/>
                  </a:lnTo>
                  <a:lnTo>
                    <a:pt x="3" y="204"/>
                  </a:lnTo>
                  <a:lnTo>
                    <a:pt x="1" y="220"/>
                  </a:lnTo>
                  <a:lnTo>
                    <a:pt x="0" y="237"/>
                  </a:lnTo>
                  <a:lnTo>
                    <a:pt x="0" y="254"/>
                  </a:lnTo>
                  <a:lnTo>
                    <a:pt x="0" y="271"/>
                  </a:lnTo>
                  <a:lnTo>
                    <a:pt x="2" y="288"/>
                  </a:lnTo>
                  <a:lnTo>
                    <a:pt x="7" y="307"/>
                  </a:lnTo>
                  <a:lnTo>
                    <a:pt x="11" y="325"/>
                  </a:lnTo>
                  <a:lnTo>
                    <a:pt x="16" y="343"/>
                  </a:lnTo>
                  <a:lnTo>
                    <a:pt x="24" y="361"/>
                  </a:lnTo>
                  <a:lnTo>
                    <a:pt x="31" y="379"/>
                  </a:lnTo>
                  <a:lnTo>
                    <a:pt x="40" y="398"/>
                  </a:lnTo>
                  <a:lnTo>
                    <a:pt x="59" y="435"/>
                  </a:lnTo>
                  <a:lnTo>
                    <a:pt x="80" y="472"/>
                  </a:lnTo>
                  <a:lnTo>
                    <a:pt x="104" y="510"/>
                  </a:lnTo>
                  <a:lnTo>
                    <a:pt x="127" y="547"/>
                  </a:lnTo>
                  <a:lnTo>
                    <a:pt x="149" y="580"/>
                  </a:lnTo>
                  <a:lnTo>
                    <a:pt x="169" y="614"/>
                  </a:lnTo>
                  <a:lnTo>
                    <a:pt x="188" y="647"/>
                  </a:lnTo>
                  <a:lnTo>
                    <a:pt x="205" y="679"/>
                  </a:lnTo>
                  <a:lnTo>
                    <a:pt x="212" y="694"/>
                  </a:lnTo>
                  <a:lnTo>
                    <a:pt x="220" y="709"/>
                  </a:lnTo>
                  <a:lnTo>
                    <a:pt x="225" y="724"/>
                  </a:lnTo>
                  <a:lnTo>
                    <a:pt x="230" y="739"/>
                  </a:lnTo>
                  <a:lnTo>
                    <a:pt x="234" y="753"/>
                  </a:lnTo>
                  <a:lnTo>
                    <a:pt x="237" y="767"/>
                  </a:lnTo>
                  <a:lnTo>
                    <a:pt x="239" y="780"/>
                  </a:lnTo>
                  <a:lnTo>
                    <a:pt x="240" y="793"/>
                  </a:lnTo>
                  <a:lnTo>
                    <a:pt x="240" y="883"/>
                  </a:lnTo>
                  <a:lnTo>
                    <a:pt x="240" y="886"/>
                  </a:lnTo>
                  <a:lnTo>
                    <a:pt x="241" y="888"/>
                  </a:lnTo>
                  <a:lnTo>
                    <a:pt x="242" y="892"/>
                  </a:lnTo>
                  <a:lnTo>
                    <a:pt x="244" y="894"/>
                  </a:lnTo>
                  <a:lnTo>
                    <a:pt x="246" y="895"/>
                  </a:lnTo>
                  <a:lnTo>
                    <a:pt x="248" y="897"/>
                  </a:lnTo>
                  <a:lnTo>
                    <a:pt x="252" y="898"/>
                  </a:lnTo>
                  <a:lnTo>
                    <a:pt x="255" y="898"/>
                  </a:lnTo>
                  <a:lnTo>
                    <a:pt x="257" y="898"/>
                  </a:lnTo>
                  <a:lnTo>
                    <a:pt x="260" y="897"/>
                  </a:lnTo>
                  <a:lnTo>
                    <a:pt x="262" y="895"/>
                  </a:lnTo>
                  <a:lnTo>
                    <a:pt x="264" y="894"/>
                  </a:lnTo>
                  <a:lnTo>
                    <a:pt x="267" y="892"/>
                  </a:lnTo>
                  <a:lnTo>
                    <a:pt x="268" y="888"/>
                  </a:lnTo>
                  <a:lnTo>
                    <a:pt x="269" y="886"/>
                  </a:lnTo>
                  <a:lnTo>
                    <a:pt x="270" y="883"/>
                  </a:lnTo>
                  <a:lnTo>
                    <a:pt x="270" y="793"/>
                  </a:lnTo>
                  <a:lnTo>
                    <a:pt x="270" y="780"/>
                  </a:lnTo>
                  <a:lnTo>
                    <a:pt x="272" y="767"/>
                  </a:lnTo>
                  <a:lnTo>
                    <a:pt x="275" y="753"/>
                  </a:lnTo>
                  <a:lnTo>
                    <a:pt x="278" y="739"/>
                  </a:lnTo>
                  <a:lnTo>
                    <a:pt x="284" y="724"/>
                  </a:lnTo>
                  <a:lnTo>
                    <a:pt x="290" y="709"/>
                  </a:lnTo>
                  <a:lnTo>
                    <a:pt x="297" y="694"/>
                  </a:lnTo>
                  <a:lnTo>
                    <a:pt x="304" y="678"/>
                  </a:lnTo>
                  <a:lnTo>
                    <a:pt x="321" y="647"/>
                  </a:lnTo>
                  <a:lnTo>
                    <a:pt x="339" y="614"/>
                  </a:lnTo>
                  <a:lnTo>
                    <a:pt x="360" y="580"/>
                  </a:lnTo>
                  <a:lnTo>
                    <a:pt x="381" y="547"/>
                  </a:lnTo>
                  <a:lnTo>
                    <a:pt x="405" y="510"/>
                  </a:lnTo>
                  <a:lnTo>
                    <a:pt x="428" y="472"/>
                  </a:lnTo>
                  <a:lnTo>
                    <a:pt x="450" y="435"/>
                  </a:lnTo>
                  <a:lnTo>
                    <a:pt x="469" y="398"/>
                  </a:lnTo>
                  <a:lnTo>
                    <a:pt x="477" y="379"/>
                  </a:lnTo>
                  <a:lnTo>
                    <a:pt x="485" y="361"/>
                  </a:lnTo>
                  <a:lnTo>
                    <a:pt x="492" y="343"/>
                  </a:lnTo>
                  <a:lnTo>
                    <a:pt x="498" y="325"/>
                  </a:lnTo>
                  <a:lnTo>
                    <a:pt x="503" y="307"/>
                  </a:lnTo>
                  <a:lnTo>
                    <a:pt x="506" y="288"/>
                  </a:lnTo>
                  <a:lnTo>
                    <a:pt x="508" y="271"/>
                  </a:lnTo>
                  <a:lnTo>
                    <a:pt x="509" y="254"/>
                  </a:lnTo>
                  <a:lnTo>
                    <a:pt x="508" y="237"/>
                  </a:lnTo>
                  <a:lnTo>
                    <a:pt x="507" y="220"/>
                  </a:lnTo>
                  <a:lnTo>
                    <a:pt x="505" y="204"/>
                  </a:lnTo>
                  <a:lnTo>
                    <a:pt x="503" y="189"/>
                  </a:lnTo>
                  <a:lnTo>
                    <a:pt x="500" y="175"/>
                  </a:lnTo>
                  <a:lnTo>
                    <a:pt x="496" y="161"/>
                  </a:lnTo>
                  <a:lnTo>
                    <a:pt x="491" y="147"/>
                  </a:lnTo>
                  <a:lnTo>
                    <a:pt x="486" y="134"/>
                  </a:lnTo>
                  <a:lnTo>
                    <a:pt x="480" y="123"/>
                  </a:lnTo>
                  <a:lnTo>
                    <a:pt x="474" y="112"/>
                  </a:lnTo>
                  <a:lnTo>
                    <a:pt x="467" y="101"/>
                  </a:lnTo>
                  <a:lnTo>
                    <a:pt x="459" y="91"/>
                  </a:lnTo>
                  <a:lnTo>
                    <a:pt x="452" y="81"/>
                  </a:lnTo>
                  <a:lnTo>
                    <a:pt x="443" y="72"/>
                  </a:lnTo>
                  <a:lnTo>
                    <a:pt x="435" y="64"/>
                  </a:lnTo>
                  <a:lnTo>
                    <a:pt x="426" y="56"/>
                  </a:lnTo>
                  <a:lnTo>
                    <a:pt x="416" y="49"/>
                  </a:lnTo>
                  <a:lnTo>
                    <a:pt x="407" y="42"/>
                  </a:lnTo>
                  <a:lnTo>
                    <a:pt x="397" y="36"/>
                  </a:lnTo>
                  <a:lnTo>
                    <a:pt x="386" y="31"/>
                  </a:lnTo>
                  <a:lnTo>
                    <a:pt x="365" y="21"/>
                  </a:lnTo>
                  <a:lnTo>
                    <a:pt x="344" y="12"/>
                  </a:lnTo>
                  <a:lnTo>
                    <a:pt x="321" y="7"/>
                  </a:lnTo>
                  <a:lnTo>
                    <a:pt x="299" y="3"/>
                  </a:lnTo>
                  <a:lnTo>
                    <a:pt x="276" y="0"/>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786" name="Freeform 72">
              <a:extLst>
                <a:ext uri="{FF2B5EF4-FFF2-40B4-BE49-F238E27FC236}">
                  <a16:creationId xmlns:a16="http://schemas.microsoft.com/office/drawing/2014/main" id="{188AD77B-A497-4A64-BA80-7FE2B8C53468}"/>
                </a:ext>
              </a:extLst>
            </p:cNvPr>
            <p:cNvSpPr>
              <a:spLocks noEditPoints="1"/>
            </p:cNvSpPr>
            <p:nvPr/>
          </p:nvSpPr>
          <p:spPr bwMode="auto">
            <a:xfrm>
              <a:off x="3846513" y="1965325"/>
              <a:ext cx="95250" cy="95250"/>
            </a:xfrm>
            <a:custGeom>
              <a:avLst/>
              <a:gdLst>
                <a:gd name="T0" fmla="*/ 125 w 300"/>
                <a:gd name="T1" fmla="*/ 268 h 300"/>
                <a:gd name="T2" fmla="*/ 92 w 300"/>
                <a:gd name="T3" fmla="*/ 255 h 300"/>
                <a:gd name="T4" fmla="*/ 64 w 300"/>
                <a:gd name="T5" fmla="*/ 235 h 300"/>
                <a:gd name="T6" fmla="*/ 44 w 300"/>
                <a:gd name="T7" fmla="*/ 207 h 300"/>
                <a:gd name="T8" fmla="*/ 32 w 300"/>
                <a:gd name="T9" fmla="*/ 174 h 300"/>
                <a:gd name="T10" fmla="*/ 30 w 300"/>
                <a:gd name="T11" fmla="*/ 137 h 300"/>
                <a:gd name="T12" fmla="*/ 39 w 300"/>
                <a:gd name="T13" fmla="*/ 103 h 300"/>
                <a:gd name="T14" fmla="*/ 57 w 300"/>
                <a:gd name="T15" fmla="*/ 74 h 300"/>
                <a:gd name="T16" fmla="*/ 82 w 300"/>
                <a:gd name="T17" fmla="*/ 51 h 300"/>
                <a:gd name="T18" fmla="*/ 113 w 300"/>
                <a:gd name="T19" fmla="*/ 36 h 300"/>
                <a:gd name="T20" fmla="*/ 150 w 300"/>
                <a:gd name="T21" fmla="*/ 30 h 300"/>
                <a:gd name="T22" fmla="*/ 185 w 300"/>
                <a:gd name="T23" fmla="*/ 36 h 300"/>
                <a:gd name="T24" fmla="*/ 216 w 300"/>
                <a:gd name="T25" fmla="*/ 51 h 300"/>
                <a:gd name="T26" fmla="*/ 242 w 300"/>
                <a:gd name="T27" fmla="*/ 74 h 300"/>
                <a:gd name="T28" fmla="*/ 260 w 300"/>
                <a:gd name="T29" fmla="*/ 103 h 300"/>
                <a:gd name="T30" fmla="*/ 269 w 300"/>
                <a:gd name="T31" fmla="*/ 137 h 300"/>
                <a:gd name="T32" fmla="*/ 266 w 300"/>
                <a:gd name="T33" fmla="*/ 174 h 300"/>
                <a:gd name="T34" fmla="*/ 255 w 300"/>
                <a:gd name="T35" fmla="*/ 207 h 300"/>
                <a:gd name="T36" fmla="*/ 234 w 300"/>
                <a:gd name="T37" fmla="*/ 235 h 300"/>
                <a:gd name="T38" fmla="*/ 207 w 300"/>
                <a:gd name="T39" fmla="*/ 255 h 300"/>
                <a:gd name="T40" fmla="*/ 173 w 300"/>
                <a:gd name="T41" fmla="*/ 268 h 300"/>
                <a:gd name="T42" fmla="*/ 150 w 300"/>
                <a:gd name="T43" fmla="*/ 0 h 300"/>
                <a:gd name="T44" fmla="*/ 105 w 300"/>
                <a:gd name="T45" fmla="*/ 7 h 300"/>
                <a:gd name="T46" fmla="*/ 65 w 300"/>
                <a:gd name="T47" fmla="*/ 26 h 300"/>
                <a:gd name="T48" fmla="*/ 34 w 300"/>
                <a:gd name="T49" fmla="*/ 55 h 300"/>
                <a:gd name="T50" fmla="*/ 12 w 300"/>
                <a:gd name="T51" fmla="*/ 91 h 300"/>
                <a:gd name="T52" fmla="*/ 0 w 300"/>
                <a:gd name="T53" fmla="*/ 134 h 300"/>
                <a:gd name="T54" fmla="*/ 2 w 300"/>
                <a:gd name="T55" fmla="*/ 180 h 300"/>
                <a:gd name="T56" fmla="*/ 18 w 300"/>
                <a:gd name="T57" fmla="*/ 221 h 300"/>
                <a:gd name="T58" fmla="*/ 44 w 300"/>
                <a:gd name="T59" fmla="*/ 256 h 300"/>
                <a:gd name="T60" fmla="*/ 78 w 300"/>
                <a:gd name="T61" fmla="*/ 282 h 300"/>
                <a:gd name="T62" fmla="*/ 119 w 300"/>
                <a:gd name="T63" fmla="*/ 297 h 300"/>
                <a:gd name="T64" fmla="*/ 165 w 300"/>
                <a:gd name="T65" fmla="*/ 299 h 300"/>
                <a:gd name="T66" fmla="*/ 208 w 300"/>
                <a:gd name="T67" fmla="*/ 288 h 300"/>
                <a:gd name="T68" fmla="*/ 245 w 300"/>
                <a:gd name="T69" fmla="*/ 266 h 300"/>
                <a:gd name="T70" fmla="*/ 274 w 300"/>
                <a:gd name="T71" fmla="*/ 234 h 300"/>
                <a:gd name="T72" fmla="*/ 292 w 300"/>
                <a:gd name="T73" fmla="*/ 194 h 300"/>
                <a:gd name="T74" fmla="*/ 300 w 300"/>
                <a:gd name="T75" fmla="*/ 150 h 300"/>
                <a:gd name="T76" fmla="*/ 292 w 300"/>
                <a:gd name="T77" fmla="*/ 105 h 300"/>
                <a:gd name="T78" fmla="*/ 274 w 300"/>
                <a:gd name="T79" fmla="*/ 66 h 300"/>
                <a:gd name="T80" fmla="*/ 245 w 300"/>
                <a:gd name="T81" fmla="*/ 35 h 300"/>
                <a:gd name="T82" fmla="*/ 208 w 300"/>
                <a:gd name="T83" fmla="*/ 12 h 300"/>
                <a:gd name="T84" fmla="*/ 165 w 300"/>
                <a:gd name="T85"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0" h="300">
                  <a:moveTo>
                    <a:pt x="150" y="270"/>
                  </a:moveTo>
                  <a:lnTo>
                    <a:pt x="137" y="269"/>
                  </a:lnTo>
                  <a:lnTo>
                    <a:pt x="125" y="268"/>
                  </a:lnTo>
                  <a:lnTo>
                    <a:pt x="113" y="265"/>
                  </a:lnTo>
                  <a:lnTo>
                    <a:pt x="103" y="260"/>
                  </a:lnTo>
                  <a:lnTo>
                    <a:pt x="92" y="255"/>
                  </a:lnTo>
                  <a:lnTo>
                    <a:pt x="82" y="250"/>
                  </a:lnTo>
                  <a:lnTo>
                    <a:pt x="73" y="242"/>
                  </a:lnTo>
                  <a:lnTo>
                    <a:pt x="64" y="235"/>
                  </a:lnTo>
                  <a:lnTo>
                    <a:pt x="57" y="226"/>
                  </a:lnTo>
                  <a:lnTo>
                    <a:pt x="50" y="216"/>
                  </a:lnTo>
                  <a:lnTo>
                    <a:pt x="44" y="207"/>
                  </a:lnTo>
                  <a:lnTo>
                    <a:pt x="39" y="196"/>
                  </a:lnTo>
                  <a:lnTo>
                    <a:pt x="35" y="185"/>
                  </a:lnTo>
                  <a:lnTo>
                    <a:pt x="32" y="174"/>
                  </a:lnTo>
                  <a:lnTo>
                    <a:pt x="30" y="162"/>
                  </a:lnTo>
                  <a:lnTo>
                    <a:pt x="30" y="150"/>
                  </a:lnTo>
                  <a:lnTo>
                    <a:pt x="30" y="137"/>
                  </a:lnTo>
                  <a:lnTo>
                    <a:pt x="32" y="126"/>
                  </a:lnTo>
                  <a:lnTo>
                    <a:pt x="35" y="115"/>
                  </a:lnTo>
                  <a:lnTo>
                    <a:pt x="39" y="103"/>
                  </a:lnTo>
                  <a:lnTo>
                    <a:pt x="44" y="92"/>
                  </a:lnTo>
                  <a:lnTo>
                    <a:pt x="50" y="83"/>
                  </a:lnTo>
                  <a:lnTo>
                    <a:pt x="57" y="74"/>
                  </a:lnTo>
                  <a:lnTo>
                    <a:pt x="64" y="66"/>
                  </a:lnTo>
                  <a:lnTo>
                    <a:pt x="73" y="57"/>
                  </a:lnTo>
                  <a:lnTo>
                    <a:pt x="82" y="51"/>
                  </a:lnTo>
                  <a:lnTo>
                    <a:pt x="92" y="44"/>
                  </a:lnTo>
                  <a:lnTo>
                    <a:pt x="103" y="40"/>
                  </a:lnTo>
                  <a:lnTo>
                    <a:pt x="113" y="36"/>
                  </a:lnTo>
                  <a:lnTo>
                    <a:pt x="125" y="33"/>
                  </a:lnTo>
                  <a:lnTo>
                    <a:pt x="137" y="30"/>
                  </a:lnTo>
                  <a:lnTo>
                    <a:pt x="150" y="30"/>
                  </a:lnTo>
                  <a:lnTo>
                    <a:pt x="162" y="30"/>
                  </a:lnTo>
                  <a:lnTo>
                    <a:pt x="173" y="33"/>
                  </a:lnTo>
                  <a:lnTo>
                    <a:pt x="185" y="36"/>
                  </a:lnTo>
                  <a:lnTo>
                    <a:pt x="196" y="40"/>
                  </a:lnTo>
                  <a:lnTo>
                    <a:pt x="207" y="44"/>
                  </a:lnTo>
                  <a:lnTo>
                    <a:pt x="216" y="51"/>
                  </a:lnTo>
                  <a:lnTo>
                    <a:pt x="226" y="57"/>
                  </a:lnTo>
                  <a:lnTo>
                    <a:pt x="234" y="66"/>
                  </a:lnTo>
                  <a:lnTo>
                    <a:pt x="242" y="74"/>
                  </a:lnTo>
                  <a:lnTo>
                    <a:pt x="248" y="83"/>
                  </a:lnTo>
                  <a:lnTo>
                    <a:pt x="255" y="92"/>
                  </a:lnTo>
                  <a:lnTo>
                    <a:pt x="260" y="103"/>
                  </a:lnTo>
                  <a:lnTo>
                    <a:pt x="264" y="115"/>
                  </a:lnTo>
                  <a:lnTo>
                    <a:pt x="266" y="126"/>
                  </a:lnTo>
                  <a:lnTo>
                    <a:pt x="269" y="137"/>
                  </a:lnTo>
                  <a:lnTo>
                    <a:pt x="270" y="150"/>
                  </a:lnTo>
                  <a:lnTo>
                    <a:pt x="269" y="162"/>
                  </a:lnTo>
                  <a:lnTo>
                    <a:pt x="266" y="174"/>
                  </a:lnTo>
                  <a:lnTo>
                    <a:pt x="264" y="185"/>
                  </a:lnTo>
                  <a:lnTo>
                    <a:pt x="260" y="196"/>
                  </a:lnTo>
                  <a:lnTo>
                    <a:pt x="255" y="207"/>
                  </a:lnTo>
                  <a:lnTo>
                    <a:pt x="248" y="216"/>
                  </a:lnTo>
                  <a:lnTo>
                    <a:pt x="242" y="226"/>
                  </a:lnTo>
                  <a:lnTo>
                    <a:pt x="234" y="235"/>
                  </a:lnTo>
                  <a:lnTo>
                    <a:pt x="226" y="242"/>
                  </a:lnTo>
                  <a:lnTo>
                    <a:pt x="216" y="250"/>
                  </a:lnTo>
                  <a:lnTo>
                    <a:pt x="207" y="255"/>
                  </a:lnTo>
                  <a:lnTo>
                    <a:pt x="196" y="260"/>
                  </a:lnTo>
                  <a:lnTo>
                    <a:pt x="185" y="265"/>
                  </a:lnTo>
                  <a:lnTo>
                    <a:pt x="173" y="268"/>
                  </a:lnTo>
                  <a:lnTo>
                    <a:pt x="162" y="269"/>
                  </a:lnTo>
                  <a:lnTo>
                    <a:pt x="150" y="270"/>
                  </a:lnTo>
                  <a:close/>
                  <a:moveTo>
                    <a:pt x="150" y="0"/>
                  </a:moveTo>
                  <a:lnTo>
                    <a:pt x="134" y="0"/>
                  </a:lnTo>
                  <a:lnTo>
                    <a:pt x="119" y="4"/>
                  </a:lnTo>
                  <a:lnTo>
                    <a:pt x="105" y="7"/>
                  </a:lnTo>
                  <a:lnTo>
                    <a:pt x="91" y="12"/>
                  </a:lnTo>
                  <a:lnTo>
                    <a:pt x="78" y="19"/>
                  </a:lnTo>
                  <a:lnTo>
                    <a:pt x="65" y="26"/>
                  </a:lnTo>
                  <a:lnTo>
                    <a:pt x="55" y="35"/>
                  </a:lnTo>
                  <a:lnTo>
                    <a:pt x="44" y="44"/>
                  </a:lnTo>
                  <a:lnTo>
                    <a:pt x="34" y="55"/>
                  </a:lnTo>
                  <a:lnTo>
                    <a:pt x="26" y="67"/>
                  </a:lnTo>
                  <a:lnTo>
                    <a:pt x="18" y="79"/>
                  </a:lnTo>
                  <a:lnTo>
                    <a:pt x="12" y="91"/>
                  </a:lnTo>
                  <a:lnTo>
                    <a:pt x="6" y="105"/>
                  </a:lnTo>
                  <a:lnTo>
                    <a:pt x="2" y="120"/>
                  </a:lnTo>
                  <a:lnTo>
                    <a:pt x="0" y="134"/>
                  </a:lnTo>
                  <a:lnTo>
                    <a:pt x="0" y="150"/>
                  </a:lnTo>
                  <a:lnTo>
                    <a:pt x="0" y="165"/>
                  </a:lnTo>
                  <a:lnTo>
                    <a:pt x="2" y="180"/>
                  </a:lnTo>
                  <a:lnTo>
                    <a:pt x="6" y="194"/>
                  </a:lnTo>
                  <a:lnTo>
                    <a:pt x="12" y="208"/>
                  </a:lnTo>
                  <a:lnTo>
                    <a:pt x="18" y="221"/>
                  </a:lnTo>
                  <a:lnTo>
                    <a:pt x="26" y="234"/>
                  </a:lnTo>
                  <a:lnTo>
                    <a:pt x="34" y="245"/>
                  </a:lnTo>
                  <a:lnTo>
                    <a:pt x="44" y="256"/>
                  </a:lnTo>
                  <a:lnTo>
                    <a:pt x="55" y="266"/>
                  </a:lnTo>
                  <a:lnTo>
                    <a:pt x="65" y="274"/>
                  </a:lnTo>
                  <a:lnTo>
                    <a:pt x="78" y="282"/>
                  </a:lnTo>
                  <a:lnTo>
                    <a:pt x="91" y="288"/>
                  </a:lnTo>
                  <a:lnTo>
                    <a:pt x="105" y="292"/>
                  </a:lnTo>
                  <a:lnTo>
                    <a:pt x="119" y="297"/>
                  </a:lnTo>
                  <a:lnTo>
                    <a:pt x="134" y="299"/>
                  </a:lnTo>
                  <a:lnTo>
                    <a:pt x="150" y="300"/>
                  </a:lnTo>
                  <a:lnTo>
                    <a:pt x="165" y="299"/>
                  </a:lnTo>
                  <a:lnTo>
                    <a:pt x="180" y="297"/>
                  </a:lnTo>
                  <a:lnTo>
                    <a:pt x="194" y="292"/>
                  </a:lnTo>
                  <a:lnTo>
                    <a:pt x="208" y="288"/>
                  </a:lnTo>
                  <a:lnTo>
                    <a:pt x="220" y="282"/>
                  </a:lnTo>
                  <a:lnTo>
                    <a:pt x="233" y="274"/>
                  </a:lnTo>
                  <a:lnTo>
                    <a:pt x="245" y="266"/>
                  </a:lnTo>
                  <a:lnTo>
                    <a:pt x="256" y="256"/>
                  </a:lnTo>
                  <a:lnTo>
                    <a:pt x="265" y="245"/>
                  </a:lnTo>
                  <a:lnTo>
                    <a:pt x="274" y="234"/>
                  </a:lnTo>
                  <a:lnTo>
                    <a:pt x="281" y="221"/>
                  </a:lnTo>
                  <a:lnTo>
                    <a:pt x="288" y="208"/>
                  </a:lnTo>
                  <a:lnTo>
                    <a:pt x="292" y="194"/>
                  </a:lnTo>
                  <a:lnTo>
                    <a:pt x="296" y="180"/>
                  </a:lnTo>
                  <a:lnTo>
                    <a:pt x="299" y="165"/>
                  </a:lnTo>
                  <a:lnTo>
                    <a:pt x="300" y="150"/>
                  </a:lnTo>
                  <a:lnTo>
                    <a:pt x="299" y="134"/>
                  </a:lnTo>
                  <a:lnTo>
                    <a:pt x="296" y="120"/>
                  </a:lnTo>
                  <a:lnTo>
                    <a:pt x="292" y="105"/>
                  </a:lnTo>
                  <a:lnTo>
                    <a:pt x="288" y="91"/>
                  </a:lnTo>
                  <a:lnTo>
                    <a:pt x="281" y="79"/>
                  </a:lnTo>
                  <a:lnTo>
                    <a:pt x="274" y="66"/>
                  </a:lnTo>
                  <a:lnTo>
                    <a:pt x="265" y="55"/>
                  </a:lnTo>
                  <a:lnTo>
                    <a:pt x="256" y="44"/>
                  </a:lnTo>
                  <a:lnTo>
                    <a:pt x="245" y="35"/>
                  </a:lnTo>
                  <a:lnTo>
                    <a:pt x="233" y="26"/>
                  </a:lnTo>
                  <a:lnTo>
                    <a:pt x="220" y="19"/>
                  </a:lnTo>
                  <a:lnTo>
                    <a:pt x="208" y="12"/>
                  </a:lnTo>
                  <a:lnTo>
                    <a:pt x="194" y="7"/>
                  </a:lnTo>
                  <a:lnTo>
                    <a:pt x="180" y="4"/>
                  </a:lnTo>
                  <a:lnTo>
                    <a:pt x="165"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787" name="Group 20">
            <a:extLst>
              <a:ext uri="{FF2B5EF4-FFF2-40B4-BE49-F238E27FC236}">
                <a16:creationId xmlns:a16="http://schemas.microsoft.com/office/drawing/2014/main" id="{024C6C68-8310-49BB-902E-10AF35FC4022}"/>
              </a:ext>
            </a:extLst>
          </p:cNvPr>
          <p:cNvGrpSpPr>
            <a:grpSpLocks noChangeAspect="1"/>
          </p:cNvGrpSpPr>
          <p:nvPr/>
        </p:nvGrpSpPr>
        <p:grpSpPr>
          <a:xfrm>
            <a:off x="5408628" y="2186361"/>
            <a:ext cx="224755" cy="306484"/>
            <a:chOff x="1504950" y="2497138"/>
            <a:chExt cx="209550" cy="285750"/>
          </a:xfrm>
          <a:solidFill>
            <a:schemeClr val="bg2"/>
          </a:solidFill>
          <a:effectLst/>
        </p:grpSpPr>
        <p:sp>
          <p:nvSpPr>
            <p:cNvPr id="788" name="Freeform 80">
              <a:extLst>
                <a:ext uri="{FF2B5EF4-FFF2-40B4-BE49-F238E27FC236}">
                  <a16:creationId xmlns:a16="http://schemas.microsoft.com/office/drawing/2014/main" id="{FB6BAA95-00A9-4020-A256-6F849C7D3175}"/>
                </a:ext>
              </a:extLst>
            </p:cNvPr>
            <p:cNvSpPr>
              <a:spLocks noEditPoints="1"/>
            </p:cNvSpPr>
            <p:nvPr/>
          </p:nvSpPr>
          <p:spPr bwMode="auto">
            <a:xfrm>
              <a:off x="1504950" y="2497138"/>
              <a:ext cx="209550" cy="285750"/>
            </a:xfrm>
            <a:custGeom>
              <a:avLst/>
              <a:gdLst>
                <a:gd name="T0" fmla="*/ 387 w 659"/>
                <a:gd name="T1" fmla="*/ 627 h 898"/>
                <a:gd name="T2" fmla="*/ 272 w 659"/>
                <a:gd name="T3" fmla="*/ 627 h 898"/>
                <a:gd name="T4" fmla="*/ 249 w 659"/>
                <a:gd name="T5" fmla="*/ 618 h 898"/>
                <a:gd name="T6" fmla="*/ 189 w 659"/>
                <a:gd name="T7" fmla="*/ 594 h 898"/>
                <a:gd name="T8" fmla="*/ 111 w 659"/>
                <a:gd name="T9" fmla="*/ 534 h 898"/>
                <a:gd name="T10" fmla="*/ 57 w 659"/>
                <a:gd name="T11" fmla="*/ 452 h 898"/>
                <a:gd name="T12" fmla="*/ 32 w 659"/>
                <a:gd name="T13" fmla="*/ 367 h 898"/>
                <a:gd name="T14" fmla="*/ 30 w 659"/>
                <a:gd name="T15" fmla="*/ 314 h 898"/>
                <a:gd name="T16" fmla="*/ 39 w 659"/>
                <a:gd name="T17" fmla="*/ 254 h 898"/>
                <a:gd name="T18" fmla="*/ 60 w 659"/>
                <a:gd name="T19" fmla="*/ 200 h 898"/>
                <a:gd name="T20" fmla="*/ 90 w 659"/>
                <a:gd name="T21" fmla="*/ 149 h 898"/>
                <a:gd name="T22" fmla="*/ 128 w 659"/>
                <a:gd name="T23" fmla="*/ 108 h 898"/>
                <a:gd name="T24" fmla="*/ 174 w 659"/>
                <a:gd name="T25" fmla="*/ 73 h 898"/>
                <a:gd name="T26" fmla="*/ 227 w 659"/>
                <a:gd name="T27" fmla="*/ 48 h 898"/>
                <a:gd name="T28" fmla="*/ 283 w 659"/>
                <a:gd name="T29" fmla="*/ 33 h 898"/>
                <a:gd name="T30" fmla="*/ 344 w 659"/>
                <a:gd name="T31" fmla="*/ 29 h 898"/>
                <a:gd name="T32" fmla="*/ 404 w 659"/>
                <a:gd name="T33" fmla="*/ 39 h 898"/>
                <a:gd name="T34" fmla="*/ 459 w 659"/>
                <a:gd name="T35" fmla="*/ 59 h 898"/>
                <a:gd name="T36" fmla="*/ 509 w 659"/>
                <a:gd name="T37" fmla="*/ 89 h 898"/>
                <a:gd name="T38" fmla="*/ 551 w 659"/>
                <a:gd name="T39" fmla="*/ 128 h 898"/>
                <a:gd name="T40" fmla="*/ 586 w 659"/>
                <a:gd name="T41" fmla="*/ 174 h 898"/>
                <a:gd name="T42" fmla="*/ 611 w 659"/>
                <a:gd name="T43" fmla="*/ 226 h 898"/>
                <a:gd name="T44" fmla="*/ 626 w 659"/>
                <a:gd name="T45" fmla="*/ 283 h 898"/>
                <a:gd name="T46" fmla="*/ 629 w 659"/>
                <a:gd name="T47" fmla="*/ 342 h 898"/>
                <a:gd name="T48" fmla="*/ 619 w 659"/>
                <a:gd name="T49" fmla="*/ 405 h 898"/>
                <a:gd name="T50" fmla="*/ 579 w 659"/>
                <a:gd name="T51" fmla="*/ 496 h 898"/>
                <a:gd name="T52" fmla="*/ 511 w 659"/>
                <a:gd name="T53" fmla="*/ 567 h 898"/>
                <a:gd name="T54" fmla="*/ 434 w 659"/>
                <a:gd name="T55" fmla="*/ 609 h 898"/>
                <a:gd name="T56" fmla="*/ 329 w 659"/>
                <a:gd name="T57" fmla="*/ 0 h 898"/>
                <a:gd name="T58" fmla="*/ 263 w 659"/>
                <a:gd name="T59" fmla="*/ 6 h 898"/>
                <a:gd name="T60" fmla="*/ 201 w 659"/>
                <a:gd name="T61" fmla="*/ 25 h 898"/>
                <a:gd name="T62" fmla="*/ 145 w 659"/>
                <a:gd name="T63" fmla="*/ 56 h 898"/>
                <a:gd name="T64" fmla="*/ 96 w 659"/>
                <a:gd name="T65" fmla="*/ 96 h 898"/>
                <a:gd name="T66" fmla="*/ 57 w 659"/>
                <a:gd name="T67" fmla="*/ 145 h 898"/>
                <a:gd name="T68" fmla="*/ 25 w 659"/>
                <a:gd name="T69" fmla="*/ 201 h 898"/>
                <a:gd name="T70" fmla="*/ 6 w 659"/>
                <a:gd name="T71" fmla="*/ 263 h 898"/>
                <a:gd name="T72" fmla="*/ 0 w 659"/>
                <a:gd name="T73" fmla="*/ 329 h 898"/>
                <a:gd name="T74" fmla="*/ 4 w 659"/>
                <a:gd name="T75" fmla="*/ 385 h 898"/>
                <a:gd name="T76" fmla="*/ 18 w 659"/>
                <a:gd name="T77" fmla="*/ 437 h 898"/>
                <a:gd name="T78" fmla="*/ 39 w 659"/>
                <a:gd name="T79" fmla="*/ 486 h 898"/>
                <a:gd name="T80" fmla="*/ 68 w 659"/>
                <a:gd name="T81" fmla="*/ 531 h 898"/>
                <a:gd name="T82" fmla="*/ 105 w 659"/>
                <a:gd name="T83" fmla="*/ 570 h 898"/>
                <a:gd name="T84" fmla="*/ 146 w 659"/>
                <a:gd name="T85" fmla="*/ 603 h 898"/>
                <a:gd name="T86" fmla="*/ 195 w 659"/>
                <a:gd name="T87" fmla="*/ 630 h 898"/>
                <a:gd name="T88" fmla="*/ 247 w 659"/>
                <a:gd name="T89" fmla="*/ 648 h 898"/>
                <a:gd name="T90" fmla="*/ 325 w 659"/>
                <a:gd name="T91" fmla="*/ 897 h 898"/>
                <a:gd name="T92" fmla="*/ 342 w 659"/>
                <a:gd name="T93" fmla="*/ 892 h 898"/>
                <a:gd name="T94" fmla="*/ 440 w 659"/>
                <a:gd name="T95" fmla="*/ 639 h 898"/>
                <a:gd name="T96" fmla="*/ 489 w 659"/>
                <a:gd name="T97" fmla="*/ 617 h 898"/>
                <a:gd name="T98" fmla="*/ 534 w 659"/>
                <a:gd name="T99" fmla="*/ 588 h 898"/>
                <a:gd name="T100" fmla="*/ 573 w 659"/>
                <a:gd name="T101" fmla="*/ 551 h 898"/>
                <a:gd name="T102" fmla="*/ 605 w 659"/>
                <a:gd name="T103" fmla="*/ 509 h 898"/>
                <a:gd name="T104" fmla="*/ 631 w 659"/>
                <a:gd name="T105" fmla="*/ 463 h 898"/>
                <a:gd name="T106" fmla="*/ 648 w 659"/>
                <a:gd name="T107" fmla="*/ 411 h 898"/>
                <a:gd name="T108" fmla="*/ 658 w 659"/>
                <a:gd name="T109" fmla="*/ 357 h 898"/>
                <a:gd name="T110" fmla="*/ 657 w 659"/>
                <a:gd name="T111" fmla="*/ 295 h 898"/>
                <a:gd name="T112" fmla="*/ 644 w 659"/>
                <a:gd name="T113" fmla="*/ 231 h 898"/>
                <a:gd name="T114" fmla="*/ 619 w 659"/>
                <a:gd name="T115" fmla="*/ 172 h 898"/>
                <a:gd name="T116" fmla="*/ 584 w 659"/>
                <a:gd name="T117" fmla="*/ 119 h 898"/>
                <a:gd name="T118" fmla="*/ 539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0" y="624"/>
                  </a:lnTo>
                  <a:lnTo>
                    <a:pt x="387" y="627"/>
                  </a:lnTo>
                  <a:lnTo>
                    <a:pt x="386" y="631"/>
                  </a:lnTo>
                  <a:lnTo>
                    <a:pt x="329" y="828"/>
                  </a:lnTo>
                  <a:lnTo>
                    <a:pt x="273" y="631"/>
                  </a:lnTo>
                  <a:lnTo>
                    <a:pt x="272" y="627"/>
                  </a:lnTo>
                  <a:lnTo>
                    <a:pt x="268" y="624"/>
                  </a:lnTo>
                  <a:lnTo>
                    <a:pt x="265" y="622"/>
                  </a:lnTo>
                  <a:lnTo>
                    <a:pt x="262" y="621"/>
                  </a:lnTo>
                  <a:lnTo>
                    <a:pt x="249" y="618"/>
                  </a:lnTo>
                  <a:lnTo>
                    <a:pt x="236" y="613"/>
                  </a:lnTo>
                  <a:lnTo>
                    <a:pt x="224" y="609"/>
                  </a:lnTo>
                  <a:lnTo>
                    <a:pt x="213" y="605"/>
                  </a:lnTo>
                  <a:lnTo>
                    <a:pt x="189" y="594"/>
                  </a:lnTo>
                  <a:lnTo>
                    <a:pt x="168" y="581"/>
                  </a:lnTo>
                  <a:lnTo>
                    <a:pt x="147" y="567"/>
                  </a:lnTo>
                  <a:lnTo>
                    <a:pt x="128" y="551"/>
                  </a:lnTo>
                  <a:lnTo>
                    <a:pt x="111" y="534"/>
                  </a:lnTo>
                  <a:lnTo>
                    <a:pt x="95" y="515"/>
                  </a:lnTo>
                  <a:lnTo>
                    <a:pt x="80" y="496"/>
                  </a:lnTo>
                  <a:lnTo>
                    <a:pt x="67" y="474"/>
                  </a:lnTo>
                  <a:lnTo>
                    <a:pt x="57" y="452"/>
                  </a:lnTo>
                  <a:lnTo>
                    <a:pt x="47" y="430"/>
                  </a:lnTo>
                  <a:lnTo>
                    <a:pt x="39" y="405"/>
                  </a:lnTo>
                  <a:lnTo>
                    <a:pt x="34" y="380"/>
                  </a:lnTo>
                  <a:lnTo>
                    <a:pt x="32" y="367"/>
                  </a:lnTo>
                  <a:lnTo>
                    <a:pt x="31" y="355"/>
                  </a:lnTo>
                  <a:lnTo>
                    <a:pt x="30" y="342"/>
                  </a:lnTo>
                  <a:lnTo>
                    <a:pt x="30" y="329"/>
                  </a:lnTo>
                  <a:lnTo>
                    <a:pt x="30" y="314"/>
                  </a:lnTo>
                  <a:lnTo>
                    <a:pt x="31" y="298"/>
                  </a:lnTo>
                  <a:lnTo>
                    <a:pt x="33" y="283"/>
                  </a:lnTo>
                  <a:lnTo>
                    <a:pt x="36" y="269"/>
                  </a:lnTo>
                  <a:lnTo>
                    <a:pt x="39" y="254"/>
                  </a:lnTo>
                  <a:lnTo>
                    <a:pt x="44" y="240"/>
                  </a:lnTo>
                  <a:lnTo>
                    <a:pt x="48" y="226"/>
                  </a:lnTo>
                  <a:lnTo>
                    <a:pt x="53" y="212"/>
                  </a:lnTo>
                  <a:lnTo>
                    <a:pt x="60" y="200"/>
                  </a:lnTo>
                  <a:lnTo>
                    <a:pt x="66" y="187"/>
                  </a:lnTo>
                  <a:lnTo>
                    <a:pt x="74" y="174"/>
                  </a:lnTo>
                  <a:lnTo>
                    <a:pt x="81" y="161"/>
                  </a:lnTo>
                  <a:lnTo>
                    <a:pt x="90" y="149"/>
                  </a:lnTo>
                  <a:lnTo>
                    <a:pt x="98" y="139"/>
                  </a:lnTo>
                  <a:lnTo>
                    <a:pt x="108" y="128"/>
                  </a:lnTo>
                  <a:lnTo>
                    <a:pt x="117" y="117"/>
                  </a:lnTo>
                  <a:lnTo>
                    <a:pt x="128" y="108"/>
                  </a:lnTo>
                  <a:lnTo>
                    <a:pt x="139" y="98"/>
                  </a:lnTo>
                  <a:lnTo>
                    <a:pt x="151" y="89"/>
                  </a:lnTo>
                  <a:lnTo>
                    <a:pt x="162" y="81"/>
                  </a:lnTo>
                  <a:lnTo>
                    <a:pt x="174" y="73"/>
                  </a:lnTo>
                  <a:lnTo>
                    <a:pt x="187" y="66"/>
                  </a:lnTo>
                  <a:lnTo>
                    <a:pt x="200" y="59"/>
                  </a:lnTo>
                  <a:lnTo>
                    <a:pt x="213" y="53"/>
                  </a:lnTo>
                  <a:lnTo>
                    <a:pt x="227" y="48"/>
                  </a:lnTo>
                  <a:lnTo>
                    <a:pt x="241" y="43"/>
                  </a:lnTo>
                  <a:lnTo>
                    <a:pt x="254" y="39"/>
                  </a:lnTo>
                  <a:lnTo>
                    <a:pt x="269" y="36"/>
                  </a:lnTo>
                  <a:lnTo>
                    <a:pt x="283" y="33"/>
                  </a:lnTo>
                  <a:lnTo>
                    <a:pt x="298" y="31"/>
                  </a:lnTo>
                  <a:lnTo>
                    <a:pt x="314" y="29"/>
                  </a:lnTo>
                  <a:lnTo>
                    <a:pt x="329" y="29"/>
                  </a:lnTo>
                  <a:lnTo>
                    <a:pt x="344" y="29"/>
                  </a:lnTo>
                  <a:lnTo>
                    <a:pt x="360" y="31"/>
                  </a:lnTo>
                  <a:lnTo>
                    <a:pt x="375" y="33"/>
                  </a:lnTo>
                  <a:lnTo>
                    <a:pt x="389" y="36"/>
                  </a:lnTo>
                  <a:lnTo>
                    <a:pt x="404" y="39"/>
                  </a:lnTo>
                  <a:lnTo>
                    <a:pt x="418" y="43"/>
                  </a:lnTo>
                  <a:lnTo>
                    <a:pt x="432" y="48"/>
                  </a:lnTo>
                  <a:lnTo>
                    <a:pt x="446" y="53"/>
                  </a:lnTo>
                  <a:lnTo>
                    <a:pt x="459" y="59"/>
                  </a:lnTo>
                  <a:lnTo>
                    <a:pt x="472" y="66"/>
                  </a:lnTo>
                  <a:lnTo>
                    <a:pt x="485" y="72"/>
                  </a:lnTo>
                  <a:lnTo>
                    <a:pt x="497" y="81"/>
                  </a:lnTo>
                  <a:lnTo>
                    <a:pt x="509" y="89"/>
                  </a:lnTo>
                  <a:lnTo>
                    <a:pt x="520" y="98"/>
                  </a:lnTo>
                  <a:lnTo>
                    <a:pt x="531" y="108"/>
                  </a:lnTo>
                  <a:lnTo>
                    <a:pt x="541" y="117"/>
                  </a:lnTo>
                  <a:lnTo>
                    <a:pt x="551" y="128"/>
                  </a:lnTo>
                  <a:lnTo>
                    <a:pt x="560" y="139"/>
                  </a:lnTo>
                  <a:lnTo>
                    <a:pt x="569" y="149"/>
                  </a:lnTo>
                  <a:lnTo>
                    <a:pt x="578" y="161"/>
                  </a:lnTo>
                  <a:lnTo>
                    <a:pt x="586" y="174"/>
                  </a:lnTo>
                  <a:lnTo>
                    <a:pt x="593" y="187"/>
                  </a:lnTo>
                  <a:lnTo>
                    <a:pt x="599" y="200"/>
                  </a:lnTo>
                  <a:lnTo>
                    <a:pt x="605" y="212"/>
                  </a:lnTo>
                  <a:lnTo>
                    <a:pt x="611" y="226"/>
                  </a:lnTo>
                  <a:lnTo>
                    <a:pt x="615" y="240"/>
                  </a:lnTo>
                  <a:lnTo>
                    <a:pt x="619" y="254"/>
                  </a:lnTo>
                  <a:lnTo>
                    <a:pt x="623" y="269"/>
                  </a:lnTo>
                  <a:lnTo>
                    <a:pt x="626" y="283"/>
                  </a:lnTo>
                  <a:lnTo>
                    <a:pt x="628" y="298"/>
                  </a:lnTo>
                  <a:lnTo>
                    <a:pt x="629" y="314"/>
                  </a:lnTo>
                  <a:lnTo>
                    <a:pt x="629" y="329"/>
                  </a:lnTo>
                  <a:lnTo>
                    <a:pt x="629" y="342"/>
                  </a:lnTo>
                  <a:lnTo>
                    <a:pt x="628" y="355"/>
                  </a:lnTo>
                  <a:lnTo>
                    <a:pt x="627" y="367"/>
                  </a:lnTo>
                  <a:lnTo>
                    <a:pt x="625" y="380"/>
                  </a:lnTo>
                  <a:lnTo>
                    <a:pt x="619" y="405"/>
                  </a:lnTo>
                  <a:lnTo>
                    <a:pt x="612" y="430"/>
                  </a:lnTo>
                  <a:lnTo>
                    <a:pt x="603" y="452"/>
                  </a:lnTo>
                  <a:lnTo>
                    <a:pt x="592" y="474"/>
                  </a:lnTo>
                  <a:lnTo>
                    <a:pt x="579" y="496"/>
                  </a:lnTo>
                  <a:lnTo>
                    <a:pt x="565" y="515"/>
                  </a:lnTo>
                  <a:lnTo>
                    <a:pt x="548" y="534"/>
                  </a:lnTo>
                  <a:lnTo>
                    <a:pt x="531" y="551"/>
                  </a:lnTo>
                  <a:lnTo>
                    <a:pt x="511" y="567"/>
                  </a:lnTo>
                  <a:lnTo>
                    <a:pt x="491" y="581"/>
                  </a:lnTo>
                  <a:lnTo>
                    <a:pt x="470" y="594"/>
                  </a:lnTo>
                  <a:lnTo>
                    <a:pt x="446" y="605"/>
                  </a:lnTo>
                  <a:lnTo>
                    <a:pt x="434" y="609"/>
                  </a:lnTo>
                  <a:lnTo>
                    <a:pt x="422" y="613"/>
                  </a:lnTo>
                  <a:lnTo>
                    <a:pt x="410" y="618"/>
                  </a:lnTo>
                  <a:lnTo>
                    <a:pt x="397" y="621"/>
                  </a:lnTo>
                  <a:close/>
                  <a:moveTo>
                    <a:pt x="329" y="0"/>
                  </a:moveTo>
                  <a:lnTo>
                    <a:pt x="312" y="0"/>
                  </a:lnTo>
                  <a:lnTo>
                    <a:pt x="296" y="1"/>
                  </a:lnTo>
                  <a:lnTo>
                    <a:pt x="279" y="3"/>
                  </a:lnTo>
                  <a:lnTo>
                    <a:pt x="263" y="6"/>
                  </a:lnTo>
                  <a:lnTo>
                    <a:pt x="247" y="10"/>
                  </a:lnTo>
                  <a:lnTo>
                    <a:pt x="232" y="15"/>
                  </a:lnTo>
                  <a:lnTo>
                    <a:pt x="216" y="20"/>
                  </a:lnTo>
                  <a:lnTo>
                    <a:pt x="201" y="25"/>
                  </a:lnTo>
                  <a:lnTo>
                    <a:pt x="187" y="32"/>
                  </a:lnTo>
                  <a:lnTo>
                    <a:pt x="172" y="39"/>
                  </a:lnTo>
                  <a:lnTo>
                    <a:pt x="158" y="48"/>
                  </a:lnTo>
                  <a:lnTo>
                    <a:pt x="145" y="56"/>
                  </a:lnTo>
                  <a:lnTo>
                    <a:pt x="132" y="65"/>
                  </a:lnTo>
                  <a:lnTo>
                    <a:pt x="120" y="74"/>
                  </a:lnTo>
                  <a:lnTo>
                    <a:pt x="108" y="85"/>
                  </a:lnTo>
                  <a:lnTo>
                    <a:pt x="96" y="96"/>
                  </a:lnTo>
                  <a:lnTo>
                    <a:pt x="85" y="108"/>
                  </a:lnTo>
                  <a:lnTo>
                    <a:pt x="75" y="119"/>
                  </a:lnTo>
                  <a:lnTo>
                    <a:pt x="65" y="132"/>
                  </a:lnTo>
                  <a:lnTo>
                    <a:pt x="57" y="145"/>
                  </a:lnTo>
                  <a:lnTo>
                    <a:pt x="48" y="158"/>
                  </a:lnTo>
                  <a:lnTo>
                    <a:pt x="39" y="172"/>
                  </a:lnTo>
                  <a:lnTo>
                    <a:pt x="32" y="187"/>
                  </a:lnTo>
                  <a:lnTo>
                    <a:pt x="25" y="201"/>
                  </a:lnTo>
                  <a:lnTo>
                    <a:pt x="20" y="216"/>
                  </a:lnTo>
                  <a:lnTo>
                    <a:pt x="15" y="231"/>
                  </a:lnTo>
                  <a:lnTo>
                    <a:pt x="10" y="247"/>
                  </a:lnTo>
                  <a:lnTo>
                    <a:pt x="6" y="263"/>
                  </a:lnTo>
                  <a:lnTo>
                    <a:pt x="4" y="279"/>
                  </a:lnTo>
                  <a:lnTo>
                    <a:pt x="2" y="296"/>
                  </a:lnTo>
                  <a:lnTo>
                    <a:pt x="0" y="312"/>
                  </a:lnTo>
                  <a:lnTo>
                    <a:pt x="0" y="329"/>
                  </a:lnTo>
                  <a:lnTo>
                    <a:pt x="0" y="343"/>
                  </a:lnTo>
                  <a:lnTo>
                    <a:pt x="1" y="357"/>
                  </a:lnTo>
                  <a:lnTo>
                    <a:pt x="2" y="371"/>
                  </a:lnTo>
                  <a:lnTo>
                    <a:pt x="4" y="385"/>
                  </a:lnTo>
                  <a:lnTo>
                    <a:pt x="7" y="397"/>
                  </a:lnTo>
                  <a:lnTo>
                    <a:pt x="10" y="411"/>
                  </a:lnTo>
                  <a:lnTo>
                    <a:pt x="14" y="424"/>
                  </a:lnTo>
                  <a:lnTo>
                    <a:pt x="18" y="437"/>
                  </a:lnTo>
                  <a:lnTo>
                    <a:pt x="22" y="450"/>
                  </a:lnTo>
                  <a:lnTo>
                    <a:pt x="28" y="463"/>
                  </a:lnTo>
                  <a:lnTo>
                    <a:pt x="33" y="474"/>
                  </a:lnTo>
                  <a:lnTo>
                    <a:pt x="39" y="486"/>
                  </a:lnTo>
                  <a:lnTo>
                    <a:pt x="46" y="498"/>
                  </a:lnTo>
                  <a:lnTo>
                    <a:pt x="53" y="509"/>
                  </a:lnTo>
                  <a:lnTo>
                    <a:pt x="61" y="520"/>
                  </a:lnTo>
                  <a:lnTo>
                    <a:pt x="68" y="531"/>
                  </a:lnTo>
                  <a:lnTo>
                    <a:pt x="77" y="541"/>
                  </a:lnTo>
                  <a:lnTo>
                    <a:pt x="85" y="551"/>
                  </a:lnTo>
                  <a:lnTo>
                    <a:pt x="95" y="561"/>
                  </a:lnTo>
                  <a:lnTo>
                    <a:pt x="105" y="570"/>
                  </a:lnTo>
                  <a:lnTo>
                    <a:pt x="114" y="579"/>
                  </a:lnTo>
                  <a:lnTo>
                    <a:pt x="125" y="588"/>
                  </a:lnTo>
                  <a:lnTo>
                    <a:pt x="136" y="595"/>
                  </a:lnTo>
                  <a:lnTo>
                    <a:pt x="146" y="603"/>
                  </a:lnTo>
                  <a:lnTo>
                    <a:pt x="158" y="610"/>
                  </a:lnTo>
                  <a:lnTo>
                    <a:pt x="170" y="617"/>
                  </a:lnTo>
                  <a:lnTo>
                    <a:pt x="182" y="623"/>
                  </a:lnTo>
                  <a:lnTo>
                    <a:pt x="195" y="630"/>
                  </a:lnTo>
                  <a:lnTo>
                    <a:pt x="206" y="635"/>
                  </a:lnTo>
                  <a:lnTo>
                    <a:pt x="220" y="639"/>
                  </a:lnTo>
                  <a:lnTo>
                    <a:pt x="233" y="643"/>
                  </a:lnTo>
                  <a:lnTo>
                    <a:pt x="247" y="648"/>
                  </a:lnTo>
                  <a:lnTo>
                    <a:pt x="315" y="887"/>
                  </a:lnTo>
                  <a:lnTo>
                    <a:pt x="318" y="892"/>
                  </a:lnTo>
                  <a:lnTo>
                    <a:pt x="321" y="895"/>
                  </a:lnTo>
                  <a:lnTo>
                    <a:pt x="325" y="897"/>
                  </a:lnTo>
                  <a:lnTo>
                    <a:pt x="329" y="898"/>
                  </a:lnTo>
                  <a:lnTo>
                    <a:pt x="335" y="897"/>
                  </a:lnTo>
                  <a:lnTo>
                    <a:pt x="339" y="895"/>
                  </a:lnTo>
                  <a:lnTo>
                    <a:pt x="342" y="892"/>
                  </a:lnTo>
                  <a:lnTo>
                    <a:pt x="344" y="887"/>
                  </a:lnTo>
                  <a:lnTo>
                    <a:pt x="412" y="648"/>
                  </a:lnTo>
                  <a:lnTo>
                    <a:pt x="426" y="643"/>
                  </a:lnTo>
                  <a:lnTo>
                    <a:pt x="440" y="639"/>
                  </a:lnTo>
                  <a:lnTo>
                    <a:pt x="452" y="635"/>
                  </a:lnTo>
                  <a:lnTo>
                    <a:pt x="465" y="630"/>
                  </a:lnTo>
                  <a:lnTo>
                    <a:pt x="477" y="623"/>
                  </a:lnTo>
                  <a:lnTo>
                    <a:pt x="489" y="617"/>
                  </a:lnTo>
                  <a:lnTo>
                    <a:pt x="501" y="610"/>
                  </a:lnTo>
                  <a:lnTo>
                    <a:pt x="512" y="603"/>
                  </a:lnTo>
                  <a:lnTo>
                    <a:pt x="523" y="595"/>
                  </a:lnTo>
                  <a:lnTo>
                    <a:pt x="534" y="588"/>
                  </a:lnTo>
                  <a:lnTo>
                    <a:pt x="544" y="579"/>
                  </a:lnTo>
                  <a:lnTo>
                    <a:pt x="554" y="570"/>
                  </a:lnTo>
                  <a:lnTo>
                    <a:pt x="564" y="561"/>
                  </a:lnTo>
                  <a:lnTo>
                    <a:pt x="573" y="551"/>
                  </a:lnTo>
                  <a:lnTo>
                    <a:pt x="582" y="541"/>
                  </a:lnTo>
                  <a:lnTo>
                    <a:pt x="590" y="531"/>
                  </a:lnTo>
                  <a:lnTo>
                    <a:pt x="598" y="520"/>
                  </a:lnTo>
                  <a:lnTo>
                    <a:pt x="605" y="509"/>
                  </a:lnTo>
                  <a:lnTo>
                    <a:pt x="613" y="498"/>
                  </a:lnTo>
                  <a:lnTo>
                    <a:pt x="619" y="486"/>
                  </a:lnTo>
                  <a:lnTo>
                    <a:pt x="626" y="474"/>
                  </a:lnTo>
                  <a:lnTo>
                    <a:pt x="631" y="463"/>
                  </a:lnTo>
                  <a:lnTo>
                    <a:pt x="636" y="450"/>
                  </a:lnTo>
                  <a:lnTo>
                    <a:pt x="641" y="437"/>
                  </a:lnTo>
                  <a:lnTo>
                    <a:pt x="645" y="424"/>
                  </a:lnTo>
                  <a:lnTo>
                    <a:pt x="648" y="411"/>
                  </a:lnTo>
                  <a:lnTo>
                    <a:pt x="651" y="399"/>
                  </a:lnTo>
                  <a:lnTo>
                    <a:pt x="655" y="385"/>
                  </a:lnTo>
                  <a:lnTo>
                    <a:pt x="657" y="371"/>
                  </a:lnTo>
                  <a:lnTo>
                    <a:pt x="658" y="357"/>
                  </a:lnTo>
                  <a:lnTo>
                    <a:pt x="659" y="343"/>
                  </a:lnTo>
                  <a:lnTo>
                    <a:pt x="659" y="329"/>
                  </a:lnTo>
                  <a:lnTo>
                    <a:pt x="659" y="312"/>
                  </a:lnTo>
                  <a:lnTo>
                    <a:pt x="657" y="295"/>
                  </a:lnTo>
                  <a:lnTo>
                    <a:pt x="656" y="279"/>
                  </a:lnTo>
                  <a:lnTo>
                    <a:pt x="652" y="263"/>
                  </a:lnTo>
                  <a:lnTo>
                    <a:pt x="648" y="247"/>
                  </a:lnTo>
                  <a:lnTo>
                    <a:pt x="644" y="231"/>
                  </a:lnTo>
                  <a:lnTo>
                    <a:pt x="639" y="216"/>
                  </a:lnTo>
                  <a:lnTo>
                    <a:pt x="633" y="201"/>
                  </a:lnTo>
                  <a:lnTo>
                    <a:pt x="627" y="187"/>
                  </a:lnTo>
                  <a:lnTo>
                    <a:pt x="619" y="172"/>
                  </a:lnTo>
                  <a:lnTo>
                    <a:pt x="611" y="158"/>
                  </a:lnTo>
                  <a:lnTo>
                    <a:pt x="602" y="145"/>
                  </a:lnTo>
                  <a:lnTo>
                    <a:pt x="594" y="132"/>
                  </a:lnTo>
                  <a:lnTo>
                    <a:pt x="584" y="119"/>
                  </a:lnTo>
                  <a:lnTo>
                    <a:pt x="573" y="108"/>
                  </a:lnTo>
                  <a:lnTo>
                    <a:pt x="563" y="96"/>
                  </a:lnTo>
                  <a:lnTo>
                    <a:pt x="551" y="85"/>
                  </a:lnTo>
                  <a:lnTo>
                    <a:pt x="539" y="74"/>
                  </a:lnTo>
                  <a:lnTo>
                    <a:pt x="526" y="65"/>
                  </a:lnTo>
                  <a:lnTo>
                    <a:pt x="513" y="56"/>
                  </a:lnTo>
                  <a:lnTo>
                    <a:pt x="501" y="48"/>
                  </a:lnTo>
                  <a:lnTo>
                    <a:pt x="487" y="39"/>
                  </a:lnTo>
                  <a:lnTo>
                    <a:pt x="472" y="32"/>
                  </a:lnTo>
                  <a:lnTo>
                    <a:pt x="458" y="25"/>
                  </a:lnTo>
                  <a:lnTo>
                    <a:pt x="443" y="20"/>
                  </a:lnTo>
                  <a:lnTo>
                    <a:pt x="428" y="15"/>
                  </a:lnTo>
                  <a:lnTo>
                    <a:pt x="412" y="10"/>
                  </a:lnTo>
                  <a:lnTo>
                    <a:pt x="396" y="6"/>
                  </a:lnTo>
                  <a:lnTo>
                    <a:pt x="380" y="3"/>
                  </a:lnTo>
                  <a:lnTo>
                    <a:pt x="364" y="2"/>
                  </a:lnTo>
                  <a:lnTo>
                    <a:pt x="346" y="0"/>
                  </a:lnTo>
                  <a:lnTo>
                    <a:pt x="329" y="0"/>
                  </a:lnTo>
                  <a:lnTo>
                    <a:pt x="329" y="0"/>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789" name="Freeform 81">
              <a:extLst>
                <a:ext uri="{FF2B5EF4-FFF2-40B4-BE49-F238E27FC236}">
                  <a16:creationId xmlns:a16="http://schemas.microsoft.com/office/drawing/2014/main" id="{FFCCE036-46C2-44DD-90EE-96ED5826DB55}"/>
                </a:ext>
              </a:extLst>
            </p:cNvPr>
            <p:cNvSpPr>
              <a:spLocks noEditPoints="1"/>
            </p:cNvSpPr>
            <p:nvPr/>
          </p:nvSpPr>
          <p:spPr bwMode="auto">
            <a:xfrm>
              <a:off x="1538288" y="2530475"/>
              <a:ext cx="142875" cy="142875"/>
            </a:xfrm>
            <a:custGeom>
              <a:avLst/>
              <a:gdLst>
                <a:gd name="T0" fmla="*/ 185 w 449"/>
                <a:gd name="T1" fmla="*/ 415 h 450"/>
                <a:gd name="T2" fmla="*/ 131 w 449"/>
                <a:gd name="T3" fmla="*/ 396 h 450"/>
                <a:gd name="T4" fmla="*/ 86 w 449"/>
                <a:gd name="T5" fmla="*/ 363 h 450"/>
                <a:gd name="T6" fmla="*/ 53 w 449"/>
                <a:gd name="T7" fmla="*/ 318 h 450"/>
                <a:gd name="T8" fmla="*/ 34 w 449"/>
                <a:gd name="T9" fmla="*/ 265 h 450"/>
                <a:gd name="T10" fmla="*/ 31 w 449"/>
                <a:gd name="T11" fmla="*/ 205 h 450"/>
                <a:gd name="T12" fmla="*/ 45 w 449"/>
                <a:gd name="T13" fmla="*/ 149 h 450"/>
                <a:gd name="T14" fmla="*/ 75 w 449"/>
                <a:gd name="T15" fmla="*/ 101 h 450"/>
                <a:gd name="T16" fmla="*/ 115 w 449"/>
                <a:gd name="T17" fmla="*/ 63 h 450"/>
                <a:gd name="T18" fmla="*/ 167 w 449"/>
                <a:gd name="T19" fmla="*/ 39 h 450"/>
                <a:gd name="T20" fmla="*/ 224 w 449"/>
                <a:gd name="T21" fmla="*/ 30 h 450"/>
                <a:gd name="T22" fmla="*/ 282 w 449"/>
                <a:gd name="T23" fmla="*/ 39 h 450"/>
                <a:gd name="T24" fmla="*/ 333 w 449"/>
                <a:gd name="T25" fmla="*/ 63 h 450"/>
                <a:gd name="T26" fmla="*/ 374 w 449"/>
                <a:gd name="T27" fmla="*/ 101 h 450"/>
                <a:gd name="T28" fmla="*/ 404 w 449"/>
                <a:gd name="T29" fmla="*/ 149 h 450"/>
                <a:gd name="T30" fmla="*/ 418 w 449"/>
                <a:gd name="T31" fmla="*/ 205 h 450"/>
                <a:gd name="T32" fmla="*/ 415 w 449"/>
                <a:gd name="T33" fmla="*/ 265 h 450"/>
                <a:gd name="T34" fmla="*/ 396 w 449"/>
                <a:gd name="T35" fmla="*/ 318 h 450"/>
                <a:gd name="T36" fmla="*/ 362 w 449"/>
                <a:gd name="T37" fmla="*/ 363 h 450"/>
                <a:gd name="T38" fmla="*/ 317 w 449"/>
                <a:gd name="T39" fmla="*/ 396 h 450"/>
                <a:gd name="T40" fmla="*/ 264 w 449"/>
                <a:gd name="T41" fmla="*/ 415 h 450"/>
                <a:gd name="T42" fmla="*/ 224 w 449"/>
                <a:gd name="T43" fmla="*/ 420 h 450"/>
                <a:gd name="T44" fmla="*/ 202 w 449"/>
                <a:gd name="T45" fmla="*/ 1 h 450"/>
                <a:gd name="T46" fmla="*/ 169 w 449"/>
                <a:gd name="T47" fmla="*/ 8 h 450"/>
                <a:gd name="T48" fmla="*/ 137 w 449"/>
                <a:gd name="T49" fmla="*/ 17 h 450"/>
                <a:gd name="T50" fmla="*/ 82 w 449"/>
                <a:gd name="T51" fmla="*/ 52 h 450"/>
                <a:gd name="T52" fmla="*/ 38 w 449"/>
                <a:gd name="T53" fmla="*/ 100 h 450"/>
                <a:gd name="T54" fmla="*/ 14 w 449"/>
                <a:gd name="T55" fmla="*/ 148 h 450"/>
                <a:gd name="T56" fmla="*/ 4 w 449"/>
                <a:gd name="T57" fmla="*/ 180 h 450"/>
                <a:gd name="T58" fmla="*/ 0 w 449"/>
                <a:gd name="T59" fmla="*/ 213 h 450"/>
                <a:gd name="T60" fmla="*/ 1 w 449"/>
                <a:gd name="T61" fmla="*/ 247 h 450"/>
                <a:gd name="T62" fmla="*/ 7 w 449"/>
                <a:gd name="T63" fmla="*/ 281 h 450"/>
                <a:gd name="T64" fmla="*/ 18 w 449"/>
                <a:gd name="T65" fmla="*/ 313 h 450"/>
                <a:gd name="T66" fmla="*/ 51 w 449"/>
                <a:gd name="T67" fmla="*/ 367 h 450"/>
                <a:gd name="T68" fmla="*/ 99 w 449"/>
                <a:gd name="T69" fmla="*/ 411 h 450"/>
                <a:gd name="T70" fmla="*/ 147 w 449"/>
                <a:gd name="T71" fmla="*/ 436 h 450"/>
                <a:gd name="T72" fmla="*/ 179 w 449"/>
                <a:gd name="T73" fmla="*/ 445 h 450"/>
                <a:gd name="T74" fmla="*/ 213 w 449"/>
                <a:gd name="T75" fmla="*/ 450 h 450"/>
                <a:gd name="T76" fmla="*/ 248 w 449"/>
                <a:gd name="T77" fmla="*/ 449 h 450"/>
                <a:gd name="T78" fmla="*/ 280 w 449"/>
                <a:gd name="T79" fmla="*/ 442 h 450"/>
                <a:gd name="T80" fmla="*/ 312 w 449"/>
                <a:gd name="T81" fmla="*/ 431 h 450"/>
                <a:gd name="T82" fmla="*/ 368 w 449"/>
                <a:gd name="T83" fmla="*/ 398 h 450"/>
                <a:gd name="T84" fmla="*/ 411 w 449"/>
                <a:gd name="T85" fmla="*/ 350 h 450"/>
                <a:gd name="T86" fmla="*/ 435 w 449"/>
                <a:gd name="T87" fmla="*/ 302 h 450"/>
                <a:gd name="T88" fmla="*/ 445 w 449"/>
                <a:gd name="T89" fmla="*/ 270 h 450"/>
                <a:gd name="T90" fmla="*/ 449 w 449"/>
                <a:gd name="T91" fmla="*/ 237 h 450"/>
                <a:gd name="T92" fmla="*/ 448 w 449"/>
                <a:gd name="T93" fmla="*/ 203 h 450"/>
                <a:gd name="T94" fmla="*/ 442 w 449"/>
                <a:gd name="T95" fmla="*/ 169 h 450"/>
                <a:gd name="T96" fmla="*/ 432 w 449"/>
                <a:gd name="T97" fmla="*/ 137 h 450"/>
                <a:gd name="T98" fmla="*/ 398 w 449"/>
                <a:gd name="T99" fmla="*/ 82 h 450"/>
                <a:gd name="T100" fmla="*/ 350 w 449"/>
                <a:gd name="T101" fmla="*/ 39 h 450"/>
                <a:gd name="T102" fmla="*/ 301 w 449"/>
                <a:gd name="T103" fmla="*/ 14 h 450"/>
                <a:gd name="T104" fmla="*/ 269 w 449"/>
                <a:gd name="T105" fmla="*/ 5 h 450"/>
                <a:gd name="T106" fmla="*/ 236 w 449"/>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9" h="450">
                  <a:moveTo>
                    <a:pt x="224" y="420"/>
                  </a:moveTo>
                  <a:lnTo>
                    <a:pt x="204" y="419"/>
                  </a:lnTo>
                  <a:lnTo>
                    <a:pt x="185" y="415"/>
                  </a:lnTo>
                  <a:lnTo>
                    <a:pt x="167" y="411"/>
                  </a:lnTo>
                  <a:lnTo>
                    <a:pt x="148" y="405"/>
                  </a:lnTo>
                  <a:lnTo>
                    <a:pt x="131" y="396"/>
                  </a:lnTo>
                  <a:lnTo>
                    <a:pt x="115" y="386"/>
                  </a:lnTo>
                  <a:lnTo>
                    <a:pt x="100" y="375"/>
                  </a:lnTo>
                  <a:lnTo>
                    <a:pt x="86" y="363"/>
                  </a:lnTo>
                  <a:lnTo>
                    <a:pt x="75" y="349"/>
                  </a:lnTo>
                  <a:lnTo>
                    <a:pt x="63" y="334"/>
                  </a:lnTo>
                  <a:lnTo>
                    <a:pt x="53" y="318"/>
                  </a:lnTo>
                  <a:lnTo>
                    <a:pt x="45" y="301"/>
                  </a:lnTo>
                  <a:lnTo>
                    <a:pt x="38" y="283"/>
                  </a:lnTo>
                  <a:lnTo>
                    <a:pt x="34" y="265"/>
                  </a:lnTo>
                  <a:lnTo>
                    <a:pt x="31" y="245"/>
                  </a:lnTo>
                  <a:lnTo>
                    <a:pt x="30" y="225"/>
                  </a:lnTo>
                  <a:lnTo>
                    <a:pt x="31" y="205"/>
                  </a:lnTo>
                  <a:lnTo>
                    <a:pt x="34" y="185"/>
                  </a:lnTo>
                  <a:lnTo>
                    <a:pt x="38" y="167"/>
                  </a:lnTo>
                  <a:lnTo>
                    <a:pt x="45" y="149"/>
                  </a:lnTo>
                  <a:lnTo>
                    <a:pt x="53" y="132"/>
                  </a:lnTo>
                  <a:lnTo>
                    <a:pt x="63" y="116"/>
                  </a:lnTo>
                  <a:lnTo>
                    <a:pt x="75" y="101"/>
                  </a:lnTo>
                  <a:lnTo>
                    <a:pt x="86" y="87"/>
                  </a:lnTo>
                  <a:lnTo>
                    <a:pt x="100" y="75"/>
                  </a:lnTo>
                  <a:lnTo>
                    <a:pt x="115" y="63"/>
                  </a:lnTo>
                  <a:lnTo>
                    <a:pt x="131" y="54"/>
                  </a:lnTo>
                  <a:lnTo>
                    <a:pt x="148" y="45"/>
                  </a:lnTo>
                  <a:lnTo>
                    <a:pt x="167" y="39"/>
                  </a:lnTo>
                  <a:lnTo>
                    <a:pt x="185" y="35"/>
                  </a:lnTo>
                  <a:lnTo>
                    <a:pt x="204" y="31"/>
                  </a:lnTo>
                  <a:lnTo>
                    <a:pt x="224" y="30"/>
                  </a:lnTo>
                  <a:lnTo>
                    <a:pt x="245" y="31"/>
                  </a:lnTo>
                  <a:lnTo>
                    <a:pt x="264" y="35"/>
                  </a:lnTo>
                  <a:lnTo>
                    <a:pt x="282" y="39"/>
                  </a:lnTo>
                  <a:lnTo>
                    <a:pt x="300" y="45"/>
                  </a:lnTo>
                  <a:lnTo>
                    <a:pt x="317" y="54"/>
                  </a:lnTo>
                  <a:lnTo>
                    <a:pt x="333" y="63"/>
                  </a:lnTo>
                  <a:lnTo>
                    <a:pt x="348" y="75"/>
                  </a:lnTo>
                  <a:lnTo>
                    <a:pt x="362" y="87"/>
                  </a:lnTo>
                  <a:lnTo>
                    <a:pt x="374" y="101"/>
                  </a:lnTo>
                  <a:lnTo>
                    <a:pt x="386" y="116"/>
                  </a:lnTo>
                  <a:lnTo>
                    <a:pt x="396" y="132"/>
                  </a:lnTo>
                  <a:lnTo>
                    <a:pt x="404" y="149"/>
                  </a:lnTo>
                  <a:lnTo>
                    <a:pt x="411" y="167"/>
                  </a:lnTo>
                  <a:lnTo>
                    <a:pt x="415" y="185"/>
                  </a:lnTo>
                  <a:lnTo>
                    <a:pt x="418" y="205"/>
                  </a:lnTo>
                  <a:lnTo>
                    <a:pt x="419" y="225"/>
                  </a:lnTo>
                  <a:lnTo>
                    <a:pt x="418" y="245"/>
                  </a:lnTo>
                  <a:lnTo>
                    <a:pt x="415" y="265"/>
                  </a:lnTo>
                  <a:lnTo>
                    <a:pt x="411" y="283"/>
                  </a:lnTo>
                  <a:lnTo>
                    <a:pt x="404" y="301"/>
                  </a:lnTo>
                  <a:lnTo>
                    <a:pt x="396" y="318"/>
                  </a:lnTo>
                  <a:lnTo>
                    <a:pt x="386" y="334"/>
                  </a:lnTo>
                  <a:lnTo>
                    <a:pt x="374" y="349"/>
                  </a:lnTo>
                  <a:lnTo>
                    <a:pt x="362" y="363"/>
                  </a:lnTo>
                  <a:lnTo>
                    <a:pt x="348" y="375"/>
                  </a:lnTo>
                  <a:lnTo>
                    <a:pt x="333" y="386"/>
                  </a:lnTo>
                  <a:lnTo>
                    <a:pt x="317" y="396"/>
                  </a:lnTo>
                  <a:lnTo>
                    <a:pt x="300" y="405"/>
                  </a:lnTo>
                  <a:lnTo>
                    <a:pt x="282" y="411"/>
                  </a:lnTo>
                  <a:lnTo>
                    <a:pt x="264" y="415"/>
                  </a:lnTo>
                  <a:lnTo>
                    <a:pt x="245" y="419"/>
                  </a:lnTo>
                  <a:lnTo>
                    <a:pt x="224" y="420"/>
                  </a:lnTo>
                  <a:lnTo>
                    <a:pt x="224" y="420"/>
                  </a:lnTo>
                  <a:close/>
                  <a:moveTo>
                    <a:pt x="224" y="0"/>
                  </a:moveTo>
                  <a:lnTo>
                    <a:pt x="213" y="0"/>
                  </a:lnTo>
                  <a:lnTo>
                    <a:pt x="202" y="1"/>
                  </a:lnTo>
                  <a:lnTo>
                    <a:pt x="190" y="3"/>
                  </a:lnTo>
                  <a:lnTo>
                    <a:pt x="179" y="5"/>
                  </a:lnTo>
                  <a:lnTo>
                    <a:pt x="169" y="8"/>
                  </a:lnTo>
                  <a:lnTo>
                    <a:pt x="158" y="10"/>
                  </a:lnTo>
                  <a:lnTo>
                    <a:pt x="147" y="14"/>
                  </a:lnTo>
                  <a:lnTo>
                    <a:pt x="137" y="17"/>
                  </a:lnTo>
                  <a:lnTo>
                    <a:pt x="117" y="27"/>
                  </a:lnTo>
                  <a:lnTo>
                    <a:pt x="99" y="39"/>
                  </a:lnTo>
                  <a:lnTo>
                    <a:pt x="82" y="52"/>
                  </a:lnTo>
                  <a:lnTo>
                    <a:pt x="66" y="67"/>
                  </a:lnTo>
                  <a:lnTo>
                    <a:pt x="51" y="82"/>
                  </a:lnTo>
                  <a:lnTo>
                    <a:pt x="38" y="100"/>
                  </a:lnTo>
                  <a:lnTo>
                    <a:pt x="26" y="118"/>
                  </a:lnTo>
                  <a:lnTo>
                    <a:pt x="18" y="137"/>
                  </a:lnTo>
                  <a:lnTo>
                    <a:pt x="14" y="148"/>
                  </a:lnTo>
                  <a:lnTo>
                    <a:pt x="10" y="159"/>
                  </a:lnTo>
                  <a:lnTo>
                    <a:pt x="7" y="169"/>
                  </a:lnTo>
                  <a:lnTo>
                    <a:pt x="4" y="180"/>
                  </a:lnTo>
                  <a:lnTo>
                    <a:pt x="2" y="191"/>
                  </a:lnTo>
                  <a:lnTo>
                    <a:pt x="1" y="203"/>
                  </a:lnTo>
                  <a:lnTo>
                    <a:pt x="0" y="213"/>
                  </a:lnTo>
                  <a:lnTo>
                    <a:pt x="0" y="225"/>
                  </a:lnTo>
                  <a:lnTo>
                    <a:pt x="0" y="237"/>
                  </a:lnTo>
                  <a:lnTo>
                    <a:pt x="1" y="247"/>
                  </a:lnTo>
                  <a:lnTo>
                    <a:pt x="2" y="259"/>
                  </a:lnTo>
                  <a:lnTo>
                    <a:pt x="4" y="270"/>
                  </a:lnTo>
                  <a:lnTo>
                    <a:pt x="7" y="281"/>
                  </a:lnTo>
                  <a:lnTo>
                    <a:pt x="10" y="291"/>
                  </a:lnTo>
                  <a:lnTo>
                    <a:pt x="14" y="302"/>
                  </a:lnTo>
                  <a:lnTo>
                    <a:pt x="18" y="313"/>
                  </a:lnTo>
                  <a:lnTo>
                    <a:pt x="26" y="332"/>
                  </a:lnTo>
                  <a:lnTo>
                    <a:pt x="38" y="350"/>
                  </a:lnTo>
                  <a:lnTo>
                    <a:pt x="51" y="367"/>
                  </a:lnTo>
                  <a:lnTo>
                    <a:pt x="66" y="383"/>
                  </a:lnTo>
                  <a:lnTo>
                    <a:pt x="82" y="398"/>
                  </a:lnTo>
                  <a:lnTo>
                    <a:pt x="99" y="411"/>
                  </a:lnTo>
                  <a:lnTo>
                    <a:pt x="117" y="423"/>
                  </a:lnTo>
                  <a:lnTo>
                    <a:pt x="137" y="431"/>
                  </a:lnTo>
                  <a:lnTo>
                    <a:pt x="147" y="436"/>
                  </a:lnTo>
                  <a:lnTo>
                    <a:pt x="158" y="439"/>
                  </a:lnTo>
                  <a:lnTo>
                    <a:pt x="169" y="442"/>
                  </a:lnTo>
                  <a:lnTo>
                    <a:pt x="179" y="445"/>
                  </a:lnTo>
                  <a:lnTo>
                    <a:pt x="190" y="447"/>
                  </a:lnTo>
                  <a:lnTo>
                    <a:pt x="202" y="449"/>
                  </a:lnTo>
                  <a:lnTo>
                    <a:pt x="213" y="450"/>
                  </a:lnTo>
                  <a:lnTo>
                    <a:pt x="224" y="450"/>
                  </a:lnTo>
                  <a:lnTo>
                    <a:pt x="236" y="450"/>
                  </a:lnTo>
                  <a:lnTo>
                    <a:pt x="248" y="449"/>
                  </a:lnTo>
                  <a:lnTo>
                    <a:pt x="259" y="447"/>
                  </a:lnTo>
                  <a:lnTo>
                    <a:pt x="269" y="445"/>
                  </a:lnTo>
                  <a:lnTo>
                    <a:pt x="280" y="442"/>
                  </a:lnTo>
                  <a:lnTo>
                    <a:pt x="291" y="439"/>
                  </a:lnTo>
                  <a:lnTo>
                    <a:pt x="301" y="436"/>
                  </a:lnTo>
                  <a:lnTo>
                    <a:pt x="312" y="431"/>
                  </a:lnTo>
                  <a:lnTo>
                    <a:pt x="331" y="423"/>
                  </a:lnTo>
                  <a:lnTo>
                    <a:pt x="350" y="411"/>
                  </a:lnTo>
                  <a:lnTo>
                    <a:pt x="368" y="398"/>
                  </a:lnTo>
                  <a:lnTo>
                    <a:pt x="384" y="383"/>
                  </a:lnTo>
                  <a:lnTo>
                    <a:pt x="398" y="367"/>
                  </a:lnTo>
                  <a:lnTo>
                    <a:pt x="411" y="350"/>
                  </a:lnTo>
                  <a:lnTo>
                    <a:pt x="422" y="332"/>
                  </a:lnTo>
                  <a:lnTo>
                    <a:pt x="432" y="313"/>
                  </a:lnTo>
                  <a:lnTo>
                    <a:pt x="435" y="302"/>
                  </a:lnTo>
                  <a:lnTo>
                    <a:pt x="439" y="291"/>
                  </a:lnTo>
                  <a:lnTo>
                    <a:pt x="442" y="281"/>
                  </a:lnTo>
                  <a:lnTo>
                    <a:pt x="445" y="270"/>
                  </a:lnTo>
                  <a:lnTo>
                    <a:pt x="447" y="259"/>
                  </a:lnTo>
                  <a:lnTo>
                    <a:pt x="448" y="247"/>
                  </a:lnTo>
                  <a:lnTo>
                    <a:pt x="449" y="237"/>
                  </a:lnTo>
                  <a:lnTo>
                    <a:pt x="449" y="225"/>
                  </a:lnTo>
                  <a:lnTo>
                    <a:pt x="449" y="213"/>
                  </a:lnTo>
                  <a:lnTo>
                    <a:pt x="448" y="203"/>
                  </a:lnTo>
                  <a:lnTo>
                    <a:pt x="447" y="191"/>
                  </a:lnTo>
                  <a:lnTo>
                    <a:pt x="445" y="180"/>
                  </a:lnTo>
                  <a:lnTo>
                    <a:pt x="442" y="169"/>
                  </a:lnTo>
                  <a:lnTo>
                    <a:pt x="439" y="159"/>
                  </a:lnTo>
                  <a:lnTo>
                    <a:pt x="435" y="148"/>
                  </a:lnTo>
                  <a:lnTo>
                    <a:pt x="432" y="137"/>
                  </a:lnTo>
                  <a:lnTo>
                    <a:pt x="422" y="118"/>
                  </a:lnTo>
                  <a:lnTo>
                    <a:pt x="411" y="100"/>
                  </a:lnTo>
                  <a:lnTo>
                    <a:pt x="398" y="82"/>
                  </a:lnTo>
                  <a:lnTo>
                    <a:pt x="384" y="67"/>
                  </a:lnTo>
                  <a:lnTo>
                    <a:pt x="368" y="52"/>
                  </a:lnTo>
                  <a:lnTo>
                    <a:pt x="350" y="39"/>
                  </a:lnTo>
                  <a:lnTo>
                    <a:pt x="331" y="27"/>
                  </a:lnTo>
                  <a:lnTo>
                    <a:pt x="312" y="17"/>
                  </a:lnTo>
                  <a:lnTo>
                    <a:pt x="301" y="14"/>
                  </a:lnTo>
                  <a:lnTo>
                    <a:pt x="291" y="10"/>
                  </a:lnTo>
                  <a:lnTo>
                    <a:pt x="280" y="8"/>
                  </a:lnTo>
                  <a:lnTo>
                    <a:pt x="269" y="5"/>
                  </a:lnTo>
                  <a:lnTo>
                    <a:pt x="259" y="3"/>
                  </a:lnTo>
                  <a:lnTo>
                    <a:pt x="248" y="1"/>
                  </a:lnTo>
                  <a:lnTo>
                    <a:pt x="236" y="0"/>
                  </a:lnTo>
                  <a:lnTo>
                    <a:pt x="224" y="0"/>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803" name="Group 31">
            <a:extLst>
              <a:ext uri="{FF2B5EF4-FFF2-40B4-BE49-F238E27FC236}">
                <a16:creationId xmlns:a16="http://schemas.microsoft.com/office/drawing/2014/main" id="{D2F56266-8E39-45DA-9A0A-607D9E59E5B6}"/>
              </a:ext>
            </a:extLst>
          </p:cNvPr>
          <p:cNvGrpSpPr>
            <a:grpSpLocks noChangeAspect="1"/>
          </p:cNvGrpSpPr>
          <p:nvPr/>
        </p:nvGrpSpPr>
        <p:grpSpPr>
          <a:xfrm>
            <a:off x="5727664" y="2186361"/>
            <a:ext cx="414200" cy="306484"/>
            <a:chOff x="1536713" y="2453451"/>
            <a:chExt cx="576117" cy="426294"/>
          </a:xfrm>
          <a:solidFill>
            <a:schemeClr val="bg2"/>
          </a:solidFill>
          <a:effectLst/>
        </p:grpSpPr>
        <p:sp>
          <p:nvSpPr>
            <p:cNvPr id="804" name="Freeform 15">
              <a:extLst>
                <a:ext uri="{FF2B5EF4-FFF2-40B4-BE49-F238E27FC236}">
                  <a16:creationId xmlns:a16="http://schemas.microsoft.com/office/drawing/2014/main" id="{E53D7D94-833D-4B1A-B702-19667EEAFF36}"/>
                </a:ext>
              </a:extLst>
            </p:cNvPr>
            <p:cNvSpPr>
              <a:spLocks/>
            </p:cNvSpPr>
            <p:nvPr/>
          </p:nvSpPr>
          <p:spPr bwMode="auto">
            <a:xfrm>
              <a:off x="1536713" y="2453451"/>
              <a:ext cx="192039" cy="426294"/>
            </a:xfrm>
            <a:custGeom>
              <a:avLst/>
              <a:gdLst>
                <a:gd name="T0" fmla="*/ 38 w 695"/>
                <a:gd name="T1" fmla="*/ 1545 h 1545"/>
                <a:gd name="T2" fmla="*/ 31 w 695"/>
                <a:gd name="T3" fmla="*/ 1545 h 1545"/>
                <a:gd name="T4" fmla="*/ 24 w 695"/>
                <a:gd name="T5" fmla="*/ 1542 h 1545"/>
                <a:gd name="T6" fmla="*/ 17 w 695"/>
                <a:gd name="T7" fmla="*/ 1539 h 1545"/>
                <a:gd name="T8" fmla="*/ 11 w 695"/>
                <a:gd name="T9" fmla="*/ 1533 h 1545"/>
                <a:gd name="T10" fmla="*/ 6 w 695"/>
                <a:gd name="T11" fmla="*/ 1528 h 1545"/>
                <a:gd name="T12" fmla="*/ 3 w 695"/>
                <a:gd name="T13" fmla="*/ 1522 h 1545"/>
                <a:gd name="T14" fmla="*/ 1 w 695"/>
                <a:gd name="T15" fmla="*/ 1514 h 1545"/>
                <a:gd name="T16" fmla="*/ 0 w 695"/>
                <a:gd name="T17" fmla="*/ 1507 h 1545"/>
                <a:gd name="T18" fmla="*/ 1 w 695"/>
                <a:gd name="T19" fmla="*/ 1499 h 1545"/>
                <a:gd name="T20" fmla="*/ 3 w 695"/>
                <a:gd name="T21" fmla="*/ 1492 h 1545"/>
                <a:gd name="T22" fmla="*/ 621 w 695"/>
                <a:gd name="T23" fmla="*/ 23 h 1545"/>
                <a:gd name="T24" fmla="*/ 625 w 695"/>
                <a:gd name="T25" fmla="*/ 17 h 1545"/>
                <a:gd name="T26" fmla="*/ 630 w 695"/>
                <a:gd name="T27" fmla="*/ 10 h 1545"/>
                <a:gd name="T28" fmla="*/ 636 w 695"/>
                <a:gd name="T29" fmla="*/ 6 h 1545"/>
                <a:gd name="T30" fmla="*/ 642 w 695"/>
                <a:gd name="T31" fmla="*/ 2 h 1545"/>
                <a:gd name="T32" fmla="*/ 649 w 695"/>
                <a:gd name="T33" fmla="*/ 0 h 1545"/>
                <a:gd name="T34" fmla="*/ 657 w 695"/>
                <a:gd name="T35" fmla="*/ 0 h 1545"/>
                <a:gd name="T36" fmla="*/ 664 w 695"/>
                <a:gd name="T37" fmla="*/ 0 h 1545"/>
                <a:gd name="T38" fmla="*/ 672 w 695"/>
                <a:gd name="T39" fmla="*/ 3 h 1545"/>
                <a:gd name="T40" fmla="*/ 679 w 695"/>
                <a:gd name="T41" fmla="*/ 6 h 1545"/>
                <a:gd name="T42" fmla="*/ 685 w 695"/>
                <a:gd name="T43" fmla="*/ 11 h 1545"/>
                <a:gd name="T44" fmla="*/ 689 w 695"/>
                <a:gd name="T45" fmla="*/ 17 h 1545"/>
                <a:gd name="T46" fmla="*/ 693 w 695"/>
                <a:gd name="T47" fmla="*/ 23 h 1545"/>
                <a:gd name="T48" fmla="*/ 695 w 695"/>
                <a:gd name="T49" fmla="*/ 30 h 1545"/>
                <a:gd name="T50" fmla="*/ 695 w 695"/>
                <a:gd name="T51" fmla="*/ 38 h 1545"/>
                <a:gd name="T52" fmla="*/ 695 w 695"/>
                <a:gd name="T53" fmla="*/ 45 h 1545"/>
                <a:gd name="T54" fmla="*/ 693 w 695"/>
                <a:gd name="T55" fmla="*/ 53 h 1545"/>
                <a:gd name="T56" fmla="*/ 75 w 695"/>
                <a:gd name="T57" fmla="*/ 1522 h 1545"/>
                <a:gd name="T58" fmla="*/ 71 w 695"/>
                <a:gd name="T59" fmla="*/ 1527 h 1545"/>
                <a:gd name="T60" fmla="*/ 68 w 695"/>
                <a:gd name="T61" fmla="*/ 1531 h 1545"/>
                <a:gd name="T62" fmla="*/ 64 w 695"/>
                <a:gd name="T63" fmla="*/ 1535 h 1545"/>
                <a:gd name="T64" fmla="*/ 60 w 695"/>
                <a:gd name="T65" fmla="*/ 1539 h 1545"/>
                <a:gd name="T66" fmla="*/ 54 w 695"/>
                <a:gd name="T67" fmla="*/ 1542 h 1545"/>
                <a:gd name="T68" fmla="*/ 50 w 695"/>
                <a:gd name="T69" fmla="*/ 1544 h 1545"/>
                <a:gd name="T70" fmla="*/ 44 w 695"/>
                <a:gd name="T71" fmla="*/ 1545 h 1545"/>
                <a:gd name="T72" fmla="*/ 38 w 695"/>
                <a:gd name="T73" fmla="*/ 1545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5" h="1545">
                  <a:moveTo>
                    <a:pt x="38" y="1545"/>
                  </a:moveTo>
                  <a:lnTo>
                    <a:pt x="31" y="1545"/>
                  </a:lnTo>
                  <a:lnTo>
                    <a:pt x="24" y="1542"/>
                  </a:lnTo>
                  <a:lnTo>
                    <a:pt x="17" y="1539"/>
                  </a:lnTo>
                  <a:lnTo>
                    <a:pt x="11" y="1533"/>
                  </a:lnTo>
                  <a:lnTo>
                    <a:pt x="6" y="1528"/>
                  </a:lnTo>
                  <a:lnTo>
                    <a:pt x="3" y="1522"/>
                  </a:lnTo>
                  <a:lnTo>
                    <a:pt x="1" y="1514"/>
                  </a:lnTo>
                  <a:lnTo>
                    <a:pt x="0" y="1507"/>
                  </a:lnTo>
                  <a:lnTo>
                    <a:pt x="1" y="1499"/>
                  </a:lnTo>
                  <a:lnTo>
                    <a:pt x="3" y="1492"/>
                  </a:lnTo>
                  <a:lnTo>
                    <a:pt x="621" y="23"/>
                  </a:lnTo>
                  <a:lnTo>
                    <a:pt x="625" y="17"/>
                  </a:lnTo>
                  <a:lnTo>
                    <a:pt x="630" y="10"/>
                  </a:lnTo>
                  <a:lnTo>
                    <a:pt x="636" y="6"/>
                  </a:lnTo>
                  <a:lnTo>
                    <a:pt x="642" y="2"/>
                  </a:lnTo>
                  <a:lnTo>
                    <a:pt x="649" y="0"/>
                  </a:lnTo>
                  <a:lnTo>
                    <a:pt x="657" y="0"/>
                  </a:lnTo>
                  <a:lnTo>
                    <a:pt x="664" y="0"/>
                  </a:lnTo>
                  <a:lnTo>
                    <a:pt x="672" y="3"/>
                  </a:lnTo>
                  <a:lnTo>
                    <a:pt x="679" y="6"/>
                  </a:lnTo>
                  <a:lnTo>
                    <a:pt x="685" y="11"/>
                  </a:lnTo>
                  <a:lnTo>
                    <a:pt x="689" y="17"/>
                  </a:lnTo>
                  <a:lnTo>
                    <a:pt x="693" y="23"/>
                  </a:lnTo>
                  <a:lnTo>
                    <a:pt x="695" y="30"/>
                  </a:lnTo>
                  <a:lnTo>
                    <a:pt x="695" y="38"/>
                  </a:lnTo>
                  <a:lnTo>
                    <a:pt x="695" y="45"/>
                  </a:lnTo>
                  <a:lnTo>
                    <a:pt x="693" y="53"/>
                  </a:lnTo>
                  <a:lnTo>
                    <a:pt x="75" y="1522"/>
                  </a:lnTo>
                  <a:lnTo>
                    <a:pt x="71" y="1527"/>
                  </a:lnTo>
                  <a:lnTo>
                    <a:pt x="68" y="1531"/>
                  </a:lnTo>
                  <a:lnTo>
                    <a:pt x="64" y="1535"/>
                  </a:lnTo>
                  <a:lnTo>
                    <a:pt x="60" y="1539"/>
                  </a:lnTo>
                  <a:lnTo>
                    <a:pt x="54" y="1542"/>
                  </a:lnTo>
                  <a:lnTo>
                    <a:pt x="50" y="1544"/>
                  </a:lnTo>
                  <a:lnTo>
                    <a:pt x="44" y="1545"/>
                  </a:lnTo>
                  <a:lnTo>
                    <a:pt x="38" y="15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6">
              <a:extLst>
                <a:ext uri="{FF2B5EF4-FFF2-40B4-BE49-F238E27FC236}">
                  <a16:creationId xmlns:a16="http://schemas.microsoft.com/office/drawing/2014/main" id="{6B26B4EC-28FF-493A-97AE-611B03AF8EF2}"/>
                </a:ext>
              </a:extLst>
            </p:cNvPr>
            <p:cNvSpPr>
              <a:spLocks/>
            </p:cNvSpPr>
            <p:nvPr/>
          </p:nvSpPr>
          <p:spPr bwMode="auto">
            <a:xfrm>
              <a:off x="1920791" y="2453451"/>
              <a:ext cx="192039" cy="426294"/>
            </a:xfrm>
            <a:custGeom>
              <a:avLst/>
              <a:gdLst>
                <a:gd name="T0" fmla="*/ 657 w 695"/>
                <a:gd name="T1" fmla="*/ 1545 h 1545"/>
                <a:gd name="T2" fmla="*/ 652 w 695"/>
                <a:gd name="T3" fmla="*/ 1545 h 1545"/>
                <a:gd name="T4" fmla="*/ 646 w 695"/>
                <a:gd name="T5" fmla="*/ 1544 h 1545"/>
                <a:gd name="T6" fmla="*/ 641 w 695"/>
                <a:gd name="T7" fmla="*/ 1542 h 1545"/>
                <a:gd name="T8" fmla="*/ 636 w 695"/>
                <a:gd name="T9" fmla="*/ 1539 h 1545"/>
                <a:gd name="T10" fmla="*/ 632 w 695"/>
                <a:gd name="T11" fmla="*/ 1535 h 1545"/>
                <a:gd name="T12" fmla="*/ 627 w 695"/>
                <a:gd name="T13" fmla="*/ 1531 h 1545"/>
                <a:gd name="T14" fmla="*/ 624 w 695"/>
                <a:gd name="T15" fmla="*/ 1527 h 1545"/>
                <a:gd name="T16" fmla="*/ 622 w 695"/>
                <a:gd name="T17" fmla="*/ 1522 h 1545"/>
                <a:gd name="T18" fmla="*/ 3 w 695"/>
                <a:gd name="T19" fmla="*/ 53 h 1545"/>
                <a:gd name="T20" fmla="*/ 1 w 695"/>
                <a:gd name="T21" fmla="*/ 45 h 1545"/>
                <a:gd name="T22" fmla="*/ 0 w 695"/>
                <a:gd name="T23" fmla="*/ 38 h 1545"/>
                <a:gd name="T24" fmla="*/ 1 w 695"/>
                <a:gd name="T25" fmla="*/ 30 h 1545"/>
                <a:gd name="T26" fmla="*/ 3 w 695"/>
                <a:gd name="T27" fmla="*/ 23 h 1545"/>
                <a:gd name="T28" fmla="*/ 7 w 695"/>
                <a:gd name="T29" fmla="*/ 17 h 1545"/>
                <a:gd name="T30" fmla="*/ 11 w 695"/>
                <a:gd name="T31" fmla="*/ 11 h 1545"/>
                <a:gd name="T32" fmla="*/ 17 w 695"/>
                <a:gd name="T33" fmla="*/ 6 h 1545"/>
                <a:gd name="T34" fmla="*/ 24 w 695"/>
                <a:gd name="T35" fmla="*/ 3 h 1545"/>
                <a:gd name="T36" fmla="*/ 31 w 695"/>
                <a:gd name="T37" fmla="*/ 0 h 1545"/>
                <a:gd name="T38" fmla="*/ 39 w 695"/>
                <a:gd name="T39" fmla="*/ 0 h 1545"/>
                <a:gd name="T40" fmla="*/ 46 w 695"/>
                <a:gd name="T41" fmla="*/ 0 h 1545"/>
                <a:gd name="T42" fmla="*/ 53 w 695"/>
                <a:gd name="T43" fmla="*/ 2 h 1545"/>
                <a:gd name="T44" fmla="*/ 60 w 695"/>
                <a:gd name="T45" fmla="*/ 6 h 1545"/>
                <a:gd name="T46" fmla="*/ 66 w 695"/>
                <a:gd name="T47" fmla="*/ 10 h 1545"/>
                <a:gd name="T48" fmla="*/ 70 w 695"/>
                <a:gd name="T49" fmla="*/ 17 h 1545"/>
                <a:gd name="T50" fmla="*/ 75 w 695"/>
                <a:gd name="T51" fmla="*/ 23 h 1545"/>
                <a:gd name="T52" fmla="*/ 693 w 695"/>
                <a:gd name="T53" fmla="*/ 1492 h 1545"/>
                <a:gd name="T54" fmla="*/ 695 w 695"/>
                <a:gd name="T55" fmla="*/ 1499 h 1545"/>
                <a:gd name="T56" fmla="*/ 695 w 695"/>
                <a:gd name="T57" fmla="*/ 1507 h 1545"/>
                <a:gd name="T58" fmla="*/ 695 w 695"/>
                <a:gd name="T59" fmla="*/ 1514 h 1545"/>
                <a:gd name="T60" fmla="*/ 693 w 695"/>
                <a:gd name="T61" fmla="*/ 1522 h 1545"/>
                <a:gd name="T62" fmla="*/ 690 w 695"/>
                <a:gd name="T63" fmla="*/ 1528 h 1545"/>
                <a:gd name="T64" fmla="*/ 685 w 695"/>
                <a:gd name="T65" fmla="*/ 1533 h 1545"/>
                <a:gd name="T66" fmla="*/ 679 w 695"/>
                <a:gd name="T67" fmla="*/ 1539 h 1545"/>
                <a:gd name="T68" fmla="*/ 672 w 695"/>
                <a:gd name="T69" fmla="*/ 1542 h 1545"/>
                <a:gd name="T70" fmla="*/ 664 w 695"/>
                <a:gd name="T71" fmla="*/ 1545 h 1545"/>
                <a:gd name="T72" fmla="*/ 657 w 695"/>
                <a:gd name="T73" fmla="*/ 1545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5" h="1545">
                  <a:moveTo>
                    <a:pt x="657" y="1545"/>
                  </a:moveTo>
                  <a:lnTo>
                    <a:pt x="652" y="1545"/>
                  </a:lnTo>
                  <a:lnTo>
                    <a:pt x="646" y="1544"/>
                  </a:lnTo>
                  <a:lnTo>
                    <a:pt x="641" y="1542"/>
                  </a:lnTo>
                  <a:lnTo>
                    <a:pt x="636" y="1539"/>
                  </a:lnTo>
                  <a:lnTo>
                    <a:pt x="632" y="1535"/>
                  </a:lnTo>
                  <a:lnTo>
                    <a:pt x="627" y="1531"/>
                  </a:lnTo>
                  <a:lnTo>
                    <a:pt x="624" y="1527"/>
                  </a:lnTo>
                  <a:lnTo>
                    <a:pt x="622" y="1522"/>
                  </a:lnTo>
                  <a:lnTo>
                    <a:pt x="3" y="53"/>
                  </a:lnTo>
                  <a:lnTo>
                    <a:pt x="1" y="45"/>
                  </a:lnTo>
                  <a:lnTo>
                    <a:pt x="0" y="38"/>
                  </a:lnTo>
                  <a:lnTo>
                    <a:pt x="1" y="30"/>
                  </a:lnTo>
                  <a:lnTo>
                    <a:pt x="3" y="23"/>
                  </a:lnTo>
                  <a:lnTo>
                    <a:pt x="7" y="17"/>
                  </a:lnTo>
                  <a:lnTo>
                    <a:pt x="11" y="11"/>
                  </a:lnTo>
                  <a:lnTo>
                    <a:pt x="17" y="6"/>
                  </a:lnTo>
                  <a:lnTo>
                    <a:pt x="24" y="3"/>
                  </a:lnTo>
                  <a:lnTo>
                    <a:pt x="31" y="0"/>
                  </a:lnTo>
                  <a:lnTo>
                    <a:pt x="39" y="0"/>
                  </a:lnTo>
                  <a:lnTo>
                    <a:pt x="46" y="0"/>
                  </a:lnTo>
                  <a:lnTo>
                    <a:pt x="53" y="2"/>
                  </a:lnTo>
                  <a:lnTo>
                    <a:pt x="60" y="6"/>
                  </a:lnTo>
                  <a:lnTo>
                    <a:pt x="66" y="10"/>
                  </a:lnTo>
                  <a:lnTo>
                    <a:pt x="70" y="17"/>
                  </a:lnTo>
                  <a:lnTo>
                    <a:pt x="75" y="23"/>
                  </a:lnTo>
                  <a:lnTo>
                    <a:pt x="693" y="1492"/>
                  </a:lnTo>
                  <a:lnTo>
                    <a:pt x="695" y="1499"/>
                  </a:lnTo>
                  <a:lnTo>
                    <a:pt x="695" y="1507"/>
                  </a:lnTo>
                  <a:lnTo>
                    <a:pt x="695" y="1514"/>
                  </a:lnTo>
                  <a:lnTo>
                    <a:pt x="693" y="1522"/>
                  </a:lnTo>
                  <a:lnTo>
                    <a:pt x="690" y="1528"/>
                  </a:lnTo>
                  <a:lnTo>
                    <a:pt x="685" y="1533"/>
                  </a:lnTo>
                  <a:lnTo>
                    <a:pt x="679" y="1539"/>
                  </a:lnTo>
                  <a:lnTo>
                    <a:pt x="672" y="1542"/>
                  </a:lnTo>
                  <a:lnTo>
                    <a:pt x="664" y="1545"/>
                  </a:lnTo>
                  <a:lnTo>
                    <a:pt x="657" y="15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7">
              <a:extLst>
                <a:ext uri="{FF2B5EF4-FFF2-40B4-BE49-F238E27FC236}">
                  <a16:creationId xmlns:a16="http://schemas.microsoft.com/office/drawing/2014/main" id="{CF870595-636F-4E81-9E74-A7D0FA7A1BF2}"/>
                </a:ext>
              </a:extLst>
            </p:cNvPr>
            <p:cNvSpPr>
              <a:spLocks/>
            </p:cNvSpPr>
            <p:nvPr/>
          </p:nvSpPr>
          <p:spPr bwMode="auto">
            <a:xfrm>
              <a:off x="1814010" y="2453451"/>
              <a:ext cx="21522" cy="85259"/>
            </a:xfrm>
            <a:custGeom>
              <a:avLst/>
              <a:gdLst>
                <a:gd name="T0" fmla="*/ 40 w 78"/>
                <a:gd name="T1" fmla="*/ 309 h 309"/>
                <a:gd name="T2" fmla="*/ 31 w 78"/>
                <a:gd name="T3" fmla="*/ 308 h 309"/>
                <a:gd name="T4" fmla="*/ 24 w 78"/>
                <a:gd name="T5" fmla="*/ 306 h 309"/>
                <a:gd name="T6" fmla="*/ 17 w 78"/>
                <a:gd name="T7" fmla="*/ 301 h 309"/>
                <a:gd name="T8" fmla="*/ 12 w 78"/>
                <a:gd name="T9" fmla="*/ 297 h 309"/>
                <a:gd name="T10" fmla="*/ 7 w 78"/>
                <a:gd name="T11" fmla="*/ 292 h 309"/>
                <a:gd name="T12" fmla="*/ 4 w 78"/>
                <a:gd name="T13" fmla="*/ 284 h 309"/>
                <a:gd name="T14" fmla="*/ 1 w 78"/>
                <a:gd name="T15" fmla="*/ 278 h 309"/>
                <a:gd name="T16" fmla="*/ 0 w 78"/>
                <a:gd name="T17" fmla="*/ 270 h 309"/>
                <a:gd name="T18" fmla="*/ 0 w 78"/>
                <a:gd name="T19" fmla="*/ 38 h 309"/>
                <a:gd name="T20" fmla="*/ 1 w 78"/>
                <a:gd name="T21" fmla="*/ 30 h 309"/>
                <a:gd name="T22" fmla="*/ 4 w 78"/>
                <a:gd name="T23" fmla="*/ 23 h 309"/>
                <a:gd name="T24" fmla="*/ 7 w 78"/>
                <a:gd name="T25" fmla="*/ 17 h 309"/>
                <a:gd name="T26" fmla="*/ 12 w 78"/>
                <a:gd name="T27" fmla="*/ 10 h 309"/>
                <a:gd name="T28" fmla="*/ 17 w 78"/>
                <a:gd name="T29" fmla="*/ 6 h 309"/>
                <a:gd name="T30" fmla="*/ 24 w 78"/>
                <a:gd name="T31" fmla="*/ 3 h 309"/>
                <a:gd name="T32" fmla="*/ 31 w 78"/>
                <a:gd name="T33" fmla="*/ 0 h 309"/>
                <a:gd name="T34" fmla="*/ 40 w 78"/>
                <a:gd name="T35" fmla="*/ 0 h 309"/>
                <a:gd name="T36" fmla="*/ 47 w 78"/>
                <a:gd name="T37" fmla="*/ 0 h 309"/>
                <a:gd name="T38" fmla="*/ 55 w 78"/>
                <a:gd name="T39" fmla="*/ 3 h 309"/>
                <a:gd name="T40" fmla="*/ 61 w 78"/>
                <a:gd name="T41" fmla="*/ 6 h 309"/>
                <a:gd name="T42" fmla="*/ 66 w 78"/>
                <a:gd name="T43" fmla="*/ 10 h 309"/>
                <a:gd name="T44" fmla="*/ 72 w 78"/>
                <a:gd name="T45" fmla="*/ 17 h 309"/>
                <a:gd name="T46" fmla="*/ 75 w 78"/>
                <a:gd name="T47" fmla="*/ 23 h 309"/>
                <a:gd name="T48" fmla="*/ 77 w 78"/>
                <a:gd name="T49" fmla="*/ 30 h 309"/>
                <a:gd name="T50" fmla="*/ 78 w 78"/>
                <a:gd name="T51" fmla="*/ 38 h 309"/>
                <a:gd name="T52" fmla="*/ 78 w 78"/>
                <a:gd name="T53" fmla="*/ 270 h 309"/>
                <a:gd name="T54" fmla="*/ 77 w 78"/>
                <a:gd name="T55" fmla="*/ 278 h 309"/>
                <a:gd name="T56" fmla="*/ 75 w 78"/>
                <a:gd name="T57" fmla="*/ 284 h 309"/>
                <a:gd name="T58" fmla="*/ 72 w 78"/>
                <a:gd name="T59" fmla="*/ 292 h 309"/>
                <a:gd name="T60" fmla="*/ 66 w 78"/>
                <a:gd name="T61" fmla="*/ 297 h 309"/>
                <a:gd name="T62" fmla="*/ 61 w 78"/>
                <a:gd name="T63" fmla="*/ 301 h 309"/>
                <a:gd name="T64" fmla="*/ 55 w 78"/>
                <a:gd name="T65" fmla="*/ 306 h 309"/>
                <a:gd name="T66" fmla="*/ 47 w 78"/>
                <a:gd name="T67" fmla="*/ 308 h 309"/>
                <a:gd name="T68" fmla="*/ 40 w 78"/>
                <a:gd name="T6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309">
                  <a:moveTo>
                    <a:pt x="40" y="309"/>
                  </a:moveTo>
                  <a:lnTo>
                    <a:pt x="31" y="308"/>
                  </a:lnTo>
                  <a:lnTo>
                    <a:pt x="24" y="306"/>
                  </a:lnTo>
                  <a:lnTo>
                    <a:pt x="17" y="301"/>
                  </a:lnTo>
                  <a:lnTo>
                    <a:pt x="12" y="297"/>
                  </a:lnTo>
                  <a:lnTo>
                    <a:pt x="7" y="292"/>
                  </a:lnTo>
                  <a:lnTo>
                    <a:pt x="4" y="284"/>
                  </a:lnTo>
                  <a:lnTo>
                    <a:pt x="1" y="278"/>
                  </a:lnTo>
                  <a:lnTo>
                    <a:pt x="0" y="270"/>
                  </a:lnTo>
                  <a:lnTo>
                    <a:pt x="0" y="38"/>
                  </a:lnTo>
                  <a:lnTo>
                    <a:pt x="1" y="30"/>
                  </a:lnTo>
                  <a:lnTo>
                    <a:pt x="4" y="23"/>
                  </a:lnTo>
                  <a:lnTo>
                    <a:pt x="7" y="17"/>
                  </a:lnTo>
                  <a:lnTo>
                    <a:pt x="12" y="10"/>
                  </a:lnTo>
                  <a:lnTo>
                    <a:pt x="17" y="6"/>
                  </a:lnTo>
                  <a:lnTo>
                    <a:pt x="24" y="3"/>
                  </a:lnTo>
                  <a:lnTo>
                    <a:pt x="31" y="0"/>
                  </a:lnTo>
                  <a:lnTo>
                    <a:pt x="40" y="0"/>
                  </a:lnTo>
                  <a:lnTo>
                    <a:pt x="47" y="0"/>
                  </a:lnTo>
                  <a:lnTo>
                    <a:pt x="55" y="3"/>
                  </a:lnTo>
                  <a:lnTo>
                    <a:pt x="61" y="6"/>
                  </a:lnTo>
                  <a:lnTo>
                    <a:pt x="66" y="10"/>
                  </a:lnTo>
                  <a:lnTo>
                    <a:pt x="72" y="17"/>
                  </a:lnTo>
                  <a:lnTo>
                    <a:pt x="75" y="23"/>
                  </a:lnTo>
                  <a:lnTo>
                    <a:pt x="77" y="30"/>
                  </a:lnTo>
                  <a:lnTo>
                    <a:pt x="78" y="38"/>
                  </a:lnTo>
                  <a:lnTo>
                    <a:pt x="78" y="270"/>
                  </a:lnTo>
                  <a:lnTo>
                    <a:pt x="77" y="278"/>
                  </a:lnTo>
                  <a:lnTo>
                    <a:pt x="75" y="284"/>
                  </a:lnTo>
                  <a:lnTo>
                    <a:pt x="72" y="292"/>
                  </a:lnTo>
                  <a:lnTo>
                    <a:pt x="66" y="297"/>
                  </a:lnTo>
                  <a:lnTo>
                    <a:pt x="61" y="301"/>
                  </a:lnTo>
                  <a:lnTo>
                    <a:pt x="55" y="306"/>
                  </a:lnTo>
                  <a:lnTo>
                    <a:pt x="47" y="308"/>
                  </a:lnTo>
                  <a:lnTo>
                    <a:pt x="40"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8">
              <a:extLst>
                <a:ext uri="{FF2B5EF4-FFF2-40B4-BE49-F238E27FC236}">
                  <a16:creationId xmlns:a16="http://schemas.microsoft.com/office/drawing/2014/main" id="{F05A4B98-342F-40DE-A754-96DA51D57A79}"/>
                </a:ext>
              </a:extLst>
            </p:cNvPr>
            <p:cNvSpPr>
              <a:spLocks/>
            </p:cNvSpPr>
            <p:nvPr/>
          </p:nvSpPr>
          <p:spPr bwMode="auto">
            <a:xfrm>
              <a:off x="1814010" y="2580925"/>
              <a:ext cx="21522" cy="106781"/>
            </a:xfrm>
            <a:custGeom>
              <a:avLst/>
              <a:gdLst>
                <a:gd name="T0" fmla="*/ 40 w 78"/>
                <a:gd name="T1" fmla="*/ 387 h 387"/>
                <a:gd name="T2" fmla="*/ 31 w 78"/>
                <a:gd name="T3" fmla="*/ 386 h 387"/>
                <a:gd name="T4" fmla="*/ 24 w 78"/>
                <a:gd name="T5" fmla="*/ 384 h 387"/>
                <a:gd name="T6" fmla="*/ 17 w 78"/>
                <a:gd name="T7" fmla="*/ 380 h 387"/>
                <a:gd name="T8" fmla="*/ 12 w 78"/>
                <a:gd name="T9" fmla="*/ 375 h 387"/>
                <a:gd name="T10" fmla="*/ 7 w 78"/>
                <a:gd name="T11" fmla="*/ 370 h 387"/>
                <a:gd name="T12" fmla="*/ 4 w 78"/>
                <a:gd name="T13" fmla="*/ 363 h 387"/>
                <a:gd name="T14" fmla="*/ 1 w 78"/>
                <a:gd name="T15" fmla="*/ 356 h 387"/>
                <a:gd name="T16" fmla="*/ 0 w 78"/>
                <a:gd name="T17" fmla="*/ 348 h 387"/>
                <a:gd name="T18" fmla="*/ 0 w 78"/>
                <a:gd name="T19" fmla="*/ 38 h 387"/>
                <a:gd name="T20" fmla="*/ 1 w 78"/>
                <a:gd name="T21" fmla="*/ 31 h 387"/>
                <a:gd name="T22" fmla="*/ 4 w 78"/>
                <a:gd name="T23" fmla="*/ 23 h 387"/>
                <a:gd name="T24" fmla="*/ 7 w 78"/>
                <a:gd name="T25" fmla="*/ 17 h 387"/>
                <a:gd name="T26" fmla="*/ 12 w 78"/>
                <a:gd name="T27" fmla="*/ 12 h 387"/>
                <a:gd name="T28" fmla="*/ 17 w 78"/>
                <a:gd name="T29" fmla="*/ 6 h 387"/>
                <a:gd name="T30" fmla="*/ 24 w 78"/>
                <a:gd name="T31" fmla="*/ 3 h 387"/>
                <a:gd name="T32" fmla="*/ 31 w 78"/>
                <a:gd name="T33" fmla="*/ 1 h 387"/>
                <a:gd name="T34" fmla="*/ 40 w 78"/>
                <a:gd name="T35" fmla="*/ 0 h 387"/>
                <a:gd name="T36" fmla="*/ 47 w 78"/>
                <a:gd name="T37" fmla="*/ 1 h 387"/>
                <a:gd name="T38" fmla="*/ 55 w 78"/>
                <a:gd name="T39" fmla="*/ 3 h 387"/>
                <a:gd name="T40" fmla="*/ 61 w 78"/>
                <a:gd name="T41" fmla="*/ 6 h 387"/>
                <a:gd name="T42" fmla="*/ 66 w 78"/>
                <a:gd name="T43" fmla="*/ 12 h 387"/>
                <a:gd name="T44" fmla="*/ 72 w 78"/>
                <a:gd name="T45" fmla="*/ 17 h 387"/>
                <a:gd name="T46" fmla="*/ 75 w 78"/>
                <a:gd name="T47" fmla="*/ 23 h 387"/>
                <a:gd name="T48" fmla="*/ 77 w 78"/>
                <a:gd name="T49" fmla="*/ 31 h 387"/>
                <a:gd name="T50" fmla="*/ 78 w 78"/>
                <a:gd name="T51" fmla="*/ 38 h 387"/>
                <a:gd name="T52" fmla="*/ 78 w 78"/>
                <a:gd name="T53" fmla="*/ 348 h 387"/>
                <a:gd name="T54" fmla="*/ 77 w 78"/>
                <a:gd name="T55" fmla="*/ 356 h 387"/>
                <a:gd name="T56" fmla="*/ 75 w 78"/>
                <a:gd name="T57" fmla="*/ 363 h 387"/>
                <a:gd name="T58" fmla="*/ 72 w 78"/>
                <a:gd name="T59" fmla="*/ 370 h 387"/>
                <a:gd name="T60" fmla="*/ 66 w 78"/>
                <a:gd name="T61" fmla="*/ 375 h 387"/>
                <a:gd name="T62" fmla="*/ 61 w 78"/>
                <a:gd name="T63" fmla="*/ 380 h 387"/>
                <a:gd name="T64" fmla="*/ 55 w 78"/>
                <a:gd name="T65" fmla="*/ 384 h 387"/>
                <a:gd name="T66" fmla="*/ 47 w 78"/>
                <a:gd name="T67" fmla="*/ 386 h 387"/>
                <a:gd name="T68" fmla="*/ 40 w 78"/>
                <a:gd name="T6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387">
                  <a:moveTo>
                    <a:pt x="40" y="387"/>
                  </a:moveTo>
                  <a:lnTo>
                    <a:pt x="31" y="386"/>
                  </a:lnTo>
                  <a:lnTo>
                    <a:pt x="24" y="384"/>
                  </a:lnTo>
                  <a:lnTo>
                    <a:pt x="17" y="380"/>
                  </a:lnTo>
                  <a:lnTo>
                    <a:pt x="12" y="375"/>
                  </a:lnTo>
                  <a:lnTo>
                    <a:pt x="7" y="370"/>
                  </a:lnTo>
                  <a:lnTo>
                    <a:pt x="4" y="363"/>
                  </a:lnTo>
                  <a:lnTo>
                    <a:pt x="1" y="356"/>
                  </a:lnTo>
                  <a:lnTo>
                    <a:pt x="0" y="348"/>
                  </a:lnTo>
                  <a:lnTo>
                    <a:pt x="0" y="38"/>
                  </a:lnTo>
                  <a:lnTo>
                    <a:pt x="1" y="31"/>
                  </a:lnTo>
                  <a:lnTo>
                    <a:pt x="4" y="23"/>
                  </a:lnTo>
                  <a:lnTo>
                    <a:pt x="7" y="17"/>
                  </a:lnTo>
                  <a:lnTo>
                    <a:pt x="12" y="12"/>
                  </a:lnTo>
                  <a:lnTo>
                    <a:pt x="17" y="6"/>
                  </a:lnTo>
                  <a:lnTo>
                    <a:pt x="24" y="3"/>
                  </a:lnTo>
                  <a:lnTo>
                    <a:pt x="31" y="1"/>
                  </a:lnTo>
                  <a:lnTo>
                    <a:pt x="40" y="0"/>
                  </a:lnTo>
                  <a:lnTo>
                    <a:pt x="47" y="1"/>
                  </a:lnTo>
                  <a:lnTo>
                    <a:pt x="55" y="3"/>
                  </a:lnTo>
                  <a:lnTo>
                    <a:pt x="61" y="6"/>
                  </a:lnTo>
                  <a:lnTo>
                    <a:pt x="66" y="12"/>
                  </a:lnTo>
                  <a:lnTo>
                    <a:pt x="72" y="17"/>
                  </a:lnTo>
                  <a:lnTo>
                    <a:pt x="75" y="23"/>
                  </a:lnTo>
                  <a:lnTo>
                    <a:pt x="77" y="31"/>
                  </a:lnTo>
                  <a:lnTo>
                    <a:pt x="78" y="38"/>
                  </a:lnTo>
                  <a:lnTo>
                    <a:pt x="78" y="348"/>
                  </a:lnTo>
                  <a:lnTo>
                    <a:pt x="77" y="356"/>
                  </a:lnTo>
                  <a:lnTo>
                    <a:pt x="75" y="363"/>
                  </a:lnTo>
                  <a:lnTo>
                    <a:pt x="72" y="370"/>
                  </a:lnTo>
                  <a:lnTo>
                    <a:pt x="66" y="375"/>
                  </a:lnTo>
                  <a:lnTo>
                    <a:pt x="61" y="380"/>
                  </a:lnTo>
                  <a:lnTo>
                    <a:pt x="55" y="384"/>
                  </a:lnTo>
                  <a:lnTo>
                    <a:pt x="47" y="386"/>
                  </a:lnTo>
                  <a:lnTo>
                    <a:pt x="40"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9">
              <a:extLst>
                <a:ext uri="{FF2B5EF4-FFF2-40B4-BE49-F238E27FC236}">
                  <a16:creationId xmlns:a16="http://schemas.microsoft.com/office/drawing/2014/main" id="{EB57048A-489B-436D-BEEF-F5D3366F3002}"/>
                </a:ext>
              </a:extLst>
            </p:cNvPr>
            <p:cNvSpPr>
              <a:spLocks/>
            </p:cNvSpPr>
            <p:nvPr/>
          </p:nvSpPr>
          <p:spPr bwMode="auto">
            <a:xfrm>
              <a:off x="1814010" y="2729921"/>
              <a:ext cx="21522" cy="149824"/>
            </a:xfrm>
            <a:custGeom>
              <a:avLst/>
              <a:gdLst>
                <a:gd name="T0" fmla="*/ 40 w 78"/>
                <a:gd name="T1" fmla="*/ 541 h 541"/>
                <a:gd name="T2" fmla="*/ 31 w 78"/>
                <a:gd name="T3" fmla="*/ 541 h 541"/>
                <a:gd name="T4" fmla="*/ 24 w 78"/>
                <a:gd name="T5" fmla="*/ 538 h 541"/>
                <a:gd name="T6" fmla="*/ 17 w 78"/>
                <a:gd name="T7" fmla="*/ 535 h 541"/>
                <a:gd name="T8" fmla="*/ 12 w 78"/>
                <a:gd name="T9" fmla="*/ 530 h 541"/>
                <a:gd name="T10" fmla="*/ 7 w 78"/>
                <a:gd name="T11" fmla="*/ 524 h 541"/>
                <a:gd name="T12" fmla="*/ 4 w 78"/>
                <a:gd name="T13" fmla="*/ 518 h 541"/>
                <a:gd name="T14" fmla="*/ 1 w 78"/>
                <a:gd name="T15" fmla="*/ 510 h 541"/>
                <a:gd name="T16" fmla="*/ 0 w 78"/>
                <a:gd name="T17" fmla="*/ 503 h 541"/>
                <a:gd name="T18" fmla="*/ 0 w 78"/>
                <a:gd name="T19" fmla="*/ 39 h 541"/>
                <a:gd name="T20" fmla="*/ 1 w 78"/>
                <a:gd name="T21" fmla="*/ 31 h 541"/>
                <a:gd name="T22" fmla="*/ 4 w 78"/>
                <a:gd name="T23" fmla="*/ 23 h 541"/>
                <a:gd name="T24" fmla="*/ 7 w 78"/>
                <a:gd name="T25" fmla="*/ 17 h 541"/>
                <a:gd name="T26" fmla="*/ 12 w 78"/>
                <a:gd name="T27" fmla="*/ 12 h 541"/>
                <a:gd name="T28" fmla="*/ 17 w 78"/>
                <a:gd name="T29" fmla="*/ 6 h 541"/>
                <a:gd name="T30" fmla="*/ 24 w 78"/>
                <a:gd name="T31" fmla="*/ 3 h 541"/>
                <a:gd name="T32" fmla="*/ 31 w 78"/>
                <a:gd name="T33" fmla="*/ 1 h 541"/>
                <a:gd name="T34" fmla="*/ 40 w 78"/>
                <a:gd name="T35" fmla="*/ 0 h 541"/>
                <a:gd name="T36" fmla="*/ 47 w 78"/>
                <a:gd name="T37" fmla="*/ 1 h 541"/>
                <a:gd name="T38" fmla="*/ 55 w 78"/>
                <a:gd name="T39" fmla="*/ 3 h 541"/>
                <a:gd name="T40" fmla="*/ 61 w 78"/>
                <a:gd name="T41" fmla="*/ 6 h 541"/>
                <a:gd name="T42" fmla="*/ 66 w 78"/>
                <a:gd name="T43" fmla="*/ 12 h 541"/>
                <a:gd name="T44" fmla="*/ 72 w 78"/>
                <a:gd name="T45" fmla="*/ 17 h 541"/>
                <a:gd name="T46" fmla="*/ 75 w 78"/>
                <a:gd name="T47" fmla="*/ 23 h 541"/>
                <a:gd name="T48" fmla="*/ 77 w 78"/>
                <a:gd name="T49" fmla="*/ 31 h 541"/>
                <a:gd name="T50" fmla="*/ 78 w 78"/>
                <a:gd name="T51" fmla="*/ 39 h 541"/>
                <a:gd name="T52" fmla="*/ 78 w 78"/>
                <a:gd name="T53" fmla="*/ 503 h 541"/>
                <a:gd name="T54" fmla="*/ 77 w 78"/>
                <a:gd name="T55" fmla="*/ 510 h 541"/>
                <a:gd name="T56" fmla="*/ 75 w 78"/>
                <a:gd name="T57" fmla="*/ 518 h 541"/>
                <a:gd name="T58" fmla="*/ 72 w 78"/>
                <a:gd name="T59" fmla="*/ 524 h 541"/>
                <a:gd name="T60" fmla="*/ 66 w 78"/>
                <a:gd name="T61" fmla="*/ 530 h 541"/>
                <a:gd name="T62" fmla="*/ 61 w 78"/>
                <a:gd name="T63" fmla="*/ 535 h 541"/>
                <a:gd name="T64" fmla="*/ 55 w 78"/>
                <a:gd name="T65" fmla="*/ 538 h 541"/>
                <a:gd name="T66" fmla="*/ 47 w 78"/>
                <a:gd name="T67" fmla="*/ 541 h 541"/>
                <a:gd name="T68" fmla="*/ 40 w 78"/>
                <a:gd name="T69"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541">
                  <a:moveTo>
                    <a:pt x="40" y="541"/>
                  </a:moveTo>
                  <a:lnTo>
                    <a:pt x="31" y="541"/>
                  </a:lnTo>
                  <a:lnTo>
                    <a:pt x="24" y="538"/>
                  </a:lnTo>
                  <a:lnTo>
                    <a:pt x="17" y="535"/>
                  </a:lnTo>
                  <a:lnTo>
                    <a:pt x="12" y="530"/>
                  </a:lnTo>
                  <a:lnTo>
                    <a:pt x="7" y="524"/>
                  </a:lnTo>
                  <a:lnTo>
                    <a:pt x="4" y="518"/>
                  </a:lnTo>
                  <a:lnTo>
                    <a:pt x="1" y="510"/>
                  </a:lnTo>
                  <a:lnTo>
                    <a:pt x="0" y="503"/>
                  </a:lnTo>
                  <a:lnTo>
                    <a:pt x="0" y="39"/>
                  </a:lnTo>
                  <a:lnTo>
                    <a:pt x="1" y="31"/>
                  </a:lnTo>
                  <a:lnTo>
                    <a:pt x="4" y="23"/>
                  </a:lnTo>
                  <a:lnTo>
                    <a:pt x="7" y="17"/>
                  </a:lnTo>
                  <a:lnTo>
                    <a:pt x="12" y="12"/>
                  </a:lnTo>
                  <a:lnTo>
                    <a:pt x="17" y="6"/>
                  </a:lnTo>
                  <a:lnTo>
                    <a:pt x="24" y="3"/>
                  </a:lnTo>
                  <a:lnTo>
                    <a:pt x="31" y="1"/>
                  </a:lnTo>
                  <a:lnTo>
                    <a:pt x="40" y="0"/>
                  </a:lnTo>
                  <a:lnTo>
                    <a:pt x="47" y="1"/>
                  </a:lnTo>
                  <a:lnTo>
                    <a:pt x="55" y="3"/>
                  </a:lnTo>
                  <a:lnTo>
                    <a:pt x="61" y="6"/>
                  </a:lnTo>
                  <a:lnTo>
                    <a:pt x="66" y="12"/>
                  </a:lnTo>
                  <a:lnTo>
                    <a:pt x="72" y="17"/>
                  </a:lnTo>
                  <a:lnTo>
                    <a:pt x="75" y="23"/>
                  </a:lnTo>
                  <a:lnTo>
                    <a:pt x="77" y="31"/>
                  </a:lnTo>
                  <a:lnTo>
                    <a:pt x="78" y="39"/>
                  </a:lnTo>
                  <a:lnTo>
                    <a:pt x="78" y="503"/>
                  </a:lnTo>
                  <a:lnTo>
                    <a:pt x="77" y="510"/>
                  </a:lnTo>
                  <a:lnTo>
                    <a:pt x="75" y="518"/>
                  </a:lnTo>
                  <a:lnTo>
                    <a:pt x="72" y="524"/>
                  </a:lnTo>
                  <a:lnTo>
                    <a:pt x="66" y="530"/>
                  </a:lnTo>
                  <a:lnTo>
                    <a:pt x="61" y="535"/>
                  </a:lnTo>
                  <a:lnTo>
                    <a:pt x="55" y="538"/>
                  </a:lnTo>
                  <a:lnTo>
                    <a:pt x="47" y="541"/>
                  </a:lnTo>
                  <a:lnTo>
                    <a:pt x="40"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0" name="Freeform 23">
            <a:extLst>
              <a:ext uri="{FF2B5EF4-FFF2-40B4-BE49-F238E27FC236}">
                <a16:creationId xmlns:a16="http://schemas.microsoft.com/office/drawing/2014/main" id="{0FACA799-DFEB-41A2-A750-515C1F7E0A5D}"/>
              </a:ext>
            </a:extLst>
          </p:cNvPr>
          <p:cNvSpPr>
            <a:spLocks noChangeAspect="1" noEditPoints="1"/>
          </p:cNvSpPr>
          <p:nvPr/>
        </p:nvSpPr>
        <p:spPr bwMode="auto">
          <a:xfrm>
            <a:off x="6682115" y="2192288"/>
            <a:ext cx="196713" cy="294629"/>
          </a:xfrm>
          <a:custGeom>
            <a:avLst/>
            <a:gdLst>
              <a:gd name="T0" fmla="*/ 757 w 1514"/>
              <a:gd name="T1" fmla="*/ 0 h 2267"/>
              <a:gd name="T2" fmla="*/ 0 w 1514"/>
              <a:gd name="T3" fmla="*/ 757 h 2267"/>
              <a:gd name="T4" fmla="*/ 574 w 1514"/>
              <a:gd name="T5" fmla="*/ 1492 h 2267"/>
              <a:gd name="T6" fmla="*/ 716 w 1514"/>
              <a:gd name="T7" fmla="*/ 2236 h 2267"/>
              <a:gd name="T8" fmla="*/ 757 w 1514"/>
              <a:gd name="T9" fmla="*/ 2267 h 2267"/>
              <a:gd name="T10" fmla="*/ 797 w 1514"/>
              <a:gd name="T11" fmla="*/ 2236 h 2267"/>
              <a:gd name="T12" fmla="*/ 939 w 1514"/>
              <a:gd name="T13" fmla="*/ 1492 h 2267"/>
              <a:gd name="T14" fmla="*/ 1514 w 1514"/>
              <a:gd name="T15" fmla="*/ 757 h 2267"/>
              <a:gd name="T16" fmla="*/ 757 w 1514"/>
              <a:gd name="T17" fmla="*/ 0 h 2267"/>
              <a:gd name="T18" fmla="*/ 757 w 1514"/>
              <a:gd name="T19" fmla="*/ 1362 h 2267"/>
              <a:gd name="T20" fmla="*/ 152 w 1514"/>
              <a:gd name="T21" fmla="*/ 757 h 2267"/>
              <a:gd name="T22" fmla="*/ 757 w 1514"/>
              <a:gd name="T23" fmla="*/ 153 h 2267"/>
              <a:gd name="T24" fmla="*/ 1361 w 1514"/>
              <a:gd name="T25" fmla="*/ 757 h 2267"/>
              <a:gd name="T26" fmla="*/ 757 w 1514"/>
              <a:gd name="T27" fmla="*/ 1362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4" h="2267">
                <a:moveTo>
                  <a:pt x="757" y="0"/>
                </a:moveTo>
                <a:cubicBezTo>
                  <a:pt x="339" y="0"/>
                  <a:pt x="0" y="340"/>
                  <a:pt x="0" y="757"/>
                </a:cubicBezTo>
                <a:cubicBezTo>
                  <a:pt x="0" y="1104"/>
                  <a:pt x="240" y="1409"/>
                  <a:pt x="574" y="1492"/>
                </a:cubicBezTo>
                <a:cubicBezTo>
                  <a:pt x="716" y="2236"/>
                  <a:pt x="716" y="2236"/>
                  <a:pt x="716" y="2236"/>
                </a:cubicBezTo>
                <a:cubicBezTo>
                  <a:pt x="721" y="2255"/>
                  <a:pt x="738" y="2267"/>
                  <a:pt x="757" y="2267"/>
                </a:cubicBezTo>
                <a:cubicBezTo>
                  <a:pt x="775" y="2267"/>
                  <a:pt x="792" y="2255"/>
                  <a:pt x="797" y="2236"/>
                </a:cubicBezTo>
                <a:cubicBezTo>
                  <a:pt x="939" y="1492"/>
                  <a:pt x="939" y="1492"/>
                  <a:pt x="939" y="1492"/>
                </a:cubicBezTo>
                <a:cubicBezTo>
                  <a:pt x="1274" y="1409"/>
                  <a:pt x="1514" y="1104"/>
                  <a:pt x="1514" y="757"/>
                </a:cubicBezTo>
                <a:cubicBezTo>
                  <a:pt x="1514" y="340"/>
                  <a:pt x="1174" y="0"/>
                  <a:pt x="757" y="0"/>
                </a:cubicBezTo>
                <a:close/>
                <a:moveTo>
                  <a:pt x="757" y="1362"/>
                </a:moveTo>
                <a:cubicBezTo>
                  <a:pt x="423" y="1362"/>
                  <a:pt x="152" y="1091"/>
                  <a:pt x="152" y="757"/>
                </a:cubicBezTo>
                <a:cubicBezTo>
                  <a:pt x="152" y="424"/>
                  <a:pt x="423" y="153"/>
                  <a:pt x="757" y="153"/>
                </a:cubicBezTo>
                <a:cubicBezTo>
                  <a:pt x="1090" y="153"/>
                  <a:pt x="1361" y="424"/>
                  <a:pt x="1361" y="757"/>
                </a:cubicBezTo>
                <a:cubicBezTo>
                  <a:pt x="1361" y="1091"/>
                  <a:pt x="1090" y="1362"/>
                  <a:pt x="757" y="1362"/>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40" name="Group 312">
            <a:extLst>
              <a:ext uri="{FF2B5EF4-FFF2-40B4-BE49-F238E27FC236}">
                <a16:creationId xmlns:a16="http://schemas.microsoft.com/office/drawing/2014/main" id="{2994E8CC-D1DC-4988-9B9F-34D843BB90D1}"/>
              </a:ext>
            </a:extLst>
          </p:cNvPr>
          <p:cNvGrpSpPr>
            <a:grpSpLocks noChangeAspect="1"/>
          </p:cNvGrpSpPr>
          <p:nvPr/>
        </p:nvGrpSpPr>
        <p:grpSpPr>
          <a:xfrm>
            <a:off x="7060009" y="2186361"/>
            <a:ext cx="306310" cy="306484"/>
            <a:chOff x="10617200" y="1549400"/>
            <a:chExt cx="2763838" cy="2765426"/>
          </a:xfrm>
          <a:solidFill>
            <a:schemeClr val="bg2"/>
          </a:solidFill>
          <a:effectLst/>
        </p:grpSpPr>
        <p:sp>
          <p:nvSpPr>
            <p:cNvPr id="941" name="Freeform 19">
              <a:extLst>
                <a:ext uri="{FF2B5EF4-FFF2-40B4-BE49-F238E27FC236}">
                  <a16:creationId xmlns:a16="http://schemas.microsoft.com/office/drawing/2014/main" id="{A2942A41-7390-452D-B505-E45815F57770}"/>
                </a:ext>
              </a:extLst>
            </p:cNvPr>
            <p:cNvSpPr>
              <a:spLocks noEditPoints="1"/>
            </p:cNvSpPr>
            <p:nvPr/>
          </p:nvSpPr>
          <p:spPr bwMode="auto">
            <a:xfrm>
              <a:off x="11539538" y="1895475"/>
              <a:ext cx="919163" cy="919163"/>
            </a:xfrm>
            <a:custGeom>
              <a:avLst/>
              <a:gdLst>
                <a:gd name="T0" fmla="*/ 122 w 244"/>
                <a:gd name="T1" fmla="*/ 244 h 244"/>
                <a:gd name="T2" fmla="*/ 0 w 244"/>
                <a:gd name="T3" fmla="*/ 122 h 244"/>
                <a:gd name="T4" fmla="*/ 122 w 244"/>
                <a:gd name="T5" fmla="*/ 0 h 244"/>
                <a:gd name="T6" fmla="*/ 244 w 244"/>
                <a:gd name="T7" fmla="*/ 122 h 244"/>
                <a:gd name="T8" fmla="*/ 122 w 244"/>
                <a:gd name="T9" fmla="*/ 244 h 244"/>
                <a:gd name="T10" fmla="*/ 122 w 244"/>
                <a:gd name="T11" fmla="*/ 30 h 244"/>
                <a:gd name="T12" fmla="*/ 30 w 244"/>
                <a:gd name="T13" fmla="*/ 122 h 244"/>
                <a:gd name="T14" fmla="*/ 122 w 244"/>
                <a:gd name="T15" fmla="*/ 214 h 244"/>
                <a:gd name="T16" fmla="*/ 214 w 244"/>
                <a:gd name="T17" fmla="*/ 122 h 244"/>
                <a:gd name="T18" fmla="*/ 122 w 244"/>
                <a:gd name="T19"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44">
                  <a:moveTo>
                    <a:pt x="122" y="244"/>
                  </a:moveTo>
                  <a:cubicBezTo>
                    <a:pt x="55" y="244"/>
                    <a:pt x="0" y="190"/>
                    <a:pt x="0" y="122"/>
                  </a:cubicBezTo>
                  <a:cubicBezTo>
                    <a:pt x="0" y="55"/>
                    <a:pt x="55" y="0"/>
                    <a:pt x="122" y="0"/>
                  </a:cubicBezTo>
                  <a:cubicBezTo>
                    <a:pt x="189" y="0"/>
                    <a:pt x="244" y="55"/>
                    <a:pt x="244" y="122"/>
                  </a:cubicBezTo>
                  <a:cubicBezTo>
                    <a:pt x="244" y="190"/>
                    <a:pt x="189" y="244"/>
                    <a:pt x="122" y="244"/>
                  </a:cubicBezTo>
                  <a:close/>
                  <a:moveTo>
                    <a:pt x="122" y="30"/>
                  </a:moveTo>
                  <a:cubicBezTo>
                    <a:pt x="71" y="30"/>
                    <a:pt x="30" y="71"/>
                    <a:pt x="30" y="122"/>
                  </a:cubicBezTo>
                  <a:cubicBezTo>
                    <a:pt x="30" y="173"/>
                    <a:pt x="71" y="214"/>
                    <a:pt x="122" y="214"/>
                  </a:cubicBezTo>
                  <a:cubicBezTo>
                    <a:pt x="173" y="214"/>
                    <a:pt x="214" y="173"/>
                    <a:pt x="214" y="122"/>
                  </a:cubicBezTo>
                  <a:cubicBezTo>
                    <a:pt x="214" y="71"/>
                    <a:pt x="173" y="30"/>
                    <a:pt x="12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20">
              <a:extLst>
                <a:ext uri="{FF2B5EF4-FFF2-40B4-BE49-F238E27FC236}">
                  <a16:creationId xmlns:a16="http://schemas.microsoft.com/office/drawing/2014/main" id="{118305C9-33F5-4631-8B9F-D09749BAF6B1}"/>
                </a:ext>
              </a:extLst>
            </p:cNvPr>
            <p:cNvSpPr>
              <a:spLocks noEditPoints="1"/>
            </p:cNvSpPr>
            <p:nvPr/>
          </p:nvSpPr>
          <p:spPr bwMode="auto">
            <a:xfrm>
              <a:off x="11152188" y="1549400"/>
              <a:ext cx="1693863" cy="2538413"/>
            </a:xfrm>
            <a:custGeom>
              <a:avLst/>
              <a:gdLst>
                <a:gd name="T0" fmla="*/ 225 w 450"/>
                <a:gd name="T1" fmla="*/ 674 h 674"/>
                <a:gd name="T2" fmla="*/ 212 w 450"/>
                <a:gd name="T3" fmla="*/ 667 h 674"/>
                <a:gd name="T4" fmla="*/ 0 w 450"/>
                <a:gd name="T5" fmla="*/ 225 h 674"/>
                <a:gd name="T6" fmla="*/ 225 w 450"/>
                <a:gd name="T7" fmla="*/ 0 h 674"/>
                <a:gd name="T8" fmla="*/ 450 w 450"/>
                <a:gd name="T9" fmla="*/ 225 h 674"/>
                <a:gd name="T10" fmla="*/ 238 w 450"/>
                <a:gd name="T11" fmla="*/ 667 h 674"/>
                <a:gd name="T12" fmla="*/ 225 w 450"/>
                <a:gd name="T13" fmla="*/ 674 h 674"/>
                <a:gd name="T14" fmla="*/ 225 w 450"/>
                <a:gd name="T15" fmla="*/ 31 h 674"/>
                <a:gd name="T16" fmla="*/ 31 w 450"/>
                <a:gd name="T17" fmla="*/ 225 h 674"/>
                <a:gd name="T18" fmla="*/ 225 w 450"/>
                <a:gd name="T19" fmla="*/ 630 h 674"/>
                <a:gd name="T20" fmla="*/ 419 w 450"/>
                <a:gd name="T21" fmla="*/ 225 h 674"/>
                <a:gd name="T22" fmla="*/ 225 w 450"/>
                <a:gd name="T23" fmla="*/ 31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674">
                  <a:moveTo>
                    <a:pt x="225" y="674"/>
                  </a:moveTo>
                  <a:cubicBezTo>
                    <a:pt x="220" y="674"/>
                    <a:pt x="215" y="671"/>
                    <a:pt x="212" y="667"/>
                  </a:cubicBezTo>
                  <a:cubicBezTo>
                    <a:pt x="204" y="654"/>
                    <a:pt x="0" y="344"/>
                    <a:pt x="0" y="225"/>
                  </a:cubicBezTo>
                  <a:cubicBezTo>
                    <a:pt x="0" y="101"/>
                    <a:pt x="101" y="0"/>
                    <a:pt x="225" y="0"/>
                  </a:cubicBezTo>
                  <a:cubicBezTo>
                    <a:pt x="349" y="0"/>
                    <a:pt x="450" y="101"/>
                    <a:pt x="450" y="225"/>
                  </a:cubicBezTo>
                  <a:cubicBezTo>
                    <a:pt x="450" y="344"/>
                    <a:pt x="246" y="654"/>
                    <a:pt x="238" y="667"/>
                  </a:cubicBezTo>
                  <a:cubicBezTo>
                    <a:pt x="235" y="671"/>
                    <a:pt x="230" y="674"/>
                    <a:pt x="225" y="674"/>
                  </a:cubicBezTo>
                  <a:close/>
                  <a:moveTo>
                    <a:pt x="225" y="31"/>
                  </a:moveTo>
                  <a:cubicBezTo>
                    <a:pt x="118" y="31"/>
                    <a:pt x="31" y="118"/>
                    <a:pt x="31" y="225"/>
                  </a:cubicBezTo>
                  <a:cubicBezTo>
                    <a:pt x="31" y="319"/>
                    <a:pt x="180" y="559"/>
                    <a:pt x="225" y="630"/>
                  </a:cubicBezTo>
                  <a:cubicBezTo>
                    <a:pt x="270" y="559"/>
                    <a:pt x="419" y="319"/>
                    <a:pt x="419" y="225"/>
                  </a:cubicBezTo>
                  <a:cubicBezTo>
                    <a:pt x="419" y="118"/>
                    <a:pt x="332" y="31"/>
                    <a:pt x="225"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21">
              <a:extLst>
                <a:ext uri="{FF2B5EF4-FFF2-40B4-BE49-F238E27FC236}">
                  <a16:creationId xmlns:a16="http://schemas.microsoft.com/office/drawing/2014/main" id="{E2874550-49C2-49DF-9CFC-6661967E027A}"/>
                </a:ext>
              </a:extLst>
            </p:cNvPr>
            <p:cNvSpPr>
              <a:spLocks/>
            </p:cNvSpPr>
            <p:nvPr/>
          </p:nvSpPr>
          <p:spPr bwMode="auto">
            <a:xfrm>
              <a:off x="10617200" y="3757613"/>
              <a:ext cx="2763838" cy="557213"/>
            </a:xfrm>
            <a:custGeom>
              <a:avLst/>
              <a:gdLst>
                <a:gd name="T0" fmla="*/ 367 w 734"/>
                <a:gd name="T1" fmla="*/ 148 h 148"/>
                <a:gd name="T2" fmla="*/ 0 w 734"/>
                <a:gd name="T3" fmla="*/ 72 h 148"/>
                <a:gd name="T4" fmla="*/ 211 w 734"/>
                <a:gd name="T5" fmla="*/ 1 h 148"/>
                <a:gd name="T6" fmla="*/ 228 w 734"/>
                <a:gd name="T7" fmla="*/ 15 h 148"/>
                <a:gd name="T8" fmla="*/ 214 w 734"/>
                <a:gd name="T9" fmla="*/ 32 h 148"/>
                <a:gd name="T10" fmla="*/ 30 w 734"/>
                <a:gd name="T11" fmla="*/ 73 h 148"/>
                <a:gd name="T12" fmla="*/ 367 w 734"/>
                <a:gd name="T13" fmla="*/ 117 h 148"/>
                <a:gd name="T14" fmla="*/ 704 w 734"/>
                <a:gd name="T15" fmla="*/ 70 h 148"/>
                <a:gd name="T16" fmla="*/ 519 w 734"/>
                <a:gd name="T17" fmla="*/ 32 h 148"/>
                <a:gd name="T18" fmla="*/ 505 w 734"/>
                <a:gd name="T19" fmla="*/ 15 h 148"/>
                <a:gd name="T20" fmla="*/ 521 w 734"/>
                <a:gd name="T21" fmla="*/ 1 h 148"/>
                <a:gd name="T22" fmla="*/ 734 w 734"/>
                <a:gd name="T23" fmla="*/ 72 h 148"/>
                <a:gd name="T24" fmla="*/ 367 w 734"/>
                <a:gd name="T2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4" h="148">
                  <a:moveTo>
                    <a:pt x="367" y="148"/>
                  </a:moveTo>
                  <a:cubicBezTo>
                    <a:pt x="329" y="148"/>
                    <a:pt x="0" y="146"/>
                    <a:pt x="0" y="72"/>
                  </a:cubicBezTo>
                  <a:cubicBezTo>
                    <a:pt x="0" y="37"/>
                    <a:pt x="71" y="13"/>
                    <a:pt x="211" y="1"/>
                  </a:cubicBezTo>
                  <a:cubicBezTo>
                    <a:pt x="220" y="0"/>
                    <a:pt x="227" y="7"/>
                    <a:pt x="228" y="15"/>
                  </a:cubicBezTo>
                  <a:cubicBezTo>
                    <a:pt x="229" y="24"/>
                    <a:pt x="223" y="31"/>
                    <a:pt x="214" y="32"/>
                  </a:cubicBezTo>
                  <a:cubicBezTo>
                    <a:pt x="76" y="44"/>
                    <a:pt x="34" y="66"/>
                    <a:pt x="30" y="73"/>
                  </a:cubicBezTo>
                  <a:cubicBezTo>
                    <a:pt x="39" y="87"/>
                    <a:pt x="159" y="117"/>
                    <a:pt x="367" y="117"/>
                  </a:cubicBezTo>
                  <a:cubicBezTo>
                    <a:pt x="575" y="117"/>
                    <a:pt x="695" y="87"/>
                    <a:pt x="704" y="70"/>
                  </a:cubicBezTo>
                  <a:cubicBezTo>
                    <a:pt x="700" y="66"/>
                    <a:pt x="658" y="43"/>
                    <a:pt x="519" y="32"/>
                  </a:cubicBezTo>
                  <a:cubicBezTo>
                    <a:pt x="510" y="31"/>
                    <a:pt x="504" y="24"/>
                    <a:pt x="505" y="15"/>
                  </a:cubicBezTo>
                  <a:cubicBezTo>
                    <a:pt x="505" y="7"/>
                    <a:pt x="513" y="1"/>
                    <a:pt x="521" y="1"/>
                  </a:cubicBezTo>
                  <a:cubicBezTo>
                    <a:pt x="662" y="13"/>
                    <a:pt x="734" y="37"/>
                    <a:pt x="734" y="72"/>
                  </a:cubicBezTo>
                  <a:cubicBezTo>
                    <a:pt x="734" y="146"/>
                    <a:pt x="405" y="148"/>
                    <a:pt x="367"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5" name="Freeform 5">
            <a:extLst>
              <a:ext uri="{FF2B5EF4-FFF2-40B4-BE49-F238E27FC236}">
                <a16:creationId xmlns:a16="http://schemas.microsoft.com/office/drawing/2014/main" id="{2C8730C6-C62F-4A84-B496-E18EB8C10D7D}"/>
              </a:ext>
            </a:extLst>
          </p:cNvPr>
          <p:cNvSpPr>
            <a:spLocks noChangeAspect="1" noEditPoints="1"/>
          </p:cNvSpPr>
          <p:nvPr/>
        </p:nvSpPr>
        <p:spPr bwMode="auto">
          <a:xfrm>
            <a:off x="6114292" y="2186361"/>
            <a:ext cx="430301" cy="306484"/>
          </a:xfrm>
          <a:custGeom>
            <a:avLst/>
            <a:gdLst>
              <a:gd name="T0" fmla="*/ 114 w 202"/>
              <a:gd name="T1" fmla="*/ 30 h 143"/>
              <a:gd name="T2" fmla="*/ 101 w 202"/>
              <a:gd name="T3" fmla="*/ 17 h 143"/>
              <a:gd name="T4" fmla="*/ 88 w 202"/>
              <a:gd name="T5" fmla="*/ 30 h 143"/>
              <a:gd name="T6" fmla="*/ 101 w 202"/>
              <a:gd name="T7" fmla="*/ 44 h 143"/>
              <a:gd name="T8" fmla="*/ 114 w 202"/>
              <a:gd name="T9" fmla="*/ 30 h 143"/>
              <a:gd name="T10" fmla="*/ 101 w 202"/>
              <a:gd name="T11" fmla="*/ 38 h 143"/>
              <a:gd name="T12" fmla="*/ 94 w 202"/>
              <a:gd name="T13" fmla="*/ 30 h 143"/>
              <a:gd name="T14" fmla="*/ 101 w 202"/>
              <a:gd name="T15" fmla="*/ 23 h 143"/>
              <a:gd name="T16" fmla="*/ 108 w 202"/>
              <a:gd name="T17" fmla="*/ 30 h 143"/>
              <a:gd name="T18" fmla="*/ 101 w 202"/>
              <a:gd name="T19" fmla="*/ 38 h 143"/>
              <a:gd name="T20" fmla="*/ 101 w 202"/>
              <a:gd name="T21" fmla="*/ 106 h 143"/>
              <a:gd name="T22" fmla="*/ 103 w 202"/>
              <a:gd name="T23" fmla="*/ 105 h 143"/>
              <a:gd name="T24" fmla="*/ 137 w 202"/>
              <a:gd name="T25" fmla="*/ 38 h 143"/>
              <a:gd name="T26" fmla="*/ 101 w 202"/>
              <a:gd name="T27" fmla="*/ 0 h 143"/>
              <a:gd name="T28" fmla="*/ 65 w 202"/>
              <a:gd name="T29" fmla="*/ 38 h 143"/>
              <a:gd name="T30" fmla="*/ 99 w 202"/>
              <a:gd name="T31" fmla="*/ 105 h 143"/>
              <a:gd name="T32" fmla="*/ 101 w 202"/>
              <a:gd name="T33" fmla="*/ 106 h 143"/>
              <a:gd name="T34" fmla="*/ 101 w 202"/>
              <a:gd name="T35" fmla="*/ 6 h 143"/>
              <a:gd name="T36" fmla="*/ 131 w 202"/>
              <a:gd name="T37" fmla="*/ 38 h 143"/>
              <a:gd name="T38" fmla="*/ 101 w 202"/>
              <a:gd name="T39" fmla="*/ 98 h 143"/>
              <a:gd name="T40" fmla="*/ 71 w 202"/>
              <a:gd name="T41" fmla="*/ 38 h 143"/>
              <a:gd name="T42" fmla="*/ 101 w 202"/>
              <a:gd name="T43" fmla="*/ 6 h 143"/>
              <a:gd name="T44" fmla="*/ 79 w 202"/>
              <a:gd name="T45" fmla="*/ 98 h 143"/>
              <a:gd name="T46" fmla="*/ 82 w 202"/>
              <a:gd name="T47" fmla="*/ 95 h 143"/>
              <a:gd name="T48" fmla="*/ 79 w 202"/>
              <a:gd name="T49" fmla="*/ 93 h 143"/>
              <a:gd name="T50" fmla="*/ 48 w 202"/>
              <a:gd name="T51" fmla="*/ 106 h 143"/>
              <a:gd name="T52" fmla="*/ 101 w 202"/>
              <a:gd name="T53" fmla="*/ 120 h 143"/>
              <a:gd name="T54" fmla="*/ 154 w 202"/>
              <a:gd name="T55" fmla="*/ 106 h 143"/>
              <a:gd name="T56" fmla="*/ 124 w 202"/>
              <a:gd name="T57" fmla="*/ 93 h 143"/>
              <a:gd name="T58" fmla="*/ 120 w 202"/>
              <a:gd name="T59" fmla="*/ 95 h 143"/>
              <a:gd name="T60" fmla="*/ 123 w 202"/>
              <a:gd name="T61" fmla="*/ 99 h 143"/>
              <a:gd name="T62" fmla="*/ 148 w 202"/>
              <a:gd name="T63" fmla="*/ 106 h 143"/>
              <a:gd name="T64" fmla="*/ 101 w 202"/>
              <a:gd name="T65" fmla="*/ 114 h 143"/>
              <a:gd name="T66" fmla="*/ 54 w 202"/>
              <a:gd name="T67" fmla="*/ 106 h 143"/>
              <a:gd name="T68" fmla="*/ 79 w 202"/>
              <a:gd name="T69" fmla="*/ 98 h 143"/>
              <a:gd name="T70" fmla="*/ 137 w 202"/>
              <a:gd name="T71" fmla="*/ 70 h 143"/>
              <a:gd name="T72" fmla="*/ 133 w 202"/>
              <a:gd name="T73" fmla="*/ 73 h 143"/>
              <a:gd name="T74" fmla="*/ 136 w 202"/>
              <a:gd name="T75" fmla="*/ 76 h 143"/>
              <a:gd name="T76" fmla="*/ 196 w 202"/>
              <a:gd name="T77" fmla="*/ 106 h 143"/>
              <a:gd name="T78" fmla="*/ 101 w 202"/>
              <a:gd name="T79" fmla="*/ 137 h 143"/>
              <a:gd name="T80" fmla="*/ 6 w 202"/>
              <a:gd name="T81" fmla="*/ 106 h 143"/>
              <a:gd name="T82" fmla="*/ 67 w 202"/>
              <a:gd name="T83" fmla="*/ 76 h 143"/>
              <a:gd name="T84" fmla="*/ 69 w 202"/>
              <a:gd name="T85" fmla="*/ 73 h 143"/>
              <a:gd name="T86" fmla="*/ 66 w 202"/>
              <a:gd name="T87" fmla="*/ 70 h 143"/>
              <a:gd name="T88" fmla="*/ 0 w 202"/>
              <a:gd name="T89" fmla="*/ 106 h 143"/>
              <a:gd name="T90" fmla="*/ 101 w 202"/>
              <a:gd name="T91" fmla="*/ 143 h 143"/>
              <a:gd name="T92" fmla="*/ 202 w 202"/>
              <a:gd name="T93" fmla="*/ 106 h 143"/>
              <a:gd name="T94" fmla="*/ 137 w 202"/>
              <a:gd name="T95" fmla="*/ 7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 h="143">
                <a:moveTo>
                  <a:pt x="114" y="30"/>
                </a:moveTo>
                <a:cubicBezTo>
                  <a:pt x="114" y="23"/>
                  <a:pt x="108" y="17"/>
                  <a:pt x="101" y="17"/>
                </a:cubicBezTo>
                <a:cubicBezTo>
                  <a:pt x="94" y="17"/>
                  <a:pt x="88" y="23"/>
                  <a:pt x="88" y="30"/>
                </a:cubicBezTo>
                <a:cubicBezTo>
                  <a:pt x="88" y="38"/>
                  <a:pt x="94" y="44"/>
                  <a:pt x="101" y="44"/>
                </a:cubicBezTo>
                <a:cubicBezTo>
                  <a:pt x="108" y="44"/>
                  <a:pt x="114" y="38"/>
                  <a:pt x="114" y="30"/>
                </a:cubicBezTo>
                <a:close/>
                <a:moveTo>
                  <a:pt x="101" y="38"/>
                </a:moveTo>
                <a:cubicBezTo>
                  <a:pt x="97" y="38"/>
                  <a:pt x="94" y="34"/>
                  <a:pt x="94" y="30"/>
                </a:cubicBezTo>
                <a:cubicBezTo>
                  <a:pt x="94" y="27"/>
                  <a:pt x="97" y="23"/>
                  <a:pt x="101" y="23"/>
                </a:cubicBezTo>
                <a:cubicBezTo>
                  <a:pt x="105" y="23"/>
                  <a:pt x="108" y="27"/>
                  <a:pt x="108" y="30"/>
                </a:cubicBezTo>
                <a:cubicBezTo>
                  <a:pt x="108" y="34"/>
                  <a:pt x="105" y="38"/>
                  <a:pt x="101" y="38"/>
                </a:cubicBezTo>
                <a:close/>
                <a:moveTo>
                  <a:pt x="101" y="106"/>
                </a:moveTo>
                <a:cubicBezTo>
                  <a:pt x="102" y="106"/>
                  <a:pt x="103" y="105"/>
                  <a:pt x="103" y="105"/>
                </a:cubicBezTo>
                <a:cubicBezTo>
                  <a:pt x="105" y="104"/>
                  <a:pt x="137" y="72"/>
                  <a:pt x="137" y="38"/>
                </a:cubicBezTo>
                <a:cubicBezTo>
                  <a:pt x="137" y="17"/>
                  <a:pt x="121" y="0"/>
                  <a:pt x="101" y="0"/>
                </a:cubicBezTo>
                <a:cubicBezTo>
                  <a:pt x="81" y="0"/>
                  <a:pt x="65" y="17"/>
                  <a:pt x="65" y="38"/>
                </a:cubicBezTo>
                <a:cubicBezTo>
                  <a:pt x="65" y="71"/>
                  <a:pt x="98" y="104"/>
                  <a:pt x="99" y="105"/>
                </a:cubicBezTo>
                <a:cubicBezTo>
                  <a:pt x="100" y="105"/>
                  <a:pt x="100" y="106"/>
                  <a:pt x="101" y="106"/>
                </a:cubicBezTo>
                <a:close/>
                <a:moveTo>
                  <a:pt x="101" y="6"/>
                </a:moveTo>
                <a:cubicBezTo>
                  <a:pt x="118" y="6"/>
                  <a:pt x="131" y="21"/>
                  <a:pt x="131" y="38"/>
                </a:cubicBezTo>
                <a:cubicBezTo>
                  <a:pt x="131" y="65"/>
                  <a:pt x="108" y="91"/>
                  <a:pt x="101" y="98"/>
                </a:cubicBezTo>
                <a:cubicBezTo>
                  <a:pt x="94" y="91"/>
                  <a:pt x="71" y="64"/>
                  <a:pt x="71" y="38"/>
                </a:cubicBezTo>
                <a:cubicBezTo>
                  <a:pt x="71" y="21"/>
                  <a:pt x="85" y="6"/>
                  <a:pt x="101" y="6"/>
                </a:cubicBezTo>
                <a:close/>
                <a:moveTo>
                  <a:pt x="79" y="98"/>
                </a:moveTo>
                <a:cubicBezTo>
                  <a:pt x="81" y="98"/>
                  <a:pt x="82" y="97"/>
                  <a:pt x="82" y="95"/>
                </a:cubicBezTo>
                <a:cubicBezTo>
                  <a:pt x="82" y="94"/>
                  <a:pt x="80" y="92"/>
                  <a:pt x="79" y="93"/>
                </a:cubicBezTo>
                <a:cubicBezTo>
                  <a:pt x="65" y="94"/>
                  <a:pt x="48" y="98"/>
                  <a:pt x="48" y="106"/>
                </a:cubicBezTo>
                <a:cubicBezTo>
                  <a:pt x="48" y="117"/>
                  <a:pt x="82" y="120"/>
                  <a:pt x="101" y="120"/>
                </a:cubicBezTo>
                <a:cubicBezTo>
                  <a:pt x="121" y="120"/>
                  <a:pt x="154" y="117"/>
                  <a:pt x="154" y="106"/>
                </a:cubicBezTo>
                <a:cubicBezTo>
                  <a:pt x="154" y="98"/>
                  <a:pt x="137" y="94"/>
                  <a:pt x="124" y="93"/>
                </a:cubicBezTo>
                <a:cubicBezTo>
                  <a:pt x="122" y="92"/>
                  <a:pt x="121" y="94"/>
                  <a:pt x="120" y="95"/>
                </a:cubicBezTo>
                <a:cubicBezTo>
                  <a:pt x="120" y="97"/>
                  <a:pt x="121" y="98"/>
                  <a:pt x="123" y="99"/>
                </a:cubicBezTo>
                <a:cubicBezTo>
                  <a:pt x="142" y="101"/>
                  <a:pt x="147" y="105"/>
                  <a:pt x="148" y="106"/>
                </a:cubicBezTo>
                <a:cubicBezTo>
                  <a:pt x="147" y="109"/>
                  <a:pt x="130" y="114"/>
                  <a:pt x="101" y="114"/>
                </a:cubicBezTo>
                <a:cubicBezTo>
                  <a:pt x="72" y="114"/>
                  <a:pt x="55" y="109"/>
                  <a:pt x="54" y="106"/>
                </a:cubicBezTo>
                <a:cubicBezTo>
                  <a:pt x="55" y="105"/>
                  <a:pt x="60" y="101"/>
                  <a:pt x="79" y="98"/>
                </a:cubicBezTo>
                <a:close/>
                <a:moveTo>
                  <a:pt x="137" y="70"/>
                </a:moveTo>
                <a:cubicBezTo>
                  <a:pt x="135" y="70"/>
                  <a:pt x="133" y="71"/>
                  <a:pt x="133" y="73"/>
                </a:cubicBezTo>
                <a:cubicBezTo>
                  <a:pt x="133" y="75"/>
                  <a:pt x="134" y="76"/>
                  <a:pt x="136" y="76"/>
                </a:cubicBezTo>
                <a:cubicBezTo>
                  <a:pt x="172" y="81"/>
                  <a:pt x="196" y="93"/>
                  <a:pt x="196" y="106"/>
                </a:cubicBezTo>
                <a:cubicBezTo>
                  <a:pt x="196" y="121"/>
                  <a:pt x="158" y="137"/>
                  <a:pt x="101" y="137"/>
                </a:cubicBezTo>
                <a:cubicBezTo>
                  <a:pt x="44" y="137"/>
                  <a:pt x="6" y="121"/>
                  <a:pt x="6" y="106"/>
                </a:cubicBezTo>
                <a:cubicBezTo>
                  <a:pt x="6" y="93"/>
                  <a:pt x="31" y="81"/>
                  <a:pt x="67" y="76"/>
                </a:cubicBezTo>
                <a:cubicBezTo>
                  <a:pt x="68" y="76"/>
                  <a:pt x="69" y="75"/>
                  <a:pt x="69" y="73"/>
                </a:cubicBezTo>
                <a:cubicBezTo>
                  <a:pt x="69" y="71"/>
                  <a:pt x="67" y="70"/>
                  <a:pt x="66" y="70"/>
                </a:cubicBezTo>
                <a:cubicBezTo>
                  <a:pt x="26" y="76"/>
                  <a:pt x="0" y="90"/>
                  <a:pt x="0" y="106"/>
                </a:cubicBezTo>
                <a:cubicBezTo>
                  <a:pt x="0" y="127"/>
                  <a:pt x="44" y="143"/>
                  <a:pt x="101" y="143"/>
                </a:cubicBezTo>
                <a:cubicBezTo>
                  <a:pt x="158" y="143"/>
                  <a:pt x="202" y="127"/>
                  <a:pt x="202" y="106"/>
                </a:cubicBezTo>
                <a:cubicBezTo>
                  <a:pt x="202" y="90"/>
                  <a:pt x="177" y="76"/>
                  <a:pt x="137" y="7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0457543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Farben der Icons änderbar über „Füllbereich“</a:t>
            </a:r>
          </a:p>
        </p:txBody>
      </p:sp>
      <p:sp>
        <p:nvSpPr>
          <p:cNvPr id="175" name="Textplatzhalter 174"/>
          <p:cNvSpPr>
            <a:spLocks noGrp="1"/>
          </p:cNvSpPr>
          <p:nvPr>
            <p:ph type="body" sz="quarter" idx="13"/>
          </p:nvPr>
        </p:nvSpPr>
        <p:spPr/>
        <p:txBody>
          <a:bodyPr/>
          <a:lstStyle/>
          <a:p>
            <a:endParaRPr lang="de-DE"/>
          </a:p>
        </p:txBody>
      </p:sp>
      <p:sp>
        <p:nvSpPr>
          <p:cNvPr id="176" name="Textplatzhalter 175"/>
          <p:cNvSpPr>
            <a:spLocks noGrp="1"/>
          </p:cNvSpPr>
          <p:nvPr>
            <p:ph type="body" sz="quarter" idx="14"/>
          </p:nvPr>
        </p:nvSpPr>
        <p:spPr/>
        <p:txBody>
          <a:bodyPr/>
          <a:lstStyle/>
          <a:p>
            <a:pPr>
              <a:spcAft>
                <a:spcPts val="0"/>
              </a:spcAft>
            </a:pPr>
            <a:endParaRPr lang="de-DE"/>
          </a:p>
        </p:txBody>
      </p:sp>
      <p:sp>
        <p:nvSpPr>
          <p:cNvPr id="3" name="Foliennummernplatzhalter 2"/>
          <p:cNvSpPr>
            <a:spLocks noGrp="1"/>
          </p:cNvSpPr>
          <p:nvPr>
            <p:ph type="sldNum" sz="quarter" idx="4"/>
          </p:nvPr>
        </p:nvSpPr>
        <p:spPr/>
        <p:txBody>
          <a:bodyPr/>
          <a:lstStyle/>
          <a:p>
            <a:fld id="{70DB0CEF-E182-42EF-B1DF-BA42708E991C}" type="slidenum">
              <a:rPr lang="de-DE" noProof="0" smtClean="0"/>
              <a:pPr/>
              <a:t>35</a:t>
            </a:fld>
            <a:endParaRPr lang="de-DE" noProof="0" dirty="0"/>
          </a:p>
        </p:txBody>
      </p:sp>
      <p:sp>
        <p:nvSpPr>
          <p:cNvPr id="177" name="Datumsplatzhalter 176"/>
          <p:cNvSpPr>
            <a:spLocks noGrp="1"/>
          </p:cNvSpPr>
          <p:nvPr>
            <p:ph type="dt" sz="half" idx="2"/>
          </p:nvPr>
        </p:nvSpPr>
        <p:spPr/>
        <p:txBody>
          <a:bodyPr/>
          <a:lstStyle/>
          <a:p>
            <a:fld id="{E1C20A10-1E90-4BC7-BBB7-F48D4543AD00}" type="datetime1">
              <a:rPr lang="de-DE" smtClean="0"/>
              <a:t>04.05.2020</a:t>
            </a:fld>
            <a:endParaRPr lang="de-DE" dirty="0"/>
          </a:p>
        </p:txBody>
      </p:sp>
      <p:grpSp>
        <p:nvGrpSpPr>
          <p:cNvPr id="2" name="Gruppieren 1">
            <a:extLst>
              <a:ext uri="{FF2B5EF4-FFF2-40B4-BE49-F238E27FC236}">
                <a16:creationId xmlns:a16="http://schemas.microsoft.com/office/drawing/2014/main" id="{156AF7EB-C3BA-40A0-9388-A65ADDD14CDB}"/>
              </a:ext>
            </a:extLst>
          </p:cNvPr>
          <p:cNvGrpSpPr/>
          <p:nvPr/>
        </p:nvGrpSpPr>
        <p:grpSpPr>
          <a:xfrm>
            <a:off x="272744" y="1647823"/>
            <a:ext cx="304790" cy="306488"/>
            <a:chOff x="272744" y="1647823"/>
            <a:chExt cx="306489" cy="306488"/>
          </a:xfrm>
        </p:grpSpPr>
        <p:sp>
          <p:nvSpPr>
            <p:cNvPr id="264" name="Freeform 32">
              <a:extLst>
                <a:ext uri="{FF2B5EF4-FFF2-40B4-BE49-F238E27FC236}">
                  <a16:creationId xmlns:a16="http://schemas.microsoft.com/office/drawing/2014/main" id="{CBA49588-B1C8-47AD-A96B-97DC020F8173}"/>
                </a:ext>
              </a:extLst>
            </p:cNvPr>
            <p:cNvSpPr>
              <a:spLocks noEditPoints="1"/>
            </p:cNvSpPr>
            <p:nvPr/>
          </p:nvSpPr>
          <p:spPr bwMode="auto">
            <a:xfrm>
              <a:off x="293669" y="1669158"/>
              <a:ext cx="264229" cy="264228"/>
            </a:xfrm>
            <a:custGeom>
              <a:avLst/>
              <a:gdLst>
                <a:gd name="T0" fmla="*/ 787 w 1932"/>
                <a:gd name="T1" fmla="*/ 95 h 1932"/>
                <a:gd name="T2" fmla="*/ 581 w 1932"/>
                <a:gd name="T3" fmla="*/ 164 h 1932"/>
                <a:gd name="T4" fmla="*/ 401 w 1932"/>
                <a:gd name="T5" fmla="*/ 280 h 1932"/>
                <a:gd name="T6" fmla="*/ 254 w 1932"/>
                <a:gd name="T7" fmla="*/ 434 h 1932"/>
                <a:gd name="T8" fmla="*/ 147 w 1932"/>
                <a:gd name="T9" fmla="*/ 620 h 1932"/>
                <a:gd name="T10" fmla="*/ 87 w 1932"/>
                <a:gd name="T11" fmla="*/ 831 h 1932"/>
                <a:gd name="T12" fmla="*/ 82 w 1932"/>
                <a:gd name="T13" fmla="*/ 1057 h 1932"/>
                <a:gd name="T14" fmla="*/ 131 w 1932"/>
                <a:gd name="T15" fmla="*/ 1271 h 1932"/>
                <a:gd name="T16" fmla="*/ 229 w 1932"/>
                <a:gd name="T17" fmla="*/ 1463 h 1932"/>
                <a:gd name="T18" fmla="*/ 369 w 1932"/>
                <a:gd name="T19" fmla="*/ 1624 h 1932"/>
                <a:gd name="T20" fmla="*/ 543 w 1932"/>
                <a:gd name="T21" fmla="*/ 1747 h 1932"/>
                <a:gd name="T22" fmla="*/ 744 w 1932"/>
                <a:gd name="T23" fmla="*/ 1826 h 1932"/>
                <a:gd name="T24" fmla="*/ 966 w 1932"/>
                <a:gd name="T25" fmla="*/ 1855 h 1932"/>
                <a:gd name="T26" fmla="*/ 1188 w 1932"/>
                <a:gd name="T27" fmla="*/ 1826 h 1932"/>
                <a:gd name="T28" fmla="*/ 1389 w 1932"/>
                <a:gd name="T29" fmla="*/ 1747 h 1932"/>
                <a:gd name="T30" fmla="*/ 1563 w 1932"/>
                <a:gd name="T31" fmla="*/ 1624 h 1932"/>
                <a:gd name="T32" fmla="*/ 1702 w 1932"/>
                <a:gd name="T33" fmla="*/ 1463 h 1932"/>
                <a:gd name="T34" fmla="*/ 1801 w 1932"/>
                <a:gd name="T35" fmla="*/ 1271 h 1932"/>
                <a:gd name="T36" fmla="*/ 1850 w 1932"/>
                <a:gd name="T37" fmla="*/ 1057 h 1932"/>
                <a:gd name="T38" fmla="*/ 1845 w 1932"/>
                <a:gd name="T39" fmla="*/ 831 h 1932"/>
                <a:gd name="T40" fmla="*/ 1785 w 1932"/>
                <a:gd name="T41" fmla="*/ 620 h 1932"/>
                <a:gd name="T42" fmla="*/ 1678 w 1932"/>
                <a:gd name="T43" fmla="*/ 434 h 1932"/>
                <a:gd name="T44" fmla="*/ 1531 w 1932"/>
                <a:gd name="T45" fmla="*/ 280 h 1932"/>
                <a:gd name="T46" fmla="*/ 1351 w 1932"/>
                <a:gd name="T47" fmla="*/ 164 h 1932"/>
                <a:gd name="T48" fmla="*/ 1144 w 1932"/>
                <a:gd name="T49" fmla="*/ 95 h 1932"/>
                <a:gd name="T50" fmla="*/ 966 w 1932"/>
                <a:gd name="T51" fmla="*/ 1932 h 1932"/>
                <a:gd name="T52" fmla="*/ 725 w 1932"/>
                <a:gd name="T53" fmla="*/ 1902 h 1932"/>
                <a:gd name="T54" fmla="*/ 506 w 1932"/>
                <a:gd name="T55" fmla="*/ 1815 h 1932"/>
                <a:gd name="T56" fmla="*/ 317 w 1932"/>
                <a:gd name="T57" fmla="*/ 1681 h 1932"/>
                <a:gd name="T58" fmla="*/ 165 w 1932"/>
                <a:gd name="T59" fmla="*/ 1506 h 1932"/>
                <a:gd name="T60" fmla="*/ 58 w 1932"/>
                <a:gd name="T61" fmla="*/ 1297 h 1932"/>
                <a:gd name="T62" fmla="*/ 5 w 1932"/>
                <a:gd name="T63" fmla="*/ 1064 h 1932"/>
                <a:gd name="T64" fmla="*/ 10 w 1932"/>
                <a:gd name="T65" fmla="*/ 819 h 1932"/>
                <a:gd name="T66" fmla="*/ 75 w 1932"/>
                <a:gd name="T67" fmla="*/ 590 h 1932"/>
                <a:gd name="T68" fmla="*/ 192 w 1932"/>
                <a:gd name="T69" fmla="*/ 389 h 1932"/>
                <a:gd name="T70" fmla="*/ 352 w 1932"/>
                <a:gd name="T71" fmla="*/ 221 h 1932"/>
                <a:gd name="T72" fmla="*/ 547 w 1932"/>
                <a:gd name="T73" fmla="*/ 95 h 1932"/>
                <a:gd name="T74" fmla="*/ 771 w 1932"/>
                <a:gd name="T75" fmla="*/ 20 h 1932"/>
                <a:gd name="T76" fmla="*/ 1016 w 1932"/>
                <a:gd name="T77" fmla="*/ 1 h 1932"/>
                <a:gd name="T78" fmla="*/ 1253 w 1932"/>
                <a:gd name="T79" fmla="*/ 43 h 1932"/>
                <a:gd name="T80" fmla="*/ 1466 w 1932"/>
                <a:gd name="T81" fmla="*/ 140 h 1932"/>
                <a:gd name="T82" fmla="*/ 1649 w 1932"/>
                <a:gd name="T83" fmla="*/ 283 h 1932"/>
                <a:gd name="T84" fmla="*/ 1792 w 1932"/>
                <a:gd name="T85" fmla="*/ 465 h 1932"/>
                <a:gd name="T86" fmla="*/ 1888 w 1932"/>
                <a:gd name="T87" fmla="*/ 679 h 1932"/>
                <a:gd name="T88" fmla="*/ 1931 w 1932"/>
                <a:gd name="T89" fmla="*/ 916 h 1932"/>
                <a:gd name="T90" fmla="*/ 1913 w 1932"/>
                <a:gd name="T91" fmla="*/ 1160 h 1932"/>
                <a:gd name="T92" fmla="*/ 1836 w 1932"/>
                <a:gd name="T93" fmla="*/ 1384 h 1932"/>
                <a:gd name="T94" fmla="*/ 1711 w 1932"/>
                <a:gd name="T95" fmla="*/ 1580 h 1932"/>
                <a:gd name="T96" fmla="*/ 1544 w 1932"/>
                <a:gd name="T97" fmla="*/ 1739 h 1932"/>
                <a:gd name="T98" fmla="*/ 1342 w 1932"/>
                <a:gd name="T99" fmla="*/ 1856 h 1932"/>
                <a:gd name="T100" fmla="*/ 1113 w 1932"/>
                <a:gd name="T101" fmla="*/ 1921 h 1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2" h="1932">
                  <a:moveTo>
                    <a:pt x="966" y="77"/>
                  </a:moveTo>
                  <a:lnTo>
                    <a:pt x="920" y="78"/>
                  </a:lnTo>
                  <a:lnTo>
                    <a:pt x="876" y="81"/>
                  </a:lnTo>
                  <a:lnTo>
                    <a:pt x="831" y="87"/>
                  </a:lnTo>
                  <a:lnTo>
                    <a:pt x="787" y="95"/>
                  </a:lnTo>
                  <a:lnTo>
                    <a:pt x="744" y="105"/>
                  </a:lnTo>
                  <a:lnTo>
                    <a:pt x="702" y="118"/>
                  </a:lnTo>
                  <a:lnTo>
                    <a:pt x="661" y="131"/>
                  </a:lnTo>
                  <a:lnTo>
                    <a:pt x="621" y="147"/>
                  </a:lnTo>
                  <a:lnTo>
                    <a:pt x="581" y="164"/>
                  </a:lnTo>
                  <a:lnTo>
                    <a:pt x="543" y="184"/>
                  </a:lnTo>
                  <a:lnTo>
                    <a:pt x="506" y="206"/>
                  </a:lnTo>
                  <a:lnTo>
                    <a:pt x="470" y="229"/>
                  </a:lnTo>
                  <a:lnTo>
                    <a:pt x="435" y="254"/>
                  </a:lnTo>
                  <a:lnTo>
                    <a:pt x="401" y="280"/>
                  </a:lnTo>
                  <a:lnTo>
                    <a:pt x="369" y="308"/>
                  </a:lnTo>
                  <a:lnTo>
                    <a:pt x="338" y="338"/>
                  </a:lnTo>
                  <a:lnTo>
                    <a:pt x="308" y="368"/>
                  </a:lnTo>
                  <a:lnTo>
                    <a:pt x="280" y="401"/>
                  </a:lnTo>
                  <a:lnTo>
                    <a:pt x="254" y="434"/>
                  </a:lnTo>
                  <a:lnTo>
                    <a:pt x="229" y="469"/>
                  </a:lnTo>
                  <a:lnTo>
                    <a:pt x="206" y="505"/>
                  </a:lnTo>
                  <a:lnTo>
                    <a:pt x="185" y="543"/>
                  </a:lnTo>
                  <a:lnTo>
                    <a:pt x="165" y="581"/>
                  </a:lnTo>
                  <a:lnTo>
                    <a:pt x="147" y="620"/>
                  </a:lnTo>
                  <a:lnTo>
                    <a:pt x="131" y="661"/>
                  </a:lnTo>
                  <a:lnTo>
                    <a:pt x="117" y="702"/>
                  </a:lnTo>
                  <a:lnTo>
                    <a:pt x="105" y="744"/>
                  </a:lnTo>
                  <a:lnTo>
                    <a:pt x="96" y="787"/>
                  </a:lnTo>
                  <a:lnTo>
                    <a:pt x="87" y="831"/>
                  </a:lnTo>
                  <a:lnTo>
                    <a:pt x="82" y="875"/>
                  </a:lnTo>
                  <a:lnTo>
                    <a:pt x="79" y="920"/>
                  </a:lnTo>
                  <a:lnTo>
                    <a:pt x="77" y="966"/>
                  </a:lnTo>
                  <a:lnTo>
                    <a:pt x="79" y="1011"/>
                  </a:lnTo>
                  <a:lnTo>
                    <a:pt x="82" y="1057"/>
                  </a:lnTo>
                  <a:lnTo>
                    <a:pt x="87" y="1101"/>
                  </a:lnTo>
                  <a:lnTo>
                    <a:pt x="96" y="1145"/>
                  </a:lnTo>
                  <a:lnTo>
                    <a:pt x="105" y="1188"/>
                  </a:lnTo>
                  <a:lnTo>
                    <a:pt x="117" y="1230"/>
                  </a:lnTo>
                  <a:lnTo>
                    <a:pt x="131" y="1271"/>
                  </a:lnTo>
                  <a:lnTo>
                    <a:pt x="147" y="1311"/>
                  </a:lnTo>
                  <a:lnTo>
                    <a:pt x="165" y="1350"/>
                  </a:lnTo>
                  <a:lnTo>
                    <a:pt x="185" y="1390"/>
                  </a:lnTo>
                  <a:lnTo>
                    <a:pt x="206" y="1427"/>
                  </a:lnTo>
                  <a:lnTo>
                    <a:pt x="229" y="1463"/>
                  </a:lnTo>
                  <a:lnTo>
                    <a:pt x="254" y="1497"/>
                  </a:lnTo>
                  <a:lnTo>
                    <a:pt x="280" y="1531"/>
                  </a:lnTo>
                  <a:lnTo>
                    <a:pt x="308" y="1563"/>
                  </a:lnTo>
                  <a:lnTo>
                    <a:pt x="338" y="1594"/>
                  </a:lnTo>
                  <a:lnTo>
                    <a:pt x="369" y="1624"/>
                  </a:lnTo>
                  <a:lnTo>
                    <a:pt x="401" y="1651"/>
                  </a:lnTo>
                  <a:lnTo>
                    <a:pt x="435" y="1678"/>
                  </a:lnTo>
                  <a:lnTo>
                    <a:pt x="470" y="1703"/>
                  </a:lnTo>
                  <a:lnTo>
                    <a:pt x="506" y="1726"/>
                  </a:lnTo>
                  <a:lnTo>
                    <a:pt x="543" y="1747"/>
                  </a:lnTo>
                  <a:lnTo>
                    <a:pt x="581" y="1767"/>
                  </a:lnTo>
                  <a:lnTo>
                    <a:pt x="621" y="1785"/>
                  </a:lnTo>
                  <a:lnTo>
                    <a:pt x="661" y="1801"/>
                  </a:lnTo>
                  <a:lnTo>
                    <a:pt x="702" y="1815"/>
                  </a:lnTo>
                  <a:lnTo>
                    <a:pt x="744" y="1826"/>
                  </a:lnTo>
                  <a:lnTo>
                    <a:pt x="787" y="1837"/>
                  </a:lnTo>
                  <a:lnTo>
                    <a:pt x="831" y="1845"/>
                  </a:lnTo>
                  <a:lnTo>
                    <a:pt x="876" y="1850"/>
                  </a:lnTo>
                  <a:lnTo>
                    <a:pt x="920" y="1853"/>
                  </a:lnTo>
                  <a:lnTo>
                    <a:pt x="966" y="1855"/>
                  </a:lnTo>
                  <a:lnTo>
                    <a:pt x="1012" y="1853"/>
                  </a:lnTo>
                  <a:lnTo>
                    <a:pt x="1056" y="1850"/>
                  </a:lnTo>
                  <a:lnTo>
                    <a:pt x="1101" y="1845"/>
                  </a:lnTo>
                  <a:lnTo>
                    <a:pt x="1144" y="1837"/>
                  </a:lnTo>
                  <a:lnTo>
                    <a:pt x="1188" y="1826"/>
                  </a:lnTo>
                  <a:lnTo>
                    <a:pt x="1229" y="1815"/>
                  </a:lnTo>
                  <a:lnTo>
                    <a:pt x="1271" y="1801"/>
                  </a:lnTo>
                  <a:lnTo>
                    <a:pt x="1311" y="1785"/>
                  </a:lnTo>
                  <a:lnTo>
                    <a:pt x="1351" y="1767"/>
                  </a:lnTo>
                  <a:lnTo>
                    <a:pt x="1389" y="1747"/>
                  </a:lnTo>
                  <a:lnTo>
                    <a:pt x="1426" y="1726"/>
                  </a:lnTo>
                  <a:lnTo>
                    <a:pt x="1462" y="1703"/>
                  </a:lnTo>
                  <a:lnTo>
                    <a:pt x="1497" y="1678"/>
                  </a:lnTo>
                  <a:lnTo>
                    <a:pt x="1531" y="1651"/>
                  </a:lnTo>
                  <a:lnTo>
                    <a:pt x="1563" y="1624"/>
                  </a:lnTo>
                  <a:lnTo>
                    <a:pt x="1594" y="1594"/>
                  </a:lnTo>
                  <a:lnTo>
                    <a:pt x="1624" y="1563"/>
                  </a:lnTo>
                  <a:lnTo>
                    <a:pt x="1651" y="1531"/>
                  </a:lnTo>
                  <a:lnTo>
                    <a:pt x="1678" y="1497"/>
                  </a:lnTo>
                  <a:lnTo>
                    <a:pt x="1702" y="1463"/>
                  </a:lnTo>
                  <a:lnTo>
                    <a:pt x="1726" y="1427"/>
                  </a:lnTo>
                  <a:lnTo>
                    <a:pt x="1747" y="1390"/>
                  </a:lnTo>
                  <a:lnTo>
                    <a:pt x="1767" y="1350"/>
                  </a:lnTo>
                  <a:lnTo>
                    <a:pt x="1785" y="1311"/>
                  </a:lnTo>
                  <a:lnTo>
                    <a:pt x="1801" y="1271"/>
                  </a:lnTo>
                  <a:lnTo>
                    <a:pt x="1815" y="1230"/>
                  </a:lnTo>
                  <a:lnTo>
                    <a:pt x="1827" y="1188"/>
                  </a:lnTo>
                  <a:lnTo>
                    <a:pt x="1836" y="1145"/>
                  </a:lnTo>
                  <a:lnTo>
                    <a:pt x="1845" y="1101"/>
                  </a:lnTo>
                  <a:lnTo>
                    <a:pt x="1850" y="1057"/>
                  </a:lnTo>
                  <a:lnTo>
                    <a:pt x="1853" y="1011"/>
                  </a:lnTo>
                  <a:lnTo>
                    <a:pt x="1854" y="966"/>
                  </a:lnTo>
                  <a:lnTo>
                    <a:pt x="1853" y="920"/>
                  </a:lnTo>
                  <a:lnTo>
                    <a:pt x="1850" y="875"/>
                  </a:lnTo>
                  <a:lnTo>
                    <a:pt x="1845" y="831"/>
                  </a:lnTo>
                  <a:lnTo>
                    <a:pt x="1836" y="787"/>
                  </a:lnTo>
                  <a:lnTo>
                    <a:pt x="1827" y="744"/>
                  </a:lnTo>
                  <a:lnTo>
                    <a:pt x="1815" y="702"/>
                  </a:lnTo>
                  <a:lnTo>
                    <a:pt x="1801" y="661"/>
                  </a:lnTo>
                  <a:lnTo>
                    <a:pt x="1785" y="620"/>
                  </a:lnTo>
                  <a:lnTo>
                    <a:pt x="1767" y="581"/>
                  </a:lnTo>
                  <a:lnTo>
                    <a:pt x="1747" y="543"/>
                  </a:lnTo>
                  <a:lnTo>
                    <a:pt x="1726" y="505"/>
                  </a:lnTo>
                  <a:lnTo>
                    <a:pt x="1702" y="469"/>
                  </a:lnTo>
                  <a:lnTo>
                    <a:pt x="1678" y="434"/>
                  </a:lnTo>
                  <a:lnTo>
                    <a:pt x="1651" y="401"/>
                  </a:lnTo>
                  <a:lnTo>
                    <a:pt x="1624" y="368"/>
                  </a:lnTo>
                  <a:lnTo>
                    <a:pt x="1594" y="338"/>
                  </a:lnTo>
                  <a:lnTo>
                    <a:pt x="1563" y="308"/>
                  </a:lnTo>
                  <a:lnTo>
                    <a:pt x="1531" y="280"/>
                  </a:lnTo>
                  <a:lnTo>
                    <a:pt x="1497" y="254"/>
                  </a:lnTo>
                  <a:lnTo>
                    <a:pt x="1462" y="229"/>
                  </a:lnTo>
                  <a:lnTo>
                    <a:pt x="1426" y="206"/>
                  </a:lnTo>
                  <a:lnTo>
                    <a:pt x="1389" y="184"/>
                  </a:lnTo>
                  <a:lnTo>
                    <a:pt x="1351" y="164"/>
                  </a:lnTo>
                  <a:lnTo>
                    <a:pt x="1311" y="147"/>
                  </a:lnTo>
                  <a:lnTo>
                    <a:pt x="1271" y="131"/>
                  </a:lnTo>
                  <a:lnTo>
                    <a:pt x="1229" y="118"/>
                  </a:lnTo>
                  <a:lnTo>
                    <a:pt x="1188" y="105"/>
                  </a:lnTo>
                  <a:lnTo>
                    <a:pt x="1144" y="95"/>
                  </a:lnTo>
                  <a:lnTo>
                    <a:pt x="1101" y="87"/>
                  </a:lnTo>
                  <a:lnTo>
                    <a:pt x="1056" y="81"/>
                  </a:lnTo>
                  <a:lnTo>
                    <a:pt x="1012" y="78"/>
                  </a:lnTo>
                  <a:lnTo>
                    <a:pt x="966" y="77"/>
                  </a:lnTo>
                  <a:close/>
                  <a:moveTo>
                    <a:pt x="966" y="1932"/>
                  </a:moveTo>
                  <a:lnTo>
                    <a:pt x="916" y="1931"/>
                  </a:lnTo>
                  <a:lnTo>
                    <a:pt x="867" y="1927"/>
                  </a:lnTo>
                  <a:lnTo>
                    <a:pt x="819" y="1921"/>
                  </a:lnTo>
                  <a:lnTo>
                    <a:pt x="771" y="1913"/>
                  </a:lnTo>
                  <a:lnTo>
                    <a:pt x="725" y="1902"/>
                  </a:lnTo>
                  <a:lnTo>
                    <a:pt x="679" y="1888"/>
                  </a:lnTo>
                  <a:lnTo>
                    <a:pt x="634" y="1873"/>
                  </a:lnTo>
                  <a:lnTo>
                    <a:pt x="590" y="1856"/>
                  </a:lnTo>
                  <a:lnTo>
                    <a:pt x="547" y="1837"/>
                  </a:lnTo>
                  <a:lnTo>
                    <a:pt x="506" y="1815"/>
                  </a:lnTo>
                  <a:lnTo>
                    <a:pt x="465" y="1792"/>
                  </a:lnTo>
                  <a:lnTo>
                    <a:pt x="426" y="1767"/>
                  </a:lnTo>
                  <a:lnTo>
                    <a:pt x="388" y="1739"/>
                  </a:lnTo>
                  <a:lnTo>
                    <a:pt x="352" y="1711"/>
                  </a:lnTo>
                  <a:lnTo>
                    <a:pt x="317" y="1681"/>
                  </a:lnTo>
                  <a:lnTo>
                    <a:pt x="283" y="1649"/>
                  </a:lnTo>
                  <a:lnTo>
                    <a:pt x="251" y="1615"/>
                  </a:lnTo>
                  <a:lnTo>
                    <a:pt x="221" y="1580"/>
                  </a:lnTo>
                  <a:lnTo>
                    <a:pt x="192" y="1544"/>
                  </a:lnTo>
                  <a:lnTo>
                    <a:pt x="165" y="1506"/>
                  </a:lnTo>
                  <a:lnTo>
                    <a:pt x="140" y="1466"/>
                  </a:lnTo>
                  <a:lnTo>
                    <a:pt x="117" y="1426"/>
                  </a:lnTo>
                  <a:lnTo>
                    <a:pt x="96" y="1384"/>
                  </a:lnTo>
                  <a:lnTo>
                    <a:pt x="75" y="1342"/>
                  </a:lnTo>
                  <a:lnTo>
                    <a:pt x="58" y="1297"/>
                  </a:lnTo>
                  <a:lnTo>
                    <a:pt x="43" y="1253"/>
                  </a:lnTo>
                  <a:lnTo>
                    <a:pt x="31" y="1207"/>
                  </a:lnTo>
                  <a:lnTo>
                    <a:pt x="19" y="1160"/>
                  </a:lnTo>
                  <a:lnTo>
                    <a:pt x="10" y="1112"/>
                  </a:lnTo>
                  <a:lnTo>
                    <a:pt x="5" y="1064"/>
                  </a:lnTo>
                  <a:lnTo>
                    <a:pt x="1" y="1016"/>
                  </a:lnTo>
                  <a:lnTo>
                    <a:pt x="0" y="966"/>
                  </a:lnTo>
                  <a:lnTo>
                    <a:pt x="1" y="916"/>
                  </a:lnTo>
                  <a:lnTo>
                    <a:pt x="5" y="867"/>
                  </a:lnTo>
                  <a:lnTo>
                    <a:pt x="10" y="819"/>
                  </a:lnTo>
                  <a:lnTo>
                    <a:pt x="19" y="771"/>
                  </a:lnTo>
                  <a:lnTo>
                    <a:pt x="31" y="724"/>
                  </a:lnTo>
                  <a:lnTo>
                    <a:pt x="43" y="679"/>
                  </a:lnTo>
                  <a:lnTo>
                    <a:pt x="58" y="634"/>
                  </a:lnTo>
                  <a:lnTo>
                    <a:pt x="75" y="590"/>
                  </a:lnTo>
                  <a:lnTo>
                    <a:pt x="96" y="547"/>
                  </a:lnTo>
                  <a:lnTo>
                    <a:pt x="117" y="505"/>
                  </a:lnTo>
                  <a:lnTo>
                    <a:pt x="140" y="465"/>
                  </a:lnTo>
                  <a:lnTo>
                    <a:pt x="165" y="426"/>
                  </a:lnTo>
                  <a:lnTo>
                    <a:pt x="192" y="389"/>
                  </a:lnTo>
                  <a:lnTo>
                    <a:pt x="221" y="351"/>
                  </a:lnTo>
                  <a:lnTo>
                    <a:pt x="251" y="316"/>
                  </a:lnTo>
                  <a:lnTo>
                    <a:pt x="283" y="283"/>
                  </a:lnTo>
                  <a:lnTo>
                    <a:pt x="317" y="251"/>
                  </a:lnTo>
                  <a:lnTo>
                    <a:pt x="352" y="221"/>
                  </a:lnTo>
                  <a:lnTo>
                    <a:pt x="388" y="192"/>
                  </a:lnTo>
                  <a:lnTo>
                    <a:pt x="426" y="165"/>
                  </a:lnTo>
                  <a:lnTo>
                    <a:pt x="465" y="140"/>
                  </a:lnTo>
                  <a:lnTo>
                    <a:pt x="506" y="116"/>
                  </a:lnTo>
                  <a:lnTo>
                    <a:pt x="547" y="95"/>
                  </a:lnTo>
                  <a:lnTo>
                    <a:pt x="590" y="76"/>
                  </a:lnTo>
                  <a:lnTo>
                    <a:pt x="634" y="58"/>
                  </a:lnTo>
                  <a:lnTo>
                    <a:pt x="679" y="43"/>
                  </a:lnTo>
                  <a:lnTo>
                    <a:pt x="725" y="30"/>
                  </a:lnTo>
                  <a:lnTo>
                    <a:pt x="771" y="20"/>
                  </a:lnTo>
                  <a:lnTo>
                    <a:pt x="819" y="11"/>
                  </a:lnTo>
                  <a:lnTo>
                    <a:pt x="867" y="5"/>
                  </a:lnTo>
                  <a:lnTo>
                    <a:pt x="916" y="1"/>
                  </a:lnTo>
                  <a:lnTo>
                    <a:pt x="966" y="0"/>
                  </a:lnTo>
                  <a:lnTo>
                    <a:pt x="1016" y="1"/>
                  </a:lnTo>
                  <a:lnTo>
                    <a:pt x="1065" y="5"/>
                  </a:lnTo>
                  <a:lnTo>
                    <a:pt x="1113" y="11"/>
                  </a:lnTo>
                  <a:lnTo>
                    <a:pt x="1160" y="20"/>
                  </a:lnTo>
                  <a:lnTo>
                    <a:pt x="1207" y="30"/>
                  </a:lnTo>
                  <a:lnTo>
                    <a:pt x="1253" y="43"/>
                  </a:lnTo>
                  <a:lnTo>
                    <a:pt x="1297" y="58"/>
                  </a:lnTo>
                  <a:lnTo>
                    <a:pt x="1342" y="76"/>
                  </a:lnTo>
                  <a:lnTo>
                    <a:pt x="1385" y="95"/>
                  </a:lnTo>
                  <a:lnTo>
                    <a:pt x="1426" y="116"/>
                  </a:lnTo>
                  <a:lnTo>
                    <a:pt x="1466" y="140"/>
                  </a:lnTo>
                  <a:lnTo>
                    <a:pt x="1506" y="165"/>
                  </a:lnTo>
                  <a:lnTo>
                    <a:pt x="1544" y="192"/>
                  </a:lnTo>
                  <a:lnTo>
                    <a:pt x="1580" y="221"/>
                  </a:lnTo>
                  <a:lnTo>
                    <a:pt x="1615" y="251"/>
                  </a:lnTo>
                  <a:lnTo>
                    <a:pt x="1649" y="283"/>
                  </a:lnTo>
                  <a:lnTo>
                    <a:pt x="1681" y="316"/>
                  </a:lnTo>
                  <a:lnTo>
                    <a:pt x="1711" y="351"/>
                  </a:lnTo>
                  <a:lnTo>
                    <a:pt x="1740" y="389"/>
                  </a:lnTo>
                  <a:lnTo>
                    <a:pt x="1767" y="426"/>
                  </a:lnTo>
                  <a:lnTo>
                    <a:pt x="1792" y="465"/>
                  </a:lnTo>
                  <a:lnTo>
                    <a:pt x="1815" y="505"/>
                  </a:lnTo>
                  <a:lnTo>
                    <a:pt x="1836" y="547"/>
                  </a:lnTo>
                  <a:lnTo>
                    <a:pt x="1856" y="590"/>
                  </a:lnTo>
                  <a:lnTo>
                    <a:pt x="1873" y="634"/>
                  </a:lnTo>
                  <a:lnTo>
                    <a:pt x="1888" y="679"/>
                  </a:lnTo>
                  <a:lnTo>
                    <a:pt x="1901" y="724"/>
                  </a:lnTo>
                  <a:lnTo>
                    <a:pt x="1913" y="771"/>
                  </a:lnTo>
                  <a:lnTo>
                    <a:pt x="1921" y="819"/>
                  </a:lnTo>
                  <a:lnTo>
                    <a:pt x="1927" y="867"/>
                  </a:lnTo>
                  <a:lnTo>
                    <a:pt x="1931" y="916"/>
                  </a:lnTo>
                  <a:lnTo>
                    <a:pt x="1932" y="966"/>
                  </a:lnTo>
                  <a:lnTo>
                    <a:pt x="1931" y="1016"/>
                  </a:lnTo>
                  <a:lnTo>
                    <a:pt x="1927" y="1064"/>
                  </a:lnTo>
                  <a:lnTo>
                    <a:pt x="1921" y="1112"/>
                  </a:lnTo>
                  <a:lnTo>
                    <a:pt x="1913" y="1160"/>
                  </a:lnTo>
                  <a:lnTo>
                    <a:pt x="1901" y="1207"/>
                  </a:lnTo>
                  <a:lnTo>
                    <a:pt x="1888" y="1253"/>
                  </a:lnTo>
                  <a:lnTo>
                    <a:pt x="1873" y="1297"/>
                  </a:lnTo>
                  <a:lnTo>
                    <a:pt x="1856" y="1342"/>
                  </a:lnTo>
                  <a:lnTo>
                    <a:pt x="1836" y="1384"/>
                  </a:lnTo>
                  <a:lnTo>
                    <a:pt x="1815" y="1426"/>
                  </a:lnTo>
                  <a:lnTo>
                    <a:pt x="1792" y="1466"/>
                  </a:lnTo>
                  <a:lnTo>
                    <a:pt x="1767" y="1506"/>
                  </a:lnTo>
                  <a:lnTo>
                    <a:pt x="1740" y="1544"/>
                  </a:lnTo>
                  <a:lnTo>
                    <a:pt x="1711" y="1580"/>
                  </a:lnTo>
                  <a:lnTo>
                    <a:pt x="1681" y="1615"/>
                  </a:lnTo>
                  <a:lnTo>
                    <a:pt x="1649" y="1649"/>
                  </a:lnTo>
                  <a:lnTo>
                    <a:pt x="1615" y="1681"/>
                  </a:lnTo>
                  <a:lnTo>
                    <a:pt x="1580" y="1711"/>
                  </a:lnTo>
                  <a:lnTo>
                    <a:pt x="1544" y="1739"/>
                  </a:lnTo>
                  <a:lnTo>
                    <a:pt x="1506" y="1767"/>
                  </a:lnTo>
                  <a:lnTo>
                    <a:pt x="1466" y="1792"/>
                  </a:lnTo>
                  <a:lnTo>
                    <a:pt x="1426" y="1815"/>
                  </a:lnTo>
                  <a:lnTo>
                    <a:pt x="1385" y="1837"/>
                  </a:lnTo>
                  <a:lnTo>
                    <a:pt x="1342" y="1856"/>
                  </a:lnTo>
                  <a:lnTo>
                    <a:pt x="1297" y="1873"/>
                  </a:lnTo>
                  <a:lnTo>
                    <a:pt x="1253" y="1888"/>
                  </a:lnTo>
                  <a:lnTo>
                    <a:pt x="1207" y="1902"/>
                  </a:lnTo>
                  <a:lnTo>
                    <a:pt x="1160" y="1913"/>
                  </a:lnTo>
                  <a:lnTo>
                    <a:pt x="1113" y="1921"/>
                  </a:lnTo>
                  <a:lnTo>
                    <a:pt x="1065" y="1927"/>
                  </a:lnTo>
                  <a:lnTo>
                    <a:pt x="1016" y="1931"/>
                  </a:lnTo>
                  <a:lnTo>
                    <a:pt x="966" y="19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33">
              <a:extLst>
                <a:ext uri="{FF2B5EF4-FFF2-40B4-BE49-F238E27FC236}">
                  <a16:creationId xmlns:a16="http://schemas.microsoft.com/office/drawing/2014/main" id="{3F6D2030-8E13-439F-9C73-9A359EBF7C5D}"/>
                </a:ext>
              </a:extLst>
            </p:cNvPr>
            <p:cNvSpPr>
              <a:spLocks noEditPoints="1"/>
            </p:cNvSpPr>
            <p:nvPr/>
          </p:nvSpPr>
          <p:spPr bwMode="auto">
            <a:xfrm>
              <a:off x="346597" y="1721675"/>
              <a:ext cx="158373" cy="158783"/>
            </a:xfrm>
            <a:custGeom>
              <a:avLst/>
              <a:gdLst>
                <a:gd name="T0" fmla="*/ 478 w 1158"/>
                <a:gd name="T1" fmla="*/ 88 h 1160"/>
                <a:gd name="T2" fmla="*/ 361 w 1158"/>
                <a:gd name="T3" fmla="*/ 127 h 1160"/>
                <a:gd name="T4" fmla="*/ 259 w 1158"/>
                <a:gd name="T5" fmla="*/ 193 h 1160"/>
                <a:gd name="T6" fmla="*/ 176 w 1158"/>
                <a:gd name="T7" fmla="*/ 280 h 1160"/>
                <a:gd name="T8" fmla="*/ 116 w 1158"/>
                <a:gd name="T9" fmla="*/ 384 h 1160"/>
                <a:gd name="T10" fmla="*/ 83 w 1158"/>
                <a:gd name="T11" fmla="*/ 503 h 1160"/>
                <a:gd name="T12" fmla="*/ 79 w 1158"/>
                <a:gd name="T13" fmla="*/ 631 h 1160"/>
                <a:gd name="T14" fmla="*/ 107 w 1158"/>
                <a:gd name="T15" fmla="*/ 753 h 1160"/>
                <a:gd name="T16" fmla="*/ 162 w 1158"/>
                <a:gd name="T17" fmla="*/ 860 h 1160"/>
                <a:gd name="T18" fmla="*/ 241 w 1158"/>
                <a:gd name="T19" fmla="*/ 952 h 1160"/>
                <a:gd name="T20" fmla="*/ 340 w 1158"/>
                <a:gd name="T21" fmla="*/ 1022 h 1160"/>
                <a:gd name="T22" fmla="*/ 453 w 1158"/>
                <a:gd name="T23" fmla="*/ 1066 h 1160"/>
                <a:gd name="T24" fmla="*/ 579 w 1158"/>
                <a:gd name="T25" fmla="*/ 1082 h 1160"/>
                <a:gd name="T26" fmla="*/ 704 w 1158"/>
                <a:gd name="T27" fmla="*/ 1066 h 1160"/>
                <a:gd name="T28" fmla="*/ 818 w 1158"/>
                <a:gd name="T29" fmla="*/ 1022 h 1160"/>
                <a:gd name="T30" fmla="*/ 917 w 1158"/>
                <a:gd name="T31" fmla="*/ 952 h 1160"/>
                <a:gd name="T32" fmla="*/ 995 w 1158"/>
                <a:gd name="T33" fmla="*/ 860 h 1160"/>
                <a:gd name="T34" fmla="*/ 1051 w 1158"/>
                <a:gd name="T35" fmla="*/ 753 h 1160"/>
                <a:gd name="T36" fmla="*/ 1078 w 1158"/>
                <a:gd name="T37" fmla="*/ 631 h 1160"/>
                <a:gd name="T38" fmla="*/ 1075 w 1158"/>
                <a:gd name="T39" fmla="*/ 503 h 1160"/>
                <a:gd name="T40" fmla="*/ 1042 w 1158"/>
                <a:gd name="T41" fmla="*/ 384 h 1160"/>
                <a:gd name="T42" fmla="*/ 982 w 1158"/>
                <a:gd name="T43" fmla="*/ 280 h 1160"/>
                <a:gd name="T44" fmla="*/ 899 w 1158"/>
                <a:gd name="T45" fmla="*/ 193 h 1160"/>
                <a:gd name="T46" fmla="*/ 797 w 1158"/>
                <a:gd name="T47" fmla="*/ 127 h 1160"/>
                <a:gd name="T48" fmla="*/ 680 w 1158"/>
                <a:gd name="T49" fmla="*/ 88 h 1160"/>
                <a:gd name="T50" fmla="*/ 579 w 1158"/>
                <a:gd name="T51" fmla="*/ 1160 h 1160"/>
                <a:gd name="T52" fmla="*/ 434 w 1158"/>
                <a:gd name="T53" fmla="*/ 1141 h 1160"/>
                <a:gd name="T54" fmla="*/ 303 w 1158"/>
                <a:gd name="T55" fmla="*/ 1090 h 1160"/>
                <a:gd name="T56" fmla="*/ 189 w 1158"/>
                <a:gd name="T57" fmla="*/ 1009 h 1160"/>
                <a:gd name="T58" fmla="*/ 99 w 1158"/>
                <a:gd name="T59" fmla="*/ 904 h 1160"/>
                <a:gd name="T60" fmla="*/ 35 w 1158"/>
                <a:gd name="T61" fmla="*/ 779 h 1160"/>
                <a:gd name="T62" fmla="*/ 2 w 1158"/>
                <a:gd name="T63" fmla="*/ 639 h 1160"/>
                <a:gd name="T64" fmla="*/ 6 w 1158"/>
                <a:gd name="T65" fmla="*/ 491 h 1160"/>
                <a:gd name="T66" fmla="*/ 44 w 1158"/>
                <a:gd name="T67" fmla="*/ 354 h 1160"/>
                <a:gd name="T68" fmla="*/ 114 w 1158"/>
                <a:gd name="T69" fmla="*/ 233 h 1160"/>
                <a:gd name="T70" fmla="*/ 210 w 1158"/>
                <a:gd name="T71" fmla="*/ 132 h 1160"/>
                <a:gd name="T72" fmla="*/ 328 w 1158"/>
                <a:gd name="T73" fmla="*/ 58 h 1160"/>
                <a:gd name="T74" fmla="*/ 462 w 1158"/>
                <a:gd name="T75" fmla="*/ 12 h 1160"/>
                <a:gd name="T76" fmla="*/ 609 w 1158"/>
                <a:gd name="T77" fmla="*/ 0 h 1160"/>
                <a:gd name="T78" fmla="*/ 751 w 1158"/>
                <a:gd name="T79" fmla="*/ 26 h 1160"/>
                <a:gd name="T80" fmla="*/ 880 w 1158"/>
                <a:gd name="T81" fmla="*/ 84 h 1160"/>
                <a:gd name="T82" fmla="*/ 989 w 1158"/>
                <a:gd name="T83" fmla="*/ 170 h 1160"/>
                <a:gd name="T84" fmla="*/ 1074 w 1158"/>
                <a:gd name="T85" fmla="*/ 280 h 1160"/>
                <a:gd name="T86" fmla="*/ 1133 w 1158"/>
                <a:gd name="T87" fmla="*/ 407 h 1160"/>
                <a:gd name="T88" fmla="*/ 1158 w 1158"/>
                <a:gd name="T89" fmla="*/ 550 h 1160"/>
                <a:gd name="T90" fmla="*/ 1146 w 1158"/>
                <a:gd name="T91" fmla="*/ 697 h 1160"/>
                <a:gd name="T92" fmla="*/ 1102 w 1158"/>
                <a:gd name="T93" fmla="*/ 830 h 1160"/>
                <a:gd name="T94" fmla="*/ 1026 w 1158"/>
                <a:gd name="T95" fmla="*/ 948 h 1160"/>
                <a:gd name="T96" fmla="*/ 925 w 1158"/>
                <a:gd name="T97" fmla="*/ 1044 h 1160"/>
                <a:gd name="T98" fmla="*/ 804 w 1158"/>
                <a:gd name="T99" fmla="*/ 1114 h 1160"/>
                <a:gd name="T100" fmla="*/ 667 w 1158"/>
                <a:gd name="T101" fmla="*/ 1152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160">
                  <a:moveTo>
                    <a:pt x="579" y="77"/>
                  </a:moveTo>
                  <a:lnTo>
                    <a:pt x="553" y="78"/>
                  </a:lnTo>
                  <a:lnTo>
                    <a:pt x="528" y="80"/>
                  </a:lnTo>
                  <a:lnTo>
                    <a:pt x="502" y="83"/>
                  </a:lnTo>
                  <a:lnTo>
                    <a:pt x="478" y="88"/>
                  </a:lnTo>
                  <a:lnTo>
                    <a:pt x="453" y="93"/>
                  </a:lnTo>
                  <a:lnTo>
                    <a:pt x="430" y="100"/>
                  </a:lnTo>
                  <a:lnTo>
                    <a:pt x="407" y="108"/>
                  </a:lnTo>
                  <a:lnTo>
                    <a:pt x="383" y="117"/>
                  </a:lnTo>
                  <a:lnTo>
                    <a:pt x="361" y="127"/>
                  </a:lnTo>
                  <a:lnTo>
                    <a:pt x="340" y="139"/>
                  </a:lnTo>
                  <a:lnTo>
                    <a:pt x="319" y="150"/>
                  </a:lnTo>
                  <a:lnTo>
                    <a:pt x="298" y="163"/>
                  </a:lnTo>
                  <a:lnTo>
                    <a:pt x="278" y="178"/>
                  </a:lnTo>
                  <a:lnTo>
                    <a:pt x="259" y="193"/>
                  </a:lnTo>
                  <a:lnTo>
                    <a:pt x="241" y="208"/>
                  </a:lnTo>
                  <a:lnTo>
                    <a:pt x="224" y="225"/>
                  </a:lnTo>
                  <a:lnTo>
                    <a:pt x="207" y="243"/>
                  </a:lnTo>
                  <a:lnTo>
                    <a:pt x="191" y="261"/>
                  </a:lnTo>
                  <a:lnTo>
                    <a:pt x="176" y="280"/>
                  </a:lnTo>
                  <a:lnTo>
                    <a:pt x="162" y="299"/>
                  </a:lnTo>
                  <a:lnTo>
                    <a:pt x="150" y="319"/>
                  </a:lnTo>
                  <a:lnTo>
                    <a:pt x="137" y="340"/>
                  </a:lnTo>
                  <a:lnTo>
                    <a:pt x="126" y="362"/>
                  </a:lnTo>
                  <a:lnTo>
                    <a:pt x="116" y="384"/>
                  </a:lnTo>
                  <a:lnTo>
                    <a:pt x="107" y="407"/>
                  </a:lnTo>
                  <a:lnTo>
                    <a:pt x="100" y="431"/>
                  </a:lnTo>
                  <a:lnTo>
                    <a:pt x="92" y="454"/>
                  </a:lnTo>
                  <a:lnTo>
                    <a:pt x="87" y="479"/>
                  </a:lnTo>
                  <a:lnTo>
                    <a:pt x="83" y="503"/>
                  </a:lnTo>
                  <a:lnTo>
                    <a:pt x="79" y="529"/>
                  </a:lnTo>
                  <a:lnTo>
                    <a:pt x="77" y="554"/>
                  </a:lnTo>
                  <a:lnTo>
                    <a:pt x="76" y="580"/>
                  </a:lnTo>
                  <a:lnTo>
                    <a:pt x="77" y="605"/>
                  </a:lnTo>
                  <a:lnTo>
                    <a:pt x="79" y="631"/>
                  </a:lnTo>
                  <a:lnTo>
                    <a:pt x="83" y="656"/>
                  </a:lnTo>
                  <a:lnTo>
                    <a:pt x="87" y="681"/>
                  </a:lnTo>
                  <a:lnTo>
                    <a:pt x="92" y="705"/>
                  </a:lnTo>
                  <a:lnTo>
                    <a:pt x="100" y="729"/>
                  </a:lnTo>
                  <a:lnTo>
                    <a:pt x="107" y="753"/>
                  </a:lnTo>
                  <a:lnTo>
                    <a:pt x="116" y="775"/>
                  </a:lnTo>
                  <a:lnTo>
                    <a:pt x="126" y="798"/>
                  </a:lnTo>
                  <a:lnTo>
                    <a:pt x="137" y="819"/>
                  </a:lnTo>
                  <a:lnTo>
                    <a:pt x="150" y="840"/>
                  </a:lnTo>
                  <a:lnTo>
                    <a:pt x="162" y="860"/>
                  </a:lnTo>
                  <a:lnTo>
                    <a:pt x="176" y="880"/>
                  </a:lnTo>
                  <a:lnTo>
                    <a:pt x="191" y="900"/>
                  </a:lnTo>
                  <a:lnTo>
                    <a:pt x="207" y="918"/>
                  </a:lnTo>
                  <a:lnTo>
                    <a:pt x="224" y="935"/>
                  </a:lnTo>
                  <a:lnTo>
                    <a:pt x="241" y="952"/>
                  </a:lnTo>
                  <a:lnTo>
                    <a:pt x="259" y="968"/>
                  </a:lnTo>
                  <a:lnTo>
                    <a:pt x="278" y="982"/>
                  </a:lnTo>
                  <a:lnTo>
                    <a:pt x="298" y="996"/>
                  </a:lnTo>
                  <a:lnTo>
                    <a:pt x="319" y="1009"/>
                  </a:lnTo>
                  <a:lnTo>
                    <a:pt x="340" y="1022"/>
                  </a:lnTo>
                  <a:lnTo>
                    <a:pt x="361" y="1032"/>
                  </a:lnTo>
                  <a:lnTo>
                    <a:pt x="383" y="1043"/>
                  </a:lnTo>
                  <a:lnTo>
                    <a:pt x="407" y="1052"/>
                  </a:lnTo>
                  <a:lnTo>
                    <a:pt x="430" y="1060"/>
                  </a:lnTo>
                  <a:lnTo>
                    <a:pt x="453" y="1066"/>
                  </a:lnTo>
                  <a:lnTo>
                    <a:pt x="478" y="1072"/>
                  </a:lnTo>
                  <a:lnTo>
                    <a:pt x="502" y="1076"/>
                  </a:lnTo>
                  <a:lnTo>
                    <a:pt x="528" y="1079"/>
                  </a:lnTo>
                  <a:lnTo>
                    <a:pt x="553" y="1081"/>
                  </a:lnTo>
                  <a:lnTo>
                    <a:pt x="579" y="1082"/>
                  </a:lnTo>
                  <a:lnTo>
                    <a:pt x="604" y="1081"/>
                  </a:lnTo>
                  <a:lnTo>
                    <a:pt x="630" y="1079"/>
                  </a:lnTo>
                  <a:lnTo>
                    <a:pt x="655" y="1076"/>
                  </a:lnTo>
                  <a:lnTo>
                    <a:pt x="680" y="1072"/>
                  </a:lnTo>
                  <a:lnTo>
                    <a:pt x="704" y="1066"/>
                  </a:lnTo>
                  <a:lnTo>
                    <a:pt x="728" y="1060"/>
                  </a:lnTo>
                  <a:lnTo>
                    <a:pt x="751" y="1052"/>
                  </a:lnTo>
                  <a:lnTo>
                    <a:pt x="774" y="1043"/>
                  </a:lnTo>
                  <a:lnTo>
                    <a:pt x="797" y="1032"/>
                  </a:lnTo>
                  <a:lnTo>
                    <a:pt x="818" y="1022"/>
                  </a:lnTo>
                  <a:lnTo>
                    <a:pt x="839" y="1009"/>
                  </a:lnTo>
                  <a:lnTo>
                    <a:pt x="859" y="996"/>
                  </a:lnTo>
                  <a:lnTo>
                    <a:pt x="880" y="982"/>
                  </a:lnTo>
                  <a:lnTo>
                    <a:pt x="899" y="968"/>
                  </a:lnTo>
                  <a:lnTo>
                    <a:pt x="917" y="952"/>
                  </a:lnTo>
                  <a:lnTo>
                    <a:pt x="934" y="935"/>
                  </a:lnTo>
                  <a:lnTo>
                    <a:pt x="951" y="918"/>
                  </a:lnTo>
                  <a:lnTo>
                    <a:pt x="967" y="900"/>
                  </a:lnTo>
                  <a:lnTo>
                    <a:pt x="982" y="880"/>
                  </a:lnTo>
                  <a:lnTo>
                    <a:pt x="995" y="860"/>
                  </a:lnTo>
                  <a:lnTo>
                    <a:pt x="1008" y="840"/>
                  </a:lnTo>
                  <a:lnTo>
                    <a:pt x="1021" y="819"/>
                  </a:lnTo>
                  <a:lnTo>
                    <a:pt x="1032" y="798"/>
                  </a:lnTo>
                  <a:lnTo>
                    <a:pt x="1042" y="775"/>
                  </a:lnTo>
                  <a:lnTo>
                    <a:pt x="1051" y="753"/>
                  </a:lnTo>
                  <a:lnTo>
                    <a:pt x="1058" y="729"/>
                  </a:lnTo>
                  <a:lnTo>
                    <a:pt x="1066" y="705"/>
                  </a:lnTo>
                  <a:lnTo>
                    <a:pt x="1071" y="681"/>
                  </a:lnTo>
                  <a:lnTo>
                    <a:pt x="1075" y="656"/>
                  </a:lnTo>
                  <a:lnTo>
                    <a:pt x="1078" y="631"/>
                  </a:lnTo>
                  <a:lnTo>
                    <a:pt x="1081" y="605"/>
                  </a:lnTo>
                  <a:lnTo>
                    <a:pt x="1082" y="580"/>
                  </a:lnTo>
                  <a:lnTo>
                    <a:pt x="1081" y="554"/>
                  </a:lnTo>
                  <a:lnTo>
                    <a:pt x="1078" y="529"/>
                  </a:lnTo>
                  <a:lnTo>
                    <a:pt x="1075" y="503"/>
                  </a:lnTo>
                  <a:lnTo>
                    <a:pt x="1071" y="479"/>
                  </a:lnTo>
                  <a:lnTo>
                    <a:pt x="1066" y="454"/>
                  </a:lnTo>
                  <a:lnTo>
                    <a:pt x="1058" y="431"/>
                  </a:lnTo>
                  <a:lnTo>
                    <a:pt x="1051" y="407"/>
                  </a:lnTo>
                  <a:lnTo>
                    <a:pt x="1042" y="384"/>
                  </a:lnTo>
                  <a:lnTo>
                    <a:pt x="1032" y="362"/>
                  </a:lnTo>
                  <a:lnTo>
                    <a:pt x="1021" y="340"/>
                  </a:lnTo>
                  <a:lnTo>
                    <a:pt x="1008" y="319"/>
                  </a:lnTo>
                  <a:lnTo>
                    <a:pt x="995" y="299"/>
                  </a:lnTo>
                  <a:lnTo>
                    <a:pt x="982" y="280"/>
                  </a:lnTo>
                  <a:lnTo>
                    <a:pt x="967" y="261"/>
                  </a:lnTo>
                  <a:lnTo>
                    <a:pt x="951" y="243"/>
                  </a:lnTo>
                  <a:lnTo>
                    <a:pt x="934" y="225"/>
                  </a:lnTo>
                  <a:lnTo>
                    <a:pt x="917" y="208"/>
                  </a:lnTo>
                  <a:lnTo>
                    <a:pt x="899" y="193"/>
                  </a:lnTo>
                  <a:lnTo>
                    <a:pt x="880" y="178"/>
                  </a:lnTo>
                  <a:lnTo>
                    <a:pt x="859" y="163"/>
                  </a:lnTo>
                  <a:lnTo>
                    <a:pt x="839" y="150"/>
                  </a:lnTo>
                  <a:lnTo>
                    <a:pt x="818" y="139"/>
                  </a:lnTo>
                  <a:lnTo>
                    <a:pt x="797" y="127"/>
                  </a:lnTo>
                  <a:lnTo>
                    <a:pt x="774" y="117"/>
                  </a:lnTo>
                  <a:lnTo>
                    <a:pt x="751" y="108"/>
                  </a:lnTo>
                  <a:lnTo>
                    <a:pt x="728" y="100"/>
                  </a:lnTo>
                  <a:lnTo>
                    <a:pt x="704" y="93"/>
                  </a:lnTo>
                  <a:lnTo>
                    <a:pt x="680" y="88"/>
                  </a:lnTo>
                  <a:lnTo>
                    <a:pt x="655" y="83"/>
                  </a:lnTo>
                  <a:lnTo>
                    <a:pt x="630" y="80"/>
                  </a:lnTo>
                  <a:lnTo>
                    <a:pt x="604" y="78"/>
                  </a:lnTo>
                  <a:lnTo>
                    <a:pt x="579" y="77"/>
                  </a:lnTo>
                  <a:close/>
                  <a:moveTo>
                    <a:pt x="579" y="1160"/>
                  </a:moveTo>
                  <a:lnTo>
                    <a:pt x="549" y="1159"/>
                  </a:lnTo>
                  <a:lnTo>
                    <a:pt x="519" y="1157"/>
                  </a:lnTo>
                  <a:lnTo>
                    <a:pt x="491" y="1152"/>
                  </a:lnTo>
                  <a:lnTo>
                    <a:pt x="462" y="1148"/>
                  </a:lnTo>
                  <a:lnTo>
                    <a:pt x="434" y="1141"/>
                  </a:lnTo>
                  <a:lnTo>
                    <a:pt x="407" y="1133"/>
                  </a:lnTo>
                  <a:lnTo>
                    <a:pt x="380" y="1125"/>
                  </a:lnTo>
                  <a:lnTo>
                    <a:pt x="354" y="1114"/>
                  </a:lnTo>
                  <a:lnTo>
                    <a:pt x="328" y="1103"/>
                  </a:lnTo>
                  <a:lnTo>
                    <a:pt x="303" y="1090"/>
                  </a:lnTo>
                  <a:lnTo>
                    <a:pt x="278" y="1076"/>
                  </a:lnTo>
                  <a:lnTo>
                    <a:pt x="255" y="1060"/>
                  </a:lnTo>
                  <a:lnTo>
                    <a:pt x="232" y="1044"/>
                  </a:lnTo>
                  <a:lnTo>
                    <a:pt x="210" y="1027"/>
                  </a:lnTo>
                  <a:lnTo>
                    <a:pt x="189" y="1009"/>
                  </a:lnTo>
                  <a:lnTo>
                    <a:pt x="169" y="990"/>
                  </a:lnTo>
                  <a:lnTo>
                    <a:pt x="150" y="970"/>
                  </a:lnTo>
                  <a:lnTo>
                    <a:pt x="131" y="948"/>
                  </a:lnTo>
                  <a:lnTo>
                    <a:pt x="114" y="926"/>
                  </a:lnTo>
                  <a:lnTo>
                    <a:pt x="99" y="904"/>
                  </a:lnTo>
                  <a:lnTo>
                    <a:pt x="84" y="880"/>
                  </a:lnTo>
                  <a:lnTo>
                    <a:pt x="69" y="856"/>
                  </a:lnTo>
                  <a:lnTo>
                    <a:pt x="56" y="830"/>
                  </a:lnTo>
                  <a:lnTo>
                    <a:pt x="44" y="805"/>
                  </a:lnTo>
                  <a:lnTo>
                    <a:pt x="35" y="779"/>
                  </a:lnTo>
                  <a:lnTo>
                    <a:pt x="25" y="752"/>
                  </a:lnTo>
                  <a:lnTo>
                    <a:pt x="18" y="724"/>
                  </a:lnTo>
                  <a:lnTo>
                    <a:pt x="11" y="697"/>
                  </a:lnTo>
                  <a:lnTo>
                    <a:pt x="6" y="668"/>
                  </a:lnTo>
                  <a:lnTo>
                    <a:pt x="2" y="639"/>
                  </a:lnTo>
                  <a:lnTo>
                    <a:pt x="0" y="609"/>
                  </a:lnTo>
                  <a:lnTo>
                    <a:pt x="0" y="580"/>
                  </a:lnTo>
                  <a:lnTo>
                    <a:pt x="0" y="550"/>
                  </a:lnTo>
                  <a:lnTo>
                    <a:pt x="2" y="521"/>
                  </a:lnTo>
                  <a:lnTo>
                    <a:pt x="6" y="491"/>
                  </a:lnTo>
                  <a:lnTo>
                    <a:pt x="11" y="463"/>
                  </a:lnTo>
                  <a:lnTo>
                    <a:pt x="18" y="435"/>
                  </a:lnTo>
                  <a:lnTo>
                    <a:pt x="25" y="407"/>
                  </a:lnTo>
                  <a:lnTo>
                    <a:pt x="35" y="381"/>
                  </a:lnTo>
                  <a:lnTo>
                    <a:pt x="44" y="354"/>
                  </a:lnTo>
                  <a:lnTo>
                    <a:pt x="56" y="329"/>
                  </a:lnTo>
                  <a:lnTo>
                    <a:pt x="69" y="303"/>
                  </a:lnTo>
                  <a:lnTo>
                    <a:pt x="84" y="280"/>
                  </a:lnTo>
                  <a:lnTo>
                    <a:pt x="99" y="255"/>
                  </a:lnTo>
                  <a:lnTo>
                    <a:pt x="114" y="233"/>
                  </a:lnTo>
                  <a:lnTo>
                    <a:pt x="131" y="211"/>
                  </a:lnTo>
                  <a:lnTo>
                    <a:pt x="150" y="191"/>
                  </a:lnTo>
                  <a:lnTo>
                    <a:pt x="169" y="170"/>
                  </a:lnTo>
                  <a:lnTo>
                    <a:pt x="189" y="151"/>
                  </a:lnTo>
                  <a:lnTo>
                    <a:pt x="210" y="132"/>
                  </a:lnTo>
                  <a:lnTo>
                    <a:pt x="232" y="115"/>
                  </a:lnTo>
                  <a:lnTo>
                    <a:pt x="255" y="99"/>
                  </a:lnTo>
                  <a:lnTo>
                    <a:pt x="278" y="84"/>
                  </a:lnTo>
                  <a:lnTo>
                    <a:pt x="303" y="71"/>
                  </a:lnTo>
                  <a:lnTo>
                    <a:pt x="328" y="58"/>
                  </a:lnTo>
                  <a:lnTo>
                    <a:pt x="354" y="46"/>
                  </a:lnTo>
                  <a:lnTo>
                    <a:pt x="380" y="35"/>
                  </a:lnTo>
                  <a:lnTo>
                    <a:pt x="407" y="26"/>
                  </a:lnTo>
                  <a:lnTo>
                    <a:pt x="434" y="18"/>
                  </a:lnTo>
                  <a:lnTo>
                    <a:pt x="462" y="12"/>
                  </a:lnTo>
                  <a:lnTo>
                    <a:pt x="491" y="7"/>
                  </a:lnTo>
                  <a:lnTo>
                    <a:pt x="519" y="4"/>
                  </a:lnTo>
                  <a:lnTo>
                    <a:pt x="549" y="0"/>
                  </a:lnTo>
                  <a:lnTo>
                    <a:pt x="579" y="0"/>
                  </a:lnTo>
                  <a:lnTo>
                    <a:pt x="609" y="0"/>
                  </a:lnTo>
                  <a:lnTo>
                    <a:pt x="638" y="4"/>
                  </a:lnTo>
                  <a:lnTo>
                    <a:pt x="667" y="7"/>
                  </a:lnTo>
                  <a:lnTo>
                    <a:pt x="696" y="12"/>
                  </a:lnTo>
                  <a:lnTo>
                    <a:pt x="723" y="18"/>
                  </a:lnTo>
                  <a:lnTo>
                    <a:pt x="751" y="26"/>
                  </a:lnTo>
                  <a:lnTo>
                    <a:pt x="778" y="35"/>
                  </a:lnTo>
                  <a:lnTo>
                    <a:pt x="804" y="46"/>
                  </a:lnTo>
                  <a:lnTo>
                    <a:pt x="830" y="58"/>
                  </a:lnTo>
                  <a:lnTo>
                    <a:pt x="855" y="71"/>
                  </a:lnTo>
                  <a:lnTo>
                    <a:pt x="880" y="84"/>
                  </a:lnTo>
                  <a:lnTo>
                    <a:pt x="903" y="99"/>
                  </a:lnTo>
                  <a:lnTo>
                    <a:pt x="925" y="115"/>
                  </a:lnTo>
                  <a:lnTo>
                    <a:pt x="948" y="132"/>
                  </a:lnTo>
                  <a:lnTo>
                    <a:pt x="969" y="151"/>
                  </a:lnTo>
                  <a:lnTo>
                    <a:pt x="989" y="170"/>
                  </a:lnTo>
                  <a:lnTo>
                    <a:pt x="1008" y="191"/>
                  </a:lnTo>
                  <a:lnTo>
                    <a:pt x="1026" y="211"/>
                  </a:lnTo>
                  <a:lnTo>
                    <a:pt x="1043" y="233"/>
                  </a:lnTo>
                  <a:lnTo>
                    <a:pt x="1059" y="255"/>
                  </a:lnTo>
                  <a:lnTo>
                    <a:pt x="1074" y="280"/>
                  </a:lnTo>
                  <a:lnTo>
                    <a:pt x="1089" y="303"/>
                  </a:lnTo>
                  <a:lnTo>
                    <a:pt x="1102" y="329"/>
                  </a:lnTo>
                  <a:lnTo>
                    <a:pt x="1113" y="354"/>
                  </a:lnTo>
                  <a:lnTo>
                    <a:pt x="1123" y="381"/>
                  </a:lnTo>
                  <a:lnTo>
                    <a:pt x="1133" y="407"/>
                  </a:lnTo>
                  <a:lnTo>
                    <a:pt x="1140" y="435"/>
                  </a:lnTo>
                  <a:lnTo>
                    <a:pt x="1146" y="463"/>
                  </a:lnTo>
                  <a:lnTo>
                    <a:pt x="1152" y="491"/>
                  </a:lnTo>
                  <a:lnTo>
                    <a:pt x="1156" y="521"/>
                  </a:lnTo>
                  <a:lnTo>
                    <a:pt x="1158" y="550"/>
                  </a:lnTo>
                  <a:lnTo>
                    <a:pt x="1158" y="580"/>
                  </a:lnTo>
                  <a:lnTo>
                    <a:pt x="1158" y="609"/>
                  </a:lnTo>
                  <a:lnTo>
                    <a:pt x="1156" y="639"/>
                  </a:lnTo>
                  <a:lnTo>
                    <a:pt x="1152" y="668"/>
                  </a:lnTo>
                  <a:lnTo>
                    <a:pt x="1146" y="697"/>
                  </a:lnTo>
                  <a:lnTo>
                    <a:pt x="1140" y="724"/>
                  </a:lnTo>
                  <a:lnTo>
                    <a:pt x="1133" y="752"/>
                  </a:lnTo>
                  <a:lnTo>
                    <a:pt x="1123" y="779"/>
                  </a:lnTo>
                  <a:lnTo>
                    <a:pt x="1113" y="805"/>
                  </a:lnTo>
                  <a:lnTo>
                    <a:pt x="1102" y="830"/>
                  </a:lnTo>
                  <a:lnTo>
                    <a:pt x="1089" y="856"/>
                  </a:lnTo>
                  <a:lnTo>
                    <a:pt x="1074" y="880"/>
                  </a:lnTo>
                  <a:lnTo>
                    <a:pt x="1059" y="904"/>
                  </a:lnTo>
                  <a:lnTo>
                    <a:pt x="1043" y="926"/>
                  </a:lnTo>
                  <a:lnTo>
                    <a:pt x="1026" y="948"/>
                  </a:lnTo>
                  <a:lnTo>
                    <a:pt x="1008" y="970"/>
                  </a:lnTo>
                  <a:lnTo>
                    <a:pt x="989" y="990"/>
                  </a:lnTo>
                  <a:lnTo>
                    <a:pt x="969" y="1009"/>
                  </a:lnTo>
                  <a:lnTo>
                    <a:pt x="948" y="1027"/>
                  </a:lnTo>
                  <a:lnTo>
                    <a:pt x="925" y="1044"/>
                  </a:lnTo>
                  <a:lnTo>
                    <a:pt x="903" y="1060"/>
                  </a:lnTo>
                  <a:lnTo>
                    <a:pt x="880" y="1076"/>
                  </a:lnTo>
                  <a:lnTo>
                    <a:pt x="855" y="1090"/>
                  </a:lnTo>
                  <a:lnTo>
                    <a:pt x="830" y="1103"/>
                  </a:lnTo>
                  <a:lnTo>
                    <a:pt x="804" y="1114"/>
                  </a:lnTo>
                  <a:lnTo>
                    <a:pt x="778" y="1125"/>
                  </a:lnTo>
                  <a:lnTo>
                    <a:pt x="751" y="1133"/>
                  </a:lnTo>
                  <a:lnTo>
                    <a:pt x="723" y="1141"/>
                  </a:lnTo>
                  <a:lnTo>
                    <a:pt x="696" y="1148"/>
                  </a:lnTo>
                  <a:lnTo>
                    <a:pt x="667" y="1152"/>
                  </a:lnTo>
                  <a:lnTo>
                    <a:pt x="638" y="1157"/>
                  </a:lnTo>
                  <a:lnTo>
                    <a:pt x="609" y="1159"/>
                  </a:lnTo>
                  <a:lnTo>
                    <a:pt x="579" y="1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34">
              <a:extLst>
                <a:ext uri="{FF2B5EF4-FFF2-40B4-BE49-F238E27FC236}">
                  <a16:creationId xmlns:a16="http://schemas.microsoft.com/office/drawing/2014/main" id="{68CB69EE-0FA3-4FC1-8BBB-20A82A626586}"/>
                </a:ext>
              </a:extLst>
            </p:cNvPr>
            <p:cNvSpPr>
              <a:spLocks noEditPoints="1"/>
            </p:cNvSpPr>
            <p:nvPr/>
          </p:nvSpPr>
          <p:spPr bwMode="auto">
            <a:xfrm>
              <a:off x="399524" y="1774603"/>
              <a:ext cx="52928" cy="52928"/>
            </a:xfrm>
            <a:custGeom>
              <a:avLst/>
              <a:gdLst>
                <a:gd name="T0" fmla="*/ 171 w 387"/>
                <a:gd name="T1" fmla="*/ 80 h 387"/>
                <a:gd name="T2" fmla="*/ 139 w 387"/>
                <a:gd name="T3" fmla="*/ 92 h 387"/>
                <a:gd name="T4" fmla="*/ 112 w 387"/>
                <a:gd name="T5" fmla="*/ 112 h 387"/>
                <a:gd name="T6" fmla="*/ 92 w 387"/>
                <a:gd name="T7" fmla="*/ 138 h 387"/>
                <a:gd name="T8" fmla="*/ 80 w 387"/>
                <a:gd name="T9" fmla="*/ 170 h 387"/>
                <a:gd name="T10" fmla="*/ 78 w 387"/>
                <a:gd name="T11" fmla="*/ 205 h 387"/>
                <a:gd name="T12" fmla="*/ 87 w 387"/>
                <a:gd name="T13" fmla="*/ 239 h 387"/>
                <a:gd name="T14" fmla="*/ 105 w 387"/>
                <a:gd name="T15" fmla="*/ 268 h 387"/>
                <a:gd name="T16" fmla="*/ 129 w 387"/>
                <a:gd name="T17" fmla="*/ 290 h 387"/>
                <a:gd name="T18" fmla="*/ 160 w 387"/>
                <a:gd name="T19" fmla="*/ 304 h 387"/>
                <a:gd name="T20" fmla="*/ 194 w 387"/>
                <a:gd name="T21" fmla="*/ 309 h 387"/>
                <a:gd name="T22" fmla="*/ 228 w 387"/>
                <a:gd name="T23" fmla="*/ 304 h 387"/>
                <a:gd name="T24" fmla="*/ 259 w 387"/>
                <a:gd name="T25" fmla="*/ 290 h 387"/>
                <a:gd name="T26" fmla="*/ 283 w 387"/>
                <a:gd name="T27" fmla="*/ 268 h 387"/>
                <a:gd name="T28" fmla="*/ 300 w 387"/>
                <a:gd name="T29" fmla="*/ 239 h 387"/>
                <a:gd name="T30" fmla="*/ 310 w 387"/>
                <a:gd name="T31" fmla="*/ 205 h 387"/>
                <a:gd name="T32" fmla="*/ 308 w 387"/>
                <a:gd name="T33" fmla="*/ 170 h 387"/>
                <a:gd name="T34" fmla="*/ 296 w 387"/>
                <a:gd name="T35" fmla="*/ 138 h 387"/>
                <a:gd name="T36" fmla="*/ 276 w 387"/>
                <a:gd name="T37" fmla="*/ 112 h 387"/>
                <a:gd name="T38" fmla="*/ 249 w 387"/>
                <a:gd name="T39" fmla="*/ 92 h 387"/>
                <a:gd name="T40" fmla="*/ 217 w 387"/>
                <a:gd name="T41" fmla="*/ 80 h 387"/>
                <a:gd name="T42" fmla="*/ 194 w 387"/>
                <a:gd name="T43" fmla="*/ 387 h 387"/>
                <a:gd name="T44" fmla="*/ 137 w 387"/>
                <a:gd name="T45" fmla="*/ 379 h 387"/>
                <a:gd name="T46" fmla="*/ 85 w 387"/>
                <a:gd name="T47" fmla="*/ 354 h 387"/>
                <a:gd name="T48" fmla="*/ 45 w 387"/>
                <a:gd name="T49" fmla="*/ 317 h 387"/>
                <a:gd name="T50" fmla="*/ 15 w 387"/>
                <a:gd name="T51" fmla="*/ 269 h 387"/>
                <a:gd name="T52" fmla="*/ 2 w 387"/>
                <a:gd name="T53" fmla="*/ 214 h 387"/>
                <a:gd name="T54" fmla="*/ 5 w 387"/>
                <a:gd name="T55" fmla="*/ 155 h 387"/>
                <a:gd name="T56" fmla="*/ 24 w 387"/>
                <a:gd name="T57" fmla="*/ 102 h 387"/>
                <a:gd name="T58" fmla="*/ 57 w 387"/>
                <a:gd name="T59" fmla="*/ 58 h 387"/>
                <a:gd name="T60" fmla="*/ 101 w 387"/>
                <a:gd name="T61" fmla="*/ 24 h 387"/>
                <a:gd name="T62" fmla="*/ 155 w 387"/>
                <a:gd name="T63" fmla="*/ 4 h 387"/>
                <a:gd name="T64" fmla="*/ 214 w 387"/>
                <a:gd name="T65" fmla="*/ 1 h 387"/>
                <a:gd name="T66" fmla="*/ 269 w 387"/>
                <a:gd name="T67" fmla="*/ 16 h 387"/>
                <a:gd name="T68" fmla="*/ 317 w 387"/>
                <a:gd name="T69" fmla="*/ 45 h 387"/>
                <a:gd name="T70" fmla="*/ 354 w 387"/>
                <a:gd name="T71" fmla="*/ 86 h 387"/>
                <a:gd name="T72" fmla="*/ 379 w 387"/>
                <a:gd name="T73" fmla="*/ 136 h 387"/>
                <a:gd name="T74" fmla="*/ 387 w 387"/>
                <a:gd name="T75" fmla="*/ 194 h 387"/>
                <a:gd name="T76" fmla="*/ 379 w 387"/>
                <a:gd name="T77" fmla="*/ 251 h 387"/>
                <a:gd name="T78" fmla="*/ 354 w 387"/>
                <a:gd name="T79" fmla="*/ 302 h 387"/>
                <a:gd name="T80" fmla="*/ 317 w 387"/>
                <a:gd name="T81" fmla="*/ 342 h 387"/>
                <a:gd name="T82" fmla="*/ 269 w 387"/>
                <a:gd name="T83" fmla="*/ 372 h 387"/>
                <a:gd name="T84" fmla="*/ 214 w 387"/>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7" h="387">
                  <a:moveTo>
                    <a:pt x="194" y="78"/>
                  </a:moveTo>
                  <a:lnTo>
                    <a:pt x="182" y="79"/>
                  </a:lnTo>
                  <a:lnTo>
                    <a:pt x="171" y="80"/>
                  </a:lnTo>
                  <a:lnTo>
                    <a:pt x="160" y="83"/>
                  </a:lnTo>
                  <a:lnTo>
                    <a:pt x="149" y="87"/>
                  </a:lnTo>
                  <a:lnTo>
                    <a:pt x="139" y="92"/>
                  </a:lnTo>
                  <a:lnTo>
                    <a:pt x="129" y="98"/>
                  </a:lnTo>
                  <a:lnTo>
                    <a:pt x="121" y="104"/>
                  </a:lnTo>
                  <a:lnTo>
                    <a:pt x="112" y="112"/>
                  </a:lnTo>
                  <a:lnTo>
                    <a:pt x="105" y="120"/>
                  </a:lnTo>
                  <a:lnTo>
                    <a:pt x="98" y="129"/>
                  </a:lnTo>
                  <a:lnTo>
                    <a:pt x="92" y="138"/>
                  </a:lnTo>
                  <a:lnTo>
                    <a:pt x="87" y="149"/>
                  </a:lnTo>
                  <a:lnTo>
                    <a:pt x="83" y="160"/>
                  </a:lnTo>
                  <a:lnTo>
                    <a:pt x="80" y="170"/>
                  </a:lnTo>
                  <a:lnTo>
                    <a:pt x="78" y="182"/>
                  </a:lnTo>
                  <a:lnTo>
                    <a:pt x="78" y="194"/>
                  </a:lnTo>
                  <a:lnTo>
                    <a:pt x="78" y="205"/>
                  </a:lnTo>
                  <a:lnTo>
                    <a:pt x="80" y="217"/>
                  </a:lnTo>
                  <a:lnTo>
                    <a:pt x="83" y="229"/>
                  </a:lnTo>
                  <a:lnTo>
                    <a:pt x="87" y="239"/>
                  </a:lnTo>
                  <a:lnTo>
                    <a:pt x="92" y="249"/>
                  </a:lnTo>
                  <a:lnTo>
                    <a:pt x="98" y="258"/>
                  </a:lnTo>
                  <a:lnTo>
                    <a:pt x="105" y="268"/>
                  </a:lnTo>
                  <a:lnTo>
                    <a:pt x="112" y="275"/>
                  </a:lnTo>
                  <a:lnTo>
                    <a:pt x="121" y="283"/>
                  </a:lnTo>
                  <a:lnTo>
                    <a:pt x="129" y="290"/>
                  </a:lnTo>
                  <a:lnTo>
                    <a:pt x="139" y="296"/>
                  </a:lnTo>
                  <a:lnTo>
                    <a:pt x="149" y="301"/>
                  </a:lnTo>
                  <a:lnTo>
                    <a:pt x="160" y="304"/>
                  </a:lnTo>
                  <a:lnTo>
                    <a:pt x="171" y="307"/>
                  </a:lnTo>
                  <a:lnTo>
                    <a:pt x="182" y="309"/>
                  </a:lnTo>
                  <a:lnTo>
                    <a:pt x="194" y="309"/>
                  </a:lnTo>
                  <a:lnTo>
                    <a:pt x="206" y="309"/>
                  </a:lnTo>
                  <a:lnTo>
                    <a:pt x="217" y="307"/>
                  </a:lnTo>
                  <a:lnTo>
                    <a:pt x="228" y="304"/>
                  </a:lnTo>
                  <a:lnTo>
                    <a:pt x="239" y="301"/>
                  </a:lnTo>
                  <a:lnTo>
                    <a:pt x="249" y="296"/>
                  </a:lnTo>
                  <a:lnTo>
                    <a:pt x="259" y="290"/>
                  </a:lnTo>
                  <a:lnTo>
                    <a:pt x="267" y="283"/>
                  </a:lnTo>
                  <a:lnTo>
                    <a:pt x="276" y="275"/>
                  </a:lnTo>
                  <a:lnTo>
                    <a:pt x="283" y="268"/>
                  </a:lnTo>
                  <a:lnTo>
                    <a:pt x="290" y="258"/>
                  </a:lnTo>
                  <a:lnTo>
                    <a:pt x="296" y="249"/>
                  </a:lnTo>
                  <a:lnTo>
                    <a:pt x="300" y="239"/>
                  </a:lnTo>
                  <a:lnTo>
                    <a:pt x="304" y="229"/>
                  </a:lnTo>
                  <a:lnTo>
                    <a:pt x="308" y="217"/>
                  </a:lnTo>
                  <a:lnTo>
                    <a:pt x="310" y="205"/>
                  </a:lnTo>
                  <a:lnTo>
                    <a:pt x="310" y="194"/>
                  </a:lnTo>
                  <a:lnTo>
                    <a:pt x="310" y="182"/>
                  </a:lnTo>
                  <a:lnTo>
                    <a:pt x="308" y="170"/>
                  </a:lnTo>
                  <a:lnTo>
                    <a:pt x="304" y="160"/>
                  </a:lnTo>
                  <a:lnTo>
                    <a:pt x="300" y="149"/>
                  </a:lnTo>
                  <a:lnTo>
                    <a:pt x="296" y="138"/>
                  </a:lnTo>
                  <a:lnTo>
                    <a:pt x="290" y="129"/>
                  </a:lnTo>
                  <a:lnTo>
                    <a:pt x="283" y="120"/>
                  </a:lnTo>
                  <a:lnTo>
                    <a:pt x="276" y="112"/>
                  </a:lnTo>
                  <a:lnTo>
                    <a:pt x="267" y="104"/>
                  </a:lnTo>
                  <a:lnTo>
                    <a:pt x="259" y="98"/>
                  </a:lnTo>
                  <a:lnTo>
                    <a:pt x="249" y="92"/>
                  </a:lnTo>
                  <a:lnTo>
                    <a:pt x="239" y="87"/>
                  </a:lnTo>
                  <a:lnTo>
                    <a:pt x="228" y="83"/>
                  </a:lnTo>
                  <a:lnTo>
                    <a:pt x="217" y="80"/>
                  </a:lnTo>
                  <a:lnTo>
                    <a:pt x="206" y="79"/>
                  </a:lnTo>
                  <a:lnTo>
                    <a:pt x="194" y="78"/>
                  </a:lnTo>
                  <a:close/>
                  <a:moveTo>
                    <a:pt x="194" y="387"/>
                  </a:moveTo>
                  <a:lnTo>
                    <a:pt x="174" y="386"/>
                  </a:lnTo>
                  <a:lnTo>
                    <a:pt x="155" y="383"/>
                  </a:lnTo>
                  <a:lnTo>
                    <a:pt x="137" y="379"/>
                  </a:lnTo>
                  <a:lnTo>
                    <a:pt x="118" y="372"/>
                  </a:lnTo>
                  <a:lnTo>
                    <a:pt x="101" y="364"/>
                  </a:lnTo>
                  <a:lnTo>
                    <a:pt x="85" y="354"/>
                  </a:lnTo>
                  <a:lnTo>
                    <a:pt x="71" y="342"/>
                  </a:lnTo>
                  <a:lnTo>
                    <a:pt x="57" y="331"/>
                  </a:lnTo>
                  <a:lnTo>
                    <a:pt x="45" y="317"/>
                  </a:lnTo>
                  <a:lnTo>
                    <a:pt x="33" y="302"/>
                  </a:lnTo>
                  <a:lnTo>
                    <a:pt x="24" y="286"/>
                  </a:lnTo>
                  <a:lnTo>
                    <a:pt x="15" y="269"/>
                  </a:lnTo>
                  <a:lnTo>
                    <a:pt x="9" y="251"/>
                  </a:lnTo>
                  <a:lnTo>
                    <a:pt x="5" y="233"/>
                  </a:lnTo>
                  <a:lnTo>
                    <a:pt x="2" y="214"/>
                  </a:lnTo>
                  <a:lnTo>
                    <a:pt x="0" y="194"/>
                  </a:lnTo>
                  <a:lnTo>
                    <a:pt x="2" y="174"/>
                  </a:lnTo>
                  <a:lnTo>
                    <a:pt x="5" y="155"/>
                  </a:lnTo>
                  <a:lnTo>
                    <a:pt x="9" y="136"/>
                  </a:lnTo>
                  <a:lnTo>
                    <a:pt x="15" y="119"/>
                  </a:lnTo>
                  <a:lnTo>
                    <a:pt x="24" y="102"/>
                  </a:lnTo>
                  <a:lnTo>
                    <a:pt x="33" y="86"/>
                  </a:lnTo>
                  <a:lnTo>
                    <a:pt x="45" y="71"/>
                  </a:lnTo>
                  <a:lnTo>
                    <a:pt x="57" y="58"/>
                  </a:lnTo>
                  <a:lnTo>
                    <a:pt x="71" y="45"/>
                  </a:lnTo>
                  <a:lnTo>
                    <a:pt x="85" y="33"/>
                  </a:lnTo>
                  <a:lnTo>
                    <a:pt x="101" y="24"/>
                  </a:lnTo>
                  <a:lnTo>
                    <a:pt x="118" y="16"/>
                  </a:lnTo>
                  <a:lnTo>
                    <a:pt x="137" y="10"/>
                  </a:lnTo>
                  <a:lnTo>
                    <a:pt x="155" y="4"/>
                  </a:lnTo>
                  <a:lnTo>
                    <a:pt x="174" y="1"/>
                  </a:lnTo>
                  <a:lnTo>
                    <a:pt x="194" y="0"/>
                  </a:lnTo>
                  <a:lnTo>
                    <a:pt x="214" y="1"/>
                  </a:lnTo>
                  <a:lnTo>
                    <a:pt x="233" y="4"/>
                  </a:lnTo>
                  <a:lnTo>
                    <a:pt x="251" y="10"/>
                  </a:lnTo>
                  <a:lnTo>
                    <a:pt x="269" y="16"/>
                  </a:lnTo>
                  <a:lnTo>
                    <a:pt x="286" y="24"/>
                  </a:lnTo>
                  <a:lnTo>
                    <a:pt x="302" y="33"/>
                  </a:lnTo>
                  <a:lnTo>
                    <a:pt x="317" y="45"/>
                  </a:lnTo>
                  <a:lnTo>
                    <a:pt x="331" y="58"/>
                  </a:lnTo>
                  <a:lnTo>
                    <a:pt x="343" y="71"/>
                  </a:lnTo>
                  <a:lnTo>
                    <a:pt x="354" y="86"/>
                  </a:lnTo>
                  <a:lnTo>
                    <a:pt x="364" y="102"/>
                  </a:lnTo>
                  <a:lnTo>
                    <a:pt x="372" y="119"/>
                  </a:lnTo>
                  <a:lnTo>
                    <a:pt x="379" y="136"/>
                  </a:lnTo>
                  <a:lnTo>
                    <a:pt x="383" y="155"/>
                  </a:lnTo>
                  <a:lnTo>
                    <a:pt x="386" y="174"/>
                  </a:lnTo>
                  <a:lnTo>
                    <a:pt x="387" y="194"/>
                  </a:lnTo>
                  <a:lnTo>
                    <a:pt x="386" y="214"/>
                  </a:lnTo>
                  <a:lnTo>
                    <a:pt x="383" y="233"/>
                  </a:lnTo>
                  <a:lnTo>
                    <a:pt x="379" y="251"/>
                  </a:lnTo>
                  <a:lnTo>
                    <a:pt x="372" y="269"/>
                  </a:lnTo>
                  <a:lnTo>
                    <a:pt x="364" y="286"/>
                  </a:lnTo>
                  <a:lnTo>
                    <a:pt x="354" y="302"/>
                  </a:lnTo>
                  <a:lnTo>
                    <a:pt x="343" y="317"/>
                  </a:lnTo>
                  <a:lnTo>
                    <a:pt x="331" y="331"/>
                  </a:lnTo>
                  <a:lnTo>
                    <a:pt x="317" y="342"/>
                  </a:lnTo>
                  <a:lnTo>
                    <a:pt x="302" y="354"/>
                  </a:lnTo>
                  <a:lnTo>
                    <a:pt x="286" y="364"/>
                  </a:lnTo>
                  <a:lnTo>
                    <a:pt x="269" y="372"/>
                  </a:lnTo>
                  <a:lnTo>
                    <a:pt x="251" y="379"/>
                  </a:lnTo>
                  <a:lnTo>
                    <a:pt x="233" y="383"/>
                  </a:lnTo>
                  <a:lnTo>
                    <a:pt x="214" y="386"/>
                  </a:lnTo>
                  <a:lnTo>
                    <a:pt x="194" y="38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5">
              <a:extLst>
                <a:ext uri="{FF2B5EF4-FFF2-40B4-BE49-F238E27FC236}">
                  <a16:creationId xmlns:a16="http://schemas.microsoft.com/office/drawing/2014/main" id="{456AE2A8-8606-4B5C-B5F9-AC350113D732}"/>
                </a:ext>
              </a:extLst>
            </p:cNvPr>
            <p:cNvSpPr>
              <a:spLocks/>
            </p:cNvSpPr>
            <p:nvPr/>
          </p:nvSpPr>
          <p:spPr bwMode="auto">
            <a:xfrm>
              <a:off x="420860" y="1647823"/>
              <a:ext cx="10257" cy="52928"/>
            </a:xfrm>
            <a:custGeom>
              <a:avLst/>
              <a:gdLst>
                <a:gd name="T0" fmla="*/ 38 w 76"/>
                <a:gd name="T1" fmla="*/ 386 h 386"/>
                <a:gd name="T2" fmla="*/ 30 w 76"/>
                <a:gd name="T3" fmla="*/ 386 h 386"/>
                <a:gd name="T4" fmla="*/ 23 w 76"/>
                <a:gd name="T5" fmla="*/ 383 h 386"/>
                <a:gd name="T6" fmla="*/ 17 w 76"/>
                <a:gd name="T7" fmla="*/ 380 h 386"/>
                <a:gd name="T8" fmla="*/ 10 w 76"/>
                <a:gd name="T9" fmla="*/ 376 h 386"/>
                <a:gd name="T10" fmla="*/ 6 w 76"/>
                <a:gd name="T11" fmla="*/ 369 h 386"/>
                <a:gd name="T12" fmla="*/ 2 w 76"/>
                <a:gd name="T13" fmla="*/ 363 h 386"/>
                <a:gd name="T14" fmla="*/ 0 w 76"/>
                <a:gd name="T15" fmla="*/ 355 h 386"/>
                <a:gd name="T16" fmla="*/ 0 w 76"/>
                <a:gd name="T17" fmla="*/ 348 h 386"/>
                <a:gd name="T18" fmla="*/ 0 w 76"/>
                <a:gd name="T19" fmla="*/ 39 h 386"/>
                <a:gd name="T20" fmla="*/ 0 w 76"/>
                <a:gd name="T21" fmla="*/ 31 h 386"/>
                <a:gd name="T22" fmla="*/ 2 w 76"/>
                <a:gd name="T23" fmla="*/ 24 h 386"/>
                <a:gd name="T24" fmla="*/ 6 w 76"/>
                <a:gd name="T25" fmla="*/ 17 h 386"/>
                <a:gd name="T26" fmla="*/ 10 w 76"/>
                <a:gd name="T27" fmla="*/ 11 h 386"/>
                <a:gd name="T28" fmla="*/ 17 w 76"/>
                <a:gd name="T29" fmla="*/ 7 h 386"/>
                <a:gd name="T30" fmla="*/ 23 w 76"/>
                <a:gd name="T31" fmla="*/ 4 h 386"/>
                <a:gd name="T32" fmla="*/ 30 w 76"/>
                <a:gd name="T33" fmla="*/ 0 h 386"/>
                <a:gd name="T34" fmla="*/ 38 w 76"/>
                <a:gd name="T35" fmla="*/ 0 h 386"/>
                <a:gd name="T36" fmla="*/ 45 w 76"/>
                <a:gd name="T37" fmla="*/ 0 h 386"/>
                <a:gd name="T38" fmla="*/ 53 w 76"/>
                <a:gd name="T39" fmla="*/ 4 h 386"/>
                <a:gd name="T40" fmla="*/ 59 w 76"/>
                <a:gd name="T41" fmla="*/ 7 h 386"/>
                <a:gd name="T42" fmla="*/ 66 w 76"/>
                <a:gd name="T43" fmla="*/ 11 h 386"/>
                <a:gd name="T44" fmla="*/ 70 w 76"/>
                <a:gd name="T45" fmla="*/ 17 h 386"/>
                <a:gd name="T46" fmla="*/ 74 w 76"/>
                <a:gd name="T47" fmla="*/ 24 h 386"/>
                <a:gd name="T48" fmla="*/ 76 w 76"/>
                <a:gd name="T49" fmla="*/ 31 h 386"/>
                <a:gd name="T50" fmla="*/ 76 w 76"/>
                <a:gd name="T51" fmla="*/ 39 h 386"/>
                <a:gd name="T52" fmla="*/ 76 w 76"/>
                <a:gd name="T53" fmla="*/ 348 h 386"/>
                <a:gd name="T54" fmla="*/ 76 w 76"/>
                <a:gd name="T55" fmla="*/ 355 h 386"/>
                <a:gd name="T56" fmla="*/ 74 w 76"/>
                <a:gd name="T57" fmla="*/ 363 h 386"/>
                <a:gd name="T58" fmla="*/ 70 w 76"/>
                <a:gd name="T59" fmla="*/ 369 h 386"/>
                <a:gd name="T60" fmla="*/ 66 w 76"/>
                <a:gd name="T61" fmla="*/ 376 h 386"/>
                <a:gd name="T62" fmla="*/ 59 w 76"/>
                <a:gd name="T63" fmla="*/ 380 h 386"/>
                <a:gd name="T64" fmla="*/ 53 w 76"/>
                <a:gd name="T65" fmla="*/ 383 h 386"/>
                <a:gd name="T66" fmla="*/ 45 w 76"/>
                <a:gd name="T67" fmla="*/ 386 h 386"/>
                <a:gd name="T68" fmla="*/ 38 w 76"/>
                <a:gd name="T6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386">
                  <a:moveTo>
                    <a:pt x="38" y="386"/>
                  </a:moveTo>
                  <a:lnTo>
                    <a:pt x="30" y="386"/>
                  </a:lnTo>
                  <a:lnTo>
                    <a:pt x="23" y="383"/>
                  </a:lnTo>
                  <a:lnTo>
                    <a:pt x="17" y="380"/>
                  </a:lnTo>
                  <a:lnTo>
                    <a:pt x="10" y="376"/>
                  </a:lnTo>
                  <a:lnTo>
                    <a:pt x="6" y="369"/>
                  </a:lnTo>
                  <a:lnTo>
                    <a:pt x="2" y="363"/>
                  </a:lnTo>
                  <a:lnTo>
                    <a:pt x="0" y="355"/>
                  </a:lnTo>
                  <a:lnTo>
                    <a:pt x="0" y="348"/>
                  </a:lnTo>
                  <a:lnTo>
                    <a:pt x="0" y="39"/>
                  </a:lnTo>
                  <a:lnTo>
                    <a:pt x="0" y="31"/>
                  </a:lnTo>
                  <a:lnTo>
                    <a:pt x="2" y="24"/>
                  </a:lnTo>
                  <a:lnTo>
                    <a:pt x="6" y="17"/>
                  </a:lnTo>
                  <a:lnTo>
                    <a:pt x="10" y="11"/>
                  </a:lnTo>
                  <a:lnTo>
                    <a:pt x="17" y="7"/>
                  </a:lnTo>
                  <a:lnTo>
                    <a:pt x="23" y="4"/>
                  </a:lnTo>
                  <a:lnTo>
                    <a:pt x="30" y="0"/>
                  </a:lnTo>
                  <a:lnTo>
                    <a:pt x="38" y="0"/>
                  </a:lnTo>
                  <a:lnTo>
                    <a:pt x="45" y="0"/>
                  </a:lnTo>
                  <a:lnTo>
                    <a:pt x="53" y="4"/>
                  </a:lnTo>
                  <a:lnTo>
                    <a:pt x="59" y="7"/>
                  </a:lnTo>
                  <a:lnTo>
                    <a:pt x="66" y="11"/>
                  </a:lnTo>
                  <a:lnTo>
                    <a:pt x="70" y="17"/>
                  </a:lnTo>
                  <a:lnTo>
                    <a:pt x="74" y="24"/>
                  </a:lnTo>
                  <a:lnTo>
                    <a:pt x="76" y="31"/>
                  </a:lnTo>
                  <a:lnTo>
                    <a:pt x="76" y="39"/>
                  </a:lnTo>
                  <a:lnTo>
                    <a:pt x="76" y="348"/>
                  </a:lnTo>
                  <a:lnTo>
                    <a:pt x="76" y="355"/>
                  </a:lnTo>
                  <a:lnTo>
                    <a:pt x="74" y="363"/>
                  </a:lnTo>
                  <a:lnTo>
                    <a:pt x="70" y="369"/>
                  </a:lnTo>
                  <a:lnTo>
                    <a:pt x="66" y="376"/>
                  </a:lnTo>
                  <a:lnTo>
                    <a:pt x="59" y="380"/>
                  </a:lnTo>
                  <a:lnTo>
                    <a:pt x="53" y="383"/>
                  </a:lnTo>
                  <a:lnTo>
                    <a:pt x="45" y="386"/>
                  </a:lnTo>
                  <a:lnTo>
                    <a:pt x="38" y="38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36">
              <a:extLst>
                <a:ext uri="{FF2B5EF4-FFF2-40B4-BE49-F238E27FC236}">
                  <a16:creationId xmlns:a16="http://schemas.microsoft.com/office/drawing/2014/main" id="{19B1DBE8-53E6-4AEF-9855-EF800F4D92FE}"/>
                </a:ext>
              </a:extLst>
            </p:cNvPr>
            <p:cNvSpPr>
              <a:spLocks/>
            </p:cNvSpPr>
            <p:nvPr/>
          </p:nvSpPr>
          <p:spPr bwMode="auto">
            <a:xfrm>
              <a:off x="420860" y="1901383"/>
              <a:ext cx="10257" cy="52928"/>
            </a:xfrm>
            <a:custGeom>
              <a:avLst/>
              <a:gdLst>
                <a:gd name="T0" fmla="*/ 38 w 76"/>
                <a:gd name="T1" fmla="*/ 387 h 387"/>
                <a:gd name="T2" fmla="*/ 30 w 76"/>
                <a:gd name="T3" fmla="*/ 386 h 387"/>
                <a:gd name="T4" fmla="*/ 23 w 76"/>
                <a:gd name="T5" fmla="*/ 384 h 387"/>
                <a:gd name="T6" fmla="*/ 17 w 76"/>
                <a:gd name="T7" fmla="*/ 381 h 387"/>
                <a:gd name="T8" fmla="*/ 10 w 76"/>
                <a:gd name="T9" fmla="*/ 375 h 387"/>
                <a:gd name="T10" fmla="*/ 6 w 76"/>
                <a:gd name="T11" fmla="*/ 370 h 387"/>
                <a:gd name="T12" fmla="*/ 2 w 76"/>
                <a:gd name="T13" fmla="*/ 364 h 387"/>
                <a:gd name="T14" fmla="*/ 0 w 76"/>
                <a:gd name="T15" fmla="*/ 356 h 387"/>
                <a:gd name="T16" fmla="*/ 0 w 76"/>
                <a:gd name="T17" fmla="*/ 348 h 387"/>
                <a:gd name="T18" fmla="*/ 0 w 76"/>
                <a:gd name="T19" fmla="*/ 38 h 387"/>
                <a:gd name="T20" fmla="*/ 0 w 76"/>
                <a:gd name="T21" fmla="*/ 31 h 387"/>
                <a:gd name="T22" fmla="*/ 2 w 76"/>
                <a:gd name="T23" fmla="*/ 23 h 387"/>
                <a:gd name="T24" fmla="*/ 6 w 76"/>
                <a:gd name="T25" fmla="*/ 17 h 387"/>
                <a:gd name="T26" fmla="*/ 10 w 76"/>
                <a:gd name="T27" fmla="*/ 12 h 387"/>
                <a:gd name="T28" fmla="*/ 17 w 76"/>
                <a:gd name="T29" fmla="*/ 6 h 387"/>
                <a:gd name="T30" fmla="*/ 23 w 76"/>
                <a:gd name="T31" fmla="*/ 3 h 387"/>
                <a:gd name="T32" fmla="*/ 30 w 76"/>
                <a:gd name="T33" fmla="*/ 1 h 387"/>
                <a:gd name="T34" fmla="*/ 38 w 76"/>
                <a:gd name="T35" fmla="*/ 0 h 387"/>
                <a:gd name="T36" fmla="*/ 45 w 76"/>
                <a:gd name="T37" fmla="*/ 1 h 387"/>
                <a:gd name="T38" fmla="*/ 53 w 76"/>
                <a:gd name="T39" fmla="*/ 3 h 387"/>
                <a:gd name="T40" fmla="*/ 59 w 76"/>
                <a:gd name="T41" fmla="*/ 6 h 387"/>
                <a:gd name="T42" fmla="*/ 66 w 76"/>
                <a:gd name="T43" fmla="*/ 12 h 387"/>
                <a:gd name="T44" fmla="*/ 70 w 76"/>
                <a:gd name="T45" fmla="*/ 17 h 387"/>
                <a:gd name="T46" fmla="*/ 74 w 76"/>
                <a:gd name="T47" fmla="*/ 23 h 387"/>
                <a:gd name="T48" fmla="*/ 76 w 76"/>
                <a:gd name="T49" fmla="*/ 31 h 387"/>
                <a:gd name="T50" fmla="*/ 76 w 76"/>
                <a:gd name="T51" fmla="*/ 38 h 387"/>
                <a:gd name="T52" fmla="*/ 76 w 76"/>
                <a:gd name="T53" fmla="*/ 348 h 387"/>
                <a:gd name="T54" fmla="*/ 76 w 76"/>
                <a:gd name="T55" fmla="*/ 356 h 387"/>
                <a:gd name="T56" fmla="*/ 74 w 76"/>
                <a:gd name="T57" fmla="*/ 364 h 387"/>
                <a:gd name="T58" fmla="*/ 70 w 76"/>
                <a:gd name="T59" fmla="*/ 370 h 387"/>
                <a:gd name="T60" fmla="*/ 66 w 76"/>
                <a:gd name="T61" fmla="*/ 375 h 387"/>
                <a:gd name="T62" fmla="*/ 59 w 76"/>
                <a:gd name="T63" fmla="*/ 381 h 387"/>
                <a:gd name="T64" fmla="*/ 53 w 76"/>
                <a:gd name="T65" fmla="*/ 384 h 387"/>
                <a:gd name="T66" fmla="*/ 45 w 76"/>
                <a:gd name="T67" fmla="*/ 386 h 387"/>
                <a:gd name="T68" fmla="*/ 38 w 76"/>
                <a:gd name="T6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387">
                  <a:moveTo>
                    <a:pt x="38" y="387"/>
                  </a:moveTo>
                  <a:lnTo>
                    <a:pt x="30" y="386"/>
                  </a:lnTo>
                  <a:lnTo>
                    <a:pt x="23" y="384"/>
                  </a:lnTo>
                  <a:lnTo>
                    <a:pt x="17" y="381"/>
                  </a:lnTo>
                  <a:lnTo>
                    <a:pt x="10" y="375"/>
                  </a:lnTo>
                  <a:lnTo>
                    <a:pt x="6" y="370"/>
                  </a:lnTo>
                  <a:lnTo>
                    <a:pt x="2" y="364"/>
                  </a:lnTo>
                  <a:lnTo>
                    <a:pt x="0" y="356"/>
                  </a:lnTo>
                  <a:lnTo>
                    <a:pt x="0" y="348"/>
                  </a:lnTo>
                  <a:lnTo>
                    <a:pt x="0" y="38"/>
                  </a:lnTo>
                  <a:lnTo>
                    <a:pt x="0" y="31"/>
                  </a:lnTo>
                  <a:lnTo>
                    <a:pt x="2" y="23"/>
                  </a:lnTo>
                  <a:lnTo>
                    <a:pt x="6" y="17"/>
                  </a:lnTo>
                  <a:lnTo>
                    <a:pt x="10" y="12"/>
                  </a:lnTo>
                  <a:lnTo>
                    <a:pt x="17" y="6"/>
                  </a:lnTo>
                  <a:lnTo>
                    <a:pt x="23" y="3"/>
                  </a:lnTo>
                  <a:lnTo>
                    <a:pt x="30" y="1"/>
                  </a:lnTo>
                  <a:lnTo>
                    <a:pt x="38" y="0"/>
                  </a:lnTo>
                  <a:lnTo>
                    <a:pt x="45" y="1"/>
                  </a:lnTo>
                  <a:lnTo>
                    <a:pt x="53" y="3"/>
                  </a:lnTo>
                  <a:lnTo>
                    <a:pt x="59" y="6"/>
                  </a:lnTo>
                  <a:lnTo>
                    <a:pt x="66" y="12"/>
                  </a:lnTo>
                  <a:lnTo>
                    <a:pt x="70" y="17"/>
                  </a:lnTo>
                  <a:lnTo>
                    <a:pt x="74" y="23"/>
                  </a:lnTo>
                  <a:lnTo>
                    <a:pt x="76" y="31"/>
                  </a:lnTo>
                  <a:lnTo>
                    <a:pt x="76" y="38"/>
                  </a:lnTo>
                  <a:lnTo>
                    <a:pt x="76" y="348"/>
                  </a:lnTo>
                  <a:lnTo>
                    <a:pt x="76" y="356"/>
                  </a:lnTo>
                  <a:lnTo>
                    <a:pt x="74" y="364"/>
                  </a:lnTo>
                  <a:lnTo>
                    <a:pt x="70" y="370"/>
                  </a:lnTo>
                  <a:lnTo>
                    <a:pt x="66" y="375"/>
                  </a:lnTo>
                  <a:lnTo>
                    <a:pt x="59" y="381"/>
                  </a:lnTo>
                  <a:lnTo>
                    <a:pt x="53" y="384"/>
                  </a:lnTo>
                  <a:lnTo>
                    <a:pt x="45" y="386"/>
                  </a:lnTo>
                  <a:lnTo>
                    <a:pt x="38" y="38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7">
              <a:extLst>
                <a:ext uri="{FF2B5EF4-FFF2-40B4-BE49-F238E27FC236}">
                  <a16:creationId xmlns:a16="http://schemas.microsoft.com/office/drawing/2014/main" id="{5BA8DC3C-4A3D-4547-B22F-3D06BD1E960D}"/>
                </a:ext>
              </a:extLst>
            </p:cNvPr>
            <p:cNvSpPr>
              <a:spLocks/>
            </p:cNvSpPr>
            <p:nvPr/>
          </p:nvSpPr>
          <p:spPr bwMode="auto">
            <a:xfrm>
              <a:off x="526305" y="1795938"/>
              <a:ext cx="52928" cy="10668"/>
            </a:xfrm>
            <a:custGeom>
              <a:avLst/>
              <a:gdLst>
                <a:gd name="T0" fmla="*/ 348 w 387"/>
                <a:gd name="T1" fmla="*/ 78 h 78"/>
                <a:gd name="T2" fmla="*/ 39 w 387"/>
                <a:gd name="T3" fmla="*/ 78 h 78"/>
                <a:gd name="T4" fmla="*/ 31 w 387"/>
                <a:gd name="T5" fmla="*/ 77 h 78"/>
                <a:gd name="T6" fmla="*/ 24 w 387"/>
                <a:gd name="T7" fmla="*/ 75 h 78"/>
                <a:gd name="T8" fmla="*/ 17 w 387"/>
                <a:gd name="T9" fmla="*/ 71 h 78"/>
                <a:gd name="T10" fmla="*/ 12 w 387"/>
                <a:gd name="T11" fmla="*/ 66 h 78"/>
                <a:gd name="T12" fmla="*/ 7 w 387"/>
                <a:gd name="T13" fmla="*/ 61 h 78"/>
                <a:gd name="T14" fmla="*/ 3 w 387"/>
                <a:gd name="T15" fmla="*/ 54 h 78"/>
                <a:gd name="T16" fmla="*/ 1 w 387"/>
                <a:gd name="T17" fmla="*/ 47 h 78"/>
                <a:gd name="T18" fmla="*/ 0 w 387"/>
                <a:gd name="T19" fmla="*/ 39 h 78"/>
                <a:gd name="T20" fmla="*/ 1 w 387"/>
                <a:gd name="T21" fmla="*/ 31 h 78"/>
                <a:gd name="T22" fmla="*/ 3 w 387"/>
                <a:gd name="T23" fmla="*/ 24 h 78"/>
                <a:gd name="T24" fmla="*/ 7 w 387"/>
                <a:gd name="T25" fmla="*/ 17 h 78"/>
                <a:gd name="T26" fmla="*/ 12 w 387"/>
                <a:gd name="T27" fmla="*/ 11 h 78"/>
                <a:gd name="T28" fmla="*/ 17 w 387"/>
                <a:gd name="T29" fmla="*/ 7 h 78"/>
                <a:gd name="T30" fmla="*/ 24 w 387"/>
                <a:gd name="T31" fmla="*/ 4 h 78"/>
                <a:gd name="T32" fmla="*/ 31 w 387"/>
                <a:gd name="T33" fmla="*/ 1 h 78"/>
                <a:gd name="T34" fmla="*/ 39 w 387"/>
                <a:gd name="T35" fmla="*/ 0 h 78"/>
                <a:gd name="T36" fmla="*/ 348 w 387"/>
                <a:gd name="T37" fmla="*/ 0 h 78"/>
                <a:gd name="T38" fmla="*/ 356 w 387"/>
                <a:gd name="T39" fmla="*/ 1 h 78"/>
                <a:gd name="T40" fmla="*/ 363 w 387"/>
                <a:gd name="T41" fmla="*/ 4 h 78"/>
                <a:gd name="T42" fmla="*/ 370 w 387"/>
                <a:gd name="T43" fmla="*/ 7 h 78"/>
                <a:gd name="T44" fmla="*/ 375 w 387"/>
                <a:gd name="T45" fmla="*/ 11 h 78"/>
                <a:gd name="T46" fmla="*/ 380 w 387"/>
                <a:gd name="T47" fmla="*/ 17 h 78"/>
                <a:gd name="T48" fmla="*/ 384 w 387"/>
                <a:gd name="T49" fmla="*/ 24 h 78"/>
                <a:gd name="T50" fmla="*/ 386 w 387"/>
                <a:gd name="T51" fmla="*/ 31 h 78"/>
                <a:gd name="T52" fmla="*/ 387 w 387"/>
                <a:gd name="T53" fmla="*/ 39 h 78"/>
                <a:gd name="T54" fmla="*/ 386 w 387"/>
                <a:gd name="T55" fmla="*/ 47 h 78"/>
                <a:gd name="T56" fmla="*/ 384 w 387"/>
                <a:gd name="T57" fmla="*/ 54 h 78"/>
                <a:gd name="T58" fmla="*/ 380 w 387"/>
                <a:gd name="T59" fmla="*/ 61 h 78"/>
                <a:gd name="T60" fmla="*/ 375 w 387"/>
                <a:gd name="T61" fmla="*/ 66 h 78"/>
                <a:gd name="T62" fmla="*/ 370 w 387"/>
                <a:gd name="T63" fmla="*/ 71 h 78"/>
                <a:gd name="T64" fmla="*/ 363 w 387"/>
                <a:gd name="T65" fmla="*/ 75 h 78"/>
                <a:gd name="T66" fmla="*/ 356 w 387"/>
                <a:gd name="T67" fmla="*/ 77 h 78"/>
                <a:gd name="T68" fmla="*/ 348 w 387"/>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78">
                  <a:moveTo>
                    <a:pt x="348" y="78"/>
                  </a:moveTo>
                  <a:lnTo>
                    <a:pt x="39" y="78"/>
                  </a:lnTo>
                  <a:lnTo>
                    <a:pt x="31" y="77"/>
                  </a:lnTo>
                  <a:lnTo>
                    <a:pt x="24" y="75"/>
                  </a:lnTo>
                  <a:lnTo>
                    <a:pt x="17" y="71"/>
                  </a:lnTo>
                  <a:lnTo>
                    <a:pt x="12" y="66"/>
                  </a:lnTo>
                  <a:lnTo>
                    <a:pt x="7" y="61"/>
                  </a:lnTo>
                  <a:lnTo>
                    <a:pt x="3" y="54"/>
                  </a:lnTo>
                  <a:lnTo>
                    <a:pt x="1" y="47"/>
                  </a:lnTo>
                  <a:lnTo>
                    <a:pt x="0" y="39"/>
                  </a:lnTo>
                  <a:lnTo>
                    <a:pt x="1" y="31"/>
                  </a:lnTo>
                  <a:lnTo>
                    <a:pt x="3" y="24"/>
                  </a:lnTo>
                  <a:lnTo>
                    <a:pt x="7" y="17"/>
                  </a:lnTo>
                  <a:lnTo>
                    <a:pt x="12" y="11"/>
                  </a:lnTo>
                  <a:lnTo>
                    <a:pt x="17" y="7"/>
                  </a:lnTo>
                  <a:lnTo>
                    <a:pt x="24" y="4"/>
                  </a:lnTo>
                  <a:lnTo>
                    <a:pt x="31" y="1"/>
                  </a:lnTo>
                  <a:lnTo>
                    <a:pt x="39" y="0"/>
                  </a:lnTo>
                  <a:lnTo>
                    <a:pt x="348" y="0"/>
                  </a:lnTo>
                  <a:lnTo>
                    <a:pt x="356" y="1"/>
                  </a:lnTo>
                  <a:lnTo>
                    <a:pt x="363" y="4"/>
                  </a:lnTo>
                  <a:lnTo>
                    <a:pt x="370" y="7"/>
                  </a:lnTo>
                  <a:lnTo>
                    <a:pt x="375" y="11"/>
                  </a:lnTo>
                  <a:lnTo>
                    <a:pt x="380" y="17"/>
                  </a:lnTo>
                  <a:lnTo>
                    <a:pt x="384" y="24"/>
                  </a:lnTo>
                  <a:lnTo>
                    <a:pt x="386" y="31"/>
                  </a:lnTo>
                  <a:lnTo>
                    <a:pt x="387" y="39"/>
                  </a:lnTo>
                  <a:lnTo>
                    <a:pt x="386" y="47"/>
                  </a:lnTo>
                  <a:lnTo>
                    <a:pt x="384" y="54"/>
                  </a:lnTo>
                  <a:lnTo>
                    <a:pt x="380" y="61"/>
                  </a:lnTo>
                  <a:lnTo>
                    <a:pt x="375" y="66"/>
                  </a:lnTo>
                  <a:lnTo>
                    <a:pt x="370" y="71"/>
                  </a:lnTo>
                  <a:lnTo>
                    <a:pt x="363" y="75"/>
                  </a:lnTo>
                  <a:lnTo>
                    <a:pt x="356" y="77"/>
                  </a:lnTo>
                  <a:lnTo>
                    <a:pt x="348" y="7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8">
              <a:extLst>
                <a:ext uri="{FF2B5EF4-FFF2-40B4-BE49-F238E27FC236}">
                  <a16:creationId xmlns:a16="http://schemas.microsoft.com/office/drawing/2014/main" id="{B17D8E7D-EBBF-4F85-90C2-693E37C6745C}"/>
                </a:ext>
              </a:extLst>
            </p:cNvPr>
            <p:cNvSpPr>
              <a:spLocks/>
            </p:cNvSpPr>
            <p:nvPr/>
          </p:nvSpPr>
          <p:spPr bwMode="auto">
            <a:xfrm>
              <a:off x="272744" y="1795938"/>
              <a:ext cx="52928" cy="10668"/>
            </a:xfrm>
            <a:custGeom>
              <a:avLst/>
              <a:gdLst>
                <a:gd name="T0" fmla="*/ 348 w 387"/>
                <a:gd name="T1" fmla="*/ 78 h 78"/>
                <a:gd name="T2" fmla="*/ 39 w 387"/>
                <a:gd name="T3" fmla="*/ 78 h 78"/>
                <a:gd name="T4" fmla="*/ 31 w 387"/>
                <a:gd name="T5" fmla="*/ 77 h 78"/>
                <a:gd name="T6" fmla="*/ 24 w 387"/>
                <a:gd name="T7" fmla="*/ 75 h 78"/>
                <a:gd name="T8" fmla="*/ 17 w 387"/>
                <a:gd name="T9" fmla="*/ 71 h 78"/>
                <a:gd name="T10" fmla="*/ 11 w 387"/>
                <a:gd name="T11" fmla="*/ 66 h 78"/>
                <a:gd name="T12" fmla="*/ 7 w 387"/>
                <a:gd name="T13" fmla="*/ 61 h 78"/>
                <a:gd name="T14" fmla="*/ 3 w 387"/>
                <a:gd name="T15" fmla="*/ 54 h 78"/>
                <a:gd name="T16" fmla="*/ 1 w 387"/>
                <a:gd name="T17" fmla="*/ 47 h 78"/>
                <a:gd name="T18" fmla="*/ 0 w 387"/>
                <a:gd name="T19" fmla="*/ 39 h 78"/>
                <a:gd name="T20" fmla="*/ 1 w 387"/>
                <a:gd name="T21" fmla="*/ 31 h 78"/>
                <a:gd name="T22" fmla="*/ 3 w 387"/>
                <a:gd name="T23" fmla="*/ 24 h 78"/>
                <a:gd name="T24" fmla="*/ 7 w 387"/>
                <a:gd name="T25" fmla="*/ 17 h 78"/>
                <a:gd name="T26" fmla="*/ 11 w 387"/>
                <a:gd name="T27" fmla="*/ 11 h 78"/>
                <a:gd name="T28" fmla="*/ 17 w 387"/>
                <a:gd name="T29" fmla="*/ 7 h 78"/>
                <a:gd name="T30" fmla="*/ 24 w 387"/>
                <a:gd name="T31" fmla="*/ 4 h 78"/>
                <a:gd name="T32" fmla="*/ 31 w 387"/>
                <a:gd name="T33" fmla="*/ 1 h 78"/>
                <a:gd name="T34" fmla="*/ 39 w 387"/>
                <a:gd name="T35" fmla="*/ 0 h 78"/>
                <a:gd name="T36" fmla="*/ 348 w 387"/>
                <a:gd name="T37" fmla="*/ 0 h 78"/>
                <a:gd name="T38" fmla="*/ 356 w 387"/>
                <a:gd name="T39" fmla="*/ 1 h 78"/>
                <a:gd name="T40" fmla="*/ 363 w 387"/>
                <a:gd name="T41" fmla="*/ 4 h 78"/>
                <a:gd name="T42" fmla="*/ 370 w 387"/>
                <a:gd name="T43" fmla="*/ 7 h 78"/>
                <a:gd name="T44" fmla="*/ 375 w 387"/>
                <a:gd name="T45" fmla="*/ 11 h 78"/>
                <a:gd name="T46" fmla="*/ 380 w 387"/>
                <a:gd name="T47" fmla="*/ 17 h 78"/>
                <a:gd name="T48" fmla="*/ 383 w 387"/>
                <a:gd name="T49" fmla="*/ 24 h 78"/>
                <a:gd name="T50" fmla="*/ 385 w 387"/>
                <a:gd name="T51" fmla="*/ 31 h 78"/>
                <a:gd name="T52" fmla="*/ 387 w 387"/>
                <a:gd name="T53" fmla="*/ 39 h 78"/>
                <a:gd name="T54" fmla="*/ 385 w 387"/>
                <a:gd name="T55" fmla="*/ 47 h 78"/>
                <a:gd name="T56" fmla="*/ 383 w 387"/>
                <a:gd name="T57" fmla="*/ 54 h 78"/>
                <a:gd name="T58" fmla="*/ 380 w 387"/>
                <a:gd name="T59" fmla="*/ 61 h 78"/>
                <a:gd name="T60" fmla="*/ 375 w 387"/>
                <a:gd name="T61" fmla="*/ 66 h 78"/>
                <a:gd name="T62" fmla="*/ 370 w 387"/>
                <a:gd name="T63" fmla="*/ 71 h 78"/>
                <a:gd name="T64" fmla="*/ 363 w 387"/>
                <a:gd name="T65" fmla="*/ 75 h 78"/>
                <a:gd name="T66" fmla="*/ 356 w 387"/>
                <a:gd name="T67" fmla="*/ 77 h 78"/>
                <a:gd name="T68" fmla="*/ 348 w 387"/>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78">
                  <a:moveTo>
                    <a:pt x="348" y="78"/>
                  </a:moveTo>
                  <a:lnTo>
                    <a:pt x="39" y="78"/>
                  </a:lnTo>
                  <a:lnTo>
                    <a:pt x="31" y="77"/>
                  </a:lnTo>
                  <a:lnTo>
                    <a:pt x="24" y="75"/>
                  </a:lnTo>
                  <a:lnTo>
                    <a:pt x="17" y="71"/>
                  </a:lnTo>
                  <a:lnTo>
                    <a:pt x="11" y="66"/>
                  </a:lnTo>
                  <a:lnTo>
                    <a:pt x="7" y="61"/>
                  </a:lnTo>
                  <a:lnTo>
                    <a:pt x="3" y="54"/>
                  </a:lnTo>
                  <a:lnTo>
                    <a:pt x="1" y="47"/>
                  </a:lnTo>
                  <a:lnTo>
                    <a:pt x="0" y="39"/>
                  </a:lnTo>
                  <a:lnTo>
                    <a:pt x="1" y="31"/>
                  </a:lnTo>
                  <a:lnTo>
                    <a:pt x="3" y="24"/>
                  </a:lnTo>
                  <a:lnTo>
                    <a:pt x="7" y="17"/>
                  </a:lnTo>
                  <a:lnTo>
                    <a:pt x="11" y="11"/>
                  </a:lnTo>
                  <a:lnTo>
                    <a:pt x="17" y="7"/>
                  </a:lnTo>
                  <a:lnTo>
                    <a:pt x="24" y="4"/>
                  </a:lnTo>
                  <a:lnTo>
                    <a:pt x="31" y="1"/>
                  </a:lnTo>
                  <a:lnTo>
                    <a:pt x="39" y="0"/>
                  </a:lnTo>
                  <a:lnTo>
                    <a:pt x="348" y="0"/>
                  </a:lnTo>
                  <a:lnTo>
                    <a:pt x="356" y="1"/>
                  </a:lnTo>
                  <a:lnTo>
                    <a:pt x="363" y="4"/>
                  </a:lnTo>
                  <a:lnTo>
                    <a:pt x="370" y="7"/>
                  </a:lnTo>
                  <a:lnTo>
                    <a:pt x="375" y="11"/>
                  </a:lnTo>
                  <a:lnTo>
                    <a:pt x="380" y="17"/>
                  </a:lnTo>
                  <a:lnTo>
                    <a:pt x="383" y="24"/>
                  </a:lnTo>
                  <a:lnTo>
                    <a:pt x="385" y="31"/>
                  </a:lnTo>
                  <a:lnTo>
                    <a:pt x="387" y="39"/>
                  </a:lnTo>
                  <a:lnTo>
                    <a:pt x="385" y="47"/>
                  </a:lnTo>
                  <a:lnTo>
                    <a:pt x="383" y="54"/>
                  </a:lnTo>
                  <a:lnTo>
                    <a:pt x="380" y="61"/>
                  </a:lnTo>
                  <a:lnTo>
                    <a:pt x="375" y="66"/>
                  </a:lnTo>
                  <a:lnTo>
                    <a:pt x="370" y="71"/>
                  </a:lnTo>
                  <a:lnTo>
                    <a:pt x="363" y="75"/>
                  </a:lnTo>
                  <a:lnTo>
                    <a:pt x="356" y="77"/>
                  </a:lnTo>
                  <a:lnTo>
                    <a:pt x="348" y="7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2" name="Freeform 271">
            <a:extLst>
              <a:ext uri="{FF2B5EF4-FFF2-40B4-BE49-F238E27FC236}">
                <a16:creationId xmlns:a16="http://schemas.microsoft.com/office/drawing/2014/main" id="{86FEDD29-D6C1-4210-89AC-58A7F4A63C01}"/>
              </a:ext>
            </a:extLst>
          </p:cNvPr>
          <p:cNvSpPr>
            <a:spLocks noChangeAspect="1" noEditPoints="1"/>
          </p:cNvSpPr>
          <p:nvPr/>
        </p:nvSpPr>
        <p:spPr bwMode="auto">
          <a:xfrm>
            <a:off x="661704" y="1647825"/>
            <a:ext cx="304790" cy="306484"/>
          </a:xfrm>
          <a:custGeom>
            <a:avLst/>
            <a:gdLst>
              <a:gd name="T0" fmla="*/ 718 w 903"/>
              <a:gd name="T1" fmla="*/ 206 h 903"/>
              <a:gd name="T2" fmla="*/ 764 w 903"/>
              <a:gd name="T3" fmla="*/ 278 h 903"/>
              <a:gd name="T4" fmla="*/ 372 w 903"/>
              <a:gd name="T5" fmla="*/ 455 h 903"/>
              <a:gd name="T6" fmla="*/ 265 w 903"/>
              <a:gd name="T7" fmla="*/ 490 h 903"/>
              <a:gd name="T8" fmla="*/ 254 w 903"/>
              <a:gd name="T9" fmla="*/ 607 h 903"/>
              <a:gd name="T10" fmla="*/ 357 w 903"/>
              <a:gd name="T11" fmla="*/ 662 h 903"/>
              <a:gd name="T12" fmla="*/ 447 w 903"/>
              <a:gd name="T13" fmla="*/ 588 h 903"/>
              <a:gd name="T14" fmla="*/ 494 w 903"/>
              <a:gd name="T15" fmla="*/ 429 h 903"/>
              <a:gd name="T16" fmla="*/ 526 w 903"/>
              <a:gd name="T17" fmla="*/ 633 h 903"/>
              <a:gd name="T18" fmla="*/ 346 w 903"/>
              <a:gd name="T19" fmla="*/ 752 h 903"/>
              <a:gd name="T20" fmla="*/ 166 w 903"/>
              <a:gd name="T21" fmla="*/ 633 h 903"/>
              <a:gd name="T22" fmla="*/ 208 w 903"/>
              <a:gd name="T23" fmla="*/ 418 h 903"/>
              <a:gd name="T24" fmla="*/ 415 w 903"/>
              <a:gd name="T25" fmla="*/ 373 h 903"/>
              <a:gd name="T26" fmla="*/ 408 w 903"/>
              <a:gd name="T27" fmla="*/ 599 h 903"/>
              <a:gd name="T28" fmla="*/ 331 w 903"/>
              <a:gd name="T29" fmla="*/ 631 h 903"/>
              <a:gd name="T30" fmla="*/ 272 w 903"/>
              <a:gd name="T31" fmla="*/ 572 h 903"/>
              <a:gd name="T32" fmla="*/ 304 w 903"/>
              <a:gd name="T33" fmla="*/ 495 h 903"/>
              <a:gd name="T34" fmla="*/ 350 w 903"/>
              <a:gd name="T35" fmla="*/ 527 h 903"/>
              <a:gd name="T36" fmla="*/ 321 w 903"/>
              <a:gd name="T37" fmla="*/ 574 h 903"/>
              <a:gd name="T38" fmla="*/ 376 w 903"/>
              <a:gd name="T39" fmla="*/ 563 h 903"/>
              <a:gd name="T40" fmla="*/ 658 w 903"/>
              <a:gd name="T41" fmla="*/ 605 h 903"/>
              <a:gd name="T42" fmla="*/ 580 w 903"/>
              <a:gd name="T43" fmla="*/ 769 h 903"/>
              <a:gd name="T44" fmla="*/ 425 w 903"/>
              <a:gd name="T45" fmla="*/ 862 h 903"/>
              <a:gd name="T46" fmla="*/ 238 w 903"/>
              <a:gd name="T47" fmla="*/ 854 h 903"/>
              <a:gd name="T48" fmla="*/ 93 w 903"/>
              <a:gd name="T49" fmla="*/ 746 h 903"/>
              <a:gd name="T50" fmla="*/ 31 w 903"/>
              <a:gd name="T51" fmla="*/ 573 h 903"/>
              <a:gd name="T52" fmla="*/ 76 w 903"/>
              <a:gd name="T53" fmla="*/ 393 h 903"/>
              <a:gd name="T54" fmla="*/ 209 w 903"/>
              <a:gd name="T55" fmla="*/ 272 h 903"/>
              <a:gd name="T56" fmla="*/ 391 w 903"/>
              <a:gd name="T57" fmla="*/ 244 h 903"/>
              <a:gd name="T58" fmla="*/ 548 w 903"/>
              <a:gd name="T59" fmla="*/ 313 h 903"/>
              <a:gd name="T60" fmla="*/ 324 w 903"/>
              <a:gd name="T61" fmla="*/ 333 h 903"/>
              <a:gd name="T62" fmla="*/ 159 w 903"/>
              <a:gd name="T63" fmla="*/ 430 h 903"/>
              <a:gd name="T64" fmla="*/ 122 w 903"/>
              <a:gd name="T65" fmla="*/ 579 h 903"/>
              <a:gd name="T66" fmla="*/ 219 w 903"/>
              <a:gd name="T67" fmla="*/ 743 h 903"/>
              <a:gd name="T68" fmla="*/ 370 w 903"/>
              <a:gd name="T69" fmla="*/ 781 h 903"/>
              <a:gd name="T70" fmla="*/ 534 w 903"/>
              <a:gd name="T71" fmla="*/ 683 h 903"/>
              <a:gd name="T72" fmla="*/ 568 w 903"/>
              <a:gd name="T73" fmla="*/ 515 h 903"/>
              <a:gd name="T74" fmla="*/ 622 w 903"/>
              <a:gd name="T75" fmla="*/ 402 h 903"/>
              <a:gd name="T76" fmla="*/ 608 w 903"/>
              <a:gd name="T77" fmla="*/ 173 h 903"/>
              <a:gd name="T78" fmla="*/ 632 w 903"/>
              <a:gd name="T79" fmla="*/ 249 h 903"/>
              <a:gd name="T80" fmla="*/ 740 w 903"/>
              <a:gd name="T81" fmla="*/ 55 h 903"/>
              <a:gd name="T82" fmla="*/ 813 w 903"/>
              <a:gd name="T83" fmla="*/ 11 h 903"/>
              <a:gd name="T84" fmla="*/ 711 w 903"/>
              <a:gd name="T85" fmla="*/ 36 h 903"/>
              <a:gd name="T86" fmla="*/ 581 w 903"/>
              <a:gd name="T87" fmla="*/ 157 h 903"/>
              <a:gd name="T88" fmla="*/ 556 w 903"/>
              <a:gd name="T89" fmla="*/ 281 h 903"/>
              <a:gd name="T90" fmla="*/ 379 w 903"/>
              <a:gd name="T91" fmla="*/ 213 h 903"/>
              <a:gd name="T92" fmla="*/ 181 w 903"/>
              <a:gd name="T93" fmla="*/ 252 h 903"/>
              <a:gd name="T94" fmla="*/ 41 w 903"/>
              <a:gd name="T95" fmla="*/ 392 h 903"/>
              <a:gd name="T96" fmla="*/ 2 w 903"/>
              <a:gd name="T97" fmla="*/ 590 h 903"/>
              <a:gd name="T98" fmla="*/ 70 w 903"/>
              <a:gd name="T99" fmla="*/ 767 h 903"/>
              <a:gd name="T100" fmla="*/ 7 w 903"/>
              <a:gd name="T101" fmla="*/ 900 h 903"/>
              <a:gd name="T102" fmla="*/ 163 w 903"/>
              <a:gd name="T103" fmla="*/ 850 h 903"/>
              <a:gd name="T104" fmla="*/ 346 w 903"/>
              <a:gd name="T105" fmla="*/ 903 h 903"/>
              <a:gd name="T106" fmla="*/ 531 w 903"/>
              <a:gd name="T107" fmla="*/ 850 h 903"/>
              <a:gd name="T108" fmla="*/ 686 w 903"/>
              <a:gd name="T109" fmla="*/ 900 h 903"/>
              <a:gd name="T110" fmla="*/ 622 w 903"/>
              <a:gd name="T111" fmla="*/ 767 h 903"/>
              <a:gd name="T112" fmla="*/ 690 w 903"/>
              <a:gd name="T113" fmla="*/ 590 h 903"/>
              <a:gd name="T114" fmla="*/ 655 w 903"/>
              <a:gd name="T115" fmla="*/ 400 h 903"/>
              <a:gd name="T116" fmla="*/ 684 w 903"/>
              <a:gd name="T117" fmla="*/ 322 h 903"/>
              <a:gd name="T118" fmla="*/ 801 w 903"/>
              <a:gd name="T119" fmla="*/ 287 h 903"/>
              <a:gd name="T120" fmla="*/ 903 w 903"/>
              <a:gd name="T121" fmla="*/ 10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3">
                <a:moveTo>
                  <a:pt x="714" y="297"/>
                </a:moveTo>
                <a:lnTo>
                  <a:pt x="707" y="296"/>
                </a:lnTo>
                <a:lnTo>
                  <a:pt x="700" y="295"/>
                </a:lnTo>
                <a:lnTo>
                  <a:pt x="692" y="293"/>
                </a:lnTo>
                <a:lnTo>
                  <a:pt x="685" y="290"/>
                </a:lnTo>
                <a:lnTo>
                  <a:pt x="676" y="287"/>
                </a:lnTo>
                <a:lnTo>
                  <a:pt x="669" y="282"/>
                </a:lnTo>
                <a:lnTo>
                  <a:pt x="661" y="277"/>
                </a:lnTo>
                <a:lnTo>
                  <a:pt x="654" y="270"/>
                </a:lnTo>
                <a:lnTo>
                  <a:pt x="718" y="206"/>
                </a:lnTo>
                <a:lnTo>
                  <a:pt x="718" y="206"/>
                </a:lnTo>
                <a:lnTo>
                  <a:pt x="718" y="206"/>
                </a:lnTo>
                <a:lnTo>
                  <a:pt x="804" y="120"/>
                </a:lnTo>
                <a:lnTo>
                  <a:pt x="866" y="120"/>
                </a:lnTo>
                <a:lnTo>
                  <a:pt x="855" y="146"/>
                </a:lnTo>
                <a:lnTo>
                  <a:pt x="843" y="174"/>
                </a:lnTo>
                <a:lnTo>
                  <a:pt x="835" y="189"/>
                </a:lnTo>
                <a:lnTo>
                  <a:pt x="827" y="204"/>
                </a:lnTo>
                <a:lnTo>
                  <a:pt x="817" y="218"/>
                </a:lnTo>
                <a:lnTo>
                  <a:pt x="807" y="232"/>
                </a:lnTo>
                <a:lnTo>
                  <a:pt x="798" y="246"/>
                </a:lnTo>
                <a:lnTo>
                  <a:pt x="787" y="258"/>
                </a:lnTo>
                <a:lnTo>
                  <a:pt x="776" y="268"/>
                </a:lnTo>
                <a:lnTo>
                  <a:pt x="764" y="278"/>
                </a:lnTo>
                <a:lnTo>
                  <a:pt x="753" y="285"/>
                </a:lnTo>
                <a:lnTo>
                  <a:pt x="740" y="292"/>
                </a:lnTo>
                <a:lnTo>
                  <a:pt x="733" y="294"/>
                </a:lnTo>
                <a:lnTo>
                  <a:pt x="727" y="295"/>
                </a:lnTo>
                <a:lnTo>
                  <a:pt x="720" y="296"/>
                </a:lnTo>
                <a:lnTo>
                  <a:pt x="714" y="297"/>
                </a:lnTo>
                <a:close/>
                <a:moveTo>
                  <a:pt x="409" y="472"/>
                </a:moveTo>
                <a:lnTo>
                  <a:pt x="402" y="468"/>
                </a:lnTo>
                <a:lnTo>
                  <a:pt x="395" y="464"/>
                </a:lnTo>
                <a:lnTo>
                  <a:pt x="388" y="460"/>
                </a:lnTo>
                <a:lnTo>
                  <a:pt x="380" y="457"/>
                </a:lnTo>
                <a:lnTo>
                  <a:pt x="372" y="455"/>
                </a:lnTo>
                <a:lnTo>
                  <a:pt x="363" y="453"/>
                </a:lnTo>
                <a:lnTo>
                  <a:pt x="355" y="452"/>
                </a:lnTo>
                <a:lnTo>
                  <a:pt x="346" y="452"/>
                </a:lnTo>
                <a:lnTo>
                  <a:pt x="335" y="452"/>
                </a:lnTo>
                <a:lnTo>
                  <a:pt x="325" y="454"/>
                </a:lnTo>
                <a:lnTo>
                  <a:pt x="315" y="456"/>
                </a:lnTo>
                <a:lnTo>
                  <a:pt x="305" y="459"/>
                </a:lnTo>
                <a:lnTo>
                  <a:pt x="296" y="465"/>
                </a:lnTo>
                <a:lnTo>
                  <a:pt x="287" y="470"/>
                </a:lnTo>
                <a:lnTo>
                  <a:pt x="280" y="475"/>
                </a:lnTo>
                <a:lnTo>
                  <a:pt x="272" y="483"/>
                </a:lnTo>
                <a:lnTo>
                  <a:pt x="265" y="490"/>
                </a:lnTo>
                <a:lnTo>
                  <a:pt x="259" y="498"/>
                </a:lnTo>
                <a:lnTo>
                  <a:pt x="254" y="506"/>
                </a:lnTo>
                <a:lnTo>
                  <a:pt x="250" y="516"/>
                </a:lnTo>
                <a:lnTo>
                  <a:pt x="245" y="526"/>
                </a:lnTo>
                <a:lnTo>
                  <a:pt x="243" y="535"/>
                </a:lnTo>
                <a:lnTo>
                  <a:pt x="241" y="546"/>
                </a:lnTo>
                <a:lnTo>
                  <a:pt x="241" y="557"/>
                </a:lnTo>
                <a:lnTo>
                  <a:pt x="241" y="568"/>
                </a:lnTo>
                <a:lnTo>
                  <a:pt x="243" y="578"/>
                </a:lnTo>
                <a:lnTo>
                  <a:pt x="245" y="588"/>
                </a:lnTo>
                <a:lnTo>
                  <a:pt x="250" y="598"/>
                </a:lnTo>
                <a:lnTo>
                  <a:pt x="254" y="607"/>
                </a:lnTo>
                <a:lnTo>
                  <a:pt x="259" y="616"/>
                </a:lnTo>
                <a:lnTo>
                  <a:pt x="265" y="623"/>
                </a:lnTo>
                <a:lnTo>
                  <a:pt x="272" y="631"/>
                </a:lnTo>
                <a:lnTo>
                  <a:pt x="280" y="638"/>
                </a:lnTo>
                <a:lnTo>
                  <a:pt x="287" y="644"/>
                </a:lnTo>
                <a:lnTo>
                  <a:pt x="296" y="649"/>
                </a:lnTo>
                <a:lnTo>
                  <a:pt x="305" y="654"/>
                </a:lnTo>
                <a:lnTo>
                  <a:pt x="315" y="658"/>
                </a:lnTo>
                <a:lnTo>
                  <a:pt x="325" y="660"/>
                </a:lnTo>
                <a:lnTo>
                  <a:pt x="335" y="662"/>
                </a:lnTo>
                <a:lnTo>
                  <a:pt x="346" y="662"/>
                </a:lnTo>
                <a:lnTo>
                  <a:pt x="357" y="662"/>
                </a:lnTo>
                <a:lnTo>
                  <a:pt x="367" y="660"/>
                </a:lnTo>
                <a:lnTo>
                  <a:pt x="377" y="658"/>
                </a:lnTo>
                <a:lnTo>
                  <a:pt x="387" y="653"/>
                </a:lnTo>
                <a:lnTo>
                  <a:pt x="396" y="649"/>
                </a:lnTo>
                <a:lnTo>
                  <a:pt x="405" y="644"/>
                </a:lnTo>
                <a:lnTo>
                  <a:pt x="414" y="638"/>
                </a:lnTo>
                <a:lnTo>
                  <a:pt x="421" y="631"/>
                </a:lnTo>
                <a:lnTo>
                  <a:pt x="428" y="623"/>
                </a:lnTo>
                <a:lnTo>
                  <a:pt x="434" y="616"/>
                </a:lnTo>
                <a:lnTo>
                  <a:pt x="438" y="607"/>
                </a:lnTo>
                <a:lnTo>
                  <a:pt x="444" y="598"/>
                </a:lnTo>
                <a:lnTo>
                  <a:pt x="447" y="588"/>
                </a:lnTo>
                <a:lnTo>
                  <a:pt x="449" y="578"/>
                </a:lnTo>
                <a:lnTo>
                  <a:pt x="451" y="568"/>
                </a:lnTo>
                <a:lnTo>
                  <a:pt x="451" y="557"/>
                </a:lnTo>
                <a:lnTo>
                  <a:pt x="451" y="548"/>
                </a:lnTo>
                <a:lnTo>
                  <a:pt x="450" y="540"/>
                </a:lnTo>
                <a:lnTo>
                  <a:pt x="448" y="531"/>
                </a:lnTo>
                <a:lnTo>
                  <a:pt x="446" y="522"/>
                </a:lnTo>
                <a:lnTo>
                  <a:pt x="443" y="515"/>
                </a:lnTo>
                <a:lnTo>
                  <a:pt x="439" y="507"/>
                </a:lnTo>
                <a:lnTo>
                  <a:pt x="435" y="501"/>
                </a:lnTo>
                <a:lnTo>
                  <a:pt x="431" y="494"/>
                </a:lnTo>
                <a:lnTo>
                  <a:pt x="494" y="429"/>
                </a:lnTo>
                <a:lnTo>
                  <a:pt x="505" y="443"/>
                </a:lnTo>
                <a:lnTo>
                  <a:pt x="514" y="457"/>
                </a:lnTo>
                <a:lnTo>
                  <a:pt x="522" y="472"/>
                </a:lnTo>
                <a:lnTo>
                  <a:pt x="529" y="488"/>
                </a:lnTo>
                <a:lnTo>
                  <a:pt x="535" y="504"/>
                </a:lnTo>
                <a:lnTo>
                  <a:pt x="538" y="521"/>
                </a:lnTo>
                <a:lnTo>
                  <a:pt x="541" y="539"/>
                </a:lnTo>
                <a:lnTo>
                  <a:pt x="542" y="557"/>
                </a:lnTo>
                <a:lnTo>
                  <a:pt x="541" y="577"/>
                </a:lnTo>
                <a:lnTo>
                  <a:pt x="538" y="596"/>
                </a:lnTo>
                <a:lnTo>
                  <a:pt x="533" y="615"/>
                </a:lnTo>
                <a:lnTo>
                  <a:pt x="526" y="633"/>
                </a:lnTo>
                <a:lnTo>
                  <a:pt x="518" y="650"/>
                </a:lnTo>
                <a:lnTo>
                  <a:pt x="508" y="666"/>
                </a:lnTo>
                <a:lnTo>
                  <a:pt x="497" y="681"/>
                </a:lnTo>
                <a:lnTo>
                  <a:pt x="484" y="695"/>
                </a:lnTo>
                <a:lnTo>
                  <a:pt x="470" y="708"/>
                </a:lnTo>
                <a:lnTo>
                  <a:pt x="455" y="719"/>
                </a:lnTo>
                <a:lnTo>
                  <a:pt x="439" y="728"/>
                </a:lnTo>
                <a:lnTo>
                  <a:pt x="422" y="737"/>
                </a:lnTo>
                <a:lnTo>
                  <a:pt x="404" y="743"/>
                </a:lnTo>
                <a:lnTo>
                  <a:pt x="386" y="749"/>
                </a:lnTo>
                <a:lnTo>
                  <a:pt x="366" y="752"/>
                </a:lnTo>
                <a:lnTo>
                  <a:pt x="346" y="752"/>
                </a:lnTo>
                <a:lnTo>
                  <a:pt x="326" y="751"/>
                </a:lnTo>
                <a:lnTo>
                  <a:pt x="306" y="749"/>
                </a:lnTo>
                <a:lnTo>
                  <a:pt x="288" y="743"/>
                </a:lnTo>
                <a:lnTo>
                  <a:pt x="270" y="737"/>
                </a:lnTo>
                <a:lnTo>
                  <a:pt x="253" y="728"/>
                </a:lnTo>
                <a:lnTo>
                  <a:pt x="237" y="719"/>
                </a:lnTo>
                <a:lnTo>
                  <a:pt x="222" y="708"/>
                </a:lnTo>
                <a:lnTo>
                  <a:pt x="208" y="695"/>
                </a:lnTo>
                <a:lnTo>
                  <a:pt x="195" y="681"/>
                </a:lnTo>
                <a:lnTo>
                  <a:pt x="184" y="666"/>
                </a:lnTo>
                <a:lnTo>
                  <a:pt x="174" y="650"/>
                </a:lnTo>
                <a:lnTo>
                  <a:pt x="166" y="633"/>
                </a:lnTo>
                <a:lnTo>
                  <a:pt x="159" y="615"/>
                </a:lnTo>
                <a:lnTo>
                  <a:pt x="154" y="596"/>
                </a:lnTo>
                <a:lnTo>
                  <a:pt x="152" y="577"/>
                </a:lnTo>
                <a:lnTo>
                  <a:pt x="151" y="557"/>
                </a:lnTo>
                <a:lnTo>
                  <a:pt x="152" y="536"/>
                </a:lnTo>
                <a:lnTo>
                  <a:pt x="154" y="517"/>
                </a:lnTo>
                <a:lnTo>
                  <a:pt x="159" y="499"/>
                </a:lnTo>
                <a:lnTo>
                  <a:pt x="166" y="481"/>
                </a:lnTo>
                <a:lnTo>
                  <a:pt x="174" y="464"/>
                </a:lnTo>
                <a:lnTo>
                  <a:pt x="184" y="447"/>
                </a:lnTo>
                <a:lnTo>
                  <a:pt x="195" y="432"/>
                </a:lnTo>
                <a:lnTo>
                  <a:pt x="208" y="418"/>
                </a:lnTo>
                <a:lnTo>
                  <a:pt x="222" y="406"/>
                </a:lnTo>
                <a:lnTo>
                  <a:pt x="237" y="395"/>
                </a:lnTo>
                <a:lnTo>
                  <a:pt x="253" y="385"/>
                </a:lnTo>
                <a:lnTo>
                  <a:pt x="270" y="377"/>
                </a:lnTo>
                <a:lnTo>
                  <a:pt x="288" y="370"/>
                </a:lnTo>
                <a:lnTo>
                  <a:pt x="306" y="365"/>
                </a:lnTo>
                <a:lnTo>
                  <a:pt x="326" y="362"/>
                </a:lnTo>
                <a:lnTo>
                  <a:pt x="346" y="362"/>
                </a:lnTo>
                <a:lnTo>
                  <a:pt x="364" y="362"/>
                </a:lnTo>
                <a:lnTo>
                  <a:pt x="381" y="365"/>
                </a:lnTo>
                <a:lnTo>
                  <a:pt x="399" y="368"/>
                </a:lnTo>
                <a:lnTo>
                  <a:pt x="415" y="373"/>
                </a:lnTo>
                <a:lnTo>
                  <a:pt x="431" y="381"/>
                </a:lnTo>
                <a:lnTo>
                  <a:pt x="446" y="388"/>
                </a:lnTo>
                <a:lnTo>
                  <a:pt x="460" y="398"/>
                </a:lnTo>
                <a:lnTo>
                  <a:pt x="474" y="409"/>
                </a:lnTo>
                <a:lnTo>
                  <a:pt x="409" y="472"/>
                </a:lnTo>
                <a:close/>
                <a:moveTo>
                  <a:pt x="421" y="557"/>
                </a:moveTo>
                <a:lnTo>
                  <a:pt x="421" y="564"/>
                </a:lnTo>
                <a:lnTo>
                  <a:pt x="420" y="572"/>
                </a:lnTo>
                <a:lnTo>
                  <a:pt x="418" y="579"/>
                </a:lnTo>
                <a:lnTo>
                  <a:pt x="416" y="586"/>
                </a:lnTo>
                <a:lnTo>
                  <a:pt x="413" y="592"/>
                </a:lnTo>
                <a:lnTo>
                  <a:pt x="408" y="599"/>
                </a:lnTo>
                <a:lnTo>
                  <a:pt x="404" y="605"/>
                </a:lnTo>
                <a:lnTo>
                  <a:pt x="400" y="610"/>
                </a:lnTo>
                <a:lnTo>
                  <a:pt x="394" y="615"/>
                </a:lnTo>
                <a:lnTo>
                  <a:pt x="388" y="619"/>
                </a:lnTo>
                <a:lnTo>
                  <a:pt x="382" y="623"/>
                </a:lnTo>
                <a:lnTo>
                  <a:pt x="375" y="627"/>
                </a:lnTo>
                <a:lnTo>
                  <a:pt x="369" y="629"/>
                </a:lnTo>
                <a:lnTo>
                  <a:pt x="361" y="631"/>
                </a:lnTo>
                <a:lnTo>
                  <a:pt x="354" y="632"/>
                </a:lnTo>
                <a:lnTo>
                  <a:pt x="346" y="632"/>
                </a:lnTo>
                <a:lnTo>
                  <a:pt x="339" y="632"/>
                </a:lnTo>
                <a:lnTo>
                  <a:pt x="331" y="631"/>
                </a:lnTo>
                <a:lnTo>
                  <a:pt x="324" y="629"/>
                </a:lnTo>
                <a:lnTo>
                  <a:pt x="317" y="627"/>
                </a:lnTo>
                <a:lnTo>
                  <a:pt x="311" y="623"/>
                </a:lnTo>
                <a:lnTo>
                  <a:pt x="304" y="619"/>
                </a:lnTo>
                <a:lnTo>
                  <a:pt x="298" y="615"/>
                </a:lnTo>
                <a:lnTo>
                  <a:pt x="292" y="610"/>
                </a:lnTo>
                <a:lnTo>
                  <a:pt x="288" y="605"/>
                </a:lnTo>
                <a:lnTo>
                  <a:pt x="284" y="599"/>
                </a:lnTo>
                <a:lnTo>
                  <a:pt x="280" y="592"/>
                </a:lnTo>
                <a:lnTo>
                  <a:pt x="276" y="586"/>
                </a:lnTo>
                <a:lnTo>
                  <a:pt x="274" y="579"/>
                </a:lnTo>
                <a:lnTo>
                  <a:pt x="272" y="572"/>
                </a:lnTo>
                <a:lnTo>
                  <a:pt x="271" y="564"/>
                </a:lnTo>
                <a:lnTo>
                  <a:pt x="271" y="557"/>
                </a:lnTo>
                <a:lnTo>
                  <a:pt x="271" y="549"/>
                </a:lnTo>
                <a:lnTo>
                  <a:pt x="272" y="542"/>
                </a:lnTo>
                <a:lnTo>
                  <a:pt x="274" y="534"/>
                </a:lnTo>
                <a:lnTo>
                  <a:pt x="276" y="528"/>
                </a:lnTo>
                <a:lnTo>
                  <a:pt x="280" y="521"/>
                </a:lnTo>
                <a:lnTo>
                  <a:pt x="284" y="515"/>
                </a:lnTo>
                <a:lnTo>
                  <a:pt x="288" y="509"/>
                </a:lnTo>
                <a:lnTo>
                  <a:pt x="292" y="503"/>
                </a:lnTo>
                <a:lnTo>
                  <a:pt x="298" y="499"/>
                </a:lnTo>
                <a:lnTo>
                  <a:pt x="304" y="495"/>
                </a:lnTo>
                <a:lnTo>
                  <a:pt x="311" y="490"/>
                </a:lnTo>
                <a:lnTo>
                  <a:pt x="317" y="487"/>
                </a:lnTo>
                <a:lnTo>
                  <a:pt x="324" y="485"/>
                </a:lnTo>
                <a:lnTo>
                  <a:pt x="331" y="483"/>
                </a:lnTo>
                <a:lnTo>
                  <a:pt x="339" y="482"/>
                </a:lnTo>
                <a:lnTo>
                  <a:pt x="346" y="482"/>
                </a:lnTo>
                <a:lnTo>
                  <a:pt x="358" y="483"/>
                </a:lnTo>
                <a:lnTo>
                  <a:pt x="369" y="485"/>
                </a:lnTo>
                <a:lnTo>
                  <a:pt x="378" y="489"/>
                </a:lnTo>
                <a:lnTo>
                  <a:pt x="388" y="494"/>
                </a:lnTo>
                <a:lnTo>
                  <a:pt x="354" y="528"/>
                </a:lnTo>
                <a:lnTo>
                  <a:pt x="350" y="527"/>
                </a:lnTo>
                <a:lnTo>
                  <a:pt x="346" y="527"/>
                </a:lnTo>
                <a:lnTo>
                  <a:pt x="340" y="527"/>
                </a:lnTo>
                <a:lnTo>
                  <a:pt x="334" y="529"/>
                </a:lnTo>
                <a:lnTo>
                  <a:pt x="329" y="532"/>
                </a:lnTo>
                <a:lnTo>
                  <a:pt x="325" y="535"/>
                </a:lnTo>
                <a:lnTo>
                  <a:pt x="321" y="540"/>
                </a:lnTo>
                <a:lnTo>
                  <a:pt x="318" y="545"/>
                </a:lnTo>
                <a:lnTo>
                  <a:pt x="317" y="550"/>
                </a:lnTo>
                <a:lnTo>
                  <a:pt x="316" y="557"/>
                </a:lnTo>
                <a:lnTo>
                  <a:pt x="317" y="563"/>
                </a:lnTo>
                <a:lnTo>
                  <a:pt x="318" y="569"/>
                </a:lnTo>
                <a:lnTo>
                  <a:pt x="321" y="574"/>
                </a:lnTo>
                <a:lnTo>
                  <a:pt x="325" y="578"/>
                </a:lnTo>
                <a:lnTo>
                  <a:pt x="329" y="581"/>
                </a:lnTo>
                <a:lnTo>
                  <a:pt x="334" y="585"/>
                </a:lnTo>
                <a:lnTo>
                  <a:pt x="340" y="586"/>
                </a:lnTo>
                <a:lnTo>
                  <a:pt x="346" y="587"/>
                </a:lnTo>
                <a:lnTo>
                  <a:pt x="352" y="586"/>
                </a:lnTo>
                <a:lnTo>
                  <a:pt x="358" y="585"/>
                </a:lnTo>
                <a:lnTo>
                  <a:pt x="363" y="581"/>
                </a:lnTo>
                <a:lnTo>
                  <a:pt x="367" y="578"/>
                </a:lnTo>
                <a:lnTo>
                  <a:pt x="371" y="574"/>
                </a:lnTo>
                <a:lnTo>
                  <a:pt x="374" y="569"/>
                </a:lnTo>
                <a:lnTo>
                  <a:pt x="376" y="563"/>
                </a:lnTo>
                <a:lnTo>
                  <a:pt x="376" y="557"/>
                </a:lnTo>
                <a:lnTo>
                  <a:pt x="376" y="553"/>
                </a:lnTo>
                <a:lnTo>
                  <a:pt x="375" y="549"/>
                </a:lnTo>
                <a:lnTo>
                  <a:pt x="409" y="515"/>
                </a:lnTo>
                <a:lnTo>
                  <a:pt x="414" y="525"/>
                </a:lnTo>
                <a:lnTo>
                  <a:pt x="418" y="534"/>
                </a:lnTo>
                <a:lnTo>
                  <a:pt x="420" y="545"/>
                </a:lnTo>
                <a:lnTo>
                  <a:pt x="421" y="557"/>
                </a:lnTo>
                <a:close/>
                <a:moveTo>
                  <a:pt x="662" y="557"/>
                </a:moveTo>
                <a:lnTo>
                  <a:pt x="661" y="573"/>
                </a:lnTo>
                <a:lnTo>
                  <a:pt x="660" y="589"/>
                </a:lnTo>
                <a:lnTo>
                  <a:pt x="658" y="605"/>
                </a:lnTo>
                <a:lnTo>
                  <a:pt x="656" y="620"/>
                </a:lnTo>
                <a:lnTo>
                  <a:pt x="653" y="636"/>
                </a:lnTo>
                <a:lnTo>
                  <a:pt x="648" y="651"/>
                </a:lnTo>
                <a:lnTo>
                  <a:pt x="643" y="665"/>
                </a:lnTo>
                <a:lnTo>
                  <a:pt x="638" y="680"/>
                </a:lnTo>
                <a:lnTo>
                  <a:pt x="631" y="694"/>
                </a:lnTo>
                <a:lnTo>
                  <a:pt x="624" y="707"/>
                </a:lnTo>
                <a:lnTo>
                  <a:pt x="616" y="721"/>
                </a:lnTo>
                <a:lnTo>
                  <a:pt x="608" y="734"/>
                </a:lnTo>
                <a:lnTo>
                  <a:pt x="599" y="746"/>
                </a:lnTo>
                <a:lnTo>
                  <a:pt x="589" y="757"/>
                </a:lnTo>
                <a:lnTo>
                  <a:pt x="580" y="769"/>
                </a:lnTo>
                <a:lnTo>
                  <a:pt x="569" y="780"/>
                </a:lnTo>
                <a:lnTo>
                  <a:pt x="558" y="791"/>
                </a:lnTo>
                <a:lnTo>
                  <a:pt x="547" y="800"/>
                </a:lnTo>
                <a:lnTo>
                  <a:pt x="535" y="810"/>
                </a:lnTo>
                <a:lnTo>
                  <a:pt x="523" y="818"/>
                </a:lnTo>
                <a:lnTo>
                  <a:pt x="510" y="827"/>
                </a:lnTo>
                <a:lnTo>
                  <a:pt x="496" y="835"/>
                </a:lnTo>
                <a:lnTo>
                  <a:pt x="483" y="842"/>
                </a:lnTo>
                <a:lnTo>
                  <a:pt x="469" y="848"/>
                </a:lnTo>
                <a:lnTo>
                  <a:pt x="454" y="854"/>
                </a:lnTo>
                <a:lnTo>
                  <a:pt x="440" y="858"/>
                </a:lnTo>
                <a:lnTo>
                  <a:pt x="425" y="862"/>
                </a:lnTo>
                <a:lnTo>
                  <a:pt x="409" y="867"/>
                </a:lnTo>
                <a:lnTo>
                  <a:pt x="394" y="869"/>
                </a:lnTo>
                <a:lnTo>
                  <a:pt x="378" y="871"/>
                </a:lnTo>
                <a:lnTo>
                  <a:pt x="362" y="872"/>
                </a:lnTo>
                <a:lnTo>
                  <a:pt x="346" y="873"/>
                </a:lnTo>
                <a:lnTo>
                  <a:pt x="330" y="872"/>
                </a:lnTo>
                <a:lnTo>
                  <a:pt x="314" y="871"/>
                </a:lnTo>
                <a:lnTo>
                  <a:pt x="298" y="869"/>
                </a:lnTo>
                <a:lnTo>
                  <a:pt x="283" y="867"/>
                </a:lnTo>
                <a:lnTo>
                  <a:pt x="267" y="862"/>
                </a:lnTo>
                <a:lnTo>
                  <a:pt x="253" y="858"/>
                </a:lnTo>
                <a:lnTo>
                  <a:pt x="238" y="854"/>
                </a:lnTo>
                <a:lnTo>
                  <a:pt x="223" y="848"/>
                </a:lnTo>
                <a:lnTo>
                  <a:pt x="209" y="842"/>
                </a:lnTo>
                <a:lnTo>
                  <a:pt x="196" y="835"/>
                </a:lnTo>
                <a:lnTo>
                  <a:pt x="182" y="827"/>
                </a:lnTo>
                <a:lnTo>
                  <a:pt x="169" y="818"/>
                </a:lnTo>
                <a:lnTo>
                  <a:pt x="157" y="810"/>
                </a:lnTo>
                <a:lnTo>
                  <a:pt x="145" y="800"/>
                </a:lnTo>
                <a:lnTo>
                  <a:pt x="134" y="791"/>
                </a:lnTo>
                <a:lnTo>
                  <a:pt x="123" y="780"/>
                </a:lnTo>
                <a:lnTo>
                  <a:pt x="112" y="769"/>
                </a:lnTo>
                <a:lnTo>
                  <a:pt x="103" y="757"/>
                </a:lnTo>
                <a:lnTo>
                  <a:pt x="93" y="746"/>
                </a:lnTo>
                <a:lnTo>
                  <a:pt x="84" y="734"/>
                </a:lnTo>
                <a:lnTo>
                  <a:pt x="76" y="721"/>
                </a:lnTo>
                <a:lnTo>
                  <a:pt x="68" y="707"/>
                </a:lnTo>
                <a:lnTo>
                  <a:pt x="61" y="694"/>
                </a:lnTo>
                <a:lnTo>
                  <a:pt x="55" y="680"/>
                </a:lnTo>
                <a:lnTo>
                  <a:pt x="49" y="665"/>
                </a:lnTo>
                <a:lnTo>
                  <a:pt x="45" y="651"/>
                </a:lnTo>
                <a:lnTo>
                  <a:pt x="40" y="636"/>
                </a:lnTo>
                <a:lnTo>
                  <a:pt x="36" y="620"/>
                </a:lnTo>
                <a:lnTo>
                  <a:pt x="34" y="605"/>
                </a:lnTo>
                <a:lnTo>
                  <a:pt x="32" y="589"/>
                </a:lnTo>
                <a:lnTo>
                  <a:pt x="31" y="573"/>
                </a:lnTo>
                <a:lnTo>
                  <a:pt x="30" y="557"/>
                </a:lnTo>
                <a:lnTo>
                  <a:pt x="31" y="541"/>
                </a:lnTo>
                <a:lnTo>
                  <a:pt x="32" y="525"/>
                </a:lnTo>
                <a:lnTo>
                  <a:pt x="34" y="509"/>
                </a:lnTo>
                <a:lnTo>
                  <a:pt x="36" y="494"/>
                </a:lnTo>
                <a:lnTo>
                  <a:pt x="40" y="477"/>
                </a:lnTo>
                <a:lnTo>
                  <a:pt x="45" y="462"/>
                </a:lnTo>
                <a:lnTo>
                  <a:pt x="49" y="448"/>
                </a:lnTo>
                <a:lnTo>
                  <a:pt x="55" y="433"/>
                </a:lnTo>
                <a:lnTo>
                  <a:pt x="61" y="420"/>
                </a:lnTo>
                <a:lnTo>
                  <a:pt x="68" y="407"/>
                </a:lnTo>
                <a:lnTo>
                  <a:pt x="76" y="393"/>
                </a:lnTo>
                <a:lnTo>
                  <a:pt x="84" y="380"/>
                </a:lnTo>
                <a:lnTo>
                  <a:pt x="93" y="368"/>
                </a:lnTo>
                <a:lnTo>
                  <a:pt x="103" y="356"/>
                </a:lnTo>
                <a:lnTo>
                  <a:pt x="112" y="344"/>
                </a:lnTo>
                <a:lnTo>
                  <a:pt x="123" y="334"/>
                </a:lnTo>
                <a:lnTo>
                  <a:pt x="134" y="323"/>
                </a:lnTo>
                <a:lnTo>
                  <a:pt x="145" y="313"/>
                </a:lnTo>
                <a:lnTo>
                  <a:pt x="157" y="304"/>
                </a:lnTo>
                <a:lnTo>
                  <a:pt x="169" y="295"/>
                </a:lnTo>
                <a:lnTo>
                  <a:pt x="182" y="287"/>
                </a:lnTo>
                <a:lnTo>
                  <a:pt x="196" y="279"/>
                </a:lnTo>
                <a:lnTo>
                  <a:pt x="209" y="272"/>
                </a:lnTo>
                <a:lnTo>
                  <a:pt x="223" y="265"/>
                </a:lnTo>
                <a:lnTo>
                  <a:pt x="238" y="260"/>
                </a:lnTo>
                <a:lnTo>
                  <a:pt x="253" y="255"/>
                </a:lnTo>
                <a:lnTo>
                  <a:pt x="267" y="251"/>
                </a:lnTo>
                <a:lnTo>
                  <a:pt x="283" y="247"/>
                </a:lnTo>
                <a:lnTo>
                  <a:pt x="298" y="245"/>
                </a:lnTo>
                <a:lnTo>
                  <a:pt x="314" y="243"/>
                </a:lnTo>
                <a:lnTo>
                  <a:pt x="330" y="242"/>
                </a:lnTo>
                <a:lnTo>
                  <a:pt x="346" y="240"/>
                </a:lnTo>
                <a:lnTo>
                  <a:pt x="361" y="242"/>
                </a:lnTo>
                <a:lnTo>
                  <a:pt x="376" y="243"/>
                </a:lnTo>
                <a:lnTo>
                  <a:pt x="391" y="244"/>
                </a:lnTo>
                <a:lnTo>
                  <a:pt x="406" y="247"/>
                </a:lnTo>
                <a:lnTo>
                  <a:pt x="420" y="250"/>
                </a:lnTo>
                <a:lnTo>
                  <a:pt x="434" y="253"/>
                </a:lnTo>
                <a:lnTo>
                  <a:pt x="448" y="258"/>
                </a:lnTo>
                <a:lnTo>
                  <a:pt x="462" y="263"/>
                </a:lnTo>
                <a:lnTo>
                  <a:pt x="475" y="268"/>
                </a:lnTo>
                <a:lnTo>
                  <a:pt x="488" y="275"/>
                </a:lnTo>
                <a:lnTo>
                  <a:pt x="500" y="281"/>
                </a:lnTo>
                <a:lnTo>
                  <a:pt x="513" y="289"/>
                </a:lnTo>
                <a:lnTo>
                  <a:pt x="525" y="296"/>
                </a:lnTo>
                <a:lnTo>
                  <a:pt x="537" y="305"/>
                </a:lnTo>
                <a:lnTo>
                  <a:pt x="548" y="313"/>
                </a:lnTo>
                <a:lnTo>
                  <a:pt x="558" y="323"/>
                </a:lnTo>
                <a:lnTo>
                  <a:pt x="494" y="387"/>
                </a:lnTo>
                <a:lnTo>
                  <a:pt x="479" y="375"/>
                </a:lnTo>
                <a:lnTo>
                  <a:pt x="463" y="364"/>
                </a:lnTo>
                <a:lnTo>
                  <a:pt x="445" y="354"/>
                </a:lnTo>
                <a:lnTo>
                  <a:pt x="426" y="346"/>
                </a:lnTo>
                <a:lnTo>
                  <a:pt x="407" y="339"/>
                </a:lnTo>
                <a:lnTo>
                  <a:pt x="388" y="335"/>
                </a:lnTo>
                <a:lnTo>
                  <a:pt x="367" y="332"/>
                </a:lnTo>
                <a:lnTo>
                  <a:pt x="346" y="331"/>
                </a:lnTo>
                <a:lnTo>
                  <a:pt x="334" y="332"/>
                </a:lnTo>
                <a:lnTo>
                  <a:pt x="324" y="333"/>
                </a:lnTo>
                <a:lnTo>
                  <a:pt x="312" y="334"/>
                </a:lnTo>
                <a:lnTo>
                  <a:pt x="301" y="336"/>
                </a:lnTo>
                <a:lnTo>
                  <a:pt x="290" y="338"/>
                </a:lnTo>
                <a:lnTo>
                  <a:pt x="280" y="341"/>
                </a:lnTo>
                <a:lnTo>
                  <a:pt x="269" y="344"/>
                </a:lnTo>
                <a:lnTo>
                  <a:pt x="258" y="349"/>
                </a:lnTo>
                <a:lnTo>
                  <a:pt x="239" y="358"/>
                </a:lnTo>
                <a:lnTo>
                  <a:pt x="219" y="369"/>
                </a:lnTo>
                <a:lnTo>
                  <a:pt x="202" y="383"/>
                </a:lnTo>
                <a:lnTo>
                  <a:pt x="186" y="397"/>
                </a:lnTo>
                <a:lnTo>
                  <a:pt x="172" y="413"/>
                </a:lnTo>
                <a:lnTo>
                  <a:pt x="159" y="430"/>
                </a:lnTo>
                <a:lnTo>
                  <a:pt x="148" y="450"/>
                </a:lnTo>
                <a:lnTo>
                  <a:pt x="138" y="469"/>
                </a:lnTo>
                <a:lnTo>
                  <a:pt x="134" y="480"/>
                </a:lnTo>
                <a:lnTo>
                  <a:pt x="130" y="489"/>
                </a:lnTo>
                <a:lnTo>
                  <a:pt x="127" y="500"/>
                </a:lnTo>
                <a:lnTo>
                  <a:pt x="125" y="512"/>
                </a:lnTo>
                <a:lnTo>
                  <a:pt x="123" y="522"/>
                </a:lnTo>
                <a:lnTo>
                  <a:pt x="122" y="534"/>
                </a:lnTo>
                <a:lnTo>
                  <a:pt x="121" y="545"/>
                </a:lnTo>
                <a:lnTo>
                  <a:pt x="121" y="557"/>
                </a:lnTo>
                <a:lnTo>
                  <a:pt x="121" y="569"/>
                </a:lnTo>
                <a:lnTo>
                  <a:pt x="122" y="579"/>
                </a:lnTo>
                <a:lnTo>
                  <a:pt x="123" y="591"/>
                </a:lnTo>
                <a:lnTo>
                  <a:pt x="125" y="602"/>
                </a:lnTo>
                <a:lnTo>
                  <a:pt x="127" y="614"/>
                </a:lnTo>
                <a:lnTo>
                  <a:pt x="130" y="624"/>
                </a:lnTo>
                <a:lnTo>
                  <a:pt x="134" y="634"/>
                </a:lnTo>
                <a:lnTo>
                  <a:pt x="138" y="645"/>
                </a:lnTo>
                <a:lnTo>
                  <a:pt x="148" y="664"/>
                </a:lnTo>
                <a:lnTo>
                  <a:pt x="159" y="683"/>
                </a:lnTo>
                <a:lnTo>
                  <a:pt x="172" y="700"/>
                </a:lnTo>
                <a:lnTo>
                  <a:pt x="186" y="717"/>
                </a:lnTo>
                <a:lnTo>
                  <a:pt x="202" y="731"/>
                </a:lnTo>
                <a:lnTo>
                  <a:pt x="219" y="743"/>
                </a:lnTo>
                <a:lnTo>
                  <a:pt x="239" y="755"/>
                </a:lnTo>
                <a:lnTo>
                  <a:pt x="258" y="765"/>
                </a:lnTo>
                <a:lnTo>
                  <a:pt x="269" y="769"/>
                </a:lnTo>
                <a:lnTo>
                  <a:pt x="280" y="772"/>
                </a:lnTo>
                <a:lnTo>
                  <a:pt x="290" y="776"/>
                </a:lnTo>
                <a:lnTo>
                  <a:pt x="301" y="778"/>
                </a:lnTo>
                <a:lnTo>
                  <a:pt x="312" y="780"/>
                </a:lnTo>
                <a:lnTo>
                  <a:pt x="324" y="781"/>
                </a:lnTo>
                <a:lnTo>
                  <a:pt x="334" y="782"/>
                </a:lnTo>
                <a:lnTo>
                  <a:pt x="346" y="783"/>
                </a:lnTo>
                <a:lnTo>
                  <a:pt x="358" y="782"/>
                </a:lnTo>
                <a:lnTo>
                  <a:pt x="370" y="781"/>
                </a:lnTo>
                <a:lnTo>
                  <a:pt x="380" y="780"/>
                </a:lnTo>
                <a:lnTo>
                  <a:pt x="391" y="778"/>
                </a:lnTo>
                <a:lnTo>
                  <a:pt x="403" y="776"/>
                </a:lnTo>
                <a:lnTo>
                  <a:pt x="414" y="772"/>
                </a:lnTo>
                <a:lnTo>
                  <a:pt x="423" y="769"/>
                </a:lnTo>
                <a:lnTo>
                  <a:pt x="434" y="765"/>
                </a:lnTo>
                <a:lnTo>
                  <a:pt x="453" y="755"/>
                </a:lnTo>
                <a:lnTo>
                  <a:pt x="473" y="744"/>
                </a:lnTo>
                <a:lnTo>
                  <a:pt x="490" y="731"/>
                </a:lnTo>
                <a:lnTo>
                  <a:pt x="506" y="717"/>
                </a:lnTo>
                <a:lnTo>
                  <a:pt x="520" y="700"/>
                </a:lnTo>
                <a:lnTo>
                  <a:pt x="534" y="683"/>
                </a:lnTo>
                <a:lnTo>
                  <a:pt x="544" y="664"/>
                </a:lnTo>
                <a:lnTo>
                  <a:pt x="554" y="645"/>
                </a:lnTo>
                <a:lnTo>
                  <a:pt x="558" y="634"/>
                </a:lnTo>
                <a:lnTo>
                  <a:pt x="562" y="624"/>
                </a:lnTo>
                <a:lnTo>
                  <a:pt x="565" y="614"/>
                </a:lnTo>
                <a:lnTo>
                  <a:pt x="567" y="602"/>
                </a:lnTo>
                <a:lnTo>
                  <a:pt x="569" y="591"/>
                </a:lnTo>
                <a:lnTo>
                  <a:pt x="570" y="579"/>
                </a:lnTo>
                <a:lnTo>
                  <a:pt x="571" y="569"/>
                </a:lnTo>
                <a:lnTo>
                  <a:pt x="572" y="557"/>
                </a:lnTo>
                <a:lnTo>
                  <a:pt x="571" y="535"/>
                </a:lnTo>
                <a:lnTo>
                  <a:pt x="568" y="515"/>
                </a:lnTo>
                <a:lnTo>
                  <a:pt x="564" y="496"/>
                </a:lnTo>
                <a:lnTo>
                  <a:pt x="557" y="476"/>
                </a:lnTo>
                <a:lnTo>
                  <a:pt x="549" y="458"/>
                </a:lnTo>
                <a:lnTo>
                  <a:pt x="539" y="440"/>
                </a:lnTo>
                <a:lnTo>
                  <a:pt x="528" y="424"/>
                </a:lnTo>
                <a:lnTo>
                  <a:pt x="515" y="409"/>
                </a:lnTo>
                <a:lnTo>
                  <a:pt x="580" y="344"/>
                </a:lnTo>
                <a:lnTo>
                  <a:pt x="588" y="355"/>
                </a:lnTo>
                <a:lnTo>
                  <a:pt x="598" y="366"/>
                </a:lnTo>
                <a:lnTo>
                  <a:pt x="607" y="378"/>
                </a:lnTo>
                <a:lnTo>
                  <a:pt x="614" y="390"/>
                </a:lnTo>
                <a:lnTo>
                  <a:pt x="622" y="402"/>
                </a:lnTo>
                <a:lnTo>
                  <a:pt x="628" y="415"/>
                </a:lnTo>
                <a:lnTo>
                  <a:pt x="635" y="428"/>
                </a:lnTo>
                <a:lnTo>
                  <a:pt x="640" y="441"/>
                </a:lnTo>
                <a:lnTo>
                  <a:pt x="645" y="455"/>
                </a:lnTo>
                <a:lnTo>
                  <a:pt x="650" y="469"/>
                </a:lnTo>
                <a:lnTo>
                  <a:pt x="654" y="483"/>
                </a:lnTo>
                <a:lnTo>
                  <a:pt x="656" y="497"/>
                </a:lnTo>
                <a:lnTo>
                  <a:pt x="659" y="512"/>
                </a:lnTo>
                <a:lnTo>
                  <a:pt x="660" y="527"/>
                </a:lnTo>
                <a:lnTo>
                  <a:pt x="661" y="542"/>
                </a:lnTo>
                <a:lnTo>
                  <a:pt x="662" y="557"/>
                </a:lnTo>
                <a:close/>
                <a:moveTo>
                  <a:pt x="608" y="173"/>
                </a:moveTo>
                <a:lnTo>
                  <a:pt x="610" y="166"/>
                </a:lnTo>
                <a:lnTo>
                  <a:pt x="612" y="159"/>
                </a:lnTo>
                <a:lnTo>
                  <a:pt x="615" y="153"/>
                </a:lnTo>
                <a:lnTo>
                  <a:pt x="620" y="146"/>
                </a:lnTo>
                <a:lnTo>
                  <a:pt x="628" y="134"/>
                </a:lnTo>
                <a:lnTo>
                  <a:pt x="639" y="123"/>
                </a:lnTo>
                <a:lnTo>
                  <a:pt x="651" y="111"/>
                </a:lnTo>
                <a:lnTo>
                  <a:pt x="663" y="100"/>
                </a:lnTo>
                <a:lnTo>
                  <a:pt x="677" y="90"/>
                </a:lnTo>
                <a:lnTo>
                  <a:pt x="692" y="81"/>
                </a:lnTo>
                <a:lnTo>
                  <a:pt x="692" y="189"/>
                </a:lnTo>
                <a:lnTo>
                  <a:pt x="632" y="249"/>
                </a:lnTo>
                <a:lnTo>
                  <a:pt x="625" y="239"/>
                </a:lnTo>
                <a:lnTo>
                  <a:pt x="618" y="230"/>
                </a:lnTo>
                <a:lnTo>
                  <a:pt x="613" y="220"/>
                </a:lnTo>
                <a:lnTo>
                  <a:pt x="610" y="210"/>
                </a:lnTo>
                <a:lnTo>
                  <a:pt x="607" y="201"/>
                </a:lnTo>
                <a:lnTo>
                  <a:pt x="606" y="191"/>
                </a:lnTo>
                <a:lnTo>
                  <a:pt x="607" y="183"/>
                </a:lnTo>
                <a:lnTo>
                  <a:pt x="608" y="173"/>
                </a:lnTo>
                <a:close/>
                <a:moveTo>
                  <a:pt x="783" y="99"/>
                </a:moveTo>
                <a:lnTo>
                  <a:pt x="722" y="159"/>
                </a:lnTo>
                <a:lnTo>
                  <a:pt x="722" y="64"/>
                </a:lnTo>
                <a:lnTo>
                  <a:pt x="740" y="55"/>
                </a:lnTo>
                <a:lnTo>
                  <a:pt x="756" y="47"/>
                </a:lnTo>
                <a:lnTo>
                  <a:pt x="771" y="42"/>
                </a:lnTo>
                <a:lnTo>
                  <a:pt x="783" y="37"/>
                </a:lnTo>
                <a:lnTo>
                  <a:pt x="783" y="99"/>
                </a:lnTo>
                <a:close/>
                <a:moveTo>
                  <a:pt x="901" y="97"/>
                </a:moveTo>
                <a:lnTo>
                  <a:pt x="897" y="94"/>
                </a:lnTo>
                <a:lnTo>
                  <a:pt x="895" y="91"/>
                </a:lnTo>
                <a:lnTo>
                  <a:pt x="892" y="90"/>
                </a:lnTo>
                <a:lnTo>
                  <a:pt x="888" y="90"/>
                </a:lnTo>
                <a:lnTo>
                  <a:pt x="813" y="90"/>
                </a:lnTo>
                <a:lnTo>
                  <a:pt x="813" y="15"/>
                </a:lnTo>
                <a:lnTo>
                  <a:pt x="813" y="11"/>
                </a:lnTo>
                <a:lnTo>
                  <a:pt x="811" y="8"/>
                </a:lnTo>
                <a:lnTo>
                  <a:pt x="809" y="6"/>
                </a:lnTo>
                <a:lnTo>
                  <a:pt x="806" y="2"/>
                </a:lnTo>
                <a:lnTo>
                  <a:pt x="803" y="1"/>
                </a:lnTo>
                <a:lnTo>
                  <a:pt x="800" y="0"/>
                </a:lnTo>
                <a:lnTo>
                  <a:pt x="796" y="0"/>
                </a:lnTo>
                <a:lnTo>
                  <a:pt x="793" y="0"/>
                </a:lnTo>
                <a:lnTo>
                  <a:pt x="783" y="5"/>
                </a:lnTo>
                <a:lnTo>
                  <a:pt x="760" y="13"/>
                </a:lnTo>
                <a:lnTo>
                  <a:pt x="745" y="20"/>
                </a:lnTo>
                <a:lnTo>
                  <a:pt x="728" y="27"/>
                </a:lnTo>
                <a:lnTo>
                  <a:pt x="711" y="36"/>
                </a:lnTo>
                <a:lnTo>
                  <a:pt x="692" y="46"/>
                </a:lnTo>
                <a:lnTo>
                  <a:pt x="673" y="57"/>
                </a:lnTo>
                <a:lnTo>
                  <a:pt x="655" y="70"/>
                </a:lnTo>
                <a:lnTo>
                  <a:pt x="638" y="83"/>
                </a:lnTo>
                <a:lnTo>
                  <a:pt x="622" y="98"/>
                </a:lnTo>
                <a:lnTo>
                  <a:pt x="614" y="105"/>
                </a:lnTo>
                <a:lnTo>
                  <a:pt x="607" y="113"/>
                </a:lnTo>
                <a:lnTo>
                  <a:pt x="600" y="121"/>
                </a:lnTo>
                <a:lnTo>
                  <a:pt x="595" y="130"/>
                </a:lnTo>
                <a:lnTo>
                  <a:pt x="589" y="139"/>
                </a:lnTo>
                <a:lnTo>
                  <a:pt x="585" y="147"/>
                </a:lnTo>
                <a:lnTo>
                  <a:pt x="581" y="157"/>
                </a:lnTo>
                <a:lnTo>
                  <a:pt x="579" y="165"/>
                </a:lnTo>
                <a:lnTo>
                  <a:pt x="577" y="179"/>
                </a:lnTo>
                <a:lnTo>
                  <a:pt x="576" y="192"/>
                </a:lnTo>
                <a:lnTo>
                  <a:pt x="578" y="205"/>
                </a:lnTo>
                <a:lnTo>
                  <a:pt x="581" y="218"/>
                </a:lnTo>
                <a:lnTo>
                  <a:pt x="585" y="232"/>
                </a:lnTo>
                <a:lnTo>
                  <a:pt x="593" y="245"/>
                </a:lnTo>
                <a:lnTo>
                  <a:pt x="601" y="258"/>
                </a:lnTo>
                <a:lnTo>
                  <a:pt x="611" y="270"/>
                </a:lnTo>
                <a:lnTo>
                  <a:pt x="580" y="302"/>
                </a:lnTo>
                <a:lnTo>
                  <a:pt x="568" y="291"/>
                </a:lnTo>
                <a:lnTo>
                  <a:pt x="556" y="281"/>
                </a:lnTo>
                <a:lnTo>
                  <a:pt x="543" y="273"/>
                </a:lnTo>
                <a:lnTo>
                  <a:pt x="531" y="264"/>
                </a:lnTo>
                <a:lnTo>
                  <a:pt x="517" y="255"/>
                </a:lnTo>
                <a:lnTo>
                  <a:pt x="503" y="248"/>
                </a:lnTo>
                <a:lnTo>
                  <a:pt x="489" y="242"/>
                </a:lnTo>
                <a:lnTo>
                  <a:pt x="474" y="235"/>
                </a:lnTo>
                <a:lnTo>
                  <a:pt x="459" y="230"/>
                </a:lnTo>
                <a:lnTo>
                  <a:pt x="444" y="224"/>
                </a:lnTo>
                <a:lnTo>
                  <a:pt x="428" y="220"/>
                </a:lnTo>
                <a:lnTo>
                  <a:pt x="411" y="217"/>
                </a:lnTo>
                <a:lnTo>
                  <a:pt x="395" y="215"/>
                </a:lnTo>
                <a:lnTo>
                  <a:pt x="379" y="213"/>
                </a:lnTo>
                <a:lnTo>
                  <a:pt x="363" y="212"/>
                </a:lnTo>
                <a:lnTo>
                  <a:pt x="346" y="210"/>
                </a:lnTo>
                <a:lnTo>
                  <a:pt x="328" y="212"/>
                </a:lnTo>
                <a:lnTo>
                  <a:pt x="311" y="213"/>
                </a:lnTo>
                <a:lnTo>
                  <a:pt x="293" y="215"/>
                </a:lnTo>
                <a:lnTo>
                  <a:pt x="276" y="218"/>
                </a:lnTo>
                <a:lnTo>
                  <a:pt x="259" y="221"/>
                </a:lnTo>
                <a:lnTo>
                  <a:pt x="243" y="227"/>
                </a:lnTo>
                <a:lnTo>
                  <a:pt x="227" y="232"/>
                </a:lnTo>
                <a:lnTo>
                  <a:pt x="212" y="238"/>
                </a:lnTo>
                <a:lnTo>
                  <a:pt x="196" y="245"/>
                </a:lnTo>
                <a:lnTo>
                  <a:pt x="181" y="252"/>
                </a:lnTo>
                <a:lnTo>
                  <a:pt x="167" y="261"/>
                </a:lnTo>
                <a:lnTo>
                  <a:pt x="153" y="269"/>
                </a:lnTo>
                <a:lnTo>
                  <a:pt x="139" y="279"/>
                </a:lnTo>
                <a:lnTo>
                  <a:pt x="126" y="290"/>
                </a:lnTo>
                <a:lnTo>
                  <a:pt x="113" y="301"/>
                </a:lnTo>
                <a:lnTo>
                  <a:pt x="102" y="312"/>
                </a:lnTo>
                <a:lnTo>
                  <a:pt x="90" y="324"/>
                </a:lnTo>
                <a:lnTo>
                  <a:pt x="79" y="337"/>
                </a:lnTo>
                <a:lnTo>
                  <a:pt x="68" y="350"/>
                </a:lnTo>
                <a:lnTo>
                  <a:pt x="59" y="364"/>
                </a:lnTo>
                <a:lnTo>
                  <a:pt x="50" y="378"/>
                </a:lnTo>
                <a:lnTo>
                  <a:pt x="41" y="392"/>
                </a:lnTo>
                <a:lnTo>
                  <a:pt x="34" y="407"/>
                </a:lnTo>
                <a:lnTo>
                  <a:pt x="27" y="422"/>
                </a:lnTo>
                <a:lnTo>
                  <a:pt x="21" y="438"/>
                </a:lnTo>
                <a:lnTo>
                  <a:pt x="16" y="454"/>
                </a:lnTo>
                <a:lnTo>
                  <a:pt x="10" y="470"/>
                </a:lnTo>
                <a:lnTo>
                  <a:pt x="7" y="487"/>
                </a:lnTo>
                <a:lnTo>
                  <a:pt x="4" y="504"/>
                </a:lnTo>
                <a:lnTo>
                  <a:pt x="2" y="521"/>
                </a:lnTo>
                <a:lnTo>
                  <a:pt x="1" y="539"/>
                </a:lnTo>
                <a:lnTo>
                  <a:pt x="0" y="557"/>
                </a:lnTo>
                <a:lnTo>
                  <a:pt x="1" y="574"/>
                </a:lnTo>
                <a:lnTo>
                  <a:pt x="2" y="590"/>
                </a:lnTo>
                <a:lnTo>
                  <a:pt x="4" y="606"/>
                </a:lnTo>
                <a:lnTo>
                  <a:pt x="6" y="622"/>
                </a:lnTo>
                <a:lnTo>
                  <a:pt x="9" y="638"/>
                </a:lnTo>
                <a:lnTo>
                  <a:pt x="14" y="654"/>
                </a:lnTo>
                <a:lnTo>
                  <a:pt x="19" y="669"/>
                </a:lnTo>
                <a:lnTo>
                  <a:pt x="24" y="684"/>
                </a:lnTo>
                <a:lnTo>
                  <a:pt x="31" y="699"/>
                </a:lnTo>
                <a:lnTo>
                  <a:pt x="37" y="713"/>
                </a:lnTo>
                <a:lnTo>
                  <a:pt x="45" y="727"/>
                </a:lnTo>
                <a:lnTo>
                  <a:pt x="53" y="740"/>
                </a:lnTo>
                <a:lnTo>
                  <a:pt x="62" y="754"/>
                </a:lnTo>
                <a:lnTo>
                  <a:pt x="70" y="767"/>
                </a:lnTo>
                <a:lnTo>
                  <a:pt x="81" y="779"/>
                </a:lnTo>
                <a:lnTo>
                  <a:pt x="91" y="791"/>
                </a:lnTo>
                <a:lnTo>
                  <a:pt x="4" y="877"/>
                </a:lnTo>
                <a:lnTo>
                  <a:pt x="3" y="880"/>
                </a:lnTo>
                <a:lnTo>
                  <a:pt x="1" y="882"/>
                </a:lnTo>
                <a:lnTo>
                  <a:pt x="0" y="885"/>
                </a:lnTo>
                <a:lnTo>
                  <a:pt x="0" y="888"/>
                </a:lnTo>
                <a:lnTo>
                  <a:pt x="0" y="890"/>
                </a:lnTo>
                <a:lnTo>
                  <a:pt x="1" y="894"/>
                </a:lnTo>
                <a:lnTo>
                  <a:pt x="3" y="896"/>
                </a:lnTo>
                <a:lnTo>
                  <a:pt x="4" y="899"/>
                </a:lnTo>
                <a:lnTo>
                  <a:pt x="7" y="900"/>
                </a:lnTo>
                <a:lnTo>
                  <a:pt x="9" y="902"/>
                </a:lnTo>
                <a:lnTo>
                  <a:pt x="12" y="903"/>
                </a:lnTo>
                <a:lnTo>
                  <a:pt x="15" y="903"/>
                </a:lnTo>
                <a:lnTo>
                  <a:pt x="18" y="903"/>
                </a:lnTo>
                <a:lnTo>
                  <a:pt x="21" y="902"/>
                </a:lnTo>
                <a:lnTo>
                  <a:pt x="23" y="900"/>
                </a:lnTo>
                <a:lnTo>
                  <a:pt x="25" y="899"/>
                </a:lnTo>
                <a:lnTo>
                  <a:pt x="112" y="812"/>
                </a:lnTo>
                <a:lnTo>
                  <a:pt x="124" y="822"/>
                </a:lnTo>
                <a:lnTo>
                  <a:pt x="137" y="832"/>
                </a:lnTo>
                <a:lnTo>
                  <a:pt x="149" y="841"/>
                </a:lnTo>
                <a:lnTo>
                  <a:pt x="163" y="850"/>
                </a:lnTo>
                <a:lnTo>
                  <a:pt x="176" y="858"/>
                </a:lnTo>
                <a:lnTo>
                  <a:pt x="189" y="866"/>
                </a:lnTo>
                <a:lnTo>
                  <a:pt x="203" y="872"/>
                </a:lnTo>
                <a:lnTo>
                  <a:pt x="218" y="879"/>
                </a:lnTo>
                <a:lnTo>
                  <a:pt x="233" y="884"/>
                </a:lnTo>
                <a:lnTo>
                  <a:pt x="248" y="889"/>
                </a:lnTo>
                <a:lnTo>
                  <a:pt x="265" y="894"/>
                </a:lnTo>
                <a:lnTo>
                  <a:pt x="281" y="897"/>
                </a:lnTo>
                <a:lnTo>
                  <a:pt x="297" y="899"/>
                </a:lnTo>
                <a:lnTo>
                  <a:pt x="313" y="901"/>
                </a:lnTo>
                <a:lnTo>
                  <a:pt x="329" y="902"/>
                </a:lnTo>
                <a:lnTo>
                  <a:pt x="346" y="903"/>
                </a:lnTo>
                <a:lnTo>
                  <a:pt x="363" y="902"/>
                </a:lnTo>
                <a:lnTo>
                  <a:pt x="379" y="901"/>
                </a:lnTo>
                <a:lnTo>
                  <a:pt x="395" y="899"/>
                </a:lnTo>
                <a:lnTo>
                  <a:pt x="411" y="897"/>
                </a:lnTo>
                <a:lnTo>
                  <a:pt x="428" y="894"/>
                </a:lnTo>
                <a:lnTo>
                  <a:pt x="444" y="889"/>
                </a:lnTo>
                <a:lnTo>
                  <a:pt x="459" y="884"/>
                </a:lnTo>
                <a:lnTo>
                  <a:pt x="474" y="879"/>
                </a:lnTo>
                <a:lnTo>
                  <a:pt x="489" y="872"/>
                </a:lnTo>
                <a:lnTo>
                  <a:pt x="503" y="866"/>
                </a:lnTo>
                <a:lnTo>
                  <a:pt x="517" y="858"/>
                </a:lnTo>
                <a:lnTo>
                  <a:pt x="531" y="850"/>
                </a:lnTo>
                <a:lnTo>
                  <a:pt x="543" y="841"/>
                </a:lnTo>
                <a:lnTo>
                  <a:pt x="556" y="832"/>
                </a:lnTo>
                <a:lnTo>
                  <a:pt x="568" y="822"/>
                </a:lnTo>
                <a:lnTo>
                  <a:pt x="580" y="812"/>
                </a:lnTo>
                <a:lnTo>
                  <a:pt x="667" y="899"/>
                </a:lnTo>
                <a:lnTo>
                  <a:pt x="669" y="900"/>
                </a:lnTo>
                <a:lnTo>
                  <a:pt x="672" y="902"/>
                </a:lnTo>
                <a:lnTo>
                  <a:pt x="674" y="903"/>
                </a:lnTo>
                <a:lnTo>
                  <a:pt x="677" y="903"/>
                </a:lnTo>
                <a:lnTo>
                  <a:pt x="681" y="903"/>
                </a:lnTo>
                <a:lnTo>
                  <a:pt x="683" y="902"/>
                </a:lnTo>
                <a:lnTo>
                  <a:pt x="686" y="900"/>
                </a:lnTo>
                <a:lnTo>
                  <a:pt x="688" y="899"/>
                </a:lnTo>
                <a:lnTo>
                  <a:pt x="690" y="896"/>
                </a:lnTo>
                <a:lnTo>
                  <a:pt x="691" y="894"/>
                </a:lnTo>
                <a:lnTo>
                  <a:pt x="692" y="890"/>
                </a:lnTo>
                <a:lnTo>
                  <a:pt x="692" y="888"/>
                </a:lnTo>
                <a:lnTo>
                  <a:pt x="692" y="885"/>
                </a:lnTo>
                <a:lnTo>
                  <a:pt x="691" y="882"/>
                </a:lnTo>
                <a:lnTo>
                  <a:pt x="690" y="880"/>
                </a:lnTo>
                <a:lnTo>
                  <a:pt x="688" y="877"/>
                </a:lnTo>
                <a:lnTo>
                  <a:pt x="601" y="791"/>
                </a:lnTo>
                <a:lnTo>
                  <a:pt x="612" y="779"/>
                </a:lnTo>
                <a:lnTo>
                  <a:pt x="622" y="767"/>
                </a:lnTo>
                <a:lnTo>
                  <a:pt x="630" y="754"/>
                </a:lnTo>
                <a:lnTo>
                  <a:pt x="639" y="740"/>
                </a:lnTo>
                <a:lnTo>
                  <a:pt x="647" y="727"/>
                </a:lnTo>
                <a:lnTo>
                  <a:pt x="655" y="713"/>
                </a:lnTo>
                <a:lnTo>
                  <a:pt x="661" y="699"/>
                </a:lnTo>
                <a:lnTo>
                  <a:pt x="668" y="684"/>
                </a:lnTo>
                <a:lnTo>
                  <a:pt x="673" y="669"/>
                </a:lnTo>
                <a:lnTo>
                  <a:pt x="679" y="654"/>
                </a:lnTo>
                <a:lnTo>
                  <a:pt x="683" y="638"/>
                </a:lnTo>
                <a:lnTo>
                  <a:pt x="686" y="622"/>
                </a:lnTo>
                <a:lnTo>
                  <a:pt x="689" y="606"/>
                </a:lnTo>
                <a:lnTo>
                  <a:pt x="690" y="590"/>
                </a:lnTo>
                <a:lnTo>
                  <a:pt x="691" y="574"/>
                </a:lnTo>
                <a:lnTo>
                  <a:pt x="692" y="557"/>
                </a:lnTo>
                <a:lnTo>
                  <a:pt x="691" y="540"/>
                </a:lnTo>
                <a:lnTo>
                  <a:pt x="690" y="524"/>
                </a:lnTo>
                <a:lnTo>
                  <a:pt x="689" y="507"/>
                </a:lnTo>
                <a:lnTo>
                  <a:pt x="686" y="491"/>
                </a:lnTo>
                <a:lnTo>
                  <a:pt x="683" y="475"/>
                </a:lnTo>
                <a:lnTo>
                  <a:pt x="679" y="459"/>
                </a:lnTo>
                <a:lnTo>
                  <a:pt x="673" y="444"/>
                </a:lnTo>
                <a:lnTo>
                  <a:pt x="668" y="429"/>
                </a:lnTo>
                <a:lnTo>
                  <a:pt x="661" y="414"/>
                </a:lnTo>
                <a:lnTo>
                  <a:pt x="655" y="400"/>
                </a:lnTo>
                <a:lnTo>
                  <a:pt x="647" y="386"/>
                </a:lnTo>
                <a:lnTo>
                  <a:pt x="639" y="372"/>
                </a:lnTo>
                <a:lnTo>
                  <a:pt x="630" y="359"/>
                </a:lnTo>
                <a:lnTo>
                  <a:pt x="622" y="347"/>
                </a:lnTo>
                <a:lnTo>
                  <a:pt x="612" y="335"/>
                </a:lnTo>
                <a:lnTo>
                  <a:pt x="601" y="323"/>
                </a:lnTo>
                <a:lnTo>
                  <a:pt x="632" y="292"/>
                </a:lnTo>
                <a:lnTo>
                  <a:pt x="642" y="299"/>
                </a:lnTo>
                <a:lnTo>
                  <a:pt x="653" y="307"/>
                </a:lnTo>
                <a:lnTo>
                  <a:pt x="662" y="313"/>
                </a:lnTo>
                <a:lnTo>
                  <a:pt x="673" y="318"/>
                </a:lnTo>
                <a:lnTo>
                  <a:pt x="684" y="322"/>
                </a:lnTo>
                <a:lnTo>
                  <a:pt x="694" y="325"/>
                </a:lnTo>
                <a:lnTo>
                  <a:pt x="704" y="326"/>
                </a:lnTo>
                <a:lnTo>
                  <a:pt x="714" y="327"/>
                </a:lnTo>
                <a:lnTo>
                  <a:pt x="725" y="326"/>
                </a:lnTo>
                <a:lnTo>
                  <a:pt x="735" y="324"/>
                </a:lnTo>
                <a:lnTo>
                  <a:pt x="746" y="322"/>
                </a:lnTo>
                <a:lnTo>
                  <a:pt x="756" y="318"/>
                </a:lnTo>
                <a:lnTo>
                  <a:pt x="765" y="313"/>
                </a:lnTo>
                <a:lnTo>
                  <a:pt x="774" y="308"/>
                </a:lnTo>
                <a:lnTo>
                  <a:pt x="784" y="302"/>
                </a:lnTo>
                <a:lnTo>
                  <a:pt x="792" y="294"/>
                </a:lnTo>
                <a:lnTo>
                  <a:pt x="801" y="287"/>
                </a:lnTo>
                <a:lnTo>
                  <a:pt x="808" y="278"/>
                </a:lnTo>
                <a:lnTo>
                  <a:pt x="816" y="269"/>
                </a:lnTo>
                <a:lnTo>
                  <a:pt x="823" y="261"/>
                </a:lnTo>
                <a:lnTo>
                  <a:pt x="838" y="242"/>
                </a:lnTo>
                <a:lnTo>
                  <a:pt x="850" y="222"/>
                </a:lnTo>
                <a:lnTo>
                  <a:pt x="862" y="202"/>
                </a:lnTo>
                <a:lnTo>
                  <a:pt x="872" y="183"/>
                </a:lnTo>
                <a:lnTo>
                  <a:pt x="881" y="164"/>
                </a:lnTo>
                <a:lnTo>
                  <a:pt x="888" y="147"/>
                </a:lnTo>
                <a:lnTo>
                  <a:pt x="898" y="121"/>
                </a:lnTo>
                <a:lnTo>
                  <a:pt x="903" y="110"/>
                </a:lnTo>
                <a:lnTo>
                  <a:pt x="903" y="106"/>
                </a:lnTo>
                <a:lnTo>
                  <a:pt x="903" y="103"/>
                </a:lnTo>
                <a:lnTo>
                  <a:pt x="902" y="100"/>
                </a:lnTo>
                <a:lnTo>
                  <a:pt x="901" y="97"/>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nvGrpSpPr>
          <p:cNvPr id="273" name="Group 175">
            <a:extLst>
              <a:ext uri="{FF2B5EF4-FFF2-40B4-BE49-F238E27FC236}">
                <a16:creationId xmlns:a16="http://schemas.microsoft.com/office/drawing/2014/main" id="{59412B86-5B03-49D7-B51F-69841A9668D7}"/>
              </a:ext>
            </a:extLst>
          </p:cNvPr>
          <p:cNvGrpSpPr>
            <a:grpSpLocks noChangeAspect="1"/>
          </p:cNvGrpSpPr>
          <p:nvPr/>
        </p:nvGrpSpPr>
        <p:grpSpPr>
          <a:xfrm>
            <a:off x="1088117" y="1647825"/>
            <a:ext cx="262364" cy="306484"/>
            <a:chOff x="6932613" y="152400"/>
            <a:chExt cx="708025" cy="827088"/>
          </a:xfrm>
          <a:solidFill>
            <a:schemeClr val="bg2"/>
          </a:solidFill>
          <a:effectLst/>
        </p:grpSpPr>
        <p:sp>
          <p:nvSpPr>
            <p:cNvPr id="325" name="Freeform 16">
              <a:extLst>
                <a:ext uri="{FF2B5EF4-FFF2-40B4-BE49-F238E27FC236}">
                  <a16:creationId xmlns:a16="http://schemas.microsoft.com/office/drawing/2014/main" id="{885357FF-89BE-426B-9BA4-59CF32D8DB99}"/>
                </a:ext>
              </a:extLst>
            </p:cNvPr>
            <p:cNvSpPr>
              <a:spLocks noEditPoints="1"/>
            </p:cNvSpPr>
            <p:nvPr/>
          </p:nvSpPr>
          <p:spPr bwMode="auto">
            <a:xfrm>
              <a:off x="6932613" y="152400"/>
              <a:ext cx="708025" cy="827088"/>
            </a:xfrm>
            <a:custGeom>
              <a:avLst/>
              <a:gdLst>
                <a:gd name="T0" fmla="*/ 268 w 446"/>
                <a:gd name="T1" fmla="*/ 63 h 521"/>
                <a:gd name="T2" fmla="*/ 269 w 446"/>
                <a:gd name="T3" fmla="*/ 37 h 521"/>
                <a:gd name="T4" fmla="*/ 249 w 446"/>
                <a:gd name="T5" fmla="*/ 9 h 521"/>
                <a:gd name="T6" fmla="*/ 223 w 446"/>
                <a:gd name="T7" fmla="*/ 0 h 521"/>
                <a:gd name="T8" fmla="*/ 191 w 446"/>
                <a:gd name="T9" fmla="*/ 14 h 521"/>
                <a:gd name="T10" fmla="*/ 177 w 446"/>
                <a:gd name="T11" fmla="*/ 46 h 521"/>
                <a:gd name="T12" fmla="*/ 184 w 446"/>
                <a:gd name="T13" fmla="*/ 70 h 521"/>
                <a:gd name="T14" fmla="*/ 150 w 446"/>
                <a:gd name="T15" fmla="*/ 87 h 521"/>
                <a:gd name="T16" fmla="*/ 82 w 446"/>
                <a:gd name="T17" fmla="*/ 124 h 521"/>
                <a:gd name="T18" fmla="*/ 33 w 446"/>
                <a:gd name="T19" fmla="*/ 184 h 521"/>
                <a:gd name="T20" fmla="*/ 4 w 446"/>
                <a:gd name="T21" fmla="*/ 257 h 521"/>
                <a:gd name="T22" fmla="*/ 2 w 446"/>
                <a:gd name="T23" fmla="*/ 320 h 521"/>
                <a:gd name="T24" fmla="*/ 28 w 446"/>
                <a:gd name="T25" fmla="*/ 403 h 521"/>
                <a:gd name="T26" fmla="*/ 82 w 446"/>
                <a:gd name="T27" fmla="*/ 469 h 521"/>
                <a:gd name="T28" fmla="*/ 157 w 446"/>
                <a:gd name="T29" fmla="*/ 510 h 521"/>
                <a:gd name="T30" fmla="*/ 223 w 446"/>
                <a:gd name="T31" fmla="*/ 521 h 521"/>
                <a:gd name="T32" fmla="*/ 310 w 446"/>
                <a:gd name="T33" fmla="*/ 502 h 521"/>
                <a:gd name="T34" fmla="*/ 381 w 446"/>
                <a:gd name="T35" fmla="*/ 454 h 521"/>
                <a:gd name="T36" fmla="*/ 429 w 446"/>
                <a:gd name="T37" fmla="*/ 384 h 521"/>
                <a:gd name="T38" fmla="*/ 446 w 446"/>
                <a:gd name="T39" fmla="*/ 298 h 521"/>
                <a:gd name="T40" fmla="*/ 438 w 446"/>
                <a:gd name="T41" fmla="*/ 236 h 521"/>
                <a:gd name="T42" fmla="*/ 404 w 446"/>
                <a:gd name="T43" fmla="*/ 167 h 521"/>
                <a:gd name="T44" fmla="*/ 349 w 446"/>
                <a:gd name="T45" fmla="*/ 112 h 521"/>
                <a:gd name="T46" fmla="*/ 278 w 446"/>
                <a:gd name="T47" fmla="*/ 82 h 521"/>
                <a:gd name="T48" fmla="*/ 223 w 446"/>
                <a:gd name="T49" fmla="*/ 19 h 521"/>
                <a:gd name="T50" fmla="*/ 244 w 446"/>
                <a:gd name="T51" fmla="*/ 27 h 521"/>
                <a:gd name="T52" fmla="*/ 251 w 446"/>
                <a:gd name="T53" fmla="*/ 46 h 521"/>
                <a:gd name="T54" fmla="*/ 247 w 446"/>
                <a:gd name="T55" fmla="*/ 61 h 521"/>
                <a:gd name="T56" fmla="*/ 228 w 446"/>
                <a:gd name="T57" fmla="*/ 73 h 521"/>
                <a:gd name="T58" fmla="*/ 213 w 446"/>
                <a:gd name="T59" fmla="*/ 71 h 521"/>
                <a:gd name="T60" fmla="*/ 198 w 446"/>
                <a:gd name="T61" fmla="*/ 58 h 521"/>
                <a:gd name="T62" fmla="*/ 196 w 446"/>
                <a:gd name="T63" fmla="*/ 41 h 521"/>
                <a:gd name="T64" fmla="*/ 208 w 446"/>
                <a:gd name="T65" fmla="*/ 24 h 521"/>
                <a:gd name="T66" fmla="*/ 223 w 446"/>
                <a:gd name="T67" fmla="*/ 19 h 521"/>
                <a:gd name="T68" fmla="*/ 182 w 446"/>
                <a:gd name="T69" fmla="*/ 497 h 521"/>
                <a:gd name="T70" fmla="*/ 109 w 446"/>
                <a:gd name="T71" fmla="*/ 466 h 521"/>
                <a:gd name="T72" fmla="*/ 55 w 446"/>
                <a:gd name="T73" fmla="*/ 412 h 521"/>
                <a:gd name="T74" fmla="*/ 23 w 446"/>
                <a:gd name="T75" fmla="*/ 339 h 521"/>
                <a:gd name="T76" fmla="*/ 21 w 446"/>
                <a:gd name="T77" fmla="*/ 276 h 521"/>
                <a:gd name="T78" fmla="*/ 45 w 446"/>
                <a:gd name="T79" fmla="*/ 201 h 521"/>
                <a:gd name="T80" fmla="*/ 94 w 446"/>
                <a:gd name="T81" fmla="*/ 139 h 521"/>
                <a:gd name="T82" fmla="*/ 162 w 446"/>
                <a:gd name="T83" fmla="*/ 102 h 521"/>
                <a:gd name="T84" fmla="*/ 223 w 446"/>
                <a:gd name="T85" fmla="*/ 94 h 521"/>
                <a:gd name="T86" fmla="*/ 303 w 446"/>
                <a:gd name="T87" fmla="*/ 109 h 521"/>
                <a:gd name="T88" fmla="*/ 368 w 446"/>
                <a:gd name="T89" fmla="*/ 153 h 521"/>
                <a:gd name="T90" fmla="*/ 412 w 446"/>
                <a:gd name="T91" fmla="*/ 218 h 521"/>
                <a:gd name="T92" fmla="*/ 427 w 446"/>
                <a:gd name="T93" fmla="*/ 298 h 521"/>
                <a:gd name="T94" fmla="*/ 419 w 446"/>
                <a:gd name="T95" fmla="*/ 357 h 521"/>
                <a:gd name="T96" fmla="*/ 381 w 446"/>
                <a:gd name="T97" fmla="*/ 427 h 521"/>
                <a:gd name="T98" fmla="*/ 320 w 446"/>
                <a:gd name="T99" fmla="*/ 476 h 521"/>
                <a:gd name="T100" fmla="*/ 244 w 446"/>
                <a:gd name="T101" fmla="*/ 50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6" h="521">
                  <a:moveTo>
                    <a:pt x="257" y="77"/>
                  </a:moveTo>
                  <a:lnTo>
                    <a:pt x="257" y="77"/>
                  </a:lnTo>
                  <a:lnTo>
                    <a:pt x="262" y="70"/>
                  </a:lnTo>
                  <a:lnTo>
                    <a:pt x="268" y="63"/>
                  </a:lnTo>
                  <a:lnTo>
                    <a:pt x="269" y="54"/>
                  </a:lnTo>
                  <a:lnTo>
                    <a:pt x="269" y="46"/>
                  </a:lnTo>
                  <a:lnTo>
                    <a:pt x="269" y="46"/>
                  </a:lnTo>
                  <a:lnTo>
                    <a:pt x="269" y="37"/>
                  </a:lnTo>
                  <a:lnTo>
                    <a:pt x="266" y="29"/>
                  </a:lnTo>
                  <a:lnTo>
                    <a:pt x="262" y="20"/>
                  </a:lnTo>
                  <a:lnTo>
                    <a:pt x="256" y="14"/>
                  </a:lnTo>
                  <a:lnTo>
                    <a:pt x="249" y="9"/>
                  </a:lnTo>
                  <a:lnTo>
                    <a:pt x="242" y="3"/>
                  </a:lnTo>
                  <a:lnTo>
                    <a:pt x="233" y="2"/>
                  </a:lnTo>
                  <a:lnTo>
                    <a:pt x="223" y="0"/>
                  </a:lnTo>
                  <a:lnTo>
                    <a:pt x="223" y="0"/>
                  </a:lnTo>
                  <a:lnTo>
                    <a:pt x="215" y="2"/>
                  </a:lnTo>
                  <a:lnTo>
                    <a:pt x="205" y="3"/>
                  </a:lnTo>
                  <a:lnTo>
                    <a:pt x="198" y="9"/>
                  </a:lnTo>
                  <a:lnTo>
                    <a:pt x="191" y="14"/>
                  </a:lnTo>
                  <a:lnTo>
                    <a:pt x="184" y="20"/>
                  </a:lnTo>
                  <a:lnTo>
                    <a:pt x="181" y="29"/>
                  </a:lnTo>
                  <a:lnTo>
                    <a:pt x="177" y="37"/>
                  </a:lnTo>
                  <a:lnTo>
                    <a:pt x="177" y="46"/>
                  </a:lnTo>
                  <a:lnTo>
                    <a:pt x="177" y="46"/>
                  </a:lnTo>
                  <a:lnTo>
                    <a:pt x="177" y="54"/>
                  </a:lnTo>
                  <a:lnTo>
                    <a:pt x="181" y="63"/>
                  </a:lnTo>
                  <a:lnTo>
                    <a:pt x="184" y="70"/>
                  </a:lnTo>
                  <a:lnTo>
                    <a:pt x="189" y="77"/>
                  </a:lnTo>
                  <a:lnTo>
                    <a:pt x="189" y="77"/>
                  </a:lnTo>
                  <a:lnTo>
                    <a:pt x="169" y="82"/>
                  </a:lnTo>
                  <a:lnTo>
                    <a:pt x="150" y="87"/>
                  </a:lnTo>
                  <a:lnTo>
                    <a:pt x="131" y="94"/>
                  </a:lnTo>
                  <a:lnTo>
                    <a:pt x="114" y="102"/>
                  </a:lnTo>
                  <a:lnTo>
                    <a:pt x="97" y="112"/>
                  </a:lnTo>
                  <a:lnTo>
                    <a:pt x="82" y="124"/>
                  </a:lnTo>
                  <a:lnTo>
                    <a:pt x="68" y="138"/>
                  </a:lnTo>
                  <a:lnTo>
                    <a:pt x="55" y="151"/>
                  </a:lnTo>
                  <a:lnTo>
                    <a:pt x="43" y="167"/>
                  </a:lnTo>
                  <a:lnTo>
                    <a:pt x="33" y="184"/>
                  </a:lnTo>
                  <a:lnTo>
                    <a:pt x="23" y="201"/>
                  </a:lnTo>
                  <a:lnTo>
                    <a:pt x="16" y="218"/>
                  </a:lnTo>
                  <a:lnTo>
                    <a:pt x="9" y="236"/>
                  </a:lnTo>
                  <a:lnTo>
                    <a:pt x="4" y="257"/>
                  </a:lnTo>
                  <a:lnTo>
                    <a:pt x="2" y="277"/>
                  </a:lnTo>
                  <a:lnTo>
                    <a:pt x="0" y="298"/>
                  </a:lnTo>
                  <a:lnTo>
                    <a:pt x="0" y="298"/>
                  </a:lnTo>
                  <a:lnTo>
                    <a:pt x="2" y="320"/>
                  </a:lnTo>
                  <a:lnTo>
                    <a:pt x="6" y="342"/>
                  </a:lnTo>
                  <a:lnTo>
                    <a:pt x="11" y="364"/>
                  </a:lnTo>
                  <a:lnTo>
                    <a:pt x="17" y="384"/>
                  </a:lnTo>
                  <a:lnTo>
                    <a:pt x="28" y="403"/>
                  </a:lnTo>
                  <a:lnTo>
                    <a:pt x="38" y="422"/>
                  </a:lnTo>
                  <a:lnTo>
                    <a:pt x="51" y="439"/>
                  </a:lnTo>
                  <a:lnTo>
                    <a:pt x="65" y="454"/>
                  </a:lnTo>
                  <a:lnTo>
                    <a:pt x="82" y="469"/>
                  </a:lnTo>
                  <a:lnTo>
                    <a:pt x="99" y="481"/>
                  </a:lnTo>
                  <a:lnTo>
                    <a:pt x="118" y="493"/>
                  </a:lnTo>
                  <a:lnTo>
                    <a:pt x="137" y="502"/>
                  </a:lnTo>
                  <a:lnTo>
                    <a:pt x="157" y="510"/>
                  </a:lnTo>
                  <a:lnTo>
                    <a:pt x="179" y="515"/>
                  </a:lnTo>
                  <a:lnTo>
                    <a:pt x="201" y="519"/>
                  </a:lnTo>
                  <a:lnTo>
                    <a:pt x="223" y="521"/>
                  </a:lnTo>
                  <a:lnTo>
                    <a:pt x="223" y="521"/>
                  </a:lnTo>
                  <a:lnTo>
                    <a:pt x="245" y="519"/>
                  </a:lnTo>
                  <a:lnTo>
                    <a:pt x="269" y="515"/>
                  </a:lnTo>
                  <a:lnTo>
                    <a:pt x="290" y="510"/>
                  </a:lnTo>
                  <a:lnTo>
                    <a:pt x="310" y="502"/>
                  </a:lnTo>
                  <a:lnTo>
                    <a:pt x="330" y="493"/>
                  </a:lnTo>
                  <a:lnTo>
                    <a:pt x="347" y="481"/>
                  </a:lnTo>
                  <a:lnTo>
                    <a:pt x="364" y="469"/>
                  </a:lnTo>
                  <a:lnTo>
                    <a:pt x="381" y="454"/>
                  </a:lnTo>
                  <a:lnTo>
                    <a:pt x="395" y="439"/>
                  </a:lnTo>
                  <a:lnTo>
                    <a:pt x="409" y="422"/>
                  </a:lnTo>
                  <a:lnTo>
                    <a:pt x="419" y="403"/>
                  </a:lnTo>
                  <a:lnTo>
                    <a:pt x="429" y="384"/>
                  </a:lnTo>
                  <a:lnTo>
                    <a:pt x="436" y="364"/>
                  </a:lnTo>
                  <a:lnTo>
                    <a:pt x="441" y="342"/>
                  </a:lnTo>
                  <a:lnTo>
                    <a:pt x="444" y="320"/>
                  </a:lnTo>
                  <a:lnTo>
                    <a:pt x="446" y="298"/>
                  </a:lnTo>
                  <a:lnTo>
                    <a:pt x="446" y="298"/>
                  </a:lnTo>
                  <a:lnTo>
                    <a:pt x="446" y="277"/>
                  </a:lnTo>
                  <a:lnTo>
                    <a:pt x="443" y="257"/>
                  </a:lnTo>
                  <a:lnTo>
                    <a:pt x="438" y="236"/>
                  </a:lnTo>
                  <a:lnTo>
                    <a:pt x="433" y="218"/>
                  </a:lnTo>
                  <a:lnTo>
                    <a:pt x="424" y="201"/>
                  </a:lnTo>
                  <a:lnTo>
                    <a:pt x="416" y="184"/>
                  </a:lnTo>
                  <a:lnTo>
                    <a:pt x="404" y="167"/>
                  </a:lnTo>
                  <a:lnTo>
                    <a:pt x="392" y="151"/>
                  </a:lnTo>
                  <a:lnTo>
                    <a:pt x="380" y="138"/>
                  </a:lnTo>
                  <a:lnTo>
                    <a:pt x="364" y="124"/>
                  </a:lnTo>
                  <a:lnTo>
                    <a:pt x="349" y="112"/>
                  </a:lnTo>
                  <a:lnTo>
                    <a:pt x="332" y="102"/>
                  </a:lnTo>
                  <a:lnTo>
                    <a:pt x="315" y="94"/>
                  </a:lnTo>
                  <a:lnTo>
                    <a:pt x="296" y="87"/>
                  </a:lnTo>
                  <a:lnTo>
                    <a:pt x="278" y="82"/>
                  </a:lnTo>
                  <a:lnTo>
                    <a:pt x="257" y="77"/>
                  </a:lnTo>
                  <a:lnTo>
                    <a:pt x="257" y="77"/>
                  </a:lnTo>
                  <a:close/>
                  <a:moveTo>
                    <a:pt x="223" y="19"/>
                  </a:moveTo>
                  <a:lnTo>
                    <a:pt x="223" y="19"/>
                  </a:lnTo>
                  <a:lnTo>
                    <a:pt x="228" y="19"/>
                  </a:lnTo>
                  <a:lnTo>
                    <a:pt x="233" y="20"/>
                  </a:lnTo>
                  <a:lnTo>
                    <a:pt x="239" y="24"/>
                  </a:lnTo>
                  <a:lnTo>
                    <a:pt x="244" y="27"/>
                  </a:lnTo>
                  <a:lnTo>
                    <a:pt x="247" y="31"/>
                  </a:lnTo>
                  <a:lnTo>
                    <a:pt x="249" y="36"/>
                  </a:lnTo>
                  <a:lnTo>
                    <a:pt x="251" y="41"/>
                  </a:lnTo>
                  <a:lnTo>
                    <a:pt x="251" y="46"/>
                  </a:lnTo>
                  <a:lnTo>
                    <a:pt x="251" y="46"/>
                  </a:lnTo>
                  <a:lnTo>
                    <a:pt x="251" y="53"/>
                  </a:lnTo>
                  <a:lnTo>
                    <a:pt x="249" y="58"/>
                  </a:lnTo>
                  <a:lnTo>
                    <a:pt x="247" y="61"/>
                  </a:lnTo>
                  <a:lnTo>
                    <a:pt x="244" y="66"/>
                  </a:lnTo>
                  <a:lnTo>
                    <a:pt x="239" y="70"/>
                  </a:lnTo>
                  <a:lnTo>
                    <a:pt x="233" y="71"/>
                  </a:lnTo>
                  <a:lnTo>
                    <a:pt x="228" y="73"/>
                  </a:lnTo>
                  <a:lnTo>
                    <a:pt x="223" y="75"/>
                  </a:lnTo>
                  <a:lnTo>
                    <a:pt x="223" y="75"/>
                  </a:lnTo>
                  <a:lnTo>
                    <a:pt x="218" y="73"/>
                  </a:lnTo>
                  <a:lnTo>
                    <a:pt x="213" y="71"/>
                  </a:lnTo>
                  <a:lnTo>
                    <a:pt x="208" y="70"/>
                  </a:lnTo>
                  <a:lnTo>
                    <a:pt x="205" y="66"/>
                  </a:lnTo>
                  <a:lnTo>
                    <a:pt x="201" y="61"/>
                  </a:lnTo>
                  <a:lnTo>
                    <a:pt x="198" y="58"/>
                  </a:lnTo>
                  <a:lnTo>
                    <a:pt x="196" y="53"/>
                  </a:lnTo>
                  <a:lnTo>
                    <a:pt x="196" y="46"/>
                  </a:lnTo>
                  <a:lnTo>
                    <a:pt x="196" y="46"/>
                  </a:lnTo>
                  <a:lnTo>
                    <a:pt x="196" y="41"/>
                  </a:lnTo>
                  <a:lnTo>
                    <a:pt x="198" y="36"/>
                  </a:lnTo>
                  <a:lnTo>
                    <a:pt x="201" y="31"/>
                  </a:lnTo>
                  <a:lnTo>
                    <a:pt x="205" y="27"/>
                  </a:lnTo>
                  <a:lnTo>
                    <a:pt x="208" y="24"/>
                  </a:lnTo>
                  <a:lnTo>
                    <a:pt x="213" y="20"/>
                  </a:lnTo>
                  <a:lnTo>
                    <a:pt x="218" y="19"/>
                  </a:lnTo>
                  <a:lnTo>
                    <a:pt x="223" y="19"/>
                  </a:lnTo>
                  <a:lnTo>
                    <a:pt x="223" y="19"/>
                  </a:lnTo>
                  <a:close/>
                  <a:moveTo>
                    <a:pt x="223" y="502"/>
                  </a:moveTo>
                  <a:lnTo>
                    <a:pt x="223" y="502"/>
                  </a:lnTo>
                  <a:lnTo>
                    <a:pt x="203" y="500"/>
                  </a:lnTo>
                  <a:lnTo>
                    <a:pt x="182" y="497"/>
                  </a:lnTo>
                  <a:lnTo>
                    <a:pt x="162" y="492"/>
                  </a:lnTo>
                  <a:lnTo>
                    <a:pt x="143" y="485"/>
                  </a:lnTo>
                  <a:lnTo>
                    <a:pt x="126" y="476"/>
                  </a:lnTo>
                  <a:lnTo>
                    <a:pt x="109" y="466"/>
                  </a:lnTo>
                  <a:lnTo>
                    <a:pt x="94" y="454"/>
                  </a:lnTo>
                  <a:lnTo>
                    <a:pt x="79" y="442"/>
                  </a:lnTo>
                  <a:lnTo>
                    <a:pt x="65" y="427"/>
                  </a:lnTo>
                  <a:lnTo>
                    <a:pt x="55" y="412"/>
                  </a:lnTo>
                  <a:lnTo>
                    <a:pt x="45" y="395"/>
                  </a:lnTo>
                  <a:lnTo>
                    <a:pt x="34" y="376"/>
                  </a:lnTo>
                  <a:lnTo>
                    <a:pt x="28" y="357"/>
                  </a:lnTo>
                  <a:lnTo>
                    <a:pt x="23" y="339"/>
                  </a:lnTo>
                  <a:lnTo>
                    <a:pt x="21" y="318"/>
                  </a:lnTo>
                  <a:lnTo>
                    <a:pt x="19" y="298"/>
                  </a:lnTo>
                  <a:lnTo>
                    <a:pt x="19" y="298"/>
                  </a:lnTo>
                  <a:lnTo>
                    <a:pt x="21" y="276"/>
                  </a:lnTo>
                  <a:lnTo>
                    <a:pt x="23" y="257"/>
                  </a:lnTo>
                  <a:lnTo>
                    <a:pt x="28" y="236"/>
                  </a:lnTo>
                  <a:lnTo>
                    <a:pt x="34" y="218"/>
                  </a:lnTo>
                  <a:lnTo>
                    <a:pt x="45" y="201"/>
                  </a:lnTo>
                  <a:lnTo>
                    <a:pt x="55" y="184"/>
                  </a:lnTo>
                  <a:lnTo>
                    <a:pt x="65" y="167"/>
                  </a:lnTo>
                  <a:lnTo>
                    <a:pt x="79" y="153"/>
                  </a:lnTo>
                  <a:lnTo>
                    <a:pt x="94" y="139"/>
                  </a:lnTo>
                  <a:lnTo>
                    <a:pt x="109" y="128"/>
                  </a:lnTo>
                  <a:lnTo>
                    <a:pt x="126" y="117"/>
                  </a:lnTo>
                  <a:lnTo>
                    <a:pt x="143" y="109"/>
                  </a:lnTo>
                  <a:lnTo>
                    <a:pt x="162" y="102"/>
                  </a:lnTo>
                  <a:lnTo>
                    <a:pt x="182" y="97"/>
                  </a:lnTo>
                  <a:lnTo>
                    <a:pt x="203" y="94"/>
                  </a:lnTo>
                  <a:lnTo>
                    <a:pt x="223" y="94"/>
                  </a:lnTo>
                  <a:lnTo>
                    <a:pt x="223" y="94"/>
                  </a:lnTo>
                  <a:lnTo>
                    <a:pt x="244" y="94"/>
                  </a:lnTo>
                  <a:lnTo>
                    <a:pt x="264" y="97"/>
                  </a:lnTo>
                  <a:lnTo>
                    <a:pt x="285" y="102"/>
                  </a:lnTo>
                  <a:lnTo>
                    <a:pt x="303" y="109"/>
                  </a:lnTo>
                  <a:lnTo>
                    <a:pt x="320" y="117"/>
                  </a:lnTo>
                  <a:lnTo>
                    <a:pt x="337" y="128"/>
                  </a:lnTo>
                  <a:lnTo>
                    <a:pt x="353" y="139"/>
                  </a:lnTo>
                  <a:lnTo>
                    <a:pt x="368" y="153"/>
                  </a:lnTo>
                  <a:lnTo>
                    <a:pt x="381" y="167"/>
                  </a:lnTo>
                  <a:lnTo>
                    <a:pt x="393" y="184"/>
                  </a:lnTo>
                  <a:lnTo>
                    <a:pt x="404" y="201"/>
                  </a:lnTo>
                  <a:lnTo>
                    <a:pt x="412" y="218"/>
                  </a:lnTo>
                  <a:lnTo>
                    <a:pt x="419" y="236"/>
                  </a:lnTo>
                  <a:lnTo>
                    <a:pt x="424" y="257"/>
                  </a:lnTo>
                  <a:lnTo>
                    <a:pt x="427" y="276"/>
                  </a:lnTo>
                  <a:lnTo>
                    <a:pt x="427" y="298"/>
                  </a:lnTo>
                  <a:lnTo>
                    <a:pt x="427" y="298"/>
                  </a:lnTo>
                  <a:lnTo>
                    <a:pt x="427" y="318"/>
                  </a:lnTo>
                  <a:lnTo>
                    <a:pt x="424" y="339"/>
                  </a:lnTo>
                  <a:lnTo>
                    <a:pt x="419" y="357"/>
                  </a:lnTo>
                  <a:lnTo>
                    <a:pt x="412" y="376"/>
                  </a:lnTo>
                  <a:lnTo>
                    <a:pt x="404" y="395"/>
                  </a:lnTo>
                  <a:lnTo>
                    <a:pt x="393" y="412"/>
                  </a:lnTo>
                  <a:lnTo>
                    <a:pt x="381" y="427"/>
                  </a:lnTo>
                  <a:lnTo>
                    <a:pt x="368" y="442"/>
                  </a:lnTo>
                  <a:lnTo>
                    <a:pt x="353" y="454"/>
                  </a:lnTo>
                  <a:lnTo>
                    <a:pt x="337" y="466"/>
                  </a:lnTo>
                  <a:lnTo>
                    <a:pt x="320" y="476"/>
                  </a:lnTo>
                  <a:lnTo>
                    <a:pt x="303" y="485"/>
                  </a:lnTo>
                  <a:lnTo>
                    <a:pt x="285" y="492"/>
                  </a:lnTo>
                  <a:lnTo>
                    <a:pt x="264" y="497"/>
                  </a:lnTo>
                  <a:lnTo>
                    <a:pt x="244" y="500"/>
                  </a:lnTo>
                  <a:lnTo>
                    <a:pt x="223" y="502"/>
                  </a:lnTo>
                  <a:lnTo>
                    <a:pt x="223"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
              <a:extLst>
                <a:ext uri="{FF2B5EF4-FFF2-40B4-BE49-F238E27FC236}">
                  <a16:creationId xmlns:a16="http://schemas.microsoft.com/office/drawing/2014/main" id="{46EFB5B4-2F4D-4951-A526-096500A890C6}"/>
                </a:ext>
              </a:extLst>
            </p:cNvPr>
            <p:cNvSpPr>
              <a:spLocks noEditPoints="1"/>
            </p:cNvSpPr>
            <p:nvPr/>
          </p:nvSpPr>
          <p:spPr bwMode="auto">
            <a:xfrm>
              <a:off x="7112000" y="446088"/>
              <a:ext cx="354013" cy="354013"/>
            </a:xfrm>
            <a:custGeom>
              <a:avLst/>
              <a:gdLst>
                <a:gd name="T0" fmla="*/ 0 w 223"/>
                <a:gd name="T1" fmla="*/ 223 h 223"/>
                <a:gd name="T2" fmla="*/ 149 w 223"/>
                <a:gd name="T3" fmla="*/ 152 h 223"/>
                <a:gd name="T4" fmla="*/ 223 w 223"/>
                <a:gd name="T5" fmla="*/ 0 h 223"/>
                <a:gd name="T6" fmla="*/ 69 w 223"/>
                <a:gd name="T7" fmla="*/ 72 h 223"/>
                <a:gd name="T8" fmla="*/ 0 w 223"/>
                <a:gd name="T9" fmla="*/ 223 h 223"/>
                <a:gd name="T10" fmla="*/ 80 w 223"/>
                <a:gd name="T11" fmla="*/ 96 h 223"/>
                <a:gd name="T12" fmla="*/ 127 w 223"/>
                <a:gd name="T13" fmla="*/ 143 h 223"/>
                <a:gd name="T14" fmla="*/ 37 w 223"/>
                <a:gd name="T15" fmla="*/ 184 h 223"/>
                <a:gd name="T16" fmla="*/ 80 w 223"/>
                <a:gd name="T17" fmla="*/ 96 h 223"/>
                <a:gd name="T18" fmla="*/ 141 w 223"/>
                <a:gd name="T19" fmla="*/ 130 h 223"/>
                <a:gd name="T20" fmla="*/ 93 w 223"/>
                <a:gd name="T21" fmla="*/ 82 h 223"/>
                <a:gd name="T22" fmla="*/ 183 w 223"/>
                <a:gd name="T23" fmla="*/ 40 h 223"/>
                <a:gd name="T24" fmla="*/ 141 w 223"/>
                <a:gd name="T25" fmla="*/ 13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 h="223">
                  <a:moveTo>
                    <a:pt x="0" y="223"/>
                  </a:moveTo>
                  <a:lnTo>
                    <a:pt x="149" y="152"/>
                  </a:lnTo>
                  <a:lnTo>
                    <a:pt x="223" y="0"/>
                  </a:lnTo>
                  <a:lnTo>
                    <a:pt x="69" y="72"/>
                  </a:lnTo>
                  <a:lnTo>
                    <a:pt x="0" y="223"/>
                  </a:lnTo>
                  <a:close/>
                  <a:moveTo>
                    <a:pt x="80" y="96"/>
                  </a:moveTo>
                  <a:lnTo>
                    <a:pt x="127" y="143"/>
                  </a:lnTo>
                  <a:lnTo>
                    <a:pt x="37" y="184"/>
                  </a:lnTo>
                  <a:lnTo>
                    <a:pt x="80" y="96"/>
                  </a:lnTo>
                  <a:close/>
                  <a:moveTo>
                    <a:pt x="141" y="130"/>
                  </a:moveTo>
                  <a:lnTo>
                    <a:pt x="93" y="82"/>
                  </a:lnTo>
                  <a:lnTo>
                    <a:pt x="183" y="40"/>
                  </a:lnTo>
                  <a:lnTo>
                    <a:pt x="14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4" name="Freeform 107">
            <a:extLst>
              <a:ext uri="{FF2B5EF4-FFF2-40B4-BE49-F238E27FC236}">
                <a16:creationId xmlns:a16="http://schemas.microsoft.com/office/drawing/2014/main" id="{63DE0945-E395-47E4-8894-B5250896CC68}"/>
              </a:ext>
            </a:extLst>
          </p:cNvPr>
          <p:cNvSpPr>
            <a:spLocks noChangeAspect="1" noEditPoints="1"/>
          </p:cNvSpPr>
          <p:nvPr/>
        </p:nvSpPr>
        <p:spPr bwMode="auto">
          <a:xfrm>
            <a:off x="1467779" y="1647825"/>
            <a:ext cx="307745" cy="306484"/>
          </a:xfrm>
          <a:custGeom>
            <a:avLst/>
            <a:gdLst>
              <a:gd name="T0" fmla="*/ 528 w 976"/>
              <a:gd name="T1" fmla="*/ 885 h 975"/>
              <a:gd name="T2" fmla="*/ 393 w 976"/>
              <a:gd name="T3" fmla="*/ 613 h 975"/>
              <a:gd name="T4" fmla="*/ 873 w 976"/>
              <a:gd name="T5" fmla="*/ 130 h 975"/>
              <a:gd name="T6" fmla="*/ 528 w 976"/>
              <a:gd name="T7" fmla="*/ 885 h 975"/>
              <a:gd name="T8" fmla="*/ 365 w 976"/>
              <a:gd name="T9" fmla="*/ 586 h 975"/>
              <a:gd name="T10" fmla="*/ 93 w 976"/>
              <a:gd name="T11" fmla="*/ 466 h 975"/>
              <a:gd name="T12" fmla="*/ 842 w 976"/>
              <a:gd name="T13" fmla="*/ 107 h 975"/>
              <a:gd name="T14" fmla="*/ 365 w 976"/>
              <a:gd name="T15" fmla="*/ 586 h 975"/>
              <a:gd name="T16" fmla="*/ 356 w 976"/>
              <a:gd name="T17" fmla="*/ 624 h 975"/>
              <a:gd name="T18" fmla="*/ 530 w 976"/>
              <a:gd name="T19" fmla="*/ 975 h 975"/>
              <a:gd name="T20" fmla="*/ 976 w 976"/>
              <a:gd name="T21" fmla="*/ 0 h 975"/>
              <a:gd name="T22" fmla="*/ 0 w 976"/>
              <a:gd name="T23" fmla="*/ 467 h 975"/>
              <a:gd name="T24" fmla="*/ 356 w 976"/>
              <a:gd name="T25"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6" h="975">
                <a:moveTo>
                  <a:pt x="528" y="885"/>
                </a:moveTo>
                <a:lnTo>
                  <a:pt x="393" y="613"/>
                </a:lnTo>
                <a:lnTo>
                  <a:pt x="873" y="130"/>
                </a:lnTo>
                <a:lnTo>
                  <a:pt x="528" y="885"/>
                </a:lnTo>
                <a:close/>
                <a:moveTo>
                  <a:pt x="365" y="586"/>
                </a:moveTo>
                <a:lnTo>
                  <a:pt x="93" y="466"/>
                </a:lnTo>
                <a:lnTo>
                  <a:pt x="842" y="107"/>
                </a:lnTo>
                <a:lnTo>
                  <a:pt x="365" y="586"/>
                </a:lnTo>
                <a:close/>
                <a:moveTo>
                  <a:pt x="356" y="624"/>
                </a:moveTo>
                <a:lnTo>
                  <a:pt x="530" y="975"/>
                </a:lnTo>
                <a:lnTo>
                  <a:pt x="976" y="0"/>
                </a:lnTo>
                <a:lnTo>
                  <a:pt x="0" y="467"/>
                </a:lnTo>
                <a:lnTo>
                  <a:pt x="356" y="62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275" name="Freeform 68">
            <a:extLst>
              <a:ext uri="{FF2B5EF4-FFF2-40B4-BE49-F238E27FC236}">
                <a16:creationId xmlns:a16="http://schemas.microsoft.com/office/drawing/2014/main" id="{70B0206F-D4DF-49A2-A4F7-63651489A961}"/>
              </a:ext>
            </a:extLst>
          </p:cNvPr>
          <p:cNvSpPr>
            <a:spLocks noChangeAspect="1" noEditPoints="1"/>
          </p:cNvSpPr>
          <p:nvPr/>
        </p:nvSpPr>
        <p:spPr bwMode="auto">
          <a:xfrm>
            <a:off x="1916534" y="1647825"/>
            <a:ext cx="240326" cy="306484"/>
          </a:xfrm>
          <a:custGeom>
            <a:avLst/>
            <a:gdLst>
              <a:gd name="T0" fmla="*/ 68 w 709"/>
              <a:gd name="T1" fmla="*/ 539 h 909"/>
              <a:gd name="T2" fmla="*/ 68 w 709"/>
              <a:gd name="T3" fmla="*/ 370 h 909"/>
              <a:gd name="T4" fmla="*/ 592 w 709"/>
              <a:gd name="T5" fmla="*/ 370 h 909"/>
              <a:gd name="T6" fmla="*/ 664 w 709"/>
              <a:gd name="T7" fmla="*/ 454 h 909"/>
              <a:gd name="T8" fmla="*/ 592 w 709"/>
              <a:gd name="T9" fmla="*/ 539 h 909"/>
              <a:gd name="T10" fmla="*/ 68 w 709"/>
              <a:gd name="T11" fmla="*/ 539 h 909"/>
              <a:gd name="T12" fmla="*/ 45 w 709"/>
              <a:gd name="T13" fmla="*/ 185 h 909"/>
              <a:gd name="T14" fmla="*/ 117 w 709"/>
              <a:gd name="T15" fmla="*/ 100 h 909"/>
              <a:gd name="T16" fmla="*/ 642 w 709"/>
              <a:gd name="T17" fmla="*/ 100 h 909"/>
              <a:gd name="T18" fmla="*/ 642 w 709"/>
              <a:gd name="T19" fmla="*/ 269 h 909"/>
              <a:gd name="T20" fmla="*/ 117 w 709"/>
              <a:gd name="T21" fmla="*/ 269 h 909"/>
              <a:gd name="T22" fmla="*/ 45 w 709"/>
              <a:gd name="T23" fmla="*/ 185 h 909"/>
              <a:gd name="T24" fmla="*/ 709 w 709"/>
              <a:gd name="T25" fmla="*/ 454 h 909"/>
              <a:gd name="T26" fmla="*/ 607 w 709"/>
              <a:gd name="T27" fmla="*/ 337 h 909"/>
              <a:gd name="T28" fmla="*/ 372 w 709"/>
              <a:gd name="T29" fmla="*/ 337 h 909"/>
              <a:gd name="T30" fmla="*/ 372 w 709"/>
              <a:gd name="T31" fmla="*/ 303 h 909"/>
              <a:gd name="T32" fmla="*/ 675 w 709"/>
              <a:gd name="T33" fmla="*/ 303 h 909"/>
              <a:gd name="T34" fmla="*/ 675 w 709"/>
              <a:gd name="T35" fmla="*/ 67 h 909"/>
              <a:gd name="T36" fmla="*/ 372 w 709"/>
              <a:gd name="T37" fmla="*/ 67 h 909"/>
              <a:gd name="T38" fmla="*/ 372 w 709"/>
              <a:gd name="T39" fmla="*/ 0 h 909"/>
              <a:gd name="T40" fmla="*/ 338 w 709"/>
              <a:gd name="T41" fmla="*/ 0 h 909"/>
              <a:gd name="T42" fmla="*/ 338 w 709"/>
              <a:gd name="T43" fmla="*/ 67 h 909"/>
              <a:gd name="T44" fmla="*/ 101 w 709"/>
              <a:gd name="T45" fmla="*/ 67 h 909"/>
              <a:gd name="T46" fmla="*/ 0 w 709"/>
              <a:gd name="T47" fmla="*/ 185 h 909"/>
              <a:gd name="T48" fmla="*/ 101 w 709"/>
              <a:gd name="T49" fmla="*/ 303 h 909"/>
              <a:gd name="T50" fmla="*/ 338 w 709"/>
              <a:gd name="T51" fmla="*/ 303 h 909"/>
              <a:gd name="T52" fmla="*/ 338 w 709"/>
              <a:gd name="T53" fmla="*/ 337 h 909"/>
              <a:gd name="T54" fmla="*/ 34 w 709"/>
              <a:gd name="T55" fmla="*/ 337 h 909"/>
              <a:gd name="T56" fmla="*/ 34 w 709"/>
              <a:gd name="T57" fmla="*/ 572 h 909"/>
              <a:gd name="T58" fmla="*/ 338 w 709"/>
              <a:gd name="T59" fmla="*/ 572 h 909"/>
              <a:gd name="T60" fmla="*/ 338 w 709"/>
              <a:gd name="T61" fmla="*/ 909 h 909"/>
              <a:gd name="T62" fmla="*/ 372 w 709"/>
              <a:gd name="T63" fmla="*/ 909 h 909"/>
              <a:gd name="T64" fmla="*/ 372 w 709"/>
              <a:gd name="T65" fmla="*/ 572 h 909"/>
              <a:gd name="T66" fmla="*/ 607 w 709"/>
              <a:gd name="T67" fmla="*/ 572 h 909"/>
              <a:gd name="T68" fmla="*/ 709 w 709"/>
              <a:gd name="T69" fmla="*/ 454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9" h="909">
                <a:moveTo>
                  <a:pt x="68" y="539"/>
                </a:moveTo>
                <a:lnTo>
                  <a:pt x="68" y="370"/>
                </a:lnTo>
                <a:lnTo>
                  <a:pt x="592" y="370"/>
                </a:lnTo>
                <a:lnTo>
                  <a:pt x="664" y="454"/>
                </a:lnTo>
                <a:lnTo>
                  <a:pt x="592" y="539"/>
                </a:lnTo>
                <a:lnTo>
                  <a:pt x="68" y="539"/>
                </a:lnTo>
                <a:close/>
                <a:moveTo>
                  <a:pt x="45" y="185"/>
                </a:moveTo>
                <a:lnTo>
                  <a:pt x="117" y="100"/>
                </a:lnTo>
                <a:lnTo>
                  <a:pt x="642" y="100"/>
                </a:lnTo>
                <a:lnTo>
                  <a:pt x="642" y="269"/>
                </a:lnTo>
                <a:lnTo>
                  <a:pt x="117" y="269"/>
                </a:lnTo>
                <a:lnTo>
                  <a:pt x="45" y="185"/>
                </a:lnTo>
                <a:close/>
                <a:moveTo>
                  <a:pt x="709" y="454"/>
                </a:moveTo>
                <a:lnTo>
                  <a:pt x="607" y="337"/>
                </a:lnTo>
                <a:lnTo>
                  <a:pt x="372" y="337"/>
                </a:lnTo>
                <a:lnTo>
                  <a:pt x="372" y="303"/>
                </a:lnTo>
                <a:lnTo>
                  <a:pt x="675" y="303"/>
                </a:lnTo>
                <a:lnTo>
                  <a:pt x="675" y="67"/>
                </a:lnTo>
                <a:lnTo>
                  <a:pt x="372" y="67"/>
                </a:lnTo>
                <a:lnTo>
                  <a:pt x="372" y="0"/>
                </a:lnTo>
                <a:lnTo>
                  <a:pt x="338" y="0"/>
                </a:lnTo>
                <a:lnTo>
                  <a:pt x="338" y="67"/>
                </a:lnTo>
                <a:lnTo>
                  <a:pt x="101" y="67"/>
                </a:lnTo>
                <a:lnTo>
                  <a:pt x="0" y="185"/>
                </a:lnTo>
                <a:lnTo>
                  <a:pt x="101" y="303"/>
                </a:lnTo>
                <a:lnTo>
                  <a:pt x="338" y="303"/>
                </a:lnTo>
                <a:lnTo>
                  <a:pt x="338" y="337"/>
                </a:lnTo>
                <a:lnTo>
                  <a:pt x="34" y="337"/>
                </a:lnTo>
                <a:lnTo>
                  <a:pt x="34" y="572"/>
                </a:lnTo>
                <a:lnTo>
                  <a:pt x="338" y="572"/>
                </a:lnTo>
                <a:lnTo>
                  <a:pt x="338" y="909"/>
                </a:lnTo>
                <a:lnTo>
                  <a:pt x="372" y="909"/>
                </a:lnTo>
                <a:lnTo>
                  <a:pt x="372" y="572"/>
                </a:lnTo>
                <a:lnTo>
                  <a:pt x="607" y="572"/>
                </a:lnTo>
                <a:lnTo>
                  <a:pt x="709" y="45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276" name="Group 26">
            <a:extLst>
              <a:ext uri="{FF2B5EF4-FFF2-40B4-BE49-F238E27FC236}">
                <a16:creationId xmlns:a16="http://schemas.microsoft.com/office/drawing/2014/main" id="{107CECBA-5AA9-46E5-A512-06604C0DB124}"/>
              </a:ext>
            </a:extLst>
          </p:cNvPr>
          <p:cNvGrpSpPr>
            <a:grpSpLocks noChangeAspect="1"/>
          </p:cNvGrpSpPr>
          <p:nvPr/>
        </p:nvGrpSpPr>
        <p:grpSpPr>
          <a:xfrm>
            <a:off x="2304045" y="1647825"/>
            <a:ext cx="306484" cy="306484"/>
            <a:chOff x="1006475" y="2025650"/>
            <a:chExt cx="2806700" cy="2806700"/>
          </a:xfrm>
          <a:solidFill>
            <a:schemeClr val="bg2"/>
          </a:solidFill>
          <a:effectLst/>
        </p:grpSpPr>
        <p:sp>
          <p:nvSpPr>
            <p:cNvPr id="321" name="Freeform 5">
              <a:extLst>
                <a:ext uri="{FF2B5EF4-FFF2-40B4-BE49-F238E27FC236}">
                  <a16:creationId xmlns:a16="http://schemas.microsoft.com/office/drawing/2014/main" id="{FE8CDB20-B314-4F6B-B2F6-1E2389498865}"/>
                </a:ext>
              </a:extLst>
            </p:cNvPr>
            <p:cNvSpPr>
              <a:spLocks/>
            </p:cNvSpPr>
            <p:nvPr/>
          </p:nvSpPr>
          <p:spPr bwMode="auto">
            <a:xfrm>
              <a:off x="3111500" y="2025650"/>
              <a:ext cx="701675" cy="701675"/>
            </a:xfrm>
            <a:custGeom>
              <a:avLst/>
              <a:gdLst>
                <a:gd name="T0" fmla="*/ 406 w 442"/>
                <a:gd name="T1" fmla="*/ 442 h 442"/>
                <a:gd name="T2" fmla="*/ 406 w 442"/>
                <a:gd name="T3" fmla="*/ 442 h 442"/>
                <a:gd name="T4" fmla="*/ 398 w 442"/>
                <a:gd name="T5" fmla="*/ 442 h 442"/>
                <a:gd name="T6" fmla="*/ 392 w 442"/>
                <a:gd name="T7" fmla="*/ 438 h 442"/>
                <a:gd name="T8" fmla="*/ 386 w 442"/>
                <a:gd name="T9" fmla="*/ 436 h 442"/>
                <a:gd name="T10" fmla="*/ 380 w 442"/>
                <a:gd name="T11" fmla="*/ 432 h 442"/>
                <a:gd name="T12" fmla="*/ 376 w 442"/>
                <a:gd name="T13" fmla="*/ 426 h 442"/>
                <a:gd name="T14" fmla="*/ 372 w 442"/>
                <a:gd name="T15" fmla="*/ 420 h 442"/>
                <a:gd name="T16" fmla="*/ 370 w 442"/>
                <a:gd name="T17" fmla="*/ 412 h 442"/>
                <a:gd name="T18" fmla="*/ 370 w 442"/>
                <a:gd name="T19" fmla="*/ 404 h 442"/>
                <a:gd name="T20" fmla="*/ 370 w 442"/>
                <a:gd name="T21" fmla="*/ 74 h 442"/>
                <a:gd name="T22" fmla="*/ 38 w 442"/>
                <a:gd name="T23" fmla="*/ 74 h 442"/>
                <a:gd name="T24" fmla="*/ 38 w 442"/>
                <a:gd name="T25" fmla="*/ 74 h 442"/>
                <a:gd name="T26" fmla="*/ 30 w 442"/>
                <a:gd name="T27" fmla="*/ 72 h 442"/>
                <a:gd name="T28" fmla="*/ 24 w 442"/>
                <a:gd name="T29" fmla="*/ 70 h 442"/>
                <a:gd name="T30" fmla="*/ 18 w 442"/>
                <a:gd name="T31" fmla="*/ 68 h 442"/>
                <a:gd name="T32" fmla="*/ 12 w 442"/>
                <a:gd name="T33" fmla="*/ 62 h 442"/>
                <a:gd name="T34" fmla="*/ 8 w 442"/>
                <a:gd name="T35" fmla="*/ 58 h 442"/>
                <a:gd name="T36" fmla="*/ 4 w 442"/>
                <a:gd name="T37" fmla="*/ 50 h 442"/>
                <a:gd name="T38" fmla="*/ 2 w 442"/>
                <a:gd name="T39" fmla="*/ 44 h 442"/>
                <a:gd name="T40" fmla="*/ 0 w 442"/>
                <a:gd name="T41" fmla="*/ 36 h 442"/>
                <a:gd name="T42" fmla="*/ 0 w 442"/>
                <a:gd name="T43" fmla="*/ 36 h 442"/>
                <a:gd name="T44" fmla="*/ 2 w 442"/>
                <a:gd name="T45" fmla="*/ 30 h 442"/>
                <a:gd name="T46" fmla="*/ 4 w 442"/>
                <a:gd name="T47" fmla="*/ 22 h 442"/>
                <a:gd name="T48" fmla="*/ 8 w 442"/>
                <a:gd name="T49" fmla="*/ 16 h 442"/>
                <a:gd name="T50" fmla="*/ 12 w 442"/>
                <a:gd name="T51" fmla="*/ 10 h 442"/>
                <a:gd name="T52" fmla="*/ 18 w 442"/>
                <a:gd name="T53" fmla="*/ 6 h 442"/>
                <a:gd name="T54" fmla="*/ 24 w 442"/>
                <a:gd name="T55" fmla="*/ 2 h 442"/>
                <a:gd name="T56" fmla="*/ 30 w 442"/>
                <a:gd name="T57" fmla="*/ 0 h 442"/>
                <a:gd name="T58" fmla="*/ 38 w 442"/>
                <a:gd name="T59" fmla="*/ 0 h 442"/>
                <a:gd name="T60" fmla="*/ 406 w 442"/>
                <a:gd name="T61" fmla="*/ 0 h 442"/>
                <a:gd name="T62" fmla="*/ 406 w 442"/>
                <a:gd name="T63" fmla="*/ 0 h 442"/>
                <a:gd name="T64" fmla="*/ 414 w 442"/>
                <a:gd name="T65" fmla="*/ 0 h 442"/>
                <a:gd name="T66" fmla="*/ 420 w 442"/>
                <a:gd name="T67" fmla="*/ 2 h 442"/>
                <a:gd name="T68" fmla="*/ 426 w 442"/>
                <a:gd name="T69" fmla="*/ 6 h 442"/>
                <a:gd name="T70" fmla="*/ 432 w 442"/>
                <a:gd name="T71" fmla="*/ 10 h 442"/>
                <a:gd name="T72" fmla="*/ 436 w 442"/>
                <a:gd name="T73" fmla="*/ 16 h 442"/>
                <a:gd name="T74" fmla="*/ 440 w 442"/>
                <a:gd name="T75" fmla="*/ 22 h 442"/>
                <a:gd name="T76" fmla="*/ 442 w 442"/>
                <a:gd name="T77" fmla="*/ 30 h 442"/>
                <a:gd name="T78" fmla="*/ 442 w 442"/>
                <a:gd name="T79" fmla="*/ 36 h 442"/>
                <a:gd name="T80" fmla="*/ 442 w 442"/>
                <a:gd name="T81" fmla="*/ 404 h 442"/>
                <a:gd name="T82" fmla="*/ 442 w 442"/>
                <a:gd name="T83" fmla="*/ 404 h 442"/>
                <a:gd name="T84" fmla="*/ 442 w 442"/>
                <a:gd name="T85" fmla="*/ 412 h 442"/>
                <a:gd name="T86" fmla="*/ 440 w 442"/>
                <a:gd name="T87" fmla="*/ 420 h 442"/>
                <a:gd name="T88" fmla="*/ 436 w 442"/>
                <a:gd name="T89" fmla="*/ 426 h 442"/>
                <a:gd name="T90" fmla="*/ 432 w 442"/>
                <a:gd name="T91" fmla="*/ 432 h 442"/>
                <a:gd name="T92" fmla="*/ 426 w 442"/>
                <a:gd name="T93" fmla="*/ 436 h 442"/>
                <a:gd name="T94" fmla="*/ 420 w 442"/>
                <a:gd name="T95" fmla="*/ 438 h 442"/>
                <a:gd name="T96" fmla="*/ 414 w 442"/>
                <a:gd name="T97" fmla="*/ 442 h 442"/>
                <a:gd name="T98" fmla="*/ 406 w 442"/>
                <a:gd name="T99" fmla="*/ 442 h 442"/>
                <a:gd name="T100" fmla="*/ 406 w 442"/>
                <a:gd name="T101"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442">
                  <a:moveTo>
                    <a:pt x="406" y="442"/>
                  </a:moveTo>
                  <a:lnTo>
                    <a:pt x="406" y="442"/>
                  </a:lnTo>
                  <a:lnTo>
                    <a:pt x="398" y="442"/>
                  </a:lnTo>
                  <a:lnTo>
                    <a:pt x="392" y="438"/>
                  </a:lnTo>
                  <a:lnTo>
                    <a:pt x="386" y="436"/>
                  </a:lnTo>
                  <a:lnTo>
                    <a:pt x="380" y="432"/>
                  </a:lnTo>
                  <a:lnTo>
                    <a:pt x="376" y="426"/>
                  </a:lnTo>
                  <a:lnTo>
                    <a:pt x="372" y="420"/>
                  </a:lnTo>
                  <a:lnTo>
                    <a:pt x="370" y="412"/>
                  </a:lnTo>
                  <a:lnTo>
                    <a:pt x="370" y="404"/>
                  </a:lnTo>
                  <a:lnTo>
                    <a:pt x="370" y="74"/>
                  </a:lnTo>
                  <a:lnTo>
                    <a:pt x="38" y="74"/>
                  </a:lnTo>
                  <a:lnTo>
                    <a:pt x="38" y="74"/>
                  </a:lnTo>
                  <a:lnTo>
                    <a:pt x="30" y="72"/>
                  </a:lnTo>
                  <a:lnTo>
                    <a:pt x="24" y="70"/>
                  </a:lnTo>
                  <a:lnTo>
                    <a:pt x="18" y="68"/>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406" y="0"/>
                  </a:lnTo>
                  <a:lnTo>
                    <a:pt x="406" y="0"/>
                  </a:lnTo>
                  <a:lnTo>
                    <a:pt x="414" y="0"/>
                  </a:lnTo>
                  <a:lnTo>
                    <a:pt x="420" y="2"/>
                  </a:lnTo>
                  <a:lnTo>
                    <a:pt x="426" y="6"/>
                  </a:lnTo>
                  <a:lnTo>
                    <a:pt x="432" y="10"/>
                  </a:lnTo>
                  <a:lnTo>
                    <a:pt x="436" y="16"/>
                  </a:lnTo>
                  <a:lnTo>
                    <a:pt x="440" y="22"/>
                  </a:lnTo>
                  <a:lnTo>
                    <a:pt x="442" y="30"/>
                  </a:lnTo>
                  <a:lnTo>
                    <a:pt x="442" y="36"/>
                  </a:lnTo>
                  <a:lnTo>
                    <a:pt x="442" y="404"/>
                  </a:lnTo>
                  <a:lnTo>
                    <a:pt x="442" y="404"/>
                  </a:lnTo>
                  <a:lnTo>
                    <a:pt x="442" y="412"/>
                  </a:lnTo>
                  <a:lnTo>
                    <a:pt x="440" y="420"/>
                  </a:lnTo>
                  <a:lnTo>
                    <a:pt x="436" y="426"/>
                  </a:lnTo>
                  <a:lnTo>
                    <a:pt x="432" y="432"/>
                  </a:lnTo>
                  <a:lnTo>
                    <a:pt x="426" y="436"/>
                  </a:lnTo>
                  <a:lnTo>
                    <a:pt x="420" y="438"/>
                  </a:lnTo>
                  <a:lnTo>
                    <a:pt x="414" y="442"/>
                  </a:lnTo>
                  <a:lnTo>
                    <a:pt x="406" y="442"/>
                  </a:lnTo>
                  <a:lnTo>
                    <a:pt x="406"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
              <a:extLst>
                <a:ext uri="{FF2B5EF4-FFF2-40B4-BE49-F238E27FC236}">
                  <a16:creationId xmlns:a16="http://schemas.microsoft.com/office/drawing/2014/main" id="{AE21FE9F-82F2-4223-A3B9-EC974CAD6D2E}"/>
                </a:ext>
              </a:extLst>
            </p:cNvPr>
            <p:cNvSpPr>
              <a:spLocks/>
            </p:cNvSpPr>
            <p:nvPr/>
          </p:nvSpPr>
          <p:spPr bwMode="auto">
            <a:xfrm>
              <a:off x="1006475" y="2025650"/>
              <a:ext cx="2806700" cy="2806700"/>
            </a:xfrm>
            <a:custGeom>
              <a:avLst/>
              <a:gdLst>
                <a:gd name="T0" fmla="*/ 38 w 1768"/>
                <a:gd name="T1" fmla="*/ 1768 h 1768"/>
                <a:gd name="T2" fmla="*/ 30 w 1768"/>
                <a:gd name="T3" fmla="*/ 1768 h 1768"/>
                <a:gd name="T4" fmla="*/ 16 w 1768"/>
                <a:gd name="T5" fmla="*/ 1762 h 1768"/>
                <a:gd name="T6" fmla="*/ 6 w 1768"/>
                <a:gd name="T7" fmla="*/ 1752 h 1768"/>
                <a:gd name="T8" fmla="*/ 0 w 1768"/>
                <a:gd name="T9" fmla="*/ 1738 h 1768"/>
                <a:gd name="T10" fmla="*/ 0 w 1768"/>
                <a:gd name="T11" fmla="*/ 36 h 1768"/>
                <a:gd name="T12" fmla="*/ 0 w 1768"/>
                <a:gd name="T13" fmla="*/ 30 h 1768"/>
                <a:gd name="T14" fmla="*/ 6 w 1768"/>
                <a:gd name="T15" fmla="*/ 16 h 1768"/>
                <a:gd name="T16" fmla="*/ 16 w 1768"/>
                <a:gd name="T17" fmla="*/ 6 h 1768"/>
                <a:gd name="T18" fmla="*/ 30 w 1768"/>
                <a:gd name="T19" fmla="*/ 0 h 1768"/>
                <a:gd name="T20" fmla="*/ 1142 w 1768"/>
                <a:gd name="T21" fmla="*/ 0 h 1768"/>
                <a:gd name="T22" fmla="*/ 1150 w 1768"/>
                <a:gd name="T23" fmla="*/ 0 h 1768"/>
                <a:gd name="T24" fmla="*/ 1164 w 1768"/>
                <a:gd name="T25" fmla="*/ 6 h 1768"/>
                <a:gd name="T26" fmla="*/ 1174 w 1768"/>
                <a:gd name="T27" fmla="*/ 16 h 1768"/>
                <a:gd name="T28" fmla="*/ 1178 w 1768"/>
                <a:gd name="T29" fmla="*/ 30 h 1768"/>
                <a:gd name="T30" fmla="*/ 1180 w 1768"/>
                <a:gd name="T31" fmla="*/ 36 h 1768"/>
                <a:gd name="T32" fmla="*/ 1176 w 1768"/>
                <a:gd name="T33" fmla="*/ 50 h 1768"/>
                <a:gd name="T34" fmla="*/ 1168 w 1768"/>
                <a:gd name="T35" fmla="*/ 62 h 1768"/>
                <a:gd name="T36" fmla="*/ 1156 w 1768"/>
                <a:gd name="T37" fmla="*/ 70 h 1768"/>
                <a:gd name="T38" fmla="*/ 1142 w 1768"/>
                <a:gd name="T39" fmla="*/ 74 h 1768"/>
                <a:gd name="T40" fmla="*/ 74 w 1768"/>
                <a:gd name="T41" fmla="*/ 1694 h 1768"/>
                <a:gd name="T42" fmla="*/ 1696 w 1768"/>
                <a:gd name="T43" fmla="*/ 626 h 1768"/>
                <a:gd name="T44" fmla="*/ 1696 w 1768"/>
                <a:gd name="T45" fmla="*/ 618 h 1768"/>
                <a:gd name="T46" fmla="*/ 1702 w 1768"/>
                <a:gd name="T47" fmla="*/ 606 h 1768"/>
                <a:gd name="T48" fmla="*/ 1712 w 1768"/>
                <a:gd name="T49" fmla="*/ 596 h 1768"/>
                <a:gd name="T50" fmla="*/ 1724 w 1768"/>
                <a:gd name="T51" fmla="*/ 590 h 1768"/>
                <a:gd name="T52" fmla="*/ 1732 w 1768"/>
                <a:gd name="T53" fmla="*/ 590 h 1768"/>
                <a:gd name="T54" fmla="*/ 1746 w 1768"/>
                <a:gd name="T55" fmla="*/ 592 h 1768"/>
                <a:gd name="T56" fmla="*/ 1758 w 1768"/>
                <a:gd name="T57" fmla="*/ 600 h 1768"/>
                <a:gd name="T58" fmla="*/ 1766 w 1768"/>
                <a:gd name="T59" fmla="*/ 612 h 1768"/>
                <a:gd name="T60" fmla="*/ 1768 w 1768"/>
                <a:gd name="T61" fmla="*/ 626 h 1768"/>
                <a:gd name="T62" fmla="*/ 1768 w 1768"/>
                <a:gd name="T63" fmla="*/ 1732 h 1768"/>
                <a:gd name="T64" fmla="*/ 1766 w 1768"/>
                <a:gd name="T65" fmla="*/ 1746 h 1768"/>
                <a:gd name="T66" fmla="*/ 1758 w 1768"/>
                <a:gd name="T67" fmla="*/ 1758 h 1768"/>
                <a:gd name="T68" fmla="*/ 1746 w 1768"/>
                <a:gd name="T69" fmla="*/ 1766 h 1768"/>
                <a:gd name="T70" fmla="*/ 1732 w 1768"/>
                <a:gd name="T71" fmla="*/ 176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8" h="1768">
                  <a:moveTo>
                    <a:pt x="1732" y="1768"/>
                  </a:moveTo>
                  <a:lnTo>
                    <a:pt x="38" y="1768"/>
                  </a:lnTo>
                  <a:lnTo>
                    <a:pt x="38" y="1768"/>
                  </a:lnTo>
                  <a:lnTo>
                    <a:pt x="30" y="1768"/>
                  </a:lnTo>
                  <a:lnTo>
                    <a:pt x="22" y="1766"/>
                  </a:lnTo>
                  <a:lnTo>
                    <a:pt x="16" y="1762"/>
                  </a:lnTo>
                  <a:lnTo>
                    <a:pt x="12" y="1758"/>
                  </a:lnTo>
                  <a:lnTo>
                    <a:pt x="6" y="1752"/>
                  </a:lnTo>
                  <a:lnTo>
                    <a:pt x="4" y="1746"/>
                  </a:lnTo>
                  <a:lnTo>
                    <a:pt x="0" y="1738"/>
                  </a:lnTo>
                  <a:lnTo>
                    <a:pt x="0" y="1732"/>
                  </a:lnTo>
                  <a:lnTo>
                    <a:pt x="0" y="36"/>
                  </a:lnTo>
                  <a:lnTo>
                    <a:pt x="0" y="36"/>
                  </a:lnTo>
                  <a:lnTo>
                    <a:pt x="0" y="30"/>
                  </a:lnTo>
                  <a:lnTo>
                    <a:pt x="4" y="22"/>
                  </a:lnTo>
                  <a:lnTo>
                    <a:pt x="6" y="16"/>
                  </a:lnTo>
                  <a:lnTo>
                    <a:pt x="12" y="10"/>
                  </a:lnTo>
                  <a:lnTo>
                    <a:pt x="16" y="6"/>
                  </a:lnTo>
                  <a:lnTo>
                    <a:pt x="22" y="2"/>
                  </a:lnTo>
                  <a:lnTo>
                    <a:pt x="30" y="0"/>
                  </a:lnTo>
                  <a:lnTo>
                    <a:pt x="38" y="0"/>
                  </a:lnTo>
                  <a:lnTo>
                    <a:pt x="1142" y="0"/>
                  </a:lnTo>
                  <a:lnTo>
                    <a:pt x="1142" y="0"/>
                  </a:lnTo>
                  <a:lnTo>
                    <a:pt x="1150" y="0"/>
                  </a:lnTo>
                  <a:lnTo>
                    <a:pt x="1156" y="2"/>
                  </a:lnTo>
                  <a:lnTo>
                    <a:pt x="1164" y="6"/>
                  </a:lnTo>
                  <a:lnTo>
                    <a:pt x="1168" y="10"/>
                  </a:lnTo>
                  <a:lnTo>
                    <a:pt x="1174" y="16"/>
                  </a:lnTo>
                  <a:lnTo>
                    <a:pt x="1176" y="22"/>
                  </a:lnTo>
                  <a:lnTo>
                    <a:pt x="1178" y="30"/>
                  </a:lnTo>
                  <a:lnTo>
                    <a:pt x="1180" y="36"/>
                  </a:lnTo>
                  <a:lnTo>
                    <a:pt x="1180" y="36"/>
                  </a:lnTo>
                  <a:lnTo>
                    <a:pt x="1178" y="44"/>
                  </a:lnTo>
                  <a:lnTo>
                    <a:pt x="1176" y="50"/>
                  </a:lnTo>
                  <a:lnTo>
                    <a:pt x="1174" y="58"/>
                  </a:lnTo>
                  <a:lnTo>
                    <a:pt x="1168" y="62"/>
                  </a:lnTo>
                  <a:lnTo>
                    <a:pt x="1164" y="68"/>
                  </a:lnTo>
                  <a:lnTo>
                    <a:pt x="1156" y="70"/>
                  </a:lnTo>
                  <a:lnTo>
                    <a:pt x="1150" y="72"/>
                  </a:lnTo>
                  <a:lnTo>
                    <a:pt x="1142" y="74"/>
                  </a:lnTo>
                  <a:lnTo>
                    <a:pt x="74" y="74"/>
                  </a:lnTo>
                  <a:lnTo>
                    <a:pt x="74" y="1694"/>
                  </a:lnTo>
                  <a:lnTo>
                    <a:pt x="1696" y="1694"/>
                  </a:lnTo>
                  <a:lnTo>
                    <a:pt x="1696" y="626"/>
                  </a:lnTo>
                  <a:lnTo>
                    <a:pt x="1696" y="626"/>
                  </a:lnTo>
                  <a:lnTo>
                    <a:pt x="1696" y="618"/>
                  </a:lnTo>
                  <a:lnTo>
                    <a:pt x="1698" y="612"/>
                  </a:lnTo>
                  <a:lnTo>
                    <a:pt x="1702" y="606"/>
                  </a:lnTo>
                  <a:lnTo>
                    <a:pt x="1706" y="600"/>
                  </a:lnTo>
                  <a:lnTo>
                    <a:pt x="1712" y="596"/>
                  </a:lnTo>
                  <a:lnTo>
                    <a:pt x="1718" y="592"/>
                  </a:lnTo>
                  <a:lnTo>
                    <a:pt x="1724" y="590"/>
                  </a:lnTo>
                  <a:lnTo>
                    <a:pt x="1732" y="590"/>
                  </a:lnTo>
                  <a:lnTo>
                    <a:pt x="1732" y="590"/>
                  </a:lnTo>
                  <a:lnTo>
                    <a:pt x="1740" y="590"/>
                  </a:lnTo>
                  <a:lnTo>
                    <a:pt x="1746" y="592"/>
                  </a:lnTo>
                  <a:lnTo>
                    <a:pt x="1752" y="596"/>
                  </a:lnTo>
                  <a:lnTo>
                    <a:pt x="1758" y="600"/>
                  </a:lnTo>
                  <a:lnTo>
                    <a:pt x="1762" y="606"/>
                  </a:lnTo>
                  <a:lnTo>
                    <a:pt x="1766" y="612"/>
                  </a:lnTo>
                  <a:lnTo>
                    <a:pt x="1768" y="618"/>
                  </a:lnTo>
                  <a:lnTo>
                    <a:pt x="1768" y="626"/>
                  </a:lnTo>
                  <a:lnTo>
                    <a:pt x="1768" y="1732"/>
                  </a:lnTo>
                  <a:lnTo>
                    <a:pt x="1768" y="1732"/>
                  </a:lnTo>
                  <a:lnTo>
                    <a:pt x="1768" y="1738"/>
                  </a:lnTo>
                  <a:lnTo>
                    <a:pt x="1766" y="1746"/>
                  </a:lnTo>
                  <a:lnTo>
                    <a:pt x="1762" y="1752"/>
                  </a:lnTo>
                  <a:lnTo>
                    <a:pt x="1758" y="1758"/>
                  </a:lnTo>
                  <a:lnTo>
                    <a:pt x="1752" y="1762"/>
                  </a:lnTo>
                  <a:lnTo>
                    <a:pt x="1746" y="1766"/>
                  </a:lnTo>
                  <a:lnTo>
                    <a:pt x="1740" y="1768"/>
                  </a:lnTo>
                  <a:lnTo>
                    <a:pt x="1732" y="1768"/>
                  </a:lnTo>
                  <a:lnTo>
                    <a:pt x="1732" y="1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7">
              <a:extLst>
                <a:ext uri="{FF2B5EF4-FFF2-40B4-BE49-F238E27FC236}">
                  <a16:creationId xmlns:a16="http://schemas.microsoft.com/office/drawing/2014/main" id="{8F4F4AAB-12D2-47C3-B675-28D5E9B09186}"/>
                </a:ext>
              </a:extLst>
            </p:cNvPr>
            <p:cNvSpPr>
              <a:spLocks/>
            </p:cNvSpPr>
            <p:nvPr/>
          </p:nvSpPr>
          <p:spPr bwMode="auto">
            <a:xfrm>
              <a:off x="2409825" y="2025650"/>
              <a:ext cx="1403350" cy="1403350"/>
            </a:xfrm>
            <a:custGeom>
              <a:avLst/>
              <a:gdLst>
                <a:gd name="T0" fmla="*/ 38 w 884"/>
                <a:gd name="T1" fmla="*/ 884 h 884"/>
                <a:gd name="T2" fmla="*/ 38 w 884"/>
                <a:gd name="T3" fmla="*/ 884 h 884"/>
                <a:gd name="T4" fmla="*/ 30 w 884"/>
                <a:gd name="T5" fmla="*/ 884 h 884"/>
                <a:gd name="T6" fmla="*/ 24 w 884"/>
                <a:gd name="T7" fmla="*/ 882 h 884"/>
                <a:gd name="T8" fmla="*/ 18 w 884"/>
                <a:gd name="T9" fmla="*/ 878 h 884"/>
                <a:gd name="T10" fmla="*/ 12 w 884"/>
                <a:gd name="T11" fmla="*/ 874 h 884"/>
                <a:gd name="T12" fmla="*/ 12 w 884"/>
                <a:gd name="T13" fmla="*/ 874 h 884"/>
                <a:gd name="T14" fmla="*/ 6 w 884"/>
                <a:gd name="T15" fmla="*/ 868 h 884"/>
                <a:gd name="T16" fmla="*/ 4 w 884"/>
                <a:gd name="T17" fmla="*/ 862 h 884"/>
                <a:gd name="T18" fmla="*/ 2 w 884"/>
                <a:gd name="T19" fmla="*/ 854 h 884"/>
                <a:gd name="T20" fmla="*/ 0 w 884"/>
                <a:gd name="T21" fmla="*/ 848 h 884"/>
                <a:gd name="T22" fmla="*/ 2 w 884"/>
                <a:gd name="T23" fmla="*/ 840 h 884"/>
                <a:gd name="T24" fmla="*/ 4 w 884"/>
                <a:gd name="T25" fmla="*/ 834 h 884"/>
                <a:gd name="T26" fmla="*/ 6 w 884"/>
                <a:gd name="T27" fmla="*/ 826 h 884"/>
                <a:gd name="T28" fmla="*/ 12 w 884"/>
                <a:gd name="T29" fmla="*/ 822 h 884"/>
                <a:gd name="T30" fmla="*/ 822 w 884"/>
                <a:gd name="T31" fmla="*/ 10 h 884"/>
                <a:gd name="T32" fmla="*/ 822 w 884"/>
                <a:gd name="T33" fmla="*/ 10 h 884"/>
                <a:gd name="T34" fmla="*/ 828 w 884"/>
                <a:gd name="T35" fmla="*/ 6 h 884"/>
                <a:gd name="T36" fmla="*/ 834 w 884"/>
                <a:gd name="T37" fmla="*/ 2 h 884"/>
                <a:gd name="T38" fmla="*/ 842 w 884"/>
                <a:gd name="T39" fmla="*/ 0 h 884"/>
                <a:gd name="T40" fmla="*/ 848 w 884"/>
                <a:gd name="T41" fmla="*/ 0 h 884"/>
                <a:gd name="T42" fmla="*/ 856 w 884"/>
                <a:gd name="T43" fmla="*/ 0 h 884"/>
                <a:gd name="T44" fmla="*/ 862 w 884"/>
                <a:gd name="T45" fmla="*/ 2 h 884"/>
                <a:gd name="T46" fmla="*/ 868 w 884"/>
                <a:gd name="T47" fmla="*/ 6 h 884"/>
                <a:gd name="T48" fmla="*/ 874 w 884"/>
                <a:gd name="T49" fmla="*/ 10 h 884"/>
                <a:gd name="T50" fmla="*/ 874 w 884"/>
                <a:gd name="T51" fmla="*/ 10 h 884"/>
                <a:gd name="T52" fmla="*/ 878 w 884"/>
                <a:gd name="T53" fmla="*/ 16 h 884"/>
                <a:gd name="T54" fmla="*/ 882 w 884"/>
                <a:gd name="T55" fmla="*/ 22 h 884"/>
                <a:gd name="T56" fmla="*/ 884 w 884"/>
                <a:gd name="T57" fmla="*/ 30 h 884"/>
                <a:gd name="T58" fmla="*/ 884 w 884"/>
                <a:gd name="T59" fmla="*/ 36 h 884"/>
                <a:gd name="T60" fmla="*/ 884 w 884"/>
                <a:gd name="T61" fmla="*/ 44 h 884"/>
                <a:gd name="T62" fmla="*/ 882 w 884"/>
                <a:gd name="T63" fmla="*/ 50 h 884"/>
                <a:gd name="T64" fmla="*/ 878 w 884"/>
                <a:gd name="T65" fmla="*/ 56 h 884"/>
                <a:gd name="T66" fmla="*/ 874 w 884"/>
                <a:gd name="T67" fmla="*/ 62 h 884"/>
                <a:gd name="T68" fmla="*/ 64 w 884"/>
                <a:gd name="T69" fmla="*/ 874 h 884"/>
                <a:gd name="T70" fmla="*/ 64 w 884"/>
                <a:gd name="T71" fmla="*/ 874 h 884"/>
                <a:gd name="T72" fmla="*/ 58 w 884"/>
                <a:gd name="T73" fmla="*/ 878 h 884"/>
                <a:gd name="T74" fmla="*/ 52 w 884"/>
                <a:gd name="T75" fmla="*/ 882 h 884"/>
                <a:gd name="T76" fmla="*/ 44 w 884"/>
                <a:gd name="T77" fmla="*/ 884 h 884"/>
                <a:gd name="T78" fmla="*/ 38 w 884"/>
                <a:gd name="T79" fmla="*/ 884 h 884"/>
                <a:gd name="T80" fmla="*/ 38 w 884"/>
                <a:gd name="T81" fmla="*/ 88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4" h="884">
                  <a:moveTo>
                    <a:pt x="38" y="884"/>
                  </a:moveTo>
                  <a:lnTo>
                    <a:pt x="38" y="884"/>
                  </a:lnTo>
                  <a:lnTo>
                    <a:pt x="30" y="884"/>
                  </a:lnTo>
                  <a:lnTo>
                    <a:pt x="24" y="882"/>
                  </a:lnTo>
                  <a:lnTo>
                    <a:pt x="18" y="878"/>
                  </a:lnTo>
                  <a:lnTo>
                    <a:pt x="12" y="874"/>
                  </a:lnTo>
                  <a:lnTo>
                    <a:pt x="12" y="874"/>
                  </a:lnTo>
                  <a:lnTo>
                    <a:pt x="6" y="868"/>
                  </a:lnTo>
                  <a:lnTo>
                    <a:pt x="4" y="862"/>
                  </a:lnTo>
                  <a:lnTo>
                    <a:pt x="2" y="854"/>
                  </a:lnTo>
                  <a:lnTo>
                    <a:pt x="0" y="848"/>
                  </a:lnTo>
                  <a:lnTo>
                    <a:pt x="2" y="840"/>
                  </a:lnTo>
                  <a:lnTo>
                    <a:pt x="4" y="834"/>
                  </a:lnTo>
                  <a:lnTo>
                    <a:pt x="6" y="826"/>
                  </a:lnTo>
                  <a:lnTo>
                    <a:pt x="12" y="822"/>
                  </a:lnTo>
                  <a:lnTo>
                    <a:pt x="822" y="10"/>
                  </a:lnTo>
                  <a:lnTo>
                    <a:pt x="822" y="10"/>
                  </a:lnTo>
                  <a:lnTo>
                    <a:pt x="828" y="6"/>
                  </a:lnTo>
                  <a:lnTo>
                    <a:pt x="834" y="2"/>
                  </a:lnTo>
                  <a:lnTo>
                    <a:pt x="842" y="0"/>
                  </a:lnTo>
                  <a:lnTo>
                    <a:pt x="848" y="0"/>
                  </a:lnTo>
                  <a:lnTo>
                    <a:pt x="856" y="0"/>
                  </a:lnTo>
                  <a:lnTo>
                    <a:pt x="862" y="2"/>
                  </a:lnTo>
                  <a:lnTo>
                    <a:pt x="868" y="6"/>
                  </a:lnTo>
                  <a:lnTo>
                    <a:pt x="874" y="10"/>
                  </a:lnTo>
                  <a:lnTo>
                    <a:pt x="874" y="10"/>
                  </a:lnTo>
                  <a:lnTo>
                    <a:pt x="878" y="16"/>
                  </a:lnTo>
                  <a:lnTo>
                    <a:pt x="882" y="22"/>
                  </a:lnTo>
                  <a:lnTo>
                    <a:pt x="884" y="30"/>
                  </a:lnTo>
                  <a:lnTo>
                    <a:pt x="884" y="36"/>
                  </a:lnTo>
                  <a:lnTo>
                    <a:pt x="884" y="44"/>
                  </a:lnTo>
                  <a:lnTo>
                    <a:pt x="882" y="50"/>
                  </a:lnTo>
                  <a:lnTo>
                    <a:pt x="878" y="56"/>
                  </a:lnTo>
                  <a:lnTo>
                    <a:pt x="874" y="62"/>
                  </a:lnTo>
                  <a:lnTo>
                    <a:pt x="64" y="874"/>
                  </a:lnTo>
                  <a:lnTo>
                    <a:pt x="64" y="874"/>
                  </a:lnTo>
                  <a:lnTo>
                    <a:pt x="58" y="878"/>
                  </a:lnTo>
                  <a:lnTo>
                    <a:pt x="52" y="882"/>
                  </a:lnTo>
                  <a:lnTo>
                    <a:pt x="44" y="884"/>
                  </a:lnTo>
                  <a:lnTo>
                    <a:pt x="38" y="884"/>
                  </a:lnTo>
                  <a:lnTo>
                    <a:pt x="38"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8">
              <a:extLst>
                <a:ext uri="{FF2B5EF4-FFF2-40B4-BE49-F238E27FC236}">
                  <a16:creationId xmlns:a16="http://schemas.microsoft.com/office/drawing/2014/main" id="{9207450A-B2D0-4045-9191-2FAE807D2A19}"/>
                </a:ext>
              </a:extLst>
            </p:cNvPr>
            <p:cNvSpPr>
              <a:spLocks noEditPoints="1"/>
            </p:cNvSpPr>
            <p:nvPr/>
          </p:nvSpPr>
          <p:spPr bwMode="auto">
            <a:xfrm>
              <a:off x="1943100" y="2844800"/>
              <a:ext cx="1054100" cy="1050925"/>
            </a:xfrm>
            <a:custGeom>
              <a:avLst/>
              <a:gdLst>
                <a:gd name="T0" fmla="*/ 626 w 664"/>
                <a:gd name="T1" fmla="*/ 662 h 662"/>
                <a:gd name="T2" fmla="*/ 36 w 664"/>
                <a:gd name="T3" fmla="*/ 662 h 662"/>
                <a:gd name="T4" fmla="*/ 36 w 664"/>
                <a:gd name="T5" fmla="*/ 662 h 662"/>
                <a:gd name="T6" fmla="*/ 30 w 664"/>
                <a:gd name="T7" fmla="*/ 662 h 662"/>
                <a:gd name="T8" fmla="*/ 22 w 664"/>
                <a:gd name="T9" fmla="*/ 660 h 662"/>
                <a:gd name="T10" fmla="*/ 16 w 664"/>
                <a:gd name="T11" fmla="*/ 656 h 662"/>
                <a:gd name="T12" fmla="*/ 10 w 664"/>
                <a:gd name="T13" fmla="*/ 652 h 662"/>
                <a:gd name="T14" fmla="*/ 6 w 664"/>
                <a:gd name="T15" fmla="*/ 646 h 662"/>
                <a:gd name="T16" fmla="*/ 2 w 664"/>
                <a:gd name="T17" fmla="*/ 640 h 662"/>
                <a:gd name="T18" fmla="*/ 0 w 664"/>
                <a:gd name="T19" fmla="*/ 634 h 662"/>
                <a:gd name="T20" fmla="*/ 0 w 664"/>
                <a:gd name="T21" fmla="*/ 626 h 662"/>
                <a:gd name="T22" fmla="*/ 0 w 664"/>
                <a:gd name="T23" fmla="*/ 36 h 662"/>
                <a:gd name="T24" fmla="*/ 0 w 664"/>
                <a:gd name="T25" fmla="*/ 36 h 662"/>
                <a:gd name="T26" fmla="*/ 0 w 664"/>
                <a:gd name="T27" fmla="*/ 28 h 662"/>
                <a:gd name="T28" fmla="*/ 2 w 664"/>
                <a:gd name="T29" fmla="*/ 22 h 662"/>
                <a:gd name="T30" fmla="*/ 6 w 664"/>
                <a:gd name="T31" fmla="*/ 16 h 662"/>
                <a:gd name="T32" fmla="*/ 10 w 664"/>
                <a:gd name="T33" fmla="*/ 10 h 662"/>
                <a:gd name="T34" fmla="*/ 16 w 664"/>
                <a:gd name="T35" fmla="*/ 6 h 662"/>
                <a:gd name="T36" fmla="*/ 22 w 664"/>
                <a:gd name="T37" fmla="*/ 2 h 662"/>
                <a:gd name="T38" fmla="*/ 30 w 664"/>
                <a:gd name="T39" fmla="*/ 0 h 662"/>
                <a:gd name="T40" fmla="*/ 36 w 664"/>
                <a:gd name="T41" fmla="*/ 0 h 662"/>
                <a:gd name="T42" fmla="*/ 626 w 664"/>
                <a:gd name="T43" fmla="*/ 0 h 662"/>
                <a:gd name="T44" fmla="*/ 626 w 664"/>
                <a:gd name="T45" fmla="*/ 0 h 662"/>
                <a:gd name="T46" fmla="*/ 634 w 664"/>
                <a:gd name="T47" fmla="*/ 0 h 662"/>
                <a:gd name="T48" fmla="*/ 640 w 664"/>
                <a:gd name="T49" fmla="*/ 2 h 662"/>
                <a:gd name="T50" fmla="*/ 646 w 664"/>
                <a:gd name="T51" fmla="*/ 6 h 662"/>
                <a:gd name="T52" fmla="*/ 652 w 664"/>
                <a:gd name="T53" fmla="*/ 10 h 662"/>
                <a:gd name="T54" fmla="*/ 656 w 664"/>
                <a:gd name="T55" fmla="*/ 16 h 662"/>
                <a:gd name="T56" fmla="*/ 660 w 664"/>
                <a:gd name="T57" fmla="*/ 22 h 662"/>
                <a:gd name="T58" fmla="*/ 662 w 664"/>
                <a:gd name="T59" fmla="*/ 28 h 662"/>
                <a:gd name="T60" fmla="*/ 664 w 664"/>
                <a:gd name="T61" fmla="*/ 36 h 662"/>
                <a:gd name="T62" fmla="*/ 664 w 664"/>
                <a:gd name="T63" fmla="*/ 626 h 662"/>
                <a:gd name="T64" fmla="*/ 664 w 664"/>
                <a:gd name="T65" fmla="*/ 626 h 662"/>
                <a:gd name="T66" fmla="*/ 662 w 664"/>
                <a:gd name="T67" fmla="*/ 634 h 662"/>
                <a:gd name="T68" fmla="*/ 660 w 664"/>
                <a:gd name="T69" fmla="*/ 640 h 662"/>
                <a:gd name="T70" fmla="*/ 656 w 664"/>
                <a:gd name="T71" fmla="*/ 646 h 662"/>
                <a:gd name="T72" fmla="*/ 652 w 664"/>
                <a:gd name="T73" fmla="*/ 652 h 662"/>
                <a:gd name="T74" fmla="*/ 646 w 664"/>
                <a:gd name="T75" fmla="*/ 656 h 662"/>
                <a:gd name="T76" fmla="*/ 640 w 664"/>
                <a:gd name="T77" fmla="*/ 660 h 662"/>
                <a:gd name="T78" fmla="*/ 634 w 664"/>
                <a:gd name="T79" fmla="*/ 662 h 662"/>
                <a:gd name="T80" fmla="*/ 626 w 664"/>
                <a:gd name="T81" fmla="*/ 662 h 662"/>
                <a:gd name="T82" fmla="*/ 626 w 664"/>
                <a:gd name="T83" fmla="*/ 662 h 662"/>
                <a:gd name="T84" fmla="*/ 74 w 664"/>
                <a:gd name="T85" fmla="*/ 590 h 662"/>
                <a:gd name="T86" fmla="*/ 590 w 664"/>
                <a:gd name="T87" fmla="*/ 590 h 662"/>
                <a:gd name="T88" fmla="*/ 590 w 664"/>
                <a:gd name="T89" fmla="*/ 74 h 662"/>
                <a:gd name="T90" fmla="*/ 74 w 664"/>
                <a:gd name="T91" fmla="*/ 74 h 662"/>
                <a:gd name="T92" fmla="*/ 74 w 664"/>
                <a:gd name="T93" fmla="*/ 59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4" h="662">
                  <a:moveTo>
                    <a:pt x="626" y="662"/>
                  </a:moveTo>
                  <a:lnTo>
                    <a:pt x="36" y="662"/>
                  </a:lnTo>
                  <a:lnTo>
                    <a:pt x="36" y="662"/>
                  </a:lnTo>
                  <a:lnTo>
                    <a:pt x="30" y="662"/>
                  </a:lnTo>
                  <a:lnTo>
                    <a:pt x="22" y="660"/>
                  </a:lnTo>
                  <a:lnTo>
                    <a:pt x="16" y="656"/>
                  </a:lnTo>
                  <a:lnTo>
                    <a:pt x="10" y="652"/>
                  </a:lnTo>
                  <a:lnTo>
                    <a:pt x="6" y="646"/>
                  </a:lnTo>
                  <a:lnTo>
                    <a:pt x="2" y="640"/>
                  </a:lnTo>
                  <a:lnTo>
                    <a:pt x="0" y="634"/>
                  </a:lnTo>
                  <a:lnTo>
                    <a:pt x="0" y="626"/>
                  </a:lnTo>
                  <a:lnTo>
                    <a:pt x="0" y="36"/>
                  </a:lnTo>
                  <a:lnTo>
                    <a:pt x="0" y="36"/>
                  </a:lnTo>
                  <a:lnTo>
                    <a:pt x="0" y="28"/>
                  </a:lnTo>
                  <a:lnTo>
                    <a:pt x="2" y="22"/>
                  </a:lnTo>
                  <a:lnTo>
                    <a:pt x="6" y="16"/>
                  </a:lnTo>
                  <a:lnTo>
                    <a:pt x="10" y="10"/>
                  </a:lnTo>
                  <a:lnTo>
                    <a:pt x="16" y="6"/>
                  </a:lnTo>
                  <a:lnTo>
                    <a:pt x="22" y="2"/>
                  </a:lnTo>
                  <a:lnTo>
                    <a:pt x="30" y="0"/>
                  </a:lnTo>
                  <a:lnTo>
                    <a:pt x="36" y="0"/>
                  </a:lnTo>
                  <a:lnTo>
                    <a:pt x="626" y="0"/>
                  </a:lnTo>
                  <a:lnTo>
                    <a:pt x="626" y="0"/>
                  </a:lnTo>
                  <a:lnTo>
                    <a:pt x="634" y="0"/>
                  </a:lnTo>
                  <a:lnTo>
                    <a:pt x="640" y="2"/>
                  </a:lnTo>
                  <a:lnTo>
                    <a:pt x="646" y="6"/>
                  </a:lnTo>
                  <a:lnTo>
                    <a:pt x="652" y="10"/>
                  </a:lnTo>
                  <a:lnTo>
                    <a:pt x="656" y="16"/>
                  </a:lnTo>
                  <a:lnTo>
                    <a:pt x="660" y="22"/>
                  </a:lnTo>
                  <a:lnTo>
                    <a:pt x="662" y="28"/>
                  </a:lnTo>
                  <a:lnTo>
                    <a:pt x="664" y="36"/>
                  </a:lnTo>
                  <a:lnTo>
                    <a:pt x="664" y="626"/>
                  </a:lnTo>
                  <a:lnTo>
                    <a:pt x="664" y="626"/>
                  </a:lnTo>
                  <a:lnTo>
                    <a:pt x="662" y="634"/>
                  </a:lnTo>
                  <a:lnTo>
                    <a:pt x="660" y="640"/>
                  </a:lnTo>
                  <a:lnTo>
                    <a:pt x="656" y="646"/>
                  </a:lnTo>
                  <a:lnTo>
                    <a:pt x="652" y="652"/>
                  </a:lnTo>
                  <a:lnTo>
                    <a:pt x="646" y="656"/>
                  </a:lnTo>
                  <a:lnTo>
                    <a:pt x="640" y="660"/>
                  </a:lnTo>
                  <a:lnTo>
                    <a:pt x="634" y="662"/>
                  </a:lnTo>
                  <a:lnTo>
                    <a:pt x="626" y="662"/>
                  </a:lnTo>
                  <a:lnTo>
                    <a:pt x="626" y="662"/>
                  </a:lnTo>
                  <a:close/>
                  <a:moveTo>
                    <a:pt x="74" y="590"/>
                  </a:moveTo>
                  <a:lnTo>
                    <a:pt x="590" y="590"/>
                  </a:lnTo>
                  <a:lnTo>
                    <a:pt x="590" y="74"/>
                  </a:lnTo>
                  <a:lnTo>
                    <a:pt x="74" y="74"/>
                  </a:lnTo>
                  <a:lnTo>
                    <a:pt x="7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7" name="Gruppieren 276">
            <a:extLst>
              <a:ext uri="{FF2B5EF4-FFF2-40B4-BE49-F238E27FC236}">
                <a16:creationId xmlns:a16="http://schemas.microsoft.com/office/drawing/2014/main" id="{9955B11A-DC62-4E97-8DA4-FC6B8AEFED55}"/>
              </a:ext>
            </a:extLst>
          </p:cNvPr>
          <p:cNvGrpSpPr>
            <a:grpSpLocks noChangeAspect="1"/>
          </p:cNvGrpSpPr>
          <p:nvPr/>
        </p:nvGrpSpPr>
        <p:grpSpPr>
          <a:xfrm>
            <a:off x="2725653" y="1647825"/>
            <a:ext cx="306831" cy="306484"/>
            <a:chOff x="7462590" y="2310910"/>
            <a:chExt cx="399787" cy="399335"/>
          </a:xfrm>
          <a:solidFill>
            <a:schemeClr val="bg2"/>
          </a:solidFill>
          <a:effectLst/>
        </p:grpSpPr>
        <p:sp>
          <p:nvSpPr>
            <p:cNvPr id="309" name="Freeform 12">
              <a:extLst>
                <a:ext uri="{FF2B5EF4-FFF2-40B4-BE49-F238E27FC236}">
                  <a16:creationId xmlns:a16="http://schemas.microsoft.com/office/drawing/2014/main" id="{B29D14B3-2E24-44FE-AD63-CF329F921BDE}"/>
                </a:ext>
              </a:extLst>
            </p:cNvPr>
            <p:cNvSpPr>
              <a:spLocks/>
            </p:cNvSpPr>
            <p:nvPr/>
          </p:nvSpPr>
          <p:spPr bwMode="auto">
            <a:xfrm>
              <a:off x="7762543" y="2310910"/>
              <a:ext cx="99834" cy="99834"/>
            </a:xfrm>
            <a:custGeom>
              <a:avLst/>
              <a:gdLst>
                <a:gd name="T0" fmla="*/ 404 w 442"/>
                <a:gd name="T1" fmla="*/ 442 h 442"/>
                <a:gd name="T2" fmla="*/ 404 w 442"/>
                <a:gd name="T3" fmla="*/ 442 h 442"/>
                <a:gd name="T4" fmla="*/ 396 w 442"/>
                <a:gd name="T5" fmla="*/ 442 h 442"/>
                <a:gd name="T6" fmla="*/ 390 w 442"/>
                <a:gd name="T7" fmla="*/ 438 h 442"/>
                <a:gd name="T8" fmla="*/ 384 w 442"/>
                <a:gd name="T9" fmla="*/ 436 h 442"/>
                <a:gd name="T10" fmla="*/ 378 w 442"/>
                <a:gd name="T11" fmla="*/ 432 h 442"/>
                <a:gd name="T12" fmla="*/ 374 w 442"/>
                <a:gd name="T13" fmla="*/ 426 h 442"/>
                <a:gd name="T14" fmla="*/ 370 w 442"/>
                <a:gd name="T15" fmla="*/ 420 h 442"/>
                <a:gd name="T16" fmla="*/ 368 w 442"/>
                <a:gd name="T17" fmla="*/ 412 h 442"/>
                <a:gd name="T18" fmla="*/ 368 w 442"/>
                <a:gd name="T19" fmla="*/ 404 h 442"/>
                <a:gd name="T20" fmla="*/ 368 w 442"/>
                <a:gd name="T21" fmla="*/ 74 h 442"/>
                <a:gd name="T22" fmla="*/ 36 w 442"/>
                <a:gd name="T23" fmla="*/ 74 h 442"/>
                <a:gd name="T24" fmla="*/ 36 w 442"/>
                <a:gd name="T25" fmla="*/ 74 h 442"/>
                <a:gd name="T26" fmla="*/ 28 w 442"/>
                <a:gd name="T27" fmla="*/ 72 h 442"/>
                <a:gd name="T28" fmla="*/ 22 w 442"/>
                <a:gd name="T29" fmla="*/ 70 h 442"/>
                <a:gd name="T30" fmla="*/ 16 w 442"/>
                <a:gd name="T31" fmla="*/ 68 h 442"/>
                <a:gd name="T32" fmla="*/ 10 w 442"/>
                <a:gd name="T33" fmla="*/ 62 h 442"/>
                <a:gd name="T34" fmla="*/ 6 w 442"/>
                <a:gd name="T35" fmla="*/ 58 h 442"/>
                <a:gd name="T36" fmla="*/ 2 w 442"/>
                <a:gd name="T37" fmla="*/ 50 h 442"/>
                <a:gd name="T38" fmla="*/ 0 w 442"/>
                <a:gd name="T39" fmla="*/ 44 h 442"/>
                <a:gd name="T40" fmla="*/ 0 w 442"/>
                <a:gd name="T41" fmla="*/ 36 h 442"/>
                <a:gd name="T42" fmla="*/ 0 w 442"/>
                <a:gd name="T43" fmla="*/ 36 h 442"/>
                <a:gd name="T44" fmla="*/ 0 w 442"/>
                <a:gd name="T45" fmla="*/ 30 h 442"/>
                <a:gd name="T46" fmla="*/ 2 w 442"/>
                <a:gd name="T47" fmla="*/ 22 h 442"/>
                <a:gd name="T48" fmla="*/ 6 w 442"/>
                <a:gd name="T49" fmla="*/ 16 h 442"/>
                <a:gd name="T50" fmla="*/ 10 w 442"/>
                <a:gd name="T51" fmla="*/ 10 h 442"/>
                <a:gd name="T52" fmla="*/ 16 w 442"/>
                <a:gd name="T53" fmla="*/ 6 h 442"/>
                <a:gd name="T54" fmla="*/ 22 w 442"/>
                <a:gd name="T55" fmla="*/ 2 h 442"/>
                <a:gd name="T56" fmla="*/ 28 w 442"/>
                <a:gd name="T57" fmla="*/ 0 h 442"/>
                <a:gd name="T58" fmla="*/ 36 w 442"/>
                <a:gd name="T59" fmla="*/ 0 h 442"/>
                <a:gd name="T60" fmla="*/ 404 w 442"/>
                <a:gd name="T61" fmla="*/ 0 h 442"/>
                <a:gd name="T62" fmla="*/ 404 w 442"/>
                <a:gd name="T63" fmla="*/ 0 h 442"/>
                <a:gd name="T64" fmla="*/ 412 w 442"/>
                <a:gd name="T65" fmla="*/ 0 h 442"/>
                <a:gd name="T66" fmla="*/ 418 w 442"/>
                <a:gd name="T67" fmla="*/ 2 h 442"/>
                <a:gd name="T68" fmla="*/ 424 w 442"/>
                <a:gd name="T69" fmla="*/ 6 h 442"/>
                <a:gd name="T70" fmla="*/ 430 w 442"/>
                <a:gd name="T71" fmla="*/ 10 h 442"/>
                <a:gd name="T72" fmla="*/ 434 w 442"/>
                <a:gd name="T73" fmla="*/ 16 h 442"/>
                <a:gd name="T74" fmla="*/ 438 w 442"/>
                <a:gd name="T75" fmla="*/ 22 h 442"/>
                <a:gd name="T76" fmla="*/ 440 w 442"/>
                <a:gd name="T77" fmla="*/ 30 h 442"/>
                <a:gd name="T78" fmla="*/ 442 w 442"/>
                <a:gd name="T79" fmla="*/ 36 h 442"/>
                <a:gd name="T80" fmla="*/ 442 w 442"/>
                <a:gd name="T81" fmla="*/ 404 h 442"/>
                <a:gd name="T82" fmla="*/ 442 w 442"/>
                <a:gd name="T83" fmla="*/ 404 h 442"/>
                <a:gd name="T84" fmla="*/ 440 w 442"/>
                <a:gd name="T85" fmla="*/ 412 h 442"/>
                <a:gd name="T86" fmla="*/ 438 w 442"/>
                <a:gd name="T87" fmla="*/ 420 h 442"/>
                <a:gd name="T88" fmla="*/ 434 w 442"/>
                <a:gd name="T89" fmla="*/ 426 h 442"/>
                <a:gd name="T90" fmla="*/ 430 w 442"/>
                <a:gd name="T91" fmla="*/ 432 h 442"/>
                <a:gd name="T92" fmla="*/ 424 w 442"/>
                <a:gd name="T93" fmla="*/ 436 h 442"/>
                <a:gd name="T94" fmla="*/ 418 w 442"/>
                <a:gd name="T95" fmla="*/ 438 h 442"/>
                <a:gd name="T96" fmla="*/ 412 w 442"/>
                <a:gd name="T97" fmla="*/ 442 h 442"/>
                <a:gd name="T98" fmla="*/ 404 w 442"/>
                <a:gd name="T99" fmla="*/ 442 h 442"/>
                <a:gd name="T100" fmla="*/ 404 w 442"/>
                <a:gd name="T101"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442">
                  <a:moveTo>
                    <a:pt x="404" y="442"/>
                  </a:moveTo>
                  <a:lnTo>
                    <a:pt x="404" y="442"/>
                  </a:lnTo>
                  <a:lnTo>
                    <a:pt x="396" y="442"/>
                  </a:lnTo>
                  <a:lnTo>
                    <a:pt x="390" y="438"/>
                  </a:lnTo>
                  <a:lnTo>
                    <a:pt x="384" y="436"/>
                  </a:lnTo>
                  <a:lnTo>
                    <a:pt x="378" y="432"/>
                  </a:lnTo>
                  <a:lnTo>
                    <a:pt x="374" y="426"/>
                  </a:lnTo>
                  <a:lnTo>
                    <a:pt x="370" y="420"/>
                  </a:lnTo>
                  <a:lnTo>
                    <a:pt x="368" y="412"/>
                  </a:lnTo>
                  <a:lnTo>
                    <a:pt x="368" y="404"/>
                  </a:lnTo>
                  <a:lnTo>
                    <a:pt x="368" y="74"/>
                  </a:lnTo>
                  <a:lnTo>
                    <a:pt x="36" y="74"/>
                  </a:lnTo>
                  <a:lnTo>
                    <a:pt x="36" y="74"/>
                  </a:lnTo>
                  <a:lnTo>
                    <a:pt x="28" y="72"/>
                  </a:lnTo>
                  <a:lnTo>
                    <a:pt x="22" y="70"/>
                  </a:lnTo>
                  <a:lnTo>
                    <a:pt x="16" y="68"/>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404" y="0"/>
                  </a:lnTo>
                  <a:lnTo>
                    <a:pt x="404" y="0"/>
                  </a:lnTo>
                  <a:lnTo>
                    <a:pt x="412" y="0"/>
                  </a:lnTo>
                  <a:lnTo>
                    <a:pt x="418" y="2"/>
                  </a:lnTo>
                  <a:lnTo>
                    <a:pt x="424" y="6"/>
                  </a:lnTo>
                  <a:lnTo>
                    <a:pt x="430" y="10"/>
                  </a:lnTo>
                  <a:lnTo>
                    <a:pt x="434" y="16"/>
                  </a:lnTo>
                  <a:lnTo>
                    <a:pt x="438" y="22"/>
                  </a:lnTo>
                  <a:lnTo>
                    <a:pt x="440" y="30"/>
                  </a:lnTo>
                  <a:lnTo>
                    <a:pt x="442" y="36"/>
                  </a:lnTo>
                  <a:lnTo>
                    <a:pt x="442" y="404"/>
                  </a:lnTo>
                  <a:lnTo>
                    <a:pt x="442" y="404"/>
                  </a:lnTo>
                  <a:lnTo>
                    <a:pt x="440" y="412"/>
                  </a:lnTo>
                  <a:lnTo>
                    <a:pt x="438" y="420"/>
                  </a:lnTo>
                  <a:lnTo>
                    <a:pt x="434" y="426"/>
                  </a:lnTo>
                  <a:lnTo>
                    <a:pt x="430" y="432"/>
                  </a:lnTo>
                  <a:lnTo>
                    <a:pt x="424" y="436"/>
                  </a:lnTo>
                  <a:lnTo>
                    <a:pt x="418" y="438"/>
                  </a:lnTo>
                  <a:lnTo>
                    <a:pt x="412" y="442"/>
                  </a:lnTo>
                  <a:lnTo>
                    <a:pt x="404" y="442"/>
                  </a:lnTo>
                  <a:lnTo>
                    <a:pt x="404"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3">
              <a:extLst>
                <a:ext uri="{FF2B5EF4-FFF2-40B4-BE49-F238E27FC236}">
                  <a16:creationId xmlns:a16="http://schemas.microsoft.com/office/drawing/2014/main" id="{FA175D9E-C84C-4B71-8FC6-CBE19E9B8C1D}"/>
                </a:ext>
              </a:extLst>
            </p:cNvPr>
            <p:cNvSpPr>
              <a:spLocks/>
            </p:cNvSpPr>
            <p:nvPr/>
          </p:nvSpPr>
          <p:spPr bwMode="auto">
            <a:xfrm>
              <a:off x="7845663" y="2444172"/>
              <a:ext cx="16714" cy="45625"/>
            </a:xfrm>
            <a:custGeom>
              <a:avLst/>
              <a:gdLst>
                <a:gd name="T0" fmla="*/ 36 w 74"/>
                <a:gd name="T1" fmla="*/ 202 h 202"/>
                <a:gd name="T2" fmla="*/ 36 w 74"/>
                <a:gd name="T3" fmla="*/ 202 h 202"/>
                <a:gd name="T4" fmla="*/ 28 w 74"/>
                <a:gd name="T5" fmla="*/ 202 h 202"/>
                <a:gd name="T6" fmla="*/ 22 w 74"/>
                <a:gd name="T7" fmla="*/ 198 h 202"/>
                <a:gd name="T8" fmla="*/ 16 w 74"/>
                <a:gd name="T9" fmla="*/ 196 h 202"/>
                <a:gd name="T10" fmla="*/ 10 w 74"/>
                <a:gd name="T11" fmla="*/ 192 h 202"/>
                <a:gd name="T12" fmla="*/ 6 w 74"/>
                <a:gd name="T13" fmla="*/ 186 h 202"/>
                <a:gd name="T14" fmla="*/ 2 w 74"/>
                <a:gd name="T15" fmla="*/ 180 h 202"/>
                <a:gd name="T16" fmla="*/ 0 w 74"/>
                <a:gd name="T17" fmla="*/ 172 h 202"/>
                <a:gd name="T18" fmla="*/ 0 w 74"/>
                <a:gd name="T19" fmla="*/ 166 h 202"/>
                <a:gd name="T20" fmla="*/ 0 w 74"/>
                <a:gd name="T21" fmla="*/ 36 h 202"/>
                <a:gd name="T22" fmla="*/ 0 w 74"/>
                <a:gd name="T23" fmla="*/ 36 h 202"/>
                <a:gd name="T24" fmla="*/ 0 w 74"/>
                <a:gd name="T25" fmla="*/ 28 h 202"/>
                <a:gd name="T26" fmla="*/ 2 w 74"/>
                <a:gd name="T27" fmla="*/ 22 h 202"/>
                <a:gd name="T28" fmla="*/ 6 w 74"/>
                <a:gd name="T29" fmla="*/ 16 h 202"/>
                <a:gd name="T30" fmla="*/ 10 w 74"/>
                <a:gd name="T31" fmla="*/ 10 h 202"/>
                <a:gd name="T32" fmla="*/ 16 w 74"/>
                <a:gd name="T33" fmla="*/ 6 h 202"/>
                <a:gd name="T34" fmla="*/ 22 w 74"/>
                <a:gd name="T35" fmla="*/ 2 h 202"/>
                <a:gd name="T36" fmla="*/ 28 w 74"/>
                <a:gd name="T37" fmla="*/ 0 h 202"/>
                <a:gd name="T38" fmla="*/ 36 w 74"/>
                <a:gd name="T39" fmla="*/ 0 h 202"/>
                <a:gd name="T40" fmla="*/ 36 w 74"/>
                <a:gd name="T41" fmla="*/ 0 h 202"/>
                <a:gd name="T42" fmla="*/ 44 w 74"/>
                <a:gd name="T43" fmla="*/ 0 h 202"/>
                <a:gd name="T44" fmla="*/ 50 w 74"/>
                <a:gd name="T45" fmla="*/ 2 h 202"/>
                <a:gd name="T46" fmla="*/ 56 w 74"/>
                <a:gd name="T47" fmla="*/ 6 h 202"/>
                <a:gd name="T48" fmla="*/ 62 w 74"/>
                <a:gd name="T49" fmla="*/ 10 h 202"/>
                <a:gd name="T50" fmla="*/ 66 w 74"/>
                <a:gd name="T51" fmla="*/ 16 h 202"/>
                <a:gd name="T52" fmla="*/ 70 w 74"/>
                <a:gd name="T53" fmla="*/ 22 h 202"/>
                <a:gd name="T54" fmla="*/ 72 w 74"/>
                <a:gd name="T55" fmla="*/ 28 h 202"/>
                <a:gd name="T56" fmla="*/ 74 w 74"/>
                <a:gd name="T57" fmla="*/ 36 h 202"/>
                <a:gd name="T58" fmla="*/ 74 w 74"/>
                <a:gd name="T59" fmla="*/ 166 h 202"/>
                <a:gd name="T60" fmla="*/ 74 w 74"/>
                <a:gd name="T61" fmla="*/ 166 h 202"/>
                <a:gd name="T62" fmla="*/ 72 w 74"/>
                <a:gd name="T63" fmla="*/ 172 h 202"/>
                <a:gd name="T64" fmla="*/ 70 w 74"/>
                <a:gd name="T65" fmla="*/ 180 h 202"/>
                <a:gd name="T66" fmla="*/ 66 w 74"/>
                <a:gd name="T67" fmla="*/ 186 h 202"/>
                <a:gd name="T68" fmla="*/ 62 w 74"/>
                <a:gd name="T69" fmla="*/ 192 h 202"/>
                <a:gd name="T70" fmla="*/ 56 w 74"/>
                <a:gd name="T71" fmla="*/ 196 h 202"/>
                <a:gd name="T72" fmla="*/ 50 w 74"/>
                <a:gd name="T73" fmla="*/ 198 h 202"/>
                <a:gd name="T74" fmla="*/ 44 w 74"/>
                <a:gd name="T75" fmla="*/ 202 h 202"/>
                <a:gd name="T76" fmla="*/ 36 w 74"/>
                <a:gd name="T77" fmla="*/ 202 h 202"/>
                <a:gd name="T78" fmla="*/ 36 w 74"/>
                <a:gd name="T7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202">
                  <a:moveTo>
                    <a:pt x="36" y="202"/>
                  </a:moveTo>
                  <a:lnTo>
                    <a:pt x="36" y="202"/>
                  </a:lnTo>
                  <a:lnTo>
                    <a:pt x="28" y="202"/>
                  </a:lnTo>
                  <a:lnTo>
                    <a:pt x="22" y="198"/>
                  </a:lnTo>
                  <a:lnTo>
                    <a:pt x="16" y="196"/>
                  </a:lnTo>
                  <a:lnTo>
                    <a:pt x="10" y="192"/>
                  </a:lnTo>
                  <a:lnTo>
                    <a:pt x="6" y="186"/>
                  </a:lnTo>
                  <a:lnTo>
                    <a:pt x="2" y="180"/>
                  </a:lnTo>
                  <a:lnTo>
                    <a:pt x="0" y="172"/>
                  </a:lnTo>
                  <a:lnTo>
                    <a:pt x="0" y="166"/>
                  </a:lnTo>
                  <a:lnTo>
                    <a:pt x="0" y="36"/>
                  </a:lnTo>
                  <a:lnTo>
                    <a:pt x="0" y="36"/>
                  </a:lnTo>
                  <a:lnTo>
                    <a:pt x="0" y="28"/>
                  </a:lnTo>
                  <a:lnTo>
                    <a:pt x="2" y="22"/>
                  </a:lnTo>
                  <a:lnTo>
                    <a:pt x="6" y="16"/>
                  </a:lnTo>
                  <a:lnTo>
                    <a:pt x="10" y="10"/>
                  </a:lnTo>
                  <a:lnTo>
                    <a:pt x="16" y="6"/>
                  </a:lnTo>
                  <a:lnTo>
                    <a:pt x="22" y="2"/>
                  </a:lnTo>
                  <a:lnTo>
                    <a:pt x="28" y="0"/>
                  </a:lnTo>
                  <a:lnTo>
                    <a:pt x="36" y="0"/>
                  </a:lnTo>
                  <a:lnTo>
                    <a:pt x="36" y="0"/>
                  </a:lnTo>
                  <a:lnTo>
                    <a:pt x="44" y="0"/>
                  </a:lnTo>
                  <a:lnTo>
                    <a:pt x="50" y="2"/>
                  </a:lnTo>
                  <a:lnTo>
                    <a:pt x="56" y="6"/>
                  </a:lnTo>
                  <a:lnTo>
                    <a:pt x="62" y="10"/>
                  </a:lnTo>
                  <a:lnTo>
                    <a:pt x="66" y="16"/>
                  </a:lnTo>
                  <a:lnTo>
                    <a:pt x="70" y="22"/>
                  </a:lnTo>
                  <a:lnTo>
                    <a:pt x="72" y="28"/>
                  </a:lnTo>
                  <a:lnTo>
                    <a:pt x="74" y="36"/>
                  </a:lnTo>
                  <a:lnTo>
                    <a:pt x="74" y="166"/>
                  </a:lnTo>
                  <a:lnTo>
                    <a:pt x="74" y="166"/>
                  </a:lnTo>
                  <a:lnTo>
                    <a:pt x="72" y="172"/>
                  </a:lnTo>
                  <a:lnTo>
                    <a:pt x="70" y="180"/>
                  </a:lnTo>
                  <a:lnTo>
                    <a:pt x="66" y="186"/>
                  </a:lnTo>
                  <a:lnTo>
                    <a:pt x="62" y="192"/>
                  </a:lnTo>
                  <a:lnTo>
                    <a:pt x="56" y="196"/>
                  </a:lnTo>
                  <a:lnTo>
                    <a:pt x="50" y="198"/>
                  </a:lnTo>
                  <a:lnTo>
                    <a:pt x="44" y="202"/>
                  </a:lnTo>
                  <a:lnTo>
                    <a:pt x="36" y="202"/>
                  </a:lnTo>
                  <a:lnTo>
                    <a:pt x="3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4">
              <a:extLst>
                <a:ext uri="{FF2B5EF4-FFF2-40B4-BE49-F238E27FC236}">
                  <a16:creationId xmlns:a16="http://schemas.microsoft.com/office/drawing/2014/main" id="{1D34AB39-0001-4029-B0E9-A522BBEF99E5}"/>
                </a:ext>
              </a:extLst>
            </p:cNvPr>
            <p:cNvSpPr>
              <a:spLocks noEditPoints="1"/>
            </p:cNvSpPr>
            <p:nvPr/>
          </p:nvSpPr>
          <p:spPr bwMode="auto">
            <a:xfrm>
              <a:off x="7845663" y="2506060"/>
              <a:ext cx="16714" cy="142297"/>
            </a:xfrm>
            <a:custGeom>
              <a:avLst/>
              <a:gdLst>
                <a:gd name="T0" fmla="*/ 36 w 74"/>
                <a:gd name="T1" fmla="*/ 630 h 630"/>
                <a:gd name="T2" fmla="*/ 22 w 74"/>
                <a:gd name="T3" fmla="*/ 626 h 630"/>
                <a:gd name="T4" fmla="*/ 10 w 74"/>
                <a:gd name="T5" fmla="*/ 618 h 630"/>
                <a:gd name="T6" fmla="*/ 2 w 74"/>
                <a:gd name="T7" fmla="*/ 606 h 630"/>
                <a:gd name="T8" fmla="*/ 0 w 74"/>
                <a:gd name="T9" fmla="*/ 592 h 630"/>
                <a:gd name="T10" fmla="*/ 0 w 74"/>
                <a:gd name="T11" fmla="*/ 388 h 630"/>
                <a:gd name="T12" fmla="*/ 2 w 74"/>
                <a:gd name="T13" fmla="*/ 374 h 630"/>
                <a:gd name="T14" fmla="*/ 10 w 74"/>
                <a:gd name="T15" fmla="*/ 362 h 630"/>
                <a:gd name="T16" fmla="*/ 22 w 74"/>
                <a:gd name="T17" fmla="*/ 354 h 630"/>
                <a:gd name="T18" fmla="*/ 36 w 74"/>
                <a:gd name="T19" fmla="*/ 352 h 630"/>
                <a:gd name="T20" fmla="*/ 44 w 74"/>
                <a:gd name="T21" fmla="*/ 352 h 630"/>
                <a:gd name="T22" fmla="*/ 56 w 74"/>
                <a:gd name="T23" fmla="*/ 358 h 630"/>
                <a:gd name="T24" fmla="*/ 66 w 74"/>
                <a:gd name="T25" fmla="*/ 368 h 630"/>
                <a:gd name="T26" fmla="*/ 72 w 74"/>
                <a:gd name="T27" fmla="*/ 380 h 630"/>
                <a:gd name="T28" fmla="*/ 74 w 74"/>
                <a:gd name="T29" fmla="*/ 592 h 630"/>
                <a:gd name="T30" fmla="*/ 72 w 74"/>
                <a:gd name="T31" fmla="*/ 600 h 630"/>
                <a:gd name="T32" fmla="*/ 66 w 74"/>
                <a:gd name="T33" fmla="*/ 614 h 630"/>
                <a:gd name="T34" fmla="*/ 56 w 74"/>
                <a:gd name="T35" fmla="*/ 622 h 630"/>
                <a:gd name="T36" fmla="*/ 44 w 74"/>
                <a:gd name="T37" fmla="*/ 628 h 630"/>
                <a:gd name="T38" fmla="*/ 36 w 74"/>
                <a:gd name="T39" fmla="*/ 630 h 630"/>
                <a:gd name="T40" fmla="*/ 36 w 74"/>
                <a:gd name="T41" fmla="*/ 278 h 630"/>
                <a:gd name="T42" fmla="*/ 22 w 74"/>
                <a:gd name="T43" fmla="*/ 276 h 630"/>
                <a:gd name="T44" fmla="*/ 10 w 74"/>
                <a:gd name="T45" fmla="*/ 268 h 630"/>
                <a:gd name="T46" fmla="*/ 2 w 74"/>
                <a:gd name="T47" fmla="*/ 256 h 630"/>
                <a:gd name="T48" fmla="*/ 0 w 74"/>
                <a:gd name="T49" fmla="*/ 242 h 630"/>
                <a:gd name="T50" fmla="*/ 0 w 74"/>
                <a:gd name="T51" fmla="*/ 38 h 630"/>
                <a:gd name="T52" fmla="*/ 2 w 74"/>
                <a:gd name="T53" fmla="*/ 22 h 630"/>
                <a:gd name="T54" fmla="*/ 10 w 74"/>
                <a:gd name="T55" fmla="*/ 12 h 630"/>
                <a:gd name="T56" fmla="*/ 22 w 74"/>
                <a:gd name="T57" fmla="*/ 4 h 630"/>
                <a:gd name="T58" fmla="*/ 36 w 74"/>
                <a:gd name="T59" fmla="*/ 0 h 630"/>
                <a:gd name="T60" fmla="*/ 44 w 74"/>
                <a:gd name="T61" fmla="*/ 2 h 630"/>
                <a:gd name="T62" fmla="*/ 56 w 74"/>
                <a:gd name="T63" fmla="*/ 6 h 630"/>
                <a:gd name="T64" fmla="*/ 66 w 74"/>
                <a:gd name="T65" fmla="*/ 16 h 630"/>
                <a:gd name="T66" fmla="*/ 72 w 74"/>
                <a:gd name="T67" fmla="*/ 30 h 630"/>
                <a:gd name="T68" fmla="*/ 74 w 74"/>
                <a:gd name="T69" fmla="*/ 242 h 630"/>
                <a:gd name="T70" fmla="*/ 72 w 74"/>
                <a:gd name="T71" fmla="*/ 250 h 630"/>
                <a:gd name="T72" fmla="*/ 66 w 74"/>
                <a:gd name="T73" fmla="*/ 262 h 630"/>
                <a:gd name="T74" fmla="*/ 56 w 74"/>
                <a:gd name="T75" fmla="*/ 272 h 630"/>
                <a:gd name="T76" fmla="*/ 44 w 74"/>
                <a:gd name="T77" fmla="*/ 278 h 630"/>
                <a:gd name="T78" fmla="*/ 36 w 74"/>
                <a:gd name="T79" fmla="*/ 278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630">
                  <a:moveTo>
                    <a:pt x="36" y="630"/>
                  </a:moveTo>
                  <a:lnTo>
                    <a:pt x="36" y="630"/>
                  </a:lnTo>
                  <a:lnTo>
                    <a:pt x="28" y="628"/>
                  </a:lnTo>
                  <a:lnTo>
                    <a:pt x="22" y="626"/>
                  </a:lnTo>
                  <a:lnTo>
                    <a:pt x="16" y="622"/>
                  </a:lnTo>
                  <a:lnTo>
                    <a:pt x="10" y="618"/>
                  </a:lnTo>
                  <a:lnTo>
                    <a:pt x="6" y="614"/>
                  </a:lnTo>
                  <a:lnTo>
                    <a:pt x="2" y="606"/>
                  </a:lnTo>
                  <a:lnTo>
                    <a:pt x="0" y="600"/>
                  </a:lnTo>
                  <a:lnTo>
                    <a:pt x="0" y="592"/>
                  </a:lnTo>
                  <a:lnTo>
                    <a:pt x="0" y="388"/>
                  </a:lnTo>
                  <a:lnTo>
                    <a:pt x="0" y="388"/>
                  </a:lnTo>
                  <a:lnTo>
                    <a:pt x="0" y="380"/>
                  </a:lnTo>
                  <a:lnTo>
                    <a:pt x="2" y="374"/>
                  </a:lnTo>
                  <a:lnTo>
                    <a:pt x="6" y="368"/>
                  </a:lnTo>
                  <a:lnTo>
                    <a:pt x="10" y="362"/>
                  </a:lnTo>
                  <a:lnTo>
                    <a:pt x="16" y="358"/>
                  </a:lnTo>
                  <a:lnTo>
                    <a:pt x="22" y="354"/>
                  </a:lnTo>
                  <a:lnTo>
                    <a:pt x="28" y="352"/>
                  </a:lnTo>
                  <a:lnTo>
                    <a:pt x="36" y="352"/>
                  </a:lnTo>
                  <a:lnTo>
                    <a:pt x="36" y="352"/>
                  </a:lnTo>
                  <a:lnTo>
                    <a:pt x="44" y="352"/>
                  </a:lnTo>
                  <a:lnTo>
                    <a:pt x="50" y="354"/>
                  </a:lnTo>
                  <a:lnTo>
                    <a:pt x="56" y="358"/>
                  </a:lnTo>
                  <a:lnTo>
                    <a:pt x="62" y="362"/>
                  </a:lnTo>
                  <a:lnTo>
                    <a:pt x="66" y="368"/>
                  </a:lnTo>
                  <a:lnTo>
                    <a:pt x="70" y="374"/>
                  </a:lnTo>
                  <a:lnTo>
                    <a:pt x="72" y="380"/>
                  </a:lnTo>
                  <a:lnTo>
                    <a:pt x="74" y="388"/>
                  </a:lnTo>
                  <a:lnTo>
                    <a:pt x="74" y="592"/>
                  </a:lnTo>
                  <a:lnTo>
                    <a:pt x="74" y="592"/>
                  </a:lnTo>
                  <a:lnTo>
                    <a:pt x="72" y="600"/>
                  </a:lnTo>
                  <a:lnTo>
                    <a:pt x="70" y="606"/>
                  </a:lnTo>
                  <a:lnTo>
                    <a:pt x="66" y="614"/>
                  </a:lnTo>
                  <a:lnTo>
                    <a:pt x="62" y="618"/>
                  </a:lnTo>
                  <a:lnTo>
                    <a:pt x="56" y="622"/>
                  </a:lnTo>
                  <a:lnTo>
                    <a:pt x="50" y="626"/>
                  </a:lnTo>
                  <a:lnTo>
                    <a:pt x="44" y="628"/>
                  </a:lnTo>
                  <a:lnTo>
                    <a:pt x="36" y="630"/>
                  </a:lnTo>
                  <a:lnTo>
                    <a:pt x="36" y="630"/>
                  </a:lnTo>
                  <a:close/>
                  <a:moveTo>
                    <a:pt x="36" y="278"/>
                  </a:moveTo>
                  <a:lnTo>
                    <a:pt x="36" y="278"/>
                  </a:lnTo>
                  <a:lnTo>
                    <a:pt x="28" y="278"/>
                  </a:lnTo>
                  <a:lnTo>
                    <a:pt x="22" y="276"/>
                  </a:lnTo>
                  <a:lnTo>
                    <a:pt x="16" y="272"/>
                  </a:lnTo>
                  <a:lnTo>
                    <a:pt x="10" y="268"/>
                  </a:lnTo>
                  <a:lnTo>
                    <a:pt x="6" y="262"/>
                  </a:lnTo>
                  <a:lnTo>
                    <a:pt x="2" y="256"/>
                  </a:lnTo>
                  <a:lnTo>
                    <a:pt x="0" y="250"/>
                  </a:lnTo>
                  <a:lnTo>
                    <a:pt x="0" y="242"/>
                  </a:lnTo>
                  <a:lnTo>
                    <a:pt x="0" y="38"/>
                  </a:lnTo>
                  <a:lnTo>
                    <a:pt x="0" y="38"/>
                  </a:lnTo>
                  <a:lnTo>
                    <a:pt x="0" y="30"/>
                  </a:lnTo>
                  <a:lnTo>
                    <a:pt x="2" y="22"/>
                  </a:lnTo>
                  <a:lnTo>
                    <a:pt x="6" y="16"/>
                  </a:lnTo>
                  <a:lnTo>
                    <a:pt x="10" y="12"/>
                  </a:lnTo>
                  <a:lnTo>
                    <a:pt x="16" y="6"/>
                  </a:lnTo>
                  <a:lnTo>
                    <a:pt x="22" y="4"/>
                  </a:lnTo>
                  <a:lnTo>
                    <a:pt x="28" y="2"/>
                  </a:lnTo>
                  <a:lnTo>
                    <a:pt x="36" y="0"/>
                  </a:lnTo>
                  <a:lnTo>
                    <a:pt x="36" y="0"/>
                  </a:lnTo>
                  <a:lnTo>
                    <a:pt x="44" y="2"/>
                  </a:lnTo>
                  <a:lnTo>
                    <a:pt x="50" y="4"/>
                  </a:lnTo>
                  <a:lnTo>
                    <a:pt x="56" y="6"/>
                  </a:lnTo>
                  <a:lnTo>
                    <a:pt x="62" y="12"/>
                  </a:lnTo>
                  <a:lnTo>
                    <a:pt x="66" y="16"/>
                  </a:lnTo>
                  <a:lnTo>
                    <a:pt x="70" y="22"/>
                  </a:lnTo>
                  <a:lnTo>
                    <a:pt x="72" y="30"/>
                  </a:lnTo>
                  <a:lnTo>
                    <a:pt x="74" y="38"/>
                  </a:lnTo>
                  <a:lnTo>
                    <a:pt x="74" y="242"/>
                  </a:lnTo>
                  <a:lnTo>
                    <a:pt x="74" y="242"/>
                  </a:lnTo>
                  <a:lnTo>
                    <a:pt x="72" y="250"/>
                  </a:lnTo>
                  <a:lnTo>
                    <a:pt x="70" y="256"/>
                  </a:lnTo>
                  <a:lnTo>
                    <a:pt x="66" y="262"/>
                  </a:lnTo>
                  <a:lnTo>
                    <a:pt x="62" y="268"/>
                  </a:lnTo>
                  <a:lnTo>
                    <a:pt x="56" y="272"/>
                  </a:lnTo>
                  <a:lnTo>
                    <a:pt x="50" y="276"/>
                  </a:lnTo>
                  <a:lnTo>
                    <a:pt x="44" y="278"/>
                  </a:lnTo>
                  <a:lnTo>
                    <a:pt x="36" y="278"/>
                  </a:lnTo>
                  <a:lnTo>
                    <a:pt x="36"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5">
              <a:extLst>
                <a:ext uri="{FF2B5EF4-FFF2-40B4-BE49-F238E27FC236}">
                  <a16:creationId xmlns:a16="http://schemas.microsoft.com/office/drawing/2014/main" id="{269AFA2F-6BA7-4EAC-B461-89040B3FC4E0}"/>
                </a:ext>
              </a:extLst>
            </p:cNvPr>
            <p:cNvSpPr>
              <a:spLocks/>
            </p:cNvSpPr>
            <p:nvPr/>
          </p:nvSpPr>
          <p:spPr bwMode="auto">
            <a:xfrm>
              <a:off x="7816300" y="2664620"/>
              <a:ext cx="46077" cy="45625"/>
            </a:xfrm>
            <a:custGeom>
              <a:avLst/>
              <a:gdLst>
                <a:gd name="T0" fmla="*/ 166 w 204"/>
                <a:gd name="T1" fmla="*/ 202 h 202"/>
                <a:gd name="T2" fmla="*/ 38 w 204"/>
                <a:gd name="T3" fmla="*/ 202 h 202"/>
                <a:gd name="T4" fmla="*/ 38 w 204"/>
                <a:gd name="T5" fmla="*/ 202 h 202"/>
                <a:gd name="T6" fmla="*/ 30 w 204"/>
                <a:gd name="T7" fmla="*/ 202 h 202"/>
                <a:gd name="T8" fmla="*/ 24 w 204"/>
                <a:gd name="T9" fmla="*/ 200 h 202"/>
                <a:gd name="T10" fmla="*/ 16 w 204"/>
                <a:gd name="T11" fmla="*/ 196 h 202"/>
                <a:gd name="T12" fmla="*/ 12 w 204"/>
                <a:gd name="T13" fmla="*/ 192 h 202"/>
                <a:gd name="T14" fmla="*/ 6 w 204"/>
                <a:gd name="T15" fmla="*/ 186 h 202"/>
                <a:gd name="T16" fmla="*/ 4 w 204"/>
                <a:gd name="T17" fmla="*/ 180 h 202"/>
                <a:gd name="T18" fmla="*/ 2 w 204"/>
                <a:gd name="T19" fmla="*/ 172 h 202"/>
                <a:gd name="T20" fmla="*/ 0 w 204"/>
                <a:gd name="T21" fmla="*/ 166 h 202"/>
                <a:gd name="T22" fmla="*/ 0 w 204"/>
                <a:gd name="T23" fmla="*/ 166 h 202"/>
                <a:gd name="T24" fmla="*/ 2 w 204"/>
                <a:gd name="T25" fmla="*/ 158 h 202"/>
                <a:gd name="T26" fmla="*/ 4 w 204"/>
                <a:gd name="T27" fmla="*/ 152 h 202"/>
                <a:gd name="T28" fmla="*/ 6 w 204"/>
                <a:gd name="T29" fmla="*/ 144 h 202"/>
                <a:gd name="T30" fmla="*/ 12 w 204"/>
                <a:gd name="T31" fmla="*/ 140 h 202"/>
                <a:gd name="T32" fmla="*/ 16 w 204"/>
                <a:gd name="T33" fmla="*/ 134 h 202"/>
                <a:gd name="T34" fmla="*/ 24 w 204"/>
                <a:gd name="T35" fmla="*/ 132 h 202"/>
                <a:gd name="T36" fmla="*/ 30 w 204"/>
                <a:gd name="T37" fmla="*/ 130 h 202"/>
                <a:gd name="T38" fmla="*/ 38 w 204"/>
                <a:gd name="T39" fmla="*/ 128 h 202"/>
                <a:gd name="T40" fmla="*/ 130 w 204"/>
                <a:gd name="T41" fmla="*/ 128 h 202"/>
                <a:gd name="T42" fmla="*/ 130 w 204"/>
                <a:gd name="T43" fmla="*/ 36 h 202"/>
                <a:gd name="T44" fmla="*/ 130 w 204"/>
                <a:gd name="T45" fmla="*/ 36 h 202"/>
                <a:gd name="T46" fmla="*/ 130 w 204"/>
                <a:gd name="T47" fmla="*/ 30 h 202"/>
                <a:gd name="T48" fmla="*/ 132 w 204"/>
                <a:gd name="T49" fmla="*/ 22 h 202"/>
                <a:gd name="T50" fmla="*/ 136 w 204"/>
                <a:gd name="T51" fmla="*/ 16 h 202"/>
                <a:gd name="T52" fmla="*/ 140 w 204"/>
                <a:gd name="T53" fmla="*/ 10 h 202"/>
                <a:gd name="T54" fmla="*/ 146 w 204"/>
                <a:gd name="T55" fmla="*/ 6 h 202"/>
                <a:gd name="T56" fmla="*/ 152 w 204"/>
                <a:gd name="T57" fmla="*/ 2 h 202"/>
                <a:gd name="T58" fmla="*/ 158 w 204"/>
                <a:gd name="T59" fmla="*/ 0 h 202"/>
                <a:gd name="T60" fmla="*/ 166 w 204"/>
                <a:gd name="T61" fmla="*/ 0 h 202"/>
                <a:gd name="T62" fmla="*/ 166 w 204"/>
                <a:gd name="T63" fmla="*/ 0 h 202"/>
                <a:gd name="T64" fmla="*/ 174 w 204"/>
                <a:gd name="T65" fmla="*/ 0 h 202"/>
                <a:gd name="T66" fmla="*/ 180 w 204"/>
                <a:gd name="T67" fmla="*/ 2 h 202"/>
                <a:gd name="T68" fmla="*/ 186 w 204"/>
                <a:gd name="T69" fmla="*/ 6 h 202"/>
                <a:gd name="T70" fmla="*/ 192 w 204"/>
                <a:gd name="T71" fmla="*/ 10 h 202"/>
                <a:gd name="T72" fmla="*/ 196 w 204"/>
                <a:gd name="T73" fmla="*/ 16 h 202"/>
                <a:gd name="T74" fmla="*/ 200 w 204"/>
                <a:gd name="T75" fmla="*/ 22 h 202"/>
                <a:gd name="T76" fmla="*/ 202 w 204"/>
                <a:gd name="T77" fmla="*/ 30 h 202"/>
                <a:gd name="T78" fmla="*/ 204 w 204"/>
                <a:gd name="T79" fmla="*/ 36 h 202"/>
                <a:gd name="T80" fmla="*/ 204 w 204"/>
                <a:gd name="T81" fmla="*/ 166 h 202"/>
                <a:gd name="T82" fmla="*/ 204 w 204"/>
                <a:gd name="T83" fmla="*/ 166 h 202"/>
                <a:gd name="T84" fmla="*/ 202 w 204"/>
                <a:gd name="T85" fmla="*/ 172 h 202"/>
                <a:gd name="T86" fmla="*/ 200 w 204"/>
                <a:gd name="T87" fmla="*/ 180 h 202"/>
                <a:gd name="T88" fmla="*/ 196 w 204"/>
                <a:gd name="T89" fmla="*/ 186 h 202"/>
                <a:gd name="T90" fmla="*/ 192 w 204"/>
                <a:gd name="T91" fmla="*/ 192 h 202"/>
                <a:gd name="T92" fmla="*/ 186 w 204"/>
                <a:gd name="T93" fmla="*/ 196 h 202"/>
                <a:gd name="T94" fmla="*/ 180 w 204"/>
                <a:gd name="T95" fmla="*/ 200 h 202"/>
                <a:gd name="T96" fmla="*/ 174 w 204"/>
                <a:gd name="T97" fmla="*/ 202 h 202"/>
                <a:gd name="T98" fmla="*/ 166 w 204"/>
                <a:gd name="T99" fmla="*/ 202 h 202"/>
                <a:gd name="T100" fmla="*/ 166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166" y="202"/>
                  </a:moveTo>
                  <a:lnTo>
                    <a:pt x="38" y="202"/>
                  </a:lnTo>
                  <a:lnTo>
                    <a:pt x="38" y="202"/>
                  </a:lnTo>
                  <a:lnTo>
                    <a:pt x="30" y="202"/>
                  </a:lnTo>
                  <a:lnTo>
                    <a:pt x="24" y="200"/>
                  </a:lnTo>
                  <a:lnTo>
                    <a:pt x="16" y="196"/>
                  </a:lnTo>
                  <a:lnTo>
                    <a:pt x="12" y="192"/>
                  </a:lnTo>
                  <a:lnTo>
                    <a:pt x="6" y="186"/>
                  </a:lnTo>
                  <a:lnTo>
                    <a:pt x="4" y="180"/>
                  </a:lnTo>
                  <a:lnTo>
                    <a:pt x="2" y="172"/>
                  </a:lnTo>
                  <a:lnTo>
                    <a:pt x="0" y="166"/>
                  </a:lnTo>
                  <a:lnTo>
                    <a:pt x="0" y="166"/>
                  </a:lnTo>
                  <a:lnTo>
                    <a:pt x="2" y="158"/>
                  </a:lnTo>
                  <a:lnTo>
                    <a:pt x="4" y="152"/>
                  </a:lnTo>
                  <a:lnTo>
                    <a:pt x="6" y="144"/>
                  </a:lnTo>
                  <a:lnTo>
                    <a:pt x="12" y="140"/>
                  </a:lnTo>
                  <a:lnTo>
                    <a:pt x="16" y="134"/>
                  </a:lnTo>
                  <a:lnTo>
                    <a:pt x="24" y="132"/>
                  </a:lnTo>
                  <a:lnTo>
                    <a:pt x="30" y="130"/>
                  </a:lnTo>
                  <a:lnTo>
                    <a:pt x="38" y="128"/>
                  </a:lnTo>
                  <a:lnTo>
                    <a:pt x="130" y="128"/>
                  </a:lnTo>
                  <a:lnTo>
                    <a:pt x="130" y="36"/>
                  </a:lnTo>
                  <a:lnTo>
                    <a:pt x="130" y="36"/>
                  </a:lnTo>
                  <a:lnTo>
                    <a:pt x="130" y="30"/>
                  </a:lnTo>
                  <a:lnTo>
                    <a:pt x="132" y="22"/>
                  </a:lnTo>
                  <a:lnTo>
                    <a:pt x="136" y="16"/>
                  </a:lnTo>
                  <a:lnTo>
                    <a:pt x="140" y="10"/>
                  </a:lnTo>
                  <a:lnTo>
                    <a:pt x="146" y="6"/>
                  </a:lnTo>
                  <a:lnTo>
                    <a:pt x="152" y="2"/>
                  </a:lnTo>
                  <a:lnTo>
                    <a:pt x="158" y="0"/>
                  </a:lnTo>
                  <a:lnTo>
                    <a:pt x="166" y="0"/>
                  </a:lnTo>
                  <a:lnTo>
                    <a:pt x="166" y="0"/>
                  </a:lnTo>
                  <a:lnTo>
                    <a:pt x="174" y="0"/>
                  </a:lnTo>
                  <a:lnTo>
                    <a:pt x="180" y="2"/>
                  </a:lnTo>
                  <a:lnTo>
                    <a:pt x="186" y="6"/>
                  </a:lnTo>
                  <a:lnTo>
                    <a:pt x="192" y="10"/>
                  </a:lnTo>
                  <a:lnTo>
                    <a:pt x="196" y="16"/>
                  </a:lnTo>
                  <a:lnTo>
                    <a:pt x="200" y="22"/>
                  </a:lnTo>
                  <a:lnTo>
                    <a:pt x="202" y="30"/>
                  </a:lnTo>
                  <a:lnTo>
                    <a:pt x="204" y="36"/>
                  </a:lnTo>
                  <a:lnTo>
                    <a:pt x="204" y="166"/>
                  </a:lnTo>
                  <a:lnTo>
                    <a:pt x="204" y="166"/>
                  </a:lnTo>
                  <a:lnTo>
                    <a:pt x="202" y="172"/>
                  </a:lnTo>
                  <a:lnTo>
                    <a:pt x="200" y="180"/>
                  </a:lnTo>
                  <a:lnTo>
                    <a:pt x="196" y="186"/>
                  </a:lnTo>
                  <a:lnTo>
                    <a:pt x="192" y="192"/>
                  </a:lnTo>
                  <a:lnTo>
                    <a:pt x="186" y="196"/>
                  </a:lnTo>
                  <a:lnTo>
                    <a:pt x="180" y="200"/>
                  </a:lnTo>
                  <a:lnTo>
                    <a:pt x="174" y="202"/>
                  </a:lnTo>
                  <a:lnTo>
                    <a:pt x="166" y="202"/>
                  </a:lnTo>
                  <a:lnTo>
                    <a:pt x="16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6">
              <a:extLst>
                <a:ext uri="{FF2B5EF4-FFF2-40B4-BE49-F238E27FC236}">
                  <a16:creationId xmlns:a16="http://schemas.microsoft.com/office/drawing/2014/main" id="{3CC6844A-5FB7-4F6D-A6FC-17911AC6C5FF}"/>
                </a:ext>
              </a:extLst>
            </p:cNvPr>
            <p:cNvSpPr>
              <a:spLocks noEditPoints="1"/>
            </p:cNvSpPr>
            <p:nvPr/>
          </p:nvSpPr>
          <p:spPr bwMode="auto">
            <a:xfrm>
              <a:off x="7531254" y="2693531"/>
              <a:ext cx="262007" cy="16714"/>
            </a:xfrm>
            <a:custGeom>
              <a:avLst/>
              <a:gdLst>
                <a:gd name="T0" fmla="*/ 878 w 1160"/>
                <a:gd name="T1" fmla="*/ 74 h 74"/>
                <a:gd name="T2" fmla="*/ 872 w 1160"/>
                <a:gd name="T3" fmla="*/ 74 h 74"/>
                <a:gd name="T4" fmla="*/ 858 w 1160"/>
                <a:gd name="T5" fmla="*/ 68 h 74"/>
                <a:gd name="T6" fmla="*/ 848 w 1160"/>
                <a:gd name="T7" fmla="*/ 58 h 74"/>
                <a:gd name="T8" fmla="*/ 842 w 1160"/>
                <a:gd name="T9" fmla="*/ 44 h 74"/>
                <a:gd name="T10" fmla="*/ 842 w 1160"/>
                <a:gd name="T11" fmla="*/ 38 h 74"/>
                <a:gd name="T12" fmla="*/ 844 w 1160"/>
                <a:gd name="T13" fmla="*/ 24 h 74"/>
                <a:gd name="T14" fmla="*/ 852 w 1160"/>
                <a:gd name="T15" fmla="*/ 12 h 74"/>
                <a:gd name="T16" fmla="*/ 864 w 1160"/>
                <a:gd name="T17" fmla="*/ 4 h 74"/>
                <a:gd name="T18" fmla="*/ 878 w 1160"/>
                <a:gd name="T19" fmla="*/ 0 h 74"/>
                <a:gd name="T20" fmla="*/ 1124 w 1160"/>
                <a:gd name="T21" fmla="*/ 0 h 74"/>
                <a:gd name="T22" fmla="*/ 1138 w 1160"/>
                <a:gd name="T23" fmla="*/ 4 h 74"/>
                <a:gd name="T24" fmla="*/ 1150 w 1160"/>
                <a:gd name="T25" fmla="*/ 12 h 74"/>
                <a:gd name="T26" fmla="*/ 1158 w 1160"/>
                <a:gd name="T27" fmla="*/ 24 h 74"/>
                <a:gd name="T28" fmla="*/ 1160 w 1160"/>
                <a:gd name="T29" fmla="*/ 38 h 74"/>
                <a:gd name="T30" fmla="*/ 1160 w 1160"/>
                <a:gd name="T31" fmla="*/ 44 h 74"/>
                <a:gd name="T32" fmla="*/ 1154 w 1160"/>
                <a:gd name="T33" fmla="*/ 58 h 74"/>
                <a:gd name="T34" fmla="*/ 1144 w 1160"/>
                <a:gd name="T35" fmla="*/ 68 h 74"/>
                <a:gd name="T36" fmla="*/ 1132 w 1160"/>
                <a:gd name="T37" fmla="*/ 74 h 74"/>
                <a:gd name="T38" fmla="*/ 1124 w 1160"/>
                <a:gd name="T39" fmla="*/ 74 h 74"/>
                <a:gd name="T40" fmla="*/ 458 w 1160"/>
                <a:gd name="T41" fmla="*/ 74 h 74"/>
                <a:gd name="T42" fmla="*/ 450 w 1160"/>
                <a:gd name="T43" fmla="*/ 74 h 74"/>
                <a:gd name="T44" fmla="*/ 438 w 1160"/>
                <a:gd name="T45" fmla="*/ 68 h 74"/>
                <a:gd name="T46" fmla="*/ 428 w 1160"/>
                <a:gd name="T47" fmla="*/ 58 h 74"/>
                <a:gd name="T48" fmla="*/ 422 w 1160"/>
                <a:gd name="T49" fmla="*/ 44 h 74"/>
                <a:gd name="T50" fmla="*/ 422 w 1160"/>
                <a:gd name="T51" fmla="*/ 38 h 74"/>
                <a:gd name="T52" fmla="*/ 424 w 1160"/>
                <a:gd name="T53" fmla="*/ 24 h 74"/>
                <a:gd name="T54" fmla="*/ 432 w 1160"/>
                <a:gd name="T55" fmla="*/ 12 h 74"/>
                <a:gd name="T56" fmla="*/ 444 w 1160"/>
                <a:gd name="T57" fmla="*/ 4 h 74"/>
                <a:gd name="T58" fmla="*/ 458 w 1160"/>
                <a:gd name="T59" fmla="*/ 0 h 74"/>
                <a:gd name="T60" fmla="*/ 704 w 1160"/>
                <a:gd name="T61" fmla="*/ 0 h 74"/>
                <a:gd name="T62" fmla="*/ 718 w 1160"/>
                <a:gd name="T63" fmla="*/ 4 h 74"/>
                <a:gd name="T64" fmla="*/ 730 w 1160"/>
                <a:gd name="T65" fmla="*/ 12 h 74"/>
                <a:gd name="T66" fmla="*/ 738 w 1160"/>
                <a:gd name="T67" fmla="*/ 24 h 74"/>
                <a:gd name="T68" fmla="*/ 740 w 1160"/>
                <a:gd name="T69" fmla="*/ 38 h 74"/>
                <a:gd name="T70" fmla="*/ 740 w 1160"/>
                <a:gd name="T71" fmla="*/ 44 h 74"/>
                <a:gd name="T72" fmla="*/ 734 w 1160"/>
                <a:gd name="T73" fmla="*/ 58 h 74"/>
                <a:gd name="T74" fmla="*/ 724 w 1160"/>
                <a:gd name="T75" fmla="*/ 68 h 74"/>
                <a:gd name="T76" fmla="*/ 710 w 1160"/>
                <a:gd name="T77" fmla="*/ 74 h 74"/>
                <a:gd name="T78" fmla="*/ 704 w 1160"/>
                <a:gd name="T79" fmla="*/ 74 h 74"/>
                <a:gd name="T80" fmla="*/ 38 w 1160"/>
                <a:gd name="T81" fmla="*/ 74 h 74"/>
                <a:gd name="T82" fmla="*/ 30 w 1160"/>
                <a:gd name="T83" fmla="*/ 74 h 74"/>
                <a:gd name="T84" fmla="*/ 16 w 1160"/>
                <a:gd name="T85" fmla="*/ 68 h 74"/>
                <a:gd name="T86" fmla="*/ 8 w 1160"/>
                <a:gd name="T87" fmla="*/ 58 h 74"/>
                <a:gd name="T88" fmla="*/ 2 w 1160"/>
                <a:gd name="T89" fmla="*/ 44 h 74"/>
                <a:gd name="T90" fmla="*/ 0 w 1160"/>
                <a:gd name="T91" fmla="*/ 38 h 74"/>
                <a:gd name="T92" fmla="*/ 4 w 1160"/>
                <a:gd name="T93" fmla="*/ 24 h 74"/>
                <a:gd name="T94" fmla="*/ 12 w 1160"/>
                <a:gd name="T95" fmla="*/ 12 h 74"/>
                <a:gd name="T96" fmla="*/ 24 w 1160"/>
                <a:gd name="T97" fmla="*/ 4 h 74"/>
                <a:gd name="T98" fmla="*/ 38 w 1160"/>
                <a:gd name="T99" fmla="*/ 0 h 74"/>
                <a:gd name="T100" fmla="*/ 282 w 1160"/>
                <a:gd name="T101" fmla="*/ 0 h 74"/>
                <a:gd name="T102" fmla="*/ 298 w 1160"/>
                <a:gd name="T103" fmla="*/ 4 h 74"/>
                <a:gd name="T104" fmla="*/ 308 w 1160"/>
                <a:gd name="T105" fmla="*/ 12 h 74"/>
                <a:gd name="T106" fmla="*/ 316 w 1160"/>
                <a:gd name="T107" fmla="*/ 24 h 74"/>
                <a:gd name="T108" fmla="*/ 320 w 1160"/>
                <a:gd name="T109" fmla="*/ 38 h 74"/>
                <a:gd name="T110" fmla="*/ 320 w 1160"/>
                <a:gd name="T111" fmla="*/ 44 h 74"/>
                <a:gd name="T112" fmla="*/ 314 w 1160"/>
                <a:gd name="T113" fmla="*/ 58 h 74"/>
                <a:gd name="T114" fmla="*/ 304 w 1160"/>
                <a:gd name="T115" fmla="*/ 68 h 74"/>
                <a:gd name="T116" fmla="*/ 290 w 1160"/>
                <a:gd name="T117" fmla="*/ 74 h 74"/>
                <a:gd name="T118" fmla="*/ 282 w 1160"/>
                <a:gd name="T1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74">
                  <a:moveTo>
                    <a:pt x="1124" y="74"/>
                  </a:moveTo>
                  <a:lnTo>
                    <a:pt x="878" y="74"/>
                  </a:lnTo>
                  <a:lnTo>
                    <a:pt x="878" y="74"/>
                  </a:lnTo>
                  <a:lnTo>
                    <a:pt x="872" y="74"/>
                  </a:lnTo>
                  <a:lnTo>
                    <a:pt x="864" y="72"/>
                  </a:lnTo>
                  <a:lnTo>
                    <a:pt x="858" y="68"/>
                  </a:lnTo>
                  <a:lnTo>
                    <a:pt x="852" y="64"/>
                  </a:lnTo>
                  <a:lnTo>
                    <a:pt x="848" y="58"/>
                  </a:lnTo>
                  <a:lnTo>
                    <a:pt x="844" y="52"/>
                  </a:lnTo>
                  <a:lnTo>
                    <a:pt x="842" y="44"/>
                  </a:lnTo>
                  <a:lnTo>
                    <a:pt x="842" y="38"/>
                  </a:lnTo>
                  <a:lnTo>
                    <a:pt x="842" y="38"/>
                  </a:lnTo>
                  <a:lnTo>
                    <a:pt x="842" y="30"/>
                  </a:lnTo>
                  <a:lnTo>
                    <a:pt x="844" y="24"/>
                  </a:lnTo>
                  <a:lnTo>
                    <a:pt x="848" y="16"/>
                  </a:lnTo>
                  <a:lnTo>
                    <a:pt x="852" y="12"/>
                  </a:lnTo>
                  <a:lnTo>
                    <a:pt x="858" y="6"/>
                  </a:lnTo>
                  <a:lnTo>
                    <a:pt x="864" y="4"/>
                  </a:lnTo>
                  <a:lnTo>
                    <a:pt x="872" y="2"/>
                  </a:lnTo>
                  <a:lnTo>
                    <a:pt x="878" y="0"/>
                  </a:lnTo>
                  <a:lnTo>
                    <a:pt x="1124" y="0"/>
                  </a:lnTo>
                  <a:lnTo>
                    <a:pt x="1124" y="0"/>
                  </a:lnTo>
                  <a:lnTo>
                    <a:pt x="1132" y="2"/>
                  </a:lnTo>
                  <a:lnTo>
                    <a:pt x="1138" y="4"/>
                  </a:lnTo>
                  <a:lnTo>
                    <a:pt x="1144" y="6"/>
                  </a:lnTo>
                  <a:lnTo>
                    <a:pt x="1150" y="12"/>
                  </a:lnTo>
                  <a:lnTo>
                    <a:pt x="1154" y="16"/>
                  </a:lnTo>
                  <a:lnTo>
                    <a:pt x="1158" y="24"/>
                  </a:lnTo>
                  <a:lnTo>
                    <a:pt x="1160" y="30"/>
                  </a:lnTo>
                  <a:lnTo>
                    <a:pt x="1160" y="38"/>
                  </a:lnTo>
                  <a:lnTo>
                    <a:pt x="1160" y="38"/>
                  </a:lnTo>
                  <a:lnTo>
                    <a:pt x="1160" y="44"/>
                  </a:lnTo>
                  <a:lnTo>
                    <a:pt x="1158" y="52"/>
                  </a:lnTo>
                  <a:lnTo>
                    <a:pt x="1154" y="58"/>
                  </a:lnTo>
                  <a:lnTo>
                    <a:pt x="1150" y="64"/>
                  </a:lnTo>
                  <a:lnTo>
                    <a:pt x="1144" y="68"/>
                  </a:lnTo>
                  <a:lnTo>
                    <a:pt x="1138" y="72"/>
                  </a:lnTo>
                  <a:lnTo>
                    <a:pt x="1132" y="74"/>
                  </a:lnTo>
                  <a:lnTo>
                    <a:pt x="1124" y="74"/>
                  </a:lnTo>
                  <a:lnTo>
                    <a:pt x="1124" y="74"/>
                  </a:lnTo>
                  <a:close/>
                  <a:moveTo>
                    <a:pt x="704" y="74"/>
                  </a:moveTo>
                  <a:lnTo>
                    <a:pt x="458" y="74"/>
                  </a:lnTo>
                  <a:lnTo>
                    <a:pt x="458" y="74"/>
                  </a:lnTo>
                  <a:lnTo>
                    <a:pt x="450" y="74"/>
                  </a:lnTo>
                  <a:lnTo>
                    <a:pt x="444" y="72"/>
                  </a:lnTo>
                  <a:lnTo>
                    <a:pt x="438" y="68"/>
                  </a:lnTo>
                  <a:lnTo>
                    <a:pt x="432" y="64"/>
                  </a:lnTo>
                  <a:lnTo>
                    <a:pt x="428" y="58"/>
                  </a:lnTo>
                  <a:lnTo>
                    <a:pt x="424" y="52"/>
                  </a:lnTo>
                  <a:lnTo>
                    <a:pt x="422" y="44"/>
                  </a:lnTo>
                  <a:lnTo>
                    <a:pt x="422" y="38"/>
                  </a:lnTo>
                  <a:lnTo>
                    <a:pt x="422" y="38"/>
                  </a:lnTo>
                  <a:lnTo>
                    <a:pt x="422" y="30"/>
                  </a:lnTo>
                  <a:lnTo>
                    <a:pt x="424" y="24"/>
                  </a:lnTo>
                  <a:lnTo>
                    <a:pt x="428" y="16"/>
                  </a:lnTo>
                  <a:lnTo>
                    <a:pt x="432" y="12"/>
                  </a:lnTo>
                  <a:lnTo>
                    <a:pt x="438" y="6"/>
                  </a:lnTo>
                  <a:lnTo>
                    <a:pt x="444" y="4"/>
                  </a:lnTo>
                  <a:lnTo>
                    <a:pt x="450" y="2"/>
                  </a:lnTo>
                  <a:lnTo>
                    <a:pt x="458" y="0"/>
                  </a:lnTo>
                  <a:lnTo>
                    <a:pt x="704" y="0"/>
                  </a:lnTo>
                  <a:lnTo>
                    <a:pt x="704" y="0"/>
                  </a:lnTo>
                  <a:lnTo>
                    <a:pt x="710" y="2"/>
                  </a:lnTo>
                  <a:lnTo>
                    <a:pt x="718" y="4"/>
                  </a:lnTo>
                  <a:lnTo>
                    <a:pt x="724" y="6"/>
                  </a:lnTo>
                  <a:lnTo>
                    <a:pt x="730" y="12"/>
                  </a:lnTo>
                  <a:lnTo>
                    <a:pt x="734" y="16"/>
                  </a:lnTo>
                  <a:lnTo>
                    <a:pt x="738" y="24"/>
                  </a:lnTo>
                  <a:lnTo>
                    <a:pt x="740" y="30"/>
                  </a:lnTo>
                  <a:lnTo>
                    <a:pt x="740" y="38"/>
                  </a:lnTo>
                  <a:lnTo>
                    <a:pt x="740" y="38"/>
                  </a:lnTo>
                  <a:lnTo>
                    <a:pt x="740" y="44"/>
                  </a:lnTo>
                  <a:lnTo>
                    <a:pt x="738" y="52"/>
                  </a:lnTo>
                  <a:lnTo>
                    <a:pt x="734" y="58"/>
                  </a:lnTo>
                  <a:lnTo>
                    <a:pt x="730" y="64"/>
                  </a:lnTo>
                  <a:lnTo>
                    <a:pt x="724" y="68"/>
                  </a:lnTo>
                  <a:lnTo>
                    <a:pt x="718" y="72"/>
                  </a:lnTo>
                  <a:lnTo>
                    <a:pt x="710" y="74"/>
                  </a:lnTo>
                  <a:lnTo>
                    <a:pt x="704" y="74"/>
                  </a:lnTo>
                  <a:lnTo>
                    <a:pt x="704" y="74"/>
                  </a:lnTo>
                  <a:close/>
                  <a:moveTo>
                    <a:pt x="282" y="74"/>
                  </a:moveTo>
                  <a:lnTo>
                    <a:pt x="38" y="74"/>
                  </a:lnTo>
                  <a:lnTo>
                    <a:pt x="38" y="74"/>
                  </a:lnTo>
                  <a:lnTo>
                    <a:pt x="30" y="74"/>
                  </a:lnTo>
                  <a:lnTo>
                    <a:pt x="24" y="72"/>
                  </a:lnTo>
                  <a:lnTo>
                    <a:pt x="16" y="68"/>
                  </a:lnTo>
                  <a:lnTo>
                    <a:pt x="12" y="64"/>
                  </a:lnTo>
                  <a:lnTo>
                    <a:pt x="8" y="58"/>
                  </a:lnTo>
                  <a:lnTo>
                    <a:pt x="4" y="52"/>
                  </a:lnTo>
                  <a:lnTo>
                    <a:pt x="2" y="44"/>
                  </a:lnTo>
                  <a:lnTo>
                    <a:pt x="0" y="38"/>
                  </a:lnTo>
                  <a:lnTo>
                    <a:pt x="0" y="38"/>
                  </a:lnTo>
                  <a:lnTo>
                    <a:pt x="2" y="30"/>
                  </a:lnTo>
                  <a:lnTo>
                    <a:pt x="4" y="24"/>
                  </a:lnTo>
                  <a:lnTo>
                    <a:pt x="8" y="16"/>
                  </a:lnTo>
                  <a:lnTo>
                    <a:pt x="12" y="12"/>
                  </a:lnTo>
                  <a:lnTo>
                    <a:pt x="16" y="6"/>
                  </a:lnTo>
                  <a:lnTo>
                    <a:pt x="24" y="4"/>
                  </a:lnTo>
                  <a:lnTo>
                    <a:pt x="30" y="2"/>
                  </a:lnTo>
                  <a:lnTo>
                    <a:pt x="38" y="0"/>
                  </a:lnTo>
                  <a:lnTo>
                    <a:pt x="282" y="0"/>
                  </a:lnTo>
                  <a:lnTo>
                    <a:pt x="282" y="0"/>
                  </a:lnTo>
                  <a:lnTo>
                    <a:pt x="290" y="2"/>
                  </a:lnTo>
                  <a:lnTo>
                    <a:pt x="298" y="4"/>
                  </a:lnTo>
                  <a:lnTo>
                    <a:pt x="304" y="6"/>
                  </a:lnTo>
                  <a:lnTo>
                    <a:pt x="308" y="12"/>
                  </a:lnTo>
                  <a:lnTo>
                    <a:pt x="314" y="16"/>
                  </a:lnTo>
                  <a:lnTo>
                    <a:pt x="316" y="24"/>
                  </a:lnTo>
                  <a:lnTo>
                    <a:pt x="320" y="30"/>
                  </a:lnTo>
                  <a:lnTo>
                    <a:pt x="320" y="38"/>
                  </a:lnTo>
                  <a:lnTo>
                    <a:pt x="320" y="38"/>
                  </a:lnTo>
                  <a:lnTo>
                    <a:pt x="320" y="44"/>
                  </a:lnTo>
                  <a:lnTo>
                    <a:pt x="316" y="52"/>
                  </a:lnTo>
                  <a:lnTo>
                    <a:pt x="314" y="58"/>
                  </a:lnTo>
                  <a:lnTo>
                    <a:pt x="308" y="64"/>
                  </a:lnTo>
                  <a:lnTo>
                    <a:pt x="304" y="68"/>
                  </a:lnTo>
                  <a:lnTo>
                    <a:pt x="298" y="72"/>
                  </a:lnTo>
                  <a:lnTo>
                    <a:pt x="290" y="74"/>
                  </a:lnTo>
                  <a:lnTo>
                    <a:pt x="282" y="74"/>
                  </a:lnTo>
                  <a:lnTo>
                    <a:pt x="28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7">
              <a:extLst>
                <a:ext uri="{FF2B5EF4-FFF2-40B4-BE49-F238E27FC236}">
                  <a16:creationId xmlns:a16="http://schemas.microsoft.com/office/drawing/2014/main" id="{7E54E023-2000-4ABB-B0A3-19EAAEFBB2BA}"/>
                </a:ext>
              </a:extLst>
            </p:cNvPr>
            <p:cNvSpPr>
              <a:spLocks/>
            </p:cNvSpPr>
            <p:nvPr/>
          </p:nvSpPr>
          <p:spPr bwMode="auto">
            <a:xfrm>
              <a:off x="7462590" y="2664620"/>
              <a:ext cx="46077" cy="45625"/>
            </a:xfrm>
            <a:custGeom>
              <a:avLst/>
              <a:gdLst>
                <a:gd name="T0" fmla="*/ 166 w 204"/>
                <a:gd name="T1" fmla="*/ 202 h 202"/>
                <a:gd name="T2" fmla="*/ 38 w 204"/>
                <a:gd name="T3" fmla="*/ 202 h 202"/>
                <a:gd name="T4" fmla="*/ 38 w 204"/>
                <a:gd name="T5" fmla="*/ 202 h 202"/>
                <a:gd name="T6" fmla="*/ 30 w 204"/>
                <a:gd name="T7" fmla="*/ 202 h 202"/>
                <a:gd name="T8" fmla="*/ 24 w 204"/>
                <a:gd name="T9" fmla="*/ 200 h 202"/>
                <a:gd name="T10" fmla="*/ 16 w 204"/>
                <a:gd name="T11" fmla="*/ 196 h 202"/>
                <a:gd name="T12" fmla="*/ 12 w 204"/>
                <a:gd name="T13" fmla="*/ 192 h 202"/>
                <a:gd name="T14" fmla="*/ 6 w 204"/>
                <a:gd name="T15" fmla="*/ 186 h 202"/>
                <a:gd name="T16" fmla="*/ 4 w 204"/>
                <a:gd name="T17" fmla="*/ 180 h 202"/>
                <a:gd name="T18" fmla="*/ 2 w 204"/>
                <a:gd name="T19" fmla="*/ 172 h 202"/>
                <a:gd name="T20" fmla="*/ 0 w 204"/>
                <a:gd name="T21" fmla="*/ 166 h 202"/>
                <a:gd name="T22" fmla="*/ 0 w 204"/>
                <a:gd name="T23" fmla="*/ 36 h 202"/>
                <a:gd name="T24" fmla="*/ 0 w 204"/>
                <a:gd name="T25" fmla="*/ 36 h 202"/>
                <a:gd name="T26" fmla="*/ 2 w 204"/>
                <a:gd name="T27" fmla="*/ 30 h 202"/>
                <a:gd name="T28" fmla="*/ 4 w 204"/>
                <a:gd name="T29" fmla="*/ 22 h 202"/>
                <a:gd name="T30" fmla="*/ 6 w 204"/>
                <a:gd name="T31" fmla="*/ 16 h 202"/>
                <a:gd name="T32" fmla="*/ 12 w 204"/>
                <a:gd name="T33" fmla="*/ 10 h 202"/>
                <a:gd name="T34" fmla="*/ 16 w 204"/>
                <a:gd name="T35" fmla="*/ 6 h 202"/>
                <a:gd name="T36" fmla="*/ 24 w 204"/>
                <a:gd name="T37" fmla="*/ 2 h 202"/>
                <a:gd name="T38" fmla="*/ 30 w 204"/>
                <a:gd name="T39" fmla="*/ 0 h 202"/>
                <a:gd name="T40" fmla="*/ 38 w 204"/>
                <a:gd name="T41" fmla="*/ 0 h 202"/>
                <a:gd name="T42" fmla="*/ 38 w 204"/>
                <a:gd name="T43" fmla="*/ 0 h 202"/>
                <a:gd name="T44" fmla="*/ 44 w 204"/>
                <a:gd name="T45" fmla="*/ 0 h 202"/>
                <a:gd name="T46" fmla="*/ 52 w 204"/>
                <a:gd name="T47" fmla="*/ 2 h 202"/>
                <a:gd name="T48" fmla="*/ 58 w 204"/>
                <a:gd name="T49" fmla="*/ 6 h 202"/>
                <a:gd name="T50" fmla="*/ 64 w 204"/>
                <a:gd name="T51" fmla="*/ 10 h 202"/>
                <a:gd name="T52" fmla="*/ 68 w 204"/>
                <a:gd name="T53" fmla="*/ 16 h 202"/>
                <a:gd name="T54" fmla="*/ 72 w 204"/>
                <a:gd name="T55" fmla="*/ 22 h 202"/>
                <a:gd name="T56" fmla="*/ 74 w 204"/>
                <a:gd name="T57" fmla="*/ 30 h 202"/>
                <a:gd name="T58" fmla="*/ 74 w 204"/>
                <a:gd name="T59" fmla="*/ 36 h 202"/>
                <a:gd name="T60" fmla="*/ 74 w 204"/>
                <a:gd name="T61" fmla="*/ 128 h 202"/>
                <a:gd name="T62" fmla="*/ 166 w 204"/>
                <a:gd name="T63" fmla="*/ 128 h 202"/>
                <a:gd name="T64" fmla="*/ 166 w 204"/>
                <a:gd name="T65" fmla="*/ 128 h 202"/>
                <a:gd name="T66" fmla="*/ 174 w 204"/>
                <a:gd name="T67" fmla="*/ 130 h 202"/>
                <a:gd name="T68" fmla="*/ 180 w 204"/>
                <a:gd name="T69" fmla="*/ 132 h 202"/>
                <a:gd name="T70" fmla="*/ 186 w 204"/>
                <a:gd name="T71" fmla="*/ 134 h 202"/>
                <a:gd name="T72" fmla="*/ 192 w 204"/>
                <a:gd name="T73" fmla="*/ 140 h 202"/>
                <a:gd name="T74" fmla="*/ 196 w 204"/>
                <a:gd name="T75" fmla="*/ 144 h 202"/>
                <a:gd name="T76" fmla="*/ 200 w 204"/>
                <a:gd name="T77" fmla="*/ 152 h 202"/>
                <a:gd name="T78" fmla="*/ 202 w 204"/>
                <a:gd name="T79" fmla="*/ 158 h 202"/>
                <a:gd name="T80" fmla="*/ 204 w 204"/>
                <a:gd name="T81" fmla="*/ 166 h 202"/>
                <a:gd name="T82" fmla="*/ 204 w 204"/>
                <a:gd name="T83" fmla="*/ 166 h 202"/>
                <a:gd name="T84" fmla="*/ 202 w 204"/>
                <a:gd name="T85" fmla="*/ 172 h 202"/>
                <a:gd name="T86" fmla="*/ 200 w 204"/>
                <a:gd name="T87" fmla="*/ 180 h 202"/>
                <a:gd name="T88" fmla="*/ 196 w 204"/>
                <a:gd name="T89" fmla="*/ 186 h 202"/>
                <a:gd name="T90" fmla="*/ 192 w 204"/>
                <a:gd name="T91" fmla="*/ 192 h 202"/>
                <a:gd name="T92" fmla="*/ 186 w 204"/>
                <a:gd name="T93" fmla="*/ 196 h 202"/>
                <a:gd name="T94" fmla="*/ 180 w 204"/>
                <a:gd name="T95" fmla="*/ 200 h 202"/>
                <a:gd name="T96" fmla="*/ 174 w 204"/>
                <a:gd name="T97" fmla="*/ 202 h 202"/>
                <a:gd name="T98" fmla="*/ 166 w 204"/>
                <a:gd name="T99" fmla="*/ 202 h 202"/>
                <a:gd name="T100" fmla="*/ 166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166" y="202"/>
                  </a:moveTo>
                  <a:lnTo>
                    <a:pt x="38" y="202"/>
                  </a:lnTo>
                  <a:lnTo>
                    <a:pt x="38" y="202"/>
                  </a:lnTo>
                  <a:lnTo>
                    <a:pt x="30" y="202"/>
                  </a:lnTo>
                  <a:lnTo>
                    <a:pt x="24" y="200"/>
                  </a:lnTo>
                  <a:lnTo>
                    <a:pt x="16" y="196"/>
                  </a:lnTo>
                  <a:lnTo>
                    <a:pt x="12" y="192"/>
                  </a:lnTo>
                  <a:lnTo>
                    <a:pt x="6" y="186"/>
                  </a:lnTo>
                  <a:lnTo>
                    <a:pt x="4" y="180"/>
                  </a:lnTo>
                  <a:lnTo>
                    <a:pt x="2" y="172"/>
                  </a:lnTo>
                  <a:lnTo>
                    <a:pt x="0" y="166"/>
                  </a:lnTo>
                  <a:lnTo>
                    <a:pt x="0" y="36"/>
                  </a:lnTo>
                  <a:lnTo>
                    <a:pt x="0" y="36"/>
                  </a:lnTo>
                  <a:lnTo>
                    <a:pt x="2" y="30"/>
                  </a:lnTo>
                  <a:lnTo>
                    <a:pt x="4" y="22"/>
                  </a:lnTo>
                  <a:lnTo>
                    <a:pt x="6" y="16"/>
                  </a:lnTo>
                  <a:lnTo>
                    <a:pt x="12" y="10"/>
                  </a:lnTo>
                  <a:lnTo>
                    <a:pt x="16"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128"/>
                  </a:lnTo>
                  <a:lnTo>
                    <a:pt x="166" y="128"/>
                  </a:lnTo>
                  <a:lnTo>
                    <a:pt x="166" y="128"/>
                  </a:lnTo>
                  <a:lnTo>
                    <a:pt x="174" y="130"/>
                  </a:lnTo>
                  <a:lnTo>
                    <a:pt x="180" y="132"/>
                  </a:lnTo>
                  <a:lnTo>
                    <a:pt x="186" y="134"/>
                  </a:lnTo>
                  <a:lnTo>
                    <a:pt x="192" y="140"/>
                  </a:lnTo>
                  <a:lnTo>
                    <a:pt x="196" y="144"/>
                  </a:lnTo>
                  <a:lnTo>
                    <a:pt x="200" y="152"/>
                  </a:lnTo>
                  <a:lnTo>
                    <a:pt x="202" y="158"/>
                  </a:lnTo>
                  <a:lnTo>
                    <a:pt x="204" y="166"/>
                  </a:lnTo>
                  <a:lnTo>
                    <a:pt x="204" y="166"/>
                  </a:lnTo>
                  <a:lnTo>
                    <a:pt x="202" y="172"/>
                  </a:lnTo>
                  <a:lnTo>
                    <a:pt x="200" y="180"/>
                  </a:lnTo>
                  <a:lnTo>
                    <a:pt x="196" y="186"/>
                  </a:lnTo>
                  <a:lnTo>
                    <a:pt x="192" y="192"/>
                  </a:lnTo>
                  <a:lnTo>
                    <a:pt x="186" y="196"/>
                  </a:lnTo>
                  <a:lnTo>
                    <a:pt x="180" y="200"/>
                  </a:lnTo>
                  <a:lnTo>
                    <a:pt x="174" y="202"/>
                  </a:lnTo>
                  <a:lnTo>
                    <a:pt x="166" y="202"/>
                  </a:lnTo>
                  <a:lnTo>
                    <a:pt x="16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
              <a:extLst>
                <a:ext uri="{FF2B5EF4-FFF2-40B4-BE49-F238E27FC236}">
                  <a16:creationId xmlns:a16="http://schemas.microsoft.com/office/drawing/2014/main" id="{ED6379D7-6844-4184-8E31-B384D5E495E7}"/>
                </a:ext>
              </a:extLst>
            </p:cNvPr>
            <p:cNvSpPr>
              <a:spLocks noEditPoints="1"/>
            </p:cNvSpPr>
            <p:nvPr/>
          </p:nvSpPr>
          <p:spPr bwMode="auto">
            <a:xfrm>
              <a:off x="7462590" y="2379574"/>
              <a:ext cx="16714" cy="262007"/>
            </a:xfrm>
            <a:custGeom>
              <a:avLst/>
              <a:gdLst>
                <a:gd name="T0" fmla="*/ 38 w 74"/>
                <a:gd name="T1" fmla="*/ 1160 h 1160"/>
                <a:gd name="T2" fmla="*/ 24 w 74"/>
                <a:gd name="T3" fmla="*/ 1158 h 1160"/>
                <a:gd name="T4" fmla="*/ 12 w 74"/>
                <a:gd name="T5" fmla="*/ 1150 h 1160"/>
                <a:gd name="T6" fmla="*/ 4 w 74"/>
                <a:gd name="T7" fmla="*/ 1138 h 1160"/>
                <a:gd name="T8" fmla="*/ 0 w 74"/>
                <a:gd name="T9" fmla="*/ 1124 h 1160"/>
                <a:gd name="T10" fmla="*/ 0 w 74"/>
                <a:gd name="T11" fmla="*/ 878 h 1160"/>
                <a:gd name="T12" fmla="*/ 4 w 74"/>
                <a:gd name="T13" fmla="*/ 864 h 1160"/>
                <a:gd name="T14" fmla="*/ 12 w 74"/>
                <a:gd name="T15" fmla="*/ 852 h 1160"/>
                <a:gd name="T16" fmla="*/ 24 w 74"/>
                <a:gd name="T17" fmla="*/ 844 h 1160"/>
                <a:gd name="T18" fmla="*/ 38 w 74"/>
                <a:gd name="T19" fmla="*/ 842 h 1160"/>
                <a:gd name="T20" fmla="*/ 44 w 74"/>
                <a:gd name="T21" fmla="*/ 842 h 1160"/>
                <a:gd name="T22" fmla="*/ 58 w 74"/>
                <a:gd name="T23" fmla="*/ 848 h 1160"/>
                <a:gd name="T24" fmla="*/ 68 w 74"/>
                <a:gd name="T25" fmla="*/ 858 h 1160"/>
                <a:gd name="T26" fmla="*/ 74 w 74"/>
                <a:gd name="T27" fmla="*/ 870 h 1160"/>
                <a:gd name="T28" fmla="*/ 74 w 74"/>
                <a:gd name="T29" fmla="*/ 1124 h 1160"/>
                <a:gd name="T30" fmla="*/ 74 w 74"/>
                <a:gd name="T31" fmla="*/ 1130 h 1160"/>
                <a:gd name="T32" fmla="*/ 68 w 74"/>
                <a:gd name="T33" fmla="*/ 1144 h 1160"/>
                <a:gd name="T34" fmla="*/ 58 w 74"/>
                <a:gd name="T35" fmla="*/ 1154 h 1160"/>
                <a:gd name="T36" fmla="*/ 44 w 74"/>
                <a:gd name="T37" fmla="*/ 1160 h 1160"/>
                <a:gd name="T38" fmla="*/ 38 w 74"/>
                <a:gd name="T39" fmla="*/ 1160 h 1160"/>
                <a:gd name="T40" fmla="*/ 38 w 74"/>
                <a:gd name="T41" fmla="*/ 740 h 1160"/>
                <a:gd name="T42" fmla="*/ 24 w 74"/>
                <a:gd name="T43" fmla="*/ 736 h 1160"/>
                <a:gd name="T44" fmla="*/ 12 w 74"/>
                <a:gd name="T45" fmla="*/ 728 h 1160"/>
                <a:gd name="T46" fmla="*/ 4 w 74"/>
                <a:gd name="T47" fmla="*/ 718 h 1160"/>
                <a:gd name="T48" fmla="*/ 0 w 74"/>
                <a:gd name="T49" fmla="*/ 702 h 1160"/>
                <a:gd name="T50" fmla="*/ 0 w 74"/>
                <a:gd name="T51" fmla="*/ 458 h 1160"/>
                <a:gd name="T52" fmla="*/ 4 w 74"/>
                <a:gd name="T53" fmla="*/ 444 h 1160"/>
                <a:gd name="T54" fmla="*/ 12 w 74"/>
                <a:gd name="T55" fmla="*/ 432 h 1160"/>
                <a:gd name="T56" fmla="*/ 24 w 74"/>
                <a:gd name="T57" fmla="*/ 424 h 1160"/>
                <a:gd name="T58" fmla="*/ 38 w 74"/>
                <a:gd name="T59" fmla="*/ 420 h 1160"/>
                <a:gd name="T60" fmla="*/ 44 w 74"/>
                <a:gd name="T61" fmla="*/ 422 h 1160"/>
                <a:gd name="T62" fmla="*/ 58 w 74"/>
                <a:gd name="T63" fmla="*/ 426 h 1160"/>
                <a:gd name="T64" fmla="*/ 68 w 74"/>
                <a:gd name="T65" fmla="*/ 436 h 1160"/>
                <a:gd name="T66" fmla="*/ 74 w 74"/>
                <a:gd name="T67" fmla="*/ 450 h 1160"/>
                <a:gd name="T68" fmla="*/ 74 w 74"/>
                <a:gd name="T69" fmla="*/ 702 h 1160"/>
                <a:gd name="T70" fmla="*/ 74 w 74"/>
                <a:gd name="T71" fmla="*/ 710 h 1160"/>
                <a:gd name="T72" fmla="*/ 68 w 74"/>
                <a:gd name="T73" fmla="*/ 724 h 1160"/>
                <a:gd name="T74" fmla="*/ 58 w 74"/>
                <a:gd name="T75" fmla="*/ 734 h 1160"/>
                <a:gd name="T76" fmla="*/ 44 w 74"/>
                <a:gd name="T77" fmla="*/ 738 h 1160"/>
                <a:gd name="T78" fmla="*/ 38 w 74"/>
                <a:gd name="T79" fmla="*/ 740 h 1160"/>
                <a:gd name="T80" fmla="*/ 38 w 74"/>
                <a:gd name="T81" fmla="*/ 318 h 1160"/>
                <a:gd name="T82" fmla="*/ 24 w 74"/>
                <a:gd name="T83" fmla="*/ 316 h 1160"/>
                <a:gd name="T84" fmla="*/ 12 w 74"/>
                <a:gd name="T85" fmla="*/ 308 h 1160"/>
                <a:gd name="T86" fmla="*/ 4 w 74"/>
                <a:gd name="T87" fmla="*/ 296 h 1160"/>
                <a:gd name="T88" fmla="*/ 0 w 74"/>
                <a:gd name="T89" fmla="*/ 282 h 1160"/>
                <a:gd name="T90" fmla="*/ 0 w 74"/>
                <a:gd name="T91" fmla="*/ 36 h 1160"/>
                <a:gd name="T92" fmla="*/ 4 w 74"/>
                <a:gd name="T93" fmla="*/ 22 h 1160"/>
                <a:gd name="T94" fmla="*/ 12 w 74"/>
                <a:gd name="T95" fmla="*/ 10 h 1160"/>
                <a:gd name="T96" fmla="*/ 24 w 74"/>
                <a:gd name="T97" fmla="*/ 2 h 1160"/>
                <a:gd name="T98" fmla="*/ 38 w 74"/>
                <a:gd name="T99" fmla="*/ 0 h 1160"/>
                <a:gd name="T100" fmla="*/ 44 w 74"/>
                <a:gd name="T101" fmla="*/ 0 h 1160"/>
                <a:gd name="T102" fmla="*/ 58 w 74"/>
                <a:gd name="T103" fmla="*/ 6 h 1160"/>
                <a:gd name="T104" fmla="*/ 68 w 74"/>
                <a:gd name="T105" fmla="*/ 16 h 1160"/>
                <a:gd name="T106" fmla="*/ 74 w 74"/>
                <a:gd name="T107" fmla="*/ 30 h 1160"/>
                <a:gd name="T108" fmla="*/ 74 w 74"/>
                <a:gd name="T109" fmla="*/ 282 h 1160"/>
                <a:gd name="T110" fmla="*/ 74 w 74"/>
                <a:gd name="T111" fmla="*/ 290 h 1160"/>
                <a:gd name="T112" fmla="*/ 68 w 74"/>
                <a:gd name="T113" fmla="*/ 302 h 1160"/>
                <a:gd name="T114" fmla="*/ 58 w 74"/>
                <a:gd name="T115" fmla="*/ 312 h 1160"/>
                <a:gd name="T116" fmla="*/ 44 w 74"/>
                <a:gd name="T117" fmla="*/ 318 h 1160"/>
                <a:gd name="T118" fmla="*/ 38 w 74"/>
                <a:gd name="T119" fmla="*/ 318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60">
                  <a:moveTo>
                    <a:pt x="38" y="1160"/>
                  </a:moveTo>
                  <a:lnTo>
                    <a:pt x="38" y="1160"/>
                  </a:lnTo>
                  <a:lnTo>
                    <a:pt x="30" y="1160"/>
                  </a:lnTo>
                  <a:lnTo>
                    <a:pt x="24" y="1158"/>
                  </a:lnTo>
                  <a:lnTo>
                    <a:pt x="16" y="1154"/>
                  </a:lnTo>
                  <a:lnTo>
                    <a:pt x="12" y="1150"/>
                  </a:lnTo>
                  <a:lnTo>
                    <a:pt x="6" y="1144"/>
                  </a:lnTo>
                  <a:lnTo>
                    <a:pt x="4" y="1138"/>
                  </a:lnTo>
                  <a:lnTo>
                    <a:pt x="2" y="1130"/>
                  </a:lnTo>
                  <a:lnTo>
                    <a:pt x="0" y="1124"/>
                  </a:lnTo>
                  <a:lnTo>
                    <a:pt x="0" y="878"/>
                  </a:lnTo>
                  <a:lnTo>
                    <a:pt x="0" y="878"/>
                  </a:lnTo>
                  <a:lnTo>
                    <a:pt x="2" y="870"/>
                  </a:lnTo>
                  <a:lnTo>
                    <a:pt x="4" y="864"/>
                  </a:lnTo>
                  <a:lnTo>
                    <a:pt x="6" y="858"/>
                  </a:lnTo>
                  <a:lnTo>
                    <a:pt x="12" y="852"/>
                  </a:lnTo>
                  <a:lnTo>
                    <a:pt x="16" y="848"/>
                  </a:lnTo>
                  <a:lnTo>
                    <a:pt x="24" y="844"/>
                  </a:lnTo>
                  <a:lnTo>
                    <a:pt x="30" y="842"/>
                  </a:lnTo>
                  <a:lnTo>
                    <a:pt x="38" y="842"/>
                  </a:lnTo>
                  <a:lnTo>
                    <a:pt x="38" y="842"/>
                  </a:lnTo>
                  <a:lnTo>
                    <a:pt x="44" y="842"/>
                  </a:lnTo>
                  <a:lnTo>
                    <a:pt x="52" y="844"/>
                  </a:lnTo>
                  <a:lnTo>
                    <a:pt x="58" y="848"/>
                  </a:lnTo>
                  <a:lnTo>
                    <a:pt x="64" y="852"/>
                  </a:lnTo>
                  <a:lnTo>
                    <a:pt x="68" y="858"/>
                  </a:lnTo>
                  <a:lnTo>
                    <a:pt x="72" y="864"/>
                  </a:lnTo>
                  <a:lnTo>
                    <a:pt x="74" y="870"/>
                  </a:lnTo>
                  <a:lnTo>
                    <a:pt x="74" y="878"/>
                  </a:lnTo>
                  <a:lnTo>
                    <a:pt x="74" y="1124"/>
                  </a:lnTo>
                  <a:lnTo>
                    <a:pt x="74" y="1124"/>
                  </a:lnTo>
                  <a:lnTo>
                    <a:pt x="74" y="1130"/>
                  </a:lnTo>
                  <a:lnTo>
                    <a:pt x="72" y="1138"/>
                  </a:lnTo>
                  <a:lnTo>
                    <a:pt x="68" y="1144"/>
                  </a:lnTo>
                  <a:lnTo>
                    <a:pt x="64" y="1150"/>
                  </a:lnTo>
                  <a:lnTo>
                    <a:pt x="58" y="1154"/>
                  </a:lnTo>
                  <a:lnTo>
                    <a:pt x="52" y="1158"/>
                  </a:lnTo>
                  <a:lnTo>
                    <a:pt x="44" y="1160"/>
                  </a:lnTo>
                  <a:lnTo>
                    <a:pt x="38" y="1160"/>
                  </a:lnTo>
                  <a:lnTo>
                    <a:pt x="38" y="1160"/>
                  </a:lnTo>
                  <a:close/>
                  <a:moveTo>
                    <a:pt x="38" y="740"/>
                  </a:moveTo>
                  <a:lnTo>
                    <a:pt x="38" y="740"/>
                  </a:lnTo>
                  <a:lnTo>
                    <a:pt x="30" y="738"/>
                  </a:lnTo>
                  <a:lnTo>
                    <a:pt x="24" y="736"/>
                  </a:lnTo>
                  <a:lnTo>
                    <a:pt x="16" y="734"/>
                  </a:lnTo>
                  <a:lnTo>
                    <a:pt x="12" y="728"/>
                  </a:lnTo>
                  <a:lnTo>
                    <a:pt x="6" y="724"/>
                  </a:lnTo>
                  <a:lnTo>
                    <a:pt x="4" y="718"/>
                  </a:lnTo>
                  <a:lnTo>
                    <a:pt x="2" y="710"/>
                  </a:lnTo>
                  <a:lnTo>
                    <a:pt x="0" y="702"/>
                  </a:lnTo>
                  <a:lnTo>
                    <a:pt x="0" y="458"/>
                  </a:lnTo>
                  <a:lnTo>
                    <a:pt x="0" y="458"/>
                  </a:lnTo>
                  <a:lnTo>
                    <a:pt x="2" y="450"/>
                  </a:lnTo>
                  <a:lnTo>
                    <a:pt x="4" y="444"/>
                  </a:lnTo>
                  <a:lnTo>
                    <a:pt x="6" y="436"/>
                  </a:lnTo>
                  <a:lnTo>
                    <a:pt x="12" y="432"/>
                  </a:lnTo>
                  <a:lnTo>
                    <a:pt x="16" y="426"/>
                  </a:lnTo>
                  <a:lnTo>
                    <a:pt x="24" y="424"/>
                  </a:lnTo>
                  <a:lnTo>
                    <a:pt x="30" y="422"/>
                  </a:lnTo>
                  <a:lnTo>
                    <a:pt x="38" y="420"/>
                  </a:lnTo>
                  <a:lnTo>
                    <a:pt x="38" y="420"/>
                  </a:lnTo>
                  <a:lnTo>
                    <a:pt x="44" y="422"/>
                  </a:lnTo>
                  <a:lnTo>
                    <a:pt x="52" y="424"/>
                  </a:lnTo>
                  <a:lnTo>
                    <a:pt x="58" y="426"/>
                  </a:lnTo>
                  <a:lnTo>
                    <a:pt x="64" y="432"/>
                  </a:lnTo>
                  <a:lnTo>
                    <a:pt x="68" y="436"/>
                  </a:lnTo>
                  <a:lnTo>
                    <a:pt x="72" y="444"/>
                  </a:lnTo>
                  <a:lnTo>
                    <a:pt x="74" y="450"/>
                  </a:lnTo>
                  <a:lnTo>
                    <a:pt x="74" y="458"/>
                  </a:lnTo>
                  <a:lnTo>
                    <a:pt x="74" y="702"/>
                  </a:lnTo>
                  <a:lnTo>
                    <a:pt x="74" y="702"/>
                  </a:lnTo>
                  <a:lnTo>
                    <a:pt x="74" y="710"/>
                  </a:lnTo>
                  <a:lnTo>
                    <a:pt x="72" y="718"/>
                  </a:lnTo>
                  <a:lnTo>
                    <a:pt x="68" y="724"/>
                  </a:lnTo>
                  <a:lnTo>
                    <a:pt x="64" y="728"/>
                  </a:lnTo>
                  <a:lnTo>
                    <a:pt x="58" y="734"/>
                  </a:lnTo>
                  <a:lnTo>
                    <a:pt x="52" y="736"/>
                  </a:lnTo>
                  <a:lnTo>
                    <a:pt x="44" y="738"/>
                  </a:lnTo>
                  <a:lnTo>
                    <a:pt x="38" y="740"/>
                  </a:lnTo>
                  <a:lnTo>
                    <a:pt x="38" y="740"/>
                  </a:lnTo>
                  <a:close/>
                  <a:moveTo>
                    <a:pt x="38" y="318"/>
                  </a:moveTo>
                  <a:lnTo>
                    <a:pt x="38" y="318"/>
                  </a:lnTo>
                  <a:lnTo>
                    <a:pt x="30" y="318"/>
                  </a:lnTo>
                  <a:lnTo>
                    <a:pt x="24" y="316"/>
                  </a:lnTo>
                  <a:lnTo>
                    <a:pt x="16" y="312"/>
                  </a:lnTo>
                  <a:lnTo>
                    <a:pt x="12" y="308"/>
                  </a:lnTo>
                  <a:lnTo>
                    <a:pt x="6" y="302"/>
                  </a:lnTo>
                  <a:lnTo>
                    <a:pt x="4" y="296"/>
                  </a:lnTo>
                  <a:lnTo>
                    <a:pt x="2" y="290"/>
                  </a:lnTo>
                  <a:lnTo>
                    <a:pt x="0" y="282"/>
                  </a:lnTo>
                  <a:lnTo>
                    <a:pt x="0" y="36"/>
                  </a:lnTo>
                  <a:lnTo>
                    <a:pt x="0" y="36"/>
                  </a:lnTo>
                  <a:lnTo>
                    <a:pt x="2" y="30"/>
                  </a:lnTo>
                  <a:lnTo>
                    <a:pt x="4" y="22"/>
                  </a:lnTo>
                  <a:lnTo>
                    <a:pt x="6" y="16"/>
                  </a:lnTo>
                  <a:lnTo>
                    <a:pt x="12" y="10"/>
                  </a:lnTo>
                  <a:lnTo>
                    <a:pt x="16"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282"/>
                  </a:lnTo>
                  <a:lnTo>
                    <a:pt x="74" y="282"/>
                  </a:lnTo>
                  <a:lnTo>
                    <a:pt x="74" y="290"/>
                  </a:lnTo>
                  <a:lnTo>
                    <a:pt x="72" y="296"/>
                  </a:lnTo>
                  <a:lnTo>
                    <a:pt x="68" y="302"/>
                  </a:lnTo>
                  <a:lnTo>
                    <a:pt x="64" y="308"/>
                  </a:lnTo>
                  <a:lnTo>
                    <a:pt x="58" y="312"/>
                  </a:lnTo>
                  <a:lnTo>
                    <a:pt x="52" y="316"/>
                  </a:lnTo>
                  <a:lnTo>
                    <a:pt x="44" y="318"/>
                  </a:lnTo>
                  <a:lnTo>
                    <a:pt x="38" y="318"/>
                  </a:lnTo>
                  <a:lnTo>
                    <a:pt x="38"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9">
              <a:extLst>
                <a:ext uri="{FF2B5EF4-FFF2-40B4-BE49-F238E27FC236}">
                  <a16:creationId xmlns:a16="http://schemas.microsoft.com/office/drawing/2014/main" id="{CC2D3DCC-1548-4124-83D2-57D7D0D9C827}"/>
                </a:ext>
              </a:extLst>
            </p:cNvPr>
            <p:cNvSpPr>
              <a:spLocks/>
            </p:cNvSpPr>
            <p:nvPr/>
          </p:nvSpPr>
          <p:spPr bwMode="auto">
            <a:xfrm>
              <a:off x="7462590" y="2310910"/>
              <a:ext cx="46077" cy="45625"/>
            </a:xfrm>
            <a:custGeom>
              <a:avLst/>
              <a:gdLst>
                <a:gd name="T0" fmla="*/ 38 w 204"/>
                <a:gd name="T1" fmla="*/ 202 h 202"/>
                <a:gd name="T2" fmla="*/ 38 w 204"/>
                <a:gd name="T3" fmla="*/ 202 h 202"/>
                <a:gd name="T4" fmla="*/ 30 w 204"/>
                <a:gd name="T5" fmla="*/ 202 h 202"/>
                <a:gd name="T6" fmla="*/ 24 w 204"/>
                <a:gd name="T7" fmla="*/ 200 h 202"/>
                <a:gd name="T8" fmla="*/ 16 w 204"/>
                <a:gd name="T9" fmla="*/ 196 h 202"/>
                <a:gd name="T10" fmla="*/ 12 w 204"/>
                <a:gd name="T11" fmla="*/ 192 h 202"/>
                <a:gd name="T12" fmla="*/ 6 w 204"/>
                <a:gd name="T13" fmla="*/ 186 h 202"/>
                <a:gd name="T14" fmla="*/ 4 w 204"/>
                <a:gd name="T15" fmla="*/ 180 h 202"/>
                <a:gd name="T16" fmla="*/ 2 w 204"/>
                <a:gd name="T17" fmla="*/ 172 h 202"/>
                <a:gd name="T18" fmla="*/ 0 w 204"/>
                <a:gd name="T19" fmla="*/ 166 h 202"/>
                <a:gd name="T20" fmla="*/ 0 w 204"/>
                <a:gd name="T21" fmla="*/ 36 h 202"/>
                <a:gd name="T22" fmla="*/ 0 w 204"/>
                <a:gd name="T23" fmla="*/ 36 h 202"/>
                <a:gd name="T24" fmla="*/ 2 w 204"/>
                <a:gd name="T25" fmla="*/ 30 h 202"/>
                <a:gd name="T26" fmla="*/ 4 w 204"/>
                <a:gd name="T27" fmla="*/ 22 h 202"/>
                <a:gd name="T28" fmla="*/ 6 w 204"/>
                <a:gd name="T29" fmla="*/ 16 h 202"/>
                <a:gd name="T30" fmla="*/ 12 w 204"/>
                <a:gd name="T31" fmla="*/ 10 h 202"/>
                <a:gd name="T32" fmla="*/ 16 w 204"/>
                <a:gd name="T33" fmla="*/ 6 h 202"/>
                <a:gd name="T34" fmla="*/ 24 w 204"/>
                <a:gd name="T35" fmla="*/ 2 h 202"/>
                <a:gd name="T36" fmla="*/ 30 w 204"/>
                <a:gd name="T37" fmla="*/ 0 h 202"/>
                <a:gd name="T38" fmla="*/ 38 w 204"/>
                <a:gd name="T39" fmla="*/ 0 h 202"/>
                <a:gd name="T40" fmla="*/ 166 w 204"/>
                <a:gd name="T41" fmla="*/ 0 h 202"/>
                <a:gd name="T42" fmla="*/ 166 w 204"/>
                <a:gd name="T43" fmla="*/ 0 h 202"/>
                <a:gd name="T44" fmla="*/ 174 w 204"/>
                <a:gd name="T45" fmla="*/ 0 h 202"/>
                <a:gd name="T46" fmla="*/ 180 w 204"/>
                <a:gd name="T47" fmla="*/ 2 h 202"/>
                <a:gd name="T48" fmla="*/ 186 w 204"/>
                <a:gd name="T49" fmla="*/ 6 h 202"/>
                <a:gd name="T50" fmla="*/ 192 w 204"/>
                <a:gd name="T51" fmla="*/ 10 h 202"/>
                <a:gd name="T52" fmla="*/ 196 w 204"/>
                <a:gd name="T53" fmla="*/ 16 h 202"/>
                <a:gd name="T54" fmla="*/ 200 w 204"/>
                <a:gd name="T55" fmla="*/ 22 h 202"/>
                <a:gd name="T56" fmla="*/ 202 w 204"/>
                <a:gd name="T57" fmla="*/ 30 h 202"/>
                <a:gd name="T58" fmla="*/ 204 w 204"/>
                <a:gd name="T59" fmla="*/ 36 h 202"/>
                <a:gd name="T60" fmla="*/ 204 w 204"/>
                <a:gd name="T61" fmla="*/ 36 h 202"/>
                <a:gd name="T62" fmla="*/ 202 w 204"/>
                <a:gd name="T63" fmla="*/ 44 h 202"/>
                <a:gd name="T64" fmla="*/ 200 w 204"/>
                <a:gd name="T65" fmla="*/ 50 h 202"/>
                <a:gd name="T66" fmla="*/ 196 w 204"/>
                <a:gd name="T67" fmla="*/ 58 h 202"/>
                <a:gd name="T68" fmla="*/ 192 w 204"/>
                <a:gd name="T69" fmla="*/ 62 h 202"/>
                <a:gd name="T70" fmla="*/ 186 w 204"/>
                <a:gd name="T71" fmla="*/ 68 h 202"/>
                <a:gd name="T72" fmla="*/ 180 w 204"/>
                <a:gd name="T73" fmla="*/ 70 h 202"/>
                <a:gd name="T74" fmla="*/ 174 w 204"/>
                <a:gd name="T75" fmla="*/ 72 h 202"/>
                <a:gd name="T76" fmla="*/ 166 w 204"/>
                <a:gd name="T77" fmla="*/ 74 h 202"/>
                <a:gd name="T78" fmla="*/ 74 w 204"/>
                <a:gd name="T79" fmla="*/ 74 h 202"/>
                <a:gd name="T80" fmla="*/ 74 w 204"/>
                <a:gd name="T81" fmla="*/ 166 h 202"/>
                <a:gd name="T82" fmla="*/ 74 w 204"/>
                <a:gd name="T83" fmla="*/ 166 h 202"/>
                <a:gd name="T84" fmla="*/ 74 w 204"/>
                <a:gd name="T85" fmla="*/ 172 h 202"/>
                <a:gd name="T86" fmla="*/ 72 w 204"/>
                <a:gd name="T87" fmla="*/ 180 h 202"/>
                <a:gd name="T88" fmla="*/ 68 w 204"/>
                <a:gd name="T89" fmla="*/ 186 h 202"/>
                <a:gd name="T90" fmla="*/ 64 w 204"/>
                <a:gd name="T91" fmla="*/ 192 h 202"/>
                <a:gd name="T92" fmla="*/ 58 w 204"/>
                <a:gd name="T93" fmla="*/ 196 h 202"/>
                <a:gd name="T94" fmla="*/ 52 w 204"/>
                <a:gd name="T95" fmla="*/ 200 h 202"/>
                <a:gd name="T96" fmla="*/ 44 w 204"/>
                <a:gd name="T97" fmla="*/ 202 h 202"/>
                <a:gd name="T98" fmla="*/ 38 w 204"/>
                <a:gd name="T99" fmla="*/ 202 h 202"/>
                <a:gd name="T100" fmla="*/ 38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38" y="202"/>
                  </a:moveTo>
                  <a:lnTo>
                    <a:pt x="38" y="202"/>
                  </a:lnTo>
                  <a:lnTo>
                    <a:pt x="30" y="202"/>
                  </a:lnTo>
                  <a:lnTo>
                    <a:pt x="24" y="200"/>
                  </a:lnTo>
                  <a:lnTo>
                    <a:pt x="16" y="196"/>
                  </a:lnTo>
                  <a:lnTo>
                    <a:pt x="12" y="192"/>
                  </a:lnTo>
                  <a:lnTo>
                    <a:pt x="6" y="186"/>
                  </a:lnTo>
                  <a:lnTo>
                    <a:pt x="4" y="180"/>
                  </a:lnTo>
                  <a:lnTo>
                    <a:pt x="2" y="172"/>
                  </a:lnTo>
                  <a:lnTo>
                    <a:pt x="0" y="166"/>
                  </a:lnTo>
                  <a:lnTo>
                    <a:pt x="0" y="36"/>
                  </a:lnTo>
                  <a:lnTo>
                    <a:pt x="0" y="36"/>
                  </a:lnTo>
                  <a:lnTo>
                    <a:pt x="2" y="30"/>
                  </a:lnTo>
                  <a:lnTo>
                    <a:pt x="4" y="22"/>
                  </a:lnTo>
                  <a:lnTo>
                    <a:pt x="6" y="16"/>
                  </a:lnTo>
                  <a:lnTo>
                    <a:pt x="12" y="10"/>
                  </a:lnTo>
                  <a:lnTo>
                    <a:pt x="16" y="6"/>
                  </a:lnTo>
                  <a:lnTo>
                    <a:pt x="24" y="2"/>
                  </a:lnTo>
                  <a:lnTo>
                    <a:pt x="30" y="0"/>
                  </a:lnTo>
                  <a:lnTo>
                    <a:pt x="38" y="0"/>
                  </a:lnTo>
                  <a:lnTo>
                    <a:pt x="166" y="0"/>
                  </a:lnTo>
                  <a:lnTo>
                    <a:pt x="166" y="0"/>
                  </a:lnTo>
                  <a:lnTo>
                    <a:pt x="174" y="0"/>
                  </a:lnTo>
                  <a:lnTo>
                    <a:pt x="180" y="2"/>
                  </a:lnTo>
                  <a:lnTo>
                    <a:pt x="186" y="6"/>
                  </a:lnTo>
                  <a:lnTo>
                    <a:pt x="192" y="10"/>
                  </a:lnTo>
                  <a:lnTo>
                    <a:pt x="196" y="16"/>
                  </a:lnTo>
                  <a:lnTo>
                    <a:pt x="200" y="22"/>
                  </a:lnTo>
                  <a:lnTo>
                    <a:pt x="202" y="30"/>
                  </a:lnTo>
                  <a:lnTo>
                    <a:pt x="204" y="36"/>
                  </a:lnTo>
                  <a:lnTo>
                    <a:pt x="204" y="36"/>
                  </a:lnTo>
                  <a:lnTo>
                    <a:pt x="202" y="44"/>
                  </a:lnTo>
                  <a:lnTo>
                    <a:pt x="200" y="50"/>
                  </a:lnTo>
                  <a:lnTo>
                    <a:pt x="196" y="58"/>
                  </a:lnTo>
                  <a:lnTo>
                    <a:pt x="192" y="62"/>
                  </a:lnTo>
                  <a:lnTo>
                    <a:pt x="186" y="68"/>
                  </a:lnTo>
                  <a:lnTo>
                    <a:pt x="180" y="70"/>
                  </a:lnTo>
                  <a:lnTo>
                    <a:pt x="174" y="72"/>
                  </a:lnTo>
                  <a:lnTo>
                    <a:pt x="166" y="74"/>
                  </a:lnTo>
                  <a:lnTo>
                    <a:pt x="74" y="74"/>
                  </a:lnTo>
                  <a:lnTo>
                    <a:pt x="74" y="166"/>
                  </a:lnTo>
                  <a:lnTo>
                    <a:pt x="74" y="166"/>
                  </a:lnTo>
                  <a:lnTo>
                    <a:pt x="74" y="172"/>
                  </a:lnTo>
                  <a:lnTo>
                    <a:pt x="72" y="180"/>
                  </a:lnTo>
                  <a:lnTo>
                    <a:pt x="68" y="186"/>
                  </a:lnTo>
                  <a:lnTo>
                    <a:pt x="64" y="192"/>
                  </a:lnTo>
                  <a:lnTo>
                    <a:pt x="58" y="196"/>
                  </a:lnTo>
                  <a:lnTo>
                    <a:pt x="52" y="200"/>
                  </a:lnTo>
                  <a:lnTo>
                    <a:pt x="44" y="202"/>
                  </a:lnTo>
                  <a:lnTo>
                    <a:pt x="38" y="202"/>
                  </a:lnTo>
                  <a:lnTo>
                    <a:pt x="38"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0">
              <a:extLst>
                <a:ext uri="{FF2B5EF4-FFF2-40B4-BE49-F238E27FC236}">
                  <a16:creationId xmlns:a16="http://schemas.microsoft.com/office/drawing/2014/main" id="{669F812C-1BE4-4368-A628-D2218F920148}"/>
                </a:ext>
              </a:extLst>
            </p:cNvPr>
            <p:cNvSpPr>
              <a:spLocks noEditPoints="1"/>
            </p:cNvSpPr>
            <p:nvPr/>
          </p:nvSpPr>
          <p:spPr bwMode="auto">
            <a:xfrm>
              <a:off x="7524930" y="2310910"/>
              <a:ext cx="141845" cy="16714"/>
            </a:xfrm>
            <a:custGeom>
              <a:avLst/>
              <a:gdLst>
                <a:gd name="T0" fmla="*/ 388 w 628"/>
                <a:gd name="T1" fmla="*/ 74 h 74"/>
                <a:gd name="T2" fmla="*/ 380 w 628"/>
                <a:gd name="T3" fmla="*/ 72 h 74"/>
                <a:gd name="T4" fmla="*/ 366 w 628"/>
                <a:gd name="T5" fmla="*/ 68 h 74"/>
                <a:gd name="T6" fmla="*/ 356 w 628"/>
                <a:gd name="T7" fmla="*/ 58 h 74"/>
                <a:gd name="T8" fmla="*/ 350 w 628"/>
                <a:gd name="T9" fmla="*/ 44 h 74"/>
                <a:gd name="T10" fmla="*/ 350 w 628"/>
                <a:gd name="T11" fmla="*/ 36 h 74"/>
                <a:gd name="T12" fmla="*/ 354 w 628"/>
                <a:gd name="T13" fmla="*/ 22 h 74"/>
                <a:gd name="T14" fmla="*/ 362 w 628"/>
                <a:gd name="T15" fmla="*/ 10 h 74"/>
                <a:gd name="T16" fmla="*/ 372 w 628"/>
                <a:gd name="T17" fmla="*/ 2 h 74"/>
                <a:gd name="T18" fmla="*/ 388 w 628"/>
                <a:gd name="T19" fmla="*/ 0 h 74"/>
                <a:gd name="T20" fmla="*/ 592 w 628"/>
                <a:gd name="T21" fmla="*/ 0 h 74"/>
                <a:gd name="T22" fmla="*/ 606 w 628"/>
                <a:gd name="T23" fmla="*/ 2 h 74"/>
                <a:gd name="T24" fmla="*/ 618 w 628"/>
                <a:gd name="T25" fmla="*/ 10 h 74"/>
                <a:gd name="T26" fmla="*/ 626 w 628"/>
                <a:gd name="T27" fmla="*/ 22 h 74"/>
                <a:gd name="T28" fmla="*/ 628 w 628"/>
                <a:gd name="T29" fmla="*/ 36 h 74"/>
                <a:gd name="T30" fmla="*/ 628 w 628"/>
                <a:gd name="T31" fmla="*/ 44 h 74"/>
                <a:gd name="T32" fmla="*/ 622 w 628"/>
                <a:gd name="T33" fmla="*/ 58 h 74"/>
                <a:gd name="T34" fmla="*/ 612 w 628"/>
                <a:gd name="T35" fmla="*/ 68 h 74"/>
                <a:gd name="T36" fmla="*/ 600 w 628"/>
                <a:gd name="T37" fmla="*/ 72 h 74"/>
                <a:gd name="T38" fmla="*/ 592 w 628"/>
                <a:gd name="T39" fmla="*/ 74 h 74"/>
                <a:gd name="T40" fmla="*/ 36 w 628"/>
                <a:gd name="T41" fmla="*/ 74 h 74"/>
                <a:gd name="T42" fmla="*/ 28 w 628"/>
                <a:gd name="T43" fmla="*/ 72 h 74"/>
                <a:gd name="T44" fmla="*/ 16 w 628"/>
                <a:gd name="T45" fmla="*/ 68 h 74"/>
                <a:gd name="T46" fmla="*/ 6 w 628"/>
                <a:gd name="T47" fmla="*/ 58 h 74"/>
                <a:gd name="T48" fmla="*/ 0 w 628"/>
                <a:gd name="T49" fmla="*/ 44 h 74"/>
                <a:gd name="T50" fmla="*/ 0 w 628"/>
                <a:gd name="T51" fmla="*/ 36 h 74"/>
                <a:gd name="T52" fmla="*/ 2 w 628"/>
                <a:gd name="T53" fmla="*/ 22 h 74"/>
                <a:gd name="T54" fmla="*/ 10 w 628"/>
                <a:gd name="T55" fmla="*/ 10 h 74"/>
                <a:gd name="T56" fmla="*/ 22 w 628"/>
                <a:gd name="T57" fmla="*/ 2 h 74"/>
                <a:gd name="T58" fmla="*/ 36 w 628"/>
                <a:gd name="T59" fmla="*/ 0 h 74"/>
                <a:gd name="T60" fmla="*/ 240 w 628"/>
                <a:gd name="T61" fmla="*/ 0 h 74"/>
                <a:gd name="T62" fmla="*/ 256 w 628"/>
                <a:gd name="T63" fmla="*/ 2 h 74"/>
                <a:gd name="T64" fmla="*/ 268 w 628"/>
                <a:gd name="T65" fmla="*/ 10 h 74"/>
                <a:gd name="T66" fmla="*/ 274 w 628"/>
                <a:gd name="T67" fmla="*/ 22 h 74"/>
                <a:gd name="T68" fmla="*/ 278 w 628"/>
                <a:gd name="T69" fmla="*/ 36 h 74"/>
                <a:gd name="T70" fmla="*/ 278 w 628"/>
                <a:gd name="T71" fmla="*/ 44 h 74"/>
                <a:gd name="T72" fmla="*/ 272 w 628"/>
                <a:gd name="T73" fmla="*/ 58 h 74"/>
                <a:gd name="T74" fmla="*/ 262 w 628"/>
                <a:gd name="T75" fmla="*/ 68 h 74"/>
                <a:gd name="T76" fmla="*/ 248 w 628"/>
                <a:gd name="T77" fmla="*/ 72 h 74"/>
                <a:gd name="T78" fmla="*/ 240 w 628"/>
                <a:gd name="T7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8" h="74">
                  <a:moveTo>
                    <a:pt x="592" y="74"/>
                  </a:moveTo>
                  <a:lnTo>
                    <a:pt x="388" y="74"/>
                  </a:lnTo>
                  <a:lnTo>
                    <a:pt x="388" y="74"/>
                  </a:lnTo>
                  <a:lnTo>
                    <a:pt x="380" y="72"/>
                  </a:lnTo>
                  <a:lnTo>
                    <a:pt x="372" y="70"/>
                  </a:lnTo>
                  <a:lnTo>
                    <a:pt x="366" y="68"/>
                  </a:lnTo>
                  <a:lnTo>
                    <a:pt x="362" y="62"/>
                  </a:lnTo>
                  <a:lnTo>
                    <a:pt x="356" y="58"/>
                  </a:lnTo>
                  <a:lnTo>
                    <a:pt x="354" y="50"/>
                  </a:lnTo>
                  <a:lnTo>
                    <a:pt x="350" y="44"/>
                  </a:lnTo>
                  <a:lnTo>
                    <a:pt x="350" y="36"/>
                  </a:lnTo>
                  <a:lnTo>
                    <a:pt x="350" y="36"/>
                  </a:lnTo>
                  <a:lnTo>
                    <a:pt x="350" y="30"/>
                  </a:lnTo>
                  <a:lnTo>
                    <a:pt x="354" y="22"/>
                  </a:lnTo>
                  <a:lnTo>
                    <a:pt x="356" y="16"/>
                  </a:lnTo>
                  <a:lnTo>
                    <a:pt x="362" y="10"/>
                  </a:lnTo>
                  <a:lnTo>
                    <a:pt x="366" y="6"/>
                  </a:lnTo>
                  <a:lnTo>
                    <a:pt x="372" y="2"/>
                  </a:lnTo>
                  <a:lnTo>
                    <a:pt x="380" y="0"/>
                  </a:lnTo>
                  <a:lnTo>
                    <a:pt x="388" y="0"/>
                  </a:lnTo>
                  <a:lnTo>
                    <a:pt x="592" y="0"/>
                  </a:lnTo>
                  <a:lnTo>
                    <a:pt x="592" y="0"/>
                  </a:lnTo>
                  <a:lnTo>
                    <a:pt x="600" y="0"/>
                  </a:lnTo>
                  <a:lnTo>
                    <a:pt x="606" y="2"/>
                  </a:lnTo>
                  <a:lnTo>
                    <a:pt x="612" y="6"/>
                  </a:lnTo>
                  <a:lnTo>
                    <a:pt x="618" y="10"/>
                  </a:lnTo>
                  <a:lnTo>
                    <a:pt x="622" y="16"/>
                  </a:lnTo>
                  <a:lnTo>
                    <a:pt x="626" y="22"/>
                  </a:lnTo>
                  <a:lnTo>
                    <a:pt x="628" y="30"/>
                  </a:lnTo>
                  <a:lnTo>
                    <a:pt x="628" y="36"/>
                  </a:lnTo>
                  <a:lnTo>
                    <a:pt x="628" y="36"/>
                  </a:lnTo>
                  <a:lnTo>
                    <a:pt x="628" y="44"/>
                  </a:lnTo>
                  <a:lnTo>
                    <a:pt x="626" y="50"/>
                  </a:lnTo>
                  <a:lnTo>
                    <a:pt x="622" y="58"/>
                  </a:lnTo>
                  <a:lnTo>
                    <a:pt x="618" y="62"/>
                  </a:lnTo>
                  <a:lnTo>
                    <a:pt x="612" y="68"/>
                  </a:lnTo>
                  <a:lnTo>
                    <a:pt x="606" y="70"/>
                  </a:lnTo>
                  <a:lnTo>
                    <a:pt x="600" y="72"/>
                  </a:lnTo>
                  <a:lnTo>
                    <a:pt x="592" y="74"/>
                  </a:lnTo>
                  <a:lnTo>
                    <a:pt x="592" y="74"/>
                  </a:lnTo>
                  <a:close/>
                  <a:moveTo>
                    <a:pt x="240" y="74"/>
                  </a:moveTo>
                  <a:lnTo>
                    <a:pt x="36" y="74"/>
                  </a:lnTo>
                  <a:lnTo>
                    <a:pt x="36" y="74"/>
                  </a:lnTo>
                  <a:lnTo>
                    <a:pt x="28" y="72"/>
                  </a:lnTo>
                  <a:lnTo>
                    <a:pt x="22" y="70"/>
                  </a:lnTo>
                  <a:lnTo>
                    <a:pt x="16" y="68"/>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240" y="0"/>
                  </a:lnTo>
                  <a:lnTo>
                    <a:pt x="240" y="0"/>
                  </a:lnTo>
                  <a:lnTo>
                    <a:pt x="248" y="0"/>
                  </a:lnTo>
                  <a:lnTo>
                    <a:pt x="256" y="2"/>
                  </a:lnTo>
                  <a:lnTo>
                    <a:pt x="262" y="6"/>
                  </a:lnTo>
                  <a:lnTo>
                    <a:pt x="268" y="10"/>
                  </a:lnTo>
                  <a:lnTo>
                    <a:pt x="272" y="16"/>
                  </a:lnTo>
                  <a:lnTo>
                    <a:pt x="274" y="22"/>
                  </a:lnTo>
                  <a:lnTo>
                    <a:pt x="278" y="30"/>
                  </a:lnTo>
                  <a:lnTo>
                    <a:pt x="278" y="36"/>
                  </a:lnTo>
                  <a:lnTo>
                    <a:pt x="278" y="36"/>
                  </a:lnTo>
                  <a:lnTo>
                    <a:pt x="278" y="44"/>
                  </a:lnTo>
                  <a:lnTo>
                    <a:pt x="274" y="50"/>
                  </a:lnTo>
                  <a:lnTo>
                    <a:pt x="272" y="58"/>
                  </a:lnTo>
                  <a:lnTo>
                    <a:pt x="268" y="62"/>
                  </a:lnTo>
                  <a:lnTo>
                    <a:pt x="262" y="68"/>
                  </a:lnTo>
                  <a:lnTo>
                    <a:pt x="256" y="70"/>
                  </a:lnTo>
                  <a:lnTo>
                    <a:pt x="248" y="72"/>
                  </a:lnTo>
                  <a:lnTo>
                    <a:pt x="240" y="74"/>
                  </a:lnTo>
                  <a:lnTo>
                    <a:pt x="24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
              <a:extLst>
                <a:ext uri="{FF2B5EF4-FFF2-40B4-BE49-F238E27FC236}">
                  <a16:creationId xmlns:a16="http://schemas.microsoft.com/office/drawing/2014/main" id="{21390071-4391-41BF-A2BC-ABCEBAFDB5F3}"/>
                </a:ext>
              </a:extLst>
            </p:cNvPr>
            <p:cNvSpPr>
              <a:spLocks/>
            </p:cNvSpPr>
            <p:nvPr/>
          </p:nvSpPr>
          <p:spPr bwMode="auto">
            <a:xfrm>
              <a:off x="7683038" y="2310910"/>
              <a:ext cx="46077" cy="16714"/>
            </a:xfrm>
            <a:custGeom>
              <a:avLst/>
              <a:gdLst>
                <a:gd name="T0" fmla="*/ 166 w 204"/>
                <a:gd name="T1" fmla="*/ 74 h 74"/>
                <a:gd name="T2" fmla="*/ 38 w 204"/>
                <a:gd name="T3" fmla="*/ 74 h 74"/>
                <a:gd name="T4" fmla="*/ 38 w 204"/>
                <a:gd name="T5" fmla="*/ 74 h 74"/>
                <a:gd name="T6" fmla="*/ 30 w 204"/>
                <a:gd name="T7" fmla="*/ 72 h 74"/>
                <a:gd name="T8" fmla="*/ 24 w 204"/>
                <a:gd name="T9" fmla="*/ 70 h 74"/>
                <a:gd name="T10" fmla="*/ 18 w 204"/>
                <a:gd name="T11" fmla="*/ 68 h 74"/>
                <a:gd name="T12" fmla="*/ 12 w 204"/>
                <a:gd name="T13" fmla="*/ 62 h 74"/>
                <a:gd name="T14" fmla="*/ 8 w 204"/>
                <a:gd name="T15" fmla="*/ 58 h 74"/>
                <a:gd name="T16" fmla="*/ 4 w 204"/>
                <a:gd name="T17" fmla="*/ 50 h 74"/>
                <a:gd name="T18" fmla="*/ 2 w 204"/>
                <a:gd name="T19" fmla="*/ 44 h 74"/>
                <a:gd name="T20" fmla="*/ 0 w 204"/>
                <a:gd name="T21" fmla="*/ 36 h 74"/>
                <a:gd name="T22" fmla="*/ 0 w 204"/>
                <a:gd name="T23" fmla="*/ 36 h 74"/>
                <a:gd name="T24" fmla="*/ 2 w 204"/>
                <a:gd name="T25" fmla="*/ 30 h 74"/>
                <a:gd name="T26" fmla="*/ 4 w 204"/>
                <a:gd name="T27" fmla="*/ 22 h 74"/>
                <a:gd name="T28" fmla="*/ 8 w 204"/>
                <a:gd name="T29" fmla="*/ 16 h 74"/>
                <a:gd name="T30" fmla="*/ 12 w 204"/>
                <a:gd name="T31" fmla="*/ 10 h 74"/>
                <a:gd name="T32" fmla="*/ 18 w 204"/>
                <a:gd name="T33" fmla="*/ 6 h 74"/>
                <a:gd name="T34" fmla="*/ 24 w 204"/>
                <a:gd name="T35" fmla="*/ 2 h 74"/>
                <a:gd name="T36" fmla="*/ 30 w 204"/>
                <a:gd name="T37" fmla="*/ 0 h 74"/>
                <a:gd name="T38" fmla="*/ 38 w 204"/>
                <a:gd name="T39" fmla="*/ 0 h 74"/>
                <a:gd name="T40" fmla="*/ 166 w 204"/>
                <a:gd name="T41" fmla="*/ 0 h 74"/>
                <a:gd name="T42" fmla="*/ 166 w 204"/>
                <a:gd name="T43" fmla="*/ 0 h 74"/>
                <a:gd name="T44" fmla="*/ 174 w 204"/>
                <a:gd name="T45" fmla="*/ 0 h 74"/>
                <a:gd name="T46" fmla="*/ 182 w 204"/>
                <a:gd name="T47" fmla="*/ 2 h 74"/>
                <a:gd name="T48" fmla="*/ 188 w 204"/>
                <a:gd name="T49" fmla="*/ 6 h 74"/>
                <a:gd name="T50" fmla="*/ 192 w 204"/>
                <a:gd name="T51" fmla="*/ 10 h 74"/>
                <a:gd name="T52" fmla="*/ 198 w 204"/>
                <a:gd name="T53" fmla="*/ 16 h 74"/>
                <a:gd name="T54" fmla="*/ 200 w 204"/>
                <a:gd name="T55" fmla="*/ 22 h 74"/>
                <a:gd name="T56" fmla="*/ 202 w 204"/>
                <a:gd name="T57" fmla="*/ 30 h 74"/>
                <a:gd name="T58" fmla="*/ 204 w 204"/>
                <a:gd name="T59" fmla="*/ 36 h 74"/>
                <a:gd name="T60" fmla="*/ 204 w 204"/>
                <a:gd name="T61" fmla="*/ 36 h 74"/>
                <a:gd name="T62" fmla="*/ 202 w 204"/>
                <a:gd name="T63" fmla="*/ 44 h 74"/>
                <a:gd name="T64" fmla="*/ 200 w 204"/>
                <a:gd name="T65" fmla="*/ 50 h 74"/>
                <a:gd name="T66" fmla="*/ 198 w 204"/>
                <a:gd name="T67" fmla="*/ 58 h 74"/>
                <a:gd name="T68" fmla="*/ 192 w 204"/>
                <a:gd name="T69" fmla="*/ 62 h 74"/>
                <a:gd name="T70" fmla="*/ 188 w 204"/>
                <a:gd name="T71" fmla="*/ 68 h 74"/>
                <a:gd name="T72" fmla="*/ 182 w 204"/>
                <a:gd name="T73" fmla="*/ 70 h 74"/>
                <a:gd name="T74" fmla="*/ 174 w 204"/>
                <a:gd name="T75" fmla="*/ 72 h 74"/>
                <a:gd name="T76" fmla="*/ 166 w 204"/>
                <a:gd name="T77" fmla="*/ 74 h 74"/>
                <a:gd name="T78" fmla="*/ 166 w 204"/>
                <a:gd name="T7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74">
                  <a:moveTo>
                    <a:pt x="166" y="74"/>
                  </a:moveTo>
                  <a:lnTo>
                    <a:pt x="38" y="74"/>
                  </a:lnTo>
                  <a:lnTo>
                    <a:pt x="38" y="74"/>
                  </a:lnTo>
                  <a:lnTo>
                    <a:pt x="30" y="72"/>
                  </a:lnTo>
                  <a:lnTo>
                    <a:pt x="24" y="70"/>
                  </a:lnTo>
                  <a:lnTo>
                    <a:pt x="18" y="68"/>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166" y="0"/>
                  </a:lnTo>
                  <a:lnTo>
                    <a:pt x="166" y="0"/>
                  </a:lnTo>
                  <a:lnTo>
                    <a:pt x="174" y="0"/>
                  </a:lnTo>
                  <a:lnTo>
                    <a:pt x="182" y="2"/>
                  </a:lnTo>
                  <a:lnTo>
                    <a:pt x="188" y="6"/>
                  </a:lnTo>
                  <a:lnTo>
                    <a:pt x="192" y="10"/>
                  </a:lnTo>
                  <a:lnTo>
                    <a:pt x="198" y="16"/>
                  </a:lnTo>
                  <a:lnTo>
                    <a:pt x="200" y="22"/>
                  </a:lnTo>
                  <a:lnTo>
                    <a:pt x="202" y="30"/>
                  </a:lnTo>
                  <a:lnTo>
                    <a:pt x="204" y="36"/>
                  </a:lnTo>
                  <a:lnTo>
                    <a:pt x="204" y="36"/>
                  </a:lnTo>
                  <a:lnTo>
                    <a:pt x="202" y="44"/>
                  </a:lnTo>
                  <a:lnTo>
                    <a:pt x="200" y="50"/>
                  </a:lnTo>
                  <a:lnTo>
                    <a:pt x="198" y="58"/>
                  </a:lnTo>
                  <a:lnTo>
                    <a:pt x="192" y="62"/>
                  </a:lnTo>
                  <a:lnTo>
                    <a:pt x="188" y="68"/>
                  </a:lnTo>
                  <a:lnTo>
                    <a:pt x="182" y="70"/>
                  </a:lnTo>
                  <a:lnTo>
                    <a:pt x="174" y="72"/>
                  </a:lnTo>
                  <a:lnTo>
                    <a:pt x="166" y="74"/>
                  </a:lnTo>
                  <a:lnTo>
                    <a:pt x="166"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2">
              <a:extLst>
                <a:ext uri="{FF2B5EF4-FFF2-40B4-BE49-F238E27FC236}">
                  <a16:creationId xmlns:a16="http://schemas.microsoft.com/office/drawing/2014/main" id="{8ED85A37-C6E0-4FC2-8049-6B7ABBEE16E7}"/>
                </a:ext>
              </a:extLst>
            </p:cNvPr>
            <p:cNvSpPr>
              <a:spLocks/>
            </p:cNvSpPr>
            <p:nvPr/>
          </p:nvSpPr>
          <p:spPr bwMode="auto">
            <a:xfrm>
              <a:off x="7662258" y="2310910"/>
              <a:ext cx="200119" cy="199668"/>
            </a:xfrm>
            <a:custGeom>
              <a:avLst/>
              <a:gdLst>
                <a:gd name="T0" fmla="*/ 38 w 886"/>
                <a:gd name="T1" fmla="*/ 884 h 884"/>
                <a:gd name="T2" fmla="*/ 38 w 886"/>
                <a:gd name="T3" fmla="*/ 884 h 884"/>
                <a:gd name="T4" fmla="*/ 30 w 886"/>
                <a:gd name="T5" fmla="*/ 884 h 884"/>
                <a:gd name="T6" fmla="*/ 24 w 886"/>
                <a:gd name="T7" fmla="*/ 882 h 884"/>
                <a:gd name="T8" fmla="*/ 18 w 886"/>
                <a:gd name="T9" fmla="*/ 878 h 884"/>
                <a:gd name="T10" fmla="*/ 12 w 886"/>
                <a:gd name="T11" fmla="*/ 874 h 884"/>
                <a:gd name="T12" fmla="*/ 12 w 886"/>
                <a:gd name="T13" fmla="*/ 874 h 884"/>
                <a:gd name="T14" fmla="*/ 6 w 886"/>
                <a:gd name="T15" fmla="*/ 868 h 884"/>
                <a:gd name="T16" fmla="*/ 4 w 886"/>
                <a:gd name="T17" fmla="*/ 862 h 884"/>
                <a:gd name="T18" fmla="*/ 2 w 886"/>
                <a:gd name="T19" fmla="*/ 854 h 884"/>
                <a:gd name="T20" fmla="*/ 0 w 886"/>
                <a:gd name="T21" fmla="*/ 848 h 884"/>
                <a:gd name="T22" fmla="*/ 2 w 886"/>
                <a:gd name="T23" fmla="*/ 840 h 884"/>
                <a:gd name="T24" fmla="*/ 4 w 886"/>
                <a:gd name="T25" fmla="*/ 834 h 884"/>
                <a:gd name="T26" fmla="*/ 6 w 886"/>
                <a:gd name="T27" fmla="*/ 826 h 884"/>
                <a:gd name="T28" fmla="*/ 12 w 886"/>
                <a:gd name="T29" fmla="*/ 822 h 884"/>
                <a:gd name="T30" fmla="*/ 822 w 886"/>
                <a:gd name="T31" fmla="*/ 10 h 884"/>
                <a:gd name="T32" fmla="*/ 822 w 886"/>
                <a:gd name="T33" fmla="*/ 10 h 884"/>
                <a:gd name="T34" fmla="*/ 828 w 886"/>
                <a:gd name="T35" fmla="*/ 6 h 884"/>
                <a:gd name="T36" fmla="*/ 834 w 886"/>
                <a:gd name="T37" fmla="*/ 2 h 884"/>
                <a:gd name="T38" fmla="*/ 842 w 886"/>
                <a:gd name="T39" fmla="*/ 0 h 884"/>
                <a:gd name="T40" fmla="*/ 848 w 886"/>
                <a:gd name="T41" fmla="*/ 0 h 884"/>
                <a:gd name="T42" fmla="*/ 856 w 886"/>
                <a:gd name="T43" fmla="*/ 0 h 884"/>
                <a:gd name="T44" fmla="*/ 862 w 886"/>
                <a:gd name="T45" fmla="*/ 2 h 884"/>
                <a:gd name="T46" fmla="*/ 868 w 886"/>
                <a:gd name="T47" fmla="*/ 6 h 884"/>
                <a:gd name="T48" fmla="*/ 874 w 886"/>
                <a:gd name="T49" fmla="*/ 10 h 884"/>
                <a:gd name="T50" fmla="*/ 874 w 886"/>
                <a:gd name="T51" fmla="*/ 10 h 884"/>
                <a:gd name="T52" fmla="*/ 880 w 886"/>
                <a:gd name="T53" fmla="*/ 16 h 884"/>
                <a:gd name="T54" fmla="*/ 882 w 886"/>
                <a:gd name="T55" fmla="*/ 22 h 884"/>
                <a:gd name="T56" fmla="*/ 884 w 886"/>
                <a:gd name="T57" fmla="*/ 30 h 884"/>
                <a:gd name="T58" fmla="*/ 886 w 886"/>
                <a:gd name="T59" fmla="*/ 36 h 884"/>
                <a:gd name="T60" fmla="*/ 884 w 886"/>
                <a:gd name="T61" fmla="*/ 44 h 884"/>
                <a:gd name="T62" fmla="*/ 882 w 886"/>
                <a:gd name="T63" fmla="*/ 50 h 884"/>
                <a:gd name="T64" fmla="*/ 880 w 886"/>
                <a:gd name="T65" fmla="*/ 56 h 884"/>
                <a:gd name="T66" fmla="*/ 874 w 886"/>
                <a:gd name="T67" fmla="*/ 62 h 884"/>
                <a:gd name="T68" fmla="*/ 64 w 886"/>
                <a:gd name="T69" fmla="*/ 874 h 884"/>
                <a:gd name="T70" fmla="*/ 64 w 886"/>
                <a:gd name="T71" fmla="*/ 874 h 884"/>
                <a:gd name="T72" fmla="*/ 58 w 886"/>
                <a:gd name="T73" fmla="*/ 878 h 884"/>
                <a:gd name="T74" fmla="*/ 52 w 886"/>
                <a:gd name="T75" fmla="*/ 882 h 884"/>
                <a:gd name="T76" fmla="*/ 44 w 886"/>
                <a:gd name="T77" fmla="*/ 884 h 884"/>
                <a:gd name="T78" fmla="*/ 38 w 886"/>
                <a:gd name="T79" fmla="*/ 884 h 884"/>
                <a:gd name="T80" fmla="*/ 38 w 886"/>
                <a:gd name="T81" fmla="*/ 88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6" h="884">
                  <a:moveTo>
                    <a:pt x="38" y="884"/>
                  </a:moveTo>
                  <a:lnTo>
                    <a:pt x="38" y="884"/>
                  </a:lnTo>
                  <a:lnTo>
                    <a:pt x="30" y="884"/>
                  </a:lnTo>
                  <a:lnTo>
                    <a:pt x="24" y="882"/>
                  </a:lnTo>
                  <a:lnTo>
                    <a:pt x="18" y="878"/>
                  </a:lnTo>
                  <a:lnTo>
                    <a:pt x="12" y="874"/>
                  </a:lnTo>
                  <a:lnTo>
                    <a:pt x="12" y="874"/>
                  </a:lnTo>
                  <a:lnTo>
                    <a:pt x="6" y="868"/>
                  </a:lnTo>
                  <a:lnTo>
                    <a:pt x="4" y="862"/>
                  </a:lnTo>
                  <a:lnTo>
                    <a:pt x="2" y="854"/>
                  </a:lnTo>
                  <a:lnTo>
                    <a:pt x="0" y="848"/>
                  </a:lnTo>
                  <a:lnTo>
                    <a:pt x="2" y="840"/>
                  </a:lnTo>
                  <a:lnTo>
                    <a:pt x="4" y="834"/>
                  </a:lnTo>
                  <a:lnTo>
                    <a:pt x="6" y="826"/>
                  </a:lnTo>
                  <a:lnTo>
                    <a:pt x="12" y="822"/>
                  </a:lnTo>
                  <a:lnTo>
                    <a:pt x="822" y="10"/>
                  </a:lnTo>
                  <a:lnTo>
                    <a:pt x="822" y="10"/>
                  </a:lnTo>
                  <a:lnTo>
                    <a:pt x="828" y="6"/>
                  </a:lnTo>
                  <a:lnTo>
                    <a:pt x="834" y="2"/>
                  </a:lnTo>
                  <a:lnTo>
                    <a:pt x="842" y="0"/>
                  </a:lnTo>
                  <a:lnTo>
                    <a:pt x="848" y="0"/>
                  </a:lnTo>
                  <a:lnTo>
                    <a:pt x="856" y="0"/>
                  </a:lnTo>
                  <a:lnTo>
                    <a:pt x="862" y="2"/>
                  </a:lnTo>
                  <a:lnTo>
                    <a:pt x="868" y="6"/>
                  </a:lnTo>
                  <a:lnTo>
                    <a:pt x="874" y="10"/>
                  </a:lnTo>
                  <a:lnTo>
                    <a:pt x="874" y="10"/>
                  </a:lnTo>
                  <a:lnTo>
                    <a:pt x="880" y="16"/>
                  </a:lnTo>
                  <a:lnTo>
                    <a:pt x="882" y="22"/>
                  </a:lnTo>
                  <a:lnTo>
                    <a:pt x="884" y="30"/>
                  </a:lnTo>
                  <a:lnTo>
                    <a:pt x="886" y="36"/>
                  </a:lnTo>
                  <a:lnTo>
                    <a:pt x="884" y="44"/>
                  </a:lnTo>
                  <a:lnTo>
                    <a:pt x="882" y="50"/>
                  </a:lnTo>
                  <a:lnTo>
                    <a:pt x="880" y="56"/>
                  </a:lnTo>
                  <a:lnTo>
                    <a:pt x="874" y="62"/>
                  </a:lnTo>
                  <a:lnTo>
                    <a:pt x="64" y="874"/>
                  </a:lnTo>
                  <a:lnTo>
                    <a:pt x="64" y="874"/>
                  </a:lnTo>
                  <a:lnTo>
                    <a:pt x="58" y="878"/>
                  </a:lnTo>
                  <a:lnTo>
                    <a:pt x="52" y="882"/>
                  </a:lnTo>
                  <a:lnTo>
                    <a:pt x="44" y="884"/>
                  </a:lnTo>
                  <a:lnTo>
                    <a:pt x="38" y="884"/>
                  </a:lnTo>
                  <a:lnTo>
                    <a:pt x="38"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3">
              <a:extLst>
                <a:ext uri="{FF2B5EF4-FFF2-40B4-BE49-F238E27FC236}">
                  <a16:creationId xmlns:a16="http://schemas.microsoft.com/office/drawing/2014/main" id="{C07D934C-12ED-4B1B-9857-59A35DF09CB4}"/>
                </a:ext>
              </a:extLst>
            </p:cNvPr>
            <p:cNvSpPr>
              <a:spLocks noEditPoints="1"/>
            </p:cNvSpPr>
            <p:nvPr/>
          </p:nvSpPr>
          <p:spPr bwMode="auto">
            <a:xfrm>
              <a:off x="7595852" y="2427458"/>
              <a:ext cx="149977" cy="149525"/>
            </a:xfrm>
            <a:custGeom>
              <a:avLst/>
              <a:gdLst>
                <a:gd name="T0" fmla="*/ 626 w 664"/>
                <a:gd name="T1" fmla="*/ 662 h 662"/>
                <a:gd name="T2" fmla="*/ 36 w 664"/>
                <a:gd name="T3" fmla="*/ 662 h 662"/>
                <a:gd name="T4" fmla="*/ 36 w 664"/>
                <a:gd name="T5" fmla="*/ 662 h 662"/>
                <a:gd name="T6" fmla="*/ 30 w 664"/>
                <a:gd name="T7" fmla="*/ 662 h 662"/>
                <a:gd name="T8" fmla="*/ 22 w 664"/>
                <a:gd name="T9" fmla="*/ 660 h 662"/>
                <a:gd name="T10" fmla="*/ 16 w 664"/>
                <a:gd name="T11" fmla="*/ 656 h 662"/>
                <a:gd name="T12" fmla="*/ 10 w 664"/>
                <a:gd name="T13" fmla="*/ 652 h 662"/>
                <a:gd name="T14" fmla="*/ 6 w 664"/>
                <a:gd name="T15" fmla="*/ 646 h 662"/>
                <a:gd name="T16" fmla="*/ 2 w 664"/>
                <a:gd name="T17" fmla="*/ 640 h 662"/>
                <a:gd name="T18" fmla="*/ 0 w 664"/>
                <a:gd name="T19" fmla="*/ 634 h 662"/>
                <a:gd name="T20" fmla="*/ 0 w 664"/>
                <a:gd name="T21" fmla="*/ 626 h 662"/>
                <a:gd name="T22" fmla="*/ 0 w 664"/>
                <a:gd name="T23" fmla="*/ 36 h 662"/>
                <a:gd name="T24" fmla="*/ 0 w 664"/>
                <a:gd name="T25" fmla="*/ 36 h 662"/>
                <a:gd name="T26" fmla="*/ 0 w 664"/>
                <a:gd name="T27" fmla="*/ 28 h 662"/>
                <a:gd name="T28" fmla="*/ 2 w 664"/>
                <a:gd name="T29" fmla="*/ 22 h 662"/>
                <a:gd name="T30" fmla="*/ 6 w 664"/>
                <a:gd name="T31" fmla="*/ 16 h 662"/>
                <a:gd name="T32" fmla="*/ 10 w 664"/>
                <a:gd name="T33" fmla="*/ 10 h 662"/>
                <a:gd name="T34" fmla="*/ 16 w 664"/>
                <a:gd name="T35" fmla="*/ 6 h 662"/>
                <a:gd name="T36" fmla="*/ 22 w 664"/>
                <a:gd name="T37" fmla="*/ 2 h 662"/>
                <a:gd name="T38" fmla="*/ 30 w 664"/>
                <a:gd name="T39" fmla="*/ 0 h 662"/>
                <a:gd name="T40" fmla="*/ 36 w 664"/>
                <a:gd name="T41" fmla="*/ 0 h 662"/>
                <a:gd name="T42" fmla="*/ 626 w 664"/>
                <a:gd name="T43" fmla="*/ 0 h 662"/>
                <a:gd name="T44" fmla="*/ 626 w 664"/>
                <a:gd name="T45" fmla="*/ 0 h 662"/>
                <a:gd name="T46" fmla="*/ 634 w 664"/>
                <a:gd name="T47" fmla="*/ 0 h 662"/>
                <a:gd name="T48" fmla="*/ 640 w 664"/>
                <a:gd name="T49" fmla="*/ 2 h 662"/>
                <a:gd name="T50" fmla="*/ 648 w 664"/>
                <a:gd name="T51" fmla="*/ 6 h 662"/>
                <a:gd name="T52" fmla="*/ 652 w 664"/>
                <a:gd name="T53" fmla="*/ 10 h 662"/>
                <a:gd name="T54" fmla="*/ 658 w 664"/>
                <a:gd name="T55" fmla="*/ 16 h 662"/>
                <a:gd name="T56" fmla="*/ 660 w 664"/>
                <a:gd name="T57" fmla="*/ 22 h 662"/>
                <a:gd name="T58" fmla="*/ 662 w 664"/>
                <a:gd name="T59" fmla="*/ 28 h 662"/>
                <a:gd name="T60" fmla="*/ 664 w 664"/>
                <a:gd name="T61" fmla="*/ 36 h 662"/>
                <a:gd name="T62" fmla="*/ 664 w 664"/>
                <a:gd name="T63" fmla="*/ 626 h 662"/>
                <a:gd name="T64" fmla="*/ 664 w 664"/>
                <a:gd name="T65" fmla="*/ 626 h 662"/>
                <a:gd name="T66" fmla="*/ 662 w 664"/>
                <a:gd name="T67" fmla="*/ 634 h 662"/>
                <a:gd name="T68" fmla="*/ 660 w 664"/>
                <a:gd name="T69" fmla="*/ 640 h 662"/>
                <a:gd name="T70" fmla="*/ 658 w 664"/>
                <a:gd name="T71" fmla="*/ 646 h 662"/>
                <a:gd name="T72" fmla="*/ 652 w 664"/>
                <a:gd name="T73" fmla="*/ 652 h 662"/>
                <a:gd name="T74" fmla="*/ 648 w 664"/>
                <a:gd name="T75" fmla="*/ 656 h 662"/>
                <a:gd name="T76" fmla="*/ 640 w 664"/>
                <a:gd name="T77" fmla="*/ 660 h 662"/>
                <a:gd name="T78" fmla="*/ 634 w 664"/>
                <a:gd name="T79" fmla="*/ 662 h 662"/>
                <a:gd name="T80" fmla="*/ 626 w 664"/>
                <a:gd name="T81" fmla="*/ 662 h 662"/>
                <a:gd name="T82" fmla="*/ 626 w 664"/>
                <a:gd name="T83" fmla="*/ 662 h 662"/>
                <a:gd name="T84" fmla="*/ 74 w 664"/>
                <a:gd name="T85" fmla="*/ 590 h 662"/>
                <a:gd name="T86" fmla="*/ 590 w 664"/>
                <a:gd name="T87" fmla="*/ 590 h 662"/>
                <a:gd name="T88" fmla="*/ 590 w 664"/>
                <a:gd name="T89" fmla="*/ 74 h 662"/>
                <a:gd name="T90" fmla="*/ 74 w 664"/>
                <a:gd name="T91" fmla="*/ 74 h 662"/>
                <a:gd name="T92" fmla="*/ 74 w 664"/>
                <a:gd name="T93" fmla="*/ 59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4" h="662">
                  <a:moveTo>
                    <a:pt x="626" y="662"/>
                  </a:moveTo>
                  <a:lnTo>
                    <a:pt x="36" y="662"/>
                  </a:lnTo>
                  <a:lnTo>
                    <a:pt x="36" y="662"/>
                  </a:lnTo>
                  <a:lnTo>
                    <a:pt x="30" y="662"/>
                  </a:lnTo>
                  <a:lnTo>
                    <a:pt x="22" y="660"/>
                  </a:lnTo>
                  <a:lnTo>
                    <a:pt x="16" y="656"/>
                  </a:lnTo>
                  <a:lnTo>
                    <a:pt x="10" y="652"/>
                  </a:lnTo>
                  <a:lnTo>
                    <a:pt x="6" y="646"/>
                  </a:lnTo>
                  <a:lnTo>
                    <a:pt x="2" y="640"/>
                  </a:lnTo>
                  <a:lnTo>
                    <a:pt x="0" y="634"/>
                  </a:lnTo>
                  <a:lnTo>
                    <a:pt x="0" y="626"/>
                  </a:lnTo>
                  <a:lnTo>
                    <a:pt x="0" y="36"/>
                  </a:lnTo>
                  <a:lnTo>
                    <a:pt x="0" y="36"/>
                  </a:lnTo>
                  <a:lnTo>
                    <a:pt x="0" y="28"/>
                  </a:lnTo>
                  <a:lnTo>
                    <a:pt x="2" y="22"/>
                  </a:lnTo>
                  <a:lnTo>
                    <a:pt x="6" y="16"/>
                  </a:lnTo>
                  <a:lnTo>
                    <a:pt x="10" y="10"/>
                  </a:lnTo>
                  <a:lnTo>
                    <a:pt x="16" y="6"/>
                  </a:lnTo>
                  <a:lnTo>
                    <a:pt x="22" y="2"/>
                  </a:lnTo>
                  <a:lnTo>
                    <a:pt x="30" y="0"/>
                  </a:lnTo>
                  <a:lnTo>
                    <a:pt x="36" y="0"/>
                  </a:lnTo>
                  <a:lnTo>
                    <a:pt x="626" y="0"/>
                  </a:lnTo>
                  <a:lnTo>
                    <a:pt x="626" y="0"/>
                  </a:lnTo>
                  <a:lnTo>
                    <a:pt x="634" y="0"/>
                  </a:lnTo>
                  <a:lnTo>
                    <a:pt x="640" y="2"/>
                  </a:lnTo>
                  <a:lnTo>
                    <a:pt x="648" y="6"/>
                  </a:lnTo>
                  <a:lnTo>
                    <a:pt x="652" y="10"/>
                  </a:lnTo>
                  <a:lnTo>
                    <a:pt x="658" y="16"/>
                  </a:lnTo>
                  <a:lnTo>
                    <a:pt x="660" y="22"/>
                  </a:lnTo>
                  <a:lnTo>
                    <a:pt x="662" y="28"/>
                  </a:lnTo>
                  <a:lnTo>
                    <a:pt x="664" y="36"/>
                  </a:lnTo>
                  <a:lnTo>
                    <a:pt x="664" y="626"/>
                  </a:lnTo>
                  <a:lnTo>
                    <a:pt x="664" y="626"/>
                  </a:lnTo>
                  <a:lnTo>
                    <a:pt x="662" y="634"/>
                  </a:lnTo>
                  <a:lnTo>
                    <a:pt x="660" y="640"/>
                  </a:lnTo>
                  <a:lnTo>
                    <a:pt x="658" y="646"/>
                  </a:lnTo>
                  <a:lnTo>
                    <a:pt x="652" y="652"/>
                  </a:lnTo>
                  <a:lnTo>
                    <a:pt x="648" y="656"/>
                  </a:lnTo>
                  <a:lnTo>
                    <a:pt x="640" y="660"/>
                  </a:lnTo>
                  <a:lnTo>
                    <a:pt x="634" y="662"/>
                  </a:lnTo>
                  <a:lnTo>
                    <a:pt x="626" y="662"/>
                  </a:lnTo>
                  <a:lnTo>
                    <a:pt x="626" y="662"/>
                  </a:lnTo>
                  <a:close/>
                  <a:moveTo>
                    <a:pt x="74" y="590"/>
                  </a:moveTo>
                  <a:lnTo>
                    <a:pt x="590" y="590"/>
                  </a:lnTo>
                  <a:lnTo>
                    <a:pt x="590" y="74"/>
                  </a:lnTo>
                  <a:lnTo>
                    <a:pt x="74" y="74"/>
                  </a:lnTo>
                  <a:lnTo>
                    <a:pt x="7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122">
            <a:extLst>
              <a:ext uri="{FF2B5EF4-FFF2-40B4-BE49-F238E27FC236}">
                <a16:creationId xmlns:a16="http://schemas.microsoft.com/office/drawing/2014/main" id="{F0461D1B-C39D-4D1B-B41E-10F5DF6890C9}"/>
              </a:ext>
            </a:extLst>
          </p:cNvPr>
          <p:cNvSpPr>
            <a:spLocks noChangeAspect="1" noEditPoints="1"/>
          </p:cNvSpPr>
          <p:nvPr/>
        </p:nvSpPr>
        <p:spPr bwMode="auto">
          <a:xfrm>
            <a:off x="3178355" y="1647825"/>
            <a:ext cx="334180" cy="306484"/>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279" name="Group 46">
            <a:extLst>
              <a:ext uri="{FF2B5EF4-FFF2-40B4-BE49-F238E27FC236}">
                <a16:creationId xmlns:a16="http://schemas.microsoft.com/office/drawing/2014/main" id="{A2E72370-F696-4C54-BF42-2FE968E74233}"/>
              </a:ext>
            </a:extLst>
          </p:cNvPr>
          <p:cNvGrpSpPr>
            <a:grpSpLocks noChangeAspect="1"/>
          </p:cNvGrpSpPr>
          <p:nvPr/>
        </p:nvGrpSpPr>
        <p:grpSpPr>
          <a:xfrm>
            <a:off x="3654675" y="1713730"/>
            <a:ext cx="297777" cy="174675"/>
            <a:chOff x="8180388" y="2562226"/>
            <a:chExt cx="284162" cy="166688"/>
          </a:xfrm>
          <a:solidFill>
            <a:schemeClr val="bg2"/>
          </a:solidFill>
          <a:effectLst/>
        </p:grpSpPr>
        <p:sp>
          <p:nvSpPr>
            <p:cNvPr id="306" name="Freeform 270">
              <a:extLst>
                <a:ext uri="{FF2B5EF4-FFF2-40B4-BE49-F238E27FC236}">
                  <a16:creationId xmlns:a16="http://schemas.microsoft.com/office/drawing/2014/main" id="{348F8607-6587-4547-A1E5-434D93339263}"/>
                </a:ext>
              </a:extLst>
            </p:cNvPr>
            <p:cNvSpPr>
              <a:spLocks noEditPoints="1"/>
            </p:cNvSpPr>
            <p:nvPr/>
          </p:nvSpPr>
          <p:spPr bwMode="auto">
            <a:xfrm>
              <a:off x="8180388" y="2562226"/>
              <a:ext cx="284162" cy="166688"/>
            </a:xfrm>
            <a:custGeom>
              <a:avLst/>
              <a:gdLst>
                <a:gd name="T0" fmla="*/ 409 w 896"/>
                <a:gd name="T1" fmla="*/ 491 h 523"/>
                <a:gd name="T2" fmla="*/ 355 w 896"/>
                <a:gd name="T3" fmla="*/ 480 h 523"/>
                <a:gd name="T4" fmla="*/ 302 w 896"/>
                <a:gd name="T5" fmla="*/ 462 h 523"/>
                <a:gd name="T6" fmla="*/ 253 w 896"/>
                <a:gd name="T7" fmla="*/ 438 h 523"/>
                <a:gd name="T8" fmla="*/ 178 w 896"/>
                <a:gd name="T9" fmla="*/ 390 h 523"/>
                <a:gd name="T10" fmla="*/ 106 w 896"/>
                <a:gd name="T11" fmla="*/ 329 h 523"/>
                <a:gd name="T12" fmla="*/ 34 w 896"/>
                <a:gd name="T13" fmla="*/ 255 h 523"/>
                <a:gd name="T14" fmla="*/ 106 w 896"/>
                <a:gd name="T15" fmla="*/ 183 h 523"/>
                <a:gd name="T16" fmla="*/ 178 w 896"/>
                <a:gd name="T17" fmla="*/ 126 h 523"/>
                <a:gd name="T18" fmla="*/ 253 w 896"/>
                <a:gd name="T19" fmla="*/ 81 h 523"/>
                <a:gd name="T20" fmla="*/ 302 w 896"/>
                <a:gd name="T21" fmla="*/ 59 h 523"/>
                <a:gd name="T22" fmla="*/ 355 w 896"/>
                <a:gd name="T23" fmla="*/ 42 h 523"/>
                <a:gd name="T24" fmla="*/ 409 w 896"/>
                <a:gd name="T25" fmla="*/ 32 h 523"/>
                <a:gd name="T26" fmla="*/ 466 w 896"/>
                <a:gd name="T27" fmla="*/ 30 h 523"/>
                <a:gd name="T28" fmla="*/ 522 w 896"/>
                <a:gd name="T29" fmla="*/ 37 h 523"/>
                <a:gd name="T30" fmla="*/ 575 w 896"/>
                <a:gd name="T31" fmla="*/ 52 h 523"/>
                <a:gd name="T32" fmla="*/ 625 w 896"/>
                <a:gd name="T33" fmla="*/ 73 h 523"/>
                <a:gd name="T34" fmla="*/ 687 w 896"/>
                <a:gd name="T35" fmla="*/ 107 h 523"/>
                <a:gd name="T36" fmla="*/ 768 w 896"/>
                <a:gd name="T37" fmla="*/ 165 h 523"/>
                <a:gd name="T38" fmla="*/ 841 w 896"/>
                <a:gd name="T39" fmla="*/ 232 h 523"/>
                <a:gd name="T40" fmla="*/ 809 w 896"/>
                <a:gd name="T41" fmla="*/ 311 h 523"/>
                <a:gd name="T42" fmla="*/ 743 w 896"/>
                <a:gd name="T43" fmla="*/ 370 h 523"/>
                <a:gd name="T44" fmla="*/ 657 w 896"/>
                <a:gd name="T45" fmla="*/ 430 h 523"/>
                <a:gd name="T46" fmla="*/ 609 w 896"/>
                <a:gd name="T47" fmla="*/ 454 h 523"/>
                <a:gd name="T48" fmla="*/ 558 w 896"/>
                <a:gd name="T49" fmla="*/ 475 h 523"/>
                <a:gd name="T50" fmla="*/ 503 w 896"/>
                <a:gd name="T51" fmla="*/ 489 h 523"/>
                <a:gd name="T52" fmla="*/ 448 w 896"/>
                <a:gd name="T53" fmla="*/ 493 h 523"/>
                <a:gd name="T54" fmla="*/ 856 w 896"/>
                <a:gd name="T55" fmla="*/ 205 h 523"/>
                <a:gd name="T56" fmla="*/ 791 w 896"/>
                <a:gd name="T57" fmla="*/ 145 h 523"/>
                <a:gd name="T58" fmla="*/ 700 w 896"/>
                <a:gd name="T59" fmla="*/ 80 h 523"/>
                <a:gd name="T60" fmla="*/ 646 w 896"/>
                <a:gd name="T61" fmla="*/ 49 h 523"/>
                <a:gd name="T62" fmla="*/ 584 w 896"/>
                <a:gd name="T63" fmla="*/ 25 h 523"/>
                <a:gd name="T64" fmla="*/ 517 w 896"/>
                <a:gd name="T65" fmla="*/ 6 h 523"/>
                <a:gd name="T66" fmla="*/ 448 w 896"/>
                <a:gd name="T67" fmla="*/ 0 h 523"/>
                <a:gd name="T68" fmla="*/ 377 w 896"/>
                <a:gd name="T69" fmla="*/ 6 h 523"/>
                <a:gd name="T70" fmla="*/ 311 w 896"/>
                <a:gd name="T71" fmla="*/ 24 h 523"/>
                <a:gd name="T72" fmla="*/ 250 w 896"/>
                <a:gd name="T73" fmla="*/ 49 h 523"/>
                <a:gd name="T74" fmla="*/ 194 w 896"/>
                <a:gd name="T75" fmla="*/ 80 h 523"/>
                <a:gd name="T76" fmla="*/ 103 w 896"/>
                <a:gd name="T77" fmla="*/ 145 h 523"/>
                <a:gd name="T78" fmla="*/ 38 w 896"/>
                <a:gd name="T79" fmla="*/ 205 h 523"/>
                <a:gd name="T80" fmla="*/ 0 w 896"/>
                <a:gd name="T81" fmla="*/ 249 h 523"/>
                <a:gd name="T82" fmla="*/ 2 w 896"/>
                <a:gd name="T83" fmla="*/ 263 h 523"/>
                <a:gd name="T84" fmla="*/ 60 w 896"/>
                <a:gd name="T85" fmla="*/ 328 h 523"/>
                <a:gd name="T86" fmla="*/ 137 w 896"/>
                <a:gd name="T87" fmla="*/ 397 h 523"/>
                <a:gd name="T88" fmla="*/ 185 w 896"/>
                <a:gd name="T89" fmla="*/ 432 h 523"/>
                <a:gd name="T90" fmla="*/ 238 w 896"/>
                <a:gd name="T91" fmla="*/ 465 h 523"/>
                <a:gd name="T92" fmla="*/ 296 w 896"/>
                <a:gd name="T93" fmla="*/ 492 h 523"/>
                <a:gd name="T94" fmla="*/ 359 w 896"/>
                <a:gd name="T95" fmla="*/ 512 h 523"/>
                <a:gd name="T96" fmla="*/ 424 w 896"/>
                <a:gd name="T97" fmla="*/ 522 h 523"/>
                <a:gd name="T98" fmla="*/ 493 w 896"/>
                <a:gd name="T99" fmla="*/ 520 h 523"/>
                <a:gd name="T100" fmla="*/ 558 w 896"/>
                <a:gd name="T101" fmla="*/ 507 h 523"/>
                <a:gd name="T102" fmla="*/ 619 w 896"/>
                <a:gd name="T103" fmla="*/ 483 h 523"/>
                <a:gd name="T104" fmla="*/ 676 w 896"/>
                <a:gd name="T105" fmla="*/ 454 h 523"/>
                <a:gd name="T106" fmla="*/ 727 w 896"/>
                <a:gd name="T107" fmla="*/ 420 h 523"/>
                <a:gd name="T108" fmla="*/ 787 w 896"/>
                <a:gd name="T109" fmla="*/ 373 h 523"/>
                <a:gd name="T110" fmla="*/ 854 w 896"/>
                <a:gd name="T111" fmla="*/ 308 h 523"/>
                <a:gd name="T112" fmla="*/ 895 w 896"/>
                <a:gd name="T113" fmla="*/ 259 h 523"/>
                <a:gd name="T114" fmla="*/ 893 w 896"/>
                <a:gd name="T115" fmla="*/ 24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6" h="523">
                  <a:moveTo>
                    <a:pt x="448" y="493"/>
                  </a:moveTo>
                  <a:lnTo>
                    <a:pt x="429" y="493"/>
                  </a:lnTo>
                  <a:lnTo>
                    <a:pt x="409" y="491"/>
                  </a:lnTo>
                  <a:lnTo>
                    <a:pt x="391" y="489"/>
                  </a:lnTo>
                  <a:lnTo>
                    <a:pt x="373" y="484"/>
                  </a:lnTo>
                  <a:lnTo>
                    <a:pt x="355" y="480"/>
                  </a:lnTo>
                  <a:lnTo>
                    <a:pt x="337" y="475"/>
                  </a:lnTo>
                  <a:lnTo>
                    <a:pt x="319" y="468"/>
                  </a:lnTo>
                  <a:lnTo>
                    <a:pt x="302" y="462"/>
                  </a:lnTo>
                  <a:lnTo>
                    <a:pt x="285" y="454"/>
                  </a:lnTo>
                  <a:lnTo>
                    <a:pt x="269" y="447"/>
                  </a:lnTo>
                  <a:lnTo>
                    <a:pt x="253" y="438"/>
                  </a:lnTo>
                  <a:lnTo>
                    <a:pt x="237" y="430"/>
                  </a:lnTo>
                  <a:lnTo>
                    <a:pt x="207" y="411"/>
                  </a:lnTo>
                  <a:lnTo>
                    <a:pt x="178" y="390"/>
                  </a:lnTo>
                  <a:lnTo>
                    <a:pt x="152" y="370"/>
                  </a:lnTo>
                  <a:lnTo>
                    <a:pt x="128" y="350"/>
                  </a:lnTo>
                  <a:lnTo>
                    <a:pt x="106" y="329"/>
                  </a:lnTo>
                  <a:lnTo>
                    <a:pt x="85" y="311"/>
                  </a:lnTo>
                  <a:lnTo>
                    <a:pt x="54" y="278"/>
                  </a:lnTo>
                  <a:lnTo>
                    <a:pt x="34" y="255"/>
                  </a:lnTo>
                  <a:lnTo>
                    <a:pt x="54" y="232"/>
                  </a:lnTo>
                  <a:lnTo>
                    <a:pt x="86" y="201"/>
                  </a:lnTo>
                  <a:lnTo>
                    <a:pt x="106" y="183"/>
                  </a:lnTo>
                  <a:lnTo>
                    <a:pt x="128" y="165"/>
                  </a:lnTo>
                  <a:lnTo>
                    <a:pt x="153" y="145"/>
                  </a:lnTo>
                  <a:lnTo>
                    <a:pt x="178" y="126"/>
                  </a:lnTo>
                  <a:lnTo>
                    <a:pt x="207" y="107"/>
                  </a:lnTo>
                  <a:lnTo>
                    <a:pt x="237" y="90"/>
                  </a:lnTo>
                  <a:lnTo>
                    <a:pt x="253" y="81"/>
                  </a:lnTo>
                  <a:lnTo>
                    <a:pt x="269" y="74"/>
                  </a:lnTo>
                  <a:lnTo>
                    <a:pt x="285" y="66"/>
                  </a:lnTo>
                  <a:lnTo>
                    <a:pt x="302" y="59"/>
                  </a:lnTo>
                  <a:lnTo>
                    <a:pt x="319" y="52"/>
                  </a:lnTo>
                  <a:lnTo>
                    <a:pt x="338" y="47"/>
                  </a:lnTo>
                  <a:lnTo>
                    <a:pt x="355" y="42"/>
                  </a:lnTo>
                  <a:lnTo>
                    <a:pt x="373" y="37"/>
                  </a:lnTo>
                  <a:lnTo>
                    <a:pt x="391" y="34"/>
                  </a:lnTo>
                  <a:lnTo>
                    <a:pt x="409" y="32"/>
                  </a:lnTo>
                  <a:lnTo>
                    <a:pt x="429" y="30"/>
                  </a:lnTo>
                  <a:lnTo>
                    <a:pt x="448" y="30"/>
                  </a:lnTo>
                  <a:lnTo>
                    <a:pt x="466" y="30"/>
                  </a:lnTo>
                  <a:lnTo>
                    <a:pt x="485" y="32"/>
                  </a:lnTo>
                  <a:lnTo>
                    <a:pt x="503" y="34"/>
                  </a:lnTo>
                  <a:lnTo>
                    <a:pt x="522" y="37"/>
                  </a:lnTo>
                  <a:lnTo>
                    <a:pt x="540" y="42"/>
                  </a:lnTo>
                  <a:lnTo>
                    <a:pt x="558" y="47"/>
                  </a:lnTo>
                  <a:lnTo>
                    <a:pt x="575" y="52"/>
                  </a:lnTo>
                  <a:lnTo>
                    <a:pt x="592" y="59"/>
                  </a:lnTo>
                  <a:lnTo>
                    <a:pt x="609" y="66"/>
                  </a:lnTo>
                  <a:lnTo>
                    <a:pt x="625" y="73"/>
                  </a:lnTo>
                  <a:lnTo>
                    <a:pt x="641" y="81"/>
                  </a:lnTo>
                  <a:lnTo>
                    <a:pt x="657" y="90"/>
                  </a:lnTo>
                  <a:lnTo>
                    <a:pt x="687" y="107"/>
                  </a:lnTo>
                  <a:lnTo>
                    <a:pt x="716" y="126"/>
                  </a:lnTo>
                  <a:lnTo>
                    <a:pt x="743" y="145"/>
                  </a:lnTo>
                  <a:lnTo>
                    <a:pt x="768" y="165"/>
                  </a:lnTo>
                  <a:lnTo>
                    <a:pt x="789" y="183"/>
                  </a:lnTo>
                  <a:lnTo>
                    <a:pt x="809" y="201"/>
                  </a:lnTo>
                  <a:lnTo>
                    <a:pt x="841" y="232"/>
                  </a:lnTo>
                  <a:lnTo>
                    <a:pt x="862" y="255"/>
                  </a:lnTo>
                  <a:lnTo>
                    <a:pt x="841" y="278"/>
                  </a:lnTo>
                  <a:lnTo>
                    <a:pt x="809" y="311"/>
                  </a:lnTo>
                  <a:lnTo>
                    <a:pt x="790" y="329"/>
                  </a:lnTo>
                  <a:lnTo>
                    <a:pt x="768" y="350"/>
                  </a:lnTo>
                  <a:lnTo>
                    <a:pt x="743" y="370"/>
                  </a:lnTo>
                  <a:lnTo>
                    <a:pt x="716" y="390"/>
                  </a:lnTo>
                  <a:lnTo>
                    <a:pt x="688" y="411"/>
                  </a:lnTo>
                  <a:lnTo>
                    <a:pt x="657" y="430"/>
                  </a:lnTo>
                  <a:lnTo>
                    <a:pt x="642" y="438"/>
                  </a:lnTo>
                  <a:lnTo>
                    <a:pt x="626" y="447"/>
                  </a:lnTo>
                  <a:lnTo>
                    <a:pt x="609" y="454"/>
                  </a:lnTo>
                  <a:lnTo>
                    <a:pt x="592" y="462"/>
                  </a:lnTo>
                  <a:lnTo>
                    <a:pt x="575" y="468"/>
                  </a:lnTo>
                  <a:lnTo>
                    <a:pt x="558" y="475"/>
                  </a:lnTo>
                  <a:lnTo>
                    <a:pt x="540" y="480"/>
                  </a:lnTo>
                  <a:lnTo>
                    <a:pt x="522" y="484"/>
                  </a:lnTo>
                  <a:lnTo>
                    <a:pt x="503" y="489"/>
                  </a:lnTo>
                  <a:lnTo>
                    <a:pt x="485" y="491"/>
                  </a:lnTo>
                  <a:lnTo>
                    <a:pt x="466" y="493"/>
                  </a:lnTo>
                  <a:lnTo>
                    <a:pt x="448" y="493"/>
                  </a:lnTo>
                  <a:close/>
                  <a:moveTo>
                    <a:pt x="893" y="245"/>
                  </a:moveTo>
                  <a:lnTo>
                    <a:pt x="882" y="233"/>
                  </a:lnTo>
                  <a:lnTo>
                    <a:pt x="856" y="205"/>
                  </a:lnTo>
                  <a:lnTo>
                    <a:pt x="838" y="187"/>
                  </a:lnTo>
                  <a:lnTo>
                    <a:pt x="816" y="167"/>
                  </a:lnTo>
                  <a:lnTo>
                    <a:pt x="791" y="145"/>
                  </a:lnTo>
                  <a:lnTo>
                    <a:pt x="763" y="123"/>
                  </a:lnTo>
                  <a:lnTo>
                    <a:pt x="733" y="102"/>
                  </a:lnTo>
                  <a:lnTo>
                    <a:pt x="700" y="80"/>
                  </a:lnTo>
                  <a:lnTo>
                    <a:pt x="683" y="70"/>
                  </a:lnTo>
                  <a:lnTo>
                    <a:pt x="665" y="59"/>
                  </a:lnTo>
                  <a:lnTo>
                    <a:pt x="646" y="49"/>
                  </a:lnTo>
                  <a:lnTo>
                    <a:pt x="625" y="41"/>
                  </a:lnTo>
                  <a:lnTo>
                    <a:pt x="605" y="32"/>
                  </a:lnTo>
                  <a:lnTo>
                    <a:pt x="584" y="25"/>
                  </a:lnTo>
                  <a:lnTo>
                    <a:pt x="562" y="17"/>
                  </a:lnTo>
                  <a:lnTo>
                    <a:pt x="541" y="12"/>
                  </a:lnTo>
                  <a:lnTo>
                    <a:pt x="517" y="6"/>
                  </a:lnTo>
                  <a:lnTo>
                    <a:pt x="495" y="3"/>
                  </a:lnTo>
                  <a:lnTo>
                    <a:pt x="471" y="1"/>
                  </a:lnTo>
                  <a:lnTo>
                    <a:pt x="448" y="0"/>
                  </a:lnTo>
                  <a:lnTo>
                    <a:pt x="423" y="1"/>
                  </a:lnTo>
                  <a:lnTo>
                    <a:pt x="400" y="3"/>
                  </a:lnTo>
                  <a:lnTo>
                    <a:pt x="377" y="6"/>
                  </a:lnTo>
                  <a:lnTo>
                    <a:pt x="355" y="12"/>
                  </a:lnTo>
                  <a:lnTo>
                    <a:pt x="332" y="17"/>
                  </a:lnTo>
                  <a:lnTo>
                    <a:pt x="311" y="24"/>
                  </a:lnTo>
                  <a:lnTo>
                    <a:pt x="290" y="32"/>
                  </a:lnTo>
                  <a:lnTo>
                    <a:pt x="269" y="41"/>
                  </a:lnTo>
                  <a:lnTo>
                    <a:pt x="250" y="49"/>
                  </a:lnTo>
                  <a:lnTo>
                    <a:pt x="231" y="59"/>
                  </a:lnTo>
                  <a:lnTo>
                    <a:pt x="211" y="70"/>
                  </a:lnTo>
                  <a:lnTo>
                    <a:pt x="194" y="80"/>
                  </a:lnTo>
                  <a:lnTo>
                    <a:pt x="161" y="102"/>
                  </a:lnTo>
                  <a:lnTo>
                    <a:pt x="132" y="123"/>
                  </a:lnTo>
                  <a:lnTo>
                    <a:pt x="103" y="145"/>
                  </a:lnTo>
                  <a:lnTo>
                    <a:pt x="79" y="167"/>
                  </a:lnTo>
                  <a:lnTo>
                    <a:pt x="56" y="187"/>
                  </a:lnTo>
                  <a:lnTo>
                    <a:pt x="38" y="205"/>
                  </a:lnTo>
                  <a:lnTo>
                    <a:pt x="12" y="233"/>
                  </a:lnTo>
                  <a:lnTo>
                    <a:pt x="3" y="245"/>
                  </a:lnTo>
                  <a:lnTo>
                    <a:pt x="0" y="249"/>
                  </a:lnTo>
                  <a:lnTo>
                    <a:pt x="0" y="253"/>
                  </a:lnTo>
                  <a:lnTo>
                    <a:pt x="0" y="259"/>
                  </a:lnTo>
                  <a:lnTo>
                    <a:pt x="2" y="263"/>
                  </a:lnTo>
                  <a:lnTo>
                    <a:pt x="14" y="277"/>
                  </a:lnTo>
                  <a:lnTo>
                    <a:pt x="41" y="308"/>
                  </a:lnTo>
                  <a:lnTo>
                    <a:pt x="60" y="328"/>
                  </a:lnTo>
                  <a:lnTo>
                    <a:pt x="82" y="350"/>
                  </a:lnTo>
                  <a:lnTo>
                    <a:pt x="108" y="373"/>
                  </a:lnTo>
                  <a:lnTo>
                    <a:pt x="137" y="397"/>
                  </a:lnTo>
                  <a:lnTo>
                    <a:pt x="152" y="409"/>
                  </a:lnTo>
                  <a:lnTo>
                    <a:pt x="168" y="420"/>
                  </a:lnTo>
                  <a:lnTo>
                    <a:pt x="185" y="432"/>
                  </a:lnTo>
                  <a:lnTo>
                    <a:pt x="202" y="444"/>
                  </a:lnTo>
                  <a:lnTo>
                    <a:pt x="219" y="454"/>
                  </a:lnTo>
                  <a:lnTo>
                    <a:pt x="238" y="465"/>
                  </a:lnTo>
                  <a:lnTo>
                    <a:pt x="256" y="475"/>
                  </a:lnTo>
                  <a:lnTo>
                    <a:pt x="276" y="483"/>
                  </a:lnTo>
                  <a:lnTo>
                    <a:pt x="296" y="492"/>
                  </a:lnTo>
                  <a:lnTo>
                    <a:pt x="316" y="499"/>
                  </a:lnTo>
                  <a:lnTo>
                    <a:pt x="338" y="507"/>
                  </a:lnTo>
                  <a:lnTo>
                    <a:pt x="359" y="512"/>
                  </a:lnTo>
                  <a:lnTo>
                    <a:pt x="380" y="517"/>
                  </a:lnTo>
                  <a:lnTo>
                    <a:pt x="402" y="520"/>
                  </a:lnTo>
                  <a:lnTo>
                    <a:pt x="424" y="522"/>
                  </a:lnTo>
                  <a:lnTo>
                    <a:pt x="448" y="523"/>
                  </a:lnTo>
                  <a:lnTo>
                    <a:pt x="470" y="522"/>
                  </a:lnTo>
                  <a:lnTo>
                    <a:pt x="493" y="520"/>
                  </a:lnTo>
                  <a:lnTo>
                    <a:pt x="514" y="517"/>
                  </a:lnTo>
                  <a:lnTo>
                    <a:pt x="537" y="512"/>
                  </a:lnTo>
                  <a:lnTo>
                    <a:pt x="558" y="507"/>
                  </a:lnTo>
                  <a:lnTo>
                    <a:pt x="578" y="499"/>
                  </a:lnTo>
                  <a:lnTo>
                    <a:pt x="599" y="492"/>
                  </a:lnTo>
                  <a:lnTo>
                    <a:pt x="619" y="483"/>
                  </a:lnTo>
                  <a:lnTo>
                    <a:pt x="638" y="475"/>
                  </a:lnTo>
                  <a:lnTo>
                    <a:pt x="657" y="465"/>
                  </a:lnTo>
                  <a:lnTo>
                    <a:pt x="676" y="454"/>
                  </a:lnTo>
                  <a:lnTo>
                    <a:pt x="694" y="444"/>
                  </a:lnTo>
                  <a:lnTo>
                    <a:pt x="711" y="432"/>
                  </a:lnTo>
                  <a:lnTo>
                    <a:pt x="727" y="420"/>
                  </a:lnTo>
                  <a:lnTo>
                    <a:pt x="743" y="409"/>
                  </a:lnTo>
                  <a:lnTo>
                    <a:pt x="758" y="397"/>
                  </a:lnTo>
                  <a:lnTo>
                    <a:pt x="787" y="373"/>
                  </a:lnTo>
                  <a:lnTo>
                    <a:pt x="813" y="350"/>
                  </a:lnTo>
                  <a:lnTo>
                    <a:pt x="835" y="328"/>
                  </a:lnTo>
                  <a:lnTo>
                    <a:pt x="854" y="308"/>
                  </a:lnTo>
                  <a:lnTo>
                    <a:pt x="881" y="277"/>
                  </a:lnTo>
                  <a:lnTo>
                    <a:pt x="893" y="263"/>
                  </a:lnTo>
                  <a:lnTo>
                    <a:pt x="895" y="259"/>
                  </a:lnTo>
                  <a:lnTo>
                    <a:pt x="896" y="253"/>
                  </a:lnTo>
                  <a:lnTo>
                    <a:pt x="895" y="249"/>
                  </a:lnTo>
                  <a:lnTo>
                    <a:pt x="893" y="245"/>
                  </a:lnTo>
                  <a:lnTo>
                    <a:pt x="89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307" name="Freeform 271">
              <a:extLst>
                <a:ext uri="{FF2B5EF4-FFF2-40B4-BE49-F238E27FC236}">
                  <a16:creationId xmlns:a16="http://schemas.microsoft.com/office/drawing/2014/main" id="{ADF9C940-01A0-4C29-87FF-5CF9832649B8}"/>
                </a:ext>
              </a:extLst>
            </p:cNvPr>
            <p:cNvSpPr>
              <a:spLocks noEditPoints="1"/>
            </p:cNvSpPr>
            <p:nvPr/>
          </p:nvSpPr>
          <p:spPr bwMode="auto">
            <a:xfrm>
              <a:off x="8269288" y="2590801"/>
              <a:ext cx="104775" cy="104775"/>
            </a:xfrm>
            <a:custGeom>
              <a:avLst/>
              <a:gdLst>
                <a:gd name="T0" fmla="*/ 137 w 328"/>
                <a:gd name="T1" fmla="*/ 296 h 328"/>
                <a:gd name="T2" fmla="*/ 101 w 328"/>
                <a:gd name="T3" fmla="*/ 282 h 328"/>
                <a:gd name="T4" fmla="*/ 70 w 328"/>
                <a:gd name="T5" fmla="*/ 259 h 328"/>
                <a:gd name="T6" fmla="*/ 46 w 328"/>
                <a:gd name="T7" fmla="*/ 228 h 328"/>
                <a:gd name="T8" fmla="*/ 32 w 328"/>
                <a:gd name="T9" fmla="*/ 191 h 328"/>
                <a:gd name="T10" fmla="*/ 31 w 328"/>
                <a:gd name="T11" fmla="*/ 151 h 328"/>
                <a:gd name="T12" fmla="*/ 41 w 328"/>
                <a:gd name="T13" fmla="*/ 112 h 328"/>
                <a:gd name="T14" fmla="*/ 61 w 328"/>
                <a:gd name="T15" fmla="*/ 79 h 328"/>
                <a:gd name="T16" fmla="*/ 89 w 328"/>
                <a:gd name="T17" fmla="*/ 52 h 328"/>
                <a:gd name="T18" fmla="*/ 124 w 328"/>
                <a:gd name="T19" fmla="*/ 35 h 328"/>
                <a:gd name="T20" fmla="*/ 165 w 328"/>
                <a:gd name="T21" fmla="*/ 30 h 328"/>
                <a:gd name="T22" fmla="*/ 204 w 328"/>
                <a:gd name="T23" fmla="*/ 35 h 328"/>
                <a:gd name="T24" fmla="*/ 240 w 328"/>
                <a:gd name="T25" fmla="*/ 52 h 328"/>
                <a:gd name="T26" fmla="*/ 269 w 328"/>
                <a:gd name="T27" fmla="*/ 79 h 328"/>
                <a:gd name="T28" fmla="*/ 289 w 328"/>
                <a:gd name="T29" fmla="*/ 112 h 328"/>
                <a:gd name="T30" fmla="*/ 299 w 328"/>
                <a:gd name="T31" fmla="*/ 151 h 328"/>
                <a:gd name="T32" fmla="*/ 296 w 328"/>
                <a:gd name="T33" fmla="*/ 191 h 328"/>
                <a:gd name="T34" fmla="*/ 282 w 328"/>
                <a:gd name="T35" fmla="*/ 228 h 328"/>
                <a:gd name="T36" fmla="*/ 260 w 328"/>
                <a:gd name="T37" fmla="*/ 259 h 328"/>
                <a:gd name="T38" fmla="*/ 229 w 328"/>
                <a:gd name="T39" fmla="*/ 282 h 328"/>
                <a:gd name="T40" fmla="*/ 192 w 328"/>
                <a:gd name="T41" fmla="*/ 296 h 328"/>
                <a:gd name="T42" fmla="*/ 165 w 328"/>
                <a:gd name="T43" fmla="*/ 298 h 328"/>
                <a:gd name="T44" fmla="*/ 132 w 328"/>
                <a:gd name="T45" fmla="*/ 3 h 328"/>
                <a:gd name="T46" fmla="*/ 86 w 328"/>
                <a:gd name="T47" fmla="*/ 19 h 328"/>
                <a:gd name="T48" fmla="*/ 48 w 328"/>
                <a:gd name="T49" fmla="*/ 48 h 328"/>
                <a:gd name="T50" fmla="*/ 20 w 328"/>
                <a:gd name="T51" fmla="*/ 85 h 328"/>
                <a:gd name="T52" fmla="*/ 3 w 328"/>
                <a:gd name="T53" fmla="*/ 131 h 328"/>
                <a:gd name="T54" fmla="*/ 1 w 328"/>
                <a:gd name="T55" fmla="*/ 181 h 328"/>
                <a:gd name="T56" fmla="*/ 13 w 328"/>
                <a:gd name="T57" fmla="*/ 228 h 328"/>
                <a:gd name="T58" fmla="*/ 38 w 328"/>
                <a:gd name="T59" fmla="*/ 268 h 328"/>
                <a:gd name="T60" fmla="*/ 73 w 328"/>
                <a:gd name="T61" fmla="*/ 300 h 328"/>
                <a:gd name="T62" fmla="*/ 116 w 328"/>
                <a:gd name="T63" fmla="*/ 321 h 328"/>
                <a:gd name="T64" fmla="*/ 165 w 328"/>
                <a:gd name="T65" fmla="*/ 328 h 328"/>
                <a:gd name="T66" fmla="*/ 213 w 328"/>
                <a:gd name="T67" fmla="*/ 321 h 328"/>
                <a:gd name="T68" fmla="*/ 257 w 328"/>
                <a:gd name="T69" fmla="*/ 300 h 328"/>
                <a:gd name="T70" fmla="*/ 291 w 328"/>
                <a:gd name="T71" fmla="*/ 268 h 328"/>
                <a:gd name="T72" fmla="*/ 316 w 328"/>
                <a:gd name="T73" fmla="*/ 228 h 328"/>
                <a:gd name="T74" fmla="*/ 328 w 328"/>
                <a:gd name="T75" fmla="*/ 181 h 328"/>
                <a:gd name="T76" fmla="*/ 325 w 328"/>
                <a:gd name="T77" fmla="*/ 131 h 328"/>
                <a:gd name="T78" fmla="*/ 309 w 328"/>
                <a:gd name="T79" fmla="*/ 85 h 328"/>
                <a:gd name="T80" fmla="*/ 280 w 328"/>
                <a:gd name="T81" fmla="*/ 48 h 328"/>
                <a:gd name="T82" fmla="*/ 243 w 328"/>
                <a:gd name="T83" fmla="*/ 19 h 328"/>
                <a:gd name="T84" fmla="*/ 198 w 328"/>
                <a:gd name="T85" fmla="*/ 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328">
                  <a:moveTo>
                    <a:pt x="165" y="298"/>
                  </a:moveTo>
                  <a:lnTo>
                    <a:pt x="151" y="298"/>
                  </a:lnTo>
                  <a:lnTo>
                    <a:pt x="137" y="296"/>
                  </a:lnTo>
                  <a:lnTo>
                    <a:pt x="124" y="293"/>
                  </a:lnTo>
                  <a:lnTo>
                    <a:pt x="112" y="288"/>
                  </a:lnTo>
                  <a:lnTo>
                    <a:pt x="101" y="282"/>
                  </a:lnTo>
                  <a:lnTo>
                    <a:pt x="89" y="276"/>
                  </a:lnTo>
                  <a:lnTo>
                    <a:pt x="79" y="267"/>
                  </a:lnTo>
                  <a:lnTo>
                    <a:pt x="70" y="259"/>
                  </a:lnTo>
                  <a:lnTo>
                    <a:pt x="61" y="249"/>
                  </a:lnTo>
                  <a:lnTo>
                    <a:pt x="52" y="239"/>
                  </a:lnTo>
                  <a:lnTo>
                    <a:pt x="46" y="228"/>
                  </a:lnTo>
                  <a:lnTo>
                    <a:pt x="41" y="216"/>
                  </a:lnTo>
                  <a:lnTo>
                    <a:pt x="36" y="204"/>
                  </a:lnTo>
                  <a:lnTo>
                    <a:pt x="32" y="191"/>
                  </a:lnTo>
                  <a:lnTo>
                    <a:pt x="31" y="177"/>
                  </a:lnTo>
                  <a:lnTo>
                    <a:pt x="30" y="165"/>
                  </a:lnTo>
                  <a:lnTo>
                    <a:pt x="31" y="151"/>
                  </a:lnTo>
                  <a:lnTo>
                    <a:pt x="32" y="137"/>
                  </a:lnTo>
                  <a:lnTo>
                    <a:pt x="36" y="124"/>
                  </a:lnTo>
                  <a:lnTo>
                    <a:pt x="41" y="112"/>
                  </a:lnTo>
                  <a:lnTo>
                    <a:pt x="46" y="100"/>
                  </a:lnTo>
                  <a:lnTo>
                    <a:pt x="52" y="89"/>
                  </a:lnTo>
                  <a:lnTo>
                    <a:pt x="61" y="79"/>
                  </a:lnTo>
                  <a:lnTo>
                    <a:pt x="70" y="69"/>
                  </a:lnTo>
                  <a:lnTo>
                    <a:pt x="79" y="61"/>
                  </a:lnTo>
                  <a:lnTo>
                    <a:pt x="89" y="52"/>
                  </a:lnTo>
                  <a:lnTo>
                    <a:pt x="101" y="46"/>
                  </a:lnTo>
                  <a:lnTo>
                    <a:pt x="112" y="41"/>
                  </a:lnTo>
                  <a:lnTo>
                    <a:pt x="124" y="35"/>
                  </a:lnTo>
                  <a:lnTo>
                    <a:pt x="137" y="32"/>
                  </a:lnTo>
                  <a:lnTo>
                    <a:pt x="151" y="30"/>
                  </a:lnTo>
                  <a:lnTo>
                    <a:pt x="165" y="30"/>
                  </a:lnTo>
                  <a:lnTo>
                    <a:pt x="178" y="30"/>
                  </a:lnTo>
                  <a:lnTo>
                    <a:pt x="192" y="32"/>
                  </a:lnTo>
                  <a:lnTo>
                    <a:pt x="204" y="35"/>
                  </a:lnTo>
                  <a:lnTo>
                    <a:pt x="217" y="41"/>
                  </a:lnTo>
                  <a:lnTo>
                    <a:pt x="229" y="46"/>
                  </a:lnTo>
                  <a:lnTo>
                    <a:pt x="240" y="52"/>
                  </a:lnTo>
                  <a:lnTo>
                    <a:pt x="250" y="61"/>
                  </a:lnTo>
                  <a:lnTo>
                    <a:pt x="260" y="69"/>
                  </a:lnTo>
                  <a:lnTo>
                    <a:pt x="269" y="79"/>
                  </a:lnTo>
                  <a:lnTo>
                    <a:pt x="276" y="89"/>
                  </a:lnTo>
                  <a:lnTo>
                    <a:pt x="282" y="100"/>
                  </a:lnTo>
                  <a:lnTo>
                    <a:pt x="289" y="112"/>
                  </a:lnTo>
                  <a:lnTo>
                    <a:pt x="293" y="124"/>
                  </a:lnTo>
                  <a:lnTo>
                    <a:pt x="296" y="137"/>
                  </a:lnTo>
                  <a:lnTo>
                    <a:pt x="299" y="151"/>
                  </a:lnTo>
                  <a:lnTo>
                    <a:pt x="299" y="165"/>
                  </a:lnTo>
                  <a:lnTo>
                    <a:pt x="299" y="177"/>
                  </a:lnTo>
                  <a:lnTo>
                    <a:pt x="296" y="191"/>
                  </a:lnTo>
                  <a:lnTo>
                    <a:pt x="293" y="204"/>
                  </a:lnTo>
                  <a:lnTo>
                    <a:pt x="289" y="216"/>
                  </a:lnTo>
                  <a:lnTo>
                    <a:pt x="282" y="228"/>
                  </a:lnTo>
                  <a:lnTo>
                    <a:pt x="276" y="239"/>
                  </a:lnTo>
                  <a:lnTo>
                    <a:pt x="269" y="249"/>
                  </a:lnTo>
                  <a:lnTo>
                    <a:pt x="260" y="259"/>
                  </a:lnTo>
                  <a:lnTo>
                    <a:pt x="250" y="267"/>
                  </a:lnTo>
                  <a:lnTo>
                    <a:pt x="240" y="276"/>
                  </a:lnTo>
                  <a:lnTo>
                    <a:pt x="229" y="282"/>
                  </a:lnTo>
                  <a:lnTo>
                    <a:pt x="217" y="288"/>
                  </a:lnTo>
                  <a:lnTo>
                    <a:pt x="204" y="293"/>
                  </a:lnTo>
                  <a:lnTo>
                    <a:pt x="192" y="296"/>
                  </a:lnTo>
                  <a:lnTo>
                    <a:pt x="178" y="298"/>
                  </a:lnTo>
                  <a:lnTo>
                    <a:pt x="165" y="298"/>
                  </a:lnTo>
                  <a:lnTo>
                    <a:pt x="165" y="298"/>
                  </a:lnTo>
                  <a:close/>
                  <a:moveTo>
                    <a:pt x="165" y="0"/>
                  </a:moveTo>
                  <a:lnTo>
                    <a:pt x="148" y="1"/>
                  </a:lnTo>
                  <a:lnTo>
                    <a:pt x="132" y="3"/>
                  </a:lnTo>
                  <a:lnTo>
                    <a:pt x="116" y="7"/>
                  </a:lnTo>
                  <a:lnTo>
                    <a:pt x="101" y="13"/>
                  </a:lnTo>
                  <a:lnTo>
                    <a:pt x="86" y="19"/>
                  </a:lnTo>
                  <a:lnTo>
                    <a:pt x="73" y="28"/>
                  </a:lnTo>
                  <a:lnTo>
                    <a:pt x="60" y="37"/>
                  </a:lnTo>
                  <a:lnTo>
                    <a:pt x="48" y="48"/>
                  </a:lnTo>
                  <a:lnTo>
                    <a:pt x="38" y="60"/>
                  </a:lnTo>
                  <a:lnTo>
                    <a:pt x="28" y="73"/>
                  </a:lnTo>
                  <a:lnTo>
                    <a:pt x="20" y="85"/>
                  </a:lnTo>
                  <a:lnTo>
                    <a:pt x="13" y="100"/>
                  </a:lnTo>
                  <a:lnTo>
                    <a:pt x="8" y="115"/>
                  </a:lnTo>
                  <a:lnTo>
                    <a:pt x="3" y="131"/>
                  </a:lnTo>
                  <a:lnTo>
                    <a:pt x="1" y="147"/>
                  </a:lnTo>
                  <a:lnTo>
                    <a:pt x="0" y="165"/>
                  </a:lnTo>
                  <a:lnTo>
                    <a:pt x="1" y="181"/>
                  </a:lnTo>
                  <a:lnTo>
                    <a:pt x="3" y="197"/>
                  </a:lnTo>
                  <a:lnTo>
                    <a:pt x="8" y="213"/>
                  </a:lnTo>
                  <a:lnTo>
                    <a:pt x="13" y="228"/>
                  </a:lnTo>
                  <a:lnTo>
                    <a:pt x="20" y="243"/>
                  </a:lnTo>
                  <a:lnTo>
                    <a:pt x="28" y="255"/>
                  </a:lnTo>
                  <a:lnTo>
                    <a:pt x="38" y="268"/>
                  </a:lnTo>
                  <a:lnTo>
                    <a:pt x="48" y="280"/>
                  </a:lnTo>
                  <a:lnTo>
                    <a:pt x="60" y="291"/>
                  </a:lnTo>
                  <a:lnTo>
                    <a:pt x="73" y="300"/>
                  </a:lnTo>
                  <a:lnTo>
                    <a:pt x="86" y="309"/>
                  </a:lnTo>
                  <a:lnTo>
                    <a:pt x="101" y="315"/>
                  </a:lnTo>
                  <a:lnTo>
                    <a:pt x="116" y="321"/>
                  </a:lnTo>
                  <a:lnTo>
                    <a:pt x="132" y="325"/>
                  </a:lnTo>
                  <a:lnTo>
                    <a:pt x="148" y="327"/>
                  </a:lnTo>
                  <a:lnTo>
                    <a:pt x="165" y="328"/>
                  </a:lnTo>
                  <a:lnTo>
                    <a:pt x="181" y="327"/>
                  </a:lnTo>
                  <a:lnTo>
                    <a:pt x="198" y="325"/>
                  </a:lnTo>
                  <a:lnTo>
                    <a:pt x="213" y="321"/>
                  </a:lnTo>
                  <a:lnTo>
                    <a:pt x="228" y="315"/>
                  </a:lnTo>
                  <a:lnTo>
                    <a:pt x="243" y="309"/>
                  </a:lnTo>
                  <a:lnTo>
                    <a:pt x="257" y="300"/>
                  </a:lnTo>
                  <a:lnTo>
                    <a:pt x="269" y="291"/>
                  </a:lnTo>
                  <a:lnTo>
                    <a:pt x="280" y="280"/>
                  </a:lnTo>
                  <a:lnTo>
                    <a:pt x="291" y="268"/>
                  </a:lnTo>
                  <a:lnTo>
                    <a:pt x="301" y="255"/>
                  </a:lnTo>
                  <a:lnTo>
                    <a:pt x="309" y="243"/>
                  </a:lnTo>
                  <a:lnTo>
                    <a:pt x="316" y="228"/>
                  </a:lnTo>
                  <a:lnTo>
                    <a:pt x="321" y="213"/>
                  </a:lnTo>
                  <a:lnTo>
                    <a:pt x="325" y="197"/>
                  </a:lnTo>
                  <a:lnTo>
                    <a:pt x="328" y="181"/>
                  </a:lnTo>
                  <a:lnTo>
                    <a:pt x="328" y="165"/>
                  </a:lnTo>
                  <a:lnTo>
                    <a:pt x="328" y="147"/>
                  </a:lnTo>
                  <a:lnTo>
                    <a:pt x="325" y="131"/>
                  </a:lnTo>
                  <a:lnTo>
                    <a:pt x="321" y="115"/>
                  </a:lnTo>
                  <a:lnTo>
                    <a:pt x="316" y="100"/>
                  </a:lnTo>
                  <a:lnTo>
                    <a:pt x="309" y="85"/>
                  </a:lnTo>
                  <a:lnTo>
                    <a:pt x="301" y="73"/>
                  </a:lnTo>
                  <a:lnTo>
                    <a:pt x="291" y="60"/>
                  </a:lnTo>
                  <a:lnTo>
                    <a:pt x="280" y="48"/>
                  </a:lnTo>
                  <a:lnTo>
                    <a:pt x="269" y="37"/>
                  </a:lnTo>
                  <a:lnTo>
                    <a:pt x="257" y="28"/>
                  </a:lnTo>
                  <a:lnTo>
                    <a:pt x="243" y="19"/>
                  </a:lnTo>
                  <a:lnTo>
                    <a:pt x="228" y="13"/>
                  </a:lnTo>
                  <a:lnTo>
                    <a:pt x="213" y="7"/>
                  </a:lnTo>
                  <a:lnTo>
                    <a:pt x="198" y="3"/>
                  </a:lnTo>
                  <a:lnTo>
                    <a:pt x="181" y="1"/>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308" name="Freeform 272">
              <a:extLst>
                <a:ext uri="{FF2B5EF4-FFF2-40B4-BE49-F238E27FC236}">
                  <a16:creationId xmlns:a16="http://schemas.microsoft.com/office/drawing/2014/main" id="{1A467A55-C9B1-41D7-9587-46776E471A85}"/>
                </a:ext>
              </a:extLst>
            </p:cNvPr>
            <p:cNvSpPr>
              <a:spLocks/>
            </p:cNvSpPr>
            <p:nvPr/>
          </p:nvSpPr>
          <p:spPr bwMode="auto">
            <a:xfrm>
              <a:off x="8293100" y="2614613"/>
              <a:ext cx="57150" cy="57150"/>
            </a:xfrm>
            <a:custGeom>
              <a:avLst/>
              <a:gdLst>
                <a:gd name="T0" fmla="*/ 83 w 179"/>
                <a:gd name="T1" fmla="*/ 1 h 178"/>
                <a:gd name="T2" fmla="*/ 77 w 179"/>
                <a:gd name="T3" fmla="*/ 6 h 178"/>
                <a:gd name="T4" fmla="*/ 75 w 179"/>
                <a:gd name="T5" fmla="*/ 15 h 178"/>
                <a:gd name="T6" fmla="*/ 77 w 179"/>
                <a:gd name="T7" fmla="*/ 22 h 178"/>
                <a:gd name="T8" fmla="*/ 83 w 179"/>
                <a:gd name="T9" fmla="*/ 29 h 178"/>
                <a:gd name="T10" fmla="*/ 95 w 179"/>
                <a:gd name="T11" fmla="*/ 30 h 178"/>
                <a:gd name="T12" fmla="*/ 112 w 179"/>
                <a:gd name="T13" fmla="*/ 34 h 178"/>
                <a:gd name="T14" fmla="*/ 127 w 179"/>
                <a:gd name="T15" fmla="*/ 42 h 178"/>
                <a:gd name="T16" fmla="*/ 139 w 179"/>
                <a:gd name="T17" fmla="*/ 55 h 178"/>
                <a:gd name="T18" fmla="*/ 147 w 179"/>
                <a:gd name="T19" fmla="*/ 71 h 178"/>
                <a:gd name="T20" fmla="*/ 150 w 179"/>
                <a:gd name="T21" fmla="*/ 90 h 178"/>
                <a:gd name="T22" fmla="*/ 147 w 179"/>
                <a:gd name="T23" fmla="*/ 107 h 178"/>
                <a:gd name="T24" fmla="*/ 139 w 179"/>
                <a:gd name="T25" fmla="*/ 123 h 178"/>
                <a:gd name="T26" fmla="*/ 127 w 179"/>
                <a:gd name="T27" fmla="*/ 136 h 178"/>
                <a:gd name="T28" fmla="*/ 112 w 179"/>
                <a:gd name="T29" fmla="*/ 144 h 178"/>
                <a:gd name="T30" fmla="*/ 95 w 179"/>
                <a:gd name="T31" fmla="*/ 148 h 178"/>
                <a:gd name="T32" fmla="*/ 77 w 179"/>
                <a:gd name="T33" fmla="*/ 147 h 178"/>
                <a:gd name="T34" fmla="*/ 61 w 179"/>
                <a:gd name="T35" fmla="*/ 142 h 178"/>
                <a:gd name="T36" fmla="*/ 47 w 179"/>
                <a:gd name="T37" fmla="*/ 131 h 178"/>
                <a:gd name="T38" fmla="*/ 37 w 179"/>
                <a:gd name="T39" fmla="*/ 117 h 178"/>
                <a:gd name="T40" fmla="*/ 31 w 179"/>
                <a:gd name="T41" fmla="*/ 101 h 178"/>
                <a:gd name="T42" fmla="*/ 29 w 179"/>
                <a:gd name="T43" fmla="*/ 86 h 178"/>
                <a:gd name="T44" fmla="*/ 26 w 179"/>
                <a:gd name="T45" fmla="*/ 79 h 178"/>
                <a:gd name="T46" fmla="*/ 18 w 179"/>
                <a:gd name="T47" fmla="*/ 75 h 178"/>
                <a:gd name="T48" fmla="*/ 9 w 179"/>
                <a:gd name="T49" fmla="*/ 76 h 178"/>
                <a:gd name="T50" fmla="*/ 2 w 179"/>
                <a:gd name="T51" fmla="*/ 81 h 178"/>
                <a:gd name="T52" fmla="*/ 0 w 179"/>
                <a:gd name="T53" fmla="*/ 90 h 178"/>
                <a:gd name="T54" fmla="*/ 4 w 179"/>
                <a:gd name="T55" fmla="*/ 115 h 178"/>
                <a:gd name="T56" fmla="*/ 15 w 179"/>
                <a:gd name="T57" fmla="*/ 139 h 178"/>
                <a:gd name="T58" fmla="*/ 32 w 179"/>
                <a:gd name="T59" fmla="*/ 158 h 178"/>
                <a:gd name="T60" fmla="*/ 55 w 179"/>
                <a:gd name="T61" fmla="*/ 172 h 178"/>
                <a:gd name="T62" fmla="*/ 80 w 179"/>
                <a:gd name="T63" fmla="*/ 178 h 178"/>
                <a:gd name="T64" fmla="*/ 108 w 179"/>
                <a:gd name="T65" fmla="*/ 177 h 178"/>
                <a:gd name="T66" fmla="*/ 133 w 179"/>
                <a:gd name="T67" fmla="*/ 168 h 178"/>
                <a:gd name="T68" fmla="*/ 153 w 179"/>
                <a:gd name="T69" fmla="*/ 153 h 178"/>
                <a:gd name="T70" fmla="*/ 168 w 179"/>
                <a:gd name="T71" fmla="*/ 131 h 178"/>
                <a:gd name="T72" fmla="*/ 178 w 179"/>
                <a:gd name="T73" fmla="*/ 107 h 178"/>
                <a:gd name="T74" fmla="*/ 179 w 179"/>
                <a:gd name="T75" fmla="*/ 80 h 178"/>
                <a:gd name="T76" fmla="*/ 172 w 179"/>
                <a:gd name="T77" fmla="*/ 54 h 178"/>
                <a:gd name="T78" fmla="*/ 158 w 179"/>
                <a:gd name="T79" fmla="*/ 32 h 178"/>
                <a:gd name="T80" fmla="*/ 139 w 179"/>
                <a:gd name="T81" fmla="*/ 15 h 178"/>
                <a:gd name="T82" fmla="*/ 117 w 179"/>
                <a:gd name="T83" fmla="*/ 4 h 178"/>
                <a:gd name="T84" fmla="*/ 90 w 179"/>
                <a:gd name="T8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9" h="178">
                  <a:moveTo>
                    <a:pt x="90" y="0"/>
                  </a:moveTo>
                  <a:lnTo>
                    <a:pt x="87" y="0"/>
                  </a:lnTo>
                  <a:lnTo>
                    <a:pt x="83" y="1"/>
                  </a:lnTo>
                  <a:lnTo>
                    <a:pt x="81" y="2"/>
                  </a:lnTo>
                  <a:lnTo>
                    <a:pt x="79" y="4"/>
                  </a:lnTo>
                  <a:lnTo>
                    <a:pt x="77" y="6"/>
                  </a:lnTo>
                  <a:lnTo>
                    <a:pt x="76" y="8"/>
                  </a:lnTo>
                  <a:lnTo>
                    <a:pt x="75" y="11"/>
                  </a:lnTo>
                  <a:lnTo>
                    <a:pt x="75" y="15"/>
                  </a:lnTo>
                  <a:lnTo>
                    <a:pt x="75" y="18"/>
                  </a:lnTo>
                  <a:lnTo>
                    <a:pt x="76" y="20"/>
                  </a:lnTo>
                  <a:lnTo>
                    <a:pt x="77" y="22"/>
                  </a:lnTo>
                  <a:lnTo>
                    <a:pt x="79" y="25"/>
                  </a:lnTo>
                  <a:lnTo>
                    <a:pt x="81" y="26"/>
                  </a:lnTo>
                  <a:lnTo>
                    <a:pt x="83" y="29"/>
                  </a:lnTo>
                  <a:lnTo>
                    <a:pt x="87" y="29"/>
                  </a:lnTo>
                  <a:lnTo>
                    <a:pt x="90" y="30"/>
                  </a:lnTo>
                  <a:lnTo>
                    <a:pt x="95" y="30"/>
                  </a:lnTo>
                  <a:lnTo>
                    <a:pt x="102" y="31"/>
                  </a:lnTo>
                  <a:lnTo>
                    <a:pt x="107" y="32"/>
                  </a:lnTo>
                  <a:lnTo>
                    <a:pt x="112" y="34"/>
                  </a:lnTo>
                  <a:lnTo>
                    <a:pt x="118" y="36"/>
                  </a:lnTo>
                  <a:lnTo>
                    <a:pt x="123" y="39"/>
                  </a:lnTo>
                  <a:lnTo>
                    <a:pt x="127" y="42"/>
                  </a:lnTo>
                  <a:lnTo>
                    <a:pt x="132" y="47"/>
                  </a:lnTo>
                  <a:lnTo>
                    <a:pt x="136" y="51"/>
                  </a:lnTo>
                  <a:lnTo>
                    <a:pt x="139" y="55"/>
                  </a:lnTo>
                  <a:lnTo>
                    <a:pt x="142" y="61"/>
                  </a:lnTo>
                  <a:lnTo>
                    <a:pt x="144" y="66"/>
                  </a:lnTo>
                  <a:lnTo>
                    <a:pt x="147" y="71"/>
                  </a:lnTo>
                  <a:lnTo>
                    <a:pt x="148" y="77"/>
                  </a:lnTo>
                  <a:lnTo>
                    <a:pt x="149" y="83"/>
                  </a:lnTo>
                  <a:lnTo>
                    <a:pt x="150" y="90"/>
                  </a:lnTo>
                  <a:lnTo>
                    <a:pt x="149" y="95"/>
                  </a:lnTo>
                  <a:lnTo>
                    <a:pt x="148" y="101"/>
                  </a:lnTo>
                  <a:lnTo>
                    <a:pt x="147" y="107"/>
                  </a:lnTo>
                  <a:lnTo>
                    <a:pt x="144" y="112"/>
                  </a:lnTo>
                  <a:lnTo>
                    <a:pt x="142" y="117"/>
                  </a:lnTo>
                  <a:lnTo>
                    <a:pt x="139" y="123"/>
                  </a:lnTo>
                  <a:lnTo>
                    <a:pt x="136" y="127"/>
                  </a:lnTo>
                  <a:lnTo>
                    <a:pt x="132" y="131"/>
                  </a:lnTo>
                  <a:lnTo>
                    <a:pt x="127" y="136"/>
                  </a:lnTo>
                  <a:lnTo>
                    <a:pt x="123" y="139"/>
                  </a:lnTo>
                  <a:lnTo>
                    <a:pt x="118" y="142"/>
                  </a:lnTo>
                  <a:lnTo>
                    <a:pt x="112" y="144"/>
                  </a:lnTo>
                  <a:lnTo>
                    <a:pt x="107" y="146"/>
                  </a:lnTo>
                  <a:lnTo>
                    <a:pt x="102" y="147"/>
                  </a:lnTo>
                  <a:lnTo>
                    <a:pt x="95" y="148"/>
                  </a:lnTo>
                  <a:lnTo>
                    <a:pt x="90" y="148"/>
                  </a:lnTo>
                  <a:lnTo>
                    <a:pt x="83" y="148"/>
                  </a:lnTo>
                  <a:lnTo>
                    <a:pt x="77" y="147"/>
                  </a:lnTo>
                  <a:lnTo>
                    <a:pt x="72" y="146"/>
                  </a:lnTo>
                  <a:lnTo>
                    <a:pt x="66" y="144"/>
                  </a:lnTo>
                  <a:lnTo>
                    <a:pt x="61" y="142"/>
                  </a:lnTo>
                  <a:lnTo>
                    <a:pt x="56" y="139"/>
                  </a:lnTo>
                  <a:lnTo>
                    <a:pt x="51" y="136"/>
                  </a:lnTo>
                  <a:lnTo>
                    <a:pt x="47" y="131"/>
                  </a:lnTo>
                  <a:lnTo>
                    <a:pt x="44" y="127"/>
                  </a:lnTo>
                  <a:lnTo>
                    <a:pt x="40" y="123"/>
                  </a:lnTo>
                  <a:lnTo>
                    <a:pt x="37" y="117"/>
                  </a:lnTo>
                  <a:lnTo>
                    <a:pt x="34" y="112"/>
                  </a:lnTo>
                  <a:lnTo>
                    <a:pt x="32" y="107"/>
                  </a:lnTo>
                  <a:lnTo>
                    <a:pt x="31" y="101"/>
                  </a:lnTo>
                  <a:lnTo>
                    <a:pt x="30" y="95"/>
                  </a:lnTo>
                  <a:lnTo>
                    <a:pt x="30" y="90"/>
                  </a:lnTo>
                  <a:lnTo>
                    <a:pt x="29" y="86"/>
                  </a:lnTo>
                  <a:lnTo>
                    <a:pt x="29" y="83"/>
                  </a:lnTo>
                  <a:lnTo>
                    <a:pt x="27" y="81"/>
                  </a:lnTo>
                  <a:lnTo>
                    <a:pt x="26" y="79"/>
                  </a:lnTo>
                  <a:lnTo>
                    <a:pt x="23" y="77"/>
                  </a:lnTo>
                  <a:lnTo>
                    <a:pt x="20" y="76"/>
                  </a:lnTo>
                  <a:lnTo>
                    <a:pt x="18" y="75"/>
                  </a:lnTo>
                  <a:lnTo>
                    <a:pt x="15" y="75"/>
                  </a:lnTo>
                  <a:lnTo>
                    <a:pt x="12" y="75"/>
                  </a:lnTo>
                  <a:lnTo>
                    <a:pt x="9" y="76"/>
                  </a:lnTo>
                  <a:lnTo>
                    <a:pt x="6" y="77"/>
                  </a:lnTo>
                  <a:lnTo>
                    <a:pt x="4" y="79"/>
                  </a:lnTo>
                  <a:lnTo>
                    <a:pt x="2" y="81"/>
                  </a:lnTo>
                  <a:lnTo>
                    <a:pt x="1" y="83"/>
                  </a:lnTo>
                  <a:lnTo>
                    <a:pt x="0" y="86"/>
                  </a:lnTo>
                  <a:lnTo>
                    <a:pt x="0" y="90"/>
                  </a:lnTo>
                  <a:lnTo>
                    <a:pt x="0" y="98"/>
                  </a:lnTo>
                  <a:lnTo>
                    <a:pt x="2" y="107"/>
                  </a:lnTo>
                  <a:lnTo>
                    <a:pt x="4" y="115"/>
                  </a:lnTo>
                  <a:lnTo>
                    <a:pt x="6" y="124"/>
                  </a:lnTo>
                  <a:lnTo>
                    <a:pt x="11" y="131"/>
                  </a:lnTo>
                  <a:lnTo>
                    <a:pt x="15" y="139"/>
                  </a:lnTo>
                  <a:lnTo>
                    <a:pt x="20" y="146"/>
                  </a:lnTo>
                  <a:lnTo>
                    <a:pt x="26" y="153"/>
                  </a:lnTo>
                  <a:lnTo>
                    <a:pt x="32" y="158"/>
                  </a:lnTo>
                  <a:lnTo>
                    <a:pt x="40" y="163"/>
                  </a:lnTo>
                  <a:lnTo>
                    <a:pt x="47" y="168"/>
                  </a:lnTo>
                  <a:lnTo>
                    <a:pt x="55" y="172"/>
                  </a:lnTo>
                  <a:lnTo>
                    <a:pt x="63" y="175"/>
                  </a:lnTo>
                  <a:lnTo>
                    <a:pt x="72" y="177"/>
                  </a:lnTo>
                  <a:lnTo>
                    <a:pt x="80" y="178"/>
                  </a:lnTo>
                  <a:lnTo>
                    <a:pt x="90" y="178"/>
                  </a:lnTo>
                  <a:lnTo>
                    <a:pt x="98" y="178"/>
                  </a:lnTo>
                  <a:lnTo>
                    <a:pt x="108" y="177"/>
                  </a:lnTo>
                  <a:lnTo>
                    <a:pt x="117" y="175"/>
                  </a:lnTo>
                  <a:lnTo>
                    <a:pt x="124" y="172"/>
                  </a:lnTo>
                  <a:lnTo>
                    <a:pt x="133" y="168"/>
                  </a:lnTo>
                  <a:lnTo>
                    <a:pt x="139" y="163"/>
                  </a:lnTo>
                  <a:lnTo>
                    <a:pt x="147" y="158"/>
                  </a:lnTo>
                  <a:lnTo>
                    <a:pt x="153" y="153"/>
                  </a:lnTo>
                  <a:lnTo>
                    <a:pt x="158" y="146"/>
                  </a:lnTo>
                  <a:lnTo>
                    <a:pt x="164" y="139"/>
                  </a:lnTo>
                  <a:lnTo>
                    <a:pt x="168" y="131"/>
                  </a:lnTo>
                  <a:lnTo>
                    <a:pt x="172" y="124"/>
                  </a:lnTo>
                  <a:lnTo>
                    <a:pt x="175" y="115"/>
                  </a:lnTo>
                  <a:lnTo>
                    <a:pt x="178" y="107"/>
                  </a:lnTo>
                  <a:lnTo>
                    <a:pt x="179" y="98"/>
                  </a:lnTo>
                  <a:lnTo>
                    <a:pt x="179" y="90"/>
                  </a:lnTo>
                  <a:lnTo>
                    <a:pt x="179" y="80"/>
                  </a:lnTo>
                  <a:lnTo>
                    <a:pt x="178" y="71"/>
                  </a:lnTo>
                  <a:lnTo>
                    <a:pt x="175" y="63"/>
                  </a:lnTo>
                  <a:lnTo>
                    <a:pt x="172" y="54"/>
                  </a:lnTo>
                  <a:lnTo>
                    <a:pt x="168" y="47"/>
                  </a:lnTo>
                  <a:lnTo>
                    <a:pt x="164" y="39"/>
                  </a:lnTo>
                  <a:lnTo>
                    <a:pt x="158" y="32"/>
                  </a:lnTo>
                  <a:lnTo>
                    <a:pt x="153" y="25"/>
                  </a:lnTo>
                  <a:lnTo>
                    <a:pt x="147" y="20"/>
                  </a:lnTo>
                  <a:lnTo>
                    <a:pt x="139" y="15"/>
                  </a:lnTo>
                  <a:lnTo>
                    <a:pt x="133" y="10"/>
                  </a:lnTo>
                  <a:lnTo>
                    <a:pt x="124" y="6"/>
                  </a:lnTo>
                  <a:lnTo>
                    <a:pt x="117" y="4"/>
                  </a:lnTo>
                  <a:lnTo>
                    <a:pt x="108" y="1"/>
                  </a:lnTo>
                  <a:lnTo>
                    <a:pt x="98" y="0"/>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281" name="Freeform 182">
            <a:extLst>
              <a:ext uri="{FF2B5EF4-FFF2-40B4-BE49-F238E27FC236}">
                <a16:creationId xmlns:a16="http://schemas.microsoft.com/office/drawing/2014/main" id="{2A132F19-FCEB-4DB7-9C03-BD5D3F7C2778}"/>
              </a:ext>
            </a:extLst>
          </p:cNvPr>
          <p:cNvSpPr>
            <a:spLocks noChangeAspect="1" noEditPoints="1"/>
          </p:cNvSpPr>
          <p:nvPr>
            <p:custDataLst>
              <p:tags r:id="rId1"/>
            </p:custDataLst>
          </p:nvPr>
        </p:nvSpPr>
        <p:spPr bwMode="auto">
          <a:xfrm>
            <a:off x="4501623" y="1647825"/>
            <a:ext cx="182733" cy="306484"/>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282" name="Group 34">
            <a:extLst>
              <a:ext uri="{FF2B5EF4-FFF2-40B4-BE49-F238E27FC236}">
                <a16:creationId xmlns:a16="http://schemas.microsoft.com/office/drawing/2014/main" id="{86BEFFF3-11E1-4041-9214-D7AB1F094518}"/>
              </a:ext>
            </a:extLst>
          </p:cNvPr>
          <p:cNvGrpSpPr>
            <a:grpSpLocks noChangeAspect="1"/>
          </p:cNvGrpSpPr>
          <p:nvPr>
            <p:custDataLst>
              <p:tags r:id="rId2"/>
            </p:custDataLst>
          </p:nvPr>
        </p:nvGrpSpPr>
        <p:grpSpPr>
          <a:xfrm>
            <a:off x="4035452" y="1647825"/>
            <a:ext cx="303620" cy="306484"/>
            <a:chOff x="10677525" y="1674813"/>
            <a:chExt cx="336550" cy="339725"/>
          </a:xfrm>
          <a:solidFill>
            <a:schemeClr val="bg2"/>
          </a:solidFill>
          <a:effectLst/>
        </p:grpSpPr>
        <p:sp>
          <p:nvSpPr>
            <p:cNvPr id="299" name="Freeform 265">
              <a:extLst>
                <a:ext uri="{FF2B5EF4-FFF2-40B4-BE49-F238E27FC236}">
                  <a16:creationId xmlns:a16="http://schemas.microsoft.com/office/drawing/2014/main" id="{98DA9633-EE9C-4FE1-B721-B8F96B518175}"/>
                </a:ext>
              </a:extLst>
            </p:cNvPr>
            <p:cNvSpPr>
              <a:spLocks noEditPoints="1"/>
            </p:cNvSpPr>
            <p:nvPr/>
          </p:nvSpPr>
          <p:spPr bwMode="auto">
            <a:xfrm>
              <a:off x="10790238" y="1785938"/>
              <a:ext cx="112713" cy="112713"/>
            </a:xfrm>
            <a:custGeom>
              <a:avLst/>
              <a:gdLst>
                <a:gd name="T0" fmla="*/ 120 w 282"/>
                <a:gd name="T1" fmla="*/ 245 h 283"/>
                <a:gd name="T2" fmla="*/ 91 w 282"/>
                <a:gd name="T3" fmla="*/ 234 h 283"/>
                <a:gd name="T4" fmla="*/ 66 w 282"/>
                <a:gd name="T5" fmla="*/ 216 h 283"/>
                <a:gd name="T6" fmla="*/ 47 w 282"/>
                <a:gd name="T7" fmla="*/ 192 h 283"/>
                <a:gd name="T8" fmla="*/ 37 w 282"/>
                <a:gd name="T9" fmla="*/ 163 h 283"/>
                <a:gd name="T10" fmla="*/ 36 w 282"/>
                <a:gd name="T11" fmla="*/ 130 h 283"/>
                <a:gd name="T12" fmla="*/ 43 w 282"/>
                <a:gd name="T13" fmla="*/ 100 h 283"/>
                <a:gd name="T14" fmla="*/ 59 w 282"/>
                <a:gd name="T15" fmla="*/ 74 h 283"/>
                <a:gd name="T16" fmla="*/ 82 w 282"/>
                <a:gd name="T17" fmla="*/ 54 h 283"/>
                <a:gd name="T18" fmla="*/ 109 w 282"/>
                <a:gd name="T19" fmla="*/ 41 h 283"/>
                <a:gd name="T20" fmla="*/ 140 w 282"/>
                <a:gd name="T21" fmla="*/ 35 h 283"/>
                <a:gd name="T22" fmla="*/ 172 w 282"/>
                <a:gd name="T23" fmla="*/ 41 h 283"/>
                <a:gd name="T24" fmla="*/ 200 w 282"/>
                <a:gd name="T25" fmla="*/ 54 h 283"/>
                <a:gd name="T26" fmla="*/ 222 w 282"/>
                <a:gd name="T27" fmla="*/ 74 h 283"/>
                <a:gd name="T28" fmla="*/ 239 w 282"/>
                <a:gd name="T29" fmla="*/ 100 h 283"/>
                <a:gd name="T30" fmla="*/ 246 w 282"/>
                <a:gd name="T31" fmla="*/ 130 h 283"/>
                <a:gd name="T32" fmla="*/ 244 w 282"/>
                <a:gd name="T33" fmla="*/ 163 h 283"/>
                <a:gd name="T34" fmla="*/ 233 w 282"/>
                <a:gd name="T35" fmla="*/ 192 h 283"/>
                <a:gd name="T36" fmla="*/ 215 w 282"/>
                <a:gd name="T37" fmla="*/ 216 h 283"/>
                <a:gd name="T38" fmla="*/ 191 w 282"/>
                <a:gd name="T39" fmla="*/ 234 h 283"/>
                <a:gd name="T40" fmla="*/ 162 w 282"/>
                <a:gd name="T41" fmla="*/ 245 h 283"/>
                <a:gd name="T42" fmla="*/ 140 w 282"/>
                <a:gd name="T43" fmla="*/ 0 h 283"/>
                <a:gd name="T44" fmla="*/ 98 w 282"/>
                <a:gd name="T45" fmla="*/ 6 h 283"/>
                <a:gd name="T46" fmla="*/ 61 w 282"/>
                <a:gd name="T47" fmla="*/ 24 h 283"/>
                <a:gd name="T48" fmla="*/ 31 w 282"/>
                <a:gd name="T49" fmla="*/ 51 h 283"/>
                <a:gd name="T50" fmla="*/ 11 w 282"/>
                <a:gd name="T51" fmla="*/ 86 h 283"/>
                <a:gd name="T52" fmla="*/ 0 w 282"/>
                <a:gd name="T53" fmla="*/ 127 h 283"/>
                <a:gd name="T54" fmla="*/ 2 w 282"/>
                <a:gd name="T55" fmla="*/ 169 h 283"/>
                <a:gd name="T56" fmla="*/ 16 w 282"/>
                <a:gd name="T57" fmla="*/ 208 h 283"/>
                <a:gd name="T58" fmla="*/ 41 w 282"/>
                <a:gd name="T59" fmla="*/ 240 h 283"/>
                <a:gd name="T60" fmla="*/ 73 w 282"/>
                <a:gd name="T61" fmla="*/ 265 h 283"/>
                <a:gd name="T62" fmla="*/ 112 w 282"/>
                <a:gd name="T63" fmla="*/ 279 h 283"/>
                <a:gd name="T64" fmla="*/ 155 w 282"/>
                <a:gd name="T65" fmla="*/ 282 h 283"/>
                <a:gd name="T66" fmla="*/ 195 w 282"/>
                <a:gd name="T67" fmla="*/ 271 h 283"/>
                <a:gd name="T68" fmla="*/ 230 w 282"/>
                <a:gd name="T69" fmla="*/ 250 h 283"/>
                <a:gd name="T70" fmla="*/ 258 w 282"/>
                <a:gd name="T71" fmla="*/ 220 h 283"/>
                <a:gd name="T72" fmla="*/ 275 w 282"/>
                <a:gd name="T73" fmla="*/ 183 h 283"/>
                <a:gd name="T74" fmla="*/ 282 w 282"/>
                <a:gd name="T75" fmla="*/ 141 h 283"/>
                <a:gd name="T76" fmla="*/ 275 w 282"/>
                <a:gd name="T77" fmla="*/ 99 h 283"/>
                <a:gd name="T78" fmla="*/ 258 w 282"/>
                <a:gd name="T79" fmla="*/ 62 h 283"/>
                <a:gd name="T80" fmla="*/ 230 w 282"/>
                <a:gd name="T81" fmla="*/ 32 h 283"/>
                <a:gd name="T82" fmla="*/ 195 w 282"/>
                <a:gd name="T83" fmla="*/ 12 h 283"/>
                <a:gd name="T84" fmla="*/ 155 w 282"/>
                <a:gd name="T85" fmla="*/ 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2" h="283">
                  <a:moveTo>
                    <a:pt x="140" y="247"/>
                  </a:moveTo>
                  <a:lnTo>
                    <a:pt x="130" y="247"/>
                  </a:lnTo>
                  <a:lnTo>
                    <a:pt x="120" y="245"/>
                  </a:lnTo>
                  <a:lnTo>
                    <a:pt x="109" y="243"/>
                  </a:lnTo>
                  <a:lnTo>
                    <a:pt x="99" y="238"/>
                  </a:lnTo>
                  <a:lnTo>
                    <a:pt x="91" y="234"/>
                  </a:lnTo>
                  <a:lnTo>
                    <a:pt x="82" y="229"/>
                  </a:lnTo>
                  <a:lnTo>
                    <a:pt x="73" y="223"/>
                  </a:lnTo>
                  <a:lnTo>
                    <a:pt x="66" y="216"/>
                  </a:lnTo>
                  <a:lnTo>
                    <a:pt x="59" y="208"/>
                  </a:lnTo>
                  <a:lnTo>
                    <a:pt x="53" y="201"/>
                  </a:lnTo>
                  <a:lnTo>
                    <a:pt x="47" y="192"/>
                  </a:lnTo>
                  <a:lnTo>
                    <a:pt x="43" y="182"/>
                  </a:lnTo>
                  <a:lnTo>
                    <a:pt x="40" y="172"/>
                  </a:lnTo>
                  <a:lnTo>
                    <a:pt x="37" y="163"/>
                  </a:lnTo>
                  <a:lnTo>
                    <a:pt x="36" y="152"/>
                  </a:lnTo>
                  <a:lnTo>
                    <a:pt x="34" y="141"/>
                  </a:lnTo>
                  <a:lnTo>
                    <a:pt x="36" y="130"/>
                  </a:lnTo>
                  <a:lnTo>
                    <a:pt x="37" y="120"/>
                  </a:lnTo>
                  <a:lnTo>
                    <a:pt x="40" y="110"/>
                  </a:lnTo>
                  <a:lnTo>
                    <a:pt x="43" y="100"/>
                  </a:lnTo>
                  <a:lnTo>
                    <a:pt x="47" y="90"/>
                  </a:lnTo>
                  <a:lnTo>
                    <a:pt x="53" y="82"/>
                  </a:lnTo>
                  <a:lnTo>
                    <a:pt x="59" y="74"/>
                  </a:lnTo>
                  <a:lnTo>
                    <a:pt x="66" y="67"/>
                  </a:lnTo>
                  <a:lnTo>
                    <a:pt x="73" y="60"/>
                  </a:lnTo>
                  <a:lnTo>
                    <a:pt x="82" y="54"/>
                  </a:lnTo>
                  <a:lnTo>
                    <a:pt x="91" y="48"/>
                  </a:lnTo>
                  <a:lnTo>
                    <a:pt x="99" y="44"/>
                  </a:lnTo>
                  <a:lnTo>
                    <a:pt x="109" y="41"/>
                  </a:lnTo>
                  <a:lnTo>
                    <a:pt x="120" y="37"/>
                  </a:lnTo>
                  <a:lnTo>
                    <a:pt x="130" y="36"/>
                  </a:lnTo>
                  <a:lnTo>
                    <a:pt x="140" y="35"/>
                  </a:lnTo>
                  <a:lnTo>
                    <a:pt x="151" y="36"/>
                  </a:lnTo>
                  <a:lnTo>
                    <a:pt x="162" y="37"/>
                  </a:lnTo>
                  <a:lnTo>
                    <a:pt x="172" y="41"/>
                  </a:lnTo>
                  <a:lnTo>
                    <a:pt x="181" y="44"/>
                  </a:lnTo>
                  <a:lnTo>
                    <a:pt x="191" y="48"/>
                  </a:lnTo>
                  <a:lnTo>
                    <a:pt x="200" y="54"/>
                  </a:lnTo>
                  <a:lnTo>
                    <a:pt x="208" y="60"/>
                  </a:lnTo>
                  <a:lnTo>
                    <a:pt x="215" y="67"/>
                  </a:lnTo>
                  <a:lnTo>
                    <a:pt x="222" y="74"/>
                  </a:lnTo>
                  <a:lnTo>
                    <a:pt x="228" y="82"/>
                  </a:lnTo>
                  <a:lnTo>
                    <a:pt x="233" y="90"/>
                  </a:lnTo>
                  <a:lnTo>
                    <a:pt x="239" y="100"/>
                  </a:lnTo>
                  <a:lnTo>
                    <a:pt x="242" y="110"/>
                  </a:lnTo>
                  <a:lnTo>
                    <a:pt x="244" y="120"/>
                  </a:lnTo>
                  <a:lnTo>
                    <a:pt x="246" y="130"/>
                  </a:lnTo>
                  <a:lnTo>
                    <a:pt x="246" y="141"/>
                  </a:lnTo>
                  <a:lnTo>
                    <a:pt x="246" y="152"/>
                  </a:lnTo>
                  <a:lnTo>
                    <a:pt x="244" y="163"/>
                  </a:lnTo>
                  <a:lnTo>
                    <a:pt x="242" y="172"/>
                  </a:lnTo>
                  <a:lnTo>
                    <a:pt x="239" y="182"/>
                  </a:lnTo>
                  <a:lnTo>
                    <a:pt x="233" y="192"/>
                  </a:lnTo>
                  <a:lnTo>
                    <a:pt x="228" y="201"/>
                  </a:lnTo>
                  <a:lnTo>
                    <a:pt x="222" y="208"/>
                  </a:lnTo>
                  <a:lnTo>
                    <a:pt x="215" y="216"/>
                  </a:lnTo>
                  <a:lnTo>
                    <a:pt x="208" y="223"/>
                  </a:lnTo>
                  <a:lnTo>
                    <a:pt x="200" y="229"/>
                  </a:lnTo>
                  <a:lnTo>
                    <a:pt x="191" y="234"/>
                  </a:lnTo>
                  <a:lnTo>
                    <a:pt x="181" y="238"/>
                  </a:lnTo>
                  <a:lnTo>
                    <a:pt x="172" y="243"/>
                  </a:lnTo>
                  <a:lnTo>
                    <a:pt x="162" y="245"/>
                  </a:lnTo>
                  <a:lnTo>
                    <a:pt x="151" y="247"/>
                  </a:lnTo>
                  <a:lnTo>
                    <a:pt x="140" y="247"/>
                  </a:lnTo>
                  <a:close/>
                  <a:moveTo>
                    <a:pt x="140" y="0"/>
                  </a:moveTo>
                  <a:lnTo>
                    <a:pt x="126" y="1"/>
                  </a:lnTo>
                  <a:lnTo>
                    <a:pt x="112" y="3"/>
                  </a:lnTo>
                  <a:lnTo>
                    <a:pt x="98" y="6"/>
                  </a:lnTo>
                  <a:lnTo>
                    <a:pt x="85" y="12"/>
                  </a:lnTo>
                  <a:lnTo>
                    <a:pt x="73" y="17"/>
                  </a:lnTo>
                  <a:lnTo>
                    <a:pt x="61" y="24"/>
                  </a:lnTo>
                  <a:lnTo>
                    <a:pt x="51" y="32"/>
                  </a:lnTo>
                  <a:lnTo>
                    <a:pt x="41" y="42"/>
                  </a:lnTo>
                  <a:lnTo>
                    <a:pt x="31" y="51"/>
                  </a:lnTo>
                  <a:lnTo>
                    <a:pt x="24" y="62"/>
                  </a:lnTo>
                  <a:lnTo>
                    <a:pt x="16" y="74"/>
                  </a:lnTo>
                  <a:lnTo>
                    <a:pt x="11" y="86"/>
                  </a:lnTo>
                  <a:lnTo>
                    <a:pt x="6" y="99"/>
                  </a:lnTo>
                  <a:lnTo>
                    <a:pt x="2" y="113"/>
                  </a:lnTo>
                  <a:lnTo>
                    <a:pt x="0" y="127"/>
                  </a:lnTo>
                  <a:lnTo>
                    <a:pt x="0" y="141"/>
                  </a:lnTo>
                  <a:lnTo>
                    <a:pt x="0" y="155"/>
                  </a:lnTo>
                  <a:lnTo>
                    <a:pt x="2" y="169"/>
                  </a:lnTo>
                  <a:lnTo>
                    <a:pt x="6" y="183"/>
                  </a:lnTo>
                  <a:lnTo>
                    <a:pt x="11" y="196"/>
                  </a:lnTo>
                  <a:lnTo>
                    <a:pt x="16" y="208"/>
                  </a:lnTo>
                  <a:lnTo>
                    <a:pt x="24" y="220"/>
                  </a:lnTo>
                  <a:lnTo>
                    <a:pt x="31" y="231"/>
                  </a:lnTo>
                  <a:lnTo>
                    <a:pt x="41" y="240"/>
                  </a:lnTo>
                  <a:lnTo>
                    <a:pt x="51" y="250"/>
                  </a:lnTo>
                  <a:lnTo>
                    <a:pt x="61" y="258"/>
                  </a:lnTo>
                  <a:lnTo>
                    <a:pt x="73" y="265"/>
                  </a:lnTo>
                  <a:lnTo>
                    <a:pt x="85" y="271"/>
                  </a:lnTo>
                  <a:lnTo>
                    <a:pt x="98" y="276"/>
                  </a:lnTo>
                  <a:lnTo>
                    <a:pt x="112" y="279"/>
                  </a:lnTo>
                  <a:lnTo>
                    <a:pt x="126" y="282"/>
                  </a:lnTo>
                  <a:lnTo>
                    <a:pt x="140" y="283"/>
                  </a:lnTo>
                  <a:lnTo>
                    <a:pt x="155" y="282"/>
                  </a:lnTo>
                  <a:lnTo>
                    <a:pt x="169" y="279"/>
                  </a:lnTo>
                  <a:lnTo>
                    <a:pt x="182" y="276"/>
                  </a:lnTo>
                  <a:lnTo>
                    <a:pt x="195" y="271"/>
                  </a:lnTo>
                  <a:lnTo>
                    <a:pt x="208" y="265"/>
                  </a:lnTo>
                  <a:lnTo>
                    <a:pt x="219" y="258"/>
                  </a:lnTo>
                  <a:lnTo>
                    <a:pt x="230" y="250"/>
                  </a:lnTo>
                  <a:lnTo>
                    <a:pt x="241" y="240"/>
                  </a:lnTo>
                  <a:lnTo>
                    <a:pt x="249" y="231"/>
                  </a:lnTo>
                  <a:lnTo>
                    <a:pt x="258" y="220"/>
                  </a:lnTo>
                  <a:lnTo>
                    <a:pt x="265" y="208"/>
                  </a:lnTo>
                  <a:lnTo>
                    <a:pt x="271" y="196"/>
                  </a:lnTo>
                  <a:lnTo>
                    <a:pt x="275" y="183"/>
                  </a:lnTo>
                  <a:lnTo>
                    <a:pt x="279" y="169"/>
                  </a:lnTo>
                  <a:lnTo>
                    <a:pt x="281" y="155"/>
                  </a:lnTo>
                  <a:lnTo>
                    <a:pt x="282" y="141"/>
                  </a:lnTo>
                  <a:lnTo>
                    <a:pt x="281" y="127"/>
                  </a:lnTo>
                  <a:lnTo>
                    <a:pt x="279" y="113"/>
                  </a:lnTo>
                  <a:lnTo>
                    <a:pt x="275" y="99"/>
                  </a:lnTo>
                  <a:lnTo>
                    <a:pt x="271" y="86"/>
                  </a:lnTo>
                  <a:lnTo>
                    <a:pt x="265" y="74"/>
                  </a:lnTo>
                  <a:lnTo>
                    <a:pt x="258" y="62"/>
                  </a:lnTo>
                  <a:lnTo>
                    <a:pt x="249" y="51"/>
                  </a:lnTo>
                  <a:lnTo>
                    <a:pt x="241" y="42"/>
                  </a:lnTo>
                  <a:lnTo>
                    <a:pt x="230" y="32"/>
                  </a:lnTo>
                  <a:lnTo>
                    <a:pt x="219" y="24"/>
                  </a:lnTo>
                  <a:lnTo>
                    <a:pt x="208" y="17"/>
                  </a:lnTo>
                  <a:lnTo>
                    <a:pt x="195" y="12"/>
                  </a:lnTo>
                  <a:lnTo>
                    <a:pt x="182" y="6"/>
                  </a:lnTo>
                  <a:lnTo>
                    <a:pt x="169" y="3"/>
                  </a:lnTo>
                  <a:lnTo>
                    <a:pt x="155" y="1"/>
                  </a:lnTo>
                  <a:lnTo>
                    <a:pt x="14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300" name="Freeform 266">
              <a:extLst>
                <a:ext uri="{FF2B5EF4-FFF2-40B4-BE49-F238E27FC236}">
                  <a16:creationId xmlns:a16="http://schemas.microsoft.com/office/drawing/2014/main" id="{E05E8BC0-647A-4AF6-94D8-CD59500B0358}"/>
                </a:ext>
              </a:extLst>
            </p:cNvPr>
            <p:cNvSpPr>
              <a:spLocks noEditPoints="1"/>
            </p:cNvSpPr>
            <p:nvPr/>
          </p:nvSpPr>
          <p:spPr bwMode="auto">
            <a:xfrm>
              <a:off x="10734675" y="1730375"/>
              <a:ext cx="223838" cy="223838"/>
            </a:xfrm>
            <a:custGeom>
              <a:avLst/>
              <a:gdLst>
                <a:gd name="T0" fmla="*/ 233 w 564"/>
                <a:gd name="T1" fmla="*/ 524 h 564"/>
                <a:gd name="T2" fmla="*/ 175 w 564"/>
                <a:gd name="T3" fmla="*/ 505 h 564"/>
                <a:gd name="T4" fmla="*/ 126 w 564"/>
                <a:gd name="T5" fmla="*/ 472 h 564"/>
                <a:gd name="T6" fmla="*/ 85 w 564"/>
                <a:gd name="T7" fmla="*/ 430 h 564"/>
                <a:gd name="T8" fmla="*/ 56 w 564"/>
                <a:gd name="T9" fmla="*/ 378 h 564"/>
                <a:gd name="T10" fmla="*/ 38 w 564"/>
                <a:gd name="T11" fmla="*/ 320 h 564"/>
                <a:gd name="T12" fmla="*/ 37 w 564"/>
                <a:gd name="T13" fmla="*/ 257 h 564"/>
                <a:gd name="T14" fmla="*/ 51 w 564"/>
                <a:gd name="T15" fmla="*/ 198 h 564"/>
                <a:gd name="T16" fmla="*/ 78 w 564"/>
                <a:gd name="T17" fmla="*/ 144 h 564"/>
                <a:gd name="T18" fmla="*/ 117 w 564"/>
                <a:gd name="T19" fmla="*/ 100 h 564"/>
                <a:gd name="T20" fmla="*/ 165 w 564"/>
                <a:gd name="T21" fmla="*/ 65 h 564"/>
                <a:gd name="T22" fmla="*/ 221 w 564"/>
                <a:gd name="T23" fmla="*/ 43 h 564"/>
                <a:gd name="T24" fmla="*/ 282 w 564"/>
                <a:gd name="T25" fmla="*/ 36 h 564"/>
                <a:gd name="T26" fmla="*/ 344 w 564"/>
                <a:gd name="T27" fmla="*/ 43 h 564"/>
                <a:gd name="T28" fmla="*/ 400 w 564"/>
                <a:gd name="T29" fmla="*/ 65 h 564"/>
                <a:gd name="T30" fmla="*/ 449 w 564"/>
                <a:gd name="T31" fmla="*/ 100 h 564"/>
                <a:gd name="T32" fmla="*/ 488 w 564"/>
                <a:gd name="T33" fmla="*/ 144 h 564"/>
                <a:gd name="T34" fmla="*/ 515 w 564"/>
                <a:gd name="T35" fmla="*/ 198 h 564"/>
                <a:gd name="T36" fmla="*/ 529 w 564"/>
                <a:gd name="T37" fmla="*/ 257 h 564"/>
                <a:gd name="T38" fmla="*/ 526 w 564"/>
                <a:gd name="T39" fmla="*/ 320 h 564"/>
                <a:gd name="T40" fmla="*/ 510 w 564"/>
                <a:gd name="T41" fmla="*/ 378 h 564"/>
                <a:gd name="T42" fmla="*/ 480 w 564"/>
                <a:gd name="T43" fmla="*/ 430 h 564"/>
                <a:gd name="T44" fmla="*/ 440 w 564"/>
                <a:gd name="T45" fmla="*/ 472 h 564"/>
                <a:gd name="T46" fmla="*/ 389 w 564"/>
                <a:gd name="T47" fmla="*/ 505 h 564"/>
                <a:gd name="T48" fmla="*/ 332 w 564"/>
                <a:gd name="T49" fmla="*/ 524 h 564"/>
                <a:gd name="T50" fmla="*/ 282 w 564"/>
                <a:gd name="T51" fmla="*/ 0 h 564"/>
                <a:gd name="T52" fmla="*/ 212 w 564"/>
                <a:gd name="T53" fmla="*/ 9 h 564"/>
                <a:gd name="T54" fmla="*/ 148 w 564"/>
                <a:gd name="T55" fmla="*/ 34 h 564"/>
                <a:gd name="T56" fmla="*/ 93 w 564"/>
                <a:gd name="T57" fmla="*/ 74 h 564"/>
                <a:gd name="T58" fmla="*/ 49 w 564"/>
                <a:gd name="T59" fmla="*/ 124 h 564"/>
                <a:gd name="T60" fmla="*/ 18 w 564"/>
                <a:gd name="T61" fmla="*/ 185 h 564"/>
                <a:gd name="T62" fmla="*/ 2 w 564"/>
                <a:gd name="T63" fmla="*/ 253 h 564"/>
                <a:gd name="T64" fmla="*/ 4 w 564"/>
                <a:gd name="T65" fmla="*/ 325 h 564"/>
                <a:gd name="T66" fmla="*/ 23 w 564"/>
                <a:gd name="T67" fmla="*/ 392 h 564"/>
                <a:gd name="T68" fmla="*/ 57 w 564"/>
                <a:gd name="T69" fmla="*/ 451 h 564"/>
                <a:gd name="T70" fmla="*/ 103 w 564"/>
                <a:gd name="T71" fmla="*/ 500 h 564"/>
                <a:gd name="T72" fmla="*/ 160 w 564"/>
                <a:gd name="T73" fmla="*/ 537 h 564"/>
                <a:gd name="T74" fmla="*/ 226 w 564"/>
                <a:gd name="T75" fmla="*/ 559 h 564"/>
                <a:gd name="T76" fmla="*/ 297 w 564"/>
                <a:gd name="T77" fmla="*/ 564 h 564"/>
                <a:gd name="T78" fmla="*/ 367 w 564"/>
                <a:gd name="T79" fmla="*/ 552 h 564"/>
                <a:gd name="T80" fmla="*/ 429 w 564"/>
                <a:gd name="T81" fmla="*/ 524 h 564"/>
                <a:gd name="T82" fmla="*/ 482 w 564"/>
                <a:gd name="T83" fmla="*/ 482 h 564"/>
                <a:gd name="T84" fmla="*/ 524 w 564"/>
                <a:gd name="T85" fmla="*/ 429 h 564"/>
                <a:gd name="T86" fmla="*/ 552 w 564"/>
                <a:gd name="T87" fmla="*/ 366 h 564"/>
                <a:gd name="T88" fmla="*/ 564 w 564"/>
                <a:gd name="T89" fmla="*/ 297 h 564"/>
                <a:gd name="T90" fmla="*/ 559 w 564"/>
                <a:gd name="T91" fmla="*/ 225 h 564"/>
                <a:gd name="T92" fmla="*/ 537 w 564"/>
                <a:gd name="T93" fmla="*/ 160 h 564"/>
                <a:gd name="T94" fmla="*/ 500 w 564"/>
                <a:gd name="T95" fmla="*/ 103 h 564"/>
                <a:gd name="T96" fmla="*/ 452 w 564"/>
                <a:gd name="T97" fmla="*/ 56 h 564"/>
                <a:gd name="T98" fmla="*/ 392 w 564"/>
                <a:gd name="T99" fmla="*/ 22 h 564"/>
                <a:gd name="T100" fmla="*/ 326 w 564"/>
                <a:gd name="T101" fmla="*/ 3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4" h="564">
                  <a:moveTo>
                    <a:pt x="282" y="529"/>
                  </a:moveTo>
                  <a:lnTo>
                    <a:pt x="270" y="528"/>
                  </a:lnTo>
                  <a:lnTo>
                    <a:pt x="257" y="528"/>
                  </a:lnTo>
                  <a:lnTo>
                    <a:pt x="245" y="526"/>
                  </a:lnTo>
                  <a:lnTo>
                    <a:pt x="233" y="524"/>
                  </a:lnTo>
                  <a:lnTo>
                    <a:pt x="221" y="521"/>
                  </a:lnTo>
                  <a:lnTo>
                    <a:pt x="209" y="518"/>
                  </a:lnTo>
                  <a:lnTo>
                    <a:pt x="198" y="514"/>
                  </a:lnTo>
                  <a:lnTo>
                    <a:pt x="186" y="510"/>
                  </a:lnTo>
                  <a:lnTo>
                    <a:pt x="175" y="505"/>
                  </a:lnTo>
                  <a:lnTo>
                    <a:pt x="165" y="499"/>
                  </a:lnTo>
                  <a:lnTo>
                    <a:pt x="155" y="494"/>
                  </a:lnTo>
                  <a:lnTo>
                    <a:pt x="145" y="487"/>
                  </a:lnTo>
                  <a:lnTo>
                    <a:pt x="135" y="480"/>
                  </a:lnTo>
                  <a:lnTo>
                    <a:pt x="126" y="472"/>
                  </a:lnTo>
                  <a:lnTo>
                    <a:pt x="117" y="465"/>
                  </a:lnTo>
                  <a:lnTo>
                    <a:pt x="108" y="457"/>
                  </a:lnTo>
                  <a:lnTo>
                    <a:pt x="100" y="448"/>
                  </a:lnTo>
                  <a:lnTo>
                    <a:pt x="92" y="439"/>
                  </a:lnTo>
                  <a:lnTo>
                    <a:pt x="85" y="430"/>
                  </a:lnTo>
                  <a:lnTo>
                    <a:pt x="78" y="420"/>
                  </a:lnTo>
                  <a:lnTo>
                    <a:pt x="72" y="411"/>
                  </a:lnTo>
                  <a:lnTo>
                    <a:pt x="65" y="400"/>
                  </a:lnTo>
                  <a:lnTo>
                    <a:pt x="60" y="389"/>
                  </a:lnTo>
                  <a:lnTo>
                    <a:pt x="56" y="378"/>
                  </a:lnTo>
                  <a:lnTo>
                    <a:pt x="51" y="367"/>
                  </a:lnTo>
                  <a:lnTo>
                    <a:pt x="47" y="356"/>
                  </a:lnTo>
                  <a:lnTo>
                    <a:pt x="44" y="344"/>
                  </a:lnTo>
                  <a:lnTo>
                    <a:pt x="40" y="332"/>
                  </a:lnTo>
                  <a:lnTo>
                    <a:pt x="38" y="320"/>
                  </a:lnTo>
                  <a:lnTo>
                    <a:pt x="37" y="307"/>
                  </a:lnTo>
                  <a:lnTo>
                    <a:pt x="36" y="295"/>
                  </a:lnTo>
                  <a:lnTo>
                    <a:pt x="36" y="282"/>
                  </a:lnTo>
                  <a:lnTo>
                    <a:pt x="36" y="269"/>
                  </a:lnTo>
                  <a:lnTo>
                    <a:pt x="37" y="257"/>
                  </a:lnTo>
                  <a:lnTo>
                    <a:pt x="38" y="244"/>
                  </a:lnTo>
                  <a:lnTo>
                    <a:pt x="40" y="232"/>
                  </a:lnTo>
                  <a:lnTo>
                    <a:pt x="44" y="221"/>
                  </a:lnTo>
                  <a:lnTo>
                    <a:pt x="47" y="209"/>
                  </a:lnTo>
                  <a:lnTo>
                    <a:pt x="51" y="198"/>
                  </a:lnTo>
                  <a:lnTo>
                    <a:pt x="56" y="186"/>
                  </a:lnTo>
                  <a:lnTo>
                    <a:pt x="60" y="175"/>
                  </a:lnTo>
                  <a:lnTo>
                    <a:pt x="65" y="164"/>
                  </a:lnTo>
                  <a:lnTo>
                    <a:pt x="72" y="155"/>
                  </a:lnTo>
                  <a:lnTo>
                    <a:pt x="78" y="144"/>
                  </a:lnTo>
                  <a:lnTo>
                    <a:pt x="85" y="134"/>
                  </a:lnTo>
                  <a:lnTo>
                    <a:pt x="92" y="126"/>
                  </a:lnTo>
                  <a:lnTo>
                    <a:pt x="100" y="116"/>
                  </a:lnTo>
                  <a:lnTo>
                    <a:pt x="108" y="108"/>
                  </a:lnTo>
                  <a:lnTo>
                    <a:pt x="117" y="100"/>
                  </a:lnTo>
                  <a:lnTo>
                    <a:pt x="126" y="92"/>
                  </a:lnTo>
                  <a:lnTo>
                    <a:pt x="135" y="84"/>
                  </a:lnTo>
                  <a:lnTo>
                    <a:pt x="145" y="78"/>
                  </a:lnTo>
                  <a:lnTo>
                    <a:pt x="155" y="72"/>
                  </a:lnTo>
                  <a:lnTo>
                    <a:pt x="165" y="65"/>
                  </a:lnTo>
                  <a:lnTo>
                    <a:pt x="175" y="60"/>
                  </a:lnTo>
                  <a:lnTo>
                    <a:pt x="186" y="55"/>
                  </a:lnTo>
                  <a:lnTo>
                    <a:pt x="198" y="50"/>
                  </a:lnTo>
                  <a:lnTo>
                    <a:pt x="209" y="47"/>
                  </a:lnTo>
                  <a:lnTo>
                    <a:pt x="221" y="43"/>
                  </a:lnTo>
                  <a:lnTo>
                    <a:pt x="233" y="40"/>
                  </a:lnTo>
                  <a:lnTo>
                    <a:pt x="245" y="38"/>
                  </a:lnTo>
                  <a:lnTo>
                    <a:pt x="257" y="37"/>
                  </a:lnTo>
                  <a:lnTo>
                    <a:pt x="270" y="36"/>
                  </a:lnTo>
                  <a:lnTo>
                    <a:pt x="282" y="36"/>
                  </a:lnTo>
                  <a:lnTo>
                    <a:pt x="295" y="36"/>
                  </a:lnTo>
                  <a:lnTo>
                    <a:pt x="308" y="37"/>
                  </a:lnTo>
                  <a:lnTo>
                    <a:pt x="320" y="38"/>
                  </a:lnTo>
                  <a:lnTo>
                    <a:pt x="332" y="40"/>
                  </a:lnTo>
                  <a:lnTo>
                    <a:pt x="344" y="43"/>
                  </a:lnTo>
                  <a:lnTo>
                    <a:pt x="356" y="47"/>
                  </a:lnTo>
                  <a:lnTo>
                    <a:pt x="368" y="50"/>
                  </a:lnTo>
                  <a:lnTo>
                    <a:pt x="378" y="55"/>
                  </a:lnTo>
                  <a:lnTo>
                    <a:pt x="389" y="60"/>
                  </a:lnTo>
                  <a:lnTo>
                    <a:pt x="400" y="65"/>
                  </a:lnTo>
                  <a:lnTo>
                    <a:pt x="411" y="72"/>
                  </a:lnTo>
                  <a:lnTo>
                    <a:pt x="421" y="78"/>
                  </a:lnTo>
                  <a:lnTo>
                    <a:pt x="430" y="84"/>
                  </a:lnTo>
                  <a:lnTo>
                    <a:pt x="440" y="92"/>
                  </a:lnTo>
                  <a:lnTo>
                    <a:pt x="449" y="100"/>
                  </a:lnTo>
                  <a:lnTo>
                    <a:pt x="457" y="108"/>
                  </a:lnTo>
                  <a:lnTo>
                    <a:pt x="465" y="116"/>
                  </a:lnTo>
                  <a:lnTo>
                    <a:pt x="473" y="126"/>
                  </a:lnTo>
                  <a:lnTo>
                    <a:pt x="480" y="134"/>
                  </a:lnTo>
                  <a:lnTo>
                    <a:pt x="488" y="144"/>
                  </a:lnTo>
                  <a:lnTo>
                    <a:pt x="494" y="155"/>
                  </a:lnTo>
                  <a:lnTo>
                    <a:pt x="499" y="164"/>
                  </a:lnTo>
                  <a:lnTo>
                    <a:pt x="505" y="175"/>
                  </a:lnTo>
                  <a:lnTo>
                    <a:pt x="510" y="186"/>
                  </a:lnTo>
                  <a:lnTo>
                    <a:pt x="515" y="198"/>
                  </a:lnTo>
                  <a:lnTo>
                    <a:pt x="519" y="209"/>
                  </a:lnTo>
                  <a:lnTo>
                    <a:pt x="522" y="221"/>
                  </a:lnTo>
                  <a:lnTo>
                    <a:pt x="524" y="232"/>
                  </a:lnTo>
                  <a:lnTo>
                    <a:pt x="526" y="244"/>
                  </a:lnTo>
                  <a:lnTo>
                    <a:pt x="529" y="257"/>
                  </a:lnTo>
                  <a:lnTo>
                    <a:pt x="530" y="269"/>
                  </a:lnTo>
                  <a:lnTo>
                    <a:pt x="530" y="282"/>
                  </a:lnTo>
                  <a:lnTo>
                    <a:pt x="530" y="295"/>
                  </a:lnTo>
                  <a:lnTo>
                    <a:pt x="529" y="307"/>
                  </a:lnTo>
                  <a:lnTo>
                    <a:pt x="526" y="320"/>
                  </a:lnTo>
                  <a:lnTo>
                    <a:pt x="524" y="332"/>
                  </a:lnTo>
                  <a:lnTo>
                    <a:pt x="522" y="344"/>
                  </a:lnTo>
                  <a:lnTo>
                    <a:pt x="519" y="356"/>
                  </a:lnTo>
                  <a:lnTo>
                    <a:pt x="515" y="367"/>
                  </a:lnTo>
                  <a:lnTo>
                    <a:pt x="510" y="378"/>
                  </a:lnTo>
                  <a:lnTo>
                    <a:pt x="505" y="389"/>
                  </a:lnTo>
                  <a:lnTo>
                    <a:pt x="499" y="400"/>
                  </a:lnTo>
                  <a:lnTo>
                    <a:pt x="494" y="411"/>
                  </a:lnTo>
                  <a:lnTo>
                    <a:pt x="488" y="420"/>
                  </a:lnTo>
                  <a:lnTo>
                    <a:pt x="480" y="430"/>
                  </a:lnTo>
                  <a:lnTo>
                    <a:pt x="473" y="439"/>
                  </a:lnTo>
                  <a:lnTo>
                    <a:pt x="465" y="448"/>
                  </a:lnTo>
                  <a:lnTo>
                    <a:pt x="457" y="457"/>
                  </a:lnTo>
                  <a:lnTo>
                    <a:pt x="449" y="465"/>
                  </a:lnTo>
                  <a:lnTo>
                    <a:pt x="440" y="472"/>
                  </a:lnTo>
                  <a:lnTo>
                    <a:pt x="430" y="480"/>
                  </a:lnTo>
                  <a:lnTo>
                    <a:pt x="421" y="487"/>
                  </a:lnTo>
                  <a:lnTo>
                    <a:pt x="411" y="494"/>
                  </a:lnTo>
                  <a:lnTo>
                    <a:pt x="400" y="499"/>
                  </a:lnTo>
                  <a:lnTo>
                    <a:pt x="389" y="505"/>
                  </a:lnTo>
                  <a:lnTo>
                    <a:pt x="378" y="510"/>
                  </a:lnTo>
                  <a:lnTo>
                    <a:pt x="368" y="514"/>
                  </a:lnTo>
                  <a:lnTo>
                    <a:pt x="356" y="518"/>
                  </a:lnTo>
                  <a:lnTo>
                    <a:pt x="344" y="521"/>
                  </a:lnTo>
                  <a:lnTo>
                    <a:pt x="332" y="524"/>
                  </a:lnTo>
                  <a:lnTo>
                    <a:pt x="320" y="526"/>
                  </a:lnTo>
                  <a:lnTo>
                    <a:pt x="308" y="528"/>
                  </a:lnTo>
                  <a:lnTo>
                    <a:pt x="295" y="528"/>
                  </a:lnTo>
                  <a:lnTo>
                    <a:pt x="282" y="529"/>
                  </a:lnTo>
                  <a:close/>
                  <a:moveTo>
                    <a:pt x="282" y="0"/>
                  </a:moveTo>
                  <a:lnTo>
                    <a:pt x="268" y="0"/>
                  </a:lnTo>
                  <a:lnTo>
                    <a:pt x="254" y="1"/>
                  </a:lnTo>
                  <a:lnTo>
                    <a:pt x="239" y="3"/>
                  </a:lnTo>
                  <a:lnTo>
                    <a:pt x="226" y="6"/>
                  </a:lnTo>
                  <a:lnTo>
                    <a:pt x="212" y="9"/>
                  </a:lnTo>
                  <a:lnTo>
                    <a:pt x="199" y="13"/>
                  </a:lnTo>
                  <a:lnTo>
                    <a:pt x="185" y="18"/>
                  </a:lnTo>
                  <a:lnTo>
                    <a:pt x="173" y="22"/>
                  </a:lnTo>
                  <a:lnTo>
                    <a:pt x="160" y="28"/>
                  </a:lnTo>
                  <a:lnTo>
                    <a:pt x="148" y="34"/>
                  </a:lnTo>
                  <a:lnTo>
                    <a:pt x="137" y="41"/>
                  </a:lnTo>
                  <a:lnTo>
                    <a:pt x="125" y="48"/>
                  </a:lnTo>
                  <a:lnTo>
                    <a:pt x="114" y="56"/>
                  </a:lnTo>
                  <a:lnTo>
                    <a:pt x="103" y="65"/>
                  </a:lnTo>
                  <a:lnTo>
                    <a:pt x="93" y="74"/>
                  </a:lnTo>
                  <a:lnTo>
                    <a:pt x="84" y="82"/>
                  </a:lnTo>
                  <a:lnTo>
                    <a:pt x="74" y="92"/>
                  </a:lnTo>
                  <a:lnTo>
                    <a:pt x="65" y="103"/>
                  </a:lnTo>
                  <a:lnTo>
                    <a:pt x="57" y="114"/>
                  </a:lnTo>
                  <a:lnTo>
                    <a:pt x="49" y="124"/>
                  </a:lnTo>
                  <a:lnTo>
                    <a:pt x="41" y="136"/>
                  </a:lnTo>
                  <a:lnTo>
                    <a:pt x="35" y="148"/>
                  </a:lnTo>
                  <a:lnTo>
                    <a:pt x="29" y="160"/>
                  </a:lnTo>
                  <a:lnTo>
                    <a:pt x="23" y="172"/>
                  </a:lnTo>
                  <a:lnTo>
                    <a:pt x="18" y="185"/>
                  </a:lnTo>
                  <a:lnTo>
                    <a:pt x="13" y="198"/>
                  </a:lnTo>
                  <a:lnTo>
                    <a:pt x="9" y="212"/>
                  </a:lnTo>
                  <a:lnTo>
                    <a:pt x="6" y="225"/>
                  </a:lnTo>
                  <a:lnTo>
                    <a:pt x="4" y="239"/>
                  </a:lnTo>
                  <a:lnTo>
                    <a:pt x="2" y="253"/>
                  </a:lnTo>
                  <a:lnTo>
                    <a:pt x="0" y="268"/>
                  </a:lnTo>
                  <a:lnTo>
                    <a:pt x="0" y="282"/>
                  </a:lnTo>
                  <a:lnTo>
                    <a:pt x="0" y="297"/>
                  </a:lnTo>
                  <a:lnTo>
                    <a:pt x="2" y="311"/>
                  </a:lnTo>
                  <a:lnTo>
                    <a:pt x="4" y="325"/>
                  </a:lnTo>
                  <a:lnTo>
                    <a:pt x="6" y="339"/>
                  </a:lnTo>
                  <a:lnTo>
                    <a:pt x="9" y="352"/>
                  </a:lnTo>
                  <a:lnTo>
                    <a:pt x="13" y="366"/>
                  </a:lnTo>
                  <a:lnTo>
                    <a:pt x="18" y="379"/>
                  </a:lnTo>
                  <a:lnTo>
                    <a:pt x="23" y="392"/>
                  </a:lnTo>
                  <a:lnTo>
                    <a:pt x="29" y="404"/>
                  </a:lnTo>
                  <a:lnTo>
                    <a:pt x="35" y="417"/>
                  </a:lnTo>
                  <a:lnTo>
                    <a:pt x="41" y="429"/>
                  </a:lnTo>
                  <a:lnTo>
                    <a:pt x="49" y="440"/>
                  </a:lnTo>
                  <a:lnTo>
                    <a:pt x="57" y="451"/>
                  </a:lnTo>
                  <a:lnTo>
                    <a:pt x="65" y="461"/>
                  </a:lnTo>
                  <a:lnTo>
                    <a:pt x="74" y="472"/>
                  </a:lnTo>
                  <a:lnTo>
                    <a:pt x="84" y="482"/>
                  </a:lnTo>
                  <a:lnTo>
                    <a:pt x="93" y="491"/>
                  </a:lnTo>
                  <a:lnTo>
                    <a:pt x="103" y="500"/>
                  </a:lnTo>
                  <a:lnTo>
                    <a:pt x="114" y="508"/>
                  </a:lnTo>
                  <a:lnTo>
                    <a:pt x="125" y="516"/>
                  </a:lnTo>
                  <a:lnTo>
                    <a:pt x="137" y="524"/>
                  </a:lnTo>
                  <a:lnTo>
                    <a:pt x="148" y="531"/>
                  </a:lnTo>
                  <a:lnTo>
                    <a:pt x="160" y="537"/>
                  </a:lnTo>
                  <a:lnTo>
                    <a:pt x="173" y="542"/>
                  </a:lnTo>
                  <a:lnTo>
                    <a:pt x="185" y="547"/>
                  </a:lnTo>
                  <a:lnTo>
                    <a:pt x="199" y="552"/>
                  </a:lnTo>
                  <a:lnTo>
                    <a:pt x="212" y="555"/>
                  </a:lnTo>
                  <a:lnTo>
                    <a:pt x="226" y="559"/>
                  </a:lnTo>
                  <a:lnTo>
                    <a:pt x="239" y="561"/>
                  </a:lnTo>
                  <a:lnTo>
                    <a:pt x="254" y="563"/>
                  </a:lnTo>
                  <a:lnTo>
                    <a:pt x="268" y="564"/>
                  </a:lnTo>
                  <a:lnTo>
                    <a:pt x="282" y="564"/>
                  </a:lnTo>
                  <a:lnTo>
                    <a:pt x="297" y="564"/>
                  </a:lnTo>
                  <a:lnTo>
                    <a:pt x="311" y="563"/>
                  </a:lnTo>
                  <a:lnTo>
                    <a:pt x="326" y="561"/>
                  </a:lnTo>
                  <a:lnTo>
                    <a:pt x="340" y="559"/>
                  </a:lnTo>
                  <a:lnTo>
                    <a:pt x="354" y="555"/>
                  </a:lnTo>
                  <a:lnTo>
                    <a:pt x="367" y="552"/>
                  </a:lnTo>
                  <a:lnTo>
                    <a:pt x="380" y="547"/>
                  </a:lnTo>
                  <a:lnTo>
                    <a:pt x="392" y="542"/>
                  </a:lnTo>
                  <a:lnTo>
                    <a:pt x="405" y="537"/>
                  </a:lnTo>
                  <a:lnTo>
                    <a:pt x="417" y="531"/>
                  </a:lnTo>
                  <a:lnTo>
                    <a:pt x="429" y="524"/>
                  </a:lnTo>
                  <a:lnTo>
                    <a:pt x="440" y="516"/>
                  </a:lnTo>
                  <a:lnTo>
                    <a:pt x="452" y="508"/>
                  </a:lnTo>
                  <a:lnTo>
                    <a:pt x="462" y="500"/>
                  </a:lnTo>
                  <a:lnTo>
                    <a:pt x="472" y="491"/>
                  </a:lnTo>
                  <a:lnTo>
                    <a:pt x="482" y="482"/>
                  </a:lnTo>
                  <a:lnTo>
                    <a:pt x="492" y="472"/>
                  </a:lnTo>
                  <a:lnTo>
                    <a:pt x="500" y="461"/>
                  </a:lnTo>
                  <a:lnTo>
                    <a:pt x="509" y="451"/>
                  </a:lnTo>
                  <a:lnTo>
                    <a:pt x="517" y="440"/>
                  </a:lnTo>
                  <a:lnTo>
                    <a:pt x="524" y="429"/>
                  </a:lnTo>
                  <a:lnTo>
                    <a:pt x="531" y="417"/>
                  </a:lnTo>
                  <a:lnTo>
                    <a:pt x="537" y="404"/>
                  </a:lnTo>
                  <a:lnTo>
                    <a:pt x="543" y="392"/>
                  </a:lnTo>
                  <a:lnTo>
                    <a:pt x="548" y="379"/>
                  </a:lnTo>
                  <a:lnTo>
                    <a:pt x="552" y="366"/>
                  </a:lnTo>
                  <a:lnTo>
                    <a:pt x="556" y="352"/>
                  </a:lnTo>
                  <a:lnTo>
                    <a:pt x="559" y="339"/>
                  </a:lnTo>
                  <a:lnTo>
                    <a:pt x="561" y="325"/>
                  </a:lnTo>
                  <a:lnTo>
                    <a:pt x="563" y="311"/>
                  </a:lnTo>
                  <a:lnTo>
                    <a:pt x="564" y="297"/>
                  </a:lnTo>
                  <a:lnTo>
                    <a:pt x="564" y="282"/>
                  </a:lnTo>
                  <a:lnTo>
                    <a:pt x="564" y="268"/>
                  </a:lnTo>
                  <a:lnTo>
                    <a:pt x="563" y="253"/>
                  </a:lnTo>
                  <a:lnTo>
                    <a:pt x="561" y="239"/>
                  </a:lnTo>
                  <a:lnTo>
                    <a:pt x="559" y="225"/>
                  </a:lnTo>
                  <a:lnTo>
                    <a:pt x="556" y="212"/>
                  </a:lnTo>
                  <a:lnTo>
                    <a:pt x="552" y="198"/>
                  </a:lnTo>
                  <a:lnTo>
                    <a:pt x="548" y="185"/>
                  </a:lnTo>
                  <a:lnTo>
                    <a:pt x="543" y="172"/>
                  </a:lnTo>
                  <a:lnTo>
                    <a:pt x="537" y="160"/>
                  </a:lnTo>
                  <a:lnTo>
                    <a:pt x="531" y="148"/>
                  </a:lnTo>
                  <a:lnTo>
                    <a:pt x="524" y="136"/>
                  </a:lnTo>
                  <a:lnTo>
                    <a:pt x="517" y="124"/>
                  </a:lnTo>
                  <a:lnTo>
                    <a:pt x="509" y="114"/>
                  </a:lnTo>
                  <a:lnTo>
                    <a:pt x="500" y="103"/>
                  </a:lnTo>
                  <a:lnTo>
                    <a:pt x="492" y="92"/>
                  </a:lnTo>
                  <a:lnTo>
                    <a:pt x="482" y="82"/>
                  </a:lnTo>
                  <a:lnTo>
                    <a:pt x="472" y="74"/>
                  </a:lnTo>
                  <a:lnTo>
                    <a:pt x="462" y="65"/>
                  </a:lnTo>
                  <a:lnTo>
                    <a:pt x="452" y="56"/>
                  </a:lnTo>
                  <a:lnTo>
                    <a:pt x="440" y="48"/>
                  </a:lnTo>
                  <a:lnTo>
                    <a:pt x="429" y="41"/>
                  </a:lnTo>
                  <a:lnTo>
                    <a:pt x="417" y="34"/>
                  </a:lnTo>
                  <a:lnTo>
                    <a:pt x="405" y="28"/>
                  </a:lnTo>
                  <a:lnTo>
                    <a:pt x="392" y="22"/>
                  </a:lnTo>
                  <a:lnTo>
                    <a:pt x="380" y="18"/>
                  </a:lnTo>
                  <a:lnTo>
                    <a:pt x="367" y="13"/>
                  </a:lnTo>
                  <a:lnTo>
                    <a:pt x="354" y="9"/>
                  </a:lnTo>
                  <a:lnTo>
                    <a:pt x="340" y="6"/>
                  </a:lnTo>
                  <a:lnTo>
                    <a:pt x="326" y="3"/>
                  </a:lnTo>
                  <a:lnTo>
                    <a:pt x="311" y="1"/>
                  </a:lnTo>
                  <a:lnTo>
                    <a:pt x="297" y="0"/>
                  </a:lnTo>
                  <a:lnTo>
                    <a:pt x="28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301" name="Freeform 267">
              <a:extLst>
                <a:ext uri="{FF2B5EF4-FFF2-40B4-BE49-F238E27FC236}">
                  <a16:creationId xmlns:a16="http://schemas.microsoft.com/office/drawing/2014/main" id="{C7393E1D-0D2E-49AD-9A7A-A5B37906B0E6}"/>
                </a:ext>
              </a:extLst>
            </p:cNvPr>
            <p:cNvSpPr>
              <a:spLocks noEditPoints="1"/>
            </p:cNvSpPr>
            <p:nvPr/>
          </p:nvSpPr>
          <p:spPr bwMode="auto">
            <a:xfrm>
              <a:off x="10677525" y="1674813"/>
              <a:ext cx="336550" cy="339725"/>
            </a:xfrm>
            <a:custGeom>
              <a:avLst/>
              <a:gdLst>
                <a:gd name="T0" fmla="*/ 43 w 846"/>
                <a:gd name="T1" fmla="*/ 345 h 857"/>
                <a:gd name="T2" fmla="*/ 73 w 846"/>
                <a:gd name="T3" fmla="*/ 256 h 857"/>
                <a:gd name="T4" fmla="*/ 123 w 846"/>
                <a:gd name="T5" fmla="*/ 177 h 857"/>
                <a:gd name="T6" fmla="*/ 191 w 846"/>
                <a:gd name="T7" fmla="*/ 112 h 857"/>
                <a:gd name="T8" fmla="*/ 272 w 846"/>
                <a:gd name="T9" fmla="*/ 66 h 857"/>
                <a:gd name="T10" fmla="*/ 364 w 846"/>
                <a:gd name="T11" fmla="*/ 40 h 857"/>
                <a:gd name="T12" fmla="*/ 462 w 846"/>
                <a:gd name="T13" fmla="*/ 38 h 857"/>
                <a:gd name="T14" fmla="*/ 556 w 846"/>
                <a:gd name="T15" fmla="*/ 59 h 857"/>
                <a:gd name="T16" fmla="*/ 639 w 846"/>
                <a:gd name="T17" fmla="*/ 101 h 857"/>
                <a:gd name="T18" fmla="*/ 709 w 846"/>
                <a:gd name="T19" fmla="*/ 163 h 857"/>
                <a:gd name="T20" fmla="*/ 763 w 846"/>
                <a:gd name="T21" fmla="*/ 238 h 857"/>
                <a:gd name="T22" fmla="*/ 798 w 846"/>
                <a:gd name="T23" fmla="*/ 326 h 857"/>
                <a:gd name="T24" fmla="*/ 811 w 846"/>
                <a:gd name="T25" fmla="*/ 423 h 857"/>
                <a:gd name="T26" fmla="*/ 798 w 846"/>
                <a:gd name="T27" fmla="*/ 520 h 857"/>
                <a:gd name="T28" fmla="*/ 763 w 846"/>
                <a:gd name="T29" fmla="*/ 608 h 857"/>
                <a:gd name="T30" fmla="*/ 709 w 846"/>
                <a:gd name="T31" fmla="*/ 684 h 857"/>
                <a:gd name="T32" fmla="*/ 639 w 846"/>
                <a:gd name="T33" fmla="*/ 745 h 857"/>
                <a:gd name="T34" fmla="*/ 556 w 846"/>
                <a:gd name="T35" fmla="*/ 787 h 857"/>
                <a:gd name="T36" fmla="*/ 462 w 846"/>
                <a:gd name="T37" fmla="*/ 809 h 857"/>
                <a:gd name="T38" fmla="*/ 364 w 846"/>
                <a:gd name="T39" fmla="*/ 807 h 857"/>
                <a:gd name="T40" fmla="*/ 272 w 846"/>
                <a:gd name="T41" fmla="*/ 781 h 857"/>
                <a:gd name="T42" fmla="*/ 191 w 846"/>
                <a:gd name="T43" fmla="*/ 734 h 857"/>
                <a:gd name="T44" fmla="*/ 123 w 846"/>
                <a:gd name="T45" fmla="*/ 669 h 857"/>
                <a:gd name="T46" fmla="*/ 73 w 846"/>
                <a:gd name="T47" fmla="*/ 592 h 857"/>
                <a:gd name="T48" fmla="*/ 43 w 846"/>
                <a:gd name="T49" fmla="*/ 501 h 857"/>
                <a:gd name="T50" fmla="*/ 846 w 846"/>
                <a:gd name="T51" fmla="*/ 423 h 857"/>
                <a:gd name="T52" fmla="*/ 833 w 846"/>
                <a:gd name="T53" fmla="*/ 317 h 857"/>
                <a:gd name="T54" fmla="*/ 795 w 846"/>
                <a:gd name="T55" fmla="*/ 221 h 857"/>
                <a:gd name="T56" fmla="*/ 736 w 846"/>
                <a:gd name="T57" fmla="*/ 139 h 857"/>
                <a:gd name="T58" fmla="*/ 660 w 846"/>
                <a:gd name="T59" fmla="*/ 72 h 857"/>
                <a:gd name="T60" fmla="*/ 568 w 846"/>
                <a:gd name="T61" fmla="*/ 26 h 857"/>
                <a:gd name="T62" fmla="*/ 466 w 846"/>
                <a:gd name="T63" fmla="*/ 2 h 857"/>
                <a:gd name="T64" fmla="*/ 358 w 846"/>
                <a:gd name="T65" fmla="*/ 5 h 857"/>
                <a:gd name="T66" fmla="*/ 258 w 846"/>
                <a:gd name="T67" fmla="*/ 33 h 857"/>
                <a:gd name="T68" fmla="*/ 169 w 846"/>
                <a:gd name="T69" fmla="*/ 84 h 857"/>
                <a:gd name="T70" fmla="*/ 96 w 846"/>
                <a:gd name="T71" fmla="*/ 154 h 857"/>
                <a:gd name="T72" fmla="*/ 41 w 846"/>
                <a:gd name="T73" fmla="*/ 240 h 857"/>
                <a:gd name="T74" fmla="*/ 8 w 846"/>
                <a:gd name="T75" fmla="*/ 338 h 857"/>
                <a:gd name="T76" fmla="*/ 0 w 846"/>
                <a:gd name="T77" fmla="*/ 447 h 857"/>
                <a:gd name="T78" fmla="*/ 23 w 846"/>
                <a:gd name="T79" fmla="*/ 561 h 857"/>
                <a:gd name="T80" fmla="*/ 73 w 846"/>
                <a:gd name="T81" fmla="*/ 662 h 857"/>
                <a:gd name="T82" fmla="*/ 148 w 846"/>
                <a:gd name="T83" fmla="*/ 745 h 857"/>
                <a:gd name="T84" fmla="*/ 203 w 846"/>
                <a:gd name="T85" fmla="*/ 785 h 857"/>
                <a:gd name="T86" fmla="*/ 275 w 846"/>
                <a:gd name="T87" fmla="*/ 819 h 857"/>
                <a:gd name="T88" fmla="*/ 355 w 846"/>
                <a:gd name="T89" fmla="*/ 841 h 857"/>
                <a:gd name="T90" fmla="*/ 439 w 846"/>
                <a:gd name="T91" fmla="*/ 846 h 857"/>
                <a:gd name="T92" fmla="*/ 523 w 846"/>
                <a:gd name="T93" fmla="*/ 835 h 857"/>
                <a:gd name="T94" fmla="*/ 599 w 846"/>
                <a:gd name="T95" fmla="*/ 808 h 857"/>
                <a:gd name="T96" fmla="*/ 668 w 846"/>
                <a:gd name="T97" fmla="*/ 768 h 857"/>
                <a:gd name="T98" fmla="*/ 729 w 846"/>
                <a:gd name="T99" fmla="*/ 715 h 857"/>
                <a:gd name="T100" fmla="*/ 795 w 846"/>
                <a:gd name="T101" fmla="*/ 624 h 857"/>
                <a:gd name="T102" fmla="*/ 836 w 846"/>
                <a:gd name="T103" fmla="*/ 51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6" h="857">
                  <a:moveTo>
                    <a:pt x="34" y="423"/>
                  </a:moveTo>
                  <a:lnTo>
                    <a:pt x="35" y="404"/>
                  </a:lnTo>
                  <a:lnTo>
                    <a:pt x="37" y="383"/>
                  </a:lnTo>
                  <a:lnTo>
                    <a:pt x="40" y="364"/>
                  </a:lnTo>
                  <a:lnTo>
                    <a:pt x="43" y="345"/>
                  </a:lnTo>
                  <a:lnTo>
                    <a:pt x="47" y="326"/>
                  </a:lnTo>
                  <a:lnTo>
                    <a:pt x="53" y="308"/>
                  </a:lnTo>
                  <a:lnTo>
                    <a:pt x="58" y="290"/>
                  </a:lnTo>
                  <a:lnTo>
                    <a:pt x="66" y="272"/>
                  </a:lnTo>
                  <a:lnTo>
                    <a:pt x="73" y="256"/>
                  </a:lnTo>
                  <a:lnTo>
                    <a:pt x="82" y="238"/>
                  </a:lnTo>
                  <a:lnTo>
                    <a:pt x="91" y="222"/>
                  </a:lnTo>
                  <a:lnTo>
                    <a:pt x="101" y="206"/>
                  </a:lnTo>
                  <a:lnTo>
                    <a:pt x="112" y="191"/>
                  </a:lnTo>
                  <a:lnTo>
                    <a:pt x="123" y="177"/>
                  </a:lnTo>
                  <a:lnTo>
                    <a:pt x="136" y="163"/>
                  </a:lnTo>
                  <a:lnTo>
                    <a:pt x="149" y="149"/>
                  </a:lnTo>
                  <a:lnTo>
                    <a:pt x="162" y="136"/>
                  </a:lnTo>
                  <a:lnTo>
                    <a:pt x="176" y="124"/>
                  </a:lnTo>
                  <a:lnTo>
                    <a:pt x="191" y="112"/>
                  </a:lnTo>
                  <a:lnTo>
                    <a:pt x="206" y="101"/>
                  </a:lnTo>
                  <a:lnTo>
                    <a:pt x="221" y="92"/>
                  </a:lnTo>
                  <a:lnTo>
                    <a:pt x="237" y="82"/>
                  </a:lnTo>
                  <a:lnTo>
                    <a:pt x="255" y="73"/>
                  </a:lnTo>
                  <a:lnTo>
                    <a:pt x="272" y="66"/>
                  </a:lnTo>
                  <a:lnTo>
                    <a:pt x="289" y="59"/>
                  </a:lnTo>
                  <a:lnTo>
                    <a:pt x="308" y="53"/>
                  </a:lnTo>
                  <a:lnTo>
                    <a:pt x="326" y="47"/>
                  </a:lnTo>
                  <a:lnTo>
                    <a:pt x="344" y="43"/>
                  </a:lnTo>
                  <a:lnTo>
                    <a:pt x="364" y="40"/>
                  </a:lnTo>
                  <a:lnTo>
                    <a:pt x="383" y="38"/>
                  </a:lnTo>
                  <a:lnTo>
                    <a:pt x="403" y="35"/>
                  </a:lnTo>
                  <a:lnTo>
                    <a:pt x="423" y="35"/>
                  </a:lnTo>
                  <a:lnTo>
                    <a:pt x="443" y="35"/>
                  </a:lnTo>
                  <a:lnTo>
                    <a:pt x="462" y="38"/>
                  </a:lnTo>
                  <a:lnTo>
                    <a:pt x="482" y="40"/>
                  </a:lnTo>
                  <a:lnTo>
                    <a:pt x="501" y="43"/>
                  </a:lnTo>
                  <a:lnTo>
                    <a:pt x="519" y="47"/>
                  </a:lnTo>
                  <a:lnTo>
                    <a:pt x="538" y="53"/>
                  </a:lnTo>
                  <a:lnTo>
                    <a:pt x="556" y="59"/>
                  </a:lnTo>
                  <a:lnTo>
                    <a:pt x="573" y="66"/>
                  </a:lnTo>
                  <a:lnTo>
                    <a:pt x="591" y="73"/>
                  </a:lnTo>
                  <a:lnTo>
                    <a:pt x="608" y="82"/>
                  </a:lnTo>
                  <a:lnTo>
                    <a:pt x="624" y="92"/>
                  </a:lnTo>
                  <a:lnTo>
                    <a:pt x="639" y="101"/>
                  </a:lnTo>
                  <a:lnTo>
                    <a:pt x="654" y="112"/>
                  </a:lnTo>
                  <a:lnTo>
                    <a:pt x="669" y="124"/>
                  </a:lnTo>
                  <a:lnTo>
                    <a:pt x="684" y="136"/>
                  </a:lnTo>
                  <a:lnTo>
                    <a:pt x="696" y="149"/>
                  </a:lnTo>
                  <a:lnTo>
                    <a:pt x="709" y="163"/>
                  </a:lnTo>
                  <a:lnTo>
                    <a:pt x="722" y="177"/>
                  </a:lnTo>
                  <a:lnTo>
                    <a:pt x="733" y="191"/>
                  </a:lnTo>
                  <a:lnTo>
                    <a:pt x="744" y="206"/>
                  </a:lnTo>
                  <a:lnTo>
                    <a:pt x="755" y="222"/>
                  </a:lnTo>
                  <a:lnTo>
                    <a:pt x="763" y="238"/>
                  </a:lnTo>
                  <a:lnTo>
                    <a:pt x="772" y="256"/>
                  </a:lnTo>
                  <a:lnTo>
                    <a:pt x="780" y="272"/>
                  </a:lnTo>
                  <a:lnTo>
                    <a:pt x="787" y="290"/>
                  </a:lnTo>
                  <a:lnTo>
                    <a:pt x="794" y="308"/>
                  </a:lnTo>
                  <a:lnTo>
                    <a:pt x="798" y="326"/>
                  </a:lnTo>
                  <a:lnTo>
                    <a:pt x="802" y="345"/>
                  </a:lnTo>
                  <a:lnTo>
                    <a:pt x="807" y="364"/>
                  </a:lnTo>
                  <a:lnTo>
                    <a:pt x="809" y="383"/>
                  </a:lnTo>
                  <a:lnTo>
                    <a:pt x="810" y="404"/>
                  </a:lnTo>
                  <a:lnTo>
                    <a:pt x="811" y="423"/>
                  </a:lnTo>
                  <a:lnTo>
                    <a:pt x="810" y="444"/>
                  </a:lnTo>
                  <a:lnTo>
                    <a:pt x="809" y="463"/>
                  </a:lnTo>
                  <a:lnTo>
                    <a:pt x="807" y="483"/>
                  </a:lnTo>
                  <a:lnTo>
                    <a:pt x="802" y="501"/>
                  </a:lnTo>
                  <a:lnTo>
                    <a:pt x="798" y="520"/>
                  </a:lnTo>
                  <a:lnTo>
                    <a:pt x="794" y="539"/>
                  </a:lnTo>
                  <a:lnTo>
                    <a:pt x="787" y="556"/>
                  </a:lnTo>
                  <a:lnTo>
                    <a:pt x="780" y="574"/>
                  </a:lnTo>
                  <a:lnTo>
                    <a:pt x="772" y="592"/>
                  </a:lnTo>
                  <a:lnTo>
                    <a:pt x="763" y="608"/>
                  </a:lnTo>
                  <a:lnTo>
                    <a:pt x="755" y="624"/>
                  </a:lnTo>
                  <a:lnTo>
                    <a:pt x="744" y="640"/>
                  </a:lnTo>
                  <a:lnTo>
                    <a:pt x="733" y="655"/>
                  </a:lnTo>
                  <a:lnTo>
                    <a:pt x="722" y="669"/>
                  </a:lnTo>
                  <a:lnTo>
                    <a:pt x="709" y="684"/>
                  </a:lnTo>
                  <a:lnTo>
                    <a:pt x="696" y="697"/>
                  </a:lnTo>
                  <a:lnTo>
                    <a:pt x="684" y="710"/>
                  </a:lnTo>
                  <a:lnTo>
                    <a:pt x="669" y="722"/>
                  </a:lnTo>
                  <a:lnTo>
                    <a:pt x="654" y="734"/>
                  </a:lnTo>
                  <a:lnTo>
                    <a:pt x="639" y="745"/>
                  </a:lnTo>
                  <a:lnTo>
                    <a:pt x="624" y="755"/>
                  </a:lnTo>
                  <a:lnTo>
                    <a:pt x="608" y="764"/>
                  </a:lnTo>
                  <a:lnTo>
                    <a:pt x="591" y="773"/>
                  </a:lnTo>
                  <a:lnTo>
                    <a:pt x="573" y="781"/>
                  </a:lnTo>
                  <a:lnTo>
                    <a:pt x="556" y="787"/>
                  </a:lnTo>
                  <a:lnTo>
                    <a:pt x="538" y="794"/>
                  </a:lnTo>
                  <a:lnTo>
                    <a:pt x="519" y="799"/>
                  </a:lnTo>
                  <a:lnTo>
                    <a:pt x="501" y="803"/>
                  </a:lnTo>
                  <a:lnTo>
                    <a:pt x="482" y="807"/>
                  </a:lnTo>
                  <a:lnTo>
                    <a:pt x="462" y="809"/>
                  </a:lnTo>
                  <a:lnTo>
                    <a:pt x="443" y="811"/>
                  </a:lnTo>
                  <a:lnTo>
                    <a:pt x="423" y="811"/>
                  </a:lnTo>
                  <a:lnTo>
                    <a:pt x="403" y="811"/>
                  </a:lnTo>
                  <a:lnTo>
                    <a:pt x="383" y="809"/>
                  </a:lnTo>
                  <a:lnTo>
                    <a:pt x="364" y="807"/>
                  </a:lnTo>
                  <a:lnTo>
                    <a:pt x="344" y="803"/>
                  </a:lnTo>
                  <a:lnTo>
                    <a:pt x="326" y="799"/>
                  </a:lnTo>
                  <a:lnTo>
                    <a:pt x="308" y="794"/>
                  </a:lnTo>
                  <a:lnTo>
                    <a:pt x="289" y="787"/>
                  </a:lnTo>
                  <a:lnTo>
                    <a:pt x="272" y="781"/>
                  </a:lnTo>
                  <a:lnTo>
                    <a:pt x="255" y="773"/>
                  </a:lnTo>
                  <a:lnTo>
                    <a:pt x="237" y="764"/>
                  </a:lnTo>
                  <a:lnTo>
                    <a:pt x="221" y="755"/>
                  </a:lnTo>
                  <a:lnTo>
                    <a:pt x="206" y="745"/>
                  </a:lnTo>
                  <a:lnTo>
                    <a:pt x="191" y="734"/>
                  </a:lnTo>
                  <a:lnTo>
                    <a:pt x="176" y="722"/>
                  </a:lnTo>
                  <a:lnTo>
                    <a:pt x="162" y="710"/>
                  </a:lnTo>
                  <a:lnTo>
                    <a:pt x="149" y="697"/>
                  </a:lnTo>
                  <a:lnTo>
                    <a:pt x="136" y="684"/>
                  </a:lnTo>
                  <a:lnTo>
                    <a:pt x="123" y="669"/>
                  </a:lnTo>
                  <a:lnTo>
                    <a:pt x="112" y="655"/>
                  </a:lnTo>
                  <a:lnTo>
                    <a:pt x="101" y="640"/>
                  </a:lnTo>
                  <a:lnTo>
                    <a:pt x="91" y="624"/>
                  </a:lnTo>
                  <a:lnTo>
                    <a:pt x="82" y="608"/>
                  </a:lnTo>
                  <a:lnTo>
                    <a:pt x="73" y="592"/>
                  </a:lnTo>
                  <a:lnTo>
                    <a:pt x="66" y="574"/>
                  </a:lnTo>
                  <a:lnTo>
                    <a:pt x="58" y="556"/>
                  </a:lnTo>
                  <a:lnTo>
                    <a:pt x="53" y="539"/>
                  </a:lnTo>
                  <a:lnTo>
                    <a:pt x="47" y="520"/>
                  </a:lnTo>
                  <a:lnTo>
                    <a:pt x="43" y="501"/>
                  </a:lnTo>
                  <a:lnTo>
                    <a:pt x="40" y="483"/>
                  </a:lnTo>
                  <a:lnTo>
                    <a:pt x="37" y="463"/>
                  </a:lnTo>
                  <a:lnTo>
                    <a:pt x="35" y="444"/>
                  </a:lnTo>
                  <a:lnTo>
                    <a:pt x="34" y="423"/>
                  </a:lnTo>
                  <a:close/>
                  <a:moveTo>
                    <a:pt x="846" y="423"/>
                  </a:moveTo>
                  <a:lnTo>
                    <a:pt x="846" y="402"/>
                  </a:lnTo>
                  <a:lnTo>
                    <a:pt x="843" y="380"/>
                  </a:lnTo>
                  <a:lnTo>
                    <a:pt x="841" y="358"/>
                  </a:lnTo>
                  <a:lnTo>
                    <a:pt x="837" y="338"/>
                  </a:lnTo>
                  <a:lnTo>
                    <a:pt x="833" y="317"/>
                  </a:lnTo>
                  <a:lnTo>
                    <a:pt x="827" y="298"/>
                  </a:lnTo>
                  <a:lnTo>
                    <a:pt x="821" y="277"/>
                  </a:lnTo>
                  <a:lnTo>
                    <a:pt x="813" y="259"/>
                  </a:lnTo>
                  <a:lnTo>
                    <a:pt x="804" y="240"/>
                  </a:lnTo>
                  <a:lnTo>
                    <a:pt x="795" y="221"/>
                  </a:lnTo>
                  <a:lnTo>
                    <a:pt x="785" y="204"/>
                  </a:lnTo>
                  <a:lnTo>
                    <a:pt x="773" y="187"/>
                  </a:lnTo>
                  <a:lnTo>
                    <a:pt x="762" y="170"/>
                  </a:lnTo>
                  <a:lnTo>
                    <a:pt x="749" y="154"/>
                  </a:lnTo>
                  <a:lnTo>
                    <a:pt x="736" y="139"/>
                  </a:lnTo>
                  <a:lnTo>
                    <a:pt x="722" y="124"/>
                  </a:lnTo>
                  <a:lnTo>
                    <a:pt x="707" y="110"/>
                  </a:lnTo>
                  <a:lnTo>
                    <a:pt x="692" y="97"/>
                  </a:lnTo>
                  <a:lnTo>
                    <a:pt x="676" y="84"/>
                  </a:lnTo>
                  <a:lnTo>
                    <a:pt x="660" y="72"/>
                  </a:lnTo>
                  <a:lnTo>
                    <a:pt x="642" y="61"/>
                  </a:lnTo>
                  <a:lnTo>
                    <a:pt x="624" y="52"/>
                  </a:lnTo>
                  <a:lnTo>
                    <a:pt x="606" y="42"/>
                  </a:lnTo>
                  <a:lnTo>
                    <a:pt x="587" y="33"/>
                  </a:lnTo>
                  <a:lnTo>
                    <a:pt x="568" y="26"/>
                  </a:lnTo>
                  <a:lnTo>
                    <a:pt x="549" y="19"/>
                  </a:lnTo>
                  <a:lnTo>
                    <a:pt x="528" y="14"/>
                  </a:lnTo>
                  <a:lnTo>
                    <a:pt x="509" y="8"/>
                  </a:lnTo>
                  <a:lnTo>
                    <a:pt x="487" y="5"/>
                  </a:lnTo>
                  <a:lnTo>
                    <a:pt x="466" y="2"/>
                  </a:lnTo>
                  <a:lnTo>
                    <a:pt x="445" y="1"/>
                  </a:lnTo>
                  <a:lnTo>
                    <a:pt x="423" y="0"/>
                  </a:lnTo>
                  <a:lnTo>
                    <a:pt x="401" y="1"/>
                  </a:lnTo>
                  <a:lnTo>
                    <a:pt x="379" y="2"/>
                  </a:lnTo>
                  <a:lnTo>
                    <a:pt x="358" y="5"/>
                  </a:lnTo>
                  <a:lnTo>
                    <a:pt x="338" y="8"/>
                  </a:lnTo>
                  <a:lnTo>
                    <a:pt x="317" y="14"/>
                  </a:lnTo>
                  <a:lnTo>
                    <a:pt x="297" y="19"/>
                  </a:lnTo>
                  <a:lnTo>
                    <a:pt x="277" y="26"/>
                  </a:lnTo>
                  <a:lnTo>
                    <a:pt x="258" y="33"/>
                  </a:lnTo>
                  <a:lnTo>
                    <a:pt x="240" y="42"/>
                  </a:lnTo>
                  <a:lnTo>
                    <a:pt x="221" y="52"/>
                  </a:lnTo>
                  <a:lnTo>
                    <a:pt x="203" y="61"/>
                  </a:lnTo>
                  <a:lnTo>
                    <a:pt x="186" y="72"/>
                  </a:lnTo>
                  <a:lnTo>
                    <a:pt x="169" y="84"/>
                  </a:lnTo>
                  <a:lnTo>
                    <a:pt x="153" y="97"/>
                  </a:lnTo>
                  <a:lnTo>
                    <a:pt x="138" y="110"/>
                  </a:lnTo>
                  <a:lnTo>
                    <a:pt x="123" y="124"/>
                  </a:lnTo>
                  <a:lnTo>
                    <a:pt x="110" y="139"/>
                  </a:lnTo>
                  <a:lnTo>
                    <a:pt x="96" y="154"/>
                  </a:lnTo>
                  <a:lnTo>
                    <a:pt x="84" y="170"/>
                  </a:lnTo>
                  <a:lnTo>
                    <a:pt x="72" y="187"/>
                  </a:lnTo>
                  <a:lnTo>
                    <a:pt x="60" y="204"/>
                  </a:lnTo>
                  <a:lnTo>
                    <a:pt x="51" y="221"/>
                  </a:lnTo>
                  <a:lnTo>
                    <a:pt x="41" y="240"/>
                  </a:lnTo>
                  <a:lnTo>
                    <a:pt x="33" y="259"/>
                  </a:lnTo>
                  <a:lnTo>
                    <a:pt x="25" y="277"/>
                  </a:lnTo>
                  <a:lnTo>
                    <a:pt x="18" y="298"/>
                  </a:lnTo>
                  <a:lnTo>
                    <a:pt x="13" y="317"/>
                  </a:lnTo>
                  <a:lnTo>
                    <a:pt x="8" y="338"/>
                  </a:lnTo>
                  <a:lnTo>
                    <a:pt x="4" y="358"/>
                  </a:lnTo>
                  <a:lnTo>
                    <a:pt x="2" y="380"/>
                  </a:lnTo>
                  <a:lnTo>
                    <a:pt x="0" y="402"/>
                  </a:lnTo>
                  <a:lnTo>
                    <a:pt x="0" y="423"/>
                  </a:lnTo>
                  <a:lnTo>
                    <a:pt x="0" y="447"/>
                  </a:lnTo>
                  <a:lnTo>
                    <a:pt x="2" y="471"/>
                  </a:lnTo>
                  <a:lnTo>
                    <a:pt x="5" y="494"/>
                  </a:lnTo>
                  <a:lnTo>
                    <a:pt x="10" y="517"/>
                  </a:lnTo>
                  <a:lnTo>
                    <a:pt x="16" y="540"/>
                  </a:lnTo>
                  <a:lnTo>
                    <a:pt x="23" y="561"/>
                  </a:lnTo>
                  <a:lnTo>
                    <a:pt x="30" y="583"/>
                  </a:lnTo>
                  <a:lnTo>
                    <a:pt x="40" y="603"/>
                  </a:lnTo>
                  <a:lnTo>
                    <a:pt x="50" y="624"/>
                  </a:lnTo>
                  <a:lnTo>
                    <a:pt x="61" y="643"/>
                  </a:lnTo>
                  <a:lnTo>
                    <a:pt x="73" y="662"/>
                  </a:lnTo>
                  <a:lnTo>
                    <a:pt x="86" y="680"/>
                  </a:lnTo>
                  <a:lnTo>
                    <a:pt x="100" y="697"/>
                  </a:lnTo>
                  <a:lnTo>
                    <a:pt x="115" y="714"/>
                  </a:lnTo>
                  <a:lnTo>
                    <a:pt x="132" y="730"/>
                  </a:lnTo>
                  <a:lnTo>
                    <a:pt x="148" y="745"/>
                  </a:lnTo>
                  <a:lnTo>
                    <a:pt x="75" y="836"/>
                  </a:lnTo>
                  <a:lnTo>
                    <a:pt x="104" y="857"/>
                  </a:lnTo>
                  <a:lnTo>
                    <a:pt x="176" y="767"/>
                  </a:lnTo>
                  <a:lnTo>
                    <a:pt x="189" y="776"/>
                  </a:lnTo>
                  <a:lnTo>
                    <a:pt x="203" y="785"/>
                  </a:lnTo>
                  <a:lnTo>
                    <a:pt x="217" y="792"/>
                  </a:lnTo>
                  <a:lnTo>
                    <a:pt x="231" y="800"/>
                  </a:lnTo>
                  <a:lnTo>
                    <a:pt x="245" y="808"/>
                  </a:lnTo>
                  <a:lnTo>
                    <a:pt x="260" y="814"/>
                  </a:lnTo>
                  <a:lnTo>
                    <a:pt x="275" y="819"/>
                  </a:lnTo>
                  <a:lnTo>
                    <a:pt x="290" y="825"/>
                  </a:lnTo>
                  <a:lnTo>
                    <a:pt x="307" y="830"/>
                  </a:lnTo>
                  <a:lnTo>
                    <a:pt x="323" y="835"/>
                  </a:lnTo>
                  <a:lnTo>
                    <a:pt x="339" y="838"/>
                  </a:lnTo>
                  <a:lnTo>
                    <a:pt x="355" y="841"/>
                  </a:lnTo>
                  <a:lnTo>
                    <a:pt x="371" y="843"/>
                  </a:lnTo>
                  <a:lnTo>
                    <a:pt x="389" y="845"/>
                  </a:lnTo>
                  <a:lnTo>
                    <a:pt x="406" y="846"/>
                  </a:lnTo>
                  <a:lnTo>
                    <a:pt x="423" y="846"/>
                  </a:lnTo>
                  <a:lnTo>
                    <a:pt x="439" y="846"/>
                  </a:lnTo>
                  <a:lnTo>
                    <a:pt x="457" y="845"/>
                  </a:lnTo>
                  <a:lnTo>
                    <a:pt x="474" y="843"/>
                  </a:lnTo>
                  <a:lnTo>
                    <a:pt x="490" y="841"/>
                  </a:lnTo>
                  <a:lnTo>
                    <a:pt x="506" y="838"/>
                  </a:lnTo>
                  <a:lnTo>
                    <a:pt x="523" y="835"/>
                  </a:lnTo>
                  <a:lnTo>
                    <a:pt x="539" y="830"/>
                  </a:lnTo>
                  <a:lnTo>
                    <a:pt x="554" y="826"/>
                  </a:lnTo>
                  <a:lnTo>
                    <a:pt x="570" y="821"/>
                  </a:lnTo>
                  <a:lnTo>
                    <a:pt x="585" y="814"/>
                  </a:lnTo>
                  <a:lnTo>
                    <a:pt x="599" y="808"/>
                  </a:lnTo>
                  <a:lnTo>
                    <a:pt x="614" y="801"/>
                  </a:lnTo>
                  <a:lnTo>
                    <a:pt x="628" y="794"/>
                  </a:lnTo>
                  <a:lnTo>
                    <a:pt x="642" y="785"/>
                  </a:lnTo>
                  <a:lnTo>
                    <a:pt x="655" y="776"/>
                  </a:lnTo>
                  <a:lnTo>
                    <a:pt x="668" y="768"/>
                  </a:lnTo>
                  <a:lnTo>
                    <a:pt x="741" y="857"/>
                  </a:lnTo>
                  <a:lnTo>
                    <a:pt x="769" y="836"/>
                  </a:lnTo>
                  <a:lnTo>
                    <a:pt x="696" y="746"/>
                  </a:lnTo>
                  <a:lnTo>
                    <a:pt x="714" y="731"/>
                  </a:lnTo>
                  <a:lnTo>
                    <a:pt x="729" y="715"/>
                  </a:lnTo>
                  <a:lnTo>
                    <a:pt x="744" y="699"/>
                  </a:lnTo>
                  <a:lnTo>
                    <a:pt x="758" y="681"/>
                  </a:lnTo>
                  <a:lnTo>
                    <a:pt x="772" y="663"/>
                  </a:lnTo>
                  <a:lnTo>
                    <a:pt x="784" y="643"/>
                  </a:lnTo>
                  <a:lnTo>
                    <a:pt x="795" y="624"/>
                  </a:lnTo>
                  <a:lnTo>
                    <a:pt x="806" y="603"/>
                  </a:lnTo>
                  <a:lnTo>
                    <a:pt x="814" y="583"/>
                  </a:lnTo>
                  <a:lnTo>
                    <a:pt x="823" y="561"/>
                  </a:lnTo>
                  <a:lnTo>
                    <a:pt x="829" y="540"/>
                  </a:lnTo>
                  <a:lnTo>
                    <a:pt x="836" y="517"/>
                  </a:lnTo>
                  <a:lnTo>
                    <a:pt x="840" y="494"/>
                  </a:lnTo>
                  <a:lnTo>
                    <a:pt x="843" y="471"/>
                  </a:lnTo>
                  <a:lnTo>
                    <a:pt x="846" y="447"/>
                  </a:lnTo>
                  <a:lnTo>
                    <a:pt x="846" y="4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283" name="Group 20">
            <a:extLst>
              <a:ext uri="{FF2B5EF4-FFF2-40B4-BE49-F238E27FC236}">
                <a16:creationId xmlns:a16="http://schemas.microsoft.com/office/drawing/2014/main" id="{0E067F5A-5C5C-4FC7-BEA7-4AE9EE21DEA5}"/>
              </a:ext>
            </a:extLst>
          </p:cNvPr>
          <p:cNvGrpSpPr>
            <a:grpSpLocks noChangeAspect="1"/>
          </p:cNvGrpSpPr>
          <p:nvPr/>
        </p:nvGrpSpPr>
        <p:grpSpPr>
          <a:xfrm>
            <a:off x="4444100" y="1724131"/>
            <a:ext cx="297777" cy="153872"/>
            <a:chOff x="9409113" y="4270375"/>
            <a:chExt cx="1185863" cy="612775"/>
          </a:xfrm>
          <a:solidFill>
            <a:schemeClr val="bg2"/>
          </a:solidFill>
          <a:effectLst/>
        </p:grpSpPr>
        <p:sp>
          <p:nvSpPr>
            <p:cNvPr id="296" name="Freeform 44">
              <a:extLst>
                <a:ext uri="{FF2B5EF4-FFF2-40B4-BE49-F238E27FC236}">
                  <a16:creationId xmlns:a16="http://schemas.microsoft.com/office/drawing/2014/main" id="{C602AA7F-9553-49EF-A2CA-79D010180405}"/>
                </a:ext>
              </a:extLst>
            </p:cNvPr>
            <p:cNvSpPr>
              <a:spLocks noEditPoints="1"/>
            </p:cNvSpPr>
            <p:nvPr/>
          </p:nvSpPr>
          <p:spPr bwMode="auto">
            <a:xfrm>
              <a:off x="9409113" y="4270375"/>
              <a:ext cx="1185863" cy="612775"/>
            </a:xfrm>
            <a:custGeom>
              <a:avLst/>
              <a:gdLst>
                <a:gd name="T0" fmla="*/ 879 w 2241"/>
                <a:gd name="T1" fmla="*/ 93 h 1159"/>
                <a:gd name="T2" fmla="*/ 620 w 2241"/>
                <a:gd name="T3" fmla="*/ 152 h 1159"/>
                <a:gd name="T4" fmla="*/ 412 w 2241"/>
                <a:gd name="T5" fmla="*/ 239 h 1159"/>
                <a:gd name="T6" fmla="*/ 253 w 2241"/>
                <a:gd name="T7" fmla="*/ 342 h 1159"/>
                <a:gd name="T8" fmla="*/ 143 w 2241"/>
                <a:gd name="T9" fmla="*/ 446 h 1159"/>
                <a:gd name="T10" fmla="*/ 87 w 2241"/>
                <a:gd name="T11" fmla="*/ 537 h 1159"/>
                <a:gd name="T12" fmla="*/ 81 w 2241"/>
                <a:gd name="T13" fmla="*/ 618 h 1159"/>
                <a:gd name="T14" fmla="*/ 129 w 2241"/>
                <a:gd name="T15" fmla="*/ 723 h 1159"/>
                <a:gd name="T16" fmla="*/ 230 w 2241"/>
                <a:gd name="T17" fmla="*/ 829 h 1159"/>
                <a:gd name="T18" fmla="*/ 381 w 2241"/>
                <a:gd name="T19" fmla="*/ 926 h 1159"/>
                <a:gd name="T20" fmla="*/ 581 w 2241"/>
                <a:gd name="T21" fmla="*/ 1006 h 1159"/>
                <a:gd name="T22" fmla="*/ 828 w 2241"/>
                <a:gd name="T23" fmla="*/ 1062 h 1159"/>
                <a:gd name="T24" fmla="*/ 1120 w 2241"/>
                <a:gd name="T25" fmla="*/ 1082 h 1159"/>
                <a:gd name="T26" fmla="*/ 1413 w 2241"/>
                <a:gd name="T27" fmla="*/ 1062 h 1159"/>
                <a:gd name="T28" fmla="*/ 1660 w 2241"/>
                <a:gd name="T29" fmla="*/ 1006 h 1159"/>
                <a:gd name="T30" fmla="*/ 1859 w 2241"/>
                <a:gd name="T31" fmla="*/ 926 h 1159"/>
                <a:gd name="T32" fmla="*/ 2010 w 2241"/>
                <a:gd name="T33" fmla="*/ 829 h 1159"/>
                <a:gd name="T34" fmla="*/ 2111 w 2241"/>
                <a:gd name="T35" fmla="*/ 723 h 1159"/>
                <a:gd name="T36" fmla="*/ 2159 w 2241"/>
                <a:gd name="T37" fmla="*/ 618 h 1159"/>
                <a:gd name="T38" fmla="*/ 2154 w 2241"/>
                <a:gd name="T39" fmla="*/ 537 h 1159"/>
                <a:gd name="T40" fmla="*/ 2096 w 2241"/>
                <a:gd name="T41" fmla="*/ 446 h 1159"/>
                <a:gd name="T42" fmla="*/ 1988 w 2241"/>
                <a:gd name="T43" fmla="*/ 342 h 1159"/>
                <a:gd name="T44" fmla="*/ 1829 w 2241"/>
                <a:gd name="T45" fmla="*/ 239 h 1159"/>
                <a:gd name="T46" fmla="*/ 1620 w 2241"/>
                <a:gd name="T47" fmla="*/ 152 h 1159"/>
                <a:gd name="T48" fmla="*/ 1362 w 2241"/>
                <a:gd name="T49" fmla="*/ 93 h 1159"/>
                <a:gd name="T50" fmla="*/ 1120 w 2241"/>
                <a:gd name="T51" fmla="*/ 1159 h 1159"/>
                <a:gd name="T52" fmla="*/ 803 w 2241"/>
                <a:gd name="T53" fmla="*/ 1136 h 1159"/>
                <a:gd name="T54" fmla="*/ 536 w 2241"/>
                <a:gd name="T55" fmla="*/ 1073 h 1159"/>
                <a:gd name="T56" fmla="*/ 322 w 2241"/>
                <a:gd name="T57" fmla="*/ 981 h 1159"/>
                <a:gd name="T58" fmla="*/ 161 w 2241"/>
                <a:gd name="T59" fmla="*/ 869 h 1159"/>
                <a:gd name="T60" fmla="*/ 55 w 2241"/>
                <a:gd name="T61" fmla="*/ 748 h 1159"/>
                <a:gd name="T62" fmla="*/ 4 w 2241"/>
                <a:gd name="T63" fmla="*/ 626 h 1159"/>
                <a:gd name="T64" fmla="*/ 10 w 2241"/>
                <a:gd name="T65" fmla="*/ 526 h 1159"/>
                <a:gd name="T66" fmla="*/ 72 w 2241"/>
                <a:gd name="T67" fmla="*/ 418 h 1159"/>
                <a:gd name="T68" fmla="*/ 190 w 2241"/>
                <a:gd name="T69" fmla="*/ 297 h 1159"/>
                <a:gd name="T70" fmla="*/ 362 w 2241"/>
                <a:gd name="T71" fmla="*/ 181 h 1159"/>
                <a:gd name="T72" fmla="*/ 587 w 2241"/>
                <a:gd name="T73" fmla="*/ 83 h 1159"/>
                <a:gd name="T74" fmla="*/ 863 w 2241"/>
                <a:gd name="T75" fmla="*/ 18 h 1159"/>
                <a:gd name="T76" fmla="*/ 1188 w 2241"/>
                <a:gd name="T77" fmla="*/ 1 h 1159"/>
                <a:gd name="T78" fmla="*/ 1494 w 2241"/>
                <a:gd name="T79" fmla="*/ 38 h 1159"/>
                <a:gd name="T80" fmla="*/ 1750 w 2241"/>
                <a:gd name="T81" fmla="*/ 119 h 1159"/>
                <a:gd name="T82" fmla="*/ 1954 w 2241"/>
                <a:gd name="T83" fmla="*/ 226 h 1159"/>
                <a:gd name="T84" fmla="*/ 2104 w 2241"/>
                <a:gd name="T85" fmla="*/ 346 h 1159"/>
                <a:gd name="T86" fmla="*/ 2200 w 2241"/>
                <a:gd name="T87" fmla="*/ 463 h 1159"/>
                <a:gd name="T88" fmla="*/ 2240 w 2241"/>
                <a:gd name="T89" fmla="*/ 563 h 1159"/>
                <a:gd name="T90" fmla="*/ 2223 w 2241"/>
                <a:gd name="T91" fmla="*/ 674 h 1159"/>
                <a:gd name="T92" fmla="*/ 2150 w 2241"/>
                <a:gd name="T93" fmla="*/ 797 h 1159"/>
                <a:gd name="T94" fmla="*/ 2021 w 2241"/>
                <a:gd name="T95" fmla="*/ 916 h 1159"/>
                <a:gd name="T96" fmla="*/ 1839 w 2241"/>
                <a:gd name="T97" fmla="*/ 1021 h 1159"/>
                <a:gd name="T98" fmla="*/ 1603 w 2241"/>
                <a:gd name="T99" fmla="*/ 1103 h 1159"/>
                <a:gd name="T100" fmla="*/ 1316 w 2241"/>
                <a:gd name="T101" fmla="*/ 11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41" h="1159">
                  <a:moveTo>
                    <a:pt x="1120" y="76"/>
                  </a:moveTo>
                  <a:lnTo>
                    <a:pt x="1057" y="77"/>
                  </a:lnTo>
                  <a:lnTo>
                    <a:pt x="995" y="81"/>
                  </a:lnTo>
                  <a:lnTo>
                    <a:pt x="936" y="86"/>
                  </a:lnTo>
                  <a:lnTo>
                    <a:pt x="879" y="93"/>
                  </a:lnTo>
                  <a:lnTo>
                    <a:pt x="823" y="102"/>
                  </a:lnTo>
                  <a:lnTo>
                    <a:pt x="770" y="113"/>
                  </a:lnTo>
                  <a:lnTo>
                    <a:pt x="718" y="124"/>
                  </a:lnTo>
                  <a:lnTo>
                    <a:pt x="668" y="137"/>
                  </a:lnTo>
                  <a:lnTo>
                    <a:pt x="620" y="152"/>
                  </a:lnTo>
                  <a:lnTo>
                    <a:pt x="575" y="168"/>
                  </a:lnTo>
                  <a:lnTo>
                    <a:pt x="531" y="184"/>
                  </a:lnTo>
                  <a:lnTo>
                    <a:pt x="490" y="202"/>
                  </a:lnTo>
                  <a:lnTo>
                    <a:pt x="449" y="220"/>
                  </a:lnTo>
                  <a:lnTo>
                    <a:pt x="412" y="239"/>
                  </a:lnTo>
                  <a:lnTo>
                    <a:pt x="376" y="259"/>
                  </a:lnTo>
                  <a:lnTo>
                    <a:pt x="342" y="279"/>
                  </a:lnTo>
                  <a:lnTo>
                    <a:pt x="310" y="301"/>
                  </a:lnTo>
                  <a:lnTo>
                    <a:pt x="280" y="321"/>
                  </a:lnTo>
                  <a:lnTo>
                    <a:pt x="253" y="342"/>
                  </a:lnTo>
                  <a:lnTo>
                    <a:pt x="226" y="363"/>
                  </a:lnTo>
                  <a:lnTo>
                    <a:pt x="203" y="385"/>
                  </a:lnTo>
                  <a:lnTo>
                    <a:pt x="181" y="406"/>
                  </a:lnTo>
                  <a:lnTo>
                    <a:pt x="161" y="426"/>
                  </a:lnTo>
                  <a:lnTo>
                    <a:pt x="143" y="446"/>
                  </a:lnTo>
                  <a:lnTo>
                    <a:pt x="128" y="465"/>
                  </a:lnTo>
                  <a:lnTo>
                    <a:pt x="114" y="485"/>
                  </a:lnTo>
                  <a:lnTo>
                    <a:pt x="103" y="504"/>
                  </a:lnTo>
                  <a:lnTo>
                    <a:pt x="93" y="521"/>
                  </a:lnTo>
                  <a:lnTo>
                    <a:pt x="87" y="537"/>
                  </a:lnTo>
                  <a:lnTo>
                    <a:pt x="81" y="553"/>
                  </a:lnTo>
                  <a:lnTo>
                    <a:pt x="78" y="566"/>
                  </a:lnTo>
                  <a:lnTo>
                    <a:pt x="77" y="579"/>
                  </a:lnTo>
                  <a:lnTo>
                    <a:pt x="78" y="598"/>
                  </a:lnTo>
                  <a:lnTo>
                    <a:pt x="81" y="618"/>
                  </a:lnTo>
                  <a:lnTo>
                    <a:pt x="87" y="639"/>
                  </a:lnTo>
                  <a:lnTo>
                    <a:pt x="94" y="660"/>
                  </a:lnTo>
                  <a:lnTo>
                    <a:pt x="104" y="681"/>
                  </a:lnTo>
                  <a:lnTo>
                    <a:pt x="116" y="702"/>
                  </a:lnTo>
                  <a:lnTo>
                    <a:pt x="129" y="723"/>
                  </a:lnTo>
                  <a:lnTo>
                    <a:pt x="145" y="745"/>
                  </a:lnTo>
                  <a:lnTo>
                    <a:pt x="163" y="766"/>
                  </a:lnTo>
                  <a:lnTo>
                    <a:pt x="184" y="786"/>
                  </a:lnTo>
                  <a:lnTo>
                    <a:pt x="206" y="808"/>
                  </a:lnTo>
                  <a:lnTo>
                    <a:pt x="230" y="829"/>
                  </a:lnTo>
                  <a:lnTo>
                    <a:pt x="256" y="849"/>
                  </a:lnTo>
                  <a:lnTo>
                    <a:pt x="284" y="869"/>
                  </a:lnTo>
                  <a:lnTo>
                    <a:pt x="314" y="888"/>
                  </a:lnTo>
                  <a:lnTo>
                    <a:pt x="346" y="908"/>
                  </a:lnTo>
                  <a:lnTo>
                    <a:pt x="381" y="926"/>
                  </a:lnTo>
                  <a:lnTo>
                    <a:pt x="417" y="944"/>
                  </a:lnTo>
                  <a:lnTo>
                    <a:pt x="455" y="961"/>
                  </a:lnTo>
                  <a:lnTo>
                    <a:pt x="495" y="977"/>
                  </a:lnTo>
                  <a:lnTo>
                    <a:pt x="536" y="993"/>
                  </a:lnTo>
                  <a:lnTo>
                    <a:pt x="581" y="1006"/>
                  </a:lnTo>
                  <a:lnTo>
                    <a:pt x="627" y="1020"/>
                  </a:lnTo>
                  <a:lnTo>
                    <a:pt x="673" y="1032"/>
                  </a:lnTo>
                  <a:lnTo>
                    <a:pt x="723" y="1044"/>
                  </a:lnTo>
                  <a:lnTo>
                    <a:pt x="774" y="1053"/>
                  </a:lnTo>
                  <a:lnTo>
                    <a:pt x="828" y="1062"/>
                  </a:lnTo>
                  <a:lnTo>
                    <a:pt x="883" y="1068"/>
                  </a:lnTo>
                  <a:lnTo>
                    <a:pt x="939" y="1074"/>
                  </a:lnTo>
                  <a:lnTo>
                    <a:pt x="998" y="1079"/>
                  </a:lnTo>
                  <a:lnTo>
                    <a:pt x="1058" y="1081"/>
                  </a:lnTo>
                  <a:lnTo>
                    <a:pt x="1120" y="1082"/>
                  </a:lnTo>
                  <a:lnTo>
                    <a:pt x="1183" y="1081"/>
                  </a:lnTo>
                  <a:lnTo>
                    <a:pt x="1243" y="1079"/>
                  </a:lnTo>
                  <a:lnTo>
                    <a:pt x="1302" y="1074"/>
                  </a:lnTo>
                  <a:lnTo>
                    <a:pt x="1358" y="1068"/>
                  </a:lnTo>
                  <a:lnTo>
                    <a:pt x="1413" y="1062"/>
                  </a:lnTo>
                  <a:lnTo>
                    <a:pt x="1466" y="1053"/>
                  </a:lnTo>
                  <a:lnTo>
                    <a:pt x="1517" y="1044"/>
                  </a:lnTo>
                  <a:lnTo>
                    <a:pt x="1567" y="1032"/>
                  </a:lnTo>
                  <a:lnTo>
                    <a:pt x="1614" y="1020"/>
                  </a:lnTo>
                  <a:lnTo>
                    <a:pt x="1660" y="1006"/>
                  </a:lnTo>
                  <a:lnTo>
                    <a:pt x="1703" y="993"/>
                  </a:lnTo>
                  <a:lnTo>
                    <a:pt x="1746" y="977"/>
                  </a:lnTo>
                  <a:lnTo>
                    <a:pt x="1786" y="961"/>
                  </a:lnTo>
                  <a:lnTo>
                    <a:pt x="1823" y="944"/>
                  </a:lnTo>
                  <a:lnTo>
                    <a:pt x="1859" y="926"/>
                  </a:lnTo>
                  <a:lnTo>
                    <a:pt x="1893" y="908"/>
                  </a:lnTo>
                  <a:lnTo>
                    <a:pt x="1926" y="888"/>
                  </a:lnTo>
                  <a:lnTo>
                    <a:pt x="1956" y="869"/>
                  </a:lnTo>
                  <a:lnTo>
                    <a:pt x="1985" y="849"/>
                  </a:lnTo>
                  <a:lnTo>
                    <a:pt x="2010" y="829"/>
                  </a:lnTo>
                  <a:lnTo>
                    <a:pt x="2035" y="808"/>
                  </a:lnTo>
                  <a:lnTo>
                    <a:pt x="2057" y="786"/>
                  </a:lnTo>
                  <a:lnTo>
                    <a:pt x="2077" y="766"/>
                  </a:lnTo>
                  <a:lnTo>
                    <a:pt x="2095" y="745"/>
                  </a:lnTo>
                  <a:lnTo>
                    <a:pt x="2111" y="723"/>
                  </a:lnTo>
                  <a:lnTo>
                    <a:pt x="2125" y="702"/>
                  </a:lnTo>
                  <a:lnTo>
                    <a:pt x="2137" y="681"/>
                  </a:lnTo>
                  <a:lnTo>
                    <a:pt x="2146" y="660"/>
                  </a:lnTo>
                  <a:lnTo>
                    <a:pt x="2154" y="639"/>
                  </a:lnTo>
                  <a:lnTo>
                    <a:pt x="2159" y="618"/>
                  </a:lnTo>
                  <a:lnTo>
                    <a:pt x="2162" y="598"/>
                  </a:lnTo>
                  <a:lnTo>
                    <a:pt x="2163" y="579"/>
                  </a:lnTo>
                  <a:lnTo>
                    <a:pt x="2162" y="566"/>
                  </a:lnTo>
                  <a:lnTo>
                    <a:pt x="2159" y="553"/>
                  </a:lnTo>
                  <a:lnTo>
                    <a:pt x="2154" y="537"/>
                  </a:lnTo>
                  <a:lnTo>
                    <a:pt x="2147" y="521"/>
                  </a:lnTo>
                  <a:lnTo>
                    <a:pt x="2138" y="504"/>
                  </a:lnTo>
                  <a:lnTo>
                    <a:pt x="2126" y="485"/>
                  </a:lnTo>
                  <a:lnTo>
                    <a:pt x="2112" y="465"/>
                  </a:lnTo>
                  <a:lnTo>
                    <a:pt x="2096" y="446"/>
                  </a:lnTo>
                  <a:lnTo>
                    <a:pt x="2079" y="426"/>
                  </a:lnTo>
                  <a:lnTo>
                    <a:pt x="2059" y="406"/>
                  </a:lnTo>
                  <a:lnTo>
                    <a:pt x="2038" y="385"/>
                  </a:lnTo>
                  <a:lnTo>
                    <a:pt x="2014" y="363"/>
                  </a:lnTo>
                  <a:lnTo>
                    <a:pt x="1988" y="342"/>
                  </a:lnTo>
                  <a:lnTo>
                    <a:pt x="1960" y="321"/>
                  </a:lnTo>
                  <a:lnTo>
                    <a:pt x="1931" y="301"/>
                  </a:lnTo>
                  <a:lnTo>
                    <a:pt x="1899" y="279"/>
                  </a:lnTo>
                  <a:lnTo>
                    <a:pt x="1865" y="259"/>
                  </a:lnTo>
                  <a:lnTo>
                    <a:pt x="1829" y="239"/>
                  </a:lnTo>
                  <a:lnTo>
                    <a:pt x="1791" y="220"/>
                  </a:lnTo>
                  <a:lnTo>
                    <a:pt x="1751" y="202"/>
                  </a:lnTo>
                  <a:lnTo>
                    <a:pt x="1710" y="184"/>
                  </a:lnTo>
                  <a:lnTo>
                    <a:pt x="1666" y="168"/>
                  </a:lnTo>
                  <a:lnTo>
                    <a:pt x="1620" y="152"/>
                  </a:lnTo>
                  <a:lnTo>
                    <a:pt x="1573" y="137"/>
                  </a:lnTo>
                  <a:lnTo>
                    <a:pt x="1523" y="124"/>
                  </a:lnTo>
                  <a:lnTo>
                    <a:pt x="1471" y="113"/>
                  </a:lnTo>
                  <a:lnTo>
                    <a:pt x="1417" y="102"/>
                  </a:lnTo>
                  <a:lnTo>
                    <a:pt x="1362" y="93"/>
                  </a:lnTo>
                  <a:lnTo>
                    <a:pt x="1305" y="86"/>
                  </a:lnTo>
                  <a:lnTo>
                    <a:pt x="1245" y="81"/>
                  </a:lnTo>
                  <a:lnTo>
                    <a:pt x="1184" y="77"/>
                  </a:lnTo>
                  <a:lnTo>
                    <a:pt x="1120" y="76"/>
                  </a:lnTo>
                  <a:close/>
                  <a:moveTo>
                    <a:pt x="1120" y="1159"/>
                  </a:moveTo>
                  <a:lnTo>
                    <a:pt x="1053" y="1158"/>
                  </a:lnTo>
                  <a:lnTo>
                    <a:pt x="987" y="1155"/>
                  </a:lnTo>
                  <a:lnTo>
                    <a:pt x="923" y="1151"/>
                  </a:lnTo>
                  <a:lnTo>
                    <a:pt x="863" y="1145"/>
                  </a:lnTo>
                  <a:lnTo>
                    <a:pt x="803" y="1136"/>
                  </a:lnTo>
                  <a:lnTo>
                    <a:pt x="746" y="1126"/>
                  </a:lnTo>
                  <a:lnTo>
                    <a:pt x="690" y="1115"/>
                  </a:lnTo>
                  <a:lnTo>
                    <a:pt x="636" y="1103"/>
                  </a:lnTo>
                  <a:lnTo>
                    <a:pt x="585" y="1088"/>
                  </a:lnTo>
                  <a:lnTo>
                    <a:pt x="536" y="1073"/>
                  </a:lnTo>
                  <a:lnTo>
                    <a:pt x="490" y="1057"/>
                  </a:lnTo>
                  <a:lnTo>
                    <a:pt x="444" y="1039"/>
                  </a:lnTo>
                  <a:lnTo>
                    <a:pt x="401" y="1021"/>
                  </a:lnTo>
                  <a:lnTo>
                    <a:pt x="361" y="1002"/>
                  </a:lnTo>
                  <a:lnTo>
                    <a:pt x="322" y="981"/>
                  </a:lnTo>
                  <a:lnTo>
                    <a:pt x="286" y="961"/>
                  </a:lnTo>
                  <a:lnTo>
                    <a:pt x="252" y="938"/>
                  </a:lnTo>
                  <a:lnTo>
                    <a:pt x="220" y="916"/>
                  </a:lnTo>
                  <a:lnTo>
                    <a:pt x="189" y="893"/>
                  </a:lnTo>
                  <a:lnTo>
                    <a:pt x="161" y="869"/>
                  </a:lnTo>
                  <a:lnTo>
                    <a:pt x="136" y="846"/>
                  </a:lnTo>
                  <a:lnTo>
                    <a:pt x="112" y="821"/>
                  </a:lnTo>
                  <a:lnTo>
                    <a:pt x="91" y="797"/>
                  </a:lnTo>
                  <a:lnTo>
                    <a:pt x="72" y="773"/>
                  </a:lnTo>
                  <a:lnTo>
                    <a:pt x="55" y="748"/>
                  </a:lnTo>
                  <a:lnTo>
                    <a:pt x="40" y="723"/>
                  </a:lnTo>
                  <a:lnTo>
                    <a:pt x="28" y="698"/>
                  </a:lnTo>
                  <a:lnTo>
                    <a:pt x="18" y="674"/>
                  </a:lnTo>
                  <a:lnTo>
                    <a:pt x="10" y="649"/>
                  </a:lnTo>
                  <a:lnTo>
                    <a:pt x="4" y="626"/>
                  </a:lnTo>
                  <a:lnTo>
                    <a:pt x="1" y="602"/>
                  </a:lnTo>
                  <a:lnTo>
                    <a:pt x="0" y="579"/>
                  </a:lnTo>
                  <a:lnTo>
                    <a:pt x="1" y="563"/>
                  </a:lnTo>
                  <a:lnTo>
                    <a:pt x="4" y="545"/>
                  </a:lnTo>
                  <a:lnTo>
                    <a:pt x="10" y="526"/>
                  </a:lnTo>
                  <a:lnTo>
                    <a:pt x="18" y="506"/>
                  </a:lnTo>
                  <a:lnTo>
                    <a:pt x="28" y="486"/>
                  </a:lnTo>
                  <a:lnTo>
                    <a:pt x="41" y="463"/>
                  </a:lnTo>
                  <a:lnTo>
                    <a:pt x="55" y="441"/>
                  </a:lnTo>
                  <a:lnTo>
                    <a:pt x="72" y="418"/>
                  </a:lnTo>
                  <a:lnTo>
                    <a:pt x="91" y="394"/>
                  </a:lnTo>
                  <a:lnTo>
                    <a:pt x="113" y="370"/>
                  </a:lnTo>
                  <a:lnTo>
                    <a:pt x="137" y="346"/>
                  </a:lnTo>
                  <a:lnTo>
                    <a:pt x="162" y="322"/>
                  </a:lnTo>
                  <a:lnTo>
                    <a:pt x="190" y="297"/>
                  </a:lnTo>
                  <a:lnTo>
                    <a:pt x="221" y="274"/>
                  </a:lnTo>
                  <a:lnTo>
                    <a:pt x="253" y="250"/>
                  </a:lnTo>
                  <a:lnTo>
                    <a:pt x="287" y="226"/>
                  </a:lnTo>
                  <a:lnTo>
                    <a:pt x="324" y="203"/>
                  </a:lnTo>
                  <a:lnTo>
                    <a:pt x="362" y="181"/>
                  </a:lnTo>
                  <a:lnTo>
                    <a:pt x="402" y="159"/>
                  </a:lnTo>
                  <a:lnTo>
                    <a:pt x="446" y="139"/>
                  </a:lnTo>
                  <a:lnTo>
                    <a:pt x="491" y="119"/>
                  </a:lnTo>
                  <a:lnTo>
                    <a:pt x="537" y="100"/>
                  </a:lnTo>
                  <a:lnTo>
                    <a:pt x="587" y="83"/>
                  </a:lnTo>
                  <a:lnTo>
                    <a:pt x="638" y="67"/>
                  </a:lnTo>
                  <a:lnTo>
                    <a:pt x="692" y="52"/>
                  </a:lnTo>
                  <a:lnTo>
                    <a:pt x="747" y="38"/>
                  </a:lnTo>
                  <a:lnTo>
                    <a:pt x="804" y="28"/>
                  </a:lnTo>
                  <a:lnTo>
                    <a:pt x="863" y="18"/>
                  </a:lnTo>
                  <a:lnTo>
                    <a:pt x="924" y="9"/>
                  </a:lnTo>
                  <a:lnTo>
                    <a:pt x="988" y="4"/>
                  </a:lnTo>
                  <a:lnTo>
                    <a:pt x="1053" y="1"/>
                  </a:lnTo>
                  <a:lnTo>
                    <a:pt x="1120" y="0"/>
                  </a:lnTo>
                  <a:lnTo>
                    <a:pt x="1188" y="1"/>
                  </a:lnTo>
                  <a:lnTo>
                    <a:pt x="1253" y="4"/>
                  </a:lnTo>
                  <a:lnTo>
                    <a:pt x="1316" y="9"/>
                  </a:lnTo>
                  <a:lnTo>
                    <a:pt x="1377" y="18"/>
                  </a:lnTo>
                  <a:lnTo>
                    <a:pt x="1436" y="28"/>
                  </a:lnTo>
                  <a:lnTo>
                    <a:pt x="1494" y="38"/>
                  </a:lnTo>
                  <a:lnTo>
                    <a:pt x="1549" y="52"/>
                  </a:lnTo>
                  <a:lnTo>
                    <a:pt x="1602" y="67"/>
                  </a:lnTo>
                  <a:lnTo>
                    <a:pt x="1653" y="83"/>
                  </a:lnTo>
                  <a:lnTo>
                    <a:pt x="1703" y="100"/>
                  </a:lnTo>
                  <a:lnTo>
                    <a:pt x="1750" y="119"/>
                  </a:lnTo>
                  <a:lnTo>
                    <a:pt x="1795" y="139"/>
                  </a:lnTo>
                  <a:lnTo>
                    <a:pt x="1837" y="159"/>
                  </a:lnTo>
                  <a:lnTo>
                    <a:pt x="1879" y="181"/>
                  </a:lnTo>
                  <a:lnTo>
                    <a:pt x="1917" y="203"/>
                  </a:lnTo>
                  <a:lnTo>
                    <a:pt x="1954" y="226"/>
                  </a:lnTo>
                  <a:lnTo>
                    <a:pt x="1988" y="250"/>
                  </a:lnTo>
                  <a:lnTo>
                    <a:pt x="2020" y="274"/>
                  </a:lnTo>
                  <a:lnTo>
                    <a:pt x="2051" y="297"/>
                  </a:lnTo>
                  <a:lnTo>
                    <a:pt x="2078" y="322"/>
                  </a:lnTo>
                  <a:lnTo>
                    <a:pt x="2104" y="346"/>
                  </a:lnTo>
                  <a:lnTo>
                    <a:pt x="2127" y="370"/>
                  </a:lnTo>
                  <a:lnTo>
                    <a:pt x="2150" y="394"/>
                  </a:lnTo>
                  <a:lnTo>
                    <a:pt x="2169" y="418"/>
                  </a:lnTo>
                  <a:lnTo>
                    <a:pt x="2186" y="441"/>
                  </a:lnTo>
                  <a:lnTo>
                    <a:pt x="2200" y="463"/>
                  </a:lnTo>
                  <a:lnTo>
                    <a:pt x="2212" y="486"/>
                  </a:lnTo>
                  <a:lnTo>
                    <a:pt x="2223" y="506"/>
                  </a:lnTo>
                  <a:lnTo>
                    <a:pt x="2230" y="526"/>
                  </a:lnTo>
                  <a:lnTo>
                    <a:pt x="2237" y="545"/>
                  </a:lnTo>
                  <a:lnTo>
                    <a:pt x="2240" y="563"/>
                  </a:lnTo>
                  <a:lnTo>
                    <a:pt x="2241" y="579"/>
                  </a:lnTo>
                  <a:lnTo>
                    <a:pt x="2240" y="602"/>
                  </a:lnTo>
                  <a:lnTo>
                    <a:pt x="2237" y="626"/>
                  </a:lnTo>
                  <a:lnTo>
                    <a:pt x="2230" y="649"/>
                  </a:lnTo>
                  <a:lnTo>
                    <a:pt x="2223" y="674"/>
                  </a:lnTo>
                  <a:lnTo>
                    <a:pt x="2212" y="698"/>
                  </a:lnTo>
                  <a:lnTo>
                    <a:pt x="2201" y="723"/>
                  </a:lnTo>
                  <a:lnTo>
                    <a:pt x="2186" y="748"/>
                  </a:lnTo>
                  <a:lnTo>
                    <a:pt x="2169" y="773"/>
                  </a:lnTo>
                  <a:lnTo>
                    <a:pt x="2150" y="797"/>
                  </a:lnTo>
                  <a:lnTo>
                    <a:pt x="2128" y="821"/>
                  </a:lnTo>
                  <a:lnTo>
                    <a:pt x="2105" y="846"/>
                  </a:lnTo>
                  <a:lnTo>
                    <a:pt x="2079" y="869"/>
                  </a:lnTo>
                  <a:lnTo>
                    <a:pt x="2052" y="893"/>
                  </a:lnTo>
                  <a:lnTo>
                    <a:pt x="2021" y="916"/>
                  </a:lnTo>
                  <a:lnTo>
                    <a:pt x="1989" y="938"/>
                  </a:lnTo>
                  <a:lnTo>
                    <a:pt x="1955" y="961"/>
                  </a:lnTo>
                  <a:lnTo>
                    <a:pt x="1918" y="981"/>
                  </a:lnTo>
                  <a:lnTo>
                    <a:pt x="1880" y="1002"/>
                  </a:lnTo>
                  <a:lnTo>
                    <a:pt x="1839" y="1021"/>
                  </a:lnTo>
                  <a:lnTo>
                    <a:pt x="1796" y="1039"/>
                  </a:lnTo>
                  <a:lnTo>
                    <a:pt x="1751" y="1057"/>
                  </a:lnTo>
                  <a:lnTo>
                    <a:pt x="1704" y="1073"/>
                  </a:lnTo>
                  <a:lnTo>
                    <a:pt x="1655" y="1088"/>
                  </a:lnTo>
                  <a:lnTo>
                    <a:pt x="1603" y="1103"/>
                  </a:lnTo>
                  <a:lnTo>
                    <a:pt x="1550" y="1115"/>
                  </a:lnTo>
                  <a:lnTo>
                    <a:pt x="1495" y="1126"/>
                  </a:lnTo>
                  <a:lnTo>
                    <a:pt x="1438" y="1136"/>
                  </a:lnTo>
                  <a:lnTo>
                    <a:pt x="1378" y="1145"/>
                  </a:lnTo>
                  <a:lnTo>
                    <a:pt x="1316" y="1151"/>
                  </a:lnTo>
                  <a:lnTo>
                    <a:pt x="1254" y="1155"/>
                  </a:lnTo>
                  <a:lnTo>
                    <a:pt x="1188" y="1158"/>
                  </a:lnTo>
                  <a:lnTo>
                    <a:pt x="1120" y="1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46">
              <a:extLst>
                <a:ext uri="{FF2B5EF4-FFF2-40B4-BE49-F238E27FC236}">
                  <a16:creationId xmlns:a16="http://schemas.microsoft.com/office/drawing/2014/main" id="{88E1CBE1-4751-48D4-9768-4DB30D9BB7DB}"/>
                </a:ext>
              </a:extLst>
            </p:cNvPr>
            <p:cNvSpPr>
              <a:spLocks noEditPoints="1"/>
            </p:cNvSpPr>
            <p:nvPr/>
          </p:nvSpPr>
          <p:spPr bwMode="auto">
            <a:xfrm>
              <a:off x="9777413" y="4351338"/>
              <a:ext cx="449263" cy="449263"/>
            </a:xfrm>
            <a:custGeom>
              <a:avLst/>
              <a:gdLst>
                <a:gd name="T0" fmla="*/ 356 w 850"/>
                <a:gd name="T1" fmla="*/ 85 h 850"/>
                <a:gd name="T2" fmla="*/ 275 w 850"/>
                <a:gd name="T3" fmla="*/ 112 h 850"/>
                <a:gd name="T4" fmla="*/ 204 w 850"/>
                <a:gd name="T5" fmla="*/ 157 h 850"/>
                <a:gd name="T6" fmla="*/ 146 w 850"/>
                <a:gd name="T7" fmla="*/ 217 h 850"/>
                <a:gd name="T8" fmla="*/ 105 w 850"/>
                <a:gd name="T9" fmla="*/ 290 h 850"/>
                <a:gd name="T10" fmla="*/ 82 w 850"/>
                <a:gd name="T11" fmla="*/ 372 h 850"/>
                <a:gd name="T12" fmla="*/ 79 w 850"/>
                <a:gd name="T13" fmla="*/ 461 h 850"/>
                <a:gd name="T14" fmla="*/ 99 w 850"/>
                <a:gd name="T15" fmla="*/ 545 h 850"/>
                <a:gd name="T16" fmla="*/ 137 w 850"/>
                <a:gd name="T17" fmla="*/ 620 h 850"/>
                <a:gd name="T18" fmla="*/ 192 w 850"/>
                <a:gd name="T19" fmla="*/ 682 h 850"/>
                <a:gd name="T20" fmla="*/ 260 w 850"/>
                <a:gd name="T21" fmla="*/ 731 h 850"/>
                <a:gd name="T22" fmla="*/ 339 w 850"/>
                <a:gd name="T23" fmla="*/ 762 h 850"/>
                <a:gd name="T24" fmla="*/ 425 w 850"/>
                <a:gd name="T25" fmla="*/ 773 h 850"/>
                <a:gd name="T26" fmla="*/ 512 w 850"/>
                <a:gd name="T27" fmla="*/ 762 h 850"/>
                <a:gd name="T28" fmla="*/ 591 w 850"/>
                <a:gd name="T29" fmla="*/ 731 h 850"/>
                <a:gd name="T30" fmla="*/ 659 w 850"/>
                <a:gd name="T31" fmla="*/ 682 h 850"/>
                <a:gd name="T32" fmla="*/ 714 w 850"/>
                <a:gd name="T33" fmla="*/ 620 h 850"/>
                <a:gd name="T34" fmla="*/ 752 w 850"/>
                <a:gd name="T35" fmla="*/ 545 h 850"/>
                <a:gd name="T36" fmla="*/ 771 w 850"/>
                <a:gd name="T37" fmla="*/ 461 h 850"/>
                <a:gd name="T38" fmla="*/ 769 w 850"/>
                <a:gd name="T39" fmla="*/ 372 h 850"/>
                <a:gd name="T40" fmla="*/ 746 w 850"/>
                <a:gd name="T41" fmla="*/ 290 h 850"/>
                <a:gd name="T42" fmla="*/ 704 w 850"/>
                <a:gd name="T43" fmla="*/ 217 h 850"/>
                <a:gd name="T44" fmla="*/ 647 w 850"/>
                <a:gd name="T45" fmla="*/ 157 h 850"/>
                <a:gd name="T46" fmla="*/ 576 w 850"/>
                <a:gd name="T47" fmla="*/ 112 h 850"/>
                <a:gd name="T48" fmla="*/ 495 w 850"/>
                <a:gd name="T49" fmla="*/ 85 h 850"/>
                <a:gd name="T50" fmla="*/ 425 w 850"/>
                <a:gd name="T51" fmla="*/ 850 h 850"/>
                <a:gd name="T52" fmla="*/ 320 w 850"/>
                <a:gd name="T53" fmla="*/ 837 h 850"/>
                <a:gd name="T54" fmla="*/ 223 w 850"/>
                <a:gd name="T55" fmla="*/ 799 h 850"/>
                <a:gd name="T56" fmla="*/ 140 w 850"/>
                <a:gd name="T57" fmla="*/ 740 h 850"/>
                <a:gd name="T58" fmla="*/ 73 w 850"/>
                <a:gd name="T59" fmla="*/ 663 h 850"/>
                <a:gd name="T60" fmla="*/ 26 w 850"/>
                <a:gd name="T61" fmla="*/ 572 h 850"/>
                <a:gd name="T62" fmla="*/ 3 w 850"/>
                <a:gd name="T63" fmla="*/ 469 h 850"/>
                <a:gd name="T64" fmla="*/ 5 w 850"/>
                <a:gd name="T65" fmla="*/ 360 h 850"/>
                <a:gd name="T66" fmla="*/ 34 w 850"/>
                <a:gd name="T67" fmla="*/ 260 h 850"/>
                <a:gd name="T68" fmla="*/ 85 w 850"/>
                <a:gd name="T69" fmla="*/ 171 h 850"/>
                <a:gd name="T70" fmla="*/ 155 w 850"/>
                <a:gd name="T71" fmla="*/ 98 h 850"/>
                <a:gd name="T72" fmla="*/ 241 w 850"/>
                <a:gd name="T73" fmla="*/ 43 h 850"/>
                <a:gd name="T74" fmla="*/ 340 w 850"/>
                <a:gd name="T75" fmla="*/ 8 h 850"/>
                <a:gd name="T76" fmla="*/ 447 w 850"/>
                <a:gd name="T77" fmla="*/ 1 h 850"/>
                <a:gd name="T78" fmla="*/ 551 w 850"/>
                <a:gd name="T79" fmla="*/ 19 h 850"/>
                <a:gd name="T80" fmla="*/ 646 w 850"/>
                <a:gd name="T81" fmla="*/ 62 h 850"/>
                <a:gd name="T82" fmla="*/ 726 w 850"/>
                <a:gd name="T83" fmla="*/ 124 h 850"/>
                <a:gd name="T84" fmla="*/ 788 w 850"/>
                <a:gd name="T85" fmla="*/ 205 h 850"/>
                <a:gd name="T86" fmla="*/ 831 w 850"/>
                <a:gd name="T87" fmla="*/ 299 h 850"/>
                <a:gd name="T88" fmla="*/ 850 w 850"/>
                <a:gd name="T89" fmla="*/ 404 h 850"/>
                <a:gd name="T90" fmla="*/ 841 w 850"/>
                <a:gd name="T91" fmla="*/ 511 h 850"/>
                <a:gd name="T92" fmla="*/ 808 w 850"/>
                <a:gd name="T93" fmla="*/ 609 h 850"/>
                <a:gd name="T94" fmla="*/ 753 w 850"/>
                <a:gd name="T95" fmla="*/ 695 h 850"/>
                <a:gd name="T96" fmla="*/ 680 w 850"/>
                <a:gd name="T97" fmla="*/ 766 h 850"/>
                <a:gd name="T98" fmla="*/ 591 w 850"/>
                <a:gd name="T99" fmla="*/ 817 h 850"/>
                <a:gd name="T100" fmla="*/ 490 w 850"/>
                <a:gd name="T101" fmla="*/ 846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0" h="850">
                  <a:moveTo>
                    <a:pt x="425" y="78"/>
                  </a:moveTo>
                  <a:lnTo>
                    <a:pt x="408" y="78"/>
                  </a:lnTo>
                  <a:lnTo>
                    <a:pt x="390" y="80"/>
                  </a:lnTo>
                  <a:lnTo>
                    <a:pt x="373" y="82"/>
                  </a:lnTo>
                  <a:lnTo>
                    <a:pt x="356" y="85"/>
                  </a:lnTo>
                  <a:lnTo>
                    <a:pt x="339" y="88"/>
                  </a:lnTo>
                  <a:lnTo>
                    <a:pt x="322" y="94"/>
                  </a:lnTo>
                  <a:lnTo>
                    <a:pt x="306" y="99"/>
                  </a:lnTo>
                  <a:lnTo>
                    <a:pt x="290" y="105"/>
                  </a:lnTo>
                  <a:lnTo>
                    <a:pt x="275" y="112"/>
                  </a:lnTo>
                  <a:lnTo>
                    <a:pt x="260" y="119"/>
                  </a:lnTo>
                  <a:lnTo>
                    <a:pt x="245" y="128"/>
                  </a:lnTo>
                  <a:lnTo>
                    <a:pt x="231" y="137"/>
                  </a:lnTo>
                  <a:lnTo>
                    <a:pt x="218" y="147"/>
                  </a:lnTo>
                  <a:lnTo>
                    <a:pt x="204" y="157"/>
                  </a:lnTo>
                  <a:lnTo>
                    <a:pt x="192" y="168"/>
                  </a:lnTo>
                  <a:lnTo>
                    <a:pt x="179" y="180"/>
                  </a:lnTo>
                  <a:lnTo>
                    <a:pt x="168" y="191"/>
                  </a:lnTo>
                  <a:lnTo>
                    <a:pt x="157" y="204"/>
                  </a:lnTo>
                  <a:lnTo>
                    <a:pt x="146" y="217"/>
                  </a:lnTo>
                  <a:lnTo>
                    <a:pt x="137" y="231"/>
                  </a:lnTo>
                  <a:lnTo>
                    <a:pt x="128" y="246"/>
                  </a:lnTo>
                  <a:lnTo>
                    <a:pt x="120" y="259"/>
                  </a:lnTo>
                  <a:lnTo>
                    <a:pt x="111" y="274"/>
                  </a:lnTo>
                  <a:lnTo>
                    <a:pt x="105" y="290"/>
                  </a:lnTo>
                  <a:lnTo>
                    <a:pt x="99" y="306"/>
                  </a:lnTo>
                  <a:lnTo>
                    <a:pt x="93" y="322"/>
                  </a:lnTo>
                  <a:lnTo>
                    <a:pt x="89" y="338"/>
                  </a:lnTo>
                  <a:lnTo>
                    <a:pt x="85" y="355"/>
                  </a:lnTo>
                  <a:lnTo>
                    <a:pt x="82" y="372"/>
                  </a:lnTo>
                  <a:lnTo>
                    <a:pt x="79" y="390"/>
                  </a:lnTo>
                  <a:lnTo>
                    <a:pt x="78" y="407"/>
                  </a:lnTo>
                  <a:lnTo>
                    <a:pt x="77" y="425"/>
                  </a:lnTo>
                  <a:lnTo>
                    <a:pt x="78" y="443"/>
                  </a:lnTo>
                  <a:lnTo>
                    <a:pt x="79" y="461"/>
                  </a:lnTo>
                  <a:lnTo>
                    <a:pt x="82" y="478"/>
                  </a:lnTo>
                  <a:lnTo>
                    <a:pt x="85" y="495"/>
                  </a:lnTo>
                  <a:lnTo>
                    <a:pt x="88" y="512"/>
                  </a:lnTo>
                  <a:lnTo>
                    <a:pt x="93" y="528"/>
                  </a:lnTo>
                  <a:lnTo>
                    <a:pt x="99" y="545"/>
                  </a:lnTo>
                  <a:lnTo>
                    <a:pt x="105" y="560"/>
                  </a:lnTo>
                  <a:lnTo>
                    <a:pt x="111" y="576"/>
                  </a:lnTo>
                  <a:lnTo>
                    <a:pt x="120" y="591"/>
                  </a:lnTo>
                  <a:lnTo>
                    <a:pt x="128" y="606"/>
                  </a:lnTo>
                  <a:lnTo>
                    <a:pt x="137" y="620"/>
                  </a:lnTo>
                  <a:lnTo>
                    <a:pt x="146" y="633"/>
                  </a:lnTo>
                  <a:lnTo>
                    <a:pt x="157" y="646"/>
                  </a:lnTo>
                  <a:lnTo>
                    <a:pt x="168" y="659"/>
                  </a:lnTo>
                  <a:lnTo>
                    <a:pt x="179" y="671"/>
                  </a:lnTo>
                  <a:lnTo>
                    <a:pt x="192" y="682"/>
                  </a:lnTo>
                  <a:lnTo>
                    <a:pt x="204" y="694"/>
                  </a:lnTo>
                  <a:lnTo>
                    <a:pt x="218" y="704"/>
                  </a:lnTo>
                  <a:lnTo>
                    <a:pt x="231" y="713"/>
                  </a:lnTo>
                  <a:lnTo>
                    <a:pt x="245" y="723"/>
                  </a:lnTo>
                  <a:lnTo>
                    <a:pt x="260" y="731"/>
                  </a:lnTo>
                  <a:lnTo>
                    <a:pt x="275" y="739"/>
                  </a:lnTo>
                  <a:lnTo>
                    <a:pt x="290" y="746"/>
                  </a:lnTo>
                  <a:lnTo>
                    <a:pt x="306" y="752"/>
                  </a:lnTo>
                  <a:lnTo>
                    <a:pt x="322" y="758"/>
                  </a:lnTo>
                  <a:lnTo>
                    <a:pt x="339" y="762"/>
                  </a:lnTo>
                  <a:lnTo>
                    <a:pt x="356" y="766"/>
                  </a:lnTo>
                  <a:lnTo>
                    <a:pt x="373" y="769"/>
                  </a:lnTo>
                  <a:lnTo>
                    <a:pt x="390" y="772"/>
                  </a:lnTo>
                  <a:lnTo>
                    <a:pt x="408" y="773"/>
                  </a:lnTo>
                  <a:lnTo>
                    <a:pt x="425" y="773"/>
                  </a:lnTo>
                  <a:lnTo>
                    <a:pt x="443" y="773"/>
                  </a:lnTo>
                  <a:lnTo>
                    <a:pt x="461" y="772"/>
                  </a:lnTo>
                  <a:lnTo>
                    <a:pt x="478" y="769"/>
                  </a:lnTo>
                  <a:lnTo>
                    <a:pt x="495" y="766"/>
                  </a:lnTo>
                  <a:lnTo>
                    <a:pt x="512" y="762"/>
                  </a:lnTo>
                  <a:lnTo>
                    <a:pt x="529" y="758"/>
                  </a:lnTo>
                  <a:lnTo>
                    <a:pt x="545" y="752"/>
                  </a:lnTo>
                  <a:lnTo>
                    <a:pt x="561" y="746"/>
                  </a:lnTo>
                  <a:lnTo>
                    <a:pt x="576" y="739"/>
                  </a:lnTo>
                  <a:lnTo>
                    <a:pt x="591" y="731"/>
                  </a:lnTo>
                  <a:lnTo>
                    <a:pt x="605" y="723"/>
                  </a:lnTo>
                  <a:lnTo>
                    <a:pt x="619" y="713"/>
                  </a:lnTo>
                  <a:lnTo>
                    <a:pt x="633" y="704"/>
                  </a:lnTo>
                  <a:lnTo>
                    <a:pt x="647" y="694"/>
                  </a:lnTo>
                  <a:lnTo>
                    <a:pt x="659" y="682"/>
                  </a:lnTo>
                  <a:lnTo>
                    <a:pt x="671" y="671"/>
                  </a:lnTo>
                  <a:lnTo>
                    <a:pt x="683" y="659"/>
                  </a:lnTo>
                  <a:lnTo>
                    <a:pt x="694" y="646"/>
                  </a:lnTo>
                  <a:lnTo>
                    <a:pt x="704" y="633"/>
                  </a:lnTo>
                  <a:lnTo>
                    <a:pt x="714" y="620"/>
                  </a:lnTo>
                  <a:lnTo>
                    <a:pt x="722" y="606"/>
                  </a:lnTo>
                  <a:lnTo>
                    <a:pt x="731" y="591"/>
                  </a:lnTo>
                  <a:lnTo>
                    <a:pt x="738" y="576"/>
                  </a:lnTo>
                  <a:lnTo>
                    <a:pt x="746" y="560"/>
                  </a:lnTo>
                  <a:lnTo>
                    <a:pt x="752" y="545"/>
                  </a:lnTo>
                  <a:lnTo>
                    <a:pt x="757" y="528"/>
                  </a:lnTo>
                  <a:lnTo>
                    <a:pt x="762" y="512"/>
                  </a:lnTo>
                  <a:lnTo>
                    <a:pt x="766" y="495"/>
                  </a:lnTo>
                  <a:lnTo>
                    <a:pt x="769" y="478"/>
                  </a:lnTo>
                  <a:lnTo>
                    <a:pt x="771" y="461"/>
                  </a:lnTo>
                  <a:lnTo>
                    <a:pt x="772" y="443"/>
                  </a:lnTo>
                  <a:lnTo>
                    <a:pt x="773" y="425"/>
                  </a:lnTo>
                  <a:lnTo>
                    <a:pt x="772" y="407"/>
                  </a:lnTo>
                  <a:lnTo>
                    <a:pt x="771" y="390"/>
                  </a:lnTo>
                  <a:lnTo>
                    <a:pt x="769" y="372"/>
                  </a:lnTo>
                  <a:lnTo>
                    <a:pt x="766" y="355"/>
                  </a:lnTo>
                  <a:lnTo>
                    <a:pt x="762" y="338"/>
                  </a:lnTo>
                  <a:lnTo>
                    <a:pt x="757" y="322"/>
                  </a:lnTo>
                  <a:lnTo>
                    <a:pt x="752" y="306"/>
                  </a:lnTo>
                  <a:lnTo>
                    <a:pt x="746" y="290"/>
                  </a:lnTo>
                  <a:lnTo>
                    <a:pt x="738" y="274"/>
                  </a:lnTo>
                  <a:lnTo>
                    <a:pt x="731" y="259"/>
                  </a:lnTo>
                  <a:lnTo>
                    <a:pt x="722" y="246"/>
                  </a:lnTo>
                  <a:lnTo>
                    <a:pt x="714" y="231"/>
                  </a:lnTo>
                  <a:lnTo>
                    <a:pt x="704" y="217"/>
                  </a:lnTo>
                  <a:lnTo>
                    <a:pt x="694" y="204"/>
                  </a:lnTo>
                  <a:lnTo>
                    <a:pt x="683" y="191"/>
                  </a:lnTo>
                  <a:lnTo>
                    <a:pt x="671" y="180"/>
                  </a:lnTo>
                  <a:lnTo>
                    <a:pt x="659" y="168"/>
                  </a:lnTo>
                  <a:lnTo>
                    <a:pt x="647" y="157"/>
                  </a:lnTo>
                  <a:lnTo>
                    <a:pt x="633" y="147"/>
                  </a:lnTo>
                  <a:lnTo>
                    <a:pt x="619" y="137"/>
                  </a:lnTo>
                  <a:lnTo>
                    <a:pt x="605" y="128"/>
                  </a:lnTo>
                  <a:lnTo>
                    <a:pt x="591" y="119"/>
                  </a:lnTo>
                  <a:lnTo>
                    <a:pt x="576" y="112"/>
                  </a:lnTo>
                  <a:lnTo>
                    <a:pt x="561" y="105"/>
                  </a:lnTo>
                  <a:lnTo>
                    <a:pt x="545" y="99"/>
                  </a:lnTo>
                  <a:lnTo>
                    <a:pt x="529" y="94"/>
                  </a:lnTo>
                  <a:lnTo>
                    <a:pt x="512" y="88"/>
                  </a:lnTo>
                  <a:lnTo>
                    <a:pt x="495" y="85"/>
                  </a:lnTo>
                  <a:lnTo>
                    <a:pt x="478" y="82"/>
                  </a:lnTo>
                  <a:lnTo>
                    <a:pt x="461" y="80"/>
                  </a:lnTo>
                  <a:lnTo>
                    <a:pt x="443" y="78"/>
                  </a:lnTo>
                  <a:lnTo>
                    <a:pt x="425" y="78"/>
                  </a:lnTo>
                  <a:close/>
                  <a:moveTo>
                    <a:pt x="425" y="850"/>
                  </a:moveTo>
                  <a:lnTo>
                    <a:pt x="404" y="850"/>
                  </a:lnTo>
                  <a:lnTo>
                    <a:pt x="382" y="848"/>
                  </a:lnTo>
                  <a:lnTo>
                    <a:pt x="361" y="846"/>
                  </a:lnTo>
                  <a:lnTo>
                    <a:pt x="340" y="842"/>
                  </a:lnTo>
                  <a:lnTo>
                    <a:pt x="320" y="837"/>
                  </a:lnTo>
                  <a:lnTo>
                    <a:pt x="299" y="831"/>
                  </a:lnTo>
                  <a:lnTo>
                    <a:pt x="279" y="825"/>
                  </a:lnTo>
                  <a:lnTo>
                    <a:pt x="260" y="817"/>
                  </a:lnTo>
                  <a:lnTo>
                    <a:pt x="241" y="809"/>
                  </a:lnTo>
                  <a:lnTo>
                    <a:pt x="223" y="799"/>
                  </a:lnTo>
                  <a:lnTo>
                    <a:pt x="205" y="789"/>
                  </a:lnTo>
                  <a:lnTo>
                    <a:pt x="188" y="778"/>
                  </a:lnTo>
                  <a:lnTo>
                    <a:pt x="171" y="766"/>
                  </a:lnTo>
                  <a:lnTo>
                    <a:pt x="155" y="754"/>
                  </a:lnTo>
                  <a:lnTo>
                    <a:pt x="140" y="740"/>
                  </a:lnTo>
                  <a:lnTo>
                    <a:pt x="125" y="726"/>
                  </a:lnTo>
                  <a:lnTo>
                    <a:pt x="110" y="711"/>
                  </a:lnTo>
                  <a:lnTo>
                    <a:pt x="97" y="695"/>
                  </a:lnTo>
                  <a:lnTo>
                    <a:pt x="85" y="679"/>
                  </a:lnTo>
                  <a:lnTo>
                    <a:pt x="73" y="663"/>
                  </a:lnTo>
                  <a:lnTo>
                    <a:pt x="61" y="645"/>
                  </a:lnTo>
                  <a:lnTo>
                    <a:pt x="52" y="628"/>
                  </a:lnTo>
                  <a:lnTo>
                    <a:pt x="42" y="609"/>
                  </a:lnTo>
                  <a:lnTo>
                    <a:pt x="34" y="591"/>
                  </a:lnTo>
                  <a:lnTo>
                    <a:pt x="26" y="572"/>
                  </a:lnTo>
                  <a:lnTo>
                    <a:pt x="19" y="552"/>
                  </a:lnTo>
                  <a:lnTo>
                    <a:pt x="14" y="531"/>
                  </a:lnTo>
                  <a:lnTo>
                    <a:pt x="9" y="511"/>
                  </a:lnTo>
                  <a:lnTo>
                    <a:pt x="5" y="490"/>
                  </a:lnTo>
                  <a:lnTo>
                    <a:pt x="3" y="469"/>
                  </a:lnTo>
                  <a:lnTo>
                    <a:pt x="1" y="447"/>
                  </a:lnTo>
                  <a:lnTo>
                    <a:pt x="0" y="425"/>
                  </a:lnTo>
                  <a:lnTo>
                    <a:pt x="1" y="404"/>
                  </a:lnTo>
                  <a:lnTo>
                    <a:pt x="3" y="382"/>
                  </a:lnTo>
                  <a:lnTo>
                    <a:pt x="5" y="360"/>
                  </a:lnTo>
                  <a:lnTo>
                    <a:pt x="9" y="340"/>
                  </a:lnTo>
                  <a:lnTo>
                    <a:pt x="14" y="319"/>
                  </a:lnTo>
                  <a:lnTo>
                    <a:pt x="19" y="299"/>
                  </a:lnTo>
                  <a:lnTo>
                    <a:pt x="26" y="280"/>
                  </a:lnTo>
                  <a:lnTo>
                    <a:pt x="34" y="260"/>
                  </a:lnTo>
                  <a:lnTo>
                    <a:pt x="42" y="241"/>
                  </a:lnTo>
                  <a:lnTo>
                    <a:pt x="52" y="223"/>
                  </a:lnTo>
                  <a:lnTo>
                    <a:pt x="61" y="205"/>
                  </a:lnTo>
                  <a:lnTo>
                    <a:pt x="73" y="188"/>
                  </a:lnTo>
                  <a:lnTo>
                    <a:pt x="85" y="171"/>
                  </a:lnTo>
                  <a:lnTo>
                    <a:pt x="97" y="155"/>
                  </a:lnTo>
                  <a:lnTo>
                    <a:pt x="110" y="139"/>
                  </a:lnTo>
                  <a:lnTo>
                    <a:pt x="125" y="124"/>
                  </a:lnTo>
                  <a:lnTo>
                    <a:pt x="140" y="111"/>
                  </a:lnTo>
                  <a:lnTo>
                    <a:pt x="155" y="98"/>
                  </a:lnTo>
                  <a:lnTo>
                    <a:pt x="171" y="85"/>
                  </a:lnTo>
                  <a:lnTo>
                    <a:pt x="188" y="73"/>
                  </a:lnTo>
                  <a:lnTo>
                    <a:pt x="205" y="62"/>
                  </a:lnTo>
                  <a:lnTo>
                    <a:pt x="223" y="51"/>
                  </a:lnTo>
                  <a:lnTo>
                    <a:pt x="241" y="43"/>
                  </a:lnTo>
                  <a:lnTo>
                    <a:pt x="260" y="34"/>
                  </a:lnTo>
                  <a:lnTo>
                    <a:pt x="279" y="26"/>
                  </a:lnTo>
                  <a:lnTo>
                    <a:pt x="299" y="19"/>
                  </a:lnTo>
                  <a:lnTo>
                    <a:pt x="320" y="14"/>
                  </a:lnTo>
                  <a:lnTo>
                    <a:pt x="340" y="8"/>
                  </a:lnTo>
                  <a:lnTo>
                    <a:pt x="361" y="5"/>
                  </a:lnTo>
                  <a:lnTo>
                    <a:pt x="382" y="2"/>
                  </a:lnTo>
                  <a:lnTo>
                    <a:pt x="404" y="1"/>
                  </a:lnTo>
                  <a:lnTo>
                    <a:pt x="425" y="0"/>
                  </a:lnTo>
                  <a:lnTo>
                    <a:pt x="447" y="1"/>
                  </a:lnTo>
                  <a:lnTo>
                    <a:pt x="468" y="2"/>
                  </a:lnTo>
                  <a:lnTo>
                    <a:pt x="490" y="5"/>
                  </a:lnTo>
                  <a:lnTo>
                    <a:pt x="511" y="8"/>
                  </a:lnTo>
                  <a:lnTo>
                    <a:pt x="531" y="14"/>
                  </a:lnTo>
                  <a:lnTo>
                    <a:pt x="551" y="19"/>
                  </a:lnTo>
                  <a:lnTo>
                    <a:pt x="571" y="26"/>
                  </a:lnTo>
                  <a:lnTo>
                    <a:pt x="591" y="34"/>
                  </a:lnTo>
                  <a:lnTo>
                    <a:pt x="610" y="43"/>
                  </a:lnTo>
                  <a:lnTo>
                    <a:pt x="628" y="51"/>
                  </a:lnTo>
                  <a:lnTo>
                    <a:pt x="646" y="62"/>
                  </a:lnTo>
                  <a:lnTo>
                    <a:pt x="663" y="73"/>
                  </a:lnTo>
                  <a:lnTo>
                    <a:pt x="680" y="85"/>
                  </a:lnTo>
                  <a:lnTo>
                    <a:pt x="696" y="98"/>
                  </a:lnTo>
                  <a:lnTo>
                    <a:pt x="711" y="111"/>
                  </a:lnTo>
                  <a:lnTo>
                    <a:pt x="726" y="124"/>
                  </a:lnTo>
                  <a:lnTo>
                    <a:pt x="739" y="139"/>
                  </a:lnTo>
                  <a:lnTo>
                    <a:pt x="753" y="155"/>
                  </a:lnTo>
                  <a:lnTo>
                    <a:pt x="766" y="171"/>
                  </a:lnTo>
                  <a:lnTo>
                    <a:pt x="778" y="188"/>
                  </a:lnTo>
                  <a:lnTo>
                    <a:pt x="788" y="205"/>
                  </a:lnTo>
                  <a:lnTo>
                    <a:pt x="799" y="223"/>
                  </a:lnTo>
                  <a:lnTo>
                    <a:pt x="808" y="241"/>
                  </a:lnTo>
                  <a:lnTo>
                    <a:pt x="817" y="260"/>
                  </a:lnTo>
                  <a:lnTo>
                    <a:pt x="824" y="280"/>
                  </a:lnTo>
                  <a:lnTo>
                    <a:pt x="831" y="299"/>
                  </a:lnTo>
                  <a:lnTo>
                    <a:pt x="837" y="319"/>
                  </a:lnTo>
                  <a:lnTo>
                    <a:pt x="841" y="340"/>
                  </a:lnTo>
                  <a:lnTo>
                    <a:pt x="846" y="360"/>
                  </a:lnTo>
                  <a:lnTo>
                    <a:pt x="848" y="382"/>
                  </a:lnTo>
                  <a:lnTo>
                    <a:pt x="850" y="404"/>
                  </a:lnTo>
                  <a:lnTo>
                    <a:pt x="850" y="425"/>
                  </a:lnTo>
                  <a:lnTo>
                    <a:pt x="850" y="447"/>
                  </a:lnTo>
                  <a:lnTo>
                    <a:pt x="848" y="469"/>
                  </a:lnTo>
                  <a:lnTo>
                    <a:pt x="846" y="490"/>
                  </a:lnTo>
                  <a:lnTo>
                    <a:pt x="841" y="511"/>
                  </a:lnTo>
                  <a:lnTo>
                    <a:pt x="837" y="531"/>
                  </a:lnTo>
                  <a:lnTo>
                    <a:pt x="831" y="552"/>
                  </a:lnTo>
                  <a:lnTo>
                    <a:pt x="824" y="572"/>
                  </a:lnTo>
                  <a:lnTo>
                    <a:pt x="817" y="591"/>
                  </a:lnTo>
                  <a:lnTo>
                    <a:pt x="808" y="609"/>
                  </a:lnTo>
                  <a:lnTo>
                    <a:pt x="799" y="628"/>
                  </a:lnTo>
                  <a:lnTo>
                    <a:pt x="788" y="645"/>
                  </a:lnTo>
                  <a:lnTo>
                    <a:pt x="778" y="663"/>
                  </a:lnTo>
                  <a:lnTo>
                    <a:pt x="766" y="679"/>
                  </a:lnTo>
                  <a:lnTo>
                    <a:pt x="753" y="695"/>
                  </a:lnTo>
                  <a:lnTo>
                    <a:pt x="739" y="711"/>
                  </a:lnTo>
                  <a:lnTo>
                    <a:pt x="726" y="726"/>
                  </a:lnTo>
                  <a:lnTo>
                    <a:pt x="711" y="740"/>
                  </a:lnTo>
                  <a:lnTo>
                    <a:pt x="696" y="754"/>
                  </a:lnTo>
                  <a:lnTo>
                    <a:pt x="680" y="766"/>
                  </a:lnTo>
                  <a:lnTo>
                    <a:pt x="663" y="778"/>
                  </a:lnTo>
                  <a:lnTo>
                    <a:pt x="646" y="789"/>
                  </a:lnTo>
                  <a:lnTo>
                    <a:pt x="628" y="799"/>
                  </a:lnTo>
                  <a:lnTo>
                    <a:pt x="610" y="809"/>
                  </a:lnTo>
                  <a:lnTo>
                    <a:pt x="591" y="817"/>
                  </a:lnTo>
                  <a:lnTo>
                    <a:pt x="571" y="825"/>
                  </a:lnTo>
                  <a:lnTo>
                    <a:pt x="551" y="831"/>
                  </a:lnTo>
                  <a:lnTo>
                    <a:pt x="531" y="837"/>
                  </a:lnTo>
                  <a:lnTo>
                    <a:pt x="511" y="842"/>
                  </a:lnTo>
                  <a:lnTo>
                    <a:pt x="490" y="846"/>
                  </a:lnTo>
                  <a:lnTo>
                    <a:pt x="468" y="848"/>
                  </a:lnTo>
                  <a:lnTo>
                    <a:pt x="447" y="850"/>
                  </a:lnTo>
                  <a:lnTo>
                    <a:pt x="42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47">
              <a:extLst>
                <a:ext uri="{FF2B5EF4-FFF2-40B4-BE49-F238E27FC236}">
                  <a16:creationId xmlns:a16="http://schemas.microsoft.com/office/drawing/2014/main" id="{A83BB421-2A90-43D6-B8E9-9CDCAB6B425A}"/>
                </a:ext>
              </a:extLst>
            </p:cNvPr>
            <p:cNvSpPr>
              <a:spLocks noEditPoints="1"/>
            </p:cNvSpPr>
            <p:nvPr/>
          </p:nvSpPr>
          <p:spPr bwMode="auto">
            <a:xfrm>
              <a:off x="9920288" y="4494213"/>
              <a:ext cx="163513" cy="163513"/>
            </a:xfrm>
            <a:custGeom>
              <a:avLst/>
              <a:gdLst>
                <a:gd name="T0" fmla="*/ 139 w 309"/>
                <a:gd name="T1" fmla="*/ 79 h 309"/>
                <a:gd name="T2" fmla="*/ 118 w 309"/>
                <a:gd name="T3" fmla="*/ 86 h 309"/>
                <a:gd name="T4" fmla="*/ 100 w 309"/>
                <a:gd name="T5" fmla="*/ 100 h 309"/>
                <a:gd name="T6" fmla="*/ 87 w 309"/>
                <a:gd name="T7" fmla="*/ 118 h 309"/>
                <a:gd name="T8" fmla="*/ 78 w 309"/>
                <a:gd name="T9" fmla="*/ 138 h 309"/>
                <a:gd name="T10" fmla="*/ 77 w 309"/>
                <a:gd name="T11" fmla="*/ 163 h 309"/>
                <a:gd name="T12" fmla="*/ 83 w 309"/>
                <a:gd name="T13" fmla="*/ 184 h 309"/>
                <a:gd name="T14" fmla="*/ 94 w 309"/>
                <a:gd name="T15" fmla="*/ 203 h 309"/>
                <a:gd name="T16" fmla="*/ 111 w 309"/>
                <a:gd name="T17" fmla="*/ 218 h 309"/>
                <a:gd name="T18" fmla="*/ 131 w 309"/>
                <a:gd name="T19" fmla="*/ 229 h 309"/>
                <a:gd name="T20" fmla="*/ 154 w 309"/>
                <a:gd name="T21" fmla="*/ 232 h 309"/>
                <a:gd name="T22" fmla="*/ 177 w 309"/>
                <a:gd name="T23" fmla="*/ 229 h 309"/>
                <a:gd name="T24" fmla="*/ 197 w 309"/>
                <a:gd name="T25" fmla="*/ 218 h 309"/>
                <a:gd name="T26" fmla="*/ 214 w 309"/>
                <a:gd name="T27" fmla="*/ 203 h 309"/>
                <a:gd name="T28" fmla="*/ 225 w 309"/>
                <a:gd name="T29" fmla="*/ 184 h 309"/>
                <a:gd name="T30" fmla="*/ 231 w 309"/>
                <a:gd name="T31" fmla="*/ 163 h 309"/>
                <a:gd name="T32" fmla="*/ 230 w 309"/>
                <a:gd name="T33" fmla="*/ 138 h 309"/>
                <a:gd name="T34" fmla="*/ 222 w 309"/>
                <a:gd name="T35" fmla="*/ 118 h 309"/>
                <a:gd name="T36" fmla="*/ 209 w 309"/>
                <a:gd name="T37" fmla="*/ 100 h 309"/>
                <a:gd name="T38" fmla="*/ 191 w 309"/>
                <a:gd name="T39" fmla="*/ 86 h 309"/>
                <a:gd name="T40" fmla="*/ 170 w 309"/>
                <a:gd name="T41" fmla="*/ 79 h 309"/>
                <a:gd name="T42" fmla="*/ 154 w 309"/>
                <a:gd name="T43" fmla="*/ 309 h 309"/>
                <a:gd name="T44" fmla="*/ 108 w 309"/>
                <a:gd name="T45" fmla="*/ 302 h 309"/>
                <a:gd name="T46" fmla="*/ 68 w 309"/>
                <a:gd name="T47" fmla="*/ 283 h 309"/>
                <a:gd name="T48" fmla="*/ 35 w 309"/>
                <a:gd name="T49" fmla="*/ 253 h 309"/>
                <a:gd name="T50" fmla="*/ 11 w 309"/>
                <a:gd name="T51" fmla="*/ 215 h 309"/>
                <a:gd name="T52" fmla="*/ 1 w 309"/>
                <a:gd name="T53" fmla="*/ 170 h 309"/>
                <a:gd name="T54" fmla="*/ 3 w 309"/>
                <a:gd name="T55" fmla="*/ 123 h 309"/>
                <a:gd name="T56" fmla="*/ 19 w 309"/>
                <a:gd name="T57" fmla="*/ 81 h 309"/>
                <a:gd name="T58" fmla="*/ 45 w 309"/>
                <a:gd name="T59" fmla="*/ 45 h 309"/>
                <a:gd name="T60" fmla="*/ 80 w 309"/>
                <a:gd name="T61" fmla="*/ 18 h 309"/>
                <a:gd name="T62" fmla="*/ 123 w 309"/>
                <a:gd name="T63" fmla="*/ 3 h 309"/>
                <a:gd name="T64" fmla="*/ 170 w 309"/>
                <a:gd name="T65" fmla="*/ 0 h 309"/>
                <a:gd name="T66" fmla="*/ 214 w 309"/>
                <a:gd name="T67" fmla="*/ 12 h 309"/>
                <a:gd name="T68" fmla="*/ 253 w 309"/>
                <a:gd name="T69" fmla="*/ 35 h 309"/>
                <a:gd name="T70" fmla="*/ 282 w 309"/>
                <a:gd name="T71" fmla="*/ 68 h 309"/>
                <a:gd name="T72" fmla="*/ 302 w 309"/>
                <a:gd name="T73" fmla="*/ 108 h 309"/>
                <a:gd name="T74" fmla="*/ 309 w 309"/>
                <a:gd name="T75" fmla="*/ 154 h 309"/>
                <a:gd name="T76" fmla="*/ 302 w 309"/>
                <a:gd name="T77" fmla="*/ 200 h 309"/>
                <a:gd name="T78" fmla="*/ 282 w 309"/>
                <a:gd name="T79" fmla="*/ 240 h 309"/>
                <a:gd name="T80" fmla="*/ 253 w 309"/>
                <a:gd name="T81" fmla="*/ 273 h 309"/>
                <a:gd name="T82" fmla="*/ 214 w 309"/>
                <a:gd name="T83" fmla="*/ 297 h 309"/>
                <a:gd name="T84" fmla="*/ 170 w 309"/>
                <a:gd name="T85" fmla="*/ 30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9" h="309">
                  <a:moveTo>
                    <a:pt x="154" y="77"/>
                  </a:moveTo>
                  <a:lnTo>
                    <a:pt x="146" y="78"/>
                  </a:lnTo>
                  <a:lnTo>
                    <a:pt x="139" y="79"/>
                  </a:lnTo>
                  <a:lnTo>
                    <a:pt x="131" y="81"/>
                  </a:lnTo>
                  <a:lnTo>
                    <a:pt x="124" y="83"/>
                  </a:lnTo>
                  <a:lnTo>
                    <a:pt x="118" y="86"/>
                  </a:lnTo>
                  <a:lnTo>
                    <a:pt x="111" y="90"/>
                  </a:lnTo>
                  <a:lnTo>
                    <a:pt x="105" y="95"/>
                  </a:lnTo>
                  <a:lnTo>
                    <a:pt x="100" y="100"/>
                  </a:lnTo>
                  <a:lnTo>
                    <a:pt x="94" y="105"/>
                  </a:lnTo>
                  <a:lnTo>
                    <a:pt x="90" y="112"/>
                  </a:lnTo>
                  <a:lnTo>
                    <a:pt x="87" y="118"/>
                  </a:lnTo>
                  <a:lnTo>
                    <a:pt x="83" y="124"/>
                  </a:lnTo>
                  <a:lnTo>
                    <a:pt x="80" y="132"/>
                  </a:lnTo>
                  <a:lnTo>
                    <a:pt x="78" y="138"/>
                  </a:lnTo>
                  <a:lnTo>
                    <a:pt x="77" y="147"/>
                  </a:lnTo>
                  <a:lnTo>
                    <a:pt x="77" y="154"/>
                  </a:lnTo>
                  <a:lnTo>
                    <a:pt x="77" y="163"/>
                  </a:lnTo>
                  <a:lnTo>
                    <a:pt x="78" y="170"/>
                  </a:lnTo>
                  <a:lnTo>
                    <a:pt x="80" y="177"/>
                  </a:lnTo>
                  <a:lnTo>
                    <a:pt x="83" y="184"/>
                  </a:lnTo>
                  <a:lnTo>
                    <a:pt x="87" y="191"/>
                  </a:lnTo>
                  <a:lnTo>
                    <a:pt x="90" y="198"/>
                  </a:lnTo>
                  <a:lnTo>
                    <a:pt x="94" y="203"/>
                  </a:lnTo>
                  <a:lnTo>
                    <a:pt x="100" y="209"/>
                  </a:lnTo>
                  <a:lnTo>
                    <a:pt x="105" y="214"/>
                  </a:lnTo>
                  <a:lnTo>
                    <a:pt x="111" y="218"/>
                  </a:lnTo>
                  <a:lnTo>
                    <a:pt x="118" y="222"/>
                  </a:lnTo>
                  <a:lnTo>
                    <a:pt x="124" y="225"/>
                  </a:lnTo>
                  <a:lnTo>
                    <a:pt x="131" y="229"/>
                  </a:lnTo>
                  <a:lnTo>
                    <a:pt x="139" y="230"/>
                  </a:lnTo>
                  <a:lnTo>
                    <a:pt x="146" y="231"/>
                  </a:lnTo>
                  <a:lnTo>
                    <a:pt x="154" y="232"/>
                  </a:lnTo>
                  <a:lnTo>
                    <a:pt x="162" y="231"/>
                  </a:lnTo>
                  <a:lnTo>
                    <a:pt x="170" y="230"/>
                  </a:lnTo>
                  <a:lnTo>
                    <a:pt x="177" y="229"/>
                  </a:lnTo>
                  <a:lnTo>
                    <a:pt x="185" y="225"/>
                  </a:lnTo>
                  <a:lnTo>
                    <a:pt x="191" y="222"/>
                  </a:lnTo>
                  <a:lnTo>
                    <a:pt x="197" y="218"/>
                  </a:lnTo>
                  <a:lnTo>
                    <a:pt x="204" y="214"/>
                  </a:lnTo>
                  <a:lnTo>
                    <a:pt x="209" y="209"/>
                  </a:lnTo>
                  <a:lnTo>
                    <a:pt x="214" y="203"/>
                  </a:lnTo>
                  <a:lnTo>
                    <a:pt x="219" y="198"/>
                  </a:lnTo>
                  <a:lnTo>
                    <a:pt x="222" y="191"/>
                  </a:lnTo>
                  <a:lnTo>
                    <a:pt x="225" y="184"/>
                  </a:lnTo>
                  <a:lnTo>
                    <a:pt x="228" y="177"/>
                  </a:lnTo>
                  <a:lnTo>
                    <a:pt x="230" y="170"/>
                  </a:lnTo>
                  <a:lnTo>
                    <a:pt x="231" y="163"/>
                  </a:lnTo>
                  <a:lnTo>
                    <a:pt x="231" y="154"/>
                  </a:lnTo>
                  <a:lnTo>
                    <a:pt x="231" y="147"/>
                  </a:lnTo>
                  <a:lnTo>
                    <a:pt x="230" y="138"/>
                  </a:lnTo>
                  <a:lnTo>
                    <a:pt x="228" y="132"/>
                  </a:lnTo>
                  <a:lnTo>
                    <a:pt x="225" y="124"/>
                  </a:lnTo>
                  <a:lnTo>
                    <a:pt x="222" y="118"/>
                  </a:lnTo>
                  <a:lnTo>
                    <a:pt x="219" y="112"/>
                  </a:lnTo>
                  <a:lnTo>
                    <a:pt x="214" y="105"/>
                  </a:lnTo>
                  <a:lnTo>
                    <a:pt x="209" y="100"/>
                  </a:lnTo>
                  <a:lnTo>
                    <a:pt x="204" y="95"/>
                  </a:lnTo>
                  <a:lnTo>
                    <a:pt x="197" y="90"/>
                  </a:lnTo>
                  <a:lnTo>
                    <a:pt x="191" y="86"/>
                  </a:lnTo>
                  <a:lnTo>
                    <a:pt x="185" y="83"/>
                  </a:lnTo>
                  <a:lnTo>
                    <a:pt x="177" y="81"/>
                  </a:lnTo>
                  <a:lnTo>
                    <a:pt x="170" y="79"/>
                  </a:lnTo>
                  <a:lnTo>
                    <a:pt x="162" y="78"/>
                  </a:lnTo>
                  <a:lnTo>
                    <a:pt x="154" y="77"/>
                  </a:lnTo>
                  <a:close/>
                  <a:moveTo>
                    <a:pt x="154" y="309"/>
                  </a:moveTo>
                  <a:lnTo>
                    <a:pt x="139" y="308"/>
                  </a:lnTo>
                  <a:lnTo>
                    <a:pt x="123" y="306"/>
                  </a:lnTo>
                  <a:lnTo>
                    <a:pt x="108" y="302"/>
                  </a:lnTo>
                  <a:lnTo>
                    <a:pt x="94" y="297"/>
                  </a:lnTo>
                  <a:lnTo>
                    <a:pt x="80" y="290"/>
                  </a:lnTo>
                  <a:lnTo>
                    <a:pt x="68" y="283"/>
                  </a:lnTo>
                  <a:lnTo>
                    <a:pt x="56" y="273"/>
                  </a:lnTo>
                  <a:lnTo>
                    <a:pt x="45" y="264"/>
                  </a:lnTo>
                  <a:lnTo>
                    <a:pt x="35" y="253"/>
                  </a:lnTo>
                  <a:lnTo>
                    <a:pt x="26" y="240"/>
                  </a:lnTo>
                  <a:lnTo>
                    <a:pt x="19" y="227"/>
                  </a:lnTo>
                  <a:lnTo>
                    <a:pt x="11" y="215"/>
                  </a:lnTo>
                  <a:lnTo>
                    <a:pt x="7" y="200"/>
                  </a:lnTo>
                  <a:lnTo>
                    <a:pt x="3" y="185"/>
                  </a:lnTo>
                  <a:lnTo>
                    <a:pt x="1" y="170"/>
                  </a:lnTo>
                  <a:lnTo>
                    <a:pt x="0" y="154"/>
                  </a:lnTo>
                  <a:lnTo>
                    <a:pt x="1" y="138"/>
                  </a:lnTo>
                  <a:lnTo>
                    <a:pt x="3" y="123"/>
                  </a:lnTo>
                  <a:lnTo>
                    <a:pt x="7" y="108"/>
                  </a:lnTo>
                  <a:lnTo>
                    <a:pt x="11" y="95"/>
                  </a:lnTo>
                  <a:lnTo>
                    <a:pt x="19" y="81"/>
                  </a:lnTo>
                  <a:lnTo>
                    <a:pt x="26" y="68"/>
                  </a:lnTo>
                  <a:lnTo>
                    <a:pt x="35" y="56"/>
                  </a:lnTo>
                  <a:lnTo>
                    <a:pt x="45" y="45"/>
                  </a:lnTo>
                  <a:lnTo>
                    <a:pt x="56" y="35"/>
                  </a:lnTo>
                  <a:lnTo>
                    <a:pt x="68" y="27"/>
                  </a:lnTo>
                  <a:lnTo>
                    <a:pt x="80" y="18"/>
                  </a:lnTo>
                  <a:lnTo>
                    <a:pt x="94" y="12"/>
                  </a:lnTo>
                  <a:lnTo>
                    <a:pt x="108" y="6"/>
                  </a:lnTo>
                  <a:lnTo>
                    <a:pt x="123" y="3"/>
                  </a:lnTo>
                  <a:lnTo>
                    <a:pt x="139" y="0"/>
                  </a:lnTo>
                  <a:lnTo>
                    <a:pt x="154" y="0"/>
                  </a:lnTo>
                  <a:lnTo>
                    <a:pt x="170" y="0"/>
                  </a:lnTo>
                  <a:lnTo>
                    <a:pt x="186" y="3"/>
                  </a:lnTo>
                  <a:lnTo>
                    <a:pt x="201" y="6"/>
                  </a:lnTo>
                  <a:lnTo>
                    <a:pt x="214" y="12"/>
                  </a:lnTo>
                  <a:lnTo>
                    <a:pt x="228" y="18"/>
                  </a:lnTo>
                  <a:lnTo>
                    <a:pt x="241" y="27"/>
                  </a:lnTo>
                  <a:lnTo>
                    <a:pt x="253" y="35"/>
                  </a:lnTo>
                  <a:lnTo>
                    <a:pt x="263" y="45"/>
                  </a:lnTo>
                  <a:lnTo>
                    <a:pt x="274" y="56"/>
                  </a:lnTo>
                  <a:lnTo>
                    <a:pt x="282" y="68"/>
                  </a:lnTo>
                  <a:lnTo>
                    <a:pt x="290" y="81"/>
                  </a:lnTo>
                  <a:lnTo>
                    <a:pt x="296" y="95"/>
                  </a:lnTo>
                  <a:lnTo>
                    <a:pt x="302" y="108"/>
                  </a:lnTo>
                  <a:lnTo>
                    <a:pt x="306" y="123"/>
                  </a:lnTo>
                  <a:lnTo>
                    <a:pt x="308" y="138"/>
                  </a:lnTo>
                  <a:lnTo>
                    <a:pt x="309" y="154"/>
                  </a:lnTo>
                  <a:lnTo>
                    <a:pt x="308" y="170"/>
                  </a:lnTo>
                  <a:lnTo>
                    <a:pt x="306" y="185"/>
                  </a:lnTo>
                  <a:lnTo>
                    <a:pt x="302" y="200"/>
                  </a:lnTo>
                  <a:lnTo>
                    <a:pt x="296" y="215"/>
                  </a:lnTo>
                  <a:lnTo>
                    <a:pt x="290" y="227"/>
                  </a:lnTo>
                  <a:lnTo>
                    <a:pt x="282" y="240"/>
                  </a:lnTo>
                  <a:lnTo>
                    <a:pt x="274" y="253"/>
                  </a:lnTo>
                  <a:lnTo>
                    <a:pt x="263" y="264"/>
                  </a:lnTo>
                  <a:lnTo>
                    <a:pt x="253" y="273"/>
                  </a:lnTo>
                  <a:lnTo>
                    <a:pt x="241" y="283"/>
                  </a:lnTo>
                  <a:lnTo>
                    <a:pt x="228" y="290"/>
                  </a:lnTo>
                  <a:lnTo>
                    <a:pt x="214" y="297"/>
                  </a:lnTo>
                  <a:lnTo>
                    <a:pt x="201" y="302"/>
                  </a:lnTo>
                  <a:lnTo>
                    <a:pt x="186" y="306"/>
                  </a:lnTo>
                  <a:lnTo>
                    <a:pt x="170" y="308"/>
                  </a:lnTo>
                  <a:lnTo>
                    <a:pt x="154"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 37">
            <a:extLst>
              <a:ext uri="{FF2B5EF4-FFF2-40B4-BE49-F238E27FC236}">
                <a16:creationId xmlns:a16="http://schemas.microsoft.com/office/drawing/2014/main" id="{6C4BE47A-ADD0-4486-AC03-1D964B1C99AB}"/>
              </a:ext>
            </a:extLst>
          </p:cNvPr>
          <p:cNvGrpSpPr>
            <a:grpSpLocks noChangeAspect="1"/>
          </p:cNvGrpSpPr>
          <p:nvPr/>
        </p:nvGrpSpPr>
        <p:grpSpPr>
          <a:xfrm>
            <a:off x="4853224" y="1647825"/>
            <a:ext cx="394730" cy="306484"/>
            <a:chOff x="4238762" y="2472068"/>
            <a:chExt cx="666475" cy="517477"/>
          </a:xfrm>
          <a:solidFill>
            <a:schemeClr val="bg2"/>
          </a:solidFill>
          <a:effectLst/>
        </p:grpSpPr>
        <p:sp>
          <p:nvSpPr>
            <p:cNvPr id="293" name="Freeform 10">
              <a:extLst>
                <a:ext uri="{FF2B5EF4-FFF2-40B4-BE49-F238E27FC236}">
                  <a16:creationId xmlns:a16="http://schemas.microsoft.com/office/drawing/2014/main" id="{19FE6404-F78B-4BA5-ABB4-EC9D9E9A305A}"/>
                </a:ext>
              </a:extLst>
            </p:cNvPr>
            <p:cNvSpPr>
              <a:spLocks noEditPoints="1"/>
            </p:cNvSpPr>
            <p:nvPr/>
          </p:nvSpPr>
          <p:spPr bwMode="auto">
            <a:xfrm>
              <a:off x="4238762" y="2472068"/>
              <a:ext cx="344390" cy="161489"/>
            </a:xfrm>
            <a:custGeom>
              <a:avLst/>
              <a:gdLst>
                <a:gd name="T0" fmla="*/ 285 w 1158"/>
                <a:gd name="T1" fmla="*/ 465 h 542"/>
                <a:gd name="T2" fmla="*/ 1081 w 1158"/>
                <a:gd name="T3" fmla="*/ 465 h 542"/>
                <a:gd name="T4" fmla="*/ 1081 w 1158"/>
                <a:gd name="T5" fmla="*/ 78 h 542"/>
                <a:gd name="T6" fmla="*/ 285 w 1158"/>
                <a:gd name="T7" fmla="*/ 78 h 542"/>
                <a:gd name="T8" fmla="*/ 92 w 1158"/>
                <a:gd name="T9" fmla="*/ 271 h 542"/>
                <a:gd name="T10" fmla="*/ 285 w 1158"/>
                <a:gd name="T11" fmla="*/ 465 h 542"/>
                <a:gd name="T12" fmla="*/ 1120 w 1158"/>
                <a:gd name="T13" fmla="*/ 542 h 542"/>
                <a:gd name="T14" fmla="*/ 269 w 1158"/>
                <a:gd name="T15" fmla="*/ 542 h 542"/>
                <a:gd name="T16" fmla="*/ 262 w 1158"/>
                <a:gd name="T17" fmla="*/ 541 h 542"/>
                <a:gd name="T18" fmla="*/ 255 w 1158"/>
                <a:gd name="T19" fmla="*/ 539 h 542"/>
                <a:gd name="T20" fmla="*/ 248 w 1158"/>
                <a:gd name="T21" fmla="*/ 535 h 542"/>
                <a:gd name="T22" fmla="*/ 242 w 1158"/>
                <a:gd name="T23" fmla="*/ 530 h 542"/>
                <a:gd name="T24" fmla="*/ 10 w 1158"/>
                <a:gd name="T25" fmla="*/ 299 h 542"/>
                <a:gd name="T26" fmla="*/ 6 w 1158"/>
                <a:gd name="T27" fmla="*/ 292 h 542"/>
                <a:gd name="T28" fmla="*/ 2 w 1158"/>
                <a:gd name="T29" fmla="*/ 286 h 542"/>
                <a:gd name="T30" fmla="*/ 0 w 1158"/>
                <a:gd name="T31" fmla="*/ 279 h 542"/>
                <a:gd name="T32" fmla="*/ 0 w 1158"/>
                <a:gd name="T33" fmla="*/ 271 h 542"/>
                <a:gd name="T34" fmla="*/ 0 w 1158"/>
                <a:gd name="T35" fmla="*/ 264 h 542"/>
                <a:gd name="T36" fmla="*/ 2 w 1158"/>
                <a:gd name="T37" fmla="*/ 256 h 542"/>
                <a:gd name="T38" fmla="*/ 6 w 1158"/>
                <a:gd name="T39" fmla="*/ 250 h 542"/>
                <a:gd name="T40" fmla="*/ 10 w 1158"/>
                <a:gd name="T41" fmla="*/ 244 h 542"/>
                <a:gd name="T42" fmla="*/ 242 w 1158"/>
                <a:gd name="T43" fmla="*/ 12 h 542"/>
                <a:gd name="T44" fmla="*/ 248 w 1158"/>
                <a:gd name="T45" fmla="*/ 8 h 542"/>
                <a:gd name="T46" fmla="*/ 255 w 1158"/>
                <a:gd name="T47" fmla="*/ 3 h 542"/>
                <a:gd name="T48" fmla="*/ 262 w 1158"/>
                <a:gd name="T49" fmla="*/ 1 h 542"/>
                <a:gd name="T50" fmla="*/ 269 w 1158"/>
                <a:gd name="T51" fmla="*/ 0 h 542"/>
                <a:gd name="T52" fmla="*/ 1120 w 1158"/>
                <a:gd name="T53" fmla="*/ 0 h 542"/>
                <a:gd name="T54" fmla="*/ 1127 w 1158"/>
                <a:gd name="T55" fmla="*/ 1 h 542"/>
                <a:gd name="T56" fmla="*/ 1135 w 1158"/>
                <a:gd name="T57" fmla="*/ 3 h 542"/>
                <a:gd name="T58" fmla="*/ 1141 w 1158"/>
                <a:gd name="T59" fmla="*/ 8 h 542"/>
                <a:gd name="T60" fmla="*/ 1147 w 1158"/>
                <a:gd name="T61" fmla="*/ 12 h 542"/>
                <a:gd name="T62" fmla="*/ 1152 w 1158"/>
                <a:gd name="T63" fmla="*/ 18 h 542"/>
                <a:gd name="T64" fmla="*/ 1156 w 1158"/>
                <a:gd name="T65" fmla="*/ 25 h 542"/>
                <a:gd name="T66" fmla="*/ 1158 w 1158"/>
                <a:gd name="T67" fmla="*/ 32 h 542"/>
                <a:gd name="T68" fmla="*/ 1158 w 1158"/>
                <a:gd name="T69" fmla="*/ 39 h 542"/>
                <a:gd name="T70" fmla="*/ 1158 w 1158"/>
                <a:gd name="T71" fmla="*/ 503 h 542"/>
                <a:gd name="T72" fmla="*/ 1158 w 1158"/>
                <a:gd name="T73" fmla="*/ 511 h 542"/>
                <a:gd name="T74" fmla="*/ 1156 w 1158"/>
                <a:gd name="T75" fmla="*/ 518 h 542"/>
                <a:gd name="T76" fmla="*/ 1152 w 1158"/>
                <a:gd name="T77" fmla="*/ 525 h 542"/>
                <a:gd name="T78" fmla="*/ 1147 w 1158"/>
                <a:gd name="T79" fmla="*/ 530 h 542"/>
                <a:gd name="T80" fmla="*/ 1141 w 1158"/>
                <a:gd name="T81" fmla="*/ 535 h 542"/>
                <a:gd name="T82" fmla="*/ 1135 w 1158"/>
                <a:gd name="T83" fmla="*/ 539 h 542"/>
                <a:gd name="T84" fmla="*/ 1127 w 1158"/>
                <a:gd name="T85" fmla="*/ 541 h 542"/>
                <a:gd name="T86" fmla="*/ 1120 w 1158"/>
                <a:gd name="T87"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58" h="542">
                  <a:moveTo>
                    <a:pt x="285" y="465"/>
                  </a:moveTo>
                  <a:lnTo>
                    <a:pt x="1081" y="465"/>
                  </a:lnTo>
                  <a:lnTo>
                    <a:pt x="1081" y="78"/>
                  </a:lnTo>
                  <a:lnTo>
                    <a:pt x="285" y="78"/>
                  </a:lnTo>
                  <a:lnTo>
                    <a:pt x="92" y="271"/>
                  </a:lnTo>
                  <a:lnTo>
                    <a:pt x="285" y="465"/>
                  </a:lnTo>
                  <a:close/>
                  <a:moveTo>
                    <a:pt x="1120" y="542"/>
                  </a:moveTo>
                  <a:lnTo>
                    <a:pt x="269" y="542"/>
                  </a:lnTo>
                  <a:lnTo>
                    <a:pt x="262" y="541"/>
                  </a:lnTo>
                  <a:lnTo>
                    <a:pt x="255" y="539"/>
                  </a:lnTo>
                  <a:lnTo>
                    <a:pt x="248" y="535"/>
                  </a:lnTo>
                  <a:lnTo>
                    <a:pt x="242" y="530"/>
                  </a:lnTo>
                  <a:lnTo>
                    <a:pt x="10" y="299"/>
                  </a:lnTo>
                  <a:lnTo>
                    <a:pt x="6" y="292"/>
                  </a:lnTo>
                  <a:lnTo>
                    <a:pt x="2" y="286"/>
                  </a:lnTo>
                  <a:lnTo>
                    <a:pt x="0" y="279"/>
                  </a:lnTo>
                  <a:lnTo>
                    <a:pt x="0" y="271"/>
                  </a:lnTo>
                  <a:lnTo>
                    <a:pt x="0" y="264"/>
                  </a:lnTo>
                  <a:lnTo>
                    <a:pt x="2" y="256"/>
                  </a:lnTo>
                  <a:lnTo>
                    <a:pt x="6" y="250"/>
                  </a:lnTo>
                  <a:lnTo>
                    <a:pt x="10" y="244"/>
                  </a:lnTo>
                  <a:lnTo>
                    <a:pt x="242" y="12"/>
                  </a:lnTo>
                  <a:lnTo>
                    <a:pt x="248" y="8"/>
                  </a:lnTo>
                  <a:lnTo>
                    <a:pt x="255" y="3"/>
                  </a:lnTo>
                  <a:lnTo>
                    <a:pt x="262" y="1"/>
                  </a:lnTo>
                  <a:lnTo>
                    <a:pt x="269" y="0"/>
                  </a:lnTo>
                  <a:lnTo>
                    <a:pt x="1120" y="0"/>
                  </a:lnTo>
                  <a:lnTo>
                    <a:pt x="1127" y="1"/>
                  </a:lnTo>
                  <a:lnTo>
                    <a:pt x="1135" y="3"/>
                  </a:lnTo>
                  <a:lnTo>
                    <a:pt x="1141" y="8"/>
                  </a:lnTo>
                  <a:lnTo>
                    <a:pt x="1147" y="12"/>
                  </a:lnTo>
                  <a:lnTo>
                    <a:pt x="1152" y="18"/>
                  </a:lnTo>
                  <a:lnTo>
                    <a:pt x="1156" y="25"/>
                  </a:lnTo>
                  <a:lnTo>
                    <a:pt x="1158" y="32"/>
                  </a:lnTo>
                  <a:lnTo>
                    <a:pt x="1158" y="39"/>
                  </a:lnTo>
                  <a:lnTo>
                    <a:pt x="1158" y="503"/>
                  </a:lnTo>
                  <a:lnTo>
                    <a:pt x="1158" y="511"/>
                  </a:lnTo>
                  <a:lnTo>
                    <a:pt x="1156" y="518"/>
                  </a:lnTo>
                  <a:lnTo>
                    <a:pt x="1152" y="525"/>
                  </a:lnTo>
                  <a:lnTo>
                    <a:pt x="1147" y="530"/>
                  </a:lnTo>
                  <a:lnTo>
                    <a:pt x="1141" y="535"/>
                  </a:lnTo>
                  <a:lnTo>
                    <a:pt x="1135" y="539"/>
                  </a:lnTo>
                  <a:lnTo>
                    <a:pt x="1127" y="541"/>
                  </a:lnTo>
                  <a:lnTo>
                    <a:pt x="1120"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1">
              <a:extLst>
                <a:ext uri="{FF2B5EF4-FFF2-40B4-BE49-F238E27FC236}">
                  <a16:creationId xmlns:a16="http://schemas.microsoft.com/office/drawing/2014/main" id="{4CCA5CDB-B2C8-49AA-8877-BC3F884CBB95}"/>
                </a:ext>
              </a:extLst>
            </p:cNvPr>
            <p:cNvSpPr>
              <a:spLocks noEditPoints="1"/>
            </p:cNvSpPr>
            <p:nvPr/>
          </p:nvSpPr>
          <p:spPr bwMode="auto">
            <a:xfrm>
              <a:off x="4559955" y="2541660"/>
              <a:ext cx="345282" cy="160596"/>
            </a:xfrm>
            <a:custGeom>
              <a:avLst/>
              <a:gdLst>
                <a:gd name="T0" fmla="*/ 77 w 1160"/>
                <a:gd name="T1" fmla="*/ 463 h 541"/>
                <a:gd name="T2" fmla="*/ 873 w 1160"/>
                <a:gd name="T3" fmla="*/ 463 h 541"/>
                <a:gd name="T4" fmla="*/ 1066 w 1160"/>
                <a:gd name="T5" fmla="*/ 270 h 541"/>
                <a:gd name="T6" fmla="*/ 873 w 1160"/>
                <a:gd name="T7" fmla="*/ 76 h 541"/>
                <a:gd name="T8" fmla="*/ 77 w 1160"/>
                <a:gd name="T9" fmla="*/ 76 h 541"/>
                <a:gd name="T10" fmla="*/ 77 w 1160"/>
                <a:gd name="T11" fmla="*/ 463 h 541"/>
                <a:gd name="T12" fmla="*/ 889 w 1160"/>
                <a:gd name="T13" fmla="*/ 541 h 541"/>
                <a:gd name="T14" fmla="*/ 39 w 1160"/>
                <a:gd name="T15" fmla="*/ 541 h 541"/>
                <a:gd name="T16" fmla="*/ 31 w 1160"/>
                <a:gd name="T17" fmla="*/ 540 h 541"/>
                <a:gd name="T18" fmla="*/ 24 w 1160"/>
                <a:gd name="T19" fmla="*/ 538 h 541"/>
                <a:gd name="T20" fmla="*/ 17 w 1160"/>
                <a:gd name="T21" fmla="*/ 534 h 541"/>
                <a:gd name="T22" fmla="*/ 11 w 1160"/>
                <a:gd name="T23" fmla="*/ 529 h 541"/>
                <a:gd name="T24" fmla="*/ 7 w 1160"/>
                <a:gd name="T25" fmla="*/ 524 h 541"/>
                <a:gd name="T26" fmla="*/ 4 w 1160"/>
                <a:gd name="T27" fmla="*/ 517 h 541"/>
                <a:gd name="T28" fmla="*/ 0 w 1160"/>
                <a:gd name="T29" fmla="*/ 510 h 541"/>
                <a:gd name="T30" fmla="*/ 0 w 1160"/>
                <a:gd name="T31" fmla="*/ 502 h 541"/>
                <a:gd name="T32" fmla="*/ 0 w 1160"/>
                <a:gd name="T33" fmla="*/ 38 h 541"/>
                <a:gd name="T34" fmla="*/ 0 w 1160"/>
                <a:gd name="T35" fmla="*/ 31 h 541"/>
                <a:gd name="T36" fmla="*/ 4 w 1160"/>
                <a:gd name="T37" fmla="*/ 23 h 541"/>
                <a:gd name="T38" fmla="*/ 7 w 1160"/>
                <a:gd name="T39" fmla="*/ 17 h 541"/>
                <a:gd name="T40" fmla="*/ 11 w 1160"/>
                <a:gd name="T41" fmla="*/ 11 h 541"/>
                <a:gd name="T42" fmla="*/ 17 w 1160"/>
                <a:gd name="T43" fmla="*/ 6 h 541"/>
                <a:gd name="T44" fmla="*/ 24 w 1160"/>
                <a:gd name="T45" fmla="*/ 3 h 541"/>
                <a:gd name="T46" fmla="*/ 31 w 1160"/>
                <a:gd name="T47" fmla="*/ 0 h 541"/>
                <a:gd name="T48" fmla="*/ 39 w 1160"/>
                <a:gd name="T49" fmla="*/ 0 h 541"/>
                <a:gd name="T50" fmla="*/ 889 w 1160"/>
                <a:gd name="T51" fmla="*/ 0 h 541"/>
                <a:gd name="T52" fmla="*/ 896 w 1160"/>
                <a:gd name="T53" fmla="*/ 0 h 541"/>
                <a:gd name="T54" fmla="*/ 904 w 1160"/>
                <a:gd name="T55" fmla="*/ 2 h 541"/>
                <a:gd name="T56" fmla="*/ 910 w 1160"/>
                <a:gd name="T57" fmla="*/ 6 h 541"/>
                <a:gd name="T58" fmla="*/ 916 w 1160"/>
                <a:gd name="T59" fmla="*/ 11 h 541"/>
                <a:gd name="T60" fmla="*/ 1148 w 1160"/>
                <a:gd name="T61" fmla="*/ 242 h 541"/>
                <a:gd name="T62" fmla="*/ 1153 w 1160"/>
                <a:gd name="T63" fmla="*/ 249 h 541"/>
                <a:gd name="T64" fmla="*/ 1157 w 1160"/>
                <a:gd name="T65" fmla="*/ 256 h 541"/>
                <a:gd name="T66" fmla="*/ 1159 w 1160"/>
                <a:gd name="T67" fmla="*/ 262 h 541"/>
                <a:gd name="T68" fmla="*/ 1160 w 1160"/>
                <a:gd name="T69" fmla="*/ 270 h 541"/>
                <a:gd name="T70" fmla="*/ 1159 w 1160"/>
                <a:gd name="T71" fmla="*/ 277 h 541"/>
                <a:gd name="T72" fmla="*/ 1157 w 1160"/>
                <a:gd name="T73" fmla="*/ 285 h 541"/>
                <a:gd name="T74" fmla="*/ 1153 w 1160"/>
                <a:gd name="T75" fmla="*/ 291 h 541"/>
                <a:gd name="T76" fmla="*/ 1148 w 1160"/>
                <a:gd name="T77" fmla="*/ 297 h 541"/>
                <a:gd name="T78" fmla="*/ 916 w 1160"/>
                <a:gd name="T79" fmla="*/ 529 h 541"/>
                <a:gd name="T80" fmla="*/ 910 w 1160"/>
                <a:gd name="T81" fmla="*/ 534 h 541"/>
                <a:gd name="T82" fmla="*/ 904 w 1160"/>
                <a:gd name="T83" fmla="*/ 538 h 541"/>
                <a:gd name="T84" fmla="*/ 896 w 1160"/>
                <a:gd name="T85" fmla="*/ 540 h 541"/>
                <a:gd name="T86" fmla="*/ 889 w 1160"/>
                <a:gd name="T8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0" h="541">
                  <a:moveTo>
                    <a:pt x="77" y="463"/>
                  </a:moveTo>
                  <a:lnTo>
                    <a:pt x="873" y="463"/>
                  </a:lnTo>
                  <a:lnTo>
                    <a:pt x="1066" y="270"/>
                  </a:lnTo>
                  <a:lnTo>
                    <a:pt x="873" y="76"/>
                  </a:lnTo>
                  <a:lnTo>
                    <a:pt x="77" y="76"/>
                  </a:lnTo>
                  <a:lnTo>
                    <a:pt x="77" y="463"/>
                  </a:lnTo>
                  <a:close/>
                  <a:moveTo>
                    <a:pt x="889" y="541"/>
                  </a:moveTo>
                  <a:lnTo>
                    <a:pt x="39" y="541"/>
                  </a:lnTo>
                  <a:lnTo>
                    <a:pt x="31" y="540"/>
                  </a:lnTo>
                  <a:lnTo>
                    <a:pt x="24" y="538"/>
                  </a:lnTo>
                  <a:lnTo>
                    <a:pt x="17" y="534"/>
                  </a:lnTo>
                  <a:lnTo>
                    <a:pt x="11" y="529"/>
                  </a:lnTo>
                  <a:lnTo>
                    <a:pt x="7" y="524"/>
                  </a:lnTo>
                  <a:lnTo>
                    <a:pt x="4" y="517"/>
                  </a:lnTo>
                  <a:lnTo>
                    <a:pt x="0" y="510"/>
                  </a:lnTo>
                  <a:lnTo>
                    <a:pt x="0" y="502"/>
                  </a:lnTo>
                  <a:lnTo>
                    <a:pt x="0" y="38"/>
                  </a:lnTo>
                  <a:lnTo>
                    <a:pt x="0" y="31"/>
                  </a:lnTo>
                  <a:lnTo>
                    <a:pt x="4" y="23"/>
                  </a:lnTo>
                  <a:lnTo>
                    <a:pt x="7" y="17"/>
                  </a:lnTo>
                  <a:lnTo>
                    <a:pt x="11" y="11"/>
                  </a:lnTo>
                  <a:lnTo>
                    <a:pt x="17" y="6"/>
                  </a:lnTo>
                  <a:lnTo>
                    <a:pt x="24" y="3"/>
                  </a:lnTo>
                  <a:lnTo>
                    <a:pt x="31" y="0"/>
                  </a:lnTo>
                  <a:lnTo>
                    <a:pt x="39" y="0"/>
                  </a:lnTo>
                  <a:lnTo>
                    <a:pt x="889" y="0"/>
                  </a:lnTo>
                  <a:lnTo>
                    <a:pt x="896" y="0"/>
                  </a:lnTo>
                  <a:lnTo>
                    <a:pt x="904" y="2"/>
                  </a:lnTo>
                  <a:lnTo>
                    <a:pt x="910" y="6"/>
                  </a:lnTo>
                  <a:lnTo>
                    <a:pt x="916" y="11"/>
                  </a:lnTo>
                  <a:lnTo>
                    <a:pt x="1148" y="242"/>
                  </a:lnTo>
                  <a:lnTo>
                    <a:pt x="1153" y="249"/>
                  </a:lnTo>
                  <a:lnTo>
                    <a:pt x="1157" y="256"/>
                  </a:lnTo>
                  <a:lnTo>
                    <a:pt x="1159" y="262"/>
                  </a:lnTo>
                  <a:lnTo>
                    <a:pt x="1160" y="270"/>
                  </a:lnTo>
                  <a:lnTo>
                    <a:pt x="1159" y="277"/>
                  </a:lnTo>
                  <a:lnTo>
                    <a:pt x="1157" y="285"/>
                  </a:lnTo>
                  <a:lnTo>
                    <a:pt x="1153" y="291"/>
                  </a:lnTo>
                  <a:lnTo>
                    <a:pt x="1148" y="297"/>
                  </a:lnTo>
                  <a:lnTo>
                    <a:pt x="916" y="529"/>
                  </a:lnTo>
                  <a:lnTo>
                    <a:pt x="910" y="534"/>
                  </a:lnTo>
                  <a:lnTo>
                    <a:pt x="904" y="538"/>
                  </a:lnTo>
                  <a:lnTo>
                    <a:pt x="896" y="540"/>
                  </a:lnTo>
                  <a:lnTo>
                    <a:pt x="889"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2">
              <a:extLst>
                <a:ext uri="{FF2B5EF4-FFF2-40B4-BE49-F238E27FC236}">
                  <a16:creationId xmlns:a16="http://schemas.microsoft.com/office/drawing/2014/main" id="{E8309355-6684-42FC-96B1-DD4E89371650}"/>
                </a:ext>
              </a:extLst>
            </p:cNvPr>
            <p:cNvSpPr>
              <a:spLocks noChangeArrowheads="1"/>
            </p:cNvSpPr>
            <p:nvPr/>
          </p:nvSpPr>
          <p:spPr bwMode="auto">
            <a:xfrm>
              <a:off x="4559955" y="2483667"/>
              <a:ext cx="23197" cy="5058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3" name="Group 59">
            <a:extLst>
              <a:ext uri="{FF2B5EF4-FFF2-40B4-BE49-F238E27FC236}">
                <a16:creationId xmlns:a16="http://schemas.microsoft.com/office/drawing/2014/main" id="{FE294F8C-3F0F-4B0A-845D-4817BC30C287}"/>
              </a:ext>
            </a:extLst>
          </p:cNvPr>
          <p:cNvGrpSpPr>
            <a:grpSpLocks noChangeAspect="1"/>
          </p:cNvGrpSpPr>
          <p:nvPr/>
        </p:nvGrpSpPr>
        <p:grpSpPr>
          <a:xfrm>
            <a:off x="1884302" y="2186361"/>
            <a:ext cx="304790" cy="232844"/>
            <a:chOff x="11609634" y="830831"/>
            <a:chExt cx="287091" cy="219323"/>
          </a:xfrm>
          <a:solidFill>
            <a:schemeClr val="bg2"/>
          </a:solidFill>
          <a:effectLst/>
        </p:grpSpPr>
        <p:sp>
          <p:nvSpPr>
            <p:cNvPr id="434" name="Freeform 237">
              <a:extLst>
                <a:ext uri="{FF2B5EF4-FFF2-40B4-BE49-F238E27FC236}">
                  <a16:creationId xmlns:a16="http://schemas.microsoft.com/office/drawing/2014/main" id="{1F8BEEC4-9A2D-4F11-BD3D-D7BAA810F267}"/>
                </a:ext>
              </a:extLst>
            </p:cNvPr>
            <p:cNvSpPr>
              <a:spLocks noEditPoints="1"/>
            </p:cNvSpPr>
            <p:nvPr/>
          </p:nvSpPr>
          <p:spPr bwMode="auto">
            <a:xfrm>
              <a:off x="11609634" y="830831"/>
              <a:ext cx="287091" cy="219323"/>
            </a:xfrm>
            <a:custGeom>
              <a:avLst/>
              <a:gdLst>
                <a:gd name="T0" fmla="*/ 652 w 932"/>
                <a:gd name="T1" fmla="*/ 684 h 715"/>
                <a:gd name="T2" fmla="*/ 901 w 932"/>
                <a:gd name="T3" fmla="*/ 590 h 715"/>
                <a:gd name="T4" fmla="*/ 31 w 932"/>
                <a:gd name="T5" fmla="*/ 590 h 715"/>
                <a:gd name="T6" fmla="*/ 279 w 932"/>
                <a:gd name="T7" fmla="*/ 684 h 715"/>
                <a:gd name="T8" fmla="*/ 31 w 932"/>
                <a:gd name="T9" fmla="*/ 590 h 715"/>
                <a:gd name="T10" fmla="*/ 279 w 932"/>
                <a:gd name="T11" fmla="*/ 31 h 715"/>
                <a:gd name="T12" fmla="*/ 31 w 932"/>
                <a:gd name="T13" fmla="*/ 125 h 715"/>
                <a:gd name="T14" fmla="*/ 901 w 932"/>
                <a:gd name="T15" fmla="*/ 125 h 715"/>
                <a:gd name="T16" fmla="*/ 652 w 932"/>
                <a:gd name="T17" fmla="*/ 31 h 715"/>
                <a:gd name="T18" fmla="*/ 901 w 932"/>
                <a:gd name="T19" fmla="*/ 125 h 715"/>
                <a:gd name="T20" fmla="*/ 310 w 932"/>
                <a:gd name="T21" fmla="*/ 31 h 715"/>
                <a:gd name="T22" fmla="*/ 621 w 932"/>
                <a:gd name="T23" fmla="*/ 125 h 715"/>
                <a:gd name="T24" fmla="*/ 31 w 932"/>
                <a:gd name="T25" fmla="*/ 559 h 715"/>
                <a:gd name="T26" fmla="*/ 901 w 932"/>
                <a:gd name="T27" fmla="*/ 156 h 715"/>
                <a:gd name="T28" fmla="*/ 31 w 932"/>
                <a:gd name="T29" fmla="*/ 559 h 715"/>
                <a:gd name="T30" fmla="*/ 621 w 932"/>
                <a:gd name="T31" fmla="*/ 684 h 715"/>
                <a:gd name="T32" fmla="*/ 310 w 932"/>
                <a:gd name="T33" fmla="*/ 590 h 715"/>
                <a:gd name="T34" fmla="*/ 916 w 932"/>
                <a:gd name="T35" fmla="*/ 0 h 715"/>
                <a:gd name="T36" fmla="*/ 12 w 932"/>
                <a:gd name="T37" fmla="*/ 0 h 715"/>
                <a:gd name="T38" fmla="*/ 7 w 932"/>
                <a:gd name="T39" fmla="*/ 2 h 715"/>
                <a:gd name="T40" fmla="*/ 2 w 932"/>
                <a:gd name="T41" fmla="*/ 7 h 715"/>
                <a:gd name="T42" fmla="*/ 0 w 932"/>
                <a:gd name="T43" fmla="*/ 12 h 715"/>
                <a:gd name="T44" fmla="*/ 0 w 932"/>
                <a:gd name="T45" fmla="*/ 140 h 715"/>
                <a:gd name="T46" fmla="*/ 0 w 932"/>
                <a:gd name="T47" fmla="*/ 699 h 715"/>
                <a:gd name="T48" fmla="*/ 1 w 932"/>
                <a:gd name="T49" fmla="*/ 706 h 715"/>
                <a:gd name="T50" fmla="*/ 4 w 932"/>
                <a:gd name="T51" fmla="*/ 710 h 715"/>
                <a:gd name="T52" fmla="*/ 9 w 932"/>
                <a:gd name="T53" fmla="*/ 714 h 715"/>
                <a:gd name="T54" fmla="*/ 15 w 932"/>
                <a:gd name="T55" fmla="*/ 715 h 715"/>
                <a:gd name="T56" fmla="*/ 920 w 932"/>
                <a:gd name="T57" fmla="*/ 715 h 715"/>
                <a:gd name="T58" fmla="*/ 925 w 932"/>
                <a:gd name="T59" fmla="*/ 712 h 715"/>
                <a:gd name="T60" fmla="*/ 930 w 932"/>
                <a:gd name="T61" fmla="*/ 708 h 715"/>
                <a:gd name="T62" fmla="*/ 932 w 932"/>
                <a:gd name="T63" fmla="*/ 702 h 715"/>
                <a:gd name="T64" fmla="*/ 932 w 932"/>
                <a:gd name="T65" fmla="*/ 575 h 715"/>
                <a:gd name="T66" fmla="*/ 932 w 932"/>
                <a:gd name="T67" fmla="*/ 16 h 715"/>
                <a:gd name="T68" fmla="*/ 931 w 932"/>
                <a:gd name="T69" fmla="*/ 9 h 715"/>
                <a:gd name="T70" fmla="*/ 928 w 932"/>
                <a:gd name="T71" fmla="*/ 5 h 715"/>
                <a:gd name="T72" fmla="*/ 922 w 932"/>
                <a:gd name="T73" fmla="*/ 1 h 715"/>
                <a:gd name="T74" fmla="*/ 916 w 932"/>
                <a:gd name="T75"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2" h="715">
                  <a:moveTo>
                    <a:pt x="901" y="684"/>
                  </a:moveTo>
                  <a:lnTo>
                    <a:pt x="652" y="684"/>
                  </a:lnTo>
                  <a:lnTo>
                    <a:pt x="652" y="590"/>
                  </a:lnTo>
                  <a:lnTo>
                    <a:pt x="901" y="590"/>
                  </a:lnTo>
                  <a:lnTo>
                    <a:pt x="901" y="684"/>
                  </a:lnTo>
                  <a:close/>
                  <a:moveTo>
                    <a:pt x="31" y="590"/>
                  </a:moveTo>
                  <a:lnTo>
                    <a:pt x="279" y="590"/>
                  </a:lnTo>
                  <a:lnTo>
                    <a:pt x="279" y="684"/>
                  </a:lnTo>
                  <a:lnTo>
                    <a:pt x="31" y="684"/>
                  </a:lnTo>
                  <a:lnTo>
                    <a:pt x="31" y="590"/>
                  </a:lnTo>
                  <a:close/>
                  <a:moveTo>
                    <a:pt x="31" y="31"/>
                  </a:moveTo>
                  <a:lnTo>
                    <a:pt x="279" y="31"/>
                  </a:lnTo>
                  <a:lnTo>
                    <a:pt x="279" y="125"/>
                  </a:lnTo>
                  <a:lnTo>
                    <a:pt x="31" y="125"/>
                  </a:lnTo>
                  <a:lnTo>
                    <a:pt x="31" y="31"/>
                  </a:lnTo>
                  <a:close/>
                  <a:moveTo>
                    <a:pt x="901" y="125"/>
                  </a:moveTo>
                  <a:lnTo>
                    <a:pt x="652" y="125"/>
                  </a:lnTo>
                  <a:lnTo>
                    <a:pt x="652" y="31"/>
                  </a:lnTo>
                  <a:lnTo>
                    <a:pt x="901" y="31"/>
                  </a:lnTo>
                  <a:lnTo>
                    <a:pt x="901" y="125"/>
                  </a:lnTo>
                  <a:close/>
                  <a:moveTo>
                    <a:pt x="310" y="125"/>
                  </a:moveTo>
                  <a:lnTo>
                    <a:pt x="310" y="31"/>
                  </a:lnTo>
                  <a:lnTo>
                    <a:pt x="621" y="31"/>
                  </a:lnTo>
                  <a:lnTo>
                    <a:pt x="621" y="125"/>
                  </a:lnTo>
                  <a:lnTo>
                    <a:pt x="310" y="125"/>
                  </a:lnTo>
                  <a:close/>
                  <a:moveTo>
                    <a:pt x="31" y="559"/>
                  </a:moveTo>
                  <a:lnTo>
                    <a:pt x="31" y="156"/>
                  </a:lnTo>
                  <a:lnTo>
                    <a:pt x="901" y="156"/>
                  </a:lnTo>
                  <a:lnTo>
                    <a:pt x="901" y="559"/>
                  </a:lnTo>
                  <a:lnTo>
                    <a:pt x="31" y="559"/>
                  </a:lnTo>
                  <a:close/>
                  <a:moveTo>
                    <a:pt x="621" y="590"/>
                  </a:moveTo>
                  <a:lnTo>
                    <a:pt x="621" y="684"/>
                  </a:lnTo>
                  <a:lnTo>
                    <a:pt x="310" y="684"/>
                  </a:lnTo>
                  <a:lnTo>
                    <a:pt x="310" y="590"/>
                  </a:lnTo>
                  <a:lnTo>
                    <a:pt x="621" y="590"/>
                  </a:lnTo>
                  <a:close/>
                  <a:moveTo>
                    <a:pt x="916" y="0"/>
                  </a:moveTo>
                  <a:lnTo>
                    <a:pt x="15" y="0"/>
                  </a:lnTo>
                  <a:lnTo>
                    <a:pt x="12" y="0"/>
                  </a:lnTo>
                  <a:lnTo>
                    <a:pt x="9" y="1"/>
                  </a:lnTo>
                  <a:lnTo>
                    <a:pt x="7" y="2"/>
                  </a:lnTo>
                  <a:lnTo>
                    <a:pt x="4" y="5"/>
                  </a:lnTo>
                  <a:lnTo>
                    <a:pt x="2" y="7"/>
                  </a:lnTo>
                  <a:lnTo>
                    <a:pt x="1" y="9"/>
                  </a:lnTo>
                  <a:lnTo>
                    <a:pt x="0" y="12"/>
                  </a:lnTo>
                  <a:lnTo>
                    <a:pt x="0" y="16"/>
                  </a:lnTo>
                  <a:lnTo>
                    <a:pt x="0" y="140"/>
                  </a:lnTo>
                  <a:lnTo>
                    <a:pt x="0" y="575"/>
                  </a:lnTo>
                  <a:lnTo>
                    <a:pt x="0" y="699"/>
                  </a:lnTo>
                  <a:lnTo>
                    <a:pt x="0" y="702"/>
                  </a:lnTo>
                  <a:lnTo>
                    <a:pt x="1" y="706"/>
                  </a:lnTo>
                  <a:lnTo>
                    <a:pt x="2" y="708"/>
                  </a:lnTo>
                  <a:lnTo>
                    <a:pt x="4" y="710"/>
                  </a:lnTo>
                  <a:lnTo>
                    <a:pt x="7" y="712"/>
                  </a:lnTo>
                  <a:lnTo>
                    <a:pt x="9" y="714"/>
                  </a:lnTo>
                  <a:lnTo>
                    <a:pt x="12" y="715"/>
                  </a:lnTo>
                  <a:lnTo>
                    <a:pt x="15" y="715"/>
                  </a:lnTo>
                  <a:lnTo>
                    <a:pt x="916" y="715"/>
                  </a:lnTo>
                  <a:lnTo>
                    <a:pt x="920" y="715"/>
                  </a:lnTo>
                  <a:lnTo>
                    <a:pt x="922" y="714"/>
                  </a:lnTo>
                  <a:lnTo>
                    <a:pt x="925" y="712"/>
                  </a:lnTo>
                  <a:lnTo>
                    <a:pt x="928" y="710"/>
                  </a:lnTo>
                  <a:lnTo>
                    <a:pt x="930" y="708"/>
                  </a:lnTo>
                  <a:lnTo>
                    <a:pt x="931" y="706"/>
                  </a:lnTo>
                  <a:lnTo>
                    <a:pt x="932" y="702"/>
                  </a:lnTo>
                  <a:lnTo>
                    <a:pt x="932" y="699"/>
                  </a:lnTo>
                  <a:lnTo>
                    <a:pt x="932" y="575"/>
                  </a:lnTo>
                  <a:lnTo>
                    <a:pt x="932" y="140"/>
                  </a:lnTo>
                  <a:lnTo>
                    <a:pt x="932" y="16"/>
                  </a:lnTo>
                  <a:lnTo>
                    <a:pt x="932" y="12"/>
                  </a:lnTo>
                  <a:lnTo>
                    <a:pt x="931" y="9"/>
                  </a:lnTo>
                  <a:lnTo>
                    <a:pt x="930" y="7"/>
                  </a:lnTo>
                  <a:lnTo>
                    <a:pt x="928" y="5"/>
                  </a:lnTo>
                  <a:lnTo>
                    <a:pt x="925" y="2"/>
                  </a:lnTo>
                  <a:lnTo>
                    <a:pt x="922" y="1"/>
                  </a:lnTo>
                  <a:lnTo>
                    <a:pt x="920" y="0"/>
                  </a:lnTo>
                  <a:lnTo>
                    <a:pt x="9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38">
              <a:extLst>
                <a:ext uri="{FF2B5EF4-FFF2-40B4-BE49-F238E27FC236}">
                  <a16:creationId xmlns:a16="http://schemas.microsoft.com/office/drawing/2014/main" id="{84F1ED70-2114-4215-8465-FBA73E632480}"/>
                </a:ext>
              </a:extLst>
            </p:cNvPr>
            <p:cNvSpPr>
              <a:spLocks noEditPoints="1"/>
            </p:cNvSpPr>
            <p:nvPr/>
          </p:nvSpPr>
          <p:spPr bwMode="auto">
            <a:xfrm>
              <a:off x="11714367" y="907224"/>
              <a:ext cx="80090" cy="70233"/>
            </a:xfrm>
            <a:custGeom>
              <a:avLst/>
              <a:gdLst>
                <a:gd name="T0" fmla="*/ 31 w 258"/>
                <a:gd name="T1" fmla="*/ 187 h 227"/>
                <a:gd name="T2" fmla="*/ 31 w 258"/>
                <a:gd name="T3" fmla="*/ 39 h 227"/>
                <a:gd name="T4" fmla="*/ 203 w 258"/>
                <a:gd name="T5" fmla="*/ 114 h 227"/>
                <a:gd name="T6" fmla="*/ 31 w 258"/>
                <a:gd name="T7" fmla="*/ 187 h 227"/>
                <a:gd name="T8" fmla="*/ 249 w 258"/>
                <a:gd name="T9" fmla="*/ 99 h 227"/>
                <a:gd name="T10" fmla="*/ 22 w 258"/>
                <a:gd name="T11" fmla="*/ 1 h 227"/>
                <a:gd name="T12" fmla="*/ 19 w 258"/>
                <a:gd name="T13" fmla="*/ 0 h 227"/>
                <a:gd name="T14" fmla="*/ 14 w 258"/>
                <a:gd name="T15" fmla="*/ 0 h 227"/>
                <a:gd name="T16" fmla="*/ 11 w 258"/>
                <a:gd name="T17" fmla="*/ 0 h 227"/>
                <a:gd name="T18" fmla="*/ 8 w 258"/>
                <a:gd name="T19" fmla="*/ 3 h 227"/>
                <a:gd name="T20" fmla="*/ 4 w 258"/>
                <a:gd name="T21" fmla="*/ 5 h 227"/>
                <a:gd name="T22" fmla="*/ 2 w 258"/>
                <a:gd name="T23" fmla="*/ 8 h 227"/>
                <a:gd name="T24" fmla="*/ 1 w 258"/>
                <a:gd name="T25" fmla="*/ 11 h 227"/>
                <a:gd name="T26" fmla="*/ 0 w 258"/>
                <a:gd name="T27" fmla="*/ 15 h 227"/>
                <a:gd name="T28" fmla="*/ 0 w 258"/>
                <a:gd name="T29" fmla="*/ 211 h 227"/>
                <a:gd name="T30" fmla="*/ 1 w 258"/>
                <a:gd name="T31" fmla="*/ 215 h 227"/>
                <a:gd name="T32" fmla="*/ 2 w 258"/>
                <a:gd name="T33" fmla="*/ 218 h 227"/>
                <a:gd name="T34" fmla="*/ 4 w 258"/>
                <a:gd name="T35" fmla="*/ 221 h 227"/>
                <a:gd name="T36" fmla="*/ 8 w 258"/>
                <a:gd name="T37" fmla="*/ 224 h 227"/>
                <a:gd name="T38" fmla="*/ 11 w 258"/>
                <a:gd name="T39" fmla="*/ 226 h 227"/>
                <a:gd name="T40" fmla="*/ 16 w 258"/>
                <a:gd name="T41" fmla="*/ 227 h 227"/>
                <a:gd name="T42" fmla="*/ 19 w 258"/>
                <a:gd name="T43" fmla="*/ 227 h 227"/>
                <a:gd name="T44" fmla="*/ 22 w 258"/>
                <a:gd name="T45" fmla="*/ 226 h 227"/>
                <a:gd name="T46" fmla="*/ 249 w 258"/>
                <a:gd name="T47" fmla="*/ 127 h 227"/>
                <a:gd name="T48" fmla="*/ 252 w 258"/>
                <a:gd name="T49" fmla="*/ 125 h 227"/>
                <a:gd name="T50" fmla="*/ 255 w 258"/>
                <a:gd name="T51" fmla="*/ 121 h 227"/>
                <a:gd name="T52" fmla="*/ 257 w 258"/>
                <a:gd name="T53" fmla="*/ 118 h 227"/>
                <a:gd name="T54" fmla="*/ 258 w 258"/>
                <a:gd name="T55" fmla="*/ 114 h 227"/>
                <a:gd name="T56" fmla="*/ 257 w 258"/>
                <a:gd name="T57" fmla="*/ 109 h 227"/>
                <a:gd name="T58" fmla="*/ 255 w 258"/>
                <a:gd name="T59" fmla="*/ 105 h 227"/>
                <a:gd name="T60" fmla="*/ 252 w 258"/>
                <a:gd name="T61" fmla="*/ 101 h 227"/>
                <a:gd name="T62" fmla="*/ 249 w 258"/>
                <a:gd name="T63" fmla="*/ 9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227">
                  <a:moveTo>
                    <a:pt x="31" y="187"/>
                  </a:moveTo>
                  <a:lnTo>
                    <a:pt x="31" y="39"/>
                  </a:lnTo>
                  <a:lnTo>
                    <a:pt x="203" y="114"/>
                  </a:lnTo>
                  <a:lnTo>
                    <a:pt x="31" y="187"/>
                  </a:lnTo>
                  <a:close/>
                  <a:moveTo>
                    <a:pt x="249" y="99"/>
                  </a:moveTo>
                  <a:lnTo>
                    <a:pt x="22" y="1"/>
                  </a:lnTo>
                  <a:lnTo>
                    <a:pt x="19" y="0"/>
                  </a:lnTo>
                  <a:lnTo>
                    <a:pt x="14" y="0"/>
                  </a:lnTo>
                  <a:lnTo>
                    <a:pt x="11" y="0"/>
                  </a:lnTo>
                  <a:lnTo>
                    <a:pt x="8" y="3"/>
                  </a:lnTo>
                  <a:lnTo>
                    <a:pt x="4" y="5"/>
                  </a:lnTo>
                  <a:lnTo>
                    <a:pt x="2" y="8"/>
                  </a:lnTo>
                  <a:lnTo>
                    <a:pt x="1" y="11"/>
                  </a:lnTo>
                  <a:lnTo>
                    <a:pt x="0" y="15"/>
                  </a:lnTo>
                  <a:lnTo>
                    <a:pt x="0" y="211"/>
                  </a:lnTo>
                  <a:lnTo>
                    <a:pt x="1" y="215"/>
                  </a:lnTo>
                  <a:lnTo>
                    <a:pt x="2" y="218"/>
                  </a:lnTo>
                  <a:lnTo>
                    <a:pt x="4" y="221"/>
                  </a:lnTo>
                  <a:lnTo>
                    <a:pt x="8" y="224"/>
                  </a:lnTo>
                  <a:lnTo>
                    <a:pt x="11" y="226"/>
                  </a:lnTo>
                  <a:lnTo>
                    <a:pt x="16" y="227"/>
                  </a:lnTo>
                  <a:lnTo>
                    <a:pt x="19" y="227"/>
                  </a:lnTo>
                  <a:lnTo>
                    <a:pt x="22" y="226"/>
                  </a:lnTo>
                  <a:lnTo>
                    <a:pt x="249" y="127"/>
                  </a:lnTo>
                  <a:lnTo>
                    <a:pt x="252" y="125"/>
                  </a:lnTo>
                  <a:lnTo>
                    <a:pt x="255" y="121"/>
                  </a:lnTo>
                  <a:lnTo>
                    <a:pt x="257" y="118"/>
                  </a:lnTo>
                  <a:lnTo>
                    <a:pt x="258" y="114"/>
                  </a:lnTo>
                  <a:lnTo>
                    <a:pt x="257" y="109"/>
                  </a:lnTo>
                  <a:lnTo>
                    <a:pt x="255" y="105"/>
                  </a:lnTo>
                  <a:lnTo>
                    <a:pt x="252" y="101"/>
                  </a:lnTo>
                  <a:lnTo>
                    <a:pt x="249"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6" name="Freeform 148">
            <a:extLst>
              <a:ext uri="{FF2B5EF4-FFF2-40B4-BE49-F238E27FC236}">
                <a16:creationId xmlns:a16="http://schemas.microsoft.com/office/drawing/2014/main" id="{23465F52-54F0-4E0A-9C6B-2E2115869347}"/>
              </a:ext>
            </a:extLst>
          </p:cNvPr>
          <p:cNvSpPr>
            <a:spLocks noChangeAspect="1" noEditPoints="1"/>
          </p:cNvSpPr>
          <p:nvPr/>
        </p:nvSpPr>
        <p:spPr bwMode="auto">
          <a:xfrm>
            <a:off x="272744" y="2186361"/>
            <a:ext cx="304790" cy="252300"/>
          </a:xfrm>
          <a:custGeom>
            <a:avLst/>
            <a:gdLst>
              <a:gd name="T0" fmla="*/ 855 w 900"/>
              <a:gd name="T1" fmla="*/ 363 h 748"/>
              <a:gd name="T2" fmla="*/ 810 w 900"/>
              <a:gd name="T3" fmla="*/ 373 h 748"/>
              <a:gd name="T4" fmla="*/ 849 w 900"/>
              <a:gd name="T5" fmla="*/ 261 h 748"/>
              <a:gd name="T6" fmla="*/ 870 w 900"/>
              <a:gd name="T7" fmla="*/ 299 h 748"/>
              <a:gd name="T8" fmla="*/ 682 w 900"/>
              <a:gd name="T9" fmla="*/ 548 h 748"/>
              <a:gd name="T10" fmla="*/ 550 w 900"/>
              <a:gd name="T11" fmla="*/ 497 h 748"/>
              <a:gd name="T12" fmla="*/ 382 w 900"/>
              <a:gd name="T13" fmla="*/ 461 h 748"/>
              <a:gd name="T14" fmla="*/ 383 w 900"/>
              <a:gd name="T15" fmla="*/ 166 h 748"/>
              <a:gd name="T16" fmla="*/ 552 w 900"/>
              <a:gd name="T17" fmla="*/ 133 h 748"/>
              <a:gd name="T18" fmla="*/ 685 w 900"/>
              <a:gd name="T19" fmla="*/ 83 h 748"/>
              <a:gd name="T20" fmla="*/ 780 w 900"/>
              <a:gd name="T21" fmla="*/ 595 h 748"/>
              <a:gd name="T22" fmla="*/ 83 w 900"/>
              <a:gd name="T23" fmla="*/ 442 h 748"/>
              <a:gd name="T24" fmla="*/ 49 w 900"/>
              <a:gd name="T25" fmla="*/ 417 h 748"/>
              <a:gd name="T26" fmla="*/ 32 w 900"/>
              <a:gd name="T27" fmla="*/ 378 h 748"/>
              <a:gd name="T28" fmla="*/ 32 w 900"/>
              <a:gd name="T29" fmla="*/ 264 h 748"/>
              <a:gd name="T30" fmla="*/ 48 w 900"/>
              <a:gd name="T31" fmla="*/ 219 h 748"/>
              <a:gd name="T32" fmla="*/ 82 w 900"/>
              <a:gd name="T33" fmla="*/ 187 h 748"/>
              <a:gd name="T34" fmla="*/ 165 w 900"/>
              <a:gd name="T35" fmla="*/ 179 h 748"/>
              <a:gd name="T36" fmla="*/ 270 w 900"/>
              <a:gd name="T37" fmla="*/ 450 h 748"/>
              <a:gd name="T38" fmla="*/ 120 w 900"/>
              <a:gd name="T39" fmla="*/ 448 h 748"/>
              <a:gd name="T40" fmla="*/ 808 w 900"/>
              <a:gd name="T41" fmla="*/ 8 h 748"/>
              <a:gd name="T42" fmla="*/ 792 w 900"/>
              <a:gd name="T43" fmla="*/ 0 h 748"/>
              <a:gd name="T44" fmla="*/ 638 w 900"/>
              <a:gd name="T45" fmla="*/ 72 h 748"/>
              <a:gd name="T46" fmla="*/ 464 w 900"/>
              <a:gd name="T47" fmla="*/ 122 h 748"/>
              <a:gd name="T48" fmla="*/ 225 w 900"/>
              <a:gd name="T49" fmla="*/ 148 h 748"/>
              <a:gd name="T50" fmla="*/ 85 w 900"/>
              <a:gd name="T51" fmla="*/ 154 h 748"/>
              <a:gd name="T52" fmla="*/ 35 w 900"/>
              <a:gd name="T53" fmla="*/ 187 h 748"/>
              <a:gd name="T54" fmla="*/ 5 w 900"/>
              <a:gd name="T55" fmla="*/ 243 h 748"/>
              <a:gd name="T56" fmla="*/ 1 w 900"/>
              <a:gd name="T57" fmla="*/ 371 h 748"/>
              <a:gd name="T58" fmla="*/ 19 w 900"/>
              <a:gd name="T59" fmla="*/ 427 h 748"/>
              <a:gd name="T60" fmla="*/ 61 w 900"/>
              <a:gd name="T61" fmla="*/ 464 h 748"/>
              <a:gd name="T62" fmla="*/ 120 w 900"/>
              <a:gd name="T63" fmla="*/ 478 h 748"/>
              <a:gd name="T64" fmla="*/ 270 w 900"/>
              <a:gd name="T65" fmla="*/ 480 h 748"/>
              <a:gd name="T66" fmla="*/ 288 w 900"/>
              <a:gd name="T67" fmla="*/ 584 h 748"/>
              <a:gd name="T68" fmla="*/ 335 w 900"/>
              <a:gd name="T69" fmla="*/ 672 h 748"/>
              <a:gd name="T70" fmla="*/ 408 w 900"/>
              <a:gd name="T71" fmla="*/ 737 h 748"/>
              <a:gd name="T72" fmla="*/ 439 w 900"/>
              <a:gd name="T73" fmla="*/ 746 h 748"/>
              <a:gd name="T74" fmla="*/ 446 w 900"/>
              <a:gd name="T75" fmla="*/ 731 h 748"/>
              <a:gd name="T76" fmla="*/ 438 w 900"/>
              <a:gd name="T77" fmla="*/ 719 h 748"/>
              <a:gd name="T78" fmla="*/ 370 w 900"/>
              <a:gd name="T79" fmla="*/ 666 h 748"/>
              <a:gd name="T80" fmla="*/ 323 w 900"/>
              <a:gd name="T81" fmla="*/ 592 h 748"/>
              <a:gd name="T82" fmla="*/ 301 w 900"/>
              <a:gd name="T83" fmla="*/ 502 h 748"/>
              <a:gd name="T84" fmla="*/ 448 w 900"/>
              <a:gd name="T85" fmla="*/ 503 h 748"/>
              <a:gd name="T86" fmla="*/ 595 w 900"/>
              <a:gd name="T87" fmla="*/ 543 h 748"/>
              <a:gd name="T88" fmla="*/ 761 w 900"/>
              <a:gd name="T89" fmla="*/ 619 h 748"/>
              <a:gd name="T90" fmla="*/ 802 w 900"/>
              <a:gd name="T91" fmla="*/ 632 h 748"/>
              <a:gd name="T92" fmla="*/ 810 w 900"/>
              <a:gd name="T93" fmla="*/ 403 h 748"/>
              <a:gd name="T94" fmla="*/ 854 w 900"/>
              <a:gd name="T95" fmla="*/ 398 h 748"/>
              <a:gd name="T96" fmla="*/ 883 w 900"/>
              <a:gd name="T97" fmla="*/ 379 h 748"/>
              <a:gd name="T98" fmla="*/ 897 w 900"/>
              <a:gd name="T99" fmla="*/ 350 h 748"/>
              <a:gd name="T100" fmla="*/ 897 w 900"/>
              <a:gd name="T101" fmla="*/ 284 h 748"/>
              <a:gd name="T102" fmla="*/ 881 w 900"/>
              <a:gd name="T103" fmla="*/ 251 h 748"/>
              <a:gd name="T104" fmla="*/ 853 w 900"/>
              <a:gd name="T105" fmla="*/ 22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0" h="748">
                <a:moveTo>
                  <a:pt x="870" y="336"/>
                </a:moveTo>
                <a:lnTo>
                  <a:pt x="869" y="345"/>
                </a:lnTo>
                <a:lnTo>
                  <a:pt x="865" y="352"/>
                </a:lnTo>
                <a:lnTo>
                  <a:pt x="861" y="357"/>
                </a:lnTo>
                <a:lnTo>
                  <a:pt x="855" y="363"/>
                </a:lnTo>
                <a:lnTo>
                  <a:pt x="848" y="367"/>
                </a:lnTo>
                <a:lnTo>
                  <a:pt x="841" y="370"/>
                </a:lnTo>
                <a:lnTo>
                  <a:pt x="832" y="372"/>
                </a:lnTo>
                <a:lnTo>
                  <a:pt x="825" y="373"/>
                </a:lnTo>
                <a:lnTo>
                  <a:pt x="810" y="373"/>
                </a:lnTo>
                <a:lnTo>
                  <a:pt x="810" y="254"/>
                </a:lnTo>
                <a:lnTo>
                  <a:pt x="825" y="254"/>
                </a:lnTo>
                <a:lnTo>
                  <a:pt x="833" y="254"/>
                </a:lnTo>
                <a:lnTo>
                  <a:pt x="841" y="257"/>
                </a:lnTo>
                <a:lnTo>
                  <a:pt x="849" y="261"/>
                </a:lnTo>
                <a:lnTo>
                  <a:pt x="856" y="267"/>
                </a:lnTo>
                <a:lnTo>
                  <a:pt x="861" y="274"/>
                </a:lnTo>
                <a:lnTo>
                  <a:pt x="865" y="281"/>
                </a:lnTo>
                <a:lnTo>
                  <a:pt x="869" y="290"/>
                </a:lnTo>
                <a:lnTo>
                  <a:pt x="870" y="299"/>
                </a:lnTo>
                <a:lnTo>
                  <a:pt x="870" y="336"/>
                </a:lnTo>
                <a:close/>
                <a:moveTo>
                  <a:pt x="780" y="595"/>
                </a:moveTo>
                <a:lnTo>
                  <a:pt x="774" y="593"/>
                </a:lnTo>
                <a:lnTo>
                  <a:pt x="730" y="570"/>
                </a:lnTo>
                <a:lnTo>
                  <a:pt x="682" y="548"/>
                </a:lnTo>
                <a:lnTo>
                  <a:pt x="658" y="537"/>
                </a:lnTo>
                <a:lnTo>
                  <a:pt x="632" y="526"/>
                </a:lnTo>
                <a:lnTo>
                  <a:pt x="607" y="517"/>
                </a:lnTo>
                <a:lnTo>
                  <a:pt x="579" y="507"/>
                </a:lnTo>
                <a:lnTo>
                  <a:pt x="550" y="497"/>
                </a:lnTo>
                <a:lnTo>
                  <a:pt x="520" y="489"/>
                </a:lnTo>
                <a:lnTo>
                  <a:pt x="488" y="480"/>
                </a:lnTo>
                <a:lnTo>
                  <a:pt x="455" y="474"/>
                </a:lnTo>
                <a:lnTo>
                  <a:pt x="419" y="468"/>
                </a:lnTo>
                <a:lnTo>
                  <a:pt x="382" y="461"/>
                </a:lnTo>
                <a:lnTo>
                  <a:pt x="342" y="457"/>
                </a:lnTo>
                <a:lnTo>
                  <a:pt x="300" y="453"/>
                </a:lnTo>
                <a:lnTo>
                  <a:pt x="300" y="174"/>
                </a:lnTo>
                <a:lnTo>
                  <a:pt x="342" y="170"/>
                </a:lnTo>
                <a:lnTo>
                  <a:pt x="383" y="166"/>
                </a:lnTo>
                <a:lnTo>
                  <a:pt x="420" y="161"/>
                </a:lnTo>
                <a:lnTo>
                  <a:pt x="456" y="155"/>
                </a:lnTo>
                <a:lnTo>
                  <a:pt x="490" y="148"/>
                </a:lnTo>
                <a:lnTo>
                  <a:pt x="521" y="140"/>
                </a:lnTo>
                <a:lnTo>
                  <a:pt x="552" y="133"/>
                </a:lnTo>
                <a:lnTo>
                  <a:pt x="581" y="123"/>
                </a:lnTo>
                <a:lnTo>
                  <a:pt x="609" y="115"/>
                </a:lnTo>
                <a:lnTo>
                  <a:pt x="634" y="105"/>
                </a:lnTo>
                <a:lnTo>
                  <a:pt x="660" y="94"/>
                </a:lnTo>
                <a:lnTo>
                  <a:pt x="685" y="83"/>
                </a:lnTo>
                <a:lnTo>
                  <a:pt x="733" y="62"/>
                </a:lnTo>
                <a:lnTo>
                  <a:pt x="780" y="39"/>
                </a:lnTo>
                <a:lnTo>
                  <a:pt x="780" y="239"/>
                </a:lnTo>
                <a:lnTo>
                  <a:pt x="780" y="388"/>
                </a:lnTo>
                <a:lnTo>
                  <a:pt x="780" y="595"/>
                </a:lnTo>
                <a:close/>
                <a:moveTo>
                  <a:pt x="120" y="448"/>
                </a:moveTo>
                <a:lnTo>
                  <a:pt x="110" y="447"/>
                </a:lnTo>
                <a:lnTo>
                  <a:pt x="101" y="446"/>
                </a:lnTo>
                <a:lnTo>
                  <a:pt x="92" y="444"/>
                </a:lnTo>
                <a:lnTo>
                  <a:pt x="83" y="442"/>
                </a:lnTo>
                <a:lnTo>
                  <a:pt x="75" y="438"/>
                </a:lnTo>
                <a:lnTo>
                  <a:pt x="67" y="434"/>
                </a:lnTo>
                <a:lnTo>
                  <a:pt x="61" y="429"/>
                </a:lnTo>
                <a:lnTo>
                  <a:pt x="55" y="424"/>
                </a:lnTo>
                <a:lnTo>
                  <a:pt x="49" y="417"/>
                </a:lnTo>
                <a:lnTo>
                  <a:pt x="44" y="411"/>
                </a:lnTo>
                <a:lnTo>
                  <a:pt x="40" y="403"/>
                </a:lnTo>
                <a:lnTo>
                  <a:pt x="36" y="395"/>
                </a:lnTo>
                <a:lnTo>
                  <a:pt x="34" y="386"/>
                </a:lnTo>
                <a:lnTo>
                  <a:pt x="32" y="378"/>
                </a:lnTo>
                <a:lnTo>
                  <a:pt x="31" y="368"/>
                </a:lnTo>
                <a:lnTo>
                  <a:pt x="30" y="358"/>
                </a:lnTo>
                <a:lnTo>
                  <a:pt x="30" y="284"/>
                </a:lnTo>
                <a:lnTo>
                  <a:pt x="31" y="274"/>
                </a:lnTo>
                <a:lnTo>
                  <a:pt x="32" y="264"/>
                </a:lnTo>
                <a:lnTo>
                  <a:pt x="33" y="255"/>
                </a:lnTo>
                <a:lnTo>
                  <a:pt x="36" y="245"/>
                </a:lnTo>
                <a:lnTo>
                  <a:pt x="40" y="236"/>
                </a:lnTo>
                <a:lnTo>
                  <a:pt x="44" y="227"/>
                </a:lnTo>
                <a:lnTo>
                  <a:pt x="48" y="219"/>
                </a:lnTo>
                <a:lnTo>
                  <a:pt x="55" y="212"/>
                </a:lnTo>
                <a:lnTo>
                  <a:pt x="60" y="204"/>
                </a:lnTo>
                <a:lnTo>
                  <a:pt x="67" y="198"/>
                </a:lnTo>
                <a:lnTo>
                  <a:pt x="74" y="193"/>
                </a:lnTo>
                <a:lnTo>
                  <a:pt x="82" y="187"/>
                </a:lnTo>
                <a:lnTo>
                  <a:pt x="91" y="183"/>
                </a:lnTo>
                <a:lnTo>
                  <a:pt x="101" y="181"/>
                </a:lnTo>
                <a:lnTo>
                  <a:pt x="110" y="179"/>
                </a:lnTo>
                <a:lnTo>
                  <a:pt x="120" y="179"/>
                </a:lnTo>
                <a:lnTo>
                  <a:pt x="165" y="179"/>
                </a:lnTo>
                <a:lnTo>
                  <a:pt x="193" y="178"/>
                </a:lnTo>
                <a:lnTo>
                  <a:pt x="219" y="178"/>
                </a:lnTo>
                <a:lnTo>
                  <a:pt x="245" y="177"/>
                </a:lnTo>
                <a:lnTo>
                  <a:pt x="270" y="175"/>
                </a:lnTo>
                <a:lnTo>
                  <a:pt x="270" y="450"/>
                </a:lnTo>
                <a:lnTo>
                  <a:pt x="245" y="449"/>
                </a:lnTo>
                <a:lnTo>
                  <a:pt x="219" y="448"/>
                </a:lnTo>
                <a:lnTo>
                  <a:pt x="193" y="448"/>
                </a:lnTo>
                <a:lnTo>
                  <a:pt x="165" y="448"/>
                </a:lnTo>
                <a:lnTo>
                  <a:pt x="120" y="448"/>
                </a:lnTo>
                <a:close/>
                <a:moveTo>
                  <a:pt x="825" y="224"/>
                </a:moveTo>
                <a:lnTo>
                  <a:pt x="810" y="224"/>
                </a:lnTo>
                <a:lnTo>
                  <a:pt x="810" y="15"/>
                </a:lnTo>
                <a:lnTo>
                  <a:pt x="809" y="11"/>
                </a:lnTo>
                <a:lnTo>
                  <a:pt x="808" y="8"/>
                </a:lnTo>
                <a:lnTo>
                  <a:pt x="805" y="4"/>
                </a:lnTo>
                <a:lnTo>
                  <a:pt x="802" y="2"/>
                </a:lnTo>
                <a:lnTo>
                  <a:pt x="799" y="0"/>
                </a:lnTo>
                <a:lnTo>
                  <a:pt x="795" y="0"/>
                </a:lnTo>
                <a:lnTo>
                  <a:pt x="792" y="0"/>
                </a:lnTo>
                <a:lnTo>
                  <a:pt x="787" y="1"/>
                </a:lnTo>
                <a:lnTo>
                  <a:pt x="779" y="5"/>
                </a:lnTo>
                <a:lnTo>
                  <a:pt x="724" y="33"/>
                </a:lnTo>
                <a:lnTo>
                  <a:pt x="668" y="59"/>
                </a:lnTo>
                <a:lnTo>
                  <a:pt x="638" y="72"/>
                </a:lnTo>
                <a:lnTo>
                  <a:pt x="607" y="83"/>
                </a:lnTo>
                <a:lnTo>
                  <a:pt x="574" y="94"/>
                </a:lnTo>
                <a:lnTo>
                  <a:pt x="539" y="105"/>
                </a:lnTo>
                <a:lnTo>
                  <a:pt x="503" y="113"/>
                </a:lnTo>
                <a:lnTo>
                  <a:pt x="464" y="122"/>
                </a:lnTo>
                <a:lnTo>
                  <a:pt x="423" y="129"/>
                </a:lnTo>
                <a:lnTo>
                  <a:pt x="379" y="136"/>
                </a:lnTo>
                <a:lnTo>
                  <a:pt x="331" y="141"/>
                </a:lnTo>
                <a:lnTo>
                  <a:pt x="279" y="146"/>
                </a:lnTo>
                <a:lnTo>
                  <a:pt x="225" y="148"/>
                </a:lnTo>
                <a:lnTo>
                  <a:pt x="165" y="149"/>
                </a:lnTo>
                <a:lnTo>
                  <a:pt x="120" y="149"/>
                </a:lnTo>
                <a:lnTo>
                  <a:pt x="108" y="149"/>
                </a:lnTo>
                <a:lnTo>
                  <a:pt x="95" y="151"/>
                </a:lnTo>
                <a:lnTo>
                  <a:pt x="85" y="154"/>
                </a:lnTo>
                <a:lnTo>
                  <a:pt x="73" y="158"/>
                </a:lnTo>
                <a:lnTo>
                  <a:pt x="62" y="165"/>
                </a:lnTo>
                <a:lnTo>
                  <a:pt x="52" y="171"/>
                </a:lnTo>
                <a:lnTo>
                  <a:pt x="44" y="179"/>
                </a:lnTo>
                <a:lnTo>
                  <a:pt x="35" y="187"/>
                </a:lnTo>
                <a:lnTo>
                  <a:pt x="27" y="197"/>
                </a:lnTo>
                <a:lnTo>
                  <a:pt x="20" y="208"/>
                </a:lnTo>
                <a:lnTo>
                  <a:pt x="15" y="218"/>
                </a:lnTo>
                <a:lnTo>
                  <a:pt x="10" y="230"/>
                </a:lnTo>
                <a:lnTo>
                  <a:pt x="5" y="243"/>
                </a:lnTo>
                <a:lnTo>
                  <a:pt x="2" y="256"/>
                </a:lnTo>
                <a:lnTo>
                  <a:pt x="1" y="270"/>
                </a:lnTo>
                <a:lnTo>
                  <a:pt x="0" y="284"/>
                </a:lnTo>
                <a:lnTo>
                  <a:pt x="0" y="358"/>
                </a:lnTo>
                <a:lnTo>
                  <a:pt x="1" y="371"/>
                </a:lnTo>
                <a:lnTo>
                  <a:pt x="2" y="383"/>
                </a:lnTo>
                <a:lnTo>
                  <a:pt x="5" y="396"/>
                </a:lnTo>
                <a:lnTo>
                  <a:pt x="9" y="407"/>
                </a:lnTo>
                <a:lnTo>
                  <a:pt x="14" y="417"/>
                </a:lnTo>
                <a:lnTo>
                  <a:pt x="19" y="427"/>
                </a:lnTo>
                <a:lnTo>
                  <a:pt x="26" y="436"/>
                </a:lnTo>
                <a:lnTo>
                  <a:pt x="33" y="444"/>
                </a:lnTo>
                <a:lnTo>
                  <a:pt x="42" y="451"/>
                </a:lnTo>
                <a:lnTo>
                  <a:pt x="51" y="459"/>
                </a:lnTo>
                <a:lnTo>
                  <a:pt x="61" y="464"/>
                </a:lnTo>
                <a:lnTo>
                  <a:pt x="72" y="470"/>
                </a:lnTo>
                <a:lnTo>
                  <a:pt x="82" y="473"/>
                </a:lnTo>
                <a:lnTo>
                  <a:pt x="95" y="476"/>
                </a:lnTo>
                <a:lnTo>
                  <a:pt x="107" y="477"/>
                </a:lnTo>
                <a:lnTo>
                  <a:pt x="120" y="478"/>
                </a:lnTo>
                <a:lnTo>
                  <a:pt x="165" y="478"/>
                </a:lnTo>
                <a:lnTo>
                  <a:pt x="193" y="478"/>
                </a:lnTo>
                <a:lnTo>
                  <a:pt x="219" y="478"/>
                </a:lnTo>
                <a:lnTo>
                  <a:pt x="245" y="479"/>
                </a:lnTo>
                <a:lnTo>
                  <a:pt x="270" y="480"/>
                </a:lnTo>
                <a:lnTo>
                  <a:pt x="271" y="502"/>
                </a:lnTo>
                <a:lnTo>
                  <a:pt x="273" y="523"/>
                </a:lnTo>
                <a:lnTo>
                  <a:pt x="277" y="543"/>
                </a:lnTo>
                <a:lnTo>
                  <a:pt x="281" y="564"/>
                </a:lnTo>
                <a:lnTo>
                  <a:pt x="288" y="584"/>
                </a:lnTo>
                <a:lnTo>
                  <a:pt x="295" y="603"/>
                </a:lnTo>
                <a:lnTo>
                  <a:pt x="303" y="622"/>
                </a:lnTo>
                <a:lnTo>
                  <a:pt x="312" y="639"/>
                </a:lnTo>
                <a:lnTo>
                  <a:pt x="323" y="656"/>
                </a:lnTo>
                <a:lnTo>
                  <a:pt x="335" y="672"/>
                </a:lnTo>
                <a:lnTo>
                  <a:pt x="348" y="687"/>
                </a:lnTo>
                <a:lnTo>
                  <a:pt x="362" y="701"/>
                </a:lnTo>
                <a:lnTo>
                  <a:pt x="375" y="715"/>
                </a:lnTo>
                <a:lnTo>
                  <a:pt x="390" y="726"/>
                </a:lnTo>
                <a:lnTo>
                  <a:pt x="408" y="737"/>
                </a:lnTo>
                <a:lnTo>
                  <a:pt x="425" y="746"/>
                </a:lnTo>
                <a:lnTo>
                  <a:pt x="428" y="748"/>
                </a:lnTo>
                <a:lnTo>
                  <a:pt x="431" y="748"/>
                </a:lnTo>
                <a:lnTo>
                  <a:pt x="435" y="747"/>
                </a:lnTo>
                <a:lnTo>
                  <a:pt x="439" y="746"/>
                </a:lnTo>
                <a:lnTo>
                  <a:pt x="442" y="742"/>
                </a:lnTo>
                <a:lnTo>
                  <a:pt x="444" y="739"/>
                </a:lnTo>
                <a:lnTo>
                  <a:pt x="445" y="737"/>
                </a:lnTo>
                <a:lnTo>
                  <a:pt x="446" y="734"/>
                </a:lnTo>
                <a:lnTo>
                  <a:pt x="446" y="731"/>
                </a:lnTo>
                <a:lnTo>
                  <a:pt x="445" y="727"/>
                </a:lnTo>
                <a:lnTo>
                  <a:pt x="444" y="725"/>
                </a:lnTo>
                <a:lnTo>
                  <a:pt x="442" y="723"/>
                </a:lnTo>
                <a:lnTo>
                  <a:pt x="440" y="721"/>
                </a:lnTo>
                <a:lnTo>
                  <a:pt x="438" y="719"/>
                </a:lnTo>
                <a:lnTo>
                  <a:pt x="423" y="711"/>
                </a:lnTo>
                <a:lnTo>
                  <a:pt x="409" y="702"/>
                </a:lnTo>
                <a:lnTo>
                  <a:pt x="395" y="691"/>
                </a:lnTo>
                <a:lnTo>
                  <a:pt x="382" y="679"/>
                </a:lnTo>
                <a:lnTo>
                  <a:pt x="370" y="666"/>
                </a:lnTo>
                <a:lnTo>
                  <a:pt x="359" y="654"/>
                </a:lnTo>
                <a:lnTo>
                  <a:pt x="349" y="639"/>
                </a:lnTo>
                <a:lnTo>
                  <a:pt x="339" y="624"/>
                </a:lnTo>
                <a:lnTo>
                  <a:pt x="331" y="608"/>
                </a:lnTo>
                <a:lnTo>
                  <a:pt x="323" y="592"/>
                </a:lnTo>
                <a:lnTo>
                  <a:pt x="317" y="574"/>
                </a:lnTo>
                <a:lnTo>
                  <a:pt x="311" y="556"/>
                </a:lnTo>
                <a:lnTo>
                  <a:pt x="306" y="539"/>
                </a:lnTo>
                <a:lnTo>
                  <a:pt x="303" y="520"/>
                </a:lnTo>
                <a:lnTo>
                  <a:pt x="301" y="502"/>
                </a:lnTo>
                <a:lnTo>
                  <a:pt x="301" y="482"/>
                </a:lnTo>
                <a:lnTo>
                  <a:pt x="340" y="487"/>
                </a:lnTo>
                <a:lnTo>
                  <a:pt x="379" y="491"/>
                </a:lnTo>
                <a:lnTo>
                  <a:pt x="415" y="496"/>
                </a:lnTo>
                <a:lnTo>
                  <a:pt x="448" y="503"/>
                </a:lnTo>
                <a:lnTo>
                  <a:pt x="480" y="509"/>
                </a:lnTo>
                <a:lnTo>
                  <a:pt x="511" y="517"/>
                </a:lnTo>
                <a:lnTo>
                  <a:pt x="540" y="525"/>
                </a:lnTo>
                <a:lnTo>
                  <a:pt x="568" y="534"/>
                </a:lnTo>
                <a:lnTo>
                  <a:pt x="595" y="543"/>
                </a:lnTo>
                <a:lnTo>
                  <a:pt x="620" y="553"/>
                </a:lnTo>
                <a:lnTo>
                  <a:pt x="645" y="564"/>
                </a:lnTo>
                <a:lnTo>
                  <a:pt x="669" y="574"/>
                </a:lnTo>
                <a:lnTo>
                  <a:pt x="716" y="597"/>
                </a:lnTo>
                <a:lnTo>
                  <a:pt x="761" y="619"/>
                </a:lnTo>
                <a:lnTo>
                  <a:pt x="787" y="632"/>
                </a:lnTo>
                <a:lnTo>
                  <a:pt x="792" y="634"/>
                </a:lnTo>
                <a:lnTo>
                  <a:pt x="795" y="634"/>
                </a:lnTo>
                <a:lnTo>
                  <a:pt x="799" y="633"/>
                </a:lnTo>
                <a:lnTo>
                  <a:pt x="802" y="632"/>
                </a:lnTo>
                <a:lnTo>
                  <a:pt x="805" y="630"/>
                </a:lnTo>
                <a:lnTo>
                  <a:pt x="808" y="627"/>
                </a:lnTo>
                <a:lnTo>
                  <a:pt x="809" y="623"/>
                </a:lnTo>
                <a:lnTo>
                  <a:pt x="810" y="619"/>
                </a:lnTo>
                <a:lnTo>
                  <a:pt x="810" y="403"/>
                </a:lnTo>
                <a:lnTo>
                  <a:pt x="825" y="403"/>
                </a:lnTo>
                <a:lnTo>
                  <a:pt x="832" y="402"/>
                </a:lnTo>
                <a:lnTo>
                  <a:pt x="840" y="401"/>
                </a:lnTo>
                <a:lnTo>
                  <a:pt x="847" y="400"/>
                </a:lnTo>
                <a:lnTo>
                  <a:pt x="854" y="398"/>
                </a:lnTo>
                <a:lnTo>
                  <a:pt x="860" y="395"/>
                </a:lnTo>
                <a:lnTo>
                  <a:pt x="866" y="392"/>
                </a:lnTo>
                <a:lnTo>
                  <a:pt x="873" y="388"/>
                </a:lnTo>
                <a:lnTo>
                  <a:pt x="877" y="384"/>
                </a:lnTo>
                <a:lnTo>
                  <a:pt x="883" y="379"/>
                </a:lnTo>
                <a:lnTo>
                  <a:pt x="887" y="373"/>
                </a:lnTo>
                <a:lnTo>
                  <a:pt x="890" y="368"/>
                </a:lnTo>
                <a:lnTo>
                  <a:pt x="893" y="363"/>
                </a:lnTo>
                <a:lnTo>
                  <a:pt x="896" y="356"/>
                </a:lnTo>
                <a:lnTo>
                  <a:pt x="897" y="350"/>
                </a:lnTo>
                <a:lnTo>
                  <a:pt x="899" y="342"/>
                </a:lnTo>
                <a:lnTo>
                  <a:pt x="900" y="336"/>
                </a:lnTo>
                <a:lnTo>
                  <a:pt x="900" y="299"/>
                </a:lnTo>
                <a:lnTo>
                  <a:pt x="899" y="291"/>
                </a:lnTo>
                <a:lnTo>
                  <a:pt x="897" y="284"/>
                </a:lnTo>
                <a:lnTo>
                  <a:pt x="895" y="276"/>
                </a:lnTo>
                <a:lnTo>
                  <a:pt x="893" y="270"/>
                </a:lnTo>
                <a:lnTo>
                  <a:pt x="890" y="263"/>
                </a:lnTo>
                <a:lnTo>
                  <a:pt x="886" y="257"/>
                </a:lnTo>
                <a:lnTo>
                  <a:pt x="881" y="251"/>
                </a:lnTo>
                <a:lnTo>
                  <a:pt x="877" y="246"/>
                </a:lnTo>
                <a:lnTo>
                  <a:pt x="872" y="241"/>
                </a:lnTo>
                <a:lnTo>
                  <a:pt x="865" y="236"/>
                </a:lnTo>
                <a:lnTo>
                  <a:pt x="859" y="232"/>
                </a:lnTo>
                <a:lnTo>
                  <a:pt x="853" y="229"/>
                </a:lnTo>
                <a:lnTo>
                  <a:pt x="846" y="227"/>
                </a:lnTo>
                <a:lnTo>
                  <a:pt x="839" y="225"/>
                </a:lnTo>
                <a:lnTo>
                  <a:pt x="832" y="224"/>
                </a:lnTo>
                <a:lnTo>
                  <a:pt x="825" y="22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437" name="Group 88">
            <a:extLst>
              <a:ext uri="{FF2B5EF4-FFF2-40B4-BE49-F238E27FC236}">
                <a16:creationId xmlns:a16="http://schemas.microsoft.com/office/drawing/2014/main" id="{58A37F29-8A8D-4ACF-94BC-3BDB7BDDF64B}"/>
              </a:ext>
            </a:extLst>
          </p:cNvPr>
          <p:cNvGrpSpPr>
            <a:grpSpLocks noChangeAspect="1"/>
          </p:cNvGrpSpPr>
          <p:nvPr/>
        </p:nvGrpSpPr>
        <p:grpSpPr>
          <a:xfrm>
            <a:off x="3192203" y="2186361"/>
            <a:ext cx="306484" cy="306484"/>
            <a:chOff x="8164513" y="4791075"/>
            <a:chExt cx="285750" cy="285750"/>
          </a:xfrm>
          <a:solidFill>
            <a:schemeClr val="bg2"/>
          </a:solidFill>
          <a:effectLst/>
        </p:grpSpPr>
        <p:sp>
          <p:nvSpPr>
            <p:cNvPr id="438" name="Freeform 108">
              <a:extLst>
                <a:ext uri="{FF2B5EF4-FFF2-40B4-BE49-F238E27FC236}">
                  <a16:creationId xmlns:a16="http://schemas.microsoft.com/office/drawing/2014/main" id="{09DE544F-73D2-4E91-B576-8935AB1E7A5C}"/>
                </a:ext>
              </a:extLst>
            </p:cNvPr>
            <p:cNvSpPr>
              <a:spLocks noEditPoints="1"/>
            </p:cNvSpPr>
            <p:nvPr/>
          </p:nvSpPr>
          <p:spPr bwMode="auto">
            <a:xfrm>
              <a:off x="8164513" y="4791075"/>
              <a:ext cx="285750" cy="285750"/>
            </a:xfrm>
            <a:custGeom>
              <a:avLst/>
              <a:gdLst>
                <a:gd name="T0" fmla="*/ 30 w 902"/>
                <a:gd name="T1" fmla="*/ 571 h 902"/>
                <a:gd name="T2" fmla="*/ 872 w 902"/>
                <a:gd name="T3" fmla="*/ 30 h 902"/>
                <a:gd name="T4" fmla="*/ 887 w 902"/>
                <a:gd name="T5" fmla="*/ 0 h 902"/>
                <a:gd name="T6" fmla="*/ 12 w 902"/>
                <a:gd name="T7" fmla="*/ 0 h 902"/>
                <a:gd name="T8" fmla="*/ 6 w 902"/>
                <a:gd name="T9" fmla="*/ 2 h 902"/>
                <a:gd name="T10" fmla="*/ 2 w 902"/>
                <a:gd name="T11" fmla="*/ 6 h 902"/>
                <a:gd name="T12" fmla="*/ 0 w 902"/>
                <a:gd name="T13" fmla="*/ 12 h 902"/>
                <a:gd name="T14" fmla="*/ 0 w 902"/>
                <a:gd name="T15" fmla="*/ 586 h 902"/>
                <a:gd name="T16" fmla="*/ 1 w 902"/>
                <a:gd name="T17" fmla="*/ 592 h 902"/>
                <a:gd name="T18" fmla="*/ 4 w 902"/>
                <a:gd name="T19" fmla="*/ 597 h 902"/>
                <a:gd name="T20" fmla="*/ 9 w 902"/>
                <a:gd name="T21" fmla="*/ 600 h 902"/>
                <a:gd name="T22" fmla="*/ 15 w 902"/>
                <a:gd name="T23" fmla="*/ 601 h 902"/>
                <a:gd name="T24" fmla="*/ 436 w 902"/>
                <a:gd name="T25" fmla="*/ 701 h 902"/>
                <a:gd name="T26" fmla="*/ 258 w 902"/>
                <a:gd name="T27" fmla="*/ 878 h 902"/>
                <a:gd name="T28" fmla="*/ 255 w 902"/>
                <a:gd name="T29" fmla="*/ 884 h 902"/>
                <a:gd name="T30" fmla="*/ 255 w 902"/>
                <a:gd name="T31" fmla="*/ 890 h 902"/>
                <a:gd name="T32" fmla="*/ 258 w 902"/>
                <a:gd name="T33" fmla="*/ 896 h 902"/>
                <a:gd name="T34" fmla="*/ 262 w 902"/>
                <a:gd name="T35" fmla="*/ 900 h 902"/>
                <a:gd name="T36" fmla="*/ 268 w 902"/>
                <a:gd name="T37" fmla="*/ 902 h 902"/>
                <a:gd name="T38" fmla="*/ 273 w 902"/>
                <a:gd name="T39" fmla="*/ 902 h 902"/>
                <a:gd name="T40" fmla="*/ 279 w 902"/>
                <a:gd name="T41" fmla="*/ 900 h 902"/>
                <a:gd name="T42" fmla="*/ 451 w 902"/>
                <a:gd name="T43" fmla="*/ 727 h 902"/>
                <a:gd name="T44" fmla="*/ 622 w 902"/>
                <a:gd name="T45" fmla="*/ 900 h 902"/>
                <a:gd name="T46" fmla="*/ 628 w 902"/>
                <a:gd name="T47" fmla="*/ 902 h 902"/>
                <a:gd name="T48" fmla="*/ 634 w 902"/>
                <a:gd name="T49" fmla="*/ 902 h 902"/>
                <a:gd name="T50" fmla="*/ 640 w 902"/>
                <a:gd name="T51" fmla="*/ 900 h 902"/>
                <a:gd name="T52" fmla="*/ 644 w 902"/>
                <a:gd name="T53" fmla="*/ 896 h 902"/>
                <a:gd name="T54" fmla="*/ 646 w 902"/>
                <a:gd name="T55" fmla="*/ 890 h 902"/>
                <a:gd name="T56" fmla="*/ 646 w 902"/>
                <a:gd name="T57" fmla="*/ 884 h 902"/>
                <a:gd name="T58" fmla="*/ 644 w 902"/>
                <a:gd name="T59" fmla="*/ 878 h 902"/>
                <a:gd name="T60" fmla="*/ 466 w 902"/>
                <a:gd name="T61" fmla="*/ 701 h 902"/>
                <a:gd name="T62" fmla="*/ 887 w 902"/>
                <a:gd name="T63" fmla="*/ 601 h 902"/>
                <a:gd name="T64" fmla="*/ 892 w 902"/>
                <a:gd name="T65" fmla="*/ 600 h 902"/>
                <a:gd name="T66" fmla="*/ 898 w 902"/>
                <a:gd name="T67" fmla="*/ 597 h 902"/>
                <a:gd name="T68" fmla="*/ 901 w 902"/>
                <a:gd name="T69" fmla="*/ 592 h 902"/>
                <a:gd name="T70" fmla="*/ 902 w 902"/>
                <a:gd name="T71" fmla="*/ 586 h 902"/>
                <a:gd name="T72" fmla="*/ 901 w 902"/>
                <a:gd name="T73" fmla="*/ 12 h 902"/>
                <a:gd name="T74" fmla="*/ 899 w 902"/>
                <a:gd name="T75" fmla="*/ 6 h 902"/>
                <a:gd name="T76" fmla="*/ 896 w 902"/>
                <a:gd name="T77" fmla="*/ 2 h 902"/>
                <a:gd name="T78" fmla="*/ 890 w 902"/>
                <a:gd name="T79"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902">
                  <a:moveTo>
                    <a:pt x="872" y="571"/>
                  </a:moveTo>
                  <a:lnTo>
                    <a:pt x="30" y="571"/>
                  </a:lnTo>
                  <a:lnTo>
                    <a:pt x="30" y="30"/>
                  </a:lnTo>
                  <a:lnTo>
                    <a:pt x="872" y="30"/>
                  </a:lnTo>
                  <a:lnTo>
                    <a:pt x="872" y="571"/>
                  </a:lnTo>
                  <a:close/>
                  <a:moveTo>
                    <a:pt x="887" y="0"/>
                  </a:moveTo>
                  <a:lnTo>
                    <a:pt x="15" y="0"/>
                  </a:lnTo>
                  <a:lnTo>
                    <a:pt x="12" y="0"/>
                  </a:lnTo>
                  <a:lnTo>
                    <a:pt x="9" y="1"/>
                  </a:lnTo>
                  <a:lnTo>
                    <a:pt x="6" y="2"/>
                  </a:lnTo>
                  <a:lnTo>
                    <a:pt x="4" y="4"/>
                  </a:lnTo>
                  <a:lnTo>
                    <a:pt x="2" y="6"/>
                  </a:lnTo>
                  <a:lnTo>
                    <a:pt x="1" y="9"/>
                  </a:lnTo>
                  <a:lnTo>
                    <a:pt x="0" y="12"/>
                  </a:lnTo>
                  <a:lnTo>
                    <a:pt x="0" y="15"/>
                  </a:lnTo>
                  <a:lnTo>
                    <a:pt x="0" y="586"/>
                  </a:lnTo>
                  <a:lnTo>
                    <a:pt x="0" y="589"/>
                  </a:lnTo>
                  <a:lnTo>
                    <a:pt x="1" y="592"/>
                  </a:lnTo>
                  <a:lnTo>
                    <a:pt x="2" y="595"/>
                  </a:lnTo>
                  <a:lnTo>
                    <a:pt x="4" y="597"/>
                  </a:lnTo>
                  <a:lnTo>
                    <a:pt x="6" y="599"/>
                  </a:lnTo>
                  <a:lnTo>
                    <a:pt x="9" y="600"/>
                  </a:lnTo>
                  <a:lnTo>
                    <a:pt x="12" y="601"/>
                  </a:lnTo>
                  <a:lnTo>
                    <a:pt x="15" y="601"/>
                  </a:lnTo>
                  <a:lnTo>
                    <a:pt x="436" y="601"/>
                  </a:lnTo>
                  <a:lnTo>
                    <a:pt x="436" y="701"/>
                  </a:lnTo>
                  <a:lnTo>
                    <a:pt x="259" y="876"/>
                  </a:lnTo>
                  <a:lnTo>
                    <a:pt x="258" y="878"/>
                  </a:lnTo>
                  <a:lnTo>
                    <a:pt x="256" y="882"/>
                  </a:lnTo>
                  <a:lnTo>
                    <a:pt x="255" y="884"/>
                  </a:lnTo>
                  <a:lnTo>
                    <a:pt x="255" y="887"/>
                  </a:lnTo>
                  <a:lnTo>
                    <a:pt x="255" y="890"/>
                  </a:lnTo>
                  <a:lnTo>
                    <a:pt x="256" y="892"/>
                  </a:lnTo>
                  <a:lnTo>
                    <a:pt x="258" y="896"/>
                  </a:lnTo>
                  <a:lnTo>
                    <a:pt x="259" y="898"/>
                  </a:lnTo>
                  <a:lnTo>
                    <a:pt x="262" y="900"/>
                  </a:lnTo>
                  <a:lnTo>
                    <a:pt x="265" y="901"/>
                  </a:lnTo>
                  <a:lnTo>
                    <a:pt x="268" y="902"/>
                  </a:lnTo>
                  <a:lnTo>
                    <a:pt x="270" y="902"/>
                  </a:lnTo>
                  <a:lnTo>
                    <a:pt x="273" y="902"/>
                  </a:lnTo>
                  <a:lnTo>
                    <a:pt x="276" y="901"/>
                  </a:lnTo>
                  <a:lnTo>
                    <a:pt x="279" y="900"/>
                  </a:lnTo>
                  <a:lnTo>
                    <a:pt x="281" y="898"/>
                  </a:lnTo>
                  <a:lnTo>
                    <a:pt x="451" y="727"/>
                  </a:lnTo>
                  <a:lnTo>
                    <a:pt x="620" y="898"/>
                  </a:lnTo>
                  <a:lnTo>
                    <a:pt x="622" y="900"/>
                  </a:lnTo>
                  <a:lnTo>
                    <a:pt x="626" y="901"/>
                  </a:lnTo>
                  <a:lnTo>
                    <a:pt x="628" y="902"/>
                  </a:lnTo>
                  <a:lnTo>
                    <a:pt x="631" y="902"/>
                  </a:lnTo>
                  <a:lnTo>
                    <a:pt x="634" y="902"/>
                  </a:lnTo>
                  <a:lnTo>
                    <a:pt x="636" y="901"/>
                  </a:lnTo>
                  <a:lnTo>
                    <a:pt x="640" y="900"/>
                  </a:lnTo>
                  <a:lnTo>
                    <a:pt x="642" y="898"/>
                  </a:lnTo>
                  <a:lnTo>
                    <a:pt x="644" y="896"/>
                  </a:lnTo>
                  <a:lnTo>
                    <a:pt x="645" y="892"/>
                  </a:lnTo>
                  <a:lnTo>
                    <a:pt x="646" y="890"/>
                  </a:lnTo>
                  <a:lnTo>
                    <a:pt x="646" y="887"/>
                  </a:lnTo>
                  <a:lnTo>
                    <a:pt x="646" y="884"/>
                  </a:lnTo>
                  <a:lnTo>
                    <a:pt x="645" y="882"/>
                  </a:lnTo>
                  <a:lnTo>
                    <a:pt x="644" y="878"/>
                  </a:lnTo>
                  <a:lnTo>
                    <a:pt x="642" y="876"/>
                  </a:lnTo>
                  <a:lnTo>
                    <a:pt x="466" y="701"/>
                  </a:lnTo>
                  <a:lnTo>
                    <a:pt x="466" y="601"/>
                  </a:lnTo>
                  <a:lnTo>
                    <a:pt x="887" y="601"/>
                  </a:lnTo>
                  <a:lnTo>
                    <a:pt x="890" y="601"/>
                  </a:lnTo>
                  <a:lnTo>
                    <a:pt x="892" y="600"/>
                  </a:lnTo>
                  <a:lnTo>
                    <a:pt x="896" y="599"/>
                  </a:lnTo>
                  <a:lnTo>
                    <a:pt x="898" y="597"/>
                  </a:lnTo>
                  <a:lnTo>
                    <a:pt x="899" y="595"/>
                  </a:lnTo>
                  <a:lnTo>
                    <a:pt x="901" y="592"/>
                  </a:lnTo>
                  <a:lnTo>
                    <a:pt x="901" y="589"/>
                  </a:lnTo>
                  <a:lnTo>
                    <a:pt x="902" y="586"/>
                  </a:lnTo>
                  <a:lnTo>
                    <a:pt x="902" y="15"/>
                  </a:lnTo>
                  <a:lnTo>
                    <a:pt x="901" y="12"/>
                  </a:lnTo>
                  <a:lnTo>
                    <a:pt x="901" y="9"/>
                  </a:lnTo>
                  <a:lnTo>
                    <a:pt x="899" y="6"/>
                  </a:lnTo>
                  <a:lnTo>
                    <a:pt x="898" y="4"/>
                  </a:lnTo>
                  <a:lnTo>
                    <a:pt x="896" y="2"/>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09">
              <a:extLst>
                <a:ext uri="{FF2B5EF4-FFF2-40B4-BE49-F238E27FC236}">
                  <a16:creationId xmlns:a16="http://schemas.microsoft.com/office/drawing/2014/main" id="{DDB9BB34-1BC0-41F0-BFC2-E0D954E1C600}"/>
                </a:ext>
              </a:extLst>
            </p:cNvPr>
            <p:cNvSpPr>
              <a:spLocks noEditPoints="1"/>
            </p:cNvSpPr>
            <p:nvPr/>
          </p:nvSpPr>
          <p:spPr bwMode="auto">
            <a:xfrm>
              <a:off x="8193088" y="4819650"/>
              <a:ext cx="228600" cy="133350"/>
            </a:xfrm>
            <a:custGeom>
              <a:avLst/>
              <a:gdLst>
                <a:gd name="T0" fmla="*/ 691 w 722"/>
                <a:gd name="T1" fmla="*/ 391 h 421"/>
                <a:gd name="T2" fmla="*/ 30 w 722"/>
                <a:gd name="T3" fmla="*/ 241 h 421"/>
                <a:gd name="T4" fmla="*/ 153 w 722"/>
                <a:gd name="T5" fmla="*/ 240 h 421"/>
                <a:gd name="T6" fmla="*/ 159 w 722"/>
                <a:gd name="T7" fmla="*/ 238 h 421"/>
                <a:gd name="T8" fmla="*/ 229 w 722"/>
                <a:gd name="T9" fmla="*/ 165 h 421"/>
                <a:gd name="T10" fmla="*/ 288 w 722"/>
                <a:gd name="T11" fmla="*/ 310 h 421"/>
                <a:gd name="T12" fmla="*/ 294 w 722"/>
                <a:gd name="T13" fmla="*/ 314 h 421"/>
                <a:gd name="T14" fmla="*/ 299 w 722"/>
                <a:gd name="T15" fmla="*/ 316 h 421"/>
                <a:gd name="T16" fmla="*/ 303 w 722"/>
                <a:gd name="T17" fmla="*/ 316 h 421"/>
                <a:gd name="T18" fmla="*/ 309 w 722"/>
                <a:gd name="T19" fmla="*/ 313 h 421"/>
                <a:gd name="T20" fmla="*/ 406 w 722"/>
                <a:gd name="T21" fmla="*/ 216 h 421"/>
                <a:gd name="T22" fmla="*/ 472 w 722"/>
                <a:gd name="T23" fmla="*/ 283 h 421"/>
                <a:gd name="T24" fmla="*/ 479 w 722"/>
                <a:gd name="T25" fmla="*/ 286 h 421"/>
                <a:gd name="T26" fmla="*/ 485 w 722"/>
                <a:gd name="T27" fmla="*/ 285 h 421"/>
                <a:gd name="T28" fmla="*/ 491 w 722"/>
                <a:gd name="T29" fmla="*/ 283 h 421"/>
                <a:gd name="T30" fmla="*/ 628 w 722"/>
                <a:gd name="T31" fmla="*/ 115 h 421"/>
                <a:gd name="T32" fmla="*/ 631 w 722"/>
                <a:gd name="T33" fmla="*/ 109 h 421"/>
                <a:gd name="T34" fmla="*/ 631 w 722"/>
                <a:gd name="T35" fmla="*/ 104 h 421"/>
                <a:gd name="T36" fmla="*/ 630 w 722"/>
                <a:gd name="T37" fmla="*/ 99 h 421"/>
                <a:gd name="T38" fmla="*/ 626 w 722"/>
                <a:gd name="T39" fmla="*/ 93 h 421"/>
                <a:gd name="T40" fmla="*/ 620 w 722"/>
                <a:gd name="T41" fmla="*/ 91 h 421"/>
                <a:gd name="T42" fmla="*/ 615 w 722"/>
                <a:gd name="T43" fmla="*/ 90 h 421"/>
                <a:gd name="T44" fmla="*/ 610 w 722"/>
                <a:gd name="T45" fmla="*/ 92 h 421"/>
                <a:gd name="T46" fmla="*/ 604 w 722"/>
                <a:gd name="T47" fmla="*/ 95 h 421"/>
                <a:gd name="T48" fmla="*/ 417 w 722"/>
                <a:gd name="T49" fmla="*/ 185 h 421"/>
                <a:gd name="T50" fmla="*/ 411 w 722"/>
                <a:gd name="T51" fmla="*/ 181 h 421"/>
                <a:gd name="T52" fmla="*/ 406 w 722"/>
                <a:gd name="T53" fmla="*/ 180 h 421"/>
                <a:gd name="T54" fmla="*/ 400 w 722"/>
                <a:gd name="T55" fmla="*/ 181 h 421"/>
                <a:gd name="T56" fmla="*/ 395 w 722"/>
                <a:gd name="T57" fmla="*/ 185 h 421"/>
                <a:gd name="T58" fmla="*/ 249 w 722"/>
                <a:gd name="T59" fmla="*/ 132 h 421"/>
                <a:gd name="T60" fmla="*/ 243 w 722"/>
                <a:gd name="T61" fmla="*/ 126 h 421"/>
                <a:gd name="T62" fmla="*/ 237 w 722"/>
                <a:gd name="T63" fmla="*/ 123 h 421"/>
                <a:gd name="T64" fmla="*/ 229 w 722"/>
                <a:gd name="T65" fmla="*/ 123 h 421"/>
                <a:gd name="T66" fmla="*/ 223 w 722"/>
                <a:gd name="T67" fmla="*/ 128 h 421"/>
                <a:gd name="T68" fmla="*/ 30 w 722"/>
                <a:gd name="T69" fmla="*/ 211 h 421"/>
                <a:gd name="T70" fmla="*/ 691 w 722"/>
                <a:gd name="T71" fmla="*/ 30 h 421"/>
                <a:gd name="T72" fmla="*/ 707 w 722"/>
                <a:gd name="T73" fmla="*/ 421 h 421"/>
                <a:gd name="T74" fmla="*/ 712 w 722"/>
                <a:gd name="T75" fmla="*/ 420 h 421"/>
                <a:gd name="T76" fmla="*/ 717 w 722"/>
                <a:gd name="T77" fmla="*/ 417 h 421"/>
                <a:gd name="T78" fmla="*/ 720 w 722"/>
                <a:gd name="T79" fmla="*/ 411 h 421"/>
                <a:gd name="T80" fmla="*/ 722 w 722"/>
                <a:gd name="T81" fmla="*/ 406 h 421"/>
                <a:gd name="T82" fmla="*/ 721 w 722"/>
                <a:gd name="T83" fmla="*/ 12 h 421"/>
                <a:gd name="T84" fmla="*/ 719 w 722"/>
                <a:gd name="T85" fmla="*/ 6 h 421"/>
                <a:gd name="T86" fmla="*/ 715 w 722"/>
                <a:gd name="T87" fmla="*/ 2 h 421"/>
                <a:gd name="T88" fmla="*/ 709 w 722"/>
                <a:gd name="T89" fmla="*/ 0 h 421"/>
                <a:gd name="T90" fmla="*/ 15 w 722"/>
                <a:gd name="T91" fmla="*/ 0 h 421"/>
                <a:gd name="T92" fmla="*/ 9 w 722"/>
                <a:gd name="T93" fmla="*/ 1 h 421"/>
                <a:gd name="T94" fmla="*/ 4 w 722"/>
                <a:gd name="T95" fmla="*/ 4 h 421"/>
                <a:gd name="T96" fmla="*/ 1 w 722"/>
                <a:gd name="T97" fmla="*/ 10 h 421"/>
                <a:gd name="T98" fmla="*/ 0 w 722"/>
                <a:gd name="T99" fmla="*/ 15 h 421"/>
                <a:gd name="T100" fmla="*/ 0 w 722"/>
                <a:gd name="T101" fmla="*/ 409 h 421"/>
                <a:gd name="T102" fmla="*/ 2 w 722"/>
                <a:gd name="T103" fmla="*/ 415 h 421"/>
                <a:gd name="T104" fmla="*/ 6 w 722"/>
                <a:gd name="T105" fmla="*/ 419 h 421"/>
                <a:gd name="T106" fmla="*/ 12 w 722"/>
                <a:gd name="T107"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21">
                  <a:moveTo>
                    <a:pt x="691" y="30"/>
                  </a:moveTo>
                  <a:lnTo>
                    <a:pt x="691" y="391"/>
                  </a:lnTo>
                  <a:lnTo>
                    <a:pt x="30" y="391"/>
                  </a:lnTo>
                  <a:lnTo>
                    <a:pt x="30" y="241"/>
                  </a:lnTo>
                  <a:lnTo>
                    <a:pt x="150" y="241"/>
                  </a:lnTo>
                  <a:lnTo>
                    <a:pt x="153" y="240"/>
                  </a:lnTo>
                  <a:lnTo>
                    <a:pt x="156" y="239"/>
                  </a:lnTo>
                  <a:lnTo>
                    <a:pt x="159" y="238"/>
                  </a:lnTo>
                  <a:lnTo>
                    <a:pt x="161" y="236"/>
                  </a:lnTo>
                  <a:lnTo>
                    <a:pt x="229" y="165"/>
                  </a:lnTo>
                  <a:lnTo>
                    <a:pt x="287" y="306"/>
                  </a:lnTo>
                  <a:lnTo>
                    <a:pt x="288" y="310"/>
                  </a:lnTo>
                  <a:lnTo>
                    <a:pt x="291" y="313"/>
                  </a:lnTo>
                  <a:lnTo>
                    <a:pt x="294" y="314"/>
                  </a:lnTo>
                  <a:lnTo>
                    <a:pt x="298" y="316"/>
                  </a:lnTo>
                  <a:lnTo>
                    <a:pt x="299" y="316"/>
                  </a:lnTo>
                  <a:lnTo>
                    <a:pt x="301" y="316"/>
                  </a:lnTo>
                  <a:lnTo>
                    <a:pt x="303" y="316"/>
                  </a:lnTo>
                  <a:lnTo>
                    <a:pt x="306" y="315"/>
                  </a:lnTo>
                  <a:lnTo>
                    <a:pt x="309" y="313"/>
                  </a:lnTo>
                  <a:lnTo>
                    <a:pt x="312" y="312"/>
                  </a:lnTo>
                  <a:lnTo>
                    <a:pt x="406" y="216"/>
                  </a:lnTo>
                  <a:lnTo>
                    <a:pt x="470" y="282"/>
                  </a:lnTo>
                  <a:lnTo>
                    <a:pt x="472" y="283"/>
                  </a:lnTo>
                  <a:lnTo>
                    <a:pt x="476" y="285"/>
                  </a:lnTo>
                  <a:lnTo>
                    <a:pt x="479" y="286"/>
                  </a:lnTo>
                  <a:lnTo>
                    <a:pt x="482" y="286"/>
                  </a:lnTo>
                  <a:lnTo>
                    <a:pt x="485" y="285"/>
                  </a:lnTo>
                  <a:lnTo>
                    <a:pt x="487" y="284"/>
                  </a:lnTo>
                  <a:lnTo>
                    <a:pt x="491" y="283"/>
                  </a:lnTo>
                  <a:lnTo>
                    <a:pt x="493" y="281"/>
                  </a:lnTo>
                  <a:lnTo>
                    <a:pt x="628" y="115"/>
                  </a:lnTo>
                  <a:lnTo>
                    <a:pt x="630" y="113"/>
                  </a:lnTo>
                  <a:lnTo>
                    <a:pt x="631" y="109"/>
                  </a:lnTo>
                  <a:lnTo>
                    <a:pt x="631" y="106"/>
                  </a:lnTo>
                  <a:lnTo>
                    <a:pt x="631" y="104"/>
                  </a:lnTo>
                  <a:lnTo>
                    <a:pt x="631" y="101"/>
                  </a:lnTo>
                  <a:lnTo>
                    <a:pt x="630" y="99"/>
                  </a:lnTo>
                  <a:lnTo>
                    <a:pt x="628" y="95"/>
                  </a:lnTo>
                  <a:lnTo>
                    <a:pt x="626" y="93"/>
                  </a:lnTo>
                  <a:lnTo>
                    <a:pt x="623" y="92"/>
                  </a:lnTo>
                  <a:lnTo>
                    <a:pt x="620" y="91"/>
                  </a:lnTo>
                  <a:lnTo>
                    <a:pt x="618" y="90"/>
                  </a:lnTo>
                  <a:lnTo>
                    <a:pt x="615" y="90"/>
                  </a:lnTo>
                  <a:lnTo>
                    <a:pt x="612" y="91"/>
                  </a:lnTo>
                  <a:lnTo>
                    <a:pt x="610" y="92"/>
                  </a:lnTo>
                  <a:lnTo>
                    <a:pt x="606" y="93"/>
                  </a:lnTo>
                  <a:lnTo>
                    <a:pt x="604" y="95"/>
                  </a:lnTo>
                  <a:lnTo>
                    <a:pt x="480" y="249"/>
                  </a:lnTo>
                  <a:lnTo>
                    <a:pt x="417" y="185"/>
                  </a:lnTo>
                  <a:lnTo>
                    <a:pt x="415" y="183"/>
                  </a:lnTo>
                  <a:lnTo>
                    <a:pt x="411" y="181"/>
                  </a:lnTo>
                  <a:lnTo>
                    <a:pt x="409" y="181"/>
                  </a:lnTo>
                  <a:lnTo>
                    <a:pt x="406" y="180"/>
                  </a:lnTo>
                  <a:lnTo>
                    <a:pt x="403" y="181"/>
                  </a:lnTo>
                  <a:lnTo>
                    <a:pt x="400" y="181"/>
                  </a:lnTo>
                  <a:lnTo>
                    <a:pt x="397" y="183"/>
                  </a:lnTo>
                  <a:lnTo>
                    <a:pt x="395" y="185"/>
                  </a:lnTo>
                  <a:lnTo>
                    <a:pt x="306" y="274"/>
                  </a:lnTo>
                  <a:lnTo>
                    <a:pt x="249" y="132"/>
                  </a:lnTo>
                  <a:lnTo>
                    <a:pt x="246" y="129"/>
                  </a:lnTo>
                  <a:lnTo>
                    <a:pt x="243" y="126"/>
                  </a:lnTo>
                  <a:lnTo>
                    <a:pt x="241" y="124"/>
                  </a:lnTo>
                  <a:lnTo>
                    <a:pt x="237" y="123"/>
                  </a:lnTo>
                  <a:lnTo>
                    <a:pt x="234" y="123"/>
                  </a:lnTo>
                  <a:lnTo>
                    <a:pt x="229" y="123"/>
                  </a:lnTo>
                  <a:lnTo>
                    <a:pt x="226" y="125"/>
                  </a:lnTo>
                  <a:lnTo>
                    <a:pt x="223" y="128"/>
                  </a:lnTo>
                  <a:lnTo>
                    <a:pt x="144" y="211"/>
                  </a:lnTo>
                  <a:lnTo>
                    <a:pt x="30" y="211"/>
                  </a:lnTo>
                  <a:lnTo>
                    <a:pt x="30" y="30"/>
                  </a:lnTo>
                  <a:lnTo>
                    <a:pt x="691" y="30"/>
                  </a:lnTo>
                  <a:close/>
                  <a:moveTo>
                    <a:pt x="15" y="421"/>
                  </a:moveTo>
                  <a:lnTo>
                    <a:pt x="707" y="421"/>
                  </a:lnTo>
                  <a:lnTo>
                    <a:pt x="709" y="421"/>
                  </a:lnTo>
                  <a:lnTo>
                    <a:pt x="712" y="420"/>
                  </a:lnTo>
                  <a:lnTo>
                    <a:pt x="715" y="419"/>
                  </a:lnTo>
                  <a:lnTo>
                    <a:pt x="717" y="417"/>
                  </a:lnTo>
                  <a:lnTo>
                    <a:pt x="719" y="415"/>
                  </a:lnTo>
                  <a:lnTo>
                    <a:pt x="720" y="411"/>
                  </a:lnTo>
                  <a:lnTo>
                    <a:pt x="721" y="409"/>
                  </a:lnTo>
                  <a:lnTo>
                    <a:pt x="722" y="406"/>
                  </a:lnTo>
                  <a:lnTo>
                    <a:pt x="722" y="15"/>
                  </a:lnTo>
                  <a:lnTo>
                    <a:pt x="721" y="12"/>
                  </a:lnTo>
                  <a:lnTo>
                    <a:pt x="720" y="10"/>
                  </a:lnTo>
                  <a:lnTo>
                    <a:pt x="719" y="6"/>
                  </a:lnTo>
                  <a:lnTo>
                    <a:pt x="717" y="4"/>
                  </a:lnTo>
                  <a:lnTo>
                    <a:pt x="715" y="2"/>
                  </a:lnTo>
                  <a:lnTo>
                    <a:pt x="712" y="1"/>
                  </a:lnTo>
                  <a:lnTo>
                    <a:pt x="709" y="0"/>
                  </a:lnTo>
                  <a:lnTo>
                    <a:pt x="707" y="0"/>
                  </a:lnTo>
                  <a:lnTo>
                    <a:pt x="15" y="0"/>
                  </a:lnTo>
                  <a:lnTo>
                    <a:pt x="12" y="0"/>
                  </a:lnTo>
                  <a:lnTo>
                    <a:pt x="9" y="1"/>
                  </a:lnTo>
                  <a:lnTo>
                    <a:pt x="6" y="2"/>
                  </a:lnTo>
                  <a:lnTo>
                    <a:pt x="4" y="4"/>
                  </a:lnTo>
                  <a:lnTo>
                    <a:pt x="2" y="6"/>
                  </a:lnTo>
                  <a:lnTo>
                    <a:pt x="1" y="10"/>
                  </a:lnTo>
                  <a:lnTo>
                    <a:pt x="0" y="12"/>
                  </a:lnTo>
                  <a:lnTo>
                    <a:pt x="0" y="15"/>
                  </a:lnTo>
                  <a:lnTo>
                    <a:pt x="0" y="406"/>
                  </a:lnTo>
                  <a:lnTo>
                    <a:pt x="0" y="409"/>
                  </a:lnTo>
                  <a:lnTo>
                    <a:pt x="1" y="411"/>
                  </a:lnTo>
                  <a:lnTo>
                    <a:pt x="2" y="415"/>
                  </a:lnTo>
                  <a:lnTo>
                    <a:pt x="4" y="417"/>
                  </a:lnTo>
                  <a:lnTo>
                    <a:pt x="6" y="419"/>
                  </a:lnTo>
                  <a:lnTo>
                    <a:pt x="9" y="420"/>
                  </a:lnTo>
                  <a:lnTo>
                    <a:pt x="12" y="421"/>
                  </a:lnTo>
                  <a:lnTo>
                    <a:pt x="15"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7" name="Freeform 149">
            <a:extLst>
              <a:ext uri="{FF2B5EF4-FFF2-40B4-BE49-F238E27FC236}">
                <a16:creationId xmlns:a16="http://schemas.microsoft.com/office/drawing/2014/main" id="{EAE563AC-3643-489A-A855-BA5AF6091077}"/>
              </a:ext>
            </a:extLst>
          </p:cNvPr>
          <p:cNvSpPr>
            <a:spLocks noChangeAspect="1" noEditPoints="1"/>
          </p:cNvSpPr>
          <p:nvPr/>
        </p:nvSpPr>
        <p:spPr bwMode="auto">
          <a:xfrm>
            <a:off x="2726673" y="2186361"/>
            <a:ext cx="304790" cy="252300"/>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sz="2400"/>
          </a:p>
        </p:txBody>
      </p:sp>
      <p:grpSp>
        <p:nvGrpSpPr>
          <p:cNvPr id="448" name="Group 98">
            <a:extLst>
              <a:ext uri="{FF2B5EF4-FFF2-40B4-BE49-F238E27FC236}">
                <a16:creationId xmlns:a16="http://schemas.microsoft.com/office/drawing/2014/main" id="{63622209-14C5-418D-BE89-78A0E98294F5}"/>
              </a:ext>
            </a:extLst>
          </p:cNvPr>
          <p:cNvGrpSpPr>
            <a:grpSpLocks noChangeAspect="1"/>
          </p:cNvGrpSpPr>
          <p:nvPr/>
        </p:nvGrpSpPr>
        <p:grpSpPr>
          <a:xfrm>
            <a:off x="2304892" y="2186362"/>
            <a:ext cx="304790" cy="283861"/>
            <a:chOff x="11035452" y="1366816"/>
            <a:chExt cx="287091" cy="267377"/>
          </a:xfrm>
          <a:solidFill>
            <a:schemeClr val="bg2"/>
          </a:solidFill>
          <a:effectLst/>
        </p:grpSpPr>
        <p:sp>
          <p:nvSpPr>
            <p:cNvPr id="449" name="Freeform 255">
              <a:extLst>
                <a:ext uri="{FF2B5EF4-FFF2-40B4-BE49-F238E27FC236}">
                  <a16:creationId xmlns:a16="http://schemas.microsoft.com/office/drawing/2014/main" id="{CE6430AD-A0D5-492C-A08C-85084D9EBF0A}"/>
                </a:ext>
              </a:extLst>
            </p:cNvPr>
            <p:cNvSpPr>
              <a:spLocks noEditPoints="1"/>
            </p:cNvSpPr>
            <p:nvPr/>
          </p:nvSpPr>
          <p:spPr bwMode="auto">
            <a:xfrm>
              <a:off x="11035452" y="1453067"/>
              <a:ext cx="287091" cy="181126"/>
            </a:xfrm>
            <a:custGeom>
              <a:avLst/>
              <a:gdLst>
                <a:gd name="T0" fmla="*/ 31 w 932"/>
                <a:gd name="T1" fmla="*/ 31 h 591"/>
                <a:gd name="T2" fmla="*/ 901 w 932"/>
                <a:gd name="T3" fmla="*/ 31 h 591"/>
                <a:gd name="T4" fmla="*/ 901 w 932"/>
                <a:gd name="T5" fmla="*/ 520 h 591"/>
                <a:gd name="T6" fmla="*/ 901 w 932"/>
                <a:gd name="T7" fmla="*/ 528 h 591"/>
                <a:gd name="T8" fmla="*/ 897 w 932"/>
                <a:gd name="T9" fmla="*/ 536 h 591"/>
                <a:gd name="T10" fmla="*/ 894 w 932"/>
                <a:gd name="T11" fmla="*/ 542 h 591"/>
                <a:gd name="T12" fmla="*/ 889 w 932"/>
                <a:gd name="T13" fmla="*/ 548 h 591"/>
                <a:gd name="T14" fmla="*/ 883 w 932"/>
                <a:gd name="T15" fmla="*/ 552 h 591"/>
                <a:gd name="T16" fmla="*/ 876 w 932"/>
                <a:gd name="T17" fmla="*/ 557 h 591"/>
                <a:gd name="T18" fmla="*/ 868 w 932"/>
                <a:gd name="T19" fmla="*/ 559 h 591"/>
                <a:gd name="T20" fmla="*/ 859 w 932"/>
                <a:gd name="T21" fmla="*/ 560 h 591"/>
                <a:gd name="T22" fmla="*/ 72 w 932"/>
                <a:gd name="T23" fmla="*/ 560 h 591"/>
                <a:gd name="T24" fmla="*/ 64 w 932"/>
                <a:gd name="T25" fmla="*/ 559 h 591"/>
                <a:gd name="T26" fmla="*/ 56 w 932"/>
                <a:gd name="T27" fmla="*/ 557 h 591"/>
                <a:gd name="T28" fmla="*/ 48 w 932"/>
                <a:gd name="T29" fmla="*/ 552 h 591"/>
                <a:gd name="T30" fmla="*/ 43 w 932"/>
                <a:gd name="T31" fmla="*/ 548 h 591"/>
                <a:gd name="T32" fmla="*/ 37 w 932"/>
                <a:gd name="T33" fmla="*/ 542 h 591"/>
                <a:gd name="T34" fmla="*/ 34 w 932"/>
                <a:gd name="T35" fmla="*/ 536 h 591"/>
                <a:gd name="T36" fmla="*/ 32 w 932"/>
                <a:gd name="T37" fmla="*/ 528 h 591"/>
                <a:gd name="T38" fmla="*/ 31 w 932"/>
                <a:gd name="T39" fmla="*/ 520 h 591"/>
                <a:gd name="T40" fmla="*/ 31 w 932"/>
                <a:gd name="T41" fmla="*/ 31 h 591"/>
                <a:gd name="T42" fmla="*/ 0 w 932"/>
                <a:gd name="T43" fmla="*/ 520 h 591"/>
                <a:gd name="T44" fmla="*/ 0 w 932"/>
                <a:gd name="T45" fmla="*/ 527 h 591"/>
                <a:gd name="T46" fmla="*/ 1 w 932"/>
                <a:gd name="T47" fmla="*/ 534 h 591"/>
                <a:gd name="T48" fmla="*/ 3 w 932"/>
                <a:gd name="T49" fmla="*/ 540 h 591"/>
                <a:gd name="T50" fmla="*/ 5 w 932"/>
                <a:gd name="T51" fmla="*/ 547 h 591"/>
                <a:gd name="T52" fmla="*/ 8 w 932"/>
                <a:gd name="T53" fmla="*/ 554 h 591"/>
                <a:gd name="T54" fmla="*/ 12 w 932"/>
                <a:gd name="T55" fmla="*/ 559 h 591"/>
                <a:gd name="T56" fmla="*/ 16 w 932"/>
                <a:gd name="T57" fmla="*/ 565 h 591"/>
                <a:gd name="T58" fmla="*/ 21 w 932"/>
                <a:gd name="T59" fmla="*/ 569 h 591"/>
                <a:gd name="T60" fmla="*/ 26 w 932"/>
                <a:gd name="T61" fmla="*/ 575 h 591"/>
                <a:gd name="T62" fmla="*/ 32 w 932"/>
                <a:gd name="T63" fmla="*/ 578 h 591"/>
                <a:gd name="T64" fmla="*/ 37 w 932"/>
                <a:gd name="T65" fmla="*/ 582 h 591"/>
                <a:gd name="T66" fmla="*/ 44 w 932"/>
                <a:gd name="T67" fmla="*/ 585 h 591"/>
                <a:gd name="T68" fmla="*/ 49 w 932"/>
                <a:gd name="T69" fmla="*/ 588 h 591"/>
                <a:gd name="T70" fmla="*/ 57 w 932"/>
                <a:gd name="T71" fmla="*/ 589 h 591"/>
                <a:gd name="T72" fmla="*/ 64 w 932"/>
                <a:gd name="T73" fmla="*/ 590 h 591"/>
                <a:gd name="T74" fmla="*/ 72 w 932"/>
                <a:gd name="T75" fmla="*/ 591 h 591"/>
                <a:gd name="T76" fmla="*/ 861 w 932"/>
                <a:gd name="T77" fmla="*/ 591 h 591"/>
                <a:gd name="T78" fmla="*/ 861 w 932"/>
                <a:gd name="T79" fmla="*/ 591 h 591"/>
                <a:gd name="T80" fmla="*/ 868 w 932"/>
                <a:gd name="T81" fmla="*/ 590 h 591"/>
                <a:gd name="T82" fmla="*/ 875 w 932"/>
                <a:gd name="T83" fmla="*/ 589 h 591"/>
                <a:gd name="T84" fmla="*/ 882 w 932"/>
                <a:gd name="T85" fmla="*/ 588 h 591"/>
                <a:gd name="T86" fmla="*/ 888 w 932"/>
                <a:gd name="T87" fmla="*/ 585 h 591"/>
                <a:gd name="T88" fmla="*/ 895 w 932"/>
                <a:gd name="T89" fmla="*/ 582 h 591"/>
                <a:gd name="T90" fmla="*/ 901 w 932"/>
                <a:gd name="T91" fmla="*/ 578 h 591"/>
                <a:gd name="T92" fmla="*/ 906 w 932"/>
                <a:gd name="T93" fmla="*/ 575 h 591"/>
                <a:gd name="T94" fmla="*/ 911 w 932"/>
                <a:gd name="T95" fmla="*/ 569 h 591"/>
                <a:gd name="T96" fmla="*/ 916 w 932"/>
                <a:gd name="T97" fmla="*/ 565 h 591"/>
                <a:gd name="T98" fmla="*/ 919 w 932"/>
                <a:gd name="T99" fmla="*/ 559 h 591"/>
                <a:gd name="T100" fmla="*/ 924 w 932"/>
                <a:gd name="T101" fmla="*/ 554 h 591"/>
                <a:gd name="T102" fmla="*/ 926 w 932"/>
                <a:gd name="T103" fmla="*/ 547 h 591"/>
                <a:gd name="T104" fmla="*/ 928 w 932"/>
                <a:gd name="T105" fmla="*/ 540 h 591"/>
                <a:gd name="T106" fmla="*/ 931 w 932"/>
                <a:gd name="T107" fmla="*/ 534 h 591"/>
                <a:gd name="T108" fmla="*/ 932 w 932"/>
                <a:gd name="T109" fmla="*/ 527 h 591"/>
                <a:gd name="T110" fmla="*/ 932 w 932"/>
                <a:gd name="T111" fmla="*/ 520 h 591"/>
                <a:gd name="T112" fmla="*/ 932 w 932"/>
                <a:gd name="T113" fmla="*/ 0 h 591"/>
                <a:gd name="T114" fmla="*/ 0 w 932"/>
                <a:gd name="T115" fmla="*/ 0 h 591"/>
                <a:gd name="T116" fmla="*/ 0 w 932"/>
                <a:gd name="T117" fmla="*/ 52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2" h="591">
                  <a:moveTo>
                    <a:pt x="31" y="31"/>
                  </a:moveTo>
                  <a:lnTo>
                    <a:pt x="901" y="31"/>
                  </a:lnTo>
                  <a:lnTo>
                    <a:pt x="901" y="520"/>
                  </a:lnTo>
                  <a:lnTo>
                    <a:pt x="901" y="528"/>
                  </a:lnTo>
                  <a:lnTo>
                    <a:pt x="897" y="536"/>
                  </a:lnTo>
                  <a:lnTo>
                    <a:pt x="894" y="542"/>
                  </a:lnTo>
                  <a:lnTo>
                    <a:pt x="889" y="548"/>
                  </a:lnTo>
                  <a:lnTo>
                    <a:pt x="883" y="552"/>
                  </a:lnTo>
                  <a:lnTo>
                    <a:pt x="876" y="557"/>
                  </a:lnTo>
                  <a:lnTo>
                    <a:pt x="868" y="559"/>
                  </a:lnTo>
                  <a:lnTo>
                    <a:pt x="859" y="560"/>
                  </a:lnTo>
                  <a:lnTo>
                    <a:pt x="72" y="560"/>
                  </a:lnTo>
                  <a:lnTo>
                    <a:pt x="64" y="559"/>
                  </a:lnTo>
                  <a:lnTo>
                    <a:pt x="56" y="557"/>
                  </a:lnTo>
                  <a:lnTo>
                    <a:pt x="48" y="552"/>
                  </a:lnTo>
                  <a:lnTo>
                    <a:pt x="43" y="548"/>
                  </a:lnTo>
                  <a:lnTo>
                    <a:pt x="37" y="542"/>
                  </a:lnTo>
                  <a:lnTo>
                    <a:pt x="34" y="536"/>
                  </a:lnTo>
                  <a:lnTo>
                    <a:pt x="32" y="528"/>
                  </a:lnTo>
                  <a:lnTo>
                    <a:pt x="31" y="520"/>
                  </a:lnTo>
                  <a:lnTo>
                    <a:pt x="31" y="31"/>
                  </a:lnTo>
                  <a:close/>
                  <a:moveTo>
                    <a:pt x="0" y="520"/>
                  </a:moveTo>
                  <a:lnTo>
                    <a:pt x="0" y="527"/>
                  </a:lnTo>
                  <a:lnTo>
                    <a:pt x="1" y="534"/>
                  </a:lnTo>
                  <a:lnTo>
                    <a:pt x="3" y="540"/>
                  </a:lnTo>
                  <a:lnTo>
                    <a:pt x="5" y="547"/>
                  </a:lnTo>
                  <a:lnTo>
                    <a:pt x="8" y="554"/>
                  </a:lnTo>
                  <a:lnTo>
                    <a:pt x="12" y="559"/>
                  </a:lnTo>
                  <a:lnTo>
                    <a:pt x="16" y="565"/>
                  </a:lnTo>
                  <a:lnTo>
                    <a:pt x="21" y="569"/>
                  </a:lnTo>
                  <a:lnTo>
                    <a:pt x="26" y="575"/>
                  </a:lnTo>
                  <a:lnTo>
                    <a:pt x="32" y="578"/>
                  </a:lnTo>
                  <a:lnTo>
                    <a:pt x="37" y="582"/>
                  </a:lnTo>
                  <a:lnTo>
                    <a:pt x="44" y="585"/>
                  </a:lnTo>
                  <a:lnTo>
                    <a:pt x="49" y="588"/>
                  </a:lnTo>
                  <a:lnTo>
                    <a:pt x="57" y="589"/>
                  </a:lnTo>
                  <a:lnTo>
                    <a:pt x="64" y="590"/>
                  </a:lnTo>
                  <a:lnTo>
                    <a:pt x="72" y="591"/>
                  </a:lnTo>
                  <a:lnTo>
                    <a:pt x="861" y="591"/>
                  </a:lnTo>
                  <a:lnTo>
                    <a:pt x="861" y="591"/>
                  </a:lnTo>
                  <a:lnTo>
                    <a:pt x="868" y="590"/>
                  </a:lnTo>
                  <a:lnTo>
                    <a:pt x="875" y="589"/>
                  </a:lnTo>
                  <a:lnTo>
                    <a:pt x="882" y="588"/>
                  </a:lnTo>
                  <a:lnTo>
                    <a:pt x="888" y="585"/>
                  </a:lnTo>
                  <a:lnTo>
                    <a:pt x="895" y="582"/>
                  </a:lnTo>
                  <a:lnTo>
                    <a:pt x="901" y="578"/>
                  </a:lnTo>
                  <a:lnTo>
                    <a:pt x="906" y="575"/>
                  </a:lnTo>
                  <a:lnTo>
                    <a:pt x="911" y="569"/>
                  </a:lnTo>
                  <a:lnTo>
                    <a:pt x="916" y="565"/>
                  </a:lnTo>
                  <a:lnTo>
                    <a:pt x="919" y="559"/>
                  </a:lnTo>
                  <a:lnTo>
                    <a:pt x="924" y="554"/>
                  </a:lnTo>
                  <a:lnTo>
                    <a:pt x="926" y="547"/>
                  </a:lnTo>
                  <a:lnTo>
                    <a:pt x="928" y="540"/>
                  </a:lnTo>
                  <a:lnTo>
                    <a:pt x="931" y="534"/>
                  </a:lnTo>
                  <a:lnTo>
                    <a:pt x="932" y="527"/>
                  </a:lnTo>
                  <a:lnTo>
                    <a:pt x="932" y="520"/>
                  </a:lnTo>
                  <a:lnTo>
                    <a:pt x="932" y="0"/>
                  </a:lnTo>
                  <a:lnTo>
                    <a:pt x="0" y="0"/>
                  </a:lnTo>
                  <a:lnTo>
                    <a:pt x="0" y="5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56">
              <a:extLst>
                <a:ext uri="{FF2B5EF4-FFF2-40B4-BE49-F238E27FC236}">
                  <a16:creationId xmlns:a16="http://schemas.microsoft.com/office/drawing/2014/main" id="{5E24F838-DEA2-4EF5-AB3A-206A0AD4C21E}"/>
                </a:ext>
              </a:extLst>
            </p:cNvPr>
            <p:cNvSpPr>
              <a:spLocks noEditPoints="1"/>
            </p:cNvSpPr>
            <p:nvPr/>
          </p:nvSpPr>
          <p:spPr bwMode="auto">
            <a:xfrm>
              <a:off x="11130328" y="1492495"/>
              <a:ext cx="107197" cy="105965"/>
            </a:xfrm>
            <a:custGeom>
              <a:avLst/>
              <a:gdLst>
                <a:gd name="T0" fmla="*/ 31 w 346"/>
                <a:gd name="T1" fmla="*/ 41 h 344"/>
                <a:gd name="T2" fmla="*/ 296 w 346"/>
                <a:gd name="T3" fmla="*/ 172 h 344"/>
                <a:gd name="T4" fmla="*/ 31 w 346"/>
                <a:gd name="T5" fmla="*/ 304 h 344"/>
                <a:gd name="T6" fmla="*/ 31 w 346"/>
                <a:gd name="T7" fmla="*/ 41 h 344"/>
                <a:gd name="T8" fmla="*/ 6 w 346"/>
                <a:gd name="T9" fmla="*/ 342 h 344"/>
                <a:gd name="T10" fmla="*/ 11 w 346"/>
                <a:gd name="T11" fmla="*/ 344 h 344"/>
                <a:gd name="T12" fmla="*/ 15 w 346"/>
                <a:gd name="T13" fmla="*/ 344 h 344"/>
                <a:gd name="T14" fmla="*/ 18 w 346"/>
                <a:gd name="T15" fmla="*/ 344 h 344"/>
                <a:gd name="T16" fmla="*/ 22 w 346"/>
                <a:gd name="T17" fmla="*/ 343 h 344"/>
                <a:gd name="T18" fmla="*/ 338 w 346"/>
                <a:gd name="T19" fmla="*/ 187 h 344"/>
                <a:gd name="T20" fmla="*/ 342 w 346"/>
                <a:gd name="T21" fmla="*/ 184 h 344"/>
                <a:gd name="T22" fmla="*/ 344 w 346"/>
                <a:gd name="T23" fmla="*/ 181 h 344"/>
                <a:gd name="T24" fmla="*/ 346 w 346"/>
                <a:gd name="T25" fmla="*/ 177 h 344"/>
                <a:gd name="T26" fmla="*/ 346 w 346"/>
                <a:gd name="T27" fmla="*/ 172 h 344"/>
                <a:gd name="T28" fmla="*/ 346 w 346"/>
                <a:gd name="T29" fmla="*/ 168 h 344"/>
                <a:gd name="T30" fmla="*/ 344 w 346"/>
                <a:gd name="T31" fmla="*/ 164 h 344"/>
                <a:gd name="T32" fmla="*/ 342 w 346"/>
                <a:gd name="T33" fmla="*/ 161 h 344"/>
                <a:gd name="T34" fmla="*/ 338 w 346"/>
                <a:gd name="T35" fmla="*/ 159 h 344"/>
                <a:gd name="T36" fmla="*/ 22 w 346"/>
                <a:gd name="T37" fmla="*/ 2 h 344"/>
                <a:gd name="T38" fmla="*/ 18 w 346"/>
                <a:gd name="T39" fmla="*/ 1 h 344"/>
                <a:gd name="T40" fmla="*/ 14 w 346"/>
                <a:gd name="T41" fmla="*/ 0 h 344"/>
                <a:gd name="T42" fmla="*/ 11 w 346"/>
                <a:gd name="T43" fmla="*/ 1 h 344"/>
                <a:gd name="T44" fmla="*/ 6 w 346"/>
                <a:gd name="T45" fmla="*/ 2 h 344"/>
                <a:gd name="T46" fmla="*/ 4 w 346"/>
                <a:gd name="T47" fmla="*/ 6 h 344"/>
                <a:gd name="T48" fmla="*/ 2 w 346"/>
                <a:gd name="T49" fmla="*/ 8 h 344"/>
                <a:gd name="T50" fmla="*/ 0 w 346"/>
                <a:gd name="T51" fmla="*/ 12 h 344"/>
                <a:gd name="T52" fmla="*/ 0 w 346"/>
                <a:gd name="T53" fmla="*/ 16 h 344"/>
                <a:gd name="T54" fmla="*/ 0 w 346"/>
                <a:gd name="T55" fmla="*/ 329 h 344"/>
                <a:gd name="T56" fmla="*/ 0 w 346"/>
                <a:gd name="T57" fmla="*/ 333 h 344"/>
                <a:gd name="T58" fmla="*/ 2 w 346"/>
                <a:gd name="T59" fmla="*/ 337 h 344"/>
                <a:gd name="T60" fmla="*/ 4 w 346"/>
                <a:gd name="T61" fmla="*/ 340 h 344"/>
                <a:gd name="T62" fmla="*/ 6 w 346"/>
                <a:gd name="T63" fmla="*/ 34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6" h="344">
                  <a:moveTo>
                    <a:pt x="31" y="41"/>
                  </a:moveTo>
                  <a:lnTo>
                    <a:pt x="296" y="172"/>
                  </a:lnTo>
                  <a:lnTo>
                    <a:pt x="31" y="304"/>
                  </a:lnTo>
                  <a:lnTo>
                    <a:pt x="31" y="41"/>
                  </a:lnTo>
                  <a:close/>
                  <a:moveTo>
                    <a:pt x="6" y="342"/>
                  </a:moveTo>
                  <a:lnTo>
                    <a:pt x="11" y="344"/>
                  </a:lnTo>
                  <a:lnTo>
                    <a:pt x="15" y="344"/>
                  </a:lnTo>
                  <a:lnTo>
                    <a:pt x="18" y="344"/>
                  </a:lnTo>
                  <a:lnTo>
                    <a:pt x="22" y="343"/>
                  </a:lnTo>
                  <a:lnTo>
                    <a:pt x="338" y="187"/>
                  </a:lnTo>
                  <a:lnTo>
                    <a:pt x="342" y="184"/>
                  </a:lnTo>
                  <a:lnTo>
                    <a:pt x="344" y="181"/>
                  </a:lnTo>
                  <a:lnTo>
                    <a:pt x="346" y="177"/>
                  </a:lnTo>
                  <a:lnTo>
                    <a:pt x="346" y="172"/>
                  </a:lnTo>
                  <a:lnTo>
                    <a:pt x="346" y="168"/>
                  </a:lnTo>
                  <a:lnTo>
                    <a:pt x="344" y="164"/>
                  </a:lnTo>
                  <a:lnTo>
                    <a:pt x="342" y="161"/>
                  </a:lnTo>
                  <a:lnTo>
                    <a:pt x="338" y="159"/>
                  </a:lnTo>
                  <a:lnTo>
                    <a:pt x="22" y="2"/>
                  </a:lnTo>
                  <a:lnTo>
                    <a:pt x="18" y="1"/>
                  </a:lnTo>
                  <a:lnTo>
                    <a:pt x="14" y="0"/>
                  </a:lnTo>
                  <a:lnTo>
                    <a:pt x="11" y="1"/>
                  </a:lnTo>
                  <a:lnTo>
                    <a:pt x="6" y="2"/>
                  </a:lnTo>
                  <a:lnTo>
                    <a:pt x="4" y="6"/>
                  </a:lnTo>
                  <a:lnTo>
                    <a:pt x="2" y="8"/>
                  </a:lnTo>
                  <a:lnTo>
                    <a:pt x="0" y="12"/>
                  </a:lnTo>
                  <a:lnTo>
                    <a:pt x="0" y="16"/>
                  </a:lnTo>
                  <a:lnTo>
                    <a:pt x="0" y="329"/>
                  </a:lnTo>
                  <a:lnTo>
                    <a:pt x="0" y="333"/>
                  </a:lnTo>
                  <a:lnTo>
                    <a:pt x="2" y="337"/>
                  </a:lnTo>
                  <a:lnTo>
                    <a:pt x="4" y="340"/>
                  </a:lnTo>
                  <a:lnTo>
                    <a:pt x="6"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57">
              <a:extLst>
                <a:ext uri="{FF2B5EF4-FFF2-40B4-BE49-F238E27FC236}">
                  <a16:creationId xmlns:a16="http://schemas.microsoft.com/office/drawing/2014/main" id="{5F3996BC-8E85-4AF7-9BF9-A8DC4887BAA2}"/>
                </a:ext>
              </a:extLst>
            </p:cNvPr>
            <p:cNvSpPr>
              <a:spLocks noEditPoints="1"/>
            </p:cNvSpPr>
            <p:nvPr/>
          </p:nvSpPr>
          <p:spPr bwMode="auto">
            <a:xfrm>
              <a:off x="11035452" y="1366816"/>
              <a:ext cx="287091" cy="76393"/>
            </a:xfrm>
            <a:custGeom>
              <a:avLst/>
              <a:gdLst>
                <a:gd name="T0" fmla="*/ 901 w 932"/>
                <a:gd name="T1" fmla="*/ 103 h 248"/>
                <a:gd name="T2" fmla="*/ 796 w 932"/>
                <a:gd name="T3" fmla="*/ 217 h 248"/>
                <a:gd name="T4" fmla="*/ 177 w 932"/>
                <a:gd name="T5" fmla="*/ 31 h 248"/>
                <a:gd name="T6" fmla="*/ 117 w 932"/>
                <a:gd name="T7" fmla="*/ 217 h 248"/>
                <a:gd name="T8" fmla="*/ 31 w 932"/>
                <a:gd name="T9" fmla="*/ 193 h 248"/>
                <a:gd name="T10" fmla="*/ 135 w 932"/>
                <a:gd name="T11" fmla="*/ 31 h 248"/>
                <a:gd name="T12" fmla="*/ 31 w 932"/>
                <a:gd name="T13" fmla="*/ 70 h 248"/>
                <a:gd name="T14" fmla="*/ 33 w 932"/>
                <a:gd name="T15" fmla="*/ 57 h 248"/>
                <a:gd name="T16" fmla="*/ 38 w 932"/>
                <a:gd name="T17" fmla="*/ 45 h 248"/>
                <a:gd name="T18" fmla="*/ 46 w 932"/>
                <a:gd name="T19" fmla="*/ 35 h 248"/>
                <a:gd name="T20" fmla="*/ 54 w 932"/>
                <a:gd name="T21" fmla="*/ 31 h 248"/>
                <a:gd name="T22" fmla="*/ 772 w 932"/>
                <a:gd name="T23" fmla="*/ 31 h 248"/>
                <a:gd name="T24" fmla="*/ 486 w 932"/>
                <a:gd name="T25" fmla="*/ 217 h 248"/>
                <a:gd name="T26" fmla="*/ 273 w 932"/>
                <a:gd name="T27" fmla="*/ 217 h 248"/>
                <a:gd name="T28" fmla="*/ 333 w 932"/>
                <a:gd name="T29" fmla="*/ 31 h 248"/>
                <a:gd name="T30" fmla="*/ 273 w 932"/>
                <a:gd name="T31" fmla="*/ 217 h 248"/>
                <a:gd name="T32" fmla="*/ 617 w 932"/>
                <a:gd name="T33" fmla="*/ 31 h 248"/>
                <a:gd name="T34" fmla="*/ 315 w 932"/>
                <a:gd name="T35" fmla="*/ 217 h 248"/>
                <a:gd name="T36" fmla="*/ 899 w 932"/>
                <a:gd name="T37" fmla="*/ 58 h 248"/>
                <a:gd name="T38" fmla="*/ 642 w 932"/>
                <a:gd name="T39" fmla="*/ 217 h 248"/>
                <a:gd name="T40" fmla="*/ 877 w 932"/>
                <a:gd name="T41" fmla="*/ 31 h 248"/>
                <a:gd name="T42" fmla="*/ 884 w 932"/>
                <a:gd name="T43" fmla="*/ 34 h 248"/>
                <a:gd name="T44" fmla="*/ 891 w 932"/>
                <a:gd name="T45" fmla="*/ 39 h 248"/>
                <a:gd name="T46" fmla="*/ 899 w 932"/>
                <a:gd name="T47" fmla="*/ 58 h 248"/>
                <a:gd name="T48" fmla="*/ 54 w 932"/>
                <a:gd name="T49" fmla="*/ 0 h 248"/>
                <a:gd name="T50" fmla="*/ 42 w 932"/>
                <a:gd name="T51" fmla="*/ 1 h 248"/>
                <a:gd name="T52" fmla="*/ 32 w 932"/>
                <a:gd name="T53" fmla="*/ 7 h 248"/>
                <a:gd name="T54" fmla="*/ 22 w 932"/>
                <a:gd name="T55" fmla="*/ 15 h 248"/>
                <a:gd name="T56" fmla="*/ 14 w 932"/>
                <a:gd name="T57" fmla="*/ 24 h 248"/>
                <a:gd name="T58" fmla="*/ 3 w 932"/>
                <a:gd name="T59" fmla="*/ 47 h 248"/>
                <a:gd name="T60" fmla="*/ 0 w 932"/>
                <a:gd name="T61" fmla="*/ 70 h 248"/>
                <a:gd name="T62" fmla="*/ 932 w 932"/>
                <a:gd name="T63" fmla="*/ 248 h 248"/>
                <a:gd name="T64" fmla="*/ 932 w 932"/>
                <a:gd name="T65" fmla="*/ 58 h 248"/>
                <a:gd name="T66" fmla="*/ 924 w 932"/>
                <a:gd name="T67" fmla="*/ 35 h 248"/>
                <a:gd name="T68" fmla="*/ 914 w 932"/>
                <a:gd name="T69" fmla="*/ 19 h 248"/>
                <a:gd name="T70" fmla="*/ 905 w 932"/>
                <a:gd name="T71" fmla="*/ 10 h 248"/>
                <a:gd name="T72" fmla="*/ 895 w 932"/>
                <a:gd name="T73" fmla="*/ 4 h 248"/>
                <a:gd name="T74" fmla="*/ 884 w 932"/>
                <a:gd name="T7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2" h="248">
                  <a:moveTo>
                    <a:pt x="796" y="217"/>
                  </a:moveTo>
                  <a:lnTo>
                    <a:pt x="901" y="103"/>
                  </a:lnTo>
                  <a:lnTo>
                    <a:pt x="901" y="217"/>
                  </a:lnTo>
                  <a:lnTo>
                    <a:pt x="796" y="217"/>
                  </a:lnTo>
                  <a:close/>
                  <a:moveTo>
                    <a:pt x="31" y="193"/>
                  </a:moveTo>
                  <a:lnTo>
                    <a:pt x="177" y="31"/>
                  </a:lnTo>
                  <a:lnTo>
                    <a:pt x="291" y="31"/>
                  </a:lnTo>
                  <a:lnTo>
                    <a:pt x="117" y="217"/>
                  </a:lnTo>
                  <a:lnTo>
                    <a:pt x="31" y="217"/>
                  </a:lnTo>
                  <a:lnTo>
                    <a:pt x="31" y="193"/>
                  </a:lnTo>
                  <a:close/>
                  <a:moveTo>
                    <a:pt x="54" y="31"/>
                  </a:moveTo>
                  <a:lnTo>
                    <a:pt x="135" y="31"/>
                  </a:lnTo>
                  <a:lnTo>
                    <a:pt x="31" y="146"/>
                  </a:lnTo>
                  <a:lnTo>
                    <a:pt x="31" y="70"/>
                  </a:lnTo>
                  <a:lnTo>
                    <a:pt x="31" y="64"/>
                  </a:lnTo>
                  <a:lnTo>
                    <a:pt x="33" y="57"/>
                  </a:lnTo>
                  <a:lnTo>
                    <a:pt x="35" y="50"/>
                  </a:lnTo>
                  <a:lnTo>
                    <a:pt x="38" y="45"/>
                  </a:lnTo>
                  <a:lnTo>
                    <a:pt x="42" y="39"/>
                  </a:lnTo>
                  <a:lnTo>
                    <a:pt x="46" y="35"/>
                  </a:lnTo>
                  <a:lnTo>
                    <a:pt x="49" y="31"/>
                  </a:lnTo>
                  <a:lnTo>
                    <a:pt x="54" y="31"/>
                  </a:lnTo>
                  <a:close/>
                  <a:moveTo>
                    <a:pt x="659" y="31"/>
                  </a:moveTo>
                  <a:lnTo>
                    <a:pt x="772" y="31"/>
                  </a:lnTo>
                  <a:lnTo>
                    <a:pt x="598" y="217"/>
                  </a:lnTo>
                  <a:lnTo>
                    <a:pt x="486" y="217"/>
                  </a:lnTo>
                  <a:lnTo>
                    <a:pt x="659" y="31"/>
                  </a:lnTo>
                  <a:close/>
                  <a:moveTo>
                    <a:pt x="273" y="217"/>
                  </a:moveTo>
                  <a:lnTo>
                    <a:pt x="159" y="217"/>
                  </a:lnTo>
                  <a:lnTo>
                    <a:pt x="333" y="31"/>
                  </a:lnTo>
                  <a:lnTo>
                    <a:pt x="446" y="31"/>
                  </a:lnTo>
                  <a:lnTo>
                    <a:pt x="273" y="217"/>
                  </a:lnTo>
                  <a:close/>
                  <a:moveTo>
                    <a:pt x="488" y="31"/>
                  </a:moveTo>
                  <a:lnTo>
                    <a:pt x="617" y="31"/>
                  </a:lnTo>
                  <a:lnTo>
                    <a:pt x="444" y="217"/>
                  </a:lnTo>
                  <a:lnTo>
                    <a:pt x="315" y="217"/>
                  </a:lnTo>
                  <a:lnTo>
                    <a:pt x="488" y="31"/>
                  </a:lnTo>
                  <a:close/>
                  <a:moveTo>
                    <a:pt x="899" y="58"/>
                  </a:moveTo>
                  <a:lnTo>
                    <a:pt x="754" y="217"/>
                  </a:lnTo>
                  <a:lnTo>
                    <a:pt x="642" y="217"/>
                  </a:lnTo>
                  <a:lnTo>
                    <a:pt x="815" y="31"/>
                  </a:lnTo>
                  <a:lnTo>
                    <a:pt x="877" y="31"/>
                  </a:lnTo>
                  <a:lnTo>
                    <a:pt x="881" y="31"/>
                  </a:lnTo>
                  <a:lnTo>
                    <a:pt x="884" y="34"/>
                  </a:lnTo>
                  <a:lnTo>
                    <a:pt x="887" y="36"/>
                  </a:lnTo>
                  <a:lnTo>
                    <a:pt x="891" y="39"/>
                  </a:lnTo>
                  <a:lnTo>
                    <a:pt x="895" y="48"/>
                  </a:lnTo>
                  <a:lnTo>
                    <a:pt x="899" y="58"/>
                  </a:lnTo>
                  <a:close/>
                  <a:moveTo>
                    <a:pt x="877" y="0"/>
                  </a:moveTo>
                  <a:lnTo>
                    <a:pt x="54" y="0"/>
                  </a:lnTo>
                  <a:lnTo>
                    <a:pt x="48" y="0"/>
                  </a:lnTo>
                  <a:lnTo>
                    <a:pt x="42" y="1"/>
                  </a:lnTo>
                  <a:lnTo>
                    <a:pt x="36" y="4"/>
                  </a:lnTo>
                  <a:lnTo>
                    <a:pt x="32" y="7"/>
                  </a:lnTo>
                  <a:lnTo>
                    <a:pt x="26" y="10"/>
                  </a:lnTo>
                  <a:lnTo>
                    <a:pt x="22" y="15"/>
                  </a:lnTo>
                  <a:lnTo>
                    <a:pt x="18" y="19"/>
                  </a:lnTo>
                  <a:lnTo>
                    <a:pt x="14" y="24"/>
                  </a:lnTo>
                  <a:lnTo>
                    <a:pt x="8" y="35"/>
                  </a:lnTo>
                  <a:lnTo>
                    <a:pt x="3" y="47"/>
                  </a:lnTo>
                  <a:lnTo>
                    <a:pt x="1" y="58"/>
                  </a:lnTo>
                  <a:lnTo>
                    <a:pt x="0" y="70"/>
                  </a:lnTo>
                  <a:lnTo>
                    <a:pt x="0" y="248"/>
                  </a:lnTo>
                  <a:lnTo>
                    <a:pt x="932" y="248"/>
                  </a:lnTo>
                  <a:lnTo>
                    <a:pt x="932" y="70"/>
                  </a:lnTo>
                  <a:lnTo>
                    <a:pt x="932" y="58"/>
                  </a:lnTo>
                  <a:lnTo>
                    <a:pt x="928" y="47"/>
                  </a:lnTo>
                  <a:lnTo>
                    <a:pt x="924" y="35"/>
                  </a:lnTo>
                  <a:lnTo>
                    <a:pt x="917" y="24"/>
                  </a:lnTo>
                  <a:lnTo>
                    <a:pt x="914" y="19"/>
                  </a:lnTo>
                  <a:lnTo>
                    <a:pt x="909" y="15"/>
                  </a:lnTo>
                  <a:lnTo>
                    <a:pt x="905" y="10"/>
                  </a:lnTo>
                  <a:lnTo>
                    <a:pt x="901" y="7"/>
                  </a:lnTo>
                  <a:lnTo>
                    <a:pt x="895" y="4"/>
                  </a:lnTo>
                  <a:lnTo>
                    <a:pt x="889" y="1"/>
                  </a:lnTo>
                  <a:lnTo>
                    <a:pt x="884" y="0"/>
                  </a:lnTo>
                  <a:lnTo>
                    <a:pt x="8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2" name="Group 64">
            <a:extLst>
              <a:ext uri="{FF2B5EF4-FFF2-40B4-BE49-F238E27FC236}">
                <a16:creationId xmlns:a16="http://schemas.microsoft.com/office/drawing/2014/main" id="{BB842BDC-7E81-4614-8C16-B5C3EEAAA1B2}"/>
              </a:ext>
            </a:extLst>
          </p:cNvPr>
          <p:cNvGrpSpPr>
            <a:grpSpLocks noChangeAspect="1"/>
          </p:cNvGrpSpPr>
          <p:nvPr/>
        </p:nvGrpSpPr>
        <p:grpSpPr>
          <a:xfrm>
            <a:off x="1066904" y="2186362"/>
            <a:ext cx="304790" cy="262931"/>
            <a:chOff x="7587897" y="3110308"/>
            <a:chExt cx="287090" cy="247662"/>
          </a:xfrm>
          <a:solidFill>
            <a:schemeClr val="bg2"/>
          </a:solidFill>
          <a:effectLst/>
        </p:grpSpPr>
        <p:sp>
          <p:nvSpPr>
            <p:cNvPr id="453" name="Freeform 352">
              <a:extLst>
                <a:ext uri="{FF2B5EF4-FFF2-40B4-BE49-F238E27FC236}">
                  <a16:creationId xmlns:a16="http://schemas.microsoft.com/office/drawing/2014/main" id="{8D34C999-10B2-4BF0-AC9B-EEBB349888AC}"/>
                </a:ext>
              </a:extLst>
            </p:cNvPr>
            <p:cNvSpPr>
              <a:spLocks/>
            </p:cNvSpPr>
            <p:nvPr/>
          </p:nvSpPr>
          <p:spPr bwMode="auto">
            <a:xfrm>
              <a:off x="7823237" y="3133719"/>
              <a:ext cx="51750" cy="202073"/>
            </a:xfrm>
            <a:custGeom>
              <a:avLst/>
              <a:gdLst>
                <a:gd name="T0" fmla="*/ 23 w 169"/>
                <a:gd name="T1" fmla="*/ 2 h 658"/>
                <a:gd name="T2" fmla="*/ 18 w 169"/>
                <a:gd name="T3" fmla="*/ 0 h 658"/>
                <a:gd name="T4" fmla="*/ 11 w 169"/>
                <a:gd name="T5" fmla="*/ 0 h 658"/>
                <a:gd name="T6" fmla="*/ 7 w 169"/>
                <a:gd name="T7" fmla="*/ 3 h 658"/>
                <a:gd name="T8" fmla="*/ 2 w 169"/>
                <a:gd name="T9" fmla="*/ 8 h 658"/>
                <a:gd name="T10" fmla="*/ 0 w 169"/>
                <a:gd name="T11" fmla="*/ 13 h 658"/>
                <a:gd name="T12" fmla="*/ 1 w 169"/>
                <a:gd name="T13" fmla="*/ 20 h 658"/>
                <a:gd name="T14" fmla="*/ 3 w 169"/>
                <a:gd name="T15" fmla="*/ 24 h 658"/>
                <a:gd name="T16" fmla="*/ 21 w 169"/>
                <a:gd name="T17" fmla="*/ 41 h 658"/>
                <a:gd name="T18" fmla="*/ 49 w 169"/>
                <a:gd name="T19" fmla="*/ 72 h 658"/>
                <a:gd name="T20" fmla="*/ 73 w 169"/>
                <a:gd name="T21" fmla="*/ 106 h 658"/>
                <a:gd name="T22" fmla="*/ 93 w 169"/>
                <a:gd name="T23" fmla="*/ 142 h 658"/>
                <a:gd name="T24" fmla="*/ 111 w 169"/>
                <a:gd name="T25" fmla="*/ 181 h 658"/>
                <a:gd name="T26" fmla="*/ 123 w 169"/>
                <a:gd name="T27" fmla="*/ 221 h 658"/>
                <a:gd name="T28" fmla="*/ 132 w 169"/>
                <a:gd name="T29" fmla="*/ 263 h 658"/>
                <a:gd name="T30" fmla="*/ 137 w 169"/>
                <a:gd name="T31" fmla="*/ 307 h 658"/>
                <a:gd name="T32" fmla="*/ 137 w 169"/>
                <a:gd name="T33" fmla="*/ 351 h 658"/>
                <a:gd name="T34" fmla="*/ 132 w 169"/>
                <a:gd name="T35" fmla="*/ 394 h 658"/>
                <a:gd name="T36" fmla="*/ 123 w 169"/>
                <a:gd name="T37" fmla="*/ 437 h 658"/>
                <a:gd name="T38" fmla="*/ 111 w 169"/>
                <a:gd name="T39" fmla="*/ 478 h 658"/>
                <a:gd name="T40" fmla="*/ 93 w 169"/>
                <a:gd name="T41" fmla="*/ 516 h 658"/>
                <a:gd name="T42" fmla="*/ 73 w 169"/>
                <a:gd name="T43" fmla="*/ 552 h 658"/>
                <a:gd name="T44" fmla="*/ 49 w 169"/>
                <a:gd name="T45" fmla="*/ 586 h 658"/>
                <a:gd name="T46" fmla="*/ 21 w 169"/>
                <a:gd name="T47" fmla="*/ 617 h 658"/>
                <a:gd name="T48" fmla="*/ 3 w 169"/>
                <a:gd name="T49" fmla="*/ 633 h 658"/>
                <a:gd name="T50" fmla="*/ 1 w 169"/>
                <a:gd name="T51" fmla="*/ 639 h 658"/>
                <a:gd name="T52" fmla="*/ 0 w 169"/>
                <a:gd name="T53" fmla="*/ 644 h 658"/>
                <a:gd name="T54" fmla="*/ 2 w 169"/>
                <a:gd name="T55" fmla="*/ 650 h 658"/>
                <a:gd name="T56" fmla="*/ 7 w 169"/>
                <a:gd name="T57" fmla="*/ 656 h 658"/>
                <a:gd name="T58" fmla="*/ 12 w 169"/>
                <a:gd name="T59" fmla="*/ 658 h 658"/>
                <a:gd name="T60" fmla="*/ 21 w 169"/>
                <a:gd name="T61" fmla="*/ 658 h 658"/>
                <a:gd name="T62" fmla="*/ 42 w 169"/>
                <a:gd name="T63" fmla="*/ 639 h 658"/>
                <a:gd name="T64" fmla="*/ 72 w 169"/>
                <a:gd name="T65" fmla="*/ 606 h 658"/>
                <a:gd name="T66" fmla="*/ 99 w 169"/>
                <a:gd name="T67" fmla="*/ 570 h 658"/>
                <a:gd name="T68" fmla="*/ 121 w 169"/>
                <a:gd name="T69" fmla="*/ 530 h 658"/>
                <a:gd name="T70" fmla="*/ 140 w 169"/>
                <a:gd name="T71" fmla="*/ 489 h 658"/>
                <a:gd name="T72" fmla="*/ 153 w 169"/>
                <a:gd name="T73" fmla="*/ 446 h 658"/>
                <a:gd name="T74" fmla="*/ 163 w 169"/>
                <a:gd name="T75" fmla="*/ 400 h 658"/>
                <a:gd name="T76" fmla="*/ 168 w 169"/>
                <a:gd name="T77" fmla="*/ 353 h 658"/>
                <a:gd name="T78" fmla="*/ 168 w 169"/>
                <a:gd name="T79" fmla="*/ 306 h 658"/>
                <a:gd name="T80" fmla="*/ 163 w 169"/>
                <a:gd name="T81" fmla="*/ 259 h 658"/>
                <a:gd name="T82" fmla="*/ 153 w 169"/>
                <a:gd name="T83" fmla="*/ 213 h 658"/>
                <a:gd name="T84" fmla="*/ 140 w 169"/>
                <a:gd name="T85" fmla="*/ 170 h 658"/>
                <a:gd name="T86" fmla="*/ 121 w 169"/>
                <a:gd name="T87" fmla="*/ 128 h 658"/>
                <a:gd name="T88" fmla="*/ 99 w 169"/>
                <a:gd name="T89" fmla="*/ 89 h 658"/>
                <a:gd name="T90" fmla="*/ 72 w 169"/>
                <a:gd name="T91" fmla="*/ 52 h 658"/>
                <a:gd name="T92" fmla="*/ 42 w 169"/>
                <a:gd name="T93" fmla="*/ 1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658">
                  <a:moveTo>
                    <a:pt x="25" y="4"/>
                  </a:moveTo>
                  <a:lnTo>
                    <a:pt x="23" y="2"/>
                  </a:lnTo>
                  <a:lnTo>
                    <a:pt x="20" y="1"/>
                  </a:lnTo>
                  <a:lnTo>
                    <a:pt x="18" y="0"/>
                  </a:lnTo>
                  <a:lnTo>
                    <a:pt x="14" y="0"/>
                  </a:lnTo>
                  <a:lnTo>
                    <a:pt x="11" y="0"/>
                  </a:lnTo>
                  <a:lnTo>
                    <a:pt x="9" y="1"/>
                  </a:lnTo>
                  <a:lnTo>
                    <a:pt x="7" y="3"/>
                  </a:lnTo>
                  <a:lnTo>
                    <a:pt x="4" y="6"/>
                  </a:lnTo>
                  <a:lnTo>
                    <a:pt x="2" y="8"/>
                  </a:lnTo>
                  <a:lnTo>
                    <a:pt x="1" y="11"/>
                  </a:lnTo>
                  <a:lnTo>
                    <a:pt x="0" y="13"/>
                  </a:lnTo>
                  <a:lnTo>
                    <a:pt x="0" y="17"/>
                  </a:lnTo>
                  <a:lnTo>
                    <a:pt x="1" y="20"/>
                  </a:lnTo>
                  <a:lnTo>
                    <a:pt x="2" y="22"/>
                  </a:lnTo>
                  <a:lnTo>
                    <a:pt x="3" y="24"/>
                  </a:lnTo>
                  <a:lnTo>
                    <a:pt x="5" y="28"/>
                  </a:lnTo>
                  <a:lnTo>
                    <a:pt x="21" y="41"/>
                  </a:lnTo>
                  <a:lnTo>
                    <a:pt x="35" y="57"/>
                  </a:lnTo>
                  <a:lnTo>
                    <a:pt x="49" y="72"/>
                  </a:lnTo>
                  <a:lnTo>
                    <a:pt x="61" y="89"/>
                  </a:lnTo>
                  <a:lnTo>
                    <a:pt x="73" y="106"/>
                  </a:lnTo>
                  <a:lnTo>
                    <a:pt x="84" y="123"/>
                  </a:lnTo>
                  <a:lnTo>
                    <a:pt x="93" y="142"/>
                  </a:lnTo>
                  <a:lnTo>
                    <a:pt x="103" y="161"/>
                  </a:lnTo>
                  <a:lnTo>
                    <a:pt x="111" y="181"/>
                  </a:lnTo>
                  <a:lnTo>
                    <a:pt x="118" y="201"/>
                  </a:lnTo>
                  <a:lnTo>
                    <a:pt x="123" y="221"/>
                  </a:lnTo>
                  <a:lnTo>
                    <a:pt x="129" y="242"/>
                  </a:lnTo>
                  <a:lnTo>
                    <a:pt x="132" y="263"/>
                  </a:lnTo>
                  <a:lnTo>
                    <a:pt x="135" y="286"/>
                  </a:lnTo>
                  <a:lnTo>
                    <a:pt x="137" y="307"/>
                  </a:lnTo>
                  <a:lnTo>
                    <a:pt x="138" y="329"/>
                  </a:lnTo>
                  <a:lnTo>
                    <a:pt x="137" y="351"/>
                  </a:lnTo>
                  <a:lnTo>
                    <a:pt x="135" y="373"/>
                  </a:lnTo>
                  <a:lnTo>
                    <a:pt x="132" y="394"/>
                  </a:lnTo>
                  <a:lnTo>
                    <a:pt x="129" y="416"/>
                  </a:lnTo>
                  <a:lnTo>
                    <a:pt x="123" y="437"/>
                  </a:lnTo>
                  <a:lnTo>
                    <a:pt x="118" y="458"/>
                  </a:lnTo>
                  <a:lnTo>
                    <a:pt x="111" y="478"/>
                  </a:lnTo>
                  <a:lnTo>
                    <a:pt x="103" y="497"/>
                  </a:lnTo>
                  <a:lnTo>
                    <a:pt x="93" y="516"/>
                  </a:lnTo>
                  <a:lnTo>
                    <a:pt x="84" y="534"/>
                  </a:lnTo>
                  <a:lnTo>
                    <a:pt x="73" y="552"/>
                  </a:lnTo>
                  <a:lnTo>
                    <a:pt x="61" y="570"/>
                  </a:lnTo>
                  <a:lnTo>
                    <a:pt x="49" y="586"/>
                  </a:lnTo>
                  <a:lnTo>
                    <a:pt x="35" y="602"/>
                  </a:lnTo>
                  <a:lnTo>
                    <a:pt x="21" y="617"/>
                  </a:lnTo>
                  <a:lnTo>
                    <a:pt x="5" y="631"/>
                  </a:lnTo>
                  <a:lnTo>
                    <a:pt x="3" y="633"/>
                  </a:lnTo>
                  <a:lnTo>
                    <a:pt x="2" y="636"/>
                  </a:lnTo>
                  <a:lnTo>
                    <a:pt x="1" y="639"/>
                  </a:lnTo>
                  <a:lnTo>
                    <a:pt x="0" y="641"/>
                  </a:lnTo>
                  <a:lnTo>
                    <a:pt x="0" y="644"/>
                  </a:lnTo>
                  <a:lnTo>
                    <a:pt x="1" y="648"/>
                  </a:lnTo>
                  <a:lnTo>
                    <a:pt x="2" y="650"/>
                  </a:lnTo>
                  <a:lnTo>
                    <a:pt x="4" y="653"/>
                  </a:lnTo>
                  <a:lnTo>
                    <a:pt x="7" y="656"/>
                  </a:lnTo>
                  <a:lnTo>
                    <a:pt x="9" y="657"/>
                  </a:lnTo>
                  <a:lnTo>
                    <a:pt x="12" y="658"/>
                  </a:lnTo>
                  <a:lnTo>
                    <a:pt x="15" y="658"/>
                  </a:lnTo>
                  <a:lnTo>
                    <a:pt x="21" y="658"/>
                  </a:lnTo>
                  <a:lnTo>
                    <a:pt x="25" y="654"/>
                  </a:lnTo>
                  <a:lnTo>
                    <a:pt x="42" y="639"/>
                  </a:lnTo>
                  <a:lnTo>
                    <a:pt x="58" y="623"/>
                  </a:lnTo>
                  <a:lnTo>
                    <a:pt x="72" y="606"/>
                  </a:lnTo>
                  <a:lnTo>
                    <a:pt x="87" y="588"/>
                  </a:lnTo>
                  <a:lnTo>
                    <a:pt x="99" y="570"/>
                  </a:lnTo>
                  <a:lnTo>
                    <a:pt x="111" y="550"/>
                  </a:lnTo>
                  <a:lnTo>
                    <a:pt x="121" y="530"/>
                  </a:lnTo>
                  <a:lnTo>
                    <a:pt x="131" y="510"/>
                  </a:lnTo>
                  <a:lnTo>
                    <a:pt x="140" y="489"/>
                  </a:lnTo>
                  <a:lnTo>
                    <a:pt x="147" y="467"/>
                  </a:lnTo>
                  <a:lnTo>
                    <a:pt x="153" y="446"/>
                  </a:lnTo>
                  <a:lnTo>
                    <a:pt x="159" y="422"/>
                  </a:lnTo>
                  <a:lnTo>
                    <a:pt x="163" y="400"/>
                  </a:lnTo>
                  <a:lnTo>
                    <a:pt x="165" y="377"/>
                  </a:lnTo>
                  <a:lnTo>
                    <a:pt x="168" y="353"/>
                  </a:lnTo>
                  <a:lnTo>
                    <a:pt x="169" y="329"/>
                  </a:lnTo>
                  <a:lnTo>
                    <a:pt x="168" y="306"/>
                  </a:lnTo>
                  <a:lnTo>
                    <a:pt x="165" y="282"/>
                  </a:lnTo>
                  <a:lnTo>
                    <a:pt x="163" y="259"/>
                  </a:lnTo>
                  <a:lnTo>
                    <a:pt x="159" y="236"/>
                  </a:lnTo>
                  <a:lnTo>
                    <a:pt x="153" y="213"/>
                  </a:lnTo>
                  <a:lnTo>
                    <a:pt x="147" y="191"/>
                  </a:lnTo>
                  <a:lnTo>
                    <a:pt x="140" y="170"/>
                  </a:lnTo>
                  <a:lnTo>
                    <a:pt x="131" y="149"/>
                  </a:lnTo>
                  <a:lnTo>
                    <a:pt x="121" y="128"/>
                  </a:lnTo>
                  <a:lnTo>
                    <a:pt x="111" y="108"/>
                  </a:lnTo>
                  <a:lnTo>
                    <a:pt x="99" y="89"/>
                  </a:lnTo>
                  <a:lnTo>
                    <a:pt x="87" y="70"/>
                  </a:lnTo>
                  <a:lnTo>
                    <a:pt x="72" y="52"/>
                  </a:lnTo>
                  <a:lnTo>
                    <a:pt x="58" y="36"/>
                  </a:lnTo>
                  <a:lnTo>
                    <a:pt x="42" y="19"/>
                  </a:lnTo>
                  <a:lnTo>
                    <a:pt x="2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353">
              <a:extLst>
                <a:ext uri="{FF2B5EF4-FFF2-40B4-BE49-F238E27FC236}">
                  <a16:creationId xmlns:a16="http://schemas.microsoft.com/office/drawing/2014/main" id="{E35A8AFA-686A-4CAD-83F3-69C35347EF9D}"/>
                </a:ext>
              </a:extLst>
            </p:cNvPr>
            <p:cNvSpPr>
              <a:spLocks/>
            </p:cNvSpPr>
            <p:nvPr/>
          </p:nvSpPr>
          <p:spPr bwMode="auto">
            <a:xfrm>
              <a:off x="7793666" y="3158362"/>
              <a:ext cx="45590" cy="154019"/>
            </a:xfrm>
            <a:custGeom>
              <a:avLst/>
              <a:gdLst>
                <a:gd name="T0" fmla="*/ 22 w 149"/>
                <a:gd name="T1" fmla="*/ 1 h 501"/>
                <a:gd name="T2" fmla="*/ 17 w 149"/>
                <a:gd name="T3" fmla="*/ 0 h 501"/>
                <a:gd name="T4" fmla="*/ 11 w 149"/>
                <a:gd name="T5" fmla="*/ 0 h 501"/>
                <a:gd name="T6" fmla="*/ 6 w 149"/>
                <a:gd name="T7" fmla="*/ 3 h 501"/>
                <a:gd name="T8" fmla="*/ 2 w 149"/>
                <a:gd name="T9" fmla="*/ 8 h 501"/>
                <a:gd name="T10" fmla="*/ 0 w 149"/>
                <a:gd name="T11" fmla="*/ 13 h 501"/>
                <a:gd name="T12" fmla="*/ 0 w 149"/>
                <a:gd name="T13" fmla="*/ 19 h 501"/>
                <a:gd name="T14" fmla="*/ 3 w 149"/>
                <a:gd name="T15" fmla="*/ 24 h 501"/>
                <a:gd name="T16" fmla="*/ 18 w 149"/>
                <a:gd name="T17" fmla="*/ 38 h 501"/>
                <a:gd name="T18" fmla="*/ 41 w 149"/>
                <a:gd name="T19" fmla="*/ 61 h 501"/>
                <a:gd name="T20" fmla="*/ 61 w 149"/>
                <a:gd name="T21" fmla="*/ 88 h 501"/>
                <a:gd name="T22" fmla="*/ 79 w 149"/>
                <a:gd name="T23" fmla="*/ 115 h 501"/>
                <a:gd name="T24" fmla="*/ 95 w 149"/>
                <a:gd name="T25" fmla="*/ 144 h 501"/>
                <a:gd name="T26" fmla="*/ 106 w 149"/>
                <a:gd name="T27" fmla="*/ 174 h 501"/>
                <a:gd name="T28" fmla="*/ 113 w 149"/>
                <a:gd name="T29" fmla="*/ 204 h 501"/>
                <a:gd name="T30" fmla="*/ 117 w 149"/>
                <a:gd name="T31" fmla="*/ 235 h 501"/>
                <a:gd name="T32" fmla="*/ 117 w 149"/>
                <a:gd name="T33" fmla="*/ 265 h 501"/>
                <a:gd name="T34" fmla="*/ 113 w 149"/>
                <a:gd name="T35" fmla="*/ 295 h 501"/>
                <a:gd name="T36" fmla="*/ 106 w 149"/>
                <a:gd name="T37" fmla="*/ 325 h 501"/>
                <a:gd name="T38" fmla="*/ 95 w 149"/>
                <a:gd name="T39" fmla="*/ 355 h 501"/>
                <a:gd name="T40" fmla="*/ 79 w 149"/>
                <a:gd name="T41" fmla="*/ 384 h 501"/>
                <a:gd name="T42" fmla="*/ 61 w 149"/>
                <a:gd name="T43" fmla="*/ 412 h 501"/>
                <a:gd name="T44" fmla="*/ 41 w 149"/>
                <a:gd name="T45" fmla="*/ 439 h 501"/>
                <a:gd name="T46" fmla="*/ 18 w 149"/>
                <a:gd name="T47" fmla="*/ 462 h 501"/>
                <a:gd name="T48" fmla="*/ 3 w 149"/>
                <a:gd name="T49" fmla="*/ 475 h 501"/>
                <a:gd name="T50" fmla="*/ 0 w 149"/>
                <a:gd name="T51" fmla="*/ 481 h 501"/>
                <a:gd name="T52" fmla="*/ 0 w 149"/>
                <a:gd name="T53" fmla="*/ 487 h 501"/>
                <a:gd name="T54" fmla="*/ 2 w 149"/>
                <a:gd name="T55" fmla="*/ 492 h 501"/>
                <a:gd name="T56" fmla="*/ 6 w 149"/>
                <a:gd name="T57" fmla="*/ 498 h 501"/>
                <a:gd name="T58" fmla="*/ 12 w 149"/>
                <a:gd name="T59" fmla="*/ 500 h 501"/>
                <a:gd name="T60" fmla="*/ 21 w 149"/>
                <a:gd name="T61" fmla="*/ 500 h 501"/>
                <a:gd name="T62" fmla="*/ 39 w 149"/>
                <a:gd name="T63" fmla="*/ 485 h 501"/>
                <a:gd name="T64" fmla="*/ 65 w 149"/>
                <a:gd name="T65" fmla="*/ 459 h 501"/>
                <a:gd name="T66" fmla="*/ 87 w 149"/>
                <a:gd name="T67" fmla="*/ 430 h 501"/>
                <a:gd name="T68" fmla="*/ 107 w 149"/>
                <a:gd name="T69" fmla="*/ 400 h 501"/>
                <a:gd name="T70" fmla="*/ 122 w 149"/>
                <a:gd name="T71" fmla="*/ 368 h 501"/>
                <a:gd name="T72" fmla="*/ 136 w 149"/>
                <a:gd name="T73" fmla="*/ 334 h 501"/>
                <a:gd name="T74" fmla="*/ 143 w 149"/>
                <a:gd name="T75" fmla="*/ 300 h 501"/>
                <a:gd name="T76" fmla="*/ 148 w 149"/>
                <a:gd name="T77" fmla="*/ 267 h 501"/>
                <a:gd name="T78" fmla="*/ 148 w 149"/>
                <a:gd name="T79" fmla="*/ 233 h 501"/>
                <a:gd name="T80" fmla="*/ 143 w 149"/>
                <a:gd name="T81" fmla="*/ 200 h 501"/>
                <a:gd name="T82" fmla="*/ 136 w 149"/>
                <a:gd name="T83" fmla="*/ 167 h 501"/>
                <a:gd name="T84" fmla="*/ 122 w 149"/>
                <a:gd name="T85" fmla="*/ 133 h 501"/>
                <a:gd name="T86" fmla="*/ 107 w 149"/>
                <a:gd name="T87" fmla="*/ 101 h 501"/>
                <a:gd name="T88" fmla="*/ 87 w 149"/>
                <a:gd name="T89" fmla="*/ 70 h 501"/>
                <a:gd name="T90" fmla="*/ 65 w 149"/>
                <a:gd name="T91" fmla="*/ 41 h 501"/>
                <a:gd name="T92" fmla="*/ 39 w 149"/>
                <a:gd name="T93" fmla="*/ 1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501">
                  <a:moveTo>
                    <a:pt x="26" y="3"/>
                  </a:moveTo>
                  <a:lnTo>
                    <a:pt x="22" y="1"/>
                  </a:lnTo>
                  <a:lnTo>
                    <a:pt x="20" y="0"/>
                  </a:lnTo>
                  <a:lnTo>
                    <a:pt x="17" y="0"/>
                  </a:lnTo>
                  <a:lnTo>
                    <a:pt x="15" y="0"/>
                  </a:lnTo>
                  <a:lnTo>
                    <a:pt x="11" y="0"/>
                  </a:lnTo>
                  <a:lnTo>
                    <a:pt x="8" y="1"/>
                  </a:lnTo>
                  <a:lnTo>
                    <a:pt x="6" y="3"/>
                  </a:lnTo>
                  <a:lnTo>
                    <a:pt x="3" y="5"/>
                  </a:lnTo>
                  <a:lnTo>
                    <a:pt x="2" y="8"/>
                  </a:lnTo>
                  <a:lnTo>
                    <a:pt x="0" y="11"/>
                  </a:lnTo>
                  <a:lnTo>
                    <a:pt x="0" y="13"/>
                  </a:lnTo>
                  <a:lnTo>
                    <a:pt x="0" y="17"/>
                  </a:lnTo>
                  <a:lnTo>
                    <a:pt x="0" y="19"/>
                  </a:lnTo>
                  <a:lnTo>
                    <a:pt x="1" y="22"/>
                  </a:lnTo>
                  <a:lnTo>
                    <a:pt x="3" y="24"/>
                  </a:lnTo>
                  <a:lnTo>
                    <a:pt x="6" y="27"/>
                  </a:lnTo>
                  <a:lnTo>
                    <a:pt x="18" y="38"/>
                  </a:lnTo>
                  <a:lnTo>
                    <a:pt x="30" y="49"/>
                  </a:lnTo>
                  <a:lnTo>
                    <a:pt x="41" y="61"/>
                  </a:lnTo>
                  <a:lnTo>
                    <a:pt x="52" y="74"/>
                  </a:lnTo>
                  <a:lnTo>
                    <a:pt x="61" y="88"/>
                  </a:lnTo>
                  <a:lnTo>
                    <a:pt x="71" y="101"/>
                  </a:lnTo>
                  <a:lnTo>
                    <a:pt x="79" y="115"/>
                  </a:lnTo>
                  <a:lnTo>
                    <a:pt x="87" y="130"/>
                  </a:lnTo>
                  <a:lnTo>
                    <a:pt x="95" y="144"/>
                  </a:lnTo>
                  <a:lnTo>
                    <a:pt x="100" y="160"/>
                  </a:lnTo>
                  <a:lnTo>
                    <a:pt x="106" y="174"/>
                  </a:lnTo>
                  <a:lnTo>
                    <a:pt x="110" y="190"/>
                  </a:lnTo>
                  <a:lnTo>
                    <a:pt x="113" y="204"/>
                  </a:lnTo>
                  <a:lnTo>
                    <a:pt x="116" y="220"/>
                  </a:lnTo>
                  <a:lnTo>
                    <a:pt x="117" y="235"/>
                  </a:lnTo>
                  <a:lnTo>
                    <a:pt x="118" y="250"/>
                  </a:lnTo>
                  <a:lnTo>
                    <a:pt x="117" y="265"/>
                  </a:lnTo>
                  <a:lnTo>
                    <a:pt x="116" y="280"/>
                  </a:lnTo>
                  <a:lnTo>
                    <a:pt x="113" y="295"/>
                  </a:lnTo>
                  <a:lnTo>
                    <a:pt x="110" y="311"/>
                  </a:lnTo>
                  <a:lnTo>
                    <a:pt x="106" y="325"/>
                  </a:lnTo>
                  <a:lnTo>
                    <a:pt x="100" y="341"/>
                  </a:lnTo>
                  <a:lnTo>
                    <a:pt x="95" y="355"/>
                  </a:lnTo>
                  <a:lnTo>
                    <a:pt x="87" y="370"/>
                  </a:lnTo>
                  <a:lnTo>
                    <a:pt x="79" y="384"/>
                  </a:lnTo>
                  <a:lnTo>
                    <a:pt x="71" y="399"/>
                  </a:lnTo>
                  <a:lnTo>
                    <a:pt x="61" y="412"/>
                  </a:lnTo>
                  <a:lnTo>
                    <a:pt x="52" y="425"/>
                  </a:lnTo>
                  <a:lnTo>
                    <a:pt x="41" y="439"/>
                  </a:lnTo>
                  <a:lnTo>
                    <a:pt x="30" y="451"/>
                  </a:lnTo>
                  <a:lnTo>
                    <a:pt x="18" y="462"/>
                  </a:lnTo>
                  <a:lnTo>
                    <a:pt x="6" y="473"/>
                  </a:lnTo>
                  <a:lnTo>
                    <a:pt x="3" y="475"/>
                  </a:lnTo>
                  <a:lnTo>
                    <a:pt x="1" y="478"/>
                  </a:lnTo>
                  <a:lnTo>
                    <a:pt x="0" y="481"/>
                  </a:lnTo>
                  <a:lnTo>
                    <a:pt x="0" y="483"/>
                  </a:lnTo>
                  <a:lnTo>
                    <a:pt x="0" y="487"/>
                  </a:lnTo>
                  <a:lnTo>
                    <a:pt x="0" y="490"/>
                  </a:lnTo>
                  <a:lnTo>
                    <a:pt x="2" y="492"/>
                  </a:lnTo>
                  <a:lnTo>
                    <a:pt x="3" y="495"/>
                  </a:lnTo>
                  <a:lnTo>
                    <a:pt x="6" y="498"/>
                  </a:lnTo>
                  <a:lnTo>
                    <a:pt x="9" y="500"/>
                  </a:lnTo>
                  <a:lnTo>
                    <a:pt x="12" y="500"/>
                  </a:lnTo>
                  <a:lnTo>
                    <a:pt x="16" y="501"/>
                  </a:lnTo>
                  <a:lnTo>
                    <a:pt x="21" y="500"/>
                  </a:lnTo>
                  <a:lnTo>
                    <a:pt x="26" y="498"/>
                  </a:lnTo>
                  <a:lnTo>
                    <a:pt x="39" y="485"/>
                  </a:lnTo>
                  <a:lnTo>
                    <a:pt x="52" y="472"/>
                  </a:lnTo>
                  <a:lnTo>
                    <a:pt x="65" y="459"/>
                  </a:lnTo>
                  <a:lnTo>
                    <a:pt x="77" y="444"/>
                  </a:lnTo>
                  <a:lnTo>
                    <a:pt x="87" y="430"/>
                  </a:lnTo>
                  <a:lnTo>
                    <a:pt x="98" y="415"/>
                  </a:lnTo>
                  <a:lnTo>
                    <a:pt x="107" y="400"/>
                  </a:lnTo>
                  <a:lnTo>
                    <a:pt x="116" y="383"/>
                  </a:lnTo>
                  <a:lnTo>
                    <a:pt x="122" y="368"/>
                  </a:lnTo>
                  <a:lnTo>
                    <a:pt x="129" y="351"/>
                  </a:lnTo>
                  <a:lnTo>
                    <a:pt x="136" y="334"/>
                  </a:lnTo>
                  <a:lnTo>
                    <a:pt x="140" y="318"/>
                  </a:lnTo>
                  <a:lnTo>
                    <a:pt x="143" y="300"/>
                  </a:lnTo>
                  <a:lnTo>
                    <a:pt x="147" y="283"/>
                  </a:lnTo>
                  <a:lnTo>
                    <a:pt x="148" y="267"/>
                  </a:lnTo>
                  <a:lnTo>
                    <a:pt x="149" y="250"/>
                  </a:lnTo>
                  <a:lnTo>
                    <a:pt x="148" y="233"/>
                  </a:lnTo>
                  <a:lnTo>
                    <a:pt x="147" y="217"/>
                  </a:lnTo>
                  <a:lnTo>
                    <a:pt x="143" y="200"/>
                  </a:lnTo>
                  <a:lnTo>
                    <a:pt x="140" y="183"/>
                  </a:lnTo>
                  <a:lnTo>
                    <a:pt x="136" y="167"/>
                  </a:lnTo>
                  <a:lnTo>
                    <a:pt x="129" y="150"/>
                  </a:lnTo>
                  <a:lnTo>
                    <a:pt x="122" y="133"/>
                  </a:lnTo>
                  <a:lnTo>
                    <a:pt x="116" y="117"/>
                  </a:lnTo>
                  <a:lnTo>
                    <a:pt x="107" y="101"/>
                  </a:lnTo>
                  <a:lnTo>
                    <a:pt x="98" y="85"/>
                  </a:lnTo>
                  <a:lnTo>
                    <a:pt x="87" y="70"/>
                  </a:lnTo>
                  <a:lnTo>
                    <a:pt x="77" y="55"/>
                  </a:lnTo>
                  <a:lnTo>
                    <a:pt x="65" y="41"/>
                  </a:lnTo>
                  <a:lnTo>
                    <a:pt x="52" y="28"/>
                  </a:lnTo>
                  <a:lnTo>
                    <a:pt x="39" y="15"/>
                  </a:ln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354">
              <a:extLst>
                <a:ext uri="{FF2B5EF4-FFF2-40B4-BE49-F238E27FC236}">
                  <a16:creationId xmlns:a16="http://schemas.microsoft.com/office/drawing/2014/main" id="{F061DF87-E753-4597-90CE-CE836E294187}"/>
                </a:ext>
              </a:extLst>
            </p:cNvPr>
            <p:cNvSpPr>
              <a:spLocks/>
            </p:cNvSpPr>
            <p:nvPr/>
          </p:nvSpPr>
          <p:spPr bwMode="auto">
            <a:xfrm>
              <a:off x="7769023" y="3187934"/>
              <a:ext cx="34500" cy="94876"/>
            </a:xfrm>
            <a:custGeom>
              <a:avLst/>
              <a:gdLst>
                <a:gd name="T0" fmla="*/ 22 w 110"/>
                <a:gd name="T1" fmla="*/ 1 h 305"/>
                <a:gd name="T2" fmla="*/ 17 w 110"/>
                <a:gd name="T3" fmla="*/ 0 h 305"/>
                <a:gd name="T4" fmla="*/ 11 w 110"/>
                <a:gd name="T5" fmla="*/ 1 h 305"/>
                <a:gd name="T6" fmla="*/ 6 w 110"/>
                <a:gd name="T7" fmla="*/ 3 h 305"/>
                <a:gd name="T8" fmla="*/ 2 w 110"/>
                <a:gd name="T9" fmla="*/ 9 h 305"/>
                <a:gd name="T10" fmla="*/ 0 w 110"/>
                <a:gd name="T11" fmla="*/ 14 h 305"/>
                <a:gd name="T12" fmla="*/ 1 w 110"/>
                <a:gd name="T13" fmla="*/ 21 h 305"/>
                <a:gd name="T14" fmla="*/ 5 w 110"/>
                <a:gd name="T15" fmla="*/ 25 h 305"/>
                <a:gd name="T16" fmla="*/ 19 w 110"/>
                <a:gd name="T17" fmla="*/ 37 h 305"/>
                <a:gd name="T18" fmla="*/ 45 w 110"/>
                <a:gd name="T19" fmla="*/ 62 h 305"/>
                <a:gd name="T20" fmla="*/ 60 w 110"/>
                <a:gd name="T21" fmla="*/ 84 h 305"/>
                <a:gd name="T22" fmla="*/ 69 w 110"/>
                <a:gd name="T23" fmla="*/ 102 h 305"/>
                <a:gd name="T24" fmla="*/ 75 w 110"/>
                <a:gd name="T25" fmla="*/ 121 h 305"/>
                <a:gd name="T26" fmla="*/ 79 w 110"/>
                <a:gd name="T27" fmla="*/ 141 h 305"/>
                <a:gd name="T28" fmla="*/ 79 w 110"/>
                <a:gd name="T29" fmla="*/ 163 h 305"/>
                <a:gd name="T30" fmla="*/ 75 w 110"/>
                <a:gd name="T31" fmla="*/ 184 h 305"/>
                <a:gd name="T32" fmla="*/ 69 w 110"/>
                <a:gd name="T33" fmla="*/ 203 h 305"/>
                <a:gd name="T34" fmla="*/ 60 w 110"/>
                <a:gd name="T35" fmla="*/ 220 h 305"/>
                <a:gd name="T36" fmla="*/ 45 w 110"/>
                <a:gd name="T37" fmla="*/ 243 h 305"/>
                <a:gd name="T38" fmla="*/ 19 w 110"/>
                <a:gd name="T39" fmla="*/ 267 h 305"/>
                <a:gd name="T40" fmla="*/ 5 w 110"/>
                <a:gd name="T41" fmla="*/ 279 h 305"/>
                <a:gd name="T42" fmla="*/ 1 w 110"/>
                <a:gd name="T43" fmla="*/ 284 h 305"/>
                <a:gd name="T44" fmla="*/ 0 w 110"/>
                <a:gd name="T45" fmla="*/ 290 h 305"/>
                <a:gd name="T46" fmla="*/ 2 w 110"/>
                <a:gd name="T47" fmla="*/ 295 h 305"/>
                <a:gd name="T48" fmla="*/ 6 w 110"/>
                <a:gd name="T49" fmla="*/ 301 h 305"/>
                <a:gd name="T50" fmla="*/ 12 w 110"/>
                <a:gd name="T51" fmla="*/ 304 h 305"/>
                <a:gd name="T52" fmla="*/ 21 w 110"/>
                <a:gd name="T53" fmla="*/ 304 h 305"/>
                <a:gd name="T54" fmla="*/ 36 w 110"/>
                <a:gd name="T55" fmla="*/ 294 h 305"/>
                <a:gd name="T56" fmla="*/ 54 w 110"/>
                <a:gd name="T57" fmla="*/ 279 h 305"/>
                <a:gd name="T58" fmla="*/ 69 w 110"/>
                <a:gd name="T59" fmla="*/ 261 h 305"/>
                <a:gd name="T60" fmla="*/ 82 w 110"/>
                <a:gd name="T61" fmla="*/ 243 h 305"/>
                <a:gd name="T62" fmla="*/ 94 w 110"/>
                <a:gd name="T63" fmla="*/ 224 h 305"/>
                <a:gd name="T64" fmla="*/ 101 w 110"/>
                <a:gd name="T65" fmla="*/ 204 h 305"/>
                <a:gd name="T66" fmla="*/ 107 w 110"/>
                <a:gd name="T67" fmla="*/ 184 h 305"/>
                <a:gd name="T68" fmla="*/ 110 w 110"/>
                <a:gd name="T69" fmla="*/ 163 h 305"/>
                <a:gd name="T70" fmla="*/ 110 w 110"/>
                <a:gd name="T71" fmla="*/ 142 h 305"/>
                <a:gd name="T72" fmla="*/ 107 w 110"/>
                <a:gd name="T73" fmla="*/ 121 h 305"/>
                <a:gd name="T74" fmla="*/ 101 w 110"/>
                <a:gd name="T75" fmla="*/ 101 h 305"/>
                <a:gd name="T76" fmla="*/ 94 w 110"/>
                <a:gd name="T77" fmla="*/ 81 h 305"/>
                <a:gd name="T78" fmla="*/ 82 w 110"/>
                <a:gd name="T79" fmla="*/ 62 h 305"/>
                <a:gd name="T80" fmla="*/ 69 w 110"/>
                <a:gd name="T81" fmla="*/ 43 h 305"/>
                <a:gd name="T82" fmla="*/ 54 w 110"/>
                <a:gd name="T83" fmla="*/ 26 h 305"/>
                <a:gd name="T84" fmla="*/ 36 w 110"/>
                <a:gd name="T85" fmla="*/ 1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305">
                  <a:moveTo>
                    <a:pt x="26" y="2"/>
                  </a:moveTo>
                  <a:lnTo>
                    <a:pt x="22" y="1"/>
                  </a:lnTo>
                  <a:lnTo>
                    <a:pt x="20" y="0"/>
                  </a:lnTo>
                  <a:lnTo>
                    <a:pt x="17" y="0"/>
                  </a:lnTo>
                  <a:lnTo>
                    <a:pt x="14" y="0"/>
                  </a:lnTo>
                  <a:lnTo>
                    <a:pt x="11" y="1"/>
                  </a:lnTo>
                  <a:lnTo>
                    <a:pt x="8" y="2"/>
                  </a:lnTo>
                  <a:lnTo>
                    <a:pt x="6" y="3"/>
                  </a:lnTo>
                  <a:lnTo>
                    <a:pt x="4" y="6"/>
                  </a:lnTo>
                  <a:lnTo>
                    <a:pt x="2" y="9"/>
                  </a:lnTo>
                  <a:lnTo>
                    <a:pt x="1" y="12"/>
                  </a:lnTo>
                  <a:lnTo>
                    <a:pt x="0" y="14"/>
                  </a:lnTo>
                  <a:lnTo>
                    <a:pt x="1" y="17"/>
                  </a:lnTo>
                  <a:lnTo>
                    <a:pt x="1" y="21"/>
                  </a:lnTo>
                  <a:lnTo>
                    <a:pt x="2" y="23"/>
                  </a:lnTo>
                  <a:lnTo>
                    <a:pt x="5" y="25"/>
                  </a:lnTo>
                  <a:lnTo>
                    <a:pt x="7" y="27"/>
                  </a:lnTo>
                  <a:lnTo>
                    <a:pt x="19" y="37"/>
                  </a:lnTo>
                  <a:lnTo>
                    <a:pt x="32" y="49"/>
                  </a:lnTo>
                  <a:lnTo>
                    <a:pt x="45" y="62"/>
                  </a:lnTo>
                  <a:lnTo>
                    <a:pt x="56" y="76"/>
                  </a:lnTo>
                  <a:lnTo>
                    <a:pt x="60" y="84"/>
                  </a:lnTo>
                  <a:lnTo>
                    <a:pt x="65" y="93"/>
                  </a:lnTo>
                  <a:lnTo>
                    <a:pt x="69" y="102"/>
                  </a:lnTo>
                  <a:lnTo>
                    <a:pt x="72" y="111"/>
                  </a:lnTo>
                  <a:lnTo>
                    <a:pt x="75" y="121"/>
                  </a:lnTo>
                  <a:lnTo>
                    <a:pt x="77" y="131"/>
                  </a:lnTo>
                  <a:lnTo>
                    <a:pt x="79" y="141"/>
                  </a:lnTo>
                  <a:lnTo>
                    <a:pt x="79" y="152"/>
                  </a:lnTo>
                  <a:lnTo>
                    <a:pt x="79" y="163"/>
                  </a:lnTo>
                  <a:lnTo>
                    <a:pt x="77" y="174"/>
                  </a:lnTo>
                  <a:lnTo>
                    <a:pt x="75" y="184"/>
                  </a:lnTo>
                  <a:lnTo>
                    <a:pt x="72" y="193"/>
                  </a:lnTo>
                  <a:lnTo>
                    <a:pt x="69" y="203"/>
                  </a:lnTo>
                  <a:lnTo>
                    <a:pt x="65" y="212"/>
                  </a:lnTo>
                  <a:lnTo>
                    <a:pt x="60" y="220"/>
                  </a:lnTo>
                  <a:lnTo>
                    <a:pt x="56" y="227"/>
                  </a:lnTo>
                  <a:lnTo>
                    <a:pt x="45" y="243"/>
                  </a:lnTo>
                  <a:lnTo>
                    <a:pt x="32" y="255"/>
                  </a:lnTo>
                  <a:lnTo>
                    <a:pt x="19" y="267"/>
                  </a:lnTo>
                  <a:lnTo>
                    <a:pt x="7" y="276"/>
                  </a:lnTo>
                  <a:lnTo>
                    <a:pt x="5" y="279"/>
                  </a:lnTo>
                  <a:lnTo>
                    <a:pt x="2" y="281"/>
                  </a:lnTo>
                  <a:lnTo>
                    <a:pt x="1" y="284"/>
                  </a:lnTo>
                  <a:lnTo>
                    <a:pt x="1" y="286"/>
                  </a:lnTo>
                  <a:lnTo>
                    <a:pt x="0" y="290"/>
                  </a:lnTo>
                  <a:lnTo>
                    <a:pt x="1" y="293"/>
                  </a:lnTo>
                  <a:lnTo>
                    <a:pt x="2" y="295"/>
                  </a:lnTo>
                  <a:lnTo>
                    <a:pt x="4" y="299"/>
                  </a:lnTo>
                  <a:lnTo>
                    <a:pt x="6" y="301"/>
                  </a:lnTo>
                  <a:lnTo>
                    <a:pt x="9" y="303"/>
                  </a:lnTo>
                  <a:lnTo>
                    <a:pt x="12" y="304"/>
                  </a:lnTo>
                  <a:lnTo>
                    <a:pt x="16" y="305"/>
                  </a:lnTo>
                  <a:lnTo>
                    <a:pt x="21" y="304"/>
                  </a:lnTo>
                  <a:lnTo>
                    <a:pt x="26" y="302"/>
                  </a:lnTo>
                  <a:lnTo>
                    <a:pt x="36" y="294"/>
                  </a:lnTo>
                  <a:lnTo>
                    <a:pt x="45" y="286"/>
                  </a:lnTo>
                  <a:lnTo>
                    <a:pt x="54" y="279"/>
                  </a:lnTo>
                  <a:lnTo>
                    <a:pt x="61" y="270"/>
                  </a:lnTo>
                  <a:lnTo>
                    <a:pt x="69" y="261"/>
                  </a:lnTo>
                  <a:lnTo>
                    <a:pt x="76" y="252"/>
                  </a:lnTo>
                  <a:lnTo>
                    <a:pt x="82" y="243"/>
                  </a:lnTo>
                  <a:lnTo>
                    <a:pt x="88" y="233"/>
                  </a:lnTo>
                  <a:lnTo>
                    <a:pt x="94" y="224"/>
                  </a:lnTo>
                  <a:lnTo>
                    <a:pt x="98" y="214"/>
                  </a:lnTo>
                  <a:lnTo>
                    <a:pt x="101" y="204"/>
                  </a:lnTo>
                  <a:lnTo>
                    <a:pt x="105" y="194"/>
                  </a:lnTo>
                  <a:lnTo>
                    <a:pt x="107" y="184"/>
                  </a:lnTo>
                  <a:lnTo>
                    <a:pt x="109" y="173"/>
                  </a:lnTo>
                  <a:lnTo>
                    <a:pt x="110" y="163"/>
                  </a:lnTo>
                  <a:lnTo>
                    <a:pt x="110" y="152"/>
                  </a:lnTo>
                  <a:lnTo>
                    <a:pt x="110" y="142"/>
                  </a:lnTo>
                  <a:lnTo>
                    <a:pt x="109" y="131"/>
                  </a:lnTo>
                  <a:lnTo>
                    <a:pt x="107" y="121"/>
                  </a:lnTo>
                  <a:lnTo>
                    <a:pt x="105" y="111"/>
                  </a:lnTo>
                  <a:lnTo>
                    <a:pt x="101" y="101"/>
                  </a:lnTo>
                  <a:lnTo>
                    <a:pt x="98" y="91"/>
                  </a:lnTo>
                  <a:lnTo>
                    <a:pt x="94" y="81"/>
                  </a:lnTo>
                  <a:lnTo>
                    <a:pt x="88" y="71"/>
                  </a:lnTo>
                  <a:lnTo>
                    <a:pt x="82" y="62"/>
                  </a:lnTo>
                  <a:lnTo>
                    <a:pt x="76" y="52"/>
                  </a:lnTo>
                  <a:lnTo>
                    <a:pt x="69" y="43"/>
                  </a:lnTo>
                  <a:lnTo>
                    <a:pt x="61" y="34"/>
                  </a:lnTo>
                  <a:lnTo>
                    <a:pt x="54" y="26"/>
                  </a:lnTo>
                  <a:lnTo>
                    <a:pt x="45" y="17"/>
                  </a:lnTo>
                  <a:lnTo>
                    <a:pt x="36" y="10"/>
                  </a:lnTo>
                  <a:lnTo>
                    <a:pt x="2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355">
              <a:extLst>
                <a:ext uri="{FF2B5EF4-FFF2-40B4-BE49-F238E27FC236}">
                  <a16:creationId xmlns:a16="http://schemas.microsoft.com/office/drawing/2014/main" id="{C6C6E968-8D32-4595-A4B7-4A7A4D98BC46}"/>
                </a:ext>
              </a:extLst>
            </p:cNvPr>
            <p:cNvSpPr>
              <a:spLocks noEditPoints="1"/>
            </p:cNvSpPr>
            <p:nvPr/>
          </p:nvSpPr>
          <p:spPr bwMode="auto">
            <a:xfrm>
              <a:off x="7587897" y="3110308"/>
              <a:ext cx="154019" cy="247662"/>
            </a:xfrm>
            <a:custGeom>
              <a:avLst/>
              <a:gdLst>
                <a:gd name="T0" fmla="*/ 224 w 497"/>
                <a:gd name="T1" fmla="*/ 531 h 807"/>
                <a:gd name="T2" fmla="*/ 213 w 497"/>
                <a:gd name="T3" fmla="*/ 527 h 807"/>
                <a:gd name="T4" fmla="*/ 67 w 497"/>
                <a:gd name="T5" fmla="*/ 526 h 807"/>
                <a:gd name="T6" fmla="*/ 52 w 497"/>
                <a:gd name="T7" fmla="*/ 519 h 807"/>
                <a:gd name="T8" fmla="*/ 41 w 497"/>
                <a:gd name="T9" fmla="*/ 508 h 807"/>
                <a:gd name="T10" fmla="*/ 34 w 497"/>
                <a:gd name="T11" fmla="*/ 492 h 807"/>
                <a:gd name="T12" fmla="*/ 31 w 497"/>
                <a:gd name="T13" fmla="*/ 356 h 807"/>
                <a:gd name="T14" fmla="*/ 33 w 497"/>
                <a:gd name="T15" fmla="*/ 341 h 807"/>
                <a:gd name="T16" fmla="*/ 37 w 497"/>
                <a:gd name="T17" fmla="*/ 326 h 807"/>
                <a:gd name="T18" fmla="*/ 48 w 497"/>
                <a:gd name="T19" fmla="*/ 314 h 807"/>
                <a:gd name="T20" fmla="*/ 55 w 497"/>
                <a:gd name="T21" fmla="*/ 310 h 807"/>
                <a:gd name="T22" fmla="*/ 65 w 497"/>
                <a:gd name="T23" fmla="*/ 309 h 807"/>
                <a:gd name="T24" fmla="*/ 205 w 497"/>
                <a:gd name="T25" fmla="*/ 309 h 807"/>
                <a:gd name="T26" fmla="*/ 211 w 497"/>
                <a:gd name="T27" fmla="*/ 307 h 807"/>
                <a:gd name="T28" fmla="*/ 466 w 497"/>
                <a:gd name="T29" fmla="*/ 52 h 807"/>
                <a:gd name="T30" fmla="*/ 487 w 497"/>
                <a:gd name="T31" fmla="*/ 0 h 807"/>
                <a:gd name="T32" fmla="*/ 478 w 497"/>
                <a:gd name="T33" fmla="*/ 0 h 807"/>
                <a:gd name="T34" fmla="*/ 471 w 497"/>
                <a:gd name="T35" fmla="*/ 5 h 807"/>
                <a:gd name="T36" fmla="*/ 65 w 497"/>
                <a:gd name="T37" fmla="*/ 278 h 807"/>
                <a:gd name="T38" fmla="*/ 51 w 497"/>
                <a:gd name="T39" fmla="*/ 279 h 807"/>
                <a:gd name="T40" fmla="*/ 38 w 497"/>
                <a:gd name="T41" fmla="*/ 284 h 807"/>
                <a:gd name="T42" fmla="*/ 27 w 497"/>
                <a:gd name="T43" fmla="*/ 290 h 807"/>
                <a:gd name="T44" fmla="*/ 18 w 497"/>
                <a:gd name="T45" fmla="*/ 300 h 807"/>
                <a:gd name="T46" fmla="*/ 11 w 497"/>
                <a:gd name="T47" fmla="*/ 311 h 807"/>
                <a:gd name="T48" fmla="*/ 5 w 497"/>
                <a:gd name="T49" fmla="*/ 325 h 807"/>
                <a:gd name="T50" fmla="*/ 1 w 497"/>
                <a:gd name="T51" fmla="*/ 339 h 807"/>
                <a:gd name="T52" fmla="*/ 0 w 497"/>
                <a:gd name="T53" fmla="*/ 356 h 807"/>
                <a:gd name="T54" fmla="*/ 2 w 497"/>
                <a:gd name="T55" fmla="*/ 491 h 807"/>
                <a:gd name="T56" fmla="*/ 5 w 497"/>
                <a:gd name="T57" fmla="*/ 506 h 807"/>
                <a:gd name="T58" fmla="*/ 11 w 497"/>
                <a:gd name="T59" fmla="*/ 519 h 807"/>
                <a:gd name="T60" fmla="*/ 18 w 497"/>
                <a:gd name="T61" fmla="*/ 530 h 807"/>
                <a:gd name="T62" fmla="*/ 28 w 497"/>
                <a:gd name="T63" fmla="*/ 541 h 807"/>
                <a:gd name="T64" fmla="*/ 41 w 497"/>
                <a:gd name="T65" fmla="*/ 549 h 807"/>
                <a:gd name="T66" fmla="*/ 54 w 497"/>
                <a:gd name="T67" fmla="*/ 555 h 807"/>
                <a:gd name="T68" fmla="*/ 68 w 497"/>
                <a:gd name="T69" fmla="*/ 558 h 807"/>
                <a:gd name="T70" fmla="*/ 207 w 497"/>
                <a:gd name="T71" fmla="*/ 558 h 807"/>
                <a:gd name="T72" fmla="*/ 476 w 497"/>
                <a:gd name="T73" fmla="*/ 806 h 807"/>
                <a:gd name="T74" fmla="*/ 485 w 497"/>
                <a:gd name="T75" fmla="*/ 806 h 807"/>
                <a:gd name="T76" fmla="*/ 492 w 497"/>
                <a:gd name="T77" fmla="*/ 802 h 807"/>
                <a:gd name="T78" fmla="*/ 496 w 497"/>
                <a:gd name="T79" fmla="*/ 796 h 807"/>
                <a:gd name="T80" fmla="*/ 497 w 497"/>
                <a:gd name="T81" fmla="*/ 16 h 807"/>
                <a:gd name="T82" fmla="*/ 495 w 497"/>
                <a:gd name="T83" fmla="*/ 7 h 807"/>
                <a:gd name="T84" fmla="*/ 487 w 497"/>
                <a:gd name="T85"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807">
                  <a:moveTo>
                    <a:pt x="466" y="756"/>
                  </a:moveTo>
                  <a:lnTo>
                    <a:pt x="224" y="531"/>
                  </a:lnTo>
                  <a:lnTo>
                    <a:pt x="219" y="528"/>
                  </a:lnTo>
                  <a:lnTo>
                    <a:pt x="213" y="527"/>
                  </a:lnTo>
                  <a:lnTo>
                    <a:pt x="76" y="527"/>
                  </a:lnTo>
                  <a:lnTo>
                    <a:pt x="67" y="526"/>
                  </a:lnTo>
                  <a:lnTo>
                    <a:pt x="60" y="524"/>
                  </a:lnTo>
                  <a:lnTo>
                    <a:pt x="52" y="519"/>
                  </a:lnTo>
                  <a:lnTo>
                    <a:pt x="45" y="514"/>
                  </a:lnTo>
                  <a:lnTo>
                    <a:pt x="41" y="508"/>
                  </a:lnTo>
                  <a:lnTo>
                    <a:pt x="36" y="500"/>
                  </a:lnTo>
                  <a:lnTo>
                    <a:pt x="34" y="492"/>
                  </a:lnTo>
                  <a:lnTo>
                    <a:pt x="33" y="484"/>
                  </a:lnTo>
                  <a:lnTo>
                    <a:pt x="31" y="356"/>
                  </a:lnTo>
                  <a:lnTo>
                    <a:pt x="32" y="349"/>
                  </a:lnTo>
                  <a:lnTo>
                    <a:pt x="33" y="341"/>
                  </a:lnTo>
                  <a:lnTo>
                    <a:pt x="34" y="334"/>
                  </a:lnTo>
                  <a:lnTo>
                    <a:pt x="37" y="326"/>
                  </a:lnTo>
                  <a:lnTo>
                    <a:pt x="42" y="319"/>
                  </a:lnTo>
                  <a:lnTo>
                    <a:pt x="48" y="314"/>
                  </a:lnTo>
                  <a:lnTo>
                    <a:pt x="52" y="312"/>
                  </a:lnTo>
                  <a:lnTo>
                    <a:pt x="55" y="310"/>
                  </a:lnTo>
                  <a:lnTo>
                    <a:pt x="60" y="309"/>
                  </a:lnTo>
                  <a:lnTo>
                    <a:pt x="65" y="309"/>
                  </a:lnTo>
                  <a:lnTo>
                    <a:pt x="202" y="309"/>
                  </a:lnTo>
                  <a:lnTo>
                    <a:pt x="205" y="309"/>
                  </a:lnTo>
                  <a:lnTo>
                    <a:pt x="207" y="308"/>
                  </a:lnTo>
                  <a:lnTo>
                    <a:pt x="211" y="307"/>
                  </a:lnTo>
                  <a:lnTo>
                    <a:pt x="213" y="305"/>
                  </a:lnTo>
                  <a:lnTo>
                    <a:pt x="466" y="52"/>
                  </a:lnTo>
                  <a:lnTo>
                    <a:pt x="466" y="756"/>
                  </a:lnTo>
                  <a:close/>
                  <a:moveTo>
                    <a:pt x="487" y="0"/>
                  </a:moveTo>
                  <a:lnTo>
                    <a:pt x="483" y="0"/>
                  </a:lnTo>
                  <a:lnTo>
                    <a:pt x="478" y="0"/>
                  </a:lnTo>
                  <a:lnTo>
                    <a:pt x="474" y="1"/>
                  </a:lnTo>
                  <a:lnTo>
                    <a:pt x="471" y="5"/>
                  </a:lnTo>
                  <a:lnTo>
                    <a:pt x="195" y="278"/>
                  </a:lnTo>
                  <a:lnTo>
                    <a:pt x="65" y="278"/>
                  </a:lnTo>
                  <a:lnTo>
                    <a:pt x="57" y="278"/>
                  </a:lnTo>
                  <a:lnTo>
                    <a:pt x="51" y="279"/>
                  </a:lnTo>
                  <a:lnTo>
                    <a:pt x="44" y="281"/>
                  </a:lnTo>
                  <a:lnTo>
                    <a:pt x="38" y="284"/>
                  </a:lnTo>
                  <a:lnTo>
                    <a:pt x="33" y="287"/>
                  </a:lnTo>
                  <a:lnTo>
                    <a:pt x="27" y="290"/>
                  </a:lnTo>
                  <a:lnTo>
                    <a:pt x="23" y="295"/>
                  </a:lnTo>
                  <a:lnTo>
                    <a:pt x="18" y="300"/>
                  </a:lnTo>
                  <a:lnTo>
                    <a:pt x="14" y="305"/>
                  </a:lnTo>
                  <a:lnTo>
                    <a:pt x="11" y="311"/>
                  </a:lnTo>
                  <a:lnTo>
                    <a:pt x="7" y="318"/>
                  </a:lnTo>
                  <a:lnTo>
                    <a:pt x="5" y="325"/>
                  </a:lnTo>
                  <a:lnTo>
                    <a:pt x="3" y="331"/>
                  </a:lnTo>
                  <a:lnTo>
                    <a:pt x="1" y="339"/>
                  </a:lnTo>
                  <a:lnTo>
                    <a:pt x="0" y="348"/>
                  </a:lnTo>
                  <a:lnTo>
                    <a:pt x="0" y="356"/>
                  </a:lnTo>
                  <a:lnTo>
                    <a:pt x="2" y="484"/>
                  </a:lnTo>
                  <a:lnTo>
                    <a:pt x="2" y="491"/>
                  </a:lnTo>
                  <a:lnTo>
                    <a:pt x="3" y="498"/>
                  </a:lnTo>
                  <a:lnTo>
                    <a:pt x="5" y="506"/>
                  </a:lnTo>
                  <a:lnTo>
                    <a:pt x="7" y="512"/>
                  </a:lnTo>
                  <a:lnTo>
                    <a:pt x="11" y="519"/>
                  </a:lnTo>
                  <a:lnTo>
                    <a:pt x="14" y="525"/>
                  </a:lnTo>
                  <a:lnTo>
                    <a:pt x="18" y="530"/>
                  </a:lnTo>
                  <a:lnTo>
                    <a:pt x="24" y="536"/>
                  </a:lnTo>
                  <a:lnTo>
                    <a:pt x="28" y="541"/>
                  </a:lnTo>
                  <a:lnTo>
                    <a:pt x="35" y="545"/>
                  </a:lnTo>
                  <a:lnTo>
                    <a:pt x="41" y="549"/>
                  </a:lnTo>
                  <a:lnTo>
                    <a:pt x="47" y="552"/>
                  </a:lnTo>
                  <a:lnTo>
                    <a:pt x="54" y="555"/>
                  </a:lnTo>
                  <a:lnTo>
                    <a:pt x="61" y="556"/>
                  </a:lnTo>
                  <a:lnTo>
                    <a:pt x="68" y="558"/>
                  </a:lnTo>
                  <a:lnTo>
                    <a:pt x="76" y="558"/>
                  </a:lnTo>
                  <a:lnTo>
                    <a:pt x="207" y="558"/>
                  </a:lnTo>
                  <a:lnTo>
                    <a:pt x="471" y="802"/>
                  </a:lnTo>
                  <a:lnTo>
                    <a:pt x="476" y="806"/>
                  </a:lnTo>
                  <a:lnTo>
                    <a:pt x="482" y="807"/>
                  </a:lnTo>
                  <a:lnTo>
                    <a:pt x="485" y="806"/>
                  </a:lnTo>
                  <a:lnTo>
                    <a:pt x="487" y="805"/>
                  </a:lnTo>
                  <a:lnTo>
                    <a:pt x="492" y="802"/>
                  </a:lnTo>
                  <a:lnTo>
                    <a:pt x="495" y="799"/>
                  </a:lnTo>
                  <a:lnTo>
                    <a:pt x="496" y="796"/>
                  </a:lnTo>
                  <a:lnTo>
                    <a:pt x="497" y="791"/>
                  </a:lnTo>
                  <a:lnTo>
                    <a:pt x="497" y="16"/>
                  </a:lnTo>
                  <a:lnTo>
                    <a:pt x="496" y="10"/>
                  </a:lnTo>
                  <a:lnTo>
                    <a:pt x="495" y="7"/>
                  </a:lnTo>
                  <a:lnTo>
                    <a:pt x="492" y="4"/>
                  </a:lnTo>
                  <a:lnTo>
                    <a:pt x="4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8" name="Group 6226">
            <a:extLst>
              <a:ext uri="{FF2B5EF4-FFF2-40B4-BE49-F238E27FC236}">
                <a16:creationId xmlns:a16="http://schemas.microsoft.com/office/drawing/2014/main" id="{EE645B66-D79F-4C45-949C-F0C47DF10A61}"/>
              </a:ext>
            </a:extLst>
          </p:cNvPr>
          <p:cNvGrpSpPr>
            <a:grpSpLocks noChangeAspect="1"/>
          </p:cNvGrpSpPr>
          <p:nvPr/>
        </p:nvGrpSpPr>
        <p:grpSpPr>
          <a:xfrm>
            <a:off x="3656216" y="2186361"/>
            <a:ext cx="294696" cy="306484"/>
            <a:chOff x="2159000" y="4090988"/>
            <a:chExt cx="357188" cy="371476"/>
          </a:xfrm>
          <a:solidFill>
            <a:schemeClr val="bg2"/>
          </a:solidFill>
          <a:effectLst/>
        </p:grpSpPr>
        <p:sp>
          <p:nvSpPr>
            <p:cNvPr id="459" name="Freeform 129">
              <a:extLst>
                <a:ext uri="{FF2B5EF4-FFF2-40B4-BE49-F238E27FC236}">
                  <a16:creationId xmlns:a16="http://schemas.microsoft.com/office/drawing/2014/main" id="{48267947-2A74-4D35-9E34-E3A21FE9CFC5}"/>
                </a:ext>
              </a:extLst>
            </p:cNvPr>
            <p:cNvSpPr>
              <a:spLocks noEditPoints="1"/>
            </p:cNvSpPr>
            <p:nvPr/>
          </p:nvSpPr>
          <p:spPr bwMode="auto">
            <a:xfrm>
              <a:off x="2159000" y="4090988"/>
              <a:ext cx="357188" cy="61913"/>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0" name="Freeform 130">
              <a:extLst>
                <a:ext uri="{FF2B5EF4-FFF2-40B4-BE49-F238E27FC236}">
                  <a16:creationId xmlns:a16="http://schemas.microsoft.com/office/drawing/2014/main" id="{D0280A84-C3D3-4DC4-A674-83489A2C85C1}"/>
                </a:ext>
              </a:extLst>
            </p:cNvPr>
            <p:cNvSpPr>
              <a:spLocks/>
            </p:cNvSpPr>
            <p:nvPr/>
          </p:nvSpPr>
          <p:spPr bwMode="auto">
            <a:xfrm>
              <a:off x="2159000" y="4354513"/>
              <a:ext cx="357188"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1" name="Freeform 131">
              <a:extLst>
                <a:ext uri="{FF2B5EF4-FFF2-40B4-BE49-F238E27FC236}">
                  <a16:creationId xmlns:a16="http://schemas.microsoft.com/office/drawing/2014/main" id="{64FAC11D-BB8F-404D-90BC-A9E1764B16EC}"/>
                </a:ext>
              </a:extLst>
            </p:cNvPr>
            <p:cNvSpPr>
              <a:spLocks noEditPoints="1"/>
            </p:cNvSpPr>
            <p:nvPr/>
          </p:nvSpPr>
          <p:spPr bwMode="auto">
            <a:xfrm>
              <a:off x="2190750" y="4137026"/>
              <a:ext cx="293688" cy="233363"/>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2" name="Rectangle 132">
              <a:extLst>
                <a:ext uri="{FF2B5EF4-FFF2-40B4-BE49-F238E27FC236}">
                  <a16:creationId xmlns:a16="http://schemas.microsoft.com/office/drawing/2014/main" id="{BD00A73F-4453-4F4D-BD86-AA0C925F2DD7}"/>
                </a:ext>
              </a:extLst>
            </p:cNvPr>
            <p:cNvSpPr>
              <a:spLocks noChangeArrowheads="1"/>
            </p:cNvSpPr>
            <p:nvPr/>
          </p:nvSpPr>
          <p:spPr bwMode="auto">
            <a:xfrm>
              <a:off x="2328863" y="4362451"/>
              <a:ext cx="158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3" name="Freeform 133">
              <a:extLst>
                <a:ext uri="{FF2B5EF4-FFF2-40B4-BE49-F238E27FC236}">
                  <a16:creationId xmlns:a16="http://schemas.microsoft.com/office/drawing/2014/main" id="{8F85AF5F-8FF7-4886-BC42-0EEF2416660D}"/>
                </a:ext>
              </a:extLst>
            </p:cNvPr>
            <p:cNvSpPr>
              <a:spLocks noEditPoints="1"/>
            </p:cNvSpPr>
            <p:nvPr/>
          </p:nvSpPr>
          <p:spPr bwMode="auto">
            <a:xfrm>
              <a:off x="2306638" y="440055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4" name="Freeform 134">
              <a:extLst>
                <a:ext uri="{FF2B5EF4-FFF2-40B4-BE49-F238E27FC236}">
                  <a16:creationId xmlns:a16="http://schemas.microsoft.com/office/drawing/2014/main" id="{6F3BEC91-FF82-4188-A891-3D6F60BE01FF}"/>
                </a:ext>
              </a:extLst>
            </p:cNvPr>
            <p:cNvSpPr>
              <a:spLocks/>
            </p:cNvSpPr>
            <p:nvPr/>
          </p:nvSpPr>
          <p:spPr bwMode="auto">
            <a:xfrm>
              <a:off x="2239963" y="4195763"/>
              <a:ext cx="182563" cy="123825"/>
            </a:xfrm>
            <a:custGeom>
              <a:avLst/>
              <a:gdLst>
                <a:gd name="T0" fmla="*/ 3 w 47"/>
                <a:gd name="T1" fmla="*/ 32 h 32"/>
                <a:gd name="T2" fmla="*/ 0 w 47"/>
                <a:gd name="T3" fmla="*/ 30 h 32"/>
                <a:gd name="T4" fmla="*/ 11 w 47"/>
                <a:gd name="T5" fmla="*/ 11 h 32"/>
                <a:gd name="T6" fmla="*/ 13 w 47"/>
                <a:gd name="T7" fmla="*/ 10 h 32"/>
                <a:gd name="T8" fmla="*/ 15 w 47"/>
                <a:gd name="T9" fmla="*/ 10 h 32"/>
                <a:gd name="T10" fmla="*/ 22 w 47"/>
                <a:gd name="T11" fmla="*/ 20 h 32"/>
                <a:gd name="T12" fmla="*/ 31 w 47"/>
                <a:gd name="T13" fmla="*/ 1 h 32"/>
                <a:gd name="T14" fmla="*/ 33 w 47"/>
                <a:gd name="T15" fmla="*/ 0 h 32"/>
                <a:gd name="T16" fmla="*/ 35 w 47"/>
                <a:gd name="T17" fmla="*/ 1 h 32"/>
                <a:gd name="T18" fmla="*/ 47 w 47"/>
                <a:gd name="T19" fmla="*/ 30 h 32"/>
                <a:gd name="T20" fmla="*/ 43 w 47"/>
                <a:gd name="T21" fmla="*/ 32 h 32"/>
                <a:gd name="T22" fmla="*/ 33 w 47"/>
                <a:gd name="T23" fmla="*/ 7 h 32"/>
                <a:gd name="T24" fmla="*/ 25 w 47"/>
                <a:gd name="T25" fmla="*/ 24 h 32"/>
                <a:gd name="T26" fmla="*/ 23 w 47"/>
                <a:gd name="T27" fmla="*/ 26 h 32"/>
                <a:gd name="T28" fmla="*/ 21 w 47"/>
                <a:gd name="T29" fmla="*/ 25 h 32"/>
                <a:gd name="T30" fmla="*/ 13 w 47"/>
                <a:gd name="T31" fmla="*/ 15 h 32"/>
                <a:gd name="T32" fmla="*/ 3 w 47"/>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32">
                  <a:moveTo>
                    <a:pt x="3" y="32"/>
                  </a:moveTo>
                  <a:cubicBezTo>
                    <a:pt x="0" y="30"/>
                    <a:pt x="0" y="30"/>
                    <a:pt x="0" y="30"/>
                  </a:cubicBezTo>
                  <a:cubicBezTo>
                    <a:pt x="11" y="11"/>
                    <a:pt x="11" y="11"/>
                    <a:pt x="11" y="11"/>
                  </a:cubicBezTo>
                  <a:cubicBezTo>
                    <a:pt x="12" y="10"/>
                    <a:pt x="12" y="10"/>
                    <a:pt x="13" y="10"/>
                  </a:cubicBezTo>
                  <a:cubicBezTo>
                    <a:pt x="13" y="10"/>
                    <a:pt x="14" y="10"/>
                    <a:pt x="15" y="10"/>
                  </a:cubicBezTo>
                  <a:cubicBezTo>
                    <a:pt x="22" y="20"/>
                    <a:pt x="22" y="20"/>
                    <a:pt x="22" y="20"/>
                  </a:cubicBezTo>
                  <a:cubicBezTo>
                    <a:pt x="31" y="1"/>
                    <a:pt x="31" y="1"/>
                    <a:pt x="31" y="1"/>
                  </a:cubicBezTo>
                  <a:cubicBezTo>
                    <a:pt x="32" y="0"/>
                    <a:pt x="32" y="0"/>
                    <a:pt x="33" y="0"/>
                  </a:cubicBezTo>
                  <a:cubicBezTo>
                    <a:pt x="34" y="0"/>
                    <a:pt x="35" y="0"/>
                    <a:pt x="35" y="1"/>
                  </a:cubicBezTo>
                  <a:cubicBezTo>
                    <a:pt x="47" y="30"/>
                    <a:pt x="47" y="30"/>
                    <a:pt x="47" y="30"/>
                  </a:cubicBezTo>
                  <a:cubicBezTo>
                    <a:pt x="43" y="32"/>
                    <a:pt x="43" y="32"/>
                    <a:pt x="43" y="32"/>
                  </a:cubicBezTo>
                  <a:cubicBezTo>
                    <a:pt x="33" y="7"/>
                    <a:pt x="33" y="7"/>
                    <a:pt x="33" y="7"/>
                  </a:cubicBezTo>
                  <a:cubicBezTo>
                    <a:pt x="25" y="24"/>
                    <a:pt x="25" y="24"/>
                    <a:pt x="25" y="24"/>
                  </a:cubicBezTo>
                  <a:cubicBezTo>
                    <a:pt x="25" y="25"/>
                    <a:pt x="24" y="26"/>
                    <a:pt x="23" y="26"/>
                  </a:cubicBezTo>
                  <a:cubicBezTo>
                    <a:pt x="23" y="26"/>
                    <a:pt x="22" y="25"/>
                    <a:pt x="21" y="25"/>
                  </a:cubicBezTo>
                  <a:cubicBezTo>
                    <a:pt x="13" y="15"/>
                    <a:pt x="13" y="15"/>
                    <a:pt x="13" y="15"/>
                  </a:cubicBezTo>
                  <a:lnTo>
                    <a:pt x="3"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5" name="Freeform 135">
              <a:extLst>
                <a:ext uri="{FF2B5EF4-FFF2-40B4-BE49-F238E27FC236}">
                  <a16:creationId xmlns:a16="http://schemas.microsoft.com/office/drawing/2014/main" id="{72528745-CDB9-4531-BC23-10892CB0612B}"/>
                </a:ext>
              </a:extLst>
            </p:cNvPr>
            <p:cNvSpPr>
              <a:spLocks/>
            </p:cNvSpPr>
            <p:nvPr/>
          </p:nvSpPr>
          <p:spPr bwMode="auto">
            <a:xfrm>
              <a:off x="2220913" y="4308476"/>
              <a:ext cx="233363" cy="14288"/>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6" name="Oval 136">
              <a:extLst>
                <a:ext uri="{FF2B5EF4-FFF2-40B4-BE49-F238E27FC236}">
                  <a16:creationId xmlns:a16="http://schemas.microsoft.com/office/drawing/2014/main" id="{C9940350-44C0-43B3-AD5E-AA6F5124C0FB}"/>
                </a:ext>
              </a:extLst>
            </p:cNvPr>
            <p:cNvSpPr>
              <a:spLocks noChangeArrowheads="1"/>
            </p:cNvSpPr>
            <p:nvPr/>
          </p:nvSpPr>
          <p:spPr bwMode="auto">
            <a:xfrm>
              <a:off x="2252663" y="4184651"/>
              <a:ext cx="30163"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67" name="Freeform 260">
            <a:extLst>
              <a:ext uri="{FF2B5EF4-FFF2-40B4-BE49-F238E27FC236}">
                <a16:creationId xmlns:a16="http://schemas.microsoft.com/office/drawing/2014/main" id="{B7F470E8-9266-4987-BB5A-8743D8AE9256}"/>
              </a:ext>
            </a:extLst>
          </p:cNvPr>
          <p:cNvSpPr>
            <a:spLocks noChangeAspect="1" noEditPoints="1"/>
          </p:cNvSpPr>
          <p:nvPr/>
        </p:nvSpPr>
        <p:spPr bwMode="auto">
          <a:xfrm>
            <a:off x="1514906" y="2186361"/>
            <a:ext cx="213491" cy="306484"/>
          </a:xfrm>
          <a:custGeom>
            <a:avLst/>
            <a:gdLst>
              <a:gd name="T0" fmla="*/ 207 w 653"/>
              <a:gd name="T1" fmla="*/ 756 h 932"/>
              <a:gd name="T2" fmla="*/ 102 w 653"/>
              <a:gd name="T3" fmla="*/ 681 h 932"/>
              <a:gd name="T4" fmla="*/ 44 w 653"/>
              <a:gd name="T5" fmla="*/ 576 h 932"/>
              <a:gd name="T6" fmla="*/ 66 w 653"/>
              <a:gd name="T7" fmla="*/ 520 h 932"/>
              <a:gd name="T8" fmla="*/ 131 w 653"/>
              <a:gd name="T9" fmla="*/ 644 h 932"/>
              <a:gd name="T10" fmla="*/ 276 w 653"/>
              <a:gd name="T11" fmla="*/ 725 h 932"/>
              <a:gd name="T12" fmla="*/ 388 w 653"/>
              <a:gd name="T13" fmla="*/ 722 h 932"/>
              <a:gd name="T14" fmla="*/ 538 w 653"/>
              <a:gd name="T15" fmla="*/ 625 h 932"/>
              <a:gd name="T16" fmla="*/ 588 w 653"/>
              <a:gd name="T17" fmla="*/ 509 h 932"/>
              <a:gd name="T18" fmla="*/ 600 w 653"/>
              <a:gd name="T19" fmla="*/ 595 h 932"/>
              <a:gd name="T20" fmla="*/ 530 w 653"/>
              <a:gd name="T21" fmla="*/ 698 h 932"/>
              <a:gd name="T22" fmla="*/ 424 w 653"/>
              <a:gd name="T23" fmla="*/ 762 h 932"/>
              <a:gd name="T24" fmla="*/ 556 w 653"/>
              <a:gd name="T25" fmla="*/ 516 h 932"/>
              <a:gd name="T26" fmla="*/ 448 w 653"/>
              <a:gd name="T27" fmla="*/ 663 h 932"/>
              <a:gd name="T28" fmla="*/ 263 w 653"/>
              <a:gd name="T29" fmla="*/ 689 h 932"/>
              <a:gd name="T30" fmla="*/ 118 w 653"/>
              <a:gd name="T31" fmla="*/ 573 h 932"/>
              <a:gd name="T32" fmla="*/ 252 w 653"/>
              <a:gd name="T33" fmla="*/ 433 h 932"/>
              <a:gd name="T34" fmla="*/ 258 w 653"/>
              <a:gd name="T35" fmla="*/ 410 h 932"/>
              <a:gd name="T36" fmla="*/ 248 w 653"/>
              <a:gd name="T37" fmla="*/ 341 h 932"/>
              <a:gd name="T38" fmla="*/ 260 w 653"/>
              <a:gd name="T39" fmla="*/ 320 h 932"/>
              <a:gd name="T40" fmla="*/ 245 w 653"/>
              <a:gd name="T41" fmla="*/ 248 h 932"/>
              <a:gd name="T42" fmla="*/ 261 w 653"/>
              <a:gd name="T43" fmla="*/ 230 h 932"/>
              <a:gd name="T44" fmla="*/ 97 w 653"/>
              <a:gd name="T45" fmla="*/ 203 h 932"/>
              <a:gd name="T46" fmla="*/ 154 w 653"/>
              <a:gd name="T47" fmla="*/ 99 h 932"/>
              <a:gd name="T48" fmla="*/ 218 w 653"/>
              <a:gd name="T49" fmla="*/ 130 h 932"/>
              <a:gd name="T50" fmla="*/ 242 w 653"/>
              <a:gd name="T51" fmla="*/ 136 h 932"/>
              <a:gd name="T52" fmla="*/ 295 w 653"/>
              <a:gd name="T53" fmla="*/ 32 h 932"/>
              <a:gd name="T54" fmla="*/ 323 w 653"/>
              <a:gd name="T55" fmla="*/ 139 h 932"/>
              <a:gd name="T56" fmla="*/ 342 w 653"/>
              <a:gd name="T57" fmla="*/ 123 h 932"/>
              <a:gd name="T58" fmla="*/ 406 w 653"/>
              <a:gd name="T59" fmla="*/ 132 h 932"/>
              <a:gd name="T60" fmla="*/ 431 w 653"/>
              <a:gd name="T61" fmla="*/ 134 h 932"/>
              <a:gd name="T62" fmla="*/ 480 w 653"/>
              <a:gd name="T63" fmla="*/ 89 h 932"/>
              <a:gd name="T64" fmla="*/ 547 w 653"/>
              <a:gd name="T65" fmla="*/ 181 h 932"/>
              <a:gd name="T66" fmla="*/ 390 w 653"/>
              <a:gd name="T67" fmla="*/ 224 h 932"/>
              <a:gd name="T68" fmla="*/ 396 w 653"/>
              <a:gd name="T69" fmla="*/ 246 h 932"/>
              <a:gd name="T70" fmla="*/ 391 w 653"/>
              <a:gd name="T71" fmla="*/ 314 h 932"/>
              <a:gd name="T72" fmla="*/ 393 w 653"/>
              <a:gd name="T73" fmla="*/ 339 h 932"/>
              <a:gd name="T74" fmla="*/ 393 w 653"/>
              <a:gd name="T75" fmla="*/ 406 h 932"/>
              <a:gd name="T76" fmla="*/ 391 w 653"/>
              <a:gd name="T77" fmla="*/ 430 h 932"/>
              <a:gd name="T78" fmla="*/ 637 w 653"/>
              <a:gd name="T79" fmla="*/ 388 h 932"/>
              <a:gd name="T80" fmla="*/ 622 w 653"/>
              <a:gd name="T81" fmla="*/ 465 h 932"/>
              <a:gd name="T82" fmla="*/ 587 w 653"/>
              <a:gd name="T83" fmla="*/ 213 h 932"/>
              <a:gd name="T84" fmla="*/ 515 w 653"/>
              <a:gd name="T85" fmla="*/ 80 h 932"/>
              <a:gd name="T86" fmla="*/ 414 w 653"/>
              <a:gd name="T87" fmla="*/ 15 h 932"/>
              <a:gd name="T88" fmla="*/ 326 w 653"/>
              <a:gd name="T89" fmla="*/ 0 h 932"/>
              <a:gd name="T90" fmla="*/ 227 w 653"/>
              <a:gd name="T91" fmla="*/ 16 h 932"/>
              <a:gd name="T92" fmla="*/ 113 w 653"/>
              <a:gd name="T93" fmla="*/ 99 h 932"/>
              <a:gd name="T94" fmla="*/ 63 w 653"/>
              <a:gd name="T95" fmla="*/ 231 h 932"/>
              <a:gd name="T96" fmla="*/ 31 w 653"/>
              <a:gd name="T97" fmla="*/ 400 h 932"/>
              <a:gd name="T98" fmla="*/ 10 w 653"/>
              <a:gd name="T99" fmla="*/ 389 h 932"/>
              <a:gd name="T100" fmla="*/ 1 w 653"/>
              <a:gd name="T101" fmla="*/ 513 h 932"/>
              <a:gd name="T102" fmla="*/ 41 w 653"/>
              <a:gd name="T103" fmla="*/ 649 h 932"/>
              <a:gd name="T104" fmla="*/ 136 w 653"/>
              <a:gd name="T105" fmla="*/ 752 h 932"/>
              <a:gd name="T106" fmla="*/ 264 w 653"/>
              <a:gd name="T107" fmla="*/ 804 h 932"/>
              <a:gd name="T108" fmla="*/ 391 w 653"/>
              <a:gd name="T109" fmla="*/ 803 h 932"/>
              <a:gd name="T110" fmla="*/ 517 w 653"/>
              <a:gd name="T111" fmla="*/ 749 h 932"/>
              <a:gd name="T112" fmla="*/ 608 w 653"/>
              <a:gd name="T113" fmla="*/ 648 h 932"/>
              <a:gd name="T114" fmla="*/ 652 w 653"/>
              <a:gd name="T115" fmla="*/ 514 h 932"/>
              <a:gd name="T116" fmla="*/ 643 w 653"/>
              <a:gd name="T117" fmla="*/ 389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932">
                <a:moveTo>
                  <a:pt x="324" y="779"/>
                </a:moveTo>
                <a:lnTo>
                  <a:pt x="308" y="779"/>
                </a:lnTo>
                <a:lnTo>
                  <a:pt x="293" y="778"/>
                </a:lnTo>
                <a:lnTo>
                  <a:pt x="278" y="775"/>
                </a:lnTo>
                <a:lnTo>
                  <a:pt x="264" y="773"/>
                </a:lnTo>
                <a:lnTo>
                  <a:pt x="250" y="770"/>
                </a:lnTo>
                <a:lnTo>
                  <a:pt x="235" y="766"/>
                </a:lnTo>
                <a:lnTo>
                  <a:pt x="221" y="762"/>
                </a:lnTo>
                <a:lnTo>
                  <a:pt x="207" y="756"/>
                </a:lnTo>
                <a:lnTo>
                  <a:pt x="194" y="750"/>
                </a:lnTo>
                <a:lnTo>
                  <a:pt x="181" y="743"/>
                </a:lnTo>
                <a:lnTo>
                  <a:pt x="168" y="736"/>
                </a:lnTo>
                <a:lnTo>
                  <a:pt x="156" y="729"/>
                </a:lnTo>
                <a:lnTo>
                  <a:pt x="144" y="720"/>
                </a:lnTo>
                <a:lnTo>
                  <a:pt x="133" y="711"/>
                </a:lnTo>
                <a:lnTo>
                  <a:pt x="122" y="701"/>
                </a:lnTo>
                <a:lnTo>
                  <a:pt x="111" y="691"/>
                </a:lnTo>
                <a:lnTo>
                  <a:pt x="102" y="681"/>
                </a:lnTo>
                <a:lnTo>
                  <a:pt x="93" y="671"/>
                </a:lnTo>
                <a:lnTo>
                  <a:pt x="85" y="660"/>
                </a:lnTo>
                <a:lnTo>
                  <a:pt x="77" y="649"/>
                </a:lnTo>
                <a:lnTo>
                  <a:pt x="71" y="638"/>
                </a:lnTo>
                <a:lnTo>
                  <a:pt x="64" y="625"/>
                </a:lnTo>
                <a:lnTo>
                  <a:pt x="58" y="614"/>
                </a:lnTo>
                <a:lnTo>
                  <a:pt x="53" y="602"/>
                </a:lnTo>
                <a:lnTo>
                  <a:pt x="48" y="590"/>
                </a:lnTo>
                <a:lnTo>
                  <a:pt x="44" y="576"/>
                </a:lnTo>
                <a:lnTo>
                  <a:pt x="41" y="564"/>
                </a:lnTo>
                <a:lnTo>
                  <a:pt x="37" y="551"/>
                </a:lnTo>
                <a:lnTo>
                  <a:pt x="35" y="538"/>
                </a:lnTo>
                <a:lnTo>
                  <a:pt x="33" y="524"/>
                </a:lnTo>
                <a:lnTo>
                  <a:pt x="32" y="511"/>
                </a:lnTo>
                <a:lnTo>
                  <a:pt x="32" y="496"/>
                </a:lnTo>
                <a:lnTo>
                  <a:pt x="63" y="496"/>
                </a:lnTo>
                <a:lnTo>
                  <a:pt x="64" y="509"/>
                </a:lnTo>
                <a:lnTo>
                  <a:pt x="66" y="520"/>
                </a:lnTo>
                <a:lnTo>
                  <a:pt x="68" y="531"/>
                </a:lnTo>
                <a:lnTo>
                  <a:pt x="72" y="543"/>
                </a:lnTo>
                <a:lnTo>
                  <a:pt x="75" y="554"/>
                </a:lnTo>
                <a:lnTo>
                  <a:pt x="80" y="565"/>
                </a:lnTo>
                <a:lnTo>
                  <a:pt x="84" y="575"/>
                </a:lnTo>
                <a:lnTo>
                  <a:pt x="90" y="586"/>
                </a:lnTo>
                <a:lnTo>
                  <a:pt x="101" y="606"/>
                </a:lnTo>
                <a:lnTo>
                  <a:pt x="115" y="625"/>
                </a:lnTo>
                <a:lnTo>
                  <a:pt x="131" y="644"/>
                </a:lnTo>
                <a:lnTo>
                  <a:pt x="147" y="661"/>
                </a:lnTo>
                <a:lnTo>
                  <a:pt x="166" y="675"/>
                </a:lnTo>
                <a:lnTo>
                  <a:pt x="186" y="689"/>
                </a:lnTo>
                <a:lnTo>
                  <a:pt x="207" y="701"/>
                </a:lnTo>
                <a:lnTo>
                  <a:pt x="230" y="711"/>
                </a:lnTo>
                <a:lnTo>
                  <a:pt x="241" y="715"/>
                </a:lnTo>
                <a:lnTo>
                  <a:pt x="253" y="719"/>
                </a:lnTo>
                <a:lnTo>
                  <a:pt x="265" y="722"/>
                </a:lnTo>
                <a:lnTo>
                  <a:pt x="276" y="725"/>
                </a:lnTo>
                <a:lnTo>
                  <a:pt x="288" y="726"/>
                </a:lnTo>
                <a:lnTo>
                  <a:pt x="302" y="729"/>
                </a:lnTo>
                <a:lnTo>
                  <a:pt x="314" y="730"/>
                </a:lnTo>
                <a:lnTo>
                  <a:pt x="326" y="730"/>
                </a:lnTo>
                <a:lnTo>
                  <a:pt x="340" y="730"/>
                </a:lnTo>
                <a:lnTo>
                  <a:pt x="352" y="729"/>
                </a:lnTo>
                <a:lnTo>
                  <a:pt x="364" y="726"/>
                </a:lnTo>
                <a:lnTo>
                  <a:pt x="376" y="725"/>
                </a:lnTo>
                <a:lnTo>
                  <a:pt x="388" y="722"/>
                </a:lnTo>
                <a:lnTo>
                  <a:pt x="401" y="719"/>
                </a:lnTo>
                <a:lnTo>
                  <a:pt x="412" y="715"/>
                </a:lnTo>
                <a:lnTo>
                  <a:pt x="423" y="711"/>
                </a:lnTo>
                <a:lnTo>
                  <a:pt x="445" y="701"/>
                </a:lnTo>
                <a:lnTo>
                  <a:pt x="466" y="689"/>
                </a:lnTo>
                <a:lnTo>
                  <a:pt x="486" y="675"/>
                </a:lnTo>
                <a:lnTo>
                  <a:pt x="505" y="661"/>
                </a:lnTo>
                <a:lnTo>
                  <a:pt x="523" y="644"/>
                </a:lnTo>
                <a:lnTo>
                  <a:pt x="538" y="625"/>
                </a:lnTo>
                <a:lnTo>
                  <a:pt x="552" y="606"/>
                </a:lnTo>
                <a:lnTo>
                  <a:pt x="564" y="586"/>
                </a:lnTo>
                <a:lnTo>
                  <a:pt x="568" y="575"/>
                </a:lnTo>
                <a:lnTo>
                  <a:pt x="574" y="565"/>
                </a:lnTo>
                <a:lnTo>
                  <a:pt x="577" y="554"/>
                </a:lnTo>
                <a:lnTo>
                  <a:pt x="582" y="543"/>
                </a:lnTo>
                <a:lnTo>
                  <a:pt x="584" y="532"/>
                </a:lnTo>
                <a:lnTo>
                  <a:pt x="586" y="520"/>
                </a:lnTo>
                <a:lnTo>
                  <a:pt x="588" y="509"/>
                </a:lnTo>
                <a:lnTo>
                  <a:pt x="590" y="496"/>
                </a:lnTo>
                <a:lnTo>
                  <a:pt x="621" y="496"/>
                </a:lnTo>
                <a:lnTo>
                  <a:pt x="620" y="511"/>
                </a:lnTo>
                <a:lnTo>
                  <a:pt x="618" y="526"/>
                </a:lnTo>
                <a:lnTo>
                  <a:pt x="615" y="541"/>
                </a:lnTo>
                <a:lnTo>
                  <a:pt x="613" y="554"/>
                </a:lnTo>
                <a:lnTo>
                  <a:pt x="608" y="569"/>
                </a:lnTo>
                <a:lnTo>
                  <a:pt x="604" y="582"/>
                </a:lnTo>
                <a:lnTo>
                  <a:pt x="600" y="595"/>
                </a:lnTo>
                <a:lnTo>
                  <a:pt x="594" y="608"/>
                </a:lnTo>
                <a:lnTo>
                  <a:pt x="587" y="621"/>
                </a:lnTo>
                <a:lnTo>
                  <a:pt x="581" y="633"/>
                </a:lnTo>
                <a:lnTo>
                  <a:pt x="574" y="644"/>
                </a:lnTo>
                <a:lnTo>
                  <a:pt x="566" y="656"/>
                </a:lnTo>
                <a:lnTo>
                  <a:pt x="557" y="668"/>
                </a:lnTo>
                <a:lnTo>
                  <a:pt x="550" y="678"/>
                </a:lnTo>
                <a:lnTo>
                  <a:pt x="540" y="688"/>
                </a:lnTo>
                <a:lnTo>
                  <a:pt x="530" y="698"/>
                </a:lnTo>
                <a:lnTo>
                  <a:pt x="520" y="706"/>
                </a:lnTo>
                <a:lnTo>
                  <a:pt x="510" y="715"/>
                </a:lnTo>
                <a:lnTo>
                  <a:pt x="498" y="724"/>
                </a:lnTo>
                <a:lnTo>
                  <a:pt x="487" y="732"/>
                </a:lnTo>
                <a:lnTo>
                  <a:pt x="475" y="739"/>
                </a:lnTo>
                <a:lnTo>
                  <a:pt x="463" y="745"/>
                </a:lnTo>
                <a:lnTo>
                  <a:pt x="451" y="752"/>
                </a:lnTo>
                <a:lnTo>
                  <a:pt x="437" y="758"/>
                </a:lnTo>
                <a:lnTo>
                  <a:pt x="424" y="762"/>
                </a:lnTo>
                <a:lnTo>
                  <a:pt x="411" y="766"/>
                </a:lnTo>
                <a:lnTo>
                  <a:pt x="396" y="770"/>
                </a:lnTo>
                <a:lnTo>
                  <a:pt x="383" y="773"/>
                </a:lnTo>
                <a:lnTo>
                  <a:pt x="368" y="775"/>
                </a:lnTo>
                <a:lnTo>
                  <a:pt x="354" y="778"/>
                </a:lnTo>
                <a:lnTo>
                  <a:pt x="338" y="779"/>
                </a:lnTo>
                <a:lnTo>
                  <a:pt x="324" y="779"/>
                </a:lnTo>
                <a:close/>
                <a:moveTo>
                  <a:pt x="558" y="496"/>
                </a:moveTo>
                <a:lnTo>
                  <a:pt x="556" y="516"/>
                </a:lnTo>
                <a:lnTo>
                  <a:pt x="551" y="536"/>
                </a:lnTo>
                <a:lnTo>
                  <a:pt x="544" y="555"/>
                </a:lnTo>
                <a:lnTo>
                  <a:pt x="535" y="573"/>
                </a:lnTo>
                <a:lnTo>
                  <a:pt x="524" y="591"/>
                </a:lnTo>
                <a:lnTo>
                  <a:pt x="512" y="608"/>
                </a:lnTo>
                <a:lnTo>
                  <a:pt x="497" y="623"/>
                </a:lnTo>
                <a:lnTo>
                  <a:pt x="483" y="638"/>
                </a:lnTo>
                <a:lnTo>
                  <a:pt x="466" y="651"/>
                </a:lnTo>
                <a:lnTo>
                  <a:pt x="448" y="663"/>
                </a:lnTo>
                <a:lnTo>
                  <a:pt x="430" y="673"/>
                </a:lnTo>
                <a:lnTo>
                  <a:pt x="411" y="682"/>
                </a:lnTo>
                <a:lnTo>
                  <a:pt x="391" y="690"/>
                </a:lnTo>
                <a:lnTo>
                  <a:pt x="370" y="694"/>
                </a:lnTo>
                <a:lnTo>
                  <a:pt x="348" y="698"/>
                </a:lnTo>
                <a:lnTo>
                  <a:pt x="326" y="699"/>
                </a:lnTo>
                <a:lnTo>
                  <a:pt x="305" y="698"/>
                </a:lnTo>
                <a:lnTo>
                  <a:pt x="283" y="694"/>
                </a:lnTo>
                <a:lnTo>
                  <a:pt x="263" y="689"/>
                </a:lnTo>
                <a:lnTo>
                  <a:pt x="243" y="682"/>
                </a:lnTo>
                <a:lnTo>
                  <a:pt x="223" y="673"/>
                </a:lnTo>
                <a:lnTo>
                  <a:pt x="204" y="663"/>
                </a:lnTo>
                <a:lnTo>
                  <a:pt x="186" y="651"/>
                </a:lnTo>
                <a:lnTo>
                  <a:pt x="171" y="638"/>
                </a:lnTo>
                <a:lnTo>
                  <a:pt x="155" y="623"/>
                </a:lnTo>
                <a:lnTo>
                  <a:pt x="141" y="608"/>
                </a:lnTo>
                <a:lnTo>
                  <a:pt x="128" y="591"/>
                </a:lnTo>
                <a:lnTo>
                  <a:pt x="118" y="573"/>
                </a:lnTo>
                <a:lnTo>
                  <a:pt x="110" y="555"/>
                </a:lnTo>
                <a:lnTo>
                  <a:pt x="102" y="536"/>
                </a:lnTo>
                <a:lnTo>
                  <a:pt x="97" y="516"/>
                </a:lnTo>
                <a:lnTo>
                  <a:pt x="94" y="496"/>
                </a:lnTo>
                <a:lnTo>
                  <a:pt x="558" y="496"/>
                </a:lnTo>
                <a:close/>
                <a:moveTo>
                  <a:pt x="93" y="434"/>
                </a:moveTo>
                <a:lnTo>
                  <a:pt x="245" y="434"/>
                </a:lnTo>
                <a:lnTo>
                  <a:pt x="248" y="434"/>
                </a:lnTo>
                <a:lnTo>
                  <a:pt x="252" y="433"/>
                </a:lnTo>
                <a:lnTo>
                  <a:pt x="254" y="432"/>
                </a:lnTo>
                <a:lnTo>
                  <a:pt x="256" y="430"/>
                </a:lnTo>
                <a:lnTo>
                  <a:pt x="258" y="428"/>
                </a:lnTo>
                <a:lnTo>
                  <a:pt x="260" y="425"/>
                </a:lnTo>
                <a:lnTo>
                  <a:pt x="261" y="422"/>
                </a:lnTo>
                <a:lnTo>
                  <a:pt x="261" y="419"/>
                </a:lnTo>
                <a:lnTo>
                  <a:pt x="261" y="415"/>
                </a:lnTo>
                <a:lnTo>
                  <a:pt x="260" y="413"/>
                </a:lnTo>
                <a:lnTo>
                  <a:pt x="258" y="410"/>
                </a:lnTo>
                <a:lnTo>
                  <a:pt x="256" y="408"/>
                </a:lnTo>
                <a:lnTo>
                  <a:pt x="254" y="406"/>
                </a:lnTo>
                <a:lnTo>
                  <a:pt x="252" y="404"/>
                </a:lnTo>
                <a:lnTo>
                  <a:pt x="248" y="404"/>
                </a:lnTo>
                <a:lnTo>
                  <a:pt x="245" y="403"/>
                </a:lnTo>
                <a:lnTo>
                  <a:pt x="93" y="403"/>
                </a:lnTo>
                <a:lnTo>
                  <a:pt x="93" y="341"/>
                </a:lnTo>
                <a:lnTo>
                  <a:pt x="245" y="341"/>
                </a:lnTo>
                <a:lnTo>
                  <a:pt x="248" y="341"/>
                </a:lnTo>
                <a:lnTo>
                  <a:pt x="252" y="340"/>
                </a:lnTo>
                <a:lnTo>
                  <a:pt x="254" y="339"/>
                </a:lnTo>
                <a:lnTo>
                  <a:pt x="256" y="336"/>
                </a:lnTo>
                <a:lnTo>
                  <a:pt x="258" y="334"/>
                </a:lnTo>
                <a:lnTo>
                  <a:pt x="260" y="332"/>
                </a:lnTo>
                <a:lnTo>
                  <a:pt x="261" y="329"/>
                </a:lnTo>
                <a:lnTo>
                  <a:pt x="261" y="325"/>
                </a:lnTo>
                <a:lnTo>
                  <a:pt x="261" y="322"/>
                </a:lnTo>
                <a:lnTo>
                  <a:pt x="260" y="320"/>
                </a:lnTo>
                <a:lnTo>
                  <a:pt x="258" y="316"/>
                </a:lnTo>
                <a:lnTo>
                  <a:pt x="256" y="314"/>
                </a:lnTo>
                <a:lnTo>
                  <a:pt x="254" y="313"/>
                </a:lnTo>
                <a:lnTo>
                  <a:pt x="252" y="311"/>
                </a:lnTo>
                <a:lnTo>
                  <a:pt x="248" y="311"/>
                </a:lnTo>
                <a:lnTo>
                  <a:pt x="245" y="310"/>
                </a:lnTo>
                <a:lnTo>
                  <a:pt x="93" y="310"/>
                </a:lnTo>
                <a:lnTo>
                  <a:pt x="93" y="248"/>
                </a:lnTo>
                <a:lnTo>
                  <a:pt x="245" y="248"/>
                </a:lnTo>
                <a:lnTo>
                  <a:pt x="248" y="248"/>
                </a:lnTo>
                <a:lnTo>
                  <a:pt x="252" y="246"/>
                </a:lnTo>
                <a:lnTo>
                  <a:pt x="254" y="245"/>
                </a:lnTo>
                <a:lnTo>
                  <a:pt x="256" y="243"/>
                </a:lnTo>
                <a:lnTo>
                  <a:pt x="258" y="241"/>
                </a:lnTo>
                <a:lnTo>
                  <a:pt x="260" y="239"/>
                </a:lnTo>
                <a:lnTo>
                  <a:pt x="261" y="235"/>
                </a:lnTo>
                <a:lnTo>
                  <a:pt x="261" y="232"/>
                </a:lnTo>
                <a:lnTo>
                  <a:pt x="261" y="230"/>
                </a:lnTo>
                <a:lnTo>
                  <a:pt x="260" y="226"/>
                </a:lnTo>
                <a:lnTo>
                  <a:pt x="258" y="224"/>
                </a:lnTo>
                <a:lnTo>
                  <a:pt x="256" y="221"/>
                </a:lnTo>
                <a:lnTo>
                  <a:pt x="254" y="220"/>
                </a:lnTo>
                <a:lnTo>
                  <a:pt x="252" y="218"/>
                </a:lnTo>
                <a:lnTo>
                  <a:pt x="248" y="218"/>
                </a:lnTo>
                <a:lnTo>
                  <a:pt x="245" y="216"/>
                </a:lnTo>
                <a:lnTo>
                  <a:pt x="95" y="216"/>
                </a:lnTo>
                <a:lnTo>
                  <a:pt x="97" y="203"/>
                </a:lnTo>
                <a:lnTo>
                  <a:pt x="101" y="189"/>
                </a:lnTo>
                <a:lnTo>
                  <a:pt x="105" y="175"/>
                </a:lnTo>
                <a:lnTo>
                  <a:pt x="110" y="163"/>
                </a:lnTo>
                <a:lnTo>
                  <a:pt x="115" y="151"/>
                </a:lnTo>
                <a:lnTo>
                  <a:pt x="122" y="140"/>
                </a:lnTo>
                <a:lnTo>
                  <a:pt x="130" y="129"/>
                </a:lnTo>
                <a:lnTo>
                  <a:pt x="137" y="118"/>
                </a:lnTo>
                <a:lnTo>
                  <a:pt x="145" y="108"/>
                </a:lnTo>
                <a:lnTo>
                  <a:pt x="154" y="99"/>
                </a:lnTo>
                <a:lnTo>
                  <a:pt x="164" y="90"/>
                </a:lnTo>
                <a:lnTo>
                  <a:pt x="174" y="82"/>
                </a:lnTo>
                <a:lnTo>
                  <a:pt x="184" y="74"/>
                </a:lnTo>
                <a:lnTo>
                  <a:pt x="195" y="66"/>
                </a:lnTo>
                <a:lnTo>
                  <a:pt x="206" y="60"/>
                </a:lnTo>
                <a:lnTo>
                  <a:pt x="217" y="54"/>
                </a:lnTo>
                <a:lnTo>
                  <a:pt x="217" y="123"/>
                </a:lnTo>
                <a:lnTo>
                  <a:pt x="218" y="126"/>
                </a:lnTo>
                <a:lnTo>
                  <a:pt x="218" y="130"/>
                </a:lnTo>
                <a:lnTo>
                  <a:pt x="221" y="132"/>
                </a:lnTo>
                <a:lnTo>
                  <a:pt x="222" y="134"/>
                </a:lnTo>
                <a:lnTo>
                  <a:pt x="224" y="136"/>
                </a:lnTo>
                <a:lnTo>
                  <a:pt x="227" y="138"/>
                </a:lnTo>
                <a:lnTo>
                  <a:pt x="230" y="139"/>
                </a:lnTo>
                <a:lnTo>
                  <a:pt x="233" y="139"/>
                </a:lnTo>
                <a:lnTo>
                  <a:pt x="236" y="139"/>
                </a:lnTo>
                <a:lnTo>
                  <a:pt x="240" y="138"/>
                </a:lnTo>
                <a:lnTo>
                  <a:pt x="242" y="136"/>
                </a:lnTo>
                <a:lnTo>
                  <a:pt x="244" y="134"/>
                </a:lnTo>
                <a:lnTo>
                  <a:pt x="246" y="132"/>
                </a:lnTo>
                <a:lnTo>
                  <a:pt x="247" y="130"/>
                </a:lnTo>
                <a:lnTo>
                  <a:pt x="248" y="126"/>
                </a:lnTo>
                <a:lnTo>
                  <a:pt x="248" y="123"/>
                </a:lnTo>
                <a:lnTo>
                  <a:pt x="248" y="42"/>
                </a:lnTo>
                <a:lnTo>
                  <a:pt x="264" y="38"/>
                </a:lnTo>
                <a:lnTo>
                  <a:pt x="280" y="34"/>
                </a:lnTo>
                <a:lnTo>
                  <a:pt x="295" y="32"/>
                </a:lnTo>
                <a:lnTo>
                  <a:pt x="311" y="31"/>
                </a:lnTo>
                <a:lnTo>
                  <a:pt x="311" y="123"/>
                </a:lnTo>
                <a:lnTo>
                  <a:pt x="311" y="126"/>
                </a:lnTo>
                <a:lnTo>
                  <a:pt x="312" y="130"/>
                </a:lnTo>
                <a:lnTo>
                  <a:pt x="314" y="132"/>
                </a:lnTo>
                <a:lnTo>
                  <a:pt x="315" y="134"/>
                </a:lnTo>
                <a:lnTo>
                  <a:pt x="317" y="136"/>
                </a:lnTo>
                <a:lnTo>
                  <a:pt x="321" y="138"/>
                </a:lnTo>
                <a:lnTo>
                  <a:pt x="323" y="139"/>
                </a:lnTo>
                <a:lnTo>
                  <a:pt x="326" y="139"/>
                </a:lnTo>
                <a:lnTo>
                  <a:pt x="330" y="139"/>
                </a:lnTo>
                <a:lnTo>
                  <a:pt x="333" y="138"/>
                </a:lnTo>
                <a:lnTo>
                  <a:pt x="335" y="136"/>
                </a:lnTo>
                <a:lnTo>
                  <a:pt x="337" y="134"/>
                </a:lnTo>
                <a:lnTo>
                  <a:pt x="340" y="132"/>
                </a:lnTo>
                <a:lnTo>
                  <a:pt x="341" y="130"/>
                </a:lnTo>
                <a:lnTo>
                  <a:pt x="342" y="126"/>
                </a:lnTo>
                <a:lnTo>
                  <a:pt x="342" y="123"/>
                </a:lnTo>
                <a:lnTo>
                  <a:pt x="342" y="31"/>
                </a:lnTo>
                <a:lnTo>
                  <a:pt x="358" y="33"/>
                </a:lnTo>
                <a:lnTo>
                  <a:pt x="374" y="36"/>
                </a:lnTo>
                <a:lnTo>
                  <a:pt x="390" y="40"/>
                </a:lnTo>
                <a:lnTo>
                  <a:pt x="404" y="45"/>
                </a:lnTo>
                <a:lnTo>
                  <a:pt x="404" y="123"/>
                </a:lnTo>
                <a:lnTo>
                  <a:pt x="404" y="126"/>
                </a:lnTo>
                <a:lnTo>
                  <a:pt x="405" y="130"/>
                </a:lnTo>
                <a:lnTo>
                  <a:pt x="406" y="132"/>
                </a:lnTo>
                <a:lnTo>
                  <a:pt x="408" y="134"/>
                </a:lnTo>
                <a:lnTo>
                  <a:pt x="411" y="136"/>
                </a:lnTo>
                <a:lnTo>
                  <a:pt x="414" y="138"/>
                </a:lnTo>
                <a:lnTo>
                  <a:pt x="416" y="139"/>
                </a:lnTo>
                <a:lnTo>
                  <a:pt x="420" y="139"/>
                </a:lnTo>
                <a:lnTo>
                  <a:pt x="423" y="139"/>
                </a:lnTo>
                <a:lnTo>
                  <a:pt x="426" y="138"/>
                </a:lnTo>
                <a:lnTo>
                  <a:pt x="428" y="136"/>
                </a:lnTo>
                <a:lnTo>
                  <a:pt x="431" y="134"/>
                </a:lnTo>
                <a:lnTo>
                  <a:pt x="433" y="132"/>
                </a:lnTo>
                <a:lnTo>
                  <a:pt x="434" y="130"/>
                </a:lnTo>
                <a:lnTo>
                  <a:pt x="435" y="126"/>
                </a:lnTo>
                <a:lnTo>
                  <a:pt x="435" y="123"/>
                </a:lnTo>
                <a:lnTo>
                  <a:pt x="435" y="59"/>
                </a:lnTo>
                <a:lnTo>
                  <a:pt x="447" y="65"/>
                </a:lnTo>
                <a:lnTo>
                  <a:pt x="458" y="72"/>
                </a:lnTo>
                <a:lnTo>
                  <a:pt x="468" y="80"/>
                </a:lnTo>
                <a:lnTo>
                  <a:pt x="480" y="89"/>
                </a:lnTo>
                <a:lnTo>
                  <a:pt x="490" y="98"/>
                </a:lnTo>
                <a:lnTo>
                  <a:pt x="498" y="106"/>
                </a:lnTo>
                <a:lnTo>
                  <a:pt x="507" y="115"/>
                </a:lnTo>
                <a:lnTo>
                  <a:pt x="515" y="125"/>
                </a:lnTo>
                <a:lnTo>
                  <a:pt x="523" y="136"/>
                </a:lnTo>
                <a:lnTo>
                  <a:pt x="530" y="146"/>
                </a:lnTo>
                <a:lnTo>
                  <a:pt x="536" y="158"/>
                </a:lnTo>
                <a:lnTo>
                  <a:pt x="542" y="169"/>
                </a:lnTo>
                <a:lnTo>
                  <a:pt x="547" y="181"/>
                </a:lnTo>
                <a:lnTo>
                  <a:pt x="551" y="193"/>
                </a:lnTo>
                <a:lnTo>
                  <a:pt x="554" y="204"/>
                </a:lnTo>
                <a:lnTo>
                  <a:pt x="557" y="216"/>
                </a:lnTo>
                <a:lnTo>
                  <a:pt x="402" y="216"/>
                </a:lnTo>
                <a:lnTo>
                  <a:pt x="398" y="218"/>
                </a:lnTo>
                <a:lnTo>
                  <a:pt x="396" y="218"/>
                </a:lnTo>
                <a:lnTo>
                  <a:pt x="393" y="220"/>
                </a:lnTo>
                <a:lnTo>
                  <a:pt x="391" y="221"/>
                </a:lnTo>
                <a:lnTo>
                  <a:pt x="390" y="224"/>
                </a:lnTo>
                <a:lnTo>
                  <a:pt x="387" y="226"/>
                </a:lnTo>
                <a:lnTo>
                  <a:pt x="387" y="230"/>
                </a:lnTo>
                <a:lnTo>
                  <a:pt x="386" y="232"/>
                </a:lnTo>
                <a:lnTo>
                  <a:pt x="387" y="235"/>
                </a:lnTo>
                <a:lnTo>
                  <a:pt x="387" y="239"/>
                </a:lnTo>
                <a:lnTo>
                  <a:pt x="390" y="241"/>
                </a:lnTo>
                <a:lnTo>
                  <a:pt x="391" y="243"/>
                </a:lnTo>
                <a:lnTo>
                  <a:pt x="393" y="245"/>
                </a:lnTo>
                <a:lnTo>
                  <a:pt x="396" y="246"/>
                </a:lnTo>
                <a:lnTo>
                  <a:pt x="398" y="248"/>
                </a:lnTo>
                <a:lnTo>
                  <a:pt x="402" y="248"/>
                </a:lnTo>
                <a:lnTo>
                  <a:pt x="560" y="248"/>
                </a:lnTo>
                <a:lnTo>
                  <a:pt x="560" y="310"/>
                </a:lnTo>
                <a:lnTo>
                  <a:pt x="402" y="310"/>
                </a:lnTo>
                <a:lnTo>
                  <a:pt x="398" y="311"/>
                </a:lnTo>
                <a:lnTo>
                  <a:pt x="396" y="311"/>
                </a:lnTo>
                <a:lnTo>
                  <a:pt x="393" y="313"/>
                </a:lnTo>
                <a:lnTo>
                  <a:pt x="391" y="314"/>
                </a:lnTo>
                <a:lnTo>
                  <a:pt x="390" y="316"/>
                </a:lnTo>
                <a:lnTo>
                  <a:pt x="387" y="320"/>
                </a:lnTo>
                <a:lnTo>
                  <a:pt x="387" y="322"/>
                </a:lnTo>
                <a:lnTo>
                  <a:pt x="386" y="325"/>
                </a:lnTo>
                <a:lnTo>
                  <a:pt x="387" y="329"/>
                </a:lnTo>
                <a:lnTo>
                  <a:pt x="387" y="332"/>
                </a:lnTo>
                <a:lnTo>
                  <a:pt x="390" y="334"/>
                </a:lnTo>
                <a:lnTo>
                  <a:pt x="391" y="336"/>
                </a:lnTo>
                <a:lnTo>
                  <a:pt x="393" y="339"/>
                </a:lnTo>
                <a:lnTo>
                  <a:pt x="396" y="340"/>
                </a:lnTo>
                <a:lnTo>
                  <a:pt x="398" y="341"/>
                </a:lnTo>
                <a:lnTo>
                  <a:pt x="402" y="341"/>
                </a:lnTo>
                <a:lnTo>
                  <a:pt x="560" y="341"/>
                </a:lnTo>
                <a:lnTo>
                  <a:pt x="560" y="403"/>
                </a:lnTo>
                <a:lnTo>
                  <a:pt x="402" y="403"/>
                </a:lnTo>
                <a:lnTo>
                  <a:pt x="398" y="403"/>
                </a:lnTo>
                <a:lnTo>
                  <a:pt x="396" y="404"/>
                </a:lnTo>
                <a:lnTo>
                  <a:pt x="393" y="406"/>
                </a:lnTo>
                <a:lnTo>
                  <a:pt x="391" y="408"/>
                </a:lnTo>
                <a:lnTo>
                  <a:pt x="390" y="410"/>
                </a:lnTo>
                <a:lnTo>
                  <a:pt x="387" y="413"/>
                </a:lnTo>
                <a:lnTo>
                  <a:pt x="387" y="415"/>
                </a:lnTo>
                <a:lnTo>
                  <a:pt x="386" y="419"/>
                </a:lnTo>
                <a:lnTo>
                  <a:pt x="387" y="422"/>
                </a:lnTo>
                <a:lnTo>
                  <a:pt x="387" y="425"/>
                </a:lnTo>
                <a:lnTo>
                  <a:pt x="390" y="428"/>
                </a:lnTo>
                <a:lnTo>
                  <a:pt x="391" y="430"/>
                </a:lnTo>
                <a:lnTo>
                  <a:pt x="393" y="432"/>
                </a:lnTo>
                <a:lnTo>
                  <a:pt x="396" y="433"/>
                </a:lnTo>
                <a:lnTo>
                  <a:pt x="398" y="434"/>
                </a:lnTo>
                <a:lnTo>
                  <a:pt x="402" y="434"/>
                </a:lnTo>
                <a:lnTo>
                  <a:pt x="560" y="434"/>
                </a:lnTo>
                <a:lnTo>
                  <a:pt x="560" y="465"/>
                </a:lnTo>
                <a:lnTo>
                  <a:pt x="93" y="465"/>
                </a:lnTo>
                <a:lnTo>
                  <a:pt x="93" y="434"/>
                </a:lnTo>
                <a:close/>
                <a:moveTo>
                  <a:pt x="637" y="388"/>
                </a:moveTo>
                <a:lnTo>
                  <a:pt x="634" y="388"/>
                </a:lnTo>
                <a:lnTo>
                  <a:pt x="631" y="389"/>
                </a:lnTo>
                <a:lnTo>
                  <a:pt x="628" y="391"/>
                </a:lnTo>
                <a:lnTo>
                  <a:pt x="626" y="392"/>
                </a:lnTo>
                <a:lnTo>
                  <a:pt x="624" y="394"/>
                </a:lnTo>
                <a:lnTo>
                  <a:pt x="623" y="398"/>
                </a:lnTo>
                <a:lnTo>
                  <a:pt x="622" y="400"/>
                </a:lnTo>
                <a:lnTo>
                  <a:pt x="622" y="403"/>
                </a:lnTo>
                <a:lnTo>
                  <a:pt x="622" y="465"/>
                </a:lnTo>
                <a:lnTo>
                  <a:pt x="591" y="465"/>
                </a:lnTo>
                <a:lnTo>
                  <a:pt x="591" y="245"/>
                </a:lnTo>
                <a:lnTo>
                  <a:pt x="591" y="240"/>
                </a:lnTo>
                <a:lnTo>
                  <a:pt x="590" y="234"/>
                </a:lnTo>
                <a:lnTo>
                  <a:pt x="590" y="233"/>
                </a:lnTo>
                <a:lnTo>
                  <a:pt x="591" y="232"/>
                </a:lnTo>
                <a:lnTo>
                  <a:pt x="590" y="231"/>
                </a:lnTo>
                <a:lnTo>
                  <a:pt x="590" y="230"/>
                </a:lnTo>
                <a:lnTo>
                  <a:pt x="587" y="213"/>
                </a:lnTo>
                <a:lnTo>
                  <a:pt x="584" y="196"/>
                </a:lnTo>
                <a:lnTo>
                  <a:pt x="580" y="180"/>
                </a:lnTo>
                <a:lnTo>
                  <a:pt x="573" y="164"/>
                </a:lnTo>
                <a:lnTo>
                  <a:pt x="566" y="149"/>
                </a:lnTo>
                <a:lnTo>
                  <a:pt x="558" y="133"/>
                </a:lnTo>
                <a:lnTo>
                  <a:pt x="548" y="119"/>
                </a:lnTo>
                <a:lnTo>
                  <a:pt x="538" y="105"/>
                </a:lnTo>
                <a:lnTo>
                  <a:pt x="527" y="92"/>
                </a:lnTo>
                <a:lnTo>
                  <a:pt x="515" y="80"/>
                </a:lnTo>
                <a:lnTo>
                  <a:pt x="502" y="68"/>
                </a:lnTo>
                <a:lnTo>
                  <a:pt x="488" y="56"/>
                </a:lnTo>
                <a:lnTo>
                  <a:pt x="474" y="46"/>
                </a:lnTo>
                <a:lnTo>
                  <a:pt x="458" y="36"/>
                </a:lnTo>
                <a:lnTo>
                  <a:pt x="443" y="28"/>
                </a:lnTo>
                <a:lnTo>
                  <a:pt x="426" y="21"/>
                </a:lnTo>
                <a:lnTo>
                  <a:pt x="426" y="20"/>
                </a:lnTo>
                <a:lnTo>
                  <a:pt x="425" y="20"/>
                </a:lnTo>
                <a:lnTo>
                  <a:pt x="414" y="15"/>
                </a:lnTo>
                <a:lnTo>
                  <a:pt x="402" y="12"/>
                </a:lnTo>
                <a:lnTo>
                  <a:pt x="390" y="8"/>
                </a:lnTo>
                <a:lnTo>
                  <a:pt x="377" y="5"/>
                </a:lnTo>
                <a:lnTo>
                  <a:pt x="365" y="3"/>
                </a:lnTo>
                <a:lnTo>
                  <a:pt x="353" y="1"/>
                </a:lnTo>
                <a:lnTo>
                  <a:pt x="340" y="0"/>
                </a:lnTo>
                <a:lnTo>
                  <a:pt x="327" y="0"/>
                </a:lnTo>
                <a:lnTo>
                  <a:pt x="327" y="0"/>
                </a:lnTo>
                <a:lnTo>
                  <a:pt x="326" y="0"/>
                </a:lnTo>
                <a:lnTo>
                  <a:pt x="326" y="0"/>
                </a:lnTo>
                <a:lnTo>
                  <a:pt x="326" y="0"/>
                </a:lnTo>
                <a:lnTo>
                  <a:pt x="325" y="0"/>
                </a:lnTo>
                <a:lnTo>
                  <a:pt x="324" y="0"/>
                </a:lnTo>
                <a:lnTo>
                  <a:pt x="298" y="0"/>
                </a:lnTo>
                <a:lnTo>
                  <a:pt x="275" y="3"/>
                </a:lnTo>
                <a:lnTo>
                  <a:pt x="252" y="9"/>
                </a:lnTo>
                <a:lnTo>
                  <a:pt x="228" y="15"/>
                </a:lnTo>
                <a:lnTo>
                  <a:pt x="227" y="16"/>
                </a:lnTo>
                <a:lnTo>
                  <a:pt x="226" y="16"/>
                </a:lnTo>
                <a:lnTo>
                  <a:pt x="210" y="23"/>
                </a:lnTo>
                <a:lnTo>
                  <a:pt x="193" y="31"/>
                </a:lnTo>
                <a:lnTo>
                  <a:pt x="177" y="41"/>
                </a:lnTo>
                <a:lnTo>
                  <a:pt x="163" y="51"/>
                </a:lnTo>
                <a:lnTo>
                  <a:pt x="148" y="61"/>
                </a:lnTo>
                <a:lnTo>
                  <a:pt x="136" y="73"/>
                </a:lnTo>
                <a:lnTo>
                  <a:pt x="124" y="85"/>
                </a:lnTo>
                <a:lnTo>
                  <a:pt x="113" y="99"/>
                </a:lnTo>
                <a:lnTo>
                  <a:pt x="102" y="113"/>
                </a:lnTo>
                <a:lnTo>
                  <a:pt x="93" y="129"/>
                </a:lnTo>
                <a:lnTo>
                  <a:pt x="85" y="144"/>
                </a:lnTo>
                <a:lnTo>
                  <a:pt x="78" y="160"/>
                </a:lnTo>
                <a:lnTo>
                  <a:pt x="73" y="176"/>
                </a:lnTo>
                <a:lnTo>
                  <a:pt x="68" y="194"/>
                </a:lnTo>
                <a:lnTo>
                  <a:pt x="65" y="212"/>
                </a:lnTo>
                <a:lnTo>
                  <a:pt x="63" y="230"/>
                </a:lnTo>
                <a:lnTo>
                  <a:pt x="63" y="231"/>
                </a:lnTo>
                <a:lnTo>
                  <a:pt x="63" y="232"/>
                </a:lnTo>
                <a:lnTo>
                  <a:pt x="63" y="233"/>
                </a:lnTo>
                <a:lnTo>
                  <a:pt x="63" y="233"/>
                </a:lnTo>
                <a:lnTo>
                  <a:pt x="63" y="240"/>
                </a:lnTo>
                <a:lnTo>
                  <a:pt x="62" y="246"/>
                </a:lnTo>
                <a:lnTo>
                  <a:pt x="62" y="465"/>
                </a:lnTo>
                <a:lnTo>
                  <a:pt x="31" y="465"/>
                </a:lnTo>
                <a:lnTo>
                  <a:pt x="31" y="403"/>
                </a:lnTo>
                <a:lnTo>
                  <a:pt x="31" y="400"/>
                </a:lnTo>
                <a:lnTo>
                  <a:pt x="30" y="396"/>
                </a:lnTo>
                <a:lnTo>
                  <a:pt x="28" y="394"/>
                </a:lnTo>
                <a:lnTo>
                  <a:pt x="26" y="392"/>
                </a:lnTo>
                <a:lnTo>
                  <a:pt x="24" y="390"/>
                </a:lnTo>
                <a:lnTo>
                  <a:pt x="22" y="389"/>
                </a:lnTo>
                <a:lnTo>
                  <a:pt x="18" y="388"/>
                </a:lnTo>
                <a:lnTo>
                  <a:pt x="15" y="388"/>
                </a:lnTo>
                <a:lnTo>
                  <a:pt x="13" y="388"/>
                </a:lnTo>
                <a:lnTo>
                  <a:pt x="10" y="389"/>
                </a:lnTo>
                <a:lnTo>
                  <a:pt x="7" y="390"/>
                </a:lnTo>
                <a:lnTo>
                  <a:pt x="4" y="392"/>
                </a:lnTo>
                <a:lnTo>
                  <a:pt x="3" y="394"/>
                </a:lnTo>
                <a:lnTo>
                  <a:pt x="1" y="396"/>
                </a:lnTo>
                <a:lnTo>
                  <a:pt x="1" y="400"/>
                </a:lnTo>
                <a:lnTo>
                  <a:pt x="0" y="403"/>
                </a:lnTo>
                <a:lnTo>
                  <a:pt x="0" y="481"/>
                </a:lnTo>
                <a:lnTo>
                  <a:pt x="0" y="496"/>
                </a:lnTo>
                <a:lnTo>
                  <a:pt x="1" y="513"/>
                </a:lnTo>
                <a:lnTo>
                  <a:pt x="2" y="530"/>
                </a:lnTo>
                <a:lnTo>
                  <a:pt x="4" y="545"/>
                </a:lnTo>
                <a:lnTo>
                  <a:pt x="7" y="561"/>
                </a:lnTo>
                <a:lnTo>
                  <a:pt x="11" y="576"/>
                </a:lnTo>
                <a:lnTo>
                  <a:pt x="15" y="591"/>
                </a:lnTo>
                <a:lnTo>
                  <a:pt x="21" y="606"/>
                </a:lnTo>
                <a:lnTo>
                  <a:pt x="27" y="621"/>
                </a:lnTo>
                <a:lnTo>
                  <a:pt x="34" y="635"/>
                </a:lnTo>
                <a:lnTo>
                  <a:pt x="41" y="649"/>
                </a:lnTo>
                <a:lnTo>
                  <a:pt x="50" y="662"/>
                </a:lnTo>
                <a:lnTo>
                  <a:pt x="58" y="675"/>
                </a:lnTo>
                <a:lnTo>
                  <a:pt x="67" y="689"/>
                </a:lnTo>
                <a:lnTo>
                  <a:pt x="77" y="701"/>
                </a:lnTo>
                <a:lnTo>
                  <a:pt x="88" y="712"/>
                </a:lnTo>
                <a:lnTo>
                  <a:pt x="100" y="723"/>
                </a:lnTo>
                <a:lnTo>
                  <a:pt x="112" y="733"/>
                </a:lnTo>
                <a:lnTo>
                  <a:pt x="124" y="743"/>
                </a:lnTo>
                <a:lnTo>
                  <a:pt x="136" y="752"/>
                </a:lnTo>
                <a:lnTo>
                  <a:pt x="148" y="761"/>
                </a:lnTo>
                <a:lnTo>
                  <a:pt x="162" y="769"/>
                </a:lnTo>
                <a:lnTo>
                  <a:pt x="175" y="775"/>
                </a:lnTo>
                <a:lnTo>
                  <a:pt x="190" y="782"/>
                </a:lnTo>
                <a:lnTo>
                  <a:pt x="204" y="788"/>
                </a:lnTo>
                <a:lnTo>
                  <a:pt x="218" y="793"/>
                </a:lnTo>
                <a:lnTo>
                  <a:pt x="233" y="798"/>
                </a:lnTo>
                <a:lnTo>
                  <a:pt x="248" y="801"/>
                </a:lnTo>
                <a:lnTo>
                  <a:pt x="264" y="804"/>
                </a:lnTo>
                <a:lnTo>
                  <a:pt x="280" y="806"/>
                </a:lnTo>
                <a:lnTo>
                  <a:pt x="295" y="809"/>
                </a:lnTo>
                <a:lnTo>
                  <a:pt x="311" y="810"/>
                </a:lnTo>
                <a:lnTo>
                  <a:pt x="311" y="932"/>
                </a:lnTo>
                <a:lnTo>
                  <a:pt x="342" y="932"/>
                </a:lnTo>
                <a:lnTo>
                  <a:pt x="342" y="809"/>
                </a:lnTo>
                <a:lnTo>
                  <a:pt x="358" y="808"/>
                </a:lnTo>
                <a:lnTo>
                  <a:pt x="374" y="805"/>
                </a:lnTo>
                <a:lnTo>
                  <a:pt x="391" y="803"/>
                </a:lnTo>
                <a:lnTo>
                  <a:pt x="406" y="800"/>
                </a:lnTo>
                <a:lnTo>
                  <a:pt x="421" y="795"/>
                </a:lnTo>
                <a:lnTo>
                  <a:pt x="436" y="791"/>
                </a:lnTo>
                <a:lnTo>
                  <a:pt x="451" y="785"/>
                </a:lnTo>
                <a:lnTo>
                  <a:pt x="465" y="779"/>
                </a:lnTo>
                <a:lnTo>
                  <a:pt x="478" y="772"/>
                </a:lnTo>
                <a:lnTo>
                  <a:pt x="492" y="765"/>
                </a:lnTo>
                <a:lnTo>
                  <a:pt x="505" y="756"/>
                </a:lnTo>
                <a:lnTo>
                  <a:pt x="517" y="749"/>
                </a:lnTo>
                <a:lnTo>
                  <a:pt x="530" y="739"/>
                </a:lnTo>
                <a:lnTo>
                  <a:pt x="542" y="730"/>
                </a:lnTo>
                <a:lnTo>
                  <a:pt x="553" y="720"/>
                </a:lnTo>
                <a:lnTo>
                  <a:pt x="563" y="709"/>
                </a:lnTo>
                <a:lnTo>
                  <a:pt x="573" y="698"/>
                </a:lnTo>
                <a:lnTo>
                  <a:pt x="583" y="685"/>
                </a:lnTo>
                <a:lnTo>
                  <a:pt x="592" y="673"/>
                </a:lnTo>
                <a:lnTo>
                  <a:pt x="601" y="661"/>
                </a:lnTo>
                <a:lnTo>
                  <a:pt x="608" y="648"/>
                </a:lnTo>
                <a:lnTo>
                  <a:pt x="616" y="634"/>
                </a:lnTo>
                <a:lnTo>
                  <a:pt x="623" y="621"/>
                </a:lnTo>
                <a:lnTo>
                  <a:pt x="628" y="606"/>
                </a:lnTo>
                <a:lnTo>
                  <a:pt x="634" y="592"/>
                </a:lnTo>
                <a:lnTo>
                  <a:pt x="640" y="576"/>
                </a:lnTo>
                <a:lnTo>
                  <a:pt x="643" y="562"/>
                </a:lnTo>
                <a:lnTo>
                  <a:pt x="646" y="546"/>
                </a:lnTo>
                <a:lnTo>
                  <a:pt x="650" y="530"/>
                </a:lnTo>
                <a:lnTo>
                  <a:pt x="652" y="514"/>
                </a:lnTo>
                <a:lnTo>
                  <a:pt x="653" y="498"/>
                </a:lnTo>
                <a:lnTo>
                  <a:pt x="653" y="481"/>
                </a:lnTo>
                <a:lnTo>
                  <a:pt x="653" y="403"/>
                </a:lnTo>
                <a:lnTo>
                  <a:pt x="653" y="400"/>
                </a:lnTo>
                <a:lnTo>
                  <a:pt x="652" y="398"/>
                </a:lnTo>
                <a:lnTo>
                  <a:pt x="651" y="394"/>
                </a:lnTo>
                <a:lnTo>
                  <a:pt x="648" y="392"/>
                </a:lnTo>
                <a:lnTo>
                  <a:pt x="646" y="391"/>
                </a:lnTo>
                <a:lnTo>
                  <a:pt x="643" y="389"/>
                </a:lnTo>
                <a:lnTo>
                  <a:pt x="641" y="388"/>
                </a:lnTo>
                <a:lnTo>
                  <a:pt x="637" y="38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534" name="Group 49">
            <a:extLst>
              <a:ext uri="{FF2B5EF4-FFF2-40B4-BE49-F238E27FC236}">
                <a16:creationId xmlns:a16="http://schemas.microsoft.com/office/drawing/2014/main" id="{C59FB3E1-FB20-4B48-A4D7-FA98BC573D2B}"/>
              </a:ext>
            </a:extLst>
          </p:cNvPr>
          <p:cNvGrpSpPr>
            <a:grpSpLocks noChangeAspect="1"/>
          </p:cNvGrpSpPr>
          <p:nvPr/>
        </p:nvGrpSpPr>
        <p:grpSpPr>
          <a:xfrm>
            <a:off x="4459498" y="2186361"/>
            <a:ext cx="266982" cy="306484"/>
            <a:chOff x="7231063" y="4676775"/>
            <a:chExt cx="311150" cy="357188"/>
          </a:xfrm>
          <a:solidFill>
            <a:schemeClr val="bg2"/>
          </a:solidFill>
        </p:grpSpPr>
        <p:sp>
          <p:nvSpPr>
            <p:cNvPr id="535" name="Freeform 61">
              <a:extLst>
                <a:ext uri="{FF2B5EF4-FFF2-40B4-BE49-F238E27FC236}">
                  <a16:creationId xmlns:a16="http://schemas.microsoft.com/office/drawing/2014/main" id="{E4AC6D85-FD98-447E-B9D1-C55FDCDFCDA6}"/>
                </a:ext>
              </a:extLst>
            </p:cNvPr>
            <p:cNvSpPr>
              <a:spLocks noEditPoints="1"/>
            </p:cNvSpPr>
            <p:nvPr/>
          </p:nvSpPr>
          <p:spPr bwMode="auto">
            <a:xfrm>
              <a:off x="7231063" y="4738688"/>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6" name="Freeform 62">
              <a:extLst>
                <a:ext uri="{FF2B5EF4-FFF2-40B4-BE49-F238E27FC236}">
                  <a16:creationId xmlns:a16="http://schemas.microsoft.com/office/drawing/2014/main" id="{F0BF527B-044F-4D31-ACC1-2B2EF56A2B0F}"/>
                </a:ext>
              </a:extLst>
            </p:cNvPr>
            <p:cNvSpPr>
              <a:spLocks noEditPoints="1"/>
            </p:cNvSpPr>
            <p:nvPr/>
          </p:nvSpPr>
          <p:spPr bwMode="auto">
            <a:xfrm>
              <a:off x="7231063" y="4846638"/>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7" name="Freeform 63">
              <a:extLst>
                <a:ext uri="{FF2B5EF4-FFF2-40B4-BE49-F238E27FC236}">
                  <a16:creationId xmlns:a16="http://schemas.microsoft.com/office/drawing/2014/main" id="{78B57220-BB21-48B9-AB3C-6FAD739A97AC}"/>
                </a:ext>
              </a:extLst>
            </p:cNvPr>
            <p:cNvSpPr>
              <a:spLocks noEditPoints="1"/>
            </p:cNvSpPr>
            <p:nvPr/>
          </p:nvSpPr>
          <p:spPr bwMode="auto">
            <a:xfrm>
              <a:off x="7231063" y="4956175"/>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8" name="Freeform 64">
              <a:extLst>
                <a:ext uri="{FF2B5EF4-FFF2-40B4-BE49-F238E27FC236}">
                  <a16:creationId xmlns:a16="http://schemas.microsoft.com/office/drawing/2014/main" id="{3554E9AE-5BB5-406D-A2F2-BEA94E435974}"/>
                </a:ext>
              </a:extLst>
            </p:cNvPr>
            <p:cNvSpPr>
              <a:spLocks/>
            </p:cNvSpPr>
            <p:nvPr/>
          </p:nvSpPr>
          <p:spPr bwMode="auto">
            <a:xfrm>
              <a:off x="7440613" y="4676775"/>
              <a:ext cx="101600" cy="325438"/>
            </a:xfrm>
            <a:custGeom>
              <a:avLst/>
              <a:gdLst>
                <a:gd name="T0" fmla="*/ 24 w 26"/>
                <a:gd name="T1" fmla="*/ 84 h 84"/>
                <a:gd name="T2" fmla="*/ 0 w 26"/>
                <a:gd name="T3" fmla="*/ 84 h 84"/>
                <a:gd name="T4" fmla="*/ 0 w 26"/>
                <a:gd name="T5" fmla="*/ 80 h 84"/>
                <a:gd name="T6" fmla="*/ 22 w 26"/>
                <a:gd name="T7" fmla="*/ 80 h 84"/>
                <a:gd name="T8" fmla="*/ 22 w 26"/>
                <a:gd name="T9" fmla="*/ 0 h 84"/>
                <a:gd name="T10" fmla="*/ 26 w 26"/>
                <a:gd name="T11" fmla="*/ 0 h 84"/>
                <a:gd name="T12" fmla="*/ 26 w 26"/>
                <a:gd name="T13" fmla="*/ 82 h 84"/>
                <a:gd name="T14" fmla="*/ 24 w 26"/>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4">
                  <a:moveTo>
                    <a:pt x="24" y="84"/>
                  </a:moveTo>
                  <a:cubicBezTo>
                    <a:pt x="0" y="84"/>
                    <a:pt x="0" y="84"/>
                    <a:pt x="0" y="84"/>
                  </a:cubicBezTo>
                  <a:cubicBezTo>
                    <a:pt x="0" y="80"/>
                    <a:pt x="0" y="80"/>
                    <a:pt x="0" y="80"/>
                  </a:cubicBezTo>
                  <a:cubicBezTo>
                    <a:pt x="22" y="80"/>
                    <a:pt x="22" y="80"/>
                    <a:pt x="22" y="80"/>
                  </a:cubicBezTo>
                  <a:cubicBezTo>
                    <a:pt x="22" y="0"/>
                    <a:pt x="22" y="0"/>
                    <a:pt x="22" y="0"/>
                  </a:cubicBezTo>
                  <a:cubicBezTo>
                    <a:pt x="26" y="0"/>
                    <a:pt x="26" y="0"/>
                    <a:pt x="26" y="0"/>
                  </a:cubicBezTo>
                  <a:cubicBezTo>
                    <a:pt x="26" y="82"/>
                    <a:pt x="26" y="82"/>
                    <a:pt x="26" y="82"/>
                  </a:cubicBezTo>
                  <a:cubicBezTo>
                    <a:pt x="26" y="83"/>
                    <a:pt x="25"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9" name="Rectangle 65">
              <a:extLst>
                <a:ext uri="{FF2B5EF4-FFF2-40B4-BE49-F238E27FC236}">
                  <a16:creationId xmlns:a16="http://schemas.microsoft.com/office/drawing/2014/main" id="{91DEDF81-7FC8-4EA1-AFA4-E4F5D872AFD9}"/>
                </a:ext>
              </a:extLst>
            </p:cNvPr>
            <p:cNvSpPr>
              <a:spLocks noChangeArrowheads="1"/>
            </p:cNvSpPr>
            <p:nvPr/>
          </p:nvSpPr>
          <p:spPr bwMode="auto">
            <a:xfrm>
              <a:off x="7440613" y="4770438"/>
              <a:ext cx="93662"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0" name="Rectangle 66">
              <a:extLst>
                <a:ext uri="{FF2B5EF4-FFF2-40B4-BE49-F238E27FC236}">
                  <a16:creationId xmlns:a16="http://schemas.microsoft.com/office/drawing/2014/main" id="{29289730-8CAE-4FBF-9DCB-FEC000B44C4B}"/>
                </a:ext>
              </a:extLst>
            </p:cNvPr>
            <p:cNvSpPr>
              <a:spLocks noChangeArrowheads="1"/>
            </p:cNvSpPr>
            <p:nvPr/>
          </p:nvSpPr>
          <p:spPr bwMode="auto">
            <a:xfrm>
              <a:off x="7440613" y="4878388"/>
              <a:ext cx="93662"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41" name="Group 71">
            <a:extLst>
              <a:ext uri="{FF2B5EF4-FFF2-40B4-BE49-F238E27FC236}">
                <a16:creationId xmlns:a16="http://schemas.microsoft.com/office/drawing/2014/main" id="{ADA10A3F-E9CF-4438-A98F-291B93D70270}"/>
              </a:ext>
            </a:extLst>
          </p:cNvPr>
          <p:cNvGrpSpPr>
            <a:grpSpLocks noChangeAspect="1"/>
          </p:cNvGrpSpPr>
          <p:nvPr/>
        </p:nvGrpSpPr>
        <p:grpSpPr>
          <a:xfrm>
            <a:off x="4040741" y="2186361"/>
            <a:ext cx="293042" cy="306484"/>
            <a:chOff x="3390900" y="5051425"/>
            <a:chExt cx="346075" cy="361950"/>
          </a:xfrm>
          <a:solidFill>
            <a:schemeClr val="bg2"/>
          </a:solidFill>
          <a:effectLst/>
        </p:grpSpPr>
        <p:sp>
          <p:nvSpPr>
            <p:cNvPr id="542" name="Freeform 1554">
              <a:extLst>
                <a:ext uri="{FF2B5EF4-FFF2-40B4-BE49-F238E27FC236}">
                  <a16:creationId xmlns:a16="http://schemas.microsoft.com/office/drawing/2014/main" id="{370F5065-1A36-4B9B-B8F0-62681FA0C92E}"/>
                </a:ext>
              </a:extLst>
            </p:cNvPr>
            <p:cNvSpPr>
              <a:spLocks noEditPoints="1"/>
            </p:cNvSpPr>
            <p:nvPr/>
          </p:nvSpPr>
          <p:spPr bwMode="auto">
            <a:xfrm>
              <a:off x="3390900" y="5051425"/>
              <a:ext cx="346075" cy="60325"/>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3" name="Freeform 1555">
              <a:extLst>
                <a:ext uri="{FF2B5EF4-FFF2-40B4-BE49-F238E27FC236}">
                  <a16:creationId xmlns:a16="http://schemas.microsoft.com/office/drawing/2014/main" id="{575DE1DE-6575-45F3-9AD8-40914757DAEF}"/>
                </a:ext>
              </a:extLst>
            </p:cNvPr>
            <p:cNvSpPr>
              <a:spLocks/>
            </p:cNvSpPr>
            <p:nvPr/>
          </p:nvSpPr>
          <p:spPr bwMode="auto">
            <a:xfrm>
              <a:off x="3390900" y="5307013"/>
              <a:ext cx="346075"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4" name="Freeform 1556">
              <a:extLst>
                <a:ext uri="{FF2B5EF4-FFF2-40B4-BE49-F238E27FC236}">
                  <a16:creationId xmlns:a16="http://schemas.microsoft.com/office/drawing/2014/main" id="{17592813-1B5D-4690-A5F9-7156C6ED6D01}"/>
                </a:ext>
              </a:extLst>
            </p:cNvPr>
            <p:cNvSpPr>
              <a:spLocks noEditPoints="1"/>
            </p:cNvSpPr>
            <p:nvPr/>
          </p:nvSpPr>
          <p:spPr bwMode="auto">
            <a:xfrm>
              <a:off x="3421063" y="5097463"/>
              <a:ext cx="285750" cy="225425"/>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5" name="Rectangle 1557">
              <a:extLst>
                <a:ext uri="{FF2B5EF4-FFF2-40B4-BE49-F238E27FC236}">
                  <a16:creationId xmlns:a16="http://schemas.microsoft.com/office/drawing/2014/main" id="{34C3F864-23FF-4C62-9CD7-EACD023A0430}"/>
                </a:ext>
              </a:extLst>
            </p:cNvPr>
            <p:cNvSpPr>
              <a:spLocks noChangeArrowheads="1"/>
            </p:cNvSpPr>
            <p:nvPr/>
          </p:nvSpPr>
          <p:spPr bwMode="auto">
            <a:xfrm>
              <a:off x="3557588" y="5314950"/>
              <a:ext cx="14288"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6" name="Freeform 1558">
              <a:extLst>
                <a:ext uri="{FF2B5EF4-FFF2-40B4-BE49-F238E27FC236}">
                  <a16:creationId xmlns:a16="http://schemas.microsoft.com/office/drawing/2014/main" id="{623585C4-9A06-46F9-9081-8D7403E946C3}"/>
                </a:ext>
              </a:extLst>
            </p:cNvPr>
            <p:cNvSpPr>
              <a:spLocks noEditPoints="1"/>
            </p:cNvSpPr>
            <p:nvPr/>
          </p:nvSpPr>
          <p:spPr bwMode="auto">
            <a:xfrm>
              <a:off x="3533775" y="5353050"/>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7" name="Freeform 1559">
              <a:extLst>
                <a:ext uri="{FF2B5EF4-FFF2-40B4-BE49-F238E27FC236}">
                  <a16:creationId xmlns:a16="http://schemas.microsoft.com/office/drawing/2014/main" id="{186313C9-9BD4-40C8-B298-8B4DA864AC81}"/>
                </a:ext>
              </a:extLst>
            </p:cNvPr>
            <p:cNvSpPr>
              <a:spLocks noEditPoints="1"/>
            </p:cNvSpPr>
            <p:nvPr/>
          </p:nvSpPr>
          <p:spPr bwMode="auto">
            <a:xfrm>
              <a:off x="3481388" y="5187950"/>
              <a:ext cx="46038" cy="104775"/>
            </a:xfrm>
            <a:custGeom>
              <a:avLst/>
              <a:gdLst>
                <a:gd name="T0" fmla="*/ 10 w 12"/>
                <a:gd name="T1" fmla="*/ 28 h 28"/>
                <a:gd name="T2" fmla="*/ 2 w 12"/>
                <a:gd name="T3" fmla="*/ 28 h 28"/>
                <a:gd name="T4" fmla="*/ 0 w 12"/>
                <a:gd name="T5" fmla="*/ 26 h 28"/>
                <a:gd name="T6" fmla="*/ 0 w 12"/>
                <a:gd name="T7" fmla="*/ 2 h 28"/>
                <a:gd name="T8" fmla="*/ 2 w 12"/>
                <a:gd name="T9" fmla="*/ 0 h 28"/>
                <a:gd name="T10" fmla="*/ 10 w 12"/>
                <a:gd name="T11" fmla="*/ 0 h 28"/>
                <a:gd name="T12" fmla="*/ 12 w 12"/>
                <a:gd name="T13" fmla="*/ 2 h 28"/>
                <a:gd name="T14" fmla="*/ 12 w 12"/>
                <a:gd name="T15" fmla="*/ 26 h 28"/>
                <a:gd name="T16" fmla="*/ 10 w 12"/>
                <a:gd name="T17" fmla="*/ 28 h 28"/>
                <a:gd name="T18" fmla="*/ 4 w 12"/>
                <a:gd name="T19" fmla="*/ 24 h 28"/>
                <a:gd name="T20" fmla="*/ 8 w 12"/>
                <a:gd name="T21" fmla="*/ 24 h 28"/>
                <a:gd name="T22" fmla="*/ 8 w 12"/>
                <a:gd name="T23" fmla="*/ 4 h 28"/>
                <a:gd name="T24" fmla="*/ 4 w 12"/>
                <a:gd name="T25" fmla="*/ 4 h 28"/>
                <a:gd name="T26" fmla="*/ 4 w 12"/>
                <a:gd name="T2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8">
                  <a:moveTo>
                    <a:pt x="10" y="28"/>
                  </a:moveTo>
                  <a:cubicBezTo>
                    <a:pt x="2" y="28"/>
                    <a:pt x="2" y="28"/>
                    <a:pt x="2" y="28"/>
                  </a:cubicBezTo>
                  <a:cubicBezTo>
                    <a:pt x="1" y="28"/>
                    <a:pt x="0" y="27"/>
                    <a:pt x="0" y="26"/>
                  </a:cubicBezTo>
                  <a:cubicBezTo>
                    <a:pt x="0" y="2"/>
                    <a:pt x="0" y="2"/>
                    <a:pt x="0" y="2"/>
                  </a:cubicBezTo>
                  <a:cubicBezTo>
                    <a:pt x="0" y="1"/>
                    <a:pt x="1" y="0"/>
                    <a:pt x="2" y="0"/>
                  </a:cubicBezTo>
                  <a:cubicBezTo>
                    <a:pt x="10" y="0"/>
                    <a:pt x="10" y="0"/>
                    <a:pt x="10" y="0"/>
                  </a:cubicBezTo>
                  <a:cubicBezTo>
                    <a:pt x="11" y="0"/>
                    <a:pt x="12" y="1"/>
                    <a:pt x="12" y="2"/>
                  </a:cubicBezTo>
                  <a:cubicBezTo>
                    <a:pt x="12" y="26"/>
                    <a:pt x="12" y="26"/>
                    <a:pt x="12" y="26"/>
                  </a:cubicBezTo>
                  <a:cubicBezTo>
                    <a:pt x="12" y="27"/>
                    <a:pt x="11" y="28"/>
                    <a:pt x="10" y="28"/>
                  </a:cubicBezTo>
                  <a:close/>
                  <a:moveTo>
                    <a:pt x="4" y="24"/>
                  </a:moveTo>
                  <a:cubicBezTo>
                    <a:pt x="8" y="24"/>
                    <a:pt x="8" y="24"/>
                    <a:pt x="8" y="24"/>
                  </a:cubicBezTo>
                  <a:cubicBezTo>
                    <a:pt x="8" y="4"/>
                    <a:pt x="8" y="4"/>
                    <a:pt x="8" y="4"/>
                  </a:cubicBezTo>
                  <a:cubicBezTo>
                    <a:pt x="4" y="4"/>
                    <a:pt x="4" y="4"/>
                    <a:pt x="4" y="4"/>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8" name="Freeform 1560">
              <a:extLst>
                <a:ext uri="{FF2B5EF4-FFF2-40B4-BE49-F238E27FC236}">
                  <a16:creationId xmlns:a16="http://schemas.microsoft.com/office/drawing/2014/main" id="{598628FD-07B7-4595-8285-46F398727540}"/>
                </a:ext>
              </a:extLst>
            </p:cNvPr>
            <p:cNvSpPr>
              <a:spLocks noEditPoints="1"/>
            </p:cNvSpPr>
            <p:nvPr/>
          </p:nvSpPr>
          <p:spPr bwMode="auto">
            <a:xfrm>
              <a:off x="3541713" y="5218113"/>
              <a:ext cx="44450" cy="74613"/>
            </a:xfrm>
            <a:custGeom>
              <a:avLst/>
              <a:gdLst>
                <a:gd name="T0" fmla="*/ 10 w 12"/>
                <a:gd name="T1" fmla="*/ 20 h 20"/>
                <a:gd name="T2" fmla="*/ 2 w 12"/>
                <a:gd name="T3" fmla="*/ 20 h 20"/>
                <a:gd name="T4" fmla="*/ 0 w 12"/>
                <a:gd name="T5" fmla="*/ 18 h 20"/>
                <a:gd name="T6" fmla="*/ 0 w 12"/>
                <a:gd name="T7" fmla="*/ 2 h 20"/>
                <a:gd name="T8" fmla="*/ 2 w 12"/>
                <a:gd name="T9" fmla="*/ 0 h 20"/>
                <a:gd name="T10" fmla="*/ 10 w 12"/>
                <a:gd name="T11" fmla="*/ 0 h 20"/>
                <a:gd name="T12" fmla="*/ 12 w 12"/>
                <a:gd name="T13" fmla="*/ 2 h 20"/>
                <a:gd name="T14" fmla="*/ 12 w 12"/>
                <a:gd name="T15" fmla="*/ 18 h 20"/>
                <a:gd name="T16" fmla="*/ 10 w 12"/>
                <a:gd name="T17" fmla="*/ 20 h 20"/>
                <a:gd name="T18" fmla="*/ 4 w 12"/>
                <a:gd name="T19" fmla="*/ 16 h 20"/>
                <a:gd name="T20" fmla="*/ 8 w 12"/>
                <a:gd name="T21" fmla="*/ 16 h 20"/>
                <a:gd name="T22" fmla="*/ 8 w 12"/>
                <a:gd name="T23" fmla="*/ 4 h 20"/>
                <a:gd name="T24" fmla="*/ 4 w 12"/>
                <a:gd name="T25" fmla="*/ 4 h 20"/>
                <a:gd name="T26" fmla="*/ 4 w 12"/>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10" y="20"/>
                  </a:moveTo>
                  <a:cubicBezTo>
                    <a:pt x="2" y="20"/>
                    <a:pt x="2" y="20"/>
                    <a:pt x="2" y="20"/>
                  </a:cubicBezTo>
                  <a:cubicBezTo>
                    <a:pt x="1" y="20"/>
                    <a:pt x="0" y="19"/>
                    <a:pt x="0" y="18"/>
                  </a:cubicBezTo>
                  <a:cubicBezTo>
                    <a:pt x="0" y="2"/>
                    <a:pt x="0" y="2"/>
                    <a:pt x="0" y="2"/>
                  </a:cubicBezTo>
                  <a:cubicBezTo>
                    <a:pt x="0" y="1"/>
                    <a:pt x="1" y="0"/>
                    <a:pt x="2" y="0"/>
                  </a:cubicBezTo>
                  <a:cubicBezTo>
                    <a:pt x="10" y="0"/>
                    <a:pt x="10" y="0"/>
                    <a:pt x="10" y="0"/>
                  </a:cubicBezTo>
                  <a:cubicBezTo>
                    <a:pt x="11" y="0"/>
                    <a:pt x="12" y="1"/>
                    <a:pt x="12" y="2"/>
                  </a:cubicBezTo>
                  <a:cubicBezTo>
                    <a:pt x="12" y="18"/>
                    <a:pt x="12" y="18"/>
                    <a:pt x="12" y="18"/>
                  </a:cubicBezTo>
                  <a:cubicBezTo>
                    <a:pt x="12" y="19"/>
                    <a:pt x="11" y="20"/>
                    <a:pt x="10" y="20"/>
                  </a:cubicBezTo>
                  <a:close/>
                  <a:moveTo>
                    <a:pt x="4" y="16"/>
                  </a:moveTo>
                  <a:cubicBezTo>
                    <a:pt x="8" y="16"/>
                    <a:pt x="8" y="16"/>
                    <a:pt x="8" y="16"/>
                  </a:cubicBezTo>
                  <a:cubicBezTo>
                    <a:pt x="8" y="4"/>
                    <a:pt x="8" y="4"/>
                    <a:pt x="8"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9" name="Freeform 1561">
              <a:extLst>
                <a:ext uri="{FF2B5EF4-FFF2-40B4-BE49-F238E27FC236}">
                  <a16:creationId xmlns:a16="http://schemas.microsoft.com/office/drawing/2014/main" id="{1054ABDD-3A72-467E-822C-FB53D7668364}"/>
                </a:ext>
              </a:extLst>
            </p:cNvPr>
            <p:cNvSpPr>
              <a:spLocks noEditPoints="1"/>
            </p:cNvSpPr>
            <p:nvPr/>
          </p:nvSpPr>
          <p:spPr bwMode="auto">
            <a:xfrm>
              <a:off x="3602038" y="5127625"/>
              <a:ext cx="44450" cy="165100"/>
            </a:xfrm>
            <a:custGeom>
              <a:avLst/>
              <a:gdLst>
                <a:gd name="T0" fmla="*/ 10 w 12"/>
                <a:gd name="T1" fmla="*/ 44 h 44"/>
                <a:gd name="T2" fmla="*/ 2 w 12"/>
                <a:gd name="T3" fmla="*/ 44 h 44"/>
                <a:gd name="T4" fmla="*/ 0 w 12"/>
                <a:gd name="T5" fmla="*/ 42 h 44"/>
                <a:gd name="T6" fmla="*/ 0 w 12"/>
                <a:gd name="T7" fmla="*/ 2 h 44"/>
                <a:gd name="T8" fmla="*/ 2 w 12"/>
                <a:gd name="T9" fmla="*/ 0 h 44"/>
                <a:gd name="T10" fmla="*/ 10 w 12"/>
                <a:gd name="T11" fmla="*/ 0 h 44"/>
                <a:gd name="T12" fmla="*/ 12 w 12"/>
                <a:gd name="T13" fmla="*/ 2 h 44"/>
                <a:gd name="T14" fmla="*/ 12 w 12"/>
                <a:gd name="T15" fmla="*/ 42 h 44"/>
                <a:gd name="T16" fmla="*/ 10 w 12"/>
                <a:gd name="T17" fmla="*/ 44 h 44"/>
                <a:gd name="T18" fmla="*/ 4 w 12"/>
                <a:gd name="T19" fmla="*/ 40 h 44"/>
                <a:gd name="T20" fmla="*/ 8 w 12"/>
                <a:gd name="T21" fmla="*/ 40 h 44"/>
                <a:gd name="T22" fmla="*/ 8 w 12"/>
                <a:gd name="T23" fmla="*/ 4 h 44"/>
                <a:gd name="T24" fmla="*/ 4 w 12"/>
                <a:gd name="T25" fmla="*/ 4 h 44"/>
                <a:gd name="T26" fmla="*/ 4 w 12"/>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44">
                  <a:moveTo>
                    <a:pt x="10" y="44"/>
                  </a:moveTo>
                  <a:cubicBezTo>
                    <a:pt x="2" y="44"/>
                    <a:pt x="2" y="44"/>
                    <a:pt x="2" y="44"/>
                  </a:cubicBezTo>
                  <a:cubicBezTo>
                    <a:pt x="1" y="44"/>
                    <a:pt x="0" y="43"/>
                    <a:pt x="0" y="42"/>
                  </a:cubicBezTo>
                  <a:cubicBezTo>
                    <a:pt x="0" y="2"/>
                    <a:pt x="0" y="2"/>
                    <a:pt x="0" y="2"/>
                  </a:cubicBezTo>
                  <a:cubicBezTo>
                    <a:pt x="0" y="1"/>
                    <a:pt x="1" y="0"/>
                    <a:pt x="2" y="0"/>
                  </a:cubicBezTo>
                  <a:cubicBezTo>
                    <a:pt x="10" y="0"/>
                    <a:pt x="10" y="0"/>
                    <a:pt x="10" y="0"/>
                  </a:cubicBezTo>
                  <a:cubicBezTo>
                    <a:pt x="11" y="0"/>
                    <a:pt x="12" y="1"/>
                    <a:pt x="12" y="2"/>
                  </a:cubicBezTo>
                  <a:cubicBezTo>
                    <a:pt x="12" y="42"/>
                    <a:pt x="12" y="42"/>
                    <a:pt x="12" y="42"/>
                  </a:cubicBezTo>
                  <a:cubicBezTo>
                    <a:pt x="12" y="43"/>
                    <a:pt x="11" y="44"/>
                    <a:pt x="10" y="44"/>
                  </a:cubicBezTo>
                  <a:close/>
                  <a:moveTo>
                    <a:pt x="4" y="40"/>
                  </a:moveTo>
                  <a:cubicBezTo>
                    <a:pt x="8" y="40"/>
                    <a:pt x="8" y="40"/>
                    <a:pt x="8" y="40"/>
                  </a:cubicBezTo>
                  <a:cubicBezTo>
                    <a:pt x="8" y="4"/>
                    <a:pt x="8" y="4"/>
                    <a:pt x="8"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50" name="Freeform 1562">
              <a:extLst>
                <a:ext uri="{FF2B5EF4-FFF2-40B4-BE49-F238E27FC236}">
                  <a16:creationId xmlns:a16="http://schemas.microsoft.com/office/drawing/2014/main" id="{661512C5-8439-47B7-B1A5-17281C5F2EF5}"/>
                </a:ext>
              </a:extLst>
            </p:cNvPr>
            <p:cNvSpPr>
              <a:spLocks/>
            </p:cNvSpPr>
            <p:nvPr/>
          </p:nvSpPr>
          <p:spPr bwMode="auto">
            <a:xfrm>
              <a:off x="3451225" y="5127625"/>
              <a:ext cx="225425" cy="165100"/>
            </a:xfrm>
            <a:custGeom>
              <a:avLst/>
              <a:gdLst>
                <a:gd name="T0" fmla="*/ 58 w 60"/>
                <a:gd name="T1" fmla="*/ 44 h 44"/>
                <a:gd name="T2" fmla="*/ 2 w 60"/>
                <a:gd name="T3" fmla="*/ 44 h 44"/>
                <a:gd name="T4" fmla="*/ 0 w 60"/>
                <a:gd name="T5" fmla="*/ 42 h 44"/>
                <a:gd name="T6" fmla="*/ 0 w 60"/>
                <a:gd name="T7" fmla="*/ 2 h 44"/>
                <a:gd name="T8" fmla="*/ 2 w 60"/>
                <a:gd name="T9" fmla="*/ 0 h 44"/>
                <a:gd name="T10" fmla="*/ 4 w 60"/>
                <a:gd name="T11" fmla="*/ 2 h 44"/>
                <a:gd name="T12" fmla="*/ 4 w 60"/>
                <a:gd name="T13" fmla="*/ 40 h 44"/>
                <a:gd name="T14" fmla="*/ 58 w 60"/>
                <a:gd name="T15" fmla="*/ 40 h 44"/>
                <a:gd name="T16" fmla="*/ 60 w 60"/>
                <a:gd name="T17" fmla="*/ 42 h 44"/>
                <a:gd name="T18" fmla="*/ 58 w 60"/>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44">
                  <a:moveTo>
                    <a:pt x="58" y="44"/>
                  </a:moveTo>
                  <a:cubicBezTo>
                    <a:pt x="2" y="44"/>
                    <a:pt x="2" y="44"/>
                    <a:pt x="2" y="44"/>
                  </a:cubicBezTo>
                  <a:cubicBezTo>
                    <a:pt x="1" y="44"/>
                    <a:pt x="0" y="43"/>
                    <a:pt x="0" y="42"/>
                  </a:cubicBezTo>
                  <a:cubicBezTo>
                    <a:pt x="0" y="2"/>
                    <a:pt x="0" y="2"/>
                    <a:pt x="0" y="2"/>
                  </a:cubicBezTo>
                  <a:cubicBezTo>
                    <a:pt x="0" y="1"/>
                    <a:pt x="1" y="0"/>
                    <a:pt x="2" y="0"/>
                  </a:cubicBezTo>
                  <a:cubicBezTo>
                    <a:pt x="3" y="0"/>
                    <a:pt x="4" y="1"/>
                    <a:pt x="4" y="2"/>
                  </a:cubicBezTo>
                  <a:cubicBezTo>
                    <a:pt x="4" y="40"/>
                    <a:pt x="4" y="40"/>
                    <a:pt x="4" y="40"/>
                  </a:cubicBezTo>
                  <a:cubicBezTo>
                    <a:pt x="58" y="40"/>
                    <a:pt x="58" y="40"/>
                    <a:pt x="58" y="40"/>
                  </a:cubicBezTo>
                  <a:cubicBezTo>
                    <a:pt x="59" y="40"/>
                    <a:pt x="60" y="41"/>
                    <a:pt x="60" y="42"/>
                  </a:cubicBezTo>
                  <a:cubicBezTo>
                    <a:pt x="60" y="43"/>
                    <a:pt x="59" y="44"/>
                    <a:pt x="5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sp>
        <p:nvSpPr>
          <p:cNvPr id="551" name="Freeform 377">
            <a:extLst>
              <a:ext uri="{FF2B5EF4-FFF2-40B4-BE49-F238E27FC236}">
                <a16:creationId xmlns:a16="http://schemas.microsoft.com/office/drawing/2014/main" id="{039A199B-3DA1-436D-8211-486B3C572DA3}"/>
              </a:ext>
            </a:extLst>
          </p:cNvPr>
          <p:cNvSpPr>
            <a:spLocks noChangeAspect="1" noEditPoints="1"/>
          </p:cNvSpPr>
          <p:nvPr/>
        </p:nvSpPr>
        <p:spPr bwMode="auto">
          <a:xfrm>
            <a:off x="698507" y="2186361"/>
            <a:ext cx="231184" cy="306484"/>
          </a:xfrm>
          <a:custGeom>
            <a:avLst/>
            <a:gdLst>
              <a:gd name="T0" fmla="*/ 667 w 698"/>
              <a:gd name="T1" fmla="*/ 167 h 924"/>
              <a:gd name="T2" fmla="*/ 666 w 698"/>
              <a:gd name="T3" fmla="*/ 663 h 924"/>
              <a:gd name="T4" fmla="*/ 652 w 698"/>
              <a:gd name="T5" fmla="*/ 697 h 924"/>
              <a:gd name="T6" fmla="*/ 627 w 698"/>
              <a:gd name="T7" fmla="*/ 722 h 924"/>
              <a:gd name="T8" fmla="*/ 594 w 698"/>
              <a:gd name="T9" fmla="*/ 735 h 924"/>
              <a:gd name="T10" fmla="*/ 553 w 698"/>
              <a:gd name="T11" fmla="*/ 735 h 924"/>
              <a:gd name="T12" fmla="*/ 514 w 698"/>
              <a:gd name="T13" fmla="*/ 720 h 924"/>
              <a:gd name="T14" fmla="*/ 485 w 698"/>
              <a:gd name="T15" fmla="*/ 693 h 924"/>
              <a:gd name="T16" fmla="*/ 468 w 698"/>
              <a:gd name="T17" fmla="*/ 657 h 924"/>
              <a:gd name="T18" fmla="*/ 468 w 698"/>
              <a:gd name="T19" fmla="*/ 617 h 924"/>
              <a:gd name="T20" fmla="*/ 485 w 698"/>
              <a:gd name="T21" fmla="*/ 581 h 924"/>
              <a:gd name="T22" fmla="*/ 515 w 698"/>
              <a:gd name="T23" fmla="*/ 553 h 924"/>
              <a:gd name="T24" fmla="*/ 553 w 698"/>
              <a:gd name="T25" fmla="*/ 537 h 924"/>
              <a:gd name="T26" fmla="*/ 667 w 698"/>
              <a:gd name="T27" fmla="*/ 595 h 924"/>
              <a:gd name="T28" fmla="*/ 231 w 698"/>
              <a:gd name="T29" fmla="*/ 817 h 924"/>
              <a:gd name="T30" fmla="*/ 213 w 698"/>
              <a:gd name="T31" fmla="*/ 851 h 924"/>
              <a:gd name="T32" fmla="*/ 183 w 698"/>
              <a:gd name="T33" fmla="*/ 876 h 924"/>
              <a:gd name="T34" fmla="*/ 145 w 698"/>
              <a:gd name="T35" fmla="*/ 891 h 924"/>
              <a:gd name="T36" fmla="*/ 104 w 698"/>
              <a:gd name="T37" fmla="*/ 891 h 924"/>
              <a:gd name="T38" fmla="*/ 71 w 698"/>
              <a:gd name="T39" fmla="*/ 876 h 924"/>
              <a:gd name="T40" fmla="*/ 46 w 698"/>
              <a:gd name="T41" fmla="*/ 850 h 924"/>
              <a:gd name="T42" fmla="*/ 32 w 698"/>
              <a:gd name="T43" fmla="*/ 814 h 924"/>
              <a:gd name="T44" fmla="*/ 32 w 698"/>
              <a:gd name="T45" fmla="*/ 772 h 924"/>
              <a:gd name="T46" fmla="*/ 46 w 698"/>
              <a:gd name="T47" fmla="*/ 734 h 924"/>
              <a:gd name="T48" fmla="*/ 71 w 698"/>
              <a:gd name="T49" fmla="*/ 707 h 924"/>
              <a:gd name="T50" fmla="*/ 104 w 698"/>
              <a:gd name="T51" fmla="*/ 693 h 924"/>
              <a:gd name="T52" fmla="*/ 233 w 698"/>
              <a:gd name="T53" fmla="*/ 712 h 924"/>
              <a:gd name="T54" fmla="*/ 124 w 698"/>
              <a:gd name="T55" fmla="*/ 660 h 924"/>
              <a:gd name="T56" fmla="*/ 74 w 698"/>
              <a:gd name="T57" fmla="*/ 670 h 924"/>
              <a:gd name="T58" fmla="*/ 35 w 698"/>
              <a:gd name="T59" fmla="*/ 697 h 924"/>
              <a:gd name="T60" fmla="*/ 9 w 698"/>
              <a:gd name="T61" fmla="*/ 740 h 924"/>
              <a:gd name="T62" fmla="*/ 0 w 698"/>
              <a:gd name="T63" fmla="*/ 793 h 924"/>
              <a:gd name="T64" fmla="*/ 9 w 698"/>
              <a:gd name="T65" fmla="*/ 845 h 924"/>
              <a:gd name="T66" fmla="*/ 35 w 698"/>
              <a:gd name="T67" fmla="*/ 886 h 924"/>
              <a:gd name="T68" fmla="*/ 74 w 698"/>
              <a:gd name="T69" fmla="*/ 914 h 924"/>
              <a:gd name="T70" fmla="*/ 124 w 698"/>
              <a:gd name="T71" fmla="*/ 924 h 924"/>
              <a:gd name="T72" fmla="*/ 177 w 698"/>
              <a:gd name="T73" fmla="*/ 914 h 924"/>
              <a:gd name="T74" fmla="*/ 222 w 698"/>
              <a:gd name="T75" fmla="*/ 886 h 924"/>
              <a:gd name="T76" fmla="*/ 252 w 698"/>
              <a:gd name="T77" fmla="*/ 847 h 924"/>
              <a:gd name="T78" fmla="*/ 264 w 698"/>
              <a:gd name="T79" fmla="*/ 800 h 924"/>
              <a:gd name="T80" fmla="*/ 667 w 698"/>
              <a:gd name="T81" fmla="*/ 201 h 924"/>
              <a:gd name="T82" fmla="*/ 546 w 698"/>
              <a:gd name="T83" fmla="*/ 507 h 924"/>
              <a:gd name="T84" fmla="*/ 497 w 698"/>
              <a:gd name="T85" fmla="*/ 527 h 924"/>
              <a:gd name="T86" fmla="*/ 458 w 698"/>
              <a:gd name="T87" fmla="*/ 563 h 924"/>
              <a:gd name="T88" fmla="*/ 437 w 698"/>
              <a:gd name="T89" fmla="*/ 611 h 924"/>
              <a:gd name="T90" fmla="*/ 437 w 698"/>
              <a:gd name="T91" fmla="*/ 663 h 924"/>
              <a:gd name="T92" fmla="*/ 458 w 698"/>
              <a:gd name="T93" fmla="*/ 710 h 924"/>
              <a:gd name="T94" fmla="*/ 497 w 698"/>
              <a:gd name="T95" fmla="*/ 745 h 924"/>
              <a:gd name="T96" fmla="*/ 546 w 698"/>
              <a:gd name="T97" fmla="*/ 765 h 924"/>
              <a:gd name="T98" fmla="*/ 601 w 698"/>
              <a:gd name="T99" fmla="*/ 766 h 924"/>
              <a:gd name="T100" fmla="*/ 645 w 698"/>
              <a:gd name="T101" fmla="*/ 747 h 924"/>
              <a:gd name="T102" fmla="*/ 678 w 698"/>
              <a:gd name="T103" fmla="*/ 714 h 924"/>
              <a:gd name="T104" fmla="*/ 696 w 698"/>
              <a:gd name="T105" fmla="*/ 670 h 924"/>
              <a:gd name="T106" fmla="*/ 698 w 698"/>
              <a:gd name="T107" fmla="*/ 50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8" h="924">
                <a:moveTo>
                  <a:pt x="264" y="326"/>
                </a:moveTo>
                <a:lnTo>
                  <a:pt x="264" y="204"/>
                </a:lnTo>
                <a:lnTo>
                  <a:pt x="667" y="45"/>
                </a:lnTo>
                <a:lnTo>
                  <a:pt x="667" y="167"/>
                </a:lnTo>
                <a:lnTo>
                  <a:pt x="264" y="326"/>
                </a:lnTo>
                <a:close/>
                <a:moveTo>
                  <a:pt x="667" y="644"/>
                </a:moveTo>
                <a:lnTo>
                  <a:pt x="667" y="654"/>
                </a:lnTo>
                <a:lnTo>
                  <a:pt x="666" y="663"/>
                </a:lnTo>
                <a:lnTo>
                  <a:pt x="664" y="673"/>
                </a:lnTo>
                <a:lnTo>
                  <a:pt x="661" y="681"/>
                </a:lnTo>
                <a:lnTo>
                  <a:pt x="657" y="690"/>
                </a:lnTo>
                <a:lnTo>
                  <a:pt x="652" y="697"/>
                </a:lnTo>
                <a:lnTo>
                  <a:pt x="647" y="704"/>
                </a:lnTo>
                <a:lnTo>
                  <a:pt x="641" y="711"/>
                </a:lnTo>
                <a:lnTo>
                  <a:pt x="634" y="716"/>
                </a:lnTo>
                <a:lnTo>
                  <a:pt x="627" y="722"/>
                </a:lnTo>
                <a:lnTo>
                  <a:pt x="620" y="726"/>
                </a:lnTo>
                <a:lnTo>
                  <a:pt x="612" y="731"/>
                </a:lnTo>
                <a:lnTo>
                  <a:pt x="603" y="733"/>
                </a:lnTo>
                <a:lnTo>
                  <a:pt x="594" y="735"/>
                </a:lnTo>
                <a:lnTo>
                  <a:pt x="584" y="737"/>
                </a:lnTo>
                <a:lnTo>
                  <a:pt x="574" y="737"/>
                </a:lnTo>
                <a:lnTo>
                  <a:pt x="564" y="736"/>
                </a:lnTo>
                <a:lnTo>
                  <a:pt x="553" y="735"/>
                </a:lnTo>
                <a:lnTo>
                  <a:pt x="543" y="733"/>
                </a:lnTo>
                <a:lnTo>
                  <a:pt x="533" y="730"/>
                </a:lnTo>
                <a:lnTo>
                  <a:pt x="523" y="725"/>
                </a:lnTo>
                <a:lnTo>
                  <a:pt x="514" y="720"/>
                </a:lnTo>
                <a:lnTo>
                  <a:pt x="506" y="714"/>
                </a:lnTo>
                <a:lnTo>
                  <a:pt x="498" y="707"/>
                </a:lnTo>
                <a:lnTo>
                  <a:pt x="491" y="701"/>
                </a:lnTo>
                <a:lnTo>
                  <a:pt x="485" y="693"/>
                </a:lnTo>
                <a:lnTo>
                  <a:pt x="480" y="684"/>
                </a:lnTo>
                <a:lnTo>
                  <a:pt x="474" y="676"/>
                </a:lnTo>
                <a:lnTo>
                  <a:pt x="471" y="666"/>
                </a:lnTo>
                <a:lnTo>
                  <a:pt x="468" y="657"/>
                </a:lnTo>
                <a:lnTo>
                  <a:pt x="466" y="647"/>
                </a:lnTo>
                <a:lnTo>
                  <a:pt x="466" y="637"/>
                </a:lnTo>
                <a:lnTo>
                  <a:pt x="466" y="627"/>
                </a:lnTo>
                <a:lnTo>
                  <a:pt x="468" y="617"/>
                </a:lnTo>
                <a:lnTo>
                  <a:pt x="471" y="607"/>
                </a:lnTo>
                <a:lnTo>
                  <a:pt x="475" y="598"/>
                </a:lnTo>
                <a:lnTo>
                  <a:pt x="480" y="590"/>
                </a:lnTo>
                <a:lnTo>
                  <a:pt x="485" y="581"/>
                </a:lnTo>
                <a:lnTo>
                  <a:pt x="492" y="573"/>
                </a:lnTo>
                <a:lnTo>
                  <a:pt x="498" y="566"/>
                </a:lnTo>
                <a:lnTo>
                  <a:pt x="506" y="560"/>
                </a:lnTo>
                <a:lnTo>
                  <a:pt x="515" y="553"/>
                </a:lnTo>
                <a:lnTo>
                  <a:pt x="524" y="548"/>
                </a:lnTo>
                <a:lnTo>
                  <a:pt x="533" y="544"/>
                </a:lnTo>
                <a:lnTo>
                  <a:pt x="543" y="540"/>
                </a:lnTo>
                <a:lnTo>
                  <a:pt x="553" y="537"/>
                </a:lnTo>
                <a:lnTo>
                  <a:pt x="564" y="536"/>
                </a:lnTo>
                <a:lnTo>
                  <a:pt x="574" y="535"/>
                </a:lnTo>
                <a:lnTo>
                  <a:pt x="667" y="535"/>
                </a:lnTo>
                <a:lnTo>
                  <a:pt x="667" y="595"/>
                </a:lnTo>
                <a:lnTo>
                  <a:pt x="667" y="644"/>
                </a:lnTo>
                <a:close/>
                <a:moveTo>
                  <a:pt x="233" y="800"/>
                </a:moveTo>
                <a:lnTo>
                  <a:pt x="232" y="808"/>
                </a:lnTo>
                <a:lnTo>
                  <a:pt x="231" y="817"/>
                </a:lnTo>
                <a:lnTo>
                  <a:pt x="227" y="826"/>
                </a:lnTo>
                <a:lnTo>
                  <a:pt x="224" y="835"/>
                </a:lnTo>
                <a:lnTo>
                  <a:pt x="219" y="843"/>
                </a:lnTo>
                <a:lnTo>
                  <a:pt x="213" y="851"/>
                </a:lnTo>
                <a:lnTo>
                  <a:pt x="206" y="857"/>
                </a:lnTo>
                <a:lnTo>
                  <a:pt x="200" y="864"/>
                </a:lnTo>
                <a:lnTo>
                  <a:pt x="192" y="871"/>
                </a:lnTo>
                <a:lnTo>
                  <a:pt x="183" y="876"/>
                </a:lnTo>
                <a:lnTo>
                  <a:pt x="174" y="881"/>
                </a:lnTo>
                <a:lnTo>
                  <a:pt x="165" y="885"/>
                </a:lnTo>
                <a:lnTo>
                  <a:pt x="155" y="888"/>
                </a:lnTo>
                <a:lnTo>
                  <a:pt x="145" y="891"/>
                </a:lnTo>
                <a:lnTo>
                  <a:pt x="134" y="892"/>
                </a:lnTo>
                <a:lnTo>
                  <a:pt x="124" y="893"/>
                </a:lnTo>
                <a:lnTo>
                  <a:pt x="114" y="892"/>
                </a:lnTo>
                <a:lnTo>
                  <a:pt x="104" y="891"/>
                </a:lnTo>
                <a:lnTo>
                  <a:pt x="95" y="888"/>
                </a:lnTo>
                <a:lnTo>
                  <a:pt x="86" y="885"/>
                </a:lnTo>
                <a:lnTo>
                  <a:pt x="79" y="881"/>
                </a:lnTo>
                <a:lnTo>
                  <a:pt x="71" y="876"/>
                </a:lnTo>
                <a:lnTo>
                  <a:pt x="63" y="871"/>
                </a:lnTo>
                <a:lnTo>
                  <a:pt x="57" y="864"/>
                </a:lnTo>
                <a:lnTo>
                  <a:pt x="51" y="857"/>
                </a:lnTo>
                <a:lnTo>
                  <a:pt x="46" y="850"/>
                </a:lnTo>
                <a:lnTo>
                  <a:pt x="42" y="842"/>
                </a:lnTo>
                <a:lnTo>
                  <a:pt x="37" y="833"/>
                </a:lnTo>
                <a:lnTo>
                  <a:pt x="34" y="823"/>
                </a:lnTo>
                <a:lnTo>
                  <a:pt x="32" y="814"/>
                </a:lnTo>
                <a:lnTo>
                  <a:pt x="31" y="803"/>
                </a:lnTo>
                <a:lnTo>
                  <a:pt x="31" y="793"/>
                </a:lnTo>
                <a:lnTo>
                  <a:pt x="31" y="782"/>
                </a:lnTo>
                <a:lnTo>
                  <a:pt x="32" y="772"/>
                </a:lnTo>
                <a:lnTo>
                  <a:pt x="34" y="762"/>
                </a:lnTo>
                <a:lnTo>
                  <a:pt x="37" y="752"/>
                </a:lnTo>
                <a:lnTo>
                  <a:pt x="42" y="743"/>
                </a:lnTo>
                <a:lnTo>
                  <a:pt x="46" y="734"/>
                </a:lnTo>
                <a:lnTo>
                  <a:pt x="51" y="726"/>
                </a:lnTo>
                <a:lnTo>
                  <a:pt x="57" y="720"/>
                </a:lnTo>
                <a:lnTo>
                  <a:pt x="63" y="713"/>
                </a:lnTo>
                <a:lnTo>
                  <a:pt x="71" y="707"/>
                </a:lnTo>
                <a:lnTo>
                  <a:pt x="79" y="703"/>
                </a:lnTo>
                <a:lnTo>
                  <a:pt x="86" y="698"/>
                </a:lnTo>
                <a:lnTo>
                  <a:pt x="95" y="695"/>
                </a:lnTo>
                <a:lnTo>
                  <a:pt x="104" y="693"/>
                </a:lnTo>
                <a:lnTo>
                  <a:pt x="114" y="691"/>
                </a:lnTo>
                <a:lnTo>
                  <a:pt x="124" y="691"/>
                </a:lnTo>
                <a:lnTo>
                  <a:pt x="233" y="691"/>
                </a:lnTo>
                <a:lnTo>
                  <a:pt x="233" y="712"/>
                </a:lnTo>
                <a:lnTo>
                  <a:pt x="233" y="800"/>
                </a:lnTo>
                <a:close/>
                <a:moveTo>
                  <a:pt x="233" y="183"/>
                </a:moveTo>
                <a:lnTo>
                  <a:pt x="233" y="660"/>
                </a:lnTo>
                <a:lnTo>
                  <a:pt x="124" y="660"/>
                </a:lnTo>
                <a:lnTo>
                  <a:pt x="111" y="661"/>
                </a:lnTo>
                <a:lnTo>
                  <a:pt x="99" y="662"/>
                </a:lnTo>
                <a:lnTo>
                  <a:pt x="86" y="665"/>
                </a:lnTo>
                <a:lnTo>
                  <a:pt x="74" y="670"/>
                </a:lnTo>
                <a:lnTo>
                  <a:pt x="64" y="675"/>
                </a:lnTo>
                <a:lnTo>
                  <a:pt x="53" y="682"/>
                </a:lnTo>
                <a:lnTo>
                  <a:pt x="44" y="690"/>
                </a:lnTo>
                <a:lnTo>
                  <a:pt x="35" y="697"/>
                </a:lnTo>
                <a:lnTo>
                  <a:pt x="27" y="707"/>
                </a:lnTo>
                <a:lnTo>
                  <a:pt x="20" y="717"/>
                </a:lnTo>
                <a:lnTo>
                  <a:pt x="14" y="728"/>
                </a:lnTo>
                <a:lnTo>
                  <a:pt x="9" y="740"/>
                </a:lnTo>
                <a:lnTo>
                  <a:pt x="5" y="752"/>
                </a:lnTo>
                <a:lnTo>
                  <a:pt x="2" y="765"/>
                </a:lnTo>
                <a:lnTo>
                  <a:pt x="0" y="778"/>
                </a:lnTo>
                <a:lnTo>
                  <a:pt x="0" y="793"/>
                </a:lnTo>
                <a:lnTo>
                  <a:pt x="0" y="806"/>
                </a:lnTo>
                <a:lnTo>
                  <a:pt x="2" y="820"/>
                </a:lnTo>
                <a:lnTo>
                  <a:pt x="5" y="833"/>
                </a:lnTo>
                <a:lnTo>
                  <a:pt x="9" y="845"/>
                </a:lnTo>
                <a:lnTo>
                  <a:pt x="14" y="856"/>
                </a:lnTo>
                <a:lnTo>
                  <a:pt x="20" y="867"/>
                </a:lnTo>
                <a:lnTo>
                  <a:pt x="26" y="877"/>
                </a:lnTo>
                <a:lnTo>
                  <a:pt x="35" y="886"/>
                </a:lnTo>
                <a:lnTo>
                  <a:pt x="43" y="895"/>
                </a:lnTo>
                <a:lnTo>
                  <a:pt x="53" y="903"/>
                </a:lnTo>
                <a:lnTo>
                  <a:pt x="63" y="908"/>
                </a:lnTo>
                <a:lnTo>
                  <a:pt x="74" y="914"/>
                </a:lnTo>
                <a:lnTo>
                  <a:pt x="85" y="918"/>
                </a:lnTo>
                <a:lnTo>
                  <a:pt x="97" y="922"/>
                </a:lnTo>
                <a:lnTo>
                  <a:pt x="111" y="923"/>
                </a:lnTo>
                <a:lnTo>
                  <a:pt x="124" y="924"/>
                </a:lnTo>
                <a:lnTo>
                  <a:pt x="137" y="923"/>
                </a:lnTo>
                <a:lnTo>
                  <a:pt x="151" y="921"/>
                </a:lnTo>
                <a:lnTo>
                  <a:pt x="164" y="918"/>
                </a:lnTo>
                <a:lnTo>
                  <a:pt x="177" y="914"/>
                </a:lnTo>
                <a:lnTo>
                  <a:pt x="190" y="908"/>
                </a:lnTo>
                <a:lnTo>
                  <a:pt x="201" y="902"/>
                </a:lnTo>
                <a:lnTo>
                  <a:pt x="212" y="895"/>
                </a:lnTo>
                <a:lnTo>
                  <a:pt x="222" y="886"/>
                </a:lnTo>
                <a:lnTo>
                  <a:pt x="231" y="877"/>
                </a:lnTo>
                <a:lnTo>
                  <a:pt x="240" y="868"/>
                </a:lnTo>
                <a:lnTo>
                  <a:pt x="246" y="857"/>
                </a:lnTo>
                <a:lnTo>
                  <a:pt x="252" y="847"/>
                </a:lnTo>
                <a:lnTo>
                  <a:pt x="257" y="835"/>
                </a:lnTo>
                <a:lnTo>
                  <a:pt x="261" y="824"/>
                </a:lnTo>
                <a:lnTo>
                  <a:pt x="263" y="812"/>
                </a:lnTo>
                <a:lnTo>
                  <a:pt x="264" y="800"/>
                </a:lnTo>
                <a:lnTo>
                  <a:pt x="264" y="712"/>
                </a:lnTo>
                <a:lnTo>
                  <a:pt x="264" y="660"/>
                </a:lnTo>
                <a:lnTo>
                  <a:pt x="264" y="360"/>
                </a:lnTo>
                <a:lnTo>
                  <a:pt x="667" y="201"/>
                </a:lnTo>
                <a:lnTo>
                  <a:pt x="667" y="504"/>
                </a:lnTo>
                <a:lnTo>
                  <a:pt x="574" y="504"/>
                </a:lnTo>
                <a:lnTo>
                  <a:pt x="561" y="505"/>
                </a:lnTo>
                <a:lnTo>
                  <a:pt x="546" y="507"/>
                </a:lnTo>
                <a:lnTo>
                  <a:pt x="534" y="511"/>
                </a:lnTo>
                <a:lnTo>
                  <a:pt x="521" y="515"/>
                </a:lnTo>
                <a:lnTo>
                  <a:pt x="508" y="521"/>
                </a:lnTo>
                <a:lnTo>
                  <a:pt x="497" y="527"/>
                </a:lnTo>
                <a:lnTo>
                  <a:pt x="486" y="535"/>
                </a:lnTo>
                <a:lnTo>
                  <a:pt x="476" y="544"/>
                </a:lnTo>
                <a:lnTo>
                  <a:pt x="467" y="553"/>
                </a:lnTo>
                <a:lnTo>
                  <a:pt x="458" y="563"/>
                </a:lnTo>
                <a:lnTo>
                  <a:pt x="452" y="574"/>
                </a:lnTo>
                <a:lnTo>
                  <a:pt x="446" y="586"/>
                </a:lnTo>
                <a:lnTo>
                  <a:pt x="441" y="598"/>
                </a:lnTo>
                <a:lnTo>
                  <a:pt x="437" y="611"/>
                </a:lnTo>
                <a:lnTo>
                  <a:pt x="435" y="624"/>
                </a:lnTo>
                <a:lnTo>
                  <a:pt x="435" y="637"/>
                </a:lnTo>
                <a:lnTo>
                  <a:pt x="435" y="651"/>
                </a:lnTo>
                <a:lnTo>
                  <a:pt x="437" y="663"/>
                </a:lnTo>
                <a:lnTo>
                  <a:pt x="441" y="676"/>
                </a:lnTo>
                <a:lnTo>
                  <a:pt x="446" y="687"/>
                </a:lnTo>
                <a:lnTo>
                  <a:pt x="452" y="700"/>
                </a:lnTo>
                <a:lnTo>
                  <a:pt x="458" y="710"/>
                </a:lnTo>
                <a:lnTo>
                  <a:pt x="467" y="720"/>
                </a:lnTo>
                <a:lnTo>
                  <a:pt x="476" y="730"/>
                </a:lnTo>
                <a:lnTo>
                  <a:pt x="486" y="738"/>
                </a:lnTo>
                <a:lnTo>
                  <a:pt x="497" y="745"/>
                </a:lnTo>
                <a:lnTo>
                  <a:pt x="508" y="752"/>
                </a:lnTo>
                <a:lnTo>
                  <a:pt x="521" y="757"/>
                </a:lnTo>
                <a:lnTo>
                  <a:pt x="534" y="763"/>
                </a:lnTo>
                <a:lnTo>
                  <a:pt x="546" y="765"/>
                </a:lnTo>
                <a:lnTo>
                  <a:pt x="561" y="767"/>
                </a:lnTo>
                <a:lnTo>
                  <a:pt x="574" y="768"/>
                </a:lnTo>
                <a:lnTo>
                  <a:pt x="587" y="767"/>
                </a:lnTo>
                <a:lnTo>
                  <a:pt x="601" y="766"/>
                </a:lnTo>
                <a:lnTo>
                  <a:pt x="612" y="763"/>
                </a:lnTo>
                <a:lnTo>
                  <a:pt x="624" y="758"/>
                </a:lnTo>
                <a:lnTo>
                  <a:pt x="635" y="754"/>
                </a:lnTo>
                <a:lnTo>
                  <a:pt x="645" y="747"/>
                </a:lnTo>
                <a:lnTo>
                  <a:pt x="654" y="741"/>
                </a:lnTo>
                <a:lnTo>
                  <a:pt x="663" y="733"/>
                </a:lnTo>
                <a:lnTo>
                  <a:pt x="671" y="724"/>
                </a:lnTo>
                <a:lnTo>
                  <a:pt x="678" y="714"/>
                </a:lnTo>
                <a:lnTo>
                  <a:pt x="684" y="704"/>
                </a:lnTo>
                <a:lnTo>
                  <a:pt x="690" y="693"/>
                </a:lnTo>
                <a:lnTo>
                  <a:pt x="694" y="682"/>
                </a:lnTo>
                <a:lnTo>
                  <a:pt x="696" y="670"/>
                </a:lnTo>
                <a:lnTo>
                  <a:pt x="698" y="657"/>
                </a:lnTo>
                <a:lnTo>
                  <a:pt x="698" y="644"/>
                </a:lnTo>
                <a:lnTo>
                  <a:pt x="698" y="595"/>
                </a:lnTo>
                <a:lnTo>
                  <a:pt x="698" y="504"/>
                </a:lnTo>
                <a:lnTo>
                  <a:pt x="698" y="0"/>
                </a:lnTo>
                <a:lnTo>
                  <a:pt x="233" y="18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52" name="Freeform 114">
            <a:extLst>
              <a:ext uri="{FF2B5EF4-FFF2-40B4-BE49-F238E27FC236}">
                <a16:creationId xmlns:a16="http://schemas.microsoft.com/office/drawing/2014/main" id="{E5AF43BD-6DE7-43A6-A2A0-556A156021BE}"/>
              </a:ext>
            </a:extLst>
          </p:cNvPr>
          <p:cNvSpPr>
            <a:spLocks noChangeAspect="1" noEditPoints="1"/>
          </p:cNvSpPr>
          <p:nvPr/>
        </p:nvSpPr>
        <p:spPr bwMode="auto">
          <a:xfrm>
            <a:off x="4897347" y="2186361"/>
            <a:ext cx="306484" cy="306484"/>
          </a:xfrm>
          <a:custGeom>
            <a:avLst/>
            <a:gdLst>
              <a:gd name="T0" fmla="*/ 752 w 873"/>
              <a:gd name="T1" fmla="*/ 693 h 873"/>
              <a:gd name="T2" fmla="*/ 511 w 873"/>
              <a:gd name="T3" fmla="*/ 693 h 873"/>
              <a:gd name="T4" fmla="*/ 421 w 873"/>
              <a:gd name="T5" fmla="*/ 693 h 873"/>
              <a:gd name="T6" fmla="*/ 180 w 873"/>
              <a:gd name="T7" fmla="*/ 843 h 873"/>
              <a:gd name="T8" fmla="*/ 120 w 873"/>
              <a:gd name="T9" fmla="*/ 693 h 873"/>
              <a:gd name="T10" fmla="*/ 692 w 873"/>
              <a:gd name="T11" fmla="*/ 30 h 873"/>
              <a:gd name="T12" fmla="*/ 180 w 873"/>
              <a:gd name="T13" fmla="*/ 151 h 873"/>
              <a:gd name="T14" fmla="*/ 782 w 873"/>
              <a:gd name="T15" fmla="*/ 435 h 873"/>
              <a:gd name="T16" fmla="*/ 776 w 873"/>
              <a:gd name="T17" fmla="*/ 425 h 873"/>
              <a:gd name="T18" fmla="*/ 451 w 873"/>
              <a:gd name="T19" fmla="*/ 422 h 873"/>
              <a:gd name="T20" fmla="*/ 713 w 873"/>
              <a:gd name="T21" fmla="*/ 180 h 873"/>
              <a:gd name="T22" fmla="*/ 721 w 873"/>
              <a:gd name="T23" fmla="*/ 172 h 873"/>
              <a:gd name="T24" fmla="*/ 721 w 873"/>
              <a:gd name="T25" fmla="*/ 13 h 873"/>
              <a:gd name="T26" fmla="*/ 716 w 873"/>
              <a:gd name="T27" fmla="*/ 3 h 873"/>
              <a:gd name="T28" fmla="*/ 165 w 873"/>
              <a:gd name="T29" fmla="*/ 0 h 873"/>
              <a:gd name="T30" fmla="*/ 155 w 873"/>
              <a:gd name="T31" fmla="*/ 6 h 873"/>
              <a:gd name="T32" fmla="*/ 150 w 873"/>
              <a:gd name="T33" fmla="*/ 15 h 873"/>
              <a:gd name="T34" fmla="*/ 153 w 873"/>
              <a:gd name="T35" fmla="*/ 175 h 873"/>
              <a:gd name="T36" fmla="*/ 163 w 873"/>
              <a:gd name="T37" fmla="*/ 181 h 873"/>
              <a:gd name="T38" fmla="*/ 105 w 873"/>
              <a:gd name="T39" fmla="*/ 422 h 873"/>
              <a:gd name="T40" fmla="*/ 94 w 873"/>
              <a:gd name="T41" fmla="*/ 427 h 873"/>
              <a:gd name="T42" fmla="*/ 90 w 873"/>
              <a:gd name="T43" fmla="*/ 437 h 873"/>
              <a:gd name="T44" fmla="*/ 9 w 873"/>
              <a:gd name="T45" fmla="*/ 664 h 873"/>
              <a:gd name="T46" fmla="*/ 1 w 873"/>
              <a:gd name="T47" fmla="*/ 673 h 873"/>
              <a:gd name="T48" fmla="*/ 0 w 873"/>
              <a:gd name="T49" fmla="*/ 861 h 873"/>
              <a:gd name="T50" fmla="*/ 6 w 873"/>
              <a:gd name="T51" fmla="*/ 871 h 873"/>
              <a:gd name="T52" fmla="*/ 196 w 873"/>
              <a:gd name="T53" fmla="*/ 873 h 873"/>
              <a:gd name="T54" fmla="*/ 205 w 873"/>
              <a:gd name="T55" fmla="*/ 869 h 873"/>
              <a:gd name="T56" fmla="*/ 211 w 873"/>
              <a:gd name="T57" fmla="*/ 858 h 873"/>
              <a:gd name="T58" fmla="*/ 208 w 873"/>
              <a:gd name="T59" fmla="*/ 669 h 873"/>
              <a:gd name="T60" fmla="*/ 198 w 873"/>
              <a:gd name="T61" fmla="*/ 663 h 873"/>
              <a:gd name="T62" fmla="*/ 421 w 873"/>
              <a:gd name="T63" fmla="*/ 452 h 873"/>
              <a:gd name="T64" fmla="*/ 340 w 873"/>
              <a:gd name="T65" fmla="*/ 664 h 873"/>
              <a:gd name="T66" fmla="*/ 332 w 873"/>
              <a:gd name="T67" fmla="*/ 673 h 873"/>
              <a:gd name="T68" fmla="*/ 331 w 873"/>
              <a:gd name="T69" fmla="*/ 861 h 873"/>
              <a:gd name="T70" fmla="*/ 337 w 873"/>
              <a:gd name="T71" fmla="*/ 871 h 873"/>
              <a:gd name="T72" fmla="*/ 526 w 873"/>
              <a:gd name="T73" fmla="*/ 873 h 873"/>
              <a:gd name="T74" fmla="*/ 537 w 873"/>
              <a:gd name="T75" fmla="*/ 869 h 873"/>
              <a:gd name="T76" fmla="*/ 541 w 873"/>
              <a:gd name="T77" fmla="*/ 858 h 873"/>
              <a:gd name="T78" fmla="*/ 539 w 873"/>
              <a:gd name="T79" fmla="*/ 669 h 873"/>
              <a:gd name="T80" fmla="*/ 529 w 873"/>
              <a:gd name="T81" fmla="*/ 663 h 873"/>
              <a:gd name="T82" fmla="*/ 752 w 873"/>
              <a:gd name="T83" fmla="*/ 452 h 873"/>
              <a:gd name="T84" fmla="*/ 671 w 873"/>
              <a:gd name="T85" fmla="*/ 664 h 873"/>
              <a:gd name="T86" fmla="*/ 663 w 873"/>
              <a:gd name="T87" fmla="*/ 673 h 873"/>
              <a:gd name="T88" fmla="*/ 662 w 873"/>
              <a:gd name="T89" fmla="*/ 861 h 873"/>
              <a:gd name="T90" fmla="*/ 669 w 873"/>
              <a:gd name="T91" fmla="*/ 871 h 873"/>
              <a:gd name="T92" fmla="*/ 858 w 873"/>
              <a:gd name="T93" fmla="*/ 873 h 873"/>
              <a:gd name="T94" fmla="*/ 868 w 873"/>
              <a:gd name="T95" fmla="*/ 869 h 873"/>
              <a:gd name="T96" fmla="*/ 873 w 873"/>
              <a:gd name="T97" fmla="*/ 858 h 873"/>
              <a:gd name="T98" fmla="*/ 870 w 873"/>
              <a:gd name="T99" fmla="*/ 669 h 873"/>
              <a:gd name="T100" fmla="*/ 861 w 873"/>
              <a:gd name="T101" fmla="*/ 66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873">
                <a:moveTo>
                  <a:pt x="843" y="843"/>
                </a:moveTo>
                <a:lnTo>
                  <a:pt x="692" y="843"/>
                </a:lnTo>
                <a:lnTo>
                  <a:pt x="692" y="693"/>
                </a:lnTo>
                <a:lnTo>
                  <a:pt x="752" y="693"/>
                </a:lnTo>
                <a:lnTo>
                  <a:pt x="782" y="693"/>
                </a:lnTo>
                <a:lnTo>
                  <a:pt x="843" y="693"/>
                </a:lnTo>
                <a:lnTo>
                  <a:pt x="843" y="843"/>
                </a:lnTo>
                <a:close/>
                <a:moveTo>
                  <a:pt x="511" y="693"/>
                </a:moveTo>
                <a:lnTo>
                  <a:pt x="511" y="843"/>
                </a:lnTo>
                <a:lnTo>
                  <a:pt x="361" y="843"/>
                </a:lnTo>
                <a:lnTo>
                  <a:pt x="361" y="693"/>
                </a:lnTo>
                <a:lnTo>
                  <a:pt x="421" y="693"/>
                </a:lnTo>
                <a:lnTo>
                  <a:pt x="451" y="693"/>
                </a:lnTo>
                <a:lnTo>
                  <a:pt x="511" y="693"/>
                </a:lnTo>
                <a:close/>
                <a:moveTo>
                  <a:pt x="180" y="693"/>
                </a:moveTo>
                <a:lnTo>
                  <a:pt x="180" y="843"/>
                </a:lnTo>
                <a:lnTo>
                  <a:pt x="30" y="843"/>
                </a:lnTo>
                <a:lnTo>
                  <a:pt x="30" y="693"/>
                </a:lnTo>
                <a:lnTo>
                  <a:pt x="90" y="693"/>
                </a:lnTo>
                <a:lnTo>
                  <a:pt x="120" y="693"/>
                </a:lnTo>
                <a:lnTo>
                  <a:pt x="180" y="693"/>
                </a:lnTo>
                <a:close/>
                <a:moveTo>
                  <a:pt x="180" y="151"/>
                </a:moveTo>
                <a:lnTo>
                  <a:pt x="180" y="30"/>
                </a:lnTo>
                <a:lnTo>
                  <a:pt x="692" y="30"/>
                </a:lnTo>
                <a:lnTo>
                  <a:pt x="692" y="151"/>
                </a:lnTo>
                <a:lnTo>
                  <a:pt x="451" y="151"/>
                </a:lnTo>
                <a:lnTo>
                  <a:pt x="421" y="151"/>
                </a:lnTo>
                <a:lnTo>
                  <a:pt x="180" y="151"/>
                </a:lnTo>
                <a:close/>
                <a:moveTo>
                  <a:pt x="858" y="663"/>
                </a:moveTo>
                <a:lnTo>
                  <a:pt x="782" y="663"/>
                </a:lnTo>
                <a:lnTo>
                  <a:pt x="782" y="437"/>
                </a:lnTo>
                <a:lnTo>
                  <a:pt x="782" y="435"/>
                </a:lnTo>
                <a:lnTo>
                  <a:pt x="781" y="431"/>
                </a:lnTo>
                <a:lnTo>
                  <a:pt x="779" y="429"/>
                </a:lnTo>
                <a:lnTo>
                  <a:pt x="778" y="427"/>
                </a:lnTo>
                <a:lnTo>
                  <a:pt x="776" y="425"/>
                </a:lnTo>
                <a:lnTo>
                  <a:pt x="773" y="424"/>
                </a:lnTo>
                <a:lnTo>
                  <a:pt x="771" y="423"/>
                </a:lnTo>
                <a:lnTo>
                  <a:pt x="767" y="422"/>
                </a:lnTo>
                <a:lnTo>
                  <a:pt x="451" y="422"/>
                </a:lnTo>
                <a:lnTo>
                  <a:pt x="451" y="181"/>
                </a:lnTo>
                <a:lnTo>
                  <a:pt x="707" y="181"/>
                </a:lnTo>
                <a:lnTo>
                  <a:pt x="711" y="181"/>
                </a:lnTo>
                <a:lnTo>
                  <a:pt x="713" y="180"/>
                </a:lnTo>
                <a:lnTo>
                  <a:pt x="716" y="178"/>
                </a:lnTo>
                <a:lnTo>
                  <a:pt x="718" y="177"/>
                </a:lnTo>
                <a:lnTo>
                  <a:pt x="719" y="175"/>
                </a:lnTo>
                <a:lnTo>
                  <a:pt x="721" y="172"/>
                </a:lnTo>
                <a:lnTo>
                  <a:pt x="721" y="170"/>
                </a:lnTo>
                <a:lnTo>
                  <a:pt x="722" y="166"/>
                </a:lnTo>
                <a:lnTo>
                  <a:pt x="722" y="15"/>
                </a:lnTo>
                <a:lnTo>
                  <a:pt x="721" y="13"/>
                </a:lnTo>
                <a:lnTo>
                  <a:pt x="721" y="10"/>
                </a:lnTo>
                <a:lnTo>
                  <a:pt x="719" y="8"/>
                </a:lnTo>
                <a:lnTo>
                  <a:pt x="718" y="6"/>
                </a:lnTo>
                <a:lnTo>
                  <a:pt x="716" y="3"/>
                </a:lnTo>
                <a:lnTo>
                  <a:pt x="713" y="2"/>
                </a:lnTo>
                <a:lnTo>
                  <a:pt x="711" y="1"/>
                </a:lnTo>
                <a:lnTo>
                  <a:pt x="707" y="0"/>
                </a:lnTo>
                <a:lnTo>
                  <a:pt x="165" y="0"/>
                </a:lnTo>
                <a:lnTo>
                  <a:pt x="163" y="1"/>
                </a:lnTo>
                <a:lnTo>
                  <a:pt x="159" y="2"/>
                </a:lnTo>
                <a:lnTo>
                  <a:pt x="157" y="3"/>
                </a:lnTo>
                <a:lnTo>
                  <a:pt x="155" y="6"/>
                </a:lnTo>
                <a:lnTo>
                  <a:pt x="153" y="8"/>
                </a:lnTo>
                <a:lnTo>
                  <a:pt x="152" y="10"/>
                </a:lnTo>
                <a:lnTo>
                  <a:pt x="151" y="13"/>
                </a:lnTo>
                <a:lnTo>
                  <a:pt x="150" y="15"/>
                </a:lnTo>
                <a:lnTo>
                  <a:pt x="150" y="166"/>
                </a:lnTo>
                <a:lnTo>
                  <a:pt x="151" y="170"/>
                </a:lnTo>
                <a:lnTo>
                  <a:pt x="152" y="172"/>
                </a:lnTo>
                <a:lnTo>
                  <a:pt x="153" y="175"/>
                </a:lnTo>
                <a:lnTo>
                  <a:pt x="155" y="177"/>
                </a:lnTo>
                <a:lnTo>
                  <a:pt x="157" y="178"/>
                </a:lnTo>
                <a:lnTo>
                  <a:pt x="159" y="180"/>
                </a:lnTo>
                <a:lnTo>
                  <a:pt x="163" y="181"/>
                </a:lnTo>
                <a:lnTo>
                  <a:pt x="165" y="181"/>
                </a:lnTo>
                <a:lnTo>
                  <a:pt x="421" y="181"/>
                </a:lnTo>
                <a:lnTo>
                  <a:pt x="421" y="422"/>
                </a:lnTo>
                <a:lnTo>
                  <a:pt x="105" y="422"/>
                </a:lnTo>
                <a:lnTo>
                  <a:pt x="101" y="423"/>
                </a:lnTo>
                <a:lnTo>
                  <a:pt x="99" y="424"/>
                </a:lnTo>
                <a:lnTo>
                  <a:pt x="96" y="425"/>
                </a:lnTo>
                <a:lnTo>
                  <a:pt x="94" y="427"/>
                </a:lnTo>
                <a:lnTo>
                  <a:pt x="93" y="429"/>
                </a:lnTo>
                <a:lnTo>
                  <a:pt x="91" y="431"/>
                </a:lnTo>
                <a:lnTo>
                  <a:pt x="91" y="435"/>
                </a:lnTo>
                <a:lnTo>
                  <a:pt x="90" y="437"/>
                </a:lnTo>
                <a:lnTo>
                  <a:pt x="90" y="663"/>
                </a:lnTo>
                <a:lnTo>
                  <a:pt x="15" y="663"/>
                </a:lnTo>
                <a:lnTo>
                  <a:pt x="11" y="663"/>
                </a:lnTo>
                <a:lnTo>
                  <a:pt x="9" y="664"/>
                </a:lnTo>
                <a:lnTo>
                  <a:pt x="6" y="665"/>
                </a:lnTo>
                <a:lnTo>
                  <a:pt x="4" y="667"/>
                </a:lnTo>
                <a:lnTo>
                  <a:pt x="2" y="669"/>
                </a:lnTo>
                <a:lnTo>
                  <a:pt x="1" y="673"/>
                </a:lnTo>
                <a:lnTo>
                  <a:pt x="0" y="675"/>
                </a:lnTo>
                <a:lnTo>
                  <a:pt x="0" y="678"/>
                </a:lnTo>
                <a:lnTo>
                  <a:pt x="0" y="858"/>
                </a:lnTo>
                <a:lnTo>
                  <a:pt x="0" y="861"/>
                </a:lnTo>
                <a:lnTo>
                  <a:pt x="1" y="865"/>
                </a:lnTo>
                <a:lnTo>
                  <a:pt x="2" y="867"/>
                </a:lnTo>
                <a:lnTo>
                  <a:pt x="4" y="869"/>
                </a:lnTo>
                <a:lnTo>
                  <a:pt x="6" y="871"/>
                </a:lnTo>
                <a:lnTo>
                  <a:pt x="9" y="872"/>
                </a:lnTo>
                <a:lnTo>
                  <a:pt x="11" y="873"/>
                </a:lnTo>
                <a:lnTo>
                  <a:pt x="15" y="873"/>
                </a:lnTo>
                <a:lnTo>
                  <a:pt x="196" y="873"/>
                </a:lnTo>
                <a:lnTo>
                  <a:pt x="198" y="873"/>
                </a:lnTo>
                <a:lnTo>
                  <a:pt x="201" y="872"/>
                </a:lnTo>
                <a:lnTo>
                  <a:pt x="203" y="871"/>
                </a:lnTo>
                <a:lnTo>
                  <a:pt x="205" y="869"/>
                </a:lnTo>
                <a:lnTo>
                  <a:pt x="208" y="867"/>
                </a:lnTo>
                <a:lnTo>
                  <a:pt x="209" y="865"/>
                </a:lnTo>
                <a:lnTo>
                  <a:pt x="210" y="861"/>
                </a:lnTo>
                <a:lnTo>
                  <a:pt x="211" y="858"/>
                </a:lnTo>
                <a:lnTo>
                  <a:pt x="211" y="678"/>
                </a:lnTo>
                <a:lnTo>
                  <a:pt x="210" y="675"/>
                </a:lnTo>
                <a:lnTo>
                  <a:pt x="209" y="673"/>
                </a:lnTo>
                <a:lnTo>
                  <a:pt x="208" y="669"/>
                </a:lnTo>
                <a:lnTo>
                  <a:pt x="205" y="667"/>
                </a:lnTo>
                <a:lnTo>
                  <a:pt x="203" y="665"/>
                </a:lnTo>
                <a:lnTo>
                  <a:pt x="201" y="664"/>
                </a:lnTo>
                <a:lnTo>
                  <a:pt x="198" y="663"/>
                </a:lnTo>
                <a:lnTo>
                  <a:pt x="196" y="663"/>
                </a:lnTo>
                <a:lnTo>
                  <a:pt x="120" y="663"/>
                </a:lnTo>
                <a:lnTo>
                  <a:pt x="120" y="452"/>
                </a:lnTo>
                <a:lnTo>
                  <a:pt x="421" y="452"/>
                </a:lnTo>
                <a:lnTo>
                  <a:pt x="421" y="663"/>
                </a:lnTo>
                <a:lnTo>
                  <a:pt x="346" y="663"/>
                </a:lnTo>
                <a:lnTo>
                  <a:pt x="343" y="663"/>
                </a:lnTo>
                <a:lnTo>
                  <a:pt x="340" y="664"/>
                </a:lnTo>
                <a:lnTo>
                  <a:pt x="337" y="665"/>
                </a:lnTo>
                <a:lnTo>
                  <a:pt x="335" y="667"/>
                </a:lnTo>
                <a:lnTo>
                  <a:pt x="333" y="669"/>
                </a:lnTo>
                <a:lnTo>
                  <a:pt x="332" y="673"/>
                </a:lnTo>
                <a:lnTo>
                  <a:pt x="331" y="675"/>
                </a:lnTo>
                <a:lnTo>
                  <a:pt x="331" y="678"/>
                </a:lnTo>
                <a:lnTo>
                  <a:pt x="331" y="858"/>
                </a:lnTo>
                <a:lnTo>
                  <a:pt x="331" y="861"/>
                </a:lnTo>
                <a:lnTo>
                  <a:pt x="332" y="865"/>
                </a:lnTo>
                <a:lnTo>
                  <a:pt x="333" y="867"/>
                </a:lnTo>
                <a:lnTo>
                  <a:pt x="335" y="869"/>
                </a:lnTo>
                <a:lnTo>
                  <a:pt x="337" y="871"/>
                </a:lnTo>
                <a:lnTo>
                  <a:pt x="340" y="872"/>
                </a:lnTo>
                <a:lnTo>
                  <a:pt x="343" y="873"/>
                </a:lnTo>
                <a:lnTo>
                  <a:pt x="346" y="873"/>
                </a:lnTo>
                <a:lnTo>
                  <a:pt x="526" y="873"/>
                </a:lnTo>
                <a:lnTo>
                  <a:pt x="529" y="873"/>
                </a:lnTo>
                <a:lnTo>
                  <a:pt x="533" y="872"/>
                </a:lnTo>
                <a:lnTo>
                  <a:pt x="535" y="871"/>
                </a:lnTo>
                <a:lnTo>
                  <a:pt x="537" y="869"/>
                </a:lnTo>
                <a:lnTo>
                  <a:pt x="539" y="867"/>
                </a:lnTo>
                <a:lnTo>
                  <a:pt x="540" y="865"/>
                </a:lnTo>
                <a:lnTo>
                  <a:pt x="541" y="861"/>
                </a:lnTo>
                <a:lnTo>
                  <a:pt x="541" y="858"/>
                </a:lnTo>
                <a:lnTo>
                  <a:pt x="541" y="678"/>
                </a:lnTo>
                <a:lnTo>
                  <a:pt x="541" y="675"/>
                </a:lnTo>
                <a:lnTo>
                  <a:pt x="540" y="673"/>
                </a:lnTo>
                <a:lnTo>
                  <a:pt x="539" y="669"/>
                </a:lnTo>
                <a:lnTo>
                  <a:pt x="537" y="667"/>
                </a:lnTo>
                <a:lnTo>
                  <a:pt x="535" y="665"/>
                </a:lnTo>
                <a:lnTo>
                  <a:pt x="533" y="664"/>
                </a:lnTo>
                <a:lnTo>
                  <a:pt x="529" y="663"/>
                </a:lnTo>
                <a:lnTo>
                  <a:pt x="526" y="663"/>
                </a:lnTo>
                <a:lnTo>
                  <a:pt x="451" y="663"/>
                </a:lnTo>
                <a:lnTo>
                  <a:pt x="451" y="452"/>
                </a:lnTo>
                <a:lnTo>
                  <a:pt x="752" y="452"/>
                </a:lnTo>
                <a:lnTo>
                  <a:pt x="752" y="663"/>
                </a:lnTo>
                <a:lnTo>
                  <a:pt x="677" y="663"/>
                </a:lnTo>
                <a:lnTo>
                  <a:pt x="674" y="663"/>
                </a:lnTo>
                <a:lnTo>
                  <a:pt x="671" y="664"/>
                </a:lnTo>
                <a:lnTo>
                  <a:pt x="669" y="665"/>
                </a:lnTo>
                <a:lnTo>
                  <a:pt x="667" y="667"/>
                </a:lnTo>
                <a:lnTo>
                  <a:pt x="664" y="669"/>
                </a:lnTo>
                <a:lnTo>
                  <a:pt x="663" y="673"/>
                </a:lnTo>
                <a:lnTo>
                  <a:pt x="662" y="675"/>
                </a:lnTo>
                <a:lnTo>
                  <a:pt x="662" y="678"/>
                </a:lnTo>
                <a:lnTo>
                  <a:pt x="662" y="858"/>
                </a:lnTo>
                <a:lnTo>
                  <a:pt x="662" y="861"/>
                </a:lnTo>
                <a:lnTo>
                  <a:pt x="663" y="865"/>
                </a:lnTo>
                <a:lnTo>
                  <a:pt x="664" y="867"/>
                </a:lnTo>
                <a:lnTo>
                  <a:pt x="667" y="869"/>
                </a:lnTo>
                <a:lnTo>
                  <a:pt x="669" y="871"/>
                </a:lnTo>
                <a:lnTo>
                  <a:pt x="671" y="872"/>
                </a:lnTo>
                <a:lnTo>
                  <a:pt x="674" y="873"/>
                </a:lnTo>
                <a:lnTo>
                  <a:pt x="677" y="873"/>
                </a:lnTo>
                <a:lnTo>
                  <a:pt x="858" y="873"/>
                </a:lnTo>
                <a:lnTo>
                  <a:pt x="861" y="873"/>
                </a:lnTo>
                <a:lnTo>
                  <a:pt x="864" y="872"/>
                </a:lnTo>
                <a:lnTo>
                  <a:pt x="866" y="871"/>
                </a:lnTo>
                <a:lnTo>
                  <a:pt x="868" y="869"/>
                </a:lnTo>
                <a:lnTo>
                  <a:pt x="870" y="867"/>
                </a:lnTo>
                <a:lnTo>
                  <a:pt x="871" y="865"/>
                </a:lnTo>
                <a:lnTo>
                  <a:pt x="873" y="861"/>
                </a:lnTo>
                <a:lnTo>
                  <a:pt x="873" y="858"/>
                </a:lnTo>
                <a:lnTo>
                  <a:pt x="873" y="678"/>
                </a:lnTo>
                <a:lnTo>
                  <a:pt x="873" y="675"/>
                </a:lnTo>
                <a:lnTo>
                  <a:pt x="871" y="673"/>
                </a:lnTo>
                <a:lnTo>
                  <a:pt x="870" y="669"/>
                </a:lnTo>
                <a:lnTo>
                  <a:pt x="868" y="667"/>
                </a:lnTo>
                <a:lnTo>
                  <a:pt x="866" y="665"/>
                </a:lnTo>
                <a:lnTo>
                  <a:pt x="864" y="664"/>
                </a:lnTo>
                <a:lnTo>
                  <a:pt x="861" y="663"/>
                </a:lnTo>
                <a:lnTo>
                  <a:pt x="858" y="66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3" name="Freeform 57">
            <a:extLst>
              <a:ext uri="{FF2B5EF4-FFF2-40B4-BE49-F238E27FC236}">
                <a16:creationId xmlns:a16="http://schemas.microsoft.com/office/drawing/2014/main" id="{1494F1FC-A060-48AE-B22A-ED4DAF87ACE6}"/>
              </a:ext>
            </a:extLst>
          </p:cNvPr>
          <p:cNvSpPr>
            <a:spLocks noChangeAspect="1" noEditPoints="1"/>
          </p:cNvSpPr>
          <p:nvPr/>
        </p:nvSpPr>
        <p:spPr bwMode="auto">
          <a:xfrm>
            <a:off x="313763" y="3802799"/>
            <a:ext cx="238752" cy="306484"/>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554" name="Group 93">
            <a:extLst>
              <a:ext uri="{FF2B5EF4-FFF2-40B4-BE49-F238E27FC236}">
                <a16:creationId xmlns:a16="http://schemas.microsoft.com/office/drawing/2014/main" id="{A7DB4983-DDC2-4E8B-B7DD-C21C1A4C79F1}"/>
              </a:ext>
            </a:extLst>
          </p:cNvPr>
          <p:cNvGrpSpPr>
            <a:grpSpLocks noChangeAspect="1"/>
          </p:cNvGrpSpPr>
          <p:nvPr/>
        </p:nvGrpSpPr>
        <p:grpSpPr>
          <a:xfrm>
            <a:off x="663594" y="3802799"/>
            <a:ext cx="301011" cy="306484"/>
            <a:chOff x="8736013" y="4225608"/>
            <a:chExt cx="261938" cy="266700"/>
          </a:xfrm>
          <a:solidFill>
            <a:schemeClr val="bg2"/>
          </a:solidFill>
          <a:effectLst/>
        </p:grpSpPr>
        <p:sp>
          <p:nvSpPr>
            <p:cNvPr id="555" name="Freeform 400">
              <a:extLst>
                <a:ext uri="{FF2B5EF4-FFF2-40B4-BE49-F238E27FC236}">
                  <a16:creationId xmlns:a16="http://schemas.microsoft.com/office/drawing/2014/main" id="{5494BF7B-A0E2-4804-9864-C28E8B365883}"/>
                </a:ext>
              </a:extLst>
            </p:cNvPr>
            <p:cNvSpPr>
              <a:spLocks noEditPoints="1"/>
            </p:cNvSpPr>
            <p:nvPr/>
          </p:nvSpPr>
          <p:spPr bwMode="auto">
            <a:xfrm>
              <a:off x="8736013" y="4225608"/>
              <a:ext cx="219075" cy="219075"/>
            </a:xfrm>
            <a:custGeom>
              <a:avLst/>
              <a:gdLst>
                <a:gd name="T0" fmla="*/ 30 w 692"/>
                <a:gd name="T1" fmla="*/ 662 h 692"/>
                <a:gd name="T2" fmla="*/ 30 w 692"/>
                <a:gd name="T3" fmla="*/ 572 h 692"/>
                <a:gd name="T4" fmla="*/ 662 w 692"/>
                <a:gd name="T5" fmla="*/ 572 h 692"/>
                <a:gd name="T6" fmla="*/ 662 w 692"/>
                <a:gd name="T7" fmla="*/ 662 h 692"/>
                <a:gd name="T8" fmla="*/ 30 w 692"/>
                <a:gd name="T9" fmla="*/ 662 h 692"/>
                <a:gd name="T10" fmla="*/ 519 w 692"/>
                <a:gd name="T11" fmla="*/ 542 h 692"/>
                <a:gd name="T12" fmla="*/ 162 w 692"/>
                <a:gd name="T13" fmla="*/ 542 h 692"/>
                <a:gd name="T14" fmla="*/ 246 w 692"/>
                <a:gd name="T15" fmla="*/ 399 h 692"/>
                <a:gd name="T16" fmla="*/ 327 w 692"/>
                <a:gd name="T17" fmla="*/ 496 h 692"/>
                <a:gd name="T18" fmla="*/ 329 w 692"/>
                <a:gd name="T19" fmla="*/ 499 h 692"/>
                <a:gd name="T20" fmla="*/ 332 w 692"/>
                <a:gd name="T21" fmla="*/ 501 h 692"/>
                <a:gd name="T22" fmla="*/ 337 w 692"/>
                <a:gd name="T23" fmla="*/ 501 h 692"/>
                <a:gd name="T24" fmla="*/ 340 w 692"/>
                <a:gd name="T25" fmla="*/ 501 h 692"/>
                <a:gd name="T26" fmla="*/ 344 w 692"/>
                <a:gd name="T27" fmla="*/ 500 h 692"/>
                <a:gd name="T28" fmla="*/ 347 w 692"/>
                <a:gd name="T29" fmla="*/ 499 h 692"/>
                <a:gd name="T30" fmla="*/ 350 w 692"/>
                <a:gd name="T31" fmla="*/ 496 h 692"/>
                <a:gd name="T32" fmla="*/ 352 w 692"/>
                <a:gd name="T33" fmla="*/ 493 h 692"/>
                <a:gd name="T34" fmla="*/ 432 w 692"/>
                <a:gd name="T35" fmla="*/ 317 h 692"/>
                <a:gd name="T36" fmla="*/ 519 w 692"/>
                <a:gd name="T37" fmla="*/ 542 h 692"/>
                <a:gd name="T38" fmla="*/ 662 w 692"/>
                <a:gd name="T39" fmla="*/ 30 h 692"/>
                <a:gd name="T40" fmla="*/ 662 w 692"/>
                <a:gd name="T41" fmla="*/ 542 h 692"/>
                <a:gd name="T42" fmla="*/ 551 w 692"/>
                <a:gd name="T43" fmla="*/ 542 h 692"/>
                <a:gd name="T44" fmla="*/ 447 w 692"/>
                <a:gd name="T45" fmla="*/ 273 h 692"/>
                <a:gd name="T46" fmla="*/ 445 w 692"/>
                <a:gd name="T47" fmla="*/ 269 h 692"/>
                <a:gd name="T48" fmla="*/ 442 w 692"/>
                <a:gd name="T49" fmla="*/ 266 h 692"/>
                <a:gd name="T50" fmla="*/ 438 w 692"/>
                <a:gd name="T51" fmla="*/ 264 h 692"/>
                <a:gd name="T52" fmla="*/ 433 w 692"/>
                <a:gd name="T53" fmla="*/ 263 h 692"/>
                <a:gd name="T54" fmla="*/ 429 w 692"/>
                <a:gd name="T55" fmla="*/ 264 h 692"/>
                <a:gd name="T56" fmla="*/ 425 w 692"/>
                <a:gd name="T57" fmla="*/ 265 h 692"/>
                <a:gd name="T58" fmla="*/ 421 w 692"/>
                <a:gd name="T59" fmla="*/ 269 h 692"/>
                <a:gd name="T60" fmla="*/ 419 w 692"/>
                <a:gd name="T61" fmla="*/ 272 h 692"/>
                <a:gd name="T62" fmla="*/ 335 w 692"/>
                <a:gd name="T63" fmla="*/ 458 h 692"/>
                <a:gd name="T64" fmla="*/ 255 w 692"/>
                <a:gd name="T65" fmla="*/ 363 h 692"/>
                <a:gd name="T66" fmla="*/ 252 w 692"/>
                <a:gd name="T67" fmla="*/ 361 h 692"/>
                <a:gd name="T68" fmla="*/ 249 w 692"/>
                <a:gd name="T69" fmla="*/ 359 h 692"/>
                <a:gd name="T70" fmla="*/ 246 w 692"/>
                <a:gd name="T71" fmla="*/ 359 h 692"/>
                <a:gd name="T72" fmla="*/ 242 w 692"/>
                <a:gd name="T73" fmla="*/ 358 h 692"/>
                <a:gd name="T74" fmla="*/ 238 w 692"/>
                <a:gd name="T75" fmla="*/ 359 h 692"/>
                <a:gd name="T76" fmla="*/ 235 w 692"/>
                <a:gd name="T77" fmla="*/ 361 h 692"/>
                <a:gd name="T78" fmla="*/ 233 w 692"/>
                <a:gd name="T79" fmla="*/ 363 h 692"/>
                <a:gd name="T80" fmla="*/ 231 w 692"/>
                <a:gd name="T81" fmla="*/ 365 h 692"/>
                <a:gd name="T82" fmla="*/ 127 w 692"/>
                <a:gd name="T83" fmla="*/ 542 h 692"/>
                <a:gd name="T84" fmla="*/ 30 w 692"/>
                <a:gd name="T85" fmla="*/ 542 h 692"/>
                <a:gd name="T86" fmla="*/ 31 w 692"/>
                <a:gd name="T87" fmla="*/ 32 h 692"/>
                <a:gd name="T88" fmla="*/ 662 w 692"/>
                <a:gd name="T89" fmla="*/ 30 h 692"/>
                <a:gd name="T90" fmla="*/ 692 w 692"/>
                <a:gd name="T91" fmla="*/ 0 h 692"/>
                <a:gd name="T92" fmla="*/ 1 w 692"/>
                <a:gd name="T93" fmla="*/ 1 h 692"/>
                <a:gd name="T94" fmla="*/ 0 w 692"/>
                <a:gd name="T95" fmla="*/ 692 h 692"/>
                <a:gd name="T96" fmla="*/ 692 w 692"/>
                <a:gd name="T97" fmla="*/ 692 h 692"/>
                <a:gd name="T98" fmla="*/ 692 w 692"/>
                <a:gd name="T99" fmla="*/ 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692">
                  <a:moveTo>
                    <a:pt x="30" y="662"/>
                  </a:moveTo>
                  <a:lnTo>
                    <a:pt x="30" y="572"/>
                  </a:lnTo>
                  <a:lnTo>
                    <a:pt x="662" y="572"/>
                  </a:lnTo>
                  <a:lnTo>
                    <a:pt x="662" y="662"/>
                  </a:lnTo>
                  <a:lnTo>
                    <a:pt x="30" y="662"/>
                  </a:lnTo>
                  <a:close/>
                  <a:moveTo>
                    <a:pt x="519" y="542"/>
                  </a:moveTo>
                  <a:lnTo>
                    <a:pt x="162" y="542"/>
                  </a:lnTo>
                  <a:lnTo>
                    <a:pt x="246" y="399"/>
                  </a:lnTo>
                  <a:lnTo>
                    <a:pt x="327" y="496"/>
                  </a:lnTo>
                  <a:lnTo>
                    <a:pt x="329" y="499"/>
                  </a:lnTo>
                  <a:lnTo>
                    <a:pt x="332" y="501"/>
                  </a:lnTo>
                  <a:lnTo>
                    <a:pt x="337" y="501"/>
                  </a:lnTo>
                  <a:lnTo>
                    <a:pt x="340" y="501"/>
                  </a:lnTo>
                  <a:lnTo>
                    <a:pt x="344" y="500"/>
                  </a:lnTo>
                  <a:lnTo>
                    <a:pt x="347" y="499"/>
                  </a:lnTo>
                  <a:lnTo>
                    <a:pt x="350" y="496"/>
                  </a:lnTo>
                  <a:lnTo>
                    <a:pt x="352" y="493"/>
                  </a:lnTo>
                  <a:lnTo>
                    <a:pt x="432" y="317"/>
                  </a:lnTo>
                  <a:lnTo>
                    <a:pt x="519" y="542"/>
                  </a:lnTo>
                  <a:close/>
                  <a:moveTo>
                    <a:pt x="662" y="30"/>
                  </a:moveTo>
                  <a:lnTo>
                    <a:pt x="662" y="542"/>
                  </a:lnTo>
                  <a:lnTo>
                    <a:pt x="551" y="542"/>
                  </a:lnTo>
                  <a:lnTo>
                    <a:pt x="447" y="273"/>
                  </a:lnTo>
                  <a:lnTo>
                    <a:pt x="445" y="269"/>
                  </a:lnTo>
                  <a:lnTo>
                    <a:pt x="442" y="266"/>
                  </a:lnTo>
                  <a:lnTo>
                    <a:pt x="438" y="264"/>
                  </a:lnTo>
                  <a:lnTo>
                    <a:pt x="433" y="263"/>
                  </a:lnTo>
                  <a:lnTo>
                    <a:pt x="429" y="264"/>
                  </a:lnTo>
                  <a:lnTo>
                    <a:pt x="425" y="265"/>
                  </a:lnTo>
                  <a:lnTo>
                    <a:pt x="421" y="269"/>
                  </a:lnTo>
                  <a:lnTo>
                    <a:pt x="419" y="272"/>
                  </a:lnTo>
                  <a:lnTo>
                    <a:pt x="335" y="458"/>
                  </a:lnTo>
                  <a:lnTo>
                    <a:pt x="255" y="363"/>
                  </a:lnTo>
                  <a:lnTo>
                    <a:pt x="252" y="361"/>
                  </a:lnTo>
                  <a:lnTo>
                    <a:pt x="249" y="359"/>
                  </a:lnTo>
                  <a:lnTo>
                    <a:pt x="246" y="359"/>
                  </a:lnTo>
                  <a:lnTo>
                    <a:pt x="242" y="358"/>
                  </a:lnTo>
                  <a:lnTo>
                    <a:pt x="238" y="359"/>
                  </a:lnTo>
                  <a:lnTo>
                    <a:pt x="235" y="361"/>
                  </a:lnTo>
                  <a:lnTo>
                    <a:pt x="233" y="363"/>
                  </a:lnTo>
                  <a:lnTo>
                    <a:pt x="231" y="365"/>
                  </a:lnTo>
                  <a:lnTo>
                    <a:pt x="127" y="542"/>
                  </a:lnTo>
                  <a:lnTo>
                    <a:pt x="30" y="542"/>
                  </a:lnTo>
                  <a:lnTo>
                    <a:pt x="31" y="32"/>
                  </a:lnTo>
                  <a:lnTo>
                    <a:pt x="662" y="30"/>
                  </a:lnTo>
                  <a:close/>
                  <a:moveTo>
                    <a:pt x="692" y="0"/>
                  </a:moveTo>
                  <a:lnTo>
                    <a:pt x="1" y="1"/>
                  </a:lnTo>
                  <a:lnTo>
                    <a:pt x="0" y="692"/>
                  </a:lnTo>
                  <a:lnTo>
                    <a:pt x="692" y="692"/>
                  </a:lnTo>
                  <a:lnTo>
                    <a:pt x="6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6" name="Freeform 401">
              <a:extLst>
                <a:ext uri="{FF2B5EF4-FFF2-40B4-BE49-F238E27FC236}">
                  <a16:creationId xmlns:a16="http://schemas.microsoft.com/office/drawing/2014/main" id="{FAD52452-8BE3-4CE9-8A5D-749B9B2F593B}"/>
                </a:ext>
              </a:extLst>
            </p:cNvPr>
            <p:cNvSpPr>
              <a:spLocks/>
            </p:cNvSpPr>
            <p:nvPr/>
          </p:nvSpPr>
          <p:spPr bwMode="auto">
            <a:xfrm>
              <a:off x="8793163" y="4301808"/>
              <a:ext cx="204788" cy="190500"/>
            </a:xfrm>
            <a:custGeom>
              <a:avLst/>
              <a:gdLst>
                <a:gd name="T0" fmla="*/ 559 w 649"/>
                <a:gd name="T1" fmla="*/ 0 h 604"/>
                <a:gd name="T2" fmla="*/ 555 w 649"/>
                <a:gd name="T3" fmla="*/ 0 h 604"/>
                <a:gd name="T4" fmla="*/ 553 w 649"/>
                <a:gd name="T5" fmla="*/ 1 h 604"/>
                <a:gd name="T6" fmla="*/ 550 w 649"/>
                <a:gd name="T7" fmla="*/ 2 h 604"/>
                <a:gd name="T8" fmla="*/ 548 w 649"/>
                <a:gd name="T9" fmla="*/ 3 h 604"/>
                <a:gd name="T10" fmla="*/ 546 w 649"/>
                <a:gd name="T11" fmla="*/ 5 h 604"/>
                <a:gd name="T12" fmla="*/ 544 w 649"/>
                <a:gd name="T13" fmla="*/ 8 h 604"/>
                <a:gd name="T14" fmla="*/ 543 w 649"/>
                <a:gd name="T15" fmla="*/ 10 h 604"/>
                <a:gd name="T16" fmla="*/ 543 w 649"/>
                <a:gd name="T17" fmla="*/ 13 h 604"/>
                <a:gd name="T18" fmla="*/ 543 w 649"/>
                <a:gd name="T19" fmla="*/ 17 h 604"/>
                <a:gd name="T20" fmla="*/ 543 w 649"/>
                <a:gd name="T21" fmla="*/ 19 h 604"/>
                <a:gd name="T22" fmla="*/ 545 w 649"/>
                <a:gd name="T23" fmla="*/ 22 h 604"/>
                <a:gd name="T24" fmla="*/ 546 w 649"/>
                <a:gd name="T25" fmla="*/ 24 h 604"/>
                <a:gd name="T26" fmla="*/ 548 w 649"/>
                <a:gd name="T27" fmla="*/ 26 h 604"/>
                <a:gd name="T28" fmla="*/ 550 w 649"/>
                <a:gd name="T29" fmla="*/ 29 h 604"/>
                <a:gd name="T30" fmla="*/ 553 w 649"/>
                <a:gd name="T31" fmla="*/ 30 h 604"/>
                <a:gd name="T32" fmla="*/ 557 w 649"/>
                <a:gd name="T33" fmla="*/ 30 h 604"/>
                <a:gd name="T34" fmla="*/ 617 w 649"/>
                <a:gd name="T35" fmla="*/ 35 h 604"/>
                <a:gd name="T36" fmla="*/ 567 w 649"/>
                <a:gd name="T37" fmla="*/ 571 h 604"/>
                <a:gd name="T38" fmla="*/ 16 w 649"/>
                <a:gd name="T39" fmla="*/ 522 h 604"/>
                <a:gd name="T40" fmla="*/ 13 w 649"/>
                <a:gd name="T41" fmla="*/ 522 h 604"/>
                <a:gd name="T42" fmla="*/ 11 w 649"/>
                <a:gd name="T43" fmla="*/ 522 h 604"/>
                <a:gd name="T44" fmla="*/ 8 w 649"/>
                <a:gd name="T45" fmla="*/ 523 h 604"/>
                <a:gd name="T46" fmla="*/ 5 w 649"/>
                <a:gd name="T47" fmla="*/ 525 h 604"/>
                <a:gd name="T48" fmla="*/ 3 w 649"/>
                <a:gd name="T49" fmla="*/ 527 h 604"/>
                <a:gd name="T50" fmla="*/ 2 w 649"/>
                <a:gd name="T51" fmla="*/ 529 h 604"/>
                <a:gd name="T52" fmla="*/ 1 w 649"/>
                <a:gd name="T53" fmla="*/ 531 h 604"/>
                <a:gd name="T54" fmla="*/ 0 w 649"/>
                <a:gd name="T55" fmla="*/ 535 h 604"/>
                <a:gd name="T56" fmla="*/ 0 w 649"/>
                <a:gd name="T57" fmla="*/ 538 h 604"/>
                <a:gd name="T58" fmla="*/ 1 w 649"/>
                <a:gd name="T59" fmla="*/ 541 h 604"/>
                <a:gd name="T60" fmla="*/ 2 w 649"/>
                <a:gd name="T61" fmla="*/ 543 h 604"/>
                <a:gd name="T62" fmla="*/ 3 w 649"/>
                <a:gd name="T63" fmla="*/ 545 h 604"/>
                <a:gd name="T64" fmla="*/ 5 w 649"/>
                <a:gd name="T65" fmla="*/ 548 h 604"/>
                <a:gd name="T66" fmla="*/ 8 w 649"/>
                <a:gd name="T67" fmla="*/ 550 h 604"/>
                <a:gd name="T68" fmla="*/ 11 w 649"/>
                <a:gd name="T69" fmla="*/ 551 h 604"/>
                <a:gd name="T70" fmla="*/ 14 w 649"/>
                <a:gd name="T71" fmla="*/ 551 h 604"/>
                <a:gd name="T72" fmla="*/ 595 w 649"/>
                <a:gd name="T73" fmla="*/ 604 h 604"/>
                <a:gd name="T74" fmla="*/ 649 w 649"/>
                <a:gd name="T75" fmla="*/ 8 h 604"/>
                <a:gd name="T76" fmla="*/ 559 w 649"/>
                <a:gd name="T77"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9" h="604">
                  <a:moveTo>
                    <a:pt x="559" y="0"/>
                  </a:moveTo>
                  <a:lnTo>
                    <a:pt x="555" y="0"/>
                  </a:lnTo>
                  <a:lnTo>
                    <a:pt x="553" y="1"/>
                  </a:lnTo>
                  <a:lnTo>
                    <a:pt x="550" y="2"/>
                  </a:lnTo>
                  <a:lnTo>
                    <a:pt x="548" y="3"/>
                  </a:lnTo>
                  <a:lnTo>
                    <a:pt x="546" y="5"/>
                  </a:lnTo>
                  <a:lnTo>
                    <a:pt x="544" y="8"/>
                  </a:lnTo>
                  <a:lnTo>
                    <a:pt x="543" y="10"/>
                  </a:lnTo>
                  <a:lnTo>
                    <a:pt x="543" y="13"/>
                  </a:lnTo>
                  <a:lnTo>
                    <a:pt x="543" y="17"/>
                  </a:lnTo>
                  <a:lnTo>
                    <a:pt x="543" y="19"/>
                  </a:lnTo>
                  <a:lnTo>
                    <a:pt x="545" y="22"/>
                  </a:lnTo>
                  <a:lnTo>
                    <a:pt x="546" y="24"/>
                  </a:lnTo>
                  <a:lnTo>
                    <a:pt x="548" y="26"/>
                  </a:lnTo>
                  <a:lnTo>
                    <a:pt x="550" y="29"/>
                  </a:lnTo>
                  <a:lnTo>
                    <a:pt x="553" y="30"/>
                  </a:lnTo>
                  <a:lnTo>
                    <a:pt x="557" y="30"/>
                  </a:lnTo>
                  <a:lnTo>
                    <a:pt x="617" y="35"/>
                  </a:lnTo>
                  <a:lnTo>
                    <a:pt x="567" y="571"/>
                  </a:lnTo>
                  <a:lnTo>
                    <a:pt x="16" y="522"/>
                  </a:lnTo>
                  <a:lnTo>
                    <a:pt x="13" y="522"/>
                  </a:lnTo>
                  <a:lnTo>
                    <a:pt x="11" y="522"/>
                  </a:lnTo>
                  <a:lnTo>
                    <a:pt x="8" y="523"/>
                  </a:lnTo>
                  <a:lnTo>
                    <a:pt x="5" y="525"/>
                  </a:lnTo>
                  <a:lnTo>
                    <a:pt x="3" y="527"/>
                  </a:lnTo>
                  <a:lnTo>
                    <a:pt x="2" y="529"/>
                  </a:lnTo>
                  <a:lnTo>
                    <a:pt x="1" y="531"/>
                  </a:lnTo>
                  <a:lnTo>
                    <a:pt x="0" y="535"/>
                  </a:lnTo>
                  <a:lnTo>
                    <a:pt x="0" y="538"/>
                  </a:lnTo>
                  <a:lnTo>
                    <a:pt x="1" y="541"/>
                  </a:lnTo>
                  <a:lnTo>
                    <a:pt x="2" y="543"/>
                  </a:lnTo>
                  <a:lnTo>
                    <a:pt x="3" y="545"/>
                  </a:lnTo>
                  <a:lnTo>
                    <a:pt x="5" y="548"/>
                  </a:lnTo>
                  <a:lnTo>
                    <a:pt x="8" y="550"/>
                  </a:lnTo>
                  <a:lnTo>
                    <a:pt x="11" y="551"/>
                  </a:lnTo>
                  <a:lnTo>
                    <a:pt x="14" y="551"/>
                  </a:lnTo>
                  <a:lnTo>
                    <a:pt x="595" y="604"/>
                  </a:lnTo>
                  <a:lnTo>
                    <a:pt x="649" y="8"/>
                  </a:lnTo>
                  <a:lnTo>
                    <a:pt x="55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7" name="Freeform 402">
              <a:extLst>
                <a:ext uri="{FF2B5EF4-FFF2-40B4-BE49-F238E27FC236}">
                  <a16:creationId xmlns:a16="http://schemas.microsoft.com/office/drawing/2014/main" id="{D5DC74BC-BF82-471A-B89C-D3BBF1C15619}"/>
                </a:ext>
              </a:extLst>
            </p:cNvPr>
            <p:cNvSpPr>
              <a:spLocks noEditPoints="1"/>
            </p:cNvSpPr>
            <p:nvPr/>
          </p:nvSpPr>
          <p:spPr bwMode="auto">
            <a:xfrm>
              <a:off x="8769350" y="4263708"/>
              <a:ext cx="47625" cy="47625"/>
            </a:xfrm>
            <a:custGeom>
              <a:avLst/>
              <a:gdLst>
                <a:gd name="T0" fmla="*/ 85 w 151"/>
                <a:gd name="T1" fmla="*/ 31 h 150"/>
                <a:gd name="T2" fmla="*/ 101 w 151"/>
                <a:gd name="T3" fmla="*/ 37 h 150"/>
                <a:gd name="T4" fmla="*/ 113 w 151"/>
                <a:gd name="T5" fmla="*/ 49 h 150"/>
                <a:gd name="T6" fmla="*/ 120 w 151"/>
                <a:gd name="T7" fmla="*/ 65 h 150"/>
                <a:gd name="T8" fmla="*/ 120 w 151"/>
                <a:gd name="T9" fmla="*/ 83 h 150"/>
                <a:gd name="T10" fmla="*/ 113 w 151"/>
                <a:gd name="T11" fmla="*/ 99 h 150"/>
                <a:gd name="T12" fmla="*/ 101 w 151"/>
                <a:gd name="T13" fmla="*/ 112 h 150"/>
                <a:gd name="T14" fmla="*/ 85 w 151"/>
                <a:gd name="T15" fmla="*/ 119 h 150"/>
                <a:gd name="T16" fmla="*/ 67 w 151"/>
                <a:gd name="T17" fmla="*/ 119 h 150"/>
                <a:gd name="T18" fmla="*/ 51 w 151"/>
                <a:gd name="T19" fmla="*/ 112 h 150"/>
                <a:gd name="T20" fmla="*/ 39 w 151"/>
                <a:gd name="T21" fmla="*/ 99 h 150"/>
                <a:gd name="T22" fmla="*/ 31 w 151"/>
                <a:gd name="T23" fmla="*/ 83 h 150"/>
                <a:gd name="T24" fmla="*/ 31 w 151"/>
                <a:gd name="T25" fmla="*/ 65 h 150"/>
                <a:gd name="T26" fmla="*/ 39 w 151"/>
                <a:gd name="T27" fmla="*/ 49 h 150"/>
                <a:gd name="T28" fmla="*/ 51 w 151"/>
                <a:gd name="T29" fmla="*/ 37 h 150"/>
                <a:gd name="T30" fmla="*/ 67 w 151"/>
                <a:gd name="T31" fmla="*/ 31 h 150"/>
                <a:gd name="T32" fmla="*/ 75 w 151"/>
                <a:gd name="T33" fmla="*/ 150 h 150"/>
                <a:gd name="T34" fmla="*/ 91 w 151"/>
                <a:gd name="T35" fmla="*/ 149 h 150"/>
                <a:gd name="T36" fmla="*/ 105 w 151"/>
                <a:gd name="T37" fmla="*/ 143 h 150"/>
                <a:gd name="T38" fmla="*/ 118 w 151"/>
                <a:gd name="T39" fmla="*/ 137 h 150"/>
                <a:gd name="T40" fmla="*/ 129 w 151"/>
                <a:gd name="T41" fmla="*/ 127 h 150"/>
                <a:gd name="T42" fmla="*/ 138 w 151"/>
                <a:gd name="T43" fmla="*/ 116 h 150"/>
                <a:gd name="T44" fmla="*/ 145 w 151"/>
                <a:gd name="T45" fmla="*/ 104 h 150"/>
                <a:gd name="T46" fmla="*/ 149 w 151"/>
                <a:gd name="T47" fmla="*/ 90 h 150"/>
                <a:gd name="T48" fmla="*/ 151 w 151"/>
                <a:gd name="T49" fmla="*/ 75 h 150"/>
                <a:gd name="T50" fmla="*/ 149 w 151"/>
                <a:gd name="T51" fmla="*/ 60 h 150"/>
                <a:gd name="T52" fmla="*/ 145 w 151"/>
                <a:gd name="T53" fmla="*/ 46 h 150"/>
                <a:gd name="T54" fmla="*/ 138 w 151"/>
                <a:gd name="T55" fmla="*/ 33 h 150"/>
                <a:gd name="T56" fmla="*/ 129 w 151"/>
                <a:gd name="T57" fmla="*/ 21 h 150"/>
                <a:gd name="T58" fmla="*/ 118 w 151"/>
                <a:gd name="T59" fmla="*/ 12 h 150"/>
                <a:gd name="T60" fmla="*/ 105 w 151"/>
                <a:gd name="T61" fmla="*/ 5 h 150"/>
                <a:gd name="T62" fmla="*/ 91 w 151"/>
                <a:gd name="T63" fmla="*/ 1 h 150"/>
                <a:gd name="T64" fmla="*/ 75 w 151"/>
                <a:gd name="T65" fmla="*/ 0 h 150"/>
                <a:gd name="T66" fmla="*/ 60 w 151"/>
                <a:gd name="T67" fmla="*/ 1 h 150"/>
                <a:gd name="T68" fmla="*/ 46 w 151"/>
                <a:gd name="T69" fmla="*/ 5 h 150"/>
                <a:gd name="T70" fmla="*/ 33 w 151"/>
                <a:gd name="T71" fmla="*/ 12 h 150"/>
                <a:gd name="T72" fmla="*/ 23 w 151"/>
                <a:gd name="T73" fmla="*/ 21 h 150"/>
                <a:gd name="T74" fmla="*/ 13 w 151"/>
                <a:gd name="T75" fmla="*/ 33 h 150"/>
                <a:gd name="T76" fmla="*/ 7 w 151"/>
                <a:gd name="T77" fmla="*/ 46 h 150"/>
                <a:gd name="T78" fmla="*/ 2 w 151"/>
                <a:gd name="T79" fmla="*/ 60 h 150"/>
                <a:gd name="T80" fmla="*/ 0 w 151"/>
                <a:gd name="T81" fmla="*/ 75 h 150"/>
                <a:gd name="T82" fmla="*/ 2 w 151"/>
                <a:gd name="T83" fmla="*/ 90 h 150"/>
                <a:gd name="T84" fmla="*/ 7 w 151"/>
                <a:gd name="T85" fmla="*/ 104 h 150"/>
                <a:gd name="T86" fmla="*/ 13 w 151"/>
                <a:gd name="T87" fmla="*/ 116 h 150"/>
                <a:gd name="T88" fmla="*/ 23 w 151"/>
                <a:gd name="T89" fmla="*/ 127 h 150"/>
                <a:gd name="T90" fmla="*/ 33 w 151"/>
                <a:gd name="T91" fmla="*/ 137 h 150"/>
                <a:gd name="T92" fmla="*/ 46 w 151"/>
                <a:gd name="T93" fmla="*/ 143 h 150"/>
                <a:gd name="T94" fmla="*/ 60 w 151"/>
                <a:gd name="T95" fmla="*/ 149 h 150"/>
                <a:gd name="T96" fmla="*/ 75 w 151"/>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30"/>
                  </a:moveTo>
                  <a:lnTo>
                    <a:pt x="85" y="31"/>
                  </a:lnTo>
                  <a:lnTo>
                    <a:pt x="93" y="33"/>
                  </a:lnTo>
                  <a:lnTo>
                    <a:pt x="101" y="37"/>
                  </a:lnTo>
                  <a:lnTo>
                    <a:pt x="107" y="42"/>
                  </a:lnTo>
                  <a:lnTo>
                    <a:pt x="113" y="49"/>
                  </a:lnTo>
                  <a:lnTo>
                    <a:pt x="117" y="56"/>
                  </a:lnTo>
                  <a:lnTo>
                    <a:pt x="120" y="65"/>
                  </a:lnTo>
                  <a:lnTo>
                    <a:pt x="120" y="75"/>
                  </a:lnTo>
                  <a:lnTo>
                    <a:pt x="120" y="83"/>
                  </a:lnTo>
                  <a:lnTo>
                    <a:pt x="117" y="92"/>
                  </a:lnTo>
                  <a:lnTo>
                    <a:pt x="113" y="99"/>
                  </a:lnTo>
                  <a:lnTo>
                    <a:pt x="107" y="107"/>
                  </a:lnTo>
                  <a:lnTo>
                    <a:pt x="101" y="112"/>
                  </a:lnTo>
                  <a:lnTo>
                    <a:pt x="93" y="116"/>
                  </a:lnTo>
                  <a:lnTo>
                    <a:pt x="85" y="119"/>
                  </a:lnTo>
                  <a:lnTo>
                    <a:pt x="75" y="120"/>
                  </a:lnTo>
                  <a:lnTo>
                    <a:pt x="67" y="119"/>
                  </a:lnTo>
                  <a:lnTo>
                    <a:pt x="58" y="116"/>
                  </a:lnTo>
                  <a:lnTo>
                    <a:pt x="51" y="112"/>
                  </a:lnTo>
                  <a:lnTo>
                    <a:pt x="44" y="107"/>
                  </a:lnTo>
                  <a:lnTo>
                    <a:pt x="39" y="99"/>
                  </a:lnTo>
                  <a:lnTo>
                    <a:pt x="34" y="92"/>
                  </a:lnTo>
                  <a:lnTo>
                    <a:pt x="31" y="83"/>
                  </a:lnTo>
                  <a:lnTo>
                    <a:pt x="30" y="75"/>
                  </a:lnTo>
                  <a:lnTo>
                    <a:pt x="31" y="65"/>
                  </a:lnTo>
                  <a:lnTo>
                    <a:pt x="34" y="56"/>
                  </a:lnTo>
                  <a:lnTo>
                    <a:pt x="39" y="49"/>
                  </a:lnTo>
                  <a:lnTo>
                    <a:pt x="44" y="42"/>
                  </a:lnTo>
                  <a:lnTo>
                    <a:pt x="51" y="37"/>
                  </a:lnTo>
                  <a:lnTo>
                    <a:pt x="58" y="33"/>
                  </a:lnTo>
                  <a:lnTo>
                    <a:pt x="67" y="31"/>
                  </a:lnTo>
                  <a:lnTo>
                    <a:pt x="75" y="30"/>
                  </a:lnTo>
                  <a:close/>
                  <a:moveTo>
                    <a:pt x="75" y="150"/>
                  </a:moveTo>
                  <a:lnTo>
                    <a:pt x="84" y="150"/>
                  </a:lnTo>
                  <a:lnTo>
                    <a:pt x="91" y="149"/>
                  </a:lnTo>
                  <a:lnTo>
                    <a:pt x="98" y="147"/>
                  </a:lnTo>
                  <a:lnTo>
                    <a:pt x="105" y="143"/>
                  </a:lnTo>
                  <a:lnTo>
                    <a:pt x="112" y="140"/>
                  </a:lnTo>
                  <a:lnTo>
                    <a:pt x="118" y="137"/>
                  </a:lnTo>
                  <a:lnTo>
                    <a:pt x="123" y="133"/>
                  </a:lnTo>
                  <a:lnTo>
                    <a:pt x="129" y="127"/>
                  </a:lnTo>
                  <a:lnTo>
                    <a:pt x="133" y="122"/>
                  </a:lnTo>
                  <a:lnTo>
                    <a:pt x="138" y="116"/>
                  </a:lnTo>
                  <a:lnTo>
                    <a:pt x="142" y="110"/>
                  </a:lnTo>
                  <a:lnTo>
                    <a:pt x="145" y="104"/>
                  </a:lnTo>
                  <a:lnTo>
                    <a:pt x="147" y="97"/>
                  </a:lnTo>
                  <a:lnTo>
                    <a:pt x="149" y="90"/>
                  </a:lnTo>
                  <a:lnTo>
                    <a:pt x="150" y="82"/>
                  </a:lnTo>
                  <a:lnTo>
                    <a:pt x="151" y="75"/>
                  </a:lnTo>
                  <a:lnTo>
                    <a:pt x="150" y="67"/>
                  </a:lnTo>
                  <a:lnTo>
                    <a:pt x="149" y="60"/>
                  </a:lnTo>
                  <a:lnTo>
                    <a:pt x="147" y="52"/>
                  </a:lnTo>
                  <a:lnTo>
                    <a:pt x="145" y="46"/>
                  </a:lnTo>
                  <a:lnTo>
                    <a:pt x="142" y="38"/>
                  </a:lnTo>
                  <a:lnTo>
                    <a:pt x="138" y="33"/>
                  </a:lnTo>
                  <a:lnTo>
                    <a:pt x="133" y="26"/>
                  </a:lnTo>
                  <a:lnTo>
                    <a:pt x="129" y="21"/>
                  </a:lnTo>
                  <a:lnTo>
                    <a:pt x="123" y="17"/>
                  </a:lnTo>
                  <a:lnTo>
                    <a:pt x="118" y="12"/>
                  </a:lnTo>
                  <a:lnTo>
                    <a:pt x="112" y="8"/>
                  </a:lnTo>
                  <a:lnTo>
                    <a:pt x="105" y="5"/>
                  </a:lnTo>
                  <a:lnTo>
                    <a:pt x="98" y="3"/>
                  </a:lnTo>
                  <a:lnTo>
                    <a:pt x="91" y="1"/>
                  </a:lnTo>
                  <a:lnTo>
                    <a:pt x="84" y="0"/>
                  </a:lnTo>
                  <a:lnTo>
                    <a:pt x="75" y="0"/>
                  </a:lnTo>
                  <a:lnTo>
                    <a:pt x="68" y="0"/>
                  </a:lnTo>
                  <a:lnTo>
                    <a:pt x="60" y="1"/>
                  </a:lnTo>
                  <a:lnTo>
                    <a:pt x="54" y="3"/>
                  </a:lnTo>
                  <a:lnTo>
                    <a:pt x="46" y="5"/>
                  </a:lnTo>
                  <a:lnTo>
                    <a:pt x="40" y="8"/>
                  </a:lnTo>
                  <a:lnTo>
                    <a:pt x="33" y="12"/>
                  </a:lnTo>
                  <a:lnTo>
                    <a:pt x="28" y="17"/>
                  </a:lnTo>
                  <a:lnTo>
                    <a:pt x="23" y="21"/>
                  </a:lnTo>
                  <a:lnTo>
                    <a:pt x="17" y="26"/>
                  </a:lnTo>
                  <a:lnTo>
                    <a:pt x="13" y="33"/>
                  </a:lnTo>
                  <a:lnTo>
                    <a:pt x="10" y="38"/>
                  </a:lnTo>
                  <a:lnTo>
                    <a:pt x="7" y="46"/>
                  </a:lnTo>
                  <a:lnTo>
                    <a:pt x="3" y="52"/>
                  </a:lnTo>
                  <a:lnTo>
                    <a:pt x="2" y="60"/>
                  </a:lnTo>
                  <a:lnTo>
                    <a:pt x="1" y="67"/>
                  </a:lnTo>
                  <a:lnTo>
                    <a:pt x="0" y="75"/>
                  </a:lnTo>
                  <a:lnTo>
                    <a:pt x="1" y="82"/>
                  </a:lnTo>
                  <a:lnTo>
                    <a:pt x="2" y="90"/>
                  </a:lnTo>
                  <a:lnTo>
                    <a:pt x="3" y="97"/>
                  </a:lnTo>
                  <a:lnTo>
                    <a:pt x="7" y="104"/>
                  </a:lnTo>
                  <a:lnTo>
                    <a:pt x="10" y="110"/>
                  </a:lnTo>
                  <a:lnTo>
                    <a:pt x="13" y="116"/>
                  </a:lnTo>
                  <a:lnTo>
                    <a:pt x="17" y="122"/>
                  </a:lnTo>
                  <a:lnTo>
                    <a:pt x="23" y="127"/>
                  </a:lnTo>
                  <a:lnTo>
                    <a:pt x="28" y="133"/>
                  </a:lnTo>
                  <a:lnTo>
                    <a:pt x="33" y="137"/>
                  </a:lnTo>
                  <a:lnTo>
                    <a:pt x="40" y="140"/>
                  </a:lnTo>
                  <a:lnTo>
                    <a:pt x="46" y="143"/>
                  </a:lnTo>
                  <a:lnTo>
                    <a:pt x="54" y="147"/>
                  </a:lnTo>
                  <a:lnTo>
                    <a:pt x="60" y="149"/>
                  </a:lnTo>
                  <a:lnTo>
                    <a:pt x="68" y="150"/>
                  </a:lnTo>
                  <a:lnTo>
                    <a:pt x="75" y="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558" name="Gruppieren 557">
            <a:extLst>
              <a:ext uri="{FF2B5EF4-FFF2-40B4-BE49-F238E27FC236}">
                <a16:creationId xmlns:a16="http://schemas.microsoft.com/office/drawing/2014/main" id="{206C9E55-1FB6-4852-B297-6FDA513AC3DE}"/>
              </a:ext>
            </a:extLst>
          </p:cNvPr>
          <p:cNvGrpSpPr>
            <a:grpSpLocks noChangeAspect="1"/>
          </p:cNvGrpSpPr>
          <p:nvPr/>
        </p:nvGrpSpPr>
        <p:grpSpPr>
          <a:xfrm>
            <a:off x="674669" y="4345739"/>
            <a:ext cx="278860" cy="306484"/>
            <a:chOff x="791597" y="4637055"/>
            <a:chExt cx="327553" cy="360000"/>
          </a:xfrm>
          <a:solidFill>
            <a:schemeClr val="bg2"/>
          </a:solidFill>
        </p:grpSpPr>
        <p:grpSp>
          <p:nvGrpSpPr>
            <p:cNvPr id="559" name="Gruppieren 558">
              <a:extLst>
                <a:ext uri="{FF2B5EF4-FFF2-40B4-BE49-F238E27FC236}">
                  <a16:creationId xmlns:a16="http://schemas.microsoft.com/office/drawing/2014/main" id="{D254314B-E27F-4CE0-B63A-70181BF45A2B}"/>
                </a:ext>
              </a:extLst>
            </p:cNvPr>
            <p:cNvGrpSpPr/>
            <p:nvPr/>
          </p:nvGrpSpPr>
          <p:grpSpPr>
            <a:xfrm>
              <a:off x="847220" y="4674136"/>
              <a:ext cx="197767" cy="194677"/>
              <a:chOff x="847220" y="4674136"/>
              <a:chExt cx="197767" cy="194677"/>
            </a:xfrm>
            <a:grpFill/>
          </p:grpSpPr>
          <p:sp>
            <p:nvSpPr>
              <p:cNvPr id="561" name="Freeform 59">
                <a:extLst>
                  <a:ext uri="{FF2B5EF4-FFF2-40B4-BE49-F238E27FC236}">
                    <a16:creationId xmlns:a16="http://schemas.microsoft.com/office/drawing/2014/main" id="{574D50EE-919F-48B8-97E2-FCBFB450B35B}"/>
                  </a:ext>
                </a:extLst>
              </p:cNvPr>
              <p:cNvSpPr>
                <a:spLocks noEditPoints="1"/>
              </p:cNvSpPr>
              <p:nvPr/>
            </p:nvSpPr>
            <p:spPr bwMode="auto">
              <a:xfrm>
                <a:off x="847220" y="4674136"/>
                <a:ext cx="197767" cy="194677"/>
              </a:xfrm>
              <a:custGeom>
                <a:avLst/>
                <a:gdLst>
                  <a:gd name="T0" fmla="*/ 23 w 52"/>
                  <a:gd name="T1" fmla="*/ 52 h 52"/>
                  <a:gd name="T2" fmla="*/ 21 w 52"/>
                  <a:gd name="T3" fmla="*/ 45 h 52"/>
                  <a:gd name="T4" fmla="*/ 13 w 52"/>
                  <a:gd name="T5" fmla="*/ 47 h 52"/>
                  <a:gd name="T6" fmla="*/ 5 w 52"/>
                  <a:gd name="T7" fmla="*/ 41 h 52"/>
                  <a:gd name="T8" fmla="*/ 5 w 52"/>
                  <a:gd name="T9" fmla="*/ 39 h 52"/>
                  <a:gd name="T10" fmla="*/ 7 w 52"/>
                  <a:gd name="T11" fmla="*/ 31 h 52"/>
                  <a:gd name="T12" fmla="*/ 0 w 52"/>
                  <a:gd name="T13" fmla="*/ 29 h 52"/>
                  <a:gd name="T14" fmla="*/ 2 w 52"/>
                  <a:gd name="T15" fmla="*/ 21 h 52"/>
                  <a:gd name="T16" fmla="*/ 8 w 52"/>
                  <a:gd name="T17" fmla="*/ 17 h 52"/>
                  <a:gd name="T18" fmla="*/ 4 w 52"/>
                  <a:gd name="T19" fmla="*/ 12 h 52"/>
                  <a:gd name="T20" fmla="*/ 11 w 52"/>
                  <a:gd name="T21" fmla="*/ 5 h 52"/>
                  <a:gd name="T22" fmla="*/ 17 w 52"/>
                  <a:gd name="T23" fmla="*/ 8 h 52"/>
                  <a:gd name="T24" fmla="*/ 21 w 52"/>
                  <a:gd name="T25" fmla="*/ 2 h 52"/>
                  <a:gd name="T26" fmla="*/ 29 w 52"/>
                  <a:gd name="T27" fmla="*/ 0 h 52"/>
                  <a:gd name="T28" fmla="*/ 31 w 52"/>
                  <a:gd name="T29" fmla="*/ 7 h 52"/>
                  <a:gd name="T30" fmla="*/ 39 w 52"/>
                  <a:gd name="T31" fmla="*/ 5 h 52"/>
                  <a:gd name="T32" fmla="*/ 47 w 52"/>
                  <a:gd name="T33" fmla="*/ 11 h 52"/>
                  <a:gd name="T34" fmla="*/ 47 w 52"/>
                  <a:gd name="T35" fmla="*/ 13 h 52"/>
                  <a:gd name="T36" fmla="*/ 45 w 52"/>
                  <a:gd name="T37" fmla="*/ 21 h 52"/>
                  <a:gd name="T38" fmla="*/ 52 w 52"/>
                  <a:gd name="T39" fmla="*/ 23 h 52"/>
                  <a:gd name="T40" fmla="*/ 50 w 52"/>
                  <a:gd name="T41" fmla="*/ 31 h 52"/>
                  <a:gd name="T42" fmla="*/ 44 w 52"/>
                  <a:gd name="T43" fmla="*/ 35 h 52"/>
                  <a:gd name="T44" fmla="*/ 47 w 52"/>
                  <a:gd name="T45" fmla="*/ 41 h 52"/>
                  <a:gd name="T46" fmla="*/ 39 w 52"/>
                  <a:gd name="T47" fmla="*/ 47 h 52"/>
                  <a:gd name="T48" fmla="*/ 31 w 52"/>
                  <a:gd name="T49" fmla="*/ 45 h 52"/>
                  <a:gd name="T50" fmla="*/ 29 w 52"/>
                  <a:gd name="T51" fmla="*/ 52 h 52"/>
                  <a:gd name="T52" fmla="*/ 27 w 52"/>
                  <a:gd name="T53" fmla="*/ 48 h 52"/>
                  <a:gd name="T54" fmla="*/ 29 w 52"/>
                  <a:gd name="T55" fmla="*/ 41 h 52"/>
                  <a:gd name="T56" fmla="*/ 37 w 52"/>
                  <a:gd name="T57" fmla="*/ 40 h 52"/>
                  <a:gd name="T58" fmla="*/ 43 w 52"/>
                  <a:gd name="T59" fmla="*/ 40 h 52"/>
                  <a:gd name="T60" fmla="*/ 39 w 52"/>
                  <a:gd name="T61" fmla="*/ 34 h 52"/>
                  <a:gd name="T62" fmla="*/ 43 w 52"/>
                  <a:gd name="T63" fmla="*/ 27 h 52"/>
                  <a:gd name="T64" fmla="*/ 48 w 52"/>
                  <a:gd name="T65" fmla="*/ 25 h 52"/>
                  <a:gd name="T66" fmla="*/ 41 w 52"/>
                  <a:gd name="T67" fmla="*/ 23 h 52"/>
                  <a:gd name="T68" fmla="*/ 40 w 52"/>
                  <a:gd name="T69" fmla="*/ 15 h 52"/>
                  <a:gd name="T70" fmla="*/ 40 w 52"/>
                  <a:gd name="T71" fmla="*/ 9 h 52"/>
                  <a:gd name="T72" fmla="*/ 34 w 52"/>
                  <a:gd name="T73" fmla="*/ 13 h 52"/>
                  <a:gd name="T74" fmla="*/ 27 w 52"/>
                  <a:gd name="T75" fmla="*/ 9 h 52"/>
                  <a:gd name="T76" fmla="*/ 25 w 52"/>
                  <a:gd name="T77" fmla="*/ 4 h 52"/>
                  <a:gd name="T78" fmla="*/ 23 w 52"/>
                  <a:gd name="T79" fmla="*/ 11 h 52"/>
                  <a:gd name="T80" fmla="*/ 15 w 52"/>
                  <a:gd name="T81" fmla="*/ 12 h 52"/>
                  <a:gd name="T82" fmla="*/ 9 w 52"/>
                  <a:gd name="T83" fmla="*/ 12 h 52"/>
                  <a:gd name="T84" fmla="*/ 13 w 52"/>
                  <a:gd name="T85" fmla="*/ 18 h 52"/>
                  <a:gd name="T86" fmla="*/ 9 w 52"/>
                  <a:gd name="T87" fmla="*/ 25 h 52"/>
                  <a:gd name="T88" fmla="*/ 4 w 52"/>
                  <a:gd name="T89" fmla="*/ 27 h 52"/>
                  <a:gd name="T90" fmla="*/ 11 w 52"/>
                  <a:gd name="T91" fmla="*/ 29 h 52"/>
                  <a:gd name="T92" fmla="*/ 12 w 52"/>
                  <a:gd name="T93" fmla="*/ 37 h 52"/>
                  <a:gd name="T94" fmla="*/ 12 w 52"/>
                  <a:gd name="T95" fmla="*/ 43 h 52"/>
                  <a:gd name="T96" fmla="*/ 18 w 52"/>
                  <a:gd name="T97" fmla="*/ 39 h 52"/>
                  <a:gd name="T98" fmla="*/ 25 w 52"/>
                  <a:gd name="T99"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9" y="52"/>
                    </a:moveTo>
                    <a:cubicBezTo>
                      <a:pt x="23" y="52"/>
                      <a:pt x="23" y="52"/>
                      <a:pt x="23" y="52"/>
                    </a:cubicBezTo>
                    <a:cubicBezTo>
                      <a:pt x="22" y="52"/>
                      <a:pt x="21" y="51"/>
                      <a:pt x="21" y="50"/>
                    </a:cubicBezTo>
                    <a:cubicBezTo>
                      <a:pt x="21" y="45"/>
                      <a:pt x="21" y="45"/>
                      <a:pt x="21" y="45"/>
                    </a:cubicBezTo>
                    <a:cubicBezTo>
                      <a:pt x="20" y="44"/>
                      <a:pt x="18" y="44"/>
                      <a:pt x="17" y="44"/>
                    </a:cubicBezTo>
                    <a:cubicBezTo>
                      <a:pt x="13" y="47"/>
                      <a:pt x="13" y="47"/>
                      <a:pt x="13" y="47"/>
                    </a:cubicBezTo>
                    <a:cubicBezTo>
                      <a:pt x="13" y="48"/>
                      <a:pt x="11" y="48"/>
                      <a:pt x="11" y="47"/>
                    </a:cubicBezTo>
                    <a:cubicBezTo>
                      <a:pt x="5" y="41"/>
                      <a:pt x="5" y="41"/>
                      <a:pt x="5" y="41"/>
                    </a:cubicBezTo>
                    <a:cubicBezTo>
                      <a:pt x="4" y="41"/>
                      <a:pt x="4" y="41"/>
                      <a:pt x="4" y="40"/>
                    </a:cubicBezTo>
                    <a:cubicBezTo>
                      <a:pt x="4" y="39"/>
                      <a:pt x="4" y="39"/>
                      <a:pt x="5" y="39"/>
                    </a:cubicBezTo>
                    <a:cubicBezTo>
                      <a:pt x="8" y="35"/>
                      <a:pt x="8" y="35"/>
                      <a:pt x="8" y="35"/>
                    </a:cubicBezTo>
                    <a:cubicBezTo>
                      <a:pt x="8" y="34"/>
                      <a:pt x="8" y="32"/>
                      <a:pt x="7" y="31"/>
                    </a:cubicBezTo>
                    <a:cubicBezTo>
                      <a:pt x="2" y="31"/>
                      <a:pt x="2" y="31"/>
                      <a:pt x="2" y="31"/>
                    </a:cubicBezTo>
                    <a:cubicBezTo>
                      <a:pt x="1" y="31"/>
                      <a:pt x="0" y="30"/>
                      <a:pt x="0" y="29"/>
                    </a:cubicBezTo>
                    <a:cubicBezTo>
                      <a:pt x="0" y="23"/>
                      <a:pt x="0" y="23"/>
                      <a:pt x="0" y="23"/>
                    </a:cubicBezTo>
                    <a:cubicBezTo>
                      <a:pt x="0" y="22"/>
                      <a:pt x="1" y="21"/>
                      <a:pt x="2" y="21"/>
                    </a:cubicBezTo>
                    <a:cubicBezTo>
                      <a:pt x="7" y="21"/>
                      <a:pt x="7" y="21"/>
                      <a:pt x="7" y="21"/>
                    </a:cubicBezTo>
                    <a:cubicBezTo>
                      <a:pt x="8" y="20"/>
                      <a:pt x="8" y="18"/>
                      <a:pt x="8" y="17"/>
                    </a:cubicBezTo>
                    <a:cubicBezTo>
                      <a:pt x="5" y="13"/>
                      <a:pt x="5" y="13"/>
                      <a:pt x="5" y="13"/>
                    </a:cubicBezTo>
                    <a:cubicBezTo>
                      <a:pt x="4" y="13"/>
                      <a:pt x="4" y="13"/>
                      <a:pt x="4" y="12"/>
                    </a:cubicBezTo>
                    <a:cubicBezTo>
                      <a:pt x="4" y="11"/>
                      <a:pt x="4" y="11"/>
                      <a:pt x="5" y="11"/>
                    </a:cubicBezTo>
                    <a:cubicBezTo>
                      <a:pt x="11" y="5"/>
                      <a:pt x="11" y="5"/>
                      <a:pt x="11" y="5"/>
                    </a:cubicBezTo>
                    <a:cubicBezTo>
                      <a:pt x="11" y="4"/>
                      <a:pt x="13" y="4"/>
                      <a:pt x="13" y="5"/>
                    </a:cubicBezTo>
                    <a:cubicBezTo>
                      <a:pt x="17" y="8"/>
                      <a:pt x="17" y="8"/>
                      <a:pt x="17" y="8"/>
                    </a:cubicBezTo>
                    <a:cubicBezTo>
                      <a:pt x="18" y="8"/>
                      <a:pt x="20" y="8"/>
                      <a:pt x="21" y="7"/>
                    </a:cubicBezTo>
                    <a:cubicBezTo>
                      <a:pt x="21" y="2"/>
                      <a:pt x="21" y="2"/>
                      <a:pt x="21" y="2"/>
                    </a:cubicBezTo>
                    <a:cubicBezTo>
                      <a:pt x="21" y="1"/>
                      <a:pt x="22" y="0"/>
                      <a:pt x="23" y="0"/>
                    </a:cubicBezTo>
                    <a:cubicBezTo>
                      <a:pt x="29" y="0"/>
                      <a:pt x="29" y="0"/>
                      <a:pt x="29" y="0"/>
                    </a:cubicBezTo>
                    <a:cubicBezTo>
                      <a:pt x="30" y="0"/>
                      <a:pt x="31" y="1"/>
                      <a:pt x="31" y="2"/>
                    </a:cubicBezTo>
                    <a:cubicBezTo>
                      <a:pt x="31" y="7"/>
                      <a:pt x="31" y="7"/>
                      <a:pt x="31" y="7"/>
                    </a:cubicBezTo>
                    <a:cubicBezTo>
                      <a:pt x="32" y="8"/>
                      <a:pt x="34" y="8"/>
                      <a:pt x="35" y="8"/>
                    </a:cubicBezTo>
                    <a:cubicBezTo>
                      <a:pt x="39" y="5"/>
                      <a:pt x="39" y="5"/>
                      <a:pt x="39" y="5"/>
                    </a:cubicBezTo>
                    <a:cubicBezTo>
                      <a:pt x="39" y="4"/>
                      <a:pt x="41" y="4"/>
                      <a:pt x="41" y="5"/>
                    </a:cubicBezTo>
                    <a:cubicBezTo>
                      <a:pt x="47" y="11"/>
                      <a:pt x="47" y="11"/>
                      <a:pt x="47" y="11"/>
                    </a:cubicBezTo>
                    <a:cubicBezTo>
                      <a:pt x="48" y="11"/>
                      <a:pt x="48" y="11"/>
                      <a:pt x="48" y="12"/>
                    </a:cubicBezTo>
                    <a:cubicBezTo>
                      <a:pt x="48" y="13"/>
                      <a:pt x="48" y="13"/>
                      <a:pt x="47" y="13"/>
                    </a:cubicBezTo>
                    <a:cubicBezTo>
                      <a:pt x="44" y="17"/>
                      <a:pt x="44" y="17"/>
                      <a:pt x="44" y="17"/>
                    </a:cubicBezTo>
                    <a:cubicBezTo>
                      <a:pt x="44" y="18"/>
                      <a:pt x="44" y="20"/>
                      <a:pt x="45" y="21"/>
                    </a:cubicBezTo>
                    <a:cubicBezTo>
                      <a:pt x="50" y="21"/>
                      <a:pt x="50" y="21"/>
                      <a:pt x="50" y="21"/>
                    </a:cubicBezTo>
                    <a:cubicBezTo>
                      <a:pt x="51" y="21"/>
                      <a:pt x="52" y="22"/>
                      <a:pt x="52" y="23"/>
                    </a:cubicBezTo>
                    <a:cubicBezTo>
                      <a:pt x="52" y="29"/>
                      <a:pt x="52" y="29"/>
                      <a:pt x="52" y="29"/>
                    </a:cubicBezTo>
                    <a:cubicBezTo>
                      <a:pt x="52" y="30"/>
                      <a:pt x="51" y="31"/>
                      <a:pt x="50" y="31"/>
                    </a:cubicBezTo>
                    <a:cubicBezTo>
                      <a:pt x="45" y="31"/>
                      <a:pt x="45" y="31"/>
                      <a:pt x="45" y="31"/>
                    </a:cubicBezTo>
                    <a:cubicBezTo>
                      <a:pt x="44" y="32"/>
                      <a:pt x="44" y="34"/>
                      <a:pt x="44" y="35"/>
                    </a:cubicBezTo>
                    <a:cubicBezTo>
                      <a:pt x="47" y="39"/>
                      <a:pt x="47" y="39"/>
                      <a:pt x="47" y="39"/>
                    </a:cubicBezTo>
                    <a:cubicBezTo>
                      <a:pt x="48" y="39"/>
                      <a:pt x="48" y="41"/>
                      <a:pt x="47" y="41"/>
                    </a:cubicBezTo>
                    <a:cubicBezTo>
                      <a:pt x="41" y="47"/>
                      <a:pt x="41" y="47"/>
                      <a:pt x="41" y="47"/>
                    </a:cubicBezTo>
                    <a:cubicBezTo>
                      <a:pt x="41" y="48"/>
                      <a:pt x="39" y="48"/>
                      <a:pt x="39" y="47"/>
                    </a:cubicBezTo>
                    <a:cubicBezTo>
                      <a:pt x="35" y="44"/>
                      <a:pt x="35" y="44"/>
                      <a:pt x="35" y="44"/>
                    </a:cubicBezTo>
                    <a:cubicBezTo>
                      <a:pt x="34" y="44"/>
                      <a:pt x="32" y="44"/>
                      <a:pt x="31" y="45"/>
                    </a:cubicBezTo>
                    <a:cubicBezTo>
                      <a:pt x="31" y="50"/>
                      <a:pt x="31" y="50"/>
                      <a:pt x="31" y="50"/>
                    </a:cubicBezTo>
                    <a:cubicBezTo>
                      <a:pt x="31" y="51"/>
                      <a:pt x="30" y="52"/>
                      <a:pt x="29" y="52"/>
                    </a:cubicBezTo>
                    <a:close/>
                    <a:moveTo>
                      <a:pt x="25" y="48"/>
                    </a:moveTo>
                    <a:cubicBezTo>
                      <a:pt x="27" y="48"/>
                      <a:pt x="27" y="48"/>
                      <a:pt x="27" y="48"/>
                    </a:cubicBezTo>
                    <a:cubicBezTo>
                      <a:pt x="27" y="43"/>
                      <a:pt x="27" y="43"/>
                      <a:pt x="27" y="43"/>
                    </a:cubicBezTo>
                    <a:cubicBezTo>
                      <a:pt x="27" y="42"/>
                      <a:pt x="28" y="41"/>
                      <a:pt x="29" y="41"/>
                    </a:cubicBezTo>
                    <a:cubicBezTo>
                      <a:pt x="30" y="41"/>
                      <a:pt x="33" y="40"/>
                      <a:pt x="34" y="39"/>
                    </a:cubicBezTo>
                    <a:cubicBezTo>
                      <a:pt x="35" y="39"/>
                      <a:pt x="36" y="39"/>
                      <a:pt x="37" y="40"/>
                    </a:cubicBezTo>
                    <a:cubicBezTo>
                      <a:pt x="40" y="43"/>
                      <a:pt x="40" y="43"/>
                      <a:pt x="40" y="43"/>
                    </a:cubicBezTo>
                    <a:cubicBezTo>
                      <a:pt x="43" y="40"/>
                      <a:pt x="43" y="40"/>
                      <a:pt x="43" y="40"/>
                    </a:cubicBezTo>
                    <a:cubicBezTo>
                      <a:pt x="40" y="37"/>
                      <a:pt x="40" y="37"/>
                      <a:pt x="40" y="37"/>
                    </a:cubicBezTo>
                    <a:cubicBezTo>
                      <a:pt x="39" y="36"/>
                      <a:pt x="39" y="35"/>
                      <a:pt x="39" y="34"/>
                    </a:cubicBezTo>
                    <a:cubicBezTo>
                      <a:pt x="40" y="33"/>
                      <a:pt x="41" y="30"/>
                      <a:pt x="41" y="29"/>
                    </a:cubicBezTo>
                    <a:cubicBezTo>
                      <a:pt x="41" y="28"/>
                      <a:pt x="42" y="27"/>
                      <a:pt x="43" y="27"/>
                    </a:cubicBezTo>
                    <a:cubicBezTo>
                      <a:pt x="48" y="27"/>
                      <a:pt x="48" y="27"/>
                      <a:pt x="48" y="27"/>
                    </a:cubicBezTo>
                    <a:cubicBezTo>
                      <a:pt x="48" y="25"/>
                      <a:pt x="48" y="25"/>
                      <a:pt x="48" y="25"/>
                    </a:cubicBezTo>
                    <a:cubicBezTo>
                      <a:pt x="43" y="25"/>
                      <a:pt x="43" y="25"/>
                      <a:pt x="43" y="25"/>
                    </a:cubicBezTo>
                    <a:cubicBezTo>
                      <a:pt x="42" y="25"/>
                      <a:pt x="41" y="24"/>
                      <a:pt x="41" y="23"/>
                    </a:cubicBezTo>
                    <a:cubicBezTo>
                      <a:pt x="41" y="22"/>
                      <a:pt x="40" y="19"/>
                      <a:pt x="39" y="18"/>
                    </a:cubicBezTo>
                    <a:cubicBezTo>
                      <a:pt x="39" y="17"/>
                      <a:pt x="39" y="16"/>
                      <a:pt x="40" y="15"/>
                    </a:cubicBezTo>
                    <a:cubicBezTo>
                      <a:pt x="43" y="12"/>
                      <a:pt x="43" y="12"/>
                      <a:pt x="43" y="12"/>
                    </a:cubicBezTo>
                    <a:cubicBezTo>
                      <a:pt x="40" y="9"/>
                      <a:pt x="40" y="9"/>
                      <a:pt x="40" y="9"/>
                    </a:cubicBezTo>
                    <a:cubicBezTo>
                      <a:pt x="37" y="12"/>
                      <a:pt x="37" y="12"/>
                      <a:pt x="37" y="12"/>
                    </a:cubicBezTo>
                    <a:cubicBezTo>
                      <a:pt x="36" y="13"/>
                      <a:pt x="35" y="13"/>
                      <a:pt x="34" y="13"/>
                    </a:cubicBezTo>
                    <a:cubicBezTo>
                      <a:pt x="33" y="12"/>
                      <a:pt x="30" y="11"/>
                      <a:pt x="29" y="11"/>
                    </a:cubicBezTo>
                    <a:cubicBezTo>
                      <a:pt x="28" y="11"/>
                      <a:pt x="27" y="10"/>
                      <a:pt x="27" y="9"/>
                    </a:cubicBezTo>
                    <a:cubicBezTo>
                      <a:pt x="27" y="4"/>
                      <a:pt x="27" y="4"/>
                      <a:pt x="27" y="4"/>
                    </a:cubicBezTo>
                    <a:cubicBezTo>
                      <a:pt x="25" y="4"/>
                      <a:pt x="25" y="4"/>
                      <a:pt x="25" y="4"/>
                    </a:cubicBezTo>
                    <a:cubicBezTo>
                      <a:pt x="25" y="9"/>
                      <a:pt x="25" y="9"/>
                      <a:pt x="25" y="9"/>
                    </a:cubicBezTo>
                    <a:cubicBezTo>
                      <a:pt x="25" y="10"/>
                      <a:pt x="24" y="11"/>
                      <a:pt x="23" y="11"/>
                    </a:cubicBezTo>
                    <a:cubicBezTo>
                      <a:pt x="22" y="11"/>
                      <a:pt x="19" y="12"/>
                      <a:pt x="18" y="13"/>
                    </a:cubicBezTo>
                    <a:cubicBezTo>
                      <a:pt x="17" y="13"/>
                      <a:pt x="16" y="13"/>
                      <a:pt x="15" y="12"/>
                    </a:cubicBezTo>
                    <a:cubicBezTo>
                      <a:pt x="12" y="9"/>
                      <a:pt x="12" y="9"/>
                      <a:pt x="12" y="9"/>
                    </a:cubicBezTo>
                    <a:cubicBezTo>
                      <a:pt x="9" y="12"/>
                      <a:pt x="9" y="12"/>
                      <a:pt x="9" y="12"/>
                    </a:cubicBezTo>
                    <a:cubicBezTo>
                      <a:pt x="12" y="15"/>
                      <a:pt x="12" y="15"/>
                      <a:pt x="12" y="15"/>
                    </a:cubicBezTo>
                    <a:cubicBezTo>
                      <a:pt x="13" y="16"/>
                      <a:pt x="13" y="17"/>
                      <a:pt x="13" y="18"/>
                    </a:cubicBezTo>
                    <a:cubicBezTo>
                      <a:pt x="12" y="19"/>
                      <a:pt x="11" y="22"/>
                      <a:pt x="11" y="23"/>
                    </a:cubicBezTo>
                    <a:cubicBezTo>
                      <a:pt x="10" y="24"/>
                      <a:pt x="10" y="25"/>
                      <a:pt x="9" y="25"/>
                    </a:cubicBezTo>
                    <a:cubicBezTo>
                      <a:pt x="4" y="25"/>
                      <a:pt x="4" y="25"/>
                      <a:pt x="4" y="25"/>
                    </a:cubicBezTo>
                    <a:cubicBezTo>
                      <a:pt x="4" y="27"/>
                      <a:pt x="4" y="27"/>
                      <a:pt x="4" y="27"/>
                    </a:cubicBezTo>
                    <a:cubicBezTo>
                      <a:pt x="9" y="27"/>
                      <a:pt x="9" y="27"/>
                      <a:pt x="9" y="27"/>
                    </a:cubicBezTo>
                    <a:cubicBezTo>
                      <a:pt x="10" y="27"/>
                      <a:pt x="10" y="28"/>
                      <a:pt x="11" y="29"/>
                    </a:cubicBezTo>
                    <a:cubicBezTo>
                      <a:pt x="11" y="30"/>
                      <a:pt x="12" y="33"/>
                      <a:pt x="13" y="34"/>
                    </a:cubicBezTo>
                    <a:cubicBezTo>
                      <a:pt x="13" y="35"/>
                      <a:pt x="13" y="36"/>
                      <a:pt x="12" y="37"/>
                    </a:cubicBezTo>
                    <a:cubicBezTo>
                      <a:pt x="9" y="40"/>
                      <a:pt x="9" y="40"/>
                      <a:pt x="9" y="40"/>
                    </a:cubicBezTo>
                    <a:cubicBezTo>
                      <a:pt x="12" y="43"/>
                      <a:pt x="12" y="43"/>
                      <a:pt x="12" y="43"/>
                    </a:cubicBezTo>
                    <a:cubicBezTo>
                      <a:pt x="15" y="40"/>
                      <a:pt x="15" y="40"/>
                      <a:pt x="15" y="40"/>
                    </a:cubicBezTo>
                    <a:cubicBezTo>
                      <a:pt x="16" y="39"/>
                      <a:pt x="17" y="39"/>
                      <a:pt x="18" y="39"/>
                    </a:cubicBezTo>
                    <a:cubicBezTo>
                      <a:pt x="19" y="40"/>
                      <a:pt x="22" y="41"/>
                      <a:pt x="23" y="41"/>
                    </a:cubicBezTo>
                    <a:cubicBezTo>
                      <a:pt x="24" y="41"/>
                      <a:pt x="25" y="42"/>
                      <a:pt x="25" y="43"/>
                    </a:cubicBezTo>
                    <a:lnTo>
                      <a:pt x="25"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60">
                <a:extLst>
                  <a:ext uri="{FF2B5EF4-FFF2-40B4-BE49-F238E27FC236}">
                    <a16:creationId xmlns:a16="http://schemas.microsoft.com/office/drawing/2014/main" id="{D38C8F35-D02A-464B-9E98-617787E9830B}"/>
                  </a:ext>
                </a:extLst>
              </p:cNvPr>
              <p:cNvSpPr>
                <a:spLocks noEditPoints="1"/>
              </p:cNvSpPr>
              <p:nvPr/>
            </p:nvSpPr>
            <p:spPr bwMode="auto">
              <a:xfrm>
                <a:off x="904387" y="4729759"/>
                <a:ext cx="83433" cy="83433"/>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close/>
                    <a:moveTo>
                      <a:pt x="11" y="4"/>
                    </a:moveTo>
                    <a:cubicBezTo>
                      <a:pt x="7" y="4"/>
                      <a:pt x="4" y="7"/>
                      <a:pt x="4" y="11"/>
                    </a:cubicBezTo>
                    <a:cubicBezTo>
                      <a:pt x="4" y="15"/>
                      <a:pt x="7" y="18"/>
                      <a:pt x="11" y="18"/>
                    </a:cubicBezTo>
                    <a:cubicBezTo>
                      <a:pt x="15" y="18"/>
                      <a:pt x="18" y="15"/>
                      <a:pt x="18" y="11"/>
                    </a:cubicBezTo>
                    <a:cubicBezTo>
                      <a:pt x="18" y="7"/>
                      <a:pt x="15" y="4"/>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0" name="Freeform 61">
              <a:extLst>
                <a:ext uri="{FF2B5EF4-FFF2-40B4-BE49-F238E27FC236}">
                  <a16:creationId xmlns:a16="http://schemas.microsoft.com/office/drawing/2014/main" id="{679E69AA-A022-48AD-AED1-704B6F85D560}"/>
                </a:ext>
              </a:extLst>
            </p:cNvPr>
            <p:cNvSpPr>
              <a:spLocks noEditPoints="1"/>
            </p:cNvSpPr>
            <p:nvPr/>
          </p:nvSpPr>
          <p:spPr bwMode="auto">
            <a:xfrm>
              <a:off x="791597" y="4637055"/>
              <a:ext cx="327553" cy="360000"/>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9 w 87"/>
                <a:gd name="T45" fmla="*/ 78 h 96"/>
                <a:gd name="T46" fmla="*/ 72 w 87"/>
                <a:gd name="T47" fmla="*/ 75 h 96"/>
                <a:gd name="T48" fmla="*/ 74 w 87"/>
                <a:gd name="T49" fmla="*/ 58 h 96"/>
                <a:gd name="T50" fmla="*/ 75 w 87"/>
                <a:gd name="T51" fmla="*/ 57 h 96"/>
                <a:gd name="T52" fmla="*/ 76 w 87"/>
                <a:gd name="T53" fmla="*/ 56 h 96"/>
                <a:gd name="T54" fmla="*/ 82 w 87"/>
                <a:gd name="T55" fmla="*/ 56 h 96"/>
                <a:gd name="T56" fmla="*/ 83 w 87"/>
                <a:gd name="T57" fmla="*/ 56 h 96"/>
                <a:gd name="T58" fmla="*/ 83 w 87"/>
                <a:gd name="T59" fmla="*/ 55 h 96"/>
                <a:gd name="T60" fmla="*/ 83 w 87"/>
                <a:gd name="T61" fmla="*/ 54 h 96"/>
                <a:gd name="T62" fmla="*/ 78 w 87"/>
                <a:gd name="T63" fmla="*/ 41 h 96"/>
                <a:gd name="T64" fmla="*/ 74 w 87"/>
                <a:gd name="T65" fmla="*/ 34 h 96"/>
                <a:gd name="T66" fmla="*/ 40 w 87"/>
                <a:gd name="T67" fmla="*/ 4 h 96"/>
                <a:gd name="T68" fmla="*/ 4 w 87"/>
                <a:gd name="T69" fmla="*/ 40 h 96"/>
                <a:gd name="T70" fmla="*/ 19 w 87"/>
                <a:gd name="T71" fmla="*/ 69 h 96"/>
                <a:gd name="T72" fmla="*/ 20 w 87"/>
                <a:gd name="T73" fmla="*/ 71 h 96"/>
                <a:gd name="T74" fmla="*/ 20 w 87"/>
                <a:gd name="T75"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6"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8" y="78"/>
                    <a:pt x="58" y="78"/>
                  </a:cubicBezTo>
                  <a:cubicBezTo>
                    <a:pt x="59" y="78"/>
                    <a:pt x="59" y="78"/>
                    <a:pt x="59" y="78"/>
                  </a:cubicBezTo>
                  <a:cubicBezTo>
                    <a:pt x="66" y="78"/>
                    <a:pt x="70" y="77"/>
                    <a:pt x="72"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6"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uppieren 562">
            <a:extLst>
              <a:ext uri="{FF2B5EF4-FFF2-40B4-BE49-F238E27FC236}">
                <a16:creationId xmlns:a16="http://schemas.microsoft.com/office/drawing/2014/main" id="{5105B25A-C690-4ABD-9246-A2CD8F1B3B40}"/>
              </a:ext>
            </a:extLst>
          </p:cNvPr>
          <p:cNvGrpSpPr>
            <a:grpSpLocks noChangeAspect="1"/>
          </p:cNvGrpSpPr>
          <p:nvPr/>
        </p:nvGrpSpPr>
        <p:grpSpPr>
          <a:xfrm>
            <a:off x="284919" y="4345739"/>
            <a:ext cx="278980" cy="306484"/>
            <a:chOff x="5520948" y="4637056"/>
            <a:chExt cx="208532" cy="229091"/>
          </a:xfrm>
          <a:solidFill>
            <a:schemeClr val="bg2"/>
          </a:solidFill>
          <a:effectLst/>
        </p:grpSpPr>
        <p:sp>
          <p:nvSpPr>
            <p:cNvPr id="564" name="Freeform 65">
              <a:extLst>
                <a:ext uri="{FF2B5EF4-FFF2-40B4-BE49-F238E27FC236}">
                  <a16:creationId xmlns:a16="http://schemas.microsoft.com/office/drawing/2014/main" id="{D1FC507B-F967-4E08-A4F6-14E126DDD2B8}"/>
                </a:ext>
              </a:extLst>
            </p:cNvPr>
            <p:cNvSpPr>
              <a:spLocks noEditPoints="1"/>
            </p:cNvSpPr>
            <p:nvPr/>
          </p:nvSpPr>
          <p:spPr bwMode="auto">
            <a:xfrm>
              <a:off x="5520948" y="4637056"/>
              <a:ext cx="208532" cy="229091"/>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66">
              <a:extLst>
                <a:ext uri="{FF2B5EF4-FFF2-40B4-BE49-F238E27FC236}">
                  <a16:creationId xmlns:a16="http://schemas.microsoft.com/office/drawing/2014/main" id="{03CCF8ED-D79A-4DCB-885F-E6A54A12211F}"/>
                </a:ext>
              </a:extLst>
            </p:cNvPr>
            <p:cNvSpPr>
              <a:spLocks/>
            </p:cNvSpPr>
            <p:nvPr/>
          </p:nvSpPr>
          <p:spPr bwMode="auto">
            <a:xfrm>
              <a:off x="5587521" y="4689923"/>
              <a:ext cx="91049" cy="66573"/>
            </a:xfrm>
            <a:custGeom>
              <a:avLst/>
              <a:gdLst>
                <a:gd name="T0" fmla="*/ 10 w 38"/>
                <a:gd name="T1" fmla="*/ 28 h 28"/>
                <a:gd name="T2" fmla="*/ 9 w 38"/>
                <a:gd name="T3" fmla="*/ 27 h 28"/>
                <a:gd name="T4" fmla="*/ 1 w 38"/>
                <a:gd name="T5" fmla="*/ 19 h 28"/>
                <a:gd name="T6" fmla="*/ 1 w 38"/>
                <a:gd name="T7" fmla="*/ 17 h 28"/>
                <a:gd name="T8" fmla="*/ 3 w 38"/>
                <a:gd name="T9" fmla="*/ 17 h 28"/>
                <a:gd name="T10" fmla="*/ 10 w 38"/>
                <a:gd name="T11" fmla="*/ 23 h 28"/>
                <a:gd name="T12" fmla="*/ 35 w 38"/>
                <a:gd name="T13" fmla="*/ 1 h 28"/>
                <a:gd name="T14" fmla="*/ 37 w 38"/>
                <a:gd name="T15" fmla="*/ 1 h 28"/>
                <a:gd name="T16" fmla="*/ 37 w 38"/>
                <a:gd name="T17" fmla="*/ 3 h 28"/>
                <a:gd name="T18" fmla="*/ 11 w 38"/>
                <a:gd name="T19" fmla="*/ 27 h 28"/>
                <a:gd name="T20" fmla="*/ 10 w 3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10" y="28"/>
                  </a:moveTo>
                  <a:cubicBezTo>
                    <a:pt x="9" y="28"/>
                    <a:pt x="9" y="28"/>
                    <a:pt x="9" y="27"/>
                  </a:cubicBezTo>
                  <a:cubicBezTo>
                    <a:pt x="1" y="19"/>
                    <a:pt x="1" y="19"/>
                    <a:pt x="1" y="19"/>
                  </a:cubicBezTo>
                  <a:cubicBezTo>
                    <a:pt x="0" y="19"/>
                    <a:pt x="0" y="17"/>
                    <a:pt x="1" y="17"/>
                  </a:cubicBezTo>
                  <a:cubicBezTo>
                    <a:pt x="1" y="16"/>
                    <a:pt x="3" y="16"/>
                    <a:pt x="3" y="17"/>
                  </a:cubicBezTo>
                  <a:cubicBezTo>
                    <a:pt x="10" y="23"/>
                    <a:pt x="10" y="23"/>
                    <a:pt x="10" y="23"/>
                  </a:cubicBezTo>
                  <a:cubicBezTo>
                    <a:pt x="35" y="1"/>
                    <a:pt x="35" y="1"/>
                    <a:pt x="35" y="1"/>
                  </a:cubicBezTo>
                  <a:cubicBezTo>
                    <a:pt x="35" y="0"/>
                    <a:pt x="37" y="0"/>
                    <a:pt x="37" y="1"/>
                  </a:cubicBezTo>
                  <a:cubicBezTo>
                    <a:pt x="38" y="1"/>
                    <a:pt x="38" y="3"/>
                    <a:pt x="37" y="3"/>
                  </a:cubicBezTo>
                  <a:cubicBezTo>
                    <a:pt x="11" y="27"/>
                    <a:pt x="11" y="27"/>
                    <a:pt x="11" y="27"/>
                  </a:cubicBezTo>
                  <a:cubicBezTo>
                    <a:pt x="11" y="28"/>
                    <a:pt x="10" y="28"/>
                    <a:pt x="1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67">
              <a:extLst>
                <a:ext uri="{FF2B5EF4-FFF2-40B4-BE49-F238E27FC236}">
                  <a16:creationId xmlns:a16="http://schemas.microsoft.com/office/drawing/2014/main" id="{1DF02EF5-FF9D-480A-8A8A-305653BB0D3A}"/>
                </a:ext>
              </a:extLst>
            </p:cNvPr>
            <p:cNvSpPr>
              <a:spLocks/>
            </p:cNvSpPr>
            <p:nvPr/>
          </p:nvSpPr>
          <p:spPr bwMode="auto">
            <a:xfrm>
              <a:off x="5568920" y="4685028"/>
              <a:ext cx="94965" cy="94965"/>
            </a:xfrm>
            <a:custGeom>
              <a:avLst/>
              <a:gdLst>
                <a:gd name="T0" fmla="*/ 38 w 40"/>
                <a:gd name="T1" fmla="*/ 40 h 40"/>
                <a:gd name="T2" fmla="*/ 2 w 40"/>
                <a:gd name="T3" fmla="*/ 40 h 40"/>
                <a:gd name="T4" fmla="*/ 0 w 40"/>
                <a:gd name="T5" fmla="*/ 38 h 40"/>
                <a:gd name="T6" fmla="*/ 0 w 40"/>
                <a:gd name="T7" fmla="*/ 2 h 40"/>
                <a:gd name="T8" fmla="*/ 2 w 40"/>
                <a:gd name="T9" fmla="*/ 0 h 40"/>
                <a:gd name="T10" fmla="*/ 30 w 40"/>
                <a:gd name="T11" fmla="*/ 0 h 40"/>
                <a:gd name="T12" fmla="*/ 32 w 40"/>
                <a:gd name="T13" fmla="*/ 2 h 40"/>
                <a:gd name="T14" fmla="*/ 30 w 40"/>
                <a:gd name="T15" fmla="*/ 4 h 40"/>
                <a:gd name="T16" fmla="*/ 4 w 40"/>
                <a:gd name="T17" fmla="*/ 4 h 40"/>
                <a:gd name="T18" fmla="*/ 4 w 40"/>
                <a:gd name="T19" fmla="*/ 36 h 40"/>
                <a:gd name="T20" fmla="*/ 36 w 40"/>
                <a:gd name="T21" fmla="*/ 36 h 40"/>
                <a:gd name="T22" fmla="*/ 36 w 40"/>
                <a:gd name="T23" fmla="*/ 22 h 40"/>
                <a:gd name="T24" fmla="*/ 38 w 40"/>
                <a:gd name="T25" fmla="*/ 20 h 40"/>
                <a:gd name="T26" fmla="*/ 40 w 40"/>
                <a:gd name="T27" fmla="*/ 22 h 40"/>
                <a:gd name="T28" fmla="*/ 40 w 40"/>
                <a:gd name="T29" fmla="*/ 38 h 40"/>
                <a:gd name="T30" fmla="*/ 38 w 4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38" y="40"/>
                  </a:moveTo>
                  <a:cubicBezTo>
                    <a:pt x="2" y="40"/>
                    <a:pt x="2" y="40"/>
                    <a:pt x="2" y="40"/>
                  </a:cubicBezTo>
                  <a:cubicBezTo>
                    <a:pt x="1" y="40"/>
                    <a:pt x="0" y="39"/>
                    <a:pt x="0" y="38"/>
                  </a:cubicBezTo>
                  <a:cubicBezTo>
                    <a:pt x="0" y="2"/>
                    <a:pt x="0" y="2"/>
                    <a:pt x="0" y="2"/>
                  </a:cubicBezTo>
                  <a:cubicBezTo>
                    <a:pt x="0" y="1"/>
                    <a:pt x="1" y="0"/>
                    <a:pt x="2" y="0"/>
                  </a:cubicBezTo>
                  <a:cubicBezTo>
                    <a:pt x="30" y="0"/>
                    <a:pt x="30" y="0"/>
                    <a:pt x="30" y="0"/>
                  </a:cubicBezTo>
                  <a:cubicBezTo>
                    <a:pt x="31" y="0"/>
                    <a:pt x="32" y="1"/>
                    <a:pt x="32" y="2"/>
                  </a:cubicBezTo>
                  <a:cubicBezTo>
                    <a:pt x="32" y="3"/>
                    <a:pt x="31" y="4"/>
                    <a:pt x="30" y="4"/>
                  </a:cubicBezTo>
                  <a:cubicBezTo>
                    <a:pt x="4" y="4"/>
                    <a:pt x="4" y="4"/>
                    <a:pt x="4" y="4"/>
                  </a:cubicBezTo>
                  <a:cubicBezTo>
                    <a:pt x="4" y="36"/>
                    <a:pt x="4" y="36"/>
                    <a:pt x="4" y="36"/>
                  </a:cubicBezTo>
                  <a:cubicBezTo>
                    <a:pt x="36" y="36"/>
                    <a:pt x="36" y="36"/>
                    <a:pt x="36" y="36"/>
                  </a:cubicBezTo>
                  <a:cubicBezTo>
                    <a:pt x="36" y="22"/>
                    <a:pt x="36" y="22"/>
                    <a:pt x="36" y="22"/>
                  </a:cubicBezTo>
                  <a:cubicBezTo>
                    <a:pt x="36" y="21"/>
                    <a:pt x="37" y="20"/>
                    <a:pt x="38" y="20"/>
                  </a:cubicBezTo>
                  <a:cubicBezTo>
                    <a:pt x="39" y="20"/>
                    <a:pt x="40" y="21"/>
                    <a:pt x="40" y="22"/>
                  </a:cubicBezTo>
                  <a:cubicBezTo>
                    <a:pt x="40" y="38"/>
                    <a:pt x="40" y="38"/>
                    <a:pt x="40" y="38"/>
                  </a:cubicBezTo>
                  <a:cubicBezTo>
                    <a:pt x="40" y="39"/>
                    <a:pt x="39" y="40"/>
                    <a:pt x="3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71">
            <a:extLst>
              <a:ext uri="{FF2B5EF4-FFF2-40B4-BE49-F238E27FC236}">
                <a16:creationId xmlns:a16="http://schemas.microsoft.com/office/drawing/2014/main" id="{E9FCC594-9602-435A-AF0D-9062AFE3914C}"/>
              </a:ext>
            </a:extLst>
          </p:cNvPr>
          <p:cNvGrpSpPr>
            <a:grpSpLocks noChangeAspect="1"/>
          </p:cNvGrpSpPr>
          <p:nvPr/>
        </p:nvGrpSpPr>
        <p:grpSpPr>
          <a:xfrm>
            <a:off x="1066057" y="3802799"/>
            <a:ext cx="306484" cy="306484"/>
            <a:chOff x="4386263" y="3243263"/>
            <a:chExt cx="371476" cy="371476"/>
          </a:xfrm>
          <a:solidFill>
            <a:schemeClr val="bg2"/>
          </a:solidFill>
          <a:effectLst/>
        </p:grpSpPr>
        <p:sp>
          <p:nvSpPr>
            <p:cNvPr id="568" name="Freeform 27">
              <a:extLst>
                <a:ext uri="{FF2B5EF4-FFF2-40B4-BE49-F238E27FC236}">
                  <a16:creationId xmlns:a16="http://schemas.microsoft.com/office/drawing/2014/main" id="{2F843378-5CF5-4769-ACE2-F3BB08AFBEC3}"/>
                </a:ext>
              </a:extLst>
            </p:cNvPr>
            <p:cNvSpPr>
              <a:spLocks noEditPoints="1"/>
            </p:cNvSpPr>
            <p:nvPr/>
          </p:nvSpPr>
          <p:spPr bwMode="auto">
            <a:xfrm>
              <a:off x="4418013" y="3328988"/>
              <a:ext cx="254000" cy="255588"/>
            </a:xfrm>
            <a:custGeom>
              <a:avLst/>
              <a:gdLst>
                <a:gd name="T0" fmla="*/ 14 w 66"/>
                <a:gd name="T1" fmla="*/ 66 h 66"/>
                <a:gd name="T2" fmla="*/ 13 w 66"/>
                <a:gd name="T3" fmla="*/ 65 h 66"/>
                <a:gd name="T4" fmla="*/ 1 w 66"/>
                <a:gd name="T5" fmla="*/ 53 h 66"/>
                <a:gd name="T6" fmla="*/ 0 w 66"/>
                <a:gd name="T7" fmla="*/ 52 h 66"/>
                <a:gd name="T8" fmla="*/ 1 w 66"/>
                <a:gd name="T9" fmla="*/ 51 h 66"/>
                <a:gd name="T10" fmla="*/ 51 w 66"/>
                <a:gd name="T11" fmla="*/ 1 h 66"/>
                <a:gd name="T12" fmla="*/ 52 w 66"/>
                <a:gd name="T13" fmla="*/ 0 h 66"/>
                <a:gd name="T14" fmla="*/ 52 w 66"/>
                <a:gd name="T15" fmla="*/ 0 h 66"/>
                <a:gd name="T16" fmla="*/ 53 w 66"/>
                <a:gd name="T17" fmla="*/ 1 h 66"/>
                <a:gd name="T18" fmla="*/ 65 w 66"/>
                <a:gd name="T19" fmla="*/ 13 h 66"/>
                <a:gd name="T20" fmla="*/ 65 w 66"/>
                <a:gd name="T21" fmla="*/ 15 h 66"/>
                <a:gd name="T22" fmla="*/ 15 w 66"/>
                <a:gd name="T23" fmla="*/ 65 h 66"/>
                <a:gd name="T24" fmla="*/ 14 w 66"/>
                <a:gd name="T25" fmla="*/ 66 h 66"/>
                <a:gd name="T26" fmla="*/ 5 w 66"/>
                <a:gd name="T27" fmla="*/ 52 h 66"/>
                <a:gd name="T28" fmla="*/ 14 w 66"/>
                <a:gd name="T29" fmla="*/ 61 h 66"/>
                <a:gd name="T30" fmla="*/ 61 w 66"/>
                <a:gd name="T31" fmla="*/ 14 h 66"/>
                <a:gd name="T32" fmla="*/ 52 w 66"/>
                <a:gd name="T33" fmla="*/ 5 h 66"/>
                <a:gd name="T34" fmla="*/ 5 w 66"/>
                <a:gd name="T35"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6">
                  <a:moveTo>
                    <a:pt x="14" y="66"/>
                  </a:moveTo>
                  <a:cubicBezTo>
                    <a:pt x="13" y="66"/>
                    <a:pt x="13" y="66"/>
                    <a:pt x="13" y="65"/>
                  </a:cubicBezTo>
                  <a:cubicBezTo>
                    <a:pt x="1" y="53"/>
                    <a:pt x="1" y="53"/>
                    <a:pt x="1" y="53"/>
                  </a:cubicBezTo>
                  <a:cubicBezTo>
                    <a:pt x="0" y="53"/>
                    <a:pt x="0" y="53"/>
                    <a:pt x="0" y="52"/>
                  </a:cubicBezTo>
                  <a:cubicBezTo>
                    <a:pt x="0" y="51"/>
                    <a:pt x="0" y="51"/>
                    <a:pt x="1" y="51"/>
                  </a:cubicBezTo>
                  <a:cubicBezTo>
                    <a:pt x="51" y="1"/>
                    <a:pt x="51" y="1"/>
                    <a:pt x="51" y="1"/>
                  </a:cubicBezTo>
                  <a:cubicBezTo>
                    <a:pt x="51" y="0"/>
                    <a:pt x="51" y="0"/>
                    <a:pt x="52" y="0"/>
                  </a:cubicBezTo>
                  <a:cubicBezTo>
                    <a:pt x="52" y="0"/>
                    <a:pt x="52" y="0"/>
                    <a:pt x="52" y="0"/>
                  </a:cubicBezTo>
                  <a:cubicBezTo>
                    <a:pt x="53" y="0"/>
                    <a:pt x="53" y="0"/>
                    <a:pt x="53" y="1"/>
                  </a:cubicBezTo>
                  <a:cubicBezTo>
                    <a:pt x="65" y="13"/>
                    <a:pt x="65" y="13"/>
                    <a:pt x="65" y="13"/>
                  </a:cubicBezTo>
                  <a:cubicBezTo>
                    <a:pt x="66" y="13"/>
                    <a:pt x="66" y="15"/>
                    <a:pt x="65" y="15"/>
                  </a:cubicBezTo>
                  <a:cubicBezTo>
                    <a:pt x="15" y="65"/>
                    <a:pt x="15" y="65"/>
                    <a:pt x="15" y="65"/>
                  </a:cubicBezTo>
                  <a:cubicBezTo>
                    <a:pt x="15" y="66"/>
                    <a:pt x="15" y="66"/>
                    <a:pt x="14" y="66"/>
                  </a:cubicBezTo>
                  <a:close/>
                  <a:moveTo>
                    <a:pt x="5" y="52"/>
                  </a:moveTo>
                  <a:cubicBezTo>
                    <a:pt x="14" y="61"/>
                    <a:pt x="14" y="61"/>
                    <a:pt x="14" y="61"/>
                  </a:cubicBezTo>
                  <a:cubicBezTo>
                    <a:pt x="61" y="14"/>
                    <a:pt x="61" y="14"/>
                    <a:pt x="61" y="14"/>
                  </a:cubicBezTo>
                  <a:cubicBezTo>
                    <a:pt x="52" y="5"/>
                    <a:pt x="52" y="5"/>
                    <a:pt x="52" y="5"/>
                  </a:cubicBez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28">
              <a:extLst>
                <a:ext uri="{FF2B5EF4-FFF2-40B4-BE49-F238E27FC236}">
                  <a16:creationId xmlns:a16="http://schemas.microsoft.com/office/drawing/2014/main" id="{E45FBD37-6F1A-4EF8-9EEC-4000309D08EE}"/>
                </a:ext>
              </a:extLst>
            </p:cNvPr>
            <p:cNvSpPr>
              <a:spLocks/>
            </p:cNvSpPr>
            <p:nvPr/>
          </p:nvSpPr>
          <p:spPr bwMode="auto">
            <a:xfrm>
              <a:off x="4560888" y="3440113"/>
              <a:ext cx="196850" cy="174625"/>
            </a:xfrm>
            <a:custGeom>
              <a:avLst/>
              <a:gdLst>
                <a:gd name="T0" fmla="*/ 41 w 51"/>
                <a:gd name="T1" fmla="*/ 45 h 45"/>
                <a:gd name="T2" fmla="*/ 40 w 51"/>
                <a:gd name="T3" fmla="*/ 45 h 45"/>
                <a:gd name="T4" fmla="*/ 39 w 51"/>
                <a:gd name="T5" fmla="*/ 45 h 45"/>
                <a:gd name="T6" fmla="*/ 38 w 51"/>
                <a:gd name="T7" fmla="*/ 44 h 45"/>
                <a:gd name="T8" fmla="*/ 1 w 51"/>
                <a:gd name="T9" fmla="*/ 11 h 45"/>
                <a:gd name="T10" fmla="*/ 1 w 51"/>
                <a:gd name="T11" fmla="*/ 8 h 45"/>
                <a:gd name="T12" fmla="*/ 4 w 51"/>
                <a:gd name="T13" fmla="*/ 8 h 45"/>
                <a:gd name="T14" fmla="*/ 40 w 51"/>
                <a:gd name="T15" fmla="*/ 41 h 45"/>
                <a:gd name="T16" fmla="*/ 40 w 51"/>
                <a:gd name="T17" fmla="*/ 41 h 45"/>
                <a:gd name="T18" fmla="*/ 46 w 51"/>
                <a:gd name="T19" fmla="*/ 40 h 45"/>
                <a:gd name="T20" fmla="*/ 47 w 51"/>
                <a:gd name="T21" fmla="*/ 34 h 45"/>
                <a:gd name="T22" fmla="*/ 9 w 51"/>
                <a:gd name="T23" fmla="*/ 4 h 45"/>
                <a:gd name="T24" fmla="*/ 8 w 51"/>
                <a:gd name="T25" fmla="*/ 1 h 45"/>
                <a:gd name="T26" fmla="*/ 11 w 51"/>
                <a:gd name="T27" fmla="*/ 0 h 45"/>
                <a:gd name="T28" fmla="*/ 50 w 51"/>
                <a:gd name="T29" fmla="*/ 31 h 45"/>
                <a:gd name="T30" fmla="*/ 51 w 51"/>
                <a:gd name="T31" fmla="*/ 33 h 45"/>
                <a:gd name="T32" fmla="*/ 48 w 51"/>
                <a:gd name="T33" fmla="*/ 43 h 45"/>
                <a:gd name="T34" fmla="*/ 41 w 51"/>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5">
                  <a:moveTo>
                    <a:pt x="41" y="45"/>
                  </a:moveTo>
                  <a:cubicBezTo>
                    <a:pt x="41" y="45"/>
                    <a:pt x="41" y="45"/>
                    <a:pt x="40" y="45"/>
                  </a:cubicBezTo>
                  <a:cubicBezTo>
                    <a:pt x="39" y="45"/>
                    <a:pt x="39" y="45"/>
                    <a:pt x="39" y="45"/>
                  </a:cubicBezTo>
                  <a:cubicBezTo>
                    <a:pt x="38" y="45"/>
                    <a:pt x="38" y="45"/>
                    <a:pt x="38" y="44"/>
                  </a:cubicBezTo>
                  <a:cubicBezTo>
                    <a:pt x="1" y="11"/>
                    <a:pt x="1" y="11"/>
                    <a:pt x="1" y="11"/>
                  </a:cubicBezTo>
                  <a:cubicBezTo>
                    <a:pt x="1" y="10"/>
                    <a:pt x="0" y="9"/>
                    <a:pt x="1" y="8"/>
                  </a:cubicBezTo>
                  <a:cubicBezTo>
                    <a:pt x="2" y="7"/>
                    <a:pt x="3" y="7"/>
                    <a:pt x="4" y="8"/>
                  </a:cubicBezTo>
                  <a:cubicBezTo>
                    <a:pt x="40" y="41"/>
                    <a:pt x="40" y="41"/>
                    <a:pt x="40" y="41"/>
                  </a:cubicBezTo>
                  <a:cubicBezTo>
                    <a:pt x="40" y="41"/>
                    <a:pt x="40" y="41"/>
                    <a:pt x="40" y="41"/>
                  </a:cubicBezTo>
                  <a:cubicBezTo>
                    <a:pt x="43" y="41"/>
                    <a:pt x="45" y="41"/>
                    <a:pt x="46" y="40"/>
                  </a:cubicBezTo>
                  <a:cubicBezTo>
                    <a:pt x="46" y="39"/>
                    <a:pt x="47" y="37"/>
                    <a:pt x="47" y="34"/>
                  </a:cubicBezTo>
                  <a:cubicBezTo>
                    <a:pt x="9" y="4"/>
                    <a:pt x="9" y="4"/>
                    <a:pt x="9" y="4"/>
                  </a:cubicBezTo>
                  <a:cubicBezTo>
                    <a:pt x="8" y="3"/>
                    <a:pt x="8" y="2"/>
                    <a:pt x="8" y="1"/>
                  </a:cubicBezTo>
                  <a:cubicBezTo>
                    <a:pt x="9" y="0"/>
                    <a:pt x="10" y="0"/>
                    <a:pt x="11" y="0"/>
                  </a:cubicBezTo>
                  <a:cubicBezTo>
                    <a:pt x="50" y="31"/>
                    <a:pt x="50" y="31"/>
                    <a:pt x="50" y="31"/>
                  </a:cubicBezTo>
                  <a:cubicBezTo>
                    <a:pt x="51" y="32"/>
                    <a:pt x="51" y="32"/>
                    <a:pt x="51" y="33"/>
                  </a:cubicBezTo>
                  <a:cubicBezTo>
                    <a:pt x="51" y="38"/>
                    <a:pt x="50" y="41"/>
                    <a:pt x="48" y="43"/>
                  </a:cubicBezTo>
                  <a:cubicBezTo>
                    <a:pt x="47" y="45"/>
                    <a:pt x="44" y="45"/>
                    <a:pt x="4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29">
              <a:extLst>
                <a:ext uri="{FF2B5EF4-FFF2-40B4-BE49-F238E27FC236}">
                  <a16:creationId xmlns:a16="http://schemas.microsoft.com/office/drawing/2014/main" id="{CB7D5759-C858-4760-81B7-EA0E67366C93}"/>
                </a:ext>
              </a:extLst>
            </p:cNvPr>
            <p:cNvSpPr>
              <a:spLocks/>
            </p:cNvSpPr>
            <p:nvPr/>
          </p:nvSpPr>
          <p:spPr bwMode="auto">
            <a:xfrm>
              <a:off x="4649788" y="3305176"/>
              <a:ext cx="100013" cy="139700"/>
            </a:xfrm>
            <a:custGeom>
              <a:avLst/>
              <a:gdLst>
                <a:gd name="T0" fmla="*/ 2 w 26"/>
                <a:gd name="T1" fmla="*/ 36 h 36"/>
                <a:gd name="T2" fmla="*/ 1 w 26"/>
                <a:gd name="T3" fmla="*/ 35 h 36"/>
                <a:gd name="T4" fmla="*/ 1 w 26"/>
                <a:gd name="T5" fmla="*/ 33 h 36"/>
                <a:gd name="T6" fmla="*/ 21 w 26"/>
                <a:gd name="T7" fmla="*/ 13 h 36"/>
                <a:gd name="T8" fmla="*/ 22 w 26"/>
                <a:gd name="T9" fmla="*/ 8 h 36"/>
                <a:gd name="T10" fmla="*/ 21 w 26"/>
                <a:gd name="T11" fmla="*/ 3 h 36"/>
                <a:gd name="T12" fmla="*/ 21 w 26"/>
                <a:gd name="T13" fmla="*/ 1 h 36"/>
                <a:gd name="T14" fmla="*/ 23 w 26"/>
                <a:gd name="T15" fmla="*/ 1 h 36"/>
                <a:gd name="T16" fmla="*/ 26 w 26"/>
                <a:gd name="T17" fmla="*/ 8 h 36"/>
                <a:gd name="T18" fmla="*/ 23 w 26"/>
                <a:gd name="T19" fmla="*/ 15 h 36"/>
                <a:gd name="T20" fmla="*/ 3 w 26"/>
                <a:gd name="T21" fmla="*/ 35 h 36"/>
                <a:gd name="T22" fmla="*/ 2 w 26"/>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6">
                  <a:moveTo>
                    <a:pt x="2" y="36"/>
                  </a:moveTo>
                  <a:cubicBezTo>
                    <a:pt x="1" y="36"/>
                    <a:pt x="1" y="36"/>
                    <a:pt x="1" y="35"/>
                  </a:cubicBezTo>
                  <a:cubicBezTo>
                    <a:pt x="0" y="35"/>
                    <a:pt x="0" y="33"/>
                    <a:pt x="1" y="33"/>
                  </a:cubicBezTo>
                  <a:cubicBezTo>
                    <a:pt x="21" y="13"/>
                    <a:pt x="21" y="13"/>
                    <a:pt x="21" y="13"/>
                  </a:cubicBezTo>
                  <a:cubicBezTo>
                    <a:pt x="22" y="11"/>
                    <a:pt x="22" y="10"/>
                    <a:pt x="22" y="8"/>
                  </a:cubicBezTo>
                  <a:cubicBezTo>
                    <a:pt x="22" y="6"/>
                    <a:pt x="22" y="5"/>
                    <a:pt x="21" y="3"/>
                  </a:cubicBezTo>
                  <a:cubicBezTo>
                    <a:pt x="20" y="3"/>
                    <a:pt x="20" y="1"/>
                    <a:pt x="21" y="1"/>
                  </a:cubicBezTo>
                  <a:cubicBezTo>
                    <a:pt x="21" y="0"/>
                    <a:pt x="23" y="0"/>
                    <a:pt x="23" y="1"/>
                  </a:cubicBezTo>
                  <a:cubicBezTo>
                    <a:pt x="25" y="2"/>
                    <a:pt x="26" y="5"/>
                    <a:pt x="26" y="8"/>
                  </a:cubicBezTo>
                  <a:cubicBezTo>
                    <a:pt x="26" y="11"/>
                    <a:pt x="25" y="14"/>
                    <a:pt x="23" y="15"/>
                  </a:cubicBezTo>
                  <a:cubicBezTo>
                    <a:pt x="3" y="35"/>
                    <a:pt x="3" y="35"/>
                    <a:pt x="3" y="35"/>
                  </a:cubicBezTo>
                  <a:cubicBezTo>
                    <a:pt x="3" y="36"/>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30">
              <a:extLst>
                <a:ext uri="{FF2B5EF4-FFF2-40B4-BE49-F238E27FC236}">
                  <a16:creationId xmlns:a16="http://schemas.microsoft.com/office/drawing/2014/main" id="{F552A775-9790-4ACD-830B-0DFDD9FBE630}"/>
                </a:ext>
              </a:extLst>
            </p:cNvPr>
            <p:cNvSpPr>
              <a:spLocks/>
            </p:cNvSpPr>
            <p:nvPr/>
          </p:nvSpPr>
          <p:spPr bwMode="auto">
            <a:xfrm>
              <a:off x="4386263" y="3571876"/>
              <a:ext cx="42863" cy="42863"/>
            </a:xfrm>
            <a:custGeom>
              <a:avLst/>
              <a:gdLst>
                <a:gd name="T0" fmla="*/ 2 w 11"/>
                <a:gd name="T1" fmla="*/ 11 h 11"/>
                <a:gd name="T2" fmla="*/ 1 w 11"/>
                <a:gd name="T3" fmla="*/ 10 h 11"/>
                <a:gd name="T4" fmla="*/ 1 w 11"/>
                <a:gd name="T5" fmla="*/ 8 h 11"/>
                <a:gd name="T6" fmla="*/ 8 w 11"/>
                <a:gd name="T7" fmla="*/ 1 h 11"/>
                <a:gd name="T8" fmla="*/ 10 w 11"/>
                <a:gd name="T9" fmla="*/ 1 h 11"/>
                <a:gd name="T10" fmla="*/ 10 w 11"/>
                <a:gd name="T11" fmla="*/ 3 h 11"/>
                <a:gd name="T12" fmla="*/ 3 w 11"/>
                <a:gd name="T13" fmla="*/ 10 h 11"/>
                <a:gd name="T14" fmla="*/ 2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11"/>
                  </a:moveTo>
                  <a:cubicBezTo>
                    <a:pt x="1" y="11"/>
                    <a:pt x="1" y="11"/>
                    <a:pt x="1" y="10"/>
                  </a:cubicBezTo>
                  <a:cubicBezTo>
                    <a:pt x="0" y="10"/>
                    <a:pt x="0" y="8"/>
                    <a:pt x="1" y="8"/>
                  </a:cubicBezTo>
                  <a:cubicBezTo>
                    <a:pt x="8" y="1"/>
                    <a:pt x="8" y="1"/>
                    <a:pt x="8" y="1"/>
                  </a:cubicBezTo>
                  <a:cubicBezTo>
                    <a:pt x="8" y="0"/>
                    <a:pt x="10" y="0"/>
                    <a:pt x="10" y="1"/>
                  </a:cubicBezTo>
                  <a:cubicBezTo>
                    <a:pt x="11" y="1"/>
                    <a:pt x="11" y="3"/>
                    <a:pt x="10" y="3"/>
                  </a:cubicBezTo>
                  <a:cubicBezTo>
                    <a:pt x="3" y="10"/>
                    <a:pt x="3" y="10"/>
                    <a:pt x="3" y="10"/>
                  </a:cubicBezTo>
                  <a:cubicBezTo>
                    <a:pt x="3" y="11"/>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31">
              <a:extLst>
                <a:ext uri="{FF2B5EF4-FFF2-40B4-BE49-F238E27FC236}">
                  <a16:creationId xmlns:a16="http://schemas.microsoft.com/office/drawing/2014/main" id="{5C8A3B14-570D-4A27-BCE9-24D825CFA993}"/>
                </a:ext>
              </a:extLst>
            </p:cNvPr>
            <p:cNvSpPr>
              <a:spLocks noEditPoints="1"/>
            </p:cNvSpPr>
            <p:nvPr/>
          </p:nvSpPr>
          <p:spPr bwMode="auto">
            <a:xfrm>
              <a:off x="4610101" y="3243263"/>
              <a:ext cx="147638" cy="147638"/>
            </a:xfrm>
            <a:custGeom>
              <a:avLst/>
              <a:gdLst>
                <a:gd name="T0" fmla="*/ 14 w 38"/>
                <a:gd name="T1" fmla="*/ 38 h 38"/>
                <a:gd name="T2" fmla="*/ 13 w 38"/>
                <a:gd name="T3" fmla="*/ 37 h 38"/>
                <a:gd name="T4" fmla="*/ 1 w 38"/>
                <a:gd name="T5" fmla="*/ 25 h 38"/>
                <a:gd name="T6" fmla="*/ 1 w 38"/>
                <a:gd name="T7" fmla="*/ 23 h 38"/>
                <a:gd name="T8" fmla="*/ 23 w 38"/>
                <a:gd name="T9" fmla="*/ 1 h 38"/>
                <a:gd name="T10" fmla="*/ 25 w 38"/>
                <a:gd name="T11" fmla="*/ 1 h 38"/>
                <a:gd name="T12" fmla="*/ 37 w 38"/>
                <a:gd name="T13" fmla="*/ 13 h 38"/>
                <a:gd name="T14" fmla="*/ 37 w 38"/>
                <a:gd name="T15" fmla="*/ 15 h 38"/>
                <a:gd name="T16" fmla="*/ 15 w 38"/>
                <a:gd name="T17" fmla="*/ 37 h 38"/>
                <a:gd name="T18" fmla="*/ 14 w 38"/>
                <a:gd name="T19" fmla="*/ 38 h 38"/>
                <a:gd name="T20" fmla="*/ 5 w 38"/>
                <a:gd name="T21" fmla="*/ 24 h 38"/>
                <a:gd name="T22" fmla="*/ 14 w 38"/>
                <a:gd name="T23" fmla="*/ 33 h 38"/>
                <a:gd name="T24" fmla="*/ 33 w 38"/>
                <a:gd name="T25" fmla="*/ 14 h 38"/>
                <a:gd name="T26" fmla="*/ 24 w 38"/>
                <a:gd name="T27" fmla="*/ 5 h 38"/>
                <a:gd name="T28" fmla="*/ 5 w 38"/>
                <a:gd name="T2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8">
                  <a:moveTo>
                    <a:pt x="14" y="38"/>
                  </a:moveTo>
                  <a:cubicBezTo>
                    <a:pt x="13" y="38"/>
                    <a:pt x="13" y="38"/>
                    <a:pt x="13" y="37"/>
                  </a:cubicBezTo>
                  <a:cubicBezTo>
                    <a:pt x="1" y="25"/>
                    <a:pt x="1" y="25"/>
                    <a:pt x="1" y="25"/>
                  </a:cubicBezTo>
                  <a:cubicBezTo>
                    <a:pt x="0" y="25"/>
                    <a:pt x="0" y="23"/>
                    <a:pt x="1" y="23"/>
                  </a:cubicBezTo>
                  <a:cubicBezTo>
                    <a:pt x="23" y="1"/>
                    <a:pt x="23" y="1"/>
                    <a:pt x="23" y="1"/>
                  </a:cubicBezTo>
                  <a:cubicBezTo>
                    <a:pt x="23" y="0"/>
                    <a:pt x="25" y="0"/>
                    <a:pt x="25" y="1"/>
                  </a:cubicBezTo>
                  <a:cubicBezTo>
                    <a:pt x="37" y="13"/>
                    <a:pt x="37" y="13"/>
                    <a:pt x="37" y="13"/>
                  </a:cubicBezTo>
                  <a:cubicBezTo>
                    <a:pt x="38" y="13"/>
                    <a:pt x="38" y="15"/>
                    <a:pt x="37" y="15"/>
                  </a:cubicBezTo>
                  <a:cubicBezTo>
                    <a:pt x="15" y="37"/>
                    <a:pt x="15" y="37"/>
                    <a:pt x="15" y="37"/>
                  </a:cubicBezTo>
                  <a:cubicBezTo>
                    <a:pt x="15" y="38"/>
                    <a:pt x="15" y="38"/>
                    <a:pt x="14" y="38"/>
                  </a:cubicBezTo>
                  <a:close/>
                  <a:moveTo>
                    <a:pt x="5" y="24"/>
                  </a:moveTo>
                  <a:cubicBezTo>
                    <a:pt x="14" y="33"/>
                    <a:pt x="14" y="33"/>
                    <a:pt x="14" y="33"/>
                  </a:cubicBezTo>
                  <a:cubicBezTo>
                    <a:pt x="33" y="14"/>
                    <a:pt x="33" y="14"/>
                    <a:pt x="33" y="14"/>
                  </a:cubicBezTo>
                  <a:cubicBezTo>
                    <a:pt x="24" y="5"/>
                    <a:pt x="24" y="5"/>
                    <a:pt x="24" y="5"/>
                  </a:cubicBez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32">
              <a:extLst>
                <a:ext uri="{FF2B5EF4-FFF2-40B4-BE49-F238E27FC236}">
                  <a16:creationId xmlns:a16="http://schemas.microsoft.com/office/drawing/2014/main" id="{15D19BE1-8540-4321-9753-9F570AC45380}"/>
                </a:ext>
              </a:extLst>
            </p:cNvPr>
            <p:cNvSpPr>
              <a:spLocks/>
            </p:cNvSpPr>
            <p:nvPr/>
          </p:nvSpPr>
          <p:spPr bwMode="auto">
            <a:xfrm>
              <a:off x="4402138" y="3533776"/>
              <a:ext cx="65088" cy="65088"/>
            </a:xfrm>
            <a:custGeom>
              <a:avLst/>
              <a:gdLst>
                <a:gd name="T0" fmla="*/ 8 w 17"/>
                <a:gd name="T1" fmla="*/ 17 h 17"/>
                <a:gd name="T2" fmla="*/ 8 w 17"/>
                <a:gd name="T3" fmla="*/ 17 h 17"/>
                <a:gd name="T4" fmla="*/ 7 w 17"/>
                <a:gd name="T5" fmla="*/ 16 h 17"/>
                <a:gd name="T6" fmla="*/ 1 w 17"/>
                <a:gd name="T7" fmla="*/ 10 h 17"/>
                <a:gd name="T8" fmla="*/ 1 w 17"/>
                <a:gd name="T9" fmla="*/ 8 h 17"/>
                <a:gd name="T10" fmla="*/ 8 w 17"/>
                <a:gd name="T11" fmla="*/ 1 h 17"/>
                <a:gd name="T12" fmla="*/ 10 w 17"/>
                <a:gd name="T13" fmla="*/ 1 h 17"/>
                <a:gd name="T14" fmla="*/ 10 w 17"/>
                <a:gd name="T15" fmla="*/ 3 h 17"/>
                <a:gd name="T16" fmla="*/ 5 w 17"/>
                <a:gd name="T17" fmla="*/ 9 h 17"/>
                <a:gd name="T18" fmla="*/ 8 w 17"/>
                <a:gd name="T19" fmla="*/ 12 h 17"/>
                <a:gd name="T20" fmla="*/ 14 w 17"/>
                <a:gd name="T21" fmla="*/ 7 h 17"/>
                <a:gd name="T22" fmla="*/ 16 w 17"/>
                <a:gd name="T23" fmla="*/ 7 h 17"/>
                <a:gd name="T24" fmla="*/ 16 w 17"/>
                <a:gd name="T25" fmla="*/ 9 h 17"/>
                <a:gd name="T26" fmla="*/ 9 w 17"/>
                <a:gd name="T27" fmla="*/ 16 h 17"/>
                <a:gd name="T28" fmla="*/ 8 w 17"/>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8" y="17"/>
                  </a:moveTo>
                  <a:cubicBezTo>
                    <a:pt x="8" y="17"/>
                    <a:pt x="8" y="17"/>
                    <a:pt x="8" y="17"/>
                  </a:cubicBezTo>
                  <a:cubicBezTo>
                    <a:pt x="7" y="17"/>
                    <a:pt x="7" y="17"/>
                    <a:pt x="7" y="16"/>
                  </a:cubicBezTo>
                  <a:cubicBezTo>
                    <a:pt x="1" y="10"/>
                    <a:pt x="1" y="10"/>
                    <a:pt x="1" y="10"/>
                  </a:cubicBezTo>
                  <a:cubicBezTo>
                    <a:pt x="0" y="10"/>
                    <a:pt x="0" y="8"/>
                    <a:pt x="1" y="8"/>
                  </a:cubicBezTo>
                  <a:cubicBezTo>
                    <a:pt x="8" y="1"/>
                    <a:pt x="8" y="1"/>
                    <a:pt x="8" y="1"/>
                  </a:cubicBezTo>
                  <a:cubicBezTo>
                    <a:pt x="8" y="0"/>
                    <a:pt x="10" y="0"/>
                    <a:pt x="10" y="1"/>
                  </a:cubicBezTo>
                  <a:cubicBezTo>
                    <a:pt x="11" y="1"/>
                    <a:pt x="11" y="3"/>
                    <a:pt x="10" y="3"/>
                  </a:cubicBezTo>
                  <a:cubicBezTo>
                    <a:pt x="5" y="9"/>
                    <a:pt x="5" y="9"/>
                    <a:pt x="5" y="9"/>
                  </a:cubicBezTo>
                  <a:cubicBezTo>
                    <a:pt x="8" y="12"/>
                    <a:pt x="8" y="12"/>
                    <a:pt x="8" y="12"/>
                  </a:cubicBezTo>
                  <a:cubicBezTo>
                    <a:pt x="14" y="7"/>
                    <a:pt x="14" y="7"/>
                    <a:pt x="14" y="7"/>
                  </a:cubicBezTo>
                  <a:cubicBezTo>
                    <a:pt x="14" y="6"/>
                    <a:pt x="16" y="6"/>
                    <a:pt x="16" y="7"/>
                  </a:cubicBezTo>
                  <a:cubicBezTo>
                    <a:pt x="17" y="7"/>
                    <a:pt x="17" y="9"/>
                    <a:pt x="16" y="9"/>
                  </a:cubicBezTo>
                  <a:cubicBezTo>
                    <a:pt x="9" y="16"/>
                    <a:pt x="9" y="16"/>
                    <a:pt x="9" y="16"/>
                  </a:cubicBezTo>
                  <a:cubicBezTo>
                    <a:pt x="9" y="17"/>
                    <a:pt x="9" y="17"/>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33">
              <a:extLst>
                <a:ext uri="{FF2B5EF4-FFF2-40B4-BE49-F238E27FC236}">
                  <a16:creationId xmlns:a16="http://schemas.microsoft.com/office/drawing/2014/main" id="{0A13B3B1-CC7E-4FDF-8782-24A421B1015C}"/>
                </a:ext>
              </a:extLst>
            </p:cNvPr>
            <p:cNvSpPr>
              <a:spLocks noEditPoints="1"/>
            </p:cNvSpPr>
            <p:nvPr/>
          </p:nvSpPr>
          <p:spPr bwMode="auto">
            <a:xfrm>
              <a:off x="4386263" y="3243263"/>
              <a:ext cx="150813" cy="182563"/>
            </a:xfrm>
            <a:custGeom>
              <a:avLst/>
              <a:gdLst>
                <a:gd name="T0" fmla="*/ 23 w 39"/>
                <a:gd name="T1" fmla="*/ 47 h 47"/>
                <a:gd name="T2" fmla="*/ 4 w 39"/>
                <a:gd name="T3" fmla="*/ 32 h 47"/>
                <a:gd name="T4" fmla="*/ 11 w 39"/>
                <a:gd name="T5" fmla="*/ 1 h 47"/>
                <a:gd name="T6" fmla="*/ 13 w 39"/>
                <a:gd name="T7" fmla="*/ 0 h 47"/>
                <a:gd name="T8" fmla="*/ 14 w 39"/>
                <a:gd name="T9" fmla="*/ 2 h 47"/>
                <a:gd name="T10" fmla="*/ 25 w 39"/>
                <a:gd name="T11" fmla="*/ 15 h 47"/>
                <a:gd name="T12" fmla="*/ 32 w 39"/>
                <a:gd name="T13" fmla="*/ 18 h 47"/>
                <a:gd name="T14" fmla="*/ 38 w 39"/>
                <a:gd name="T15" fmla="*/ 28 h 47"/>
                <a:gd name="T16" fmla="*/ 35 w 39"/>
                <a:gd name="T17" fmla="*/ 40 h 47"/>
                <a:gd name="T18" fmla="*/ 23 w 39"/>
                <a:gd name="T19" fmla="*/ 47 h 47"/>
                <a:gd name="T20" fmla="*/ 10 w 39"/>
                <a:gd name="T21" fmla="*/ 7 h 47"/>
                <a:gd name="T22" fmla="*/ 8 w 39"/>
                <a:gd name="T23" fmla="*/ 30 h 47"/>
                <a:gd name="T24" fmla="*/ 23 w 39"/>
                <a:gd name="T25" fmla="*/ 43 h 47"/>
                <a:gd name="T26" fmla="*/ 32 w 39"/>
                <a:gd name="T27" fmla="*/ 38 h 47"/>
                <a:gd name="T28" fmla="*/ 34 w 39"/>
                <a:gd name="T29" fmla="*/ 29 h 47"/>
                <a:gd name="T30" fmla="*/ 30 w 39"/>
                <a:gd name="T31" fmla="*/ 21 h 47"/>
                <a:gd name="T32" fmla="*/ 24 w 39"/>
                <a:gd name="T33" fmla="*/ 19 h 47"/>
                <a:gd name="T34" fmla="*/ 10 w 39"/>
                <a:gd name="T35"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47">
                  <a:moveTo>
                    <a:pt x="23" y="47"/>
                  </a:moveTo>
                  <a:cubicBezTo>
                    <a:pt x="16" y="47"/>
                    <a:pt x="8" y="41"/>
                    <a:pt x="4" y="32"/>
                  </a:cubicBezTo>
                  <a:cubicBezTo>
                    <a:pt x="0" y="20"/>
                    <a:pt x="2" y="9"/>
                    <a:pt x="11" y="1"/>
                  </a:cubicBezTo>
                  <a:cubicBezTo>
                    <a:pt x="11" y="0"/>
                    <a:pt x="12" y="0"/>
                    <a:pt x="13" y="0"/>
                  </a:cubicBezTo>
                  <a:cubicBezTo>
                    <a:pt x="14" y="1"/>
                    <a:pt x="14" y="1"/>
                    <a:pt x="14" y="2"/>
                  </a:cubicBezTo>
                  <a:cubicBezTo>
                    <a:pt x="14" y="11"/>
                    <a:pt x="19" y="13"/>
                    <a:pt x="25" y="15"/>
                  </a:cubicBezTo>
                  <a:cubicBezTo>
                    <a:pt x="27" y="16"/>
                    <a:pt x="30" y="16"/>
                    <a:pt x="32" y="18"/>
                  </a:cubicBezTo>
                  <a:cubicBezTo>
                    <a:pt x="35" y="20"/>
                    <a:pt x="38" y="24"/>
                    <a:pt x="38" y="28"/>
                  </a:cubicBezTo>
                  <a:cubicBezTo>
                    <a:pt x="39" y="33"/>
                    <a:pt x="38" y="37"/>
                    <a:pt x="35" y="40"/>
                  </a:cubicBezTo>
                  <a:cubicBezTo>
                    <a:pt x="31" y="46"/>
                    <a:pt x="26" y="47"/>
                    <a:pt x="23" y="47"/>
                  </a:cubicBezTo>
                  <a:close/>
                  <a:moveTo>
                    <a:pt x="10" y="7"/>
                  </a:moveTo>
                  <a:cubicBezTo>
                    <a:pt x="5" y="14"/>
                    <a:pt x="4" y="22"/>
                    <a:pt x="8" y="30"/>
                  </a:cubicBezTo>
                  <a:cubicBezTo>
                    <a:pt x="11" y="38"/>
                    <a:pt x="17" y="43"/>
                    <a:pt x="23" y="43"/>
                  </a:cubicBezTo>
                  <a:cubicBezTo>
                    <a:pt x="26" y="43"/>
                    <a:pt x="29" y="41"/>
                    <a:pt x="32" y="38"/>
                  </a:cubicBezTo>
                  <a:cubicBezTo>
                    <a:pt x="34" y="36"/>
                    <a:pt x="35" y="32"/>
                    <a:pt x="34" y="29"/>
                  </a:cubicBezTo>
                  <a:cubicBezTo>
                    <a:pt x="34" y="26"/>
                    <a:pt x="32" y="23"/>
                    <a:pt x="30" y="21"/>
                  </a:cubicBezTo>
                  <a:cubicBezTo>
                    <a:pt x="28" y="20"/>
                    <a:pt x="26" y="19"/>
                    <a:pt x="24" y="19"/>
                  </a:cubicBezTo>
                  <a:cubicBezTo>
                    <a:pt x="19" y="17"/>
                    <a:pt x="12" y="15"/>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34">
              <a:extLst>
                <a:ext uri="{FF2B5EF4-FFF2-40B4-BE49-F238E27FC236}">
                  <a16:creationId xmlns:a16="http://schemas.microsoft.com/office/drawing/2014/main" id="{0D743E11-D9F7-43E0-830A-397443D737BB}"/>
                </a:ext>
              </a:extLst>
            </p:cNvPr>
            <p:cNvSpPr>
              <a:spLocks/>
            </p:cNvSpPr>
            <p:nvPr/>
          </p:nvSpPr>
          <p:spPr bwMode="auto">
            <a:xfrm>
              <a:off x="4491038" y="3378201"/>
              <a:ext cx="65088" cy="61913"/>
            </a:xfrm>
            <a:custGeom>
              <a:avLst/>
              <a:gdLst>
                <a:gd name="T0" fmla="*/ 8 w 17"/>
                <a:gd name="T1" fmla="*/ 16 h 16"/>
                <a:gd name="T2" fmla="*/ 7 w 17"/>
                <a:gd name="T3" fmla="*/ 15 h 16"/>
                <a:gd name="T4" fmla="*/ 1 w 17"/>
                <a:gd name="T5" fmla="*/ 10 h 16"/>
                <a:gd name="T6" fmla="*/ 0 w 17"/>
                <a:gd name="T7" fmla="*/ 8 h 16"/>
                <a:gd name="T8" fmla="*/ 1 w 17"/>
                <a:gd name="T9" fmla="*/ 7 h 16"/>
                <a:gd name="T10" fmla="*/ 5 w 17"/>
                <a:gd name="T11" fmla="*/ 3 h 16"/>
                <a:gd name="T12" fmla="*/ 6 w 17"/>
                <a:gd name="T13" fmla="*/ 1 h 16"/>
                <a:gd name="T14" fmla="*/ 6 w 17"/>
                <a:gd name="T15" fmla="*/ 1 h 16"/>
                <a:gd name="T16" fmla="*/ 9 w 17"/>
                <a:gd name="T17" fmla="*/ 1 h 16"/>
                <a:gd name="T18" fmla="*/ 16 w 17"/>
                <a:gd name="T19" fmla="*/ 6 h 16"/>
                <a:gd name="T20" fmla="*/ 16 w 17"/>
                <a:gd name="T21" fmla="*/ 9 h 16"/>
                <a:gd name="T22" fmla="*/ 13 w 17"/>
                <a:gd name="T23" fmla="*/ 9 h 16"/>
                <a:gd name="T24" fmla="*/ 8 w 17"/>
                <a:gd name="T25" fmla="*/ 5 h 16"/>
                <a:gd name="T26" fmla="*/ 8 w 17"/>
                <a:gd name="T27" fmla="*/ 5 h 16"/>
                <a:gd name="T28" fmla="*/ 5 w 17"/>
                <a:gd name="T29" fmla="*/ 8 h 16"/>
                <a:gd name="T30" fmla="*/ 10 w 17"/>
                <a:gd name="T31" fmla="*/ 12 h 16"/>
                <a:gd name="T32" fmla="*/ 10 w 17"/>
                <a:gd name="T33" fmla="*/ 15 h 16"/>
                <a:gd name="T34" fmla="*/ 8 w 17"/>
                <a:gd name="T3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6">
                  <a:moveTo>
                    <a:pt x="8" y="16"/>
                  </a:moveTo>
                  <a:cubicBezTo>
                    <a:pt x="8" y="16"/>
                    <a:pt x="7" y="16"/>
                    <a:pt x="7" y="15"/>
                  </a:cubicBezTo>
                  <a:cubicBezTo>
                    <a:pt x="1" y="10"/>
                    <a:pt x="1" y="10"/>
                    <a:pt x="1" y="10"/>
                  </a:cubicBezTo>
                  <a:cubicBezTo>
                    <a:pt x="1" y="9"/>
                    <a:pt x="0" y="9"/>
                    <a:pt x="0" y="8"/>
                  </a:cubicBezTo>
                  <a:cubicBezTo>
                    <a:pt x="0" y="8"/>
                    <a:pt x="1" y="7"/>
                    <a:pt x="1" y="7"/>
                  </a:cubicBezTo>
                  <a:cubicBezTo>
                    <a:pt x="3" y="6"/>
                    <a:pt x="4" y="5"/>
                    <a:pt x="5" y="3"/>
                  </a:cubicBezTo>
                  <a:cubicBezTo>
                    <a:pt x="5" y="3"/>
                    <a:pt x="6" y="2"/>
                    <a:pt x="6" y="1"/>
                  </a:cubicBezTo>
                  <a:cubicBezTo>
                    <a:pt x="6" y="1"/>
                    <a:pt x="6" y="1"/>
                    <a:pt x="6" y="1"/>
                  </a:cubicBezTo>
                  <a:cubicBezTo>
                    <a:pt x="7" y="0"/>
                    <a:pt x="8" y="0"/>
                    <a:pt x="9" y="1"/>
                  </a:cubicBezTo>
                  <a:cubicBezTo>
                    <a:pt x="16" y="6"/>
                    <a:pt x="16" y="6"/>
                    <a:pt x="16" y="6"/>
                  </a:cubicBezTo>
                  <a:cubicBezTo>
                    <a:pt x="17" y="7"/>
                    <a:pt x="17" y="8"/>
                    <a:pt x="16" y="9"/>
                  </a:cubicBezTo>
                  <a:cubicBezTo>
                    <a:pt x="15" y="10"/>
                    <a:pt x="14" y="10"/>
                    <a:pt x="13" y="9"/>
                  </a:cubicBezTo>
                  <a:cubicBezTo>
                    <a:pt x="8" y="5"/>
                    <a:pt x="8" y="5"/>
                    <a:pt x="8" y="5"/>
                  </a:cubicBezTo>
                  <a:cubicBezTo>
                    <a:pt x="8" y="5"/>
                    <a:pt x="8" y="5"/>
                    <a:pt x="8" y="5"/>
                  </a:cubicBezTo>
                  <a:cubicBezTo>
                    <a:pt x="7" y="7"/>
                    <a:pt x="6" y="8"/>
                    <a:pt x="5" y="8"/>
                  </a:cubicBezTo>
                  <a:cubicBezTo>
                    <a:pt x="10" y="12"/>
                    <a:pt x="10" y="12"/>
                    <a:pt x="10" y="12"/>
                  </a:cubicBezTo>
                  <a:cubicBezTo>
                    <a:pt x="10" y="13"/>
                    <a:pt x="10" y="14"/>
                    <a:pt x="10" y="15"/>
                  </a:cubicBezTo>
                  <a:cubicBezTo>
                    <a:pt x="9" y="16"/>
                    <a:pt x="9"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6" name="Freeform 150">
            <a:extLst>
              <a:ext uri="{FF2B5EF4-FFF2-40B4-BE49-F238E27FC236}">
                <a16:creationId xmlns:a16="http://schemas.microsoft.com/office/drawing/2014/main" id="{2EE311AF-331E-4F9E-B375-575BBD0ECE8B}"/>
              </a:ext>
            </a:extLst>
          </p:cNvPr>
          <p:cNvSpPr>
            <a:spLocks noChangeAspect="1" noEditPoints="1"/>
          </p:cNvSpPr>
          <p:nvPr/>
        </p:nvSpPr>
        <p:spPr bwMode="auto">
          <a:xfrm rot="5400000">
            <a:off x="1450665" y="4402625"/>
            <a:ext cx="341972" cy="192713"/>
          </a:xfrm>
          <a:custGeom>
            <a:avLst/>
            <a:gdLst>
              <a:gd name="T0" fmla="*/ 828 w 904"/>
              <a:gd name="T1" fmla="*/ 385 h 511"/>
              <a:gd name="T2" fmla="*/ 813 w 904"/>
              <a:gd name="T3" fmla="*/ 120 h 511"/>
              <a:gd name="T4" fmla="*/ 841 w 904"/>
              <a:gd name="T5" fmla="*/ 140 h 511"/>
              <a:gd name="T6" fmla="*/ 721 w 904"/>
              <a:gd name="T7" fmla="*/ 465 h 511"/>
              <a:gd name="T8" fmla="*/ 693 w 904"/>
              <a:gd name="T9" fmla="*/ 481 h 511"/>
              <a:gd name="T10" fmla="*/ 576 w 904"/>
              <a:gd name="T11" fmla="*/ 471 h 511"/>
              <a:gd name="T12" fmla="*/ 573 w 904"/>
              <a:gd name="T13" fmla="*/ 46 h 511"/>
              <a:gd name="T14" fmla="*/ 602 w 904"/>
              <a:gd name="T15" fmla="*/ 30 h 511"/>
              <a:gd name="T16" fmla="*/ 719 w 904"/>
              <a:gd name="T17" fmla="*/ 42 h 511"/>
              <a:gd name="T18" fmla="*/ 723 w 904"/>
              <a:gd name="T19" fmla="*/ 451 h 511"/>
              <a:gd name="T20" fmla="*/ 320 w 904"/>
              <a:gd name="T21" fmla="*/ 478 h 511"/>
              <a:gd name="T22" fmla="*/ 197 w 904"/>
              <a:gd name="T23" fmla="*/ 480 h 511"/>
              <a:gd name="T24" fmla="*/ 181 w 904"/>
              <a:gd name="T25" fmla="*/ 451 h 511"/>
              <a:gd name="T26" fmla="*/ 184 w 904"/>
              <a:gd name="T27" fmla="*/ 42 h 511"/>
              <a:gd name="T28" fmla="*/ 301 w 904"/>
              <a:gd name="T29" fmla="*/ 30 h 511"/>
              <a:gd name="T30" fmla="*/ 330 w 904"/>
              <a:gd name="T31" fmla="*/ 46 h 511"/>
              <a:gd name="T32" fmla="*/ 80 w 904"/>
              <a:gd name="T33" fmla="*/ 388 h 511"/>
              <a:gd name="T34" fmla="*/ 61 w 904"/>
              <a:gd name="T35" fmla="*/ 361 h 511"/>
              <a:gd name="T36" fmla="*/ 76 w 904"/>
              <a:gd name="T37" fmla="*/ 126 h 511"/>
              <a:gd name="T38" fmla="*/ 91 w 904"/>
              <a:gd name="T39" fmla="*/ 391 h 511"/>
              <a:gd name="T40" fmla="*/ 871 w 904"/>
              <a:gd name="T41" fmla="*/ 134 h 511"/>
              <a:gd name="T42" fmla="*/ 830 w 904"/>
              <a:gd name="T43" fmla="*/ 93 h 511"/>
              <a:gd name="T44" fmla="*/ 753 w 904"/>
              <a:gd name="T45" fmla="*/ 54 h 511"/>
              <a:gd name="T46" fmla="*/ 741 w 904"/>
              <a:gd name="T47" fmla="*/ 20 h 511"/>
              <a:gd name="T48" fmla="*/ 713 w 904"/>
              <a:gd name="T49" fmla="*/ 2 h 511"/>
              <a:gd name="T50" fmla="*/ 589 w 904"/>
              <a:gd name="T51" fmla="*/ 1 h 511"/>
              <a:gd name="T52" fmla="*/ 557 w 904"/>
              <a:gd name="T53" fmla="*/ 16 h 511"/>
              <a:gd name="T54" fmla="*/ 543 w 904"/>
              <a:gd name="T55" fmla="*/ 47 h 511"/>
              <a:gd name="T56" fmla="*/ 361 w 904"/>
              <a:gd name="T57" fmla="*/ 54 h 511"/>
              <a:gd name="T58" fmla="*/ 349 w 904"/>
              <a:gd name="T59" fmla="*/ 20 h 511"/>
              <a:gd name="T60" fmla="*/ 321 w 904"/>
              <a:gd name="T61" fmla="*/ 2 h 511"/>
              <a:gd name="T62" fmla="*/ 197 w 904"/>
              <a:gd name="T63" fmla="*/ 1 h 511"/>
              <a:gd name="T64" fmla="*/ 167 w 904"/>
              <a:gd name="T65" fmla="*/ 16 h 511"/>
              <a:gd name="T66" fmla="*/ 152 w 904"/>
              <a:gd name="T67" fmla="*/ 47 h 511"/>
              <a:gd name="T68" fmla="*/ 79 w 904"/>
              <a:gd name="T69" fmla="*/ 92 h 511"/>
              <a:gd name="T70" fmla="*/ 35 w 904"/>
              <a:gd name="T71" fmla="*/ 129 h 511"/>
              <a:gd name="T72" fmla="*/ 16 w 904"/>
              <a:gd name="T73" fmla="*/ 241 h 511"/>
              <a:gd name="T74" fmla="*/ 2 w 904"/>
              <a:gd name="T75" fmla="*/ 250 h 511"/>
              <a:gd name="T76" fmla="*/ 5 w 904"/>
              <a:gd name="T77" fmla="*/ 267 h 511"/>
              <a:gd name="T78" fmla="*/ 31 w 904"/>
              <a:gd name="T79" fmla="*/ 361 h 511"/>
              <a:gd name="T80" fmla="*/ 49 w 904"/>
              <a:gd name="T81" fmla="*/ 402 h 511"/>
              <a:gd name="T82" fmla="*/ 91 w 904"/>
              <a:gd name="T83" fmla="*/ 421 h 511"/>
              <a:gd name="T84" fmla="*/ 155 w 904"/>
              <a:gd name="T85" fmla="*/ 477 h 511"/>
              <a:gd name="T86" fmla="*/ 176 w 904"/>
              <a:gd name="T87" fmla="*/ 503 h 511"/>
              <a:gd name="T88" fmla="*/ 211 w 904"/>
              <a:gd name="T89" fmla="*/ 511 h 511"/>
              <a:gd name="T90" fmla="*/ 332 w 904"/>
              <a:gd name="T91" fmla="*/ 506 h 511"/>
              <a:gd name="T92" fmla="*/ 355 w 904"/>
              <a:gd name="T93" fmla="*/ 482 h 511"/>
              <a:gd name="T94" fmla="*/ 361 w 904"/>
              <a:gd name="T95" fmla="*/ 271 h 511"/>
              <a:gd name="T96" fmla="*/ 547 w 904"/>
              <a:gd name="T97" fmla="*/ 477 h 511"/>
              <a:gd name="T98" fmla="*/ 566 w 904"/>
              <a:gd name="T99" fmla="*/ 503 h 511"/>
              <a:gd name="T100" fmla="*/ 602 w 904"/>
              <a:gd name="T101" fmla="*/ 511 h 511"/>
              <a:gd name="T102" fmla="*/ 724 w 904"/>
              <a:gd name="T103" fmla="*/ 506 h 511"/>
              <a:gd name="T104" fmla="*/ 746 w 904"/>
              <a:gd name="T105" fmla="*/ 482 h 511"/>
              <a:gd name="T106" fmla="*/ 753 w 904"/>
              <a:gd name="T107" fmla="*/ 421 h 511"/>
              <a:gd name="T108" fmla="*/ 845 w 904"/>
              <a:gd name="T109" fmla="*/ 411 h 511"/>
              <a:gd name="T110" fmla="*/ 873 w 904"/>
              <a:gd name="T111" fmla="*/ 367 h 511"/>
              <a:gd name="T112" fmla="*/ 896 w 904"/>
              <a:gd name="T113" fmla="*/ 268 h 511"/>
              <a:gd name="T114" fmla="*/ 903 w 904"/>
              <a:gd name="T115" fmla="*/ 253 h 511"/>
              <a:gd name="T116" fmla="*/ 891 w 904"/>
              <a:gd name="T117" fmla="*/ 241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4" h="511">
                <a:moveTo>
                  <a:pt x="843" y="361"/>
                </a:moveTo>
                <a:lnTo>
                  <a:pt x="843" y="367"/>
                </a:lnTo>
                <a:lnTo>
                  <a:pt x="841" y="371"/>
                </a:lnTo>
                <a:lnTo>
                  <a:pt x="837" y="376"/>
                </a:lnTo>
                <a:lnTo>
                  <a:pt x="833" y="381"/>
                </a:lnTo>
                <a:lnTo>
                  <a:pt x="828" y="385"/>
                </a:lnTo>
                <a:lnTo>
                  <a:pt x="823" y="388"/>
                </a:lnTo>
                <a:lnTo>
                  <a:pt x="818" y="390"/>
                </a:lnTo>
                <a:lnTo>
                  <a:pt x="813" y="391"/>
                </a:lnTo>
                <a:lnTo>
                  <a:pt x="753" y="391"/>
                </a:lnTo>
                <a:lnTo>
                  <a:pt x="753" y="120"/>
                </a:lnTo>
                <a:lnTo>
                  <a:pt x="813" y="120"/>
                </a:lnTo>
                <a:lnTo>
                  <a:pt x="818" y="121"/>
                </a:lnTo>
                <a:lnTo>
                  <a:pt x="823" y="123"/>
                </a:lnTo>
                <a:lnTo>
                  <a:pt x="828" y="126"/>
                </a:lnTo>
                <a:lnTo>
                  <a:pt x="833" y="131"/>
                </a:lnTo>
                <a:lnTo>
                  <a:pt x="837" y="135"/>
                </a:lnTo>
                <a:lnTo>
                  <a:pt x="841" y="140"/>
                </a:lnTo>
                <a:lnTo>
                  <a:pt x="843" y="146"/>
                </a:lnTo>
                <a:lnTo>
                  <a:pt x="843" y="151"/>
                </a:lnTo>
                <a:lnTo>
                  <a:pt x="843" y="361"/>
                </a:lnTo>
                <a:close/>
                <a:moveTo>
                  <a:pt x="723" y="451"/>
                </a:moveTo>
                <a:lnTo>
                  <a:pt x="723" y="459"/>
                </a:lnTo>
                <a:lnTo>
                  <a:pt x="721" y="465"/>
                </a:lnTo>
                <a:lnTo>
                  <a:pt x="719" y="471"/>
                </a:lnTo>
                <a:lnTo>
                  <a:pt x="716" y="475"/>
                </a:lnTo>
                <a:lnTo>
                  <a:pt x="712" y="478"/>
                </a:lnTo>
                <a:lnTo>
                  <a:pt x="706" y="480"/>
                </a:lnTo>
                <a:lnTo>
                  <a:pt x="700" y="481"/>
                </a:lnTo>
                <a:lnTo>
                  <a:pt x="693" y="481"/>
                </a:lnTo>
                <a:lnTo>
                  <a:pt x="602" y="481"/>
                </a:lnTo>
                <a:lnTo>
                  <a:pt x="595" y="481"/>
                </a:lnTo>
                <a:lnTo>
                  <a:pt x="589" y="480"/>
                </a:lnTo>
                <a:lnTo>
                  <a:pt x="583" y="478"/>
                </a:lnTo>
                <a:lnTo>
                  <a:pt x="579" y="475"/>
                </a:lnTo>
                <a:lnTo>
                  <a:pt x="576" y="471"/>
                </a:lnTo>
                <a:lnTo>
                  <a:pt x="573" y="465"/>
                </a:lnTo>
                <a:lnTo>
                  <a:pt x="572" y="459"/>
                </a:lnTo>
                <a:lnTo>
                  <a:pt x="572" y="451"/>
                </a:lnTo>
                <a:lnTo>
                  <a:pt x="572" y="60"/>
                </a:lnTo>
                <a:lnTo>
                  <a:pt x="572" y="52"/>
                </a:lnTo>
                <a:lnTo>
                  <a:pt x="573" y="46"/>
                </a:lnTo>
                <a:lnTo>
                  <a:pt x="576" y="42"/>
                </a:lnTo>
                <a:lnTo>
                  <a:pt x="579" y="37"/>
                </a:lnTo>
                <a:lnTo>
                  <a:pt x="583" y="34"/>
                </a:lnTo>
                <a:lnTo>
                  <a:pt x="589" y="32"/>
                </a:lnTo>
                <a:lnTo>
                  <a:pt x="595" y="31"/>
                </a:lnTo>
                <a:lnTo>
                  <a:pt x="602" y="30"/>
                </a:lnTo>
                <a:lnTo>
                  <a:pt x="693" y="30"/>
                </a:lnTo>
                <a:lnTo>
                  <a:pt x="700" y="31"/>
                </a:lnTo>
                <a:lnTo>
                  <a:pt x="706" y="32"/>
                </a:lnTo>
                <a:lnTo>
                  <a:pt x="712" y="34"/>
                </a:lnTo>
                <a:lnTo>
                  <a:pt x="716" y="37"/>
                </a:lnTo>
                <a:lnTo>
                  <a:pt x="719" y="42"/>
                </a:lnTo>
                <a:lnTo>
                  <a:pt x="721" y="46"/>
                </a:lnTo>
                <a:lnTo>
                  <a:pt x="723" y="52"/>
                </a:lnTo>
                <a:lnTo>
                  <a:pt x="723" y="60"/>
                </a:lnTo>
                <a:lnTo>
                  <a:pt x="723" y="105"/>
                </a:lnTo>
                <a:lnTo>
                  <a:pt x="723" y="406"/>
                </a:lnTo>
                <a:lnTo>
                  <a:pt x="723" y="451"/>
                </a:lnTo>
                <a:close/>
                <a:moveTo>
                  <a:pt x="331" y="451"/>
                </a:moveTo>
                <a:lnTo>
                  <a:pt x="331" y="459"/>
                </a:lnTo>
                <a:lnTo>
                  <a:pt x="330" y="465"/>
                </a:lnTo>
                <a:lnTo>
                  <a:pt x="328" y="471"/>
                </a:lnTo>
                <a:lnTo>
                  <a:pt x="325" y="475"/>
                </a:lnTo>
                <a:lnTo>
                  <a:pt x="320" y="478"/>
                </a:lnTo>
                <a:lnTo>
                  <a:pt x="315" y="480"/>
                </a:lnTo>
                <a:lnTo>
                  <a:pt x="309" y="481"/>
                </a:lnTo>
                <a:lnTo>
                  <a:pt x="301" y="481"/>
                </a:lnTo>
                <a:lnTo>
                  <a:pt x="211" y="481"/>
                </a:lnTo>
                <a:lnTo>
                  <a:pt x="203" y="481"/>
                </a:lnTo>
                <a:lnTo>
                  <a:pt x="197" y="480"/>
                </a:lnTo>
                <a:lnTo>
                  <a:pt x="192" y="478"/>
                </a:lnTo>
                <a:lnTo>
                  <a:pt x="187" y="475"/>
                </a:lnTo>
                <a:lnTo>
                  <a:pt x="184" y="471"/>
                </a:lnTo>
                <a:lnTo>
                  <a:pt x="182" y="465"/>
                </a:lnTo>
                <a:lnTo>
                  <a:pt x="181" y="459"/>
                </a:lnTo>
                <a:lnTo>
                  <a:pt x="181" y="451"/>
                </a:lnTo>
                <a:lnTo>
                  <a:pt x="181" y="406"/>
                </a:lnTo>
                <a:lnTo>
                  <a:pt x="181" y="105"/>
                </a:lnTo>
                <a:lnTo>
                  <a:pt x="181" y="60"/>
                </a:lnTo>
                <a:lnTo>
                  <a:pt x="181" y="52"/>
                </a:lnTo>
                <a:lnTo>
                  <a:pt x="182" y="46"/>
                </a:lnTo>
                <a:lnTo>
                  <a:pt x="184" y="42"/>
                </a:lnTo>
                <a:lnTo>
                  <a:pt x="187" y="37"/>
                </a:lnTo>
                <a:lnTo>
                  <a:pt x="192" y="34"/>
                </a:lnTo>
                <a:lnTo>
                  <a:pt x="197" y="32"/>
                </a:lnTo>
                <a:lnTo>
                  <a:pt x="203" y="31"/>
                </a:lnTo>
                <a:lnTo>
                  <a:pt x="211" y="30"/>
                </a:lnTo>
                <a:lnTo>
                  <a:pt x="301" y="30"/>
                </a:lnTo>
                <a:lnTo>
                  <a:pt x="309" y="31"/>
                </a:lnTo>
                <a:lnTo>
                  <a:pt x="315" y="32"/>
                </a:lnTo>
                <a:lnTo>
                  <a:pt x="320" y="34"/>
                </a:lnTo>
                <a:lnTo>
                  <a:pt x="325" y="37"/>
                </a:lnTo>
                <a:lnTo>
                  <a:pt x="328" y="42"/>
                </a:lnTo>
                <a:lnTo>
                  <a:pt x="330" y="46"/>
                </a:lnTo>
                <a:lnTo>
                  <a:pt x="331" y="52"/>
                </a:lnTo>
                <a:lnTo>
                  <a:pt x="331" y="60"/>
                </a:lnTo>
                <a:lnTo>
                  <a:pt x="331" y="451"/>
                </a:lnTo>
                <a:close/>
                <a:moveTo>
                  <a:pt x="91" y="391"/>
                </a:moveTo>
                <a:lnTo>
                  <a:pt x="86" y="390"/>
                </a:lnTo>
                <a:lnTo>
                  <a:pt x="80" y="388"/>
                </a:lnTo>
                <a:lnTo>
                  <a:pt x="76" y="385"/>
                </a:lnTo>
                <a:lnTo>
                  <a:pt x="70" y="382"/>
                </a:lnTo>
                <a:lnTo>
                  <a:pt x="66" y="376"/>
                </a:lnTo>
                <a:lnTo>
                  <a:pt x="63" y="371"/>
                </a:lnTo>
                <a:lnTo>
                  <a:pt x="61" y="367"/>
                </a:lnTo>
                <a:lnTo>
                  <a:pt x="61" y="361"/>
                </a:lnTo>
                <a:lnTo>
                  <a:pt x="61" y="151"/>
                </a:lnTo>
                <a:lnTo>
                  <a:pt x="61" y="146"/>
                </a:lnTo>
                <a:lnTo>
                  <a:pt x="63" y="140"/>
                </a:lnTo>
                <a:lnTo>
                  <a:pt x="66" y="135"/>
                </a:lnTo>
                <a:lnTo>
                  <a:pt x="70" y="131"/>
                </a:lnTo>
                <a:lnTo>
                  <a:pt x="76" y="126"/>
                </a:lnTo>
                <a:lnTo>
                  <a:pt x="80" y="123"/>
                </a:lnTo>
                <a:lnTo>
                  <a:pt x="86" y="121"/>
                </a:lnTo>
                <a:lnTo>
                  <a:pt x="91" y="120"/>
                </a:lnTo>
                <a:lnTo>
                  <a:pt x="151" y="120"/>
                </a:lnTo>
                <a:lnTo>
                  <a:pt x="151" y="391"/>
                </a:lnTo>
                <a:lnTo>
                  <a:pt x="91" y="391"/>
                </a:lnTo>
                <a:close/>
                <a:moveTo>
                  <a:pt x="889" y="241"/>
                </a:moveTo>
                <a:lnTo>
                  <a:pt x="874" y="241"/>
                </a:lnTo>
                <a:lnTo>
                  <a:pt x="874" y="151"/>
                </a:lnTo>
                <a:lnTo>
                  <a:pt x="873" y="145"/>
                </a:lnTo>
                <a:lnTo>
                  <a:pt x="872" y="139"/>
                </a:lnTo>
                <a:lnTo>
                  <a:pt x="871" y="134"/>
                </a:lnTo>
                <a:lnTo>
                  <a:pt x="868" y="129"/>
                </a:lnTo>
                <a:lnTo>
                  <a:pt x="862" y="119"/>
                </a:lnTo>
                <a:lnTo>
                  <a:pt x="854" y="109"/>
                </a:lnTo>
                <a:lnTo>
                  <a:pt x="845" y="102"/>
                </a:lnTo>
                <a:lnTo>
                  <a:pt x="835" y="95"/>
                </a:lnTo>
                <a:lnTo>
                  <a:pt x="830" y="93"/>
                </a:lnTo>
                <a:lnTo>
                  <a:pt x="824" y="92"/>
                </a:lnTo>
                <a:lnTo>
                  <a:pt x="818" y="91"/>
                </a:lnTo>
                <a:lnTo>
                  <a:pt x="813" y="90"/>
                </a:lnTo>
                <a:lnTo>
                  <a:pt x="753" y="90"/>
                </a:lnTo>
                <a:lnTo>
                  <a:pt x="753" y="60"/>
                </a:lnTo>
                <a:lnTo>
                  <a:pt x="753" y="54"/>
                </a:lnTo>
                <a:lnTo>
                  <a:pt x="752" y="47"/>
                </a:lnTo>
                <a:lnTo>
                  <a:pt x="750" y="41"/>
                </a:lnTo>
                <a:lnTo>
                  <a:pt x="748" y="35"/>
                </a:lnTo>
                <a:lnTo>
                  <a:pt x="746" y="30"/>
                </a:lnTo>
                <a:lnTo>
                  <a:pt x="744" y="25"/>
                </a:lnTo>
                <a:lnTo>
                  <a:pt x="741" y="20"/>
                </a:lnTo>
                <a:lnTo>
                  <a:pt x="738" y="16"/>
                </a:lnTo>
                <a:lnTo>
                  <a:pt x="733" y="13"/>
                </a:lnTo>
                <a:lnTo>
                  <a:pt x="729" y="10"/>
                </a:lnTo>
                <a:lnTo>
                  <a:pt x="724" y="6"/>
                </a:lnTo>
                <a:lnTo>
                  <a:pt x="718" y="4"/>
                </a:lnTo>
                <a:lnTo>
                  <a:pt x="713" y="2"/>
                </a:lnTo>
                <a:lnTo>
                  <a:pt x="706" y="1"/>
                </a:lnTo>
                <a:lnTo>
                  <a:pt x="700" y="0"/>
                </a:lnTo>
                <a:lnTo>
                  <a:pt x="693" y="0"/>
                </a:lnTo>
                <a:lnTo>
                  <a:pt x="602" y="0"/>
                </a:lnTo>
                <a:lnTo>
                  <a:pt x="595" y="0"/>
                </a:lnTo>
                <a:lnTo>
                  <a:pt x="589" y="1"/>
                </a:lnTo>
                <a:lnTo>
                  <a:pt x="582" y="2"/>
                </a:lnTo>
                <a:lnTo>
                  <a:pt x="577" y="4"/>
                </a:lnTo>
                <a:lnTo>
                  <a:pt x="571" y="6"/>
                </a:lnTo>
                <a:lnTo>
                  <a:pt x="566" y="10"/>
                </a:lnTo>
                <a:lnTo>
                  <a:pt x="562" y="13"/>
                </a:lnTo>
                <a:lnTo>
                  <a:pt x="557" y="16"/>
                </a:lnTo>
                <a:lnTo>
                  <a:pt x="554" y="20"/>
                </a:lnTo>
                <a:lnTo>
                  <a:pt x="551" y="25"/>
                </a:lnTo>
                <a:lnTo>
                  <a:pt x="549" y="30"/>
                </a:lnTo>
                <a:lnTo>
                  <a:pt x="546" y="35"/>
                </a:lnTo>
                <a:lnTo>
                  <a:pt x="545" y="41"/>
                </a:lnTo>
                <a:lnTo>
                  <a:pt x="543" y="47"/>
                </a:lnTo>
                <a:lnTo>
                  <a:pt x="542" y="54"/>
                </a:lnTo>
                <a:lnTo>
                  <a:pt x="542" y="60"/>
                </a:lnTo>
                <a:lnTo>
                  <a:pt x="542" y="241"/>
                </a:lnTo>
                <a:lnTo>
                  <a:pt x="361" y="241"/>
                </a:lnTo>
                <a:lnTo>
                  <a:pt x="361" y="60"/>
                </a:lnTo>
                <a:lnTo>
                  <a:pt x="361" y="54"/>
                </a:lnTo>
                <a:lnTo>
                  <a:pt x="360" y="47"/>
                </a:lnTo>
                <a:lnTo>
                  <a:pt x="359" y="41"/>
                </a:lnTo>
                <a:lnTo>
                  <a:pt x="358" y="35"/>
                </a:lnTo>
                <a:lnTo>
                  <a:pt x="355" y="30"/>
                </a:lnTo>
                <a:lnTo>
                  <a:pt x="353" y="25"/>
                </a:lnTo>
                <a:lnTo>
                  <a:pt x="349" y="20"/>
                </a:lnTo>
                <a:lnTo>
                  <a:pt x="346" y="16"/>
                </a:lnTo>
                <a:lnTo>
                  <a:pt x="342" y="13"/>
                </a:lnTo>
                <a:lnTo>
                  <a:pt x="338" y="10"/>
                </a:lnTo>
                <a:lnTo>
                  <a:pt x="332" y="6"/>
                </a:lnTo>
                <a:lnTo>
                  <a:pt x="327" y="4"/>
                </a:lnTo>
                <a:lnTo>
                  <a:pt x="321" y="2"/>
                </a:lnTo>
                <a:lnTo>
                  <a:pt x="315" y="1"/>
                </a:lnTo>
                <a:lnTo>
                  <a:pt x="309" y="0"/>
                </a:lnTo>
                <a:lnTo>
                  <a:pt x="301" y="0"/>
                </a:lnTo>
                <a:lnTo>
                  <a:pt x="211" y="0"/>
                </a:lnTo>
                <a:lnTo>
                  <a:pt x="203" y="0"/>
                </a:lnTo>
                <a:lnTo>
                  <a:pt x="197" y="1"/>
                </a:lnTo>
                <a:lnTo>
                  <a:pt x="192" y="2"/>
                </a:lnTo>
                <a:lnTo>
                  <a:pt x="185" y="4"/>
                </a:lnTo>
                <a:lnTo>
                  <a:pt x="180" y="6"/>
                </a:lnTo>
                <a:lnTo>
                  <a:pt x="176" y="10"/>
                </a:lnTo>
                <a:lnTo>
                  <a:pt x="170" y="13"/>
                </a:lnTo>
                <a:lnTo>
                  <a:pt x="167" y="16"/>
                </a:lnTo>
                <a:lnTo>
                  <a:pt x="163" y="20"/>
                </a:lnTo>
                <a:lnTo>
                  <a:pt x="160" y="25"/>
                </a:lnTo>
                <a:lnTo>
                  <a:pt x="157" y="30"/>
                </a:lnTo>
                <a:lnTo>
                  <a:pt x="155" y="35"/>
                </a:lnTo>
                <a:lnTo>
                  <a:pt x="153" y="41"/>
                </a:lnTo>
                <a:lnTo>
                  <a:pt x="152" y="47"/>
                </a:lnTo>
                <a:lnTo>
                  <a:pt x="151" y="54"/>
                </a:lnTo>
                <a:lnTo>
                  <a:pt x="151" y="60"/>
                </a:lnTo>
                <a:lnTo>
                  <a:pt x="151" y="90"/>
                </a:lnTo>
                <a:lnTo>
                  <a:pt x="91" y="90"/>
                </a:lnTo>
                <a:lnTo>
                  <a:pt x="86" y="91"/>
                </a:lnTo>
                <a:lnTo>
                  <a:pt x="79" y="92"/>
                </a:lnTo>
                <a:lnTo>
                  <a:pt x="74" y="93"/>
                </a:lnTo>
                <a:lnTo>
                  <a:pt x="68" y="95"/>
                </a:lnTo>
                <a:lnTo>
                  <a:pt x="59" y="102"/>
                </a:lnTo>
                <a:lnTo>
                  <a:pt x="49" y="109"/>
                </a:lnTo>
                <a:lnTo>
                  <a:pt x="42" y="119"/>
                </a:lnTo>
                <a:lnTo>
                  <a:pt x="35" y="129"/>
                </a:lnTo>
                <a:lnTo>
                  <a:pt x="33" y="134"/>
                </a:lnTo>
                <a:lnTo>
                  <a:pt x="32" y="139"/>
                </a:lnTo>
                <a:lnTo>
                  <a:pt x="31" y="145"/>
                </a:lnTo>
                <a:lnTo>
                  <a:pt x="31" y="151"/>
                </a:lnTo>
                <a:lnTo>
                  <a:pt x="31" y="241"/>
                </a:lnTo>
                <a:lnTo>
                  <a:pt x="16" y="241"/>
                </a:lnTo>
                <a:lnTo>
                  <a:pt x="13" y="241"/>
                </a:lnTo>
                <a:lnTo>
                  <a:pt x="9" y="242"/>
                </a:lnTo>
                <a:lnTo>
                  <a:pt x="7" y="243"/>
                </a:lnTo>
                <a:lnTo>
                  <a:pt x="5" y="245"/>
                </a:lnTo>
                <a:lnTo>
                  <a:pt x="3" y="248"/>
                </a:lnTo>
                <a:lnTo>
                  <a:pt x="2" y="250"/>
                </a:lnTo>
                <a:lnTo>
                  <a:pt x="1" y="253"/>
                </a:lnTo>
                <a:lnTo>
                  <a:pt x="0" y="256"/>
                </a:lnTo>
                <a:lnTo>
                  <a:pt x="1" y="259"/>
                </a:lnTo>
                <a:lnTo>
                  <a:pt x="2" y="262"/>
                </a:lnTo>
                <a:lnTo>
                  <a:pt x="3" y="265"/>
                </a:lnTo>
                <a:lnTo>
                  <a:pt x="5" y="267"/>
                </a:lnTo>
                <a:lnTo>
                  <a:pt x="7" y="268"/>
                </a:lnTo>
                <a:lnTo>
                  <a:pt x="9" y="270"/>
                </a:lnTo>
                <a:lnTo>
                  <a:pt x="13" y="271"/>
                </a:lnTo>
                <a:lnTo>
                  <a:pt x="16" y="271"/>
                </a:lnTo>
                <a:lnTo>
                  <a:pt x="31" y="271"/>
                </a:lnTo>
                <a:lnTo>
                  <a:pt x="31" y="361"/>
                </a:lnTo>
                <a:lnTo>
                  <a:pt x="31" y="367"/>
                </a:lnTo>
                <a:lnTo>
                  <a:pt x="32" y="372"/>
                </a:lnTo>
                <a:lnTo>
                  <a:pt x="33" y="377"/>
                </a:lnTo>
                <a:lnTo>
                  <a:pt x="35" y="383"/>
                </a:lnTo>
                <a:lnTo>
                  <a:pt x="42" y="393"/>
                </a:lnTo>
                <a:lnTo>
                  <a:pt x="49" y="402"/>
                </a:lnTo>
                <a:lnTo>
                  <a:pt x="59" y="411"/>
                </a:lnTo>
                <a:lnTo>
                  <a:pt x="68" y="416"/>
                </a:lnTo>
                <a:lnTo>
                  <a:pt x="74" y="418"/>
                </a:lnTo>
                <a:lnTo>
                  <a:pt x="79" y="420"/>
                </a:lnTo>
                <a:lnTo>
                  <a:pt x="86" y="421"/>
                </a:lnTo>
                <a:lnTo>
                  <a:pt x="91" y="421"/>
                </a:lnTo>
                <a:lnTo>
                  <a:pt x="151" y="421"/>
                </a:lnTo>
                <a:lnTo>
                  <a:pt x="151" y="451"/>
                </a:lnTo>
                <a:lnTo>
                  <a:pt x="151" y="459"/>
                </a:lnTo>
                <a:lnTo>
                  <a:pt x="152" y="465"/>
                </a:lnTo>
                <a:lnTo>
                  <a:pt x="153" y="472"/>
                </a:lnTo>
                <a:lnTo>
                  <a:pt x="155" y="477"/>
                </a:lnTo>
                <a:lnTo>
                  <a:pt x="157" y="482"/>
                </a:lnTo>
                <a:lnTo>
                  <a:pt x="160" y="488"/>
                </a:lnTo>
                <a:lnTo>
                  <a:pt x="163" y="492"/>
                </a:lnTo>
                <a:lnTo>
                  <a:pt x="167" y="496"/>
                </a:lnTo>
                <a:lnTo>
                  <a:pt x="170" y="500"/>
                </a:lnTo>
                <a:lnTo>
                  <a:pt x="176" y="503"/>
                </a:lnTo>
                <a:lnTo>
                  <a:pt x="180" y="506"/>
                </a:lnTo>
                <a:lnTo>
                  <a:pt x="185" y="508"/>
                </a:lnTo>
                <a:lnTo>
                  <a:pt x="192" y="509"/>
                </a:lnTo>
                <a:lnTo>
                  <a:pt x="197" y="510"/>
                </a:lnTo>
                <a:lnTo>
                  <a:pt x="203" y="511"/>
                </a:lnTo>
                <a:lnTo>
                  <a:pt x="211" y="511"/>
                </a:lnTo>
                <a:lnTo>
                  <a:pt x="301" y="511"/>
                </a:lnTo>
                <a:lnTo>
                  <a:pt x="309" y="511"/>
                </a:lnTo>
                <a:lnTo>
                  <a:pt x="315" y="510"/>
                </a:lnTo>
                <a:lnTo>
                  <a:pt x="321" y="509"/>
                </a:lnTo>
                <a:lnTo>
                  <a:pt x="327" y="508"/>
                </a:lnTo>
                <a:lnTo>
                  <a:pt x="332" y="506"/>
                </a:lnTo>
                <a:lnTo>
                  <a:pt x="338" y="503"/>
                </a:lnTo>
                <a:lnTo>
                  <a:pt x="342" y="500"/>
                </a:lnTo>
                <a:lnTo>
                  <a:pt x="346" y="496"/>
                </a:lnTo>
                <a:lnTo>
                  <a:pt x="349" y="492"/>
                </a:lnTo>
                <a:lnTo>
                  <a:pt x="353" y="488"/>
                </a:lnTo>
                <a:lnTo>
                  <a:pt x="355" y="482"/>
                </a:lnTo>
                <a:lnTo>
                  <a:pt x="358" y="477"/>
                </a:lnTo>
                <a:lnTo>
                  <a:pt x="359" y="472"/>
                </a:lnTo>
                <a:lnTo>
                  <a:pt x="360" y="465"/>
                </a:lnTo>
                <a:lnTo>
                  <a:pt x="361" y="459"/>
                </a:lnTo>
                <a:lnTo>
                  <a:pt x="361" y="451"/>
                </a:lnTo>
                <a:lnTo>
                  <a:pt x="361" y="271"/>
                </a:lnTo>
                <a:lnTo>
                  <a:pt x="542" y="271"/>
                </a:lnTo>
                <a:lnTo>
                  <a:pt x="542" y="451"/>
                </a:lnTo>
                <a:lnTo>
                  <a:pt x="542" y="459"/>
                </a:lnTo>
                <a:lnTo>
                  <a:pt x="543" y="465"/>
                </a:lnTo>
                <a:lnTo>
                  <a:pt x="545" y="472"/>
                </a:lnTo>
                <a:lnTo>
                  <a:pt x="547" y="477"/>
                </a:lnTo>
                <a:lnTo>
                  <a:pt x="549" y="482"/>
                </a:lnTo>
                <a:lnTo>
                  <a:pt x="551" y="488"/>
                </a:lnTo>
                <a:lnTo>
                  <a:pt x="554" y="492"/>
                </a:lnTo>
                <a:lnTo>
                  <a:pt x="557" y="496"/>
                </a:lnTo>
                <a:lnTo>
                  <a:pt x="562" y="500"/>
                </a:lnTo>
                <a:lnTo>
                  <a:pt x="566" y="503"/>
                </a:lnTo>
                <a:lnTo>
                  <a:pt x="571" y="506"/>
                </a:lnTo>
                <a:lnTo>
                  <a:pt x="577" y="508"/>
                </a:lnTo>
                <a:lnTo>
                  <a:pt x="582" y="509"/>
                </a:lnTo>
                <a:lnTo>
                  <a:pt x="589" y="510"/>
                </a:lnTo>
                <a:lnTo>
                  <a:pt x="595" y="511"/>
                </a:lnTo>
                <a:lnTo>
                  <a:pt x="602" y="511"/>
                </a:lnTo>
                <a:lnTo>
                  <a:pt x="693" y="511"/>
                </a:lnTo>
                <a:lnTo>
                  <a:pt x="700" y="511"/>
                </a:lnTo>
                <a:lnTo>
                  <a:pt x="706" y="510"/>
                </a:lnTo>
                <a:lnTo>
                  <a:pt x="713" y="509"/>
                </a:lnTo>
                <a:lnTo>
                  <a:pt x="718" y="508"/>
                </a:lnTo>
                <a:lnTo>
                  <a:pt x="724" y="506"/>
                </a:lnTo>
                <a:lnTo>
                  <a:pt x="729" y="503"/>
                </a:lnTo>
                <a:lnTo>
                  <a:pt x="733" y="500"/>
                </a:lnTo>
                <a:lnTo>
                  <a:pt x="738" y="496"/>
                </a:lnTo>
                <a:lnTo>
                  <a:pt x="741" y="492"/>
                </a:lnTo>
                <a:lnTo>
                  <a:pt x="744" y="488"/>
                </a:lnTo>
                <a:lnTo>
                  <a:pt x="746" y="482"/>
                </a:lnTo>
                <a:lnTo>
                  <a:pt x="748" y="477"/>
                </a:lnTo>
                <a:lnTo>
                  <a:pt x="750" y="472"/>
                </a:lnTo>
                <a:lnTo>
                  <a:pt x="752" y="465"/>
                </a:lnTo>
                <a:lnTo>
                  <a:pt x="753" y="459"/>
                </a:lnTo>
                <a:lnTo>
                  <a:pt x="753" y="451"/>
                </a:lnTo>
                <a:lnTo>
                  <a:pt x="753" y="421"/>
                </a:lnTo>
                <a:lnTo>
                  <a:pt x="813" y="421"/>
                </a:lnTo>
                <a:lnTo>
                  <a:pt x="818" y="421"/>
                </a:lnTo>
                <a:lnTo>
                  <a:pt x="824" y="420"/>
                </a:lnTo>
                <a:lnTo>
                  <a:pt x="830" y="418"/>
                </a:lnTo>
                <a:lnTo>
                  <a:pt x="835" y="416"/>
                </a:lnTo>
                <a:lnTo>
                  <a:pt x="845" y="411"/>
                </a:lnTo>
                <a:lnTo>
                  <a:pt x="854" y="402"/>
                </a:lnTo>
                <a:lnTo>
                  <a:pt x="862" y="393"/>
                </a:lnTo>
                <a:lnTo>
                  <a:pt x="868" y="383"/>
                </a:lnTo>
                <a:lnTo>
                  <a:pt x="871" y="377"/>
                </a:lnTo>
                <a:lnTo>
                  <a:pt x="872" y="372"/>
                </a:lnTo>
                <a:lnTo>
                  <a:pt x="873" y="367"/>
                </a:lnTo>
                <a:lnTo>
                  <a:pt x="874" y="361"/>
                </a:lnTo>
                <a:lnTo>
                  <a:pt x="874" y="271"/>
                </a:lnTo>
                <a:lnTo>
                  <a:pt x="889" y="271"/>
                </a:lnTo>
                <a:lnTo>
                  <a:pt x="891" y="271"/>
                </a:lnTo>
                <a:lnTo>
                  <a:pt x="894" y="270"/>
                </a:lnTo>
                <a:lnTo>
                  <a:pt x="896" y="268"/>
                </a:lnTo>
                <a:lnTo>
                  <a:pt x="898" y="267"/>
                </a:lnTo>
                <a:lnTo>
                  <a:pt x="901" y="265"/>
                </a:lnTo>
                <a:lnTo>
                  <a:pt x="902" y="262"/>
                </a:lnTo>
                <a:lnTo>
                  <a:pt x="903" y="259"/>
                </a:lnTo>
                <a:lnTo>
                  <a:pt x="904" y="256"/>
                </a:lnTo>
                <a:lnTo>
                  <a:pt x="903" y="253"/>
                </a:lnTo>
                <a:lnTo>
                  <a:pt x="902" y="250"/>
                </a:lnTo>
                <a:lnTo>
                  <a:pt x="901" y="248"/>
                </a:lnTo>
                <a:lnTo>
                  <a:pt x="898" y="245"/>
                </a:lnTo>
                <a:lnTo>
                  <a:pt x="896" y="243"/>
                </a:lnTo>
                <a:lnTo>
                  <a:pt x="894" y="242"/>
                </a:lnTo>
                <a:lnTo>
                  <a:pt x="891" y="241"/>
                </a:lnTo>
                <a:lnTo>
                  <a:pt x="889" y="24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585" name="Group 5141">
            <a:extLst>
              <a:ext uri="{FF2B5EF4-FFF2-40B4-BE49-F238E27FC236}">
                <a16:creationId xmlns:a16="http://schemas.microsoft.com/office/drawing/2014/main" id="{B620425B-AED5-4D9B-A06A-413B7A2B75F0}"/>
              </a:ext>
            </a:extLst>
          </p:cNvPr>
          <p:cNvGrpSpPr>
            <a:grpSpLocks noChangeAspect="1"/>
          </p:cNvGrpSpPr>
          <p:nvPr/>
        </p:nvGrpSpPr>
        <p:grpSpPr>
          <a:xfrm>
            <a:off x="253423" y="5476556"/>
            <a:ext cx="341972" cy="188523"/>
            <a:chOff x="6437604" y="-882586"/>
            <a:chExt cx="371476" cy="204788"/>
          </a:xfrm>
          <a:solidFill>
            <a:schemeClr val="bg2"/>
          </a:solidFill>
          <a:effectLst/>
        </p:grpSpPr>
        <p:sp>
          <p:nvSpPr>
            <p:cNvPr id="586" name="Freeform 33">
              <a:extLst>
                <a:ext uri="{FF2B5EF4-FFF2-40B4-BE49-F238E27FC236}">
                  <a16:creationId xmlns:a16="http://schemas.microsoft.com/office/drawing/2014/main" id="{03C562F3-1B0C-4245-A98B-806103F03F1E}"/>
                </a:ext>
              </a:extLst>
            </p:cNvPr>
            <p:cNvSpPr>
              <a:spLocks/>
            </p:cNvSpPr>
            <p:nvPr/>
          </p:nvSpPr>
          <p:spPr bwMode="auto">
            <a:xfrm>
              <a:off x="6661442" y="-876236"/>
              <a:ext cx="147638" cy="190500"/>
            </a:xfrm>
            <a:custGeom>
              <a:avLst/>
              <a:gdLst>
                <a:gd name="T0" fmla="*/ 24 w 38"/>
                <a:gd name="T1" fmla="*/ 48 h 48"/>
                <a:gd name="T2" fmla="*/ 4 w 38"/>
                <a:gd name="T3" fmla="*/ 48 h 48"/>
                <a:gd name="T4" fmla="*/ 2 w 38"/>
                <a:gd name="T5" fmla="*/ 46 h 48"/>
                <a:gd name="T6" fmla="*/ 4 w 38"/>
                <a:gd name="T7" fmla="*/ 44 h 48"/>
                <a:gd name="T8" fmla="*/ 22 w 38"/>
                <a:gd name="T9" fmla="*/ 44 h 48"/>
                <a:gd name="T10" fmla="*/ 22 w 38"/>
                <a:gd name="T11" fmla="*/ 34 h 48"/>
                <a:gd name="T12" fmla="*/ 24 w 38"/>
                <a:gd name="T13" fmla="*/ 32 h 48"/>
                <a:gd name="T14" fmla="*/ 34 w 38"/>
                <a:gd name="T15" fmla="*/ 32 h 48"/>
                <a:gd name="T16" fmla="*/ 34 w 38"/>
                <a:gd name="T17" fmla="*/ 16 h 48"/>
                <a:gd name="T18" fmla="*/ 24 w 38"/>
                <a:gd name="T19" fmla="*/ 16 h 48"/>
                <a:gd name="T20" fmla="*/ 22 w 38"/>
                <a:gd name="T21" fmla="*/ 14 h 48"/>
                <a:gd name="T22" fmla="*/ 22 w 38"/>
                <a:gd name="T23" fmla="*/ 4 h 48"/>
                <a:gd name="T24" fmla="*/ 2 w 38"/>
                <a:gd name="T25" fmla="*/ 4 h 48"/>
                <a:gd name="T26" fmla="*/ 0 w 38"/>
                <a:gd name="T27" fmla="*/ 2 h 48"/>
                <a:gd name="T28" fmla="*/ 2 w 38"/>
                <a:gd name="T29" fmla="*/ 0 h 48"/>
                <a:gd name="T30" fmla="*/ 24 w 38"/>
                <a:gd name="T31" fmla="*/ 0 h 48"/>
                <a:gd name="T32" fmla="*/ 26 w 38"/>
                <a:gd name="T33" fmla="*/ 2 h 48"/>
                <a:gd name="T34" fmla="*/ 26 w 38"/>
                <a:gd name="T35" fmla="*/ 12 h 48"/>
                <a:gd name="T36" fmla="*/ 36 w 38"/>
                <a:gd name="T37" fmla="*/ 12 h 48"/>
                <a:gd name="T38" fmla="*/ 38 w 38"/>
                <a:gd name="T39" fmla="*/ 14 h 48"/>
                <a:gd name="T40" fmla="*/ 38 w 38"/>
                <a:gd name="T41" fmla="*/ 34 h 48"/>
                <a:gd name="T42" fmla="*/ 36 w 38"/>
                <a:gd name="T43" fmla="*/ 36 h 48"/>
                <a:gd name="T44" fmla="*/ 26 w 38"/>
                <a:gd name="T45" fmla="*/ 36 h 48"/>
                <a:gd name="T46" fmla="*/ 26 w 38"/>
                <a:gd name="T47" fmla="*/ 46 h 48"/>
                <a:gd name="T48" fmla="*/ 24 w 3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48">
                  <a:moveTo>
                    <a:pt x="24" y="48"/>
                  </a:moveTo>
                  <a:cubicBezTo>
                    <a:pt x="4" y="48"/>
                    <a:pt x="4" y="48"/>
                    <a:pt x="4" y="48"/>
                  </a:cubicBezTo>
                  <a:cubicBezTo>
                    <a:pt x="3" y="48"/>
                    <a:pt x="2" y="47"/>
                    <a:pt x="2" y="46"/>
                  </a:cubicBezTo>
                  <a:cubicBezTo>
                    <a:pt x="2" y="45"/>
                    <a:pt x="3" y="44"/>
                    <a:pt x="4" y="44"/>
                  </a:cubicBezTo>
                  <a:cubicBezTo>
                    <a:pt x="22" y="44"/>
                    <a:pt x="22" y="44"/>
                    <a:pt x="22" y="44"/>
                  </a:cubicBezTo>
                  <a:cubicBezTo>
                    <a:pt x="22" y="34"/>
                    <a:pt x="22" y="34"/>
                    <a:pt x="22" y="34"/>
                  </a:cubicBezTo>
                  <a:cubicBezTo>
                    <a:pt x="22" y="33"/>
                    <a:pt x="23" y="32"/>
                    <a:pt x="24" y="32"/>
                  </a:cubicBezTo>
                  <a:cubicBezTo>
                    <a:pt x="34" y="32"/>
                    <a:pt x="34" y="32"/>
                    <a:pt x="34" y="32"/>
                  </a:cubicBezTo>
                  <a:cubicBezTo>
                    <a:pt x="34" y="16"/>
                    <a:pt x="34" y="16"/>
                    <a:pt x="34" y="16"/>
                  </a:cubicBezTo>
                  <a:cubicBezTo>
                    <a:pt x="24" y="16"/>
                    <a:pt x="24" y="16"/>
                    <a:pt x="24" y="16"/>
                  </a:cubicBezTo>
                  <a:cubicBezTo>
                    <a:pt x="23" y="16"/>
                    <a:pt x="22" y="15"/>
                    <a:pt x="22" y="14"/>
                  </a:cubicBezTo>
                  <a:cubicBezTo>
                    <a:pt x="22" y="4"/>
                    <a:pt x="22" y="4"/>
                    <a:pt x="22"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cubicBezTo>
                    <a:pt x="26" y="12"/>
                    <a:pt x="26" y="12"/>
                    <a:pt x="26" y="12"/>
                  </a:cubicBezTo>
                  <a:cubicBezTo>
                    <a:pt x="36" y="12"/>
                    <a:pt x="36" y="12"/>
                    <a:pt x="36" y="12"/>
                  </a:cubicBezTo>
                  <a:cubicBezTo>
                    <a:pt x="37" y="12"/>
                    <a:pt x="38" y="13"/>
                    <a:pt x="38" y="14"/>
                  </a:cubicBezTo>
                  <a:cubicBezTo>
                    <a:pt x="38" y="34"/>
                    <a:pt x="38" y="34"/>
                    <a:pt x="38" y="34"/>
                  </a:cubicBezTo>
                  <a:cubicBezTo>
                    <a:pt x="38" y="35"/>
                    <a:pt x="37" y="36"/>
                    <a:pt x="36" y="36"/>
                  </a:cubicBezTo>
                  <a:cubicBezTo>
                    <a:pt x="26" y="36"/>
                    <a:pt x="26" y="36"/>
                    <a:pt x="26" y="36"/>
                  </a:cubicBezTo>
                  <a:cubicBezTo>
                    <a:pt x="26" y="46"/>
                    <a:pt x="26" y="46"/>
                    <a:pt x="26" y="46"/>
                  </a:cubicBezTo>
                  <a:cubicBezTo>
                    <a:pt x="26" y="47"/>
                    <a:pt x="25"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7" name="Freeform 34">
              <a:extLst>
                <a:ext uri="{FF2B5EF4-FFF2-40B4-BE49-F238E27FC236}">
                  <a16:creationId xmlns:a16="http://schemas.microsoft.com/office/drawing/2014/main" id="{D964E42F-5E3C-4F49-925D-B97B85C00FED}"/>
                </a:ext>
              </a:extLst>
            </p:cNvPr>
            <p:cNvSpPr>
              <a:spLocks/>
            </p:cNvSpPr>
            <p:nvPr/>
          </p:nvSpPr>
          <p:spPr bwMode="auto">
            <a:xfrm>
              <a:off x="6437604" y="-876236"/>
              <a:ext cx="147638" cy="190500"/>
            </a:xfrm>
            <a:custGeom>
              <a:avLst/>
              <a:gdLst>
                <a:gd name="T0" fmla="*/ 36 w 38"/>
                <a:gd name="T1" fmla="*/ 48 h 48"/>
                <a:gd name="T2" fmla="*/ 2 w 38"/>
                <a:gd name="T3" fmla="*/ 48 h 48"/>
                <a:gd name="T4" fmla="*/ 0 w 38"/>
                <a:gd name="T5" fmla="*/ 46 h 48"/>
                <a:gd name="T6" fmla="*/ 0 w 38"/>
                <a:gd name="T7" fmla="*/ 2 h 48"/>
                <a:gd name="T8" fmla="*/ 2 w 38"/>
                <a:gd name="T9" fmla="*/ 0 h 48"/>
                <a:gd name="T10" fmla="*/ 34 w 38"/>
                <a:gd name="T11" fmla="*/ 0 h 48"/>
                <a:gd name="T12" fmla="*/ 36 w 38"/>
                <a:gd name="T13" fmla="*/ 2 h 48"/>
                <a:gd name="T14" fmla="*/ 34 w 38"/>
                <a:gd name="T15" fmla="*/ 4 h 48"/>
                <a:gd name="T16" fmla="*/ 4 w 38"/>
                <a:gd name="T17" fmla="*/ 4 h 48"/>
                <a:gd name="T18" fmla="*/ 4 w 38"/>
                <a:gd name="T19" fmla="*/ 44 h 48"/>
                <a:gd name="T20" fmla="*/ 36 w 38"/>
                <a:gd name="T21" fmla="*/ 44 h 48"/>
                <a:gd name="T22" fmla="*/ 38 w 38"/>
                <a:gd name="T23" fmla="*/ 46 h 48"/>
                <a:gd name="T24" fmla="*/ 36 w 3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8">
                  <a:moveTo>
                    <a:pt x="36" y="48"/>
                  </a:moveTo>
                  <a:cubicBezTo>
                    <a:pt x="2" y="48"/>
                    <a:pt x="2" y="48"/>
                    <a:pt x="2" y="48"/>
                  </a:cubicBezTo>
                  <a:cubicBezTo>
                    <a:pt x="1" y="48"/>
                    <a:pt x="0" y="47"/>
                    <a:pt x="0" y="46"/>
                  </a:cubicBezTo>
                  <a:cubicBezTo>
                    <a:pt x="0" y="2"/>
                    <a:pt x="0" y="2"/>
                    <a:pt x="0" y="2"/>
                  </a:cubicBezTo>
                  <a:cubicBezTo>
                    <a:pt x="0" y="1"/>
                    <a:pt x="1" y="0"/>
                    <a:pt x="2" y="0"/>
                  </a:cubicBezTo>
                  <a:cubicBezTo>
                    <a:pt x="34" y="0"/>
                    <a:pt x="34" y="0"/>
                    <a:pt x="34" y="0"/>
                  </a:cubicBezTo>
                  <a:cubicBezTo>
                    <a:pt x="35" y="0"/>
                    <a:pt x="36" y="1"/>
                    <a:pt x="36" y="2"/>
                  </a:cubicBezTo>
                  <a:cubicBezTo>
                    <a:pt x="36" y="3"/>
                    <a:pt x="35" y="4"/>
                    <a:pt x="34" y="4"/>
                  </a:cubicBezTo>
                  <a:cubicBezTo>
                    <a:pt x="4" y="4"/>
                    <a:pt x="4" y="4"/>
                    <a:pt x="4" y="4"/>
                  </a:cubicBezTo>
                  <a:cubicBezTo>
                    <a:pt x="4" y="44"/>
                    <a:pt x="4" y="44"/>
                    <a:pt x="4" y="44"/>
                  </a:cubicBezTo>
                  <a:cubicBezTo>
                    <a:pt x="36" y="44"/>
                    <a:pt x="36" y="44"/>
                    <a:pt x="36" y="44"/>
                  </a:cubicBezTo>
                  <a:cubicBezTo>
                    <a:pt x="37" y="44"/>
                    <a:pt x="38" y="45"/>
                    <a:pt x="38" y="46"/>
                  </a:cubicBezTo>
                  <a:cubicBezTo>
                    <a:pt x="38" y="47"/>
                    <a:pt x="37" y="48"/>
                    <a:pt x="3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8" name="Freeform 35">
              <a:extLst>
                <a:ext uri="{FF2B5EF4-FFF2-40B4-BE49-F238E27FC236}">
                  <a16:creationId xmlns:a16="http://schemas.microsoft.com/office/drawing/2014/main" id="{BEB79FAF-F4F6-4BE4-A75B-713EEA25DAAC}"/>
                </a:ext>
              </a:extLst>
            </p:cNvPr>
            <p:cNvSpPr>
              <a:spLocks noEditPoints="1"/>
            </p:cNvSpPr>
            <p:nvPr/>
          </p:nvSpPr>
          <p:spPr bwMode="auto">
            <a:xfrm>
              <a:off x="6561429" y="-882586"/>
              <a:ext cx="123825" cy="204788"/>
            </a:xfrm>
            <a:custGeom>
              <a:avLst/>
              <a:gdLst>
                <a:gd name="T0" fmla="*/ 14 w 32"/>
                <a:gd name="T1" fmla="*/ 52 h 52"/>
                <a:gd name="T2" fmla="*/ 14 w 32"/>
                <a:gd name="T3" fmla="*/ 52 h 52"/>
                <a:gd name="T4" fmla="*/ 12 w 32"/>
                <a:gd name="T5" fmla="*/ 50 h 52"/>
                <a:gd name="T6" fmla="*/ 12 w 32"/>
                <a:gd name="T7" fmla="*/ 34 h 52"/>
                <a:gd name="T8" fmla="*/ 2 w 32"/>
                <a:gd name="T9" fmla="*/ 34 h 52"/>
                <a:gd name="T10" fmla="*/ 0 w 32"/>
                <a:gd name="T11" fmla="*/ 33 h 52"/>
                <a:gd name="T12" fmla="*/ 0 w 32"/>
                <a:gd name="T13" fmla="*/ 31 h 52"/>
                <a:gd name="T14" fmla="*/ 16 w 32"/>
                <a:gd name="T15" fmla="*/ 1 h 52"/>
                <a:gd name="T16" fmla="*/ 18 w 32"/>
                <a:gd name="T17" fmla="*/ 0 h 52"/>
                <a:gd name="T18" fmla="*/ 20 w 32"/>
                <a:gd name="T19" fmla="*/ 2 h 52"/>
                <a:gd name="T20" fmla="*/ 20 w 32"/>
                <a:gd name="T21" fmla="*/ 18 h 52"/>
                <a:gd name="T22" fmla="*/ 30 w 32"/>
                <a:gd name="T23" fmla="*/ 18 h 52"/>
                <a:gd name="T24" fmla="*/ 32 w 32"/>
                <a:gd name="T25" fmla="*/ 19 h 52"/>
                <a:gd name="T26" fmla="*/ 32 w 32"/>
                <a:gd name="T27" fmla="*/ 21 h 52"/>
                <a:gd name="T28" fmla="*/ 16 w 32"/>
                <a:gd name="T29" fmla="*/ 51 h 52"/>
                <a:gd name="T30" fmla="*/ 14 w 32"/>
                <a:gd name="T31" fmla="*/ 52 h 52"/>
                <a:gd name="T32" fmla="*/ 5 w 32"/>
                <a:gd name="T33" fmla="*/ 30 h 52"/>
                <a:gd name="T34" fmla="*/ 14 w 32"/>
                <a:gd name="T35" fmla="*/ 30 h 52"/>
                <a:gd name="T36" fmla="*/ 16 w 32"/>
                <a:gd name="T37" fmla="*/ 32 h 52"/>
                <a:gd name="T38" fmla="*/ 16 w 32"/>
                <a:gd name="T39" fmla="*/ 42 h 52"/>
                <a:gd name="T40" fmla="*/ 27 w 32"/>
                <a:gd name="T41" fmla="*/ 22 h 52"/>
                <a:gd name="T42" fmla="*/ 18 w 32"/>
                <a:gd name="T43" fmla="*/ 22 h 52"/>
                <a:gd name="T44" fmla="*/ 16 w 32"/>
                <a:gd name="T45" fmla="*/ 20 h 52"/>
                <a:gd name="T46" fmla="*/ 16 w 32"/>
                <a:gd name="T47" fmla="*/ 10 h 52"/>
                <a:gd name="T48" fmla="*/ 5 w 32"/>
                <a:gd name="T49"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52">
                  <a:moveTo>
                    <a:pt x="14" y="52"/>
                  </a:moveTo>
                  <a:cubicBezTo>
                    <a:pt x="14" y="52"/>
                    <a:pt x="14" y="52"/>
                    <a:pt x="14" y="52"/>
                  </a:cubicBezTo>
                  <a:cubicBezTo>
                    <a:pt x="13" y="52"/>
                    <a:pt x="12" y="51"/>
                    <a:pt x="12" y="50"/>
                  </a:cubicBezTo>
                  <a:cubicBezTo>
                    <a:pt x="12" y="34"/>
                    <a:pt x="12" y="34"/>
                    <a:pt x="12" y="34"/>
                  </a:cubicBezTo>
                  <a:cubicBezTo>
                    <a:pt x="2" y="34"/>
                    <a:pt x="2" y="34"/>
                    <a:pt x="2" y="34"/>
                  </a:cubicBezTo>
                  <a:cubicBezTo>
                    <a:pt x="1" y="34"/>
                    <a:pt x="1" y="34"/>
                    <a:pt x="0" y="33"/>
                  </a:cubicBezTo>
                  <a:cubicBezTo>
                    <a:pt x="0" y="32"/>
                    <a:pt x="0" y="32"/>
                    <a:pt x="0" y="31"/>
                  </a:cubicBezTo>
                  <a:cubicBezTo>
                    <a:pt x="16" y="1"/>
                    <a:pt x="16" y="1"/>
                    <a:pt x="16" y="1"/>
                  </a:cubicBezTo>
                  <a:cubicBezTo>
                    <a:pt x="17" y="0"/>
                    <a:pt x="18" y="0"/>
                    <a:pt x="18" y="0"/>
                  </a:cubicBezTo>
                  <a:cubicBezTo>
                    <a:pt x="19" y="0"/>
                    <a:pt x="20" y="1"/>
                    <a:pt x="20" y="2"/>
                  </a:cubicBezTo>
                  <a:cubicBezTo>
                    <a:pt x="20" y="18"/>
                    <a:pt x="20" y="18"/>
                    <a:pt x="20" y="18"/>
                  </a:cubicBezTo>
                  <a:cubicBezTo>
                    <a:pt x="30" y="18"/>
                    <a:pt x="30" y="18"/>
                    <a:pt x="30" y="18"/>
                  </a:cubicBezTo>
                  <a:cubicBezTo>
                    <a:pt x="31" y="18"/>
                    <a:pt x="31" y="18"/>
                    <a:pt x="32" y="19"/>
                  </a:cubicBezTo>
                  <a:cubicBezTo>
                    <a:pt x="32" y="20"/>
                    <a:pt x="32" y="20"/>
                    <a:pt x="32" y="21"/>
                  </a:cubicBezTo>
                  <a:cubicBezTo>
                    <a:pt x="16" y="51"/>
                    <a:pt x="16" y="51"/>
                    <a:pt x="16" y="51"/>
                  </a:cubicBezTo>
                  <a:cubicBezTo>
                    <a:pt x="15" y="52"/>
                    <a:pt x="15" y="52"/>
                    <a:pt x="14" y="52"/>
                  </a:cubicBezTo>
                  <a:close/>
                  <a:moveTo>
                    <a:pt x="5" y="30"/>
                  </a:moveTo>
                  <a:cubicBezTo>
                    <a:pt x="14" y="30"/>
                    <a:pt x="14" y="30"/>
                    <a:pt x="14" y="30"/>
                  </a:cubicBezTo>
                  <a:cubicBezTo>
                    <a:pt x="15" y="30"/>
                    <a:pt x="16" y="31"/>
                    <a:pt x="16" y="32"/>
                  </a:cubicBezTo>
                  <a:cubicBezTo>
                    <a:pt x="16" y="42"/>
                    <a:pt x="16" y="42"/>
                    <a:pt x="16" y="42"/>
                  </a:cubicBezTo>
                  <a:cubicBezTo>
                    <a:pt x="27" y="22"/>
                    <a:pt x="27" y="22"/>
                    <a:pt x="27" y="22"/>
                  </a:cubicBezTo>
                  <a:cubicBezTo>
                    <a:pt x="18" y="22"/>
                    <a:pt x="18" y="22"/>
                    <a:pt x="18" y="22"/>
                  </a:cubicBezTo>
                  <a:cubicBezTo>
                    <a:pt x="17" y="22"/>
                    <a:pt x="16" y="21"/>
                    <a:pt x="16" y="20"/>
                  </a:cubicBezTo>
                  <a:cubicBezTo>
                    <a:pt x="16" y="10"/>
                    <a:pt x="16" y="10"/>
                    <a:pt x="16" y="10"/>
                  </a:cubicBezTo>
                  <a:lnTo>
                    <a:pt x="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89" name="Group 6148">
            <a:extLst>
              <a:ext uri="{FF2B5EF4-FFF2-40B4-BE49-F238E27FC236}">
                <a16:creationId xmlns:a16="http://schemas.microsoft.com/office/drawing/2014/main" id="{D2C48974-9670-483A-B18D-6547A07BB9BE}"/>
              </a:ext>
            </a:extLst>
          </p:cNvPr>
          <p:cNvGrpSpPr>
            <a:grpSpLocks noChangeAspect="1"/>
          </p:cNvGrpSpPr>
          <p:nvPr/>
        </p:nvGrpSpPr>
        <p:grpSpPr>
          <a:xfrm>
            <a:off x="1080464" y="4345739"/>
            <a:ext cx="277669" cy="306484"/>
            <a:chOff x="7477126" y="1285875"/>
            <a:chExt cx="336550" cy="371475"/>
          </a:xfrm>
          <a:solidFill>
            <a:schemeClr val="bg2"/>
          </a:solidFill>
          <a:effectLst/>
        </p:grpSpPr>
        <p:sp>
          <p:nvSpPr>
            <p:cNvPr id="590" name="Freeform 29">
              <a:extLst>
                <a:ext uri="{FF2B5EF4-FFF2-40B4-BE49-F238E27FC236}">
                  <a16:creationId xmlns:a16="http://schemas.microsoft.com/office/drawing/2014/main" id="{992C7959-0AA9-4EDC-AD1F-658908B41073}"/>
                </a:ext>
              </a:extLst>
            </p:cNvPr>
            <p:cNvSpPr>
              <a:spLocks noEditPoints="1"/>
            </p:cNvSpPr>
            <p:nvPr/>
          </p:nvSpPr>
          <p:spPr bwMode="auto">
            <a:xfrm>
              <a:off x="7477126" y="1285875"/>
              <a:ext cx="336550" cy="371475"/>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1" name="Freeform 30">
              <a:extLst>
                <a:ext uri="{FF2B5EF4-FFF2-40B4-BE49-F238E27FC236}">
                  <a16:creationId xmlns:a16="http://schemas.microsoft.com/office/drawing/2014/main" id="{2B2CACA8-7B56-424D-ABD6-ADF082F82569}"/>
                </a:ext>
              </a:extLst>
            </p:cNvPr>
            <p:cNvSpPr>
              <a:spLocks noEditPoints="1"/>
            </p:cNvSpPr>
            <p:nvPr/>
          </p:nvSpPr>
          <p:spPr bwMode="auto">
            <a:xfrm>
              <a:off x="7545388" y="1363663"/>
              <a:ext cx="171450" cy="153988"/>
            </a:xfrm>
            <a:custGeom>
              <a:avLst/>
              <a:gdLst>
                <a:gd name="T0" fmla="*/ 22 w 44"/>
                <a:gd name="T1" fmla="*/ 40 h 40"/>
                <a:gd name="T2" fmla="*/ 21 w 44"/>
                <a:gd name="T3" fmla="*/ 40 h 40"/>
                <a:gd name="T4" fmla="*/ 0 w 44"/>
                <a:gd name="T5" fmla="*/ 13 h 40"/>
                <a:gd name="T6" fmla="*/ 12 w 44"/>
                <a:gd name="T7" fmla="*/ 0 h 40"/>
                <a:gd name="T8" fmla="*/ 22 w 44"/>
                <a:gd name="T9" fmla="*/ 6 h 40"/>
                <a:gd name="T10" fmla="*/ 32 w 44"/>
                <a:gd name="T11" fmla="*/ 0 h 40"/>
                <a:gd name="T12" fmla="*/ 44 w 44"/>
                <a:gd name="T13" fmla="*/ 13 h 40"/>
                <a:gd name="T14" fmla="*/ 23 w 44"/>
                <a:gd name="T15" fmla="*/ 40 h 40"/>
                <a:gd name="T16" fmla="*/ 22 w 44"/>
                <a:gd name="T17" fmla="*/ 40 h 40"/>
                <a:gd name="T18" fmla="*/ 12 w 44"/>
                <a:gd name="T19" fmla="*/ 4 h 40"/>
                <a:gd name="T20" fmla="*/ 4 w 44"/>
                <a:gd name="T21" fmla="*/ 13 h 40"/>
                <a:gd name="T22" fmla="*/ 22 w 44"/>
                <a:gd name="T23" fmla="*/ 36 h 40"/>
                <a:gd name="T24" fmla="*/ 40 w 44"/>
                <a:gd name="T25" fmla="*/ 13 h 40"/>
                <a:gd name="T26" fmla="*/ 32 w 44"/>
                <a:gd name="T27" fmla="*/ 4 h 40"/>
                <a:gd name="T28" fmla="*/ 24 w 44"/>
                <a:gd name="T29" fmla="*/ 12 h 40"/>
                <a:gd name="T30" fmla="*/ 20 w 44"/>
                <a:gd name="T31" fmla="*/ 12 h 40"/>
                <a:gd name="T32" fmla="*/ 12 w 44"/>
                <a:gd name="T3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40">
                  <a:moveTo>
                    <a:pt x="22" y="40"/>
                  </a:moveTo>
                  <a:cubicBezTo>
                    <a:pt x="22" y="40"/>
                    <a:pt x="21" y="40"/>
                    <a:pt x="21" y="40"/>
                  </a:cubicBezTo>
                  <a:cubicBezTo>
                    <a:pt x="19" y="38"/>
                    <a:pt x="0" y="25"/>
                    <a:pt x="0" y="13"/>
                  </a:cubicBezTo>
                  <a:cubicBezTo>
                    <a:pt x="0" y="5"/>
                    <a:pt x="6" y="0"/>
                    <a:pt x="12" y="0"/>
                  </a:cubicBezTo>
                  <a:cubicBezTo>
                    <a:pt x="15" y="0"/>
                    <a:pt x="19" y="2"/>
                    <a:pt x="22" y="6"/>
                  </a:cubicBezTo>
                  <a:cubicBezTo>
                    <a:pt x="25" y="2"/>
                    <a:pt x="29" y="0"/>
                    <a:pt x="32" y="0"/>
                  </a:cubicBezTo>
                  <a:cubicBezTo>
                    <a:pt x="38" y="0"/>
                    <a:pt x="44" y="5"/>
                    <a:pt x="44" y="13"/>
                  </a:cubicBezTo>
                  <a:cubicBezTo>
                    <a:pt x="44" y="25"/>
                    <a:pt x="25" y="38"/>
                    <a:pt x="23" y="40"/>
                  </a:cubicBezTo>
                  <a:cubicBezTo>
                    <a:pt x="23" y="40"/>
                    <a:pt x="22" y="40"/>
                    <a:pt x="22" y="40"/>
                  </a:cubicBezTo>
                  <a:close/>
                  <a:moveTo>
                    <a:pt x="12" y="4"/>
                  </a:moveTo>
                  <a:cubicBezTo>
                    <a:pt x="8" y="4"/>
                    <a:pt x="4" y="8"/>
                    <a:pt x="4" y="13"/>
                  </a:cubicBezTo>
                  <a:cubicBezTo>
                    <a:pt x="4" y="21"/>
                    <a:pt x="16" y="31"/>
                    <a:pt x="22" y="36"/>
                  </a:cubicBezTo>
                  <a:cubicBezTo>
                    <a:pt x="28" y="31"/>
                    <a:pt x="40" y="21"/>
                    <a:pt x="40" y="13"/>
                  </a:cubicBezTo>
                  <a:cubicBezTo>
                    <a:pt x="40" y="8"/>
                    <a:pt x="36" y="4"/>
                    <a:pt x="32" y="4"/>
                  </a:cubicBezTo>
                  <a:cubicBezTo>
                    <a:pt x="28" y="4"/>
                    <a:pt x="25" y="7"/>
                    <a:pt x="24" y="12"/>
                  </a:cubicBezTo>
                  <a:cubicBezTo>
                    <a:pt x="24" y="14"/>
                    <a:pt x="20" y="14"/>
                    <a:pt x="20" y="12"/>
                  </a:cubicBezTo>
                  <a:cubicBezTo>
                    <a:pt x="19" y="7"/>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92" name="Group 41">
            <a:extLst>
              <a:ext uri="{FF2B5EF4-FFF2-40B4-BE49-F238E27FC236}">
                <a16:creationId xmlns:a16="http://schemas.microsoft.com/office/drawing/2014/main" id="{E18BDA99-17A4-4E0B-8B68-32B4EAC8513A}"/>
              </a:ext>
            </a:extLst>
          </p:cNvPr>
          <p:cNvGrpSpPr>
            <a:grpSpLocks noChangeAspect="1"/>
          </p:cNvGrpSpPr>
          <p:nvPr/>
        </p:nvGrpSpPr>
        <p:grpSpPr>
          <a:xfrm>
            <a:off x="1419983" y="3813750"/>
            <a:ext cx="304790" cy="284583"/>
            <a:chOff x="4906963" y="792163"/>
            <a:chExt cx="287338" cy="268288"/>
          </a:xfrm>
          <a:solidFill>
            <a:schemeClr val="bg2"/>
          </a:solidFill>
          <a:effectLst/>
        </p:grpSpPr>
        <p:sp>
          <p:nvSpPr>
            <p:cNvPr id="593" name="Freeform 45">
              <a:extLst>
                <a:ext uri="{FF2B5EF4-FFF2-40B4-BE49-F238E27FC236}">
                  <a16:creationId xmlns:a16="http://schemas.microsoft.com/office/drawing/2014/main" id="{C88DCF0A-84E5-4544-84FE-92409C6A6C3E}"/>
                </a:ext>
              </a:extLst>
            </p:cNvPr>
            <p:cNvSpPr>
              <a:spLocks noEditPoints="1"/>
            </p:cNvSpPr>
            <p:nvPr/>
          </p:nvSpPr>
          <p:spPr bwMode="auto">
            <a:xfrm>
              <a:off x="4906963" y="792163"/>
              <a:ext cx="287338" cy="268288"/>
            </a:xfrm>
            <a:custGeom>
              <a:avLst/>
              <a:gdLst>
                <a:gd name="T0" fmla="*/ 677 w 905"/>
                <a:gd name="T1" fmla="*/ 807 h 845"/>
                <a:gd name="T2" fmla="*/ 561 w 905"/>
                <a:gd name="T3" fmla="*/ 807 h 845"/>
                <a:gd name="T4" fmla="*/ 313 w 905"/>
                <a:gd name="T5" fmla="*/ 593 h 845"/>
                <a:gd name="T6" fmla="*/ 273 w 905"/>
                <a:gd name="T7" fmla="*/ 565 h 845"/>
                <a:gd name="T8" fmla="*/ 231 w 905"/>
                <a:gd name="T9" fmla="*/ 577 h 845"/>
                <a:gd name="T10" fmla="*/ 217 w 905"/>
                <a:gd name="T11" fmla="*/ 608 h 845"/>
                <a:gd name="T12" fmla="*/ 226 w 905"/>
                <a:gd name="T13" fmla="*/ 646 h 845"/>
                <a:gd name="T14" fmla="*/ 254 w 905"/>
                <a:gd name="T15" fmla="*/ 684 h 845"/>
                <a:gd name="T16" fmla="*/ 265 w 905"/>
                <a:gd name="T17" fmla="*/ 716 h 845"/>
                <a:gd name="T18" fmla="*/ 254 w 905"/>
                <a:gd name="T19" fmla="*/ 748 h 845"/>
                <a:gd name="T20" fmla="*/ 227 w 905"/>
                <a:gd name="T21" fmla="*/ 771 h 845"/>
                <a:gd name="T22" fmla="*/ 193 w 905"/>
                <a:gd name="T23" fmla="*/ 774 h 845"/>
                <a:gd name="T24" fmla="*/ 161 w 905"/>
                <a:gd name="T25" fmla="*/ 758 h 845"/>
                <a:gd name="T26" fmla="*/ 86 w 905"/>
                <a:gd name="T27" fmla="*/ 657 h 845"/>
                <a:gd name="T28" fmla="*/ 42 w 905"/>
                <a:gd name="T29" fmla="*/ 537 h 845"/>
                <a:gd name="T30" fmla="*/ 31 w 905"/>
                <a:gd name="T31" fmla="*/ 408 h 845"/>
                <a:gd name="T32" fmla="*/ 58 w 905"/>
                <a:gd name="T33" fmla="*/ 284 h 845"/>
                <a:gd name="T34" fmla="*/ 120 w 905"/>
                <a:gd name="T35" fmla="*/ 177 h 845"/>
                <a:gd name="T36" fmla="*/ 208 w 905"/>
                <a:gd name="T37" fmla="*/ 97 h 845"/>
                <a:gd name="T38" fmla="*/ 313 w 905"/>
                <a:gd name="T39" fmla="*/ 47 h 845"/>
                <a:gd name="T40" fmla="*/ 430 w 905"/>
                <a:gd name="T41" fmla="*/ 30 h 845"/>
                <a:gd name="T42" fmla="*/ 558 w 905"/>
                <a:gd name="T43" fmla="*/ 49 h 845"/>
                <a:gd name="T44" fmla="*/ 676 w 905"/>
                <a:gd name="T45" fmla="*/ 105 h 845"/>
                <a:gd name="T46" fmla="*/ 773 w 905"/>
                <a:gd name="T47" fmla="*/ 195 h 845"/>
                <a:gd name="T48" fmla="*/ 840 w 905"/>
                <a:gd name="T49" fmla="*/ 303 h 845"/>
                <a:gd name="T50" fmla="*/ 871 w 905"/>
                <a:gd name="T51" fmla="*/ 423 h 845"/>
                <a:gd name="T52" fmla="*/ 869 w 905"/>
                <a:gd name="T53" fmla="*/ 543 h 845"/>
                <a:gd name="T54" fmla="*/ 832 w 905"/>
                <a:gd name="T55" fmla="*/ 658 h 845"/>
                <a:gd name="T56" fmla="*/ 758 w 905"/>
                <a:gd name="T57" fmla="*/ 758 h 845"/>
                <a:gd name="T58" fmla="*/ 673 w 905"/>
                <a:gd name="T59" fmla="*/ 68 h 845"/>
                <a:gd name="T60" fmla="*/ 545 w 905"/>
                <a:gd name="T61" fmla="*/ 14 h 845"/>
                <a:gd name="T62" fmla="*/ 409 w 905"/>
                <a:gd name="T63" fmla="*/ 0 h 845"/>
                <a:gd name="T64" fmla="*/ 284 w 905"/>
                <a:gd name="T65" fmla="*/ 25 h 845"/>
                <a:gd name="T66" fmla="*/ 173 w 905"/>
                <a:gd name="T67" fmla="*/ 84 h 845"/>
                <a:gd name="T68" fmla="*/ 82 w 905"/>
                <a:gd name="T69" fmla="*/ 176 h 845"/>
                <a:gd name="T70" fmla="*/ 23 w 905"/>
                <a:gd name="T71" fmla="*/ 295 h 845"/>
                <a:gd name="T72" fmla="*/ 0 w 905"/>
                <a:gd name="T73" fmla="*/ 429 h 845"/>
                <a:gd name="T74" fmla="*/ 17 w 905"/>
                <a:gd name="T75" fmla="*/ 566 h 845"/>
                <a:gd name="T76" fmla="*/ 71 w 905"/>
                <a:gd name="T77" fmla="*/ 690 h 845"/>
                <a:gd name="T78" fmla="*/ 147 w 905"/>
                <a:gd name="T79" fmla="*/ 786 h 845"/>
                <a:gd name="T80" fmla="*/ 195 w 905"/>
                <a:gd name="T81" fmla="*/ 805 h 845"/>
                <a:gd name="T82" fmla="*/ 246 w 905"/>
                <a:gd name="T83" fmla="*/ 796 h 845"/>
                <a:gd name="T84" fmla="*/ 284 w 905"/>
                <a:gd name="T85" fmla="*/ 758 h 845"/>
                <a:gd name="T86" fmla="*/ 294 w 905"/>
                <a:gd name="T87" fmla="*/ 708 h 845"/>
                <a:gd name="T88" fmla="*/ 273 w 905"/>
                <a:gd name="T89" fmla="*/ 659 h 845"/>
                <a:gd name="T90" fmla="*/ 248 w 905"/>
                <a:gd name="T91" fmla="*/ 614 h 845"/>
                <a:gd name="T92" fmla="*/ 265 w 905"/>
                <a:gd name="T93" fmla="*/ 594 h 845"/>
                <a:gd name="T94" fmla="*/ 473 w 905"/>
                <a:gd name="T95" fmla="*/ 795 h 845"/>
                <a:gd name="T96" fmla="*/ 530 w 905"/>
                <a:gd name="T97" fmla="*/ 828 h 845"/>
                <a:gd name="T98" fmla="*/ 596 w 905"/>
                <a:gd name="T99" fmla="*/ 844 h 845"/>
                <a:gd name="T100" fmla="*/ 664 w 905"/>
                <a:gd name="T101" fmla="*/ 841 h 845"/>
                <a:gd name="T102" fmla="*/ 727 w 905"/>
                <a:gd name="T103" fmla="*/ 819 h 845"/>
                <a:gd name="T104" fmla="*/ 780 w 905"/>
                <a:gd name="T105" fmla="*/ 780 h 845"/>
                <a:gd name="T106" fmla="*/ 858 w 905"/>
                <a:gd name="T107" fmla="*/ 672 h 845"/>
                <a:gd name="T108" fmla="*/ 898 w 905"/>
                <a:gd name="T109" fmla="*/ 550 h 845"/>
                <a:gd name="T110" fmla="*/ 901 w 905"/>
                <a:gd name="T111" fmla="*/ 419 h 845"/>
                <a:gd name="T112" fmla="*/ 868 w 905"/>
                <a:gd name="T113" fmla="*/ 291 h 845"/>
                <a:gd name="T114" fmla="*/ 797 w 905"/>
                <a:gd name="T115" fmla="*/ 17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45">
                  <a:moveTo>
                    <a:pt x="758" y="758"/>
                  </a:moveTo>
                  <a:lnTo>
                    <a:pt x="744" y="771"/>
                  </a:lnTo>
                  <a:lnTo>
                    <a:pt x="729" y="783"/>
                  </a:lnTo>
                  <a:lnTo>
                    <a:pt x="712" y="793"/>
                  </a:lnTo>
                  <a:lnTo>
                    <a:pt x="695" y="800"/>
                  </a:lnTo>
                  <a:lnTo>
                    <a:pt x="677" y="807"/>
                  </a:lnTo>
                  <a:lnTo>
                    <a:pt x="658" y="811"/>
                  </a:lnTo>
                  <a:lnTo>
                    <a:pt x="639" y="814"/>
                  </a:lnTo>
                  <a:lnTo>
                    <a:pt x="619" y="815"/>
                  </a:lnTo>
                  <a:lnTo>
                    <a:pt x="599" y="814"/>
                  </a:lnTo>
                  <a:lnTo>
                    <a:pt x="580" y="811"/>
                  </a:lnTo>
                  <a:lnTo>
                    <a:pt x="561" y="807"/>
                  </a:lnTo>
                  <a:lnTo>
                    <a:pt x="542" y="800"/>
                  </a:lnTo>
                  <a:lnTo>
                    <a:pt x="525" y="793"/>
                  </a:lnTo>
                  <a:lnTo>
                    <a:pt x="509" y="783"/>
                  </a:lnTo>
                  <a:lnTo>
                    <a:pt x="493" y="771"/>
                  </a:lnTo>
                  <a:lnTo>
                    <a:pt x="479" y="758"/>
                  </a:lnTo>
                  <a:lnTo>
                    <a:pt x="313" y="593"/>
                  </a:lnTo>
                  <a:lnTo>
                    <a:pt x="306" y="585"/>
                  </a:lnTo>
                  <a:lnTo>
                    <a:pt x="298" y="580"/>
                  </a:lnTo>
                  <a:lnTo>
                    <a:pt x="292" y="574"/>
                  </a:lnTo>
                  <a:lnTo>
                    <a:pt x="285" y="570"/>
                  </a:lnTo>
                  <a:lnTo>
                    <a:pt x="279" y="567"/>
                  </a:lnTo>
                  <a:lnTo>
                    <a:pt x="273" y="565"/>
                  </a:lnTo>
                  <a:lnTo>
                    <a:pt x="267" y="563"/>
                  </a:lnTo>
                  <a:lnTo>
                    <a:pt x="261" y="563"/>
                  </a:lnTo>
                  <a:lnTo>
                    <a:pt x="254" y="563"/>
                  </a:lnTo>
                  <a:lnTo>
                    <a:pt x="245" y="567"/>
                  </a:lnTo>
                  <a:lnTo>
                    <a:pt x="239" y="571"/>
                  </a:lnTo>
                  <a:lnTo>
                    <a:pt x="231" y="577"/>
                  </a:lnTo>
                  <a:lnTo>
                    <a:pt x="227" y="582"/>
                  </a:lnTo>
                  <a:lnTo>
                    <a:pt x="225" y="586"/>
                  </a:lnTo>
                  <a:lnTo>
                    <a:pt x="222" y="590"/>
                  </a:lnTo>
                  <a:lnTo>
                    <a:pt x="220" y="596"/>
                  </a:lnTo>
                  <a:lnTo>
                    <a:pt x="218" y="601"/>
                  </a:lnTo>
                  <a:lnTo>
                    <a:pt x="217" y="608"/>
                  </a:lnTo>
                  <a:lnTo>
                    <a:pt x="217" y="613"/>
                  </a:lnTo>
                  <a:lnTo>
                    <a:pt x="217" y="619"/>
                  </a:lnTo>
                  <a:lnTo>
                    <a:pt x="218" y="626"/>
                  </a:lnTo>
                  <a:lnTo>
                    <a:pt x="220" y="632"/>
                  </a:lnTo>
                  <a:lnTo>
                    <a:pt x="223" y="640"/>
                  </a:lnTo>
                  <a:lnTo>
                    <a:pt x="226" y="646"/>
                  </a:lnTo>
                  <a:lnTo>
                    <a:pt x="229" y="653"/>
                  </a:lnTo>
                  <a:lnTo>
                    <a:pt x="235" y="660"/>
                  </a:lnTo>
                  <a:lnTo>
                    <a:pt x="240" y="667"/>
                  </a:lnTo>
                  <a:lnTo>
                    <a:pt x="246" y="674"/>
                  </a:lnTo>
                  <a:lnTo>
                    <a:pt x="251" y="679"/>
                  </a:lnTo>
                  <a:lnTo>
                    <a:pt x="254" y="684"/>
                  </a:lnTo>
                  <a:lnTo>
                    <a:pt x="257" y="688"/>
                  </a:lnTo>
                  <a:lnTo>
                    <a:pt x="259" y="694"/>
                  </a:lnTo>
                  <a:lnTo>
                    <a:pt x="261" y="699"/>
                  </a:lnTo>
                  <a:lnTo>
                    <a:pt x="263" y="705"/>
                  </a:lnTo>
                  <a:lnTo>
                    <a:pt x="264" y="711"/>
                  </a:lnTo>
                  <a:lnTo>
                    <a:pt x="265" y="716"/>
                  </a:lnTo>
                  <a:lnTo>
                    <a:pt x="264" y="722"/>
                  </a:lnTo>
                  <a:lnTo>
                    <a:pt x="263" y="727"/>
                  </a:lnTo>
                  <a:lnTo>
                    <a:pt x="261" y="733"/>
                  </a:lnTo>
                  <a:lnTo>
                    <a:pt x="259" y="739"/>
                  </a:lnTo>
                  <a:lnTo>
                    <a:pt x="257" y="744"/>
                  </a:lnTo>
                  <a:lnTo>
                    <a:pt x="254" y="748"/>
                  </a:lnTo>
                  <a:lnTo>
                    <a:pt x="251" y="754"/>
                  </a:lnTo>
                  <a:lnTo>
                    <a:pt x="246" y="758"/>
                  </a:lnTo>
                  <a:lnTo>
                    <a:pt x="242" y="762"/>
                  </a:lnTo>
                  <a:lnTo>
                    <a:pt x="237" y="766"/>
                  </a:lnTo>
                  <a:lnTo>
                    <a:pt x="231" y="769"/>
                  </a:lnTo>
                  <a:lnTo>
                    <a:pt x="227" y="771"/>
                  </a:lnTo>
                  <a:lnTo>
                    <a:pt x="221" y="773"/>
                  </a:lnTo>
                  <a:lnTo>
                    <a:pt x="215" y="774"/>
                  </a:lnTo>
                  <a:lnTo>
                    <a:pt x="210" y="775"/>
                  </a:lnTo>
                  <a:lnTo>
                    <a:pt x="204" y="775"/>
                  </a:lnTo>
                  <a:lnTo>
                    <a:pt x="198" y="775"/>
                  </a:lnTo>
                  <a:lnTo>
                    <a:pt x="193" y="774"/>
                  </a:lnTo>
                  <a:lnTo>
                    <a:pt x="187" y="773"/>
                  </a:lnTo>
                  <a:lnTo>
                    <a:pt x="182" y="771"/>
                  </a:lnTo>
                  <a:lnTo>
                    <a:pt x="177" y="769"/>
                  </a:lnTo>
                  <a:lnTo>
                    <a:pt x="171" y="766"/>
                  </a:lnTo>
                  <a:lnTo>
                    <a:pt x="167" y="762"/>
                  </a:lnTo>
                  <a:lnTo>
                    <a:pt x="161" y="758"/>
                  </a:lnTo>
                  <a:lnTo>
                    <a:pt x="147" y="743"/>
                  </a:lnTo>
                  <a:lnTo>
                    <a:pt x="134" y="727"/>
                  </a:lnTo>
                  <a:lnTo>
                    <a:pt x="121" y="710"/>
                  </a:lnTo>
                  <a:lnTo>
                    <a:pt x="109" y="693"/>
                  </a:lnTo>
                  <a:lnTo>
                    <a:pt x="97" y="675"/>
                  </a:lnTo>
                  <a:lnTo>
                    <a:pt x="86" y="657"/>
                  </a:lnTo>
                  <a:lnTo>
                    <a:pt x="76" y="638"/>
                  </a:lnTo>
                  <a:lnTo>
                    <a:pt x="68" y="618"/>
                  </a:lnTo>
                  <a:lnTo>
                    <a:pt x="60" y="599"/>
                  </a:lnTo>
                  <a:lnTo>
                    <a:pt x="53" y="579"/>
                  </a:lnTo>
                  <a:lnTo>
                    <a:pt x="46" y="558"/>
                  </a:lnTo>
                  <a:lnTo>
                    <a:pt x="42" y="537"/>
                  </a:lnTo>
                  <a:lnTo>
                    <a:pt x="38" y="516"/>
                  </a:lnTo>
                  <a:lnTo>
                    <a:pt x="35" y="495"/>
                  </a:lnTo>
                  <a:lnTo>
                    <a:pt x="32" y="473"/>
                  </a:lnTo>
                  <a:lnTo>
                    <a:pt x="30" y="452"/>
                  </a:lnTo>
                  <a:lnTo>
                    <a:pt x="30" y="430"/>
                  </a:lnTo>
                  <a:lnTo>
                    <a:pt x="31" y="408"/>
                  </a:lnTo>
                  <a:lnTo>
                    <a:pt x="33" y="386"/>
                  </a:lnTo>
                  <a:lnTo>
                    <a:pt x="37" y="366"/>
                  </a:lnTo>
                  <a:lnTo>
                    <a:pt x="40" y="344"/>
                  </a:lnTo>
                  <a:lnTo>
                    <a:pt x="45" y="324"/>
                  </a:lnTo>
                  <a:lnTo>
                    <a:pt x="51" y="304"/>
                  </a:lnTo>
                  <a:lnTo>
                    <a:pt x="58" y="284"/>
                  </a:lnTo>
                  <a:lnTo>
                    <a:pt x="66" y="265"/>
                  </a:lnTo>
                  <a:lnTo>
                    <a:pt x="74" y="246"/>
                  </a:lnTo>
                  <a:lnTo>
                    <a:pt x="84" y="228"/>
                  </a:lnTo>
                  <a:lnTo>
                    <a:pt x="95" y="211"/>
                  </a:lnTo>
                  <a:lnTo>
                    <a:pt x="107" y="194"/>
                  </a:lnTo>
                  <a:lnTo>
                    <a:pt x="120" y="177"/>
                  </a:lnTo>
                  <a:lnTo>
                    <a:pt x="132" y="161"/>
                  </a:lnTo>
                  <a:lnTo>
                    <a:pt x="146" y="146"/>
                  </a:lnTo>
                  <a:lnTo>
                    <a:pt x="161" y="132"/>
                  </a:lnTo>
                  <a:lnTo>
                    <a:pt x="177" y="119"/>
                  </a:lnTo>
                  <a:lnTo>
                    <a:pt x="192" y="108"/>
                  </a:lnTo>
                  <a:lnTo>
                    <a:pt x="208" y="97"/>
                  </a:lnTo>
                  <a:lnTo>
                    <a:pt x="224" y="86"/>
                  </a:lnTo>
                  <a:lnTo>
                    <a:pt x="241" y="76"/>
                  </a:lnTo>
                  <a:lnTo>
                    <a:pt x="258" y="68"/>
                  </a:lnTo>
                  <a:lnTo>
                    <a:pt x="277" y="60"/>
                  </a:lnTo>
                  <a:lnTo>
                    <a:pt x="295" y="53"/>
                  </a:lnTo>
                  <a:lnTo>
                    <a:pt x="313" y="47"/>
                  </a:lnTo>
                  <a:lnTo>
                    <a:pt x="332" y="42"/>
                  </a:lnTo>
                  <a:lnTo>
                    <a:pt x="352" y="38"/>
                  </a:lnTo>
                  <a:lnTo>
                    <a:pt x="371" y="34"/>
                  </a:lnTo>
                  <a:lnTo>
                    <a:pt x="391" y="32"/>
                  </a:lnTo>
                  <a:lnTo>
                    <a:pt x="410" y="30"/>
                  </a:lnTo>
                  <a:lnTo>
                    <a:pt x="430" y="30"/>
                  </a:lnTo>
                  <a:lnTo>
                    <a:pt x="452" y="30"/>
                  </a:lnTo>
                  <a:lnTo>
                    <a:pt x="473" y="32"/>
                  </a:lnTo>
                  <a:lnTo>
                    <a:pt x="495" y="34"/>
                  </a:lnTo>
                  <a:lnTo>
                    <a:pt x="516" y="39"/>
                  </a:lnTo>
                  <a:lnTo>
                    <a:pt x="538" y="44"/>
                  </a:lnTo>
                  <a:lnTo>
                    <a:pt x="558" y="49"/>
                  </a:lnTo>
                  <a:lnTo>
                    <a:pt x="579" y="57"/>
                  </a:lnTo>
                  <a:lnTo>
                    <a:pt x="599" y="65"/>
                  </a:lnTo>
                  <a:lnTo>
                    <a:pt x="619" y="73"/>
                  </a:lnTo>
                  <a:lnTo>
                    <a:pt x="638" y="83"/>
                  </a:lnTo>
                  <a:lnTo>
                    <a:pt x="657" y="94"/>
                  </a:lnTo>
                  <a:lnTo>
                    <a:pt x="676" y="105"/>
                  </a:lnTo>
                  <a:lnTo>
                    <a:pt x="694" y="118"/>
                  </a:lnTo>
                  <a:lnTo>
                    <a:pt x="711" y="132"/>
                  </a:lnTo>
                  <a:lnTo>
                    <a:pt x="728" y="146"/>
                  </a:lnTo>
                  <a:lnTo>
                    <a:pt x="743" y="161"/>
                  </a:lnTo>
                  <a:lnTo>
                    <a:pt x="760" y="177"/>
                  </a:lnTo>
                  <a:lnTo>
                    <a:pt x="773" y="195"/>
                  </a:lnTo>
                  <a:lnTo>
                    <a:pt x="787" y="212"/>
                  </a:lnTo>
                  <a:lnTo>
                    <a:pt x="799" y="229"/>
                  </a:lnTo>
                  <a:lnTo>
                    <a:pt x="811" y="247"/>
                  </a:lnTo>
                  <a:lnTo>
                    <a:pt x="822" y="266"/>
                  </a:lnTo>
                  <a:lnTo>
                    <a:pt x="832" y="284"/>
                  </a:lnTo>
                  <a:lnTo>
                    <a:pt x="840" y="303"/>
                  </a:lnTo>
                  <a:lnTo>
                    <a:pt x="848" y="323"/>
                  </a:lnTo>
                  <a:lnTo>
                    <a:pt x="854" y="342"/>
                  </a:lnTo>
                  <a:lnTo>
                    <a:pt x="861" y="362"/>
                  </a:lnTo>
                  <a:lnTo>
                    <a:pt x="865" y="382"/>
                  </a:lnTo>
                  <a:lnTo>
                    <a:pt x="869" y="402"/>
                  </a:lnTo>
                  <a:lnTo>
                    <a:pt x="871" y="423"/>
                  </a:lnTo>
                  <a:lnTo>
                    <a:pt x="874" y="443"/>
                  </a:lnTo>
                  <a:lnTo>
                    <a:pt x="875" y="462"/>
                  </a:lnTo>
                  <a:lnTo>
                    <a:pt x="875" y="483"/>
                  </a:lnTo>
                  <a:lnTo>
                    <a:pt x="874" y="503"/>
                  </a:lnTo>
                  <a:lnTo>
                    <a:pt x="872" y="524"/>
                  </a:lnTo>
                  <a:lnTo>
                    <a:pt x="869" y="543"/>
                  </a:lnTo>
                  <a:lnTo>
                    <a:pt x="865" y="563"/>
                  </a:lnTo>
                  <a:lnTo>
                    <a:pt x="861" y="583"/>
                  </a:lnTo>
                  <a:lnTo>
                    <a:pt x="855" y="602"/>
                  </a:lnTo>
                  <a:lnTo>
                    <a:pt x="848" y="620"/>
                  </a:lnTo>
                  <a:lnTo>
                    <a:pt x="840" y="640"/>
                  </a:lnTo>
                  <a:lnTo>
                    <a:pt x="832" y="658"/>
                  </a:lnTo>
                  <a:lnTo>
                    <a:pt x="822" y="676"/>
                  </a:lnTo>
                  <a:lnTo>
                    <a:pt x="811" y="694"/>
                  </a:lnTo>
                  <a:lnTo>
                    <a:pt x="799" y="711"/>
                  </a:lnTo>
                  <a:lnTo>
                    <a:pt x="787" y="727"/>
                  </a:lnTo>
                  <a:lnTo>
                    <a:pt x="773" y="743"/>
                  </a:lnTo>
                  <a:lnTo>
                    <a:pt x="758" y="758"/>
                  </a:lnTo>
                  <a:close/>
                  <a:moveTo>
                    <a:pt x="765" y="140"/>
                  </a:moveTo>
                  <a:lnTo>
                    <a:pt x="748" y="124"/>
                  </a:lnTo>
                  <a:lnTo>
                    <a:pt x="730" y="109"/>
                  </a:lnTo>
                  <a:lnTo>
                    <a:pt x="712" y="94"/>
                  </a:lnTo>
                  <a:lnTo>
                    <a:pt x="693" y="81"/>
                  </a:lnTo>
                  <a:lnTo>
                    <a:pt x="673" y="68"/>
                  </a:lnTo>
                  <a:lnTo>
                    <a:pt x="653" y="57"/>
                  </a:lnTo>
                  <a:lnTo>
                    <a:pt x="632" y="46"/>
                  </a:lnTo>
                  <a:lnTo>
                    <a:pt x="611" y="37"/>
                  </a:lnTo>
                  <a:lnTo>
                    <a:pt x="590" y="28"/>
                  </a:lnTo>
                  <a:lnTo>
                    <a:pt x="567" y="20"/>
                  </a:lnTo>
                  <a:lnTo>
                    <a:pt x="545" y="14"/>
                  </a:lnTo>
                  <a:lnTo>
                    <a:pt x="523" y="10"/>
                  </a:lnTo>
                  <a:lnTo>
                    <a:pt x="499" y="5"/>
                  </a:lnTo>
                  <a:lnTo>
                    <a:pt x="477" y="2"/>
                  </a:lnTo>
                  <a:lnTo>
                    <a:pt x="454" y="0"/>
                  </a:lnTo>
                  <a:lnTo>
                    <a:pt x="430" y="0"/>
                  </a:lnTo>
                  <a:lnTo>
                    <a:pt x="409" y="0"/>
                  </a:lnTo>
                  <a:lnTo>
                    <a:pt x="387" y="2"/>
                  </a:lnTo>
                  <a:lnTo>
                    <a:pt x="366" y="4"/>
                  </a:lnTo>
                  <a:lnTo>
                    <a:pt x="345" y="8"/>
                  </a:lnTo>
                  <a:lnTo>
                    <a:pt x="325" y="13"/>
                  </a:lnTo>
                  <a:lnTo>
                    <a:pt x="305" y="18"/>
                  </a:lnTo>
                  <a:lnTo>
                    <a:pt x="284" y="25"/>
                  </a:lnTo>
                  <a:lnTo>
                    <a:pt x="265" y="32"/>
                  </a:lnTo>
                  <a:lnTo>
                    <a:pt x="245" y="41"/>
                  </a:lnTo>
                  <a:lnTo>
                    <a:pt x="227" y="49"/>
                  </a:lnTo>
                  <a:lnTo>
                    <a:pt x="209" y="60"/>
                  </a:lnTo>
                  <a:lnTo>
                    <a:pt x="191" y="71"/>
                  </a:lnTo>
                  <a:lnTo>
                    <a:pt x="173" y="84"/>
                  </a:lnTo>
                  <a:lnTo>
                    <a:pt x="157" y="97"/>
                  </a:lnTo>
                  <a:lnTo>
                    <a:pt x="141" y="111"/>
                  </a:lnTo>
                  <a:lnTo>
                    <a:pt x="126" y="125"/>
                  </a:lnTo>
                  <a:lnTo>
                    <a:pt x="110" y="141"/>
                  </a:lnTo>
                  <a:lnTo>
                    <a:pt x="96" y="158"/>
                  </a:lnTo>
                  <a:lnTo>
                    <a:pt x="82" y="176"/>
                  </a:lnTo>
                  <a:lnTo>
                    <a:pt x="70" y="195"/>
                  </a:lnTo>
                  <a:lnTo>
                    <a:pt x="58" y="213"/>
                  </a:lnTo>
                  <a:lnTo>
                    <a:pt x="47" y="232"/>
                  </a:lnTo>
                  <a:lnTo>
                    <a:pt x="38" y="253"/>
                  </a:lnTo>
                  <a:lnTo>
                    <a:pt x="30" y="273"/>
                  </a:lnTo>
                  <a:lnTo>
                    <a:pt x="23" y="295"/>
                  </a:lnTo>
                  <a:lnTo>
                    <a:pt x="16" y="316"/>
                  </a:lnTo>
                  <a:lnTo>
                    <a:pt x="11" y="338"/>
                  </a:lnTo>
                  <a:lnTo>
                    <a:pt x="7" y="360"/>
                  </a:lnTo>
                  <a:lnTo>
                    <a:pt x="3" y="383"/>
                  </a:lnTo>
                  <a:lnTo>
                    <a:pt x="1" y="405"/>
                  </a:lnTo>
                  <a:lnTo>
                    <a:pt x="0" y="429"/>
                  </a:lnTo>
                  <a:lnTo>
                    <a:pt x="0" y="453"/>
                  </a:lnTo>
                  <a:lnTo>
                    <a:pt x="2" y="475"/>
                  </a:lnTo>
                  <a:lnTo>
                    <a:pt x="4" y="499"/>
                  </a:lnTo>
                  <a:lnTo>
                    <a:pt x="8" y="522"/>
                  </a:lnTo>
                  <a:lnTo>
                    <a:pt x="12" y="544"/>
                  </a:lnTo>
                  <a:lnTo>
                    <a:pt x="17" y="566"/>
                  </a:lnTo>
                  <a:lnTo>
                    <a:pt x="24" y="587"/>
                  </a:lnTo>
                  <a:lnTo>
                    <a:pt x="31" y="609"/>
                  </a:lnTo>
                  <a:lnTo>
                    <a:pt x="40" y="630"/>
                  </a:lnTo>
                  <a:lnTo>
                    <a:pt x="50" y="651"/>
                  </a:lnTo>
                  <a:lnTo>
                    <a:pt x="60" y="671"/>
                  </a:lnTo>
                  <a:lnTo>
                    <a:pt x="71" y="690"/>
                  </a:lnTo>
                  <a:lnTo>
                    <a:pt x="84" y="710"/>
                  </a:lnTo>
                  <a:lnTo>
                    <a:pt x="97" y="728"/>
                  </a:lnTo>
                  <a:lnTo>
                    <a:pt x="111" y="746"/>
                  </a:lnTo>
                  <a:lnTo>
                    <a:pt x="125" y="763"/>
                  </a:lnTo>
                  <a:lnTo>
                    <a:pt x="141" y="780"/>
                  </a:lnTo>
                  <a:lnTo>
                    <a:pt x="147" y="786"/>
                  </a:lnTo>
                  <a:lnTo>
                    <a:pt x="155" y="791"/>
                  </a:lnTo>
                  <a:lnTo>
                    <a:pt x="163" y="796"/>
                  </a:lnTo>
                  <a:lnTo>
                    <a:pt x="170" y="799"/>
                  </a:lnTo>
                  <a:lnTo>
                    <a:pt x="179" y="802"/>
                  </a:lnTo>
                  <a:lnTo>
                    <a:pt x="186" y="804"/>
                  </a:lnTo>
                  <a:lnTo>
                    <a:pt x="195" y="805"/>
                  </a:lnTo>
                  <a:lnTo>
                    <a:pt x="204" y="807"/>
                  </a:lnTo>
                  <a:lnTo>
                    <a:pt x="213" y="805"/>
                  </a:lnTo>
                  <a:lnTo>
                    <a:pt x="222" y="804"/>
                  </a:lnTo>
                  <a:lnTo>
                    <a:pt x="230" y="802"/>
                  </a:lnTo>
                  <a:lnTo>
                    <a:pt x="238" y="799"/>
                  </a:lnTo>
                  <a:lnTo>
                    <a:pt x="246" y="796"/>
                  </a:lnTo>
                  <a:lnTo>
                    <a:pt x="254" y="791"/>
                  </a:lnTo>
                  <a:lnTo>
                    <a:pt x="260" y="786"/>
                  </a:lnTo>
                  <a:lnTo>
                    <a:pt x="268" y="780"/>
                  </a:lnTo>
                  <a:lnTo>
                    <a:pt x="273" y="773"/>
                  </a:lnTo>
                  <a:lnTo>
                    <a:pt x="279" y="766"/>
                  </a:lnTo>
                  <a:lnTo>
                    <a:pt x="284" y="758"/>
                  </a:lnTo>
                  <a:lnTo>
                    <a:pt x="287" y="750"/>
                  </a:lnTo>
                  <a:lnTo>
                    <a:pt x="291" y="742"/>
                  </a:lnTo>
                  <a:lnTo>
                    <a:pt x="293" y="733"/>
                  </a:lnTo>
                  <a:lnTo>
                    <a:pt x="294" y="725"/>
                  </a:lnTo>
                  <a:lnTo>
                    <a:pt x="294" y="716"/>
                  </a:lnTo>
                  <a:lnTo>
                    <a:pt x="294" y="708"/>
                  </a:lnTo>
                  <a:lnTo>
                    <a:pt x="293" y="699"/>
                  </a:lnTo>
                  <a:lnTo>
                    <a:pt x="291" y="690"/>
                  </a:lnTo>
                  <a:lnTo>
                    <a:pt x="287" y="683"/>
                  </a:lnTo>
                  <a:lnTo>
                    <a:pt x="284" y="674"/>
                  </a:lnTo>
                  <a:lnTo>
                    <a:pt x="279" y="667"/>
                  </a:lnTo>
                  <a:lnTo>
                    <a:pt x="273" y="659"/>
                  </a:lnTo>
                  <a:lnTo>
                    <a:pt x="268" y="653"/>
                  </a:lnTo>
                  <a:lnTo>
                    <a:pt x="260" y="644"/>
                  </a:lnTo>
                  <a:lnTo>
                    <a:pt x="254" y="636"/>
                  </a:lnTo>
                  <a:lnTo>
                    <a:pt x="251" y="628"/>
                  </a:lnTo>
                  <a:lnTo>
                    <a:pt x="248" y="620"/>
                  </a:lnTo>
                  <a:lnTo>
                    <a:pt x="248" y="614"/>
                  </a:lnTo>
                  <a:lnTo>
                    <a:pt x="248" y="608"/>
                  </a:lnTo>
                  <a:lnTo>
                    <a:pt x="250" y="603"/>
                  </a:lnTo>
                  <a:lnTo>
                    <a:pt x="253" y="599"/>
                  </a:lnTo>
                  <a:lnTo>
                    <a:pt x="258" y="594"/>
                  </a:lnTo>
                  <a:lnTo>
                    <a:pt x="261" y="594"/>
                  </a:lnTo>
                  <a:lnTo>
                    <a:pt x="265" y="594"/>
                  </a:lnTo>
                  <a:lnTo>
                    <a:pt x="271" y="597"/>
                  </a:lnTo>
                  <a:lnTo>
                    <a:pt x="280" y="603"/>
                  </a:lnTo>
                  <a:lnTo>
                    <a:pt x="292" y="614"/>
                  </a:lnTo>
                  <a:lnTo>
                    <a:pt x="457" y="780"/>
                  </a:lnTo>
                  <a:lnTo>
                    <a:pt x="466" y="787"/>
                  </a:lnTo>
                  <a:lnTo>
                    <a:pt x="473" y="795"/>
                  </a:lnTo>
                  <a:lnTo>
                    <a:pt x="483" y="801"/>
                  </a:lnTo>
                  <a:lnTo>
                    <a:pt x="492" y="808"/>
                  </a:lnTo>
                  <a:lnTo>
                    <a:pt x="501" y="814"/>
                  </a:lnTo>
                  <a:lnTo>
                    <a:pt x="511" y="819"/>
                  </a:lnTo>
                  <a:lnTo>
                    <a:pt x="521" y="824"/>
                  </a:lnTo>
                  <a:lnTo>
                    <a:pt x="530" y="828"/>
                  </a:lnTo>
                  <a:lnTo>
                    <a:pt x="541" y="832"/>
                  </a:lnTo>
                  <a:lnTo>
                    <a:pt x="552" y="836"/>
                  </a:lnTo>
                  <a:lnTo>
                    <a:pt x="563" y="839"/>
                  </a:lnTo>
                  <a:lnTo>
                    <a:pt x="573" y="841"/>
                  </a:lnTo>
                  <a:lnTo>
                    <a:pt x="584" y="843"/>
                  </a:lnTo>
                  <a:lnTo>
                    <a:pt x="596" y="844"/>
                  </a:lnTo>
                  <a:lnTo>
                    <a:pt x="607" y="845"/>
                  </a:lnTo>
                  <a:lnTo>
                    <a:pt x="619" y="845"/>
                  </a:lnTo>
                  <a:lnTo>
                    <a:pt x="630" y="845"/>
                  </a:lnTo>
                  <a:lnTo>
                    <a:pt x="642" y="844"/>
                  </a:lnTo>
                  <a:lnTo>
                    <a:pt x="653" y="843"/>
                  </a:lnTo>
                  <a:lnTo>
                    <a:pt x="664" y="841"/>
                  </a:lnTo>
                  <a:lnTo>
                    <a:pt x="676" y="839"/>
                  </a:lnTo>
                  <a:lnTo>
                    <a:pt x="686" y="836"/>
                  </a:lnTo>
                  <a:lnTo>
                    <a:pt x="696" y="832"/>
                  </a:lnTo>
                  <a:lnTo>
                    <a:pt x="707" y="828"/>
                  </a:lnTo>
                  <a:lnTo>
                    <a:pt x="718" y="824"/>
                  </a:lnTo>
                  <a:lnTo>
                    <a:pt x="727" y="819"/>
                  </a:lnTo>
                  <a:lnTo>
                    <a:pt x="737" y="814"/>
                  </a:lnTo>
                  <a:lnTo>
                    <a:pt x="746" y="808"/>
                  </a:lnTo>
                  <a:lnTo>
                    <a:pt x="755" y="801"/>
                  </a:lnTo>
                  <a:lnTo>
                    <a:pt x="764" y="795"/>
                  </a:lnTo>
                  <a:lnTo>
                    <a:pt x="772" y="787"/>
                  </a:lnTo>
                  <a:lnTo>
                    <a:pt x="780" y="780"/>
                  </a:lnTo>
                  <a:lnTo>
                    <a:pt x="796" y="763"/>
                  </a:lnTo>
                  <a:lnTo>
                    <a:pt x="810" y="746"/>
                  </a:lnTo>
                  <a:lnTo>
                    <a:pt x="824" y="728"/>
                  </a:lnTo>
                  <a:lnTo>
                    <a:pt x="837" y="710"/>
                  </a:lnTo>
                  <a:lnTo>
                    <a:pt x="848" y="691"/>
                  </a:lnTo>
                  <a:lnTo>
                    <a:pt x="858" y="672"/>
                  </a:lnTo>
                  <a:lnTo>
                    <a:pt x="868" y="653"/>
                  </a:lnTo>
                  <a:lnTo>
                    <a:pt x="876" y="632"/>
                  </a:lnTo>
                  <a:lnTo>
                    <a:pt x="883" y="612"/>
                  </a:lnTo>
                  <a:lnTo>
                    <a:pt x="890" y="591"/>
                  </a:lnTo>
                  <a:lnTo>
                    <a:pt x="895" y="570"/>
                  </a:lnTo>
                  <a:lnTo>
                    <a:pt x="898" y="550"/>
                  </a:lnTo>
                  <a:lnTo>
                    <a:pt x="901" y="528"/>
                  </a:lnTo>
                  <a:lnTo>
                    <a:pt x="904" y="506"/>
                  </a:lnTo>
                  <a:lnTo>
                    <a:pt x="905" y="485"/>
                  </a:lnTo>
                  <a:lnTo>
                    <a:pt x="905" y="462"/>
                  </a:lnTo>
                  <a:lnTo>
                    <a:pt x="904" y="441"/>
                  </a:lnTo>
                  <a:lnTo>
                    <a:pt x="901" y="419"/>
                  </a:lnTo>
                  <a:lnTo>
                    <a:pt x="898" y="398"/>
                  </a:lnTo>
                  <a:lnTo>
                    <a:pt x="895" y="376"/>
                  </a:lnTo>
                  <a:lnTo>
                    <a:pt x="890" y="355"/>
                  </a:lnTo>
                  <a:lnTo>
                    <a:pt x="883" y="333"/>
                  </a:lnTo>
                  <a:lnTo>
                    <a:pt x="876" y="313"/>
                  </a:lnTo>
                  <a:lnTo>
                    <a:pt x="868" y="291"/>
                  </a:lnTo>
                  <a:lnTo>
                    <a:pt x="858" y="271"/>
                  </a:lnTo>
                  <a:lnTo>
                    <a:pt x="849" y="252"/>
                  </a:lnTo>
                  <a:lnTo>
                    <a:pt x="837" y="231"/>
                  </a:lnTo>
                  <a:lnTo>
                    <a:pt x="825" y="212"/>
                  </a:lnTo>
                  <a:lnTo>
                    <a:pt x="811" y="194"/>
                  </a:lnTo>
                  <a:lnTo>
                    <a:pt x="797" y="175"/>
                  </a:lnTo>
                  <a:lnTo>
                    <a:pt x="782" y="157"/>
                  </a:lnTo>
                  <a:lnTo>
                    <a:pt x="765" y="140"/>
                  </a:lnTo>
                  <a:lnTo>
                    <a:pt x="76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4" name="Freeform 46">
              <a:extLst>
                <a:ext uri="{FF2B5EF4-FFF2-40B4-BE49-F238E27FC236}">
                  <a16:creationId xmlns:a16="http://schemas.microsoft.com/office/drawing/2014/main" id="{296C3DCC-F1AD-4694-A77B-36DD0BC61813}"/>
                </a:ext>
              </a:extLst>
            </p:cNvPr>
            <p:cNvSpPr>
              <a:spLocks noEditPoints="1"/>
            </p:cNvSpPr>
            <p:nvPr/>
          </p:nvSpPr>
          <p:spPr bwMode="auto">
            <a:xfrm>
              <a:off x="5078413" y="852488"/>
              <a:ext cx="47625" cy="47625"/>
            </a:xfrm>
            <a:custGeom>
              <a:avLst/>
              <a:gdLst>
                <a:gd name="T0" fmla="*/ 51 w 151"/>
                <a:gd name="T1" fmla="*/ 38 h 151"/>
                <a:gd name="T2" fmla="*/ 67 w 151"/>
                <a:gd name="T3" fmla="*/ 30 h 151"/>
                <a:gd name="T4" fmla="*/ 84 w 151"/>
                <a:gd name="T5" fmla="*/ 30 h 151"/>
                <a:gd name="T6" fmla="*/ 100 w 151"/>
                <a:gd name="T7" fmla="*/ 38 h 151"/>
                <a:gd name="T8" fmla="*/ 113 w 151"/>
                <a:gd name="T9" fmla="*/ 50 h 151"/>
                <a:gd name="T10" fmla="*/ 119 w 151"/>
                <a:gd name="T11" fmla="*/ 66 h 151"/>
                <a:gd name="T12" fmla="*/ 119 w 151"/>
                <a:gd name="T13" fmla="*/ 84 h 151"/>
                <a:gd name="T14" fmla="*/ 113 w 151"/>
                <a:gd name="T15" fmla="*/ 100 h 151"/>
                <a:gd name="T16" fmla="*/ 100 w 151"/>
                <a:gd name="T17" fmla="*/ 113 h 151"/>
                <a:gd name="T18" fmla="*/ 84 w 151"/>
                <a:gd name="T19" fmla="*/ 119 h 151"/>
                <a:gd name="T20" fmla="*/ 67 w 151"/>
                <a:gd name="T21" fmla="*/ 119 h 151"/>
                <a:gd name="T22" fmla="*/ 51 w 151"/>
                <a:gd name="T23" fmla="*/ 113 h 151"/>
                <a:gd name="T24" fmla="*/ 38 w 151"/>
                <a:gd name="T25" fmla="*/ 100 h 151"/>
                <a:gd name="T26" fmla="*/ 31 w 151"/>
                <a:gd name="T27" fmla="*/ 84 h 151"/>
                <a:gd name="T28" fmla="*/ 31 w 151"/>
                <a:gd name="T29" fmla="*/ 66 h 151"/>
                <a:gd name="T30" fmla="*/ 38 w 151"/>
                <a:gd name="T31" fmla="*/ 50 h 151"/>
                <a:gd name="T32" fmla="*/ 43 w 151"/>
                <a:gd name="T33" fmla="*/ 43 h 151"/>
                <a:gd name="T34" fmla="*/ 83 w 151"/>
                <a:gd name="T35" fmla="*/ 150 h 151"/>
                <a:gd name="T36" fmla="*/ 97 w 151"/>
                <a:gd name="T37" fmla="*/ 148 h 151"/>
                <a:gd name="T38" fmla="*/ 111 w 151"/>
                <a:gd name="T39" fmla="*/ 141 h 151"/>
                <a:gd name="T40" fmla="*/ 123 w 151"/>
                <a:gd name="T41" fmla="*/ 134 h 151"/>
                <a:gd name="T42" fmla="*/ 133 w 151"/>
                <a:gd name="T43" fmla="*/ 123 h 151"/>
                <a:gd name="T44" fmla="*/ 142 w 151"/>
                <a:gd name="T45" fmla="*/ 111 h 151"/>
                <a:gd name="T46" fmla="*/ 147 w 151"/>
                <a:gd name="T47" fmla="*/ 97 h 151"/>
                <a:gd name="T48" fmla="*/ 151 w 151"/>
                <a:gd name="T49" fmla="*/ 83 h 151"/>
                <a:gd name="T50" fmla="*/ 151 w 151"/>
                <a:gd name="T51" fmla="*/ 68 h 151"/>
                <a:gd name="T52" fmla="*/ 147 w 151"/>
                <a:gd name="T53" fmla="*/ 53 h 151"/>
                <a:gd name="T54" fmla="*/ 142 w 151"/>
                <a:gd name="T55" fmla="*/ 40 h 151"/>
                <a:gd name="T56" fmla="*/ 133 w 151"/>
                <a:gd name="T57" fmla="*/ 27 h 151"/>
                <a:gd name="T58" fmla="*/ 123 w 151"/>
                <a:gd name="T59" fmla="*/ 16 h 151"/>
                <a:gd name="T60" fmla="*/ 111 w 151"/>
                <a:gd name="T61" fmla="*/ 9 h 151"/>
                <a:gd name="T62" fmla="*/ 97 w 151"/>
                <a:gd name="T63" fmla="*/ 4 h 151"/>
                <a:gd name="T64" fmla="*/ 83 w 151"/>
                <a:gd name="T65" fmla="*/ 0 h 151"/>
                <a:gd name="T66" fmla="*/ 68 w 151"/>
                <a:gd name="T67" fmla="*/ 0 h 151"/>
                <a:gd name="T68" fmla="*/ 54 w 151"/>
                <a:gd name="T69" fmla="*/ 2 h 151"/>
                <a:gd name="T70" fmla="*/ 40 w 151"/>
                <a:gd name="T71" fmla="*/ 9 h 151"/>
                <a:gd name="T72" fmla="*/ 28 w 151"/>
                <a:gd name="T73" fmla="*/ 16 h 151"/>
                <a:gd name="T74" fmla="*/ 17 w 151"/>
                <a:gd name="T75" fmla="*/ 27 h 151"/>
                <a:gd name="T76" fmla="*/ 9 w 151"/>
                <a:gd name="T77" fmla="*/ 40 h 151"/>
                <a:gd name="T78" fmla="*/ 3 w 151"/>
                <a:gd name="T79" fmla="*/ 53 h 151"/>
                <a:gd name="T80" fmla="*/ 0 w 151"/>
                <a:gd name="T81" fmla="*/ 68 h 151"/>
                <a:gd name="T82" fmla="*/ 0 w 151"/>
                <a:gd name="T83" fmla="*/ 82 h 151"/>
                <a:gd name="T84" fmla="*/ 3 w 151"/>
                <a:gd name="T85" fmla="*/ 97 h 151"/>
                <a:gd name="T86" fmla="*/ 9 w 151"/>
                <a:gd name="T87" fmla="*/ 111 h 151"/>
                <a:gd name="T88" fmla="*/ 17 w 151"/>
                <a:gd name="T89" fmla="*/ 123 h 151"/>
                <a:gd name="T90" fmla="*/ 28 w 151"/>
                <a:gd name="T91" fmla="*/ 134 h 151"/>
                <a:gd name="T92" fmla="*/ 40 w 151"/>
                <a:gd name="T93" fmla="*/ 142 h 151"/>
                <a:gd name="T94" fmla="*/ 54 w 151"/>
                <a:gd name="T95" fmla="*/ 148 h 151"/>
                <a:gd name="T96" fmla="*/ 68 w 151"/>
                <a:gd name="T97" fmla="*/ 150 h 151"/>
                <a:gd name="T98" fmla="*/ 75 w 151"/>
                <a:gd name="T9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1">
                  <a:moveTo>
                    <a:pt x="43" y="43"/>
                  </a:moveTo>
                  <a:lnTo>
                    <a:pt x="51" y="38"/>
                  </a:lnTo>
                  <a:lnTo>
                    <a:pt x="58" y="34"/>
                  </a:lnTo>
                  <a:lnTo>
                    <a:pt x="67" y="30"/>
                  </a:lnTo>
                  <a:lnTo>
                    <a:pt x="75" y="30"/>
                  </a:lnTo>
                  <a:lnTo>
                    <a:pt x="84" y="30"/>
                  </a:lnTo>
                  <a:lnTo>
                    <a:pt x="93" y="34"/>
                  </a:lnTo>
                  <a:lnTo>
                    <a:pt x="100" y="38"/>
                  </a:lnTo>
                  <a:lnTo>
                    <a:pt x="108" y="43"/>
                  </a:lnTo>
                  <a:lnTo>
                    <a:pt x="113" y="50"/>
                  </a:lnTo>
                  <a:lnTo>
                    <a:pt x="117" y="57"/>
                  </a:lnTo>
                  <a:lnTo>
                    <a:pt x="119" y="66"/>
                  </a:lnTo>
                  <a:lnTo>
                    <a:pt x="120" y="76"/>
                  </a:lnTo>
                  <a:lnTo>
                    <a:pt x="119" y="84"/>
                  </a:lnTo>
                  <a:lnTo>
                    <a:pt x="117" y="93"/>
                  </a:lnTo>
                  <a:lnTo>
                    <a:pt x="113" y="100"/>
                  </a:lnTo>
                  <a:lnTo>
                    <a:pt x="108" y="107"/>
                  </a:lnTo>
                  <a:lnTo>
                    <a:pt x="100" y="113"/>
                  </a:lnTo>
                  <a:lnTo>
                    <a:pt x="93" y="116"/>
                  </a:lnTo>
                  <a:lnTo>
                    <a:pt x="84" y="119"/>
                  </a:lnTo>
                  <a:lnTo>
                    <a:pt x="75" y="120"/>
                  </a:lnTo>
                  <a:lnTo>
                    <a:pt x="67" y="119"/>
                  </a:lnTo>
                  <a:lnTo>
                    <a:pt x="58" y="116"/>
                  </a:lnTo>
                  <a:lnTo>
                    <a:pt x="51" y="113"/>
                  </a:lnTo>
                  <a:lnTo>
                    <a:pt x="43" y="107"/>
                  </a:lnTo>
                  <a:lnTo>
                    <a:pt x="38" y="100"/>
                  </a:lnTo>
                  <a:lnTo>
                    <a:pt x="33" y="93"/>
                  </a:lnTo>
                  <a:lnTo>
                    <a:pt x="31" y="84"/>
                  </a:lnTo>
                  <a:lnTo>
                    <a:pt x="30" y="76"/>
                  </a:lnTo>
                  <a:lnTo>
                    <a:pt x="31" y="66"/>
                  </a:lnTo>
                  <a:lnTo>
                    <a:pt x="33" y="57"/>
                  </a:lnTo>
                  <a:lnTo>
                    <a:pt x="38" y="50"/>
                  </a:lnTo>
                  <a:lnTo>
                    <a:pt x="43" y="43"/>
                  </a:lnTo>
                  <a:lnTo>
                    <a:pt x="43" y="43"/>
                  </a:lnTo>
                  <a:close/>
                  <a:moveTo>
                    <a:pt x="75" y="151"/>
                  </a:moveTo>
                  <a:lnTo>
                    <a:pt x="83" y="150"/>
                  </a:lnTo>
                  <a:lnTo>
                    <a:pt x="90" y="149"/>
                  </a:lnTo>
                  <a:lnTo>
                    <a:pt x="97" y="148"/>
                  </a:lnTo>
                  <a:lnTo>
                    <a:pt x="104" y="144"/>
                  </a:lnTo>
                  <a:lnTo>
                    <a:pt x="111" y="141"/>
                  </a:lnTo>
                  <a:lnTo>
                    <a:pt x="117" y="138"/>
                  </a:lnTo>
                  <a:lnTo>
                    <a:pt x="123" y="134"/>
                  </a:lnTo>
                  <a:lnTo>
                    <a:pt x="128" y="128"/>
                  </a:lnTo>
                  <a:lnTo>
                    <a:pt x="133" y="123"/>
                  </a:lnTo>
                  <a:lnTo>
                    <a:pt x="138" y="116"/>
                  </a:lnTo>
                  <a:lnTo>
                    <a:pt x="142" y="111"/>
                  </a:lnTo>
                  <a:lnTo>
                    <a:pt x="145" y="104"/>
                  </a:lnTo>
                  <a:lnTo>
                    <a:pt x="147" y="97"/>
                  </a:lnTo>
                  <a:lnTo>
                    <a:pt x="150" y="90"/>
                  </a:lnTo>
                  <a:lnTo>
                    <a:pt x="151" y="83"/>
                  </a:lnTo>
                  <a:lnTo>
                    <a:pt x="151" y="76"/>
                  </a:lnTo>
                  <a:lnTo>
                    <a:pt x="151" y="68"/>
                  </a:lnTo>
                  <a:lnTo>
                    <a:pt x="150" y="60"/>
                  </a:lnTo>
                  <a:lnTo>
                    <a:pt x="147" y="53"/>
                  </a:lnTo>
                  <a:lnTo>
                    <a:pt x="145" y="47"/>
                  </a:lnTo>
                  <a:lnTo>
                    <a:pt x="142" y="40"/>
                  </a:lnTo>
                  <a:lnTo>
                    <a:pt x="138" y="34"/>
                  </a:lnTo>
                  <a:lnTo>
                    <a:pt x="133" y="27"/>
                  </a:lnTo>
                  <a:lnTo>
                    <a:pt x="128" y="22"/>
                  </a:lnTo>
                  <a:lnTo>
                    <a:pt x="123" y="16"/>
                  </a:lnTo>
                  <a:lnTo>
                    <a:pt x="117" y="12"/>
                  </a:lnTo>
                  <a:lnTo>
                    <a:pt x="111" y="9"/>
                  </a:lnTo>
                  <a:lnTo>
                    <a:pt x="104" y="6"/>
                  </a:lnTo>
                  <a:lnTo>
                    <a:pt x="97" y="4"/>
                  </a:lnTo>
                  <a:lnTo>
                    <a:pt x="90" y="1"/>
                  </a:lnTo>
                  <a:lnTo>
                    <a:pt x="83" y="0"/>
                  </a:lnTo>
                  <a:lnTo>
                    <a:pt x="75" y="0"/>
                  </a:lnTo>
                  <a:lnTo>
                    <a:pt x="68" y="0"/>
                  </a:lnTo>
                  <a:lnTo>
                    <a:pt x="60" y="1"/>
                  </a:lnTo>
                  <a:lnTo>
                    <a:pt x="54" y="2"/>
                  </a:lnTo>
                  <a:lnTo>
                    <a:pt x="46" y="6"/>
                  </a:lnTo>
                  <a:lnTo>
                    <a:pt x="40" y="9"/>
                  </a:lnTo>
                  <a:lnTo>
                    <a:pt x="33" y="12"/>
                  </a:lnTo>
                  <a:lnTo>
                    <a:pt x="28" y="16"/>
                  </a:lnTo>
                  <a:lnTo>
                    <a:pt x="22" y="22"/>
                  </a:lnTo>
                  <a:lnTo>
                    <a:pt x="17" y="27"/>
                  </a:lnTo>
                  <a:lnTo>
                    <a:pt x="13" y="34"/>
                  </a:lnTo>
                  <a:lnTo>
                    <a:pt x="9" y="40"/>
                  </a:lnTo>
                  <a:lnTo>
                    <a:pt x="5" y="47"/>
                  </a:lnTo>
                  <a:lnTo>
                    <a:pt x="3" y="53"/>
                  </a:lnTo>
                  <a:lnTo>
                    <a:pt x="1" y="60"/>
                  </a:lnTo>
                  <a:lnTo>
                    <a:pt x="0" y="68"/>
                  </a:lnTo>
                  <a:lnTo>
                    <a:pt x="0" y="74"/>
                  </a:lnTo>
                  <a:lnTo>
                    <a:pt x="0" y="82"/>
                  </a:lnTo>
                  <a:lnTo>
                    <a:pt x="1" y="90"/>
                  </a:lnTo>
                  <a:lnTo>
                    <a:pt x="3" y="97"/>
                  </a:lnTo>
                  <a:lnTo>
                    <a:pt x="5" y="104"/>
                  </a:lnTo>
                  <a:lnTo>
                    <a:pt x="9" y="111"/>
                  </a:lnTo>
                  <a:lnTo>
                    <a:pt x="13" y="116"/>
                  </a:lnTo>
                  <a:lnTo>
                    <a:pt x="17" y="123"/>
                  </a:lnTo>
                  <a:lnTo>
                    <a:pt x="22" y="128"/>
                  </a:lnTo>
                  <a:lnTo>
                    <a:pt x="28" y="134"/>
                  </a:lnTo>
                  <a:lnTo>
                    <a:pt x="33" y="138"/>
                  </a:lnTo>
                  <a:lnTo>
                    <a:pt x="40" y="142"/>
                  </a:lnTo>
                  <a:lnTo>
                    <a:pt x="46" y="144"/>
                  </a:lnTo>
                  <a:lnTo>
                    <a:pt x="54" y="148"/>
                  </a:lnTo>
                  <a:lnTo>
                    <a:pt x="60" y="149"/>
                  </a:lnTo>
                  <a:lnTo>
                    <a:pt x="68" y="150"/>
                  </a:lnTo>
                  <a:lnTo>
                    <a:pt x="75" y="151"/>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5" name="Freeform 47">
              <a:extLst>
                <a:ext uri="{FF2B5EF4-FFF2-40B4-BE49-F238E27FC236}">
                  <a16:creationId xmlns:a16="http://schemas.microsoft.com/office/drawing/2014/main" id="{0490B166-D8A8-4EB3-9A12-FFE315F336AA}"/>
                </a:ext>
              </a:extLst>
            </p:cNvPr>
            <p:cNvSpPr>
              <a:spLocks noEditPoints="1"/>
            </p:cNvSpPr>
            <p:nvPr/>
          </p:nvSpPr>
          <p:spPr bwMode="auto">
            <a:xfrm>
              <a:off x="5116513" y="915988"/>
              <a:ext cx="38100" cy="38100"/>
            </a:xfrm>
            <a:custGeom>
              <a:avLst/>
              <a:gdLst>
                <a:gd name="T0" fmla="*/ 78 w 122"/>
                <a:gd name="T1" fmla="*/ 84 h 120"/>
                <a:gd name="T2" fmla="*/ 67 w 122"/>
                <a:gd name="T3" fmla="*/ 89 h 120"/>
                <a:gd name="T4" fmla="*/ 55 w 122"/>
                <a:gd name="T5" fmla="*/ 89 h 120"/>
                <a:gd name="T6" fmla="*/ 45 w 122"/>
                <a:gd name="T7" fmla="*/ 84 h 120"/>
                <a:gd name="T8" fmla="*/ 36 w 122"/>
                <a:gd name="T9" fmla="*/ 76 h 120"/>
                <a:gd name="T10" fmla="*/ 32 w 122"/>
                <a:gd name="T11" fmla="*/ 65 h 120"/>
                <a:gd name="T12" fmla="*/ 32 w 122"/>
                <a:gd name="T13" fmla="*/ 53 h 120"/>
                <a:gd name="T14" fmla="*/ 36 w 122"/>
                <a:gd name="T15" fmla="*/ 43 h 120"/>
                <a:gd name="T16" fmla="*/ 45 w 122"/>
                <a:gd name="T17" fmla="*/ 34 h 120"/>
                <a:gd name="T18" fmla="*/ 55 w 122"/>
                <a:gd name="T19" fmla="*/ 30 h 120"/>
                <a:gd name="T20" fmla="*/ 67 w 122"/>
                <a:gd name="T21" fmla="*/ 30 h 120"/>
                <a:gd name="T22" fmla="*/ 78 w 122"/>
                <a:gd name="T23" fmla="*/ 34 h 120"/>
                <a:gd name="T24" fmla="*/ 86 w 122"/>
                <a:gd name="T25" fmla="*/ 43 h 120"/>
                <a:gd name="T26" fmla="*/ 91 w 122"/>
                <a:gd name="T27" fmla="*/ 53 h 120"/>
                <a:gd name="T28" fmla="*/ 91 w 122"/>
                <a:gd name="T29" fmla="*/ 65 h 120"/>
                <a:gd name="T30" fmla="*/ 86 w 122"/>
                <a:gd name="T31" fmla="*/ 76 h 120"/>
                <a:gd name="T32" fmla="*/ 82 w 122"/>
                <a:gd name="T33" fmla="*/ 80 h 120"/>
                <a:gd name="T34" fmla="*/ 99 w 122"/>
                <a:gd name="T35" fmla="*/ 12 h 120"/>
                <a:gd name="T36" fmla="*/ 90 w 122"/>
                <a:gd name="T37" fmla="*/ 6 h 120"/>
                <a:gd name="T38" fmla="*/ 79 w 122"/>
                <a:gd name="T39" fmla="*/ 2 h 120"/>
                <a:gd name="T40" fmla="*/ 67 w 122"/>
                <a:gd name="T41" fmla="*/ 0 h 120"/>
                <a:gd name="T42" fmla="*/ 55 w 122"/>
                <a:gd name="T43" fmla="*/ 0 h 120"/>
                <a:gd name="T44" fmla="*/ 43 w 122"/>
                <a:gd name="T45" fmla="*/ 2 h 120"/>
                <a:gd name="T46" fmla="*/ 33 w 122"/>
                <a:gd name="T47" fmla="*/ 6 h 120"/>
                <a:gd name="T48" fmla="*/ 23 w 122"/>
                <a:gd name="T49" fmla="*/ 12 h 120"/>
                <a:gd name="T50" fmla="*/ 14 w 122"/>
                <a:gd name="T51" fmla="*/ 21 h 120"/>
                <a:gd name="T52" fmla="*/ 8 w 122"/>
                <a:gd name="T53" fmla="*/ 31 h 120"/>
                <a:gd name="T54" fmla="*/ 4 w 122"/>
                <a:gd name="T55" fmla="*/ 43 h 120"/>
                <a:gd name="T56" fmla="*/ 1 w 122"/>
                <a:gd name="T57" fmla="*/ 53 h 120"/>
                <a:gd name="T58" fmla="*/ 1 w 122"/>
                <a:gd name="T59" fmla="*/ 65 h 120"/>
                <a:gd name="T60" fmla="*/ 4 w 122"/>
                <a:gd name="T61" fmla="*/ 77 h 120"/>
                <a:gd name="T62" fmla="*/ 8 w 122"/>
                <a:gd name="T63" fmla="*/ 88 h 120"/>
                <a:gd name="T64" fmla="*/ 14 w 122"/>
                <a:gd name="T65" fmla="*/ 97 h 120"/>
                <a:gd name="T66" fmla="*/ 23 w 122"/>
                <a:gd name="T67" fmla="*/ 106 h 120"/>
                <a:gd name="T68" fmla="*/ 33 w 122"/>
                <a:gd name="T69" fmla="*/ 112 h 120"/>
                <a:gd name="T70" fmla="*/ 43 w 122"/>
                <a:gd name="T71" fmla="*/ 117 h 120"/>
                <a:gd name="T72" fmla="*/ 55 w 122"/>
                <a:gd name="T73" fmla="*/ 119 h 120"/>
                <a:gd name="T74" fmla="*/ 67 w 122"/>
                <a:gd name="T75" fmla="*/ 119 h 120"/>
                <a:gd name="T76" fmla="*/ 79 w 122"/>
                <a:gd name="T77" fmla="*/ 117 h 120"/>
                <a:gd name="T78" fmla="*/ 90 w 122"/>
                <a:gd name="T79" fmla="*/ 112 h 120"/>
                <a:gd name="T80" fmla="*/ 99 w 122"/>
                <a:gd name="T81" fmla="*/ 106 h 120"/>
                <a:gd name="T82" fmla="*/ 108 w 122"/>
                <a:gd name="T83" fmla="*/ 97 h 120"/>
                <a:gd name="T84" fmla="*/ 114 w 122"/>
                <a:gd name="T85" fmla="*/ 88 h 120"/>
                <a:gd name="T86" fmla="*/ 119 w 122"/>
                <a:gd name="T87" fmla="*/ 77 h 120"/>
                <a:gd name="T88" fmla="*/ 121 w 122"/>
                <a:gd name="T89" fmla="*/ 65 h 120"/>
                <a:gd name="T90" fmla="*/ 121 w 122"/>
                <a:gd name="T91" fmla="*/ 53 h 120"/>
                <a:gd name="T92" fmla="*/ 119 w 122"/>
                <a:gd name="T93" fmla="*/ 43 h 120"/>
                <a:gd name="T94" fmla="*/ 114 w 122"/>
                <a:gd name="T95" fmla="*/ 31 h 120"/>
                <a:gd name="T96" fmla="*/ 108 w 122"/>
                <a:gd name="T97" fmla="*/ 2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0">
                  <a:moveTo>
                    <a:pt x="82" y="80"/>
                  </a:moveTo>
                  <a:lnTo>
                    <a:pt x="78" y="84"/>
                  </a:lnTo>
                  <a:lnTo>
                    <a:pt x="72" y="87"/>
                  </a:lnTo>
                  <a:lnTo>
                    <a:pt x="67" y="89"/>
                  </a:lnTo>
                  <a:lnTo>
                    <a:pt x="61" y="89"/>
                  </a:lnTo>
                  <a:lnTo>
                    <a:pt x="55" y="89"/>
                  </a:lnTo>
                  <a:lnTo>
                    <a:pt x="50" y="87"/>
                  </a:lnTo>
                  <a:lnTo>
                    <a:pt x="45" y="84"/>
                  </a:lnTo>
                  <a:lnTo>
                    <a:pt x="40" y="80"/>
                  </a:lnTo>
                  <a:lnTo>
                    <a:pt x="36" y="76"/>
                  </a:lnTo>
                  <a:lnTo>
                    <a:pt x="34" y="70"/>
                  </a:lnTo>
                  <a:lnTo>
                    <a:pt x="32" y="65"/>
                  </a:lnTo>
                  <a:lnTo>
                    <a:pt x="31" y="59"/>
                  </a:lnTo>
                  <a:lnTo>
                    <a:pt x="32" y="53"/>
                  </a:lnTo>
                  <a:lnTo>
                    <a:pt x="34" y="48"/>
                  </a:lnTo>
                  <a:lnTo>
                    <a:pt x="36" y="43"/>
                  </a:lnTo>
                  <a:lnTo>
                    <a:pt x="40" y="38"/>
                  </a:lnTo>
                  <a:lnTo>
                    <a:pt x="45" y="34"/>
                  </a:lnTo>
                  <a:lnTo>
                    <a:pt x="50" y="32"/>
                  </a:lnTo>
                  <a:lnTo>
                    <a:pt x="55" y="30"/>
                  </a:lnTo>
                  <a:lnTo>
                    <a:pt x="61" y="30"/>
                  </a:lnTo>
                  <a:lnTo>
                    <a:pt x="67" y="30"/>
                  </a:lnTo>
                  <a:lnTo>
                    <a:pt x="72" y="32"/>
                  </a:lnTo>
                  <a:lnTo>
                    <a:pt x="78" y="34"/>
                  </a:lnTo>
                  <a:lnTo>
                    <a:pt x="82" y="38"/>
                  </a:lnTo>
                  <a:lnTo>
                    <a:pt x="86" y="43"/>
                  </a:lnTo>
                  <a:lnTo>
                    <a:pt x="90" y="48"/>
                  </a:lnTo>
                  <a:lnTo>
                    <a:pt x="91" y="53"/>
                  </a:lnTo>
                  <a:lnTo>
                    <a:pt x="92" y="60"/>
                  </a:lnTo>
                  <a:lnTo>
                    <a:pt x="91" y="65"/>
                  </a:lnTo>
                  <a:lnTo>
                    <a:pt x="90" y="70"/>
                  </a:lnTo>
                  <a:lnTo>
                    <a:pt x="86" y="76"/>
                  </a:lnTo>
                  <a:lnTo>
                    <a:pt x="82" y="80"/>
                  </a:lnTo>
                  <a:lnTo>
                    <a:pt x="82" y="80"/>
                  </a:lnTo>
                  <a:close/>
                  <a:moveTo>
                    <a:pt x="104" y="17"/>
                  </a:moveTo>
                  <a:lnTo>
                    <a:pt x="99" y="12"/>
                  </a:lnTo>
                  <a:lnTo>
                    <a:pt x="95" y="9"/>
                  </a:lnTo>
                  <a:lnTo>
                    <a:pt x="90" y="6"/>
                  </a:lnTo>
                  <a:lnTo>
                    <a:pt x="84" y="4"/>
                  </a:lnTo>
                  <a:lnTo>
                    <a:pt x="79" y="2"/>
                  </a:lnTo>
                  <a:lnTo>
                    <a:pt x="72" y="1"/>
                  </a:lnTo>
                  <a:lnTo>
                    <a:pt x="67" y="0"/>
                  </a:lnTo>
                  <a:lnTo>
                    <a:pt x="61" y="0"/>
                  </a:lnTo>
                  <a:lnTo>
                    <a:pt x="55" y="0"/>
                  </a:lnTo>
                  <a:lnTo>
                    <a:pt x="50" y="1"/>
                  </a:lnTo>
                  <a:lnTo>
                    <a:pt x="43" y="2"/>
                  </a:lnTo>
                  <a:lnTo>
                    <a:pt x="38" y="4"/>
                  </a:lnTo>
                  <a:lnTo>
                    <a:pt x="33" y="6"/>
                  </a:lnTo>
                  <a:lnTo>
                    <a:pt x="27" y="9"/>
                  </a:lnTo>
                  <a:lnTo>
                    <a:pt x="23" y="12"/>
                  </a:lnTo>
                  <a:lnTo>
                    <a:pt x="19" y="17"/>
                  </a:lnTo>
                  <a:lnTo>
                    <a:pt x="14" y="21"/>
                  </a:lnTo>
                  <a:lnTo>
                    <a:pt x="11" y="26"/>
                  </a:lnTo>
                  <a:lnTo>
                    <a:pt x="8" y="31"/>
                  </a:lnTo>
                  <a:lnTo>
                    <a:pt x="5" y="36"/>
                  </a:lnTo>
                  <a:lnTo>
                    <a:pt x="4" y="43"/>
                  </a:lnTo>
                  <a:lnTo>
                    <a:pt x="1" y="48"/>
                  </a:lnTo>
                  <a:lnTo>
                    <a:pt x="1" y="53"/>
                  </a:lnTo>
                  <a:lnTo>
                    <a:pt x="0" y="60"/>
                  </a:lnTo>
                  <a:lnTo>
                    <a:pt x="1" y="65"/>
                  </a:lnTo>
                  <a:lnTo>
                    <a:pt x="1" y="70"/>
                  </a:lnTo>
                  <a:lnTo>
                    <a:pt x="4" y="77"/>
                  </a:lnTo>
                  <a:lnTo>
                    <a:pt x="5" y="82"/>
                  </a:lnTo>
                  <a:lnTo>
                    <a:pt x="8" y="88"/>
                  </a:lnTo>
                  <a:lnTo>
                    <a:pt x="11" y="92"/>
                  </a:lnTo>
                  <a:lnTo>
                    <a:pt x="14" y="97"/>
                  </a:lnTo>
                  <a:lnTo>
                    <a:pt x="19" y="102"/>
                  </a:lnTo>
                  <a:lnTo>
                    <a:pt x="23" y="106"/>
                  </a:lnTo>
                  <a:lnTo>
                    <a:pt x="27" y="109"/>
                  </a:lnTo>
                  <a:lnTo>
                    <a:pt x="33" y="112"/>
                  </a:lnTo>
                  <a:lnTo>
                    <a:pt x="38" y="115"/>
                  </a:lnTo>
                  <a:lnTo>
                    <a:pt x="43" y="117"/>
                  </a:lnTo>
                  <a:lnTo>
                    <a:pt x="49" y="119"/>
                  </a:lnTo>
                  <a:lnTo>
                    <a:pt x="55" y="119"/>
                  </a:lnTo>
                  <a:lnTo>
                    <a:pt x="61" y="120"/>
                  </a:lnTo>
                  <a:lnTo>
                    <a:pt x="67" y="119"/>
                  </a:lnTo>
                  <a:lnTo>
                    <a:pt x="72" y="119"/>
                  </a:lnTo>
                  <a:lnTo>
                    <a:pt x="79" y="117"/>
                  </a:lnTo>
                  <a:lnTo>
                    <a:pt x="84" y="115"/>
                  </a:lnTo>
                  <a:lnTo>
                    <a:pt x="90" y="112"/>
                  </a:lnTo>
                  <a:lnTo>
                    <a:pt x="95" y="109"/>
                  </a:lnTo>
                  <a:lnTo>
                    <a:pt x="99" y="106"/>
                  </a:lnTo>
                  <a:lnTo>
                    <a:pt x="104" y="102"/>
                  </a:lnTo>
                  <a:lnTo>
                    <a:pt x="108" y="97"/>
                  </a:lnTo>
                  <a:lnTo>
                    <a:pt x="111" y="92"/>
                  </a:lnTo>
                  <a:lnTo>
                    <a:pt x="114" y="88"/>
                  </a:lnTo>
                  <a:lnTo>
                    <a:pt x="117" y="82"/>
                  </a:lnTo>
                  <a:lnTo>
                    <a:pt x="119" y="77"/>
                  </a:lnTo>
                  <a:lnTo>
                    <a:pt x="121" y="70"/>
                  </a:lnTo>
                  <a:lnTo>
                    <a:pt x="121" y="65"/>
                  </a:lnTo>
                  <a:lnTo>
                    <a:pt x="122" y="60"/>
                  </a:lnTo>
                  <a:lnTo>
                    <a:pt x="121" y="53"/>
                  </a:lnTo>
                  <a:lnTo>
                    <a:pt x="121" y="48"/>
                  </a:lnTo>
                  <a:lnTo>
                    <a:pt x="119" y="43"/>
                  </a:lnTo>
                  <a:lnTo>
                    <a:pt x="117" y="36"/>
                  </a:lnTo>
                  <a:lnTo>
                    <a:pt x="114" y="31"/>
                  </a:lnTo>
                  <a:lnTo>
                    <a:pt x="111" y="26"/>
                  </a:lnTo>
                  <a:lnTo>
                    <a:pt x="108" y="21"/>
                  </a:lnTo>
                  <a:lnTo>
                    <a:pt x="10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6" name="Freeform 48">
              <a:extLst>
                <a:ext uri="{FF2B5EF4-FFF2-40B4-BE49-F238E27FC236}">
                  <a16:creationId xmlns:a16="http://schemas.microsoft.com/office/drawing/2014/main" id="{FB3EDBFA-8240-4C62-B647-7B82D2A4C2C7}"/>
                </a:ext>
              </a:extLst>
            </p:cNvPr>
            <p:cNvSpPr>
              <a:spLocks noEditPoints="1"/>
            </p:cNvSpPr>
            <p:nvPr/>
          </p:nvSpPr>
          <p:spPr bwMode="auto">
            <a:xfrm>
              <a:off x="5073650" y="966788"/>
              <a:ext cx="57150" cy="57150"/>
            </a:xfrm>
            <a:custGeom>
              <a:avLst/>
              <a:gdLst>
                <a:gd name="T0" fmla="*/ 124 w 181"/>
                <a:gd name="T1" fmla="*/ 140 h 181"/>
                <a:gd name="T2" fmla="*/ 108 w 181"/>
                <a:gd name="T3" fmla="*/ 148 h 181"/>
                <a:gd name="T4" fmla="*/ 90 w 181"/>
                <a:gd name="T5" fmla="*/ 151 h 181"/>
                <a:gd name="T6" fmla="*/ 73 w 181"/>
                <a:gd name="T7" fmla="*/ 148 h 181"/>
                <a:gd name="T8" fmla="*/ 57 w 181"/>
                <a:gd name="T9" fmla="*/ 140 h 181"/>
                <a:gd name="T10" fmla="*/ 44 w 181"/>
                <a:gd name="T11" fmla="*/ 129 h 181"/>
                <a:gd name="T12" fmla="*/ 34 w 181"/>
                <a:gd name="T13" fmla="*/ 113 h 181"/>
                <a:gd name="T14" fmla="*/ 30 w 181"/>
                <a:gd name="T15" fmla="*/ 96 h 181"/>
                <a:gd name="T16" fmla="*/ 31 w 181"/>
                <a:gd name="T17" fmla="*/ 79 h 181"/>
                <a:gd name="T18" fmla="*/ 37 w 181"/>
                <a:gd name="T19" fmla="*/ 62 h 181"/>
                <a:gd name="T20" fmla="*/ 47 w 181"/>
                <a:gd name="T21" fmla="*/ 48 h 181"/>
                <a:gd name="T22" fmla="*/ 62 w 181"/>
                <a:gd name="T23" fmla="*/ 37 h 181"/>
                <a:gd name="T24" fmla="*/ 78 w 181"/>
                <a:gd name="T25" fmla="*/ 32 h 181"/>
                <a:gd name="T26" fmla="*/ 97 w 181"/>
                <a:gd name="T27" fmla="*/ 31 h 181"/>
                <a:gd name="T28" fmla="*/ 113 w 181"/>
                <a:gd name="T29" fmla="*/ 35 h 181"/>
                <a:gd name="T30" fmla="*/ 129 w 181"/>
                <a:gd name="T31" fmla="*/ 44 h 181"/>
                <a:gd name="T32" fmla="*/ 141 w 181"/>
                <a:gd name="T33" fmla="*/ 56 h 181"/>
                <a:gd name="T34" fmla="*/ 148 w 181"/>
                <a:gd name="T35" fmla="*/ 73 h 181"/>
                <a:gd name="T36" fmla="*/ 151 w 181"/>
                <a:gd name="T37" fmla="*/ 91 h 181"/>
                <a:gd name="T38" fmla="*/ 148 w 181"/>
                <a:gd name="T39" fmla="*/ 108 h 181"/>
                <a:gd name="T40" fmla="*/ 141 w 181"/>
                <a:gd name="T41" fmla="*/ 124 h 181"/>
                <a:gd name="T42" fmla="*/ 90 w 181"/>
                <a:gd name="T43" fmla="*/ 0 h 181"/>
                <a:gd name="T44" fmla="*/ 63 w 181"/>
                <a:gd name="T45" fmla="*/ 4 h 181"/>
                <a:gd name="T46" fmla="*/ 40 w 181"/>
                <a:gd name="T47" fmla="*/ 16 h 181"/>
                <a:gd name="T48" fmla="*/ 20 w 181"/>
                <a:gd name="T49" fmla="*/ 33 h 181"/>
                <a:gd name="T50" fmla="*/ 6 w 181"/>
                <a:gd name="T51" fmla="*/ 55 h 181"/>
                <a:gd name="T52" fmla="*/ 0 w 181"/>
                <a:gd name="T53" fmla="*/ 81 h 181"/>
                <a:gd name="T54" fmla="*/ 1 w 181"/>
                <a:gd name="T55" fmla="*/ 108 h 181"/>
                <a:gd name="T56" fmla="*/ 11 w 181"/>
                <a:gd name="T57" fmla="*/ 133 h 181"/>
                <a:gd name="T58" fmla="*/ 27 w 181"/>
                <a:gd name="T59" fmla="*/ 154 h 181"/>
                <a:gd name="T60" fmla="*/ 47 w 181"/>
                <a:gd name="T61" fmla="*/ 170 h 181"/>
                <a:gd name="T62" fmla="*/ 72 w 181"/>
                <a:gd name="T63" fmla="*/ 179 h 181"/>
                <a:gd name="T64" fmla="*/ 99 w 181"/>
                <a:gd name="T65" fmla="*/ 180 h 181"/>
                <a:gd name="T66" fmla="*/ 125 w 181"/>
                <a:gd name="T67" fmla="*/ 174 h 181"/>
                <a:gd name="T68" fmla="*/ 147 w 181"/>
                <a:gd name="T69" fmla="*/ 161 h 181"/>
                <a:gd name="T70" fmla="*/ 166 w 181"/>
                <a:gd name="T71" fmla="*/ 140 h 181"/>
                <a:gd name="T72" fmla="*/ 176 w 181"/>
                <a:gd name="T73" fmla="*/ 117 h 181"/>
                <a:gd name="T74" fmla="*/ 181 w 181"/>
                <a:gd name="T75" fmla="*/ 91 h 181"/>
                <a:gd name="T76" fmla="*/ 176 w 181"/>
                <a:gd name="T77" fmla="*/ 64 h 181"/>
                <a:gd name="T78" fmla="*/ 166 w 181"/>
                <a:gd name="T79" fmla="*/ 40 h 181"/>
                <a:gd name="T80" fmla="*/ 147 w 181"/>
                <a:gd name="T81" fmla="*/ 20 h 181"/>
                <a:gd name="T82" fmla="*/ 125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133" y="133"/>
                  </a:moveTo>
                  <a:lnTo>
                    <a:pt x="129" y="137"/>
                  </a:lnTo>
                  <a:lnTo>
                    <a:pt x="124" y="140"/>
                  </a:lnTo>
                  <a:lnTo>
                    <a:pt x="118" y="144"/>
                  </a:lnTo>
                  <a:lnTo>
                    <a:pt x="113" y="146"/>
                  </a:lnTo>
                  <a:lnTo>
                    <a:pt x="108" y="148"/>
                  </a:lnTo>
                  <a:lnTo>
                    <a:pt x="102" y="150"/>
                  </a:lnTo>
                  <a:lnTo>
                    <a:pt x="97" y="150"/>
                  </a:lnTo>
                  <a:lnTo>
                    <a:pt x="90" y="151"/>
                  </a:lnTo>
                  <a:lnTo>
                    <a:pt x="84" y="150"/>
                  </a:lnTo>
                  <a:lnTo>
                    <a:pt x="78" y="150"/>
                  </a:lnTo>
                  <a:lnTo>
                    <a:pt x="73" y="148"/>
                  </a:lnTo>
                  <a:lnTo>
                    <a:pt x="67" y="146"/>
                  </a:lnTo>
                  <a:lnTo>
                    <a:pt x="62" y="144"/>
                  </a:lnTo>
                  <a:lnTo>
                    <a:pt x="57" y="140"/>
                  </a:lnTo>
                  <a:lnTo>
                    <a:pt x="52" y="137"/>
                  </a:lnTo>
                  <a:lnTo>
                    <a:pt x="47" y="133"/>
                  </a:lnTo>
                  <a:lnTo>
                    <a:pt x="44" y="129"/>
                  </a:lnTo>
                  <a:lnTo>
                    <a:pt x="40" y="124"/>
                  </a:lnTo>
                  <a:lnTo>
                    <a:pt x="37" y="119"/>
                  </a:lnTo>
                  <a:lnTo>
                    <a:pt x="34" y="113"/>
                  </a:lnTo>
                  <a:lnTo>
                    <a:pt x="32" y="108"/>
                  </a:lnTo>
                  <a:lnTo>
                    <a:pt x="31" y="103"/>
                  </a:lnTo>
                  <a:lnTo>
                    <a:pt x="30" y="96"/>
                  </a:lnTo>
                  <a:lnTo>
                    <a:pt x="30" y="91"/>
                  </a:lnTo>
                  <a:lnTo>
                    <a:pt x="30" y="84"/>
                  </a:lnTo>
                  <a:lnTo>
                    <a:pt x="31" y="79"/>
                  </a:lnTo>
                  <a:lnTo>
                    <a:pt x="32" y="73"/>
                  </a:lnTo>
                  <a:lnTo>
                    <a:pt x="34" y="67"/>
                  </a:lnTo>
                  <a:lnTo>
                    <a:pt x="37" y="62"/>
                  </a:lnTo>
                  <a:lnTo>
                    <a:pt x="40" y="56"/>
                  </a:lnTo>
                  <a:lnTo>
                    <a:pt x="44" y="52"/>
                  </a:lnTo>
                  <a:lnTo>
                    <a:pt x="47" y="48"/>
                  </a:lnTo>
                  <a:lnTo>
                    <a:pt x="52" y="44"/>
                  </a:lnTo>
                  <a:lnTo>
                    <a:pt x="57" y="40"/>
                  </a:lnTo>
                  <a:lnTo>
                    <a:pt x="62" y="37"/>
                  </a:lnTo>
                  <a:lnTo>
                    <a:pt x="67" y="35"/>
                  </a:lnTo>
                  <a:lnTo>
                    <a:pt x="73" y="33"/>
                  </a:lnTo>
                  <a:lnTo>
                    <a:pt x="78" y="32"/>
                  </a:lnTo>
                  <a:lnTo>
                    <a:pt x="84" y="31"/>
                  </a:lnTo>
                  <a:lnTo>
                    <a:pt x="90" y="31"/>
                  </a:lnTo>
                  <a:lnTo>
                    <a:pt x="97" y="31"/>
                  </a:lnTo>
                  <a:lnTo>
                    <a:pt x="102" y="32"/>
                  </a:lnTo>
                  <a:lnTo>
                    <a:pt x="108" y="33"/>
                  </a:lnTo>
                  <a:lnTo>
                    <a:pt x="113" y="35"/>
                  </a:lnTo>
                  <a:lnTo>
                    <a:pt x="118" y="37"/>
                  </a:lnTo>
                  <a:lnTo>
                    <a:pt x="124" y="40"/>
                  </a:lnTo>
                  <a:lnTo>
                    <a:pt x="129" y="44"/>
                  </a:lnTo>
                  <a:lnTo>
                    <a:pt x="133" y="48"/>
                  </a:lnTo>
                  <a:lnTo>
                    <a:pt x="137" y="52"/>
                  </a:lnTo>
                  <a:lnTo>
                    <a:pt x="141" y="56"/>
                  </a:lnTo>
                  <a:lnTo>
                    <a:pt x="143" y="62"/>
                  </a:lnTo>
                  <a:lnTo>
                    <a:pt x="146" y="67"/>
                  </a:lnTo>
                  <a:lnTo>
                    <a:pt x="148" y="73"/>
                  </a:lnTo>
                  <a:lnTo>
                    <a:pt x="149" y="79"/>
                  </a:lnTo>
                  <a:lnTo>
                    <a:pt x="151" y="84"/>
                  </a:lnTo>
                  <a:lnTo>
                    <a:pt x="151" y="91"/>
                  </a:lnTo>
                  <a:lnTo>
                    <a:pt x="151" y="96"/>
                  </a:lnTo>
                  <a:lnTo>
                    <a:pt x="149" y="103"/>
                  </a:lnTo>
                  <a:lnTo>
                    <a:pt x="148" y="108"/>
                  </a:lnTo>
                  <a:lnTo>
                    <a:pt x="146" y="113"/>
                  </a:lnTo>
                  <a:lnTo>
                    <a:pt x="143" y="119"/>
                  </a:lnTo>
                  <a:lnTo>
                    <a:pt x="141" y="124"/>
                  </a:lnTo>
                  <a:lnTo>
                    <a:pt x="137" y="129"/>
                  </a:lnTo>
                  <a:lnTo>
                    <a:pt x="133" y="133"/>
                  </a:lnTo>
                  <a:close/>
                  <a:moveTo>
                    <a:pt x="90" y="0"/>
                  </a:moveTo>
                  <a:lnTo>
                    <a:pt x="82" y="1"/>
                  </a:lnTo>
                  <a:lnTo>
                    <a:pt x="72" y="2"/>
                  </a:lnTo>
                  <a:lnTo>
                    <a:pt x="63" y="4"/>
                  </a:lnTo>
                  <a:lnTo>
                    <a:pt x="56" y="7"/>
                  </a:lnTo>
                  <a:lnTo>
                    <a:pt x="47" y="10"/>
                  </a:lnTo>
                  <a:lnTo>
                    <a:pt x="40" y="16"/>
                  </a:lnTo>
                  <a:lnTo>
                    <a:pt x="33" y="20"/>
                  </a:lnTo>
                  <a:lnTo>
                    <a:pt x="27" y="26"/>
                  </a:lnTo>
                  <a:lnTo>
                    <a:pt x="20" y="33"/>
                  </a:lnTo>
                  <a:lnTo>
                    <a:pt x="15" y="40"/>
                  </a:lnTo>
                  <a:lnTo>
                    <a:pt x="11" y="48"/>
                  </a:lnTo>
                  <a:lnTo>
                    <a:pt x="6" y="55"/>
                  </a:lnTo>
                  <a:lnTo>
                    <a:pt x="3" y="64"/>
                  </a:lnTo>
                  <a:lnTo>
                    <a:pt x="1" y="73"/>
                  </a:lnTo>
                  <a:lnTo>
                    <a:pt x="0" y="81"/>
                  </a:lnTo>
                  <a:lnTo>
                    <a:pt x="0" y="91"/>
                  </a:lnTo>
                  <a:lnTo>
                    <a:pt x="0" y="100"/>
                  </a:lnTo>
                  <a:lnTo>
                    <a:pt x="1" y="108"/>
                  </a:lnTo>
                  <a:lnTo>
                    <a:pt x="3" y="117"/>
                  </a:lnTo>
                  <a:lnTo>
                    <a:pt x="6" y="125"/>
                  </a:lnTo>
                  <a:lnTo>
                    <a:pt x="11" y="133"/>
                  </a:lnTo>
                  <a:lnTo>
                    <a:pt x="15" y="140"/>
                  </a:lnTo>
                  <a:lnTo>
                    <a:pt x="20" y="148"/>
                  </a:lnTo>
                  <a:lnTo>
                    <a:pt x="27" y="154"/>
                  </a:lnTo>
                  <a:lnTo>
                    <a:pt x="33" y="161"/>
                  </a:lnTo>
                  <a:lnTo>
                    <a:pt x="40" y="166"/>
                  </a:lnTo>
                  <a:lnTo>
                    <a:pt x="47" y="170"/>
                  </a:lnTo>
                  <a:lnTo>
                    <a:pt x="56" y="174"/>
                  </a:lnTo>
                  <a:lnTo>
                    <a:pt x="63" y="177"/>
                  </a:lnTo>
                  <a:lnTo>
                    <a:pt x="72" y="179"/>
                  </a:lnTo>
                  <a:lnTo>
                    <a:pt x="82" y="180"/>
                  </a:lnTo>
                  <a:lnTo>
                    <a:pt x="90" y="181"/>
                  </a:lnTo>
                  <a:lnTo>
                    <a:pt x="99" y="180"/>
                  </a:lnTo>
                  <a:lnTo>
                    <a:pt x="109" y="179"/>
                  </a:lnTo>
                  <a:lnTo>
                    <a:pt x="116" y="177"/>
                  </a:lnTo>
                  <a:lnTo>
                    <a:pt x="125" y="174"/>
                  </a:lnTo>
                  <a:lnTo>
                    <a:pt x="133" y="170"/>
                  </a:lnTo>
                  <a:lnTo>
                    <a:pt x="141" y="166"/>
                  </a:lnTo>
                  <a:lnTo>
                    <a:pt x="147" y="161"/>
                  </a:lnTo>
                  <a:lnTo>
                    <a:pt x="154" y="154"/>
                  </a:lnTo>
                  <a:lnTo>
                    <a:pt x="160" y="148"/>
                  </a:lnTo>
                  <a:lnTo>
                    <a:pt x="166" y="140"/>
                  </a:lnTo>
                  <a:lnTo>
                    <a:pt x="170" y="133"/>
                  </a:lnTo>
                  <a:lnTo>
                    <a:pt x="174" y="125"/>
                  </a:lnTo>
                  <a:lnTo>
                    <a:pt x="176" y="117"/>
                  </a:lnTo>
                  <a:lnTo>
                    <a:pt x="179" y="108"/>
                  </a:lnTo>
                  <a:lnTo>
                    <a:pt x="181" y="100"/>
                  </a:lnTo>
                  <a:lnTo>
                    <a:pt x="181" y="91"/>
                  </a:lnTo>
                  <a:lnTo>
                    <a:pt x="181" y="81"/>
                  </a:lnTo>
                  <a:lnTo>
                    <a:pt x="179" y="73"/>
                  </a:lnTo>
                  <a:lnTo>
                    <a:pt x="176" y="64"/>
                  </a:lnTo>
                  <a:lnTo>
                    <a:pt x="174" y="55"/>
                  </a:lnTo>
                  <a:lnTo>
                    <a:pt x="170" y="48"/>
                  </a:lnTo>
                  <a:lnTo>
                    <a:pt x="166" y="40"/>
                  </a:lnTo>
                  <a:lnTo>
                    <a:pt x="160" y="33"/>
                  </a:lnTo>
                  <a:lnTo>
                    <a:pt x="154" y="26"/>
                  </a:lnTo>
                  <a:lnTo>
                    <a:pt x="147" y="20"/>
                  </a:lnTo>
                  <a:lnTo>
                    <a:pt x="141" y="16"/>
                  </a:lnTo>
                  <a:lnTo>
                    <a:pt x="133" y="10"/>
                  </a:lnTo>
                  <a:lnTo>
                    <a:pt x="125" y="7"/>
                  </a:lnTo>
                  <a:lnTo>
                    <a:pt x="116" y="4"/>
                  </a:lnTo>
                  <a:lnTo>
                    <a:pt x="109" y="2"/>
                  </a:lnTo>
                  <a:lnTo>
                    <a:pt x="99" y="1"/>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7" name="Freeform 49">
              <a:extLst>
                <a:ext uri="{FF2B5EF4-FFF2-40B4-BE49-F238E27FC236}">
                  <a16:creationId xmlns:a16="http://schemas.microsoft.com/office/drawing/2014/main" id="{15EC6D21-5F58-455E-BA02-97F8C0994BFE}"/>
                </a:ext>
              </a:extLst>
            </p:cNvPr>
            <p:cNvSpPr>
              <a:spLocks noEditPoints="1"/>
            </p:cNvSpPr>
            <p:nvPr/>
          </p:nvSpPr>
          <p:spPr bwMode="auto">
            <a:xfrm>
              <a:off x="5002213" y="838200"/>
              <a:ext cx="49213" cy="49213"/>
            </a:xfrm>
            <a:custGeom>
              <a:avLst/>
              <a:gdLst>
                <a:gd name="T0" fmla="*/ 100 w 151"/>
                <a:gd name="T1" fmla="*/ 113 h 151"/>
                <a:gd name="T2" fmla="*/ 84 w 151"/>
                <a:gd name="T3" fmla="*/ 120 h 151"/>
                <a:gd name="T4" fmla="*/ 67 w 151"/>
                <a:gd name="T5" fmla="*/ 120 h 151"/>
                <a:gd name="T6" fmla="*/ 51 w 151"/>
                <a:gd name="T7" fmla="*/ 113 h 151"/>
                <a:gd name="T8" fmla="*/ 38 w 151"/>
                <a:gd name="T9" fmla="*/ 100 h 151"/>
                <a:gd name="T10" fmla="*/ 32 w 151"/>
                <a:gd name="T11" fmla="*/ 84 h 151"/>
                <a:gd name="T12" fmla="*/ 32 w 151"/>
                <a:gd name="T13" fmla="*/ 67 h 151"/>
                <a:gd name="T14" fmla="*/ 38 w 151"/>
                <a:gd name="T15" fmla="*/ 51 h 151"/>
                <a:gd name="T16" fmla="*/ 51 w 151"/>
                <a:gd name="T17" fmla="*/ 38 h 151"/>
                <a:gd name="T18" fmla="*/ 67 w 151"/>
                <a:gd name="T19" fmla="*/ 32 h 151"/>
                <a:gd name="T20" fmla="*/ 84 w 151"/>
                <a:gd name="T21" fmla="*/ 32 h 151"/>
                <a:gd name="T22" fmla="*/ 100 w 151"/>
                <a:gd name="T23" fmla="*/ 38 h 151"/>
                <a:gd name="T24" fmla="*/ 113 w 151"/>
                <a:gd name="T25" fmla="*/ 51 h 151"/>
                <a:gd name="T26" fmla="*/ 120 w 151"/>
                <a:gd name="T27" fmla="*/ 67 h 151"/>
                <a:gd name="T28" fmla="*/ 120 w 151"/>
                <a:gd name="T29" fmla="*/ 84 h 151"/>
                <a:gd name="T30" fmla="*/ 113 w 151"/>
                <a:gd name="T31" fmla="*/ 100 h 151"/>
                <a:gd name="T32" fmla="*/ 76 w 151"/>
                <a:gd name="T33" fmla="*/ 0 h 151"/>
                <a:gd name="T34" fmla="*/ 61 w 151"/>
                <a:gd name="T35" fmla="*/ 1 h 151"/>
                <a:gd name="T36" fmla="*/ 47 w 151"/>
                <a:gd name="T37" fmla="*/ 6 h 151"/>
                <a:gd name="T38" fmla="*/ 34 w 151"/>
                <a:gd name="T39" fmla="*/ 13 h 151"/>
                <a:gd name="T40" fmla="*/ 22 w 151"/>
                <a:gd name="T41" fmla="*/ 22 h 151"/>
                <a:gd name="T42" fmla="*/ 13 w 151"/>
                <a:gd name="T43" fmla="*/ 34 h 151"/>
                <a:gd name="T44" fmla="*/ 6 w 151"/>
                <a:gd name="T45" fmla="*/ 47 h 151"/>
                <a:gd name="T46" fmla="*/ 1 w 151"/>
                <a:gd name="T47" fmla="*/ 61 h 151"/>
                <a:gd name="T48" fmla="*/ 0 w 151"/>
                <a:gd name="T49" fmla="*/ 76 h 151"/>
                <a:gd name="T50" fmla="*/ 1 w 151"/>
                <a:gd name="T51" fmla="*/ 91 h 151"/>
                <a:gd name="T52" fmla="*/ 6 w 151"/>
                <a:gd name="T53" fmla="*/ 105 h 151"/>
                <a:gd name="T54" fmla="*/ 13 w 151"/>
                <a:gd name="T55" fmla="*/ 118 h 151"/>
                <a:gd name="T56" fmla="*/ 22 w 151"/>
                <a:gd name="T57" fmla="*/ 129 h 151"/>
                <a:gd name="T58" fmla="*/ 34 w 151"/>
                <a:gd name="T59" fmla="*/ 138 h 151"/>
                <a:gd name="T60" fmla="*/ 47 w 151"/>
                <a:gd name="T61" fmla="*/ 146 h 151"/>
                <a:gd name="T62" fmla="*/ 61 w 151"/>
                <a:gd name="T63" fmla="*/ 150 h 151"/>
                <a:gd name="T64" fmla="*/ 76 w 151"/>
                <a:gd name="T65" fmla="*/ 151 h 151"/>
                <a:gd name="T66" fmla="*/ 91 w 151"/>
                <a:gd name="T67" fmla="*/ 150 h 151"/>
                <a:gd name="T68" fmla="*/ 105 w 151"/>
                <a:gd name="T69" fmla="*/ 146 h 151"/>
                <a:gd name="T70" fmla="*/ 118 w 151"/>
                <a:gd name="T71" fmla="*/ 138 h 151"/>
                <a:gd name="T72" fmla="*/ 128 w 151"/>
                <a:gd name="T73" fmla="*/ 129 h 151"/>
                <a:gd name="T74" fmla="*/ 138 w 151"/>
                <a:gd name="T75" fmla="*/ 118 h 151"/>
                <a:gd name="T76" fmla="*/ 146 w 151"/>
                <a:gd name="T77" fmla="*/ 105 h 151"/>
                <a:gd name="T78" fmla="*/ 150 w 151"/>
                <a:gd name="T79" fmla="*/ 91 h 151"/>
                <a:gd name="T80" fmla="*/ 151 w 151"/>
                <a:gd name="T81" fmla="*/ 76 h 151"/>
                <a:gd name="T82" fmla="*/ 150 w 151"/>
                <a:gd name="T83" fmla="*/ 61 h 151"/>
                <a:gd name="T84" fmla="*/ 146 w 151"/>
                <a:gd name="T85" fmla="*/ 47 h 151"/>
                <a:gd name="T86" fmla="*/ 138 w 151"/>
                <a:gd name="T87" fmla="*/ 34 h 151"/>
                <a:gd name="T88" fmla="*/ 128 w 151"/>
                <a:gd name="T89" fmla="*/ 23 h 151"/>
                <a:gd name="T90" fmla="*/ 118 w 151"/>
                <a:gd name="T91" fmla="*/ 13 h 151"/>
                <a:gd name="T92" fmla="*/ 105 w 151"/>
                <a:gd name="T93" fmla="*/ 6 h 151"/>
                <a:gd name="T94" fmla="*/ 91 w 151"/>
                <a:gd name="T95" fmla="*/ 1 h 151"/>
                <a:gd name="T96" fmla="*/ 76 w 151"/>
                <a:gd name="T9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108" y="108"/>
                  </a:moveTo>
                  <a:lnTo>
                    <a:pt x="100" y="113"/>
                  </a:lnTo>
                  <a:lnTo>
                    <a:pt x="93" y="118"/>
                  </a:lnTo>
                  <a:lnTo>
                    <a:pt x="84" y="120"/>
                  </a:lnTo>
                  <a:lnTo>
                    <a:pt x="76" y="121"/>
                  </a:lnTo>
                  <a:lnTo>
                    <a:pt x="67" y="120"/>
                  </a:lnTo>
                  <a:lnTo>
                    <a:pt x="58" y="118"/>
                  </a:lnTo>
                  <a:lnTo>
                    <a:pt x="51" y="113"/>
                  </a:lnTo>
                  <a:lnTo>
                    <a:pt x="43" y="108"/>
                  </a:lnTo>
                  <a:lnTo>
                    <a:pt x="38" y="100"/>
                  </a:lnTo>
                  <a:lnTo>
                    <a:pt x="34" y="93"/>
                  </a:lnTo>
                  <a:lnTo>
                    <a:pt x="32" y="84"/>
                  </a:lnTo>
                  <a:lnTo>
                    <a:pt x="30" y="76"/>
                  </a:lnTo>
                  <a:lnTo>
                    <a:pt x="32" y="67"/>
                  </a:lnTo>
                  <a:lnTo>
                    <a:pt x="34" y="58"/>
                  </a:lnTo>
                  <a:lnTo>
                    <a:pt x="38" y="51"/>
                  </a:lnTo>
                  <a:lnTo>
                    <a:pt x="43" y="43"/>
                  </a:lnTo>
                  <a:lnTo>
                    <a:pt x="51" y="38"/>
                  </a:lnTo>
                  <a:lnTo>
                    <a:pt x="58" y="34"/>
                  </a:lnTo>
                  <a:lnTo>
                    <a:pt x="67" y="32"/>
                  </a:lnTo>
                  <a:lnTo>
                    <a:pt x="76" y="31"/>
                  </a:lnTo>
                  <a:lnTo>
                    <a:pt x="84" y="32"/>
                  </a:lnTo>
                  <a:lnTo>
                    <a:pt x="93" y="34"/>
                  </a:lnTo>
                  <a:lnTo>
                    <a:pt x="100" y="38"/>
                  </a:lnTo>
                  <a:lnTo>
                    <a:pt x="108" y="43"/>
                  </a:lnTo>
                  <a:lnTo>
                    <a:pt x="113" y="51"/>
                  </a:lnTo>
                  <a:lnTo>
                    <a:pt x="118" y="58"/>
                  </a:lnTo>
                  <a:lnTo>
                    <a:pt x="120" y="67"/>
                  </a:lnTo>
                  <a:lnTo>
                    <a:pt x="121" y="76"/>
                  </a:lnTo>
                  <a:lnTo>
                    <a:pt x="120" y="84"/>
                  </a:lnTo>
                  <a:lnTo>
                    <a:pt x="118" y="93"/>
                  </a:lnTo>
                  <a:lnTo>
                    <a:pt x="113" y="100"/>
                  </a:lnTo>
                  <a:lnTo>
                    <a:pt x="108" y="108"/>
                  </a:lnTo>
                  <a:close/>
                  <a:moveTo>
                    <a:pt x="76" y="0"/>
                  </a:moveTo>
                  <a:lnTo>
                    <a:pt x="68" y="0"/>
                  </a:lnTo>
                  <a:lnTo>
                    <a:pt x="61" y="1"/>
                  </a:lnTo>
                  <a:lnTo>
                    <a:pt x="53" y="4"/>
                  </a:lnTo>
                  <a:lnTo>
                    <a:pt x="47" y="6"/>
                  </a:lnTo>
                  <a:lnTo>
                    <a:pt x="40" y="9"/>
                  </a:lnTo>
                  <a:lnTo>
                    <a:pt x="34" y="13"/>
                  </a:lnTo>
                  <a:lnTo>
                    <a:pt x="27" y="18"/>
                  </a:lnTo>
                  <a:lnTo>
                    <a:pt x="22" y="22"/>
                  </a:lnTo>
                  <a:lnTo>
                    <a:pt x="18" y="28"/>
                  </a:lnTo>
                  <a:lnTo>
                    <a:pt x="13" y="34"/>
                  </a:lnTo>
                  <a:lnTo>
                    <a:pt x="9" y="40"/>
                  </a:lnTo>
                  <a:lnTo>
                    <a:pt x="6" y="47"/>
                  </a:lnTo>
                  <a:lnTo>
                    <a:pt x="4" y="54"/>
                  </a:lnTo>
                  <a:lnTo>
                    <a:pt x="1" y="61"/>
                  </a:lnTo>
                  <a:lnTo>
                    <a:pt x="0" y="68"/>
                  </a:lnTo>
                  <a:lnTo>
                    <a:pt x="0" y="76"/>
                  </a:lnTo>
                  <a:lnTo>
                    <a:pt x="0" y="83"/>
                  </a:lnTo>
                  <a:lnTo>
                    <a:pt x="1" y="91"/>
                  </a:lnTo>
                  <a:lnTo>
                    <a:pt x="4" y="97"/>
                  </a:lnTo>
                  <a:lnTo>
                    <a:pt x="6" y="105"/>
                  </a:lnTo>
                  <a:lnTo>
                    <a:pt x="9" y="111"/>
                  </a:lnTo>
                  <a:lnTo>
                    <a:pt x="13" y="118"/>
                  </a:lnTo>
                  <a:lnTo>
                    <a:pt x="18" y="123"/>
                  </a:lnTo>
                  <a:lnTo>
                    <a:pt x="22" y="129"/>
                  </a:lnTo>
                  <a:lnTo>
                    <a:pt x="27" y="134"/>
                  </a:lnTo>
                  <a:lnTo>
                    <a:pt x="34" y="138"/>
                  </a:lnTo>
                  <a:lnTo>
                    <a:pt x="40" y="142"/>
                  </a:lnTo>
                  <a:lnTo>
                    <a:pt x="47" y="146"/>
                  </a:lnTo>
                  <a:lnTo>
                    <a:pt x="53" y="148"/>
                  </a:lnTo>
                  <a:lnTo>
                    <a:pt x="61" y="150"/>
                  </a:lnTo>
                  <a:lnTo>
                    <a:pt x="68" y="151"/>
                  </a:lnTo>
                  <a:lnTo>
                    <a:pt x="76" y="151"/>
                  </a:lnTo>
                  <a:lnTo>
                    <a:pt x="83" y="151"/>
                  </a:lnTo>
                  <a:lnTo>
                    <a:pt x="91" y="150"/>
                  </a:lnTo>
                  <a:lnTo>
                    <a:pt x="97" y="148"/>
                  </a:lnTo>
                  <a:lnTo>
                    <a:pt x="105" y="146"/>
                  </a:lnTo>
                  <a:lnTo>
                    <a:pt x="111" y="142"/>
                  </a:lnTo>
                  <a:lnTo>
                    <a:pt x="118" y="138"/>
                  </a:lnTo>
                  <a:lnTo>
                    <a:pt x="123" y="134"/>
                  </a:lnTo>
                  <a:lnTo>
                    <a:pt x="128" y="129"/>
                  </a:lnTo>
                  <a:lnTo>
                    <a:pt x="134" y="123"/>
                  </a:lnTo>
                  <a:lnTo>
                    <a:pt x="138" y="118"/>
                  </a:lnTo>
                  <a:lnTo>
                    <a:pt x="142" y="111"/>
                  </a:lnTo>
                  <a:lnTo>
                    <a:pt x="146" y="105"/>
                  </a:lnTo>
                  <a:lnTo>
                    <a:pt x="148" y="98"/>
                  </a:lnTo>
                  <a:lnTo>
                    <a:pt x="150" y="91"/>
                  </a:lnTo>
                  <a:lnTo>
                    <a:pt x="151" y="83"/>
                  </a:lnTo>
                  <a:lnTo>
                    <a:pt x="151" y="76"/>
                  </a:lnTo>
                  <a:lnTo>
                    <a:pt x="151" y="68"/>
                  </a:lnTo>
                  <a:lnTo>
                    <a:pt x="150" y="61"/>
                  </a:lnTo>
                  <a:lnTo>
                    <a:pt x="148" y="54"/>
                  </a:lnTo>
                  <a:lnTo>
                    <a:pt x="146" y="47"/>
                  </a:lnTo>
                  <a:lnTo>
                    <a:pt x="142" y="40"/>
                  </a:lnTo>
                  <a:lnTo>
                    <a:pt x="138" y="34"/>
                  </a:lnTo>
                  <a:lnTo>
                    <a:pt x="134" y="28"/>
                  </a:lnTo>
                  <a:lnTo>
                    <a:pt x="128" y="23"/>
                  </a:lnTo>
                  <a:lnTo>
                    <a:pt x="123" y="18"/>
                  </a:lnTo>
                  <a:lnTo>
                    <a:pt x="118" y="13"/>
                  </a:lnTo>
                  <a:lnTo>
                    <a:pt x="111" y="9"/>
                  </a:lnTo>
                  <a:lnTo>
                    <a:pt x="105" y="6"/>
                  </a:lnTo>
                  <a:lnTo>
                    <a:pt x="97" y="4"/>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98" name="Group 49">
            <a:extLst>
              <a:ext uri="{FF2B5EF4-FFF2-40B4-BE49-F238E27FC236}">
                <a16:creationId xmlns:a16="http://schemas.microsoft.com/office/drawing/2014/main" id="{75FCB4C7-19F6-4BBB-96A8-F557A073054E}"/>
              </a:ext>
            </a:extLst>
          </p:cNvPr>
          <p:cNvGrpSpPr>
            <a:grpSpLocks noChangeAspect="1"/>
          </p:cNvGrpSpPr>
          <p:nvPr/>
        </p:nvGrpSpPr>
        <p:grpSpPr>
          <a:xfrm>
            <a:off x="1887526" y="3844163"/>
            <a:ext cx="298342" cy="223756"/>
            <a:chOff x="6873875" y="5586413"/>
            <a:chExt cx="711200" cy="533400"/>
          </a:xfrm>
          <a:solidFill>
            <a:schemeClr val="bg2"/>
          </a:solidFill>
          <a:effectLst/>
        </p:grpSpPr>
        <p:sp>
          <p:nvSpPr>
            <p:cNvPr id="599" name="Freeform 45">
              <a:extLst>
                <a:ext uri="{FF2B5EF4-FFF2-40B4-BE49-F238E27FC236}">
                  <a16:creationId xmlns:a16="http://schemas.microsoft.com/office/drawing/2014/main" id="{5B74AFE4-B55F-46BE-9AB6-017CBFC7E0E0}"/>
                </a:ext>
              </a:extLst>
            </p:cNvPr>
            <p:cNvSpPr>
              <a:spLocks noEditPoints="1"/>
            </p:cNvSpPr>
            <p:nvPr/>
          </p:nvSpPr>
          <p:spPr bwMode="auto">
            <a:xfrm>
              <a:off x="6873875" y="5637213"/>
              <a:ext cx="711200" cy="482600"/>
            </a:xfrm>
            <a:custGeom>
              <a:avLst/>
              <a:gdLst>
                <a:gd name="T0" fmla="*/ 1759 w 2239"/>
                <a:gd name="T1" fmla="*/ 1440 h 1520"/>
                <a:gd name="T2" fmla="*/ 1759 w 2239"/>
                <a:gd name="T3" fmla="*/ 1200 h 1520"/>
                <a:gd name="T4" fmla="*/ 2159 w 2239"/>
                <a:gd name="T5" fmla="*/ 1200 h 1520"/>
                <a:gd name="T6" fmla="*/ 2159 w 2239"/>
                <a:gd name="T7" fmla="*/ 1440 h 1520"/>
                <a:gd name="T8" fmla="*/ 1759 w 2239"/>
                <a:gd name="T9" fmla="*/ 1440 h 1520"/>
                <a:gd name="T10" fmla="*/ 79 w 2239"/>
                <a:gd name="T11" fmla="*/ 80 h 1520"/>
                <a:gd name="T12" fmla="*/ 1679 w 2239"/>
                <a:gd name="T13" fmla="*/ 80 h 1520"/>
                <a:gd name="T14" fmla="*/ 1679 w 2239"/>
                <a:gd name="T15" fmla="*/ 1440 h 1520"/>
                <a:gd name="T16" fmla="*/ 79 w 2239"/>
                <a:gd name="T17" fmla="*/ 1440 h 1520"/>
                <a:gd name="T18" fmla="*/ 79 w 2239"/>
                <a:gd name="T19" fmla="*/ 80 h 1520"/>
                <a:gd name="T20" fmla="*/ 2159 w 2239"/>
                <a:gd name="T21" fmla="*/ 400 h 1520"/>
                <a:gd name="T22" fmla="*/ 1759 w 2239"/>
                <a:gd name="T23" fmla="*/ 400 h 1520"/>
                <a:gd name="T24" fmla="*/ 1759 w 2239"/>
                <a:gd name="T25" fmla="*/ 80 h 1520"/>
                <a:gd name="T26" fmla="*/ 2159 w 2239"/>
                <a:gd name="T27" fmla="*/ 80 h 1520"/>
                <a:gd name="T28" fmla="*/ 2159 w 2239"/>
                <a:gd name="T29" fmla="*/ 400 h 1520"/>
                <a:gd name="T30" fmla="*/ 1759 w 2239"/>
                <a:gd name="T31" fmla="*/ 480 h 1520"/>
                <a:gd name="T32" fmla="*/ 2159 w 2239"/>
                <a:gd name="T33" fmla="*/ 480 h 1520"/>
                <a:gd name="T34" fmla="*/ 2159 w 2239"/>
                <a:gd name="T35" fmla="*/ 1120 h 1520"/>
                <a:gd name="T36" fmla="*/ 1759 w 2239"/>
                <a:gd name="T37" fmla="*/ 1120 h 1520"/>
                <a:gd name="T38" fmla="*/ 1759 w 2239"/>
                <a:gd name="T39" fmla="*/ 480 h 1520"/>
                <a:gd name="T40" fmla="*/ 2199 w 2239"/>
                <a:gd name="T41" fmla="*/ 0 h 1520"/>
                <a:gd name="T42" fmla="*/ 40 w 2239"/>
                <a:gd name="T43" fmla="*/ 0 h 1520"/>
                <a:gd name="T44" fmla="*/ 31 w 2239"/>
                <a:gd name="T45" fmla="*/ 1 h 1520"/>
                <a:gd name="T46" fmla="*/ 25 w 2239"/>
                <a:gd name="T47" fmla="*/ 3 h 1520"/>
                <a:gd name="T48" fmla="*/ 18 w 2239"/>
                <a:gd name="T49" fmla="*/ 8 h 1520"/>
                <a:gd name="T50" fmla="*/ 11 w 2239"/>
                <a:gd name="T51" fmla="*/ 12 h 1520"/>
                <a:gd name="T52" fmla="*/ 7 w 2239"/>
                <a:gd name="T53" fmla="*/ 18 h 1520"/>
                <a:gd name="T54" fmla="*/ 3 w 2239"/>
                <a:gd name="T55" fmla="*/ 24 h 1520"/>
                <a:gd name="T56" fmla="*/ 1 w 2239"/>
                <a:gd name="T57" fmla="*/ 32 h 1520"/>
                <a:gd name="T58" fmla="*/ 0 w 2239"/>
                <a:gd name="T59" fmla="*/ 40 h 1520"/>
                <a:gd name="T60" fmla="*/ 0 w 2239"/>
                <a:gd name="T61" fmla="*/ 1479 h 1520"/>
                <a:gd name="T62" fmla="*/ 1 w 2239"/>
                <a:gd name="T63" fmla="*/ 1488 h 1520"/>
                <a:gd name="T64" fmla="*/ 3 w 2239"/>
                <a:gd name="T65" fmla="*/ 1495 h 1520"/>
                <a:gd name="T66" fmla="*/ 7 w 2239"/>
                <a:gd name="T67" fmla="*/ 1502 h 1520"/>
                <a:gd name="T68" fmla="*/ 11 w 2239"/>
                <a:gd name="T69" fmla="*/ 1509 h 1520"/>
                <a:gd name="T70" fmla="*/ 18 w 2239"/>
                <a:gd name="T71" fmla="*/ 1513 h 1520"/>
                <a:gd name="T72" fmla="*/ 25 w 2239"/>
                <a:gd name="T73" fmla="*/ 1516 h 1520"/>
                <a:gd name="T74" fmla="*/ 31 w 2239"/>
                <a:gd name="T75" fmla="*/ 1520 h 1520"/>
                <a:gd name="T76" fmla="*/ 40 w 2239"/>
                <a:gd name="T77" fmla="*/ 1520 h 1520"/>
                <a:gd name="T78" fmla="*/ 2199 w 2239"/>
                <a:gd name="T79" fmla="*/ 1520 h 1520"/>
                <a:gd name="T80" fmla="*/ 2207 w 2239"/>
                <a:gd name="T81" fmla="*/ 1520 h 1520"/>
                <a:gd name="T82" fmla="*/ 2215 w 2239"/>
                <a:gd name="T83" fmla="*/ 1516 h 1520"/>
                <a:gd name="T84" fmla="*/ 2221 w 2239"/>
                <a:gd name="T85" fmla="*/ 1513 h 1520"/>
                <a:gd name="T86" fmla="*/ 2227 w 2239"/>
                <a:gd name="T87" fmla="*/ 1509 h 1520"/>
                <a:gd name="T88" fmla="*/ 2233 w 2239"/>
                <a:gd name="T89" fmla="*/ 1502 h 1520"/>
                <a:gd name="T90" fmla="*/ 2236 w 2239"/>
                <a:gd name="T91" fmla="*/ 1495 h 1520"/>
                <a:gd name="T92" fmla="*/ 2238 w 2239"/>
                <a:gd name="T93" fmla="*/ 1488 h 1520"/>
                <a:gd name="T94" fmla="*/ 2239 w 2239"/>
                <a:gd name="T95" fmla="*/ 1479 h 1520"/>
                <a:gd name="T96" fmla="*/ 2239 w 2239"/>
                <a:gd name="T97" fmla="*/ 40 h 1520"/>
                <a:gd name="T98" fmla="*/ 2238 w 2239"/>
                <a:gd name="T99" fmla="*/ 32 h 1520"/>
                <a:gd name="T100" fmla="*/ 2236 w 2239"/>
                <a:gd name="T101" fmla="*/ 24 h 1520"/>
                <a:gd name="T102" fmla="*/ 2233 w 2239"/>
                <a:gd name="T103" fmla="*/ 18 h 1520"/>
                <a:gd name="T104" fmla="*/ 2227 w 2239"/>
                <a:gd name="T105" fmla="*/ 12 h 1520"/>
                <a:gd name="T106" fmla="*/ 2221 w 2239"/>
                <a:gd name="T107" fmla="*/ 8 h 1520"/>
                <a:gd name="T108" fmla="*/ 2215 w 2239"/>
                <a:gd name="T109" fmla="*/ 3 h 1520"/>
                <a:gd name="T110" fmla="*/ 2207 w 2239"/>
                <a:gd name="T111" fmla="*/ 1 h 1520"/>
                <a:gd name="T112" fmla="*/ 2199 w 2239"/>
                <a:gd name="T113"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9" h="1520">
                  <a:moveTo>
                    <a:pt x="1759" y="1440"/>
                  </a:moveTo>
                  <a:lnTo>
                    <a:pt x="1759" y="1200"/>
                  </a:lnTo>
                  <a:lnTo>
                    <a:pt x="2159" y="1200"/>
                  </a:lnTo>
                  <a:lnTo>
                    <a:pt x="2159" y="1440"/>
                  </a:lnTo>
                  <a:lnTo>
                    <a:pt x="1759" y="1440"/>
                  </a:lnTo>
                  <a:close/>
                  <a:moveTo>
                    <a:pt x="79" y="80"/>
                  </a:moveTo>
                  <a:lnTo>
                    <a:pt x="1679" y="80"/>
                  </a:lnTo>
                  <a:lnTo>
                    <a:pt x="1679" y="1440"/>
                  </a:lnTo>
                  <a:lnTo>
                    <a:pt x="79" y="1440"/>
                  </a:lnTo>
                  <a:lnTo>
                    <a:pt x="79" y="80"/>
                  </a:lnTo>
                  <a:close/>
                  <a:moveTo>
                    <a:pt x="2159" y="400"/>
                  </a:moveTo>
                  <a:lnTo>
                    <a:pt x="1759" y="400"/>
                  </a:lnTo>
                  <a:lnTo>
                    <a:pt x="1759" y="80"/>
                  </a:lnTo>
                  <a:lnTo>
                    <a:pt x="2159" y="80"/>
                  </a:lnTo>
                  <a:lnTo>
                    <a:pt x="2159" y="400"/>
                  </a:lnTo>
                  <a:close/>
                  <a:moveTo>
                    <a:pt x="1759" y="480"/>
                  </a:moveTo>
                  <a:lnTo>
                    <a:pt x="2159" y="480"/>
                  </a:lnTo>
                  <a:lnTo>
                    <a:pt x="2159" y="1120"/>
                  </a:lnTo>
                  <a:lnTo>
                    <a:pt x="1759" y="1120"/>
                  </a:lnTo>
                  <a:lnTo>
                    <a:pt x="1759" y="480"/>
                  </a:lnTo>
                  <a:close/>
                  <a:moveTo>
                    <a:pt x="2199" y="0"/>
                  </a:moveTo>
                  <a:lnTo>
                    <a:pt x="40" y="0"/>
                  </a:lnTo>
                  <a:lnTo>
                    <a:pt x="31" y="1"/>
                  </a:lnTo>
                  <a:lnTo>
                    <a:pt x="25" y="3"/>
                  </a:lnTo>
                  <a:lnTo>
                    <a:pt x="18" y="8"/>
                  </a:lnTo>
                  <a:lnTo>
                    <a:pt x="11" y="12"/>
                  </a:lnTo>
                  <a:lnTo>
                    <a:pt x="7" y="18"/>
                  </a:lnTo>
                  <a:lnTo>
                    <a:pt x="3" y="24"/>
                  </a:lnTo>
                  <a:lnTo>
                    <a:pt x="1" y="32"/>
                  </a:lnTo>
                  <a:lnTo>
                    <a:pt x="0" y="40"/>
                  </a:lnTo>
                  <a:lnTo>
                    <a:pt x="0" y="1479"/>
                  </a:lnTo>
                  <a:lnTo>
                    <a:pt x="1" y="1488"/>
                  </a:lnTo>
                  <a:lnTo>
                    <a:pt x="3" y="1495"/>
                  </a:lnTo>
                  <a:lnTo>
                    <a:pt x="7" y="1502"/>
                  </a:lnTo>
                  <a:lnTo>
                    <a:pt x="11" y="1509"/>
                  </a:lnTo>
                  <a:lnTo>
                    <a:pt x="18" y="1513"/>
                  </a:lnTo>
                  <a:lnTo>
                    <a:pt x="25" y="1516"/>
                  </a:lnTo>
                  <a:lnTo>
                    <a:pt x="31" y="1520"/>
                  </a:lnTo>
                  <a:lnTo>
                    <a:pt x="40" y="1520"/>
                  </a:lnTo>
                  <a:lnTo>
                    <a:pt x="2199" y="1520"/>
                  </a:lnTo>
                  <a:lnTo>
                    <a:pt x="2207" y="1520"/>
                  </a:lnTo>
                  <a:lnTo>
                    <a:pt x="2215" y="1516"/>
                  </a:lnTo>
                  <a:lnTo>
                    <a:pt x="2221" y="1513"/>
                  </a:lnTo>
                  <a:lnTo>
                    <a:pt x="2227" y="1509"/>
                  </a:lnTo>
                  <a:lnTo>
                    <a:pt x="2233" y="1502"/>
                  </a:lnTo>
                  <a:lnTo>
                    <a:pt x="2236" y="1495"/>
                  </a:lnTo>
                  <a:lnTo>
                    <a:pt x="2238" y="1488"/>
                  </a:lnTo>
                  <a:lnTo>
                    <a:pt x="2239" y="1479"/>
                  </a:lnTo>
                  <a:lnTo>
                    <a:pt x="2239" y="40"/>
                  </a:lnTo>
                  <a:lnTo>
                    <a:pt x="2238" y="32"/>
                  </a:lnTo>
                  <a:lnTo>
                    <a:pt x="2236" y="24"/>
                  </a:lnTo>
                  <a:lnTo>
                    <a:pt x="2233" y="18"/>
                  </a:lnTo>
                  <a:lnTo>
                    <a:pt x="2227" y="12"/>
                  </a:lnTo>
                  <a:lnTo>
                    <a:pt x="2221" y="8"/>
                  </a:lnTo>
                  <a:lnTo>
                    <a:pt x="2215" y="3"/>
                  </a:lnTo>
                  <a:lnTo>
                    <a:pt x="2207" y="1"/>
                  </a:lnTo>
                  <a:lnTo>
                    <a:pt x="2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0" name="Freeform 46">
              <a:extLst>
                <a:ext uri="{FF2B5EF4-FFF2-40B4-BE49-F238E27FC236}">
                  <a16:creationId xmlns:a16="http://schemas.microsoft.com/office/drawing/2014/main" id="{FC6D6736-E944-4F6E-90B8-4CD3EF22F683}"/>
                </a:ext>
              </a:extLst>
            </p:cNvPr>
            <p:cNvSpPr>
              <a:spLocks/>
            </p:cNvSpPr>
            <p:nvPr/>
          </p:nvSpPr>
          <p:spPr bwMode="auto">
            <a:xfrm>
              <a:off x="6924675" y="5688013"/>
              <a:ext cx="127000" cy="25400"/>
            </a:xfrm>
            <a:custGeom>
              <a:avLst/>
              <a:gdLst>
                <a:gd name="T0" fmla="*/ 39 w 399"/>
                <a:gd name="T1" fmla="*/ 80 h 80"/>
                <a:gd name="T2" fmla="*/ 359 w 399"/>
                <a:gd name="T3" fmla="*/ 80 h 80"/>
                <a:gd name="T4" fmla="*/ 367 w 399"/>
                <a:gd name="T5" fmla="*/ 79 h 80"/>
                <a:gd name="T6" fmla="*/ 375 w 399"/>
                <a:gd name="T7" fmla="*/ 77 h 80"/>
                <a:gd name="T8" fmla="*/ 382 w 399"/>
                <a:gd name="T9" fmla="*/ 74 h 80"/>
                <a:gd name="T10" fmla="*/ 388 w 399"/>
                <a:gd name="T11" fmla="*/ 68 h 80"/>
                <a:gd name="T12" fmla="*/ 393 w 399"/>
                <a:gd name="T13" fmla="*/ 62 h 80"/>
                <a:gd name="T14" fmla="*/ 396 w 399"/>
                <a:gd name="T15" fmla="*/ 56 h 80"/>
                <a:gd name="T16" fmla="*/ 398 w 399"/>
                <a:gd name="T17" fmla="*/ 48 h 80"/>
                <a:gd name="T18" fmla="*/ 399 w 399"/>
                <a:gd name="T19" fmla="*/ 40 h 80"/>
                <a:gd name="T20" fmla="*/ 398 w 399"/>
                <a:gd name="T21" fmla="*/ 32 h 80"/>
                <a:gd name="T22" fmla="*/ 396 w 399"/>
                <a:gd name="T23" fmla="*/ 24 h 80"/>
                <a:gd name="T24" fmla="*/ 393 w 399"/>
                <a:gd name="T25" fmla="*/ 18 h 80"/>
                <a:gd name="T26" fmla="*/ 388 w 399"/>
                <a:gd name="T27" fmla="*/ 12 h 80"/>
                <a:gd name="T28" fmla="*/ 382 w 399"/>
                <a:gd name="T29" fmla="*/ 6 h 80"/>
                <a:gd name="T30" fmla="*/ 375 w 399"/>
                <a:gd name="T31" fmla="*/ 3 h 80"/>
                <a:gd name="T32" fmla="*/ 367 w 399"/>
                <a:gd name="T33" fmla="*/ 1 h 80"/>
                <a:gd name="T34" fmla="*/ 359 w 399"/>
                <a:gd name="T35" fmla="*/ 0 h 80"/>
                <a:gd name="T36" fmla="*/ 39 w 399"/>
                <a:gd name="T37" fmla="*/ 0 h 80"/>
                <a:gd name="T38" fmla="*/ 31 w 399"/>
                <a:gd name="T39" fmla="*/ 1 h 80"/>
                <a:gd name="T40" fmla="*/ 25 w 399"/>
                <a:gd name="T41" fmla="*/ 3 h 80"/>
                <a:gd name="T42" fmla="*/ 17 w 399"/>
                <a:gd name="T43" fmla="*/ 6 h 80"/>
                <a:gd name="T44" fmla="*/ 11 w 399"/>
                <a:gd name="T45" fmla="*/ 12 h 80"/>
                <a:gd name="T46" fmla="*/ 7 w 399"/>
                <a:gd name="T47" fmla="*/ 18 h 80"/>
                <a:gd name="T48" fmla="*/ 3 w 399"/>
                <a:gd name="T49" fmla="*/ 24 h 80"/>
                <a:gd name="T50" fmla="*/ 0 w 399"/>
                <a:gd name="T51" fmla="*/ 32 h 80"/>
                <a:gd name="T52" fmla="*/ 0 w 399"/>
                <a:gd name="T53" fmla="*/ 40 h 80"/>
                <a:gd name="T54" fmla="*/ 0 w 399"/>
                <a:gd name="T55" fmla="*/ 48 h 80"/>
                <a:gd name="T56" fmla="*/ 3 w 399"/>
                <a:gd name="T57" fmla="*/ 56 h 80"/>
                <a:gd name="T58" fmla="*/ 7 w 399"/>
                <a:gd name="T59" fmla="*/ 62 h 80"/>
                <a:gd name="T60" fmla="*/ 11 w 399"/>
                <a:gd name="T61" fmla="*/ 68 h 80"/>
                <a:gd name="T62" fmla="*/ 17 w 399"/>
                <a:gd name="T63" fmla="*/ 74 h 80"/>
                <a:gd name="T64" fmla="*/ 25 w 399"/>
                <a:gd name="T65" fmla="*/ 77 h 80"/>
                <a:gd name="T66" fmla="*/ 31 w 399"/>
                <a:gd name="T67" fmla="*/ 79 h 80"/>
                <a:gd name="T68" fmla="*/ 39 w 39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9" h="80">
                  <a:moveTo>
                    <a:pt x="39" y="80"/>
                  </a:moveTo>
                  <a:lnTo>
                    <a:pt x="359" y="80"/>
                  </a:lnTo>
                  <a:lnTo>
                    <a:pt x="367" y="79"/>
                  </a:lnTo>
                  <a:lnTo>
                    <a:pt x="375" y="77"/>
                  </a:lnTo>
                  <a:lnTo>
                    <a:pt x="382" y="74"/>
                  </a:lnTo>
                  <a:lnTo>
                    <a:pt x="388" y="68"/>
                  </a:lnTo>
                  <a:lnTo>
                    <a:pt x="393" y="62"/>
                  </a:lnTo>
                  <a:lnTo>
                    <a:pt x="396" y="56"/>
                  </a:lnTo>
                  <a:lnTo>
                    <a:pt x="398" y="48"/>
                  </a:lnTo>
                  <a:lnTo>
                    <a:pt x="399" y="40"/>
                  </a:lnTo>
                  <a:lnTo>
                    <a:pt x="398" y="32"/>
                  </a:lnTo>
                  <a:lnTo>
                    <a:pt x="396" y="24"/>
                  </a:lnTo>
                  <a:lnTo>
                    <a:pt x="393" y="18"/>
                  </a:lnTo>
                  <a:lnTo>
                    <a:pt x="388" y="12"/>
                  </a:lnTo>
                  <a:lnTo>
                    <a:pt x="382" y="6"/>
                  </a:lnTo>
                  <a:lnTo>
                    <a:pt x="375" y="3"/>
                  </a:lnTo>
                  <a:lnTo>
                    <a:pt x="367" y="1"/>
                  </a:lnTo>
                  <a:lnTo>
                    <a:pt x="359" y="0"/>
                  </a:lnTo>
                  <a:lnTo>
                    <a:pt x="39" y="0"/>
                  </a:lnTo>
                  <a:lnTo>
                    <a:pt x="31" y="1"/>
                  </a:lnTo>
                  <a:lnTo>
                    <a:pt x="25" y="3"/>
                  </a:lnTo>
                  <a:lnTo>
                    <a:pt x="17" y="6"/>
                  </a:lnTo>
                  <a:lnTo>
                    <a:pt x="11" y="12"/>
                  </a:lnTo>
                  <a:lnTo>
                    <a:pt x="7" y="18"/>
                  </a:lnTo>
                  <a:lnTo>
                    <a:pt x="3" y="24"/>
                  </a:lnTo>
                  <a:lnTo>
                    <a:pt x="0" y="32"/>
                  </a:lnTo>
                  <a:lnTo>
                    <a:pt x="0" y="40"/>
                  </a:lnTo>
                  <a:lnTo>
                    <a:pt x="0" y="48"/>
                  </a:lnTo>
                  <a:lnTo>
                    <a:pt x="3" y="56"/>
                  </a:lnTo>
                  <a:lnTo>
                    <a:pt x="7" y="62"/>
                  </a:lnTo>
                  <a:lnTo>
                    <a:pt x="11" y="68"/>
                  </a:lnTo>
                  <a:lnTo>
                    <a:pt x="17" y="74"/>
                  </a:lnTo>
                  <a:lnTo>
                    <a:pt x="25" y="77"/>
                  </a:lnTo>
                  <a:lnTo>
                    <a:pt x="31" y="79"/>
                  </a:lnTo>
                  <a:lnTo>
                    <a:pt x="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1" name="Freeform 47">
              <a:extLst>
                <a:ext uri="{FF2B5EF4-FFF2-40B4-BE49-F238E27FC236}">
                  <a16:creationId xmlns:a16="http://schemas.microsoft.com/office/drawing/2014/main" id="{806C6490-C811-4EEF-BDC2-D5429B617BD3}"/>
                </a:ext>
              </a:extLst>
            </p:cNvPr>
            <p:cNvSpPr>
              <a:spLocks/>
            </p:cNvSpPr>
            <p:nvPr/>
          </p:nvSpPr>
          <p:spPr bwMode="auto">
            <a:xfrm>
              <a:off x="7077075" y="5688013"/>
              <a:ext cx="127000" cy="25400"/>
            </a:xfrm>
            <a:custGeom>
              <a:avLst/>
              <a:gdLst>
                <a:gd name="T0" fmla="*/ 40 w 401"/>
                <a:gd name="T1" fmla="*/ 80 h 80"/>
                <a:gd name="T2" fmla="*/ 360 w 401"/>
                <a:gd name="T3" fmla="*/ 80 h 80"/>
                <a:gd name="T4" fmla="*/ 368 w 401"/>
                <a:gd name="T5" fmla="*/ 79 h 80"/>
                <a:gd name="T6" fmla="*/ 376 w 401"/>
                <a:gd name="T7" fmla="*/ 77 h 80"/>
                <a:gd name="T8" fmla="*/ 383 w 401"/>
                <a:gd name="T9" fmla="*/ 74 h 80"/>
                <a:gd name="T10" fmla="*/ 388 w 401"/>
                <a:gd name="T11" fmla="*/ 68 h 80"/>
                <a:gd name="T12" fmla="*/ 394 w 401"/>
                <a:gd name="T13" fmla="*/ 62 h 80"/>
                <a:gd name="T14" fmla="*/ 397 w 401"/>
                <a:gd name="T15" fmla="*/ 56 h 80"/>
                <a:gd name="T16" fmla="*/ 399 w 401"/>
                <a:gd name="T17" fmla="*/ 48 h 80"/>
                <a:gd name="T18" fmla="*/ 401 w 401"/>
                <a:gd name="T19" fmla="*/ 40 h 80"/>
                <a:gd name="T20" fmla="*/ 399 w 401"/>
                <a:gd name="T21" fmla="*/ 32 h 80"/>
                <a:gd name="T22" fmla="*/ 397 w 401"/>
                <a:gd name="T23" fmla="*/ 24 h 80"/>
                <a:gd name="T24" fmla="*/ 394 w 401"/>
                <a:gd name="T25" fmla="*/ 18 h 80"/>
                <a:gd name="T26" fmla="*/ 388 w 401"/>
                <a:gd name="T27" fmla="*/ 12 h 80"/>
                <a:gd name="T28" fmla="*/ 383 w 401"/>
                <a:gd name="T29" fmla="*/ 6 h 80"/>
                <a:gd name="T30" fmla="*/ 376 w 401"/>
                <a:gd name="T31" fmla="*/ 3 h 80"/>
                <a:gd name="T32" fmla="*/ 368 w 401"/>
                <a:gd name="T33" fmla="*/ 1 h 80"/>
                <a:gd name="T34" fmla="*/ 360 w 401"/>
                <a:gd name="T35" fmla="*/ 0 h 80"/>
                <a:gd name="T36" fmla="*/ 40 w 401"/>
                <a:gd name="T37" fmla="*/ 0 h 80"/>
                <a:gd name="T38" fmla="*/ 32 w 401"/>
                <a:gd name="T39" fmla="*/ 1 h 80"/>
                <a:gd name="T40" fmla="*/ 25 w 401"/>
                <a:gd name="T41" fmla="*/ 3 h 80"/>
                <a:gd name="T42" fmla="*/ 18 w 401"/>
                <a:gd name="T43" fmla="*/ 6 h 80"/>
                <a:gd name="T44" fmla="*/ 12 w 401"/>
                <a:gd name="T45" fmla="*/ 12 h 80"/>
                <a:gd name="T46" fmla="*/ 8 w 401"/>
                <a:gd name="T47" fmla="*/ 18 h 80"/>
                <a:gd name="T48" fmla="*/ 3 w 401"/>
                <a:gd name="T49" fmla="*/ 24 h 80"/>
                <a:gd name="T50" fmla="*/ 1 w 401"/>
                <a:gd name="T51" fmla="*/ 32 h 80"/>
                <a:gd name="T52" fmla="*/ 0 w 401"/>
                <a:gd name="T53" fmla="*/ 40 h 80"/>
                <a:gd name="T54" fmla="*/ 1 w 401"/>
                <a:gd name="T55" fmla="*/ 48 h 80"/>
                <a:gd name="T56" fmla="*/ 3 w 401"/>
                <a:gd name="T57" fmla="*/ 56 h 80"/>
                <a:gd name="T58" fmla="*/ 8 w 401"/>
                <a:gd name="T59" fmla="*/ 62 h 80"/>
                <a:gd name="T60" fmla="*/ 12 w 401"/>
                <a:gd name="T61" fmla="*/ 68 h 80"/>
                <a:gd name="T62" fmla="*/ 18 w 401"/>
                <a:gd name="T63" fmla="*/ 74 h 80"/>
                <a:gd name="T64" fmla="*/ 25 w 401"/>
                <a:gd name="T65" fmla="*/ 77 h 80"/>
                <a:gd name="T66" fmla="*/ 32 w 401"/>
                <a:gd name="T67" fmla="*/ 79 h 80"/>
                <a:gd name="T68" fmla="*/ 40 w 401"/>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80">
                  <a:moveTo>
                    <a:pt x="40" y="80"/>
                  </a:moveTo>
                  <a:lnTo>
                    <a:pt x="360" y="80"/>
                  </a:lnTo>
                  <a:lnTo>
                    <a:pt x="368" y="79"/>
                  </a:lnTo>
                  <a:lnTo>
                    <a:pt x="376" y="77"/>
                  </a:lnTo>
                  <a:lnTo>
                    <a:pt x="383" y="74"/>
                  </a:lnTo>
                  <a:lnTo>
                    <a:pt x="388" y="68"/>
                  </a:lnTo>
                  <a:lnTo>
                    <a:pt x="394" y="62"/>
                  </a:lnTo>
                  <a:lnTo>
                    <a:pt x="397" y="56"/>
                  </a:lnTo>
                  <a:lnTo>
                    <a:pt x="399" y="48"/>
                  </a:lnTo>
                  <a:lnTo>
                    <a:pt x="401" y="40"/>
                  </a:lnTo>
                  <a:lnTo>
                    <a:pt x="399" y="32"/>
                  </a:lnTo>
                  <a:lnTo>
                    <a:pt x="397" y="24"/>
                  </a:lnTo>
                  <a:lnTo>
                    <a:pt x="394" y="18"/>
                  </a:lnTo>
                  <a:lnTo>
                    <a:pt x="388" y="12"/>
                  </a:lnTo>
                  <a:lnTo>
                    <a:pt x="383" y="6"/>
                  </a:lnTo>
                  <a:lnTo>
                    <a:pt x="376" y="3"/>
                  </a:lnTo>
                  <a:lnTo>
                    <a:pt x="368" y="1"/>
                  </a:lnTo>
                  <a:lnTo>
                    <a:pt x="360" y="0"/>
                  </a:lnTo>
                  <a:lnTo>
                    <a:pt x="40" y="0"/>
                  </a:lnTo>
                  <a:lnTo>
                    <a:pt x="32" y="1"/>
                  </a:lnTo>
                  <a:lnTo>
                    <a:pt x="25" y="3"/>
                  </a:lnTo>
                  <a:lnTo>
                    <a:pt x="18" y="6"/>
                  </a:lnTo>
                  <a:lnTo>
                    <a:pt x="12" y="12"/>
                  </a:lnTo>
                  <a:lnTo>
                    <a:pt x="8" y="18"/>
                  </a:lnTo>
                  <a:lnTo>
                    <a:pt x="3" y="24"/>
                  </a:lnTo>
                  <a:lnTo>
                    <a:pt x="1" y="32"/>
                  </a:lnTo>
                  <a:lnTo>
                    <a:pt x="0" y="40"/>
                  </a:lnTo>
                  <a:lnTo>
                    <a:pt x="1" y="48"/>
                  </a:lnTo>
                  <a:lnTo>
                    <a:pt x="3" y="56"/>
                  </a:lnTo>
                  <a:lnTo>
                    <a:pt x="8" y="62"/>
                  </a:lnTo>
                  <a:lnTo>
                    <a:pt x="12" y="68"/>
                  </a:lnTo>
                  <a:lnTo>
                    <a:pt x="18" y="74"/>
                  </a:lnTo>
                  <a:lnTo>
                    <a:pt x="25" y="77"/>
                  </a:lnTo>
                  <a:lnTo>
                    <a:pt x="32" y="79"/>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2" name="Freeform 48">
              <a:extLst>
                <a:ext uri="{FF2B5EF4-FFF2-40B4-BE49-F238E27FC236}">
                  <a16:creationId xmlns:a16="http://schemas.microsoft.com/office/drawing/2014/main" id="{BA5FCA56-BFF2-495A-B847-2E734F269218}"/>
                </a:ext>
              </a:extLst>
            </p:cNvPr>
            <p:cNvSpPr>
              <a:spLocks/>
            </p:cNvSpPr>
            <p:nvPr/>
          </p:nvSpPr>
          <p:spPr bwMode="auto">
            <a:xfrm>
              <a:off x="7229475" y="5688013"/>
              <a:ext cx="127000" cy="25400"/>
            </a:xfrm>
            <a:custGeom>
              <a:avLst/>
              <a:gdLst>
                <a:gd name="T0" fmla="*/ 40 w 401"/>
                <a:gd name="T1" fmla="*/ 80 h 80"/>
                <a:gd name="T2" fmla="*/ 360 w 401"/>
                <a:gd name="T3" fmla="*/ 80 h 80"/>
                <a:gd name="T4" fmla="*/ 368 w 401"/>
                <a:gd name="T5" fmla="*/ 79 h 80"/>
                <a:gd name="T6" fmla="*/ 376 w 401"/>
                <a:gd name="T7" fmla="*/ 77 h 80"/>
                <a:gd name="T8" fmla="*/ 383 w 401"/>
                <a:gd name="T9" fmla="*/ 74 h 80"/>
                <a:gd name="T10" fmla="*/ 388 w 401"/>
                <a:gd name="T11" fmla="*/ 68 h 80"/>
                <a:gd name="T12" fmla="*/ 393 w 401"/>
                <a:gd name="T13" fmla="*/ 62 h 80"/>
                <a:gd name="T14" fmla="*/ 397 w 401"/>
                <a:gd name="T15" fmla="*/ 56 h 80"/>
                <a:gd name="T16" fmla="*/ 400 w 401"/>
                <a:gd name="T17" fmla="*/ 48 h 80"/>
                <a:gd name="T18" fmla="*/ 401 w 401"/>
                <a:gd name="T19" fmla="*/ 40 h 80"/>
                <a:gd name="T20" fmla="*/ 400 w 401"/>
                <a:gd name="T21" fmla="*/ 32 h 80"/>
                <a:gd name="T22" fmla="*/ 397 w 401"/>
                <a:gd name="T23" fmla="*/ 24 h 80"/>
                <a:gd name="T24" fmla="*/ 393 w 401"/>
                <a:gd name="T25" fmla="*/ 18 h 80"/>
                <a:gd name="T26" fmla="*/ 388 w 401"/>
                <a:gd name="T27" fmla="*/ 12 h 80"/>
                <a:gd name="T28" fmla="*/ 383 w 401"/>
                <a:gd name="T29" fmla="*/ 6 h 80"/>
                <a:gd name="T30" fmla="*/ 376 w 401"/>
                <a:gd name="T31" fmla="*/ 3 h 80"/>
                <a:gd name="T32" fmla="*/ 368 w 401"/>
                <a:gd name="T33" fmla="*/ 1 h 80"/>
                <a:gd name="T34" fmla="*/ 360 w 401"/>
                <a:gd name="T35" fmla="*/ 0 h 80"/>
                <a:gd name="T36" fmla="*/ 40 w 401"/>
                <a:gd name="T37" fmla="*/ 0 h 80"/>
                <a:gd name="T38" fmla="*/ 32 w 401"/>
                <a:gd name="T39" fmla="*/ 1 h 80"/>
                <a:gd name="T40" fmla="*/ 25 w 401"/>
                <a:gd name="T41" fmla="*/ 3 h 80"/>
                <a:gd name="T42" fmla="*/ 18 w 401"/>
                <a:gd name="T43" fmla="*/ 6 h 80"/>
                <a:gd name="T44" fmla="*/ 12 w 401"/>
                <a:gd name="T45" fmla="*/ 12 h 80"/>
                <a:gd name="T46" fmla="*/ 7 w 401"/>
                <a:gd name="T47" fmla="*/ 18 h 80"/>
                <a:gd name="T48" fmla="*/ 3 w 401"/>
                <a:gd name="T49" fmla="*/ 24 h 80"/>
                <a:gd name="T50" fmla="*/ 1 w 401"/>
                <a:gd name="T51" fmla="*/ 32 h 80"/>
                <a:gd name="T52" fmla="*/ 0 w 401"/>
                <a:gd name="T53" fmla="*/ 40 h 80"/>
                <a:gd name="T54" fmla="*/ 1 w 401"/>
                <a:gd name="T55" fmla="*/ 48 h 80"/>
                <a:gd name="T56" fmla="*/ 3 w 401"/>
                <a:gd name="T57" fmla="*/ 56 h 80"/>
                <a:gd name="T58" fmla="*/ 7 w 401"/>
                <a:gd name="T59" fmla="*/ 62 h 80"/>
                <a:gd name="T60" fmla="*/ 12 w 401"/>
                <a:gd name="T61" fmla="*/ 68 h 80"/>
                <a:gd name="T62" fmla="*/ 18 w 401"/>
                <a:gd name="T63" fmla="*/ 74 h 80"/>
                <a:gd name="T64" fmla="*/ 25 w 401"/>
                <a:gd name="T65" fmla="*/ 77 h 80"/>
                <a:gd name="T66" fmla="*/ 32 w 401"/>
                <a:gd name="T67" fmla="*/ 79 h 80"/>
                <a:gd name="T68" fmla="*/ 40 w 401"/>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80">
                  <a:moveTo>
                    <a:pt x="40" y="80"/>
                  </a:moveTo>
                  <a:lnTo>
                    <a:pt x="360" y="80"/>
                  </a:lnTo>
                  <a:lnTo>
                    <a:pt x="368" y="79"/>
                  </a:lnTo>
                  <a:lnTo>
                    <a:pt x="376" y="77"/>
                  </a:lnTo>
                  <a:lnTo>
                    <a:pt x="383" y="74"/>
                  </a:lnTo>
                  <a:lnTo>
                    <a:pt x="388" y="68"/>
                  </a:lnTo>
                  <a:lnTo>
                    <a:pt x="393" y="62"/>
                  </a:lnTo>
                  <a:lnTo>
                    <a:pt x="397" y="56"/>
                  </a:lnTo>
                  <a:lnTo>
                    <a:pt x="400" y="48"/>
                  </a:lnTo>
                  <a:lnTo>
                    <a:pt x="401" y="40"/>
                  </a:lnTo>
                  <a:lnTo>
                    <a:pt x="400" y="32"/>
                  </a:lnTo>
                  <a:lnTo>
                    <a:pt x="397" y="24"/>
                  </a:lnTo>
                  <a:lnTo>
                    <a:pt x="393" y="18"/>
                  </a:lnTo>
                  <a:lnTo>
                    <a:pt x="388" y="12"/>
                  </a:lnTo>
                  <a:lnTo>
                    <a:pt x="383" y="6"/>
                  </a:lnTo>
                  <a:lnTo>
                    <a:pt x="376" y="3"/>
                  </a:lnTo>
                  <a:lnTo>
                    <a:pt x="368" y="1"/>
                  </a:lnTo>
                  <a:lnTo>
                    <a:pt x="360" y="0"/>
                  </a:lnTo>
                  <a:lnTo>
                    <a:pt x="40" y="0"/>
                  </a:lnTo>
                  <a:lnTo>
                    <a:pt x="32" y="1"/>
                  </a:lnTo>
                  <a:lnTo>
                    <a:pt x="25" y="3"/>
                  </a:lnTo>
                  <a:lnTo>
                    <a:pt x="18" y="6"/>
                  </a:lnTo>
                  <a:lnTo>
                    <a:pt x="12" y="12"/>
                  </a:lnTo>
                  <a:lnTo>
                    <a:pt x="7" y="18"/>
                  </a:lnTo>
                  <a:lnTo>
                    <a:pt x="3" y="24"/>
                  </a:lnTo>
                  <a:lnTo>
                    <a:pt x="1" y="32"/>
                  </a:lnTo>
                  <a:lnTo>
                    <a:pt x="0" y="40"/>
                  </a:lnTo>
                  <a:lnTo>
                    <a:pt x="1" y="48"/>
                  </a:lnTo>
                  <a:lnTo>
                    <a:pt x="3" y="56"/>
                  </a:lnTo>
                  <a:lnTo>
                    <a:pt x="7" y="62"/>
                  </a:lnTo>
                  <a:lnTo>
                    <a:pt x="12" y="68"/>
                  </a:lnTo>
                  <a:lnTo>
                    <a:pt x="18" y="74"/>
                  </a:lnTo>
                  <a:lnTo>
                    <a:pt x="25" y="77"/>
                  </a:lnTo>
                  <a:lnTo>
                    <a:pt x="32" y="79"/>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3" name="Freeform 49">
              <a:extLst>
                <a:ext uri="{FF2B5EF4-FFF2-40B4-BE49-F238E27FC236}">
                  <a16:creationId xmlns:a16="http://schemas.microsoft.com/office/drawing/2014/main" id="{B1A14EBC-8099-4B6D-B5D2-202D09EA1478}"/>
                </a:ext>
              </a:extLst>
            </p:cNvPr>
            <p:cNvSpPr>
              <a:spLocks/>
            </p:cNvSpPr>
            <p:nvPr/>
          </p:nvSpPr>
          <p:spPr bwMode="auto">
            <a:xfrm>
              <a:off x="6873875" y="5586413"/>
              <a:ext cx="711200" cy="25400"/>
            </a:xfrm>
            <a:custGeom>
              <a:avLst/>
              <a:gdLst>
                <a:gd name="T0" fmla="*/ 40 w 2239"/>
                <a:gd name="T1" fmla="*/ 79 h 79"/>
                <a:gd name="T2" fmla="*/ 2199 w 2239"/>
                <a:gd name="T3" fmla="*/ 79 h 79"/>
                <a:gd name="T4" fmla="*/ 2207 w 2239"/>
                <a:gd name="T5" fmla="*/ 78 h 79"/>
                <a:gd name="T6" fmla="*/ 2215 w 2239"/>
                <a:gd name="T7" fmla="*/ 76 h 79"/>
                <a:gd name="T8" fmla="*/ 2221 w 2239"/>
                <a:gd name="T9" fmla="*/ 72 h 79"/>
                <a:gd name="T10" fmla="*/ 2227 w 2239"/>
                <a:gd name="T11" fmla="*/ 68 h 79"/>
                <a:gd name="T12" fmla="*/ 2233 w 2239"/>
                <a:gd name="T13" fmla="*/ 61 h 79"/>
                <a:gd name="T14" fmla="*/ 2236 w 2239"/>
                <a:gd name="T15" fmla="*/ 55 h 79"/>
                <a:gd name="T16" fmla="*/ 2238 w 2239"/>
                <a:gd name="T17" fmla="*/ 47 h 79"/>
                <a:gd name="T18" fmla="*/ 2239 w 2239"/>
                <a:gd name="T19" fmla="*/ 39 h 79"/>
                <a:gd name="T20" fmla="*/ 2238 w 2239"/>
                <a:gd name="T21" fmla="*/ 31 h 79"/>
                <a:gd name="T22" fmla="*/ 2236 w 2239"/>
                <a:gd name="T23" fmla="*/ 23 h 79"/>
                <a:gd name="T24" fmla="*/ 2233 w 2239"/>
                <a:gd name="T25" fmla="*/ 17 h 79"/>
                <a:gd name="T26" fmla="*/ 2227 w 2239"/>
                <a:gd name="T27" fmla="*/ 11 h 79"/>
                <a:gd name="T28" fmla="*/ 2221 w 2239"/>
                <a:gd name="T29" fmla="*/ 6 h 79"/>
                <a:gd name="T30" fmla="*/ 2215 w 2239"/>
                <a:gd name="T31" fmla="*/ 2 h 79"/>
                <a:gd name="T32" fmla="*/ 2207 w 2239"/>
                <a:gd name="T33" fmla="*/ 0 h 79"/>
                <a:gd name="T34" fmla="*/ 2199 w 2239"/>
                <a:gd name="T35" fmla="*/ 0 h 79"/>
                <a:gd name="T36" fmla="*/ 40 w 2239"/>
                <a:gd name="T37" fmla="*/ 0 h 79"/>
                <a:gd name="T38" fmla="*/ 31 w 2239"/>
                <a:gd name="T39" fmla="*/ 0 h 79"/>
                <a:gd name="T40" fmla="*/ 25 w 2239"/>
                <a:gd name="T41" fmla="*/ 2 h 79"/>
                <a:gd name="T42" fmla="*/ 18 w 2239"/>
                <a:gd name="T43" fmla="*/ 6 h 79"/>
                <a:gd name="T44" fmla="*/ 11 w 2239"/>
                <a:gd name="T45" fmla="*/ 11 h 79"/>
                <a:gd name="T46" fmla="*/ 7 w 2239"/>
                <a:gd name="T47" fmla="*/ 17 h 79"/>
                <a:gd name="T48" fmla="*/ 3 w 2239"/>
                <a:gd name="T49" fmla="*/ 23 h 79"/>
                <a:gd name="T50" fmla="*/ 1 w 2239"/>
                <a:gd name="T51" fmla="*/ 31 h 79"/>
                <a:gd name="T52" fmla="*/ 0 w 2239"/>
                <a:gd name="T53" fmla="*/ 39 h 79"/>
                <a:gd name="T54" fmla="*/ 1 w 2239"/>
                <a:gd name="T55" fmla="*/ 47 h 79"/>
                <a:gd name="T56" fmla="*/ 3 w 2239"/>
                <a:gd name="T57" fmla="*/ 55 h 79"/>
                <a:gd name="T58" fmla="*/ 7 w 2239"/>
                <a:gd name="T59" fmla="*/ 61 h 79"/>
                <a:gd name="T60" fmla="*/ 11 w 2239"/>
                <a:gd name="T61" fmla="*/ 68 h 79"/>
                <a:gd name="T62" fmla="*/ 18 w 2239"/>
                <a:gd name="T63" fmla="*/ 72 h 79"/>
                <a:gd name="T64" fmla="*/ 25 w 2239"/>
                <a:gd name="T65" fmla="*/ 76 h 79"/>
                <a:gd name="T66" fmla="*/ 31 w 2239"/>
                <a:gd name="T67" fmla="*/ 78 h 79"/>
                <a:gd name="T68" fmla="*/ 40 w 2239"/>
                <a:gd name="T6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9" h="79">
                  <a:moveTo>
                    <a:pt x="40" y="79"/>
                  </a:moveTo>
                  <a:lnTo>
                    <a:pt x="2199" y="79"/>
                  </a:lnTo>
                  <a:lnTo>
                    <a:pt x="2207" y="78"/>
                  </a:lnTo>
                  <a:lnTo>
                    <a:pt x="2215" y="76"/>
                  </a:lnTo>
                  <a:lnTo>
                    <a:pt x="2221" y="72"/>
                  </a:lnTo>
                  <a:lnTo>
                    <a:pt x="2227" y="68"/>
                  </a:lnTo>
                  <a:lnTo>
                    <a:pt x="2233" y="61"/>
                  </a:lnTo>
                  <a:lnTo>
                    <a:pt x="2236" y="55"/>
                  </a:lnTo>
                  <a:lnTo>
                    <a:pt x="2238" y="47"/>
                  </a:lnTo>
                  <a:lnTo>
                    <a:pt x="2239" y="39"/>
                  </a:lnTo>
                  <a:lnTo>
                    <a:pt x="2238" y="31"/>
                  </a:lnTo>
                  <a:lnTo>
                    <a:pt x="2236" y="23"/>
                  </a:lnTo>
                  <a:lnTo>
                    <a:pt x="2233" y="17"/>
                  </a:lnTo>
                  <a:lnTo>
                    <a:pt x="2227" y="11"/>
                  </a:lnTo>
                  <a:lnTo>
                    <a:pt x="2221" y="6"/>
                  </a:lnTo>
                  <a:lnTo>
                    <a:pt x="2215" y="2"/>
                  </a:lnTo>
                  <a:lnTo>
                    <a:pt x="2207" y="0"/>
                  </a:lnTo>
                  <a:lnTo>
                    <a:pt x="2199" y="0"/>
                  </a:lnTo>
                  <a:lnTo>
                    <a:pt x="40" y="0"/>
                  </a:lnTo>
                  <a:lnTo>
                    <a:pt x="31" y="0"/>
                  </a:lnTo>
                  <a:lnTo>
                    <a:pt x="25" y="2"/>
                  </a:lnTo>
                  <a:lnTo>
                    <a:pt x="18" y="6"/>
                  </a:lnTo>
                  <a:lnTo>
                    <a:pt x="11" y="11"/>
                  </a:lnTo>
                  <a:lnTo>
                    <a:pt x="7" y="17"/>
                  </a:lnTo>
                  <a:lnTo>
                    <a:pt x="3" y="23"/>
                  </a:lnTo>
                  <a:lnTo>
                    <a:pt x="1" y="31"/>
                  </a:lnTo>
                  <a:lnTo>
                    <a:pt x="0" y="39"/>
                  </a:lnTo>
                  <a:lnTo>
                    <a:pt x="1" y="47"/>
                  </a:lnTo>
                  <a:lnTo>
                    <a:pt x="3" y="55"/>
                  </a:lnTo>
                  <a:lnTo>
                    <a:pt x="7" y="61"/>
                  </a:lnTo>
                  <a:lnTo>
                    <a:pt x="11" y="68"/>
                  </a:lnTo>
                  <a:lnTo>
                    <a:pt x="18" y="72"/>
                  </a:lnTo>
                  <a:lnTo>
                    <a:pt x="25" y="76"/>
                  </a:lnTo>
                  <a:lnTo>
                    <a:pt x="31" y="78"/>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4" name="Freeform 50">
              <a:extLst>
                <a:ext uri="{FF2B5EF4-FFF2-40B4-BE49-F238E27FC236}">
                  <a16:creationId xmlns:a16="http://schemas.microsoft.com/office/drawing/2014/main" id="{B13ED151-6EEC-4219-9684-F6475ABE8D0A}"/>
                </a:ext>
              </a:extLst>
            </p:cNvPr>
            <p:cNvSpPr>
              <a:spLocks noEditPoints="1"/>
            </p:cNvSpPr>
            <p:nvPr/>
          </p:nvSpPr>
          <p:spPr bwMode="auto">
            <a:xfrm>
              <a:off x="6924675" y="5738813"/>
              <a:ext cx="431800" cy="330200"/>
            </a:xfrm>
            <a:custGeom>
              <a:avLst/>
              <a:gdLst>
                <a:gd name="T0" fmla="*/ 519 w 1360"/>
                <a:gd name="T1" fmla="*/ 576 h 1040"/>
                <a:gd name="T2" fmla="*/ 817 w 1360"/>
                <a:gd name="T3" fmla="*/ 873 h 1040"/>
                <a:gd name="T4" fmla="*/ 831 w 1360"/>
                <a:gd name="T5" fmla="*/ 880 h 1040"/>
                <a:gd name="T6" fmla="*/ 847 w 1360"/>
                <a:gd name="T7" fmla="*/ 880 h 1040"/>
                <a:gd name="T8" fmla="*/ 862 w 1360"/>
                <a:gd name="T9" fmla="*/ 873 h 1040"/>
                <a:gd name="T10" fmla="*/ 1079 w 1360"/>
                <a:gd name="T11" fmla="*/ 657 h 1040"/>
                <a:gd name="T12" fmla="*/ 1279 w 1360"/>
                <a:gd name="T13" fmla="*/ 960 h 1040"/>
                <a:gd name="T14" fmla="*/ 1279 w 1360"/>
                <a:gd name="T15" fmla="*/ 80 h 1040"/>
                <a:gd name="T16" fmla="*/ 1108 w 1360"/>
                <a:gd name="T17" fmla="*/ 572 h 1040"/>
                <a:gd name="T18" fmla="*/ 1094 w 1360"/>
                <a:gd name="T19" fmla="*/ 563 h 1040"/>
                <a:gd name="T20" fmla="*/ 1079 w 1360"/>
                <a:gd name="T21" fmla="*/ 561 h 1040"/>
                <a:gd name="T22" fmla="*/ 1064 w 1360"/>
                <a:gd name="T23" fmla="*/ 563 h 1040"/>
                <a:gd name="T24" fmla="*/ 1051 w 1360"/>
                <a:gd name="T25" fmla="*/ 572 h 1040"/>
                <a:gd name="T26" fmla="*/ 547 w 1360"/>
                <a:gd name="T27" fmla="*/ 492 h 1040"/>
                <a:gd name="T28" fmla="*/ 535 w 1360"/>
                <a:gd name="T29" fmla="*/ 483 h 1040"/>
                <a:gd name="T30" fmla="*/ 519 w 1360"/>
                <a:gd name="T31" fmla="*/ 480 h 1040"/>
                <a:gd name="T32" fmla="*/ 505 w 1360"/>
                <a:gd name="T33" fmla="*/ 483 h 1040"/>
                <a:gd name="T34" fmla="*/ 491 w 1360"/>
                <a:gd name="T35" fmla="*/ 492 h 1040"/>
                <a:gd name="T36" fmla="*/ 79 w 1360"/>
                <a:gd name="T37" fmla="*/ 80 h 1040"/>
                <a:gd name="T38" fmla="*/ 1319 w 1360"/>
                <a:gd name="T39" fmla="*/ 0 h 1040"/>
                <a:gd name="T40" fmla="*/ 31 w 1360"/>
                <a:gd name="T41" fmla="*/ 1 h 1040"/>
                <a:gd name="T42" fmla="*/ 17 w 1360"/>
                <a:gd name="T43" fmla="*/ 7 h 1040"/>
                <a:gd name="T44" fmla="*/ 7 w 1360"/>
                <a:gd name="T45" fmla="*/ 18 h 1040"/>
                <a:gd name="T46" fmla="*/ 0 w 1360"/>
                <a:gd name="T47" fmla="*/ 32 h 1040"/>
                <a:gd name="T48" fmla="*/ 0 w 1360"/>
                <a:gd name="T49" fmla="*/ 1001 h 1040"/>
                <a:gd name="T50" fmla="*/ 2 w 1360"/>
                <a:gd name="T51" fmla="*/ 1015 h 1040"/>
                <a:gd name="T52" fmla="*/ 11 w 1360"/>
                <a:gd name="T53" fmla="*/ 1029 h 1040"/>
                <a:gd name="T54" fmla="*/ 25 w 1360"/>
                <a:gd name="T55" fmla="*/ 1037 h 1040"/>
                <a:gd name="T56" fmla="*/ 39 w 1360"/>
                <a:gd name="T57" fmla="*/ 1040 h 1040"/>
                <a:gd name="T58" fmla="*/ 1327 w 1360"/>
                <a:gd name="T59" fmla="*/ 1040 h 1040"/>
                <a:gd name="T60" fmla="*/ 1342 w 1360"/>
                <a:gd name="T61" fmla="*/ 1033 h 1040"/>
                <a:gd name="T62" fmla="*/ 1352 w 1360"/>
                <a:gd name="T63" fmla="*/ 1023 h 1040"/>
                <a:gd name="T64" fmla="*/ 1359 w 1360"/>
                <a:gd name="T65" fmla="*/ 1008 h 1040"/>
                <a:gd name="T66" fmla="*/ 1360 w 1360"/>
                <a:gd name="T67" fmla="*/ 40 h 1040"/>
                <a:gd name="T68" fmla="*/ 1356 w 1360"/>
                <a:gd name="T69" fmla="*/ 24 h 1040"/>
                <a:gd name="T70" fmla="*/ 1347 w 1360"/>
                <a:gd name="T71" fmla="*/ 12 h 1040"/>
                <a:gd name="T72" fmla="*/ 1335 w 1360"/>
                <a:gd name="T73" fmla="*/ 3 h 1040"/>
                <a:gd name="T74" fmla="*/ 1319 w 1360"/>
                <a:gd name="T75"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0" h="1040">
                  <a:moveTo>
                    <a:pt x="136" y="960"/>
                  </a:moveTo>
                  <a:lnTo>
                    <a:pt x="519" y="576"/>
                  </a:lnTo>
                  <a:lnTo>
                    <a:pt x="811" y="868"/>
                  </a:lnTo>
                  <a:lnTo>
                    <a:pt x="817" y="873"/>
                  </a:lnTo>
                  <a:lnTo>
                    <a:pt x="825" y="877"/>
                  </a:lnTo>
                  <a:lnTo>
                    <a:pt x="831" y="880"/>
                  </a:lnTo>
                  <a:lnTo>
                    <a:pt x="839" y="880"/>
                  </a:lnTo>
                  <a:lnTo>
                    <a:pt x="847" y="880"/>
                  </a:lnTo>
                  <a:lnTo>
                    <a:pt x="854" y="877"/>
                  </a:lnTo>
                  <a:lnTo>
                    <a:pt x="862" y="873"/>
                  </a:lnTo>
                  <a:lnTo>
                    <a:pt x="867" y="868"/>
                  </a:lnTo>
                  <a:lnTo>
                    <a:pt x="1079" y="657"/>
                  </a:lnTo>
                  <a:lnTo>
                    <a:pt x="1279" y="856"/>
                  </a:lnTo>
                  <a:lnTo>
                    <a:pt x="1279" y="960"/>
                  </a:lnTo>
                  <a:lnTo>
                    <a:pt x="136" y="960"/>
                  </a:lnTo>
                  <a:close/>
                  <a:moveTo>
                    <a:pt x="1279" y="80"/>
                  </a:moveTo>
                  <a:lnTo>
                    <a:pt x="1279" y="743"/>
                  </a:lnTo>
                  <a:lnTo>
                    <a:pt x="1108" y="572"/>
                  </a:lnTo>
                  <a:lnTo>
                    <a:pt x="1101" y="566"/>
                  </a:lnTo>
                  <a:lnTo>
                    <a:pt x="1094" y="563"/>
                  </a:lnTo>
                  <a:lnTo>
                    <a:pt x="1087" y="561"/>
                  </a:lnTo>
                  <a:lnTo>
                    <a:pt x="1079" y="561"/>
                  </a:lnTo>
                  <a:lnTo>
                    <a:pt x="1072" y="561"/>
                  </a:lnTo>
                  <a:lnTo>
                    <a:pt x="1064" y="563"/>
                  </a:lnTo>
                  <a:lnTo>
                    <a:pt x="1058" y="566"/>
                  </a:lnTo>
                  <a:lnTo>
                    <a:pt x="1051" y="572"/>
                  </a:lnTo>
                  <a:lnTo>
                    <a:pt x="839" y="783"/>
                  </a:lnTo>
                  <a:lnTo>
                    <a:pt x="547" y="492"/>
                  </a:lnTo>
                  <a:lnTo>
                    <a:pt x="542" y="487"/>
                  </a:lnTo>
                  <a:lnTo>
                    <a:pt x="535" y="483"/>
                  </a:lnTo>
                  <a:lnTo>
                    <a:pt x="527" y="481"/>
                  </a:lnTo>
                  <a:lnTo>
                    <a:pt x="519" y="480"/>
                  </a:lnTo>
                  <a:lnTo>
                    <a:pt x="511" y="481"/>
                  </a:lnTo>
                  <a:lnTo>
                    <a:pt x="505" y="483"/>
                  </a:lnTo>
                  <a:lnTo>
                    <a:pt x="498" y="487"/>
                  </a:lnTo>
                  <a:lnTo>
                    <a:pt x="491" y="492"/>
                  </a:lnTo>
                  <a:lnTo>
                    <a:pt x="79" y="903"/>
                  </a:lnTo>
                  <a:lnTo>
                    <a:pt x="79" y="80"/>
                  </a:lnTo>
                  <a:lnTo>
                    <a:pt x="1279" y="80"/>
                  </a:lnTo>
                  <a:close/>
                  <a:moveTo>
                    <a:pt x="1319" y="0"/>
                  </a:moveTo>
                  <a:lnTo>
                    <a:pt x="39" y="0"/>
                  </a:lnTo>
                  <a:lnTo>
                    <a:pt x="31" y="1"/>
                  </a:lnTo>
                  <a:lnTo>
                    <a:pt x="25" y="3"/>
                  </a:lnTo>
                  <a:lnTo>
                    <a:pt x="17" y="7"/>
                  </a:lnTo>
                  <a:lnTo>
                    <a:pt x="11" y="12"/>
                  </a:lnTo>
                  <a:lnTo>
                    <a:pt x="7" y="18"/>
                  </a:lnTo>
                  <a:lnTo>
                    <a:pt x="3" y="24"/>
                  </a:lnTo>
                  <a:lnTo>
                    <a:pt x="0" y="32"/>
                  </a:lnTo>
                  <a:lnTo>
                    <a:pt x="0" y="40"/>
                  </a:lnTo>
                  <a:lnTo>
                    <a:pt x="0" y="1001"/>
                  </a:lnTo>
                  <a:lnTo>
                    <a:pt x="0" y="1007"/>
                  </a:lnTo>
                  <a:lnTo>
                    <a:pt x="2" y="1015"/>
                  </a:lnTo>
                  <a:lnTo>
                    <a:pt x="7" y="1022"/>
                  </a:lnTo>
                  <a:lnTo>
                    <a:pt x="11" y="1029"/>
                  </a:lnTo>
                  <a:lnTo>
                    <a:pt x="18" y="1033"/>
                  </a:lnTo>
                  <a:lnTo>
                    <a:pt x="25" y="1037"/>
                  </a:lnTo>
                  <a:lnTo>
                    <a:pt x="32" y="1040"/>
                  </a:lnTo>
                  <a:lnTo>
                    <a:pt x="39" y="1040"/>
                  </a:lnTo>
                  <a:lnTo>
                    <a:pt x="1319" y="1040"/>
                  </a:lnTo>
                  <a:lnTo>
                    <a:pt x="1327" y="1040"/>
                  </a:lnTo>
                  <a:lnTo>
                    <a:pt x="1335" y="1037"/>
                  </a:lnTo>
                  <a:lnTo>
                    <a:pt x="1342" y="1033"/>
                  </a:lnTo>
                  <a:lnTo>
                    <a:pt x="1347" y="1029"/>
                  </a:lnTo>
                  <a:lnTo>
                    <a:pt x="1352" y="1023"/>
                  </a:lnTo>
                  <a:lnTo>
                    <a:pt x="1356" y="1015"/>
                  </a:lnTo>
                  <a:lnTo>
                    <a:pt x="1359" y="1008"/>
                  </a:lnTo>
                  <a:lnTo>
                    <a:pt x="1360" y="1001"/>
                  </a:lnTo>
                  <a:lnTo>
                    <a:pt x="1360" y="40"/>
                  </a:lnTo>
                  <a:lnTo>
                    <a:pt x="1359" y="32"/>
                  </a:lnTo>
                  <a:lnTo>
                    <a:pt x="1356" y="24"/>
                  </a:lnTo>
                  <a:lnTo>
                    <a:pt x="1352" y="18"/>
                  </a:lnTo>
                  <a:lnTo>
                    <a:pt x="1347" y="12"/>
                  </a:lnTo>
                  <a:lnTo>
                    <a:pt x="1342" y="7"/>
                  </a:lnTo>
                  <a:lnTo>
                    <a:pt x="1335" y="3"/>
                  </a:lnTo>
                  <a:lnTo>
                    <a:pt x="1327" y="1"/>
                  </a:lnTo>
                  <a:lnTo>
                    <a:pt x="13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12" name="Group 21">
            <a:extLst>
              <a:ext uri="{FF2B5EF4-FFF2-40B4-BE49-F238E27FC236}">
                <a16:creationId xmlns:a16="http://schemas.microsoft.com/office/drawing/2014/main" id="{4313B731-549B-43EF-818A-DEB0CAEB9A2D}"/>
              </a:ext>
            </a:extLst>
          </p:cNvPr>
          <p:cNvGrpSpPr>
            <a:grpSpLocks noChangeAspect="1"/>
          </p:cNvGrpSpPr>
          <p:nvPr/>
        </p:nvGrpSpPr>
        <p:grpSpPr>
          <a:xfrm>
            <a:off x="2330448" y="3802799"/>
            <a:ext cx="253677" cy="306484"/>
            <a:chOff x="5765490" y="484986"/>
            <a:chExt cx="356718" cy="430973"/>
          </a:xfrm>
          <a:solidFill>
            <a:schemeClr val="bg2"/>
          </a:solidFill>
          <a:effectLst/>
        </p:grpSpPr>
        <p:sp>
          <p:nvSpPr>
            <p:cNvPr id="613" name="Freeform 181">
              <a:extLst>
                <a:ext uri="{FF2B5EF4-FFF2-40B4-BE49-F238E27FC236}">
                  <a16:creationId xmlns:a16="http://schemas.microsoft.com/office/drawing/2014/main" id="{D78B7590-3638-4347-8554-152278E78C0A}"/>
                </a:ext>
              </a:extLst>
            </p:cNvPr>
            <p:cNvSpPr>
              <a:spLocks noEditPoints="1"/>
            </p:cNvSpPr>
            <p:nvPr/>
          </p:nvSpPr>
          <p:spPr bwMode="auto">
            <a:xfrm>
              <a:off x="5803346" y="484986"/>
              <a:ext cx="299934" cy="132495"/>
            </a:xfrm>
            <a:custGeom>
              <a:avLst/>
              <a:gdLst>
                <a:gd name="T0" fmla="*/ 69 w 617"/>
                <a:gd name="T1" fmla="*/ 40 h 271"/>
                <a:gd name="T2" fmla="*/ 54 w 617"/>
                <a:gd name="T3" fmla="*/ 46 h 271"/>
                <a:gd name="T4" fmla="*/ 44 w 617"/>
                <a:gd name="T5" fmla="*/ 56 h 271"/>
                <a:gd name="T6" fmla="*/ 39 w 617"/>
                <a:gd name="T7" fmla="*/ 70 h 271"/>
                <a:gd name="T8" fmla="*/ 37 w 617"/>
                <a:gd name="T9" fmla="*/ 194 h 271"/>
                <a:gd name="T10" fmla="*/ 41 w 617"/>
                <a:gd name="T11" fmla="*/ 209 h 271"/>
                <a:gd name="T12" fmla="*/ 49 w 617"/>
                <a:gd name="T13" fmla="*/ 220 h 271"/>
                <a:gd name="T14" fmla="*/ 62 w 617"/>
                <a:gd name="T15" fmla="*/ 229 h 271"/>
                <a:gd name="T16" fmla="*/ 76 w 617"/>
                <a:gd name="T17" fmla="*/ 232 h 271"/>
                <a:gd name="T18" fmla="*/ 548 w 617"/>
                <a:gd name="T19" fmla="*/ 232 h 271"/>
                <a:gd name="T20" fmla="*/ 561 w 617"/>
                <a:gd name="T21" fmla="*/ 226 h 271"/>
                <a:gd name="T22" fmla="*/ 571 w 617"/>
                <a:gd name="T23" fmla="*/ 214 h 271"/>
                <a:gd name="T24" fmla="*/ 577 w 617"/>
                <a:gd name="T25" fmla="*/ 201 h 271"/>
                <a:gd name="T26" fmla="*/ 579 w 617"/>
                <a:gd name="T27" fmla="*/ 78 h 271"/>
                <a:gd name="T28" fmla="*/ 576 w 617"/>
                <a:gd name="T29" fmla="*/ 63 h 271"/>
                <a:gd name="T30" fmla="*/ 567 w 617"/>
                <a:gd name="T31" fmla="*/ 50 h 271"/>
                <a:gd name="T32" fmla="*/ 555 w 617"/>
                <a:gd name="T33" fmla="*/ 41 h 271"/>
                <a:gd name="T34" fmla="*/ 540 w 617"/>
                <a:gd name="T35" fmla="*/ 39 h 271"/>
                <a:gd name="T36" fmla="*/ 540 w 617"/>
                <a:gd name="T37" fmla="*/ 271 h 271"/>
                <a:gd name="T38" fmla="*/ 69 w 617"/>
                <a:gd name="T39" fmla="*/ 271 h 271"/>
                <a:gd name="T40" fmla="*/ 53 w 617"/>
                <a:gd name="T41" fmla="*/ 268 h 271"/>
                <a:gd name="T42" fmla="*/ 33 w 617"/>
                <a:gd name="T43" fmla="*/ 258 h 271"/>
                <a:gd name="T44" fmla="*/ 13 w 617"/>
                <a:gd name="T45" fmla="*/ 236 h 271"/>
                <a:gd name="T46" fmla="*/ 3 w 617"/>
                <a:gd name="T47" fmla="*/ 216 h 271"/>
                <a:gd name="T48" fmla="*/ 0 w 617"/>
                <a:gd name="T49" fmla="*/ 201 h 271"/>
                <a:gd name="T50" fmla="*/ 0 w 617"/>
                <a:gd name="T51" fmla="*/ 78 h 271"/>
                <a:gd name="T52" fmla="*/ 1 w 617"/>
                <a:gd name="T53" fmla="*/ 62 h 271"/>
                <a:gd name="T54" fmla="*/ 5 w 617"/>
                <a:gd name="T55" fmla="*/ 47 h 271"/>
                <a:gd name="T56" fmla="*/ 21 w 617"/>
                <a:gd name="T57" fmla="*/ 23 h 271"/>
                <a:gd name="T58" fmla="*/ 46 w 617"/>
                <a:gd name="T59" fmla="*/ 7 h 271"/>
                <a:gd name="T60" fmla="*/ 60 w 617"/>
                <a:gd name="T61" fmla="*/ 3 h 271"/>
                <a:gd name="T62" fmla="*/ 76 w 617"/>
                <a:gd name="T63" fmla="*/ 0 h 271"/>
                <a:gd name="T64" fmla="*/ 548 w 617"/>
                <a:gd name="T65" fmla="*/ 1 h 271"/>
                <a:gd name="T66" fmla="*/ 563 w 617"/>
                <a:gd name="T67" fmla="*/ 4 h 271"/>
                <a:gd name="T68" fmla="*/ 583 w 617"/>
                <a:gd name="T69" fmla="*/ 14 h 271"/>
                <a:gd name="T70" fmla="*/ 604 w 617"/>
                <a:gd name="T71" fmla="*/ 34 h 271"/>
                <a:gd name="T72" fmla="*/ 613 w 617"/>
                <a:gd name="T73" fmla="*/ 54 h 271"/>
                <a:gd name="T74" fmla="*/ 616 w 617"/>
                <a:gd name="T75" fmla="*/ 70 h 271"/>
                <a:gd name="T76" fmla="*/ 617 w 617"/>
                <a:gd name="T77" fmla="*/ 194 h 271"/>
                <a:gd name="T78" fmla="*/ 616 w 617"/>
                <a:gd name="T79" fmla="*/ 209 h 271"/>
                <a:gd name="T80" fmla="*/ 612 w 617"/>
                <a:gd name="T81" fmla="*/ 223 h 271"/>
                <a:gd name="T82" fmla="*/ 594 w 617"/>
                <a:gd name="T83" fmla="*/ 247 h 271"/>
                <a:gd name="T84" fmla="*/ 570 w 617"/>
                <a:gd name="T85" fmla="*/ 265 h 271"/>
                <a:gd name="T86" fmla="*/ 555 w 617"/>
                <a:gd name="T87" fmla="*/ 269 h 271"/>
                <a:gd name="T88" fmla="*/ 540 w 617"/>
                <a:gd name="T8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7" h="271">
                  <a:moveTo>
                    <a:pt x="76" y="39"/>
                  </a:moveTo>
                  <a:lnTo>
                    <a:pt x="69" y="40"/>
                  </a:lnTo>
                  <a:lnTo>
                    <a:pt x="62" y="41"/>
                  </a:lnTo>
                  <a:lnTo>
                    <a:pt x="54" y="46"/>
                  </a:lnTo>
                  <a:lnTo>
                    <a:pt x="49" y="50"/>
                  </a:lnTo>
                  <a:lnTo>
                    <a:pt x="44" y="56"/>
                  </a:lnTo>
                  <a:lnTo>
                    <a:pt x="41" y="63"/>
                  </a:lnTo>
                  <a:lnTo>
                    <a:pt x="39" y="70"/>
                  </a:lnTo>
                  <a:lnTo>
                    <a:pt x="37" y="78"/>
                  </a:lnTo>
                  <a:lnTo>
                    <a:pt x="37" y="194"/>
                  </a:lnTo>
                  <a:lnTo>
                    <a:pt x="39" y="201"/>
                  </a:lnTo>
                  <a:lnTo>
                    <a:pt x="41" y="209"/>
                  </a:lnTo>
                  <a:lnTo>
                    <a:pt x="44" y="214"/>
                  </a:lnTo>
                  <a:lnTo>
                    <a:pt x="49" y="220"/>
                  </a:lnTo>
                  <a:lnTo>
                    <a:pt x="54" y="226"/>
                  </a:lnTo>
                  <a:lnTo>
                    <a:pt x="62" y="229"/>
                  </a:lnTo>
                  <a:lnTo>
                    <a:pt x="69" y="232"/>
                  </a:lnTo>
                  <a:lnTo>
                    <a:pt x="76" y="232"/>
                  </a:lnTo>
                  <a:lnTo>
                    <a:pt x="540" y="232"/>
                  </a:lnTo>
                  <a:lnTo>
                    <a:pt x="548" y="232"/>
                  </a:lnTo>
                  <a:lnTo>
                    <a:pt x="555" y="229"/>
                  </a:lnTo>
                  <a:lnTo>
                    <a:pt x="561" y="226"/>
                  </a:lnTo>
                  <a:lnTo>
                    <a:pt x="567" y="220"/>
                  </a:lnTo>
                  <a:lnTo>
                    <a:pt x="571" y="214"/>
                  </a:lnTo>
                  <a:lnTo>
                    <a:pt x="576" y="209"/>
                  </a:lnTo>
                  <a:lnTo>
                    <a:pt x="577" y="201"/>
                  </a:lnTo>
                  <a:lnTo>
                    <a:pt x="579" y="194"/>
                  </a:lnTo>
                  <a:lnTo>
                    <a:pt x="579" y="78"/>
                  </a:lnTo>
                  <a:lnTo>
                    <a:pt x="577" y="70"/>
                  </a:lnTo>
                  <a:lnTo>
                    <a:pt x="576" y="63"/>
                  </a:lnTo>
                  <a:lnTo>
                    <a:pt x="571" y="56"/>
                  </a:lnTo>
                  <a:lnTo>
                    <a:pt x="567" y="50"/>
                  </a:lnTo>
                  <a:lnTo>
                    <a:pt x="561" y="46"/>
                  </a:lnTo>
                  <a:lnTo>
                    <a:pt x="555" y="41"/>
                  </a:lnTo>
                  <a:lnTo>
                    <a:pt x="548" y="40"/>
                  </a:lnTo>
                  <a:lnTo>
                    <a:pt x="540" y="39"/>
                  </a:lnTo>
                  <a:lnTo>
                    <a:pt x="76" y="39"/>
                  </a:lnTo>
                  <a:close/>
                  <a:moveTo>
                    <a:pt x="540" y="271"/>
                  </a:moveTo>
                  <a:lnTo>
                    <a:pt x="76" y="271"/>
                  </a:lnTo>
                  <a:lnTo>
                    <a:pt x="69" y="271"/>
                  </a:lnTo>
                  <a:lnTo>
                    <a:pt x="60" y="269"/>
                  </a:lnTo>
                  <a:lnTo>
                    <a:pt x="53" y="268"/>
                  </a:lnTo>
                  <a:lnTo>
                    <a:pt x="46" y="265"/>
                  </a:lnTo>
                  <a:lnTo>
                    <a:pt x="33" y="258"/>
                  </a:lnTo>
                  <a:lnTo>
                    <a:pt x="21" y="247"/>
                  </a:lnTo>
                  <a:lnTo>
                    <a:pt x="13" y="236"/>
                  </a:lnTo>
                  <a:lnTo>
                    <a:pt x="5" y="223"/>
                  </a:lnTo>
                  <a:lnTo>
                    <a:pt x="3" y="216"/>
                  </a:lnTo>
                  <a:lnTo>
                    <a:pt x="1" y="209"/>
                  </a:lnTo>
                  <a:lnTo>
                    <a:pt x="0" y="201"/>
                  </a:lnTo>
                  <a:lnTo>
                    <a:pt x="0" y="194"/>
                  </a:lnTo>
                  <a:lnTo>
                    <a:pt x="0" y="78"/>
                  </a:lnTo>
                  <a:lnTo>
                    <a:pt x="0" y="70"/>
                  </a:lnTo>
                  <a:lnTo>
                    <a:pt x="1" y="62"/>
                  </a:lnTo>
                  <a:lnTo>
                    <a:pt x="3" y="54"/>
                  </a:lnTo>
                  <a:lnTo>
                    <a:pt x="5" y="47"/>
                  </a:lnTo>
                  <a:lnTo>
                    <a:pt x="13" y="34"/>
                  </a:lnTo>
                  <a:lnTo>
                    <a:pt x="21" y="23"/>
                  </a:lnTo>
                  <a:lnTo>
                    <a:pt x="33" y="14"/>
                  </a:lnTo>
                  <a:lnTo>
                    <a:pt x="46" y="7"/>
                  </a:lnTo>
                  <a:lnTo>
                    <a:pt x="53" y="4"/>
                  </a:lnTo>
                  <a:lnTo>
                    <a:pt x="60" y="3"/>
                  </a:lnTo>
                  <a:lnTo>
                    <a:pt x="69" y="1"/>
                  </a:lnTo>
                  <a:lnTo>
                    <a:pt x="76" y="0"/>
                  </a:lnTo>
                  <a:lnTo>
                    <a:pt x="540" y="0"/>
                  </a:lnTo>
                  <a:lnTo>
                    <a:pt x="548" y="1"/>
                  </a:lnTo>
                  <a:lnTo>
                    <a:pt x="555" y="1"/>
                  </a:lnTo>
                  <a:lnTo>
                    <a:pt x="563" y="4"/>
                  </a:lnTo>
                  <a:lnTo>
                    <a:pt x="570" y="7"/>
                  </a:lnTo>
                  <a:lnTo>
                    <a:pt x="583" y="14"/>
                  </a:lnTo>
                  <a:lnTo>
                    <a:pt x="594" y="23"/>
                  </a:lnTo>
                  <a:lnTo>
                    <a:pt x="604" y="34"/>
                  </a:lnTo>
                  <a:lnTo>
                    <a:pt x="612" y="47"/>
                  </a:lnTo>
                  <a:lnTo>
                    <a:pt x="613" y="54"/>
                  </a:lnTo>
                  <a:lnTo>
                    <a:pt x="616" y="62"/>
                  </a:lnTo>
                  <a:lnTo>
                    <a:pt x="616" y="70"/>
                  </a:lnTo>
                  <a:lnTo>
                    <a:pt x="617" y="78"/>
                  </a:lnTo>
                  <a:lnTo>
                    <a:pt x="617" y="194"/>
                  </a:lnTo>
                  <a:lnTo>
                    <a:pt x="616" y="201"/>
                  </a:lnTo>
                  <a:lnTo>
                    <a:pt x="616" y="209"/>
                  </a:lnTo>
                  <a:lnTo>
                    <a:pt x="613" y="216"/>
                  </a:lnTo>
                  <a:lnTo>
                    <a:pt x="612" y="223"/>
                  </a:lnTo>
                  <a:lnTo>
                    <a:pt x="604" y="236"/>
                  </a:lnTo>
                  <a:lnTo>
                    <a:pt x="594" y="247"/>
                  </a:lnTo>
                  <a:lnTo>
                    <a:pt x="583" y="258"/>
                  </a:lnTo>
                  <a:lnTo>
                    <a:pt x="570" y="265"/>
                  </a:lnTo>
                  <a:lnTo>
                    <a:pt x="563" y="268"/>
                  </a:lnTo>
                  <a:lnTo>
                    <a:pt x="555" y="269"/>
                  </a:lnTo>
                  <a:lnTo>
                    <a:pt x="548" y="271"/>
                  </a:lnTo>
                  <a:lnTo>
                    <a:pt x="540" y="2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4" name="Rectangle 182">
              <a:extLst>
                <a:ext uri="{FF2B5EF4-FFF2-40B4-BE49-F238E27FC236}">
                  <a16:creationId xmlns:a16="http://schemas.microsoft.com/office/drawing/2014/main" id="{F9AF5974-23EF-44B6-B7CA-81538BF6FF35}"/>
                </a:ext>
              </a:extLst>
            </p:cNvPr>
            <p:cNvSpPr>
              <a:spLocks noChangeArrowheads="1"/>
            </p:cNvSpPr>
            <p:nvPr/>
          </p:nvSpPr>
          <p:spPr bwMode="auto">
            <a:xfrm>
              <a:off x="6093088" y="541770"/>
              <a:ext cx="29120" cy="1892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5" name="Freeform 183">
              <a:extLst>
                <a:ext uri="{FF2B5EF4-FFF2-40B4-BE49-F238E27FC236}">
                  <a16:creationId xmlns:a16="http://schemas.microsoft.com/office/drawing/2014/main" id="{AB7FC26E-D924-4612-8098-9CBC69C34349}"/>
                </a:ext>
              </a:extLst>
            </p:cNvPr>
            <p:cNvSpPr>
              <a:spLocks/>
            </p:cNvSpPr>
            <p:nvPr/>
          </p:nvSpPr>
          <p:spPr bwMode="auto">
            <a:xfrm>
              <a:off x="5765490" y="541770"/>
              <a:ext cx="206751" cy="206751"/>
            </a:xfrm>
            <a:custGeom>
              <a:avLst/>
              <a:gdLst>
                <a:gd name="T0" fmla="*/ 386 w 425"/>
                <a:gd name="T1" fmla="*/ 425 h 425"/>
                <a:gd name="T2" fmla="*/ 386 w 425"/>
                <a:gd name="T3" fmla="*/ 247 h 425"/>
                <a:gd name="T4" fmla="*/ 383 w 425"/>
                <a:gd name="T5" fmla="*/ 241 h 425"/>
                <a:gd name="T6" fmla="*/ 377 w 425"/>
                <a:gd name="T7" fmla="*/ 235 h 425"/>
                <a:gd name="T8" fmla="*/ 370 w 425"/>
                <a:gd name="T9" fmla="*/ 232 h 425"/>
                <a:gd name="T10" fmla="*/ 78 w 425"/>
                <a:gd name="T11" fmla="*/ 232 h 425"/>
                <a:gd name="T12" fmla="*/ 45 w 425"/>
                <a:gd name="T13" fmla="*/ 227 h 425"/>
                <a:gd name="T14" fmla="*/ 32 w 425"/>
                <a:gd name="T15" fmla="*/ 221 h 425"/>
                <a:gd name="T16" fmla="*/ 20 w 425"/>
                <a:gd name="T17" fmla="*/ 212 h 425"/>
                <a:gd name="T18" fmla="*/ 11 w 425"/>
                <a:gd name="T19" fmla="*/ 201 h 425"/>
                <a:gd name="T20" fmla="*/ 6 w 425"/>
                <a:gd name="T21" fmla="*/ 188 h 425"/>
                <a:gd name="T22" fmla="*/ 0 w 425"/>
                <a:gd name="T23" fmla="*/ 155 h 425"/>
                <a:gd name="T24" fmla="*/ 1 w 425"/>
                <a:gd name="T25" fmla="*/ 59 h 425"/>
                <a:gd name="T26" fmla="*/ 9 w 425"/>
                <a:gd name="T27" fmla="*/ 38 h 425"/>
                <a:gd name="T28" fmla="*/ 16 w 425"/>
                <a:gd name="T29" fmla="*/ 26 h 425"/>
                <a:gd name="T30" fmla="*/ 26 w 425"/>
                <a:gd name="T31" fmla="*/ 16 h 425"/>
                <a:gd name="T32" fmla="*/ 37 w 425"/>
                <a:gd name="T33" fmla="*/ 8 h 425"/>
                <a:gd name="T34" fmla="*/ 60 w 425"/>
                <a:gd name="T35" fmla="*/ 2 h 425"/>
                <a:gd name="T36" fmla="*/ 96 w 425"/>
                <a:gd name="T37" fmla="*/ 0 h 425"/>
                <a:gd name="T38" fmla="*/ 78 w 425"/>
                <a:gd name="T39" fmla="*/ 39 h 425"/>
                <a:gd name="T40" fmla="*/ 59 w 425"/>
                <a:gd name="T41" fmla="*/ 41 h 425"/>
                <a:gd name="T42" fmla="*/ 47 w 425"/>
                <a:gd name="T43" fmla="*/ 48 h 425"/>
                <a:gd name="T44" fmla="*/ 40 w 425"/>
                <a:gd name="T45" fmla="*/ 59 h 425"/>
                <a:gd name="T46" fmla="*/ 39 w 425"/>
                <a:gd name="T47" fmla="*/ 78 h 425"/>
                <a:gd name="T48" fmla="*/ 39 w 425"/>
                <a:gd name="T49" fmla="*/ 165 h 425"/>
                <a:gd name="T50" fmla="*/ 43 w 425"/>
                <a:gd name="T51" fmla="*/ 179 h 425"/>
                <a:gd name="T52" fmla="*/ 53 w 425"/>
                <a:gd name="T53" fmla="*/ 189 h 425"/>
                <a:gd name="T54" fmla="*/ 68 w 425"/>
                <a:gd name="T55" fmla="*/ 193 h 425"/>
                <a:gd name="T56" fmla="*/ 367 w 425"/>
                <a:gd name="T57" fmla="*/ 193 h 425"/>
                <a:gd name="T58" fmla="*/ 389 w 425"/>
                <a:gd name="T59" fmla="*/ 198 h 425"/>
                <a:gd name="T60" fmla="*/ 407 w 425"/>
                <a:gd name="T61" fmla="*/ 211 h 425"/>
                <a:gd name="T62" fmla="*/ 420 w 425"/>
                <a:gd name="T63" fmla="*/ 229 h 425"/>
                <a:gd name="T64" fmla="*/ 425 w 425"/>
                <a:gd name="T65" fmla="*/ 25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5" h="425">
                  <a:moveTo>
                    <a:pt x="425" y="425"/>
                  </a:moveTo>
                  <a:lnTo>
                    <a:pt x="386" y="425"/>
                  </a:lnTo>
                  <a:lnTo>
                    <a:pt x="386" y="251"/>
                  </a:lnTo>
                  <a:lnTo>
                    <a:pt x="386" y="247"/>
                  </a:lnTo>
                  <a:lnTo>
                    <a:pt x="384" y="244"/>
                  </a:lnTo>
                  <a:lnTo>
                    <a:pt x="383" y="241"/>
                  </a:lnTo>
                  <a:lnTo>
                    <a:pt x="380" y="238"/>
                  </a:lnTo>
                  <a:lnTo>
                    <a:pt x="377" y="235"/>
                  </a:lnTo>
                  <a:lnTo>
                    <a:pt x="374" y="234"/>
                  </a:lnTo>
                  <a:lnTo>
                    <a:pt x="370" y="232"/>
                  </a:lnTo>
                  <a:lnTo>
                    <a:pt x="367" y="232"/>
                  </a:lnTo>
                  <a:lnTo>
                    <a:pt x="78" y="232"/>
                  </a:lnTo>
                  <a:lnTo>
                    <a:pt x="60" y="231"/>
                  </a:lnTo>
                  <a:lnTo>
                    <a:pt x="45" y="227"/>
                  </a:lnTo>
                  <a:lnTo>
                    <a:pt x="37" y="224"/>
                  </a:lnTo>
                  <a:lnTo>
                    <a:pt x="32" y="221"/>
                  </a:lnTo>
                  <a:lnTo>
                    <a:pt x="26" y="216"/>
                  </a:lnTo>
                  <a:lnTo>
                    <a:pt x="20" y="212"/>
                  </a:lnTo>
                  <a:lnTo>
                    <a:pt x="16" y="206"/>
                  </a:lnTo>
                  <a:lnTo>
                    <a:pt x="11" y="201"/>
                  </a:lnTo>
                  <a:lnTo>
                    <a:pt x="9" y="195"/>
                  </a:lnTo>
                  <a:lnTo>
                    <a:pt x="6" y="188"/>
                  </a:lnTo>
                  <a:lnTo>
                    <a:pt x="1" y="172"/>
                  </a:lnTo>
                  <a:lnTo>
                    <a:pt x="0" y="155"/>
                  </a:lnTo>
                  <a:lnTo>
                    <a:pt x="0" y="78"/>
                  </a:lnTo>
                  <a:lnTo>
                    <a:pt x="1" y="59"/>
                  </a:lnTo>
                  <a:lnTo>
                    <a:pt x="6" y="45"/>
                  </a:lnTo>
                  <a:lnTo>
                    <a:pt x="9" y="38"/>
                  </a:lnTo>
                  <a:lnTo>
                    <a:pt x="11" y="32"/>
                  </a:lnTo>
                  <a:lnTo>
                    <a:pt x="16" y="26"/>
                  </a:lnTo>
                  <a:lnTo>
                    <a:pt x="20" y="21"/>
                  </a:lnTo>
                  <a:lnTo>
                    <a:pt x="26" y="16"/>
                  </a:lnTo>
                  <a:lnTo>
                    <a:pt x="32" y="12"/>
                  </a:lnTo>
                  <a:lnTo>
                    <a:pt x="37" y="8"/>
                  </a:lnTo>
                  <a:lnTo>
                    <a:pt x="45" y="5"/>
                  </a:lnTo>
                  <a:lnTo>
                    <a:pt x="60" y="2"/>
                  </a:lnTo>
                  <a:lnTo>
                    <a:pt x="78" y="0"/>
                  </a:lnTo>
                  <a:lnTo>
                    <a:pt x="96" y="0"/>
                  </a:lnTo>
                  <a:lnTo>
                    <a:pt x="96" y="39"/>
                  </a:lnTo>
                  <a:lnTo>
                    <a:pt x="78" y="39"/>
                  </a:lnTo>
                  <a:lnTo>
                    <a:pt x="68" y="39"/>
                  </a:lnTo>
                  <a:lnTo>
                    <a:pt x="59" y="41"/>
                  </a:lnTo>
                  <a:lnTo>
                    <a:pt x="53" y="44"/>
                  </a:lnTo>
                  <a:lnTo>
                    <a:pt x="47" y="48"/>
                  </a:lnTo>
                  <a:lnTo>
                    <a:pt x="43" y="54"/>
                  </a:lnTo>
                  <a:lnTo>
                    <a:pt x="40" y="59"/>
                  </a:lnTo>
                  <a:lnTo>
                    <a:pt x="39" y="68"/>
                  </a:lnTo>
                  <a:lnTo>
                    <a:pt x="39" y="78"/>
                  </a:lnTo>
                  <a:lnTo>
                    <a:pt x="39" y="155"/>
                  </a:lnTo>
                  <a:lnTo>
                    <a:pt x="39" y="165"/>
                  </a:lnTo>
                  <a:lnTo>
                    <a:pt x="40" y="172"/>
                  </a:lnTo>
                  <a:lnTo>
                    <a:pt x="43" y="179"/>
                  </a:lnTo>
                  <a:lnTo>
                    <a:pt x="47" y="185"/>
                  </a:lnTo>
                  <a:lnTo>
                    <a:pt x="53" y="189"/>
                  </a:lnTo>
                  <a:lnTo>
                    <a:pt x="59" y="191"/>
                  </a:lnTo>
                  <a:lnTo>
                    <a:pt x="68" y="193"/>
                  </a:lnTo>
                  <a:lnTo>
                    <a:pt x="78" y="193"/>
                  </a:lnTo>
                  <a:lnTo>
                    <a:pt x="367" y="193"/>
                  </a:lnTo>
                  <a:lnTo>
                    <a:pt x="379" y="195"/>
                  </a:lnTo>
                  <a:lnTo>
                    <a:pt x="389" y="198"/>
                  </a:lnTo>
                  <a:lnTo>
                    <a:pt x="399" y="203"/>
                  </a:lnTo>
                  <a:lnTo>
                    <a:pt x="407" y="211"/>
                  </a:lnTo>
                  <a:lnTo>
                    <a:pt x="415" y="219"/>
                  </a:lnTo>
                  <a:lnTo>
                    <a:pt x="420" y="229"/>
                  </a:lnTo>
                  <a:lnTo>
                    <a:pt x="423" y="239"/>
                  </a:lnTo>
                  <a:lnTo>
                    <a:pt x="425" y="251"/>
                  </a:lnTo>
                  <a:lnTo>
                    <a:pt x="425" y="4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6" name="Freeform 184">
              <a:extLst>
                <a:ext uri="{FF2B5EF4-FFF2-40B4-BE49-F238E27FC236}">
                  <a16:creationId xmlns:a16="http://schemas.microsoft.com/office/drawing/2014/main" id="{00CB09B9-B9FC-4DA7-B7BD-D3047BDB53E5}"/>
                </a:ext>
              </a:extLst>
            </p:cNvPr>
            <p:cNvSpPr>
              <a:spLocks noEditPoints="1"/>
            </p:cNvSpPr>
            <p:nvPr/>
          </p:nvSpPr>
          <p:spPr bwMode="auto">
            <a:xfrm>
              <a:off x="5924193" y="738328"/>
              <a:ext cx="75712" cy="177631"/>
            </a:xfrm>
            <a:custGeom>
              <a:avLst/>
              <a:gdLst>
                <a:gd name="T0" fmla="*/ 74 w 154"/>
                <a:gd name="T1" fmla="*/ 39 h 367"/>
                <a:gd name="T2" fmla="*/ 61 w 154"/>
                <a:gd name="T3" fmla="*/ 42 h 367"/>
                <a:gd name="T4" fmla="*/ 49 w 154"/>
                <a:gd name="T5" fmla="*/ 53 h 367"/>
                <a:gd name="T6" fmla="*/ 41 w 154"/>
                <a:gd name="T7" fmla="*/ 78 h 367"/>
                <a:gd name="T8" fmla="*/ 39 w 154"/>
                <a:gd name="T9" fmla="*/ 310 h 367"/>
                <a:gd name="T10" fmla="*/ 41 w 154"/>
                <a:gd name="T11" fmla="*/ 317 h 367"/>
                <a:gd name="T12" fmla="*/ 45 w 154"/>
                <a:gd name="T13" fmla="*/ 323 h 367"/>
                <a:gd name="T14" fmla="*/ 51 w 154"/>
                <a:gd name="T15" fmla="*/ 327 h 367"/>
                <a:gd name="T16" fmla="*/ 58 w 154"/>
                <a:gd name="T17" fmla="*/ 329 h 367"/>
                <a:gd name="T18" fmla="*/ 101 w 154"/>
                <a:gd name="T19" fmla="*/ 329 h 367"/>
                <a:gd name="T20" fmla="*/ 108 w 154"/>
                <a:gd name="T21" fmla="*/ 326 h 367"/>
                <a:gd name="T22" fmla="*/ 113 w 154"/>
                <a:gd name="T23" fmla="*/ 321 h 367"/>
                <a:gd name="T24" fmla="*/ 115 w 154"/>
                <a:gd name="T25" fmla="*/ 314 h 367"/>
                <a:gd name="T26" fmla="*/ 115 w 154"/>
                <a:gd name="T27" fmla="*/ 98 h 367"/>
                <a:gd name="T28" fmla="*/ 111 w 154"/>
                <a:gd name="T29" fmla="*/ 64 h 367"/>
                <a:gd name="T30" fmla="*/ 101 w 154"/>
                <a:gd name="T31" fmla="*/ 46 h 367"/>
                <a:gd name="T32" fmla="*/ 88 w 154"/>
                <a:gd name="T33" fmla="*/ 40 h 367"/>
                <a:gd name="T34" fmla="*/ 78 w 154"/>
                <a:gd name="T35" fmla="*/ 39 h 367"/>
                <a:gd name="T36" fmla="*/ 58 w 154"/>
                <a:gd name="T37" fmla="*/ 367 h 367"/>
                <a:gd name="T38" fmla="*/ 36 w 154"/>
                <a:gd name="T39" fmla="*/ 363 h 367"/>
                <a:gd name="T40" fmla="*/ 17 w 154"/>
                <a:gd name="T41" fmla="*/ 350 h 367"/>
                <a:gd name="T42" fmla="*/ 5 w 154"/>
                <a:gd name="T43" fmla="*/ 333 h 367"/>
                <a:gd name="T44" fmla="*/ 0 w 154"/>
                <a:gd name="T45" fmla="*/ 310 h 367"/>
                <a:gd name="T46" fmla="*/ 0 w 154"/>
                <a:gd name="T47" fmla="*/ 87 h 367"/>
                <a:gd name="T48" fmla="*/ 3 w 154"/>
                <a:gd name="T49" fmla="*/ 66 h 367"/>
                <a:gd name="T50" fmla="*/ 9 w 154"/>
                <a:gd name="T51" fmla="*/ 48 h 367"/>
                <a:gd name="T52" fmla="*/ 16 w 154"/>
                <a:gd name="T53" fmla="*/ 33 h 367"/>
                <a:gd name="T54" fmla="*/ 26 w 154"/>
                <a:gd name="T55" fmla="*/ 20 h 367"/>
                <a:gd name="T56" fmla="*/ 38 w 154"/>
                <a:gd name="T57" fmla="*/ 12 h 367"/>
                <a:gd name="T58" fmla="*/ 52 w 154"/>
                <a:gd name="T59" fmla="*/ 4 h 367"/>
                <a:gd name="T60" fmla="*/ 68 w 154"/>
                <a:gd name="T61" fmla="*/ 2 h 367"/>
                <a:gd name="T62" fmla="*/ 87 w 154"/>
                <a:gd name="T63" fmla="*/ 2 h 367"/>
                <a:gd name="T64" fmla="*/ 102 w 154"/>
                <a:gd name="T65" fmla="*/ 4 h 367"/>
                <a:gd name="T66" fmla="*/ 117 w 154"/>
                <a:gd name="T67" fmla="*/ 12 h 367"/>
                <a:gd name="T68" fmla="*/ 128 w 154"/>
                <a:gd name="T69" fmla="*/ 20 h 367"/>
                <a:gd name="T70" fmla="*/ 138 w 154"/>
                <a:gd name="T71" fmla="*/ 33 h 367"/>
                <a:gd name="T72" fmla="*/ 147 w 154"/>
                <a:gd name="T73" fmla="*/ 48 h 367"/>
                <a:gd name="T74" fmla="*/ 151 w 154"/>
                <a:gd name="T75" fmla="*/ 66 h 367"/>
                <a:gd name="T76" fmla="*/ 154 w 154"/>
                <a:gd name="T77" fmla="*/ 87 h 367"/>
                <a:gd name="T78" fmla="*/ 154 w 154"/>
                <a:gd name="T79" fmla="*/ 310 h 367"/>
                <a:gd name="T80" fmla="*/ 150 w 154"/>
                <a:gd name="T81" fmla="*/ 333 h 367"/>
                <a:gd name="T82" fmla="*/ 137 w 154"/>
                <a:gd name="T83" fmla="*/ 350 h 367"/>
                <a:gd name="T84" fmla="*/ 120 w 154"/>
                <a:gd name="T85" fmla="*/ 363 h 367"/>
                <a:gd name="T86" fmla="*/ 97 w 154"/>
                <a:gd name="T87"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367">
                  <a:moveTo>
                    <a:pt x="78" y="39"/>
                  </a:moveTo>
                  <a:lnTo>
                    <a:pt x="74" y="39"/>
                  </a:lnTo>
                  <a:lnTo>
                    <a:pt x="68" y="40"/>
                  </a:lnTo>
                  <a:lnTo>
                    <a:pt x="61" y="42"/>
                  </a:lnTo>
                  <a:lnTo>
                    <a:pt x="55" y="46"/>
                  </a:lnTo>
                  <a:lnTo>
                    <a:pt x="49" y="53"/>
                  </a:lnTo>
                  <a:lnTo>
                    <a:pt x="43" y="64"/>
                  </a:lnTo>
                  <a:lnTo>
                    <a:pt x="41" y="78"/>
                  </a:lnTo>
                  <a:lnTo>
                    <a:pt x="39" y="98"/>
                  </a:lnTo>
                  <a:lnTo>
                    <a:pt x="39" y="310"/>
                  </a:lnTo>
                  <a:lnTo>
                    <a:pt x="39" y="314"/>
                  </a:lnTo>
                  <a:lnTo>
                    <a:pt x="41" y="317"/>
                  </a:lnTo>
                  <a:lnTo>
                    <a:pt x="42" y="321"/>
                  </a:lnTo>
                  <a:lnTo>
                    <a:pt x="45" y="323"/>
                  </a:lnTo>
                  <a:lnTo>
                    <a:pt x="48" y="326"/>
                  </a:lnTo>
                  <a:lnTo>
                    <a:pt x="51" y="327"/>
                  </a:lnTo>
                  <a:lnTo>
                    <a:pt x="55" y="329"/>
                  </a:lnTo>
                  <a:lnTo>
                    <a:pt x="58" y="329"/>
                  </a:lnTo>
                  <a:lnTo>
                    <a:pt x="97" y="329"/>
                  </a:lnTo>
                  <a:lnTo>
                    <a:pt x="101" y="329"/>
                  </a:lnTo>
                  <a:lnTo>
                    <a:pt x="104" y="327"/>
                  </a:lnTo>
                  <a:lnTo>
                    <a:pt x="108" y="326"/>
                  </a:lnTo>
                  <a:lnTo>
                    <a:pt x="111" y="323"/>
                  </a:lnTo>
                  <a:lnTo>
                    <a:pt x="113" y="321"/>
                  </a:lnTo>
                  <a:lnTo>
                    <a:pt x="114" y="317"/>
                  </a:lnTo>
                  <a:lnTo>
                    <a:pt x="115" y="314"/>
                  </a:lnTo>
                  <a:lnTo>
                    <a:pt x="115" y="310"/>
                  </a:lnTo>
                  <a:lnTo>
                    <a:pt x="115" y="98"/>
                  </a:lnTo>
                  <a:lnTo>
                    <a:pt x="115" y="78"/>
                  </a:lnTo>
                  <a:lnTo>
                    <a:pt x="111" y="64"/>
                  </a:lnTo>
                  <a:lnTo>
                    <a:pt x="107" y="53"/>
                  </a:lnTo>
                  <a:lnTo>
                    <a:pt x="101" y="46"/>
                  </a:lnTo>
                  <a:lnTo>
                    <a:pt x="94" y="42"/>
                  </a:lnTo>
                  <a:lnTo>
                    <a:pt x="88" y="40"/>
                  </a:lnTo>
                  <a:lnTo>
                    <a:pt x="82" y="39"/>
                  </a:lnTo>
                  <a:lnTo>
                    <a:pt x="78" y="39"/>
                  </a:lnTo>
                  <a:close/>
                  <a:moveTo>
                    <a:pt x="97" y="367"/>
                  </a:moveTo>
                  <a:lnTo>
                    <a:pt x="58" y="367"/>
                  </a:lnTo>
                  <a:lnTo>
                    <a:pt x="46" y="366"/>
                  </a:lnTo>
                  <a:lnTo>
                    <a:pt x="36" y="363"/>
                  </a:lnTo>
                  <a:lnTo>
                    <a:pt x="26" y="357"/>
                  </a:lnTo>
                  <a:lnTo>
                    <a:pt x="17" y="350"/>
                  </a:lnTo>
                  <a:lnTo>
                    <a:pt x="10" y="341"/>
                  </a:lnTo>
                  <a:lnTo>
                    <a:pt x="5" y="333"/>
                  </a:lnTo>
                  <a:lnTo>
                    <a:pt x="2" y="321"/>
                  </a:lnTo>
                  <a:lnTo>
                    <a:pt x="0" y="310"/>
                  </a:lnTo>
                  <a:lnTo>
                    <a:pt x="0" y="98"/>
                  </a:lnTo>
                  <a:lnTo>
                    <a:pt x="0" y="87"/>
                  </a:lnTo>
                  <a:lnTo>
                    <a:pt x="2" y="76"/>
                  </a:lnTo>
                  <a:lnTo>
                    <a:pt x="3" y="66"/>
                  </a:lnTo>
                  <a:lnTo>
                    <a:pt x="6" y="56"/>
                  </a:lnTo>
                  <a:lnTo>
                    <a:pt x="9" y="48"/>
                  </a:lnTo>
                  <a:lnTo>
                    <a:pt x="12" y="40"/>
                  </a:lnTo>
                  <a:lnTo>
                    <a:pt x="16" y="33"/>
                  </a:lnTo>
                  <a:lnTo>
                    <a:pt x="20" y="26"/>
                  </a:lnTo>
                  <a:lnTo>
                    <a:pt x="26" y="20"/>
                  </a:lnTo>
                  <a:lnTo>
                    <a:pt x="32" y="16"/>
                  </a:lnTo>
                  <a:lnTo>
                    <a:pt x="38" y="12"/>
                  </a:lnTo>
                  <a:lnTo>
                    <a:pt x="45" y="7"/>
                  </a:lnTo>
                  <a:lnTo>
                    <a:pt x="52" y="4"/>
                  </a:lnTo>
                  <a:lnTo>
                    <a:pt x="61" y="3"/>
                  </a:lnTo>
                  <a:lnTo>
                    <a:pt x="68" y="2"/>
                  </a:lnTo>
                  <a:lnTo>
                    <a:pt x="78" y="0"/>
                  </a:lnTo>
                  <a:lnTo>
                    <a:pt x="87" y="2"/>
                  </a:lnTo>
                  <a:lnTo>
                    <a:pt x="95" y="3"/>
                  </a:lnTo>
                  <a:lnTo>
                    <a:pt x="102" y="4"/>
                  </a:lnTo>
                  <a:lnTo>
                    <a:pt x="110" y="7"/>
                  </a:lnTo>
                  <a:lnTo>
                    <a:pt x="117" y="12"/>
                  </a:lnTo>
                  <a:lnTo>
                    <a:pt x="123" y="16"/>
                  </a:lnTo>
                  <a:lnTo>
                    <a:pt x="128" y="20"/>
                  </a:lnTo>
                  <a:lnTo>
                    <a:pt x="134" y="26"/>
                  </a:lnTo>
                  <a:lnTo>
                    <a:pt x="138" y="33"/>
                  </a:lnTo>
                  <a:lnTo>
                    <a:pt x="143" y="40"/>
                  </a:lnTo>
                  <a:lnTo>
                    <a:pt x="147" y="48"/>
                  </a:lnTo>
                  <a:lnTo>
                    <a:pt x="150" y="56"/>
                  </a:lnTo>
                  <a:lnTo>
                    <a:pt x="151" y="66"/>
                  </a:lnTo>
                  <a:lnTo>
                    <a:pt x="153" y="76"/>
                  </a:lnTo>
                  <a:lnTo>
                    <a:pt x="154" y="87"/>
                  </a:lnTo>
                  <a:lnTo>
                    <a:pt x="154" y="98"/>
                  </a:lnTo>
                  <a:lnTo>
                    <a:pt x="154" y="310"/>
                  </a:lnTo>
                  <a:lnTo>
                    <a:pt x="153" y="321"/>
                  </a:lnTo>
                  <a:lnTo>
                    <a:pt x="150" y="333"/>
                  </a:lnTo>
                  <a:lnTo>
                    <a:pt x="144" y="341"/>
                  </a:lnTo>
                  <a:lnTo>
                    <a:pt x="137" y="350"/>
                  </a:lnTo>
                  <a:lnTo>
                    <a:pt x="130" y="357"/>
                  </a:lnTo>
                  <a:lnTo>
                    <a:pt x="120" y="363"/>
                  </a:lnTo>
                  <a:lnTo>
                    <a:pt x="108" y="366"/>
                  </a:lnTo>
                  <a:lnTo>
                    <a:pt x="97" y="3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17" name="Group 41">
            <a:extLst>
              <a:ext uri="{FF2B5EF4-FFF2-40B4-BE49-F238E27FC236}">
                <a16:creationId xmlns:a16="http://schemas.microsoft.com/office/drawing/2014/main" id="{71503734-54AD-46BC-8A90-3227BBBC8F4B}"/>
              </a:ext>
            </a:extLst>
          </p:cNvPr>
          <p:cNvGrpSpPr>
            <a:grpSpLocks noChangeAspect="1"/>
          </p:cNvGrpSpPr>
          <p:nvPr/>
        </p:nvGrpSpPr>
        <p:grpSpPr>
          <a:xfrm>
            <a:off x="661709" y="5417576"/>
            <a:ext cx="304780" cy="306484"/>
            <a:chOff x="6472238" y="1338263"/>
            <a:chExt cx="284162" cy="285750"/>
          </a:xfrm>
          <a:solidFill>
            <a:schemeClr val="bg2"/>
          </a:solidFill>
          <a:effectLst/>
        </p:grpSpPr>
        <p:sp>
          <p:nvSpPr>
            <p:cNvPr id="618" name="Freeform 219">
              <a:extLst>
                <a:ext uri="{FF2B5EF4-FFF2-40B4-BE49-F238E27FC236}">
                  <a16:creationId xmlns:a16="http://schemas.microsoft.com/office/drawing/2014/main" id="{C64490CF-1072-4F52-8038-6A094532782E}"/>
                </a:ext>
              </a:extLst>
            </p:cNvPr>
            <p:cNvSpPr>
              <a:spLocks noEditPoints="1"/>
            </p:cNvSpPr>
            <p:nvPr/>
          </p:nvSpPr>
          <p:spPr bwMode="auto">
            <a:xfrm>
              <a:off x="6472238" y="1338263"/>
              <a:ext cx="284162" cy="285750"/>
            </a:xfrm>
            <a:custGeom>
              <a:avLst/>
              <a:gdLst>
                <a:gd name="T0" fmla="*/ 150 w 896"/>
                <a:gd name="T1" fmla="*/ 867 h 897"/>
                <a:gd name="T2" fmla="*/ 284 w 896"/>
                <a:gd name="T3" fmla="*/ 150 h 897"/>
                <a:gd name="T4" fmla="*/ 748 w 896"/>
                <a:gd name="T5" fmla="*/ 150 h 897"/>
                <a:gd name="T6" fmla="*/ 299 w 896"/>
                <a:gd name="T7" fmla="*/ 30 h 897"/>
                <a:gd name="T8" fmla="*/ 598 w 896"/>
                <a:gd name="T9" fmla="*/ 120 h 897"/>
                <a:gd name="T10" fmla="*/ 299 w 896"/>
                <a:gd name="T11" fmla="*/ 30 h 897"/>
                <a:gd name="T12" fmla="*/ 762 w 896"/>
                <a:gd name="T13" fmla="*/ 120 h 897"/>
                <a:gd name="T14" fmla="*/ 628 w 896"/>
                <a:gd name="T15" fmla="*/ 15 h 897"/>
                <a:gd name="T16" fmla="*/ 627 w 896"/>
                <a:gd name="T17" fmla="*/ 10 h 897"/>
                <a:gd name="T18" fmla="*/ 624 w 896"/>
                <a:gd name="T19" fmla="*/ 5 h 897"/>
                <a:gd name="T20" fmla="*/ 618 w 896"/>
                <a:gd name="T21" fmla="*/ 1 h 897"/>
                <a:gd name="T22" fmla="*/ 613 w 896"/>
                <a:gd name="T23" fmla="*/ 0 h 897"/>
                <a:gd name="T24" fmla="*/ 281 w 896"/>
                <a:gd name="T25" fmla="*/ 1 h 897"/>
                <a:gd name="T26" fmla="*/ 276 w 896"/>
                <a:gd name="T27" fmla="*/ 4 h 897"/>
                <a:gd name="T28" fmla="*/ 272 w 896"/>
                <a:gd name="T29" fmla="*/ 8 h 897"/>
                <a:gd name="T30" fmla="*/ 270 w 896"/>
                <a:gd name="T31" fmla="*/ 13 h 897"/>
                <a:gd name="T32" fmla="*/ 269 w 896"/>
                <a:gd name="T33" fmla="*/ 120 h 897"/>
                <a:gd name="T34" fmla="*/ 15 w 896"/>
                <a:gd name="T35" fmla="*/ 120 h 897"/>
                <a:gd name="T36" fmla="*/ 9 w 896"/>
                <a:gd name="T37" fmla="*/ 121 h 897"/>
                <a:gd name="T38" fmla="*/ 4 w 896"/>
                <a:gd name="T39" fmla="*/ 124 h 897"/>
                <a:gd name="T40" fmla="*/ 1 w 896"/>
                <a:gd name="T41" fmla="*/ 130 h 897"/>
                <a:gd name="T42" fmla="*/ 0 w 896"/>
                <a:gd name="T43" fmla="*/ 135 h 897"/>
                <a:gd name="T44" fmla="*/ 1 w 896"/>
                <a:gd name="T45" fmla="*/ 141 h 897"/>
                <a:gd name="T46" fmla="*/ 4 w 896"/>
                <a:gd name="T47" fmla="*/ 146 h 897"/>
                <a:gd name="T48" fmla="*/ 9 w 896"/>
                <a:gd name="T49" fmla="*/ 149 h 897"/>
                <a:gd name="T50" fmla="*/ 15 w 896"/>
                <a:gd name="T51" fmla="*/ 150 h 897"/>
                <a:gd name="T52" fmla="*/ 120 w 896"/>
                <a:gd name="T53" fmla="*/ 882 h 897"/>
                <a:gd name="T54" fmla="*/ 121 w 896"/>
                <a:gd name="T55" fmla="*/ 888 h 897"/>
                <a:gd name="T56" fmla="*/ 124 w 896"/>
                <a:gd name="T57" fmla="*/ 893 h 897"/>
                <a:gd name="T58" fmla="*/ 128 w 896"/>
                <a:gd name="T59" fmla="*/ 896 h 897"/>
                <a:gd name="T60" fmla="*/ 135 w 896"/>
                <a:gd name="T61" fmla="*/ 897 h 897"/>
                <a:gd name="T62" fmla="*/ 765 w 896"/>
                <a:gd name="T63" fmla="*/ 896 h 897"/>
                <a:gd name="T64" fmla="*/ 770 w 896"/>
                <a:gd name="T65" fmla="*/ 894 h 897"/>
                <a:gd name="T66" fmla="*/ 775 w 896"/>
                <a:gd name="T67" fmla="*/ 891 h 897"/>
                <a:gd name="T68" fmla="*/ 777 w 896"/>
                <a:gd name="T69" fmla="*/ 886 h 897"/>
                <a:gd name="T70" fmla="*/ 777 w 896"/>
                <a:gd name="T71" fmla="*/ 150 h 897"/>
                <a:gd name="T72" fmla="*/ 885 w 896"/>
                <a:gd name="T73" fmla="*/ 150 h 897"/>
                <a:gd name="T74" fmla="*/ 890 w 896"/>
                <a:gd name="T75" fmla="*/ 148 h 897"/>
                <a:gd name="T76" fmla="*/ 894 w 896"/>
                <a:gd name="T77" fmla="*/ 144 h 897"/>
                <a:gd name="T78" fmla="*/ 896 w 896"/>
                <a:gd name="T79" fmla="*/ 138 h 897"/>
                <a:gd name="T80" fmla="*/ 896 w 896"/>
                <a:gd name="T81" fmla="*/ 132 h 897"/>
                <a:gd name="T82" fmla="*/ 894 w 896"/>
                <a:gd name="T83" fmla="*/ 126 h 897"/>
                <a:gd name="T84" fmla="*/ 890 w 896"/>
                <a:gd name="T85" fmla="*/ 123 h 897"/>
                <a:gd name="T86" fmla="*/ 885 w 896"/>
                <a:gd name="T87" fmla="*/ 120 h 897"/>
                <a:gd name="T88" fmla="*/ 882 w 896"/>
                <a:gd name="T89" fmla="*/ 12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6" h="897">
                  <a:moveTo>
                    <a:pt x="748" y="867"/>
                  </a:moveTo>
                  <a:lnTo>
                    <a:pt x="150" y="867"/>
                  </a:lnTo>
                  <a:lnTo>
                    <a:pt x="150" y="150"/>
                  </a:lnTo>
                  <a:lnTo>
                    <a:pt x="284" y="150"/>
                  </a:lnTo>
                  <a:lnTo>
                    <a:pt x="613" y="150"/>
                  </a:lnTo>
                  <a:lnTo>
                    <a:pt x="748" y="150"/>
                  </a:lnTo>
                  <a:lnTo>
                    <a:pt x="748" y="867"/>
                  </a:lnTo>
                  <a:close/>
                  <a:moveTo>
                    <a:pt x="299" y="30"/>
                  </a:moveTo>
                  <a:lnTo>
                    <a:pt x="598" y="30"/>
                  </a:lnTo>
                  <a:lnTo>
                    <a:pt x="598" y="120"/>
                  </a:lnTo>
                  <a:lnTo>
                    <a:pt x="299" y="120"/>
                  </a:lnTo>
                  <a:lnTo>
                    <a:pt x="299" y="30"/>
                  </a:lnTo>
                  <a:close/>
                  <a:moveTo>
                    <a:pt x="882" y="120"/>
                  </a:moveTo>
                  <a:lnTo>
                    <a:pt x="762" y="120"/>
                  </a:lnTo>
                  <a:lnTo>
                    <a:pt x="628" y="120"/>
                  </a:lnTo>
                  <a:lnTo>
                    <a:pt x="628" y="15"/>
                  </a:lnTo>
                  <a:lnTo>
                    <a:pt x="627" y="13"/>
                  </a:lnTo>
                  <a:lnTo>
                    <a:pt x="627" y="10"/>
                  </a:lnTo>
                  <a:lnTo>
                    <a:pt x="625" y="8"/>
                  </a:lnTo>
                  <a:lnTo>
                    <a:pt x="624" y="5"/>
                  </a:lnTo>
                  <a:lnTo>
                    <a:pt x="622" y="4"/>
                  </a:lnTo>
                  <a:lnTo>
                    <a:pt x="618" y="1"/>
                  </a:lnTo>
                  <a:lnTo>
                    <a:pt x="616" y="1"/>
                  </a:lnTo>
                  <a:lnTo>
                    <a:pt x="613" y="0"/>
                  </a:lnTo>
                  <a:lnTo>
                    <a:pt x="284" y="0"/>
                  </a:lnTo>
                  <a:lnTo>
                    <a:pt x="281" y="1"/>
                  </a:lnTo>
                  <a:lnTo>
                    <a:pt x="278" y="2"/>
                  </a:lnTo>
                  <a:lnTo>
                    <a:pt x="276" y="4"/>
                  </a:lnTo>
                  <a:lnTo>
                    <a:pt x="274" y="6"/>
                  </a:lnTo>
                  <a:lnTo>
                    <a:pt x="272" y="8"/>
                  </a:lnTo>
                  <a:lnTo>
                    <a:pt x="271" y="10"/>
                  </a:lnTo>
                  <a:lnTo>
                    <a:pt x="270" y="13"/>
                  </a:lnTo>
                  <a:lnTo>
                    <a:pt x="269" y="15"/>
                  </a:lnTo>
                  <a:lnTo>
                    <a:pt x="269" y="120"/>
                  </a:lnTo>
                  <a:lnTo>
                    <a:pt x="135" y="120"/>
                  </a:lnTo>
                  <a:lnTo>
                    <a:pt x="15" y="120"/>
                  </a:lnTo>
                  <a:lnTo>
                    <a:pt x="12" y="120"/>
                  </a:lnTo>
                  <a:lnTo>
                    <a:pt x="9" y="121"/>
                  </a:lnTo>
                  <a:lnTo>
                    <a:pt x="7" y="122"/>
                  </a:lnTo>
                  <a:lnTo>
                    <a:pt x="4" y="124"/>
                  </a:lnTo>
                  <a:lnTo>
                    <a:pt x="2" y="126"/>
                  </a:lnTo>
                  <a:lnTo>
                    <a:pt x="1" y="130"/>
                  </a:lnTo>
                  <a:lnTo>
                    <a:pt x="0" y="132"/>
                  </a:lnTo>
                  <a:lnTo>
                    <a:pt x="0" y="135"/>
                  </a:lnTo>
                  <a:lnTo>
                    <a:pt x="0" y="138"/>
                  </a:lnTo>
                  <a:lnTo>
                    <a:pt x="1" y="141"/>
                  </a:lnTo>
                  <a:lnTo>
                    <a:pt x="2" y="144"/>
                  </a:lnTo>
                  <a:lnTo>
                    <a:pt x="4" y="146"/>
                  </a:lnTo>
                  <a:lnTo>
                    <a:pt x="7" y="148"/>
                  </a:lnTo>
                  <a:lnTo>
                    <a:pt x="9" y="149"/>
                  </a:lnTo>
                  <a:lnTo>
                    <a:pt x="12" y="150"/>
                  </a:lnTo>
                  <a:lnTo>
                    <a:pt x="15" y="150"/>
                  </a:lnTo>
                  <a:lnTo>
                    <a:pt x="120" y="150"/>
                  </a:lnTo>
                  <a:lnTo>
                    <a:pt x="120" y="882"/>
                  </a:lnTo>
                  <a:lnTo>
                    <a:pt x="120" y="885"/>
                  </a:lnTo>
                  <a:lnTo>
                    <a:pt x="121" y="888"/>
                  </a:lnTo>
                  <a:lnTo>
                    <a:pt x="122" y="890"/>
                  </a:lnTo>
                  <a:lnTo>
                    <a:pt x="124" y="893"/>
                  </a:lnTo>
                  <a:lnTo>
                    <a:pt x="126" y="894"/>
                  </a:lnTo>
                  <a:lnTo>
                    <a:pt x="128" y="896"/>
                  </a:lnTo>
                  <a:lnTo>
                    <a:pt x="132" y="896"/>
                  </a:lnTo>
                  <a:lnTo>
                    <a:pt x="135" y="897"/>
                  </a:lnTo>
                  <a:lnTo>
                    <a:pt x="762" y="897"/>
                  </a:lnTo>
                  <a:lnTo>
                    <a:pt x="765" y="896"/>
                  </a:lnTo>
                  <a:lnTo>
                    <a:pt x="768" y="896"/>
                  </a:lnTo>
                  <a:lnTo>
                    <a:pt x="770" y="894"/>
                  </a:lnTo>
                  <a:lnTo>
                    <a:pt x="772" y="893"/>
                  </a:lnTo>
                  <a:lnTo>
                    <a:pt x="775" y="891"/>
                  </a:lnTo>
                  <a:lnTo>
                    <a:pt x="776" y="888"/>
                  </a:lnTo>
                  <a:lnTo>
                    <a:pt x="777" y="886"/>
                  </a:lnTo>
                  <a:lnTo>
                    <a:pt x="777" y="882"/>
                  </a:lnTo>
                  <a:lnTo>
                    <a:pt x="777" y="150"/>
                  </a:lnTo>
                  <a:lnTo>
                    <a:pt x="882" y="150"/>
                  </a:lnTo>
                  <a:lnTo>
                    <a:pt x="885" y="150"/>
                  </a:lnTo>
                  <a:lnTo>
                    <a:pt x="888" y="149"/>
                  </a:lnTo>
                  <a:lnTo>
                    <a:pt x="890" y="148"/>
                  </a:lnTo>
                  <a:lnTo>
                    <a:pt x="892" y="146"/>
                  </a:lnTo>
                  <a:lnTo>
                    <a:pt x="894" y="144"/>
                  </a:lnTo>
                  <a:lnTo>
                    <a:pt x="895" y="141"/>
                  </a:lnTo>
                  <a:lnTo>
                    <a:pt x="896" y="138"/>
                  </a:lnTo>
                  <a:lnTo>
                    <a:pt x="896" y="135"/>
                  </a:lnTo>
                  <a:lnTo>
                    <a:pt x="896" y="132"/>
                  </a:lnTo>
                  <a:lnTo>
                    <a:pt x="895" y="130"/>
                  </a:lnTo>
                  <a:lnTo>
                    <a:pt x="894" y="126"/>
                  </a:lnTo>
                  <a:lnTo>
                    <a:pt x="892" y="124"/>
                  </a:lnTo>
                  <a:lnTo>
                    <a:pt x="890" y="123"/>
                  </a:lnTo>
                  <a:lnTo>
                    <a:pt x="888" y="121"/>
                  </a:lnTo>
                  <a:lnTo>
                    <a:pt x="885" y="120"/>
                  </a:lnTo>
                  <a:lnTo>
                    <a:pt x="882" y="120"/>
                  </a:lnTo>
                  <a:lnTo>
                    <a:pt x="88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20">
              <a:extLst>
                <a:ext uri="{FF2B5EF4-FFF2-40B4-BE49-F238E27FC236}">
                  <a16:creationId xmlns:a16="http://schemas.microsoft.com/office/drawing/2014/main" id="{4F0577D8-3AF1-4F71-A9F8-DCCDD383535E}"/>
                </a:ext>
              </a:extLst>
            </p:cNvPr>
            <p:cNvSpPr>
              <a:spLocks/>
            </p:cNvSpPr>
            <p:nvPr/>
          </p:nvSpPr>
          <p:spPr bwMode="auto">
            <a:xfrm>
              <a:off x="6556375" y="1428751"/>
              <a:ext cx="9525" cy="142875"/>
            </a:xfrm>
            <a:custGeom>
              <a:avLst/>
              <a:gdLst>
                <a:gd name="T0" fmla="*/ 15 w 30"/>
                <a:gd name="T1" fmla="*/ 0 h 448"/>
                <a:gd name="T2" fmla="*/ 12 w 30"/>
                <a:gd name="T3" fmla="*/ 0 h 448"/>
                <a:gd name="T4" fmla="*/ 9 w 30"/>
                <a:gd name="T5" fmla="*/ 1 h 448"/>
                <a:gd name="T6" fmla="*/ 7 w 30"/>
                <a:gd name="T7" fmla="*/ 2 h 448"/>
                <a:gd name="T8" fmla="*/ 5 w 30"/>
                <a:gd name="T9" fmla="*/ 4 h 448"/>
                <a:gd name="T10" fmla="*/ 3 w 30"/>
                <a:gd name="T11" fmla="*/ 6 h 448"/>
                <a:gd name="T12" fmla="*/ 2 w 30"/>
                <a:gd name="T13" fmla="*/ 8 h 448"/>
                <a:gd name="T14" fmla="*/ 1 w 30"/>
                <a:gd name="T15" fmla="*/ 12 h 448"/>
                <a:gd name="T16" fmla="*/ 0 w 30"/>
                <a:gd name="T17" fmla="*/ 15 h 448"/>
                <a:gd name="T18" fmla="*/ 0 w 30"/>
                <a:gd name="T19" fmla="*/ 433 h 448"/>
                <a:gd name="T20" fmla="*/ 1 w 30"/>
                <a:gd name="T21" fmla="*/ 436 h 448"/>
                <a:gd name="T22" fmla="*/ 2 w 30"/>
                <a:gd name="T23" fmla="*/ 438 h 448"/>
                <a:gd name="T24" fmla="*/ 3 w 30"/>
                <a:gd name="T25" fmla="*/ 441 h 448"/>
                <a:gd name="T26" fmla="*/ 5 w 30"/>
                <a:gd name="T27" fmla="*/ 443 h 448"/>
                <a:gd name="T28" fmla="*/ 7 w 30"/>
                <a:gd name="T29" fmla="*/ 446 h 448"/>
                <a:gd name="T30" fmla="*/ 9 w 30"/>
                <a:gd name="T31" fmla="*/ 447 h 448"/>
                <a:gd name="T32" fmla="*/ 12 w 30"/>
                <a:gd name="T33" fmla="*/ 448 h 448"/>
                <a:gd name="T34" fmla="*/ 15 w 30"/>
                <a:gd name="T35" fmla="*/ 448 h 448"/>
                <a:gd name="T36" fmla="*/ 18 w 30"/>
                <a:gd name="T37" fmla="*/ 448 h 448"/>
                <a:gd name="T38" fmla="*/ 21 w 30"/>
                <a:gd name="T39" fmla="*/ 447 h 448"/>
                <a:gd name="T40" fmla="*/ 23 w 30"/>
                <a:gd name="T41" fmla="*/ 446 h 448"/>
                <a:gd name="T42" fmla="*/ 25 w 30"/>
                <a:gd name="T43" fmla="*/ 443 h 448"/>
                <a:gd name="T44" fmla="*/ 27 w 30"/>
                <a:gd name="T45" fmla="*/ 441 h 448"/>
                <a:gd name="T46" fmla="*/ 28 w 30"/>
                <a:gd name="T47" fmla="*/ 438 h 448"/>
                <a:gd name="T48" fmla="*/ 30 w 30"/>
                <a:gd name="T49" fmla="*/ 436 h 448"/>
                <a:gd name="T50" fmla="*/ 30 w 30"/>
                <a:gd name="T51" fmla="*/ 433 h 448"/>
                <a:gd name="T52" fmla="*/ 30 w 30"/>
                <a:gd name="T53" fmla="*/ 15 h 448"/>
                <a:gd name="T54" fmla="*/ 30 w 30"/>
                <a:gd name="T55" fmla="*/ 12 h 448"/>
                <a:gd name="T56" fmla="*/ 28 w 30"/>
                <a:gd name="T57" fmla="*/ 8 h 448"/>
                <a:gd name="T58" fmla="*/ 27 w 30"/>
                <a:gd name="T59" fmla="*/ 6 h 448"/>
                <a:gd name="T60" fmla="*/ 25 w 30"/>
                <a:gd name="T61" fmla="*/ 4 h 448"/>
                <a:gd name="T62" fmla="*/ 23 w 30"/>
                <a:gd name="T63" fmla="*/ 2 h 448"/>
                <a:gd name="T64" fmla="*/ 21 w 30"/>
                <a:gd name="T65" fmla="*/ 1 h 448"/>
                <a:gd name="T66" fmla="*/ 18 w 30"/>
                <a:gd name="T67" fmla="*/ 0 h 448"/>
                <a:gd name="T68" fmla="*/ 15 w 3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15" y="0"/>
                  </a:moveTo>
                  <a:lnTo>
                    <a:pt x="12" y="0"/>
                  </a:lnTo>
                  <a:lnTo>
                    <a:pt x="9" y="1"/>
                  </a:lnTo>
                  <a:lnTo>
                    <a:pt x="7" y="2"/>
                  </a:lnTo>
                  <a:lnTo>
                    <a:pt x="5" y="4"/>
                  </a:lnTo>
                  <a:lnTo>
                    <a:pt x="3" y="6"/>
                  </a:lnTo>
                  <a:lnTo>
                    <a:pt x="2" y="8"/>
                  </a:lnTo>
                  <a:lnTo>
                    <a:pt x="1" y="12"/>
                  </a:lnTo>
                  <a:lnTo>
                    <a:pt x="0" y="15"/>
                  </a:lnTo>
                  <a:lnTo>
                    <a:pt x="0" y="433"/>
                  </a:lnTo>
                  <a:lnTo>
                    <a:pt x="1" y="436"/>
                  </a:lnTo>
                  <a:lnTo>
                    <a:pt x="2" y="438"/>
                  </a:lnTo>
                  <a:lnTo>
                    <a:pt x="3" y="441"/>
                  </a:lnTo>
                  <a:lnTo>
                    <a:pt x="5" y="443"/>
                  </a:lnTo>
                  <a:lnTo>
                    <a:pt x="7" y="446"/>
                  </a:lnTo>
                  <a:lnTo>
                    <a:pt x="9" y="447"/>
                  </a:lnTo>
                  <a:lnTo>
                    <a:pt x="12" y="448"/>
                  </a:lnTo>
                  <a:lnTo>
                    <a:pt x="15" y="448"/>
                  </a:lnTo>
                  <a:lnTo>
                    <a:pt x="18" y="448"/>
                  </a:lnTo>
                  <a:lnTo>
                    <a:pt x="21" y="447"/>
                  </a:lnTo>
                  <a:lnTo>
                    <a:pt x="23" y="446"/>
                  </a:lnTo>
                  <a:lnTo>
                    <a:pt x="25" y="443"/>
                  </a:lnTo>
                  <a:lnTo>
                    <a:pt x="27" y="441"/>
                  </a:lnTo>
                  <a:lnTo>
                    <a:pt x="28" y="438"/>
                  </a:lnTo>
                  <a:lnTo>
                    <a:pt x="30" y="436"/>
                  </a:lnTo>
                  <a:lnTo>
                    <a:pt x="30" y="433"/>
                  </a:lnTo>
                  <a:lnTo>
                    <a:pt x="30" y="15"/>
                  </a:lnTo>
                  <a:lnTo>
                    <a:pt x="30" y="12"/>
                  </a:lnTo>
                  <a:lnTo>
                    <a:pt x="28" y="8"/>
                  </a:lnTo>
                  <a:lnTo>
                    <a:pt x="27" y="6"/>
                  </a:lnTo>
                  <a:lnTo>
                    <a:pt x="25" y="4"/>
                  </a:lnTo>
                  <a:lnTo>
                    <a:pt x="23"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21">
              <a:extLst>
                <a:ext uri="{FF2B5EF4-FFF2-40B4-BE49-F238E27FC236}">
                  <a16:creationId xmlns:a16="http://schemas.microsoft.com/office/drawing/2014/main" id="{E161AD1B-D8D7-4801-AAF1-FD8FB6BECA65}"/>
                </a:ext>
              </a:extLst>
            </p:cNvPr>
            <p:cNvSpPr>
              <a:spLocks/>
            </p:cNvSpPr>
            <p:nvPr/>
          </p:nvSpPr>
          <p:spPr bwMode="auto">
            <a:xfrm>
              <a:off x="6608763" y="1428751"/>
              <a:ext cx="9525" cy="142875"/>
            </a:xfrm>
            <a:custGeom>
              <a:avLst/>
              <a:gdLst>
                <a:gd name="T0" fmla="*/ 15 w 30"/>
                <a:gd name="T1" fmla="*/ 0 h 448"/>
                <a:gd name="T2" fmla="*/ 12 w 30"/>
                <a:gd name="T3" fmla="*/ 0 h 448"/>
                <a:gd name="T4" fmla="*/ 10 w 30"/>
                <a:gd name="T5" fmla="*/ 1 h 448"/>
                <a:gd name="T6" fmla="*/ 7 w 30"/>
                <a:gd name="T7" fmla="*/ 2 h 448"/>
                <a:gd name="T8" fmla="*/ 5 w 30"/>
                <a:gd name="T9" fmla="*/ 4 h 448"/>
                <a:gd name="T10" fmla="*/ 2 w 30"/>
                <a:gd name="T11" fmla="*/ 6 h 448"/>
                <a:gd name="T12" fmla="*/ 1 w 30"/>
                <a:gd name="T13" fmla="*/ 8 h 448"/>
                <a:gd name="T14" fmla="*/ 0 w 30"/>
                <a:gd name="T15" fmla="*/ 12 h 448"/>
                <a:gd name="T16" fmla="*/ 0 w 30"/>
                <a:gd name="T17" fmla="*/ 15 h 448"/>
                <a:gd name="T18" fmla="*/ 0 w 30"/>
                <a:gd name="T19" fmla="*/ 433 h 448"/>
                <a:gd name="T20" fmla="*/ 0 w 30"/>
                <a:gd name="T21" fmla="*/ 436 h 448"/>
                <a:gd name="T22" fmla="*/ 1 w 30"/>
                <a:gd name="T23" fmla="*/ 438 h 448"/>
                <a:gd name="T24" fmla="*/ 2 w 30"/>
                <a:gd name="T25" fmla="*/ 441 h 448"/>
                <a:gd name="T26" fmla="*/ 5 w 30"/>
                <a:gd name="T27" fmla="*/ 443 h 448"/>
                <a:gd name="T28" fmla="*/ 7 w 30"/>
                <a:gd name="T29" fmla="*/ 446 h 448"/>
                <a:gd name="T30" fmla="*/ 10 w 30"/>
                <a:gd name="T31" fmla="*/ 447 h 448"/>
                <a:gd name="T32" fmla="*/ 12 w 30"/>
                <a:gd name="T33" fmla="*/ 448 h 448"/>
                <a:gd name="T34" fmla="*/ 15 w 30"/>
                <a:gd name="T35" fmla="*/ 448 h 448"/>
                <a:gd name="T36" fmla="*/ 18 w 30"/>
                <a:gd name="T37" fmla="*/ 448 h 448"/>
                <a:gd name="T38" fmla="*/ 22 w 30"/>
                <a:gd name="T39" fmla="*/ 447 h 448"/>
                <a:gd name="T40" fmla="*/ 24 w 30"/>
                <a:gd name="T41" fmla="*/ 446 h 448"/>
                <a:gd name="T42" fmla="*/ 26 w 30"/>
                <a:gd name="T43" fmla="*/ 443 h 448"/>
                <a:gd name="T44" fmla="*/ 28 w 30"/>
                <a:gd name="T45" fmla="*/ 441 h 448"/>
                <a:gd name="T46" fmla="*/ 29 w 30"/>
                <a:gd name="T47" fmla="*/ 438 h 448"/>
                <a:gd name="T48" fmla="*/ 30 w 30"/>
                <a:gd name="T49" fmla="*/ 436 h 448"/>
                <a:gd name="T50" fmla="*/ 30 w 30"/>
                <a:gd name="T51" fmla="*/ 433 h 448"/>
                <a:gd name="T52" fmla="*/ 30 w 30"/>
                <a:gd name="T53" fmla="*/ 15 h 448"/>
                <a:gd name="T54" fmla="*/ 30 w 30"/>
                <a:gd name="T55" fmla="*/ 12 h 448"/>
                <a:gd name="T56" fmla="*/ 29 w 30"/>
                <a:gd name="T57" fmla="*/ 8 h 448"/>
                <a:gd name="T58" fmla="*/ 28 w 30"/>
                <a:gd name="T59" fmla="*/ 6 h 448"/>
                <a:gd name="T60" fmla="*/ 26 w 30"/>
                <a:gd name="T61" fmla="*/ 4 h 448"/>
                <a:gd name="T62" fmla="*/ 24 w 30"/>
                <a:gd name="T63" fmla="*/ 2 h 448"/>
                <a:gd name="T64" fmla="*/ 22 w 30"/>
                <a:gd name="T65" fmla="*/ 1 h 448"/>
                <a:gd name="T66" fmla="*/ 18 w 30"/>
                <a:gd name="T67" fmla="*/ 0 h 448"/>
                <a:gd name="T68" fmla="*/ 15 w 3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15" y="0"/>
                  </a:moveTo>
                  <a:lnTo>
                    <a:pt x="12" y="0"/>
                  </a:lnTo>
                  <a:lnTo>
                    <a:pt x="10" y="1"/>
                  </a:lnTo>
                  <a:lnTo>
                    <a:pt x="7" y="2"/>
                  </a:lnTo>
                  <a:lnTo>
                    <a:pt x="5" y="4"/>
                  </a:lnTo>
                  <a:lnTo>
                    <a:pt x="2" y="6"/>
                  </a:lnTo>
                  <a:lnTo>
                    <a:pt x="1" y="8"/>
                  </a:lnTo>
                  <a:lnTo>
                    <a:pt x="0" y="12"/>
                  </a:lnTo>
                  <a:lnTo>
                    <a:pt x="0" y="15"/>
                  </a:lnTo>
                  <a:lnTo>
                    <a:pt x="0" y="433"/>
                  </a:lnTo>
                  <a:lnTo>
                    <a:pt x="0" y="436"/>
                  </a:lnTo>
                  <a:lnTo>
                    <a:pt x="1" y="438"/>
                  </a:lnTo>
                  <a:lnTo>
                    <a:pt x="2" y="441"/>
                  </a:lnTo>
                  <a:lnTo>
                    <a:pt x="5" y="443"/>
                  </a:lnTo>
                  <a:lnTo>
                    <a:pt x="7" y="446"/>
                  </a:lnTo>
                  <a:lnTo>
                    <a:pt x="10" y="447"/>
                  </a:lnTo>
                  <a:lnTo>
                    <a:pt x="12" y="448"/>
                  </a:lnTo>
                  <a:lnTo>
                    <a:pt x="15" y="448"/>
                  </a:lnTo>
                  <a:lnTo>
                    <a:pt x="18" y="448"/>
                  </a:lnTo>
                  <a:lnTo>
                    <a:pt x="22" y="447"/>
                  </a:lnTo>
                  <a:lnTo>
                    <a:pt x="24" y="446"/>
                  </a:lnTo>
                  <a:lnTo>
                    <a:pt x="26" y="443"/>
                  </a:lnTo>
                  <a:lnTo>
                    <a:pt x="28" y="441"/>
                  </a:lnTo>
                  <a:lnTo>
                    <a:pt x="29" y="438"/>
                  </a:lnTo>
                  <a:lnTo>
                    <a:pt x="30" y="436"/>
                  </a:lnTo>
                  <a:lnTo>
                    <a:pt x="30" y="433"/>
                  </a:lnTo>
                  <a:lnTo>
                    <a:pt x="30" y="15"/>
                  </a:lnTo>
                  <a:lnTo>
                    <a:pt x="30" y="12"/>
                  </a:lnTo>
                  <a:lnTo>
                    <a:pt x="29" y="8"/>
                  </a:lnTo>
                  <a:lnTo>
                    <a:pt x="28" y="6"/>
                  </a:lnTo>
                  <a:lnTo>
                    <a:pt x="26" y="4"/>
                  </a:lnTo>
                  <a:lnTo>
                    <a:pt x="24" y="2"/>
                  </a:lnTo>
                  <a:lnTo>
                    <a:pt x="22"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22">
              <a:extLst>
                <a:ext uri="{FF2B5EF4-FFF2-40B4-BE49-F238E27FC236}">
                  <a16:creationId xmlns:a16="http://schemas.microsoft.com/office/drawing/2014/main" id="{D69C669F-7275-452C-987C-9213CF9CBF62}"/>
                </a:ext>
              </a:extLst>
            </p:cNvPr>
            <p:cNvSpPr>
              <a:spLocks/>
            </p:cNvSpPr>
            <p:nvPr/>
          </p:nvSpPr>
          <p:spPr bwMode="auto">
            <a:xfrm>
              <a:off x="6661150" y="1428751"/>
              <a:ext cx="9525" cy="142875"/>
            </a:xfrm>
            <a:custGeom>
              <a:avLst/>
              <a:gdLst>
                <a:gd name="T0" fmla="*/ 0 w 30"/>
                <a:gd name="T1" fmla="*/ 15 h 448"/>
                <a:gd name="T2" fmla="*/ 0 w 30"/>
                <a:gd name="T3" fmla="*/ 433 h 448"/>
                <a:gd name="T4" fmla="*/ 0 w 30"/>
                <a:gd name="T5" fmla="*/ 436 h 448"/>
                <a:gd name="T6" fmla="*/ 1 w 30"/>
                <a:gd name="T7" fmla="*/ 438 h 448"/>
                <a:gd name="T8" fmla="*/ 2 w 30"/>
                <a:gd name="T9" fmla="*/ 441 h 448"/>
                <a:gd name="T10" fmla="*/ 4 w 30"/>
                <a:gd name="T11" fmla="*/ 443 h 448"/>
                <a:gd name="T12" fmla="*/ 6 w 30"/>
                <a:gd name="T13" fmla="*/ 446 h 448"/>
                <a:gd name="T14" fmla="*/ 9 w 30"/>
                <a:gd name="T15" fmla="*/ 447 h 448"/>
                <a:gd name="T16" fmla="*/ 12 w 30"/>
                <a:gd name="T17" fmla="*/ 448 h 448"/>
                <a:gd name="T18" fmla="*/ 15 w 30"/>
                <a:gd name="T19" fmla="*/ 448 h 448"/>
                <a:gd name="T20" fmla="*/ 18 w 30"/>
                <a:gd name="T21" fmla="*/ 448 h 448"/>
                <a:gd name="T22" fmla="*/ 20 w 30"/>
                <a:gd name="T23" fmla="*/ 447 h 448"/>
                <a:gd name="T24" fmla="*/ 24 w 30"/>
                <a:gd name="T25" fmla="*/ 446 h 448"/>
                <a:gd name="T26" fmla="*/ 26 w 30"/>
                <a:gd name="T27" fmla="*/ 443 h 448"/>
                <a:gd name="T28" fmla="*/ 27 w 30"/>
                <a:gd name="T29" fmla="*/ 441 h 448"/>
                <a:gd name="T30" fmla="*/ 29 w 30"/>
                <a:gd name="T31" fmla="*/ 438 h 448"/>
                <a:gd name="T32" fmla="*/ 29 w 30"/>
                <a:gd name="T33" fmla="*/ 436 h 448"/>
                <a:gd name="T34" fmla="*/ 30 w 30"/>
                <a:gd name="T35" fmla="*/ 433 h 448"/>
                <a:gd name="T36" fmla="*/ 30 w 30"/>
                <a:gd name="T37" fmla="*/ 15 h 448"/>
                <a:gd name="T38" fmla="*/ 29 w 30"/>
                <a:gd name="T39" fmla="*/ 12 h 448"/>
                <a:gd name="T40" fmla="*/ 29 w 30"/>
                <a:gd name="T41" fmla="*/ 8 h 448"/>
                <a:gd name="T42" fmla="*/ 27 w 30"/>
                <a:gd name="T43" fmla="*/ 6 h 448"/>
                <a:gd name="T44" fmla="*/ 26 w 30"/>
                <a:gd name="T45" fmla="*/ 4 h 448"/>
                <a:gd name="T46" fmla="*/ 24 w 30"/>
                <a:gd name="T47" fmla="*/ 2 h 448"/>
                <a:gd name="T48" fmla="*/ 20 w 30"/>
                <a:gd name="T49" fmla="*/ 1 h 448"/>
                <a:gd name="T50" fmla="*/ 18 w 30"/>
                <a:gd name="T51" fmla="*/ 0 h 448"/>
                <a:gd name="T52" fmla="*/ 15 w 30"/>
                <a:gd name="T53" fmla="*/ 0 h 448"/>
                <a:gd name="T54" fmla="*/ 12 w 30"/>
                <a:gd name="T55" fmla="*/ 0 h 448"/>
                <a:gd name="T56" fmla="*/ 9 w 30"/>
                <a:gd name="T57" fmla="*/ 1 h 448"/>
                <a:gd name="T58" fmla="*/ 6 w 30"/>
                <a:gd name="T59" fmla="*/ 2 h 448"/>
                <a:gd name="T60" fmla="*/ 4 w 30"/>
                <a:gd name="T61" fmla="*/ 4 h 448"/>
                <a:gd name="T62" fmla="*/ 2 w 30"/>
                <a:gd name="T63" fmla="*/ 6 h 448"/>
                <a:gd name="T64" fmla="*/ 1 w 30"/>
                <a:gd name="T65" fmla="*/ 8 h 448"/>
                <a:gd name="T66" fmla="*/ 0 w 30"/>
                <a:gd name="T67" fmla="*/ 12 h 448"/>
                <a:gd name="T68" fmla="*/ 0 w 30"/>
                <a:gd name="T69" fmla="*/ 1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0" y="15"/>
                  </a:moveTo>
                  <a:lnTo>
                    <a:pt x="0" y="433"/>
                  </a:lnTo>
                  <a:lnTo>
                    <a:pt x="0" y="436"/>
                  </a:lnTo>
                  <a:lnTo>
                    <a:pt x="1" y="438"/>
                  </a:lnTo>
                  <a:lnTo>
                    <a:pt x="2" y="441"/>
                  </a:lnTo>
                  <a:lnTo>
                    <a:pt x="4" y="443"/>
                  </a:lnTo>
                  <a:lnTo>
                    <a:pt x="6" y="446"/>
                  </a:lnTo>
                  <a:lnTo>
                    <a:pt x="9" y="447"/>
                  </a:lnTo>
                  <a:lnTo>
                    <a:pt x="12" y="448"/>
                  </a:lnTo>
                  <a:lnTo>
                    <a:pt x="15" y="448"/>
                  </a:lnTo>
                  <a:lnTo>
                    <a:pt x="18" y="448"/>
                  </a:lnTo>
                  <a:lnTo>
                    <a:pt x="20" y="447"/>
                  </a:lnTo>
                  <a:lnTo>
                    <a:pt x="24" y="446"/>
                  </a:lnTo>
                  <a:lnTo>
                    <a:pt x="26" y="443"/>
                  </a:lnTo>
                  <a:lnTo>
                    <a:pt x="27" y="441"/>
                  </a:lnTo>
                  <a:lnTo>
                    <a:pt x="29" y="438"/>
                  </a:lnTo>
                  <a:lnTo>
                    <a:pt x="29" y="436"/>
                  </a:lnTo>
                  <a:lnTo>
                    <a:pt x="30" y="433"/>
                  </a:lnTo>
                  <a:lnTo>
                    <a:pt x="30" y="15"/>
                  </a:lnTo>
                  <a:lnTo>
                    <a:pt x="29" y="12"/>
                  </a:lnTo>
                  <a:lnTo>
                    <a:pt x="29" y="8"/>
                  </a:lnTo>
                  <a:lnTo>
                    <a:pt x="27" y="6"/>
                  </a:lnTo>
                  <a:lnTo>
                    <a:pt x="26" y="4"/>
                  </a:lnTo>
                  <a:lnTo>
                    <a:pt x="24" y="2"/>
                  </a:lnTo>
                  <a:lnTo>
                    <a:pt x="20" y="1"/>
                  </a:lnTo>
                  <a:lnTo>
                    <a:pt x="18" y="0"/>
                  </a:lnTo>
                  <a:lnTo>
                    <a:pt x="15" y="0"/>
                  </a:lnTo>
                  <a:lnTo>
                    <a:pt x="12" y="0"/>
                  </a:lnTo>
                  <a:lnTo>
                    <a:pt x="9"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2" name="Freeform 279">
            <a:extLst>
              <a:ext uri="{FF2B5EF4-FFF2-40B4-BE49-F238E27FC236}">
                <a16:creationId xmlns:a16="http://schemas.microsoft.com/office/drawing/2014/main" id="{EEF3151B-2065-4C18-AE86-4F78A3F36AC8}"/>
              </a:ext>
            </a:extLst>
          </p:cNvPr>
          <p:cNvSpPr>
            <a:spLocks noChangeAspect="1" noEditPoints="1"/>
          </p:cNvSpPr>
          <p:nvPr/>
        </p:nvSpPr>
        <p:spPr bwMode="auto">
          <a:xfrm flipH="1">
            <a:off x="2664491" y="3802799"/>
            <a:ext cx="365738" cy="306484"/>
          </a:xfrm>
          <a:custGeom>
            <a:avLst/>
            <a:gdLst>
              <a:gd name="T0" fmla="*/ 680 w 896"/>
              <a:gd name="T1" fmla="*/ 697 h 748"/>
              <a:gd name="T2" fmla="*/ 633 w 896"/>
              <a:gd name="T3" fmla="*/ 633 h 748"/>
              <a:gd name="T4" fmla="*/ 637 w 896"/>
              <a:gd name="T5" fmla="*/ 552 h 748"/>
              <a:gd name="T6" fmla="*/ 691 w 896"/>
              <a:gd name="T7" fmla="*/ 493 h 748"/>
              <a:gd name="T8" fmla="*/ 771 w 896"/>
              <a:gd name="T9" fmla="*/ 481 h 748"/>
              <a:gd name="T10" fmla="*/ 839 w 896"/>
              <a:gd name="T11" fmla="*/ 522 h 748"/>
              <a:gd name="T12" fmla="*/ 866 w 896"/>
              <a:gd name="T13" fmla="*/ 598 h 748"/>
              <a:gd name="T14" fmla="*/ 839 w 896"/>
              <a:gd name="T15" fmla="*/ 674 h 748"/>
              <a:gd name="T16" fmla="*/ 771 w 896"/>
              <a:gd name="T17" fmla="*/ 715 h 748"/>
              <a:gd name="T18" fmla="*/ 140 w 896"/>
              <a:gd name="T19" fmla="*/ 202 h 748"/>
              <a:gd name="T20" fmla="*/ 278 w 896"/>
              <a:gd name="T21" fmla="*/ 201 h 748"/>
              <a:gd name="T22" fmla="*/ 421 w 896"/>
              <a:gd name="T23" fmla="*/ 258 h 748"/>
              <a:gd name="T24" fmla="*/ 59 w 896"/>
              <a:gd name="T25" fmla="*/ 221 h 748"/>
              <a:gd name="T26" fmla="*/ 97 w 896"/>
              <a:gd name="T27" fmla="*/ 537 h 748"/>
              <a:gd name="T28" fmla="*/ 456 w 896"/>
              <a:gd name="T29" fmla="*/ 463 h 748"/>
              <a:gd name="T30" fmla="*/ 322 w 896"/>
              <a:gd name="T31" fmla="*/ 537 h 748"/>
              <a:gd name="T32" fmla="*/ 747 w 896"/>
              <a:gd name="T33" fmla="*/ 30 h 748"/>
              <a:gd name="T34" fmla="*/ 823 w 896"/>
              <a:gd name="T35" fmla="*/ 58 h 748"/>
              <a:gd name="T36" fmla="*/ 864 w 896"/>
              <a:gd name="T37" fmla="*/ 125 h 748"/>
              <a:gd name="T38" fmla="*/ 852 w 896"/>
              <a:gd name="T39" fmla="*/ 206 h 748"/>
              <a:gd name="T40" fmla="*/ 793 w 896"/>
              <a:gd name="T41" fmla="*/ 260 h 748"/>
              <a:gd name="T42" fmla="*/ 712 w 896"/>
              <a:gd name="T43" fmla="*/ 264 h 748"/>
              <a:gd name="T44" fmla="*/ 648 w 896"/>
              <a:gd name="T45" fmla="*/ 216 h 748"/>
              <a:gd name="T46" fmla="*/ 629 w 896"/>
              <a:gd name="T47" fmla="*/ 138 h 748"/>
              <a:gd name="T48" fmla="*/ 663 w 896"/>
              <a:gd name="T49" fmla="*/ 65 h 748"/>
              <a:gd name="T50" fmla="*/ 735 w 896"/>
              <a:gd name="T51" fmla="*/ 31 h 748"/>
              <a:gd name="T52" fmla="*/ 699 w 896"/>
              <a:gd name="T53" fmla="*/ 457 h 748"/>
              <a:gd name="T54" fmla="*/ 644 w 896"/>
              <a:gd name="T55" fmla="*/ 490 h 748"/>
              <a:gd name="T56" fmla="*/ 607 w 896"/>
              <a:gd name="T57" fmla="*/ 461 h 748"/>
              <a:gd name="T58" fmla="*/ 587 w 896"/>
              <a:gd name="T59" fmla="*/ 340 h 748"/>
              <a:gd name="T60" fmla="*/ 626 w 896"/>
              <a:gd name="T61" fmla="*/ 236 h 748"/>
              <a:gd name="T62" fmla="*/ 674 w 896"/>
              <a:gd name="T63" fmla="*/ 280 h 748"/>
              <a:gd name="T64" fmla="*/ 737 w 896"/>
              <a:gd name="T65" fmla="*/ 298 h 748"/>
              <a:gd name="T66" fmla="*/ 831 w 896"/>
              <a:gd name="T67" fmla="*/ 274 h 748"/>
              <a:gd name="T68" fmla="*/ 890 w 896"/>
              <a:gd name="T69" fmla="*/ 194 h 748"/>
              <a:gd name="T70" fmla="*/ 884 w 896"/>
              <a:gd name="T71" fmla="*/ 92 h 748"/>
              <a:gd name="T72" fmla="*/ 818 w 896"/>
              <a:gd name="T73" fmla="*/ 18 h 748"/>
              <a:gd name="T74" fmla="*/ 717 w 896"/>
              <a:gd name="T75" fmla="*/ 3 h 748"/>
              <a:gd name="T76" fmla="*/ 632 w 896"/>
              <a:gd name="T77" fmla="*/ 55 h 748"/>
              <a:gd name="T78" fmla="*/ 598 w 896"/>
              <a:gd name="T79" fmla="*/ 150 h 748"/>
              <a:gd name="T80" fmla="*/ 561 w 896"/>
              <a:gd name="T81" fmla="*/ 323 h 748"/>
              <a:gd name="T82" fmla="*/ 447 w 896"/>
              <a:gd name="T83" fmla="*/ 240 h 748"/>
              <a:gd name="T84" fmla="*/ 287 w 896"/>
              <a:gd name="T85" fmla="*/ 172 h 748"/>
              <a:gd name="T86" fmla="*/ 106 w 896"/>
              <a:gd name="T87" fmla="*/ 179 h 748"/>
              <a:gd name="T88" fmla="*/ 3 w 896"/>
              <a:gd name="T89" fmla="*/ 215 h 748"/>
              <a:gd name="T90" fmla="*/ 10 w 896"/>
              <a:gd name="T91" fmla="*/ 239 h 748"/>
              <a:gd name="T92" fmla="*/ 0 w 896"/>
              <a:gd name="T93" fmla="*/ 525 h 748"/>
              <a:gd name="T94" fmla="*/ 47 w 896"/>
              <a:gd name="T95" fmla="*/ 555 h 748"/>
              <a:gd name="T96" fmla="*/ 236 w 896"/>
              <a:gd name="T97" fmla="*/ 582 h 748"/>
              <a:gd name="T98" fmla="*/ 405 w 896"/>
              <a:gd name="T99" fmla="*/ 534 h 748"/>
              <a:gd name="T100" fmla="*/ 536 w 896"/>
              <a:gd name="T101" fmla="*/ 424 h 748"/>
              <a:gd name="T102" fmla="*/ 594 w 896"/>
              <a:gd name="T103" fmla="*/ 545 h 748"/>
              <a:gd name="T104" fmla="*/ 616 w 896"/>
              <a:gd name="T105" fmla="*/ 669 h 748"/>
              <a:gd name="T106" fmla="*/ 689 w 896"/>
              <a:gd name="T107" fmla="*/ 736 h 748"/>
              <a:gd name="T108" fmla="*/ 791 w 896"/>
              <a:gd name="T109" fmla="*/ 740 h 748"/>
              <a:gd name="T110" fmla="*/ 872 w 896"/>
              <a:gd name="T111" fmla="*/ 681 h 748"/>
              <a:gd name="T112" fmla="*/ 896 w 896"/>
              <a:gd name="T113" fmla="*/ 583 h 748"/>
              <a:gd name="T114" fmla="*/ 852 w 896"/>
              <a:gd name="T115" fmla="*/ 492 h 748"/>
              <a:gd name="T116" fmla="*/ 762 w 896"/>
              <a:gd name="T117" fmla="*/ 4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6" h="748">
                <a:moveTo>
                  <a:pt x="747" y="718"/>
                </a:moveTo>
                <a:lnTo>
                  <a:pt x="735" y="717"/>
                </a:lnTo>
                <a:lnTo>
                  <a:pt x="723" y="715"/>
                </a:lnTo>
                <a:lnTo>
                  <a:pt x="712" y="712"/>
                </a:lnTo>
                <a:lnTo>
                  <a:pt x="700" y="708"/>
                </a:lnTo>
                <a:lnTo>
                  <a:pt x="691" y="703"/>
                </a:lnTo>
                <a:lnTo>
                  <a:pt x="680" y="697"/>
                </a:lnTo>
                <a:lnTo>
                  <a:pt x="671" y="690"/>
                </a:lnTo>
                <a:lnTo>
                  <a:pt x="663" y="682"/>
                </a:lnTo>
                <a:lnTo>
                  <a:pt x="655" y="674"/>
                </a:lnTo>
                <a:lnTo>
                  <a:pt x="648" y="665"/>
                </a:lnTo>
                <a:lnTo>
                  <a:pt x="642" y="655"/>
                </a:lnTo>
                <a:lnTo>
                  <a:pt x="637" y="645"/>
                </a:lnTo>
                <a:lnTo>
                  <a:pt x="633" y="633"/>
                </a:lnTo>
                <a:lnTo>
                  <a:pt x="630" y="622"/>
                </a:lnTo>
                <a:lnTo>
                  <a:pt x="629" y="610"/>
                </a:lnTo>
                <a:lnTo>
                  <a:pt x="628" y="598"/>
                </a:lnTo>
                <a:lnTo>
                  <a:pt x="629" y="586"/>
                </a:lnTo>
                <a:lnTo>
                  <a:pt x="630" y="574"/>
                </a:lnTo>
                <a:lnTo>
                  <a:pt x="633" y="563"/>
                </a:lnTo>
                <a:lnTo>
                  <a:pt x="637" y="552"/>
                </a:lnTo>
                <a:lnTo>
                  <a:pt x="642" y="541"/>
                </a:lnTo>
                <a:lnTo>
                  <a:pt x="648" y="532"/>
                </a:lnTo>
                <a:lnTo>
                  <a:pt x="655" y="522"/>
                </a:lnTo>
                <a:lnTo>
                  <a:pt x="663" y="513"/>
                </a:lnTo>
                <a:lnTo>
                  <a:pt x="671" y="506"/>
                </a:lnTo>
                <a:lnTo>
                  <a:pt x="680" y="498"/>
                </a:lnTo>
                <a:lnTo>
                  <a:pt x="691" y="493"/>
                </a:lnTo>
                <a:lnTo>
                  <a:pt x="700" y="488"/>
                </a:lnTo>
                <a:lnTo>
                  <a:pt x="712" y="483"/>
                </a:lnTo>
                <a:lnTo>
                  <a:pt x="723" y="481"/>
                </a:lnTo>
                <a:lnTo>
                  <a:pt x="735" y="479"/>
                </a:lnTo>
                <a:lnTo>
                  <a:pt x="747" y="478"/>
                </a:lnTo>
                <a:lnTo>
                  <a:pt x="759" y="479"/>
                </a:lnTo>
                <a:lnTo>
                  <a:pt x="771" y="481"/>
                </a:lnTo>
                <a:lnTo>
                  <a:pt x="783" y="483"/>
                </a:lnTo>
                <a:lnTo>
                  <a:pt x="793" y="488"/>
                </a:lnTo>
                <a:lnTo>
                  <a:pt x="804" y="493"/>
                </a:lnTo>
                <a:lnTo>
                  <a:pt x="814" y="498"/>
                </a:lnTo>
                <a:lnTo>
                  <a:pt x="823" y="506"/>
                </a:lnTo>
                <a:lnTo>
                  <a:pt x="832" y="513"/>
                </a:lnTo>
                <a:lnTo>
                  <a:pt x="839" y="522"/>
                </a:lnTo>
                <a:lnTo>
                  <a:pt x="846" y="532"/>
                </a:lnTo>
                <a:lnTo>
                  <a:pt x="852" y="541"/>
                </a:lnTo>
                <a:lnTo>
                  <a:pt x="858" y="552"/>
                </a:lnTo>
                <a:lnTo>
                  <a:pt x="861" y="563"/>
                </a:lnTo>
                <a:lnTo>
                  <a:pt x="864" y="574"/>
                </a:lnTo>
                <a:lnTo>
                  <a:pt x="866" y="586"/>
                </a:lnTo>
                <a:lnTo>
                  <a:pt x="866" y="598"/>
                </a:lnTo>
                <a:lnTo>
                  <a:pt x="866" y="610"/>
                </a:lnTo>
                <a:lnTo>
                  <a:pt x="864" y="622"/>
                </a:lnTo>
                <a:lnTo>
                  <a:pt x="861" y="633"/>
                </a:lnTo>
                <a:lnTo>
                  <a:pt x="858" y="645"/>
                </a:lnTo>
                <a:lnTo>
                  <a:pt x="852" y="655"/>
                </a:lnTo>
                <a:lnTo>
                  <a:pt x="846" y="665"/>
                </a:lnTo>
                <a:lnTo>
                  <a:pt x="839" y="674"/>
                </a:lnTo>
                <a:lnTo>
                  <a:pt x="832" y="682"/>
                </a:lnTo>
                <a:lnTo>
                  <a:pt x="823" y="690"/>
                </a:lnTo>
                <a:lnTo>
                  <a:pt x="814" y="697"/>
                </a:lnTo>
                <a:lnTo>
                  <a:pt x="804" y="703"/>
                </a:lnTo>
                <a:lnTo>
                  <a:pt x="793" y="708"/>
                </a:lnTo>
                <a:lnTo>
                  <a:pt x="783" y="712"/>
                </a:lnTo>
                <a:lnTo>
                  <a:pt x="771" y="715"/>
                </a:lnTo>
                <a:lnTo>
                  <a:pt x="759" y="717"/>
                </a:lnTo>
                <a:lnTo>
                  <a:pt x="747" y="718"/>
                </a:lnTo>
                <a:close/>
                <a:moveTo>
                  <a:pt x="59" y="221"/>
                </a:moveTo>
                <a:lnTo>
                  <a:pt x="77" y="216"/>
                </a:lnTo>
                <a:lnTo>
                  <a:pt x="97" y="211"/>
                </a:lnTo>
                <a:lnTo>
                  <a:pt x="118" y="206"/>
                </a:lnTo>
                <a:lnTo>
                  <a:pt x="140" y="202"/>
                </a:lnTo>
                <a:lnTo>
                  <a:pt x="160" y="199"/>
                </a:lnTo>
                <a:lnTo>
                  <a:pt x="179" y="197"/>
                </a:lnTo>
                <a:lnTo>
                  <a:pt x="195" y="195"/>
                </a:lnTo>
                <a:lnTo>
                  <a:pt x="209" y="195"/>
                </a:lnTo>
                <a:lnTo>
                  <a:pt x="233" y="195"/>
                </a:lnTo>
                <a:lnTo>
                  <a:pt x="255" y="197"/>
                </a:lnTo>
                <a:lnTo>
                  <a:pt x="278" y="201"/>
                </a:lnTo>
                <a:lnTo>
                  <a:pt x="300" y="205"/>
                </a:lnTo>
                <a:lnTo>
                  <a:pt x="322" y="211"/>
                </a:lnTo>
                <a:lnTo>
                  <a:pt x="343" y="218"/>
                </a:lnTo>
                <a:lnTo>
                  <a:pt x="363" y="227"/>
                </a:lnTo>
                <a:lnTo>
                  <a:pt x="384" y="236"/>
                </a:lnTo>
                <a:lnTo>
                  <a:pt x="403" y="247"/>
                </a:lnTo>
                <a:lnTo>
                  <a:pt x="421" y="258"/>
                </a:lnTo>
                <a:lnTo>
                  <a:pt x="439" y="271"/>
                </a:lnTo>
                <a:lnTo>
                  <a:pt x="456" y="285"/>
                </a:lnTo>
                <a:lnTo>
                  <a:pt x="473" y="300"/>
                </a:lnTo>
                <a:lnTo>
                  <a:pt x="489" y="314"/>
                </a:lnTo>
                <a:lnTo>
                  <a:pt x="502" y="331"/>
                </a:lnTo>
                <a:lnTo>
                  <a:pt x="516" y="349"/>
                </a:lnTo>
                <a:lnTo>
                  <a:pt x="59" y="221"/>
                </a:lnTo>
                <a:close/>
                <a:moveTo>
                  <a:pt x="209" y="553"/>
                </a:moveTo>
                <a:lnTo>
                  <a:pt x="195" y="553"/>
                </a:lnTo>
                <a:lnTo>
                  <a:pt x="179" y="551"/>
                </a:lnTo>
                <a:lnTo>
                  <a:pt x="160" y="549"/>
                </a:lnTo>
                <a:lnTo>
                  <a:pt x="140" y="545"/>
                </a:lnTo>
                <a:lnTo>
                  <a:pt x="118" y="541"/>
                </a:lnTo>
                <a:lnTo>
                  <a:pt x="97" y="537"/>
                </a:lnTo>
                <a:lnTo>
                  <a:pt x="78" y="533"/>
                </a:lnTo>
                <a:lnTo>
                  <a:pt x="59" y="527"/>
                </a:lnTo>
                <a:lnTo>
                  <a:pt x="516" y="399"/>
                </a:lnTo>
                <a:lnTo>
                  <a:pt x="502" y="417"/>
                </a:lnTo>
                <a:lnTo>
                  <a:pt x="489" y="433"/>
                </a:lnTo>
                <a:lnTo>
                  <a:pt x="473" y="448"/>
                </a:lnTo>
                <a:lnTo>
                  <a:pt x="456" y="463"/>
                </a:lnTo>
                <a:lnTo>
                  <a:pt x="439" y="477"/>
                </a:lnTo>
                <a:lnTo>
                  <a:pt x="421" y="490"/>
                </a:lnTo>
                <a:lnTo>
                  <a:pt x="403" y="501"/>
                </a:lnTo>
                <a:lnTo>
                  <a:pt x="384" y="511"/>
                </a:lnTo>
                <a:lnTo>
                  <a:pt x="363" y="521"/>
                </a:lnTo>
                <a:lnTo>
                  <a:pt x="343" y="529"/>
                </a:lnTo>
                <a:lnTo>
                  <a:pt x="322" y="537"/>
                </a:lnTo>
                <a:lnTo>
                  <a:pt x="300" y="542"/>
                </a:lnTo>
                <a:lnTo>
                  <a:pt x="278" y="547"/>
                </a:lnTo>
                <a:lnTo>
                  <a:pt x="255" y="551"/>
                </a:lnTo>
                <a:lnTo>
                  <a:pt x="233" y="553"/>
                </a:lnTo>
                <a:lnTo>
                  <a:pt x="209" y="553"/>
                </a:lnTo>
                <a:lnTo>
                  <a:pt x="209" y="553"/>
                </a:lnTo>
                <a:close/>
                <a:moveTo>
                  <a:pt x="747" y="30"/>
                </a:moveTo>
                <a:lnTo>
                  <a:pt x="759" y="31"/>
                </a:lnTo>
                <a:lnTo>
                  <a:pt x="771" y="32"/>
                </a:lnTo>
                <a:lnTo>
                  <a:pt x="783" y="35"/>
                </a:lnTo>
                <a:lnTo>
                  <a:pt x="793" y="40"/>
                </a:lnTo>
                <a:lnTo>
                  <a:pt x="804" y="45"/>
                </a:lnTo>
                <a:lnTo>
                  <a:pt x="814" y="50"/>
                </a:lnTo>
                <a:lnTo>
                  <a:pt x="823" y="58"/>
                </a:lnTo>
                <a:lnTo>
                  <a:pt x="832" y="65"/>
                </a:lnTo>
                <a:lnTo>
                  <a:pt x="839" y="74"/>
                </a:lnTo>
                <a:lnTo>
                  <a:pt x="846" y="82"/>
                </a:lnTo>
                <a:lnTo>
                  <a:pt x="852" y="93"/>
                </a:lnTo>
                <a:lnTo>
                  <a:pt x="858" y="103"/>
                </a:lnTo>
                <a:lnTo>
                  <a:pt x="861" y="115"/>
                </a:lnTo>
                <a:lnTo>
                  <a:pt x="864" y="125"/>
                </a:lnTo>
                <a:lnTo>
                  <a:pt x="866" y="138"/>
                </a:lnTo>
                <a:lnTo>
                  <a:pt x="866" y="150"/>
                </a:lnTo>
                <a:lnTo>
                  <a:pt x="866" y="162"/>
                </a:lnTo>
                <a:lnTo>
                  <a:pt x="864" y="173"/>
                </a:lnTo>
                <a:lnTo>
                  <a:pt x="861" y="185"/>
                </a:lnTo>
                <a:lnTo>
                  <a:pt x="858" y="196"/>
                </a:lnTo>
                <a:lnTo>
                  <a:pt x="852" y="206"/>
                </a:lnTo>
                <a:lnTo>
                  <a:pt x="846" y="216"/>
                </a:lnTo>
                <a:lnTo>
                  <a:pt x="839" y="226"/>
                </a:lnTo>
                <a:lnTo>
                  <a:pt x="832" y="234"/>
                </a:lnTo>
                <a:lnTo>
                  <a:pt x="823" y="242"/>
                </a:lnTo>
                <a:lnTo>
                  <a:pt x="814" y="249"/>
                </a:lnTo>
                <a:lnTo>
                  <a:pt x="804" y="255"/>
                </a:lnTo>
                <a:lnTo>
                  <a:pt x="793" y="260"/>
                </a:lnTo>
                <a:lnTo>
                  <a:pt x="783" y="264"/>
                </a:lnTo>
                <a:lnTo>
                  <a:pt x="771" y="266"/>
                </a:lnTo>
                <a:lnTo>
                  <a:pt x="759" y="268"/>
                </a:lnTo>
                <a:lnTo>
                  <a:pt x="747" y="270"/>
                </a:lnTo>
                <a:lnTo>
                  <a:pt x="735" y="268"/>
                </a:lnTo>
                <a:lnTo>
                  <a:pt x="723" y="266"/>
                </a:lnTo>
                <a:lnTo>
                  <a:pt x="712" y="264"/>
                </a:lnTo>
                <a:lnTo>
                  <a:pt x="700" y="260"/>
                </a:lnTo>
                <a:lnTo>
                  <a:pt x="691" y="255"/>
                </a:lnTo>
                <a:lnTo>
                  <a:pt x="680" y="249"/>
                </a:lnTo>
                <a:lnTo>
                  <a:pt x="671" y="242"/>
                </a:lnTo>
                <a:lnTo>
                  <a:pt x="663" y="234"/>
                </a:lnTo>
                <a:lnTo>
                  <a:pt x="655" y="226"/>
                </a:lnTo>
                <a:lnTo>
                  <a:pt x="648" y="216"/>
                </a:lnTo>
                <a:lnTo>
                  <a:pt x="642" y="206"/>
                </a:lnTo>
                <a:lnTo>
                  <a:pt x="637" y="196"/>
                </a:lnTo>
                <a:lnTo>
                  <a:pt x="633" y="185"/>
                </a:lnTo>
                <a:lnTo>
                  <a:pt x="630" y="173"/>
                </a:lnTo>
                <a:lnTo>
                  <a:pt x="629" y="162"/>
                </a:lnTo>
                <a:lnTo>
                  <a:pt x="628" y="150"/>
                </a:lnTo>
                <a:lnTo>
                  <a:pt x="629" y="138"/>
                </a:lnTo>
                <a:lnTo>
                  <a:pt x="630" y="125"/>
                </a:lnTo>
                <a:lnTo>
                  <a:pt x="633" y="115"/>
                </a:lnTo>
                <a:lnTo>
                  <a:pt x="637" y="103"/>
                </a:lnTo>
                <a:lnTo>
                  <a:pt x="642" y="93"/>
                </a:lnTo>
                <a:lnTo>
                  <a:pt x="648" y="82"/>
                </a:lnTo>
                <a:lnTo>
                  <a:pt x="655" y="74"/>
                </a:lnTo>
                <a:lnTo>
                  <a:pt x="663" y="65"/>
                </a:lnTo>
                <a:lnTo>
                  <a:pt x="671" y="58"/>
                </a:lnTo>
                <a:lnTo>
                  <a:pt x="680" y="50"/>
                </a:lnTo>
                <a:lnTo>
                  <a:pt x="691" y="45"/>
                </a:lnTo>
                <a:lnTo>
                  <a:pt x="700" y="40"/>
                </a:lnTo>
                <a:lnTo>
                  <a:pt x="712" y="35"/>
                </a:lnTo>
                <a:lnTo>
                  <a:pt x="723" y="32"/>
                </a:lnTo>
                <a:lnTo>
                  <a:pt x="735" y="31"/>
                </a:lnTo>
                <a:lnTo>
                  <a:pt x="747" y="30"/>
                </a:lnTo>
                <a:close/>
                <a:moveTo>
                  <a:pt x="747" y="448"/>
                </a:moveTo>
                <a:lnTo>
                  <a:pt x="737" y="449"/>
                </a:lnTo>
                <a:lnTo>
                  <a:pt x="727" y="450"/>
                </a:lnTo>
                <a:lnTo>
                  <a:pt x="717" y="451"/>
                </a:lnTo>
                <a:lnTo>
                  <a:pt x="709" y="453"/>
                </a:lnTo>
                <a:lnTo>
                  <a:pt x="699" y="457"/>
                </a:lnTo>
                <a:lnTo>
                  <a:pt x="691" y="460"/>
                </a:lnTo>
                <a:lnTo>
                  <a:pt x="682" y="463"/>
                </a:lnTo>
                <a:lnTo>
                  <a:pt x="674" y="467"/>
                </a:lnTo>
                <a:lnTo>
                  <a:pt x="666" y="473"/>
                </a:lnTo>
                <a:lnTo>
                  <a:pt x="659" y="478"/>
                </a:lnTo>
                <a:lnTo>
                  <a:pt x="651" y="483"/>
                </a:lnTo>
                <a:lnTo>
                  <a:pt x="644" y="490"/>
                </a:lnTo>
                <a:lnTo>
                  <a:pt x="637" y="496"/>
                </a:lnTo>
                <a:lnTo>
                  <a:pt x="632" y="504"/>
                </a:lnTo>
                <a:lnTo>
                  <a:pt x="626" y="511"/>
                </a:lnTo>
                <a:lnTo>
                  <a:pt x="621" y="519"/>
                </a:lnTo>
                <a:lnTo>
                  <a:pt x="617" y="499"/>
                </a:lnTo>
                <a:lnTo>
                  <a:pt x="613" y="480"/>
                </a:lnTo>
                <a:lnTo>
                  <a:pt x="607" y="461"/>
                </a:lnTo>
                <a:lnTo>
                  <a:pt x="601" y="443"/>
                </a:lnTo>
                <a:lnTo>
                  <a:pt x="594" y="425"/>
                </a:lnTo>
                <a:lnTo>
                  <a:pt x="587" y="407"/>
                </a:lnTo>
                <a:lnTo>
                  <a:pt x="578" y="390"/>
                </a:lnTo>
                <a:lnTo>
                  <a:pt x="569" y="373"/>
                </a:lnTo>
                <a:lnTo>
                  <a:pt x="578" y="357"/>
                </a:lnTo>
                <a:lnTo>
                  <a:pt x="587" y="340"/>
                </a:lnTo>
                <a:lnTo>
                  <a:pt x="594" y="323"/>
                </a:lnTo>
                <a:lnTo>
                  <a:pt x="601" y="305"/>
                </a:lnTo>
                <a:lnTo>
                  <a:pt x="607" y="287"/>
                </a:lnTo>
                <a:lnTo>
                  <a:pt x="613" y="267"/>
                </a:lnTo>
                <a:lnTo>
                  <a:pt x="617" y="248"/>
                </a:lnTo>
                <a:lnTo>
                  <a:pt x="621" y="229"/>
                </a:lnTo>
                <a:lnTo>
                  <a:pt x="626" y="236"/>
                </a:lnTo>
                <a:lnTo>
                  <a:pt x="632" y="244"/>
                </a:lnTo>
                <a:lnTo>
                  <a:pt x="637" y="251"/>
                </a:lnTo>
                <a:lnTo>
                  <a:pt x="644" y="258"/>
                </a:lnTo>
                <a:lnTo>
                  <a:pt x="651" y="264"/>
                </a:lnTo>
                <a:lnTo>
                  <a:pt x="659" y="270"/>
                </a:lnTo>
                <a:lnTo>
                  <a:pt x="666" y="275"/>
                </a:lnTo>
                <a:lnTo>
                  <a:pt x="674" y="280"/>
                </a:lnTo>
                <a:lnTo>
                  <a:pt x="682" y="285"/>
                </a:lnTo>
                <a:lnTo>
                  <a:pt x="691" y="288"/>
                </a:lnTo>
                <a:lnTo>
                  <a:pt x="699" y="291"/>
                </a:lnTo>
                <a:lnTo>
                  <a:pt x="709" y="294"/>
                </a:lnTo>
                <a:lnTo>
                  <a:pt x="717" y="296"/>
                </a:lnTo>
                <a:lnTo>
                  <a:pt x="727" y="297"/>
                </a:lnTo>
                <a:lnTo>
                  <a:pt x="737" y="298"/>
                </a:lnTo>
                <a:lnTo>
                  <a:pt x="747" y="300"/>
                </a:lnTo>
                <a:lnTo>
                  <a:pt x="762" y="298"/>
                </a:lnTo>
                <a:lnTo>
                  <a:pt x="777" y="296"/>
                </a:lnTo>
                <a:lnTo>
                  <a:pt x="791" y="292"/>
                </a:lnTo>
                <a:lnTo>
                  <a:pt x="805" y="288"/>
                </a:lnTo>
                <a:lnTo>
                  <a:pt x="818" y="281"/>
                </a:lnTo>
                <a:lnTo>
                  <a:pt x="831" y="274"/>
                </a:lnTo>
                <a:lnTo>
                  <a:pt x="843" y="265"/>
                </a:lnTo>
                <a:lnTo>
                  <a:pt x="852" y="256"/>
                </a:lnTo>
                <a:lnTo>
                  <a:pt x="862" y="245"/>
                </a:lnTo>
                <a:lnTo>
                  <a:pt x="872" y="233"/>
                </a:lnTo>
                <a:lnTo>
                  <a:pt x="879" y="220"/>
                </a:lnTo>
                <a:lnTo>
                  <a:pt x="884" y="208"/>
                </a:lnTo>
                <a:lnTo>
                  <a:pt x="890" y="194"/>
                </a:lnTo>
                <a:lnTo>
                  <a:pt x="894" y="180"/>
                </a:lnTo>
                <a:lnTo>
                  <a:pt x="896" y="165"/>
                </a:lnTo>
                <a:lnTo>
                  <a:pt x="896" y="150"/>
                </a:lnTo>
                <a:lnTo>
                  <a:pt x="896" y="135"/>
                </a:lnTo>
                <a:lnTo>
                  <a:pt x="894" y="120"/>
                </a:lnTo>
                <a:lnTo>
                  <a:pt x="890" y="105"/>
                </a:lnTo>
                <a:lnTo>
                  <a:pt x="884" y="92"/>
                </a:lnTo>
                <a:lnTo>
                  <a:pt x="879" y="78"/>
                </a:lnTo>
                <a:lnTo>
                  <a:pt x="872" y="66"/>
                </a:lnTo>
                <a:lnTo>
                  <a:pt x="862" y="55"/>
                </a:lnTo>
                <a:lnTo>
                  <a:pt x="852" y="44"/>
                </a:lnTo>
                <a:lnTo>
                  <a:pt x="843" y="34"/>
                </a:lnTo>
                <a:lnTo>
                  <a:pt x="831" y="26"/>
                </a:lnTo>
                <a:lnTo>
                  <a:pt x="818" y="18"/>
                </a:lnTo>
                <a:lnTo>
                  <a:pt x="805" y="12"/>
                </a:lnTo>
                <a:lnTo>
                  <a:pt x="791" y="8"/>
                </a:lnTo>
                <a:lnTo>
                  <a:pt x="777" y="3"/>
                </a:lnTo>
                <a:lnTo>
                  <a:pt x="762" y="1"/>
                </a:lnTo>
                <a:lnTo>
                  <a:pt x="747" y="0"/>
                </a:lnTo>
                <a:lnTo>
                  <a:pt x="731" y="1"/>
                </a:lnTo>
                <a:lnTo>
                  <a:pt x="717" y="3"/>
                </a:lnTo>
                <a:lnTo>
                  <a:pt x="703" y="7"/>
                </a:lnTo>
                <a:lnTo>
                  <a:pt x="689" y="12"/>
                </a:lnTo>
                <a:lnTo>
                  <a:pt x="676" y="18"/>
                </a:lnTo>
                <a:lnTo>
                  <a:pt x="664" y="26"/>
                </a:lnTo>
                <a:lnTo>
                  <a:pt x="652" y="34"/>
                </a:lnTo>
                <a:lnTo>
                  <a:pt x="642" y="44"/>
                </a:lnTo>
                <a:lnTo>
                  <a:pt x="632" y="55"/>
                </a:lnTo>
                <a:lnTo>
                  <a:pt x="623" y="66"/>
                </a:lnTo>
                <a:lnTo>
                  <a:pt x="616" y="78"/>
                </a:lnTo>
                <a:lnTo>
                  <a:pt x="609" y="92"/>
                </a:lnTo>
                <a:lnTo>
                  <a:pt x="604" y="105"/>
                </a:lnTo>
                <a:lnTo>
                  <a:pt x="601" y="120"/>
                </a:lnTo>
                <a:lnTo>
                  <a:pt x="599" y="135"/>
                </a:lnTo>
                <a:lnTo>
                  <a:pt x="598" y="150"/>
                </a:lnTo>
                <a:lnTo>
                  <a:pt x="597" y="177"/>
                </a:lnTo>
                <a:lnTo>
                  <a:pt x="594" y="202"/>
                </a:lnTo>
                <a:lnTo>
                  <a:pt x="591" y="228"/>
                </a:lnTo>
                <a:lnTo>
                  <a:pt x="586" y="252"/>
                </a:lnTo>
                <a:lnTo>
                  <a:pt x="578" y="277"/>
                </a:lnTo>
                <a:lnTo>
                  <a:pt x="571" y="300"/>
                </a:lnTo>
                <a:lnTo>
                  <a:pt x="561" y="323"/>
                </a:lnTo>
                <a:lnTo>
                  <a:pt x="551" y="344"/>
                </a:lnTo>
                <a:lnTo>
                  <a:pt x="536" y="325"/>
                </a:lnTo>
                <a:lnTo>
                  <a:pt x="521" y="306"/>
                </a:lnTo>
                <a:lnTo>
                  <a:pt x="504" y="288"/>
                </a:lnTo>
                <a:lnTo>
                  <a:pt x="485" y="271"/>
                </a:lnTo>
                <a:lnTo>
                  <a:pt x="467" y="255"/>
                </a:lnTo>
                <a:lnTo>
                  <a:pt x="447" y="240"/>
                </a:lnTo>
                <a:lnTo>
                  <a:pt x="427" y="226"/>
                </a:lnTo>
                <a:lnTo>
                  <a:pt x="405" y="214"/>
                </a:lnTo>
                <a:lnTo>
                  <a:pt x="383" y="202"/>
                </a:lnTo>
                <a:lnTo>
                  <a:pt x="360" y="193"/>
                </a:lnTo>
                <a:lnTo>
                  <a:pt x="337" y="184"/>
                </a:lnTo>
                <a:lnTo>
                  <a:pt x="312" y="178"/>
                </a:lnTo>
                <a:lnTo>
                  <a:pt x="287" y="172"/>
                </a:lnTo>
                <a:lnTo>
                  <a:pt x="262" y="168"/>
                </a:lnTo>
                <a:lnTo>
                  <a:pt x="236" y="166"/>
                </a:lnTo>
                <a:lnTo>
                  <a:pt x="209" y="165"/>
                </a:lnTo>
                <a:lnTo>
                  <a:pt x="190" y="166"/>
                </a:lnTo>
                <a:lnTo>
                  <a:pt x="166" y="168"/>
                </a:lnTo>
                <a:lnTo>
                  <a:pt x="137" y="172"/>
                </a:lnTo>
                <a:lnTo>
                  <a:pt x="106" y="179"/>
                </a:lnTo>
                <a:lnTo>
                  <a:pt x="76" y="185"/>
                </a:lnTo>
                <a:lnTo>
                  <a:pt x="47" y="194"/>
                </a:lnTo>
                <a:lnTo>
                  <a:pt x="35" y="198"/>
                </a:lnTo>
                <a:lnTo>
                  <a:pt x="23" y="202"/>
                </a:lnTo>
                <a:lnTo>
                  <a:pt x="14" y="208"/>
                </a:lnTo>
                <a:lnTo>
                  <a:pt x="6" y="213"/>
                </a:lnTo>
                <a:lnTo>
                  <a:pt x="3" y="215"/>
                </a:lnTo>
                <a:lnTo>
                  <a:pt x="1" y="219"/>
                </a:lnTo>
                <a:lnTo>
                  <a:pt x="0" y="223"/>
                </a:lnTo>
                <a:lnTo>
                  <a:pt x="0" y="227"/>
                </a:lnTo>
                <a:lnTo>
                  <a:pt x="2" y="231"/>
                </a:lnTo>
                <a:lnTo>
                  <a:pt x="4" y="234"/>
                </a:lnTo>
                <a:lnTo>
                  <a:pt x="7" y="237"/>
                </a:lnTo>
                <a:lnTo>
                  <a:pt x="10" y="239"/>
                </a:lnTo>
                <a:lnTo>
                  <a:pt x="497" y="373"/>
                </a:lnTo>
                <a:lnTo>
                  <a:pt x="10" y="509"/>
                </a:lnTo>
                <a:lnTo>
                  <a:pt x="7" y="511"/>
                </a:lnTo>
                <a:lnTo>
                  <a:pt x="4" y="513"/>
                </a:lnTo>
                <a:lnTo>
                  <a:pt x="2" y="518"/>
                </a:lnTo>
                <a:lnTo>
                  <a:pt x="0" y="521"/>
                </a:lnTo>
                <a:lnTo>
                  <a:pt x="0" y="525"/>
                </a:lnTo>
                <a:lnTo>
                  <a:pt x="1" y="529"/>
                </a:lnTo>
                <a:lnTo>
                  <a:pt x="3" y="533"/>
                </a:lnTo>
                <a:lnTo>
                  <a:pt x="6" y="536"/>
                </a:lnTo>
                <a:lnTo>
                  <a:pt x="14" y="541"/>
                </a:lnTo>
                <a:lnTo>
                  <a:pt x="23" y="545"/>
                </a:lnTo>
                <a:lnTo>
                  <a:pt x="34" y="551"/>
                </a:lnTo>
                <a:lnTo>
                  <a:pt x="47" y="555"/>
                </a:lnTo>
                <a:lnTo>
                  <a:pt x="75" y="563"/>
                </a:lnTo>
                <a:lnTo>
                  <a:pt x="106" y="570"/>
                </a:lnTo>
                <a:lnTo>
                  <a:pt x="136" y="575"/>
                </a:lnTo>
                <a:lnTo>
                  <a:pt x="164" y="580"/>
                </a:lnTo>
                <a:lnTo>
                  <a:pt x="190" y="582"/>
                </a:lnTo>
                <a:lnTo>
                  <a:pt x="209" y="583"/>
                </a:lnTo>
                <a:lnTo>
                  <a:pt x="236" y="582"/>
                </a:lnTo>
                <a:lnTo>
                  <a:pt x="262" y="580"/>
                </a:lnTo>
                <a:lnTo>
                  <a:pt x="287" y="575"/>
                </a:lnTo>
                <a:lnTo>
                  <a:pt x="312" y="570"/>
                </a:lnTo>
                <a:lnTo>
                  <a:pt x="337" y="564"/>
                </a:lnTo>
                <a:lnTo>
                  <a:pt x="360" y="555"/>
                </a:lnTo>
                <a:lnTo>
                  <a:pt x="383" y="545"/>
                </a:lnTo>
                <a:lnTo>
                  <a:pt x="405" y="534"/>
                </a:lnTo>
                <a:lnTo>
                  <a:pt x="427" y="522"/>
                </a:lnTo>
                <a:lnTo>
                  <a:pt x="447" y="508"/>
                </a:lnTo>
                <a:lnTo>
                  <a:pt x="467" y="493"/>
                </a:lnTo>
                <a:lnTo>
                  <a:pt x="485" y="477"/>
                </a:lnTo>
                <a:lnTo>
                  <a:pt x="504" y="460"/>
                </a:lnTo>
                <a:lnTo>
                  <a:pt x="521" y="442"/>
                </a:lnTo>
                <a:lnTo>
                  <a:pt x="536" y="424"/>
                </a:lnTo>
                <a:lnTo>
                  <a:pt x="551" y="403"/>
                </a:lnTo>
                <a:lnTo>
                  <a:pt x="561" y="425"/>
                </a:lnTo>
                <a:lnTo>
                  <a:pt x="571" y="447"/>
                </a:lnTo>
                <a:lnTo>
                  <a:pt x="578" y="471"/>
                </a:lnTo>
                <a:lnTo>
                  <a:pt x="586" y="495"/>
                </a:lnTo>
                <a:lnTo>
                  <a:pt x="591" y="520"/>
                </a:lnTo>
                <a:lnTo>
                  <a:pt x="594" y="545"/>
                </a:lnTo>
                <a:lnTo>
                  <a:pt x="597" y="571"/>
                </a:lnTo>
                <a:lnTo>
                  <a:pt x="598" y="598"/>
                </a:lnTo>
                <a:lnTo>
                  <a:pt x="599" y="613"/>
                </a:lnTo>
                <a:lnTo>
                  <a:pt x="601" y="628"/>
                </a:lnTo>
                <a:lnTo>
                  <a:pt x="604" y="643"/>
                </a:lnTo>
                <a:lnTo>
                  <a:pt x="609" y="656"/>
                </a:lnTo>
                <a:lnTo>
                  <a:pt x="616" y="669"/>
                </a:lnTo>
                <a:lnTo>
                  <a:pt x="623" y="681"/>
                </a:lnTo>
                <a:lnTo>
                  <a:pt x="632" y="693"/>
                </a:lnTo>
                <a:lnTo>
                  <a:pt x="642" y="704"/>
                </a:lnTo>
                <a:lnTo>
                  <a:pt x="652" y="713"/>
                </a:lnTo>
                <a:lnTo>
                  <a:pt x="664" y="722"/>
                </a:lnTo>
                <a:lnTo>
                  <a:pt x="676" y="729"/>
                </a:lnTo>
                <a:lnTo>
                  <a:pt x="689" y="736"/>
                </a:lnTo>
                <a:lnTo>
                  <a:pt x="703" y="740"/>
                </a:lnTo>
                <a:lnTo>
                  <a:pt x="717" y="744"/>
                </a:lnTo>
                <a:lnTo>
                  <a:pt x="731" y="746"/>
                </a:lnTo>
                <a:lnTo>
                  <a:pt x="747" y="748"/>
                </a:lnTo>
                <a:lnTo>
                  <a:pt x="762" y="746"/>
                </a:lnTo>
                <a:lnTo>
                  <a:pt x="777" y="744"/>
                </a:lnTo>
                <a:lnTo>
                  <a:pt x="791" y="740"/>
                </a:lnTo>
                <a:lnTo>
                  <a:pt x="805" y="736"/>
                </a:lnTo>
                <a:lnTo>
                  <a:pt x="818" y="729"/>
                </a:lnTo>
                <a:lnTo>
                  <a:pt x="831" y="722"/>
                </a:lnTo>
                <a:lnTo>
                  <a:pt x="843" y="713"/>
                </a:lnTo>
                <a:lnTo>
                  <a:pt x="852" y="704"/>
                </a:lnTo>
                <a:lnTo>
                  <a:pt x="862" y="693"/>
                </a:lnTo>
                <a:lnTo>
                  <a:pt x="872" y="681"/>
                </a:lnTo>
                <a:lnTo>
                  <a:pt x="879" y="669"/>
                </a:lnTo>
                <a:lnTo>
                  <a:pt x="884" y="656"/>
                </a:lnTo>
                <a:lnTo>
                  <a:pt x="890" y="643"/>
                </a:lnTo>
                <a:lnTo>
                  <a:pt x="894" y="628"/>
                </a:lnTo>
                <a:lnTo>
                  <a:pt x="896" y="613"/>
                </a:lnTo>
                <a:lnTo>
                  <a:pt x="896" y="598"/>
                </a:lnTo>
                <a:lnTo>
                  <a:pt x="896" y="583"/>
                </a:lnTo>
                <a:lnTo>
                  <a:pt x="894" y="568"/>
                </a:lnTo>
                <a:lnTo>
                  <a:pt x="890" y="554"/>
                </a:lnTo>
                <a:lnTo>
                  <a:pt x="884" y="540"/>
                </a:lnTo>
                <a:lnTo>
                  <a:pt x="879" y="526"/>
                </a:lnTo>
                <a:lnTo>
                  <a:pt x="872" y="514"/>
                </a:lnTo>
                <a:lnTo>
                  <a:pt x="862" y="503"/>
                </a:lnTo>
                <a:lnTo>
                  <a:pt x="852" y="492"/>
                </a:lnTo>
                <a:lnTo>
                  <a:pt x="843" y="482"/>
                </a:lnTo>
                <a:lnTo>
                  <a:pt x="831" y="474"/>
                </a:lnTo>
                <a:lnTo>
                  <a:pt x="818" y="466"/>
                </a:lnTo>
                <a:lnTo>
                  <a:pt x="805" y="460"/>
                </a:lnTo>
                <a:lnTo>
                  <a:pt x="791" y="456"/>
                </a:lnTo>
                <a:lnTo>
                  <a:pt x="777" y="451"/>
                </a:lnTo>
                <a:lnTo>
                  <a:pt x="762" y="449"/>
                </a:lnTo>
                <a:lnTo>
                  <a:pt x="747" y="44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23" name="Group 85">
            <a:extLst>
              <a:ext uri="{FF2B5EF4-FFF2-40B4-BE49-F238E27FC236}">
                <a16:creationId xmlns:a16="http://schemas.microsoft.com/office/drawing/2014/main" id="{A3083C75-279B-45B0-AFC2-657A756C39D2}"/>
              </a:ext>
            </a:extLst>
          </p:cNvPr>
          <p:cNvGrpSpPr>
            <a:grpSpLocks noChangeAspect="1"/>
          </p:cNvGrpSpPr>
          <p:nvPr/>
        </p:nvGrpSpPr>
        <p:grpSpPr>
          <a:xfrm>
            <a:off x="3192203" y="3802799"/>
            <a:ext cx="306484" cy="306484"/>
            <a:chOff x="8162925" y="4216083"/>
            <a:chExt cx="276225" cy="276225"/>
          </a:xfrm>
          <a:solidFill>
            <a:schemeClr val="bg2"/>
          </a:solidFill>
          <a:effectLst/>
        </p:grpSpPr>
        <p:sp>
          <p:nvSpPr>
            <p:cNvPr id="624" name="Freeform 394">
              <a:extLst>
                <a:ext uri="{FF2B5EF4-FFF2-40B4-BE49-F238E27FC236}">
                  <a16:creationId xmlns:a16="http://schemas.microsoft.com/office/drawing/2014/main" id="{9D5EDC73-299E-4831-82CE-EEDC2CEA395A}"/>
                </a:ext>
              </a:extLst>
            </p:cNvPr>
            <p:cNvSpPr>
              <a:spLocks/>
            </p:cNvSpPr>
            <p:nvPr/>
          </p:nvSpPr>
          <p:spPr bwMode="auto">
            <a:xfrm>
              <a:off x="8220075" y="4273233"/>
              <a:ext cx="219075" cy="219075"/>
            </a:xfrm>
            <a:custGeom>
              <a:avLst/>
              <a:gdLst>
                <a:gd name="T0" fmla="*/ 661 w 691"/>
                <a:gd name="T1" fmla="*/ 0 h 691"/>
                <a:gd name="T2" fmla="*/ 661 w 691"/>
                <a:gd name="T3" fmla="*/ 661 h 691"/>
                <a:gd name="T4" fmla="*/ 0 w 691"/>
                <a:gd name="T5" fmla="*/ 661 h 691"/>
                <a:gd name="T6" fmla="*/ 0 w 691"/>
                <a:gd name="T7" fmla="*/ 691 h 691"/>
                <a:gd name="T8" fmla="*/ 691 w 691"/>
                <a:gd name="T9" fmla="*/ 691 h 691"/>
                <a:gd name="T10" fmla="*/ 691 w 691"/>
                <a:gd name="T11" fmla="*/ 0 h 691"/>
                <a:gd name="T12" fmla="*/ 661 w 691"/>
                <a:gd name="T13" fmla="*/ 0 h 691"/>
              </a:gdLst>
              <a:ahLst/>
              <a:cxnLst>
                <a:cxn ang="0">
                  <a:pos x="T0" y="T1"/>
                </a:cxn>
                <a:cxn ang="0">
                  <a:pos x="T2" y="T3"/>
                </a:cxn>
                <a:cxn ang="0">
                  <a:pos x="T4" y="T5"/>
                </a:cxn>
                <a:cxn ang="0">
                  <a:pos x="T6" y="T7"/>
                </a:cxn>
                <a:cxn ang="0">
                  <a:pos x="T8" y="T9"/>
                </a:cxn>
                <a:cxn ang="0">
                  <a:pos x="T10" y="T11"/>
                </a:cxn>
                <a:cxn ang="0">
                  <a:pos x="T12" y="T13"/>
                </a:cxn>
              </a:cxnLst>
              <a:rect l="0" t="0" r="r" b="b"/>
              <a:pathLst>
                <a:path w="691" h="691">
                  <a:moveTo>
                    <a:pt x="661" y="0"/>
                  </a:moveTo>
                  <a:lnTo>
                    <a:pt x="661" y="661"/>
                  </a:lnTo>
                  <a:lnTo>
                    <a:pt x="0" y="661"/>
                  </a:lnTo>
                  <a:lnTo>
                    <a:pt x="0" y="691"/>
                  </a:lnTo>
                  <a:lnTo>
                    <a:pt x="691" y="691"/>
                  </a:lnTo>
                  <a:lnTo>
                    <a:pt x="691" y="0"/>
                  </a:lnTo>
                  <a:lnTo>
                    <a:pt x="6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5" name="Freeform 395">
              <a:extLst>
                <a:ext uri="{FF2B5EF4-FFF2-40B4-BE49-F238E27FC236}">
                  <a16:creationId xmlns:a16="http://schemas.microsoft.com/office/drawing/2014/main" id="{E10C2488-DAE8-4D81-BF74-07D2D36C1510}"/>
                </a:ext>
              </a:extLst>
            </p:cNvPr>
            <p:cNvSpPr>
              <a:spLocks/>
            </p:cNvSpPr>
            <p:nvPr/>
          </p:nvSpPr>
          <p:spPr bwMode="auto">
            <a:xfrm>
              <a:off x="8191500" y="4244658"/>
              <a:ext cx="228600" cy="228600"/>
            </a:xfrm>
            <a:custGeom>
              <a:avLst/>
              <a:gdLst>
                <a:gd name="T0" fmla="*/ 720 w 720"/>
                <a:gd name="T1" fmla="*/ 0 h 721"/>
                <a:gd name="T2" fmla="*/ 690 w 720"/>
                <a:gd name="T3" fmla="*/ 0 h 721"/>
                <a:gd name="T4" fmla="*/ 690 w 720"/>
                <a:gd name="T5" fmla="*/ 691 h 721"/>
                <a:gd name="T6" fmla="*/ 0 w 720"/>
                <a:gd name="T7" fmla="*/ 691 h 721"/>
                <a:gd name="T8" fmla="*/ 0 w 720"/>
                <a:gd name="T9" fmla="*/ 721 h 721"/>
                <a:gd name="T10" fmla="*/ 720 w 720"/>
                <a:gd name="T11" fmla="*/ 721 h 721"/>
                <a:gd name="T12" fmla="*/ 720 w 720"/>
                <a:gd name="T13" fmla="*/ 0 h 721"/>
              </a:gdLst>
              <a:ahLst/>
              <a:cxnLst>
                <a:cxn ang="0">
                  <a:pos x="T0" y="T1"/>
                </a:cxn>
                <a:cxn ang="0">
                  <a:pos x="T2" y="T3"/>
                </a:cxn>
                <a:cxn ang="0">
                  <a:pos x="T4" y="T5"/>
                </a:cxn>
                <a:cxn ang="0">
                  <a:pos x="T6" y="T7"/>
                </a:cxn>
                <a:cxn ang="0">
                  <a:pos x="T8" y="T9"/>
                </a:cxn>
                <a:cxn ang="0">
                  <a:pos x="T10" y="T11"/>
                </a:cxn>
                <a:cxn ang="0">
                  <a:pos x="T12" y="T13"/>
                </a:cxn>
              </a:cxnLst>
              <a:rect l="0" t="0" r="r" b="b"/>
              <a:pathLst>
                <a:path w="720" h="721">
                  <a:moveTo>
                    <a:pt x="720" y="0"/>
                  </a:moveTo>
                  <a:lnTo>
                    <a:pt x="690" y="0"/>
                  </a:lnTo>
                  <a:lnTo>
                    <a:pt x="690" y="691"/>
                  </a:lnTo>
                  <a:lnTo>
                    <a:pt x="0" y="691"/>
                  </a:lnTo>
                  <a:lnTo>
                    <a:pt x="0" y="721"/>
                  </a:lnTo>
                  <a:lnTo>
                    <a:pt x="720" y="721"/>
                  </a:lnTo>
                  <a:lnTo>
                    <a:pt x="7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6" name="Freeform 396">
              <a:extLst>
                <a:ext uri="{FF2B5EF4-FFF2-40B4-BE49-F238E27FC236}">
                  <a16:creationId xmlns:a16="http://schemas.microsoft.com/office/drawing/2014/main" id="{1A2A2A50-1F15-4A7B-843B-E9D10649CB51}"/>
                </a:ext>
              </a:extLst>
            </p:cNvPr>
            <p:cNvSpPr>
              <a:spLocks noEditPoints="1"/>
            </p:cNvSpPr>
            <p:nvPr/>
          </p:nvSpPr>
          <p:spPr bwMode="auto">
            <a:xfrm>
              <a:off x="8162925" y="4216083"/>
              <a:ext cx="238125" cy="238125"/>
            </a:xfrm>
            <a:custGeom>
              <a:avLst/>
              <a:gdLst>
                <a:gd name="T0" fmla="*/ 30 w 751"/>
                <a:gd name="T1" fmla="*/ 721 h 751"/>
                <a:gd name="T2" fmla="*/ 30 w 751"/>
                <a:gd name="T3" fmla="*/ 601 h 751"/>
                <a:gd name="T4" fmla="*/ 721 w 751"/>
                <a:gd name="T5" fmla="*/ 601 h 751"/>
                <a:gd name="T6" fmla="*/ 721 w 751"/>
                <a:gd name="T7" fmla="*/ 721 h 751"/>
                <a:gd name="T8" fmla="*/ 30 w 751"/>
                <a:gd name="T9" fmla="*/ 721 h 751"/>
                <a:gd name="T10" fmla="*/ 619 w 751"/>
                <a:gd name="T11" fmla="*/ 571 h 751"/>
                <a:gd name="T12" fmla="*/ 192 w 751"/>
                <a:gd name="T13" fmla="*/ 571 h 751"/>
                <a:gd name="T14" fmla="*/ 282 w 751"/>
                <a:gd name="T15" fmla="*/ 420 h 751"/>
                <a:gd name="T16" fmla="*/ 363 w 751"/>
                <a:gd name="T17" fmla="*/ 517 h 751"/>
                <a:gd name="T18" fmla="*/ 365 w 751"/>
                <a:gd name="T19" fmla="*/ 519 h 751"/>
                <a:gd name="T20" fmla="*/ 368 w 751"/>
                <a:gd name="T21" fmla="*/ 522 h 751"/>
                <a:gd name="T22" fmla="*/ 372 w 751"/>
                <a:gd name="T23" fmla="*/ 523 h 751"/>
                <a:gd name="T24" fmla="*/ 375 w 751"/>
                <a:gd name="T25" fmla="*/ 523 h 751"/>
                <a:gd name="T26" fmla="*/ 379 w 751"/>
                <a:gd name="T27" fmla="*/ 523 h 751"/>
                <a:gd name="T28" fmla="*/ 382 w 751"/>
                <a:gd name="T29" fmla="*/ 521 h 751"/>
                <a:gd name="T30" fmla="*/ 385 w 751"/>
                <a:gd name="T31" fmla="*/ 518 h 751"/>
                <a:gd name="T32" fmla="*/ 387 w 751"/>
                <a:gd name="T33" fmla="*/ 516 h 751"/>
                <a:gd name="T34" fmla="*/ 523 w 751"/>
                <a:gd name="T35" fmla="*/ 314 h 751"/>
                <a:gd name="T36" fmla="*/ 619 w 751"/>
                <a:gd name="T37" fmla="*/ 571 h 751"/>
                <a:gd name="T38" fmla="*/ 721 w 751"/>
                <a:gd name="T39" fmla="*/ 30 h 751"/>
                <a:gd name="T40" fmla="*/ 721 w 751"/>
                <a:gd name="T41" fmla="*/ 571 h 751"/>
                <a:gd name="T42" fmla="*/ 652 w 751"/>
                <a:gd name="T43" fmla="*/ 571 h 751"/>
                <a:gd name="T44" fmla="*/ 540 w 751"/>
                <a:gd name="T45" fmla="*/ 275 h 751"/>
                <a:gd name="T46" fmla="*/ 538 w 751"/>
                <a:gd name="T47" fmla="*/ 272 h 751"/>
                <a:gd name="T48" fmla="*/ 536 w 751"/>
                <a:gd name="T49" fmla="*/ 269 h 751"/>
                <a:gd name="T50" fmla="*/ 533 w 751"/>
                <a:gd name="T51" fmla="*/ 266 h 751"/>
                <a:gd name="T52" fmla="*/ 528 w 751"/>
                <a:gd name="T53" fmla="*/ 265 h 751"/>
                <a:gd name="T54" fmla="*/ 524 w 751"/>
                <a:gd name="T55" fmla="*/ 265 h 751"/>
                <a:gd name="T56" fmla="*/ 520 w 751"/>
                <a:gd name="T57" fmla="*/ 266 h 751"/>
                <a:gd name="T58" fmla="*/ 516 w 751"/>
                <a:gd name="T59" fmla="*/ 269 h 751"/>
                <a:gd name="T60" fmla="*/ 513 w 751"/>
                <a:gd name="T61" fmla="*/ 272 h 751"/>
                <a:gd name="T62" fmla="*/ 373 w 751"/>
                <a:gd name="T63" fmla="*/ 483 h 751"/>
                <a:gd name="T64" fmla="*/ 291 w 751"/>
                <a:gd name="T65" fmla="*/ 384 h 751"/>
                <a:gd name="T66" fmla="*/ 289 w 751"/>
                <a:gd name="T67" fmla="*/ 382 h 751"/>
                <a:gd name="T68" fmla="*/ 286 w 751"/>
                <a:gd name="T69" fmla="*/ 380 h 751"/>
                <a:gd name="T70" fmla="*/ 283 w 751"/>
                <a:gd name="T71" fmla="*/ 379 h 751"/>
                <a:gd name="T72" fmla="*/ 278 w 751"/>
                <a:gd name="T73" fmla="*/ 379 h 751"/>
                <a:gd name="T74" fmla="*/ 275 w 751"/>
                <a:gd name="T75" fmla="*/ 380 h 751"/>
                <a:gd name="T76" fmla="*/ 272 w 751"/>
                <a:gd name="T77" fmla="*/ 381 h 751"/>
                <a:gd name="T78" fmla="*/ 269 w 751"/>
                <a:gd name="T79" fmla="*/ 383 h 751"/>
                <a:gd name="T80" fmla="*/ 267 w 751"/>
                <a:gd name="T81" fmla="*/ 387 h 751"/>
                <a:gd name="T82" fmla="*/ 156 w 751"/>
                <a:gd name="T83" fmla="*/ 571 h 751"/>
                <a:gd name="T84" fmla="*/ 30 w 751"/>
                <a:gd name="T85" fmla="*/ 571 h 751"/>
                <a:gd name="T86" fmla="*/ 30 w 751"/>
                <a:gd name="T87" fmla="*/ 30 h 751"/>
                <a:gd name="T88" fmla="*/ 721 w 751"/>
                <a:gd name="T89" fmla="*/ 30 h 751"/>
                <a:gd name="T90" fmla="*/ 751 w 751"/>
                <a:gd name="T91" fmla="*/ 0 h 751"/>
                <a:gd name="T92" fmla="*/ 0 w 751"/>
                <a:gd name="T93" fmla="*/ 0 h 751"/>
                <a:gd name="T94" fmla="*/ 0 w 751"/>
                <a:gd name="T95" fmla="*/ 751 h 751"/>
                <a:gd name="T96" fmla="*/ 751 w 751"/>
                <a:gd name="T97" fmla="*/ 751 h 751"/>
                <a:gd name="T98" fmla="*/ 751 w 751"/>
                <a:gd name="T99"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1" h="751">
                  <a:moveTo>
                    <a:pt x="30" y="721"/>
                  </a:moveTo>
                  <a:lnTo>
                    <a:pt x="30" y="601"/>
                  </a:lnTo>
                  <a:lnTo>
                    <a:pt x="721" y="601"/>
                  </a:lnTo>
                  <a:lnTo>
                    <a:pt x="721" y="721"/>
                  </a:lnTo>
                  <a:lnTo>
                    <a:pt x="30" y="721"/>
                  </a:lnTo>
                  <a:close/>
                  <a:moveTo>
                    <a:pt x="619" y="571"/>
                  </a:moveTo>
                  <a:lnTo>
                    <a:pt x="192" y="571"/>
                  </a:lnTo>
                  <a:lnTo>
                    <a:pt x="282" y="420"/>
                  </a:lnTo>
                  <a:lnTo>
                    <a:pt x="363" y="517"/>
                  </a:lnTo>
                  <a:lnTo>
                    <a:pt x="365" y="519"/>
                  </a:lnTo>
                  <a:lnTo>
                    <a:pt x="368" y="522"/>
                  </a:lnTo>
                  <a:lnTo>
                    <a:pt x="372" y="523"/>
                  </a:lnTo>
                  <a:lnTo>
                    <a:pt x="375" y="523"/>
                  </a:lnTo>
                  <a:lnTo>
                    <a:pt x="379" y="523"/>
                  </a:lnTo>
                  <a:lnTo>
                    <a:pt x="382" y="521"/>
                  </a:lnTo>
                  <a:lnTo>
                    <a:pt x="385" y="518"/>
                  </a:lnTo>
                  <a:lnTo>
                    <a:pt x="387" y="516"/>
                  </a:lnTo>
                  <a:lnTo>
                    <a:pt x="523" y="314"/>
                  </a:lnTo>
                  <a:lnTo>
                    <a:pt x="619" y="571"/>
                  </a:lnTo>
                  <a:close/>
                  <a:moveTo>
                    <a:pt x="721" y="30"/>
                  </a:moveTo>
                  <a:lnTo>
                    <a:pt x="721" y="571"/>
                  </a:lnTo>
                  <a:lnTo>
                    <a:pt x="652" y="571"/>
                  </a:lnTo>
                  <a:lnTo>
                    <a:pt x="540" y="275"/>
                  </a:lnTo>
                  <a:lnTo>
                    <a:pt x="538" y="272"/>
                  </a:lnTo>
                  <a:lnTo>
                    <a:pt x="536" y="269"/>
                  </a:lnTo>
                  <a:lnTo>
                    <a:pt x="533" y="266"/>
                  </a:lnTo>
                  <a:lnTo>
                    <a:pt x="528" y="265"/>
                  </a:lnTo>
                  <a:lnTo>
                    <a:pt x="524" y="265"/>
                  </a:lnTo>
                  <a:lnTo>
                    <a:pt x="520" y="266"/>
                  </a:lnTo>
                  <a:lnTo>
                    <a:pt x="516" y="269"/>
                  </a:lnTo>
                  <a:lnTo>
                    <a:pt x="513" y="272"/>
                  </a:lnTo>
                  <a:lnTo>
                    <a:pt x="373" y="483"/>
                  </a:lnTo>
                  <a:lnTo>
                    <a:pt x="291" y="384"/>
                  </a:lnTo>
                  <a:lnTo>
                    <a:pt x="289" y="382"/>
                  </a:lnTo>
                  <a:lnTo>
                    <a:pt x="286" y="380"/>
                  </a:lnTo>
                  <a:lnTo>
                    <a:pt x="283" y="379"/>
                  </a:lnTo>
                  <a:lnTo>
                    <a:pt x="278" y="379"/>
                  </a:lnTo>
                  <a:lnTo>
                    <a:pt x="275" y="380"/>
                  </a:lnTo>
                  <a:lnTo>
                    <a:pt x="272" y="381"/>
                  </a:lnTo>
                  <a:lnTo>
                    <a:pt x="269" y="383"/>
                  </a:lnTo>
                  <a:lnTo>
                    <a:pt x="267" y="387"/>
                  </a:lnTo>
                  <a:lnTo>
                    <a:pt x="156" y="571"/>
                  </a:lnTo>
                  <a:lnTo>
                    <a:pt x="30" y="571"/>
                  </a:lnTo>
                  <a:lnTo>
                    <a:pt x="30" y="30"/>
                  </a:lnTo>
                  <a:lnTo>
                    <a:pt x="721" y="30"/>
                  </a:lnTo>
                  <a:close/>
                  <a:moveTo>
                    <a:pt x="751" y="0"/>
                  </a:moveTo>
                  <a:lnTo>
                    <a:pt x="0" y="0"/>
                  </a:lnTo>
                  <a:lnTo>
                    <a:pt x="0" y="751"/>
                  </a:lnTo>
                  <a:lnTo>
                    <a:pt x="751" y="751"/>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7" name="Freeform 397">
              <a:extLst>
                <a:ext uri="{FF2B5EF4-FFF2-40B4-BE49-F238E27FC236}">
                  <a16:creationId xmlns:a16="http://schemas.microsoft.com/office/drawing/2014/main" id="{87DB5FB6-62D7-49F2-B71D-28A3B5AC8D7F}"/>
                </a:ext>
              </a:extLst>
            </p:cNvPr>
            <p:cNvSpPr>
              <a:spLocks noEditPoints="1"/>
            </p:cNvSpPr>
            <p:nvPr/>
          </p:nvSpPr>
          <p:spPr bwMode="auto">
            <a:xfrm>
              <a:off x="8210550" y="4252595"/>
              <a:ext cx="46038" cy="44450"/>
            </a:xfrm>
            <a:custGeom>
              <a:avLst/>
              <a:gdLst>
                <a:gd name="T0" fmla="*/ 80 w 143"/>
                <a:gd name="T1" fmla="*/ 30 h 144"/>
                <a:gd name="T2" fmla="*/ 95 w 143"/>
                <a:gd name="T3" fmla="*/ 37 h 144"/>
                <a:gd name="T4" fmla="*/ 107 w 143"/>
                <a:gd name="T5" fmla="*/ 48 h 144"/>
                <a:gd name="T6" fmla="*/ 113 w 143"/>
                <a:gd name="T7" fmla="*/ 63 h 144"/>
                <a:gd name="T8" fmla="*/ 113 w 143"/>
                <a:gd name="T9" fmla="*/ 81 h 144"/>
                <a:gd name="T10" fmla="*/ 107 w 143"/>
                <a:gd name="T11" fmla="*/ 95 h 144"/>
                <a:gd name="T12" fmla="*/ 95 w 143"/>
                <a:gd name="T13" fmla="*/ 106 h 144"/>
                <a:gd name="T14" fmla="*/ 80 w 143"/>
                <a:gd name="T15" fmla="*/ 113 h 144"/>
                <a:gd name="T16" fmla="*/ 63 w 143"/>
                <a:gd name="T17" fmla="*/ 113 h 144"/>
                <a:gd name="T18" fmla="*/ 49 w 143"/>
                <a:gd name="T19" fmla="*/ 106 h 144"/>
                <a:gd name="T20" fmla="*/ 37 w 143"/>
                <a:gd name="T21" fmla="*/ 95 h 144"/>
                <a:gd name="T22" fmla="*/ 31 w 143"/>
                <a:gd name="T23" fmla="*/ 81 h 144"/>
                <a:gd name="T24" fmla="*/ 31 w 143"/>
                <a:gd name="T25" fmla="*/ 63 h 144"/>
                <a:gd name="T26" fmla="*/ 37 w 143"/>
                <a:gd name="T27" fmla="*/ 48 h 144"/>
                <a:gd name="T28" fmla="*/ 49 w 143"/>
                <a:gd name="T29" fmla="*/ 37 h 144"/>
                <a:gd name="T30" fmla="*/ 63 w 143"/>
                <a:gd name="T31" fmla="*/ 30 h 144"/>
                <a:gd name="T32" fmla="*/ 72 w 143"/>
                <a:gd name="T33" fmla="*/ 144 h 144"/>
                <a:gd name="T34" fmla="*/ 87 w 143"/>
                <a:gd name="T35" fmla="*/ 142 h 144"/>
                <a:gd name="T36" fmla="*/ 100 w 143"/>
                <a:gd name="T37" fmla="*/ 137 h 144"/>
                <a:gd name="T38" fmla="*/ 112 w 143"/>
                <a:gd name="T39" fmla="*/ 131 h 144"/>
                <a:gd name="T40" fmla="*/ 123 w 143"/>
                <a:gd name="T41" fmla="*/ 122 h 144"/>
                <a:gd name="T42" fmla="*/ 132 w 143"/>
                <a:gd name="T43" fmla="*/ 112 h 144"/>
                <a:gd name="T44" fmla="*/ 138 w 143"/>
                <a:gd name="T45" fmla="*/ 100 h 144"/>
                <a:gd name="T46" fmla="*/ 142 w 143"/>
                <a:gd name="T47" fmla="*/ 86 h 144"/>
                <a:gd name="T48" fmla="*/ 143 w 143"/>
                <a:gd name="T49" fmla="*/ 72 h 144"/>
                <a:gd name="T50" fmla="*/ 142 w 143"/>
                <a:gd name="T51" fmla="*/ 57 h 144"/>
                <a:gd name="T52" fmla="*/ 138 w 143"/>
                <a:gd name="T53" fmla="*/ 44 h 144"/>
                <a:gd name="T54" fmla="*/ 132 w 143"/>
                <a:gd name="T55" fmla="*/ 31 h 144"/>
                <a:gd name="T56" fmla="*/ 123 w 143"/>
                <a:gd name="T57" fmla="*/ 21 h 144"/>
                <a:gd name="T58" fmla="*/ 112 w 143"/>
                <a:gd name="T59" fmla="*/ 12 h 144"/>
                <a:gd name="T60" fmla="*/ 100 w 143"/>
                <a:gd name="T61" fmla="*/ 5 h 144"/>
                <a:gd name="T62" fmla="*/ 87 w 143"/>
                <a:gd name="T63" fmla="*/ 1 h 144"/>
                <a:gd name="T64" fmla="*/ 72 w 143"/>
                <a:gd name="T65" fmla="*/ 0 h 144"/>
                <a:gd name="T66" fmla="*/ 58 w 143"/>
                <a:gd name="T67" fmla="*/ 1 h 144"/>
                <a:gd name="T68" fmla="*/ 44 w 143"/>
                <a:gd name="T69" fmla="*/ 5 h 144"/>
                <a:gd name="T70" fmla="*/ 32 w 143"/>
                <a:gd name="T71" fmla="*/ 12 h 144"/>
                <a:gd name="T72" fmla="*/ 21 w 143"/>
                <a:gd name="T73" fmla="*/ 21 h 144"/>
                <a:gd name="T74" fmla="*/ 13 w 143"/>
                <a:gd name="T75" fmla="*/ 31 h 144"/>
                <a:gd name="T76" fmla="*/ 6 w 143"/>
                <a:gd name="T77" fmla="*/ 44 h 144"/>
                <a:gd name="T78" fmla="*/ 2 w 143"/>
                <a:gd name="T79" fmla="*/ 57 h 144"/>
                <a:gd name="T80" fmla="*/ 0 w 143"/>
                <a:gd name="T81" fmla="*/ 72 h 144"/>
                <a:gd name="T82" fmla="*/ 2 w 143"/>
                <a:gd name="T83" fmla="*/ 86 h 144"/>
                <a:gd name="T84" fmla="*/ 6 w 143"/>
                <a:gd name="T85" fmla="*/ 100 h 144"/>
                <a:gd name="T86" fmla="*/ 13 w 143"/>
                <a:gd name="T87" fmla="*/ 112 h 144"/>
                <a:gd name="T88" fmla="*/ 21 w 143"/>
                <a:gd name="T89" fmla="*/ 122 h 144"/>
                <a:gd name="T90" fmla="*/ 32 w 143"/>
                <a:gd name="T91" fmla="*/ 131 h 144"/>
                <a:gd name="T92" fmla="*/ 44 w 143"/>
                <a:gd name="T93" fmla="*/ 137 h 144"/>
                <a:gd name="T94" fmla="*/ 58 w 143"/>
                <a:gd name="T95" fmla="*/ 142 h 144"/>
                <a:gd name="T96" fmla="*/ 72 w 143"/>
                <a:gd name="T9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44">
                  <a:moveTo>
                    <a:pt x="72" y="30"/>
                  </a:moveTo>
                  <a:lnTo>
                    <a:pt x="80" y="30"/>
                  </a:lnTo>
                  <a:lnTo>
                    <a:pt x="89" y="33"/>
                  </a:lnTo>
                  <a:lnTo>
                    <a:pt x="95" y="37"/>
                  </a:lnTo>
                  <a:lnTo>
                    <a:pt x="102" y="42"/>
                  </a:lnTo>
                  <a:lnTo>
                    <a:pt x="107" y="48"/>
                  </a:lnTo>
                  <a:lnTo>
                    <a:pt x="110" y="55"/>
                  </a:lnTo>
                  <a:lnTo>
                    <a:pt x="113" y="63"/>
                  </a:lnTo>
                  <a:lnTo>
                    <a:pt x="113" y="72"/>
                  </a:lnTo>
                  <a:lnTo>
                    <a:pt x="113" y="81"/>
                  </a:lnTo>
                  <a:lnTo>
                    <a:pt x="110" y="88"/>
                  </a:lnTo>
                  <a:lnTo>
                    <a:pt x="107" y="95"/>
                  </a:lnTo>
                  <a:lnTo>
                    <a:pt x="102" y="101"/>
                  </a:lnTo>
                  <a:lnTo>
                    <a:pt x="95" y="106"/>
                  </a:lnTo>
                  <a:lnTo>
                    <a:pt x="89" y="111"/>
                  </a:lnTo>
                  <a:lnTo>
                    <a:pt x="80" y="113"/>
                  </a:lnTo>
                  <a:lnTo>
                    <a:pt x="72" y="114"/>
                  </a:lnTo>
                  <a:lnTo>
                    <a:pt x="63" y="113"/>
                  </a:lnTo>
                  <a:lnTo>
                    <a:pt x="56" y="111"/>
                  </a:lnTo>
                  <a:lnTo>
                    <a:pt x="49" y="106"/>
                  </a:lnTo>
                  <a:lnTo>
                    <a:pt x="43" y="101"/>
                  </a:lnTo>
                  <a:lnTo>
                    <a:pt x="37" y="95"/>
                  </a:lnTo>
                  <a:lnTo>
                    <a:pt x="33" y="88"/>
                  </a:lnTo>
                  <a:lnTo>
                    <a:pt x="31" y="81"/>
                  </a:lnTo>
                  <a:lnTo>
                    <a:pt x="30" y="72"/>
                  </a:lnTo>
                  <a:lnTo>
                    <a:pt x="31" y="63"/>
                  </a:lnTo>
                  <a:lnTo>
                    <a:pt x="33" y="55"/>
                  </a:lnTo>
                  <a:lnTo>
                    <a:pt x="37" y="48"/>
                  </a:lnTo>
                  <a:lnTo>
                    <a:pt x="43" y="42"/>
                  </a:lnTo>
                  <a:lnTo>
                    <a:pt x="49" y="37"/>
                  </a:lnTo>
                  <a:lnTo>
                    <a:pt x="56" y="33"/>
                  </a:lnTo>
                  <a:lnTo>
                    <a:pt x="63" y="30"/>
                  </a:lnTo>
                  <a:lnTo>
                    <a:pt x="72" y="30"/>
                  </a:lnTo>
                  <a:close/>
                  <a:moveTo>
                    <a:pt x="72" y="144"/>
                  </a:moveTo>
                  <a:lnTo>
                    <a:pt x="79" y="143"/>
                  </a:lnTo>
                  <a:lnTo>
                    <a:pt x="87" y="142"/>
                  </a:lnTo>
                  <a:lnTo>
                    <a:pt x="93" y="141"/>
                  </a:lnTo>
                  <a:lnTo>
                    <a:pt x="100" y="137"/>
                  </a:lnTo>
                  <a:lnTo>
                    <a:pt x="106" y="135"/>
                  </a:lnTo>
                  <a:lnTo>
                    <a:pt x="112" y="131"/>
                  </a:lnTo>
                  <a:lnTo>
                    <a:pt x="118" y="127"/>
                  </a:lnTo>
                  <a:lnTo>
                    <a:pt x="123" y="122"/>
                  </a:lnTo>
                  <a:lnTo>
                    <a:pt x="127" y="117"/>
                  </a:lnTo>
                  <a:lnTo>
                    <a:pt x="132" y="112"/>
                  </a:lnTo>
                  <a:lnTo>
                    <a:pt x="135" y="106"/>
                  </a:lnTo>
                  <a:lnTo>
                    <a:pt x="138" y="100"/>
                  </a:lnTo>
                  <a:lnTo>
                    <a:pt x="140" y="93"/>
                  </a:lnTo>
                  <a:lnTo>
                    <a:pt x="142" y="86"/>
                  </a:lnTo>
                  <a:lnTo>
                    <a:pt x="143" y="79"/>
                  </a:lnTo>
                  <a:lnTo>
                    <a:pt x="143" y="72"/>
                  </a:lnTo>
                  <a:lnTo>
                    <a:pt x="143" y="64"/>
                  </a:lnTo>
                  <a:lnTo>
                    <a:pt x="142" y="57"/>
                  </a:lnTo>
                  <a:lnTo>
                    <a:pt x="140" y="51"/>
                  </a:lnTo>
                  <a:lnTo>
                    <a:pt x="138" y="44"/>
                  </a:lnTo>
                  <a:lnTo>
                    <a:pt x="135" y="38"/>
                  </a:lnTo>
                  <a:lnTo>
                    <a:pt x="132" y="31"/>
                  </a:lnTo>
                  <a:lnTo>
                    <a:pt x="127" y="26"/>
                  </a:lnTo>
                  <a:lnTo>
                    <a:pt x="123" y="21"/>
                  </a:lnTo>
                  <a:lnTo>
                    <a:pt x="118" y="16"/>
                  </a:lnTo>
                  <a:lnTo>
                    <a:pt x="112" y="12"/>
                  </a:lnTo>
                  <a:lnTo>
                    <a:pt x="106" y="9"/>
                  </a:lnTo>
                  <a:lnTo>
                    <a:pt x="100" y="5"/>
                  </a:lnTo>
                  <a:lnTo>
                    <a:pt x="93" y="3"/>
                  </a:lnTo>
                  <a:lnTo>
                    <a:pt x="87" y="1"/>
                  </a:lnTo>
                  <a:lnTo>
                    <a:pt x="79" y="0"/>
                  </a:lnTo>
                  <a:lnTo>
                    <a:pt x="72" y="0"/>
                  </a:lnTo>
                  <a:lnTo>
                    <a:pt x="64" y="0"/>
                  </a:lnTo>
                  <a:lnTo>
                    <a:pt x="58" y="1"/>
                  </a:lnTo>
                  <a:lnTo>
                    <a:pt x="50" y="3"/>
                  </a:lnTo>
                  <a:lnTo>
                    <a:pt x="44" y="5"/>
                  </a:lnTo>
                  <a:lnTo>
                    <a:pt x="37" y="9"/>
                  </a:lnTo>
                  <a:lnTo>
                    <a:pt x="32" y="12"/>
                  </a:lnTo>
                  <a:lnTo>
                    <a:pt x="27" y="16"/>
                  </a:lnTo>
                  <a:lnTo>
                    <a:pt x="21" y="21"/>
                  </a:lnTo>
                  <a:lnTo>
                    <a:pt x="17" y="26"/>
                  </a:lnTo>
                  <a:lnTo>
                    <a:pt x="13" y="31"/>
                  </a:lnTo>
                  <a:lnTo>
                    <a:pt x="8" y="38"/>
                  </a:lnTo>
                  <a:lnTo>
                    <a:pt x="6" y="44"/>
                  </a:lnTo>
                  <a:lnTo>
                    <a:pt x="3" y="51"/>
                  </a:lnTo>
                  <a:lnTo>
                    <a:pt x="2" y="57"/>
                  </a:lnTo>
                  <a:lnTo>
                    <a:pt x="1" y="64"/>
                  </a:lnTo>
                  <a:lnTo>
                    <a:pt x="0" y="72"/>
                  </a:lnTo>
                  <a:lnTo>
                    <a:pt x="1" y="79"/>
                  </a:lnTo>
                  <a:lnTo>
                    <a:pt x="2" y="86"/>
                  </a:lnTo>
                  <a:lnTo>
                    <a:pt x="3" y="93"/>
                  </a:lnTo>
                  <a:lnTo>
                    <a:pt x="6" y="100"/>
                  </a:lnTo>
                  <a:lnTo>
                    <a:pt x="8" y="106"/>
                  </a:lnTo>
                  <a:lnTo>
                    <a:pt x="13" y="112"/>
                  </a:lnTo>
                  <a:lnTo>
                    <a:pt x="17" y="117"/>
                  </a:lnTo>
                  <a:lnTo>
                    <a:pt x="21" y="122"/>
                  </a:lnTo>
                  <a:lnTo>
                    <a:pt x="27" y="127"/>
                  </a:lnTo>
                  <a:lnTo>
                    <a:pt x="32" y="131"/>
                  </a:lnTo>
                  <a:lnTo>
                    <a:pt x="37" y="135"/>
                  </a:lnTo>
                  <a:lnTo>
                    <a:pt x="44" y="137"/>
                  </a:lnTo>
                  <a:lnTo>
                    <a:pt x="50" y="141"/>
                  </a:lnTo>
                  <a:lnTo>
                    <a:pt x="58" y="142"/>
                  </a:lnTo>
                  <a:lnTo>
                    <a:pt x="64" y="143"/>
                  </a:lnTo>
                  <a:lnTo>
                    <a:pt x="7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628" name="Group 65">
            <a:extLst>
              <a:ext uri="{FF2B5EF4-FFF2-40B4-BE49-F238E27FC236}">
                <a16:creationId xmlns:a16="http://schemas.microsoft.com/office/drawing/2014/main" id="{27C2CE99-CB30-467C-8230-A8A4A4188B42}"/>
              </a:ext>
            </a:extLst>
          </p:cNvPr>
          <p:cNvGrpSpPr>
            <a:grpSpLocks noChangeAspect="1"/>
          </p:cNvGrpSpPr>
          <p:nvPr/>
        </p:nvGrpSpPr>
        <p:grpSpPr>
          <a:xfrm>
            <a:off x="3649469" y="3802799"/>
            <a:ext cx="308188" cy="306484"/>
            <a:chOff x="7589838" y="4216083"/>
            <a:chExt cx="287338" cy="285750"/>
          </a:xfrm>
          <a:solidFill>
            <a:schemeClr val="bg2"/>
          </a:solidFill>
          <a:effectLst/>
        </p:grpSpPr>
        <p:sp>
          <p:nvSpPr>
            <p:cNvPr id="629" name="Freeform 398">
              <a:extLst>
                <a:ext uri="{FF2B5EF4-FFF2-40B4-BE49-F238E27FC236}">
                  <a16:creationId xmlns:a16="http://schemas.microsoft.com/office/drawing/2014/main" id="{42A101FB-F0A7-40F3-92CD-400278A08E65}"/>
                </a:ext>
              </a:extLst>
            </p:cNvPr>
            <p:cNvSpPr>
              <a:spLocks noEditPoints="1"/>
            </p:cNvSpPr>
            <p:nvPr/>
          </p:nvSpPr>
          <p:spPr bwMode="auto">
            <a:xfrm>
              <a:off x="7589838" y="4216083"/>
              <a:ext cx="287338" cy="285750"/>
            </a:xfrm>
            <a:custGeom>
              <a:avLst/>
              <a:gdLst>
                <a:gd name="T0" fmla="*/ 30 w 902"/>
                <a:gd name="T1" fmla="*/ 691 h 902"/>
                <a:gd name="T2" fmla="*/ 872 w 902"/>
                <a:gd name="T3" fmla="*/ 872 h 902"/>
                <a:gd name="T4" fmla="*/ 817 w 902"/>
                <a:gd name="T5" fmla="*/ 661 h 902"/>
                <a:gd name="T6" fmla="*/ 156 w 902"/>
                <a:gd name="T7" fmla="*/ 635 h 902"/>
                <a:gd name="T8" fmla="*/ 179 w 902"/>
                <a:gd name="T9" fmla="*/ 592 h 902"/>
                <a:gd name="T10" fmla="*/ 199 w 902"/>
                <a:gd name="T11" fmla="*/ 563 h 902"/>
                <a:gd name="T12" fmla="*/ 219 w 902"/>
                <a:gd name="T13" fmla="*/ 537 h 902"/>
                <a:gd name="T14" fmla="*/ 241 w 902"/>
                <a:gd name="T15" fmla="*/ 513 h 902"/>
                <a:gd name="T16" fmla="*/ 264 w 902"/>
                <a:gd name="T17" fmla="*/ 496 h 902"/>
                <a:gd name="T18" fmla="*/ 281 w 902"/>
                <a:gd name="T19" fmla="*/ 487 h 902"/>
                <a:gd name="T20" fmla="*/ 293 w 902"/>
                <a:gd name="T21" fmla="*/ 485 h 902"/>
                <a:gd name="T22" fmla="*/ 307 w 902"/>
                <a:gd name="T23" fmla="*/ 485 h 902"/>
                <a:gd name="T24" fmla="*/ 323 w 902"/>
                <a:gd name="T25" fmla="*/ 487 h 902"/>
                <a:gd name="T26" fmla="*/ 345 w 902"/>
                <a:gd name="T27" fmla="*/ 495 h 902"/>
                <a:gd name="T28" fmla="*/ 373 w 902"/>
                <a:gd name="T29" fmla="*/ 510 h 902"/>
                <a:gd name="T30" fmla="*/ 399 w 902"/>
                <a:gd name="T31" fmla="*/ 528 h 902"/>
                <a:gd name="T32" fmla="*/ 429 w 902"/>
                <a:gd name="T33" fmla="*/ 558 h 902"/>
                <a:gd name="T34" fmla="*/ 454 w 902"/>
                <a:gd name="T35" fmla="*/ 587 h 902"/>
                <a:gd name="T36" fmla="*/ 459 w 902"/>
                <a:gd name="T37" fmla="*/ 595 h 902"/>
                <a:gd name="T38" fmla="*/ 467 w 902"/>
                <a:gd name="T39" fmla="*/ 599 h 902"/>
                <a:gd name="T40" fmla="*/ 474 w 902"/>
                <a:gd name="T41" fmla="*/ 598 h 902"/>
                <a:gd name="T42" fmla="*/ 481 w 902"/>
                <a:gd name="T43" fmla="*/ 595 h 902"/>
                <a:gd name="T44" fmla="*/ 596 w 902"/>
                <a:gd name="T45" fmla="*/ 395 h 902"/>
                <a:gd name="T46" fmla="*/ 605 w 902"/>
                <a:gd name="T47" fmla="*/ 385 h 902"/>
                <a:gd name="T48" fmla="*/ 615 w 902"/>
                <a:gd name="T49" fmla="*/ 378 h 902"/>
                <a:gd name="T50" fmla="*/ 626 w 902"/>
                <a:gd name="T51" fmla="*/ 373 h 902"/>
                <a:gd name="T52" fmla="*/ 639 w 902"/>
                <a:gd name="T53" fmla="*/ 371 h 902"/>
                <a:gd name="T54" fmla="*/ 652 w 902"/>
                <a:gd name="T55" fmla="*/ 373 h 902"/>
                <a:gd name="T56" fmla="*/ 664 w 902"/>
                <a:gd name="T57" fmla="*/ 378 h 902"/>
                <a:gd name="T58" fmla="*/ 675 w 902"/>
                <a:gd name="T59" fmla="*/ 387 h 902"/>
                <a:gd name="T60" fmla="*/ 682 w 902"/>
                <a:gd name="T61" fmla="*/ 398 h 902"/>
                <a:gd name="T62" fmla="*/ 872 w 902"/>
                <a:gd name="T63" fmla="*/ 30 h 902"/>
                <a:gd name="T64" fmla="*/ 850 w 902"/>
                <a:gd name="T65" fmla="*/ 661 h 902"/>
                <a:gd name="T66" fmla="*/ 704 w 902"/>
                <a:gd name="T67" fmla="*/ 375 h 902"/>
                <a:gd name="T68" fmla="*/ 689 w 902"/>
                <a:gd name="T69" fmla="*/ 359 h 902"/>
                <a:gd name="T70" fmla="*/ 670 w 902"/>
                <a:gd name="T71" fmla="*/ 348 h 902"/>
                <a:gd name="T72" fmla="*/ 650 w 902"/>
                <a:gd name="T73" fmla="*/ 341 h 902"/>
                <a:gd name="T74" fmla="*/ 629 w 902"/>
                <a:gd name="T75" fmla="*/ 341 h 902"/>
                <a:gd name="T76" fmla="*/ 609 w 902"/>
                <a:gd name="T77" fmla="*/ 347 h 902"/>
                <a:gd name="T78" fmla="*/ 591 w 902"/>
                <a:gd name="T79" fmla="*/ 358 h 902"/>
                <a:gd name="T80" fmla="*/ 577 w 902"/>
                <a:gd name="T81" fmla="*/ 371 h 902"/>
                <a:gd name="T82" fmla="*/ 468 w 902"/>
                <a:gd name="T83" fmla="*/ 557 h 902"/>
                <a:gd name="T84" fmla="*/ 441 w 902"/>
                <a:gd name="T85" fmla="*/ 526 h 902"/>
                <a:gd name="T86" fmla="*/ 402 w 902"/>
                <a:gd name="T87" fmla="*/ 493 h 902"/>
                <a:gd name="T88" fmla="*/ 380 w 902"/>
                <a:gd name="T89" fmla="*/ 478 h 902"/>
                <a:gd name="T90" fmla="*/ 354 w 902"/>
                <a:gd name="T91" fmla="*/ 466 h 902"/>
                <a:gd name="T92" fmla="*/ 327 w 902"/>
                <a:gd name="T93" fmla="*/ 458 h 902"/>
                <a:gd name="T94" fmla="*/ 299 w 902"/>
                <a:gd name="T95" fmla="*/ 455 h 902"/>
                <a:gd name="T96" fmla="*/ 282 w 902"/>
                <a:gd name="T97" fmla="*/ 456 h 902"/>
                <a:gd name="T98" fmla="*/ 265 w 902"/>
                <a:gd name="T99" fmla="*/ 462 h 902"/>
                <a:gd name="T100" fmla="*/ 249 w 902"/>
                <a:gd name="T101" fmla="*/ 470 h 902"/>
                <a:gd name="T102" fmla="*/ 233 w 902"/>
                <a:gd name="T103" fmla="*/ 481 h 902"/>
                <a:gd name="T104" fmla="*/ 204 w 902"/>
                <a:gd name="T105" fmla="*/ 509 h 902"/>
                <a:gd name="T106" fmla="*/ 177 w 902"/>
                <a:gd name="T107" fmla="*/ 541 h 902"/>
                <a:gd name="T108" fmla="*/ 154 w 902"/>
                <a:gd name="T109" fmla="*/ 576 h 902"/>
                <a:gd name="T110" fmla="*/ 134 w 902"/>
                <a:gd name="T111" fmla="*/ 611 h 902"/>
                <a:gd name="T112" fmla="*/ 110 w 902"/>
                <a:gd name="T113" fmla="*/ 661 h 902"/>
                <a:gd name="T114" fmla="*/ 30 w 902"/>
                <a:gd name="T115" fmla="*/ 30 h 902"/>
                <a:gd name="T116" fmla="*/ 0 w 902"/>
                <a:gd name="T117" fmla="*/ 0 h 902"/>
                <a:gd name="T118" fmla="*/ 902 w 902"/>
                <a:gd name="T119" fmla="*/ 902 h 902"/>
                <a:gd name="T120" fmla="*/ 0 w 902"/>
                <a:gd name="T12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902">
                  <a:moveTo>
                    <a:pt x="30" y="872"/>
                  </a:moveTo>
                  <a:lnTo>
                    <a:pt x="30" y="691"/>
                  </a:lnTo>
                  <a:lnTo>
                    <a:pt x="872" y="691"/>
                  </a:lnTo>
                  <a:lnTo>
                    <a:pt x="872" y="872"/>
                  </a:lnTo>
                  <a:lnTo>
                    <a:pt x="30" y="872"/>
                  </a:lnTo>
                  <a:close/>
                  <a:moveTo>
                    <a:pt x="817" y="661"/>
                  </a:moveTo>
                  <a:lnTo>
                    <a:pt x="143" y="661"/>
                  </a:lnTo>
                  <a:lnTo>
                    <a:pt x="156" y="635"/>
                  </a:lnTo>
                  <a:lnTo>
                    <a:pt x="171" y="607"/>
                  </a:lnTo>
                  <a:lnTo>
                    <a:pt x="179" y="592"/>
                  </a:lnTo>
                  <a:lnTo>
                    <a:pt x="189" y="577"/>
                  </a:lnTo>
                  <a:lnTo>
                    <a:pt x="199" y="563"/>
                  </a:lnTo>
                  <a:lnTo>
                    <a:pt x="208" y="550"/>
                  </a:lnTo>
                  <a:lnTo>
                    <a:pt x="219" y="537"/>
                  </a:lnTo>
                  <a:lnTo>
                    <a:pt x="230" y="524"/>
                  </a:lnTo>
                  <a:lnTo>
                    <a:pt x="241" y="513"/>
                  </a:lnTo>
                  <a:lnTo>
                    <a:pt x="252" y="503"/>
                  </a:lnTo>
                  <a:lnTo>
                    <a:pt x="264" y="496"/>
                  </a:lnTo>
                  <a:lnTo>
                    <a:pt x="276" y="489"/>
                  </a:lnTo>
                  <a:lnTo>
                    <a:pt x="281" y="487"/>
                  </a:lnTo>
                  <a:lnTo>
                    <a:pt x="288" y="486"/>
                  </a:lnTo>
                  <a:lnTo>
                    <a:pt x="293" y="485"/>
                  </a:lnTo>
                  <a:lnTo>
                    <a:pt x="299" y="485"/>
                  </a:lnTo>
                  <a:lnTo>
                    <a:pt x="307" y="485"/>
                  </a:lnTo>
                  <a:lnTo>
                    <a:pt x="314" y="486"/>
                  </a:lnTo>
                  <a:lnTo>
                    <a:pt x="323" y="487"/>
                  </a:lnTo>
                  <a:lnTo>
                    <a:pt x="330" y="489"/>
                  </a:lnTo>
                  <a:lnTo>
                    <a:pt x="345" y="495"/>
                  </a:lnTo>
                  <a:lnTo>
                    <a:pt x="359" y="501"/>
                  </a:lnTo>
                  <a:lnTo>
                    <a:pt x="373" y="510"/>
                  </a:lnTo>
                  <a:lnTo>
                    <a:pt x="386" y="518"/>
                  </a:lnTo>
                  <a:lnTo>
                    <a:pt x="399" y="528"/>
                  </a:lnTo>
                  <a:lnTo>
                    <a:pt x="410" y="538"/>
                  </a:lnTo>
                  <a:lnTo>
                    <a:pt x="429" y="558"/>
                  </a:lnTo>
                  <a:lnTo>
                    <a:pt x="444" y="575"/>
                  </a:lnTo>
                  <a:lnTo>
                    <a:pt x="454" y="587"/>
                  </a:lnTo>
                  <a:lnTo>
                    <a:pt x="457" y="592"/>
                  </a:lnTo>
                  <a:lnTo>
                    <a:pt x="459" y="595"/>
                  </a:lnTo>
                  <a:lnTo>
                    <a:pt x="462" y="597"/>
                  </a:lnTo>
                  <a:lnTo>
                    <a:pt x="467" y="599"/>
                  </a:lnTo>
                  <a:lnTo>
                    <a:pt x="470" y="599"/>
                  </a:lnTo>
                  <a:lnTo>
                    <a:pt x="474" y="598"/>
                  </a:lnTo>
                  <a:lnTo>
                    <a:pt x="477" y="597"/>
                  </a:lnTo>
                  <a:lnTo>
                    <a:pt x="481" y="595"/>
                  </a:lnTo>
                  <a:lnTo>
                    <a:pt x="483" y="591"/>
                  </a:lnTo>
                  <a:lnTo>
                    <a:pt x="596" y="395"/>
                  </a:lnTo>
                  <a:lnTo>
                    <a:pt x="601" y="390"/>
                  </a:lnTo>
                  <a:lnTo>
                    <a:pt x="605" y="385"/>
                  </a:lnTo>
                  <a:lnTo>
                    <a:pt x="609" y="381"/>
                  </a:lnTo>
                  <a:lnTo>
                    <a:pt x="615" y="378"/>
                  </a:lnTo>
                  <a:lnTo>
                    <a:pt x="620" y="375"/>
                  </a:lnTo>
                  <a:lnTo>
                    <a:pt x="626" y="373"/>
                  </a:lnTo>
                  <a:lnTo>
                    <a:pt x="633" y="371"/>
                  </a:lnTo>
                  <a:lnTo>
                    <a:pt x="639" y="371"/>
                  </a:lnTo>
                  <a:lnTo>
                    <a:pt x="646" y="371"/>
                  </a:lnTo>
                  <a:lnTo>
                    <a:pt x="652" y="373"/>
                  </a:lnTo>
                  <a:lnTo>
                    <a:pt x="659" y="376"/>
                  </a:lnTo>
                  <a:lnTo>
                    <a:pt x="664" y="378"/>
                  </a:lnTo>
                  <a:lnTo>
                    <a:pt x="669" y="382"/>
                  </a:lnTo>
                  <a:lnTo>
                    <a:pt x="675" y="387"/>
                  </a:lnTo>
                  <a:lnTo>
                    <a:pt x="679" y="392"/>
                  </a:lnTo>
                  <a:lnTo>
                    <a:pt x="682" y="398"/>
                  </a:lnTo>
                  <a:lnTo>
                    <a:pt x="817" y="661"/>
                  </a:lnTo>
                  <a:close/>
                  <a:moveTo>
                    <a:pt x="872" y="30"/>
                  </a:moveTo>
                  <a:lnTo>
                    <a:pt x="872" y="661"/>
                  </a:lnTo>
                  <a:lnTo>
                    <a:pt x="850" y="661"/>
                  </a:lnTo>
                  <a:lnTo>
                    <a:pt x="709" y="384"/>
                  </a:lnTo>
                  <a:lnTo>
                    <a:pt x="704" y="375"/>
                  </a:lnTo>
                  <a:lnTo>
                    <a:pt x="697" y="366"/>
                  </a:lnTo>
                  <a:lnTo>
                    <a:pt x="689" y="359"/>
                  </a:lnTo>
                  <a:lnTo>
                    <a:pt x="680" y="353"/>
                  </a:lnTo>
                  <a:lnTo>
                    <a:pt x="670" y="348"/>
                  </a:lnTo>
                  <a:lnTo>
                    <a:pt x="661" y="344"/>
                  </a:lnTo>
                  <a:lnTo>
                    <a:pt x="650" y="341"/>
                  </a:lnTo>
                  <a:lnTo>
                    <a:pt x="639" y="341"/>
                  </a:lnTo>
                  <a:lnTo>
                    <a:pt x="629" y="341"/>
                  </a:lnTo>
                  <a:lnTo>
                    <a:pt x="619" y="344"/>
                  </a:lnTo>
                  <a:lnTo>
                    <a:pt x="609" y="347"/>
                  </a:lnTo>
                  <a:lnTo>
                    <a:pt x="600" y="351"/>
                  </a:lnTo>
                  <a:lnTo>
                    <a:pt x="591" y="358"/>
                  </a:lnTo>
                  <a:lnTo>
                    <a:pt x="583" y="364"/>
                  </a:lnTo>
                  <a:lnTo>
                    <a:pt x="577" y="371"/>
                  </a:lnTo>
                  <a:lnTo>
                    <a:pt x="571" y="380"/>
                  </a:lnTo>
                  <a:lnTo>
                    <a:pt x="468" y="557"/>
                  </a:lnTo>
                  <a:lnTo>
                    <a:pt x="456" y="542"/>
                  </a:lnTo>
                  <a:lnTo>
                    <a:pt x="441" y="526"/>
                  </a:lnTo>
                  <a:lnTo>
                    <a:pt x="423" y="510"/>
                  </a:lnTo>
                  <a:lnTo>
                    <a:pt x="402" y="493"/>
                  </a:lnTo>
                  <a:lnTo>
                    <a:pt x="392" y="485"/>
                  </a:lnTo>
                  <a:lnTo>
                    <a:pt x="380" y="478"/>
                  </a:lnTo>
                  <a:lnTo>
                    <a:pt x="367" y="471"/>
                  </a:lnTo>
                  <a:lnTo>
                    <a:pt x="354" y="466"/>
                  </a:lnTo>
                  <a:lnTo>
                    <a:pt x="341" y="462"/>
                  </a:lnTo>
                  <a:lnTo>
                    <a:pt x="327" y="458"/>
                  </a:lnTo>
                  <a:lnTo>
                    <a:pt x="313" y="456"/>
                  </a:lnTo>
                  <a:lnTo>
                    <a:pt x="299" y="455"/>
                  </a:lnTo>
                  <a:lnTo>
                    <a:pt x="291" y="455"/>
                  </a:lnTo>
                  <a:lnTo>
                    <a:pt x="282" y="456"/>
                  </a:lnTo>
                  <a:lnTo>
                    <a:pt x="274" y="459"/>
                  </a:lnTo>
                  <a:lnTo>
                    <a:pt x="265" y="462"/>
                  </a:lnTo>
                  <a:lnTo>
                    <a:pt x="256" y="466"/>
                  </a:lnTo>
                  <a:lnTo>
                    <a:pt x="249" y="470"/>
                  </a:lnTo>
                  <a:lnTo>
                    <a:pt x="240" y="476"/>
                  </a:lnTo>
                  <a:lnTo>
                    <a:pt x="233" y="481"/>
                  </a:lnTo>
                  <a:lnTo>
                    <a:pt x="218" y="494"/>
                  </a:lnTo>
                  <a:lnTo>
                    <a:pt x="204" y="509"/>
                  </a:lnTo>
                  <a:lnTo>
                    <a:pt x="190" y="525"/>
                  </a:lnTo>
                  <a:lnTo>
                    <a:pt x="177" y="541"/>
                  </a:lnTo>
                  <a:lnTo>
                    <a:pt x="165" y="559"/>
                  </a:lnTo>
                  <a:lnTo>
                    <a:pt x="154" y="576"/>
                  </a:lnTo>
                  <a:lnTo>
                    <a:pt x="144" y="593"/>
                  </a:lnTo>
                  <a:lnTo>
                    <a:pt x="134" y="611"/>
                  </a:lnTo>
                  <a:lnTo>
                    <a:pt x="120" y="640"/>
                  </a:lnTo>
                  <a:lnTo>
                    <a:pt x="110" y="661"/>
                  </a:lnTo>
                  <a:lnTo>
                    <a:pt x="30" y="661"/>
                  </a:lnTo>
                  <a:lnTo>
                    <a:pt x="30" y="30"/>
                  </a:lnTo>
                  <a:lnTo>
                    <a:pt x="872" y="30"/>
                  </a:lnTo>
                  <a:close/>
                  <a:moveTo>
                    <a:pt x="0" y="0"/>
                  </a:moveTo>
                  <a:lnTo>
                    <a:pt x="0" y="902"/>
                  </a:lnTo>
                  <a:lnTo>
                    <a:pt x="902" y="902"/>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630" name="Freeform 399">
              <a:extLst>
                <a:ext uri="{FF2B5EF4-FFF2-40B4-BE49-F238E27FC236}">
                  <a16:creationId xmlns:a16="http://schemas.microsoft.com/office/drawing/2014/main" id="{E005B2D9-5979-4DAA-9C6E-49112EE704D3}"/>
                </a:ext>
              </a:extLst>
            </p:cNvPr>
            <p:cNvSpPr>
              <a:spLocks noEditPoints="1"/>
            </p:cNvSpPr>
            <p:nvPr/>
          </p:nvSpPr>
          <p:spPr bwMode="auto">
            <a:xfrm>
              <a:off x="7645400" y="4252595"/>
              <a:ext cx="93663" cy="68263"/>
            </a:xfrm>
            <a:custGeom>
              <a:avLst/>
              <a:gdLst>
                <a:gd name="T0" fmla="*/ 87 w 295"/>
                <a:gd name="T1" fmla="*/ 108 h 217"/>
                <a:gd name="T2" fmla="*/ 108 w 295"/>
                <a:gd name="T3" fmla="*/ 90 h 217"/>
                <a:gd name="T4" fmla="*/ 115 w 295"/>
                <a:gd name="T5" fmla="*/ 70 h 217"/>
                <a:gd name="T6" fmla="*/ 128 w 295"/>
                <a:gd name="T7" fmla="*/ 54 h 217"/>
                <a:gd name="T8" fmla="*/ 144 w 295"/>
                <a:gd name="T9" fmla="*/ 41 h 217"/>
                <a:gd name="T10" fmla="*/ 164 w 295"/>
                <a:gd name="T11" fmla="*/ 32 h 217"/>
                <a:gd name="T12" fmla="*/ 185 w 295"/>
                <a:gd name="T13" fmla="*/ 30 h 217"/>
                <a:gd name="T14" fmla="*/ 209 w 295"/>
                <a:gd name="T15" fmla="*/ 33 h 217"/>
                <a:gd name="T16" fmla="*/ 229 w 295"/>
                <a:gd name="T17" fmla="*/ 43 h 217"/>
                <a:gd name="T18" fmla="*/ 246 w 295"/>
                <a:gd name="T19" fmla="*/ 59 h 217"/>
                <a:gd name="T20" fmla="*/ 258 w 295"/>
                <a:gd name="T21" fmla="*/ 78 h 217"/>
                <a:gd name="T22" fmla="*/ 265 w 295"/>
                <a:gd name="T23" fmla="*/ 101 h 217"/>
                <a:gd name="T24" fmla="*/ 263 w 295"/>
                <a:gd name="T25" fmla="*/ 125 h 217"/>
                <a:gd name="T26" fmla="*/ 256 w 295"/>
                <a:gd name="T27" fmla="*/ 146 h 217"/>
                <a:gd name="T28" fmla="*/ 243 w 295"/>
                <a:gd name="T29" fmla="*/ 164 h 217"/>
                <a:gd name="T30" fmla="*/ 225 w 295"/>
                <a:gd name="T31" fmla="*/ 178 h 217"/>
                <a:gd name="T32" fmla="*/ 204 w 295"/>
                <a:gd name="T33" fmla="*/ 186 h 217"/>
                <a:gd name="T34" fmla="*/ 189 w 295"/>
                <a:gd name="T35" fmla="*/ 187 h 217"/>
                <a:gd name="T36" fmla="*/ 70 w 295"/>
                <a:gd name="T37" fmla="*/ 187 h 217"/>
                <a:gd name="T38" fmla="*/ 47 w 295"/>
                <a:gd name="T39" fmla="*/ 181 h 217"/>
                <a:gd name="T40" fmla="*/ 33 w 295"/>
                <a:gd name="T41" fmla="*/ 163 h 217"/>
                <a:gd name="T42" fmla="*/ 30 w 295"/>
                <a:gd name="T43" fmla="*/ 140 h 217"/>
                <a:gd name="T44" fmla="*/ 42 w 295"/>
                <a:gd name="T45" fmla="*/ 118 h 217"/>
                <a:gd name="T46" fmla="*/ 63 w 295"/>
                <a:gd name="T47" fmla="*/ 106 h 217"/>
                <a:gd name="T48" fmla="*/ 69 w 295"/>
                <a:gd name="T49" fmla="*/ 217 h 217"/>
                <a:gd name="T50" fmla="*/ 187 w 295"/>
                <a:gd name="T51" fmla="*/ 217 h 217"/>
                <a:gd name="T52" fmla="*/ 200 w 295"/>
                <a:gd name="T53" fmla="*/ 217 h 217"/>
                <a:gd name="T54" fmla="*/ 230 w 295"/>
                <a:gd name="T55" fmla="*/ 208 h 217"/>
                <a:gd name="T56" fmla="*/ 256 w 295"/>
                <a:gd name="T57" fmla="*/ 192 h 217"/>
                <a:gd name="T58" fmla="*/ 277 w 295"/>
                <a:gd name="T59" fmla="*/ 168 h 217"/>
                <a:gd name="T60" fmla="*/ 290 w 295"/>
                <a:gd name="T61" fmla="*/ 141 h 217"/>
                <a:gd name="T62" fmla="*/ 295 w 295"/>
                <a:gd name="T63" fmla="*/ 110 h 217"/>
                <a:gd name="T64" fmla="*/ 290 w 295"/>
                <a:gd name="T65" fmla="*/ 77 h 217"/>
                <a:gd name="T66" fmla="*/ 276 w 295"/>
                <a:gd name="T67" fmla="*/ 48 h 217"/>
                <a:gd name="T68" fmla="*/ 255 w 295"/>
                <a:gd name="T69" fmla="*/ 25 h 217"/>
                <a:gd name="T70" fmla="*/ 228 w 295"/>
                <a:gd name="T71" fmla="*/ 9 h 217"/>
                <a:gd name="T72" fmla="*/ 196 w 295"/>
                <a:gd name="T73" fmla="*/ 0 h 217"/>
                <a:gd name="T74" fmla="*/ 167 w 295"/>
                <a:gd name="T75" fmla="*/ 1 h 217"/>
                <a:gd name="T76" fmla="*/ 142 w 295"/>
                <a:gd name="T77" fmla="*/ 9 h 217"/>
                <a:gd name="T78" fmla="*/ 120 w 295"/>
                <a:gd name="T79" fmla="*/ 21 h 217"/>
                <a:gd name="T80" fmla="*/ 102 w 295"/>
                <a:gd name="T81" fmla="*/ 39 h 217"/>
                <a:gd name="T82" fmla="*/ 88 w 295"/>
                <a:gd name="T83" fmla="*/ 60 h 217"/>
                <a:gd name="T84" fmla="*/ 76 w 295"/>
                <a:gd name="T85" fmla="*/ 75 h 217"/>
                <a:gd name="T86" fmla="*/ 57 w 295"/>
                <a:gd name="T87" fmla="*/ 77 h 217"/>
                <a:gd name="T88" fmla="*/ 37 w 295"/>
                <a:gd name="T89" fmla="*/ 84 h 217"/>
                <a:gd name="T90" fmla="*/ 20 w 295"/>
                <a:gd name="T91" fmla="*/ 97 h 217"/>
                <a:gd name="T92" fmla="*/ 8 w 295"/>
                <a:gd name="T93" fmla="*/ 113 h 217"/>
                <a:gd name="T94" fmla="*/ 1 w 295"/>
                <a:gd name="T95" fmla="*/ 133 h 217"/>
                <a:gd name="T96" fmla="*/ 0 w 295"/>
                <a:gd name="T97" fmla="*/ 155 h 217"/>
                <a:gd name="T98" fmla="*/ 5 w 295"/>
                <a:gd name="T99" fmla="*/ 175 h 217"/>
                <a:gd name="T100" fmla="*/ 15 w 295"/>
                <a:gd name="T101" fmla="*/ 192 h 217"/>
                <a:gd name="T102" fmla="*/ 29 w 295"/>
                <a:gd name="T103" fmla="*/ 205 h 217"/>
                <a:gd name="T104" fmla="*/ 47 w 295"/>
                <a:gd name="T105" fmla="*/ 214 h 217"/>
                <a:gd name="T106" fmla="*/ 67 w 295"/>
                <a:gd name="T10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17">
                  <a:moveTo>
                    <a:pt x="72" y="105"/>
                  </a:moveTo>
                  <a:lnTo>
                    <a:pt x="79" y="106"/>
                  </a:lnTo>
                  <a:lnTo>
                    <a:pt x="87" y="108"/>
                  </a:lnTo>
                  <a:lnTo>
                    <a:pt x="104" y="115"/>
                  </a:lnTo>
                  <a:lnTo>
                    <a:pt x="107" y="97"/>
                  </a:lnTo>
                  <a:lnTo>
                    <a:pt x="108" y="90"/>
                  </a:lnTo>
                  <a:lnTo>
                    <a:pt x="110" y="83"/>
                  </a:lnTo>
                  <a:lnTo>
                    <a:pt x="112" y="76"/>
                  </a:lnTo>
                  <a:lnTo>
                    <a:pt x="115" y="70"/>
                  </a:lnTo>
                  <a:lnTo>
                    <a:pt x="120" y="64"/>
                  </a:lnTo>
                  <a:lnTo>
                    <a:pt x="124" y="58"/>
                  </a:lnTo>
                  <a:lnTo>
                    <a:pt x="128" y="54"/>
                  </a:lnTo>
                  <a:lnTo>
                    <a:pt x="134" y="48"/>
                  </a:lnTo>
                  <a:lnTo>
                    <a:pt x="139" y="44"/>
                  </a:lnTo>
                  <a:lnTo>
                    <a:pt x="144" y="41"/>
                  </a:lnTo>
                  <a:lnTo>
                    <a:pt x="151" y="38"/>
                  </a:lnTo>
                  <a:lnTo>
                    <a:pt x="157" y="34"/>
                  </a:lnTo>
                  <a:lnTo>
                    <a:pt x="164" y="32"/>
                  </a:lnTo>
                  <a:lnTo>
                    <a:pt x="170" y="31"/>
                  </a:lnTo>
                  <a:lnTo>
                    <a:pt x="178" y="30"/>
                  </a:lnTo>
                  <a:lnTo>
                    <a:pt x="185" y="30"/>
                  </a:lnTo>
                  <a:lnTo>
                    <a:pt x="193" y="30"/>
                  </a:lnTo>
                  <a:lnTo>
                    <a:pt x="201" y="31"/>
                  </a:lnTo>
                  <a:lnTo>
                    <a:pt x="209" y="33"/>
                  </a:lnTo>
                  <a:lnTo>
                    <a:pt x="216" y="36"/>
                  </a:lnTo>
                  <a:lnTo>
                    <a:pt x="223" y="40"/>
                  </a:lnTo>
                  <a:lnTo>
                    <a:pt x="229" y="43"/>
                  </a:lnTo>
                  <a:lnTo>
                    <a:pt x="236" y="48"/>
                  </a:lnTo>
                  <a:lnTo>
                    <a:pt x="241" y="53"/>
                  </a:lnTo>
                  <a:lnTo>
                    <a:pt x="246" y="59"/>
                  </a:lnTo>
                  <a:lnTo>
                    <a:pt x="251" y="64"/>
                  </a:lnTo>
                  <a:lnTo>
                    <a:pt x="255" y="72"/>
                  </a:lnTo>
                  <a:lnTo>
                    <a:pt x="258" y="78"/>
                  </a:lnTo>
                  <a:lnTo>
                    <a:pt x="261" y="86"/>
                  </a:lnTo>
                  <a:lnTo>
                    <a:pt x="263" y="93"/>
                  </a:lnTo>
                  <a:lnTo>
                    <a:pt x="265" y="101"/>
                  </a:lnTo>
                  <a:lnTo>
                    <a:pt x="265" y="110"/>
                  </a:lnTo>
                  <a:lnTo>
                    <a:pt x="265" y="117"/>
                  </a:lnTo>
                  <a:lnTo>
                    <a:pt x="263" y="125"/>
                  </a:lnTo>
                  <a:lnTo>
                    <a:pt x="261" y="132"/>
                  </a:lnTo>
                  <a:lnTo>
                    <a:pt x="259" y="140"/>
                  </a:lnTo>
                  <a:lnTo>
                    <a:pt x="256" y="146"/>
                  </a:lnTo>
                  <a:lnTo>
                    <a:pt x="252" y="152"/>
                  </a:lnTo>
                  <a:lnTo>
                    <a:pt x="247" y="159"/>
                  </a:lnTo>
                  <a:lnTo>
                    <a:pt x="243" y="164"/>
                  </a:lnTo>
                  <a:lnTo>
                    <a:pt x="237" y="170"/>
                  </a:lnTo>
                  <a:lnTo>
                    <a:pt x="231" y="174"/>
                  </a:lnTo>
                  <a:lnTo>
                    <a:pt x="225" y="178"/>
                  </a:lnTo>
                  <a:lnTo>
                    <a:pt x="218" y="181"/>
                  </a:lnTo>
                  <a:lnTo>
                    <a:pt x="211" y="184"/>
                  </a:lnTo>
                  <a:lnTo>
                    <a:pt x="204" y="186"/>
                  </a:lnTo>
                  <a:lnTo>
                    <a:pt x="197" y="187"/>
                  </a:lnTo>
                  <a:lnTo>
                    <a:pt x="189" y="187"/>
                  </a:lnTo>
                  <a:lnTo>
                    <a:pt x="189" y="187"/>
                  </a:lnTo>
                  <a:lnTo>
                    <a:pt x="187" y="187"/>
                  </a:lnTo>
                  <a:lnTo>
                    <a:pt x="185" y="187"/>
                  </a:lnTo>
                  <a:lnTo>
                    <a:pt x="70" y="187"/>
                  </a:lnTo>
                  <a:lnTo>
                    <a:pt x="62" y="187"/>
                  </a:lnTo>
                  <a:lnTo>
                    <a:pt x="54" y="185"/>
                  </a:lnTo>
                  <a:lnTo>
                    <a:pt x="47" y="181"/>
                  </a:lnTo>
                  <a:lnTo>
                    <a:pt x="42" y="176"/>
                  </a:lnTo>
                  <a:lnTo>
                    <a:pt x="36" y="171"/>
                  </a:lnTo>
                  <a:lnTo>
                    <a:pt x="33" y="163"/>
                  </a:lnTo>
                  <a:lnTo>
                    <a:pt x="30" y="156"/>
                  </a:lnTo>
                  <a:lnTo>
                    <a:pt x="30" y="147"/>
                  </a:lnTo>
                  <a:lnTo>
                    <a:pt x="30" y="140"/>
                  </a:lnTo>
                  <a:lnTo>
                    <a:pt x="33" y="131"/>
                  </a:lnTo>
                  <a:lnTo>
                    <a:pt x="36" y="125"/>
                  </a:lnTo>
                  <a:lnTo>
                    <a:pt x="42" y="118"/>
                  </a:lnTo>
                  <a:lnTo>
                    <a:pt x="48" y="113"/>
                  </a:lnTo>
                  <a:lnTo>
                    <a:pt x="55" y="108"/>
                  </a:lnTo>
                  <a:lnTo>
                    <a:pt x="63" y="106"/>
                  </a:lnTo>
                  <a:lnTo>
                    <a:pt x="72" y="105"/>
                  </a:lnTo>
                  <a:close/>
                  <a:moveTo>
                    <a:pt x="67" y="217"/>
                  </a:moveTo>
                  <a:lnTo>
                    <a:pt x="69" y="217"/>
                  </a:lnTo>
                  <a:lnTo>
                    <a:pt x="72" y="217"/>
                  </a:lnTo>
                  <a:lnTo>
                    <a:pt x="184" y="217"/>
                  </a:lnTo>
                  <a:lnTo>
                    <a:pt x="187" y="217"/>
                  </a:lnTo>
                  <a:lnTo>
                    <a:pt x="189" y="217"/>
                  </a:lnTo>
                  <a:lnTo>
                    <a:pt x="189" y="217"/>
                  </a:lnTo>
                  <a:lnTo>
                    <a:pt x="200" y="217"/>
                  </a:lnTo>
                  <a:lnTo>
                    <a:pt x="210" y="215"/>
                  </a:lnTo>
                  <a:lnTo>
                    <a:pt x="221" y="212"/>
                  </a:lnTo>
                  <a:lnTo>
                    <a:pt x="230" y="208"/>
                  </a:lnTo>
                  <a:lnTo>
                    <a:pt x="239" y="204"/>
                  </a:lnTo>
                  <a:lnTo>
                    <a:pt x="248" y="199"/>
                  </a:lnTo>
                  <a:lnTo>
                    <a:pt x="256" y="192"/>
                  </a:lnTo>
                  <a:lnTo>
                    <a:pt x="265" y="186"/>
                  </a:lnTo>
                  <a:lnTo>
                    <a:pt x="271" y="177"/>
                  </a:lnTo>
                  <a:lnTo>
                    <a:pt x="277" y="168"/>
                  </a:lnTo>
                  <a:lnTo>
                    <a:pt x="283" y="160"/>
                  </a:lnTo>
                  <a:lnTo>
                    <a:pt x="287" y="150"/>
                  </a:lnTo>
                  <a:lnTo>
                    <a:pt x="290" y="141"/>
                  </a:lnTo>
                  <a:lnTo>
                    <a:pt x="292" y="131"/>
                  </a:lnTo>
                  <a:lnTo>
                    <a:pt x="295" y="120"/>
                  </a:lnTo>
                  <a:lnTo>
                    <a:pt x="295" y="110"/>
                  </a:lnTo>
                  <a:lnTo>
                    <a:pt x="295" y="99"/>
                  </a:lnTo>
                  <a:lnTo>
                    <a:pt x="292" y="87"/>
                  </a:lnTo>
                  <a:lnTo>
                    <a:pt x="290" y="77"/>
                  </a:lnTo>
                  <a:lnTo>
                    <a:pt x="286" y="67"/>
                  </a:lnTo>
                  <a:lnTo>
                    <a:pt x="282" y="57"/>
                  </a:lnTo>
                  <a:lnTo>
                    <a:pt x="276" y="48"/>
                  </a:lnTo>
                  <a:lnTo>
                    <a:pt x="270" y="40"/>
                  </a:lnTo>
                  <a:lnTo>
                    <a:pt x="262" y="32"/>
                  </a:lnTo>
                  <a:lnTo>
                    <a:pt x="255" y="25"/>
                  </a:lnTo>
                  <a:lnTo>
                    <a:pt x="246" y="18"/>
                  </a:lnTo>
                  <a:lnTo>
                    <a:pt x="238" y="13"/>
                  </a:lnTo>
                  <a:lnTo>
                    <a:pt x="228" y="9"/>
                  </a:lnTo>
                  <a:lnTo>
                    <a:pt x="217" y="4"/>
                  </a:lnTo>
                  <a:lnTo>
                    <a:pt x="207" y="2"/>
                  </a:lnTo>
                  <a:lnTo>
                    <a:pt x="196" y="0"/>
                  </a:lnTo>
                  <a:lnTo>
                    <a:pt x="185" y="0"/>
                  </a:lnTo>
                  <a:lnTo>
                    <a:pt x="176" y="0"/>
                  </a:lnTo>
                  <a:lnTo>
                    <a:pt x="167" y="1"/>
                  </a:lnTo>
                  <a:lnTo>
                    <a:pt x="158" y="3"/>
                  </a:lnTo>
                  <a:lnTo>
                    <a:pt x="150" y="5"/>
                  </a:lnTo>
                  <a:lnTo>
                    <a:pt x="142" y="9"/>
                  </a:lnTo>
                  <a:lnTo>
                    <a:pt x="135" y="12"/>
                  </a:lnTo>
                  <a:lnTo>
                    <a:pt x="127" y="16"/>
                  </a:lnTo>
                  <a:lnTo>
                    <a:pt x="120" y="21"/>
                  </a:lnTo>
                  <a:lnTo>
                    <a:pt x="113" y="26"/>
                  </a:lnTo>
                  <a:lnTo>
                    <a:pt x="107" y="32"/>
                  </a:lnTo>
                  <a:lnTo>
                    <a:pt x="102" y="39"/>
                  </a:lnTo>
                  <a:lnTo>
                    <a:pt x="96" y="45"/>
                  </a:lnTo>
                  <a:lnTo>
                    <a:pt x="91" y="53"/>
                  </a:lnTo>
                  <a:lnTo>
                    <a:pt x="88" y="60"/>
                  </a:lnTo>
                  <a:lnTo>
                    <a:pt x="83" y="68"/>
                  </a:lnTo>
                  <a:lnTo>
                    <a:pt x="80" y="76"/>
                  </a:lnTo>
                  <a:lnTo>
                    <a:pt x="76" y="75"/>
                  </a:lnTo>
                  <a:lnTo>
                    <a:pt x="72" y="75"/>
                  </a:lnTo>
                  <a:lnTo>
                    <a:pt x="64" y="76"/>
                  </a:lnTo>
                  <a:lnTo>
                    <a:pt x="57" y="77"/>
                  </a:lnTo>
                  <a:lnTo>
                    <a:pt x="50" y="78"/>
                  </a:lnTo>
                  <a:lnTo>
                    <a:pt x="44" y="82"/>
                  </a:lnTo>
                  <a:lnTo>
                    <a:pt x="37" y="84"/>
                  </a:lnTo>
                  <a:lnTo>
                    <a:pt x="31" y="88"/>
                  </a:lnTo>
                  <a:lnTo>
                    <a:pt x="25" y="92"/>
                  </a:lnTo>
                  <a:lnTo>
                    <a:pt x="20" y="97"/>
                  </a:lnTo>
                  <a:lnTo>
                    <a:pt x="16" y="102"/>
                  </a:lnTo>
                  <a:lnTo>
                    <a:pt x="11" y="107"/>
                  </a:lnTo>
                  <a:lnTo>
                    <a:pt x="8" y="113"/>
                  </a:lnTo>
                  <a:lnTo>
                    <a:pt x="5" y="119"/>
                  </a:lnTo>
                  <a:lnTo>
                    <a:pt x="3" y="126"/>
                  </a:lnTo>
                  <a:lnTo>
                    <a:pt x="1" y="133"/>
                  </a:lnTo>
                  <a:lnTo>
                    <a:pt x="0" y="141"/>
                  </a:lnTo>
                  <a:lnTo>
                    <a:pt x="0" y="147"/>
                  </a:lnTo>
                  <a:lnTo>
                    <a:pt x="0" y="155"/>
                  </a:lnTo>
                  <a:lnTo>
                    <a:pt x="1" y="161"/>
                  </a:lnTo>
                  <a:lnTo>
                    <a:pt x="2" y="168"/>
                  </a:lnTo>
                  <a:lnTo>
                    <a:pt x="5" y="175"/>
                  </a:lnTo>
                  <a:lnTo>
                    <a:pt x="7" y="180"/>
                  </a:lnTo>
                  <a:lnTo>
                    <a:pt x="10" y="187"/>
                  </a:lnTo>
                  <a:lnTo>
                    <a:pt x="15" y="192"/>
                  </a:lnTo>
                  <a:lnTo>
                    <a:pt x="19" y="196"/>
                  </a:lnTo>
                  <a:lnTo>
                    <a:pt x="24" y="201"/>
                  </a:lnTo>
                  <a:lnTo>
                    <a:pt x="29" y="205"/>
                  </a:lnTo>
                  <a:lnTo>
                    <a:pt x="35" y="208"/>
                  </a:lnTo>
                  <a:lnTo>
                    <a:pt x="40" y="211"/>
                  </a:lnTo>
                  <a:lnTo>
                    <a:pt x="47" y="214"/>
                  </a:lnTo>
                  <a:lnTo>
                    <a:pt x="53" y="216"/>
                  </a:lnTo>
                  <a:lnTo>
                    <a:pt x="60" y="217"/>
                  </a:lnTo>
                  <a:lnTo>
                    <a:pt x="67"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632" name="Group 82">
            <a:extLst>
              <a:ext uri="{FF2B5EF4-FFF2-40B4-BE49-F238E27FC236}">
                <a16:creationId xmlns:a16="http://schemas.microsoft.com/office/drawing/2014/main" id="{C19B85F7-7436-45DB-AE56-ED70008B7DFB}"/>
              </a:ext>
            </a:extLst>
          </p:cNvPr>
          <p:cNvGrpSpPr>
            <a:grpSpLocks noChangeAspect="1"/>
          </p:cNvGrpSpPr>
          <p:nvPr/>
        </p:nvGrpSpPr>
        <p:grpSpPr>
          <a:xfrm>
            <a:off x="4439747" y="3802799"/>
            <a:ext cx="306484" cy="306484"/>
            <a:chOff x="2608263" y="1925638"/>
            <a:chExt cx="287338" cy="287338"/>
          </a:xfrm>
          <a:solidFill>
            <a:schemeClr val="bg2"/>
          </a:solidFill>
          <a:effectLst/>
        </p:grpSpPr>
        <p:sp>
          <p:nvSpPr>
            <p:cNvPr id="633" name="Freeform 39">
              <a:extLst>
                <a:ext uri="{FF2B5EF4-FFF2-40B4-BE49-F238E27FC236}">
                  <a16:creationId xmlns:a16="http://schemas.microsoft.com/office/drawing/2014/main" id="{07A74044-9D4B-494E-BE2B-AF8E1C0C35DA}"/>
                </a:ext>
              </a:extLst>
            </p:cNvPr>
            <p:cNvSpPr>
              <a:spLocks noEditPoints="1"/>
            </p:cNvSpPr>
            <p:nvPr/>
          </p:nvSpPr>
          <p:spPr bwMode="auto">
            <a:xfrm>
              <a:off x="2608263" y="1925638"/>
              <a:ext cx="287338" cy="287338"/>
            </a:xfrm>
            <a:custGeom>
              <a:avLst/>
              <a:gdLst>
                <a:gd name="T0" fmla="*/ 144 w 905"/>
                <a:gd name="T1" fmla="*/ 166 h 905"/>
                <a:gd name="T2" fmla="*/ 107 w 905"/>
                <a:gd name="T3" fmla="*/ 206 h 905"/>
                <a:gd name="T4" fmla="*/ 106 w 905"/>
                <a:gd name="T5" fmla="*/ 214 h 905"/>
                <a:gd name="T6" fmla="*/ 110 w 905"/>
                <a:gd name="T7" fmla="*/ 222 h 905"/>
                <a:gd name="T8" fmla="*/ 117 w 905"/>
                <a:gd name="T9" fmla="*/ 226 h 905"/>
                <a:gd name="T10" fmla="*/ 126 w 905"/>
                <a:gd name="T11" fmla="*/ 225 h 905"/>
                <a:gd name="T12" fmla="*/ 166 w 905"/>
                <a:gd name="T13" fmla="*/ 187 h 905"/>
                <a:gd name="T14" fmla="*/ 198 w 905"/>
                <a:gd name="T15" fmla="*/ 308 h 905"/>
                <a:gd name="T16" fmla="*/ 196 w 905"/>
                <a:gd name="T17" fmla="*/ 316 h 905"/>
                <a:gd name="T18" fmla="*/ 198 w 905"/>
                <a:gd name="T19" fmla="*/ 325 h 905"/>
                <a:gd name="T20" fmla="*/ 206 w 905"/>
                <a:gd name="T21" fmla="*/ 330 h 905"/>
                <a:gd name="T22" fmla="*/ 214 w 905"/>
                <a:gd name="T23" fmla="*/ 331 h 905"/>
                <a:gd name="T24" fmla="*/ 222 w 905"/>
                <a:gd name="T25" fmla="*/ 327 h 905"/>
                <a:gd name="T26" fmla="*/ 291 w 905"/>
                <a:gd name="T27" fmla="*/ 396 h 905"/>
                <a:gd name="T28" fmla="*/ 286 w 905"/>
                <a:gd name="T29" fmla="*/ 405 h 905"/>
                <a:gd name="T30" fmla="*/ 287 w 905"/>
                <a:gd name="T31" fmla="*/ 413 h 905"/>
                <a:gd name="T32" fmla="*/ 293 w 905"/>
                <a:gd name="T33" fmla="*/ 420 h 905"/>
                <a:gd name="T34" fmla="*/ 301 w 905"/>
                <a:gd name="T35" fmla="*/ 422 h 905"/>
                <a:gd name="T36" fmla="*/ 310 w 905"/>
                <a:gd name="T37" fmla="*/ 420 h 905"/>
                <a:gd name="T38" fmla="*/ 432 w 905"/>
                <a:gd name="T39" fmla="*/ 452 h 905"/>
                <a:gd name="T40" fmla="*/ 393 w 905"/>
                <a:gd name="T41" fmla="*/ 492 h 905"/>
                <a:gd name="T42" fmla="*/ 393 w 905"/>
                <a:gd name="T43" fmla="*/ 500 h 905"/>
                <a:gd name="T44" fmla="*/ 396 w 905"/>
                <a:gd name="T45" fmla="*/ 508 h 905"/>
                <a:gd name="T46" fmla="*/ 405 w 905"/>
                <a:gd name="T47" fmla="*/ 512 h 905"/>
                <a:gd name="T48" fmla="*/ 413 w 905"/>
                <a:gd name="T49" fmla="*/ 511 h 905"/>
                <a:gd name="T50" fmla="*/ 452 w 905"/>
                <a:gd name="T51" fmla="*/ 473 h 905"/>
                <a:gd name="T52" fmla="*/ 485 w 905"/>
                <a:gd name="T53" fmla="*/ 595 h 905"/>
                <a:gd name="T54" fmla="*/ 482 w 905"/>
                <a:gd name="T55" fmla="*/ 604 h 905"/>
                <a:gd name="T56" fmla="*/ 485 w 905"/>
                <a:gd name="T57" fmla="*/ 611 h 905"/>
                <a:gd name="T58" fmla="*/ 492 w 905"/>
                <a:gd name="T59" fmla="*/ 617 h 905"/>
                <a:gd name="T60" fmla="*/ 500 w 905"/>
                <a:gd name="T61" fmla="*/ 617 h 905"/>
                <a:gd name="T62" fmla="*/ 508 w 905"/>
                <a:gd name="T63" fmla="*/ 614 h 905"/>
                <a:gd name="T64" fmla="*/ 578 w 905"/>
                <a:gd name="T65" fmla="*/ 683 h 905"/>
                <a:gd name="T66" fmla="*/ 574 w 905"/>
                <a:gd name="T67" fmla="*/ 691 h 905"/>
                <a:gd name="T68" fmla="*/ 575 w 905"/>
                <a:gd name="T69" fmla="*/ 699 h 905"/>
                <a:gd name="T70" fmla="*/ 580 w 905"/>
                <a:gd name="T71" fmla="*/ 707 h 905"/>
                <a:gd name="T72" fmla="*/ 589 w 905"/>
                <a:gd name="T73" fmla="*/ 709 h 905"/>
                <a:gd name="T74" fmla="*/ 596 w 905"/>
                <a:gd name="T75" fmla="*/ 707 h 905"/>
                <a:gd name="T76" fmla="*/ 718 w 905"/>
                <a:gd name="T77" fmla="*/ 739 h 905"/>
                <a:gd name="T78" fmla="*/ 680 w 905"/>
                <a:gd name="T79" fmla="*/ 779 h 905"/>
                <a:gd name="T80" fmla="*/ 679 w 905"/>
                <a:gd name="T81" fmla="*/ 787 h 905"/>
                <a:gd name="T82" fmla="*/ 683 w 905"/>
                <a:gd name="T83" fmla="*/ 795 h 905"/>
                <a:gd name="T84" fmla="*/ 691 w 905"/>
                <a:gd name="T85" fmla="*/ 799 h 905"/>
                <a:gd name="T86" fmla="*/ 699 w 905"/>
                <a:gd name="T87" fmla="*/ 798 h 905"/>
                <a:gd name="T88" fmla="*/ 739 w 905"/>
                <a:gd name="T89" fmla="*/ 761 h 905"/>
                <a:gd name="T90" fmla="*/ 898 w 905"/>
                <a:gd name="T91" fmla="*/ 878 h 905"/>
                <a:gd name="T92" fmla="*/ 19 w 905"/>
                <a:gd name="T93" fmla="*/ 0 h 905"/>
                <a:gd name="T94" fmla="*/ 6 w 905"/>
                <a:gd name="T95" fmla="*/ 3 h 905"/>
                <a:gd name="T96" fmla="*/ 0 w 905"/>
                <a:gd name="T97" fmla="*/ 15 h 905"/>
                <a:gd name="T98" fmla="*/ 1 w 905"/>
                <a:gd name="T99" fmla="*/ 895 h 905"/>
                <a:gd name="T100" fmla="*/ 7 w 905"/>
                <a:gd name="T101" fmla="*/ 902 h 905"/>
                <a:gd name="T102" fmla="*/ 15 w 905"/>
                <a:gd name="T103" fmla="*/ 905 h 905"/>
                <a:gd name="T104" fmla="*/ 890 w 905"/>
                <a:gd name="T105" fmla="*/ 905 h 905"/>
                <a:gd name="T106" fmla="*/ 898 w 905"/>
                <a:gd name="T107" fmla="*/ 902 h 905"/>
                <a:gd name="T108" fmla="*/ 904 w 905"/>
                <a:gd name="T109" fmla="*/ 895 h 905"/>
                <a:gd name="T110" fmla="*/ 905 w 905"/>
                <a:gd name="T111" fmla="*/ 886 h 905"/>
                <a:gd name="T112" fmla="*/ 898 w 905"/>
                <a:gd name="T113" fmla="*/ 878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5" h="905">
                  <a:moveTo>
                    <a:pt x="30" y="874"/>
                  </a:moveTo>
                  <a:lnTo>
                    <a:pt x="30" y="52"/>
                  </a:lnTo>
                  <a:lnTo>
                    <a:pt x="144" y="166"/>
                  </a:lnTo>
                  <a:lnTo>
                    <a:pt x="110" y="200"/>
                  </a:lnTo>
                  <a:lnTo>
                    <a:pt x="108" y="202"/>
                  </a:lnTo>
                  <a:lnTo>
                    <a:pt x="107" y="206"/>
                  </a:lnTo>
                  <a:lnTo>
                    <a:pt x="106" y="208"/>
                  </a:lnTo>
                  <a:lnTo>
                    <a:pt x="106" y="211"/>
                  </a:lnTo>
                  <a:lnTo>
                    <a:pt x="106" y="214"/>
                  </a:lnTo>
                  <a:lnTo>
                    <a:pt x="107" y="216"/>
                  </a:lnTo>
                  <a:lnTo>
                    <a:pt x="108" y="220"/>
                  </a:lnTo>
                  <a:lnTo>
                    <a:pt x="110" y="222"/>
                  </a:lnTo>
                  <a:lnTo>
                    <a:pt x="112" y="224"/>
                  </a:lnTo>
                  <a:lnTo>
                    <a:pt x="115" y="225"/>
                  </a:lnTo>
                  <a:lnTo>
                    <a:pt x="117" y="226"/>
                  </a:lnTo>
                  <a:lnTo>
                    <a:pt x="121" y="226"/>
                  </a:lnTo>
                  <a:lnTo>
                    <a:pt x="124" y="226"/>
                  </a:lnTo>
                  <a:lnTo>
                    <a:pt x="126" y="225"/>
                  </a:lnTo>
                  <a:lnTo>
                    <a:pt x="129" y="224"/>
                  </a:lnTo>
                  <a:lnTo>
                    <a:pt x="131" y="222"/>
                  </a:lnTo>
                  <a:lnTo>
                    <a:pt x="166" y="187"/>
                  </a:lnTo>
                  <a:lnTo>
                    <a:pt x="242" y="264"/>
                  </a:lnTo>
                  <a:lnTo>
                    <a:pt x="200" y="306"/>
                  </a:lnTo>
                  <a:lnTo>
                    <a:pt x="198" y="308"/>
                  </a:lnTo>
                  <a:lnTo>
                    <a:pt x="197" y="311"/>
                  </a:lnTo>
                  <a:lnTo>
                    <a:pt x="196" y="314"/>
                  </a:lnTo>
                  <a:lnTo>
                    <a:pt x="196" y="316"/>
                  </a:lnTo>
                  <a:lnTo>
                    <a:pt x="196" y="320"/>
                  </a:lnTo>
                  <a:lnTo>
                    <a:pt x="197" y="323"/>
                  </a:lnTo>
                  <a:lnTo>
                    <a:pt x="198" y="325"/>
                  </a:lnTo>
                  <a:lnTo>
                    <a:pt x="200" y="327"/>
                  </a:lnTo>
                  <a:lnTo>
                    <a:pt x="202" y="329"/>
                  </a:lnTo>
                  <a:lnTo>
                    <a:pt x="206" y="330"/>
                  </a:lnTo>
                  <a:lnTo>
                    <a:pt x="208" y="331"/>
                  </a:lnTo>
                  <a:lnTo>
                    <a:pt x="211" y="331"/>
                  </a:lnTo>
                  <a:lnTo>
                    <a:pt x="214" y="331"/>
                  </a:lnTo>
                  <a:lnTo>
                    <a:pt x="216" y="330"/>
                  </a:lnTo>
                  <a:lnTo>
                    <a:pt x="220" y="329"/>
                  </a:lnTo>
                  <a:lnTo>
                    <a:pt x="222" y="327"/>
                  </a:lnTo>
                  <a:lnTo>
                    <a:pt x="264" y="285"/>
                  </a:lnTo>
                  <a:lnTo>
                    <a:pt x="333" y="354"/>
                  </a:lnTo>
                  <a:lnTo>
                    <a:pt x="291" y="396"/>
                  </a:lnTo>
                  <a:lnTo>
                    <a:pt x="289" y="399"/>
                  </a:lnTo>
                  <a:lnTo>
                    <a:pt x="287" y="401"/>
                  </a:lnTo>
                  <a:lnTo>
                    <a:pt x="286" y="405"/>
                  </a:lnTo>
                  <a:lnTo>
                    <a:pt x="286" y="407"/>
                  </a:lnTo>
                  <a:lnTo>
                    <a:pt x="286" y="410"/>
                  </a:lnTo>
                  <a:lnTo>
                    <a:pt x="287" y="413"/>
                  </a:lnTo>
                  <a:lnTo>
                    <a:pt x="289" y="415"/>
                  </a:lnTo>
                  <a:lnTo>
                    <a:pt x="291" y="417"/>
                  </a:lnTo>
                  <a:lnTo>
                    <a:pt x="293" y="420"/>
                  </a:lnTo>
                  <a:lnTo>
                    <a:pt x="296" y="421"/>
                  </a:lnTo>
                  <a:lnTo>
                    <a:pt x="298" y="422"/>
                  </a:lnTo>
                  <a:lnTo>
                    <a:pt x="301" y="422"/>
                  </a:lnTo>
                  <a:lnTo>
                    <a:pt x="305" y="422"/>
                  </a:lnTo>
                  <a:lnTo>
                    <a:pt x="307" y="421"/>
                  </a:lnTo>
                  <a:lnTo>
                    <a:pt x="310" y="420"/>
                  </a:lnTo>
                  <a:lnTo>
                    <a:pt x="312" y="417"/>
                  </a:lnTo>
                  <a:lnTo>
                    <a:pt x="354" y="376"/>
                  </a:lnTo>
                  <a:lnTo>
                    <a:pt x="432" y="452"/>
                  </a:lnTo>
                  <a:lnTo>
                    <a:pt x="396" y="486"/>
                  </a:lnTo>
                  <a:lnTo>
                    <a:pt x="395" y="490"/>
                  </a:lnTo>
                  <a:lnTo>
                    <a:pt x="393" y="492"/>
                  </a:lnTo>
                  <a:lnTo>
                    <a:pt x="393" y="495"/>
                  </a:lnTo>
                  <a:lnTo>
                    <a:pt x="392" y="497"/>
                  </a:lnTo>
                  <a:lnTo>
                    <a:pt x="393" y="500"/>
                  </a:lnTo>
                  <a:lnTo>
                    <a:pt x="393" y="504"/>
                  </a:lnTo>
                  <a:lnTo>
                    <a:pt x="395" y="506"/>
                  </a:lnTo>
                  <a:lnTo>
                    <a:pt x="396" y="508"/>
                  </a:lnTo>
                  <a:lnTo>
                    <a:pt x="399" y="510"/>
                  </a:lnTo>
                  <a:lnTo>
                    <a:pt x="401" y="511"/>
                  </a:lnTo>
                  <a:lnTo>
                    <a:pt x="405" y="512"/>
                  </a:lnTo>
                  <a:lnTo>
                    <a:pt x="407" y="513"/>
                  </a:lnTo>
                  <a:lnTo>
                    <a:pt x="410" y="512"/>
                  </a:lnTo>
                  <a:lnTo>
                    <a:pt x="413" y="511"/>
                  </a:lnTo>
                  <a:lnTo>
                    <a:pt x="415" y="510"/>
                  </a:lnTo>
                  <a:lnTo>
                    <a:pt x="418" y="508"/>
                  </a:lnTo>
                  <a:lnTo>
                    <a:pt x="452" y="473"/>
                  </a:lnTo>
                  <a:lnTo>
                    <a:pt x="529" y="551"/>
                  </a:lnTo>
                  <a:lnTo>
                    <a:pt x="486" y="593"/>
                  </a:lnTo>
                  <a:lnTo>
                    <a:pt x="485" y="595"/>
                  </a:lnTo>
                  <a:lnTo>
                    <a:pt x="483" y="597"/>
                  </a:lnTo>
                  <a:lnTo>
                    <a:pt x="483" y="600"/>
                  </a:lnTo>
                  <a:lnTo>
                    <a:pt x="482" y="604"/>
                  </a:lnTo>
                  <a:lnTo>
                    <a:pt x="483" y="606"/>
                  </a:lnTo>
                  <a:lnTo>
                    <a:pt x="483" y="609"/>
                  </a:lnTo>
                  <a:lnTo>
                    <a:pt x="485" y="611"/>
                  </a:lnTo>
                  <a:lnTo>
                    <a:pt x="486" y="614"/>
                  </a:lnTo>
                  <a:lnTo>
                    <a:pt x="490" y="615"/>
                  </a:lnTo>
                  <a:lnTo>
                    <a:pt x="492" y="617"/>
                  </a:lnTo>
                  <a:lnTo>
                    <a:pt x="495" y="617"/>
                  </a:lnTo>
                  <a:lnTo>
                    <a:pt x="497" y="619"/>
                  </a:lnTo>
                  <a:lnTo>
                    <a:pt x="500" y="617"/>
                  </a:lnTo>
                  <a:lnTo>
                    <a:pt x="504" y="617"/>
                  </a:lnTo>
                  <a:lnTo>
                    <a:pt x="506" y="615"/>
                  </a:lnTo>
                  <a:lnTo>
                    <a:pt x="508" y="614"/>
                  </a:lnTo>
                  <a:lnTo>
                    <a:pt x="550" y="571"/>
                  </a:lnTo>
                  <a:lnTo>
                    <a:pt x="620" y="641"/>
                  </a:lnTo>
                  <a:lnTo>
                    <a:pt x="578" y="683"/>
                  </a:lnTo>
                  <a:lnTo>
                    <a:pt x="576" y="685"/>
                  </a:lnTo>
                  <a:lnTo>
                    <a:pt x="575" y="687"/>
                  </a:lnTo>
                  <a:lnTo>
                    <a:pt x="574" y="691"/>
                  </a:lnTo>
                  <a:lnTo>
                    <a:pt x="574" y="694"/>
                  </a:lnTo>
                  <a:lnTo>
                    <a:pt x="574" y="696"/>
                  </a:lnTo>
                  <a:lnTo>
                    <a:pt x="575" y="699"/>
                  </a:lnTo>
                  <a:lnTo>
                    <a:pt x="576" y="702"/>
                  </a:lnTo>
                  <a:lnTo>
                    <a:pt x="578" y="705"/>
                  </a:lnTo>
                  <a:lnTo>
                    <a:pt x="580" y="707"/>
                  </a:lnTo>
                  <a:lnTo>
                    <a:pt x="582" y="708"/>
                  </a:lnTo>
                  <a:lnTo>
                    <a:pt x="585" y="709"/>
                  </a:lnTo>
                  <a:lnTo>
                    <a:pt x="589" y="709"/>
                  </a:lnTo>
                  <a:lnTo>
                    <a:pt x="591" y="709"/>
                  </a:lnTo>
                  <a:lnTo>
                    <a:pt x="594" y="708"/>
                  </a:lnTo>
                  <a:lnTo>
                    <a:pt x="596" y="707"/>
                  </a:lnTo>
                  <a:lnTo>
                    <a:pt x="598" y="705"/>
                  </a:lnTo>
                  <a:lnTo>
                    <a:pt x="641" y="662"/>
                  </a:lnTo>
                  <a:lnTo>
                    <a:pt x="718" y="739"/>
                  </a:lnTo>
                  <a:lnTo>
                    <a:pt x="683" y="773"/>
                  </a:lnTo>
                  <a:lnTo>
                    <a:pt x="681" y="776"/>
                  </a:lnTo>
                  <a:lnTo>
                    <a:pt x="680" y="779"/>
                  </a:lnTo>
                  <a:lnTo>
                    <a:pt x="679" y="781"/>
                  </a:lnTo>
                  <a:lnTo>
                    <a:pt x="679" y="784"/>
                  </a:lnTo>
                  <a:lnTo>
                    <a:pt x="679" y="787"/>
                  </a:lnTo>
                  <a:lnTo>
                    <a:pt x="680" y="790"/>
                  </a:lnTo>
                  <a:lnTo>
                    <a:pt x="681" y="793"/>
                  </a:lnTo>
                  <a:lnTo>
                    <a:pt x="683" y="795"/>
                  </a:lnTo>
                  <a:lnTo>
                    <a:pt x="685" y="797"/>
                  </a:lnTo>
                  <a:lnTo>
                    <a:pt x="688" y="798"/>
                  </a:lnTo>
                  <a:lnTo>
                    <a:pt x="691" y="799"/>
                  </a:lnTo>
                  <a:lnTo>
                    <a:pt x="694" y="799"/>
                  </a:lnTo>
                  <a:lnTo>
                    <a:pt x="696" y="799"/>
                  </a:lnTo>
                  <a:lnTo>
                    <a:pt x="699" y="798"/>
                  </a:lnTo>
                  <a:lnTo>
                    <a:pt x="702" y="797"/>
                  </a:lnTo>
                  <a:lnTo>
                    <a:pt x="705" y="795"/>
                  </a:lnTo>
                  <a:lnTo>
                    <a:pt x="739" y="761"/>
                  </a:lnTo>
                  <a:lnTo>
                    <a:pt x="853" y="874"/>
                  </a:lnTo>
                  <a:lnTo>
                    <a:pt x="30" y="874"/>
                  </a:lnTo>
                  <a:close/>
                  <a:moveTo>
                    <a:pt x="898" y="878"/>
                  </a:moveTo>
                  <a:lnTo>
                    <a:pt x="26" y="5"/>
                  </a:lnTo>
                  <a:lnTo>
                    <a:pt x="22" y="1"/>
                  </a:lnTo>
                  <a:lnTo>
                    <a:pt x="19" y="0"/>
                  </a:lnTo>
                  <a:lnTo>
                    <a:pt x="13" y="0"/>
                  </a:lnTo>
                  <a:lnTo>
                    <a:pt x="9" y="1"/>
                  </a:lnTo>
                  <a:lnTo>
                    <a:pt x="6" y="3"/>
                  </a:lnTo>
                  <a:lnTo>
                    <a:pt x="2" y="7"/>
                  </a:lnTo>
                  <a:lnTo>
                    <a:pt x="0" y="11"/>
                  </a:lnTo>
                  <a:lnTo>
                    <a:pt x="0" y="15"/>
                  </a:lnTo>
                  <a:lnTo>
                    <a:pt x="0" y="890"/>
                  </a:lnTo>
                  <a:lnTo>
                    <a:pt x="0" y="893"/>
                  </a:lnTo>
                  <a:lnTo>
                    <a:pt x="1" y="895"/>
                  </a:lnTo>
                  <a:lnTo>
                    <a:pt x="2" y="898"/>
                  </a:lnTo>
                  <a:lnTo>
                    <a:pt x="5" y="900"/>
                  </a:lnTo>
                  <a:lnTo>
                    <a:pt x="7" y="902"/>
                  </a:lnTo>
                  <a:lnTo>
                    <a:pt x="9" y="904"/>
                  </a:lnTo>
                  <a:lnTo>
                    <a:pt x="12" y="905"/>
                  </a:lnTo>
                  <a:lnTo>
                    <a:pt x="15" y="905"/>
                  </a:lnTo>
                  <a:lnTo>
                    <a:pt x="890" y="905"/>
                  </a:lnTo>
                  <a:lnTo>
                    <a:pt x="890" y="905"/>
                  </a:lnTo>
                  <a:lnTo>
                    <a:pt x="890" y="905"/>
                  </a:lnTo>
                  <a:lnTo>
                    <a:pt x="893" y="905"/>
                  </a:lnTo>
                  <a:lnTo>
                    <a:pt x="896" y="904"/>
                  </a:lnTo>
                  <a:lnTo>
                    <a:pt x="898" y="902"/>
                  </a:lnTo>
                  <a:lnTo>
                    <a:pt x="901" y="900"/>
                  </a:lnTo>
                  <a:lnTo>
                    <a:pt x="903" y="898"/>
                  </a:lnTo>
                  <a:lnTo>
                    <a:pt x="904" y="895"/>
                  </a:lnTo>
                  <a:lnTo>
                    <a:pt x="905" y="893"/>
                  </a:lnTo>
                  <a:lnTo>
                    <a:pt x="905" y="890"/>
                  </a:lnTo>
                  <a:lnTo>
                    <a:pt x="905" y="886"/>
                  </a:lnTo>
                  <a:lnTo>
                    <a:pt x="904" y="882"/>
                  </a:lnTo>
                  <a:lnTo>
                    <a:pt x="902" y="880"/>
                  </a:lnTo>
                  <a:lnTo>
                    <a:pt x="898" y="8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40">
              <a:extLst>
                <a:ext uri="{FF2B5EF4-FFF2-40B4-BE49-F238E27FC236}">
                  <a16:creationId xmlns:a16="http://schemas.microsoft.com/office/drawing/2014/main" id="{0E4D2D51-F88C-47B5-AAE5-1389B7450AEA}"/>
                </a:ext>
              </a:extLst>
            </p:cNvPr>
            <p:cNvSpPr>
              <a:spLocks noEditPoints="1"/>
            </p:cNvSpPr>
            <p:nvPr/>
          </p:nvSpPr>
          <p:spPr bwMode="auto">
            <a:xfrm>
              <a:off x="2647950" y="2041525"/>
              <a:ext cx="133350" cy="133350"/>
            </a:xfrm>
            <a:custGeom>
              <a:avLst/>
              <a:gdLst>
                <a:gd name="T0" fmla="*/ 30 w 421"/>
                <a:gd name="T1" fmla="*/ 392 h 422"/>
                <a:gd name="T2" fmla="*/ 30 w 421"/>
                <a:gd name="T3" fmla="*/ 51 h 422"/>
                <a:gd name="T4" fmla="*/ 371 w 421"/>
                <a:gd name="T5" fmla="*/ 392 h 422"/>
                <a:gd name="T6" fmla="*/ 30 w 421"/>
                <a:gd name="T7" fmla="*/ 392 h 422"/>
                <a:gd name="T8" fmla="*/ 26 w 421"/>
                <a:gd name="T9" fmla="*/ 4 h 422"/>
                <a:gd name="T10" fmla="*/ 22 w 421"/>
                <a:gd name="T11" fmla="*/ 2 h 422"/>
                <a:gd name="T12" fmla="*/ 18 w 421"/>
                <a:gd name="T13" fmla="*/ 1 h 422"/>
                <a:gd name="T14" fmla="*/ 14 w 421"/>
                <a:gd name="T15" fmla="*/ 0 h 422"/>
                <a:gd name="T16" fmla="*/ 9 w 421"/>
                <a:gd name="T17" fmla="*/ 1 h 422"/>
                <a:gd name="T18" fmla="*/ 5 w 421"/>
                <a:gd name="T19" fmla="*/ 4 h 422"/>
                <a:gd name="T20" fmla="*/ 2 w 421"/>
                <a:gd name="T21" fmla="*/ 7 h 422"/>
                <a:gd name="T22" fmla="*/ 1 w 421"/>
                <a:gd name="T23" fmla="*/ 10 h 422"/>
                <a:gd name="T24" fmla="*/ 0 w 421"/>
                <a:gd name="T25" fmla="*/ 15 h 422"/>
                <a:gd name="T26" fmla="*/ 0 w 421"/>
                <a:gd name="T27" fmla="*/ 407 h 422"/>
                <a:gd name="T28" fmla="*/ 0 w 421"/>
                <a:gd name="T29" fmla="*/ 410 h 422"/>
                <a:gd name="T30" fmla="*/ 1 w 421"/>
                <a:gd name="T31" fmla="*/ 412 h 422"/>
                <a:gd name="T32" fmla="*/ 2 w 421"/>
                <a:gd name="T33" fmla="*/ 416 h 422"/>
                <a:gd name="T34" fmla="*/ 4 w 421"/>
                <a:gd name="T35" fmla="*/ 418 h 422"/>
                <a:gd name="T36" fmla="*/ 6 w 421"/>
                <a:gd name="T37" fmla="*/ 419 h 422"/>
                <a:gd name="T38" fmla="*/ 8 w 421"/>
                <a:gd name="T39" fmla="*/ 421 h 422"/>
                <a:gd name="T40" fmla="*/ 12 w 421"/>
                <a:gd name="T41" fmla="*/ 422 h 422"/>
                <a:gd name="T42" fmla="*/ 15 w 421"/>
                <a:gd name="T43" fmla="*/ 422 h 422"/>
                <a:gd name="T44" fmla="*/ 406 w 421"/>
                <a:gd name="T45" fmla="*/ 422 h 422"/>
                <a:gd name="T46" fmla="*/ 412 w 421"/>
                <a:gd name="T47" fmla="*/ 421 h 422"/>
                <a:gd name="T48" fmla="*/ 415 w 421"/>
                <a:gd name="T49" fmla="*/ 419 h 422"/>
                <a:gd name="T50" fmla="*/ 418 w 421"/>
                <a:gd name="T51" fmla="*/ 417 h 422"/>
                <a:gd name="T52" fmla="*/ 420 w 421"/>
                <a:gd name="T53" fmla="*/ 412 h 422"/>
                <a:gd name="T54" fmla="*/ 421 w 421"/>
                <a:gd name="T55" fmla="*/ 408 h 422"/>
                <a:gd name="T56" fmla="*/ 421 w 421"/>
                <a:gd name="T57" fmla="*/ 404 h 422"/>
                <a:gd name="T58" fmla="*/ 420 w 421"/>
                <a:gd name="T59" fmla="*/ 400 h 422"/>
                <a:gd name="T60" fmla="*/ 417 w 421"/>
                <a:gd name="T61" fmla="*/ 396 h 422"/>
                <a:gd name="T62" fmla="*/ 26 w 421"/>
                <a:gd name="T63" fmla="*/ 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1" h="422">
                  <a:moveTo>
                    <a:pt x="30" y="392"/>
                  </a:moveTo>
                  <a:lnTo>
                    <a:pt x="30" y="51"/>
                  </a:lnTo>
                  <a:lnTo>
                    <a:pt x="371" y="392"/>
                  </a:lnTo>
                  <a:lnTo>
                    <a:pt x="30" y="392"/>
                  </a:lnTo>
                  <a:close/>
                  <a:moveTo>
                    <a:pt x="26" y="4"/>
                  </a:moveTo>
                  <a:lnTo>
                    <a:pt x="22" y="2"/>
                  </a:lnTo>
                  <a:lnTo>
                    <a:pt x="18" y="1"/>
                  </a:lnTo>
                  <a:lnTo>
                    <a:pt x="14" y="0"/>
                  </a:lnTo>
                  <a:lnTo>
                    <a:pt x="9" y="1"/>
                  </a:lnTo>
                  <a:lnTo>
                    <a:pt x="5" y="4"/>
                  </a:lnTo>
                  <a:lnTo>
                    <a:pt x="2" y="7"/>
                  </a:lnTo>
                  <a:lnTo>
                    <a:pt x="1" y="10"/>
                  </a:lnTo>
                  <a:lnTo>
                    <a:pt x="0" y="15"/>
                  </a:lnTo>
                  <a:lnTo>
                    <a:pt x="0" y="407"/>
                  </a:lnTo>
                  <a:lnTo>
                    <a:pt x="0" y="410"/>
                  </a:lnTo>
                  <a:lnTo>
                    <a:pt x="1" y="412"/>
                  </a:lnTo>
                  <a:lnTo>
                    <a:pt x="2" y="416"/>
                  </a:lnTo>
                  <a:lnTo>
                    <a:pt x="4" y="418"/>
                  </a:lnTo>
                  <a:lnTo>
                    <a:pt x="6" y="419"/>
                  </a:lnTo>
                  <a:lnTo>
                    <a:pt x="8" y="421"/>
                  </a:lnTo>
                  <a:lnTo>
                    <a:pt x="12" y="422"/>
                  </a:lnTo>
                  <a:lnTo>
                    <a:pt x="15" y="422"/>
                  </a:lnTo>
                  <a:lnTo>
                    <a:pt x="406" y="422"/>
                  </a:lnTo>
                  <a:lnTo>
                    <a:pt x="412" y="421"/>
                  </a:lnTo>
                  <a:lnTo>
                    <a:pt x="415" y="419"/>
                  </a:lnTo>
                  <a:lnTo>
                    <a:pt x="418" y="417"/>
                  </a:lnTo>
                  <a:lnTo>
                    <a:pt x="420" y="412"/>
                  </a:lnTo>
                  <a:lnTo>
                    <a:pt x="421" y="408"/>
                  </a:lnTo>
                  <a:lnTo>
                    <a:pt x="421" y="404"/>
                  </a:lnTo>
                  <a:lnTo>
                    <a:pt x="420" y="400"/>
                  </a:lnTo>
                  <a:lnTo>
                    <a:pt x="417" y="396"/>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5" name="Group 85">
            <a:extLst>
              <a:ext uri="{FF2B5EF4-FFF2-40B4-BE49-F238E27FC236}">
                <a16:creationId xmlns:a16="http://schemas.microsoft.com/office/drawing/2014/main" id="{16EA200D-EDD0-474D-9690-25A9F6931FBC}"/>
              </a:ext>
            </a:extLst>
          </p:cNvPr>
          <p:cNvGrpSpPr>
            <a:grpSpLocks noChangeAspect="1"/>
          </p:cNvGrpSpPr>
          <p:nvPr/>
        </p:nvGrpSpPr>
        <p:grpSpPr>
          <a:xfrm>
            <a:off x="4061961" y="3802799"/>
            <a:ext cx="250603" cy="306484"/>
            <a:chOff x="3221038" y="777875"/>
            <a:chExt cx="234950" cy="287338"/>
          </a:xfrm>
          <a:solidFill>
            <a:schemeClr val="bg2"/>
          </a:solidFill>
          <a:effectLst/>
        </p:grpSpPr>
        <p:sp>
          <p:nvSpPr>
            <p:cNvPr id="636" name="Freeform 41">
              <a:extLst>
                <a:ext uri="{FF2B5EF4-FFF2-40B4-BE49-F238E27FC236}">
                  <a16:creationId xmlns:a16="http://schemas.microsoft.com/office/drawing/2014/main" id="{EF2163F0-AFBA-4BFE-8204-ED3E65EF17A6}"/>
                </a:ext>
              </a:extLst>
            </p:cNvPr>
            <p:cNvSpPr>
              <a:spLocks noEditPoints="1"/>
            </p:cNvSpPr>
            <p:nvPr/>
          </p:nvSpPr>
          <p:spPr bwMode="auto">
            <a:xfrm>
              <a:off x="3221038" y="825500"/>
              <a:ext cx="106363" cy="239713"/>
            </a:xfrm>
            <a:custGeom>
              <a:avLst/>
              <a:gdLst>
                <a:gd name="T0" fmla="*/ 30 w 332"/>
                <a:gd name="T1" fmla="*/ 724 h 754"/>
                <a:gd name="T2" fmla="*/ 75 w 332"/>
                <a:gd name="T3" fmla="*/ 271 h 754"/>
                <a:gd name="T4" fmla="*/ 272 w 332"/>
                <a:gd name="T5" fmla="*/ 271 h 754"/>
                <a:gd name="T6" fmla="*/ 302 w 332"/>
                <a:gd name="T7" fmla="*/ 724 h 754"/>
                <a:gd name="T8" fmla="*/ 231 w 332"/>
                <a:gd name="T9" fmla="*/ 181 h 754"/>
                <a:gd name="T10" fmla="*/ 97 w 332"/>
                <a:gd name="T11" fmla="*/ 241 h 754"/>
                <a:gd name="T12" fmla="*/ 152 w 332"/>
                <a:gd name="T13" fmla="*/ 31 h 754"/>
                <a:gd name="T14" fmla="*/ 182 w 332"/>
                <a:gd name="T15" fmla="*/ 61 h 754"/>
                <a:gd name="T16" fmla="*/ 152 w 332"/>
                <a:gd name="T17" fmla="*/ 31 h 754"/>
                <a:gd name="T18" fmla="*/ 283 w 332"/>
                <a:gd name="T19" fmla="*/ 241 h 754"/>
                <a:gd name="T20" fmla="*/ 254 w 332"/>
                <a:gd name="T21" fmla="*/ 157 h 754"/>
                <a:gd name="T22" fmla="*/ 246 w 332"/>
                <a:gd name="T23" fmla="*/ 152 h 754"/>
                <a:gd name="T24" fmla="*/ 182 w 332"/>
                <a:gd name="T25" fmla="*/ 151 h 754"/>
                <a:gd name="T26" fmla="*/ 197 w 332"/>
                <a:gd name="T27" fmla="*/ 91 h 754"/>
                <a:gd name="T28" fmla="*/ 202 w 332"/>
                <a:gd name="T29" fmla="*/ 90 h 754"/>
                <a:gd name="T30" fmla="*/ 206 w 332"/>
                <a:gd name="T31" fmla="*/ 86 h 754"/>
                <a:gd name="T32" fmla="*/ 210 w 332"/>
                <a:gd name="T33" fmla="*/ 82 h 754"/>
                <a:gd name="T34" fmla="*/ 212 w 332"/>
                <a:gd name="T35" fmla="*/ 76 h 754"/>
                <a:gd name="T36" fmla="*/ 211 w 332"/>
                <a:gd name="T37" fmla="*/ 12 h 754"/>
                <a:gd name="T38" fmla="*/ 209 w 332"/>
                <a:gd name="T39" fmla="*/ 7 h 754"/>
                <a:gd name="T40" fmla="*/ 204 w 332"/>
                <a:gd name="T41" fmla="*/ 4 h 754"/>
                <a:gd name="T42" fmla="*/ 199 w 332"/>
                <a:gd name="T43" fmla="*/ 0 h 754"/>
                <a:gd name="T44" fmla="*/ 137 w 332"/>
                <a:gd name="T45" fmla="*/ 0 h 754"/>
                <a:gd name="T46" fmla="*/ 130 w 332"/>
                <a:gd name="T47" fmla="*/ 1 h 754"/>
                <a:gd name="T48" fmla="*/ 126 w 332"/>
                <a:gd name="T49" fmla="*/ 5 h 754"/>
                <a:gd name="T50" fmla="*/ 123 w 332"/>
                <a:gd name="T51" fmla="*/ 10 h 754"/>
                <a:gd name="T52" fmla="*/ 120 w 332"/>
                <a:gd name="T53" fmla="*/ 15 h 754"/>
                <a:gd name="T54" fmla="*/ 121 w 332"/>
                <a:gd name="T55" fmla="*/ 79 h 754"/>
                <a:gd name="T56" fmla="*/ 124 w 332"/>
                <a:gd name="T57" fmla="*/ 84 h 754"/>
                <a:gd name="T58" fmla="*/ 128 w 332"/>
                <a:gd name="T59" fmla="*/ 89 h 754"/>
                <a:gd name="T60" fmla="*/ 133 w 332"/>
                <a:gd name="T61" fmla="*/ 91 h 754"/>
                <a:gd name="T62" fmla="*/ 152 w 332"/>
                <a:gd name="T63" fmla="*/ 91 h 754"/>
                <a:gd name="T64" fmla="*/ 105 w 332"/>
                <a:gd name="T65" fmla="*/ 151 h 754"/>
                <a:gd name="T66" fmla="*/ 97 w 332"/>
                <a:gd name="T67" fmla="*/ 154 h 754"/>
                <a:gd name="T68" fmla="*/ 91 w 332"/>
                <a:gd name="T69" fmla="*/ 162 h 754"/>
                <a:gd name="T70" fmla="*/ 15 w 332"/>
                <a:gd name="T71" fmla="*/ 241 h 754"/>
                <a:gd name="T72" fmla="*/ 10 w 332"/>
                <a:gd name="T73" fmla="*/ 243 h 754"/>
                <a:gd name="T74" fmla="*/ 4 w 332"/>
                <a:gd name="T75" fmla="*/ 247 h 754"/>
                <a:gd name="T76" fmla="*/ 1 w 332"/>
                <a:gd name="T77" fmla="*/ 251 h 754"/>
                <a:gd name="T78" fmla="*/ 0 w 332"/>
                <a:gd name="T79" fmla="*/ 256 h 754"/>
                <a:gd name="T80" fmla="*/ 1 w 332"/>
                <a:gd name="T81" fmla="*/ 742 h 754"/>
                <a:gd name="T82" fmla="*/ 3 w 332"/>
                <a:gd name="T83" fmla="*/ 748 h 754"/>
                <a:gd name="T84" fmla="*/ 6 w 332"/>
                <a:gd name="T85" fmla="*/ 752 h 754"/>
                <a:gd name="T86" fmla="*/ 13 w 332"/>
                <a:gd name="T87" fmla="*/ 754 h 754"/>
                <a:gd name="T88" fmla="*/ 317 w 332"/>
                <a:gd name="T89" fmla="*/ 754 h 754"/>
                <a:gd name="T90" fmla="*/ 323 w 332"/>
                <a:gd name="T91" fmla="*/ 753 h 754"/>
                <a:gd name="T92" fmla="*/ 328 w 332"/>
                <a:gd name="T93" fmla="*/ 750 h 754"/>
                <a:gd name="T94" fmla="*/ 331 w 332"/>
                <a:gd name="T95" fmla="*/ 746 h 754"/>
                <a:gd name="T96" fmla="*/ 332 w 332"/>
                <a:gd name="T97" fmla="*/ 739 h 754"/>
                <a:gd name="T98" fmla="*/ 331 w 332"/>
                <a:gd name="T99" fmla="*/ 254 h 754"/>
                <a:gd name="T100" fmla="*/ 329 w 332"/>
                <a:gd name="T101" fmla="*/ 249 h 754"/>
                <a:gd name="T102" fmla="*/ 326 w 332"/>
                <a:gd name="T103" fmla="*/ 245 h 754"/>
                <a:gd name="T104" fmla="*/ 320 w 332"/>
                <a:gd name="T105" fmla="*/ 24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754">
                  <a:moveTo>
                    <a:pt x="302" y="724"/>
                  </a:moveTo>
                  <a:lnTo>
                    <a:pt x="30" y="724"/>
                  </a:lnTo>
                  <a:lnTo>
                    <a:pt x="30" y="271"/>
                  </a:lnTo>
                  <a:lnTo>
                    <a:pt x="75" y="271"/>
                  </a:lnTo>
                  <a:lnTo>
                    <a:pt x="272" y="271"/>
                  </a:lnTo>
                  <a:lnTo>
                    <a:pt x="272" y="271"/>
                  </a:lnTo>
                  <a:lnTo>
                    <a:pt x="302" y="271"/>
                  </a:lnTo>
                  <a:lnTo>
                    <a:pt x="302" y="724"/>
                  </a:lnTo>
                  <a:close/>
                  <a:moveTo>
                    <a:pt x="117" y="181"/>
                  </a:moveTo>
                  <a:lnTo>
                    <a:pt x="231" y="181"/>
                  </a:lnTo>
                  <a:lnTo>
                    <a:pt x="251" y="241"/>
                  </a:lnTo>
                  <a:lnTo>
                    <a:pt x="97" y="241"/>
                  </a:lnTo>
                  <a:lnTo>
                    <a:pt x="117" y="181"/>
                  </a:lnTo>
                  <a:close/>
                  <a:moveTo>
                    <a:pt x="152" y="31"/>
                  </a:moveTo>
                  <a:lnTo>
                    <a:pt x="182" y="31"/>
                  </a:lnTo>
                  <a:lnTo>
                    <a:pt x="182" y="61"/>
                  </a:lnTo>
                  <a:lnTo>
                    <a:pt x="152" y="61"/>
                  </a:lnTo>
                  <a:lnTo>
                    <a:pt x="152" y="31"/>
                  </a:lnTo>
                  <a:close/>
                  <a:moveTo>
                    <a:pt x="317" y="241"/>
                  </a:moveTo>
                  <a:lnTo>
                    <a:pt x="283" y="241"/>
                  </a:lnTo>
                  <a:lnTo>
                    <a:pt x="256" y="162"/>
                  </a:lnTo>
                  <a:lnTo>
                    <a:pt x="254" y="157"/>
                  </a:lnTo>
                  <a:lnTo>
                    <a:pt x="251" y="154"/>
                  </a:lnTo>
                  <a:lnTo>
                    <a:pt x="246" y="152"/>
                  </a:lnTo>
                  <a:lnTo>
                    <a:pt x="242" y="151"/>
                  </a:lnTo>
                  <a:lnTo>
                    <a:pt x="182" y="151"/>
                  </a:lnTo>
                  <a:lnTo>
                    <a:pt x="182" y="91"/>
                  </a:lnTo>
                  <a:lnTo>
                    <a:pt x="197" y="91"/>
                  </a:lnTo>
                  <a:lnTo>
                    <a:pt x="199" y="91"/>
                  </a:lnTo>
                  <a:lnTo>
                    <a:pt x="202" y="90"/>
                  </a:lnTo>
                  <a:lnTo>
                    <a:pt x="204" y="89"/>
                  </a:lnTo>
                  <a:lnTo>
                    <a:pt x="206" y="86"/>
                  </a:lnTo>
                  <a:lnTo>
                    <a:pt x="209" y="84"/>
                  </a:lnTo>
                  <a:lnTo>
                    <a:pt x="210" y="82"/>
                  </a:lnTo>
                  <a:lnTo>
                    <a:pt x="211" y="79"/>
                  </a:lnTo>
                  <a:lnTo>
                    <a:pt x="212" y="76"/>
                  </a:lnTo>
                  <a:lnTo>
                    <a:pt x="212" y="15"/>
                  </a:lnTo>
                  <a:lnTo>
                    <a:pt x="211" y="12"/>
                  </a:lnTo>
                  <a:lnTo>
                    <a:pt x="210" y="10"/>
                  </a:lnTo>
                  <a:lnTo>
                    <a:pt x="209" y="7"/>
                  </a:lnTo>
                  <a:lnTo>
                    <a:pt x="206" y="5"/>
                  </a:lnTo>
                  <a:lnTo>
                    <a:pt x="204" y="4"/>
                  </a:lnTo>
                  <a:lnTo>
                    <a:pt x="202" y="1"/>
                  </a:lnTo>
                  <a:lnTo>
                    <a:pt x="199" y="0"/>
                  </a:lnTo>
                  <a:lnTo>
                    <a:pt x="197" y="0"/>
                  </a:lnTo>
                  <a:lnTo>
                    <a:pt x="137" y="0"/>
                  </a:lnTo>
                  <a:lnTo>
                    <a:pt x="133" y="0"/>
                  </a:lnTo>
                  <a:lnTo>
                    <a:pt x="130" y="1"/>
                  </a:lnTo>
                  <a:lnTo>
                    <a:pt x="128" y="4"/>
                  </a:lnTo>
                  <a:lnTo>
                    <a:pt x="126" y="5"/>
                  </a:lnTo>
                  <a:lnTo>
                    <a:pt x="124" y="7"/>
                  </a:lnTo>
                  <a:lnTo>
                    <a:pt x="123" y="10"/>
                  </a:lnTo>
                  <a:lnTo>
                    <a:pt x="121" y="12"/>
                  </a:lnTo>
                  <a:lnTo>
                    <a:pt x="120" y="15"/>
                  </a:lnTo>
                  <a:lnTo>
                    <a:pt x="120" y="76"/>
                  </a:lnTo>
                  <a:lnTo>
                    <a:pt x="121" y="79"/>
                  </a:lnTo>
                  <a:lnTo>
                    <a:pt x="123" y="82"/>
                  </a:lnTo>
                  <a:lnTo>
                    <a:pt x="124" y="84"/>
                  </a:lnTo>
                  <a:lnTo>
                    <a:pt x="126" y="86"/>
                  </a:lnTo>
                  <a:lnTo>
                    <a:pt x="128" y="89"/>
                  </a:lnTo>
                  <a:lnTo>
                    <a:pt x="130" y="90"/>
                  </a:lnTo>
                  <a:lnTo>
                    <a:pt x="133" y="91"/>
                  </a:lnTo>
                  <a:lnTo>
                    <a:pt x="135" y="91"/>
                  </a:lnTo>
                  <a:lnTo>
                    <a:pt x="152" y="91"/>
                  </a:lnTo>
                  <a:lnTo>
                    <a:pt x="152" y="151"/>
                  </a:lnTo>
                  <a:lnTo>
                    <a:pt x="105" y="151"/>
                  </a:lnTo>
                  <a:lnTo>
                    <a:pt x="101" y="152"/>
                  </a:lnTo>
                  <a:lnTo>
                    <a:pt x="97" y="154"/>
                  </a:lnTo>
                  <a:lnTo>
                    <a:pt x="93" y="157"/>
                  </a:lnTo>
                  <a:lnTo>
                    <a:pt x="91" y="162"/>
                  </a:lnTo>
                  <a:lnTo>
                    <a:pt x="64" y="241"/>
                  </a:lnTo>
                  <a:lnTo>
                    <a:pt x="15" y="241"/>
                  </a:lnTo>
                  <a:lnTo>
                    <a:pt x="13" y="242"/>
                  </a:lnTo>
                  <a:lnTo>
                    <a:pt x="10" y="243"/>
                  </a:lnTo>
                  <a:lnTo>
                    <a:pt x="6" y="245"/>
                  </a:lnTo>
                  <a:lnTo>
                    <a:pt x="4" y="247"/>
                  </a:lnTo>
                  <a:lnTo>
                    <a:pt x="3" y="249"/>
                  </a:lnTo>
                  <a:lnTo>
                    <a:pt x="1" y="251"/>
                  </a:lnTo>
                  <a:lnTo>
                    <a:pt x="1" y="254"/>
                  </a:lnTo>
                  <a:lnTo>
                    <a:pt x="0" y="256"/>
                  </a:lnTo>
                  <a:lnTo>
                    <a:pt x="0" y="739"/>
                  </a:lnTo>
                  <a:lnTo>
                    <a:pt x="1" y="742"/>
                  </a:lnTo>
                  <a:lnTo>
                    <a:pt x="1" y="746"/>
                  </a:lnTo>
                  <a:lnTo>
                    <a:pt x="3" y="748"/>
                  </a:lnTo>
                  <a:lnTo>
                    <a:pt x="4" y="750"/>
                  </a:lnTo>
                  <a:lnTo>
                    <a:pt x="6" y="752"/>
                  </a:lnTo>
                  <a:lnTo>
                    <a:pt x="10" y="753"/>
                  </a:lnTo>
                  <a:lnTo>
                    <a:pt x="13" y="754"/>
                  </a:lnTo>
                  <a:lnTo>
                    <a:pt x="15" y="754"/>
                  </a:lnTo>
                  <a:lnTo>
                    <a:pt x="317" y="754"/>
                  </a:lnTo>
                  <a:lnTo>
                    <a:pt x="320" y="754"/>
                  </a:lnTo>
                  <a:lnTo>
                    <a:pt x="323" y="753"/>
                  </a:lnTo>
                  <a:lnTo>
                    <a:pt x="326" y="752"/>
                  </a:lnTo>
                  <a:lnTo>
                    <a:pt x="328" y="750"/>
                  </a:lnTo>
                  <a:lnTo>
                    <a:pt x="329" y="748"/>
                  </a:lnTo>
                  <a:lnTo>
                    <a:pt x="331" y="746"/>
                  </a:lnTo>
                  <a:lnTo>
                    <a:pt x="331" y="742"/>
                  </a:lnTo>
                  <a:lnTo>
                    <a:pt x="332" y="739"/>
                  </a:lnTo>
                  <a:lnTo>
                    <a:pt x="332" y="256"/>
                  </a:lnTo>
                  <a:lnTo>
                    <a:pt x="331" y="254"/>
                  </a:lnTo>
                  <a:lnTo>
                    <a:pt x="331" y="251"/>
                  </a:lnTo>
                  <a:lnTo>
                    <a:pt x="329" y="249"/>
                  </a:lnTo>
                  <a:lnTo>
                    <a:pt x="328" y="247"/>
                  </a:lnTo>
                  <a:lnTo>
                    <a:pt x="326" y="245"/>
                  </a:lnTo>
                  <a:lnTo>
                    <a:pt x="323" y="243"/>
                  </a:lnTo>
                  <a:lnTo>
                    <a:pt x="320" y="242"/>
                  </a:lnTo>
                  <a:lnTo>
                    <a:pt x="317"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42">
              <a:extLst>
                <a:ext uri="{FF2B5EF4-FFF2-40B4-BE49-F238E27FC236}">
                  <a16:creationId xmlns:a16="http://schemas.microsoft.com/office/drawing/2014/main" id="{3BDA5FBD-53F7-4C01-A5DF-99B4F153AC45}"/>
                </a:ext>
              </a:extLst>
            </p:cNvPr>
            <p:cNvSpPr>
              <a:spLocks/>
            </p:cNvSpPr>
            <p:nvPr/>
          </p:nvSpPr>
          <p:spPr bwMode="auto">
            <a:xfrm>
              <a:off x="3338513" y="835025"/>
              <a:ext cx="46038" cy="9525"/>
            </a:xfrm>
            <a:custGeom>
              <a:avLst/>
              <a:gdLst>
                <a:gd name="T0" fmla="*/ 129 w 144"/>
                <a:gd name="T1" fmla="*/ 0 h 30"/>
                <a:gd name="T2" fmla="*/ 15 w 144"/>
                <a:gd name="T3" fmla="*/ 0 h 30"/>
                <a:gd name="T4" fmla="*/ 12 w 144"/>
                <a:gd name="T5" fmla="*/ 0 h 30"/>
                <a:gd name="T6" fmla="*/ 9 w 144"/>
                <a:gd name="T7" fmla="*/ 1 h 30"/>
                <a:gd name="T8" fmla="*/ 6 w 144"/>
                <a:gd name="T9" fmla="*/ 3 h 30"/>
                <a:gd name="T10" fmla="*/ 4 w 144"/>
                <a:gd name="T11" fmla="*/ 4 h 30"/>
                <a:gd name="T12" fmla="*/ 2 w 144"/>
                <a:gd name="T13" fmla="*/ 6 h 30"/>
                <a:gd name="T14" fmla="*/ 1 w 144"/>
                <a:gd name="T15" fmla="*/ 9 h 30"/>
                <a:gd name="T16" fmla="*/ 0 w 144"/>
                <a:gd name="T17" fmla="*/ 11 h 30"/>
                <a:gd name="T18" fmla="*/ 0 w 144"/>
                <a:gd name="T19" fmla="*/ 15 h 30"/>
                <a:gd name="T20" fmla="*/ 0 w 144"/>
                <a:gd name="T21" fmla="*/ 18 h 30"/>
                <a:gd name="T22" fmla="*/ 1 w 144"/>
                <a:gd name="T23" fmla="*/ 21 h 30"/>
                <a:gd name="T24" fmla="*/ 2 w 144"/>
                <a:gd name="T25" fmla="*/ 23 h 30"/>
                <a:gd name="T26" fmla="*/ 4 w 144"/>
                <a:gd name="T27" fmla="*/ 25 h 30"/>
                <a:gd name="T28" fmla="*/ 6 w 144"/>
                <a:gd name="T29" fmla="*/ 27 h 30"/>
                <a:gd name="T30" fmla="*/ 9 w 144"/>
                <a:gd name="T31" fmla="*/ 29 h 30"/>
                <a:gd name="T32" fmla="*/ 12 w 144"/>
                <a:gd name="T33" fmla="*/ 30 h 30"/>
                <a:gd name="T34" fmla="*/ 15 w 144"/>
                <a:gd name="T35" fmla="*/ 30 h 30"/>
                <a:gd name="T36" fmla="*/ 129 w 144"/>
                <a:gd name="T37" fmla="*/ 30 h 30"/>
                <a:gd name="T38" fmla="*/ 132 w 144"/>
                <a:gd name="T39" fmla="*/ 30 h 30"/>
                <a:gd name="T40" fmla="*/ 135 w 144"/>
                <a:gd name="T41" fmla="*/ 29 h 30"/>
                <a:gd name="T42" fmla="*/ 137 w 144"/>
                <a:gd name="T43" fmla="*/ 27 h 30"/>
                <a:gd name="T44" fmla="*/ 140 w 144"/>
                <a:gd name="T45" fmla="*/ 25 h 30"/>
                <a:gd name="T46" fmla="*/ 142 w 144"/>
                <a:gd name="T47" fmla="*/ 23 h 30"/>
                <a:gd name="T48" fmla="*/ 143 w 144"/>
                <a:gd name="T49" fmla="*/ 21 h 30"/>
                <a:gd name="T50" fmla="*/ 144 w 144"/>
                <a:gd name="T51" fmla="*/ 18 h 30"/>
                <a:gd name="T52" fmla="*/ 144 w 144"/>
                <a:gd name="T53" fmla="*/ 15 h 30"/>
                <a:gd name="T54" fmla="*/ 144 w 144"/>
                <a:gd name="T55" fmla="*/ 11 h 30"/>
                <a:gd name="T56" fmla="*/ 143 w 144"/>
                <a:gd name="T57" fmla="*/ 9 h 30"/>
                <a:gd name="T58" fmla="*/ 142 w 144"/>
                <a:gd name="T59" fmla="*/ 6 h 30"/>
                <a:gd name="T60" fmla="*/ 140 w 144"/>
                <a:gd name="T61" fmla="*/ 4 h 30"/>
                <a:gd name="T62" fmla="*/ 137 w 144"/>
                <a:gd name="T63" fmla="*/ 3 h 30"/>
                <a:gd name="T64" fmla="*/ 135 w 144"/>
                <a:gd name="T65" fmla="*/ 1 h 30"/>
                <a:gd name="T66" fmla="*/ 132 w 144"/>
                <a:gd name="T67" fmla="*/ 0 h 30"/>
                <a:gd name="T68" fmla="*/ 129 w 144"/>
                <a:gd name="T69" fmla="*/ 0 h 30"/>
                <a:gd name="T70" fmla="*/ 129 w 144"/>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30">
                  <a:moveTo>
                    <a:pt x="129" y="0"/>
                  </a:moveTo>
                  <a:lnTo>
                    <a:pt x="15" y="0"/>
                  </a:lnTo>
                  <a:lnTo>
                    <a:pt x="12"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9"/>
                  </a:lnTo>
                  <a:lnTo>
                    <a:pt x="12" y="30"/>
                  </a:lnTo>
                  <a:lnTo>
                    <a:pt x="15" y="30"/>
                  </a:lnTo>
                  <a:lnTo>
                    <a:pt x="129" y="30"/>
                  </a:lnTo>
                  <a:lnTo>
                    <a:pt x="132" y="30"/>
                  </a:lnTo>
                  <a:lnTo>
                    <a:pt x="135" y="29"/>
                  </a:lnTo>
                  <a:lnTo>
                    <a:pt x="137" y="27"/>
                  </a:lnTo>
                  <a:lnTo>
                    <a:pt x="140" y="25"/>
                  </a:lnTo>
                  <a:lnTo>
                    <a:pt x="142" y="23"/>
                  </a:lnTo>
                  <a:lnTo>
                    <a:pt x="143" y="21"/>
                  </a:lnTo>
                  <a:lnTo>
                    <a:pt x="144" y="18"/>
                  </a:lnTo>
                  <a:lnTo>
                    <a:pt x="144" y="15"/>
                  </a:lnTo>
                  <a:lnTo>
                    <a:pt x="144" y="11"/>
                  </a:lnTo>
                  <a:lnTo>
                    <a:pt x="143" y="9"/>
                  </a:lnTo>
                  <a:lnTo>
                    <a:pt x="142" y="6"/>
                  </a:lnTo>
                  <a:lnTo>
                    <a:pt x="140" y="4"/>
                  </a:lnTo>
                  <a:lnTo>
                    <a:pt x="137" y="3"/>
                  </a:lnTo>
                  <a:lnTo>
                    <a:pt x="135" y="1"/>
                  </a:lnTo>
                  <a:lnTo>
                    <a:pt x="132"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43">
              <a:extLst>
                <a:ext uri="{FF2B5EF4-FFF2-40B4-BE49-F238E27FC236}">
                  <a16:creationId xmlns:a16="http://schemas.microsoft.com/office/drawing/2014/main" id="{109D4488-E50B-419F-94EB-B77C4E78DBE4}"/>
                </a:ext>
              </a:extLst>
            </p:cNvPr>
            <p:cNvSpPr>
              <a:spLocks/>
            </p:cNvSpPr>
            <p:nvPr/>
          </p:nvSpPr>
          <p:spPr bwMode="auto">
            <a:xfrm>
              <a:off x="3332163" y="858838"/>
              <a:ext cx="47625" cy="23813"/>
            </a:xfrm>
            <a:custGeom>
              <a:avLst/>
              <a:gdLst>
                <a:gd name="T0" fmla="*/ 141 w 151"/>
                <a:gd name="T1" fmla="*/ 46 h 75"/>
                <a:gd name="T2" fmla="*/ 21 w 151"/>
                <a:gd name="T3" fmla="*/ 1 h 75"/>
                <a:gd name="T4" fmla="*/ 18 w 151"/>
                <a:gd name="T5" fmla="*/ 0 h 75"/>
                <a:gd name="T6" fmla="*/ 14 w 151"/>
                <a:gd name="T7" fmla="*/ 0 h 75"/>
                <a:gd name="T8" fmla="*/ 12 w 151"/>
                <a:gd name="T9" fmla="*/ 1 h 75"/>
                <a:gd name="T10" fmla="*/ 9 w 151"/>
                <a:gd name="T11" fmla="*/ 1 h 75"/>
                <a:gd name="T12" fmla="*/ 7 w 151"/>
                <a:gd name="T13" fmla="*/ 3 h 75"/>
                <a:gd name="T14" fmla="*/ 5 w 151"/>
                <a:gd name="T15" fmla="*/ 5 h 75"/>
                <a:gd name="T16" fmla="*/ 2 w 151"/>
                <a:gd name="T17" fmla="*/ 7 h 75"/>
                <a:gd name="T18" fmla="*/ 1 w 151"/>
                <a:gd name="T19" fmla="*/ 9 h 75"/>
                <a:gd name="T20" fmla="*/ 0 w 151"/>
                <a:gd name="T21" fmla="*/ 13 h 75"/>
                <a:gd name="T22" fmla="*/ 0 w 151"/>
                <a:gd name="T23" fmla="*/ 16 h 75"/>
                <a:gd name="T24" fmla="*/ 0 w 151"/>
                <a:gd name="T25" fmla="*/ 19 h 75"/>
                <a:gd name="T26" fmla="*/ 1 w 151"/>
                <a:gd name="T27" fmla="*/ 21 h 75"/>
                <a:gd name="T28" fmla="*/ 2 w 151"/>
                <a:gd name="T29" fmla="*/ 23 h 75"/>
                <a:gd name="T30" fmla="*/ 5 w 151"/>
                <a:gd name="T31" fmla="*/ 26 h 75"/>
                <a:gd name="T32" fmla="*/ 7 w 151"/>
                <a:gd name="T33" fmla="*/ 28 h 75"/>
                <a:gd name="T34" fmla="*/ 10 w 151"/>
                <a:gd name="T35" fmla="*/ 29 h 75"/>
                <a:gd name="T36" fmla="*/ 130 w 151"/>
                <a:gd name="T37" fmla="*/ 74 h 75"/>
                <a:gd name="T38" fmla="*/ 133 w 151"/>
                <a:gd name="T39" fmla="*/ 75 h 75"/>
                <a:gd name="T40" fmla="*/ 136 w 151"/>
                <a:gd name="T41" fmla="*/ 75 h 75"/>
                <a:gd name="T42" fmla="*/ 140 w 151"/>
                <a:gd name="T43" fmla="*/ 75 h 75"/>
                <a:gd name="T44" fmla="*/ 144 w 151"/>
                <a:gd name="T45" fmla="*/ 73 h 75"/>
                <a:gd name="T46" fmla="*/ 148 w 151"/>
                <a:gd name="T47" fmla="*/ 70 h 75"/>
                <a:gd name="T48" fmla="*/ 150 w 151"/>
                <a:gd name="T49" fmla="*/ 65 h 75"/>
                <a:gd name="T50" fmla="*/ 151 w 151"/>
                <a:gd name="T51" fmla="*/ 62 h 75"/>
                <a:gd name="T52" fmla="*/ 151 w 151"/>
                <a:gd name="T53" fmla="*/ 60 h 75"/>
                <a:gd name="T54" fmla="*/ 151 w 151"/>
                <a:gd name="T55" fmla="*/ 57 h 75"/>
                <a:gd name="T56" fmla="*/ 150 w 151"/>
                <a:gd name="T57" fmla="*/ 55 h 75"/>
                <a:gd name="T58" fmla="*/ 148 w 151"/>
                <a:gd name="T59" fmla="*/ 51 h 75"/>
                <a:gd name="T60" fmla="*/ 147 w 151"/>
                <a:gd name="T61" fmla="*/ 49 h 75"/>
                <a:gd name="T62" fmla="*/ 143 w 151"/>
                <a:gd name="T63" fmla="*/ 47 h 75"/>
                <a:gd name="T64" fmla="*/ 141 w 151"/>
                <a:gd name="T65"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75">
                  <a:moveTo>
                    <a:pt x="141" y="46"/>
                  </a:moveTo>
                  <a:lnTo>
                    <a:pt x="21" y="1"/>
                  </a:lnTo>
                  <a:lnTo>
                    <a:pt x="18" y="0"/>
                  </a:lnTo>
                  <a:lnTo>
                    <a:pt x="14" y="0"/>
                  </a:lnTo>
                  <a:lnTo>
                    <a:pt x="12" y="1"/>
                  </a:lnTo>
                  <a:lnTo>
                    <a:pt x="9" y="1"/>
                  </a:lnTo>
                  <a:lnTo>
                    <a:pt x="7" y="3"/>
                  </a:lnTo>
                  <a:lnTo>
                    <a:pt x="5" y="5"/>
                  </a:lnTo>
                  <a:lnTo>
                    <a:pt x="2" y="7"/>
                  </a:lnTo>
                  <a:lnTo>
                    <a:pt x="1" y="9"/>
                  </a:lnTo>
                  <a:lnTo>
                    <a:pt x="0" y="13"/>
                  </a:lnTo>
                  <a:lnTo>
                    <a:pt x="0" y="16"/>
                  </a:lnTo>
                  <a:lnTo>
                    <a:pt x="0" y="19"/>
                  </a:lnTo>
                  <a:lnTo>
                    <a:pt x="1" y="21"/>
                  </a:lnTo>
                  <a:lnTo>
                    <a:pt x="2" y="23"/>
                  </a:lnTo>
                  <a:lnTo>
                    <a:pt x="5" y="26"/>
                  </a:lnTo>
                  <a:lnTo>
                    <a:pt x="7" y="28"/>
                  </a:lnTo>
                  <a:lnTo>
                    <a:pt x="10" y="29"/>
                  </a:lnTo>
                  <a:lnTo>
                    <a:pt x="130" y="74"/>
                  </a:lnTo>
                  <a:lnTo>
                    <a:pt x="133" y="75"/>
                  </a:lnTo>
                  <a:lnTo>
                    <a:pt x="136" y="75"/>
                  </a:lnTo>
                  <a:lnTo>
                    <a:pt x="140" y="75"/>
                  </a:lnTo>
                  <a:lnTo>
                    <a:pt x="144" y="73"/>
                  </a:lnTo>
                  <a:lnTo>
                    <a:pt x="148" y="70"/>
                  </a:lnTo>
                  <a:lnTo>
                    <a:pt x="150" y="65"/>
                  </a:lnTo>
                  <a:lnTo>
                    <a:pt x="151" y="62"/>
                  </a:lnTo>
                  <a:lnTo>
                    <a:pt x="151" y="60"/>
                  </a:lnTo>
                  <a:lnTo>
                    <a:pt x="151" y="57"/>
                  </a:lnTo>
                  <a:lnTo>
                    <a:pt x="150" y="55"/>
                  </a:lnTo>
                  <a:lnTo>
                    <a:pt x="148" y="51"/>
                  </a:lnTo>
                  <a:lnTo>
                    <a:pt x="147" y="49"/>
                  </a:lnTo>
                  <a:lnTo>
                    <a:pt x="143" y="47"/>
                  </a:lnTo>
                  <a:lnTo>
                    <a:pt x="14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44">
              <a:extLst>
                <a:ext uri="{FF2B5EF4-FFF2-40B4-BE49-F238E27FC236}">
                  <a16:creationId xmlns:a16="http://schemas.microsoft.com/office/drawing/2014/main" id="{DDE23AE8-7564-4785-AAA6-A370A69EAAF5}"/>
                </a:ext>
              </a:extLst>
            </p:cNvPr>
            <p:cNvSpPr>
              <a:spLocks/>
            </p:cNvSpPr>
            <p:nvPr/>
          </p:nvSpPr>
          <p:spPr bwMode="auto">
            <a:xfrm>
              <a:off x="3332163" y="801688"/>
              <a:ext cx="47625" cy="23813"/>
            </a:xfrm>
            <a:custGeom>
              <a:avLst/>
              <a:gdLst>
                <a:gd name="T0" fmla="*/ 15 w 151"/>
                <a:gd name="T1" fmla="*/ 75 h 75"/>
                <a:gd name="T2" fmla="*/ 18 w 151"/>
                <a:gd name="T3" fmla="*/ 75 h 75"/>
                <a:gd name="T4" fmla="*/ 21 w 151"/>
                <a:gd name="T5" fmla="*/ 74 h 75"/>
                <a:gd name="T6" fmla="*/ 141 w 151"/>
                <a:gd name="T7" fmla="*/ 29 h 75"/>
                <a:gd name="T8" fmla="*/ 143 w 151"/>
                <a:gd name="T9" fmla="*/ 28 h 75"/>
                <a:gd name="T10" fmla="*/ 147 w 151"/>
                <a:gd name="T11" fmla="*/ 26 h 75"/>
                <a:gd name="T12" fmla="*/ 148 w 151"/>
                <a:gd name="T13" fmla="*/ 24 h 75"/>
                <a:gd name="T14" fmla="*/ 150 w 151"/>
                <a:gd name="T15" fmla="*/ 22 h 75"/>
                <a:gd name="T16" fmla="*/ 151 w 151"/>
                <a:gd name="T17" fmla="*/ 18 h 75"/>
                <a:gd name="T18" fmla="*/ 151 w 151"/>
                <a:gd name="T19" fmla="*/ 16 h 75"/>
                <a:gd name="T20" fmla="*/ 151 w 151"/>
                <a:gd name="T21" fmla="*/ 13 h 75"/>
                <a:gd name="T22" fmla="*/ 150 w 151"/>
                <a:gd name="T23" fmla="*/ 10 h 75"/>
                <a:gd name="T24" fmla="*/ 149 w 151"/>
                <a:gd name="T25" fmla="*/ 8 h 75"/>
                <a:gd name="T26" fmla="*/ 147 w 151"/>
                <a:gd name="T27" fmla="*/ 4 h 75"/>
                <a:gd name="T28" fmla="*/ 144 w 151"/>
                <a:gd name="T29" fmla="*/ 3 h 75"/>
                <a:gd name="T30" fmla="*/ 142 w 151"/>
                <a:gd name="T31" fmla="*/ 1 h 75"/>
                <a:gd name="T32" fmla="*/ 139 w 151"/>
                <a:gd name="T33" fmla="*/ 0 h 75"/>
                <a:gd name="T34" fmla="*/ 137 w 151"/>
                <a:gd name="T35" fmla="*/ 0 h 75"/>
                <a:gd name="T36" fmla="*/ 134 w 151"/>
                <a:gd name="T37" fmla="*/ 0 h 75"/>
                <a:gd name="T38" fmla="*/ 130 w 151"/>
                <a:gd name="T39" fmla="*/ 1 h 75"/>
                <a:gd name="T40" fmla="*/ 10 w 151"/>
                <a:gd name="T41" fmla="*/ 46 h 75"/>
                <a:gd name="T42" fmla="*/ 7 w 151"/>
                <a:gd name="T43" fmla="*/ 47 h 75"/>
                <a:gd name="T44" fmla="*/ 5 w 151"/>
                <a:gd name="T45" fmla="*/ 50 h 75"/>
                <a:gd name="T46" fmla="*/ 2 w 151"/>
                <a:gd name="T47" fmla="*/ 52 h 75"/>
                <a:gd name="T48" fmla="*/ 1 w 151"/>
                <a:gd name="T49" fmla="*/ 54 h 75"/>
                <a:gd name="T50" fmla="*/ 0 w 151"/>
                <a:gd name="T51" fmla="*/ 57 h 75"/>
                <a:gd name="T52" fmla="*/ 0 w 151"/>
                <a:gd name="T53" fmla="*/ 60 h 75"/>
                <a:gd name="T54" fmla="*/ 0 w 151"/>
                <a:gd name="T55" fmla="*/ 63 h 75"/>
                <a:gd name="T56" fmla="*/ 1 w 151"/>
                <a:gd name="T57" fmla="*/ 66 h 75"/>
                <a:gd name="T58" fmla="*/ 4 w 151"/>
                <a:gd name="T59" fmla="*/ 70 h 75"/>
                <a:gd name="T60" fmla="*/ 7 w 151"/>
                <a:gd name="T61" fmla="*/ 73 h 75"/>
                <a:gd name="T62" fmla="*/ 11 w 151"/>
                <a:gd name="T63" fmla="*/ 74 h 75"/>
                <a:gd name="T64" fmla="*/ 15 w 151"/>
                <a:gd name="T6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75">
                  <a:moveTo>
                    <a:pt x="15" y="75"/>
                  </a:moveTo>
                  <a:lnTo>
                    <a:pt x="18" y="75"/>
                  </a:lnTo>
                  <a:lnTo>
                    <a:pt x="21" y="74"/>
                  </a:lnTo>
                  <a:lnTo>
                    <a:pt x="141" y="29"/>
                  </a:lnTo>
                  <a:lnTo>
                    <a:pt x="143" y="28"/>
                  </a:lnTo>
                  <a:lnTo>
                    <a:pt x="147" y="26"/>
                  </a:lnTo>
                  <a:lnTo>
                    <a:pt x="148" y="24"/>
                  </a:lnTo>
                  <a:lnTo>
                    <a:pt x="150" y="22"/>
                  </a:lnTo>
                  <a:lnTo>
                    <a:pt x="151" y="18"/>
                  </a:lnTo>
                  <a:lnTo>
                    <a:pt x="151" y="16"/>
                  </a:lnTo>
                  <a:lnTo>
                    <a:pt x="151" y="13"/>
                  </a:lnTo>
                  <a:lnTo>
                    <a:pt x="150" y="10"/>
                  </a:lnTo>
                  <a:lnTo>
                    <a:pt x="149" y="8"/>
                  </a:lnTo>
                  <a:lnTo>
                    <a:pt x="147" y="4"/>
                  </a:lnTo>
                  <a:lnTo>
                    <a:pt x="144" y="3"/>
                  </a:lnTo>
                  <a:lnTo>
                    <a:pt x="142" y="1"/>
                  </a:lnTo>
                  <a:lnTo>
                    <a:pt x="139" y="0"/>
                  </a:lnTo>
                  <a:lnTo>
                    <a:pt x="137" y="0"/>
                  </a:lnTo>
                  <a:lnTo>
                    <a:pt x="134" y="0"/>
                  </a:lnTo>
                  <a:lnTo>
                    <a:pt x="130" y="1"/>
                  </a:lnTo>
                  <a:lnTo>
                    <a:pt x="10" y="46"/>
                  </a:lnTo>
                  <a:lnTo>
                    <a:pt x="7" y="47"/>
                  </a:lnTo>
                  <a:lnTo>
                    <a:pt x="5" y="50"/>
                  </a:lnTo>
                  <a:lnTo>
                    <a:pt x="2" y="52"/>
                  </a:lnTo>
                  <a:lnTo>
                    <a:pt x="1" y="54"/>
                  </a:lnTo>
                  <a:lnTo>
                    <a:pt x="0" y="57"/>
                  </a:lnTo>
                  <a:lnTo>
                    <a:pt x="0" y="60"/>
                  </a:lnTo>
                  <a:lnTo>
                    <a:pt x="0" y="63"/>
                  </a:lnTo>
                  <a:lnTo>
                    <a:pt x="1" y="66"/>
                  </a:lnTo>
                  <a:lnTo>
                    <a:pt x="4" y="70"/>
                  </a:lnTo>
                  <a:lnTo>
                    <a:pt x="7" y="73"/>
                  </a:lnTo>
                  <a:lnTo>
                    <a:pt x="11" y="74"/>
                  </a:lnTo>
                  <a:lnTo>
                    <a:pt x="1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45">
              <a:extLst>
                <a:ext uri="{FF2B5EF4-FFF2-40B4-BE49-F238E27FC236}">
                  <a16:creationId xmlns:a16="http://schemas.microsoft.com/office/drawing/2014/main" id="{FC23844C-72E5-45A7-8254-26C356723284}"/>
                </a:ext>
              </a:extLst>
            </p:cNvPr>
            <p:cNvSpPr>
              <a:spLocks/>
            </p:cNvSpPr>
            <p:nvPr/>
          </p:nvSpPr>
          <p:spPr bwMode="auto">
            <a:xfrm>
              <a:off x="3398838" y="777875"/>
              <a:ext cx="57150" cy="130175"/>
            </a:xfrm>
            <a:custGeom>
              <a:avLst/>
              <a:gdLst>
                <a:gd name="T0" fmla="*/ 181 w 182"/>
                <a:gd name="T1" fmla="*/ 187 h 411"/>
                <a:gd name="T2" fmla="*/ 174 w 182"/>
                <a:gd name="T3" fmla="*/ 161 h 411"/>
                <a:gd name="T4" fmla="*/ 163 w 182"/>
                <a:gd name="T5" fmla="*/ 139 h 411"/>
                <a:gd name="T6" fmla="*/ 145 w 182"/>
                <a:gd name="T7" fmla="*/ 120 h 411"/>
                <a:gd name="T8" fmla="*/ 125 w 182"/>
                <a:gd name="T9" fmla="*/ 106 h 411"/>
                <a:gd name="T10" fmla="*/ 109 w 182"/>
                <a:gd name="T11" fmla="*/ 91 h 411"/>
                <a:gd name="T12" fmla="*/ 107 w 182"/>
                <a:gd name="T13" fmla="*/ 67 h 411"/>
                <a:gd name="T14" fmla="*/ 96 w 182"/>
                <a:gd name="T15" fmla="*/ 45 h 411"/>
                <a:gd name="T16" fmla="*/ 76 w 182"/>
                <a:gd name="T17" fmla="*/ 21 h 411"/>
                <a:gd name="T18" fmla="*/ 47 w 182"/>
                <a:gd name="T19" fmla="*/ 5 h 411"/>
                <a:gd name="T20" fmla="*/ 15 w 182"/>
                <a:gd name="T21" fmla="*/ 0 h 411"/>
                <a:gd name="T22" fmla="*/ 7 w 182"/>
                <a:gd name="T23" fmla="*/ 2 h 411"/>
                <a:gd name="T24" fmla="*/ 1 w 182"/>
                <a:gd name="T25" fmla="*/ 10 h 411"/>
                <a:gd name="T26" fmla="*/ 0 w 182"/>
                <a:gd name="T27" fmla="*/ 18 h 411"/>
                <a:gd name="T28" fmla="*/ 4 w 182"/>
                <a:gd name="T29" fmla="*/ 26 h 411"/>
                <a:gd name="T30" fmla="*/ 12 w 182"/>
                <a:gd name="T31" fmla="*/ 30 h 411"/>
                <a:gd name="T32" fmla="*/ 30 w 182"/>
                <a:gd name="T33" fmla="*/ 32 h 411"/>
                <a:gd name="T34" fmla="*/ 51 w 182"/>
                <a:gd name="T35" fmla="*/ 41 h 411"/>
                <a:gd name="T36" fmla="*/ 68 w 182"/>
                <a:gd name="T37" fmla="*/ 56 h 411"/>
                <a:gd name="T38" fmla="*/ 76 w 182"/>
                <a:gd name="T39" fmla="*/ 73 h 411"/>
                <a:gd name="T40" fmla="*/ 79 w 182"/>
                <a:gd name="T41" fmla="*/ 92 h 411"/>
                <a:gd name="T42" fmla="*/ 76 w 182"/>
                <a:gd name="T43" fmla="*/ 108 h 411"/>
                <a:gd name="T44" fmla="*/ 79 w 182"/>
                <a:gd name="T45" fmla="*/ 118 h 411"/>
                <a:gd name="T46" fmla="*/ 85 w 182"/>
                <a:gd name="T47" fmla="*/ 124 h 411"/>
                <a:gd name="T48" fmla="*/ 102 w 182"/>
                <a:gd name="T49" fmla="*/ 129 h 411"/>
                <a:gd name="T50" fmla="*/ 119 w 182"/>
                <a:gd name="T51" fmla="*/ 139 h 411"/>
                <a:gd name="T52" fmla="*/ 135 w 182"/>
                <a:gd name="T53" fmla="*/ 153 h 411"/>
                <a:gd name="T54" fmla="*/ 145 w 182"/>
                <a:gd name="T55" fmla="*/ 170 h 411"/>
                <a:gd name="T56" fmla="*/ 151 w 182"/>
                <a:gd name="T57" fmla="*/ 190 h 411"/>
                <a:gd name="T58" fmla="*/ 152 w 182"/>
                <a:gd name="T59" fmla="*/ 213 h 411"/>
                <a:gd name="T60" fmla="*/ 147 w 182"/>
                <a:gd name="T61" fmla="*/ 234 h 411"/>
                <a:gd name="T62" fmla="*/ 139 w 182"/>
                <a:gd name="T63" fmla="*/ 254 h 411"/>
                <a:gd name="T64" fmla="*/ 126 w 182"/>
                <a:gd name="T65" fmla="*/ 269 h 411"/>
                <a:gd name="T66" fmla="*/ 109 w 182"/>
                <a:gd name="T67" fmla="*/ 279 h 411"/>
                <a:gd name="T68" fmla="*/ 88 w 182"/>
                <a:gd name="T69" fmla="*/ 285 h 411"/>
                <a:gd name="T70" fmla="*/ 80 w 182"/>
                <a:gd name="T71" fmla="*/ 290 h 411"/>
                <a:gd name="T72" fmla="*/ 76 w 182"/>
                <a:gd name="T73" fmla="*/ 300 h 411"/>
                <a:gd name="T74" fmla="*/ 80 w 182"/>
                <a:gd name="T75" fmla="*/ 312 h 411"/>
                <a:gd name="T76" fmla="*/ 83 w 182"/>
                <a:gd name="T77" fmla="*/ 330 h 411"/>
                <a:gd name="T78" fmla="*/ 79 w 182"/>
                <a:gd name="T79" fmla="*/ 346 h 411"/>
                <a:gd name="T80" fmla="*/ 65 w 182"/>
                <a:gd name="T81" fmla="*/ 363 h 411"/>
                <a:gd name="T82" fmla="*/ 42 w 182"/>
                <a:gd name="T83" fmla="*/ 375 h 411"/>
                <a:gd name="T84" fmla="*/ 15 w 182"/>
                <a:gd name="T85" fmla="*/ 381 h 411"/>
                <a:gd name="T86" fmla="*/ 7 w 182"/>
                <a:gd name="T87" fmla="*/ 383 h 411"/>
                <a:gd name="T88" fmla="*/ 1 w 182"/>
                <a:gd name="T89" fmla="*/ 389 h 411"/>
                <a:gd name="T90" fmla="*/ 0 w 182"/>
                <a:gd name="T91" fmla="*/ 398 h 411"/>
                <a:gd name="T92" fmla="*/ 4 w 182"/>
                <a:gd name="T93" fmla="*/ 405 h 411"/>
                <a:gd name="T94" fmla="*/ 12 w 182"/>
                <a:gd name="T95" fmla="*/ 410 h 411"/>
                <a:gd name="T96" fmla="*/ 41 w 182"/>
                <a:gd name="T97" fmla="*/ 407 h 411"/>
                <a:gd name="T98" fmla="*/ 76 w 182"/>
                <a:gd name="T99" fmla="*/ 392 h 411"/>
                <a:gd name="T100" fmla="*/ 101 w 182"/>
                <a:gd name="T101" fmla="*/ 367 h 411"/>
                <a:gd name="T102" fmla="*/ 110 w 182"/>
                <a:gd name="T103" fmla="*/ 347 h 411"/>
                <a:gd name="T104" fmla="*/ 113 w 182"/>
                <a:gd name="T105" fmla="*/ 326 h 411"/>
                <a:gd name="T106" fmla="*/ 118 w 182"/>
                <a:gd name="T107" fmla="*/ 307 h 411"/>
                <a:gd name="T108" fmla="*/ 140 w 182"/>
                <a:gd name="T109" fmla="*/ 296 h 411"/>
                <a:gd name="T110" fmla="*/ 158 w 182"/>
                <a:gd name="T111" fmla="*/ 278 h 411"/>
                <a:gd name="T112" fmla="*/ 171 w 182"/>
                <a:gd name="T113" fmla="*/ 257 h 411"/>
                <a:gd name="T114" fmla="*/ 180 w 182"/>
                <a:gd name="T115" fmla="*/ 233 h 411"/>
                <a:gd name="T116" fmla="*/ 182 w 182"/>
                <a:gd name="T117" fmla="*/ 20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411">
                  <a:moveTo>
                    <a:pt x="182" y="205"/>
                  </a:moveTo>
                  <a:lnTo>
                    <a:pt x="182" y="196"/>
                  </a:lnTo>
                  <a:lnTo>
                    <a:pt x="181" y="187"/>
                  </a:lnTo>
                  <a:lnTo>
                    <a:pt x="180" y="178"/>
                  </a:lnTo>
                  <a:lnTo>
                    <a:pt x="176" y="170"/>
                  </a:lnTo>
                  <a:lnTo>
                    <a:pt x="174" y="161"/>
                  </a:lnTo>
                  <a:lnTo>
                    <a:pt x="171" y="154"/>
                  </a:lnTo>
                  <a:lnTo>
                    <a:pt x="167" y="146"/>
                  </a:lnTo>
                  <a:lnTo>
                    <a:pt x="163" y="139"/>
                  </a:lnTo>
                  <a:lnTo>
                    <a:pt x="157" y="132"/>
                  </a:lnTo>
                  <a:lnTo>
                    <a:pt x="152" y="126"/>
                  </a:lnTo>
                  <a:lnTo>
                    <a:pt x="145" y="120"/>
                  </a:lnTo>
                  <a:lnTo>
                    <a:pt x="139" y="115"/>
                  </a:lnTo>
                  <a:lnTo>
                    <a:pt x="132" y="111"/>
                  </a:lnTo>
                  <a:lnTo>
                    <a:pt x="125" y="106"/>
                  </a:lnTo>
                  <a:lnTo>
                    <a:pt x="116" y="102"/>
                  </a:lnTo>
                  <a:lnTo>
                    <a:pt x="109" y="99"/>
                  </a:lnTo>
                  <a:lnTo>
                    <a:pt x="109" y="91"/>
                  </a:lnTo>
                  <a:lnTo>
                    <a:pt x="109" y="83"/>
                  </a:lnTo>
                  <a:lnTo>
                    <a:pt x="108" y="75"/>
                  </a:lnTo>
                  <a:lnTo>
                    <a:pt x="107" y="67"/>
                  </a:lnTo>
                  <a:lnTo>
                    <a:pt x="103" y="59"/>
                  </a:lnTo>
                  <a:lnTo>
                    <a:pt x="100" y="51"/>
                  </a:lnTo>
                  <a:lnTo>
                    <a:pt x="96" y="45"/>
                  </a:lnTo>
                  <a:lnTo>
                    <a:pt x="92" y="37"/>
                  </a:lnTo>
                  <a:lnTo>
                    <a:pt x="84" y="29"/>
                  </a:lnTo>
                  <a:lnTo>
                    <a:pt x="76" y="21"/>
                  </a:lnTo>
                  <a:lnTo>
                    <a:pt x="68" y="15"/>
                  </a:lnTo>
                  <a:lnTo>
                    <a:pt x="58" y="10"/>
                  </a:lnTo>
                  <a:lnTo>
                    <a:pt x="47" y="5"/>
                  </a:lnTo>
                  <a:lnTo>
                    <a:pt x="37" y="2"/>
                  </a:lnTo>
                  <a:lnTo>
                    <a:pt x="26" y="1"/>
                  </a:lnTo>
                  <a:lnTo>
                    <a:pt x="15" y="0"/>
                  </a:lnTo>
                  <a:lnTo>
                    <a:pt x="12" y="0"/>
                  </a:lnTo>
                  <a:lnTo>
                    <a:pt x="9" y="1"/>
                  </a:lnTo>
                  <a:lnTo>
                    <a:pt x="7" y="2"/>
                  </a:lnTo>
                  <a:lnTo>
                    <a:pt x="4" y="4"/>
                  </a:lnTo>
                  <a:lnTo>
                    <a:pt x="2" y="6"/>
                  </a:lnTo>
                  <a:lnTo>
                    <a:pt x="1" y="10"/>
                  </a:lnTo>
                  <a:lnTo>
                    <a:pt x="0" y="12"/>
                  </a:lnTo>
                  <a:lnTo>
                    <a:pt x="0" y="15"/>
                  </a:lnTo>
                  <a:lnTo>
                    <a:pt x="0" y="18"/>
                  </a:lnTo>
                  <a:lnTo>
                    <a:pt x="1" y="20"/>
                  </a:lnTo>
                  <a:lnTo>
                    <a:pt x="2" y="24"/>
                  </a:lnTo>
                  <a:lnTo>
                    <a:pt x="4" y="26"/>
                  </a:lnTo>
                  <a:lnTo>
                    <a:pt x="7" y="28"/>
                  </a:lnTo>
                  <a:lnTo>
                    <a:pt x="9" y="29"/>
                  </a:lnTo>
                  <a:lnTo>
                    <a:pt x="12" y="30"/>
                  </a:lnTo>
                  <a:lnTo>
                    <a:pt x="15" y="30"/>
                  </a:lnTo>
                  <a:lnTo>
                    <a:pt x="23" y="30"/>
                  </a:lnTo>
                  <a:lnTo>
                    <a:pt x="30" y="32"/>
                  </a:lnTo>
                  <a:lnTo>
                    <a:pt x="38" y="34"/>
                  </a:lnTo>
                  <a:lnTo>
                    <a:pt x="44" y="36"/>
                  </a:lnTo>
                  <a:lnTo>
                    <a:pt x="51" y="41"/>
                  </a:lnTo>
                  <a:lnTo>
                    <a:pt x="57" y="45"/>
                  </a:lnTo>
                  <a:lnTo>
                    <a:pt x="62" y="50"/>
                  </a:lnTo>
                  <a:lnTo>
                    <a:pt x="68" y="56"/>
                  </a:lnTo>
                  <a:lnTo>
                    <a:pt x="71" y="61"/>
                  </a:lnTo>
                  <a:lnTo>
                    <a:pt x="74" y="68"/>
                  </a:lnTo>
                  <a:lnTo>
                    <a:pt x="76" y="73"/>
                  </a:lnTo>
                  <a:lnTo>
                    <a:pt x="78" y="79"/>
                  </a:lnTo>
                  <a:lnTo>
                    <a:pt x="79" y="86"/>
                  </a:lnTo>
                  <a:lnTo>
                    <a:pt x="79" y="92"/>
                  </a:lnTo>
                  <a:lnTo>
                    <a:pt x="79" y="99"/>
                  </a:lnTo>
                  <a:lnTo>
                    <a:pt x="76" y="106"/>
                  </a:lnTo>
                  <a:lnTo>
                    <a:pt x="76" y="108"/>
                  </a:lnTo>
                  <a:lnTo>
                    <a:pt x="76" y="112"/>
                  </a:lnTo>
                  <a:lnTo>
                    <a:pt x="76" y="115"/>
                  </a:lnTo>
                  <a:lnTo>
                    <a:pt x="79" y="118"/>
                  </a:lnTo>
                  <a:lnTo>
                    <a:pt x="80" y="120"/>
                  </a:lnTo>
                  <a:lnTo>
                    <a:pt x="83" y="122"/>
                  </a:lnTo>
                  <a:lnTo>
                    <a:pt x="85" y="124"/>
                  </a:lnTo>
                  <a:lnTo>
                    <a:pt x="88" y="125"/>
                  </a:lnTo>
                  <a:lnTo>
                    <a:pt x="95" y="127"/>
                  </a:lnTo>
                  <a:lnTo>
                    <a:pt x="102" y="129"/>
                  </a:lnTo>
                  <a:lnTo>
                    <a:pt x="109" y="131"/>
                  </a:lnTo>
                  <a:lnTo>
                    <a:pt x="114" y="134"/>
                  </a:lnTo>
                  <a:lnTo>
                    <a:pt x="119" y="139"/>
                  </a:lnTo>
                  <a:lnTo>
                    <a:pt x="125" y="143"/>
                  </a:lnTo>
                  <a:lnTo>
                    <a:pt x="130" y="147"/>
                  </a:lnTo>
                  <a:lnTo>
                    <a:pt x="135" y="153"/>
                  </a:lnTo>
                  <a:lnTo>
                    <a:pt x="139" y="158"/>
                  </a:lnTo>
                  <a:lnTo>
                    <a:pt x="142" y="163"/>
                  </a:lnTo>
                  <a:lnTo>
                    <a:pt x="145" y="170"/>
                  </a:lnTo>
                  <a:lnTo>
                    <a:pt x="147" y="176"/>
                  </a:lnTo>
                  <a:lnTo>
                    <a:pt x="150" y="184"/>
                  </a:lnTo>
                  <a:lnTo>
                    <a:pt x="151" y="190"/>
                  </a:lnTo>
                  <a:lnTo>
                    <a:pt x="152" y="198"/>
                  </a:lnTo>
                  <a:lnTo>
                    <a:pt x="152" y="205"/>
                  </a:lnTo>
                  <a:lnTo>
                    <a:pt x="152" y="213"/>
                  </a:lnTo>
                  <a:lnTo>
                    <a:pt x="151" y="220"/>
                  </a:lnTo>
                  <a:lnTo>
                    <a:pt x="150" y="228"/>
                  </a:lnTo>
                  <a:lnTo>
                    <a:pt x="147" y="234"/>
                  </a:lnTo>
                  <a:lnTo>
                    <a:pt x="145" y="242"/>
                  </a:lnTo>
                  <a:lnTo>
                    <a:pt x="142" y="247"/>
                  </a:lnTo>
                  <a:lnTo>
                    <a:pt x="139" y="254"/>
                  </a:lnTo>
                  <a:lnTo>
                    <a:pt x="135" y="259"/>
                  </a:lnTo>
                  <a:lnTo>
                    <a:pt x="130" y="263"/>
                  </a:lnTo>
                  <a:lnTo>
                    <a:pt x="126" y="269"/>
                  </a:lnTo>
                  <a:lnTo>
                    <a:pt x="121" y="272"/>
                  </a:lnTo>
                  <a:lnTo>
                    <a:pt x="115" y="276"/>
                  </a:lnTo>
                  <a:lnTo>
                    <a:pt x="109" y="279"/>
                  </a:lnTo>
                  <a:lnTo>
                    <a:pt x="102" y="282"/>
                  </a:lnTo>
                  <a:lnTo>
                    <a:pt x="96" y="284"/>
                  </a:lnTo>
                  <a:lnTo>
                    <a:pt x="88" y="285"/>
                  </a:lnTo>
                  <a:lnTo>
                    <a:pt x="85" y="286"/>
                  </a:lnTo>
                  <a:lnTo>
                    <a:pt x="82" y="288"/>
                  </a:lnTo>
                  <a:lnTo>
                    <a:pt x="80" y="290"/>
                  </a:lnTo>
                  <a:lnTo>
                    <a:pt x="78" y="293"/>
                  </a:lnTo>
                  <a:lnTo>
                    <a:pt x="76" y="297"/>
                  </a:lnTo>
                  <a:lnTo>
                    <a:pt x="76" y="300"/>
                  </a:lnTo>
                  <a:lnTo>
                    <a:pt x="76" y="303"/>
                  </a:lnTo>
                  <a:lnTo>
                    <a:pt x="78" y="306"/>
                  </a:lnTo>
                  <a:lnTo>
                    <a:pt x="80" y="312"/>
                  </a:lnTo>
                  <a:lnTo>
                    <a:pt x="82" y="318"/>
                  </a:lnTo>
                  <a:lnTo>
                    <a:pt x="82" y="324"/>
                  </a:lnTo>
                  <a:lnTo>
                    <a:pt x="83" y="330"/>
                  </a:lnTo>
                  <a:lnTo>
                    <a:pt x="82" y="335"/>
                  </a:lnTo>
                  <a:lnTo>
                    <a:pt x="81" y="341"/>
                  </a:lnTo>
                  <a:lnTo>
                    <a:pt x="79" y="346"/>
                  </a:lnTo>
                  <a:lnTo>
                    <a:pt x="75" y="350"/>
                  </a:lnTo>
                  <a:lnTo>
                    <a:pt x="71" y="357"/>
                  </a:lnTo>
                  <a:lnTo>
                    <a:pt x="65" y="363"/>
                  </a:lnTo>
                  <a:lnTo>
                    <a:pt x="58" y="368"/>
                  </a:lnTo>
                  <a:lnTo>
                    <a:pt x="51" y="372"/>
                  </a:lnTo>
                  <a:lnTo>
                    <a:pt x="42" y="375"/>
                  </a:lnTo>
                  <a:lnTo>
                    <a:pt x="33" y="378"/>
                  </a:lnTo>
                  <a:lnTo>
                    <a:pt x="25" y="379"/>
                  </a:lnTo>
                  <a:lnTo>
                    <a:pt x="15" y="381"/>
                  </a:lnTo>
                  <a:lnTo>
                    <a:pt x="12" y="381"/>
                  </a:lnTo>
                  <a:lnTo>
                    <a:pt x="9" y="382"/>
                  </a:lnTo>
                  <a:lnTo>
                    <a:pt x="7" y="383"/>
                  </a:lnTo>
                  <a:lnTo>
                    <a:pt x="4" y="385"/>
                  </a:lnTo>
                  <a:lnTo>
                    <a:pt x="2" y="387"/>
                  </a:lnTo>
                  <a:lnTo>
                    <a:pt x="1" y="389"/>
                  </a:lnTo>
                  <a:lnTo>
                    <a:pt x="0" y="392"/>
                  </a:lnTo>
                  <a:lnTo>
                    <a:pt x="0" y="396"/>
                  </a:lnTo>
                  <a:lnTo>
                    <a:pt x="0" y="398"/>
                  </a:lnTo>
                  <a:lnTo>
                    <a:pt x="1" y="401"/>
                  </a:lnTo>
                  <a:lnTo>
                    <a:pt x="2" y="403"/>
                  </a:lnTo>
                  <a:lnTo>
                    <a:pt x="4" y="405"/>
                  </a:lnTo>
                  <a:lnTo>
                    <a:pt x="7" y="407"/>
                  </a:lnTo>
                  <a:lnTo>
                    <a:pt x="9" y="408"/>
                  </a:lnTo>
                  <a:lnTo>
                    <a:pt x="12" y="410"/>
                  </a:lnTo>
                  <a:lnTo>
                    <a:pt x="15" y="411"/>
                  </a:lnTo>
                  <a:lnTo>
                    <a:pt x="28" y="410"/>
                  </a:lnTo>
                  <a:lnTo>
                    <a:pt x="41" y="407"/>
                  </a:lnTo>
                  <a:lnTo>
                    <a:pt x="54" y="403"/>
                  </a:lnTo>
                  <a:lnTo>
                    <a:pt x="66" y="399"/>
                  </a:lnTo>
                  <a:lnTo>
                    <a:pt x="76" y="392"/>
                  </a:lnTo>
                  <a:lnTo>
                    <a:pt x="86" y="385"/>
                  </a:lnTo>
                  <a:lnTo>
                    <a:pt x="94" y="376"/>
                  </a:lnTo>
                  <a:lnTo>
                    <a:pt x="101" y="367"/>
                  </a:lnTo>
                  <a:lnTo>
                    <a:pt x="104" y="360"/>
                  </a:lnTo>
                  <a:lnTo>
                    <a:pt x="108" y="354"/>
                  </a:lnTo>
                  <a:lnTo>
                    <a:pt x="110" y="347"/>
                  </a:lnTo>
                  <a:lnTo>
                    <a:pt x="112" y="340"/>
                  </a:lnTo>
                  <a:lnTo>
                    <a:pt x="113" y="333"/>
                  </a:lnTo>
                  <a:lnTo>
                    <a:pt x="113" y="326"/>
                  </a:lnTo>
                  <a:lnTo>
                    <a:pt x="112" y="318"/>
                  </a:lnTo>
                  <a:lnTo>
                    <a:pt x="111" y="311"/>
                  </a:lnTo>
                  <a:lnTo>
                    <a:pt x="118" y="307"/>
                  </a:lnTo>
                  <a:lnTo>
                    <a:pt x="126" y="304"/>
                  </a:lnTo>
                  <a:lnTo>
                    <a:pt x="133" y="300"/>
                  </a:lnTo>
                  <a:lnTo>
                    <a:pt x="140" y="296"/>
                  </a:lnTo>
                  <a:lnTo>
                    <a:pt x="146" y="290"/>
                  </a:lnTo>
                  <a:lnTo>
                    <a:pt x="153" y="285"/>
                  </a:lnTo>
                  <a:lnTo>
                    <a:pt x="158" y="278"/>
                  </a:lnTo>
                  <a:lnTo>
                    <a:pt x="163" y="272"/>
                  </a:lnTo>
                  <a:lnTo>
                    <a:pt x="167" y="264"/>
                  </a:lnTo>
                  <a:lnTo>
                    <a:pt x="171" y="257"/>
                  </a:lnTo>
                  <a:lnTo>
                    <a:pt x="174" y="249"/>
                  </a:lnTo>
                  <a:lnTo>
                    <a:pt x="178" y="242"/>
                  </a:lnTo>
                  <a:lnTo>
                    <a:pt x="180" y="233"/>
                  </a:lnTo>
                  <a:lnTo>
                    <a:pt x="181" y="224"/>
                  </a:lnTo>
                  <a:lnTo>
                    <a:pt x="182" y="215"/>
                  </a:lnTo>
                  <a:lnTo>
                    <a:pt x="182" y="205"/>
                  </a:lnTo>
                  <a:lnTo>
                    <a:pt x="182"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1" name="Gruppieren 640">
            <a:extLst>
              <a:ext uri="{FF2B5EF4-FFF2-40B4-BE49-F238E27FC236}">
                <a16:creationId xmlns:a16="http://schemas.microsoft.com/office/drawing/2014/main" id="{CF853BBC-2D14-44BB-8A09-DEF2AC4F49E5}"/>
              </a:ext>
            </a:extLst>
          </p:cNvPr>
          <p:cNvGrpSpPr>
            <a:grpSpLocks noChangeAspect="1"/>
          </p:cNvGrpSpPr>
          <p:nvPr/>
        </p:nvGrpSpPr>
        <p:grpSpPr>
          <a:xfrm>
            <a:off x="4959152" y="3802799"/>
            <a:ext cx="182875" cy="306484"/>
            <a:chOff x="2970351" y="3922605"/>
            <a:chExt cx="184508" cy="309221"/>
          </a:xfrm>
          <a:solidFill>
            <a:schemeClr val="bg2"/>
          </a:solidFill>
        </p:grpSpPr>
        <p:sp>
          <p:nvSpPr>
            <p:cNvPr id="642" name="Freeform 85">
              <a:extLst>
                <a:ext uri="{FF2B5EF4-FFF2-40B4-BE49-F238E27FC236}">
                  <a16:creationId xmlns:a16="http://schemas.microsoft.com/office/drawing/2014/main" id="{0A706CC6-1B59-454A-9689-12DF442B0105}"/>
                </a:ext>
              </a:extLst>
            </p:cNvPr>
            <p:cNvSpPr>
              <a:spLocks noEditPoints="1"/>
            </p:cNvSpPr>
            <p:nvPr/>
          </p:nvSpPr>
          <p:spPr bwMode="auto">
            <a:xfrm>
              <a:off x="2970351" y="3965314"/>
              <a:ext cx="71753" cy="266510"/>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86">
              <a:extLst>
                <a:ext uri="{FF2B5EF4-FFF2-40B4-BE49-F238E27FC236}">
                  <a16:creationId xmlns:a16="http://schemas.microsoft.com/office/drawing/2014/main" id="{25E29F6D-9F24-4F87-930C-EA724167CBC7}"/>
                </a:ext>
              </a:extLst>
            </p:cNvPr>
            <p:cNvSpPr>
              <a:spLocks noEditPoints="1"/>
            </p:cNvSpPr>
            <p:nvPr/>
          </p:nvSpPr>
          <p:spPr bwMode="auto">
            <a:xfrm>
              <a:off x="3062605" y="3922605"/>
              <a:ext cx="92254" cy="309221"/>
            </a:xfrm>
            <a:custGeom>
              <a:avLst/>
              <a:gdLst>
                <a:gd name="T0" fmla="*/ 32 w 273"/>
                <a:gd name="T1" fmla="*/ 754 h 905"/>
                <a:gd name="T2" fmla="*/ 112 w 273"/>
                <a:gd name="T3" fmla="*/ 753 h 905"/>
                <a:gd name="T4" fmla="*/ 119 w 273"/>
                <a:gd name="T5" fmla="*/ 748 h 905"/>
                <a:gd name="T6" fmla="*/ 122 w 273"/>
                <a:gd name="T7" fmla="*/ 739 h 905"/>
                <a:gd name="T8" fmla="*/ 119 w 273"/>
                <a:gd name="T9" fmla="*/ 730 h 905"/>
                <a:gd name="T10" fmla="*/ 112 w 273"/>
                <a:gd name="T11" fmla="*/ 725 h 905"/>
                <a:gd name="T12" fmla="*/ 32 w 273"/>
                <a:gd name="T13" fmla="*/ 724 h 905"/>
                <a:gd name="T14" fmla="*/ 109 w 273"/>
                <a:gd name="T15" fmla="*/ 602 h 905"/>
                <a:gd name="T16" fmla="*/ 118 w 273"/>
                <a:gd name="T17" fmla="*/ 599 h 905"/>
                <a:gd name="T18" fmla="*/ 121 w 273"/>
                <a:gd name="T19" fmla="*/ 591 h 905"/>
                <a:gd name="T20" fmla="*/ 121 w 273"/>
                <a:gd name="T21" fmla="*/ 582 h 905"/>
                <a:gd name="T22" fmla="*/ 114 w 273"/>
                <a:gd name="T23" fmla="*/ 576 h 905"/>
                <a:gd name="T24" fmla="*/ 107 w 273"/>
                <a:gd name="T25" fmla="*/ 573 h 905"/>
                <a:gd name="T26" fmla="*/ 107 w 273"/>
                <a:gd name="T27" fmla="*/ 452 h 905"/>
                <a:gd name="T28" fmla="*/ 114 w 273"/>
                <a:gd name="T29" fmla="*/ 450 h 905"/>
                <a:gd name="T30" fmla="*/ 121 w 273"/>
                <a:gd name="T31" fmla="*/ 443 h 905"/>
                <a:gd name="T32" fmla="*/ 121 w 273"/>
                <a:gd name="T33" fmla="*/ 435 h 905"/>
                <a:gd name="T34" fmla="*/ 118 w 273"/>
                <a:gd name="T35" fmla="*/ 427 h 905"/>
                <a:gd name="T36" fmla="*/ 109 w 273"/>
                <a:gd name="T37" fmla="*/ 423 h 905"/>
                <a:gd name="T38" fmla="*/ 32 w 273"/>
                <a:gd name="T39" fmla="*/ 301 h 905"/>
                <a:gd name="T40" fmla="*/ 112 w 273"/>
                <a:gd name="T41" fmla="*/ 300 h 905"/>
                <a:gd name="T42" fmla="*/ 119 w 273"/>
                <a:gd name="T43" fmla="*/ 295 h 905"/>
                <a:gd name="T44" fmla="*/ 122 w 273"/>
                <a:gd name="T45" fmla="*/ 286 h 905"/>
                <a:gd name="T46" fmla="*/ 119 w 273"/>
                <a:gd name="T47" fmla="*/ 278 h 905"/>
                <a:gd name="T48" fmla="*/ 112 w 273"/>
                <a:gd name="T49" fmla="*/ 272 h 905"/>
                <a:gd name="T50" fmla="*/ 32 w 273"/>
                <a:gd name="T51" fmla="*/ 271 h 905"/>
                <a:gd name="T52" fmla="*/ 109 w 273"/>
                <a:gd name="T53" fmla="*/ 151 h 905"/>
                <a:gd name="T54" fmla="*/ 118 w 273"/>
                <a:gd name="T55" fmla="*/ 147 h 905"/>
                <a:gd name="T56" fmla="*/ 121 w 273"/>
                <a:gd name="T57" fmla="*/ 139 h 905"/>
                <a:gd name="T58" fmla="*/ 121 w 273"/>
                <a:gd name="T59" fmla="*/ 130 h 905"/>
                <a:gd name="T60" fmla="*/ 114 w 273"/>
                <a:gd name="T61" fmla="*/ 123 h 905"/>
                <a:gd name="T62" fmla="*/ 107 w 273"/>
                <a:gd name="T63" fmla="*/ 121 h 905"/>
                <a:gd name="T64" fmla="*/ 242 w 273"/>
                <a:gd name="T65" fmla="*/ 30 h 905"/>
                <a:gd name="T66" fmla="*/ 17 w 273"/>
                <a:gd name="T67" fmla="*/ 0 h 905"/>
                <a:gd name="T68" fmla="*/ 8 w 273"/>
                <a:gd name="T69" fmla="*/ 2 h 905"/>
                <a:gd name="T70" fmla="*/ 3 w 273"/>
                <a:gd name="T71" fmla="*/ 9 h 905"/>
                <a:gd name="T72" fmla="*/ 1 w 273"/>
                <a:gd name="T73" fmla="*/ 890 h 905"/>
                <a:gd name="T74" fmla="*/ 4 w 273"/>
                <a:gd name="T75" fmla="*/ 898 h 905"/>
                <a:gd name="T76" fmla="*/ 10 w 273"/>
                <a:gd name="T77" fmla="*/ 904 h 905"/>
                <a:gd name="T78" fmla="*/ 257 w 273"/>
                <a:gd name="T79" fmla="*/ 905 h 905"/>
                <a:gd name="T80" fmla="*/ 266 w 273"/>
                <a:gd name="T81" fmla="*/ 902 h 905"/>
                <a:gd name="T82" fmla="*/ 271 w 273"/>
                <a:gd name="T83" fmla="*/ 895 h 905"/>
                <a:gd name="T84" fmla="*/ 273 w 273"/>
                <a:gd name="T85" fmla="*/ 15 h 905"/>
                <a:gd name="T86" fmla="*/ 269 w 273"/>
                <a:gd name="T87" fmla="*/ 7 h 905"/>
                <a:gd name="T88" fmla="*/ 263 w 273"/>
                <a:gd name="T89" fmla="*/ 1 h 905"/>
                <a:gd name="T90" fmla="*/ 257 w 273"/>
                <a:gd name="T91"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905">
                  <a:moveTo>
                    <a:pt x="242" y="874"/>
                  </a:moveTo>
                  <a:lnTo>
                    <a:pt x="32" y="874"/>
                  </a:lnTo>
                  <a:lnTo>
                    <a:pt x="32" y="754"/>
                  </a:lnTo>
                  <a:lnTo>
                    <a:pt x="107" y="754"/>
                  </a:lnTo>
                  <a:lnTo>
                    <a:pt x="109" y="754"/>
                  </a:lnTo>
                  <a:lnTo>
                    <a:pt x="112" y="753"/>
                  </a:lnTo>
                  <a:lnTo>
                    <a:pt x="114" y="751"/>
                  </a:lnTo>
                  <a:lnTo>
                    <a:pt x="118" y="750"/>
                  </a:lnTo>
                  <a:lnTo>
                    <a:pt x="119" y="748"/>
                  </a:lnTo>
                  <a:lnTo>
                    <a:pt x="121" y="744"/>
                  </a:lnTo>
                  <a:lnTo>
                    <a:pt x="121" y="742"/>
                  </a:lnTo>
                  <a:lnTo>
                    <a:pt x="122" y="739"/>
                  </a:lnTo>
                  <a:lnTo>
                    <a:pt x="121" y="736"/>
                  </a:lnTo>
                  <a:lnTo>
                    <a:pt x="121" y="733"/>
                  </a:lnTo>
                  <a:lnTo>
                    <a:pt x="119" y="730"/>
                  </a:lnTo>
                  <a:lnTo>
                    <a:pt x="118" y="728"/>
                  </a:lnTo>
                  <a:lnTo>
                    <a:pt x="114" y="726"/>
                  </a:lnTo>
                  <a:lnTo>
                    <a:pt x="112" y="725"/>
                  </a:lnTo>
                  <a:lnTo>
                    <a:pt x="109" y="724"/>
                  </a:lnTo>
                  <a:lnTo>
                    <a:pt x="107" y="724"/>
                  </a:lnTo>
                  <a:lnTo>
                    <a:pt x="32" y="724"/>
                  </a:lnTo>
                  <a:lnTo>
                    <a:pt x="32" y="604"/>
                  </a:lnTo>
                  <a:lnTo>
                    <a:pt x="107" y="604"/>
                  </a:lnTo>
                  <a:lnTo>
                    <a:pt x="109" y="602"/>
                  </a:lnTo>
                  <a:lnTo>
                    <a:pt x="112" y="602"/>
                  </a:lnTo>
                  <a:lnTo>
                    <a:pt x="114" y="600"/>
                  </a:lnTo>
                  <a:lnTo>
                    <a:pt x="118" y="599"/>
                  </a:lnTo>
                  <a:lnTo>
                    <a:pt x="119" y="596"/>
                  </a:lnTo>
                  <a:lnTo>
                    <a:pt x="121" y="594"/>
                  </a:lnTo>
                  <a:lnTo>
                    <a:pt x="121" y="591"/>
                  </a:lnTo>
                  <a:lnTo>
                    <a:pt x="122" y="588"/>
                  </a:lnTo>
                  <a:lnTo>
                    <a:pt x="121" y="585"/>
                  </a:lnTo>
                  <a:lnTo>
                    <a:pt x="121" y="582"/>
                  </a:lnTo>
                  <a:lnTo>
                    <a:pt x="119" y="580"/>
                  </a:lnTo>
                  <a:lnTo>
                    <a:pt x="118" y="578"/>
                  </a:lnTo>
                  <a:lnTo>
                    <a:pt x="114" y="576"/>
                  </a:lnTo>
                  <a:lnTo>
                    <a:pt x="112" y="574"/>
                  </a:lnTo>
                  <a:lnTo>
                    <a:pt x="109" y="573"/>
                  </a:lnTo>
                  <a:lnTo>
                    <a:pt x="107" y="573"/>
                  </a:lnTo>
                  <a:lnTo>
                    <a:pt x="32" y="573"/>
                  </a:lnTo>
                  <a:lnTo>
                    <a:pt x="32" y="452"/>
                  </a:lnTo>
                  <a:lnTo>
                    <a:pt x="107" y="452"/>
                  </a:lnTo>
                  <a:lnTo>
                    <a:pt x="109" y="452"/>
                  </a:lnTo>
                  <a:lnTo>
                    <a:pt x="112" y="451"/>
                  </a:lnTo>
                  <a:lnTo>
                    <a:pt x="114" y="450"/>
                  </a:lnTo>
                  <a:lnTo>
                    <a:pt x="118" y="448"/>
                  </a:lnTo>
                  <a:lnTo>
                    <a:pt x="119" y="445"/>
                  </a:lnTo>
                  <a:lnTo>
                    <a:pt x="121" y="443"/>
                  </a:lnTo>
                  <a:lnTo>
                    <a:pt x="121" y="440"/>
                  </a:lnTo>
                  <a:lnTo>
                    <a:pt x="122" y="437"/>
                  </a:lnTo>
                  <a:lnTo>
                    <a:pt x="121" y="435"/>
                  </a:lnTo>
                  <a:lnTo>
                    <a:pt x="121" y="431"/>
                  </a:lnTo>
                  <a:lnTo>
                    <a:pt x="119" y="429"/>
                  </a:lnTo>
                  <a:lnTo>
                    <a:pt x="118" y="427"/>
                  </a:lnTo>
                  <a:lnTo>
                    <a:pt x="114" y="425"/>
                  </a:lnTo>
                  <a:lnTo>
                    <a:pt x="112" y="424"/>
                  </a:lnTo>
                  <a:lnTo>
                    <a:pt x="109" y="423"/>
                  </a:lnTo>
                  <a:lnTo>
                    <a:pt x="107" y="422"/>
                  </a:lnTo>
                  <a:lnTo>
                    <a:pt x="32" y="422"/>
                  </a:lnTo>
                  <a:lnTo>
                    <a:pt x="32" y="301"/>
                  </a:lnTo>
                  <a:lnTo>
                    <a:pt x="107" y="301"/>
                  </a:lnTo>
                  <a:lnTo>
                    <a:pt x="109" y="301"/>
                  </a:lnTo>
                  <a:lnTo>
                    <a:pt x="112" y="300"/>
                  </a:lnTo>
                  <a:lnTo>
                    <a:pt x="114" y="299"/>
                  </a:lnTo>
                  <a:lnTo>
                    <a:pt x="118" y="297"/>
                  </a:lnTo>
                  <a:lnTo>
                    <a:pt x="119" y="295"/>
                  </a:lnTo>
                  <a:lnTo>
                    <a:pt x="121" y="293"/>
                  </a:lnTo>
                  <a:lnTo>
                    <a:pt x="121" y="290"/>
                  </a:lnTo>
                  <a:lnTo>
                    <a:pt x="122" y="286"/>
                  </a:lnTo>
                  <a:lnTo>
                    <a:pt x="121" y="283"/>
                  </a:lnTo>
                  <a:lnTo>
                    <a:pt x="121" y="281"/>
                  </a:lnTo>
                  <a:lnTo>
                    <a:pt x="119" y="278"/>
                  </a:lnTo>
                  <a:lnTo>
                    <a:pt x="118" y="276"/>
                  </a:lnTo>
                  <a:lnTo>
                    <a:pt x="114" y="274"/>
                  </a:lnTo>
                  <a:lnTo>
                    <a:pt x="112" y="272"/>
                  </a:lnTo>
                  <a:lnTo>
                    <a:pt x="109" y="272"/>
                  </a:lnTo>
                  <a:lnTo>
                    <a:pt x="107" y="271"/>
                  </a:lnTo>
                  <a:lnTo>
                    <a:pt x="32" y="271"/>
                  </a:lnTo>
                  <a:lnTo>
                    <a:pt x="32" y="151"/>
                  </a:lnTo>
                  <a:lnTo>
                    <a:pt x="107" y="151"/>
                  </a:lnTo>
                  <a:lnTo>
                    <a:pt x="109" y="151"/>
                  </a:lnTo>
                  <a:lnTo>
                    <a:pt x="112" y="150"/>
                  </a:lnTo>
                  <a:lnTo>
                    <a:pt x="114" y="149"/>
                  </a:lnTo>
                  <a:lnTo>
                    <a:pt x="118" y="147"/>
                  </a:lnTo>
                  <a:lnTo>
                    <a:pt x="119" y="144"/>
                  </a:lnTo>
                  <a:lnTo>
                    <a:pt x="121" y="141"/>
                  </a:lnTo>
                  <a:lnTo>
                    <a:pt x="121" y="139"/>
                  </a:lnTo>
                  <a:lnTo>
                    <a:pt x="122" y="136"/>
                  </a:lnTo>
                  <a:lnTo>
                    <a:pt x="121" y="133"/>
                  </a:lnTo>
                  <a:lnTo>
                    <a:pt x="121" y="130"/>
                  </a:lnTo>
                  <a:lnTo>
                    <a:pt x="119" y="127"/>
                  </a:lnTo>
                  <a:lnTo>
                    <a:pt x="118" y="125"/>
                  </a:lnTo>
                  <a:lnTo>
                    <a:pt x="114" y="123"/>
                  </a:lnTo>
                  <a:lnTo>
                    <a:pt x="112" y="122"/>
                  </a:lnTo>
                  <a:lnTo>
                    <a:pt x="109" y="121"/>
                  </a:lnTo>
                  <a:lnTo>
                    <a:pt x="107" y="121"/>
                  </a:lnTo>
                  <a:lnTo>
                    <a:pt x="32" y="121"/>
                  </a:lnTo>
                  <a:lnTo>
                    <a:pt x="32" y="30"/>
                  </a:lnTo>
                  <a:lnTo>
                    <a:pt x="242" y="30"/>
                  </a:lnTo>
                  <a:lnTo>
                    <a:pt x="242" y="874"/>
                  </a:lnTo>
                  <a:close/>
                  <a:moveTo>
                    <a:pt x="257" y="0"/>
                  </a:moveTo>
                  <a:lnTo>
                    <a:pt x="17" y="0"/>
                  </a:lnTo>
                  <a:lnTo>
                    <a:pt x="13" y="0"/>
                  </a:lnTo>
                  <a:lnTo>
                    <a:pt x="10" y="1"/>
                  </a:lnTo>
                  <a:lnTo>
                    <a:pt x="8" y="2"/>
                  </a:lnTo>
                  <a:lnTo>
                    <a:pt x="6" y="5"/>
                  </a:lnTo>
                  <a:lnTo>
                    <a:pt x="4" y="7"/>
                  </a:lnTo>
                  <a:lnTo>
                    <a:pt x="3" y="9"/>
                  </a:lnTo>
                  <a:lnTo>
                    <a:pt x="1" y="12"/>
                  </a:lnTo>
                  <a:lnTo>
                    <a:pt x="0" y="15"/>
                  </a:lnTo>
                  <a:lnTo>
                    <a:pt x="1" y="890"/>
                  </a:lnTo>
                  <a:lnTo>
                    <a:pt x="1" y="893"/>
                  </a:lnTo>
                  <a:lnTo>
                    <a:pt x="3" y="895"/>
                  </a:lnTo>
                  <a:lnTo>
                    <a:pt x="4" y="898"/>
                  </a:lnTo>
                  <a:lnTo>
                    <a:pt x="6" y="900"/>
                  </a:lnTo>
                  <a:lnTo>
                    <a:pt x="8" y="902"/>
                  </a:lnTo>
                  <a:lnTo>
                    <a:pt x="10" y="904"/>
                  </a:lnTo>
                  <a:lnTo>
                    <a:pt x="13" y="905"/>
                  </a:lnTo>
                  <a:lnTo>
                    <a:pt x="17" y="905"/>
                  </a:lnTo>
                  <a:lnTo>
                    <a:pt x="257" y="905"/>
                  </a:lnTo>
                  <a:lnTo>
                    <a:pt x="261" y="905"/>
                  </a:lnTo>
                  <a:lnTo>
                    <a:pt x="263" y="904"/>
                  </a:lnTo>
                  <a:lnTo>
                    <a:pt x="266" y="902"/>
                  </a:lnTo>
                  <a:lnTo>
                    <a:pt x="268" y="900"/>
                  </a:lnTo>
                  <a:lnTo>
                    <a:pt x="269" y="898"/>
                  </a:lnTo>
                  <a:lnTo>
                    <a:pt x="271" y="895"/>
                  </a:lnTo>
                  <a:lnTo>
                    <a:pt x="273" y="893"/>
                  </a:lnTo>
                  <a:lnTo>
                    <a:pt x="273" y="890"/>
                  </a:lnTo>
                  <a:lnTo>
                    <a:pt x="273" y="15"/>
                  </a:lnTo>
                  <a:lnTo>
                    <a:pt x="273" y="12"/>
                  </a:lnTo>
                  <a:lnTo>
                    <a:pt x="271" y="9"/>
                  </a:lnTo>
                  <a:lnTo>
                    <a:pt x="269" y="7"/>
                  </a:lnTo>
                  <a:lnTo>
                    <a:pt x="268" y="5"/>
                  </a:lnTo>
                  <a:lnTo>
                    <a:pt x="266" y="2"/>
                  </a:lnTo>
                  <a:lnTo>
                    <a:pt x="263" y="1"/>
                  </a:lnTo>
                  <a:lnTo>
                    <a:pt x="261"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2" name="Group 5">
            <a:extLst>
              <a:ext uri="{FF2B5EF4-FFF2-40B4-BE49-F238E27FC236}">
                <a16:creationId xmlns:a16="http://schemas.microsoft.com/office/drawing/2014/main" id="{E16FD00F-3743-4C6B-A6BD-453713F782A4}"/>
              </a:ext>
            </a:extLst>
          </p:cNvPr>
          <p:cNvGrpSpPr>
            <a:grpSpLocks noChangeAspect="1"/>
          </p:cNvGrpSpPr>
          <p:nvPr/>
        </p:nvGrpSpPr>
        <p:grpSpPr>
          <a:xfrm>
            <a:off x="1883455" y="4345739"/>
            <a:ext cx="306484" cy="306484"/>
            <a:chOff x="5919788" y="1438275"/>
            <a:chExt cx="750888" cy="750888"/>
          </a:xfrm>
          <a:solidFill>
            <a:schemeClr val="bg2"/>
          </a:solidFill>
        </p:grpSpPr>
        <p:sp>
          <p:nvSpPr>
            <p:cNvPr id="653" name="Freeform 20">
              <a:extLst>
                <a:ext uri="{FF2B5EF4-FFF2-40B4-BE49-F238E27FC236}">
                  <a16:creationId xmlns:a16="http://schemas.microsoft.com/office/drawing/2014/main" id="{1E58791A-43A7-4EF2-8F77-31A9B4F0F9FA}"/>
                </a:ext>
              </a:extLst>
            </p:cNvPr>
            <p:cNvSpPr>
              <a:spLocks/>
            </p:cNvSpPr>
            <p:nvPr/>
          </p:nvSpPr>
          <p:spPr bwMode="auto">
            <a:xfrm>
              <a:off x="6159501" y="1685925"/>
              <a:ext cx="198438" cy="198438"/>
            </a:xfrm>
            <a:custGeom>
              <a:avLst/>
              <a:gdLst>
                <a:gd name="T0" fmla="*/ 15 w 125"/>
                <a:gd name="T1" fmla="*/ 125 h 125"/>
                <a:gd name="T2" fmla="*/ 0 w 125"/>
                <a:gd name="T3" fmla="*/ 110 h 125"/>
                <a:gd name="T4" fmla="*/ 111 w 125"/>
                <a:gd name="T5" fmla="*/ 0 h 125"/>
                <a:gd name="T6" fmla="*/ 125 w 125"/>
                <a:gd name="T7" fmla="*/ 12 h 125"/>
                <a:gd name="T8" fmla="*/ 15 w 125"/>
                <a:gd name="T9" fmla="*/ 125 h 125"/>
              </a:gdLst>
              <a:ahLst/>
              <a:cxnLst>
                <a:cxn ang="0">
                  <a:pos x="T0" y="T1"/>
                </a:cxn>
                <a:cxn ang="0">
                  <a:pos x="T2" y="T3"/>
                </a:cxn>
                <a:cxn ang="0">
                  <a:pos x="T4" y="T5"/>
                </a:cxn>
                <a:cxn ang="0">
                  <a:pos x="T6" y="T7"/>
                </a:cxn>
                <a:cxn ang="0">
                  <a:pos x="T8" y="T9"/>
                </a:cxn>
              </a:cxnLst>
              <a:rect l="0" t="0" r="r" b="b"/>
              <a:pathLst>
                <a:path w="125" h="125">
                  <a:moveTo>
                    <a:pt x="15" y="125"/>
                  </a:moveTo>
                  <a:lnTo>
                    <a:pt x="0" y="110"/>
                  </a:lnTo>
                  <a:lnTo>
                    <a:pt x="111" y="0"/>
                  </a:lnTo>
                  <a:lnTo>
                    <a:pt x="125" y="12"/>
                  </a:lnTo>
                  <a:lnTo>
                    <a:pt x="1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4" name="Freeform 21">
              <a:extLst>
                <a:ext uri="{FF2B5EF4-FFF2-40B4-BE49-F238E27FC236}">
                  <a16:creationId xmlns:a16="http://schemas.microsoft.com/office/drawing/2014/main" id="{468B95FD-0146-4908-BCF8-112F36054304}"/>
                </a:ext>
              </a:extLst>
            </p:cNvPr>
            <p:cNvSpPr>
              <a:spLocks/>
            </p:cNvSpPr>
            <p:nvPr/>
          </p:nvSpPr>
          <p:spPr bwMode="auto">
            <a:xfrm>
              <a:off x="6224588" y="1751013"/>
              <a:ext cx="198438" cy="196850"/>
            </a:xfrm>
            <a:custGeom>
              <a:avLst/>
              <a:gdLst>
                <a:gd name="T0" fmla="*/ 15 w 125"/>
                <a:gd name="T1" fmla="*/ 124 h 124"/>
                <a:gd name="T2" fmla="*/ 0 w 125"/>
                <a:gd name="T3" fmla="*/ 110 h 124"/>
                <a:gd name="T4" fmla="*/ 113 w 125"/>
                <a:gd name="T5" fmla="*/ 0 h 124"/>
                <a:gd name="T6" fmla="*/ 125 w 125"/>
                <a:gd name="T7" fmla="*/ 14 h 124"/>
                <a:gd name="T8" fmla="*/ 15 w 125"/>
                <a:gd name="T9" fmla="*/ 124 h 124"/>
              </a:gdLst>
              <a:ahLst/>
              <a:cxnLst>
                <a:cxn ang="0">
                  <a:pos x="T0" y="T1"/>
                </a:cxn>
                <a:cxn ang="0">
                  <a:pos x="T2" y="T3"/>
                </a:cxn>
                <a:cxn ang="0">
                  <a:pos x="T4" y="T5"/>
                </a:cxn>
                <a:cxn ang="0">
                  <a:pos x="T6" y="T7"/>
                </a:cxn>
                <a:cxn ang="0">
                  <a:pos x="T8" y="T9"/>
                </a:cxn>
              </a:cxnLst>
              <a:rect l="0" t="0" r="r" b="b"/>
              <a:pathLst>
                <a:path w="125" h="124">
                  <a:moveTo>
                    <a:pt x="15" y="124"/>
                  </a:moveTo>
                  <a:lnTo>
                    <a:pt x="0" y="110"/>
                  </a:lnTo>
                  <a:lnTo>
                    <a:pt x="113" y="0"/>
                  </a:lnTo>
                  <a:lnTo>
                    <a:pt x="125" y="14"/>
                  </a:lnTo>
                  <a:lnTo>
                    <a:pt x="1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5" name="Freeform 22">
              <a:extLst>
                <a:ext uri="{FF2B5EF4-FFF2-40B4-BE49-F238E27FC236}">
                  <a16:creationId xmlns:a16="http://schemas.microsoft.com/office/drawing/2014/main" id="{0BDEACD6-08F2-4CAB-B1FE-6F51A2288680}"/>
                </a:ext>
              </a:extLst>
            </p:cNvPr>
            <p:cNvSpPr>
              <a:spLocks noEditPoints="1"/>
            </p:cNvSpPr>
            <p:nvPr/>
          </p:nvSpPr>
          <p:spPr bwMode="auto">
            <a:xfrm>
              <a:off x="5935663" y="1838325"/>
              <a:ext cx="331788" cy="327025"/>
            </a:xfrm>
            <a:custGeom>
              <a:avLst/>
              <a:gdLst>
                <a:gd name="T0" fmla="*/ 70 w 87"/>
                <a:gd name="T1" fmla="*/ 86 h 86"/>
                <a:gd name="T2" fmla="*/ 59 w 87"/>
                <a:gd name="T3" fmla="*/ 81 h 86"/>
                <a:gd name="T4" fmla="*/ 7 w 87"/>
                <a:gd name="T5" fmla="*/ 29 h 86"/>
                <a:gd name="T6" fmla="*/ 7 w 87"/>
                <a:gd name="T7" fmla="*/ 6 h 86"/>
                <a:gd name="T8" fmla="*/ 30 w 87"/>
                <a:gd name="T9" fmla="*/ 6 h 86"/>
                <a:gd name="T10" fmla="*/ 82 w 87"/>
                <a:gd name="T11" fmla="*/ 58 h 86"/>
                <a:gd name="T12" fmla="*/ 87 w 87"/>
                <a:gd name="T13" fmla="*/ 70 h 86"/>
                <a:gd name="T14" fmla="*/ 82 w 87"/>
                <a:gd name="T15" fmla="*/ 81 h 86"/>
                <a:gd name="T16" fmla="*/ 70 w 87"/>
                <a:gd name="T17" fmla="*/ 86 h 86"/>
                <a:gd name="T18" fmla="*/ 18 w 87"/>
                <a:gd name="T19" fmla="*/ 9 h 86"/>
                <a:gd name="T20" fmla="*/ 12 w 87"/>
                <a:gd name="T21" fmla="*/ 12 h 86"/>
                <a:gd name="T22" fmla="*/ 12 w 87"/>
                <a:gd name="T23" fmla="*/ 23 h 86"/>
                <a:gd name="T24" fmla="*/ 65 w 87"/>
                <a:gd name="T25" fmla="*/ 76 h 86"/>
                <a:gd name="T26" fmla="*/ 76 w 87"/>
                <a:gd name="T27" fmla="*/ 76 h 86"/>
                <a:gd name="T28" fmla="*/ 79 w 87"/>
                <a:gd name="T29" fmla="*/ 70 h 86"/>
                <a:gd name="T30" fmla="*/ 76 w 87"/>
                <a:gd name="T31" fmla="*/ 64 h 86"/>
                <a:gd name="T32" fmla="*/ 24 w 87"/>
                <a:gd name="T33" fmla="*/ 12 h 86"/>
                <a:gd name="T34" fmla="*/ 18 w 87"/>
                <a:gd name="T35" fmla="*/ 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86">
                  <a:moveTo>
                    <a:pt x="70" y="86"/>
                  </a:moveTo>
                  <a:cubicBezTo>
                    <a:pt x="66" y="86"/>
                    <a:pt x="62" y="85"/>
                    <a:pt x="59" y="81"/>
                  </a:cubicBezTo>
                  <a:cubicBezTo>
                    <a:pt x="7" y="29"/>
                    <a:pt x="7" y="29"/>
                    <a:pt x="7" y="29"/>
                  </a:cubicBezTo>
                  <a:cubicBezTo>
                    <a:pt x="0" y="23"/>
                    <a:pt x="0" y="12"/>
                    <a:pt x="7" y="6"/>
                  </a:cubicBezTo>
                  <a:cubicBezTo>
                    <a:pt x="13" y="0"/>
                    <a:pt x="24" y="0"/>
                    <a:pt x="30" y="6"/>
                  </a:cubicBezTo>
                  <a:cubicBezTo>
                    <a:pt x="82" y="58"/>
                    <a:pt x="82" y="58"/>
                    <a:pt x="82" y="58"/>
                  </a:cubicBezTo>
                  <a:cubicBezTo>
                    <a:pt x="85" y="61"/>
                    <a:pt x="87" y="65"/>
                    <a:pt x="87" y="70"/>
                  </a:cubicBezTo>
                  <a:cubicBezTo>
                    <a:pt x="87" y="74"/>
                    <a:pt x="85" y="78"/>
                    <a:pt x="82" y="81"/>
                  </a:cubicBezTo>
                  <a:cubicBezTo>
                    <a:pt x="79" y="85"/>
                    <a:pt x="75" y="86"/>
                    <a:pt x="70" y="86"/>
                  </a:cubicBezTo>
                  <a:close/>
                  <a:moveTo>
                    <a:pt x="18" y="9"/>
                  </a:moveTo>
                  <a:cubicBezTo>
                    <a:pt x="16" y="9"/>
                    <a:pt x="14" y="10"/>
                    <a:pt x="12" y="12"/>
                  </a:cubicBezTo>
                  <a:cubicBezTo>
                    <a:pt x="9" y="15"/>
                    <a:pt x="9" y="20"/>
                    <a:pt x="12" y="23"/>
                  </a:cubicBezTo>
                  <a:cubicBezTo>
                    <a:pt x="65" y="76"/>
                    <a:pt x="65" y="76"/>
                    <a:pt x="65" y="76"/>
                  </a:cubicBezTo>
                  <a:cubicBezTo>
                    <a:pt x="68" y="79"/>
                    <a:pt x="73" y="79"/>
                    <a:pt x="76" y="76"/>
                  </a:cubicBezTo>
                  <a:cubicBezTo>
                    <a:pt x="78" y="74"/>
                    <a:pt x="79" y="72"/>
                    <a:pt x="79" y="70"/>
                  </a:cubicBezTo>
                  <a:cubicBezTo>
                    <a:pt x="79" y="68"/>
                    <a:pt x="78" y="66"/>
                    <a:pt x="76" y="64"/>
                  </a:cubicBezTo>
                  <a:cubicBezTo>
                    <a:pt x="24" y="12"/>
                    <a:pt x="24" y="12"/>
                    <a:pt x="24" y="12"/>
                  </a:cubicBezTo>
                  <a:cubicBezTo>
                    <a:pt x="22" y="10"/>
                    <a:pt x="20"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6" name="Freeform 23">
              <a:extLst>
                <a:ext uri="{FF2B5EF4-FFF2-40B4-BE49-F238E27FC236}">
                  <a16:creationId xmlns:a16="http://schemas.microsoft.com/office/drawing/2014/main" id="{22ADF5EF-E9A6-4F57-B247-3E4AF342D1E3}"/>
                </a:ext>
              </a:extLst>
            </p:cNvPr>
            <p:cNvSpPr>
              <a:spLocks noEditPoints="1"/>
            </p:cNvSpPr>
            <p:nvPr/>
          </p:nvSpPr>
          <p:spPr bwMode="auto">
            <a:xfrm>
              <a:off x="5957888" y="1727200"/>
              <a:ext cx="419100" cy="415925"/>
            </a:xfrm>
            <a:custGeom>
              <a:avLst/>
              <a:gdLst>
                <a:gd name="T0" fmla="*/ 93 w 110"/>
                <a:gd name="T1" fmla="*/ 109 h 109"/>
                <a:gd name="T2" fmla="*/ 82 w 110"/>
                <a:gd name="T3" fmla="*/ 105 h 109"/>
                <a:gd name="T4" fmla="*/ 6 w 110"/>
                <a:gd name="T5" fmla="*/ 29 h 109"/>
                <a:gd name="T6" fmla="*/ 6 w 110"/>
                <a:gd name="T7" fmla="*/ 6 h 109"/>
                <a:gd name="T8" fmla="*/ 30 w 110"/>
                <a:gd name="T9" fmla="*/ 6 h 109"/>
                <a:gd name="T10" fmla="*/ 105 w 110"/>
                <a:gd name="T11" fmla="*/ 81 h 109"/>
                <a:gd name="T12" fmla="*/ 110 w 110"/>
                <a:gd name="T13" fmla="*/ 93 h 109"/>
                <a:gd name="T14" fmla="*/ 105 w 110"/>
                <a:gd name="T15" fmla="*/ 105 h 109"/>
                <a:gd name="T16" fmla="*/ 93 w 110"/>
                <a:gd name="T17" fmla="*/ 109 h 109"/>
                <a:gd name="T18" fmla="*/ 18 w 110"/>
                <a:gd name="T19" fmla="*/ 9 h 109"/>
                <a:gd name="T20" fmla="*/ 12 w 110"/>
                <a:gd name="T21" fmla="*/ 12 h 109"/>
                <a:gd name="T22" fmla="*/ 12 w 110"/>
                <a:gd name="T23" fmla="*/ 23 h 109"/>
                <a:gd name="T24" fmla="*/ 88 w 110"/>
                <a:gd name="T25" fmla="*/ 99 h 109"/>
                <a:gd name="T26" fmla="*/ 99 w 110"/>
                <a:gd name="T27" fmla="*/ 99 h 109"/>
                <a:gd name="T28" fmla="*/ 102 w 110"/>
                <a:gd name="T29" fmla="*/ 93 h 109"/>
                <a:gd name="T30" fmla="*/ 99 w 110"/>
                <a:gd name="T31" fmla="*/ 87 h 109"/>
                <a:gd name="T32" fmla="*/ 24 w 110"/>
                <a:gd name="T33" fmla="*/ 12 h 109"/>
                <a:gd name="T34" fmla="*/ 18 w 110"/>
                <a:gd name="T35"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09">
                  <a:moveTo>
                    <a:pt x="93" y="109"/>
                  </a:moveTo>
                  <a:cubicBezTo>
                    <a:pt x="89" y="109"/>
                    <a:pt x="85" y="108"/>
                    <a:pt x="82" y="105"/>
                  </a:cubicBezTo>
                  <a:cubicBezTo>
                    <a:pt x="6" y="29"/>
                    <a:pt x="6" y="29"/>
                    <a:pt x="6" y="29"/>
                  </a:cubicBezTo>
                  <a:cubicBezTo>
                    <a:pt x="0" y="23"/>
                    <a:pt x="0" y="12"/>
                    <a:pt x="6" y="6"/>
                  </a:cubicBezTo>
                  <a:cubicBezTo>
                    <a:pt x="13" y="0"/>
                    <a:pt x="23" y="0"/>
                    <a:pt x="30" y="6"/>
                  </a:cubicBezTo>
                  <a:cubicBezTo>
                    <a:pt x="105" y="81"/>
                    <a:pt x="105" y="81"/>
                    <a:pt x="105" y="81"/>
                  </a:cubicBezTo>
                  <a:cubicBezTo>
                    <a:pt x="108" y="84"/>
                    <a:pt x="110" y="89"/>
                    <a:pt x="110" y="93"/>
                  </a:cubicBezTo>
                  <a:cubicBezTo>
                    <a:pt x="110" y="97"/>
                    <a:pt x="108" y="101"/>
                    <a:pt x="105" y="105"/>
                  </a:cubicBezTo>
                  <a:cubicBezTo>
                    <a:pt x="102" y="108"/>
                    <a:pt x="98" y="109"/>
                    <a:pt x="93" y="109"/>
                  </a:cubicBezTo>
                  <a:close/>
                  <a:moveTo>
                    <a:pt x="18" y="9"/>
                  </a:moveTo>
                  <a:cubicBezTo>
                    <a:pt x="16" y="9"/>
                    <a:pt x="14" y="10"/>
                    <a:pt x="12" y="12"/>
                  </a:cubicBezTo>
                  <a:cubicBezTo>
                    <a:pt x="9" y="15"/>
                    <a:pt x="9" y="20"/>
                    <a:pt x="12" y="23"/>
                  </a:cubicBezTo>
                  <a:cubicBezTo>
                    <a:pt x="88" y="99"/>
                    <a:pt x="88" y="99"/>
                    <a:pt x="88" y="99"/>
                  </a:cubicBezTo>
                  <a:cubicBezTo>
                    <a:pt x="91" y="102"/>
                    <a:pt x="96" y="102"/>
                    <a:pt x="99" y="99"/>
                  </a:cubicBezTo>
                  <a:cubicBezTo>
                    <a:pt x="101" y="97"/>
                    <a:pt x="102" y="95"/>
                    <a:pt x="102" y="93"/>
                  </a:cubicBezTo>
                  <a:cubicBezTo>
                    <a:pt x="102" y="91"/>
                    <a:pt x="101" y="89"/>
                    <a:pt x="99" y="87"/>
                  </a:cubicBezTo>
                  <a:cubicBezTo>
                    <a:pt x="24" y="12"/>
                    <a:pt x="24" y="12"/>
                    <a:pt x="24" y="12"/>
                  </a:cubicBezTo>
                  <a:cubicBezTo>
                    <a:pt x="22" y="10"/>
                    <a:pt x="20"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7" name="Freeform 24">
              <a:extLst>
                <a:ext uri="{FF2B5EF4-FFF2-40B4-BE49-F238E27FC236}">
                  <a16:creationId xmlns:a16="http://schemas.microsoft.com/office/drawing/2014/main" id="{44F0930C-BF76-4C57-999F-3120E8FB9BEF}"/>
                </a:ext>
              </a:extLst>
            </p:cNvPr>
            <p:cNvSpPr>
              <a:spLocks noEditPoints="1"/>
            </p:cNvSpPr>
            <p:nvPr/>
          </p:nvSpPr>
          <p:spPr bwMode="auto">
            <a:xfrm>
              <a:off x="6202363" y="1482725"/>
              <a:ext cx="419100" cy="420688"/>
            </a:xfrm>
            <a:custGeom>
              <a:avLst/>
              <a:gdLst>
                <a:gd name="T0" fmla="*/ 93 w 110"/>
                <a:gd name="T1" fmla="*/ 110 h 110"/>
                <a:gd name="T2" fmla="*/ 82 w 110"/>
                <a:gd name="T3" fmla="*/ 105 h 110"/>
                <a:gd name="T4" fmla="*/ 6 w 110"/>
                <a:gd name="T5" fmla="*/ 29 h 110"/>
                <a:gd name="T6" fmla="*/ 6 w 110"/>
                <a:gd name="T7" fmla="*/ 6 h 110"/>
                <a:gd name="T8" fmla="*/ 29 w 110"/>
                <a:gd name="T9" fmla="*/ 6 h 110"/>
                <a:gd name="T10" fmla="*/ 105 w 110"/>
                <a:gd name="T11" fmla="*/ 82 h 110"/>
                <a:gd name="T12" fmla="*/ 110 w 110"/>
                <a:gd name="T13" fmla="*/ 93 h 110"/>
                <a:gd name="T14" fmla="*/ 105 w 110"/>
                <a:gd name="T15" fmla="*/ 105 h 110"/>
                <a:gd name="T16" fmla="*/ 93 w 110"/>
                <a:gd name="T17" fmla="*/ 110 h 110"/>
                <a:gd name="T18" fmla="*/ 18 w 110"/>
                <a:gd name="T19" fmla="*/ 10 h 110"/>
                <a:gd name="T20" fmla="*/ 12 w 110"/>
                <a:gd name="T21" fmla="*/ 12 h 110"/>
                <a:gd name="T22" fmla="*/ 12 w 110"/>
                <a:gd name="T23" fmla="*/ 24 h 110"/>
                <a:gd name="T24" fmla="*/ 87 w 110"/>
                <a:gd name="T25" fmla="*/ 99 h 110"/>
                <a:gd name="T26" fmla="*/ 99 w 110"/>
                <a:gd name="T27" fmla="*/ 99 h 110"/>
                <a:gd name="T28" fmla="*/ 101 w 110"/>
                <a:gd name="T29" fmla="*/ 93 h 110"/>
                <a:gd name="T30" fmla="*/ 99 w 110"/>
                <a:gd name="T31" fmla="*/ 87 h 110"/>
                <a:gd name="T32" fmla="*/ 24 w 110"/>
                <a:gd name="T33" fmla="*/ 12 h 110"/>
                <a:gd name="T34" fmla="*/ 18 w 110"/>
                <a:gd name="T3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10">
                  <a:moveTo>
                    <a:pt x="93" y="110"/>
                  </a:moveTo>
                  <a:cubicBezTo>
                    <a:pt x="89" y="110"/>
                    <a:pt x="85" y="108"/>
                    <a:pt x="82" y="105"/>
                  </a:cubicBezTo>
                  <a:cubicBezTo>
                    <a:pt x="6" y="29"/>
                    <a:pt x="6" y="29"/>
                    <a:pt x="6" y="29"/>
                  </a:cubicBezTo>
                  <a:cubicBezTo>
                    <a:pt x="0" y="23"/>
                    <a:pt x="0" y="13"/>
                    <a:pt x="6" y="6"/>
                  </a:cubicBezTo>
                  <a:cubicBezTo>
                    <a:pt x="12" y="0"/>
                    <a:pt x="23" y="0"/>
                    <a:pt x="29" y="6"/>
                  </a:cubicBezTo>
                  <a:cubicBezTo>
                    <a:pt x="105" y="82"/>
                    <a:pt x="105" y="82"/>
                    <a:pt x="105" y="82"/>
                  </a:cubicBezTo>
                  <a:cubicBezTo>
                    <a:pt x="108" y="85"/>
                    <a:pt x="110" y="89"/>
                    <a:pt x="110" y="93"/>
                  </a:cubicBezTo>
                  <a:cubicBezTo>
                    <a:pt x="110" y="98"/>
                    <a:pt x="108" y="102"/>
                    <a:pt x="105" y="105"/>
                  </a:cubicBezTo>
                  <a:cubicBezTo>
                    <a:pt x="102" y="108"/>
                    <a:pt x="98" y="110"/>
                    <a:pt x="93" y="110"/>
                  </a:cubicBezTo>
                  <a:close/>
                  <a:moveTo>
                    <a:pt x="18" y="10"/>
                  </a:moveTo>
                  <a:cubicBezTo>
                    <a:pt x="16" y="10"/>
                    <a:pt x="14" y="10"/>
                    <a:pt x="12" y="12"/>
                  </a:cubicBezTo>
                  <a:cubicBezTo>
                    <a:pt x="9" y="15"/>
                    <a:pt x="9" y="20"/>
                    <a:pt x="12" y="24"/>
                  </a:cubicBezTo>
                  <a:cubicBezTo>
                    <a:pt x="87" y="99"/>
                    <a:pt x="87" y="99"/>
                    <a:pt x="87" y="99"/>
                  </a:cubicBezTo>
                  <a:cubicBezTo>
                    <a:pt x="91" y="102"/>
                    <a:pt x="96" y="102"/>
                    <a:pt x="99" y="99"/>
                  </a:cubicBezTo>
                  <a:cubicBezTo>
                    <a:pt x="101" y="97"/>
                    <a:pt x="101" y="95"/>
                    <a:pt x="101" y="93"/>
                  </a:cubicBezTo>
                  <a:cubicBezTo>
                    <a:pt x="101" y="91"/>
                    <a:pt x="101" y="89"/>
                    <a:pt x="99" y="87"/>
                  </a:cubicBezTo>
                  <a:cubicBezTo>
                    <a:pt x="24" y="12"/>
                    <a:pt x="24" y="12"/>
                    <a:pt x="24" y="12"/>
                  </a:cubicBezTo>
                  <a:cubicBezTo>
                    <a:pt x="22" y="10"/>
                    <a:pt x="20" y="10"/>
                    <a:pt x="1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8" name="Freeform 25">
              <a:extLst>
                <a:ext uri="{FF2B5EF4-FFF2-40B4-BE49-F238E27FC236}">
                  <a16:creationId xmlns:a16="http://schemas.microsoft.com/office/drawing/2014/main" id="{EB2DF5CF-40C7-4CC3-8CFF-137ABC97DA86}"/>
                </a:ext>
              </a:extLst>
            </p:cNvPr>
            <p:cNvSpPr>
              <a:spLocks noEditPoints="1"/>
            </p:cNvSpPr>
            <p:nvPr/>
          </p:nvSpPr>
          <p:spPr bwMode="auto">
            <a:xfrm>
              <a:off x="5919788" y="1947863"/>
              <a:ext cx="239713" cy="241300"/>
            </a:xfrm>
            <a:custGeom>
              <a:avLst/>
              <a:gdLst>
                <a:gd name="T0" fmla="*/ 45 w 63"/>
                <a:gd name="T1" fmla="*/ 63 h 63"/>
                <a:gd name="T2" fmla="*/ 34 w 63"/>
                <a:gd name="T3" fmla="*/ 58 h 63"/>
                <a:gd name="T4" fmla="*/ 5 w 63"/>
                <a:gd name="T5" fmla="*/ 29 h 63"/>
                <a:gd name="T6" fmla="*/ 0 w 63"/>
                <a:gd name="T7" fmla="*/ 18 h 63"/>
                <a:gd name="T8" fmla="*/ 5 w 63"/>
                <a:gd name="T9" fmla="*/ 6 h 63"/>
                <a:gd name="T10" fmla="*/ 28 w 63"/>
                <a:gd name="T11" fmla="*/ 6 h 63"/>
                <a:gd name="T12" fmla="*/ 57 w 63"/>
                <a:gd name="T13" fmla="*/ 35 h 63"/>
                <a:gd name="T14" fmla="*/ 57 w 63"/>
                <a:gd name="T15" fmla="*/ 58 h 63"/>
                <a:gd name="T16" fmla="*/ 45 w 63"/>
                <a:gd name="T17" fmla="*/ 63 h 63"/>
                <a:gd name="T18" fmla="*/ 16 w 63"/>
                <a:gd name="T19" fmla="*/ 9 h 63"/>
                <a:gd name="T20" fmla="*/ 11 w 63"/>
                <a:gd name="T21" fmla="*/ 12 h 63"/>
                <a:gd name="T22" fmla="*/ 8 w 63"/>
                <a:gd name="T23" fmla="*/ 18 h 63"/>
                <a:gd name="T24" fmla="*/ 11 w 63"/>
                <a:gd name="T25" fmla="*/ 23 h 63"/>
                <a:gd name="T26" fmla="*/ 40 w 63"/>
                <a:gd name="T27" fmla="*/ 52 h 63"/>
                <a:gd name="T28" fmla="*/ 51 w 63"/>
                <a:gd name="T29" fmla="*/ 52 h 63"/>
                <a:gd name="T30" fmla="*/ 51 w 63"/>
                <a:gd name="T31" fmla="*/ 41 h 63"/>
                <a:gd name="T32" fmla="*/ 22 w 63"/>
                <a:gd name="T33" fmla="*/ 12 h 63"/>
                <a:gd name="T34" fmla="*/ 16 w 63"/>
                <a:gd name="T35"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5" y="63"/>
                  </a:moveTo>
                  <a:cubicBezTo>
                    <a:pt x="41" y="63"/>
                    <a:pt x="37" y="61"/>
                    <a:pt x="34" y="58"/>
                  </a:cubicBezTo>
                  <a:cubicBezTo>
                    <a:pt x="5" y="29"/>
                    <a:pt x="5" y="29"/>
                    <a:pt x="5" y="29"/>
                  </a:cubicBezTo>
                  <a:cubicBezTo>
                    <a:pt x="2" y="26"/>
                    <a:pt x="0" y="22"/>
                    <a:pt x="0" y="18"/>
                  </a:cubicBezTo>
                  <a:cubicBezTo>
                    <a:pt x="0" y="13"/>
                    <a:pt x="2" y="9"/>
                    <a:pt x="5" y="6"/>
                  </a:cubicBezTo>
                  <a:cubicBezTo>
                    <a:pt x="11" y="0"/>
                    <a:pt x="22" y="0"/>
                    <a:pt x="28" y="6"/>
                  </a:cubicBezTo>
                  <a:cubicBezTo>
                    <a:pt x="57" y="35"/>
                    <a:pt x="57" y="35"/>
                    <a:pt x="57" y="35"/>
                  </a:cubicBezTo>
                  <a:cubicBezTo>
                    <a:pt x="63" y="41"/>
                    <a:pt x="63" y="52"/>
                    <a:pt x="57" y="58"/>
                  </a:cubicBezTo>
                  <a:cubicBezTo>
                    <a:pt x="54" y="61"/>
                    <a:pt x="50" y="63"/>
                    <a:pt x="45" y="63"/>
                  </a:cubicBezTo>
                  <a:close/>
                  <a:moveTo>
                    <a:pt x="16" y="9"/>
                  </a:moveTo>
                  <a:cubicBezTo>
                    <a:pt x="14" y="9"/>
                    <a:pt x="12" y="10"/>
                    <a:pt x="11" y="12"/>
                  </a:cubicBezTo>
                  <a:cubicBezTo>
                    <a:pt x="9" y="13"/>
                    <a:pt x="8" y="15"/>
                    <a:pt x="8" y="18"/>
                  </a:cubicBezTo>
                  <a:cubicBezTo>
                    <a:pt x="8" y="20"/>
                    <a:pt x="9" y="22"/>
                    <a:pt x="11" y="23"/>
                  </a:cubicBezTo>
                  <a:cubicBezTo>
                    <a:pt x="40" y="52"/>
                    <a:pt x="40" y="52"/>
                    <a:pt x="40" y="52"/>
                  </a:cubicBezTo>
                  <a:cubicBezTo>
                    <a:pt x="43" y="56"/>
                    <a:pt x="48" y="55"/>
                    <a:pt x="51" y="52"/>
                  </a:cubicBezTo>
                  <a:cubicBezTo>
                    <a:pt x="54" y="49"/>
                    <a:pt x="54" y="44"/>
                    <a:pt x="51" y="41"/>
                  </a:cubicBezTo>
                  <a:cubicBezTo>
                    <a:pt x="22" y="12"/>
                    <a:pt x="22" y="12"/>
                    <a:pt x="22" y="12"/>
                  </a:cubicBezTo>
                  <a:cubicBezTo>
                    <a:pt x="21" y="10"/>
                    <a:pt x="19" y="9"/>
                    <a:pt x="1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9" name="Freeform 26">
              <a:extLst>
                <a:ext uri="{FF2B5EF4-FFF2-40B4-BE49-F238E27FC236}">
                  <a16:creationId xmlns:a16="http://schemas.microsoft.com/office/drawing/2014/main" id="{010C26F9-21D8-4BC7-B2BA-BC1928AE210B}"/>
                </a:ext>
              </a:extLst>
            </p:cNvPr>
            <p:cNvSpPr>
              <a:spLocks noEditPoints="1"/>
            </p:cNvSpPr>
            <p:nvPr/>
          </p:nvSpPr>
          <p:spPr bwMode="auto">
            <a:xfrm>
              <a:off x="6311901" y="1460500"/>
              <a:ext cx="328613" cy="331788"/>
            </a:xfrm>
            <a:custGeom>
              <a:avLst/>
              <a:gdLst>
                <a:gd name="T0" fmla="*/ 70 w 86"/>
                <a:gd name="T1" fmla="*/ 87 h 87"/>
                <a:gd name="T2" fmla="*/ 58 w 86"/>
                <a:gd name="T3" fmla="*/ 82 h 87"/>
                <a:gd name="T4" fmla="*/ 6 w 86"/>
                <a:gd name="T5" fmla="*/ 30 h 87"/>
                <a:gd name="T6" fmla="*/ 6 w 86"/>
                <a:gd name="T7" fmla="*/ 6 h 87"/>
                <a:gd name="T8" fmla="*/ 29 w 86"/>
                <a:gd name="T9" fmla="*/ 6 h 87"/>
                <a:gd name="T10" fmla="*/ 82 w 86"/>
                <a:gd name="T11" fmla="*/ 59 h 87"/>
                <a:gd name="T12" fmla="*/ 86 w 86"/>
                <a:gd name="T13" fmla="*/ 70 h 87"/>
                <a:gd name="T14" fmla="*/ 82 w 86"/>
                <a:gd name="T15" fmla="*/ 82 h 87"/>
                <a:gd name="T16" fmla="*/ 70 w 86"/>
                <a:gd name="T17" fmla="*/ 87 h 87"/>
                <a:gd name="T18" fmla="*/ 18 w 86"/>
                <a:gd name="T19" fmla="*/ 10 h 87"/>
                <a:gd name="T20" fmla="*/ 12 w 86"/>
                <a:gd name="T21" fmla="*/ 12 h 87"/>
                <a:gd name="T22" fmla="*/ 12 w 86"/>
                <a:gd name="T23" fmla="*/ 24 h 87"/>
                <a:gd name="T24" fmla="*/ 64 w 86"/>
                <a:gd name="T25" fmla="*/ 76 h 87"/>
                <a:gd name="T26" fmla="*/ 76 w 86"/>
                <a:gd name="T27" fmla="*/ 76 h 87"/>
                <a:gd name="T28" fmla="*/ 78 w 86"/>
                <a:gd name="T29" fmla="*/ 70 h 87"/>
                <a:gd name="T30" fmla="*/ 76 w 86"/>
                <a:gd name="T31" fmla="*/ 64 h 87"/>
                <a:gd name="T32" fmla="*/ 24 w 86"/>
                <a:gd name="T33" fmla="*/ 12 h 87"/>
                <a:gd name="T34" fmla="*/ 18 w 86"/>
                <a:gd name="T35"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87">
                  <a:moveTo>
                    <a:pt x="70" y="87"/>
                  </a:moveTo>
                  <a:cubicBezTo>
                    <a:pt x="66" y="87"/>
                    <a:pt x="62" y="85"/>
                    <a:pt x="58" y="82"/>
                  </a:cubicBezTo>
                  <a:cubicBezTo>
                    <a:pt x="6" y="30"/>
                    <a:pt x="6" y="30"/>
                    <a:pt x="6" y="30"/>
                  </a:cubicBezTo>
                  <a:cubicBezTo>
                    <a:pt x="0" y="23"/>
                    <a:pt x="0" y="13"/>
                    <a:pt x="6" y="6"/>
                  </a:cubicBezTo>
                  <a:cubicBezTo>
                    <a:pt x="12" y="0"/>
                    <a:pt x="23" y="0"/>
                    <a:pt x="29" y="6"/>
                  </a:cubicBezTo>
                  <a:cubicBezTo>
                    <a:pt x="82" y="59"/>
                    <a:pt x="82" y="59"/>
                    <a:pt x="82" y="59"/>
                  </a:cubicBezTo>
                  <a:cubicBezTo>
                    <a:pt x="85" y="62"/>
                    <a:pt x="86" y="66"/>
                    <a:pt x="86" y="70"/>
                  </a:cubicBezTo>
                  <a:cubicBezTo>
                    <a:pt x="86" y="75"/>
                    <a:pt x="85" y="79"/>
                    <a:pt x="82" y="82"/>
                  </a:cubicBezTo>
                  <a:cubicBezTo>
                    <a:pt x="79" y="85"/>
                    <a:pt x="74" y="87"/>
                    <a:pt x="70" y="87"/>
                  </a:cubicBezTo>
                  <a:close/>
                  <a:moveTo>
                    <a:pt x="18" y="10"/>
                  </a:moveTo>
                  <a:cubicBezTo>
                    <a:pt x="16" y="10"/>
                    <a:pt x="14" y="11"/>
                    <a:pt x="12" y="12"/>
                  </a:cubicBezTo>
                  <a:cubicBezTo>
                    <a:pt x="9" y="15"/>
                    <a:pt x="9" y="21"/>
                    <a:pt x="12" y="24"/>
                  </a:cubicBezTo>
                  <a:cubicBezTo>
                    <a:pt x="64" y="76"/>
                    <a:pt x="64" y="76"/>
                    <a:pt x="64" y="76"/>
                  </a:cubicBezTo>
                  <a:cubicBezTo>
                    <a:pt x="67" y="79"/>
                    <a:pt x="73" y="79"/>
                    <a:pt x="76" y="76"/>
                  </a:cubicBezTo>
                  <a:cubicBezTo>
                    <a:pt x="77" y="74"/>
                    <a:pt x="78" y="72"/>
                    <a:pt x="78" y="70"/>
                  </a:cubicBezTo>
                  <a:cubicBezTo>
                    <a:pt x="78" y="68"/>
                    <a:pt x="77" y="66"/>
                    <a:pt x="76" y="64"/>
                  </a:cubicBezTo>
                  <a:cubicBezTo>
                    <a:pt x="24" y="12"/>
                    <a:pt x="24" y="12"/>
                    <a:pt x="24" y="12"/>
                  </a:cubicBezTo>
                  <a:cubicBezTo>
                    <a:pt x="22" y="11"/>
                    <a:pt x="20" y="10"/>
                    <a:pt x="1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60" name="Freeform 27">
              <a:extLst>
                <a:ext uri="{FF2B5EF4-FFF2-40B4-BE49-F238E27FC236}">
                  <a16:creationId xmlns:a16="http://schemas.microsoft.com/office/drawing/2014/main" id="{DEE11FC1-5475-4283-8757-416C816E5E71}"/>
                </a:ext>
              </a:extLst>
            </p:cNvPr>
            <p:cNvSpPr>
              <a:spLocks noEditPoints="1"/>
            </p:cNvSpPr>
            <p:nvPr/>
          </p:nvSpPr>
          <p:spPr bwMode="auto">
            <a:xfrm>
              <a:off x="6426201" y="1438275"/>
              <a:ext cx="244475" cy="242888"/>
            </a:xfrm>
            <a:custGeom>
              <a:avLst/>
              <a:gdLst>
                <a:gd name="T0" fmla="*/ 46 w 64"/>
                <a:gd name="T1" fmla="*/ 64 h 64"/>
                <a:gd name="T2" fmla="*/ 34 w 64"/>
                <a:gd name="T3" fmla="*/ 59 h 64"/>
                <a:gd name="T4" fmla="*/ 5 w 64"/>
                <a:gd name="T5" fmla="*/ 30 h 64"/>
                <a:gd name="T6" fmla="*/ 0 w 64"/>
                <a:gd name="T7" fmla="*/ 18 h 64"/>
                <a:gd name="T8" fmla="*/ 5 w 64"/>
                <a:gd name="T9" fmla="*/ 7 h 64"/>
                <a:gd name="T10" fmla="*/ 28 w 64"/>
                <a:gd name="T11" fmla="*/ 7 h 64"/>
                <a:gd name="T12" fmla="*/ 57 w 64"/>
                <a:gd name="T13" fmla="*/ 36 h 64"/>
                <a:gd name="T14" fmla="*/ 57 w 64"/>
                <a:gd name="T15" fmla="*/ 59 h 64"/>
                <a:gd name="T16" fmla="*/ 46 w 64"/>
                <a:gd name="T17" fmla="*/ 64 h 64"/>
                <a:gd name="T18" fmla="*/ 17 w 64"/>
                <a:gd name="T19" fmla="*/ 10 h 64"/>
                <a:gd name="T20" fmla="*/ 11 w 64"/>
                <a:gd name="T21" fmla="*/ 12 h 64"/>
                <a:gd name="T22" fmla="*/ 9 w 64"/>
                <a:gd name="T23" fmla="*/ 18 h 64"/>
                <a:gd name="T24" fmla="*/ 11 w 64"/>
                <a:gd name="T25" fmla="*/ 24 h 64"/>
                <a:gd name="T26" fmla="*/ 40 w 64"/>
                <a:gd name="T27" fmla="*/ 53 h 64"/>
                <a:gd name="T28" fmla="*/ 52 w 64"/>
                <a:gd name="T29" fmla="*/ 53 h 64"/>
                <a:gd name="T30" fmla="*/ 52 w 64"/>
                <a:gd name="T31" fmla="*/ 41 h 64"/>
                <a:gd name="T32" fmla="*/ 23 w 64"/>
                <a:gd name="T33" fmla="*/ 12 h 64"/>
                <a:gd name="T34" fmla="*/ 17 w 64"/>
                <a:gd name="T35"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46" y="64"/>
                  </a:moveTo>
                  <a:cubicBezTo>
                    <a:pt x="41" y="64"/>
                    <a:pt x="37" y="62"/>
                    <a:pt x="34" y="59"/>
                  </a:cubicBezTo>
                  <a:cubicBezTo>
                    <a:pt x="5" y="30"/>
                    <a:pt x="5" y="30"/>
                    <a:pt x="5" y="30"/>
                  </a:cubicBezTo>
                  <a:cubicBezTo>
                    <a:pt x="2" y="27"/>
                    <a:pt x="0" y="23"/>
                    <a:pt x="0" y="18"/>
                  </a:cubicBezTo>
                  <a:cubicBezTo>
                    <a:pt x="0" y="14"/>
                    <a:pt x="2" y="10"/>
                    <a:pt x="5" y="7"/>
                  </a:cubicBezTo>
                  <a:cubicBezTo>
                    <a:pt x="11" y="0"/>
                    <a:pt x="22" y="0"/>
                    <a:pt x="28" y="7"/>
                  </a:cubicBezTo>
                  <a:cubicBezTo>
                    <a:pt x="57" y="36"/>
                    <a:pt x="57" y="36"/>
                    <a:pt x="57" y="36"/>
                  </a:cubicBezTo>
                  <a:cubicBezTo>
                    <a:pt x="64" y="42"/>
                    <a:pt x="64" y="52"/>
                    <a:pt x="57" y="59"/>
                  </a:cubicBezTo>
                  <a:cubicBezTo>
                    <a:pt x="54" y="62"/>
                    <a:pt x="50" y="64"/>
                    <a:pt x="46" y="64"/>
                  </a:cubicBezTo>
                  <a:close/>
                  <a:moveTo>
                    <a:pt x="17" y="10"/>
                  </a:moveTo>
                  <a:cubicBezTo>
                    <a:pt x="15" y="10"/>
                    <a:pt x="13" y="11"/>
                    <a:pt x="11" y="12"/>
                  </a:cubicBezTo>
                  <a:cubicBezTo>
                    <a:pt x="10" y="14"/>
                    <a:pt x="9" y="16"/>
                    <a:pt x="9" y="18"/>
                  </a:cubicBezTo>
                  <a:cubicBezTo>
                    <a:pt x="9" y="20"/>
                    <a:pt x="10" y="22"/>
                    <a:pt x="11" y="24"/>
                  </a:cubicBezTo>
                  <a:cubicBezTo>
                    <a:pt x="40" y="53"/>
                    <a:pt x="40" y="53"/>
                    <a:pt x="40" y="53"/>
                  </a:cubicBezTo>
                  <a:cubicBezTo>
                    <a:pt x="43" y="56"/>
                    <a:pt x="49" y="56"/>
                    <a:pt x="52" y="53"/>
                  </a:cubicBezTo>
                  <a:cubicBezTo>
                    <a:pt x="55" y="50"/>
                    <a:pt x="55" y="45"/>
                    <a:pt x="52" y="41"/>
                  </a:cubicBezTo>
                  <a:cubicBezTo>
                    <a:pt x="23" y="12"/>
                    <a:pt x="23" y="12"/>
                    <a:pt x="23" y="12"/>
                  </a:cubicBezTo>
                  <a:cubicBezTo>
                    <a:pt x="21" y="11"/>
                    <a:pt x="19"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grpSp>
      <p:sp>
        <p:nvSpPr>
          <p:cNvPr id="661" name="Freeform 463">
            <a:extLst>
              <a:ext uri="{FF2B5EF4-FFF2-40B4-BE49-F238E27FC236}">
                <a16:creationId xmlns:a16="http://schemas.microsoft.com/office/drawing/2014/main" id="{83BD0D8C-444D-4513-B34D-5C4ED06B99A4}"/>
              </a:ext>
            </a:extLst>
          </p:cNvPr>
          <p:cNvSpPr>
            <a:spLocks noChangeAspect="1"/>
          </p:cNvSpPr>
          <p:nvPr/>
        </p:nvSpPr>
        <p:spPr bwMode="auto">
          <a:xfrm>
            <a:off x="5393305" y="3802799"/>
            <a:ext cx="255403" cy="306484"/>
          </a:xfrm>
          <a:custGeom>
            <a:avLst/>
            <a:gdLst>
              <a:gd name="T0" fmla="*/ 15 w 749"/>
              <a:gd name="T1" fmla="*/ 0 h 900"/>
              <a:gd name="T2" fmla="*/ 9 w 749"/>
              <a:gd name="T3" fmla="*/ 1 h 900"/>
              <a:gd name="T4" fmla="*/ 4 w 749"/>
              <a:gd name="T5" fmla="*/ 4 h 900"/>
              <a:gd name="T6" fmla="*/ 1 w 749"/>
              <a:gd name="T7" fmla="*/ 10 h 900"/>
              <a:gd name="T8" fmla="*/ 0 w 749"/>
              <a:gd name="T9" fmla="*/ 15 h 900"/>
              <a:gd name="T10" fmla="*/ 1 w 749"/>
              <a:gd name="T11" fmla="*/ 138 h 900"/>
              <a:gd name="T12" fmla="*/ 3 w 749"/>
              <a:gd name="T13" fmla="*/ 143 h 900"/>
              <a:gd name="T14" fmla="*/ 6 w 749"/>
              <a:gd name="T15" fmla="*/ 147 h 900"/>
              <a:gd name="T16" fmla="*/ 11 w 749"/>
              <a:gd name="T17" fmla="*/ 150 h 900"/>
              <a:gd name="T18" fmla="*/ 18 w 749"/>
              <a:gd name="T19" fmla="*/ 150 h 900"/>
              <a:gd name="T20" fmla="*/ 23 w 749"/>
              <a:gd name="T21" fmla="*/ 147 h 900"/>
              <a:gd name="T22" fmla="*/ 27 w 749"/>
              <a:gd name="T23" fmla="*/ 143 h 900"/>
              <a:gd name="T24" fmla="*/ 30 w 749"/>
              <a:gd name="T25" fmla="*/ 138 h 900"/>
              <a:gd name="T26" fmla="*/ 30 w 749"/>
              <a:gd name="T27" fmla="*/ 30 h 900"/>
              <a:gd name="T28" fmla="*/ 359 w 749"/>
              <a:gd name="T29" fmla="*/ 870 h 900"/>
              <a:gd name="T30" fmla="*/ 236 w 749"/>
              <a:gd name="T31" fmla="*/ 870 h 900"/>
              <a:gd name="T32" fmla="*/ 231 w 749"/>
              <a:gd name="T33" fmla="*/ 872 h 900"/>
              <a:gd name="T34" fmla="*/ 228 w 749"/>
              <a:gd name="T35" fmla="*/ 876 h 900"/>
              <a:gd name="T36" fmla="*/ 224 w 749"/>
              <a:gd name="T37" fmla="*/ 881 h 900"/>
              <a:gd name="T38" fmla="*/ 224 w 749"/>
              <a:gd name="T39" fmla="*/ 887 h 900"/>
              <a:gd name="T40" fmla="*/ 228 w 749"/>
              <a:gd name="T41" fmla="*/ 892 h 900"/>
              <a:gd name="T42" fmla="*/ 231 w 749"/>
              <a:gd name="T43" fmla="*/ 896 h 900"/>
              <a:gd name="T44" fmla="*/ 236 w 749"/>
              <a:gd name="T45" fmla="*/ 898 h 900"/>
              <a:gd name="T46" fmla="*/ 509 w 749"/>
              <a:gd name="T47" fmla="*/ 900 h 900"/>
              <a:gd name="T48" fmla="*/ 515 w 749"/>
              <a:gd name="T49" fmla="*/ 897 h 900"/>
              <a:gd name="T50" fmla="*/ 520 w 749"/>
              <a:gd name="T51" fmla="*/ 894 h 900"/>
              <a:gd name="T52" fmla="*/ 523 w 749"/>
              <a:gd name="T53" fmla="*/ 890 h 900"/>
              <a:gd name="T54" fmla="*/ 524 w 749"/>
              <a:gd name="T55" fmla="*/ 885 h 900"/>
              <a:gd name="T56" fmla="*/ 523 w 749"/>
              <a:gd name="T57" fmla="*/ 878 h 900"/>
              <a:gd name="T58" fmla="*/ 520 w 749"/>
              <a:gd name="T59" fmla="*/ 874 h 900"/>
              <a:gd name="T60" fmla="*/ 515 w 749"/>
              <a:gd name="T61" fmla="*/ 871 h 900"/>
              <a:gd name="T62" fmla="*/ 509 w 749"/>
              <a:gd name="T63" fmla="*/ 870 h 900"/>
              <a:gd name="T64" fmla="*/ 389 w 749"/>
              <a:gd name="T65" fmla="*/ 30 h 900"/>
              <a:gd name="T66" fmla="*/ 719 w 749"/>
              <a:gd name="T67" fmla="*/ 135 h 900"/>
              <a:gd name="T68" fmla="*/ 720 w 749"/>
              <a:gd name="T69" fmla="*/ 140 h 900"/>
              <a:gd name="T70" fmla="*/ 724 w 749"/>
              <a:gd name="T71" fmla="*/ 146 h 900"/>
              <a:gd name="T72" fmla="*/ 728 w 749"/>
              <a:gd name="T73" fmla="*/ 149 h 900"/>
              <a:gd name="T74" fmla="*/ 734 w 749"/>
              <a:gd name="T75" fmla="*/ 150 h 900"/>
              <a:gd name="T76" fmla="*/ 740 w 749"/>
              <a:gd name="T77" fmla="*/ 149 h 900"/>
              <a:gd name="T78" fmla="*/ 745 w 749"/>
              <a:gd name="T79" fmla="*/ 146 h 900"/>
              <a:gd name="T80" fmla="*/ 748 w 749"/>
              <a:gd name="T81" fmla="*/ 140 h 900"/>
              <a:gd name="T82" fmla="*/ 749 w 749"/>
              <a:gd name="T83" fmla="*/ 135 h 900"/>
              <a:gd name="T84" fmla="*/ 749 w 749"/>
              <a:gd name="T85" fmla="*/ 12 h 900"/>
              <a:gd name="T86" fmla="*/ 746 w 749"/>
              <a:gd name="T87" fmla="*/ 6 h 900"/>
              <a:gd name="T88" fmla="*/ 743 w 749"/>
              <a:gd name="T89" fmla="*/ 2 h 900"/>
              <a:gd name="T90" fmla="*/ 738 w 749"/>
              <a:gd name="T9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9" h="900">
                <a:moveTo>
                  <a:pt x="734" y="0"/>
                </a:moveTo>
                <a:lnTo>
                  <a:pt x="15" y="0"/>
                </a:lnTo>
                <a:lnTo>
                  <a:pt x="11" y="0"/>
                </a:lnTo>
                <a:lnTo>
                  <a:pt x="9" y="1"/>
                </a:lnTo>
                <a:lnTo>
                  <a:pt x="6" y="2"/>
                </a:lnTo>
                <a:lnTo>
                  <a:pt x="4" y="4"/>
                </a:lnTo>
                <a:lnTo>
                  <a:pt x="3" y="6"/>
                </a:lnTo>
                <a:lnTo>
                  <a:pt x="1" y="10"/>
                </a:lnTo>
                <a:lnTo>
                  <a:pt x="0" y="12"/>
                </a:lnTo>
                <a:lnTo>
                  <a:pt x="0" y="15"/>
                </a:lnTo>
                <a:lnTo>
                  <a:pt x="0" y="135"/>
                </a:lnTo>
                <a:lnTo>
                  <a:pt x="1" y="138"/>
                </a:lnTo>
                <a:lnTo>
                  <a:pt x="1" y="140"/>
                </a:lnTo>
                <a:lnTo>
                  <a:pt x="3" y="143"/>
                </a:lnTo>
                <a:lnTo>
                  <a:pt x="4" y="146"/>
                </a:lnTo>
                <a:lnTo>
                  <a:pt x="6" y="147"/>
                </a:lnTo>
                <a:lnTo>
                  <a:pt x="9" y="149"/>
                </a:lnTo>
                <a:lnTo>
                  <a:pt x="11" y="150"/>
                </a:lnTo>
                <a:lnTo>
                  <a:pt x="15" y="150"/>
                </a:lnTo>
                <a:lnTo>
                  <a:pt x="18" y="150"/>
                </a:lnTo>
                <a:lnTo>
                  <a:pt x="21" y="149"/>
                </a:lnTo>
                <a:lnTo>
                  <a:pt x="23" y="147"/>
                </a:lnTo>
                <a:lnTo>
                  <a:pt x="25" y="146"/>
                </a:lnTo>
                <a:lnTo>
                  <a:pt x="27" y="143"/>
                </a:lnTo>
                <a:lnTo>
                  <a:pt x="28" y="140"/>
                </a:lnTo>
                <a:lnTo>
                  <a:pt x="30" y="138"/>
                </a:lnTo>
                <a:lnTo>
                  <a:pt x="30" y="135"/>
                </a:lnTo>
                <a:lnTo>
                  <a:pt x="30" y="30"/>
                </a:lnTo>
                <a:lnTo>
                  <a:pt x="359" y="30"/>
                </a:lnTo>
                <a:lnTo>
                  <a:pt x="359" y="870"/>
                </a:lnTo>
                <a:lnTo>
                  <a:pt x="239" y="870"/>
                </a:lnTo>
                <a:lnTo>
                  <a:pt x="236" y="870"/>
                </a:lnTo>
                <a:lnTo>
                  <a:pt x="234" y="871"/>
                </a:lnTo>
                <a:lnTo>
                  <a:pt x="231" y="872"/>
                </a:lnTo>
                <a:lnTo>
                  <a:pt x="229" y="874"/>
                </a:lnTo>
                <a:lnTo>
                  <a:pt x="228" y="876"/>
                </a:lnTo>
                <a:lnTo>
                  <a:pt x="226" y="878"/>
                </a:lnTo>
                <a:lnTo>
                  <a:pt x="224" y="881"/>
                </a:lnTo>
                <a:lnTo>
                  <a:pt x="224" y="885"/>
                </a:lnTo>
                <a:lnTo>
                  <a:pt x="224" y="887"/>
                </a:lnTo>
                <a:lnTo>
                  <a:pt x="226" y="890"/>
                </a:lnTo>
                <a:lnTo>
                  <a:pt x="228" y="892"/>
                </a:lnTo>
                <a:lnTo>
                  <a:pt x="229" y="894"/>
                </a:lnTo>
                <a:lnTo>
                  <a:pt x="231" y="896"/>
                </a:lnTo>
                <a:lnTo>
                  <a:pt x="234" y="897"/>
                </a:lnTo>
                <a:lnTo>
                  <a:pt x="236" y="898"/>
                </a:lnTo>
                <a:lnTo>
                  <a:pt x="239" y="900"/>
                </a:lnTo>
                <a:lnTo>
                  <a:pt x="509" y="900"/>
                </a:lnTo>
                <a:lnTo>
                  <a:pt x="513" y="898"/>
                </a:lnTo>
                <a:lnTo>
                  <a:pt x="515" y="897"/>
                </a:lnTo>
                <a:lnTo>
                  <a:pt x="518" y="896"/>
                </a:lnTo>
                <a:lnTo>
                  <a:pt x="520" y="894"/>
                </a:lnTo>
                <a:lnTo>
                  <a:pt x="522" y="892"/>
                </a:lnTo>
                <a:lnTo>
                  <a:pt x="523" y="890"/>
                </a:lnTo>
                <a:lnTo>
                  <a:pt x="524" y="887"/>
                </a:lnTo>
                <a:lnTo>
                  <a:pt x="524" y="885"/>
                </a:lnTo>
                <a:lnTo>
                  <a:pt x="524" y="881"/>
                </a:lnTo>
                <a:lnTo>
                  <a:pt x="523" y="878"/>
                </a:lnTo>
                <a:lnTo>
                  <a:pt x="522" y="876"/>
                </a:lnTo>
                <a:lnTo>
                  <a:pt x="520" y="874"/>
                </a:lnTo>
                <a:lnTo>
                  <a:pt x="518" y="872"/>
                </a:lnTo>
                <a:lnTo>
                  <a:pt x="515" y="871"/>
                </a:lnTo>
                <a:lnTo>
                  <a:pt x="513" y="870"/>
                </a:lnTo>
                <a:lnTo>
                  <a:pt x="509" y="870"/>
                </a:lnTo>
                <a:lnTo>
                  <a:pt x="389" y="870"/>
                </a:lnTo>
                <a:lnTo>
                  <a:pt x="389" y="30"/>
                </a:lnTo>
                <a:lnTo>
                  <a:pt x="719" y="30"/>
                </a:lnTo>
                <a:lnTo>
                  <a:pt x="719" y="135"/>
                </a:lnTo>
                <a:lnTo>
                  <a:pt x="719" y="138"/>
                </a:lnTo>
                <a:lnTo>
                  <a:pt x="720" y="140"/>
                </a:lnTo>
                <a:lnTo>
                  <a:pt x="722" y="143"/>
                </a:lnTo>
                <a:lnTo>
                  <a:pt x="724" y="146"/>
                </a:lnTo>
                <a:lnTo>
                  <a:pt x="726" y="147"/>
                </a:lnTo>
                <a:lnTo>
                  <a:pt x="728" y="149"/>
                </a:lnTo>
                <a:lnTo>
                  <a:pt x="731" y="150"/>
                </a:lnTo>
                <a:lnTo>
                  <a:pt x="734" y="150"/>
                </a:lnTo>
                <a:lnTo>
                  <a:pt x="738" y="150"/>
                </a:lnTo>
                <a:lnTo>
                  <a:pt x="740" y="149"/>
                </a:lnTo>
                <a:lnTo>
                  <a:pt x="743" y="147"/>
                </a:lnTo>
                <a:lnTo>
                  <a:pt x="745" y="146"/>
                </a:lnTo>
                <a:lnTo>
                  <a:pt x="746" y="143"/>
                </a:lnTo>
                <a:lnTo>
                  <a:pt x="748" y="140"/>
                </a:lnTo>
                <a:lnTo>
                  <a:pt x="749" y="138"/>
                </a:lnTo>
                <a:lnTo>
                  <a:pt x="749" y="135"/>
                </a:lnTo>
                <a:lnTo>
                  <a:pt x="749" y="15"/>
                </a:lnTo>
                <a:lnTo>
                  <a:pt x="749" y="12"/>
                </a:lnTo>
                <a:lnTo>
                  <a:pt x="748" y="8"/>
                </a:lnTo>
                <a:lnTo>
                  <a:pt x="746" y="6"/>
                </a:lnTo>
                <a:lnTo>
                  <a:pt x="745" y="4"/>
                </a:lnTo>
                <a:lnTo>
                  <a:pt x="743" y="2"/>
                </a:lnTo>
                <a:lnTo>
                  <a:pt x="740" y="1"/>
                </a:lnTo>
                <a:lnTo>
                  <a:pt x="738" y="0"/>
                </a:lnTo>
                <a:lnTo>
                  <a:pt x="734" y="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3" name="Freeform 13">
            <a:extLst>
              <a:ext uri="{FF2B5EF4-FFF2-40B4-BE49-F238E27FC236}">
                <a16:creationId xmlns:a16="http://schemas.microsoft.com/office/drawing/2014/main" id="{2A9C1B97-9C64-4034-937C-88C1F2570307}"/>
              </a:ext>
            </a:extLst>
          </p:cNvPr>
          <p:cNvSpPr>
            <a:spLocks noChangeAspect="1" noEditPoints="1"/>
          </p:cNvSpPr>
          <p:nvPr/>
        </p:nvSpPr>
        <p:spPr bwMode="auto">
          <a:xfrm>
            <a:off x="276818" y="4914550"/>
            <a:ext cx="298342" cy="237125"/>
          </a:xfrm>
          <a:custGeom>
            <a:avLst/>
            <a:gdLst>
              <a:gd name="T0" fmla="*/ 319 w 424"/>
              <a:gd name="T1" fmla="*/ 316 h 337"/>
              <a:gd name="T2" fmla="*/ 294 w 424"/>
              <a:gd name="T3" fmla="*/ 300 h 337"/>
              <a:gd name="T4" fmla="*/ 280 w 424"/>
              <a:gd name="T5" fmla="*/ 275 h 337"/>
              <a:gd name="T6" fmla="*/ 401 w 424"/>
              <a:gd name="T7" fmla="*/ 262 h 337"/>
              <a:gd name="T8" fmla="*/ 401 w 424"/>
              <a:gd name="T9" fmla="*/ 285 h 337"/>
              <a:gd name="T10" fmla="*/ 383 w 424"/>
              <a:gd name="T11" fmla="*/ 308 h 337"/>
              <a:gd name="T12" fmla="*/ 356 w 424"/>
              <a:gd name="T13" fmla="*/ 320 h 337"/>
              <a:gd name="T14" fmla="*/ 344 w 424"/>
              <a:gd name="T15" fmla="*/ 64 h 337"/>
              <a:gd name="T16" fmla="*/ 344 w 424"/>
              <a:gd name="T17" fmla="*/ 64 h 337"/>
              <a:gd name="T18" fmla="*/ 33 w 424"/>
              <a:gd name="T19" fmla="*/ 248 h 337"/>
              <a:gd name="T20" fmla="*/ 62 w 424"/>
              <a:gd name="T21" fmla="*/ 318 h 337"/>
              <a:gd name="T22" fmla="*/ 37 w 424"/>
              <a:gd name="T23" fmla="*/ 304 h 337"/>
              <a:gd name="T24" fmla="*/ 20 w 424"/>
              <a:gd name="T25" fmla="*/ 281 h 337"/>
              <a:gd name="T26" fmla="*/ 140 w 424"/>
              <a:gd name="T27" fmla="*/ 262 h 337"/>
              <a:gd name="T28" fmla="*/ 142 w 424"/>
              <a:gd name="T29" fmla="*/ 281 h 337"/>
              <a:gd name="T30" fmla="*/ 125 w 424"/>
              <a:gd name="T31" fmla="*/ 304 h 337"/>
              <a:gd name="T32" fmla="*/ 99 w 424"/>
              <a:gd name="T33" fmla="*/ 318 h 337"/>
              <a:gd name="T34" fmla="*/ 80 w 424"/>
              <a:gd name="T35" fmla="*/ 322 h 337"/>
              <a:gd name="T36" fmla="*/ 403 w 424"/>
              <a:gd name="T37" fmla="*/ 43 h 337"/>
              <a:gd name="T38" fmla="*/ 408 w 424"/>
              <a:gd name="T39" fmla="*/ 39 h 337"/>
              <a:gd name="T40" fmla="*/ 408 w 424"/>
              <a:gd name="T41" fmla="*/ 31 h 337"/>
              <a:gd name="T42" fmla="*/ 401 w 424"/>
              <a:gd name="T43" fmla="*/ 29 h 337"/>
              <a:gd name="T44" fmla="*/ 218 w 424"/>
              <a:gd name="T45" fmla="*/ 2 h 337"/>
              <a:gd name="T46" fmla="*/ 212 w 424"/>
              <a:gd name="T47" fmla="*/ 0 h 337"/>
              <a:gd name="T48" fmla="*/ 206 w 424"/>
              <a:gd name="T49" fmla="*/ 2 h 337"/>
              <a:gd name="T50" fmla="*/ 23 w 424"/>
              <a:gd name="T51" fmla="*/ 29 h 337"/>
              <a:gd name="T52" fmla="*/ 16 w 424"/>
              <a:gd name="T53" fmla="*/ 31 h 337"/>
              <a:gd name="T54" fmla="*/ 16 w 424"/>
              <a:gd name="T55" fmla="*/ 39 h 337"/>
              <a:gd name="T56" fmla="*/ 20 w 424"/>
              <a:gd name="T57" fmla="*/ 43 h 337"/>
              <a:gd name="T58" fmla="*/ 6 w 424"/>
              <a:gd name="T59" fmla="*/ 248 h 337"/>
              <a:gd name="T60" fmla="*/ 2 w 424"/>
              <a:gd name="T61" fmla="*/ 252 h 337"/>
              <a:gd name="T62" fmla="*/ 4 w 424"/>
              <a:gd name="T63" fmla="*/ 279 h 337"/>
              <a:gd name="T64" fmla="*/ 25 w 424"/>
              <a:gd name="T65" fmla="*/ 312 h 337"/>
              <a:gd name="T66" fmla="*/ 58 w 424"/>
              <a:gd name="T67" fmla="*/ 333 h 337"/>
              <a:gd name="T68" fmla="*/ 97 w 424"/>
              <a:gd name="T69" fmla="*/ 335 h 337"/>
              <a:gd name="T70" fmla="*/ 132 w 424"/>
              <a:gd name="T71" fmla="*/ 318 h 337"/>
              <a:gd name="T72" fmla="*/ 154 w 424"/>
              <a:gd name="T73" fmla="*/ 287 h 337"/>
              <a:gd name="T74" fmla="*/ 160 w 424"/>
              <a:gd name="T75" fmla="*/ 254 h 337"/>
              <a:gd name="T76" fmla="*/ 156 w 424"/>
              <a:gd name="T77" fmla="*/ 248 h 337"/>
              <a:gd name="T78" fmla="*/ 204 w 424"/>
              <a:gd name="T79" fmla="*/ 43 h 337"/>
              <a:gd name="T80" fmla="*/ 208 w 424"/>
              <a:gd name="T81" fmla="*/ 70 h 337"/>
              <a:gd name="T82" fmla="*/ 214 w 424"/>
              <a:gd name="T83" fmla="*/ 72 h 337"/>
              <a:gd name="T84" fmla="*/ 218 w 424"/>
              <a:gd name="T85" fmla="*/ 68 h 337"/>
              <a:gd name="T86" fmla="*/ 280 w 424"/>
              <a:gd name="T87" fmla="*/ 248 h 337"/>
              <a:gd name="T88" fmla="*/ 265 w 424"/>
              <a:gd name="T89" fmla="*/ 250 h 337"/>
              <a:gd name="T90" fmla="*/ 263 w 424"/>
              <a:gd name="T91" fmla="*/ 265 h 337"/>
              <a:gd name="T92" fmla="*/ 278 w 424"/>
              <a:gd name="T93" fmla="*/ 300 h 337"/>
              <a:gd name="T94" fmla="*/ 305 w 424"/>
              <a:gd name="T95" fmla="*/ 327 h 337"/>
              <a:gd name="T96" fmla="*/ 344 w 424"/>
              <a:gd name="T97" fmla="*/ 337 h 337"/>
              <a:gd name="T98" fmla="*/ 381 w 424"/>
              <a:gd name="T99" fmla="*/ 327 h 337"/>
              <a:gd name="T100" fmla="*/ 410 w 424"/>
              <a:gd name="T101" fmla="*/ 300 h 337"/>
              <a:gd name="T102" fmla="*/ 424 w 424"/>
              <a:gd name="T103" fmla="*/ 265 h 337"/>
              <a:gd name="T104" fmla="*/ 422 w 424"/>
              <a:gd name="T105" fmla="*/ 250 h 337"/>
              <a:gd name="T106" fmla="*/ 416 w 424"/>
              <a:gd name="T107" fmla="*/ 2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4" h="337">
                <a:moveTo>
                  <a:pt x="344" y="322"/>
                </a:moveTo>
                <a:lnTo>
                  <a:pt x="338" y="320"/>
                </a:lnTo>
                <a:lnTo>
                  <a:pt x="331" y="320"/>
                </a:lnTo>
                <a:lnTo>
                  <a:pt x="325" y="318"/>
                </a:lnTo>
                <a:lnTo>
                  <a:pt x="319" y="316"/>
                </a:lnTo>
                <a:lnTo>
                  <a:pt x="315" y="314"/>
                </a:lnTo>
                <a:lnTo>
                  <a:pt x="309" y="312"/>
                </a:lnTo>
                <a:lnTo>
                  <a:pt x="305" y="308"/>
                </a:lnTo>
                <a:lnTo>
                  <a:pt x="300" y="304"/>
                </a:lnTo>
                <a:lnTo>
                  <a:pt x="294" y="300"/>
                </a:lnTo>
                <a:lnTo>
                  <a:pt x="292" y="296"/>
                </a:lnTo>
                <a:lnTo>
                  <a:pt x="288" y="291"/>
                </a:lnTo>
                <a:lnTo>
                  <a:pt x="286" y="285"/>
                </a:lnTo>
                <a:lnTo>
                  <a:pt x="282" y="281"/>
                </a:lnTo>
                <a:lnTo>
                  <a:pt x="280" y="275"/>
                </a:lnTo>
                <a:lnTo>
                  <a:pt x="280" y="269"/>
                </a:lnTo>
                <a:lnTo>
                  <a:pt x="278" y="262"/>
                </a:lnTo>
                <a:lnTo>
                  <a:pt x="401" y="262"/>
                </a:lnTo>
                <a:lnTo>
                  <a:pt x="401" y="262"/>
                </a:lnTo>
                <a:lnTo>
                  <a:pt x="401" y="262"/>
                </a:lnTo>
                <a:lnTo>
                  <a:pt x="410" y="262"/>
                </a:lnTo>
                <a:lnTo>
                  <a:pt x="408" y="269"/>
                </a:lnTo>
                <a:lnTo>
                  <a:pt x="405" y="275"/>
                </a:lnTo>
                <a:lnTo>
                  <a:pt x="405" y="281"/>
                </a:lnTo>
                <a:lnTo>
                  <a:pt x="401" y="285"/>
                </a:lnTo>
                <a:lnTo>
                  <a:pt x="399" y="291"/>
                </a:lnTo>
                <a:lnTo>
                  <a:pt x="395" y="296"/>
                </a:lnTo>
                <a:lnTo>
                  <a:pt x="391" y="300"/>
                </a:lnTo>
                <a:lnTo>
                  <a:pt x="387" y="304"/>
                </a:lnTo>
                <a:lnTo>
                  <a:pt x="383" y="308"/>
                </a:lnTo>
                <a:lnTo>
                  <a:pt x="379" y="312"/>
                </a:lnTo>
                <a:lnTo>
                  <a:pt x="373" y="314"/>
                </a:lnTo>
                <a:lnTo>
                  <a:pt x="366" y="316"/>
                </a:lnTo>
                <a:lnTo>
                  <a:pt x="362" y="318"/>
                </a:lnTo>
                <a:lnTo>
                  <a:pt x="356" y="320"/>
                </a:lnTo>
                <a:lnTo>
                  <a:pt x="350" y="320"/>
                </a:lnTo>
                <a:lnTo>
                  <a:pt x="344" y="322"/>
                </a:lnTo>
                <a:lnTo>
                  <a:pt x="344" y="322"/>
                </a:lnTo>
                <a:lnTo>
                  <a:pt x="344" y="322"/>
                </a:lnTo>
                <a:close/>
                <a:moveTo>
                  <a:pt x="344" y="64"/>
                </a:moveTo>
                <a:lnTo>
                  <a:pt x="393" y="248"/>
                </a:lnTo>
                <a:lnTo>
                  <a:pt x="294" y="248"/>
                </a:lnTo>
                <a:lnTo>
                  <a:pt x="344" y="64"/>
                </a:lnTo>
                <a:lnTo>
                  <a:pt x="344" y="64"/>
                </a:lnTo>
                <a:lnTo>
                  <a:pt x="344" y="64"/>
                </a:lnTo>
                <a:close/>
                <a:moveTo>
                  <a:pt x="33" y="248"/>
                </a:moveTo>
                <a:lnTo>
                  <a:pt x="80" y="64"/>
                </a:lnTo>
                <a:lnTo>
                  <a:pt x="130" y="248"/>
                </a:lnTo>
                <a:lnTo>
                  <a:pt x="33" y="248"/>
                </a:lnTo>
                <a:lnTo>
                  <a:pt x="33" y="248"/>
                </a:lnTo>
                <a:lnTo>
                  <a:pt x="33" y="248"/>
                </a:lnTo>
                <a:close/>
                <a:moveTo>
                  <a:pt x="80" y="322"/>
                </a:moveTo>
                <a:lnTo>
                  <a:pt x="74" y="320"/>
                </a:lnTo>
                <a:lnTo>
                  <a:pt x="68" y="320"/>
                </a:lnTo>
                <a:lnTo>
                  <a:pt x="62" y="318"/>
                </a:lnTo>
                <a:lnTo>
                  <a:pt x="58" y="316"/>
                </a:lnTo>
                <a:lnTo>
                  <a:pt x="51" y="314"/>
                </a:lnTo>
                <a:lnTo>
                  <a:pt x="45" y="312"/>
                </a:lnTo>
                <a:lnTo>
                  <a:pt x="41" y="308"/>
                </a:lnTo>
                <a:lnTo>
                  <a:pt x="37" y="304"/>
                </a:lnTo>
                <a:lnTo>
                  <a:pt x="33" y="300"/>
                </a:lnTo>
                <a:lnTo>
                  <a:pt x="29" y="296"/>
                </a:lnTo>
                <a:lnTo>
                  <a:pt x="25" y="291"/>
                </a:lnTo>
                <a:lnTo>
                  <a:pt x="23" y="285"/>
                </a:lnTo>
                <a:lnTo>
                  <a:pt x="20" y="281"/>
                </a:lnTo>
                <a:lnTo>
                  <a:pt x="18" y="275"/>
                </a:lnTo>
                <a:lnTo>
                  <a:pt x="16" y="269"/>
                </a:lnTo>
                <a:lnTo>
                  <a:pt x="14" y="262"/>
                </a:lnTo>
                <a:lnTo>
                  <a:pt x="140" y="262"/>
                </a:lnTo>
                <a:lnTo>
                  <a:pt x="140" y="262"/>
                </a:lnTo>
                <a:lnTo>
                  <a:pt x="140" y="262"/>
                </a:lnTo>
                <a:lnTo>
                  <a:pt x="146" y="262"/>
                </a:lnTo>
                <a:lnTo>
                  <a:pt x="144" y="269"/>
                </a:lnTo>
                <a:lnTo>
                  <a:pt x="144" y="275"/>
                </a:lnTo>
                <a:lnTo>
                  <a:pt x="142" y="281"/>
                </a:lnTo>
                <a:lnTo>
                  <a:pt x="140" y="285"/>
                </a:lnTo>
                <a:lnTo>
                  <a:pt x="136" y="291"/>
                </a:lnTo>
                <a:lnTo>
                  <a:pt x="134" y="296"/>
                </a:lnTo>
                <a:lnTo>
                  <a:pt x="128" y="300"/>
                </a:lnTo>
                <a:lnTo>
                  <a:pt x="125" y="304"/>
                </a:lnTo>
                <a:lnTo>
                  <a:pt x="119" y="308"/>
                </a:lnTo>
                <a:lnTo>
                  <a:pt x="115" y="312"/>
                </a:lnTo>
                <a:lnTo>
                  <a:pt x="109" y="314"/>
                </a:lnTo>
                <a:lnTo>
                  <a:pt x="105" y="316"/>
                </a:lnTo>
                <a:lnTo>
                  <a:pt x="99" y="318"/>
                </a:lnTo>
                <a:lnTo>
                  <a:pt x="93" y="320"/>
                </a:lnTo>
                <a:lnTo>
                  <a:pt x="86" y="320"/>
                </a:lnTo>
                <a:lnTo>
                  <a:pt x="80" y="322"/>
                </a:lnTo>
                <a:lnTo>
                  <a:pt x="80" y="322"/>
                </a:lnTo>
                <a:lnTo>
                  <a:pt x="80" y="322"/>
                </a:lnTo>
                <a:close/>
                <a:moveTo>
                  <a:pt x="416" y="248"/>
                </a:moveTo>
                <a:lnTo>
                  <a:pt x="408" y="248"/>
                </a:lnTo>
                <a:lnTo>
                  <a:pt x="352" y="43"/>
                </a:lnTo>
                <a:lnTo>
                  <a:pt x="401" y="43"/>
                </a:lnTo>
                <a:lnTo>
                  <a:pt x="403" y="43"/>
                </a:lnTo>
                <a:lnTo>
                  <a:pt x="405" y="43"/>
                </a:lnTo>
                <a:lnTo>
                  <a:pt x="405" y="43"/>
                </a:lnTo>
                <a:lnTo>
                  <a:pt x="408" y="41"/>
                </a:lnTo>
                <a:lnTo>
                  <a:pt x="408" y="39"/>
                </a:lnTo>
                <a:lnTo>
                  <a:pt x="408" y="39"/>
                </a:lnTo>
                <a:lnTo>
                  <a:pt x="410" y="37"/>
                </a:lnTo>
                <a:lnTo>
                  <a:pt x="410" y="37"/>
                </a:lnTo>
                <a:lnTo>
                  <a:pt x="410" y="35"/>
                </a:lnTo>
                <a:lnTo>
                  <a:pt x="408" y="33"/>
                </a:lnTo>
                <a:lnTo>
                  <a:pt x="408" y="31"/>
                </a:lnTo>
                <a:lnTo>
                  <a:pt x="408" y="31"/>
                </a:lnTo>
                <a:lnTo>
                  <a:pt x="405" y="31"/>
                </a:lnTo>
                <a:lnTo>
                  <a:pt x="405" y="29"/>
                </a:lnTo>
                <a:lnTo>
                  <a:pt x="403" y="29"/>
                </a:lnTo>
                <a:lnTo>
                  <a:pt x="401" y="29"/>
                </a:lnTo>
                <a:lnTo>
                  <a:pt x="220" y="29"/>
                </a:lnTo>
                <a:lnTo>
                  <a:pt x="220" y="6"/>
                </a:lnTo>
                <a:lnTo>
                  <a:pt x="220" y="4"/>
                </a:lnTo>
                <a:lnTo>
                  <a:pt x="218" y="4"/>
                </a:lnTo>
                <a:lnTo>
                  <a:pt x="218" y="2"/>
                </a:lnTo>
                <a:lnTo>
                  <a:pt x="216" y="2"/>
                </a:lnTo>
                <a:lnTo>
                  <a:pt x="216" y="0"/>
                </a:lnTo>
                <a:lnTo>
                  <a:pt x="214" y="0"/>
                </a:lnTo>
                <a:lnTo>
                  <a:pt x="214" y="0"/>
                </a:lnTo>
                <a:lnTo>
                  <a:pt x="212" y="0"/>
                </a:lnTo>
                <a:lnTo>
                  <a:pt x="212" y="0"/>
                </a:lnTo>
                <a:lnTo>
                  <a:pt x="210" y="0"/>
                </a:lnTo>
                <a:lnTo>
                  <a:pt x="208" y="0"/>
                </a:lnTo>
                <a:lnTo>
                  <a:pt x="208" y="2"/>
                </a:lnTo>
                <a:lnTo>
                  <a:pt x="206" y="2"/>
                </a:lnTo>
                <a:lnTo>
                  <a:pt x="206" y="4"/>
                </a:lnTo>
                <a:lnTo>
                  <a:pt x="206" y="4"/>
                </a:lnTo>
                <a:lnTo>
                  <a:pt x="204" y="6"/>
                </a:lnTo>
                <a:lnTo>
                  <a:pt x="204" y="29"/>
                </a:lnTo>
                <a:lnTo>
                  <a:pt x="23" y="29"/>
                </a:lnTo>
                <a:lnTo>
                  <a:pt x="20" y="29"/>
                </a:lnTo>
                <a:lnTo>
                  <a:pt x="18" y="29"/>
                </a:lnTo>
                <a:lnTo>
                  <a:pt x="18" y="31"/>
                </a:lnTo>
                <a:lnTo>
                  <a:pt x="18" y="31"/>
                </a:lnTo>
                <a:lnTo>
                  <a:pt x="16" y="31"/>
                </a:lnTo>
                <a:lnTo>
                  <a:pt x="16" y="33"/>
                </a:lnTo>
                <a:lnTo>
                  <a:pt x="14" y="35"/>
                </a:lnTo>
                <a:lnTo>
                  <a:pt x="14" y="37"/>
                </a:lnTo>
                <a:lnTo>
                  <a:pt x="14" y="37"/>
                </a:lnTo>
                <a:lnTo>
                  <a:pt x="16" y="39"/>
                </a:lnTo>
                <a:lnTo>
                  <a:pt x="16" y="39"/>
                </a:lnTo>
                <a:lnTo>
                  <a:pt x="18" y="41"/>
                </a:lnTo>
                <a:lnTo>
                  <a:pt x="18" y="43"/>
                </a:lnTo>
                <a:lnTo>
                  <a:pt x="18" y="43"/>
                </a:lnTo>
                <a:lnTo>
                  <a:pt x="20" y="43"/>
                </a:lnTo>
                <a:lnTo>
                  <a:pt x="23" y="43"/>
                </a:lnTo>
                <a:lnTo>
                  <a:pt x="72" y="43"/>
                </a:lnTo>
                <a:lnTo>
                  <a:pt x="16" y="248"/>
                </a:lnTo>
                <a:lnTo>
                  <a:pt x="8" y="248"/>
                </a:lnTo>
                <a:lnTo>
                  <a:pt x="6" y="248"/>
                </a:lnTo>
                <a:lnTo>
                  <a:pt x="4" y="248"/>
                </a:lnTo>
                <a:lnTo>
                  <a:pt x="4" y="250"/>
                </a:lnTo>
                <a:lnTo>
                  <a:pt x="2" y="250"/>
                </a:lnTo>
                <a:lnTo>
                  <a:pt x="2" y="252"/>
                </a:lnTo>
                <a:lnTo>
                  <a:pt x="2" y="252"/>
                </a:lnTo>
                <a:lnTo>
                  <a:pt x="0" y="254"/>
                </a:lnTo>
                <a:lnTo>
                  <a:pt x="0" y="256"/>
                </a:lnTo>
                <a:lnTo>
                  <a:pt x="0" y="265"/>
                </a:lnTo>
                <a:lnTo>
                  <a:pt x="2" y="271"/>
                </a:lnTo>
                <a:lnTo>
                  <a:pt x="4" y="279"/>
                </a:lnTo>
                <a:lnTo>
                  <a:pt x="6" y="287"/>
                </a:lnTo>
                <a:lnTo>
                  <a:pt x="10" y="293"/>
                </a:lnTo>
                <a:lnTo>
                  <a:pt x="14" y="300"/>
                </a:lnTo>
                <a:lnTo>
                  <a:pt x="18" y="306"/>
                </a:lnTo>
                <a:lnTo>
                  <a:pt x="25" y="312"/>
                </a:lnTo>
                <a:lnTo>
                  <a:pt x="29" y="318"/>
                </a:lnTo>
                <a:lnTo>
                  <a:pt x="35" y="322"/>
                </a:lnTo>
                <a:lnTo>
                  <a:pt x="43" y="327"/>
                </a:lnTo>
                <a:lnTo>
                  <a:pt x="49" y="329"/>
                </a:lnTo>
                <a:lnTo>
                  <a:pt x="58" y="333"/>
                </a:lnTo>
                <a:lnTo>
                  <a:pt x="64" y="335"/>
                </a:lnTo>
                <a:lnTo>
                  <a:pt x="72" y="335"/>
                </a:lnTo>
                <a:lnTo>
                  <a:pt x="80" y="337"/>
                </a:lnTo>
                <a:lnTo>
                  <a:pt x="88" y="335"/>
                </a:lnTo>
                <a:lnTo>
                  <a:pt x="97" y="335"/>
                </a:lnTo>
                <a:lnTo>
                  <a:pt x="105" y="333"/>
                </a:lnTo>
                <a:lnTo>
                  <a:pt x="111" y="329"/>
                </a:lnTo>
                <a:lnTo>
                  <a:pt x="119" y="327"/>
                </a:lnTo>
                <a:lnTo>
                  <a:pt x="125" y="322"/>
                </a:lnTo>
                <a:lnTo>
                  <a:pt x="132" y="318"/>
                </a:lnTo>
                <a:lnTo>
                  <a:pt x="138" y="312"/>
                </a:lnTo>
                <a:lnTo>
                  <a:pt x="142" y="306"/>
                </a:lnTo>
                <a:lnTo>
                  <a:pt x="148" y="300"/>
                </a:lnTo>
                <a:lnTo>
                  <a:pt x="152" y="293"/>
                </a:lnTo>
                <a:lnTo>
                  <a:pt x="154" y="287"/>
                </a:lnTo>
                <a:lnTo>
                  <a:pt x="156" y="279"/>
                </a:lnTo>
                <a:lnTo>
                  <a:pt x="158" y="271"/>
                </a:lnTo>
                <a:lnTo>
                  <a:pt x="160" y="265"/>
                </a:lnTo>
                <a:lnTo>
                  <a:pt x="160" y="256"/>
                </a:lnTo>
                <a:lnTo>
                  <a:pt x="160" y="254"/>
                </a:lnTo>
                <a:lnTo>
                  <a:pt x="160" y="252"/>
                </a:lnTo>
                <a:lnTo>
                  <a:pt x="160" y="252"/>
                </a:lnTo>
                <a:lnTo>
                  <a:pt x="158" y="250"/>
                </a:lnTo>
                <a:lnTo>
                  <a:pt x="158" y="250"/>
                </a:lnTo>
                <a:lnTo>
                  <a:pt x="156" y="248"/>
                </a:lnTo>
                <a:lnTo>
                  <a:pt x="154" y="248"/>
                </a:lnTo>
                <a:lnTo>
                  <a:pt x="154" y="248"/>
                </a:lnTo>
                <a:lnTo>
                  <a:pt x="144" y="248"/>
                </a:lnTo>
                <a:lnTo>
                  <a:pt x="90" y="43"/>
                </a:lnTo>
                <a:lnTo>
                  <a:pt x="204" y="43"/>
                </a:lnTo>
                <a:lnTo>
                  <a:pt x="204" y="66"/>
                </a:lnTo>
                <a:lnTo>
                  <a:pt x="206" y="66"/>
                </a:lnTo>
                <a:lnTo>
                  <a:pt x="206" y="68"/>
                </a:lnTo>
                <a:lnTo>
                  <a:pt x="206" y="70"/>
                </a:lnTo>
                <a:lnTo>
                  <a:pt x="208" y="70"/>
                </a:lnTo>
                <a:lnTo>
                  <a:pt x="208" y="72"/>
                </a:lnTo>
                <a:lnTo>
                  <a:pt x="210" y="72"/>
                </a:lnTo>
                <a:lnTo>
                  <a:pt x="212" y="72"/>
                </a:lnTo>
                <a:lnTo>
                  <a:pt x="212" y="72"/>
                </a:lnTo>
                <a:lnTo>
                  <a:pt x="214" y="72"/>
                </a:lnTo>
                <a:lnTo>
                  <a:pt x="214" y="72"/>
                </a:lnTo>
                <a:lnTo>
                  <a:pt x="216" y="72"/>
                </a:lnTo>
                <a:lnTo>
                  <a:pt x="216" y="70"/>
                </a:lnTo>
                <a:lnTo>
                  <a:pt x="218" y="70"/>
                </a:lnTo>
                <a:lnTo>
                  <a:pt x="218" y="68"/>
                </a:lnTo>
                <a:lnTo>
                  <a:pt x="220" y="66"/>
                </a:lnTo>
                <a:lnTo>
                  <a:pt x="220" y="66"/>
                </a:lnTo>
                <a:lnTo>
                  <a:pt x="220" y="43"/>
                </a:lnTo>
                <a:lnTo>
                  <a:pt x="333" y="43"/>
                </a:lnTo>
                <a:lnTo>
                  <a:pt x="280" y="248"/>
                </a:lnTo>
                <a:lnTo>
                  <a:pt x="270" y="248"/>
                </a:lnTo>
                <a:lnTo>
                  <a:pt x="270" y="248"/>
                </a:lnTo>
                <a:lnTo>
                  <a:pt x="268" y="248"/>
                </a:lnTo>
                <a:lnTo>
                  <a:pt x="265" y="250"/>
                </a:lnTo>
                <a:lnTo>
                  <a:pt x="265" y="250"/>
                </a:lnTo>
                <a:lnTo>
                  <a:pt x="263" y="252"/>
                </a:lnTo>
                <a:lnTo>
                  <a:pt x="263" y="252"/>
                </a:lnTo>
                <a:lnTo>
                  <a:pt x="263" y="254"/>
                </a:lnTo>
                <a:lnTo>
                  <a:pt x="263" y="256"/>
                </a:lnTo>
                <a:lnTo>
                  <a:pt x="263" y="265"/>
                </a:lnTo>
                <a:lnTo>
                  <a:pt x="265" y="271"/>
                </a:lnTo>
                <a:lnTo>
                  <a:pt x="268" y="279"/>
                </a:lnTo>
                <a:lnTo>
                  <a:pt x="270" y="287"/>
                </a:lnTo>
                <a:lnTo>
                  <a:pt x="272" y="293"/>
                </a:lnTo>
                <a:lnTo>
                  <a:pt x="278" y="300"/>
                </a:lnTo>
                <a:lnTo>
                  <a:pt x="282" y="306"/>
                </a:lnTo>
                <a:lnTo>
                  <a:pt x="286" y="312"/>
                </a:lnTo>
                <a:lnTo>
                  <a:pt x="292" y="318"/>
                </a:lnTo>
                <a:lnTo>
                  <a:pt x="298" y="322"/>
                </a:lnTo>
                <a:lnTo>
                  <a:pt x="305" y="327"/>
                </a:lnTo>
                <a:lnTo>
                  <a:pt x="313" y="329"/>
                </a:lnTo>
                <a:lnTo>
                  <a:pt x="319" y="333"/>
                </a:lnTo>
                <a:lnTo>
                  <a:pt x="327" y="335"/>
                </a:lnTo>
                <a:lnTo>
                  <a:pt x="335" y="335"/>
                </a:lnTo>
                <a:lnTo>
                  <a:pt x="344" y="337"/>
                </a:lnTo>
                <a:lnTo>
                  <a:pt x="352" y="335"/>
                </a:lnTo>
                <a:lnTo>
                  <a:pt x="360" y="335"/>
                </a:lnTo>
                <a:lnTo>
                  <a:pt x="366" y="333"/>
                </a:lnTo>
                <a:lnTo>
                  <a:pt x="375" y="329"/>
                </a:lnTo>
                <a:lnTo>
                  <a:pt x="381" y="327"/>
                </a:lnTo>
                <a:lnTo>
                  <a:pt x="389" y="322"/>
                </a:lnTo>
                <a:lnTo>
                  <a:pt x="395" y="318"/>
                </a:lnTo>
                <a:lnTo>
                  <a:pt x="399" y="312"/>
                </a:lnTo>
                <a:lnTo>
                  <a:pt x="405" y="306"/>
                </a:lnTo>
                <a:lnTo>
                  <a:pt x="410" y="300"/>
                </a:lnTo>
                <a:lnTo>
                  <a:pt x="414" y="293"/>
                </a:lnTo>
                <a:lnTo>
                  <a:pt x="418" y="287"/>
                </a:lnTo>
                <a:lnTo>
                  <a:pt x="420" y="279"/>
                </a:lnTo>
                <a:lnTo>
                  <a:pt x="422" y="271"/>
                </a:lnTo>
                <a:lnTo>
                  <a:pt x="424" y="265"/>
                </a:lnTo>
                <a:lnTo>
                  <a:pt x="424" y="256"/>
                </a:lnTo>
                <a:lnTo>
                  <a:pt x="424" y="254"/>
                </a:lnTo>
                <a:lnTo>
                  <a:pt x="422" y="252"/>
                </a:lnTo>
                <a:lnTo>
                  <a:pt x="422" y="252"/>
                </a:lnTo>
                <a:lnTo>
                  <a:pt x="422" y="250"/>
                </a:lnTo>
                <a:lnTo>
                  <a:pt x="420" y="250"/>
                </a:lnTo>
                <a:lnTo>
                  <a:pt x="420" y="248"/>
                </a:lnTo>
                <a:lnTo>
                  <a:pt x="418" y="248"/>
                </a:lnTo>
                <a:lnTo>
                  <a:pt x="416" y="248"/>
                </a:lnTo>
                <a:lnTo>
                  <a:pt x="416" y="248"/>
                </a:lnTo>
                <a:lnTo>
                  <a:pt x="416" y="24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4" name="Freeform 199">
            <a:extLst>
              <a:ext uri="{FF2B5EF4-FFF2-40B4-BE49-F238E27FC236}">
                <a16:creationId xmlns:a16="http://schemas.microsoft.com/office/drawing/2014/main" id="{A12B8C0A-3C30-4B6A-B6EE-D774D427281E}"/>
              </a:ext>
            </a:extLst>
          </p:cNvPr>
          <p:cNvSpPr>
            <a:spLocks noChangeAspect="1" noEditPoints="1"/>
          </p:cNvSpPr>
          <p:nvPr/>
        </p:nvSpPr>
        <p:spPr bwMode="auto">
          <a:xfrm>
            <a:off x="664928" y="4903831"/>
            <a:ext cx="298342" cy="258563"/>
          </a:xfrm>
          <a:custGeom>
            <a:avLst/>
            <a:gdLst>
              <a:gd name="T0" fmla="*/ 570 w 901"/>
              <a:gd name="T1" fmla="*/ 540 h 781"/>
              <a:gd name="T2" fmla="*/ 568 w 901"/>
              <a:gd name="T3" fmla="*/ 457 h 781"/>
              <a:gd name="T4" fmla="*/ 558 w 901"/>
              <a:gd name="T5" fmla="*/ 450 h 781"/>
              <a:gd name="T6" fmla="*/ 339 w 901"/>
              <a:gd name="T7" fmla="*/ 451 h 781"/>
              <a:gd name="T8" fmla="*/ 331 w 901"/>
              <a:gd name="T9" fmla="*/ 460 h 781"/>
              <a:gd name="T10" fmla="*/ 75 w 901"/>
              <a:gd name="T11" fmla="*/ 540 h 781"/>
              <a:gd name="T12" fmla="*/ 30 w 901"/>
              <a:gd name="T13" fmla="*/ 251 h 781"/>
              <a:gd name="T14" fmla="*/ 39 w 901"/>
              <a:gd name="T15" fmla="*/ 223 h 781"/>
              <a:gd name="T16" fmla="*/ 79 w 901"/>
              <a:gd name="T17" fmla="*/ 186 h 781"/>
              <a:gd name="T18" fmla="*/ 807 w 901"/>
              <a:gd name="T19" fmla="*/ 180 h 781"/>
              <a:gd name="T20" fmla="*/ 854 w 901"/>
              <a:gd name="T21" fmla="*/ 212 h 781"/>
              <a:gd name="T22" fmla="*/ 870 w 901"/>
              <a:gd name="T23" fmla="*/ 245 h 781"/>
              <a:gd name="T24" fmla="*/ 540 w 901"/>
              <a:gd name="T25" fmla="*/ 570 h 781"/>
              <a:gd name="T26" fmla="*/ 540 w 901"/>
              <a:gd name="T27" fmla="*/ 570 h 781"/>
              <a:gd name="T28" fmla="*/ 330 w 901"/>
              <a:gd name="T29" fmla="*/ 570 h 781"/>
              <a:gd name="T30" fmla="*/ 332 w 901"/>
              <a:gd name="T31" fmla="*/ 594 h 781"/>
              <a:gd name="T32" fmla="*/ 342 w 901"/>
              <a:gd name="T33" fmla="*/ 600 h 781"/>
              <a:gd name="T34" fmla="*/ 561 w 901"/>
              <a:gd name="T35" fmla="*/ 599 h 781"/>
              <a:gd name="T36" fmla="*/ 569 w 901"/>
              <a:gd name="T37" fmla="*/ 592 h 781"/>
              <a:gd name="T38" fmla="*/ 811 w 901"/>
              <a:gd name="T39" fmla="*/ 570 h 781"/>
              <a:gd name="T40" fmla="*/ 302 w 901"/>
              <a:gd name="T41" fmla="*/ 113 h 781"/>
              <a:gd name="T42" fmla="*/ 316 w 901"/>
              <a:gd name="T43" fmla="*/ 76 h 781"/>
              <a:gd name="T44" fmla="*/ 340 w 901"/>
              <a:gd name="T45" fmla="*/ 47 h 781"/>
              <a:gd name="T46" fmla="*/ 375 w 901"/>
              <a:gd name="T47" fmla="*/ 32 h 781"/>
              <a:gd name="T48" fmla="*/ 516 w 901"/>
              <a:gd name="T49" fmla="*/ 30 h 781"/>
              <a:gd name="T50" fmla="*/ 552 w 901"/>
              <a:gd name="T51" fmla="*/ 42 h 781"/>
              <a:gd name="T52" fmla="*/ 579 w 901"/>
              <a:gd name="T53" fmla="*/ 67 h 781"/>
              <a:gd name="T54" fmla="*/ 596 w 901"/>
              <a:gd name="T55" fmla="*/ 104 h 781"/>
              <a:gd name="T56" fmla="*/ 600 w 901"/>
              <a:gd name="T57" fmla="*/ 150 h 781"/>
              <a:gd name="T58" fmla="*/ 813 w 901"/>
              <a:gd name="T59" fmla="*/ 150 h 781"/>
              <a:gd name="T60" fmla="*/ 630 w 901"/>
              <a:gd name="T61" fmla="*/ 121 h 781"/>
              <a:gd name="T62" fmla="*/ 615 w 901"/>
              <a:gd name="T63" fmla="*/ 70 h 781"/>
              <a:gd name="T64" fmla="*/ 585 w 901"/>
              <a:gd name="T65" fmla="*/ 30 h 781"/>
              <a:gd name="T66" fmla="*/ 543 w 901"/>
              <a:gd name="T67" fmla="*/ 5 h 781"/>
              <a:gd name="T68" fmla="*/ 393 w 901"/>
              <a:gd name="T69" fmla="*/ 0 h 781"/>
              <a:gd name="T70" fmla="*/ 345 w 901"/>
              <a:gd name="T71" fmla="*/ 10 h 781"/>
              <a:gd name="T72" fmla="*/ 306 w 901"/>
              <a:gd name="T73" fmla="*/ 39 h 781"/>
              <a:gd name="T74" fmla="*/ 279 w 901"/>
              <a:gd name="T75" fmla="*/ 82 h 781"/>
              <a:gd name="T76" fmla="*/ 270 w 901"/>
              <a:gd name="T77" fmla="*/ 135 h 781"/>
              <a:gd name="T78" fmla="*/ 84 w 901"/>
              <a:gd name="T79" fmla="*/ 151 h 781"/>
              <a:gd name="T80" fmla="*/ 49 w 901"/>
              <a:gd name="T81" fmla="*/ 169 h 781"/>
              <a:gd name="T82" fmla="*/ 22 w 901"/>
              <a:gd name="T83" fmla="*/ 195 h 781"/>
              <a:gd name="T84" fmla="*/ 5 w 901"/>
              <a:gd name="T85" fmla="*/ 224 h 781"/>
              <a:gd name="T86" fmla="*/ 0 w 901"/>
              <a:gd name="T87" fmla="*/ 257 h 781"/>
              <a:gd name="T88" fmla="*/ 2 w 901"/>
              <a:gd name="T89" fmla="*/ 564 h 781"/>
              <a:gd name="T90" fmla="*/ 11 w 901"/>
              <a:gd name="T91" fmla="*/ 570 h 781"/>
              <a:gd name="T92" fmla="*/ 60 w 901"/>
              <a:gd name="T93" fmla="*/ 766 h 781"/>
              <a:gd name="T94" fmla="*/ 64 w 901"/>
              <a:gd name="T95" fmla="*/ 776 h 781"/>
              <a:gd name="T96" fmla="*/ 75 w 901"/>
              <a:gd name="T97" fmla="*/ 781 h 781"/>
              <a:gd name="T98" fmla="*/ 834 w 901"/>
              <a:gd name="T99" fmla="*/ 778 h 781"/>
              <a:gd name="T100" fmla="*/ 840 w 901"/>
              <a:gd name="T101" fmla="*/ 769 h 781"/>
              <a:gd name="T102" fmla="*/ 886 w 901"/>
              <a:gd name="T103" fmla="*/ 570 h 781"/>
              <a:gd name="T104" fmla="*/ 897 w 901"/>
              <a:gd name="T105" fmla="*/ 566 h 781"/>
              <a:gd name="T106" fmla="*/ 901 w 901"/>
              <a:gd name="T107" fmla="*/ 555 h 781"/>
              <a:gd name="T108" fmla="*/ 898 w 901"/>
              <a:gd name="T109" fmla="*/ 232 h 781"/>
              <a:gd name="T110" fmla="*/ 883 w 901"/>
              <a:gd name="T111" fmla="*/ 201 h 781"/>
              <a:gd name="T112" fmla="*/ 858 w 901"/>
              <a:gd name="T113" fmla="*/ 176 h 781"/>
              <a:gd name="T114" fmla="*/ 825 w 901"/>
              <a:gd name="T115" fmla="*/ 155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1" h="781">
                <a:moveTo>
                  <a:pt x="871" y="540"/>
                </a:moveTo>
                <a:lnTo>
                  <a:pt x="848" y="540"/>
                </a:lnTo>
                <a:lnTo>
                  <a:pt x="826" y="540"/>
                </a:lnTo>
                <a:lnTo>
                  <a:pt x="570" y="540"/>
                </a:lnTo>
                <a:lnTo>
                  <a:pt x="570" y="465"/>
                </a:lnTo>
                <a:lnTo>
                  <a:pt x="570" y="462"/>
                </a:lnTo>
                <a:lnTo>
                  <a:pt x="569" y="460"/>
                </a:lnTo>
                <a:lnTo>
                  <a:pt x="568" y="457"/>
                </a:lnTo>
                <a:lnTo>
                  <a:pt x="566" y="454"/>
                </a:lnTo>
                <a:lnTo>
                  <a:pt x="564" y="453"/>
                </a:lnTo>
                <a:lnTo>
                  <a:pt x="561" y="451"/>
                </a:lnTo>
                <a:lnTo>
                  <a:pt x="558" y="450"/>
                </a:lnTo>
                <a:lnTo>
                  <a:pt x="555" y="450"/>
                </a:lnTo>
                <a:lnTo>
                  <a:pt x="345" y="450"/>
                </a:lnTo>
                <a:lnTo>
                  <a:pt x="342" y="450"/>
                </a:lnTo>
                <a:lnTo>
                  <a:pt x="339" y="451"/>
                </a:lnTo>
                <a:lnTo>
                  <a:pt x="336" y="453"/>
                </a:lnTo>
                <a:lnTo>
                  <a:pt x="334" y="454"/>
                </a:lnTo>
                <a:lnTo>
                  <a:pt x="332" y="457"/>
                </a:lnTo>
                <a:lnTo>
                  <a:pt x="331" y="460"/>
                </a:lnTo>
                <a:lnTo>
                  <a:pt x="330" y="462"/>
                </a:lnTo>
                <a:lnTo>
                  <a:pt x="330" y="465"/>
                </a:lnTo>
                <a:lnTo>
                  <a:pt x="330" y="540"/>
                </a:lnTo>
                <a:lnTo>
                  <a:pt x="75" y="540"/>
                </a:lnTo>
                <a:lnTo>
                  <a:pt x="52" y="540"/>
                </a:lnTo>
                <a:lnTo>
                  <a:pt x="30" y="540"/>
                </a:lnTo>
                <a:lnTo>
                  <a:pt x="30" y="257"/>
                </a:lnTo>
                <a:lnTo>
                  <a:pt x="30" y="251"/>
                </a:lnTo>
                <a:lnTo>
                  <a:pt x="31" y="245"/>
                </a:lnTo>
                <a:lnTo>
                  <a:pt x="32" y="240"/>
                </a:lnTo>
                <a:lnTo>
                  <a:pt x="34" y="233"/>
                </a:lnTo>
                <a:lnTo>
                  <a:pt x="39" y="223"/>
                </a:lnTo>
                <a:lnTo>
                  <a:pt x="47" y="212"/>
                </a:lnTo>
                <a:lnTo>
                  <a:pt x="55" y="202"/>
                </a:lnTo>
                <a:lnTo>
                  <a:pt x="66" y="194"/>
                </a:lnTo>
                <a:lnTo>
                  <a:pt x="79" y="186"/>
                </a:lnTo>
                <a:lnTo>
                  <a:pt x="93" y="180"/>
                </a:lnTo>
                <a:lnTo>
                  <a:pt x="285" y="180"/>
                </a:lnTo>
                <a:lnTo>
                  <a:pt x="615" y="180"/>
                </a:lnTo>
                <a:lnTo>
                  <a:pt x="807" y="180"/>
                </a:lnTo>
                <a:lnTo>
                  <a:pt x="821" y="186"/>
                </a:lnTo>
                <a:lnTo>
                  <a:pt x="834" y="194"/>
                </a:lnTo>
                <a:lnTo>
                  <a:pt x="844" y="202"/>
                </a:lnTo>
                <a:lnTo>
                  <a:pt x="854" y="212"/>
                </a:lnTo>
                <a:lnTo>
                  <a:pt x="861" y="223"/>
                </a:lnTo>
                <a:lnTo>
                  <a:pt x="866" y="233"/>
                </a:lnTo>
                <a:lnTo>
                  <a:pt x="868" y="240"/>
                </a:lnTo>
                <a:lnTo>
                  <a:pt x="870" y="245"/>
                </a:lnTo>
                <a:lnTo>
                  <a:pt x="870" y="251"/>
                </a:lnTo>
                <a:lnTo>
                  <a:pt x="871" y="257"/>
                </a:lnTo>
                <a:lnTo>
                  <a:pt x="871" y="540"/>
                </a:lnTo>
                <a:close/>
                <a:moveTo>
                  <a:pt x="540" y="570"/>
                </a:moveTo>
                <a:lnTo>
                  <a:pt x="360" y="570"/>
                </a:lnTo>
                <a:lnTo>
                  <a:pt x="360" y="480"/>
                </a:lnTo>
                <a:lnTo>
                  <a:pt x="540" y="480"/>
                </a:lnTo>
                <a:lnTo>
                  <a:pt x="540" y="570"/>
                </a:lnTo>
                <a:close/>
                <a:moveTo>
                  <a:pt x="811" y="751"/>
                </a:moveTo>
                <a:lnTo>
                  <a:pt x="90" y="751"/>
                </a:lnTo>
                <a:lnTo>
                  <a:pt x="90" y="570"/>
                </a:lnTo>
                <a:lnTo>
                  <a:pt x="330" y="570"/>
                </a:lnTo>
                <a:lnTo>
                  <a:pt x="330" y="585"/>
                </a:lnTo>
                <a:lnTo>
                  <a:pt x="330" y="588"/>
                </a:lnTo>
                <a:lnTo>
                  <a:pt x="331" y="592"/>
                </a:lnTo>
                <a:lnTo>
                  <a:pt x="332" y="594"/>
                </a:lnTo>
                <a:lnTo>
                  <a:pt x="334" y="596"/>
                </a:lnTo>
                <a:lnTo>
                  <a:pt x="336" y="598"/>
                </a:lnTo>
                <a:lnTo>
                  <a:pt x="339" y="599"/>
                </a:lnTo>
                <a:lnTo>
                  <a:pt x="342" y="600"/>
                </a:lnTo>
                <a:lnTo>
                  <a:pt x="345" y="600"/>
                </a:lnTo>
                <a:lnTo>
                  <a:pt x="555" y="600"/>
                </a:lnTo>
                <a:lnTo>
                  <a:pt x="558" y="600"/>
                </a:lnTo>
                <a:lnTo>
                  <a:pt x="561" y="599"/>
                </a:lnTo>
                <a:lnTo>
                  <a:pt x="564" y="598"/>
                </a:lnTo>
                <a:lnTo>
                  <a:pt x="566" y="596"/>
                </a:lnTo>
                <a:lnTo>
                  <a:pt x="568" y="594"/>
                </a:lnTo>
                <a:lnTo>
                  <a:pt x="569" y="592"/>
                </a:lnTo>
                <a:lnTo>
                  <a:pt x="570" y="588"/>
                </a:lnTo>
                <a:lnTo>
                  <a:pt x="570" y="585"/>
                </a:lnTo>
                <a:lnTo>
                  <a:pt x="570" y="570"/>
                </a:lnTo>
                <a:lnTo>
                  <a:pt x="811" y="570"/>
                </a:lnTo>
                <a:lnTo>
                  <a:pt x="811" y="751"/>
                </a:lnTo>
                <a:close/>
                <a:moveTo>
                  <a:pt x="300" y="135"/>
                </a:moveTo>
                <a:lnTo>
                  <a:pt x="300" y="124"/>
                </a:lnTo>
                <a:lnTo>
                  <a:pt x="302" y="113"/>
                </a:lnTo>
                <a:lnTo>
                  <a:pt x="304" y="104"/>
                </a:lnTo>
                <a:lnTo>
                  <a:pt x="307" y="94"/>
                </a:lnTo>
                <a:lnTo>
                  <a:pt x="310" y="84"/>
                </a:lnTo>
                <a:lnTo>
                  <a:pt x="316" y="76"/>
                </a:lnTo>
                <a:lnTo>
                  <a:pt x="321" y="67"/>
                </a:lnTo>
                <a:lnTo>
                  <a:pt x="327" y="60"/>
                </a:lnTo>
                <a:lnTo>
                  <a:pt x="334" y="53"/>
                </a:lnTo>
                <a:lnTo>
                  <a:pt x="340" y="47"/>
                </a:lnTo>
                <a:lnTo>
                  <a:pt x="349" y="42"/>
                </a:lnTo>
                <a:lnTo>
                  <a:pt x="357" y="37"/>
                </a:lnTo>
                <a:lnTo>
                  <a:pt x="365" y="34"/>
                </a:lnTo>
                <a:lnTo>
                  <a:pt x="375" y="32"/>
                </a:lnTo>
                <a:lnTo>
                  <a:pt x="383" y="30"/>
                </a:lnTo>
                <a:lnTo>
                  <a:pt x="393" y="30"/>
                </a:lnTo>
                <a:lnTo>
                  <a:pt x="507" y="30"/>
                </a:lnTo>
                <a:lnTo>
                  <a:pt x="516" y="30"/>
                </a:lnTo>
                <a:lnTo>
                  <a:pt x="526" y="32"/>
                </a:lnTo>
                <a:lnTo>
                  <a:pt x="535" y="34"/>
                </a:lnTo>
                <a:lnTo>
                  <a:pt x="543" y="37"/>
                </a:lnTo>
                <a:lnTo>
                  <a:pt x="552" y="42"/>
                </a:lnTo>
                <a:lnTo>
                  <a:pt x="559" y="47"/>
                </a:lnTo>
                <a:lnTo>
                  <a:pt x="567" y="53"/>
                </a:lnTo>
                <a:lnTo>
                  <a:pt x="573" y="60"/>
                </a:lnTo>
                <a:lnTo>
                  <a:pt x="579" y="67"/>
                </a:lnTo>
                <a:lnTo>
                  <a:pt x="584" y="76"/>
                </a:lnTo>
                <a:lnTo>
                  <a:pt x="589" y="84"/>
                </a:lnTo>
                <a:lnTo>
                  <a:pt x="592" y="94"/>
                </a:lnTo>
                <a:lnTo>
                  <a:pt x="596" y="104"/>
                </a:lnTo>
                <a:lnTo>
                  <a:pt x="599" y="113"/>
                </a:lnTo>
                <a:lnTo>
                  <a:pt x="600" y="124"/>
                </a:lnTo>
                <a:lnTo>
                  <a:pt x="600" y="135"/>
                </a:lnTo>
                <a:lnTo>
                  <a:pt x="600" y="150"/>
                </a:lnTo>
                <a:lnTo>
                  <a:pt x="300" y="150"/>
                </a:lnTo>
                <a:lnTo>
                  <a:pt x="300" y="135"/>
                </a:lnTo>
                <a:close/>
                <a:moveTo>
                  <a:pt x="815" y="151"/>
                </a:moveTo>
                <a:lnTo>
                  <a:pt x="813" y="150"/>
                </a:lnTo>
                <a:lnTo>
                  <a:pt x="810" y="150"/>
                </a:lnTo>
                <a:lnTo>
                  <a:pt x="630" y="150"/>
                </a:lnTo>
                <a:lnTo>
                  <a:pt x="630" y="135"/>
                </a:lnTo>
                <a:lnTo>
                  <a:pt x="630" y="121"/>
                </a:lnTo>
                <a:lnTo>
                  <a:pt x="628" y="107"/>
                </a:lnTo>
                <a:lnTo>
                  <a:pt x="625" y="94"/>
                </a:lnTo>
                <a:lnTo>
                  <a:pt x="620" y="82"/>
                </a:lnTo>
                <a:lnTo>
                  <a:pt x="615" y="70"/>
                </a:lnTo>
                <a:lnTo>
                  <a:pt x="610" y="59"/>
                </a:lnTo>
                <a:lnTo>
                  <a:pt x="602" y="49"/>
                </a:lnTo>
                <a:lnTo>
                  <a:pt x="595" y="39"/>
                </a:lnTo>
                <a:lnTo>
                  <a:pt x="585" y="30"/>
                </a:lnTo>
                <a:lnTo>
                  <a:pt x="575" y="22"/>
                </a:lnTo>
                <a:lnTo>
                  <a:pt x="566" y="16"/>
                </a:lnTo>
                <a:lnTo>
                  <a:pt x="555" y="10"/>
                </a:lnTo>
                <a:lnTo>
                  <a:pt x="543" y="5"/>
                </a:lnTo>
                <a:lnTo>
                  <a:pt x="531" y="2"/>
                </a:lnTo>
                <a:lnTo>
                  <a:pt x="520" y="0"/>
                </a:lnTo>
                <a:lnTo>
                  <a:pt x="507" y="0"/>
                </a:lnTo>
                <a:lnTo>
                  <a:pt x="393" y="0"/>
                </a:lnTo>
                <a:lnTo>
                  <a:pt x="380" y="0"/>
                </a:lnTo>
                <a:lnTo>
                  <a:pt x="368" y="2"/>
                </a:lnTo>
                <a:lnTo>
                  <a:pt x="357" y="5"/>
                </a:lnTo>
                <a:lnTo>
                  <a:pt x="345" y="10"/>
                </a:lnTo>
                <a:lnTo>
                  <a:pt x="334" y="16"/>
                </a:lnTo>
                <a:lnTo>
                  <a:pt x="324" y="22"/>
                </a:lnTo>
                <a:lnTo>
                  <a:pt x="315" y="30"/>
                </a:lnTo>
                <a:lnTo>
                  <a:pt x="306" y="39"/>
                </a:lnTo>
                <a:lnTo>
                  <a:pt x="298" y="49"/>
                </a:lnTo>
                <a:lnTo>
                  <a:pt x="291" y="59"/>
                </a:lnTo>
                <a:lnTo>
                  <a:pt x="285" y="70"/>
                </a:lnTo>
                <a:lnTo>
                  <a:pt x="279" y="82"/>
                </a:lnTo>
                <a:lnTo>
                  <a:pt x="275" y="94"/>
                </a:lnTo>
                <a:lnTo>
                  <a:pt x="272" y="107"/>
                </a:lnTo>
                <a:lnTo>
                  <a:pt x="270" y="121"/>
                </a:lnTo>
                <a:lnTo>
                  <a:pt x="270" y="135"/>
                </a:lnTo>
                <a:lnTo>
                  <a:pt x="270" y="150"/>
                </a:lnTo>
                <a:lnTo>
                  <a:pt x="90" y="150"/>
                </a:lnTo>
                <a:lnTo>
                  <a:pt x="87" y="150"/>
                </a:lnTo>
                <a:lnTo>
                  <a:pt x="84" y="151"/>
                </a:lnTo>
                <a:lnTo>
                  <a:pt x="75" y="155"/>
                </a:lnTo>
                <a:lnTo>
                  <a:pt x="66" y="159"/>
                </a:lnTo>
                <a:lnTo>
                  <a:pt x="57" y="164"/>
                </a:lnTo>
                <a:lnTo>
                  <a:pt x="49" y="169"/>
                </a:lnTo>
                <a:lnTo>
                  <a:pt x="41" y="176"/>
                </a:lnTo>
                <a:lnTo>
                  <a:pt x="34" y="181"/>
                </a:lnTo>
                <a:lnTo>
                  <a:pt x="27" y="187"/>
                </a:lnTo>
                <a:lnTo>
                  <a:pt x="22" y="195"/>
                </a:lnTo>
                <a:lnTo>
                  <a:pt x="17" y="201"/>
                </a:lnTo>
                <a:lnTo>
                  <a:pt x="12" y="209"/>
                </a:lnTo>
                <a:lnTo>
                  <a:pt x="8" y="216"/>
                </a:lnTo>
                <a:lnTo>
                  <a:pt x="5" y="224"/>
                </a:lnTo>
                <a:lnTo>
                  <a:pt x="3" y="232"/>
                </a:lnTo>
                <a:lnTo>
                  <a:pt x="1" y="240"/>
                </a:lnTo>
                <a:lnTo>
                  <a:pt x="0" y="249"/>
                </a:lnTo>
                <a:lnTo>
                  <a:pt x="0" y="257"/>
                </a:lnTo>
                <a:lnTo>
                  <a:pt x="0" y="555"/>
                </a:lnTo>
                <a:lnTo>
                  <a:pt x="0" y="558"/>
                </a:lnTo>
                <a:lnTo>
                  <a:pt x="1" y="562"/>
                </a:lnTo>
                <a:lnTo>
                  <a:pt x="2" y="564"/>
                </a:lnTo>
                <a:lnTo>
                  <a:pt x="4" y="566"/>
                </a:lnTo>
                <a:lnTo>
                  <a:pt x="6" y="568"/>
                </a:lnTo>
                <a:lnTo>
                  <a:pt x="8" y="569"/>
                </a:lnTo>
                <a:lnTo>
                  <a:pt x="11" y="570"/>
                </a:lnTo>
                <a:lnTo>
                  <a:pt x="15" y="570"/>
                </a:lnTo>
                <a:lnTo>
                  <a:pt x="52" y="570"/>
                </a:lnTo>
                <a:lnTo>
                  <a:pt x="60" y="570"/>
                </a:lnTo>
                <a:lnTo>
                  <a:pt x="60" y="766"/>
                </a:lnTo>
                <a:lnTo>
                  <a:pt x="60" y="769"/>
                </a:lnTo>
                <a:lnTo>
                  <a:pt x="61" y="772"/>
                </a:lnTo>
                <a:lnTo>
                  <a:pt x="62" y="774"/>
                </a:lnTo>
                <a:lnTo>
                  <a:pt x="64" y="776"/>
                </a:lnTo>
                <a:lnTo>
                  <a:pt x="66" y="778"/>
                </a:lnTo>
                <a:lnTo>
                  <a:pt x="68" y="779"/>
                </a:lnTo>
                <a:lnTo>
                  <a:pt x="71" y="780"/>
                </a:lnTo>
                <a:lnTo>
                  <a:pt x="75" y="781"/>
                </a:lnTo>
                <a:lnTo>
                  <a:pt x="826" y="781"/>
                </a:lnTo>
                <a:lnTo>
                  <a:pt x="828" y="780"/>
                </a:lnTo>
                <a:lnTo>
                  <a:pt x="832" y="779"/>
                </a:lnTo>
                <a:lnTo>
                  <a:pt x="834" y="778"/>
                </a:lnTo>
                <a:lnTo>
                  <a:pt x="836" y="776"/>
                </a:lnTo>
                <a:lnTo>
                  <a:pt x="838" y="774"/>
                </a:lnTo>
                <a:lnTo>
                  <a:pt x="840" y="772"/>
                </a:lnTo>
                <a:lnTo>
                  <a:pt x="840" y="769"/>
                </a:lnTo>
                <a:lnTo>
                  <a:pt x="841" y="766"/>
                </a:lnTo>
                <a:lnTo>
                  <a:pt x="841" y="570"/>
                </a:lnTo>
                <a:lnTo>
                  <a:pt x="848" y="570"/>
                </a:lnTo>
                <a:lnTo>
                  <a:pt x="886" y="570"/>
                </a:lnTo>
                <a:lnTo>
                  <a:pt x="888" y="570"/>
                </a:lnTo>
                <a:lnTo>
                  <a:pt x="892" y="569"/>
                </a:lnTo>
                <a:lnTo>
                  <a:pt x="895" y="568"/>
                </a:lnTo>
                <a:lnTo>
                  <a:pt x="897" y="566"/>
                </a:lnTo>
                <a:lnTo>
                  <a:pt x="898" y="564"/>
                </a:lnTo>
                <a:lnTo>
                  <a:pt x="900" y="562"/>
                </a:lnTo>
                <a:lnTo>
                  <a:pt x="900" y="558"/>
                </a:lnTo>
                <a:lnTo>
                  <a:pt x="901" y="555"/>
                </a:lnTo>
                <a:lnTo>
                  <a:pt x="901" y="257"/>
                </a:lnTo>
                <a:lnTo>
                  <a:pt x="900" y="249"/>
                </a:lnTo>
                <a:lnTo>
                  <a:pt x="899" y="240"/>
                </a:lnTo>
                <a:lnTo>
                  <a:pt x="898" y="232"/>
                </a:lnTo>
                <a:lnTo>
                  <a:pt x="895" y="224"/>
                </a:lnTo>
                <a:lnTo>
                  <a:pt x="892" y="216"/>
                </a:lnTo>
                <a:lnTo>
                  <a:pt x="887" y="209"/>
                </a:lnTo>
                <a:lnTo>
                  <a:pt x="883" y="201"/>
                </a:lnTo>
                <a:lnTo>
                  <a:pt x="878" y="195"/>
                </a:lnTo>
                <a:lnTo>
                  <a:pt x="872" y="187"/>
                </a:lnTo>
                <a:lnTo>
                  <a:pt x="866" y="181"/>
                </a:lnTo>
                <a:lnTo>
                  <a:pt x="858" y="176"/>
                </a:lnTo>
                <a:lnTo>
                  <a:pt x="851" y="169"/>
                </a:lnTo>
                <a:lnTo>
                  <a:pt x="843" y="164"/>
                </a:lnTo>
                <a:lnTo>
                  <a:pt x="835" y="159"/>
                </a:lnTo>
                <a:lnTo>
                  <a:pt x="825" y="155"/>
                </a:lnTo>
                <a:lnTo>
                  <a:pt x="815" y="15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685" name="Group 74">
            <a:extLst>
              <a:ext uri="{FF2B5EF4-FFF2-40B4-BE49-F238E27FC236}">
                <a16:creationId xmlns:a16="http://schemas.microsoft.com/office/drawing/2014/main" id="{B39969B6-6EB8-4FF0-8DAE-CB05CC993EE0}"/>
              </a:ext>
            </a:extLst>
          </p:cNvPr>
          <p:cNvGrpSpPr>
            <a:grpSpLocks noChangeAspect="1"/>
          </p:cNvGrpSpPr>
          <p:nvPr/>
        </p:nvGrpSpPr>
        <p:grpSpPr>
          <a:xfrm>
            <a:off x="1067757" y="4879868"/>
            <a:ext cx="303083" cy="306488"/>
            <a:chOff x="10456863" y="1338263"/>
            <a:chExt cx="282575" cy="285750"/>
          </a:xfrm>
          <a:solidFill>
            <a:schemeClr val="bg2"/>
          </a:solidFill>
          <a:effectLst/>
        </p:grpSpPr>
        <p:sp>
          <p:nvSpPr>
            <p:cNvPr id="686" name="Freeform 268">
              <a:extLst>
                <a:ext uri="{FF2B5EF4-FFF2-40B4-BE49-F238E27FC236}">
                  <a16:creationId xmlns:a16="http://schemas.microsoft.com/office/drawing/2014/main" id="{940CDA9D-EC6F-4954-85F6-D0D9E1348E42}"/>
                </a:ext>
              </a:extLst>
            </p:cNvPr>
            <p:cNvSpPr>
              <a:spLocks noEditPoints="1"/>
            </p:cNvSpPr>
            <p:nvPr/>
          </p:nvSpPr>
          <p:spPr bwMode="auto">
            <a:xfrm>
              <a:off x="10456863" y="1509713"/>
              <a:ext cx="161925" cy="114300"/>
            </a:xfrm>
            <a:custGeom>
              <a:avLst/>
              <a:gdLst>
                <a:gd name="T0" fmla="*/ 34 w 508"/>
                <a:gd name="T1" fmla="*/ 289 h 359"/>
                <a:gd name="T2" fmla="*/ 50 w 508"/>
                <a:gd name="T3" fmla="*/ 238 h 359"/>
                <a:gd name="T4" fmla="*/ 77 w 508"/>
                <a:gd name="T5" fmla="*/ 197 h 359"/>
                <a:gd name="T6" fmla="*/ 113 w 508"/>
                <a:gd name="T7" fmla="*/ 169 h 359"/>
                <a:gd name="T8" fmla="*/ 158 w 508"/>
                <a:gd name="T9" fmla="*/ 153 h 359"/>
                <a:gd name="T10" fmla="*/ 197 w 508"/>
                <a:gd name="T11" fmla="*/ 150 h 359"/>
                <a:gd name="T12" fmla="*/ 204 w 508"/>
                <a:gd name="T13" fmla="*/ 146 h 359"/>
                <a:gd name="T14" fmla="*/ 209 w 508"/>
                <a:gd name="T15" fmla="*/ 138 h 359"/>
                <a:gd name="T16" fmla="*/ 209 w 508"/>
                <a:gd name="T17" fmla="*/ 72 h 359"/>
                <a:gd name="T18" fmla="*/ 204 w 508"/>
                <a:gd name="T19" fmla="*/ 64 h 359"/>
                <a:gd name="T20" fmla="*/ 197 w 508"/>
                <a:gd name="T21" fmla="*/ 61 h 359"/>
                <a:gd name="T22" fmla="*/ 179 w 508"/>
                <a:gd name="T23" fmla="*/ 30 h 359"/>
                <a:gd name="T24" fmla="*/ 313 w 508"/>
                <a:gd name="T25" fmla="*/ 60 h 359"/>
                <a:gd name="T26" fmla="*/ 305 w 508"/>
                <a:gd name="T27" fmla="*/ 63 h 359"/>
                <a:gd name="T28" fmla="*/ 299 w 508"/>
                <a:gd name="T29" fmla="*/ 70 h 359"/>
                <a:gd name="T30" fmla="*/ 298 w 508"/>
                <a:gd name="T31" fmla="*/ 135 h 359"/>
                <a:gd name="T32" fmla="*/ 301 w 508"/>
                <a:gd name="T33" fmla="*/ 143 h 359"/>
                <a:gd name="T34" fmla="*/ 308 w 508"/>
                <a:gd name="T35" fmla="*/ 149 h 359"/>
                <a:gd name="T36" fmla="*/ 332 w 508"/>
                <a:gd name="T37" fmla="*/ 151 h 359"/>
                <a:gd name="T38" fmla="*/ 380 w 508"/>
                <a:gd name="T39" fmla="*/ 162 h 359"/>
                <a:gd name="T40" fmla="*/ 419 w 508"/>
                <a:gd name="T41" fmla="*/ 186 h 359"/>
                <a:gd name="T42" fmla="*/ 449 w 508"/>
                <a:gd name="T43" fmla="*/ 223 h 359"/>
                <a:gd name="T44" fmla="*/ 468 w 508"/>
                <a:gd name="T45" fmla="*/ 271 h 359"/>
                <a:gd name="T46" fmla="*/ 477 w 508"/>
                <a:gd name="T47" fmla="*/ 329 h 359"/>
                <a:gd name="T48" fmla="*/ 328 w 508"/>
                <a:gd name="T49" fmla="*/ 90 h 359"/>
                <a:gd name="T50" fmla="*/ 349 w 508"/>
                <a:gd name="T51" fmla="*/ 89 h 359"/>
                <a:gd name="T52" fmla="*/ 356 w 508"/>
                <a:gd name="T53" fmla="*/ 84 h 359"/>
                <a:gd name="T54" fmla="*/ 358 w 508"/>
                <a:gd name="T55" fmla="*/ 75 h 359"/>
                <a:gd name="T56" fmla="*/ 357 w 508"/>
                <a:gd name="T57" fmla="*/ 10 h 359"/>
                <a:gd name="T58" fmla="*/ 352 w 508"/>
                <a:gd name="T59" fmla="*/ 3 h 359"/>
                <a:gd name="T60" fmla="*/ 343 w 508"/>
                <a:gd name="T61" fmla="*/ 0 h 359"/>
                <a:gd name="T62" fmla="*/ 158 w 508"/>
                <a:gd name="T63" fmla="*/ 1 h 359"/>
                <a:gd name="T64" fmla="*/ 152 w 508"/>
                <a:gd name="T65" fmla="*/ 8 h 359"/>
                <a:gd name="T66" fmla="*/ 149 w 508"/>
                <a:gd name="T67" fmla="*/ 15 h 359"/>
                <a:gd name="T68" fmla="*/ 150 w 508"/>
                <a:gd name="T69" fmla="*/ 81 h 359"/>
                <a:gd name="T70" fmla="*/ 156 w 508"/>
                <a:gd name="T71" fmla="*/ 88 h 359"/>
                <a:gd name="T72" fmla="*/ 164 w 508"/>
                <a:gd name="T73" fmla="*/ 90 h 359"/>
                <a:gd name="T74" fmla="*/ 158 w 508"/>
                <a:gd name="T75" fmla="*/ 123 h 359"/>
                <a:gd name="T76" fmla="*/ 104 w 508"/>
                <a:gd name="T77" fmla="*/ 140 h 359"/>
                <a:gd name="T78" fmla="*/ 60 w 508"/>
                <a:gd name="T79" fmla="*/ 171 h 359"/>
                <a:gd name="T80" fmla="*/ 27 w 508"/>
                <a:gd name="T81" fmla="*/ 217 h 359"/>
                <a:gd name="T82" fmla="*/ 6 w 508"/>
                <a:gd name="T83" fmla="*/ 275 h 359"/>
                <a:gd name="T84" fmla="*/ 0 w 508"/>
                <a:gd name="T85" fmla="*/ 344 h 359"/>
                <a:gd name="T86" fmla="*/ 2 w 508"/>
                <a:gd name="T87" fmla="*/ 352 h 359"/>
                <a:gd name="T88" fmla="*/ 8 w 508"/>
                <a:gd name="T89" fmla="*/ 358 h 359"/>
                <a:gd name="T90" fmla="*/ 493 w 508"/>
                <a:gd name="T91" fmla="*/ 359 h 359"/>
                <a:gd name="T92" fmla="*/ 501 w 508"/>
                <a:gd name="T93" fmla="*/ 356 h 359"/>
                <a:gd name="T94" fmla="*/ 507 w 508"/>
                <a:gd name="T95" fmla="*/ 350 h 359"/>
                <a:gd name="T96" fmla="*/ 507 w 508"/>
                <a:gd name="T97" fmla="*/ 320 h 359"/>
                <a:gd name="T98" fmla="*/ 495 w 508"/>
                <a:gd name="T99" fmla="*/ 255 h 359"/>
                <a:gd name="T100" fmla="*/ 471 w 508"/>
                <a:gd name="T101" fmla="*/ 200 h 359"/>
                <a:gd name="T102" fmla="*/ 434 w 508"/>
                <a:gd name="T103" fmla="*/ 159 h 359"/>
                <a:gd name="T104" fmla="*/ 386 w 508"/>
                <a:gd name="T105" fmla="*/ 133 h 359"/>
                <a:gd name="T106" fmla="*/ 328 w 508"/>
                <a:gd name="T107" fmla="*/ 121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359">
                  <a:moveTo>
                    <a:pt x="30" y="329"/>
                  </a:moveTo>
                  <a:lnTo>
                    <a:pt x="31" y="308"/>
                  </a:lnTo>
                  <a:lnTo>
                    <a:pt x="34" y="289"/>
                  </a:lnTo>
                  <a:lnTo>
                    <a:pt x="38" y="271"/>
                  </a:lnTo>
                  <a:lnTo>
                    <a:pt x="44" y="254"/>
                  </a:lnTo>
                  <a:lnTo>
                    <a:pt x="50" y="238"/>
                  </a:lnTo>
                  <a:lnTo>
                    <a:pt x="58" y="223"/>
                  </a:lnTo>
                  <a:lnTo>
                    <a:pt x="66" y="210"/>
                  </a:lnTo>
                  <a:lnTo>
                    <a:pt x="77" y="197"/>
                  </a:lnTo>
                  <a:lnTo>
                    <a:pt x="88" y="186"/>
                  </a:lnTo>
                  <a:lnTo>
                    <a:pt x="99" y="177"/>
                  </a:lnTo>
                  <a:lnTo>
                    <a:pt x="113" y="169"/>
                  </a:lnTo>
                  <a:lnTo>
                    <a:pt x="127" y="162"/>
                  </a:lnTo>
                  <a:lnTo>
                    <a:pt x="142" y="157"/>
                  </a:lnTo>
                  <a:lnTo>
                    <a:pt x="158" y="153"/>
                  </a:lnTo>
                  <a:lnTo>
                    <a:pt x="175" y="151"/>
                  </a:lnTo>
                  <a:lnTo>
                    <a:pt x="194" y="150"/>
                  </a:lnTo>
                  <a:lnTo>
                    <a:pt x="197" y="150"/>
                  </a:lnTo>
                  <a:lnTo>
                    <a:pt x="200" y="149"/>
                  </a:lnTo>
                  <a:lnTo>
                    <a:pt x="202" y="148"/>
                  </a:lnTo>
                  <a:lnTo>
                    <a:pt x="204" y="146"/>
                  </a:lnTo>
                  <a:lnTo>
                    <a:pt x="206" y="143"/>
                  </a:lnTo>
                  <a:lnTo>
                    <a:pt x="207" y="141"/>
                  </a:lnTo>
                  <a:lnTo>
                    <a:pt x="209" y="138"/>
                  </a:lnTo>
                  <a:lnTo>
                    <a:pt x="209" y="135"/>
                  </a:lnTo>
                  <a:lnTo>
                    <a:pt x="209" y="75"/>
                  </a:lnTo>
                  <a:lnTo>
                    <a:pt x="209" y="72"/>
                  </a:lnTo>
                  <a:lnTo>
                    <a:pt x="207" y="70"/>
                  </a:lnTo>
                  <a:lnTo>
                    <a:pt x="206" y="66"/>
                  </a:lnTo>
                  <a:lnTo>
                    <a:pt x="204" y="64"/>
                  </a:lnTo>
                  <a:lnTo>
                    <a:pt x="202" y="63"/>
                  </a:lnTo>
                  <a:lnTo>
                    <a:pt x="200" y="61"/>
                  </a:lnTo>
                  <a:lnTo>
                    <a:pt x="197" y="61"/>
                  </a:lnTo>
                  <a:lnTo>
                    <a:pt x="194" y="60"/>
                  </a:lnTo>
                  <a:lnTo>
                    <a:pt x="179" y="60"/>
                  </a:lnTo>
                  <a:lnTo>
                    <a:pt x="179" y="30"/>
                  </a:lnTo>
                  <a:lnTo>
                    <a:pt x="328" y="30"/>
                  </a:lnTo>
                  <a:lnTo>
                    <a:pt x="328" y="60"/>
                  </a:lnTo>
                  <a:lnTo>
                    <a:pt x="313" y="60"/>
                  </a:lnTo>
                  <a:lnTo>
                    <a:pt x="310" y="61"/>
                  </a:lnTo>
                  <a:lnTo>
                    <a:pt x="308" y="61"/>
                  </a:lnTo>
                  <a:lnTo>
                    <a:pt x="305" y="63"/>
                  </a:lnTo>
                  <a:lnTo>
                    <a:pt x="303" y="64"/>
                  </a:lnTo>
                  <a:lnTo>
                    <a:pt x="301" y="66"/>
                  </a:lnTo>
                  <a:lnTo>
                    <a:pt x="299" y="70"/>
                  </a:lnTo>
                  <a:lnTo>
                    <a:pt x="298" y="72"/>
                  </a:lnTo>
                  <a:lnTo>
                    <a:pt x="298" y="75"/>
                  </a:lnTo>
                  <a:lnTo>
                    <a:pt x="298" y="135"/>
                  </a:lnTo>
                  <a:lnTo>
                    <a:pt x="298" y="138"/>
                  </a:lnTo>
                  <a:lnTo>
                    <a:pt x="299" y="141"/>
                  </a:lnTo>
                  <a:lnTo>
                    <a:pt x="301" y="143"/>
                  </a:lnTo>
                  <a:lnTo>
                    <a:pt x="303" y="146"/>
                  </a:lnTo>
                  <a:lnTo>
                    <a:pt x="305" y="148"/>
                  </a:lnTo>
                  <a:lnTo>
                    <a:pt x="308" y="149"/>
                  </a:lnTo>
                  <a:lnTo>
                    <a:pt x="310" y="150"/>
                  </a:lnTo>
                  <a:lnTo>
                    <a:pt x="313" y="150"/>
                  </a:lnTo>
                  <a:lnTo>
                    <a:pt x="332" y="151"/>
                  </a:lnTo>
                  <a:lnTo>
                    <a:pt x="349" y="153"/>
                  </a:lnTo>
                  <a:lnTo>
                    <a:pt x="365" y="157"/>
                  </a:lnTo>
                  <a:lnTo>
                    <a:pt x="380" y="162"/>
                  </a:lnTo>
                  <a:lnTo>
                    <a:pt x="395" y="169"/>
                  </a:lnTo>
                  <a:lnTo>
                    <a:pt x="407" y="177"/>
                  </a:lnTo>
                  <a:lnTo>
                    <a:pt x="419" y="186"/>
                  </a:lnTo>
                  <a:lnTo>
                    <a:pt x="431" y="197"/>
                  </a:lnTo>
                  <a:lnTo>
                    <a:pt x="441" y="210"/>
                  </a:lnTo>
                  <a:lnTo>
                    <a:pt x="449" y="223"/>
                  </a:lnTo>
                  <a:lnTo>
                    <a:pt x="457" y="238"/>
                  </a:lnTo>
                  <a:lnTo>
                    <a:pt x="463" y="254"/>
                  </a:lnTo>
                  <a:lnTo>
                    <a:pt x="468" y="271"/>
                  </a:lnTo>
                  <a:lnTo>
                    <a:pt x="473" y="289"/>
                  </a:lnTo>
                  <a:lnTo>
                    <a:pt x="476" y="309"/>
                  </a:lnTo>
                  <a:lnTo>
                    <a:pt x="477" y="329"/>
                  </a:lnTo>
                  <a:lnTo>
                    <a:pt x="30" y="329"/>
                  </a:lnTo>
                  <a:close/>
                  <a:moveTo>
                    <a:pt x="328" y="121"/>
                  </a:moveTo>
                  <a:lnTo>
                    <a:pt x="328" y="90"/>
                  </a:lnTo>
                  <a:lnTo>
                    <a:pt x="343" y="90"/>
                  </a:lnTo>
                  <a:lnTo>
                    <a:pt x="347" y="90"/>
                  </a:lnTo>
                  <a:lnTo>
                    <a:pt x="349" y="89"/>
                  </a:lnTo>
                  <a:lnTo>
                    <a:pt x="352" y="88"/>
                  </a:lnTo>
                  <a:lnTo>
                    <a:pt x="354" y="86"/>
                  </a:lnTo>
                  <a:lnTo>
                    <a:pt x="356" y="84"/>
                  </a:lnTo>
                  <a:lnTo>
                    <a:pt x="357" y="81"/>
                  </a:lnTo>
                  <a:lnTo>
                    <a:pt x="358" y="78"/>
                  </a:lnTo>
                  <a:lnTo>
                    <a:pt x="358" y="75"/>
                  </a:lnTo>
                  <a:lnTo>
                    <a:pt x="358" y="15"/>
                  </a:lnTo>
                  <a:lnTo>
                    <a:pt x="358" y="13"/>
                  </a:lnTo>
                  <a:lnTo>
                    <a:pt x="357" y="10"/>
                  </a:lnTo>
                  <a:lnTo>
                    <a:pt x="356" y="8"/>
                  </a:lnTo>
                  <a:lnTo>
                    <a:pt x="354" y="4"/>
                  </a:lnTo>
                  <a:lnTo>
                    <a:pt x="352" y="3"/>
                  </a:lnTo>
                  <a:lnTo>
                    <a:pt x="349" y="1"/>
                  </a:lnTo>
                  <a:lnTo>
                    <a:pt x="347" y="1"/>
                  </a:lnTo>
                  <a:lnTo>
                    <a:pt x="343" y="0"/>
                  </a:lnTo>
                  <a:lnTo>
                    <a:pt x="164" y="0"/>
                  </a:lnTo>
                  <a:lnTo>
                    <a:pt x="161" y="1"/>
                  </a:lnTo>
                  <a:lnTo>
                    <a:pt x="158" y="1"/>
                  </a:lnTo>
                  <a:lnTo>
                    <a:pt x="156" y="3"/>
                  </a:lnTo>
                  <a:lnTo>
                    <a:pt x="153" y="4"/>
                  </a:lnTo>
                  <a:lnTo>
                    <a:pt x="152" y="8"/>
                  </a:lnTo>
                  <a:lnTo>
                    <a:pt x="150" y="10"/>
                  </a:lnTo>
                  <a:lnTo>
                    <a:pt x="150" y="13"/>
                  </a:lnTo>
                  <a:lnTo>
                    <a:pt x="149" y="15"/>
                  </a:lnTo>
                  <a:lnTo>
                    <a:pt x="149" y="75"/>
                  </a:lnTo>
                  <a:lnTo>
                    <a:pt x="150" y="78"/>
                  </a:lnTo>
                  <a:lnTo>
                    <a:pt x="150" y="81"/>
                  </a:lnTo>
                  <a:lnTo>
                    <a:pt x="152" y="84"/>
                  </a:lnTo>
                  <a:lnTo>
                    <a:pt x="153" y="86"/>
                  </a:lnTo>
                  <a:lnTo>
                    <a:pt x="156" y="88"/>
                  </a:lnTo>
                  <a:lnTo>
                    <a:pt x="158" y="89"/>
                  </a:lnTo>
                  <a:lnTo>
                    <a:pt x="160" y="90"/>
                  </a:lnTo>
                  <a:lnTo>
                    <a:pt x="164" y="90"/>
                  </a:lnTo>
                  <a:lnTo>
                    <a:pt x="179" y="90"/>
                  </a:lnTo>
                  <a:lnTo>
                    <a:pt x="179" y="121"/>
                  </a:lnTo>
                  <a:lnTo>
                    <a:pt x="158" y="123"/>
                  </a:lnTo>
                  <a:lnTo>
                    <a:pt x="139" y="126"/>
                  </a:lnTo>
                  <a:lnTo>
                    <a:pt x="121" y="133"/>
                  </a:lnTo>
                  <a:lnTo>
                    <a:pt x="104" y="140"/>
                  </a:lnTo>
                  <a:lnTo>
                    <a:pt x="88" y="149"/>
                  </a:lnTo>
                  <a:lnTo>
                    <a:pt x="74" y="159"/>
                  </a:lnTo>
                  <a:lnTo>
                    <a:pt x="60" y="171"/>
                  </a:lnTo>
                  <a:lnTo>
                    <a:pt x="48" y="185"/>
                  </a:lnTo>
                  <a:lnTo>
                    <a:pt x="36" y="200"/>
                  </a:lnTo>
                  <a:lnTo>
                    <a:pt x="27" y="217"/>
                  </a:lnTo>
                  <a:lnTo>
                    <a:pt x="19" y="235"/>
                  </a:lnTo>
                  <a:lnTo>
                    <a:pt x="12" y="255"/>
                  </a:lnTo>
                  <a:lnTo>
                    <a:pt x="6" y="275"/>
                  </a:lnTo>
                  <a:lnTo>
                    <a:pt x="3" y="296"/>
                  </a:lnTo>
                  <a:lnTo>
                    <a:pt x="0" y="320"/>
                  </a:lnTo>
                  <a:lnTo>
                    <a:pt x="0" y="344"/>
                  </a:lnTo>
                  <a:lnTo>
                    <a:pt x="0" y="348"/>
                  </a:lnTo>
                  <a:lnTo>
                    <a:pt x="1" y="350"/>
                  </a:lnTo>
                  <a:lnTo>
                    <a:pt x="2" y="352"/>
                  </a:lnTo>
                  <a:lnTo>
                    <a:pt x="4" y="355"/>
                  </a:lnTo>
                  <a:lnTo>
                    <a:pt x="6" y="356"/>
                  </a:lnTo>
                  <a:lnTo>
                    <a:pt x="8" y="358"/>
                  </a:lnTo>
                  <a:lnTo>
                    <a:pt x="12" y="358"/>
                  </a:lnTo>
                  <a:lnTo>
                    <a:pt x="15" y="359"/>
                  </a:lnTo>
                  <a:lnTo>
                    <a:pt x="493" y="359"/>
                  </a:lnTo>
                  <a:lnTo>
                    <a:pt x="495" y="358"/>
                  </a:lnTo>
                  <a:lnTo>
                    <a:pt x="498" y="358"/>
                  </a:lnTo>
                  <a:lnTo>
                    <a:pt x="501" y="356"/>
                  </a:lnTo>
                  <a:lnTo>
                    <a:pt x="504" y="355"/>
                  </a:lnTo>
                  <a:lnTo>
                    <a:pt x="505" y="353"/>
                  </a:lnTo>
                  <a:lnTo>
                    <a:pt x="507" y="350"/>
                  </a:lnTo>
                  <a:lnTo>
                    <a:pt x="507" y="348"/>
                  </a:lnTo>
                  <a:lnTo>
                    <a:pt x="508" y="344"/>
                  </a:lnTo>
                  <a:lnTo>
                    <a:pt x="507" y="320"/>
                  </a:lnTo>
                  <a:lnTo>
                    <a:pt x="505" y="296"/>
                  </a:lnTo>
                  <a:lnTo>
                    <a:pt x="501" y="275"/>
                  </a:lnTo>
                  <a:lnTo>
                    <a:pt x="495" y="255"/>
                  </a:lnTo>
                  <a:lnTo>
                    <a:pt x="489" y="235"/>
                  </a:lnTo>
                  <a:lnTo>
                    <a:pt x="480" y="217"/>
                  </a:lnTo>
                  <a:lnTo>
                    <a:pt x="471" y="200"/>
                  </a:lnTo>
                  <a:lnTo>
                    <a:pt x="460" y="185"/>
                  </a:lnTo>
                  <a:lnTo>
                    <a:pt x="447" y="171"/>
                  </a:lnTo>
                  <a:lnTo>
                    <a:pt x="434" y="159"/>
                  </a:lnTo>
                  <a:lnTo>
                    <a:pt x="419" y="149"/>
                  </a:lnTo>
                  <a:lnTo>
                    <a:pt x="403" y="140"/>
                  </a:lnTo>
                  <a:lnTo>
                    <a:pt x="386" y="133"/>
                  </a:lnTo>
                  <a:lnTo>
                    <a:pt x="368" y="126"/>
                  </a:lnTo>
                  <a:lnTo>
                    <a:pt x="349" y="123"/>
                  </a:lnTo>
                  <a:lnTo>
                    <a:pt x="328"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7" name="Freeform 269">
              <a:extLst>
                <a:ext uri="{FF2B5EF4-FFF2-40B4-BE49-F238E27FC236}">
                  <a16:creationId xmlns:a16="http://schemas.microsoft.com/office/drawing/2014/main" id="{E2BEA17A-12B1-4522-AB2A-2D6F956DB532}"/>
                </a:ext>
              </a:extLst>
            </p:cNvPr>
            <p:cNvSpPr>
              <a:spLocks noEditPoints="1"/>
            </p:cNvSpPr>
            <p:nvPr/>
          </p:nvSpPr>
          <p:spPr bwMode="auto">
            <a:xfrm>
              <a:off x="10580688" y="1338263"/>
              <a:ext cx="158750" cy="157163"/>
            </a:xfrm>
            <a:custGeom>
              <a:avLst/>
              <a:gdLst>
                <a:gd name="T0" fmla="*/ 464 w 501"/>
                <a:gd name="T1" fmla="*/ 59 h 493"/>
                <a:gd name="T2" fmla="*/ 471 w 501"/>
                <a:gd name="T3" fmla="*/ 88 h 493"/>
                <a:gd name="T4" fmla="*/ 464 w 501"/>
                <a:gd name="T5" fmla="*/ 135 h 493"/>
                <a:gd name="T6" fmla="*/ 439 w 501"/>
                <a:gd name="T7" fmla="*/ 210 h 493"/>
                <a:gd name="T8" fmla="*/ 71 w 501"/>
                <a:gd name="T9" fmla="*/ 379 h 493"/>
                <a:gd name="T10" fmla="*/ 74 w 501"/>
                <a:gd name="T11" fmla="*/ 336 h 493"/>
                <a:gd name="T12" fmla="*/ 93 w 501"/>
                <a:gd name="T13" fmla="*/ 284 h 493"/>
                <a:gd name="T14" fmla="*/ 145 w 501"/>
                <a:gd name="T15" fmla="*/ 203 h 493"/>
                <a:gd name="T16" fmla="*/ 216 w 501"/>
                <a:gd name="T17" fmla="*/ 126 h 493"/>
                <a:gd name="T18" fmla="*/ 285 w 501"/>
                <a:gd name="T19" fmla="*/ 70 h 493"/>
                <a:gd name="T20" fmla="*/ 329 w 501"/>
                <a:gd name="T21" fmla="*/ 144 h 493"/>
                <a:gd name="T22" fmla="*/ 282 w 501"/>
                <a:gd name="T23" fmla="*/ 390 h 493"/>
                <a:gd name="T24" fmla="*/ 197 w 501"/>
                <a:gd name="T25" fmla="*/ 426 h 493"/>
                <a:gd name="T26" fmla="*/ 155 w 501"/>
                <a:gd name="T27" fmla="*/ 431 h 493"/>
                <a:gd name="T28" fmla="*/ 109 w 501"/>
                <a:gd name="T29" fmla="*/ 424 h 493"/>
                <a:gd name="T30" fmla="*/ 321 w 501"/>
                <a:gd name="T31" fmla="*/ 360 h 493"/>
                <a:gd name="T32" fmla="*/ 473 w 501"/>
                <a:gd name="T33" fmla="*/ 20 h 493"/>
                <a:gd name="T34" fmla="*/ 457 w 501"/>
                <a:gd name="T35" fmla="*/ 17 h 493"/>
                <a:gd name="T36" fmla="*/ 359 w 501"/>
                <a:gd name="T37" fmla="*/ 12 h 493"/>
                <a:gd name="T38" fmla="*/ 348 w 501"/>
                <a:gd name="T39" fmla="*/ 1 h 493"/>
                <a:gd name="T40" fmla="*/ 321 w 501"/>
                <a:gd name="T41" fmla="*/ 11 h 493"/>
                <a:gd name="T42" fmla="*/ 244 w 501"/>
                <a:gd name="T43" fmla="*/ 63 h 493"/>
                <a:gd name="T44" fmla="*/ 157 w 501"/>
                <a:gd name="T45" fmla="*/ 143 h 493"/>
                <a:gd name="T46" fmla="*/ 90 w 501"/>
                <a:gd name="T47" fmla="*/ 229 h 493"/>
                <a:gd name="T48" fmla="*/ 49 w 501"/>
                <a:gd name="T49" fmla="*/ 311 h 493"/>
                <a:gd name="T50" fmla="*/ 41 w 501"/>
                <a:gd name="T51" fmla="*/ 379 h 493"/>
                <a:gd name="T52" fmla="*/ 52 w 501"/>
                <a:gd name="T53" fmla="*/ 412 h 493"/>
                <a:gd name="T54" fmla="*/ 1 w 501"/>
                <a:gd name="T55" fmla="*/ 473 h 493"/>
                <a:gd name="T56" fmla="*/ 1 w 501"/>
                <a:gd name="T57" fmla="*/ 485 h 493"/>
                <a:gd name="T58" fmla="*/ 10 w 501"/>
                <a:gd name="T59" fmla="*/ 492 h 493"/>
                <a:gd name="T60" fmla="*/ 21 w 501"/>
                <a:gd name="T61" fmla="*/ 492 h 493"/>
                <a:gd name="T62" fmla="*/ 84 w 501"/>
                <a:gd name="T63" fmla="*/ 444 h 493"/>
                <a:gd name="T64" fmla="*/ 121 w 501"/>
                <a:gd name="T65" fmla="*/ 458 h 493"/>
                <a:gd name="T66" fmla="*/ 154 w 501"/>
                <a:gd name="T67" fmla="*/ 461 h 493"/>
                <a:gd name="T68" fmla="*/ 197 w 501"/>
                <a:gd name="T69" fmla="*/ 456 h 493"/>
                <a:gd name="T70" fmla="*/ 253 w 501"/>
                <a:gd name="T71" fmla="*/ 439 h 493"/>
                <a:gd name="T72" fmla="*/ 307 w 501"/>
                <a:gd name="T73" fmla="*/ 408 h 493"/>
                <a:gd name="T74" fmla="*/ 358 w 501"/>
                <a:gd name="T75" fmla="*/ 367 h 493"/>
                <a:gd name="T76" fmla="*/ 374 w 501"/>
                <a:gd name="T77" fmla="*/ 342 h 493"/>
                <a:gd name="T78" fmla="*/ 363 w 501"/>
                <a:gd name="T79" fmla="*/ 330 h 493"/>
                <a:gd name="T80" fmla="*/ 404 w 501"/>
                <a:gd name="T81" fmla="*/ 300 h 493"/>
                <a:gd name="T82" fmla="*/ 414 w 501"/>
                <a:gd name="T83" fmla="*/ 295 h 493"/>
                <a:gd name="T84" fmla="*/ 418 w 501"/>
                <a:gd name="T85" fmla="*/ 285 h 493"/>
                <a:gd name="T86" fmla="*/ 414 w 501"/>
                <a:gd name="T87" fmla="*/ 274 h 493"/>
                <a:gd name="T88" fmla="*/ 404 w 501"/>
                <a:gd name="T89" fmla="*/ 270 h 493"/>
                <a:gd name="T90" fmla="*/ 453 w 501"/>
                <a:gd name="T91" fmla="*/ 239 h 493"/>
                <a:gd name="T92" fmla="*/ 471 w 501"/>
                <a:gd name="T93" fmla="*/ 212 h 493"/>
                <a:gd name="T94" fmla="*/ 493 w 501"/>
                <a:gd name="T95" fmla="*/ 144 h 493"/>
                <a:gd name="T96" fmla="*/ 501 w 501"/>
                <a:gd name="T97" fmla="*/ 88 h 493"/>
                <a:gd name="T98" fmla="*/ 491 w 501"/>
                <a:gd name="T99" fmla="*/ 45 h 493"/>
                <a:gd name="T100" fmla="*/ 474 w 501"/>
                <a:gd name="T101" fmla="*/ 2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1" h="493">
                  <a:moveTo>
                    <a:pt x="439" y="210"/>
                  </a:moveTo>
                  <a:lnTo>
                    <a:pt x="305" y="210"/>
                  </a:lnTo>
                  <a:lnTo>
                    <a:pt x="462" y="53"/>
                  </a:lnTo>
                  <a:lnTo>
                    <a:pt x="464" y="59"/>
                  </a:lnTo>
                  <a:lnTo>
                    <a:pt x="467" y="66"/>
                  </a:lnTo>
                  <a:lnTo>
                    <a:pt x="469" y="73"/>
                  </a:lnTo>
                  <a:lnTo>
                    <a:pt x="470" y="81"/>
                  </a:lnTo>
                  <a:lnTo>
                    <a:pt x="471" y="88"/>
                  </a:lnTo>
                  <a:lnTo>
                    <a:pt x="471" y="97"/>
                  </a:lnTo>
                  <a:lnTo>
                    <a:pt x="470" y="105"/>
                  </a:lnTo>
                  <a:lnTo>
                    <a:pt x="469" y="115"/>
                  </a:lnTo>
                  <a:lnTo>
                    <a:pt x="464" y="135"/>
                  </a:lnTo>
                  <a:lnTo>
                    <a:pt x="458" y="159"/>
                  </a:lnTo>
                  <a:lnTo>
                    <a:pt x="450" y="183"/>
                  </a:lnTo>
                  <a:lnTo>
                    <a:pt x="439" y="210"/>
                  </a:lnTo>
                  <a:lnTo>
                    <a:pt x="439" y="210"/>
                  </a:lnTo>
                  <a:close/>
                  <a:moveTo>
                    <a:pt x="76" y="396"/>
                  </a:moveTo>
                  <a:lnTo>
                    <a:pt x="74" y="391"/>
                  </a:lnTo>
                  <a:lnTo>
                    <a:pt x="73" y="385"/>
                  </a:lnTo>
                  <a:lnTo>
                    <a:pt x="71" y="379"/>
                  </a:lnTo>
                  <a:lnTo>
                    <a:pt x="71" y="373"/>
                  </a:lnTo>
                  <a:lnTo>
                    <a:pt x="71" y="361"/>
                  </a:lnTo>
                  <a:lnTo>
                    <a:pt x="72" y="348"/>
                  </a:lnTo>
                  <a:lnTo>
                    <a:pt x="74" y="336"/>
                  </a:lnTo>
                  <a:lnTo>
                    <a:pt x="77" y="324"/>
                  </a:lnTo>
                  <a:lnTo>
                    <a:pt x="80" y="313"/>
                  </a:lnTo>
                  <a:lnTo>
                    <a:pt x="85" y="303"/>
                  </a:lnTo>
                  <a:lnTo>
                    <a:pt x="93" y="284"/>
                  </a:lnTo>
                  <a:lnTo>
                    <a:pt x="104" y="264"/>
                  </a:lnTo>
                  <a:lnTo>
                    <a:pt x="116" y="244"/>
                  </a:lnTo>
                  <a:lnTo>
                    <a:pt x="130" y="224"/>
                  </a:lnTo>
                  <a:lnTo>
                    <a:pt x="145" y="203"/>
                  </a:lnTo>
                  <a:lnTo>
                    <a:pt x="162" y="183"/>
                  </a:lnTo>
                  <a:lnTo>
                    <a:pt x="179" y="163"/>
                  </a:lnTo>
                  <a:lnTo>
                    <a:pt x="198" y="143"/>
                  </a:lnTo>
                  <a:lnTo>
                    <a:pt x="216" y="126"/>
                  </a:lnTo>
                  <a:lnTo>
                    <a:pt x="233" y="110"/>
                  </a:lnTo>
                  <a:lnTo>
                    <a:pt x="251" y="95"/>
                  </a:lnTo>
                  <a:lnTo>
                    <a:pt x="268" y="83"/>
                  </a:lnTo>
                  <a:lnTo>
                    <a:pt x="285" y="70"/>
                  </a:lnTo>
                  <a:lnTo>
                    <a:pt x="300" y="59"/>
                  </a:lnTo>
                  <a:lnTo>
                    <a:pt x="315" y="50"/>
                  </a:lnTo>
                  <a:lnTo>
                    <a:pt x="329" y="41"/>
                  </a:lnTo>
                  <a:lnTo>
                    <a:pt x="329" y="144"/>
                  </a:lnTo>
                  <a:lnTo>
                    <a:pt x="76" y="396"/>
                  </a:lnTo>
                  <a:close/>
                  <a:moveTo>
                    <a:pt x="321" y="360"/>
                  </a:moveTo>
                  <a:lnTo>
                    <a:pt x="302" y="376"/>
                  </a:lnTo>
                  <a:lnTo>
                    <a:pt x="282" y="390"/>
                  </a:lnTo>
                  <a:lnTo>
                    <a:pt x="260" y="401"/>
                  </a:lnTo>
                  <a:lnTo>
                    <a:pt x="240" y="412"/>
                  </a:lnTo>
                  <a:lnTo>
                    <a:pt x="218" y="419"/>
                  </a:lnTo>
                  <a:lnTo>
                    <a:pt x="197" y="426"/>
                  </a:lnTo>
                  <a:lnTo>
                    <a:pt x="186" y="428"/>
                  </a:lnTo>
                  <a:lnTo>
                    <a:pt x="176" y="429"/>
                  </a:lnTo>
                  <a:lnTo>
                    <a:pt x="166" y="430"/>
                  </a:lnTo>
                  <a:lnTo>
                    <a:pt x="155" y="431"/>
                  </a:lnTo>
                  <a:lnTo>
                    <a:pt x="138" y="430"/>
                  </a:lnTo>
                  <a:lnTo>
                    <a:pt x="123" y="428"/>
                  </a:lnTo>
                  <a:lnTo>
                    <a:pt x="116" y="426"/>
                  </a:lnTo>
                  <a:lnTo>
                    <a:pt x="109" y="424"/>
                  </a:lnTo>
                  <a:lnTo>
                    <a:pt x="103" y="421"/>
                  </a:lnTo>
                  <a:lnTo>
                    <a:pt x="98" y="417"/>
                  </a:lnTo>
                  <a:lnTo>
                    <a:pt x="155" y="360"/>
                  </a:lnTo>
                  <a:lnTo>
                    <a:pt x="321" y="360"/>
                  </a:lnTo>
                  <a:close/>
                  <a:moveTo>
                    <a:pt x="474" y="20"/>
                  </a:moveTo>
                  <a:lnTo>
                    <a:pt x="474" y="20"/>
                  </a:lnTo>
                  <a:lnTo>
                    <a:pt x="474" y="20"/>
                  </a:lnTo>
                  <a:lnTo>
                    <a:pt x="473" y="20"/>
                  </a:lnTo>
                  <a:lnTo>
                    <a:pt x="471" y="18"/>
                  </a:lnTo>
                  <a:lnTo>
                    <a:pt x="467" y="16"/>
                  </a:lnTo>
                  <a:lnTo>
                    <a:pt x="461" y="16"/>
                  </a:lnTo>
                  <a:lnTo>
                    <a:pt x="457" y="17"/>
                  </a:lnTo>
                  <a:lnTo>
                    <a:pt x="453" y="20"/>
                  </a:lnTo>
                  <a:lnTo>
                    <a:pt x="359" y="114"/>
                  </a:lnTo>
                  <a:lnTo>
                    <a:pt x="359" y="15"/>
                  </a:lnTo>
                  <a:lnTo>
                    <a:pt x="359" y="12"/>
                  </a:lnTo>
                  <a:lnTo>
                    <a:pt x="356" y="9"/>
                  </a:lnTo>
                  <a:lnTo>
                    <a:pt x="354" y="6"/>
                  </a:lnTo>
                  <a:lnTo>
                    <a:pt x="352" y="2"/>
                  </a:lnTo>
                  <a:lnTo>
                    <a:pt x="348" y="1"/>
                  </a:lnTo>
                  <a:lnTo>
                    <a:pt x="345" y="0"/>
                  </a:lnTo>
                  <a:lnTo>
                    <a:pt x="340" y="1"/>
                  </a:lnTo>
                  <a:lnTo>
                    <a:pt x="337" y="2"/>
                  </a:lnTo>
                  <a:lnTo>
                    <a:pt x="321" y="11"/>
                  </a:lnTo>
                  <a:lnTo>
                    <a:pt x="304" y="21"/>
                  </a:lnTo>
                  <a:lnTo>
                    <a:pt x="285" y="32"/>
                  </a:lnTo>
                  <a:lnTo>
                    <a:pt x="264" y="47"/>
                  </a:lnTo>
                  <a:lnTo>
                    <a:pt x="244" y="63"/>
                  </a:lnTo>
                  <a:lnTo>
                    <a:pt x="222" y="81"/>
                  </a:lnTo>
                  <a:lnTo>
                    <a:pt x="199" y="101"/>
                  </a:lnTo>
                  <a:lnTo>
                    <a:pt x="178" y="121"/>
                  </a:lnTo>
                  <a:lnTo>
                    <a:pt x="157" y="143"/>
                  </a:lnTo>
                  <a:lnTo>
                    <a:pt x="138" y="164"/>
                  </a:lnTo>
                  <a:lnTo>
                    <a:pt x="121" y="185"/>
                  </a:lnTo>
                  <a:lnTo>
                    <a:pt x="105" y="208"/>
                  </a:lnTo>
                  <a:lnTo>
                    <a:pt x="90" y="229"/>
                  </a:lnTo>
                  <a:lnTo>
                    <a:pt x="77" y="251"/>
                  </a:lnTo>
                  <a:lnTo>
                    <a:pt x="67" y="272"/>
                  </a:lnTo>
                  <a:lnTo>
                    <a:pt x="57" y="292"/>
                  </a:lnTo>
                  <a:lnTo>
                    <a:pt x="49" y="311"/>
                  </a:lnTo>
                  <a:lnTo>
                    <a:pt x="45" y="330"/>
                  </a:lnTo>
                  <a:lnTo>
                    <a:pt x="42" y="347"/>
                  </a:lnTo>
                  <a:lnTo>
                    <a:pt x="41" y="364"/>
                  </a:lnTo>
                  <a:lnTo>
                    <a:pt x="41" y="379"/>
                  </a:lnTo>
                  <a:lnTo>
                    <a:pt x="44" y="393"/>
                  </a:lnTo>
                  <a:lnTo>
                    <a:pt x="46" y="400"/>
                  </a:lnTo>
                  <a:lnTo>
                    <a:pt x="48" y="407"/>
                  </a:lnTo>
                  <a:lnTo>
                    <a:pt x="52" y="412"/>
                  </a:lnTo>
                  <a:lnTo>
                    <a:pt x="55" y="418"/>
                  </a:lnTo>
                  <a:lnTo>
                    <a:pt x="5" y="469"/>
                  </a:lnTo>
                  <a:lnTo>
                    <a:pt x="2" y="471"/>
                  </a:lnTo>
                  <a:lnTo>
                    <a:pt x="1" y="473"/>
                  </a:lnTo>
                  <a:lnTo>
                    <a:pt x="0" y="476"/>
                  </a:lnTo>
                  <a:lnTo>
                    <a:pt x="0" y="478"/>
                  </a:lnTo>
                  <a:lnTo>
                    <a:pt x="0" y="481"/>
                  </a:lnTo>
                  <a:lnTo>
                    <a:pt x="1" y="485"/>
                  </a:lnTo>
                  <a:lnTo>
                    <a:pt x="2" y="487"/>
                  </a:lnTo>
                  <a:lnTo>
                    <a:pt x="5" y="489"/>
                  </a:lnTo>
                  <a:lnTo>
                    <a:pt x="7" y="491"/>
                  </a:lnTo>
                  <a:lnTo>
                    <a:pt x="10" y="492"/>
                  </a:lnTo>
                  <a:lnTo>
                    <a:pt x="12" y="493"/>
                  </a:lnTo>
                  <a:lnTo>
                    <a:pt x="15" y="493"/>
                  </a:lnTo>
                  <a:lnTo>
                    <a:pt x="18" y="493"/>
                  </a:lnTo>
                  <a:lnTo>
                    <a:pt x="21" y="492"/>
                  </a:lnTo>
                  <a:lnTo>
                    <a:pt x="24" y="491"/>
                  </a:lnTo>
                  <a:lnTo>
                    <a:pt x="26" y="489"/>
                  </a:lnTo>
                  <a:lnTo>
                    <a:pt x="76" y="439"/>
                  </a:lnTo>
                  <a:lnTo>
                    <a:pt x="84" y="444"/>
                  </a:lnTo>
                  <a:lnTo>
                    <a:pt x="92" y="448"/>
                  </a:lnTo>
                  <a:lnTo>
                    <a:pt x="101" y="453"/>
                  </a:lnTo>
                  <a:lnTo>
                    <a:pt x="110" y="455"/>
                  </a:lnTo>
                  <a:lnTo>
                    <a:pt x="121" y="458"/>
                  </a:lnTo>
                  <a:lnTo>
                    <a:pt x="131" y="459"/>
                  </a:lnTo>
                  <a:lnTo>
                    <a:pt x="143" y="460"/>
                  </a:lnTo>
                  <a:lnTo>
                    <a:pt x="153" y="461"/>
                  </a:lnTo>
                  <a:lnTo>
                    <a:pt x="154" y="461"/>
                  </a:lnTo>
                  <a:lnTo>
                    <a:pt x="156" y="461"/>
                  </a:lnTo>
                  <a:lnTo>
                    <a:pt x="169" y="460"/>
                  </a:lnTo>
                  <a:lnTo>
                    <a:pt x="183" y="459"/>
                  </a:lnTo>
                  <a:lnTo>
                    <a:pt x="197" y="456"/>
                  </a:lnTo>
                  <a:lnTo>
                    <a:pt x="211" y="453"/>
                  </a:lnTo>
                  <a:lnTo>
                    <a:pt x="225" y="449"/>
                  </a:lnTo>
                  <a:lnTo>
                    <a:pt x="239" y="444"/>
                  </a:lnTo>
                  <a:lnTo>
                    <a:pt x="253" y="439"/>
                  </a:lnTo>
                  <a:lnTo>
                    <a:pt x="267" y="432"/>
                  </a:lnTo>
                  <a:lnTo>
                    <a:pt x="279" y="425"/>
                  </a:lnTo>
                  <a:lnTo>
                    <a:pt x="293" y="417"/>
                  </a:lnTo>
                  <a:lnTo>
                    <a:pt x="307" y="408"/>
                  </a:lnTo>
                  <a:lnTo>
                    <a:pt x="320" y="399"/>
                  </a:lnTo>
                  <a:lnTo>
                    <a:pt x="333" y="388"/>
                  </a:lnTo>
                  <a:lnTo>
                    <a:pt x="346" y="378"/>
                  </a:lnTo>
                  <a:lnTo>
                    <a:pt x="358" y="367"/>
                  </a:lnTo>
                  <a:lnTo>
                    <a:pt x="369" y="354"/>
                  </a:lnTo>
                  <a:lnTo>
                    <a:pt x="372" y="351"/>
                  </a:lnTo>
                  <a:lnTo>
                    <a:pt x="374" y="347"/>
                  </a:lnTo>
                  <a:lnTo>
                    <a:pt x="374" y="342"/>
                  </a:lnTo>
                  <a:lnTo>
                    <a:pt x="372" y="338"/>
                  </a:lnTo>
                  <a:lnTo>
                    <a:pt x="370" y="335"/>
                  </a:lnTo>
                  <a:lnTo>
                    <a:pt x="367" y="332"/>
                  </a:lnTo>
                  <a:lnTo>
                    <a:pt x="363" y="330"/>
                  </a:lnTo>
                  <a:lnTo>
                    <a:pt x="359" y="330"/>
                  </a:lnTo>
                  <a:lnTo>
                    <a:pt x="185" y="330"/>
                  </a:lnTo>
                  <a:lnTo>
                    <a:pt x="215" y="300"/>
                  </a:lnTo>
                  <a:lnTo>
                    <a:pt x="404" y="300"/>
                  </a:lnTo>
                  <a:lnTo>
                    <a:pt x="407" y="300"/>
                  </a:lnTo>
                  <a:lnTo>
                    <a:pt x="410" y="299"/>
                  </a:lnTo>
                  <a:lnTo>
                    <a:pt x="412" y="297"/>
                  </a:lnTo>
                  <a:lnTo>
                    <a:pt x="414" y="295"/>
                  </a:lnTo>
                  <a:lnTo>
                    <a:pt x="416" y="293"/>
                  </a:lnTo>
                  <a:lnTo>
                    <a:pt x="417" y="290"/>
                  </a:lnTo>
                  <a:lnTo>
                    <a:pt x="418" y="288"/>
                  </a:lnTo>
                  <a:lnTo>
                    <a:pt x="418" y="285"/>
                  </a:lnTo>
                  <a:lnTo>
                    <a:pt x="418" y="282"/>
                  </a:lnTo>
                  <a:lnTo>
                    <a:pt x="417" y="278"/>
                  </a:lnTo>
                  <a:lnTo>
                    <a:pt x="416" y="276"/>
                  </a:lnTo>
                  <a:lnTo>
                    <a:pt x="414" y="274"/>
                  </a:lnTo>
                  <a:lnTo>
                    <a:pt x="412" y="272"/>
                  </a:lnTo>
                  <a:lnTo>
                    <a:pt x="410" y="271"/>
                  </a:lnTo>
                  <a:lnTo>
                    <a:pt x="407" y="270"/>
                  </a:lnTo>
                  <a:lnTo>
                    <a:pt x="404" y="270"/>
                  </a:lnTo>
                  <a:lnTo>
                    <a:pt x="245" y="270"/>
                  </a:lnTo>
                  <a:lnTo>
                    <a:pt x="275" y="240"/>
                  </a:lnTo>
                  <a:lnTo>
                    <a:pt x="448" y="240"/>
                  </a:lnTo>
                  <a:lnTo>
                    <a:pt x="453" y="239"/>
                  </a:lnTo>
                  <a:lnTo>
                    <a:pt x="457" y="238"/>
                  </a:lnTo>
                  <a:lnTo>
                    <a:pt x="460" y="234"/>
                  </a:lnTo>
                  <a:lnTo>
                    <a:pt x="462" y="231"/>
                  </a:lnTo>
                  <a:lnTo>
                    <a:pt x="471" y="212"/>
                  </a:lnTo>
                  <a:lnTo>
                    <a:pt x="477" y="194"/>
                  </a:lnTo>
                  <a:lnTo>
                    <a:pt x="484" y="176"/>
                  </a:lnTo>
                  <a:lnTo>
                    <a:pt x="489" y="160"/>
                  </a:lnTo>
                  <a:lnTo>
                    <a:pt x="493" y="144"/>
                  </a:lnTo>
                  <a:lnTo>
                    <a:pt x="497" y="129"/>
                  </a:lnTo>
                  <a:lnTo>
                    <a:pt x="499" y="115"/>
                  </a:lnTo>
                  <a:lnTo>
                    <a:pt x="501" y="101"/>
                  </a:lnTo>
                  <a:lnTo>
                    <a:pt x="501" y="88"/>
                  </a:lnTo>
                  <a:lnTo>
                    <a:pt x="500" y="76"/>
                  </a:lnTo>
                  <a:lnTo>
                    <a:pt x="498" y="66"/>
                  </a:lnTo>
                  <a:lnTo>
                    <a:pt x="496" y="55"/>
                  </a:lnTo>
                  <a:lnTo>
                    <a:pt x="491" y="45"/>
                  </a:lnTo>
                  <a:lnTo>
                    <a:pt x="487" y="36"/>
                  </a:lnTo>
                  <a:lnTo>
                    <a:pt x="481" y="28"/>
                  </a:lnTo>
                  <a:lnTo>
                    <a:pt x="474" y="20"/>
                  </a:lnTo>
                  <a:lnTo>
                    <a:pt x="47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88" name="Group 89">
            <a:extLst>
              <a:ext uri="{FF2B5EF4-FFF2-40B4-BE49-F238E27FC236}">
                <a16:creationId xmlns:a16="http://schemas.microsoft.com/office/drawing/2014/main" id="{367F7267-5910-4C99-94C3-F178A2A9E7E9}"/>
              </a:ext>
            </a:extLst>
          </p:cNvPr>
          <p:cNvGrpSpPr>
            <a:grpSpLocks noChangeAspect="1"/>
          </p:cNvGrpSpPr>
          <p:nvPr/>
        </p:nvGrpSpPr>
        <p:grpSpPr>
          <a:xfrm>
            <a:off x="1468407" y="4879868"/>
            <a:ext cx="306488" cy="306488"/>
            <a:chOff x="6445250" y="4791075"/>
            <a:chExt cx="285750" cy="285750"/>
          </a:xfrm>
          <a:solidFill>
            <a:schemeClr val="bg2"/>
          </a:solidFill>
          <a:effectLst/>
        </p:grpSpPr>
        <p:sp>
          <p:nvSpPr>
            <p:cNvPr id="689" name="Freeform 318">
              <a:extLst>
                <a:ext uri="{FF2B5EF4-FFF2-40B4-BE49-F238E27FC236}">
                  <a16:creationId xmlns:a16="http://schemas.microsoft.com/office/drawing/2014/main" id="{1C21F524-3B03-4015-95C2-E46C4D60C390}"/>
                </a:ext>
              </a:extLst>
            </p:cNvPr>
            <p:cNvSpPr>
              <a:spLocks noEditPoints="1"/>
            </p:cNvSpPr>
            <p:nvPr/>
          </p:nvSpPr>
          <p:spPr bwMode="auto">
            <a:xfrm>
              <a:off x="6445250" y="5019675"/>
              <a:ext cx="133350" cy="57150"/>
            </a:xfrm>
            <a:custGeom>
              <a:avLst/>
              <a:gdLst>
                <a:gd name="T0" fmla="*/ 30 w 421"/>
                <a:gd name="T1" fmla="*/ 151 h 181"/>
                <a:gd name="T2" fmla="*/ 31 w 421"/>
                <a:gd name="T3" fmla="*/ 127 h 181"/>
                <a:gd name="T4" fmla="*/ 39 w 421"/>
                <a:gd name="T5" fmla="*/ 112 h 181"/>
                <a:gd name="T6" fmla="*/ 51 w 421"/>
                <a:gd name="T7" fmla="*/ 100 h 181"/>
                <a:gd name="T8" fmla="*/ 67 w 421"/>
                <a:gd name="T9" fmla="*/ 92 h 181"/>
                <a:gd name="T10" fmla="*/ 346 w 421"/>
                <a:gd name="T11" fmla="*/ 91 h 181"/>
                <a:gd name="T12" fmla="*/ 362 w 421"/>
                <a:gd name="T13" fmla="*/ 94 h 181"/>
                <a:gd name="T14" fmla="*/ 377 w 421"/>
                <a:gd name="T15" fmla="*/ 105 h 181"/>
                <a:gd name="T16" fmla="*/ 387 w 421"/>
                <a:gd name="T17" fmla="*/ 120 h 181"/>
                <a:gd name="T18" fmla="*/ 391 w 421"/>
                <a:gd name="T19" fmla="*/ 136 h 181"/>
                <a:gd name="T20" fmla="*/ 90 w 421"/>
                <a:gd name="T21" fmla="*/ 46 h 181"/>
                <a:gd name="T22" fmla="*/ 95 w 421"/>
                <a:gd name="T23" fmla="*/ 35 h 181"/>
                <a:gd name="T24" fmla="*/ 105 w 421"/>
                <a:gd name="T25" fmla="*/ 31 h 181"/>
                <a:gd name="T26" fmla="*/ 321 w 421"/>
                <a:gd name="T27" fmla="*/ 32 h 181"/>
                <a:gd name="T28" fmla="*/ 330 w 421"/>
                <a:gd name="T29" fmla="*/ 41 h 181"/>
                <a:gd name="T30" fmla="*/ 331 w 421"/>
                <a:gd name="T31" fmla="*/ 61 h 181"/>
                <a:gd name="T32" fmla="*/ 90 w 421"/>
                <a:gd name="T33" fmla="*/ 46 h 181"/>
                <a:gd name="T34" fmla="*/ 361 w 421"/>
                <a:gd name="T35" fmla="*/ 46 h 181"/>
                <a:gd name="T36" fmla="*/ 357 w 421"/>
                <a:gd name="T37" fmla="*/ 29 h 181"/>
                <a:gd name="T38" fmla="*/ 347 w 421"/>
                <a:gd name="T39" fmla="*/ 14 h 181"/>
                <a:gd name="T40" fmla="*/ 332 w 421"/>
                <a:gd name="T41" fmla="*/ 4 h 181"/>
                <a:gd name="T42" fmla="*/ 316 w 421"/>
                <a:gd name="T43" fmla="*/ 1 h 181"/>
                <a:gd name="T44" fmla="*/ 96 w 421"/>
                <a:gd name="T45" fmla="*/ 1 h 181"/>
                <a:gd name="T46" fmla="*/ 80 w 421"/>
                <a:gd name="T47" fmla="*/ 9 h 181"/>
                <a:gd name="T48" fmla="*/ 69 w 421"/>
                <a:gd name="T49" fmla="*/ 21 h 181"/>
                <a:gd name="T50" fmla="*/ 61 w 421"/>
                <a:gd name="T51" fmla="*/ 37 h 181"/>
                <a:gd name="T52" fmla="*/ 60 w 421"/>
                <a:gd name="T53" fmla="*/ 62 h 181"/>
                <a:gd name="T54" fmla="*/ 37 w 421"/>
                <a:gd name="T55" fmla="*/ 73 h 181"/>
                <a:gd name="T56" fmla="*/ 18 w 421"/>
                <a:gd name="T57" fmla="*/ 90 h 181"/>
                <a:gd name="T58" fmla="*/ 5 w 421"/>
                <a:gd name="T59" fmla="*/ 111 h 181"/>
                <a:gd name="T60" fmla="*/ 1 w 421"/>
                <a:gd name="T61" fmla="*/ 123 h 181"/>
                <a:gd name="T62" fmla="*/ 0 w 421"/>
                <a:gd name="T63" fmla="*/ 136 h 181"/>
                <a:gd name="T64" fmla="*/ 0 w 421"/>
                <a:gd name="T65" fmla="*/ 169 h 181"/>
                <a:gd name="T66" fmla="*/ 2 w 421"/>
                <a:gd name="T67" fmla="*/ 175 h 181"/>
                <a:gd name="T68" fmla="*/ 6 w 421"/>
                <a:gd name="T69" fmla="*/ 179 h 181"/>
                <a:gd name="T70" fmla="*/ 12 w 421"/>
                <a:gd name="T71" fmla="*/ 181 h 181"/>
                <a:gd name="T72" fmla="*/ 406 w 421"/>
                <a:gd name="T73" fmla="*/ 181 h 181"/>
                <a:gd name="T74" fmla="*/ 411 w 421"/>
                <a:gd name="T75" fmla="*/ 180 h 181"/>
                <a:gd name="T76" fmla="*/ 417 w 421"/>
                <a:gd name="T77" fmla="*/ 177 h 181"/>
                <a:gd name="T78" fmla="*/ 420 w 421"/>
                <a:gd name="T79" fmla="*/ 171 h 181"/>
                <a:gd name="T80" fmla="*/ 421 w 421"/>
                <a:gd name="T81" fmla="*/ 166 h 181"/>
                <a:gd name="T82" fmla="*/ 421 w 421"/>
                <a:gd name="T83" fmla="*/ 130 h 181"/>
                <a:gd name="T84" fmla="*/ 418 w 421"/>
                <a:gd name="T85" fmla="*/ 117 h 181"/>
                <a:gd name="T86" fmla="*/ 410 w 421"/>
                <a:gd name="T87" fmla="*/ 100 h 181"/>
                <a:gd name="T88" fmla="*/ 394 w 421"/>
                <a:gd name="T89" fmla="*/ 80 h 181"/>
                <a:gd name="T90" fmla="*/ 373 w 421"/>
                <a:gd name="T91" fmla="*/ 6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1" h="181">
                  <a:moveTo>
                    <a:pt x="391" y="151"/>
                  </a:moveTo>
                  <a:lnTo>
                    <a:pt x="30" y="151"/>
                  </a:lnTo>
                  <a:lnTo>
                    <a:pt x="30" y="136"/>
                  </a:lnTo>
                  <a:lnTo>
                    <a:pt x="31" y="127"/>
                  </a:lnTo>
                  <a:lnTo>
                    <a:pt x="34" y="120"/>
                  </a:lnTo>
                  <a:lnTo>
                    <a:pt x="39" y="112"/>
                  </a:lnTo>
                  <a:lnTo>
                    <a:pt x="44" y="105"/>
                  </a:lnTo>
                  <a:lnTo>
                    <a:pt x="51" y="100"/>
                  </a:lnTo>
                  <a:lnTo>
                    <a:pt x="59" y="94"/>
                  </a:lnTo>
                  <a:lnTo>
                    <a:pt x="67" y="92"/>
                  </a:lnTo>
                  <a:lnTo>
                    <a:pt x="75" y="91"/>
                  </a:lnTo>
                  <a:lnTo>
                    <a:pt x="346" y="91"/>
                  </a:lnTo>
                  <a:lnTo>
                    <a:pt x="355" y="92"/>
                  </a:lnTo>
                  <a:lnTo>
                    <a:pt x="362" y="94"/>
                  </a:lnTo>
                  <a:lnTo>
                    <a:pt x="370" y="100"/>
                  </a:lnTo>
                  <a:lnTo>
                    <a:pt x="377" y="105"/>
                  </a:lnTo>
                  <a:lnTo>
                    <a:pt x="382" y="112"/>
                  </a:lnTo>
                  <a:lnTo>
                    <a:pt x="387" y="120"/>
                  </a:lnTo>
                  <a:lnTo>
                    <a:pt x="390" y="127"/>
                  </a:lnTo>
                  <a:lnTo>
                    <a:pt x="391" y="136"/>
                  </a:lnTo>
                  <a:lnTo>
                    <a:pt x="391" y="151"/>
                  </a:lnTo>
                  <a:close/>
                  <a:moveTo>
                    <a:pt x="90" y="46"/>
                  </a:moveTo>
                  <a:lnTo>
                    <a:pt x="92" y="41"/>
                  </a:lnTo>
                  <a:lnTo>
                    <a:pt x="95" y="35"/>
                  </a:lnTo>
                  <a:lnTo>
                    <a:pt x="100" y="32"/>
                  </a:lnTo>
                  <a:lnTo>
                    <a:pt x="105" y="31"/>
                  </a:lnTo>
                  <a:lnTo>
                    <a:pt x="316" y="31"/>
                  </a:lnTo>
                  <a:lnTo>
                    <a:pt x="321" y="32"/>
                  </a:lnTo>
                  <a:lnTo>
                    <a:pt x="326" y="35"/>
                  </a:lnTo>
                  <a:lnTo>
                    <a:pt x="330" y="41"/>
                  </a:lnTo>
                  <a:lnTo>
                    <a:pt x="331" y="46"/>
                  </a:lnTo>
                  <a:lnTo>
                    <a:pt x="331" y="61"/>
                  </a:lnTo>
                  <a:lnTo>
                    <a:pt x="90" y="61"/>
                  </a:lnTo>
                  <a:lnTo>
                    <a:pt x="90" y="46"/>
                  </a:lnTo>
                  <a:close/>
                  <a:moveTo>
                    <a:pt x="361" y="62"/>
                  </a:moveTo>
                  <a:lnTo>
                    <a:pt x="361" y="46"/>
                  </a:lnTo>
                  <a:lnTo>
                    <a:pt x="360" y="37"/>
                  </a:lnTo>
                  <a:lnTo>
                    <a:pt x="357" y="29"/>
                  </a:lnTo>
                  <a:lnTo>
                    <a:pt x="352" y="21"/>
                  </a:lnTo>
                  <a:lnTo>
                    <a:pt x="347" y="14"/>
                  </a:lnTo>
                  <a:lnTo>
                    <a:pt x="341" y="9"/>
                  </a:lnTo>
                  <a:lnTo>
                    <a:pt x="332" y="4"/>
                  </a:lnTo>
                  <a:lnTo>
                    <a:pt x="325" y="1"/>
                  </a:lnTo>
                  <a:lnTo>
                    <a:pt x="316" y="1"/>
                  </a:lnTo>
                  <a:lnTo>
                    <a:pt x="105" y="0"/>
                  </a:lnTo>
                  <a:lnTo>
                    <a:pt x="96" y="1"/>
                  </a:lnTo>
                  <a:lnTo>
                    <a:pt x="89" y="4"/>
                  </a:lnTo>
                  <a:lnTo>
                    <a:pt x="80" y="9"/>
                  </a:lnTo>
                  <a:lnTo>
                    <a:pt x="74" y="14"/>
                  </a:lnTo>
                  <a:lnTo>
                    <a:pt x="69" y="21"/>
                  </a:lnTo>
                  <a:lnTo>
                    <a:pt x="64" y="29"/>
                  </a:lnTo>
                  <a:lnTo>
                    <a:pt x="61" y="37"/>
                  </a:lnTo>
                  <a:lnTo>
                    <a:pt x="60" y="46"/>
                  </a:lnTo>
                  <a:lnTo>
                    <a:pt x="60" y="62"/>
                  </a:lnTo>
                  <a:lnTo>
                    <a:pt x="48" y="66"/>
                  </a:lnTo>
                  <a:lnTo>
                    <a:pt x="37" y="73"/>
                  </a:lnTo>
                  <a:lnTo>
                    <a:pt x="27" y="80"/>
                  </a:lnTo>
                  <a:lnTo>
                    <a:pt x="18" y="90"/>
                  </a:lnTo>
                  <a:lnTo>
                    <a:pt x="11" y="100"/>
                  </a:lnTo>
                  <a:lnTo>
                    <a:pt x="5" y="111"/>
                  </a:lnTo>
                  <a:lnTo>
                    <a:pt x="3" y="118"/>
                  </a:lnTo>
                  <a:lnTo>
                    <a:pt x="1" y="123"/>
                  </a:lnTo>
                  <a:lnTo>
                    <a:pt x="0" y="130"/>
                  </a:lnTo>
                  <a:lnTo>
                    <a:pt x="0" y="136"/>
                  </a:lnTo>
                  <a:lnTo>
                    <a:pt x="0" y="166"/>
                  </a:lnTo>
                  <a:lnTo>
                    <a:pt x="0" y="169"/>
                  </a:lnTo>
                  <a:lnTo>
                    <a:pt x="1" y="171"/>
                  </a:lnTo>
                  <a:lnTo>
                    <a:pt x="2" y="175"/>
                  </a:lnTo>
                  <a:lnTo>
                    <a:pt x="4" y="177"/>
                  </a:lnTo>
                  <a:lnTo>
                    <a:pt x="6" y="179"/>
                  </a:lnTo>
                  <a:lnTo>
                    <a:pt x="10" y="180"/>
                  </a:lnTo>
                  <a:lnTo>
                    <a:pt x="12" y="181"/>
                  </a:lnTo>
                  <a:lnTo>
                    <a:pt x="15" y="181"/>
                  </a:lnTo>
                  <a:lnTo>
                    <a:pt x="406" y="181"/>
                  </a:lnTo>
                  <a:lnTo>
                    <a:pt x="409" y="181"/>
                  </a:lnTo>
                  <a:lnTo>
                    <a:pt x="411" y="180"/>
                  </a:lnTo>
                  <a:lnTo>
                    <a:pt x="415" y="178"/>
                  </a:lnTo>
                  <a:lnTo>
                    <a:pt x="417" y="177"/>
                  </a:lnTo>
                  <a:lnTo>
                    <a:pt x="419" y="175"/>
                  </a:lnTo>
                  <a:lnTo>
                    <a:pt x="420" y="171"/>
                  </a:lnTo>
                  <a:lnTo>
                    <a:pt x="421" y="169"/>
                  </a:lnTo>
                  <a:lnTo>
                    <a:pt x="421" y="166"/>
                  </a:lnTo>
                  <a:lnTo>
                    <a:pt x="421" y="136"/>
                  </a:lnTo>
                  <a:lnTo>
                    <a:pt x="421" y="130"/>
                  </a:lnTo>
                  <a:lnTo>
                    <a:pt x="420" y="123"/>
                  </a:lnTo>
                  <a:lnTo>
                    <a:pt x="418" y="117"/>
                  </a:lnTo>
                  <a:lnTo>
                    <a:pt x="417" y="111"/>
                  </a:lnTo>
                  <a:lnTo>
                    <a:pt x="410" y="100"/>
                  </a:lnTo>
                  <a:lnTo>
                    <a:pt x="403" y="90"/>
                  </a:lnTo>
                  <a:lnTo>
                    <a:pt x="394" y="80"/>
                  </a:lnTo>
                  <a:lnTo>
                    <a:pt x="385" y="73"/>
                  </a:lnTo>
                  <a:lnTo>
                    <a:pt x="373" y="66"/>
                  </a:lnTo>
                  <a:lnTo>
                    <a:pt x="36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0" name="Freeform 319">
              <a:extLst>
                <a:ext uri="{FF2B5EF4-FFF2-40B4-BE49-F238E27FC236}">
                  <a16:creationId xmlns:a16="http://schemas.microsoft.com/office/drawing/2014/main" id="{B7F23BB8-5191-4C74-A4D8-B5D949512DFD}"/>
                </a:ext>
              </a:extLst>
            </p:cNvPr>
            <p:cNvSpPr>
              <a:spLocks noEditPoints="1"/>
            </p:cNvSpPr>
            <p:nvPr/>
          </p:nvSpPr>
          <p:spPr bwMode="auto">
            <a:xfrm>
              <a:off x="6492875" y="4791075"/>
              <a:ext cx="238125" cy="238125"/>
            </a:xfrm>
            <a:custGeom>
              <a:avLst/>
              <a:gdLst>
                <a:gd name="T0" fmla="*/ 240 w 751"/>
                <a:gd name="T1" fmla="*/ 536 h 751"/>
                <a:gd name="T2" fmla="*/ 216 w 751"/>
                <a:gd name="T3" fmla="*/ 537 h 751"/>
                <a:gd name="T4" fmla="*/ 40 w 751"/>
                <a:gd name="T5" fmla="*/ 364 h 751"/>
                <a:gd name="T6" fmla="*/ 31 w 751"/>
                <a:gd name="T7" fmla="*/ 350 h 751"/>
                <a:gd name="T8" fmla="*/ 36 w 751"/>
                <a:gd name="T9" fmla="*/ 324 h 751"/>
                <a:gd name="T10" fmla="*/ 54 w 751"/>
                <a:gd name="T11" fmla="*/ 306 h 751"/>
                <a:gd name="T12" fmla="*/ 79 w 751"/>
                <a:gd name="T13" fmla="*/ 302 h 751"/>
                <a:gd name="T14" fmla="*/ 94 w 751"/>
                <a:gd name="T15" fmla="*/ 311 h 751"/>
                <a:gd name="T16" fmla="*/ 263 w 751"/>
                <a:gd name="T17" fmla="*/ 479 h 751"/>
                <a:gd name="T18" fmla="*/ 269 w 751"/>
                <a:gd name="T19" fmla="*/ 497 h 751"/>
                <a:gd name="T20" fmla="*/ 259 w 751"/>
                <a:gd name="T21" fmla="*/ 522 h 751"/>
                <a:gd name="T22" fmla="*/ 430 w 751"/>
                <a:gd name="T23" fmla="*/ 254 h 751"/>
                <a:gd name="T24" fmla="*/ 315 w 751"/>
                <a:gd name="T25" fmla="*/ 43 h 751"/>
                <a:gd name="T26" fmla="*/ 336 w 751"/>
                <a:gd name="T27" fmla="*/ 31 h 751"/>
                <a:gd name="T28" fmla="*/ 358 w 751"/>
                <a:gd name="T29" fmla="*/ 34 h 751"/>
                <a:gd name="T30" fmla="*/ 534 w 751"/>
                <a:gd name="T31" fmla="*/ 208 h 751"/>
                <a:gd name="T32" fmla="*/ 540 w 751"/>
                <a:gd name="T33" fmla="*/ 226 h 751"/>
                <a:gd name="T34" fmla="*/ 530 w 751"/>
                <a:gd name="T35" fmla="*/ 251 h 751"/>
                <a:gd name="T36" fmla="*/ 511 w 751"/>
                <a:gd name="T37" fmla="*/ 266 h 751"/>
                <a:gd name="T38" fmla="*/ 486 w 751"/>
                <a:gd name="T39" fmla="*/ 266 h 751"/>
                <a:gd name="T40" fmla="*/ 461 w 751"/>
                <a:gd name="T41" fmla="*/ 243 h 751"/>
                <a:gd name="T42" fmla="*/ 305 w 751"/>
                <a:gd name="T43" fmla="*/ 87 h 751"/>
                <a:gd name="T44" fmla="*/ 302 w 751"/>
                <a:gd name="T45" fmla="*/ 65 h 751"/>
                <a:gd name="T46" fmla="*/ 315 w 751"/>
                <a:gd name="T47" fmla="*/ 43 h 751"/>
                <a:gd name="T48" fmla="*/ 455 w 751"/>
                <a:gd name="T49" fmla="*/ 280 h 751"/>
                <a:gd name="T50" fmla="*/ 476 w 751"/>
                <a:gd name="T51" fmla="*/ 294 h 751"/>
                <a:gd name="T52" fmla="*/ 497 w 751"/>
                <a:gd name="T53" fmla="*/ 298 h 751"/>
                <a:gd name="T54" fmla="*/ 524 w 751"/>
                <a:gd name="T55" fmla="*/ 293 h 751"/>
                <a:gd name="T56" fmla="*/ 547 w 751"/>
                <a:gd name="T57" fmla="*/ 276 h 751"/>
                <a:gd name="T58" fmla="*/ 567 w 751"/>
                <a:gd name="T59" fmla="*/ 244 h 751"/>
                <a:gd name="T60" fmla="*/ 569 w 751"/>
                <a:gd name="T61" fmla="*/ 220 h 751"/>
                <a:gd name="T62" fmla="*/ 560 w 751"/>
                <a:gd name="T63" fmla="*/ 195 h 751"/>
                <a:gd name="T64" fmla="*/ 380 w 751"/>
                <a:gd name="T65" fmla="*/ 13 h 751"/>
                <a:gd name="T66" fmla="*/ 357 w 751"/>
                <a:gd name="T67" fmla="*/ 1 h 751"/>
                <a:gd name="T68" fmla="*/ 331 w 751"/>
                <a:gd name="T69" fmla="*/ 1 h 751"/>
                <a:gd name="T70" fmla="*/ 303 w 751"/>
                <a:gd name="T71" fmla="*/ 14 h 751"/>
                <a:gd name="T72" fmla="*/ 275 w 751"/>
                <a:gd name="T73" fmla="*/ 48 h 751"/>
                <a:gd name="T74" fmla="*/ 271 w 751"/>
                <a:gd name="T75" fmla="*/ 73 h 751"/>
                <a:gd name="T76" fmla="*/ 276 w 751"/>
                <a:gd name="T77" fmla="*/ 98 h 751"/>
                <a:gd name="T78" fmla="*/ 294 w 751"/>
                <a:gd name="T79" fmla="*/ 119 h 751"/>
                <a:gd name="T80" fmla="*/ 104 w 751"/>
                <a:gd name="T81" fmla="*/ 280 h 751"/>
                <a:gd name="T82" fmla="*/ 79 w 751"/>
                <a:gd name="T83" fmla="*/ 271 h 751"/>
                <a:gd name="T84" fmla="*/ 55 w 751"/>
                <a:gd name="T85" fmla="*/ 273 h 751"/>
                <a:gd name="T86" fmla="*/ 23 w 751"/>
                <a:gd name="T87" fmla="*/ 293 h 751"/>
                <a:gd name="T88" fmla="*/ 3 w 751"/>
                <a:gd name="T89" fmla="*/ 325 h 751"/>
                <a:gd name="T90" fmla="*/ 1 w 751"/>
                <a:gd name="T91" fmla="*/ 349 h 751"/>
                <a:gd name="T92" fmla="*/ 10 w 751"/>
                <a:gd name="T93" fmla="*/ 374 h 751"/>
                <a:gd name="T94" fmla="*/ 189 w 751"/>
                <a:gd name="T95" fmla="*/ 555 h 751"/>
                <a:gd name="T96" fmla="*/ 210 w 751"/>
                <a:gd name="T97" fmla="*/ 567 h 751"/>
                <a:gd name="T98" fmla="*/ 234 w 751"/>
                <a:gd name="T99" fmla="*/ 569 h 751"/>
                <a:gd name="T100" fmla="*/ 260 w 751"/>
                <a:gd name="T101" fmla="*/ 560 h 751"/>
                <a:gd name="T102" fmla="*/ 285 w 751"/>
                <a:gd name="T103" fmla="*/ 538 h 751"/>
                <a:gd name="T104" fmla="*/ 298 w 751"/>
                <a:gd name="T105" fmla="*/ 509 h 751"/>
                <a:gd name="T106" fmla="*/ 298 w 751"/>
                <a:gd name="T107" fmla="*/ 484 h 751"/>
                <a:gd name="T108" fmla="*/ 286 w 751"/>
                <a:gd name="T109" fmla="*/ 460 h 751"/>
                <a:gd name="T110" fmla="*/ 725 w 751"/>
                <a:gd name="T111" fmla="*/ 746 h 751"/>
                <a:gd name="T112" fmla="*/ 736 w 751"/>
                <a:gd name="T113" fmla="*/ 751 h 751"/>
                <a:gd name="T114" fmla="*/ 747 w 751"/>
                <a:gd name="T115" fmla="*/ 747 h 751"/>
                <a:gd name="T116" fmla="*/ 751 w 751"/>
                <a:gd name="T117" fmla="*/ 736 h 751"/>
                <a:gd name="T118" fmla="*/ 747 w 751"/>
                <a:gd name="T119" fmla="*/ 72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1" h="751">
                  <a:moveTo>
                    <a:pt x="256" y="526"/>
                  </a:moveTo>
                  <a:lnTo>
                    <a:pt x="252" y="529"/>
                  </a:lnTo>
                  <a:lnTo>
                    <a:pt x="246" y="534"/>
                  </a:lnTo>
                  <a:lnTo>
                    <a:pt x="240" y="536"/>
                  </a:lnTo>
                  <a:lnTo>
                    <a:pt x="234" y="538"/>
                  </a:lnTo>
                  <a:lnTo>
                    <a:pt x="227" y="539"/>
                  </a:lnTo>
                  <a:lnTo>
                    <a:pt x="220" y="538"/>
                  </a:lnTo>
                  <a:lnTo>
                    <a:pt x="216" y="537"/>
                  </a:lnTo>
                  <a:lnTo>
                    <a:pt x="212" y="535"/>
                  </a:lnTo>
                  <a:lnTo>
                    <a:pt x="209" y="533"/>
                  </a:lnTo>
                  <a:lnTo>
                    <a:pt x="206" y="529"/>
                  </a:lnTo>
                  <a:lnTo>
                    <a:pt x="40" y="364"/>
                  </a:lnTo>
                  <a:lnTo>
                    <a:pt x="38" y="361"/>
                  </a:lnTo>
                  <a:lnTo>
                    <a:pt x="34" y="357"/>
                  </a:lnTo>
                  <a:lnTo>
                    <a:pt x="33" y="354"/>
                  </a:lnTo>
                  <a:lnTo>
                    <a:pt x="31" y="350"/>
                  </a:lnTo>
                  <a:lnTo>
                    <a:pt x="31" y="343"/>
                  </a:lnTo>
                  <a:lnTo>
                    <a:pt x="31" y="335"/>
                  </a:lnTo>
                  <a:lnTo>
                    <a:pt x="33" y="329"/>
                  </a:lnTo>
                  <a:lnTo>
                    <a:pt x="36" y="324"/>
                  </a:lnTo>
                  <a:lnTo>
                    <a:pt x="40" y="318"/>
                  </a:lnTo>
                  <a:lnTo>
                    <a:pt x="44" y="314"/>
                  </a:lnTo>
                  <a:lnTo>
                    <a:pt x="48" y="310"/>
                  </a:lnTo>
                  <a:lnTo>
                    <a:pt x="54" y="306"/>
                  </a:lnTo>
                  <a:lnTo>
                    <a:pt x="59" y="303"/>
                  </a:lnTo>
                  <a:lnTo>
                    <a:pt x="65" y="301"/>
                  </a:lnTo>
                  <a:lnTo>
                    <a:pt x="73" y="301"/>
                  </a:lnTo>
                  <a:lnTo>
                    <a:pt x="79" y="302"/>
                  </a:lnTo>
                  <a:lnTo>
                    <a:pt x="84" y="303"/>
                  </a:lnTo>
                  <a:lnTo>
                    <a:pt x="87" y="304"/>
                  </a:lnTo>
                  <a:lnTo>
                    <a:pt x="90" y="308"/>
                  </a:lnTo>
                  <a:lnTo>
                    <a:pt x="94" y="311"/>
                  </a:lnTo>
                  <a:lnTo>
                    <a:pt x="109" y="326"/>
                  </a:lnTo>
                  <a:lnTo>
                    <a:pt x="244" y="461"/>
                  </a:lnTo>
                  <a:lnTo>
                    <a:pt x="259" y="476"/>
                  </a:lnTo>
                  <a:lnTo>
                    <a:pt x="263" y="479"/>
                  </a:lnTo>
                  <a:lnTo>
                    <a:pt x="265" y="482"/>
                  </a:lnTo>
                  <a:lnTo>
                    <a:pt x="267" y="486"/>
                  </a:lnTo>
                  <a:lnTo>
                    <a:pt x="268" y="490"/>
                  </a:lnTo>
                  <a:lnTo>
                    <a:pt x="269" y="497"/>
                  </a:lnTo>
                  <a:lnTo>
                    <a:pt x="268" y="504"/>
                  </a:lnTo>
                  <a:lnTo>
                    <a:pt x="266" y="510"/>
                  </a:lnTo>
                  <a:lnTo>
                    <a:pt x="263" y="516"/>
                  </a:lnTo>
                  <a:lnTo>
                    <a:pt x="259" y="522"/>
                  </a:lnTo>
                  <a:lnTo>
                    <a:pt x="256" y="526"/>
                  </a:lnTo>
                  <a:lnTo>
                    <a:pt x="256" y="526"/>
                  </a:lnTo>
                  <a:close/>
                  <a:moveTo>
                    <a:pt x="315" y="140"/>
                  </a:moveTo>
                  <a:lnTo>
                    <a:pt x="430" y="254"/>
                  </a:lnTo>
                  <a:lnTo>
                    <a:pt x="255" y="429"/>
                  </a:lnTo>
                  <a:lnTo>
                    <a:pt x="140" y="315"/>
                  </a:lnTo>
                  <a:lnTo>
                    <a:pt x="315" y="140"/>
                  </a:lnTo>
                  <a:close/>
                  <a:moveTo>
                    <a:pt x="315" y="43"/>
                  </a:moveTo>
                  <a:lnTo>
                    <a:pt x="319" y="40"/>
                  </a:lnTo>
                  <a:lnTo>
                    <a:pt x="324" y="35"/>
                  </a:lnTo>
                  <a:lnTo>
                    <a:pt x="330" y="33"/>
                  </a:lnTo>
                  <a:lnTo>
                    <a:pt x="336" y="31"/>
                  </a:lnTo>
                  <a:lnTo>
                    <a:pt x="343" y="30"/>
                  </a:lnTo>
                  <a:lnTo>
                    <a:pt x="350" y="31"/>
                  </a:lnTo>
                  <a:lnTo>
                    <a:pt x="354" y="32"/>
                  </a:lnTo>
                  <a:lnTo>
                    <a:pt x="358" y="34"/>
                  </a:lnTo>
                  <a:lnTo>
                    <a:pt x="361" y="37"/>
                  </a:lnTo>
                  <a:lnTo>
                    <a:pt x="364" y="40"/>
                  </a:lnTo>
                  <a:lnTo>
                    <a:pt x="530" y="205"/>
                  </a:lnTo>
                  <a:lnTo>
                    <a:pt x="534" y="208"/>
                  </a:lnTo>
                  <a:lnTo>
                    <a:pt x="536" y="212"/>
                  </a:lnTo>
                  <a:lnTo>
                    <a:pt x="538" y="215"/>
                  </a:lnTo>
                  <a:lnTo>
                    <a:pt x="539" y="219"/>
                  </a:lnTo>
                  <a:lnTo>
                    <a:pt x="540" y="226"/>
                  </a:lnTo>
                  <a:lnTo>
                    <a:pt x="539" y="234"/>
                  </a:lnTo>
                  <a:lnTo>
                    <a:pt x="537" y="240"/>
                  </a:lnTo>
                  <a:lnTo>
                    <a:pt x="534" y="245"/>
                  </a:lnTo>
                  <a:lnTo>
                    <a:pt x="530" y="251"/>
                  </a:lnTo>
                  <a:lnTo>
                    <a:pt x="526" y="255"/>
                  </a:lnTo>
                  <a:lnTo>
                    <a:pt x="522" y="259"/>
                  </a:lnTo>
                  <a:lnTo>
                    <a:pt x="516" y="263"/>
                  </a:lnTo>
                  <a:lnTo>
                    <a:pt x="511" y="266"/>
                  </a:lnTo>
                  <a:lnTo>
                    <a:pt x="505" y="268"/>
                  </a:lnTo>
                  <a:lnTo>
                    <a:pt x="497" y="268"/>
                  </a:lnTo>
                  <a:lnTo>
                    <a:pt x="491" y="268"/>
                  </a:lnTo>
                  <a:lnTo>
                    <a:pt x="486" y="266"/>
                  </a:lnTo>
                  <a:lnTo>
                    <a:pt x="483" y="265"/>
                  </a:lnTo>
                  <a:lnTo>
                    <a:pt x="480" y="261"/>
                  </a:lnTo>
                  <a:lnTo>
                    <a:pt x="476" y="259"/>
                  </a:lnTo>
                  <a:lnTo>
                    <a:pt x="461" y="243"/>
                  </a:lnTo>
                  <a:lnTo>
                    <a:pt x="326" y="108"/>
                  </a:lnTo>
                  <a:lnTo>
                    <a:pt x="311" y="93"/>
                  </a:lnTo>
                  <a:lnTo>
                    <a:pt x="307" y="90"/>
                  </a:lnTo>
                  <a:lnTo>
                    <a:pt x="305" y="87"/>
                  </a:lnTo>
                  <a:lnTo>
                    <a:pt x="303" y="83"/>
                  </a:lnTo>
                  <a:lnTo>
                    <a:pt x="302" y="79"/>
                  </a:lnTo>
                  <a:lnTo>
                    <a:pt x="301" y="72"/>
                  </a:lnTo>
                  <a:lnTo>
                    <a:pt x="302" y="65"/>
                  </a:lnTo>
                  <a:lnTo>
                    <a:pt x="304" y="59"/>
                  </a:lnTo>
                  <a:lnTo>
                    <a:pt x="307" y="53"/>
                  </a:lnTo>
                  <a:lnTo>
                    <a:pt x="311" y="47"/>
                  </a:lnTo>
                  <a:lnTo>
                    <a:pt x="315" y="43"/>
                  </a:lnTo>
                  <a:close/>
                  <a:moveTo>
                    <a:pt x="747" y="725"/>
                  </a:moveTo>
                  <a:lnTo>
                    <a:pt x="374" y="353"/>
                  </a:lnTo>
                  <a:lnTo>
                    <a:pt x="450" y="275"/>
                  </a:lnTo>
                  <a:lnTo>
                    <a:pt x="455" y="280"/>
                  </a:lnTo>
                  <a:lnTo>
                    <a:pt x="460" y="285"/>
                  </a:lnTo>
                  <a:lnTo>
                    <a:pt x="465" y="288"/>
                  </a:lnTo>
                  <a:lnTo>
                    <a:pt x="470" y="291"/>
                  </a:lnTo>
                  <a:lnTo>
                    <a:pt x="476" y="294"/>
                  </a:lnTo>
                  <a:lnTo>
                    <a:pt x="481" y="296"/>
                  </a:lnTo>
                  <a:lnTo>
                    <a:pt x="486" y="297"/>
                  </a:lnTo>
                  <a:lnTo>
                    <a:pt x="492" y="298"/>
                  </a:lnTo>
                  <a:lnTo>
                    <a:pt x="497" y="298"/>
                  </a:lnTo>
                  <a:lnTo>
                    <a:pt x="505" y="298"/>
                  </a:lnTo>
                  <a:lnTo>
                    <a:pt x="511" y="297"/>
                  </a:lnTo>
                  <a:lnTo>
                    <a:pt x="517" y="295"/>
                  </a:lnTo>
                  <a:lnTo>
                    <a:pt x="524" y="293"/>
                  </a:lnTo>
                  <a:lnTo>
                    <a:pt x="530" y="289"/>
                  </a:lnTo>
                  <a:lnTo>
                    <a:pt x="537" y="285"/>
                  </a:lnTo>
                  <a:lnTo>
                    <a:pt x="542" y="281"/>
                  </a:lnTo>
                  <a:lnTo>
                    <a:pt x="547" y="276"/>
                  </a:lnTo>
                  <a:lnTo>
                    <a:pt x="556" y="267"/>
                  </a:lnTo>
                  <a:lnTo>
                    <a:pt x="562" y="256"/>
                  </a:lnTo>
                  <a:lnTo>
                    <a:pt x="565" y="250"/>
                  </a:lnTo>
                  <a:lnTo>
                    <a:pt x="567" y="244"/>
                  </a:lnTo>
                  <a:lnTo>
                    <a:pt x="569" y="238"/>
                  </a:lnTo>
                  <a:lnTo>
                    <a:pt x="569" y="232"/>
                  </a:lnTo>
                  <a:lnTo>
                    <a:pt x="570" y="226"/>
                  </a:lnTo>
                  <a:lnTo>
                    <a:pt x="569" y="220"/>
                  </a:lnTo>
                  <a:lnTo>
                    <a:pt x="568" y="213"/>
                  </a:lnTo>
                  <a:lnTo>
                    <a:pt x="567" y="207"/>
                  </a:lnTo>
                  <a:lnTo>
                    <a:pt x="564" y="202"/>
                  </a:lnTo>
                  <a:lnTo>
                    <a:pt x="560" y="195"/>
                  </a:lnTo>
                  <a:lnTo>
                    <a:pt x="556" y="190"/>
                  </a:lnTo>
                  <a:lnTo>
                    <a:pt x="552" y="183"/>
                  </a:lnTo>
                  <a:lnTo>
                    <a:pt x="386" y="18"/>
                  </a:lnTo>
                  <a:lnTo>
                    <a:pt x="380" y="13"/>
                  </a:lnTo>
                  <a:lnTo>
                    <a:pt x="375" y="9"/>
                  </a:lnTo>
                  <a:lnTo>
                    <a:pt x="369" y="5"/>
                  </a:lnTo>
                  <a:lnTo>
                    <a:pt x="362" y="3"/>
                  </a:lnTo>
                  <a:lnTo>
                    <a:pt x="357" y="1"/>
                  </a:lnTo>
                  <a:lnTo>
                    <a:pt x="350" y="0"/>
                  </a:lnTo>
                  <a:lnTo>
                    <a:pt x="344" y="0"/>
                  </a:lnTo>
                  <a:lnTo>
                    <a:pt x="337" y="0"/>
                  </a:lnTo>
                  <a:lnTo>
                    <a:pt x="331" y="1"/>
                  </a:lnTo>
                  <a:lnTo>
                    <a:pt x="326" y="2"/>
                  </a:lnTo>
                  <a:lnTo>
                    <a:pt x="319" y="4"/>
                  </a:lnTo>
                  <a:lnTo>
                    <a:pt x="314" y="8"/>
                  </a:lnTo>
                  <a:lnTo>
                    <a:pt x="303" y="14"/>
                  </a:lnTo>
                  <a:lnTo>
                    <a:pt x="294" y="22"/>
                  </a:lnTo>
                  <a:lnTo>
                    <a:pt x="285" y="31"/>
                  </a:lnTo>
                  <a:lnTo>
                    <a:pt x="279" y="43"/>
                  </a:lnTo>
                  <a:lnTo>
                    <a:pt x="275" y="48"/>
                  </a:lnTo>
                  <a:lnTo>
                    <a:pt x="274" y="54"/>
                  </a:lnTo>
                  <a:lnTo>
                    <a:pt x="272" y="60"/>
                  </a:lnTo>
                  <a:lnTo>
                    <a:pt x="271" y="67"/>
                  </a:lnTo>
                  <a:lnTo>
                    <a:pt x="271" y="73"/>
                  </a:lnTo>
                  <a:lnTo>
                    <a:pt x="271" y="79"/>
                  </a:lnTo>
                  <a:lnTo>
                    <a:pt x="272" y="85"/>
                  </a:lnTo>
                  <a:lnTo>
                    <a:pt x="274" y="91"/>
                  </a:lnTo>
                  <a:lnTo>
                    <a:pt x="276" y="98"/>
                  </a:lnTo>
                  <a:lnTo>
                    <a:pt x="281" y="103"/>
                  </a:lnTo>
                  <a:lnTo>
                    <a:pt x="284" y="109"/>
                  </a:lnTo>
                  <a:lnTo>
                    <a:pt x="289" y="115"/>
                  </a:lnTo>
                  <a:lnTo>
                    <a:pt x="294" y="119"/>
                  </a:lnTo>
                  <a:lnTo>
                    <a:pt x="120" y="294"/>
                  </a:lnTo>
                  <a:lnTo>
                    <a:pt x="116" y="289"/>
                  </a:lnTo>
                  <a:lnTo>
                    <a:pt x="109" y="284"/>
                  </a:lnTo>
                  <a:lnTo>
                    <a:pt x="104" y="280"/>
                  </a:lnTo>
                  <a:lnTo>
                    <a:pt x="98" y="276"/>
                  </a:lnTo>
                  <a:lnTo>
                    <a:pt x="92" y="274"/>
                  </a:lnTo>
                  <a:lnTo>
                    <a:pt x="86" y="272"/>
                  </a:lnTo>
                  <a:lnTo>
                    <a:pt x="79" y="271"/>
                  </a:lnTo>
                  <a:lnTo>
                    <a:pt x="73" y="271"/>
                  </a:lnTo>
                  <a:lnTo>
                    <a:pt x="66" y="271"/>
                  </a:lnTo>
                  <a:lnTo>
                    <a:pt x="61" y="272"/>
                  </a:lnTo>
                  <a:lnTo>
                    <a:pt x="55" y="273"/>
                  </a:lnTo>
                  <a:lnTo>
                    <a:pt x="49" y="275"/>
                  </a:lnTo>
                  <a:lnTo>
                    <a:pt x="43" y="278"/>
                  </a:lnTo>
                  <a:lnTo>
                    <a:pt x="32" y="284"/>
                  </a:lnTo>
                  <a:lnTo>
                    <a:pt x="23" y="293"/>
                  </a:lnTo>
                  <a:lnTo>
                    <a:pt x="14" y="302"/>
                  </a:lnTo>
                  <a:lnTo>
                    <a:pt x="8" y="313"/>
                  </a:lnTo>
                  <a:lnTo>
                    <a:pt x="5" y="319"/>
                  </a:lnTo>
                  <a:lnTo>
                    <a:pt x="3" y="325"/>
                  </a:lnTo>
                  <a:lnTo>
                    <a:pt x="2" y="331"/>
                  </a:lnTo>
                  <a:lnTo>
                    <a:pt x="1" y="338"/>
                  </a:lnTo>
                  <a:lnTo>
                    <a:pt x="0" y="343"/>
                  </a:lnTo>
                  <a:lnTo>
                    <a:pt x="1" y="349"/>
                  </a:lnTo>
                  <a:lnTo>
                    <a:pt x="2" y="356"/>
                  </a:lnTo>
                  <a:lnTo>
                    <a:pt x="3" y="362"/>
                  </a:lnTo>
                  <a:lnTo>
                    <a:pt x="6" y="368"/>
                  </a:lnTo>
                  <a:lnTo>
                    <a:pt x="10" y="374"/>
                  </a:lnTo>
                  <a:lnTo>
                    <a:pt x="14" y="379"/>
                  </a:lnTo>
                  <a:lnTo>
                    <a:pt x="18" y="386"/>
                  </a:lnTo>
                  <a:lnTo>
                    <a:pt x="184" y="551"/>
                  </a:lnTo>
                  <a:lnTo>
                    <a:pt x="189" y="555"/>
                  </a:lnTo>
                  <a:lnTo>
                    <a:pt x="194" y="559"/>
                  </a:lnTo>
                  <a:lnTo>
                    <a:pt x="199" y="563"/>
                  </a:lnTo>
                  <a:lnTo>
                    <a:pt x="205" y="565"/>
                  </a:lnTo>
                  <a:lnTo>
                    <a:pt x="210" y="567"/>
                  </a:lnTo>
                  <a:lnTo>
                    <a:pt x="215" y="568"/>
                  </a:lnTo>
                  <a:lnTo>
                    <a:pt x="221" y="569"/>
                  </a:lnTo>
                  <a:lnTo>
                    <a:pt x="227" y="569"/>
                  </a:lnTo>
                  <a:lnTo>
                    <a:pt x="234" y="569"/>
                  </a:lnTo>
                  <a:lnTo>
                    <a:pt x="240" y="568"/>
                  </a:lnTo>
                  <a:lnTo>
                    <a:pt x="248" y="566"/>
                  </a:lnTo>
                  <a:lnTo>
                    <a:pt x="254" y="563"/>
                  </a:lnTo>
                  <a:lnTo>
                    <a:pt x="260" y="560"/>
                  </a:lnTo>
                  <a:lnTo>
                    <a:pt x="266" y="556"/>
                  </a:lnTo>
                  <a:lnTo>
                    <a:pt x="272" y="552"/>
                  </a:lnTo>
                  <a:lnTo>
                    <a:pt x="276" y="548"/>
                  </a:lnTo>
                  <a:lnTo>
                    <a:pt x="285" y="538"/>
                  </a:lnTo>
                  <a:lnTo>
                    <a:pt x="291" y="526"/>
                  </a:lnTo>
                  <a:lnTo>
                    <a:pt x="295" y="521"/>
                  </a:lnTo>
                  <a:lnTo>
                    <a:pt x="297" y="514"/>
                  </a:lnTo>
                  <a:lnTo>
                    <a:pt x="298" y="509"/>
                  </a:lnTo>
                  <a:lnTo>
                    <a:pt x="299" y="503"/>
                  </a:lnTo>
                  <a:lnTo>
                    <a:pt x="299" y="496"/>
                  </a:lnTo>
                  <a:lnTo>
                    <a:pt x="299" y="490"/>
                  </a:lnTo>
                  <a:lnTo>
                    <a:pt x="298" y="484"/>
                  </a:lnTo>
                  <a:lnTo>
                    <a:pt x="296" y="478"/>
                  </a:lnTo>
                  <a:lnTo>
                    <a:pt x="294" y="471"/>
                  </a:lnTo>
                  <a:lnTo>
                    <a:pt x="290" y="466"/>
                  </a:lnTo>
                  <a:lnTo>
                    <a:pt x="286" y="460"/>
                  </a:lnTo>
                  <a:lnTo>
                    <a:pt x="281" y="454"/>
                  </a:lnTo>
                  <a:lnTo>
                    <a:pt x="276" y="450"/>
                  </a:lnTo>
                  <a:lnTo>
                    <a:pt x="352" y="373"/>
                  </a:lnTo>
                  <a:lnTo>
                    <a:pt x="725" y="746"/>
                  </a:lnTo>
                  <a:lnTo>
                    <a:pt x="727" y="748"/>
                  </a:lnTo>
                  <a:lnTo>
                    <a:pt x="731" y="750"/>
                  </a:lnTo>
                  <a:lnTo>
                    <a:pt x="733" y="750"/>
                  </a:lnTo>
                  <a:lnTo>
                    <a:pt x="736" y="751"/>
                  </a:lnTo>
                  <a:lnTo>
                    <a:pt x="739" y="750"/>
                  </a:lnTo>
                  <a:lnTo>
                    <a:pt x="741" y="750"/>
                  </a:lnTo>
                  <a:lnTo>
                    <a:pt x="745" y="748"/>
                  </a:lnTo>
                  <a:lnTo>
                    <a:pt x="747" y="747"/>
                  </a:lnTo>
                  <a:lnTo>
                    <a:pt x="749" y="744"/>
                  </a:lnTo>
                  <a:lnTo>
                    <a:pt x="750" y="741"/>
                  </a:lnTo>
                  <a:lnTo>
                    <a:pt x="751" y="738"/>
                  </a:lnTo>
                  <a:lnTo>
                    <a:pt x="751" y="736"/>
                  </a:lnTo>
                  <a:lnTo>
                    <a:pt x="751" y="733"/>
                  </a:lnTo>
                  <a:lnTo>
                    <a:pt x="750" y="730"/>
                  </a:lnTo>
                  <a:lnTo>
                    <a:pt x="749" y="727"/>
                  </a:lnTo>
                  <a:lnTo>
                    <a:pt x="747" y="725"/>
                  </a:lnTo>
                  <a:lnTo>
                    <a:pt x="747" y="7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91" name="Freeform 320">
            <a:extLst>
              <a:ext uri="{FF2B5EF4-FFF2-40B4-BE49-F238E27FC236}">
                <a16:creationId xmlns:a16="http://schemas.microsoft.com/office/drawing/2014/main" id="{B99AFA38-1790-4C73-B4F9-282432047A66}"/>
              </a:ext>
            </a:extLst>
          </p:cNvPr>
          <p:cNvSpPr>
            <a:spLocks noChangeAspect="1" noEditPoints="1"/>
          </p:cNvSpPr>
          <p:nvPr/>
        </p:nvSpPr>
        <p:spPr bwMode="auto">
          <a:xfrm>
            <a:off x="1887526" y="4918747"/>
            <a:ext cx="298342" cy="228730"/>
          </a:xfrm>
          <a:custGeom>
            <a:avLst/>
            <a:gdLst>
              <a:gd name="T0" fmla="*/ 698 w 902"/>
              <a:gd name="T1" fmla="*/ 484 h 692"/>
              <a:gd name="T2" fmla="*/ 651 w 902"/>
              <a:gd name="T3" fmla="*/ 442 h 692"/>
              <a:gd name="T4" fmla="*/ 871 w 902"/>
              <a:gd name="T5" fmla="*/ 391 h 692"/>
              <a:gd name="T6" fmla="*/ 846 w 902"/>
              <a:gd name="T7" fmla="*/ 451 h 692"/>
              <a:gd name="T8" fmla="*/ 796 w 902"/>
              <a:gd name="T9" fmla="*/ 488 h 692"/>
              <a:gd name="T10" fmla="*/ 752 w 902"/>
              <a:gd name="T11" fmla="*/ 116 h 692"/>
              <a:gd name="T12" fmla="*/ 419 w 902"/>
              <a:gd name="T13" fmla="*/ 117 h 692"/>
              <a:gd name="T14" fmla="*/ 391 w 902"/>
              <a:gd name="T15" fmla="*/ 76 h 692"/>
              <a:gd name="T16" fmla="*/ 419 w 902"/>
              <a:gd name="T17" fmla="*/ 34 h 692"/>
              <a:gd name="T18" fmla="*/ 468 w 902"/>
              <a:gd name="T19" fmla="*/ 44 h 692"/>
              <a:gd name="T20" fmla="*/ 478 w 902"/>
              <a:gd name="T21" fmla="*/ 93 h 692"/>
              <a:gd name="T22" fmla="*/ 436 w 902"/>
              <a:gd name="T23" fmla="*/ 121 h 692"/>
              <a:gd name="T24" fmla="*/ 151 w 902"/>
              <a:gd name="T25" fmla="*/ 496 h 692"/>
              <a:gd name="T26" fmla="*/ 88 w 902"/>
              <a:gd name="T27" fmla="*/ 479 h 692"/>
              <a:gd name="T28" fmla="*/ 44 w 902"/>
              <a:gd name="T29" fmla="*/ 433 h 692"/>
              <a:gd name="T30" fmla="*/ 268 w 902"/>
              <a:gd name="T31" fmla="*/ 402 h 692"/>
              <a:gd name="T32" fmla="*/ 238 w 902"/>
              <a:gd name="T33" fmla="*/ 458 h 692"/>
              <a:gd name="T34" fmla="*/ 183 w 902"/>
              <a:gd name="T35" fmla="*/ 492 h 692"/>
              <a:gd name="T36" fmla="*/ 883 w 902"/>
              <a:gd name="T37" fmla="*/ 361 h 692"/>
              <a:gd name="T38" fmla="*/ 823 w 902"/>
              <a:gd name="T39" fmla="*/ 86 h 692"/>
              <a:gd name="T40" fmla="*/ 826 w 902"/>
              <a:gd name="T41" fmla="*/ 70 h 692"/>
              <a:gd name="T42" fmla="*/ 812 w 902"/>
              <a:gd name="T43" fmla="*/ 61 h 692"/>
              <a:gd name="T44" fmla="*/ 493 w 902"/>
              <a:gd name="T45" fmla="*/ 27 h 692"/>
              <a:gd name="T46" fmla="*/ 456 w 902"/>
              <a:gd name="T47" fmla="*/ 3 h 692"/>
              <a:gd name="T48" fmla="*/ 417 w 902"/>
              <a:gd name="T49" fmla="*/ 3 h 692"/>
              <a:gd name="T50" fmla="*/ 379 w 902"/>
              <a:gd name="T51" fmla="*/ 27 h 692"/>
              <a:gd name="T52" fmla="*/ 90 w 902"/>
              <a:gd name="T53" fmla="*/ 60 h 692"/>
              <a:gd name="T54" fmla="*/ 77 w 902"/>
              <a:gd name="T55" fmla="*/ 70 h 692"/>
              <a:gd name="T56" fmla="*/ 80 w 902"/>
              <a:gd name="T57" fmla="*/ 86 h 692"/>
              <a:gd name="T58" fmla="*/ 20 w 902"/>
              <a:gd name="T59" fmla="*/ 361 h 692"/>
              <a:gd name="T60" fmla="*/ 3 w 902"/>
              <a:gd name="T61" fmla="*/ 367 h 692"/>
              <a:gd name="T62" fmla="*/ 7 w 902"/>
              <a:gd name="T63" fmla="*/ 421 h 692"/>
              <a:gd name="T64" fmla="*/ 55 w 902"/>
              <a:gd name="T65" fmla="*/ 492 h 692"/>
              <a:gd name="T66" fmla="*/ 135 w 902"/>
              <a:gd name="T67" fmla="*/ 526 h 692"/>
              <a:gd name="T68" fmla="*/ 222 w 902"/>
              <a:gd name="T69" fmla="*/ 509 h 692"/>
              <a:gd name="T70" fmla="*/ 283 w 902"/>
              <a:gd name="T71" fmla="*/ 448 h 692"/>
              <a:gd name="T72" fmla="*/ 301 w 902"/>
              <a:gd name="T73" fmla="*/ 373 h 692"/>
              <a:gd name="T74" fmla="*/ 289 w 902"/>
              <a:gd name="T75" fmla="*/ 361 h 692"/>
              <a:gd name="T76" fmla="*/ 371 w 902"/>
              <a:gd name="T77" fmla="*/ 111 h 692"/>
              <a:gd name="T78" fmla="*/ 421 w 902"/>
              <a:gd name="T79" fmla="*/ 149 h 692"/>
              <a:gd name="T80" fmla="*/ 305 w 902"/>
              <a:gd name="T81" fmla="*/ 666 h 692"/>
              <a:gd name="T82" fmla="*/ 302 w 902"/>
              <a:gd name="T83" fmla="*/ 682 h 692"/>
              <a:gd name="T84" fmla="*/ 316 w 902"/>
              <a:gd name="T85" fmla="*/ 692 h 692"/>
              <a:gd name="T86" fmla="*/ 599 w 902"/>
              <a:gd name="T87" fmla="*/ 686 h 692"/>
              <a:gd name="T88" fmla="*/ 599 w 902"/>
              <a:gd name="T89" fmla="*/ 668 h 692"/>
              <a:gd name="T90" fmla="*/ 451 w 902"/>
              <a:gd name="T91" fmla="*/ 662 h 692"/>
              <a:gd name="T92" fmla="*/ 496 w 902"/>
              <a:gd name="T93" fmla="*/ 120 h 692"/>
              <a:gd name="T94" fmla="*/ 617 w 902"/>
              <a:gd name="T95" fmla="*/ 361 h 692"/>
              <a:gd name="T96" fmla="*/ 603 w 902"/>
              <a:gd name="T97" fmla="*/ 371 h 692"/>
              <a:gd name="T98" fmla="*/ 614 w 902"/>
              <a:gd name="T99" fmla="*/ 435 h 692"/>
              <a:gd name="T100" fmla="*/ 668 w 902"/>
              <a:gd name="T101" fmla="*/ 501 h 692"/>
              <a:gd name="T102" fmla="*/ 752 w 902"/>
              <a:gd name="T103" fmla="*/ 527 h 692"/>
              <a:gd name="T104" fmla="*/ 836 w 902"/>
              <a:gd name="T105" fmla="*/ 501 h 692"/>
              <a:gd name="T106" fmla="*/ 890 w 902"/>
              <a:gd name="T107" fmla="*/ 435 h 692"/>
              <a:gd name="T108" fmla="*/ 901 w 902"/>
              <a:gd name="T109" fmla="*/ 371 h 692"/>
              <a:gd name="T110" fmla="*/ 887 w 902"/>
              <a:gd name="T111" fmla="*/ 36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92">
                <a:moveTo>
                  <a:pt x="752" y="496"/>
                </a:moveTo>
                <a:lnTo>
                  <a:pt x="740" y="496"/>
                </a:lnTo>
                <a:lnTo>
                  <a:pt x="730" y="495"/>
                </a:lnTo>
                <a:lnTo>
                  <a:pt x="719" y="492"/>
                </a:lnTo>
                <a:lnTo>
                  <a:pt x="708" y="488"/>
                </a:lnTo>
                <a:lnTo>
                  <a:pt x="698" y="484"/>
                </a:lnTo>
                <a:lnTo>
                  <a:pt x="689" y="479"/>
                </a:lnTo>
                <a:lnTo>
                  <a:pt x="680" y="472"/>
                </a:lnTo>
                <a:lnTo>
                  <a:pt x="672" y="466"/>
                </a:lnTo>
                <a:lnTo>
                  <a:pt x="664" y="458"/>
                </a:lnTo>
                <a:lnTo>
                  <a:pt x="658" y="451"/>
                </a:lnTo>
                <a:lnTo>
                  <a:pt x="651" y="442"/>
                </a:lnTo>
                <a:lnTo>
                  <a:pt x="646" y="433"/>
                </a:lnTo>
                <a:lnTo>
                  <a:pt x="641" y="423"/>
                </a:lnTo>
                <a:lnTo>
                  <a:pt x="637" y="412"/>
                </a:lnTo>
                <a:lnTo>
                  <a:pt x="634" y="402"/>
                </a:lnTo>
                <a:lnTo>
                  <a:pt x="633" y="391"/>
                </a:lnTo>
                <a:lnTo>
                  <a:pt x="871" y="391"/>
                </a:lnTo>
                <a:lnTo>
                  <a:pt x="870" y="402"/>
                </a:lnTo>
                <a:lnTo>
                  <a:pt x="867" y="412"/>
                </a:lnTo>
                <a:lnTo>
                  <a:pt x="862" y="423"/>
                </a:lnTo>
                <a:lnTo>
                  <a:pt x="858" y="433"/>
                </a:lnTo>
                <a:lnTo>
                  <a:pt x="853" y="442"/>
                </a:lnTo>
                <a:lnTo>
                  <a:pt x="846" y="451"/>
                </a:lnTo>
                <a:lnTo>
                  <a:pt x="840" y="458"/>
                </a:lnTo>
                <a:lnTo>
                  <a:pt x="832" y="466"/>
                </a:lnTo>
                <a:lnTo>
                  <a:pt x="824" y="472"/>
                </a:lnTo>
                <a:lnTo>
                  <a:pt x="815" y="479"/>
                </a:lnTo>
                <a:lnTo>
                  <a:pt x="806" y="484"/>
                </a:lnTo>
                <a:lnTo>
                  <a:pt x="796" y="488"/>
                </a:lnTo>
                <a:lnTo>
                  <a:pt x="785" y="492"/>
                </a:lnTo>
                <a:lnTo>
                  <a:pt x="774" y="495"/>
                </a:lnTo>
                <a:lnTo>
                  <a:pt x="764" y="496"/>
                </a:lnTo>
                <a:lnTo>
                  <a:pt x="752" y="497"/>
                </a:lnTo>
                <a:lnTo>
                  <a:pt x="752" y="496"/>
                </a:lnTo>
                <a:close/>
                <a:moveTo>
                  <a:pt x="752" y="116"/>
                </a:moveTo>
                <a:lnTo>
                  <a:pt x="851" y="361"/>
                </a:lnTo>
                <a:lnTo>
                  <a:pt x="653" y="361"/>
                </a:lnTo>
                <a:lnTo>
                  <a:pt x="752" y="116"/>
                </a:lnTo>
                <a:close/>
                <a:moveTo>
                  <a:pt x="436" y="121"/>
                </a:moveTo>
                <a:lnTo>
                  <a:pt x="427" y="120"/>
                </a:lnTo>
                <a:lnTo>
                  <a:pt x="419" y="117"/>
                </a:lnTo>
                <a:lnTo>
                  <a:pt x="411" y="112"/>
                </a:lnTo>
                <a:lnTo>
                  <a:pt x="405" y="107"/>
                </a:lnTo>
                <a:lnTo>
                  <a:pt x="398" y="101"/>
                </a:lnTo>
                <a:lnTo>
                  <a:pt x="394" y="93"/>
                </a:lnTo>
                <a:lnTo>
                  <a:pt x="392" y="85"/>
                </a:lnTo>
                <a:lnTo>
                  <a:pt x="391" y="76"/>
                </a:lnTo>
                <a:lnTo>
                  <a:pt x="392" y="66"/>
                </a:lnTo>
                <a:lnTo>
                  <a:pt x="394" y="58"/>
                </a:lnTo>
                <a:lnTo>
                  <a:pt x="398" y="50"/>
                </a:lnTo>
                <a:lnTo>
                  <a:pt x="405" y="44"/>
                </a:lnTo>
                <a:lnTo>
                  <a:pt x="411" y="39"/>
                </a:lnTo>
                <a:lnTo>
                  <a:pt x="419" y="34"/>
                </a:lnTo>
                <a:lnTo>
                  <a:pt x="427" y="31"/>
                </a:lnTo>
                <a:lnTo>
                  <a:pt x="436" y="30"/>
                </a:lnTo>
                <a:lnTo>
                  <a:pt x="446" y="31"/>
                </a:lnTo>
                <a:lnTo>
                  <a:pt x="454" y="34"/>
                </a:lnTo>
                <a:lnTo>
                  <a:pt x="462" y="39"/>
                </a:lnTo>
                <a:lnTo>
                  <a:pt x="468" y="44"/>
                </a:lnTo>
                <a:lnTo>
                  <a:pt x="473" y="50"/>
                </a:lnTo>
                <a:lnTo>
                  <a:pt x="478" y="58"/>
                </a:lnTo>
                <a:lnTo>
                  <a:pt x="481" y="66"/>
                </a:lnTo>
                <a:lnTo>
                  <a:pt x="481" y="76"/>
                </a:lnTo>
                <a:lnTo>
                  <a:pt x="481" y="85"/>
                </a:lnTo>
                <a:lnTo>
                  <a:pt x="478" y="93"/>
                </a:lnTo>
                <a:lnTo>
                  <a:pt x="473" y="101"/>
                </a:lnTo>
                <a:lnTo>
                  <a:pt x="468" y="107"/>
                </a:lnTo>
                <a:lnTo>
                  <a:pt x="462" y="112"/>
                </a:lnTo>
                <a:lnTo>
                  <a:pt x="454" y="117"/>
                </a:lnTo>
                <a:lnTo>
                  <a:pt x="446" y="120"/>
                </a:lnTo>
                <a:lnTo>
                  <a:pt x="436" y="121"/>
                </a:lnTo>
                <a:lnTo>
                  <a:pt x="436" y="121"/>
                </a:lnTo>
                <a:close/>
                <a:moveTo>
                  <a:pt x="52" y="361"/>
                </a:moveTo>
                <a:lnTo>
                  <a:pt x="151" y="116"/>
                </a:lnTo>
                <a:lnTo>
                  <a:pt x="249" y="361"/>
                </a:lnTo>
                <a:lnTo>
                  <a:pt x="52" y="361"/>
                </a:lnTo>
                <a:close/>
                <a:moveTo>
                  <a:pt x="151" y="496"/>
                </a:moveTo>
                <a:lnTo>
                  <a:pt x="139" y="496"/>
                </a:lnTo>
                <a:lnTo>
                  <a:pt x="129" y="495"/>
                </a:lnTo>
                <a:lnTo>
                  <a:pt x="118" y="492"/>
                </a:lnTo>
                <a:lnTo>
                  <a:pt x="107" y="488"/>
                </a:lnTo>
                <a:lnTo>
                  <a:pt x="97" y="484"/>
                </a:lnTo>
                <a:lnTo>
                  <a:pt x="88" y="479"/>
                </a:lnTo>
                <a:lnTo>
                  <a:pt x="79" y="472"/>
                </a:lnTo>
                <a:lnTo>
                  <a:pt x="71" y="466"/>
                </a:lnTo>
                <a:lnTo>
                  <a:pt x="63" y="458"/>
                </a:lnTo>
                <a:lnTo>
                  <a:pt x="56" y="451"/>
                </a:lnTo>
                <a:lnTo>
                  <a:pt x="50" y="442"/>
                </a:lnTo>
                <a:lnTo>
                  <a:pt x="44" y="433"/>
                </a:lnTo>
                <a:lnTo>
                  <a:pt x="40" y="423"/>
                </a:lnTo>
                <a:lnTo>
                  <a:pt x="36" y="412"/>
                </a:lnTo>
                <a:lnTo>
                  <a:pt x="33" y="402"/>
                </a:lnTo>
                <a:lnTo>
                  <a:pt x="31" y="391"/>
                </a:lnTo>
                <a:lnTo>
                  <a:pt x="270" y="391"/>
                </a:lnTo>
                <a:lnTo>
                  <a:pt x="268" y="402"/>
                </a:lnTo>
                <a:lnTo>
                  <a:pt x="266" y="412"/>
                </a:lnTo>
                <a:lnTo>
                  <a:pt x="261" y="423"/>
                </a:lnTo>
                <a:lnTo>
                  <a:pt x="257" y="433"/>
                </a:lnTo>
                <a:lnTo>
                  <a:pt x="252" y="442"/>
                </a:lnTo>
                <a:lnTo>
                  <a:pt x="245" y="451"/>
                </a:lnTo>
                <a:lnTo>
                  <a:pt x="238" y="458"/>
                </a:lnTo>
                <a:lnTo>
                  <a:pt x="230" y="466"/>
                </a:lnTo>
                <a:lnTo>
                  <a:pt x="222" y="472"/>
                </a:lnTo>
                <a:lnTo>
                  <a:pt x="213" y="479"/>
                </a:lnTo>
                <a:lnTo>
                  <a:pt x="204" y="484"/>
                </a:lnTo>
                <a:lnTo>
                  <a:pt x="194" y="488"/>
                </a:lnTo>
                <a:lnTo>
                  <a:pt x="183" y="492"/>
                </a:lnTo>
                <a:lnTo>
                  <a:pt x="172" y="495"/>
                </a:lnTo>
                <a:lnTo>
                  <a:pt x="162" y="496"/>
                </a:lnTo>
                <a:lnTo>
                  <a:pt x="151" y="497"/>
                </a:lnTo>
                <a:lnTo>
                  <a:pt x="151" y="496"/>
                </a:lnTo>
                <a:close/>
                <a:moveTo>
                  <a:pt x="887" y="361"/>
                </a:moveTo>
                <a:lnTo>
                  <a:pt x="883" y="361"/>
                </a:lnTo>
                <a:lnTo>
                  <a:pt x="774" y="91"/>
                </a:lnTo>
                <a:lnTo>
                  <a:pt x="812" y="91"/>
                </a:lnTo>
                <a:lnTo>
                  <a:pt x="815" y="90"/>
                </a:lnTo>
                <a:lnTo>
                  <a:pt x="818" y="89"/>
                </a:lnTo>
                <a:lnTo>
                  <a:pt x="821" y="88"/>
                </a:lnTo>
                <a:lnTo>
                  <a:pt x="823" y="86"/>
                </a:lnTo>
                <a:lnTo>
                  <a:pt x="825" y="84"/>
                </a:lnTo>
                <a:lnTo>
                  <a:pt x="826" y="81"/>
                </a:lnTo>
                <a:lnTo>
                  <a:pt x="827" y="78"/>
                </a:lnTo>
                <a:lnTo>
                  <a:pt x="827" y="76"/>
                </a:lnTo>
                <a:lnTo>
                  <a:pt x="827" y="73"/>
                </a:lnTo>
                <a:lnTo>
                  <a:pt x="826" y="70"/>
                </a:lnTo>
                <a:lnTo>
                  <a:pt x="825" y="67"/>
                </a:lnTo>
                <a:lnTo>
                  <a:pt x="823" y="65"/>
                </a:lnTo>
                <a:lnTo>
                  <a:pt x="821" y="63"/>
                </a:lnTo>
                <a:lnTo>
                  <a:pt x="818" y="62"/>
                </a:lnTo>
                <a:lnTo>
                  <a:pt x="815" y="61"/>
                </a:lnTo>
                <a:lnTo>
                  <a:pt x="812" y="61"/>
                </a:lnTo>
                <a:lnTo>
                  <a:pt x="510" y="60"/>
                </a:lnTo>
                <a:lnTo>
                  <a:pt x="509" y="55"/>
                </a:lnTo>
                <a:lnTo>
                  <a:pt x="507" y="48"/>
                </a:lnTo>
                <a:lnTo>
                  <a:pt x="503" y="42"/>
                </a:lnTo>
                <a:lnTo>
                  <a:pt x="500" y="36"/>
                </a:lnTo>
                <a:lnTo>
                  <a:pt x="493" y="27"/>
                </a:lnTo>
                <a:lnTo>
                  <a:pt x="484" y="17"/>
                </a:lnTo>
                <a:lnTo>
                  <a:pt x="479" y="14"/>
                </a:lnTo>
                <a:lnTo>
                  <a:pt x="473" y="11"/>
                </a:lnTo>
                <a:lnTo>
                  <a:pt x="468" y="8"/>
                </a:lnTo>
                <a:lnTo>
                  <a:pt x="462" y="5"/>
                </a:lnTo>
                <a:lnTo>
                  <a:pt x="456" y="3"/>
                </a:lnTo>
                <a:lnTo>
                  <a:pt x="450" y="1"/>
                </a:lnTo>
                <a:lnTo>
                  <a:pt x="443" y="1"/>
                </a:lnTo>
                <a:lnTo>
                  <a:pt x="436" y="0"/>
                </a:lnTo>
                <a:lnTo>
                  <a:pt x="430" y="1"/>
                </a:lnTo>
                <a:lnTo>
                  <a:pt x="423" y="1"/>
                </a:lnTo>
                <a:lnTo>
                  <a:pt x="417" y="3"/>
                </a:lnTo>
                <a:lnTo>
                  <a:pt x="410" y="5"/>
                </a:lnTo>
                <a:lnTo>
                  <a:pt x="405" y="8"/>
                </a:lnTo>
                <a:lnTo>
                  <a:pt x="398" y="11"/>
                </a:lnTo>
                <a:lnTo>
                  <a:pt x="393" y="14"/>
                </a:lnTo>
                <a:lnTo>
                  <a:pt x="389" y="17"/>
                </a:lnTo>
                <a:lnTo>
                  <a:pt x="379" y="27"/>
                </a:lnTo>
                <a:lnTo>
                  <a:pt x="372" y="36"/>
                </a:lnTo>
                <a:lnTo>
                  <a:pt x="368" y="42"/>
                </a:lnTo>
                <a:lnTo>
                  <a:pt x="366" y="48"/>
                </a:lnTo>
                <a:lnTo>
                  <a:pt x="364" y="55"/>
                </a:lnTo>
                <a:lnTo>
                  <a:pt x="362" y="61"/>
                </a:lnTo>
                <a:lnTo>
                  <a:pt x="90" y="60"/>
                </a:lnTo>
                <a:lnTo>
                  <a:pt x="88" y="61"/>
                </a:lnTo>
                <a:lnTo>
                  <a:pt x="85" y="62"/>
                </a:lnTo>
                <a:lnTo>
                  <a:pt x="82" y="63"/>
                </a:lnTo>
                <a:lnTo>
                  <a:pt x="80" y="65"/>
                </a:lnTo>
                <a:lnTo>
                  <a:pt x="78" y="67"/>
                </a:lnTo>
                <a:lnTo>
                  <a:pt x="77" y="70"/>
                </a:lnTo>
                <a:lnTo>
                  <a:pt x="76" y="73"/>
                </a:lnTo>
                <a:lnTo>
                  <a:pt x="75" y="76"/>
                </a:lnTo>
                <a:lnTo>
                  <a:pt x="76" y="78"/>
                </a:lnTo>
                <a:lnTo>
                  <a:pt x="77" y="81"/>
                </a:lnTo>
                <a:lnTo>
                  <a:pt x="78" y="84"/>
                </a:lnTo>
                <a:lnTo>
                  <a:pt x="80" y="86"/>
                </a:lnTo>
                <a:lnTo>
                  <a:pt x="82" y="88"/>
                </a:lnTo>
                <a:lnTo>
                  <a:pt x="85" y="89"/>
                </a:lnTo>
                <a:lnTo>
                  <a:pt x="88" y="90"/>
                </a:lnTo>
                <a:lnTo>
                  <a:pt x="90" y="91"/>
                </a:lnTo>
                <a:lnTo>
                  <a:pt x="129" y="91"/>
                </a:lnTo>
                <a:lnTo>
                  <a:pt x="20" y="361"/>
                </a:lnTo>
                <a:lnTo>
                  <a:pt x="15" y="361"/>
                </a:lnTo>
                <a:lnTo>
                  <a:pt x="12" y="361"/>
                </a:lnTo>
                <a:lnTo>
                  <a:pt x="10" y="362"/>
                </a:lnTo>
                <a:lnTo>
                  <a:pt x="6" y="364"/>
                </a:lnTo>
                <a:lnTo>
                  <a:pt x="4" y="365"/>
                </a:lnTo>
                <a:lnTo>
                  <a:pt x="3" y="367"/>
                </a:lnTo>
                <a:lnTo>
                  <a:pt x="1" y="371"/>
                </a:lnTo>
                <a:lnTo>
                  <a:pt x="1" y="373"/>
                </a:lnTo>
                <a:lnTo>
                  <a:pt x="0" y="376"/>
                </a:lnTo>
                <a:lnTo>
                  <a:pt x="1" y="392"/>
                </a:lnTo>
                <a:lnTo>
                  <a:pt x="3" y="406"/>
                </a:lnTo>
                <a:lnTo>
                  <a:pt x="7" y="421"/>
                </a:lnTo>
                <a:lnTo>
                  <a:pt x="12" y="435"/>
                </a:lnTo>
                <a:lnTo>
                  <a:pt x="18" y="448"/>
                </a:lnTo>
                <a:lnTo>
                  <a:pt x="26" y="461"/>
                </a:lnTo>
                <a:lnTo>
                  <a:pt x="34" y="471"/>
                </a:lnTo>
                <a:lnTo>
                  <a:pt x="44" y="482"/>
                </a:lnTo>
                <a:lnTo>
                  <a:pt x="55" y="492"/>
                </a:lnTo>
                <a:lnTo>
                  <a:pt x="66" y="501"/>
                </a:lnTo>
                <a:lnTo>
                  <a:pt x="79" y="509"/>
                </a:lnTo>
                <a:lnTo>
                  <a:pt x="92" y="515"/>
                </a:lnTo>
                <a:lnTo>
                  <a:pt x="106" y="520"/>
                </a:lnTo>
                <a:lnTo>
                  <a:pt x="120" y="524"/>
                </a:lnTo>
                <a:lnTo>
                  <a:pt x="135" y="526"/>
                </a:lnTo>
                <a:lnTo>
                  <a:pt x="151" y="527"/>
                </a:lnTo>
                <a:lnTo>
                  <a:pt x="166" y="526"/>
                </a:lnTo>
                <a:lnTo>
                  <a:pt x="181" y="524"/>
                </a:lnTo>
                <a:lnTo>
                  <a:pt x="195" y="520"/>
                </a:lnTo>
                <a:lnTo>
                  <a:pt x="209" y="514"/>
                </a:lnTo>
                <a:lnTo>
                  <a:pt x="222" y="509"/>
                </a:lnTo>
                <a:lnTo>
                  <a:pt x="235" y="501"/>
                </a:lnTo>
                <a:lnTo>
                  <a:pt x="246" y="492"/>
                </a:lnTo>
                <a:lnTo>
                  <a:pt x="257" y="482"/>
                </a:lnTo>
                <a:lnTo>
                  <a:pt x="267" y="471"/>
                </a:lnTo>
                <a:lnTo>
                  <a:pt x="275" y="461"/>
                </a:lnTo>
                <a:lnTo>
                  <a:pt x="283" y="448"/>
                </a:lnTo>
                <a:lnTo>
                  <a:pt x="289" y="435"/>
                </a:lnTo>
                <a:lnTo>
                  <a:pt x="295" y="421"/>
                </a:lnTo>
                <a:lnTo>
                  <a:pt x="298" y="406"/>
                </a:lnTo>
                <a:lnTo>
                  <a:pt x="300" y="392"/>
                </a:lnTo>
                <a:lnTo>
                  <a:pt x="301" y="376"/>
                </a:lnTo>
                <a:lnTo>
                  <a:pt x="301" y="373"/>
                </a:lnTo>
                <a:lnTo>
                  <a:pt x="300" y="371"/>
                </a:lnTo>
                <a:lnTo>
                  <a:pt x="299" y="367"/>
                </a:lnTo>
                <a:lnTo>
                  <a:pt x="297" y="365"/>
                </a:lnTo>
                <a:lnTo>
                  <a:pt x="295" y="364"/>
                </a:lnTo>
                <a:lnTo>
                  <a:pt x="291" y="362"/>
                </a:lnTo>
                <a:lnTo>
                  <a:pt x="289" y="361"/>
                </a:lnTo>
                <a:lnTo>
                  <a:pt x="286" y="361"/>
                </a:lnTo>
                <a:lnTo>
                  <a:pt x="281" y="361"/>
                </a:lnTo>
                <a:lnTo>
                  <a:pt x="172" y="91"/>
                </a:lnTo>
                <a:lnTo>
                  <a:pt x="362" y="91"/>
                </a:lnTo>
                <a:lnTo>
                  <a:pt x="365" y="102"/>
                </a:lnTo>
                <a:lnTo>
                  <a:pt x="371" y="111"/>
                </a:lnTo>
                <a:lnTo>
                  <a:pt x="376" y="120"/>
                </a:lnTo>
                <a:lnTo>
                  <a:pt x="383" y="129"/>
                </a:lnTo>
                <a:lnTo>
                  <a:pt x="391" y="136"/>
                </a:lnTo>
                <a:lnTo>
                  <a:pt x="401" y="141"/>
                </a:lnTo>
                <a:lnTo>
                  <a:pt x="410" y="146"/>
                </a:lnTo>
                <a:lnTo>
                  <a:pt x="421" y="149"/>
                </a:lnTo>
                <a:lnTo>
                  <a:pt x="421" y="662"/>
                </a:lnTo>
                <a:lnTo>
                  <a:pt x="316" y="662"/>
                </a:lnTo>
                <a:lnTo>
                  <a:pt x="313" y="662"/>
                </a:lnTo>
                <a:lnTo>
                  <a:pt x="311" y="663"/>
                </a:lnTo>
                <a:lnTo>
                  <a:pt x="307" y="664"/>
                </a:lnTo>
                <a:lnTo>
                  <a:pt x="305" y="666"/>
                </a:lnTo>
                <a:lnTo>
                  <a:pt x="303" y="668"/>
                </a:lnTo>
                <a:lnTo>
                  <a:pt x="302" y="671"/>
                </a:lnTo>
                <a:lnTo>
                  <a:pt x="301" y="674"/>
                </a:lnTo>
                <a:lnTo>
                  <a:pt x="301" y="677"/>
                </a:lnTo>
                <a:lnTo>
                  <a:pt x="301" y="680"/>
                </a:lnTo>
                <a:lnTo>
                  <a:pt x="302" y="682"/>
                </a:lnTo>
                <a:lnTo>
                  <a:pt x="303" y="686"/>
                </a:lnTo>
                <a:lnTo>
                  <a:pt x="305" y="688"/>
                </a:lnTo>
                <a:lnTo>
                  <a:pt x="307" y="690"/>
                </a:lnTo>
                <a:lnTo>
                  <a:pt x="311" y="691"/>
                </a:lnTo>
                <a:lnTo>
                  <a:pt x="313" y="692"/>
                </a:lnTo>
                <a:lnTo>
                  <a:pt x="316" y="692"/>
                </a:lnTo>
                <a:lnTo>
                  <a:pt x="587" y="692"/>
                </a:lnTo>
                <a:lnTo>
                  <a:pt x="589" y="692"/>
                </a:lnTo>
                <a:lnTo>
                  <a:pt x="592" y="691"/>
                </a:lnTo>
                <a:lnTo>
                  <a:pt x="595" y="689"/>
                </a:lnTo>
                <a:lnTo>
                  <a:pt x="598" y="688"/>
                </a:lnTo>
                <a:lnTo>
                  <a:pt x="599" y="686"/>
                </a:lnTo>
                <a:lnTo>
                  <a:pt x="601" y="682"/>
                </a:lnTo>
                <a:lnTo>
                  <a:pt x="601" y="680"/>
                </a:lnTo>
                <a:lnTo>
                  <a:pt x="602" y="677"/>
                </a:lnTo>
                <a:lnTo>
                  <a:pt x="601" y="674"/>
                </a:lnTo>
                <a:lnTo>
                  <a:pt x="601" y="671"/>
                </a:lnTo>
                <a:lnTo>
                  <a:pt x="599" y="668"/>
                </a:lnTo>
                <a:lnTo>
                  <a:pt x="598" y="666"/>
                </a:lnTo>
                <a:lnTo>
                  <a:pt x="595" y="664"/>
                </a:lnTo>
                <a:lnTo>
                  <a:pt x="592" y="663"/>
                </a:lnTo>
                <a:lnTo>
                  <a:pt x="589" y="662"/>
                </a:lnTo>
                <a:lnTo>
                  <a:pt x="587" y="662"/>
                </a:lnTo>
                <a:lnTo>
                  <a:pt x="451" y="662"/>
                </a:lnTo>
                <a:lnTo>
                  <a:pt x="451" y="149"/>
                </a:lnTo>
                <a:lnTo>
                  <a:pt x="462" y="146"/>
                </a:lnTo>
                <a:lnTo>
                  <a:pt x="472" y="141"/>
                </a:lnTo>
                <a:lnTo>
                  <a:pt x="481" y="136"/>
                </a:lnTo>
                <a:lnTo>
                  <a:pt x="490" y="129"/>
                </a:lnTo>
                <a:lnTo>
                  <a:pt x="496" y="120"/>
                </a:lnTo>
                <a:lnTo>
                  <a:pt x="502" y="111"/>
                </a:lnTo>
                <a:lnTo>
                  <a:pt x="507" y="102"/>
                </a:lnTo>
                <a:lnTo>
                  <a:pt x="510" y="91"/>
                </a:lnTo>
                <a:lnTo>
                  <a:pt x="730" y="91"/>
                </a:lnTo>
                <a:lnTo>
                  <a:pt x="621" y="361"/>
                </a:lnTo>
                <a:lnTo>
                  <a:pt x="617" y="361"/>
                </a:lnTo>
                <a:lnTo>
                  <a:pt x="614" y="361"/>
                </a:lnTo>
                <a:lnTo>
                  <a:pt x="611" y="362"/>
                </a:lnTo>
                <a:lnTo>
                  <a:pt x="608" y="364"/>
                </a:lnTo>
                <a:lnTo>
                  <a:pt x="606" y="365"/>
                </a:lnTo>
                <a:lnTo>
                  <a:pt x="604" y="367"/>
                </a:lnTo>
                <a:lnTo>
                  <a:pt x="603" y="371"/>
                </a:lnTo>
                <a:lnTo>
                  <a:pt x="602" y="373"/>
                </a:lnTo>
                <a:lnTo>
                  <a:pt x="602" y="376"/>
                </a:lnTo>
                <a:lnTo>
                  <a:pt x="602" y="392"/>
                </a:lnTo>
                <a:lnTo>
                  <a:pt x="605" y="406"/>
                </a:lnTo>
                <a:lnTo>
                  <a:pt x="608" y="421"/>
                </a:lnTo>
                <a:lnTo>
                  <a:pt x="614" y="435"/>
                </a:lnTo>
                <a:lnTo>
                  <a:pt x="620" y="448"/>
                </a:lnTo>
                <a:lnTo>
                  <a:pt x="628" y="461"/>
                </a:lnTo>
                <a:lnTo>
                  <a:pt x="636" y="471"/>
                </a:lnTo>
                <a:lnTo>
                  <a:pt x="646" y="482"/>
                </a:lnTo>
                <a:lnTo>
                  <a:pt x="657" y="492"/>
                </a:lnTo>
                <a:lnTo>
                  <a:pt x="668" y="501"/>
                </a:lnTo>
                <a:lnTo>
                  <a:pt x="680" y="509"/>
                </a:lnTo>
                <a:lnTo>
                  <a:pt x="693" y="515"/>
                </a:lnTo>
                <a:lnTo>
                  <a:pt x="707" y="520"/>
                </a:lnTo>
                <a:lnTo>
                  <a:pt x="722" y="524"/>
                </a:lnTo>
                <a:lnTo>
                  <a:pt x="737" y="526"/>
                </a:lnTo>
                <a:lnTo>
                  <a:pt x="752" y="527"/>
                </a:lnTo>
                <a:lnTo>
                  <a:pt x="767" y="526"/>
                </a:lnTo>
                <a:lnTo>
                  <a:pt x="782" y="524"/>
                </a:lnTo>
                <a:lnTo>
                  <a:pt x="797" y="520"/>
                </a:lnTo>
                <a:lnTo>
                  <a:pt x="811" y="514"/>
                </a:lnTo>
                <a:lnTo>
                  <a:pt x="824" y="509"/>
                </a:lnTo>
                <a:lnTo>
                  <a:pt x="836" y="501"/>
                </a:lnTo>
                <a:lnTo>
                  <a:pt x="847" y="492"/>
                </a:lnTo>
                <a:lnTo>
                  <a:pt x="858" y="482"/>
                </a:lnTo>
                <a:lnTo>
                  <a:pt x="868" y="471"/>
                </a:lnTo>
                <a:lnTo>
                  <a:pt x="876" y="461"/>
                </a:lnTo>
                <a:lnTo>
                  <a:pt x="884" y="448"/>
                </a:lnTo>
                <a:lnTo>
                  <a:pt x="890" y="435"/>
                </a:lnTo>
                <a:lnTo>
                  <a:pt x="896" y="421"/>
                </a:lnTo>
                <a:lnTo>
                  <a:pt x="899" y="406"/>
                </a:lnTo>
                <a:lnTo>
                  <a:pt x="902" y="392"/>
                </a:lnTo>
                <a:lnTo>
                  <a:pt x="902" y="376"/>
                </a:lnTo>
                <a:lnTo>
                  <a:pt x="902" y="373"/>
                </a:lnTo>
                <a:lnTo>
                  <a:pt x="901" y="371"/>
                </a:lnTo>
                <a:lnTo>
                  <a:pt x="900" y="367"/>
                </a:lnTo>
                <a:lnTo>
                  <a:pt x="898" y="365"/>
                </a:lnTo>
                <a:lnTo>
                  <a:pt x="896" y="364"/>
                </a:lnTo>
                <a:lnTo>
                  <a:pt x="893" y="362"/>
                </a:lnTo>
                <a:lnTo>
                  <a:pt x="890" y="361"/>
                </a:lnTo>
                <a:lnTo>
                  <a:pt x="887" y="361"/>
                </a:lnTo>
                <a:lnTo>
                  <a:pt x="887" y="36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692" name="Group 99">
            <a:extLst>
              <a:ext uri="{FF2B5EF4-FFF2-40B4-BE49-F238E27FC236}">
                <a16:creationId xmlns:a16="http://schemas.microsoft.com/office/drawing/2014/main" id="{9276C28C-493E-42C3-B8AB-8A434650004B}"/>
              </a:ext>
            </a:extLst>
          </p:cNvPr>
          <p:cNvGrpSpPr>
            <a:grpSpLocks noChangeAspect="1"/>
          </p:cNvGrpSpPr>
          <p:nvPr/>
        </p:nvGrpSpPr>
        <p:grpSpPr>
          <a:xfrm>
            <a:off x="2308116" y="4910563"/>
            <a:ext cx="298342" cy="245099"/>
            <a:chOff x="942313" y="4492886"/>
            <a:chExt cx="652820" cy="536315"/>
          </a:xfrm>
          <a:solidFill>
            <a:schemeClr val="bg2"/>
          </a:solidFill>
          <a:effectLst/>
        </p:grpSpPr>
        <p:grpSp>
          <p:nvGrpSpPr>
            <p:cNvPr id="693" name="Group 100">
              <a:extLst>
                <a:ext uri="{FF2B5EF4-FFF2-40B4-BE49-F238E27FC236}">
                  <a16:creationId xmlns:a16="http://schemas.microsoft.com/office/drawing/2014/main" id="{E2BDA08D-3583-40A9-8018-8F86C6BBB67C}"/>
                </a:ext>
              </a:extLst>
            </p:cNvPr>
            <p:cNvGrpSpPr/>
            <p:nvPr/>
          </p:nvGrpSpPr>
          <p:grpSpPr>
            <a:xfrm rot="900000">
              <a:off x="970691" y="4492886"/>
              <a:ext cx="624442" cy="371486"/>
              <a:chOff x="942313" y="4466913"/>
              <a:chExt cx="624442" cy="371486"/>
            </a:xfrm>
            <a:grpFill/>
          </p:grpSpPr>
          <p:sp>
            <p:nvSpPr>
              <p:cNvPr id="696" name="Freeform 16">
                <a:extLst>
                  <a:ext uri="{FF2B5EF4-FFF2-40B4-BE49-F238E27FC236}">
                    <a16:creationId xmlns:a16="http://schemas.microsoft.com/office/drawing/2014/main" id="{EEC0E791-635C-4923-8855-EA5FEA35F975}"/>
                  </a:ext>
                </a:extLst>
              </p:cNvPr>
              <p:cNvSpPr>
                <a:spLocks noEditPoints="1"/>
              </p:cNvSpPr>
              <p:nvPr/>
            </p:nvSpPr>
            <p:spPr bwMode="auto">
              <a:xfrm>
                <a:off x="942313" y="4466913"/>
                <a:ext cx="414127" cy="371486"/>
              </a:xfrm>
              <a:custGeom>
                <a:avLst/>
                <a:gdLst>
                  <a:gd name="T0" fmla="*/ 545 w 573"/>
                  <a:gd name="T1" fmla="*/ 473 h 514"/>
                  <a:gd name="T2" fmla="*/ 543 w 573"/>
                  <a:gd name="T3" fmla="*/ 478 h 514"/>
                  <a:gd name="T4" fmla="*/ 540 w 573"/>
                  <a:gd name="T5" fmla="*/ 483 h 514"/>
                  <a:gd name="T6" fmla="*/ 535 w 573"/>
                  <a:gd name="T7" fmla="*/ 485 h 514"/>
                  <a:gd name="T8" fmla="*/ 43 w 573"/>
                  <a:gd name="T9" fmla="*/ 485 h 514"/>
                  <a:gd name="T10" fmla="*/ 38 w 573"/>
                  <a:gd name="T11" fmla="*/ 483 h 514"/>
                  <a:gd name="T12" fmla="*/ 33 w 573"/>
                  <a:gd name="T13" fmla="*/ 481 h 514"/>
                  <a:gd name="T14" fmla="*/ 31 w 573"/>
                  <a:gd name="T15" fmla="*/ 476 h 514"/>
                  <a:gd name="T16" fmla="*/ 29 w 573"/>
                  <a:gd name="T17" fmla="*/ 471 h 514"/>
                  <a:gd name="T18" fmla="*/ 29 w 573"/>
                  <a:gd name="T19" fmla="*/ 40 h 514"/>
                  <a:gd name="T20" fmla="*/ 31 w 573"/>
                  <a:gd name="T21" fmla="*/ 35 h 514"/>
                  <a:gd name="T22" fmla="*/ 36 w 573"/>
                  <a:gd name="T23" fmla="*/ 33 h 514"/>
                  <a:gd name="T24" fmla="*/ 41 w 573"/>
                  <a:gd name="T25" fmla="*/ 28 h 514"/>
                  <a:gd name="T26" fmla="*/ 531 w 573"/>
                  <a:gd name="T27" fmla="*/ 28 h 514"/>
                  <a:gd name="T28" fmla="*/ 535 w 573"/>
                  <a:gd name="T29" fmla="*/ 28 h 514"/>
                  <a:gd name="T30" fmla="*/ 540 w 573"/>
                  <a:gd name="T31" fmla="*/ 33 h 514"/>
                  <a:gd name="T32" fmla="*/ 545 w 573"/>
                  <a:gd name="T33" fmla="*/ 38 h 514"/>
                  <a:gd name="T34" fmla="*/ 545 w 573"/>
                  <a:gd name="T35" fmla="*/ 42 h 514"/>
                  <a:gd name="T36" fmla="*/ 545 w 573"/>
                  <a:gd name="T37" fmla="*/ 471 h 514"/>
                  <a:gd name="T38" fmla="*/ 531 w 573"/>
                  <a:gd name="T39" fmla="*/ 0 h 514"/>
                  <a:gd name="T40" fmla="*/ 36 w 573"/>
                  <a:gd name="T41" fmla="*/ 2 h 514"/>
                  <a:gd name="T42" fmla="*/ 19 w 573"/>
                  <a:gd name="T43" fmla="*/ 7 h 514"/>
                  <a:gd name="T44" fmla="*/ 7 w 573"/>
                  <a:gd name="T45" fmla="*/ 19 h 514"/>
                  <a:gd name="T46" fmla="*/ 0 w 573"/>
                  <a:gd name="T47" fmla="*/ 35 h 514"/>
                  <a:gd name="T48" fmla="*/ 0 w 573"/>
                  <a:gd name="T49" fmla="*/ 471 h 514"/>
                  <a:gd name="T50" fmla="*/ 5 w 573"/>
                  <a:gd name="T51" fmla="*/ 488 h 514"/>
                  <a:gd name="T52" fmla="*/ 12 w 573"/>
                  <a:gd name="T53" fmla="*/ 502 h 514"/>
                  <a:gd name="T54" fmla="*/ 26 w 573"/>
                  <a:gd name="T55" fmla="*/ 509 h 514"/>
                  <a:gd name="T56" fmla="*/ 43 w 573"/>
                  <a:gd name="T57" fmla="*/ 514 h 514"/>
                  <a:gd name="T58" fmla="*/ 540 w 573"/>
                  <a:gd name="T59" fmla="*/ 514 h 514"/>
                  <a:gd name="T60" fmla="*/ 554 w 573"/>
                  <a:gd name="T61" fmla="*/ 507 h 514"/>
                  <a:gd name="T62" fmla="*/ 566 w 573"/>
                  <a:gd name="T63" fmla="*/ 495 h 514"/>
                  <a:gd name="T64" fmla="*/ 573 w 573"/>
                  <a:gd name="T65" fmla="*/ 478 h 514"/>
                  <a:gd name="T66" fmla="*/ 573 w 573"/>
                  <a:gd name="T67" fmla="*/ 42 h 514"/>
                  <a:gd name="T68" fmla="*/ 571 w 573"/>
                  <a:gd name="T69" fmla="*/ 26 h 514"/>
                  <a:gd name="T70" fmla="*/ 562 w 573"/>
                  <a:gd name="T71" fmla="*/ 14 h 514"/>
                  <a:gd name="T72" fmla="*/ 547 w 573"/>
                  <a:gd name="T73" fmla="*/ 4 h 514"/>
                  <a:gd name="T74" fmla="*/ 531 w 573"/>
                  <a:gd name="T75" fmla="*/ 0 h 514"/>
                  <a:gd name="T76" fmla="*/ 531 w 573"/>
                  <a:gd name="T77"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3" h="514">
                    <a:moveTo>
                      <a:pt x="545" y="471"/>
                    </a:moveTo>
                    <a:lnTo>
                      <a:pt x="545" y="473"/>
                    </a:lnTo>
                    <a:lnTo>
                      <a:pt x="545" y="476"/>
                    </a:lnTo>
                    <a:lnTo>
                      <a:pt x="543" y="478"/>
                    </a:lnTo>
                    <a:lnTo>
                      <a:pt x="540" y="481"/>
                    </a:lnTo>
                    <a:lnTo>
                      <a:pt x="540" y="483"/>
                    </a:lnTo>
                    <a:lnTo>
                      <a:pt x="535" y="485"/>
                    </a:lnTo>
                    <a:lnTo>
                      <a:pt x="535" y="485"/>
                    </a:lnTo>
                    <a:lnTo>
                      <a:pt x="531" y="485"/>
                    </a:lnTo>
                    <a:lnTo>
                      <a:pt x="43" y="485"/>
                    </a:lnTo>
                    <a:lnTo>
                      <a:pt x="41" y="485"/>
                    </a:lnTo>
                    <a:lnTo>
                      <a:pt x="38" y="483"/>
                    </a:lnTo>
                    <a:lnTo>
                      <a:pt x="36" y="483"/>
                    </a:lnTo>
                    <a:lnTo>
                      <a:pt x="33" y="481"/>
                    </a:lnTo>
                    <a:lnTo>
                      <a:pt x="31" y="478"/>
                    </a:lnTo>
                    <a:lnTo>
                      <a:pt x="31" y="476"/>
                    </a:lnTo>
                    <a:lnTo>
                      <a:pt x="29" y="473"/>
                    </a:lnTo>
                    <a:lnTo>
                      <a:pt x="29" y="471"/>
                    </a:lnTo>
                    <a:lnTo>
                      <a:pt x="29" y="42"/>
                    </a:lnTo>
                    <a:lnTo>
                      <a:pt x="29" y="40"/>
                    </a:lnTo>
                    <a:lnTo>
                      <a:pt x="31" y="38"/>
                    </a:lnTo>
                    <a:lnTo>
                      <a:pt x="31" y="35"/>
                    </a:lnTo>
                    <a:lnTo>
                      <a:pt x="33" y="33"/>
                    </a:lnTo>
                    <a:lnTo>
                      <a:pt x="36" y="33"/>
                    </a:lnTo>
                    <a:lnTo>
                      <a:pt x="38" y="28"/>
                    </a:lnTo>
                    <a:lnTo>
                      <a:pt x="41" y="28"/>
                    </a:lnTo>
                    <a:lnTo>
                      <a:pt x="43" y="28"/>
                    </a:lnTo>
                    <a:lnTo>
                      <a:pt x="531" y="28"/>
                    </a:lnTo>
                    <a:lnTo>
                      <a:pt x="535" y="28"/>
                    </a:lnTo>
                    <a:lnTo>
                      <a:pt x="535" y="28"/>
                    </a:lnTo>
                    <a:lnTo>
                      <a:pt x="540" y="33"/>
                    </a:lnTo>
                    <a:lnTo>
                      <a:pt x="540" y="33"/>
                    </a:lnTo>
                    <a:lnTo>
                      <a:pt x="543" y="35"/>
                    </a:lnTo>
                    <a:lnTo>
                      <a:pt x="545" y="38"/>
                    </a:lnTo>
                    <a:lnTo>
                      <a:pt x="545" y="40"/>
                    </a:lnTo>
                    <a:lnTo>
                      <a:pt x="545" y="42"/>
                    </a:lnTo>
                    <a:lnTo>
                      <a:pt x="545" y="471"/>
                    </a:lnTo>
                    <a:lnTo>
                      <a:pt x="545" y="471"/>
                    </a:lnTo>
                    <a:lnTo>
                      <a:pt x="545" y="471"/>
                    </a:lnTo>
                    <a:close/>
                    <a:moveTo>
                      <a:pt x="531" y="0"/>
                    </a:moveTo>
                    <a:lnTo>
                      <a:pt x="43" y="0"/>
                    </a:lnTo>
                    <a:lnTo>
                      <a:pt x="36" y="2"/>
                    </a:lnTo>
                    <a:lnTo>
                      <a:pt x="26" y="4"/>
                    </a:lnTo>
                    <a:lnTo>
                      <a:pt x="19" y="7"/>
                    </a:lnTo>
                    <a:lnTo>
                      <a:pt x="12" y="14"/>
                    </a:lnTo>
                    <a:lnTo>
                      <a:pt x="7" y="19"/>
                    </a:lnTo>
                    <a:lnTo>
                      <a:pt x="5" y="26"/>
                    </a:lnTo>
                    <a:lnTo>
                      <a:pt x="0" y="35"/>
                    </a:lnTo>
                    <a:lnTo>
                      <a:pt x="0" y="42"/>
                    </a:lnTo>
                    <a:lnTo>
                      <a:pt x="0" y="471"/>
                    </a:lnTo>
                    <a:lnTo>
                      <a:pt x="0" y="478"/>
                    </a:lnTo>
                    <a:lnTo>
                      <a:pt x="5" y="488"/>
                    </a:lnTo>
                    <a:lnTo>
                      <a:pt x="7" y="495"/>
                    </a:lnTo>
                    <a:lnTo>
                      <a:pt x="12" y="502"/>
                    </a:lnTo>
                    <a:lnTo>
                      <a:pt x="19" y="507"/>
                    </a:lnTo>
                    <a:lnTo>
                      <a:pt x="26" y="509"/>
                    </a:lnTo>
                    <a:lnTo>
                      <a:pt x="36" y="514"/>
                    </a:lnTo>
                    <a:lnTo>
                      <a:pt x="43" y="514"/>
                    </a:lnTo>
                    <a:lnTo>
                      <a:pt x="531" y="514"/>
                    </a:lnTo>
                    <a:lnTo>
                      <a:pt x="540" y="514"/>
                    </a:lnTo>
                    <a:lnTo>
                      <a:pt x="547" y="509"/>
                    </a:lnTo>
                    <a:lnTo>
                      <a:pt x="554" y="507"/>
                    </a:lnTo>
                    <a:lnTo>
                      <a:pt x="562" y="502"/>
                    </a:lnTo>
                    <a:lnTo>
                      <a:pt x="566" y="495"/>
                    </a:lnTo>
                    <a:lnTo>
                      <a:pt x="571" y="488"/>
                    </a:lnTo>
                    <a:lnTo>
                      <a:pt x="573" y="478"/>
                    </a:lnTo>
                    <a:lnTo>
                      <a:pt x="573" y="471"/>
                    </a:lnTo>
                    <a:lnTo>
                      <a:pt x="573" y="42"/>
                    </a:lnTo>
                    <a:lnTo>
                      <a:pt x="573" y="35"/>
                    </a:lnTo>
                    <a:lnTo>
                      <a:pt x="571" y="26"/>
                    </a:lnTo>
                    <a:lnTo>
                      <a:pt x="566" y="19"/>
                    </a:lnTo>
                    <a:lnTo>
                      <a:pt x="562" y="14"/>
                    </a:lnTo>
                    <a:lnTo>
                      <a:pt x="554" y="7"/>
                    </a:lnTo>
                    <a:lnTo>
                      <a:pt x="547" y="4"/>
                    </a:lnTo>
                    <a:lnTo>
                      <a:pt x="540" y="2"/>
                    </a:lnTo>
                    <a:lnTo>
                      <a:pt x="531" y="0"/>
                    </a:lnTo>
                    <a:lnTo>
                      <a:pt x="531" y="0"/>
                    </a:lnTo>
                    <a:lnTo>
                      <a:pt x="5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7" name="Freeform 17">
                <a:extLst>
                  <a:ext uri="{FF2B5EF4-FFF2-40B4-BE49-F238E27FC236}">
                    <a16:creationId xmlns:a16="http://schemas.microsoft.com/office/drawing/2014/main" id="{BADB6BC8-A60B-4E12-A939-EF13980AC7DE}"/>
                  </a:ext>
                </a:extLst>
              </p:cNvPr>
              <p:cNvSpPr>
                <a:spLocks noEditPoints="1"/>
              </p:cNvSpPr>
              <p:nvPr/>
            </p:nvSpPr>
            <p:spPr bwMode="auto">
              <a:xfrm>
                <a:off x="1377399" y="4495822"/>
                <a:ext cx="189356" cy="323785"/>
              </a:xfrm>
              <a:custGeom>
                <a:avLst/>
                <a:gdLst>
                  <a:gd name="T0" fmla="*/ 231 w 262"/>
                  <a:gd name="T1" fmla="*/ 410 h 448"/>
                  <a:gd name="T2" fmla="*/ 29 w 262"/>
                  <a:gd name="T3" fmla="*/ 307 h 448"/>
                  <a:gd name="T4" fmla="*/ 29 w 262"/>
                  <a:gd name="T5" fmla="*/ 141 h 448"/>
                  <a:gd name="T6" fmla="*/ 231 w 262"/>
                  <a:gd name="T7" fmla="*/ 38 h 448"/>
                  <a:gd name="T8" fmla="*/ 231 w 262"/>
                  <a:gd name="T9" fmla="*/ 410 h 448"/>
                  <a:gd name="T10" fmla="*/ 231 w 262"/>
                  <a:gd name="T11" fmla="*/ 410 h 448"/>
                  <a:gd name="T12" fmla="*/ 231 w 262"/>
                  <a:gd name="T13" fmla="*/ 410 h 448"/>
                  <a:gd name="T14" fmla="*/ 259 w 262"/>
                  <a:gd name="T15" fmla="*/ 438 h 448"/>
                  <a:gd name="T16" fmla="*/ 262 w 262"/>
                  <a:gd name="T17" fmla="*/ 436 h 448"/>
                  <a:gd name="T18" fmla="*/ 262 w 262"/>
                  <a:gd name="T19" fmla="*/ 433 h 448"/>
                  <a:gd name="T20" fmla="*/ 262 w 262"/>
                  <a:gd name="T21" fmla="*/ 14 h 448"/>
                  <a:gd name="T22" fmla="*/ 262 w 262"/>
                  <a:gd name="T23" fmla="*/ 12 h 448"/>
                  <a:gd name="T24" fmla="*/ 259 w 262"/>
                  <a:gd name="T25" fmla="*/ 10 h 448"/>
                  <a:gd name="T26" fmla="*/ 257 w 262"/>
                  <a:gd name="T27" fmla="*/ 7 h 448"/>
                  <a:gd name="T28" fmla="*/ 252 w 262"/>
                  <a:gd name="T29" fmla="*/ 5 h 448"/>
                  <a:gd name="T30" fmla="*/ 252 w 262"/>
                  <a:gd name="T31" fmla="*/ 5 h 448"/>
                  <a:gd name="T32" fmla="*/ 252 w 262"/>
                  <a:gd name="T33" fmla="*/ 5 h 448"/>
                  <a:gd name="T34" fmla="*/ 250 w 262"/>
                  <a:gd name="T35" fmla="*/ 2 h 448"/>
                  <a:gd name="T36" fmla="*/ 247 w 262"/>
                  <a:gd name="T37" fmla="*/ 0 h 448"/>
                  <a:gd name="T38" fmla="*/ 243 w 262"/>
                  <a:gd name="T39" fmla="*/ 2 h 448"/>
                  <a:gd name="T40" fmla="*/ 240 w 262"/>
                  <a:gd name="T41" fmla="*/ 5 h 448"/>
                  <a:gd name="T42" fmla="*/ 7 w 262"/>
                  <a:gd name="T43" fmla="*/ 119 h 448"/>
                  <a:gd name="T44" fmla="*/ 5 w 262"/>
                  <a:gd name="T45" fmla="*/ 122 h 448"/>
                  <a:gd name="T46" fmla="*/ 0 w 262"/>
                  <a:gd name="T47" fmla="*/ 124 h 448"/>
                  <a:gd name="T48" fmla="*/ 0 w 262"/>
                  <a:gd name="T49" fmla="*/ 129 h 448"/>
                  <a:gd name="T50" fmla="*/ 0 w 262"/>
                  <a:gd name="T51" fmla="*/ 131 h 448"/>
                  <a:gd name="T52" fmla="*/ 0 w 262"/>
                  <a:gd name="T53" fmla="*/ 317 h 448"/>
                  <a:gd name="T54" fmla="*/ 0 w 262"/>
                  <a:gd name="T55" fmla="*/ 322 h 448"/>
                  <a:gd name="T56" fmla="*/ 0 w 262"/>
                  <a:gd name="T57" fmla="*/ 324 h 448"/>
                  <a:gd name="T58" fmla="*/ 5 w 262"/>
                  <a:gd name="T59" fmla="*/ 329 h 448"/>
                  <a:gd name="T60" fmla="*/ 7 w 262"/>
                  <a:gd name="T61" fmla="*/ 331 h 448"/>
                  <a:gd name="T62" fmla="*/ 240 w 262"/>
                  <a:gd name="T63" fmla="*/ 445 h 448"/>
                  <a:gd name="T64" fmla="*/ 243 w 262"/>
                  <a:gd name="T65" fmla="*/ 445 h 448"/>
                  <a:gd name="T66" fmla="*/ 247 w 262"/>
                  <a:gd name="T67" fmla="*/ 448 h 448"/>
                  <a:gd name="T68" fmla="*/ 250 w 262"/>
                  <a:gd name="T69" fmla="*/ 445 h 448"/>
                  <a:gd name="T70" fmla="*/ 252 w 262"/>
                  <a:gd name="T71" fmla="*/ 445 h 448"/>
                  <a:gd name="T72" fmla="*/ 259 w 262"/>
                  <a:gd name="T73" fmla="*/ 43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448">
                    <a:moveTo>
                      <a:pt x="231" y="410"/>
                    </a:moveTo>
                    <a:lnTo>
                      <a:pt x="29" y="307"/>
                    </a:lnTo>
                    <a:lnTo>
                      <a:pt x="29" y="141"/>
                    </a:lnTo>
                    <a:lnTo>
                      <a:pt x="231" y="38"/>
                    </a:lnTo>
                    <a:lnTo>
                      <a:pt x="231" y="410"/>
                    </a:lnTo>
                    <a:lnTo>
                      <a:pt x="231" y="410"/>
                    </a:lnTo>
                    <a:lnTo>
                      <a:pt x="231" y="410"/>
                    </a:lnTo>
                    <a:close/>
                    <a:moveTo>
                      <a:pt x="259" y="438"/>
                    </a:moveTo>
                    <a:lnTo>
                      <a:pt x="262" y="436"/>
                    </a:lnTo>
                    <a:lnTo>
                      <a:pt x="262" y="433"/>
                    </a:lnTo>
                    <a:lnTo>
                      <a:pt x="262" y="14"/>
                    </a:lnTo>
                    <a:lnTo>
                      <a:pt x="262" y="12"/>
                    </a:lnTo>
                    <a:lnTo>
                      <a:pt x="259" y="10"/>
                    </a:lnTo>
                    <a:lnTo>
                      <a:pt x="257" y="7"/>
                    </a:lnTo>
                    <a:lnTo>
                      <a:pt x="252" y="5"/>
                    </a:lnTo>
                    <a:lnTo>
                      <a:pt x="252" y="5"/>
                    </a:lnTo>
                    <a:lnTo>
                      <a:pt x="252" y="5"/>
                    </a:lnTo>
                    <a:lnTo>
                      <a:pt x="250" y="2"/>
                    </a:lnTo>
                    <a:lnTo>
                      <a:pt x="247" y="0"/>
                    </a:lnTo>
                    <a:lnTo>
                      <a:pt x="243" y="2"/>
                    </a:lnTo>
                    <a:lnTo>
                      <a:pt x="240" y="5"/>
                    </a:lnTo>
                    <a:lnTo>
                      <a:pt x="7" y="119"/>
                    </a:lnTo>
                    <a:lnTo>
                      <a:pt x="5" y="122"/>
                    </a:lnTo>
                    <a:lnTo>
                      <a:pt x="0" y="124"/>
                    </a:lnTo>
                    <a:lnTo>
                      <a:pt x="0" y="129"/>
                    </a:lnTo>
                    <a:lnTo>
                      <a:pt x="0" y="131"/>
                    </a:lnTo>
                    <a:lnTo>
                      <a:pt x="0" y="317"/>
                    </a:lnTo>
                    <a:lnTo>
                      <a:pt x="0" y="322"/>
                    </a:lnTo>
                    <a:lnTo>
                      <a:pt x="0" y="324"/>
                    </a:lnTo>
                    <a:lnTo>
                      <a:pt x="5" y="329"/>
                    </a:lnTo>
                    <a:lnTo>
                      <a:pt x="7" y="331"/>
                    </a:lnTo>
                    <a:lnTo>
                      <a:pt x="240" y="445"/>
                    </a:lnTo>
                    <a:lnTo>
                      <a:pt x="243" y="445"/>
                    </a:lnTo>
                    <a:lnTo>
                      <a:pt x="247" y="448"/>
                    </a:lnTo>
                    <a:lnTo>
                      <a:pt x="250" y="445"/>
                    </a:lnTo>
                    <a:lnTo>
                      <a:pt x="252" y="445"/>
                    </a:lnTo>
                    <a:lnTo>
                      <a:pt x="259" y="4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94" name="Freeform 19">
              <a:extLst>
                <a:ext uri="{FF2B5EF4-FFF2-40B4-BE49-F238E27FC236}">
                  <a16:creationId xmlns:a16="http://schemas.microsoft.com/office/drawing/2014/main" id="{12B3B138-01B9-4EB7-9528-B5FEF836C5FA}"/>
                </a:ext>
              </a:extLst>
            </p:cNvPr>
            <p:cNvSpPr>
              <a:spLocks/>
            </p:cNvSpPr>
            <p:nvPr/>
          </p:nvSpPr>
          <p:spPr bwMode="auto">
            <a:xfrm>
              <a:off x="942313" y="4838399"/>
              <a:ext cx="206702" cy="125756"/>
            </a:xfrm>
            <a:custGeom>
              <a:avLst/>
              <a:gdLst>
                <a:gd name="T0" fmla="*/ 286 w 286"/>
                <a:gd name="T1" fmla="*/ 0 h 174"/>
                <a:gd name="T2" fmla="*/ 233 w 286"/>
                <a:gd name="T3" fmla="*/ 174 h 174"/>
                <a:gd name="T4" fmla="*/ 0 w 286"/>
                <a:gd name="T5" fmla="*/ 174 h 174"/>
              </a:gdLst>
              <a:ahLst/>
              <a:cxnLst>
                <a:cxn ang="0">
                  <a:pos x="T0" y="T1"/>
                </a:cxn>
                <a:cxn ang="0">
                  <a:pos x="T2" y="T3"/>
                </a:cxn>
                <a:cxn ang="0">
                  <a:pos x="T4" y="T5"/>
                </a:cxn>
              </a:cxnLst>
              <a:rect l="0" t="0" r="r" b="b"/>
              <a:pathLst>
                <a:path w="286" h="174">
                  <a:moveTo>
                    <a:pt x="286" y="0"/>
                  </a:moveTo>
                  <a:lnTo>
                    <a:pt x="233" y="174"/>
                  </a:lnTo>
                  <a:lnTo>
                    <a:pt x="0" y="174"/>
                  </a:lnTo>
                </a:path>
              </a:pathLst>
            </a:custGeom>
            <a:grpFill/>
            <a:ln w="254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5" name="Line 20">
              <a:extLst>
                <a:ext uri="{FF2B5EF4-FFF2-40B4-BE49-F238E27FC236}">
                  <a16:creationId xmlns:a16="http://schemas.microsoft.com/office/drawing/2014/main" id="{AE826A92-BA0E-4B41-B7EE-E8412A3A9DAF}"/>
                </a:ext>
              </a:extLst>
            </p:cNvPr>
            <p:cNvSpPr>
              <a:spLocks noChangeShapeType="1"/>
            </p:cNvSpPr>
            <p:nvPr/>
          </p:nvSpPr>
          <p:spPr bwMode="auto">
            <a:xfrm>
              <a:off x="942313" y="4902000"/>
              <a:ext cx="0" cy="127201"/>
            </a:xfrm>
            <a:prstGeom prst="line">
              <a:avLst/>
            </a:prstGeom>
            <a:grpFill/>
            <a:ln w="508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11" name="Group 27">
            <a:extLst>
              <a:ext uri="{FF2B5EF4-FFF2-40B4-BE49-F238E27FC236}">
                <a16:creationId xmlns:a16="http://schemas.microsoft.com/office/drawing/2014/main" id="{C4543477-51DE-41F1-BD2A-5371AE2A8618}"/>
              </a:ext>
            </a:extLst>
          </p:cNvPr>
          <p:cNvGrpSpPr>
            <a:grpSpLocks noChangeAspect="1"/>
          </p:cNvGrpSpPr>
          <p:nvPr/>
        </p:nvGrpSpPr>
        <p:grpSpPr>
          <a:xfrm>
            <a:off x="747703" y="5944848"/>
            <a:ext cx="132792" cy="308144"/>
            <a:chOff x="6538913" y="2495550"/>
            <a:chExt cx="123825" cy="287338"/>
          </a:xfrm>
          <a:solidFill>
            <a:schemeClr val="bg2"/>
          </a:solidFill>
          <a:effectLst/>
        </p:grpSpPr>
        <p:sp>
          <p:nvSpPr>
            <p:cNvPr id="712" name="Freeform 183">
              <a:extLst>
                <a:ext uri="{FF2B5EF4-FFF2-40B4-BE49-F238E27FC236}">
                  <a16:creationId xmlns:a16="http://schemas.microsoft.com/office/drawing/2014/main" id="{59DDAE5C-FFF2-46ED-A2C2-E97C75D115B9}"/>
                </a:ext>
              </a:extLst>
            </p:cNvPr>
            <p:cNvSpPr>
              <a:spLocks noEditPoints="1"/>
            </p:cNvSpPr>
            <p:nvPr/>
          </p:nvSpPr>
          <p:spPr bwMode="auto">
            <a:xfrm>
              <a:off x="6538913" y="2495550"/>
              <a:ext cx="123825" cy="287338"/>
            </a:xfrm>
            <a:custGeom>
              <a:avLst/>
              <a:gdLst>
                <a:gd name="T0" fmla="*/ 30 w 390"/>
                <a:gd name="T1" fmla="*/ 631 h 902"/>
                <a:gd name="T2" fmla="*/ 31 w 390"/>
                <a:gd name="T3" fmla="*/ 166 h 902"/>
                <a:gd name="T4" fmla="*/ 37 w 390"/>
                <a:gd name="T5" fmla="*/ 137 h 902"/>
                <a:gd name="T6" fmla="*/ 50 w 390"/>
                <a:gd name="T7" fmla="*/ 110 h 902"/>
                <a:gd name="T8" fmla="*/ 67 w 390"/>
                <a:gd name="T9" fmla="*/ 86 h 902"/>
                <a:gd name="T10" fmla="*/ 91 w 390"/>
                <a:gd name="T11" fmla="*/ 65 h 902"/>
                <a:gd name="T12" fmla="*/ 116 w 390"/>
                <a:gd name="T13" fmla="*/ 49 h 902"/>
                <a:gd name="T14" fmla="*/ 146 w 390"/>
                <a:gd name="T15" fmla="*/ 37 h 902"/>
                <a:gd name="T16" fmla="*/ 178 w 390"/>
                <a:gd name="T17" fmla="*/ 31 h 902"/>
                <a:gd name="T18" fmla="*/ 211 w 390"/>
                <a:gd name="T19" fmla="*/ 31 h 902"/>
                <a:gd name="T20" fmla="*/ 242 w 390"/>
                <a:gd name="T21" fmla="*/ 37 h 902"/>
                <a:gd name="T22" fmla="*/ 272 w 390"/>
                <a:gd name="T23" fmla="*/ 49 h 902"/>
                <a:gd name="T24" fmla="*/ 299 w 390"/>
                <a:gd name="T25" fmla="*/ 65 h 902"/>
                <a:gd name="T26" fmla="*/ 322 w 390"/>
                <a:gd name="T27" fmla="*/ 86 h 902"/>
                <a:gd name="T28" fmla="*/ 340 w 390"/>
                <a:gd name="T29" fmla="*/ 110 h 902"/>
                <a:gd name="T30" fmla="*/ 352 w 390"/>
                <a:gd name="T31" fmla="*/ 137 h 902"/>
                <a:gd name="T32" fmla="*/ 359 w 390"/>
                <a:gd name="T33" fmla="*/ 166 h 902"/>
                <a:gd name="T34" fmla="*/ 359 w 390"/>
                <a:gd name="T35" fmla="*/ 631 h 902"/>
                <a:gd name="T36" fmla="*/ 174 w 390"/>
                <a:gd name="T37" fmla="*/ 1 h 902"/>
                <a:gd name="T38" fmla="*/ 137 w 390"/>
                <a:gd name="T39" fmla="*/ 9 h 902"/>
                <a:gd name="T40" fmla="*/ 101 w 390"/>
                <a:gd name="T41" fmla="*/ 23 h 902"/>
                <a:gd name="T42" fmla="*/ 70 w 390"/>
                <a:gd name="T43" fmla="*/ 42 h 902"/>
                <a:gd name="T44" fmla="*/ 43 w 390"/>
                <a:gd name="T45" fmla="*/ 66 h 902"/>
                <a:gd name="T46" fmla="*/ 23 w 390"/>
                <a:gd name="T47" fmla="*/ 95 h 902"/>
                <a:gd name="T48" fmla="*/ 8 w 390"/>
                <a:gd name="T49" fmla="*/ 127 h 902"/>
                <a:gd name="T50" fmla="*/ 1 w 390"/>
                <a:gd name="T51" fmla="*/ 163 h 902"/>
                <a:gd name="T52" fmla="*/ 0 w 390"/>
                <a:gd name="T53" fmla="*/ 646 h 902"/>
                <a:gd name="T54" fmla="*/ 1 w 390"/>
                <a:gd name="T55" fmla="*/ 652 h 902"/>
                <a:gd name="T56" fmla="*/ 4 w 390"/>
                <a:gd name="T57" fmla="*/ 657 h 902"/>
                <a:gd name="T58" fmla="*/ 8 w 390"/>
                <a:gd name="T59" fmla="*/ 660 h 902"/>
                <a:gd name="T60" fmla="*/ 15 w 390"/>
                <a:gd name="T61" fmla="*/ 661 h 902"/>
                <a:gd name="T62" fmla="*/ 179 w 390"/>
                <a:gd name="T63" fmla="*/ 887 h 902"/>
                <a:gd name="T64" fmla="*/ 180 w 390"/>
                <a:gd name="T65" fmla="*/ 892 h 902"/>
                <a:gd name="T66" fmla="*/ 184 w 390"/>
                <a:gd name="T67" fmla="*/ 897 h 902"/>
                <a:gd name="T68" fmla="*/ 189 w 390"/>
                <a:gd name="T69" fmla="*/ 901 h 902"/>
                <a:gd name="T70" fmla="*/ 194 w 390"/>
                <a:gd name="T71" fmla="*/ 902 h 902"/>
                <a:gd name="T72" fmla="*/ 201 w 390"/>
                <a:gd name="T73" fmla="*/ 901 h 902"/>
                <a:gd name="T74" fmla="*/ 205 w 390"/>
                <a:gd name="T75" fmla="*/ 897 h 902"/>
                <a:gd name="T76" fmla="*/ 208 w 390"/>
                <a:gd name="T77" fmla="*/ 892 h 902"/>
                <a:gd name="T78" fmla="*/ 209 w 390"/>
                <a:gd name="T79" fmla="*/ 887 h 902"/>
                <a:gd name="T80" fmla="*/ 375 w 390"/>
                <a:gd name="T81" fmla="*/ 661 h 902"/>
                <a:gd name="T82" fmla="*/ 380 w 390"/>
                <a:gd name="T83" fmla="*/ 660 h 902"/>
                <a:gd name="T84" fmla="*/ 385 w 390"/>
                <a:gd name="T85" fmla="*/ 657 h 902"/>
                <a:gd name="T86" fmla="*/ 388 w 390"/>
                <a:gd name="T87" fmla="*/ 652 h 902"/>
                <a:gd name="T88" fmla="*/ 390 w 390"/>
                <a:gd name="T89" fmla="*/ 646 h 902"/>
                <a:gd name="T90" fmla="*/ 389 w 390"/>
                <a:gd name="T91" fmla="*/ 163 h 902"/>
                <a:gd name="T92" fmla="*/ 380 w 390"/>
                <a:gd name="T93" fmla="*/ 127 h 902"/>
                <a:gd name="T94" fmla="*/ 367 w 390"/>
                <a:gd name="T95" fmla="*/ 95 h 902"/>
                <a:gd name="T96" fmla="*/ 345 w 390"/>
                <a:gd name="T97" fmla="*/ 66 h 902"/>
                <a:gd name="T98" fmla="*/ 318 w 390"/>
                <a:gd name="T99" fmla="*/ 42 h 902"/>
                <a:gd name="T100" fmla="*/ 287 w 390"/>
                <a:gd name="T101" fmla="*/ 23 h 902"/>
                <a:gd name="T102" fmla="*/ 252 w 390"/>
                <a:gd name="T103" fmla="*/ 9 h 902"/>
                <a:gd name="T104" fmla="*/ 215 w 390"/>
                <a:gd name="T105" fmla="*/ 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0" h="902">
                  <a:moveTo>
                    <a:pt x="359" y="631"/>
                  </a:moveTo>
                  <a:lnTo>
                    <a:pt x="30" y="631"/>
                  </a:lnTo>
                  <a:lnTo>
                    <a:pt x="30" y="181"/>
                  </a:lnTo>
                  <a:lnTo>
                    <a:pt x="31" y="166"/>
                  </a:lnTo>
                  <a:lnTo>
                    <a:pt x="33" y="151"/>
                  </a:lnTo>
                  <a:lnTo>
                    <a:pt x="37" y="137"/>
                  </a:lnTo>
                  <a:lnTo>
                    <a:pt x="42" y="123"/>
                  </a:lnTo>
                  <a:lnTo>
                    <a:pt x="50" y="110"/>
                  </a:lnTo>
                  <a:lnTo>
                    <a:pt x="57" y="97"/>
                  </a:lnTo>
                  <a:lnTo>
                    <a:pt x="67" y="86"/>
                  </a:lnTo>
                  <a:lnTo>
                    <a:pt x="79" y="75"/>
                  </a:lnTo>
                  <a:lnTo>
                    <a:pt x="91" y="65"/>
                  </a:lnTo>
                  <a:lnTo>
                    <a:pt x="102" y="57"/>
                  </a:lnTo>
                  <a:lnTo>
                    <a:pt x="116" y="49"/>
                  </a:lnTo>
                  <a:lnTo>
                    <a:pt x="131" y="43"/>
                  </a:lnTo>
                  <a:lnTo>
                    <a:pt x="146" y="37"/>
                  </a:lnTo>
                  <a:lnTo>
                    <a:pt x="161" y="33"/>
                  </a:lnTo>
                  <a:lnTo>
                    <a:pt x="178" y="31"/>
                  </a:lnTo>
                  <a:lnTo>
                    <a:pt x="194" y="30"/>
                  </a:lnTo>
                  <a:lnTo>
                    <a:pt x="211" y="31"/>
                  </a:lnTo>
                  <a:lnTo>
                    <a:pt x="227" y="33"/>
                  </a:lnTo>
                  <a:lnTo>
                    <a:pt x="242" y="37"/>
                  </a:lnTo>
                  <a:lnTo>
                    <a:pt x="258" y="43"/>
                  </a:lnTo>
                  <a:lnTo>
                    <a:pt x="272" y="49"/>
                  </a:lnTo>
                  <a:lnTo>
                    <a:pt x="286" y="57"/>
                  </a:lnTo>
                  <a:lnTo>
                    <a:pt x="299" y="65"/>
                  </a:lnTo>
                  <a:lnTo>
                    <a:pt x="311" y="75"/>
                  </a:lnTo>
                  <a:lnTo>
                    <a:pt x="322" y="86"/>
                  </a:lnTo>
                  <a:lnTo>
                    <a:pt x="331" y="97"/>
                  </a:lnTo>
                  <a:lnTo>
                    <a:pt x="340" y="110"/>
                  </a:lnTo>
                  <a:lnTo>
                    <a:pt x="346" y="123"/>
                  </a:lnTo>
                  <a:lnTo>
                    <a:pt x="352" y="137"/>
                  </a:lnTo>
                  <a:lnTo>
                    <a:pt x="356" y="151"/>
                  </a:lnTo>
                  <a:lnTo>
                    <a:pt x="359" y="166"/>
                  </a:lnTo>
                  <a:lnTo>
                    <a:pt x="359" y="181"/>
                  </a:lnTo>
                  <a:lnTo>
                    <a:pt x="359" y="631"/>
                  </a:lnTo>
                  <a:close/>
                  <a:moveTo>
                    <a:pt x="194" y="0"/>
                  </a:moveTo>
                  <a:lnTo>
                    <a:pt x="174" y="1"/>
                  </a:lnTo>
                  <a:lnTo>
                    <a:pt x="155" y="4"/>
                  </a:lnTo>
                  <a:lnTo>
                    <a:pt x="137" y="9"/>
                  </a:lnTo>
                  <a:lnTo>
                    <a:pt x="118" y="15"/>
                  </a:lnTo>
                  <a:lnTo>
                    <a:pt x="101" y="23"/>
                  </a:lnTo>
                  <a:lnTo>
                    <a:pt x="85" y="31"/>
                  </a:lnTo>
                  <a:lnTo>
                    <a:pt x="70" y="42"/>
                  </a:lnTo>
                  <a:lnTo>
                    <a:pt x="56" y="54"/>
                  </a:lnTo>
                  <a:lnTo>
                    <a:pt x="43" y="66"/>
                  </a:lnTo>
                  <a:lnTo>
                    <a:pt x="33" y="80"/>
                  </a:lnTo>
                  <a:lnTo>
                    <a:pt x="23" y="95"/>
                  </a:lnTo>
                  <a:lnTo>
                    <a:pt x="15" y="110"/>
                  </a:lnTo>
                  <a:lnTo>
                    <a:pt x="8" y="127"/>
                  </a:lnTo>
                  <a:lnTo>
                    <a:pt x="3" y="144"/>
                  </a:lnTo>
                  <a:lnTo>
                    <a:pt x="1" y="163"/>
                  </a:lnTo>
                  <a:lnTo>
                    <a:pt x="0" y="181"/>
                  </a:lnTo>
                  <a:lnTo>
                    <a:pt x="0" y="646"/>
                  </a:lnTo>
                  <a:lnTo>
                    <a:pt x="0" y="649"/>
                  </a:lnTo>
                  <a:lnTo>
                    <a:pt x="1" y="652"/>
                  </a:lnTo>
                  <a:lnTo>
                    <a:pt x="2" y="655"/>
                  </a:lnTo>
                  <a:lnTo>
                    <a:pt x="4" y="657"/>
                  </a:lnTo>
                  <a:lnTo>
                    <a:pt x="6" y="659"/>
                  </a:lnTo>
                  <a:lnTo>
                    <a:pt x="8" y="660"/>
                  </a:lnTo>
                  <a:lnTo>
                    <a:pt x="11" y="661"/>
                  </a:lnTo>
                  <a:lnTo>
                    <a:pt x="15" y="661"/>
                  </a:lnTo>
                  <a:lnTo>
                    <a:pt x="179" y="661"/>
                  </a:lnTo>
                  <a:lnTo>
                    <a:pt x="179" y="887"/>
                  </a:lnTo>
                  <a:lnTo>
                    <a:pt x="179" y="890"/>
                  </a:lnTo>
                  <a:lnTo>
                    <a:pt x="180" y="892"/>
                  </a:lnTo>
                  <a:lnTo>
                    <a:pt x="181" y="895"/>
                  </a:lnTo>
                  <a:lnTo>
                    <a:pt x="184" y="897"/>
                  </a:lnTo>
                  <a:lnTo>
                    <a:pt x="186" y="898"/>
                  </a:lnTo>
                  <a:lnTo>
                    <a:pt x="189" y="901"/>
                  </a:lnTo>
                  <a:lnTo>
                    <a:pt x="191" y="901"/>
                  </a:lnTo>
                  <a:lnTo>
                    <a:pt x="194" y="902"/>
                  </a:lnTo>
                  <a:lnTo>
                    <a:pt x="198" y="901"/>
                  </a:lnTo>
                  <a:lnTo>
                    <a:pt x="201" y="901"/>
                  </a:lnTo>
                  <a:lnTo>
                    <a:pt x="203" y="898"/>
                  </a:lnTo>
                  <a:lnTo>
                    <a:pt x="205" y="897"/>
                  </a:lnTo>
                  <a:lnTo>
                    <a:pt x="207" y="895"/>
                  </a:lnTo>
                  <a:lnTo>
                    <a:pt x="208" y="892"/>
                  </a:lnTo>
                  <a:lnTo>
                    <a:pt x="209" y="890"/>
                  </a:lnTo>
                  <a:lnTo>
                    <a:pt x="209" y="887"/>
                  </a:lnTo>
                  <a:lnTo>
                    <a:pt x="209" y="661"/>
                  </a:lnTo>
                  <a:lnTo>
                    <a:pt x="375" y="661"/>
                  </a:lnTo>
                  <a:lnTo>
                    <a:pt x="377" y="661"/>
                  </a:lnTo>
                  <a:lnTo>
                    <a:pt x="380" y="660"/>
                  </a:lnTo>
                  <a:lnTo>
                    <a:pt x="383" y="659"/>
                  </a:lnTo>
                  <a:lnTo>
                    <a:pt x="385" y="657"/>
                  </a:lnTo>
                  <a:lnTo>
                    <a:pt x="387" y="655"/>
                  </a:lnTo>
                  <a:lnTo>
                    <a:pt x="388" y="652"/>
                  </a:lnTo>
                  <a:lnTo>
                    <a:pt x="389" y="649"/>
                  </a:lnTo>
                  <a:lnTo>
                    <a:pt x="390" y="646"/>
                  </a:lnTo>
                  <a:lnTo>
                    <a:pt x="390" y="181"/>
                  </a:lnTo>
                  <a:lnTo>
                    <a:pt x="389" y="163"/>
                  </a:lnTo>
                  <a:lnTo>
                    <a:pt x="386" y="144"/>
                  </a:lnTo>
                  <a:lnTo>
                    <a:pt x="380" y="127"/>
                  </a:lnTo>
                  <a:lnTo>
                    <a:pt x="374" y="110"/>
                  </a:lnTo>
                  <a:lnTo>
                    <a:pt x="367" y="95"/>
                  </a:lnTo>
                  <a:lnTo>
                    <a:pt x="356" y="80"/>
                  </a:lnTo>
                  <a:lnTo>
                    <a:pt x="345" y="66"/>
                  </a:lnTo>
                  <a:lnTo>
                    <a:pt x="332" y="54"/>
                  </a:lnTo>
                  <a:lnTo>
                    <a:pt x="318" y="42"/>
                  </a:lnTo>
                  <a:lnTo>
                    <a:pt x="303" y="31"/>
                  </a:lnTo>
                  <a:lnTo>
                    <a:pt x="287" y="23"/>
                  </a:lnTo>
                  <a:lnTo>
                    <a:pt x="270" y="15"/>
                  </a:lnTo>
                  <a:lnTo>
                    <a:pt x="252" y="9"/>
                  </a:lnTo>
                  <a:lnTo>
                    <a:pt x="234" y="4"/>
                  </a:lnTo>
                  <a:lnTo>
                    <a:pt x="215" y="1"/>
                  </a:lnTo>
                  <a:lnTo>
                    <a:pt x="1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713" name="Freeform 184">
              <a:extLst>
                <a:ext uri="{FF2B5EF4-FFF2-40B4-BE49-F238E27FC236}">
                  <a16:creationId xmlns:a16="http://schemas.microsoft.com/office/drawing/2014/main" id="{647556DB-3BEB-4109-B592-74CD12C311BD}"/>
                </a:ext>
              </a:extLst>
            </p:cNvPr>
            <p:cNvSpPr>
              <a:spLocks/>
            </p:cNvSpPr>
            <p:nvPr/>
          </p:nvSpPr>
          <p:spPr bwMode="auto">
            <a:xfrm>
              <a:off x="6567488" y="2552700"/>
              <a:ext cx="66675" cy="104775"/>
            </a:xfrm>
            <a:custGeom>
              <a:avLst/>
              <a:gdLst>
                <a:gd name="T0" fmla="*/ 183 w 210"/>
                <a:gd name="T1" fmla="*/ 299 h 330"/>
                <a:gd name="T2" fmla="*/ 168 w 210"/>
                <a:gd name="T3" fmla="*/ 297 h 330"/>
                <a:gd name="T4" fmla="*/ 162 w 210"/>
                <a:gd name="T5" fmla="*/ 294 h 330"/>
                <a:gd name="T6" fmla="*/ 157 w 210"/>
                <a:gd name="T7" fmla="*/ 289 h 330"/>
                <a:gd name="T8" fmla="*/ 153 w 210"/>
                <a:gd name="T9" fmla="*/ 282 h 330"/>
                <a:gd name="T10" fmla="*/ 151 w 210"/>
                <a:gd name="T11" fmla="*/ 267 h 330"/>
                <a:gd name="T12" fmla="*/ 150 w 210"/>
                <a:gd name="T13" fmla="*/ 105 h 330"/>
                <a:gd name="T14" fmla="*/ 147 w 210"/>
                <a:gd name="T15" fmla="*/ 89 h 330"/>
                <a:gd name="T16" fmla="*/ 136 w 210"/>
                <a:gd name="T17" fmla="*/ 74 h 330"/>
                <a:gd name="T18" fmla="*/ 122 w 210"/>
                <a:gd name="T19" fmla="*/ 64 h 330"/>
                <a:gd name="T20" fmla="*/ 105 w 210"/>
                <a:gd name="T21" fmla="*/ 60 h 330"/>
                <a:gd name="T22" fmla="*/ 88 w 210"/>
                <a:gd name="T23" fmla="*/ 64 h 330"/>
                <a:gd name="T24" fmla="*/ 74 w 210"/>
                <a:gd name="T25" fmla="*/ 74 h 330"/>
                <a:gd name="T26" fmla="*/ 65 w 210"/>
                <a:gd name="T27" fmla="*/ 89 h 330"/>
                <a:gd name="T28" fmla="*/ 60 w 210"/>
                <a:gd name="T29" fmla="*/ 105 h 330"/>
                <a:gd name="T30" fmla="*/ 59 w 210"/>
                <a:gd name="T31" fmla="*/ 110 h 330"/>
                <a:gd name="T32" fmla="*/ 55 w 210"/>
                <a:gd name="T33" fmla="*/ 115 h 330"/>
                <a:gd name="T34" fmla="*/ 45 w 210"/>
                <a:gd name="T35" fmla="*/ 120 h 330"/>
                <a:gd name="T36" fmla="*/ 36 w 210"/>
                <a:gd name="T37" fmla="*/ 115 h 330"/>
                <a:gd name="T38" fmla="*/ 32 w 210"/>
                <a:gd name="T39" fmla="*/ 110 h 330"/>
                <a:gd name="T40" fmla="*/ 30 w 210"/>
                <a:gd name="T41" fmla="*/ 105 h 330"/>
                <a:gd name="T42" fmla="*/ 30 w 210"/>
                <a:gd name="T43" fmla="*/ 12 h 330"/>
                <a:gd name="T44" fmla="*/ 28 w 210"/>
                <a:gd name="T45" fmla="*/ 6 h 330"/>
                <a:gd name="T46" fmla="*/ 24 w 210"/>
                <a:gd name="T47" fmla="*/ 2 h 330"/>
                <a:gd name="T48" fmla="*/ 19 w 210"/>
                <a:gd name="T49" fmla="*/ 0 h 330"/>
                <a:gd name="T50" fmla="*/ 12 w 210"/>
                <a:gd name="T51" fmla="*/ 0 h 330"/>
                <a:gd name="T52" fmla="*/ 7 w 210"/>
                <a:gd name="T53" fmla="*/ 2 h 330"/>
                <a:gd name="T54" fmla="*/ 3 w 210"/>
                <a:gd name="T55" fmla="*/ 6 h 330"/>
                <a:gd name="T56" fmla="*/ 0 w 210"/>
                <a:gd name="T57" fmla="*/ 12 h 330"/>
                <a:gd name="T58" fmla="*/ 0 w 210"/>
                <a:gd name="T59" fmla="*/ 105 h 330"/>
                <a:gd name="T60" fmla="*/ 4 w 210"/>
                <a:gd name="T61" fmla="*/ 122 h 330"/>
                <a:gd name="T62" fmla="*/ 14 w 210"/>
                <a:gd name="T63" fmla="*/ 137 h 330"/>
                <a:gd name="T64" fmla="*/ 28 w 210"/>
                <a:gd name="T65" fmla="*/ 146 h 330"/>
                <a:gd name="T66" fmla="*/ 45 w 210"/>
                <a:gd name="T67" fmla="*/ 150 h 330"/>
                <a:gd name="T68" fmla="*/ 63 w 210"/>
                <a:gd name="T69" fmla="*/ 146 h 330"/>
                <a:gd name="T70" fmla="*/ 76 w 210"/>
                <a:gd name="T71" fmla="*/ 137 h 330"/>
                <a:gd name="T72" fmla="*/ 87 w 210"/>
                <a:gd name="T73" fmla="*/ 122 h 330"/>
                <a:gd name="T74" fmla="*/ 90 w 210"/>
                <a:gd name="T75" fmla="*/ 105 h 330"/>
                <a:gd name="T76" fmla="*/ 96 w 210"/>
                <a:gd name="T77" fmla="*/ 95 h 330"/>
                <a:gd name="T78" fmla="*/ 100 w 210"/>
                <a:gd name="T79" fmla="*/ 91 h 330"/>
                <a:gd name="T80" fmla="*/ 105 w 210"/>
                <a:gd name="T81" fmla="*/ 90 h 330"/>
                <a:gd name="T82" fmla="*/ 111 w 210"/>
                <a:gd name="T83" fmla="*/ 91 h 330"/>
                <a:gd name="T84" fmla="*/ 115 w 210"/>
                <a:gd name="T85" fmla="*/ 95 h 330"/>
                <a:gd name="T86" fmla="*/ 120 w 210"/>
                <a:gd name="T87" fmla="*/ 105 h 330"/>
                <a:gd name="T88" fmla="*/ 120 w 210"/>
                <a:gd name="T89" fmla="*/ 265 h 330"/>
                <a:gd name="T90" fmla="*/ 122 w 210"/>
                <a:gd name="T91" fmla="*/ 282 h 330"/>
                <a:gd name="T92" fmla="*/ 127 w 210"/>
                <a:gd name="T93" fmla="*/ 296 h 330"/>
                <a:gd name="T94" fmla="*/ 134 w 210"/>
                <a:gd name="T95" fmla="*/ 308 h 330"/>
                <a:gd name="T96" fmla="*/ 143 w 210"/>
                <a:gd name="T97" fmla="*/ 316 h 330"/>
                <a:gd name="T98" fmla="*/ 155 w 210"/>
                <a:gd name="T99" fmla="*/ 324 h 330"/>
                <a:gd name="T100" fmla="*/ 168 w 210"/>
                <a:gd name="T101" fmla="*/ 327 h 330"/>
                <a:gd name="T102" fmla="*/ 186 w 210"/>
                <a:gd name="T103" fmla="*/ 329 h 330"/>
                <a:gd name="T104" fmla="*/ 198 w 210"/>
                <a:gd name="T105" fmla="*/ 329 h 330"/>
                <a:gd name="T106" fmla="*/ 204 w 210"/>
                <a:gd name="T107" fmla="*/ 327 h 330"/>
                <a:gd name="T108" fmla="*/ 208 w 210"/>
                <a:gd name="T109" fmla="*/ 324 h 330"/>
                <a:gd name="T110" fmla="*/ 210 w 210"/>
                <a:gd name="T111" fmla="*/ 319 h 330"/>
                <a:gd name="T112" fmla="*/ 210 w 210"/>
                <a:gd name="T113" fmla="*/ 312 h 330"/>
                <a:gd name="T114" fmla="*/ 208 w 210"/>
                <a:gd name="T115" fmla="*/ 307 h 330"/>
                <a:gd name="T116" fmla="*/ 204 w 210"/>
                <a:gd name="T117" fmla="*/ 302 h 330"/>
                <a:gd name="T118" fmla="*/ 198 w 210"/>
                <a:gd name="T119" fmla="*/ 30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330">
                  <a:moveTo>
                    <a:pt x="195" y="300"/>
                  </a:moveTo>
                  <a:lnTo>
                    <a:pt x="183" y="299"/>
                  </a:lnTo>
                  <a:lnTo>
                    <a:pt x="173" y="298"/>
                  </a:lnTo>
                  <a:lnTo>
                    <a:pt x="168" y="297"/>
                  </a:lnTo>
                  <a:lnTo>
                    <a:pt x="165" y="295"/>
                  </a:lnTo>
                  <a:lnTo>
                    <a:pt x="162" y="294"/>
                  </a:lnTo>
                  <a:lnTo>
                    <a:pt x="159" y="292"/>
                  </a:lnTo>
                  <a:lnTo>
                    <a:pt x="157" y="289"/>
                  </a:lnTo>
                  <a:lnTo>
                    <a:pt x="155" y="285"/>
                  </a:lnTo>
                  <a:lnTo>
                    <a:pt x="153" y="282"/>
                  </a:lnTo>
                  <a:lnTo>
                    <a:pt x="152" y="278"/>
                  </a:lnTo>
                  <a:lnTo>
                    <a:pt x="151" y="267"/>
                  </a:lnTo>
                  <a:lnTo>
                    <a:pt x="150" y="254"/>
                  </a:lnTo>
                  <a:lnTo>
                    <a:pt x="150" y="105"/>
                  </a:lnTo>
                  <a:lnTo>
                    <a:pt x="149" y="96"/>
                  </a:lnTo>
                  <a:lnTo>
                    <a:pt x="147" y="89"/>
                  </a:lnTo>
                  <a:lnTo>
                    <a:pt x="143" y="81"/>
                  </a:lnTo>
                  <a:lnTo>
                    <a:pt x="136" y="74"/>
                  </a:lnTo>
                  <a:lnTo>
                    <a:pt x="130" y="68"/>
                  </a:lnTo>
                  <a:lnTo>
                    <a:pt x="122" y="64"/>
                  </a:lnTo>
                  <a:lnTo>
                    <a:pt x="114" y="61"/>
                  </a:lnTo>
                  <a:lnTo>
                    <a:pt x="105" y="60"/>
                  </a:lnTo>
                  <a:lnTo>
                    <a:pt x="97" y="61"/>
                  </a:lnTo>
                  <a:lnTo>
                    <a:pt x="88" y="64"/>
                  </a:lnTo>
                  <a:lnTo>
                    <a:pt x="81" y="68"/>
                  </a:lnTo>
                  <a:lnTo>
                    <a:pt x="74" y="74"/>
                  </a:lnTo>
                  <a:lnTo>
                    <a:pt x="69" y="81"/>
                  </a:lnTo>
                  <a:lnTo>
                    <a:pt x="65" y="89"/>
                  </a:lnTo>
                  <a:lnTo>
                    <a:pt x="61" y="96"/>
                  </a:lnTo>
                  <a:lnTo>
                    <a:pt x="60" y="105"/>
                  </a:lnTo>
                  <a:lnTo>
                    <a:pt x="60" y="108"/>
                  </a:lnTo>
                  <a:lnTo>
                    <a:pt x="59" y="110"/>
                  </a:lnTo>
                  <a:lnTo>
                    <a:pt x="57" y="113"/>
                  </a:lnTo>
                  <a:lnTo>
                    <a:pt x="55" y="115"/>
                  </a:lnTo>
                  <a:lnTo>
                    <a:pt x="51" y="119"/>
                  </a:lnTo>
                  <a:lnTo>
                    <a:pt x="45" y="120"/>
                  </a:lnTo>
                  <a:lnTo>
                    <a:pt x="40" y="119"/>
                  </a:lnTo>
                  <a:lnTo>
                    <a:pt x="36" y="115"/>
                  </a:lnTo>
                  <a:lnTo>
                    <a:pt x="34" y="113"/>
                  </a:lnTo>
                  <a:lnTo>
                    <a:pt x="32" y="110"/>
                  </a:lnTo>
                  <a:lnTo>
                    <a:pt x="30" y="108"/>
                  </a:lnTo>
                  <a:lnTo>
                    <a:pt x="30" y="105"/>
                  </a:lnTo>
                  <a:lnTo>
                    <a:pt x="30" y="15"/>
                  </a:lnTo>
                  <a:lnTo>
                    <a:pt x="30" y="12"/>
                  </a:lnTo>
                  <a:lnTo>
                    <a:pt x="29" y="9"/>
                  </a:lnTo>
                  <a:lnTo>
                    <a:pt x="28" y="6"/>
                  </a:lnTo>
                  <a:lnTo>
                    <a:pt x="26" y="4"/>
                  </a:lnTo>
                  <a:lnTo>
                    <a:pt x="24" y="2"/>
                  </a:lnTo>
                  <a:lnTo>
                    <a:pt x="21" y="1"/>
                  </a:lnTo>
                  <a:lnTo>
                    <a:pt x="19" y="0"/>
                  </a:lnTo>
                  <a:lnTo>
                    <a:pt x="15" y="0"/>
                  </a:lnTo>
                  <a:lnTo>
                    <a:pt x="12" y="0"/>
                  </a:lnTo>
                  <a:lnTo>
                    <a:pt x="9" y="1"/>
                  </a:lnTo>
                  <a:lnTo>
                    <a:pt x="7" y="2"/>
                  </a:lnTo>
                  <a:lnTo>
                    <a:pt x="5" y="4"/>
                  </a:lnTo>
                  <a:lnTo>
                    <a:pt x="3" y="6"/>
                  </a:lnTo>
                  <a:lnTo>
                    <a:pt x="2" y="9"/>
                  </a:lnTo>
                  <a:lnTo>
                    <a:pt x="0" y="12"/>
                  </a:lnTo>
                  <a:lnTo>
                    <a:pt x="0" y="15"/>
                  </a:lnTo>
                  <a:lnTo>
                    <a:pt x="0" y="105"/>
                  </a:lnTo>
                  <a:lnTo>
                    <a:pt x="2" y="113"/>
                  </a:lnTo>
                  <a:lnTo>
                    <a:pt x="4" y="122"/>
                  </a:lnTo>
                  <a:lnTo>
                    <a:pt x="8" y="129"/>
                  </a:lnTo>
                  <a:lnTo>
                    <a:pt x="14" y="137"/>
                  </a:lnTo>
                  <a:lnTo>
                    <a:pt x="21" y="142"/>
                  </a:lnTo>
                  <a:lnTo>
                    <a:pt x="28" y="146"/>
                  </a:lnTo>
                  <a:lnTo>
                    <a:pt x="37" y="148"/>
                  </a:lnTo>
                  <a:lnTo>
                    <a:pt x="45" y="150"/>
                  </a:lnTo>
                  <a:lnTo>
                    <a:pt x="54" y="148"/>
                  </a:lnTo>
                  <a:lnTo>
                    <a:pt x="63" y="146"/>
                  </a:lnTo>
                  <a:lnTo>
                    <a:pt x="70" y="142"/>
                  </a:lnTo>
                  <a:lnTo>
                    <a:pt x="76" y="137"/>
                  </a:lnTo>
                  <a:lnTo>
                    <a:pt x="82" y="129"/>
                  </a:lnTo>
                  <a:lnTo>
                    <a:pt x="87" y="122"/>
                  </a:lnTo>
                  <a:lnTo>
                    <a:pt x="89" y="113"/>
                  </a:lnTo>
                  <a:lnTo>
                    <a:pt x="90" y="105"/>
                  </a:lnTo>
                  <a:lnTo>
                    <a:pt x="91" y="100"/>
                  </a:lnTo>
                  <a:lnTo>
                    <a:pt x="96" y="95"/>
                  </a:lnTo>
                  <a:lnTo>
                    <a:pt x="98" y="93"/>
                  </a:lnTo>
                  <a:lnTo>
                    <a:pt x="100" y="91"/>
                  </a:lnTo>
                  <a:lnTo>
                    <a:pt x="103" y="90"/>
                  </a:lnTo>
                  <a:lnTo>
                    <a:pt x="105" y="90"/>
                  </a:lnTo>
                  <a:lnTo>
                    <a:pt x="109" y="90"/>
                  </a:lnTo>
                  <a:lnTo>
                    <a:pt x="111" y="91"/>
                  </a:lnTo>
                  <a:lnTo>
                    <a:pt x="113" y="93"/>
                  </a:lnTo>
                  <a:lnTo>
                    <a:pt x="115" y="95"/>
                  </a:lnTo>
                  <a:lnTo>
                    <a:pt x="119" y="100"/>
                  </a:lnTo>
                  <a:lnTo>
                    <a:pt x="120" y="105"/>
                  </a:lnTo>
                  <a:lnTo>
                    <a:pt x="120" y="254"/>
                  </a:lnTo>
                  <a:lnTo>
                    <a:pt x="120" y="265"/>
                  </a:lnTo>
                  <a:lnTo>
                    <a:pt x="121" y="274"/>
                  </a:lnTo>
                  <a:lnTo>
                    <a:pt x="122" y="282"/>
                  </a:lnTo>
                  <a:lnTo>
                    <a:pt x="125" y="290"/>
                  </a:lnTo>
                  <a:lnTo>
                    <a:pt x="127" y="296"/>
                  </a:lnTo>
                  <a:lnTo>
                    <a:pt x="130" y="302"/>
                  </a:lnTo>
                  <a:lnTo>
                    <a:pt x="134" y="308"/>
                  </a:lnTo>
                  <a:lnTo>
                    <a:pt x="138" y="312"/>
                  </a:lnTo>
                  <a:lnTo>
                    <a:pt x="143" y="316"/>
                  </a:lnTo>
                  <a:lnTo>
                    <a:pt x="148" y="321"/>
                  </a:lnTo>
                  <a:lnTo>
                    <a:pt x="155" y="324"/>
                  </a:lnTo>
                  <a:lnTo>
                    <a:pt x="161" y="326"/>
                  </a:lnTo>
                  <a:lnTo>
                    <a:pt x="168" y="327"/>
                  </a:lnTo>
                  <a:lnTo>
                    <a:pt x="177" y="329"/>
                  </a:lnTo>
                  <a:lnTo>
                    <a:pt x="186" y="329"/>
                  </a:lnTo>
                  <a:lnTo>
                    <a:pt x="195" y="330"/>
                  </a:lnTo>
                  <a:lnTo>
                    <a:pt x="198" y="329"/>
                  </a:lnTo>
                  <a:lnTo>
                    <a:pt x="202" y="329"/>
                  </a:lnTo>
                  <a:lnTo>
                    <a:pt x="204" y="327"/>
                  </a:lnTo>
                  <a:lnTo>
                    <a:pt x="206" y="326"/>
                  </a:lnTo>
                  <a:lnTo>
                    <a:pt x="208" y="324"/>
                  </a:lnTo>
                  <a:lnTo>
                    <a:pt x="209" y="321"/>
                  </a:lnTo>
                  <a:lnTo>
                    <a:pt x="210" y="319"/>
                  </a:lnTo>
                  <a:lnTo>
                    <a:pt x="210" y="315"/>
                  </a:lnTo>
                  <a:lnTo>
                    <a:pt x="210" y="312"/>
                  </a:lnTo>
                  <a:lnTo>
                    <a:pt x="209" y="309"/>
                  </a:lnTo>
                  <a:lnTo>
                    <a:pt x="208" y="307"/>
                  </a:lnTo>
                  <a:lnTo>
                    <a:pt x="206" y="305"/>
                  </a:lnTo>
                  <a:lnTo>
                    <a:pt x="204" y="302"/>
                  </a:lnTo>
                  <a:lnTo>
                    <a:pt x="202" y="301"/>
                  </a:lnTo>
                  <a:lnTo>
                    <a:pt x="198" y="300"/>
                  </a:lnTo>
                  <a:lnTo>
                    <a:pt x="195"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714" name="Group 26">
            <a:extLst>
              <a:ext uri="{FF2B5EF4-FFF2-40B4-BE49-F238E27FC236}">
                <a16:creationId xmlns:a16="http://schemas.microsoft.com/office/drawing/2014/main" id="{8C9AE983-A64E-4982-BCC1-1540C66E76B4}"/>
              </a:ext>
            </a:extLst>
          </p:cNvPr>
          <p:cNvGrpSpPr>
            <a:grpSpLocks noChangeAspect="1"/>
          </p:cNvGrpSpPr>
          <p:nvPr/>
        </p:nvGrpSpPr>
        <p:grpSpPr>
          <a:xfrm>
            <a:off x="248784" y="5965227"/>
            <a:ext cx="304790" cy="267386"/>
            <a:chOff x="3092450" y="838200"/>
            <a:chExt cx="2962275" cy="2598738"/>
          </a:xfrm>
          <a:solidFill>
            <a:schemeClr val="bg2"/>
          </a:solidFill>
          <a:effectLst/>
        </p:grpSpPr>
        <p:sp>
          <p:nvSpPr>
            <p:cNvPr id="715" name="Freeform 9">
              <a:extLst>
                <a:ext uri="{FF2B5EF4-FFF2-40B4-BE49-F238E27FC236}">
                  <a16:creationId xmlns:a16="http://schemas.microsoft.com/office/drawing/2014/main" id="{A9BEFD40-6280-442E-976E-20DF07DB062F}"/>
                </a:ext>
              </a:extLst>
            </p:cNvPr>
            <p:cNvSpPr>
              <a:spLocks noEditPoints="1"/>
            </p:cNvSpPr>
            <p:nvPr/>
          </p:nvSpPr>
          <p:spPr bwMode="auto">
            <a:xfrm>
              <a:off x="3092450" y="838200"/>
              <a:ext cx="2962275" cy="2598738"/>
            </a:xfrm>
            <a:custGeom>
              <a:avLst/>
              <a:gdLst>
                <a:gd name="T0" fmla="*/ 558 w 787"/>
                <a:gd name="T1" fmla="*/ 0 h 690"/>
                <a:gd name="T2" fmla="*/ 367 w 787"/>
                <a:gd name="T3" fmla="*/ 151 h 690"/>
                <a:gd name="T4" fmla="*/ 307 w 787"/>
                <a:gd name="T5" fmla="*/ 180 h 690"/>
                <a:gd name="T6" fmla="*/ 170 w 787"/>
                <a:gd name="T7" fmla="*/ 142 h 690"/>
                <a:gd name="T8" fmla="*/ 103 w 787"/>
                <a:gd name="T9" fmla="*/ 186 h 690"/>
                <a:gd name="T10" fmla="*/ 58 w 787"/>
                <a:gd name="T11" fmla="*/ 264 h 690"/>
                <a:gd name="T12" fmla="*/ 1 w 787"/>
                <a:gd name="T13" fmla="*/ 353 h 690"/>
                <a:gd name="T14" fmla="*/ 545 w 787"/>
                <a:gd name="T15" fmla="*/ 690 h 690"/>
                <a:gd name="T16" fmla="*/ 778 w 787"/>
                <a:gd name="T17" fmla="*/ 329 h 690"/>
                <a:gd name="T18" fmla="*/ 625 w 787"/>
                <a:gd name="T19" fmla="*/ 266 h 690"/>
                <a:gd name="T20" fmla="*/ 584 w 787"/>
                <a:gd name="T21" fmla="*/ 305 h 690"/>
                <a:gd name="T22" fmla="*/ 582 w 787"/>
                <a:gd name="T23" fmla="*/ 263 h 690"/>
                <a:gd name="T24" fmla="*/ 620 w 787"/>
                <a:gd name="T25" fmla="*/ 250 h 690"/>
                <a:gd name="T26" fmla="*/ 649 w 787"/>
                <a:gd name="T27" fmla="*/ 230 h 690"/>
                <a:gd name="T28" fmla="*/ 673 w 787"/>
                <a:gd name="T29" fmla="*/ 199 h 690"/>
                <a:gd name="T30" fmla="*/ 744 w 787"/>
                <a:gd name="T31" fmla="*/ 252 h 690"/>
                <a:gd name="T32" fmla="*/ 654 w 787"/>
                <a:gd name="T33" fmla="*/ 178 h 690"/>
                <a:gd name="T34" fmla="*/ 637 w 787"/>
                <a:gd name="T35" fmla="*/ 204 h 690"/>
                <a:gd name="T36" fmla="*/ 615 w 787"/>
                <a:gd name="T37" fmla="*/ 223 h 690"/>
                <a:gd name="T38" fmla="*/ 588 w 787"/>
                <a:gd name="T39" fmla="*/ 235 h 690"/>
                <a:gd name="T40" fmla="*/ 567 w 787"/>
                <a:gd name="T41" fmla="*/ 238 h 690"/>
                <a:gd name="T42" fmla="*/ 534 w 787"/>
                <a:gd name="T43" fmla="*/ 196 h 690"/>
                <a:gd name="T44" fmla="*/ 511 w 787"/>
                <a:gd name="T45" fmla="*/ 161 h 690"/>
                <a:gd name="T46" fmla="*/ 478 w 787"/>
                <a:gd name="T47" fmla="*/ 148 h 690"/>
                <a:gd name="T48" fmla="*/ 454 w 787"/>
                <a:gd name="T49" fmla="*/ 153 h 690"/>
                <a:gd name="T50" fmla="*/ 356 w 787"/>
                <a:gd name="T51" fmla="*/ 175 h 690"/>
                <a:gd name="T52" fmla="*/ 457 w 787"/>
                <a:gd name="T53" fmla="*/ 180 h 690"/>
                <a:gd name="T54" fmla="*/ 479 w 787"/>
                <a:gd name="T55" fmla="*/ 175 h 690"/>
                <a:gd name="T56" fmla="*/ 539 w 787"/>
                <a:gd name="T57" fmla="*/ 227 h 690"/>
                <a:gd name="T58" fmla="*/ 542 w 787"/>
                <a:gd name="T59" fmla="*/ 278 h 690"/>
                <a:gd name="T60" fmla="*/ 554 w 787"/>
                <a:gd name="T61" fmla="*/ 305 h 690"/>
                <a:gd name="T62" fmla="*/ 540 w 787"/>
                <a:gd name="T63" fmla="*/ 319 h 690"/>
                <a:gd name="T64" fmla="*/ 372 w 787"/>
                <a:gd name="T65" fmla="*/ 297 h 690"/>
                <a:gd name="T66" fmla="*/ 349 w 787"/>
                <a:gd name="T67" fmla="*/ 252 h 690"/>
                <a:gd name="T68" fmla="*/ 354 w 787"/>
                <a:gd name="T69" fmla="*/ 223 h 690"/>
                <a:gd name="T70" fmla="*/ 345 w 787"/>
                <a:gd name="T71" fmla="*/ 207 h 690"/>
                <a:gd name="T72" fmla="*/ 316 w 787"/>
                <a:gd name="T73" fmla="*/ 60 h 690"/>
                <a:gd name="T74" fmla="*/ 198 w 787"/>
                <a:gd name="T75" fmla="*/ 194 h 690"/>
                <a:gd name="T76" fmla="*/ 187 w 787"/>
                <a:gd name="T77" fmla="*/ 174 h 690"/>
                <a:gd name="T78" fmla="*/ 64 w 787"/>
                <a:gd name="T79" fmla="*/ 297 h 690"/>
                <a:gd name="T80" fmla="*/ 91 w 787"/>
                <a:gd name="T81" fmla="*/ 222 h 690"/>
                <a:gd name="T82" fmla="*/ 149 w 787"/>
                <a:gd name="T83" fmla="*/ 177 h 690"/>
                <a:gd name="T84" fmla="*/ 166 w 787"/>
                <a:gd name="T85" fmla="*/ 197 h 690"/>
                <a:gd name="T86" fmla="*/ 194 w 787"/>
                <a:gd name="T87" fmla="*/ 222 h 690"/>
                <a:gd name="T88" fmla="*/ 222 w 787"/>
                <a:gd name="T89" fmla="*/ 225 h 690"/>
                <a:gd name="T90" fmla="*/ 319 w 787"/>
                <a:gd name="T91" fmla="*/ 222 h 690"/>
                <a:gd name="T92" fmla="*/ 328 w 787"/>
                <a:gd name="T93" fmla="*/ 231 h 690"/>
                <a:gd name="T94" fmla="*/ 337 w 787"/>
                <a:gd name="T95" fmla="*/ 286 h 690"/>
                <a:gd name="T96" fmla="*/ 342 w 787"/>
                <a:gd name="T97" fmla="*/ 305 h 690"/>
                <a:gd name="T98" fmla="*/ 327 w 787"/>
                <a:gd name="T99" fmla="*/ 319 h 690"/>
                <a:gd name="T100" fmla="*/ 548 w 787"/>
                <a:gd name="T101" fmla="*/ 662 h 690"/>
                <a:gd name="T102" fmla="*/ 203 w 787"/>
                <a:gd name="T103" fmla="*/ 555 h 690"/>
                <a:gd name="T104" fmla="*/ 760 w 787"/>
                <a:gd name="T105" fmla="*/ 351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7" h="690">
                  <a:moveTo>
                    <a:pt x="778" y="329"/>
                  </a:moveTo>
                  <a:cubicBezTo>
                    <a:pt x="772" y="322"/>
                    <a:pt x="764" y="319"/>
                    <a:pt x="755" y="319"/>
                  </a:cubicBezTo>
                  <a:cubicBezTo>
                    <a:pt x="752" y="319"/>
                    <a:pt x="752" y="319"/>
                    <a:pt x="752" y="319"/>
                  </a:cubicBezTo>
                  <a:cubicBezTo>
                    <a:pt x="764" y="299"/>
                    <a:pt x="770" y="276"/>
                    <a:pt x="770" y="252"/>
                  </a:cubicBezTo>
                  <a:cubicBezTo>
                    <a:pt x="770" y="199"/>
                    <a:pt x="739" y="152"/>
                    <a:pt x="691" y="131"/>
                  </a:cubicBezTo>
                  <a:cubicBezTo>
                    <a:pt x="690" y="59"/>
                    <a:pt x="631" y="0"/>
                    <a:pt x="558" y="0"/>
                  </a:cubicBezTo>
                  <a:cubicBezTo>
                    <a:pt x="486" y="0"/>
                    <a:pt x="427" y="59"/>
                    <a:pt x="426" y="131"/>
                  </a:cubicBezTo>
                  <a:cubicBezTo>
                    <a:pt x="423" y="130"/>
                    <a:pt x="420" y="130"/>
                    <a:pt x="417" y="130"/>
                  </a:cubicBezTo>
                  <a:cubicBezTo>
                    <a:pt x="406" y="130"/>
                    <a:pt x="394" y="136"/>
                    <a:pt x="388" y="145"/>
                  </a:cubicBezTo>
                  <a:cubicBezTo>
                    <a:pt x="384" y="150"/>
                    <a:pt x="384" y="150"/>
                    <a:pt x="384" y="150"/>
                  </a:cubicBezTo>
                  <a:cubicBezTo>
                    <a:pt x="382" y="154"/>
                    <a:pt x="377" y="155"/>
                    <a:pt x="372" y="153"/>
                  </a:cubicBezTo>
                  <a:cubicBezTo>
                    <a:pt x="367" y="151"/>
                    <a:pt x="367" y="151"/>
                    <a:pt x="367" y="151"/>
                  </a:cubicBezTo>
                  <a:cubicBezTo>
                    <a:pt x="356" y="146"/>
                    <a:pt x="344" y="146"/>
                    <a:pt x="334" y="152"/>
                  </a:cubicBezTo>
                  <a:cubicBezTo>
                    <a:pt x="323" y="158"/>
                    <a:pt x="317" y="169"/>
                    <a:pt x="316" y="180"/>
                  </a:cubicBezTo>
                  <a:cubicBezTo>
                    <a:pt x="315" y="186"/>
                    <a:pt x="315" y="186"/>
                    <a:pt x="315" y="186"/>
                  </a:cubicBezTo>
                  <a:cubicBezTo>
                    <a:pt x="315" y="188"/>
                    <a:pt x="314" y="191"/>
                    <a:pt x="313" y="194"/>
                  </a:cubicBezTo>
                  <a:cubicBezTo>
                    <a:pt x="310" y="193"/>
                    <a:pt x="308" y="190"/>
                    <a:pt x="307" y="186"/>
                  </a:cubicBezTo>
                  <a:cubicBezTo>
                    <a:pt x="307" y="180"/>
                    <a:pt x="307" y="180"/>
                    <a:pt x="307" y="180"/>
                  </a:cubicBezTo>
                  <a:cubicBezTo>
                    <a:pt x="306" y="169"/>
                    <a:pt x="300" y="160"/>
                    <a:pt x="291" y="154"/>
                  </a:cubicBezTo>
                  <a:cubicBezTo>
                    <a:pt x="333" y="95"/>
                    <a:pt x="333" y="95"/>
                    <a:pt x="333" y="95"/>
                  </a:cubicBezTo>
                  <a:cubicBezTo>
                    <a:pt x="341" y="83"/>
                    <a:pt x="344" y="69"/>
                    <a:pt x="342" y="55"/>
                  </a:cubicBezTo>
                  <a:cubicBezTo>
                    <a:pt x="339" y="41"/>
                    <a:pt x="332" y="29"/>
                    <a:pt x="320" y="21"/>
                  </a:cubicBezTo>
                  <a:cubicBezTo>
                    <a:pt x="296" y="4"/>
                    <a:pt x="263" y="10"/>
                    <a:pt x="246" y="34"/>
                  </a:cubicBezTo>
                  <a:cubicBezTo>
                    <a:pt x="170" y="142"/>
                    <a:pt x="170" y="142"/>
                    <a:pt x="170" y="142"/>
                  </a:cubicBezTo>
                  <a:cubicBezTo>
                    <a:pt x="167" y="146"/>
                    <a:pt x="165" y="150"/>
                    <a:pt x="164" y="154"/>
                  </a:cubicBezTo>
                  <a:cubicBezTo>
                    <a:pt x="163" y="154"/>
                    <a:pt x="161" y="154"/>
                    <a:pt x="160" y="153"/>
                  </a:cubicBezTo>
                  <a:cubicBezTo>
                    <a:pt x="155" y="151"/>
                    <a:pt x="155" y="151"/>
                    <a:pt x="155" y="151"/>
                  </a:cubicBezTo>
                  <a:cubicBezTo>
                    <a:pt x="144" y="146"/>
                    <a:pt x="132" y="146"/>
                    <a:pt x="121" y="152"/>
                  </a:cubicBezTo>
                  <a:cubicBezTo>
                    <a:pt x="111" y="158"/>
                    <a:pt x="104" y="169"/>
                    <a:pt x="103" y="180"/>
                  </a:cubicBezTo>
                  <a:cubicBezTo>
                    <a:pt x="103" y="186"/>
                    <a:pt x="103" y="186"/>
                    <a:pt x="103" y="186"/>
                  </a:cubicBezTo>
                  <a:cubicBezTo>
                    <a:pt x="102" y="191"/>
                    <a:pt x="99" y="195"/>
                    <a:pt x="94" y="195"/>
                  </a:cubicBezTo>
                  <a:cubicBezTo>
                    <a:pt x="88" y="196"/>
                    <a:pt x="88" y="196"/>
                    <a:pt x="88" y="196"/>
                  </a:cubicBezTo>
                  <a:cubicBezTo>
                    <a:pt x="77" y="197"/>
                    <a:pt x="66" y="203"/>
                    <a:pt x="60" y="214"/>
                  </a:cubicBezTo>
                  <a:cubicBezTo>
                    <a:pt x="54" y="224"/>
                    <a:pt x="54" y="236"/>
                    <a:pt x="59" y="247"/>
                  </a:cubicBezTo>
                  <a:cubicBezTo>
                    <a:pt x="61" y="252"/>
                    <a:pt x="61" y="252"/>
                    <a:pt x="61" y="252"/>
                  </a:cubicBezTo>
                  <a:cubicBezTo>
                    <a:pt x="63" y="256"/>
                    <a:pt x="62" y="262"/>
                    <a:pt x="58" y="264"/>
                  </a:cubicBezTo>
                  <a:cubicBezTo>
                    <a:pt x="53" y="268"/>
                    <a:pt x="53" y="268"/>
                    <a:pt x="53" y="268"/>
                  </a:cubicBezTo>
                  <a:cubicBezTo>
                    <a:pt x="43" y="274"/>
                    <a:pt x="38" y="285"/>
                    <a:pt x="38" y="297"/>
                  </a:cubicBezTo>
                  <a:cubicBezTo>
                    <a:pt x="38" y="305"/>
                    <a:pt x="40" y="313"/>
                    <a:pt x="45" y="319"/>
                  </a:cubicBezTo>
                  <a:cubicBezTo>
                    <a:pt x="32" y="319"/>
                    <a:pt x="32" y="319"/>
                    <a:pt x="32" y="319"/>
                  </a:cubicBezTo>
                  <a:cubicBezTo>
                    <a:pt x="24" y="319"/>
                    <a:pt x="16" y="322"/>
                    <a:pt x="10" y="329"/>
                  </a:cubicBezTo>
                  <a:cubicBezTo>
                    <a:pt x="4" y="335"/>
                    <a:pt x="0" y="344"/>
                    <a:pt x="1" y="353"/>
                  </a:cubicBezTo>
                  <a:cubicBezTo>
                    <a:pt x="9" y="469"/>
                    <a:pt x="83" y="527"/>
                    <a:pt x="191" y="579"/>
                  </a:cubicBezTo>
                  <a:cubicBezTo>
                    <a:pt x="203" y="584"/>
                    <a:pt x="213" y="594"/>
                    <a:pt x="219" y="606"/>
                  </a:cubicBezTo>
                  <a:cubicBezTo>
                    <a:pt x="225" y="617"/>
                    <a:pt x="224" y="632"/>
                    <a:pt x="217" y="644"/>
                  </a:cubicBezTo>
                  <a:cubicBezTo>
                    <a:pt x="211" y="654"/>
                    <a:pt x="211" y="665"/>
                    <a:pt x="216" y="675"/>
                  </a:cubicBezTo>
                  <a:cubicBezTo>
                    <a:pt x="222" y="684"/>
                    <a:pt x="232" y="690"/>
                    <a:pt x="243" y="690"/>
                  </a:cubicBezTo>
                  <a:cubicBezTo>
                    <a:pt x="545" y="690"/>
                    <a:pt x="545" y="690"/>
                    <a:pt x="545" y="690"/>
                  </a:cubicBezTo>
                  <a:cubicBezTo>
                    <a:pt x="556" y="690"/>
                    <a:pt x="566" y="684"/>
                    <a:pt x="571" y="675"/>
                  </a:cubicBezTo>
                  <a:cubicBezTo>
                    <a:pt x="577" y="665"/>
                    <a:pt x="576" y="654"/>
                    <a:pt x="571" y="644"/>
                  </a:cubicBezTo>
                  <a:cubicBezTo>
                    <a:pt x="563" y="632"/>
                    <a:pt x="562" y="617"/>
                    <a:pt x="568" y="606"/>
                  </a:cubicBezTo>
                  <a:cubicBezTo>
                    <a:pt x="574" y="594"/>
                    <a:pt x="584" y="584"/>
                    <a:pt x="596" y="579"/>
                  </a:cubicBezTo>
                  <a:cubicBezTo>
                    <a:pt x="705" y="527"/>
                    <a:pt x="779" y="469"/>
                    <a:pt x="786" y="353"/>
                  </a:cubicBezTo>
                  <a:cubicBezTo>
                    <a:pt x="787" y="344"/>
                    <a:pt x="784" y="335"/>
                    <a:pt x="778" y="329"/>
                  </a:cubicBezTo>
                  <a:close/>
                  <a:moveTo>
                    <a:pt x="744" y="252"/>
                  </a:moveTo>
                  <a:cubicBezTo>
                    <a:pt x="744" y="277"/>
                    <a:pt x="736" y="300"/>
                    <a:pt x="720" y="319"/>
                  </a:cubicBezTo>
                  <a:cubicBezTo>
                    <a:pt x="651" y="319"/>
                    <a:pt x="651" y="319"/>
                    <a:pt x="651" y="319"/>
                  </a:cubicBezTo>
                  <a:cubicBezTo>
                    <a:pt x="651" y="266"/>
                    <a:pt x="651" y="266"/>
                    <a:pt x="651" y="266"/>
                  </a:cubicBezTo>
                  <a:cubicBezTo>
                    <a:pt x="651" y="258"/>
                    <a:pt x="645" y="252"/>
                    <a:pt x="638" y="252"/>
                  </a:cubicBezTo>
                  <a:cubicBezTo>
                    <a:pt x="630" y="252"/>
                    <a:pt x="625" y="258"/>
                    <a:pt x="625" y="266"/>
                  </a:cubicBezTo>
                  <a:cubicBezTo>
                    <a:pt x="625" y="319"/>
                    <a:pt x="625" y="319"/>
                    <a:pt x="625" y="319"/>
                  </a:cubicBezTo>
                  <a:cubicBezTo>
                    <a:pt x="578" y="319"/>
                    <a:pt x="578" y="319"/>
                    <a:pt x="578" y="319"/>
                  </a:cubicBezTo>
                  <a:cubicBezTo>
                    <a:pt x="579" y="317"/>
                    <a:pt x="580" y="316"/>
                    <a:pt x="581" y="314"/>
                  </a:cubicBezTo>
                  <a:cubicBezTo>
                    <a:pt x="581" y="314"/>
                    <a:pt x="581" y="314"/>
                    <a:pt x="581" y="314"/>
                  </a:cubicBezTo>
                  <a:cubicBezTo>
                    <a:pt x="582" y="312"/>
                    <a:pt x="583" y="309"/>
                    <a:pt x="583" y="307"/>
                  </a:cubicBezTo>
                  <a:cubicBezTo>
                    <a:pt x="583" y="306"/>
                    <a:pt x="584" y="306"/>
                    <a:pt x="584" y="305"/>
                  </a:cubicBezTo>
                  <a:cubicBezTo>
                    <a:pt x="584" y="302"/>
                    <a:pt x="585" y="300"/>
                    <a:pt x="585" y="297"/>
                  </a:cubicBezTo>
                  <a:cubicBezTo>
                    <a:pt x="585" y="285"/>
                    <a:pt x="579" y="274"/>
                    <a:pt x="569" y="268"/>
                  </a:cubicBezTo>
                  <a:cubicBezTo>
                    <a:pt x="566" y="265"/>
                    <a:pt x="566" y="265"/>
                    <a:pt x="566" y="265"/>
                  </a:cubicBezTo>
                  <a:cubicBezTo>
                    <a:pt x="567" y="265"/>
                    <a:pt x="568" y="265"/>
                    <a:pt x="569" y="265"/>
                  </a:cubicBezTo>
                  <a:cubicBezTo>
                    <a:pt x="571" y="265"/>
                    <a:pt x="573" y="265"/>
                    <a:pt x="574" y="265"/>
                  </a:cubicBezTo>
                  <a:cubicBezTo>
                    <a:pt x="577" y="264"/>
                    <a:pt x="579" y="264"/>
                    <a:pt x="582" y="263"/>
                  </a:cubicBezTo>
                  <a:cubicBezTo>
                    <a:pt x="583" y="263"/>
                    <a:pt x="585" y="263"/>
                    <a:pt x="586" y="263"/>
                  </a:cubicBezTo>
                  <a:cubicBezTo>
                    <a:pt x="589" y="262"/>
                    <a:pt x="592" y="261"/>
                    <a:pt x="595" y="260"/>
                  </a:cubicBezTo>
                  <a:cubicBezTo>
                    <a:pt x="596" y="260"/>
                    <a:pt x="597" y="260"/>
                    <a:pt x="598" y="259"/>
                  </a:cubicBezTo>
                  <a:cubicBezTo>
                    <a:pt x="602" y="258"/>
                    <a:pt x="606" y="257"/>
                    <a:pt x="609" y="255"/>
                  </a:cubicBezTo>
                  <a:cubicBezTo>
                    <a:pt x="610" y="255"/>
                    <a:pt x="611" y="254"/>
                    <a:pt x="612" y="254"/>
                  </a:cubicBezTo>
                  <a:cubicBezTo>
                    <a:pt x="615" y="253"/>
                    <a:pt x="618" y="252"/>
                    <a:pt x="620" y="250"/>
                  </a:cubicBezTo>
                  <a:cubicBezTo>
                    <a:pt x="622" y="249"/>
                    <a:pt x="623" y="249"/>
                    <a:pt x="624" y="248"/>
                  </a:cubicBezTo>
                  <a:cubicBezTo>
                    <a:pt x="626" y="247"/>
                    <a:pt x="628" y="245"/>
                    <a:pt x="630" y="244"/>
                  </a:cubicBezTo>
                  <a:cubicBezTo>
                    <a:pt x="632" y="243"/>
                    <a:pt x="633" y="242"/>
                    <a:pt x="635" y="241"/>
                  </a:cubicBezTo>
                  <a:cubicBezTo>
                    <a:pt x="636" y="240"/>
                    <a:pt x="638" y="239"/>
                    <a:pt x="640" y="237"/>
                  </a:cubicBezTo>
                  <a:cubicBezTo>
                    <a:pt x="641" y="236"/>
                    <a:pt x="643" y="235"/>
                    <a:pt x="644" y="234"/>
                  </a:cubicBezTo>
                  <a:cubicBezTo>
                    <a:pt x="646" y="233"/>
                    <a:pt x="647" y="231"/>
                    <a:pt x="649" y="230"/>
                  </a:cubicBezTo>
                  <a:cubicBezTo>
                    <a:pt x="650" y="228"/>
                    <a:pt x="652" y="227"/>
                    <a:pt x="653" y="226"/>
                  </a:cubicBezTo>
                  <a:cubicBezTo>
                    <a:pt x="654" y="224"/>
                    <a:pt x="656" y="223"/>
                    <a:pt x="657" y="221"/>
                  </a:cubicBezTo>
                  <a:cubicBezTo>
                    <a:pt x="660" y="218"/>
                    <a:pt x="662" y="215"/>
                    <a:pt x="665" y="212"/>
                  </a:cubicBezTo>
                  <a:cubicBezTo>
                    <a:pt x="665" y="211"/>
                    <a:pt x="666" y="210"/>
                    <a:pt x="667" y="209"/>
                  </a:cubicBezTo>
                  <a:cubicBezTo>
                    <a:pt x="669" y="206"/>
                    <a:pt x="670" y="204"/>
                    <a:pt x="671" y="202"/>
                  </a:cubicBezTo>
                  <a:cubicBezTo>
                    <a:pt x="672" y="201"/>
                    <a:pt x="672" y="200"/>
                    <a:pt x="673" y="199"/>
                  </a:cubicBezTo>
                  <a:cubicBezTo>
                    <a:pt x="675" y="197"/>
                    <a:pt x="676" y="194"/>
                    <a:pt x="677" y="192"/>
                  </a:cubicBezTo>
                  <a:cubicBezTo>
                    <a:pt x="677" y="191"/>
                    <a:pt x="678" y="190"/>
                    <a:pt x="678" y="189"/>
                  </a:cubicBezTo>
                  <a:cubicBezTo>
                    <a:pt x="680" y="186"/>
                    <a:pt x="681" y="184"/>
                    <a:pt x="682" y="181"/>
                  </a:cubicBezTo>
                  <a:cubicBezTo>
                    <a:pt x="682" y="180"/>
                    <a:pt x="682" y="180"/>
                    <a:pt x="682" y="179"/>
                  </a:cubicBezTo>
                  <a:cubicBezTo>
                    <a:pt x="685" y="173"/>
                    <a:pt x="687" y="166"/>
                    <a:pt x="688" y="159"/>
                  </a:cubicBezTo>
                  <a:cubicBezTo>
                    <a:pt x="722" y="177"/>
                    <a:pt x="744" y="213"/>
                    <a:pt x="744" y="252"/>
                  </a:cubicBezTo>
                  <a:close/>
                  <a:moveTo>
                    <a:pt x="558" y="27"/>
                  </a:moveTo>
                  <a:cubicBezTo>
                    <a:pt x="617" y="27"/>
                    <a:pt x="664" y="75"/>
                    <a:pt x="664" y="133"/>
                  </a:cubicBezTo>
                  <a:cubicBezTo>
                    <a:pt x="664" y="135"/>
                    <a:pt x="664" y="137"/>
                    <a:pt x="664" y="139"/>
                  </a:cubicBezTo>
                  <a:cubicBezTo>
                    <a:pt x="664" y="139"/>
                    <a:pt x="664" y="139"/>
                    <a:pt x="664" y="139"/>
                  </a:cubicBezTo>
                  <a:cubicBezTo>
                    <a:pt x="663" y="153"/>
                    <a:pt x="660" y="166"/>
                    <a:pt x="654" y="178"/>
                  </a:cubicBezTo>
                  <a:cubicBezTo>
                    <a:pt x="654" y="178"/>
                    <a:pt x="654" y="178"/>
                    <a:pt x="654" y="178"/>
                  </a:cubicBezTo>
                  <a:cubicBezTo>
                    <a:pt x="653" y="181"/>
                    <a:pt x="651" y="184"/>
                    <a:pt x="650" y="187"/>
                  </a:cubicBezTo>
                  <a:cubicBezTo>
                    <a:pt x="650" y="187"/>
                    <a:pt x="649" y="187"/>
                    <a:pt x="649" y="187"/>
                  </a:cubicBezTo>
                  <a:cubicBezTo>
                    <a:pt x="648" y="190"/>
                    <a:pt x="646" y="192"/>
                    <a:pt x="645" y="194"/>
                  </a:cubicBezTo>
                  <a:cubicBezTo>
                    <a:pt x="644" y="195"/>
                    <a:pt x="644" y="195"/>
                    <a:pt x="644" y="196"/>
                  </a:cubicBezTo>
                  <a:cubicBezTo>
                    <a:pt x="642" y="198"/>
                    <a:pt x="640" y="200"/>
                    <a:pt x="639" y="202"/>
                  </a:cubicBezTo>
                  <a:cubicBezTo>
                    <a:pt x="638" y="202"/>
                    <a:pt x="638" y="203"/>
                    <a:pt x="637" y="204"/>
                  </a:cubicBezTo>
                  <a:cubicBezTo>
                    <a:pt x="636" y="205"/>
                    <a:pt x="634" y="207"/>
                    <a:pt x="632" y="209"/>
                  </a:cubicBezTo>
                  <a:cubicBezTo>
                    <a:pt x="632" y="209"/>
                    <a:pt x="631" y="210"/>
                    <a:pt x="630" y="211"/>
                  </a:cubicBezTo>
                  <a:cubicBezTo>
                    <a:pt x="629" y="212"/>
                    <a:pt x="627" y="214"/>
                    <a:pt x="625" y="215"/>
                  </a:cubicBezTo>
                  <a:cubicBezTo>
                    <a:pt x="624" y="216"/>
                    <a:pt x="624" y="216"/>
                    <a:pt x="623" y="217"/>
                  </a:cubicBezTo>
                  <a:cubicBezTo>
                    <a:pt x="621" y="218"/>
                    <a:pt x="619" y="220"/>
                    <a:pt x="618" y="221"/>
                  </a:cubicBezTo>
                  <a:cubicBezTo>
                    <a:pt x="617" y="221"/>
                    <a:pt x="616" y="222"/>
                    <a:pt x="615" y="223"/>
                  </a:cubicBezTo>
                  <a:cubicBezTo>
                    <a:pt x="613" y="224"/>
                    <a:pt x="611" y="225"/>
                    <a:pt x="610" y="226"/>
                  </a:cubicBezTo>
                  <a:cubicBezTo>
                    <a:pt x="608" y="226"/>
                    <a:pt x="607" y="227"/>
                    <a:pt x="606" y="228"/>
                  </a:cubicBezTo>
                  <a:cubicBezTo>
                    <a:pt x="604" y="229"/>
                    <a:pt x="603" y="229"/>
                    <a:pt x="601" y="230"/>
                  </a:cubicBezTo>
                  <a:cubicBezTo>
                    <a:pt x="600" y="231"/>
                    <a:pt x="598" y="231"/>
                    <a:pt x="597" y="232"/>
                  </a:cubicBezTo>
                  <a:cubicBezTo>
                    <a:pt x="595" y="232"/>
                    <a:pt x="594" y="233"/>
                    <a:pt x="592" y="234"/>
                  </a:cubicBezTo>
                  <a:cubicBezTo>
                    <a:pt x="590" y="234"/>
                    <a:pt x="589" y="235"/>
                    <a:pt x="588" y="235"/>
                  </a:cubicBezTo>
                  <a:cubicBezTo>
                    <a:pt x="586" y="235"/>
                    <a:pt x="584" y="236"/>
                    <a:pt x="582" y="236"/>
                  </a:cubicBezTo>
                  <a:cubicBezTo>
                    <a:pt x="581" y="237"/>
                    <a:pt x="579" y="237"/>
                    <a:pt x="578" y="237"/>
                  </a:cubicBezTo>
                  <a:cubicBezTo>
                    <a:pt x="576" y="238"/>
                    <a:pt x="574" y="238"/>
                    <a:pt x="573" y="238"/>
                  </a:cubicBezTo>
                  <a:cubicBezTo>
                    <a:pt x="571" y="238"/>
                    <a:pt x="569" y="239"/>
                    <a:pt x="567" y="239"/>
                  </a:cubicBezTo>
                  <a:cubicBezTo>
                    <a:pt x="567" y="239"/>
                    <a:pt x="567" y="239"/>
                    <a:pt x="567" y="239"/>
                  </a:cubicBezTo>
                  <a:cubicBezTo>
                    <a:pt x="567" y="239"/>
                    <a:pt x="567" y="238"/>
                    <a:pt x="567" y="238"/>
                  </a:cubicBezTo>
                  <a:cubicBezTo>
                    <a:pt x="567" y="236"/>
                    <a:pt x="567" y="233"/>
                    <a:pt x="567" y="231"/>
                  </a:cubicBezTo>
                  <a:cubicBezTo>
                    <a:pt x="567" y="230"/>
                    <a:pt x="567" y="229"/>
                    <a:pt x="567" y="229"/>
                  </a:cubicBezTo>
                  <a:cubicBezTo>
                    <a:pt x="567" y="227"/>
                    <a:pt x="566" y="225"/>
                    <a:pt x="566" y="223"/>
                  </a:cubicBezTo>
                  <a:cubicBezTo>
                    <a:pt x="566" y="222"/>
                    <a:pt x="566" y="222"/>
                    <a:pt x="565" y="221"/>
                  </a:cubicBezTo>
                  <a:cubicBezTo>
                    <a:pt x="565" y="218"/>
                    <a:pt x="564" y="216"/>
                    <a:pt x="562" y="214"/>
                  </a:cubicBezTo>
                  <a:cubicBezTo>
                    <a:pt x="556" y="203"/>
                    <a:pt x="546" y="197"/>
                    <a:pt x="534" y="196"/>
                  </a:cubicBezTo>
                  <a:cubicBezTo>
                    <a:pt x="528" y="195"/>
                    <a:pt x="528" y="195"/>
                    <a:pt x="528" y="195"/>
                  </a:cubicBezTo>
                  <a:cubicBezTo>
                    <a:pt x="525" y="195"/>
                    <a:pt x="522" y="193"/>
                    <a:pt x="520" y="189"/>
                  </a:cubicBezTo>
                  <a:cubicBezTo>
                    <a:pt x="549" y="161"/>
                    <a:pt x="549" y="161"/>
                    <a:pt x="549" y="161"/>
                  </a:cubicBezTo>
                  <a:cubicBezTo>
                    <a:pt x="554" y="156"/>
                    <a:pt x="554" y="148"/>
                    <a:pt x="549" y="142"/>
                  </a:cubicBezTo>
                  <a:cubicBezTo>
                    <a:pt x="544" y="137"/>
                    <a:pt x="535" y="137"/>
                    <a:pt x="530" y="142"/>
                  </a:cubicBezTo>
                  <a:cubicBezTo>
                    <a:pt x="511" y="161"/>
                    <a:pt x="511" y="161"/>
                    <a:pt x="511" y="161"/>
                  </a:cubicBezTo>
                  <a:cubicBezTo>
                    <a:pt x="508" y="158"/>
                    <a:pt x="505" y="155"/>
                    <a:pt x="501" y="152"/>
                  </a:cubicBezTo>
                  <a:cubicBezTo>
                    <a:pt x="498" y="151"/>
                    <a:pt x="496" y="150"/>
                    <a:pt x="493" y="149"/>
                  </a:cubicBezTo>
                  <a:cubicBezTo>
                    <a:pt x="492" y="148"/>
                    <a:pt x="491" y="148"/>
                    <a:pt x="490" y="148"/>
                  </a:cubicBezTo>
                  <a:cubicBezTo>
                    <a:pt x="488" y="148"/>
                    <a:pt x="486" y="148"/>
                    <a:pt x="484" y="148"/>
                  </a:cubicBezTo>
                  <a:cubicBezTo>
                    <a:pt x="483" y="148"/>
                    <a:pt x="483" y="147"/>
                    <a:pt x="483" y="147"/>
                  </a:cubicBezTo>
                  <a:cubicBezTo>
                    <a:pt x="481" y="147"/>
                    <a:pt x="480" y="148"/>
                    <a:pt x="478" y="148"/>
                  </a:cubicBezTo>
                  <a:cubicBezTo>
                    <a:pt x="477" y="148"/>
                    <a:pt x="476" y="148"/>
                    <a:pt x="476" y="148"/>
                  </a:cubicBezTo>
                  <a:cubicBezTo>
                    <a:pt x="473" y="149"/>
                    <a:pt x="470" y="150"/>
                    <a:pt x="468" y="151"/>
                  </a:cubicBezTo>
                  <a:cubicBezTo>
                    <a:pt x="462" y="153"/>
                    <a:pt x="462" y="153"/>
                    <a:pt x="462" y="153"/>
                  </a:cubicBezTo>
                  <a:cubicBezTo>
                    <a:pt x="461" y="154"/>
                    <a:pt x="460" y="154"/>
                    <a:pt x="458" y="154"/>
                  </a:cubicBezTo>
                  <a:cubicBezTo>
                    <a:pt x="458" y="154"/>
                    <a:pt x="458" y="154"/>
                    <a:pt x="458" y="154"/>
                  </a:cubicBezTo>
                  <a:cubicBezTo>
                    <a:pt x="457" y="154"/>
                    <a:pt x="455" y="153"/>
                    <a:pt x="454" y="153"/>
                  </a:cubicBezTo>
                  <a:cubicBezTo>
                    <a:pt x="453" y="146"/>
                    <a:pt x="452" y="139"/>
                    <a:pt x="452" y="133"/>
                  </a:cubicBezTo>
                  <a:cubicBezTo>
                    <a:pt x="452" y="75"/>
                    <a:pt x="500" y="27"/>
                    <a:pt x="558" y="27"/>
                  </a:cubicBezTo>
                  <a:close/>
                  <a:moveTo>
                    <a:pt x="341" y="189"/>
                  </a:moveTo>
                  <a:cubicBezTo>
                    <a:pt x="342" y="183"/>
                    <a:pt x="342" y="183"/>
                    <a:pt x="342" y="183"/>
                  </a:cubicBezTo>
                  <a:cubicBezTo>
                    <a:pt x="342" y="180"/>
                    <a:pt x="344" y="177"/>
                    <a:pt x="347" y="175"/>
                  </a:cubicBezTo>
                  <a:cubicBezTo>
                    <a:pt x="350" y="174"/>
                    <a:pt x="353" y="173"/>
                    <a:pt x="356" y="175"/>
                  </a:cubicBezTo>
                  <a:cubicBezTo>
                    <a:pt x="361" y="177"/>
                    <a:pt x="361" y="177"/>
                    <a:pt x="361" y="177"/>
                  </a:cubicBezTo>
                  <a:cubicBezTo>
                    <a:pt x="377" y="185"/>
                    <a:pt x="396" y="180"/>
                    <a:pt x="406" y="165"/>
                  </a:cubicBezTo>
                  <a:cubicBezTo>
                    <a:pt x="409" y="161"/>
                    <a:pt x="409" y="161"/>
                    <a:pt x="409" y="161"/>
                  </a:cubicBezTo>
                  <a:cubicBezTo>
                    <a:pt x="413" y="155"/>
                    <a:pt x="422" y="155"/>
                    <a:pt x="425" y="161"/>
                  </a:cubicBezTo>
                  <a:cubicBezTo>
                    <a:pt x="429" y="165"/>
                    <a:pt x="429" y="165"/>
                    <a:pt x="429" y="165"/>
                  </a:cubicBezTo>
                  <a:cubicBezTo>
                    <a:pt x="435" y="175"/>
                    <a:pt x="446" y="180"/>
                    <a:pt x="457" y="180"/>
                  </a:cubicBezTo>
                  <a:cubicBezTo>
                    <a:pt x="458" y="180"/>
                    <a:pt x="458" y="180"/>
                    <a:pt x="458" y="180"/>
                  </a:cubicBezTo>
                  <a:cubicBezTo>
                    <a:pt x="459" y="180"/>
                    <a:pt x="461" y="180"/>
                    <a:pt x="462" y="180"/>
                  </a:cubicBezTo>
                  <a:cubicBezTo>
                    <a:pt x="463" y="180"/>
                    <a:pt x="464" y="180"/>
                    <a:pt x="465" y="180"/>
                  </a:cubicBezTo>
                  <a:cubicBezTo>
                    <a:pt x="466" y="180"/>
                    <a:pt x="467" y="180"/>
                    <a:pt x="468" y="179"/>
                  </a:cubicBezTo>
                  <a:cubicBezTo>
                    <a:pt x="470" y="179"/>
                    <a:pt x="472" y="178"/>
                    <a:pt x="474" y="177"/>
                  </a:cubicBezTo>
                  <a:cubicBezTo>
                    <a:pt x="479" y="175"/>
                    <a:pt x="479" y="175"/>
                    <a:pt x="479" y="175"/>
                  </a:cubicBezTo>
                  <a:cubicBezTo>
                    <a:pt x="482" y="173"/>
                    <a:pt x="485" y="174"/>
                    <a:pt x="488" y="175"/>
                  </a:cubicBezTo>
                  <a:cubicBezTo>
                    <a:pt x="491" y="177"/>
                    <a:pt x="492" y="180"/>
                    <a:pt x="493" y="183"/>
                  </a:cubicBezTo>
                  <a:cubicBezTo>
                    <a:pt x="493" y="189"/>
                    <a:pt x="493" y="189"/>
                    <a:pt x="493" y="189"/>
                  </a:cubicBezTo>
                  <a:cubicBezTo>
                    <a:pt x="495" y="206"/>
                    <a:pt x="509" y="220"/>
                    <a:pt x="526" y="221"/>
                  </a:cubicBezTo>
                  <a:cubicBezTo>
                    <a:pt x="532" y="222"/>
                    <a:pt x="532" y="222"/>
                    <a:pt x="532" y="222"/>
                  </a:cubicBezTo>
                  <a:cubicBezTo>
                    <a:pt x="535" y="222"/>
                    <a:pt x="538" y="224"/>
                    <a:pt x="539" y="227"/>
                  </a:cubicBezTo>
                  <a:cubicBezTo>
                    <a:pt x="541" y="230"/>
                    <a:pt x="541" y="233"/>
                    <a:pt x="540" y="236"/>
                  </a:cubicBezTo>
                  <a:cubicBezTo>
                    <a:pt x="537" y="241"/>
                    <a:pt x="537" y="241"/>
                    <a:pt x="537" y="241"/>
                  </a:cubicBezTo>
                  <a:cubicBezTo>
                    <a:pt x="537" y="241"/>
                    <a:pt x="537" y="241"/>
                    <a:pt x="537" y="242"/>
                  </a:cubicBezTo>
                  <a:cubicBezTo>
                    <a:pt x="532" y="253"/>
                    <a:pt x="533" y="265"/>
                    <a:pt x="539" y="274"/>
                  </a:cubicBezTo>
                  <a:cubicBezTo>
                    <a:pt x="539" y="274"/>
                    <a:pt x="539" y="275"/>
                    <a:pt x="539" y="275"/>
                  </a:cubicBezTo>
                  <a:cubicBezTo>
                    <a:pt x="540" y="276"/>
                    <a:pt x="541" y="277"/>
                    <a:pt x="542" y="278"/>
                  </a:cubicBezTo>
                  <a:cubicBezTo>
                    <a:pt x="542" y="279"/>
                    <a:pt x="542" y="279"/>
                    <a:pt x="543" y="280"/>
                  </a:cubicBezTo>
                  <a:cubicBezTo>
                    <a:pt x="544" y="281"/>
                    <a:pt x="544" y="281"/>
                    <a:pt x="545" y="282"/>
                  </a:cubicBezTo>
                  <a:cubicBezTo>
                    <a:pt x="546" y="284"/>
                    <a:pt x="548" y="285"/>
                    <a:pt x="549" y="286"/>
                  </a:cubicBezTo>
                  <a:cubicBezTo>
                    <a:pt x="554" y="289"/>
                    <a:pt x="554" y="289"/>
                    <a:pt x="554" y="289"/>
                  </a:cubicBezTo>
                  <a:cubicBezTo>
                    <a:pt x="557" y="291"/>
                    <a:pt x="558" y="294"/>
                    <a:pt x="558" y="297"/>
                  </a:cubicBezTo>
                  <a:cubicBezTo>
                    <a:pt x="558" y="300"/>
                    <a:pt x="557" y="303"/>
                    <a:pt x="554" y="305"/>
                  </a:cubicBezTo>
                  <a:cubicBezTo>
                    <a:pt x="549" y="309"/>
                    <a:pt x="549" y="309"/>
                    <a:pt x="549" y="309"/>
                  </a:cubicBezTo>
                  <a:cubicBezTo>
                    <a:pt x="549" y="309"/>
                    <a:pt x="549" y="309"/>
                    <a:pt x="549" y="309"/>
                  </a:cubicBezTo>
                  <a:cubicBezTo>
                    <a:pt x="547" y="310"/>
                    <a:pt x="546" y="311"/>
                    <a:pt x="544" y="313"/>
                  </a:cubicBezTo>
                  <a:cubicBezTo>
                    <a:pt x="544" y="313"/>
                    <a:pt x="543" y="314"/>
                    <a:pt x="543" y="315"/>
                  </a:cubicBezTo>
                  <a:cubicBezTo>
                    <a:pt x="542" y="316"/>
                    <a:pt x="541" y="317"/>
                    <a:pt x="541" y="318"/>
                  </a:cubicBezTo>
                  <a:cubicBezTo>
                    <a:pt x="540" y="318"/>
                    <a:pt x="540" y="318"/>
                    <a:pt x="540" y="319"/>
                  </a:cubicBezTo>
                  <a:cubicBezTo>
                    <a:pt x="365" y="319"/>
                    <a:pt x="365" y="319"/>
                    <a:pt x="365" y="319"/>
                  </a:cubicBezTo>
                  <a:cubicBezTo>
                    <a:pt x="366" y="317"/>
                    <a:pt x="367" y="316"/>
                    <a:pt x="368" y="314"/>
                  </a:cubicBezTo>
                  <a:cubicBezTo>
                    <a:pt x="368" y="314"/>
                    <a:pt x="368" y="314"/>
                    <a:pt x="368" y="314"/>
                  </a:cubicBezTo>
                  <a:cubicBezTo>
                    <a:pt x="370" y="312"/>
                    <a:pt x="370" y="309"/>
                    <a:pt x="371" y="307"/>
                  </a:cubicBezTo>
                  <a:cubicBezTo>
                    <a:pt x="371" y="306"/>
                    <a:pt x="371" y="306"/>
                    <a:pt x="372" y="305"/>
                  </a:cubicBezTo>
                  <a:cubicBezTo>
                    <a:pt x="372" y="302"/>
                    <a:pt x="372" y="300"/>
                    <a:pt x="372" y="297"/>
                  </a:cubicBezTo>
                  <a:cubicBezTo>
                    <a:pt x="372" y="296"/>
                    <a:pt x="372" y="294"/>
                    <a:pt x="372" y="292"/>
                  </a:cubicBezTo>
                  <a:cubicBezTo>
                    <a:pt x="372" y="291"/>
                    <a:pt x="372" y="290"/>
                    <a:pt x="371" y="289"/>
                  </a:cubicBezTo>
                  <a:cubicBezTo>
                    <a:pt x="370" y="285"/>
                    <a:pt x="369" y="281"/>
                    <a:pt x="366" y="278"/>
                  </a:cubicBezTo>
                  <a:cubicBezTo>
                    <a:pt x="364" y="274"/>
                    <a:pt x="361" y="270"/>
                    <a:pt x="357" y="268"/>
                  </a:cubicBezTo>
                  <a:cubicBezTo>
                    <a:pt x="352" y="264"/>
                    <a:pt x="352" y="264"/>
                    <a:pt x="352" y="264"/>
                  </a:cubicBezTo>
                  <a:cubicBezTo>
                    <a:pt x="349" y="262"/>
                    <a:pt x="347" y="256"/>
                    <a:pt x="349" y="252"/>
                  </a:cubicBezTo>
                  <a:cubicBezTo>
                    <a:pt x="352" y="247"/>
                    <a:pt x="352" y="247"/>
                    <a:pt x="352" y="247"/>
                  </a:cubicBezTo>
                  <a:cubicBezTo>
                    <a:pt x="353" y="244"/>
                    <a:pt x="354" y="242"/>
                    <a:pt x="354" y="239"/>
                  </a:cubicBezTo>
                  <a:cubicBezTo>
                    <a:pt x="354" y="238"/>
                    <a:pt x="354" y="237"/>
                    <a:pt x="354" y="237"/>
                  </a:cubicBezTo>
                  <a:cubicBezTo>
                    <a:pt x="355" y="235"/>
                    <a:pt x="355" y="233"/>
                    <a:pt x="355" y="231"/>
                  </a:cubicBezTo>
                  <a:cubicBezTo>
                    <a:pt x="355" y="230"/>
                    <a:pt x="355" y="229"/>
                    <a:pt x="354" y="228"/>
                  </a:cubicBezTo>
                  <a:cubicBezTo>
                    <a:pt x="354" y="226"/>
                    <a:pt x="354" y="225"/>
                    <a:pt x="354" y="223"/>
                  </a:cubicBezTo>
                  <a:cubicBezTo>
                    <a:pt x="353" y="222"/>
                    <a:pt x="353" y="221"/>
                    <a:pt x="353" y="220"/>
                  </a:cubicBezTo>
                  <a:cubicBezTo>
                    <a:pt x="352" y="219"/>
                    <a:pt x="352" y="218"/>
                    <a:pt x="352" y="217"/>
                  </a:cubicBezTo>
                  <a:cubicBezTo>
                    <a:pt x="352" y="217"/>
                    <a:pt x="351" y="216"/>
                    <a:pt x="351" y="216"/>
                  </a:cubicBezTo>
                  <a:cubicBezTo>
                    <a:pt x="351" y="215"/>
                    <a:pt x="350" y="214"/>
                    <a:pt x="350" y="214"/>
                  </a:cubicBezTo>
                  <a:cubicBezTo>
                    <a:pt x="349" y="212"/>
                    <a:pt x="348" y="211"/>
                    <a:pt x="348" y="210"/>
                  </a:cubicBezTo>
                  <a:cubicBezTo>
                    <a:pt x="347" y="209"/>
                    <a:pt x="346" y="208"/>
                    <a:pt x="345" y="207"/>
                  </a:cubicBezTo>
                  <a:cubicBezTo>
                    <a:pt x="344" y="206"/>
                    <a:pt x="342" y="204"/>
                    <a:pt x="340" y="203"/>
                  </a:cubicBezTo>
                  <a:cubicBezTo>
                    <a:pt x="340" y="202"/>
                    <a:pt x="339" y="202"/>
                    <a:pt x="339" y="201"/>
                  </a:cubicBezTo>
                  <a:cubicBezTo>
                    <a:pt x="340" y="197"/>
                    <a:pt x="341" y="193"/>
                    <a:pt x="341" y="189"/>
                  </a:cubicBezTo>
                  <a:close/>
                  <a:moveTo>
                    <a:pt x="268" y="49"/>
                  </a:moveTo>
                  <a:cubicBezTo>
                    <a:pt x="276" y="37"/>
                    <a:pt x="293" y="34"/>
                    <a:pt x="305" y="43"/>
                  </a:cubicBezTo>
                  <a:cubicBezTo>
                    <a:pt x="311" y="47"/>
                    <a:pt x="315" y="53"/>
                    <a:pt x="316" y="60"/>
                  </a:cubicBezTo>
                  <a:cubicBezTo>
                    <a:pt x="317" y="67"/>
                    <a:pt x="315" y="74"/>
                    <a:pt x="311" y="80"/>
                  </a:cubicBezTo>
                  <a:cubicBezTo>
                    <a:pt x="260" y="153"/>
                    <a:pt x="260" y="153"/>
                    <a:pt x="260" y="153"/>
                  </a:cubicBezTo>
                  <a:cubicBezTo>
                    <a:pt x="235" y="188"/>
                    <a:pt x="235" y="188"/>
                    <a:pt x="235" y="188"/>
                  </a:cubicBezTo>
                  <a:cubicBezTo>
                    <a:pt x="231" y="194"/>
                    <a:pt x="225" y="198"/>
                    <a:pt x="218" y="199"/>
                  </a:cubicBezTo>
                  <a:cubicBezTo>
                    <a:pt x="211" y="200"/>
                    <a:pt x="204" y="199"/>
                    <a:pt x="198" y="195"/>
                  </a:cubicBezTo>
                  <a:cubicBezTo>
                    <a:pt x="198" y="195"/>
                    <a:pt x="198" y="194"/>
                    <a:pt x="198" y="194"/>
                  </a:cubicBezTo>
                  <a:cubicBezTo>
                    <a:pt x="196" y="193"/>
                    <a:pt x="194" y="191"/>
                    <a:pt x="193" y="190"/>
                  </a:cubicBezTo>
                  <a:cubicBezTo>
                    <a:pt x="193" y="189"/>
                    <a:pt x="192" y="189"/>
                    <a:pt x="192" y="188"/>
                  </a:cubicBezTo>
                  <a:cubicBezTo>
                    <a:pt x="191" y="187"/>
                    <a:pt x="190" y="185"/>
                    <a:pt x="189" y="183"/>
                  </a:cubicBezTo>
                  <a:cubicBezTo>
                    <a:pt x="189" y="183"/>
                    <a:pt x="189" y="183"/>
                    <a:pt x="189" y="182"/>
                  </a:cubicBezTo>
                  <a:cubicBezTo>
                    <a:pt x="188" y="180"/>
                    <a:pt x="187" y="178"/>
                    <a:pt x="187" y="176"/>
                  </a:cubicBezTo>
                  <a:cubicBezTo>
                    <a:pt x="187" y="175"/>
                    <a:pt x="187" y="175"/>
                    <a:pt x="187" y="174"/>
                  </a:cubicBezTo>
                  <a:cubicBezTo>
                    <a:pt x="187" y="172"/>
                    <a:pt x="187" y="170"/>
                    <a:pt x="187" y="167"/>
                  </a:cubicBezTo>
                  <a:cubicBezTo>
                    <a:pt x="188" y="164"/>
                    <a:pt x="189" y="161"/>
                    <a:pt x="192" y="158"/>
                  </a:cubicBezTo>
                  <a:lnTo>
                    <a:pt x="268" y="49"/>
                  </a:lnTo>
                  <a:close/>
                  <a:moveTo>
                    <a:pt x="73" y="309"/>
                  </a:moveTo>
                  <a:cubicBezTo>
                    <a:pt x="68" y="305"/>
                    <a:pt x="68" y="305"/>
                    <a:pt x="68" y="305"/>
                  </a:cubicBezTo>
                  <a:cubicBezTo>
                    <a:pt x="66" y="303"/>
                    <a:pt x="64" y="300"/>
                    <a:pt x="64" y="297"/>
                  </a:cubicBezTo>
                  <a:cubicBezTo>
                    <a:pt x="64" y="294"/>
                    <a:pt x="66" y="291"/>
                    <a:pt x="68" y="289"/>
                  </a:cubicBezTo>
                  <a:cubicBezTo>
                    <a:pt x="73" y="286"/>
                    <a:pt x="73" y="286"/>
                    <a:pt x="73" y="286"/>
                  </a:cubicBezTo>
                  <a:cubicBezTo>
                    <a:pt x="87" y="276"/>
                    <a:pt x="92" y="257"/>
                    <a:pt x="85" y="241"/>
                  </a:cubicBezTo>
                  <a:cubicBezTo>
                    <a:pt x="83" y="236"/>
                    <a:pt x="83" y="236"/>
                    <a:pt x="83" y="236"/>
                  </a:cubicBezTo>
                  <a:cubicBezTo>
                    <a:pt x="81" y="233"/>
                    <a:pt x="81" y="230"/>
                    <a:pt x="83" y="227"/>
                  </a:cubicBezTo>
                  <a:cubicBezTo>
                    <a:pt x="85" y="224"/>
                    <a:pt x="87" y="222"/>
                    <a:pt x="91" y="222"/>
                  </a:cubicBezTo>
                  <a:cubicBezTo>
                    <a:pt x="96" y="221"/>
                    <a:pt x="96" y="221"/>
                    <a:pt x="96" y="221"/>
                  </a:cubicBezTo>
                  <a:cubicBezTo>
                    <a:pt x="114" y="220"/>
                    <a:pt x="128" y="206"/>
                    <a:pt x="129" y="189"/>
                  </a:cubicBezTo>
                  <a:cubicBezTo>
                    <a:pt x="130" y="183"/>
                    <a:pt x="130" y="183"/>
                    <a:pt x="130" y="183"/>
                  </a:cubicBezTo>
                  <a:cubicBezTo>
                    <a:pt x="130" y="180"/>
                    <a:pt x="132" y="177"/>
                    <a:pt x="135" y="175"/>
                  </a:cubicBezTo>
                  <a:cubicBezTo>
                    <a:pt x="137" y="174"/>
                    <a:pt x="141" y="173"/>
                    <a:pt x="144" y="175"/>
                  </a:cubicBezTo>
                  <a:cubicBezTo>
                    <a:pt x="149" y="177"/>
                    <a:pt x="149" y="177"/>
                    <a:pt x="149" y="177"/>
                  </a:cubicBezTo>
                  <a:cubicBezTo>
                    <a:pt x="153" y="179"/>
                    <a:pt x="157" y="180"/>
                    <a:pt x="161" y="180"/>
                  </a:cubicBezTo>
                  <a:cubicBezTo>
                    <a:pt x="161" y="181"/>
                    <a:pt x="161" y="181"/>
                    <a:pt x="161" y="181"/>
                  </a:cubicBezTo>
                  <a:cubicBezTo>
                    <a:pt x="161" y="181"/>
                    <a:pt x="161" y="182"/>
                    <a:pt x="161" y="182"/>
                  </a:cubicBezTo>
                  <a:cubicBezTo>
                    <a:pt x="161" y="183"/>
                    <a:pt x="162" y="185"/>
                    <a:pt x="162" y="186"/>
                  </a:cubicBezTo>
                  <a:cubicBezTo>
                    <a:pt x="163" y="188"/>
                    <a:pt x="163" y="190"/>
                    <a:pt x="164" y="191"/>
                  </a:cubicBezTo>
                  <a:cubicBezTo>
                    <a:pt x="164" y="193"/>
                    <a:pt x="165" y="195"/>
                    <a:pt x="166" y="197"/>
                  </a:cubicBezTo>
                  <a:cubicBezTo>
                    <a:pt x="167" y="198"/>
                    <a:pt x="167" y="200"/>
                    <a:pt x="168" y="201"/>
                  </a:cubicBezTo>
                  <a:cubicBezTo>
                    <a:pt x="169" y="203"/>
                    <a:pt x="171" y="205"/>
                    <a:pt x="173" y="207"/>
                  </a:cubicBezTo>
                  <a:cubicBezTo>
                    <a:pt x="173" y="207"/>
                    <a:pt x="174" y="208"/>
                    <a:pt x="175" y="209"/>
                  </a:cubicBezTo>
                  <a:cubicBezTo>
                    <a:pt x="177" y="212"/>
                    <a:pt x="180" y="214"/>
                    <a:pt x="183" y="216"/>
                  </a:cubicBezTo>
                  <a:cubicBezTo>
                    <a:pt x="185" y="218"/>
                    <a:pt x="188" y="220"/>
                    <a:pt x="191" y="221"/>
                  </a:cubicBezTo>
                  <a:cubicBezTo>
                    <a:pt x="192" y="221"/>
                    <a:pt x="193" y="222"/>
                    <a:pt x="194" y="222"/>
                  </a:cubicBezTo>
                  <a:cubicBezTo>
                    <a:pt x="196" y="223"/>
                    <a:pt x="198" y="223"/>
                    <a:pt x="200" y="224"/>
                  </a:cubicBezTo>
                  <a:cubicBezTo>
                    <a:pt x="201" y="224"/>
                    <a:pt x="202" y="225"/>
                    <a:pt x="203" y="225"/>
                  </a:cubicBezTo>
                  <a:cubicBezTo>
                    <a:pt x="205" y="225"/>
                    <a:pt x="208" y="225"/>
                    <a:pt x="210" y="226"/>
                  </a:cubicBezTo>
                  <a:cubicBezTo>
                    <a:pt x="211" y="226"/>
                    <a:pt x="212" y="226"/>
                    <a:pt x="212" y="226"/>
                  </a:cubicBezTo>
                  <a:cubicBezTo>
                    <a:pt x="213" y="226"/>
                    <a:pt x="213" y="226"/>
                    <a:pt x="213" y="226"/>
                  </a:cubicBezTo>
                  <a:cubicBezTo>
                    <a:pt x="216" y="226"/>
                    <a:pt x="219" y="226"/>
                    <a:pt x="222" y="225"/>
                  </a:cubicBezTo>
                  <a:cubicBezTo>
                    <a:pt x="236" y="223"/>
                    <a:pt x="248" y="215"/>
                    <a:pt x="257" y="203"/>
                  </a:cubicBezTo>
                  <a:cubicBezTo>
                    <a:pt x="276" y="176"/>
                    <a:pt x="276" y="176"/>
                    <a:pt x="276" y="176"/>
                  </a:cubicBezTo>
                  <a:cubicBezTo>
                    <a:pt x="278" y="177"/>
                    <a:pt x="280" y="180"/>
                    <a:pt x="280" y="183"/>
                  </a:cubicBezTo>
                  <a:cubicBezTo>
                    <a:pt x="281" y="189"/>
                    <a:pt x="281" y="189"/>
                    <a:pt x="281" y="189"/>
                  </a:cubicBezTo>
                  <a:cubicBezTo>
                    <a:pt x="282" y="206"/>
                    <a:pt x="296" y="220"/>
                    <a:pt x="314" y="221"/>
                  </a:cubicBezTo>
                  <a:cubicBezTo>
                    <a:pt x="319" y="222"/>
                    <a:pt x="319" y="222"/>
                    <a:pt x="319" y="222"/>
                  </a:cubicBezTo>
                  <a:cubicBezTo>
                    <a:pt x="321" y="222"/>
                    <a:pt x="322" y="223"/>
                    <a:pt x="323" y="223"/>
                  </a:cubicBezTo>
                  <a:cubicBezTo>
                    <a:pt x="323" y="223"/>
                    <a:pt x="324" y="224"/>
                    <a:pt x="324" y="224"/>
                  </a:cubicBezTo>
                  <a:cubicBezTo>
                    <a:pt x="325" y="224"/>
                    <a:pt x="326" y="225"/>
                    <a:pt x="326" y="226"/>
                  </a:cubicBezTo>
                  <a:cubicBezTo>
                    <a:pt x="327" y="226"/>
                    <a:pt x="327" y="227"/>
                    <a:pt x="327" y="227"/>
                  </a:cubicBezTo>
                  <a:cubicBezTo>
                    <a:pt x="328" y="228"/>
                    <a:pt x="328" y="230"/>
                    <a:pt x="328" y="231"/>
                  </a:cubicBezTo>
                  <a:cubicBezTo>
                    <a:pt x="328" y="231"/>
                    <a:pt x="328" y="231"/>
                    <a:pt x="328" y="231"/>
                  </a:cubicBezTo>
                  <a:cubicBezTo>
                    <a:pt x="328" y="233"/>
                    <a:pt x="328" y="234"/>
                    <a:pt x="327" y="236"/>
                  </a:cubicBezTo>
                  <a:cubicBezTo>
                    <a:pt x="325" y="241"/>
                    <a:pt x="325" y="241"/>
                    <a:pt x="325" y="241"/>
                  </a:cubicBezTo>
                  <a:cubicBezTo>
                    <a:pt x="322" y="247"/>
                    <a:pt x="321" y="253"/>
                    <a:pt x="322" y="260"/>
                  </a:cubicBezTo>
                  <a:cubicBezTo>
                    <a:pt x="322" y="260"/>
                    <a:pt x="322" y="260"/>
                    <a:pt x="322" y="260"/>
                  </a:cubicBezTo>
                  <a:cubicBezTo>
                    <a:pt x="322" y="262"/>
                    <a:pt x="322" y="264"/>
                    <a:pt x="323" y="266"/>
                  </a:cubicBezTo>
                  <a:cubicBezTo>
                    <a:pt x="325" y="274"/>
                    <a:pt x="330" y="281"/>
                    <a:pt x="337" y="286"/>
                  </a:cubicBezTo>
                  <a:cubicBezTo>
                    <a:pt x="340" y="288"/>
                    <a:pt x="340" y="288"/>
                    <a:pt x="340" y="288"/>
                  </a:cubicBezTo>
                  <a:cubicBezTo>
                    <a:pt x="342" y="289"/>
                    <a:pt x="342" y="289"/>
                    <a:pt x="342" y="289"/>
                  </a:cubicBezTo>
                  <a:cubicBezTo>
                    <a:pt x="344" y="291"/>
                    <a:pt x="346" y="294"/>
                    <a:pt x="346" y="297"/>
                  </a:cubicBezTo>
                  <a:cubicBezTo>
                    <a:pt x="346" y="299"/>
                    <a:pt x="346" y="300"/>
                    <a:pt x="345" y="302"/>
                  </a:cubicBezTo>
                  <a:cubicBezTo>
                    <a:pt x="345" y="302"/>
                    <a:pt x="344" y="302"/>
                    <a:pt x="344" y="303"/>
                  </a:cubicBezTo>
                  <a:cubicBezTo>
                    <a:pt x="343" y="304"/>
                    <a:pt x="343" y="305"/>
                    <a:pt x="342" y="305"/>
                  </a:cubicBezTo>
                  <a:cubicBezTo>
                    <a:pt x="342" y="305"/>
                    <a:pt x="342" y="305"/>
                    <a:pt x="342" y="305"/>
                  </a:cubicBezTo>
                  <a:cubicBezTo>
                    <a:pt x="337" y="309"/>
                    <a:pt x="337" y="309"/>
                    <a:pt x="337" y="309"/>
                  </a:cubicBezTo>
                  <a:cubicBezTo>
                    <a:pt x="335" y="310"/>
                    <a:pt x="334" y="311"/>
                    <a:pt x="332" y="313"/>
                  </a:cubicBezTo>
                  <a:cubicBezTo>
                    <a:pt x="332" y="313"/>
                    <a:pt x="331" y="314"/>
                    <a:pt x="331" y="314"/>
                  </a:cubicBezTo>
                  <a:cubicBezTo>
                    <a:pt x="330" y="316"/>
                    <a:pt x="329" y="317"/>
                    <a:pt x="328" y="318"/>
                  </a:cubicBezTo>
                  <a:cubicBezTo>
                    <a:pt x="328" y="318"/>
                    <a:pt x="328" y="319"/>
                    <a:pt x="327" y="319"/>
                  </a:cubicBezTo>
                  <a:cubicBezTo>
                    <a:pt x="83" y="319"/>
                    <a:pt x="83" y="319"/>
                    <a:pt x="83" y="319"/>
                  </a:cubicBezTo>
                  <a:cubicBezTo>
                    <a:pt x="80" y="315"/>
                    <a:pt x="77" y="311"/>
                    <a:pt x="73" y="309"/>
                  </a:cubicBezTo>
                  <a:close/>
                  <a:moveTo>
                    <a:pt x="585" y="555"/>
                  </a:moveTo>
                  <a:cubicBezTo>
                    <a:pt x="568" y="563"/>
                    <a:pt x="553" y="577"/>
                    <a:pt x="545" y="594"/>
                  </a:cubicBezTo>
                  <a:cubicBezTo>
                    <a:pt x="535" y="613"/>
                    <a:pt x="536" y="638"/>
                    <a:pt x="548" y="658"/>
                  </a:cubicBezTo>
                  <a:cubicBezTo>
                    <a:pt x="549" y="660"/>
                    <a:pt x="549" y="661"/>
                    <a:pt x="548" y="662"/>
                  </a:cubicBezTo>
                  <a:cubicBezTo>
                    <a:pt x="548" y="663"/>
                    <a:pt x="547" y="664"/>
                    <a:pt x="545" y="664"/>
                  </a:cubicBezTo>
                  <a:cubicBezTo>
                    <a:pt x="243" y="664"/>
                    <a:pt x="243" y="664"/>
                    <a:pt x="243" y="664"/>
                  </a:cubicBezTo>
                  <a:cubicBezTo>
                    <a:pt x="241" y="664"/>
                    <a:pt x="240" y="663"/>
                    <a:pt x="239" y="662"/>
                  </a:cubicBezTo>
                  <a:cubicBezTo>
                    <a:pt x="239" y="661"/>
                    <a:pt x="239" y="660"/>
                    <a:pt x="240" y="658"/>
                  </a:cubicBezTo>
                  <a:cubicBezTo>
                    <a:pt x="252" y="638"/>
                    <a:pt x="253" y="613"/>
                    <a:pt x="243" y="594"/>
                  </a:cubicBezTo>
                  <a:cubicBezTo>
                    <a:pt x="234" y="577"/>
                    <a:pt x="220" y="563"/>
                    <a:pt x="203" y="555"/>
                  </a:cubicBezTo>
                  <a:cubicBezTo>
                    <a:pt x="100" y="506"/>
                    <a:pt x="35" y="454"/>
                    <a:pt x="28" y="351"/>
                  </a:cubicBezTo>
                  <a:cubicBezTo>
                    <a:pt x="27" y="349"/>
                    <a:pt x="28" y="347"/>
                    <a:pt x="29" y="347"/>
                  </a:cubicBezTo>
                  <a:cubicBezTo>
                    <a:pt x="30" y="346"/>
                    <a:pt x="31" y="345"/>
                    <a:pt x="32" y="345"/>
                  </a:cubicBezTo>
                  <a:cubicBezTo>
                    <a:pt x="755" y="345"/>
                    <a:pt x="755" y="345"/>
                    <a:pt x="755" y="345"/>
                  </a:cubicBezTo>
                  <a:cubicBezTo>
                    <a:pt x="757" y="345"/>
                    <a:pt x="758" y="346"/>
                    <a:pt x="759" y="347"/>
                  </a:cubicBezTo>
                  <a:cubicBezTo>
                    <a:pt x="759" y="347"/>
                    <a:pt x="760" y="349"/>
                    <a:pt x="760" y="351"/>
                  </a:cubicBezTo>
                  <a:cubicBezTo>
                    <a:pt x="753" y="454"/>
                    <a:pt x="688" y="506"/>
                    <a:pt x="585" y="555"/>
                  </a:cubicBezTo>
                  <a:close/>
                  <a:moveTo>
                    <a:pt x="585" y="555"/>
                  </a:moveTo>
                  <a:cubicBezTo>
                    <a:pt x="585" y="555"/>
                    <a:pt x="585" y="555"/>
                    <a:pt x="585" y="5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6" name="Freeform 10">
              <a:extLst>
                <a:ext uri="{FF2B5EF4-FFF2-40B4-BE49-F238E27FC236}">
                  <a16:creationId xmlns:a16="http://schemas.microsoft.com/office/drawing/2014/main" id="{0194CE33-7A71-4474-B8A5-F8653DDEFCB2}"/>
                </a:ext>
              </a:extLst>
            </p:cNvPr>
            <p:cNvSpPr>
              <a:spLocks noEditPoints="1"/>
            </p:cNvSpPr>
            <p:nvPr/>
          </p:nvSpPr>
          <p:spPr bwMode="auto">
            <a:xfrm>
              <a:off x="4459288" y="2987675"/>
              <a:ext cx="534988" cy="98425"/>
            </a:xfrm>
            <a:custGeom>
              <a:avLst/>
              <a:gdLst>
                <a:gd name="T0" fmla="*/ 129 w 142"/>
                <a:gd name="T1" fmla="*/ 0 h 26"/>
                <a:gd name="T2" fmla="*/ 13 w 142"/>
                <a:gd name="T3" fmla="*/ 0 h 26"/>
                <a:gd name="T4" fmla="*/ 0 w 142"/>
                <a:gd name="T5" fmla="*/ 13 h 26"/>
                <a:gd name="T6" fmla="*/ 13 w 142"/>
                <a:gd name="T7" fmla="*/ 26 h 26"/>
                <a:gd name="T8" fmla="*/ 129 w 142"/>
                <a:gd name="T9" fmla="*/ 26 h 26"/>
                <a:gd name="T10" fmla="*/ 142 w 142"/>
                <a:gd name="T11" fmla="*/ 13 h 26"/>
                <a:gd name="T12" fmla="*/ 129 w 142"/>
                <a:gd name="T13" fmla="*/ 0 h 26"/>
                <a:gd name="T14" fmla="*/ 129 w 142"/>
                <a:gd name="T15" fmla="*/ 0 h 26"/>
                <a:gd name="T16" fmla="*/ 129 w 142"/>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26">
                  <a:moveTo>
                    <a:pt x="129" y="0"/>
                  </a:moveTo>
                  <a:cubicBezTo>
                    <a:pt x="13" y="0"/>
                    <a:pt x="13" y="0"/>
                    <a:pt x="13" y="0"/>
                  </a:cubicBezTo>
                  <a:cubicBezTo>
                    <a:pt x="6" y="0"/>
                    <a:pt x="0" y="6"/>
                    <a:pt x="0" y="13"/>
                  </a:cubicBezTo>
                  <a:cubicBezTo>
                    <a:pt x="0" y="20"/>
                    <a:pt x="6" y="26"/>
                    <a:pt x="13" y="26"/>
                  </a:cubicBezTo>
                  <a:cubicBezTo>
                    <a:pt x="129" y="26"/>
                    <a:pt x="129" y="26"/>
                    <a:pt x="129" y="26"/>
                  </a:cubicBezTo>
                  <a:cubicBezTo>
                    <a:pt x="136" y="26"/>
                    <a:pt x="142" y="20"/>
                    <a:pt x="142" y="13"/>
                  </a:cubicBezTo>
                  <a:cubicBezTo>
                    <a:pt x="142" y="6"/>
                    <a:pt x="136" y="0"/>
                    <a:pt x="129" y="0"/>
                  </a:cubicBezTo>
                  <a:close/>
                  <a:moveTo>
                    <a:pt x="129" y="0"/>
                  </a:moveTo>
                  <a:cubicBezTo>
                    <a:pt x="129" y="0"/>
                    <a:pt x="129"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7" name="Freeform 11">
              <a:extLst>
                <a:ext uri="{FF2B5EF4-FFF2-40B4-BE49-F238E27FC236}">
                  <a16:creationId xmlns:a16="http://schemas.microsoft.com/office/drawing/2014/main" id="{8EA48956-E5A2-4BA0-BE8E-7107CF447C71}"/>
                </a:ext>
              </a:extLst>
            </p:cNvPr>
            <p:cNvSpPr>
              <a:spLocks noEditPoints="1"/>
            </p:cNvSpPr>
            <p:nvPr/>
          </p:nvSpPr>
          <p:spPr bwMode="auto">
            <a:xfrm>
              <a:off x="4146550" y="2987675"/>
              <a:ext cx="266700" cy="98425"/>
            </a:xfrm>
            <a:custGeom>
              <a:avLst/>
              <a:gdLst>
                <a:gd name="T0" fmla="*/ 13 w 71"/>
                <a:gd name="T1" fmla="*/ 26 h 26"/>
                <a:gd name="T2" fmla="*/ 58 w 71"/>
                <a:gd name="T3" fmla="*/ 26 h 26"/>
                <a:gd name="T4" fmla="*/ 71 w 71"/>
                <a:gd name="T5" fmla="*/ 13 h 26"/>
                <a:gd name="T6" fmla="*/ 58 w 71"/>
                <a:gd name="T7" fmla="*/ 0 h 26"/>
                <a:gd name="T8" fmla="*/ 13 w 71"/>
                <a:gd name="T9" fmla="*/ 0 h 26"/>
                <a:gd name="T10" fmla="*/ 0 w 71"/>
                <a:gd name="T11" fmla="*/ 13 h 26"/>
                <a:gd name="T12" fmla="*/ 13 w 71"/>
                <a:gd name="T13" fmla="*/ 26 h 26"/>
                <a:gd name="T14" fmla="*/ 13 w 71"/>
                <a:gd name="T15" fmla="*/ 26 h 26"/>
                <a:gd name="T16" fmla="*/ 13 w 71"/>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6">
                  <a:moveTo>
                    <a:pt x="13" y="26"/>
                  </a:moveTo>
                  <a:cubicBezTo>
                    <a:pt x="58" y="26"/>
                    <a:pt x="58" y="26"/>
                    <a:pt x="58" y="26"/>
                  </a:cubicBezTo>
                  <a:cubicBezTo>
                    <a:pt x="65" y="26"/>
                    <a:pt x="71" y="20"/>
                    <a:pt x="71" y="13"/>
                  </a:cubicBezTo>
                  <a:cubicBezTo>
                    <a:pt x="71" y="6"/>
                    <a:pt x="65" y="0"/>
                    <a:pt x="58" y="0"/>
                  </a:cubicBezTo>
                  <a:cubicBezTo>
                    <a:pt x="13" y="0"/>
                    <a:pt x="13" y="0"/>
                    <a:pt x="13" y="0"/>
                  </a:cubicBezTo>
                  <a:cubicBezTo>
                    <a:pt x="6" y="0"/>
                    <a:pt x="0" y="6"/>
                    <a:pt x="0" y="13"/>
                  </a:cubicBezTo>
                  <a:cubicBezTo>
                    <a:pt x="0" y="20"/>
                    <a:pt x="6"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8" name="Freeform 12">
              <a:extLst>
                <a:ext uri="{FF2B5EF4-FFF2-40B4-BE49-F238E27FC236}">
                  <a16:creationId xmlns:a16="http://schemas.microsoft.com/office/drawing/2014/main" id="{807CC988-77DE-42E1-9943-6207A003D965}"/>
                </a:ext>
              </a:extLst>
            </p:cNvPr>
            <p:cNvSpPr>
              <a:spLocks noEditPoints="1"/>
            </p:cNvSpPr>
            <p:nvPr/>
          </p:nvSpPr>
          <p:spPr bwMode="auto">
            <a:xfrm>
              <a:off x="4146550" y="3138488"/>
              <a:ext cx="847725" cy="98425"/>
            </a:xfrm>
            <a:custGeom>
              <a:avLst/>
              <a:gdLst>
                <a:gd name="T0" fmla="*/ 212 w 225"/>
                <a:gd name="T1" fmla="*/ 0 h 26"/>
                <a:gd name="T2" fmla="*/ 13 w 225"/>
                <a:gd name="T3" fmla="*/ 0 h 26"/>
                <a:gd name="T4" fmla="*/ 0 w 225"/>
                <a:gd name="T5" fmla="*/ 13 h 26"/>
                <a:gd name="T6" fmla="*/ 13 w 225"/>
                <a:gd name="T7" fmla="*/ 26 h 26"/>
                <a:gd name="T8" fmla="*/ 212 w 225"/>
                <a:gd name="T9" fmla="*/ 26 h 26"/>
                <a:gd name="T10" fmla="*/ 225 w 225"/>
                <a:gd name="T11" fmla="*/ 13 h 26"/>
                <a:gd name="T12" fmla="*/ 212 w 225"/>
                <a:gd name="T13" fmla="*/ 0 h 26"/>
                <a:gd name="T14" fmla="*/ 212 w 225"/>
                <a:gd name="T15" fmla="*/ 0 h 26"/>
                <a:gd name="T16" fmla="*/ 212 w 225"/>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6">
                  <a:moveTo>
                    <a:pt x="212" y="0"/>
                  </a:moveTo>
                  <a:cubicBezTo>
                    <a:pt x="13" y="0"/>
                    <a:pt x="13" y="0"/>
                    <a:pt x="13" y="0"/>
                  </a:cubicBezTo>
                  <a:cubicBezTo>
                    <a:pt x="6" y="0"/>
                    <a:pt x="0" y="6"/>
                    <a:pt x="0" y="13"/>
                  </a:cubicBezTo>
                  <a:cubicBezTo>
                    <a:pt x="0" y="20"/>
                    <a:pt x="6" y="26"/>
                    <a:pt x="13" y="26"/>
                  </a:cubicBezTo>
                  <a:cubicBezTo>
                    <a:pt x="212" y="26"/>
                    <a:pt x="212" y="26"/>
                    <a:pt x="212" y="26"/>
                  </a:cubicBezTo>
                  <a:cubicBezTo>
                    <a:pt x="219" y="26"/>
                    <a:pt x="225" y="20"/>
                    <a:pt x="225" y="13"/>
                  </a:cubicBezTo>
                  <a:cubicBezTo>
                    <a:pt x="225" y="6"/>
                    <a:pt x="219" y="0"/>
                    <a:pt x="212" y="0"/>
                  </a:cubicBezTo>
                  <a:close/>
                  <a:moveTo>
                    <a:pt x="212" y="0"/>
                  </a:moveTo>
                  <a:cubicBezTo>
                    <a:pt x="212" y="0"/>
                    <a:pt x="212" y="0"/>
                    <a:pt x="2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9" name="Freeform 13">
              <a:extLst>
                <a:ext uri="{FF2B5EF4-FFF2-40B4-BE49-F238E27FC236}">
                  <a16:creationId xmlns:a16="http://schemas.microsoft.com/office/drawing/2014/main" id="{CBE59AB8-AD41-4BD2-BC0E-BB27A5187A14}"/>
                </a:ext>
              </a:extLst>
            </p:cNvPr>
            <p:cNvSpPr>
              <a:spLocks noEditPoints="1"/>
            </p:cNvSpPr>
            <p:nvPr/>
          </p:nvSpPr>
          <p:spPr bwMode="auto">
            <a:xfrm>
              <a:off x="4926013" y="1071563"/>
              <a:ext cx="252413" cy="244475"/>
            </a:xfrm>
            <a:custGeom>
              <a:avLst/>
              <a:gdLst>
                <a:gd name="T0" fmla="*/ 43 w 67"/>
                <a:gd name="T1" fmla="*/ 62 h 65"/>
                <a:gd name="T2" fmla="*/ 52 w 67"/>
                <a:gd name="T3" fmla="*/ 65 h 65"/>
                <a:gd name="T4" fmla="*/ 62 w 67"/>
                <a:gd name="T5" fmla="*/ 62 h 65"/>
                <a:gd name="T6" fmla="*/ 62 w 67"/>
                <a:gd name="T7" fmla="*/ 43 h 65"/>
                <a:gd name="T8" fmla="*/ 24 w 67"/>
                <a:gd name="T9" fmla="*/ 5 h 65"/>
                <a:gd name="T10" fmla="*/ 6 w 67"/>
                <a:gd name="T11" fmla="*/ 5 h 65"/>
                <a:gd name="T12" fmla="*/ 6 w 67"/>
                <a:gd name="T13" fmla="*/ 24 h 65"/>
                <a:gd name="T14" fmla="*/ 43 w 67"/>
                <a:gd name="T15" fmla="*/ 62 h 65"/>
                <a:gd name="T16" fmla="*/ 43 w 67"/>
                <a:gd name="T17" fmla="*/ 62 h 65"/>
                <a:gd name="T18" fmla="*/ 43 w 67"/>
                <a:gd name="T19"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5">
                  <a:moveTo>
                    <a:pt x="43" y="62"/>
                  </a:moveTo>
                  <a:cubicBezTo>
                    <a:pt x="46" y="64"/>
                    <a:pt x="49" y="65"/>
                    <a:pt x="52" y="65"/>
                  </a:cubicBezTo>
                  <a:cubicBezTo>
                    <a:pt x="56" y="65"/>
                    <a:pt x="59" y="64"/>
                    <a:pt x="62" y="62"/>
                  </a:cubicBezTo>
                  <a:cubicBezTo>
                    <a:pt x="67" y="56"/>
                    <a:pt x="67" y="48"/>
                    <a:pt x="62" y="43"/>
                  </a:cubicBezTo>
                  <a:cubicBezTo>
                    <a:pt x="24" y="5"/>
                    <a:pt x="24" y="5"/>
                    <a:pt x="24" y="5"/>
                  </a:cubicBezTo>
                  <a:cubicBezTo>
                    <a:pt x="19" y="0"/>
                    <a:pt x="11" y="0"/>
                    <a:pt x="6" y="5"/>
                  </a:cubicBezTo>
                  <a:cubicBezTo>
                    <a:pt x="0" y="11"/>
                    <a:pt x="0" y="19"/>
                    <a:pt x="6" y="24"/>
                  </a:cubicBezTo>
                  <a:lnTo>
                    <a:pt x="43" y="62"/>
                  </a:lnTo>
                  <a:close/>
                  <a:moveTo>
                    <a:pt x="43" y="62"/>
                  </a:moveTo>
                  <a:cubicBezTo>
                    <a:pt x="43" y="62"/>
                    <a:pt x="43" y="62"/>
                    <a:pt x="43"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0" name="Freeform 14">
              <a:extLst>
                <a:ext uri="{FF2B5EF4-FFF2-40B4-BE49-F238E27FC236}">
                  <a16:creationId xmlns:a16="http://schemas.microsoft.com/office/drawing/2014/main" id="{0B3E9236-FE9A-49AB-B000-77A1C97E59DD}"/>
                </a:ext>
              </a:extLst>
            </p:cNvPr>
            <p:cNvSpPr>
              <a:spLocks noEditPoints="1"/>
            </p:cNvSpPr>
            <p:nvPr/>
          </p:nvSpPr>
          <p:spPr bwMode="auto">
            <a:xfrm>
              <a:off x="5208588" y="1354138"/>
              <a:ext cx="252413" cy="247650"/>
            </a:xfrm>
            <a:custGeom>
              <a:avLst/>
              <a:gdLst>
                <a:gd name="T0" fmla="*/ 43 w 67"/>
                <a:gd name="T1" fmla="*/ 62 h 66"/>
                <a:gd name="T2" fmla="*/ 52 w 67"/>
                <a:gd name="T3" fmla="*/ 66 h 66"/>
                <a:gd name="T4" fmla="*/ 62 w 67"/>
                <a:gd name="T5" fmla="*/ 62 h 66"/>
                <a:gd name="T6" fmla="*/ 62 w 67"/>
                <a:gd name="T7" fmla="*/ 43 h 66"/>
                <a:gd name="T8" fmla="*/ 24 w 67"/>
                <a:gd name="T9" fmla="*/ 5 h 66"/>
                <a:gd name="T10" fmla="*/ 6 w 67"/>
                <a:gd name="T11" fmla="*/ 5 h 66"/>
                <a:gd name="T12" fmla="*/ 6 w 67"/>
                <a:gd name="T13" fmla="*/ 24 h 66"/>
                <a:gd name="T14" fmla="*/ 43 w 67"/>
                <a:gd name="T15" fmla="*/ 62 h 66"/>
                <a:gd name="T16" fmla="*/ 43 w 67"/>
                <a:gd name="T17" fmla="*/ 62 h 66"/>
                <a:gd name="T18" fmla="*/ 43 w 67"/>
                <a:gd name="T1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43" y="62"/>
                  </a:moveTo>
                  <a:cubicBezTo>
                    <a:pt x="46" y="64"/>
                    <a:pt x="49" y="66"/>
                    <a:pt x="52" y="66"/>
                  </a:cubicBezTo>
                  <a:cubicBezTo>
                    <a:pt x="56" y="66"/>
                    <a:pt x="59" y="64"/>
                    <a:pt x="62" y="62"/>
                  </a:cubicBezTo>
                  <a:cubicBezTo>
                    <a:pt x="67" y="56"/>
                    <a:pt x="67" y="48"/>
                    <a:pt x="62" y="43"/>
                  </a:cubicBezTo>
                  <a:cubicBezTo>
                    <a:pt x="24" y="5"/>
                    <a:pt x="24" y="5"/>
                    <a:pt x="24" y="5"/>
                  </a:cubicBezTo>
                  <a:cubicBezTo>
                    <a:pt x="19" y="0"/>
                    <a:pt x="11" y="0"/>
                    <a:pt x="6" y="5"/>
                  </a:cubicBezTo>
                  <a:cubicBezTo>
                    <a:pt x="0" y="11"/>
                    <a:pt x="0" y="19"/>
                    <a:pt x="6" y="24"/>
                  </a:cubicBezTo>
                  <a:lnTo>
                    <a:pt x="43" y="62"/>
                  </a:lnTo>
                  <a:close/>
                  <a:moveTo>
                    <a:pt x="43" y="62"/>
                  </a:moveTo>
                  <a:cubicBezTo>
                    <a:pt x="43" y="62"/>
                    <a:pt x="43" y="62"/>
                    <a:pt x="43"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1" name="Freeform 15">
              <a:extLst>
                <a:ext uri="{FF2B5EF4-FFF2-40B4-BE49-F238E27FC236}">
                  <a16:creationId xmlns:a16="http://schemas.microsoft.com/office/drawing/2014/main" id="{A07C9C12-A4CA-4BF5-B89B-5E2A0A4782FC}"/>
                </a:ext>
              </a:extLst>
            </p:cNvPr>
            <p:cNvSpPr>
              <a:spLocks noEditPoints="1"/>
            </p:cNvSpPr>
            <p:nvPr/>
          </p:nvSpPr>
          <p:spPr bwMode="auto">
            <a:xfrm>
              <a:off x="5208588" y="1071563"/>
              <a:ext cx="252413" cy="244475"/>
            </a:xfrm>
            <a:custGeom>
              <a:avLst/>
              <a:gdLst>
                <a:gd name="T0" fmla="*/ 15 w 67"/>
                <a:gd name="T1" fmla="*/ 65 h 65"/>
                <a:gd name="T2" fmla="*/ 24 w 67"/>
                <a:gd name="T3" fmla="*/ 62 h 65"/>
                <a:gd name="T4" fmla="*/ 62 w 67"/>
                <a:gd name="T5" fmla="*/ 24 h 65"/>
                <a:gd name="T6" fmla="*/ 62 w 67"/>
                <a:gd name="T7" fmla="*/ 5 h 65"/>
                <a:gd name="T8" fmla="*/ 43 w 67"/>
                <a:gd name="T9" fmla="*/ 5 h 65"/>
                <a:gd name="T10" fmla="*/ 6 w 67"/>
                <a:gd name="T11" fmla="*/ 43 h 65"/>
                <a:gd name="T12" fmla="*/ 6 w 67"/>
                <a:gd name="T13" fmla="*/ 62 h 65"/>
                <a:gd name="T14" fmla="*/ 15 w 67"/>
                <a:gd name="T15" fmla="*/ 65 h 65"/>
                <a:gd name="T16" fmla="*/ 15 w 67"/>
                <a:gd name="T17" fmla="*/ 65 h 65"/>
                <a:gd name="T18" fmla="*/ 15 w 67"/>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5">
                  <a:moveTo>
                    <a:pt x="15" y="65"/>
                  </a:moveTo>
                  <a:cubicBezTo>
                    <a:pt x="18" y="65"/>
                    <a:pt x="22" y="64"/>
                    <a:pt x="24" y="62"/>
                  </a:cubicBezTo>
                  <a:cubicBezTo>
                    <a:pt x="62" y="24"/>
                    <a:pt x="62" y="24"/>
                    <a:pt x="62" y="24"/>
                  </a:cubicBezTo>
                  <a:cubicBezTo>
                    <a:pt x="67" y="19"/>
                    <a:pt x="67" y="11"/>
                    <a:pt x="62" y="5"/>
                  </a:cubicBezTo>
                  <a:cubicBezTo>
                    <a:pt x="57" y="0"/>
                    <a:pt x="48" y="0"/>
                    <a:pt x="43" y="5"/>
                  </a:cubicBezTo>
                  <a:cubicBezTo>
                    <a:pt x="6" y="43"/>
                    <a:pt x="6" y="43"/>
                    <a:pt x="6" y="43"/>
                  </a:cubicBezTo>
                  <a:cubicBezTo>
                    <a:pt x="0" y="48"/>
                    <a:pt x="0" y="56"/>
                    <a:pt x="6" y="62"/>
                  </a:cubicBezTo>
                  <a:cubicBezTo>
                    <a:pt x="8" y="64"/>
                    <a:pt x="12" y="65"/>
                    <a:pt x="15" y="65"/>
                  </a:cubicBezTo>
                  <a:close/>
                  <a:moveTo>
                    <a:pt x="15" y="65"/>
                  </a:moveTo>
                  <a:cubicBezTo>
                    <a:pt x="15" y="65"/>
                    <a:pt x="15" y="65"/>
                    <a:pt x="15"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2" name="Freeform 16">
              <a:extLst>
                <a:ext uri="{FF2B5EF4-FFF2-40B4-BE49-F238E27FC236}">
                  <a16:creationId xmlns:a16="http://schemas.microsoft.com/office/drawing/2014/main" id="{1BFF5F59-4F22-43B3-9F74-826C8ABF8719}"/>
                </a:ext>
              </a:extLst>
            </p:cNvPr>
            <p:cNvSpPr>
              <a:spLocks noEditPoints="1"/>
            </p:cNvSpPr>
            <p:nvPr/>
          </p:nvSpPr>
          <p:spPr bwMode="auto">
            <a:xfrm>
              <a:off x="5543550" y="1689100"/>
              <a:ext cx="301625" cy="98425"/>
            </a:xfrm>
            <a:custGeom>
              <a:avLst/>
              <a:gdLst>
                <a:gd name="T0" fmla="*/ 0 w 80"/>
                <a:gd name="T1" fmla="*/ 13 h 26"/>
                <a:gd name="T2" fmla="*/ 13 w 80"/>
                <a:gd name="T3" fmla="*/ 26 h 26"/>
                <a:gd name="T4" fmla="*/ 66 w 80"/>
                <a:gd name="T5" fmla="*/ 26 h 26"/>
                <a:gd name="T6" fmla="*/ 80 w 80"/>
                <a:gd name="T7" fmla="*/ 13 h 26"/>
                <a:gd name="T8" fmla="*/ 66 w 80"/>
                <a:gd name="T9" fmla="*/ 0 h 26"/>
                <a:gd name="T10" fmla="*/ 13 w 80"/>
                <a:gd name="T11" fmla="*/ 0 h 26"/>
                <a:gd name="T12" fmla="*/ 0 w 80"/>
                <a:gd name="T13" fmla="*/ 13 h 26"/>
                <a:gd name="T14" fmla="*/ 0 w 80"/>
                <a:gd name="T15" fmla="*/ 13 h 26"/>
                <a:gd name="T16" fmla="*/ 0 w 80"/>
                <a:gd name="T1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26">
                  <a:moveTo>
                    <a:pt x="0" y="13"/>
                  </a:moveTo>
                  <a:cubicBezTo>
                    <a:pt x="0" y="21"/>
                    <a:pt x="6" y="26"/>
                    <a:pt x="13" y="26"/>
                  </a:cubicBezTo>
                  <a:cubicBezTo>
                    <a:pt x="66" y="26"/>
                    <a:pt x="66" y="26"/>
                    <a:pt x="66" y="26"/>
                  </a:cubicBezTo>
                  <a:cubicBezTo>
                    <a:pt x="74" y="26"/>
                    <a:pt x="80" y="21"/>
                    <a:pt x="80" y="13"/>
                  </a:cubicBezTo>
                  <a:cubicBezTo>
                    <a:pt x="80" y="6"/>
                    <a:pt x="74" y="0"/>
                    <a:pt x="66" y="0"/>
                  </a:cubicBezTo>
                  <a:cubicBezTo>
                    <a:pt x="13" y="0"/>
                    <a:pt x="13" y="0"/>
                    <a:pt x="13" y="0"/>
                  </a:cubicBezTo>
                  <a:cubicBezTo>
                    <a:pt x="6" y="0"/>
                    <a:pt x="0" y="6"/>
                    <a:pt x="0" y="13"/>
                  </a:cubicBezTo>
                  <a:close/>
                  <a:moveTo>
                    <a:pt x="0" y="13"/>
                  </a:moveTo>
                  <a:cubicBezTo>
                    <a:pt x="0" y="13"/>
                    <a:pt x="0" y="13"/>
                    <a:pt x="0"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3" name="Freeform 17">
              <a:extLst>
                <a:ext uri="{FF2B5EF4-FFF2-40B4-BE49-F238E27FC236}">
                  <a16:creationId xmlns:a16="http://schemas.microsoft.com/office/drawing/2014/main" id="{7E3EFEFD-D946-45A7-A3C8-8D3AB1F2BE52}"/>
                </a:ext>
              </a:extLst>
            </p:cNvPr>
            <p:cNvSpPr>
              <a:spLocks noEditPoints="1"/>
            </p:cNvSpPr>
            <p:nvPr/>
          </p:nvSpPr>
          <p:spPr bwMode="auto">
            <a:xfrm>
              <a:off x="4564063" y="1582738"/>
              <a:ext cx="184150" cy="180975"/>
            </a:xfrm>
            <a:custGeom>
              <a:avLst/>
              <a:gdLst>
                <a:gd name="T0" fmla="*/ 15 w 49"/>
                <a:gd name="T1" fmla="*/ 48 h 48"/>
                <a:gd name="T2" fmla="*/ 24 w 49"/>
                <a:gd name="T3" fmla="*/ 44 h 48"/>
                <a:gd name="T4" fmla="*/ 44 w 49"/>
                <a:gd name="T5" fmla="*/ 24 h 48"/>
                <a:gd name="T6" fmla="*/ 44 w 49"/>
                <a:gd name="T7" fmla="*/ 5 h 48"/>
                <a:gd name="T8" fmla="*/ 25 w 49"/>
                <a:gd name="T9" fmla="*/ 5 h 48"/>
                <a:gd name="T10" fmla="*/ 5 w 49"/>
                <a:gd name="T11" fmla="*/ 25 h 48"/>
                <a:gd name="T12" fmla="*/ 5 w 49"/>
                <a:gd name="T13" fmla="*/ 44 h 48"/>
                <a:gd name="T14" fmla="*/ 15 w 49"/>
                <a:gd name="T15" fmla="*/ 48 h 48"/>
                <a:gd name="T16" fmla="*/ 15 w 49"/>
                <a:gd name="T17" fmla="*/ 48 h 48"/>
                <a:gd name="T18" fmla="*/ 15 w 49"/>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15" y="48"/>
                  </a:moveTo>
                  <a:cubicBezTo>
                    <a:pt x="18" y="48"/>
                    <a:pt x="21" y="46"/>
                    <a:pt x="24" y="44"/>
                  </a:cubicBezTo>
                  <a:cubicBezTo>
                    <a:pt x="44" y="24"/>
                    <a:pt x="44" y="24"/>
                    <a:pt x="44" y="24"/>
                  </a:cubicBezTo>
                  <a:cubicBezTo>
                    <a:pt x="49" y="19"/>
                    <a:pt x="49" y="10"/>
                    <a:pt x="44" y="5"/>
                  </a:cubicBezTo>
                  <a:cubicBezTo>
                    <a:pt x="39" y="0"/>
                    <a:pt x="30" y="0"/>
                    <a:pt x="25" y="5"/>
                  </a:cubicBezTo>
                  <a:cubicBezTo>
                    <a:pt x="5" y="25"/>
                    <a:pt x="5" y="25"/>
                    <a:pt x="5" y="25"/>
                  </a:cubicBezTo>
                  <a:cubicBezTo>
                    <a:pt x="0" y="30"/>
                    <a:pt x="0" y="39"/>
                    <a:pt x="5" y="44"/>
                  </a:cubicBezTo>
                  <a:cubicBezTo>
                    <a:pt x="8" y="46"/>
                    <a:pt x="11" y="48"/>
                    <a:pt x="15" y="48"/>
                  </a:cubicBezTo>
                  <a:close/>
                  <a:moveTo>
                    <a:pt x="15" y="48"/>
                  </a:moveTo>
                  <a:cubicBezTo>
                    <a:pt x="15" y="48"/>
                    <a:pt x="15" y="48"/>
                    <a:pt x="15"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4" name="Freeform 18">
              <a:extLst>
                <a:ext uri="{FF2B5EF4-FFF2-40B4-BE49-F238E27FC236}">
                  <a16:creationId xmlns:a16="http://schemas.microsoft.com/office/drawing/2014/main" id="{CAB78308-3570-4F4B-95E7-1FF5A75E560F}"/>
                </a:ext>
              </a:extLst>
            </p:cNvPr>
            <p:cNvSpPr>
              <a:spLocks noEditPoints="1"/>
            </p:cNvSpPr>
            <p:nvPr/>
          </p:nvSpPr>
          <p:spPr bwMode="auto">
            <a:xfrm>
              <a:off x="4791075" y="1733550"/>
              <a:ext cx="157163" cy="155575"/>
            </a:xfrm>
            <a:custGeom>
              <a:avLst/>
              <a:gdLst>
                <a:gd name="T0" fmla="*/ 18 w 42"/>
                <a:gd name="T1" fmla="*/ 37 h 41"/>
                <a:gd name="T2" fmla="*/ 28 w 42"/>
                <a:gd name="T3" fmla="*/ 41 h 41"/>
                <a:gd name="T4" fmla="*/ 37 w 42"/>
                <a:gd name="T5" fmla="*/ 37 h 41"/>
                <a:gd name="T6" fmla="*/ 37 w 42"/>
                <a:gd name="T7" fmla="*/ 18 h 41"/>
                <a:gd name="T8" fmla="*/ 24 w 42"/>
                <a:gd name="T9" fmla="*/ 5 h 41"/>
                <a:gd name="T10" fmla="*/ 5 w 42"/>
                <a:gd name="T11" fmla="*/ 5 h 41"/>
                <a:gd name="T12" fmla="*/ 5 w 42"/>
                <a:gd name="T13" fmla="*/ 24 h 41"/>
                <a:gd name="T14" fmla="*/ 18 w 42"/>
                <a:gd name="T15" fmla="*/ 37 h 41"/>
                <a:gd name="T16" fmla="*/ 18 w 42"/>
                <a:gd name="T17" fmla="*/ 37 h 41"/>
                <a:gd name="T18" fmla="*/ 18 w 42"/>
                <a:gd name="T19"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18" y="37"/>
                  </a:moveTo>
                  <a:cubicBezTo>
                    <a:pt x="21" y="40"/>
                    <a:pt x="24" y="41"/>
                    <a:pt x="28" y="41"/>
                  </a:cubicBezTo>
                  <a:cubicBezTo>
                    <a:pt x="31" y="41"/>
                    <a:pt x="34" y="40"/>
                    <a:pt x="37" y="37"/>
                  </a:cubicBezTo>
                  <a:cubicBezTo>
                    <a:pt x="42" y="32"/>
                    <a:pt x="42" y="23"/>
                    <a:pt x="37" y="18"/>
                  </a:cubicBezTo>
                  <a:cubicBezTo>
                    <a:pt x="24" y="5"/>
                    <a:pt x="24" y="5"/>
                    <a:pt x="24" y="5"/>
                  </a:cubicBezTo>
                  <a:cubicBezTo>
                    <a:pt x="19" y="0"/>
                    <a:pt x="10" y="0"/>
                    <a:pt x="5" y="5"/>
                  </a:cubicBezTo>
                  <a:cubicBezTo>
                    <a:pt x="0" y="10"/>
                    <a:pt x="0" y="19"/>
                    <a:pt x="5" y="24"/>
                  </a:cubicBezTo>
                  <a:lnTo>
                    <a:pt x="18" y="37"/>
                  </a:lnTo>
                  <a:close/>
                  <a:moveTo>
                    <a:pt x="18" y="37"/>
                  </a:moveTo>
                  <a:cubicBezTo>
                    <a:pt x="18" y="37"/>
                    <a:pt x="18" y="37"/>
                    <a:pt x="18"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5" name="Freeform 19">
              <a:extLst>
                <a:ext uri="{FF2B5EF4-FFF2-40B4-BE49-F238E27FC236}">
                  <a16:creationId xmlns:a16="http://schemas.microsoft.com/office/drawing/2014/main" id="{D684C224-520F-4FC5-AFBA-692F11CADD1F}"/>
                </a:ext>
              </a:extLst>
            </p:cNvPr>
            <p:cNvSpPr>
              <a:spLocks noEditPoints="1"/>
            </p:cNvSpPr>
            <p:nvPr/>
          </p:nvSpPr>
          <p:spPr bwMode="auto">
            <a:xfrm>
              <a:off x="4591050" y="1831975"/>
              <a:ext cx="157163" cy="153988"/>
            </a:xfrm>
            <a:custGeom>
              <a:avLst/>
              <a:gdLst>
                <a:gd name="T0" fmla="*/ 18 w 42"/>
                <a:gd name="T1" fmla="*/ 6 h 41"/>
                <a:gd name="T2" fmla="*/ 5 w 42"/>
                <a:gd name="T3" fmla="*/ 19 h 41"/>
                <a:gd name="T4" fmla="*/ 5 w 42"/>
                <a:gd name="T5" fmla="*/ 38 h 41"/>
                <a:gd name="T6" fmla="*/ 14 w 42"/>
                <a:gd name="T7" fmla="*/ 41 h 41"/>
                <a:gd name="T8" fmla="*/ 24 w 42"/>
                <a:gd name="T9" fmla="*/ 38 h 41"/>
                <a:gd name="T10" fmla="*/ 37 w 42"/>
                <a:gd name="T11" fmla="*/ 24 h 41"/>
                <a:gd name="T12" fmla="*/ 37 w 42"/>
                <a:gd name="T13" fmla="*/ 6 h 41"/>
                <a:gd name="T14" fmla="*/ 18 w 42"/>
                <a:gd name="T15" fmla="*/ 6 h 41"/>
                <a:gd name="T16" fmla="*/ 18 w 42"/>
                <a:gd name="T17" fmla="*/ 6 h 41"/>
                <a:gd name="T18" fmla="*/ 18 w 42"/>
                <a:gd name="T1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18" y="6"/>
                  </a:moveTo>
                  <a:cubicBezTo>
                    <a:pt x="5" y="19"/>
                    <a:pt x="5" y="19"/>
                    <a:pt x="5" y="19"/>
                  </a:cubicBezTo>
                  <a:cubicBezTo>
                    <a:pt x="0" y="24"/>
                    <a:pt x="0" y="32"/>
                    <a:pt x="5" y="38"/>
                  </a:cubicBezTo>
                  <a:cubicBezTo>
                    <a:pt x="7" y="40"/>
                    <a:pt x="11" y="41"/>
                    <a:pt x="14" y="41"/>
                  </a:cubicBezTo>
                  <a:cubicBezTo>
                    <a:pt x="18" y="41"/>
                    <a:pt x="21" y="40"/>
                    <a:pt x="24" y="38"/>
                  </a:cubicBezTo>
                  <a:cubicBezTo>
                    <a:pt x="37" y="24"/>
                    <a:pt x="37" y="24"/>
                    <a:pt x="37" y="24"/>
                  </a:cubicBezTo>
                  <a:cubicBezTo>
                    <a:pt x="42" y="19"/>
                    <a:pt x="42" y="11"/>
                    <a:pt x="37" y="6"/>
                  </a:cubicBezTo>
                  <a:cubicBezTo>
                    <a:pt x="32" y="0"/>
                    <a:pt x="23" y="0"/>
                    <a:pt x="18" y="6"/>
                  </a:cubicBezTo>
                  <a:close/>
                  <a:moveTo>
                    <a:pt x="18" y="6"/>
                  </a:moveTo>
                  <a:cubicBezTo>
                    <a:pt x="18" y="6"/>
                    <a:pt x="18" y="6"/>
                    <a:pt x="1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04" name="Group 121">
            <a:extLst>
              <a:ext uri="{FF2B5EF4-FFF2-40B4-BE49-F238E27FC236}">
                <a16:creationId xmlns:a16="http://schemas.microsoft.com/office/drawing/2014/main" id="{B1BCAD50-1BF8-4A1B-8741-4D5ECDC24D29}"/>
              </a:ext>
            </a:extLst>
          </p:cNvPr>
          <p:cNvGrpSpPr>
            <a:grpSpLocks noChangeAspect="1"/>
          </p:cNvGrpSpPr>
          <p:nvPr/>
        </p:nvGrpSpPr>
        <p:grpSpPr>
          <a:xfrm>
            <a:off x="1065227" y="5944848"/>
            <a:ext cx="308143" cy="308144"/>
            <a:chOff x="9832975" y="1314450"/>
            <a:chExt cx="371475" cy="371476"/>
          </a:xfrm>
          <a:solidFill>
            <a:schemeClr val="bg2"/>
          </a:solidFill>
          <a:effectLst/>
        </p:grpSpPr>
        <p:sp>
          <p:nvSpPr>
            <p:cNvPr id="805" name="Freeform 42">
              <a:extLst>
                <a:ext uri="{FF2B5EF4-FFF2-40B4-BE49-F238E27FC236}">
                  <a16:creationId xmlns:a16="http://schemas.microsoft.com/office/drawing/2014/main" id="{B089804A-D19E-420C-BD7F-F16D09C6A1F3}"/>
                </a:ext>
              </a:extLst>
            </p:cNvPr>
            <p:cNvSpPr>
              <a:spLocks/>
            </p:cNvSpPr>
            <p:nvPr/>
          </p:nvSpPr>
          <p:spPr bwMode="auto">
            <a:xfrm>
              <a:off x="9832975" y="1422400"/>
              <a:ext cx="201613" cy="263525"/>
            </a:xfrm>
            <a:custGeom>
              <a:avLst/>
              <a:gdLst>
                <a:gd name="T0" fmla="*/ 28 w 52"/>
                <a:gd name="T1" fmla="*/ 68 h 68"/>
                <a:gd name="T2" fmla="*/ 10 w 52"/>
                <a:gd name="T3" fmla="*/ 68 h 68"/>
                <a:gd name="T4" fmla="*/ 8 w 52"/>
                <a:gd name="T5" fmla="*/ 66 h 68"/>
                <a:gd name="T6" fmla="*/ 0 w 52"/>
                <a:gd name="T7" fmla="*/ 2 h 68"/>
                <a:gd name="T8" fmla="*/ 0 w 52"/>
                <a:gd name="T9" fmla="*/ 1 h 68"/>
                <a:gd name="T10" fmla="*/ 2 w 52"/>
                <a:gd name="T11" fmla="*/ 0 h 68"/>
                <a:gd name="T12" fmla="*/ 50 w 52"/>
                <a:gd name="T13" fmla="*/ 0 h 68"/>
                <a:gd name="T14" fmla="*/ 51 w 52"/>
                <a:gd name="T15" fmla="*/ 1 h 68"/>
                <a:gd name="T16" fmla="*/ 52 w 52"/>
                <a:gd name="T17" fmla="*/ 2 h 68"/>
                <a:gd name="T18" fmla="*/ 51 w 52"/>
                <a:gd name="T19" fmla="*/ 10 h 68"/>
                <a:gd name="T20" fmla="*/ 49 w 52"/>
                <a:gd name="T21" fmla="*/ 12 h 68"/>
                <a:gd name="T22" fmla="*/ 47 w 52"/>
                <a:gd name="T23" fmla="*/ 10 h 68"/>
                <a:gd name="T24" fmla="*/ 48 w 52"/>
                <a:gd name="T25" fmla="*/ 4 h 68"/>
                <a:gd name="T26" fmla="*/ 4 w 52"/>
                <a:gd name="T27" fmla="*/ 4 h 68"/>
                <a:gd name="T28" fmla="*/ 12 w 52"/>
                <a:gd name="T29" fmla="*/ 64 h 68"/>
                <a:gd name="T30" fmla="*/ 28 w 52"/>
                <a:gd name="T31" fmla="*/ 64 h 68"/>
                <a:gd name="T32" fmla="*/ 30 w 52"/>
                <a:gd name="T33" fmla="*/ 66 h 68"/>
                <a:gd name="T34" fmla="*/ 28 w 52"/>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68">
                  <a:moveTo>
                    <a:pt x="28" y="68"/>
                  </a:moveTo>
                  <a:cubicBezTo>
                    <a:pt x="10" y="68"/>
                    <a:pt x="10" y="68"/>
                    <a:pt x="10" y="68"/>
                  </a:cubicBezTo>
                  <a:cubicBezTo>
                    <a:pt x="9" y="68"/>
                    <a:pt x="8" y="67"/>
                    <a:pt x="8" y="66"/>
                  </a:cubicBezTo>
                  <a:cubicBezTo>
                    <a:pt x="0" y="2"/>
                    <a:pt x="0" y="2"/>
                    <a:pt x="0" y="2"/>
                  </a:cubicBezTo>
                  <a:cubicBezTo>
                    <a:pt x="0" y="2"/>
                    <a:pt x="0" y="1"/>
                    <a:pt x="0" y="1"/>
                  </a:cubicBezTo>
                  <a:cubicBezTo>
                    <a:pt x="1" y="0"/>
                    <a:pt x="1" y="0"/>
                    <a:pt x="2" y="0"/>
                  </a:cubicBezTo>
                  <a:cubicBezTo>
                    <a:pt x="50" y="0"/>
                    <a:pt x="50" y="0"/>
                    <a:pt x="50" y="0"/>
                  </a:cubicBezTo>
                  <a:cubicBezTo>
                    <a:pt x="51" y="0"/>
                    <a:pt x="51" y="0"/>
                    <a:pt x="51" y="1"/>
                  </a:cubicBezTo>
                  <a:cubicBezTo>
                    <a:pt x="52" y="1"/>
                    <a:pt x="52" y="2"/>
                    <a:pt x="52" y="2"/>
                  </a:cubicBezTo>
                  <a:cubicBezTo>
                    <a:pt x="51" y="10"/>
                    <a:pt x="51" y="10"/>
                    <a:pt x="51" y="10"/>
                  </a:cubicBezTo>
                  <a:cubicBezTo>
                    <a:pt x="51" y="11"/>
                    <a:pt x="50" y="12"/>
                    <a:pt x="49" y="12"/>
                  </a:cubicBezTo>
                  <a:cubicBezTo>
                    <a:pt x="48" y="12"/>
                    <a:pt x="47" y="11"/>
                    <a:pt x="47" y="10"/>
                  </a:cubicBezTo>
                  <a:cubicBezTo>
                    <a:pt x="48" y="4"/>
                    <a:pt x="48" y="4"/>
                    <a:pt x="48" y="4"/>
                  </a:cubicBezTo>
                  <a:cubicBezTo>
                    <a:pt x="4" y="4"/>
                    <a:pt x="4" y="4"/>
                    <a:pt x="4" y="4"/>
                  </a:cubicBezTo>
                  <a:cubicBezTo>
                    <a:pt x="12" y="64"/>
                    <a:pt x="12" y="64"/>
                    <a:pt x="12" y="64"/>
                  </a:cubicBezTo>
                  <a:cubicBezTo>
                    <a:pt x="28" y="64"/>
                    <a:pt x="28" y="64"/>
                    <a:pt x="28" y="64"/>
                  </a:cubicBezTo>
                  <a:cubicBezTo>
                    <a:pt x="29" y="64"/>
                    <a:pt x="30" y="65"/>
                    <a:pt x="30" y="66"/>
                  </a:cubicBezTo>
                  <a:cubicBezTo>
                    <a:pt x="30" y="67"/>
                    <a:pt x="29" y="68"/>
                    <a:pt x="2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6" name="Freeform 43">
              <a:extLst>
                <a:ext uri="{FF2B5EF4-FFF2-40B4-BE49-F238E27FC236}">
                  <a16:creationId xmlns:a16="http://schemas.microsoft.com/office/drawing/2014/main" id="{E6AD80C1-3AEC-47DD-B557-2EE80955E99B}"/>
                </a:ext>
              </a:extLst>
            </p:cNvPr>
            <p:cNvSpPr>
              <a:spLocks noEditPoints="1"/>
            </p:cNvSpPr>
            <p:nvPr/>
          </p:nvSpPr>
          <p:spPr bwMode="auto">
            <a:xfrm>
              <a:off x="9956800" y="1500188"/>
              <a:ext cx="231775" cy="93663"/>
            </a:xfrm>
            <a:custGeom>
              <a:avLst/>
              <a:gdLst>
                <a:gd name="T0" fmla="*/ 58 w 60"/>
                <a:gd name="T1" fmla="*/ 24 h 24"/>
                <a:gd name="T2" fmla="*/ 2 w 60"/>
                <a:gd name="T3" fmla="*/ 24 h 24"/>
                <a:gd name="T4" fmla="*/ 0 w 60"/>
                <a:gd name="T5" fmla="*/ 22 h 24"/>
                <a:gd name="T6" fmla="*/ 0 w 60"/>
                <a:gd name="T7" fmla="*/ 18 h 24"/>
                <a:gd name="T8" fmla="*/ 18 w 60"/>
                <a:gd name="T9" fmla="*/ 0 h 24"/>
                <a:gd name="T10" fmla="*/ 42 w 60"/>
                <a:gd name="T11" fmla="*/ 0 h 24"/>
                <a:gd name="T12" fmla="*/ 60 w 60"/>
                <a:gd name="T13" fmla="*/ 18 h 24"/>
                <a:gd name="T14" fmla="*/ 60 w 60"/>
                <a:gd name="T15" fmla="*/ 22 h 24"/>
                <a:gd name="T16" fmla="*/ 58 w 60"/>
                <a:gd name="T17" fmla="*/ 24 h 24"/>
                <a:gd name="T18" fmla="*/ 4 w 60"/>
                <a:gd name="T19" fmla="*/ 20 h 24"/>
                <a:gd name="T20" fmla="*/ 56 w 60"/>
                <a:gd name="T21" fmla="*/ 20 h 24"/>
                <a:gd name="T22" fmla="*/ 56 w 60"/>
                <a:gd name="T23" fmla="*/ 18 h 24"/>
                <a:gd name="T24" fmla="*/ 42 w 60"/>
                <a:gd name="T25" fmla="*/ 4 h 24"/>
                <a:gd name="T26" fmla="*/ 18 w 60"/>
                <a:gd name="T27" fmla="*/ 4 h 24"/>
                <a:gd name="T28" fmla="*/ 4 w 60"/>
                <a:gd name="T29" fmla="*/ 18 h 24"/>
                <a:gd name="T30" fmla="*/ 4 w 60"/>
                <a:gd name="T3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24">
                  <a:moveTo>
                    <a:pt x="58" y="24"/>
                  </a:moveTo>
                  <a:cubicBezTo>
                    <a:pt x="2" y="24"/>
                    <a:pt x="2" y="24"/>
                    <a:pt x="2" y="24"/>
                  </a:cubicBezTo>
                  <a:cubicBezTo>
                    <a:pt x="1" y="24"/>
                    <a:pt x="0" y="23"/>
                    <a:pt x="0" y="22"/>
                  </a:cubicBezTo>
                  <a:cubicBezTo>
                    <a:pt x="0" y="18"/>
                    <a:pt x="0" y="18"/>
                    <a:pt x="0" y="18"/>
                  </a:cubicBezTo>
                  <a:cubicBezTo>
                    <a:pt x="0" y="8"/>
                    <a:pt x="8" y="0"/>
                    <a:pt x="18" y="0"/>
                  </a:cubicBezTo>
                  <a:cubicBezTo>
                    <a:pt x="42" y="0"/>
                    <a:pt x="42" y="0"/>
                    <a:pt x="42" y="0"/>
                  </a:cubicBezTo>
                  <a:cubicBezTo>
                    <a:pt x="52" y="0"/>
                    <a:pt x="60" y="8"/>
                    <a:pt x="60" y="18"/>
                  </a:cubicBezTo>
                  <a:cubicBezTo>
                    <a:pt x="60" y="22"/>
                    <a:pt x="60" y="22"/>
                    <a:pt x="60" y="22"/>
                  </a:cubicBezTo>
                  <a:cubicBezTo>
                    <a:pt x="60" y="23"/>
                    <a:pt x="59" y="24"/>
                    <a:pt x="58" y="24"/>
                  </a:cubicBezTo>
                  <a:close/>
                  <a:moveTo>
                    <a:pt x="4" y="20"/>
                  </a:moveTo>
                  <a:cubicBezTo>
                    <a:pt x="56" y="20"/>
                    <a:pt x="56" y="20"/>
                    <a:pt x="56" y="20"/>
                  </a:cubicBezTo>
                  <a:cubicBezTo>
                    <a:pt x="56" y="18"/>
                    <a:pt x="56" y="18"/>
                    <a:pt x="56" y="18"/>
                  </a:cubicBezTo>
                  <a:cubicBezTo>
                    <a:pt x="56" y="10"/>
                    <a:pt x="50" y="4"/>
                    <a:pt x="42" y="4"/>
                  </a:cubicBezTo>
                  <a:cubicBezTo>
                    <a:pt x="18" y="4"/>
                    <a:pt x="18" y="4"/>
                    <a:pt x="18" y="4"/>
                  </a:cubicBezTo>
                  <a:cubicBezTo>
                    <a:pt x="10" y="4"/>
                    <a:pt x="4" y="10"/>
                    <a:pt x="4" y="18"/>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7" name="Freeform 44">
              <a:extLst>
                <a:ext uri="{FF2B5EF4-FFF2-40B4-BE49-F238E27FC236}">
                  <a16:creationId xmlns:a16="http://schemas.microsoft.com/office/drawing/2014/main" id="{BABBC2A0-F4CB-4F1D-9792-18F3B131A369}"/>
                </a:ext>
              </a:extLst>
            </p:cNvPr>
            <p:cNvSpPr>
              <a:spLocks noEditPoints="1"/>
            </p:cNvSpPr>
            <p:nvPr/>
          </p:nvSpPr>
          <p:spPr bwMode="auto">
            <a:xfrm>
              <a:off x="9940925" y="1577975"/>
              <a:ext cx="263525" cy="61913"/>
            </a:xfrm>
            <a:custGeom>
              <a:avLst/>
              <a:gdLst>
                <a:gd name="T0" fmla="*/ 60 w 68"/>
                <a:gd name="T1" fmla="*/ 16 h 16"/>
                <a:gd name="T2" fmla="*/ 8 w 68"/>
                <a:gd name="T3" fmla="*/ 16 h 16"/>
                <a:gd name="T4" fmla="*/ 0 w 68"/>
                <a:gd name="T5" fmla="*/ 8 h 16"/>
                <a:gd name="T6" fmla="*/ 8 w 68"/>
                <a:gd name="T7" fmla="*/ 0 h 16"/>
                <a:gd name="T8" fmla="*/ 60 w 68"/>
                <a:gd name="T9" fmla="*/ 0 h 16"/>
                <a:gd name="T10" fmla="*/ 68 w 68"/>
                <a:gd name="T11" fmla="*/ 8 h 16"/>
                <a:gd name="T12" fmla="*/ 60 w 68"/>
                <a:gd name="T13" fmla="*/ 16 h 16"/>
                <a:gd name="T14" fmla="*/ 8 w 68"/>
                <a:gd name="T15" fmla="*/ 4 h 16"/>
                <a:gd name="T16" fmla="*/ 4 w 68"/>
                <a:gd name="T17" fmla="*/ 8 h 16"/>
                <a:gd name="T18" fmla="*/ 8 w 68"/>
                <a:gd name="T19" fmla="*/ 12 h 16"/>
                <a:gd name="T20" fmla="*/ 60 w 68"/>
                <a:gd name="T21" fmla="*/ 12 h 16"/>
                <a:gd name="T22" fmla="*/ 64 w 68"/>
                <a:gd name="T23" fmla="*/ 8 h 16"/>
                <a:gd name="T24" fmla="*/ 60 w 68"/>
                <a:gd name="T25" fmla="*/ 4 h 16"/>
                <a:gd name="T26" fmla="*/ 8 w 68"/>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6">
                  <a:moveTo>
                    <a:pt x="60" y="16"/>
                  </a:moveTo>
                  <a:cubicBezTo>
                    <a:pt x="8" y="16"/>
                    <a:pt x="8" y="16"/>
                    <a:pt x="8" y="16"/>
                  </a:cubicBezTo>
                  <a:cubicBezTo>
                    <a:pt x="4" y="16"/>
                    <a:pt x="0" y="12"/>
                    <a:pt x="0" y="8"/>
                  </a:cubicBezTo>
                  <a:cubicBezTo>
                    <a:pt x="0" y="4"/>
                    <a:pt x="4" y="0"/>
                    <a:pt x="8" y="0"/>
                  </a:cubicBezTo>
                  <a:cubicBezTo>
                    <a:pt x="60" y="0"/>
                    <a:pt x="60" y="0"/>
                    <a:pt x="60" y="0"/>
                  </a:cubicBezTo>
                  <a:cubicBezTo>
                    <a:pt x="64" y="0"/>
                    <a:pt x="68" y="4"/>
                    <a:pt x="68" y="8"/>
                  </a:cubicBezTo>
                  <a:cubicBezTo>
                    <a:pt x="68" y="12"/>
                    <a:pt x="64" y="16"/>
                    <a:pt x="60" y="16"/>
                  </a:cubicBezTo>
                  <a:close/>
                  <a:moveTo>
                    <a:pt x="8" y="4"/>
                  </a:moveTo>
                  <a:cubicBezTo>
                    <a:pt x="6" y="4"/>
                    <a:pt x="4" y="6"/>
                    <a:pt x="4" y="8"/>
                  </a:cubicBezTo>
                  <a:cubicBezTo>
                    <a:pt x="4" y="10"/>
                    <a:pt x="6" y="12"/>
                    <a:pt x="8" y="12"/>
                  </a:cubicBezTo>
                  <a:cubicBezTo>
                    <a:pt x="60" y="12"/>
                    <a:pt x="60" y="12"/>
                    <a:pt x="60" y="12"/>
                  </a:cubicBezTo>
                  <a:cubicBezTo>
                    <a:pt x="62" y="12"/>
                    <a:pt x="64" y="10"/>
                    <a:pt x="64" y="8"/>
                  </a:cubicBezTo>
                  <a:cubicBezTo>
                    <a:pt x="64" y="6"/>
                    <a:pt x="62" y="4"/>
                    <a:pt x="60"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8" name="Freeform 45">
              <a:extLst>
                <a:ext uri="{FF2B5EF4-FFF2-40B4-BE49-F238E27FC236}">
                  <a16:creationId xmlns:a16="http://schemas.microsoft.com/office/drawing/2014/main" id="{14C9BD83-DE14-41B5-BB10-A9BBBDA6135F}"/>
                </a:ext>
              </a:extLst>
            </p:cNvPr>
            <p:cNvSpPr>
              <a:spLocks noEditPoints="1"/>
            </p:cNvSpPr>
            <p:nvPr/>
          </p:nvSpPr>
          <p:spPr bwMode="auto">
            <a:xfrm>
              <a:off x="9956800" y="1624013"/>
              <a:ext cx="231775" cy="61913"/>
            </a:xfrm>
            <a:custGeom>
              <a:avLst/>
              <a:gdLst>
                <a:gd name="T0" fmla="*/ 50 w 60"/>
                <a:gd name="T1" fmla="*/ 16 h 16"/>
                <a:gd name="T2" fmla="*/ 10 w 60"/>
                <a:gd name="T3" fmla="*/ 16 h 16"/>
                <a:gd name="T4" fmla="*/ 0 w 60"/>
                <a:gd name="T5" fmla="*/ 6 h 16"/>
                <a:gd name="T6" fmla="*/ 0 w 60"/>
                <a:gd name="T7" fmla="*/ 2 h 16"/>
                <a:gd name="T8" fmla="*/ 2 w 60"/>
                <a:gd name="T9" fmla="*/ 0 h 16"/>
                <a:gd name="T10" fmla="*/ 58 w 60"/>
                <a:gd name="T11" fmla="*/ 0 h 16"/>
                <a:gd name="T12" fmla="*/ 60 w 60"/>
                <a:gd name="T13" fmla="*/ 2 h 16"/>
                <a:gd name="T14" fmla="*/ 60 w 60"/>
                <a:gd name="T15" fmla="*/ 6 h 16"/>
                <a:gd name="T16" fmla="*/ 50 w 60"/>
                <a:gd name="T17" fmla="*/ 16 h 16"/>
                <a:gd name="T18" fmla="*/ 4 w 60"/>
                <a:gd name="T19" fmla="*/ 4 h 16"/>
                <a:gd name="T20" fmla="*/ 4 w 60"/>
                <a:gd name="T21" fmla="*/ 6 h 16"/>
                <a:gd name="T22" fmla="*/ 10 w 60"/>
                <a:gd name="T23" fmla="*/ 12 h 16"/>
                <a:gd name="T24" fmla="*/ 50 w 60"/>
                <a:gd name="T25" fmla="*/ 12 h 16"/>
                <a:gd name="T26" fmla="*/ 56 w 60"/>
                <a:gd name="T27" fmla="*/ 6 h 16"/>
                <a:gd name="T28" fmla="*/ 56 w 60"/>
                <a:gd name="T29" fmla="*/ 4 h 16"/>
                <a:gd name="T30" fmla="*/ 4 w 60"/>
                <a:gd name="T3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6">
                  <a:moveTo>
                    <a:pt x="50" y="16"/>
                  </a:moveTo>
                  <a:cubicBezTo>
                    <a:pt x="10" y="16"/>
                    <a:pt x="10" y="16"/>
                    <a:pt x="10" y="16"/>
                  </a:cubicBezTo>
                  <a:cubicBezTo>
                    <a:pt x="4" y="16"/>
                    <a:pt x="0" y="12"/>
                    <a:pt x="0" y="6"/>
                  </a:cubicBezTo>
                  <a:cubicBezTo>
                    <a:pt x="0" y="2"/>
                    <a:pt x="0" y="2"/>
                    <a:pt x="0" y="2"/>
                  </a:cubicBezTo>
                  <a:cubicBezTo>
                    <a:pt x="0" y="1"/>
                    <a:pt x="1" y="0"/>
                    <a:pt x="2" y="0"/>
                  </a:cubicBezTo>
                  <a:cubicBezTo>
                    <a:pt x="58" y="0"/>
                    <a:pt x="58" y="0"/>
                    <a:pt x="58" y="0"/>
                  </a:cubicBezTo>
                  <a:cubicBezTo>
                    <a:pt x="59" y="0"/>
                    <a:pt x="60" y="1"/>
                    <a:pt x="60" y="2"/>
                  </a:cubicBezTo>
                  <a:cubicBezTo>
                    <a:pt x="60" y="6"/>
                    <a:pt x="60" y="6"/>
                    <a:pt x="60" y="6"/>
                  </a:cubicBezTo>
                  <a:cubicBezTo>
                    <a:pt x="60" y="12"/>
                    <a:pt x="56" y="16"/>
                    <a:pt x="50" y="16"/>
                  </a:cubicBezTo>
                  <a:close/>
                  <a:moveTo>
                    <a:pt x="4" y="4"/>
                  </a:moveTo>
                  <a:cubicBezTo>
                    <a:pt x="4" y="6"/>
                    <a:pt x="4" y="6"/>
                    <a:pt x="4" y="6"/>
                  </a:cubicBezTo>
                  <a:cubicBezTo>
                    <a:pt x="4" y="9"/>
                    <a:pt x="7" y="12"/>
                    <a:pt x="10" y="12"/>
                  </a:cubicBezTo>
                  <a:cubicBezTo>
                    <a:pt x="50" y="12"/>
                    <a:pt x="50" y="12"/>
                    <a:pt x="50" y="12"/>
                  </a:cubicBezTo>
                  <a:cubicBezTo>
                    <a:pt x="53" y="12"/>
                    <a:pt x="56" y="9"/>
                    <a:pt x="56" y="6"/>
                  </a:cubicBezTo>
                  <a:cubicBezTo>
                    <a:pt x="56" y="4"/>
                    <a:pt x="56" y="4"/>
                    <a:pt x="56"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9" name="Freeform 46">
              <a:extLst>
                <a:ext uri="{FF2B5EF4-FFF2-40B4-BE49-F238E27FC236}">
                  <a16:creationId xmlns:a16="http://schemas.microsoft.com/office/drawing/2014/main" id="{1CB32DB8-614A-480D-860F-1863BF35E2DF}"/>
                </a:ext>
              </a:extLst>
            </p:cNvPr>
            <p:cNvSpPr>
              <a:spLocks/>
            </p:cNvSpPr>
            <p:nvPr/>
          </p:nvSpPr>
          <p:spPr bwMode="auto">
            <a:xfrm>
              <a:off x="9902825" y="1314450"/>
              <a:ext cx="131763" cy="301625"/>
            </a:xfrm>
            <a:custGeom>
              <a:avLst/>
              <a:gdLst>
                <a:gd name="T0" fmla="*/ 2 w 34"/>
                <a:gd name="T1" fmla="*/ 78 h 78"/>
                <a:gd name="T2" fmla="*/ 2 w 34"/>
                <a:gd name="T3" fmla="*/ 78 h 78"/>
                <a:gd name="T4" fmla="*/ 0 w 34"/>
                <a:gd name="T5" fmla="*/ 76 h 78"/>
                <a:gd name="T6" fmla="*/ 8 w 34"/>
                <a:gd name="T7" fmla="*/ 6 h 78"/>
                <a:gd name="T8" fmla="*/ 10 w 34"/>
                <a:gd name="T9" fmla="*/ 2 h 78"/>
                <a:gd name="T10" fmla="*/ 15 w 34"/>
                <a:gd name="T11" fmla="*/ 0 h 78"/>
                <a:gd name="T12" fmla="*/ 32 w 34"/>
                <a:gd name="T13" fmla="*/ 4 h 78"/>
                <a:gd name="T14" fmla="*/ 34 w 34"/>
                <a:gd name="T15" fmla="*/ 7 h 78"/>
                <a:gd name="T16" fmla="*/ 32 w 34"/>
                <a:gd name="T17" fmla="*/ 8 h 78"/>
                <a:gd name="T18" fmla="*/ 14 w 34"/>
                <a:gd name="T19" fmla="*/ 4 h 78"/>
                <a:gd name="T20" fmla="*/ 13 w 34"/>
                <a:gd name="T21" fmla="*/ 4 h 78"/>
                <a:gd name="T22" fmla="*/ 12 w 34"/>
                <a:gd name="T23" fmla="*/ 6 h 78"/>
                <a:gd name="T24" fmla="*/ 12 w 34"/>
                <a:gd name="T25" fmla="*/ 7 h 78"/>
                <a:gd name="T26" fmla="*/ 4 w 34"/>
                <a:gd name="T27" fmla="*/ 76 h 78"/>
                <a:gd name="T28" fmla="*/ 2 w 34"/>
                <a:gd name="T2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78">
                  <a:moveTo>
                    <a:pt x="2" y="78"/>
                  </a:moveTo>
                  <a:cubicBezTo>
                    <a:pt x="2" y="78"/>
                    <a:pt x="2" y="78"/>
                    <a:pt x="2" y="78"/>
                  </a:cubicBezTo>
                  <a:cubicBezTo>
                    <a:pt x="0" y="78"/>
                    <a:pt x="0" y="77"/>
                    <a:pt x="0" y="76"/>
                  </a:cubicBezTo>
                  <a:cubicBezTo>
                    <a:pt x="8" y="6"/>
                    <a:pt x="8" y="6"/>
                    <a:pt x="8" y="6"/>
                  </a:cubicBezTo>
                  <a:cubicBezTo>
                    <a:pt x="8" y="5"/>
                    <a:pt x="8" y="3"/>
                    <a:pt x="10" y="2"/>
                  </a:cubicBezTo>
                  <a:cubicBezTo>
                    <a:pt x="11" y="0"/>
                    <a:pt x="13" y="0"/>
                    <a:pt x="15" y="0"/>
                  </a:cubicBezTo>
                  <a:cubicBezTo>
                    <a:pt x="32" y="4"/>
                    <a:pt x="32" y="4"/>
                    <a:pt x="32" y="4"/>
                  </a:cubicBezTo>
                  <a:cubicBezTo>
                    <a:pt x="34" y="5"/>
                    <a:pt x="34" y="6"/>
                    <a:pt x="34" y="7"/>
                  </a:cubicBezTo>
                  <a:cubicBezTo>
                    <a:pt x="34" y="8"/>
                    <a:pt x="33" y="8"/>
                    <a:pt x="32" y="8"/>
                  </a:cubicBezTo>
                  <a:cubicBezTo>
                    <a:pt x="14" y="4"/>
                    <a:pt x="14" y="4"/>
                    <a:pt x="14" y="4"/>
                  </a:cubicBezTo>
                  <a:cubicBezTo>
                    <a:pt x="14" y="4"/>
                    <a:pt x="13" y="4"/>
                    <a:pt x="13" y="4"/>
                  </a:cubicBezTo>
                  <a:cubicBezTo>
                    <a:pt x="12" y="5"/>
                    <a:pt x="12" y="6"/>
                    <a:pt x="12" y="6"/>
                  </a:cubicBezTo>
                  <a:cubicBezTo>
                    <a:pt x="12" y="6"/>
                    <a:pt x="12" y="7"/>
                    <a:pt x="12" y="7"/>
                  </a:cubicBezTo>
                  <a:cubicBezTo>
                    <a:pt x="4" y="76"/>
                    <a:pt x="4" y="76"/>
                    <a:pt x="4" y="76"/>
                  </a:cubicBezTo>
                  <a:cubicBezTo>
                    <a:pt x="4" y="77"/>
                    <a:pt x="3" y="78"/>
                    <a:pt x="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0" name="Oval 47">
              <a:extLst>
                <a:ext uri="{FF2B5EF4-FFF2-40B4-BE49-F238E27FC236}">
                  <a16:creationId xmlns:a16="http://schemas.microsoft.com/office/drawing/2014/main" id="{65347D96-7B17-4147-866E-272568D7BF54}"/>
                </a:ext>
              </a:extLst>
            </p:cNvPr>
            <p:cNvSpPr>
              <a:spLocks noChangeArrowheads="1"/>
            </p:cNvSpPr>
            <p:nvPr/>
          </p:nvSpPr>
          <p:spPr bwMode="auto">
            <a:xfrm>
              <a:off x="10096500" y="1531938"/>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1" name="Oval 48">
              <a:extLst>
                <a:ext uri="{FF2B5EF4-FFF2-40B4-BE49-F238E27FC236}">
                  <a16:creationId xmlns:a16="http://schemas.microsoft.com/office/drawing/2014/main" id="{E922BC31-5AF5-4817-805C-67019F7C2FFA}"/>
                </a:ext>
              </a:extLst>
            </p:cNvPr>
            <p:cNvSpPr>
              <a:spLocks noChangeArrowheads="1"/>
            </p:cNvSpPr>
            <p:nvPr/>
          </p:nvSpPr>
          <p:spPr bwMode="auto">
            <a:xfrm>
              <a:off x="10034588" y="1531938"/>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2" name="Oval 49">
              <a:extLst>
                <a:ext uri="{FF2B5EF4-FFF2-40B4-BE49-F238E27FC236}">
                  <a16:creationId xmlns:a16="http://schemas.microsoft.com/office/drawing/2014/main" id="{F8E9C35B-1323-4112-BB9D-858CD89A65CD}"/>
                </a:ext>
              </a:extLst>
            </p:cNvPr>
            <p:cNvSpPr>
              <a:spLocks noChangeArrowheads="1"/>
            </p:cNvSpPr>
            <p:nvPr/>
          </p:nvSpPr>
          <p:spPr bwMode="auto">
            <a:xfrm>
              <a:off x="10064750" y="1546225"/>
              <a:ext cx="15875"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13" name="Gruppieren 812">
            <a:extLst>
              <a:ext uri="{FF2B5EF4-FFF2-40B4-BE49-F238E27FC236}">
                <a16:creationId xmlns:a16="http://schemas.microsoft.com/office/drawing/2014/main" id="{4B05BE59-56DD-4C96-BCD9-A75985525890}"/>
              </a:ext>
            </a:extLst>
          </p:cNvPr>
          <p:cNvGrpSpPr>
            <a:grpSpLocks noChangeAspect="1"/>
          </p:cNvGrpSpPr>
          <p:nvPr/>
        </p:nvGrpSpPr>
        <p:grpSpPr>
          <a:xfrm>
            <a:off x="1504392" y="5944848"/>
            <a:ext cx="234517" cy="308144"/>
            <a:chOff x="6130925" y="2808288"/>
            <a:chExt cx="955675" cy="1255712"/>
          </a:xfrm>
          <a:solidFill>
            <a:schemeClr val="bg2"/>
          </a:solidFill>
        </p:grpSpPr>
        <p:sp>
          <p:nvSpPr>
            <p:cNvPr id="814" name="Freeform 157">
              <a:extLst>
                <a:ext uri="{FF2B5EF4-FFF2-40B4-BE49-F238E27FC236}">
                  <a16:creationId xmlns:a16="http://schemas.microsoft.com/office/drawing/2014/main" id="{CEBF3A89-58E2-446F-B076-8696CCCC22B8}"/>
                </a:ext>
              </a:extLst>
            </p:cNvPr>
            <p:cNvSpPr>
              <a:spLocks noEditPoints="1"/>
            </p:cNvSpPr>
            <p:nvPr/>
          </p:nvSpPr>
          <p:spPr bwMode="auto">
            <a:xfrm>
              <a:off x="6130925" y="3340100"/>
              <a:ext cx="955675" cy="723900"/>
            </a:xfrm>
            <a:custGeom>
              <a:avLst/>
              <a:gdLst>
                <a:gd name="T0" fmla="*/ 1249 w 1441"/>
                <a:gd name="T1" fmla="*/ 130 h 1090"/>
                <a:gd name="T2" fmla="*/ 1144 w 1441"/>
                <a:gd name="T3" fmla="*/ 130 h 1090"/>
                <a:gd name="T4" fmla="*/ 1153 w 1441"/>
                <a:gd name="T5" fmla="*/ 37 h 1090"/>
                <a:gd name="T6" fmla="*/ 1124 w 1441"/>
                <a:gd name="T7" fmla="*/ 2 h 1090"/>
                <a:gd name="T8" fmla="*/ 1089 w 1441"/>
                <a:gd name="T9" fmla="*/ 31 h 1090"/>
                <a:gd name="T10" fmla="*/ 1014 w 1441"/>
                <a:gd name="T11" fmla="*/ 823 h 1090"/>
                <a:gd name="T12" fmla="*/ 792 w 1441"/>
                <a:gd name="T13" fmla="*/ 1026 h 1090"/>
                <a:gd name="T14" fmla="*/ 363 w 1441"/>
                <a:gd name="T15" fmla="*/ 1026 h 1090"/>
                <a:gd name="T16" fmla="*/ 140 w 1441"/>
                <a:gd name="T17" fmla="*/ 823 h 1090"/>
                <a:gd name="T18" fmla="*/ 68 w 1441"/>
                <a:gd name="T19" fmla="*/ 66 h 1090"/>
                <a:gd name="T20" fmla="*/ 721 w 1441"/>
                <a:gd name="T21" fmla="*/ 66 h 1090"/>
                <a:gd name="T22" fmla="*/ 753 w 1441"/>
                <a:gd name="T23" fmla="*/ 34 h 1090"/>
                <a:gd name="T24" fmla="*/ 721 w 1441"/>
                <a:gd name="T25" fmla="*/ 2 h 1090"/>
                <a:gd name="T26" fmla="*/ 49 w 1441"/>
                <a:gd name="T27" fmla="*/ 2 h 1090"/>
                <a:gd name="T28" fmla="*/ 41 w 1441"/>
                <a:gd name="T29" fmla="*/ 4 h 1090"/>
                <a:gd name="T30" fmla="*/ 30 w 1441"/>
                <a:gd name="T31" fmla="*/ 2 h 1090"/>
                <a:gd name="T32" fmla="*/ 1 w 1441"/>
                <a:gd name="T33" fmla="*/ 37 h 1090"/>
                <a:gd name="T34" fmla="*/ 76 w 1441"/>
                <a:gd name="T35" fmla="*/ 829 h 1090"/>
                <a:gd name="T36" fmla="*/ 363 w 1441"/>
                <a:gd name="T37" fmla="*/ 1090 h 1090"/>
                <a:gd name="T38" fmla="*/ 792 w 1441"/>
                <a:gd name="T39" fmla="*/ 1090 h 1090"/>
                <a:gd name="T40" fmla="*/ 1078 w 1441"/>
                <a:gd name="T41" fmla="*/ 829 h 1090"/>
                <a:gd name="T42" fmla="*/ 1084 w 1441"/>
                <a:gd name="T43" fmla="*/ 754 h 1090"/>
                <a:gd name="T44" fmla="*/ 1249 w 1441"/>
                <a:gd name="T45" fmla="*/ 754 h 1090"/>
                <a:gd name="T46" fmla="*/ 1441 w 1441"/>
                <a:gd name="T47" fmla="*/ 562 h 1090"/>
                <a:gd name="T48" fmla="*/ 1441 w 1441"/>
                <a:gd name="T49" fmla="*/ 322 h 1090"/>
                <a:gd name="T50" fmla="*/ 1249 w 1441"/>
                <a:gd name="T51" fmla="*/ 130 h 1090"/>
                <a:gd name="T52" fmla="*/ 1249 w 1441"/>
                <a:gd name="T53" fmla="*/ 690 h 1090"/>
                <a:gd name="T54" fmla="*/ 1091 w 1441"/>
                <a:gd name="T55" fmla="*/ 690 h 1090"/>
                <a:gd name="T56" fmla="*/ 1137 w 1441"/>
                <a:gd name="T57" fmla="*/ 194 h 1090"/>
                <a:gd name="T58" fmla="*/ 1248 w 1441"/>
                <a:gd name="T59" fmla="*/ 194 h 1090"/>
                <a:gd name="T60" fmla="*/ 1376 w 1441"/>
                <a:gd name="T61" fmla="*/ 322 h 1090"/>
                <a:gd name="T62" fmla="*/ 1376 w 1441"/>
                <a:gd name="T63" fmla="*/ 562 h 1090"/>
                <a:gd name="T64" fmla="*/ 1377 w 1441"/>
                <a:gd name="T65" fmla="*/ 562 h 1090"/>
                <a:gd name="T66" fmla="*/ 1249 w 1441"/>
                <a:gd name="T67" fmla="*/ 69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1" h="1090">
                  <a:moveTo>
                    <a:pt x="1249" y="130"/>
                  </a:moveTo>
                  <a:cubicBezTo>
                    <a:pt x="1144" y="130"/>
                    <a:pt x="1144" y="130"/>
                    <a:pt x="1144" y="130"/>
                  </a:cubicBezTo>
                  <a:cubicBezTo>
                    <a:pt x="1153" y="37"/>
                    <a:pt x="1153" y="37"/>
                    <a:pt x="1153" y="37"/>
                  </a:cubicBezTo>
                  <a:cubicBezTo>
                    <a:pt x="1155" y="20"/>
                    <a:pt x="1142" y="4"/>
                    <a:pt x="1124" y="2"/>
                  </a:cubicBezTo>
                  <a:cubicBezTo>
                    <a:pt x="1107" y="0"/>
                    <a:pt x="1091" y="13"/>
                    <a:pt x="1089" y="31"/>
                  </a:cubicBezTo>
                  <a:cubicBezTo>
                    <a:pt x="1014" y="823"/>
                    <a:pt x="1014" y="823"/>
                    <a:pt x="1014" y="823"/>
                  </a:cubicBezTo>
                  <a:cubicBezTo>
                    <a:pt x="1003" y="938"/>
                    <a:pt x="907" y="1026"/>
                    <a:pt x="792" y="1026"/>
                  </a:cubicBezTo>
                  <a:cubicBezTo>
                    <a:pt x="363" y="1026"/>
                    <a:pt x="363" y="1026"/>
                    <a:pt x="363" y="1026"/>
                  </a:cubicBezTo>
                  <a:cubicBezTo>
                    <a:pt x="246" y="1026"/>
                    <a:pt x="150" y="940"/>
                    <a:pt x="140" y="823"/>
                  </a:cubicBezTo>
                  <a:cubicBezTo>
                    <a:pt x="68" y="66"/>
                    <a:pt x="68" y="66"/>
                    <a:pt x="68" y="66"/>
                  </a:cubicBezTo>
                  <a:cubicBezTo>
                    <a:pt x="721" y="66"/>
                    <a:pt x="721" y="66"/>
                    <a:pt x="721" y="66"/>
                  </a:cubicBezTo>
                  <a:cubicBezTo>
                    <a:pt x="739" y="66"/>
                    <a:pt x="753" y="52"/>
                    <a:pt x="753" y="34"/>
                  </a:cubicBezTo>
                  <a:cubicBezTo>
                    <a:pt x="753" y="16"/>
                    <a:pt x="739" y="2"/>
                    <a:pt x="721" y="2"/>
                  </a:cubicBezTo>
                  <a:cubicBezTo>
                    <a:pt x="49" y="2"/>
                    <a:pt x="49" y="2"/>
                    <a:pt x="49" y="2"/>
                  </a:cubicBezTo>
                  <a:cubicBezTo>
                    <a:pt x="46" y="2"/>
                    <a:pt x="44" y="2"/>
                    <a:pt x="41" y="4"/>
                  </a:cubicBezTo>
                  <a:cubicBezTo>
                    <a:pt x="38" y="2"/>
                    <a:pt x="33" y="2"/>
                    <a:pt x="30" y="2"/>
                  </a:cubicBezTo>
                  <a:cubicBezTo>
                    <a:pt x="12" y="4"/>
                    <a:pt x="0" y="20"/>
                    <a:pt x="1" y="37"/>
                  </a:cubicBezTo>
                  <a:cubicBezTo>
                    <a:pt x="76" y="829"/>
                    <a:pt x="76" y="829"/>
                    <a:pt x="76" y="829"/>
                  </a:cubicBezTo>
                  <a:cubicBezTo>
                    <a:pt x="89" y="978"/>
                    <a:pt x="212" y="1090"/>
                    <a:pt x="363" y="1090"/>
                  </a:cubicBezTo>
                  <a:cubicBezTo>
                    <a:pt x="792" y="1090"/>
                    <a:pt x="792" y="1090"/>
                    <a:pt x="792" y="1090"/>
                  </a:cubicBezTo>
                  <a:cubicBezTo>
                    <a:pt x="940" y="1090"/>
                    <a:pt x="1064" y="978"/>
                    <a:pt x="1078" y="829"/>
                  </a:cubicBezTo>
                  <a:cubicBezTo>
                    <a:pt x="1084" y="754"/>
                    <a:pt x="1084" y="754"/>
                    <a:pt x="1084" y="754"/>
                  </a:cubicBezTo>
                  <a:cubicBezTo>
                    <a:pt x="1249" y="754"/>
                    <a:pt x="1249" y="754"/>
                    <a:pt x="1249" y="754"/>
                  </a:cubicBezTo>
                  <a:cubicBezTo>
                    <a:pt x="1355" y="754"/>
                    <a:pt x="1441" y="668"/>
                    <a:pt x="1441" y="562"/>
                  </a:cubicBezTo>
                  <a:cubicBezTo>
                    <a:pt x="1441" y="322"/>
                    <a:pt x="1441" y="322"/>
                    <a:pt x="1441" y="322"/>
                  </a:cubicBezTo>
                  <a:cubicBezTo>
                    <a:pt x="1441" y="216"/>
                    <a:pt x="1355" y="130"/>
                    <a:pt x="1249" y="130"/>
                  </a:cubicBezTo>
                  <a:close/>
                  <a:moveTo>
                    <a:pt x="1249" y="690"/>
                  </a:moveTo>
                  <a:cubicBezTo>
                    <a:pt x="1091" y="690"/>
                    <a:pt x="1091" y="690"/>
                    <a:pt x="1091" y="690"/>
                  </a:cubicBezTo>
                  <a:cubicBezTo>
                    <a:pt x="1137" y="194"/>
                    <a:pt x="1137" y="194"/>
                    <a:pt x="1137" y="194"/>
                  </a:cubicBezTo>
                  <a:cubicBezTo>
                    <a:pt x="1248" y="194"/>
                    <a:pt x="1248" y="194"/>
                    <a:pt x="1248" y="194"/>
                  </a:cubicBezTo>
                  <a:cubicBezTo>
                    <a:pt x="1318" y="194"/>
                    <a:pt x="1376" y="252"/>
                    <a:pt x="1376" y="322"/>
                  </a:cubicBezTo>
                  <a:cubicBezTo>
                    <a:pt x="1376" y="562"/>
                    <a:pt x="1376" y="562"/>
                    <a:pt x="1376" y="562"/>
                  </a:cubicBezTo>
                  <a:cubicBezTo>
                    <a:pt x="1377" y="562"/>
                    <a:pt x="1377" y="562"/>
                    <a:pt x="1377" y="562"/>
                  </a:cubicBezTo>
                  <a:cubicBezTo>
                    <a:pt x="1377" y="632"/>
                    <a:pt x="1320" y="690"/>
                    <a:pt x="1249"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5" name="Freeform 158">
              <a:extLst>
                <a:ext uri="{FF2B5EF4-FFF2-40B4-BE49-F238E27FC236}">
                  <a16:creationId xmlns:a16="http://schemas.microsoft.com/office/drawing/2014/main" id="{1D26DF14-979C-4216-AFAD-1C5B5316E555}"/>
                </a:ext>
              </a:extLst>
            </p:cNvPr>
            <p:cNvSpPr>
              <a:spLocks/>
            </p:cNvSpPr>
            <p:nvPr/>
          </p:nvSpPr>
          <p:spPr bwMode="auto">
            <a:xfrm>
              <a:off x="6683375" y="3341688"/>
              <a:ext cx="74613" cy="42863"/>
            </a:xfrm>
            <a:custGeom>
              <a:avLst/>
              <a:gdLst>
                <a:gd name="T0" fmla="*/ 0 w 112"/>
                <a:gd name="T1" fmla="*/ 32 h 64"/>
                <a:gd name="T2" fmla="*/ 32 w 112"/>
                <a:gd name="T3" fmla="*/ 64 h 64"/>
                <a:gd name="T4" fmla="*/ 80 w 112"/>
                <a:gd name="T5" fmla="*/ 64 h 64"/>
                <a:gd name="T6" fmla="*/ 112 w 112"/>
                <a:gd name="T7" fmla="*/ 32 h 64"/>
                <a:gd name="T8" fmla="*/ 80 w 112"/>
                <a:gd name="T9" fmla="*/ 0 h 64"/>
                <a:gd name="T10" fmla="*/ 32 w 112"/>
                <a:gd name="T11" fmla="*/ 0 h 64"/>
                <a:gd name="T12" fmla="*/ 0 w 112"/>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112" h="64">
                  <a:moveTo>
                    <a:pt x="0" y="32"/>
                  </a:moveTo>
                  <a:cubicBezTo>
                    <a:pt x="0" y="50"/>
                    <a:pt x="15" y="64"/>
                    <a:pt x="32" y="64"/>
                  </a:cubicBezTo>
                  <a:cubicBezTo>
                    <a:pt x="80" y="64"/>
                    <a:pt x="80" y="64"/>
                    <a:pt x="80" y="64"/>
                  </a:cubicBezTo>
                  <a:cubicBezTo>
                    <a:pt x="98" y="64"/>
                    <a:pt x="112" y="50"/>
                    <a:pt x="112" y="32"/>
                  </a:cubicBezTo>
                  <a:cubicBezTo>
                    <a:pt x="112" y="14"/>
                    <a:pt x="98" y="0"/>
                    <a:pt x="80" y="0"/>
                  </a:cubicBezTo>
                  <a:cubicBezTo>
                    <a:pt x="32" y="0"/>
                    <a:pt x="32" y="0"/>
                    <a:pt x="32" y="0"/>
                  </a:cubicBezTo>
                  <a:cubicBezTo>
                    <a:pt x="15"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6" name="Freeform 159">
              <a:extLst>
                <a:ext uri="{FF2B5EF4-FFF2-40B4-BE49-F238E27FC236}">
                  <a16:creationId xmlns:a16="http://schemas.microsoft.com/office/drawing/2014/main" id="{2916F9E2-09A0-4848-815D-9D5067961DE7}"/>
                </a:ext>
              </a:extLst>
            </p:cNvPr>
            <p:cNvSpPr>
              <a:spLocks/>
            </p:cNvSpPr>
            <p:nvPr/>
          </p:nvSpPr>
          <p:spPr bwMode="auto">
            <a:xfrm>
              <a:off x="6297613" y="2928938"/>
              <a:ext cx="100013" cy="338138"/>
            </a:xfrm>
            <a:custGeom>
              <a:avLst/>
              <a:gdLst>
                <a:gd name="T0" fmla="*/ 56 w 152"/>
                <a:gd name="T1" fmla="*/ 486 h 510"/>
                <a:gd name="T2" fmla="*/ 86 w 152"/>
                <a:gd name="T3" fmla="*/ 510 h 510"/>
                <a:gd name="T4" fmla="*/ 94 w 152"/>
                <a:gd name="T5" fmla="*/ 508 h 510"/>
                <a:gd name="T6" fmla="*/ 117 w 152"/>
                <a:gd name="T7" fmla="*/ 468 h 510"/>
                <a:gd name="T8" fmla="*/ 81 w 152"/>
                <a:gd name="T9" fmla="*/ 344 h 510"/>
                <a:gd name="T10" fmla="*/ 102 w 152"/>
                <a:gd name="T11" fmla="*/ 182 h 510"/>
                <a:gd name="T12" fmla="*/ 115 w 152"/>
                <a:gd name="T13" fmla="*/ 161 h 510"/>
                <a:gd name="T14" fmla="*/ 152 w 152"/>
                <a:gd name="T15" fmla="*/ 32 h 510"/>
                <a:gd name="T16" fmla="*/ 120 w 152"/>
                <a:gd name="T17" fmla="*/ 0 h 510"/>
                <a:gd name="T18" fmla="*/ 88 w 152"/>
                <a:gd name="T19" fmla="*/ 32 h 510"/>
                <a:gd name="T20" fmla="*/ 61 w 152"/>
                <a:gd name="T21" fmla="*/ 129 h 510"/>
                <a:gd name="T22" fmla="*/ 48 w 152"/>
                <a:gd name="T23" fmla="*/ 150 h 510"/>
                <a:gd name="T24" fmla="*/ 21 w 152"/>
                <a:gd name="T25" fmla="*/ 363 h 510"/>
                <a:gd name="T26" fmla="*/ 56 w 152"/>
                <a:gd name="T27" fmla="*/ 48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10">
                  <a:moveTo>
                    <a:pt x="56" y="486"/>
                  </a:moveTo>
                  <a:cubicBezTo>
                    <a:pt x="59" y="500"/>
                    <a:pt x="73" y="510"/>
                    <a:pt x="86" y="510"/>
                  </a:cubicBezTo>
                  <a:cubicBezTo>
                    <a:pt x="89" y="510"/>
                    <a:pt x="93" y="510"/>
                    <a:pt x="94" y="508"/>
                  </a:cubicBezTo>
                  <a:cubicBezTo>
                    <a:pt x="112" y="504"/>
                    <a:pt x="121" y="486"/>
                    <a:pt x="117" y="468"/>
                  </a:cubicBezTo>
                  <a:cubicBezTo>
                    <a:pt x="81" y="344"/>
                    <a:pt x="81" y="344"/>
                    <a:pt x="81" y="344"/>
                  </a:cubicBezTo>
                  <a:cubicBezTo>
                    <a:pt x="65" y="289"/>
                    <a:pt x="73" y="232"/>
                    <a:pt x="102" y="182"/>
                  </a:cubicBezTo>
                  <a:cubicBezTo>
                    <a:pt x="115" y="161"/>
                    <a:pt x="115" y="161"/>
                    <a:pt x="115" y="161"/>
                  </a:cubicBezTo>
                  <a:cubicBezTo>
                    <a:pt x="139" y="120"/>
                    <a:pt x="152" y="76"/>
                    <a:pt x="152" y="32"/>
                  </a:cubicBezTo>
                  <a:cubicBezTo>
                    <a:pt x="152" y="14"/>
                    <a:pt x="137" y="0"/>
                    <a:pt x="120" y="0"/>
                  </a:cubicBezTo>
                  <a:cubicBezTo>
                    <a:pt x="102" y="0"/>
                    <a:pt x="88" y="14"/>
                    <a:pt x="88" y="32"/>
                  </a:cubicBezTo>
                  <a:cubicBezTo>
                    <a:pt x="88" y="65"/>
                    <a:pt x="78" y="97"/>
                    <a:pt x="61" y="129"/>
                  </a:cubicBezTo>
                  <a:cubicBezTo>
                    <a:pt x="48" y="150"/>
                    <a:pt x="48" y="150"/>
                    <a:pt x="48" y="150"/>
                  </a:cubicBezTo>
                  <a:cubicBezTo>
                    <a:pt x="9" y="214"/>
                    <a:pt x="0" y="291"/>
                    <a:pt x="21" y="363"/>
                  </a:cubicBezTo>
                  <a:lnTo>
                    <a:pt x="5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7" name="Freeform 160">
              <a:extLst>
                <a:ext uri="{FF2B5EF4-FFF2-40B4-BE49-F238E27FC236}">
                  <a16:creationId xmlns:a16="http://schemas.microsoft.com/office/drawing/2014/main" id="{574D6236-D7E2-46DF-94E1-D183EA1A4470}"/>
                </a:ext>
              </a:extLst>
            </p:cNvPr>
            <p:cNvSpPr>
              <a:spLocks/>
            </p:cNvSpPr>
            <p:nvPr/>
          </p:nvSpPr>
          <p:spPr bwMode="auto">
            <a:xfrm>
              <a:off x="6456363" y="2808288"/>
              <a:ext cx="106363" cy="458788"/>
            </a:xfrm>
            <a:custGeom>
              <a:avLst/>
              <a:gdLst>
                <a:gd name="T0" fmla="*/ 56 w 160"/>
                <a:gd name="T1" fmla="*/ 669 h 693"/>
                <a:gd name="T2" fmla="*/ 86 w 160"/>
                <a:gd name="T3" fmla="*/ 693 h 693"/>
                <a:gd name="T4" fmla="*/ 94 w 160"/>
                <a:gd name="T5" fmla="*/ 691 h 693"/>
                <a:gd name="T6" fmla="*/ 117 w 160"/>
                <a:gd name="T7" fmla="*/ 651 h 693"/>
                <a:gd name="T8" fmla="*/ 81 w 160"/>
                <a:gd name="T9" fmla="*/ 527 h 693"/>
                <a:gd name="T10" fmla="*/ 102 w 160"/>
                <a:gd name="T11" fmla="*/ 365 h 693"/>
                <a:gd name="T12" fmla="*/ 115 w 160"/>
                <a:gd name="T13" fmla="*/ 343 h 693"/>
                <a:gd name="T14" fmla="*/ 145 w 160"/>
                <a:gd name="T15" fmla="*/ 144 h 693"/>
                <a:gd name="T16" fmla="*/ 117 w 160"/>
                <a:gd name="T17" fmla="*/ 27 h 693"/>
                <a:gd name="T18" fmla="*/ 78 w 160"/>
                <a:gd name="T19" fmla="*/ 3 h 693"/>
                <a:gd name="T20" fmla="*/ 54 w 160"/>
                <a:gd name="T21" fmla="*/ 42 h 693"/>
                <a:gd name="T22" fmla="*/ 83 w 160"/>
                <a:gd name="T23" fmla="*/ 157 h 693"/>
                <a:gd name="T24" fmla="*/ 61 w 160"/>
                <a:gd name="T25" fmla="*/ 307 h 693"/>
                <a:gd name="T26" fmla="*/ 48 w 160"/>
                <a:gd name="T27" fmla="*/ 328 h 693"/>
                <a:gd name="T28" fmla="*/ 21 w 160"/>
                <a:gd name="T29" fmla="*/ 541 h 693"/>
                <a:gd name="T30" fmla="*/ 56 w 160"/>
                <a:gd name="T31" fmla="*/ 669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693">
                  <a:moveTo>
                    <a:pt x="56" y="669"/>
                  </a:moveTo>
                  <a:cubicBezTo>
                    <a:pt x="59" y="683"/>
                    <a:pt x="73" y="693"/>
                    <a:pt x="86" y="693"/>
                  </a:cubicBezTo>
                  <a:cubicBezTo>
                    <a:pt x="89" y="693"/>
                    <a:pt x="93" y="693"/>
                    <a:pt x="94" y="691"/>
                  </a:cubicBezTo>
                  <a:cubicBezTo>
                    <a:pt x="112" y="687"/>
                    <a:pt x="121" y="669"/>
                    <a:pt x="117" y="651"/>
                  </a:cubicBezTo>
                  <a:cubicBezTo>
                    <a:pt x="81" y="527"/>
                    <a:pt x="81" y="527"/>
                    <a:pt x="81" y="527"/>
                  </a:cubicBezTo>
                  <a:cubicBezTo>
                    <a:pt x="65" y="472"/>
                    <a:pt x="73" y="415"/>
                    <a:pt x="102" y="365"/>
                  </a:cubicBezTo>
                  <a:cubicBezTo>
                    <a:pt x="115" y="343"/>
                    <a:pt x="115" y="343"/>
                    <a:pt x="115" y="343"/>
                  </a:cubicBezTo>
                  <a:cubicBezTo>
                    <a:pt x="149" y="283"/>
                    <a:pt x="160" y="213"/>
                    <a:pt x="145" y="144"/>
                  </a:cubicBezTo>
                  <a:cubicBezTo>
                    <a:pt x="117" y="27"/>
                    <a:pt x="117" y="27"/>
                    <a:pt x="117" y="27"/>
                  </a:cubicBezTo>
                  <a:cubicBezTo>
                    <a:pt x="112" y="10"/>
                    <a:pt x="96" y="0"/>
                    <a:pt x="78" y="3"/>
                  </a:cubicBezTo>
                  <a:cubicBezTo>
                    <a:pt x="61" y="8"/>
                    <a:pt x="51" y="24"/>
                    <a:pt x="54" y="42"/>
                  </a:cubicBezTo>
                  <a:cubicBezTo>
                    <a:pt x="83" y="157"/>
                    <a:pt x="83" y="157"/>
                    <a:pt x="83" y="157"/>
                  </a:cubicBezTo>
                  <a:cubicBezTo>
                    <a:pt x="94" y="208"/>
                    <a:pt x="86" y="263"/>
                    <a:pt x="61" y="307"/>
                  </a:cubicBezTo>
                  <a:cubicBezTo>
                    <a:pt x="48" y="328"/>
                    <a:pt x="48" y="328"/>
                    <a:pt x="48" y="328"/>
                  </a:cubicBezTo>
                  <a:cubicBezTo>
                    <a:pt x="9" y="392"/>
                    <a:pt x="0" y="469"/>
                    <a:pt x="21" y="541"/>
                  </a:cubicBezTo>
                  <a:lnTo>
                    <a:pt x="56" y="6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8" name="Freeform 161">
              <a:extLst>
                <a:ext uri="{FF2B5EF4-FFF2-40B4-BE49-F238E27FC236}">
                  <a16:creationId xmlns:a16="http://schemas.microsoft.com/office/drawing/2014/main" id="{CD4B1DFC-8951-4547-8297-1575AEF96D23}"/>
                </a:ext>
              </a:extLst>
            </p:cNvPr>
            <p:cNvSpPr>
              <a:spLocks/>
            </p:cNvSpPr>
            <p:nvPr/>
          </p:nvSpPr>
          <p:spPr bwMode="auto">
            <a:xfrm>
              <a:off x="6615113" y="3014663"/>
              <a:ext cx="80963" cy="252413"/>
            </a:xfrm>
            <a:custGeom>
              <a:avLst/>
              <a:gdLst>
                <a:gd name="T0" fmla="*/ 56 w 121"/>
                <a:gd name="T1" fmla="*/ 357 h 381"/>
                <a:gd name="T2" fmla="*/ 86 w 121"/>
                <a:gd name="T3" fmla="*/ 381 h 381"/>
                <a:gd name="T4" fmla="*/ 94 w 121"/>
                <a:gd name="T5" fmla="*/ 379 h 381"/>
                <a:gd name="T6" fmla="*/ 117 w 121"/>
                <a:gd name="T7" fmla="*/ 339 h 381"/>
                <a:gd name="T8" fmla="*/ 81 w 121"/>
                <a:gd name="T9" fmla="*/ 215 h 381"/>
                <a:gd name="T10" fmla="*/ 102 w 121"/>
                <a:gd name="T11" fmla="*/ 53 h 381"/>
                <a:gd name="T12" fmla="*/ 91 w 121"/>
                <a:gd name="T13" fmla="*/ 10 h 381"/>
                <a:gd name="T14" fmla="*/ 48 w 121"/>
                <a:gd name="T15" fmla="*/ 21 h 381"/>
                <a:gd name="T16" fmla="*/ 21 w 121"/>
                <a:gd name="T17" fmla="*/ 234 h 381"/>
                <a:gd name="T18" fmla="*/ 56 w 121"/>
                <a:gd name="T19" fmla="*/ 35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381">
                  <a:moveTo>
                    <a:pt x="56" y="357"/>
                  </a:moveTo>
                  <a:cubicBezTo>
                    <a:pt x="59" y="371"/>
                    <a:pt x="73" y="381"/>
                    <a:pt x="86" y="381"/>
                  </a:cubicBezTo>
                  <a:cubicBezTo>
                    <a:pt x="89" y="381"/>
                    <a:pt x="93" y="381"/>
                    <a:pt x="94" y="379"/>
                  </a:cubicBezTo>
                  <a:cubicBezTo>
                    <a:pt x="112" y="375"/>
                    <a:pt x="121" y="357"/>
                    <a:pt x="117" y="339"/>
                  </a:cubicBezTo>
                  <a:cubicBezTo>
                    <a:pt x="81" y="215"/>
                    <a:pt x="81" y="215"/>
                    <a:pt x="81" y="215"/>
                  </a:cubicBezTo>
                  <a:cubicBezTo>
                    <a:pt x="65" y="160"/>
                    <a:pt x="73" y="103"/>
                    <a:pt x="102" y="53"/>
                  </a:cubicBezTo>
                  <a:cubicBezTo>
                    <a:pt x="112" y="37"/>
                    <a:pt x="105" y="18"/>
                    <a:pt x="91" y="10"/>
                  </a:cubicBezTo>
                  <a:cubicBezTo>
                    <a:pt x="75" y="0"/>
                    <a:pt x="56" y="7"/>
                    <a:pt x="48" y="21"/>
                  </a:cubicBezTo>
                  <a:cubicBezTo>
                    <a:pt x="9" y="85"/>
                    <a:pt x="0" y="162"/>
                    <a:pt x="21" y="234"/>
                  </a:cubicBezTo>
                  <a:lnTo>
                    <a:pt x="56"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19" name="Gruppieren 818">
            <a:extLst>
              <a:ext uri="{FF2B5EF4-FFF2-40B4-BE49-F238E27FC236}">
                <a16:creationId xmlns:a16="http://schemas.microsoft.com/office/drawing/2014/main" id="{FA2E7D4D-925F-4358-8E56-7C5572CB31F2}"/>
              </a:ext>
            </a:extLst>
          </p:cNvPr>
          <p:cNvGrpSpPr>
            <a:grpSpLocks noChangeAspect="1"/>
          </p:cNvGrpSpPr>
          <p:nvPr/>
        </p:nvGrpSpPr>
        <p:grpSpPr>
          <a:xfrm>
            <a:off x="1882625" y="5944848"/>
            <a:ext cx="308144" cy="308144"/>
            <a:chOff x="7883525" y="5218113"/>
            <a:chExt cx="817563" cy="817562"/>
          </a:xfrm>
          <a:solidFill>
            <a:schemeClr val="bg2"/>
          </a:solidFill>
        </p:grpSpPr>
        <p:sp>
          <p:nvSpPr>
            <p:cNvPr id="820" name="Freeform 5">
              <a:extLst>
                <a:ext uri="{FF2B5EF4-FFF2-40B4-BE49-F238E27FC236}">
                  <a16:creationId xmlns:a16="http://schemas.microsoft.com/office/drawing/2014/main" id="{B5C41C3F-4595-43EC-8E15-4B3B18BEFD3B}"/>
                </a:ext>
              </a:extLst>
            </p:cNvPr>
            <p:cNvSpPr>
              <a:spLocks/>
            </p:cNvSpPr>
            <p:nvPr/>
          </p:nvSpPr>
          <p:spPr bwMode="auto">
            <a:xfrm>
              <a:off x="7994650" y="5492750"/>
              <a:ext cx="38100" cy="26987"/>
            </a:xfrm>
            <a:custGeom>
              <a:avLst/>
              <a:gdLst>
                <a:gd name="T0" fmla="*/ 20 w 55"/>
                <a:gd name="T1" fmla="*/ 38 h 38"/>
                <a:gd name="T2" fmla="*/ 36 w 55"/>
                <a:gd name="T3" fmla="*/ 38 h 38"/>
                <a:gd name="T4" fmla="*/ 55 w 55"/>
                <a:gd name="T5" fmla="*/ 19 h 38"/>
                <a:gd name="T6" fmla="*/ 36 w 55"/>
                <a:gd name="T7" fmla="*/ 0 h 38"/>
                <a:gd name="T8" fmla="*/ 20 w 55"/>
                <a:gd name="T9" fmla="*/ 0 h 38"/>
                <a:gd name="T10" fmla="*/ 0 w 55"/>
                <a:gd name="T11" fmla="*/ 19 h 38"/>
                <a:gd name="T12" fmla="*/ 20 w 55"/>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55" h="38">
                  <a:moveTo>
                    <a:pt x="20" y="38"/>
                  </a:moveTo>
                  <a:cubicBezTo>
                    <a:pt x="36" y="38"/>
                    <a:pt x="36" y="38"/>
                    <a:pt x="36" y="38"/>
                  </a:cubicBezTo>
                  <a:cubicBezTo>
                    <a:pt x="46" y="38"/>
                    <a:pt x="55" y="29"/>
                    <a:pt x="55" y="19"/>
                  </a:cubicBezTo>
                  <a:cubicBezTo>
                    <a:pt x="55" y="8"/>
                    <a:pt x="46" y="0"/>
                    <a:pt x="36" y="0"/>
                  </a:cubicBezTo>
                  <a:cubicBezTo>
                    <a:pt x="20" y="0"/>
                    <a:pt x="20" y="0"/>
                    <a:pt x="20" y="0"/>
                  </a:cubicBezTo>
                  <a:cubicBezTo>
                    <a:pt x="9" y="0"/>
                    <a:pt x="0" y="8"/>
                    <a:pt x="0" y="19"/>
                  </a:cubicBezTo>
                  <a:cubicBezTo>
                    <a:pt x="0" y="29"/>
                    <a:pt x="9" y="38"/>
                    <a:pt x="2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1" name="Freeform 6">
              <a:extLst>
                <a:ext uri="{FF2B5EF4-FFF2-40B4-BE49-F238E27FC236}">
                  <a16:creationId xmlns:a16="http://schemas.microsoft.com/office/drawing/2014/main" id="{4E21A832-8A16-4AE7-95C3-1C7545868099}"/>
                </a:ext>
              </a:extLst>
            </p:cNvPr>
            <p:cNvSpPr>
              <a:spLocks noEditPoints="1"/>
            </p:cNvSpPr>
            <p:nvPr/>
          </p:nvSpPr>
          <p:spPr bwMode="auto">
            <a:xfrm>
              <a:off x="7921625" y="5492750"/>
              <a:ext cx="755650" cy="508000"/>
            </a:xfrm>
            <a:custGeom>
              <a:avLst/>
              <a:gdLst>
                <a:gd name="T0" fmla="*/ 464 w 1101"/>
                <a:gd name="T1" fmla="*/ 738 h 738"/>
                <a:gd name="T2" fmla="*/ 919 w 1101"/>
                <a:gd name="T3" fmla="*/ 367 h 738"/>
                <a:gd name="T4" fmla="*/ 1010 w 1101"/>
                <a:gd name="T5" fmla="*/ 367 h 738"/>
                <a:gd name="T6" fmla="*/ 1101 w 1101"/>
                <a:gd name="T7" fmla="*/ 276 h 738"/>
                <a:gd name="T8" fmla="*/ 1101 w 1101"/>
                <a:gd name="T9" fmla="*/ 147 h 738"/>
                <a:gd name="T10" fmla="*/ 1010 w 1101"/>
                <a:gd name="T11" fmla="*/ 56 h 738"/>
                <a:gd name="T12" fmla="*/ 928 w 1101"/>
                <a:gd name="T13" fmla="*/ 56 h 738"/>
                <a:gd name="T14" fmla="*/ 928 w 1101"/>
                <a:gd name="T15" fmla="*/ 19 h 738"/>
                <a:gd name="T16" fmla="*/ 909 w 1101"/>
                <a:gd name="T17" fmla="*/ 0 h 738"/>
                <a:gd name="T18" fmla="*/ 193 w 1101"/>
                <a:gd name="T19" fmla="*/ 0 h 738"/>
                <a:gd name="T20" fmla="*/ 174 w 1101"/>
                <a:gd name="T21" fmla="*/ 19 h 738"/>
                <a:gd name="T22" fmla="*/ 193 w 1101"/>
                <a:gd name="T23" fmla="*/ 38 h 738"/>
                <a:gd name="T24" fmla="*/ 890 w 1101"/>
                <a:gd name="T25" fmla="*/ 38 h 738"/>
                <a:gd name="T26" fmla="*/ 890 w 1101"/>
                <a:gd name="T27" fmla="*/ 274 h 738"/>
                <a:gd name="T28" fmla="*/ 464 w 1101"/>
                <a:gd name="T29" fmla="*/ 699 h 738"/>
                <a:gd name="T30" fmla="*/ 38 w 1101"/>
                <a:gd name="T31" fmla="*/ 274 h 738"/>
                <a:gd name="T32" fmla="*/ 38 w 1101"/>
                <a:gd name="T33" fmla="*/ 38 h 738"/>
                <a:gd name="T34" fmla="*/ 74 w 1101"/>
                <a:gd name="T35" fmla="*/ 38 h 738"/>
                <a:gd name="T36" fmla="*/ 94 w 1101"/>
                <a:gd name="T37" fmla="*/ 19 h 738"/>
                <a:gd name="T38" fmla="*/ 74 w 1101"/>
                <a:gd name="T39" fmla="*/ 0 h 738"/>
                <a:gd name="T40" fmla="*/ 19 w 1101"/>
                <a:gd name="T41" fmla="*/ 0 h 738"/>
                <a:gd name="T42" fmla="*/ 0 w 1101"/>
                <a:gd name="T43" fmla="*/ 19 h 738"/>
                <a:gd name="T44" fmla="*/ 0 w 1101"/>
                <a:gd name="T45" fmla="*/ 274 h 738"/>
                <a:gd name="T46" fmla="*/ 464 w 1101"/>
                <a:gd name="T47" fmla="*/ 738 h 738"/>
                <a:gd name="T48" fmla="*/ 1010 w 1101"/>
                <a:gd name="T49" fmla="*/ 94 h 738"/>
                <a:gd name="T50" fmla="*/ 1062 w 1101"/>
                <a:gd name="T51" fmla="*/ 147 h 738"/>
                <a:gd name="T52" fmla="*/ 1062 w 1101"/>
                <a:gd name="T53" fmla="*/ 276 h 738"/>
                <a:gd name="T54" fmla="*/ 1010 w 1101"/>
                <a:gd name="T55" fmla="*/ 329 h 738"/>
                <a:gd name="T56" fmla="*/ 925 w 1101"/>
                <a:gd name="T57" fmla="*/ 329 h 738"/>
                <a:gd name="T58" fmla="*/ 928 w 1101"/>
                <a:gd name="T59" fmla="*/ 274 h 738"/>
                <a:gd name="T60" fmla="*/ 928 w 1101"/>
                <a:gd name="T61" fmla="*/ 94 h 738"/>
                <a:gd name="T62" fmla="*/ 1010 w 1101"/>
                <a:gd name="T63" fmla="*/ 9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1" h="738">
                  <a:moveTo>
                    <a:pt x="464" y="738"/>
                  </a:moveTo>
                  <a:cubicBezTo>
                    <a:pt x="688" y="738"/>
                    <a:pt x="875" y="578"/>
                    <a:pt x="919" y="367"/>
                  </a:cubicBezTo>
                  <a:cubicBezTo>
                    <a:pt x="1010" y="367"/>
                    <a:pt x="1010" y="367"/>
                    <a:pt x="1010" y="367"/>
                  </a:cubicBezTo>
                  <a:cubicBezTo>
                    <a:pt x="1060" y="367"/>
                    <a:pt x="1101" y="326"/>
                    <a:pt x="1101" y="276"/>
                  </a:cubicBezTo>
                  <a:cubicBezTo>
                    <a:pt x="1101" y="147"/>
                    <a:pt x="1101" y="147"/>
                    <a:pt x="1101" y="147"/>
                  </a:cubicBezTo>
                  <a:cubicBezTo>
                    <a:pt x="1101" y="97"/>
                    <a:pt x="1060" y="56"/>
                    <a:pt x="1010" y="56"/>
                  </a:cubicBezTo>
                  <a:cubicBezTo>
                    <a:pt x="928" y="56"/>
                    <a:pt x="928" y="56"/>
                    <a:pt x="928" y="56"/>
                  </a:cubicBezTo>
                  <a:cubicBezTo>
                    <a:pt x="928" y="19"/>
                    <a:pt x="928" y="19"/>
                    <a:pt x="928" y="19"/>
                  </a:cubicBezTo>
                  <a:cubicBezTo>
                    <a:pt x="928" y="8"/>
                    <a:pt x="919" y="0"/>
                    <a:pt x="909" y="0"/>
                  </a:cubicBezTo>
                  <a:cubicBezTo>
                    <a:pt x="193" y="0"/>
                    <a:pt x="193" y="0"/>
                    <a:pt x="193" y="0"/>
                  </a:cubicBezTo>
                  <a:cubicBezTo>
                    <a:pt x="182" y="0"/>
                    <a:pt x="174" y="8"/>
                    <a:pt x="174" y="19"/>
                  </a:cubicBezTo>
                  <a:cubicBezTo>
                    <a:pt x="174" y="29"/>
                    <a:pt x="182" y="38"/>
                    <a:pt x="193" y="38"/>
                  </a:cubicBezTo>
                  <a:cubicBezTo>
                    <a:pt x="890" y="38"/>
                    <a:pt x="890" y="38"/>
                    <a:pt x="890" y="38"/>
                  </a:cubicBezTo>
                  <a:cubicBezTo>
                    <a:pt x="890" y="274"/>
                    <a:pt x="890" y="274"/>
                    <a:pt x="890" y="274"/>
                  </a:cubicBezTo>
                  <a:cubicBezTo>
                    <a:pt x="890" y="508"/>
                    <a:pt x="699" y="699"/>
                    <a:pt x="464" y="699"/>
                  </a:cubicBezTo>
                  <a:cubicBezTo>
                    <a:pt x="229" y="699"/>
                    <a:pt x="38" y="508"/>
                    <a:pt x="38" y="274"/>
                  </a:cubicBezTo>
                  <a:cubicBezTo>
                    <a:pt x="38" y="38"/>
                    <a:pt x="38" y="38"/>
                    <a:pt x="38" y="38"/>
                  </a:cubicBezTo>
                  <a:cubicBezTo>
                    <a:pt x="74" y="38"/>
                    <a:pt x="74" y="38"/>
                    <a:pt x="74" y="38"/>
                  </a:cubicBezTo>
                  <a:cubicBezTo>
                    <a:pt x="85" y="38"/>
                    <a:pt x="94" y="29"/>
                    <a:pt x="94" y="19"/>
                  </a:cubicBezTo>
                  <a:cubicBezTo>
                    <a:pt x="94" y="8"/>
                    <a:pt x="85" y="0"/>
                    <a:pt x="74" y="0"/>
                  </a:cubicBezTo>
                  <a:cubicBezTo>
                    <a:pt x="19" y="0"/>
                    <a:pt x="19" y="0"/>
                    <a:pt x="19" y="0"/>
                  </a:cubicBezTo>
                  <a:cubicBezTo>
                    <a:pt x="8" y="0"/>
                    <a:pt x="0" y="8"/>
                    <a:pt x="0" y="19"/>
                  </a:cubicBezTo>
                  <a:cubicBezTo>
                    <a:pt x="0" y="274"/>
                    <a:pt x="0" y="274"/>
                    <a:pt x="0" y="274"/>
                  </a:cubicBezTo>
                  <a:cubicBezTo>
                    <a:pt x="0" y="530"/>
                    <a:pt x="208" y="738"/>
                    <a:pt x="464" y="738"/>
                  </a:cubicBezTo>
                  <a:close/>
                  <a:moveTo>
                    <a:pt x="1010" y="94"/>
                  </a:moveTo>
                  <a:cubicBezTo>
                    <a:pt x="1039" y="94"/>
                    <a:pt x="1062" y="118"/>
                    <a:pt x="1062" y="147"/>
                  </a:cubicBezTo>
                  <a:cubicBezTo>
                    <a:pt x="1062" y="276"/>
                    <a:pt x="1062" y="276"/>
                    <a:pt x="1062" y="276"/>
                  </a:cubicBezTo>
                  <a:cubicBezTo>
                    <a:pt x="1062" y="305"/>
                    <a:pt x="1039" y="329"/>
                    <a:pt x="1010" y="329"/>
                  </a:cubicBezTo>
                  <a:cubicBezTo>
                    <a:pt x="925" y="329"/>
                    <a:pt x="925" y="329"/>
                    <a:pt x="925" y="329"/>
                  </a:cubicBezTo>
                  <a:cubicBezTo>
                    <a:pt x="927" y="311"/>
                    <a:pt x="928" y="292"/>
                    <a:pt x="928" y="274"/>
                  </a:cubicBezTo>
                  <a:cubicBezTo>
                    <a:pt x="928" y="94"/>
                    <a:pt x="928" y="94"/>
                    <a:pt x="928" y="94"/>
                  </a:cubicBezTo>
                  <a:lnTo>
                    <a:pt x="101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2" name="Freeform 7">
              <a:extLst>
                <a:ext uri="{FF2B5EF4-FFF2-40B4-BE49-F238E27FC236}">
                  <a16:creationId xmlns:a16="http://schemas.microsoft.com/office/drawing/2014/main" id="{1C6657EF-C615-4007-9534-C9CA2F193EEB}"/>
                </a:ext>
              </a:extLst>
            </p:cNvPr>
            <p:cNvSpPr>
              <a:spLocks/>
            </p:cNvSpPr>
            <p:nvPr/>
          </p:nvSpPr>
          <p:spPr bwMode="auto">
            <a:xfrm>
              <a:off x="8083550" y="5875338"/>
              <a:ext cx="63500" cy="46037"/>
            </a:xfrm>
            <a:custGeom>
              <a:avLst/>
              <a:gdLst>
                <a:gd name="T0" fmla="*/ 68 w 91"/>
                <a:gd name="T1" fmla="*/ 64 h 66"/>
                <a:gd name="T2" fmla="*/ 74 w 91"/>
                <a:gd name="T3" fmla="*/ 66 h 66"/>
                <a:gd name="T4" fmla="*/ 87 w 91"/>
                <a:gd name="T5" fmla="*/ 57 h 66"/>
                <a:gd name="T6" fmla="*/ 80 w 91"/>
                <a:gd name="T7" fmla="*/ 38 h 66"/>
                <a:gd name="T8" fmla="*/ 26 w 91"/>
                <a:gd name="T9" fmla="*/ 4 h 66"/>
                <a:gd name="T10" fmla="*/ 5 w 91"/>
                <a:gd name="T11" fmla="*/ 7 h 66"/>
                <a:gd name="T12" fmla="*/ 8 w 91"/>
                <a:gd name="T13" fmla="*/ 27 h 66"/>
                <a:gd name="T14" fmla="*/ 68 w 91"/>
                <a:gd name="T15" fmla="*/ 6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66">
                  <a:moveTo>
                    <a:pt x="68" y="64"/>
                  </a:moveTo>
                  <a:cubicBezTo>
                    <a:pt x="70" y="65"/>
                    <a:pt x="72" y="66"/>
                    <a:pt x="74" y="66"/>
                  </a:cubicBezTo>
                  <a:cubicBezTo>
                    <a:pt x="79" y="66"/>
                    <a:pt x="85" y="63"/>
                    <a:pt x="87" y="57"/>
                  </a:cubicBezTo>
                  <a:cubicBezTo>
                    <a:pt x="91" y="50"/>
                    <a:pt x="88" y="42"/>
                    <a:pt x="80" y="38"/>
                  </a:cubicBezTo>
                  <a:cubicBezTo>
                    <a:pt x="61" y="29"/>
                    <a:pt x="43" y="17"/>
                    <a:pt x="26" y="4"/>
                  </a:cubicBezTo>
                  <a:cubicBezTo>
                    <a:pt x="19" y="0"/>
                    <a:pt x="10" y="1"/>
                    <a:pt x="5" y="7"/>
                  </a:cubicBezTo>
                  <a:cubicBezTo>
                    <a:pt x="0" y="13"/>
                    <a:pt x="2" y="23"/>
                    <a:pt x="8" y="27"/>
                  </a:cubicBezTo>
                  <a:cubicBezTo>
                    <a:pt x="27" y="41"/>
                    <a:pt x="47" y="54"/>
                    <a:pt x="6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3" name="Freeform 8">
              <a:extLst>
                <a:ext uri="{FF2B5EF4-FFF2-40B4-BE49-F238E27FC236}">
                  <a16:creationId xmlns:a16="http://schemas.microsoft.com/office/drawing/2014/main" id="{CF147555-359E-4DB1-A659-EBBA13AE81F4}"/>
                </a:ext>
              </a:extLst>
            </p:cNvPr>
            <p:cNvSpPr>
              <a:spLocks/>
            </p:cNvSpPr>
            <p:nvPr/>
          </p:nvSpPr>
          <p:spPr bwMode="auto">
            <a:xfrm>
              <a:off x="7989888" y="5629275"/>
              <a:ext cx="92075" cy="247650"/>
            </a:xfrm>
            <a:custGeom>
              <a:avLst/>
              <a:gdLst>
                <a:gd name="T0" fmla="*/ 119 w 135"/>
                <a:gd name="T1" fmla="*/ 361 h 361"/>
                <a:gd name="T2" fmla="*/ 130 w 135"/>
                <a:gd name="T3" fmla="*/ 356 h 361"/>
                <a:gd name="T4" fmla="*/ 129 w 135"/>
                <a:gd name="T5" fmla="*/ 336 h 361"/>
                <a:gd name="T6" fmla="*/ 29 w 135"/>
                <a:gd name="T7" fmla="*/ 97 h 361"/>
                <a:gd name="T8" fmla="*/ 29 w 135"/>
                <a:gd name="T9" fmla="*/ 14 h 361"/>
                <a:gd name="T10" fmla="*/ 14 w 135"/>
                <a:gd name="T11" fmla="*/ 0 h 361"/>
                <a:gd name="T12" fmla="*/ 0 w 135"/>
                <a:gd name="T13" fmla="*/ 14 h 361"/>
                <a:gd name="T14" fmla="*/ 0 w 135"/>
                <a:gd name="T15" fmla="*/ 97 h 361"/>
                <a:gd name="T16" fmla="*/ 109 w 135"/>
                <a:gd name="T17" fmla="*/ 356 h 361"/>
                <a:gd name="T18" fmla="*/ 119 w 135"/>
                <a:gd name="T1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361">
                  <a:moveTo>
                    <a:pt x="119" y="361"/>
                  </a:moveTo>
                  <a:cubicBezTo>
                    <a:pt x="123" y="361"/>
                    <a:pt x="127" y="359"/>
                    <a:pt x="130" y="356"/>
                  </a:cubicBezTo>
                  <a:cubicBezTo>
                    <a:pt x="135" y="351"/>
                    <a:pt x="135" y="341"/>
                    <a:pt x="129" y="336"/>
                  </a:cubicBezTo>
                  <a:cubicBezTo>
                    <a:pt x="65" y="272"/>
                    <a:pt x="29" y="187"/>
                    <a:pt x="29" y="97"/>
                  </a:cubicBezTo>
                  <a:cubicBezTo>
                    <a:pt x="29" y="14"/>
                    <a:pt x="29" y="14"/>
                    <a:pt x="29" y="14"/>
                  </a:cubicBezTo>
                  <a:cubicBezTo>
                    <a:pt x="29" y="6"/>
                    <a:pt x="22" y="0"/>
                    <a:pt x="14" y="0"/>
                  </a:cubicBezTo>
                  <a:cubicBezTo>
                    <a:pt x="6" y="0"/>
                    <a:pt x="0" y="6"/>
                    <a:pt x="0" y="14"/>
                  </a:cubicBezTo>
                  <a:cubicBezTo>
                    <a:pt x="0" y="97"/>
                    <a:pt x="0" y="97"/>
                    <a:pt x="0" y="97"/>
                  </a:cubicBezTo>
                  <a:cubicBezTo>
                    <a:pt x="0" y="195"/>
                    <a:pt x="39" y="287"/>
                    <a:pt x="109" y="356"/>
                  </a:cubicBezTo>
                  <a:cubicBezTo>
                    <a:pt x="112" y="359"/>
                    <a:pt x="116" y="361"/>
                    <a:pt x="119" y="3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4" name="Freeform 9">
              <a:extLst>
                <a:ext uri="{FF2B5EF4-FFF2-40B4-BE49-F238E27FC236}">
                  <a16:creationId xmlns:a16="http://schemas.microsoft.com/office/drawing/2014/main" id="{8DFEC09F-5D17-4D18-9A77-447E2C42D653}"/>
                </a:ext>
              </a:extLst>
            </p:cNvPr>
            <p:cNvSpPr>
              <a:spLocks/>
            </p:cNvSpPr>
            <p:nvPr/>
          </p:nvSpPr>
          <p:spPr bwMode="auto">
            <a:xfrm>
              <a:off x="8588375" y="6008688"/>
              <a:ext cx="112713" cy="26987"/>
            </a:xfrm>
            <a:custGeom>
              <a:avLst/>
              <a:gdLst>
                <a:gd name="T0" fmla="*/ 146 w 165"/>
                <a:gd name="T1" fmla="*/ 0 h 39"/>
                <a:gd name="T2" fmla="*/ 20 w 165"/>
                <a:gd name="T3" fmla="*/ 0 h 39"/>
                <a:gd name="T4" fmla="*/ 0 w 165"/>
                <a:gd name="T5" fmla="*/ 20 h 39"/>
                <a:gd name="T6" fmla="*/ 20 w 165"/>
                <a:gd name="T7" fmla="*/ 39 h 39"/>
                <a:gd name="T8" fmla="*/ 146 w 165"/>
                <a:gd name="T9" fmla="*/ 39 h 39"/>
                <a:gd name="T10" fmla="*/ 165 w 165"/>
                <a:gd name="T11" fmla="*/ 20 h 39"/>
                <a:gd name="T12" fmla="*/ 146 w 165"/>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65" h="39">
                  <a:moveTo>
                    <a:pt x="146" y="0"/>
                  </a:moveTo>
                  <a:cubicBezTo>
                    <a:pt x="20" y="0"/>
                    <a:pt x="20" y="0"/>
                    <a:pt x="20" y="0"/>
                  </a:cubicBezTo>
                  <a:cubicBezTo>
                    <a:pt x="9" y="0"/>
                    <a:pt x="0" y="9"/>
                    <a:pt x="0" y="20"/>
                  </a:cubicBezTo>
                  <a:cubicBezTo>
                    <a:pt x="0" y="30"/>
                    <a:pt x="9" y="39"/>
                    <a:pt x="20" y="39"/>
                  </a:cubicBezTo>
                  <a:cubicBezTo>
                    <a:pt x="146" y="39"/>
                    <a:pt x="146" y="39"/>
                    <a:pt x="146" y="39"/>
                  </a:cubicBezTo>
                  <a:cubicBezTo>
                    <a:pt x="157" y="39"/>
                    <a:pt x="165" y="30"/>
                    <a:pt x="165" y="20"/>
                  </a:cubicBezTo>
                  <a:cubicBezTo>
                    <a:pt x="165" y="9"/>
                    <a:pt x="157" y="0"/>
                    <a:pt x="1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5" name="Freeform 10">
              <a:extLst>
                <a:ext uri="{FF2B5EF4-FFF2-40B4-BE49-F238E27FC236}">
                  <a16:creationId xmlns:a16="http://schemas.microsoft.com/office/drawing/2014/main" id="{CD9F3FD9-F52E-4F23-82CB-1A12CF3B61C0}"/>
                </a:ext>
              </a:extLst>
            </p:cNvPr>
            <p:cNvSpPr>
              <a:spLocks/>
            </p:cNvSpPr>
            <p:nvPr/>
          </p:nvSpPr>
          <p:spPr bwMode="auto">
            <a:xfrm>
              <a:off x="8542338" y="6008688"/>
              <a:ext cx="31750" cy="26987"/>
            </a:xfrm>
            <a:custGeom>
              <a:avLst/>
              <a:gdLst>
                <a:gd name="T0" fmla="*/ 27 w 46"/>
                <a:gd name="T1" fmla="*/ 0 h 39"/>
                <a:gd name="T2" fmla="*/ 19 w 46"/>
                <a:gd name="T3" fmla="*/ 0 h 39"/>
                <a:gd name="T4" fmla="*/ 0 w 46"/>
                <a:gd name="T5" fmla="*/ 20 h 39"/>
                <a:gd name="T6" fmla="*/ 19 w 46"/>
                <a:gd name="T7" fmla="*/ 39 h 39"/>
                <a:gd name="T8" fmla="*/ 27 w 46"/>
                <a:gd name="T9" fmla="*/ 39 h 39"/>
                <a:gd name="T10" fmla="*/ 46 w 46"/>
                <a:gd name="T11" fmla="*/ 20 h 39"/>
                <a:gd name="T12" fmla="*/ 27 w 4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6" h="39">
                  <a:moveTo>
                    <a:pt x="27" y="0"/>
                  </a:moveTo>
                  <a:cubicBezTo>
                    <a:pt x="19" y="0"/>
                    <a:pt x="19" y="0"/>
                    <a:pt x="19" y="0"/>
                  </a:cubicBezTo>
                  <a:cubicBezTo>
                    <a:pt x="8" y="0"/>
                    <a:pt x="0" y="9"/>
                    <a:pt x="0" y="20"/>
                  </a:cubicBezTo>
                  <a:cubicBezTo>
                    <a:pt x="0" y="30"/>
                    <a:pt x="8" y="39"/>
                    <a:pt x="19" y="39"/>
                  </a:cubicBezTo>
                  <a:cubicBezTo>
                    <a:pt x="27" y="39"/>
                    <a:pt x="27" y="39"/>
                    <a:pt x="27" y="39"/>
                  </a:cubicBezTo>
                  <a:cubicBezTo>
                    <a:pt x="38" y="39"/>
                    <a:pt x="46" y="30"/>
                    <a:pt x="46" y="20"/>
                  </a:cubicBezTo>
                  <a:cubicBezTo>
                    <a:pt x="46" y="9"/>
                    <a:pt x="38"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6" name="Freeform 11">
              <a:extLst>
                <a:ext uri="{FF2B5EF4-FFF2-40B4-BE49-F238E27FC236}">
                  <a16:creationId xmlns:a16="http://schemas.microsoft.com/office/drawing/2014/main" id="{A06BC048-A2B4-4BF9-AB60-B23436D21C76}"/>
                </a:ext>
              </a:extLst>
            </p:cNvPr>
            <p:cNvSpPr>
              <a:spLocks/>
            </p:cNvSpPr>
            <p:nvPr/>
          </p:nvSpPr>
          <p:spPr bwMode="auto">
            <a:xfrm>
              <a:off x="7883525" y="6008688"/>
              <a:ext cx="644525" cy="26987"/>
            </a:xfrm>
            <a:custGeom>
              <a:avLst/>
              <a:gdLst>
                <a:gd name="T0" fmla="*/ 919 w 938"/>
                <a:gd name="T1" fmla="*/ 0 h 39"/>
                <a:gd name="T2" fmla="*/ 19 w 938"/>
                <a:gd name="T3" fmla="*/ 0 h 39"/>
                <a:gd name="T4" fmla="*/ 0 w 938"/>
                <a:gd name="T5" fmla="*/ 20 h 39"/>
                <a:gd name="T6" fmla="*/ 19 w 938"/>
                <a:gd name="T7" fmla="*/ 39 h 39"/>
                <a:gd name="T8" fmla="*/ 919 w 938"/>
                <a:gd name="T9" fmla="*/ 39 h 39"/>
                <a:gd name="T10" fmla="*/ 938 w 938"/>
                <a:gd name="T11" fmla="*/ 20 h 39"/>
                <a:gd name="T12" fmla="*/ 919 w 93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938" h="39">
                  <a:moveTo>
                    <a:pt x="919" y="0"/>
                  </a:moveTo>
                  <a:cubicBezTo>
                    <a:pt x="19" y="0"/>
                    <a:pt x="19" y="0"/>
                    <a:pt x="19" y="0"/>
                  </a:cubicBezTo>
                  <a:cubicBezTo>
                    <a:pt x="8" y="0"/>
                    <a:pt x="0" y="9"/>
                    <a:pt x="0" y="20"/>
                  </a:cubicBezTo>
                  <a:cubicBezTo>
                    <a:pt x="0" y="30"/>
                    <a:pt x="8" y="39"/>
                    <a:pt x="19" y="39"/>
                  </a:cubicBezTo>
                  <a:cubicBezTo>
                    <a:pt x="919" y="39"/>
                    <a:pt x="919" y="39"/>
                    <a:pt x="919" y="39"/>
                  </a:cubicBezTo>
                  <a:cubicBezTo>
                    <a:pt x="929" y="39"/>
                    <a:pt x="938" y="30"/>
                    <a:pt x="938" y="20"/>
                  </a:cubicBezTo>
                  <a:cubicBezTo>
                    <a:pt x="938" y="9"/>
                    <a:pt x="929" y="0"/>
                    <a:pt x="9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7" name="Freeform 12">
              <a:extLst>
                <a:ext uri="{FF2B5EF4-FFF2-40B4-BE49-F238E27FC236}">
                  <a16:creationId xmlns:a16="http://schemas.microsoft.com/office/drawing/2014/main" id="{AF34D8C1-B829-4380-84EE-152B4C2BAC1E}"/>
                </a:ext>
              </a:extLst>
            </p:cNvPr>
            <p:cNvSpPr>
              <a:spLocks/>
            </p:cNvSpPr>
            <p:nvPr/>
          </p:nvSpPr>
          <p:spPr bwMode="auto">
            <a:xfrm>
              <a:off x="8070850" y="5218113"/>
              <a:ext cx="65088" cy="241300"/>
            </a:xfrm>
            <a:custGeom>
              <a:avLst/>
              <a:gdLst>
                <a:gd name="T0" fmla="*/ 35 w 96"/>
                <a:gd name="T1" fmla="*/ 264 h 350"/>
                <a:gd name="T2" fmla="*/ 0 w 96"/>
                <a:gd name="T3" fmla="*/ 331 h 350"/>
                <a:gd name="T4" fmla="*/ 19 w 96"/>
                <a:gd name="T5" fmla="*/ 350 h 350"/>
                <a:gd name="T6" fmla="*/ 38 w 96"/>
                <a:gd name="T7" fmla="*/ 331 h 350"/>
                <a:gd name="T8" fmla="*/ 61 w 96"/>
                <a:gd name="T9" fmla="*/ 293 h 350"/>
                <a:gd name="T10" fmla="*/ 96 w 96"/>
                <a:gd name="T11" fmla="*/ 227 h 350"/>
                <a:gd name="T12" fmla="*/ 61 w 96"/>
                <a:gd name="T13" fmla="*/ 161 h 350"/>
                <a:gd name="T14" fmla="*/ 38 w 96"/>
                <a:gd name="T15" fmla="*/ 123 h 350"/>
                <a:gd name="T16" fmla="*/ 61 w 96"/>
                <a:gd name="T17" fmla="*/ 86 h 350"/>
                <a:gd name="T18" fmla="*/ 96 w 96"/>
                <a:gd name="T19" fmla="*/ 19 h 350"/>
                <a:gd name="T20" fmla="*/ 77 w 96"/>
                <a:gd name="T21" fmla="*/ 0 h 350"/>
                <a:gd name="T22" fmla="*/ 57 w 96"/>
                <a:gd name="T23" fmla="*/ 19 h 350"/>
                <a:gd name="T24" fmla="*/ 35 w 96"/>
                <a:gd name="T25" fmla="*/ 57 h 350"/>
                <a:gd name="T26" fmla="*/ 0 w 96"/>
                <a:gd name="T27" fmla="*/ 123 h 350"/>
                <a:gd name="T28" fmla="*/ 35 w 96"/>
                <a:gd name="T29" fmla="*/ 189 h 350"/>
                <a:gd name="T30" fmla="*/ 57 w 96"/>
                <a:gd name="T31" fmla="*/ 227 h 350"/>
                <a:gd name="T32" fmla="*/ 35 w 96"/>
                <a:gd name="T33" fmla="*/ 26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350">
                  <a:moveTo>
                    <a:pt x="35" y="264"/>
                  </a:moveTo>
                  <a:cubicBezTo>
                    <a:pt x="19" y="279"/>
                    <a:pt x="0" y="296"/>
                    <a:pt x="0" y="331"/>
                  </a:cubicBezTo>
                  <a:cubicBezTo>
                    <a:pt x="0" y="341"/>
                    <a:pt x="8" y="350"/>
                    <a:pt x="19" y="350"/>
                  </a:cubicBezTo>
                  <a:cubicBezTo>
                    <a:pt x="29" y="350"/>
                    <a:pt x="38" y="341"/>
                    <a:pt x="38" y="331"/>
                  </a:cubicBezTo>
                  <a:cubicBezTo>
                    <a:pt x="38" y="314"/>
                    <a:pt x="46" y="306"/>
                    <a:pt x="61" y="293"/>
                  </a:cubicBezTo>
                  <a:cubicBezTo>
                    <a:pt x="76" y="279"/>
                    <a:pt x="96" y="261"/>
                    <a:pt x="96" y="227"/>
                  </a:cubicBezTo>
                  <a:cubicBezTo>
                    <a:pt x="96" y="192"/>
                    <a:pt x="76" y="175"/>
                    <a:pt x="61" y="161"/>
                  </a:cubicBezTo>
                  <a:cubicBezTo>
                    <a:pt x="46" y="147"/>
                    <a:pt x="38" y="140"/>
                    <a:pt x="38" y="123"/>
                  </a:cubicBezTo>
                  <a:cubicBezTo>
                    <a:pt x="38" y="107"/>
                    <a:pt x="46" y="99"/>
                    <a:pt x="61" y="86"/>
                  </a:cubicBezTo>
                  <a:cubicBezTo>
                    <a:pt x="76" y="71"/>
                    <a:pt x="96" y="54"/>
                    <a:pt x="96" y="19"/>
                  </a:cubicBezTo>
                  <a:cubicBezTo>
                    <a:pt x="96" y="9"/>
                    <a:pt x="87" y="0"/>
                    <a:pt x="77" y="0"/>
                  </a:cubicBezTo>
                  <a:cubicBezTo>
                    <a:pt x="66" y="0"/>
                    <a:pt x="57" y="9"/>
                    <a:pt x="57" y="19"/>
                  </a:cubicBezTo>
                  <a:cubicBezTo>
                    <a:pt x="57" y="36"/>
                    <a:pt x="50" y="44"/>
                    <a:pt x="35" y="57"/>
                  </a:cubicBezTo>
                  <a:cubicBezTo>
                    <a:pt x="19" y="71"/>
                    <a:pt x="0" y="89"/>
                    <a:pt x="0" y="123"/>
                  </a:cubicBezTo>
                  <a:cubicBezTo>
                    <a:pt x="0" y="158"/>
                    <a:pt x="19" y="175"/>
                    <a:pt x="35" y="189"/>
                  </a:cubicBezTo>
                  <a:cubicBezTo>
                    <a:pt x="50" y="203"/>
                    <a:pt x="57" y="210"/>
                    <a:pt x="57" y="227"/>
                  </a:cubicBezTo>
                  <a:cubicBezTo>
                    <a:pt x="57" y="243"/>
                    <a:pt x="50" y="251"/>
                    <a:pt x="35"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8" name="Freeform 13">
              <a:extLst>
                <a:ext uri="{FF2B5EF4-FFF2-40B4-BE49-F238E27FC236}">
                  <a16:creationId xmlns:a16="http://schemas.microsoft.com/office/drawing/2014/main" id="{A409B412-6C71-426C-85FD-7036DA9C4ADF}"/>
                </a:ext>
              </a:extLst>
            </p:cNvPr>
            <p:cNvSpPr>
              <a:spLocks/>
            </p:cNvSpPr>
            <p:nvPr/>
          </p:nvSpPr>
          <p:spPr bwMode="auto">
            <a:xfrm>
              <a:off x="8226425" y="5218113"/>
              <a:ext cx="66675" cy="241300"/>
            </a:xfrm>
            <a:custGeom>
              <a:avLst/>
              <a:gdLst>
                <a:gd name="T0" fmla="*/ 35 w 96"/>
                <a:gd name="T1" fmla="*/ 264 h 350"/>
                <a:gd name="T2" fmla="*/ 0 w 96"/>
                <a:gd name="T3" fmla="*/ 331 h 350"/>
                <a:gd name="T4" fmla="*/ 19 w 96"/>
                <a:gd name="T5" fmla="*/ 350 h 350"/>
                <a:gd name="T6" fmla="*/ 38 w 96"/>
                <a:gd name="T7" fmla="*/ 331 h 350"/>
                <a:gd name="T8" fmla="*/ 61 w 96"/>
                <a:gd name="T9" fmla="*/ 293 h 350"/>
                <a:gd name="T10" fmla="*/ 96 w 96"/>
                <a:gd name="T11" fmla="*/ 227 h 350"/>
                <a:gd name="T12" fmla="*/ 61 w 96"/>
                <a:gd name="T13" fmla="*/ 161 h 350"/>
                <a:gd name="T14" fmla="*/ 38 w 96"/>
                <a:gd name="T15" fmla="*/ 123 h 350"/>
                <a:gd name="T16" fmla="*/ 61 w 96"/>
                <a:gd name="T17" fmla="*/ 86 h 350"/>
                <a:gd name="T18" fmla="*/ 96 w 96"/>
                <a:gd name="T19" fmla="*/ 19 h 350"/>
                <a:gd name="T20" fmla="*/ 77 w 96"/>
                <a:gd name="T21" fmla="*/ 0 h 350"/>
                <a:gd name="T22" fmla="*/ 57 w 96"/>
                <a:gd name="T23" fmla="*/ 19 h 350"/>
                <a:gd name="T24" fmla="*/ 35 w 96"/>
                <a:gd name="T25" fmla="*/ 57 h 350"/>
                <a:gd name="T26" fmla="*/ 0 w 96"/>
                <a:gd name="T27" fmla="*/ 123 h 350"/>
                <a:gd name="T28" fmla="*/ 35 w 96"/>
                <a:gd name="T29" fmla="*/ 189 h 350"/>
                <a:gd name="T30" fmla="*/ 57 w 96"/>
                <a:gd name="T31" fmla="*/ 227 h 350"/>
                <a:gd name="T32" fmla="*/ 35 w 96"/>
                <a:gd name="T33" fmla="*/ 26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350">
                  <a:moveTo>
                    <a:pt x="35" y="264"/>
                  </a:moveTo>
                  <a:cubicBezTo>
                    <a:pt x="19" y="279"/>
                    <a:pt x="0" y="296"/>
                    <a:pt x="0" y="331"/>
                  </a:cubicBezTo>
                  <a:cubicBezTo>
                    <a:pt x="0" y="341"/>
                    <a:pt x="8" y="350"/>
                    <a:pt x="19" y="350"/>
                  </a:cubicBezTo>
                  <a:cubicBezTo>
                    <a:pt x="30" y="350"/>
                    <a:pt x="38" y="341"/>
                    <a:pt x="38" y="331"/>
                  </a:cubicBezTo>
                  <a:cubicBezTo>
                    <a:pt x="38" y="314"/>
                    <a:pt x="46" y="306"/>
                    <a:pt x="61" y="293"/>
                  </a:cubicBezTo>
                  <a:cubicBezTo>
                    <a:pt x="76" y="279"/>
                    <a:pt x="96" y="261"/>
                    <a:pt x="96" y="227"/>
                  </a:cubicBezTo>
                  <a:cubicBezTo>
                    <a:pt x="96" y="192"/>
                    <a:pt x="76" y="175"/>
                    <a:pt x="61" y="161"/>
                  </a:cubicBezTo>
                  <a:cubicBezTo>
                    <a:pt x="46" y="147"/>
                    <a:pt x="38" y="140"/>
                    <a:pt x="38" y="123"/>
                  </a:cubicBezTo>
                  <a:cubicBezTo>
                    <a:pt x="38" y="107"/>
                    <a:pt x="46" y="99"/>
                    <a:pt x="61" y="86"/>
                  </a:cubicBezTo>
                  <a:cubicBezTo>
                    <a:pt x="76" y="71"/>
                    <a:pt x="96" y="54"/>
                    <a:pt x="96" y="19"/>
                  </a:cubicBezTo>
                  <a:cubicBezTo>
                    <a:pt x="96" y="9"/>
                    <a:pt x="87" y="0"/>
                    <a:pt x="77" y="0"/>
                  </a:cubicBezTo>
                  <a:cubicBezTo>
                    <a:pt x="66" y="0"/>
                    <a:pt x="57" y="9"/>
                    <a:pt x="57" y="19"/>
                  </a:cubicBezTo>
                  <a:cubicBezTo>
                    <a:pt x="57" y="36"/>
                    <a:pt x="50" y="44"/>
                    <a:pt x="35" y="57"/>
                  </a:cubicBezTo>
                  <a:cubicBezTo>
                    <a:pt x="19" y="71"/>
                    <a:pt x="0" y="89"/>
                    <a:pt x="0" y="123"/>
                  </a:cubicBezTo>
                  <a:cubicBezTo>
                    <a:pt x="0" y="158"/>
                    <a:pt x="19" y="175"/>
                    <a:pt x="35" y="189"/>
                  </a:cubicBezTo>
                  <a:cubicBezTo>
                    <a:pt x="50" y="203"/>
                    <a:pt x="57" y="210"/>
                    <a:pt x="57" y="227"/>
                  </a:cubicBezTo>
                  <a:cubicBezTo>
                    <a:pt x="57" y="243"/>
                    <a:pt x="50" y="251"/>
                    <a:pt x="35"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9" name="Freeform 14">
              <a:extLst>
                <a:ext uri="{FF2B5EF4-FFF2-40B4-BE49-F238E27FC236}">
                  <a16:creationId xmlns:a16="http://schemas.microsoft.com/office/drawing/2014/main" id="{D89E6DDD-7044-483F-BE75-E58BA159BEF7}"/>
                </a:ext>
              </a:extLst>
            </p:cNvPr>
            <p:cNvSpPr>
              <a:spLocks/>
            </p:cNvSpPr>
            <p:nvPr/>
          </p:nvSpPr>
          <p:spPr bwMode="auto">
            <a:xfrm>
              <a:off x="8382000" y="5273675"/>
              <a:ext cx="66675" cy="185737"/>
            </a:xfrm>
            <a:custGeom>
              <a:avLst/>
              <a:gdLst>
                <a:gd name="T0" fmla="*/ 1 w 97"/>
                <a:gd name="T1" fmla="*/ 44 h 271"/>
                <a:gd name="T2" fmla="*/ 36 w 97"/>
                <a:gd name="T3" fmla="*/ 110 h 271"/>
                <a:gd name="T4" fmla="*/ 58 w 97"/>
                <a:gd name="T5" fmla="*/ 148 h 271"/>
                <a:gd name="T6" fmla="*/ 36 w 97"/>
                <a:gd name="T7" fmla="*/ 185 h 271"/>
                <a:gd name="T8" fmla="*/ 1 w 97"/>
                <a:gd name="T9" fmla="*/ 252 h 271"/>
                <a:gd name="T10" fmla="*/ 20 w 97"/>
                <a:gd name="T11" fmla="*/ 271 h 271"/>
                <a:gd name="T12" fmla="*/ 39 w 97"/>
                <a:gd name="T13" fmla="*/ 252 h 271"/>
                <a:gd name="T14" fmla="*/ 62 w 97"/>
                <a:gd name="T15" fmla="*/ 214 h 271"/>
                <a:gd name="T16" fmla="*/ 97 w 97"/>
                <a:gd name="T17" fmla="*/ 148 h 271"/>
                <a:gd name="T18" fmla="*/ 62 w 97"/>
                <a:gd name="T19" fmla="*/ 82 h 271"/>
                <a:gd name="T20" fmla="*/ 39 w 97"/>
                <a:gd name="T21" fmla="*/ 44 h 271"/>
                <a:gd name="T22" fmla="*/ 39 w 97"/>
                <a:gd name="T23" fmla="*/ 36 h 271"/>
                <a:gd name="T24" fmla="*/ 39 w 97"/>
                <a:gd name="T25" fmla="*/ 33 h 271"/>
                <a:gd name="T26" fmla="*/ 40 w 97"/>
                <a:gd name="T27" fmla="*/ 32 h 271"/>
                <a:gd name="T28" fmla="*/ 34 w 97"/>
                <a:gd name="T29" fmla="*/ 6 h 271"/>
                <a:gd name="T30" fmla="*/ 7 w 97"/>
                <a:gd name="T31" fmla="*/ 12 h 271"/>
                <a:gd name="T32" fmla="*/ 1 w 97"/>
                <a:gd name="T33" fmla="*/ 38 h 271"/>
                <a:gd name="T34" fmla="*/ 1 w 97"/>
                <a:gd name="T35" fmla="*/ 4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271">
                  <a:moveTo>
                    <a:pt x="1" y="44"/>
                  </a:moveTo>
                  <a:cubicBezTo>
                    <a:pt x="1" y="79"/>
                    <a:pt x="20" y="96"/>
                    <a:pt x="36" y="110"/>
                  </a:cubicBezTo>
                  <a:cubicBezTo>
                    <a:pt x="51" y="124"/>
                    <a:pt x="58" y="131"/>
                    <a:pt x="58" y="148"/>
                  </a:cubicBezTo>
                  <a:cubicBezTo>
                    <a:pt x="58" y="164"/>
                    <a:pt x="51" y="172"/>
                    <a:pt x="36" y="185"/>
                  </a:cubicBezTo>
                  <a:cubicBezTo>
                    <a:pt x="20" y="200"/>
                    <a:pt x="1" y="217"/>
                    <a:pt x="1" y="252"/>
                  </a:cubicBezTo>
                  <a:cubicBezTo>
                    <a:pt x="1" y="262"/>
                    <a:pt x="9" y="271"/>
                    <a:pt x="20" y="271"/>
                  </a:cubicBezTo>
                  <a:cubicBezTo>
                    <a:pt x="31" y="271"/>
                    <a:pt x="39" y="262"/>
                    <a:pt x="39" y="252"/>
                  </a:cubicBezTo>
                  <a:cubicBezTo>
                    <a:pt x="39" y="235"/>
                    <a:pt x="47" y="227"/>
                    <a:pt x="62" y="214"/>
                  </a:cubicBezTo>
                  <a:cubicBezTo>
                    <a:pt x="77" y="200"/>
                    <a:pt x="97" y="182"/>
                    <a:pt x="97" y="148"/>
                  </a:cubicBezTo>
                  <a:cubicBezTo>
                    <a:pt x="97" y="113"/>
                    <a:pt x="77" y="96"/>
                    <a:pt x="62" y="82"/>
                  </a:cubicBezTo>
                  <a:cubicBezTo>
                    <a:pt x="47" y="68"/>
                    <a:pt x="39" y="61"/>
                    <a:pt x="39" y="44"/>
                  </a:cubicBezTo>
                  <a:cubicBezTo>
                    <a:pt x="39" y="41"/>
                    <a:pt x="39" y="38"/>
                    <a:pt x="39" y="36"/>
                  </a:cubicBezTo>
                  <a:cubicBezTo>
                    <a:pt x="39" y="35"/>
                    <a:pt x="39" y="34"/>
                    <a:pt x="39" y="33"/>
                  </a:cubicBezTo>
                  <a:cubicBezTo>
                    <a:pt x="39" y="33"/>
                    <a:pt x="39" y="33"/>
                    <a:pt x="40" y="32"/>
                  </a:cubicBezTo>
                  <a:cubicBezTo>
                    <a:pt x="45" y="24"/>
                    <a:pt x="43" y="12"/>
                    <a:pt x="34" y="6"/>
                  </a:cubicBezTo>
                  <a:cubicBezTo>
                    <a:pt x="25" y="0"/>
                    <a:pt x="13" y="3"/>
                    <a:pt x="7" y="12"/>
                  </a:cubicBezTo>
                  <a:cubicBezTo>
                    <a:pt x="0" y="22"/>
                    <a:pt x="0" y="29"/>
                    <a:pt x="1" y="38"/>
                  </a:cubicBezTo>
                  <a:cubicBezTo>
                    <a:pt x="1" y="39"/>
                    <a:pt x="1" y="41"/>
                    <a:pt x="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0" name="Freeform 15">
              <a:extLst>
                <a:ext uri="{FF2B5EF4-FFF2-40B4-BE49-F238E27FC236}">
                  <a16:creationId xmlns:a16="http://schemas.microsoft.com/office/drawing/2014/main" id="{76D9B311-7D62-4A92-A8D3-A7657B5E7BE8}"/>
                </a:ext>
              </a:extLst>
            </p:cNvPr>
            <p:cNvSpPr>
              <a:spLocks/>
            </p:cNvSpPr>
            <p:nvPr/>
          </p:nvSpPr>
          <p:spPr bwMode="auto">
            <a:xfrm>
              <a:off x="8407400" y="5218113"/>
              <a:ext cx="41275" cy="57150"/>
            </a:xfrm>
            <a:custGeom>
              <a:avLst/>
              <a:gdLst>
                <a:gd name="T0" fmla="*/ 21 w 60"/>
                <a:gd name="T1" fmla="*/ 82 h 82"/>
                <a:gd name="T2" fmla="*/ 35 w 60"/>
                <a:gd name="T3" fmla="*/ 76 h 82"/>
                <a:gd name="T4" fmla="*/ 60 w 60"/>
                <a:gd name="T5" fmla="*/ 19 h 82"/>
                <a:gd name="T6" fmla="*/ 41 w 60"/>
                <a:gd name="T7" fmla="*/ 0 h 82"/>
                <a:gd name="T8" fmla="*/ 21 w 60"/>
                <a:gd name="T9" fmla="*/ 19 h 82"/>
                <a:gd name="T10" fmla="*/ 8 w 60"/>
                <a:gd name="T11" fmla="*/ 49 h 82"/>
                <a:gd name="T12" fmla="*/ 7 w 60"/>
                <a:gd name="T13" fmla="*/ 76 h 82"/>
                <a:gd name="T14" fmla="*/ 21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21" y="82"/>
                  </a:moveTo>
                  <a:cubicBezTo>
                    <a:pt x="26" y="82"/>
                    <a:pt x="31" y="80"/>
                    <a:pt x="35" y="76"/>
                  </a:cubicBezTo>
                  <a:cubicBezTo>
                    <a:pt x="46" y="65"/>
                    <a:pt x="60" y="48"/>
                    <a:pt x="60" y="19"/>
                  </a:cubicBezTo>
                  <a:cubicBezTo>
                    <a:pt x="60" y="9"/>
                    <a:pt x="51" y="0"/>
                    <a:pt x="41" y="0"/>
                  </a:cubicBezTo>
                  <a:cubicBezTo>
                    <a:pt x="30" y="0"/>
                    <a:pt x="21" y="9"/>
                    <a:pt x="21" y="19"/>
                  </a:cubicBezTo>
                  <a:cubicBezTo>
                    <a:pt x="21" y="33"/>
                    <a:pt x="16" y="40"/>
                    <a:pt x="8" y="49"/>
                  </a:cubicBezTo>
                  <a:cubicBezTo>
                    <a:pt x="0" y="57"/>
                    <a:pt x="0" y="69"/>
                    <a:pt x="7" y="76"/>
                  </a:cubicBezTo>
                  <a:cubicBezTo>
                    <a:pt x="11" y="80"/>
                    <a:pt x="16" y="82"/>
                    <a:pt x="2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58" name="Group 14">
            <a:extLst>
              <a:ext uri="{FF2B5EF4-FFF2-40B4-BE49-F238E27FC236}">
                <a16:creationId xmlns:a16="http://schemas.microsoft.com/office/drawing/2014/main" id="{91AFBD3D-8C1B-4CE6-89F7-5FA1A2B09E4B}"/>
              </a:ext>
            </a:extLst>
          </p:cNvPr>
          <p:cNvGrpSpPr>
            <a:grpSpLocks noChangeAspect="1"/>
          </p:cNvGrpSpPr>
          <p:nvPr/>
        </p:nvGrpSpPr>
        <p:grpSpPr>
          <a:xfrm>
            <a:off x="1066904" y="5434754"/>
            <a:ext cx="304790" cy="272128"/>
            <a:chOff x="1060876" y="4151258"/>
            <a:chExt cx="1092200" cy="975157"/>
          </a:xfrm>
          <a:solidFill>
            <a:schemeClr val="bg2"/>
          </a:solidFill>
        </p:grpSpPr>
        <p:sp>
          <p:nvSpPr>
            <p:cNvPr id="859" name="Freeform 11">
              <a:extLst>
                <a:ext uri="{FF2B5EF4-FFF2-40B4-BE49-F238E27FC236}">
                  <a16:creationId xmlns:a16="http://schemas.microsoft.com/office/drawing/2014/main" id="{2520DE77-F780-41BC-B359-8CA3EB821B5C}"/>
                </a:ext>
              </a:extLst>
            </p:cNvPr>
            <p:cNvSpPr>
              <a:spLocks noEditPoints="1"/>
            </p:cNvSpPr>
            <p:nvPr/>
          </p:nvSpPr>
          <p:spPr bwMode="auto">
            <a:xfrm rot="2700000">
              <a:off x="1171856" y="4253652"/>
              <a:ext cx="541337" cy="336550"/>
            </a:xfrm>
            <a:custGeom>
              <a:avLst/>
              <a:gdLst>
                <a:gd name="T0" fmla="*/ 361 w 1101"/>
                <a:gd name="T1" fmla="*/ 766 h 766"/>
                <a:gd name="T2" fmla="*/ 361 w 1101"/>
                <a:gd name="T3" fmla="*/ 766 h 766"/>
                <a:gd name="T4" fmla="*/ 361 w 1101"/>
                <a:gd name="T5" fmla="*/ 766 h 766"/>
                <a:gd name="T6" fmla="*/ 9 w 1101"/>
                <a:gd name="T7" fmla="*/ 529 h 766"/>
                <a:gd name="T8" fmla="*/ 15 w 1101"/>
                <a:gd name="T9" fmla="*/ 464 h 766"/>
                <a:gd name="T10" fmla="*/ 15 w 1101"/>
                <a:gd name="T11" fmla="*/ 464 h 766"/>
                <a:gd name="T12" fmla="*/ 72 w 1101"/>
                <a:gd name="T13" fmla="*/ 432 h 766"/>
                <a:gd name="T14" fmla="*/ 263 w 1101"/>
                <a:gd name="T15" fmla="*/ 425 h 766"/>
                <a:gd name="T16" fmla="*/ 303 w 1101"/>
                <a:gd name="T17" fmla="*/ 384 h 766"/>
                <a:gd name="T18" fmla="*/ 262 w 1101"/>
                <a:gd name="T19" fmla="*/ 344 h 766"/>
                <a:gd name="T20" fmla="*/ 70 w 1101"/>
                <a:gd name="T21" fmla="*/ 332 h 766"/>
                <a:gd name="T22" fmla="*/ 15 w 1101"/>
                <a:gd name="T23" fmla="*/ 299 h 766"/>
                <a:gd name="T24" fmla="*/ 9 w 1101"/>
                <a:gd name="T25" fmla="*/ 235 h 766"/>
                <a:gd name="T26" fmla="*/ 148 w 1101"/>
                <a:gd name="T27" fmla="*/ 64 h 766"/>
                <a:gd name="T28" fmla="*/ 359 w 1101"/>
                <a:gd name="T29" fmla="*/ 0 h 766"/>
                <a:gd name="T30" fmla="*/ 692 w 1101"/>
                <a:gd name="T31" fmla="*/ 195 h 766"/>
                <a:gd name="T32" fmla="*/ 1101 w 1101"/>
                <a:gd name="T33" fmla="*/ 195 h 766"/>
                <a:gd name="T34" fmla="*/ 1101 w 1101"/>
                <a:gd name="T35" fmla="*/ 570 h 766"/>
                <a:gd name="T36" fmla="*/ 693 w 1101"/>
                <a:gd name="T37" fmla="*/ 571 h 766"/>
                <a:gd name="T38" fmla="*/ 361 w 1101"/>
                <a:gd name="T39" fmla="*/ 766 h 766"/>
                <a:gd name="T40" fmla="*/ 69 w 1101"/>
                <a:gd name="T41" fmla="*/ 499 h 766"/>
                <a:gd name="T42" fmla="*/ 68 w 1101"/>
                <a:gd name="T43" fmla="*/ 505 h 766"/>
                <a:gd name="T44" fmla="*/ 361 w 1101"/>
                <a:gd name="T45" fmla="*/ 702 h 766"/>
                <a:gd name="T46" fmla="*/ 361 w 1101"/>
                <a:gd name="T47" fmla="*/ 702 h 766"/>
                <a:gd name="T48" fmla="*/ 645 w 1101"/>
                <a:gd name="T49" fmla="*/ 524 h 766"/>
                <a:gd name="T50" fmla="*/ 654 w 1101"/>
                <a:gd name="T51" fmla="*/ 507 h 766"/>
                <a:gd name="T52" fmla="*/ 1037 w 1101"/>
                <a:gd name="T53" fmla="*/ 506 h 766"/>
                <a:gd name="T54" fmla="*/ 1037 w 1101"/>
                <a:gd name="T55" fmla="*/ 259 h 766"/>
                <a:gd name="T56" fmla="*/ 653 w 1101"/>
                <a:gd name="T57" fmla="*/ 259 h 766"/>
                <a:gd name="T58" fmla="*/ 644 w 1101"/>
                <a:gd name="T59" fmla="*/ 241 h 766"/>
                <a:gd name="T60" fmla="*/ 359 w 1101"/>
                <a:gd name="T61" fmla="*/ 64 h 766"/>
                <a:gd name="T62" fmla="*/ 68 w 1101"/>
                <a:gd name="T63" fmla="*/ 259 h 766"/>
                <a:gd name="T64" fmla="*/ 69 w 1101"/>
                <a:gd name="T65" fmla="*/ 265 h 766"/>
                <a:gd name="T66" fmla="*/ 74 w 1101"/>
                <a:gd name="T67" fmla="*/ 268 h 766"/>
                <a:gd name="T68" fmla="*/ 290 w 1101"/>
                <a:gd name="T69" fmla="*/ 281 h 766"/>
                <a:gd name="T70" fmla="*/ 394 w 1101"/>
                <a:gd name="T71" fmla="*/ 384 h 766"/>
                <a:gd name="T72" fmla="*/ 291 w 1101"/>
                <a:gd name="T73" fmla="*/ 488 h 766"/>
                <a:gd name="T74" fmla="*/ 74 w 1101"/>
                <a:gd name="T75" fmla="*/ 496 h 766"/>
                <a:gd name="T76" fmla="*/ 69 w 1101"/>
                <a:gd name="T77" fmla="*/ 49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1" h="766">
                  <a:moveTo>
                    <a:pt x="361" y="766"/>
                  </a:moveTo>
                  <a:cubicBezTo>
                    <a:pt x="361" y="766"/>
                    <a:pt x="361" y="766"/>
                    <a:pt x="361" y="766"/>
                  </a:cubicBezTo>
                  <a:cubicBezTo>
                    <a:pt x="361" y="766"/>
                    <a:pt x="361" y="766"/>
                    <a:pt x="361" y="766"/>
                  </a:cubicBezTo>
                  <a:cubicBezTo>
                    <a:pt x="206" y="766"/>
                    <a:pt x="67" y="673"/>
                    <a:pt x="9" y="529"/>
                  </a:cubicBezTo>
                  <a:cubicBezTo>
                    <a:pt x="0" y="508"/>
                    <a:pt x="3" y="484"/>
                    <a:pt x="15" y="464"/>
                  </a:cubicBezTo>
                  <a:cubicBezTo>
                    <a:pt x="15" y="464"/>
                    <a:pt x="15" y="464"/>
                    <a:pt x="15" y="464"/>
                  </a:cubicBezTo>
                  <a:cubicBezTo>
                    <a:pt x="28" y="445"/>
                    <a:pt x="49" y="433"/>
                    <a:pt x="72" y="432"/>
                  </a:cubicBezTo>
                  <a:cubicBezTo>
                    <a:pt x="263" y="425"/>
                    <a:pt x="263" y="425"/>
                    <a:pt x="263" y="425"/>
                  </a:cubicBezTo>
                  <a:cubicBezTo>
                    <a:pt x="303" y="384"/>
                    <a:pt x="303" y="384"/>
                    <a:pt x="303" y="384"/>
                  </a:cubicBezTo>
                  <a:cubicBezTo>
                    <a:pt x="262" y="344"/>
                    <a:pt x="262" y="344"/>
                    <a:pt x="262" y="344"/>
                  </a:cubicBezTo>
                  <a:cubicBezTo>
                    <a:pt x="70" y="332"/>
                    <a:pt x="70" y="332"/>
                    <a:pt x="70" y="332"/>
                  </a:cubicBezTo>
                  <a:cubicBezTo>
                    <a:pt x="48" y="331"/>
                    <a:pt x="27" y="318"/>
                    <a:pt x="15" y="299"/>
                  </a:cubicBezTo>
                  <a:cubicBezTo>
                    <a:pt x="3" y="280"/>
                    <a:pt x="0" y="256"/>
                    <a:pt x="9" y="235"/>
                  </a:cubicBezTo>
                  <a:cubicBezTo>
                    <a:pt x="37" y="165"/>
                    <a:pt x="85" y="106"/>
                    <a:pt x="148" y="64"/>
                  </a:cubicBezTo>
                  <a:cubicBezTo>
                    <a:pt x="210" y="22"/>
                    <a:pt x="284" y="0"/>
                    <a:pt x="359" y="0"/>
                  </a:cubicBezTo>
                  <a:cubicBezTo>
                    <a:pt x="499" y="0"/>
                    <a:pt x="624" y="74"/>
                    <a:pt x="692" y="195"/>
                  </a:cubicBezTo>
                  <a:cubicBezTo>
                    <a:pt x="1101" y="195"/>
                    <a:pt x="1101" y="195"/>
                    <a:pt x="1101" y="195"/>
                  </a:cubicBezTo>
                  <a:cubicBezTo>
                    <a:pt x="1101" y="570"/>
                    <a:pt x="1101" y="570"/>
                    <a:pt x="1101" y="570"/>
                  </a:cubicBezTo>
                  <a:cubicBezTo>
                    <a:pt x="693" y="571"/>
                    <a:pt x="693" y="571"/>
                    <a:pt x="693" y="571"/>
                  </a:cubicBezTo>
                  <a:cubicBezTo>
                    <a:pt x="626" y="690"/>
                    <a:pt x="498" y="766"/>
                    <a:pt x="361" y="766"/>
                  </a:cubicBezTo>
                  <a:close/>
                  <a:moveTo>
                    <a:pt x="69" y="499"/>
                  </a:moveTo>
                  <a:cubicBezTo>
                    <a:pt x="68" y="501"/>
                    <a:pt x="67" y="503"/>
                    <a:pt x="68" y="505"/>
                  </a:cubicBezTo>
                  <a:cubicBezTo>
                    <a:pt x="117" y="625"/>
                    <a:pt x="232" y="702"/>
                    <a:pt x="361" y="702"/>
                  </a:cubicBezTo>
                  <a:cubicBezTo>
                    <a:pt x="361" y="702"/>
                    <a:pt x="361" y="702"/>
                    <a:pt x="361" y="702"/>
                  </a:cubicBezTo>
                  <a:cubicBezTo>
                    <a:pt x="478" y="702"/>
                    <a:pt x="592" y="631"/>
                    <a:pt x="645" y="524"/>
                  </a:cubicBezTo>
                  <a:cubicBezTo>
                    <a:pt x="654" y="507"/>
                    <a:pt x="654" y="507"/>
                    <a:pt x="654" y="507"/>
                  </a:cubicBezTo>
                  <a:cubicBezTo>
                    <a:pt x="1037" y="506"/>
                    <a:pt x="1037" y="506"/>
                    <a:pt x="1037" y="506"/>
                  </a:cubicBezTo>
                  <a:cubicBezTo>
                    <a:pt x="1037" y="259"/>
                    <a:pt x="1037" y="259"/>
                    <a:pt x="1037" y="259"/>
                  </a:cubicBezTo>
                  <a:cubicBezTo>
                    <a:pt x="653" y="259"/>
                    <a:pt x="653" y="259"/>
                    <a:pt x="653" y="259"/>
                  </a:cubicBezTo>
                  <a:cubicBezTo>
                    <a:pt x="644" y="241"/>
                    <a:pt x="644" y="241"/>
                    <a:pt x="644" y="241"/>
                  </a:cubicBezTo>
                  <a:cubicBezTo>
                    <a:pt x="590" y="132"/>
                    <a:pt x="481" y="64"/>
                    <a:pt x="359" y="64"/>
                  </a:cubicBezTo>
                  <a:cubicBezTo>
                    <a:pt x="230" y="64"/>
                    <a:pt x="116" y="141"/>
                    <a:pt x="68" y="259"/>
                  </a:cubicBezTo>
                  <a:cubicBezTo>
                    <a:pt x="68" y="261"/>
                    <a:pt x="68" y="263"/>
                    <a:pt x="69" y="265"/>
                  </a:cubicBezTo>
                  <a:cubicBezTo>
                    <a:pt x="70" y="267"/>
                    <a:pt x="72" y="268"/>
                    <a:pt x="74" y="268"/>
                  </a:cubicBezTo>
                  <a:cubicBezTo>
                    <a:pt x="290" y="281"/>
                    <a:pt x="290" y="281"/>
                    <a:pt x="290" y="281"/>
                  </a:cubicBezTo>
                  <a:cubicBezTo>
                    <a:pt x="394" y="384"/>
                    <a:pt x="394" y="384"/>
                    <a:pt x="394" y="384"/>
                  </a:cubicBezTo>
                  <a:cubicBezTo>
                    <a:pt x="291" y="488"/>
                    <a:pt x="291" y="488"/>
                    <a:pt x="291" y="488"/>
                  </a:cubicBezTo>
                  <a:cubicBezTo>
                    <a:pt x="74" y="496"/>
                    <a:pt x="74" y="496"/>
                    <a:pt x="74" y="496"/>
                  </a:cubicBezTo>
                  <a:cubicBezTo>
                    <a:pt x="72" y="496"/>
                    <a:pt x="70" y="498"/>
                    <a:pt x="69" y="4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2">
              <a:extLst>
                <a:ext uri="{FF2B5EF4-FFF2-40B4-BE49-F238E27FC236}">
                  <a16:creationId xmlns:a16="http://schemas.microsoft.com/office/drawing/2014/main" id="{289DD1C3-15EF-45FA-82FA-6FA6912A77D3}"/>
                </a:ext>
              </a:extLst>
            </p:cNvPr>
            <p:cNvSpPr>
              <a:spLocks noEditPoints="1"/>
            </p:cNvSpPr>
            <p:nvPr/>
          </p:nvSpPr>
          <p:spPr bwMode="auto">
            <a:xfrm rot="2700000">
              <a:off x="1614735" y="4692233"/>
              <a:ext cx="533400" cy="334963"/>
            </a:xfrm>
            <a:custGeom>
              <a:avLst/>
              <a:gdLst>
                <a:gd name="T0" fmla="*/ 723 w 1086"/>
                <a:gd name="T1" fmla="*/ 764 h 764"/>
                <a:gd name="T2" fmla="*/ 390 w 1086"/>
                <a:gd name="T3" fmla="*/ 570 h 764"/>
                <a:gd name="T4" fmla="*/ 0 w 1086"/>
                <a:gd name="T5" fmla="*/ 570 h 764"/>
                <a:gd name="T6" fmla="*/ 0 w 1086"/>
                <a:gd name="T7" fmla="*/ 195 h 764"/>
                <a:gd name="T8" fmla="*/ 391 w 1086"/>
                <a:gd name="T9" fmla="*/ 195 h 764"/>
                <a:gd name="T10" fmla="*/ 723 w 1086"/>
                <a:gd name="T11" fmla="*/ 0 h 764"/>
                <a:gd name="T12" fmla="*/ 1077 w 1086"/>
                <a:gd name="T13" fmla="*/ 239 h 764"/>
                <a:gd name="T14" fmla="*/ 1071 w 1086"/>
                <a:gd name="T15" fmla="*/ 304 h 764"/>
                <a:gd name="T16" fmla="*/ 1015 w 1086"/>
                <a:gd name="T17" fmla="*/ 336 h 764"/>
                <a:gd name="T18" fmla="*/ 814 w 1086"/>
                <a:gd name="T19" fmla="*/ 344 h 764"/>
                <a:gd name="T20" fmla="*/ 774 w 1086"/>
                <a:gd name="T21" fmla="*/ 384 h 764"/>
                <a:gd name="T22" fmla="*/ 814 w 1086"/>
                <a:gd name="T23" fmla="*/ 424 h 764"/>
                <a:gd name="T24" fmla="*/ 1013 w 1086"/>
                <a:gd name="T25" fmla="*/ 428 h 764"/>
                <a:gd name="T26" fmla="*/ 1071 w 1086"/>
                <a:gd name="T27" fmla="*/ 459 h 764"/>
                <a:gd name="T28" fmla="*/ 1077 w 1086"/>
                <a:gd name="T29" fmla="*/ 525 h 764"/>
                <a:gd name="T30" fmla="*/ 993 w 1086"/>
                <a:gd name="T31" fmla="*/ 652 h 764"/>
                <a:gd name="T32" fmla="*/ 723 w 1086"/>
                <a:gd name="T33" fmla="*/ 764 h 764"/>
                <a:gd name="T34" fmla="*/ 430 w 1086"/>
                <a:gd name="T35" fmla="*/ 506 h 764"/>
                <a:gd name="T36" fmla="*/ 438 w 1086"/>
                <a:gd name="T37" fmla="*/ 523 h 764"/>
                <a:gd name="T38" fmla="*/ 723 w 1086"/>
                <a:gd name="T39" fmla="*/ 700 h 764"/>
                <a:gd name="T40" fmla="*/ 948 w 1086"/>
                <a:gd name="T41" fmla="*/ 607 h 764"/>
                <a:gd name="T42" fmla="*/ 1018 w 1086"/>
                <a:gd name="T43" fmla="*/ 501 h 764"/>
                <a:gd name="T44" fmla="*/ 1017 w 1086"/>
                <a:gd name="T45" fmla="*/ 495 h 764"/>
                <a:gd name="T46" fmla="*/ 1012 w 1086"/>
                <a:gd name="T47" fmla="*/ 492 h 764"/>
                <a:gd name="T48" fmla="*/ 787 w 1086"/>
                <a:gd name="T49" fmla="*/ 488 h 764"/>
                <a:gd name="T50" fmla="*/ 683 w 1086"/>
                <a:gd name="T51" fmla="*/ 384 h 764"/>
                <a:gd name="T52" fmla="*/ 787 w 1086"/>
                <a:gd name="T53" fmla="*/ 281 h 764"/>
                <a:gd name="T54" fmla="*/ 1012 w 1086"/>
                <a:gd name="T55" fmla="*/ 272 h 764"/>
                <a:gd name="T56" fmla="*/ 1018 w 1086"/>
                <a:gd name="T57" fmla="*/ 269 h 764"/>
                <a:gd name="T58" fmla="*/ 1018 w 1086"/>
                <a:gd name="T59" fmla="*/ 263 h 764"/>
                <a:gd name="T60" fmla="*/ 723 w 1086"/>
                <a:gd name="T61" fmla="*/ 64 h 764"/>
                <a:gd name="T62" fmla="*/ 438 w 1086"/>
                <a:gd name="T63" fmla="*/ 241 h 764"/>
                <a:gd name="T64" fmla="*/ 430 w 1086"/>
                <a:gd name="T65" fmla="*/ 259 h 764"/>
                <a:gd name="T66" fmla="*/ 64 w 1086"/>
                <a:gd name="T67" fmla="*/ 259 h 764"/>
                <a:gd name="T68" fmla="*/ 64 w 1086"/>
                <a:gd name="T69" fmla="*/ 506 h 764"/>
                <a:gd name="T70" fmla="*/ 430 w 1086"/>
                <a:gd name="T71" fmla="*/ 506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6" h="764">
                  <a:moveTo>
                    <a:pt x="723" y="764"/>
                  </a:moveTo>
                  <a:cubicBezTo>
                    <a:pt x="584" y="764"/>
                    <a:pt x="458" y="690"/>
                    <a:pt x="390" y="570"/>
                  </a:cubicBezTo>
                  <a:cubicBezTo>
                    <a:pt x="0" y="570"/>
                    <a:pt x="0" y="570"/>
                    <a:pt x="0" y="570"/>
                  </a:cubicBezTo>
                  <a:cubicBezTo>
                    <a:pt x="0" y="195"/>
                    <a:pt x="0" y="195"/>
                    <a:pt x="0" y="195"/>
                  </a:cubicBezTo>
                  <a:cubicBezTo>
                    <a:pt x="391" y="195"/>
                    <a:pt x="391" y="195"/>
                    <a:pt x="391" y="195"/>
                  </a:cubicBezTo>
                  <a:cubicBezTo>
                    <a:pt x="458" y="76"/>
                    <a:pt x="586" y="0"/>
                    <a:pt x="723" y="0"/>
                  </a:cubicBezTo>
                  <a:cubicBezTo>
                    <a:pt x="880" y="0"/>
                    <a:pt x="1018" y="94"/>
                    <a:pt x="1077" y="239"/>
                  </a:cubicBezTo>
                  <a:cubicBezTo>
                    <a:pt x="1086" y="260"/>
                    <a:pt x="1084" y="284"/>
                    <a:pt x="1071" y="304"/>
                  </a:cubicBezTo>
                  <a:cubicBezTo>
                    <a:pt x="1058" y="323"/>
                    <a:pt x="1037" y="335"/>
                    <a:pt x="1015" y="336"/>
                  </a:cubicBezTo>
                  <a:cubicBezTo>
                    <a:pt x="814" y="344"/>
                    <a:pt x="814" y="344"/>
                    <a:pt x="814" y="344"/>
                  </a:cubicBezTo>
                  <a:cubicBezTo>
                    <a:pt x="774" y="384"/>
                    <a:pt x="774" y="384"/>
                    <a:pt x="774" y="384"/>
                  </a:cubicBezTo>
                  <a:cubicBezTo>
                    <a:pt x="814" y="424"/>
                    <a:pt x="814" y="424"/>
                    <a:pt x="814" y="424"/>
                  </a:cubicBezTo>
                  <a:cubicBezTo>
                    <a:pt x="1013" y="428"/>
                    <a:pt x="1013" y="428"/>
                    <a:pt x="1013" y="428"/>
                  </a:cubicBezTo>
                  <a:cubicBezTo>
                    <a:pt x="1036" y="428"/>
                    <a:pt x="1058" y="440"/>
                    <a:pt x="1071" y="459"/>
                  </a:cubicBezTo>
                  <a:cubicBezTo>
                    <a:pt x="1084" y="479"/>
                    <a:pt x="1086" y="504"/>
                    <a:pt x="1077" y="525"/>
                  </a:cubicBezTo>
                  <a:cubicBezTo>
                    <a:pt x="1058" y="573"/>
                    <a:pt x="1030" y="616"/>
                    <a:pt x="993" y="652"/>
                  </a:cubicBezTo>
                  <a:cubicBezTo>
                    <a:pt x="921" y="724"/>
                    <a:pt x="825" y="764"/>
                    <a:pt x="723" y="764"/>
                  </a:cubicBezTo>
                  <a:close/>
                  <a:moveTo>
                    <a:pt x="430" y="506"/>
                  </a:moveTo>
                  <a:cubicBezTo>
                    <a:pt x="438" y="523"/>
                    <a:pt x="438" y="523"/>
                    <a:pt x="438" y="523"/>
                  </a:cubicBezTo>
                  <a:cubicBezTo>
                    <a:pt x="492" y="632"/>
                    <a:pt x="602" y="700"/>
                    <a:pt x="723" y="700"/>
                  </a:cubicBezTo>
                  <a:cubicBezTo>
                    <a:pt x="808" y="700"/>
                    <a:pt x="888" y="667"/>
                    <a:pt x="948" y="607"/>
                  </a:cubicBezTo>
                  <a:cubicBezTo>
                    <a:pt x="978" y="577"/>
                    <a:pt x="1002" y="541"/>
                    <a:pt x="1018" y="501"/>
                  </a:cubicBezTo>
                  <a:cubicBezTo>
                    <a:pt x="1019" y="499"/>
                    <a:pt x="1019" y="497"/>
                    <a:pt x="1017" y="495"/>
                  </a:cubicBezTo>
                  <a:cubicBezTo>
                    <a:pt x="1016" y="493"/>
                    <a:pt x="1014" y="492"/>
                    <a:pt x="1012" y="492"/>
                  </a:cubicBezTo>
                  <a:cubicBezTo>
                    <a:pt x="787" y="488"/>
                    <a:pt x="787" y="488"/>
                    <a:pt x="787" y="488"/>
                  </a:cubicBezTo>
                  <a:cubicBezTo>
                    <a:pt x="683" y="384"/>
                    <a:pt x="683" y="384"/>
                    <a:pt x="683" y="384"/>
                  </a:cubicBezTo>
                  <a:cubicBezTo>
                    <a:pt x="787" y="281"/>
                    <a:pt x="787" y="281"/>
                    <a:pt x="787" y="281"/>
                  </a:cubicBezTo>
                  <a:cubicBezTo>
                    <a:pt x="1012" y="272"/>
                    <a:pt x="1012" y="272"/>
                    <a:pt x="1012" y="272"/>
                  </a:cubicBezTo>
                  <a:cubicBezTo>
                    <a:pt x="1014" y="272"/>
                    <a:pt x="1016" y="271"/>
                    <a:pt x="1018" y="269"/>
                  </a:cubicBezTo>
                  <a:cubicBezTo>
                    <a:pt x="1019" y="267"/>
                    <a:pt x="1019" y="265"/>
                    <a:pt x="1018" y="263"/>
                  </a:cubicBezTo>
                  <a:cubicBezTo>
                    <a:pt x="969" y="142"/>
                    <a:pt x="853" y="64"/>
                    <a:pt x="723" y="64"/>
                  </a:cubicBezTo>
                  <a:cubicBezTo>
                    <a:pt x="604" y="64"/>
                    <a:pt x="492" y="133"/>
                    <a:pt x="438" y="241"/>
                  </a:cubicBezTo>
                  <a:cubicBezTo>
                    <a:pt x="430" y="259"/>
                    <a:pt x="430" y="259"/>
                    <a:pt x="430" y="259"/>
                  </a:cubicBezTo>
                  <a:cubicBezTo>
                    <a:pt x="64" y="259"/>
                    <a:pt x="64" y="259"/>
                    <a:pt x="64" y="259"/>
                  </a:cubicBezTo>
                  <a:cubicBezTo>
                    <a:pt x="64" y="506"/>
                    <a:pt x="64" y="506"/>
                    <a:pt x="64" y="506"/>
                  </a:cubicBezTo>
                  <a:lnTo>
                    <a:pt x="430" y="5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Freeform 13">
              <a:extLst>
                <a:ext uri="{FF2B5EF4-FFF2-40B4-BE49-F238E27FC236}">
                  <a16:creationId xmlns:a16="http://schemas.microsoft.com/office/drawing/2014/main" id="{D19C355B-5DBC-402E-B790-7E9BC0F49AA5}"/>
                </a:ext>
              </a:extLst>
            </p:cNvPr>
            <p:cNvSpPr>
              <a:spLocks noEditPoints="1"/>
            </p:cNvSpPr>
            <p:nvPr/>
          </p:nvSpPr>
          <p:spPr bwMode="auto">
            <a:xfrm rot="2700000">
              <a:off x="1457751" y="4152531"/>
              <a:ext cx="298450" cy="1092200"/>
            </a:xfrm>
            <a:custGeom>
              <a:avLst/>
              <a:gdLst>
                <a:gd name="T0" fmla="*/ 372 w 609"/>
                <a:gd name="T1" fmla="*/ 1504 h 2484"/>
                <a:gd name="T2" fmla="*/ 344 w 609"/>
                <a:gd name="T3" fmla="*/ 472 h 2484"/>
                <a:gd name="T4" fmla="*/ 435 w 609"/>
                <a:gd name="T5" fmla="*/ 472 h 2484"/>
                <a:gd name="T6" fmla="*/ 490 w 609"/>
                <a:gd name="T7" fmla="*/ 443 h 2484"/>
                <a:gd name="T8" fmla="*/ 457 w 609"/>
                <a:gd name="T9" fmla="*/ 59 h 2484"/>
                <a:gd name="T10" fmla="*/ 222 w 609"/>
                <a:gd name="T11" fmla="*/ 0 h 2484"/>
                <a:gd name="T12" fmla="*/ 93 w 609"/>
                <a:gd name="T13" fmla="*/ 386 h 2484"/>
                <a:gd name="T14" fmla="*/ 162 w 609"/>
                <a:gd name="T15" fmla="*/ 469 h 2484"/>
                <a:gd name="T16" fmla="*/ 266 w 609"/>
                <a:gd name="T17" fmla="*/ 471 h 2484"/>
                <a:gd name="T18" fmla="*/ 228 w 609"/>
                <a:gd name="T19" fmla="*/ 1504 h 2484"/>
                <a:gd name="T20" fmla="*/ 0 w 609"/>
                <a:gd name="T21" fmla="*/ 1573 h 2484"/>
                <a:gd name="T22" fmla="*/ 117 w 609"/>
                <a:gd name="T23" fmla="*/ 1644 h 2484"/>
                <a:gd name="T24" fmla="*/ 172 w 609"/>
                <a:gd name="T25" fmla="*/ 2429 h 2484"/>
                <a:gd name="T26" fmla="*/ 305 w 609"/>
                <a:gd name="T27" fmla="*/ 2484 h 2484"/>
                <a:gd name="T28" fmla="*/ 437 w 609"/>
                <a:gd name="T29" fmla="*/ 2429 h 2484"/>
                <a:gd name="T30" fmla="*/ 492 w 609"/>
                <a:gd name="T31" fmla="*/ 1648 h 2484"/>
                <a:gd name="T32" fmla="*/ 588 w 609"/>
                <a:gd name="T33" fmla="*/ 1625 h 2484"/>
                <a:gd name="T34" fmla="*/ 538 w 609"/>
                <a:gd name="T35" fmla="*/ 1504 h 2484"/>
                <a:gd name="T36" fmla="*/ 163 w 609"/>
                <a:gd name="T37" fmla="*/ 405 h 2484"/>
                <a:gd name="T38" fmla="*/ 156 w 609"/>
                <a:gd name="T39" fmla="*/ 398 h 2484"/>
                <a:gd name="T40" fmla="*/ 222 w 609"/>
                <a:gd name="T41" fmla="*/ 64 h 2484"/>
                <a:gd name="T42" fmla="*/ 394 w 609"/>
                <a:gd name="T43" fmla="*/ 69 h 2484"/>
                <a:gd name="T44" fmla="*/ 440 w 609"/>
                <a:gd name="T45" fmla="*/ 403 h 2484"/>
                <a:gd name="T46" fmla="*/ 438 w 609"/>
                <a:gd name="T47" fmla="*/ 406 h 2484"/>
                <a:gd name="T48" fmla="*/ 372 w 609"/>
                <a:gd name="T49" fmla="*/ 408 h 2484"/>
                <a:gd name="T50" fmla="*/ 164 w 609"/>
                <a:gd name="T51" fmla="*/ 405 h 2484"/>
                <a:gd name="T52" fmla="*/ 537 w 609"/>
                <a:gd name="T53" fmla="*/ 1584 h 2484"/>
                <a:gd name="T54" fmla="*/ 428 w 609"/>
                <a:gd name="T55" fmla="*/ 2298 h 2484"/>
                <a:gd name="T56" fmla="*/ 305 w 609"/>
                <a:gd name="T57" fmla="*/ 2420 h 2484"/>
                <a:gd name="T58" fmla="*/ 217 w 609"/>
                <a:gd name="T59" fmla="*/ 2383 h 2484"/>
                <a:gd name="T60" fmla="*/ 181 w 609"/>
                <a:gd name="T61" fmla="*/ 1580 h 2484"/>
                <a:gd name="T62" fmla="*/ 64 w 609"/>
                <a:gd name="T63" fmla="*/ 1573 h 2484"/>
                <a:gd name="T64" fmla="*/ 228 w 609"/>
                <a:gd name="T65" fmla="*/ 1568 h 2484"/>
                <a:gd name="T66" fmla="*/ 538 w 609"/>
                <a:gd name="T67" fmla="*/ 1568 h 2484"/>
                <a:gd name="T68" fmla="*/ 543 w 609"/>
                <a:gd name="T69" fmla="*/ 1580 h 2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2484">
                  <a:moveTo>
                    <a:pt x="538" y="1504"/>
                  </a:moveTo>
                  <a:cubicBezTo>
                    <a:pt x="372" y="1504"/>
                    <a:pt x="372" y="1504"/>
                    <a:pt x="372" y="1504"/>
                  </a:cubicBezTo>
                  <a:cubicBezTo>
                    <a:pt x="344" y="1504"/>
                    <a:pt x="344" y="1504"/>
                    <a:pt x="344" y="1504"/>
                  </a:cubicBezTo>
                  <a:cubicBezTo>
                    <a:pt x="344" y="472"/>
                    <a:pt x="344" y="472"/>
                    <a:pt x="344" y="472"/>
                  </a:cubicBezTo>
                  <a:cubicBezTo>
                    <a:pt x="372" y="472"/>
                    <a:pt x="372" y="472"/>
                    <a:pt x="372" y="472"/>
                  </a:cubicBezTo>
                  <a:cubicBezTo>
                    <a:pt x="435" y="472"/>
                    <a:pt x="435" y="472"/>
                    <a:pt x="435" y="472"/>
                  </a:cubicBezTo>
                  <a:cubicBezTo>
                    <a:pt x="453" y="472"/>
                    <a:pt x="471" y="464"/>
                    <a:pt x="485" y="450"/>
                  </a:cubicBezTo>
                  <a:cubicBezTo>
                    <a:pt x="488" y="447"/>
                    <a:pt x="489" y="445"/>
                    <a:pt x="490" y="443"/>
                  </a:cubicBezTo>
                  <a:cubicBezTo>
                    <a:pt x="502" y="428"/>
                    <a:pt x="508" y="408"/>
                    <a:pt x="505" y="388"/>
                  </a:cubicBezTo>
                  <a:cubicBezTo>
                    <a:pt x="457" y="59"/>
                    <a:pt x="457" y="59"/>
                    <a:pt x="457" y="59"/>
                  </a:cubicBezTo>
                  <a:cubicBezTo>
                    <a:pt x="452" y="25"/>
                    <a:pt x="423" y="0"/>
                    <a:pt x="387" y="0"/>
                  </a:cubicBezTo>
                  <a:cubicBezTo>
                    <a:pt x="222" y="0"/>
                    <a:pt x="222" y="0"/>
                    <a:pt x="222" y="0"/>
                  </a:cubicBezTo>
                  <a:cubicBezTo>
                    <a:pt x="188" y="0"/>
                    <a:pt x="158" y="24"/>
                    <a:pt x="152" y="57"/>
                  </a:cubicBezTo>
                  <a:cubicBezTo>
                    <a:pt x="93" y="386"/>
                    <a:pt x="93" y="386"/>
                    <a:pt x="93" y="386"/>
                  </a:cubicBezTo>
                  <a:cubicBezTo>
                    <a:pt x="89" y="407"/>
                    <a:pt x="95" y="428"/>
                    <a:pt x="108" y="444"/>
                  </a:cubicBezTo>
                  <a:cubicBezTo>
                    <a:pt x="122" y="460"/>
                    <a:pt x="141" y="469"/>
                    <a:pt x="162" y="469"/>
                  </a:cubicBezTo>
                  <a:cubicBezTo>
                    <a:pt x="227" y="471"/>
                    <a:pt x="227" y="471"/>
                    <a:pt x="227" y="471"/>
                  </a:cubicBezTo>
                  <a:cubicBezTo>
                    <a:pt x="266" y="471"/>
                    <a:pt x="266" y="471"/>
                    <a:pt x="266" y="471"/>
                  </a:cubicBezTo>
                  <a:cubicBezTo>
                    <a:pt x="266" y="1504"/>
                    <a:pt x="266" y="1504"/>
                    <a:pt x="266" y="1504"/>
                  </a:cubicBezTo>
                  <a:cubicBezTo>
                    <a:pt x="228" y="1504"/>
                    <a:pt x="228" y="1504"/>
                    <a:pt x="228" y="1504"/>
                  </a:cubicBezTo>
                  <a:cubicBezTo>
                    <a:pt x="71" y="1503"/>
                    <a:pt x="71" y="1503"/>
                    <a:pt x="71" y="1503"/>
                  </a:cubicBezTo>
                  <a:cubicBezTo>
                    <a:pt x="32" y="1503"/>
                    <a:pt x="0" y="1534"/>
                    <a:pt x="0" y="1573"/>
                  </a:cubicBezTo>
                  <a:cubicBezTo>
                    <a:pt x="0" y="1612"/>
                    <a:pt x="32" y="1644"/>
                    <a:pt x="71" y="1644"/>
                  </a:cubicBezTo>
                  <a:cubicBezTo>
                    <a:pt x="117" y="1644"/>
                    <a:pt x="117" y="1644"/>
                    <a:pt x="117" y="1644"/>
                  </a:cubicBezTo>
                  <a:cubicBezTo>
                    <a:pt x="117" y="2296"/>
                    <a:pt x="117" y="2296"/>
                    <a:pt x="117" y="2296"/>
                  </a:cubicBezTo>
                  <a:cubicBezTo>
                    <a:pt x="117" y="2346"/>
                    <a:pt x="137" y="2393"/>
                    <a:pt x="172" y="2429"/>
                  </a:cubicBezTo>
                  <a:cubicBezTo>
                    <a:pt x="208" y="2464"/>
                    <a:pt x="255" y="2484"/>
                    <a:pt x="305" y="2484"/>
                  </a:cubicBezTo>
                  <a:cubicBezTo>
                    <a:pt x="305" y="2484"/>
                    <a:pt x="305" y="2484"/>
                    <a:pt x="305" y="2484"/>
                  </a:cubicBezTo>
                  <a:cubicBezTo>
                    <a:pt x="305" y="2484"/>
                    <a:pt x="305" y="2484"/>
                    <a:pt x="305" y="2484"/>
                  </a:cubicBezTo>
                  <a:cubicBezTo>
                    <a:pt x="355" y="2484"/>
                    <a:pt x="402" y="2464"/>
                    <a:pt x="437" y="2429"/>
                  </a:cubicBezTo>
                  <a:cubicBezTo>
                    <a:pt x="473" y="2393"/>
                    <a:pt x="492" y="2347"/>
                    <a:pt x="492" y="2298"/>
                  </a:cubicBezTo>
                  <a:cubicBezTo>
                    <a:pt x="492" y="1648"/>
                    <a:pt x="492" y="1648"/>
                    <a:pt x="492" y="1648"/>
                  </a:cubicBezTo>
                  <a:cubicBezTo>
                    <a:pt x="538" y="1648"/>
                    <a:pt x="538" y="1648"/>
                    <a:pt x="538" y="1648"/>
                  </a:cubicBezTo>
                  <a:cubicBezTo>
                    <a:pt x="556" y="1648"/>
                    <a:pt x="573" y="1640"/>
                    <a:pt x="588" y="1625"/>
                  </a:cubicBezTo>
                  <a:cubicBezTo>
                    <a:pt x="601" y="1612"/>
                    <a:pt x="609" y="1594"/>
                    <a:pt x="609" y="1575"/>
                  </a:cubicBezTo>
                  <a:cubicBezTo>
                    <a:pt x="609" y="1536"/>
                    <a:pt x="577" y="1504"/>
                    <a:pt x="538" y="1504"/>
                  </a:cubicBezTo>
                  <a:close/>
                  <a:moveTo>
                    <a:pt x="164" y="405"/>
                  </a:moveTo>
                  <a:cubicBezTo>
                    <a:pt x="163" y="405"/>
                    <a:pt x="163" y="405"/>
                    <a:pt x="163" y="405"/>
                  </a:cubicBezTo>
                  <a:cubicBezTo>
                    <a:pt x="162" y="405"/>
                    <a:pt x="159" y="405"/>
                    <a:pt x="158" y="403"/>
                  </a:cubicBezTo>
                  <a:cubicBezTo>
                    <a:pt x="156" y="401"/>
                    <a:pt x="156" y="399"/>
                    <a:pt x="156" y="398"/>
                  </a:cubicBezTo>
                  <a:cubicBezTo>
                    <a:pt x="215" y="68"/>
                    <a:pt x="215" y="68"/>
                    <a:pt x="215" y="68"/>
                  </a:cubicBezTo>
                  <a:cubicBezTo>
                    <a:pt x="216" y="64"/>
                    <a:pt x="222" y="64"/>
                    <a:pt x="222" y="64"/>
                  </a:cubicBezTo>
                  <a:cubicBezTo>
                    <a:pt x="387" y="64"/>
                    <a:pt x="387" y="64"/>
                    <a:pt x="387" y="64"/>
                  </a:cubicBezTo>
                  <a:cubicBezTo>
                    <a:pt x="389" y="64"/>
                    <a:pt x="393" y="64"/>
                    <a:pt x="394" y="69"/>
                  </a:cubicBezTo>
                  <a:cubicBezTo>
                    <a:pt x="442" y="398"/>
                    <a:pt x="442" y="398"/>
                    <a:pt x="442" y="398"/>
                  </a:cubicBezTo>
                  <a:cubicBezTo>
                    <a:pt x="442" y="399"/>
                    <a:pt x="441" y="402"/>
                    <a:pt x="440" y="403"/>
                  </a:cubicBezTo>
                  <a:cubicBezTo>
                    <a:pt x="438" y="405"/>
                    <a:pt x="438" y="405"/>
                    <a:pt x="438" y="405"/>
                  </a:cubicBezTo>
                  <a:cubicBezTo>
                    <a:pt x="438" y="406"/>
                    <a:pt x="438" y="406"/>
                    <a:pt x="438" y="406"/>
                  </a:cubicBezTo>
                  <a:cubicBezTo>
                    <a:pt x="436" y="407"/>
                    <a:pt x="435" y="408"/>
                    <a:pt x="435" y="408"/>
                  </a:cubicBezTo>
                  <a:cubicBezTo>
                    <a:pt x="372" y="408"/>
                    <a:pt x="372" y="408"/>
                    <a:pt x="372" y="408"/>
                  </a:cubicBezTo>
                  <a:cubicBezTo>
                    <a:pt x="229" y="407"/>
                    <a:pt x="229" y="407"/>
                    <a:pt x="229" y="407"/>
                  </a:cubicBezTo>
                  <a:lnTo>
                    <a:pt x="164" y="405"/>
                  </a:lnTo>
                  <a:close/>
                  <a:moveTo>
                    <a:pt x="543" y="1580"/>
                  </a:moveTo>
                  <a:cubicBezTo>
                    <a:pt x="540" y="1582"/>
                    <a:pt x="538" y="1584"/>
                    <a:pt x="537" y="1584"/>
                  </a:cubicBezTo>
                  <a:cubicBezTo>
                    <a:pt x="428" y="1584"/>
                    <a:pt x="428" y="1584"/>
                    <a:pt x="428" y="1584"/>
                  </a:cubicBezTo>
                  <a:cubicBezTo>
                    <a:pt x="428" y="2298"/>
                    <a:pt x="428" y="2298"/>
                    <a:pt x="428" y="2298"/>
                  </a:cubicBezTo>
                  <a:cubicBezTo>
                    <a:pt x="428" y="2331"/>
                    <a:pt x="416" y="2359"/>
                    <a:pt x="392" y="2384"/>
                  </a:cubicBezTo>
                  <a:cubicBezTo>
                    <a:pt x="369" y="2407"/>
                    <a:pt x="338" y="2420"/>
                    <a:pt x="305" y="2420"/>
                  </a:cubicBezTo>
                  <a:cubicBezTo>
                    <a:pt x="305" y="2420"/>
                    <a:pt x="305" y="2420"/>
                    <a:pt x="305" y="2420"/>
                  </a:cubicBezTo>
                  <a:cubicBezTo>
                    <a:pt x="272" y="2420"/>
                    <a:pt x="241" y="2407"/>
                    <a:pt x="217" y="2383"/>
                  </a:cubicBezTo>
                  <a:cubicBezTo>
                    <a:pt x="194" y="2360"/>
                    <a:pt x="181" y="2329"/>
                    <a:pt x="181" y="2296"/>
                  </a:cubicBezTo>
                  <a:cubicBezTo>
                    <a:pt x="181" y="1580"/>
                    <a:pt x="181" y="1580"/>
                    <a:pt x="181" y="1580"/>
                  </a:cubicBezTo>
                  <a:cubicBezTo>
                    <a:pt x="71" y="1580"/>
                    <a:pt x="71" y="1580"/>
                    <a:pt x="71" y="1580"/>
                  </a:cubicBezTo>
                  <a:cubicBezTo>
                    <a:pt x="67" y="1580"/>
                    <a:pt x="64" y="1577"/>
                    <a:pt x="64" y="1573"/>
                  </a:cubicBezTo>
                  <a:cubicBezTo>
                    <a:pt x="64" y="1570"/>
                    <a:pt x="67" y="1567"/>
                    <a:pt x="71" y="1567"/>
                  </a:cubicBezTo>
                  <a:cubicBezTo>
                    <a:pt x="228" y="1568"/>
                    <a:pt x="228" y="1568"/>
                    <a:pt x="228" y="1568"/>
                  </a:cubicBezTo>
                  <a:cubicBezTo>
                    <a:pt x="372" y="1568"/>
                    <a:pt x="372" y="1568"/>
                    <a:pt x="372" y="1568"/>
                  </a:cubicBezTo>
                  <a:cubicBezTo>
                    <a:pt x="538" y="1568"/>
                    <a:pt x="538" y="1568"/>
                    <a:pt x="538" y="1568"/>
                  </a:cubicBezTo>
                  <a:cubicBezTo>
                    <a:pt x="542" y="1568"/>
                    <a:pt x="545" y="1571"/>
                    <a:pt x="545" y="1575"/>
                  </a:cubicBezTo>
                  <a:cubicBezTo>
                    <a:pt x="545" y="1577"/>
                    <a:pt x="544" y="1579"/>
                    <a:pt x="543" y="15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62" name="Group 1039">
            <a:extLst>
              <a:ext uri="{FF2B5EF4-FFF2-40B4-BE49-F238E27FC236}">
                <a16:creationId xmlns:a16="http://schemas.microsoft.com/office/drawing/2014/main" id="{7A7334D8-0D92-45A8-8502-189C9B382AB1}"/>
              </a:ext>
            </a:extLst>
          </p:cNvPr>
          <p:cNvGrpSpPr>
            <a:grpSpLocks noChangeAspect="1"/>
          </p:cNvGrpSpPr>
          <p:nvPr/>
        </p:nvGrpSpPr>
        <p:grpSpPr>
          <a:xfrm>
            <a:off x="2257726" y="5981262"/>
            <a:ext cx="304790" cy="235315"/>
            <a:chOff x="-12601576" y="-198438"/>
            <a:chExt cx="8475663" cy="6543676"/>
          </a:xfrm>
          <a:solidFill>
            <a:schemeClr val="bg2"/>
          </a:solidFill>
          <a:effectLst/>
        </p:grpSpPr>
        <p:sp>
          <p:nvSpPr>
            <p:cNvPr id="863" name="Freeform 20">
              <a:extLst>
                <a:ext uri="{FF2B5EF4-FFF2-40B4-BE49-F238E27FC236}">
                  <a16:creationId xmlns:a16="http://schemas.microsoft.com/office/drawing/2014/main" id="{A364D4A8-FA08-4DDD-B699-839905AC4763}"/>
                </a:ext>
              </a:extLst>
            </p:cNvPr>
            <p:cNvSpPr>
              <a:spLocks noEditPoints="1"/>
            </p:cNvSpPr>
            <p:nvPr/>
          </p:nvSpPr>
          <p:spPr bwMode="auto">
            <a:xfrm>
              <a:off x="-12601576" y="-198438"/>
              <a:ext cx="8475663" cy="6543676"/>
            </a:xfrm>
            <a:custGeom>
              <a:avLst/>
              <a:gdLst>
                <a:gd name="T0" fmla="*/ 1525 w 2257"/>
                <a:gd name="T1" fmla="*/ 1422 h 1742"/>
                <a:gd name="T2" fmla="*/ 1421 w 2257"/>
                <a:gd name="T3" fmla="*/ 1426 h 1742"/>
                <a:gd name="T4" fmla="*/ 1365 w 2257"/>
                <a:gd name="T5" fmla="*/ 1413 h 1742"/>
                <a:gd name="T6" fmla="*/ 1264 w 2257"/>
                <a:gd name="T7" fmla="*/ 1418 h 1742"/>
                <a:gd name="T8" fmla="*/ 1206 w 2257"/>
                <a:gd name="T9" fmla="*/ 1289 h 1742"/>
                <a:gd name="T10" fmla="*/ 986 w 2257"/>
                <a:gd name="T11" fmla="*/ 1716 h 1742"/>
                <a:gd name="T12" fmla="*/ 571 w 2257"/>
                <a:gd name="T13" fmla="*/ 1197 h 1742"/>
                <a:gd name="T14" fmla="*/ 394 w 2257"/>
                <a:gd name="T15" fmla="*/ 880 h 1742"/>
                <a:gd name="T16" fmla="*/ 347 w 2257"/>
                <a:gd name="T17" fmla="*/ 637 h 1742"/>
                <a:gd name="T18" fmla="*/ 5 w 2257"/>
                <a:gd name="T19" fmla="*/ 317 h 1742"/>
                <a:gd name="T20" fmla="*/ 333 w 2257"/>
                <a:gd name="T21" fmla="*/ 233 h 1742"/>
                <a:gd name="T22" fmla="*/ 350 w 2257"/>
                <a:gd name="T23" fmla="*/ 192 h 1742"/>
                <a:gd name="T24" fmla="*/ 495 w 2257"/>
                <a:gd name="T25" fmla="*/ 191 h 1742"/>
                <a:gd name="T26" fmla="*/ 831 w 2257"/>
                <a:gd name="T27" fmla="*/ 27 h 1742"/>
                <a:gd name="T28" fmla="*/ 763 w 2257"/>
                <a:gd name="T29" fmla="*/ 223 h 1742"/>
                <a:gd name="T30" fmla="*/ 1101 w 2257"/>
                <a:gd name="T31" fmla="*/ 289 h 1742"/>
                <a:gd name="T32" fmla="*/ 1848 w 2257"/>
                <a:gd name="T33" fmla="*/ 429 h 1742"/>
                <a:gd name="T34" fmla="*/ 2250 w 2257"/>
                <a:gd name="T35" fmla="*/ 1052 h 1742"/>
                <a:gd name="T36" fmla="*/ 2066 w 2257"/>
                <a:gd name="T37" fmla="*/ 1027 h 1742"/>
                <a:gd name="T38" fmla="*/ 1825 w 2257"/>
                <a:gd name="T39" fmla="*/ 482 h 1742"/>
                <a:gd name="T40" fmla="*/ 1967 w 2257"/>
                <a:gd name="T41" fmla="*/ 756 h 1742"/>
                <a:gd name="T42" fmla="*/ 1874 w 2257"/>
                <a:gd name="T43" fmla="*/ 1742 h 1742"/>
                <a:gd name="T44" fmla="*/ 1674 w 2257"/>
                <a:gd name="T45" fmla="*/ 1287 h 1742"/>
                <a:gd name="T46" fmla="*/ 1850 w 2257"/>
                <a:gd name="T47" fmla="*/ 1686 h 1742"/>
                <a:gd name="T48" fmla="*/ 1761 w 2257"/>
                <a:gd name="T49" fmla="*/ 513 h 1742"/>
                <a:gd name="T50" fmla="*/ 759 w 2257"/>
                <a:gd name="T51" fmla="*/ 637 h 1742"/>
                <a:gd name="T52" fmla="*/ 712 w 2257"/>
                <a:gd name="T53" fmla="*/ 880 h 1742"/>
                <a:gd name="T54" fmla="*/ 760 w 2257"/>
                <a:gd name="T55" fmla="*/ 1202 h 1742"/>
                <a:gd name="T56" fmla="*/ 828 w 2257"/>
                <a:gd name="T57" fmla="*/ 1686 h 1742"/>
                <a:gd name="T58" fmla="*/ 1549 w 2257"/>
                <a:gd name="T59" fmla="*/ 1202 h 1742"/>
                <a:gd name="T60" fmla="*/ 1577 w 2257"/>
                <a:gd name="T61" fmla="*/ 1686 h 1742"/>
                <a:gd name="T62" fmla="*/ 666 w 2257"/>
                <a:gd name="T63" fmla="*/ 1686 h 1742"/>
                <a:gd name="T64" fmla="*/ 654 w 2257"/>
                <a:gd name="T65" fmla="*/ 1240 h 1742"/>
                <a:gd name="T66" fmla="*/ 1462 w 2257"/>
                <a:gd name="T67" fmla="*/ 1373 h 1742"/>
                <a:gd name="T68" fmla="*/ 1594 w 2257"/>
                <a:gd name="T69" fmla="*/ 1307 h 1742"/>
                <a:gd name="T70" fmla="*/ 1273 w 2257"/>
                <a:gd name="T71" fmla="*/ 1286 h 1742"/>
                <a:gd name="T72" fmla="*/ 2116 w 2257"/>
                <a:gd name="T73" fmla="*/ 1018 h 1742"/>
                <a:gd name="T74" fmla="*/ 394 w 2257"/>
                <a:gd name="T75" fmla="*/ 825 h 1742"/>
                <a:gd name="T76" fmla="*/ 712 w 2257"/>
                <a:gd name="T77" fmla="*/ 683 h 1742"/>
                <a:gd name="T78" fmla="*/ 704 w 2257"/>
                <a:gd name="T79" fmla="*/ 627 h 1742"/>
                <a:gd name="T80" fmla="*/ 731 w 2257"/>
                <a:gd name="T81" fmla="*/ 270 h 1742"/>
                <a:gd name="T82" fmla="*/ 360 w 2257"/>
                <a:gd name="T83" fmla="*/ 323 h 1742"/>
                <a:gd name="T84" fmla="*/ 806 w 2257"/>
                <a:gd name="T85" fmla="*/ 279 h 1742"/>
                <a:gd name="T86" fmla="*/ 803 w 2257"/>
                <a:gd name="T87" fmla="*/ 324 h 1742"/>
                <a:gd name="T88" fmla="*/ 1044 w 2257"/>
                <a:gd name="T89" fmla="*/ 303 h 1742"/>
                <a:gd name="T90" fmla="*/ 71 w 2257"/>
                <a:gd name="T91" fmla="*/ 292 h 1742"/>
                <a:gd name="T92" fmla="*/ 298 w 2257"/>
                <a:gd name="T93" fmla="*/ 329 h 1742"/>
                <a:gd name="T94" fmla="*/ 306 w 2257"/>
                <a:gd name="T95" fmla="*/ 285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7" h="1742">
                  <a:moveTo>
                    <a:pt x="1548" y="1742"/>
                  </a:moveTo>
                  <a:cubicBezTo>
                    <a:pt x="1541" y="1742"/>
                    <a:pt x="1534" y="1739"/>
                    <a:pt x="1528" y="1733"/>
                  </a:cubicBezTo>
                  <a:cubicBezTo>
                    <a:pt x="1523" y="1728"/>
                    <a:pt x="1520" y="1721"/>
                    <a:pt x="1520" y="1713"/>
                  </a:cubicBezTo>
                  <a:cubicBezTo>
                    <a:pt x="1525" y="1422"/>
                    <a:pt x="1525" y="1422"/>
                    <a:pt x="1525" y="1422"/>
                  </a:cubicBezTo>
                  <a:cubicBezTo>
                    <a:pt x="1505" y="1425"/>
                    <a:pt x="1505" y="1425"/>
                    <a:pt x="1505" y="1425"/>
                  </a:cubicBezTo>
                  <a:cubicBezTo>
                    <a:pt x="1495" y="1427"/>
                    <a:pt x="1464" y="1428"/>
                    <a:pt x="1447" y="1428"/>
                  </a:cubicBezTo>
                  <a:cubicBezTo>
                    <a:pt x="1441" y="1428"/>
                    <a:pt x="1439" y="1427"/>
                    <a:pt x="1439" y="1427"/>
                  </a:cubicBezTo>
                  <a:cubicBezTo>
                    <a:pt x="1421" y="1426"/>
                    <a:pt x="1421" y="1426"/>
                    <a:pt x="1421" y="1426"/>
                  </a:cubicBezTo>
                  <a:cubicBezTo>
                    <a:pt x="1421" y="1498"/>
                    <a:pt x="1421" y="1498"/>
                    <a:pt x="1421" y="1498"/>
                  </a:cubicBezTo>
                  <a:cubicBezTo>
                    <a:pt x="1421" y="1513"/>
                    <a:pt x="1408" y="1526"/>
                    <a:pt x="1393" y="1526"/>
                  </a:cubicBezTo>
                  <a:cubicBezTo>
                    <a:pt x="1378" y="1526"/>
                    <a:pt x="1365" y="1513"/>
                    <a:pt x="1365" y="1498"/>
                  </a:cubicBezTo>
                  <a:cubicBezTo>
                    <a:pt x="1365" y="1413"/>
                    <a:pt x="1365" y="1413"/>
                    <a:pt x="1365" y="1413"/>
                  </a:cubicBezTo>
                  <a:cubicBezTo>
                    <a:pt x="1354" y="1409"/>
                    <a:pt x="1354" y="1409"/>
                    <a:pt x="1354" y="1409"/>
                  </a:cubicBezTo>
                  <a:cubicBezTo>
                    <a:pt x="1332" y="1400"/>
                    <a:pt x="1311" y="1389"/>
                    <a:pt x="1291" y="1376"/>
                  </a:cubicBezTo>
                  <a:cubicBezTo>
                    <a:pt x="1264" y="1358"/>
                    <a:pt x="1264" y="1358"/>
                    <a:pt x="1264" y="1358"/>
                  </a:cubicBezTo>
                  <a:cubicBezTo>
                    <a:pt x="1264" y="1418"/>
                    <a:pt x="1264" y="1418"/>
                    <a:pt x="1264" y="1418"/>
                  </a:cubicBezTo>
                  <a:cubicBezTo>
                    <a:pt x="1264" y="1433"/>
                    <a:pt x="1252" y="1446"/>
                    <a:pt x="1236" y="1446"/>
                  </a:cubicBezTo>
                  <a:cubicBezTo>
                    <a:pt x="1221" y="1446"/>
                    <a:pt x="1208" y="1433"/>
                    <a:pt x="1208" y="1418"/>
                  </a:cubicBezTo>
                  <a:cubicBezTo>
                    <a:pt x="1208" y="1293"/>
                    <a:pt x="1208" y="1293"/>
                    <a:pt x="1208" y="1293"/>
                  </a:cubicBezTo>
                  <a:cubicBezTo>
                    <a:pt x="1206" y="1289"/>
                    <a:pt x="1206" y="1289"/>
                    <a:pt x="1206" y="1289"/>
                  </a:cubicBezTo>
                  <a:cubicBezTo>
                    <a:pt x="1201" y="1281"/>
                    <a:pt x="1197" y="1274"/>
                    <a:pt x="1193" y="1267"/>
                  </a:cubicBezTo>
                  <a:cubicBezTo>
                    <a:pt x="1188" y="1258"/>
                    <a:pt x="1188" y="1258"/>
                    <a:pt x="1188" y="1258"/>
                  </a:cubicBezTo>
                  <a:cubicBezTo>
                    <a:pt x="1023" y="1258"/>
                    <a:pt x="1023" y="1258"/>
                    <a:pt x="1023" y="1258"/>
                  </a:cubicBezTo>
                  <a:cubicBezTo>
                    <a:pt x="986" y="1716"/>
                    <a:pt x="986" y="1716"/>
                    <a:pt x="986" y="1716"/>
                  </a:cubicBezTo>
                  <a:cubicBezTo>
                    <a:pt x="985" y="1731"/>
                    <a:pt x="973" y="1742"/>
                    <a:pt x="958" y="1742"/>
                  </a:cubicBezTo>
                  <a:cubicBezTo>
                    <a:pt x="641" y="1742"/>
                    <a:pt x="641" y="1742"/>
                    <a:pt x="641" y="1742"/>
                  </a:cubicBezTo>
                  <a:cubicBezTo>
                    <a:pt x="626" y="1742"/>
                    <a:pt x="614" y="1730"/>
                    <a:pt x="613" y="1716"/>
                  </a:cubicBezTo>
                  <a:cubicBezTo>
                    <a:pt x="571" y="1197"/>
                    <a:pt x="571" y="1197"/>
                    <a:pt x="571" y="1197"/>
                  </a:cubicBezTo>
                  <a:cubicBezTo>
                    <a:pt x="564" y="1192"/>
                    <a:pt x="564" y="1192"/>
                    <a:pt x="564" y="1192"/>
                  </a:cubicBezTo>
                  <a:cubicBezTo>
                    <a:pt x="481" y="1130"/>
                    <a:pt x="434" y="1035"/>
                    <a:pt x="434" y="931"/>
                  </a:cubicBezTo>
                  <a:cubicBezTo>
                    <a:pt x="434" y="880"/>
                    <a:pt x="434" y="880"/>
                    <a:pt x="434" y="880"/>
                  </a:cubicBezTo>
                  <a:cubicBezTo>
                    <a:pt x="394" y="880"/>
                    <a:pt x="394" y="880"/>
                    <a:pt x="394" y="880"/>
                  </a:cubicBezTo>
                  <a:cubicBezTo>
                    <a:pt x="335" y="880"/>
                    <a:pt x="286" y="832"/>
                    <a:pt x="286" y="773"/>
                  </a:cubicBezTo>
                  <a:cubicBezTo>
                    <a:pt x="286" y="734"/>
                    <a:pt x="286" y="734"/>
                    <a:pt x="286" y="734"/>
                  </a:cubicBezTo>
                  <a:cubicBezTo>
                    <a:pt x="286" y="697"/>
                    <a:pt x="305" y="663"/>
                    <a:pt x="337" y="643"/>
                  </a:cubicBezTo>
                  <a:cubicBezTo>
                    <a:pt x="347" y="637"/>
                    <a:pt x="347" y="637"/>
                    <a:pt x="347" y="637"/>
                  </a:cubicBezTo>
                  <a:cubicBezTo>
                    <a:pt x="312" y="389"/>
                    <a:pt x="312" y="389"/>
                    <a:pt x="312" y="389"/>
                  </a:cubicBezTo>
                  <a:cubicBezTo>
                    <a:pt x="291" y="400"/>
                    <a:pt x="291" y="400"/>
                    <a:pt x="291" y="400"/>
                  </a:cubicBezTo>
                  <a:cubicBezTo>
                    <a:pt x="261" y="416"/>
                    <a:pt x="226" y="425"/>
                    <a:pt x="192" y="425"/>
                  </a:cubicBezTo>
                  <a:cubicBezTo>
                    <a:pt x="115" y="425"/>
                    <a:pt x="44" y="383"/>
                    <a:pt x="5" y="317"/>
                  </a:cubicBezTo>
                  <a:cubicBezTo>
                    <a:pt x="0" y="308"/>
                    <a:pt x="0" y="297"/>
                    <a:pt x="5" y="289"/>
                  </a:cubicBezTo>
                  <a:cubicBezTo>
                    <a:pt x="44" y="222"/>
                    <a:pt x="115" y="181"/>
                    <a:pt x="192" y="181"/>
                  </a:cubicBezTo>
                  <a:cubicBezTo>
                    <a:pt x="239" y="181"/>
                    <a:pt x="284" y="196"/>
                    <a:pt x="321" y="224"/>
                  </a:cubicBezTo>
                  <a:cubicBezTo>
                    <a:pt x="333" y="233"/>
                    <a:pt x="333" y="233"/>
                    <a:pt x="333" y="233"/>
                  </a:cubicBezTo>
                  <a:cubicBezTo>
                    <a:pt x="343" y="223"/>
                    <a:pt x="343" y="223"/>
                    <a:pt x="343" y="223"/>
                  </a:cubicBezTo>
                  <a:cubicBezTo>
                    <a:pt x="345" y="222"/>
                    <a:pt x="347" y="220"/>
                    <a:pt x="349" y="218"/>
                  </a:cubicBezTo>
                  <a:cubicBezTo>
                    <a:pt x="365" y="205"/>
                    <a:pt x="365" y="205"/>
                    <a:pt x="365" y="205"/>
                  </a:cubicBezTo>
                  <a:cubicBezTo>
                    <a:pt x="350" y="192"/>
                    <a:pt x="350" y="192"/>
                    <a:pt x="350" y="192"/>
                  </a:cubicBezTo>
                  <a:cubicBezTo>
                    <a:pt x="302" y="150"/>
                    <a:pt x="275" y="90"/>
                    <a:pt x="275" y="27"/>
                  </a:cubicBezTo>
                  <a:cubicBezTo>
                    <a:pt x="275" y="12"/>
                    <a:pt x="288" y="0"/>
                    <a:pt x="303" y="0"/>
                  </a:cubicBezTo>
                  <a:cubicBezTo>
                    <a:pt x="318" y="0"/>
                    <a:pt x="331" y="12"/>
                    <a:pt x="331" y="27"/>
                  </a:cubicBezTo>
                  <a:cubicBezTo>
                    <a:pt x="331" y="118"/>
                    <a:pt x="404" y="191"/>
                    <a:pt x="495" y="191"/>
                  </a:cubicBezTo>
                  <a:cubicBezTo>
                    <a:pt x="611" y="191"/>
                    <a:pt x="611" y="191"/>
                    <a:pt x="611" y="191"/>
                  </a:cubicBezTo>
                  <a:cubicBezTo>
                    <a:pt x="702" y="191"/>
                    <a:pt x="775" y="118"/>
                    <a:pt x="775" y="27"/>
                  </a:cubicBezTo>
                  <a:cubicBezTo>
                    <a:pt x="775" y="12"/>
                    <a:pt x="788" y="0"/>
                    <a:pt x="803" y="0"/>
                  </a:cubicBezTo>
                  <a:cubicBezTo>
                    <a:pt x="818" y="0"/>
                    <a:pt x="831" y="12"/>
                    <a:pt x="831" y="27"/>
                  </a:cubicBezTo>
                  <a:cubicBezTo>
                    <a:pt x="831" y="90"/>
                    <a:pt x="804" y="150"/>
                    <a:pt x="756" y="192"/>
                  </a:cubicBezTo>
                  <a:cubicBezTo>
                    <a:pt x="741" y="205"/>
                    <a:pt x="741" y="205"/>
                    <a:pt x="741" y="205"/>
                  </a:cubicBezTo>
                  <a:cubicBezTo>
                    <a:pt x="757" y="218"/>
                    <a:pt x="757" y="218"/>
                    <a:pt x="757" y="218"/>
                  </a:cubicBezTo>
                  <a:cubicBezTo>
                    <a:pt x="759" y="220"/>
                    <a:pt x="761" y="221"/>
                    <a:pt x="763" y="223"/>
                  </a:cubicBezTo>
                  <a:cubicBezTo>
                    <a:pt x="773" y="233"/>
                    <a:pt x="773" y="233"/>
                    <a:pt x="773" y="233"/>
                  </a:cubicBezTo>
                  <a:cubicBezTo>
                    <a:pt x="785" y="224"/>
                    <a:pt x="785" y="224"/>
                    <a:pt x="785" y="224"/>
                  </a:cubicBezTo>
                  <a:cubicBezTo>
                    <a:pt x="822" y="196"/>
                    <a:pt x="867" y="181"/>
                    <a:pt x="914" y="181"/>
                  </a:cubicBezTo>
                  <a:cubicBezTo>
                    <a:pt x="991" y="181"/>
                    <a:pt x="1062" y="222"/>
                    <a:pt x="1101" y="289"/>
                  </a:cubicBezTo>
                  <a:cubicBezTo>
                    <a:pt x="1106" y="297"/>
                    <a:pt x="1106" y="308"/>
                    <a:pt x="1101" y="317"/>
                  </a:cubicBezTo>
                  <a:cubicBezTo>
                    <a:pt x="1081" y="351"/>
                    <a:pt x="1053" y="378"/>
                    <a:pt x="1019" y="397"/>
                  </a:cubicBezTo>
                  <a:cubicBezTo>
                    <a:pt x="961" y="429"/>
                    <a:pt x="961" y="429"/>
                    <a:pt x="961" y="429"/>
                  </a:cubicBezTo>
                  <a:cubicBezTo>
                    <a:pt x="1848" y="429"/>
                    <a:pt x="1848" y="429"/>
                    <a:pt x="1848" y="429"/>
                  </a:cubicBezTo>
                  <a:cubicBezTo>
                    <a:pt x="2036" y="429"/>
                    <a:pt x="2188" y="582"/>
                    <a:pt x="2188" y="769"/>
                  </a:cubicBezTo>
                  <a:cubicBezTo>
                    <a:pt x="2188" y="808"/>
                    <a:pt x="2188" y="808"/>
                    <a:pt x="2188" y="808"/>
                  </a:cubicBezTo>
                  <a:cubicBezTo>
                    <a:pt x="2254" y="1027"/>
                    <a:pt x="2254" y="1027"/>
                    <a:pt x="2254" y="1027"/>
                  </a:cubicBezTo>
                  <a:cubicBezTo>
                    <a:pt x="2257" y="1035"/>
                    <a:pt x="2255" y="1045"/>
                    <a:pt x="2250" y="1052"/>
                  </a:cubicBezTo>
                  <a:cubicBezTo>
                    <a:pt x="2245" y="1059"/>
                    <a:pt x="2236" y="1063"/>
                    <a:pt x="2228" y="1063"/>
                  </a:cubicBezTo>
                  <a:cubicBezTo>
                    <a:pt x="2093" y="1063"/>
                    <a:pt x="2093" y="1063"/>
                    <a:pt x="2093" y="1063"/>
                  </a:cubicBezTo>
                  <a:cubicBezTo>
                    <a:pt x="2084" y="1063"/>
                    <a:pt x="2076" y="1059"/>
                    <a:pt x="2071" y="1052"/>
                  </a:cubicBezTo>
                  <a:cubicBezTo>
                    <a:pt x="2065" y="1045"/>
                    <a:pt x="2064" y="1035"/>
                    <a:pt x="2066" y="1027"/>
                  </a:cubicBezTo>
                  <a:cubicBezTo>
                    <a:pt x="2132" y="808"/>
                    <a:pt x="2132" y="808"/>
                    <a:pt x="2132" y="808"/>
                  </a:cubicBezTo>
                  <a:cubicBezTo>
                    <a:pt x="2132" y="769"/>
                    <a:pt x="2132" y="769"/>
                    <a:pt x="2132" y="769"/>
                  </a:cubicBezTo>
                  <a:cubicBezTo>
                    <a:pt x="2132" y="622"/>
                    <a:pt x="2022" y="500"/>
                    <a:pt x="1875" y="486"/>
                  </a:cubicBezTo>
                  <a:cubicBezTo>
                    <a:pt x="1825" y="482"/>
                    <a:pt x="1825" y="482"/>
                    <a:pt x="1825" y="482"/>
                  </a:cubicBezTo>
                  <a:cubicBezTo>
                    <a:pt x="1862" y="516"/>
                    <a:pt x="1862" y="516"/>
                    <a:pt x="1862" y="516"/>
                  </a:cubicBezTo>
                  <a:cubicBezTo>
                    <a:pt x="1879" y="531"/>
                    <a:pt x="1894" y="548"/>
                    <a:pt x="1907" y="566"/>
                  </a:cubicBezTo>
                  <a:cubicBezTo>
                    <a:pt x="1912" y="574"/>
                    <a:pt x="1934" y="611"/>
                    <a:pt x="1937" y="620"/>
                  </a:cubicBezTo>
                  <a:cubicBezTo>
                    <a:pt x="1957" y="663"/>
                    <a:pt x="1967" y="708"/>
                    <a:pt x="1967" y="756"/>
                  </a:cubicBezTo>
                  <a:cubicBezTo>
                    <a:pt x="1967" y="1310"/>
                    <a:pt x="1967" y="1310"/>
                    <a:pt x="1967" y="1310"/>
                  </a:cubicBezTo>
                  <a:cubicBezTo>
                    <a:pt x="1967" y="1312"/>
                    <a:pt x="1967" y="1313"/>
                    <a:pt x="1967" y="1315"/>
                  </a:cubicBezTo>
                  <a:cubicBezTo>
                    <a:pt x="1902" y="1718"/>
                    <a:pt x="1902" y="1718"/>
                    <a:pt x="1902" y="1718"/>
                  </a:cubicBezTo>
                  <a:cubicBezTo>
                    <a:pt x="1899" y="1732"/>
                    <a:pt x="1888" y="1742"/>
                    <a:pt x="1874" y="1742"/>
                  </a:cubicBezTo>
                  <a:lnTo>
                    <a:pt x="1548" y="1742"/>
                  </a:lnTo>
                  <a:close/>
                  <a:moveTo>
                    <a:pt x="1549" y="1202"/>
                  </a:moveTo>
                  <a:cubicBezTo>
                    <a:pt x="1558" y="1202"/>
                    <a:pt x="1565" y="1205"/>
                    <a:pt x="1571" y="1212"/>
                  </a:cubicBezTo>
                  <a:cubicBezTo>
                    <a:pt x="1598" y="1245"/>
                    <a:pt x="1634" y="1271"/>
                    <a:pt x="1674" y="1287"/>
                  </a:cubicBezTo>
                  <a:cubicBezTo>
                    <a:pt x="1690" y="1293"/>
                    <a:pt x="1705" y="1298"/>
                    <a:pt x="1720" y="1301"/>
                  </a:cubicBezTo>
                  <a:cubicBezTo>
                    <a:pt x="1733" y="1303"/>
                    <a:pt x="1743" y="1315"/>
                    <a:pt x="1743" y="1328"/>
                  </a:cubicBezTo>
                  <a:cubicBezTo>
                    <a:pt x="1738" y="1686"/>
                    <a:pt x="1738" y="1686"/>
                    <a:pt x="1738" y="1686"/>
                  </a:cubicBezTo>
                  <a:cubicBezTo>
                    <a:pt x="1850" y="1686"/>
                    <a:pt x="1850" y="1686"/>
                    <a:pt x="1850" y="1686"/>
                  </a:cubicBezTo>
                  <a:cubicBezTo>
                    <a:pt x="1911" y="1308"/>
                    <a:pt x="1911" y="1308"/>
                    <a:pt x="1911" y="1308"/>
                  </a:cubicBezTo>
                  <a:cubicBezTo>
                    <a:pt x="1911" y="756"/>
                    <a:pt x="1911" y="756"/>
                    <a:pt x="1911" y="756"/>
                  </a:cubicBezTo>
                  <a:cubicBezTo>
                    <a:pt x="1911" y="712"/>
                    <a:pt x="1894" y="642"/>
                    <a:pt x="1861" y="598"/>
                  </a:cubicBezTo>
                  <a:cubicBezTo>
                    <a:pt x="1817" y="540"/>
                    <a:pt x="1767" y="516"/>
                    <a:pt x="1761" y="513"/>
                  </a:cubicBezTo>
                  <a:cubicBezTo>
                    <a:pt x="1740" y="503"/>
                    <a:pt x="1691" y="485"/>
                    <a:pt x="1641" y="485"/>
                  </a:cubicBezTo>
                  <a:cubicBezTo>
                    <a:pt x="1362" y="485"/>
                    <a:pt x="835" y="484"/>
                    <a:pt x="798" y="483"/>
                  </a:cubicBezTo>
                  <a:cubicBezTo>
                    <a:pt x="781" y="478"/>
                    <a:pt x="781" y="478"/>
                    <a:pt x="781" y="478"/>
                  </a:cubicBezTo>
                  <a:cubicBezTo>
                    <a:pt x="759" y="637"/>
                    <a:pt x="759" y="637"/>
                    <a:pt x="759" y="637"/>
                  </a:cubicBezTo>
                  <a:cubicBezTo>
                    <a:pt x="769" y="643"/>
                    <a:pt x="769" y="643"/>
                    <a:pt x="769" y="643"/>
                  </a:cubicBezTo>
                  <a:cubicBezTo>
                    <a:pt x="800" y="663"/>
                    <a:pt x="819" y="697"/>
                    <a:pt x="819" y="734"/>
                  </a:cubicBezTo>
                  <a:cubicBezTo>
                    <a:pt x="819" y="773"/>
                    <a:pt x="819" y="773"/>
                    <a:pt x="819" y="773"/>
                  </a:cubicBezTo>
                  <a:cubicBezTo>
                    <a:pt x="819" y="832"/>
                    <a:pt x="771" y="880"/>
                    <a:pt x="712" y="880"/>
                  </a:cubicBezTo>
                  <a:cubicBezTo>
                    <a:pt x="489" y="880"/>
                    <a:pt x="489" y="880"/>
                    <a:pt x="489" y="880"/>
                  </a:cubicBezTo>
                  <a:cubicBezTo>
                    <a:pt x="489" y="931"/>
                    <a:pt x="489" y="931"/>
                    <a:pt x="489" y="931"/>
                  </a:cubicBezTo>
                  <a:cubicBezTo>
                    <a:pt x="489" y="1023"/>
                    <a:pt x="535" y="1108"/>
                    <a:pt x="612" y="1158"/>
                  </a:cubicBezTo>
                  <a:cubicBezTo>
                    <a:pt x="656" y="1187"/>
                    <a:pt x="707" y="1202"/>
                    <a:pt x="760" y="1202"/>
                  </a:cubicBezTo>
                  <a:cubicBezTo>
                    <a:pt x="760" y="1202"/>
                    <a:pt x="761" y="1202"/>
                    <a:pt x="761" y="1202"/>
                  </a:cubicBezTo>
                  <a:cubicBezTo>
                    <a:pt x="762" y="1202"/>
                    <a:pt x="762" y="1202"/>
                    <a:pt x="762" y="1202"/>
                  </a:cubicBezTo>
                  <a:cubicBezTo>
                    <a:pt x="777" y="1202"/>
                    <a:pt x="789" y="1213"/>
                    <a:pt x="790" y="1227"/>
                  </a:cubicBezTo>
                  <a:cubicBezTo>
                    <a:pt x="828" y="1686"/>
                    <a:pt x="828" y="1686"/>
                    <a:pt x="828" y="1686"/>
                  </a:cubicBezTo>
                  <a:cubicBezTo>
                    <a:pt x="933" y="1686"/>
                    <a:pt x="933" y="1686"/>
                    <a:pt x="933" y="1686"/>
                  </a:cubicBezTo>
                  <a:cubicBezTo>
                    <a:pt x="970" y="1227"/>
                    <a:pt x="970" y="1227"/>
                    <a:pt x="970" y="1227"/>
                  </a:cubicBezTo>
                  <a:cubicBezTo>
                    <a:pt x="971" y="1213"/>
                    <a:pt x="983" y="1202"/>
                    <a:pt x="998" y="1202"/>
                  </a:cubicBezTo>
                  <a:lnTo>
                    <a:pt x="1549" y="1202"/>
                  </a:lnTo>
                  <a:close/>
                  <a:moveTo>
                    <a:pt x="1659" y="1357"/>
                  </a:moveTo>
                  <a:cubicBezTo>
                    <a:pt x="1638" y="1374"/>
                    <a:pt x="1615" y="1389"/>
                    <a:pt x="1590" y="1400"/>
                  </a:cubicBezTo>
                  <a:cubicBezTo>
                    <a:pt x="1581" y="1404"/>
                    <a:pt x="1581" y="1404"/>
                    <a:pt x="1581" y="1404"/>
                  </a:cubicBezTo>
                  <a:cubicBezTo>
                    <a:pt x="1577" y="1686"/>
                    <a:pt x="1577" y="1686"/>
                    <a:pt x="1577" y="1686"/>
                  </a:cubicBezTo>
                  <a:cubicBezTo>
                    <a:pt x="1682" y="1686"/>
                    <a:pt x="1682" y="1686"/>
                    <a:pt x="1682" y="1686"/>
                  </a:cubicBezTo>
                  <a:cubicBezTo>
                    <a:pt x="1687" y="1333"/>
                    <a:pt x="1687" y="1333"/>
                    <a:pt x="1687" y="1333"/>
                  </a:cubicBezTo>
                  <a:lnTo>
                    <a:pt x="1659" y="1357"/>
                  </a:lnTo>
                  <a:close/>
                  <a:moveTo>
                    <a:pt x="666" y="1686"/>
                  </a:moveTo>
                  <a:cubicBezTo>
                    <a:pt x="772" y="1686"/>
                    <a:pt x="772" y="1686"/>
                    <a:pt x="772" y="1686"/>
                  </a:cubicBezTo>
                  <a:cubicBezTo>
                    <a:pt x="737" y="1257"/>
                    <a:pt x="737" y="1257"/>
                    <a:pt x="737" y="1257"/>
                  </a:cubicBezTo>
                  <a:cubicBezTo>
                    <a:pt x="723" y="1255"/>
                    <a:pt x="723" y="1255"/>
                    <a:pt x="723" y="1255"/>
                  </a:cubicBezTo>
                  <a:cubicBezTo>
                    <a:pt x="699" y="1253"/>
                    <a:pt x="676" y="1247"/>
                    <a:pt x="654" y="1240"/>
                  </a:cubicBezTo>
                  <a:cubicBezTo>
                    <a:pt x="629" y="1231"/>
                    <a:pt x="629" y="1231"/>
                    <a:pt x="629" y="1231"/>
                  </a:cubicBezTo>
                  <a:lnTo>
                    <a:pt x="666" y="1686"/>
                  </a:lnTo>
                  <a:close/>
                  <a:moveTo>
                    <a:pt x="1273" y="1286"/>
                  </a:moveTo>
                  <a:cubicBezTo>
                    <a:pt x="1320" y="1341"/>
                    <a:pt x="1389" y="1373"/>
                    <a:pt x="1462" y="1373"/>
                  </a:cubicBezTo>
                  <a:cubicBezTo>
                    <a:pt x="1490" y="1373"/>
                    <a:pt x="1518" y="1368"/>
                    <a:pt x="1544" y="1359"/>
                  </a:cubicBezTo>
                  <a:cubicBezTo>
                    <a:pt x="1561" y="1353"/>
                    <a:pt x="1577" y="1345"/>
                    <a:pt x="1593" y="1335"/>
                  </a:cubicBezTo>
                  <a:cubicBezTo>
                    <a:pt x="1615" y="1322"/>
                    <a:pt x="1615" y="1322"/>
                    <a:pt x="1615" y="1322"/>
                  </a:cubicBezTo>
                  <a:cubicBezTo>
                    <a:pt x="1594" y="1307"/>
                    <a:pt x="1594" y="1307"/>
                    <a:pt x="1594" y="1307"/>
                  </a:cubicBezTo>
                  <a:cubicBezTo>
                    <a:pt x="1575" y="1294"/>
                    <a:pt x="1557" y="1279"/>
                    <a:pt x="1542" y="1263"/>
                  </a:cubicBezTo>
                  <a:cubicBezTo>
                    <a:pt x="1537" y="1258"/>
                    <a:pt x="1537" y="1258"/>
                    <a:pt x="1537" y="1258"/>
                  </a:cubicBezTo>
                  <a:cubicBezTo>
                    <a:pt x="1249" y="1258"/>
                    <a:pt x="1249" y="1258"/>
                    <a:pt x="1249" y="1258"/>
                  </a:cubicBezTo>
                  <a:lnTo>
                    <a:pt x="1273" y="1286"/>
                  </a:lnTo>
                  <a:close/>
                  <a:moveTo>
                    <a:pt x="2116" y="1018"/>
                  </a:moveTo>
                  <a:cubicBezTo>
                    <a:pt x="2204" y="1018"/>
                    <a:pt x="2204" y="1018"/>
                    <a:pt x="2204" y="1018"/>
                  </a:cubicBezTo>
                  <a:cubicBezTo>
                    <a:pt x="2160" y="871"/>
                    <a:pt x="2160" y="871"/>
                    <a:pt x="2160" y="871"/>
                  </a:cubicBezTo>
                  <a:lnTo>
                    <a:pt x="2116" y="1018"/>
                  </a:lnTo>
                  <a:close/>
                  <a:moveTo>
                    <a:pt x="394" y="683"/>
                  </a:moveTo>
                  <a:cubicBezTo>
                    <a:pt x="365" y="683"/>
                    <a:pt x="342" y="706"/>
                    <a:pt x="342" y="734"/>
                  </a:cubicBezTo>
                  <a:cubicBezTo>
                    <a:pt x="342" y="773"/>
                    <a:pt x="342" y="773"/>
                    <a:pt x="342" y="773"/>
                  </a:cubicBezTo>
                  <a:cubicBezTo>
                    <a:pt x="342" y="802"/>
                    <a:pt x="365" y="825"/>
                    <a:pt x="394" y="825"/>
                  </a:cubicBezTo>
                  <a:cubicBezTo>
                    <a:pt x="712" y="825"/>
                    <a:pt x="712" y="825"/>
                    <a:pt x="712" y="825"/>
                  </a:cubicBezTo>
                  <a:cubicBezTo>
                    <a:pt x="741" y="825"/>
                    <a:pt x="764" y="802"/>
                    <a:pt x="764" y="773"/>
                  </a:cubicBezTo>
                  <a:cubicBezTo>
                    <a:pt x="764" y="734"/>
                    <a:pt x="764" y="734"/>
                    <a:pt x="764" y="734"/>
                  </a:cubicBezTo>
                  <a:cubicBezTo>
                    <a:pt x="764" y="706"/>
                    <a:pt x="741" y="683"/>
                    <a:pt x="712" y="683"/>
                  </a:cubicBezTo>
                  <a:lnTo>
                    <a:pt x="394" y="683"/>
                  </a:lnTo>
                  <a:close/>
                  <a:moveTo>
                    <a:pt x="376" y="444"/>
                  </a:moveTo>
                  <a:cubicBezTo>
                    <a:pt x="402" y="627"/>
                    <a:pt x="402" y="627"/>
                    <a:pt x="402" y="627"/>
                  </a:cubicBezTo>
                  <a:cubicBezTo>
                    <a:pt x="704" y="627"/>
                    <a:pt x="704" y="627"/>
                    <a:pt x="704" y="627"/>
                  </a:cubicBezTo>
                  <a:cubicBezTo>
                    <a:pt x="730" y="444"/>
                    <a:pt x="730" y="444"/>
                    <a:pt x="730" y="444"/>
                  </a:cubicBezTo>
                  <a:cubicBezTo>
                    <a:pt x="733" y="423"/>
                    <a:pt x="733" y="423"/>
                    <a:pt x="733" y="423"/>
                  </a:cubicBezTo>
                  <a:cubicBezTo>
                    <a:pt x="746" y="323"/>
                    <a:pt x="746" y="323"/>
                    <a:pt x="746" y="323"/>
                  </a:cubicBezTo>
                  <a:cubicBezTo>
                    <a:pt x="749" y="303"/>
                    <a:pt x="743" y="284"/>
                    <a:pt x="731" y="270"/>
                  </a:cubicBezTo>
                  <a:cubicBezTo>
                    <a:pt x="718" y="255"/>
                    <a:pt x="700" y="247"/>
                    <a:pt x="680" y="247"/>
                  </a:cubicBezTo>
                  <a:cubicBezTo>
                    <a:pt x="426" y="247"/>
                    <a:pt x="426" y="247"/>
                    <a:pt x="426" y="247"/>
                  </a:cubicBezTo>
                  <a:cubicBezTo>
                    <a:pt x="406" y="247"/>
                    <a:pt x="388" y="255"/>
                    <a:pt x="375" y="270"/>
                  </a:cubicBezTo>
                  <a:cubicBezTo>
                    <a:pt x="362" y="284"/>
                    <a:pt x="357" y="303"/>
                    <a:pt x="360" y="323"/>
                  </a:cubicBezTo>
                  <a:cubicBezTo>
                    <a:pt x="373" y="423"/>
                    <a:pt x="373" y="423"/>
                    <a:pt x="373" y="423"/>
                  </a:cubicBezTo>
                  <a:lnTo>
                    <a:pt x="376" y="444"/>
                  </a:lnTo>
                  <a:close/>
                  <a:moveTo>
                    <a:pt x="914" y="237"/>
                  </a:moveTo>
                  <a:cubicBezTo>
                    <a:pt x="874" y="237"/>
                    <a:pt x="836" y="252"/>
                    <a:pt x="806" y="279"/>
                  </a:cubicBezTo>
                  <a:cubicBezTo>
                    <a:pt x="800" y="285"/>
                    <a:pt x="800" y="285"/>
                    <a:pt x="800" y="285"/>
                  </a:cubicBezTo>
                  <a:cubicBezTo>
                    <a:pt x="801" y="294"/>
                    <a:pt x="801" y="294"/>
                    <a:pt x="801" y="294"/>
                  </a:cubicBezTo>
                  <a:cubicBezTo>
                    <a:pt x="802" y="301"/>
                    <a:pt x="803" y="309"/>
                    <a:pt x="803" y="316"/>
                  </a:cubicBezTo>
                  <a:cubicBezTo>
                    <a:pt x="803" y="324"/>
                    <a:pt x="803" y="324"/>
                    <a:pt x="803" y="324"/>
                  </a:cubicBezTo>
                  <a:cubicBezTo>
                    <a:pt x="808" y="329"/>
                    <a:pt x="808" y="329"/>
                    <a:pt x="808" y="329"/>
                  </a:cubicBezTo>
                  <a:cubicBezTo>
                    <a:pt x="838" y="355"/>
                    <a:pt x="875" y="369"/>
                    <a:pt x="914" y="369"/>
                  </a:cubicBezTo>
                  <a:cubicBezTo>
                    <a:pt x="960" y="369"/>
                    <a:pt x="1004" y="349"/>
                    <a:pt x="1035" y="314"/>
                  </a:cubicBezTo>
                  <a:cubicBezTo>
                    <a:pt x="1044" y="303"/>
                    <a:pt x="1044" y="303"/>
                    <a:pt x="1044" y="303"/>
                  </a:cubicBezTo>
                  <a:cubicBezTo>
                    <a:pt x="1035" y="292"/>
                    <a:pt x="1035" y="292"/>
                    <a:pt x="1035" y="292"/>
                  </a:cubicBezTo>
                  <a:cubicBezTo>
                    <a:pt x="1004" y="257"/>
                    <a:pt x="960" y="237"/>
                    <a:pt x="914" y="237"/>
                  </a:cubicBezTo>
                  <a:close/>
                  <a:moveTo>
                    <a:pt x="192" y="237"/>
                  </a:moveTo>
                  <a:cubicBezTo>
                    <a:pt x="146" y="237"/>
                    <a:pt x="102" y="257"/>
                    <a:pt x="71" y="292"/>
                  </a:cubicBezTo>
                  <a:cubicBezTo>
                    <a:pt x="62" y="303"/>
                    <a:pt x="62" y="303"/>
                    <a:pt x="62" y="303"/>
                  </a:cubicBezTo>
                  <a:cubicBezTo>
                    <a:pt x="71" y="314"/>
                    <a:pt x="71" y="314"/>
                    <a:pt x="71" y="314"/>
                  </a:cubicBezTo>
                  <a:cubicBezTo>
                    <a:pt x="102" y="349"/>
                    <a:pt x="146" y="369"/>
                    <a:pt x="192" y="369"/>
                  </a:cubicBezTo>
                  <a:cubicBezTo>
                    <a:pt x="231" y="369"/>
                    <a:pt x="268" y="355"/>
                    <a:pt x="298" y="329"/>
                  </a:cubicBezTo>
                  <a:cubicBezTo>
                    <a:pt x="303" y="324"/>
                    <a:pt x="303" y="324"/>
                    <a:pt x="303" y="324"/>
                  </a:cubicBezTo>
                  <a:cubicBezTo>
                    <a:pt x="303" y="316"/>
                    <a:pt x="303" y="316"/>
                    <a:pt x="303" y="316"/>
                  </a:cubicBezTo>
                  <a:cubicBezTo>
                    <a:pt x="303" y="309"/>
                    <a:pt x="304" y="301"/>
                    <a:pt x="305" y="294"/>
                  </a:cubicBezTo>
                  <a:cubicBezTo>
                    <a:pt x="306" y="285"/>
                    <a:pt x="306" y="285"/>
                    <a:pt x="306" y="285"/>
                  </a:cubicBezTo>
                  <a:cubicBezTo>
                    <a:pt x="300" y="279"/>
                    <a:pt x="300" y="279"/>
                    <a:pt x="300" y="279"/>
                  </a:cubicBezTo>
                  <a:cubicBezTo>
                    <a:pt x="270" y="252"/>
                    <a:pt x="232" y="237"/>
                    <a:pt x="192" y="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4" name="Oval 21">
              <a:extLst>
                <a:ext uri="{FF2B5EF4-FFF2-40B4-BE49-F238E27FC236}">
                  <a16:creationId xmlns:a16="http://schemas.microsoft.com/office/drawing/2014/main" id="{7319BB98-6335-41C9-B12B-B6A03E0CA1BD}"/>
                </a:ext>
              </a:extLst>
            </p:cNvPr>
            <p:cNvSpPr>
              <a:spLocks noChangeArrowheads="1"/>
            </p:cNvSpPr>
            <p:nvPr/>
          </p:nvSpPr>
          <p:spPr bwMode="auto">
            <a:xfrm>
              <a:off x="-11125200" y="1236662"/>
              <a:ext cx="195263"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5" name="Oval 22">
              <a:extLst>
                <a:ext uri="{FF2B5EF4-FFF2-40B4-BE49-F238E27FC236}">
                  <a16:creationId xmlns:a16="http://schemas.microsoft.com/office/drawing/2014/main" id="{A44DB7E9-552D-4CEB-AAC4-3FDC1F5B9733}"/>
                </a:ext>
              </a:extLst>
            </p:cNvPr>
            <p:cNvSpPr>
              <a:spLocks noChangeArrowheads="1"/>
            </p:cNvSpPr>
            <p:nvPr/>
          </p:nvSpPr>
          <p:spPr bwMode="auto">
            <a:xfrm>
              <a:off x="-10118725" y="1236662"/>
              <a:ext cx="195263"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6" name="Freeform 23">
              <a:extLst>
                <a:ext uri="{FF2B5EF4-FFF2-40B4-BE49-F238E27FC236}">
                  <a16:creationId xmlns:a16="http://schemas.microsoft.com/office/drawing/2014/main" id="{924F750B-E3A5-41DE-BFDC-0D003057A6C9}"/>
                </a:ext>
              </a:extLst>
            </p:cNvPr>
            <p:cNvSpPr>
              <a:spLocks/>
            </p:cNvSpPr>
            <p:nvPr/>
          </p:nvSpPr>
          <p:spPr bwMode="auto">
            <a:xfrm>
              <a:off x="-8283575" y="2001837"/>
              <a:ext cx="992188" cy="1819275"/>
            </a:xfrm>
            <a:custGeom>
              <a:avLst/>
              <a:gdLst>
                <a:gd name="T0" fmla="*/ 132 w 264"/>
                <a:gd name="T1" fmla="*/ 484 h 484"/>
                <a:gd name="T2" fmla="*/ 0 w 264"/>
                <a:gd name="T3" fmla="*/ 352 h 484"/>
                <a:gd name="T4" fmla="*/ 22 w 264"/>
                <a:gd name="T5" fmla="*/ 330 h 484"/>
                <a:gd name="T6" fmla="*/ 44 w 264"/>
                <a:gd name="T7" fmla="*/ 352 h 484"/>
                <a:gd name="T8" fmla="*/ 132 w 264"/>
                <a:gd name="T9" fmla="*/ 440 h 484"/>
                <a:gd name="T10" fmla="*/ 220 w 264"/>
                <a:gd name="T11" fmla="*/ 352 h 484"/>
                <a:gd name="T12" fmla="*/ 132 w 264"/>
                <a:gd name="T13" fmla="*/ 264 h 484"/>
                <a:gd name="T14" fmla="*/ 0 w 264"/>
                <a:gd name="T15" fmla="*/ 132 h 484"/>
                <a:gd name="T16" fmla="*/ 132 w 264"/>
                <a:gd name="T17" fmla="*/ 0 h 484"/>
                <a:gd name="T18" fmla="*/ 264 w 264"/>
                <a:gd name="T19" fmla="*/ 132 h 484"/>
                <a:gd name="T20" fmla="*/ 242 w 264"/>
                <a:gd name="T21" fmla="*/ 154 h 484"/>
                <a:gd name="T22" fmla="*/ 220 w 264"/>
                <a:gd name="T23" fmla="*/ 132 h 484"/>
                <a:gd name="T24" fmla="*/ 132 w 264"/>
                <a:gd name="T25" fmla="*/ 44 h 484"/>
                <a:gd name="T26" fmla="*/ 44 w 264"/>
                <a:gd name="T27" fmla="*/ 132 h 484"/>
                <a:gd name="T28" fmla="*/ 132 w 264"/>
                <a:gd name="T29" fmla="*/ 220 h 484"/>
                <a:gd name="T30" fmla="*/ 264 w 264"/>
                <a:gd name="T31" fmla="*/ 352 h 484"/>
                <a:gd name="T32" fmla="*/ 132 w 264"/>
                <a:gd name="T33"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484">
                  <a:moveTo>
                    <a:pt x="132" y="484"/>
                  </a:moveTo>
                  <a:cubicBezTo>
                    <a:pt x="59" y="484"/>
                    <a:pt x="0" y="425"/>
                    <a:pt x="0" y="352"/>
                  </a:cubicBezTo>
                  <a:cubicBezTo>
                    <a:pt x="0" y="340"/>
                    <a:pt x="10" y="330"/>
                    <a:pt x="22" y="330"/>
                  </a:cubicBezTo>
                  <a:cubicBezTo>
                    <a:pt x="34" y="330"/>
                    <a:pt x="44" y="340"/>
                    <a:pt x="44" y="352"/>
                  </a:cubicBezTo>
                  <a:cubicBezTo>
                    <a:pt x="44" y="401"/>
                    <a:pt x="83" y="440"/>
                    <a:pt x="132" y="440"/>
                  </a:cubicBezTo>
                  <a:cubicBezTo>
                    <a:pt x="180" y="440"/>
                    <a:pt x="220" y="401"/>
                    <a:pt x="220" y="352"/>
                  </a:cubicBezTo>
                  <a:cubicBezTo>
                    <a:pt x="220" y="304"/>
                    <a:pt x="180" y="264"/>
                    <a:pt x="132" y="264"/>
                  </a:cubicBezTo>
                  <a:cubicBezTo>
                    <a:pt x="59" y="264"/>
                    <a:pt x="0" y="205"/>
                    <a:pt x="0" y="132"/>
                  </a:cubicBezTo>
                  <a:cubicBezTo>
                    <a:pt x="0" y="60"/>
                    <a:pt x="59" y="0"/>
                    <a:pt x="132" y="0"/>
                  </a:cubicBezTo>
                  <a:cubicBezTo>
                    <a:pt x="205" y="0"/>
                    <a:pt x="264" y="60"/>
                    <a:pt x="264" y="132"/>
                  </a:cubicBezTo>
                  <a:cubicBezTo>
                    <a:pt x="264" y="144"/>
                    <a:pt x="254" y="154"/>
                    <a:pt x="242" y="154"/>
                  </a:cubicBezTo>
                  <a:cubicBezTo>
                    <a:pt x="230" y="154"/>
                    <a:pt x="220" y="144"/>
                    <a:pt x="220" y="132"/>
                  </a:cubicBezTo>
                  <a:cubicBezTo>
                    <a:pt x="220" y="84"/>
                    <a:pt x="180" y="44"/>
                    <a:pt x="132" y="44"/>
                  </a:cubicBezTo>
                  <a:cubicBezTo>
                    <a:pt x="83" y="44"/>
                    <a:pt x="44" y="84"/>
                    <a:pt x="44" y="132"/>
                  </a:cubicBezTo>
                  <a:cubicBezTo>
                    <a:pt x="44" y="181"/>
                    <a:pt x="83" y="220"/>
                    <a:pt x="132" y="220"/>
                  </a:cubicBezTo>
                  <a:cubicBezTo>
                    <a:pt x="205" y="220"/>
                    <a:pt x="264" y="279"/>
                    <a:pt x="264" y="352"/>
                  </a:cubicBezTo>
                  <a:cubicBezTo>
                    <a:pt x="264" y="425"/>
                    <a:pt x="205" y="484"/>
                    <a:pt x="132" y="4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7" name="Freeform 24">
              <a:extLst>
                <a:ext uri="{FF2B5EF4-FFF2-40B4-BE49-F238E27FC236}">
                  <a16:creationId xmlns:a16="http://schemas.microsoft.com/office/drawing/2014/main" id="{FCD33EC1-029E-46CD-B223-35405315097C}"/>
                </a:ext>
              </a:extLst>
            </p:cNvPr>
            <p:cNvSpPr>
              <a:spLocks/>
            </p:cNvSpPr>
            <p:nvPr/>
          </p:nvSpPr>
          <p:spPr bwMode="auto">
            <a:xfrm>
              <a:off x="-7870825" y="1758950"/>
              <a:ext cx="166688" cy="2309813"/>
            </a:xfrm>
            <a:custGeom>
              <a:avLst/>
              <a:gdLst>
                <a:gd name="T0" fmla="*/ 22 w 44"/>
                <a:gd name="T1" fmla="*/ 615 h 615"/>
                <a:gd name="T2" fmla="*/ 0 w 44"/>
                <a:gd name="T3" fmla="*/ 593 h 615"/>
                <a:gd name="T4" fmla="*/ 0 w 44"/>
                <a:gd name="T5" fmla="*/ 22 h 615"/>
                <a:gd name="T6" fmla="*/ 22 w 44"/>
                <a:gd name="T7" fmla="*/ 0 h 615"/>
                <a:gd name="T8" fmla="*/ 44 w 44"/>
                <a:gd name="T9" fmla="*/ 22 h 615"/>
                <a:gd name="T10" fmla="*/ 44 w 44"/>
                <a:gd name="T11" fmla="*/ 593 h 615"/>
                <a:gd name="T12" fmla="*/ 22 w 44"/>
                <a:gd name="T13" fmla="*/ 615 h 615"/>
              </a:gdLst>
              <a:ahLst/>
              <a:cxnLst>
                <a:cxn ang="0">
                  <a:pos x="T0" y="T1"/>
                </a:cxn>
                <a:cxn ang="0">
                  <a:pos x="T2" y="T3"/>
                </a:cxn>
                <a:cxn ang="0">
                  <a:pos x="T4" y="T5"/>
                </a:cxn>
                <a:cxn ang="0">
                  <a:pos x="T6" y="T7"/>
                </a:cxn>
                <a:cxn ang="0">
                  <a:pos x="T8" y="T9"/>
                </a:cxn>
                <a:cxn ang="0">
                  <a:pos x="T10" y="T11"/>
                </a:cxn>
                <a:cxn ang="0">
                  <a:pos x="T12" y="T13"/>
                </a:cxn>
              </a:cxnLst>
              <a:rect l="0" t="0" r="r" b="b"/>
              <a:pathLst>
                <a:path w="44" h="615">
                  <a:moveTo>
                    <a:pt x="22" y="615"/>
                  </a:moveTo>
                  <a:cubicBezTo>
                    <a:pt x="10" y="615"/>
                    <a:pt x="0" y="605"/>
                    <a:pt x="0" y="593"/>
                  </a:cubicBezTo>
                  <a:cubicBezTo>
                    <a:pt x="0" y="22"/>
                    <a:pt x="0" y="22"/>
                    <a:pt x="0" y="22"/>
                  </a:cubicBezTo>
                  <a:cubicBezTo>
                    <a:pt x="0" y="9"/>
                    <a:pt x="10" y="0"/>
                    <a:pt x="22" y="0"/>
                  </a:cubicBezTo>
                  <a:cubicBezTo>
                    <a:pt x="34" y="0"/>
                    <a:pt x="44" y="9"/>
                    <a:pt x="44" y="22"/>
                  </a:cubicBezTo>
                  <a:cubicBezTo>
                    <a:pt x="44" y="593"/>
                    <a:pt x="44" y="593"/>
                    <a:pt x="44" y="593"/>
                  </a:cubicBezTo>
                  <a:cubicBezTo>
                    <a:pt x="44" y="605"/>
                    <a:pt x="34" y="615"/>
                    <a:pt x="22" y="6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868" name="Group 1048">
            <a:extLst>
              <a:ext uri="{FF2B5EF4-FFF2-40B4-BE49-F238E27FC236}">
                <a16:creationId xmlns:a16="http://schemas.microsoft.com/office/drawing/2014/main" id="{3514D946-7A72-4D0D-AE3B-B452FE896CBC}"/>
              </a:ext>
            </a:extLst>
          </p:cNvPr>
          <p:cNvGrpSpPr>
            <a:grpSpLocks noChangeAspect="1"/>
          </p:cNvGrpSpPr>
          <p:nvPr/>
        </p:nvGrpSpPr>
        <p:grpSpPr>
          <a:xfrm>
            <a:off x="2723600" y="5944848"/>
            <a:ext cx="247521" cy="308144"/>
            <a:chOff x="-4211638" y="-882650"/>
            <a:chExt cx="6799263" cy="8464550"/>
          </a:xfrm>
          <a:solidFill>
            <a:schemeClr val="bg2"/>
          </a:solidFill>
          <a:effectLst/>
        </p:grpSpPr>
        <p:sp>
          <p:nvSpPr>
            <p:cNvPr id="869" name="Oval 28">
              <a:extLst>
                <a:ext uri="{FF2B5EF4-FFF2-40B4-BE49-F238E27FC236}">
                  <a16:creationId xmlns:a16="http://schemas.microsoft.com/office/drawing/2014/main" id="{49512504-15CA-4A0D-9565-FF3816258594}"/>
                </a:ext>
              </a:extLst>
            </p:cNvPr>
            <p:cNvSpPr>
              <a:spLocks noChangeArrowheads="1"/>
            </p:cNvSpPr>
            <p:nvPr/>
          </p:nvSpPr>
          <p:spPr bwMode="auto">
            <a:xfrm>
              <a:off x="50800" y="1119188"/>
              <a:ext cx="304800" cy="304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0" name="Freeform 29">
              <a:extLst>
                <a:ext uri="{FF2B5EF4-FFF2-40B4-BE49-F238E27FC236}">
                  <a16:creationId xmlns:a16="http://schemas.microsoft.com/office/drawing/2014/main" id="{28256DE6-CC35-4C5A-B840-4CABD317FC33}"/>
                </a:ext>
              </a:extLst>
            </p:cNvPr>
            <p:cNvSpPr>
              <a:spLocks noEditPoints="1"/>
            </p:cNvSpPr>
            <p:nvPr/>
          </p:nvSpPr>
          <p:spPr bwMode="auto">
            <a:xfrm>
              <a:off x="-1323975" y="2373313"/>
              <a:ext cx="1382713" cy="1273175"/>
            </a:xfrm>
            <a:custGeom>
              <a:avLst/>
              <a:gdLst>
                <a:gd name="T0" fmla="*/ 184 w 368"/>
                <a:gd name="T1" fmla="*/ 339 h 339"/>
                <a:gd name="T2" fmla="*/ 77 w 368"/>
                <a:gd name="T3" fmla="*/ 232 h 339"/>
                <a:gd name="T4" fmla="*/ 77 w 368"/>
                <a:gd name="T5" fmla="*/ 102 h 339"/>
                <a:gd name="T6" fmla="*/ 66 w 368"/>
                <a:gd name="T7" fmla="*/ 98 h 339"/>
                <a:gd name="T8" fmla="*/ 6 w 368"/>
                <a:gd name="T9" fmla="*/ 47 h 339"/>
                <a:gd name="T10" fmla="*/ 3 w 368"/>
                <a:gd name="T11" fmla="*/ 23 h 339"/>
                <a:gd name="T12" fmla="*/ 17 w 368"/>
                <a:gd name="T13" fmla="*/ 4 h 339"/>
                <a:gd name="T14" fmla="*/ 32 w 368"/>
                <a:gd name="T15" fmla="*/ 0 h 339"/>
                <a:gd name="T16" fmla="*/ 59 w 368"/>
                <a:gd name="T17" fmla="*/ 16 h 339"/>
                <a:gd name="T18" fmla="*/ 108 w 368"/>
                <a:gd name="T19" fmla="*/ 44 h 339"/>
                <a:gd name="T20" fmla="*/ 158 w 368"/>
                <a:gd name="T21" fmla="*/ 16 h 339"/>
                <a:gd name="T22" fmla="*/ 184 w 368"/>
                <a:gd name="T23" fmla="*/ 0 h 339"/>
                <a:gd name="T24" fmla="*/ 200 w 368"/>
                <a:gd name="T25" fmla="*/ 4 h 339"/>
                <a:gd name="T26" fmla="*/ 211 w 368"/>
                <a:gd name="T27" fmla="*/ 16 h 339"/>
                <a:gd name="T28" fmla="*/ 260 w 368"/>
                <a:gd name="T29" fmla="*/ 44 h 339"/>
                <a:gd name="T30" fmla="*/ 261 w 368"/>
                <a:gd name="T31" fmla="*/ 44 h 339"/>
                <a:gd name="T32" fmla="*/ 310 w 368"/>
                <a:gd name="T33" fmla="*/ 16 h 339"/>
                <a:gd name="T34" fmla="*/ 336 w 368"/>
                <a:gd name="T35" fmla="*/ 0 h 339"/>
                <a:gd name="T36" fmla="*/ 352 w 368"/>
                <a:gd name="T37" fmla="*/ 4 h 339"/>
                <a:gd name="T38" fmla="*/ 366 w 368"/>
                <a:gd name="T39" fmla="*/ 23 h 339"/>
                <a:gd name="T40" fmla="*/ 363 w 368"/>
                <a:gd name="T41" fmla="*/ 47 h 339"/>
                <a:gd name="T42" fmla="*/ 302 w 368"/>
                <a:gd name="T43" fmla="*/ 98 h 339"/>
                <a:gd name="T44" fmla="*/ 291 w 368"/>
                <a:gd name="T45" fmla="*/ 102 h 339"/>
                <a:gd name="T46" fmla="*/ 291 w 368"/>
                <a:gd name="T47" fmla="*/ 232 h 339"/>
                <a:gd name="T48" fmla="*/ 184 w 368"/>
                <a:gd name="T49" fmla="*/ 339 h 339"/>
                <a:gd name="T50" fmla="*/ 175 w 368"/>
                <a:gd name="T51" fmla="*/ 85 h 339"/>
                <a:gd name="T52" fmla="*/ 150 w 368"/>
                <a:gd name="T53" fmla="*/ 98 h 339"/>
                <a:gd name="T54" fmla="*/ 139 w 368"/>
                <a:gd name="T55" fmla="*/ 102 h 339"/>
                <a:gd name="T56" fmla="*/ 139 w 368"/>
                <a:gd name="T57" fmla="*/ 232 h 339"/>
                <a:gd name="T58" fmla="*/ 184 w 368"/>
                <a:gd name="T59" fmla="*/ 277 h 339"/>
                <a:gd name="T60" fmla="*/ 229 w 368"/>
                <a:gd name="T61" fmla="*/ 232 h 339"/>
                <a:gd name="T62" fmla="*/ 229 w 368"/>
                <a:gd name="T63" fmla="*/ 102 h 339"/>
                <a:gd name="T64" fmla="*/ 219 w 368"/>
                <a:gd name="T65" fmla="*/ 98 h 339"/>
                <a:gd name="T66" fmla="*/ 194 w 368"/>
                <a:gd name="T67" fmla="*/ 86 h 339"/>
                <a:gd name="T68" fmla="*/ 184 w 368"/>
                <a:gd name="T69" fmla="*/ 79 h 339"/>
                <a:gd name="T70" fmla="*/ 175 w 368"/>
                <a:gd name="T71" fmla="*/ 8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8" h="339">
                  <a:moveTo>
                    <a:pt x="184" y="339"/>
                  </a:moveTo>
                  <a:cubicBezTo>
                    <a:pt x="125" y="339"/>
                    <a:pt x="77" y="291"/>
                    <a:pt x="77" y="232"/>
                  </a:cubicBezTo>
                  <a:cubicBezTo>
                    <a:pt x="77" y="102"/>
                    <a:pt x="77" y="102"/>
                    <a:pt x="77" y="102"/>
                  </a:cubicBezTo>
                  <a:cubicBezTo>
                    <a:pt x="66" y="98"/>
                    <a:pt x="66" y="98"/>
                    <a:pt x="66" y="98"/>
                  </a:cubicBezTo>
                  <a:cubicBezTo>
                    <a:pt x="41" y="88"/>
                    <a:pt x="19" y="70"/>
                    <a:pt x="6" y="47"/>
                  </a:cubicBezTo>
                  <a:cubicBezTo>
                    <a:pt x="1" y="39"/>
                    <a:pt x="0" y="31"/>
                    <a:pt x="3" y="23"/>
                  </a:cubicBezTo>
                  <a:cubicBezTo>
                    <a:pt x="5" y="15"/>
                    <a:pt x="10" y="8"/>
                    <a:pt x="17" y="4"/>
                  </a:cubicBezTo>
                  <a:cubicBezTo>
                    <a:pt x="22" y="2"/>
                    <a:pt x="27" y="0"/>
                    <a:pt x="32" y="0"/>
                  </a:cubicBezTo>
                  <a:cubicBezTo>
                    <a:pt x="43" y="0"/>
                    <a:pt x="54" y="6"/>
                    <a:pt x="59" y="16"/>
                  </a:cubicBezTo>
                  <a:cubicBezTo>
                    <a:pt x="69" y="33"/>
                    <a:pt x="88" y="44"/>
                    <a:pt x="108" y="44"/>
                  </a:cubicBezTo>
                  <a:cubicBezTo>
                    <a:pt x="129" y="44"/>
                    <a:pt x="147" y="33"/>
                    <a:pt x="158" y="16"/>
                  </a:cubicBezTo>
                  <a:cubicBezTo>
                    <a:pt x="163" y="6"/>
                    <a:pt x="173" y="0"/>
                    <a:pt x="184" y="0"/>
                  </a:cubicBezTo>
                  <a:cubicBezTo>
                    <a:pt x="190" y="0"/>
                    <a:pt x="195" y="2"/>
                    <a:pt x="200" y="4"/>
                  </a:cubicBezTo>
                  <a:cubicBezTo>
                    <a:pt x="205" y="7"/>
                    <a:pt x="208" y="11"/>
                    <a:pt x="211" y="16"/>
                  </a:cubicBezTo>
                  <a:cubicBezTo>
                    <a:pt x="221" y="33"/>
                    <a:pt x="240" y="44"/>
                    <a:pt x="260" y="44"/>
                  </a:cubicBezTo>
                  <a:cubicBezTo>
                    <a:pt x="261" y="44"/>
                    <a:pt x="261" y="44"/>
                    <a:pt x="261" y="44"/>
                  </a:cubicBezTo>
                  <a:cubicBezTo>
                    <a:pt x="281" y="44"/>
                    <a:pt x="300" y="33"/>
                    <a:pt x="310" y="16"/>
                  </a:cubicBezTo>
                  <a:cubicBezTo>
                    <a:pt x="315" y="6"/>
                    <a:pt x="325" y="0"/>
                    <a:pt x="336" y="0"/>
                  </a:cubicBezTo>
                  <a:cubicBezTo>
                    <a:pt x="342" y="0"/>
                    <a:pt x="347" y="2"/>
                    <a:pt x="352" y="4"/>
                  </a:cubicBezTo>
                  <a:cubicBezTo>
                    <a:pt x="359" y="9"/>
                    <a:pt x="364" y="15"/>
                    <a:pt x="366" y="23"/>
                  </a:cubicBezTo>
                  <a:cubicBezTo>
                    <a:pt x="368" y="31"/>
                    <a:pt x="367" y="39"/>
                    <a:pt x="363" y="47"/>
                  </a:cubicBezTo>
                  <a:cubicBezTo>
                    <a:pt x="350" y="70"/>
                    <a:pt x="328" y="88"/>
                    <a:pt x="302" y="98"/>
                  </a:cubicBezTo>
                  <a:cubicBezTo>
                    <a:pt x="291" y="102"/>
                    <a:pt x="291" y="102"/>
                    <a:pt x="291" y="102"/>
                  </a:cubicBezTo>
                  <a:cubicBezTo>
                    <a:pt x="291" y="232"/>
                    <a:pt x="291" y="232"/>
                    <a:pt x="291" y="232"/>
                  </a:cubicBezTo>
                  <a:cubicBezTo>
                    <a:pt x="291" y="291"/>
                    <a:pt x="243" y="339"/>
                    <a:pt x="184" y="339"/>
                  </a:cubicBezTo>
                  <a:close/>
                  <a:moveTo>
                    <a:pt x="175" y="85"/>
                  </a:moveTo>
                  <a:cubicBezTo>
                    <a:pt x="167" y="91"/>
                    <a:pt x="159" y="95"/>
                    <a:pt x="150" y="98"/>
                  </a:cubicBezTo>
                  <a:cubicBezTo>
                    <a:pt x="139" y="102"/>
                    <a:pt x="139" y="102"/>
                    <a:pt x="139" y="102"/>
                  </a:cubicBezTo>
                  <a:cubicBezTo>
                    <a:pt x="139" y="232"/>
                    <a:pt x="139" y="232"/>
                    <a:pt x="139" y="232"/>
                  </a:cubicBezTo>
                  <a:cubicBezTo>
                    <a:pt x="139" y="257"/>
                    <a:pt x="159" y="277"/>
                    <a:pt x="184" y="277"/>
                  </a:cubicBezTo>
                  <a:cubicBezTo>
                    <a:pt x="209" y="277"/>
                    <a:pt x="229" y="257"/>
                    <a:pt x="229" y="232"/>
                  </a:cubicBezTo>
                  <a:cubicBezTo>
                    <a:pt x="229" y="102"/>
                    <a:pt x="229" y="102"/>
                    <a:pt x="229" y="102"/>
                  </a:cubicBezTo>
                  <a:cubicBezTo>
                    <a:pt x="219" y="98"/>
                    <a:pt x="219" y="98"/>
                    <a:pt x="219" y="98"/>
                  </a:cubicBezTo>
                  <a:cubicBezTo>
                    <a:pt x="210" y="95"/>
                    <a:pt x="201" y="91"/>
                    <a:pt x="194" y="86"/>
                  </a:cubicBezTo>
                  <a:cubicBezTo>
                    <a:pt x="184" y="79"/>
                    <a:pt x="184" y="79"/>
                    <a:pt x="184" y="79"/>
                  </a:cubicBezTo>
                  <a:lnTo>
                    <a:pt x="17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1" name="Freeform 30">
              <a:extLst>
                <a:ext uri="{FF2B5EF4-FFF2-40B4-BE49-F238E27FC236}">
                  <a16:creationId xmlns:a16="http://schemas.microsoft.com/office/drawing/2014/main" id="{D2282454-95B5-457C-BBCF-D57EEFCDF9AE}"/>
                </a:ext>
              </a:extLst>
            </p:cNvPr>
            <p:cNvSpPr>
              <a:spLocks noEditPoints="1"/>
            </p:cNvSpPr>
            <p:nvPr/>
          </p:nvSpPr>
          <p:spPr bwMode="auto">
            <a:xfrm>
              <a:off x="-4211638" y="-882650"/>
              <a:ext cx="6799263" cy="8464550"/>
            </a:xfrm>
            <a:custGeom>
              <a:avLst/>
              <a:gdLst>
                <a:gd name="T0" fmla="*/ 97 w 1810"/>
                <a:gd name="T1" fmla="*/ 2120 h 2254"/>
                <a:gd name="T2" fmla="*/ 229 w 1810"/>
                <a:gd name="T3" fmla="*/ 1988 h 2254"/>
                <a:gd name="T4" fmla="*/ 244 w 1810"/>
                <a:gd name="T5" fmla="*/ 1783 h 2254"/>
                <a:gd name="T6" fmla="*/ 201 w 1810"/>
                <a:gd name="T7" fmla="*/ 1065 h 2254"/>
                <a:gd name="T8" fmla="*/ 446 w 1810"/>
                <a:gd name="T9" fmla="*/ 1257 h 2254"/>
                <a:gd name="T10" fmla="*/ 480 w 1810"/>
                <a:gd name="T11" fmla="*/ 1133 h 2254"/>
                <a:gd name="T12" fmla="*/ 403 w 1810"/>
                <a:gd name="T13" fmla="*/ 731 h 2254"/>
                <a:gd name="T14" fmla="*/ 558 w 1810"/>
                <a:gd name="T15" fmla="*/ 3 h 2254"/>
                <a:gd name="T16" fmla="*/ 819 w 1810"/>
                <a:gd name="T17" fmla="*/ 198 h 2254"/>
                <a:gd name="T18" fmla="*/ 953 w 1810"/>
                <a:gd name="T19" fmla="*/ 182 h 2254"/>
                <a:gd name="T20" fmla="*/ 1232 w 1810"/>
                <a:gd name="T21" fmla="*/ 47 h 2254"/>
                <a:gd name="T22" fmla="*/ 1455 w 1810"/>
                <a:gd name="T23" fmla="*/ 46 h 2254"/>
                <a:gd name="T24" fmla="*/ 1504 w 1810"/>
                <a:gd name="T25" fmla="*/ 730 h 2254"/>
                <a:gd name="T26" fmla="*/ 1428 w 1810"/>
                <a:gd name="T27" fmla="*/ 1131 h 2254"/>
                <a:gd name="T28" fmla="*/ 1464 w 1810"/>
                <a:gd name="T29" fmla="*/ 1328 h 2254"/>
                <a:gd name="T30" fmla="*/ 1616 w 1810"/>
                <a:gd name="T31" fmla="*/ 1705 h 2254"/>
                <a:gd name="T32" fmla="*/ 1673 w 1810"/>
                <a:gd name="T33" fmla="*/ 2009 h 2254"/>
                <a:gd name="T34" fmla="*/ 1810 w 1810"/>
                <a:gd name="T35" fmla="*/ 2184 h 2254"/>
                <a:gd name="T36" fmla="*/ 1464 w 1810"/>
                <a:gd name="T37" fmla="*/ 2182 h 2254"/>
                <a:gd name="T38" fmla="*/ 1699 w 1810"/>
                <a:gd name="T39" fmla="*/ 2082 h 2254"/>
                <a:gd name="T40" fmla="*/ 1585 w 1810"/>
                <a:gd name="T41" fmla="*/ 2028 h 2254"/>
                <a:gd name="T42" fmla="*/ 1464 w 1810"/>
                <a:gd name="T43" fmla="*/ 1676 h 2254"/>
                <a:gd name="T44" fmla="*/ 1213 w 1810"/>
                <a:gd name="T45" fmla="*/ 1661 h 2254"/>
                <a:gd name="T46" fmla="*/ 1392 w 1810"/>
                <a:gd name="T47" fmla="*/ 1328 h 2254"/>
                <a:gd name="T48" fmla="*/ 1354 w 1810"/>
                <a:gd name="T49" fmla="*/ 1230 h 2254"/>
                <a:gd name="T50" fmla="*/ 953 w 1810"/>
                <a:gd name="T51" fmla="*/ 1403 h 2254"/>
                <a:gd name="T52" fmla="*/ 530 w 1810"/>
                <a:gd name="T53" fmla="*/ 1205 h 2254"/>
                <a:gd name="T54" fmla="*/ 514 w 1810"/>
                <a:gd name="T55" fmla="*/ 2165 h 2254"/>
                <a:gd name="T56" fmla="*/ 693 w 1810"/>
                <a:gd name="T57" fmla="*/ 1661 h 2254"/>
                <a:gd name="T58" fmla="*/ 765 w 1810"/>
                <a:gd name="T59" fmla="*/ 2182 h 2254"/>
                <a:gd name="T60" fmla="*/ 1177 w 1810"/>
                <a:gd name="T61" fmla="*/ 1625 h 2254"/>
                <a:gd name="T62" fmla="*/ 169 w 1810"/>
                <a:gd name="T63" fmla="*/ 2182 h 2254"/>
                <a:gd name="T64" fmla="*/ 442 w 1810"/>
                <a:gd name="T65" fmla="*/ 1706 h 2254"/>
                <a:gd name="T66" fmla="*/ 324 w 1810"/>
                <a:gd name="T67" fmla="*/ 1785 h 2254"/>
                <a:gd name="T68" fmla="*/ 316 w 1810"/>
                <a:gd name="T69" fmla="*/ 1799 h 2254"/>
                <a:gd name="T70" fmla="*/ 321 w 1810"/>
                <a:gd name="T71" fmla="*/ 2064 h 2254"/>
                <a:gd name="T72" fmla="*/ 190 w 1810"/>
                <a:gd name="T73" fmla="*/ 1169 h 2254"/>
                <a:gd name="T74" fmla="*/ 293 w 1810"/>
                <a:gd name="T75" fmla="*/ 1702 h 2254"/>
                <a:gd name="T76" fmla="*/ 442 w 1810"/>
                <a:gd name="T77" fmla="*/ 1393 h 2254"/>
                <a:gd name="T78" fmla="*/ 638 w 1810"/>
                <a:gd name="T79" fmla="*/ 373 h 2254"/>
                <a:gd name="T80" fmla="*/ 476 w 1810"/>
                <a:gd name="T81" fmla="*/ 855 h 2254"/>
                <a:gd name="T82" fmla="*/ 1431 w 1810"/>
                <a:gd name="T83" fmla="*/ 872 h 2254"/>
                <a:gd name="T84" fmla="*/ 1431 w 1810"/>
                <a:gd name="T85" fmla="*/ 730 h 2254"/>
                <a:gd name="T86" fmla="*/ 1269 w 1810"/>
                <a:gd name="T87" fmla="*/ 373 h 2254"/>
                <a:gd name="T88" fmla="*/ 977 w 1810"/>
                <a:gd name="T89" fmla="*/ 472 h 2254"/>
                <a:gd name="T90" fmla="*/ 929 w 1810"/>
                <a:gd name="T91" fmla="*/ 472 h 2254"/>
                <a:gd name="T92" fmla="*/ 638 w 1810"/>
                <a:gd name="T93" fmla="*/ 373 h 2254"/>
                <a:gd name="T94" fmla="*/ 473 w 1810"/>
                <a:gd name="T95" fmla="*/ 161 h 2254"/>
                <a:gd name="T96" fmla="*/ 720 w 1810"/>
                <a:gd name="T97" fmla="*/ 234 h 2254"/>
                <a:gd name="T98" fmla="*/ 558 w 1810"/>
                <a:gd name="T99" fmla="*/ 76 h 2254"/>
                <a:gd name="T100" fmla="*/ 1284 w 1810"/>
                <a:gd name="T101" fmla="*/ 98 h 2254"/>
                <a:gd name="T102" fmla="*/ 1341 w 1810"/>
                <a:gd name="T103" fmla="*/ 341 h 2254"/>
                <a:gd name="T104" fmla="*/ 1429 w 1810"/>
                <a:gd name="T105" fmla="*/ 157 h 2254"/>
                <a:gd name="T106" fmla="*/ 953 w 1810"/>
                <a:gd name="T107" fmla="*/ 254 h 2254"/>
                <a:gd name="T108" fmla="*/ 785 w 1810"/>
                <a:gd name="T109" fmla="*/ 318 h 2254"/>
                <a:gd name="T110" fmla="*/ 964 w 1810"/>
                <a:gd name="T111" fmla="*/ 396 h 2254"/>
                <a:gd name="T112" fmla="*/ 1124 w 1810"/>
                <a:gd name="T113" fmla="*/ 285 h 2254"/>
                <a:gd name="T114" fmla="*/ 953 w 1810"/>
                <a:gd name="T115" fmla="*/ 254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0" h="2254">
                  <a:moveTo>
                    <a:pt x="167" y="2254"/>
                  </a:moveTo>
                  <a:cubicBezTo>
                    <a:pt x="128" y="2254"/>
                    <a:pt x="97" y="2223"/>
                    <a:pt x="97" y="2184"/>
                  </a:cubicBezTo>
                  <a:cubicBezTo>
                    <a:pt x="97" y="2120"/>
                    <a:pt x="97" y="2120"/>
                    <a:pt x="97" y="2120"/>
                  </a:cubicBezTo>
                  <a:cubicBezTo>
                    <a:pt x="97" y="2059"/>
                    <a:pt x="147" y="2009"/>
                    <a:pt x="208" y="2009"/>
                  </a:cubicBezTo>
                  <a:cubicBezTo>
                    <a:pt x="234" y="2009"/>
                    <a:pt x="234" y="2009"/>
                    <a:pt x="234" y="2009"/>
                  </a:cubicBezTo>
                  <a:cubicBezTo>
                    <a:pt x="229" y="1988"/>
                    <a:pt x="229" y="1988"/>
                    <a:pt x="229" y="1988"/>
                  </a:cubicBezTo>
                  <a:cubicBezTo>
                    <a:pt x="222" y="1962"/>
                    <a:pt x="219" y="1935"/>
                    <a:pt x="219" y="1908"/>
                  </a:cubicBezTo>
                  <a:cubicBezTo>
                    <a:pt x="219" y="1869"/>
                    <a:pt x="226" y="1830"/>
                    <a:pt x="240" y="1793"/>
                  </a:cubicBezTo>
                  <a:cubicBezTo>
                    <a:pt x="244" y="1783"/>
                    <a:pt x="244" y="1783"/>
                    <a:pt x="244" y="1783"/>
                  </a:cubicBezTo>
                  <a:cubicBezTo>
                    <a:pt x="176" y="1714"/>
                    <a:pt x="176" y="1714"/>
                    <a:pt x="176" y="1714"/>
                  </a:cubicBezTo>
                  <a:cubicBezTo>
                    <a:pt x="0" y="1538"/>
                    <a:pt x="0" y="1252"/>
                    <a:pt x="176" y="1076"/>
                  </a:cubicBezTo>
                  <a:cubicBezTo>
                    <a:pt x="182" y="1069"/>
                    <a:pt x="192" y="1065"/>
                    <a:pt x="201" y="1065"/>
                  </a:cubicBezTo>
                  <a:cubicBezTo>
                    <a:pt x="211" y="1065"/>
                    <a:pt x="220" y="1069"/>
                    <a:pt x="227" y="1076"/>
                  </a:cubicBezTo>
                  <a:cubicBezTo>
                    <a:pt x="442" y="1291"/>
                    <a:pt x="442" y="1291"/>
                    <a:pt x="442" y="1291"/>
                  </a:cubicBezTo>
                  <a:cubicBezTo>
                    <a:pt x="446" y="1257"/>
                    <a:pt x="446" y="1257"/>
                    <a:pt x="446" y="1257"/>
                  </a:cubicBezTo>
                  <a:cubicBezTo>
                    <a:pt x="449" y="1237"/>
                    <a:pt x="453" y="1217"/>
                    <a:pt x="458" y="1198"/>
                  </a:cubicBezTo>
                  <a:cubicBezTo>
                    <a:pt x="463" y="1179"/>
                    <a:pt x="469" y="1160"/>
                    <a:pt x="477" y="1141"/>
                  </a:cubicBezTo>
                  <a:cubicBezTo>
                    <a:pt x="480" y="1133"/>
                    <a:pt x="480" y="1133"/>
                    <a:pt x="480" y="1133"/>
                  </a:cubicBezTo>
                  <a:cubicBezTo>
                    <a:pt x="476" y="1126"/>
                    <a:pt x="476" y="1126"/>
                    <a:pt x="476" y="1126"/>
                  </a:cubicBezTo>
                  <a:cubicBezTo>
                    <a:pt x="429" y="1044"/>
                    <a:pt x="404" y="951"/>
                    <a:pt x="403" y="855"/>
                  </a:cubicBezTo>
                  <a:cubicBezTo>
                    <a:pt x="403" y="731"/>
                    <a:pt x="403" y="731"/>
                    <a:pt x="403" y="731"/>
                  </a:cubicBezTo>
                  <a:cubicBezTo>
                    <a:pt x="401" y="161"/>
                    <a:pt x="401" y="161"/>
                    <a:pt x="401" y="161"/>
                  </a:cubicBezTo>
                  <a:cubicBezTo>
                    <a:pt x="401" y="119"/>
                    <a:pt x="417" y="80"/>
                    <a:pt x="447" y="50"/>
                  </a:cubicBezTo>
                  <a:cubicBezTo>
                    <a:pt x="476" y="20"/>
                    <a:pt x="515" y="4"/>
                    <a:pt x="558" y="3"/>
                  </a:cubicBezTo>
                  <a:cubicBezTo>
                    <a:pt x="558" y="3"/>
                    <a:pt x="558" y="3"/>
                    <a:pt x="558" y="3"/>
                  </a:cubicBezTo>
                  <a:cubicBezTo>
                    <a:pt x="600" y="3"/>
                    <a:pt x="639" y="20"/>
                    <a:pt x="669" y="49"/>
                  </a:cubicBezTo>
                  <a:cubicBezTo>
                    <a:pt x="819" y="198"/>
                    <a:pt x="819" y="198"/>
                    <a:pt x="819" y="198"/>
                  </a:cubicBezTo>
                  <a:cubicBezTo>
                    <a:pt x="828" y="196"/>
                    <a:pt x="828" y="196"/>
                    <a:pt x="828" y="196"/>
                  </a:cubicBezTo>
                  <a:cubicBezTo>
                    <a:pt x="869" y="187"/>
                    <a:pt x="910" y="182"/>
                    <a:pt x="951" y="182"/>
                  </a:cubicBezTo>
                  <a:cubicBezTo>
                    <a:pt x="953" y="182"/>
                    <a:pt x="953" y="182"/>
                    <a:pt x="953" y="182"/>
                  </a:cubicBezTo>
                  <a:cubicBezTo>
                    <a:pt x="994" y="182"/>
                    <a:pt x="1035" y="186"/>
                    <a:pt x="1074" y="195"/>
                  </a:cubicBezTo>
                  <a:cubicBezTo>
                    <a:pt x="1083" y="197"/>
                    <a:pt x="1083" y="197"/>
                    <a:pt x="1083" y="197"/>
                  </a:cubicBezTo>
                  <a:cubicBezTo>
                    <a:pt x="1232" y="47"/>
                    <a:pt x="1232" y="47"/>
                    <a:pt x="1232" y="47"/>
                  </a:cubicBezTo>
                  <a:cubicBezTo>
                    <a:pt x="1262" y="17"/>
                    <a:pt x="1301" y="0"/>
                    <a:pt x="1343" y="0"/>
                  </a:cubicBezTo>
                  <a:cubicBezTo>
                    <a:pt x="1344" y="0"/>
                    <a:pt x="1344" y="0"/>
                    <a:pt x="1344" y="0"/>
                  </a:cubicBezTo>
                  <a:cubicBezTo>
                    <a:pt x="1386" y="0"/>
                    <a:pt x="1425" y="17"/>
                    <a:pt x="1455" y="46"/>
                  </a:cubicBezTo>
                  <a:cubicBezTo>
                    <a:pt x="1484" y="76"/>
                    <a:pt x="1501" y="115"/>
                    <a:pt x="1501" y="157"/>
                  </a:cubicBezTo>
                  <a:cubicBezTo>
                    <a:pt x="1504" y="729"/>
                    <a:pt x="1504" y="729"/>
                    <a:pt x="1504" y="729"/>
                  </a:cubicBezTo>
                  <a:cubicBezTo>
                    <a:pt x="1504" y="730"/>
                    <a:pt x="1504" y="730"/>
                    <a:pt x="1504" y="730"/>
                  </a:cubicBezTo>
                  <a:cubicBezTo>
                    <a:pt x="1504" y="851"/>
                    <a:pt x="1504" y="851"/>
                    <a:pt x="1504" y="851"/>
                  </a:cubicBezTo>
                  <a:cubicBezTo>
                    <a:pt x="1504" y="948"/>
                    <a:pt x="1479" y="1044"/>
                    <a:pt x="1431" y="1127"/>
                  </a:cubicBezTo>
                  <a:cubicBezTo>
                    <a:pt x="1428" y="1131"/>
                    <a:pt x="1428" y="1131"/>
                    <a:pt x="1428" y="1131"/>
                  </a:cubicBezTo>
                  <a:cubicBezTo>
                    <a:pt x="1428" y="1139"/>
                    <a:pt x="1428" y="1139"/>
                    <a:pt x="1428" y="1139"/>
                  </a:cubicBezTo>
                  <a:cubicBezTo>
                    <a:pt x="1429" y="1142"/>
                    <a:pt x="1429" y="1142"/>
                    <a:pt x="1429" y="1142"/>
                  </a:cubicBezTo>
                  <a:cubicBezTo>
                    <a:pt x="1453" y="1201"/>
                    <a:pt x="1464" y="1264"/>
                    <a:pt x="1464" y="1328"/>
                  </a:cubicBezTo>
                  <a:cubicBezTo>
                    <a:pt x="1464" y="1601"/>
                    <a:pt x="1464" y="1601"/>
                    <a:pt x="1464" y="1601"/>
                  </a:cubicBezTo>
                  <a:cubicBezTo>
                    <a:pt x="1476" y="1605"/>
                    <a:pt x="1476" y="1605"/>
                    <a:pt x="1476" y="1605"/>
                  </a:cubicBezTo>
                  <a:cubicBezTo>
                    <a:pt x="1531" y="1625"/>
                    <a:pt x="1579" y="1659"/>
                    <a:pt x="1616" y="1705"/>
                  </a:cubicBezTo>
                  <a:cubicBezTo>
                    <a:pt x="1663" y="1762"/>
                    <a:pt x="1688" y="1835"/>
                    <a:pt x="1688" y="1908"/>
                  </a:cubicBezTo>
                  <a:cubicBezTo>
                    <a:pt x="1688" y="1935"/>
                    <a:pt x="1685" y="1962"/>
                    <a:pt x="1678" y="1988"/>
                  </a:cubicBezTo>
                  <a:cubicBezTo>
                    <a:pt x="1673" y="2009"/>
                    <a:pt x="1673" y="2009"/>
                    <a:pt x="1673" y="2009"/>
                  </a:cubicBezTo>
                  <a:cubicBezTo>
                    <a:pt x="1699" y="2009"/>
                    <a:pt x="1699" y="2009"/>
                    <a:pt x="1699" y="2009"/>
                  </a:cubicBezTo>
                  <a:cubicBezTo>
                    <a:pt x="1760" y="2009"/>
                    <a:pt x="1810" y="2059"/>
                    <a:pt x="1810" y="2120"/>
                  </a:cubicBezTo>
                  <a:cubicBezTo>
                    <a:pt x="1810" y="2184"/>
                    <a:pt x="1810" y="2184"/>
                    <a:pt x="1810" y="2184"/>
                  </a:cubicBezTo>
                  <a:cubicBezTo>
                    <a:pt x="1810" y="2223"/>
                    <a:pt x="1779" y="2254"/>
                    <a:pt x="1740" y="2254"/>
                  </a:cubicBezTo>
                  <a:lnTo>
                    <a:pt x="167" y="2254"/>
                  </a:lnTo>
                  <a:close/>
                  <a:moveTo>
                    <a:pt x="1464" y="2182"/>
                  </a:moveTo>
                  <a:cubicBezTo>
                    <a:pt x="1738" y="2182"/>
                    <a:pt x="1738" y="2182"/>
                    <a:pt x="1738" y="2182"/>
                  </a:cubicBezTo>
                  <a:cubicBezTo>
                    <a:pt x="1738" y="2120"/>
                    <a:pt x="1738" y="2120"/>
                    <a:pt x="1738" y="2120"/>
                  </a:cubicBezTo>
                  <a:cubicBezTo>
                    <a:pt x="1738" y="2099"/>
                    <a:pt x="1720" y="2082"/>
                    <a:pt x="1699" y="2082"/>
                  </a:cubicBezTo>
                  <a:cubicBezTo>
                    <a:pt x="1617" y="2082"/>
                    <a:pt x="1617" y="2082"/>
                    <a:pt x="1617" y="2082"/>
                  </a:cubicBezTo>
                  <a:cubicBezTo>
                    <a:pt x="1604" y="2082"/>
                    <a:pt x="1593" y="2075"/>
                    <a:pt x="1586" y="2064"/>
                  </a:cubicBezTo>
                  <a:cubicBezTo>
                    <a:pt x="1580" y="2053"/>
                    <a:pt x="1579" y="2039"/>
                    <a:pt x="1585" y="2028"/>
                  </a:cubicBezTo>
                  <a:cubicBezTo>
                    <a:pt x="1605" y="1992"/>
                    <a:pt x="1616" y="1950"/>
                    <a:pt x="1616" y="1908"/>
                  </a:cubicBezTo>
                  <a:cubicBezTo>
                    <a:pt x="1616" y="1819"/>
                    <a:pt x="1568" y="1736"/>
                    <a:pt x="1490" y="1691"/>
                  </a:cubicBezTo>
                  <a:cubicBezTo>
                    <a:pt x="1464" y="1676"/>
                    <a:pt x="1464" y="1676"/>
                    <a:pt x="1464" y="1676"/>
                  </a:cubicBezTo>
                  <a:lnTo>
                    <a:pt x="1464" y="2182"/>
                  </a:lnTo>
                  <a:close/>
                  <a:moveTo>
                    <a:pt x="1177" y="1625"/>
                  </a:moveTo>
                  <a:cubicBezTo>
                    <a:pt x="1197" y="1625"/>
                    <a:pt x="1213" y="1641"/>
                    <a:pt x="1213" y="1661"/>
                  </a:cubicBezTo>
                  <a:cubicBezTo>
                    <a:pt x="1213" y="2182"/>
                    <a:pt x="1213" y="2182"/>
                    <a:pt x="1213" y="2182"/>
                  </a:cubicBezTo>
                  <a:cubicBezTo>
                    <a:pt x="1392" y="2182"/>
                    <a:pt x="1392" y="2182"/>
                    <a:pt x="1392" y="2182"/>
                  </a:cubicBezTo>
                  <a:cubicBezTo>
                    <a:pt x="1392" y="1328"/>
                    <a:pt x="1392" y="1328"/>
                    <a:pt x="1392" y="1328"/>
                  </a:cubicBezTo>
                  <a:cubicBezTo>
                    <a:pt x="1392" y="1298"/>
                    <a:pt x="1389" y="1268"/>
                    <a:pt x="1383" y="1238"/>
                  </a:cubicBezTo>
                  <a:cubicBezTo>
                    <a:pt x="1376" y="1206"/>
                    <a:pt x="1376" y="1206"/>
                    <a:pt x="1376" y="1206"/>
                  </a:cubicBezTo>
                  <a:cubicBezTo>
                    <a:pt x="1354" y="1230"/>
                    <a:pt x="1354" y="1230"/>
                    <a:pt x="1354" y="1230"/>
                  </a:cubicBezTo>
                  <a:cubicBezTo>
                    <a:pt x="1351" y="1233"/>
                    <a:pt x="1347" y="1237"/>
                    <a:pt x="1344" y="1240"/>
                  </a:cubicBezTo>
                  <a:cubicBezTo>
                    <a:pt x="1240" y="1345"/>
                    <a:pt x="1103" y="1402"/>
                    <a:pt x="956" y="1403"/>
                  </a:cubicBezTo>
                  <a:cubicBezTo>
                    <a:pt x="953" y="1403"/>
                    <a:pt x="953" y="1403"/>
                    <a:pt x="953" y="1403"/>
                  </a:cubicBezTo>
                  <a:cubicBezTo>
                    <a:pt x="807" y="1403"/>
                    <a:pt x="670" y="1346"/>
                    <a:pt x="566" y="1243"/>
                  </a:cubicBezTo>
                  <a:cubicBezTo>
                    <a:pt x="561" y="1238"/>
                    <a:pt x="556" y="1234"/>
                    <a:pt x="553" y="1230"/>
                  </a:cubicBezTo>
                  <a:cubicBezTo>
                    <a:pt x="530" y="1205"/>
                    <a:pt x="530" y="1205"/>
                    <a:pt x="530" y="1205"/>
                  </a:cubicBezTo>
                  <a:cubicBezTo>
                    <a:pt x="523" y="1238"/>
                    <a:pt x="523" y="1238"/>
                    <a:pt x="523" y="1238"/>
                  </a:cubicBezTo>
                  <a:cubicBezTo>
                    <a:pt x="517" y="1267"/>
                    <a:pt x="514" y="1298"/>
                    <a:pt x="514" y="1328"/>
                  </a:cubicBezTo>
                  <a:cubicBezTo>
                    <a:pt x="514" y="1336"/>
                    <a:pt x="514" y="2105"/>
                    <a:pt x="514" y="2165"/>
                  </a:cubicBezTo>
                  <a:cubicBezTo>
                    <a:pt x="514" y="2182"/>
                    <a:pt x="514" y="2182"/>
                    <a:pt x="514" y="2182"/>
                  </a:cubicBezTo>
                  <a:cubicBezTo>
                    <a:pt x="693" y="2182"/>
                    <a:pt x="693" y="2182"/>
                    <a:pt x="693" y="2182"/>
                  </a:cubicBezTo>
                  <a:cubicBezTo>
                    <a:pt x="693" y="1661"/>
                    <a:pt x="693" y="1661"/>
                    <a:pt x="693" y="1661"/>
                  </a:cubicBezTo>
                  <a:cubicBezTo>
                    <a:pt x="693" y="1641"/>
                    <a:pt x="709" y="1625"/>
                    <a:pt x="729" y="1625"/>
                  </a:cubicBezTo>
                  <a:cubicBezTo>
                    <a:pt x="749" y="1625"/>
                    <a:pt x="765" y="1641"/>
                    <a:pt x="765" y="1661"/>
                  </a:cubicBezTo>
                  <a:cubicBezTo>
                    <a:pt x="765" y="2182"/>
                    <a:pt x="765" y="2182"/>
                    <a:pt x="765" y="2182"/>
                  </a:cubicBezTo>
                  <a:cubicBezTo>
                    <a:pt x="1141" y="2182"/>
                    <a:pt x="1141" y="2182"/>
                    <a:pt x="1141" y="2182"/>
                  </a:cubicBezTo>
                  <a:cubicBezTo>
                    <a:pt x="1141" y="1661"/>
                    <a:pt x="1141" y="1661"/>
                    <a:pt x="1141" y="1661"/>
                  </a:cubicBezTo>
                  <a:cubicBezTo>
                    <a:pt x="1141" y="1641"/>
                    <a:pt x="1157" y="1625"/>
                    <a:pt x="1177" y="1625"/>
                  </a:cubicBezTo>
                  <a:close/>
                  <a:moveTo>
                    <a:pt x="208" y="2082"/>
                  </a:moveTo>
                  <a:cubicBezTo>
                    <a:pt x="187" y="2082"/>
                    <a:pt x="169" y="2099"/>
                    <a:pt x="169" y="2120"/>
                  </a:cubicBezTo>
                  <a:cubicBezTo>
                    <a:pt x="169" y="2182"/>
                    <a:pt x="169" y="2182"/>
                    <a:pt x="169" y="2182"/>
                  </a:cubicBezTo>
                  <a:cubicBezTo>
                    <a:pt x="442" y="2182"/>
                    <a:pt x="442" y="2182"/>
                    <a:pt x="442" y="2182"/>
                  </a:cubicBezTo>
                  <a:cubicBezTo>
                    <a:pt x="442" y="2165"/>
                    <a:pt x="442" y="2165"/>
                    <a:pt x="442" y="2165"/>
                  </a:cubicBezTo>
                  <a:cubicBezTo>
                    <a:pt x="442" y="2102"/>
                    <a:pt x="442" y="1710"/>
                    <a:pt x="442" y="1706"/>
                  </a:cubicBezTo>
                  <a:cubicBezTo>
                    <a:pt x="442" y="1677"/>
                    <a:pt x="442" y="1677"/>
                    <a:pt x="442" y="1677"/>
                  </a:cubicBezTo>
                  <a:cubicBezTo>
                    <a:pt x="416" y="1692"/>
                    <a:pt x="416" y="1692"/>
                    <a:pt x="416" y="1692"/>
                  </a:cubicBezTo>
                  <a:cubicBezTo>
                    <a:pt x="378" y="1714"/>
                    <a:pt x="346" y="1747"/>
                    <a:pt x="324" y="1785"/>
                  </a:cubicBezTo>
                  <a:cubicBezTo>
                    <a:pt x="321" y="1789"/>
                    <a:pt x="321" y="1789"/>
                    <a:pt x="321" y="1789"/>
                  </a:cubicBezTo>
                  <a:cubicBezTo>
                    <a:pt x="321" y="1790"/>
                    <a:pt x="321" y="1790"/>
                    <a:pt x="321" y="1790"/>
                  </a:cubicBezTo>
                  <a:cubicBezTo>
                    <a:pt x="320" y="1793"/>
                    <a:pt x="318" y="1796"/>
                    <a:pt x="316" y="1799"/>
                  </a:cubicBezTo>
                  <a:cubicBezTo>
                    <a:pt x="300" y="1833"/>
                    <a:pt x="291" y="1871"/>
                    <a:pt x="291" y="1908"/>
                  </a:cubicBezTo>
                  <a:cubicBezTo>
                    <a:pt x="291" y="1950"/>
                    <a:pt x="302" y="1992"/>
                    <a:pt x="322" y="2028"/>
                  </a:cubicBezTo>
                  <a:cubicBezTo>
                    <a:pt x="328" y="2039"/>
                    <a:pt x="327" y="2053"/>
                    <a:pt x="321" y="2064"/>
                  </a:cubicBezTo>
                  <a:cubicBezTo>
                    <a:pt x="314" y="2075"/>
                    <a:pt x="302" y="2082"/>
                    <a:pt x="290" y="2082"/>
                  </a:cubicBezTo>
                  <a:lnTo>
                    <a:pt x="208" y="2082"/>
                  </a:lnTo>
                  <a:close/>
                  <a:moveTo>
                    <a:pt x="190" y="1169"/>
                  </a:moveTo>
                  <a:cubicBezTo>
                    <a:pt x="79" y="1319"/>
                    <a:pt x="95" y="1531"/>
                    <a:pt x="227" y="1663"/>
                  </a:cubicBezTo>
                  <a:cubicBezTo>
                    <a:pt x="281" y="1717"/>
                    <a:pt x="281" y="1717"/>
                    <a:pt x="281" y="1717"/>
                  </a:cubicBezTo>
                  <a:cubicBezTo>
                    <a:pt x="293" y="1702"/>
                    <a:pt x="293" y="1702"/>
                    <a:pt x="293" y="1702"/>
                  </a:cubicBezTo>
                  <a:cubicBezTo>
                    <a:pt x="329" y="1658"/>
                    <a:pt x="377" y="1625"/>
                    <a:pt x="430" y="1605"/>
                  </a:cubicBezTo>
                  <a:cubicBezTo>
                    <a:pt x="442" y="1601"/>
                    <a:pt x="442" y="1601"/>
                    <a:pt x="442" y="1601"/>
                  </a:cubicBezTo>
                  <a:cubicBezTo>
                    <a:pt x="442" y="1393"/>
                    <a:pt x="442" y="1393"/>
                    <a:pt x="442" y="1393"/>
                  </a:cubicBezTo>
                  <a:cubicBezTo>
                    <a:pt x="202" y="1153"/>
                    <a:pt x="202" y="1153"/>
                    <a:pt x="202" y="1153"/>
                  </a:cubicBezTo>
                  <a:lnTo>
                    <a:pt x="190" y="1169"/>
                  </a:lnTo>
                  <a:close/>
                  <a:moveTo>
                    <a:pt x="638" y="373"/>
                  </a:moveTo>
                  <a:cubicBezTo>
                    <a:pt x="633" y="378"/>
                    <a:pt x="633" y="378"/>
                    <a:pt x="633" y="378"/>
                  </a:cubicBezTo>
                  <a:cubicBezTo>
                    <a:pt x="533" y="468"/>
                    <a:pt x="476" y="597"/>
                    <a:pt x="476" y="731"/>
                  </a:cubicBezTo>
                  <a:cubicBezTo>
                    <a:pt x="476" y="855"/>
                    <a:pt x="476" y="855"/>
                    <a:pt x="476" y="855"/>
                  </a:cubicBezTo>
                  <a:cubicBezTo>
                    <a:pt x="477" y="1117"/>
                    <a:pt x="691" y="1330"/>
                    <a:pt x="953" y="1330"/>
                  </a:cubicBezTo>
                  <a:cubicBezTo>
                    <a:pt x="955" y="1330"/>
                    <a:pt x="955" y="1330"/>
                    <a:pt x="955" y="1330"/>
                  </a:cubicBezTo>
                  <a:cubicBezTo>
                    <a:pt x="1211" y="1329"/>
                    <a:pt x="1421" y="1125"/>
                    <a:pt x="1431" y="872"/>
                  </a:cubicBezTo>
                  <a:cubicBezTo>
                    <a:pt x="1431" y="872"/>
                    <a:pt x="1431" y="872"/>
                    <a:pt x="1431" y="872"/>
                  </a:cubicBezTo>
                  <a:cubicBezTo>
                    <a:pt x="1431" y="855"/>
                    <a:pt x="1431" y="855"/>
                    <a:pt x="1431" y="855"/>
                  </a:cubicBezTo>
                  <a:cubicBezTo>
                    <a:pt x="1431" y="730"/>
                    <a:pt x="1431" y="730"/>
                    <a:pt x="1431" y="730"/>
                  </a:cubicBezTo>
                  <a:cubicBezTo>
                    <a:pt x="1431" y="602"/>
                    <a:pt x="1380" y="482"/>
                    <a:pt x="1290" y="393"/>
                  </a:cubicBezTo>
                  <a:cubicBezTo>
                    <a:pt x="1285" y="387"/>
                    <a:pt x="1279" y="383"/>
                    <a:pt x="1274" y="378"/>
                  </a:cubicBezTo>
                  <a:cubicBezTo>
                    <a:pt x="1269" y="373"/>
                    <a:pt x="1269" y="373"/>
                    <a:pt x="1269" y="373"/>
                  </a:cubicBezTo>
                  <a:cubicBezTo>
                    <a:pt x="1188" y="373"/>
                    <a:pt x="1188" y="373"/>
                    <a:pt x="1188" y="373"/>
                  </a:cubicBezTo>
                  <a:cubicBezTo>
                    <a:pt x="1147" y="373"/>
                    <a:pt x="1108" y="382"/>
                    <a:pt x="1071" y="399"/>
                  </a:cubicBezTo>
                  <a:cubicBezTo>
                    <a:pt x="1035" y="416"/>
                    <a:pt x="1003" y="441"/>
                    <a:pt x="977" y="472"/>
                  </a:cubicBezTo>
                  <a:cubicBezTo>
                    <a:pt x="975" y="473"/>
                    <a:pt x="974" y="474"/>
                    <a:pt x="973" y="476"/>
                  </a:cubicBezTo>
                  <a:cubicBezTo>
                    <a:pt x="967" y="480"/>
                    <a:pt x="960" y="483"/>
                    <a:pt x="953" y="483"/>
                  </a:cubicBezTo>
                  <a:cubicBezTo>
                    <a:pt x="944" y="483"/>
                    <a:pt x="935" y="479"/>
                    <a:pt x="929" y="472"/>
                  </a:cubicBezTo>
                  <a:cubicBezTo>
                    <a:pt x="877" y="409"/>
                    <a:pt x="800" y="373"/>
                    <a:pt x="718" y="373"/>
                  </a:cubicBezTo>
                  <a:cubicBezTo>
                    <a:pt x="717" y="373"/>
                    <a:pt x="717" y="373"/>
                    <a:pt x="717" y="373"/>
                  </a:cubicBezTo>
                  <a:lnTo>
                    <a:pt x="638" y="373"/>
                  </a:lnTo>
                  <a:close/>
                  <a:moveTo>
                    <a:pt x="558" y="76"/>
                  </a:moveTo>
                  <a:cubicBezTo>
                    <a:pt x="535" y="76"/>
                    <a:pt x="514" y="85"/>
                    <a:pt x="498" y="101"/>
                  </a:cubicBezTo>
                  <a:cubicBezTo>
                    <a:pt x="482" y="117"/>
                    <a:pt x="473" y="138"/>
                    <a:pt x="473" y="161"/>
                  </a:cubicBezTo>
                  <a:cubicBezTo>
                    <a:pt x="475" y="456"/>
                    <a:pt x="475" y="456"/>
                    <a:pt x="475" y="456"/>
                  </a:cubicBezTo>
                  <a:cubicBezTo>
                    <a:pt x="505" y="413"/>
                    <a:pt x="505" y="413"/>
                    <a:pt x="505" y="413"/>
                  </a:cubicBezTo>
                  <a:cubicBezTo>
                    <a:pt x="560" y="336"/>
                    <a:pt x="635" y="274"/>
                    <a:pt x="720" y="234"/>
                  </a:cubicBezTo>
                  <a:cubicBezTo>
                    <a:pt x="742" y="223"/>
                    <a:pt x="742" y="223"/>
                    <a:pt x="742" y="223"/>
                  </a:cubicBezTo>
                  <a:cubicBezTo>
                    <a:pt x="618" y="101"/>
                    <a:pt x="618" y="101"/>
                    <a:pt x="618" y="101"/>
                  </a:cubicBezTo>
                  <a:cubicBezTo>
                    <a:pt x="602" y="85"/>
                    <a:pt x="581" y="76"/>
                    <a:pt x="558" y="76"/>
                  </a:cubicBezTo>
                  <a:cubicBezTo>
                    <a:pt x="558" y="76"/>
                    <a:pt x="558" y="76"/>
                    <a:pt x="558" y="76"/>
                  </a:cubicBezTo>
                  <a:close/>
                  <a:moveTo>
                    <a:pt x="1344" y="73"/>
                  </a:moveTo>
                  <a:cubicBezTo>
                    <a:pt x="1321" y="73"/>
                    <a:pt x="1300" y="82"/>
                    <a:pt x="1284" y="98"/>
                  </a:cubicBezTo>
                  <a:cubicBezTo>
                    <a:pt x="1161" y="221"/>
                    <a:pt x="1161" y="221"/>
                    <a:pt x="1161" y="221"/>
                  </a:cubicBezTo>
                  <a:cubicBezTo>
                    <a:pt x="1183" y="232"/>
                    <a:pt x="1183" y="232"/>
                    <a:pt x="1183" y="232"/>
                  </a:cubicBezTo>
                  <a:cubicBezTo>
                    <a:pt x="1242" y="258"/>
                    <a:pt x="1295" y="295"/>
                    <a:pt x="1341" y="341"/>
                  </a:cubicBezTo>
                  <a:cubicBezTo>
                    <a:pt x="1362" y="362"/>
                    <a:pt x="1382" y="385"/>
                    <a:pt x="1399" y="409"/>
                  </a:cubicBezTo>
                  <a:cubicBezTo>
                    <a:pt x="1430" y="451"/>
                    <a:pt x="1430" y="451"/>
                    <a:pt x="1430" y="451"/>
                  </a:cubicBezTo>
                  <a:cubicBezTo>
                    <a:pt x="1429" y="157"/>
                    <a:pt x="1429" y="157"/>
                    <a:pt x="1429" y="157"/>
                  </a:cubicBezTo>
                  <a:cubicBezTo>
                    <a:pt x="1429" y="135"/>
                    <a:pt x="1420" y="113"/>
                    <a:pt x="1404" y="97"/>
                  </a:cubicBezTo>
                  <a:cubicBezTo>
                    <a:pt x="1388" y="82"/>
                    <a:pt x="1366" y="73"/>
                    <a:pt x="1344" y="73"/>
                  </a:cubicBezTo>
                  <a:close/>
                  <a:moveTo>
                    <a:pt x="953" y="254"/>
                  </a:moveTo>
                  <a:cubicBezTo>
                    <a:pt x="894" y="254"/>
                    <a:pt x="837" y="265"/>
                    <a:pt x="783" y="286"/>
                  </a:cubicBezTo>
                  <a:cubicBezTo>
                    <a:pt x="728" y="307"/>
                    <a:pt x="728" y="307"/>
                    <a:pt x="728" y="307"/>
                  </a:cubicBezTo>
                  <a:cubicBezTo>
                    <a:pt x="785" y="318"/>
                    <a:pt x="785" y="318"/>
                    <a:pt x="785" y="318"/>
                  </a:cubicBezTo>
                  <a:cubicBezTo>
                    <a:pt x="843" y="330"/>
                    <a:pt x="897" y="357"/>
                    <a:pt x="942" y="396"/>
                  </a:cubicBezTo>
                  <a:cubicBezTo>
                    <a:pt x="953" y="406"/>
                    <a:pt x="953" y="406"/>
                    <a:pt x="953" y="406"/>
                  </a:cubicBezTo>
                  <a:cubicBezTo>
                    <a:pt x="964" y="396"/>
                    <a:pt x="964" y="396"/>
                    <a:pt x="964" y="396"/>
                  </a:cubicBezTo>
                  <a:cubicBezTo>
                    <a:pt x="1009" y="357"/>
                    <a:pt x="1063" y="330"/>
                    <a:pt x="1122" y="318"/>
                  </a:cubicBezTo>
                  <a:cubicBezTo>
                    <a:pt x="1179" y="306"/>
                    <a:pt x="1179" y="306"/>
                    <a:pt x="1179" y="306"/>
                  </a:cubicBezTo>
                  <a:cubicBezTo>
                    <a:pt x="1124" y="285"/>
                    <a:pt x="1124" y="285"/>
                    <a:pt x="1124" y="285"/>
                  </a:cubicBezTo>
                  <a:cubicBezTo>
                    <a:pt x="1071" y="265"/>
                    <a:pt x="1013" y="254"/>
                    <a:pt x="954" y="254"/>
                  </a:cubicBezTo>
                  <a:cubicBezTo>
                    <a:pt x="954" y="254"/>
                    <a:pt x="954" y="254"/>
                    <a:pt x="954" y="254"/>
                  </a:cubicBezTo>
                  <a:lnTo>
                    <a:pt x="95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2" name="Freeform 31">
              <a:extLst>
                <a:ext uri="{FF2B5EF4-FFF2-40B4-BE49-F238E27FC236}">
                  <a16:creationId xmlns:a16="http://schemas.microsoft.com/office/drawing/2014/main" id="{690F48C7-4CEC-4DC0-9566-7A0F4564EFD5}"/>
                </a:ext>
              </a:extLst>
            </p:cNvPr>
            <p:cNvSpPr>
              <a:spLocks/>
            </p:cNvSpPr>
            <p:nvPr/>
          </p:nvSpPr>
          <p:spPr bwMode="auto">
            <a:xfrm>
              <a:off x="-1619250" y="1127125"/>
              <a:ext cx="303213" cy="303213"/>
            </a:xfrm>
            <a:custGeom>
              <a:avLst/>
              <a:gdLst>
                <a:gd name="T0" fmla="*/ 40 w 81"/>
                <a:gd name="T1" fmla="*/ 81 h 81"/>
                <a:gd name="T2" fmla="*/ 36 w 81"/>
                <a:gd name="T3" fmla="*/ 81 h 81"/>
                <a:gd name="T4" fmla="*/ 21 w 81"/>
                <a:gd name="T5" fmla="*/ 76 h 81"/>
                <a:gd name="T6" fmla="*/ 15 w 81"/>
                <a:gd name="T7" fmla="*/ 72 h 81"/>
                <a:gd name="T8" fmla="*/ 0 w 81"/>
                <a:gd name="T9" fmla="*/ 41 h 81"/>
                <a:gd name="T10" fmla="*/ 3 w 81"/>
                <a:gd name="T11" fmla="*/ 25 h 81"/>
                <a:gd name="T12" fmla="*/ 21 w 81"/>
                <a:gd name="T13" fmla="*/ 5 h 81"/>
                <a:gd name="T14" fmla="*/ 28 w 81"/>
                <a:gd name="T15" fmla="*/ 2 h 81"/>
                <a:gd name="T16" fmla="*/ 40 w 81"/>
                <a:gd name="T17" fmla="*/ 0 h 81"/>
                <a:gd name="T18" fmla="*/ 52 w 81"/>
                <a:gd name="T19" fmla="*/ 2 h 81"/>
                <a:gd name="T20" fmla="*/ 60 w 81"/>
                <a:gd name="T21" fmla="*/ 5 h 81"/>
                <a:gd name="T22" fmla="*/ 66 w 81"/>
                <a:gd name="T23" fmla="*/ 10 h 81"/>
                <a:gd name="T24" fmla="*/ 74 w 81"/>
                <a:gd name="T25" fmla="*/ 18 h 81"/>
                <a:gd name="T26" fmla="*/ 78 w 81"/>
                <a:gd name="T27" fmla="*/ 25 h 81"/>
                <a:gd name="T28" fmla="*/ 81 w 81"/>
                <a:gd name="T29" fmla="*/ 41 h 81"/>
                <a:gd name="T30" fmla="*/ 79 w 81"/>
                <a:gd name="T31" fmla="*/ 52 h 81"/>
                <a:gd name="T32" fmla="*/ 78 w 81"/>
                <a:gd name="T33" fmla="*/ 56 h 81"/>
                <a:gd name="T34" fmla="*/ 66 w 81"/>
                <a:gd name="T35" fmla="*/ 72 h 81"/>
                <a:gd name="T36" fmla="*/ 60 w 81"/>
                <a:gd name="T37" fmla="*/ 76 h 81"/>
                <a:gd name="T38" fmla="*/ 52 w 81"/>
                <a:gd name="T39" fmla="*/ 79 h 81"/>
                <a:gd name="T40" fmla="*/ 40 w 81"/>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40" y="81"/>
                  </a:moveTo>
                  <a:cubicBezTo>
                    <a:pt x="39" y="81"/>
                    <a:pt x="38" y="81"/>
                    <a:pt x="36" y="81"/>
                  </a:cubicBezTo>
                  <a:cubicBezTo>
                    <a:pt x="31" y="80"/>
                    <a:pt x="26" y="79"/>
                    <a:pt x="21" y="76"/>
                  </a:cubicBezTo>
                  <a:cubicBezTo>
                    <a:pt x="19" y="75"/>
                    <a:pt x="17" y="73"/>
                    <a:pt x="15" y="72"/>
                  </a:cubicBezTo>
                  <a:cubicBezTo>
                    <a:pt x="5" y="64"/>
                    <a:pt x="0" y="53"/>
                    <a:pt x="0" y="41"/>
                  </a:cubicBezTo>
                  <a:cubicBezTo>
                    <a:pt x="0" y="35"/>
                    <a:pt x="1" y="30"/>
                    <a:pt x="3" y="25"/>
                  </a:cubicBezTo>
                  <a:cubicBezTo>
                    <a:pt x="7" y="17"/>
                    <a:pt x="13" y="10"/>
                    <a:pt x="21" y="5"/>
                  </a:cubicBezTo>
                  <a:cubicBezTo>
                    <a:pt x="23" y="4"/>
                    <a:pt x="26" y="3"/>
                    <a:pt x="28" y="2"/>
                  </a:cubicBezTo>
                  <a:cubicBezTo>
                    <a:pt x="32" y="1"/>
                    <a:pt x="36" y="0"/>
                    <a:pt x="40" y="0"/>
                  </a:cubicBezTo>
                  <a:cubicBezTo>
                    <a:pt x="44" y="0"/>
                    <a:pt x="48" y="1"/>
                    <a:pt x="52" y="2"/>
                  </a:cubicBezTo>
                  <a:cubicBezTo>
                    <a:pt x="55" y="3"/>
                    <a:pt x="57" y="4"/>
                    <a:pt x="60" y="5"/>
                  </a:cubicBezTo>
                  <a:cubicBezTo>
                    <a:pt x="62" y="6"/>
                    <a:pt x="64" y="8"/>
                    <a:pt x="66" y="10"/>
                  </a:cubicBezTo>
                  <a:cubicBezTo>
                    <a:pt x="69" y="12"/>
                    <a:pt x="72" y="15"/>
                    <a:pt x="74" y="18"/>
                  </a:cubicBezTo>
                  <a:cubicBezTo>
                    <a:pt x="75" y="20"/>
                    <a:pt x="77" y="23"/>
                    <a:pt x="78" y="25"/>
                  </a:cubicBezTo>
                  <a:cubicBezTo>
                    <a:pt x="80" y="30"/>
                    <a:pt x="81" y="35"/>
                    <a:pt x="81" y="41"/>
                  </a:cubicBezTo>
                  <a:cubicBezTo>
                    <a:pt x="81" y="44"/>
                    <a:pt x="80" y="48"/>
                    <a:pt x="79" y="52"/>
                  </a:cubicBezTo>
                  <a:cubicBezTo>
                    <a:pt x="79" y="54"/>
                    <a:pt x="78" y="55"/>
                    <a:pt x="78" y="56"/>
                  </a:cubicBezTo>
                  <a:cubicBezTo>
                    <a:pt x="75" y="62"/>
                    <a:pt x="71" y="68"/>
                    <a:pt x="66" y="72"/>
                  </a:cubicBezTo>
                  <a:cubicBezTo>
                    <a:pt x="64" y="73"/>
                    <a:pt x="62" y="75"/>
                    <a:pt x="60" y="76"/>
                  </a:cubicBezTo>
                  <a:cubicBezTo>
                    <a:pt x="57" y="77"/>
                    <a:pt x="55" y="78"/>
                    <a:pt x="52" y="79"/>
                  </a:cubicBezTo>
                  <a:cubicBezTo>
                    <a:pt x="48" y="80"/>
                    <a:pt x="44" y="81"/>
                    <a:pt x="4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3" name="Freeform 32">
              <a:extLst>
                <a:ext uri="{FF2B5EF4-FFF2-40B4-BE49-F238E27FC236}">
                  <a16:creationId xmlns:a16="http://schemas.microsoft.com/office/drawing/2014/main" id="{67B17DE2-5D5C-4D03-9DAB-EE0277768B23}"/>
                </a:ext>
              </a:extLst>
            </p:cNvPr>
            <p:cNvSpPr>
              <a:spLocks/>
            </p:cNvSpPr>
            <p:nvPr/>
          </p:nvSpPr>
          <p:spPr bwMode="auto">
            <a:xfrm>
              <a:off x="-857250" y="1663700"/>
              <a:ext cx="450850" cy="274638"/>
            </a:xfrm>
            <a:custGeom>
              <a:avLst/>
              <a:gdLst>
                <a:gd name="T0" fmla="*/ 36 w 120"/>
                <a:gd name="T1" fmla="*/ 73 h 73"/>
                <a:gd name="T2" fmla="*/ 0 w 120"/>
                <a:gd name="T3" fmla="*/ 37 h 73"/>
                <a:gd name="T4" fmla="*/ 36 w 120"/>
                <a:gd name="T5" fmla="*/ 0 h 73"/>
                <a:gd name="T6" fmla="*/ 84 w 120"/>
                <a:gd name="T7" fmla="*/ 0 h 73"/>
                <a:gd name="T8" fmla="*/ 120 w 120"/>
                <a:gd name="T9" fmla="*/ 37 h 73"/>
                <a:gd name="T10" fmla="*/ 84 w 120"/>
                <a:gd name="T11" fmla="*/ 73 h 73"/>
                <a:gd name="T12" fmla="*/ 36 w 120"/>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0" h="73">
                  <a:moveTo>
                    <a:pt x="36" y="73"/>
                  </a:moveTo>
                  <a:cubicBezTo>
                    <a:pt x="16" y="73"/>
                    <a:pt x="0" y="57"/>
                    <a:pt x="0" y="37"/>
                  </a:cubicBezTo>
                  <a:cubicBezTo>
                    <a:pt x="0" y="17"/>
                    <a:pt x="16" y="0"/>
                    <a:pt x="36" y="0"/>
                  </a:cubicBezTo>
                  <a:cubicBezTo>
                    <a:pt x="84" y="0"/>
                    <a:pt x="84" y="0"/>
                    <a:pt x="84" y="0"/>
                  </a:cubicBezTo>
                  <a:cubicBezTo>
                    <a:pt x="104" y="0"/>
                    <a:pt x="120" y="17"/>
                    <a:pt x="120" y="37"/>
                  </a:cubicBezTo>
                  <a:cubicBezTo>
                    <a:pt x="120" y="57"/>
                    <a:pt x="104" y="73"/>
                    <a:pt x="84" y="73"/>
                  </a:cubicBezTo>
                  <a:lnTo>
                    <a:pt x="36"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
        <p:nvSpPr>
          <p:cNvPr id="874" name="Freeform 249">
            <a:extLst>
              <a:ext uri="{FF2B5EF4-FFF2-40B4-BE49-F238E27FC236}">
                <a16:creationId xmlns:a16="http://schemas.microsoft.com/office/drawing/2014/main" id="{F1AF10A9-8179-4D2F-8008-B606CEFF5146}"/>
              </a:ext>
            </a:extLst>
          </p:cNvPr>
          <p:cNvSpPr>
            <a:spLocks noChangeAspect="1" noEditPoints="1"/>
          </p:cNvSpPr>
          <p:nvPr/>
        </p:nvSpPr>
        <p:spPr bwMode="auto">
          <a:xfrm>
            <a:off x="3237338" y="5944848"/>
            <a:ext cx="216213" cy="308144"/>
          </a:xfrm>
          <a:custGeom>
            <a:avLst/>
            <a:gdLst>
              <a:gd name="T0" fmla="*/ 224 w 632"/>
              <a:gd name="T1" fmla="*/ 472 h 903"/>
              <a:gd name="T2" fmla="*/ 224 w 632"/>
              <a:gd name="T3" fmla="*/ 459 h 903"/>
              <a:gd name="T4" fmla="*/ 215 w 632"/>
              <a:gd name="T5" fmla="*/ 452 h 903"/>
              <a:gd name="T6" fmla="*/ 252 w 632"/>
              <a:gd name="T7" fmla="*/ 265 h 903"/>
              <a:gd name="T8" fmla="*/ 256 w 632"/>
              <a:gd name="T9" fmla="*/ 252 h 903"/>
              <a:gd name="T10" fmla="*/ 248 w 632"/>
              <a:gd name="T11" fmla="*/ 243 h 903"/>
              <a:gd name="T12" fmla="*/ 178 w 632"/>
              <a:gd name="T13" fmla="*/ 241 h 903"/>
              <a:gd name="T14" fmla="*/ 391 w 632"/>
              <a:gd name="T15" fmla="*/ 241 h 903"/>
              <a:gd name="T16" fmla="*/ 380 w 632"/>
              <a:gd name="T17" fmla="*/ 245 h 903"/>
              <a:gd name="T18" fmla="*/ 376 w 632"/>
              <a:gd name="T19" fmla="*/ 257 h 903"/>
              <a:gd name="T20" fmla="*/ 526 w 632"/>
              <a:gd name="T21" fmla="*/ 451 h 903"/>
              <a:gd name="T22" fmla="*/ 413 w 632"/>
              <a:gd name="T23" fmla="*/ 453 h 903"/>
              <a:gd name="T24" fmla="*/ 407 w 632"/>
              <a:gd name="T25" fmla="*/ 464 h 903"/>
              <a:gd name="T26" fmla="*/ 409 w 632"/>
              <a:gd name="T27" fmla="*/ 475 h 903"/>
              <a:gd name="T28" fmla="*/ 629 w 632"/>
              <a:gd name="T29" fmla="*/ 698 h 903"/>
              <a:gd name="T30" fmla="*/ 561 w 632"/>
              <a:gd name="T31" fmla="*/ 481 h 903"/>
              <a:gd name="T32" fmla="*/ 570 w 632"/>
              <a:gd name="T33" fmla="*/ 473 h 903"/>
              <a:gd name="T34" fmla="*/ 571 w 632"/>
              <a:gd name="T35" fmla="*/ 460 h 903"/>
              <a:gd name="T36" fmla="*/ 482 w 632"/>
              <a:gd name="T37" fmla="*/ 271 h 903"/>
              <a:gd name="T38" fmla="*/ 493 w 632"/>
              <a:gd name="T39" fmla="*/ 265 h 903"/>
              <a:gd name="T40" fmla="*/ 497 w 632"/>
              <a:gd name="T41" fmla="*/ 254 h 903"/>
              <a:gd name="T42" fmla="*/ 328 w 632"/>
              <a:gd name="T43" fmla="*/ 6 h 903"/>
              <a:gd name="T44" fmla="*/ 319 w 632"/>
              <a:gd name="T45" fmla="*/ 0 h 903"/>
              <a:gd name="T46" fmla="*/ 309 w 632"/>
              <a:gd name="T47" fmla="*/ 1 h 903"/>
              <a:gd name="T48" fmla="*/ 138 w 632"/>
              <a:gd name="T49" fmla="*/ 247 h 903"/>
              <a:gd name="T50" fmla="*/ 135 w 632"/>
              <a:gd name="T51" fmla="*/ 259 h 903"/>
              <a:gd name="T52" fmla="*/ 143 w 632"/>
              <a:gd name="T53" fmla="*/ 268 h 903"/>
              <a:gd name="T54" fmla="*/ 209 w 632"/>
              <a:gd name="T55" fmla="*/ 271 h 903"/>
              <a:gd name="T56" fmla="*/ 60 w 632"/>
              <a:gd name="T57" fmla="*/ 465 h 903"/>
              <a:gd name="T58" fmla="*/ 64 w 632"/>
              <a:gd name="T59" fmla="*/ 477 h 903"/>
              <a:gd name="T60" fmla="*/ 75 w 632"/>
              <a:gd name="T61" fmla="*/ 481 h 903"/>
              <a:gd name="T62" fmla="*/ 1 w 632"/>
              <a:gd name="T63" fmla="*/ 701 h 903"/>
              <a:gd name="T64" fmla="*/ 1 w 632"/>
              <a:gd name="T65" fmla="*/ 714 h 903"/>
              <a:gd name="T66" fmla="*/ 11 w 632"/>
              <a:gd name="T67" fmla="*/ 721 h 903"/>
              <a:gd name="T68" fmla="*/ 301 w 632"/>
              <a:gd name="T69" fmla="*/ 888 h 903"/>
              <a:gd name="T70" fmla="*/ 304 w 632"/>
              <a:gd name="T71" fmla="*/ 896 h 903"/>
              <a:gd name="T72" fmla="*/ 310 w 632"/>
              <a:gd name="T73" fmla="*/ 901 h 903"/>
              <a:gd name="T74" fmla="*/ 319 w 632"/>
              <a:gd name="T75" fmla="*/ 903 h 903"/>
              <a:gd name="T76" fmla="*/ 326 w 632"/>
              <a:gd name="T77" fmla="*/ 898 h 903"/>
              <a:gd name="T78" fmla="*/ 331 w 632"/>
              <a:gd name="T79" fmla="*/ 891 h 903"/>
              <a:gd name="T80" fmla="*/ 617 w 632"/>
              <a:gd name="T81" fmla="*/ 722 h 903"/>
              <a:gd name="T82" fmla="*/ 628 w 632"/>
              <a:gd name="T83" fmla="*/ 717 h 903"/>
              <a:gd name="T84" fmla="*/ 632 w 632"/>
              <a:gd name="T85" fmla="*/ 70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2" h="903">
                <a:moveTo>
                  <a:pt x="46" y="692"/>
                </a:moveTo>
                <a:lnTo>
                  <a:pt x="222" y="475"/>
                </a:lnTo>
                <a:lnTo>
                  <a:pt x="224" y="472"/>
                </a:lnTo>
                <a:lnTo>
                  <a:pt x="225" y="468"/>
                </a:lnTo>
                <a:lnTo>
                  <a:pt x="225" y="464"/>
                </a:lnTo>
                <a:lnTo>
                  <a:pt x="224" y="459"/>
                </a:lnTo>
                <a:lnTo>
                  <a:pt x="221" y="456"/>
                </a:lnTo>
                <a:lnTo>
                  <a:pt x="218" y="453"/>
                </a:lnTo>
                <a:lnTo>
                  <a:pt x="215" y="452"/>
                </a:lnTo>
                <a:lnTo>
                  <a:pt x="210" y="451"/>
                </a:lnTo>
                <a:lnTo>
                  <a:pt x="106" y="451"/>
                </a:lnTo>
                <a:lnTo>
                  <a:pt x="252" y="265"/>
                </a:lnTo>
                <a:lnTo>
                  <a:pt x="254" y="261"/>
                </a:lnTo>
                <a:lnTo>
                  <a:pt x="256" y="257"/>
                </a:lnTo>
                <a:lnTo>
                  <a:pt x="256" y="252"/>
                </a:lnTo>
                <a:lnTo>
                  <a:pt x="254" y="249"/>
                </a:lnTo>
                <a:lnTo>
                  <a:pt x="251" y="245"/>
                </a:lnTo>
                <a:lnTo>
                  <a:pt x="248" y="243"/>
                </a:lnTo>
                <a:lnTo>
                  <a:pt x="245" y="241"/>
                </a:lnTo>
                <a:lnTo>
                  <a:pt x="240" y="241"/>
                </a:lnTo>
                <a:lnTo>
                  <a:pt x="178" y="241"/>
                </a:lnTo>
                <a:lnTo>
                  <a:pt x="316" y="41"/>
                </a:lnTo>
                <a:lnTo>
                  <a:pt x="453" y="241"/>
                </a:lnTo>
                <a:lnTo>
                  <a:pt x="391" y="241"/>
                </a:lnTo>
                <a:lnTo>
                  <a:pt x="386" y="241"/>
                </a:lnTo>
                <a:lnTo>
                  <a:pt x="383" y="243"/>
                </a:lnTo>
                <a:lnTo>
                  <a:pt x="380" y="245"/>
                </a:lnTo>
                <a:lnTo>
                  <a:pt x="378" y="249"/>
                </a:lnTo>
                <a:lnTo>
                  <a:pt x="376" y="252"/>
                </a:lnTo>
                <a:lnTo>
                  <a:pt x="376" y="257"/>
                </a:lnTo>
                <a:lnTo>
                  <a:pt x="377" y="261"/>
                </a:lnTo>
                <a:lnTo>
                  <a:pt x="379" y="265"/>
                </a:lnTo>
                <a:lnTo>
                  <a:pt x="526" y="451"/>
                </a:lnTo>
                <a:lnTo>
                  <a:pt x="421" y="451"/>
                </a:lnTo>
                <a:lnTo>
                  <a:pt x="416" y="452"/>
                </a:lnTo>
                <a:lnTo>
                  <a:pt x="413" y="453"/>
                </a:lnTo>
                <a:lnTo>
                  <a:pt x="410" y="456"/>
                </a:lnTo>
                <a:lnTo>
                  <a:pt x="408" y="459"/>
                </a:lnTo>
                <a:lnTo>
                  <a:pt x="407" y="464"/>
                </a:lnTo>
                <a:lnTo>
                  <a:pt x="406" y="468"/>
                </a:lnTo>
                <a:lnTo>
                  <a:pt x="407" y="472"/>
                </a:lnTo>
                <a:lnTo>
                  <a:pt x="409" y="475"/>
                </a:lnTo>
                <a:lnTo>
                  <a:pt x="585" y="692"/>
                </a:lnTo>
                <a:lnTo>
                  <a:pt x="46" y="692"/>
                </a:lnTo>
                <a:close/>
                <a:moveTo>
                  <a:pt x="629" y="698"/>
                </a:moveTo>
                <a:lnTo>
                  <a:pt x="453" y="481"/>
                </a:lnTo>
                <a:lnTo>
                  <a:pt x="557" y="481"/>
                </a:lnTo>
                <a:lnTo>
                  <a:pt x="561" y="481"/>
                </a:lnTo>
                <a:lnTo>
                  <a:pt x="564" y="479"/>
                </a:lnTo>
                <a:lnTo>
                  <a:pt x="568" y="477"/>
                </a:lnTo>
                <a:lnTo>
                  <a:pt x="570" y="473"/>
                </a:lnTo>
                <a:lnTo>
                  <a:pt x="572" y="469"/>
                </a:lnTo>
                <a:lnTo>
                  <a:pt x="572" y="465"/>
                </a:lnTo>
                <a:lnTo>
                  <a:pt x="571" y="460"/>
                </a:lnTo>
                <a:lnTo>
                  <a:pt x="569" y="457"/>
                </a:lnTo>
                <a:lnTo>
                  <a:pt x="422" y="271"/>
                </a:lnTo>
                <a:lnTo>
                  <a:pt x="482" y="271"/>
                </a:lnTo>
                <a:lnTo>
                  <a:pt x="485" y="269"/>
                </a:lnTo>
                <a:lnTo>
                  <a:pt x="489" y="268"/>
                </a:lnTo>
                <a:lnTo>
                  <a:pt x="493" y="265"/>
                </a:lnTo>
                <a:lnTo>
                  <a:pt x="495" y="262"/>
                </a:lnTo>
                <a:lnTo>
                  <a:pt x="496" y="259"/>
                </a:lnTo>
                <a:lnTo>
                  <a:pt x="497" y="254"/>
                </a:lnTo>
                <a:lnTo>
                  <a:pt x="496" y="250"/>
                </a:lnTo>
                <a:lnTo>
                  <a:pt x="494" y="247"/>
                </a:lnTo>
                <a:lnTo>
                  <a:pt x="328" y="6"/>
                </a:lnTo>
                <a:lnTo>
                  <a:pt x="325" y="3"/>
                </a:lnTo>
                <a:lnTo>
                  <a:pt x="323" y="1"/>
                </a:lnTo>
                <a:lnTo>
                  <a:pt x="319" y="0"/>
                </a:lnTo>
                <a:lnTo>
                  <a:pt x="316" y="0"/>
                </a:lnTo>
                <a:lnTo>
                  <a:pt x="312" y="0"/>
                </a:lnTo>
                <a:lnTo>
                  <a:pt x="309" y="1"/>
                </a:lnTo>
                <a:lnTo>
                  <a:pt x="306" y="3"/>
                </a:lnTo>
                <a:lnTo>
                  <a:pt x="304" y="6"/>
                </a:lnTo>
                <a:lnTo>
                  <a:pt x="138" y="247"/>
                </a:lnTo>
                <a:lnTo>
                  <a:pt x="136" y="250"/>
                </a:lnTo>
                <a:lnTo>
                  <a:pt x="135" y="254"/>
                </a:lnTo>
                <a:lnTo>
                  <a:pt x="135" y="259"/>
                </a:lnTo>
                <a:lnTo>
                  <a:pt x="136" y="262"/>
                </a:lnTo>
                <a:lnTo>
                  <a:pt x="140" y="265"/>
                </a:lnTo>
                <a:lnTo>
                  <a:pt x="143" y="268"/>
                </a:lnTo>
                <a:lnTo>
                  <a:pt x="146" y="269"/>
                </a:lnTo>
                <a:lnTo>
                  <a:pt x="150" y="271"/>
                </a:lnTo>
                <a:lnTo>
                  <a:pt x="209" y="271"/>
                </a:lnTo>
                <a:lnTo>
                  <a:pt x="64" y="457"/>
                </a:lnTo>
                <a:lnTo>
                  <a:pt x="61" y="460"/>
                </a:lnTo>
                <a:lnTo>
                  <a:pt x="60" y="465"/>
                </a:lnTo>
                <a:lnTo>
                  <a:pt x="60" y="469"/>
                </a:lnTo>
                <a:lnTo>
                  <a:pt x="61" y="473"/>
                </a:lnTo>
                <a:lnTo>
                  <a:pt x="64" y="477"/>
                </a:lnTo>
                <a:lnTo>
                  <a:pt x="67" y="479"/>
                </a:lnTo>
                <a:lnTo>
                  <a:pt x="71" y="481"/>
                </a:lnTo>
                <a:lnTo>
                  <a:pt x="75" y="481"/>
                </a:lnTo>
                <a:lnTo>
                  <a:pt x="178" y="481"/>
                </a:lnTo>
                <a:lnTo>
                  <a:pt x="3" y="698"/>
                </a:lnTo>
                <a:lnTo>
                  <a:pt x="1" y="701"/>
                </a:lnTo>
                <a:lnTo>
                  <a:pt x="0" y="705"/>
                </a:lnTo>
                <a:lnTo>
                  <a:pt x="0" y="709"/>
                </a:lnTo>
                <a:lnTo>
                  <a:pt x="1" y="714"/>
                </a:lnTo>
                <a:lnTo>
                  <a:pt x="3" y="717"/>
                </a:lnTo>
                <a:lnTo>
                  <a:pt x="7" y="720"/>
                </a:lnTo>
                <a:lnTo>
                  <a:pt x="11" y="721"/>
                </a:lnTo>
                <a:lnTo>
                  <a:pt x="14" y="722"/>
                </a:lnTo>
                <a:lnTo>
                  <a:pt x="301" y="722"/>
                </a:lnTo>
                <a:lnTo>
                  <a:pt x="301" y="888"/>
                </a:lnTo>
                <a:lnTo>
                  <a:pt x="301" y="891"/>
                </a:lnTo>
                <a:lnTo>
                  <a:pt x="302" y="894"/>
                </a:lnTo>
                <a:lnTo>
                  <a:pt x="304" y="896"/>
                </a:lnTo>
                <a:lnTo>
                  <a:pt x="305" y="898"/>
                </a:lnTo>
                <a:lnTo>
                  <a:pt x="307" y="900"/>
                </a:lnTo>
                <a:lnTo>
                  <a:pt x="310" y="901"/>
                </a:lnTo>
                <a:lnTo>
                  <a:pt x="312" y="903"/>
                </a:lnTo>
                <a:lnTo>
                  <a:pt x="316" y="903"/>
                </a:lnTo>
                <a:lnTo>
                  <a:pt x="319" y="903"/>
                </a:lnTo>
                <a:lnTo>
                  <a:pt x="322" y="901"/>
                </a:lnTo>
                <a:lnTo>
                  <a:pt x="324" y="900"/>
                </a:lnTo>
                <a:lnTo>
                  <a:pt x="326" y="898"/>
                </a:lnTo>
                <a:lnTo>
                  <a:pt x="328" y="896"/>
                </a:lnTo>
                <a:lnTo>
                  <a:pt x="330" y="894"/>
                </a:lnTo>
                <a:lnTo>
                  <a:pt x="331" y="891"/>
                </a:lnTo>
                <a:lnTo>
                  <a:pt x="331" y="888"/>
                </a:lnTo>
                <a:lnTo>
                  <a:pt x="331" y="722"/>
                </a:lnTo>
                <a:lnTo>
                  <a:pt x="617" y="722"/>
                </a:lnTo>
                <a:lnTo>
                  <a:pt x="621" y="721"/>
                </a:lnTo>
                <a:lnTo>
                  <a:pt x="624" y="720"/>
                </a:lnTo>
                <a:lnTo>
                  <a:pt x="628" y="717"/>
                </a:lnTo>
                <a:lnTo>
                  <a:pt x="631" y="714"/>
                </a:lnTo>
                <a:lnTo>
                  <a:pt x="632" y="709"/>
                </a:lnTo>
                <a:lnTo>
                  <a:pt x="632" y="705"/>
                </a:lnTo>
                <a:lnTo>
                  <a:pt x="631" y="701"/>
                </a:lnTo>
                <a:lnTo>
                  <a:pt x="629" y="69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875" name="Freeform 7">
            <a:extLst>
              <a:ext uri="{FF2B5EF4-FFF2-40B4-BE49-F238E27FC236}">
                <a16:creationId xmlns:a16="http://schemas.microsoft.com/office/drawing/2014/main" id="{F4567224-227C-4286-B2D0-A439CD418254}"/>
              </a:ext>
            </a:extLst>
          </p:cNvPr>
          <p:cNvSpPr>
            <a:spLocks noChangeAspect="1" noEditPoints="1"/>
          </p:cNvSpPr>
          <p:nvPr/>
        </p:nvSpPr>
        <p:spPr bwMode="auto">
          <a:xfrm>
            <a:off x="3651168" y="5963716"/>
            <a:ext cx="304790" cy="270408"/>
          </a:xfrm>
          <a:custGeom>
            <a:avLst/>
            <a:gdLst>
              <a:gd name="T0" fmla="*/ 161 w 328"/>
              <a:gd name="T1" fmla="*/ 289 h 291"/>
              <a:gd name="T2" fmla="*/ 89 w 328"/>
              <a:gd name="T3" fmla="*/ 237 h 291"/>
              <a:gd name="T4" fmla="*/ 43 w 328"/>
              <a:gd name="T5" fmla="*/ 190 h 291"/>
              <a:gd name="T6" fmla="*/ 12 w 328"/>
              <a:gd name="T7" fmla="*/ 140 h 291"/>
              <a:gd name="T8" fmla="*/ 0 w 328"/>
              <a:gd name="T9" fmla="*/ 90 h 291"/>
              <a:gd name="T10" fmla="*/ 10 w 328"/>
              <a:gd name="T11" fmla="*/ 40 h 291"/>
              <a:gd name="T12" fmla="*/ 25 w 328"/>
              <a:gd name="T13" fmla="*/ 20 h 291"/>
              <a:gd name="T14" fmla="*/ 54 w 328"/>
              <a:gd name="T15" fmla="*/ 3 h 291"/>
              <a:gd name="T16" fmla="*/ 80 w 328"/>
              <a:gd name="T17" fmla="*/ 0 h 291"/>
              <a:gd name="T18" fmla="*/ 117 w 328"/>
              <a:gd name="T19" fmla="*/ 5 h 291"/>
              <a:gd name="T20" fmla="*/ 149 w 328"/>
              <a:gd name="T21" fmla="*/ 20 h 291"/>
              <a:gd name="T22" fmla="*/ 164 w 328"/>
              <a:gd name="T23" fmla="*/ 32 h 291"/>
              <a:gd name="T24" fmla="*/ 189 w 328"/>
              <a:gd name="T25" fmla="*/ 15 h 291"/>
              <a:gd name="T26" fmla="*/ 222 w 328"/>
              <a:gd name="T27" fmla="*/ 3 h 291"/>
              <a:gd name="T28" fmla="*/ 248 w 328"/>
              <a:gd name="T29" fmla="*/ 0 h 291"/>
              <a:gd name="T30" fmla="*/ 284 w 328"/>
              <a:gd name="T31" fmla="*/ 8 h 291"/>
              <a:gd name="T32" fmla="*/ 309 w 328"/>
              <a:gd name="T33" fmla="*/ 28 h 291"/>
              <a:gd name="T34" fmla="*/ 324 w 328"/>
              <a:gd name="T35" fmla="*/ 57 h 291"/>
              <a:gd name="T36" fmla="*/ 326 w 328"/>
              <a:gd name="T37" fmla="*/ 107 h 291"/>
              <a:gd name="T38" fmla="*/ 308 w 328"/>
              <a:gd name="T39" fmla="*/ 157 h 291"/>
              <a:gd name="T40" fmla="*/ 271 w 328"/>
              <a:gd name="T41" fmla="*/ 205 h 291"/>
              <a:gd name="T42" fmla="*/ 204 w 328"/>
              <a:gd name="T43" fmla="*/ 264 h 291"/>
              <a:gd name="T44" fmla="*/ 164 w 328"/>
              <a:gd name="T45" fmla="*/ 291 h 291"/>
              <a:gd name="T46" fmla="*/ 80 w 328"/>
              <a:gd name="T47" fmla="*/ 13 h 291"/>
              <a:gd name="T48" fmla="*/ 50 w 328"/>
              <a:gd name="T49" fmla="*/ 20 h 291"/>
              <a:gd name="T50" fmla="*/ 28 w 328"/>
              <a:gd name="T51" fmla="*/ 37 h 291"/>
              <a:gd name="T52" fmla="*/ 17 w 328"/>
              <a:gd name="T53" fmla="*/ 62 h 291"/>
              <a:gd name="T54" fmla="*/ 15 w 328"/>
              <a:gd name="T55" fmla="*/ 107 h 291"/>
              <a:gd name="T56" fmla="*/ 33 w 328"/>
              <a:gd name="T57" fmla="*/ 154 h 291"/>
              <a:gd name="T58" fmla="*/ 67 w 328"/>
              <a:gd name="T59" fmla="*/ 197 h 291"/>
              <a:gd name="T60" fmla="*/ 129 w 328"/>
              <a:gd name="T61" fmla="*/ 252 h 291"/>
              <a:gd name="T62" fmla="*/ 199 w 328"/>
              <a:gd name="T63" fmla="*/ 252 h 291"/>
              <a:gd name="T64" fmla="*/ 261 w 328"/>
              <a:gd name="T65" fmla="*/ 197 h 291"/>
              <a:gd name="T66" fmla="*/ 294 w 328"/>
              <a:gd name="T67" fmla="*/ 154 h 291"/>
              <a:gd name="T68" fmla="*/ 313 w 328"/>
              <a:gd name="T69" fmla="*/ 107 h 291"/>
              <a:gd name="T70" fmla="*/ 311 w 328"/>
              <a:gd name="T71" fmla="*/ 62 h 291"/>
              <a:gd name="T72" fmla="*/ 299 w 328"/>
              <a:gd name="T73" fmla="*/ 37 h 291"/>
              <a:gd name="T74" fmla="*/ 278 w 328"/>
              <a:gd name="T75" fmla="*/ 20 h 291"/>
              <a:gd name="T76" fmla="*/ 248 w 328"/>
              <a:gd name="T77" fmla="*/ 13 h 291"/>
              <a:gd name="T78" fmla="*/ 222 w 328"/>
              <a:gd name="T79" fmla="*/ 16 h 291"/>
              <a:gd name="T80" fmla="*/ 189 w 328"/>
              <a:gd name="T81" fmla="*/ 30 h 291"/>
              <a:gd name="T82" fmla="*/ 171 w 328"/>
              <a:gd name="T83" fmla="*/ 47 h 291"/>
              <a:gd name="T84" fmla="*/ 164 w 328"/>
              <a:gd name="T85" fmla="*/ 50 h 291"/>
              <a:gd name="T86" fmla="*/ 157 w 328"/>
              <a:gd name="T87" fmla="*/ 47 h 291"/>
              <a:gd name="T88" fmla="*/ 139 w 328"/>
              <a:gd name="T89" fmla="*/ 30 h 291"/>
              <a:gd name="T90" fmla="*/ 105 w 328"/>
              <a:gd name="T91" fmla="*/ 16 h 291"/>
              <a:gd name="T92" fmla="*/ 80 w 328"/>
              <a:gd name="T93" fmla="*/ 1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8" h="291">
                <a:moveTo>
                  <a:pt x="164" y="291"/>
                </a:moveTo>
                <a:lnTo>
                  <a:pt x="164" y="291"/>
                </a:lnTo>
                <a:lnTo>
                  <a:pt x="161" y="289"/>
                </a:lnTo>
                <a:lnTo>
                  <a:pt x="161" y="289"/>
                </a:lnTo>
                <a:lnTo>
                  <a:pt x="124" y="264"/>
                </a:lnTo>
                <a:lnTo>
                  <a:pt x="89" y="237"/>
                </a:lnTo>
                <a:lnTo>
                  <a:pt x="72" y="222"/>
                </a:lnTo>
                <a:lnTo>
                  <a:pt x="57" y="205"/>
                </a:lnTo>
                <a:lnTo>
                  <a:pt x="43" y="190"/>
                </a:lnTo>
                <a:lnTo>
                  <a:pt x="32" y="174"/>
                </a:lnTo>
                <a:lnTo>
                  <a:pt x="20" y="157"/>
                </a:lnTo>
                <a:lnTo>
                  <a:pt x="12" y="140"/>
                </a:lnTo>
                <a:lnTo>
                  <a:pt x="5" y="123"/>
                </a:lnTo>
                <a:lnTo>
                  <a:pt x="2" y="107"/>
                </a:lnTo>
                <a:lnTo>
                  <a:pt x="0" y="90"/>
                </a:lnTo>
                <a:lnTo>
                  <a:pt x="0" y="73"/>
                </a:lnTo>
                <a:lnTo>
                  <a:pt x="3" y="57"/>
                </a:lnTo>
                <a:lnTo>
                  <a:pt x="10" y="40"/>
                </a:lnTo>
                <a:lnTo>
                  <a:pt x="10" y="40"/>
                </a:lnTo>
                <a:lnTo>
                  <a:pt x="18" y="28"/>
                </a:lnTo>
                <a:lnTo>
                  <a:pt x="25" y="20"/>
                </a:lnTo>
                <a:lnTo>
                  <a:pt x="33" y="13"/>
                </a:lnTo>
                <a:lnTo>
                  <a:pt x="43" y="8"/>
                </a:lnTo>
                <a:lnTo>
                  <a:pt x="54" y="3"/>
                </a:lnTo>
                <a:lnTo>
                  <a:pt x="62" y="1"/>
                </a:lnTo>
                <a:lnTo>
                  <a:pt x="80" y="0"/>
                </a:lnTo>
                <a:lnTo>
                  <a:pt x="80" y="0"/>
                </a:lnTo>
                <a:lnTo>
                  <a:pt x="92" y="0"/>
                </a:lnTo>
                <a:lnTo>
                  <a:pt x="105" y="3"/>
                </a:lnTo>
                <a:lnTo>
                  <a:pt x="117" y="5"/>
                </a:lnTo>
                <a:lnTo>
                  <a:pt x="129" y="10"/>
                </a:lnTo>
                <a:lnTo>
                  <a:pt x="139" y="15"/>
                </a:lnTo>
                <a:lnTo>
                  <a:pt x="149" y="20"/>
                </a:lnTo>
                <a:lnTo>
                  <a:pt x="157" y="27"/>
                </a:lnTo>
                <a:lnTo>
                  <a:pt x="164" y="32"/>
                </a:lnTo>
                <a:lnTo>
                  <a:pt x="164" y="32"/>
                </a:lnTo>
                <a:lnTo>
                  <a:pt x="171" y="27"/>
                </a:lnTo>
                <a:lnTo>
                  <a:pt x="179" y="20"/>
                </a:lnTo>
                <a:lnTo>
                  <a:pt x="189" y="15"/>
                </a:lnTo>
                <a:lnTo>
                  <a:pt x="199" y="10"/>
                </a:lnTo>
                <a:lnTo>
                  <a:pt x="211" y="5"/>
                </a:lnTo>
                <a:lnTo>
                  <a:pt x="222" y="3"/>
                </a:lnTo>
                <a:lnTo>
                  <a:pt x="236" y="0"/>
                </a:lnTo>
                <a:lnTo>
                  <a:pt x="248" y="0"/>
                </a:lnTo>
                <a:lnTo>
                  <a:pt x="248" y="0"/>
                </a:lnTo>
                <a:lnTo>
                  <a:pt x="266" y="1"/>
                </a:lnTo>
                <a:lnTo>
                  <a:pt x="274" y="3"/>
                </a:lnTo>
                <a:lnTo>
                  <a:pt x="284" y="8"/>
                </a:lnTo>
                <a:lnTo>
                  <a:pt x="294" y="13"/>
                </a:lnTo>
                <a:lnTo>
                  <a:pt x="303" y="20"/>
                </a:lnTo>
                <a:lnTo>
                  <a:pt x="309" y="28"/>
                </a:lnTo>
                <a:lnTo>
                  <a:pt x="318" y="40"/>
                </a:lnTo>
                <a:lnTo>
                  <a:pt x="318" y="40"/>
                </a:lnTo>
                <a:lnTo>
                  <a:pt x="324" y="57"/>
                </a:lnTo>
                <a:lnTo>
                  <a:pt x="328" y="73"/>
                </a:lnTo>
                <a:lnTo>
                  <a:pt x="328" y="90"/>
                </a:lnTo>
                <a:lnTo>
                  <a:pt x="326" y="107"/>
                </a:lnTo>
                <a:lnTo>
                  <a:pt x="323" y="123"/>
                </a:lnTo>
                <a:lnTo>
                  <a:pt x="316" y="140"/>
                </a:lnTo>
                <a:lnTo>
                  <a:pt x="308" y="157"/>
                </a:lnTo>
                <a:lnTo>
                  <a:pt x="296" y="174"/>
                </a:lnTo>
                <a:lnTo>
                  <a:pt x="284" y="190"/>
                </a:lnTo>
                <a:lnTo>
                  <a:pt x="271" y="205"/>
                </a:lnTo>
                <a:lnTo>
                  <a:pt x="256" y="222"/>
                </a:lnTo>
                <a:lnTo>
                  <a:pt x="239" y="237"/>
                </a:lnTo>
                <a:lnTo>
                  <a:pt x="204" y="264"/>
                </a:lnTo>
                <a:lnTo>
                  <a:pt x="167" y="289"/>
                </a:lnTo>
                <a:lnTo>
                  <a:pt x="167" y="289"/>
                </a:lnTo>
                <a:lnTo>
                  <a:pt x="164" y="291"/>
                </a:lnTo>
                <a:lnTo>
                  <a:pt x="164" y="291"/>
                </a:lnTo>
                <a:close/>
                <a:moveTo>
                  <a:pt x="80" y="13"/>
                </a:moveTo>
                <a:lnTo>
                  <a:pt x="80" y="13"/>
                </a:lnTo>
                <a:lnTo>
                  <a:pt x="65" y="15"/>
                </a:lnTo>
                <a:lnTo>
                  <a:pt x="57" y="16"/>
                </a:lnTo>
                <a:lnTo>
                  <a:pt x="50" y="20"/>
                </a:lnTo>
                <a:lnTo>
                  <a:pt x="42" y="23"/>
                </a:lnTo>
                <a:lnTo>
                  <a:pt x="35" y="30"/>
                </a:lnTo>
                <a:lnTo>
                  <a:pt x="28" y="37"/>
                </a:lnTo>
                <a:lnTo>
                  <a:pt x="23" y="47"/>
                </a:lnTo>
                <a:lnTo>
                  <a:pt x="23" y="47"/>
                </a:lnTo>
                <a:lnTo>
                  <a:pt x="17" y="62"/>
                </a:lnTo>
                <a:lnTo>
                  <a:pt x="13" y="77"/>
                </a:lnTo>
                <a:lnTo>
                  <a:pt x="13" y="92"/>
                </a:lnTo>
                <a:lnTo>
                  <a:pt x="15" y="107"/>
                </a:lnTo>
                <a:lnTo>
                  <a:pt x="18" y="122"/>
                </a:lnTo>
                <a:lnTo>
                  <a:pt x="25" y="137"/>
                </a:lnTo>
                <a:lnTo>
                  <a:pt x="33" y="154"/>
                </a:lnTo>
                <a:lnTo>
                  <a:pt x="43" y="169"/>
                </a:lnTo>
                <a:lnTo>
                  <a:pt x="55" y="184"/>
                </a:lnTo>
                <a:lnTo>
                  <a:pt x="67" y="197"/>
                </a:lnTo>
                <a:lnTo>
                  <a:pt x="82" y="212"/>
                </a:lnTo>
                <a:lnTo>
                  <a:pt x="97" y="225"/>
                </a:lnTo>
                <a:lnTo>
                  <a:pt x="129" y="252"/>
                </a:lnTo>
                <a:lnTo>
                  <a:pt x="164" y="276"/>
                </a:lnTo>
                <a:lnTo>
                  <a:pt x="164" y="276"/>
                </a:lnTo>
                <a:lnTo>
                  <a:pt x="199" y="252"/>
                </a:lnTo>
                <a:lnTo>
                  <a:pt x="231" y="225"/>
                </a:lnTo>
                <a:lnTo>
                  <a:pt x="246" y="212"/>
                </a:lnTo>
                <a:lnTo>
                  <a:pt x="261" y="197"/>
                </a:lnTo>
                <a:lnTo>
                  <a:pt x="273" y="184"/>
                </a:lnTo>
                <a:lnTo>
                  <a:pt x="284" y="169"/>
                </a:lnTo>
                <a:lnTo>
                  <a:pt x="294" y="154"/>
                </a:lnTo>
                <a:lnTo>
                  <a:pt x="303" y="137"/>
                </a:lnTo>
                <a:lnTo>
                  <a:pt x="309" y="122"/>
                </a:lnTo>
                <a:lnTo>
                  <a:pt x="313" y="107"/>
                </a:lnTo>
                <a:lnTo>
                  <a:pt x="314" y="92"/>
                </a:lnTo>
                <a:lnTo>
                  <a:pt x="314" y="77"/>
                </a:lnTo>
                <a:lnTo>
                  <a:pt x="311" y="62"/>
                </a:lnTo>
                <a:lnTo>
                  <a:pt x="304" y="47"/>
                </a:lnTo>
                <a:lnTo>
                  <a:pt x="304" y="47"/>
                </a:lnTo>
                <a:lnTo>
                  <a:pt x="299" y="37"/>
                </a:lnTo>
                <a:lnTo>
                  <a:pt x="293" y="30"/>
                </a:lnTo>
                <a:lnTo>
                  <a:pt x="286" y="23"/>
                </a:lnTo>
                <a:lnTo>
                  <a:pt x="278" y="20"/>
                </a:lnTo>
                <a:lnTo>
                  <a:pt x="271" y="16"/>
                </a:lnTo>
                <a:lnTo>
                  <a:pt x="263" y="15"/>
                </a:lnTo>
                <a:lnTo>
                  <a:pt x="248" y="13"/>
                </a:lnTo>
                <a:lnTo>
                  <a:pt x="248" y="13"/>
                </a:lnTo>
                <a:lnTo>
                  <a:pt x="234" y="13"/>
                </a:lnTo>
                <a:lnTo>
                  <a:pt x="222" y="16"/>
                </a:lnTo>
                <a:lnTo>
                  <a:pt x="209" y="20"/>
                </a:lnTo>
                <a:lnTo>
                  <a:pt x="197" y="25"/>
                </a:lnTo>
                <a:lnTo>
                  <a:pt x="189" y="30"/>
                </a:lnTo>
                <a:lnTo>
                  <a:pt x="181" y="35"/>
                </a:lnTo>
                <a:lnTo>
                  <a:pt x="174" y="42"/>
                </a:lnTo>
                <a:lnTo>
                  <a:pt x="171" y="47"/>
                </a:lnTo>
                <a:lnTo>
                  <a:pt x="171" y="47"/>
                </a:lnTo>
                <a:lnTo>
                  <a:pt x="167" y="48"/>
                </a:lnTo>
                <a:lnTo>
                  <a:pt x="164" y="50"/>
                </a:lnTo>
                <a:lnTo>
                  <a:pt x="161" y="48"/>
                </a:lnTo>
                <a:lnTo>
                  <a:pt x="157" y="47"/>
                </a:lnTo>
                <a:lnTo>
                  <a:pt x="157" y="47"/>
                </a:lnTo>
                <a:lnTo>
                  <a:pt x="154" y="42"/>
                </a:lnTo>
                <a:lnTo>
                  <a:pt x="147" y="35"/>
                </a:lnTo>
                <a:lnTo>
                  <a:pt x="139" y="30"/>
                </a:lnTo>
                <a:lnTo>
                  <a:pt x="130" y="25"/>
                </a:lnTo>
                <a:lnTo>
                  <a:pt x="119" y="20"/>
                </a:lnTo>
                <a:lnTo>
                  <a:pt x="105" y="16"/>
                </a:lnTo>
                <a:lnTo>
                  <a:pt x="94" y="13"/>
                </a:lnTo>
                <a:lnTo>
                  <a:pt x="80" y="13"/>
                </a:lnTo>
                <a:lnTo>
                  <a:pt x="80" y="13"/>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876" name="Freeform 132">
            <a:extLst>
              <a:ext uri="{FF2B5EF4-FFF2-40B4-BE49-F238E27FC236}">
                <a16:creationId xmlns:a16="http://schemas.microsoft.com/office/drawing/2014/main" id="{33F47482-820A-4C2B-BCCE-12A4539B4595}"/>
              </a:ext>
            </a:extLst>
          </p:cNvPr>
          <p:cNvSpPr>
            <a:spLocks noChangeAspect="1" noEditPoints="1"/>
          </p:cNvSpPr>
          <p:nvPr/>
        </p:nvSpPr>
        <p:spPr bwMode="auto">
          <a:xfrm>
            <a:off x="4038326" y="5944848"/>
            <a:ext cx="297873" cy="308144"/>
          </a:xfrm>
          <a:custGeom>
            <a:avLst/>
            <a:gdLst>
              <a:gd name="T0" fmla="*/ 81 w 874"/>
              <a:gd name="T1" fmla="*/ 388 h 904"/>
              <a:gd name="T2" fmla="*/ 50 w 874"/>
              <a:gd name="T3" fmla="*/ 372 h 904"/>
              <a:gd name="T4" fmla="*/ 33 w 874"/>
              <a:gd name="T5" fmla="*/ 341 h 904"/>
              <a:gd name="T6" fmla="*/ 32 w 874"/>
              <a:gd name="T7" fmla="*/ 299 h 904"/>
              <a:gd name="T8" fmla="*/ 51 w 874"/>
              <a:gd name="T9" fmla="*/ 266 h 904"/>
              <a:gd name="T10" fmla="*/ 81 w 874"/>
              <a:gd name="T11" fmla="*/ 246 h 904"/>
              <a:gd name="T12" fmla="*/ 160 w 874"/>
              <a:gd name="T13" fmla="*/ 241 h 904"/>
              <a:gd name="T14" fmla="*/ 193 w 874"/>
              <a:gd name="T15" fmla="*/ 191 h 904"/>
              <a:gd name="T16" fmla="*/ 237 w 874"/>
              <a:gd name="T17" fmla="*/ 157 h 904"/>
              <a:gd name="T18" fmla="*/ 285 w 874"/>
              <a:gd name="T19" fmla="*/ 141 h 904"/>
              <a:gd name="T20" fmla="*/ 314 w 874"/>
              <a:gd name="T21" fmla="*/ 96 h 904"/>
              <a:gd name="T22" fmla="*/ 370 w 874"/>
              <a:gd name="T23" fmla="*/ 47 h 904"/>
              <a:gd name="T24" fmla="*/ 427 w 874"/>
              <a:gd name="T25" fmla="*/ 30 h 904"/>
              <a:gd name="T26" fmla="*/ 472 w 874"/>
              <a:gd name="T27" fmla="*/ 34 h 904"/>
              <a:gd name="T28" fmla="*/ 541 w 874"/>
              <a:gd name="T29" fmla="*/ 75 h 904"/>
              <a:gd name="T30" fmla="*/ 579 w 874"/>
              <a:gd name="T31" fmla="*/ 124 h 904"/>
              <a:gd name="T32" fmla="*/ 615 w 874"/>
              <a:gd name="T33" fmla="*/ 151 h 904"/>
              <a:gd name="T34" fmla="*/ 665 w 874"/>
              <a:gd name="T35" fmla="*/ 176 h 904"/>
              <a:gd name="T36" fmla="*/ 708 w 874"/>
              <a:gd name="T37" fmla="*/ 229 h 904"/>
              <a:gd name="T38" fmla="*/ 780 w 874"/>
              <a:gd name="T39" fmla="*/ 242 h 904"/>
              <a:gd name="T40" fmla="*/ 813 w 874"/>
              <a:gd name="T41" fmla="*/ 256 h 904"/>
              <a:gd name="T42" fmla="*/ 836 w 874"/>
              <a:gd name="T43" fmla="*/ 285 h 904"/>
              <a:gd name="T44" fmla="*/ 844 w 874"/>
              <a:gd name="T45" fmla="*/ 325 h 904"/>
              <a:gd name="T46" fmla="*/ 833 w 874"/>
              <a:gd name="T47" fmla="*/ 362 h 904"/>
              <a:gd name="T48" fmla="*/ 807 w 874"/>
              <a:gd name="T49" fmla="*/ 384 h 904"/>
              <a:gd name="T50" fmla="*/ 769 w 874"/>
              <a:gd name="T51" fmla="*/ 391 h 904"/>
              <a:gd name="T52" fmla="*/ 323 w 874"/>
              <a:gd name="T53" fmla="*/ 421 h 904"/>
              <a:gd name="T54" fmla="*/ 357 w 874"/>
              <a:gd name="T55" fmla="*/ 873 h 904"/>
              <a:gd name="T56" fmla="*/ 732 w 874"/>
              <a:gd name="T57" fmla="*/ 211 h 904"/>
              <a:gd name="T58" fmla="*/ 684 w 874"/>
              <a:gd name="T59" fmla="*/ 152 h 904"/>
              <a:gd name="T60" fmla="*/ 636 w 874"/>
              <a:gd name="T61" fmla="*/ 126 h 904"/>
              <a:gd name="T62" fmla="*/ 586 w 874"/>
              <a:gd name="T63" fmla="*/ 80 h 904"/>
              <a:gd name="T64" fmla="*/ 534 w 874"/>
              <a:gd name="T65" fmla="*/ 30 h 904"/>
              <a:gd name="T66" fmla="*/ 456 w 874"/>
              <a:gd name="T67" fmla="*/ 1 h 904"/>
              <a:gd name="T68" fmla="*/ 368 w 874"/>
              <a:gd name="T69" fmla="*/ 14 h 904"/>
              <a:gd name="T70" fmla="*/ 306 w 874"/>
              <a:gd name="T71" fmla="*/ 60 h 904"/>
              <a:gd name="T72" fmla="*/ 262 w 874"/>
              <a:gd name="T73" fmla="*/ 122 h 904"/>
              <a:gd name="T74" fmla="*/ 208 w 874"/>
              <a:gd name="T75" fmla="*/ 140 h 904"/>
              <a:gd name="T76" fmla="*/ 157 w 874"/>
              <a:gd name="T77" fmla="*/ 187 h 904"/>
              <a:gd name="T78" fmla="*/ 88 w 874"/>
              <a:gd name="T79" fmla="*/ 212 h 904"/>
              <a:gd name="T80" fmla="*/ 45 w 874"/>
              <a:gd name="T81" fmla="*/ 231 h 904"/>
              <a:gd name="T82" fmla="*/ 10 w 874"/>
              <a:gd name="T83" fmla="*/ 271 h 904"/>
              <a:gd name="T84" fmla="*/ 1 w 874"/>
              <a:gd name="T85" fmla="*/ 328 h 904"/>
              <a:gd name="T86" fmla="*/ 17 w 874"/>
              <a:gd name="T87" fmla="*/ 379 h 904"/>
              <a:gd name="T88" fmla="*/ 52 w 874"/>
              <a:gd name="T89" fmla="*/ 411 h 904"/>
              <a:gd name="T90" fmla="*/ 105 w 874"/>
              <a:gd name="T91" fmla="*/ 421 h 904"/>
              <a:gd name="T92" fmla="*/ 252 w 874"/>
              <a:gd name="T93" fmla="*/ 633 h 904"/>
              <a:gd name="T94" fmla="*/ 241 w 874"/>
              <a:gd name="T95" fmla="*/ 646 h 904"/>
              <a:gd name="T96" fmla="*/ 338 w 874"/>
              <a:gd name="T97" fmla="*/ 901 h 904"/>
              <a:gd name="T98" fmla="*/ 535 w 874"/>
              <a:gd name="T99" fmla="*/ 901 h 904"/>
              <a:gd name="T100" fmla="*/ 633 w 874"/>
              <a:gd name="T101" fmla="*/ 646 h 904"/>
              <a:gd name="T102" fmla="*/ 621 w 874"/>
              <a:gd name="T103" fmla="*/ 633 h 904"/>
              <a:gd name="T104" fmla="*/ 769 w 874"/>
              <a:gd name="T105" fmla="*/ 421 h 904"/>
              <a:gd name="T106" fmla="*/ 822 w 874"/>
              <a:gd name="T107" fmla="*/ 411 h 904"/>
              <a:gd name="T108" fmla="*/ 857 w 874"/>
              <a:gd name="T109" fmla="*/ 379 h 904"/>
              <a:gd name="T110" fmla="*/ 874 w 874"/>
              <a:gd name="T111" fmla="*/ 328 h 904"/>
              <a:gd name="T112" fmla="*/ 864 w 874"/>
              <a:gd name="T113" fmla="*/ 271 h 904"/>
              <a:gd name="T114" fmla="*/ 830 w 874"/>
              <a:gd name="T115" fmla="*/ 231 h 904"/>
              <a:gd name="T116" fmla="*/ 785 w 874"/>
              <a:gd name="T117" fmla="*/ 2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4" h="904">
                <a:moveTo>
                  <a:pt x="769" y="391"/>
                </a:moveTo>
                <a:lnTo>
                  <a:pt x="105" y="391"/>
                </a:lnTo>
                <a:lnTo>
                  <a:pt x="97" y="390"/>
                </a:lnTo>
                <a:lnTo>
                  <a:pt x="88" y="390"/>
                </a:lnTo>
                <a:lnTo>
                  <a:pt x="81" y="388"/>
                </a:lnTo>
                <a:lnTo>
                  <a:pt x="73" y="386"/>
                </a:lnTo>
                <a:lnTo>
                  <a:pt x="67" y="384"/>
                </a:lnTo>
                <a:lnTo>
                  <a:pt x="61" y="381"/>
                </a:lnTo>
                <a:lnTo>
                  <a:pt x="55" y="377"/>
                </a:lnTo>
                <a:lnTo>
                  <a:pt x="50" y="372"/>
                </a:lnTo>
                <a:lnTo>
                  <a:pt x="46" y="367"/>
                </a:lnTo>
                <a:lnTo>
                  <a:pt x="41" y="362"/>
                </a:lnTo>
                <a:lnTo>
                  <a:pt x="38" y="355"/>
                </a:lnTo>
                <a:lnTo>
                  <a:pt x="35" y="349"/>
                </a:lnTo>
                <a:lnTo>
                  <a:pt x="33" y="341"/>
                </a:lnTo>
                <a:lnTo>
                  <a:pt x="32" y="334"/>
                </a:lnTo>
                <a:lnTo>
                  <a:pt x="31" y="325"/>
                </a:lnTo>
                <a:lnTo>
                  <a:pt x="31" y="316"/>
                </a:lnTo>
                <a:lnTo>
                  <a:pt x="31" y="307"/>
                </a:lnTo>
                <a:lnTo>
                  <a:pt x="32" y="299"/>
                </a:lnTo>
                <a:lnTo>
                  <a:pt x="35" y="292"/>
                </a:lnTo>
                <a:lnTo>
                  <a:pt x="38" y="285"/>
                </a:lnTo>
                <a:lnTo>
                  <a:pt x="41" y="278"/>
                </a:lnTo>
                <a:lnTo>
                  <a:pt x="46" y="272"/>
                </a:lnTo>
                <a:lnTo>
                  <a:pt x="51" y="266"/>
                </a:lnTo>
                <a:lnTo>
                  <a:pt x="56" y="261"/>
                </a:lnTo>
                <a:lnTo>
                  <a:pt x="62" y="256"/>
                </a:lnTo>
                <a:lnTo>
                  <a:pt x="68" y="252"/>
                </a:lnTo>
                <a:lnTo>
                  <a:pt x="74" y="248"/>
                </a:lnTo>
                <a:lnTo>
                  <a:pt x="81" y="246"/>
                </a:lnTo>
                <a:lnTo>
                  <a:pt x="87" y="244"/>
                </a:lnTo>
                <a:lnTo>
                  <a:pt x="94" y="242"/>
                </a:lnTo>
                <a:lnTo>
                  <a:pt x="99" y="241"/>
                </a:lnTo>
                <a:lnTo>
                  <a:pt x="105" y="241"/>
                </a:lnTo>
                <a:lnTo>
                  <a:pt x="160" y="241"/>
                </a:lnTo>
                <a:lnTo>
                  <a:pt x="164" y="233"/>
                </a:lnTo>
                <a:lnTo>
                  <a:pt x="166" y="229"/>
                </a:lnTo>
                <a:lnTo>
                  <a:pt x="172" y="219"/>
                </a:lnTo>
                <a:lnTo>
                  <a:pt x="181" y="206"/>
                </a:lnTo>
                <a:lnTo>
                  <a:pt x="193" y="191"/>
                </a:lnTo>
                <a:lnTo>
                  <a:pt x="201" y="183"/>
                </a:lnTo>
                <a:lnTo>
                  <a:pt x="208" y="176"/>
                </a:lnTo>
                <a:lnTo>
                  <a:pt x="218" y="169"/>
                </a:lnTo>
                <a:lnTo>
                  <a:pt x="226" y="163"/>
                </a:lnTo>
                <a:lnTo>
                  <a:pt x="237" y="157"/>
                </a:lnTo>
                <a:lnTo>
                  <a:pt x="248" y="154"/>
                </a:lnTo>
                <a:lnTo>
                  <a:pt x="260" y="151"/>
                </a:lnTo>
                <a:lnTo>
                  <a:pt x="271" y="150"/>
                </a:lnTo>
                <a:lnTo>
                  <a:pt x="281" y="150"/>
                </a:lnTo>
                <a:lnTo>
                  <a:pt x="285" y="141"/>
                </a:lnTo>
                <a:lnTo>
                  <a:pt x="287" y="137"/>
                </a:lnTo>
                <a:lnTo>
                  <a:pt x="295" y="124"/>
                </a:lnTo>
                <a:lnTo>
                  <a:pt x="300" y="116"/>
                </a:lnTo>
                <a:lnTo>
                  <a:pt x="307" y="106"/>
                </a:lnTo>
                <a:lnTo>
                  <a:pt x="314" y="96"/>
                </a:lnTo>
                <a:lnTo>
                  <a:pt x="323" y="86"/>
                </a:lnTo>
                <a:lnTo>
                  <a:pt x="332" y="75"/>
                </a:lnTo>
                <a:lnTo>
                  <a:pt x="344" y="65"/>
                </a:lnTo>
                <a:lnTo>
                  <a:pt x="356" y="56"/>
                </a:lnTo>
                <a:lnTo>
                  <a:pt x="370" y="47"/>
                </a:lnTo>
                <a:lnTo>
                  <a:pt x="385" y="40"/>
                </a:lnTo>
                <a:lnTo>
                  <a:pt x="401" y="34"/>
                </a:lnTo>
                <a:lnTo>
                  <a:pt x="409" y="32"/>
                </a:lnTo>
                <a:lnTo>
                  <a:pt x="418" y="31"/>
                </a:lnTo>
                <a:lnTo>
                  <a:pt x="427" y="30"/>
                </a:lnTo>
                <a:lnTo>
                  <a:pt x="437" y="30"/>
                </a:lnTo>
                <a:lnTo>
                  <a:pt x="447" y="30"/>
                </a:lnTo>
                <a:lnTo>
                  <a:pt x="455" y="31"/>
                </a:lnTo>
                <a:lnTo>
                  <a:pt x="464" y="32"/>
                </a:lnTo>
                <a:lnTo>
                  <a:pt x="472" y="34"/>
                </a:lnTo>
                <a:lnTo>
                  <a:pt x="490" y="40"/>
                </a:lnTo>
                <a:lnTo>
                  <a:pt x="503" y="47"/>
                </a:lnTo>
                <a:lnTo>
                  <a:pt x="517" y="56"/>
                </a:lnTo>
                <a:lnTo>
                  <a:pt x="530" y="65"/>
                </a:lnTo>
                <a:lnTo>
                  <a:pt x="541" y="75"/>
                </a:lnTo>
                <a:lnTo>
                  <a:pt x="552" y="86"/>
                </a:lnTo>
                <a:lnTo>
                  <a:pt x="560" y="96"/>
                </a:lnTo>
                <a:lnTo>
                  <a:pt x="568" y="106"/>
                </a:lnTo>
                <a:lnTo>
                  <a:pt x="574" y="116"/>
                </a:lnTo>
                <a:lnTo>
                  <a:pt x="579" y="124"/>
                </a:lnTo>
                <a:lnTo>
                  <a:pt x="587" y="137"/>
                </a:lnTo>
                <a:lnTo>
                  <a:pt x="589" y="141"/>
                </a:lnTo>
                <a:lnTo>
                  <a:pt x="592" y="150"/>
                </a:lnTo>
                <a:lnTo>
                  <a:pt x="603" y="150"/>
                </a:lnTo>
                <a:lnTo>
                  <a:pt x="615" y="151"/>
                </a:lnTo>
                <a:lnTo>
                  <a:pt x="626" y="154"/>
                </a:lnTo>
                <a:lnTo>
                  <a:pt x="637" y="157"/>
                </a:lnTo>
                <a:lnTo>
                  <a:pt x="647" y="163"/>
                </a:lnTo>
                <a:lnTo>
                  <a:pt x="656" y="169"/>
                </a:lnTo>
                <a:lnTo>
                  <a:pt x="665" y="176"/>
                </a:lnTo>
                <a:lnTo>
                  <a:pt x="673" y="183"/>
                </a:lnTo>
                <a:lnTo>
                  <a:pt x="681" y="191"/>
                </a:lnTo>
                <a:lnTo>
                  <a:pt x="693" y="206"/>
                </a:lnTo>
                <a:lnTo>
                  <a:pt x="702" y="219"/>
                </a:lnTo>
                <a:lnTo>
                  <a:pt x="708" y="229"/>
                </a:lnTo>
                <a:lnTo>
                  <a:pt x="710" y="233"/>
                </a:lnTo>
                <a:lnTo>
                  <a:pt x="714" y="241"/>
                </a:lnTo>
                <a:lnTo>
                  <a:pt x="769" y="241"/>
                </a:lnTo>
                <a:lnTo>
                  <a:pt x="774" y="241"/>
                </a:lnTo>
                <a:lnTo>
                  <a:pt x="780" y="242"/>
                </a:lnTo>
                <a:lnTo>
                  <a:pt x="787" y="244"/>
                </a:lnTo>
                <a:lnTo>
                  <a:pt x="793" y="246"/>
                </a:lnTo>
                <a:lnTo>
                  <a:pt x="800" y="248"/>
                </a:lnTo>
                <a:lnTo>
                  <a:pt x="806" y="252"/>
                </a:lnTo>
                <a:lnTo>
                  <a:pt x="813" y="256"/>
                </a:lnTo>
                <a:lnTo>
                  <a:pt x="818" y="261"/>
                </a:lnTo>
                <a:lnTo>
                  <a:pt x="823" y="266"/>
                </a:lnTo>
                <a:lnTo>
                  <a:pt x="829" y="272"/>
                </a:lnTo>
                <a:lnTo>
                  <a:pt x="833" y="278"/>
                </a:lnTo>
                <a:lnTo>
                  <a:pt x="836" y="285"/>
                </a:lnTo>
                <a:lnTo>
                  <a:pt x="839" y="292"/>
                </a:lnTo>
                <a:lnTo>
                  <a:pt x="841" y="299"/>
                </a:lnTo>
                <a:lnTo>
                  <a:pt x="844" y="307"/>
                </a:lnTo>
                <a:lnTo>
                  <a:pt x="844" y="316"/>
                </a:lnTo>
                <a:lnTo>
                  <a:pt x="844" y="325"/>
                </a:lnTo>
                <a:lnTo>
                  <a:pt x="842" y="334"/>
                </a:lnTo>
                <a:lnTo>
                  <a:pt x="840" y="341"/>
                </a:lnTo>
                <a:lnTo>
                  <a:pt x="838" y="349"/>
                </a:lnTo>
                <a:lnTo>
                  <a:pt x="836" y="355"/>
                </a:lnTo>
                <a:lnTo>
                  <a:pt x="833" y="362"/>
                </a:lnTo>
                <a:lnTo>
                  <a:pt x="829" y="367"/>
                </a:lnTo>
                <a:lnTo>
                  <a:pt x="824" y="372"/>
                </a:lnTo>
                <a:lnTo>
                  <a:pt x="819" y="377"/>
                </a:lnTo>
                <a:lnTo>
                  <a:pt x="814" y="381"/>
                </a:lnTo>
                <a:lnTo>
                  <a:pt x="807" y="384"/>
                </a:lnTo>
                <a:lnTo>
                  <a:pt x="801" y="386"/>
                </a:lnTo>
                <a:lnTo>
                  <a:pt x="793" y="388"/>
                </a:lnTo>
                <a:lnTo>
                  <a:pt x="786" y="390"/>
                </a:lnTo>
                <a:lnTo>
                  <a:pt x="777" y="390"/>
                </a:lnTo>
                <a:lnTo>
                  <a:pt x="769" y="391"/>
                </a:lnTo>
                <a:close/>
                <a:moveTo>
                  <a:pt x="452" y="521"/>
                </a:moveTo>
                <a:lnTo>
                  <a:pt x="452" y="421"/>
                </a:lnTo>
                <a:lnTo>
                  <a:pt x="552" y="421"/>
                </a:lnTo>
                <a:lnTo>
                  <a:pt x="452" y="521"/>
                </a:lnTo>
                <a:close/>
                <a:moveTo>
                  <a:pt x="323" y="421"/>
                </a:moveTo>
                <a:lnTo>
                  <a:pt x="422" y="421"/>
                </a:lnTo>
                <a:lnTo>
                  <a:pt x="422" y="521"/>
                </a:lnTo>
                <a:lnTo>
                  <a:pt x="323" y="421"/>
                </a:lnTo>
                <a:close/>
                <a:moveTo>
                  <a:pt x="517" y="873"/>
                </a:moveTo>
                <a:lnTo>
                  <a:pt x="357" y="873"/>
                </a:lnTo>
                <a:lnTo>
                  <a:pt x="278" y="662"/>
                </a:lnTo>
                <a:lnTo>
                  <a:pt x="596" y="662"/>
                </a:lnTo>
                <a:lnTo>
                  <a:pt x="517" y="873"/>
                </a:lnTo>
                <a:close/>
                <a:moveTo>
                  <a:pt x="769" y="211"/>
                </a:moveTo>
                <a:lnTo>
                  <a:pt x="732" y="211"/>
                </a:lnTo>
                <a:lnTo>
                  <a:pt x="726" y="200"/>
                </a:lnTo>
                <a:lnTo>
                  <a:pt x="717" y="187"/>
                </a:lnTo>
                <a:lnTo>
                  <a:pt x="706" y="173"/>
                </a:lnTo>
                <a:lnTo>
                  <a:pt x="692" y="159"/>
                </a:lnTo>
                <a:lnTo>
                  <a:pt x="684" y="152"/>
                </a:lnTo>
                <a:lnTo>
                  <a:pt x="676" y="145"/>
                </a:lnTo>
                <a:lnTo>
                  <a:pt x="666" y="140"/>
                </a:lnTo>
                <a:lnTo>
                  <a:pt x="656" y="134"/>
                </a:lnTo>
                <a:lnTo>
                  <a:pt x="647" y="129"/>
                </a:lnTo>
                <a:lnTo>
                  <a:pt x="636" y="126"/>
                </a:lnTo>
                <a:lnTo>
                  <a:pt x="624" y="123"/>
                </a:lnTo>
                <a:lnTo>
                  <a:pt x="613" y="122"/>
                </a:lnTo>
                <a:lnTo>
                  <a:pt x="605" y="108"/>
                </a:lnTo>
                <a:lnTo>
                  <a:pt x="593" y="90"/>
                </a:lnTo>
                <a:lnTo>
                  <a:pt x="586" y="80"/>
                </a:lnTo>
                <a:lnTo>
                  <a:pt x="578" y="70"/>
                </a:lnTo>
                <a:lnTo>
                  <a:pt x="569" y="60"/>
                </a:lnTo>
                <a:lnTo>
                  <a:pt x="558" y="49"/>
                </a:lnTo>
                <a:lnTo>
                  <a:pt x="547" y="40"/>
                </a:lnTo>
                <a:lnTo>
                  <a:pt x="534" y="30"/>
                </a:lnTo>
                <a:lnTo>
                  <a:pt x="522" y="21"/>
                </a:lnTo>
                <a:lnTo>
                  <a:pt x="507" y="14"/>
                </a:lnTo>
                <a:lnTo>
                  <a:pt x="491" y="9"/>
                </a:lnTo>
                <a:lnTo>
                  <a:pt x="475" y="3"/>
                </a:lnTo>
                <a:lnTo>
                  <a:pt x="456" y="1"/>
                </a:lnTo>
                <a:lnTo>
                  <a:pt x="437" y="0"/>
                </a:lnTo>
                <a:lnTo>
                  <a:pt x="418" y="1"/>
                </a:lnTo>
                <a:lnTo>
                  <a:pt x="400" y="3"/>
                </a:lnTo>
                <a:lnTo>
                  <a:pt x="383" y="9"/>
                </a:lnTo>
                <a:lnTo>
                  <a:pt x="368" y="14"/>
                </a:lnTo>
                <a:lnTo>
                  <a:pt x="353" y="21"/>
                </a:lnTo>
                <a:lnTo>
                  <a:pt x="339" y="30"/>
                </a:lnTo>
                <a:lnTo>
                  <a:pt x="327" y="40"/>
                </a:lnTo>
                <a:lnTo>
                  <a:pt x="315" y="49"/>
                </a:lnTo>
                <a:lnTo>
                  <a:pt x="306" y="60"/>
                </a:lnTo>
                <a:lnTo>
                  <a:pt x="296" y="70"/>
                </a:lnTo>
                <a:lnTo>
                  <a:pt x="287" y="80"/>
                </a:lnTo>
                <a:lnTo>
                  <a:pt x="281" y="90"/>
                </a:lnTo>
                <a:lnTo>
                  <a:pt x="269" y="108"/>
                </a:lnTo>
                <a:lnTo>
                  <a:pt x="262" y="122"/>
                </a:lnTo>
                <a:lnTo>
                  <a:pt x="250" y="123"/>
                </a:lnTo>
                <a:lnTo>
                  <a:pt x="238" y="126"/>
                </a:lnTo>
                <a:lnTo>
                  <a:pt x="227" y="129"/>
                </a:lnTo>
                <a:lnTo>
                  <a:pt x="218" y="134"/>
                </a:lnTo>
                <a:lnTo>
                  <a:pt x="208" y="140"/>
                </a:lnTo>
                <a:lnTo>
                  <a:pt x="199" y="145"/>
                </a:lnTo>
                <a:lnTo>
                  <a:pt x="190" y="152"/>
                </a:lnTo>
                <a:lnTo>
                  <a:pt x="183" y="159"/>
                </a:lnTo>
                <a:lnTo>
                  <a:pt x="169" y="173"/>
                </a:lnTo>
                <a:lnTo>
                  <a:pt x="157" y="187"/>
                </a:lnTo>
                <a:lnTo>
                  <a:pt x="148" y="200"/>
                </a:lnTo>
                <a:lnTo>
                  <a:pt x="142" y="211"/>
                </a:lnTo>
                <a:lnTo>
                  <a:pt x="105" y="211"/>
                </a:lnTo>
                <a:lnTo>
                  <a:pt x="97" y="211"/>
                </a:lnTo>
                <a:lnTo>
                  <a:pt x="88" y="212"/>
                </a:lnTo>
                <a:lnTo>
                  <a:pt x="80" y="214"/>
                </a:lnTo>
                <a:lnTo>
                  <a:pt x="71" y="217"/>
                </a:lnTo>
                <a:lnTo>
                  <a:pt x="62" y="221"/>
                </a:lnTo>
                <a:lnTo>
                  <a:pt x="53" y="226"/>
                </a:lnTo>
                <a:lnTo>
                  <a:pt x="45" y="231"/>
                </a:lnTo>
                <a:lnTo>
                  <a:pt x="37" y="237"/>
                </a:lnTo>
                <a:lnTo>
                  <a:pt x="30" y="245"/>
                </a:lnTo>
                <a:lnTo>
                  <a:pt x="22" y="252"/>
                </a:lnTo>
                <a:lnTo>
                  <a:pt x="16" y="261"/>
                </a:lnTo>
                <a:lnTo>
                  <a:pt x="10" y="271"/>
                </a:lnTo>
                <a:lnTo>
                  <a:pt x="6" y="281"/>
                </a:lnTo>
                <a:lnTo>
                  <a:pt x="3" y="292"/>
                </a:lnTo>
                <a:lnTo>
                  <a:pt x="1" y="304"/>
                </a:lnTo>
                <a:lnTo>
                  <a:pt x="0" y="316"/>
                </a:lnTo>
                <a:lnTo>
                  <a:pt x="1" y="328"/>
                </a:lnTo>
                <a:lnTo>
                  <a:pt x="2" y="339"/>
                </a:lnTo>
                <a:lnTo>
                  <a:pt x="4" y="350"/>
                </a:lnTo>
                <a:lnTo>
                  <a:pt x="7" y="360"/>
                </a:lnTo>
                <a:lnTo>
                  <a:pt x="11" y="370"/>
                </a:lnTo>
                <a:lnTo>
                  <a:pt x="17" y="379"/>
                </a:lnTo>
                <a:lnTo>
                  <a:pt x="22" y="386"/>
                </a:lnTo>
                <a:lnTo>
                  <a:pt x="28" y="394"/>
                </a:lnTo>
                <a:lnTo>
                  <a:pt x="36" y="400"/>
                </a:lnTo>
                <a:lnTo>
                  <a:pt x="43" y="405"/>
                </a:lnTo>
                <a:lnTo>
                  <a:pt x="52" y="411"/>
                </a:lnTo>
                <a:lnTo>
                  <a:pt x="62" y="414"/>
                </a:lnTo>
                <a:lnTo>
                  <a:pt x="71" y="417"/>
                </a:lnTo>
                <a:lnTo>
                  <a:pt x="82" y="419"/>
                </a:lnTo>
                <a:lnTo>
                  <a:pt x="94" y="420"/>
                </a:lnTo>
                <a:lnTo>
                  <a:pt x="105" y="421"/>
                </a:lnTo>
                <a:lnTo>
                  <a:pt x="280" y="421"/>
                </a:lnTo>
                <a:lnTo>
                  <a:pt x="422" y="565"/>
                </a:lnTo>
                <a:lnTo>
                  <a:pt x="422" y="632"/>
                </a:lnTo>
                <a:lnTo>
                  <a:pt x="256" y="632"/>
                </a:lnTo>
                <a:lnTo>
                  <a:pt x="252" y="633"/>
                </a:lnTo>
                <a:lnTo>
                  <a:pt x="249" y="634"/>
                </a:lnTo>
                <a:lnTo>
                  <a:pt x="247" y="636"/>
                </a:lnTo>
                <a:lnTo>
                  <a:pt x="243" y="640"/>
                </a:lnTo>
                <a:lnTo>
                  <a:pt x="242" y="643"/>
                </a:lnTo>
                <a:lnTo>
                  <a:pt x="241" y="646"/>
                </a:lnTo>
                <a:lnTo>
                  <a:pt x="241" y="649"/>
                </a:lnTo>
                <a:lnTo>
                  <a:pt x="242" y="654"/>
                </a:lnTo>
                <a:lnTo>
                  <a:pt x="332" y="894"/>
                </a:lnTo>
                <a:lnTo>
                  <a:pt x="334" y="898"/>
                </a:lnTo>
                <a:lnTo>
                  <a:pt x="338" y="901"/>
                </a:lnTo>
                <a:lnTo>
                  <a:pt x="342" y="903"/>
                </a:lnTo>
                <a:lnTo>
                  <a:pt x="346" y="904"/>
                </a:lnTo>
                <a:lnTo>
                  <a:pt x="527" y="904"/>
                </a:lnTo>
                <a:lnTo>
                  <a:pt x="532" y="903"/>
                </a:lnTo>
                <a:lnTo>
                  <a:pt x="535" y="901"/>
                </a:lnTo>
                <a:lnTo>
                  <a:pt x="539" y="898"/>
                </a:lnTo>
                <a:lnTo>
                  <a:pt x="542" y="894"/>
                </a:lnTo>
                <a:lnTo>
                  <a:pt x="632" y="654"/>
                </a:lnTo>
                <a:lnTo>
                  <a:pt x="633" y="649"/>
                </a:lnTo>
                <a:lnTo>
                  <a:pt x="633" y="646"/>
                </a:lnTo>
                <a:lnTo>
                  <a:pt x="632" y="643"/>
                </a:lnTo>
                <a:lnTo>
                  <a:pt x="630" y="640"/>
                </a:lnTo>
                <a:lnTo>
                  <a:pt x="627" y="636"/>
                </a:lnTo>
                <a:lnTo>
                  <a:pt x="624" y="634"/>
                </a:lnTo>
                <a:lnTo>
                  <a:pt x="621" y="633"/>
                </a:lnTo>
                <a:lnTo>
                  <a:pt x="618" y="632"/>
                </a:lnTo>
                <a:lnTo>
                  <a:pt x="452" y="632"/>
                </a:lnTo>
                <a:lnTo>
                  <a:pt x="452" y="565"/>
                </a:lnTo>
                <a:lnTo>
                  <a:pt x="593" y="421"/>
                </a:lnTo>
                <a:lnTo>
                  <a:pt x="769" y="421"/>
                </a:lnTo>
                <a:lnTo>
                  <a:pt x="780" y="420"/>
                </a:lnTo>
                <a:lnTo>
                  <a:pt x="791" y="419"/>
                </a:lnTo>
                <a:lnTo>
                  <a:pt x="802" y="417"/>
                </a:lnTo>
                <a:lnTo>
                  <a:pt x="813" y="414"/>
                </a:lnTo>
                <a:lnTo>
                  <a:pt x="822" y="411"/>
                </a:lnTo>
                <a:lnTo>
                  <a:pt x="831" y="405"/>
                </a:lnTo>
                <a:lnTo>
                  <a:pt x="838" y="400"/>
                </a:lnTo>
                <a:lnTo>
                  <a:pt x="846" y="394"/>
                </a:lnTo>
                <a:lnTo>
                  <a:pt x="852" y="386"/>
                </a:lnTo>
                <a:lnTo>
                  <a:pt x="857" y="379"/>
                </a:lnTo>
                <a:lnTo>
                  <a:pt x="863" y="370"/>
                </a:lnTo>
                <a:lnTo>
                  <a:pt x="866" y="360"/>
                </a:lnTo>
                <a:lnTo>
                  <a:pt x="869" y="350"/>
                </a:lnTo>
                <a:lnTo>
                  <a:pt x="872" y="339"/>
                </a:lnTo>
                <a:lnTo>
                  <a:pt x="874" y="328"/>
                </a:lnTo>
                <a:lnTo>
                  <a:pt x="874" y="316"/>
                </a:lnTo>
                <a:lnTo>
                  <a:pt x="874" y="304"/>
                </a:lnTo>
                <a:lnTo>
                  <a:pt x="871" y="292"/>
                </a:lnTo>
                <a:lnTo>
                  <a:pt x="868" y="281"/>
                </a:lnTo>
                <a:lnTo>
                  <a:pt x="864" y="271"/>
                </a:lnTo>
                <a:lnTo>
                  <a:pt x="859" y="261"/>
                </a:lnTo>
                <a:lnTo>
                  <a:pt x="852" y="252"/>
                </a:lnTo>
                <a:lnTo>
                  <a:pt x="845" y="245"/>
                </a:lnTo>
                <a:lnTo>
                  <a:pt x="837" y="237"/>
                </a:lnTo>
                <a:lnTo>
                  <a:pt x="830" y="231"/>
                </a:lnTo>
                <a:lnTo>
                  <a:pt x="821" y="226"/>
                </a:lnTo>
                <a:lnTo>
                  <a:pt x="811" y="221"/>
                </a:lnTo>
                <a:lnTo>
                  <a:pt x="803" y="217"/>
                </a:lnTo>
                <a:lnTo>
                  <a:pt x="794" y="214"/>
                </a:lnTo>
                <a:lnTo>
                  <a:pt x="785" y="212"/>
                </a:lnTo>
                <a:lnTo>
                  <a:pt x="776" y="211"/>
                </a:lnTo>
                <a:lnTo>
                  <a:pt x="769" y="21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877" name="Group 411">
            <a:extLst>
              <a:ext uri="{FF2B5EF4-FFF2-40B4-BE49-F238E27FC236}">
                <a16:creationId xmlns:a16="http://schemas.microsoft.com/office/drawing/2014/main" id="{F0D89D77-FE29-4514-94C0-6C56D62C61EF}"/>
              </a:ext>
            </a:extLst>
          </p:cNvPr>
          <p:cNvGrpSpPr>
            <a:grpSpLocks noChangeAspect="1"/>
          </p:cNvGrpSpPr>
          <p:nvPr/>
        </p:nvGrpSpPr>
        <p:grpSpPr>
          <a:xfrm>
            <a:off x="4442867" y="5944848"/>
            <a:ext cx="300243" cy="308144"/>
            <a:chOff x="7383463" y="835025"/>
            <a:chExt cx="361950" cy="371475"/>
          </a:xfrm>
          <a:solidFill>
            <a:schemeClr val="bg2"/>
          </a:solidFill>
          <a:effectLst/>
        </p:grpSpPr>
        <p:sp>
          <p:nvSpPr>
            <p:cNvPr id="878" name="Freeform 37">
              <a:extLst>
                <a:ext uri="{FF2B5EF4-FFF2-40B4-BE49-F238E27FC236}">
                  <a16:creationId xmlns:a16="http://schemas.microsoft.com/office/drawing/2014/main" id="{A5EB7B74-2661-4EC8-B295-E7134A6D9C63}"/>
                </a:ext>
              </a:extLst>
            </p:cNvPr>
            <p:cNvSpPr>
              <a:spLocks noEditPoints="1"/>
            </p:cNvSpPr>
            <p:nvPr/>
          </p:nvSpPr>
          <p:spPr bwMode="auto">
            <a:xfrm>
              <a:off x="7383463" y="835025"/>
              <a:ext cx="169863" cy="293688"/>
            </a:xfrm>
            <a:custGeom>
              <a:avLst/>
              <a:gdLst>
                <a:gd name="T0" fmla="*/ 36 w 44"/>
                <a:gd name="T1" fmla="*/ 76 h 76"/>
                <a:gd name="T2" fmla="*/ 8 w 44"/>
                <a:gd name="T3" fmla="*/ 76 h 76"/>
                <a:gd name="T4" fmla="*/ 0 w 44"/>
                <a:gd name="T5" fmla="*/ 68 h 76"/>
                <a:gd name="T6" fmla="*/ 0 w 44"/>
                <a:gd name="T7" fmla="*/ 67 h 76"/>
                <a:gd name="T8" fmla="*/ 20 w 44"/>
                <a:gd name="T9" fmla="*/ 1 h 76"/>
                <a:gd name="T10" fmla="*/ 24 w 44"/>
                <a:gd name="T11" fmla="*/ 1 h 76"/>
                <a:gd name="T12" fmla="*/ 44 w 44"/>
                <a:gd name="T13" fmla="*/ 67 h 76"/>
                <a:gd name="T14" fmla="*/ 44 w 44"/>
                <a:gd name="T15" fmla="*/ 68 h 76"/>
                <a:gd name="T16" fmla="*/ 36 w 44"/>
                <a:gd name="T17" fmla="*/ 76 h 76"/>
                <a:gd name="T18" fmla="*/ 4 w 44"/>
                <a:gd name="T19" fmla="*/ 68 h 76"/>
                <a:gd name="T20" fmla="*/ 8 w 44"/>
                <a:gd name="T21" fmla="*/ 72 h 76"/>
                <a:gd name="T22" fmla="*/ 36 w 44"/>
                <a:gd name="T23" fmla="*/ 72 h 76"/>
                <a:gd name="T24" fmla="*/ 40 w 44"/>
                <a:gd name="T25" fmla="*/ 68 h 76"/>
                <a:gd name="T26" fmla="*/ 22 w 44"/>
                <a:gd name="T27" fmla="*/ 9 h 76"/>
                <a:gd name="T28" fmla="*/ 4 w 44"/>
                <a:gd name="T29"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76">
                  <a:moveTo>
                    <a:pt x="36" y="76"/>
                  </a:moveTo>
                  <a:cubicBezTo>
                    <a:pt x="8" y="76"/>
                    <a:pt x="8" y="76"/>
                    <a:pt x="8" y="76"/>
                  </a:cubicBezTo>
                  <a:cubicBezTo>
                    <a:pt x="4" y="76"/>
                    <a:pt x="0" y="72"/>
                    <a:pt x="0" y="68"/>
                  </a:cubicBezTo>
                  <a:cubicBezTo>
                    <a:pt x="0" y="68"/>
                    <a:pt x="0" y="68"/>
                    <a:pt x="0" y="67"/>
                  </a:cubicBezTo>
                  <a:cubicBezTo>
                    <a:pt x="20" y="1"/>
                    <a:pt x="20" y="1"/>
                    <a:pt x="20" y="1"/>
                  </a:cubicBezTo>
                  <a:cubicBezTo>
                    <a:pt x="21" y="0"/>
                    <a:pt x="23" y="0"/>
                    <a:pt x="24" y="1"/>
                  </a:cubicBezTo>
                  <a:cubicBezTo>
                    <a:pt x="44" y="67"/>
                    <a:pt x="44" y="67"/>
                    <a:pt x="44" y="67"/>
                  </a:cubicBezTo>
                  <a:cubicBezTo>
                    <a:pt x="44" y="68"/>
                    <a:pt x="44" y="68"/>
                    <a:pt x="44" y="68"/>
                  </a:cubicBezTo>
                  <a:cubicBezTo>
                    <a:pt x="44" y="72"/>
                    <a:pt x="40" y="76"/>
                    <a:pt x="36" y="76"/>
                  </a:cubicBezTo>
                  <a:close/>
                  <a:moveTo>
                    <a:pt x="4" y="68"/>
                  </a:moveTo>
                  <a:cubicBezTo>
                    <a:pt x="4" y="70"/>
                    <a:pt x="6" y="72"/>
                    <a:pt x="8" y="72"/>
                  </a:cubicBezTo>
                  <a:cubicBezTo>
                    <a:pt x="36" y="72"/>
                    <a:pt x="36" y="72"/>
                    <a:pt x="36" y="72"/>
                  </a:cubicBezTo>
                  <a:cubicBezTo>
                    <a:pt x="38" y="72"/>
                    <a:pt x="40" y="70"/>
                    <a:pt x="40" y="68"/>
                  </a:cubicBezTo>
                  <a:cubicBezTo>
                    <a:pt x="22" y="9"/>
                    <a:pt x="22" y="9"/>
                    <a:pt x="22" y="9"/>
                  </a:cubicBezTo>
                  <a:lnTo>
                    <a:pt x="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9" name="Freeform 38">
              <a:extLst>
                <a:ext uri="{FF2B5EF4-FFF2-40B4-BE49-F238E27FC236}">
                  <a16:creationId xmlns:a16="http://schemas.microsoft.com/office/drawing/2014/main" id="{B0F7B233-F42B-4E0B-843D-03A2E0A7B223}"/>
                </a:ext>
              </a:extLst>
            </p:cNvPr>
            <p:cNvSpPr>
              <a:spLocks/>
            </p:cNvSpPr>
            <p:nvPr/>
          </p:nvSpPr>
          <p:spPr bwMode="auto">
            <a:xfrm>
              <a:off x="7461251" y="1036638"/>
              <a:ext cx="76200" cy="69850"/>
            </a:xfrm>
            <a:custGeom>
              <a:avLst/>
              <a:gdLst>
                <a:gd name="T0" fmla="*/ 2 w 20"/>
                <a:gd name="T1" fmla="*/ 18 h 18"/>
                <a:gd name="T2" fmla="*/ 0 w 20"/>
                <a:gd name="T3" fmla="*/ 16 h 18"/>
                <a:gd name="T4" fmla="*/ 5 w 20"/>
                <a:gd name="T5" fmla="*/ 4 h 18"/>
                <a:gd name="T6" fmla="*/ 18 w 20"/>
                <a:gd name="T7" fmla="*/ 0 h 18"/>
                <a:gd name="T8" fmla="*/ 20 w 20"/>
                <a:gd name="T9" fmla="*/ 2 h 18"/>
                <a:gd name="T10" fmla="*/ 18 w 20"/>
                <a:gd name="T11" fmla="*/ 4 h 18"/>
                <a:gd name="T12" fmla="*/ 8 w 20"/>
                <a:gd name="T13" fmla="*/ 7 h 18"/>
                <a:gd name="T14" fmla="*/ 4 w 20"/>
                <a:gd name="T15" fmla="*/ 16 h 18"/>
                <a:gd name="T16" fmla="*/ 2 w 2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8">
                  <a:moveTo>
                    <a:pt x="2" y="18"/>
                  </a:moveTo>
                  <a:cubicBezTo>
                    <a:pt x="1" y="18"/>
                    <a:pt x="0" y="17"/>
                    <a:pt x="0" y="16"/>
                  </a:cubicBezTo>
                  <a:cubicBezTo>
                    <a:pt x="0" y="11"/>
                    <a:pt x="2" y="7"/>
                    <a:pt x="5" y="4"/>
                  </a:cubicBezTo>
                  <a:cubicBezTo>
                    <a:pt x="9" y="1"/>
                    <a:pt x="13" y="0"/>
                    <a:pt x="18" y="0"/>
                  </a:cubicBezTo>
                  <a:cubicBezTo>
                    <a:pt x="19" y="0"/>
                    <a:pt x="20" y="1"/>
                    <a:pt x="20" y="2"/>
                  </a:cubicBezTo>
                  <a:cubicBezTo>
                    <a:pt x="20" y="3"/>
                    <a:pt x="19" y="4"/>
                    <a:pt x="18" y="4"/>
                  </a:cubicBezTo>
                  <a:cubicBezTo>
                    <a:pt x="14" y="4"/>
                    <a:pt x="11" y="5"/>
                    <a:pt x="8" y="7"/>
                  </a:cubicBezTo>
                  <a:cubicBezTo>
                    <a:pt x="5" y="9"/>
                    <a:pt x="4" y="13"/>
                    <a:pt x="4" y="16"/>
                  </a:cubicBezTo>
                  <a:cubicBezTo>
                    <a:pt x="4" y="17"/>
                    <a:pt x="3"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0" name="Freeform 39">
              <a:extLst>
                <a:ext uri="{FF2B5EF4-FFF2-40B4-BE49-F238E27FC236}">
                  <a16:creationId xmlns:a16="http://schemas.microsoft.com/office/drawing/2014/main" id="{AD06323D-CA42-4EF8-BEB6-E79D5AADD628}"/>
                </a:ext>
              </a:extLst>
            </p:cNvPr>
            <p:cNvSpPr>
              <a:spLocks/>
            </p:cNvSpPr>
            <p:nvPr/>
          </p:nvSpPr>
          <p:spPr bwMode="auto">
            <a:xfrm>
              <a:off x="7399338" y="1036638"/>
              <a:ext cx="76200" cy="69850"/>
            </a:xfrm>
            <a:custGeom>
              <a:avLst/>
              <a:gdLst>
                <a:gd name="T0" fmla="*/ 18 w 20"/>
                <a:gd name="T1" fmla="*/ 18 h 18"/>
                <a:gd name="T2" fmla="*/ 16 w 20"/>
                <a:gd name="T3" fmla="*/ 16 h 18"/>
                <a:gd name="T4" fmla="*/ 12 w 20"/>
                <a:gd name="T5" fmla="*/ 7 h 18"/>
                <a:gd name="T6" fmla="*/ 2 w 20"/>
                <a:gd name="T7" fmla="*/ 4 h 18"/>
                <a:gd name="T8" fmla="*/ 0 w 20"/>
                <a:gd name="T9" fmla="*/ 2 h 18"/>
                <a:gd name="T10" fmla="*/ 2 w 20"/>
                <a:gd name="T11" fmla="*/ 0 h 18"/>
                <a:gd name="T12" fmla="*/ 15 w 20"/>
                <a:gd name="T13" fmla="*/ 4 h 18"/>
                <a:gd name="T14" fmla="*/ 20 w 20"/>
                <a:gd name="T15" fmla="*/ 16 h 18"/>
                <a:gd name="T16" fmla="*/ 18 w 2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8">
                  <a:moveTo>
                    <a:pt x="18" y="18"/>
                  </a:moveTo>
                  <a:cubicBezTo>
                    <a:pt x="17" y="18"/>
                    <a:pt x="16" y="17"/>
                    <a:pt x="16" y="16"/>
                  </a:cubicBezTo>
                  <a:cubicBezTo>
                    <a:pt x="16" y="13"/>
                    <a:pt x="15" y="9"/>
                    <a:pt x="12" y="7"/>
                  </a:cubicBezTo>
                  <a:cubicBezTo>
                    <a:pt x="9" y="5"/>
                    <a:pt x="6" y="4"/>
                    <a:pt x="2" y="4"/>
                  </a:cubicBezTo>
                  <a:cubicBezTo>
                    <a:pt x="1" y="4"/>
                    <a:pt x="0" y="3"/>
                    <a:pt x="0" y="2"/>
                  </a:cubicBezTo>
                  <a:cubicBezTo>
                    <a:pt x="0" y="1"/>
                    <a:pt x="1" y="0"/>
                    <a:pt x="2" y="0"/>
                  </a:cubicBezTo>
                  <a:cubicBezTo>
                    <a:pt x="7" y="0"/>
                    <a:pt x="11" y="1"/>
                    <a:pt x="15" y="4"/>
                  </a:cubicBezTo>
                  <a:cubicBezTo>
                    <a:pt x="18" y="7"/>
                    <a:pt x="20" y="11"/>
                    <a:pt x="20" y="16"/>
                  </a:cubicBezTo>
                  <a:cubicBezTo>
                    <a:pt x="20" y="17"/>
                    <a:pt x="19" y="18"/>
                    <a:pt x="1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1" name="Freeform 40">
              <a:extLst>
                <a:ext uri="{FF2B5EF4-FFF2-40B4-BE49-F238E27FC236}">
                  <a16:creationId xmlns:a16="http://schemas.microsoft.com/office/drawing/2014/main" id="{28FEBA50-FA49-4EE5-9945-D659ED4F3057}"/>
                </a:ext>
              </a:extLst>
            </p:cNvPr>
            <p:cNvSpPr>
              <a:spLocks/>
            </p:cNvSpPr>
            <p:nvPr/>
          </p:nvSpPr>
          <p:spPr bwMode="auto">
            <a:xfrm>
              <a:off x="7461251" y="982663"/>
              <a:ext cx="61913" cy="53975"/>
            </a:xfrm>
            <a:custGeom>
              <a:avLst/>
              <a:gdLst>
                <a:gd name="T0" fmla="*/ 2 w 16"/>
                <a:gd name="T1" fmla="*/ 14 h 14"/>
                <a:gd name="T2" fmla="*/ 0 w 16"/>
                <a:gd name="T3" fmla="*/ 12 h 14"/>
                <a:gd name="T4" fmla="*/ 4 w 16"/>
                <a:gd name="T5" fmla="*/ 3 h 14"/>
                <a:gd name="T6" fmla="*/ 14 w 16"/>
                <a:gd name="T7" fmla="*/ 0 h 14"/>
                <a:gd name="T8" fmla="*/ 15 w 16"/>
                <a:gd name="T9" fmla="*/ 2 h 14"/>
                <a:gd name="T10" fmla="*/ 13 w 16"/>
                <a:gd name="T11" fmla="*/ 4 h 14"/>
                <a:gd name="T12" fmla="*/ 7 w 16"/>
                <a:gd name="T13" fmla="*/ 6 h 14"/>
                <a:gd name="T14" fmla="*/ 4 w 16"/>
                <a:gd name="T15" fmla="*/ 12 h 14"/>
                <a:gd name="T16" fmla="*/ 2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2" y="14"/>
                  </a:moveTo>
                  <a:cubicBezTo>
                    <a:pt x="1" y="14"/>
                    <a:pt x="0" y="13"/>
                    <a:pt x="0" y="12"/>
                  </a:cubicBezTo>
                  <a:cubicBezTo>
                    <a:pt x="0" y="8"/>
                    <a:pt x="2" y="5"/>
                    <a:pt x="4" y="3"/>
                  </a:cubicBezTo>
                  <a:cubicBezTo>
                    <a:pt x="7" y="1"/>
                    <a:pt x="10" y="0"/>
                    <a:pt x="14" y="0"/>
                  </a:cubicBezTo>
                  <a:cubicBezTo>
                    <a:pt x="15" y="0"/>
                    <a:pt x="16" y="1"/>
                    <a:pt x="15" y="2"/>
                  </a:cubicBezTo>
                  <a:cubicBezTo>
                    <a:pt x="15" y="4"/>
                    <a:pt x="14" y="4"/>
                    <a:pt x="13" y="4"/>
                  </a:cubicBezTo>
                  <a:cubicBezTo>
                    <a:pt x="11" y="4"/>
                    <a:pt x="9" y="4"/>
                    <a:pt x="7" y="6"/>
                  </a:cubicBezTo>
                  <a:cubicBezTo>
                    <a:pt x="5" y="7"/>
                    <a:pt x="4" y="10"/>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2" name="Freeform 41">
              <a:extLst>
                <a:ext uri="{FF2B5EF4-FFF2-40B4-BE49-F238E27FC236}">
                  <a16:creationId xmlns:a16="http://schemas.microsoft.com/office/drawing/2014/main" id="{E1117482-CEC9-4317-93D4-CDFB4E40F8DD}"/>
                </a:ext>
              </a:extLst>
            </p:cNvPr>
            <p:cNvSpPr>
              <a:spLocks/>
            </p:cNvSpPr>
            <p:nvPr/>
          </p:nvSpPr>
          <p:spPr bwMode="auto">
            <a:xfrm>
              <a:off x="7413626" y="982663"/>
              <a:ext cx="61913" cy="53975"/>
            </a:xfrm>
            <a:custGeom>
              <a:avLst/>
              <a:gdLst>
                <a:gd name="T0" fmla="*/ 14 w 16"/>
                <a:gd name="T1" fmla="*/ 14 h 14"/>
                <a:gd name="T2" fmla="*/ 12 w 16"/>
                <a:gd name="T3" fmla="*/ 12 h 14"/>
                <a:gd name="T4" fmla="*/ 9 w 16"/>
                <a:gd name="T5" fmla="*/ 6 h 14"/>
                <a:gd name="T6" fmla="*/ 3 w 16"/>
                <a:gd name="T7" fmla="*/ 4 h 14"/>
                <a:gd name="T8" fmla="*/ 0 w 16"/>
                <a:gd name="T9" fmla="*/ 2 h 14"/>
                <a:gd name="T10" fmla="*/ 2 w 16"/>
                <a:gd name="T11" fmla="*/ 0 h 14"/>
                <a:gd name="T12" fmla="*/ 12 w 16"/>
                <a:gd name="T13" fmla="*/ 3 h 14"/>
                <a:gd name="T14" fmla="*/ 16 w 16"/>
                <a:gd name="T15" fmla="*/ 12 h 14"/>
                <a:gd name="T16" fmla="*/ 14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14" y="14"/>
                  </a:moveTo>
                  <a:cubicBezTo>
                    <a:pt x="13" y="14"/>
                    <a:pt x="12" y="13"/>
                    <a:pt x="12" y="12"/>
                  </a:cubicBezTo>
                  <a:cubicBezTo>
                    <a:pt x="12" y="10"/>
                    <a:pt x="11" y="7"/>
                    <a:pt x="9" y="6"/>
                  </a:cubicBezTo>
                  <a:cubicBezTo>
                    <a:pt x="7" y="4"/>
                    <a:pt x="5" y="4"/>
                    <a:pt x="3" y="4"/>
                  </a:cubicBezTo>
                  <a:cubicBezTo>
                    <a:pt x="2" y="4"/>
                    <a:pt x="1" y="4"/>
                    <a:pt x="0" y="2"/>
                  </a:cubicBezTo>
                  <a:cubicBezTo>
                    <a:pt x="0" y="1"/>
                    <a:pt x="1" y="0"/>
                    <a:pt x="2" y="0"/>
                  </a:cubicBezTo>
                  <a:cubicBezTo>
                    <a:pt x="6" y="0"/>
                    <a:pt x="9" y="1"/>
                    <a:pt x="12" y="3"/>
                  </a:cubicBezTo>
                  <a:cubicBezTo>
                    <a:pt x="14" y="5"/>
                    <a:pt x="16" y="8"/>
                    <a:pt x="16" y="12"/>
                  </a:cubicBezTo>
                  <a:cubicBezTo>
                    <a:pt x="16" y="13"/>
                    <a:pt x="15"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3" name="Freeform 42">
              <a:extLst>
                <a:ext uri="{FF2B5EF4-FFF2-40B4-BE49-F238E27FC236}">
                  <a16:creationId xmlns:a16="http://schemas.microsoft.com/office/drawing/2014/main" id="{0D3D7BDD-1D4A-4AF2-B5FA-5A1ADC56422F}"/>
                </a:ext>
              </a:extLst>
            </p:cNvPr>
            <p:cNvSpPr>
              <a:spLocks noEditPoints="1"/>
            </p:cNvSpPr>
            <p:nvPr/>
          </p:nvSpPr>
          <p:spPr bwMode="auto">
            <a:xfrm>
              <a:off x="7529513" y="889000"/>
              <a:ext cx="215900" cy="21748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4 h 56"/>
                <a:gd name="T12" fmla="*/ 4 w 56"/>
                <a:gd name="T13" fmla="*/ 28 h 56"/>
                <a:gd name="T14" fmla="*/ 28 w 56"/>
                <a:gd name="T15" fmla="*/ 52 h 56"/>
                <a:gd name="T16" fmla="*/ 52 w 56"/>
                <a:gd name="T17" fmla="*/ 28 h 56"/>
                <a:gd name="T18" fmla="*/ 28 w 56"/>
                <a:gd name="T1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4"/>
                  </a:moveTo>
                  <a:cubicBezTo>
                    <a:pt x="15" y="4"/>
                    <a:pt x="4" y="15"/>
                    <a:pt x="4" y="28"/>
                  </a:cubicBezTo>
                  <a:cubicBezTo>
                    <a:pt x="4" y="41"/>
                    <a:pt x="15" y="52"/>
                    <a:pt x="28" y="52"/>
                  </a:cubicBezTo>
                  <a:cubicBezTo>
                    <a:pt x="41" y="52"/>
                    <a:pt x="52" y="41"/>
                    <a:pt x="52" y="28"/>
                  </a:cubicBezTo>
                  <a:cubicBezTo>
                    <a:pt x="52" y="15"/>
                    <a:pt x="41" y="4"/>
                    <a:pt x="2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4" name="Freeform 43">
              <a:extLst>
                <a:ext uri="{FF2B5EF4-FFF2-40B4-BE49-F238E27FC236}">
                  <a16:creationId xmlns:a16="http://schemas.microsoft.com/office/drawing/2014/main" id="{5A35E866-F7E3-4892-A2C6-EA2066E7F7A8}"/>
                </a:ext>
              </a:extLst>
            </p:cNvPr>
            <p:cNvSpPr>
              <a:spLocks/>
            </p:cNvSpPr>
            <p:nvPr/>
          </p:nvSpPr>
          <p:spPr bwMode="auto">
            <a:xfrm>
              <a:off x="7631113" y="1012825"/>
              <a:ext cx="53975" cy="69850"/>
            </a:xfrm>
            <a:custGeom>
              <a:avLst/>
              <a:gdLst>
                <a:gd name="T0" fmla="*/ 2 w 14"/>
                <a:gd name="T1" fmla="*/ 18 h 18"/>
                <a:gd name="T2" fmla="*/ 0 w 14"/>
                <a:gd name="T3" fmla="*/ 16 h 18"/>
                <a:gd name="T4" fmla="*/ 11 w 14"/>
                <a:gd name="T5" fmla="*/ 0 h 18"/>
                <a:gd name="T6" fmla="*/ 14 w 14"/>
                <a:gd name="T7" fmla="*/ 1 h 18"/>
                <a:gd name="T8" fmla="*/ 13 w 14"/>
                <a:gd name="T9" fmla="*/ 4 h 18"/>
                <a:gd name="T10" fmla="*/ 4 w 14"/>
                <a:gd name="T11" fmla="*/ 16 h 18"/>
                <a:gd name="T12" fmla="*/ 2 w 1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2" y="18"/>
                  </a:moveTo>
                  <a:cubicBezTo>
                    <a:pt x="1" y="18"/>
                    <a:pt x="0" y="17"/>
                    <a:pt x="0" y="16"/>
                  </a:cubicBezTo>
                  <a:cubicBezTo>
                    <a:pt x="0" y="9"/>
                    <a:pt x="5" y="2"/>
                    <a:pt x="11" y="0"/>
                  </a:cubicBezTo>
                  <a:cubicBezTo>
                    <a:pt x="12" y="0"/>
                    <a:pt x="14" y="0"/>
                    <a:pt x="14" y="1"/>
                  </a:cubicBezTo>
                  <a:cubicBezTo>
                    <a:pt x="14" y="2"/>
                    <a:pt x="14" y="4"/>
                    <a:pt x="13" y="4"/>
                  </a:cubicBezTo>
                  <a:cubicBezTo>
                    <a:pt x="8" y="5"/>
                    <a:pt x="4" y="11"/>
                    <a:pt x="4" y="16"/>
                  </a:cubicBezTo>
                  <a:cubicBezTo>
                    <a:pt x="4" y="17"/>
                    <a:pt x="3"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5" name="Freeform 44">
              <a:extLst>
                <a:ext uri="{FF2B5EF4-FFF2-40B4-BE49-F238E27FC236}">
                  <a16:creationId xmlns:a16="http://schemas.microsoft.com/office/drawing/2014/main" id="{8B693987-B119-4188-A528-9FA06140C386}"/>
                </a:ext>
              </a:extLst>
            </p:cNvPr>
            <p:cNvSpPr>
              <a:spLocks/>
            </p:cNvSpPr>
            <p:nvPr/>
          </p:nvSpPr>
          <p:spPr bwMode="auto">
            <a:xfrm>
              <a:off x="7591426" y="990600"/>
              <a:ext cx="53975" cy="53975"/>
            </a:xfrm>
            <a:custGeom>
              <a:avLst/>
              <a:gdLst>
                <a:gd name="T0" fmla="*/ 12 w 14"/>
                <a:gd name="T1" fmla="*/ 14 h 14"/>
                <a:gd name="T2" fmla="*/ 10 w 14"/>
                <a:gd name="T3" fmla="*/ 12 h 14"/>
                <a:gd name="T4" fmla="*/ 2 w 14"/>
                <a:gd name="T5" fmla="*/ 4 h 14"/>
                <a:gd name="T6" fmla="*/ 0 w 14"/>
                <a:gd name="T7" fmla="*/ 2 h 14"/>
                <a:gd name="T8" fmla="*/ 2 w 14"/>
                <a:gd name="T9" fmla="*/ 0 h 14"/>
                <a:gd name="T10" fmla="*/ 14 w 14"/>
                <a:gd name="T11" fmla="*/ 12 h 14"/>
                <a:gd name="T12" fmla="*/ 12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2" y="14"/>
                  </a:moveTo>
                  <a:cubicBezTo>
                    <a:pt x="11" y="14"/>
                    <a:pt x="10" y="13"/>
                    <a:pt x="10" y="12"/>
                  </a:cubicBezTo>
                  <a:cubicBezTo>
                    <a:pt x="10" y="8"/>
                    <a:pt x="6" y="4"/>
                    <a:pt x="2" y="4"/>
                  </a:cubicBezTo>
                  <a:cubicBezTo>
                    <a:pt x="1" y="4"/>
                    <a:pt x="0" y="3"/>
                    <a:pt x="0" y="2"/>
                  </a:cubicBezTo>
                  <a:cubicBezTo>
                    <a:pt x="0" y="1"/>
                    <a:pt x="1" y="0"/>
                    <a:pt x="2" y="0"/>
                  </a:cubicBezTo>
                  <a:cubicBezTo>
                    <a:pt x="9" y="0"/>
                    <a:pt x="14" y="5"/>
                    <a:pt x="14" y="12"/>
                  </a:cubicBezTo>
                  <a:cubicBezTo>
                    <a:pt x="14" y="13"/>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6" name="Freeform 45">
              <a:extLst>
                <a:ext uri="{FF2B5EF4-FFF2-40B4-BE49-F238E27FC236}">
                  <a16:creationId xmlns:a16="http://schemas.microsoft.com/office/drawing/2014/main" id="{539A5285-609F-4024-B4E7-F8914CAF4E35}"/>
                </a:ext>
              </a:extLst>
            </p:cNvPr>
            <p:cNvSpPr>
              <a:spLocks/>
            </p:cNvSpPr>
            <p:nvPr/>
          </p:nvSpPr>
          <p:spPr bwMode="auto">
            <a:xfrm>
              <a:off x="7631113" y="958850"/>
              <a:ext cx="14288" cy="247650"/>
            </a:xfrm>
            <a:custGeom>
              <a:avLst/>
              <a:gdLst>
                <a:gd name="T0" fmla="*/ 2 w 4"/>
                <a:gd name="T1" fmla="*/ 64 h 64"/>
                <a:gd name="T2" fmla="*/ 0 w 4"/>
                <a:gd name="T3" fmla="*/ 62 h 64"/>
                <a:gd name="T4" fmla="*/ 0 w 4"/>
                <a:gd name="T5" fmla="*/ 2 h 64"/>
                <a:gd name="T6" fmla="*/ 2 w 4"/>
                <a:gd name="T7" fmla="*/ 0 h 64"/>
                <a:gd name="T8" fmla="*/ 4 w 4"/>
                <a:gd name="T9" fmla="*/ 2 h 64"/>
                <a:gd name="T10" fmla="*/ 4 w 4"/>
                <a:gd name="T11" fmla="*/ 62 h 64"/>
                <a:gd name="T12" fmla="*/ 2 w 4"/>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4" h="64">
                  <a:moveTo>
                    <a:pt x="2" y="64"/>
                  </a:moveTo>
                  <a:cubicBezTo>
                    <a:pt x="1" y="64"/>
                    <a:pt x="0" y="63"/>
                    <a:pt x="0" y="62"/>
                  </a:cubicBezTo>
                  <a:cubicBezTo>
                    <a:pt x="0" y="2"/>
                    <a:pt x="0" y="2"/>
                    <a:pt x="0" y="2"/>
                  </a:cubicBezTo>
                  <a:cubicBezTo>
                    <a:pt x="0" y="1"/>
                    <a:pt x="1" y="0"/>
                    <a:pt x="2" y="0"/>
                  </a:cubicBezTo>
                  <a:cubicBezTo>
                    <a:pt x="3" y="0"/>
                    <a:pt x="4" y="1"/>
                    <a:pt x="4" y="2"/>
                  </a:cubicBezTo>
                  <a:cubicBezTo>
                    <a:pt x="4" y="62"/>
                    <a:pt x="4" y="62"/>
                    <a:pt x="4" y="62"/>
                  </a:cubicBezTo>
                  <a:cubicBezTo>
                    <a:pt x="4" y="63"/>
                    <a:pt x="3" y="64"/>
                    <a:pt x="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7" name="Freeform 46">
              <a:extLst>
                <a:ext uri="{FF2B5EF4-FFF2-40B4-BE49-F238E27FC236}">
                  <a16:creationId xmlns:a16="http://schemas.microsoft.com/office/drawing/2014/main" id="{1426535D-F426-451F-9854-61C1F7D5FFF1}"/>
                </a:ext>
              </a:extLst>
            </p:cNvPr>
            <p:cNvSpPr>
              <a:spLocks/>
            </p:cNvSpPr>
            <p:nvPr/>
          </p:nvSpPr>
          <p:spPr bwMode="auto">
            <a:xfrm>
              <a:off x="7461251" y="942975"/>
              <a:ext cx="14288" cy="263525"/>
            </a:xfrm>
            <a:custGeom>
              <a:avLst/>
              <a:gdLst>
                <a:gd name="T0" fmla="*/ 2 w 4"/>
                <a:gd name="T1" fmla="*/ 68 h 68"/>
                <a:gd name="T2" fmla="*/ 0 w 4"/>
                <a:gd name="T3" fmla="*/ 66 h 68"/>
                <a:gd name="T4" fmla="*/ 0 w 4"/>
                <a:gd name="T5" fmla="*/ 2 h 68"/>
                <a:gd name="T6" fmla="*/ 2 w 4"/>
                <a:gd name="T7" fmla="*/ 0 h 68"/>
                <a:gd name="T8" fmla="*/ 4 w 4"/>
                <a:gd name="T9" fmla="*/ 2 h 68"/>
                <a:gd name="T10" fmla="*/ 4 w 4"/>
                <a:gd name="T11" fmla="*/ 66 h 68"/>
                <a:gd name="T12" fmla="*/ 2 w 4"/>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4" h="68">
                  <a:moveTo>
                    <a:pt x="2" y="68"/>
                  </a:moveTo>
                  <a:cubicBezTo>
                    <a:pt x="1" y="68"/>
                    <a:pt x="0" y="67"/>
                    <a:pt x="0" y="66"/>
                  </a:cubicBezTo>
                  <a:cubicBezTo>
                    <a:pt x="0" y="2"/>
                    <a:pt x="0" y="2"/>
                    <a:pt x="0" y="2"/>
                  </a:cubicBezTo>
                  <a:cubicBezTo>
                    <a:pt x="0" y="1"/>
                    <a:pt x="1" y="0"/>
                    <a:pt x="2" y="0"/>
                  </a:cubicBezTo>
                  <a:cubicBezTo>
                    <a:pt x="3" y="0"/>
                    <a:pt x="4" y="1"/>
                    <a:pt x="4" y="2"/>
                  </a:cubicBezTo>
                  <a:cubicBezTo>
                    <a:pt x="4" y="66"/>
                    <a:pt x="4" y="66"/>
                    <a:pt x="4" y="66"/>
                  </a:cubicBezTo>
                  <a:cubicBezTo>
                    <a:pt x="4" y="67"/>
                    <a:pt x="3" y="68"/>
                    <a:pt x="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14" name="Group 18">
            <a:extLst>
              <a:ext uri="{FF2B5EF4-FFF2-40B4-BE49-F238E27FC236}">
                <a16:creationId xmlns:a16="http://schemas.microsoft.com/office/drawing/2014/main" id="{4E1F1330-3321-4DC1-A753-E5C58B943C39}"/>
              </a:ext>
            </a:extLst>
          </p:cNvPr>
          <p:cNvGrpSpPr>
            <a:grpSpLocks noChangeAspect="1"/>
          </p:cNvGrpSpPr>
          <p:nvPr/>
        </p:nvGrpSpPr>
        <p:grpSpPr>
          <a:xfrm>
            <a:off x="5780692" y="5944848"/>
            <a:ext cx="308144" cy="308144"/>
            <a:chOff x="1476375" y="769938"/>
            <a:chExt cx="285750" cy="285750"/>
          </a:xfrm>
          <a:solidFill>
            <a:schemeClr val="bg2"/>
          </a:solidFill>
          <a:effectLst/>
        </p:grpSpPr>
        <p:sp>
          <p:nvSpPr>
            <p:cNvPr id="915" name="Freeform 27">
              <a:extLst>
                <a:ext uri="{FF2B5EF4-FFF2-40B4-BE49-F238E27FC236}">
                  <a16:creationId xmlns:a16="http://schemas.microsoft.com/office/drawing/2014/main" id="{10B133E4-97FA-4990-82E1-E9BB77D5D0D0}"/>
                </a:ext>
              </a:extLst>
            </p:cNvPr>
            <p:cNvSpPr>
              <a:spLocks noEditPoints="1"/>
            </p:cNvSpPr>
            <p:nvPr/>
          </p:nvSpPr>
          <p:spPr bwMode="auto">
            <a:xfrm>
              <a:off x="1476375" y="865188"/>
              <a:ext cx="257175" cy="190500"/>
            </a:xfrm>
            <a:custGeom>
              <a:avLst/>
              <a:gdLst>
                <a:gd name="T0" fmla="*/ 174 w 809"/>
                <a:gd name="T1" fmla="*/ 564 h 599"/>
                <a:gd name="T2" fmla="*/ 111 w 809"/>
                <a:gd name="T3" fmla="*/ 536 h 599"/>
                <a:gd name="T4" fmla="*/ 61 w 809"/>
                <a:gd name="T5" fmla="*/ 487 h 599"/>
                <a:gd name="T6" fmla="*/ 34 w 809"/>
                <a:gd name="T7" fmla="*/ 424 h 599"/>
                <a:gd name="T8" fmla="*/ 34 w 809"/>
                <a:gd name="T9" fmla="*/ 356 h 599"/>
                <a:gd name="T10" fmla="*/ 58 w 809"/>
                <a:gd name="T11" fmla="*/ 296 h 599"/>
                <a:gd name="T12" fmla="*/ 104 w 809"/>
                <a:gd name="T13" fmla="*/ 246 h 599"/>
                <a:gd name="T14" fmla="*/ 163 w 809"/>
                <a:gd name="T15" fmla="*/ 215 h 599"/>
                <a:gd name="T16" fmla="*/ 205 w 809"/>
                <a:gd name="T17" fmla="*/ 206 h 599"/>
                <a:gd name="T18" fmla="*/ 212 w 809"/>
                <a:gd name="T19" fmla="*/ 177 h 599"/>
                <a:gd name="T20" fmla="*/ 233 w 809"/>
                <a:gd name="T21" fmla="*/ 127 h 599"/>
                <a:gd name="T22" fmla="*/ 282 w 809"/>
                <a:gd name="T23" fmla="*/ 74 h 599"/>
                <a:gd name="T24" fmla="*/ 348 w 809"/>
                <a:gd name="T25" fmla="*/ 41 h 599"/>
                <a:gd name="T26" fmla="*/ 419 w 809"/>
                <a:gd name="T27" fmla="*/ 29 h 599"/>
                <a:gd name="T28" fmla="*/ 479 w 809"/>
                <a:gd name="T29" fmla="*/ 42 h 599"/>
                <a:gd name="T30" fmla="*/ 530 w 809"/>
                <a:gd name="T31" fmla="*/ 74 h 599"/>
                <a:gd name="T32" fmla="*/ 572 w 809"/>
                <a:gd name="T33" fmla="*/ 119 h 599"/>
                <a:gd name="T34" fmla="*/ 600 w 809"/>
                <a:gd name="T35" fmla="*/ 170 h 599"/>
                <a:gd name="T36" fmla="*/ 615 w 809"/>
                <a:gd name="T37" fmla="*/ 179 h 599"/>
                <a:gd name="T38" fmla="*/ 675 w 809"/>
                <a:gd name="T39" fmla="*/ 186 h 599"/>
                <a:gd name="T40" fmla="*/ 708 w 809"/>
                <a:gd name="T41" fmla="*/ 208 h 599"/>
                <a:gd name="T42" fmla="*/ 724 w 809"/>
                <a:gd name="T43" fmla="*/ 235 h 599"/>
                <a:gd name="T44" fmla="*/ 726 w 809"/>
                <a:gd name="T45" fmla="*/ 273 h 599"/>
                <a:gd name="T46" fmla="*/ 719 w 809"/>
                <a:gd name="T47" fmla="*/ 304 h 599"/>
                <a:gd name="T48" fmla="*/ 737 w 809"/>
                <a:gd name="T49" fmla="*/ 321 h 599"/>
                <a:gd name="T50" fmla="*/ 764 w 809"/>
                <a:gd name="T51" fmla="*/ 361 h 599"/>
                <a:gd name="T52" fmla="*/ 779 w 809"/>
                <a:gd name="T53" fmla="*/ 434 h 599"/>
                <a:gd name="T54" fmla="*/ 768 w 809"/>
                <a:gd name="T55" fmla="*/ 486 h 599"/>
                <a:gd name="T56" fmla="*/ 738 w 809"/>
                <a:gd name="T57" fmla="*/ 529 h 599"/>
                <a:gd name="T58" fmla="*/ 695 w 809"/>
                <a:gd name="T59" fmla="*/ 558 h 599"/>
                <a:gd name="T60" fmla="*/ 642 w 809"/>
                <a:gd name="T61" fmla="*/ 569 h 599"/>
                <a:gd name="T62" fmla="*/ 757 w 809"/>
                <a:gd name="T63" fmla="*/ 258 h 599"/>
                <a:gd name="T64" fmla="*/ 747 w 809"/>
                <a:gd name="T65" fmla="*/ 212 h 599"/>
                <a:gd name="T66" fmla="*/ 726 w 809"/>
                <a:gd name="T67" fmla="*/ 183 h 599"/>
                <a:gd name="T68" fmla="*/ 700 w 809"/>
                <a:gd name="T69" fmla="*/ 165 h 599"/>
                <a:gd name="T70" fmla="*/ 642 w 809"/>
                <a:gd name="T71" fmla="*/ 149 h 599"/>
                <a:gd name="T72" fmla="*/ 601 w 809"/>
                <a:gd name="T73" fmla="*/ 108 h 599"/>
                <a:gd name="T74" fmla="*/ 558 w 809"/>
                <a:gd name="T75" fmla="*/ 58 h 599"/>
                <a:gd name="T76" fmla="*/ 503 w 809"/>
                <a:gd name="T77" fmla="*/ 19 h 599"/>
                <a:gd name="T78" fmla="*/ 437 w 809"/>
                <a:gd name="T79" fmla="*/ 0 h 599"/>
                <a:gd name="T80" fmla="*/ 348 w 809"/>
                <a:gd name="T81" fmla="*/ 9 h 599"/>
                <a:gd name="T82" fmla="*/ 271 w 809"/>
                <a:gd name="T83" fmla="*/ 44 h 599"/>
                <a:gd name="T84" fmla="*/ 216 w 809"/>
                <a:gd name="T85" fmla="*/ 99 h 599"/>
                <a:gd name="T86" fmla="*/ 185 w 809"/>
                <a:gd name="T87" fmla="*/ 164 h 599"/>
                <a:gd name="T88" fmla="*/ 128 w 809"/>
                <a:gd name="T89" fmla="*/ 197 h 599"/>
                <a:gd name="T90" fmla="*/ 66 w 809"/>
                <a:gd name="T91" fmla="*/ 240 h 599"/>
                <a:gd name="T92" fmla="*/ 22 w 809"/>
                <a:gd name="T93" fmla="*/ 300 h 599"/>
                <a:gd name="T94" fmla="*/ 0 w 809"/>
                <a:gd name="T95" fmla="*/ 371 h 599"/>
                <a:gd name="T96" fmla="*/ 3 w 809"/>
                <a:gd name="T97" fmla="*/ 420 h 599"/>
                <a:gd name="T98" fmla="*/ 26 w 809"/>
                <a:gd name="T99" fmla="*/ 487 h 599"/>
                <a:gd name="T100" fmla="*/ 78 w 809"/>
                <a:gd name="T101" fmla="*/ 549 h 599"/>
                <a:gd name="T102" fmla="*/ 149 w 809"/>
                <a:gd name="T103" fmla="*/ 589 h 599"/>
                <a:gd name="T104" fmla="*/ 200 w 809"/>
                <a:gd name="T105" fmla="*/ 597 h 599"/>
                <a:gd name="T106" fmla="*/ 676 w 809"/>
                <a:gd name="T107" fmla="*/ 595 h 599"/>
                <a:gd name="T108" fmla="*/ 735 w 809"/>
                <a:gd name="T109" fmla="*/ 571 h 599"/>
                <a:gd name="T110" fmla="*/ 780 w 809"/>
                <a:gd name="T111" fmla="*/ 526 h 599"/>
                <a:gd name="T112" fmla="*/ 805 w 809"/>
                <a:gd name="T113" fmla="*/ 467 h 599"/>
                <a:gd name="T114" fmla="*/ 806 w 809"/>
                <a:gd name="T115" fmla="*/ 397 h 599"/>
                <a:gd name="T116" fmla="*/ 787 w 809"/>
                <a:gd name="T117" fmla="*/ 342 h 599"/>
                <a:gd name="T118" fmla="*/ 766 w 809"/>
                <a:gd name="T119" fmla="*/ 30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9">
                  <a:moveTo>
                    <a:pt x="642" y="569"/>
                  </a:moveTo>
                  <a:lnTo>
                    <a:pt x="209" y="569"/>
                  </a:lnTo>
                  <a:lnTo>
                    <a:pt x="192" y="568"/>
                  </a:lnTo>
                  <a:lnTo>
                    <a:pt x="174" y="564"/>
                  </a:lnTo>
                  <a:lnTo>
                    <a:pt x="158" y="560"/>
                  </a:lnTo>
                  <a:lnTo>
                    <a:pt x="141" y="554"/>
                  </a:lnTo>
                  <a:lnTo>
                    <a:pt x="126" y="546"/>
                  </a:lnTo>
                  <a:lnTo>
                    <a:pt x="111" y="536"/>
                  </a:lnTo>
                  <a:lnTo>
                    <a:pt x="97" y="526"/>
                  </a:lnTo>
                  <a:lnTo>
                    <a:pt x="84" y="514"/>
                  </a:lnTo>
                  <a:lnTo>
                    <a:pt x="72" y="501"/>
                  </a:lnTo>
                  <a:lnTo>
                    <a:pt x="61" y="487"/>
                  </a:lnTo>
                  <a:lnTo>
                    <a:pt x="52" y="473"/>
                  </a:lnTo>
                  <a:lnTo>
                    <a:pt x="44" y="457"/>
                  </a:lnTo>
                  <a:lnTo>
                    <a:pt x="38" y="441"/>
                  </a:lnTo>
                  <a:lnTo>
                    <a:pt x="34" y="424"/>
                  </a:lnTo>
                  <a:lnTo>
                    <a:pt x="30" y="407"/>
                  </a:lnTo>
                  <a:lnTo>
                    <a:pt x="30" y="389"/>
                  </a:lnTo>
                  <a:lnTo>
                    <a:pt x="30" y="373"/>
                  </a:lnTo>
                  <a:lnTo>
                    <a:pt x="34" y="356"/>
                  </a:lnTo>
                  <a:lnTo>
                    <a:pt x="38" y="341"/>
                  </a:lnTo>
                  <a:lnTo>
                    <a:pt x="43" y="325"/>
                  </a:lnTo>
                  <a:lnTo>
                    <a:pt x="51" y="310"/>
                  </a:lnTo>
                  <a:lnTo>
                    <a:pt x="58" y="296"/>
                  </a:lnTo>
                  <a:lnTo>
                    <a:pt x="68" y="282"/>
                  </a:lnTo>
                  <a:lnTo>
                    <a:pt x="80" y="269"/>
                  </a:lnTo>
                  <a:lnTo>
                    <a:pt x="91" y="257"/>
                  </a:lnTo>
                  <a:lnTo>
                    <a:pt x="104" y="246"/>
                  </a:lnTo>
                  <a:lnTo>
                    <a:pt x="117" y="237"/>
                  </a:lnTo>
                  <a:lnTo>
                    <a:pt x="132" y="228"/>
                  </a:lnTo>
                  <a:lnTo>
                    <a:pt x="147" y="222"/>
                  </a:lnTo>
                  <a:lnTo>
                    <a:pt x="163" y="215"/>
                  </a:lnTo>
                  <a:lnTo>
                    <a:pt x="179" y="212"/>
                  </a:lnTo>
                  <a:lnTo>
                    <a:pt x="196" y="209"/>
                  </a:lnTo>
                  <a:lnTo>
                    <a:pt x="201" y="208"/>
                  </a:lnTo>
                  <a:lnTo>
                    <a:pt x="205" y="206"/>
                  </a:lnTo>
                  <a:lnTo>
                    <a:pt x="208" y="201"/>
                  </a:lnTo>
                  <a:lnTo>
                    <a:pt x="209" y="196"/>
                  </a:lnTo>
                  <a:lnTo>
                    <a:pt x="210" y="186"/>
                  </a:lnTo>
                  <a:lnTo>
                    <a:pt x="212" y="177"/>
                  </a:lnTo>
                  <a:lnTo>
                    <a:pt x="215" y="168"/>
                  </a:lnTo>
                  <a:lnTo>
                    <a:pt x="217" y="160"/>
                  </a:lnTo>
                  <a:lnTo>
                    <a:pt x="224" y="143"/>
                  </a:lnTo>
                  <a:lnTo>
                    <a:pt x="233" y="127"/>
                  </a:lnTo>
                  <a:lnTo>
                    <a:pt x="243" y="113"/>
                  </a:lnTo>
                  <a:lnTo>
                    <a:pt x="255" y="99"/>
                  </a:lnTo>
                  <a:lnTo>
                    <a:pt x="268" y="86"/>
                  </a:lnTo>
                  <a:lnTo>
                    <a:pt x="282" y="74"/>
                  </a:lnTo>
                  <a:lnTo>
                    <a:pt x="298" y="64"/>
                  </a:lnTo>
                  <a:lnTo>
                    <a:pt x="314" y="56"/>
                  </a:lnTo>
                  <a:lnTo>
                    <a:pt x="330" y="47"/>
                  </a:lnTo>
                  <a:lnTo>
                    <a:pt x="348" y="41"/>
                  </a:lnTo>
                  <a:lnTo>
                    <a:pt x="366" y="37"/>
                  </a:lnTo>
                  <a:lnTo>
                    <a:pt x="384" y="32"/>
                  </a:lnTo>
                  <a:lnTo>
                    <a:pt x="401" y="30"/>
                  </a:lnTo>
                  <a:lnTo>
                    <a:pt x="419" y="29"/>
                  </a:lnTo>
                  <a:lnTo>
                    <a:pt x="434" y="30"/>
                  </a:lnTo>
                  <a:lnTo>
                    <a:pt x="450" y="32"/>
                  </a:lnTo>
                  <a:lnTo>
                    <a:pt x="464" y="37"/>
                  </a:lnTo>
                  <a:lnTo>
                    <a:pt x="479" y="42"/>
                  </a:lnTo>
                  <a:lnTo>
                    <a:pt x="492" y="48"/>
                  </a:lnTo>
                  <a:lnTo>
                    <a:pt x="506" y="56"/>
                  </a:lnTo>
                  <a:lnTo>
                    <a:pt x="519" y="64"/>
                  </a:lnTo>
                  <a:lnTo>
                    <a:pt x="530" y="74"/>
                  </a:lnTo>
                  <a:lnTo>
                    <a:pt x="542" y="84"/>
                  </a:lnTo>
                  <a:lnTo>
                    <a:pt x="553" y="94"/>
                  </a:lnTo>
                  <a:lnTo>
                    <a:pt x="563" y="106"/>
                  </a:lnTo>
                  <a:lnTo>
                    <a:pt x="572" y="119"/>
                  </a:lnTo>
                  <a:lnTo>
                    <a:pt x="580" y="131"/>
                  </a:lnTo>
                  <a:lnTo>
                    <a:pt x="587" y="144"/>
                  </a:lnTo>
                  <a:lnTo>
                    <a:pt x="594" y="158"/>
                  </a:lnTo>
                  <a:lnTo>
                    <a:pt x="600" y="170"/>
                  </a:lnTo>
                  <a:lnTo>
                    <a:pt x="602" y="175"/>
                  </a:lnTo>
                  <a:lnTo>
                    <a:pt x="606" y="178"/>
                  </a:lnTo>
                  <a:lnTo>
                    <a:pt x="611" y="179"/>
                  </a:lnTo>
                  <a:lnTo>
                    <a:pt x="615" y="179"/>
                  </a:lnTo>
                  <a:lnTo>
                    <a:pt x="631" y="179"/>
                  </a:lnTo>
                  <a:lnTo>
                    <a:pt x="646" y="179"/>
                  </a:lnTo>
                  <a:lnTo>
                    <a:pt x="661" y="182"/>
                  </a:lnTo>
                  <a:lnTo>
                    <a:pt x="675" y="186"/>
                  </a:lnTo>
                  <a:lnTo>
                    <a:pt x="687" y="192"/>
                  </a:lnTo>
                  <a:lnTo>
                    <a:pt x="699" y="199"/>
                  </a:lnTo>
                  <a:lnTo>
                    <a:pt x="704" y="204"/>
                  </a:lnTo>
                  <a:lnTo>
                    <a:pt x="708" y="208"/>
                  </a:lnTo>
                  <a:lnTo>
                    <a:pt x="712" y="213"/>
                  </a:lnTo>
                  <a:lnTo>
                    <a:pt x="717" y="219"/>
                  </a:lnTo>
                  <a:lnTo>
                    <a:pt x="721" y="226"/>
                  </a:lnTo>
                  <a:lnTo>
                    <a:pt x="724" y="235"/>
                  </a:lnTo>
                  <a:lnTo>
                    <a:pt x="726" y="244"/>
                  </a:lnTo>
                  <a:lnTo>
                    <a:pt x="727" y="253"/>
                  </a:lnTo>
                  <a:lnTo>
                    <a:pt x="727" y="264"/>
                  </a:lnTo>
                  <a:lnTo>
                    <a:pt x="726" y="273"/>
                  </a:lnTo>
                  <a:lnTo>
                    <a:pt x="723" y="283"/>
                  </a:lnTo>
                  <a:lnTo>
                    <a:pt x="720" y="293"/>
                  </a:lnTo>
                  <a:lnTo>
                    <a:pt x="719" y="299"/>
                  </a:lnTo>
                  <a:lnTo>
                    <a:pt x="719" y="304"/>
                  </a:lnTo>
                  <a:lnTo>
                    <a:pt x="721" y="308"/>
                  </a:lnTo>
                  <a:lnTo>
                    <a:pt x="725" y="313"/>
                  </a:lnTo>
                  <a:lnTo>
                    <a:pt x="731" y="317"/>
                  </a:lnTo>
                  <a:lnTo>
                    <a:pt x="737" y="321"/>
                  </a:lnTo>
                  <a:lnTo>
                    <a:pt x="742" y="327"/>
                  </a:lnTo>
                  <a:lnTo>
                    <a:pt x="747" y="333"/>
                  </a:lnTo>
                  <a:lnTo>
                    <a:pt x="756" y="346"/>
                  </a:lnTo>
                  <a:lnTo>
                    <a:pt x="764" y="361"/>
                  </a:lnTo>
                  <a:lnTo>
                    <a:pt x="770" y="378"/>
                  </a:lnTo>
                  <a:lnTo>
                    <a:pt x="775" y="395"/>
                  </a:lnTo>
                  <a:lnTo>
                    <a:pt x="778" y="414"/>
                  </a:lnTo>
                  <a:lnTo>
                    <a:pt x="779" y="434"/>
                  </a:lnTo>
                  <a:lnTo>
                    <a:pt x="778" y="448"/>
                  </a:lnTo>
                  <a:lnTo>
                    <a:pt x="776" y="460"/>
                  </a:lnTo>
                  <a:lnTo>
                    <a:pt x="772" y="474"/>
                  </a:lnTo>
                  <a:lnTo>
                    <a:pt x="768" y="486"/>
                  </a:lnTo>
                  <a:lnTo>
                    <a:pt x="762" y="498"/>
                  </a:lnTo>
                  <a:lnTo>
                    <a:pt x="755" y="509"/>
                  </a:lnTo>
                  <a:lnTo>
                    <a:pt x="748" y="519"/>
                  </a:lnTo>
                  <a:lnTo>
                    <a:pt x="738" y="529"/>
                  </a:lnTo>
                  <a:lnTo>
                    <a:pt x="728" y="538"/>
                  </a:lnTo>
                  <a:lnTo>
                    <a:pt x="718" y="545"/>
                  </a:lnTo>
                  <a:lnTo>
                    <a:pt x="707" y="553"/>
                  </a:lnTo>
                  <a:lnTo>
                    <a:pt x="695" y="558"/>
                  </a:lnTo>
                  <a:lnTo>
                    <a:pt x="682" y="562"/>
                  </a:lnTo>
                  <a:lnTo>
                    <a:pt x="670" y="565"/>
                  </a:lnTo>
                  <a:lnTo>
                    <a:pt x="656" y="568"/>
                  </a:lnTo>
                  <a:lnTo>
                    <a:pt x="642" y="569"/>
                  </a:lnTo>
                  <a:close/>
                  <a:moveTo>
                    <a:pt x="751" y="295"/>
                  </a:moveTo>
                  <a:lnTo>
                    <a:pt x="755" y="282"/>
                  </a:lnTo>
                  <a:lnTo>
                    <a:pt x="757" y="270"/>
                  </a:lnTo>
                  <a:lnTo>
                    <a:pt x="757" y="258"/>
                  </a:lnTo>
                  <a:lnTo>
                    <a:pt x="757" y="245"/>
                  </a:lnTo>
                  <a:lnTo>
                    <a:pt x="755" y="235"/>
                  </a:lnTo>
                  <a:lnTo>
                    <a:pt x="752" y="223"/>
                  </a:lnTo>
                  <a:lnTo>
                    <a:pt x="747" y="212"/>
                  </a:lnTo>
                  <a:lnTo>
                    <a:pt x="741" y="201"/>
                  </a:lnTo>
                  <a:lnTo>
                    <a:pt x="737" y="195"/>
                  </a:lnTo>
                  <a:lnTo>
                    <a:pt x="732" y="189"/>
                  </a:lnTo>
                  <a:lnTo>
                    <a:pt x="726" y="183"/>
                  </a:lnTo>
                  <a:lnTo>
                    <a:pt x="720" y="178"/>
                  </a:lnTo>
                  <a:lnTo>
                    <a:pt x="714" y="173"/>
                  </a:lnTo>
                  <a:lnTo>
                    <a:pt x="707" y="168"/>
                  </a:lnTo>
                  <a:lnTo>
                    <a:pt x="700" y="165"/>
                  </a:lnTo>
                  <a:lnTo>
                    <a:pt x="692" y="161"/>
                  </a:lnTo>
                  <a:lnTo>
                    <a:pt x="676" y="155"/>
                  </a:lnTo>
                  <a:lnTo>
                    <a:pt x="660" y="151"/>
                  </a:lnTo>
                  <a:lnTo>
                    <a:pt x="642" y="149"/>
                  </a:lnTo>
                  <a:lnTo>
                    <a:pt x="624" y="149"/>
                  </a:lnTo>
                  <a:lnTo>
                    <a:pt x="617" y="135"/>
                  </a:lnTo>
                  <a:lnTo>
                    <a:pt x="610" y="122"/>
                  </a:lnTo>
                  <a:lnTo>
                    <a:pt x="601" y="108"/>
                  </a:lnTo>
                  <a:lnTo>
                    <a:pt x="591" y="95"/>
                  </a:lnTo>
                  <a:lnTo>
                    <a:pt x="581" y="83"/>
                  </a:lnTo>
                  <a:lnTo>
                    <a:pt x="570" y="70"/>
                  </a:lnTo>
                  <a:lnTo>
                    <a:pt x="558" y="58"/>
                  </a:lnTo>
                  <a:lnTo>
                    <a:pt x="545" y="47"/>
                  </a:lnTo>
                  <a:lnTo>
                    <a:pt x="531" y="37"/>
                  </a:lnTo>
                  <a:lnTo>
                    <a:pt x="518" y="28"/>
                  </a:lnTo>
                  <a:lnTo>
                    <a:pt x="503" y="19"/>
                  </a:lnTo>
                  <a:lnTo>
                    <a:pt x="488" y="13"/>
                  </a:lnTo>
                  <a:lnTo>
                    <a:pt x="470" y="8"/>
                  </a:lnTo>
                  <a:lnTo>
                    <a:pt x="454" y="3"/>
                  </a:lnTo>
                  <a:lnTo>
                    <a:pt x="437" y="0"/>
                  </a:lnTo>
                  <a:lnTo>
                    <a:pt x="419" y="0"/>
                  </a:lnTo>
                  <a:lnTo>
                    <a:pt x="394" y="0"/>
                  </a:lnTo>
                  <a:lnTo>
                    <a:pt x="371" y="3"/>
                  </a:lnTo>
                  <a:lnTo>
                    <a:pt x="348" y="9"/>
                  </a:lnTo>
                  <a:lnTo>
                    <a:pt x="328" y="15"/>
                  </a:lnTo>
                  <a:lnTo>
                    <a:pt x="308" y="24"/>
                  </a:lnTo>
                  <a:lnTo>
                    <a:pt x="288" y="33"/>
                  </a:lnTo>
                  <a:lnTo>
                    <a:pt x="271" y="44"/>
                  </a:lnTo>
                  <a:lnTo>
                    <a:pt x="255" y="57"/>
                  </a:lnTo>
                  <a:lnTo>
                    <a:pt x="240" y="70"/>
                  </a:lnTo>
                  <a:lnTo>
                    <a:pt x="227" y="84"/>
                  </a:lnTo>
                  <a:lnTo>
                    <a:pt x="216" y="99"/>
                  </a:lnTo>
                  <a:lnTo>
                    <a:pt x="206" y="115"/>
                  </a:lnTo>
                  <a:lnTo>
                    <a:pt x="197" y="131"/>
                  </a:lnTo>
                  <a:lnTo>
                    <a:pt x="190" y="147"/>
                  </a:lnTo>
                  <a:lnTo>
                    <a:pt x="185" y="164"/>
                  </a:lnTo>
                  <a:lnTo>
                    <a:pt x="181" y="181"/>
                  </a:lnTo>
                  <a:lnTo>
                    <a:pt x="163" y="184"/>
                  </a:lnTo>
                  <a:lnTo>
                    <a:pt x="145" y="191"/>
                  </a:lnTo>
                  <a:lnTo>
                    <a:pt x="128" y="197"/>
                  </a:lnTo>
                  <a:lnTo>
                    <a:pt x="111" y="207"/>
                  </a:lnTo>
                  <a:lnTo>
                    <a:pt x="95" y="216"/>
                  </a:lnTo>
                  <a:lnTo>
                    <a:pt x="80" y="228"/>
                  </a:lnTo>
                  <a:lnTo>
                    <a:pt x="66" y="240"/>
                  </a:lnTo>
                  <a:lnTo>
                    <a:pt x="53" y="254"/>
                  </a:lnTo>
                  <a:lnTo>
                    <a:pt x="41" y="269"/>
                  </a:lnTo>
                  <a:lnTo>
                    <a:pt x="32" y="284"/>
                  </a:lnTo>
                  <a:lnTo>
                    <a:pt x="22" y="300"/>
                  </a:lnTo>
                  <a:lnTo>
                    <a:pt x="14" y="317"/>
                  </a:lnTo>
                  <a:lnTo>
                    <a:pt x="8" y="334"/>
                  </a:lnTo>
                  <a:lnTo>
                    <a:pt x="4" y="352"/>
                  </a:lnTo>
                  <a:lnTo>
                    <a:pt x="0" y="371"/>
                  </a:lnTo>
                  <a:lnTo>
                    <a:pt x="0" y="389"/>
                  </a:lnTo>
                  <a:lnTo>
                    <a:pt x="0" y="399"/>
                  </a:lnTo>
                  <a:lnTo>
                    <a:pt x="2" y="409"/>
                  </a:lnTo>
                  <a:lnTo>
                    <a:pt x="3" y="420"/>
                  </a:lnTo>
                  <a:lnTo>
                    <a:pt x="5" y="431"/>
                  </a:lnTo>
                  <a:lnTo>
                    <a:pt x="10" y="450"/>
                  </a:lnTo>
                  <a:lnTo>
                    <a:pt x="17" y="469"/>
                  </a:lnTo>
                  <a:lnTo>
                    <a:pt x="26" y="487"/>
                  </a:lnTo>
                  <a:lnTo>
                    <a:pt x="37" y="504"/>
                  </a:lnTo>
                  <a:lnTo>
                    <a:pt x="49" y="520"/>
                  </a:lnTo>
                  <a:lnTo>
                    <a:pt x="63" y="535"/>
                  </a:lnTo>
                  <a:lnTo>
                    <a:pt x="78" y="549"/>
                  </a:lnTo>
                  <a:lnTo>
                    <a:pt x="95" y="561"/>
                  </a:lnTo>
                  <a:lnTo>
                    <a:pt x="112" y="572"/>
                  </a:lnTo>
                  <a:lnTo>
                    <a:pt x="130" y="581"/>
                  </a:lnTo>
                  <a:lnTo>
                    <a:pt x="149" y="589"/>
                  </a:lnTo>
                  <a:lnTo>
                    <a:pt x="169" y="594"/>
                  </a:lnTo>
                  <a:lnTo>
                    <a:pt x="178" y="595"/>
                  </a:lnTo>
                  <a:lnTo>
                    <a:pt x="189" y="597"/>
                  </a:lnTo>
                  <a:lnTo>
                    <a:pt x="200" y="597"/>
                  </a:lnTo>
                  <a:lnTo>
                    <a:pt x="209" y="599"/>
                  </a:lnTo>
                  <a:lnTo>
                    <a:pt x="642" y="599"/>
                  </a:lnTo>
                  <a:lnTo>
                    <a:pt x="659" y="597"/>
                  </a:lnTo>
                  <a:lnTo>
                    <a:pt x="676" y="595"/>
                  </a:lnTo>
                  <a:lnTo>
                    <a:pt x="692" y="591"/>
                  </a:lnTo>
                  <a:lnTo>
                    <a:pt x="707" y="586"/>
                  </a:lnTo>
                  <a:lnTo>
                    <a:pt x="721" y="578"/>
                  </a:lnTo>
                  <a:lnTo>
                    <a:pt x="735" y="571"/>
                  </a:lnTo>
                  <a:lnTo>
                    <a:pt x="748" y="561"/>
                  </a:lnTo>
                  <a:lnTo>
                    <a:pt x="760" y="550"/>
                  </a:lnTo>
                  <a:lnTo>
                    <a:pt x="770" y="539"/>
                  </a:lnTo>
                  <a:lnTo>
                    <a:pt x="780" y="526"/>
                  </a:lnTo>
                  <a:lnTo>
                    <a:pt x="788" y="512"/>
                  </a:lnTo>
                  <a:lnTo>
                    <a:pt x="795" y="498"/>
                  </a:lnTo>
                  <a:lnTo>
                    <a:pt x="801" y="483"/>
                  </a:lnTo>
                  <a:lnTo>
                    <a:pt x="805" y="467"/>
                  </a:lnTo>
                  <a:lnTo>
                    <a:pt x="808" y="451"/>
                  </a:lnTo>
                  <a:lnTo>
                    <a:pt x="809" y="434"/>
                  </a:lnTo>
                  <a:lnTo>
                    <a:pt x="808" y="417"/>
                  </a:lnTo>
                  <a:lnTo>
                    <a:pt x="806" y="397"/>
                  </a:lnTo>
                  <a:lnTo>
                    <a:pt x="801" y="379"/>
                  </a:lnTo>
                  <a:lnTo>
                    <a:pt x="796" y="360"/>
                  </a:lnTo>
                  <a:lnTo>
                    <a:pt x="792" y="351"/>
                  </a:lnTo>
                  <a:lnTo>
                    <a:pt x="787" y="342"/>
                  </a:lnTo>
                  <a:lnTo>
                    <a:pt x="783" y="333"/>
                  </a:lnTo>
                  <a:lnTo>
                    <a:pt x="778" y="325"/>
                  </a:lnTo>
                  <a:lnTo>
                    <a:pt x="772" y="316"/>
                  </a:lnTo>
                  <a:lnTo>
                    <a:pt x="766" y="308"/>
                  </a:lnTo>
                  <a:lnTo>
                    <a:pt x="758" y="301"/>
                  </a:lnTo>
                  <a:lnTo>
                    <a:pt x="75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16" name="Freeform 28">
              <a:extLst>
                <a:ext uri="{FF2B5EF4-FFF2-40B4-BE49-F238E27FC236}">
                  <a16:creationId xmlns:a16="http://schemas.microsoft.com/office/drawing/2014/main" id="{7C09412E-485C-425D-A615-5EACD85FD27D}"/>
                </a:ext>
              </a:extLst>
            </p:cNvPr>
            <p:cNvSpPr>
              <a:spLocks/>
            </p:cNvSpPr>
            <p:nvPr/>
          </p:nvSpPr>
          <p:spPr bwMode="auto">
            <a:xfrm>
              <a:off x="1504950" y="769938"/>
              <a:ext cx="257175" cy="171450"/>
            </a:xfrm>
            <a:custGeom>
              <a:avLst/>
              <a:gdLst>
                <a:gd name="T0" fmla="*/ 758 w 809"/>
                <a:gd name="T1" fmla="*/ 255 h 538"/>
                <a:gd name="T2" fmla="*/ 745 w 809"/>
                <a:gd name="T3" fmla="*/ 207 h 538"/>
                <a:gd name="T4" fmla="*/ 723 w 809"/>
                <a:gd name="T5" fmla="*/ 180 h 538"/>
                <a:gd name="T6" fmla="*/ 675 w 809"/>
                <a:gd name="T7" fmla="*/ 155 h 538"/>
                <a:gd name="T8" fmla="*/ 617 w 809"/>
                <a:gd name="T9" fmla="*/ 135 h 538"/>
                <a:gd name="T10" fmla="*/ 582 w 809"/>
                <a:gd name="T11" fmla="*/ 82 h 538"/>
                <a:gd name="T12" fmla="*/ 532 w 809"/>
                <a:gd name="T13" fmla="*/ 37 h 538"/>
                <a:gd name="T14" fmla="*/ 471 w 809"/>
                <a:gd name="T15" fmla="*/ 7 h 538"/>
                <a:gd name="T16" fmla="*/ 395 w 809"/>
                <a:gd name="T17" fmla="*/ 1 h 538"/>
                <a:gd name="T18" fmla="*/ 309 w 809"/>
                <a:gd name="T19" fmla="*/ 23 h 538"/>
                <a:gd name="T20" fmla="*/ 241 w 809"/>
                <a:gd name="T21" fmla="*/ 69 h 538"/>
                <a:gd name="T22" fmla="*/ 197 w 809"/>
                <a:gd name="T23" fmla="*/ 130 h 538"/>
                <a:gd name="T24" fmla="*/ 163 w 809"/>
                <a:gd name="T25" fmla="*/ 185 h 538"/>
                <a:gd name="T26" fmla="*/ 96 w 809"/>
                <a:gd name="T27" fmla="*/ 216 h 538"/>
                <a:gd name="T28" fmla="*/ 42 w 809"/>
                <a:gd name="T29" fmla="*/ 268 h 538"/>
                <a:gd name="T30" fmla="*/ 9 w 809"/>
                <a:gd name="T31" fmla="*/ 335 h 538"/>
                <a:gd name="T32" fmla="*/ 1 w 809"/>
                <a:gd name="T33" fmla="*/ 391 h 538"/>
                <a:gd name="T34" fmla="*/ 8 w 809"/>
                <a:gd name="T35" fmla="*/ 401 h 538"/>
                <a:gd name="T36" fmla="*/ 19 w 809"/>
                <a:gd name="T37" fmla="*/ 403 h 538"/>
                <a:gd name="T38" fmla="*/ 28 w 809"/>
                <a:gd name="T39" fmla="*/ 398 h 538"/>
                <a:gd name="T40" fmla="*/ 31 w 809"/>
                <a:gd name="T41" fmla="*/ 372 h 538"/>
                <a:gd name="T42" fmla="*/ 51 w 809"/>
                <a:gd name="T43" fmla="*/ 310 h 538"/>
                <a:gd name="T44" fmla="*/ 92 w 809"/>
                <a:gd name="T45" fmla="*/ 257 h 538"/>
                <a:gd name="T46" fmla="*/ 148 w 809"/>
                <a:gd name="T47" fmla="*/ 221 h 538"/>
                <a:gd name="T48" fmla="*/ 202 w 809"/>
                <a:gd name="T49" fmla="*/ 208 h 538"/>
                <a:gd name="T50" fmla="*/ 211 w 809"/>
                <a:gd name="T51" fmla="*/ 186 h 538"/>
                <a:gd name="T52" fmla="*/ 225 w 809"/>
                <a:gd name="T53" fmla="*/ 142 h 538"/>
                <a:gd name="T54" fmla="*/ 269 w 809"/>
                <a:gd name="T55" fmla="*/ 85 h 538"/>
                <a:gd name="T56" fmla="*/ 331 w 809"/>
                <a:gd name="T57" fmla="*/ 48 h 538"/>
                <a:gd name="T58" fmla="*/ 402 w 809"/>
                <a:gd name="T59" fmla="*/ 31 h 538"/>
                <a:gd name="T60" fmla="*/ 465 w 809"/>
                <a:gd name="T61" fmla="*/ 36 h 538"/>
                <a:gd name="T62" fmla="*/ 520 w 809"/>
                <a:gd name="T63" fmla="*/ 64 h 538"/>
                <a:gd name="T64" fmla="*/ 563 w 809"/>
                <a:gd name="T65" fmla="*/ 107 h 538"/>
                <a:gd name="T66" fmla="*/ 595 w 809"/>
                <a:gd name="T67" fmla="*/ 157 h 538"/>
                <a:gd name="T68" fmla="*/ 612 w 809"/>
                <a:gd name="T69" fmla="*/ 179 h 538"/>
                <a:gd name="T70" fmla="*/ 660 w 809"/>
                <a:gd name="T71" fmla="*/ 181 h 538"/>
                <a:gd name="T72" fmla="*/ 706 w 809"/>
                <a:gd name="T73" fmla="*/ 205 h 538"/>
                <a:gd name="T74" fmla="*/ 727 w 809"/>
                <a:gd name="T75" fmla="*/ 241 h 538"/>
                <a:gd name="T76" fmla="*/ 724 w 809"/>
                <a:gd name="T77" fmla="*/ 282 h 538"/>
                <a:gd name="T78" fmla="*/ 722 w 809"/>
                <a:gd name="T79" fmla="*/ 308 h 538"/>
                <a:gd name="T80" fmla="*/ 742 w 809"/>
                <a:gd name="T81" fmla="*/ 327 h 538"/>
                <a:gd name="T82" fmla="*/ 771 w 809"/>
                <a:gd name="T83" fmla="*/ 377 h 538"/>
                <a:gd name="T84" fmla="*/ 779 w 809"/>
                <a:gd name="T85" fmla="*/ 445 h 538"/>
                <a:gd name="T86" fmla="*/ 768 w 809"/>
                <a:gd name="T87" fmla="*/ 487 h 538"/>
                <a:gd name="T88" fmla="*/ 751 w 809"/>
                <a:gd name="T89" fmla="*/ 518 h 538"/>
                <a:gd name="T90" fmla="*/ 750 w 809"/>
                <a:gd name="T91" fmla="*/ 528 h 538"/>
                <a:gd name="T92" fmla="*/ 757 w 809"/>
                <a:gd name="T93" fmla="*/ 537 h 538"/>
                <a:gd name="T94" fmla="*/ 768 w 809"/>
                <a:gd name="T95" fmla="*/ 538 h 538"/>
                <a:gd name="T96" fmla="*/ 784 w 809"/>
                <a:gd name="T97" fmla="*/ 521 h 538"/>
                <a:gd name="T98" fmla="*/ 804 w 809"/>
                <a:gd name="T99" fmla="*/ 473 h 538"/>
                <a:gd name="T100" fmla="*/ 809 w 809"/>
                <a:gd name="T101" fmla="*/ 416 h 538"/>
                <a:gd name="T102" fmla="*/ 793 w 809"/>
                <a:gd name="T103" fmla="*/ 351 h 538"/>
                <a:gd name="T104" fmla="*/ 773 w 809"/>
                <a:gd name="T105" fmla="*/ 31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9" h="538">
                  <a:moveTo>
                    <a:pt x="752" y="294"/>
                  </a:moveTo>
                  <a:lnTo>
                    <a:pt x="756" y="281"/>
                  </a:lnTo>
                  <a:lnTo>
                    <a:pt x="758" y="268"/>
                  </a:lnTo>
                  <a:lnTo>
                    <a:pt x="758" y="255"/>
                  </a:lnTo>
                  <a:lnTo>
                    <a:pt x="757" y="242"/>
                  </a:lnTo>
                  <a:lnTo>
                    <a:pt x="755" y="231"/>
                  </a:lnTo>
                  <a:lnTo>
                    <a:pt x="751" y="219"/>
                  </a:lnTo>
                  <a:lnTo>
                    <a:pt x="745" y="207"/>
                  </a:lnTo>
                  <a:lnTo>
                    <a:pt x="738" y="196"/>
                  </a:lnTo>
                  <a:lnTo>
                    <a:pt x="734" y="191"/>
                  </a:lnTo>
                  <a:lnTo>
                    <a:pt x="728" y="186"/>
                  </a:lnTo>
                  <a:lnTo>
                    <a:pt x="723" y="180"/>
                  </a:lnTo>
                  <a:lnTo>
                    <a:pt x="717" y="175"/>
                  </a:lnTo>
                  <a:lnTo>
                    <a:pt x="704" y="166"/>
                  </a:lnTo>
                  <a:lnTo>
                    <a:pt x="690" y="159"/>
                  </a:lnTo>
                  <a:lnTo>
                    <a:pt x="675" y="155"/>
                  </a:lnTo>
                  <a:lnTo>
                    <a:pt x="659" y="150"/>
                  </a:lnTo>
                  <a:lnTo>
                    <a:pt x="642" y="149"/>
                  </a:lnTo>
                  <a:lnTo>
                    <a:pt x="625" y="149"/>
                  </a:lnTo>
                  <a:lnTo>
                    <a:pt x="617" y="135"/>
                  </a:lnTo>
                  <a:lnTo>
                    <a:pt x="610" y="122"/>
                  </a:lnTo>
                  <a:lnTo>
                    <a:pt x="602" y="108"/>
                  </a:lnTo>
                  <a:lnTo>
                    <a:pt x="592" y="95"/>
                  </a:lnTo>
                  <a:lnTo>
                    <a:pt x="582" y="82"/>
                  </a:lnTo>
                  <a:lnTo>
                    <a:pt x="571" y="69"/>
                  </a:lnTo>
                  <a:lnTo>
                    <a:pt x="559" y="57"/>
                  </a:lnTo>
                  <a:lnTo>
                    <a:pt x="546" y="47"/>
                  </a:lnTo>
                  <a:lnTo>
                    <a:pt x="532" y="37"/>
                  </a:lnTo>
                  <a:lnTo>
                    <a:pt x="519" y="27"/>
                  </a:lnTo>
                  <a:lnTo>
                    <a:pt x="504" y="20"/>
                  </a:lnTo>
                  <a:lnTo>
                    <a:pt x="487" y="12"/>
                  </a:lnTo>
                  <a:lnTo>
                    <a:pt x="471" y="7"/>
                  </a:lnTo>
                  <a:lnTo>
                    <a:pt x="455" y="3"/>
                  </a:lnTo>
                  <a:lnTo>
                    <a:pt x="438" y="1"/>
                  </a:lnTo>
                  <a:lnTo>
                    <a:pt x="420" y="0"/>
                  </a:lnTo>
                  <a:lnTo>
                    <a:pt x="395" y="1"/>
                  </a:lnTo>
                  <a:lnTo>
                    <a:pt x="372" y="4"/>
                  </a:lnTo>
                  <a:lnTo>
                    <a:pt x="349" y="8"/>
                  </a:lnTo>
                  <a:lnTo>
                    <a:pt x="328" y="16"/>
                  </a:lnTo>
                  <a:lnTo>
                    <a:pt x="309" y="23"/>
                  </a:lnTo>
                  <a:lnTo>
                    <a:pt x="289" y="33"/>
                  </a:lnTo>
                  <a:lnTo>
                    <a:pt x="272" y="44"/>
                  </a:lnTo>
                  <a:lnTo>
                    <a:pt x="256" y="56"/>
                  </a:lnTo>
                  <a:lnTo>
                    <a:pt x="241" y="69"/>
                  </a:lnTo>
                  <a:lnTo>
                    <a:pt x="228" y="84"/>
                  </a:lnTo>
                  <a:lnTo>
                    <a:pt x="217" y="99"/>
                  </a:lnTo>
                  <a:lnTo>
                    <a:pt x="207" y="114"/>
                  </a:lnTo>
                  <a:lnTo>
                    <a:pt x="197" y="130"/>
                  </a:lnTo>
                  <a:lnTo>
                    <a:pt x="191" y="147"/>
                  </a:lnTo>
                  <a:lnTo>
                    <a:pt x="186" y="163"/>
                  </a:lnTo>
                  <a:lnTo>
                    <a:pt x="182" y="180"/>
                  </a:lnTo>
                  <a:lnTo>
                    <a:pt x="163" y="185"/>
                  </a:lnTo>
                  <a:lnTo>
                    <a:pt x="146" y="190"/>
                  </a:lnTo>
                  <a:lnTo>
                    <a:pt x="129" y="198"/>
                  </a:lnTo>
                  <a:lnTo>
                    <a:pt x="112" y="206"/>
                  </a:lnTo>
                  <a:lnTo>
                    <a:pt x="96" y="216"/>
                  </a:lnTo>
                  <a:lnTo>
                    <a:pt x="81" y="227"/>
                  </a:lnTo>
                  <a:lnTo>
                    <a:pt x="67" y="240"/>
                  </a:lnTo>
                  <a:lnTo>
                    <a:pt x="54" y="253"/>
                  </a:lnTo>
                  <a:lnTo>
                    <a:pt x="42" y="268"/>
                  </a:lnTo>
                  <a:lnTo>
                    <a:pt x="31" y="283"/>
                  </a:lnTo>
                  <a:lnTo>
                    <a:pt x="23" y="300"/>
                  </a:lnTo>
                  <a:lnTo>
                    <a:pt x="15" y="316"/>
                  </a:lnTo>
                  <a:lnTo>
                    <a:pt x="9" y="335"/>
                  </a:lnTo>
                  <a:lnTo>
                    <a:pt x="5" y="352"/>
                  </a:lnTo>
                  <a:lnTo>
                    <a:pt x="1" y="370"/>
                  </a:lnTo>
                  <a:lnTo>
                    <a:pt x="0" y="388"/>
                  </a:lnTo>
                  <a:lnTo>
                    <a:pt x="1" y="391"/>
                  </a:lnTo>
                  <a:lnTo>
                    <a:pt x="2" y="394"/>
                  </a:lnTo>
                  <a:lnTo>
                    <a:pt x="4" y="398"/>
                  </a:lnTo>
                  <a:lnTo>
                    <a:pt x="6" y="400"/>
                  </a:lnTo>
                  <a:lnTo>
                    <a:pt x="8" y="401"/>
                  </a:lnTo>
                  <a:lnTo>
                    <a:pt x="10" y="402"/>
                  </a:lnTo>
                  <a:lnTo>
                    <a:pt x="13" y="403"/>
                  </a:lnTo>
                  <a:lnTo>
                    <a:pt x="15" y="403"/>
                  </a:lnTo>
                  <a:lnTo>
                    <a:pt x="19" y="403"/>
                  </a:lnTo>
                  <a:lnTo>
                    <a:pt x="22" y="402"/>
                  </a:lnTo>
                  <a:lnTo>
                    <a:pt x="24" y="401"/>
                  </a:lnTo>
                  <a:lnTo>
                    <a:pt x="26" y="400"/>
                  </a:lnTo>
                  <a:lnTo>
                    <a:pt x="28" y="398"/>
                  </a:lnTo>
                  <a:lnTo>
                    <a:pt x="29" y="394"/>
                  </a:lnTo>
                  <a:lnTo>
                    <a:pt x="30" y="391"/>
                  </a:lnTo>
                  <a:lnTo>
                    <a:pt x="30" y="388"/>
                  </a:lnTo>
                  <a:lnTo>
                    <a:pt x="31" y="372"/>
                  </a:lnTo>
                  <a:lnTo>
                    <a:pt x="35" y="356"/>
                  </a:lnTo>
                  <a:lnTo>
                    <a:pt x="39" y="340"/>
                  </a:lnTo>
                  <a:lnTo>
                    <a:pt x="44" y="325"/>
                  </a:lnTo>
                  <a:lnTo>
                    <a:pt x="51" y="310"/>
                  </a:lnTo>
                  <a:lnTo>
                    <a:pt x="59" y="295"/>
                  </a:lnTo>
                  <a:lnTo>
                    <a:pt x="69" y="282"/>
                  </a:lnTo>
                  <a:lnTo>
                    <a:pt x="80" y="269"/>
                  </a:lnTo>
                  <a:lnTo>
                    <a:pt x="92" y="257"/>
                  </a:lnTo>
                  <a:lnTo>
                    <a:pt x="104" y="247"/>
                  </a:lnTo>
                  <a:lnTo>
                    <a:pt x="118" y="237"/>
                  </a:lnTo>
                  <a:lnTo>
                    <a:pt x="133" y="229"/>
                  </a:lnTo>
                  <a:lnTo>
                    <a:pt x="148" y="221"/>
                  </a:lnTo>
                  <a:lnTo>
                    <a:pt x="164" y="216"/>
                  </a:lnTo>
                  <a:lnTo>
                    <a:pt x="180" y="211"/>
                  </a:lnTo>
                  <a:lnTo>
                    <a:pt x="196" y="209"/>
                  </a:lnTo>
                  <a:lnTo>
                    <a:pt x="202" y="208"/>
                  </a:lnTo>
                  <a:lnTo>
                    <a:pt x="206" y="205"/>
                  </a:lnTo>
                  <a:lnTo>
                    <a:pt x="209" y="201"/>
                  </a:lnTo>
                  <a:lnTo>
                    <a:pt x="210" y="195"/>
                  </a:lnTo>
                  <a:lnTo>
                    <a:pt x="211" y="186"/>
                  </a:lnTo>
                  <a:lnTo>
                    <a:pt x="213" y="177"/>
                  </a:lnTo>
                  <a:lnTo>
                    <a:pt x="216" y="168"/>
                  </a:lnTo>
                  <a:lnTo>
                    <a:pt x="218" y="159"/>
                  </a:lnTo>
                  <a:lnTo>
                    <a:pt x="225" y="142"/>
                  </a:lnTo>
                  <a:lnTo>
                    <a:pt x="234" y="127"/>
                  </a:lnTo>
                  <a:lnTo>
                    <a:pt x="243" y="112"/>
                  </a:lnTo>
                  <a:lnTo>
                    <a:pt x="255" y="98"/>
                  </a:lnTo>
                  <a:lnTo>
                    <a:pt x="269" y="85"/>
                  </a:lnTo>
                  <a:lnTo>
                    <a:pt x="283" y="74"/>
                  </a:lnTo>
                  <a:lnTo>
                    <a:pt x="298" y="64"/>
                  </a:lnTo>
                  <a:lnTo>
                    <a:pt x="315" y="55"/>
                  </a:lnTo>
                  <a:lnTo>
                    <a:pt x="331" y="48"/>
                  </a:lnTo>
                  <a:lnTo>
                    <a:pt x="348" y="41"/>
                  </a:lnTo>
                  <a:lnTo>
                    <a:pt x="366" y="36"/>
                  </a:lnTo>
                  <a:lnTo>
                    <a:pt x="385" y="33"/>
                  </a:lnTo>
                  <a:lnTo>
                    <a:pt x="402" y="31"/>
                  </a:lnTo>
                  <a:lnTo>
                    <a:pt x="420" y="29"/>
                  </a:lnTo>
                  <a:lnTo>
                    <a:pt x="435" y="31"/>
                  </a:lnTo>
                  <a:lnTo>
                    <a:pt x="450" y="33"/>
                  </a:lnTo>
                  <a:lnTo>
                    <a:pt x="465" y="36"/>
                  </a:lnTo>
                  <a:lnTo>
                    <a:pt x="479" y="41"/>
                  </a:lnTo>
                  <a:lnTo>
                    <a:pt x="493" y="48"/>
                  </a:lnTo>
                  <a:lnTo>
                    <a:pt x="507" y="55"/>
                  </a:lnTo>
                  <a:lnTo>
                    <a:pt x="520" y="64"/>
                  </a:lnTo>
                  <a:lnTo>
                    <a:pt x="531" y="73"/>
                  </a:lnTo>
                  <a:lnTo>
                    <a:pt x="543" y="84"/>
                  </a:lnTo>
                  <a:lnTo>
                    <a:pt x="554" y="95"/>
                  </a:lnTo>
                  <a:lnTo>
                    <a:pt x="563" y="107"/>
                  </a:lnTo>
                  <a:lnTo>
                    <a:pt x="573" y="118"/>
                  </a:lnTo>
                  <a:lnTo>
                    <a:pt x="581" y="131"/>
                  </a:lnTo>
                  <a:lnTo>
                    <a:pt x="588" y="144"/>
                  </a:lnTo>
                  <a:lnTo>
                    <a:pt x="595" y="157"/>
                  </a:lnTo>
                  <a:lnTo>
                    <a:pt x="601" y="170"/>
                  </a:lnTo>
                  <a:lnTo>
                    <a:pt x="603" y="174"/>
                  </a:lnTo>
                  <a:lnTo>
                    <a:pt x="606" y="177"/>
                  </a:lnTo>
                  <a:lnTo>
                    <a:pt x="612" y="179"/>
                  </a:lnTo>
                  <a:lnTo>
                    <a:pt x="616" y="179"/>
                  </a:lnTo>
                  <a:lnTo>
                    <a:pt x="631" y="178"/>
                  </a:lnTo>
                  <a:lnTo>
                    <a:pt x="646" y="179"/>
                  </a:lnTo>
                  <a:lnTo>
                    <a:pt x="660" y="181"/>
                  </a:lnTo>
                  <a:lnTo>
                    <a:pt x="673" y="185"/>
                  </a:lnTo>
                  <a:lnTo>
                    <a:pt x="686" y="190"/>
                  </a:lnTo>
                  <a:lnTo>
                    <a:pt x="696" y="198"/>
                  </a:lnTo>
                  <a:lnTo>
                    <a:pt x="706" y="205"/>
                  </a:lnTo>
                  <a:lnTo>
                    <a:pt x="714" y="215"/>
                  </a:lnTo>
                  <a:lnTo>
                    <a:pt x="720" y="223"/>
                  </a:lnTo>
                  <a:lnTo>
                    <a:pt x="724" y="232"/>
                  </a:lnTo>
                  <a:lnTo>
                    <a:pt x="727" y="241"/>
                  </a:lnTo>
                  <a:lnTo>
                    <a:pt x="728" y="251"/>
                  </a:lnTo>
                  <a:lnTo>
                    <a:pt x="728" y="261"/>
                  </a:lnTo>
                  <a:lnTo>
                    <a:pt x="727" y="271"/>
                  </a:lnTo>
                  <a:lnTo>
                    <a:pt x="724" y="282"/>
                  </a:lnTo>
                  <a:lnTo>
                    <a:pt x="721" y="293"/>
                  </a:lnTo>
                  <a:lnTo>
                    <a:pt x="720" y="298"/>
                  </a:lnTo>
                  <a:lnTo>
                    <a:pt x="720" y="303"/>
                  </a:lnTo>
                  <a:lnTo>
                    <a:pt x="722" y="308"/>
                  </a:lnTo>
                  <a:lnTo>
                    <a:pt x="726" y="312"/>
                  </a:lnTo>
                  <a:lnTo>
                    <a:pt x="732" y="316"/>
                  </a:lnTo>
                  <a:lnTo>
                    <a:pt x="737" y="322"/>
                  </a:lnTo>
                  <a:lnTo>
                    <a:pt x="742" y="327"/>
                  </a:lnTo>
                  <a:lnTo>
                    <a:pt x="748" y="332"/>
                  </a:lnTo>
                  <a:lnTo>
                    <a:pt x="757" y="346"/>
                  </a:lnTo>
                  <a:lnTo>
                    <a:pt x="765" y="361"/>
                  </a:lnTo>
                  <a:lnTo>
                    <a:pt x="771" y="377"/>
                  </a:lnTo>
                  <a:lnTo>
                    <a:pt x="775" y="396"/>
                  </a:lnTo>
                  <a:lnTo>
                    <a:pt x="779" y="414"/>
                  </a:lnTo>
                  <a:lnTo>
                    <a:pt x="779" y="433"/>
                  </a:lnTo>
                  <a:lnTo>
                    <a:pt x="779" y="445"/>
                  </a:lnTo>
                  <a:lnTo>
                    <a:pt x="778" y="455"/>
                  </a:lnTo>
                  <a:lnTo>
                    <a:pt x="775" y="466"/>
                  </a:lnTo>
                  <a:lnTo>
                    <a:pt x="772" y="477"/>
                  </a:lnTo>
                  <a:lnTo>
                    <a:pt x="768" y="487"/>
                  </a:lnTo>
                  <a:lnTo>
                    <a:pt x="764" y="496"/>
                  </a:lnTo>
                  <a:lnTo>
                    <a:pt x="758" y="506"/>
                  </a:lnTo>
                  <a:lnTo>
                    <a:pt x="752" y="514"/>
                  </a:lnTo>
                  <a:lnTo>
                    <a:pt x="751" y="518"/>
                  </a:lnTo>
                  <a:lnTo>
                    <a:pt x="750" y="520"/>
                  </a:lnTo>
                  <a:lnTo>
                    <a:pt x="749" y="523"/>
                  </a:lnTo>
                  <a:lnTo>
                    <a:pt x="750" y="526"/>
                  </a:lnTo>
                  <a:lnTo>
                    <a:pt x="750" y="528"/>
                  </a:lnTo>
                  <a:lnTo>
                    <a:pt x="751" y="531"/>
                  </a:lnTo>
                  <a:lnTo>
                    <a:pt x="753" y="534"/>
                  </a:lnTo>
                  <a:lnTo>
                    <a:pt x="755" y="535"/>
                  </a:lnTo>
                  <a:lnTo>
                    <a:pt x="757" y="537"/>
                  </a:lnTo>
                  <a:lnTo>
                    <a:pt x="759" y="538"/>
                  </a:lnTo>
                  <a:lnTo>
                    <a:pt x="762" y="538"/>
                  </a:lnTo>
                  <a:lnTo>
                    <a:pt x="764" y="538"/>
                  </a:lnTo>
                  <a:lnTo>
                    <a:pt x="768" y="538"/>
                  </a:lnTo>
                  <a:lnTo>
                    <a:pt x="771" y="537"/>
                  </a:lnTo>
                  <a:lnTo>
                    <a:pt x="773" y="535"/>
                  </a:lnTo>
                  <a:lnTo>
                    <a:pt x="777" y="533"/>
                  </a:lnTo>
                  <a:lnTo>
                    <a:pt x="784" y="521"/>
                  </a:lnTo>
                  <a:lnTo>
                    <a:pt x="790" y="510"/>
                  </a:lnTo>
                  <a:lnTo>
                    <a:pt x="796" y="498"/>
                  </a:lnTo>
                  <a:lnTo>
                    <a:pt x="801" y="485"/>
                  </a:lnTo>
                  <a:lnTo>
                    <a:pt x="804" y="473"/>
                  </a:lnTo>
                  <a:lnTo>
                    <a:pt x="807" y="460"/>
                  </a:lnTo>
                  <a:lnTo>
                    <a:pt x="809" y="447"/>
                  </a:lnTo>
                  <a:lnTo>
                    <a:pt x="809" y="433"/>
                  </a:lnTo>
                  <a:lnTo>
                    <a:pt x="809" y="416"/>
                  </a:lnTo>
                  <a:lnTo>
                    <a:pt x="807" y="398"/>
                  </a:lnTo>
                  <a:lnTo>
                    <a:pt x="802" y="378"/>
                  </a:lnTo>
                  <a:lnTo>
                    <a:pt x="796" y="360"/>
                  </a:lnTo>
                  <a:lnTo>
                    <a:pt x="793" y="351"/>
                  </a:lnTo>
                  <a:lnTo>
                    <a:pt x="788" y="342"/>
                  </a:lnTo>
                  <a:lnTo>
                    <a:pt x="784" y="332"/>
                  </a:lnTo>
                  <a:lnTo>
                    <a:pt x="779" y="324"/>
                  </a:lnTo>
                  <a:lnTo>
                    <a:pt x="773" y="316"/>
                  </a:lnTo>
                  <a:lnTo>
                    <a:pt x="767"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17" name="Group 2">
            <a:extLst>
              <a:ext uri="{FF2B5EF4-FFF2-40B4-BE49-F238E27FC236}">
                <a16:creationId xmlns:a16="http://schemas.microsoft.com/office/drawing/2014/main" id="{1951F23A-61BB-4D4A-BB2B-B021CE45972A}"/>
              </a:ext>
            </a:extLst>
          </p:cNvPr>
          <p:cNvGrpSpPr>
            <a:grpSpLocks noChangeAspect="1"/>
          </p:cNvGrpSpPr>
          <p:nvPr/>
        </p:nvGrpSpPr>
        <p:grpSpPr>
          <a:xfrm>
            <a:off x="4896517" y="5944848"/>
            <a:ext cx="308144" cy="308144"/>
            <a:chOff x="935988" y="2407916"/>
            <a:chExt cx="630048" cy="630048"/>
          </a:xfrm>
          <a:solidFill>
            <a:schemeClr val="bg2"/>
          </a:solidFill>
          <a:effectLst/>
        </p:grpSpPr>
        <p:sp>
          <p:nvSpPr>
            <p:cNvPr id="918" name="Freeform 54">
              <a:extLst>
                <a:ext uri="{FF2B5EF4-FFF2-40B4-BE49-F238E27FC236}">
                  <a16:creationId xmlns:a16="http://schemas.microsoft.com/office/drawing/2014/main" id="{5E25CA01-E191-4638-8277-0E339A9E5577}"/>
                </a:ext>
              </a:extLst>
            </p:cNvPr>
            <p:cNvSpPr>
              <a:spLocks noEditPoints="1"/>
            </p:cNvSpPr>
            <p:nvPr/>
          </p:nvSpPr>
          <p:spPr bwMode="auto">
            <a:xfrm>
              <a:off x="1033753" y="2505681"/>
              <a:ext cx="434516" cy="434516"/>
            </a:xfrm>
            <a:custGeom>
              <a:avLst/>
              <a:gdLst>
                <a:gd name="T0" fmla="*/ 245 w 599"/>
                <a:gd name="T1" fmla="*/ 563 h 599"/>
                <a:gd name="T2" fmla="*/ 182 w 599"/>
                <a:gd name="T3" fmla="*/ 542 h 599"/>
                <a:gd name="T4" fmla="*/ 128 w 599"/>
                <a:gd name="T5" fmla="*/ 508 h 599"/>
                <a:gd name="T6" fmla="*/ 84 w 599"/>
                <a:gd name="T7" fmla="*/ 461 h 599"/>
                <a:gd name="T8" fmla="*/ 52 w 599"/>
                <a:gd name="T9" fmla="*/ 405 h 599"/>
                <a:gd name="T10" fmla="*/ 33 w 599"/>
                <a:gd name="T11" fmla="*/ 341 h 599"/>
                <a:gd name="T12" fmla="*/ 31 w 599"/>
                <a:gd name="T13" fmla="*/ 272 h 599"/>
                <a:gd name="T14" fmla="*/ 46 w 599"/>
                <a:gd name="T15" fmla="*/ 207 h 599"/>
                <a:gd name="T16" fmla="*/ 76 w 599"/>
                <a:gd name="T17" fmla="*/ 149 h 599"/>
                <a:gd name="T18" fmla="*/ 118 w 599"/>
                <a:gd name="T19" fmla="*/ 100 h 599"/>
                <a:gd name="T20" fmla="*/ 171 w 599"/>
                <a:gd name="T21" fmla="*/ 62 h 599"/>
                <a:gd name="T22" fmla="*/ 233 w 599"/>
                <a:gd name="T23" fmla="*/ 39 h 599"/>
                <a:gd name="T24" fmla="*/ 299 w 599"/>
                <a:gd name="T25" fmla="*/ 30 h 599"/>
                <a:gd name="T26" fmla="*/ 366 w 599"/>
                <a:gd name="T27" fmla="*/ 39 h 599"/>
                <a:gd name="T28" fmla="*/ 427 w 599"/>
                <a:gd name="T29" fmla="*/ 62 h 599"/>
                <a:gd name="T30" fmla="*/ 480 w 599"/>
                <a:gd name="T31" fmla="*/ 100 h 599"/>
                <a:gd name="T32" fmla="*/ 523 w 599"/>
                <a:gd name="T33" fmla="*/ 149 h 599"/>
                <a:gd name="T34" fmla="*/ 553 w 599"/>
                <a:gd name="T35" fmla="*/ 207 h 599"/>
                <a:gd name="T36" fmla="*/ 568 w 599"/>
                <a:gd name="T37" fmla="*/ 272 h 599"/>
                <a:gd name="T38" fmla="*/ 566 w 599"/>
                <a:gd name="T39" fmla="*/ 341 h 599"/>
                <a:gd name="T40" fmla="*/ 547 w 599"/>
                <a:gd name="T41" fmla="*/ 405 h 599"/>
                <a:gd name="T42" fmla="*/ 515 w 599"/>
                <a:gd name="T43" fmla="*/ 461 h 599"/>
                <a:gd name="T44" fmla="*/ 470 w 599"/>
                <a:gd name="T45" fmla="*/ 508 h 599"/>
                <a:gd name="T46" fmla="*/ 416 w 599"/>
                <a:gd name="T47" fmla="*/ 542 h 599"/>
                <a:gd name="T48" fmla="*/ 354 w 599"/>
                <a:gd name="T49" fmla="*/ 563 h 599"/>
                <a:gd name="T50" fmla="*/ 299 w 599"/>
                <a:gd name="T51" fmla="*/ 0 h 599"/>
                <a:gd name="T52" fmla="*/ 225 w 599"/>
                <a:gd name="T53" fmla="*/ 10 h 599"/>
                <a:gd name="T54" fmla="*/ 157 w 599"/>
                <a:gd name="T55" fmla="*/ 37 h 599"/>
                <a:gd name="T56" fmla="*/ 98 w 599"/>
                <a:gd name="T57" fmla="*/ 79 h 599"/>
                <a:gd name="T58" fmla="*/ 52 w 599"/>
                <a:gd name="T59" fmla="*/ 132 h 599"/>
                <a:gd name="T60" fmla="*/ 18 w 599"/>
                <a:gd name="T61" fmla="*/ 196 h 599"/>
                <a:gd name="T62" fmla="*/ 1 w 599"/>
                <a:gd name="T63" fmla="*/ 269 h 599"/>
                <a:gd name="T64" fmla="*/ 3 w 599"/>
                <a:gd name="T65" fmla="*/ 345 h 599"/>
                <a:gd name="T66" fmla="*/ 24 w 599"/>
                <a:gd name="T67" fmla="*/ 416 h 599"/>
                <a:gd name="T68" fmla="*/ 59 w 599"/>
                <a:gd name="T69" fmla="*/ 479 h 599"/>
                <a:gd name="T70" fmla="*/ 109 w 599"/>
                <a:gd name="T71" fmla="*/ 530 h 599"/>
                <a:gd name="T72" fmla="*/ 169 w 599"/>
                <a:gd name="T73" fmla="*/ 570 h 599"/>
                <a:gd name="T74" fmla="*/ 239 w 599"/>
                <a:gd name="T75" fmla="*/ 592 h 599"/>
                <a:gd name="T76" fmla="*/ 315 w 599"/>
                <a:gd name="T77" fmla="*/ 599 h 599"/>
                <a:gd name="T78" fmla="*/ 388 w 599"/>
                <a:gd name="T79" fmla="*/ 585 h 599"/>
                <a:gd name="T80" fmla="*/ 454 w 599"/>
                <a:gd name="T81" fmla="*/ 556 h 599"/>
                <a:gd name="T82" fmla="*/ 511 w 599"/>
                <a:gd name="T83" fmla="*/ 511 h 599"/>
                <a:gd name="T84" fmla="*/ 555 w 599"/>
                <a:gd name="T85" fmla="*/ 455 h 599"/>
                <a:gd name="T86" fmla="*/ 585 w 599"/>
                <a:gd name="T87" fmla="*/ 389 h 599"/>
                <a:gd name="T88" fmla="*/ 599 w 599"/>
                <a:gd name="T89" fmla="*/ 315 h 599"/>
                <a:gd name="T90" fmla="*/ 592 w 599"/>
                <a:gd name="T91" fmla="*/ 239 h 599"/>
                <a:gd name="T92" fmla="*/ 569 w 599"/>
                <a:gd name="T93" fmla="*/ 169 h 599"/>
                <a:gd name="T94" fmla="*/ 530 w 599"/>
                <a:gd name="T95" fmla="*/ 110 h 599"/>
                <a:gd name="T96" fmla="*/ 479 w 599"/>
                <a:gd name="T97" fmla="*/ 59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9"/>
                  </a:lnTo>
                  <a:lnTo>
                    <a:pt x="272" y="568"/>
                  </a:lnTo>
                  <a:lnTo>
                    <a:pt x="258" y="566"/>
                  </a:lnTo>
                  <a:lnTo>
                    <a:pt x="245" y="563"/>
                  </a:lnTo>
                  <a:lnTo>
                    <a:pt x="233" y="560"/>
                  </a:lnTo>
                  <a:lnTo>
                    <a:pt x="220" y="557"/>
                  </a:lnTo>
                  <a:lnTo>
                    <a:pt x="207" y="553"/>
                  </a:lnTo>
                  <a:lnTo>
                    <a:pt x="194" y="547"/>
                  </a:lnTo>
                  <a:lnTo>
                    <a:pt x="182" y="542"/>
                  </a:lnTo>
                  <a:lnTo>
                    <a:pt x="171" y="537"/>
                  </a:lnTo>
                  <a:lnTo>
                    <a:pt x="160" y="530"/>
                  </a:lnTo>
                  <a:lnTo>
                    <a:pt x="149" y="523"/>
                  </a:lnTo>
                  <a:lnTo>
                    <a:pt x="138" y="515"/>
                  </a:lnTo>
                  <a:lnTo>
                    <a:pt x="128" y="508"/>
                  </a:lnTo>
                  <a:lnTo>
                    <a:pt x="118" y="499"/>
                  </a:lnTo>
                  <a:lnTo>
                    <a:pt x="108" y="491"/>
                  </a:lnTo>
                  <a:lnTo>
                    <a:pt x="100" y="481"/>
                  </a:lnTo>
                  <a:lnTo>
                    <a:pt x="91" y="471"/>
                  </a:lnTo>
                  <a:lnTo>
                    <a:pt x="84" y="461"/>
                  </a:lnTo>
                  <a:lnTo>
                    <a:pt x="76" y="450"/>
                  </a:lnTo>
                  <a:lnTo>
                    <a:pt x="69" y="439"/>
                  </a:lnTo>
                  <a:lnTo>
                    <a:pt x="62" y="429"/>
                  </a:lnTo>
                  <a:lnTo>
                    <a:pt x="57" y="417"/>
                  </a:lnTo>
                  <a:lnTo>
                    <a:pt x="52" y="405"/>
                  </a:lnTo>
                  <a:lnTo>
                    <a:pt x="46" y="392"/>
                  </a:lnTo>
                  <a:lnTo>
                    <a:pt x="42" y="379"/>
                  </a:lnTo>
                  <a:lnTo>
                    <a:pt x="39" y="368"/>
                  </a:lnTo>
                  <a:lnTo>
                    <a:pt x="36" y="354"/>
                  </a:lnTo>
                  <a:lnTo>
                    <a:pt x="33" y="341"/>
                  </a:lnTo>
                  <a:lnTo>
                    <a:pt x="31" y="327"/>
                  </a:lnTo>
                  <a:lnTo>
                    <a:pt x="30" y="313"/>
                  </a:lnTo>
                  <a:lnTo>
                    <a:pt x="30" y="299"/>
                  </a:lnTo>
                  <a:lnTo>
                    <a:pt x="30" y="285"/>
                  </a:lnTo>
                  <a:lnTo>
                    <a:pt x="31" y="272"/>
                  </a:lnTo>
                  <a:lnTo>
                    <a:pt x="33" y="258"/>
                  </a:lnTo>
                  <a:lnTo>
                    <a:pt x="36" y="245"/>
                  </a:lnTo>
                  <a:lnTo>
                    <a:pt x="39" y="233"/>
                  </a:lnTo>
                  <a:lnTo>
                    <a:pt x="42" y="220"/>
                  </a:lnTo>
                  <a:lnTo>
                    <a:pt x="46" y="207"/>
                  </a:lnTo>
                  <a:lnTo>
                    <a:pt x="52" y="195"/>
                  </a:lnTo>
                  <a:lnTo>
                    <a:pt x="57" y="182"/>
                  </a:lnTo>
                  <a:lnTo>
                    <a:pt x="62" y="172"/>
                  </a:lnTo>
                  <a:lnTo>
                    <a:pt x="69" y="160"/>
                  </a:lnTo>
                  <a:lnTo>
                    <a:pt x="76" y="149"/>
                  </a:lnTo>
                  <a:lnTo>
                    <a:pt x="84" y="138"/>
                  </a:lnTo>
                  <a:lnTo>
                    <a:pt x="91" y="129"/>
                  </a:lnTo>
                  <a:lnTo>
                    <a:pt x="100" y="118"/>
                  </a:lnTo>
                  <a:lnTo>
                    <a:pt x="108" y="110"/>
                  </a:lnTo>
                  <a:lnTo>
                    <a:pt x="118" y="100"/>
                  </a:lnTo>
                  <a:lnTo>
                    <a:pt x="128" y="91"/>
                  </a:lnTo>
                  <a:lnTo>
                    <a:pt x="138" y="84"/>
                  </a:lnTo>
                  <a:lnTo>
                    <a:pt x="149" y="76"/>
                  </a:lnTo>
                  <a:lnTo>
                    <a:pt x="160" y="69"/>
                  </a:lnTo>
                  <a:lnTo>
                    <a:pt x="171" y="62"/>
                  </a:lnTo>
                  <a:lnTo>
                    <a:pt x="182" y="57"/>
                  </a:lnTo>
                  <a:lnTo>
                    <a:pt x="194" y="52"/>
                  </a:lnTo>
                  <a:lnTo>
                    <a:pt x="207" y="46"/>
                  </a:lnTo>
                  <a:lnTo>
                    <a:pt x="220" y="42"/>
                  </a:lnTo>
                  <a:lnTo>
                    <a:pt x="233" y="39"/>
                  </a:lnTo>
                  <a:lnTo>
                    <a:pt x="245" y="36"/>
                  </a:lnTo>
                  <a:lnTo>
                    <a:pt x="258" y="34"/>
                  </a:lnTo>
                  <a:lnTo>
                    <a:pt x="272" y="31"/>
                  </a:lnTo>
                  <a:lnTo>
                    <a:pt x="285" y="30"/>
                  </a:lnTo>
                  <a:lnTo>
                    <a:pt x="299" y="30"/>
                  </a:lnTo>
                  <a:lnTo>
                    <a:pt x="313" y="30"/>
                  </a:lnTo>
                  <a:lnTo>
                    <a:pt x="327" y="31"/>
                  </a:lnTo>
                  <a:lnTo>
                    <a:pt x="341" y="34"/>
                  </a:lnTo>
                  <a:lnTo>
                    <a:pt x="354" y="36"/>
                  </a:lnTo>
                  <a:lnTo>
                    <a:pt x="366" y="39"/>
                  </a:lnTo>
                  <a:lnTo>
                    <a:pt x="379" y="42"/>
                  </a:lnTo>
                  <a:lnTo>
                    <a:pt x="392" y="46"/>
                  </a:lnTo>
                  <a:lnTo>
                    <a:pt x="404" y="52"/>
                  </a:lnTo>
                  <a:lnTo>
                    <a:pt x="416" y="57"/>
                  </a:lnTo>
                  <a:lnTo>
                    <a:pt x="427" y="62"/>
                  </a:lnTo>
                  <a:lnTo>
                    <a:pt x="439" y="69"/>
                  </a:lnTo>
                  <a:lnTo>
                    <a:pt x="450" y="76"/>
                  </a:lnTo>
                  <a:lnTo>
                    <a:pt x="461" y="84"/>
                  </a:lnTo>
                  <a:lnTo>
                    <a:pt x="470" y="91"/>
                  </a:lnTo>
                  <a:lnTo>
                    <a:pt x="480" y="100"/>
                  </a:lnTo>
                  <a:lnTo>
                    <a:pt x="490" y="110"/>
                  </a:lnTo>
                  <a:lnTo>
                    <a:pt x="499" y="118"/>
                  </a:lnTo>
                  <a:lnTo>
                    <a:pt x="507" y="129"/>
                  </a:lnTo>
                  <a:lnTo>
                    <a:pt x="515" y="138"/>
                  </a:lnTo>
                  <a:lnTo>
                    <a:pt x="523" y="149"/>
                  </a:lnTo>
                  <a:lnTo>
                    <a:pt x="530" y="160"/>
                  </a:lnTo>
                  <a:lnTo>
                    <a:pt x="537" y="172"/>
                  </a:lnTo>
                  <a:lnTo>
                    <a:pt x="542" y="182"/>
                  </a:lnTo>
                  <a:lnTo>
                    <a:pt x="547" y="195"/>
                  </a:lnTo>
                  <a:lnTo>
                    <a:pt x="553" y="207"/>
                  </a:lnTo>
                  <a:lnTo>
                    <a:pt x="557" y="220"/>
                  </a:lnTo>
                  <a:lnTo>
                    <a:pt x="560" y="233"/>
                  </a:lnTo>
                  <a:lnTo>
                    <a:pt x="563" y="245"/>
                  </a:lnTo>
                  <a:lnTo>
                    <a:pt x="566" y="258"/>
                  </a:lnTo>
                  <a:lnTo>
                    <a:pt x="568" y="272"/>
                  </a:lnTo>
                  <a:lnTo>
                    <a:pt x="569" y="285"/>
                  </a:lnTo>
                  <a:lnTo>
                    <a:pt x="569" y="299"/>
                  </a:lnTo>
                  <a:lnTo>
                    <a:pt x="569" y="313"/>
                  </a:lnTo>
                  <a:lnTo>
                    <a:pt x="568" y="327"/>
                  </a:lnTo>
                  <a:lnTo>
                    <a:pt x="566" y="341"/>
                  </a:lnTo>
                  <a:lnTo>
                    <a:pt x="563" y="354"/>
                  </a:lnTo>
                  <a:lnTo>
                    <a:pt x="560" y="368"/>
                  </a:lnTo>
                  <a:lnTo>
                    <a:pt x="557" y="379"/>
                  </a:lnTo>
                  <a:lnTo>
                    <a:pt x="553" y="392"/>
                  </a:lnTo>
                  <a:lnTo>
                    <a:pt x="547" y="405"/>
                  </a:lnTo>
                  <a:lnTo>
                    <a:pt x="542" y="417"/>
                  </a:lnTo>
                  <a:lnTo>
                    <a:pt x="537" y="429"/>
                  </a:lnTo>
                  <a:lnTo>
                    <a:pt x="530" y="439"/>
                  </a:lnTo>
                  <a:lnTo>
                    <a:pt x="523" y="450"/>
                  </a:lnTo>
                  <a:lnTo>
                    <a:pt x="515" y="461"/>
                  </a:lnTo>
                  <a:lnTo>
                    <a:pt x="507" y="471"/>
                  </a:lnTo>
                  <a:lnTo>
                    <a:pt x="499" y="481"/>
                  </a:lnTo>
                  <a:lnTo>
                    <a:pt x="490" y="491"/>
                  </a:lnTo>
                  <a:lnTo>
                    <a:pt x="480" y="499"/>
                  </a:lnTo>
                  <a:lnTo>
                    <a:pt x="470" y="508"/>
                  </a:lnTo>
                  <a:lnTo>
                    <a:pt x="461" y="515"/>
                  </a:lnTo>
                  <a:lnTo>
                    <a:pt x="450" y="523"/>
                  </a:lnTo>
                  <a:lnTo>
                    <a:pt x="439" y="530"/>
                  </a:lnTo>
                  <a:lnTo>
                    <a:pt x="427" y="537"/>
                  </a:lnTo>
                  <a:lnTo>
                    <a:pt x="416" y="542"/>
                  </a:lnTo>
                  <a:lnTo>
                    <a:pt x="404" y="547"/>
                  </a:lnTo>
                  <a:lnTo>
                    <a:pt x="392" y="553"/>
                  </a:lnTo>
                  <a:lnTo>
                    <a:pt x="379" y="557"/>
                  </a:lnTo>
                  <a:lnTo>
                    <a:pt x="366" y="560"/>
                  </a:lnTo>
                  <a:lnTo>
                    <a:pt x="354" y="563"/>
                  </a:lnTo>
                  <a:lnTo>
                    <a:pt x="341" y="566"/>
                  </a:lnTo>
                  <a:lnTo>
                    <a:pt x="327" y="568"/>
                  </a:lnTo>
                  <a:lnTo>
                    <a:pt x="313" y="569"/>
                  </a:lnTo>
                  <a:lnTo>
                    <a:pt x="299" y="569"/>
                  </a:lnTo>
                  <a:close/>
                  <a:moveTo>
                    <a:pt x="299" y="0"/>
                  </a:moveTo>
                  <a:lnTo>
                    <a:pt x="284" y="0"/>
                  </a:lnTo>
                  <a:lnTo>
                    <a:pt x="269" y="1"/>
                  </a:lnTo>
                  <a:lnTo>
                    <a:pt x="254" y="4"/>
                  </a:lnTo>
                  <a:lnTo>
                    <a:pt x="239" y="6"/>
                  </a:lnTo>
                  <a:lnTo>
                    <a:pt x="225" y="10"/>
                  </a:lnTo>
                  <a:lnTo>
                    <a:pt x="210" y="13"/>
                  </a:lnTo>
                  <a:lnTo>
                    <a:pt x="196" y="19"/>
                  </a:lnTo>
                  <a:lnTo>
                    <a:pt x="183" y="24"/>
                  </a:lnTo>
                  <a:lnTo>
                    <a:pt x="169" y="29"/>
                  </a:lnTo>
                  <a:lnTo>
                    <a:pt x="157" y="37"/>
                  </a:lnTo>
                  <a:lnTo>
                    <a:pt x="144" y="43"/>
                  </a:lnTo>
                  <a:lnTo>
                    <a:pt x="132" y="52"/>
                  </a:lnTo>
                  <a:lnTo>
                    <a:pt x="120" y="59"/>
                  </a:lnTo>
                  <a:lnTo>
                    <a:pt x="109" y="69"/>
                  </a:lnTo>
                  <a:lnTo>
                    <a:pt x="98" y="79"/>
                  </a:lnTo>
                  <a:lnTo>
                    <a:pt x="88" y="88"/>
                  </a:lnTo>
                  <a:lnTo>
                    <a:pt x="77" y="99"/>
                  </a:lnTo>
                  <a:lnTo>
                    <a:pt x="69" y="110"/>
                  </a:lnTo>
                  <a:lnTo>
                    <a:pt x="59" y="120"/>
                  </a:lnTo>
                  <a:lnTo>
                    <a:pt x="52" y="132"/>
                  </a:lnTo>
                  <a:lnTo>
                    <a:pt x="43" y="145"/>
                  </a:lnTo>
                  <a:lnTo>
                    <a:pt x="37" y="157"/>
                  </a:lnTo>
                  <a:lnTo>
                    <a:pt x="29" y="169"/>
                  </a:lnTo>
                  <a:lnTo>
                    <a:pt x="24" y="183"/>
                  </a:lnTo>
                  <a:lnTo>
                    <a:pt x="18" y="196"/>
                  </a:lnTo>
                  <a:lnTo>
                    <a:pt x="13" y="210"/>
                  </a:lnTo>
                  <a:lnTo>
                    <a:pt x="10" y="225"/>
                  </a:lnTo>
                  <a:lnTo>
                    <a:pt x="6" y="239"/>
                  </a:lnTo>
                  <a:lnTo>
                    <a:pt x="3" y="254"/>
                  </a:lnTo>
                  <a:lnTo>
                    <a:pt x="1" y="269"/>
                  </a:lnTo>
                  <a:lnTo>
                    <a:pt x="0" y="284"/>
                  </a:lnTo>
                  <a:lnTo>
                    <a:pt x="0" y="299"/>
                  </a:lnTo>
                  <a:lnTo>
                    <a:pt x="0" y="315"/>
                  </a:lnTo>
                  <a:lnTo>
                    <a:pt x="1" y="330"/>
                  </a:lnTo>
                  <a:lnTo>
                    <a:pt x="3" y="345"/>
                  </a:lnTo>
                  <a:lnTo>
                    <a:pt x="6" y="360"/>
                  </a:lnTo>
                  <a:lnTo>
                    <a:pt x="10" y="374"/>
                  </a:lnTo>
                  <a:lnTo>
                    <a:pt x="13" y="389"/>
                  </a:lnTo>
                  <a:lnTo>
                    <a:pt x="18" y="403"/>
                  </a:lnTo>
                  <a:lnTo>
                    <a:pt x="24" y="416"/>
                  </a:lnTo>
                  <a:lnTo>
                    <a:pt x="29" y="430"/>
                  </a:lnTo>
                  <a:lnTo>
                    <a:pt x="37" y="442"/>
                  </a:lnTo>
                  <a:lnTo>
                    <a:pt x="43" y="455"/>
                  </a:lnTo>
                  <a:lnTo>
                    <a:pt x="52" y="467"/>
                  </a:lnTo>
                  <a:lnTo>
                    <a:pt x="59" y="479"/>
                  </a:lnTo>
                  <a:lnTo>
                    <a:pt x="69" y="491"/>
                  </a:lnTo>
                  <a:lnTo>
                    <a:pt x="77" y="501"/>
                  </a:lnTo>
                  <a:lnTo>
                    <a:pt x="88" y="511"/>
                  </a:lnTo>
                  <a:lnTo>
                    <a:pt x="98" y="522"/>
                  </a:lnTo>
                  <a:lnTo>
                    <a:pt x="109" y="530"/>
                  </a:lnTo>
                  <a:lnTo>
                    <a:pt x="120" y="540"/>
                  </a:lnTo>
                  <a:lnTo>
                    <a:pt x="132" y="547"/>
                  </a:lnTo>
                  <a:lnTo>
                    <a:pt x="144" y="556"/>
                  </a:lnTo>
                  <a:lnTo>
                    <a:pt x="157" y="562"/>
                  </a:lnTo>
                  <a:lnTo>
                    <a:pt x="169" y="570"/>
                  </a:lnTo>
                  <a:lnTo>
                    <a:pt x="183" y="575"/>
                  </a:lnTo>
                  <a:lnTo>
                    <a:pt x="196" y="581"/>
                  </a:lnTo>
                  <a:lnTo>
                    <a:pt x="210" y="585"/>
                  </a:lnTo>
                  <a:lnTo>
                    <a:pt x="225" y="589"/>
                  </a:lnTo>
                  <a:lnTo>
                    <a:pt x="239" y="592"/>
                  </a:lnTo>
                  <a:lnTo>
                    <a:pt x="254" y="596"/>
                  </a:lnTo>
                  <a:lnTo>
                    <a:pt x="269" y="598"/>
                  </a:lnTo>
                  <a:lnTo>
                    <a:pt x="284" y="599"/>
                  </a:lnTo>
                  <a:lnTo>
                    <a:pt x="299" y="599"/>
                  </a:lnTo>
                  <a:lnTo>
                    <a:pt x="315" y="599"/>
                  </a:lnTo>
                  <a:lnTo>
                    <a:pt x="330" y="598"/>
                  </a:lnTo>
                  <a:lnTo>
                    <a:pt x="345" y="596"/>
                  </a:lnTo>
                  <a:lnTo>
                    <a:pt x="360" y="592"/>
                  </a:lnTo>
                  <a:lnTo>
                    <a:pt x="374" y="589"/>
                  </a:lnTo>
                  <a:lnTo>
                    <a:pt x="388" y="585"/>
                  </a:lnTo>
                  <a:lnTo>
                    <a:pt x="402" y="581"/>
                  </a:lnTo>
                  <a:lnTo>
                    <a:pt x="416" y="575"/>
                  </a:lnTo>
                  <a:lnTo>
                    <a:pt x="429" y="570"/>
                  </a:lnTo>
                  <a:lnTo>
                    <a:pt x="442" y="562"/>
                  </a:lnTo>
                  <a:lnTo>
                    <a:pt x="454" y="556"/>
                  </a:lnTo>
                  <a:lnTo>
                    <a:pt x="467" y="547"/>
                  </a:lnTo>
                  <a:lnTo>
                    <a:pt x="479" y="540"/>
                  </a:lnTo>
                  <a:lnTo>
                    <a:pt x="490" y="530"/>
                  </a:lnTo>
                  <a:lnTo>
                    <a:pt x="500" y="522"/>
                  </a:lnTo>
                  <a:lnTo>
                    <a:pt x="511" y="511"/>
                  </a:lnTo>
                  <a:lnTo>
                    <a:pt x="521" y="501"/>
                  </a:lnTo>
                  <a:lnTo>
                    <a:pt x="530" y="491"/>
                  </a:lnTo>
                  <a:lnTo>
                    <a:pt x="539" y="479"/>
                  </a:lnTo>
                  <a:lnTo>
                    <a:pt x="547" y="467"/>
                  </a:lnTo>
                  <a:lnTo>
                    <a:pt x="555" y="455"/>
                  </a:lnTo>
                  <a:lnTo>
                    <a:pt x="562" y="442"/>
                  </a:lnTo>
                  <a:lnTo>
                    <a:pt x="569" y="430"/>
                  </a:lnTo>
                  <a:lnTo>
                    <a:pt x="575" y="416"/>
                  </a:lnTo>
                  <a:lnTo>
                    <a:pt x="581" y="403"/>
                  </a:lnTo>
                  <a:lnTo>
                    <a:pt x="585" y="389"/>
                  </a:lnTo>
                  <a:lnTo>
                    <a:pt x="589" y="374"/>
                  </a:lnTo>
                  <a:lnTo>
                    <a:pt x="592" y="360"/>
                  </a:lnTo>
                  <a:lnTo>
                    <a:pt x="596" y="345"/>
                  </a:lnTo>
                  <a:lnTo>
                    <a:pt x="598" y="330"/>
                  </a:lnTo>
                  <a:lnTo>
                    <a:pt x="599" y="315"/>
                  </a:lnTo>
                  <a:lnTo>
                    <a:pt x="599" y="299"/>
                  </a:lnTo>
                  <a:lnTo>
                    <a:pt x="599" y="284"/>
                  </a:lnTo>
                  <a:lnTo>
                    <a:pt x="598" y="269"/>
                  </a:lnTo>
                  <a:lnTo>
                    <a:pt x="596" y="254"/>
                  </a:lnTo>
                  <a:lnTo>
                    <a:pt x="592" y="239"/>
                  </a:lnTo>
                  <a:lnTo>
                    <a:pt x="589" y="225"/>
                  </a:lnTo>
                  <a:lnTo>
                    <a:pt x="585" y="210"/>
                  </a:lnTo>
                  <a:lnTo>
                    <a:pt x="581" y="196"/>
                  </a:lnTo>
                  <a:lnTo>
                    <a:pt x="575" y="183"/>
                  </a:lnTo>
                  <a:lnTo>
                    <a:pt x="569" y="169"/>
                  </a:lnTo>
                  <a:lnTo>
                    <a:pt x="562" y="157"/>
                  </a:lnTo>
                  <a:lnTo>
                    <a:pt x="555" y="145"/>
                  </a:lnTo>
                  <a:lnTo>
                    <a:pt x="547" y="132"/>
                  </a:lnTo>
                  <a:lnTo>
                    <a:pt x="539" y="120"/>
                  </a:lnTo>
                  <a:lnTo>
                    <a:pt x="530" y="110"/>
                  </a:lnTo>
                  <a:lnTo>
                    <a:pt x="521" y="99"/>
                  </a:lnTo>
                  <a:lnTo>
                    <a:pt x="511" y="88"/>
                  </a:lnTo>
                  <a:lnTo>
                    <a:pt x="500" y="79"/>
                  </a:lnTo>
                  <a:lnTo>
                    <a:pt x="490" y="69"/>
                  </a:lnTo>
                  <a:lnTo>
                    <a:pt x="479" y="59"/>
                  </a:lnTo>
                  <a:lnTo>
                    <a:pt x="467" y="52"/>
                  </a:lnTo>
                  <a:lnTo>
                    <a:pt x="454" y="43"/>
                  </a:lnTo>
                  <a:lnTo>
                    <a:pt x="442" y="37"/>
                  </a:lnTo>
                  <a:lnTo>
                    <a:pt x="429" y="29"/>
                  </a:lnTo>
                  <a:lnTo>
                    <a:pt x="416" y="24"/>
                  </a:lnTo>
                  <a:lnTo>
                    <a:pt x="402" y="19"/>
                  </a:lnTo>
                  <a:lnTo>
                    <a:pt x="388" y="13"/>
                  </a:lnTo>
                  <a:lnTo>
                    <a:pt x="374" y="10"/>
                  </a:lnTo>
                  <a:lnTo>
                    <a:pt x="360" y="6"/>
                  </a:lnTo>
                  <a:lnTo>
                    <a:pt x="345" y="4"/>
                  </a:lnTo>
                  <a:lnTo>
                    <a:pt x="330" y="1"/>
                  </a:lnTo>
                  <a:lnTo>
                    <a:pt x="315" y="0"/>
                  </a:lnTo>
                  <a:lnTo>
                    <a:pt x="2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19" name="Freeform 55">
              <a:extLst>
                <a:ext uri="{FF2B5EF4-FFF2-40B4-BE49-F238E27FC236}">
                  <a16:creationId xmlns:a16="http://schemas.microsoft.com/office/drawing/2014/main" id="{C4E15AA3-A1EE-4F5D-BFCA-0001719122B7}"/>
                </a:ext>
              </a:extLst>
            </p:cNvPr>
            <p:cNvSpPr>
              <a:spLocks/>
            </p:cNvSpPr>
            <p:nvPr/>
          </p:nvSpPr>
          <p:spPr bwMode="auto">
            <a:xfrm>
              <a:off x="1500859" y="2712077"/>
              <a:ext cx="65177" cy="21726"/>
            </a:xfrm>
            <a:custGeom>
              <a:avLst/>
              <a:gdLst>
                <a:gd name="T0" fmla="*/ 75 w 90"/>
                <a:gd name="T1" fmla="*/ 0 h 30"/>
                <a:gd name="T2" fmla="*/ 15 w 90"/>
                <a:gd name="T3" fmla="*/ 0 h 30"/>
                <a:gd name="T4" fmla="*/ 12 w 90"/>
                <a:gd name="T5" fmla="*/ 1 h 30"/>
                <a:gd name="T6" fmla="*/ 8 w 90"/>
                <a:gd name="T7" fmla="*/ 2 h 30"/>
                <a:gd name="T8" fmla="*/ 6 w 90"/>
                <a:gd name="T9" fmla="*/ 3 h 30"/>
                <a:gd name="T10" fmla="*/ 4 w 90"/>
                <a:gd name="T11" fmla="*/ 5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8 h 30"/>
                <a:gd name="T44" fmla="*/ 85 w 90"/>
                <a:gd name="T45" fmla="*/ 26 h 30"/>
                <a:gd name="T46" fmla="*/ 86 w 90"/>
                <a:gd name="T47" fmla="*/ 24 h 30"/>
                <a:gd name="T48" fmla="*/ 89 w 90"/>
                <a:gd name="T49" fmla="*/ 21 h 30"/>
                <a:gd name="T50" fmla="*/ 90 w 90"/>
                <a:gd name="T51" fmla="*/ 18 h 30"/>
                <a:gd name="T52" fmla="*/ 90 w 90"/>
                <a:gd name="T53" fmla="*/ 15 h 30"/>
                <a:gd name="T54" fmla="*/ 90 w 90"/>
                <a:gd name="T55" fmla="*/ 13 h 30"/>
                <a:gd name="T56" fmla="*/ 89 w 90"/>
                <a:gd name="T57" fmla="*/ 10 h 30"/>
                <a:gd name="T58" fmla="*/ 86 w 90"/>
                <a:gd name="T59" fmla="*/ 8 h 30"/>
                <a:gd name="T60" fmla="*/ 85 w 90"/>
                <a:gd name="T61" fmla="*/ 5 h 30"/>
                <a:gd name="T62" fmla="*/ 83 w 90"/>
                <a:gd name="T63" fmla="*/ 3 h 30"/>
                <a:gd name="T64" fmla="*/ 80 w 90"/>
                <a:gd name="T65" fmla="*/ 2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8" y="2"/>
                  </a:lnTo>
                  <a:lnTo>
                    <a:pt x="6" y="3"/>
                  </a:lnTo>
                  <a:lnTo>
                    <a:pt x="4" y="5"/>
                  </a:lnTo>
                  <a:lnTo>
                    <a:pt x="2" y="8"/>
                  </a:lnTo>
                  <a:lnTo>
                    <a:pt x="1" y="10"/>
                  </a:lnTo>
                  <a:lnTo>
                    <a:pt x="0" y="13"/>
                  </a:lnTo>
                  <a:lnTo>
                    <a:pt x="0" y="15"/>
                  </a:lnTo>
                  <a:lnTo>
                    <a:pt x="0" y="18"/>
                  </a:lnTo>
                  <a:lnTo>
                    <a:pt x="1" y="21"/>
                  </a:lnTo>
                  <a:lnTo>
                    <a:pt x="2" y="24"/>
                  </a:lnTo>
                  <a:lnTo>
                    <a:pt x="4" y="26"/>
                  </a:lnTo>
                  <a:lnTo>
                    <a:pt x="6" y="28"/>
                  </a:lnTo>
                  <a:lnTo>
                    <a:pt x="8" y="29"/>
                  </a:lnTo>
                  <a:lnTo>
                    <a:pt x="12" y="30"/>
                  </a:lnTo>
                  <a:lnTo>
                    <a:pt x="15" y="30"/>
                  </a:lnTo>
                  <a:lnTo>
                    <a:pt x="75" y="30"/>
                  </a:lnTo>
                  <a:lnTo>
                    <a:pt x="78" y="30"/>
                  </a:lnTo>
                  <a:lnTo>
                    <a:pt x="80" y="29"/>
                  </a:lnTo>
                  <a:lnTo>
                    <a:pt x="83" y="28"/>
                  </a:lnTo>
                  <a:lnTo>
                    <a:pt x="85" y="26"/>
                  </a:lnTo>
                  <a:lnTo>
                    <a:pt x="86" y="24"/>
                  </a:lnTo>
                  <a:lnTo>
                    <a:pt x="89" y="21"/>
                  </a:lnTo>
                  <a:lnTo>
                    <a:pt x="90" y="18"/>
                  </a:lnTo>
                  <a:lnTo>
                    <a:pt x="90" y="15"/>
                  </a:lnTo>
                  <a:lnTo>
                    <a:pt x="90" y="13"/>
                  </a:lnTo>
                  <a:lnTo>
                    <a:pt x="89" y="10"/>
                  </a:lnTo>
                  <a:lnTo>
                    <a:pt x="86" y="8"/>
                  </a:lnTo>
                  <a:lnTo>
                    <a:pt x="85" y="5"/>
                  </a:lnTo>
                  <a:lnTo>
                    <a:pt x="83" y="3"/>
                  </a:lnTo>
                  <a:lnTo>
                    <a:pt x="80" y="2"/>
                  </a:lnTo>
                  <a:lnTo>
                    <a:pt x="78" y="1"/>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0" name="Freeform 56">
              <a:extLst>
                <a:ext uri="{FF2B5EF4-FFF2-40B4-BE49-F238E27FC236}">
                  <a16:creationId xmlns:a16="http://schemas.microsoft.com/office/drawing/2014/main" id="{4E185170-C557-4F80-8BF4-FCF427A1E828}"/>
                </a:ext>
              </a:extLst>
            </p:cNvPr>
            <p:cNvSpPr>
              <a:spLocks/>
            </p:cNvSpPr>
            <p:nvPr/>
          </p:nvSpPr>
          <p:spPr bwMode="auto">
            <a:xfrm>
              <a:off x="1240149" y="2407916"/>
              <a:ext cx="21726" cy="65177"/>
            </a:xfrm>
            <a:custGeom>
              <a:avLst/>
              <a:gdLst>
                <a:gd name="T0" fmla="*/ 15 w 30"/>
                <a:gd name="T1" fmla="*/ 89 h 89"/>
                <a:gd name="T2" fmla="*/ 18 w 30"/>
                <a:gd name="T3" fmla="*/ 89 h 89"/>
                <a:gd name="T4" fmla="*/ 21 w 30"/>
                <a:gd name="T5" fmla="*/ 88 h 89"/>
                <a:gd name="T6" fmla="*/ 24 w 30"/>
                <a:gd name="T7" fmla="*/ 87 h 89"/>
                <a:gd name="T8" fmla="*/ 26 w 30"/>
                <a:gd name="T9" fmla="*/ 85 h 89"/>
                <a:gd name="T10" fmla="*/ 28 w 30"/>
                <a:gd name="T11" fmla="*/ 83 h 89"/>
                <a:gd name="T12" fmla="*/ 29 w 30"/>
                <a:gd name="T13" fmla="*/ 81 h 89"/>
                <a:gd name="T14" fmla="*/ 30 w 30"/>
                <a:gd name="T15" fmla="*/ 78 h 89"/>
                <a:gd name="T16" fmla="*/ 30 w 30"/>
                <a:gd name="T17" fmla="*/ 74 h 89"/>
                <a:gd name="T18" fmla="*/ 30 w 30"/>
                <a:gd name="T19" fmla="*/ 14 h 89"/>
                <a:gd name="T20" fmla="*/ 30 w 30"/>
                <a:gd name="T21" fmla="*/ 11 h 89"/>
                <a:gd name="T22" fmla="*/ 29 w 30"/>
                <a:gd name="T23" fmla="*/ 9 h 89"/>
                <a:gd name="T24" fmla="*/ 28 w 30"/>
                <a:gd name="T25" fmla="*/ 6 h 89"/>
                <a:gd name="T26" fmla="*/ 26 w 30"/>
                <a:gd name="T27" fmla="*/ 4 h 89"/>
                <a:gd name="T28" fmla="*/ 24 w 30"/>
                <a:gd name="T29" fmla="*/ 2 h 89"/>
                <a:gd name="T30" fmla="*/ 21 w 30"/>
                <a:gd name="T31" fmla="*/ 1 h 89"/>
                <a:gd name="T32" fmla="*/ 18 w 30"/>
                <a:gd name="T33" fmla="*/ 0 h 89"/>
                <a:gd name="T34" fmla="*/ 15 w 30"/>
                <a:gd name="T35" fmla="*/ 0 h 89"/>
                <a:gd name="T36" fmla="*/ 13 w 30"/>
                <a:gd name="T37" fmla="*/ 0 h 89"/>
                <a:gd name="T38" fmla="*/ 10 w 30"/>
                <a:gd name="T39" fmla="*/ 1 h 89"/>
                <a:gd name="T40" fmla="*/ 7 w 30"/>
                <a:gd name="T41" fmla="*/ 2 h 89"/>
                <a:gd name="T42" fmla="*/ 4 w 30"/>
                <a:gd name="T43" fmla="*/ 4 h 89"/>
                <a:gd name="T44" fmla="*/ 3 w 30"/>
                <a:gd name="T45" fmla="*/ 6 h 89"/>
                <a:gd name="T46" fmla="*/ 1 w 30"/>
                <a:gd name="T47" fmla="*/ 9 h 89"/>
                <a:gd name="T48" fmla="*/ 1 w 30"/>
                <a:gd name="T49" fmla="*/ 11 h 89"/>
                <a:gd name="T50" fmla="*/ 0 w 30"/>
                <a:gd name="T51" fmla="*/ 14 h 89"/>
                <a:gd name="T52" fmla="*/ 0 w 30"/>
                <a:gd name="T53" fmla="*/ 74 h 89"/>
                <a:gd name="T54" fmla="*/ 1 w 30"/>
                <a:gd name="T55" fmla="*/ 78 h 89"/>
                <a:gd name="T56" fmla="*/ 1 w 30"/>
                <a:gd name="T57" fmla="*/ 81 h 89"/>
                <a:gd name="T58" fmla="*/ 3 w 30"/>
                <a:gd name="T59" fmla="*/ 83 h 89"/>
                <a:gd name="T60" fmla="*/ 4 w 30"/>
                <a:gd name="T61" fmla="*/ 85 h 89"/>
                <a:gd name="T62" fmla="*/ 7 w 30"/>
                <a:gd name="T63" fmla="*/ 87 h 89"/>
                <a:gd name="T64" fmla="*/ 10 w 30"/>
                <a:gd name="T65" fmla="*/ 88 h 89"/>
                <a:gd name="T66" fmla="*/ 13 w 30"/>
                <a:gd name="T67" fmla="*/ 89 h 89"/>
                <a:gd name="T68" fmla="*/ 15 w 30"/>
                <a:gd name="T6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89">
                  <a:moveTo>
                    <a:pt x="15" y="89"/>
                  </a:moveTo>
                  <a:lnTo>
                    <a:pt x="18" y="89"/>
                  </a:lnTo>
                  <a:lnTo>
                    <a:pt x="21" y="88"/>
                  </a:lnTo>
                  <a:lnTo>
                    <a:pt x="24" y="87"/>
                  </a:lnTo>
                  <a:lnTo>
                    <a:pt x="26" y="85"/>
                  </a:lnTo>
                  <a:lnTo>
                    <a:pt x="28" y="83"/>
                  </a:lnTo>
                  <a:lnTo>
                    <a:pt x="29" y="81"/>
                  </a:lnTo>
                  <a:lnTo>
                    <a:pt x="30" y="78"/>
                  </a:lnTo>
                  <a:lnTo>
                    <a:pt x="30" y="74"/>
                  </a:lnTo>
                  <a:lnTo>
                    <a:pt x="30" y="14"/>
                  </a:lnTo>
                  <a:lnTo>
                    <a:pt x="30" y="11"/>
                  </a:lnTo>
                  <a:lnTo>
                    <a:pt x="29" y="9"/>
                  </a:lnTo>
                  <a:lnTo>
                    <a:pt x="28" y="6"/>
                  </a:lnTo>
                  <a:lnTo>
                    <a:pt x="26" y="4"/>
                  </a:lnTo>
                  <a:lnTo>
                    <a:pt x="24" y="2"/>
                  </a:lnTo>
                  <a:lnTo>
                    <a:pt x="21" y="1"/>
                  </a:lnTo>
                  <a:lnTo>
                    <a:pt x="18" y="0"/>
                  </a:lnTo>
                  <a:lnTo>
                    <a:pt x="15" y="0"/>
                  </a:lnTo>
                  <a:lnTo>
                    <a:pt x="13" y="0"/>
                  </a:lnTo>
                  <a:lnTo>
                    <a:pt x="10" y="1"/>
                  </a:lnTo>
                  <a:lnTo>
                    <a:pt x="7" y="2"/>
                  </a:lnTo>
                  <a:lnTo>
                    <a:pt x="4" y="4"/>
                  </a:lnTo>
                  <a:lnTo>
                    <a:pt x="3" y="6"/>
                  </a:lnTo>
                  <a:lnTo>
                    <a:pt x="1" y="9"/>
                  </a:lnTo>
                  <a:lnTo>
                    <a:pt x="1" y="11"/>
                  </a:lnTo>
                  <a:lnTo>
                    <a:pt x="0" y="14"/>
                  </a:lnTo>
                  <a:lnTo>
                    <a:pt x="0" y="74"/>
                  </a:lnTo>
                  <a:lnTo>
                    <a:pt x="1" y="78"/>
                  </a:lnTo>
                  <a:lnTo>
                    <a:pt x="1" y="81"/>
                  </a:lnTo>
                  <a:lnTo>
                    <a:pt x="3" y="83"/>
                  </a:lnTo>
                  <a:lnTo>
                    <a:pt x="4" y="85"/>
                  </a:lnTo>
                  <a:lnTo>
                    <a:pt x="7" y="87"/>
                  </a:lnTo>
                  <a:lnTo>
                    <a:pt x="10" y="88"/>
                  </a:lnTo>
                  <a:lnTo>
                    <a:pt x="13" y="89"/>
                  </a:lnTo>
                  <a:lnTo>
                    <a:pt x="15" y="89"/>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1" name="Freeform 57">
              <a:extLst>
                <a:ext uri="{FF2B5EF4-FFF2-40B4-BE49-F238E27FC236}">
                  <a16:creationId xmlns:a16="http://schemas.microsoft.com/office/drawing/2014/main" id="{464AACAE-C232-4E50-B639-1ECC6116B5F1}"/>
                </a:ext>
              </a:extLst>
            </p:cNvPr>
            <p:cNvSpPr>
              <a:spLocks/>
            </p:cNvSpPr>
            <p:nvPr/>
          </p:nvSpPr>
          <p:spPr bwMode="auto">
            <a:xfrm>
              <a:off x="935988" y="2712077"/>
              <a:ext cx="65177" cy="21726"/>
            </a:xfrm>
            <a:custGeom>
              <a:avLst/>
              <a:gdLst>
                <a:gd name="T0" fmla="*/ 75 w 90"/>
                <a:gd name="T1" fmla="*/ 0 h 30"/>
                <a:gd name="T2" fmla="*/ 15 w 90"/>
                <a:gd name="T3" fmla="*/ 0 h 30"/>
                <a:gd name="T4" fmla="*/ 12 w 90"/>
                <a:gd name="T5" fmla="*/ 1 h 30"/>
                <a:gd name="T6" fmla="*/ 9 w 90"/>
                <a:gd name="T7" fmla="*/ 2 h 30"/>
                <a:gd name="T8" fmla="*/ 7 w 90"/>
                <a:gd name="T9" fmla="*/ 3 h 30"/>
                <a:gd name="T10" fmla="*/ 5 w 90"/>
                <a:gd name="T11" fmla="*/ 5 h 30"/>
                <a:gd name="T12" fmla="*/ 3 w 90"/>
                <a:gd name="T13" fmla="*/ 8 h 30"/>
                <a:gd name="T14" fmla="*/ 1 w 90"/>
                <a:gd name="T15" fmla="*/ 10 h 30"/>
                <a:gd name="T16" fmla="*/ 0 w 90"/>
                <a:gd name="T17" fmla="*/ 13 h 30"/>
                <a:gd name="T18" fmla="*/ 0 w 90"/>
                <a:gd name="T19" fmla="*/ 15 h 30"/>
                <a:gd name="T20" fmla="*/ 0 w 90"/>
                <a:gd name="T21" fmla="*/ 18 h 30"/>
                <a:gd name="T22" fmla="*/ 1 w 90"/>
                <a:gd name="T23" fmla="*/ 21 h 30"/>
                <a:gd name="T24" fmla="*/ 3 w 90"/>
                <a:gd name="T25" fmla="*/ 24 h 30"/>
                <a:gd name="T26" fmla="*/ 5 w 90"/>
                <a:gd name="T27" fmla="*/ 26 h 30"/>
                <a:gd name="T28" fmla="*/ 7 w 90"/>
                <a:gd name="T29" fmla="*/ 28 h 30"/>
                <a:gd name="T30" fmla="*/ 9 w 90"/>
                <a:gd name="T31" fmla="*/ 29 h 30"/>
                <a:gd name="T32" fmla="*/ 12 w 90"/>
                <a:gd name="T33" fmla="*/ 30 h 30"/>
                <a:gd name="T34" fmla="*/ 15 w 90"/>
                <a:gd name="T35" fmla="*/ 30 h 30"/>
                <a:gd name="T36" fmla="*/ 75 w 90"/>
                <a:gd name="T37" fmla="*/ 30 h 30"/>
                <a:gd name="T38" fmla="*/ 79 w 90"/>
                <a:gd name="T39" fmla="*/ 30 h 30"/>
                <a:gd name="T40" fmla="*/ 81 w 90"/>
                <a:gd name="T41" fmla="*/ 29 h 30"/>
                <a:gd name="T42" fmla="*/ 84 w 90"/>
                <a:gd name="T43" fmla="*/ 28 h 30"/>
                <a:gd name="T44" fmla="*/ 86 w 90"/>
                <a:gd name="T45" fmla="*/ 26 h 30"/>
                <a:gd name="T46" fmla="*/ 87 w 90"/>
                <a:gd name="T47" fmla="*/ 24 h 30"/>
                <a:gd name="T48" fmla="*/ 89 w 90"/>
                <a:gd name="T49" fmla="*/ 21 h 30"/>
                <a:gd name="T50" fmla="*/ 90 w 90"/>
                <a:gd name="T51" fmla="*/ 18 h 30"/>
                <a:gd name="T52" fmla="*/ 90 w 90"/>
                <a:gd name="T53" fmla="*/ 15 h 30"/>
                <a:gd name="T54" fmla="*/ 90 w 90"/>
                <a:gd name="T55" fmla="*/ 13 h 30"/>
                <a:gd name="T56" fmla="*/ 89 w 90"/>
                <a:gd name="T57" fmla="*/ 10 h 30"/>
                <a:gd name="T58" fmla="*/ 87 w 90"/>
                <a:gd name="T59" fmla="*/ 8 h 30"/>
                <a:gd name="T60" fmla="*/ 86 w 90"/>
                <a:gd name="T61" fmla="*/ 5 h 30"/>
                <a:gd name="T62" fmla="*/ 84 w 90"/>
                <a:gd name="T63" fmla="*/ 3 h 30"/>
                <a:gd name="T64" fmla="*/ 81 w 90"/>
                <a:gd name="T65" fmla="*/ 2 h 30"/>
                <a:gd name="T66" fmla="*/ 79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9" y="2"/>
                  </a:lnTo>
                  <a:lnTo>
                    <a:pt x="7" y="3"/>
                  </a:lnTo>
                  <a:lnTo>
                    <a:pt x="5" y="5"/>
                  </a:lnTo>
                  <a:lnTo>
                    <a:pt x="3" y="8"/>
                  </a:lnTo>
                  <a:lnTo>
                    <a:pt x="1" y="10"/>
                  </a:lnTo>
                  <a:lnTo>
                    <a:pt x="0" y="13"/>
                  </a:lnTo>
                  <a:lnTo>
                    <a:pt x="0" y="15"/>
                  </a:lnTo>
                  <a:lnTo>
                    <a:pt x="0" y="18"/>
                  </a:lnTo>
                  <a:lnTo>
                    <a:pt x="1" y="21"/>
                  </a:lnTo>
                  <a:lnTo>
                    <a:pt x="3" y="24"/>
                  </a:lnTo>
                  <a:lnTo>
                    <a:pt x="5" y="26"/>
                  </a:lnTo>
                  <a:lnTo>
                    <a:pt x="7" y="28"/>
                  </a:lnTo>
                  <a:lnTo>
                    <a:pt x="9" y="29"/>
                  </a:lnTo>
                  <a:lnTo>
                    <a:pt x="12" y="30"/>
                  </a:lnTo>
                  <a:lnTo>
                    <a:pt x="15" y="30"/>
                  </a:lnTo>
                  <a:lnTo>
                    <a:pt x="75" y="30"/>
                  </a:lnTo>
                  <a:lnTo>
                    <a:pt x="79" y="30"/>
                  </a:lnTo>
                  <a:lnTo>
                    <a:pt x="81" y="29"/>
                  </a:lnTo>
                  <a:lnTo>
                    <a:pt x="84" y="28"/>
                  </a:lnTo>
                  <a:lnTo>
                    <a:pt x="86" y="26"/>
                  </a:lnTo>
                  <a:lnTo>
                    <a:pt x="87" y="24"/>
                  </a:lnTo>
                  <a:lnTo>
                    <a:pt x="89" y="21"/>
                  </a:lnTo>
                  <a:lnTo>
                    <a:pt x="90" y="18"/>
                  </a:lnTo>
                  <a:lnTo>
                    <a:pt x="90" y="15"/>
                  </a:lnTo>
                  <a:lnTo>
                    <a:pt x="90" y="13"/>
                  </a:lnTo>
                  <a:lnTo>
                    <a:pt x="89" y="10"/>
                  </a:lnTo>
                  <a:lnTo>
                    <a:pt x="87" y="8"/>
                  </a:lnTo>
                  <a:lnTo>
                    <a:pt x="86" y="5"/>
                  </a:lnTo>
                  <a:lnTo>
                    <a:pt x="84" y="3"/>
                  </a:lnTo>
                  <a:lnTo>
                    <a:pt x="81" y="2"/>
                  </a:lnTo>
                  <a:lnTo>
                    <a:pt x="79" y="1"/>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2" name="Freeform 58">
              <a:extLst>
                <a:ext uri="{FF2B5EF4-FFF2-40B4-BE49-F238E27FC236}">
                  <a16:creationId xmlns:a16="http://schemas.microsoft.com/office/drawing/2014/main" id="{78F108E2-DF38-4AA1-9113-A588422E6B45}"/>
                </a:ext>
              </a:extLst>
            </p:cNvPr>
            <p:cNvSpPr>
              <a:spLocks/>
            </p:cNvSpPr>
            <p:nvPr/>
          </p:nvSpPr>
          <p:spPr bwMode="auto">
            <a:xfrm>
              <a:off x="1240149" y="2972787"/>
              <a:ext cx="21726" cy="65177"/>
            </a:xfrm>
            <a:custGeom>
              <a:avLst/>
              <a:gdLst>
                <a:gd name="T0" fmla="*/ 15 w 30"/>
                <a:gd name="T1" fmla="*/ 0 h 90"/>
                <a:gd name="T2" fmla="*/ 13 w 30"/>
                <a:gd name="T3" fmla="*/ 0 h 90"/>
                <a:gd name="T4" fmla="*/ 10 w 30"/>
                <a:gd name="T5" fmla="*/ 1 h 90"/>
                <a:gd name="T6" fmla="*/ 7 w 30"/>
                <a:gd name="T7" fmla="*/ 2 h 90"/>
                <a:gd name="T8" fmla="*/ 4 w 30"/>
                <a:gd name="T9" fmla="*/ 4 h 90"/>
                <a:gd name="T10" fmla="*/ 3 w 30"/>
                <a:gd name="T11" fmla="*/ 6 h 90"/>
                <a:gd name="T12" fmla="*/ 1 w 30"/>
                <a:gd name="T13" fmla="*/ 9 h 90"/>
                <a:gd name="T14" fmla="*/ 1 w 30"/>
                <a:gd name="T15" fmla="*/ 11 h 90"/>
                <a:gd name="T16" fmla="*/ 0 w 30"/>
                <a:gd name="T17" fmla="*/ 15 h 90"/>
                <a:gd name="T18" fmla="*/ 0 w 30"/>
                <a:gd name="T19" fmla="*/ 75 h 90"/>
                <a:gd name="T20" fmla="*/ 1 w 30"/>
                <a:gd name="T21" fmla="*/ 78 h 90"/>
                <a:gd name="T22" fmla="*/ 1 w 30"/>
                <a:gd name="T23" fmla="*/ 81 h 90"/>
                <a:gd name="T24" fmla="*/ 3 w 30"/>
                <a:gd name="T25" fmla="*/ 83 h 90"/>
                <a:gd name="T26" fmla="*/ 4 w 30"/>
                <a:gd name="T27" fmla="*/ 85 h 90"/>
                <a:gd name="T28" fmla="*/ 7 w 30"/>
                <a:gd name="T29" fmla="*/ 87 h 90"/>
                <a:gd name="T30" fmla="*/ 10 w 30"/>
                <a:gd name="T31" fmla="*/ 89 h 90"/>
                <a:gd name="T32" fmla="*/ 13 w 30"/>
                <a:gd name="T33" fmla="*/ 90 h 90"/>
                <a:gd name="T34" fmla="*/ 15 w 30"/>
                <a:gd name="T35" fmla="*/ 90 h 90"/>
                <a:gd name="T36" fmla="*/ 18 w 30"/>
                <a:gd name="T37" fmla="*/ 90 h 90"/>
                <a:gd name="T38" fmla="*/ 21 w 30"/>
                <a:gd name="T39" fmla="*/ 89 h 90"/>
                <a:gd name="T40" fmla="*/ 24 w 30"/>
                <a:gd name="T41" fmla="*/ 87 h 90"/>
                <a:gd name="T42" fmla="*/ 26 w 30"/>
                <a:gd name="T43" fmla="*/ 85 h 90"/>
                <a:gd name="T44" fmla="*/ 28 w 30"/>
                <a:gd name="T45" fmla="*/ 83 h 90"/>
                <a:gd name="T46" fmla="*/ 29 w 30"/>
                <a:gd name="T47" fmla="*/ 81 h 90"/>
                <a:gd name="T48" fmla="*/ 30 w 30"/>
                <a:gd name="T49" fmla="*/ 78 h 90"/>
                <a:gd name="T50" fmla="*/ 30 w 30"/>
                <a:gd name="T51" fmla="*/ 75 h 90"/>
                <a:gd name="T52" fmla="*/ 30 w 30"/>
                <a:gd name="T53" fmla="*/ 15 h 90"/>
                <a:gd name="T54" fmla="*/ 30 w 30"/>
                <a:gd name="T55" fmla="*/ 11 h 90"/>
                <a:gd name="T56" fmla="*/ 29 w 30"/>
                <a:gd name="T57" fmla="*/ 9 h 90"/>
                <a:gd name="T58" fmla="*/ 28 w 30"/>
                <a:gd name="T59" fmla="*/ 6 h 90"/>
                <a:gd name="T60" fmla="*/ 26 w 30"/>
                <a:gd name="T61" fmla="*/ 4 h 90"/>
                <a:gd name="T62" fmla="*/ 24 w 30"/>
                <a:gd name="T63" fmla="*/ 2 h 90"/>
                <a:gd name="T64" fmla="*/ 21 w 30"/>
                <a:gd name="T65" fmla="*/ 1 h 90"/>
                <a:gd name="T66" fmla="*/ 18 w 30"/>
                <a:gd name="T67" fmla="*/ 0 h 90"/>
                <a:gd name="T68" fmla="*/ 15 w 30"/>
                <a:gd name="T6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0"/>
                  </a:moveTo>
                  <a:lnTo>
                    <a:pt x="13" y="0"/>
                  </a:lnTo>
                  <a:lnTo>
                    <a:pt x="10" y="1"/>
                  </a:lnTo>
                  <a:lnTo>
                    <a:pt x="7" y="2"/>
                  </a:lnTo>
                  <a:lnTo>
                    <a:pt x="4" y="4"/>
                  </a:lnTo>
                  <a:lnTo>
                    <a:pt x="3" y="6"/>
                  </a:lnTo>
                  <a:lnTo>
                    <a:pt x="1" y="9"/>
                  </a:lnTo>
                  <a:lnTo>
                    <a:pt x="1" y="11"/>
                  </a:lnTo>
                  <a:lnTo>
                    <a:pt x="0" y="15"/>
                  </a:lnTo>
                  <a:lnTo>
                    <a:pt x="0" y="75"/>
                  </a:lnTo>
                  <a:lnTo>
                    <a:pt x="1" y="78"/>
                  </a:lnTo>
                  <a:lnTo>
                    <a:pt x="1" y="81"/>
                  </a:lnTo>
                  <a:lnTo>
                    <a:pt x="3" y="83"/>
                  </a:lnTo>
                  <a:lnTo>
                    <a:pt x="4" y="85"/>
                  </a:lnTo>
                  <a:lnTo>
                    <a:pt x="7" y="87"/>
                  </a:lnTo>
                  <a:lnTo>
                    <a:pt x="10" y="89"/>
                  </a:lnTo>
                  <a:lnTo>
                    <a:pt x="13" y="90"/>
                  </a:lnTo>
                  <a:lnTo>
                    <a:pt x="15" y="90"/>
                  </a:lnTo>
                  <a:lnTo>
                    <a:pt x="18" y="90"/>
                  </a:lnTo>
                  <a:lnTo>
                    <a:pt x="21" y="89"/>
                  </a:lnTo>
                  <a:lnTo>
                    <a:pt x="24" y="87"/>
                  </a:lnTo>
                  <a:lnTo>
                    <a:pt x="26" y="85"/>
                  </a:lnTo>
                  <a:lnTo>
                    <a:pt x="28" y="83"/>
                  </a:lnTo>
                  <a:lnTo>
                    <a:pt x="29" y="81"/>
                  </a:lnTo>
                  <a:lnTo>
                    <a:pt x="30" y="78"/>
                  </a:lnTo>
                  <a:lnTo>
                    <a:pt x="30" y="75"/>
                  </a:lnTo>
                  <a:lnTo>
                    <a:pt x="30" y="15"/>
                  </a:lnTo>
                  <a:lnTo>
                    <a:pt x="30" y="11"/>
                  </a:lnTo>
                  <a:lnTo>
                    <a:pt x="29" y="9"/>
                  </a:lnTo>
                  <a:lnTo>
                    <a:pt x="28" y="6"/>
                  </a:lnTo>
                  <a:lnTo>
                    <a:pt x="26" y="4"/>
                  </a:lnTo>
                  <a:lnTo>
                    <a:pt x="24" y="2"/>
                  </a:lnTo>
                  <a:lnTo>
                    <a:pt x="21" y="1"/>
                  </a:lnTo>
                  <a:lnTo>
                    <a:pt x="18" y="0"/>
                  </a:ln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3" name="Freeform 59">
              <a:extLst>
                <a:ext uri="{FF2B5EF4-FFF2-40B4-BE49-F238E27FC236}">
                  <a16:creationId xmlns:a16="http://schemas.microsoft.com/office/drawing/2014/main" id="{E22382D9-3040-4416-9007-BF3E83F99E60}"/>
                </a:ext>
              </a:extLst>
            </p:cNvPr>
            <p:cNvSpPr>
              <a:spLocks/>
            </p:cNvSpPr>
            <p:nvPr/>
          </p:nvSpPr>
          <p:spPr bwMode="auto">
            <a:xfrm>
              <a:off x="1424817" y="2498439"/>
              <a:ext cx="50694" cy="50694"/>
            </a:xfrm>
            <a:custGeom>
              <a:avLst/>
              <a:gdLst>
                <a:gd name="T0" fmla="*/ 46 w 72"/>
                <a:gd name="T1" fmla="*/ 4 h 72"/>
                <a:gd name="T2" fmla="*/ 4 w 72"/>
                <a:gd name="T3" fmla="*/ 47 h 72"/>
                <a:gd name="T4" fmla="*/ 2 w 72"/>
                <a:gd name="T5" fmla="*/ 49 h 72"/>
                <a:gd name="T6" fmla="*/ 1 w 72"/>
                <a:gd name="T7" fmla="*/ 52 h 72"/>
                <a:gd name="T8" fmla="*/ 0 w 72"/>
                <a:gd name="T9" fmla="*/ 54 h 72"/>
                <a:gd name="T10" fmla="*/ 0 w 72"/>
                <a:gd name="T11" fmla="*/ 57 h 72"/>
                <a:gd name="T12" fmla="*/ 0 w 72"/>
                <a:gd name="T13" fmla="*/ 61 h 72"/>
                <a:gd name="T14" fmla="*/ 1 w 72"/>
                <a:gd name="T15" fmla="*/ 63 h 72"/>
                <a:gd name="T16" fmla="*/ 2 w 72"/>
                <a:gd name="T17" fmla="*/ 66 h 72"/>
                <a:gd name="T18" fmla="*/ 4 w 72"/>
                <a:gd name="T19" fmla="*/ 68 h 72"/>
                <a:gd name="T20" fmla="*/ 6 w 72"/>
                <a:gd name="T21" fmla="*/ 70 h 72"/>
                <a:gd name="T22" fmla="*/ 8 w 72"/>
                <a:gd name="T23" fmla="*/ 71 h 72"/>
                <a:gd name="T24" fmla="*/ 12 w 72"/>
                <a:gd name="T25" fmla="*/ 72 h 72"/>
                <a:gd name="T26" fmla="*/ 15 w 72"/>
                <a:gd name="T27" fmla="*/ 72 h 72"/>
                <a:gd name="T28" fmla="*/ 17 w 72"/>
                <a:gd name="T29" fmla="*/ 72 h 72"/>
                <a:gd name="T30" fmla="*/ 20 w 72"/>
                <a:gd name="T31" fmla="*/ 71 h 72"/>
                <a:gd name="T32" fmla="*/ 22 w 72"/>
                <a:gd name="T33" fmla="*/ 70 h 72"/>
                <a:gd name="T34" fmla="*/ 25 w 72"/>
                <a:gd name="T35" fmla="*/ 68 h 72"/>
                <a:gd name="T36" fmla="*/ 67 w 72"/>
                <a:gd name="T37" fmla="*/ 24 h 72"/>
                <a:gd name="T38" fmla="*/ 69 w 72"/>
                <a:gd name="T39" fmla="*/ 22 h 72"/>
                <a:gd name="T40" fmla="*/ 70 w 72"/>
                <a:gd name="T41" fmla="*/ 20 h 72"/>
                <a:gd name="T42" fmla="*/ 72 w 72"/>
                <a:gd name="T43" fmla="*/ 18 h 72"/>
                <a:gd name="T44" fmla="*/ 72 w 72"/>
                <a:gd name="T45" fmla="*/ 15 h 72"/>
                <a:gd name="T46" fmla="*/ 72 w 72"/>
                <a:gd name="T47" fmla="*/ 11 h 72"/>
                <a:gd name="T48" fmla="*/ 70 w 72"/>
                <a:gd name="T49" fmla="*/ 9 h 72"/>
                <a:gd name="T50" fmla="*/ 69 w 72"/>
                <a:gd name="T51" fmla="*/ 6 h 72"/>
                <a:gd name="T52" fmla="*/ 67 w 72"/>
                <a:gd name="T53" fmla="*/ 4 h 72"/>
                <a:gd name="T54" fmla="*/ 65 w 72"/>
                <a:gd name="T55" fmla="*/ 2 h 72"/>
                <a:gd name="T56" fmla="*/ 62 w 72"/>
                <a:gd name="T57" fmla="*/ 1 h 72"/>
                <a:gd name="T58" fmla="*/ 60 w 72"/>
                <a:gd name="T59" fmla="*/ 0 h 72"/>
                <a:gd name="T60" fmla="*/ 57 w 72"/>
                <a:gd name="T61" fmla="*/ 0 h 72"/>
                <a:gd name="T62" fmla="*/ 53 w 72"/>
                <a:gd name="T63" fmla="*/ 0 h 72"/>
                <a:gd name="T64" fmla="*/ 51 w 72"/>
                <a:gd name="T65" fmla="*/ 1 h 72"/>
                <a:gd name="T66" fmla="*/ 48 w 72"/>
                <a:gd name="T67" fmla="*/ 2 h 72"/>
                <a:gd name="T68" fmla="*/ 46 w 72"/>
                <a:gd name="T69"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2">
                  <a:moveTo>
                    <a:pt x="46" y="4"/>
                  </a:moveTo>
                  <a:lnTo>
                    <a:pt x="4" y="47"/>
                  </a:lnTo>
                  <a:lnTo>
                    <a:pt x="2" y="49"/>
                  </a:lnTo>
                  <a:lnTo>
                    <a:pt x="1" y="52"/>
                  </a:lnTo>
                  <a:lnTo>
                    <a:pt x="0" y="54"/>
                  </a:lnTo>
                  <a:lnTo>
                    <a:pt x="0" y="57"/>
                  </a:lnTo>
                  <a:lnTo>
                    <a:pt x="0" y="61"/>
                  </a:lnTo>
                  <a:lnTo>
                    <a:pt x="1" y="63"/>
                  </a:lnTo>
                  <a:lnTo>
                    <a:pt x="2" y="66"/>
                  </a:lnTo>
                  <a:lnTo>
                    <a:pt x="4" y="68"/>
                  </a:lnTo>
                  <a:lnTo>
                    <a:pt x="6" y="70"/>
                  </a:lnTo>
                  <a:lnTo>
                    <a:pt x="8" y="71"/>
                  </a:lnTo>
                  <a:lnTo>
                    <a:pt x="12" y="72"/>
                  </a:lnTo>
                  <a:lnTo>
                    <a:pt x="15" y="72"/>
                  </a:lnTo>
                  <a:lnTo>
                    <a:pt x="17" y="72"/>
                  </a:lnTo>
                  <a:lnTo>
                    <a:pt x="20" y="71"/>
                  </a:lnTo>
                  <a:lnTo>
                    <a:pt x="22" y="70"/>
                  </a:lnTo>
                  <a:lnTo>
                    <a:pt x="25" y="68"/>
                  </a:lnTo>
                  <a:lnTo>
                    <a:pt x="67" y="24"/>
                  </a:lnTo>
                  <a:lnTo>
                    <a:pt x="69" y="22"/>
                  </a:lnTo>
                  <a:lnTo>
                    <a:pt x="70" y="20"/>
                  </a:lnTo>
                  <a:lnTo>
                    <a:pt x="72" y="18"/>
                  </a:lnTo>
                  <a:lnTo>
                    <a:pt x="72" y="15"/>
                  </a:lnTo>
                  <a:lnTo>
                    <a:pt x="72" y="11"/>
                  </a:lnTo>
                  <a:lnTo>
                    <a:pt x="70" y="9"/>
                  </a:lnTo>
                  <a:lnTo>
                    <a:pt x="69" y="6"/>
                  </a:lnTo>
                  <a:lnTo>
                    <a:pt x="67" y="4"/>
                  </a:lnTo>
                  <a:lnTo>
                    <a:pt x="65" y="2"/>
                  </a:lnTo>
                  <a:lnTo>
                    <a:pt x="62" y="1"/>
                  </a:lnTo>
                  <a:lnTo>
                    <a:pt x="60" y="0"/>
                  </a:lnTo>
                  <a:lnTo>
                    <a:pt x="57" y="0"/>
                  </a:lnTo>
                  <a:lnTo>
                    <a:pt x="53" y="0"/>
                  </a:lnTo>
                  <a:lnTo>
                    <a:pt x="51" y="1"/>
                  </a:lnTo>
                  <a:lnTo>
                    <a:pt x="48" y="2"/>
                  </a:lnTo>
                  <a:lnTo>
                    <a:pt x="46"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4" name="Freeform 60">
              <a:extLst>
                <a:ext uri="{FF2B5EF4-FFF2-40B4-BE49-F238E27FC236}">
                  <a16:creationId xmlns:a16="http://schemas.microsoft.com/office/drawing/2014/main" id="{204F22E3-5756-4EE5-B3A7-8CDDE8AA648E}"/>
                </a:ext>
              </a:extLst>
            </p:cNvPr>
            <p:cNvSpPr>
              <a:spLocks/>
            </p:cNvSpPr>
            <p:nvPr/>
          </p:nvSpPr>
          <p:spPr bwMode="auto">
            <a:xfrm>
              <a:off x="1026511" y="2498439"/>
              <a:ext cx="50694" cy="50694"/>
            </a:xfrm>
            <a:custGeom>
              <a:avLst/>
              <a:gdLst>
                <a:gd name="T0" fmla="*/ 46 w 71"/>
                <a:gd name="T1" fmla="*/ 68 h 72"/>
                <a:gd name="T2" fmla="*/ 48 w 71"/>
                <a:gd name="T3" fmla="*/ 70 h 72"/>
                <a:gd name="T4" fmla="*/ 51 w 71"/>
                <a:gd name="T5" fmla="*/ 71 h 72"/>
                <a:gd name="T6" fmla="*/ 53 w 71"/>
                <a:gd name="T7" fmla="*/ 72 h 72"/>
                <a:gd name="T8" fmla="*/ 56 w 71"/>
                <a:gd name="T9" fmla="*/ 72 h 72"/>
                <a:gd name="T10" fmla="*/ 59 w 71"/>
                <a:gd name="T11" fmla="*/ 72 h 72"/>
                <a:gd name="T12" fmla="*/ 62 w 71"/>
                <a:gd name="T13" fmla="*/ 71 h 72"/>
                <a:gd name="T14" fmla="*/ 65 w 71"/>
                <a:gd name="T15" fmla="*/ 70 h 72"/>
                <a:gd name="T16" fmla="*/ 67 w 71"/>
                <a:gd name="T17" fmla="*/ 68 h 72"/>
                <a:gd name="T18" fmla="*/ 69 w 71"/>
                <a:gd name="T19" fmla="*/ 66 h 72"/>
                <a:gd name="T20" fmla="*/ 70 w 71"/>
                <a:gd name="T21" fmla="*/ 63 h 72"/>
                <a:gd name="T22" fmla="*/ 71 w 71"/>
                <a:gd name="T23" fmla="*/ 61 h 72"/>
                <a:gd name="T24" fmla="*/ 71 w 71"/>
                <a:gd name="T25" fmla="*/ 57 h 72"/>
                <a:gd name="T26" fmla="*/ 71 w 71"/>
                <a:gd name="T27" fmla="*/ 54 h 72"/>
                <a:gd name="T28" fmla="*/ 70 w 71"/>
                <a:gd name="T29" fmla="*/ 52 h 72"/>
                <a:gd name="T30" fmla="*/ 69 w 71"/>
                <a:gd name="T31" fmla="*/ 50 h 72"/>
                <a:gd name="T32" fmla="*/ 67 w 71"/>
                <a:gd name="T33" fmla="*/ 47 h 72"/>
                <a:gd name="T34" fmla="*/ 24 w 71"/>
                <a:gd name="T35" fmla="*/ 4 h 72"/>
                <a:gd name="T36" fmla="*/ 22 w 71"/>
                <a:gd name="T37" fmla="*/ 2 h 72"/>
                <a:gd name="T38" fmla="*/ 20 w 71"/>
                <a:gd name="T39" fmla="*/ 1 h 72"/>
                <a:gd name="T40" fmla="*/ 17 w 71"/>
                <a:gd name="T41" fmla="*/ 0 h 72"/>
                <a:gd name="T42" fmla="*/ 14 w 71"/>
                <a:gd name="T43" fmla="*/ 0 h 72"/>
                <a:gd name="T44" fmla="*/ 11 w 71"/>
                <a:gd name="T45" fmla="*/ 0 h 72"/>
                <a:gd name="T46" fmla="*/ 8 w 71"/>
                <a:gd name="T47" fmla="*/ 1 h 72"/>
                <a:gd name="T48" fmla="*/ 6 w 71"/>
                <a:gd name="T49" fmla="*/ 2 h 72"/>
                <a:gd name="T50" fmla="*/ 4 w 71"/>
                <a:gd name="T51" fmla="*/ 4 h 72"/>
                <a:gd name="T52" fmla="*/ 2 w 71"/>
                <a:gd name="T53" fmla="*/ 6 h 72"/>
                <a:gd name="T54" fmla="*/ 1 w 71"/>
                <a:gd name="T55" fmla="*/ 9 h 72"/>
                <a:gd name="T56" fmla="*/ 0 w 71"/>
                <a:gd name="T57" fmla="*/ 11 h 72"/>
                <a:gd name="T58" fmla="*/ 0 w 71"/>
                <a:gd name="T59" fmla="*/ 15 h 72"/>
                <a:gd name="T60" fmla="*/ 0 w 71"/>
                <a:gd name="T61" fmla="*/ 18 h 72"/>
                <a:gd name="T62" fmla="*/ 1 w 71"/>
                <a:gd name="T63" fmla="*/ 20 h 72"/>
                <a:gd name="T64" fmla="*/ 2 w 71"/>
                <a:gd name="T65" fmla="*/ 23 h 72"/>
                <a:gd name="T66" fmla="*/ 4 w 71"/>
                <a:gd name="T67" fmla="*/ 24 h 72"/>
                <a:gd name="T68" fmla="*/ 46 w 71"/>
                <a:gd name="T69"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72">
                  <a:moveTo>
                    <a:pt x="46" y="68"/>
                  </a:moveTo>
                  <a:lnTo>
                    <a:pt x="48" y="70"/>
                  </a:lnTo>
                  <a:lnTo>
                    <a:pt x="51" y="71"/>
                  </a:lnTo>
                  <a:lnTo>
                    <a:pt x="53" y="72"/>
                  </a:lnTo>
                  <a:lnTo>
                    <a:pt x="56" y="72"/>
                  </a:lnTo>
                  <a:lnTo>
                    <a:pt x="59" y="72"/>
                  </a:lnTo>
                  <a:lnTo>
                    <a:pt x="62" y="71"/>
                  </a:lnTo>
                  <a:lnTo>
                    <a:pt x="65" y="70"/>
                  </a:lnTo>
                  <a:lnTo>
                    <a:pt x="67" y="68"/>
                  </a:lnTo>
                  <a:lnTo>
                    <a:pt x="69" y="66"/>
                  </a:lnTo>
                  <a:lnTo>
                    <a:pt x="70" y="63"/>
                  </a:lnTo>
                  <a:lnTo>
                    <a:pt x="71" y="61"/>
                  </a:lnTo>
                  <a:lnTo>
                    <a:pt x="71" y="57"/>
                  </a:lnTo>
                  <a:lnTo>
                    <a:pt x="71" y="54"/>
                  </a:lnTo>
                  <a:lnTo>
                    <a:pt x="70" y="52"/>
                  </a:lnTo>
                  <a:lnTo>
                    <a:pt x="69" y="50"/>
                  </a:lnTo>
                  <a:lnTo>
                    <a:pt x="67" y="47"/>
                  </a:lnTo>
                  <a:lnTo>
                    <a:pt x="24" y="4"/>
                  </a:lnTo>
                  <a:lnTo>
                    <a:pt x="22" y="2"/>
                  </a:lnTo>
                  <a:lnTo>
                    <a:pt x="20" y="1"/>
                  </a:lnTo>
                  <a:lnTo>
                    <a:pt x="17" y="0"/>
                  </a:lnTo>
                  <a:lnTo>
                    <a:pt x="14" y="0"/>
                  </a:lnTo>
                  <a:lnTo>
                    <a:pt x="11" y="0"/>
                  </a:lnTo>
                  <a:lnTo>
                    <a:pt x="8" y="1"/>
                  </a:lnTo>
                  <a:lnTo>
                    <a:pt x="6" y="2"/>
                  </a:lnTo>
                  <a:lnTo>
                    <a:pt x="4" y="4"/>
                  </a:lnTo>
                  <a:lnTo>
                    <a:pt x="2" y="6"/>
                  </a:lnTo>
                  <a:lnTo>
                    <a:pt x="1" y="9"/>
                  </a:lnTo>
                  <a:lnTo>
                    <a:pt x="0" y="11"/>
                  </a:lnTo>
                  <a:lnTo>
                    <a:pt x="0" y="15"/>
                  </a:lnTo>
                  <a:lnTo>
                    <a:pt x="0" y="18"/>
                  </a:lnTo>
                  <a:lnTo>
                    <a:pt x="1" y="20"/>
                  </a:lnTo>
                  <a:lnTo>
                    <a:pt x="2" y="23"/>
                  </a:lnTo>
                  <a:lnTo>
                    <a:pt x="4" y="24"/>
                  </a:lnTo>
                  <a:lnTo>
                    <a:pt x="46" y="68"/>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5" name="Freeform 61">
              <a:extLst>
                <a:ext uri="{FF2B5EF4-FFF2-40B4-BE49-F238E27FC236}">
                  <a16:creationId xmlns:a16="http://schemas.microsoft.com/office/drawing/2014/main" id="{02C5DA14-40B9-4131-813D-4029831FEA52}"/>
                </a:ext>
              </a:extLst>
            </p:cNvPr>
            <p:cNvSpPr>
              <a:spLocks/>
            </p:cNvSpPr>
            <p:nvPr/>
          </p:nvSpPr>
          <p:spPr bwMode="auto">
            <a:xfrm>
              <a:off x="1026511" y="2896745"/>
              <a:ext cx="50694" cy="50694"/>
            </a:xfrm>
            <a:custGeom>
              <a:avLst/>
              <a:gdLst>
                <a:gd name="T0" fmla="*/ 46 w 71"/>
                <a:gd name="T1" fmla="*/ 4 h 71"/>
                <a:gd name="T2" fmla="*/ 4 w 71"/>
                <a:gd name="T3" fmla="*/ 46 h 71"/>
                <a:gd name="T4" fmla="*/ 2 w 71"/>
                <a:gd name="T5" fmla="*/ 49 h 71"/>
                <a:gd name="T6" fmla="*/ 1 w 71"/>
                <a:gd name="T7" fmla="*/ 51 h 71"/>
                <a:gd name="T8" fmla="*/ 0 w 71"/>
                <a:gd name="T9" fmla="*/ 54 h 71"/>
                <a:gd name="T10" fmla="*/ 0 w 71"/>
                <a:gd name="T11" fmla="*/ 58 h 71"/>
                <a:gd name="T12" fmla="*/ 0 w 71"/>
                <a:gd name="T13" fmla="*/ 60 h 71"/>
                <a:gd name="T14" fmla="*/ 1 w 71"/>
                <a:gd name="T15" fmla="*/ 63 h 71"/>
                <a:gd name="T16" fmla="*/ 2 w 71"/>
                <a:gd name="T17" fmla="*/ 65 h 71"/>
                <a:gd name="T18" fmla="*/ 4 w 71"/>
                <a:gd name="T19" fmla="*/ 67 h 71"/>
                <a:gd name="T20" fmla="*/ 6 w 71"/>
                <a:gd name="T21" fmla="*/ 69 h 71"/>
                <a:gd name="T22" fmla="*/ 8 w 71"/>
                <a:gd name="T23" fmla="*/ 70 h 71"/>
                <a:gd name="T24" fmla="*/ 11 w 71"/>
                <a:gd name="T25" fmla="*/ 71 h 71"/>
                <a:gd name="T26" fmla="*/ 14 w 71"/>
                <a:gd name="T27" fmla="*/ 71 h 71"/>
                <a:gd name="T28" fmla="*/ 17 w 71"/>
                <a:gd name="T29" fmla="*/ 71 h 71"/>
                <a:gd name="T30" fmla="*/ 20 w 71"/>
                <a:gd name="T31" fmla="*/ 70 h 71"/>
                <a:gd name="T32" fmla="*/ 22 w 71"/>
                <a:gd name="T33" fmla="*/ 69 h 71"/>
                <a:gd name="T34" fmla="*/ 24 w 71"/>
                <a:gd name="T35" fmla="*/ 67 h 71"/>
                <a:gd name="T36" fmla="*/ 67 w 71"/>
                <a:gd name="T37" fmla="*/ 25 h 71"/>
                <a:gd name="T38" fmla="*/ 69 w 71"/>
                <a:gd name="T39" fmla="*/ 23 h 71"/>
                <a:gd name="T40" fmla="*/ 70 w 71"/>
                <a:gd name="T41" fmla="*/ 20 h 71"/>
                <a:gd name="T42" fmla="*/ 71 w 71"/>
                <a:gd name="T43" fmla="*/ 18 h 71"/>
                <a:gd name="T44" fmla="*/ 71 w 71"/>
                <a:gd name="T45" fmla="*/ 15 h 71"/>
                <a:gd name="T46" fmla="*/ 71 w 71"/>
                <a:gd name="T47" fmla="*/ 12 h 71"/>
                <a:gd name="T48" fmla="*/ 70 w 71"/>
                <a:gd name="T49" fmla="*/ 9 h 71"/>
                <a:gd name="T50" fmla="*/ 69 w 71"/>
                <a:gd name="T51" fmla="*/ 6 h 71"/>
                <a:gd name="T52" fmla="*/ 67 w 71"/>
                <a:gd name="T53" fmla="*/ 4 h 71"/>
                <a:gd name="T54" fmla="*/ 65 w 71"/>
                <a:gd name="T55" fmla="*/ 2 h 71"/>
                <a:gd name="T56" fmla="*/ 62 w 71"/>
                <a:gd name="T57" fmla="*/ 1 h 71"/>
                <a:gd name="T58" fmla="*/ 59 w 71"/>
                <a:gd name="T59" fmla="*/ 0 h 71"/>
                <a:gd name="T60" fmla="*/ 56 w 71"/>
                <a:gd name="T61" fmla="*/ 0 h 71"/>
                <a:gd name="T62" fmla="*/ 53 w 71"/>
                <a:gd name="T63" fmla="*/ 0 h 71"/>
                <a:gd name="T64" fmla="*/ 51 w 71"/>
                <a:gd name="T65" fmla="*/ 1 h 71"/>
                <a:gd name="T66" fmla="*/ 48 w 71"/>
                <a:gd name="T67" fmla="*/ 2 h 71"/>
                <a:gd name="T68" fmla="*/ 46 w 71"/>
                <a:gd name="T69"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71">
                  <a:moveTo>
                    <a:pt x="46" y="4"/>
                  </a:moveTo>
                  <a:lnTo>
                    <a:pt x="4" y="46"/>
                  </a:lnTo>
                  <a:lnTo>
                    <a:pt x="2" y="49"/>
                  </a:lnTo>
                  <a:lnTo>
                    <a:pt x="1" y="51"/>
                  </a:lnTo>
                  <a:lnTo>
                    <a:pt x="0" y="54"/>
                  </a:lnTo>
                  <a:lnTo>
                    <a:pt x="0" y="58"/>
                  </a:lnTo>
                  <a:lnTo>
                    <a:pt x="0" y="60"/>
                  </a:lnTo>
                  <a:lnTo>
                    <a:pt x="1" y="63"/>
                  </a:lnTo>
                  <a:lnTo>
                    <a:pt x="2" y="65"/>
                  </a:lnTo>
                  <a:lnTo>
                    <a:pt x="4" y="67"/>
                  </a:lnTo>
                  <a:lnTo>
                    <a:pt x="6" y="69"/>
                  </a:lnTo>
                  <a:lnTo>
                    <a:pt x="8" y="70"/>
                  </a:lnTo>
                  <a:lnTo>
                    <a:pt x="11" y="71"/>
                  </a:lnTo>
                  <a:lnTo>
                    <a:pt x="14" y="71"/>
                  </a:lnTo>
                  <a:lnTo>
                    <a:pt x="17" y="71"/>
                  </a:lnTo>
                  <a:lnTo>
                    <a:pt x="20" y="70"/>
                  </a:lnTo>
                  <a:lnTo>
                    <a:pt x="22" y="69"/>
                  </a:lnTo>
                  <a:lnTo>
                    <a:pt x="24" y="67"/>
                  </a:lnTo>
                  <a:lnTo>
                    <a:pt x="67" y="25"/>
                  </a:lnTo>
                  <a:lnTo>
                    <a:pt x="69" y="23"/>
                  </a:lnTo>
                  <a:lnTo>
                    <a:pt x="70" y="20"/>
                  </a:lnTo>
                  <a:lnTo>
                    <a:pt x="71" y="18"/>
                  </a:lnTo>
                  <a:lnTo>
                    <a:pt x="71" y="15"/>
                  </a:lnTo>
                  <a:lnTo>
                    <a:pt x="71" y="12"/>
                  </a:lnTo>
                  <a:lnTo>
                    <a:pt x="70" y="9"/>
                  </a:lnTo>
                  <a:lnTo>
                    <a:pt x="69" y="6"/>
                  </a:lnTo>
                  <a:lnTo>
                    <a:pt x="67" y="4"/>
                  </a:lnTo>
                  <a:lnTo>
                    <a:pt x="65" y="2"/>
                  </a:lnTo>
                  <a:lnTo>
                    <a:pt x="62" y="1"/>
                  </a:lnTo>
                  <a:lnTo>
                    <a:pt x="59" y="0"/>
                  </a:lnTo>
                  <a:lnTo>
                    <a:pt x="56" y="0"/>
                  </a:lnTo>
                  <a:lnTo>
                    <a:pt x="53" y="0"/>
                  </a:lnTo>
                  <a:lnTo>
                    <a:pt x="51" y="1"/>
                  </a:lnTo>
                  <a:lnTo>
                    <a:pt x="48" y="2"/>
                  </a:lnTo>
                  <a:lnTo>
                    <a:pt x="46"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6" name="Freeform 62">
              <a:extLst>
                <a:ext uri="{FF2B5EF4-FFF2-40B4-BE49-F238E27FC236}">
                  <a16:creationId xmlns:a16="http://schemas.microsoft.com/office/drawing/2014/main" id="{6F6C67F3-52FE-4F45-B9F0-B2CC03206637}"/>
                </a:ext>
              </a:extLst>
            </p:cNvPr>
            <p:cNvSpPr>
              <a:spLocks/>
            </p:cNvSpPr>
            <p:nvPr/>
          </p:nvSpPr>
          <p:spPr bwMode="auto">
            <a:xfrm>
              <a:off x="1424817" y="2896745"/>
              <a:ext cx="50694" cy="50694"/>
            </a:xfrm>
            <a:custGeom>
              <a:avLst/>
              <a:gdLst>
                <a:gd name="T0" fmla="*/ 25 w 72"/>
                <a:gd name="T1" fmla="*/ 4 h 71"/>
                <a:gd name="T2" fmla="*/ 22 w 72"/>
                <a:gd name="T3" fmla="*/ 2 h 71"/>
                <a:gd name="T4" fmla="*/ 20 w 72"/>
                <a:gd name="T5" fmla="*/ 1 h 71"/>
                <a:gd name="T6" fmla="*/ 17 w 72"/>
                <a:gd name="T7" fmla="*/ 0 h 71"/>
                <a:gd name="T8" fmla="*/ 15 w 72"/>
                <a:gd name="T9" fmla="*/ 0 h 71"/>
                <a:gd name="T10" fmla="*/ 12 w 72"/>
                <a:gd name="T11" fmla="*/ 0 h 71"/>
                <a:gd name="T12" fmla="*/ 8 w 72"/>
                <a:gd name="T13" fmla="*/ 1 h 71"/>
                <a:gd name="T14" fmla="*/ 6 w 72"/>
                <a:gd name="T15" fmla="*/ 2 h 71"/>
                <a:gd name="T16" fmla="*/ 4 w 72"/>
                <a:gd name="T17" fmla="*/ 4 h 71"/>
                <a:gd name="T18" fmla="*/ 2 w 72"/>
                <a:gd name="T19" fmla="*/ 6 h 71"/>
                <a:gd name="T20" fmla="*/ 1 w 72"/>
                <a:gd name="T21" fmla="*/ 9 h 71"/>
                <a:gd name="T22" fmla="*/ 0 w 72"/>
                <a:gd name="T23" fmla="*/ 12 h 71"/>
                <a:gd name="T24" fmla="*/ 0 w 72"/>
                <a:gd name="T25" fmla="*/ 15 h 71"/>
                <a:gd name="T26" fmla="*/ 0 w 72"/>
                <a:gd name="T27" fmla="*/ 18 h 71"/>
                <a:gd name="T28" fmla="*/ 1 w 72"/>
                <a:gd name="T29" fmla="*/ 20 h 71"/>
                <a:gd name="T30" fmla="*/ 2 w 72"/>
                <a:gd name="T31" fmla="*/ 23 h 71"/>
                <a:gd name="T32" fmla="*/ 4 w 72"/>
                <a:gd name="T33" fmla="*/ 25 h 71"/>
                <a:gd name="T34" fmla="*/ 46 w 72"/>
                <a:gd name="T35" fmla="*/ 67 h 71"/>
                <a:gd name="T36" fmla="*/ 48 w 72"/>
                <a:gd name="T37" fmla="*/ 69 h 71"/>
                <a:gd name="T38" fmla="*/ 51 w 72"/>
                <a:gd name="T39" fmla="*/ 70 h 71"/>
                <a:gd name="T40" fmla="*/ 53 w 72"/>
                <a:gd name="T41" fmla="*/ 71 h 71"/>
                <a:gd name="T42" fmla="*/ 57 w 72"/>
                <a:gd name="T43" fmla="*/ 71 h 71"/>
                <a:gd name="T44" fmla="*/ 60 w 72"/>
                <a:gd name="T45" fmla="*/ 71 h 71"/>
                <a:gd name="T46" fmla="*/ 62 w 72"/>
                <a:gd name="T47" fmla="*/ 70 h 71"/>
                <a:gd name="T48" fmla="*/ 65 w 72"/>
                <a:gd name="T49" fmla="*/ 69 h 71"/>
                <a:gd name="T50" fmla="*/ 67 w 72"/>
                <a:gd name="T51" fmla="*/ 67 h 71"/>
                <a:gd name="T52" fmla="*/ 69 w 72"/>
                <a:gd name="T53" fmla="*/ 65 h 71"/>
                <a:gd name="T54" fmla="*/ 70 w 72"/>
                <a:gd name="T55" fmla="*/ 63 h 71"/>
                <a:gd name="T56" fmla="*/ 72 w 72"/>
                <a:gd name="T57" fmla="*/ 60 h 71"/>
                <a:gd name="T58" fmla="*/ 72 w 72"/>
                <a:gd name="T59" fmla="*/ 58 h 71"/>
                <a:gd name="T60" fmla="*/ 72 w 72"/>
                <a:gd name="T61" fmla="*/ 54 h 71"/>
                <a:gd name="T62" fmla="*/ 70 w 72"/>
                <a:gd name="T63" fmla="*/ 51 h 71"/>
                <a:gd name="T64" fmla="*/ 69 w 72"/>
                <a:gd name="T65" fmla="*/ 49 h 71"/>
                <a:gd name="T66" fmla="*/ 67 w 72"/>
                <a:gd name="T67" fmla="*/ 46 h 71"/>
                <a:gd name="T68" fmla="*/ 25 w 72"/>
                <a:gd name="T69"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1">
                  <a:moveTo>
                    <a:pt x="25" y="4"/>
                  </a:moveTo>
                  <a:lnTo>
                    <a:pt x="22" y="2"/>
                  </a:lnTo>
                  <a:lnTo>
                    <a:pt x="20" y="1"/>
                  </a:lnTo>
                  <a:lnTo>
                    <a:pt x="17" y="0"/>
                  </a:lnTo>
                  <a:lnTo>
                    <a:pt x="15" y="0"/>
                  </a:lnTo>
                  <a:lnTo>
                    <a:pt x="12" y="0"/>
                  </a:lnTo>
                  <a:lnTo>
                    <a:pt x="8" y="1"/>
                  </a:lnTo>
                  <a:lnTo>
                    <a:pt x="6" y="2"/>
                  </a:lnTo>
                  <a:lnTo>
                    <a:pt x="4" y="4"/>
                  </a:lnTo>
                  <a:lnTo>
                    <a:pt x="2" y="6"/>
                  </a:lnTo>
                  <a:lnTo>
                    <a:pt x="1" y="9"/>
                  </a:lnTo>
                  <a:lnTo>
                    <a:pt x="0" y="12"/>
                  </a:lnTo>
                  <a:lnTo>
                    <a:pt x="0" y="15"/>
                  </a:lnTo>
                  <a:lnTo>
                    <a:pt x="0" y="18"/>
                  </a:lnTo>
                  <a:lnTo>
                    <a:pt x="1" y="20"/>
                  </a:lnTo>
                  <a:lnTo>
                    <a:pt x="2" y="23"/>
                  </a:lnTo>
                  <a:lnTo>
                    <a:pt x="4" y="25"/>
                  </a:lnTo>
                  <a:lnTo>
                    <a:pt x="46" y="67"/>
                  </a:lnTo>
                  <a:lnTo>
                    <a:pt x="48" y="69"/>
                  </a:lnTo>
                  <a:lnTo>
                    <a:pt x="51" y="70"/>
                  </a:lnTo>
                  <a:lnTo>
                    <a:pt x="53" y="71"/>
                  </a:lnTo>
                  <a:lnTo>
                    <a:pt x="57" y="71"/>
                  </a:lnTo>
                  <a:lnTo>
                    <a:pt x="60" y="71"/>
                  </a:lnTo>
                  <a:lnTo>
                    <a:pt x="62" y="70"/>
                  </a:lnTo>
                  <a:lnTo>
                    <a:pt x="65" y="69"/>
                  </a:lnTo>
                  <a:lnTo>
                    <a:pt x="67" y="67"/>
                  </a:lnTo>
                  <a:lnTo>
                    <a:pt x="69" y="65"/>
                  </a:lnTo>
                  <a:lnTo>
                    <a:pt x="70" y="63"/>
                  </a:lnTo>
                  <a:lnTo>
                    <a:pt x="72" y="60"/>
                  </a:lnTo>
                  <a:lnTo>
                    <a:pt x="72" y="58"/>
                  </a:lnTo>
                  <a:lnTo>
                    <a:pt x="72" y="54"/>
                  </a:lnTo>
                  <a:lnTo>
                    <a:pt x="70" y="51"/>
                  </a:lnTo>
                  <a:lnTo>
                    <a:pt x="69" y="49"/>
                  </a:lnTo>
                  <a:lnTo>
                    <a:pt x="67" y="46"/>
                  </a:lnTo>
                  <a:lnTo>
                    <a:pt x="25"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27" name="Group 31">
            <a:extLst>
              <a:ext uri="{FF2B5EF4-FFF2-40B4-BE49-F238E27FC236}">
                <a16:creationId xmlns:a16="http://schemas.microsoft.com/office/drawing/2014/main" id="{1FFF0E76-B703-407E-B2F7-14AC9CCF2057}"/>
              </a:ext>
            </a:extLst>
          </p:cNvPr>
          <p:cNvGrpSpPr>
            <a:grpSpLocks noChangeAspect="1"/>
          </p:cNvGrpSpPr>
          <p:nvPr/>
        </p:nvGrpSpPr>
        <p:grpSpPr>
          <a:xfrm>
            <a:off x="5367791" y="5944848"/>
            <a:ext cx="306431" cy="308144"/>
            <a:chOff x="906463" y="769938"/>
            <a:chExt cx="284162" cy="285750"/>
          </a:xfrm>
          <a:solidFill>
            <a:schemeClr val="bg2"/>
          </a:solidFill>
          <a:effectLst/>
        </p:grpSpPr>
        <p:sp>
          <p:nvSpPr>
            <p:cNvPr id="928" name="Freeform 63">
              <a:extLst>
                <a:ext uri="{FF2B5EF4-FFF2-40B4-BE49-F238E27FC236}">
                  <a16:creationId xmlns:a16="http://schemas.microsoft.com/office/drawing/2014/main" id="{11161CF9-6103-48D2-96DD-9285EBBB5D02}"/>
                </a:ext>
              </a:extLst>
            </p:cNvPr>
            <p:cNvSpPr>
              <a:spLocks/>
            </p:cNvSpPr>
            <p:nvPr/>
          </p:nvSpPr>
          <p:spPr bwMode="auto">
            <a:xfrm>
              <a:off x="1009650" y="769938"/>
              <a:ext cx="9525" cy="19050"/>
            </a:xfrm>
            <a:custGeom>
              <a:avLst/>
              <a:gdLst>
                <a:gd name="T0" fmla="*/ 15 w 30"/>
                <a:gd name="T1" fmla="*/ 59 h 59"/>
                <a:gd name="T2" fmla="*/ 18 w 30"/>
                <a:gd name="T3" fmla="*/ 59 h 59"/>
                <a:gd name="T4" fmla="*/ 21 w 30"/>
                <a:gd name="T5" fmla="*/ 58 h 59"/>
                <a:gd name="T6" fmla="*/ 23 w 30"/>
                <a:gd name="T7" fmla="*/ 57 h 59"/>
                <a:gd name="T8" fmla="*/ 25 w 30"/>
                <a:gd name="T9" fmla="*/ 55 h 59"/>
                <a:gd name="T10" fmla="*/ 27 w 30"/>
                <a:gd name="T11" fmla="*/ 53 h 59"/>
                <a:gd name="T12" fmla="*/ 28 w 30"/>
                <a:gd name="T13" fmla="*/ 51 h 59"/>
                <a:gd name="T14" fmla="*/ 30 w 30"/>
                <a:gd name="T15" fmla="*/ 48 h 59"/>
                <a:gd name="T16" fmla="*/ 30 w 30"/>
                <a:gd name="T17" fmla="*/ 44 h 59"/>
                <a:gd name="T18" fmla="*/ 30 w 30"/>
                <a:gd name="T19" fmla="*/ 14 h 59"/>
                <a:gd name="T20" fmla="*/ 30 w 30"/>
                <a:gd name="T21" fmla="*/ 11 h 59"/>
                <a:gd name="T22" fmla="*/ 28 w 30"/>
                <a:gd name="T23" fmla="*/ 9 h 59"/>
                <a:gd name="T24" fmla="*/ 27 w 30"/>
                <a:gd name="T25" fmla="*/ 6 h 59"/>
                <a:gd name="T26" fmla="*/ 25 w 30"/>
                <a:gd name="T27" fmla="*/ 4 h 59"/>
                <a:gd name="T28" fmla="*/ 23 w 30"/>
                <a:gd name="T29" fmla="*/ 2 h 59"/>
                <a:gd name="T30" fmla="*/ 21 w 30"/>
                <a:gd name="T31" fmla="*/ 1 h 59"/>
                <a:gd name="T32" fmla="*/ 18 w 30"/>
                <a:gd name="T33" fmla="*/ 0 h 59"/>
                <a:gd name="T34" fmla="*/ 15 w 30"/>
                <a:gd name="T35" fmla="*/ 0 h 59"/>
                <a:gd name="T36" fmla="*/ 11 w 30"/>
                <a:gd name="T37" fmla="*/ 0 h 59"/>
                <a:gd name="T38" fmla="*/ 9 w 30"/>
                <a:gd name="T39" fmla="*/ 1 h 59"/>
                <a:gd name="T40" fmla="*/ 6 w 30"/>
                <a:gd name="T41" fmla="*/ 2 h 59"/>
                <a:gd name="T42" fmla="*/ 4 w 30"/>
                <a:gd name="T43" fmla="*/ 4 h 59"/>
                <a:gd name="T44" fmla="*/ 3 w 30"/>
                <a:gd name="T45" fmla="*/ 6 h 59"/>
                <a:gd name="T46" fmla="*/ 1 w 30"/>
                <a:gd name="T47" fmla="*/ 9 h 59"/>
                <a:gd name="T48" fmla="*/ 0 w 30"/>
                <a:gd name="T49" fmla="*/ 11 h 59"/>
                <a:gd name="T50" fmla="*/ 0 w 30"/>
                <a:gd name="T51" fmla="*/ 14 h 59"/>
                <a:gd name="T52" fmla="*/ 0 w 30"/>
                <a:gd name="T53" fmla="*/ 44 h 59"/>
                <a:gd name="T54" fmla="*/ 0 w 30"/>
                <a:gd name="T55" fmla="*/ 48 h 59"/>
                <a:gd name="T56" fmla="*/ 1 w 30"/>
                <a:gd name="T57" fmla="*/ 51 h 59"/>
                <a:gd name="T58" fmla="*/ 3 w 30"/>
                <a:gd name="T59" fmla="*/ 53 h 59"/>
                <a:gd name="T60" fmla="*/ 4 w 30"/>
                <a:gd name="T61" fmla="*/ 55 h 59"/>
                <a:gd name="T62" fmla="*/ 6 w 30"/>
                <a:gd name="T63" fmla="*/ 57 h 59"/>
                <a:gd name="T64" fmla="*/ 9 w 30"/>
                <a:gd name="T65" fmla="*/ 58 h 59"/>
                <a:gd name="T66" fmla="*/ 11 w 30"/>
                <a:gd name="T67" fmla="*/ 59 h 59"/>
                <a:gd name="T68" fmla="*/ 15 w 30"/>
                <a:gd name="T6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59">
                  <a:moveTo>
                    <a:pt x="15" y="59"/>
                  </a:moveTo>
                  <a:lnTo>
                    <a:pt x="18" y="59"/>
                  </a:lnTo>
                  <a:lnTo>
                    <a:pt x="21" y="58"/>
                  </a:lnTo>
                  <a:lnTo>
                    <a:pt x="23" y="57"/>
                  </a:lnTo>
                  <a:lnTo>
                    <a:pt x="25" y="55"/>
                  </a:lnTo>
                  <a:lnTo>
                    <a:pt x="27" y="53"/>
                  </a:lnTo>
                  <a:lnTo>
                    <a:pt x="28" y="51"/>
                  </a:lnTo>
                  <a:lnTo>
                    <a:pt x="30" y="48"/>
                  </a:lnTo>
                  <a:lnTo>
                    <a:pt x="30" y="44"/>
                  </a:lnTo>
                  <a:lnTo>
                    <a:pt x="30" y="14"/>
                  </a:lnTo>
                  <a:lnTo>
                    <a:pt x="30" y="11"/>
                  </a:lnTo>
                  <a:lnTo>
                    <a:pt x="28" y="9"/>
                  </a:lnTo>
                  <a:lnTo>
                    <a:pt x="27" y="6"/>
                  </a:lnTo>
                  <a:lnTo>
                    <a:pt x="25" y="4"/>
                  </a:lnTo>
                  <a:lnTo>
                    <a:pt x="23" y="2"/>
                  </a:lnTo>
                  <a:lnTo>
                    <a:pt x="21" y="1"/>
                  </a:lnTo>
                  <a:lnTo>
                    <a:pt x="18" y="0"/>
                  </a:lnTo>
                  <a:lnTo>
                    <a:pt x="15" y="0"/>
                  </a:lnTo>
                  <a:lnTo>
                    <a:pt x="11" y="0"/>
                  </a:lnTo>
                  <a:lnTo>
                    <a:pt x="9" y="1"/>
                  </a:lnTo>
                  <a:lnTo>
                    <a:pt x="6" y="2"/>
                  </a:lnTo>
                  <a:lnTo>
                    <a:pt x="4" y="4"/>
                  </a:lnTo>
                  <a:lnTo>
                    <a:pt x="3" y="6"/>
                  </a:lnTo>
                  <a:lnTo>
                    <a:pt x="1" y="9"/>
                  </a:lnTo>
                  <a:lnTo>
                    <a:pt x="0" y="11"/>
                  </a:lnTo>
                  <a:lnTo>
                    <a:pt x="0" y="14"/>
                  </a:lnTo>
                  <a:lnTo>
                    <a:pt x="0" y="44"/>
                  </a:lnTo>
                  <a:lnTo>
                    <a:pt x="0" y="48"/>
                  </a:lnTo>
                  <a:lnTo>
                    <a:pt x="1" y="51"/>
                  </a:lnTo>
                  <a:lnTo>
                    <a:pt x="3" y="53"/>
                  </a:lnTo>
                  <a:lnTo>
                    <a:pt x="4" y="55"/>
                  </a:lnTo>
                  <a:lnTo>
                    <a:pt x="6" y="57"/>
                  </a:lnTo>
                  <a:lnTo>
                    <a:pt x="9" y="58"/>
                  </a:lnTo>
                  <a:lnTo>
                    <a:pt x="11" y="59"/>
                  </a:lnTo>
                  <a:lnTo>
                    <a:pt x="1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9" name="Freeform 64">
              <a:extLst>
                <a:ext uri="{FF2B5EF4-FFF2-40B4-BE49-F238E27FC236}">
                  <a16:creationId xmlns:a16="http://schemas.microsoft.com/office/drawing/2014/main" id="{DD51ABC4-7B6F-4CBF-9A77-33DE8161FDEA}"/>
                </a:ext>
              </a:extLst>
            </p:cNvPr>
            <p:cNvSpPr>
              <a:spLocks/>
            </p:cNvSpPr>
            <p:nvPr/>
          </p:nvSpPr>
          <p:spPr bwMode="auto">
            <a:xfrm>
              <a:off x="925513" y="788988"/>
              <a:ext cx="17463" cy="19050"/>
            </a:xfrm>
            <a:custGeom>
              <a:avLst/>
              <a:gdLst>
                <a:gd name="T0" fmla="*/ 44 w 59"/>
                <a:gd name="T1" fmla="*/ 60 h 60"/>
                <a:gd name="T2" fmla="*/ 47 w 59"/>
                <a:gd name="T3" fmla="*/ 59 h 60"/>
                <a:gd name="T4" fmla="*/ 50 w 59"/>
                <a:gd name="T5" fmla="*/ 59 h 60"/>
                <a:gd name="T6" fmla="*/ 52 w 59"/>
                <a:gd name="T7" fmla="*/ 57 h 60"/>
                <a:gd name="T8" fmla="*/ 54 w 59"/>
                <a:gd name="T9" fmla="*/ 56 h 60"/>
                <a:gd name="T10" fmla="*/ 57 w 59"/>
                <a:gd name="T11" fmla="*/ 54 h 60"/>
                <a:gd name="T12" fmla="*/ 58 w 59"/>
                <a:gd name="T13" fmla="*/ 52 h 60"/>
                <a:gd name="T14" fmla="*/ 59 w 59"/>
                <a:gd name="T15" fmla="*/ 49 h 60"/>
                <a:gd name="T16" fmla="*/ 59 w 59"/>
                <a:gd name="T17" fmla="*/ 45 h 60"/>
                <a:gd name="T18" fmla="*/ 59 w 59"/>
                <a:gd name="T19" fmla="*/ 43 h 60"/>
                <a:gd name="T20" fmla="*/ 58 w 59"/>
                <a:gd name="T21" fmla="*/ 40 h 60"/>
                <a:gd name="T22" fmla="*/ 57 w 59"/>
                <a:gd name="T23" fmla="*/ 37 h 60"/>
                <a:gd name="T24" fmla="*/ 54 w 59"/>
                <a:gd name="T25" fmla="*/ 35 h 60"/>
                <a:gd name="T26" fmla="*/ 24 w 59"/>
                <a:gd name="T27" fmla="*/ 5 h 60"/>
                <a:gd name="T28" fmla="*/ 22 w 59"/>
                <a:gd name="T29" fmla="*/ 3 h 60"/>
                <a:gd name="T30" fmla="*/ 20 w 59"/>
                <a:gd name="T31" fmla="*/ 2 h 60"/>
                <a:gd name="T32" fmla="*/ 17 w 59"/>
                <a:gd name="T33" fmla="*/ 0 h 60"/>
                <a:gd name="T34" fmla="*/ 15 w 59"/>
                <a:gd name="T35" fmla="*/ 0 h 60"/>
                <a:gd name="T36" fmla="*/ 12 w 59"/>
                <a:gd name="T37" fmla="*/ 0 h 60"/>
                <a:gd name="T38" fmla="*/ 8 w 59"/>
                <a:gd name="T39" fmla="*/ 2 h 60"/>
                <a:gd name="T40" fmla="*/ 6 w 59"/>
                <a:gd name="T41" fmla="*/ 3 h 60"/>
                <a:gd name="T42" fmla="*/ 4 w 59"/>
                <a:gd name="T43" fmla="*/ 5 h 60"/>
                <a:gd name="T44" fmla="*/ 2 w 59"/>
                <a:gd name="T45" fmla="*/ 7 h 60"/>
                <a:gd name="T46" fmla="*/ 1 w 59"/>
                <a:gd name="T47" fmla="*/ 10 h 60"/>
                <a:gd name="T48" fmla="*/ 0 w 59"/>
                <a:gd name="T49" fmla="*/ 13 h 60"/>
                <a:gd name="T50" fmla="*/ 0 w 59"/>
                <a:gd name="T51" fmla="*/ 15 h 60"/>
                <a:gd name="T52" fmla="*/ 0 w 59"/>
                <a:gd name="T53" fmla="*/ 19 h 60"/>
                <a:gd name="T54" fmla="*/ 1 w 59"/>
                <a:gd name="T55" fmla="*/ 22 h 60"/>
                <a:gd name="T56" fmla="*/ 2 w 59"/>
                <a:gd name="T57" fmla="*/ 24 h 60"/>
                <a:gd name="T58" fmla="*/ 4 w 59"/>
                <a:gd name="T59" fmla="*/ 26 h 60"/>
                <a:gd name="T60" fmla="*/ 34 w 59"/>
                <a:gd name="T61" fmla="*/ 56 h 60"/>
                <a:gd name="T62" fmla="*/ 36 w 59"/>
                <a:gd name="T63" fmla="*/ 57 h 60"/>
                <a:gd name="T64" fmla="*/ 38 w 59"/>
                <a:gd name="T65" fmla="*/ 59 h 60"/>
                <a:gd name="T66" fmla="*/ 42 w 59"/>
                <a:gd name="T67" fmla="*/ 59 h 60"/>
                <a:gd name="T68" fmla="*/ 44 w 59"/>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0">
                  <a:moveTo>
                    <a:pt x="44" y="60"/>
                  </a:moveTo>
                  <a:lnTo>
                    <a:pt x="47" y="59"/>
                  </a:lnTo>
                  <a:lnTo>
                    <a:pt x="50" y="59"/>
                  </a:lnTo>
                  <a:lnTo>
                    <a:pt x="52" y="57"/>
                  </a:lnTo>
                  <a:lnTo>
                    <a:pt x="54" y="56"/>
                  </a:lnTo>
                  <a:lnTo>
                    <a:pt x="57" y="54"/>
                  </a:lnTo>
                  <a:lnTo>
                    <a:pt x="58" y="52"/>
                  </a:lnTo>
                  <a:lnTo>
                    <a:pt x="59" y="49"/>
                  </a:lnTo>
                  <a:lnTo>
                    <a:pt x="59" y="45"/>
                  </a:lnTo>
                  <a:lnTo>
                    <a:pt x="59" y="43"/>
                  </a:lnTo>
                  <a:lnTo>
                    <a:pt x="58" y="40"/>
                  </a:lnTo>
                  <a:lnTo>
                    <a:pt x="57" y="37"/>
                  </a:lnTo>
                  <a:lnTo>
                    <a:pt x="54" y="35"/>
                  </a:lnTo>
                  <a:lnTo>
                    <a:pt x="24" y="5"/>
                  </a:lnTo>
                  <a:lnTo>
                    <a:pt x="22" y="3"/>
                  </a:lnTo>
                  <a:lnTo>
                    <a:pt x="20" y="2"/>
                  </a:lnTo>
                  <a:lnTo>
                    <a:pt x="17" y="0"/>
                  </a:lnTo>
                  <a:lnTo>
                    <a:pt x="15" y="0"/>
                  </a:lnTo>
                  <a:lnTo>
                    <a:pt x="12" y="0"/>
                  </a:lnTo>
                  <a:lnTo>
                    <a:pt x="8" y="2"/>
                  </a:lnTo>
                  <a:lnTo>
                    <a:pt x="6" y="3"/>
                  </a:lnTo>
                  <a:lnTo>
                    <a:pt x="4" y="5"/>
                  </a:lnTo>
                  <a:lnTo>
                    <a:pt x="2" y="7"/>
                  </a:lnTo>
                  <a:lnTo>
                    <a:pt x="1" y="10"/>
                  </a:lnTo>
                  <a:lnTo>
                    <a:pt x="0" y="13"/>
                  </a:lnTo>
                  <a:lnTo>
                    <a:pt x="0" y="15"/>
                  </a:lnTo>
                  <a:lnTo>
                    <a:pt x="0" y="19"/>
                  </a:lnTo>
                  <a:lnTo>
                    <a:pt x="1" y="22"/>
                  </a:lnTo>
                  <a:lnTo>
                    <a:pt x="2" y="24"/>
                  </a:lnTo>
                  <a:lnTo>
                    <a:pt x="4" y="26"/>
                  </a:lnTo>
                  <a:lnTo>
                    <a:pt x="34" y="56"/>
                  </a:lnTo>
                  <a:lnTo>
                    <a:pt x="36" y="57"/>
                  </a:lnTo>
                  <a:lnTo>
                    <a:pt x="38" y="59"/>
                  </a:lnTo>
                  <a:lnTo>
                    <a:pt x="42" y="59"/>
                  </a:lnTo>
                  <a:lnTo>
                    <a:pt x="4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0" name="Freeform 65">
              <a:extLst>
                <a:ext uri="{FF2B5EF4-FFF2-40B4-BE49-F238E27FC236}">
                  <a16:creationId xmlns:a16="http://schemas.microsoft.com/office/drawing/2014/main" id="{80023D23-9DCA-4391-A631-5B889CCDC706}"/>
                </a:ext>
              </a:extLst>
            </p:cNvPr>
            <p:cNvSpPr>
              <a:spLocks/>
            </p:cNvSpPr>
            <p:nvPr/>
          </p:nvSpPr>
          <p:spPr bwMode="auto">
            <a:xfrm>
              <a:off x="1085850" y="793750"/>
              <a:ext cx="19050" cy="19050"/>
            </a:xfrm>
            <a:custGeom>
              <a:avLst/>
              <a:gdLst>
                <a:gd name="T0" fmla="*/ 15 w 60"/>
                <a:gd name="T1" fmla="*/ 60 h 60"/>
                <a:gd name="T2" fmla="*/ 19 w 60"/>
                <a:gd name="T3" fmla="*/ 59 h 60"/>
                <a:gd name="T4" fmla="*/ 21 w 60"/>
                <a:gd name="T5" fmla="*/ 59 h 60"/>
                <a:gd name="T6" fmla="*/ 24 w 60"/>
                <a:gd name="T7" fmla="*/ 57 h 60"/>
                <a:gd name="T8" fmla="*/ 26 w 60"/>
                <a:gd name="T9" fmla="*/ 56 h 60"/>
                <a:gd name="T10" fmla="*/ 56 w 60"/>
                <a:gd name="T11" fmla="*/ 26 h 60"/>
                <a:gd name="T12" fmla="*/ 58 w 60"/>
                <a:gd name="T13" fmla="*/ 24 h 60"/>
                <a:gd name="T14" fmla="*/ 59 w 60"/>
                <a:gd name="T15" fmla="*/ 22 h 60"/>
                <a:gd name="T16" fmla="*/ 60 w 60"/>
                <a:gd name="T17" fmla="*/ 19 h 60"/>
                <a:gd name="T18" fmla="*/ 60 w 60"/>
                <a:gd name="T19" fmla="*/ 15 h 60"/>
                <a:gd name="T20" fmla="*/ 60 w 60"/>
                <a:gd name="T21" fmla="*/ 13 h 60"/>
                <a:gd name="T22" fmla="*/ 59 w 60"/>
                <a:gd name="T23" fmla="*/ 10 h 60"/>
                <a:gd name="T24" fmla="*/ 58 w 60"/>
                <a:gd name="T25" fmla="*/ 7 h 60"/>
                <a:gd name="T26" fmla="*/ 56 w 60"/>
                <a:gd name="T27" fmla="*/ 5 h 60"/>
                <a:gd name="T28" fmla="*/ 54 w 60"/>
                <a:gd name="T29" fmla="*/ 3 h 60"/>
                <a:gd name="T30" fmla="*/ 51 w 60"/>
                <a:gd name="T31" fmla="*/ 2 h 60"/>
                <a:gd name="T32" fmla="*/ 49 w 60"/>
                <a:gd name="T33" fmla="*/ 0 h 60"/>
                <a:gd name="T34" fmla="*/ 45 w 60"/>
                <a:gd name="T35" fmla="*/ 0 h 60"/>
                <a:gd name="T36" fmla="*/ 42 w 60"/>
                <a:gd name="T37" fmla="*/ 0 h 60"/>
                <a:gd name="T38" fmla="*/ 40 w 60"/>
                <a:gd name="T39" fmla="*/ 2 h 60"/>
                <a:gd name="T40" fmla="*/ 37 w 60"/>
                <a:gd name="T41" fmla="*/ 3 h 60"/>
                <a:gd name="T42" fmla="*/ 35 w 60"/>
                <a:gd name="T43" fmla="*/ 5 h 60"/>
                <a:gd name="T44" fmla="*/ 5 w 60"/>
                <a:gd name="T45" fmla="*/ 35 h 60"/>
                <a:gd name="T46" fmla="*/ 3 w 60"/>
                <a:gd name="T47" fmla="*/ 37 h 60"/>
                <a:gd name="T48" fmla="*/ 1 w 60"/>
                <a:gd name="T49" fmla="*/ 40 h 60"/>
                <a:gd name="T50" fmla="*/ 0 w 60"/>
                <a:gd name="T51" fmla="*/ 43 h 60"/>
                <a:gd name="T52" fmla="*/ 0 w 60"/>
                <a:gd name="T53" fmla="*/ 45 h 60"/>
                <a:gd name="T54" fmla="*/ 0 w 60"/>
                <a:gd name="T55" fmla="*/ 49 h 60"/>
                <a:gd name="T56" fmla="*/ 1 w 60"/>
                <a:gd name="T57" fmla="*/ 52 h 60"/>
                <a:gd name="T58" fmla="*/ 3 w 60"/>
                <a:gd name="T59" fmla="*/ 54 h 60"/>
                <a:gd name="T60" fmla="*/ 5 w 60"/>
                <a:gd name="T61" fmla="*/ 56 h 60"/>
                <a:gd name="T62" fmla="*/ 7 w 60"/>
                <a:gd name="T63" fmla="*/ 57 h 60"/>
                <a:gd name="T64" fmla="*/ 10 w 60"/>
                <a:gd name="T65" fmla="*/ 59 h 60"/>
                <a:gd name="T66" fmla="*/ 12 w 60"/>
                <a:gd name="T67" fmla="*/ 59 h 60"/>
                <a:gd name="T68" fmla="*/ 15 w 60"/>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0">
                  <a:moveTo>
                    <a:pt x="15" y="60"/>
                  </a:moveTo>
                  <a:lnTo>
                    <a:pt x="19" y="59"/>
                  </a:lnTo>
                  <a:lnTo>
                    <a:pt x="21" y="59"/>
                  </a:lnTo>
                  <a:lnTo>
                    <a:pt x="24" y="57"/>
                  </a:lnTo>
                  <a:lnTo>
                    <a:pt x="26" y="56"/>
                  </a:lnTo>
                  <a:lnTo>
                    <a:pt x="56" y="26"/>
                  </a:lnTo>
                  <a:lnTo>
                    <a:pt x="58" y="24"/>
                  </a:lnTo>
                  <a:lnTo>
                    <a:pt x="59" y="22"/>
                  </a:lnTo>
                  <a:lnTo>
                    <a:pt x="60" y="19"/>
                  </a:lnTo>
                  <a:lnTo>
                    <a:pt x="60" y="15"/>
                  </a:lnTo>
                  <a:lnTo>
                    <a:pt x="60" y="13"/>
                  </a:lnTo>
                  <a:lnTo>
                    <a:pt x="59" y="10"/>
                  </a:lnTo>
                  <a:lnTo>
                    <a:pt x="58" y="7"/>
                  </a:lnTo>
                  <a:lnTo>
                    <a:pt x="56" y="5"/>
                  </a:lnTo>
                  <a:lnTo>
                    <a:pt x="54" y="3"/>
                  </a:lnTo>
                  <a:lnTo>
                    <a:pt x="51" y="2"/>
                  </a:lnTo>
                  <a:lnTo>
                    <a:pt x="49" y="0"/>
                  </a:lnTo>
                  <a:lnTo>
                    <a:pt x="45" y="0"/>
                  </a:lnTo>
                  <a:lnTo>
                    <a:pt x="42" y="0"/>
                  </a:lnTo>
                  <a:lnTo>
                    <a:pt x="40" y="2"/>
                  </a:lnTo>
                  <a:lnTo>
                    <a:pt x="37" y="3"/>
                  </a:lnTo>
                  <a:lnTo>
                    <a:pt x="35" y="5"/>
                  </a:lnTo>
                  <a:lnTo>
                    <a:pt x="5" y="35"/>
                  </a:lnTo>
                  <a:lnTo>
                    <a:pt x="3" y="37"/>
                  </a:lnTo>
                  <a:lnTo>
                    <a:pt x="1" y="40"/>
                  </a:lnTo>
                  <a:lnTo>
                    <a:pt x="0" y="43"/>
                  </a:lnTo>
                  <a:lnTo>
                    <a:pt x="0" y="45"/>
                  </a:lnTo>
                  <a:lnTo>
                    <a:pt x="0" y="49"/>
                  </a:lnTo>
                  <a:lnTo>
                    <a:pt x="1" y="52"/>
                  </a:lnTo>
                  <a:lnTo>
                    <a:pt x="3" y="54"/>
                  </a:lnTo>
                  <a:lnTo>
                    <a:pt x="5" y="56"/>
                  </a:lnTo>
                  <a:lnTo>
                    <a:pt x="7" y="57"/>
                  </a:lnTo>
                  <a:lnTo>
                    <a:pt x="10" y="59"/>
                  </a:lnTo>
                  <a:lnTo>
                    <a:pt x="12" y="59"/>
                  </a:ln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1" name="Freeform 66">
              <a:extLst>
                <a:ext uri="{FF2B5EF4-FFF2-40B4-BE49-F238E27FC236}">
                  <a16:creationId xmlns:a16="http://schemas.microsoft.com/office/drawing/2014/main" id="{D9C1A4E2-9FAE-41D8-AD5F-1CE6048982F7}"/>
                </a:ext>
              </a:extLst>
            </p:cNvPr>
            <p:cNvSpPr>
              <a:spLocks/>
            </p:cNvSpPr>
            <p:nvPr/>
          </p:nvSpPr>
          <p:spPr bwMode="auto">
            <a:xfrm>
              <a:off x="906463" y="874713"/>
              <a:ext cx="19050" cy="9525"/>
            </a:xfrm>
            <a:custGeom>
              <a:avLst/>
              <a:gdLst>
                <a:gd name="T0" fmla="*/ 45 w 60"/>
                <a:gd name="T1" fmla="*/ 0 h 30"/>
                <a:gd name="T2" fmla="*/ 15 w 60"/>
                <a:gd name="T3" fmla="*/ 0 h 30"/>
                <a:gd name="T4" fmla="*/ 12 w 60"/>
                <a:gd name="T5" fmla="*/ 1 h 30"/>
                <a:gd name="T6" fmla="*/ 8 w 60"/>
                <a:gd name="T7" fmla="*/ 2 h 30"/>
                <a:gd name="T8" fmla="*/ 6 w 60"/>
                <a:gd name="T9" fmla="*/ 3 h 30"/>
                <a:gd name="T10" fmla="*/ 4 w 60"/>
                <a:gd name="T11" fmla="*/ 5 h 30"/>
                <a:gd name="T12" fmla="*/ 2 w 60"/>
                <a:gd name="T13" fmla="*/ 8 h 30"/>
                <a:gd name="T14" fmla="*/ 1 w 60"/>
                <a:gd name="T15" fmla="*/ 10 h 30"/>
                <a:gd name="T16" fmla="*/ 0 w 60"/>
                <a:gd name="T17" fmla="*/ 13 h 30"/>
                <a:gd name="T18" fmla="*/ 0 w 60"/>
                <a:gd name="T19" fmla="*/ 15 h 30"/>
                <a:gd name="T20" fmla="*/ 0 w 60"/>
                <a:gd name="T21" fmla="*/ 18 h 30"/>
                <a:gd name="T22" fmla="*/ 1 w 60"/>
                <a:gd name="T23" fmla="*/ 22 h 30"/>
                <a:gd name="T24" fmla="*/ 2 w 60"/>
                <a:gd name="T25" fmla="*/ 25 h 30"/>
                <a:gd name="T26" fmla="*/ 4 w 60"/>
                <a:gd name="T27" fmla="*/ 27 h 30"/>
                <a:gd name="T28" fmla="*/ 6 w 60"/>
                <a:gd name="T29" fmla="*/ 28 h 30"/>
                <a:gd name="T30" fmla="*/ 8 w 60"/>
                <a:gd name="T31" fmla="*/ 29 h 30"/>
                <a:gd name="T32" fmla="*/ 12 w 60"/>
                <a:gd name="T33" fmla="*/ 30 h 30"/>
                <a:gd name="T34" fmla="*/ 15 w 60"/>
                <a:gd name="T35" fmla="*/ 30 h 30"/>
                <a:gd name="T36" fmla="*/ 45 w 60"/>
                <a:gd name="T37" fmla="*/ 30 h 30"/>
                <a:gd name="T38" fmla="*/ 47 w 60"/>
                <a:gd name="T39" fmla="*/ 30 h 30"/>
                <a:gd name="T40" fmla="*/ 50 w 60"/>
                <a:gd name="T41" fmla="*/ 29 h 30"/>
                <a:gd name="T42" fmla="*/ 52 w 60"/>
                <a:gd name="T43" fmla="*/ 28 h 30"/>
                <a:gd name="T44" fmla="*/ 54 w 60"/>
                <a:gd name="T45" fmla="*/ 27 h 30"/>
                <a:gd name="T46" fmla="*/ 57 w 60"/>
                <a:gd name="T47" fmla="*/ 25 h 30"/>
                <a:gd name="T48" fmla="*/ 58 w 60"/>
                <a:gd name="T49" fmla="*/ 22 h 30"/>
                <a:gd name="T50" fmla="*/ 59 w 60"/>
                <a:gd name="T51" fmla="*/ 18 h 30"/>
                <a:gd name="T52" fmla="*/ 60 w 60"/>
                <a:gd name="T53" fmla="*/ 15 h 30"/>
                <a:gd name="T54" fmla="*/ 59 w 60"/>
                <a:gd name="T55" fmla="*/ 13 h 30"/>
                <a:gd name="T56" fmla="*/ 58 w 60"/>
                <a:gd name="T57" fmla="*/ 10 h 30"/>
                <a:gd name="T58" fmla="*/ 57 w 60"/>
                <a:gd name="T59" fmla="*/ 8 h 30"/>
                <a:gd name="T60" fmla="*/ 54 w 60"/>
                <a:gd name="T61" fmla="*/ 5 h 30"/>
                <a:gd name="T62" fmla="*/ 52 w 60"/>
                <a:gd name="T63" fmla="*/ 3 h 30"/>
                <a:gd name="T64" fmla="*/ 50 w 60"/>
                <a:gd name="T65" fmla="*/ 2 h 30"/>
                <a:gd name="T66" fmla="*/ 47 w 60"/>
                <a:gd name="T67" fmla="*/ 1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1"/>
                  </a:lnTo>
                  <a:lnTo>
                    <a:pt x="8" y="2"/>
                  </a:lnTo>
                  <a:lnTo>
                    <a:pt x="6" y="3"/>
                  </a:lnTo>
                  <a:lnTo>
                    <a:pt x="4" y="5"/>
                  </a:lnTo>
                  <a:lnTo>
                    <a:pt x="2" y="8"/>
                  </a:lnTo>
                  <a:lnTo>
                    <a:pt x="1" y="10"/>
                  </a:lnTo>
                  <a:lnTo>
                    <a:pt x="0" y="13"/>
                  </a:lnTo>
                  <a:lnTo>
                    <a:pt x="0" y="15"/>
                  </a:lnTo>
                  <a:lnTo>
                    <a:pt x="0" y="18"/>
                  </a:lnTo>
                  <a:lnTo>
                    <a:pt x="1" y="22"/>
                  </a:lnTo>
                  <a:lnTo>
                    <a:pt x="2" y="25"/>
                  </a:lnTo>
                  <a:lnTo>
                    <a:pt x="4" y="27"/>
                  </a:lnTo>
                  <a:lnTo>
                    <a:pt x="6" y="28"/>
                  </a:lnTo>
                  <a:lnTo>
                    <a:pt x="8" y="29"/>
                  </a:lnTo>
                  <a:lnTo>
                    <a:pt x="12" y="30"/>
                  </a:lnTo>
                  <a:lnTo>
                    <a:pt x="15" y="30"/>
                  </a:lnTo>
                  <a:lnTo>
                    <a:pt x="45" y="30"/>
                  </a:lnTo>
                  <a:lnTo>
                    <a:pt x="47" y="30"/>
                  </a:lnTo>
                  <a:lnTo>
                    <a:pt x="50" y="29"/>
                  </a:lnTo>
                  <a:lnTo>
                    <a:pt x="52" y="28"/>
                  </a:lnTo>
                  <a:lnTo>
                    <a:pt x="54" y="27"/>
                  </a:lnTo>
                  <a:lnTo>
                    <a:pt x="57" y="25"/>
                  </a:lnTo>
                  <a:lnTo>
                    <a:pt x="58" y="22"/>
                  </a:lnTo>
                  <a:lnTo>
                    <a:pt x="59" y="18"/>
                  </a:lnTo>
                  <a:lnTo>
                    <a:pt x="60" y="15"/>
                  </a:lnTo>
                  <a:lnTo>
                    <a:pt x="59" y="13"/>
                  </a:lnTo>
                  <a:lnTo>
                    <a:pt x="58" y="10"/>
                  </a:lnTo>
                  <a:lnTo>
                    <a:pt x="57" y="8"/>
                  </a:lnTo>
                  <a:lnTo>
                    <a:pt x="54" y="5"/>
                  </a:lnTo>
                  <a:lnTo>
                    <a:pt x="52" y="3"/>
                  </a:lnTo>
                  <a:lnTo>
                    <a:pt x="50" y="2"/>
                  </a:lnTo>
                  <a:lnTo>
                    <a:pt x="47"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2" name="Freeform 67">
              <a:extLst>
                <a:ext uri="{FF2B5EF4-FFF2-40B4-BE49-F238E27FC236}">
                  <a16:creationId xmlns:a16="http://schemas.microsoft.com/office/drawing/2014/main" id="{D3637077-C95A-4BC3-BA8F-1863B4893F37}"/>
                </a:ext>
              </a:extLst>
            </p:cNvPr>
            <p:cNvSpPr>
              <a:spLocks noEditPoints="1"/>
            </p:cNvSpPr>
            <p:nvPr/>
          </p:nvSpPr>
          <p:spPr bwMode="auto">
            <a:xfrm>
              <a:off x="933450" y="865188"/>
              <a:ext cx="257175" cy="190500"/>
            </a:xfrm>
            <a:custGeom>
              <a:avLst/>
              <a:gdLst>
                <a:gd name="T0" fmla="*/ 174 w 808"/>
                <a:gd name="T1" fmla="*/ 564 h 599"/>
                <a:gd name="T2" fmla="*/ 111 w 808"/>
                <a:gd name="T3" fmla="*/ 536 h 599"/>
                <a:gd name="T4" fmla="*/ 62 w 808"/>
                <a:gd name="T5" fmla="*/ 487 h 599"/>
                <a:gd name="T6" fmla="*/ 34 w 808"/>
                <a:gd name="T7" fmla="*/ 424 h 599"/>
                <a:gd name="T8" fmla="*/ 34 w 808"/>
                <a:gd name="T9" fmla="*/ 356 h 599"/>
                <a:gd name="T10" fmla="*/ 59 w 808"/>
                <a:gd name="T11" fmla="*/ 296 h 599"/>
                <a:gd name="T12" fmla="*/ 105 w 808"/>
                <a:gd name="T13" fmla="*/ 246 h 599"/>
                <a:gd name="T14" fmla="*/ 164 w 808"/>
                <a:gd name="T15" fmla="*/ 215 h 599"/>
                <a:gd name="T16" fmla="*/ 205 w 808"/>
                <a:gd name="T17" fmla="*/ 206 h 599"/>
                <a:gd name="T18" fmla="*/ 213 w 808"/>
                <a:gd name="T19" fmla="*/ 177 h 599"/>
                <a:gd name="T20" fmla="*/ 233 w 808"/>
                <a:gd name="T21" fmla="*/ 127 h 599"/>
                <a:gd name="T22" fmla="*/ 282 w 808"/>
                <a:gd name="T23" fmla="*/ 74 h 599"/>
                <a:gd name="T24" fmla="*/ 348 w 808"/>
                <a:gd name="T25" fmla="*/ 41 h 599"/>
                <a:gd name="T26" fmla="*/ 419 w 808"/>
                <a:gd name="T27" fmla="*/ 29 h 599"/>
                <a:gd name="T28" fmla="*/ 479 w 808"/>
                <a:gd name="T29" fmla="*/ 42 h 599"/>
                <a:gd name="T30" fmla="*/ 531 w 808"/>
                <a:gd name="T31" fmla="*/ 74 h 599"/>
                <a:gd name="T32" fmla="*/ 573 w 808"/>
                <a:gd name="T33" fmla="*/ 119 h 599"/>
                <a:gd name="T34" fmla="*/ 600 w 808"/>
                <a:gd name="T35" fmla="*/ 170 h 599"/>
                <a:gd name="T36" fmla="*/ 615 w 808"/>
                <a:gd name="T37" fmla="*/ 179 h 599"/>
                <a:gd name="T38" fmla="*/ 675 w 808"/>
                <a:gd name="T39" fmla="*/ 186 h 599"/>
                <a:gd name="T40" fmla="*/ 709 w 808"/>
                <a:gd name="T41" fmla="*/ 208 h 599"/>
                <a:gd name="T42" fmla="*/ 725 w 808"/>
                <a:gd name="T43" fmla="*/ 235 h 599"/>
                <a:gd name="T44" fmla="*/ 727 w 808"/>
                <a:gd name="T45" fmla="*/ 273 h 599"/>
                <a:gd name="T46" fmla="*/ 719 w 808"/>
                <a:gd name="T47" fmla="*/ 304 h 599"/>
                <a:gd name="T48" fmla="*/ 737 w 808"/>
                <a:gd name="T49" fmla="*/ 321 h 599"/>
                <a:gd name="T50" fmla="*/ 764 w 808"/>
                <a:gd name="T51" fmla="*/ 361 h 599"/>
                <a:gd name="T52" fmla="*/ 778 w 808"/>
                <a:gd name="T53" fmla="*/ 434 h 599"/>
                <a:gd name="T54" fmla="*/ 767 w 808"/>
                <a:gd name="T55" fmla="*/ 486 h 599"/>
                <a:gd name="T56" fmla="*/ 738 w 808"/>
                <a:gd name="T57" fmla="*/ 529 h 599"/>
                <a:gd name="T58" fmla="*/ 696 w 808"/>
                <a:gd name="T59" fmla="*/ 558 h 599"/>
                <a:gd name="T60" fmla="*/ 642 w 808"/>
                <a:gd name="T61" fmla="*/ 569 h 599"/>
                <a:gd name="T62" fmla="*/ 758 w 808"/>
                <a:gd name="T63" fmla="*/ 258 h 599"/>
                <a:gd name="T64" fmla="*/ 747 w 808"/>
                <a:gd name="T65" fmla="*/ 212 h 599"/>
                <a:gd name="T66" fmla="*/ 727 w 808"/>
                <a:gd name="T67" fmla="*/ 183 h 599"/>
                <a:gd name="T68" fmla="*/ 700 w 808"/>
                <a:gd name="T69" fmla="*/ 165 h 599"/>
                <a:gd name="T70" fmla="*/ 642 w 808"/>
                <a:gd name="T71" fmla="*/ 149 h 599"/>
                <a:gd name="T72" fmla="*/ 601 w 808"/>
                <a:gd name="T73" fmla="*/ 108 h 599"/>
                <a:gd name="T74" fmla="*/ 559 w 808"/>
                <a:gd name="T75" fmla="*/ 58 h 599"/>
                <a:gd name="T76" fmla="*/ 503 w 808"/>
                <a:gd name="T77" fmla="*/ 19 h 599"/>
                <a:gd name="T78" fmla="*/ 438 w 808"/>
                <a:gd name="T79" fmla="*/ 0 h 599"/>
                <a:gd name="T80" fmla="*/ 349 w 808"/>
                <a:gd name="T81" fmla="*/ 9 h 599"/>
                <a:gd name="T82" fmla="*/ 272 w 808"/>
                <a:gd name="T83" fmla="*/ 44 h 599"/>
                <a:gd name="T84" fmla="*/ 216 w 808"/>
                <a:gd name="T85" fmla="*/ 99 h 599"/>
                <a:gd name="T86" fmla="*/ 185 w 808"/>
                <a:gd name="T87" fmla="*/ 164 h 599"/>
                <a:gd name="T88" fmla="*/ 128 w 808"/>
                <a:gd name="T89" fmla="*/ 197 h 599"/>
                <a:gd name="T90" fmla="*/ 66 w 808"/>
                <a:gd name="T91" fmla="*/ 240 h 599"/>
                <a:gd name="T92" fmla="*/ 22 w 808"/>
                <a:gd name="T93" fmla="*/ 300 h 599"/>
                <a:gd name="T94" fmla="*/ 1 w 808"/>
                <a:gd name="T95" fmla="*/ 371 h 599"/>
                <a:gd name="T96" fmla="*/ 3 w 808"/>
                <a:gd name="T97" fmla="*/ 420 h 599"/>
                <a:gd name="T98" fmla="*/ 27 w 808"/>
                <a:gd name="T99" fmla="*/ 487 h 599"/>
                <a:gd name="T100" fmla="*/ 78 w 808"/>
                <a:gd name="T101" fmla="*/ 549 h 599"/>
                <a:gd name="T102" fmla="*/ 149 w 808"/>
                <a:gd name="T103" fmla="*/ 589 h 599"/>
                <a:gd name="T104" fmla="*/ 199 w 808"/>
                <a:gd name="T105" fmla="*/ 597 h 599"/>
                <a:gd name="T106" fmla="*/ 676 w 808"/>
                <a:gd name="T107" fmla="*/ 595 h 599"/>
                <a:gd name="T108" fmla="*/ 735 w 808"/>
                <a:gd name="T109" fmla="*/ 571 h 599"/>
                <a:gd name="T110" fmla="*/ 780 w 808"/>
                <a:gd name="T111" fmla="*/ 526 h 599"/>
                <a:gd name="T112" fmla="*/ 805 w 808"/>
                <a:gd name="T113" fmla="*/ 467 h 599"/>
                <a:gd name="T114" fmla="*/ 806 w 808"/>
                <a:gd name="T115" fmla="*/ 397 h 599"/>
                <a:gd name="T116" fmla="*/ 788 w 808"/>
                <a:gd name="T117" fmla="*/ 342 h 599"/>
                <a:gd name="T118" fmla="*/ 766 w 808"/>
                <a:gd name="T119" fmla="*/ 30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8" h="599">
                  <a:moveTo>
                    <a:pt x="642" y="569"/>
                  </a:moveTo>
                  <a:lnTo>
                    <a:pt x="210" y="569"/>
                  </a:lnTo>
                  <a:lnTo>
                    <a:pt x="192" y="568"/>
                  </a:lnTo>
                  <a:lnTo>
                    <a:pt x="174" y="564"/>
                  </a:lnTo>
                  <a:lnTo>
                    <a:pt x="158" y="560"/>
                  </a:lnTo>
                  <a:lnTo>
                    <a:pt x="141" y="554"/>
                  </a:lnTo>
                  <a:lnTo>
                    <a:pt x="126" y="546"/>
                  </a:lnTo>
                  <a:lnTo>
                    <a:pt x="111" y="536"/>
                  </a:lnTo>
                  <a:lnTo>
                    <a:pt x="97" y="526"/>
                  </a:lnTo>
                  <a:lnTo>
                    <a:pt x="84" y="514"/>
                  </a:lnTo>
                  <a:lnTo>
                    <a:pt x="73" y="501"/>
                  </a:lnTo>
                  <a:lnTo>
                    <a:pt x="62" y="487"/>
                  </a:lnTo>
                  <a:lnTo>
                    <a:pt x="52" y="473"/>
                  </a:lnTo>
                  <a:lnTo>
                    <a:pt x="45" y="457"/>
                  </a:lnTo>
                  <a:lnTo>
                    <a:pt x="38" y="441"/>
                  </a:lnTo>
                  <a:lnTo>
                    <a:pt x="34" y="424"/>
                  </a:lnTo>
                  <a:lnTo>
                    <a:pt x="31" y="407"/>
                  </a:lnTo>
                  <a:lnTo>
                    <a:pt x="30" y="389"/>
                  </a:lnTo>
                  <a:lnTo>
                    <a:pt x="31" y="373"/>
                  </a:lnTo>
                  <a:lnTo>
                    <a:pt x="34" y="356"/>
                  </a:lnTo>
                  <a:lnTo>
                    <a:pt x="38" y="341"/>
                  </a:lnTo>
                  <a:lnTo>
                    <a:pt x="44" y="325"/>
                  </a:lnTo>
                  <a:lnTo>
                    <a:pt x="50" y="310"/>
                  </a:lnTo>
                  <a:lnTo>
                    <a:pt x="59" y="296"/>
                  </a:lnTo>
                  <a:lnTo>
                    <a:pt x="68" y="282"/>
                  </a:lnTo>
                  <a:lnTo>
                    <a:pt x="79" y="269"/>
                  </a:lnTo>
                  <a:lnTo>
                    <a:pt x="92" y="257"/>
                  </a:lnTo>
                  <a:lnTo>
                    <a:pt x="105" y="246"/>
                  </a:lnTo>
                  <a:lnTo>
                    <a:pt x="118" y="237"/>
                  </a:lnTo>
                  <a:lnTo>
                    <a:pt x="133" y="228"/>
                  </a:lnTo>
                  <a:lnTo>
                    <a:pt x="147" y="222"/>
                  </a:lnTo>
                  <a:lnTo>
                    <a:pt x="164" y="215"/>
                  </a:lnTo>
                  <a:lnTo>
                    <a:pt x="180" y="212"/>
                  </a:lnTo>
                  <a:lnTo>
                    <a:pt x="197" y="209"/>
                  </a:lnTo>
                  <a:lnTo>
                    <a:pt x="201" y="208"/>
                  </a:lnTo>
                  <a:lnTo>
                    <a:pt x="205" y="206"/>
                  </a:lnTo>
                  <a:lnTo>
                    <a:pt x="209" y="201"/>
                  </a:lnTo>
                  <a:lnTo>
                    <a:pt x="210" y="196"/>
                  </a:lnTo>
                  <a:lnTo>
                    <a:pt x="211" y="186"/>
                  </a:lnTo>
                  <a:lnTo>
                    <a:pt x="213" y="177"/>
                  </a:lnTo>
                  <a:lnTo>
                    <a:pt x="215" y="168"/>
                  </a:lnTo>
                  <a:lnTo>
                    <a:pt x="217" y="160"/>
                  </a:lnTo>
                  <a:lnTo>
                    <a:pt x="225" y="143"/>
                  </a:lnTo>
                  <a:lnTo>
                    <a:pt x="233" y="127"/>
                  </a:lnTo>
                  <a:lnTo>
                    <a:pt x="244" y="113"/>
                  </a:lnTo>
                  <a:lnTo>
                    <a:pt x="256" y="99"/>
                  </a:lnTo>
                  <a:lnTo>
                    <a:pt x="268" y="86"/>
                  </a:lnTo>
                  <a:lnTo>
                    <a:pt x="282" y="74"/>
                  </a:lnTo>
                  <a:lnTo>
                    <a:pt x="298" y="64"/>
                  </a:lnTo>
                  <a:lnTo>
                    <a:pt x="315" y="56"/>
                  </a:lnTo>
                  <a:lnTo>
                    <a:pt x="331" y="47"/>
                  </a:lnTo>
                  <a:lnTo>
                    <a:pt x="348" y="41"/>
                  </a:lnTo>
                  <a:lnTo>
                    <a:pt x="366" y="37"/>
                  </a:lnTo>
                  <a:lnTo>
                    <a:pt x="384" y="32"/>
                  </a:lnTo>
                  <a:lnTo>
                    <a:pt x="401" y="30"/>
                  </a:lnTo>
                  <a:lnTo>
                    <a:pt x="419" y="29"/>
                  </a:lnTo>
                  <a:lnTo>
                    <a:pt x="434" y="30"/>
                  </a:lnTo>
                  <a:lnTo>
                    <a:pt x="449" y="32"/>
                  </a:lnTo>
                  <a:lnTo>
                    <a:pt x="464" y="37"/>
                  </a:lnTo>
                  <a:lnTo>
                    <a:pt x="479" y="42"/>
                  </a:lnTo>
                  <a:lnTo>
                    <a:pt x="492" y="48"/>
                  </a:lnTo>
                  <a:lnTo>
                    <a:pt x="506" y="56"/>
                  </a:lnTo>
                  <a:lnTo>
                    <a:pt x="519" y="64"/>
                  </a:lnTo>
                  <a:lnTo>
                    <a:pt x="531" y="74"/>
                  </a:lnTo>
                  <a:lnTo>
                    <a:pt x="543" y="84"/>
                  </a:lnTo>
                  <a:lnTo>
                    <a:pt x="553" y="94"/>
                  </a:lnTo>
                  <a:lnTo>
                    <a:pt x="563" y="106"/>
                  </a:lnTo>
                  <a:lnTo>
                    <a:pt x="573" y="119"/>
                  </a:lnTo>
                  <a:lnTo>
                    <a:pt x="580" y="131"/>
                  </a:lnTo>
                  <a:lnTo>
                    <a:pt x="588" y="144"/>
                  </a:lnTo>
                  <a:lnTo>
                    <a:pt x="595" y="158"/>
                  </a:lnTo>
                  <a:lnTo>
                    <a:pt x="600" y="170"/>
                  </a:lnTo>
                  <a:lnTo>
                    <a:pt x="603" y="175"/>
                  </a:lnTo>
                  <a:lnTo>
                    <a:pt x="607" y="178"/>
                  </a:lnTo>
                  <a:lnTo>
                    <a:pt x="611" y="179"/>
                  </a:lnTo>
                  <a:lnTo>
                    <a:pt x="615" y="179"/>
                  </a:lnTo>
                  <a:lnTo>
                    <a:pt x="631" y="179"/>
                  </a:lnTo>
                  <a:lnTo>
                    <a:pt x="646" y="179"/>
                  </a:lnTo>
                  <a:lnTo>
                    <a:pt x="661" y="182"/>
                  </a:lnTo>
                  <a:lnTo>
                    <a:pt x="675" y="186"/>
                  </a:lnTo>
                  <a:lnTo>
                    <a:pt x="687" y="192"/>
                  </a:lnTo>
                  <a:lnTo>
                    <a:pt x="699" y="199"/>
                  </a:lnTo>
                  <a:lnTo>
                    <a:pt x="704" y="204"/>
                  </a:lnTo>
                  <a:lnTo>
                    <a:pt x="709" y="208"/>
                  </a:lnTo>
                  <a:lnTo>
                    <a:pt x="713" y="213"/>
                  </a:lnTo>
                  <a:lnTo>
                    <a:pt x="716" y="219"/>
                  </a:lnTo>
                  <a:lnTo>
                    <a:pt x="721" y="226"/>
                  </a:lnTo>
                  <a:lnTo>
                    <a:pt x="725" y="235"/>
                  </a:lnTo>
                  <a:lnTo>
                    <a:pt x="727" y="244"/>
                  </a:lnTo>
                  <a:lnTo>
                    <a:pt x="728" y="253"/>
                  </a:lnTo>
                  <a:lnTo>
                    <a:pt x="728" y="264"/>
                  </a:lnTo>
                  <a:lnTo>
                    <a:pt x="727" y="273"/>
                  </a:lnTo>
                  <a:lnTo>
                    <a:pt x="723" y="283"/>
                  </a:lnTo>
                  <a:lnTo>
                    <a:pt x="720" y="293"/>
                  </a:lnTo>
                  <a:lnTo>
                    <a:pt x="719" y="299"/>
                  </a:lnTo>
                  <a:lnTo>
                    <a:pt x="719" y="304"/>
                  </a:lnTo>
                  <a:lnTo>
                    <a:pt x="721" y="308"/>
                  </a:lnTo>
                  <a:lnTo>
                    <a:pt x="726" y="313"/>
                  </a:lnTo>
                  <a:lnTo>
                    <a:pt x="731" y="317"/>
                  </a:lnTo>
                  <a:lnTo>
                    <a:pt x="737" y="321"/>
                  </a:lnTo>
                  <a:lnTo>
                    <a:pt x="743" y="327"/>
                  </a:lnTo>
                  <a:lnTo>
                    <a:pt x="747" y="333"/>
                  </a:lnTo>
                  <a:lnTo>
                    <a:pt x="757" y="346"/>
                  </a:lnTo>
                  <a:lnTo>
                    <a:pt x="764" y="361"/>
                  </a:lnTo>
                  <a:lnTo>
                    <a:pt x="771" y="378"/>
                  </a:lnTo>
                  <a:lnTo>
                    <a:pt x="775" y="395"/>
                  </a:lnTo>
                  <a:lnTo>
                    <a:pt x="778" y="414"/>
                  </a:lnTo>
                  <a:lnTo>
                    <a:pt x="778" y="434"/>
                  </a:lnTo>
                  <a:lnTo>
                    <a:pt x="778" y="448"/>
                  </a:lnTo>
                  <a:lnTo>
                    <a:pt x="776" y="460"/>
                  </a:lnTo>
                  <a:lnTo>
                    <a:pt x="773" y="474"/>
                  </a:lnTo>
                  <a:lnTo>
                    <a:pt x="767" y="486"/>
                  </a:lnTo>
                  <a:lnTo>
                    <a:pt x="762" y="498"/>
                  </a:lnTo>
                  <a:lnTo>
                    <a:pt x="756" y="509"/>
                  </a:lnTo>
                  <a:lnTo>
                    <a:pt x="747" y="519"/>
                  </a:lnTo>
                  <a:lnTo>
                    <a:pt x="738" y="529"/>
                  </a:lnTo>
                  <a:lnTo>
                    <a:pt x="729" y="538"/>
                  </a:lnTo>
                  <a:lnTo>
                    <a:pt x="718" y="545"/>
                  </a:lnTo>
                  <a:lnTo>
                    <a:pt x="707" y="553"/>
                  </a:lnTo>
                  <a:lnTo>
                    <a:pt x="696" y="558"/>
                  </a:lnTo>
                  <a:lnTo>
                    <a:pt x="683" y="562"/>
                  </a:lnTo>
                  <a:lnTo>
                    <a:pt x="670" y="565"/>
                  </a:lnTo>
                  <a:lnTo>
                    <a:pt x="656" y="568"/>
                  </a:lnTo>
                  <a:lnTo>
                    <a:pt x="642" y="569"/>
                  </a:lnTo>
                  <a:close/>
                  <a:moveTo>
                    <a:pt x="751" y="295"/>
                  </a:moveTo>
                  <a:lnTo>
                    <a:pt x="756" y="282"/>
                  </a:lnTo>
                  <a:lnTo>
                    <a:pt x="758" y="270"/>
                  </a:lnTo>
                  <a:lnTo>
                    <a:pt x="758" y="258"/>
                  </a:lnTo>
                  <a:lnTo>
                    <a:pt x="758" y="245"/>
                  </a:lnTo>
                  <a:lnTo>
                    <a:pt x="756" y="235"/>
                  </a:lnTo>
                  <a:lnTo>
                    <a:pt x="752" y="223"/>
                  </a:lnTo>
                  <a:lnTo>
                    <a:pt x="747" y="212"/>
                  </a:lnTo>
                  <a:lnTo>
                    <a:pt x="742" y="201"/>
                  </a:lnTo>
                  <a:lnTo>
                    <a:pt x="737" y="195"/>
                  </a:lnTo>
                  <a:lnTo>
                    <a:pt x="732" y="189"/>
                  </a:lnTo>
                  <a:lnTo>
                    <a:pt x="727" y="183"/>
                  </a:lnTo>
                  <a:lnTo>
                    <a:pt x="720" y="178"/>
                  </a:lnTo>
                  <a:lnTo>
                    <a:pt x="714" y="173"/>
                  </a:lnTo>
                  <a:lnTo>
                    <a:pt x="707" y="168"/>
                  </a:lnTo>
                  <a:lnTo>
                    <a:pt x="700" y="165"/>
                  </a:lnTo>
                  <a:lnTo>
                    <a:pt x="692" y="161"/>
                  </a:lnTo>
                  <a:lnTo>
                    <a:pt x="676" y="155"/>
                  </a:lnTo>
                  <a:lnTo>
                    <a:pt x="660" y="151"/>
                  </a:lnTo>
                  <a:lnTo>
                    <a:pt x="642" y="149"/>
                  </a:lnTo>
                  <a:lnTo>
                    <a:pt x="624" y="149"/>
                  </a:lnTo>
                  <a:lnTo>
                    <a:pt x="618" y="135"/>
                  </a:lnTo>
                  <a:lnTo>
                    <a:pt x="609" y="122"/>
                  </a:lnTo>
                  <a:lnTo>
                    <a:pt x="601" y="108"/>
                  </a:lnTo>
                  <a:lnTo>
                    <a:pt x="592" y="95"/>
                  </a:lnTo>
                  <a:lnTo>
                    <a:pt x="581" y="83"/>
                  </a:lnTo>
                  <a:lnTo>
                    <a:pt x="570" y="70"/>
                  </a:lnTo>
                  <a:lnTo>
                    <a:pt x="559" y="58"/>
                  </a:lnTo>
                  <a:lnTo>
                    <a:pt x="546" y="47"/>
                  </a:lnTo>
                  <a:lnTo>
                    <a:pt x="532" y="37"/>
                  </a:lnTo>
                  <a:lnTo>
                    <a:pt x="518" y="28"/>
                  </a:lnTo>
                  <a:lnTo>
                    <a:pt x="503" y="19"/>
                  </a:lnTo>
                  <a:lnTo>
                    <a:pt x="488" y="13"/>
                  </a:lnTo>
                  <a:lnTo>
                    <a:pt x="471" y="8"/>
                  </a:lnTo>
                  <a:lnTo>
                    <a:pt x="455" y="3"/>
                  </a:lnTo>
                  <a:lnTo>
                    <a:pt x="438" y="0"/>
                  </a:lnTo>
                  <a:lnTo>
                    <a:pt x="419" y="0"/>
                  </a:lnTo>
                  <a:lnTo>
                    <a:pt x="395" y="0"/>
                  </a:lnTo>
                  <a:lnTo>
                    <a:pt x="371" y="3"/>
                  </a:lnTo>
                  <a:lnTo>
                    <a:pt x="349" y="9"/>
                  </a:lnTo>
                  <a:lnTo>
                    <a:pt x="328" y="15"/>
                  </a:lnTo>
                  <a:lnTo>
                    <a:pt x="308" y="24"/>
                  </a:lnTo>
                  <a:lnTo>
                    <a:pt x="289" y="33"/>
                  </a:lnTo>
                  <a:lnTo>
                    <a:pt x="272" y="44"/>
                  </a:lnTo>
                  <a:lnTo>
                    <a:pt x="256" y="57"/>
                  </a:lnTo>
                  <a:lnTo>
                    <a:pt x="241" y="70"/>
                  </a:lnTo>
                  <a:lnTo>
                    <a:pt x="228" y="84"/>
                  </a:lnTo>
                  <a:lnTo>
                    <a:pt x="216" y="99"/>
                  </a:lnTo>
                  <a:lnTo>
                    <a:pt x="206" y="115"/>
                  </a:lnTo>
                  <a:lnTo>
                    <a:pt x="198" y="131"/>
                  </a:lnTo>
                  <a:lnTo>
                    <a:pt x="190" y="147"/>
                  </a:lnTo>
                  <a:lnTo>
                    <a:pt x="185" y="164"/>
                  </a:lnTo>
                  <a:lnTo>
                    <a:pt x="182" y="181"/>
                  </a:lnTo>
                  <a:lnTo>
                    <a:pt x="162" y="184"/>
                  </a:lnTo>
                  <a:lnTo>
                    <a:pt x="145" y="191"/>
                  </a:lnTo>
                  <a:lnTo>
                    <a:pt x="128" y="197"/>
                  </a:lnTo>
                  <a:lnTo>
                    <a:pt x="111" y="207"/>
                  </a:lnTo>
                  <a:lnTo>
                    <a:pt x="95" y="216"/>
                  </a:lnTo>
                  <a:lnTo>
                    <a:pt x="80" y="228"/>
                  </a:lnTo>
                  <a:lnTo>
                    <a:pt x="66" y="240"/>
                  </a:lnTo>
                  <a:lnTo>
                    <a:pt x="53" y="254"/>
                  </a:lnTo>
                  <a:lnTo>
                    <a:pt x="42" y="269"/>
                  </a:lnTo>
                  <a:lnTo>
                    <a:pt x="32" y="284"/>
                  </a:lnTo>
                  <a:lnTo>
                    <a:pt x="22" y="300"/>
                  </a:lnTo>
                  <a:lnTo>
                    <a:pt x="15" y="317"/>
                  </a:lnTo>
                  <a:lnTo>
                    <a:pt x="8" y="334"/>
                  </a:lnTo>
                  <a:lnTo>
                    <a:pt x="4" y="352"/>
                  </a:lnTo>
                  <a:lnTo>
                    <a:pt x="1" y="371"/>
                  </a:lnTo>
                  <a:lnTo>
                    <a:pt x="0" y="389"/>
                  </a:lnTo>
                  <a:lnTo>
                    <a:pt x="1" y="399"/>
                  </a:lnTo>
                  <a:lnTo>
                    <a:pt x="2" y="409"/>
                  </a:lnTo>
                  <a:lnTo>
                    <a:pt x="3" y="420"/>
                  </a:lnTo>
                  <a:lnTo>
                    <a:pt x="5" y="431"/>
                  </a:lnTo>
                  <a:lnTo>
                    <a:pt x="10" y="450"/>
                  </a:lnTo>
                  <a:lnTo>
                    <a:pt x="17" y="469"/>
                  </a:lnTo>
                  <a:lnTo>
                    <a:pt x="27" y="487"/>
                  </a:lnTo>
                  <a:lnTo>
                    <a:pt x="37" y="504"/>
                  </a:lnTo>
                  <a:lnTo>
                    <a:pt x="49" y="520"/>
                  </a:lnTo>
                  <a:lnTo>
                    <a:pt x="63" y="535"/>
                  </a:lnTo>
                  <a:lnTo>
                    <a:pt x="78" y="549"/>
                  </a:lnTo>
                  <a:lnTo>
                    <a:pt x="94" y="561"/>
                  </a:lnTo>
                  <a:lnTo>
                    <a:pt x="112" y="572"/>
                  </a:lnTo>
                  <a:lnTo>
                    <a:pt x="130" y="581"/>
                  </a:lnTo>
                  <a:lnTo>
                    <a:pt x="149" y="589"/>
                  </a:lnTo>
                  <a:lnTo>
                    <a:pt x="169" y="594"/>
                  </a:lnTo>
                  <a:lnTo>
                    <a:pt x="179" y="595"/>
                  </a:lnTo>
                  <a:lnTo>
                    <a:pt x="189" y="597"/>
                  </a:lnTo>
                  <a:lnTo>
                    <a:pt x="199" y="597"/>
                  </a:lnTo>
                  <a:lnTo>
                    <a:pt x="210" y="599"/>
                  </a:lnTo>
                  <a:lnTo>
                    <a:pt x="642" y="599"/>
                  </a:lnTo>
                  <a:lnTo>
                    <a:pt x="659" y="597"/>
                  </a:lnTo>
                  <a:lnTo>
                    <a:pt x="676" y="595"/>
                  </a:lnTo>
                  <a:lnTo>
                    <a:pt x="692" y="591"/>
                  </a:lnTo>
                  <a:lnTo>
                    <a:pt x="707" y="586"/>
                  </a:lnTo>
                  <a:lnTo>
                    <a:pt x="721" y="578"/>
                  </a:lnTo>
                  <a:lnTo>
                    <a:pt x="735" y="571"/>
                  </a:lnTo>
                  <a:lnTo>
                    <a:pt x="748" y="561"/>
                  </a:lnTo>
                  <a:lnTo>
                    <a:pt x="760" y="550"/>
                  </a:lnTo>
                  <a:lnTo>
                    <a:pt x="771" y="539"/>
                  </a:lnTo>
                  <a:lnTo>
                    <a:pt x="780" y="526"/>
                  </a:lnTo>
                  <a:lnTo>
                    <a:pt x="789" y="512"/>
                  </a:lnTo>
                  <a:lnTo>
                    <a:pt x="795" y="498"/>
                  </a:lnTo>
                  <a:lnTo>
                    <a:pt x="801" y="483"/>
                  </a:lnTo>
                  <a:lnTo>
                    <a:pt x="805" y="467"/>
                  </a:lnTo>
                  <a:lnTo>
                    <a:pt x="808" y="451"/>
                  </a:lnTo>
                  <a:lnTo>
                    <a:pt x="808" y="434"/>
                  </a:lnTo>
                  <a:lnTo>
                    <a:pt x="808" y="417"/>
                  </a:lnTo>
                  <a:lnTo>
                    <a:pt x="806" y="397"/>
                  </a:lnTo>
                  <a:lnTo>
                    <a:pt x="802" y="379"/>
                  </a:lnTo>
                  <a:lnTo>
                    <a:pt x="796" y="360"/>
                  </a:lnTo>
                  <a:lnTo>
                    <a:pt x="792" y="351"/>
                  </a:lnTo>
                  <a:lnTo>
                    <a:pt x="788" y="342"/>
                  </a:lnTo>
                  <a:lnTo>
                    <a:pt x="783" y="333"/>
                  </a:lnTo>
                  <a:lnTo>
                    <a:pt x="778" y="325"/>
                  </a:lnTo>
                  <a:lnTo>
                    <a:pt x="773" y="316"/>
                  </a:lnTo>
                  <a:lnTo>
                    <a:pt x="766" y="308"/>
                  </a:lnTo>
                  <a:lnTo>
                    <a:pt x="759" y="301"/>
                  </a:lnTo>
                  <a:lnTo>
                    <a:pt x="75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3" name="Freeform 68">
              <a:extLst>
                <a:ext uri="{FF2B5EF4-FFF2-40B4-BE49-F238E27FC236}">
                  <a16:creationId xmlns:a16="http://schemas.microsoft.com/office/drawing/2014/main" id="{3EFC7C36-AB0E-4801-8F77-105B3106BA8A}"/>
                </a:ext>
              </a:extLst>
            </p:cNvPr>
            <p:cNvSpPr>
              <a:spLocks/>
            </p:cNvSpPr>
            <p:nvPr/>
          </p:nvSpPr>
          <p:spPr bwMode="auto">
            <a:xfrm>
              <a:off x="933450" y="798513"/>
              <a:ext cx="146050" cy="123825"/>
            </a:xfrm>
            <a:custGeom>
              <a:avLst/>
              <a:gdLst>
                <a:gd name="T0" fmla="*/ 39 w 457"/>
                <a:gd name="T1" fmla="*/ 386 h 388"/>
                <a:gd name="T2" fmla="*/ 50 w 457"/>
                <a:gd name="T3" fmla="*/ 388 h 388"/>
                <a:gd name="T4" fmla="*/ 59 w 457"/>
                <a:gd name="T5" fmla="*/ 383 h 388"/>
                <a:gd name="T6" fmla="*/ 62 w 457"/>
                <a:gd name="T7" fmla="*/ 374 h 388"/>
                <a:gd name="T8" fmla="*/ 60 w 457"/>
                <a:gd name="T9" fmla="*/ 365 h 388"/>
                <a:gd name="T10" fmla="*/ 42 w 457"/>
                <a:gd name="T11" fmla="*/ 326 h 388"/>
                <a:gd name="T12" fmla="*/ 32 w 457"/>
                <a:gd name="T13" fmla="*/ 284 h 388"/>
                <a:gd name="T14" fmla="*/ 31 w 457"/>
                <a:gd name="T15" fmla="*/ 243 h 388"/>
                <a:gd name="T16" fmla="*/ 35 w 457"/>
                <a:gd name="T17" fmla="*/ 210 h 388"/>
                <a:gd name="T18" fmla="*/ 44 w 457"/>
                <a:gd name="T19" fmla="*/ 178 h 388"/>
                <a:gd name="T20" fmla="*/ 68 w 457"/>
                <a:gd name="T21" fmla="*/ 130 h 388"/>
                <a:gd name="T22" fmla="*/ 112 w 457"/>
                <a:gd name="T23" fmla="*/ 82 h 388"/>
                <a:gd name="T24" fmla="*/ 168 w 457"/>
                <a:gd name="T25" fmla="*/ 48 h 388"/>
                <a:gd name="T26" fmla="*/ 199 w 457"/>
                <a:gd name="T27" fmla="*/ 37 h 388"/>
                <a:gd name="T28" fmla="*/ 232 w 457"/>
                <a:gd name="T29" fmla="*/ 31 h 388"/>
                <a:gd name="T30" fmla="*/ 267 w 457"/>
                <a:gd name="T31" fmla="*/ 30 h 388"/>
                <a:gd name="T32" fmla="*/ 305 w 457"/>
                <a:gd name="T33" fmla="*/ 36 h 388"/>
                <a:gd name="T34" fmla="*/ 341 w 457"/>
                <a:gd name="T35" fmla="*/ 48 h 388"/>
                <a:gd name="T36" fmla="*/ 374 w 457"/>
                <a:gd name="T37" fmla="*/ 65 h 388"/>
                <a:gd name="T38" fmla="*/ 404 w 457"/>
                <a:gd name="T39" fmla="*/ 87 h 388"/>
                <a:gd name="T40" fmla="*/ 430 w 457"/>
                <a:gd name="T41" fmla="*/ 115 h 388"/>
                <a:gd name="T42" fmla="*/ 443 w 457"/>
                <a:gd name="T43" fmla="*/ 121 h 388"/>
                <a:gd name="T44" fmla="*/ 452 w 457"/>
                <a:gd name="T45" fmla="*/ 118 h 388"/>
                <a:gd name="T46" fmla="*/ 457 w 457"/>
                <a:gd name="T47" fmla="*/ 105 h 388"/>
                <a:gd name="T48" fmla="*/ 454 w 457"/>
                <a:gd name="T49" fmla="*/ 98 h 388"/>
                <a:gd name="T50" fmla="*/ 424 w 457"/>
                <a:gd name="T51" fmla="*/ 66 h 388"/>
                <a:gd name="T52" fmla="*/ 391 w 457"/>
                <a:gd name="T53" fmla="*/ 40 h 388"/>
                <a:gd name="T54" fmla="*/ 352 w 457"/>
                <a:gd name="T55" fmla="*/ 20 h 388"/>
                <a:gd name="T56" fmla="*/ 312 w 457"/>
                <a:gd name="T57" fmla="*/ 7 h 388"/>
                <a:gd name="T58" fmla="*/ 270 w 457"/>
                <a:gd name="T59" fmla="*/ 0 h 388"/>
                <a:gd name="T60" fmla="*/ 229 w 457"/>
                <a:gd name="T61" fmla="*/ 1 h 388"/>
                <a:gd name="T62" fmla="*/ 191 w 457"/>
                <a:gd name="T63" fmla="*/ 8 h 388"/>
                <a:gd name="T64" fmla="*/ 156 w 457"/>
                <a:gd name="T65" fmla="*/ 21 h 388"/>
                <a:gd name="T66" fmla="*/ 123 w 457"/>
                <a:gd name="T67" fmla="*/ 37 h 388"/>
                <a:gd name="T68" fmla="*/ 93 w 457"/>
                <a:gd name="T69" fmla="*/ 58 h 388"/>
                <a:gd name="T70" fmla="*/ 66 w 457"/>
                <a:gd name="T71" fmla="*/ 84 h 388"/>
                <a:gd name="T72" fmla="*/ 44 w 457"/>
                <a:gd name="T73" fmla="*/ 113 h 388"/>
                <a:gd name="T74" fmla="*/ 25 w 457"/>
                <a:gd name="T75" fmla="*/ 145 h 388"/>
                <a:gd name="T76" fmla="*/ 12 w 457"/>
                <a:gd name="T77" fmla="*/ 179 h 388"/>
                <a:gd name="T78" fmla="*/ 3 w 457"/>
                <a:gd name="T79" fmla="*/ 217 h 388"/>
                <a:gd name="T80" fmla="*/ 0 w 457"/>
                <a:gd name="T81" fmla="*/ 254 h 388"/>
                <a:gd name="T82" fmla="*/ 5 w 457"/>
                <a:gd name="T83" fmla="*/ 304 h 388"/>
                <a:gd name="T84" fmla="*/ 19 w 457"/>
                <a:gd name="T85" fmla="*/ 3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7" h="388">
                  <a:moveTo>
                    <a:pt x="34" y="380"/>
                  </a:moveTo>
                  <a:lnTo>
                    <a:pt x="36" y="384"/>
                  </a:lnTo>
                  <a:lnTo>
                    <a:pt x="39" y="386"/>
                  </a:lnTo>
                  <a:lnTo>
                    <a:pt x="43" y="388"/>
                  </a:lnTo>
                  <a:lnTo>
                    <a:pt x="47" y="388"/>
                  </a:lnTo>
                  <a:lnTo>
                    <a:pt x="50" y="388"/>
                  </a:lnTo>
                  <a:lnTo>
                    <a:pt x="54" y="386"/>
                  </a:lnTo>
                  <a:lnTo>
                    <a:pt x="56" y="385"/>
                  </a:lnTo>
                  <a:lnTo>
                    <a:pt x="59" y="383"/>
                  </a:lnTo>
                  <a:lnTo>
                    <a:pt x="60" y="379"/>
                  </a:lnTo>
                  <a:lnTo>
                    <a:pt x="61" y="377"/>
                  </a:lnTo>
                  <a:lnTo>
                    <a:pt x="62" y="374"/>
                  </a:lnTo>
                  <a:lnTo>
                    <a:pt x="62" y="371"/>
                  </a:lnTo>
                  <a:lnTo>
                    <a:pt x="61" y="369"/>
                  </a:lnTo>
                  <a:lnTo>
                    <a:pt x="60" y="365"/>
                  </a:lnTo>
                  <a:lnTo>
                    <a:pt x="53" y="353"/>
                  </a:lnTo>
                  <a:lnTo>
                    <a:pt x="47" y="340"/>
                  </a:lnTo>
                  <a:lnTo>
                    <a:pt x="42" y="326"/>
                  </a:lnTo>
                  <a:lnTo>
                    <a:pt x="37" y="312"/>
                  </a:lnTo>
                  <a:lnTo>
                    <a:pt x="34" y="298"/>
                  </a:lnTo>
                  <a:lnTo>
                    <a:pt x="32" y="284"/>
                  </a:lnTo>
                  <a:lnTo>
                    <a:pt x="31" y="269"/>
                  </a:lnTo>
                  <a:lnTo>
                    <a:pt x="30" y="254"/>
                  </a:lnTo>
                  <a:lnTo>
                    <a:pt x="31" y="243"/>
                  </a:lnTo>
                  <a:lnTo>
                    <a:pt x="32" y="232"/>
                  </a:lnTo>
                  <a:lnTo>
                    <a:pt x="33" y="221"/>
                  </a:lnTo>
                  <a:lnTo>
                    <a:pt x="35" y="210"/>
                  </a:lnTo>
                  <a:lnTo>
                    <a:pt x="37" y="198"/>
                  </a:lnTo>
                  <a:lnTo>
                    <a:pt x="40" y="189"/>
                  </a:lnTo>
                  <a:lnTo>
                    <a:pt x="44" y="178"/>
                  </a:lnTo>
                  <a:lnTo>
                    <a:pt x="48" y="167"/>
                  </a:lnTo>
                  <a:lnTo>
                    <a:pt x="58" y="148"/>
                  </a:lnTo>
                  <a:lnTo>
                    <a:pt x="68" y="130"/>
                  </a:lnTo>
                  <a:lnTo>
                    <a:pt x="81" y="113"/>
                  </a:lnTo>
                  <a:lnTo>
                    <a:pt x="96" y="97"/>
                  </a:lnTo>
                  <a:lnTo>
                    <a:pt x="112" y="82"/>
                  </a:lnTo>
                  <a:lnTo>
                    <a:pt x="129" y="69"/>
                  </a:lnTo>
                  <a:lnTo>
                    <a:pt x="147" y="57"/>
                  </a:lnTo>
                  <a:lnTo>
                    <a:pt x="168" y="48"/>
                  </a:lnTo>
                  <a:lnTo>
                    <a:pt x="177" y="44"/>
                  </a:lnTo>
                  <a:lnTo>
                    <a:pt x="188" y="40"/>
                  </a:lnTo>
                  <a:lnTo>
                    <a:pt x="199" y="37"/>
                  </a:lnTo>
                  <a:lnTo>
                    <a:pt x="210" y="35"/>
                  </a:lnTo>
                  <a:lnTo>
                    <a:pt x="220" y="33"/>
                  </a:lnTo>
                  <a:lnTo>
                    <a:pt x="232" y="31"/>
                  </a:lnTo>
                  <a:lnTo>
                    <a:pt x="243" y="30"/>
                  </a:lnTo>
                  <a:lnTo>
                    <a:pt x="255" y="30"/>
                  </a:lnTo>
                  <a:lnTo>
                    <a:pt x="267" y="30"/>
                  </a:lnTo>
                  <a:lnTo>
                    <a:pt x="280" y="31"/>
                  </a:lnTo>
                  <a:lnTo>
                    <a:pt x="293" y="34"/>
                  </a:lnTo>
                  <a:lnTo>
                    <a:pt x="305" y="36"/>
                  </a:lnTo>
                  <a:lnTo>
                    <a:pt x="318" y="39"/>
                  </a:lnTo>
                  <a:lnTo>
                    <a:pt x="330" y="43"/>
                  </a:lnTo>
                  <a:lnTo>
                    <a:pt x="341" y="48"/>
                  </a:lnTo>
                  <a:lnTo>
                    <a:pt x="352" y="53"/>
                  </a:lnTo>
                  <a:lnTo>
                    <a:pt x="364" y="58"/>
                  </a:lnTo>
                  <a:lnTo>
                    <a:pt x="374" y="65"/>
                  </a:lnTo>
                  <a:lnTo>
                    <a:pt x="384" y="72"/>
                  </a:lnTo>
                  <a:lnTo>
                    <a:pt x="395" y="80"/>
                  </a:lnTo>
                  <a:lnTo>
                    <a:pt x="404" y="87"/>
                  </a:lnTo>
                  <a:lnTo>
                    <a:pt x="413" y="97"/>
                  </a:lnTo>
                  <a:lnTo>
                    <a:pt x="423" y="105"/>
                  </a:lnTo>
                  <a:lnTo>
                    <a:pt x="430" y="115"/>
                  </a:lnTo>
                  <a:lnTo>
                    <a:pt x="435" y="119"/>
                  </a:lnTo>
                  <a:lnTo>
                    <a:pt x="441" y="121"/>
                  </a:lnTo>
                  <a:lnTo>
                    <a:pt x="443" y="121"/>
                  </a:lnTo>
                  <a:lnTo>
                    <a:pt x="446" y="120"/>
                  </a:lnTo>
                  <a:lnTo>
                    <a:pt x="449" y="120"/>
                  </a:lnTo>
                  <a:lnTo>
                    <a:pt x="452" y="118"/>
                  </a:lnTo>
                  <a:lnTo>
                    <a:pt x="455" y="114"/>
                  </a:lnTo>
                  <a:lnTo>
                    <a:pt x="457" y="107"/>
                  </a:lnTo>
                  <a:lnTo>
                    <a:pt x="457" y="105"/>
                  </a:lnTo>
                  <a:lnTo>
                    <a:pt x="457" y="102"/>
                  </a:lnTo>
                  <a:lnTo>
                    <a:pt x="456" y="100"/>
                  </a:lnTo>
                  <a:lnTo>
                    <a:pt x="454" y="98"/>
                  </a:lnTo>
                  <a:lnTo>
                    <a:pt x="444" y="86"/>
                  </a:lnTo>
                  <a:lnTo>
                    <a:pt x="434" y="75"/>
                  </a:lnTo>
                  <a:lnTo>
                    <a:pt x="424" y="66"/>
                  </a:lnTo>
                  <a:lnTo>
                    <a:pt x="413" y="56"/>
                  </a:lnTo>
                  <a:lnTo>
                    <a:pt x="402" y="48"/>
                  </a:lnTo>
                  <a:lnTo>
                    <a:pt x="391" y="40"/>
                  </a:lnTo>
                  <a:lnTo>
                    <a:pt x="378" y="33"/>
                  </a:lnTo>
                  <a:lnTo>
                    <a:pt x="365" y="26"/>
                  </a:lnTo>
                  <a:lnTo>
                    <a:pt x="352" y="20"/>
                  </a:lnTo>
                  <a:lnTo>
                    <a:pt x="339" y="14"/>
                  </a:lnTo>
                  <a:lnTo>
                    <a:pt x="325" y="10"/>
                  </a:lnTo>
                  <a:lnTo>
                    <a:pt x="312" y="7"/>
                  </a:lnTo>
                  <a:lnTo>
                    <a:pt x="297" y="4"/>
                  </a:lnTo>
                  <a:lnTo>
                    <a:pt x="283" y="1"/>
                  </a:lnTo>
                  <a:lnTo>
                    <a:pt x="270" y="0"/>
                  </a:lnTo>
                  <a:lnTo>
                    <a:pt x="255" y="0"/>
                  </a:lnTo>
                  <a:lnTo>
                    <a:pt x="242" y="0"/>
                  </a:lnTo>
                  <a:lnTo>
                    <a:pt x="229" y="1"/>
                  </a:lnTo>
                  <a:lnTo>
                    <a:pt x="216" y="4"/>
                  </a:lnTo>
                  <a:lnTo>
                    <a:pt x="203" y="6"/>
                  </a:lnTo>
                  <a:lnTo>
                    <a:pt x="191" y="8"/>
                  </a:lnTo>
                  <a:lnTo>
                    <a:pt x="180" y="12"/>
                  </a:lnTo>
                  <a:lnTo>
                    <a:pt x="168" y="15"/>
                  </a:lnTo>
                  <a:lnTo>
                    <a:pt x="156" y="21"/>
                  </a:lnTo>
                  <a:lnTo>
                    <a:pt x="144" y="25"/>
                  </a:lnTo>
                  <a:lnTo>
                    <a:pt x="134" y="31"/>
                  </a:lnTo>
                  <a:lnTo>
                    <a:pt x="123" y="37"/>
                  </a:lnTo>
                  <a:lnTo>
                    <a:pt x="112" y="44"/>
                  </a:lnTo>
                  <a:lnTo>
                    <a:pt x="103" y="51"/>
                  </a:lnTo>
                  <a:lnTo>
                    <a:pt x="93" y="58"/>
                  </a:lnTo>
                  <a:lnTo>
                    <a:pt x="83" y="67"/>
                  </a:lnTo>
                  <a:lnTo>
                    <a:pt x="75" y="75"/>
                  </a:lnTo>
                  <a:lnTo>
                    <a:pt x="66" y="84"/>
                  </a:lnTo>
                  <a:lnTo>
                    <a:pt x="59" y="94"/>
                  </a:lnTo>
                  <a:lnTo>
                    <a:pt x="51" y="103"/>
                  </a:lnTo>
                  <a:lnTo>
                    <a:pt x="44" y="113"/>
                  </a:lnTo>
                  <a:lnTo>
                    <a:pt x="37" y="124"/>
                  </a:lnTo>
                  <a:lnTo>
                    <a:pt x="31" y="134"/>
                  </a:lnTo>
                  <a:lnTo>
                    <a:pt x="25" y="145"/>
                  </a:lnTo>
                  <a:lnTo>
                    <a:pt x="20" y="156"/>
                  </a:lnTo>
                  <a:lnTo>
                    <a:pt x="16" y="167"/>
                  </a:lnTo>
                  <a:lnTo>
                    <a:pt x="12" y="179"/>
                  </a:lnTo>
                  <a:lnTo>
                    <a:pt x="8" y="191"/>
                  </a:lnTo>
                  <a:lnTo>
                    <a:pt x="5" y="204"/>
                  </a:lnTo>
                  <a:lnTo>
                    <a:pt x="3" y="217"/>
                  </a:lnTo>
                  <a:lnTo>
                    <a:pt x="2" y="228"/>
                  </a:lnTo>
                  <a:lnTo>
                    <a:pt x="1" y="241"/>
                  </a:lnTo>
                  <a:lnTo>
                    <a:pt x="0" y="254"/>
                  </a:lnTo>
                  <a:lnTo>
                    <a:pt x="1" y="271"/>
                  </a:lnTo>
                  <a:lnTo>
                    <a:pt x="3" y="288"/>
                  </a:lnTo>
                  <a:lnTo>
                    <a:pt x="5" y="304"/>
                  </a:lnTo>
                  <a:lnTo>
                    <a:pt x="8" y="320"/>
                  </a:lnTo>
                  <a:lnTo>
                    <a:pt x="14" y="335"/>
                  </a:lnTo>
                  <a:lnTo>
                    <a:pt x="19" y="352"/>
                  </a:lnTo>
                  <a:lnTo>
                    <a:pt x="25" y="366"/>
                  </a:lnTo>
                  <a:lnTo>
                    <a:pt x="34"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34" name="Group 38">
            <a:extLst>
              <a:ext uri="{FF2B5EF4-FFF2-40B4-BE49-F238E27FC236}">
                <a16:creationId xmlns:a16="http://schemas.microsoft.com/office/drawing/2014/main" id="{CAF2D180-E053-4FF9-AB67-630786112937}"/>
              </a:ext>
            </a:extLst>
          </p:cNvPr>
          <p:cNvGrpSpPr>
            <a:grpSpLocks noChangeAspect="1"/>
          </p:cNvGrpSpPr>
          <p:nvPr/>
        </p:nvGrpSpPr>
        <p:grpSpPr>
          <a:xfrm>
            <a:off x="6190777" y="5944848"/>
            <a:ext cx="277331" cy="308144"/>
            <a:chOff x="3214688" y="769938"/>
            <a:chExt cx="257175" cy="285750"/>
          </a:xfrm>
          <a:solidFill>
            <a:schemeClr val="bg2"/>
          </a:solidFill>
          <a:effectLst/>
        </p:grpSpPr>
        <p:sp>
          <p:nvSpPr>
            <p:cNvPr id="935" name="Freeform 33">
              <a:extLst>
                <a:ext uri="{FF2B5EF4-FFF2-40B4-BE49-F238E27FC236}">
                  <a16:creationId xmlns:a16="http://schemas.microsoft.com/office/drawing/2014/main" id="{69C0B9BC-0EC0-4EF1-A518-0E00536684C7}"/>
                </a:ext>
              </a:extLst>
            </p:cNvPr>
            <p:cNvSpPr>
              <a:spLocks noEditPoints="1"/>
            </p:cNvSpPr>
            <p:nvPr/>
          </p:nvSpPr>
          <p:spPr bwMode="auto">
            <a:xfrm>
              <a:off x="3214688" y="769938"/>
              <a:ext cx="257175" cy="190500"/>
            </a:xfrm>
            <a:custGeom>
              <a:avLst/>
              <a:gdLst>
                <a:gd name="T0" fmla="*/ 174 w 808"/>
                <a:gd name="T1" fmla="*/ 565 h 598"/>
                <a:gd name="T2" fmla="*/ 111 w 808"/>
                <a:gd name="T3" fmla="*/ 537 h 598"/>
                <a:gd name="T4" fmla="*/ 62 w 808"/>
                <a:gd name="T5" fmla="*/ 488 h 598"/>
                <a:gd name="T6" fmla="*/ 34 w 808"/>
                <a:gd name="T7" fmla="*/ 423 h 598"/>
                <a:gd name="T8" fmla="*/ 33 w 808"/>
                <a:gd name="T9" fmla="*/ 356 h 598"/>
                <a:gd name="T10" fmla="*/ 59 w 808"/>
                <a:gd name="T11" fmla="*/ 295 h 598"/>
                <a:gd name="T12" fmla="*/ 104 w 808"/>
                <a:gd name="T13" fmla="*/ 247 h 598"/>
                <a:gd name="T14" fmla="*/ 162 w 808"/>
                <a:gd name="T15" fmla="*/ 216 h 598"/>
                <a:gd name="T16" fmla="*/ 205 w 808"/>
                <a:gd name="T17" fmla="*/ 205 h 598"/>
                <a:gd name="T18" fmla="*/ 213 w 808"/>
                <a:gd name="T19" fmla="*/ 177 h 598"/>
                <a:gd name="T20" fmla="*/ 233 w 808"/>
                <a:gd name="T21" fmla="*/ 127 h 598"/>
                <a:gd name="T22" fmla="*/ 282 w 808"/>
                <a:gd name="T23" fmla="*/ 74 h 598"/>
                <a:gd name="T24" fmla="*/ 348 w 808"/>
                <a:gd name="T25" fmla="*/ 41 h 598"/>
                <a:gd name="T26" fmla="*/ 419 w 808"/>
                <a:gd name="T27" fmla="*/ 29 h 598"/>
                <a:gd name="T28" fmla="*/ 478 w 808"/>
                <a:gd name="T29" fmla="*/ 41 h 598"/>
                <a:gd name="T30" fmla="*/ 531 w 808"/>
                <a:gd name="T31" fmla="*/ 73 h 598"/>
                <a:gd name="T32" fmla="*/ 571 w 808"/>
                <a:gd name="T33" fmla="*/ 118 h 598"/>
                <a:gd name="T34" fmla="*/ 599 w 808"/>
                <a:gd name="T35" fmla="*/ 170 h 598"/>
                <a:gd name="T36" fmla="*/ 615 w 808"/>
                <a:gd name="T37" fmla="*/ 179 h 598"/>
                <a:gd name="T38" fmla="*/ 674 w 808"/>
                <a:gd name="T39" fmla="*/ 186 h 598"/>
                <a:gd name="T40" fmla="*/ 708 w 808"/>
                <a:gd name="T41" fmla="*/ 208 h 598"/>
                <a:gd name="T42" fmla="*/ 725 w 808"/>
                <a:gd name="T43" fmla="*/ 235 h 598"/>
                <a:gd name="T44" fmla="*/ 726 w 808"/>
                <a:gd name="T45" fmla="*/ 272 h 598"/>
                <a:gd name="T46" fmla="*/ 719 w 808"/>
                <a:gd name="T47" fmla="*/ 303 h 598"/>
                <a:gd name="T48" fmla="*/ 736 w 808"/>
                <a:gd name="T49" fmla="*/ 322 h 598"/>
                <a:gd name="T50" fmla="*/ 764 w 808"/>
                <a:gd name="T51" fmla="*/ 361 h 598"/>
                <a:gd name="T52" fmla="*/ 778 w 808"/>
                <a:gd name="T53" fmla="*/ 433 h 598"/>
                <a:gd name="T54" fmla="*/ 767 w 808"/>
                <a:gd name="T55" fmla="*/ 485 h 598"/>
                <a:gd name="T56" fmla="*/ 738 w 808"/>
                <a:gd name="T57" fmla="*/ 528 h 598"/>
                <a:gd name="T58" fmla="*/ 696 w 808"/>
                <a:gd name="T59" fmla="*/ 557 h 598"/>
                <a:gd name="T60" fmla="*/ 642 w 808"/>
                <a:gd name="T61" fmla="*/ 568 h 598"/>
                <a:gd name="T62" fmla="*/ 758 w 808"/>
                <a:gd name="T63" fmla="*/ 257 h 598"/>
                <a:gd name="T64" fmla="*/ 747 w 808"/>
                <a:gd name="T65" fmla="*/ 211 h 598"/>
                <a:gd name="T66" fmla="*/ 726 w 808"/>
                <a:gd name="T67" fmla="*/ 183 h 598"/>
                <a:gd name="T68" fmla="*/ 700 w 808"/>
                <a:gd name="T69" fmla="*/ 164 h 598"/>
                <a:gd name="T70" fmla="*/ 642 w 808"/>
                <a:gd name="T71" fmla="*/ 149 h 598"/>
                <a:gd name="T72" fmla="*/ 600 w 808"/>
                <a:gd name="T73" fmla="*/ 108 h 598"/>
                <a:gd name="T74" fmla="*/ 558 w 808"/>
                <a:gd name="T75" fmla="*/ 57 h 598"/>
                <a:gd name="T76" fmla="*/ 503 w 808"/>
                <a:gd name="T77" fmla="*/ 20 h 598"/>
                <a:gd name="T78" fmla="*/ 437 w 808"/>
                <a:gd name="T79" fmla="*/ 1 h 598"/>
                <a:gd name="T80" fmla="*/ 349 w 808"/>
                <a:gd name="T81" fmla="*/ 8 h 598"/>
                <a:gd name="T82" fmla="*/ 272 w 808"/>
                <a:gd name="T83" fmla="*/ 44 h 598"/>
                <a:gd name="T84" fmla="*/ 216 w 808"/>
                <a:gd name="T85" fmla="*/ 99 h 598"/>
                <a:gd name="T86" fmla="*/ 185 w 808"/>
                <a:gd name="T87" fmla="*/ 163 h 598"/>
                <a:gd name="T88" fmla="*/ 127 w 808"/>
                <a:gd name="T89" fmla="*/ 198 h 598"/>
                <a:gd name="T90" fmla="*/ 66 w 808"/>
                <a:gd name="T91" fmla="*/ 240 h 598"/>
                <a:gd name="T92" fmla="*/ 22 w 808"/>
                <a:gd name="T93" fmla="*/ 300 h 598"/>
                <a:gd name="T94" fmla="*/ 1 w 808"/>
                <a:gd name="T95" fmla="*/ 370 h 598"/>
                <a:gd name="T96" fmla="*/ 3 w 808"/>
                <a:gd name="T97" fmla="*/ 419 h 598"/>
                <a:gd name="T98" fmla="*/ 26 w 808"/>
                <a:gd name="T99" fmla="*/ 487 h 598"/>
                <a:gd name="T100" fmla="*/ 78 w 808"/>
                <a:gd name="T101" fmla="*/ 549 h 598"/>
                <a:gd name="T102" fmla="*/ 149 w 808"/>
                <a:gd name="T103" fmla="*/ 588 h 598"/>
                <a:gd name="T104" fmla="*/ 199 w 808"/>
                <a:gd name="T105" fmla="*/ 598 h 598"/>
                <a:gd name="T106" fmla="*/ 675 w 808"/>
                <a:gd name="T107" fmla="*/ 595 h 598"/>
                <a:gd name="T108" fmla="*/ 735 w 808"/>
                <a:gd name="T109" fmla="*/ 570 h 598"/>
                <a:gd name="T110" fmla="*/ 780 w 808"/>
                <a:gd name="T111" fmla="*/ 525 h 598"/>
                <a:gd name="T112" fmla="*/ 805 w 808"/>
                <a:gd name="T113" fmla="*/ 466 h 598"/>
                <a:gd name="T114" fmla="*/ 805 w 808"/>
                <a:gd name="T115" fmla="*/ 398 h 598"/>
                <a:gd name="T116" fmla="*/ 788 w 808"/>
                <a:gd name="T117" fmla="*/ 342 h 598"/>
                <a:gd name="T118" fmla="*/ 766 w 808"/>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8" h="598">
                  <a:moveTo>
                    <a:pt x="642" y="568"/>
                  </a:moveTo>
                  <a:lnTo>
                    <a:pt x="210" y="568"/>
                  </a:lnTo>
                  <a:lnTo>
                    <a:pt x="191" y="567"/>
                  </a:lnTo>
                  <a:lnTo>
                    <a:pt x="174" y="565"/>
                  </a:lnTo>
                  <a:lnTo>
                    <a:pt x="157" y="559"/>
                  </a:lnTo>
                  <a:lnTo>
                    <a:pt x="141" y="554"/>
                  </a:lnTo>
                  <a:lnTo>
                    <a:pt x="126" y="545"/>
                  </a:lnTo>
                  <a:lnTo>
                    <a:pt x="111" y="537"/>
                  </a:lnTo>
                  <a:lnTo>
                    <a:pt x="97" y="526"/>
                  </a:lnTo>
                  <a:lnTo>
                    <a:pt x="84" y="514"/>
                  </a:lnTo>
                  <a:lnTo>
                    <a:pt x="73" y="502"/>
                  </a:lnTo>
                  <a:lnTo>
                    <a:pt x="62" y="488"/>
                  </a:lnTo>
                  <a:lnTo>
                    <a:pt x="52" y="473"/>
                  </a:lnTo>
                  <a:lnTo>
                    <a:pt x="45" y="457"/>
                  </a:lnTo>
                  <a:lnTo>
                    <a:pt x="38" y="441"/>
                  </a:lnTo>
                  <a:lnTo>
                    <a:pt x="34" y="423"/>
                  </a:lnTo>
                  <a:lnTo>
                    <a:pt x="31" y="406"/>
                  </a:lnTo>
                  <a:lnTo>
                    <a:pt x="30" y="388"/>
                  </a:lnTo>
                  <a:lnTo>
                    <a:pt x="31" y="372"/>
                  </a:lnTo>
                  <a:lnTo>
                    <a:pt x="33" y="356"/>
                  </a:lnTo>
                  <a:lnTo>
                    <a:pt x="37" y="340"/>
                  </a:lnTo>
                  <a:lnTo>
                    <a:pt x="44" y="325"/>
                  </a:lnTo>
                  <a:lnTo>
                    <a:pt x="50" y="310"/>
                  </a:lnTo>
                  <a:lnTo>
                    <a:pt x="59" y="295"/>
                  </a:lnTo>
                  <a:lnTo>
                    <a:pt x="68" y="282"/>
                  </a:lnTo>
                  <a:lnTo>
                    <a:pt x="79" y="269"/>
                  </a:lnTo>
                  <a:lnTo>
                    <a:pt x="91" y="257"/>
                  </a:lnTo>
                  <a:lnTo>
                    <a:pt x="104" y="247"/>
                  </a:lnTo>
                  <a:lnTo>
                    <a:pt x="117" y="237"/>
                  </a:lnTo>
                  <a:lnTo>
                    <a:pt x="132" y="229"/>
                  </a:lnTo>
                  <a:lnTo>
                    <a:pt x="147" y="221"/>
                  </a:lnTo>
                  <a:lnTo>
                    <a:pt x="162" y="216"/>
                  </a:lnTo>
                  <a:lnTo>
                    <a:pt x="180" y="211"/>
                  </a:lnTo>
                  <a:lnTo>
                    <a:pt x="196" y="209"/>
                  </a:lnTo>
                  <a:lnTo>
                    <a:pt x="201" y="208"/>
                  </a:lnTo>
                  <a:lnTo>
                    <a:pt x="205" y="205"/>
                  </a:lnTo>
                  <a:lnTo>
                    <a:pt x="208" y="201"/>
                  </a:lnTo>
                  <a:lnTo>
                    <a:pt x="210" y="195"/>
                  </a:lnTo>
                  <a:lnTo>
                    <a:pt x="211" y="186"/>
                  </a:lnTo>
                  <a:lnTo>
                    <a:pt x="213" y="177"/>
                  </a:lnTo>
                  <a:lnTo>
                    <a:pt x="215" y="168"/>
                  </a:lnTo>
                  <a:lnTo>
                    <a:pt x="217" y="159"/>
                  </a:lnTo>
                  <a:lnTo>
                    <a:pt x="225" y="142"/>
                  </a:lnTo>
                  <a:lnTo>
                    <a:pt x="233" y="127"/>
                  </a:lnTo>
                  <a:lnTo>
                    <a:pt x="243" y="112"/>
                  </a:lnTo>
                  <a:lnTo>
                    <a:pt x="255" y="98"/>
                  </a:lnTo>
                  <a:lnTo>
                    <a:pt x="268" y="85"/>
                  </a:lnTo>
                  <a:lnTo>
                    <a:pt x="282" y="74"/>
                  </a:lnTo>
                  <a:lnTo>
                    <a:pt x="297" y="64"/>
                  </a:lnTo>
                  <a:lnTo>
                    <a:pt x="313" y="55"/>
                  </a:lnTo>
                  <a:lnTo>
                    <a:pt x="331" y="48"/>
                  </a:lnTo>
                  <a:lnTo>
                    <a:pt x="348" y="41"/>
                  </a:lnTo>
                  <a:lnTo>
                    <a:pt x="366" y="36"/>
                  </a:lnTo>
                  <a:lnTo>
                    <a:pt x="383" y="33"/>
                  </a:lnTo>
                  <a:lnTo>
                    <a:pt x="401" y="31"/>
                  </a:lnTo>
                  <a:lnTo>
                    <a:pt x="419" y="29"/>
                  </a:lnTo>
                  <a:lnTo>
                    <a:pt x="434" y="31"/>
                  </a:lnTo>
                  <a:lnTo>
                    <a:pt x="449" y="33"/>
                  </a:lnTo>
                  <a:lnTo>
                    <a:pt x="464" y="36"/>
                  </a:lnTo>
                  <a:lnTo>
                    <a:pt x="478" y="41"/>
                  </a:lnTo>
                  <a:lnTo>
                    <a:pt x="492" y="48"/>
                  </a:lnTo>
                  <a:lnTo>
                    <a:pt x="506" y="55"/>
                  </a:lnTo>
                  <a:lnTo>
                    <a:pt x="518" y="64"/>
                  </a:lnTo>
                  <a:lnTo>
                    <a:pt x="531" y="73"/>
                  </a:lnTo>
                  <a:lnTo>
                    <a:pt x="541" y="84"/>
                  </a:lnTo>
                  <a:lnTo>
                    <a:pt x="552" y="95"/>
                  </a:lnTo>
                  <a:lnTo>
                    <a:pt x="563" y="107"/>
                  </a:lnTo>
                  <a:lnTo>
                    <a:pt x="571" y="118"/>
                  </a:lnTo>
                  <a:lnTo>
                    <a:pt x="580" y="131"/>
                  </a:lnTo>
                  <a:lnTo>
                    <a:pt x="587" y="144"/>
                  </a:lnTo>
                  <a:lnTo>
                    <a:pt x="594" y="157"/>
                  </a:lnTo>
                  <a:lnTo>
                    <a:pt x="599" y="170"/>
                  </a:lnTo>
                  <a:lnTo>
                    <a:pt x="602" y="174"/>
                  </a:lnTo>
                  <a:lnTo>
                    <a:pt x="606" y="177"/>
                  </a:lnTo>
                  <a:lnTo>
                    <a:pt x="611" y="179"/>
                  </a:lnTo>
                  <a:lnTo>
                    <a:pt x="615" y="179"/>
                  </a:lnTo>
                  <a:lnTo>
                    <a:pt x="631" y="178"/>
                  </a:lnTo>
                  <a:lnTo>
                    <a:pt x="646" y="179"/>
                  </a:lnTo>
                  <a:lnTo>
                    <a:pt x="661" y="181"/>
                  </a:lnTo>
                  <a:lnTo>
                    <a:pt x="674" y="186"/>
                  </a:lnTo>
                  <a:lnTo>
                    <a:pt x="687" y="192"/>
                  </a:lnTo>
                  <a:lnTo>
                    <a:pt x="699" y="200"/>
                  </a:lnTo>
                  <a:lnTo>
                    <a:pt x="703" y="203"/>
                  </a:lnTo>
                  <a:lnTo>
                    <a:pt x="708" y="208"/>
                  </a:lnTo>
                  <a:lnTo>
                    <a:pt x="713" y="213"/>
                  </a:lnTo>
                  <a:lnTo>
                    <a:pt x="716" y="218"/>
                  </a:lnTo>
                  <a:lnTo>
                    <a:pt x="721" y="226"/>
                  </a:lnTo>
                  <a:lnTo>
                    <a:pt x="725" y="235"/>
                  </a:lnTo>
                  <a:lnTo>
                    <a:pt x="727" y="244"/>
                  </a:lnTo>
                  <a:lnTo>
                    <a:pt x="728" y="253"/>
                  </a:lnTo>
                  <a:lnTo>
                    <a:pt x="728" y="263"/>
                  </a:lnTo>
                  <a:lnTo>
                    <a:pt x="726" y="272"/>
                  </a:lnTo>
                  <a:lnTo>
                    <a:pt x="723" y="282"/>
                  </a:lnTo>
                  <a:lnTo>
                    <a:pt x="719" y="293"/>
                  </a:lnTo>
                  <a:lnTo>
                    <a:pt x="718" y="298"/>
                  </a:lnTo>
                  <a:lnTo>
                    <a:pt x="719" y="303"/>
                  </a:lnTo>
                  <a:lnTo>
                    <a:pt x="721" y="308"/>
                  </a:lnTo>
                  <a:lnTo>
                    <a:pt x="725" y="312"/>
                  </a:lnTo>
                  <a:lnTo>
                    <a:pt x="731" y="316"/>
                  </a:lnTo>
                  <a:lnTo>
                    <a:pt x="736" y="322"/>
                  </a:lnTo>
                  <a:lnTo>
                    <a:pt x="742" y="327"/>
                  </a:lnTo>
                  <a:lnTo>
                    <a:pt x="747" y="332"/>
                  </a:lnTo>
                  <a:lnTo>
                    <a:pt x="757" y="346"/>
                  </a:lnTo>
                  <a:lnTo>
                    <a:pt x="764" y="361"/>
                  </a:lnTo>
                  <a:lnTo>
                    <a:pt x="769" y="377"/>
                  </a:lnTo>
                  <a:lnTo>
                    <a:pt x="775" y="396"/>
                  </a:lnTo>
                  <a:lnTo>
                    <a:pt x="777" y="414"/>
                  </a:lnTo>
                  <a:lnTo>
                    <a:pt x="778" y="433"/>
                  </a:lnTo>
                  <a:lnTo>
                    <a:pt x="778" y="447"/>
                  </a:lnTo>
                  <a:lnTo>
                    <a:pt x="776" y="461"/>
                  </a:lnTo>
                  <a:lnTo>
                    <a:pt x="773" y="474"/>
                  </a:lnTo>
                  <a:lnTo>
                    <a:pt x="767" y="485"/>
                  </a:lnTo>
                  <a:lnTo>
                    <a:pt x="762" y="498"/>
                  </a:lnTo>
                  <a:lnTo>
                    <a:pt x="756" y="509"/>
                  </a:lnTo>
                  <a:lnTo>
                    <a:pt x="747" y="520"/>
                  </a:lnTo>
                  <a:lnTo>
                    <a:pt x="738" y="528"/>
                  </a:lnTo>
                  <a:lnTo>
                    <a:pt x="729" y="538"/>
                  </a:lnTo>
                  <a:lnTo>
                    <a:pt x="718" y="545"/>
                  </a:lnTo>
                  <a:lnTo>
                    <a:pt x="707" y="552"/>
                  </a:lnTo>
                  <a:lnTo>
                    <a:pt x="696" y="557"/>
                  </a:lnTo>
                  <a:lnTo>
                    <a:pt x="683" y="563"/>
                  </a:lnTo>
                  <a:lnTo>
                    <a:pt x="670" y="566"/>
                  </a:lnTo>
                  <a:lnTo>
                    <a:pt x="656" y="568"/>
                  </a:lnTo>
                  <a:lnTo>
                    <a:pt x="642" y="568"/>
                  </a:lnTo>
                  <a:close/>
                  <a:moveTo>
                    <a:pt x="751" y="294"/>
                  </a:moveTo>
                  <a:lnTo>
                    <a:pt x="755" y="282"/>
                  </a:lnTo>
                  <a:lnTo>
                    <a:pt x="757" y="269"/>
                  </a:lnTo>
                  <a:lnTo>
                    <a:pt x="758" y="257"/>
                  </a:lnTo>
                  <a:lnTo>
                    <a:pt x="757" y="246"/>
                  </a:lnTo>
                  <a:lnTo>
                    <a:pt x="756" y="234"/>
                  </a:lnTo>
                  <a:lnTo>
                    <a:pt x="752" y="222"/>
                  </a:lnTo>
                  <a:lnTo>
                    <a:pt x="747" y="211"/>
                  </a:lnTo>
                  <a:lnTo>
                    <a:pt x="742" y="202"/>
                  </a:lnTo>
                  <a:lnTo>
                    <a:pt x="736" y="195"/>
                  </a:lnTo>
                  <a:lnTo>
                    <a:pt x="732" y="189"/>
                  </a:lnTo>
                  <a:lnTo>
                    <a:pt x="726" y="183"/>
                  </a:lnTo>
                  <a:lnTo>
                    <a:pt x="720" y="177"/>
                  </a:lnTo>
                  <a:lnTo>
                    <a:pt x="714" y="173"/>
                  </a:lnTo>
                  <a:lnTo>
                    <a:pt x="707" y="169"/>
                  </a:lnTo>
                  <a:lnTo>
                    <a:pt x="700" y="164"/>
                  </a:lnTo>
                  <a:lnTo>
                    <a:pt x="692" y="161"/>
                  </a:lnTo>
                  <a:lnTo>
                    <a:pt x="676" y="155"/>
                  </a:lnTo>
                  <a:lnTo>
                    <a:pt x="659" y="150"/>
                  </a:lnTo>
                  <a:lnTo>
                    <a:pt x="642" y="149"/>
                  </a:lnTo>
                  <a:lnTo>
                    <a:pt x="623" y="149"/>
                  </a:lnTo>
                  <a:lnTo>
                    <a:pt x="616" y="135"/>
                  </a:lnTo>
                  <a:lnTo>
                    <a:pt x="609" y="122"/>
                  </a:lnTo>
                  <a:lnTo>
                    <a:pt x="600" y="108"/>
                  </a:lnTo>
                  <a:lnTo>
                    <a:pt x="592" y="95"/>
                  </a:lnTo>
                  <a:lnTo>
                    <a:pt x="581" y="82"/>
                  </a:lnTo>
                  <a:lnTo>
                    <a:pt x="570" y="69"/>
                  </a:lnTo>
                  <a:lnTo>
                    <a:pt x="558" y="57"/>
                  </a:lnTo>
                  <a:lnTo>
                    <a:pt x="546" y="47"/>
                  </a:lnTo>
                  <a:lnTo>
                    <a:pt x="532" y="37"/>
                  </a:lnTo>
                  <a:lnTo>
                    <a:pt x="518" y="27"/>
                  </a:lnTo>
                  <a:lnTo>
                    <a:pt x="503" y="20"/>
                  </a:lnTo>
                  <a:lnTo>
                    <a:pt x="487" y="12"/>
                  </a:lnTo>
                  <a:lnTo>
                    <a:pt x="471" y="7"/>
                  </a:lnTo>
                  <a:lnTo>
                    <a:pt x="455" y="3"/>
                  </a:lnTo>
                  <a:lnTo>
                    <a:pt x="437" y="1"/>
                  </a:lnTo>
                  <a:lnTo>
                    <a:pt x="419" y="0"/>
                  </a:lnTo>
                  <a:lnTo>
                    <a:pt x="395" y="1"/>
                  </a:lnTo>
                  <a:lnTo>
                    <a:pt x="371" y="4"/>
                  </a:lnTo>
                  <a:lnTo>
                    <a:pt x="349" y="8"/>
                  </a:lnTo>
                  <a:lnTo>
                    <a:pt x="327" y="16"/>
                  </a:lnTo>
                  <a:lnTo>
                    <a:pt x="308" y="23"/>
                  </a:lnTo>
                  <a:lnTo>
                    <a:pt x="289" y="33"/>
                  </a:lnTo>
                  <a:lnTo>
                    <a:pt x="272" y="44"/>
                  </a:lnTo>
                  <a:lnTo>
                    <a:pt x="256" y="56"/>
                  </a:lnTo>
                  <a:lnTo>
                    <a:pt x="241" y="69"/>
                  </a:lnTo>
                  <a:lnTo>
                    <a:pt x="228" y="84"/>
                  </a:lnTo>
                  <a:lnTo>
                    <a:pt x="216" y="99"/>
                  </a:lnTo>
                  <a:lnTo>
                    <a:pt x="205" y="114"/>
                  </a:lnTo>
                  <a:lnTo>
                    <a:pt x="197" y="130"/>
                  </a:lnTo>
                  <a:lnTo>
                    <a:pt x="190" y="147"/>
                  </a:lnTo>
                  <a:lnTo>
                    <a:pt x="185" y="163"/>
                  </a:lnTo>
                  <a:lnTo>
                    <a:pt x="181" y="180"/>
                  </a:lnTo>
                  <a:lnTo>
                    <a:pt x="162" y="185"/>
                  </a:lnTo>
                  <a:lnTo>
                    <a:pt x="145" y="190"/>
                  </a:lnTo>
                  <a:lnTo>
                    <a:pt x="127" y="198"/>
                  </a:lnTo>
                  <a:lnTo>
                    <a:pt x="111" y="206"/>
                  </a:lnTo>
                  <a:lnTo>
                    <a:pt x="95" y="216"/>
                  </a:lnTo>
                  <a:lnTo>
                    <a:pt x="80" y="227"/>
                  </a:lnTo>
                  <a:lnTo>
                    <a:pt x="66" y="240"/>
                  </a:lnTo>
                  <a:lnTo>
                    <a:pt x="53" y="253"/>
                  </a:lnTo>
                  <a:lnTo>
                    <a:pt x="41" y="268"/>
                  </a:lnTo>
                  <a:lnTo>
                    <a:pt x="31" y="283"/>
                  </a:lnTo>
                  <a:lnTo>
                    <a:pt x="22" y="300"/>
                  </a:lnTo>
                  <a:lnTo>
                    <a:pt x="15" y="316"/>
                  </a:lnTo>
                  <a:lnTo>
                    <a:pt x="8" y="335"/>
                  </a:lnTo>
                  <a:lnTo>
                    <a:pt x="4" y="352"/>
                  </a:lnTo>
                  <a:lnTo>
                    <a:pt x="1" y="370"/>
                  </a:lnTo>
                  <a:lnTo>
                    <a:pt x="0" y="388"/>
                  </a:lnTo>
                  <a:lnTo>
                    <a:pt x="1" y="399"/>
                  </a:lnTo>
                  <a:lnTo>
                    <a:pt x="1" y="409"/>
                  </a:lnTo>
                  <a:lnTo>
                    <a:pt x="3" y="419"/>
                  </a:lnTo>
                  <a:lnTo>
                    <a:pt x="4" y="430"/>
                  </a:lnTo>
                  <a:lnTo>
                    <a:pt x="9" y="449"/>
                  </a:lnTo>
                  <a:lnTo>
                    <a:pt x="17" y="468"/>
                  </a:lnTo>
                  <a:lnTo>
                    <a:pt x="26" y="487"/>
                  </a:lnTo>
                  <a:lnTo>
                    <a:pt x="37" y="504"/>
                  </a:lnTo>
                  <a:lnTo>
                    <a:pt x="49" y="521"/>
                  </a:lnTo>
                  <a:lnTo>
                    <a:pt x="63" y="536"/>
                  </a:lnTo>
                  <a:lnTo>
                    <a:pt x="78" y="549"/>
                  </a:lnTo>
                  <a:lnTo>
                    <a:pt x="94" y="561"/>
                  </a:lnTo>
                  <a:lnTo>
                    <a:pt x="111" y="572"/>
                  </a:lnTo>
                  <a:lnTo>
                    <a:pt x="129" y="581"/>
                  </a:lnTo>
                  <a:lnTo>
                    <a:pt x="149" y="588"/>
                  </a:lnTo>
                  <a:lnTo>
                    <a:pt x="169" y="594"/>
                  </a:lnTo>
                  <a:lnTo>
                    <a:pt x="179" y="596"/>
                  </a:lnTo>
                  <a:lnTo>
                    <a:pt x="189" y="597"/>
                  </a:lnTo>
                  <a:lnTo>
                    <a:pt x="199" y="598"/>
                  </a:lnTo>
                  <a:lnTo>
                    <a:pt x="210" y="598"/>
                  </a:lnTo>
                  <a:lnTo>
                    <a:pt x="642" y="598"/>
                  </a:lnTo>
                  <a:lnTo>
                    <a:pt x="659" y="597"/>
                  </a:lnTo>
                  <a:lnTo>
                    <a:pt x="675" y="595"/>
                  </a:lnTo>
                  <a:lnTo>
                    <a:pt x="691" y="590"/>
                  </a:lnTo>
                  <a:lnTo>
                    <a:pt x="707" y="585"/>
                  </a:lnTo>
                  <a:lnTo>
                    <a:pt x="721" y="579"/>
                  </a:lnTo>
                  <a:lnTo>
                    <a:pt x="735" y="570"/>
                  </a:lnTo>
                  <a:lnTo>
                    <a:pt x="748" y="560"/>
                  </a:lnTo>
                  <a:lnTo>
                    <a:pt x="760" y="550"/>
                  </a:lnTo>
                  <a:lnTo>
                    <a:pt x="771" y="538"/>
                  </a:lnTo>
                  <a:lnTo>
                    <a:pt x="780" y="525"/>
                  </a:lnTo>
                  <a:lnTo>
                    <a:pt x="789" y="512"/>
                  </a:lnTo>
                  <a:lnTo>
                    <a:pt x="795" y="497"/>
                  </a:lnTo>
                  <a:lnTo>
                    <a:pt x="801" y="482"/>
                  </a:lnTo>
                  <a:lnTo>
                    <a:pt x="805" y="466"/>
                  </a:lnTo>
                  <a:lnTo>
                    <a:pt x="807" y="450"/>
                  </a:lnTo>
                  <a:lnTo>
                    <a:pt x="808" y="433"/>
                  </a:lnTo>
                  <a:lnTo>
                    <a:pt x="808" y="416"/>
                  </a:lnTo>
                  <a:lnTo>
                    <a:pt x="805" y="398"/>
                  </a:lnTo>
                  <a:lnTo>
                    <a:pt x="802" y="378"/>
                  </a:lnTo>
                  <a:lnTo>
                    <a:pt x="795" y="360"/>
                  </a:lnTo>
                  <a:lnTo>
                    <a:pt x="792" y="351"/>
                  </a:lnTo>
                  <a:lnTo>
                    <a:pt x="788" y="342"/>
                  </a:lnTo>
                  <a:lnTo>
                    <a:pt x="783" y="332"/>
                  </a:lnTo>
                  <a:lnTo>
                    <a:pt x="778" y="324"/>
                  </a:lnTo>
                  <a:lnTo>
                    <a:pt x="772" y="316"/>
                  </a:lnTo>
                  <a:lnTo>
                    <a:pt x="766" y="308"/>
                  </a:lnTo>
                  <a:lnTo>
                    <a:pt x="759" y="301"/>
                  </a:lnTo>
                  <a:lnTo>
                    <a:pt x="751"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6" name="Freeform 34">
              <a:extLst>
                <a:ext uri="{FF2B5EF4-FFF2-40B4-BE49-F238E27FC236}">
                  <a16:creationId xmlns:a16="http://schemas.microsoft.com/office/drawing/2014/main" id="{F7FC5A2F-DFD1-4028-8A0A-39B02BC0C500}"/>
                </a:ext>
              </a:extLst>
            </p:cNvPr>
            <p:cNvSpPr>
              <a:spLocks/>
            </p:cNvSpPr>
            <p:nvPr/>
          </p:nvSpPr>
          <p:spPr bwMode="auto">
            <a:xfrm>
              <a:off x="3214688" y="989013"/>
              <a:ext cx="66675" cy="66675"/>
            </a:xfrm>
            <a:custGeom>
              <a:avLst/>
              <a:gdLst>
                <a:gd name="T0" fmla="*/ 205 w 210"/>
                <a:gd name="T1" fmla="*/ 4 h 210"/>
                <a:gd name="T2" fmla="*/ 203 w 210"/>
                <a:gd name="T3" fmla="*/ 2 h 210"/>
                <a:gd name="T4" fmla="*/ 200 w 210"/>
                <a:gd name="T5" fmla="*/ 1 h 210"/>
                <a:gd name="T6" fmla="*/ 198 w 210"/>
                <a:gd name="T7" fmla="*/ 0 h 210"/>
                <a:gd name="T8" fmla="*/ 195 w 210"/>
                <a:gd name="T9" fmla="*/ 0 h 210"/>
                <a:gd name="T10" fmla="*/ 191 w 210"/>
                <a:gd name="T11" fmla="*/ 0 h 210"/>
                <a:gd name="T12" fmla="*/ 189 w 210"/>
                <a:gd name="T13" fmla="*/ 1 h 210"/>
                <a:gd name="T14" fmla="*/ 186 w 210"/>
                <a:gd name="T15" fmla="*/ 2 h 210"/>
                <a:gd name="T16" fmla="*/ 184 w 210"/>
                <a:gd name="T17" fmla="*/ 4 h 210"/>
                <a:gd name="T18" fmla="*/ 4 w 210"/>
                <a:gd name="T19" fmla="*/ 184 h 210"/>
                <a:gd name="T20" fmla="*/ 3 w 210"/>
                <a:gd name="T21" fmla="*/ 186 h 210"/>
                <a:gd name="T22" fmla="*/ 1 w 210"/>
                <a:gd name="T23" fmla="*/ 189 h 210"/>
                <a:gd name="T24" fmla="*/ 0 w 210"/>
                <a:gd name="T25" fmla="*/ 192 h 210"/>
                <a:gd name="T26" fmla="*/ 0 w 210"/>
                <a:gd name="T27" fmla="*/ 195 h 210"/>
                <a:gd name="T28" fmla="*/ 0 w 210"/>
                <a:gd name="T29" fmla="*/ 198 h 210"/>
                <a:gd name="T30" fmla="*/ 1 w 210"/>
                <a:gd name="T31" fmla="*/ 201 h 210"/>
                <a:gd name="T32" fmla="*/ 3 w 210"/>
                <a:gd name="T33" fmla="*/ 203 h 210"/>
                <a:gd name="T34" fmla="*/ 4 w 210"/>
                <a:gd name="T35" fmla="*/ 205 h 210"/>
                <a:gd name="T36" fmla="*/ 7 w 210"/>
                <a:gd name="T37" fmla="*/ 206 h 210"/>
                <a:gd name="T38" fmla="*/ 9 w 210"/>
                <a:gd name="T39" fmla="*/ 208 h 210"/>
                <a:gd name="T40" fmla="*/ 13 w 210"/>
                <a:gd name="T41" fmla="*/ 208 h 210"/>
                <a:gd name="T42" fmla="*/ 15 w 210"/>
                <a:gd name="T43" fmla="*/ 210 h 210"/>
                <a:gd name="T44" fmla="*/ 18 w 210"/>
                <a:gd name="T45" fmla="*/ 208 h 210"/>
                <a:gd name="T46" fmla="*/ 21 w 210"/>
                <a:gd name="T47" fmla="*/ 208 h 210"/>
                <a:gd name="T48" fmla="*/ 23 w 210"/>
                <a:gd name="T49" fmla="*/ 206 h 210"/>
                <a:gd name="T50" fmla="*/ 25 w 210"/>
                <a:gd name="T51" fmla="*/ 205 h 210"/>
                <a:gd name="T52" fmla="*/ 205 w 210"/>
                <a:gd name="T53" fmla="*/ 25 h 210"/>
                <a:gd name="T54" fmla="*/ 207 w 210"/>
                <a:gd name="T55" fmla="*/ 23 h 210"/>
                <a:gd name="T56" fmla="*/ 208 w 210"/>
                <a:gd name="T57" fmla="*/ 21 h 210"/>
                <a:gd name="T58" fmla="*/ 210 w 210"/>
                <a:gd name="T59" fmla="*/ 18 h 210"/>
                <a:gd name="T60" fmla="*/ 210 w 210"/>
                <a:gd name="T61" fmla="*/ 16 h 210"/>
                <a:gd name="T62" fmla="*/ 210 w 210"/>
                <a:gd name="T63" fmla="*/ 13 h 210"/>
                <a:gd name="T64" fmla="*/ 208 w 210"/>
                <a:gd name="T65" fmla="*/ 9 h 210"/>
                <a:gd name="T66" fmla="*/ 207 w 210"/>
                <a:gd name="T67" fmla="*/ 6 h 210"/>
                <a:gd name="T68" fmla="*/ 205 w 210"/>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210">
                  <a:moveTo>
                    <a:pt x="205" y="4"/>
                  </a:moveTo>
                  <a:lnTo>
                    <a:pt x="203" y="2"/>
                  </a:lnTo>
                  <a:lnTo>
                    <a:pt x="200" y="1"/>
                  </a:lnTo>
                  <a:lnTo>
                    <a:pt x="198" y="0"/>
                  </a:lnTo>
                  <a:lnTo>
                    <a:pt x="195" y="0"/>
                  </a:lnTo>
                  <a:lnTo>
                    <a:pt x="191" y="0"/>
                  </a:lnTo>
                  <a:lnTo>
                    <a:pt x="189" y="1"/>
                  </a:lnTo>
                  <a:lnTo>
                    <a:pt x="186" y="2"/>
                  </a:lnTo>
                  <a:lnTo>
                    <a:pt x="184" y="4"/>
                  </a:lnTo>
                  <a:lnTo>
                    <a:pt x="4" y="184"/>
                  </a:lnTo>
                  <a:lnTo>
                    <a:pt x="3" y="186"/>
                  </a:lnTo>
                  <a:lnTo>
                    <a:pt x="1" y="189"/>
                  </a:lnTo>
                  <a:lnTo>
                    <a:pt x="0" y="192"/>
                  </a:lnTo>
                  <a:lnTo>
                    <a:pt x="0" y="195"/>
                  </a:lnTo>
                  <a:lnTo>
                    <a:pt x="0" y="198"/>
                  </a:lnTo>
                  <a:lnTo>
                    <a:pt x="1" y="201"/>
                  </a:lnTo>
                  <a:lnTo>
                    <a:pt x="3" y="203"/>
                  </a:lnTo>
                  <a:lnTo>
                    <a:pt x="4" y="205"/>
                  </a:lnTo>
                  <a:lnTo>
                    <a:pt x="7" y="206"/>
                  </a:lnTo>
                  <a:lnTo>
                    <a:pt x="9" y="208"/>
                  </a:lnTo>
                  <a:lnTo>
                    <a:pt x="13" y="208"/>
                  </a:lnTo>
                  <a:lnTo>
                    <a:pt x="15" y="210"/>
                  </a:lnTo>
                  <a:lnTo>
                    <a:pt x="18" y="208"/>
                  </a:lnTo>
                  <a:lnTo>
                    <a:pt x="21" y="208"/>
                  </a:lnTo>
                  <a:lnTo>
                    <a:pt x="23" y="206"/>
                  </a:lnTo>
                  <a:lnTo>
                    <a:pt x="25" y="205"/>
                  </a:lnTo>
                  <a:lnTo>
                    <a:pt x="205" y="25"/>
                  </a:lnTo>
                  <a:lnTo>
                    <a:pt x="207" y="23"/>
                  </a:lnTo>
                  <a:lnTo>
                    <a:pt x="208" y="21"/>
                  </a:lnTo>
                  <a:lnTo>
                    <a:pt x="210" y="18"/>
                  </a:lnTo>
                  <a:lnTo>
                    <a:pt x="210" y="16"/>
                  </a:lnTo>
                  <a:lnTo>
                    <a:pt x="210" y="13"/>
                  </a:lnTo>
                  <a:lnTo>
                    <a:pt x="208" y="9"/>
                  </a:lnTo>
                  <a:lnTo>
                    <a:pt x="207" y="6"/>
                  </a:lnTo>
                  <a:lnTo>
                    <a:pt x="20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7" name="Freeform 35">
              <a:extLst>
                <a:ext uri="{FF2B5EF4-FFF2-40B4-BE49-F238E27FC236}">
                  <a16:creationId xmlns:a16="http://schemas.microsoft.com/office/drawing/2014/main" id="{DCB6881E-43C3-43C4-B570-C88D879C6EE9}"/>
                </a:ext>
              </a:extLst>
            </p:cNvPr>
            <p:cNvSpPr>
              <a:spLocks/>
            </p:cNvSpPr>
            <p:nvPr/>
          </p:nvSpPr>
          <p:spPr bwMode="auto">
            <a:xfrm>
              <a:off x="3257550" y="989013"/>
              <a:ext cx="57150" cy="57150"/>
            </a:xfrm>
            <a:custGeom>
              <a:avLst/>
              <a:gdLst>
                <a:gd name="T0" fmla="*/ 175 w 179"/>
                <a:gd name="T1" fmla="*/ 4 h 180"/>
                <a:gd name="T2" fmla="*/ 173 w 179"/>
                <a:gd name="T3" fmla="*/ 2 h 180"/>
                <a:gd name="T4" fmla="*/ 170 w 179"/>
                <a:gd name="T5" fmla="*/ 1 h 180"/>
                <a:gd name="T6" fmla="*/ 168 w 179"/>
                <a:gd name="T7" fmla="*/ 0 h 180"/>
                <a:gd name="T8" fmla="*/ 164 w 179"/>
                <a:gd name="T9" fmla="*/ 0 h 180"/>
                <a:gd name="T10" fmla="*/ 161 w 179"/>
                <a:gd name="T11" fmla="*/ 0 h 180"/>
                <a:gd name="T12" fmla="*/ 159 w 179"/>
                <a:gd name="T13" fmla="*/ 1 h 180"/>
                <a:gd name="T14" fmla="*/ 156 w 179"/>
                <a:gd name="T15" fmla="*/ 2 h 180"/>
                <a:gd name="T16" fmla="*/ 154 w 179"/>
                <a:gd name="T17" fmla="*/ 4 h 180"/>
                <a:gd name="T18" fmla="*/ 4 w 179"/>
                <a:gd name="T19" fmla="*/ 154 h 180"/>
                <a:gd name="T20" fmla="*/ 2 w 179"/>
                <a:gd name="T21" fmla="*/ 156 h 180"/>
                <a:gd name="T22" fmla="*/ 1 w 179"/>
                <a:gd name="T23" fmla="*/ 159 h 180"/>
                <a:gd name="T24" fmla="*/ 0 w 179"/>
                <a:gd name="T25" fmla="*/ 162 h 180"/>
                <a:gd name="T26" fmla="*/ 0 w 179"/>
                <a:gd name="T27" fmla="*/ 165 h 180"/>
                <a:gd name="T28" fmla="*/ 0 w 179"/>
                <a:gd name="T29" fmla="*/ 168 h 180"/>
                <a:gd name="T30" fmla="*/ 1 w 179"/>
                <a:gd name="T31" fmla="*/ 171 h 180"/>
                <a:gd name="T32" fmla="*/ 2 w 179"/>
                <a:gd name="T33" fmla="*/ 173 h 180"/>
                <a:gd name="T34" fmla="*/ 4 w 179"/>
                <a:gd name="T35" fmla="*/ 175 h 180"/>
                <a:gd name="T36" fmla="*/ 6 w 179"/>
                <a:gd name="T37" fmla="*/ 176 h 180"/>
                <a:gd name="T38" fmla="*/ 9 w 179"/>
                <a:gd name="T39" fmla="*/ 179 h 180"/>
                <a:gd name="T40" fmla="*/ 11 w 179"/>
                <a:gd name="T41" fmla="*/ 180 h 180"/>
                <a:gd name="T42" fmla="*/ 15 w 179"/>
                <a:gd name="T43" fmla="*/ 180 h 180"/>
                <a:gd name="T44" fmla="*/ 18 w 179"/>
                <a:gd name="T45" fmla="*/ 180 h 180"/>
                <a:gd name="T46" fmla="*/ 20 w 179"/>
                <a:gd name="T47" fmla="*/ 179 h 180"/>
                <a:gd name="T48" fmla="*/ 23 w 179"/>
                <a:gd name="T49" fmla="*/ 176 h 180"/>
                <a:gd name="T50" fmla="*/ 25 w 179"/>
                <a:gd name="T51" fmla="*/ 175 h 180"/>
                <a:gd name="T52" fmla="*/ 175 w 179"/>
                <a:gd name="T53" fmla="*/ 25 h 180"/>
                <a:gd name="T54" fmla="*/ 177 w 179"/>
                <a:gd name="T55" fmla="*/ 23 h 180"/>
                <a:gd name="T56" fmla="*/ 178 w 179"/>
                <a:gd name="T57" fmla="*/ 21 h 180"/>
                <a:gd name="T58" fmla="*/ 179 w 179"/>
                <a:gd name="T59" fmla="*/ 18 h 180"/>
                <a:gd name="T60" fmla="*/ 179 w 179"/>
                <a:gd name="T61" fmla="*/ 16 h 180"/>
                <a:gd name="T62" fmla="*/ 179 w 179"/>
                <a:gd name="T63" fmla="*/ 13 h 180"/>
                <a:gd name="T64" fmla="*/ 178 w 179"/>
                <a:gd name="T65" fmla="*/ 9 h 180"/>
                <a:gd name="T66" fmla="*/ 177 w 179"/>
                <a:gd name="T67" fmla="*/ 6 h 180"/>
                <a:gd name="T68" fmla="*/ 175 w 179"/>
                <a:gd name="T6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9" h="180">
                  <a:moveTo>
                    <a:pt x="175" y="4"/>
                  </a:moveTo>
                  <a:lnTo>
                    <a:pt x="173" y="2"/>
                  </a:lnTo>
                  <a:lnTo>
                    <a:pt x="170" y="1"/>
                  </a:lnTo>
                  <a:lnTo>
                    <a:pt x="168" y="0"/>
                  </a:lnTo>
                  <a:lnTo>
                    <a:pt x="164" y="0"/>
                  </a:lnTo>
                  <a:lnTo>
                    <a:pt x="161" y="0"/>
                  </a:lnTo>
                  <a:lnTo>
                    <a:pt x="159" y="1"/>
                  </a:lnTo>
                  <a:lnTo>
                    <a:pt x="156" y="2"/>
                  </a:lnTo>
                  <a:lnTo>
                    <a:pt x="154" y="4"/>
                  </a:lnTo>
                  <a:lnTo>
                    <a:pt x="4" y="154"/>
                  </a:lnTo>
                  <a:lnTo>
                    <a:pt x="2" y="156"/>
                  </a:lnTo>
                  <a:lnTo>
                    <a:pt x="1" y="159"/>
                  </a:lnTo>
                  <a:lnTo>
                    <a:pt x="0" y="162"/>
                  </a:lnTo>
                  <a:lnTo>
                    <a:pt x="0" y="165"/>
                  </a:lnTo>
                  <a:lnTo>
                    <a:pt x="0" y="168"/>
                  </a:lnTo>
                  <a:lnTo>
                    <a:pt x="1" y="171"/>
                  </a:lnTo>
                  <a:lnTo>
                    <a:pt x="2" y="173"/>
                  </a:lnTo>
                  <a:lnTo>
                    <a:pt x="4" y="175"/>
                  </a:lnTo>
                  <a:lnTo>
                    <a:pt x="6" y="176"/>
                  </a:lnTo>
                  <a:lnTo>
                    <a:pt x="9" y="179"/>
                  </a:lnTo>
                  <a:lnTo>
                    <a:pt x="11" y="180"/>
                  </a:lnTo>
                  <a:lnTo>
                    <a:pt x="15" y="180"/>
                  </a:lnTo>
                  <a:lnTo>
                    <a:pt x="18" y="180"/>
                  </a:lnTo>
                  <a:lnTo>
                    <a:pt x="20" y="179"/>
                  </a:lnTo>
                  <a:lnTo>
                    <a:pt x="23" y="176"/>
                  </a:lnTo>
                  <a:lnTo>
                    <a:pt x="25" y="175"/>
                  </a:lnTo>
                  <a:lnTo>
                    <a:pt x="175" y="25"/>
                  </a:lnTo>
                  <a:lnTo>
                    <a:pt x="177" y="23"/>
                  </a:lnTo>
                  <a:lnTo>
                    <a:pt x="178" y="21"/>
                  </a:lnTo>
                  <a:lnTo>
                    <a:pt x="179" y="18"/>
                  </a:lnTo>
                  <a:lnTo>
                    <a:pt x="179" y="16"/>
                  </a:lnTo>
                  <a:lnTo>
                    <a:pt x="179" y="13"/>
                  </a:lnTo>
                  <a:lnTo>
                    <a:pt x="178" y="9"/>
                  </a:lnTo>
                  <a:lnTo>
                    <a:pt x="177" y="6"/>
                  </a:lnTo>
                  <a:lnTo>
                    <a:pt x="17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8" name="Freeform 36">
              <a:extLst>
                <a:ext uri="{FF2B5EF4-FFF2-40B4-BE49-F238E27FC236}">
                  <a16:creationId xmlns:a16="http://schemas.microsoft.com/office/drawing/2014/main" id="{CCB8A072-B306-4B4F-AA17-A4E29488F0A3}"/>
                </a:ext>
              </a:extLst>
            </p:cNvPr>
            <p:cNvSpPr>
              <a:spLocks/>
            </p:cNvSpPr>
            <p:nvPr/>
          </p:nvSpPr>
          <p:spPr bwMode="auto">
            <a:xfrm>
              <a:off x="3286125" y="989013"/>
              <a:ext cx="66675" cy="66675"/>
            </a:xfrm>
            <a:custGeom>
              <a:avLst/>
              <a:gdLst>
                <a:gd name="T0" fmla="*/ 205 w 209"/>
                <a:gd name="T1" fmla="*/ 4 h 210"/>
                <a:gd name="T2" fmla="*/ 202 w 209"/>
                <a:gd name="T3" fmla="*/ 2 h 210"/>
                <a:gd name="T4" fmla="*/ 200 w 209"/>
                <a:gd name="T5" fmla="*/ 1 h 210"/>
                <a:gd name="T6" fmla="*/ 197 w 209"/>
                <a:gd name="T7" fmla="*/ 0 h 210"/>
                <a:gd name="T8" fmla="*/ 194 w 209"/>
                <a:gd name="T9" fmla="*/ 0 h 210"/>
                <a:gd name="T10" fmla="*/ 191 w 209"/>
                <a:gd name="T11" fmla="*/ 0 h 210"/>
                <a:gd name="T12" fmla="*/ 188 w 209"/>
                <a:gd name="T13" fmla="*/ 1 h 210"/>
                <a:gd name="T14" fmla="*/ 186 w 209"/>
                <a:gd name="T15" fmla="*/ 2 h 210"/>
                <a:gd name="T16" fmla="*/ 184 w 209"/>
                <a:gd name="T17" fmla="*/ 4 h 210"/>
                <a:gd name="T18" fmla="*/ 4 w 209"/>
                <a:gd name="T19" fmla="*/ 184 h 210"/>
                <a:gd name="T20" fmla="*/ 2 w 209"/>
                <a:gd name="T21" fmla="*/ 186 h 210"/>
                <a:gd name="T22" fmla="*/ 1 w 209"/>
                <a:gd name="T23" fmla="*/ 189 h 210"/>
                <a:gd name="T24" fmla="*/ 0 w 209"/>
                <a:gd name="T25" fmla="*/ 192 h 210"/>
                <a:gd name="T26" fmla="*/ 0 w 209"/>
                <a:gd name="T27" fmla="*/ 195 h 210"/>
                <a:gd name="T28" fmla="*/ 0 w 209"/>
                <a:gd name="T29" fmla="*/ 198 h 210"/>
                <a:gd name="T30" fmla="*/ 1 w 209"/>
                <a:gd name="T31" fmla="*/ 201 h 210"/>
                <a:gd name="T32" fmla="*/ 2 w 209"/>
                <a:gd name="T33" fmla="*/ 203 h 210"/>
                <a:gd name="T34" fmla="*/ 4 w 209"/>
                <a:gd name="T35" fmla="*/ 205 h 210"/>
                <a:gd name="T36" fmla="*/ 6 w 209"/>
                <a:gd name="T37" fmla="*/ 206 h 210"/>
                <a:gd name="T38" fmla="*/ 9 w 209"/>
                <a:gd name="T39" fmla="*/ 208 h 210"/>
                <a:gd name="T40" fmla="*/ 11 w 209"/>
                <a:gd name="T41" fmla="*/ 208 h 210"/>
                <a:gd name="T42" fmla="*/ 15 w 209"/>
                <a:gd name="T43" fmla="*/ 210 h 210"/>
                <a:gd name="T44" fmla="*/ 18 w 209"/>
                <a:gd name="T45" fmla="*/ 208 h 210"/>
                <a:gd name="T46" fmla="*/ 20 w 209"/>
                <a:gd name="T47" fmla="*/ 208 h 210"/>
                <a:gd name="T48" fmla="*/ 23 w 209"/>
                <a:gd name="T49" fmla="*/ 206 h 210"/>
                <a:gd name="T50" fmla="*/ 25 w 209"/>
                <a:gd name="T51" fmla="*/ 205 h 210"/>
                <a:gd name="T52" fmla="*/ 205 w 209"/>
                <a:gd name="T53" fmla="*/ 25 h 210"/>
                <a:gd name="T54" fmla="*/ 206 w 209"/>
                <a:gd name="T55" fmla="*/ 23 h 210"/>
                <a:gd name="T56" fmla="*/ 208 w 209"/>
                <a:gd name="T57" fmla="*/ 21 h 210"/>
                <a:gd name="T58" fmla="*/ 208 w 209"/>
                <a:gd name="T59" fmla="*/ 18 h 210"/>
                <a:gd name="T60" fmla="*/ 209 w 209"/>
                <a:gd name="T61" fmla="*/ 16 h 210"/>
                <a:gd name="T62" fmla="*/ 208 w 209"/>
                <a:gd name="T63" fmla="*/ 13 h 210"/>
                <a:gd name="T64" fmla="*/ 208 w 209"/>
                <a:gd name="T65" fmla="*/ 9 h 210"/>
                <a:gd name="T66" fmla="*/ 206 w 209"/>
                <a:gd name="T67" fmla="*/ 6 h 210"/>
                <a:gd name="T68" fmla="*/ 205 w 209"/>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5" y="4"/>
                  </a:moveTo>
                  <a:lnTo>
                    <a:pt x="202" y="2"/>
                  </a:lnTo>
                  <a:lnTo>
                    <a:pt x="200" y="1"/>
                  </a:lnTo>
                  <a:lnTo>
                    <a:pt x="197" y="0"/>
                  </a:lnTo>
                  <a:lnTo>
                    <a:pt x="194" y="0"/>
                  </a:lnTo>
                  <a:lnTo>
                    <a:pt x="191" y="0"/>
                  </a:lnTo>
                  <a:lnTo>
                    <a:pt x="188" y="1"/>
                  </a:lnTo>
                  <a:lnTo>
                    <a:pt x="186" y="2"/>
                  </a:lnTo>
                  <a:lnTo>
                    <a:pt x="184" y="4"/>
                  </a:lnTo>
                  <a:lnTo>
                    <a:pt x="4" y="184"/>
                  </a:lnTo>
                  <a:lnTo>
                    <a:pt x="2" y="186"/>
                  </a:lnTo>
                  <a:lnTo>
                    <a:pt x="1" y="189"/>
                  </a:lnTo>
                  <a:lnTo>
                    <a:pt x="0" y="192"/>
                  </a:lnTo>
                  <a:lnTo>
                    <a:pt x="0" y="195"/>
                  </a:lnTo>
                  <a:lnTo>
                    <a:pt x="0" y="198"/>
                  </a:lnTo>
                  <a:lnTo>
                    <a:pt x="1" y="201"/>
                  </a:lnTo>
                  <a:lnTo>
                    <a:pt x="2" y="203"/>
                  </a:lnTo>
                  <a:lnTo>
                    <a:pt x="4" y="205"/>
                  </a:lnTo>
                  <a:lnTo>
                    <a:pt x="6" y="206"/>
                  </a:lnTo>
                  <a:lnTo>
                    <a:pt x="9" y="208"/>
                  </a:lnTo>
                  <a:lnTo>
                    <a:pt x="11" y="208"/>
                  </a:lnTo>
                  <a:lnTo>
                    <a:pt x="15" y="210"/>
                  </a:lnTo>
                  <a:lnTo>
                    <a:pt x="18" y="208"/>
                  </a:lnTo>
                  <a:lnTo>
                    <a:pt x="20" y="208"/>
                  </a:lnTo>
                  <a:lnTo>
                    <a:pt x="23" y="206"/>
                  </a:lnTo>
                  <a:lnTo>
                    <a:pt x="25" y="205"/>
                  </a:lnTo>
                  <a:lnTo>
                    <a:pt x="205" y="25"/>
                  </a:lnTo>
                  <a:lnTo>
                    <a:pt x="206" y="23"/>
                  </a:lnTo>
                  <a:lnTo>
                    <a:pt x="208" y="21"/>
                  </a:lnTo>
                  <a:lnTo>
                    <a:pt x="208" y="18"/>
                  </a:lnTo>
                  <a:lnTo>
                    <a:pt x="209" y="16"/>
                  </a:lnTo>
                  <a:lnTo>
                    <a:pt x="208" y="13"/>
                  </a:lnTo>
                  <a:lnTo>
                    <a:pt x="208" y="9"/>
                  </a:lnTo>
                  <a:lnTo>
                    <a:pt x="206" y="6"/>
                  </a:lnTo>
                  <a:lnTo>
                    <a:pt x="20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9" name="Freeform 37">
              <a:extLst>
                <a:ext uri="{FF2B5EF4-FFF2-40B4-BE49-F238E27FC236}">
                  <a16:creationId xmlns:a16="http://schemas.microsoft.com/office/drawing/2014/main" id="{5D9769BE-F42B-46CE-9464-279B6CBFDD55}"/>
                </a:ext>
              </a:extLst>
            </p:cNvPr>
            <p:cNvSpPr>
              <a:spLocks/>
            </p:cNvSpPr>
            <p:nvPr/>
          </p:nvSpPr>
          <p:spPr bwMode="auto">
            <a:xfrm>
              <a:off x="3328988" y="989013"/>
              <a:ext cx="57150" cy="57150"/>
            </a:xfrm>
            <a:custGeom>
              <a:avLst/>
              <a:gdLst>
                <a:gd name="T0" fmla="*/ 176 w 180"/>
                <a:gd name="T1" fmla="*/ 4 h 180"/>
                <a:gd name="T2" fmla="*/ 173 w 180"/>
                <a:gd name="T3" fmla="*/ 2 h 180"/>
                <a:gd name="T4" fmla="*/ 171 w 180"/>
                <a:gd name="T5" fmla="*/ 1 h 180"/>
                <a:gd name="T6" fmla="*/ 167 w 180"/>
                <a:gd name="T7" fmla="*/ 0 h 180"/>
                <a:gd name="T8" fmla="*/ 165 w 180"/>
                <a:gd name="T9" fmla="*/ 0 h 180"/>
                <a:gd name="T10" fmla="*/ 162 w 180"/>
                <a:gd name="T11" fmla="*/ 0 h 180"/>
                <a:gd name="T12" fmla="*/ 159 w 180"/>
                <a:gd name="T13" fmla="*/ 1 h 180"/>
                <a:gd name="T14" fmla="*/ 157 w 180"/>
                <a:gd name="T15" fmla="*/ 2 h 180"/>
                <a:gd name="T16" fmla="*/ 155 w 180"/>
                <a:gd name="T17" fmla="*/ 4 h 180"/>
                <a:gd name="T18" fmla="*/ 5 w 180"/>
                <a:gd name="T19" fmla="*/ 154 h 180"/>
                <a:gd name="T20" fmla="*/ 3 w 180"/>
                <a:gd name="T21" fmla="*/ 156 h 180"/>
                <a:gd name="T22" fmla="*/ 2 w 180"/>
                <a:gd name="T23" fmla="*/ 159 h 180"/>
                <a:gd name="T24" fmla="*/ 0 w 180"/>
                <a:gd name="T25" fmla="*/ 162 h 180"/>
                <a:gd name="T26" fmla="*/ 0 w 180"/>
                <a:gd name="T27" fmla="*/ 165 h 180"/>
                <a:gd name="T28" fmla="*/ 0 w 180"/>
                <a:gd name="T29" fmla="*/ 168 h 180"/>
                <a:gd name="T30" fmla="*/ 2 w 180"/>
                <a:gd name="T31" fmla="*/ 171 h 180"/>
                <a:gd name="T32" fmla="*/ 3 w 180"/>
                <a:gd name="T33" fmla="*/ 173 h 180"/>
                <a:gd name="T34" fmla="*/ 5 w 180"/>
                <a:gd name="T35" fmla="*/ 175 h 180"/>
                <a:gd name="T36" fmla="*/ 7 w 180"/>
                <a:gd name="T37" fmla="*/ 176 h 180"/>
                <a:gd name="T38" fmla="*/ 10 w 180"/>
                <a:gd name="T39" fmla="*/ 179 h 180"/>
                <a:gd name="T40" fmla="*/ 12 w 180"/>
                <a:gd name="T41" fmla="*/ 180 h 180"/>
                <a:gd name="T42" fmla="*/ 15 w 180"/>
                <a:gd name="T43" fmla="*/ 180 h 180"/>
                <a:gd name="T44" fmla="*/ 18 w 180"/>
                <a:gd name="T45" fmla="*/ 180 h 180"/>
                <a:gd name="T46" fmla="*/ 21 w 180"/>
                <a:gd name="T47" fmla="*/ 179 h 180"/>
                <a:gd name="T48" fmla="*/ 23 w 180"/>
                <a:gd name="T49" fmla="*/ 176 h 180"/>
                <a:gd name="T50" fmla="*/ 26 w 180"/>
                <a:gd name="T51" fmla="*/ 175 h 180"/>
                <a:gd name="T52" fmla="*/ 176 w 180"/>
                <a:gd name="T53" fmla="*/ 25 h 180"/>
                <a:gd name="T54" fmla="*/ 177 w 180"/>
                <a:gd name="T55" fmla="*/ 23 h 180"/>
                <a:gd name="T56" fmla="*/ 179 w 180"/>
                <a:gd name="T57" fmla="*/ 21 h 180"/>
                <a:gd name="T58" fmla="*/ 179 w 180"/>
                <a:gd name="T59" fmla="*/ 18 h 180"/>
                <a:gd name="T60" fmla="*/ 180 w 180"/>
                <a:gd name="T61" fmla="*/ 16 h 180"/>
                <a:gd name="T62" fmla="*/ 179 w 180"/>
                <a:gd name="T63" fmla="*/ 13 h 180"/>
                <a:gd name="T64" fmla="*/ 179 w 180"/>
                <a:gd name="T65" fmla="*/ 9 h 180"/>
                <a:gd name="T66" fmla="*/ 177 w 180"/>
                <a:gd name="T67" fmla="*/ 6 h 180"/>
                <a:gd name="T68" fmla="*/ 176 w 180"/>
                <a:gd name="T6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176" y="4"/>
                  </a:moveTo>
                  <a:lnTo>
                    <a:pt x="173" y="2"/>
                  </a:lnTo>
                  <a:lnTo>
                    <a:pt x="171" y="1"/>
                  </a:lnTo>
                  <a:lnTo>
                    <a:pt x="167" y="0"/>
                  </a:lnTo>
                  <a:lnTo>
                    <a:pt x="165" y="0"/>
                  </a:lnTo>
                  <a:lnTo>
                    <a:pt x="162" y="0"/>
                  </a:lnTo>
                  <a:lnTo>
                    <a:pt x="159" y="1"/>
                  </a:lnTo>
                  <a:lnTo>
                    <a:pt x="157" y="2"/>
                  </a:lnTo>
                  <a:lnTo>
                    <a:pt x="155" y="4"/>
                  </a:lnTo>
                  <a:lnTo>
                    <a:pt x="5" y="154"/>
                  </a:lnTo>
                  <a:lnTo>
                    <a:pt x="3" y="156"/>
                  </a:lnTo>
                  <a:lnTo>
                    <a:pt x="2" y="159"/>
                  </a:lnTo>
                  <a:lnTo>
                    <a:pt x="0" y="162"/>
                  </a:lnTo>
                  <a:lnTo>
                    <a:pt x="0" y="165"/>
                  </a:lnTo>
                  <a:lnTo>
                    <a:pt x="0" y="168"/>
                  </a:lnTo>
                  <a:lnTo>
                    <a:pt x="2" y="171"/>
                  </a:lnTo>
                  <a:lnTo>
                    <a:pt x="3" y="173"/>
                  </a:lnTo>
                  <a:lnTo>
                    <a:pt x="5" y="175"/>
                  </a:lnTo>
                  <a:lnTo>
                    <a:pt x="7" y="176"/>
                  </a:lnTo>
                  <a:lnTo>
                    <a:pt x="10" y="179"/>
                  </a:lnTo>
                  <a:lnTo>
                    <a:pt x="12" y="180"/>
                  </a:lnTo>
                  <a:lnTo>
                    <a:pt x="15" y="180"/>
                  </a:lnTo>
                  <a:lnTo>
                    <a:pt x="18" y="180"/>
                  </a:lnTo>
                  <a:lnTo>
                    <a:pt x="21" y="179"/>
                  </a:lnTo>
                  <a:lnTo>
                    <a:pt x="23" y="176"/>
                  </a:lnTo>
                  <a:lnTo>
                    <a:pt x="26" y="175"/>
                  </a:lnTo>
                  <a:lnTo>
                    <a:pt x="176" y="25"/>
                  </a:lnTo>
                  <a:lnTo>
                    <a:pt x="177" y="23"/>
                  </a:lnTo>
                  <a:lnTo>
                    <a:pt x="179" y="21"/>
                  </a:lnTo>
                  <a:lnTo>
                    <a:pt x="179" y="18"/>
                  </a:lnTo>
                  <a:lnTo>
                    <a:pt x="180" y="16"/>
                  </a:lnTo>
                  <a:lnTo>
                    <a:pt x="179" y="13"/>
                  </a:lnTo>
                  <a:lnTo>
                    <a:pt x="179" y="9"/>
                  </a:lnTo>
                  <a:lnTo>
                    <a:pt x="177" y="6"/>
                  </a:lnTo>
                  <a:lnTo>
                    <a:pt x="17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0" name="Freeform 38">
              <a:extLst>
                <a:ext uri="{FF2B5EF4-FFF2-40B4-BE49-F238E27FC236}">
                  <a16:creationId xmlns:a16="http://schemas.microsoft.com/office/drawing/2014/main" id="{19ACA0C8-0EC0-447A-BBC1-5912BF05C1A0}"/>
                </a:ext>
              </a:extLst>
            </p:cNvPr>
            <p:cNvSpPr>
              <a:spLocks/>
            </p:cNvSpPr>
            <p:nvPr/>
          </p:nvSpPr>
          <p:spPr bwMode="auto">
            <a:xfrm>
              <a:off x="3352800" y="989013"/>
              <a:ext cx="66675" cy="66675"/>
            </a:xfrm>
            <a:custGeom>
              <a:avLst/>
              <a:gdLst>
                <a:gd name="T0" fmla="*/ 185 w 209"/>
                <a:gd name="T1" fmla="*/ 4 h 210"/>
                <a:gd name="T2" fmla="*/ 5 w 209"/>
                <a:gd name="T3" fmla="*/ 184 h 210"/>
                <a:gd name="T4" fmla="*/ 3 w 209"/>
                <a:gd name="T5" fmla="*/ 186 h 210"/>
                <a:gd name="T6" fmla="*/ 1 w 209"/>
                <a:gd name="T7" fmla="*/ 189 h 210"/>
                <a:gd name="T8" fmla="*/ 0 w 209"/>
                <a:gd name="T9" fmla="*/ 192 h 210"/>
                <a:gd name="T10" fmla="*/ 0 w 209"/>
                <a:gd name="T11" fmla="*/ 195 h 210"/>
                <a:gd name="T12" fmla="*/ 0 w 209"/>
                <a:gd name="T13" fmla="*/ 198 h 210"/>
                <a:gd name="T14" fmla="*/ 1 w 209"/>
                <a:gd name="T15" fmla="*/ 201 h 210"/>
                <a:gd name="T16" fmla="*/ 3 w 209"/>
                <a:gd name="T17" fmla="*/ 203 h 210"/>
                <a:gd name="T18" fmla="*/ 5 w 209"/>
                <a:gd name="T19" fmla="*/ 205 h 210"/>
                <a:gd name="T20" fmla="*/ 7 w 209"/>
                <a:gd name="T21" fmla="*/ 206 h 210"/>
                <a:gd name="T22" fmla="*/ 9 w 209"/>
                <a:gd name="T23" fmla="*/ 208 h 210"/>
                <a:gd name="T24" fmla="*/ 12 w 209"/>
                <a:gd name="T25" fmla="*/ 208 h 210"/>
                <a:gd name="T26" fmla="*/ 15 w 209"/>
                <a:gd name="T27" fmla="*/ 210 h 210"/>
                <a:gd name="T28" fmla="*/ 18 w 209"/>
                <a:gd name="T29" fmla="*/ 208 h 210"/>
                <a:gd name="T30" fmla="*/ 21 w 209"/>
                <a:gd name="T31" fmla="*/ 208 h 210"/>
                <a:gd name="T32" fmla="*/ 23 w 209"/>
                <a:gd name="T33" fmla="*/ 206 h 210"/>
                <a:gd name="T34" fmla="*/ 26 w 209"/>
                <a:gd name="T35" fmla="*/ 205 h 210"/>
                <a:gd name="T36" fmla="*/ 205 w 209"/>
                <a:gd name="T37" fmla="*/ 25 h 210"/>
                <a:gd name="T38" fmla="*/ 207 w 209"/>
                <a:gd name="T39" fmla="*/ 23 h 210"/>
                <a:gd name="T40" fmla="*/ 208 w 209"/>
                <a:gd name="T41" fmla="*/ 21 h 210"/>
                <a:gd name="T42" fmla="*/ 209 w 209"/>
                <a:gd name="T43" fmla="*/ 18 h 210"/>
                <a:gd name="T44" fmla="*/ 209 w 209"/>
                <a:gd name="T45" fmla="*/ 16 h 210"/>
                <a:gd name="T46" fmla="*/ 209 w 209"/>
                <a:gd name="T47" fmla="*/ 13 h 210"/>
                <a:gd name="T48" fmla="*/ 208 w 209"/>
                <a:gd name="T49" fmla="*/ 9 h 210"/>
                <a:gd name="T50" fmla="*/ 207 w 209"/>
                <a:gd name="T51" fmla="*/ 6 h 210"/>
                <a:gd name="T52" fmla="*/ 205 w 209"/>
                <a:gd name="T53" fmla="*/ 4 h 210"/>
                <a:gd name="T54" fmla="*/ 203 w 209"/>
                <a:gd name="T55" fmla="*/ 2 h 210"/>
                <a:gd name="T56" fmla="*/ 201 w 209"/>
                <a:gd name="T57" fmla="*/ 1 h 210"/>
                <a:gd name="T58" fmla="*/ 197 w 209"/>
                <a:gd name="T59" fmla="*/ 0 h 210"/>
                <a:gd name="T60" fmla="*/ 194 w 209"/>
                <a:gd name="T61" fmla="*/ 0 h 210"/>
                <a:gd name="T62" fmla="*/ 192 w 209"/>
                <a:gd name="T63" fmla="*/ 0 h 210"/>
                <a:gd name="T64" fmla="*/ 189 w 209"/>
                <a:gd name="T65" fmla="*/ 1 h 210"/>
                <a:gd name="T66" fmla="*/ 187 w 209"/>
                <a:gd name="T67" fmla="*/ 2 h 210"/>
                <a:gd name="T68" fmla="*/ 185 w 209"/>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185" y="4"/>
                  </a:moveTo>
                  <a:lnTo>
                    <a:pt x="5" y="184"/>
                  </a:lnTo>
                  <a:lnTo>
                    <a:pt x="3" y="186"/>
                  </a:lnTo>
                  <a:lnTo>
                    <a:pt x="1" y="189"/>
                  </a:lnTo>
                  <a:lnTo>
                    <a:pt x="0" y="192"/>
                  </a:lnTo>
                  <a:lnTo>
                    <a:pt x="0" y="195"/>
                  </a:lnTo>
                  <a:lnTo>
                    <a:pt x="0" y="198"/>
                  </a:lnTo>
                  <a:lnTo>
                    <a:pt x="1" y="201"/>
                  </a:lnTo>
                  <a:lnTo>
                    <a:pt x="3" y="203"/>
                  </a:lnTo>
                  <a:lnTo>
                    <a:pt x="5" y="205"/>
                  </a:lnTo>
                  <a:lnTo>
                    <a:pt x="7" y="206"/>
                  </a:lnTo>
                  <a:lnTo>
                    <a:pt x="9" y="208"/>
                  </a:lnTo>
                  <a:lnTo>
                    <a:pt x="12" y="208"/>
                  </a:lnTo>
                  <a:lnTo>
                    <a:pt x="15" y="210"/>
                  </a:lnTo>
                  <a:lnTo>
                    <a:pt x="18" y="208"/>
                  </a:lnTo>
                  <a:lnTo>
                    <a:pt x="21" y="208"/>
                  </a:lnTo>
                  <a:lnTo>
                    <a:pt x="23" y="206"/>
                  </a:lnTo>
                  <a:lnTo>
                    <a:pt x="26" y="205"/>
                  </a:lnTo>
                  <a:lnTo>
                    <a:pt x="205" y="25"/>
                  </a:lnTo>
                  <a:lnTo>
                    <a:pt x="207" y="23"/>
                  </a:lnTo>
                  <a:lnTo>
                    <a:pt x="208" y="21"/>
                  </a:lnTo>
                  <a:lnTo>
                    <a:pt x="209" y="18"/>
                  </a:lnTo>
                  <a:lnTo>
                    <a:pt x="209" y="16"/>
                  </a:lnTo>
                  <a:lnTo>
                    <a:pt x="209" y="13"/>
                  </a:lnTo>
                  <a:lnTo>
                    <a:pt x="208" y="9"/>
                  </a:lnTo>
                  <a:lnTo>
                    <a:pt x="207" y="6"/>
                  </a:lnTo>
                  <a:lnTo>
                    <a:pt x="205" y="4"/>
                  </a:lnTo>
                  <a:lnTo>
                    <a:pt x="203" y="2"/>
                  </a:lnTo>
                  <a:lnTo>
                    <a:pt x="201" y="1"/>
                  </a:lnTo>
                  <a:lnTo>
                    <a:pt x="197" y="0"/>
                  </a:lnTo>
                  <a:lnTo>
                    <a:pt x="194" y="0"/>
                  </a:lnTo>
                  <a:lnTo>
                    <a:pt x="192" y="0"/>
                  </a:lnTo>
                  <a:lnTo>
                    <a:pt x="189" y="1"/>
                  </a:lnTo>
                  <a:lnTo>
                    <a:pt x="187" y="2"/>
                  </a:lnTo>
                  <a:lnTo>
                    <a:pt x="18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41" name="Group 45">
            <a:extLst>
              <a:ext uri="{FF2B5EF4-FFF2-40B4-BE49-F238E27FC236}">
                <a16:creationId xmlns:a16="http://schemas.microsoft.com/office/drawing/2014/main" id="{758B57A9-098E-4CF9-A1C3-9103B9B9F32D}"/>
              </a:ext>
            </a:extLst>
          </p:cNvPr>
          <p:cNvGrpSpPr>
            <a:grpSpLocks noChangeAspect="1"/>
          </p:cNvGrpSpPr>
          <p:nvPr/>
        </p:nvGrpSpPr>
        <p:grpSpPr>
          <a:xfrm>
            <a:off x="6641806" y="5944848"/>
            <a:ext cx="277330" cy="308144"/>
            <a:chOff x="4911725" y="769938"/>
            <a:chExt cx="257175" cy="285750"/>
          </a:xfrm>
          <a:solidFill>
            <a:schemeClr val="bg2"/>
          </a:solidFill>
          <a:effectLst/>
        </p:grpSpPr>
        <p:sp>
          <p:nvSpPr>
            <p:cNvPr id="942" name="Freeform 69">
              <a:extLst>
                <a:ext uri="{FF2B5EF4-FFF2-40B4-BE49-F238E27FC236}">
                  <a16:creationId xmlns:a16="http://schemas.microsoft.com/office/drawing/2014/main" id="{1B1B6F7F-FB9A-4665-86B2-B8EFF917FFBB}"/>
                </a:ext>
              </a:extLst>
            </p:cNvPr>
            <p:cNvSpPr>
              <a:spLocks noEditPoints="1"/>
            </p:cNvSpPr>
            <p:nvPr/>
          </p:nvSpPr>
          <p:spPr bwMode="auto">
            <a:xfrm>
              <a:off x="4911725" y="769938"/>
              <a:ext cx="257175" cy="190500"/>
            </a:xfrm>
            <a:custGeom>
              <a:avLst/>
              <a:gdLst>
                <a:gd name="T0" fmla="*/ 175 w 809"/>
                <a:gd name="T1" fmla="*/ 565 h 598"/>
                <a:gd name="T2" fmla="*/ 111 w 809"/>
                <a:gd name="T3" fmla="*/ 537 h 598"/>
                <a:gd name="T4" fmla="*/ 61 w 809"/>
                <a:gd name="T5" fmla="*/ 488 h 598"/>
                <a:gd name="T6" fmla="*/ 34 w 809"/>
                <a:gd name="T7" fmla="*/ 423 h 598"/>
                <a:gd name="T8" fmla="*/ 34 w 809"/>
                <a:gd name="T9" fmla="*/ 356 h 598"/>
                <a:gd name="T10" fmla="*/ 59 w 809"/>
                <a:gd name="T11" fmla="*/ 295 h 598"/>
                <a:gd name="T12" fmla="*/ 104 w 809"/>
                <a:gd name="T13" fmla="*/ 247 h 598"/>
                <a:gd name="T14" fmla="*/ 163 w 809"/>
                <a:gd name="T15" fmla="*/ 216 h 598"/>
                <a:gd name="T16" fmla="*/ 205 w 809"/>
                <a:gd name="T17" fmla="*/ 205 h 598"/>
                <a:gd name="T18" fmla="*/ 212 w 809"/>
                <a:gd name="T19" fmla="*/ 177 h 598"/>
                <a:gd name="T20" fmla="*/ 233 w 809"/>
                <a:gd name="T21" fmla="*/ 127 h 598"/>
                <a:gd name="T22" fmla="*/ 282 w 809"/>
                <a:gd name="T23" fmla="*/ 74 h 598"/>
                <a:gd name="T24" fmla="*/ 348 w 809"/>
                <a:gd name="T25" fmla="*/ 41 h 598"/>
                <a:gd name="T26" fmla="*/ 419 w 809"/>
                <a:gd name="T27" fmla="*/ 29 h 598"/>
                <a:gd name="T28" fmla="*/ 479 w 809"/>
                <a:gd name="T29" fmla="*/ 41 h 598"/>
                <a:gd name="T30" fmla="*/ 530 w 809"/>
                <a:gd name="T31" fmla="*/ 73 h 598"/>
                <a:gd name="T32" fmla="*/ 572 w 809"/>
                <a:gd name="T33" fmla="*/ 118 h 598"/>
                <a:gd name="T34" fmla="*/ 600 w 809"/>
                <a:gd name="T35" fmla="*/ 170 h 598"/>
                <a:gd name="T36" fmla="*/ 616 w 809"/>
                <a:gd name="T37" fmla="*/ 179 h 598"/>
                <a:gd name="T38" fmla="*/ 675 w 809"/>
                <a:gd name="T39" fmla="*/ 186 h 598"/>
                <a:gd name="T40" fmla="*/ 708 w 809"/>
                <a:gd name="T41" fmla="*/ 208 h 598"/>
                <a:gd name="T42" fmla="*/ 724 w 809"/>
                <a:gd name="T43" fmla="*/ 235 h 598"/>
                <a:gd name="T44" fmla="*/ 726 w 809"/>
                <a:gd name="T45" fmla="*/ 272 h 598"/>
                <a:gd name="T46" fmla="*/ 719 w 809"/>
                <a:gd name="T47" fmla="*/ 303 h 598"/>
                <a:gd name="T48" fmla="*/ 737 w 809"/>
                <a:gd name="T49" fmla="*/ 322 h 598"/>
                <a:gd name="T50" fmla="*/ 764 w 809"/>
                <a:gd name="T51" fmla="*/ 361 h 598"/>
                <a:gd name="T52" fmla="*/ 779 w 809"/>
                <a:gd name="T53" fmla="*/ 433 h 598"/>
                <a:gd name="T54" fmla="*/ 768 w 809"/>
                <a:gd name="T55" fmla="*/ 485 h 598"/>
                <a:gd name="T56" fmla="*/ 738 w 809"/>
                <a:gd name="T57" fmla="*/ 528 h 598"/>
                <a:gd name="T58" fmla="*/ 695 w 809"/>
                <a:gd name="T59" fmla="*/ 557 h 598"/>
                <a:gd name="T60" fmla="*/ 643 w 809"/>
                <a:gd name="T61" fmla="*/ 568 h 598"/>
                <a:gd name="T62" fmla="*/ 757 w 809"/>
                <a:gd name="T63" fmla="*/ 257 h 598"/>
                <a:gd name="T64" fmla="*/ 748 w 809"/>
                <a:gd name="T65" fmla="*/ 211 h 598"/>
                <a:gd name="T66" fmla="*/ 726 w 809"/>
                <a:gd name="T67" fmla="*/ 183 h 598"/>
                <a:gd name="T68" fmla="*/ 699 w 809"/>
                <a:gd name="T69" fmla="*/ 164 h 598"/>
                <a:gd name="T70" fmla="*/ 642 w 809"/>
                <a:gd name="T71" fmla="*/ 149 h 598"/>
                <a:gd name="T72" fmla="*/ 601 w 809"/>
                <a:gd name="T73" fmla="*/ 108 h 598"/>
                <a:gd name="T74" fmla="*/ 558 w 809"/>
                <a:gd name="T75" fmla="*/ 57 h 598"/>
                <a:gd name="T76" fmla="*/ 502 w 809"/>
                <a:gd name="T77" fmla="*/ 20 h 598"/>
                <a:gd name="T78" fmla="*/ 437 w 809"/>
                <a:gd name="T79" fmla="*/ 1 h 598"/>
                <a:gd name="T80" fmla="*/ 348 w 809"/>
                <a:gd name="T81" fmla="*/ 8 h 598"/>
                <a:gd name="T82" fmla="*/ 271 w 809"/>
                <a:gd name="T83" fmla="*/ 44 h 598"/>
                <a:gd name="T84" fmla="*/ 216 w 809"/>
                <a:gd name="T85" fmla="*/ 99 h 598"/>
                <a:gd name="T86" fmla="*/ 184 w 809"/>
                <a:gd name="T87" fmla="*/ 163 h 598"/>
                <a:gd name="T88" fmla="*/ 128 w 809"/>
                <a:gd name="T89" fmla="*/ 198 h 598"/>
                <a:gd name="T90" fmla="*/ 66 w 809"/>
                <a:gd name="T91" fmla="*/ 240 h 598"/>
                <a:gd name="T92" fmla="*/ 22 w 809"/>
                <a:gd name="T93" fmla="*/ 300 h 598"/>
                <a:gd name="T94" fmla="*/ 1 w 809"/>
                <a:gd name="T95" fmla="*/ 370 h 598"/>
                <a:gd name="T96" fmla="*/ 2 w 809"/>
                <a:gd name="T97" fmla="*/ 419 h 598"/>
                <a:gd name="T98" fmla="*/ 26 w 809"/>
                <a:gd name="T99" fmla="*/ 487 h 598"/>
                <a:gd name="T100" fmla="*/ 77 w 809"/>
                <a:gd name="T101" fmla="*/ 549 h 598"/>
                <a:gd name="T102" fmla="*/ 149 w 809"/>
                <a:gd name="T103" fmla="*/ 588 h 598"/>
                <a:gd name="T104" fmla="*/ 199 w 809"/>
                <a:gd name="T105" fmla="*/ 598 h 598"/>
                <a:gd name="T106" fmla="*/ 676 w 809"/>
                <a:gd name="T107" fmla="*/ 595 h 598"/>
                <a:gd name="T108" fmla="*/ 735 w 809"/>
                <a:gd name="T109" fmla="*/ 570 h 598"/>
                <a:gd name="T110" fmla="*/ 780 w 809"/>
                <a:gd name="T111" fmla="*/ 525 h 598"/>
                <a:gd name="T112" fmla="*/ 804 w 809"/>
                <a:gd name="T113" fmla="*/ 466 h 598"/>
                <a:gd name="T114" fmla="*/ 805 w 809"/>
                <a:gd name="T115" fmla="*/ 398 h 598"/>
                <a:gd name="T116" fmla="*/ 787 w 809"/>
                <a:gd name="T117" fmla="*/ 342 h 598"/>
                <a:gd name="T118" fmla="*/ 766 w 809"/>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8">
                  <a:moveTo>
                    <a:pt x="643" y="568"/>
                  </a:moveTo>
                  <a:lnTo>
                    <a:pt x="209" y="568"/>
                  </a:lnTo>
                  <a:lnTo>
                    <a:pt x="192" y="567"/>
                  </a:lnTo>
                  <a:lnTo>
                    <a:pt x="175" y="565"/>
                  </a:lnTo>
                  <a:lnTo>
                    <a:pt x="158" y="559"/>
                  </a:lnTo>
                  <a:lnTo>
                    <a:pt x="141" y="554"/>
                  </a:lnTo>
                  <a:lnTo>
                    <a:pt x="126" y="545"/>
                  </a:lnTo>
                  <a:lnTo>
                    <a:pt x="111" y="537"/>
                  </a:lnTo>
                  <a:lnTo>
                    <a:pt x="97" y="526"/>
                  </a:lnTo>
                  <a:lnTo>
                    <a:pt x="84" y="514"/>
                  </a:lnTo>
                  <a:lnTo>
                    <a:pt x="72" y="502"/>
                  </a:lnTo>
                  <a:lnTo>
                    <a:pt x="61" y="488"/>
                  </a:lnTo>
                  <a:lnTo>
                    <a:pt x="53" y="473"/>
                  </a:lnTo>
                  <a:lnTo>
                    <a:pt x="44" y="457"/>
                  </a:lnTo>
                  <a:lnTo>
                    <a:pt x="38" y="441"/>
                  </a:lnTo>
                  <a:lnTo>
                    <a:pt x="34" y="423"/>
                  </a:lnTo>
                  <a:lnTo>
                    <a:pt x="31" y="406"/>
                  </a:lnTo>
                  <a:lnTo>
                    <a:pt x="30" y="388"/>
                  </a:lnTo>
                  <a:lnTo>
                    <a:pt x="30" y="372"/>
                  </a:lnTo>
                  <a:lnTo>
                    <a:pt x="34" y="356"/>
                  </a:lnTo>
                  <a:lnTo>
                    <a:pt x="38" y="340"/>
                  </a:lnTo>
                  <a:lnTo>
                    <a:pt x="43" y="325"/>
                  </a:lnTo>
                  <a:lnTo>
                    <a:pt x="51" y="310"/>
                  </a:lnTo>
                  <a:lnTo>
                    <a:pt x="59" y="295"/>
                  </a:lnTo>
                  <a:lnTo>
                    <a:pt x="69" y="282"/>
                  </a:lnTo>
                  <a:lnTo>
                    <a:pt x="80" y="269"/>
                  </a:lnTo>
                  <a:lnTo>
                    <a:pt x="91" y="257"/>
                  </a:lnTo>
                  <a:lnTo>
                    <a:pt x="104" y="247"/>
                  </a:lnTo>
                  <a:lnTo>
                    <a:pt x="117" y="237"/>
                  </a:lnTo>
                  <a:lnTo>
                    <a:pt x="132" y="229"/>
                  </a:lnTo>
                  <a:lnTo>
                    <a:pt x="147" y="221"/>
                  </a:lnTo>
                  <a:lnTo>
                    <a:pt x="163" y="216"/>
                  </a:lnTo>
                  <a:lnTo>
                    <a:pt x="179" y="211"/>
                  </a:lnTo>
                  <a:lnTo>
                    <a:pt x="196" y="209"/>
                  </a:lnTo>
                  <a:lnTo>
                    <a:pt x="201" y="208"/>
                  </a:lnTo>
                  <a:lnTo>
                    <a:pt x="205" y="205"/>
                  </a:lnTo>
                  <a:lnTo>
                    <a:pt x="208" y="201"/>
                  </a:lnTo>
                  <a:lnTo>
                    <a:pt x="209" y="195"/>
                  </a:lnTo>
                  <a:lnTo>
                    <a:pt x="210" y="186"/>
                  </a:lnTo>
                  <a:lnTo>
                    <a:pt x="212" y="177"/>
                  </a:lnTo>
                  <a:lnTo>
                    <a:pt x="214" y="168"/>
                  </a:lnTo>
                  <a:lnTo>
                    <a:pt x="217" y="159"/>
                  </a:lnTo>
                  <a:lnTo>
                    <a:pt x="224" y="142"/>
                  </a:lnTo>
                  <a:lnTo>
                    <a:pt x="233" y="127"/>
                  </a:lnTo>
                  <a:lnTo>
                    <a:pt x="243" y="112"/>
                  </a:lnTo>
                  <a:lnTo>
                    <a:pt x="255" y="98"/>
                  </a:lnTo>
                  <a:lnTo>
                    <a:pt x="268" y="85"/>
                  </a:lnTo>
                  <a:lnTo>
                    <a:pt x="282" y="74"/>
                  </a:lnTo>
                  <a:lnTo>
                    <a:pt x="298" y="64"/>
                  </a:lnTo>
                  <a:lnTo>
                    <a:pt x="314" y="55"/>
                  </a:lnTo>
                  <a:lnTo>
                    <a:pt x="330" y="48"/>
                  </a:lnTo>
                  <a:lnTo>
                    <a:pt x="348" y="41"/>
                  </a:lnTo>
                  <a:lnTo>
                    <a:pt x="365" y="36"/>
                  </a:lnTo>
                  <a:lnTo>
                    <a:pt x="384" y="33"/>
                  </a:lnTo>
                  <a:lnTo>
                    <a:pt x="402" y="31"/>
                  </a:lnTo>
                  <a:lnTo>
                    <a:pt x="419" y="29"/>
                  </a:lnTo>
                  <a:lnTo>
                    <a:pt x="435" y="31"/>
                  </a:lnTo>
                  <a:lnTo>
                    <a:pt x="450" y="33"/>
                  </a:lnTo>
                  <a:lnTo>
                    <a:pt x="464" y="36"/>
                  </a:lnTo>
                  <a:lnTo>
                    <a:pt x="479" y="41"/>
                  </a:lnTo>
                  <a:lnTo>
                    <a:pt x="493" y="48"/>
                  </a:lnTo>
                  <a:lnTo>
                    <a:pt x="506" y="55"/>
                  </a:lnTo>
                  <a:lnTo>
                    <a:pt x="519" y="64"/>
                  </a:lnTo>
                  <a:lnTo>
                    <a:pt x="530" y="73"/>
                  </a:lnTo>
                  <a:lnTo>
                    <a:pt x="542" y="84"/>
                  </a:lnTo>
                  <a:lnTo>
                    <a:pt x="553" y="95"/>
                  </a:lnTo>
                  <a:lnTo>
                    <a:pt x="562" y="107"/>
                  </a:lnTo>
                  <a:lnTo>
                    <a:pt x="572" y="118"/>
                  </a:lnTo>
                  <a:lnTo>
                    <a:pt x="581" y="131"/>
                  </a:lnTo>
                  <a:lnTo>
                    <a:pt x="587" y="144"/>
                  </a:lnTo>
                  <a:lnTo>
                    <a:pt x="595" y="157"/>
                  </a:lnTo>
                  <a:lnTo>
                    <a:pt x="600" y="170"/>
                  </a:lnTo>
                  <a:lnTo>
                    <a:pt x="602" y="174"/>
                  </a:lnTo>
                  <a:lnTo>
                    <a:pt x="606" y="177"/>
                  </a:lnTo>
                  <a:lnTo>
                    <a:pt x="611" y="179"/>
                  </a:lnTo>
                  <a:lnTo>
                    <a:pt x="616" y="179"/>
                  </a:lnTo>
                  <a:lnTo>
                    <a:pt x="631" y="178"/>
                  </a:lnTo>
                  <a:lnTo>
                    <a:pt x="646" y="179"/>
                  </a:lnTo>
                  <a:lnTo>
                    <a:pt x="661" y="181"/>
                  </a:lnTo>
                  <a:lnTo>
                    <a:pt x="675" y="186"/>
                  </a:lnTo>
                  <a:lnTo>
                    <a:pt x="688" y="192"/>
                  </a:lnTo>
                  <a:lnTo>
                    <a:pt x="698" y="200"/>
                  </a:lnTo>
                  <a:lnTo>
                    <a:pt x="704" y="203"/>
                  </a:lnTo>
                  <a:lnTo>
                    <a:pt x="708" y="208"/>
                  </a:lnTo>
                  <a:lnTo>
                    <a:pt x="712" y="213"/>
                  </a:lnTo>
                  <a:lnTo>
                    <a:pt x="717" y="218"/>
                  </a:lnTo>
                  <a:lnTo>
                    <a:pt x="721" y="226"/>
                  </a:lnTo>
                  <a:lnTo>
                    <a:pt x="724" y="235"/>
                  </a:lnTo>
                  <a:lnTo>
                    <a:pt x="726" y="244"/>
                  </a:lnTo>
                  <a:lnTo>
                    <a:pt x="727" y="253"/>
                  </a:lnTo>
                  <a:lnTo>
                    <a:pt x="727" y="263"/>
                  </a:lnTo>
                  <a:lnTo>
                    <a:pt x="726" y="272"/>
                  </a:lnTo>
                  <a:lnTo>
                    <a:pt x="723" y="282"/>
                  </a:lnTo>
                  <a:lnTo>
                    <a:pt x="720" y="293"/>
                  </a:lnTo>
                  <a:lnTo>
                    <a:pt x="719" y="298"/>
                  </a:lnTo>
                  <a:lnTo>
                    <a:pt x="719" y="303"/>
                  </a:lnTo>
                  <a:lnTo>
                    <a:pt x="721" y="308"/>
                  </a:lnTo>
                  <a:lnTo>
                    <a:pt x="725" y="312"/>
                  </a:lnTo>
                  <a:lnTo>
                    <a:pt x="731" y="316"/>
                  </a:lnTo>
                  <a:lnTo>
                    <a:pt x="737" y="322"/>
                  </a:lnTo>
                  <a:lnTo>
                    <a:pt x="742" y="327"/>
                  </a:lnTo>
                  <a:lnTo>
                    <a:pt x="747" y="332"/>
                  </a:lnTo>
                  <a:lnTo>
                    <a:pt x="756" y="346"/>
                  </a:lnTo>
                  <a:lnTo>
                    <a:pt x="764" y="361"/>
                  </a:lnTo>
                  <a:lnTo>
                    <a:pt x="770" y="377"/>
                  </a:lnTo>
                  <a:lnTo>
                    <a:pt x="774" y="396"/>
                  </a:lnTo>
                  <a:lnTo>
                    <a:pt x="778" y="414"/>
                  </a:lnTo>
                  <a:lnTo>
                    <a:pt x="779" y="433"/>
                  </a:lnTo>
                  <a:lnTo>
                    <a:pt x="778" y="447"/>
                  </a:lnTo>
                  <a:lnTo>
                    <a:pt x="775" y="461"/>
                  </a:lnTo>
                  <a:lnTo>
                    <a:pt x="772" y="474"/>
                  </a:lnTo>
                  <a:lnTo>
                    <a:pt x="768" y="485"/>
                  </a:lnTo>
                  <a:lnTo>
                    <a:pt x="762" y="498"/>
                  </a:lnTo>
                  <a:lnTo>
                    <a:pt x="755" y="509"/>
                  </a:lnTo>
                  <a:lnTo>
                    <a:pt x="748" y="520"/>
                  </a:lnTo>
                  <a:lnTo>
                    <a:pt x="738" y="528"/>
                  </a:lnTo>
                  <a:lnTo>
                    <a:pt x="728" y="538"/>
                  </a:lnTo>
                  <a:lnTo>
                    <a:pt x="719" y="545"/>
                  </a:lnTo>
                  <a:lnTo>
                    <a:pt x="707" y="552"/>
                  </a:lnTo>
                  <a:lnTo>
                    <a:pt x="695" y="557"/>
                  </a:lnTo>
                  <a:lnTo>
                    <a:pt x="682" y="563"/>
                  </a:lnTo>
                  <a:lnTo>
                    <a:pt x="669" y="566"/>
                  </a:lnTo>
                  <a:lnTo>
                    <a:pt x="657" y="568"/>
                  </a:lnTo>
                  <a:lnTo>
                    <a:pt x="643" y="568"/>
                  </a:lnTo>
                  <a:close/>
                  <a:moveTo>
                    <a:pt x="752" y="294"/>
                  </a:moveTo>
                  <a:lnTo>
                    <a:pt x="755" y="282"/>
                  </a:lnTo>
                  <a:lnTo>
                    <a:pt x="757" y="269"/>
                  </a:lnTo>
                  <a:lnTo>
                    <a:pt x="757" y="257"/>
                  </a:lnTo>
                  <a:lnTo>
                    <a:pt x="757" y="246"/>
                  </a:lnTo>
                  <a:lnTo>
                    <a:pt x="755" y="234"/>
                  </a:lnTo>
                  <a:lnTo>
                    <a:pt x="752" y="222"/>
                  </a:lnTo>
                  <a:lnTo>
                    <a:pt x="748" y="211"/>
                  </a:lnTo>
                  <a:lnTo>
                    <a:pt x="741" y="202"/>
                  </a:lnTo>
                  <a:lnTo>
                    <a:pt x="737" y="195"/>
                  </a:lnTo>
                  <a:lnTo>
                    <a:pt x="732" y="189"/>
                  </a:lnTo>
                  <a:lnTo>
                    <a:pt x="726" y="183"/>
                  </a:lnTo>
                  <a:lnTo>
                    <a:pt x="720" y="177"/>
                  </a:lnTo>
                  <a:lnTo>
                    <a:pt x="713" y="173"/>
                  </a:lnTo>
                  <a:lnTo>
                    <a:pt x="707" y="169"/>
                  </a:lnTo>
                  <a:lnTo>
                    <a:pt x="699" y="164"/>
                  </a:lnTo>
                  <a:lnTo>
                    <a:pt x="692" y="161"/>
                  </a:lnTo>
                  <a:lnTo>
                    <a:pt x="676" y="155"/>
                  </a:lnTo>
                  <a:lnTo>
                    <a:pt x="660" y="150"/>
                  </a:lnTo>
                  <a:lnTo>
                    <a:pt x="642" y="149"/>
                  </a:lnTo>
                  <a:lnTo>
                    <a:pt x="623" y="149"/>
                  </a:lnTo>
                  <a:lnTo>
                    <a:pt x="617" y="135"/>
                  </a:lnTo>
                  <a:lnTo>
                    <a:pt x="610" y="122"/>
                  </a:lnTo>
                  <a:lnTo>
                    <a:pt x="601" y="108"/>
                  </a:lnTo>
                  <a:lnTo>
                    <a:pt x="591" y="95"/>
                  </a:lnTo>
                  <a:lnTo>
                    <a:pt x="581" y="82"/>
                  </a:lnTo>
                  <a:lnTo>
                    <a:pt x="570" y="69"/>
                  </a:lnTo>
                  <a:lnTo>
                    <a:pt x="558" y="57"/>
                  </a:lnTo>
                  <a:lnTo>
                    <a:pt x="545" y="47"/>
                  </a:lnTo>
                  <a:lnTo>
                    <a:pt x="531" y="37"/>
                  </a:lnTo>
                  <a:lnTo>
                    <a:pt x="517" y="27"/>
                  </a:lnTo>
                  <a:lnTo>
                    <a:pt x="502" y="20"/>
                  </a:lnTo>
                  <a:lnTo>
                    <a:pt x="487" y="12"/>
                  </a:lnTo>
                  <a:lnTo>
                    <a:pt x="471" y="7"/>
                  </a:lnTo>
                  <a:lnTo>
                    <a:pt x="454" y="3"/>
                  </a:lnTo>
                  <a:lnTo>
                    <a:pt x="437" y="1"/>
                  </a:lnTo>
                  <a:lnTo>
                    <a:pt x="419" y="0"/>
                  </a:lnTo>
                  <a:lnTo>
                    <a:pt x="394" y="1"/>
                  </a:lnTo>
                  <a:lnTo>
                    <a:pt x="371" y="4"/>
                  </a:lnTo>
                  <a:lnTo>
                    <a:pt x="348" y="8"/>
                  </a:lnTo>
                  <a:lnTo>
                    <a:pt x="328" y="16"/>
                  </a:lnTo>
                  <a:lnTo>
                    <a:pt x="308" y="23"/>
                  </a:lnTo>
                  <a:lnTo>
                    <a:pt x="288" y="33"/>
                  </a:lnTo>
                  <a:lnTo>
                    <a:pt x="271" y="44"/>
                  </a:lnTo>
                  <a:lnTo>
                    <a:pt x="255" y="56"/>
                  </a:lnTo>
                  <a:lnTo>
                    <a:pt x="241" y="69"/>
                  </a:lnTo>
                  <a:lnTo>
                    <a:pt x="227" y="84"/>
                  </a:lnTo>
                  <a:lnTo>
                    <a:pt x="216" y="99"/>
                  </a:lnTo>
                  <a:lnTo>
                    <a:pt x="206" y="114"/>
                  </a:lnTo>
                  <a:lnTo>
                    <a:pt x="197" y="130"/>
                  </a:lnTo>
                  <a:lnTo>
                    <a:pt x="190" y="147"/>
                  </a:lnTo>
                  <a:lnTo>
                    <a:pt x="184" y="163"/>
                  </a:lnTo>
                  <a:lnTo>
                    <a:pt x="181" y="180"/>
                  </a:lnTo>
                  <a:lnTo>
                    <a:pt x="163" y="185"/>
                  </a:lnTo>
                  <a:lnTo>
                    <a:pt x="145" y="190"/>
                  </a:lnTo>
                  <a:lnTo>
                    <a:pt x="128" y="198"/>
                  </a:lnTo>
                  <a:lnTo>
                    <a:pt x="111" y="206"/>
                  </a:lnTo>
                  <a:lnTo>
                    <a:pt x="95" y="216"/>
                  </a:lnTo>
                  <a:lnTo>
                    <a:pt x="81" y="227"/>
                  </a:lnTo>
                  <a:lnTo>
                    <a:pt x="66" y="240"/>
                  </a:lnTo>
                  <a:lnTo>
                    <a:pt x="53" y="253"/>
                  </a:lnTo>
                  <a:lnTo>
                    <a:pt x="41" y="268"/>
                  </a:lnTo>
                  <a:lnTo>
                    <a:pt x="31" y="283"/>
                  </a:lnTo>
                  <a:lnTo>
                    <a:pt x="22" y="300"/>
                  </a:lnTo>
                  <a:lnTo>
                    <a:pt x="14" y="316"/>
                  </a:lnTo>
                  <a:lnTo>
                    <a:pt x="8" y="335"/>
                  </a:lnTo>
                  <a:lnTo>
                    <a:pt x="4" y="352"/>
                  </a:lnTo>
                  <a:lnTo>
                    <a:pt x="1" y="370"/>
                  </a:lnTo>
                  <a:lnTo>
                    <a:pt x="0" y="388"/>
                  </a:lnTo>
                  <a:lnTo>
                    <a:pt x="0" y="399"/>
                  </a:lnTo>
                  <a:lnTo>
                    <a:pt x="1" y="409"/>
                  </a:lnTo>
                  <a:lnTo>
                    <a:pt x="2" y="419"/>
                  </a:lnTo>
                  <a:lnTo>
                    <a:pt x="5" y="430"/>
                  </a:lnTo>
                  <a:lnTo>
                    <a:pt x="10" y="449"/>
                  </a:lnTo>
                  <a:lnTo>
                    <a:pt x="17" y="468"/>
                  </a:lnTo>
                  <a:lnTo>
                    <a:pt x="26" y="487"/>
                  </a:lnTo>
                  <a:lnTo>
                    <a:pt x="37" y="504"/>
                  </a:lnTo>
                  <a:lnTo>
                    <a:pt x="50" y="521"/>
                  </a:lnTo>
                  <a:lnTo>
                    <a:pt x="62" y="536"/>
                  </a:lnTo>
                  <a:lnTo>
                    <a:pt x="77" y="549"/>
                  </a:lnTo>
                  <a:lnTo>
                    <a:pt x="95" y="561"/>
                  </a:lnTo>
                  <a:lnTo>
                    <a:pt x="112" y="572"/>
                  </a:lnTo>
                  <a:lnTo>
                    <a:pt x="130" y="581"/>
                  </a:lnTo>
                  <a:lnTo>
                    <a:pt x="149" y="588"/>
                  </a:lnTo>
                  <a:lnTo>
                    <a:pt x="168" y="594"/>
                  </a:lnTo>
                  <a:lnTo>
                    <a:pt x="178" y="596"/>
                  </a:lnTo>
                  <a:lnTo>
                    <a:pt x="189" y="597"/>
                  </a:lnTo>
                  <a:lnTo>
                    <a:pt x="199" y="598"/>
                  </a:lnTo>
                  <a:lnTo>
                    <a:pt x="209" y="598"/>
                  </a:lnTo>
                  <a:lnTo>
                    <a:pt x="643" y="598"/>
                  </a:lnTo>
                  <a:lnTo>
                    <a:pt x="659" y="597"/>
                  </a:lnTo>
                  <a:lnTo>
                    <a:pt x="676" y="595"/>
                  </a:lnTo>
                  <a:lnTo>
                    <a:pt x="692" y="590"/>
                  </a:lnTo>
                  <a:lnTo>
                    <a:pt x="707" y="585"/>
                  </a:lnTo>
                  <a:lnTo>
                    <a:pt x="721" y="579"/>
                  </a:lnTo>
                  <a:lnTo>
                    <a:pt x="735" y="570"/>
                  </a:lnTo>
                  <a:lnTo>
                    <a:pt x="748" y="560"/>
                  </a:lnTo>
                  <a:lnTo>
                    <a:pt x="759" y="550"/>
                  </a:lnTo>
                  <a:lnTo>
                    <a:pt x="770" y="538"/>
                  </a:lnTo>
                  <a:lnTo>
                    <a:pt x="780" y="525"/>
                  </a:lnTo>
                  <a:lnTo>
                    <a:pt x="788" y="512"/>
                  </a:lnTo>
                  <a:lnTo>
                    <a:pt x="795" y="497"/>
                  </a:lnTo>
                  <a:lnTo>
                    <a:pt x="801" y="482"/>
                  </a:lnTo>
                  <a:lnTo>
                    <a:pt x="804" y="466"/>
                  </a:lnTo>
                  <a:lnTo>
                    <a:pt x="808" y="450"/>
                  </a:lnTo>
                  <a:lnTo>
                    <a:pt x="809" y="433"/>
                  </a:lnTo>
                  <a:lnTo>
                    <a:pt x="808" y="416"/>
                  </a:lnTo>
                  <a:lnTo>
                    <a:pt x="805" y="398"/>
                  </a:lnTo>
                  <a:lnTo>
                    <a:pt x="801" y="378"/>
                  </a:lnTo>
                  <a:lnTo>
                    <a:pt x="796" y="360"/>
                  </a:lnTo>
                  <a:lnTo>
                    <a:pt x="792" y="351"/>
                  </a:lnTo>
                  <a:lnTo>
                    <a:pt x="787" y="342"/>
                  </a:lnTo>
                  <a:lnTo>
                    <a:pt x="783" y="332"/>
                  </a:lnTo>
                  <a:lnTo>
                    <a:pt x="778" y="324"/>
                  </a:lnTo>
                  <a:lnTo>
                    <a:pt x="772" y="316"/>
                  </a:lnTo>
                  <a:lnTo>
                    <a:pt x="766"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3" name="Freeform 70">
              <a:extLst>
                <a:ext uri="{FF2B5EF4-FFF2-40B4-BE49-F238E27FC236}">
                  <a16:creationId xmlns:a16="http://schemas.microsoft.com/office/drawing/2014/main" id="{24ECE3B5-DDD5-4A64-A08F-61A00E8D16D6}"/>
                </a:ext>
              </a:extLst>
            </p:cNvPr>
            <p:cNvSpPr>
              <a:spLocks/>
            </p:cNvSpPr>
            <p:nvPr/>
          </p:nvSpPr>
          <p:spPr bwMode="auto">
            <a:xfrm>
              <a:off x="5078413" y="98901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2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29" y="18"/>
                  </a:lnTo>
                  <a:lnTo>
                    <a:pt x="30" y="15"/>
                  </a:lnTo>
                  <a:lnTo>
                    <a:pt x="29" y="12"/>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4" name="Freeform 71">
              <a:extLst>
                <a:ext uri="{FF2B5EF4-FFF2-40B4-BE49-F238E27FC236}">
                  <a16:creationId xmlns:a16="http://schemas.microsoft.com/office/drawing/2014/main" id="{2F287B2A-626B-4548-8391-38F4DB188242}"/>
                </a:ext>
              </a:extLst>
            </p:cNvPr>
            <p:cNvSpPr>
              <a:spLocks/>
            </p:cNvSpPr>
            <p:nvPr/>
          </p:nvSpPr>
          <p:spPr bwMode="auto">
            <a:xfrm>
              <a:off x="5030788" y="98901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30" y="18"/>
                  </a:lnTo>
                  <a:lnTo>
                    <a:pt x="30" y="15"/>
                  </a:lnTo>
                  <a:lnTo>
                    <a:pt x="30" y="12"/>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5" name="Freeform 72">
              <a:extLst>
                <a:ext uri="{FF2B5EF4-FFF2-40B4-BE49-F238E27FC236}">
                  <a16:creationId xmlns:a16="http://schemas.microsoft.com/office/drawing/2014/main" id="{716EBE56-3AC7-45E8-8B36-0444D981B2C4}"/>
                </a:ext>
              </a:extLst>
            </p:cNvPr>
            <p:cNvSpPr>
              <a:spLocks/>
            </p:cNvSpPr>
            <p:nvPr/>
          </p:nvSpPr>
          <p:spPr bwMode="auto">
            <a:xfrm>
              <a:off x="4983163" y="989013"/>
              <a:ext cx="9525" cy="9525"/>
            </a:xfrm>
            <a:custGeom>
              <a:avLst/>
              <a:gdLst>
                <a:gd name="T0" fmla="*/ 15 w 30"/>
                <a:gd name="T1" fmla="*/ 0 h 30"/>
                <a:gd name="T2" fmla="*/ 12 w 30"/>
                <a:gd name="T3" fmla="*/ 0 h 30"/>
                <a:gd name="T4" fmla="*/ 10 w 30"/>
                <a:gd name="T5" fmla="*/ 1 h 30"/>
                <a:gd name="T6" fmla="*/ 6 w 30"/>
                <a:gd name="T7" fmla="*/ 3 h 30"/>
                <a:gd name="T8" fmla="*/ 4 w 30"/>
                <a:gd name="T9" fmla="*/ 4 h 30"/>
                <a:gd name="T10" fmla="*/ 3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3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8 w 30"/>
                <a:gd name="T55" fmla="*/ 6 h 30"/>
                <a:gd name="T56" fmla="*/ 26 w 30"/>
                <a:gd name="T57" fmla="*/ 4 h 30"/>
                <a:gd name="T58" fmla="*/ 24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3"/>
                  </a:lnTo>
                  <a:lnTo>
                    <a:pt x="4" y="4"/>
                  </a:lnTo>
                  <a:lnTo>
                    <a:pt x="3" y="6"/>
                  </a:lnTo>
                  <a:lnTo>
                    <a:pt x="1" y="9"/>
                  </a:lnTo>
                  <a:lnTo>
                    <a:pt x="0" y="12"/>
                  </a:lnTo>
                  <a:lnTo>
                    <a:pt x="0" y="15"/>
                  </a:lnTo>
                  <a:lnTo>
                    <a:pt x="0" y="18"/>
                  </a:lnTo>
                  <a:lnTo>
                    <a:pt x="1" y="21"/>
                  </a:lnTo>
                  <a:lnTo>
                    <a:pt x="3" y="23"/>
                  </a:lnTo>
                  <a:lnTo>
                    <a:pt x="4" y="25"/>
                  </a:lnTo>
                  <a:lnTo>
                    <a:pt x="6" y="28"/>
                  </a:lnTo>
                  <a:lnTo>
                    <a:pt x="10" y="29"/>
                  </a:lnTo>
                  <a:lnTo>
                    <a:pt x="12" y="30"/>
                  </a:lnTo>
                  <a:lnTo>
                    <a:pt x="15" y="30"/>
                  </a:lnTo>
                  <a:lnTo>
                    <a:pt x="18" y="30"/>
                  </a:lnTo>
                  <a:lnTo>
                    <a:pt x="21"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6" name="Freeform 73">
              <a:extLst>
                <a:ext uri="{FF2B5EF4-FFF2-40B4-BE49-F238E27FC236}">
                  <a16:creationId xmlns:a16="http://schemas.microsoft.com/office/drawing/2014/main" id="{F4D68C97-9BD3-4C30-B404-5B5D18A4CAEF}"/>
                </a:ext>
              </a:extLst>
            </p:cNvPr>
            <p:cNvSpPr>
              <a:spLocks/>
            </p:cNvSpPr>
            <p:nvPr/>
          </p:nvSpPr>
          <p:spPr bwMode="auto">
            <a:xfrm>
              <a:off x="5078413" y="102711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7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7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8" y="30"/>
                  </a:lnTo>
                  <a:lnTo>
                    <a:pt x="20" y="29"/>
                  </a:lnTo>
                  <a:lnTo>
                    <a:pt x="23" y="27"/>
                  </a:lnTo>
                  <a:lnTo>
                    <a:pt x="26" y="25"/>
                  </a:lnTo>
                  <a:lnTo>
                    <a:pt x="27" y="23"/>
                  </a:lnTo>
                  <a:lnTo>
                    <a:pt x="29" y="21"/>
                  </a:lnTo>
                  <a:lnTo>
                    <a:pt x="29" y="18"/>
                  </a:lnTo>
                  <a:lnTo>
                    <a:pt x="30" y="15"/>
                  </a:lnTo>
                  <a:lnTo>
                    <a:pt x="29"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7" name="Freeform 74">
              <a:extLst>
                <a:ext uri="{FF2B5EF4-FFF2-40B4-BE49-F238E27FC236}">
                  <a16:creationId xmlns:a16="http://schemas.microsoft.com/office/drawing/2014/main" id="{0C7F7107-77BC-4786-82A7-717059E3513E}"/>
                </a:ext>
              </a:extLst>
            </p:cNvPr>
            <p:cNvSpPr>
              <a:spLocks/>
            </p:cNvSpPr>
            <p:nvPr/>
          </p:nvSpPr>
          <p:spPr bwMode="auto">
            <a:xfrm>
              <a:off x="5030788" y="102711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7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7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8" y="30"/>
                  </a:lnTo>
                  <a:lnTo>
                    <a:pt x="20" y="29"/>
                  </a:lnTo>
                  <a:lnTo>
                    <a:pt x="23" y="27"/>
                  </a:lnTo>
                  <a:lnTo>
                    <a:pt x="26" y="25"/>
                  </a:lnTo>
                  <a:lnTo>
                    <a:pt x="27" y="23"/>
                  </a:lnTo>
                  <a:lnTo>
                    <a:pt x="29" y="21"/>
                  </a:lnTo>
                  <a:lnTo>
                    <a:pt x="30" y="18"/>
                  </a:lnTo>
                  <a:lnTo>
                    <a:pt x="30" y="15"/>
                  </a:lnTo>
                  <a:lnTo>
                    <a:pt x="30"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8" name="Freeform 75">
              <a:extLst>
                <a:ext uri="{FF2B5EF4-FFF2-40B4-BE49-F238E27FC236}">
                  <a16:creationId xmlns:a16="http://schemas.microsoft.com/office/drawing/2014/main" id="{DEB65270-6B49-4C1A-8DAF-9117017523B6}"/>
                </a:ext>
              </a:extLst>
            </p:cNvPr>
            <p:cNvSpPr>
              <a:spLocks/>
            </p:cNvSpPr>
            <p:nvPr/>
          </p:nvSpPr>
          <p:spPr bwMode="auto">
            <a:xfrm>
              <a:off x="4983163" y="102711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3 w 30"/>
                <a:gd name="T23" fmla="*/ 23 h 30"/>
                <a:gd name="T24" fmla="*/ 4 w 30"/>
                <a:gd name="T25" fmla="*/ 25 h 30"/>
                <a:gd name="T26" fmla="*/ 6 w 30"/>
                <a:gd name="T27" fmla="*/ 27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7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3" y="6"/>
                  </a:lnTo>
                  <a:lnTo>
                    <a:pt x="1" y="9"/>
                  </a:lnTo>
                  <a:lnTo>
                    <a:pt x="0" y="11"/>
                  </a:lnTo>
                  <a:lnTo>
                    <a:pt x="0" y="15"/>
                  </a:lnTo>
                  <a:lnTo>
                    <a:pt x="0" y="18"/>
                  </a:lnTo>
                  <a:lnTo>
                    <a:pt x="1" y="21"/>
                  </a:lnTo>
                  <a:lnTo>
                    <a:pt x="3" y="23"/>
                  </a:lnTo>
                  <a:lnTo>
                    <a:pt x="4" y="25"/>
                  </a:lnTo>
                  <a:lnTo>
                    <a:pt x="6" y="27"/>
                  </a:lnTo>
                  <a:lnTo>
                    <a:pt x="10" y="29"/>
                  </a:lnTo>
                  <a:lnTo>
                    <a:pt x="12" y="30"/>
                  </a:lnTo>
                  <a:lnTo>
                    <a:pt x="15" y="30"/>
                  </a:lnTo>
                  <a:lnTo>
                    <a:pt x="18" y="30"/>
                  </a:lnTo>
                  <a:lnTo>
                    <a:pt x="21" y="29"/>
                  </a:lnTo>
                  <a:lnTo>
                    <a:pt x="24" y="27"/>
                  </a:lnTo>
                  <a:lnTo>
                    <a:pt x="26" y="25"/>
                  </a:lnTo>
                  <a:lnTo>
                    <a:pt x="28" y="23"/>
                  </a:lnTo>
                  <a:lnTo>
                    <a:pt x="29" y="21"/>
                  </a:lnTo>
                  <a:lnTo>
                    <a:pt x="30" y="18"/>
                  </a:lnTo>
                  <a:lnTo>
                    <a:pt x="30" y="15"/>
                  </a:lnTo>
                  <a:lnTo>
                    <a:pt x="30" y="11"/>
                  </a:lnTo>
                  <a:lnTo>
                    <a:pt x="29" y="9"/>
                  </a:lnTo>
                  <a:lnTo>
                    <a:pt x="28" y="6"/>
                  </a:lnTo>
                  <a:lnTo>
                    <a:pt x="26" y="4"/>
                  </a:lnTo>
                  <a:lnTo>
                    <a:pt x="24"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9" name="Freeform 76">
              <a:extLst>
                <a:ext uri="{FF2B5EF4-FFF2-40B4-BE49-F238E27FC236}">
                  <a16:creationId xmlns:a16="http://schemas.microsoft.com/office/drawing/2014/main" id="{A8D121D3-A554-49D5-9C44-E6F43E3E20AF}"/>
                </a:ext>
              </a:extLst>
            </p:cNvPr>
            <p:cNvSpPr>
              <a:spLocks/>
            </p:cNvSpPr>
            <p:nvPr/>
          </p:nvSpPr>
          <p:spPr bwMode="auto">
            <a:xfrm>
              <a:off x="5059363" y="100806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29" y="18"/>
                  </a:lnTo>
                  <a:lnTo>
                    <a:pt x="30" y="15"/>
                  </a:lnTo>
                  <a:lnTo>
                    <a:pt x="29" y="11"/>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0" name="Freeform 77">
              <a:extLst>
                <a:ext uri="{FF2B5EF4-FFF2-40B4-BE49-F238E27FC236}">
                  <a16:creationId xmlns:a16="http://schemas.microsoft.com/office/drawing/2014/main" id="{71387337-D773-44B1-B3F7-7728BA3860E0}"/>
                </a:ext>
              </a:extLst>
            </p:cNvPr>
            <p:cNvSpPr>
              <a:spLocks/>
            </p:cNvSpPr>
            <p:nvPr/>
          </p:nvSpPr>
          <p:spPr bwMode="auto">
            <a:xfrm>
              <a:off x="5106988" y="100806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7 w 30"/>
                <a:gd name="T35" fmla="*/ 30 h 30"/>
                <a:gd name="T36" fmla="*/ 20 w 30"/>
                <a:gd name="T37" fmla="*/ 29 h 30"/>
                <a:gd name="T38" fmla="*/ 22 w 30"/>
                <a:gd name="T39" fmla="*/ 28 h 30"/>
                <a:gd name="T40" fmla="*/ 24 w 30"/>
                <a:gd name="T41" fmla="*/ 25 h 30"/>
                <a:gd name="T42" fmla="*/ 27 w 30"/>
                <a:gd name="T43" fmla="*/ 23 h 30"/>
                <a:gd name="T44" fmla="*/ 28 w 30"/>
                <a:gd name="T45" fmla="*/ 21 h 30"/>
                <a:gd name="T46" fmla="*/ 29 w 30"/>
                <a:gd name="T47" fmla="*/ 18 h 30"/>
                <a:gd name="T48" fmla="*/ 30 w 30"/>
                <a:gd name="T49" fmla="*/ 15 h 30"/>
                <a:gd name="T50" fmla="*/ 29 w 30"/>
                <a:gd name="T51" fmla="*/ 11 h 30"/>
                <a:gd name="T52" fmla="*/ 28 w 30"/>
                <a:gd name="T53" fmla="*/ 9 h 30"/>
                <a:gd name="T54" fmla="*/ 27 w 30"/>
                <a:gd name="T55" fmla="*/ 6 h 30"/>
                <a:gd name="T56" fmla="*/ 24 w 30"/>
                <a:gd name="T57" fmla="*/ 4 h 30"/>
                <a:gd name="T58" fmla="*/ 22 w 30"/>
                <a:gd name="T59" fmla="*/ 3 h 30"/>
                <a:gd name="T60" fmla="*/ 20 w 30"/>
                <a:gd name="T61" fmla="*/ 1 h 30"/>
                <a:gd name="T62" fmla="*/ 17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2" y="30"/>
                  </a:lnTo>
                  <a:lnTo>
                    <a:pt x="15" y="30"/>
                  </a:lnTo>
                  <a:lnTo>
                    <a:pt x="17" y="30"/>
                  </a:lnTo>
                  <a:lnTo>
                    <a:pt x="20" y="29"/>
                  </a:lnTo>
                  <a:lnTo>
                    <a:pt x="22" y="28"/>
                  </a:lnTo>
                  <a:lnTo>
                    <a:pt x="24" y="25"/>
                  </a:lnTo>
                  <a:lnTo>
                    <a:pt x="27" y="23"/>
                  </a:lnTo>
                  <a:lnTo>
                    <a:pt x="28" y="21"/>
                  </a:lnTo>
                  <a:lnTo>
                    <a:pt x="29" y="18"/>
                  </a:lnTo>
                  <a:lnTo>
                    <a:pt x="30" y="15"/>
                  </a:lnTo>
                  <a:lnTo>
                    <a:pt x="29" y="11"/>
                  </a:lnTo>
                  <a:lnTo>
                    <a:pt x="28" y="9"/>
                  </a:lnTo>
                  <a:lnTo>
                    <a:pt x="27" y="6"/>
                  </a:lnTo>
                  <a:lnTo>
                    <a:pt x="24" y="4"/>
                  </a:lnTo>
                  <a:lnTo>
                    <a:pt x="22" y="3"/>
                  </a:lnTo>
                  <a:lnTo>
                    <a:pt x="20" y="1"/>
                  </a:lnTo>
                  <a:lnTo>
                    <a:pt x="1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1" name="Freeform 78">
              <a:extLst>
                <a:ext uri="{FF2B5EF4-FFF2-40B4-BE49-F238E27FC236}">
                  <a16:creationId xmlns:a16="http://schemas.microsoft.com/office/drawing/2014/main" id="{686295D7-A85B-4DD1-8C6B-8BF79682DE84}"/>
                </a:ext>
              </a:extLst>
            </p:cNvPr>
            <p:cNvSpPr>
              <a:spLocks/>
            </p:cNvSpPr>
            <p:nvPr/>
          </p:nvSpPr>
          <p:spPr bwMode="auto">
            <a:xfrm>
              <a:off x="5011738" y="1008063"/>
              <a:ext cx="9525" cy="9525"/>
            </a:xfrm>
            <a:custGeom>
              <a:avLst/>
              <a:gdLst>
                <a:gd name="T0" fmla="*/ 15 w 30"/>
                <a:gd name="T1" fmla="*/ 0 h 30"/>
                <a:gd name="T2" fmla="*/ 12 w 30"/>
                <a:gd name="T3" fmla="*/ 0 h 30"/>
                <a:gd name="T4" fmla="*/ 10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3"/>
                  </a:lnTo>
                  <a:lnTo>
                    <a:pt x="4" y="4"/>
                  </a:lnTo>
                  <a:lnTo>
                    <a:pt x="2" y="6"/>
                  </a:lnTo>
                  <a:lnTo>
                    <a:pt x="1" y="9"/>
                  </a:lnTo>
                  <a:lnTo>
                    <a:pt x="0" y="11"/>
                  </a:lnTo>
                  <a:lnTo>
                    <a:pt x="0" y="15"/>
                  </a:lnTo>
                  <a:lnTo>
                    <a:pt x="0" y="18"/>
                  </a:lnTo>
                  <a:lnTo>
                    <a:pt x="1" y="21"/>
                  </a:lnTo>
                  <a:lnTo>
                    <a:pt x="2" y="23"/>
                  </a:lnTo>
                  <a:lnTo>
                    <a:pt x="4" y="25"/>
                  </a:lnTo>
                  <a:lnTo>
                    <a:pt x="6" y="28"/>
                  </a:lnTo>
                  <a:lnTo>
                    <a:pt x="10" y="29"/>
                  </a:lnTo>
                  <a:lnTo>
                    <a:pt x="12" y="30"/>
                  </a:lnTo>
                  <a:lnTo>
                    <a:pt x="15" y="30"/>
                  </a:lnTo>
                  <a:lnTo>
                    <a:pt x="18" y="30"/>
                  </a:lnTo>
                  <a:lnTo>
                    <a:pt x="20" y="29"/>
                  </a:lnTo>
                  <a:lnTo>
                    <a:pt x="24" y="28"/>
                  </a:lnTo>
                  <a:lnTo>
                    <a:pt x="26" y="25"/>
                  </a:lnTo>
                  <a:lnTo>
                    <a:pt x="28" y="23"/>
                  </a:lnTo>
                  <a:lnTo>
                    <a:pt x="29" y="21"/>
                  </a:lnTo>
                  <a:lnTo>
                    <a:pt x="30" y="18"/>
                  </a:lnTo>
                  <a:lnTo>
                    <a:pt x="30" y="15"/>
                  </a:lnTo>
                  <a:lnTo>
                    <a:pt x="30" y="11"/>
                  </a:lnTo>
                  <a:lnTo>
                    <a:pt x="29" y="9"/>
                  </a:lnTo>
                  <a:lnTo>
                    <a:pt x="28" y="6"/>
                  </a:lnTo>
                  <a:lnTo>
                    <a:pt x="26" y="4"/>
                  </a:lnTo>
                  <a:lnTo>
                    <a:pt x="24"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2" name="Freeform 79">
              <a:extLst>
                <a:ext uri="{FF2B5EF4-FFF2-40B4-BE49-F238E27FC236}">
                  <a16:creationId xmlns:a16="http://schemas.microsoft.com/office/drawing/2014/main" id="{65586A49-5F59-452F-871B-B6DBF8896809}"/>
                </a:ext>
              </a:extLst>
            </p:cNvPr>
            <p:cNvSpPr>
              <a:spLocks/>
            </p:cNvSpPr>
            <p:nvPr/>
          </p:nvSpPr>
          <p:spPr bwMode="auto">
            <a:xfrm>
              <a:off x="4964113" y="1008063"/>
              <a:ext cx="9525" cy="9525"/>
            </a:xfrm>
            <a:custGeom>
              <a:avLst/>
              <a:gdLst>
                <a:gd name="T0" fmla="*/ 15 w 30"/>
                <a:gd name="T1" fmla="*/ 0 h 30"/>
                <a:gd name="T2" fmla="*/ 12 w 30"/>
                <a:gd name="T3" fmla="*/ 0 h 30"/>
                <a:gd name="T4" fmla="*/ 10 w 30"/>
                <a:gd name="T5" fmla="*/ 1 h 30"/>
                <a:gd name="T6" fmla="*/ 7 w 30"/>
                <a:gd name="T7" fmla="*/ 3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3 w 30"/>
                <a:gd name="T23" fmla="*/ 23 h 30"/>
                <a:gd name="T24" fmla="*/ 4 w 30"/>
                <a:gd name="T25" fmla="*/ 25 h 30"/>
                <a:gd name="T26" fmla="*/ 7 w 30"/>
                <a:gd name="T27" fmla="*/ 28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7" y="3"/>
                  </a:lnTo>
                  <a:lnTo>
                    <a:pt x="4" y="4"/>
                  </a:lnTo>
                  <a:lnTo>
                    <a:pt x="3" y="6"/>
                  </a:lnTo>
                  <a:lnTo>
                    <a:pt x="1" y="9"/>
                  </a:lnTo>
                  <a:lnTo>
                    <a:pt x="0" y="11"/>
                  </a:lnTo>
                  <a:lnTo>
                    <a:pt x="0" y="15"/>
                  </a:lnTo>
                  <a:lnTo>
                    <a:pt x="0" y="18"/>
                  </a:lnTo>
                  <a:lnTo>
                    <a:pt x="1" y="21"/>
                  </a:lnTo>
                  <a:lnTo>
                    <a:pt x="3" y="23"/>
                  </a:lnTo>
                  <a:lnTo>
                    <a:pt x="4" y="25"/>
                  </a:lnTo>
                  <a:lnTo>
                    <a:pt x="7" y="28"/>
                  </a:lnTo>
                  <a:lnTo>
                    <a:pt x="10" y="29"/>
                  </a:lnTo>
                  <a:lnTo>
                    <a:pt x="12" y="30"/>
                  </a:lnTo>
                  <a:lnTo>
                    <a:pt x="15" y="30"/>
                  </a:lnTo>
                  <a:lnTo>
                    <a:pt x="18" y="30"/>
                  </a:lnTo>
                  <a:lnTo>
                    <a:pt x="21" y="29"/>
                  </a:lnTo>
                  <a:lnTo>
                    <a:pt x="24" y="28"/>
                  </a:lnTo>
                  <a:lnTo>
                    <a:pt x="26" y="25"/>
                  </a:lnTo>
                  <a:lnTo>
                    <a:pt x="28" y="23"/>
                  </a:lnTo>
                  <a:lnTo>
                    <a:pt x="29" y="21"/>
                  </a:lnTo>
                  <a:lnTo>
                    <a:pt x="30" y="18"/>
                  </a:lnTo>
                  <a:lnTo>
                    <a:pt x="30" y="15"/>
                  </a:lnTo>
                  <a:lnTo>
                    <a:pt x="30" y="11"/>
                  </a:lnTo>
                  <a:lnTo>
                    <a:pt x="29" y="9"/>
                  </a:lnTo>
                  <a:lnTo>
                    <a:pt x="28" y="6"/>
                  </a:lnTo>
                  <a:lnTo>
                    <a:pt x="26" y="4"/>
                  </a:lnTo>
                  <a:lnTo>
                    <a:pt x="24"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3" name="Freeform 80">
              <a:extLst>
                <a:ext uri="{FF2B5EF4-FFF2-40B4-BE49-F238E27FC236}">
                  <a16:creationId xmlns:a16="http://schemas.microsoft.com/office/drawing/2014/main" id="{B559E91A-224A-42B3-A4F0-D86BAC6894CB}"/>
                </a:ext>
              </a:extLst>
            </p:cNvPr>
            <p:cNvSpPr>
              <a:spLocks/>
            </p:cNvSpPr>
            <p:nvPr/>
          </p:nvSpPr>
          <p:spPr bwMode="auto">
            <a:xfrm>
              <a:off x="5059363" y="104616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8 w 30"/>
                <a:gd name="T29" fmla="*/ 28 h 30"/>
                <a:gd name="T30" fmla="*/ 12 w 30"/>
                <a:gd name="T31" fmla="*/ 28 h 30"/>
                <a:gd name="T32" fmla="*/ 15 w 30"/>
                <a:gd name="T33" fmla="*/ 30 h 30"/>
                <a:gd name="T34" fmla="*/ 18 w 30"/>
                <a:gd name="T35" fmla="*/ 28 h 30"/>
                <a:gd name="T36" fmla="*/ 20 w 30"/>
                <a:gd name="T37" fmla="*/ 28 h 30"/>
                <a:gd name="T38" fmla="*/ 23 w 30"/>
                <a:gd name="T39" fmla="*/ 27 h 30"/>
                <a:gd name="T40" fmla="*/ 26 w 30"/>
                <a:gd name="T41" fmla="*/ 25 h 30"/>
                <a:gd name="T42" fmla="*/ 27 w 30"/>
                <a:gd name="T43" fmla="*/ 23 h 30"/>
                <a:gd name="T44" fmla="*/ 29 w 30"/>
                <a:gd name="T45" fmla="*/ 20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7"/>
                  </a:lnTo>
                  <a:lnTo>
                    <a:pt x="8" y="28"/>
                  </a:lnTo>
                  <a:lnTo>
                    <a:pt x="12" y="28"/>
                  </a:lnTo>
                  <a:lnTo>
                    <a:pt x="15" y="30"/>
                  </a:lnTo>
                  <a:lnTo>
                    <a:pt x="18" y="28"/>
                  </a:lnTo>
                  <a:lnTo>
                    <a:pt x="20" y="28"/>
                  </a:lnTo>
                  <a:lnTo>
                    <a:pt x="23" y="27"/>
                  </a:lnTo>
                  <a:lnTo>
                    <a:pt x="26" y="25"/>
                  </a:lnTo>
                  <a:lnTo>
                    <a:pt x="27" y="23"/>
                  </a:lnTo>
                  <a:lnTo>
                    <a:pt x="29" y="20"/>
                  </a:lnTo>
                  <a:lnTo>
                    <a:pt x="29" y="18"/>
                  </a:lnTo>
                  <a:lnTo>
                    <a:pt x="30" y="15"/>
                  </a:lnTo>
                  <a:lnTo>
                    <a:pt x="29"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4" name="Freeform 81">
              <a:extLst>
                <a:ext uri="{FF2B5EF4-FFF2-40B4-BE49-F238E27FC236}">
                  <a16:creationId xmlns:a16="http://schemas.microsoft.com/office/drawing/2014/main" id="{A22653B0-661D-4996-B722-903B228BA3E8}"/>
                </a:ext>
              </a:extLst>
            </p:cNvPr>
            <p:cNvSpPr>
              <a:spLocks/>
            </p:cNvSpPr>
            <p:nvPr/>
          </p:nvSpPr>
          <p:spPr bwMode="auto">
            <a:xfrm>
              <a:off x="5106988" y="104616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8 w 30"/>
                <a:gd name="T29" fmla="*/ 28 h 30"/>
                <a:gd name="T30" fmla="*/ 12 w 30"/>
                <a:gd name="T31" fmla="*/ 28 h 30"/>
                <a:gd name="T32" fmla="*/ 15 w 30"/>
                <a:gd name="T33" fmla="*/ 30 h 30"/>
                <a:gd name="T34" fmla="*/ 17 w 30"/>
                <a:gd name="T35" fmla="*/ 28 h 30"/>
                <a:gd name="T36" fmla="*/ 20 w 30"/>
                <a:gd name="T37" fmla="*/ 28 h 30"/>
                <a:gd name="T38" fmla="*/ 22 w 30"/>
                <a:gd name="T39" fmla="*/ 27 h 30"/>
                <a:gd name="T40" fmla="*/ 24 w 30"/>
                <a:gd name="T41" fmla="*/ 25 h 30"/>
                <a:gd name="T42" fmla="*/ 27 w 30"/>
                <a:gd name="T43" fmla="*/ 23 h 30"/>
                <a:gd name="T44" fmla="*/ 28 w 30"/>
                <a:gd name="T45" fmla="*/ 20 h 30"/>
                <a:gd name="T46" fmla="*/ 29 w 30"/>
                <a:gd name="T47" fmla="*/ 18 h 30"/>
                <a:gd name="T48" fmla="*/ 30 w 30"/>
                <a:gd name="T49" fmla="*/ 15 h 30"/>
                <a:gd name="T50" fmla="*/ 29 w 30"/>
                <a:gd name="T51" fmla="*/ 11 h 30"/>
                <a:gd name="T52" fmla="*/ 28 w 30"/>
                <a:gd name="T53" fmla="*/ 9 h 30"/>
                <a:gd name="T54" fmla="*/ 27 w 30"/>
                <a:gd name="T55" fmla="*/ 6 h 30"/>
                <a:gd name="T56" fmla="*/ 24 w 30"/>
                <a:gd name="T57" fmla="*/ 4 h 30"/>
                <a:gd name="T58" fmla="*/ 22 w 30"/>
                <a:gd name="T59" fmla="*/ 2 h 30"/>
                <a:gd name="T60" fmla="*/ 20 w 30"/>
                <a:gd name="T61" fmla="*/ 1 h 30"/>
                <a:gd name="T62" fmla="*/ 17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7"/>
                  </a:lnTo>
                  <a:lnTo>
                    <a:pt x="8" y="28"/>
                  </a:lnTo>
                  <a:lnTo>
                    <a:pt x="12" y="28"/>
                  </a:lnTo>
                  <a:lnTo>
                    <a:pt x="15" y="30"/>
                  </a:lnTo>
                  <a:lnTo>
                    <a:pt x="17" y="28"/>
                  </a:lnTo>
                  <a:lnTo>
                    <a:pt x="20" y="28"/>
                  </a:lnTo>
                  <a:lnTo>
                    <a:pt x="22" y="27"/>
                  </a:lnTo>
                  <a:lnTo>
                    <a:pt x="24" y="25"/>
                  </a:lnTo>
                  <a:lnTo>
                    <a:pt x="27" y="23"/>
                  </a:lnTo>
                  <a:lnTo>
                    <a:pt x="28" y="20"/>
                  </a:lnTo>
                  <a:lnTo>
                    <a:pt x="29" y="18"/>
                  </a:lnTo>
                  <a:lnTo>
                    <a:pt x="30" y="15"/>
                  </a:lnTo>
                  <a:lnTo>
                    <a:pt x="29" y="11"/>
                  </a:lnTo>
                  <a:lnTo>
                    <a:pt x="28" y="9"/>
                  </a:lnTo>
                  <a:lnTo>
                    <a:pt x="27" y="6"/>
                  </a:lnTo>
                  <a:lnTo>
                    <a:pt x="24" y="4"/>
                  </a:lnTo>
                  <a:lnTo>
                    <a:pt x="22" y="2"/>
                  </a:lnTo>
                  <a:lnTo>
                    <a:pt x="20" y="1"/>
                  </a:lnTo>
                  <a:lnTo>
                    <a:pt x="1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5" name="Freeform 82">
              <a:extLst>
                <a:ext uri="{FF2B5EF4-FFF2-40B4-BE49-F238E27FC236}">
                  <a16:creationId xmlns:a16="http://schemas.microsoft.com/office/drawing/2014/main" id="{C97549E1-EF94-4874-8FA2-EE75CB3B6656}"/>
                </a:ext>
              </a:extLst>
            </p:cNvPr>
            <p:cNvSpPr>
              <a:spLocks/>
            </p:cNvSpPr>
            <p:nvPr/>
          </p:nvSpPr>
          <p:spPr bwMode="auto">
            <a:xfrm>
              <a:off x="5011738" y="104616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10 w 30"/>
                <a:gd name="T29" fmla="*/ 28 h 30"/>
                <a:gd name="T30" fmla="*/ 12 w 30"/>
                <a:gd name="T31" fmla="*/ 28 h 30"/>
                <a:gd name="T32" fmla="*/ 15 w 30"/>
                <a:gd name="T33" fmla="*/ 30 h 30"/>
                <a:gd name="T34" fmla="*/ 18 w 30"/>
                <a:gd name="T35" fmla="*/ 28 h 30"/>
                <a:gd name="T36" fmla="*/ 20 w 30"/>
                <a:gd name="T37" fmla="*/ 28 h 30"/>
                <a:gd name="T38" fmla="*/ 24 w 30"/>
                <a:gd name="T39" fmla="*/ 27 h 30"/>
                <a:gd name="T40" fmla="*/ 26 w 30"/>
                <a:gd name="T41" fmla="*/ 25 h 30"/>
                <a:gd name="T42" fmla="*/ 28 w 30"/>
                <a:gd name="T43" fmla="*/ 23 h 30"/>
                <a:gd name="T44" fmla="*/ 29 w 30"/>
                <a:gd name="T45" fmla="*/ 20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2" y="6"/>
                  </a:lnTo>
                  <a:lnTo>
                    <a:pt x="1" y="9"/>
                  </a:lnTo>
                  <a:lnTo>
                    <a:pt x="0" y="11"/>
                  </a:lnTo>
                  <a:lnTo>
                    <a:pt x="0" y="15"/>
                  </a:lnTo>
                  <a:lnTo>
                    <a:pt x="0" y="18"/>
                  </a:lnTo>
                  <a:lnTo>
                    <a:pt x="1" y="20"/>
                  </a:lnTo>
                  <a:lnTo>
                    <a:pt x="2" y="23"/>
                  </a:lnTo>
                  <a:lnTo>
                    <a:pt x="4" y="25"/>
                  </a:lnTo>
                  <a:lnTo>
                    <a:pt x="6" y="27"/>
                  </a:lnTo>
                  <a:lnTo>
                    <a:pt x="10" y="28"/>
                  </a:lnTo>
                  <a:lnTo>
                    <a:pt x="12" y="28"/>
                  </a:lnTo>
                  <a:lnTo>
                    <a:pt x="15" y="30"/>
                  </a:lnTo>
                  <a:lnTo>
                    <a:pt x="18" y="28"/>
                  </a:lnTo>
                  <a:lnTo>
                    <a:pt x="20" y="28"/>
                  </a:lnTo>
                  <a:lnTo>
                    <a:pt x="24" y="27"/>
                  </a:lnTo>
                  <a:lnTo>
                    <a:pt x="26" y="25"/>
                  </a:lnTo>
                  <a:lnTo>
                    <a:pt x="28" y="23"/>
                  </a:lnTo>
                  <a:lnTo>
                    <a:pt x="29" y="20"/>
                  </a:lnTo>
                  <a:lnTo>
                    <a:pt x="30" y="18"/>
                  </a:lnTo>
                  <a:lnTo>
                    <a:pt x="30" y="15"/>
                  </a:lnTo>
                  <a:lnTo>
                    <a:pt x="30" y="11"/>
                  </a:lnTo>
                  <a:lnTo>
                    <a:pt x="29" y="9"/>
                  </a:lnTo>
                  <a:lnTo>
                    <a:pt x="28"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6" name="Freeform 83">
              <a:extLst>
                <a:ext uri="{FF2B5EF4-FFF2-40B4-BE49-F238E27FC236}">
                  <a16:creationId xmlns:a16="http://schemas.microsoft.com/office/drawing/2014/main" id="{97401E28-0994-40BF-A901-CEA3005D26EC}"/>
                </a:ext>
              </a:extLst>
            </p:cNvPr>
            <p:cNvSpPr>
              <a:spLocks/>
            </p:cNvSpPr>
            <p:nvPr/>
          </p:nvSpPr>
          <p:spPr bwMode="auto">
            <a:xfrm>
              <a:off x="4964113" y="1046163"/>
              <a:ext cx="9525" cy="9525"/>
            </a:xfrm>
            <a:custGeom>
              <a:avLst/>
              <a:gdLst>
                <a:gd name="T0" fmla="*/ 15 w 30"/>
                <a:gd name="T1" fmla="*/ 0 h 30"/>
                <a:gd name="T2" fmla="*/ 12 w 30"/>
                <a:gd name="T3" fmla="*/ 0 h 30"/>
                <a:gd name="T4" fmla="*/ 10 w 30"/>
                <a:gd name="T5" fmla="*/ 1 h 30"/>
                <a:gd name="T6" fmla="*/ 7 w 30"/>
                <a:gd name="T7" fmla="*/ 2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3 w 30"/>
                <a:gd name="T23" fmla="*/ 23 h 30"/>
                <a:gd name="T24" fmla="*/ 4 w 30"/>
                <a:gd name="T25" fmla="*/ 25 h 30"/>
                <a:gd name="T26" fmla="*/ 7 w 30"/>
                <a:gd name="T27" fmla="*/ 27 h 30"/>
                <a:gd name="T28" fmla="*/ 10 w 30"/>
                <a:gd name="T29" fmla="*/ 28 h 30"/>
                <a:gd name="T30" fmla="*/ 12 w 30"/>
                <a:gd name="T31" fmla="*/ 28 h 30"/>
                <a:gd name="T32" fmla="*/ 15 w 30"/>
                <a:gd name="T33" fmla="*/ 30 h 30"/>
                <a:gd name="T34" fmla="*/ 18 w 30"/>
                <a:gd name="T35" fmla="*/ 28 h 30"/>
                <a:gd name="T36" fmla="*/ 21 w 30"/>
                <a:gd name="T37" fmla="*/ 28 h 30"/>
                <a:gd name="T38" fmla="*/ 24 w 30"/>
                <a:gd name="T39" fmla="*/ 27 h 30"/>
                <a:gd name="T40" fmla="*/ 26 w 30"/>
                <a:gd name="T41" fmla="*/ 25 h 30"/>
                <a:gd name="T42" fmla="*/ 28 w 30"/>
                <a:gd name="T43" fmla="*/ 23 h 30"/>
                <a:gd name="T44" fmla="*/ 29 w 30"/>
                <a:gd name="T45" fmla="*/ 20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7" y="2"/>
                  </a:lnTo>
                  <a:lnTo>
                    <a:pt x="4" y="4"/>
                  </a:lnTo>
                  <a:lnTo>
                    <a:pt x="3" y="6"/>
                  </a:lnTo>
                  <a:lnTo>
                    <a:pt x="1" y="9"/>
                  </a:lnTo>
                  <a:lnTo>
                    <a:pt x="0" y="11"/>
                  </a:lnTo>
                  <a:lnTo>
                    <a:pt x="0" y="15"/>
                  </a:lnTo>
                  <a:lnTo>
                    <a:pt x="0" y="18"/>
                  </a:lnTo>
                  <a:lnTo>
                    <a:pt x="1" y="20"/>
                  </a:lnTo>
                  <a:lnTo>
                    <a:pt x="3" y="23"/>
                  </a:lnTo>
                  <a:lnTo>
                    <a:pt x="4" y="25"/>
                  </a:lnTo>
                  <a:lnTo>
                    <a:pt x="7" y="27"/>
                  </a:lnTo>
                  <a:lnTo>
                    <a:pt x="10" y="28"/>
                  </a:lnTo>
                  <a:lnTo>
                    <a:pt x="12" y="28"/>
                  </a:lnTo>
                  <a:lnTo>
                    <a:pt x="15" y="30"/>
                  </a:lnTo>
                  <a:lnTo>
                    <a:pt x="18" y="28"/>
                  </a:lnTo>
                  <a:lnTo>
                    <a:pt x="21" y="28"/>
                  </a:lnTo>
                  <a:lnTo>
                    <a:pt x="24" y="27"/>
                  </a:lnTo>
                  <a:lnTo>
                    <a:pt x="26" y="25"/>
                  </a:lnTo>
                  <a:lnTo>
                    <a:pt x="28" y="23"/>
                  </a:lnTo>
                  <a:lnTo>
                    <a:pt x="29" y="20"/>
                  </a:lnTo>
                  <a:lnTo>
                    <a:pt x="30" y="18"/>
                  </a:lnTo>
                  <a:lnTo>
                    <a:pt x="30" y="15"/>
                  </a:lnTo>
                  <a:lnTo>
                    <a:pt x="30" y="11"/>
                  </a:lnTo>
                  <a:lnTo>
                    <a:pt x="29" y="9"/>
                  </a:lnTo>
                  <a:lnTo>
                    <a:pt x="28" y="6"/>
                  </a:lnTo>
                  <a:lnTo>
                    <a:pt x="26" y="4"/>
                  </a:lnTo>
                  <a:lnTo>
                    <a:pt x="24"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957" name="Freeform 88">
            <a:extLst>
              <a:ext uri="{FF2B5EF4-FFF2-40B4-BE49-F238E27FC236}">
                <a16:creationId xmlns:a16="http://schemas.microsoft.com/office/drawing/2014/main" id="{B03F3461-40B0-4530-9A9E-FC5EFD104929}"/>
              </a:ext>
            </a:extLst>
          </p:cNvPr>
          <p:cNvSpPr>
            <a:spLocks noChangeAspect="1" noEditPoints="1"/>
          </p:cNvSpPr>
          <p:nvPr/>
        </p:nvSpPr>
        <p:spPr bwMode="auto">
          <a:xfrm>
            <a:off x="7064228" y="5944848"/>
            <a:ext cx="297873" cy="308144"/>
          </a:xfrm>
          <a:custGeom>
            <a:avLst/>
            <a:gdLst>
              <a:gd name="T0" fmla="*/ 652 w 869"/>
              <a:gd name="T1" fmla="*/ 463 h 897"/>
              <a:gd name="T2" fmla="*/ 555 w 869"/>
              <a:gd name="T3" fmla="*/ 419 h 897"/>
              <a:gd name="T4" fmla="*/ 443 w 869"/>
              <a:gd name="T5" fmla="*/ 463 h 897"/>
              <a:gd name="T6" fmla="*/ 346 w 869"/>
              <a:gd name="T7" fmla="*/ 419 h 897"/>
              <a:gd name="T8" fmla="*/ 234 w 869"/>
              <a:gd name="T9" fmla="*/ 463 h 897"/>
              <a:gd name="T10" fmla="*/ 136 w 869"/>
              <a:gd name="T11" fmla="*/ 419 h 897"/>
              <a:gd name="T12" fmla="*/ 46 w 869"/>
              <a:gd name="T13" fmla="*/ 437 h 897"/>
              <a:gd name="T14" fmla="*/ 80 w 869"/>
              <a:gd name="T15" fmla="*/ 330 h 897"/>
              <a:gd name="T16" fmla="*/ 164 w 869"/>
              <a:gd name="T17" fmla="*/ 223 h 897"/>
              <a:gd name="T18" fmla="*/ 279 w 869"/>
              <a:gd name="T19" fmla="*/ 151 h 897"/>
              <a:gd name="T20" fmla="*/ 416 w 869"/>
              <a:gd name="T21" fmla="*/ 119 h 897"/>
              <a:gd name="T22" fmla="*/ 557 w 869"/>
              <a:gd name="T23" fmla="*/ 138 h 897"/>
              <a:gd name="T24" fmla="*/ 678 w 869"/>
              <a:gd name="T25" fmla="*/ 202 h 897"/>
              <a:gd name="T26" fmla="*/ 771 w 869"/>
              <a:gd name="T27" fmla="*/ 300 h 897"/>
              <a:gd name="T28" fmla="*/ 827 w 869"/>
              <a:gd name="T29" fmla="*/ 427 h 897"/>
              <a:gd name="T30" fmla="*/ 761 w 869"/>
              <a:gd name="T31" fmla="*/ 418 h 897"/>
              <a:gd name="T32" fmla="*/ 443 w 869"/>
              <a:gd name="T33" fmla="*/ 2 h 897"/>
              <a:gd name="T34" fmla="*/ 422 w 869"/>
              <a:gd name="T35" fmla="*/ 6 h 897"/>
              <a:gd name="T36" fmla="*/ 334 w 869"/>
              <a:gd name="T37" fmla="*/ 101 h 897"/>
              <a:gd name="T38" fmla="*/ 185 w 869"/>
              <a:gd name="T39" fmla="*/ 169 h 897"/>
              <a:gd name="T40" fmla="*/ 72 w 869"/>
              <a:gd name="T41" fmla="*/ 285 h 897"/>
              <a:gd name="T42" fmla="*/ 9 w 869"/>
              <a:gd name="T43" fmla="*/ 437 h 897"/>
              <a:gd name="T44" fmla="*/ 5 w 869"/>
              <a:gd name="T45" fmla="*/ 534 h 897"/>
              <a:gd name="T46" fmla="*/ 26 w 869"/>
              <a:gd name="T47" fmla="*/ 534 h 897"/>
              <a:gd name="T48" fmla="*/ 39 w 869"/>
              <a:gd name="T49" fmla="*/ 488 h 897"/>
              <a:gd name="T50" fmla="*/ 88 w 869"/>
              <a:gd name="T51" fmla="*/ 452 h 897"/>
              <a:gd name="T52" fmla="*/ 171 w 869"/>
              <a:gd name="T53" fmla="*/ 463 h 897"/>
              <a:gd name="T54" fmla="*/ 208 w 869"/>
              <a:gd name="T55" fmla="*/ 510 h 897"/>
              <a:gd name="T56" fmla="*/ 219 w 869"/>
              <a:gd name="T57" fmla="*/ 537 h 897"/>
              <a:gd name="T58" fmla="*/ 239 w 869"/>
              <a:gd name="T59" fmla="*/ 529 h 897"/>
              <a:gd name="T60" fmla="*/ 255 w 869"/>
              <a:gd name="T61" fmla="*/ 484 h 897"/>
              <a:gd name="T62" fmla="*/ 311 w 869"/>
              <a:gd name="T63" fmla="*/ 450 h 897"/>
              <a:gd name="T64" fmla="*/ 380 w 869"/>
              <a:gd name="T65" fmla="*/ 463 h 897"/>
              <a:gd name="T66" fmla="*/ 418 w 869"/>
              <a:gd name="T67" fmla="*/ 510 h 897"/>
              <a:gd name="T68" fmla="*/ 429 w 869"/>
              <a:gd name="T69" fmla="*/ 858 h 897"/>
              <a:gd name="T70" fmla="*/ 473 w 869"/>
              <a:gd name="T71" fmla="*/ 893 h 897"/>
              <a:gd name="T72" fmla="*/ 530 w 869"/>
              <a:gd name="T73" fmla="*/ 888 h 897"/>
              <a:gd name="T74" fmla="*/ 566 w 869"/>
              <a:gd name="T75" fmla="*/ 845 h 897"/>
              <a:gd name="T76" fmla="*/ 562 w 869"/>
              <a:gd name="T77" fmla="*/ 810 h 897"/>
              <a:gd name="T78" fmla="*/ 542 w 869"/>
              <a:gd name="T79" fmla="*/ 814 h 897"/>
              <a:gd name="T80" fmla="*/ 520 w 869"/>
              <a:gd name="T81" fmla="*/ 859 h 897"/>
              <a:gd name="T82" fmla="*/ 458 w 869"/>
              <a:gd name="T83" fmla="*/ 847 h 897"/>
              <a:gd name="T84" fmla="*/ 456 w 869"/>
              <a:gd name="T85" fmla="*/ 496 h 897"/>
              <a:gd name="T86" fmla="*/ 504 w 869"/>
              <a:gd name="T87" fmla="*/ 455 h 897"/>
              <a:gd name="T88" fmla="*/ 575 w 869"/>
              <a:gd name="T89" fmla="*/ 455 h 897"/>
              <a:gd name="T90" fmla="*/ 622 w 869"/>
              <a:gd name="T91" fmla="*/ 496 h 897"/>
              <a:gd name="T92" fmla="*/ 633 w 869"/>
              <a:gd name="T93" fmla="*/ 534 h 897"/>
              <a:gd name="T94" fmla="*/ 655 w 869"/>
              <a:gd name="T95" fmla="*/ 534 h 897"/>
              <a:gd name="T96" fmla="*/ 665 w 869"/>
              <a:gd name="T97" fmla="*/ 496 h 897"/>
              <a:gd name="T98" fmla="*/ 713 w 869"/>
              <a:gd name="T99" fmla="*/ 455 h 897"/>
              <a:gd name="T100" fmla="*/ 796 w 869"/>
              <a:gd name="T101" fmla="*/ 457 h 897"/>
              <a:gd name="T102" fmla="*/ 837 w 869"/>
              <a:gd name="T103" fmla="*/ 504 h 897"/>
              <a:gd name="T104" fmla="*/ 847 w 869"/>
              <a:gd name="T105" fmla="*/ 537 h 897"/>
              <a:gd name="T106" fmla="*/ 868 w 869"/>
              <a:gd name="T107" fmla="*/ 529 h 897"/>
              <a:gd name="T108" fmla="*/ 849 w 869"/>
              <a:gd name="T109" fmla="*/ 397 h 897"/>
              <a:gd name="T110" fmla="*/ 773 w 869"/>
              <a:gd name="T111" fmla="*/ 252 h 897"/>
              <a:gd name="T112" fmla="*/ 649 w 869"/>
              <a:gd name="T113" fmla="*/ 147 h 897"/>
              <a:gd name="T114" fmla="*/ 493 w 869"/>
              <a:gd name="T115" fmla="*/ 94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9" h="897">
                <a:moveTo>
                  <a:pt x="749" y="418"/>
                </a:moveTo>
                <a:lnTo>
                  <a:pt x="733" y="419"/>
                </a:lnTo>
                <a:lnTo>
                  <a:pt x="717" y="422"/>
                </a:lnTo>
                <a:lnTo>
                  <a:pt x="702" y="428"/>
                </a:lnTo>
                <a:lnTo>
                  <a:pt x="688" y="434"/>
                </a:lnTo>
                <a:lnTo>
                  <a:pt x="675" y="443"/>
                </a:lnTo>
                <a:lnTo>
                  <a:pt x="663" y="452"/>
                </a:lnTo>
                <a:lnTo>
                  <a:pt x="652" y="463"/>
                </a:lnTo>
                <a:lnTo>
                  <a:pt x="644" y="475"/>
                </a:lnTo>
                <a:lnTo>
                  <a:pt x="635" y="463"/>
                </a:lnTo>
                <a:lnTo>
                  <a:pt x="625" y="452"/>
                </a:lnTo>
                <a:lnTo>
                  <a:pt x="613" y="443"/>
                </a:lnTo>
                <a:lnTo>
                  <a:pt x="600" y="434"/>
                </a:lnTo>
                <a:lnTo>
                  <a:pt x="586" y="428"/>
                </a:lnTo>
                <a:lnTo>
                  <a:pt x="571" y="422"/>
                </a:lnTo>
                <a:lnTo>
                  <a:pt x="555" y="419"/>
                </a:lnTo>
                <a:lnTo>
                  <a:pt x="539" y="418"/>
                </a:lnTo>
                <a:lnTo>
                  <a:pt x="523" y="419"/>
                </a:lnTo>
                <a:lnTo>
                  <a:pt x="507" y="422"/>
                </a:lnTo>
                <a:lnTo>
                  <a:pt x="492" y="428"/>
                </a:lnTo>
                <a:lnTo>
                  <a:pt x="478" y="434"/>
                </a:lnTo>
                <a:lnTo>
                  <a:pt x="465" y="443"/>
                </a:lnTo>
                <a:lnTo>
                  <a:pt x="453" y="452"/>
                </a:lnTo>
                <a:lnTo>
                  <a:pt x="443" y="463"/>
                </a:lnTo>
                <a:lnTo>
                  <a:pt x="434" y="475"/>
                </a:lnTo>
                <a:lnTo>
                  <a:pt x="425" y="463"/>
                </a:lnTo>
                <a:lnTo>
                  <a:pt x="416" y="452"/>
                </a:lnTo>
                <a:lnTo>
                  <a:pt x="404" y="443"/>
                </a:lnTo>
                <a:lnTo>
                  <a:pt x="391" y="434"/>
                </a:lnTo>
                <a:lnTo>
                  <a:pt x="376" y="428"/>
                </a:lnTo>
                <a:lnTo>
                  <a:pt x="361" y="422"/>
                </a:lnTo>
                <a:lnTo>
                  <a:pt x="346" y="419"/>
                </a:lnTo>
                <a:lnTo>
                  <a:pt x="329" y="418"/>
                </a:lnTo>
                <a:lnTo>
                  <a:pt x="313" y="419"/>
                </a:lnTo>
                <a:lnTo>
                  <a:pt x="298" y="422"/>
                </a:lnTo>
                <a:lnTo>
                  <a:pt x="283" y="428"/>
                </a:lnTo>
                <a:lnTo>
                  <a:pt x="268" y="434"/>
                </a:lnTo>
                <a:lnTo>
                  <a:pt x="255" y="443"/>
                </a:lnTo>
                <a:lnTo>
                  <a:pt x="243" y="452"/>
                </a:lnTo>
                <a:lnTo>
                  <a:pt x="234" y="463"/>
                </a:lnTo>
                <a:lnTo>
                  <a:pt x="225" y="475"/>
                </a:lnTo>
                <a:lnTo>
                  <a:pt x="217" y="463"/>
                </a:lnTo>
                <a:lnTo>
                  <a:pt x="206" y="452"/>
                </a:lnTo>
                <a:lnTo>
                  <a:pt x="194" y="443"/>
                </a:lnTo>
                <a:lnTo>
                  <a:pt x="181" y="434"/>
                </a:lnTo>
                <a:lnTo>
                  <a:pt x="167" y="428"/>
                </a:lnTo>
                <a:lnTo>
                  <a:pt x="152" y="422"/>
                </a:lnTo>
                <a:lnTo>
                  <a:pt x="136" y="419"/>
                </a:lnTo>
                <a:lnTo>
                  <a:pt x="120" y="418"/>
                </a:lnTo>
                <a:lnTo>
                  <a:pt x="107" y="418"/>
                </a:lnTo>
                <a:lnTo>
                  <a:pt x="96" y="420"/>
                </a:lnTo>
                <a:lnTo>
                  <a:pt x="85" y="422"/>
                </a:lnTo>
                <a:lnTo>
                  <a:pt x="74" y="425"/>
                </a:lnTo>
                <a:lnTo>
                  <a:pt x="65" y="429"/>
                </a:lnTo>
                <a:lnTo>
                  <a:pt x="55" y="433"/>
                </a:lnTo>
                <a:lnTo>
                  <a:pt x="46" y="437"/>
                </a:lnTo>
                <a:lnTo>
                  <a:pt x="38" y="444"/>
                </a:lnTo>
                <a:lnTo>
                  <a:pt x="42" y="427"/>
                </a:lnTo>
                <a:lnTo>
                  <a:pt x="46" y="410"/>
                </a:lnTo>
                <a:lnTo>
                  <a:pt x="52" y="394"/>
                </a:lnTo>
                <a:lnTo>
                  <a:pt x="58" y="376"/>
                </a:lnTo>
                <a:lnTo>
                  <a:pt x="65" y="361"/>
                </a:lnTo>
                <a:lnTo>
                  <a:pt x="72" y="345"/>
                </a:lnTo>
                <a:lnTo>
                  <a:pt x="80" y="330"/>
                </a:lnTo>
                <a:lnTo>
                  <a:pt x="88" y="315"/>
                </a:lnTo>
                <a:lnTo>
                  <a:pt x="98" y="300"/>
                </a:lnTo>
                <a:lnTo>
                  <a:pt x="107" y="286"/>
                </a:lnTo>
                <a:lnTo>
                  <a:pt x="117" y="274"/>
                </a:lnTo>
                <a:lnTo>
                  <a:pt x="128" y="260"/>
                </a:lnTo>
                <a:lnTo>
                  <a:pt x="140" y="247"/>
                </a:lnTo>
                <a:lnTo>
                  <a:pt x="151" y="235"/>
                </a:lnTo>
                <a:lnTo>
                  <a:pt x="164" y="223"/>
                </a:lnTo>
                <a:lnTo>
                  <a:pt x="177" y="213"/>
                </a:lnTo>
                <a:lnTo>
                  <a:pt x="190" y="202"/>
                </a:lnTo>
                <a:lnTo>
                  <a:pt x="204" y="191"/>
                </a:lnTo>
                <a:lnTo>
                  <a:pt x="219" y="182"/>
                </a:lnTo>
                <a:lnTo>
                  <a:pt x="233" y="173"/>
                </a:lnTo>
                <a:lnTo>
                  <a:pt x="248" y="164"/>
                </a:lnTo>
                <a:lnTo>
                  <a:pt x="264" y="157"/>
                </a:lnTo>
                <a:lnTo>
                  <a:pt x="279" y="151"/>
                </a:lnTo>
                <a:lnTo>
                  <a:pt x="295" y="144"/>
                </a:lnTo>
                <a:lnTo>
                  <a:pt x="312" y="138"/>
                </a:lnTo>
                <a:lnTo>
                  <a:pt x="328" y="133"/>
                </a:lnTo>
                <a:lnTo>
                  <a:pt x="345" y="129"/>
                </a:lnTo>
                <a:lnTo>
                  <a:pt x="362" y="125"/>
                </a:lnTo>
                <a:lnTo>
                  <a:pt x="380" y="123"/>
                </a:lnTo>
                <a:lnTo>
                  <a:pt x="398" y="121"/>
                </a:lnTo>
                <a:lnTo>
                  <a:pt x="416" y="119"/>
                </a:lnTo>
                <a:lnTo>
                  <a:pt x="434" y="118"/>
                </a:lnTo>
                <a:lnTo>
                  <a:pt x="452" y="119"/>
                </a:lnTo>
                <a:lnTo>
                  <a:pt x="470" y="121"/>
                </a:lnTo>
                <a:lnTo>
                  <a:pt x="489" y="123"/>
                </a:lnTo>
                <a:lnTo>
                  <a:pt x="506" y="125"/>
                </a:lnTo>
                <a:lnTo>
                  <a:pt x="523" y="129"/>
                </a:lnTo>
                <a:lnTo>
                  <a:pt x="540" y="133"/>
                </a:lnTo>
                <a:lnTo>
                  <a:pt x="557" y="138"/>
                </a:lnTo>
                <a:lnTo>
                  <a:pt x="573" y="144"/>
                </a:lnTo>
                <a:lnTo>
                  <a:pt x="589" y="151"/>
                </a:lnTo>
                <a:lnTo>
                  <a:pt x="605" y="157"/>
                </a:lnTo>
                <a:lnTo>
                  <a:pt x="621" y="164"/>
                </a:lnTo>
                <a:lnTo>
                  <a:pt x="636" y="173"/>
                </a:lnTo>
                <a:lnTo>
                  <a:pt x="650" y="182"/>
                </a:lnTo>
                <a:lnTo>
                  <a:pt x="665" y="191"/>
                </a:lnTo>
                <a:lnTo>
                  <a:pt x="678" y="202"/>
                </a:lnTo>
                <a:lnTo>
                  <a:pt x="692" y="213"/>
                </a:lnTo>
                <a:lnTo>
                  <a:pt x="705" y="223"/>
                </a:lnTo>
                <a:lnTo>
                  <a:pt x="717" y="235"/>
                </a:lnTo>
                <a:lnTo>
                  <a:pt x="729" y="247"/>
                </a:lnTo>
                <a:lnTo>
                  <a:pt x="740" y="260"/>
                </a:lnTo>
                <a:lnTo>
                  <a:pt x="751" y="274"/>
                </a:lnTo>
                <a:lnTo>
                  <a:pt x="762" y="286"/>
                </a:lnTo>
                <a:lnTo>
                  <a:pt x="771" y="300"/>
                </a:lnTo>
                <a:lnTo>
                  <a:pt x="781" y="315"/>
                </a:lnTo>
                <a:lnTo>
                  <a:pt x="789" y="330"/>
                </a:lnTo>
                <a:lnTo>
                  <a:pt x="797" y="345"/>
                </a:lnTo>
                <a:lnTo>
                  <a:pt x="804" y="361"/>
                </a:lnTo>
                <a:lnTo>
                  <a:pt x="811" y="376"/>
                </a:lnTo>
                <a:lnTo>
                  <a:pt x="817" y="394"/>
                </a:lnTo>
                <a:lnTo>
                  <a:pt x="823" y="410"/>
                </a:lnTo>
                <a:lnTo>
                  <a:pt x="827" y="427"/>
                </a:lnTo>
                <a:lnTo>
                  <a:pt x="830" y="444"/>
                </a:lnTo>
                <a:lnTo>
                  <a:pt x="823" y="437"/>
                </a:lnTo>
                <a:lnTo>
                  <a:pt x="814" y="433"/>
                </a:lnTo>
                <a:lnTo>
                  <a:pt x="804" y="429"/>
                </a:lnTo>
                <a:lnTo>
                  <a:pt x="795" y="425"/>
                </a:lnTo>
                <a:lnTo>
                  <a:pt x="784" y="422"/>
                </a:lnTo>
                <a:lnTo>
                  <a:pt x="772" y="420"/>
                </a:lnTo>
                <a:lnTo>
                  <a:pt x="761" y="418"/>
                </a:lnTo>
                <a:lnTo>
                  <a:pt x="749" y="418"/>
                </a:lnTo>
                <a:close/>
                <a:moveTo>
                  <a:pt x="449" y="91"/>
                </a:moveTo>
                <a:lnTo>
                  <a:pt x="449" y="15"/>
                </a:lnTo>
                <a:lnTo>
                  <a:pt x="449" y="11"/>
                </a:lnTo>
                <a:lnTo>
                  <a:pt x="448" y="8"/>
                </a:lnTo>
                <a:lnTo>
                  <a:pt x="447" y="6"/>
                </a:lnTo>
                <a:lnTo>
                  <a:pt x="445" y="4"/>
                </a:lnTo>
                <a:lnTo>
                  <a:pt x="443" y="2"/>
                </a:lnTo>
                <a:lnTo>
                  <a:pt x="440" y="1"/>
                </a:lnTo>
                <a:lnTo>
                  <a:pt x="437" y="0"/>
                </a:lnTo>
                <a:lnTo>
                  <a:pt x="434" y="0"/>
                </a:lnTo>
                <a:lnTo>
                  <a:pt x="432" y="0"/>
                </a:lnTo>
                <a:lnTo>
                  <a:pt x="429" y="1"/>
                </a:lnTo>
                <a:lnTo>
                  <a:pt x="426" y="2"/>
                </a:lnTo>
                <a:lnTo>
                  <a:pt x="423" y="4"/>
                </a:lnTo>
                <a:lnTo>
                  <a:pt x="422" y="6"/>
                </a:lnTo>
                <a:lnTo>
                  <a:pt x="420" y="8"/>
                </a:lnTo>
                <a:lnTo>
                  <a:pt x="420" y="11"/>
                </a:lnTo>
                <a:lnTo>
                  <a:pt x="419" y="15"/>
                </a:lnTo>
                <a:lnTo>
                  <a:pt x="419" y="91"/>
                </a:lnTo>
                <a:lnTo>
                  <a:pt x="398" y="92"/>
                </a:lnTo>
                <a:lnTo>
                  <a:pt x="376" y="94"/>
                </a:lnTo>
                <a:lnTo>
                  <a:pt x="356" y="97"/>
                </a:lnTo>
                <a:lnTo>
                  <a:pt x="334" y="101"/>
                </a:lnTo>
                <a:lnTo>
                  <a:pt x="314" y="107"/>
                </a:lnTo>
                <a:lnTo>
                  <a:pt x="295" y="113"/>
                </a:lnTo>
                <a:lnTo>
                  <a:pt x="274" y="121"/>
                </a:lnTo>
                <a:lnTo>
                  <a:pt x="256" y="128"/>
                </a:lnTo>
                <a:lnTo>
                  <a:pt x="237" y="138"/>
                </a:lnTo>
                <a:lnTo>
                  <a:pt x="219" y="147"/>
                </a:lnTo>
                <a:lnTo>
                  <a:pt x="202" y="158"/>
                </a:lnTo>
                <a:lnTo>
                  <a:pt x="185" y="169"/>
                </a:lnTo>
                <a:lnTo>
                  <a:pt x="168" y="182"/>
                </a:lnTo>
                <a:lnTo>
                  <a:pt x="152" y="194"/>
                </a:lnTo>
                <a:lnTo>
                  <a:pt x="137" y="207"/>
                </a:lnTo>
                <a:lnTo>
                  <a:pt x="122" y="222"/>
                </a:lnTo>
                <a:lnTo>
                  <a:pt x="109" y="237"/>
                </a:lnTo>
                <a:lnTo>
                  <a:pt x="96" y="252"/>
                </a:lnTo>
                <a:lnTo>
                  <a:pt x="83" y="268"/>
                </a:lnTo>
                <a:lnTo>
                  <a:pt x="72" y="285"/>
                </a:lnTo>
                <a:lnTo>
                  <a:pt x="60" y="303"/>
                </a:lnTo>
                <a:lnTo>
                  <a:pt x="51" y="321"/>
                </a:lnTo>
                <a:lnTo>
                  <a:pt x="41" y="339"/>
                </a:lnTo>
                <a:lnTo>
                  <a:pt x="34" y="358"/>
                </a:lnTo>
                <a:lnTo>
                  <a:pt x="26" y="377"/>
                </a:lnTo>
                <a:lnTo>
                  <a:pt x="19" y="397"/>
                </a:lnTo>
                <a:lnTo>
                  <a:pt x="13" y="417"/>
                </a:lnTo>
                <a:lnTo>
                  <a:pt x="9" y="437"/>
                </a:lnTo>
                <a:lnTo>
                  <a:pt x="5" y="459"/>
                </a:lnTo>
                <a:lnTo>
                  <a:pt x="3" y="480"/>
                </a:lnTo>
                <a:lnTo>
                  <a:pt x="0" y="502"/>
                </a:lnTo>
                <a:lnTo>
                  <a:pt x="0" y="523"/>
                </a:lnTo>
                <a:lnTo>
                  <a:pt x="0" y="526"/>
                </a:lnTo>
                <a:lnTo>
                  <a:pt x="1" y="529"/>
                </a:lnTo>
                <a:lnTo>
                  <a:pt x="3" y="532"/>
                </a:lnTo>
                <a:lnTo>
                  <a:pt x="5" y="534"/>
                </a:lnTo>
                <a:lnTo>
                  <a:pt x="7" y="536"/>
                </a:lnTo>
                <a:lnTo>
                  <a:pt x="9" y="537"/>
                </a:lnTo>
                <a:lnTo>
                  <a:pt x="12" y="538"/>
                </a:lnTo>
                <a:lnTo>
                  <a:pt x="15" y="538"/>
                </a:lnTo>
                <a:lnTo>
                  <a:pt x="19" y="538"/>
                </a:lnTo>
                <a:lnTo>
                  <a:pt x="21" y="537"/>
                </a:lnTo>
                <a:lnTo>
                  <a:pt x="24" y="536"/>
                </a:lnTo>
                <a:lnTo>
                  <a:pt x="26" y="534"/>
                </a:lnTo>
                <a:lnTo>
                  <a:pt x="27" y="532"/>
                </a:lnTo>
                <a:lnTo>
                  <a:pt x="29" y="529"/>
                </a:lnTo>
                <a:lnTo>
                  <a:pt x="30" y="526"/>
                </a:lnTo>
                <a:lnTo>
                  <a:pt x="30" y="523"/>
                </a:lnTo>
                <a:lnTo>
                  <a:pt x="30" y="513"/>
                </a:lnTo>
                <a:lnTo>
                  <a:pt x="32" y="504"/>
                </a:lnTo>
                <a:lnTo>
                  <a:pt x="35" y="495"/>
                </a:lnTo>
                <a:lnTo>
                  <a:pt x="39" y="488"/>
                </a:lnTo>
                <a:lnTo>
                  <a:pt x="43" y="481"/>
                </a:lnTo>
                <a:lnTo>
                  <a:pt x="47" y="475"/>
                </a:lnTo>
                <a:lnTo>
                  <a:pt x="53" y="470"/>
                </a:lnTo>
                <a:lnTo>
                  <a:pt x="59" y="465"/>
                </a:lnTo>
                <a:lnTo>
                  <a:pt x="67" y="461"/>
                </a:lnTo>
                <a:lnTo>
                  <a:pt x="73" y="457"/>
                </a:lnTo>
                <a:lnTo>
                  <a:pt x="81" y="455"/>
                </a:lnTo>
                <a:lnTo>
                  <a:pt x="88" y="452"/>
                </a:lnTo>
                <a:lnTo>
                  <a:pt x="104" y="449"/>
                </a:lnTo>
                <a:lnTo>
                  <a:pt x="120" y="448"/>
                </a:lnTo>
                <a:lnTo>
                  <a:pt x="130" y="448"/>
                </a:lnTo>
                <a:lnTo>
                  <a:pt x="138" y="450"/>
                </a:lnTo>
                <a:lnTo>
                  <a:pt x="147" y="452"/>
                </a:lnTo>
                <a:lnTo>
                  <a:pt x="156" y="455"/>
                </a:lnTo>
                <a:lnTo>
                  <a:pt x="163" y="459"/>
                </a:lnTo>
                <a:lnTo>
                  <a:pt x="171" y="463"/>
                </a:lnTo>
                <a:lnTo>
                  <a:pt x="178" y="467"/>
                </a:lnTo>
                <a:lnTo>
                  <a:pt x="185" y="473"/>
                </a:lnTo>
                <a:lnTo>
                  <a:pt x="190" y="478"/>
                </a:lnTo>
                <a:lnTo>
                  <a:pt x="195" y="484"/>
                </a:lnTo>
                <a:lnTo>
                  <a:pt x="200" y="490"/>
                </a:lnTo>
                <a:lnTo>
                  <a:pt x="203" y="496"/>
                </a:lnTo>
                <a:lnTo>
                  <a:pt x="206" y="504"/>
                </a:lnTo>
                <a:lnTo>
                  <a:pt x="208" y="510"/>
                </a:lnTo>
                <a:lnTo>
                  <a:pt x="209" y="517"/>
                </a:lnTo>
                <a:lnTo>
                  <a:pt x="210" y="523"/>
                </a:lnTo>
                <a:lnTo>
                  <a:pt x="210" y="526"/>
                </a:lnTo>
                <a:lnTo>
                  <a:pt x="211" y="529"/>
                </a:lnTo>
                <a:lnTo>
                  <a:pt x="212" y="532"/>
                </a:lnTo>
                <a:lnTo>
                  <a:pt x="215" y="534"/>
                </a:lnTo>
                <a:lnTo>
                  <a:pt x="217" y="536"/>
                </a:lnTo>
                <a:lnTo>
                  <a:pt x="219" y="537"/>
                </a:lnTo>
                <a:lnTo>
                  <a:pt x="222" y="538"/>
                </a:lnTo>
                <a:lnTo>
                  <a:pt x="225" y="538"/>
                </a:lnTo>
                <a:lnTo>
                  <a:pt x="227" y="538"/>
                </a:lnTo>
                <a:lnTo>
                  <a:pt x="231" y="537"/>
                </a:lnTo>
                <a:lnTo>
                  <a:pt x="233" y="536"/>
                </a:lnTo>
                <a:lnTo>
                  <a:pt x="236" y="534"/>
                </a:lnTo>
                <a:lnTo>
                  <a:pt x="237" y="532"/>
                </a:lnTo>
                <a:lnTo>
                  <a:pt x="239" y="529"/>
                </a:lnTo>
                <a:lnTo>
                  <a:pt x="239" y="526"/>
                </a:lnTo>
                <a:lnTo>
                  <a:pt x="240" y="523"/>
                </a:lnTo>
                <a:lnTo>
                  <a:pt x="240" y="517"/>
                </a:lnTo>
                <a:lnTo>
                  <a:pt x="241" y="510"/>
                </a:lnTo>
                <a:lnTo>
                  <a:pt x="243" y="504"/>
                </a:lnTo>
                <a:lnTo>
                  <a:pt x="247" y="496"/>
                </a:lnTo>
                <a:lnTo>
                  <a:pt x="250" y="490"/>
                </a:lnTo>
                <a:lnTo>
                  <a:pt x="255" y="484"/>
                </a:lnTo>
                <a:lnTo>
                  <a:pt x="259" y="478"/>
                </a:lnTo>
                <a:lnTo>
                  <a:pt x="266" y="473"/>
                </a:lnTo>
                <a:lnTo>
                  <a:pt x="271" y="467"/>
                </a:lnTo>
                <a:lnTo>
                  <a:pt x="279" y="463"/>
                </a:lnTo>
                <a:lnTo>
                  <a:pt x="286" y="459"/>
                </a:lnTo>
                <a:lnTo>
                  <a:pt x="294" y="455"/>
                </a:lnTo>
                <a:lnTo>
                  <a:pt x="302" y="452"/>
                </a:lnTo>
                <a:lnTo>
                  <a:pt x="311" y="450"/>
                </a:lnTo>
                <a:lnTo>
                  <a:pt x="320" y="448"/>
                </a:lnTo>
                <a:lnTo>
                  <a:pt x="329" y="448"/>
                </a:lnTo>
                <a:lnTo>
                  <a:pt x="339" y="448"/>
                </a:lnTo>
                <a:lnTo>
                  <a:pt x="348" y="450"/>
                </a:lnTo>
                <a:lnTo>
                  <a:pt x="357" y="452"/>
                </a:lnTo>
                <a:lnTo>
                  <a:pt x="365" y="455"/>
                </a:lnTo>
                <a:lnTo>
                  <a:pt x="373" y="459"/>
                </a:lnTo>
                <a:lnTo>
                  <a:pt x="380" y="463"/>
                </a:lnTo>
                <a:lnTo>
                  <a:pt x="388" y="467"/>
                </a:lnTo>
                <a:lnTo>
                  <a:pt x="393" y="473"/>
                </a:lnTo>
                <a:lnTo>
                  <a:pt x="400" y="478"/>
                </a:lnTo>
                <a:lnTo>
                  <a:pt x="404" y="484"/>
                </a:lnTo>
                <a:lnTo>
                  <a:pt x="409" y="490"/>
                </a:lnTo>
                <a:lnTo>
                  <a:pt x="413" y="496"/>
                </a:lnTo>
                <a:lnTo>
                  <a:pt x="416" y="504"/>
                </a:lnTo>
                <a:lnTo>
                  <a:pt x="418" y="510"/>
                </a:lnTo>
                <a:lnTo>
                  <a:pt x="419" y="517"/>
                </a:lnTo>
                <a:lnTo>
                  <a:pt x="419" y="523"/>
                </a:lnTo>
                <a:lnTo>
                  <a:pt x="419" y="823"/>
                </a:lnTo>
                <a:lnTo>
                  <a:pt x="420" y="830"/>
                </a:lnTo>
                <a:lnTo>
                  <a:pt x="421" y="838"/>
                </a:lnTo>
                <a:lnTo>
                  <a:pt x="423" y="845"/>
                </a:lnTo>
                <a:lnTo>
                  <a:pt x="425" y="852"/>
                </a:lnTo>
                <a:lnTo>
                  <a:pt x="429" y="858"/>
                </a:lnTo>
                <a:lnTo>
                  <a:pt x="432" y="864"/>
                </a:lnTo>
                <a:lnTo>
                  <a:pt x="436" y="870"/>
                </a:lnTo>
                <a:lnTo>
                  <a:pt x="441" y="875"/>
                </a:lnTo>
                <a:lnTo>
                  <a:pt x="447" y="881"/>
                </a:lnTo>
                <a:lnTo>
                  <a:pt x="452" y="885"/>
                </a:lnTo>
                <a:lnTo>
                  <a:pt x="459" y="888"/>
                </a:lnTo>
                <a:lnTo>
                  <a:pt x="465" y="891"/>
                </a:lnTo>
                <a:lnTo>
                  <a:pt x="473" y="893"/>
                </a:lnTo>
                <a:lnTo>
                  <a:pt x="479" y="896"/>
                </a:lnTo>
                <a:lnTo>
                  <a:pt x="486" y="897"/>
                </a:lnTo>
                <a:lnTo>
                  <a:pt x="494" y="897"/>
                </a:lnTo>
                <a:lnTo>
                  <a:pt x="501" y="897"/>
                </a:lnTo>
                <a:lnTo>
                  <a:pt x="509" y="896"/>
                </a:lnTo>
                <a:lnTo>
                  <a:pt x="516" y="893"/>
                </a:lnTo>
                <a:lnTo>
                  <a:pt x="523" y="891"/>
                </a:lnTo>
                <a:lnTo>
                  <a:pt x="530" y="888"/>
                </a:lnTo>
                <a:lnTo>
                  <a:pt x="536" y="885"/>
                </a:lnTo>
                <a:lnTo>
                  <a:pt x="542" y="881"/>
                </a:lnTo>
                <a:lnTo>
                  <a:pt x="547" y="875"/>
                </a:lnTo>
                <a:lnTo>
                  <a:pt x="552" y="870"/>
                </a:lnTo>
                <a:lnTo>
                  <a:pt x="556" y="864"/>
                </a:lnTo>
                <a:lnTo>
                  <a:pt x="560" y="858"/>
                </a:lnTo>
                <a:lnTo>
                  <a:pt x="564" y="852"/>
                </a:lnTo>
                <a:lnTo>
                  <a:pt x="566" y="845"/>
                </a:lnTo>
                <a:lnTo>
                  <a:pt x="568" y="838"/>
                </a:lnTo>
                <a:lnTo>
                  <a:pt x="569" y="830"/>
                </a:lnTo>
                <a:lnTo>
                  <a:pt x="569" y="823"/>
                </a:lnTo>
                <a:lnTo>
                  <a:pt x="569" y="820"/>
                </a:lnTo>
                <a:lnTo>
                  <a:pt x="568" y="816"/>
                </a:lnTo>
                <a:lnTo>
                  <a:pt x="567" y="814"/>
                </a:lnTo>
                <a:lnTo>
                  <a:pt x="565" y="812"/>
                </a:lnTo>
                <a:lnTo>
                  <a:pt x="562" y="810"/>
                </a:lnTo>
                <a:lnTo>
                  <a:pt x="560" y="809"/>
                </a:lnTo>
                <a:lnTo>
                  <a:pt x="557" y="808"/>
                </a:lnTo>
                <a:lnTo>
                  <a:pt x="554" y="808"/>
                </a:lnTo>
                <a:lnTo>
                  <a:pt x="551" y="808"/>
                </a:lnTo>
                <a:lnTo>
                  <a:pt x="549" y="809"/>
                </a:lnTo>
                <a:lnTo>
                  <a:pt x="545" y="810"/>
                </a:lnTo>
                <a:lnTo>
                  <a:pt x="543" y="812"/>
                </a:lnTo>
                <a:lnTo>
                  <a:pt x="542" y="814"/>
                </a:lnTo>
                <a:lnTo>
                  <a:pt x="540" y="816"/>
                </a:lnTo>
                <a:lnTo>
                  <a:pt x="540" y="820"/>
                </a:lnTo>
                <a:lnTo>
                  <a:pt x="539" y="823"/>
                </a:lnTo>
                <a:lnTo>
                  <a:pt x="538" y="831"/>
                </a:lnTo>
                <a:lnTo>
                  <a:pt x="536" y="840"/>
                </a:lnTo>
                <a:lnTo>
                  <a:pt x="531" y="847"/>
                </a:lnTo>
                <a:lnTo>
                  <a:pt x="526" y="854"/>
                </a:lnTo>
                <a:lnTo>
                  <a:pt x="520" y="859"/>
                </a:lnTo>
                <a:lnTo>
                  <a:pt x="512" y="863"/>
                </a:lnTo>
                <a:lnTo>
                  <a:pt x="504" y="867"/>
                </a:lnTo>
                <a:lnTo>
                  <a:pt x="494" y="867"/>
                </a:lnTo>
                <a:lnTo>
                  <a:pt x="485" y="867"/>
                </a:lnTo>
                <a:lnTo>
                  <a:pt x="477" y="863"/>
                </a:lnTo>
                <a:lnTo>
                  <a:pt x="469" y="859"/>
                </a:lnTo>
                <a:lnTo>
                  <a:pt x="463" y="854"/>
                </a:lnTo>
                <a:lnTo>
                  <a:pt x="458" y="847"/>
                </a:lnTo>
                <a:lnTo>
                  <a:pt x="453" y="840"/>
                </a:lnTo>
                <a:lnTo>
                  <a:pt x="450" y="831"/>
                </a:lnTo>
                <a:lnTo>
                  <a:pt x="449" y="823"/>
                </a:lnTo>
                <a:lnTo>
                  <a:pt x="449" y="523"/>
                </a:lnTo>
                <a:lnTo>
                  <a:pt x="450" y="517"/>
                </a:lnTo>
                <a:lnTo>
                  <a:pt x="451" y="510"/>
                </a:lnTo>
                <a:lnTo>
                  <a:pt x="453" y="503"/>
                </a:lnTo>
                <a:lnTo>
                  <a:pt x="456" y="496"/>
                </a:lnTo>
                <a:lnTo>
                  <a:pt x="460" y="490"/>
                </a:lnTo>
                <a:lnTo>
                  <a:pt x="464" y="484"/>
                </a:lnTo>
                <a:lnTo>
                  <a:pt x="469" y="478"/>
                </a:lnTo>
                <a:lnTo>
                  <a:pt x="475" y="473"/>
                </a:lnTo>
                <a:lnTo>
                  <a:pt x="481" y="467"/>
                </a:lnTo>
                <a:lnTo>
                  <a:pt x="489" y="463"/>
                </a:lnTo>
                <a:lnTo>
                  <a:pt x="496" y="459"/>
                </a:lnTo>
                <a:lnTo>
                  <a:pt x="504" y="455"/>
                </a:lnTo>
                <a:lnTo>
                  <a:pt x="512" y="452"/>
                </a:lnTo>
                <a:lnTo>
                  <a:pt x="521" y="450"/>
                </a:lnTo>
                <a:lnTo>
                  <a:pt x="529" y="448"/>
                </a:lnTo>
                <a:lnTo>
                  <a:pt x="539" y="448"/>
                </a:lnTo>
                <a:lnTo>
                  <a:pt x="549" y="448"/>
                </a:lnTo>
                <a:lnTo>
                  <a:pt x="558" y="450"/>
                </a:lnTo>
                <a:lnTo>
                  <a:pt x="567" y="452"/>
                </a:lnTo>
                <a:lnTo>
                  <a:pt x="575" y="455"/>
                </a:lnTo>
                <a:lnTo>
                  <a:pt x="583" y="459"/>
                </a:lnTo>
                <a:lnTo>
                  <a:pt x="590" y="463"/>
                </a:lnTo>
                <a:lnTo>
                  <a:pt x="597" y="467"/>
                </a:lnTo>
                <a:lnTo>
                  <a:pt x="603" y="473"/>
                </a:lnTo>
                <a:lnTo>
                  <a:pt x="608" y="478"/>
                </a:lnTo>
                <a:lnTo>
                  <a:pt x="614" y="484"/>
                </a:lnTo>
                <a:lnTo>
                  <a:pt x="618" y="490"/>
                </a:lnTo>
                <a:lnTo>
                  <a:pt x="622" y="496"/>
                </a:lnTo>
                <a:lnTo>
                  <a:pt x="625" y="504"/>
                </a:lnTo>
                <a:lnTo>
                  <a:pt x="627" y="510"/>
                </a:lnTo>
                <a:lnTo>
                  <a:pt x="629" y="517"/>
                </a:lnTo>
                <a:lnTo>
                  <a:pt x="629" y="523"/>
                </a:lnTo>
                <a:lnTo>
                  <a:pt x="629" y="526"/>
                </a:lnTo>
                <a:lnTo>
                  <a:pt x="630" y="529"/>
                </a:lnTo>
                <a:lnTo>
                  <a:pt x="632" y="532"/>
                </a:lnTo>
                <a:lnTo>
                  <a:pt x="633" y="534"/>
                </a:lnTo>
                <a:lnTo>
                  <a:pt x="635" y="536"/>
                </a:lnTo>
                <a:lnTo>
                  <a:pt x="638" y="537"/>
                </a:lnTo>
                <a:lnTo>
                  <a:pt x="641" y="538"/>
                </a:lnTo>
                <a:lnTo>
                  <a:pt x="644" y="538"/>
                </a:lnTo>
                <a:lnTo>
                  <a:pt x="647" y="538"/>
                </a:lnTo>
                <a:lnTo>
                  <a:pt x="650" y="537"/>
                </a:lnTo>
                <a:lnTo>
                  <a:pt x="652" y="536"/>
                </a:lnTo>
                <a:lnTo>
                  <a:pt x="655" y="534"/>
                </a:lnTo>
                <a:lnTo>
                  <a:pt x="657" y="532"/>
                </a:lnTo>
                <a:lnTo>
                  <a:pt x="658" y="529"/>
                </a:lnTo>
                <a:lnTo>
                  <a:pt x="659" y="526"/>
                </a:lnTo>
                <a:lnTo>
                  <a:pt x="659" y="523"/>
                </a:lnTo>
                <a:lnTo>
                  <a:pt x="659" y="517"/>
                </a:lnTo>
                <a:lnTo>
                  <a:pt x="661" y="510"/>
                </a:lnTo>
                <a:lnTo>
                  <a:pt x="663" y="504"/>
                </a:lnTo>
                <a:lnTo>
                  <a:pt x="665" y="496"/>
                </a:lnTo>
                <a:lnTo>
                  <a:pt x="670" y="490"/>
                </a:lnTo>
                <a:lnTo>
                  <a:pt x="674" y="484"/>
                </a:lnTo>
                <a:lnTo>
                  <a:pt x="679" y="478"/>
                </a:lnTo>
                <a:lnTo>
                  <a:pt x="685" y="473"/>
                </a:lnTo>
                <a:lnTo>
                  <a:pt x="691" y="467"/>
                </a:lnTo>
                <a:lnTo>
                  <a:pt x="697" y="463"/>
                </a:lnTo>
                <a:lnTo>
                  <a:pt x="705" y="459"/>
                </a:lnTo>
                <a:lnTo>
                  <a:pt x="713" y="455"/>
                </a:lnTo>
                <a:lnTo>
                  <a:pt x="721" y="452"/>
                </a:lnTo>
                <a:lnTo>
                  <a:pt x="731" y="450"/>
                </a:lnTo>
                <a:lnTo>
                  <a:pt x="739" y="448"/>
                </a:lnTo>
                <a:lnTo>
                  <a:pt x="749" y="448"/>
                </a:lnTo>
                <a:lnTo>
                  <a:pt x="765" y="449"/>
                </a:lnTo>
                <a:lnTo>
                  <a:pt x="780" y="452"/>
                </a:lnTo>
                <a:lnTo>
                  <a:pt x="788" y="455"/>
                </a:lnTo>
                <a:lnTo>
                  <a:pt x="796" y="457"/>
                </a:lnTo>
                <a:lnTo>
                  <a:pt x="802" y="461"/>
                </a:lnTo>
                <a:lnTo>
                  <a:pt x="809" y="465"/>
                </a:lnTo>
                <a:lnTo>
                  <a:pt x="815" y="470"/>
                </a:lnTo>
                <a:lnTo>
                  <a:pt x="822" y="475"/>
                </a:lnTo>
                <a:lnTo>
                  <a:pt x="826" y="481"/>
                </a:lnTo>
                <a:lnTo>
                  <a:pt x="830" y="488"/>
                </a:lnTo>
                <a:lnTo>
                  <a:pt x="833" y="495"/>
                </a:lnTo>
                <a:lnTo>
                  <a:pt x="837" y="504"/>
                </a:lnTo>
                <a:lnTo>
                  <a:pt x="838" y="513"/>
                </a:lnTo>
                <a:lnTo>
                  <a:pt x="839" y="523"/>
                </a:lnTo>
                <a:lnTo>
                  <a:pt x="839" y="526"/>
                </a:lnTo>
                <a:lnTo>
                  <a:pt x="840" y="529"/>
                </a:lnTo>
                <a:lnTo>
                  <a:pt x="841" y="532"/>
                </a:lnTo>
                <a:lnTo>
                  <a:pt x="843" y="534"/>
                </a:lnTo>
                <a:lnTo>
                  <a:pt x="845" y="536"/>
                </a:lnTo>
                <a:lnTo>
                  <a:pt x="847" y="537"/>
                </a:lnTo>
                <a:lnTo>
                  <a:pt x="850" y="538"/>
                </a:lnTo>
                <a:lnTo>
                  <a:pt x="854" y="538"/>
                </a:lnTo>
                <a:lnTo>
                  <a:pt x="857" y="538"/>
                </a:lnTo>
                <a:lnTo>
                  <a:pt x="859" y="537"/>
                </a:lnTo>
                <a:lnTo>
                  <a:pt x="862" y="536"/>
                </a:lnTo>
                <a:lnTo>
                  <a:pt x="864" y="534"/>
                </a:lnTo>
                <a:lnTo>
                  <a:pt x="865" y="532"/>
                </a:lnTo>
                <a:lnTo>
                  <a:pt x="868" y="529"/>
                </a:lnTo>
                <a:lnTo>
                  <a:pt x="869" y="526"/>
                </a:lnTo>
                <a:lnTo>
                  <a:pt x="869" y="523"/>
                </a:lnTo>
                <a:lnTo>
                  <a:pt x="868" y="502"/>
                </a:lnTo>
                <a:lnTo>
                  <a:pt x="867" y="480"/>
                </a:lnTo>
                <a:lnTo>
                  <a:pt x="863" y="459"/>
                </a:lnTo>
                <a:lnTo>
                  <a:pt x="860" y="437"/>
                </a:lnTo>
                <a:lnTo>
                  <a:pt x="856" y="417"/>
                </a:lnTo>
                <a:lnTo>
                  <a:pt x="849" y="397"/>
                </a:lnTo>
                <a:lnTo>
                  <a:pt x="843" y="377"/>
                </a:lnTo>
                <a:lnTo>
                  <a:pt x="835" y="358"/>
                </a:lnTo>
                <a:lnTo>
                  <a:pt x="827" y="339"/>
                </a:lnTo>
                <a:lnTo>
                  <a:pt x="818" y="321"/>
                </a:lnTo>
                <a:lnTo>
                  <a:pt x="808" y="303"/>
                </a:lnTo>
                <a:lnTo>
                  <a:pt x="797" y="285"/>
                </a:lnTo>
                <a:lnTo>
                  <a:pt x="785" y="268"/>
                </a:lnTo>
                <a:lnTo>
                  <a:pt x="773" y="252"/>
                </a:lnTo>
                <a:lnTo>
                  <a:pt x="759" y="237"/>
                </a:lnTo>
                <a:lnTo>
                  <a:pt x="747" y="222"/>
                </a:lnTo>
                <a:lnTo>
                  <a:pt x="732" y="207"/>
                </a:lnTo>
                <a:lnTo>
                  <a:pt x="717" y="194"/>
                </a:lnTo>
                <a:lnTo>
                  <a:pt x="701" y="182"/>
                </a:lnTo>
                <a:lnTo>
                  <a:pt x="685" y="169"/>
                </a:lnTo>
                <a:lnTo>
                  <a:pt x="667" y="158"/>
                </a:lnTo>
                <a:lnTo>
                  <a:pt x="649" y="147"/>
                </a:lnTo>
                <a:lnTo>
                  <a:pt x="631" y="138"/>
                </a:lnTo>
                <a:lnTo>
                  <a:pt x="613" y="128"/>
                </a:lnTo>
                <a:lnTo>
                  <a:pt x="594" y="121"/>
                </a:lnTo>
                <a:lnTo>
                  <a:pt x="574" y="113"/>
                </a:lnTo>
                <a:lnTo>
                  <a:pt x="554" y="107"/>
                </a:lnTo>
                <a:lnTo>
                  <a:pt x="535" y="101"/>
                </a:lnTo>
                <a:lnTo>
                  <a:pt x="513" y="97"/>
                </a:lnTo>
                <a:lnTo>
                  <a:pt x="493" y="94"/>
                </a:lnTo>
                <a:lnTo>
                  <a:pt x="471" y="92"/>
                </a:lnTo>
                <a:lnTo>
                  <a:pt x="449" y="91"/>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958" name="Group 62">
            <a:extLst>
              <a:ext uri="{FF2B5EF4-FFF2-40B4-BE49-F238E27FC236}">
                <a16:creationId xmlns:a16="http://schemas.microsoft.com/office/drawing/2014/main" id="{3E67CDFA-8322-411A-9FA3-DFBC2E2C4560}"/>
              </a:ext>
            </a:extLst>
          </p:cNvPr>
          <p:cNvGrpSpPr>
            <a:grpSpLocks noChangeAspect="1"/>
          </p:cNvGrpSpPr>
          <p:nvPr/>
        </p:nvGrpSpPr>
        <p:grpSpPr>
          <a:xfrm>
            <a:off x="7461493" y="5944848"/>
            <a:ext cx="306432" cy="308144"/>
            <a:chOff x="906463" y="1339850"/>
            <a:chExt cx="284162" cy="285750"/>
          </a:xfrm>
          <a:solidFill>
            <a:schemeClr val="bg2"/>
          </a:solidFill>
          <a:effectLst/>
        </p:grpSpPr>
        <p:sp>
          <p:nvSpPr>
            <p:cNvPr id="959" name="Freeform 89">
              <a:extLst>
                <a:ext uri="{FF2B5EF4-FFF2-40B4-BE49-F238E27FC236}">
                  <a16:creationId xmlns:a16="http://schemas.microsoft.com/office/drawing/2014/main" id="{A9B159EB-7081-4CCE-B8D6-ECB0E46C34C4}"/>
                </a:ext>
              </a:extLst>
            </p:cNvPr>
            <p:cNvSpPr>
              <a:spLocks noEditPoints="1"/>
            </p:cNvSpPr>
            <p:nvPr/>
          </p:nvSpPr>
          <p:spPr bwMode="auto">
            <a:xfrm>
              <a:off x="906463" y="1435100"/>
              <a:ext cx="246063" cy="190500"/>
            </a:xfrm>
            <a:custGeom>
              <a:avLst/>
              <a:gdLst>
                <a:gd name="T0" fmla="*/ 173 w 778"/>
                <a:gd name="T1" fmla="*/ 565 h 599"/>
                <a:gd name="T2" fmla="*/ 110 w 778"/>
                <a:gd name="T3" fmla="*/ 538 h 599"/>
                <a:gd name="T4" fmla="*/ 61 w 778"/>
                <a:gd name="T5" fmla="*/ 488 h 599"/>
                <a:gd name="T6" fmla="*/ 33 w 778"/>
                <a:gd name="T7" fmla="*/ 425 h 599"/>
                <a:gd name="T8" fmla="*/ 33 w 778"/>
                <a:gd name="T9" fmla="*/ 357 h 599"/>
                <a:gd name="T10" fmla="*/ 58 w 778"/>
                <a:gd name="T11" fmla="*/ 297 h 599"/>
                <a:gd name="T12" fmla="*/ 104 w 778"/>
                <a:gd name="T13" fmla="*/ 248 h 599"/>
                <a:gd name="T14" fmla="*/ 163 w 778"/>
                <a:gd name="T15" fmla="*/ 216 h 599"/>
                <a:gd name="T16" fmla="*/ 204 w 778"/>
                <a:gd name="T17" fmla="*/ 206 h 599"/>
                <a:gd name="T18" fmla="*/ 215 w 778"/>
                <a:gd name="T19" fmla="*/ 162 h 599"/>
                <a:gd name="T20" fmla="*/ 247 w 778"/>
                <a:gd name="T21" fmla="*/ 102 h 599"/>
                <a:gd name="T22" fmla="*/ 299 w 778"/>
                <a:gd name="T23" fmla="*/ 58 h 599"/>
                <a:gd name="T24" fmla="*/ 366 w 778"/>
                <a:gd name="T25" fmla="*/ 33 h 599"/>
                <a:gd name="T26" fmla="*/ 423 w 778"/>
                <a:gd name="T27" fmla="*/ 31 h 599"/>
                <a:gd name="T28" fmla="*/ 471 w 778"/>
                <a:gd name="T29" fmla="*/ 47 h 599"/>
                <a:gd name="T30" fmla="*/ 520 w 778"/>
                <a:gd name="T31" fmla="*/ 88 h 599"/>
                <a:gd name="T32" fmla="*/ 552 w 778"/>
                <a:gd name="T33" fmla="*/ 135 h 599"/>
                <a:gd name="T34" fmla="*/ 576 w 778"/>
                <a:gd name="T35" fmla="*/ 178 h 599"/>
                <a:gd name="T36" fmla="*/ 617 w 778"/>
                <a:gd name="T37" fmla="*/ 180 h 599"/>
                <a:gd name="T38" fmla="*/ 668 w 778"/>
                <a:gd name="T39" fmla="*/ 200 h 599"/>
                <a:gd name="T40" fmla="*/ 686 w 778"/>
                <a:gd name="T41" fmla="*/ 219 h 599"/>
                <a:gd name="T42" fmla="*/ 697 w 778"/>
                <a:gd name="T43" fmla="*/ 254 h 599"/>
                <a:gd name="T44" fmla="*/ 689 w 778"/>
                <a:gd name="T45" fmla="*/ 294 h 599"/>
                <a:gd name="T46" fmla="*/ 695 w 778"/>
                <a:gd name="T47" fmla="*/ 313 h 599"/>
                <a:gd name="T48" fmla="*/ 716 w 778"/>
                <a:gd name="T49" fmla="*/ 333 h 599"/>
                <a:gd name="T50" fmla="*/ 744 w 778"/>
                <a:gd name="T51" fmla="*/ 396 h 599"/>
                <a:gd name="T52" fmla="*/ 745 w 778"/>
                <a:gd name="T53" fmla="*/ 462 h 599"/>
                <a:gd name="T54" fmla="*/ 725 w 778"/>
                <a:gd name="T55" fmla="*/ 510 h 599"/>
                <a:gd name="T56" fmla="*/ 688 w 778"/>
                <a:gd name="T57" fmla="*/ 546 h 599"/>
                <a:gd name="T58" fmla="*/ 639 w 778"/>
                <a:gd name="T59" fmla="*/ 566 h 599"/>
                <a:gd name="T60" fmla="*/ 725 w 778"/>
                <a:gd name="T61" fmla="*/ 283 h 599"/>
                <a:gd name="T62" fmla="*/ 725 w 778"/>
                <a:gd name="T63" fmla="*/ 235 h 599"/>
                <a:gd name="T64" fmla="*/ 707 w 778"/>
                <a:gd name="T65" fmla="*/ 196 h 599"/>
                <a:gd name="T66" fmla="*/ 683 w 778"/>
                <a:gd name="T67" fmla="*/ 174 h 599"/>
                <a:gd name="T68" fmla="*/ 645 w 778"/>
                <a:gd name="T69" fmla="*/ 155 h 599"/>
                <a:gd name="T70" fmla="*/ 586 w 778"/>
                <a:gd name="T71" fmla="*/ 133 h 599"/>
                <a:gd name="T72" fmla="*/ 548 w 778"/>
                <a:gd name="T73" fmla="*/ 74 h 599"/>
                <a:gd name="T74" fmla="*/ 501 w 778"/>
                <a:gd name="T75" fmla="*/ 31 h 599"/>
                <a:gd name="T76" fmla="*/ 447 w 778"/>
                <a:gd name="T77" fmla="*/ 7 h 599"/>
                <a:gd name="T78" fmla="*/ 382 w 778"/>
                <a:gd name="T79" fmla="*/ 1 h 599"/>
                <a:gd name="T80" fmla="*/ 304 w 778"/>
                <a:gd name="T81" fmla="*/ 22 h 599"/>
                <a:gd name="T82" fmla="*/ 240 w 778"/>
                <a:gd name="T83" fmla="*/ 64 h 599"/>
                <a:gd name="T84" fmla="*/ 197 w 778"/>
                <a:gd name="T85" fmla="*/ 125 h 599"/>
                <a:gd name="T86" fmla="*/ 163 w 778"/>
                <a:gd name="T87" fmla="*/ 185 h 599"/>
                <a:gd name="T88" fmla="*/ 94 w 778"/>
                <a:gd name="T89" fmla="*/ 218 h 599"/>
                <a:gd name="T90" fmla="*/ 41 w 778"/>
                <a:gd name="T91" fmla="*/ 269 h 599"/>
                <a:gd name="T92" fmla="*/ 7 w 778"/>
                <a:gd name="T93" fmla="*/ 335 h 599"/>
                <a:gd name="T94" fmla="*/ 0 w 778"/>
                <a:gd name="T95" fmla="*/ 400 h 599"/>
                <a:gd name="T96" fmla="*/ 10 w 778"/>
                <a:gd name="T97" fmla="*/ 451 h 599"/>
                <a:gd name="T98" fmla="*/ 49 w 778"/>
                <a:gd name="T99" fmla="*/ 522 h 599"/>
                <a:gd name="T100" fmla="*/ 111 w 778"/>
                <a:gd name="T101" fmla="*/ 573 h 599"/>
                <a:gd name="T102" fmla="*/ 178 w 778"/>
                <a:gd name="T103" fmla="*/ 596 h 599"/>
                <a:gd name="T104" fmla="*/ 612 w 778"/>
                <a:gd name="T105" fmla="*/ 599 h 599"/>
                <a:gd name="T106" fmla="*/ 677 w 778"/>
                <a:gd name="T107" fmla="*/ 586 h 599"/>
                <a:gd name="T108" fmla="*/ 729 w 778"/>
                <a:gd name="T109" fmla="*/ 551 h 599"/>
                <a:gd name="T110" fmla="*/ 764 w 778"/>
                <a:gd name="T111" fmla="*/ 499 h 599"/>
                <a:gd name="T112" fmla="*/ 778 w 778"/>
                <a:gd name="T113" fmla="*/ 435 h 599"/>
                <a:gd name="T114" fmla="*/ 765 w 778"/>
                <a:gd name="T115" fmla="*/ 361 h 599"/>
                <a:gd name="T116" fmla="*/ 747 w 778"/>
                <a:gd name="T117" fmla="*/ 326 h 599"/>
                <a:gd name="T118" fmla="*/ 720 w 778"/>
                <a:gd name="T119" fmla="*/ 296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8" h="599">
                  <a:moveTo>
                    <a:pt x="612" y="569"/>
                  </a:moveTo>
                  <a:lnTo>
                    <a:pt x="209" y="569"/>
                  </a:lnTo>
                  <a:lnTo>
                    <a:pt x="192" y="569"/>
                  </a:lnTo>
                  <a:lnTo>
                    <a:pt x="173" y="565"/>
                  </a:lnTo>
                  <a:lnTo>
                    <a:pt x="157" y="561"/>
                  </a:lnTo>
                  <a:lnTo>
                    <a:pt x="140" y="555"/>
                  </a:lnTo>
                  <a:lnTo>
                    <a:pt x="125" y="547"/>
                  </a:lnTo>
                  <a:lnTo>
                    <a:pt x="110" y="538"/>
                  </a:lnTo>
                  <a:lnTo>
                    <a:pt x="96" y="527"/>
                  </a:lnTo>
                  <a:lnTo>
                    <a:pt x="83" y="515"/>
                  </a:lnTo>
                  <a:lnTo>
                    <a:pt x="72" y="502"/>
                  </a:lnTo>
                  <a:lnTo>
                    <a:pt x="61" y="488"/>
                  </a:lnTo>
                  <a:lnTo>
                    <a:pt x="51" y="473"/>
                  </a:lnTo>
                  <a:lnTo>
                    <a:pt x="44" y="458"/>
                  </a:lnTo>
                  <a:lnTo>
                    <a:pt x="37" y="441"/>
                  </a:lnTo>
                  <a:lnTo>
                    <a:pt x="33" y="425"/>
                  </a:lnTo>
                  <a:lnTo>
                    <a:pt x="30" y="407"/>
                  </a:lnTo>
                  <a:lnTo>
                    <a:pt x="30" y="390"/>
                  </a:lnTo>
                  <a:lnTo>
                    <a:pt x="30" y="373"/>
                  </a:lnTo>
                  <a:lnTo>
                    <a:pt x="33" y="357"/>
                  </a:lnTo>
                  <a:lnTo>
                    <a:pt x="37" y="341"/>
                  </a:lnTo>
                  <a:lnTo>
                    <a:pt x="43" y="326"/>
                  </a:lnTo>
                  <a:lnTo>
                    <a:pt x="50" y="311"/>
                  </a:lnTo>
                  <a:lnTo>
                    <a:pt x="58" y="297"/>
                  </a:lnTo>
                  <a:lnTo>
                    <a:pt x="68" y="283"/>
                  </a:lnTo>
                  <a:lnTo>
                    <a:pt x="79" y="270"/>
                  </a:lnTo>
                  <a:lnTo>
                    <a:pt x="91" y="258"/>
                  </a:lnTo>
                  <a:lnTo>
                    <a:pt x="104" y="248"/>
                  </a:lnTo>
                  <a:lnTo>
                    <a:pt x="117" y="238"/>
                  </a:lnTo>
                  <a:lnTo>
                    <a:pt x="132" y="229"/>
                  </a:lnTo>
                  <a:lnTo>
                    <a:pt x="147" y="222"/>
                  </a:lnTo>
                  <a:lnTo>
                    <a:pt x="163" y="216"/>
                  </a:lnTo>
                  <a:lnTo>
                    <a:pt x="179" y="212"/>
                  </a:lnTo>
                  <a:lnTo>
                    <a:pt x="196" y="210"/>
                  </a:lnTo>
                  <a:lnTo>
                    <a:pt x="200" y="209"/>
                  </a:lnTo>
                  <a:lnTo>
                    <a:pt x="204" y="206"/>
                  </a:lnTo>
                  <a:lnTo>
                    <a:pt x="208" y="201"/>
                  </a:lnTo>
                  <a:lnTo>
                    <a:pt x="209" y="196"/>
                  </a:lnTo>
                  <a:lnTo>
                    <a:pt x="212" y="179"/>
                  </a:lnTo>
                  <a:lnTo>
                    <a:pt x="215" y="162"/>
                  </a:lnTo>
                  <a:lnTo>
                    <a:pt x="222" y="146"/>
                  </a:lnTo>
                  <a:lnTo>
                    <a:pt x="228" y="130"/>
                  </a:lnTo>
                  <a:lnTo>
                    <a:pt x="236" y="116"/>
                  </a:lnTo>
                  <a:lnTo>
                    <a:pt x="247" y="102"/>
                  </a:lnTo>
                  <a:lnTo>
                    <a:pt x="258" y="89"/>
                  </a:lnTo>
                  <a:lnTo>
                    <a:pt x="271" y="77"/>
                  </a:lnTo>
                  <a:lnTo>
                    <a:pt x="284" y="67"/>
                  </a:lnTo>
                  <a:lnTo>
                    <a:pt x="299" y="58"/>
                  </a:lnTo>
                  <a:lnTo>
                    <a:pt x="314" y="49"/>
                  </a:lnTo>
                  <a:lnTo>
                    <a:pt x="331" y="43"/>
                  </a:lnTo>
                  <a:lnTo>
                    <a:pt x="348" y="38"/>
                  </a:lnTo>
                  <a:lnTo>
                    <a:pt x="366" y="33"/>
                  </a:lnTo>
                  <a:lnTo>
                    <a:pt x="384" y="31"/>
                  </a:lnTo>
                  <a:lnTo>
                    <a:pt x="404" y="30"/>
                  </a:lnTo>
                  <a:lnTo>
                    <a:pt x="413" y="30"/>
                  </a:lnTo>
                  <a:lnTo>
                    <a:pt x="423" y="31"/>
                  </a:lnTo>
                  <a:lnTo>
                    <a:pt x="431" y="33"/>
                  </a:lnTo>
                  <a:lnTo>
                    <a:pt x="440" y="36"/>
                  </a:lnTo>
                  <a:lnTo>
                    <a:pt x="456" y="41"/>
                  </a:lnTo>
                  <a:lnTo>
                    <a:pt x="471" y="47"/>
                  </a:lnTo>
                  <a:lnTo>
                    <a:pt x="485" y="56"/>
                  </a:lnTo>
                  <a:lnTo>
                    <a:pt x="498" y="67"/>
                  </a:lnTo>
                  <a:lnTo>
                    <a:pt x="510" y="77"/>
                  </a:lnTo>
                  <a:lnTo>
                    <a:pt x="520" y="88"/>
                  </a:lnTo>
                  <a:lnTo>
                    <a:pt x="530" y="100"/>
                  </a:lnTo>
                  <a:lnTo>
                    <a:pt x="538" y="112"/>
                  </a:lnTo>
                  <a:lnTo>
                    <a:pt x="546" y="123"/>
                  </a:lnTo>
                  <a:lnTo>
                    <a:pt x="552" y="135"/>
                  </a:lnTo>
                  <a:lnTo>
                    <a:pt x="563" y="155"/>
                  </a:lnTo>
                  <a:lnTo>
                    <a:pt x="569" y="172"/>
                  </a:lnTo>
                  <a:lnTo>
                    <a:pt x="572" y="175"/>
                  </a:lnTo>
                  <a:lnTo>
                    <a:pt x="576" y="178"/>
                  </a:lnTo>
                  <a:lnTo>
                    <a:pt x="580" y="180"/>
                  </a:lnTo>
                  <a:lnTo>
                    <a:pt x="586" y="180"/>
                  </a:lnTo>
                  <a:lnTo>
                    <a:pt x="601" y="179"/>
                  </a:lnTo>
                  <a:lnTo>
                    <a:pt x="617" y="180"/>
                  </a:lnTo>
                  <a:lnTo>
                    <a:pt x="630" y="183"/>
                  </a:lnTo>
                  <a:lnTo>
                    <a:pt x="644" y="188"/>
                  </a:lnTo>
                  <a:lnTo>
                    <a:pt x="657" y="193"/>
                  </a:lnTo>
                  <a:lnTo>
                    <a:pt x="668" y="200"/>
                  </a:lnTo>
                  <a:lnTo>
                    <a:pt x="673" y="205"/>
                  </a:lnTo>
                  <a:lnTo>
                    <a:pt x="678" y="209"/>
                  </a:lnTo>
                  <a:lnTo>
                    <a:pt x="682" y="213"/>
                  </a:lnTo>
                  <a:lnTo>
                    <a:pt x="686" y="219"/>
                  </a:lnTo>
                  <a:lnTo>
                    <a:pt x="690" y="227"/>
                  </a:lnTo>
                  <a:lnTo>
                    <a:pt x="694" y="236"/>
                  </a:lnTo>
                  <a:lnTo>
                    <a:pt x="696" y="244"/>
                  </a:lnTo>
                  <a:lnTo>
                    <a:pt x="697" y="254"/>
                  </a:lnTo>
                  <a:lnTo>
                    <a:pt x="697" y="264"/>
                  </a:lnTo>
                  <a:lnTo>
                    <a:pt x="696" y="273"/>
                  </a:lnTo>
                  <a:lnTo>
                    <a:pt x="693" y="284"/>
                  </a:lnTo>
                  <a:lnTo>
                    <a:pt x="689" y="294"/>
                  </a:lnTo>
                  <a:lnTo>
                    <a:pt x="688" y="299"/>
                  </a:lnTo>
                  <a:lnTo>
                    <a:pt x="688" y="304"/>
                  </a:lnTo>
                  <a:lnTo>
                    <a:pt x="690" y="310"/>
                  </a:lnTo>
                  <a:lnTo>
                    <a:pt x="695" y="313"/>
                  </a:lnTo>
                  <a:lnTo>
                    <a:pt x="700" y="317"/>
                  </a:lnTo>
                  <a:lnTo>
                    <a:pt x="707" y="322"/>
                  </a:lnTo>
                  <a:lnTo>
                    <a:pt x="712" y="328"/>
                  </a:lnTo>
                  <a:lnTo>
                    <a:pt x="716" y="333"/>
                  </a:lnTo>
                  <a:lnTo>
                    <a:pt x="726" y="347"/>
                  </a:lnTo>
                  <a:lnTo>
                    <a:pt x="733" y="362"/>
                  </a:lnTo>
                  <a:lnTo>
                    <a:pt x="740" y="378"/>
                  </a:lnTo>
                  <a:lnTo>
                    <a:pt x="744" y="396"/>
                  </a:lnTo>
                  <a:lnTo>
                    <a:pt x="747" y="416"/>
                  </a:lnTo>
                  <a:lnTo>
                    <a:pt x="748" y="435"/>
                  </a:lnTo>
                  <a:lnTo>
                    <a:pt x="747" y="449"/>
                  </a:lnTo>
                  <a:lnTo>
                    <a:pt x="745" y="462"/>
                  </a:lnTo>
                  <a:lnTo>
                    <a:pt x="742" y="474"/>
                  </a:lnTo>
                  <a:lnTo>
                    <a:pt x="738" y="487"/>
                  </a:lnTo>
                  <a:lnTo>
                    <a:pt x="731" y="499"/>
                  </a:lnTo>
                  <a:lnTo>
                    <a:pt x="725" y="510"/>
                  </a:lnTo>
                  <a:lnTo>
                    <a:pt x="717" y="520"/>
                  </a:lnTo>
                  <a:lnTo>
                    <a:pt x="708" y="530"/>
                  </a:lnTo>
                  <a:lnTo>
                    <a:pt x="698" y="539"/>
                  </a:lnTo>
                  <a:lnTo>
                    <a:pt x="688" y="546"/>
                  </a:lnTo>
                  <a:lnTo>
                    <a:pt x="677" y="553"/>
                  </a:lnTo>
                  <a:lnTo>
                    <a:pt x="665" y="559"/>
                  </a:lnTo>
                  <a:lnTo>
                    <a:pt x="652" y="563"/>
                  </a:lnTo>
                  <a:lnTo>
                    <a:pt x="639" y="566"/>
                  </a:lnTo>
                  <a:lnTo>
                    <a:pt x="626" y="569"/>
                  </a:lnTo>
                  <a:lnTo>
                    <a:pt x="612" y="569"/>
                  </a:lnTo>
                  <a:close/>
                  <a:moveTo>
                    <a:pt x="720" y="296"/>
                  </a:moveTo>
                  <a:lnTo>
                    <a:pt x="725" y="283"/>
                  </a:lnTo>
                  <a:lnTo>
                    <a:pt x="727" y="271"/>
                  </a:lnTo>
                  <a:lnTo>
                    <a:pt x="727" y="258"/>
                  </a:lnTo>
                  <a:lnTo>
                    <a:pt x="727" y="246"/>
                  </a:lnTo>
                  <a:lnTo>
                    <a:pt x="725" y="235"/>
                  </a:lnTo>
                  <a:lnTo>
                    <a:pt x="721" y="224"/>
                  </a:lnTo>
                  <a:lnTo>
                    <a:pt x="717" y="213"/>
                  </a:lnTo>
                  <a:lnTo>
                    <a:pt x="711" y="203"/>
                  </a:lnTo>
                  <a:lnTo>
                    <a:pt x="707" y="196"/>
                  </a:lnTo>
                  <a:lnTo>
                    <a:pt x="701" y="190"/>
                  </a:lnTo>
                  <a:lnTo>
                    <a:pt x="696" y="184"/>
                  </a:lnTo>
                  <a:lnTo>
                    <a:pt x="689" y="179"/>
                  </a:lnTo>
                  <a:lnTo>
                    <a:pt x="683" y="174"/>
                  </a:lnTo>
                  <a:lnTo>
                    <a:pt x="677" y="169"/>
                  </a:lnTo>
                  <a:lnTo>
                    <a:pt x="669" y="165"/>
                  </a:lnTo>
                  <a:lnTo>
                    <a:pt x="662" y="162"/>
                  </a:lnTo>
                  <a:lnTo>
                    <a:pt x="645" y="155"/>
                  </a:lnTo>
                  <a:lnTo>
                    <a:pt x="629" y="152"/>
                  </a:lnTo>
                  <a:lnTo>
                    <a:pt x="611" y="150"/>
                  </a:lnTo>
                  <a:lnTo>
                    <a:pt x="593" y="150"/>
                  </a:lnTo>
                  <a:lnTo>
                    <a:pt x="586" y="133"/>
                  </a:lnTo>
                  <a:lnTo>
                    <a:pt x="577" y="117"/>
                  </a:lnTo>
                  <a:lnTo>
                    <a:pt x="567" y="101"/>
                  </a:lnTo>
                  <a:lnTo>
                    <a:pt x="558" y="87"/>
                  </a:lnTo>
                  <a:lnTo>
                    <a:pt x="548" y="74"/>
                  </a:lnTo>
                  <a:lnTo>
                    <a:pt x="536" y="61"/>
                  </a:lnTo>
                  <a:lnTo>
                    <a:pt x="526" y="51"/>
                  </a:lnTo>
                  <a:lnTo>
                    <a:pt x="514" y="40"/>
                  </a:lnTo>
                  <a:lnTo>
                    <a:pt x="501" y="31"/>
                  </a:lnTo>
                  <a:lnTo>
                    <a:pt x="488" y="23"/>
                  </a:lnTo>
                  <a:lnTo>
                    <a:pt x="475" y="16"/>
                  </a:lnTo>
                  <a:lnTo>
                    <a:pt x="461" y="11"/>
                  </a:lnTo>
                  <a:lnTo>
                    <a:pt x="447" y="7"/>
                  </a:lnTo>
                  <a:lnTo>
                    <a:pt x="433" y="3"/>
                  </a:lnTo>
                  <a:lnTo>
                    <a:pt x="419" y="1"/>
                  </a:lnTo>
                  <a:lnTo>
                    <a:pt x="404" y="0"/>
                  </a:lnTo>
                  <a:lnTo>
                    <a:pt x="382" y="1"/>
                  </a:lnTo>
                  <a:lnTo>
                    <a:pt x="362" y="3"/>
                  </a:lnTo>
                  <a:lnTo>
                    <a:pt x="341" y="8"/>
                  </a:lnTo>
                  <a:lnTo>
                    <a:pt x="322" y="14"/>
                  </a:lnTo>
                  <a:lnTo>
                    <a:pt x="304" y="22"/>
                  </a:lnTo>
                  <a:lnTo>
                    <a:pt x="286" y="30"/>
                  </a:lnTo>
                  <a:lnTo>
                    <a:pt x="270" y="40"/>
                  </a:lnTo>
                  <a:lnTo>
                    <a:pt x="255" y="52"/>
                  </a:lnTo>
                  <a:lnTo>
                    <a:pt x="240" y="64"/>
                  </a:lnTo>
                  <a:lnTo>
                    <a:pt x="227" y="78"/>
                  </a:lnTo>
                  <a:lnTo>
                    <a:pt x="216" y="93"/>
                  </a:lnTo>
                  <a:lnTo>
                    <a:pt x="205" y="109"/>
                  </a:lnTo>
                  <a:lnTo>
                    <a:pt x="197" y="125"/>
                  </a:lnTo>
                  <a:lnTo>
                    <a:pt x="189" y="144"/>
                  </a:lnTo>
                  <a:lnTo>
                    <a:pt x="184" y="162"/>
                  </a:lnTo>
                  <a:lnTo>
                    <a:pt x="181" y="181"/>
                  </a:lnTo>
                  <a:lnTo>
                    <a:pt x="163" y="185"/>
                  </a:lnTo>
                  <a:lnTo>
                    <a:pt x="144" y="191"/>
                  </a:lnTo>
                  <a:lnTo>
                    <a:pt x="127" y="198"/>
                  </a:lnTo>
                  <a:lnTo>
                    <a:pt x="110" y="207"/>
                  </a:lnTo>
                  <a:lnTo>
                    <a:pt x="94" y="218"/>
                  </a:lnTo>
                  <a:lnTo>
                    <a:pt x="79" y="228"/>
                  </a:lnTo>
                  <a:lnTo>
                    <a:pt x="65" y="241"/>
                  </a:lnTo>
                  <a:lnTo>
                    <a:pt x="52" y="255"/>
                  </a:lnTo>
                  <a:lnTo>
                    <a:pt x="41" y="269"/>
                  </a:lnTo>
                  <a:lnTo>
                    <a:pt x="31" y="285"/>
                  </a:lnTo>
                  <a:lnTo>
                    <a:pt x="21" y="301"/>
                  </a:lnTo>
                  <a:lnTo>
                    <a:pt x="14" y="318"/>
                  </a:lnTo>
                  <a:lnTo>
                    <a:pt x="7" y="335"/>
                  </a:lnTo>
                  <a:lnTo>
                    <a:pt x="3" y="352"/>
                  </a:lnTo>
                  <a:lnTo>
                    <a:pt x="0" y="371"/>
                  </a:lnTo>
                  <a:lnTo>
                    <a:pt x="0" y="390"/>
                  </a:lnTo>
                  <a:lnTo>
                    <a:pt x="0" y="400"/>
                  </a:lnTo>
                  <a:lnTo>
                    <a:pt x="1" y="410"/>
                  </a:lnTo>
                  <a:lnTo>
                    <a:pt x="2" y="421"/>
                  </a:lnTo>
                  <a:lnTo>
                    <a:pt x="4" y="431"/>
                  </a:lnTo>
                  <a:lnTo>
                    <a:pt x="10" y="451"/>
                  </a:lnTo>
                  <a:lnTo>
                    <a:pt x="17" y="470"/>
                  </a:lnTo>
                  <a:lnTo>
                    <a:pt x="26" y="488"/>
                  </a:lnTo>
                  <a:lnTo>
                    <a:pt x="36" y="505"/>
                  </a:lnTo>
                  <a:lnTo>
                    <a:pt x="49" y="522"/>
                  </a:lnTo>
                  <a:lnTo>
                    <a:pt x="62" y="537"/>
                  </a:lnTo>
                  <a:lnTo>
                    <a:pt x="77" y="550"/>
                  </a:lnTo>
                  <a:lnTo>
                    <a:pt x="94" y="562"/>
                  </a:lnTo>
                  <a:lnTo>
                    <a:pt x="111" y="573"/>
                  </a:lnTo>
                  <a:lnTo>
                    <a:pt x="129" y="583"/>
                  </a:lnTo>
                  <a:lnTo>
                    <a:pt x="149" y="589"/>
                  </a:lnTo>
                  <a:lnTo>
                    <a:pt x="168" y="594"/>
                  </a:lnTo>
                  <a:lnTo>
                    <a:pt x="178" y="596"/>
                  </a:lnTo>
                  <a:lnTo>
                    <a:pt x="188" y="598"/>
                  </a:lnTo>
                  <a:lnTo>
                    <a:pt x="199" y="599"/>
                  </a:lnTo>
                  <a:lnTo>
                    <a:pt x="209" y="599"/>
                  </a:lnTo>
                  <a:lnTo>
                    <a:pt x="612" y="599"/>
                  </a:lnTo>
                  <a:lnTo>
                    <a:pt x="628" y="599"/>
                  </a:lnTo>
                  <a:lnTo>
                    <a:pt x="645" y="595"/>
                  </a:lnTo>
                  <a:lnTo>
                    <a:pt x="662" y="592"/>
                  </a:lnTo>
                  <a:lnTo>
                    <a:pt x="677" y="586"/>
                  </a:lnTo>
                  <a:lnTo>
                    <a:pt x="690" y="579"/>
                  </a:lnTo>
                  <a:lnTo>
                    <a:pt x="704" y="571"/>
                  </a:lnTo>
                  <a:lnTo>
                    <a:pt x="717" y="561"/>
                  </a:lnTo>
                  <a:lnTo>
                    <a:pt x="729" y="551"/>
                  </a:lnTo>
                  <a:lnTo>
                    <a:pt x="740" y="540"/>
                  </a:lnTo>
                  <a:lnTo>
                    <a:pt x="749" y="527"/>
                  </a:lnTo>
                  <a:lnTo>
                    <a:pt x="758" y="513"/>
                  </a:lnTo>
                  <a:lnTo>
                    <a:pt x="764" y="499"/>
                  </a:lnTo>
                  <a:lnTo>
                    <a:pt x="771" y="484"/>
                  </a:lnTo>
                  <a:lnTo>
                    <a:pt x="774" y="468"/>
                  </a:lnTo>
                  <a:lnTo>
                    <a:pt x="777" y="451"/>
                  </a:lnTo>
                  <a:lnTo>
                    <a:pt x="778" y="435"/>
                  </a:lnTo>
                  <a:lnTo>
                    <a:pt x="777" y="417"/>
                  </a:lnTo>
                  <a:lnTo>
                    <a:pt x="775" y="398"/>
                  </a:lnTo>
                  <a:lnTo>
                    <a:pt x="771" y="380"/>
                  </a:lnTo>
                  <a:lnTo>
                    <a:pt x="765" y="361"/>
                  </a:lnTo>
                  <a:lnTo>
                    <a:pt x="761" y="351"/>
                  </a:lnTo>
                  <a:lnTo>
                    <a:pt x="757" y="343"/>
                  </a:lnTo>
                  <a:lnTo>
                    <a:pt x="753" y="334"/>
                  </a:lnTo>
                  <a:lnTo>
                    <a:pt x="747" y="326"/>
                  </a:lnTo>
                  <a:lnTo>
                    <a:pt x="742" y="317"/>
                  </a:lnTo>
                  <a:lnTo>
                    <a:pt x="735" y="310"/>
                  </a:lnTo>
                  <a:lnTo>
                    <a:pt x="729" y="302"/>
                  </a:lnTo>
                  <a:lnTo>
                    <a:pt x="720"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0" name="Freeform 90">
              <a:extLst>
                <a:ext uri="{FF2B5EF4-FFF2-40B4-BE49-F238E27FC236}">
                  <a16:creationId xmlns:a16="http://schemas.microsoft.com/office/drawing/2014/main" id="{44D9DA18-C58B-4FFA-90BB-C774A7108B51}"/>
                </a:ext>
              </a:extLst>
            </p:cNvPr>
            <p:cNvSpPr>
              <a:spLocks/>
            </p:cNvSpPr>
            <p:nvPr/>
          </p:nvSpPr>
          <p:spPr bwMode="auto">
            <a:xfrm>
              <a:off x="1057275" y="1339850"/>
              <a:ext cx="133350" cy="188913"/>
            </a:xfrm>
            <a:custGeom>
              <a:avLst/>
              <a:gdLst>
                <a:gd name="T0" fmla="*/ 378 w 420"/>
                <a:gd name="T1" fmla="*/ 524 h 592"/>
                <a:gd name="T2" fmla="*/ 333 w 420"/>
                <a:gd name="T3" fmla="*/ 488 h 592"/>
                <a:gd name="T4" fmla="*/ 298 w 420"/>
                <a:gd name="T5" fmla="*/ 444 h 592"/>
                <a:gd name="T6" fmla="*/ 273 w 420"/>
                <a:gd name="T7" fmla="*/ 392 h 592"/>
                <a:gd name="T8" fmla="*/ 258 w 420"/>
                <a:gd name="T9" fmla="*/ 337 h 592"/>
                <a:gd name="T10" fmla="*/ 256 w 420"/>
                <a:gd name="T11" fmla="*/ 279 h 592"/>
                <a:gd name="T12" fmla="*/ 267 w 420"/>
                <a:gd name="T13" fmla="*/ 223 h 592"/>
                <a:gd name="T14" fmla="*/ 288 w 420"/>
                <a:gd name="T15" fmla="*/ 171 h 592"/>
                <a:gd name="T16" fmla="*/ 321 w 420"/>
                <a:gd name="T17" fmla="*/ 124 h 592"/>
                <a:gd name="T18" fmla="*/ 362 w 420"/>
                <a:gd name="T19" fmla="*/ 85 h 592"/>
                <a:gd name="T20" fmla="*/ 412 w 420"/>
                <a:gd name="T21" fmla="*/ 54 h 592"/>
                <a:gd name="T22" fmla="*/ 420 w 420"/>
                <a:gd name="T23" fmla="*/ 46 h 592"/>
                <a:gd name="T24" fmla="*/ 418 w 420"/>
                <a:gd name="T25" fmla="*/ 33 h 592"/>
                <a:gd name="T26" fmla="*/ 397 w 420"/>
                <a:gd name="T27" fmla="*/ 21 h 592"/>
                <a:gd name="T28" fmla="*/ 350 w 420"/>
                <a:gd name="T29" fmla="*/ 7 h 592"/>
                <a:gd name="T30" fmla="*/ 302 w 420"/>
                <a:gd name="T31" fmla="*/ 0 h 592"/>
                <a:gd name="T32" fmla="*/ 238 w 420"/>
                <a:gd name="T33" fmla="*/ 3 h 592"/>
                <a:gd name="T34" fmla="*/ 171 w 420"/>
                <a:gd name="T35" fmla="*/ 22 h 592"/>
                <a:gd name="T36" fmla="*/ 111 w 420"/>
                <a:gd name="T37" fmla="*/ 55 h 592"/>
                <a:gd name="T38" fmla="*/ 59 w 420"/>
                <a:gd name="T39" fmla="*/ 102 h 592"/>
                <a:gd name="T40" fmla="*/ 21 w 420"/>
                <a:gd name="T41" fmla="*/ 160 h 592"/>
                <a:gd name="T42" fmla="*/ 1 w 420"/>
                <a:gd name="T43" fmla="*/ 207 h 592"/>
                <a:gd name="T44" fmla="*/ 3 w 420"/>
                <a:gd name="T45" fmla="*/ 216 h 592"/>
                <a:gd name="T46" fmla="*/ 8 w 420"/>
                <a:gd name="T47" fmla="*/ 222 h 592"/>
                <a:gd name="T48" fmla="*/ 18 w 420"/>
                <a:gd name="T49" fmla="*/ 224 h 592"/>
                <a:gd name="T50" fmla="*/ 25 w 420"/>
                <a:gd name="T51" fmla="*/ 221 h 592"/>
                <a:gd name="T52" fmla="*/ 30 w 420"/>
                <a:gd name="T53" fmla="*/ 215 h 592"/>
                <a:gd name="T54" fmla="*/ 57 w 420"/>
                <a:gd name="T55" fmla="*/ 156 h 592"/>
                <a:gd name="T56" fmla="*/ 97 w 420"/>
                <a:gd name="T57" fmla="*/ 108 h 592"/>
                <a:gd name="T58" fmla="*/ 145 w 420"/>
                <a:gd name="T59" fmla="*/ 69 h 592"/>
                <a:gd name="T60" fmla="*/ 202 w 420"/>
                <a:gd name="T61" fmla="*/ 42 h 592"/>
                <a:gd name="T62" fmla="*/ 264 w 420"/>
                <a:gd name="T63" fmla="*/ 30 h 592"/>
                <a:gd name="T64" fmla="*/ 329 w 420"/>
                <a:gd name="T65" fmla="*/ 33 h 592"/>
                <a:gd name="T66" fmla="*/ 354 w 420"/>
                <a:gd name="T67" fmla="*/ 54 h 592"/>
                <a:gd name="T68" fmla="*/ 311 w 420"/>
                <a:gd name="T69" fmla="*/ 92 h 592"/>
                <a:gd name="T70" fmla="*/ 274 w 420"/>
                <a:gd name="T71" fmla="*/ 136 h 592"/>
                <a:gd name="T72" fmla="*/ 249 w 420"/>
                <a:gd name="T73" fmla="*/ 186 h 592"/>
                <a:gd name="T74" fmla="*/ 232 w 420"/>
                <a:gd name="T75" fmla="*/ 240 h 592"/>
                <a:gd name="T76" fmla="*/ 226 w 420"/>
                <a:gd name="T77" fmla="*/ 298 h 592"/>
                <a:gd name="T78" fmla="*/ 232 w 420"/>
                <a:gd name="T79" fmla="*/ 356 h 592"/>
                <a:gd name="T80" fmla="*/ 249 w 420"/>
                <a:gd name="T81" fmla="*/ 412 h 592"/>
                <a:gd name="T82" fmla="*/ 274 w 420"/>
                <a:gd name="T83" fmla="*/ 462 h 592"/>
                <a:gd name="T84" fmla="*/ 310 w 420"/>
                <a:gd name="T85" fmla="*/ 506 h 592"/>
                <a:gd name="T86" fmla="*/ 354 w 420"/>
                <a:gd name="T87" fmla="*/ 543 h 592"/>
                <a:gd name="T88" fmla="*/ 343 w 420"/>
                <a:gd name="T89" fmla="*/ 562 h 592"/>
                <a:gd name="T90" fmla="*/ 335 w 420"/>
                <a:gd name="T91" fmla="*/ 566 h 592"/>
                <a:gd name="T92" fmla="*/ 332 w 420"/>
                <a:gd name="T93" fmla="*/ 574 h 592"/>
                <a:gd name="T94" fmla="*/ 334 w 420"/>
                <a:gd name="T95" fmla="*/ 585 h 592"/>
                <a:gd name="T96" fmla="*/ 346 w 420"/>
                <a:gd name="T97" fmla="*/ 592 h 592"/>
                <a:gd name="T98" fmla="*/ 365 w 420"/>
                <a:gd name="T99" fmla="*/ 588 h 592"/>
                <a:gd name="T100" fmla="*/ 412 w 420"/>
                <a:gd name="T101" fmla="*/ 571 h 592"/>
                <a:gd name="T102" fmla="*/ 420 w 420"/>
                <a:gd name="T103" fmla="*/ 560 h 592"/>
                <a:gd name="T104" fmla="*/ 418 w 420"/>
                <a:gd name="T105" fmla="*/ 54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0" h="592">
                  <a:moveTo>
                    <a:pt x="412" y="542"/>
                  </a:moveTo>
                  <a:lnTo>
                    <a:pt x="394" y="534"/>
                  </a:lnTo>
                  <a:lnTo>
                    <a:pt x="378" y="524"/>
                  </a:lnTo>
                  <a:lnTo>
                    <a:pt x="362" y="512"/>
                  </a:lnTo>
                  <a:lnTo>
                    <a:pt x="347" y="501"/>
                  </a:lnTo>
                  <a:lnTo>
                    <a:pt x="333" y="488"/>
                  </a:lnTo>
                  <a:lnTo>
                    <a:pt x="321" y="474"/>
                  </a:lnTo>
                  <a:lnTo>
                    <a:pt x="309" y="459"/>
                  </a:lnTo>
                  <a:lnTo>
                    <a:pt x="298" y="444"/>
                  </a:lnTo>
                  <a:lnTo>
                    <a:pt x="288" y="427"/>
                  </a:lnTo>
                  <a:lnTo>
                    <a:pt x="280" y="411"/>
                  </a:lnTo>
                  <a:lnTo>
                    <a:pt x="273" y="392"/>
                  </a:lnTo>
                  <a:lnTo>
                    <a:pt x="267" y="374"/>
                  </a:lnTo>
                  <a:lnTo>
                    <a:pt x="263" y="356"/>
                  </a:lnTo>
                  <a:lnTo>
                    <a:pt x="258" y="337"/>
                  </a:lnTo>
                  <a:lnTo>
                    <a:pt x="256" y="318"/>
                  </a:lnTo>
                  <a:lnTo>
                    <a:pt x="256" y="298"/>
                  </a:lnTo>
                  <a:lnTo>
                    <a:pt x="256" y="279"/>
                  </a:lnTo>
                  <a:lnTo>
                    <a:pt x="258" y="260"/>
                  </a:lnTo>
                  <a:lnTo>
                    <a:pt x="263" y="242"/>
                  </a:lnTo>
                  <a:lnTo>
                    <a:pt x="267" y="223"/>
                  </a:lnTo>
                  <a:lnTo>
                    <a:pt x="273" y="205"/>
                  </a:lnTo>
                  <a:lnTo>
                    <a:pt x="280" y="188"/>
                  </a:lnTo>
                  <a:lnTo>
                    <a:pt x="288" y="171"/>
                  </a:lnTo>
                  <a:lnTo>
                    <a:pt x="298" y="155"/>
                  </a:lnTo>
                  <a:lnTo>
                    <a:pt x="309" y="139"/>
                  </a:lnTo>
                  <a:lnTo>
                    <a:pt x="321" y="124"/>
                  </a:lnTo>
                  <a:lnTo>
                    <a:pt x="333" y="110"/>
                  </a:lnTo>
                  <a:lnTo>
                    <a:pt x="347" y="97"/>
                  </a:lnTo>
                  <a:lnTo>
                    <a:pt x="362" y="85"/>
                  </a:lnTo>
                  <a:lnTo>
                    <a:pt x="378" y="73"/>
                  </a:lnTo>
                  <a:lnTo>
                    <a:pt x="394" y="64"/>
                  </a:lnTo>
                  <a:lnTo>
                    <a:pt x="412" y="54"/>
                  </a:lnTo>
                  <a:lnTo>
                    <a:pt x="416" y="53"/>
                  </a:lnTo>
                  <a:lnTo>
                    <a:pt x="418" y="50"/>
                  </a:lnTo>
                  <a:lnTo>
                    <a:pt x="420" y="46"/>
                  </a:lnTo>
                  <a:lnTo>
                    <a:pt x="420" y="41"/>
                  </a:lnTo>
                  <a:lnTo>
                    <a:pt x="420" y="37"/>
                  </a:lnTo>
                  <a:lnTo>
                    <a:pt x="418" y="33"/>
                  </a:lnTo>
                  <a:lnTo>
                    <a:pt x="416" y="31"/>
                  </a:lnTo>
                  <a:lnTo>
                    <a:pt x="412" y="27"/>
                  </a:lnTo>
                  <a:lnTo>
                    <a:pt x="397" y="21"/>
                  </a:lnTo>
                  <a:lnTo>
                    <a:pt x="382" y="16"/>
                  </a:lnTo>
                  <a:lnTo>
                    <a:pt x="365" y="10"/>
                  </a:lnTo>
                  <a:lnTo>
                    <a:pt x="350" y="7"/>
                  </a:lnTo>
                  <a:lnTo>
                    <a:pt x="334" y="4"/>
                  </a:lnTo>
                  <a:lnTo>
                    <a:pt x="318" y="1"/>
                  </a:lnTo>
                  <a:lnTo>
                    <a:pt x="302" y="0"/>
                  </a:lnTo>
                  <a:lnTo>
                    <a:pt x="286" y="0"/>
                  </a:lnTo>
                  <a:lnTo>
                    <a:pt x="262" y="0"/>
                  </a:lnTo>
                  <a:lnTo>
                    <a:pt x="238" y="3"/>
                  </a:lnTo>
                  <a:lnTo>
                    <a:pt x="216" y="7"/>
                  </a:lnTo>
                  <a:lnTo>
                    <a:pt x="193" y="14"/>
                  </a:lnTo>
                  <a:lnTo>
                    <a:pt x="171" y="22"/>
                  </a:lnTo>
                  <a:lnTo>
                    <a:pt x="150" y="32"/>
                  </a:lnTo>
                  <a:lnTo>
                    <a:pt x="130" y="42"/>
                  </a:lnTo>
                  <a:lnTo>
                    <a:pt x="111" y="55"/>
                  </a:lnTo>
                  <a:lnTo>
                    <a:pt x="92" y="70"/>
                  </a:lnTo>
                  <a:lnTo>
                    <a:pt x="75" y="85"/>
                  </a:lnTo>
                  <a:lnTo>
                    <a:pt x="59" y="102"/>
                  </a:lnTo>
                  <a:lnTo>
                    <a:pt x="45" y="121"/>
                  </a:lnTo>
                  <a:lnTo>
                    <a:pt x="31" y="140"/>
                  </a:lnTo>
                  <a:lnTo>
                    <a:pt x="21" y="160"/>
                  </a:lnTo>
                  <a:lnTo>
                    <a:pt x="10" y="182"/>
                  </a:lnTo>
                  <a:lnTo>
                    <a:pt x="1" y="204"/>
                  </a:lnTo>
                  <a:lnTo>
                    <a:pt x="1" y="207"/>
                  </a:lnTo>
                  <a:lnTo>
                    <a:pt x="0" y="210"/>
                  </a:lnTo>
                  <a:lnTo>
                    <a:pt x="1" y="214"/>
                  </a:lnTo>
                  <a:lnTo>
                    <a:pt x="3" y="216"/>
                  </a:lnTo>
                  <a:lnTo>
                    <a:pt x="4" y="219"/>
                  </a:lnTo>
                  <a:lnTo>
                    <a:pt x="6" y="220"/>
                  </a:lnTo>
                  <a:lnTo>
                    <a:pt x="8" y="222"/>
                  </a:lnTo>
                  <a:lnTo>
                    <a:pt x="11" y="223"/>
                  </a:lnTo>
                  <a:lnTo>
                    <a:pt x="14" y="224"/>
                  </a:lnTo>
                  <a:lnTo>
                    <a:pt x="18" y="224"/>
                  </a:lnTo>
                  <a:lnTo>
                    <a:pt x="20" y="224"/>
                  </a:lnTo>
                  <a:lnTo>
                    <a:pt x="23" y="223"/>
                  </a:lnTo>
                  <a:lnTo>
                    <a:pt x="25" y="221"/>
                  </a:lnTo>
                  <a:lnTo>
                    <a:pt x="27" y="220"/>
                  </a:lnTo>
                  <a:lnTo>
                    <a:pt x="29" y="217"/>
                  </a:lnTo>
                  <a:lnTo>
                    <a:pt x="30" y="215"/>
                  </a:lnTo>
                  <a:lnTo>
                    <a:pt x="38" y="194"/>
                  </a:lnTo>
                  <a:lnTo>
                    <a:pt x="46" y="175"/>
                  </a:lnTo>
                  <a:lnTo>
                    <a:pt x="57" y="156"/>
                  </a:lnTo>
                  <a:lnTo>
                    <a:pt x="69" y="139"/>
                  </a:lnTo>
                  <a:lnTo>
                    <a:pt x="82" y="123"/>
                  </a:lnTo>
                  <a:lnTo>
                    <a:pt x="97" y="108"/>
                  </a:lnTo>
                  <a:lnTo>
                    <a:pt x="112" y="93"/>
                  </a:lnTo>
                  <a:lnTo>
                    <a:pt x="128" y="80"/>
                  </a:lnTo>
                  <a:lnTo>
                    <a:pt x="145" y="69"/>
                  </a:lnTo>
                  <a:lnTo>
                    <a:pt x="163" y="58"/>
                  </a:lnTo>
                  <a:lnTo>
                    <a:pt x="182" y="50"/>
                  </a:lnTo>
                  <a:lnTo>
                    <a:pt x="202" y="42"/>
                  </a:lnTo>
                  <a:lnTo>
                    <a:pt x="222" y="37"/>
                  </a:lnTo>
                  <a:lnTo>
                    <a:pt x="243" y="33"/>
                  </a:lnTo>
                  <a:lnTo>
                    <a:pt x="264" y="30"/>
                  </a:lnTo>
                  <a:lnTo>
                    <a:pt x="286" y="30"/>
                  </a:lnTo>
                  <a:lnTo>
                    <a:pt x="308" y="30"/>
                  </a:lnTo>
                  <a:lnTo>
                    <a:pt x="329" y="33"/>
                  </a:lnTo>
                  <a:lnTo>
                    <a:pt x="349" y="37"/>
                  </a:lnTo>
                  <a:lnTo>
                    <a:pt x="370" y="45"/>
                  </a:lnTo>
                  <a:lnTo>
                    <a:pt x="354" y="54"/>
                  </a:lnTo>
                  <a:lnTo>
                    <a:pt x="339" y="66"/>
                  </a:lnTo>
                  <a:lnTo>
                    <a:pt x="324" y="79"/>
                  </a:lnTo>
                  <a:lnTo>
                    <a:pt x="311" y="92"/>
                  </a:lnTo>
                  <a:lnTo>
                    <a:pt x="298" y="106"/>
                  </a:lnTo>
                  <a:lnTo>
                    <a:pt x="285" y="121"/>
                  </a:lnTo>
                  <a:lnTo>
                    <a:pt x="274" y="136"/>
                  </a:lnTo>
                  <a:lnTo>
                    <a:pt x="265" y="153"/>
                  </a:lnTo>
                  <a:lnTo>
                    <a:pt x="256" y="169"/>
                  </a:lnTo>
                  <a:lnTo>
                    <a:pt x="249" y="186"/>
                  </a:lnTo>
                  <a:lnTo>
                    <a:pt x="241" y="204"/>
                  </a:lnTo>
                  <a:lnTo>
                    <a:pt x="236" y="222"/>
                  </a:lnTo>
                  <a:lnTo>
                    <a:pt x="232" y="240"/>
                  </a:lnTo>
                  <a:lnTo>
                    <a:pt x="228" y="260"/>
                  </a:lnTo>
                  <a:lnTo>
                    <a:pt x="226" y="279"/>
                  </a:lnTo>
                  <a:lnTo>
                    <a:pt x="226" y="298"/>
                  </a:lnTo>
                  <a:lnTo>
                    <a:pt x="226" y="318"/>
                  </a:lnTo>
                  <a:lnTo>
                    <a:pt x="228" y="338"/>
                  </a:lnTo>
                  <a:lnTo>
                    <a:pt x="232" y="356"/>
                  </a:lnTo>
                  <a:lnTo>
                    <a:pt x="236" y="375"/>
                  </a:lnTo>
                  <a:lnTo>
                    <a:pt x="241" y="394"/>
                  </a:lnTo>
                  <a:lnTo>
                    <a:pt x="249" y="412"/>
                  </a:lnTo>
                  <a:lnTo>
                    <a:pt x="256" y="429"/>
                  </a:lnTo>
                  <a:lnTo>
                    <a:pt x="265" y="446"/>
                  </a:lnTo>
                  <a:lnTo>
                    <a:pt x="274" y="462"/>
                  </a:lnTo>
                  <a:lnTo>
                    <a:pt x="285" y="477"/>
                  </a:lnTo>
                  <a:lnTo>
                    <a:pt x="298" y="492"/>
                  </a:lnTo>
                  <a:lnTo>
                    <a:pt x="310" y="506"/>
                  </a:lnTo>
                  <a:lnTo>
                    <a:pt x="324" y="520"/>
                  </a:lnTo>
                  <a:lnTo>
                    <a:pt x="339" y="533"/>
                  </a:lnTo>
                  <a:lnTo>
                    <a:pt x="354" y="543"/>
                  </a:lnTo>
                  <a:lnTo>
                    <a:pt x="370" y="554"/>
                  </a:lnTo>
                  <a:lnTo>
                    <a:pt x="357" y="558"/>
                  </a:lnTo>
                  <a:lnTo>
                    <a:pt x="343" y="562"/>
                  </a:lnTo>
                  <a:lnTo>
                    <a:pt x="341" y="563"/>
                  </a:lnTo>
                  <a:lnTo>
                    <a:pt x="338" y="564"/>
                  </a:lnTo>
                  <a:lnTo>
                    <a:pt x="335" y="566"/>
                  </a:lnTo>
                  <a:lnTo>
                    <a:pt x="334" y="569"/>
                  </a:lnTo>
                  <a:lnTo>
                    <a:pt x="332" y="571"/>
                  </a:lnTo>
                  <a:lnTo>
                    <a:pt x="332" y="574"/>
                  </a:lnTo>
                  <a:lnTo>
                    <a:pt x="331" y="577"/>
                  </a:lnTo>
                  <a:lnTo>
                    <a:pt x="332" y="580"/>
                  </a:lnTo>
                  <a:lnTo>
                    <a:pt x="334" y="585"/>
                  </a:lnTo>
                  <a:lnTo>
                    <a:pt x="338" y="588"/>
                  </a:lnTo>
                  <a:lnTo>
                    <a:pt x="342" y="590"/>
                  </a:lnTo>
                  <a:lnTo>
                    <a:pt x="346" y="592"/>
                  </a:lnTo>
                  <a:lnTo>
                    <a:pt x="348" y="592"/>
                  </a:lnTo>
                  <a:lnTo>
                    <a:pt x="349" y="592"/>
                  </a:lnTo>
                  <a:lnTo>
                    <a:pt x="365" y="588"/>
                  </a:lnTo>
                  <a:lnTo>
                    <a:pt x="382" y="583"/>
                  </a:lnTo>
                  <a:lnTo>
                    <a:pt x="397" y="578"/>
                  </a:lnTo>
                  <a:lnTo>
                    <a:pt x="412" y="571"/>
                  </a:lnTo>
                  <a:lnTo>
                    <a:pt x="416" y="568"/>
                  </a:lnTo>
                  <a:lnTo>
                    <a:pt x="418" y="565"/>
                  </a:lnTo>
                  <a:lnTo>
                    <a:pt x="420" y="560"/>
                  </a:lnTo>
                  <a:lnTo>
                    <a:pt x="420" y="557"/>
                  </a:lnTo>
                  <a:lnTo>
                    <a:pt x="420" y="553"/>
                  </a:lnTo>
                  <a:lnTo>
                    <a:pt x="418" y="549"/>
                  </a:lnTo>
                  <a:lnTo>
                    <a:pt x="416" y="546"/>
                  </a:lnTo>
                  <a:lnTo>
                    <a:pt x="412"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961" name="Freeform 26">
            <a:extLst>
              <a:ext uri="{FF2B5EF4-FFF2-40B4-BE49-F238E27FC236}">
                <a16:creationId xmlns:a16="http://schemas.microsoft.com/office/drawing/2014/main" id="{432F65F0-3734-4CC5-A7B6-8A047EA9A787}"/>
              </a:ext>
            </a:extLst>
          </p:cNvPr>
          <p:cNvSpPr>
            <a:spLocks noChangeAspect="1" noEditPoints="1"/>
          </p:cNvSpPr>
          <p:nvPr/>
        </p:nvSpPr>
        <p:spPr bwMode="auto">
          <a:xfrm>
            <a:off x="7818618" y="5944848"/>
            <a:ext cx="401925" cy="308144"/>
          </a:xfrm>
          <a:custGeom>
            <a:avLst/>
            <a:gdLst>
              <a:gd name="T0" fmla="*/ 167 w 898"/>
              <a:gd name="T1" fmla="*/ 650 h 689"/>
              <a:gd name="T2" fmla="*/ 87 w 898"/>
              <a:gd name="T3" fmla="*/ 602 h 689"/>
              <a:gd name="T4" fmla="*/ 38 w 898"/>
              <a:gd name="T5" fmla="*/ 522 h 689"/>
              <a:gd name="T6" fmla="*/ 34 w 898"/>
              <a:gd name="T7" fmla="*/ 425 h 689"/>
              <a:gd name="T8" fmla="*/ 75 w 898"/>
              <a:gd name="T9" fmla="*/ 341 h 689"/>
              <a:gd name="T10" fmla="*/ 149 w 898"/>
              <a:gd name="T11" fmla="*/ 285 h 689"/>
              <a:gd name="T12" fmla="*/ 228 w 898"/>
              <a:gd name="T13" fmla="*/ 269 h 689"/>
              <a:gd name="T14" fmla="*/ 239 w 898"/>
              <a:gd name="T15" fmla="*/ 260 h 689"/>
              <a:gd name="T16" fmla="*/ 242 w 898"/>
              <a:gd name="T17" fmla="*/ 221 h 689"/>
              <a:gd name="T18" fmla="*/ 276 w 898"/>
              <a:gd name="T19" fmla="*/ 130 h 689"/>
              <a:gd name="T20" fmla="*/ 350 w 898"/>
              <a:gd name="T21" fmla="*/ 57 h 689"/>
              <a:gd name="T22" fmla="*/ 408 w 898"/>
              <a:gd name="T23" fmla="*/ 35 h 689"/>
              <a:gd name="T24" fmla="*/ 466 w 898"/>
              <a:gd name="T25" fmla="*/ 30 h 689"/>
              <a:gd name="T26" fmla="*/ 542 w 898"/>
              <a:gd name="T27" fmla="*/ 52 h 689"/>
              <a:gd name="T28" fmla="*/ 604 w 898"/>
              <a:gd name="T29" fmla="*/ 100 h 689"/>
              <a:gd name="T30" fmla="*/ 644 w 898"/>
              <a:gd name="T31" fmla="*/ 170 h 689"/>
              <a:gd name="T32" fmla="*/ 668 w 898"/>
              <a:gd name="T33" fmla="*/ 179 h 689"/>
              <a:gd name="T34" fmla="*/ 724 w 898"/>
              <a:gd name="T35" fmla="*/ 190 h 689"/>
              <a:gd name="T36" fmla="*/ 765 w 898"/>
              <a:gd name="T37" fmla="*/ 223 h 689"/>
              <a:gd name="T38" fmla="*/ 785 w 898"/>
              <a:gd name="T39" fmla="*/ 256 h 689"/>
              <a:gd name="T40" fmla="*/ 785 w 898"/>
              <a:gd name="T41" fmla="*/ 336 h 689"/>
              <a:gd name="T42" fmla="*/ 786 w 898"/>
              <a:gd name="T43" fmla="*/ 373 h 689"/>
              <a:gd name="T44" fmla="*/ 823 w 898"/>
              <a:gd name="T45" fmla="*/ 403 h 689"/>
              <a:gd name="T46" fmla="*/ 853 w 898"/>
              <a:gd name="T47" fmla="*/ 446 h 689"/>
              <a:gd name="T48" fmla="*/ 867 w 898"/>
              <a:gd name="T49" fmla="*/ 498 h 689"/>
              <a:gd name="T50" fmla="*/ 856 w 898"/>
              <a:gd name="T51" fmla="*/ 568 h 689"/>
              <a:gd name="T52" fmla="*/ 815 w 898"/>
              <a:gd name="T53" fmla="*/ 625 h 689"/>
              <a:gd name="T54" fmla="*/ 749 w 898"/>
              <a:gd name="T55" fmla="*/ 655 h 689"/>
              <a:gd name="T56" fmla="*/ 820 w 898"/>
              <a:gd name="T57" fmla="*/ 314 h 689"/>
              <a:gd name="T58" fmla="*/ 815 w 898"/>
              <a:gd name="T59" fmla="*/ 251 h 689"/>
              <a:gd name="T60" fmla="*/ 795 w 898"/>
              <a:gd name="T61" fmla="*/ 211 h 689"/>
              <a:gd name="T62" fmla="*/ 763 w 898"/>
              <a:gd name="T63" fmla="*/ 179 h 689"/>
              <a:gd name="T64" fmla="*/ 724 w 898"/>
              <a:gd name="T65" fmla="*/ 158 h 689"/>
              <a:gd name="T66" fmla="*/ 679 w 898"/>
              <a:gd name="T67" fmla="*/ 149 h 689"/>
              <a:gd name="T68" fmla="*/ 633 w 898"/>
              <a:gd name="T69" fmla="*/ 88 h 689"/>
              <a:gd name="T70" fmla="*/ 567 w 898"/>
              <a:gd name="T71" fmla="*/ 31 h 689"/>
              <a:gd name="T72" fmla="*/ 485 w 898"/>
              <a:gd name="T73" fmla="*/ 2 h 689"/>
              <a:gd name="T74" fmla="*/ 414 w 898"/>
              <a:gd name="T75" fmla="*/ 2 h 689"/>
              <a:gd name="T76" fmla="*/ 360 w 898"/>
              <a:gd name="T77" fmla="*/ 20 h 689"/>
              <a:gd name="T78" fmla="*/ 302 w 898"/>
              <a:gd name="T79" fmla="*/ 55 h 689"/>
              <a:gd name="T80" fmla="*/ 232 w 898"/>
              <a:gd name="T81" fmla="*/ 148 h 689"/>
              <a:gd name="T82" fmla="*/ 214 w 898"/>
              <a:gd name="T83" fmla="*/ 205 h 689"/>
              <a:gd name="T84" fmla="*/ 167 w 898"/>
              <a:gd name="T85" fmla="*/ 248 h 689"/>
              <a:gd name="T86" fmla="*/ 76 w 898"/>
              <a:gd name="T87" fmla="*/ 297 h 689"/>
              <a:gd name="T88" fmla="*/ 16 w 898"/>
              <a:gd name="T89" fmla="*/ 380 h 689"/>
              <a:gd name="T90" fmla="*/ 0 w 898"/>
              <a:gd name="T91" fmla="*/ 476 h 689"/>
              <a:gd name="T92" fmla="*/ 9 w 898"/>
              <a:gd name="T93" fmla="*/ 530 h 689"/>
              <a:gd name="T94" fmla="*/ 51 w 898"/>
              <a:gd name="T95" fmla="*/ 607 h 689"/>
              <a:gd name="T96" fmla="*/ 137 w 898"/>
              <a:gd name="T97" fmla="*/ 670 h 689"/>
              <a:gd name="T98" fmla="*/ 190 w 898"/>
              <a:gd name="T99" fmla="*/ 685 h 689"/>
              <a:gd name="T100" fmla="*/ 737 w 898"/>
              <a:gd name="T101" fmla="*/ 687 h 689"/>
              <a:gd name="T102" fmla="*/ 820 w 898"/>
              <a:gd name="T103" fmla="*/ 659 h 689"/>
              <a:gd name="T104" fmla="*/ 877 w 898"/>
              <a:gd name="T105" fmla="*/ 597 h 689"/>
              <a:gd name="T106" fmla="*/ 898 w 898"/>
              <a:gd name="T107" fmla="*/ 509 h 689"/>
              <a:gd name="T108" fmla="*/ 888 w 898"/>
              <a:gd name="T109" fmla="*/ 454 h 689"/>
              <a:gd name="T110" fmla="*/ 862 w 898"/>
              <a:gd name="T111" fmla="*/ 403 h 689"/>
              <a:gd name="T112" fmla="*/ 821 w 898"/>
              <a:gd name="T113" fmla="*/ 36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689">
                <a:moveTo>
                  <a:pt x="718" y="659"/>
                </a:moveTo>
                <a:lnTo>
                  <a:pt x="225" y="659"/>
                </a:lnTo>
                <a:lnTo>
                  <a:pt x="204" y="658"/>
                </a:lnTo>
                <a:lnTo>
                  <a:pt x="185" y="654"/>
                </a:lnTo>
                <a:lnTo>
                  <a:pt x="167" y="650"/>
                </a:lnTo>
                <a:lnTo>
                  <a:pt x="149" y="644"/>
                </a:lnTo>
                <a:lnTo>
                  <a:pt x="132" y="635"/>
                </a:lnTo>
                <a:lnTo>
                  <a:pt x="115" y="625"/>
                </a:lnTo>
                <a:lnTo>
                  <a:pt x="100" y="614"/>
                </a:lnTo>
                <a:lnTo>
                  <a:pt x="87" y="602"/>
                </a:lnTo>
                <a:lnTo>
                  <a:pt x="75" y="588"/>
                </a:lnTo>
                <a:lnTo>
                  <a:pt x="63" y="573"/>
                </a:lnTo>
                <a:lnTo>
                  <a:pt x="53" y="557"/>
                </a:lnTo>
                <a:lnTo>
                  <a:pt x="45" y="540"/>
                </a:lnTo>
                <a:lnTo>
                  <a:pt x="38" y="522"/>
                </a:lnTo>
                <a:lnTo>
                  <a:pt x="34" y="503"/>
                </a:lnTo>
                <a:lnTo>
                  <a:pt x="31" y="484"/>
                </a:lnTo>
                <a:lnTo>
                  <a:pt x="30" y="464"/>
                </a:lnTo>
                <a:lnTo>
                  <a:pt x="31" y="445"/>
                </a:lnTo>
                <a:lnTo>
                  <a:pt x="34" y="425"/>
                </a:lnTo>
                <a:lnTo>
                  <a:pt x="38" y="406"/>
                </a:lnTo>
                <a:lnTo>
                  <a:pt x="45" y="389"/>
                </a:lnTo>
                <a:lnTo>
                  <a:pt x="53" y="372"/>
                </a:lnTo>
                <a:lnTo>
                  <a:pt x="63" y="356"/>
                </a:lnTo>
                <a:lnTo>
                  <a:pt x="75" y="341"/>
                </a:lnTo>
                <a:lnTo>
                  <a:pt x="87" y="327"/>
                </a:lnTo>
                <a:lnTo>
                  <a:pt x="100" y="314"/>
                </a:lnTo>
                <a:lnTo>
                  <a:pt x="115" y="303"/>
                </a:lnTo>
                <a:lnTo>
                  <a:pt x="132" y="293"/>
                </a:lnTo>
                <a:lnTo>
                  <a:pt x="149" y="285"/>
                </a:lnTo>
                <a:lnTo>
                  <a:pt x="167" y="279"/>
                </a:lnTo>
                <a:lnTo>
                  <a:pt x="185" y="273"/>
                </a:lnTo>
                <a:lnTo>
                  <a:pt x="204" y="270"/>
                </a:lnTo>
                <a:lnTo>
                  <a:pt x="225" y="269"/>
                </a:lnTo>
                <a:lnTo>
                  <a:pt x="228" y="269"/>
                </a:lnTo>
                <a:lnTo>
                  <a:pt x="230" y="268"/>
                </a:lnTo>
                <a:lnTo>
                  <a:pt x="233" y="267"/>
                </a:lnTo>
                <a:lnTo>
                  <a:pt x="235" y="265"/>
                </a:lnTo>
                <a:lnTo>
                  <a:pt x="236" y="263"/>
                </a:lnTo>
                <a:lnTo>
                  <a:pt x="239" y="260"/>
                </a:lnTo>
                <a:lnTo>
                  <a:pt x="239" y="257"/>
                </a:lnTo>
                <a:lnTo>
                  <a:pt x="240" y="254"/>
                </a:lnTo>
                <a:lnTo>
                  <a:pt x="240" y="243"/>
                </a:lnTo>
                <a:lnTo>
                  <a:pt x="241" y="232"/>
                </a:lnTo>
                <a:lnTo>
                  <a:pt x="242" y="221"/>
                </a:lnTo>
                <a:lnTo>
                  <a:pt x="244" y="210"/>
                </a:lnTo>
                <a:lnTo>
                  <a:pt x="249" y="189"/>
                </a:lnTo>
                <a:lnTo>
                  <a:pt x="256" y="168"/>
                </a:lnTo>
                <a:lnTo>
                  <a:pt x="265" y="148"/>
                </a:lnTo>
                <a:lnTo>
                  <a:pt x="276" y="130"/>
                </a:lnTo>
                <a:lnTo>
                  <a:pt x="288" y="113"/>
                </a:lnTo>
                <a:lnTo>
                  <a:pt x="302" y="97"/>
                </a:lnTo>
                <a:lnTo>
                  <a:pt x="317" y="82"/>
                </a:lnTo>
                <a:lnTo>
                  <a:pt x="333" y="69"/>
                </a:lnTo>
                <a:lnTo>
                  <a:pt x="350" y="57"/>
                </a:lnTo>
                <a:lnTo>
                  <a:pt x="368" y="47"/>
                </a:lnTo>
                <a:lnTo>
                  <a:pt x="378" y="44"/>
                </a:lnTo>
                <a:lnTo>
                  <a:pt x="387" y="40"/>
                </a:lnTo>
                <a:lnTo>
                  <a:pt x="397" y="37"/>
                </a:lnTo>
                <a:lnTo>
                  <a:pt x="408" y="35"/>
                </a:lnTo>
                <a:lnTo>
                  <a:pt x="417" y="32"/>
                </a:lnTo>
                <a:lnTo>
                  <a:pt x="428" y="31"/>
                </a:lnTo>
                <a:lnTo>
                  <a:pt x="439" y="30"/>
                </a:lnTo>
                <a:lnTo>
                  <a:pt x="448" y="30"/>
                </a:lnTo>
                <a:lnTo>
                  <a:pt x="466" y="30"/>
                </a:lnTo>
                <a:lnTo>
                  <a:pt x="482" y="32"/>
                </a:lnTo>
                <a:lnTo>
                  <a:pt x="498" y="36"/>
                </a:lnTo>
                <a:lnTo>
                  <a:pt x="513" y="40"/>
                </a:lnTo>
                <a:lnTo>
                  <a:pt x="528" y="45"/>
                </a:lnTo>
                <a:lnTo>
                  <a:pt x="542" y="52"/>
                </a:lnTo>
                <a:lnTo>
                  <a:pt x="555" y="59"/>
                </a:lnTo>
                <a:lnTo>
                  <a:pt x="568" y="68"/>
                </a:lnTo>
                <a:lnTo>
                  <a:pt x="581" y="77"/>
                </a:lnTo>
                <a:lnTo>
                  <a:pt x="593" y="88"/>
                </a:lnTo>
                <a:lnTo>
                  <a:pt x="604" y="100"/>
                </a:lnTo>
                <a:lnTo>
                  <a:pt x="613" y="113"/>
                </a:lnTo>
                <a:lnTo>
                  <a:pt x="623" y="126"/>
                </a:lnTo>
                <a:lnTo>
                  <a:pt x="632" y="139"/>
                </a:lnTo>
                <a:lnTo>
                  <a:pt x="638" y="154"/>
                </a:lnTo>
                <a:lnTo>
                  <a:pt x="644" y="170"/>
                </a:lnTo>
                <a:lnTo>
                  <a:pt x="646" y="175"/>
                </a:lnTo>
                <a:lnTo>
                  <a:pt x="651" y="178"/>
                </a:lnTo>
                <a:lnTo>
                  <a:pt x="655" y="179"/>
                </a:lnTo>
                <a:lnTo>
                  <a:pt x="660" y="179"/>
                </a:lnTo>
                <a:lnTo>
                  <a:pt x="668" y="179"/>
                </a:lnTo>
                <a:lnTo>
                  <a:pt x="676" y="179"/>
                </a:lnTo>
                <a:lnTo>
                  <a:pt x="685" y="179"/>
                </a:lnTo>
                <a:lnTo>
                  <a:pt x="693" y="180"/>
                </a:lnTo>
                <a:lnTo>
                  <a:pt x="709" y="184"/>
                </a:lnTo>
                <a:lnTo>
                  <a:pt x="724" y="190"/>
                </a:lnTo>
                <a:lnTo>
                  <a:pt x="736" y="197"/>
                </a:lnTo>
                <a:lnTo>
                  <a:pt x="749" y="206"/>
                </a:lnTo>
                <a:lnTo>
                  <a:pt x="756" y="211"/>
                </a:lnTo>
                <a:lnTo>
                  <a:pt x="761" y="217"/>
                </a:lnTo>
                <a:lnTo>
                  <a:pt x="765" y="223"/>
                </a:lnTo>
                <a:lnTo>
                  <a:pt x="771" y="229"/>
                </a:lnTo>
                <a:lnTo>
                  <a:pt x="775" y="235"/>
                </a:lnTo>
                <a:lnTo>
                  <a:pt x="778" y="242"/>
                </a:lnTo>
                <a:lnTo>
                  <a:pt x="781" y="249"/>
                </a:lnTo>
                <a:lnTo>
                  <a:pt x="785" y="256"/>
                </a:lnTo>
                <a:lnTo>
                  <a:pt x="788" y="270"/>
                </a:lnTo>
                <a:lnTo>
                  <a:pt x="790" y="286"/>
                </a:lnTo>
                <a:lnTo>
                  <a:pt x="790" y="302"/>
                </a:lnTo>
                <a:lnTo>
                  <a:pt x="789" y="319"/>
                </a:lnTo>
                <a:lnTo>
                  <a:pt x="785" y="336"/>
                </a:lnTo>
                <a:lnTo>
                  <a:pt x="779" y="355"/>
                </a:lnTo>
                <a:lnTo>
                  <a:pt x="778" y="359"/>
                </a:lnTo>
                <a:lnTo>
                  <a:pt x="779" y="364"/>
                </a:lnTo>
                <a:lnTo>
                  <a:pt x="781" y="369"/>
                </a:lnTo>
                <a:lnTo>
                  <a:pt x="786" y="373"/>
                </a:lnTo>
                <a:lnTo>
                  <a:pt x="793" y="377"/>
                </a:lnTo>
                <a:lnTo>
                  <a:pt x="801" y="382"/>
                </a:lnTo>
                <a:lnTo>
                  <a:pt x="808" y="389"/>
                </a:lnTo>
                <a:lnTo>
                  <a:pt x="816" y="395"/>
                </a:lnTo>
                <a:lnTo>
                  <a:pt x="823" y="403"/>
                </a:lnTo>
                <a:lnTo>
                  <a:pt x="830" y="410"/>
                </a:lnTo>
                <a:lnTo>
                  <a:pt x="836" y="419"/>
                </a:lnTo>
                <a:lnTo>
                  <a:pt x="842" y="427"/>
                </a:lnTo>
                <a:lnTo>
                  <a:pt x="848" y="436"/>
                </a:lnTo>
                <a:lnTo>
                  <a:pt x="853" y="446"/>
                </a:lnTo>
                <a:lnTo>
                  <a:pt x="857" y="455"/>
                </a:lnTo>
                <a:lnTo>
                  <a:pt x="861" y="466"/>
                </a:lnTo>
                <a:lnTo>
                  <a:pt x="864" y="476"/>
                </a:lnTo>
                <a:lnTo>
                  <a:pt x="866" y="486"/>
                </a:lnTo>
                <a:lnTo>
                  <a:pt x="867" y="498"/>
                </a:lnTo>
                <a:lnTo>
                  <a:pt x="868" y="509"/>
                </a:lnTo>
                <a:lnTo>
                  <a:pt x="867" y="525"/>
                </a:lnTo>
                <a:lnTo>
                  <a:pt x="865" y="540"/>
                </a:lnTo>
                <a:lnTo>
                  <a:pt x="862" y="554"/>
                </a:lnTo>
                <a:lnTo>
                  <a:pt x="856" y="568"/>
                </a:lnTo>
                <a:lnTo>
                  <a:pt x="851" y="582"/>
                </a:lnTo>
                <a:lnTo>
                  <a:pt x="843" y="593"/>
                </a:lnTo>
                <a:lnTo>
                  <a:pt x="835" y="605"/>
                </a:lnTo>
                <a:lnTo>
                  <a:pt x="825" y="616"/>
                </a:lnTo>
                <a:lnTo>
                  <a:pt x="815" y="625"/>
                </a:lnTo>
                <a:lnTo>
                  <a:pt x="803" y="634"/>
                </a:lnTo>
                <a:lnTo>
                  <a:pt x="791" y="640"/>
                </a:lnTo>
                <a:lnTo>
                  <a:pt x="778" y="647"/>
                </a:lnTo>
                <a:lnTo>
                  <a:pt x="764" y="652"/>
                </a:lnTo>
                <a:lnTo>
                  <a:pt x="749" y="655"/>
                </a:lnTo>
                <a:lnTo>
                  <a:pt x="734" y="658"/>
                </a:lnTo>
                <a:lnTo>
                  <a:pt x="718" y="659"/>
                </a:lnTo>
                <a:close/>
                <a:moveTo>
                  <a:pt x="811" y="354"/>
                </a:moveTo>
                <a:lnTo>
                  <a:pt x="817" y="333"/>
                </a:lnTo>
                <a:lnTo>
                  <a:pt x="820" y="314"/>
                </a:lnTo>
                <a:lnTo>
                  <a:pt x="821" y="296"/>
                </a:lnTo>
                <a:lnTo>
                  <a:pt x="820" y="276"/>
                </a:lnTo>
                <a:lnTo>
                  <a:pt x="819" y="268"/>
                </a:lnTo>
                <a:lnTo>
                  <a:pt x="817" y="259"/>
                </a:lnTo>
                <a:lnTo>
                  <a:pt x="815" y="251"/>
                </a:lnTo>
                <a:lnTo>
                  <a:pt x="811" y="242"/>
                </a:lnTo>
                <a:lnTo>
                  <a:pt x="808" y="234"/>
                </a:lnTo>
                <a:lnTo>
                  <a:pt x="804" y="226"/>
                </a:lnTo>
                <a:lnTo>
                  <a:pt x="800" y="219"/>
                </a:lnTo>
                <a:lnTo>
                  <a:pt x="795" y="211"/>
                </a:lnTo>
                <a:lnTo>
                  <a:pt x="790" y="204"/>
                </a:lnTo>
                <a:lnTo>
                  <a:pt x="784" y="197"/>
                </a:lnTo>
                <a:lnTo>
                  <a:pt x="777" y="191"/>
                </a:lnTo>
                <a:lnTo>
                  <a:pt x="771" y="184"/>
                </a:lnTo>
                <a:lnTo>
                  <a:pt x="763" y="179"/>
                </a:lnTo>
                <a:lnTo>
                  <a:pt x="757" y="174"/>
                </a:lnTo>
                <a:lnTo>
                  <a:pt x="748" y="169"/>
                </a:lnTo>
                <a:lnTo>
                  <a:pt x="741" y="165"/>
                </a:lnTo>
                <a:lnTo>
                  <a:pt x="732" y="161"/>
                </a:lnTo>
                <a:lnTo>
                  <a:pt x="724" y="158"/>
                </a:lnTo>
                <a:lnTo>
                  <a:pt x="715" y="156"/>
                </a:lnTo>
                <a:lnTo>
                  <a:pt x="705" y="153"/>
                </a:lnTo>
                <a:lnTo>
                  <a:pt x="697" y="151"/>
                </a:lnTo>
                <a:lnTo>
                  <a:pt x="687" y="150"/>
                </a:lnTo>
                <a:lnTo>
                  <a:pt x="679" y="149"/>
                </a:lnTo>
                <a:lnTo>
                  <a:pt x="669" y="149"/>
                </a:lnTo>
                <a:lnTo>
                  <a:pt x="661" y="133"/>
                </a:lnTo>
                <a:lnTo>
                  <a:pt x="653" y="117"/>
                </a:lnTo>
                <a:lnTo>
                  <a:pt x="643" y="102"/>
                </a:lnTo>
                <a:lnTo>
                  <a:pt x="633" y="88"/>
                </a:lnTo>
                <a:lnTo>
                  <a:pt x="621" y="74"/>
                </a:lnTo>
                <a:lnTo>
                  <a:pt x="609" y="62"/>
                </a:lnTo>
                <a:lnTo>
                  <a:pt x="596" y="51"/>
                </a:lnTo>
                <a:lnTo>
                  <a:pt x="582" y="41"/>
                </a:lnTo>
                <a:lnTo>
                  <a:pt x="567" y="31"/>
                </a:lnTo>
                <a:lnTo>
                  <a:pt x="552" y="23"/>
                </a:lnTo>
                <a:lnTo>
                  <a:pt x="536" y="16"/>
                </a:lnTo>
                <a:lnTo>
                  <a:pt x="519" y="10"/>
                </a:lnTo>
                <a:lnTo>
                  <a:pt x="502" y="6"/>
                </a:lnTo>
                <a:lnTo>
                  <a:pt x="485" y="2"/>
                </a:lnTo>
                <a:lnTo>
                  <a:pt x="467" y="0"/>
                </a:lnTo>
                <a:lnTo>
                  <a:pt x="448" y="0"/>
                </a:lnTo>
                <a:lnTo>
                  <a:pt x="438" y="0"/>
                </a:lnTo>
                <a:lnTo>
                  <a:pt x="426" y="1"/>
                </a:lnTo>
                <a:lnTo>
                  <a:pt x="414" y="2"/>
                </a:lnTo>
                <a:lnTo>
                  <a:pt x="403" y="5"/>
                </a:lnTo>
                <a:lnTo>
                  <a:pt x="392" y="8"/>
                </a:lnTo>
                <a:lnTo>
                  <a:pt x="381" y="11"/>
                </a:lnTo>
                <a:lnTo>
                  <a:pt x="370" y="14"/>
                </a:lnTo>
                <a:lnTo>
                  <a:pt x="360" y="20"/>
                </a:lnTo>
                <a:lnTo>
                  <a:pt x="350" y="24"/>
                </a:lnTo>
                <a:lnTo>
                  <a:pt x="339" y="29"/>
                </a:lnTo>
                <a:lnTo>
                  <a:pt x="330" y="36"/>
                </a:lnTo>
                <a:lnTo>
                  <a:pt x="320" y="41"/>
                </a:lnTo>
                <a:lnTo>
                  <a:pt x="302" y="55"/>
                </a:lnTo>
                <a:lnTo>
                  <a:pt x="285" y="71"/>
                </a:lnTo>
                <a:lnTo>
                  <a:pt x="270" y="88"/>
                </a:lnTo>
                <a:lnTo>
                  <a:pt x="256" y="106"/>
                </a:lnTo>
                <a:lnTo>
                  <a:pt x="243" y="127"/>
                </a:lnTo>
                <a:lnTo>
                  <a:pt x="232" y="148"/>
                </a:lnTo>
                <a:lnTo>
                  <a:pt x="228" y="159"/>
                </a:lnTo>
                <a:lnTo>
                  <a:pt x="224" y="169"/>
                </a:lnTo>
                <a:lnTo>
                  <a:pt x="220" y="181"/>
                </a:lnTo>
                <a:lnTo>
                  <a:pt x="217" y="193"/>
                </a:lnTo>
                <a:lnTo>
                  <a:pt x="214" y="205"/>
                </a:lnTo>
                <a:lnTo>
                  <a:pt x="212" y="217"/>
                </a:lnTo>
                <a:lnTo>
                  <a:pt x="211" y="228"/>
                </a:lnTo>
                <a:lnTo>
                  <a:pt x="210" y="241"/>
                </a:lnTo>
                <a:lnTo>
                  <a:pt x="188" y="243"/>
                </a:lnTo>
                <a:lnTo>
                  <a:pt x="167" y="248"/>
                </a:lnTo>
                <a:lnTo>
                  <a:pt x="147" y="254"/>
                </a:lnTo>
                <a:lnTo>
                  <a:pt x="127" y="263"/>
                </a:lnTo>
                <a:lnTo>
                  <a:pt x="109" y="272"/>
                </a:lnTo>
                <a:lnTo>
                  <a:pt x="92" y="284"/>
                </a:lnTo>
                <a:lnTo>
                  <a:pt x="76" y="297"/>
                </a:lnTo>
                <a:lnTo>
                  <a:pt x="61" y="311"/>
                </a:lnTo>
                <a:lnTo>
                  <a:pt x="47" y="327"/>
                </a:lnTo>
                <a:lnTo>
                  <a:pt x="35" y="343"/>
                </a:lnTo>
                <a:lnTo>
                  <a:pt x="24" y="361"/>
                </a:lnTo>
                <a:lnTo>
                  <a:pt x="16" y="380"/>
                </a:lnTo>
                <a:lnTo>
                  <a:pt x="9" y="400"/>
                </a:lnTo>
                <a:lnTo>
                  <a:pt x="4" y="421"/>
                </a:lnTo>
                <a:lnTo>
                  <a:pt x="1" y="442"/>
                </a:lnTo>
                <a:lnTo>
                  <a:pt x="0" y="464"/>
                </a:lnTo>
                <a:lnTo>
                  <a:pt x="0" y="476"/>
                </a:lnTo>
                <a:lnTo>
                  <a:pt x="1" y="487"/>
                </a:lnTo>
                <a:lnTo>
                  <a:pt x="2" y="498"/>
                </a:lnTo>
                <a:lnTo>
                  <a:pt x="4" y="509"/>
                </a:lnTo>
                <a:lnTo>
                  <a:pt x="7" y="521"/>
                </a:lnTo>
                <a:lnTo>
                  <a:pt x="9" y="530"/>
                </a:lnTo>
                <a:lnTo>
                  <a:pt x="14" y="541"/>
                </a:lnTo>
                <a:lnTo>
                  <a:pt x="18" y="552"/>
                </a:lnTo>
                <a:lnTo>
                  <a:pt x="27" y="571"/>
                </a:lnTo>
                <a:lnTo>
                  <a:pt x="38" y="589"/>
                </a:lnTo>
                <a:lnTo>
                  <a:pt x="51" y="607"/>
                </a:lnTo>
                <a:lnTo>
                  <a:pt x="66" y="622"/>
                </a:lnTo>
                <a:lnTo>
                  <a:pt x="81" y="637"/>
                </a:lnTo>
                <a:lnTo>
                  <a:pt x="99" y="650"/>
                </a:lnTo>
                <a:lnTo>
                  <a:pt x="118" y="661"/>
                </a:lnTo>
                <a:lnTo>
                  <a:pt x="137" y="670"/>
                </a:lnTo>
                <a:lnTo>
                  <a:pt x="148" y="675"/>
                </a:lnTo>
                <a:lnTo>
                  <a:pt x="157" y="678"/>
                </a:lnTo>
                <a:lnTo>
                  <a:pt x="168" y="681"/>
                </a:lnTo>
                <a:lnTo>
                  <a:pt x="180" y="683"/>
                </a:lnTo>
                <a:lnTo>
                  <a:pt x="190" y="685"/>
                </a:lnTo>
                <a:lnTo>
                  <a:pt x="201" y="687"/>
                </a:lnTo>
                <a:lnTo>
                  <a:pt x="213" y="687"/>
                </a:lnTo>
                <a:lnTo>
                  <a:pt x="225" y="689"/>
                </a:lnTo>
                <a:lnTo>
                  <a:pt x="718" y="689"/>
                </a:lnTo>
                <a:lnTo>
                  <a:pt x="737" y="687"/>
                </a:lnTo>
                <a:lnTo>
                  <a:pt x="756" y="684"/>
                </a:lnTo>
                <a:lnTo>
                  <a:pt x="773" y="681"/>
                </a:lnTo>
                <a:lnTo>
                  <a:pt x="790" y="675"/>
                </a:lnTo>
                <a:lnTo>
                  <a:pt x="805" y="667"/>
                </a:lnTo>
                <a:lnTo>
                  <a:pt x="820" y="659"/>
                </a:lnTo>
                <a:lnTo>
                  <a:pt x="834" y="649"/>
                </a:lnTo>
                <a:lnTo>
                  <a:pt x="847" y="637"/>
                </a:lnTo>
                <a:lnTo>
                  <a:pt x="857" y="624"/>
                </a:lnTo>
                <a:lnTo>
                  <a:pt x="868" y="610"/>
                </a:lnTo>
                <a:lnTo>
                  <a:pt x="877" y="597"/>
                </a:lnTo>
                <a:lnTo>
                  <a:pt x="884" y="580"/>
                </a:lnTo>
                <a:lnTo>
                  <a:pt x="891" y="563"/>
                </a:lnTo>
                <a:lnTo>
                  <a:pt x="895" y="546"/>
                </a:lnTo>
                <a:lnTo>
                  <a:pt x="897" y="528"/>
                </a:lnTo>
                <a:lnTo>
                  <a:pt x="898" y="509"/>
                </a:lnTo>
                <a:lnTo>
                  <a:pt x="897" y="498"/>
                </a:lnTo>
                <a:lnTo>
                  <a:pt x="896" y="486"/>
                </a:lnTo>
                <a:lnTo>
                  <a:pt x="895" y="476"/>
                </a:lnTo>
                <a:lnTo>
                  <a:pt x="892" y="465"/>
                </a:lnTo>
                <a:lnTo>
                  <a:pt x="888" y="454"/>
                </a:lnTo>
                <a:lnTo>
                  <a:pt x="884" y="443"/>
                </a:lnTo>
                <a:lnTo>
                  <a:pt x="880" y="433"/>
                </a:lnTo>
                <a:lnTo>
                  <a:pt x="875" y="422"/>
                </a:lnTo>
                <a:lnTo>
                  <a:pt x="868" y="412"/>
                </a:lnTo>
                <a:lnTo>
                  <a:pt x="862" y="403"/>
                </a:lnTo>
                <a:lnTo>
                  <a:pt x="854" y="393"/>
                </a:lnTo>
                <a:lnTo>
                  <a:pt x="847" y="385"/>
                </a:lnTo>
                <a:lnTo>
                  <a:pt x="838" y="376"/>
                </a:lnTo>
                <a:lnTo>
                  <a:pt x="830" y="367"/>
                </a:lnTo>
                <a:lnTo>
                  <a:pt x="821" y="360"/>
                </a:lnTo>
                <a:lnTo>
                  <a:pt x="811" y="354"/>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962" name="Group 66">
            <a:extLst>
              <a:ext uri="{FF2B5EF4-FFF2-40B4-BE49-F238E27FC236}">
                <a16:creationId xmlns:a16="http://schemas.microsoft.com/office/drawing/2014/main" id="{4699049E-BA58-469F-9A13-97A1F098D3B0}"/>
              </a:ext>
            </a:extLst>
          </p:cNvPr>
          <p:cNvGrpSpPr>
            <a:grpSpLocks noChangeAspect="1"/>
          </p:cNvGrpSpPr>
          <p:nvPr/>
        </p:nvGrpSpPr>
        <p:grpSpPr>
          <a:xfrm>
            <a:off x="8391782" y="5944848"/>
            <a:ext cx="112987" cy="308144"/>
            <a:chOff x="1562100" y="1339850"/>
            <a:chExt cx="104775" cy="285750"/>
          </a:xfrm>
          <a:solidFill>
            <a:schemeClr val="bg2"/>
          </a:solidFill>
          <a:effectLst/>
        </p:grpSpPr>
        <p:sp>
          <p:nvSpPr>
            <p:cNvPr id="963" name="Freeform 91">
              <a:extLst>
                <a:ext uri="{FF2B5EF4-FFF2-40B4-BE49-F238E27FC236}">
                  <a16:creationId xmlns:a16="http://schemas.microsoft.com/office/drawing/2014/main" id="{639AB16C-8DC9-4D85-B8FA-49B65C65AC26}"/>
                </a:ext>
              </a:extLst>
            </p:cNvPr>
            <p:cNvSpPr>
              <a:spLocks noEditPoints="1"/>
            </p:cNvSpPr>
            <p:nvPr/>
          </p:nvSpPr>
          <p:spPr bwMode="auto">
            <a:xfrm>
              <a:off x="1595438" y="1420813"/>
              <a:ext cx="38100" cy="171450"/>
            </a:xfrm>
            <a:custGeom>
              <a:avLst/>
              <a:gdLst>
                <a:gd name="T0" fmla="*/ 54 w 120"/>
                <a:gd name="T1" fmla="*/ 509 h 540"/>
                <a:gd name="T2" fmla="*/ 43 w 120"/>
                <a:gd name="T3" fmla="*/ 504 h 540"/>
                <a:gd name="T4" fmla="*/ 35 w 120"/>
                <a:gd name="T5" fmla="*/ 496 h 540"/>
                <a:gd name="T6" fmla="*/ 30 w 120"/>
                <a:gd name="T7" fmla="*/ 485 h 540"/>
                <a:gd name="T8" fmla="*/ 30 w 120"/>
                <a:gd name="T9" fmla="*/ 473 h 540"/>
                <a:gd name="T10" fmla="*/ 35 w 120"/>
                <a:gd name="T11" fmla="*/ 463 h 540"/>
                <a:gd name="T12" fmla="*/ 43 w 120"/>
                <a:gd name="T13" fmla="*/ 454 h 540"/>
                <a:gd name="T14" fmla="*/ 54 w 120"/>
                <a:gd name="T15" fmla="*/ 450 h 540"/>
                <a:gd name="T16" fmla="*/ 65 w 120"/>
                <a:gd name="T17" fmla="*/ 450 h 540"/>
                <a:gd name="T18" fmla="*/ 76 w 120"/>
                <a:gd name="T19" fmla="*/ 454 h 540"/>
                <a:gd name="T20" fmla="*/ 85 w 120"/>
                <a:gd name="T21" fmla="*/ 463 h 540"/>
                <a:gd name="T22" fmla="*/ 89 w 120"/>
                <a:gd name="T23" fmla="*/ 473 h 540"/>
                <a:gd name="T24" fmla="*/ 89 w 120"/>
                <a:gd name="T25" fmla="*/ 485 h 540"/>
                <a:gd name="T26" fmla="*/ 85 w 120"/>
                <a:gd name="T27" fmla="*/ 496 h 540"/>
                <a:gd name="T28" fmla="*/ 76 w 120"/>
                <a:gd name="T29" fmla="*/ 504 h 540"/>
                <a:gd name="T30" fmla="*/ 65 w 120"/>
                <a:gd name="T31" fmla="*/ 509 h 540"/>
                <a:gd name="T32" fmla="*/ 75 w 120"/>
                <a:gd name="T33" fmla="*/ 423 h 540"/>
                <a:gd name="T34" fmla="*/ 74 w 120"/>
                <a:gd name="T35" fmla="*/ 13 h 540"/>
                <a:gd name="T36" fmla="*/ 72 w 120"/>
                <a:gd name="T37" fmla="*/ 8 h 540"/>
                <a:gd name="T38" fmla="*/ 69 w 120"/>
                <a:gd name="T39" fmla="*/ 4 h 540"/>
                <a:gd name="T40" fmla="*/ 63 w 120"/>
                <a:gd name="T41" fmla="*/ 1 h 540"/>
                <a:gd name="T42" fmla="*/ 57 w 120"/>
                <a:gd name="T43" fmla="*/ 1 h 540"/>
                <a:gd name="T44" fmla="*/ 51 w 120"/>
                <a:gd name="T45" fmla="*/ 4 h 540"/>
                <a:gd name="T46" fmla="*/ 47 w 120"/>
                <a:gd name="T47" fmla="*/ 8 h 540"/>
                <a:gd name="T48" fmla="*/ 45 w 120"/>
                <a:gd name="T49" fmla="*/ 13 h 540"/>
                <a:gd name="T50" fmla="*/ 45 w 120"/>
                <a:gd name="T51" fmla="*/ 423 h 540"/>
                <a:gd name="T52" fmla="*/ 27 w 120"/>
                <a:gd name="T53" fmla="*/ 431 h 540"/>
                <a:gd name="T54" fmla="*/ 13 w 120"/>
                <a:gd name="T55" fmla="*/ 443 h 540"/>
                <a:gd name="T56" fmla="*/ 3 w 120"/>
                <a:gd name="T57" fmla="*/ 461 h 540"/>
                <a:gd name="T58" fmla="*/ 0 w 120"/>
                <a:gd name="T59" fmla="*/ 480 h 540"/>
                <a:gd name="T60" fmla="*/ 1 w 120"/>
                <a:gd name="T61" fmla="*/ 492 h 540"/>
                <a:gd name="T62" fmla="*/ 4 w 120"/>
                <a:gd name="T63" fmla="*/ 502 h 540"/>
                <a:gd name="T64" fmla="*/ 10 w 120"/>
                <a:gd name="T65" fmla="*/ 513 h 540"/>
                <a:gd name="T66" fmla="*/ 17 w 120"/>
                <a:gd name="T67" fmla="*/ 522 h 540"/>
                <a:gd name="T68" fmla="*/ 26 w 120"/>
                <a:gd name="T69" fmla="*/ 529 h 540"/>
                <a:gd name="T70" fmla="*/ 36 w 120"/>
                <a:gd name="T71" fmla="*/ 534 h 540"/>
                <a:gd name="T72" fmla="*/ 47 w 120"/>
                <a:gd name="T73" fmla="*/ 538 h 540"/>
                <a:gd name="T74" fmla="*/ 60 w 120"/>
                <a:gd name="T75" fmla="*/ 540 h 540"/>
                <a:gd name="T76" fmla="*/ 72 w 120"/>
                <a:gd name="T77" fmla="*/ 538 h 540"/>
                <a:gd name="T78" fmla="*/ 84 w 120"/>
                <a:gd name="T79" fmla="*/ 534 h 540"/>
                <a:gd name="T80" fmla="*/ 93 w 120"/>
                <a:gd name="T81" fmla="*/ 529 h 540"/>
                <a:gd name="T82" fmla="*/ 102 w 120"/>
                <a:gd name="T83" fmla="*/ 522 h 540"/>
                <a:gd name="T84" fmla="*/ 109 w 120"/>
                <a:gd name="T85" fmla="*/ 513 h 540"/>
                <a:gd name="T86" fmla="*/ 115 w 120"/>
                <a:gd name="T87" fmla="*/ 502 h 540"/>
                <a:gd name="T88" fmla="*/ 119 w 120"/>
                <a:gd name="T89" fmla="*/ 492 h 540"/>
                <a:gd name="T90" fmla="*/ 120 w 120"/>
                <a:gd name="T91" fmla="*/ 480 h 540"/>
                <a:gd name="T92" fmla="*/ 116 w 120"/>
                <a:gd name="T93" fmla="*/ 461 h 540"/>
                <a:gd name="T94" fmla="*/ 107 w 120"/>
                <a:gd name="T95" fmla="*/ 443 h 540"/>
                <a:gd name="T96" fmla="*/ 92 w 120"/>
                <a:gd name="T97" fmla="*/ 431 h 540"/>
                <a:gd name="T98" fmla="*/ 75 w 120"/>
                <a:gd name="T99" fmla="*/ 42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540">
                  <a:moveTo>
                    <a:pt x="60" y="510"/>
                  </a:moveTo>
                  <a:lnTo>
                    <a:pt x="54" y="509"/>
                  </a:lnTo>
                  <a:lnTo>
                    <a:pt x="48" y="507"/>
                  </a:lnTo>
                  <a:lnTo>
                    <a:pt x="43" y="504"/>
                  </a:lnTo>
                  <a:lnTo>
                    <a:pt x="39" y="500"/>
                  </a:lnTo>
                  <a:lnTo>
                    <a:pt x="35" y="496"/>
                  </a:lnTo>
                  <a:lnTo>
                    <a:pt x="32" y="491"/>
                  </a:lnTo>
                  <a:lnTo>
                    <a:pt x="30" y="485"/>
                  </a:lnTo>
                  <a:lnTo>
                    <a:pt x="30" y="480"/>
                  </a:lnTo>
                  <a:lnTo>
                    <a:pt x="30" y="473"/>
                  </a:lnTo>
                  <a:lnTo>
                    <a:pt x="32" y="468"/>
                  </a:lnTo>
                  <a:lnTo>
                    <a:pt x="35" y="463"/>
                  </a:lnTo>
                  <a:lnTo>
                    <a:pt x="39" y="458"/>
                  </a:lnTo>
                  <a:lnTo>
                    <a:pt x="43" y="454"/>
                  </a:lnTo>
                  <a:lnTo>
                    <a:pt x="48" y="452"/>
                  </a:lnTo>
                  <a:lnTo>
                    <a:pt x="54" y="450"/>
                  </a:lnTo>
                  <a:lnTo>
                    <a:pt x="60" y="450"/>
                  </a:lnTo>
                  <a:lnTo>
                    <a:pt x="65" y="450"/>
                  </a:lnTo>
                  <a:lnTo>
                    <a:pt x="72" y="452"/>
                  </a:lnTo>
                  <a:lnTo>
                    <a:pt x="76" y="454"/>
                  </a:lnTo>
                  <a:lnTo>
                    <a:pt x="80" y="458"/>
                  </a:lnTo>
                  <a:lnTo>
                    <a:pt x="85" y="463"/>
                  </a:lnTo>
                  <a:lnTo>
                    <a:pt x="88" y="468"/>
                  </a:lnTo>
                  <a:lnTo>
                    <a:pt x="89" y="473"/>
                  </a:lnTo>
                  <a:lnTo>
                    <a:pt x="90" y="480"/>
                  </a:lnTo>
                  <a:lnTo>
                    <a:pt x="89" y="485"/>
                  </a:lnTo>
                  <a:lnTo>
                    <a:pt x="88" y="491"/>
                  </a:lnTo>
                  <a:lnTo>
                    <a:pt x="85" y="496"/>
                  </a:lnTo>
                  <a:lnTo>
                    <a:pt x="80" y="500"/>
                  </a:lnTo>
                  <a:lnTo>
                    <a:pt x="76" y="504"/>
                  </a:lnTo>
                  <a:lnTo>
                    <a:pt x="72" y="507"/>
                  </a:lnTo>
                  <a:lnTo>
                    <a:pt x="65" y="509"/>
                  </a:lnTo>
                  <a:lnTo>
                    <a:pt x="60" y="510"/>
                  </a:lnTo>
                  <a:close/>
                  <a:moveTo>
                    <a:pt x="75" y="423"/>
                  </a:moveTo>
                  <a:lnTo>
                    <a:pt x="75" y="15"/>
                  </a:lnTo>
                  <a:lnTo>
                    <a:pt x="74" y="13"/>
                  </a:lnTo>
                  <a:lnTo>
                    <a:pt x="74" y="10"/>
                  </a:lnTo>
                  <a:lnTo>
                    <a:pt x="72" y="8"/>
                  </a:lnTo>
                  <a:lnTo>
                    <a:pt x="71" y="6"/>
                  </a:lnTo>
                  <a:lnTo>
                    <a:pt x="69" y="4"/>
                  </a:lnTo>
                  <a:lnTo>
                    <a:pt x="65" y="1"/>
                  </a:lnTo>
                  <a:lnTo>
                    <a:pt x="63" y="1"/>
                  </a:lnTo>
                  <a:lnTo>
                    <a:pt x="60" y="0"/>
                  </a:lnTo>
                  <a:lnTo>
                    <a:pt x="57" y="1"/>
                  </a:lnTo>
                  <a:lnTo>
                    <a:pt x="54" y="1"/>
                  </a:lnTo>
                  <a:lnTo>
                    <a:pt x="51" y="4"/>
                  </a:lnTo>
                  <a:lnTo>
                    <a:pt x="49" y="6"/>
                  </a:lnTo>
                  <a:lnTo>
                    <a:pt x="47" y="8"/>
                  </a:lnTo>
                  <a:lnTo>
                    <a:pt x="46" y="10"/>
                  </a:lnTo>
                  <a:lnTo>
                    <a:pt x="45" y="13"/>
                  </a:lnTo>
                  <a:lnTo>
                    <a:pt x="45" y="15"/>
                  </a:lnTo>
                  <a:lnTo>
                    <a:pt x="45" y="423"/>
                  </a:lnTo>
                  <a:lnTo>
                    <a:pt x="35" y="425"/>
                  </a:lnTo>
                  <a:lnTo>
                    <a:pt x="27" y="431"/>
                  </a:lnTo>
                  <a:lnTo>
                    <a:pt x="19" y="436"/>
                  </a:lnTo>
                  <a:lnTo>
                    <a:pt x="13" y="443"/>
                  </a:lnTo>
                  <a:lnTo>
                    <a:pt x="8" y="451"/>
                  </a:lnTo>
                  <a:lnTo>
                    <a:pt x="3" y="461"/>
                  </a:lnTo>
                  <a:lnTo>
                    <a:pt x="1" y="469"/>
                  </a:lnTo>
                  <a:lnTo>
                    <a:pt x="0" y="480"/>
                  </a:lnTo>
                  <a:lnTo>
                    <a:pt x="0" y="485"/>
                  </a:lnTo>
                  <a:lnTo>
                    <a:pt x="1" y="492"/>
                  </a:lnTo>
                  <a:lnTo>
                    <a:pt x="2" y="497"/>
                  </a:lnTo>
                  <a:lnTo>
                    <a:pt x="4" y="502"/>
                  </a:lnTo>
                  <a:lnTo>
                    <a:pt x="8" y="508"/>
                  </a:lnTo>
                  <a:lnTo>
                    <a:pt x="10" y="513"/>
                  </a:lnTo>
                  <a:lnTo>
                    <a:pt x="14" y="517"/>
                  </a:lnTo>
                  <a:lnTo>
                    <a:pt x="17" y="522"/>
                  </a:lnTo>
                  <a:lnTo>
                    <a:pt x="21" y="526"/>
                  </a:lnTo>
                  <a:lnTo>
                    <a:pt x="26" y="529"/>
                  </a:lnTo>
                  <a:lnTo>
                    <a:pt x="31" y="532"/>
                  </a:lnTo>
                  <a:lnTo>
                    <a:pt x="36" y="534"/>
                  </a:lnTo>
                  <a:lnTo>
                    <a:pt x="42" y="537"/>
                  </a:lnTo>
                  <a:lnTo>
                    <a:pt x="47" y="538"/>
                  </a:lnTo>
                  <a:lnTo>
                    <a:pt x="54" y="539"/>
                  </a:lnTo>
                  <a:lnTo>
                    <a:pt x="60" y="540"/>
                  </a:lnTo>
                  <a:lnTo>
                    <a:pt x="65" y="539"/>
                  </a:lnTo>
                  <a:lnTo>
                    <a:pt x="72" y="538"/>
                  </a:lnTo>
                  <a:lnTo>
                    <a:pt x="77" y="537"/>
                  </a:lnTo>
                  <a:lnTo>
                    <a:pt x="84" y="534"/>
                  </a:lnTo>
                  <a:lnTo>
                    <a:pt x="88" y="532"/>
                  </a:lnTo>
                  <a:lnTo>
                    <a:pt x="93" y="529"/>
                  </a:lnTo>
                  <a:lnTo>
                    <a:pt x="97" y="526"/>
                  </a:lnTo>
                  <a:lnTo>
                    <a:pt x="102" y="522"/>
                  </a:lnTo>
                  <a:lnTo>
                    <a:pt x="106" y="517"/>
                  </a:lnTo>
                  <a:lnTo>
                    <a:pt x="109" y="513"/>
                  </a:lnTo>
                  <a:lnTo>
                    <a:pt x="112" y="508"/>
                  </a:lnTo>
                  <a:lnTo>
                    <a:pt x="115" y="502"/>
                  </a:lnTo>
                  <a:lnTo>
                    <a:pt x="117" y="497"/>
                  </a:lnTo>
                  <a:lnTo>
                    <a:pt x="119" y="492"/>
                  </a:lnTo>
                  <a:lnTo>
                    <a:pt x="119" y="485"/>
                  </a:lnTo>
                  <a:lnTo>
                    <a:pt x="120" y="480"/>
                  </a:lnTo>
                  <a:lnTo>
                    <a:pt x="119" y="469"/>
                  </a:lnTo>
                  <a:lnTo>
                    <a:pt x="116" y="461"/>
                  </a:lnTo>
                  <a:lnTo>
                    <a:pt x="112" y="451"/>
                  </a:lnTo>
                  <a:lnTo>
                    <a:pt x="107" y="443"/>
                  </a:lnTo>
                  <a:lnTo>
                    <a:pt x="101" y="436"/>
                  </a:lnTo>
                  <a:lnTo>
                    <a:pt x="92" y="431"/>
                  </a:lnTo>
                  <a:lnTo>
                    <a:pt x="84" y="425"/>
                  </a:lnTo>
                  <a:lnTo>
                    <a:pt x="75"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4" name="Freeform 92">
              <a:extLst>
                <a:ext uri="{FF2B5EF4-FFF2-40B4-BE49-F238E27FC236}">
                  <a16:creationId xmlns:a16="http://schemas.microsoft.com/office/drawing/2014/main" id="{D9846538-9CD9-47F6-8097-47438F373A8A}"/>
                </a:ext>
              </a:extLst>
            </p:cNvPr>
            <p:cNvSpPr>
              <a:spLocks noEditPoints="1"/>
            </p:cNvSpPr>
            <p:nvPr/>
          </p:nvSpPr>
          <p:spPr bwMode="auto">
            <a:xfrm>
              <a:off x="1562100" y="1339850"/>
              <a:ext cx="104775" cy="285750"/>
            </a:xfrm>
            <a:custGeom>
              <a:avLst/>
              <a:gdLst>
                <a:gd name="T0" fmla="*/ 137 w 330"/>
                <a:gd name="T1" fmla="*/ 864 h 897"/>
                <a:gd name="T2" fmla="*/ 101 w 330"/>
                <a:gd name="T3" fmla="*/ 851 h 897"/>
                <a:gd name="T4" fmla="*/ 70 w 330"/>
                <a:gd name="T5" fmla="*/ 828 h 897"/>
                <a:gd name="T6" fmla="*/ 46 w 330"/>
                <a:gd name="T7" fmla="*/ 797 h 897"/>
                <a:gd name="T8" fmla="*/ 32 w 330"/>
                <a:gd name="T9" fmla="*/ 760 h 897"/>
                <a:gd name="T10" fmla="*/ 31 w 330"/>
                <a:gd name="T11" fmla="*/ 717 h 897"/>
                <a:gd name="T12" fmla="*/ 44 w 330"/>
                <a:gd name="T13" fmla="*/ 673 h 897"/>
                <a:gd name="T14" fmla="*/ 72 w 330"/>
                <a:gd name="T15" fmla="*/ 636 h 897"/>
                <a:gd name="T16" fmla="*/ 88 w 330"/>
                <a:gd name="T17" fmla="*/ 620 h 897"/>
                <a:gd name="T18" fmla="*/ 90 w 330"/>
                <a:gd name="T19" fmla="*/ 103 h 897"/>
                <a:gd name="T20" fmla="*/ 93 w 330"/>
                <a:gd name="T21" fmla="*/ 82 h 897"/>
                <a:gd name="T22" fmla="*/ 103 w 330"/>
                <a:gd name="T23" fmla="*/ 63 h 897"/>
                <a:gd name="T24" fmla="*/ 117 w 330"/>
                <a:gd name="T25" fmla="*/ 47 h 897"/>
                <a:gd name="T26" fmla="*/ 136 w 330"/>
                <a:gd name="T27" fmla="*/ 35 h 897"/>
                <a:gd name="T28" fmla="*/ 158 w 330"/>
                <a:gd name="T29" fmla="*/ 30 h 897"/>
                <a:gd name="T30" fmla="*/ 180 w 330"/>
                <a:gd name="T31" fmla="*/ 31 h 897"/>
                <a:gd name="T32" fmla="*/ 200 w 330"/>
                <a:gd name="T33" fmla="*/ 38 h 897"/>
                <a:gd name="T34" fmla="*/ 217 w 330"/>
                <a:gd name="T35" fmla="*/ 51 h 897"/>
                <a:gd name="T36" fmla="*/ 230 w 330"/>
                <a:gd name="T37" fmla="*/ 69 h 897"/>
                <a:gd name="T38" fmla="*/ 238 w 330"/>
                <a:gd name="T39" fmla="*/ 90 h 897"/>
                <a:gd name="T40" fmla="*/ 240 w 330"/>
                <a:gd name="T41" fmla="*/ 614 h 897"/>
                <a:gd name="T42" fmla="*/ 243 w 330"/>
                <a:gd name="T43" fmla="*/ 624 h 897"/>
                <a:gd name="T44" fmla="*/ 269 w 330"/>
                <a:gd name="T45" fmla="*/ 647 h 897"/>
                <a:gd name="T46" fmla="*/ 291 w 330"/>
                <a:gd name="T47" fmla="*/ 687 h 897"/>
                <a:gd name="T48" fmla="*/ 300 w 330"/>
                <a:gd name="T49" fmla="*/ 733 h 897"/>
                <a:gd name="T50" fmla="*/ 293 w 330"/>
                <a:gd name="T51" fmla="*/ 772 h 897"/>
                <a:gd name="T52" fmla="*/ 276 w 330"/>
                <a:gd name="T53" fmla="*/ 808 h 897"/>
                <a:gd name="T54" fmla="*/ 251 w 330"/>
                <a:gd name="T55" fmla="*/ 837 h 897"/>
                <a:gd name="T56" fmla="*/ 217 w 330"/>
                <a:gd name="T57" fmla="*/ 857 h 897"/>
                <a:gd name="T58" fmla="*/ 179 w 330"/>
                <a:gd name="T59" fmla="*/ 867 h 897"/>
                <a:gd name="T60" fmla="*/ 270 w 330"/>
                <a:gd name="T61" fmla="*/ 103 h 897"/>
                <a:gd name="T62" fmla="*/ 265 w 330"/>
                <a:gd name="T63" fmla="*/ 73 h 897"/>
                <a:gd name="T64" fmla="*/ 252 w 330"/>
                <a:gd name="T65" fmla="*/ 46 h 897"/>
                <a:gd name="T66" fmla="*/ 231 w 330"/>
                <a:gd name="T67" fmla="*/ 23 h 897"/>
                <a:gd name="T68" fmla="*/ 206 w 330"/>
                <a:gd name="T69" fmla="*/ 7 h 897"/>
                <a:gd name="T70" fmla="*/ 176 w 330"/>
                <a:gd name="T71" fmla="*/ 0 h 897"/>
                <a:gd name="T72" fmla="*/ 144 w 330"/>
                <a:gd name="T73" fmla="*/ 2 h 897"/>
                <a:gd name="T74" fmla="*/ 115 w 330"/>
                <a:gd name="T75" fmla="*/ 12 h 897"/>
                <a:gd name="T76" fmla="*/ 91 w 330"/>
                <a:gd name="T77" fmla="*/ 31 h 897"/>
                <a:gd name="T78" fmla="*/ 73 w 330"/>
                <a:gd name="T79" fmla="*/ 54 h 897"/>
                <a:gd name="T80" fmla="*/ 62 w 330"/>
                <a:gd name="T81" fmla="*/ 83 h 897"/>
                <a:gd name="T82" fmla="*/ 60 w 330"/>
                <a:gd name="T83" fmla="*/ 607 h 897"/>
                <a:gd name="T84" fmla="*/ 25 w 330"/>
                <a:gd name="T85" fmla="*/ 647 h 897"/>
                <a:gd name="T86" fmla="*/ 4 w 330"/>
                <a:gd name="T87" fmla="*/ 696 h 897"/>
                <a:gd name="T88" fmla="*/ 1 w 330"/>
                <a:gd name="T89" fmla="*/ 749 h 897"/>
                <a:gd name="T90" fmla="*/ 13 w 330"/>
                <a:gd name="T91" fmla="*/ 797 h 897"/>
                <a:gd name="T92" fmla="*/ 38 w 330"/>
                <a:gd name="T93" fmla="*/ 838 h 897"/>
                <a:gd name="T94" fmla="*/ 73 w 330"/>
                <a:gd name="T95" fmla="*/ 869 h 897"/>
                <a:gd name="T96" fmla="*/ 116 w 330"/>
                <a:gd name="T97" fmla="*/ 890 h 897"/>
                <a:gd name="T98" fmla="*/ 165 w 330"/>
                <a:gd name="T99" fmla="*/ 897 h 897"/>
                <a:gd name="T100" fmla="*/ 213 w 330"/>
                <a:gd name="T101" fmla="*/ 890 h 897"/>
                <a:gd name="T102" fmla="*/ 257 w 330"/>
                <a:gd name="T103" fmla="*/ 869 h 897"/>
                <a:gd name="T104" fmla="*/ 291 w 330"/>
                <a:gd name="T105" fmla="*/ 838 h 897"/>
                <a:gd name="T106" fmla="*/ 316 w 330"/>
                <a:gd name="T107" fmla="*/ 797 h 897"/>
                <a:gd name="T108" fmla="*/ 329 w 330"/>
                <a:gd name="T109" fmla="*/ 749 h 897"/>
                <a:gd name="T110" fmla="*/ 326 w 330"/>
                <a:gd name="T111" fmla="*/ 696 h 897"/>
                <a:gd name="T112" fmla="*/ 305 w 330"/>
                <a:gd name="T113" fmla="*/ 647 h 897"/>
                <a:gd name="T114" fmla="*/ 270 w 330"/>
                <a:gd name="T115" fmla="*/ 60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0" h="897">
                  <a:moveTo>
                    <a:pt x="165" y="867"/>
                  </a:moveTo>
                  <a:lnTo>
                    <a:pt x="151" y="867"/>
                  </a:lnTo>
                  <a:lnTo>
                    <a:pt x="137" y="864"/>
                  </a:lnTo>
                  <a:lnTo>
                    <a:pt x="124" y="861"/>
                  </a:lnTo>
                  <a:lnTo>
                    <a:pt x="113" y="857"/>
                  </a:lnTo>
                  <a:lnTo>
                    <a:pt x="101" y="851"/>
                  </a:lnTo>
                  <a:lnTo>
                    <a:pt x="89" y="844"/>
                  </a:lnTo>
                  <a:lnTo>
                    <a:pt x="79" y="837"/>
                  </a:lnTo>
                  <a:lnTo>
                    <a:pt x="70" y="828"/>
                  </a:lnTo>
                  <a:lnTo>
                    <a:pt x="61" y="818"/>
                  </a:lnTo>
                  <a:lnTo>
                    <a:pt x="53" y="808"/>
                  </a:lnTo>
                  <a:lnTo>
                    <a:pt x="46" y="797"/>
                  </a:lnTo>
                  <a:lnTo>
                    <a:pt x="41" y="785"/>
                  </a:lnTo>
                  <a:lnTo>
                    <a:pt x="37" y="772"/>
                  </a:lnTo>
                  <a:lnTo>
                    <a:pt x="32" y="760"/>
                  </a:lnTo>
                  <a:lnTo>
                    <a:pt x="31" y="747"/>
                  </a:lnTo>
                  <a:lnTo>
                    <a:pt x="30" y="733"/>
                  </a:lnTo>
                  <a:lnTo>
                    <a:pt x="31" y="717"/>
                  </a:lnTo>
                  <a:lnTo>
                    <a:pt x="33" y="702"/>
                  </a:lnTo>
                  <a:lnTo>
                    <a:pt x="38" y="687"/>
                  </a:lnTo>
                  <a:lnTo>
                    <a:pt x="44" y="673"/>
                  </a:lnTo>
                  <a:lnTo>
                    <a:pt x="52" y="660"/>
                  </a:lnTo>
                  <a:lnTo>
                    <a:pt x="61" y="647"/>
                  </a:lnTo>
                  <a:lnTo>
                    <a:pt x="72" y="636"/>
                  </a:lnTo>
                  <a:lnTo>
                    <a:pt x="84" y="626"/>
                  </a:lnTo>
                  <a:lnTo>
                    <a:pt x="87" y="624"/>
                  </a:lnTo>
                  <a:lnTo>
                    <a:pt x="88" y="620"/>
                  </a:lnTo>
                  <a:lnTo>
                    <a:pt x="89" y="617"/>
                  </a:lnTo>
                  <a:lnTo>
                    <a:pt x="90" y="614"/>
                  </a:lnTo>
                  <a:lnTo>
                    <a:pt x="90" y="103"/>
                  </a:lnTo>
                  <a:lnTo>
                    <a:pt x="90" y="96"/>
                  </a:lnTo>
                  <a:lnTo>
                    <a:pt x="91" y="90"/>
                  </a:lnTo>
                  <a:lnTo>
                    <a:pt x="93" y="82"/>
                  </a:lnTo>
                  <a:lnTo>
                    <a:pt x="95" y="76"/>
                  </a:lnTo>
                  <a:lnTo>
                    <a:pt x="99" y="69"/>
                  </a:lnTo>
                  <a:lnTo>
                    <a:pt x="103" y="63"/>
                  </a:lnTo>
                  <a:lnTo>
                    <a:pt x="107" y="56"/>
                  </a:lnTo>
                  <a:lnTo>
                    <a:pt x="111" y="51"/>
                  </a:lnTo>
                  <a:lnTo>
                    <a:pt x="117" y="47"/>
                  </a:lnTo>
                  <a:lnTo>
                    <a:pt x="123" y="42"/>
                  </a:lnTo>
                  <a:lnTo>
                    <a:pt x="129" y="38"/>
                  </a:lnTo>
                  <a:lnTo>
                    <a:pt x="136" y="35"/>
                  </a:lnTo>
                  <a:lnTo>
                    <a:pt x="143" y="33"/>
                  </a:lnTo>
                  <a:lnTo>
                    <a:pt x="150" y="31"/>
                  </a:lnTo>
                  <a:lnTo>
                    <a:pt x="158" y="30"/>
                  </a:lnTo>
                  <a:lnTo>
                    <a:pt x="165" y="30"/>
                  </a:lnTo>
                  <a:lnTo>
                    <a:pt x="172" y="30"/>
                  </a:lnTo>
                  <a:lnTo>
                    <a:pt x="180" y="31"/>
                  </a:lnTo>
                  <a:lnTo>
                    <a:pt x="187" y="33"/>
                  </a:lnTo>
                  <a:lnTo>
                    <a:pt x="194" y="35"/>
                  </a:lnTo>
                  <a:lnTo>
                    <a:pt x="200" y="38"/>
                  </a:lnTo>
                  <a:lnTo>
                    <a:pt x="207" y="42"/>
                  </a:lnTo>
                  <a:lnTo>
                    <a:pt x="212" y="47"/>
                  </a:lnTo>
                  <a:lnTo>
                    <a:pt x="217" y="51"/>
                  </a:lnTo>
                  <a:lnTo>
                    <a:pt x="223" y="56"/>
                  </a:lnTo>
                  <a:lnTo>
                    <a:pt x="227" y="63"/>
                  </a:lnTo>
                  <a:lnTo>
                    <a:pt x="230" y="69"/>
                  </a:lnTo>
                  <a:lnTo>
                    <a:pt x="234" y="76"/>
                  </a:lnTo>
                  <a:lnTo>
                    <a:pt x="237" y="82"/>
                  </a:lnTo>
                  <a:lnTo>
                    <a:pt x="238" y="90"/>
                  </a:lnTo>
                  <a:lnTo>
                    <a:pt x="239" y="96"/>
                  </a:lnTo>
                  <a:lnTo>
                    <a:pt x="240" y="103"/>
                  </a:lnTo>
                  <a:lnTo>
                    <a:pt x="240" y="614"/>
                  </a:lnTo>
                  <a:lnTo>
                    <a:pt x="240" y="617"/>
                  </a:lnTo>
                  <a:lnTo>
                    <a:pt x="241" y="620"/>
                  </a:lnTo>
                  <a:lnTo>
                    <a:pt x="243" y="624"/>
                  </a:lnTo>
                  <a:lnTo>
                    <a:pt x="245" y="626"/>
                  </a:lnTo>
                  <a:lnTo>
                    <a:pt x="258" y="636"/>
                  </a:lnTo>
                  <a:lnTo>
                    <a:pt x="269" y="647"/>
                  </a:lnTo>
                  <a:lnTo>
                    <a:pt x="277" y="660"/>
                  </a:lnTo>
                  <a:lnTo>
                    <a:pt x="285" y="673"/>
                  </a:lnTo>
                  <a:lnTo>
                    <a:pt x="291" y="687"/>
                  </a:lnTo>
                  <a:lnTo>
                    <a:pt x="296" y="702"/>
                  </a:lnTo>
                  <a:lnTo>
                    <a:pt x="299" y="717"/>
                  </a:lnTo>
                  <a:lnTo>
                    <a:pt x="300" y="733"/>
                  </a:lnTo>
                  <a:lnTo>
                    <a:pt x="299" y="747"/>
                  </a:lnTo>
                  <a:lnTo>
                    <a:pt x="297" y="760"/>
                  </a:lnTo>
                  <a:lnTo>
                    <a:pt x="293" y="772"/>
                  </a:lnTo>
                  <a:lnTo>
                    <a:pt x="289" y="785"/>
                  </a:lnTo>
                  <a:lnTo>
                    <a:pt x="283" y="797"/>
                  </a:lnTo>
                  <a:lnTo>
                    <a:pt x="276" y="808"/>
                  </a:lnTo>
                  <a:lnTo>
                    <a:pt x="269" y="818"/>
                  </a:lnTo>
                  <a:lnTo>
                    <a:pt x="260" y="828"/>
                  </a:lnTo>
                  <a:lnTo>
                    <a:pt x="251" y="837"/>
                  </a:lnTo>
                  <a:lnTo>
                    <a:pt x="240" y="844"/>
                  </a:lnTo>
                  <a:lnTo>
                    <a:pt x="229" y="851"/>
                  </a:lnTo>
                  <a:lnTo>
                    <a:pt x="217" y="857"/>
                  </a:lnTo>
                  <a:lnTo>
                    <a:pt x="205" y="861"/>
                  </a:lnTo>
                  <a:lnTo>
                    <a:pt x="192" y="864"/>
                  </a:lnTo>
                  <a:lnTo>
                    <a:pt x="179" y="867"/>
                  </a:lnTo>
                  <a:lnTo>
                    <a:pt x="165" y="867"/>
                  </a:lnTo>
                  <a:close/>
                  <a:moveTo>
                    <a:pt x="270" y="607"/>
                  </a:moveTo>
                  <a:lnTo>
                    <a:pt x="270" y="103"/>
                  </a:lnTo>
                  <a:lnTo>
                    <a:pt x="269" y="94"/>
                  </a:lnTo>
                  <a:lnTo>
                    <a:pt x="268" y="83"/>
                  </a:lnTo>
                  <a:lnTo>
                    <a:pt x="265" y="73"/>
                  </a:lnTo>
                  <a:lnTo>
                    <a:pt x="261" y="64"/>
                  </a:lnTo>
                  <a:lnTo>
                    <a:pt x="257" y="54"/>
                  </a:lnTo>
                  <a:lnTo>
                    <a:pt x="252" y="46"/>
                  </a:lnTo>
                  <a:lnTo>
                    <a:pt x="245" y="38"/>
                  </a:lnTo>
                  <a:lnTo>
                    <a:pt x="239" y="31"/>
                  </a:lnTo>
                  <a:lnTo>
                    <a:pt x="231" y="23"/>
                  </a:lnTo>
                  <a:lnTo>
                    <a:pt x="223" y="18"/>
                  </a:lnTo>
                  <a:lnTo>
                    <a:pt x="214" y="12"/>
                  </a:lnTo>
                  <a:lnTo>
                    <a:pt x="206" y="7"/>
                  </a:lnTo>
                  <a:lnTo>
                    <a:pt x="196" y="4"/>
                  </a:lnTo>
                  <a:lnTo>
                    <a:pt x="185" y="2"/>
                  </a:lnTo>
                  <a:lnTo>
                    <a:pt x="176" y="0"/>
                  </a:lnTo>
                  <a:lnTo>
                    <a:pt x="165" y="0"/>
                  </a:lnTo>
                  <a:lnTo>
                    <a:pt x="154" y="0"/>
                  </a:lnTo>
                  <a:lnTo>
                    <a:pt x="144" y="2"/>
                  </a:lnTo>
                  <a:lnTo>
                    <a:pt x="134" y="4"/>
                  </a:lnTo>
                  <a:lnTo>
                    <a:pt x="124" y="7"/>
                  </a:lnTo>
                  <a:lnTo>
                    <a:pt x="115" y="12"/>
                  </a:lnTo>
                  <a:lnTo>
                    <a:pt x="106" y="18"/>
                  </a:lnTo>
                  <a:lnTo>
                    <a:pt x="99" y="23"/>
                  </a:lnTo>
                  <a:lnTo>
                    <a:pt x="91" y="31"/>
                  </a:lnTo>
                  <a:lnTo>
                    <a:pt x="84" y="38"/>
                  </a:lnTo>
                  <a:lnTo>
                    <a:pt x="78" y="46"/>
                  </a:lnTo>
                  <a:lnTo>
                    <a:pt x="73" y="54"/>
                  </a:lnTo>
                  <a:lnTo>
                    <a:pt x="69" y="64"/>
                  </a:lnTo>
                  <a:lnTo>
                    <a:pt x="64" y="73"/>
                  </a:lnTo>
                  <a:lnTo>
                    <a:pt x="62" y="83"/>
                  </a:lnTo>
                  <a:lnTo>
                    <a:pt x="60" y="94"/>
                  </a:lnTo>
                  <a:lnTo>
                    <a:pt x="60" y="103"/>
                  </a:lnTo>
                  <a:lnTo>
                    <a:pt x="60" y="607"/>
                  </a:lnTo>
                  <a:lnTo>
                    <a:pt x="46" y="619"/>
                  </a:lnTo>
                  <a:lnTo>
                    <a:pt x="34" y="632"/>
                  </a:lnTo>
                  <a:lnTo>
                    <a:pt x="25" y="647"/>
                  </a:lnTo>
                  <a:lnTo>
                    <a:pt x="16" y="663"/>
                  </a:lnTo>
                  <a:lnTo>
                    <a:pt x="9" y="679"/>
                  </a:lnTo>
                  <a:lnTo>
                    <a:pt x="4" y="696"/>
                  </a:lnTo>
                  <a:lnTo>
                    <a:pt x="1" y="715"/>
                  </a:lnTo>
                  <a:lnTo>
                    <a:pt x="0" y="733"/>
                  </a:lnTo>
                  <a:lnTo>
                    <a:pt x="1" y="749"/>
                  </a:lnTo>
                  <a:lnTo>
                    <a:pt x="3" y="766"/>
                  </a:lnTo>
                  <a:lnTo>
                    <a:pt x="8" y="781"/>
                  </a:lnTo>
                  <a:lnTo>
                    <a:pt x="13" y="797"/>
                  </a:lnTo>
                  <a:lnTo>
                    <a:pt x="20" y="811"/>
                  </a:lnTo>
                  <a:lnTo>
                    <a:pt x="28" y="825"/>
                  </a:lnTo>
                  <a:lnTo>
                    <a:pt x="38" y="838"/>
                  </a:lnTo>
                  <a:lnTo>
                    <a:pt x="48" y="849"/>
                  </a:lnTo>
                  <a:lnTo>
                    <a:pt x="60" y="859"/>
                  </a:lnTo>
                  <a:lnTo>
                    <a:pt x="73" y="869"/>
                  </a:lnTo>
                  <a:lnTo>
                    <a:pt x="86" y="877"/>
                  </a:lnTo>
                  <a:lnTo>
                    <a:pt x="101" y="884"/>
                  </a:lnTo>
                  <a:lnTo>
                    <a:pt x="116" y="890"/>
                  </a:lnTo>
                  <a:lnTo>
                    <a:pt x="132" y="893"/>
                  </a:lnTo>
                  <a:lnTo>
                    <a:pt x="148" y="897"/>
                  </a:lnTo>
                  <a:lnTo>
                    <a:pt x="165" y="897"/>
                  </a:lnTo>
                  <a:lnTo>
                    <a:pt x="181" y="897"/>
                  </a:lnTo>
                  <a:lnTo>
                    <a:pt x="198" y="893"/>
                  </a:lnTo>
                  <a:lnTo>
                    <a:pt x="213" y="890"/>
                  </a:lnTo>
                  <a:lnTo>
                    <a:pt x="229" y="884"/>
                  </a:lnTo>
                  <a:lnTo>
                    <a:pt x="243" y="877"/>
                  </a:lnTo>
                  <a:lnTo>
                    <a:pt x="257" y="869"/>
                  </a:lnTo>
                  <a:lnTo>
                    <a:pt x="269" y="859"/>
                  </a:lnTo>
                  <a:lnTo>
                    <a:pt x="281" y="849"/>
                  </a:lnTo>
                  <a:lnTo>
                    <a:pt x="291" y="838"/>
                  </a:lnTo>
                  <a:lnTo>
                    <a:pt x="301" y="825"/>
                  </a:lnTo>
                  <a:lnTo>
                    <a:pt x="310" y="811"/>
                  </a:lnTo>
                  <a:lnTo>
                    <a:pt x="316" y="797"/>
                  </a:lnTo>
                  <a:lnTo>
                    <a:pt x="322" y="782"/>
                  </a:lnTo>
                  <a:lnTo>
                    <a:pt x="326" y="766"/>
                  </a:lnTo>
                  <a:lnTo>
                    <a:pt x="329" y="749"/>
                  </a:lnTo>
                  <a:lnTo>
                    <a:pt x="330" y="733"/>
                  </a:lnTo>
                  <a:lnTo>
                    <a:pt x="329" y="715"/>
                  </a:lnTo>
                  <a:lnTo>
                    <a:pt x="326" y="696"/>
                  </a:lnTo>
                  <a:lnTo>
                    <a:pt x="320" y="679"/>
                  </a:lnTo>
                  <a:lnTo>
                    <a:pt x="314" y="663"/>
                  </a:lnTo>
                  <a:lnTo>
                    <a:pt x="305" y="647"/>
                  </a:lnTo>
                  <a:lnTo>
                    <a:pt x="295" y="632"/>
                  </a:lnTo>
                  <a:lnTo>
                    <a:pt x="283" y="619"/>
                  </a:lnTo>
                  <a:lnTo>
                    <a:pt x="270" y="6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65" name="Group 69">
            <a:extLst>
              <a:ext uri="{FF2B5EF4-FFF2-40B4-BE49-F238E27FC236}">
                <a16:creationId xmlns:a16="http://schemas.microsoft.com/office/drawing/2014/main" id="{216A93D6-A600-4B5E-9B25-401883F5E048}"/>
              </a:ext>
            </a:extLst>
          </p:cNvPr>
          <p:cNvGrpSpPr>
            <a:grpSpLocks noChangeAspect="1"/>
          </p:cNvGrpSpPr>
          <p:nvPr/>
        </p:nvGrpSpPr>
        <p:grpSpPr>
          <a:xfrm>
            <a:off x="8725625" y="5944848"/>
            <a:ext cx="277330" cy="308144"/>
            <a:chOff x="3786188" y="769938"/>
            <a:chExt cx="257175" cy="285750"/>
          </a:xfrm>
          <a:solidFill>
            <a:schemeClr val="bg2"/>
          </a:solidFill>
          <a:effectLst/>
        </p:grpSpPr>
        <p:sp>
          <p:nvSpPr>
            <p:cNvPr id="966" name="Freeform 39">
              <a:extLst>
                <a:ext uri="{FF2B5EF4-FFF2-40B4-BE49-F238E27FC236}">
                  <a16:creationId xmlns:a16="http://schemas.microsoft.com/office/drawing/2014/main" id="{72924BBD-C4BC-4024-A052-B77A42F1AF8A}"/>
                </a:ext>
              </a:extLst>
            </p:cNvPr>
            <p:cNvSpPr>
              <a:spLocks noEditPoints="1"/>
            </p:cNvSpPr>
            <p:nvPr/>
          </p:nvSpPr>
          <p:spPr bwMode="auto">
            <a:xfrm>
              <a:off x="3786188" y="769938"/>
              <a:ext cx="257175" cy="190500"/>
            </a:xfrm>
            <a:custGeom>
              <a:avLst/>
              <a:gdLst>
                <a:gd name="T0" fmla="*/ 175 w 809"/>
                <a:gd name="T1" fmla="*/ 565 h 598"/>
                <a:gd name="T2" fmla="*/ 112 w 809"/>
                <a:gd name="T3" fmla="*/ 537 h 598"/>
                <a:gd name="T4" fmla="*/ 62 w 809"/>
                <a:gd name="T5" fmla="*/ 488 h 598"/>
                <a:gd name="T6" fmla="*/ 35 w 809"/>
                <a:gd name="T7" fmla="*/ 423 h 598"/>
                <a:gd name="T8" fmla="*/ 33 w 809"/>
                <a:gd name="T9" fmla="*/ 356 h 598"/>
                <a:gd name="T10" fmla="*/ 59 w 809"/>
                <a:gd name="T11" fmla="*/ 295 h 598"/>
                <a:gd name="T12" fmla="*/ 104 w 809"/>
                <a:gd name="T13" fmla="*/ 247 h 598"/>
                <a:gd name="T14" fmla="*/ 163 w 809"/>
                <a:gd name="T15" fmla="*/ 216 h 598"/>
                <a:gd name="T16" fmla="*/ 206 w 809"/>
                <a:gd name="T17" fmla="*/ 205 h 598"/>
                <a:gd name="T18" fmla="*/ 212 w 809"/>
                <a:gd name="T19" fmla="*/ 177 h 598"/>
                <a:gd name="T20" fmla="*/ 234 w 809"/>
                <a:gd name="T21" fmla="*/ 127 h 598"/>
                <a:gd name="T22" fmla="*/ 283 w 809"/>
                <a:gd name="T23" fmla="*/ 74 h 598"/>
                <a:gd name="T24" fmla="*/ 348 w 809"/>
                <a:gd name="T25" fmla="*/ 41 h 598"/>
                <a:gd name="T26" fmla="*/ 420 w 809"/>
                <a:gd name="T27" fmla="*/ 29 h 598"/>
                <a:gd name="T28" fmla="*/ 479 w 809"/>
                <a:gd name="T29" fmla="*/ 41 h 598"/>
                <a:gd name="T30" fmla="*/ 531 w 809"/>
                <a:gd name="T31" fmla="*/ 73 h 598"/>
                <a:gd name="T32" fmla="*/ 572 w 809"/>
                <a:gd name="T33" fmla="*/ 118 h 598"/>
                <a:gd name="T34" fmla="*/ 600 w 809"/>
                <a:gd name="T35" fmla="*/ 170 h 598"/>
                <a:gd name="T36" fmla="*/ 616 w 809"/>
                <a:gd name="T37" fmla="*/ 179 h 598"/>
                <a:gd name="T38" fmla="*/ 675 w 809"/>
                <a:gd name="T39" fmla="*/ 186 h 598"/>
                <a:gd name="T40" fmla="*/ 709 w 809"/>
                <a:gd name="T41" fmla="*/ 208 h 598"/>
                <a:gd name="T42" fmla="*/ 725 w 809"/>
                <a:gd name="T43" fmla="*/ 235 h 598"/>
                <a:gd name="T44" fmla="*/ 726 w 809"/>
                <a:gd name="T45" fmla="*/ 272 h 598"/>
                <a:gd name="T46" fmla="*/ 720 w 809"/>
                <a:gd name="T47" fmla="*/ 303 h 598"/>
                <a:gd name="T48" fmla="*/ 737 w 809"/>
                <a:gd name="T49" fmla="*/ 322 h 598"/>
                <a:gd name="T50" fmla="*/ 765 w 809"/>
                <a:gd name="T51" fmla="*/ 361 h 598"/>
                <a:gd name="T52" fmla="*/ 779 w 809"/>
                <a:gd name="T53" fmla="*/ 433 h 598"/>
                <a:gd name="T54" fmla="*/ 768 w 809"/>
                <a:gd name="T55" fmla="*/ 485 h 598"/>
                <a:gd name="T56" fmla="*/ 739 w 809"/>
                <a:gd name="T57" fmla="*/ 528 h 598"/>
                <a:gd name="T58" fmla="*/ 696 w 809"/>
                <a:gd name="T59" fmla="*/ 557 h 598"/>
                <a:gd name="T60" fmla="*/ 643 w 809"/>
                <a:gd name="T61" fmla="*/ 568 h 598"/>
                <a:gd name="T62" fmla="*/ 758 w 809"/>
                <a:gd name="T63" fmla="*/ 257 h 598"/>
                <a:gd name="T64" fmla="*/ 748 w 809"/>
                <a:gd name="T65" fmla="*/ 211 h 598"/>
                <a:gd name="T66" fmla="*/ 726 w 809"/>
                <a:gd name="T67" fmla="*/ 183 h 598"/>
                <a:gd name="T68" fmla="*/ 700 w 809"/>
                <a:gd name="T69" fmla="*/ 164 h 598"/>
                <a:gd name="T70" fmla="*/ 643 w 809"/>
                <a:gd name="T71" fmla="*/ 149 h 598"/>
                <a:gd name="T72" fmla="*/ 601 w 809"/>
                <a:gd name="T73" fmla="*/ 108 h 598"/>
                <a:gd name="T74" fmla="*/ 558 w 809"/>
                <a:gd name="T75" fmla="*/ 57 h 598"/>
                <a:gd name="T76" fmla="*/ 503 w 809"/>
                <a:gd name="T77" fmla="*/ 20 h 598"/>
                <a:gd name="T78" fmla="*/ 437 w 809"/>
                <a:gd name="T79" fmla="*/ 1 h 598"/>
                <a:gd name="T80" fmla="*/ 349 w 809"/>
                <a:gd name="T81" fmla="*/ 8 h 598"/>
                <a:gd name="T82" fmla="*/ 272 w 809"/>
                <a:gd name="T83" fmla="*/ 44 h 598"/>
                <a:gd name="T84" fmla="*/ 217 w 809"/>
                <a:gd name="T85" fmla="*/ 99 h 598"/>
                <a:gd name="T86" fmla="*/ 186 w 809"/>
                <a:gd name="T87" fmla="*/ 163 h 598"/>
                <a:gd name="T88" fmla="*/ 128 w 809"/>
                <a:gd name="T89" fmla="*/ 198 h 598"/>
                <a:gd name="T90" fmla="*/ 67 w 809"/>
                <a:gd name="T91" fmla="*/ 240 h 598"/>
                <a:gd name="T92" fmla="*/ 23 w 809"/>
                <a:gd name="T93" fmla="*/ 300 h 598"/>
                <a:gd name="T94" fmla="*/ 1 w 809"/>
                <a:gd name="T95" fmla="*/ 370 h 598"/>
                <a:gd name="T96" fmla="*/ 4 w 809"/>
                <a:gd name="T97" fmla="*/ 419 h 598"/>
                <a:gd name="T98" fmla="*/ 27 w 809"/>
                <a:gd name="T99" fmla="*/ 487 h 598"/>
                <a:gd name="T100" fmla="*/ 78 w 809"/>
                <a:gd name="T101" fmla="*/ 549 h 598"/>
                <a:gd name="T102" fmla="*/ 149 w 809"/>
                <a:gd name="T103" fmla="*/ 588 h 598"/>
                <a:gd name="T104" fmla="*/ 199 w 809"/>
                <a:gd name="T105" fmla="*/ 598 h 598"/>
                <a:gd name="T106" fmla="*/ 676 w 809"/>
                <a:gd name="T107" fmla="*/ 595 h 598"/>
                <a:gd name="T108" fmla="*/ 736 w 809"/>
                <a:gd name="T109" fmla="*/ 570 h 598"/>
                <a:gd name="T110" fmla="*/ 781 w 809"/>
                <a:gd name="T111" fmla="*/ 525 h 598"/>
                <a:gd name="T112" fmla="*/ 805 w 809"/>
                <a:gd name="T113" fmla="*/ 466 h 598"/>
                <a:gd name="T114" fmla="*/ 805 w 809"/>
                <a:gd name="T115" fmla="*/ 398 h 598"/>
                <a:gd name="T116" fmla="*/ 788 w 809"/>
                <a:gd name="T117" fmla="*/ 342 h 598"/>
                <a:gd name="T118" fmla="*/ 766 w 809"/>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8">
                  <a:moveTo>
                    <a:pt x="643" y="568"/>
                  </a:moveTo>
                  <a:lnTo>
                    <a:pt x="210" y="568"/>
                  </a:lnTo>
                  <a:lnTo>
                    <a:pt x="192" y="567"/>
                  </a:lnTo>
                  <a:lnTo>
                    <a:pt x="175" y="565"/>
                  </a:lnTo>
                  <a:lnTo>
                    <a:pt x="158" y="559"/>
                  </a:lnTo>
                  <a:lnTo>
                    <a:pt x="142" y="554"/>
                  </a:lnTo>
                  <a:lnTo>
                    <a:pt x="126" y="545"/>
                  </a:lnTo>
                  <a:lnTo>
                    <a:pt x="112" y="537"/>
                  </a:lnTo>
                  <a:lnTo>
                    <a:pt x="98" y="526"/>
                  </a:lnTo>
                  <a:lnTo>
                    <a:pt x="85" y="514"/>
                  </a:lnTo>
                  <a:lnTo>
                    <a:pt x="73" y="502"/>
                  </a:lnTo>
                  <a:lnTo>
                    <a:pt x="62" y="488"/>
                  </a:lnTo>
                  <a:lnTo>
                    <a:pt x="53" y="473"/>
                  </a:lnTo>
                  <a:lnTo>
                    <a:pt x="45" y="457"/>
                  </a:lnTo>
                  <a:lnTo>
                    <a:pt x="39" y="441"/>
                  </a:lnTo>
                  <a:lnTo>
                    <a:pt x="35" y="423"/>
                  </a:lnTo>
                  <a:lnTo>
                    <a:pt x="31" y="406"/>
                  </a:lnTo>
                  <a:lnTo>
                    <a:pt x="30" y="388"/>
                  </a:lnTo>
                  <a:lnTo>
                    <a:pt x="31" y="372"/>
                  </a:lnTo>
                  <a:lnTo>
                    <a:pt x="33" y="356"/>
                  </a:lnTo>
                  <a:lnTo>
                    <a:pt x="38" y="340"/>
                  </a:lnTo>
                  <a:lnTo>
                    <a:pt x="44" y="325"/>
                  </a:lnTo>
                  <a:lnTo>
                    <a:pt x="51" y="310"/>
                  </a:lnTo>
                  <a:lnTo>
                    <a:pt x="59" y="295"/>
                  </a:lnTo>
                  <a:lnTo>
                    <a:pt x="69" y="282"/>
                  </a:lnTo>
                  <a:lnTo>
                    <a:pt x="80" y="269"/>
                  </a:lnTo>
                  <a:lnTo>
                    <a:pt x="91" y="257"/>
                  </a:lnTo>
                  <a:lnTo>
                    <a:pt x="104" y="247"/>
                  </a:lnTo>
                  <a:lnTo>
                    <a:pt x="118" y="237"/>
                  </a:lnTo>
                  <a:lnTo>
                    <a:pt x="133" y="229"/>
                  </a:lnTo>
                  <a:lnTo>
                    <a:pt x="148" y="221"/>
                  </a:lnTo>
                  <a:lnTo>
                    <a:pt x="163" y="216"/>
                  </a:lnTo>
                  <a:lnTo>
                    <a:pt x="180" y="211"/>
                  </a:lnTo>
                  <a:lnTo>
                    <a:pt x="196" y="209"/>
                  </a:lnTo>
                  <a:lnTo>
                    <a:pt x="202" y="208"/>
                  </a:lnTo>
                  <a:lnTo>
                    <a:pt x="206" y="205"/>
                  </a:lnTo>
                  <a:lnTo>
                    <a:pt x="209" y="201"/>
                  </a:lnTo>
                  <a:lnTo>
                    <a:pt x="210" y="195"/>
                  </a:lnTo>
                  <a:lnTo>
                    <a:pt x="211" y="186"/>
                  </a:lnTo>
                  <a:lnTo>
                    <a:pt x="212" y="177"/>
                  </a:lnTo>
                  <a:lnTo>
                    <a:pt x="214" y="168"/>
                  </a:lnTo>
                  <a:lnTo>
                    <a:pt x="218" y="159"/>
                  </a:lnTo>
                  <a:lnTo>
                    <a:pt x="224" y="142"/>
                  </a:lnTo>
                  <a:lnTo>
                    <a:pt x="234" y="127"/>
                  </a:lnTo>
                  <a:lnTo>
                    <a:pt x="243" y="112"/>
                  </a:lnTo>
                  <a:lnTo>
                    <a:pt x="255" y="98"/>
                  </a:lnTo>
                  <a:lnTo>
                    <a:pt x="269" y="85"/>
                  </a:lnTo>
                  <a:lnTo>
                    <a:pt x="283" y="74"/>
                  </a:lnTo>
                  <a:lnTo>
                    <a:pt x="298" y="64"/>
                  </a:lnTo>
                  <a:lnTo>
                    <a:pt x="314" y="55"/>
                  </a:lnTo>
                  <a:lnTo>
                    <a:pt x="331" y="48"/>
                  </a:lnTo>
                  <a:lnTo>
                    <a:pt x="348" y="41"/>
                  </a:lnTo>
                  <a:lnTo>
                    <a:pt x="366" y="36"/>
                  </a:lnTo>
                  <a:lnTo>
                    <a:pt x="384" y="33"/>
                  </a:lnTo>
                  <a:lnTo>
                    <a:pt x="402" y="31"/>
                  </a:lnTo>
                  <a:lnTo>
                    <a:pt x="420" y="29"/>
                  </a:lnTo>
                  <a:lnTo>
                    <a:pt x="435" y="31"/>
                  </a:lnTo>
                  <a:lnTo>
                    <a:pt x="450" y="33"/>
                  </a:lnTo>
                  <a:lnTo>
                    <a:pt x="465" y="36"/>
                  </a:lnTo>
                  <a:lnTo>
                    <a:pt x="479" y="41"/>
                  </a:lnTo>
                  <a:lnTo>
                    <a:pt x="493" y="48"/>
                  </a:lnTo>
                  <a:lnTo>
                    <a:pt x="507" y="55"/>
                  </a:lnTo>
                  <a:lnTo>
                    <a:pt x="518" y="64"/>
                  </a:lnTo>
                  <a:lnTo>
                    <a:pt x="531" y="73"/>
                  </a:lnTo>
                  <a:lnTo>
                    <a:pt x="542" y="84"/>
                  </a:lnTo>
                  <a:lnTo>
                    <a:pt x="553" y="95"/>
                  </a:lnTo>
                  <a:lnTo>
                    <a:pt x="563" y="107"/>
                  </a:lnTo>
                  <a:lnTo>
                    <a:pt x="572" y="118"/>
                  </a:lnTo>
                  <a:lnTo>
                    <a:pt x="581" y="131"/>
                  </a:lnTo>
                  <a:lnTo>
                    <a:pt x="588" y="144"/>
                  </a:lnTo>
                  <a:lnTo>
                    <a:pt x="594" y="157"/>
                  </a:lnTo>
                  <a:lnTo>
                    <a:pt x="600" y="170"/>
                  </a:lnTo>
                  <a:lnTo>
                    <a:pt x="603" y="174"/>
                  </a:lnTo>
                  <a:lnTo>
                    <a:pt x="606" y="177"/>
                  </a:lnTo>
                  <a:lnTo>
                    <a:pt x="611" y="179"/>
                  </a:lnTo>
                  <a:lnTo>
                    <a:pt x="616" y="179"/>
                  </a:lnTo>
                  <a:lnTo>
                    <a:pt x="632" y="178"/>
                  </a:lnTo>
                  <a:lnTo>
                    <a:pt x="647" y="179"/>
                  </a:lnTo>
                  <a:lnTo>
                    <a:pt x="662" y="181"/>
                  </a:lnTo>
                  <a:lnTo>
                    <a:pt x="675" y="186"/>
                  </a:lnTo>
                  <a:lnTo>
                    <a:pt x="688" y="192"/>
                  </a:lnTo>
                  <a:lnTo>
                    <a:pt x="699" y="200"/>
                  </a:lnTo>
                  <a:lnTo>
                    <a:pt x="704" y="203"/>
                  </a:lnTo>
                  <a:lnTo>
                    <a:pt x="709" y="208"/>
                  </a:lnTo>
                  <a:lnTo>
                    <a:pt x="713" y="213"/>
                  </a:lnTo>
                  <a:lnTo>
                    <a:pt x="717" y="218"/>
                  </a:lnTo>
                  <a:lnTo>
                    <a:pt x="722" y="226"/>
                  </a:lnTo>
                  <a:lnTo>
                    <a:pt x="725" y="235"/>
                  </a:lnTo>
                  <a:lnTo>
                    <a:pt x="727" y="244"/>
                  </a:lnTo>
                  <a:lnTo>
                    <a:pt x="728" y="253"/>
                  </a:lnTo>
                  <a:lnTo>
                    <a:pt x="728" y="263"/>
                  </a:lnTo>
                  <a:lnTo>
                    <a:pt x="726" y="272"/>
                  </a:lnTo>
                  <a:lnTo>
                    <a:pt x="724" y="282"/>
                  </a:lnTo>
                  <a:lnTo>
                    <a:pt x="720" y="293"/>
                  </a:lnTo>
                  <a:lnTo>
                    <a:pt x="719" y="298"/>
                  </a:lnTo>
                  <a:lnTo>
                    <a:pt x="720" y="303"/>
                  </a:lnTo>
                  <a:lnTo>
                    <a:pt x="722" y="308"/>
                  </a:lnTo>
                  <a:lnTo>
                    <a:pt x="725" y="312"/>
                  </a:lnTo>
                  <a:lnTo>
                    <a:pt x="732" y="316"/>
                  </a:lnTo>
                  <a:lnTo>
                    <a:pt x="737" y="322"/>
                  </a:lnTo>
                  <a:lnTo>
                    <a:pt x="742" y="327"/>
                  </a:lnTo>
                  <a:lnTo>
                    <a:pt x="748" y="332"/>
                  </a:lnTo>
                  <a:lnTo>
                    <a:pt x="756" y="346"/>
                  </a:lnTo>
                  <a:lnTo>
                    <a:pt x="765" y="361"/>
                  </a:lnTo>
                  <a:lnTo>
                    <a:pt x="770" y="377"/>
                  </a:lnTo>
                  <a:lnTo>
                    <a:pt x="775" y="396"/>
                  </a:lnTo>
                  <a:lnTo>
                    <a:pt x="778" y="414"/>
                  </a:lnTo>
                  <a:lnTo>
                    <a:pt x="779" y="433"/>
                  </a:lnTo>
                  <a:lnTo>
                    <a:pt x="779" y="447"/>
                  </a:lnTo>
                  <a:lnTo>
                    <a:pt x="776" y="461"/>
                  </a:lnTo>
                  <a:lnTo>
                    <a:pt x="772" y="474"/>
                  </a:lnTo>
                  <a:lnTo>
                    <a:pt x="768" y="485"/>
                  </a:lnTo>
                  <a:lnTo>
                    <a:pt x="763" y="498"/>
                  </a:lnTo>
                  <a:lnTo>
                    <a:pt x="755" y="509"/>
                  </a:lnTo>
                  <a:lnTo>
                    <a:pt x="748" y="520"/>
                  </a:lnTo>
                  <a:lnTo>
                    <a:pt x="739" y="528"/>
                  </a:lnTo>
                  <a:lnTo>
                    <a:pt x="729" y="538"/>
                  </a:lnTo>
                  <a:lnTo>
                    <a:pt x="719" y="545"/>
                  </a:lnTo>
                  <a:lnTo>
                    <a:pt x="708" y="552"/>
                  </a:lnTo>
                  <a:lnTo>
                    <a:pt x="696" y="557"/>
                  </a:lnTo>
                  <a:lnTo>
                    <a:pt x="683" y="563"/>
                  </a:lnTo>
                  <a:lnTo>
                    <a:pt x="671" y="566"/>
                  </a:lnTo>
                  <a:lnTo>
                    <a:pt x="657" y="568"/>
                  </a:lnTo>
                  <a:lnTo>
                    <a:pt x="643" y="568"/>
                  </a:lnTo>
                  <a:close/>
                  <a:moveTo>
                    <a:pt x="752" y="294"/>
                  </a:moveTo>
                  <a:lnTo>
                    <a:pt x="755" y="282"/>
                  </a:lnTo>
                  <a:lnTo>
                    <a:pt x="757" y="269"/>
                  </a:lnTo>
                  <a:lnTo>
                    <a:pt x="758" y="257"/>
                  </a:lnTo>
                  <a:lnTo>
                    <a:pt x="757" y="246"/>
                  </a:lnTo>
                  <a:lnTo>
                    <a:pt x="756" y="234"/>
                  </a:lnTo>
                  <a:lnTo>
                    <a:pt x="752" y="222"/>
                  </a:lnTo>
                  <a:lnTo>
                    <a:pt x="748" y="211"/>
                  </a:lnTo>
                  <a:lnTo>
                    <a:pt x="742" y="202"/>
                  </a:lnTo>
                  <a:lnTo>
                    <a:pt x="737" y="195"/>
                  </a:lnTo>
                  <a:lnTo>
                    <a:pt x="732" y="189"/>
                  </a:lnTo>
                  <a:lnTo>
                    <a:pt x="726" y="183"/>
                  </a:lnTo>
                  <a:lnTo>
                    <a:pt x="721" y="177"/>
                  </a:lnTo>
                  <a:lnTo>
                    <a:pt x="714" y="173"/>
                  </a:lnTo>
                  <a:lnTo>
                    <a:pt x="707" y="169"/>
                  </a:lnTo>
                  <a:lnTo>
                    <a:pt x="700" y="164"/>
                  </a:lnTo>
                  <a:lnTo>
                    <a:pt x="693" y="161"/>
                  </a:lnTo>
                  <a:lnTo>
                    <a:pt x="677" y="155"/>
                  </a:lnTo>
                  <a:lnTo>
                    <a:pt x="660" y="150"/>
                  </a:lnTo>
                  <a:lnTo>
                    <a:pt x="643" y="149"/>
                  </a:lnTo>
                  <a:lnTo>
                    <a:pt x="623" y="149"/>
                  </a:lnTo>
                  <a:lnTo>
                    <a:pt x="617" y="135"/>
                  </a:lnTo>
                  <a:lnTo>
                    <a:pt x="609" y="122"/>
                  </a:lnTo>
                  <a:lnTo>
                    <a:pt x="601" y="108"/>
                  </a:lnTo>
                  <a:lnTo>
                    <a:pt x="592" y="95"/>
                  </a:lnTo>
                  <a:lnTo>
                    <a:pt x="582" y="82"/>
                  </a:lnTo>
                  <a:lnTo>
                    <a:pt x="571" y="69"/>
                  </a:lnTo>
                  <a:lnTo>
                    <a:pt x="558" y="57"/>
                  </a:lnTo>
                  <a:lnTo>
                    <a:pt x="545" y="47"/>
                  </a:lnTo>
                  <a:lnTo>
                    <a:pt x="532" y="37"/>
                  </a:lnTo>
                  <a:lnTo>
                    <a:pt x="518" y="27"/>
                  </a:lnTo>
                  <a:lnTo>
                    <a:pt x="503" y="20"/>
                  </a:lnTo>
                  <a:lnTo>
                    <a:pt x="487" y="12"/>
                  </a:lnTo>
                  <a:lnTo>
                    <a:pt x="471" y="7"/>
                  </a:lnTo>
                  <a:lnTo>
                    <a:pt x="454" y="3"/>
                  </a:lnTo>
                  <a:lnTo>
                    <a:pt x="437" y="1"/>
                  </a:lnTo>
                  <a:lnTo>
                    <a:pt x="420" y="0"/>
                  </a:lnTo>
                  <a:lnTo>
                    <a:pt x="395" y="1"/>
                  </a:lnTo>
                  <a:lnTo>
                    <a:pt x="372" y="4"/>
                  </a:lnTo>
                  <a:lnTo>
                    <a:pt x="349" y="8"/>
                  </a:lnTo>
                  <a:lnTo>
                    <a:pt x="328" y="16"/>
                  </a:lnTo>
                  <a:lnTo>
                    <a:pt x="309" y="23"/>
                  </a:lnTo>
                  <a:lnTo>
                    <a:pt x="289" y="33"/>
                  </a:lnTo>
                  <a:lnTo>
                    <a:pt x="272" y="44"/>
                  </a:lnTo>
                  <a:lnTo>
                    <a:pt x="256" y="56"/>
                  </a:lnTo>
                  <a:lnTo>
                    <a:pt x="241" y="69"/>
                  </a:lnTo>
                  <a:lnTo>
                    <a:pt x="228" y="84"/>
                  </a:lnTo>
                  <a:lnTo>
                    <a:pt x="217" y="99"/>
                  </a:lnTo>
                  <a:lnTo>
                    <a:pt x="206" y="114"/>
                  </a:lnTo>
                  <a:lnTo>
                    <a:pt x="197" y="130"/>
                  </a:lnTo>
                  <a:lnTo>
                    <a:pt x="191" y="147"/>
                  </a:lnTo>
                  <a:lnTo>
                    <a:pt x="186" y="163"/>
                  </a:lnTo>
                  <a:lnTo>
                    <a:pt x="181" y="180"/>
                  </a:lnTo>
                  <a:lnTo>
                    <a:pt x="163" y="185"/>
                  </a:lnTo>
                  <a:lnTo>
                    <a:pt x="145" y="190"/>
                  </a:lnTo>
                  <a:lnTo>
                    <a:pt x="128" y="198"/>
                  </a:lnTo>
                  <a:lnTo>
                    <a:pt x="112" y="206"/>
                  </a:lnTo>
                  <a:lnTo>
                    <a:pt x="96" y="216"/>
                  </a:lnTo>
                  <a:lnTo>
                    <a:pt x="81" y="227"/>
                  </a:lnTo>
                  <a:lnTo>
                    <a:pt x="67" y="240"/>
                  </a:lnTo>
                  <a:lnTo>
                    <a:pt x="54" y="253"/>
                  </a:lnTo>
                  <a:lnTo>
                    <a:pt x="42" y="268"/>
                  </a:lnTo>
                  <a:lnTo>
                    <a:pt x="31" y="283"/>
                  </a:lnTo>
                  <a:lnTo>
                    <a:pt x="23" y="300"/>
                  </a:lnTo>
                  <a:lnTo>
                    <a:pt x="15" y="316"/>
                  </a:lnTo>
                  <a:lnTo>
                    <a:pt x="9" y="335"/>
                  </a:lnTo>
                  <a:lnTo>
                    <a:pt x="5" y="352"/>
                  </a:lnTo>
                  <a:lnTo>
                    <a:pt x="1" y="370"/>
                  </a:lnTo>
                  <a:lnTo>
                    <a:pt x="0" y="388"/>
                  </a:lnTo>
                  <a:lnTo>
                    <a:pt x="0" y="399"/>
                  </a:lnTo>
                  <a:lnTo>
                    <a:pt x="1" y="409"/>
                  </a:lnTo>
                  <a:lnTo>
                    <a:pt x="4" y="419"/>
                  </a:lnTo>
                  <a:lnTo>
                    <a:pt x="5" y="430"/>
                  </a:lnTo>
                  <a:lnTo>
                    <a:pt x="10" y="449"/>
                  </a:lnTo>
                  <a:lnTo>
                    <a:pt x="17" y="468"/>
                  </a:lnTo>
                  <a:lnTo>
                    <a:pt x="27" y="487"/>
                  </a:lnTo>
                  <a:lnTo>
                    <a:pt x="38" y="504"/>
                  </a:lnTo>
                  <a:lnTo>
                    <a:pt x="50" y="521"/>
                  </a:lnTo>
                  <a:lnTo>
                    <a:pt x="63" y="536"/>
                  </a:lnTo>
                  <a:lnTo>
                    <a:pt x="78" y="549"/>
                  </a:lnTo>
                  <a:lnTo>
                    <a:pt x="95" y="561"/>
                  </a:lnTo>
                  <a:lnTo>
                    <a:pt x="112" y="572"/>
                  </a:lnTo>
                  <a:lnTo>
                    <a:pt x="130" y="581"/>
                  </a:lnTo>
                  <a:lnTo>
                    <a:pt x="149" y="588"/>
                  </a:lnTo>
                  <a:lnTo>
                    <a:pt x="169" y="594"/>
                  </a:lnTo>
                  <a:lnTo>
                    <a:pt x="179" y="596"/>
                  </a:lnTo>
                  <a:lnTo>
                    <a:pt x="190" y="597"/>
                  </a:lnTo>
                  <a:lnTo>
                    <a:pt x="199" y="598"/>
                  </a:lnTo>
                  <a:lnTo>
                    <a:pt x="210" y="598"/>
                  </a:lnTo>
                  <a:lnTo>
                    <a:pt x="643" y="598"/>
                  </a:lnTo>
                  <a:lnTo>
                    <a:pt x="660" y="597"/>
                  </a:lnTo>
                  <a:lnTo>
                    <a:pt x="676" y="595"/>
                  </a:lnTo>
                  <a:lnTo>
                    <a:pt x="692" y="590"/>
                  </a:lnTo>
                  <a:lnTo>
                    <a:pt x="707" y="585"/>
                  </a:lnTo>
                  <a:lnTo>
                    <a:pt x="722" y="579"/>
                  </a:lnTo>
                  <a:lnTo>
                    <a:pt x="736" y="570"/>
                  </a:lnTo>
                  <a:lnTo>
                    <a:pt x="749" y="560"/>
                  </a:lnTo>
                  <a:lnTo>
                    <a:pt x="760" y="550"/>
                  </a:lnTo>
                  <a:lnTo>
                    <a:pt x="771" y="538"/>
                  </a:lnTo>
                  <a:lnTo>
                    <a:pt x="781" y="525"/>
                  </a:lnTo>
                  <a:lnTo>
                    <a:pt x="788" y="512"/>
                  </a:lnTo>
                  <a:lnTo>
                    <a:pt x="796" y="497"/>
                  </a:lnTo>
                  <a:lnTo>
                    <a:pt x="801" y="482"/>
                  </a:lnTo>
                  <a:lnTo>
                    <a:pt x="805" y="466"/>
                  </a:lnTo>
                  <a:lnTo>
                    <a:pt x="808" y="450"/>
                  </a:lnTo>
                  <a:lnTo>
                    <a:pt x="809" y="433"/>
                  </a:lnTo>
                  <a:lnTo>
                    <a:pt x="808" y="416"/>
                  </a:lnTo>
                  <a:lnTo>
                    <a:pt x="805" y="398"/>
                  </a:lnTo>
                  <a:lnTo>
                    <a:pt x="802" y="378"/>
                  </a:lnTo>
                  <a:lnTo>
                    <a:pt x="796" y="360"/>
                  </a:lnTo>
                  <a:lnTo>
                    <a:pt x="793" y="351"/>
                  </a:lnTo>
                  <a:lnTo>
                    <a:pt x="788" y="342"/>
                  </a:lnTo>
                  <a:lnTo>
                    <a:pt x="784" y="332"/>
                  </a:lnTo>
                  <a:lnTo>
                    <a:pt x="779" y="324"/>
                  </a:lnTo>
                  <a:lnTo>
                    <a:pt x="772" y="316"/>
                  </a:lnTo>
                  <a:lnTo>
                    <a:pt x="766"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7" name="Freeform 40">
              <a:extLst>
                <a:ext uri="{FF2B5EF4-FFF2-40B4-BE49-F238E27FC236}">
                  <a16:creationId xmlns:a16="http://schemas.microsoft.com/office/drawing/2014/main" id="{54C92A3F-131D-4870-B77F-5A16C64C10B7}"/>
                </a:ext>
              </a:extLst>
            </p:cNvPr>
            <p:cNvSpPr>
              <a:spLocks/>
            </p:cNvSpPr>
            <p:nvPr/>
          </p:nvSpPr>
          <p:spPr bwMode="auto">
            <a:xfrm>
              <a:off x="3829050" y="984250"/>
              <a:ext cx="47625" cy="71438"/>
            </a:xfrm>
            <a:custGeom>
              <a:avLst/>
              <a:gdLst>
                <a:gd name="T0" fmla="*/ 135 w 150"/>
                <a:gd name="T1" fmla="*/ 75 h 225"/>
                <a:gd name="T2" fmla="*/ 65 w 150"/>
                <a:gd name="T3" fmla="*/ 75 h 225"/>
                <a:gd name="T4" fmla="*/ 116 w 150"/>
                <a:gd name="T5" fmla="*/ 25 h 225"/>
                <a:gd name="T6" fmla="*/ 117 w 150"/>
                <a:gd name="T7" fmla="*/ 23 h 225"/>
                <a:gd name="T8" fmla="*/ 119 w 150"/>
                <a:gd name="T9" fmla="*/ 21 h 225"/>
                <a:gd name="T10" fmla="*/ 119 w 150"/>
                <a:gd name="T11" fmla="*/ 18 h 225"/>
                <a:gd name="T12" fmla="*/ 120 w 150"/>
                <a:gd name="T13" fmla="*/ 16 h 225"/>
                <a:gd name="T14" fmla="*/ 119 w 150"/>
                <a:gd name="T15" fmla="*/ 13 h 225"/>
                <a:gd name="T16" fmla="*/ 119 w 150"/>
                <a:gd name="T17" fmla="*/ 9 h 225"/>
                <a:gd name="T18" fmla="*/ 117 w 150"/>
                <a:gd name="T19" fmla="*/ 7 h 225"/>
                <a:gd name="T20" fmla="*/ 116 w 150"/>
                <a:gd name="T21" fmla="*/ 4 h 225"/>
                <a:gd name="T22" fmla="*/ 113 w 150"/>
                <a:gd name="T23" fmla="*/ 2 h 225"/>
                <a:gd name="T24" fmla="*/ 110 w 150"/>
                <a:gd name="T25" fmla="*/ 1 h 225"/>
                <a:gd name="T26" fmla="*/ 107 w 150"/>
                <a:gd name="T27" fmla="*/ 0 h 225"/>
                <a:gd name="T28" fmla="*/ 105 w 150"/>
                <a:gd name="T29" fmla="*/ 0 h 225"/>
                <a:gd name="T30" fmla="*/ 102 w 150"/>
                <a:gd name="T31" fmla="*/ 0 h 225"/>
                <a:gd name="T32" fmla="*/ 99 w 150"/>
                <a:gd name="T33" fmla="*/ 1 h 225"/>
                <a:gd name="T34" fmla="*/ 96 w 150"/>
                <a:gd name="T35" fmla="*/ 2 h 225"/>
                <a:gd name="T36" fmla="*/ 94 w 150"/>
                <a:gd name="T37" fmla="*/ 4 h 225"/>
                <a:gd name="T38" fmla="*/ 19 w 150"/>
                <a:gd name="T39" fmla="*/ 79 h 225"/>
                <a:gd name="T40" fmla="*/ 16 w 150"/>
                <a:gd name="T41" fmla="*/ 83 h 225"/>
                <a:gd name="T42" fmla="*/ 15 w 150"/>
                <a:gd name="T43" fmla="*/ 86 h 225"/>
                <a:gd name="T44" fmla="*/ 15 w 150"/>
                <a:gd name="T45" fmla="*/ 91 h 225"/>
                <a:gd name="T46" fmla="*/ 16 w 150"/>
                <a:gd name="T47" fmla="*/ 96 h 225"/>
                <a:gd name="T48" fmla="*/ 18 w 150"/>
                <a:gd name="T49" fmla="*/ 99 h 225"/>
                <a:gd name="T50" fmla="*/ 22 w 150"/>
                <a:gd name="T51" fmla="*/ 103 h 225"/>
                <a:gd name="T52" fmla="*/ 26 w 150"/>
                <a:gd name="T53" fmla="*/ 104 h 225"/>
                <a:gd name="T54" fmla="*/ 30 w 150"/>
                <a:gd name="T55" fmla="*/ 105 h 225"/>
                <a:gd name="T56" fmla="*/ 99 w 150"/>
                <a:gd name="T57" fmla="*/ 105 h 225"/>
                <a:gd name="T58" fmla="*/ 4 w 150"/>
                <a:gd name="T59" fmla="*/ 199 h 225"/>
                <a:gd name="T60" fmla="*/ 2 w 150"/>
                <a:gd name="T61" fmla="*/ 201 h 225"/>
                <a:gd name="T62" fmla="*/ 1 w 150"/>
                <a:gd name="T63" fmla="*/ 204 h 225"/>
                <a:gd name="T64" fmla="*/ 0 w 150"/>
                <a:gd name="T65" fmla="*/ 207 h 225"/>
                <a:gd name="T66" fmla="*/ 0 w 150"/>
                <a:gd name="T67" fmla="*/ 210 h 225"/>
                <a:gd name="T68" fmla="*/ 0 w 150"/>
                <a:gd name="T69" fmla="*/ 213 h 225"/>
                <a:gd name="T70" fmla="*/ 1 w 150"/>
                <a:gd name="T71" fmla="*/ 216 h 225"/>
                <a:gd name="T72" fmla="*/ 2 w 150"/>
                <a:gd name="T73" fmla="*/ 218 h 225"/>
                <a:gd name="T74" fmla="*/ 4 w 150"/>
                <a:gd name="T75" fmla="*/ 220 h 225"/>
                <a:gd name="T76" fmla="*/ 7 w 150"/>
                <a:gd name="T77" fmla="*/ 221 h 225"/>
                <a:gd name="T78" fmla="*/ 9 w 150"/>
                <a:gd name="T79" fmla="*/ 223 h 225"/>
                <a:gd name="T80" fmla="*/ 12 w 150"/>
                <a:gd name="T81" fmla="*/ 223 h 225"/>
                <a:gd name="T82" fmla="*/ 15 w 150"/>
                <a:gd name="T83" fmla="*/ 225 h 225"/>
                <a:gd name="T84" fmla="*/ 17 w 150"/>
                <a:gd name="T85" fmla="*/ 223 h 225"/>
                <a:gd name="T86" fmla="*/ 20 w 150"/>
                <a:gd name="T87" fmla="*/ 223 h 225"/>
                <a:gd name="T88" fmla="*/ 23 w 150"/>
                <a:gd name="T89" fmla="*/ 221 h 225"/>
                <a:gd name="T90" fmla="*/ 26 w 150"/>
                <a:gd name="T91" fmla="*/ 220 h 225"/>
                <a:gd name="T92" fmla="*/ 146 w 150"/>
                <a:gd name="T93" fmla="*/ 100 h 225"/>
                <a:gd name="T94" fmla="*/ 148 w 150"/>
                <a:gd name="T95" fmla="*/ 97 h 225"/>
                <a:gd name="T96" fmla="*/ 149 w 150"/>
                <a:gd name="T97" fmla="*/ 93 h 225"/>
                <a:gd name="T98" fmla="*/ 150 w 150"/>
                <a:gd name="T99" fmla="*/ 89 h 225"/>
                <a:gd name="T100" fmla="*/ 148 w 150"/>
                <a:gd name="T101" fmla="*/ 85 h 225"/>
                <a:gd name="T102" fmla="*/ 146 w 150"/>
                <a:gd name="T103" fmla="*/ 81 h 225"/>
                <a:gd name="T104" fmla="*/ 143 w 150"/>
                <a:gd name="T105" fmla="*/ 78 h 225"/>
                <a:gd name="T106" fmla="*/ 139 w 150"/>
                <a:gd name="T107" fmla="*/ 76 h 225"/>
                <a:gd name="T108" fmla="*/ 135 w 150"/>
                <a:gd name="T109" fmla="*/ 7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225">
                  <a:moveTo>
                    <a:pt x="135" y="75"/>
                  </a:moveTo>
                  <a:lnTo>
                    <a:pt x="65" y="75"/>
                  </a:lnTo>
                  <a:lnTo>
                    <a:pt x="116" y="25"/>
                  </a:lnTo>
                  <a:lnTo>
                    <a:pt x="117" y="23"/>
                  </a:lnTo>
                  <a:lnTo>
                    <a:pt x="119" y="21"/>
                  </a:lnTo>
                  <a:lnTo>
                    <a:pt x="119" y="18"/>
                  </a:lnTo>
                  <a:lnTo>
                    <a:pt x="120" y="16"/>
                  </a:lnTo>
                  <a:lnTo>
                    <a:pt x="119" y="13"/>
                  </a:lnTo>
                  <a:lnTo>
                    <a:pt x="119" y="9"/>
                  </a:lnTo>
                  <a:lnTo>
                    <a:pt x="117" y="7"/>
                  </a:lnTo>
                  <a:lnTo>
                    <a:pt x="116" y="4"/>
                  </a:lnTo>
                  <a:lnTo>
                    <a:pt x="113" y="2"/>
                  </a:lnTo>
                  <a:lnTo>
                    <a:pt x="110" y="1"/>
                  </a:lnTo>
                  <a:lnTo>
                    <a:pt x="107" y="0"/>
                  </a:lnTo>
                  <a:lnTo>
                    <a:pt x="105" y="0"/>
                  </a:lnTo>
                  <a:lnTo>
                    <a:pt x="102" y="0"/>
                  </a:lnTo>
                  <a:lnTo>
                    <a:pt x="99" y="1"/>
                  </a:lnTo>
                  <a:lnTo>
                    <a:pt x="96" y="2"/>
                  </a:lnTo>
                  <a:lnTo>
                    <a:pt x="94" y="4"/>
                  </a:lnTo>
                  <a:lnTo>
                    <a:pt x="19" y="79"/>
                  </a:lnTo>
                  <a:lnTo>
                    <a:pt x="16" y="83"/>
                  </a:lnTo>
                  <a:lnTo>
                    <a:pt x="15" y="86"/>
                  </a:lnTo>
                  <a:lnTo>
                    <a:pt x="15" y="91"/>
                  </a:lnTo>
                  <a:lnTo>
                    <a:pt x="16" y="96"/>
                  </a:lnTo>
                  <a:lnTo>
                    <a:pt x="18" y="99"/>
                  </a:lnTo>
                  <a:lnTo>
                    <a:pt x="22" y="103"/>
                  </a:lnTo>
                  <a:lnTo>
                    <a:pt x="26" y="104"/>
                  </a:lnTo>
                  <a:lnTo>
                    <a:pt x="30" y="105"/>
                  </a:lnTo>
                  <a:lnTo>
                    <a:pt x="99" y="105"/>
                  </a:lnTo>
                  <a:lnTo>
                    <a:pt x="4" y="199"/>
                  </a:lnTo>
                  <a:lnTo>
                    <a:pt x="2" y="201"/>
                  </a:lnTo>
                  <a:lnTo>
                    <a:pt x="1" y="204"/>
                  </a:lnTo>
                  <a:lnTo>
                    <a:pt x="0" y="207"/>
                  </a:lnTo>
                  <a:lnTo>
                    <a:pt x="0" y="210"/>
                  </a:lnTo>
                  <a:lnTo>
                    <a:pt x="0" y="213"/>
                  </a:lnTo>
                  <a:lnTo>
                    <a:pt x="1" y="216"/>
                  </a:lnTo>
                  <a:lnTo>
                    <a:pt x="2" y="218"/>
                  </a:lnTo>
                  <a:lnTo>
                    <a:pt x="4" y="220"/>
                  </a:lnTo>
                  <a:lnTo>
                    <a:pt x="7" y="221"/>
                  </a:lnTo>
                  <a:lnTo>
                    <a:pt x="9" y="223"/>
                  </a:lnTo>
                  <a:lnTo>
                    <a:pt x="12" y="223"/>
                  </a:lnTo>
                  <a:lnTo>
                    <a:pt x="15" y="225"/>
                  </a:lnTo>
                  <a:lnTo>
                    <a:pt x="17" y="223"/>
                  </a:lnTo>
                  <a:lnTo>
                    <a:pt x="20" y="223"/>
                  </a:lnTo>
                  <a:lnTo>
                    <a:pt x="23" y="221"/>
                  </a:lnTo>
                  <a:lnTo>
                    <a:pt x="26" y="220"/>
                  </a:lnTo>
                  <a:lnTo>
                    <a:pt x="146" y="100"/>
                  </a:lnTo>
                  <a:lnTo>
                    <a:pt x="148" y="97"/>
                  </a:lnTo>
                  <a:lnTo>
                    <a:pt x="149" y="93"/>
                  </a:lnTo>
                  <a:lnTo>
                    <a:pt x="150" y="89"/>
                  </a:lnTo>
                  <a:lnTo>
                    <a:pt x="148" y="85"/>
                  </a:lnTo>
                  <a:lnTo>
                    <a:pt x="146" y="81"/>
                  </a:lnTo>
                  <a:lnTo>
                    <a:pt x="143" y="78"/>
                  </a:lnTo>
                  <a:lnTo>
                    <a:pt x="139" y="76"/>
                  </a:lnTo>
                  <a:lnTo>
                    <a:pt x="13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8" name="Freeform 41">
              <a:extLst>
                <a:ext uri="{FF2B5EF4-FFF2-40B4-BE49-F238E27FC236}">
                  <a16:creationId xmlns:a16="http://schemas.microsoft.com/office/drawing/2014/main" id="{469BDFAD-1DE1-4861-A9F7-DC1CF5D27FC3}"/>
                </a:ext>
              </a:extLst>
            </p:cNvPr>
            <p:cNvSpPr>
              <a:spLocks/>
            </p:cNvSpPr>
            <p:nvPr/>
          </p:nvSpPr>
          <p:spPr bwMode="auto">
            <a:xfrm>
              <a:off x="3890963" y="989013"/>
              <a:ext cx="46038" cy="66675"/>
            </a:xfrm>
            <a:custGeom>
              <a:avLst/>
              <a:gdLst>
                <a:gd name="T0" fmla="*/ 134 w 149"/>
                <a:gd name="T1" fmla="*/ 60 h 210"/>
                <a:gd name="T2" fmla="*/ 80 w 149"/>
                <a:gd name="T3" fmla="*/ 60 h 210"/>
                <a:gd name="T4" fmla="*/ 115 w 149"/>
                <a:gd name="T5" fmla="*/ 25 h 210"/>
                <a:gd name="T6" fmla="*/ 117 w 149"/>
                <a:gd name="T7" fmla="*/ 23 h 210"/>
                <a:gd name="T8" fmla="*/ 118 w 149"/>
                <a:gd name="T9" fmla="*/ 21 h 210"/>
                <a:gd name="T10" fmla="*/ 119 w 149"/>
                <a:gd name="T11" fmla="*/ 18 h 210"/>
                <a:gd name="T12" fmla="*/ 119 w 149"/>
                <a:gd name="T13" fmla="*/ 16 h 210"/>
                <a:gd name="T14" fmla="*/ 119 w 149"/>
                <a:gd name="T15" fmla="*/ 13 h 210"/>
                <a:gd name="T16" fmla="*/ 118 w 149"/>
                <a:gd name="T17" fmla="*/ 9 h 210"/>
                <a:gd name="T18" fmla="*/ 117 w 149"/>
                <a:gd name="T19" fmla="*/ 6 h 210"/>
                <a:gd name="T20" fmla="*/ 115 w 149"/>
                <a:gd name="T21" fmla="*/ 4 h 210"/>
                <a:gd name="T22" fmla="*/ 112 w 149"/>
                <a:gd name="T23" fmla="*/ 2 h 210"/>
                <a:gd name="T24" fmla="*/ 110 w 149"/>
                <a:gd name="T25" fmla="*/ 1 h 210"/>
                <a:gd name="T26" fmla="*/ 107 w 149"/>
                <a:gd name="T27" fmla="*/ 0 h 210"/>
                <a:gd name="T28" fmla="*/ 104 w 149"/>
                <a:gd name="T29" fmla="*/ 0 h 210"/>
                <a:gd name="T30" fmla="*/ 102 w 149"/>
                <a:gd name="T31" fmla="*/ 0 h 210"/>
                <a:gd name="T32" fmla="*/ 98 w 149"/>
                <a:gd name="T33" fmla="*/ 1 h 210"/>
                <a:gd name="T34" fmla="*/ 96 w 149"/>
                <a:gd name="T35" fmla="*/ 2 h 210"/>
                <a:gd name="T36" fmla="*/ 93 w 149"/>
                <a:gd name="T37" fmla="*/ 4 h 210"/>
                <a:gd name="T38" fmla="*/ 34 w 149"/>
                <a:gd name="T39" fmla="*/ 64 h 210"/>
                <a:gd name="T40" fmla="*/ 31 w 149"/>
                <a:gd name="T41" fmla="*/ 68 h 210"/>
                <a:gd name="T42" fmla="*/ 30 w 149"/>
                <a:gd name="T43" fmla="*/ 71 h 210"/>
                <a:gd name="T44" fmla="*/ 30 w 149"/>
                <a:gd name="T45" fmla="*/ 76 h 210"/>
                <a:gd name="T46" fmla="*/ 31 w 149"/>
                <a:gd name="T47" fmla="*/ 81 h 210"/>
                <a:gd name="T48" fmla="*/ 33 w 149"/>
                <a:gd name="T49" fmla="*/ 84 h 210"/>
                <a:gd name="T50" fmla="*/ 36 w 149"/>
                <a:gd name="T51" fmla="*/ 88 h 210"/>
                <a:gd name="T52" fmla="*/ 40 w 149"/>
                <a:gd name="T53" fmla="*/ 89 h 210"/>
                <a:gd name="T54" fmla="*/ 44 w 149"/>
                <a:gd name="T55" fmla="*/ 90 h 210"/>
                <a:gd name="T56" fmla="*/ 98 w 149"/>
                <a:gd name="T57" fmla="*/ 90 h 210"/>
                <a:gd name="T58" fmla="*/ 4 w 149"/>
                <a:gd name="T59" fmla="*/ 184 h 210"/>
                <a:gd name="T60" fmla="*/ 2 w 149"/>
                <a:gd name="T61" fmla="*/ 186 h 210"/>
                <a:gd name="T62" fmla="*/ 1 w 149"/>
                <a:gd name="T63" fmla="*/ 189 h 210"/>
                <a:gd name="T64" fmla="*/ 0 w 149"/>
                <a:gd name="T65" fmla="*/ 192 h 210"/>
                <a:gd name="T66" fmla="*/ 0 w 149"/>
                <a:gd name="T67" fmla="*/ 195 h 210"/>
                <a:gd name="T68" fmla="*/ 0 w 149"/>
                <a:gd name="T69" fmla="*/ 198 h 210"/>
                <a:gd name="T70" fmla="*/ 1 w 149"/>
                <a:gd name="T71" fmla="*/ 201 h 210"/>
                <a:gd name="T72" fmla="*/ 2 w 149"/>
                <a:gd name="T73" fmla="*/ 203 h 210"/>
                <a:gd name="T74" fmla="*/ 4 w 149"/>
                <a:gd name="T75" fmla="*/ 205 h 210"/>
                <a:gd name="T76" fmla="*/ 6 w 149"/>
                <a:gd name="T77" fmla="*/ 206 h 210"/>
                <a:gd name="T78" fmla="*/ 9 w 149"/>
                <a:gd name="T79" fmla="*/ 208 h 210"/>
                <a:gd name="T80" fmla="*/ 12 w 149"/>
                <a:gd name="T81" fmla="*/ 208 h 210"/>
                <a:gd name="T82" fmla="*/ 15 w 149"/>
                <a:gd name="T83" fmla="*/ 210 h 210"/>
                <a:gd name="T84" fmla="*/ 17 w 149"/>
                <a:gd name="T85" fmla="*/ 208 h 210"/>
                <a:gd name="T86" fmla="*/ 20 w 149"/>
                <a:gd name="T87" fmla="*/ 208 h 210"/>
                <a:gd name="T88" fmla="*/ 22 w 149"/>
                <a:gd name="T89" fmla="*/ 206 h 210"/>
                <a:gd name="T90" fmla="*/ 25 w 149"/>
                <a:gd name="T91" fmla="*/ 205 h 210"/>
                <a:gd name="T92" fmla="*/ 145 w 149"/>
                <a:gd name="T93" fmla="*/ 85 h 210"/>
                <a:gd name="T94" fmla="*/ 148 w 149"/>
                <a:gd name="T95" fmla="*/ 82 h 210"/>
                <a:gd name="T96" fmla="*/ 149 w 149"/>
                <a:gd name="T97" fmla="*/ 78 h 210"/>
                <a:gd name="T98" fmla="*/ 149 w 149"/>
                <a:gd name="T99" fmla="*/ 74 h 210"/>
                <a:gd name="T100" fmla="*/ 148 w 149"/>
                <a:gd name="T101" fmla="*/ 70 h 210"/>
                <a:gd name="T102" fmla="*/ 146 w 149"/>
                <a:gd name="T103" fmla="*/ 66 h 210"/>
                <a:gd name="T104" fmla="*/ 142 w 149"/>
                <a:gd name="T105" fmla="*/ 63 h 210"/>
                <a:gd name="T106" fmla="*/ 138 w 149"/>
                <a:gd name="T107" fmla="*/ 61 h 210"/>
                <a:gd name="T108" fmla="*/ 134 w 149"/>
                <a:gd name="T109" fmla="*/ 6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10">
                  <a:moveTo>
                    <a:pt x="134" y="60"/>
                  </a:moveTo>
                  <a:lnTo>
                    <a:pt x="80" y="60"/>
                  </a:lnTo>
                  <a:lnTo>
                    <a:pt x="115" y="25"/>
                  </a:lnTo>
                  <a:lnTo>
                    <a:pt x="117" y="23"/>
                  </a:lnTo>
                  <a:lnTo>
                    <a:pt x="118" y="21"/>
                  </a:lnTo>
                  <a:lnTo>
                    <a:pt x="119" y="18"/>
                  </a:lnTo>
                  <a:lnTo>
                    <a:pt x="119" y="16"/>
                  </a:lnTo>
                  <a:lnTo>
                    <a:pt x="119" y="13"/>
                  </a:lnTo>
                  <a:lnTo>
                    <a:pt x="118" y="9"/>
                  </a:lnTo>
                  <a:lnTo>
                    <a:pt x="117" y="6"/>
                  </a:lnTo>
                  <a:lnTo>
                    <a:pt x="115" y="4"/>
                  </a:lnTo>
                  <a:lnTo>
                    <a:pt x="112" y="2"/>
                  </a:lnTo>
                  <a:lnTo>
                    <a:pt x="110" y="1"/>
                  </a:lnTo>
                  <a:lnTo>
                    <a:pt x="107" y="0"/>
                  </a:lnTo>
                  <a:lnTo>
                    <a:pt x="104" y="0"/>
                  </a:lnTo>
                  <a:lnTo>
                    <a:pt x="102" y="0"/>
                  </a:lnTo>
                  <a:lnTo>
                    <a:pt x="98" y="1"/>
                  </a:lnTo>
                  <a:lnTo>
                    <a:pt x="96" y="2"/>
                  </a:lnTo>
                  <a:lnTo>
                    <a:pt x="93" y="4"/>
                  </a:lnTo>
                  <a:lnTo>
                    <a:pt x="34" y="64"/>
                  </a:lnTo>
                  <a:lnTo>
                    <a:pt x="31" y="68"/>
                  </a:lnTo>
                  <a:lnTo>
                    <a:pt x="30" y="71"/>
                  </a:lnTo>
                  <a:lnTo>
                    <a:pt x="30" y="76"/>
                  </a:lnTo>
                  <a:lnTo>
                    <a:pt x="31" y="81"/>
                  </a:lnTo>
                  <a:lnTo>
                    <a:pt x="33" y="84"/>
                  </a:lnTo>
                  <a:lnTo>
                    <a:pt x="36" y="88"/>
                  </a:lnTo>
                  <a:lnTo>
                    <a:pt x="40" y="89"/>
                  </a:lnTo>
                  <a:lnTo>
                    <a:pt x="44" y="90"/>
                  </a:lnTo>
                  <a:lnTo>
                    <a:pt x="98" y="90"/>
                  </a:lnTo>
                  <a:lnTo>
                    <a:pt x="4" y="184"/>
                  </a:lnTo>
                  <a:lnTo>
                    <a:pt x="2" y="186"/>
                  </a:lnTo>
                  <a:lnTo>
                    <a:pt x="1" y="189"/>
                  </a:lnTo>
                  <a:lnTo>
                    <a:pt x="0" y="192"/>
                  </a:lnTo>
                  <a:lnTo>
                    <a:pt x="0" y="195"/>
                  </a:lnTo>
                  <a:lnTo>
                    <a:pt x="0" y="198"/>
                  </a:lnTo>
                  <a:lnTo>
                    <a:pt x="1" y="201"/>
                  </a:lnTo>
                  <a:lnTo>
                    <a:pt x="2" y="203"/>
                  </a:lnTo>
                  <a:lnTo>
                    <a:pt x="4" y="205"/>
                  </a:lnTo>
                  <a:lnTo>
                    <a:pt x="6" y="206"/>
                  </a:lnTo>
                  <a:lnTo>
                    <a:pt x="9" y="208"/>
                  </a:lnTo>
                  <a:lnTo>
                    <a:pt x="12" y="208"/>
                  </a:lnTo>
                  <a:lnTo>
                    <a:pt x="15" y="210"/>
                  </a:lnTo>
                  <a:lnTo>
                    <a:pt x="17" y="208"/>
                  </a:lnTo>
                  <a:lnTo>
                    <a:pt x="20" y="208"/>
                  </a:lnTo>
                  <a:lnTo>
                    <a:pt x="22" y="206"/>
                  </a:lnTo>
                  <a:lnTo>
                    <a:pt x="25" y="205"/>
                  </a:lnTo>
                  <a:lnTo>
                    <a:pt x="145" y="85"/>
                  </a:lnTo>
                  <a:lnTo>
                    <a:pt x="148" y="82"/>
                  </a:lnTo>
                  <a:lnTo>
                    <a:pt x="149" y="78"/>
                  </a:lnTo>
                  <a:lnTo>
                    <a:pt x="149" y="74"/>
                  </a:lnTo>
                  <a:lnTo>
                    <a:pt x="148" y="70"/>
                  </a:lnTo>
                  <a:lnTo>
                    <a:pt x="146" y="66"/>
                  </a:lnTo>
                  <a:lnTo>
                    <a:pt x="142" y="63"/>
                  </a:lnTo>
                  <a:lnTo>
                    <a:pt x="138" y="61"/>
                  </a:lnTo>
                  <a:lnTo>
                    <a:pt x="13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9" name="Freeform 42">
              <a:extLst>
                <a:ext uri="{FF2B5EF4-FFF2-40B4-BE49-F238E27FC236}">
                  <a16:creationId xmlns:a16="http://schemas.microsoft.com/office/drawing/2014/main" id="{1994FB27-57BC-4DAF-98F9-553B1BBDA517}"/>
                </a:ext>
              </a:extLst>
            </p:cNvPr>
            <p:cNvSpPr>
              <a:spLocks/>
            </p:cNvSpPr>
            <p:nvPr/>
          </p:nvSpPr>
          <p:spPr bwMode="auto">
            <a:xfrm>
              <a:off x="3946525" y="989013"/>
              <a:ext cx="47625" cy="66675"/>
            </a:xfrm>
            <a:custGeom>
              <a:avLst/>
              <a:gdLst>
                <a:gd name="T0" fmla="*/ 135 w 150"/>
                <a:gd name="T1" fmla="*/ 60 h 210"/>
                <a:gd name="T2" fmla="*/ 81 w 150"/>
                <a:gd name="T3" fmla="*/ 60 h 210"/>
                <a:gd name="T4" fmla="*/ 115 w 150"/>
                <a:gd name="T5" fmla="*/ 25 h 210"/>
                <a:gd name="T6" fmla="*/ 118 w 150"/>
                <a:gd name="T7" fmla="*/ 23 h 210"/>
                <a:gd name="T8" fmla="*/ 119 w 150"/>
                <a:gd name="T9" fmla="*/ 21 h 210"/>
                <a:gd name="T10" fmla="*/ 120 w 150"/>
                <a:gd name="T11" fmla="*/ 18 h 210"/>
                <a:gd name="T12" fmla="*/ 120 w 150"/>
                <a:gd name="T13" fmla="*/ 16 h 210"/>
                <a:gd name="T14" fmla="*/ 120 w 150"/>
                <a:gd name="T15" fmla="*/ 13 h 210"/>
                <a:gd name="T16" fmla="*/ 119 w 150"/>
                <a:gd name="T17" fmla="*/ 9 h 210"/>
                <a:gd name="T18" fmla="*/ 118 w 150"/>
                <a:gd name="T19" fmla="*/ 6 h 210"/>
                <a:gd name="T20" fmla="*/ 115 w 150"/>
                <a:gd name="T21" fmla="*/ 4 h 210"/>
                <a:gd name="T22" fmla="*/ 113 w 150"/>
                <a:gd name="T23" fmla="*/ 2 h 210"/>
                <a:gd name="T24" fmla="*/ 110 w 150"/>
                <a:gd name="T25" fmla="*/ 1 h 210"/>
                <a:gd name="T26" fmla="*/ 108 w 150"/>
                <a:gd name="T27" fmla="*/ 0 h 210"/>
                <a:gd name="T28" fmla="*/ 105 w 150"/>
                <a:gd name="T29" fmla="*/ 0 h 210"/>
                <a:gd name="T30" fmla="*/ 101 w 150"/>
                <a:gd name="T31" fmla="*/ 0 h 210"/>
                <a:gd name="T32" fmla="*/ 99 w 150"/>
                <a:gd name="T33" fmla="*/ 1 h 210"/>
                <a:gd name="T34" fmla="*/ 96 w 150"/>
                <a:gd name="T35" fmla="*/ 2 h 210"/>
                <a:gd name="T36" fmla="*/ 94 w 150"/>
                <a:gd name="T37" fmla="*/ 4 h 210"/>
                <a:gd name="T38" fmla="*/ 34 w 150"/>
                <a:gd name="T39" fmla="*/ 64 h 210"/>
                <a:gd name="T40" fmla="*/ 32 w 150"/>
                <a:gd name="T41" fmla="*/ 68 h 210"/>
                <a:gd name="T42" fmla="*/ 31 w 150"/>
                <a:gd name="T43" fmla="*/ 71 h 210"/>
                <a:gd name="T44" fmla="*/ 30 w 150"/>
                <a:gd name="T45" fmla="*/ 76 h 210"/>
                <a:gd name="T46" fmla="*/ 31 w 150"/>
                <a:gd name="T47" fmla="*/ 81 h 210"/>
                <a:gd name="T48" fmla="*/ 33 w 150"/>
                <a:gd name="T49" fmla="*/ 84 h 210"/>
                <a:gd name="T50" fmla="*/ 37 w 150"/>
                <a:gd name="T51" fmla="*/ 88 h 210"/>
                <a:gd name="T52" fmla="*/ 40 w 150"/>
                <a:gd name="T53" fmla="*/ 89 h 210"/>
                <a:gd name="T54" fmla="*/ 45 w 150"/>
                <a:gd name="T55" fmla="*/ 90 h 210"/>
                <a:gd name="T56" fmla="*/ 98 w 150"/>
                <a:gd name="T57" fmla="*/ 90 h 210"/>
                <a:gd name="T58" fmla="*/ 4 w 150"/>
                <a:gd name="T59" fmla="*/ 184 h 210"/>
                <a:gd name="T60" fmla="*/ 3 w 150"/>
                <a:gd name="T61" fmla="*/ 186 h 210"/>
                <a:gd name="T62" fmla="*/ 1 w 150"/>
                <a:gd name="T63" fmla="*/ 189 h 210"/>
                <a:gd name="T64" fmla="*/ 1 w 150"/>
                <a:gd name="T65" fmla="*/ 192 h 210"/>
                <a:gd name="T66" fmla="*/ 0 w 150"/>
                <a:gd name="T67" fmla="*/ 195 h 210"/>
                <a:gd name="T68" fmla="*/ 1 w 150"/>
                <a:gd name="T69" fmla="*/ 198 h 210"/>
                <a:gd name="T70" fmla="*/ 1 w 150"/>
                <a:gd name="T71" fmla="*/ 201 h 210"/>
                <a:gd name="T72" fmla="*/ 3 w 150"/>
                <a:gd name="T73" fmla="*/ 203 h 210"/>
                <a:gd name="T74" fmla="*/ 4 w 150"/>
                <a:gd name="T75" fmla="*/ 205 h 210"/>
                <a:gd name="T76" fmla="*/ 7 w 150"/>
                <a:gd name="T77" fmla="*/ 206 h 210"/>
                <a:gd name="T78" fmla="*/ 9 w 150"/>
                <a:gd name="T79" fmla="*/ 208 h 210"/>
                <a:gd name="T80" fmla="*/ 13 w 150"/>
                <a:gd name="T81" fmla="*/ 208 h 210"/>
                <a:gd name="T82" fmla="*/ 15 w 150"/>
                <a:gd name="T83" fmla="*/ 210 h 210"/>
                <a:gd name="T84" fmla="*/ 18 w 150"/>
                <a:gd name="T85" fmla="*/ 208 h 210"/>
                <a:gd name="T86" fmla="*/ 21 w 150"/>
                <a:gd name="T87" fmla="*/ 208 h 210"/>
                <a:gd name="T88" fmla="*/ 23 w 150"/>
                <a:gd name="T89" fmla="*/ 206 h 210"/>
                <a:gd name="T90" fmla="*/ 25 w 150"/>
                <a:gd name="T91" fmla="*/ 205 h 210"/>
                <a:gd name="T92" fmla="*/ 145 w 150"/>
                <a:gd name="T93" fmla="*/ 85 h 210"/>
                <a:gd name="T94" fmla="*/ 148 w 150"/>
                <a:gd name="T95" fmla="*/ 82 h 210"/>
                <a:gd name="T96" fmla="*/ 150 w 150"/>
                <a:gd name="T97" fmla="*/ 78 h 210"/>
                <a:gd name="T98" fmla="*/ 150 w 150"/>
                <a:gd name="T99" fmla="*/ 74 h 210"/>
                <a:gd name="T100" fmla="*/ 149 w 150"/>
                <a:gd name="T101" fmla="*/ 70 h 210"/>
                <a:gd name="T102" fmla="*/ 146 w 150"/>
                <a:gd name="T103" fmla="*/ 66 h 210"/>
                <a:gd name="T104" fmla="*/ 143 w 150"/>
                <a:gd name="T105" fmla="*/ 63 h 210"/>
                <a:gd name="T106" fmla="*/ 139 w 150"/>
                <a:gd name="T107" fmla="*/ 61 h 210"/>
                <a:gd name="T108" fmla="*/ 135 w 150"/>
                <a:gd name="T109" fmla="*/ 6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210">
                  <a:moveTo>
                    <a:pt x="135" y="60"/>
                  </a:moveTo>
                  <a:lnTo>
                    <a:pt x="81" y="60"/>
                  </a:lnTo>
                  <a:lnTo>
                    <a:pt x="115" y="25"/>
                  </a:lnTo>
                  <a:lnTo>
                    <a:pt x="118" y="23"/>
                  </a:lnTo>
                  <a:lnTo>
                    <a:pt x="119" y="21"/>
                  </a:lnTo>
                  <a:lnTo>
                    <a:pt x="120" y="18"/>
                  </a:lnTo>
                  <a:lnTo>
                    <a:pt x="120" y="16"/>
                  </a:lnTo>
                  <a:lnTo>
                    <a:pt x="120" y="13"/>
                  </a:lnTo>
                  <a:lnTo>
                    <a:pt x="119" y="9"/>
                  </a:lnTo>
                  <a:lnTo>
                    <a:pt x="118" y="6"/>
                  </a:lnTo>
                  <a:lnTo>
                    <a:pt x="115" y="4"/>
                  </a:lnTo>
                  <a:lnTo>
                    <a:pt x="113" y="2"/>
                  </a:lnTo>
                  <a:lnTo>
                    <a:pt x="110" y="1"/>
                  </a:lnTo>
                  <a:lnTo>
                    <a:pt x="108" y="0"/>
                  </a:lnTo>
                  <a:lnTo>
                    <a:pt x="105" y="0"/>
                  </a:lnTo>
                  <a:lnTo>
                    <a:pt x="101" y="0"/>
                  </a:lnTo>
                  <a:lnTo>
                    <a:pt x="99" y="1"/>
                  </a:lnTo>
                  <a:lnTo>
                    <a:pt x="96" y="2"/>
                  </a:lnTo>
                  <a:lnTo>
                    <a:pt x="94" y="4"/>
                  </a:lnTo>
                  <a:lnTo>
                    <a:pt x="34" y="64"/>
                  </a:lnTo>
                  <a:lnTo>
                    <a:pt x="32" y="68"/>
                  </a:lnTo>
                  <a:lnTo>
                    <a:pt x="31" y="71"/>
                  </a:lnTo>
                  <a:lnTo>
                    <a:pt x="30" y="76"/>
                  </a:lnTo>
                  <a:lnTo>
                    <a:pt x="31" y="81"/>
                  </a:lnTo>
                  <a:lnTo>
                    <a:pt x="33" y="84"/>
                  </a:lnTo>
                  <a:lnTo>
                    <a:pt x="37" y="88"/>
                  </a:lnTo>
                  <a:lnTo>
                    <a:pt x="40" y="89"/>
                  </a:lnTo>
                  <a:lnTo>
                    <a:pt x="45" y="90"/>
                  </a:lnTo>
                  <a:lnTo>
                    <a:pt x="98" y="90"/>
                  </a:lnTo>
                  <a:lnTo>
                    <a:pt x="4" y="184"/>
                  </a:lnTo>
                  <a:lnTo>
                    <a:pt x="3" y="186"/>
                  </a:lnTo>
                  <a:lnTo>
                    <a:pt x="1" y="189"/>
                  </a:lnTo>
                  <a:lnTo>
                    <a:pt x="1" y="192"/>
                  </a:lnTo>
                  <a:lnTo>
                    <a:pt x="0" y="195"/>
                  </a:lnTo>
                  <a:lnTo>
                    <a:pt x="1" y="198"/>
                  </a:lnTo>
                  <a:lnTo>
                    <a:pt x="1" y="201"/>
                  </a:lnTo>
                  <a:lnTo>
                    <a:pt x="3" y="203"/>
                  </a:lnTo>
                  <a:lnTo>
                    <a:pt x="4" y="205"/>
                  </a:lnTo>
                  <a:lnTo>
                    <a:pt x="7" y="206"/>
                  </a:lnTo>
                  <a:lnTo>
                    <a:pt x="9" y="208"/>
                  </a:lnTo>
                  <a:lnTo>
                    <a:pt x="13" y="208"/>
                  </a:lnTo>
                  <a:lnTo>
                    <a:pt x="15" y="210"/>
                  </a:lnTo>
                  <a:lnTo>
                    <a:pt x="18" y="208"/>
                  </a:lnTo>
                  <a:lnTo>
                    <a:pt x="21" y="208"/>
                  </a:lnTo>
                  <a:lnTo>
                    <a:pt x="23" y="206"/>
                  </a:lnTo>
                  <a:lnTo>
                    <a:pt x="25" y="205"/>
                  </a:lnTo>
                  <a:lnTo>
                    <a:pt x="145" y="85"/>
                  </a:lnTo>
                  <a:lnTo>
                    <a:pt x="148" y="82"/>
                  </a:lnTo>
                  <a:lnTo>
                    <a:pt x="150" y="78"/>
                  </a:lnTo>
                  <a:lnTo>
                    <a:pt x="150" y="74"/>
                  </a:lnTo>
                  <a:lnTo>
                    <a:pt x="149" y="70"/>
                  </a:lnTo>
                  <a:lnTo>
                    <a:pt x="146" y="66"/>
                  </a:lnTo>
                  <a:lnTo>
                    <a:pt x="143" y="63"/>
                  </a:lnTo>
                  <a:lnTo>
                    <a:pt x="139" y="61"/>
                  </a:lnTo>
                  <a:lnTo>
                    <a:pt x="13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70" name="Group 20">
            <a:extLst>
              <a:ext uri="{FF2B5EF4-FFF2-40B4-BE49-F238E27FC236}">
                <a16:creationId xmlns:a16="http://schemas.microsoft.com/office/drawing/2014/main" id="{F3B27E49-1E2D-473C-AF8B-8D0897A9A3DE}"/>
              </a:ext>
            </a:extLst>
          </p:cNvPr>
          <p:cNvGrpSpPr>
            <a:grpSpLocks noChangeAspect="1"/>
          </p:cNvGrpSpPr>
          <p:nvPr/>
        </p:nvGrpSpPr>
        <p:grpSpPr>
          <a:xfrm>
            <a:off x="9067556" y="5944848"/>
            <a:ext cx="251776" cy="308144"/>
            <a:chOff x="989013" y="2403475"/>
            <a:chExt cx="531812" cy="650875"/>
          </a:xfrm>
          <a:solidFill>
            <a:schemeClr val="bg2"/>
          </a:solidFill>
          <a:effectLst/>
        </p:grpSpPr>
        <p:sp>
          <p:nvSpPr>
            <p:cNvPr id="971" name="Freeform 5">
              <a:extLst>
                <a:ext uri="{FF2B5EF4-FFF2-40B4-BE49-F238E27FC236}">
                  <a16:creationId xmlns:a16="http://schemas.microsoft.com/office/drawing/2014/main" id="{50A456E6-7039-46EC-9772-D403DAE2F502}"/>
                </a:ext>
              </a:extLst>
            </p:cNvPr>
            <p:cNvSpPr>
              <a:spLocks noEditPoints="1"/>
            </p:cNvSpPr>
            <p:nvPr/>
          </p:nvSpPr>
          <p:spPr bwMode="auto">
            <a:xfrm>
              <a:off x="989013" y="2403475"/>
              <a:ext cx="531812" cy="650875"/>
            </a:xfrm>
            <a:custGeom>
              <a:avLst/>
              <a:gdLst>
                <a:gd name="T0" fmla="*/ 86 w 88"/>
                <a:gd name="T1" fmla="*/ 46 h 108"/>
                <a:gd name="T2" fmla="*/ 78 w 88"/>
                <a:gd name="T3" fmla="*/ 48 h 108"/>
                <a:gd name="T4" fmla="*/ 74 w 88"/>
                <a:gd name="T5" fmla="*/ 56 h 108"/>
                <a:gd name="T6" fmla="*/ 61 w 88"/>
                <a:gd name="T7" fmla="*/ 48 h 108"/>
                <a:gd name="T8" fmla="*/ 57 w 88"/>
                <a:gd name="T9" fmla="*/ 18 h 108"/>
                <a:gd name="T10" fmla="*/ 64 w 88"/>
                <a:gd name="T11" fmla="*/ 14 h 108"/>
                <a:gd name="T12" fmla="*/ 58 w 88"/>
                <a:gd name="T13" fmla="*/ 0 h 108"/>
                <a:gd name="T14" fmla="*/ 32 w 88"/>
                <a:gd name="T15" fmla="*/ 14 h 108"/>
                <a:gd name="T16" fmla="*/ 26 w 88"/>
                <a:gd name="T17" fmla="*/ 18 h 108"/>
                <a:gd name="T18" fmla="*/ 24 w 88"/>
                <a:gd name="T19" fmla="*/ 35 h 108"/>
                <a:gd name="T20" fmla="*/ 17 w 88"/>
                <a:gd name="T21" fmla="*/ 59 h 108"/>
                <a:gd name="T22" fmla="*/ 14 w 88"/>
                <a:gd name="T23" fmla="*/ 48 h 108"/>
                <a:gd name="T24" fmla="*/ 10 w 88"/>
                <a:gd name="T25" fmla="*/ 52 h 108"/>
                <a:gd name="T26" fmla="*/ 0 w 88"/>
                <a:gd name="T27" fmla="*/ 49 h 108"/>
                <a:gd name="T28" fmla="*/ 12 w 88"/>
                <a:gd name="T29" fmla="*/ 76 h 108"/>
                <a:gd name="T30" fmla="*/ 77 w 88"/>
                <a:gd name="T31" fmla="*/ 76 h 108"/>
                <a:gd name="T32" fmla="*/ 88 w 88"/>
                <a:gd name="T33" fmla="*/ 49 h 108"/>
                <a:gd name="T34" fmla="*/ 54 w 88"/>
                <a:gd name="T35" fmla="*/ 4 h 108"/>
                <a:gd name="T36" fmla="*/ 36 w 88"/>
                <a:gd name="T37" fmla="*/ 14 h 108"/>
                <a:gd name="T38" fmla="*/ 45 w 88"/>
                <a:gd name="T39" fmla="*/ 18 h 108"/>
                <a:gd name="T40" fmla="*/ 56 w 88"/>
                <a:gd name="T41" fmla="*/ 47 h 108"/>
                <a:gd name="T42" fmla="*/ 33 w 88"/>
                <a:gd name="T43" fmla="*/ 47 h 108"/>
                <a:gd name="T44" fmla="*/ 45 w 88"/>
                <a:gd name="T45" fmla="*/ 18 h 108"/>
                <a:gd name="T46" fmla="*/ 16 w 88"/>
                <a:gd name="T47" fmla="*/ 76 h 108"/>
                <a:gd name="T48" fmla="*/ 32 w 88"/>
                <a:gd name="T49" fmla="*/ 51 h 108"/>
                <a:gd name="T50" fmla="*/ 35 w 88"/>
                <a:gd name="T51" fmla="*/ 53 h 108"/>
                <a:gd name="T52" fmla="*/ 38 w 88"/>
                <a:gd name="T53" fmla="*/ 54 h 108"/>
                <a:gd name="T54" fmla="*/ 41 w 88"/>
                <a:gd name="T55" fmla="*/ 55 h 108"/>
                <a:gd name="T56" fmla="*/ 48 w 88"/>
                <a:gd name="T57" fmla="*/ 55 h 108"/>
                <a:gd name="T58" fmla="*/ 52 w 88"/>
                <a:gd name="T59" fmla="*/ 54 h 108"/>
                <a:gd name="T60" fmla="*/ 55 w 88"/>
                <a:gd name="T61" fmla="*/ 53 h 108"/>
                <a:gd name="T62" fmla="*/ 58 w 88"/>
                <a:gd name="T63" fmla="*/ 51 h 108"/>
                <a:gd name="T64" fmla="*/ 73 w 88"/>
                <a:gd name="T65" fmla="*/ 76 h 108"/>
                <a:gd name="T66" fmla="*/ 45 w 88"/>
                <a:gd name="T67" fmla="*/ 10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108">
                  <a:moveTo>
                    <a:pt x="88" y="49"/>
                  </a:moveTo>
                  <a:cubicBezTo>
                    <a:pt x="86" y="46"/>
                    <a:pt x="86" y="46"/>
                    <a:pt x="86" y="46"/>
                  </a:cubicBezTo>
                  <a:cubicBezTo>
                    <a:pt x="78" y="52"/>
                    <a:pt x="78" y="52"/>
                    <a:pt x="78" y="52"/>
                  </a:cubicBezTo>
                  <a:cubicBezTo>
                    <a:pt x="78" y="48"/>
                    <a:pt x="78" y="48"/>
                    <a:pt x="78" y="48"/>
                  </a:cubicBezTo>
                  <a:cubicBezTo>
                    <a:pt x="74" y="48"/>
                    <a:pt x="74" y="48"/>
                    <a:pt x="74" y="48"/>
                  </a:cubicBezTo>
                  <a:cubicBezTo>
                    <a:pt x="74" y="56"/>
                    <a:pt x="74" y="56"/>
                    <a:pt x="74" y="56"/>
                  </a:cubicBezTo>
                  <a:cubicBezTo>
                    <a:pt x="72" y="58"/>
                    <a:pt x="72" y="58"/>
                    <a:pt x="72" y="58"/>
                  </a:cubicBezTo>
                  <a:cubicBezTo>
                    <a:pt x="69" y="54"/>
                    <a:pt x="65" y="50"/>
                    <a:pt x="61" y="48"/>
                  </a:cubicBezTo>
                  <a:cubicBezTo>
                    <a:pt x="64" y="44"/>
                    <a:pt x="65" y="40"/>
                    <a:pt x="65" y="35"/>
                  </a:cubicBezTo>
                  <a:cubicBezTo>
                    <a:pt x="65" y="28"/>
                    <a:pt x="62" y="22"/>
                    <a:pt x="57" y="18"/>
                  </a:cubicBezTo>
                  <a:cubicBezTo>
                    <a:pt x="64" y="18"/>
                    <a:pt x="64" y="18"/>
                    <a:pt x="64" y="18"/>
                  </a:cubicBezTo>
                  <a:cubicBezTo>
                    <a:pt x="64" y="14"/>
                    <a:pt x="64" y="14"/>
                    <a:pt x="64" y="14"/>
                  </a:cubicBezTo>
                  <a:cubicBezTo>
                    <a:pt x="58" y="14"/>
                    <a:pt x="58" y="14"/>
                    <a:pt x="58" y="14"/>
                  </a:cubicBezTo>
                  <a:cubicBezTo>
                    <a:pt x="58" y="0"/>
                    <a:pt x="58" y="0"/>
                    <a:pt x="58" y="0"/>
                  </a:cubicBezTo>
                  <a:cubicBezTo>
                    <a:pt x="32" y="0"/>
                    <a:pt x="32" y="0"/>
                    <a:pt x="32" y="0"/>
                  </a:cubicBezTo>
                  <a:cubicBezTo>
                    <a:pt x="32" y="14"/>
                    <a:pt x="32" y="14"/>
                    <a:pt x="32" y="14"/>
                  </a:cubicBezTo>
                  <a:cubicBezTo>
                    <a:pt x="26" y="14"/>
                    <a:pt x="26" y="14"/>
                    <a:pt x="26" y="14"/>
                  </a:cubicBezTo>
                  <a:cubicBezTo>
                    <a:pt x="26" y="18"/>
                    <a:pt x="26" y="18"/>
                    <a:pt x="26" y="18"/>
                  </a:cubicBezTo>
                  <a:cubicBezTo>
                    <a:pt x="33" y="18"/>
                    <a:pt x="33" y="18"/>
                    <a:pt x="33" y="18"/>
                  </a:cubicBezTo>
                  <a:cubicBezTo>
                    <a:pt x="27" y="22"/>
                    <a:pt x="24" y="28"/>
                    <a:pt x="24" y="35"/>
                  </a:cubicBezTo>
                  <a:cubicBezTo>
                    <a:pt x="24" y="40"/>
                    <a:pt x="26" y="44"/>
                    <a:pt x="29" y="48"/>
                  </a:cubicBezTo>
                  <a:cubicBezTo>
                    <a:pt x="24" y="50"/>
                    <a:pt x="20" y="54"/>
                    <a:pt x="17" y="59"/>
                  </a:cubicBezTo>
                  <a:cubicBezTo>
                    <a:pt x="14" y="56"/>
                    <a:pt x="14" y="56"/>
                    <a:pt x="14" y="56"/>
                  </a:cubicBezTo>
                  <a:cubicBezTo>
                    <a:pt x="14" y="48"/>
                    <a:pt x="14" y="48"/>
                    <a:pt x="14" y="48"/>
                  </a:cubicBezTo>
                  <a:cubicBezTo>
                    <a:pt x="10" y="48"/>
                    <a:pt x="10" y="48"/>
                    <a:pt x="10" y="48"/>
                  </a:cubicBezTo>
                  <a:cubicBezTo>
                    <a:pt x="10" y="52"/>
                    <a:pt x="10" y="52"/>
                    <a:pt x="10" y="52"/>
                  </a:cubicBezTo>
                  <a:cubicBezTo>
                    <a:pt x="3" y="46"/>
                    <a:pt x="3" y="46"/>
                    <a:pt x="3" y="46"/>
                  </a:cubicBezTo>
                  <a:cubicBezTo>
                    <a:pt x="0" y="49"/>
                    <a:pt x="0" y="49"/>
                    <a:pt x="0" y="49"/>
                  </a:cubicBezTo>
                  <a:cubicBezTo>
                    <a:pt x="15" y="62"/>
                    <a:pt x="15" y="62"/>
                    <a:pt x="15" y="62"/>
                  </a:cubicBezTo>
                  <a:cubicBezTo>
                    <a:pt x="13" y="66"/>
                    <a:pt x="12" y="71"/>
                    <a:pt x="12" y="76"/>
                  </a:cubicBezTo>
                  <a:cubicBezTo>
                    <a:pt x="12" y="94"/>
                    <a:pt x="27" y="108"/>
                    <a:pt x="45" y="108"/>
                  </a:cubicBezTo>
                  <a:cubicBezTo>
                    <a:pt x="63" y="108"/>
                    <a:pt x="77" y="94"/>
                    <a:pt x="77" y="76"/>
                  </a:cubicBezTo>
                  <a:cubicBezTo>
                    <a:pt x="77" y="71"/>
                    <a:pt x="76" y="66"/>
                    <a:pt x="74" y="62"/>
                  </a:cubicBezTo>
                  <a:lnTo>
                    <a:pt x="88" y="49"/>
                  </a:lnTo>
                  <a:close/>
                  <a:moveTo>
                    <a:pt x="36" y="4"/>
                  </a:moveTo>
                  <a:cubicBezTo>
                    <a:pt x="54" y="4"/>
                    <a:pt x="54" y="4"/>
                    <a:pt x="54" y="4"/>
                  </a:cubicBezTo>
                  <a:cubicBezTo>
                    <a:pt x="54" y="14"/>
                    <a:pt x="54" y="14"/>
                    <a:pt x="54" y="14"/>
                  </a:cubicBezTo>
                  <a:cubicBezTo>
                    <a:pt x="36" y="14"/>
                    <a:pt x="36" y="14"/>
                    <a:pt x="36" y="14"/>
                  </a:cubicBezTo>
                  <a:lnTo>
                    <a:pt x="36" y="4"/>
                  </a:lnTo>
                  <a:close/>
                  <a:moveTo>
                    <a:pt x="45" y="18"/>
                  </a:moveTo>
                  <a:cubicBezTo>
                    <a:pt x="54" y="18"/>
                    <a:pt x="61" y="26"/>
                    <a:pt x="61" y="35"/>
                  </a:cubicBezTo>
                  <a:cubicBezTo>
                    <a:pt x="61" y="39"/>
                    <a:pt x="59" y="43"/>
                    <a:pt x="56" y="47"/>
                  </a:cubicBezTo>
                  <a:cubicBezTo>
                    <a:pt x="53" y="50"/>
                    <a:pt x="49" y="51"/>
                    <a:pt x="45" y="51"/>
                  </a:cubicBezTo>
                  <a:cubicBezTo>
                    <a:pt x="40" y="51"/>
                    <a:pt x="36" y="50"/>
                    <a:pt x="33" y="47"/>
                  </a:cubicBezTo>
                  <a:cubicBezTo>
                    <a:pt x="30" y="43"/>
                    <a:pt x="28" y="39"/>
                    <a:pt x="28" y="35"/>
                  </a:cubicBezTo>
                  <a:cubicBezTo>
                    <a:pt x="28" y="26"/>
                    <a:pt x="36" y="18"/>
                    <a:pt x="45" y="18"/>
                  </a:cubicBezTo>
                  <a:close/>
                  <a:moveTo>
                    <a:pt x="45" y="104"/>
                  </a:moveTo>
                  <a:cubicBezTo>
                    <a:pt x="29" y="104"/>
                    <a:pt x="16" y="91"/>
                    <a:pt x="16" y="76"/>
                  </a:cubicBezTo>
                  <a:cubicBezTo>
                    <a:pt x="16" y="65"/>
                    <a:pt x="22" y="55"/>
                    <a:pt x="31" y="50"/>
                  </a:cubicBezTo>
                  <a:cubicBezTo>
                    <a:pt x="31" y="51"/>
                    <a:pt x="31" y="51"/>
                    <a:pt x="32" y="51"/>
                  </a:cubicBezTo>
                  <a:cubicBezTo>
                    <a:pt x="32" y="51"/>
                    <a:pt x="33" y="52"/>
                    <a:pt x="34" y="52"/>
                  </a:cubicBezTo>
                  <a:cubicBezTo>
                    <a:pt x="34" y="53"/>
                    <a:pt x="34" y="53"/>
                    <a:pt x="35" y="53"/>
                  </a:cubicBezTo>
                  <a:cubicBezTo>
                    <a:pt x="35" y="53"/>
                    <a:pt x="36" y="54"/>
                    <a:pt x="37" y="54"/>
                  </a:cubicBezTo>
                  <a:cubicBezTo>
                    <a:pt x="38" y="54"/>
                    <a:pt x="38" y="54"/>
                    <a:pt x="38" y="54"/>
                  </a:cubicBezTo>
                  <a:cubicBezTo>
                    <a:pt x="39" y="55"/>
                    <a:pt x="40" y="55"/>
                    <a:pt x="41" y="55"/>
                  </a:cubicBezTo>
                  <a:cubicBezTo>
                    <a:pt x="41" y="55"/>
                    <a:pt x="41" y="55"/>
                    <a:pt x="41" y="55"/>
                  </a:cubicBezTo>
                  <a:cubicBezTo>
                    <a:pt x="42" y="55"/>
                    <a:pt x="44" y="55"/>
                    <a:pt x="45" y="55"/>
                  </a:cubicBezTo>
                  <a:cubicBezTo>
                    <a:pt x="46" y="55"/>
                    <a:pt x="47" y="55"/>
                    <a:pt x="48" y="55"/>
                  </a:cubicBezTo>
                  <a:cubicBezTo>
                    <a:pt x="48" y="55"/>
                    <a:pt x="48" y="55"/>
                    <a:pt x="48" y="55"/>
                  </a:cubicBezTo>
                  <a:cubicBezTo>
                    <a:pt x="50" y="55"/>
                    <a:pt x="51" y="55"/>
                    <a:pt x="52" y="54"/>
                  </a:cubicBezTo>
                  <a:cubicBezTo>
                    <a:pt x="52" y="54"/>
                    <a:pt x="52" y="54"/>
                    <a:pt x="52" y="54"/>
                  </a:cubicBezTo>
                  <a:cubicBezTo>
                    <a:pt x="53" y="54"/>
                    <a:pt x="54" y="53"/>
                    <a:pt x="55" y="53"/>
                  </a:cubicBezTo>
                  <a:cubicBezTo>
                    <a:pt x="55" y="53"/>
                    <a:pt x="55" y="53"/>
                    <a:pt x="55" y="52"/>
                  </a:cubicBezTo>
                  <a:cubicBezTo>
                    <a:pt x="56" y="52"/>
                    <a:pt x="57" y="51"/>
                    <a:pt x="58" y="51"/>
                  </a:cubicBezTo>
                  <a:cubicBezTo>
                    <a:pt x="58" y="51"/>
                    <a:pt x="58" y="51"/>
                    <a:pt x="58" y="50"/>
                  </a:cubicBezTo>
                  <a:cubicBezTo>
                    <a:pt x="67" y="55"/>
                    <a:pt x="73" y="65"/>
                    <a:pt x="73" y="76"/>
                  </a:cubicBezTo>
                  <a:cubicBezTo>
                    <a:pt x="73" y="91"/>
                    <a:pt x="60" y="104"/>
                    <a:pt x="45" y="104"/>
                  </a:cubicBezTo>
                  <a:close/>
                  <a:moveTo>
                    <a:pt x="45" y="104"/>
                  </a:moveTo>
                  <a:cubicBezTo>
                    <a:pt x="45" y="104"/>
                    <a:pt x="45" y="104"/>
                    <a:pt x="45" y="1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2" name="Freeform 6">
              <a:extLst>
                <a:ext uri="{FF2B5EF4-FFF2-40B4-BE49-F238E27FC236}">
                  <a16:creationId xmlns:a16="http://schemas.microsoft.com/office/drawing/2014/main" id="{9F61A77D-0D6A-463F-8EF4-D7C0F8FCEC55}"/>
                </a:ext>
              </a:extLst>
            </p:cNvPr>
            <p:cNvSpPr>
              <a:spLocks noEditPoints="1"/>
            </p:cNvSpPr>
            <p:nvPr/>
          </p:nvSpPr>
          <p:spPr bwMode="auto">
            <a:xfrm>
              <a:off x="1219200" y="2638425"/>
              <a:ext cx="84137" cy="30163"/>
            </a:xfrm>
            <a:custGeom>
              <a:avLst/>
              <a:gdLst>
                <a:gd name="T0" fmla="*/ 2 w 14"/>
                <a:gd name="T1" fmla="*/ 0 h 5"/>
                <a:gd name="T2" fmla="*/ 0 w 14"/>
                <a:gd name="T3" fmla="*/ 1 h 5"/>
                <a:gd name="T4" fmla="*/ 7 w 14"/>
                <a:gd name="T5" fmla="*/ 5 h 5"/>
                <a:gd name="T6" fmla="*/ 14 w 14"/>
                <a:gd name="T7" fmla="*/ 1 h 5"/>
                <a:gd name="T8" fmla="*/ 11 w 14"/>
                <a:gd name="T9" fmla="*/ 0 h 5"/>
                <a:gd name="T10" fmla="*/ 7 w 14"/>
                <a:gd name="T11" fmla="*/ 2 h 5"/>
                <a:gd name="T12" fmla="*/ 2 w 14"/>
                <a:gd name="T13" fmla="*/ 0 h 5"/>
                <a:gd name="T14" fmla="*/ 2 w 14"/>
                <a:gd name="T15" fmla="*/ 0 h 5"/>
                <a:gd name="T16" fmla="*/ 2 w 1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5">
                  <a:moveTo>
                    <a:pt x="2" y="0"/>
                  </a:moveTo>
                  <a:cubicBezTo>
                    <a:pt x="0" y="1"/>
                    <a:pt x="0" y="1"/>
                    <a:pt x="0" y="1"/>
                  </a:cubicBezTo>
                  <a:cubicBezTo>
                    <a:pt x="0" y="1"/>
                    <a:pt x="2" y="5"/>
                    <a:pt x="7" y="5"/>
                  </a:cubicBezTo>
                  <a:cubicBezTo>
                    <a:pt x="11" y="5"/>
                    <a:pt x="14" y="1"/>
                    <a:pt x="14" y="1"/>
                  </a:cubicBezTo>
                  <a:cubicBezTo>
                    <a:pt x="11" y="0"/>
                    <a:pt x="11" y="0"/>
                    <a:pt x="11" y="0"/>
                  </a:cubicBezTo>
                  <a:cubicBezTo>
                    <a:pt x="11" y="0"/>
                    <a:pt x="10" y="2"/>
                    <a:pt x="7" y="2"/>
                  </a:cubicBezTo>
                  <a:cubicBezTo>
                    <a:pt x="4" y="2"/>
                    <a:pt x="2" y="0"/>
                    <a:pt x="2" y="0"/>
                  </a:cubicBezTo>
                  <a:close/>
                  <a:moveTo>
                    <a:pt x="2" y="0"/>
                  </a:move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3" name="Freeform 7">
              <a:extLst>
                <a:ext uri="{FF2B5EF4-FFF2-40B4-BE49-F238E27FC236}">
                  <a16:creationId xmlns:a16="http://schemas.microsoft.com/office/drawing/2014/main" id="{37BA94F9-61F7-4E55-9433-DF8340959DD6}"/>
                </a:ext>
              </a:extLst>
            </p:cNvPr>
            <p:cNvSpPr>
              <a:spLocks noEditPoints="1"/>
            </p:cNvSpPr>
            <p:nvPr/>
          </p:nvSpPr>
          <p:spPr bwMode="auto">
            <a:xfrm>
              <a:off x="1212850" y="2571750"/>
              <a:ext cx="23812" cy="30163"/>
            </a:xfrm>
            <a:custGeom>
              <a:avLst/>
              <a:gdLst>
                <a:gd name="T0" fmla="*/ 4 w 4"/>
                <a:gd name="T1" fmla="*/ 3 h 5"/>
                <a:gd name="T2" fmla="*/ 2 w 4"/>
                <a:gd name="T3" fmla="*/ 5 h 5"/>
                <a:gd name="T4" fmla="*/ 0 w 4"/>
                <a:gd name="T5" fmla="*/ 3 h 5"/>
                <a:gd name="T6" fmla="*/ 2 w 4"/>
                <a:gd name="T7" fmla="*/ 0 h 5"/>
                <a:gd name="T8" fmla="*/ 4 w 4"/>
                <a:gd name="T9" fmla="*/ 3 h 5"/>
                <a:gd name="T10" fmla="*/ 4 w 4"/>
                <a:gd name="T11" fmla="*/ 3 h 5"/>
                <a:gd name="T12" fmla="*/ 4 w 4"/>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3"/>
                  </a:moveTo>
                  <a:cubicBezTo>
                    <a:pt x="4" y="4"/>
                    <a:pt x="3" y="5"/>
                    <a:pt x="2" y="5"/>
                  </a:cubicBezTo>
                  <a:cubicBezTo>
                    <a:pt x="1" y="5"/>
                    <a:pt x="0" y="4"/>
                    <a:pt x="0" y="3"/>
                  </a:cubicBezTo>
                  <a:cubicBezTo>
                    <a:pt x="0" y="1"/>
                    <a:pt x="1" y="0"/>
                    <a:pt x="2" y="0"/>
                  </a:cubicBezTo>
                  <a:cubicBezTo>
                    <a:pt x="3" y="0"/>
                    <a:pt x="4" y="1"/>
                    <a:pt x="4" y="3"/>
                  </a:cubicBezTo>
                  <a:close/>
                  <a:moveTo>
                    <a:pt x="4" y="3"/>
                  </a:moveTo>
                  <a:cubicBezTo>
                    <a:pt x="4" y="3"/>
                    <a:pt x="4" y="3"/>
                    <a:pt x="4"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4" name="Freeform 8">
              <a:extLst>
                <a:ext uri="{FF2B5EF4-FFF2-40B4-BE49-F238E27FC236}">
                  <a16:creationId xmlns:a16="http://schemas.microsoft.com/office/drawing/2014/main" id="{491CE0D7-C8F7-40A6-87A7-646750BF77B6}"/>
                </a:ext>
              </a:extLst>
            </p:cNvPr>
            <p:cNvSpPr>
              <a:spLocks noEditPoints="1"/>
            </p:cNvSpPr>
            <p:nvPr/>
          </p:nvSpPr>
          <p:spPr bwMode="auto">
            <a:xfrm>
              <a:off x="1279525" y="2571750"/>
              <a:ext cx="30162" cy="30163"/>
            </a:xfrm>
            <a:custGeom>
              <a:avLst/>
              <a:gdLst>
                <a:gd name="T0" fmla="*/ 5 w 5"/>
                <a:gd name="T1" fmla="*/ 3 h 5"/>
                <a:gd name="T2" fmla="*/ 3 w 5"/>
                <a:gd name="T3" fmla="*/ 5 h 5"/>
                <a:gd name="T4" fmla="*/ 0 w 5"/>
                <a:gd name="T5" fmla="*/ 3 h 5"/>
                <a:gd name="T6" fmla="*/ 3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3" y="5"/>
                  </a:cubicBezTo>
                  <a:cubicBezTo>
                    <a:pt x="1" y="5"/>
                    <a:pt x="0" y="4"/>
                    <a:pt x="0" y="3"/>
                  </a:cubicBezTo>
                  <a:cubicBezTo>
                    <a:pt x="0" y="1"/>
                    <a:pt x="1" y="0"/>
                    <a:pt x="3"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5" name="Freeform 9">
              <a:extLst>
                <a:ext uri="{FF2B5EF4-FFF2-40B4-BE49-F238E27FC236}">
                  <a16:creationId xmlns:a16="http://schemas.microsoft.com/office/drawing/2014/main" id="{3F8CBB64-8A5C-4300-823D-BFEE09DF9905}"/>
                </a:ext>
              </a:extLst>
            </p:cNvPr>
            <p:cNvSpPr>
              <a:spLocks noEditPoints="1"/>
            </p:cNvSpPr>
            <p:nvPr/>
          </p:nvSpPr>
          <p:spPr bwMode="auto">
            <a:xfrm>
              <a:off x="1243013" y="2825750"/>
              <a:ext cx="42862" cy="41275"/>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1"/>
                    <a:pt x="1" y="0"/>
                    <a:pt x="3" y="0"/>
                  </a:cubicBezTo>
                  <a:cubicBezTo>
                    <a:pt x="5"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6" name="Freeform 10">
              <a:extLst>
                <a:ext uri="{FF2B5EF4-FFF2-40B4-BE49-F238E27FC236}">
                  <a16:creationId xmlns:a16="http://schemas.microsoft.com/office/drawing/2014/main" id="{2C323199-AA82-4559-BF45-1811D1A4C834}"/>
                </a:ext>
              </a:extLst>
            </p:cNvPr>
            <p:cNvSpPr>
              <a:spLocks noEditPoints="1"/>
            </p:cNvSpPr>
            <p:nvPr/>
          </p:nvSpPr>
          <p:spPr bwMode="auto">
            <a:xfrm>
              <a:off x="1243013" y="2903538"/>
              <a:ext cx="42862" cy="4286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1"/>
                    <a:pt x="1" y="0"/>
                    <a:pt x="3" y="0"/>
                  </a:cubicBezTo>
                  <a:cubicBezTo>
                    <a:pt x="5"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020" name="Gruppieren 1019">
            <a:extLst>
              <a:ext uri="{FF2B5EF4-FFF2-40B4-BE49-F238E27FC236}">
                <a16:creationId xmlns:a16="http://schemas.microsoft.com/office/drawing/2014/main" id="{071EDB31-27E9-4C47-8797-DA3973BDC6CF}"/>
              </a:ext>
            </a:extLst>
          </p:cNvPr>
          <p:cNvGrpSpPr>
            <a:grpSpLocks noChangeAspect="1"/>
          </p:cNvGrpSpPr>
          <p:nvPr/>
        </p:nvGrpSpPr>
        <p:grpSpPr>
          <a:xfrm>
            <a:off x="1469256" y="5418421"/>
            <a:ext cx="304790" cy="304793"/>
            <a:chOff x="283992" y="4124782"/>
            <a:chExt cx="360000" cy="360004"/>
          </a:xfrm>
          <a:solidFill>
            <a:schemeClr val="bg2"/>
          </a:solidFill>
        </p:grpSpPr>
        <p:sp>
          <p:nvSpPr>
            <p:cNvPr id="1021" name="Freeform 45">
              <a:extLst>
                <a:ext uri="{FF2B5EF4-FFF2-40B4-BE49-F238E27FC236}">
                  <a16:creationId xmlns:a16="http://schemas.microsoft.com/office/drawing/2014/main" id="{DC3EDFF4-783C-445E-809C-514E27135E61}"/>
                </a:ext>
              </a:extLst>
            </p:cNvPr>
            <p:cNvSpPr>
              <a:spLocks noEditPoints="1"/>
            </p:cNvSpPr>
            <p:nvPr/>
          </p:nvSpPr>
          <p:spPr bwMode="auto">
            <a:xfrm>
              <a:off x="359376" y="4304788"/>
              <a:ext cx="104615" cy="10461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46">
              <a:extLst>
                <a:ext uri="{FF2B5EF4-FFF2-40B4-BE49-F238E27FC236}">
                  <a16:creationId xmlns:a16="http://schemas.microsoft.com/office/drawing/2014/main" id="{6D40C812-DAD7-4EDA-B6F3-CDC3EF1A1DFB}"/>
                </a:ext>
              </a:extLst>
            </p:cNvPr>
            <p:cNvSpPr>
              <a:spLocks noEditPoints="1"/>
            </p:cNvSpPr>
            <p:nvPr/>
          </p:nvSpPr>
          <p:spPr bwMode="auto">
            <a:xfrm>
              <a:off x="283992" y="4229401"/>
              <a:ext cx="255385" cy="25538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3" name="Gruppieren 1022">
              <a:extLst>
                <a:ext uri="{FF2B5EF4-FFF2-40B4-BE49-F238E27FC236}">
                  <a16:creationId xmlns:a16="http://schemas.microsoft.com/office/drawing/2014/main" id="{CAB2312E-6F87-4C54-B542-AA431B58C709}"/>
                </a:ext>
              </a:extLst>
            </p:cNvPr>
            <p:cNvGrpSpPr/>
            <p:nvPr/>
          </p:nvGrpSpPr>
          <p:grpSpPr>
            <a:xfrm>
              <a:off x="494761" y="4124782"/>
              <a:ext cx="149231" cy="150769"/>
              <a:chOff x="494761" y="4124782"/>
              <a:chExt cx="149231" cy="150769"/>
            </a:xfrm>
            <a:grpFill/>
          </p:grpSpPr>
          <p:sp>
            <p:nvSpPr>
              <p:cNvPr id="1024" name="Freeform 47">
                <a:extLst>
                  <a:ext uri="{FF2B5EF4-FFF2-40B4-BE49-F238E27FC236}">
                    <a16:creationId xmlns:a16="http://schemas.microsoft.com/office/drawing/2014/main" id="{5C5C54B6-A6E2-40BA-B72F-4DA74390197D}"/>
                  </a:ext>
                </a:extLst>
              </p:cNvPr>
              <p:cNvSpPr>
                <a:spLocks noEditPoints="1"/>
              </p:cNvSpPr>
              <p:nvPr/>
            </p:nvSpPr>
            <p:spPr bwMode="auto">
              <a:xfrm>
                <a:off x="539377" y="4169402"/>
                <a:ext cx="60000" cy="600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48">
                <a:extLst>
                  <a:ext uri="{FF2B5EF4-FFF2-40B4-BE49-F238E27FC236}">
                    <a16:creationId xmlns:a16="http://schemas.microsoft.com/office/drawing/2014/main" id="{C4C000E7-348C-4809-98AD-FEEBB95A0037}"/>
                  </a:ext>
                </a:extLst>
              </p:cNvPr>
              <p:cNvSpPr>
                <a:spLocks noEditPoints="1"/>
              </p:cNvSpPr>
              <p:nvPr/>
            </p:nvSpPr>
            <p:spPr bwMode="auto">
              <a:xfrm>
                <a:off x="494761" y="4124782"/>
                <a:ext cx="149231" cy="150769"/>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26" name="Group 25">
            <a:extLst>
              <a:ext uri="{FF2B5EF4-FFF2-40B4-BE49-F238E27FC236}">
                <a16:creationId xmlns:a16="http://schemas.microsoft.com/office/drawing/2014/main" id="{2B40388B-4A82-47C9-B911-B886056E786C}"/>
              </a:ext>
            </a:extLst>
          </p:cNvPr>
          <p:cNvGrpSpPr>
            <a:grpSpLocks noChangeAspect="1"/>
          </p:cNvGrpSpPr>
          <p:nvPr/>
        </p:nvGrpSpPr>
        <p:grpSpPr>
          <a:xfrm>
            <a:off x="2304892" y="5418423"/>
            <a:ext cx="304790" cy="304790"/>
            <a:chOff x="884238" y="2681288"/>
            <a:chExt cx="685800" cy="685800"/>
          </a:xfrm>
          <a:solidFill>
            <a:schemeClr val="bg2"/>
          </a:solidFill>
          <a:effectLst/>
        </p:grpSpPr>
        <p:sp>
          <p:nvSpPr>
            <p:cNvPr id="1027" name="Freeform 112">
              <a:extLst>
                <a:ext uri="{FF2B5EF4-FFF2-40B4-BE49-F238E27FC236}">
                  <a16:creationId xmlns:a16="http://schemas.microsoft.com/office/drawing/2014/main" id="{5CE56B88-86C1-4E94-BBEE-6800D4422EED}"/>
                </a:ext>
              </a:extLst>
            </p:cNvPr>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13">
              <a:extLst>
                <a:ext uri="{FF2B5EF4-FFF2-40B4-BE49-F238E27FC236}">
                  <a16:creationId xmlns:a16="http://schemas.microsoft.com/office/drawing/2014/main" id="{4E77B57A-AE1E-4424-BE30-A1368A7DBB0E}"/>
                </a:ext>
              </a:extLst>
            </p:cNvPr>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9" name="Freeform 110">
            <a:extLst>
              <a:ext uri="{FF2B5EF4-FFF2-40B4-BE49-F238E27FC236}">
                <a16:creationId xmlns:a16="http://schemas.microsoft.com/office/drawing/2014/main" id="{01E16D87-90CA-44D4-83FC-2D6518F189D6}"/>
              </a:ext>
            </a:extLst>
          </p:cNvPr>
          <p:cNvSpPr>
            <a:spLocks noChangeAspect="1" noEditPoints="1"/>
          </p:cNvSpPr>
          <p:nvPr/>
        </p:nvSpPr>
        <p:spPr bwMode="auto">
          <a:xfrm>
            <a:off x="1884302" y="5418772"/>
            <a:ext cx="304790" cy="304091"/>
          </a:xfrm>
          <a:custGeom>
            <a:avLst/>
            <a:gdLst>
              <a:gd name="T0" fmla="*/ 526 w 1307"/>
              <a:gd name="T1" fmla="*/ 496 h 1306"/>
              <a:gd name="T2" fmla="*/ 453 w 1307"/>
              <a:gd name="T3" fmla="*/ 632 h 1306"/>
              <a:gd name="T4" fmla="*/ 497 w 1307"/>
              <a:gd name="T5" fmla="*/ 781 h 1306"/>
              <a:gd name="T6" fmla="*/ 633 w 1307"/>
              <a:gd name="T7" fmla="*/ 853 h 1306"/>
              <a:gd name="T8" fmla="*/ 782 w 1307"/>
              <a:gd name="T9" fmla="*/ 809 h 1306"/>
              <a:gd name="T10" fmla="*/ 854 w 1307"/>
              <a:gd name="T11" fmla="*/ 673 h 1306"/>
              <a:gd name="T12" fmla="*/ 810 w 1307"/>
              <a:gd name="T13" fmla="*/ 524 h 1306"/>
              <a:gd name="T14" fmla="*/ 674 w 1307"/>
              <a:gd name="T15" fmla="*/ 452 h 1306"/>
              <a:gd name="T16" fmla="*/ 512 w 1307"/>
              <a:gd name="T17" fmla="*/ 864 h 1306"/>
              <a:gd name="T18" fmla="*/ 405 w 1307"/>
              <a:gd name="T19" fmla="*/ 704 h 1306"/>
              <a:gd name="T20" fmla="*/ 443 w 1307"/>
              <a:gd name="T21" fmla="*/ 511 h 1306"/>
              <a:gd name="T22" fmla="*/ 602 w 1307"/>
              <a:gd name="T23" fmla="*/ 404 h 1306"/>
              <a:gd name="T24" fmla="*/ 795 w 1307"/>
              <a:gd name="T25" fmla="*/ 442 h 1306"/>
              <a:gd name="T26" fmla="*/ 902 w 1307"/>
              <a:gd name="T27" fmla="*/ 601 h 1306"/>
              <a:gd name="T28" fmla="*/ 864 w 1307"/>
              <a:gd name="T29" fmla="*/ 794 h 1306"/>
              <a:gd name="T30" fmla="*/ 705 w 1307"/>
              <a:gd name="T31" fmla="*/ 901 h 1306"/>
              <a:gd name="T32" fmla="*/ 517 w 1307"/>
              <a:gd name="T33" fmla="*/ 1061 h 1306"/>
              <a:gd name="T34" fmla="*/ 569 w 1307"/>
              <a:gd name="T35" fmla="*/ 1254 h 1306"/>
              <a:gd name="T36" fmla="*/ 761 w 1307"/>
              <a:gd name="T37" fmla="*/ 1069 h 1306"/>
              <a:gd name="T38" fmla="*/ 903 w 1307"/>
              <a:gd name="T39" fmla="*/ 1026 h 1306"/>
              <a:gd name="T40" fmla="*/ 1138 w 1307"/>
              <a:gd name="T41" fmla="*/ 1012 h 1306"/>
              <a:gd name="T42" fmla="*/ 1062 w 1307"/>
              <a:gd name="T43" fmla="*/ 789 h 1306"/>
              <a:gd name="T44" fmla="*/ 1255 w 1307"/>
              <a:gd name="T45" fmla="*/ 737 h 1306"/>
              <a:gd name="T46" fmla="*/ 1070 w 1307"/>
              <a:gd name="T47" fmla="*/ 545 h 1306"/>
              <a:gd name="T48" fmla="*/ 1029 w 1307"/>
              <a:gd name="T49" fmla="*/ 403 h 1306"/>
              <a:gd name="T50" fmla="*/ 1013 w 1307"/>
              <a:gd name="T51" fmla="*/ 168 h 1306"/>
              <a:gd name="T52" fmla="*/ 790 w 1307"/>
              <a:gd name="T53" fmla="*/ 244 h 1306"/>
              <a:gd name="T54" fmla="*/ 738 w 1307"/>
              <a:gd name="T55" fmla="*/ 51 h 1306"/>
              <a:gd name="T56" fmla="*/ 546 w 1307"/>
              <a:gd name="T57" fmla="*/ 236 h 1306"/>
              <a:gd name="T58" fmla="*/ 404 w 1307"/>
              <a:gd name="T59" fmla="*/ 279 h 1306"/>
              <a:gd name="T60" fmla="*/ 170 w 1307"/>
              <a:gd name="T61" fmla="*/ 293 h 1306"/>
              <a:gd name="T62" fmla="*/ 245 w 1307"/>
              <a:gd name="T63" fmla="*/ 517 h 1306"/>
              <a:gd name="T64" fmla="*/ 52 w 1307"/>
              <a:gd name="T65" fmla="*/ 568 h 1306"/>
              <a:gd name="T66" fmla="*/ 238 w 1307"/>
              <a:gd name="T67" fmla="*/ 760 h 1306"/>
              <a:gd name="T68" fmla="*/ 280 w 1307"/>
              <a:gd name="T69" fmla="*/ 902 h 1306"/>
              <a:gd name="T70" fmla="*/ 294 w 1307"/>
              <a:gd name="T71" fmla="*/ 1137 h 1306"/>
              <a:gd name="T72" fmla="*/ 559 w 1307"/>
              <a:gd name="T73" fmla="*/ 1304 h 1306"/>
              <a:gd name="T74" fmla="*/ 513 w 1307"/>
              <a:gd name="T75" fmla="*/ 1114 h 1306"/>
              <a:gd name="T76" fmla="*/ 301 w 1307"/>
              <a:gd name="T77" fmla="*/ 1189 h 1306"/>
              <a:gd name="T78" fmla="*/ 120 w 1307"/>
              <a:gd name="T79" fmla="*/ 1036 h 1306"/>
              <a:gd name="T80" fmla="*/ 218 w 1307"/>
              <a:gd name="T81" fmla="*/ 859 h 1306"/>
              <a:gd name="T82" fmla="*/ 18 w 1307"/>
              <a:gd name="T83" fmla="*/ 776 h 1306"/>
              <a:gd name="T84" fmla="*/ 11 w 1307"/>
              <a:gd name="T85" fmla="*/ 538 h 1306"/>
              <a:gd name="T86" fmla="*/ 208 w 1307"/>
              <a:gd name="T87" fmla="*/ 468 h 1306"/>
              <a:gd name="T88" fmla="*/ 117 w 1307"/>
              <a:gd name="T89" fmla="*/ 279 h 1306"/>
              <a:gd name="T90" fmla="*/ 291 w 1307"/>
              <a:gd name="T91" fmla="*/ 116 h 1306"/>
              <a:gd name="T92" fmla="*/ 491 w 1307"/>
              <a:gd name="T93" fmla="*/ 198 h 1306"/>
              <a:gd name="T94" fmla="*/ 548 w 1307"/>
              <a:gd name="T95" fmla="*/ 4 h 1306"/>
              <a:gd name="T96" fmla="*/ 784 w 1307"/>
              <a:gd name="T97" fmla="*/ 24 h 1306"/>
              <a:gd name="T98" fmla="*/ 880 w 1307"/>
              <a:gd name="T99" fmla="*/ 227 h 1306"/>
              <a:gd name="T100" fmla="*/ 1047 w 1307"/>
              <a:gd name="T101" fmla="*/ 125 h 1306"/>
              <a:gd name="T102" fmla="*/ 1187 w 1307"/>
              <a:gd name="T103" fmla="*/ 311 h 1306"/>
              <a:gd name="T104" fmla="*/ 1250 w 1307"/>
              <a:gd name="T105" fmla="*/ 512 h 1306"/>
              <a:gd name="T106" fmla="*/ 1307 w 1307"/>
              <a:gd name="T107" fmla="*/ 568 h 1306"/>
              <a:gd name="T108" fmla="*/ 1262 w 1307"/>
              <a:gd name="T109" fmla="*/ 792 h 1306"/>
              <a:gd name="T110" fmla="*/ 1181 w 1307"/>
              <a:gd name="T111" fmla="*/ 984 h 1306"/>
              <a:gd name="T112" fmla="*/ 1056 w 1307"/>
              <a:gd name="T113" fmla="*/ 1173 h 1306"/>
              <a:gd name="T114" fmla="*/ 977 w 1307"/>
              <a:gd name="T115" fmla="*/ 1173 h 1306"/>
              <a:gd name="T116" fmla="*/ 790 w 1307"/>
              <a:gd name="T117" fmla="*/ 1271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7" h="1306">
                <a:moveTo>
                  <a:pt x="654" y="450"/>
                </a:moveTo>
                <a:lnTo>
                  <a:pt x="633" y="452"/>
                </a:lnTo>
                <a:lnTo>
                  <a:pt x="612" y="455"/>
                </a:lnTo>
                <a:lnTo>
                  <a:pt x="594" y="460"/>
                </a:lnTo>
                <a:lnTo>
                  <a:pt x="575" y="466"/>
                </a:lnTo>
                <a:lnTo>
                  <a:pt x="558" y="475"/>
                </a:lnTo>
                <a:lnTo>
                  <a:pt x="540" y="485"/>
                </a:lnTo>
                <a:lnTo>
                  <a:pt x="526" y="496"/>
                </a:lnTo>
                <a:lnTo>
                  <a:pt x="512" y="509"/>
                </a:lnTo>
                <a:lnTo>
                  <a:pt x="497" y="524"/>
                </a:lnTo>
                <a:lnTo>
                  <a:pt x="486" y="540"/>
                </a:lnTo>
                <a:lnTo>
                  <a:pt x="476" y="557"/>
                </a:lnTo>
                <a:lnTo>
                  <a:pt x="467" y="574"/>
                </a:lnTo>
                <a:lnTo>
                  <a:pt x="461" y="593"/>
                </a:lnTo>
                <a:lnTo>
                  <a:pt x="455" y="612"/>
                </a:lnTo>
                <a:lnTo>
                  <a:pt x="453" y="632"/>
                </a:lnTo>
                <a:lnTo>
                  <a:pt x="451" y="653"/>
                </a:lnTo>
                <a:lnTo>
                  <a:pt x="453" y="673"/>
                </a:lnTo>
                <a:lnTo>
                  <a:pt x="455" y="694"/>
                </a:lnTo>
                <a:lnTo>
                  <a:pt x="461" y="712"/>
                </a:lnTo>
                <a:lnTo>
                  <a:pt x="467" y="731"/>
                </a:lnTo>
                <a:lnTo>
                  <a:pt x="476" y="748"/>
                </a:lnTo>
                <a:lnTo>
                  <a:pt x="486" y="766"/>
                </a:lnTo>
                <a:lnTo>
                  <a:pt x="497" y="781"/>
                </a:lnTo>
                <a:lnTo>
                  <a:pt x="512" y="796"/>
                </a:lnTo>
                <a:lnTo>
                  <a:pt x="526" y="809"/>
                </a:lnTo>
                <a:lnTo>
                  <a:pt x="540" y="820"/>
                </a:lnTo>
                <a:lnTo>
                  <a:pt x="558" y="830"/>
                </a:lnTo>
                <a:lnTo>
                  <a:pt x="575" y="839"/>
                </a:lnTo>
                <a:lnTo>
                  <a:pt x="594" y="845"/>
                </a:lnTo>
                <a:lnTo>
                  <a:pt x="612" y="851"/>
                </a:lnTo>
                <a:lnTo>
                  <a:pt x="633" y="853"/>
                </a:lnTo>
                <a:lnTo>
                  <a:pt x="654" y="855"/>
                </a:lnTo>
                <a:lnTo>
                  <a:pt x="674" y="853"/>
                </a:lnTo>
                <a:lnTo>
                  <a:pt x="695" y="851"/>
                </a:lnTo>
                <a:lnTo>
                  <a:pt x="713" y="845"/>
                </a:lnTo>
                <a:lnTo>
                  <a:pt x="732" y="839"/>
                </a:lnTo>
                <a:lnTo>
                  <a:pt x="749" y="830"/>
                </a:lnTo>
                <a:lnTo>
                  <a:pt x="767" y="820"/>
                </a:lnTo>
                <a:lnTo>
                  <a:pt x="782" y="809"/>
                </a:lnTo>
                <a:lnTo>
                  <a:pt x="797" y="796"/>
                </a:lnTo>
                <a:lnTo>
                  <a:pt x="810" y="781"/>
                </a:lnTo>
                <a:lnTo>
                  <a:pt x="821" y="766"/>
                </a:lnTo>
                <a:lnTo>
                  <a:pt x="831" y="748"/>
                </a:lnTo>
                <a:lnTo>
                  <a:pt x="840" y="731"/>
                </a:lnTo>
                <a:lnTo>
                  <a:pt x="846" y="712"/>
                </a:lnTo>
                <a:lnTo>
                  <a:pt x="851" y="694"/>
                </a:lnTo>
                <a:lnTo>
                  <a:pt x="854" y="673"/>
                </a:lnTo>
                <a:lnTo>
                  <a:pt x="856" y="653"/>
                </a:lnTo>
                <a:lnTo>
                  <a:pt x="854" y="632"/>
                </a:lnTo>
                <a:lnTo>
                  <a:pt x="851" y="612"/>
                </a:lnTo>
                <a:lnTo>
                  <a:pt x="846" y="593"/>
                </a:lnTo>
                <a:lnTo>
                  <a:pt x="840" y="574"/>
                </a:lnTo>
                <a:lnTo>
                  <a:pt x="831" y="557"/>
                </a:lnTo>
                <a:lnTo>
                  <a:pt x="821" y="540"/>
                </a:lnTo>
                <a:lnTo>
                  <a:pt x="810" y="524"/>
                </a:lnTo>
                <a:lnTo>
                  <a:pt x="797" y="509"/>
                </a:lnTo>
                <a:lnTo>
                  <a:pt x="782" y="496"/>
                </a:lnTo>
                <a:lnTo>
                  <a:pt x="767" y="485"/>
                </a:lnTo>
                <a:lnTo>
                  <a:pt x="749" y="475"/>
                </a:lnTo>
                <a:lnTo>
                  <a:pt x="732" y="466"/>
                </a:lnTo>
                <a:lnTo>
                  <a:pt x="713" y="460"/>
                </a:lnTo>
                <a:lnTo>
                  <a:pt x="695" y="455"/>
                </a:lnTo>
                <a:lnTo>
                  <a:pt x="674" y="452"/>
                </a:lnTo>
                <a:lnTo>
                  <a:pt x="654" y="450"/>
                </a:lnTo>
                <a:close/>
                <a:moveTo>
                  <a:pt x="654" y="907"/>
                </a:moveTo>
                <a:lnTo>
                  <a:pt x="628" y="905"/>
                </a:lnTo>
                <a:lnTo>
                  <a:pt x="602" y="901"/>
                </a:lnTo>
                <a:lnTo>
                  <a:pt x="578" y="895"/>
                </a:lnTo>
                <a:lnTo>
                  <a:pt x="555" y="887"/>
                </a:lnTo>
                <a:lnTo>
                  <a:pt x="533" y="876"/>
                </a:lnTo>
                <a:lnTo>
                  <a:pt x="512" y="864"/>
                </a:lnTo>
                <a:lnTo>
                  <a:pt x="491" y="849"/>
                </a:lnTo>
                <a:lnTo>
                  <a:pt x="474" y="832"/>
                </a:lnTo>
                <a:lnTo>
                  <a:pt x="458" y="815"/>
                </a:lnTo>
                <a:lnTo>
                  <a:pt x="443" y="794"/>
                </a:lnTo>
                <a:lnTo>
                  <a:pt x="430" y="774"/>
                </a:lnTo>
                <a:lnTo>
                  <a:pt x="419" y="751"/>
                </a:lnTo>
                <a:lnTo>
                  <a:pt x="411" y="728"/>
                </a:lnTo>
                <a:lnTo>
                  <a:pt x="405" y="704"/>
                </a:lnTo>
                <a:lnTo>
                  <a:pt x="401" y="679"/>
                </a:lnTo>
                <a:lnTo>
                  <a:pt x="399" y="653"/>
                </a:lnTo>
                <a:lnTo>
                  <a:pt x="401" y="627"/>
                </a:lnTo>
                <a:lnTo>
                  <a:pt x="405" y="601"/>
                </a:lnTo>
                <a:lnTo>
                  <a:pt x="411" y="577"/>
                </a:lnTo>
                <a:lnTo>
                  <a:pt x="419" y="554"/>
                </a:lnTo>
                <a:lnTo>
                  <a:pt x="430" y="531"/>
                </a:lnTo>
                <a:lnTo>
                  <a:pt x="443" y="511"/>
                </a:lnTo>
                <a:lnTo>
                  <a:pt x="458" y="491"/>
                </a:lnTo>
                <a:lnTo>
                  <a:pt x="474" y="473"/>
                </a:lnTo>
                <a:lnTo>
                  <a:pt x="491" y="456"/>
                </a:lnTo>
                <a:lnTo>
                  <a:pt x="512" y="442"/>
                </a:lnTo>
                <a:lnTo>
                  <a:pt x="533" y="429"/>
                </a:lnTo>
                <a:lnTo>
                  <a:pt x="555" y="419"/>
                </a:lnTo>
                <a:lnTo>
                  <a:pt x="578" y="410"/>
                </a:lnTo>
                <a:lnTo>
                  <a:pt x="602" y="404"/>
                </a:lnTo>
                <a:lnTo>
                  <a:pt x="628" y="400"/>
                </a:lnTo>
                <a:lnTo>
                  <a:pt x="654" y="398"/>
                </a:lnTo>
                <a:lnTo>
                  <a:pt x="680" y="400"/>
                </a:lnTo>
                <a:lnTo>
                  <a:pt x="705" y="404"/>
                </a:lnTo>
                <a:lnTo>
                  <a:pt x="729" y="410"/>
                </a:lnTo>
                <a:lnTo>
                  <a:pt x="752" y="419"/>
                </a:lnTo>
                <a:lnTo>
                  <a:pt x="775" y="429"/>
                </a:lnTo>
                <a:lnTo>
                  <a:pt x="795" y="442"/>
                </a:lnTo>
                <a:lnTo>
                  <a:pt x="815" y="456"/>
                </a:lnTo>
                <a:lnTo>
                  <a:pt x="833" y="473"/>
                </a:lnTo>
                <a:lnTo>
                  <a:pt x="850" y="491"/>
                </a:lnTo>
                <a:lnTo>
                  <a:pt x="864" y="511"/>
                </a:lnTo>
                <a:lnTo>
                  <a:pt x="877" y="531"/>
                </a:lnTo>
                <a:lnTo>
                  <a:pt x="887" y="554"/>
                </a:lnTo>
                <a:lnTo>
                  <a:pt x="896" y="577"/>
                </a:lnTo>
                <a:lnTo>
                  <a:pt x="902" y="601"/>
                </a:lnTo>
                <a:lnTo>
                  <a:pt x="906" y="627"/>
                </a:lnTo>
                <a:lnTo>
                  <a:pt x="908" y="653"/>
                </a:lnTo>
                <a:lnTo>
                  <a:pt x="906" y="679"/>
                </a:lnTo>
                <a:lnTo>
                  <a:pt x="902" y="704"/>
                </a:lnTo>
                <a:lnTo>
                  <a:pt x="896" y="728"/>
                </a:lnTo>
                <a:lnTo>
                  <a:pt x="887" y="751"/>
                </a:lnTo>
                <a:lnTo>
                  <a:pt x="877" y="774"/>
                </a:lnTo>
                <a:lnTo>
                  <a:pt x="864" y="794"/>
                </a:lnTo>
                <a:lnTo>
                  <a:pt x="850" y="815"/>
                </a:lnTo>
                <a:lnTo>
                  <a:pt x="833" y="832"/>
                </a:lnTo>
                <a:lnTo>
                  <a:pt x="815" y="849"/>
                </a:lnTo>
                <a:lnTo>
                  <a:pt x="795" y="864"/>
                </a:lnTo>
                <a:lnTo>
                  <a:pt x="775" y="876"/>
                </a:lnTo>
                <a:lnTo>
                  <a:pt x="752" y="887"/>
                </a:lnTo>
                <a:lnTo>
                  <a:pt x="729" y="895"/>
                </a:lnTo>
                <a:lnTo>
                  <a:pt x="705" y="901"/>
                </a:lnTo>
                <a:lnTo>
                  <a:pt x="680" y="905"/>
                </a:lnTo>
                <a:lnTo>
                  <a:pt x="654" y="907"/>
                </a:lnTo>
                <a:close/>
                <a:moveTo>
                  <a:pt x="422" y="1019"/>
                </a:moveTo>
                <a:lnTo>
                  <a:pt x="430" y="1020"/>
                </a:lnTo>
                <a:lnTo>
                  <a:pt x="435" y="1023"/>
                </a:lnTo>
                <a:lnTo>
                  <a:pt x="463" y="1038"/>
                </a:lnTo>
                <a:lnTo>
                  <a:pt x="490" y="1049"/>
                </a:lnTo>
                <a:lnTo>
                  <a:pt x="517" y="1061"/>
                </a:lnTo>
                <a:lnTo>
                  <a:pt x="546" y="1069"/>
                </a:lnTo>
                <a:lnTo>
                  <a:pt x="553" y="1072"/>
                </a:lnTo>
                <a:lnTo>
                  <a:pt x="561" y="1078"/>
                </a:lnTo>
                <a:lnTo>
                  <a:pt x="565" y="1085"/>
                </a:lnTo>
                <a:lnTo>
                  <a:pt x="566" y="1094"/>
                </a:lnTo>
                <a:lnTo>
                  <a:pt x="566" y="1249"/>
                </a:lnTo>
                <a:lnTo>
                  <a:pt x="566" y="1252"/>
                </a:lnTo>
                <a:lnTo>
                  <a:pt x="569" y="1254"/>
                </a:lnTo>
                <a:lnTo>
                  <a:pt x="738" y="1254"/>
                </a:lnTo>
                <a:lnTo>
                  <a:pt x="741" y="1252"/>
                </a:lnTo>
                <a:lnTo>
                  <a:pt x="742" y="1249"/>
                </a:lnTo>
                <a:lnTo>
                  <a:pt x="742" y="1094"/>
                </a:lnTo>
                <a:lnTo>
                  <a:pt x="743" y="1085"/>
                </a:lnTo>
                <a:lnTo>
                  <a:pt x="746" y="1078"/>
                </a:lnTo>
                <a:lnTo>
                  <a:pt x="754" y="1072"/>
                </a:lnTo>
                <a:lnTo>
                  <a:pt x="761" y="1069"/>
                </a:lnTo>
                <a:lnTo>
                  <a:pt x="790" y="1061"/>
                </a:lnTo>
                <a:lnTo>
                  <a:pt x="818" y="1049"/>
                </a:lnTo>
                <a:lnTo>
                  <a:pt x="846" y="1038"/>
                </a:lnTo>
                <a:lnTo>
                  <a:pt x="872" y="1023"/>
                </a:lnTo>
                <a:lnTo>
                  <a:pt x="880" y="1019"/>
                </a:lnTo>
                <a:lnTo>
                  <a:pt x="889" y="1019"/>
                </a:lnTo>
                <a:lnTo>
                  <a:pt x="896" y="1022"/>
                </a:lnTo>
                <a:lnTo>
                  <a:pt x="903" y="1026"/>
                </a:lnTo>
                <a:lnTo>
                  <a:pt x="1013" y="1137"/>
                </a:lnTo>
                <a:lnTo>
                  <a:pt x="1014" y="1137"/>
                </a:lnTo>
                <a:lnTo>
                  <a:pt x="1016" y="1139"/>
                </a:lnTo>
                <a:lnTo>
                  <a:pt x="1019" y="1137"/>
                </a:lnTo>
                <a:lnTo>
                  <a:pt x="1020" y="1137"/>
                </a:lnTo>
                <a:lnTo>
                  <a:pt x="1138" y="1018"/>
                </a:lnTo>
                <a:lnTo>
                  <a:pt x="1139" y="1015"/>
                </a:lnTo>
                <a:lnTo>
                  <a:pt x="1138" y="1012"/>
                </a:lnTo>
                <a:lnTo>
                  <a:pt x="1029" y="902"/>
                </a:lnTo>
                <a:lnTo>
                  <a:pt x="1023" y="895"/>
                </a:lnTo>
                <a:lnTo>
                  <a:pt x="1020" y="888"/>
                </a:lnTo>
                <a:lnTo>
                  <a:pt x="1021" y="879"/>
                </a:lnTo>
                <a:lnTo>
                  <a:pt x="1024" y="871"/>
                </a:lnTo>
                <a:lnTo>
                  <a:pt x="1039" y="845"/>
                </a:lnTo>
                <a:lnTo>
                  <a:pt x="1050" y="817"/>
                </a:lnTo>
                <a:lnTo>
                  <a:pt x="1062" y="789"/>
                </a:lnTo>
                <a:lnTo>
                  <a:pt x="1070" y="760"/>
                </a:lnTo>
                <a:lnTo>
                  <a:pt x="1073" y="753"/>
                </a:lnTo>
                <a:lnTo>
                  <a:pt x="1079" y="745"/>
                </a:lnTo>
                <a:lnTo>
                  <a:pt x="1086" y="743"/>
                </a:lnTo>
                <a:lnTo>
                  <a:pt x="1095" y="741"/>
                </a:lnTo>
                <a:lnTo>
                  <a:pt x="1250" y="741"/>
                </a:lnTo>
                <a:lnTo>
                  <a:pt x="1253" y="740"/>
                </a:lnTo>
                <a:lnTo>
                  <a:pt x="1255" y="737"/>
                </a:lnTo>
                <a:lnTo>
                  <a:pt x="1255" y="568"/>
                </a:lnTo>
                <a:lnTo>
                  <a:pt x="1253" y="565"/>
                </a:lnTo>
                <a:lnTo>
                  <a:pt x="1250" y="565"/>
                </a:lnTo>
                <a:lnTo>
                  <a:pt x="1095" y="565"/>
                </a:lnTo>
                <a:lnTo>
                  <a:pt x="1086" y="564"/>
                </a:lnTo>
                <a:lnTo>
                  <a:pt x="1079" y="560"/>
                </a:lnTo>
                <a:lnTo>
                  <a:pt x="1073" y="553"/>
                </a:lnTo>
                <a:lnTo>
                  <a:pt x="1070" y="545"/>
                </a:lnTo>
                <a:lnTo>
                  <a:pt x="1062" y="517"/>
                </a:lnTo>
                <a:lnTo>
                  <a:pt x="1050" y="488"/>
                </a:lnTo>
                <a:lnTo>
                  <a:pt x="1039" y="460"/>
                </a:lnTo>
                <a:lnTo>
                  <a:pt x="1024" y="434"/>
                </a:lnTo>
                <a:lnTo>
                  <a:pt x="1021" y="426"/>
                </a:lnTo>
                <a:lnTo>
                  <a:pt x="1020" y="417"/>
                </a:lnTo>
                <a:lnTo>
                  <a:pt x="1023" y="410"/>
                </a:lnTo>
                <a:lnTo>
                  <a:pt x="1029" y="403"/>
                </a:lnTo>
                <a:lnTo>
                  <a:pt x="1138" y="293"/>
                </a:lnTo>
                <a:lnTo>
                  <a:pt x="1139" y="290"/>
                </a:lnTo>
                <a:lnTo>
                  <a:pt x="1138" y="288"/>
                </a:lnTo>
                <a:lnTo>
                  <a:pt x="1020" y="168"/>
                </a:lnTo>
                <a:lnTo>
                  <a:pt x="1019" y="168"/>
                </a:lnTo>
                <a:lnTo>
                  <a:pt x="1016" y="167"/>
                </a:lnTo>
                <a:lnTo>
                  <a:pt x="1014" y="168"/>
                </a:lnTo>
                <a:lnTo>
                  <a:pt x="1013" y="168"/>
                </a:lnTo>
                <a:lnTo>
                  <a:pt x="903" y="279"/>
                </a:lnTo>
                <a:lnTo>
                  <a:pt x="896" y="283"/>
                </a:lnTo>
                <a:lnTo>
                  <a:pt x="889" y="286"/>
                </a:lnTo>
                <a:lnTo>
                  <a:pt x="880" y="286"/>
                </a:lnTo>
                <a:lnTo>
                  <a:pt x="872" y="282"/>
                </a:lnTo>
                <a:lnTo>
                  <a:pt x="846" y="267"/>
                </a:lnTo>
                <a:lnTo>
                  <a:pt x="818" y="256"/>
                </a:lnTo>
                <a:lnTo>
                  <a:pt x="790" y="244"/>
                </a:lnTo>
                <a:lnTo>
                  <a:pt x="761" y="236"/>
                </a:lnTo>
                <a:lnTo>
                  <a:pt x="754" y="233"/>
                </a:lnTo>
                <a:lnTo>
                  <a:pt x="746" y="227"/>
                </a:lnTo>
                <a:lnTo>
                  <a:pt x="743" y="220"/>
                </a:lnTo>
                <a:lnTo>
                  <a:pt x="742" y="211"/>
                </a:lnTo>
                <a:lnTo>
                  <a:pt x="742" y="56"/>
                </a:lnTo>
                <a:lnTo>
                  <a:pt x="741" y="53"/>
                </a:lnTo>
                <a:lnTo>
                  <a:pt x="738" y="51"/>
                </a:lnTo>
                <a:lnTo>
                  <a:pt x="569" y="51"/>
                </a:lnTo>
                <a:lnTo>
                  <a:pt x="566" y="53"/>
                </a:lnTo>
                <a:lnTo>
                  <a:pt x="566" y="56"/>
                </a:lnTo>
                <a:lnTo>
                  <a:pt x="566" y="211"/>
                </a:lnTo>
                <a:lnTo>
                  <a:pt x="565" y="220"/>
                </a:lnTo>
                <a:lnTo>
                  <a:pt x="561" y="227"/>
                </a:lnTo>
                <a:lnTo>
                  <a:pt x="553" y="233"/>
                </a:lnTo>
                <a:lnTo>
                  <a:pt x="546" y="236"/>
                </a:lnTo>
                <a:lnTo>
                  <a:pt x="517" y="244"/>
                </a:lnTo>
                <a:lnTo>
                  <a:pt x="490" y="256"/>
                </a:lnTo>
                <a:lnTo>
                  <a:pt x="463" y="267"/>
                </a:lnTo>
                <a:lnTo>
                  <a:pt x="435" y="282"/>
                </a:lnTo>
                <a:lnTo>
                  <a:pt x="427" y="286"/>
                </a:lnTo>
                <a:lnTo>
                  <a:pt x="419" y="286"/>
                </a:lnTo>
                <a:lnTo>
                  <a:pt x="411" y="283"/>
                </a:lnTo>
                <a:lnTo>
                  <a:pt x="404" y="279"/>
                </a:lnTo>
                <a:lnTo>
                  <a:pt x="294" y="168"/>
                </a:lnTo>
                <a:lnTo>
                  <a:pt x="293" y="168"/>
                </a:lnTo>
                <a:lnTo>
                  <a:pt x="291" y="167"/>
                </a:lnTo>
                <a:lnTo>
                  <a:pt x="290" y="168"/>
                </a:lnTo>
                <a:lnTo>
                  <a:pt x="288" y="168"/>
                </a:lnTo>
                <a:lnTo>
                  <a:pt x="170" y="288"/>
                </a:lnTo>
                <a:lnTo>
                  <a:pt x="169" y="290"/>
                </a:lnTo>
                <a:lnTo>
                  <a:pt x="170" y="293"/>
                </a:lnTo>
                <a:lnTo>
                  <a:pt x="280" y="403"/>
                </a:lnTo>
                <a:lnTo>
                  <a:pt x="284" y="410"/>
                </a:lnTo>
                <a:lnTo>
                  <a:pt x="287" y="417"/>
                </a:lnTo>
                <a:lnTo>
                  <a:pt x="287" y="426"/>
                </a:lnTo>
                <a:lnTo>
                  <a:pt x="284" y="434"/>
                </a:lnTo>
                <a:lnTo>
                  <a:pt x="268" y="460"/>
                </a:lnTo>
                <a:lnTo>
                  <a:pt x="257" y="488"/>
                </a:lnTo>
                <a:lnTo>
                  <a:pt x="245" y="517"/>
                </a:lnTo>
                <a:lnTo>
                  <a:pt x="238" y="545"/>
                </a:lnTo>
                <a:lnTo>
                  <a:pt x="234" y="553"/>
                </a:lnTo>
                <a:lnTo>
                  <a:pt x="228" y="560"/>
                </a:lnTo>
                <a:lnTo>
                  <a:pt x="221" y="564"/>
                </a:lnTo>
                <a:lnTo>
                  <a:pt x="212" y="565"/>
                </a:lnTo>
                <a:lnTo>
                  <a:pt x="57" y="565"/>
                </a:lnTo>
                <a:lnTo>
                  <a:pt x="54" y="565"/>
                </a:lnTo>
                <a:lnTo>
                  <a:pt x="52" y="568"/>
                </a:lnTo>
                <a:lnTo>
                  <a:pt x="52" y="737"/>
                </a:lnTo>
                <a:lnTo>
                  <a:pt x="54" y="740"/>
                </a:lnTo>
                <a:lnTo>
                  <a:pt x="57" y="741"/>
                </a:lnTo>
                <a:lnTo>
                  <a:pt x="212" y="741"/>
                </a:lnTo>
                <a:lnTo>
                  <a:pt x="221" y="743"/>
                </a:lnTo>
                <a:lnTo>
                  <a:pt x="228" y="745"/>
                </a:lnTo>
                <a:lnTo>
                  <a:pt x="234" y="753"/>
                </a:lnTo>
                <a:lnTo>
                  <a:pt x="238" y="760"/>
                </a:lnTo>
                <a:lnTo>
                  <a:pt x="245" y="789"/>
                </a:lnTo>
                <a:lnTo>
                  <a:pt x="257" y="817"/>
                </a:lnTo>
                <a:lnTo>
                  <a:pt x="268" y="845"/>
                </a:lnTo>
                <a:lnTo>
                  <a:pt x="284" y="871"/>
                </a:lnTo>
                <a:lnTo>
                  <a:pt x="287" y="879"/>
                </a:lnTo>
                <a:lnTo>
                  <a:pt x="287" y="888"/>
                </a:lnTo>
                <a:lnTo>
                  <a:pt x="284" y="895"/>
                </a:lnTo>
                <a:lnTo>
                  <a:pt x="280" y="902"/>
                </a:lnTo>
                <a:lnTo>
                  <a:pt x="170" y="1012"/>
                </a:lnTo>
                <a:lnTo>
                  <a:pt x="169" y="1015"/>
                </a:lnTo>
                <a:lnTo>
                  <a:pt x="170" y="1018"/>
                </a:lnTo>
                <a:lnTo>
                  <a:pt x="288" y="1137"/>
                </a:lnTo>
                <a:lnTo>
                  <a:pt x="290" y="1137"/>
                </a:lnTo>
                <a:lnTo>
                  <a:pt x="291" y="1139"/>
                </a:lnTo>
                <a:lnTo>
                  <a:pt x="293" y="1137"/>
                </a:lnTo>
                <a:lnTo>
                  <a:pt x="294" y="1137"/>
                </a:lnTo>
                <a:lnTo>
                  <a:pt x="404" y="1026"/>
                </a:lnTo>
                <a:lnTo>
                  <a:pt x="408" y="1023"/>
                </a:lnTo>
                <a:lnTo>
                  <a:pt x="412" y="1020"/>
                </a:lnTo>
                <a:lnTo>
                  <a:pt x="417" y="1019"/>
                </a:lnTo>
                <a:lnTo>
                  <a:pt x="422" y="1019"/>
                </a:lnTo>
                <a:close/>
                <a:moveTo>
                  <a:pt x="738" y="1306"/>
                </a:moveTo>
                <a:lnTo>
                  <a:pt x="569" y="1306"/>
                </a:lnTo>
                <a:lnTo>
                  <a:pt x="559" y="1304"/>
                </a:lnTo>
                <a:lnTo>
                  <a:pt x="548" y="1301"/>
                </a:lnTo>
                <a:lnTo>
                  <a:pt x="539" y="1296"/>
                </a:lnTo>
                <a:lnTo>
                  <a:pt x="530" y="1290"/>
                </a:lnTo>
                <a:lnTo>
                  <a:pt x="523" y="1281"/>
                </a:lnTo>
                <a:lnTo>
                  <a:pt x="517" y="1271"/>
                </a:lnTo>
                <a:lnTo>
                  <a:pt x="515" y="1261"/>
                </a:lnTo>
                <a:lnTo>
                  <a:pt x="513" y="1249"/>
                </a:lnTo>
                <a:lnTo>
                  <a:pt x="513" y="1114"/>
                </a:lnTo>
                <a:lnTo>
                  <a:pt x="491" y="1107"/>
                </a:lnTo>
                <a:lnTo>
                  <a:pt x="470" y="1098"/>
                </a:lnTo>
                <a:lnTo>
                  <a:pt x="448" y="1088"/>
                </a:lnTo>
                <a:lnTo>
                  <a:pt x="427" y="1078"/>
                </a:lnTo>
                <a:lnTo>
                  <a:pt x="330" y="1173"/>
                </a:lnTo>
                <a:lnTo>
                  <a:pt x="322" y="1180"/>
                </a:lnTo>
                <a:lnTo>
                  <a:pt x="313" y="1186"/>
                </a:lnTo>
                <a:lnTo>
                  <a:pt x="301" y="1189"/>
                </a:lnTo>
                <a:lnTo>
                  <a:pt x="291" y="1189"/>
                </a:lnTo>
                <a:lnTo>
                  <a:pt x="280" y="1189"/>
                </a:lnTo>
                <a:lnTo>
                  <a:pt x="270" y="1186"/>
                </a:lnTo>
                <a:lnTo>
                  <a:pt x="260" y="1180"/>
                </a:lnTo>
                <a:lnTo>
                  <a:pt x="251" y="1173"/>
                </a:lnTo>
                <a:lnTo>
                  <a:pt x="133" y="1055"/>
                </a:lnTo>
                <a:lnTo>
                  <a:pt x="126" y="1046"/>
                </a:lnTo>
                <a:lnTo>
                  <a:pt x="120" y="1036"/>
                </a:lnTo>
                <a:lnTo>
                  <a:pt x="117" y="1026"/>
                </a:lnTo>
                <a:lnTo>
                  <a:pt x="116" y="1015"/>
                </a:lnTo>
                <a:lnTo>
                  <a:pt x="117" y="1005"/>
                </a:lnTo>
                <a:lnTo>
                  <a:pt x="120" y="995"/>
                </a:lnTo>
                <a:lnTo>
                  <a:pt x="126" y="984"/>
                </a:lnTo>
                <a:lnTo>
                  <a:pt x="133" y="976"/>
                </a:lnTo>
                <a:lnTo>
                  <a:pt x="228" y="879"/>
                </a:lnTo>
                <a:lnTo>
                  <a:pt x="218" y="859"/>
                </a:lnTo>
                <a:lnTo>
                  <a:pt x="208" y="838"/>
                </a:lnTo>
                <a:lnTo>
                  <a:pt x="199" y="815"/>
                </a:lnTo>
                <a:lnTo>
                  <a:pt x="192" y="793"/>
                </a:lnTo>
                <a:lnTo>
                  <a:pt x="57" y="793"/>
                </a:lnTo>
                <a:lnTo>
                  <a:pt x="45" y="792"/>
                </a:lnTo>
                <a:lnTo>
                  <a:pt x="35" y="789"/>
                </a:lnTo>
                <a:lnTo>
                  <a:pt x="25" y="783"/>
                </a:lnTo>
                <a:lnTo>
                  <a:pt x="18" y="776"/>
                </a:lnTo>
                <a:lnTo>
                  <a:pt x="11" y="768"/>
                </a:lnTo>
                <a:lnTo>
                  <a:pt x="5" y="758"/>
                </a:lnTo>
                <a:lnTo>
                  <a:pt x="2" y="748"/>
                </a:lnTo>
                <a:lnTo>
                  <a:pt x="0" y="737"/>
                </a:lnTo>
                <a:lnTo>
                  <a:pt x="0" y="568"/>
                </a:lnTo>
                <a:lnTo>
                  <a:pt x="2" y="558"/>
                </a:lnTo>
                <a:lnTo>
                  <a:pt x="5" y="547"/>
                </a:lnTo>
                <a:lnTo>
                  <a:pt x="11" y="538"/>
                </a:lnTo>
                <a:lnTo>
                  <a:pt x="18" y="529"/>
                </a:lnTo>
                <a:lnTo>
                  <a:pt x="25" y="522"/>
                </a:lnTo>
                <a:lnTo>
                  <a:pt x="35" y="517"/>
                </a:lnTo>
                <a:lnTo>
                  <a:pt x="45" y="514"/>
                </a:lnTo>
                <a:lnTo>
                  <a:pt x="57" y="512"/>
                </a:lnTo>
                <a:lnTo>
                  <a:pt x="192" y="512"/>
                </a:lnTo>
                <a:lnTo>
                  <a:pt x="199" y="491"/>
                </a:lnTo>
                <a:lnTo>
                  <a:pt x="208" y="468"/>
                </a:lnTo>
                <a:lnTo>
                  <a:pt x="218" y="447"/>
                </a:lnTo>
                <a:lnTo>
                  <a:pt x="228" y="426"/>
                </a:lnTo>
                <a:lnTo>
                  <a:pt x="133" y="329"/>
                </a:lnTo>
                <a:lnTo>
                  <a:pt x="126" y="321"/>
                </a:lnTo>
                <a:lnTo>
                  <a:pt x="120" y="311"/>
                </a:lnTo>
                <a:lnTo>
                  <a:pt x="117" y="301"/>
                </a:lnTo>
                <a:lnTo>
                  <a:pt x="116" y="290"/>
                </a:lnTo>
                <a:lnTo>
                  <a:pt x="117" y="279"/>
                </a:lnTo>
                <a:lnTo>
                  <a:pt x="120" y="269"/>
                </a:lnTo>
                <a:lnTo>
                  <a:pt x="126" y="259"/>
                </a:lnTo>
                <a:lnTo>
                  <a:pt x="133" y="250"/>
                </a:lnTo>
                <a:lnTo>
                  <a:pt x="251" y="132"/>
                </a:lnTo>
                <a:lnTo>
                  <a:pt x="260" y="125"/>
                </a:lnTo>
                <a:lnTo>
                  <a:pt x="270" y="119"/>
                </a:lnTo>
                <a:lnTo>
                  <a:pt x="280" y="116"/>
                </a:lnTo>
                <a:lnTo>
                  <a:pt x="291" y="116"/>
                </a:lnTo>
                <a:lnTo>
                  <a:pt x="301" y="116"/>
                </a:lnTo>
                <a:lnTo>
                  <a:pt x="313" y="119"/>
                </a:lnTo>
                <a:lnTo>
                  <a:pt x="322" y="125"/>
                </a:lnTo>
                <a:lnTo>
                  <a:pt x="330" y="132"/>
                </a:lnTo>
                <a:lnTo>
                  <a:pt x="427" y="227"/>
                </a:lnTo>
                <a:lnTo>
                  <a:pt x="448" y="217"/>
                </a:lnTo>
                <a:lnTo>
                  <a:pt x="470" y="207"/>
                </a:lnTo>
                <a:lnTo>
                  <a:pt x="491" y="198"/>
                </a:lnTo>
                <a:lnTo>
                  <a:pt x="513" y="191"/>
                </a:lnTo>
                <a:lnTo>
                  <a:pt x="513" y="56"/>
                </a:lnTo>
                <a:lnTo>
                  <a:pt x="515" y="44"/>
                </a:lnTo>
                <a:lnTo>
                  <a:pt x="517" y="34"/>
                </a:lnTo>
                <a:lnTo>
                  <a:pt x="523" y="24"/>
                </a:lnTo>
                <a:lnTo>
                  <a:pt x="530" y="17"/>
                </a:lnTo>
                <a:lnTo>
                  <a:pt x="539" y="10"/>
                </a:lnTo>
                <a:lnTo>
                  <a:pt x="548" y="4"/>
                </a:lnTo>
                <a:lnTo>
                  <a:pt x="559" y="1"/>
                </a:lnTo>
                <a:lnTo>
                  <a:pt x="569" y="0"/>
                </a:lnTo>
                <a:lnTo>
                  <a:pt x="738" y="0"/>
                </a:lnTo>
                <a:lnTo>
                  <a:pt x="749" y="1"/>
                </a:lnTo>
                <a:lnTo>
                  <a:pt x="759" y="4"/>
                </a:lnTo>
                <a:lnTo>
                  <a:pt x="769" y="10"/>
                </a:lnTo>
                <a:lnTo>
                  <a:pt x="777" y="17"/>
                </a:lnTo>
                <a:lnTo>
                  <a:pt x="784" y="24"/>
                </a:lnTo>
                <a:lnTo>
                  <a:pt x="790" y="34"/>
                </a:lnTo>
                <a:lnTo>
                  <a:pt x="792" y="44"/>
                </a:lnTo>
                <a:lnTo>
                  <a:pt x="794" y="56"/>
                </a:lnTo>
                <a:lnTo>
                  <a:pt x="794" y="191"/>
                </a:lnTo>
                <a:lnTo>
                  <a:pt x="815" y="198"/>
                </a:lnTo>
                <a:lnTo>
                  <a:pt x="839" y="207"/>
                </a:lnTo>
                <a:lnTo>
                  <a:pt x="860" y="217"/>
                </a:lnTo>
                <a:lnTo>
                  <a:pt x="880" y="227"/>
                </a:lnTo>
                <a:lnTo>
                  <a:pt x="977" y="132"/>
                </a:lnTo>
                <a:lnTo>
                  <a:pt x="985" y="125"/>
                </a:lnTo>
                <a:lnTo>
                  <a:pt x="995" y="119"/>
                </a:lnTo>
                <a:lnTo>
                  <a:pt x="1006" y="116"/>
                </a:lnTo>
                <a:lnTo>
                  <a:pt x="1016" y="116"/>
                </a:lnTo>
                <a:lnTo>
                  <a:pt x="1027" y="116"/>
                </a:lnTo>
                <a:lnTo>
                  <a:pt x="1037" y="119"/>
                </a:lnTo>
                <a:lnTo>
                  <a:pt x="1047" y="125"/>
                </a:lnTo>
                <a:lnTo>
                  <a:pt x="1056" y="132"/>
                </a:lnTo>
                <a:lnTo>
                  <a:pt x="1174" y="250"/>
                </a:lnTo>
                <a:lnTo>
                  <a:pt x="1181" y="259"/>
                </a:lnTo>
                <a:lnTo>
                  <a:pt x="1187" y="269"/>
                </a:lnTo>
                <a:lnTo>
                  <a:pt x="1190" y="279"/>
                </a:lnTo>
                <a:lnTo>
                  <a:pt x="1191" y="290"/>
                </a:lnTo>
                <a:lnTo>
                  <a:pt x="1190" y="301"/>
                </a:lnTo>
                <a:lnTo>
                  <a:pt x="1187" y="311"/>
                </a:lnTo>
                <a:lnTo>
                  <a:pt x="1181" y="321"/>
                </a:lnTo>
                <a:lnTo>
                  <a:pt x="1174" y="329"/>
                </a:lnTo>
                <a:lnTo>
                  <a:pt x="1079" y="426"/>
                </a:lnTo>
                <a:lnTo>
                  <a:pt x="1089" y="447"/>
                </a:lnTo>
                <a:lnTo>
                  <a:pt x="1099" y="468"/>
                </a:lnTo>
                <a:lnTo>
                  <a:pt x="1108" y="491"/>
                </a:lnTo>
                <a:lnTo>
                  <a:pt x="1115" y="512"/>
                </a:lnTo>
                <a:lnTo>
                  <a:pt x="1250" y="512"/>
                </a:lnTo>
                <a:lnTo>
                  <a:pt x="1262" y="514"/>
                </a:lnTo>
                <a:lnTo>
                  <a:pt x="1272" y="517"/>
                </a:lnTo>
                <a:lnTo>
                  <a:pt x="1282" y="522"/>
                </a:lnTo>
                <a:lnTo>
                  <a:pt x="1291" y="529"/>
                </a:lnTo>
                <a:lnTo>
                  <a:pt x="1296" y="538"/>
                </a:lnTo>
                <a:lnTo>
                  <a:pt x="1302" y="547"/>
                </a:lnTo>
                <a:lnTo>
                  <a:pt x="1305" y="558"/>
                </a:lnTo>
                <a:lnTo>
                  <a:pt x="1307" y="568"/>
                </a:lnTo>
                <a:lnTo>
                  <a:pt x="1307" y="737"/>
                </a:lnTo>
                <a:lnTo>
                  <a:pt x="1305" y="748"/>
                </a:lnTo>
                <a:lnTo>
                  <a:pt x="1302" y="758"/>
                </a:lnTo>
                <a:lnTo>
                  <a:pt x="1296" y="768"/>
                </a:lnTo>
                <a:lnTo>
                  <a:pt x="1291" y="776"/>
                </a:lnTo>
                <a:lnTo>
                  <a:pt x="1282" y="783"/>
                </a:lnTo>
                <a:lnTo>
                  <a:pt x="1272" y="789"/>
                </a:lnTo>
                <a:lnTo>
                  <a:pt x="1262" y="792"/>
                </a:lnTo>
                <a:lnTo>
                  <a:pt x="1250" y="793"/>
                </a:lnTo>
                <a:lnTo>
                  <a:pt x="1115" y="793"/>
                </a:lnTo>
                <a:lnTo>
                  <a:pt x="1108" y="815"/>
                </a:lnTo>
                <a:lnTo>
                  <a:pt x="1099" y="838"/>
                </a:lnTo>
                <a:lnTo>
                  <a:pt x="1089" y="859"/>
                </a:lnTo>
                <a:lnTo>
                  <a:pt x="1079" y="879"/>
                </a:lnTo>
                <a:lnTo>
                  <a:pt x="1174" y="976"/>
                </a:lnTo>
                <a:lnTo>
                  <a:pt x="1181" y="984"/>
                </a:lnTo>
                <a:lnTo>
                  <a:pt x="1187" y="995"/>
                </a:lnTo>
                <a:lnTo>
                  <a:pt x="1190" y="1005"/>
                </a:lnTo>
                <a:lnTo>
                  <a:pt x="1191" y="1015"/>
                </a:lnTo>
                <a:lnTo>
                  <a:pt x="1190" y="1026"/>
                </a:lnTo>
                <a:lnTo>
                  <a:pt x="1187" y="1036"/>
                </a:lnTo>
                <a:lnTo>
                  <a:pt x="1181" y="1046"/>
                </a:lnTo>
                <a:lnTo>
                  <a:pt x="1174" y="1055"/>
                </a:lnTo>
                <a:lnTo>
                  <a:pt x="1056" y="1173"/>
                </a:lnTo>
                <a:lnTo>
                  <a:pt x="1047" y="1180"/>
                </a:lnTo>
                <a:lnTo>
                  <a:pt x="1037" y="1186"/>
                </a:lnTo>
                <a:lnTo>
                  <a:pt x="1027" y="1189"/>
                </a:lnTo>
                <a:lnTo>
                  <a:pt x="1016" y="1189"/>
                </a:lnTo>
                <a:lnTo>
                  <a:pt x="1006" y="1189"/>
                </a:lnTo>
                <a:lnTo>
                  <a:pt x="995" y="1186"/>
                </a:lnTo>
                <a:lnTo>
                  <a:pt x="985" y="1180"/>
                </a:lnTo>
                <a:lnTo>
                  <a:pt x="977" y="1173"/>
                </a:lnTo>
                <a:lnTo>
                  <a:pt x="880" y="1078"/>
                </a:lnTo>
                <a:lnTo>
                  <a:pt x="860" y="1088"/>
                </a:lnTo>
                <a:lnTo>
                  <a:pt x="839" y="1098"/>
                </a:lnTo>
                <a:lnTo>
                  <a:pt x="815" y="1107"/>
                </a:lnTo>
                <a:lnTo>
                  <a:pt x="794" y="1114"/>
                </a:lnTo>
                <a:lnTo>
                  <a:pt x="794" y="1249"/>
                </a:lnTo>
                <a:lnTo>
                  <a:pt x="792" y="1261"/>
                </a:lnTo>
                <a:lnTo>
                  <a:pt x="790" y="1271"/>
                </a:lnTo>
                <a:lnTo>
                  <a:pt x="784" y="1281"/>
                </a:lnTo>
                <a:lnTo>
                  <a:pt x="777" y="1290"/>
                </a:lnTo>
                <a:lnTo>
                  <a:pt x="769" y="1296"/>
                </a:lnTo>
                <a:lnTo>
                  <a:pt x="759" y="1301"/>
                </a:lnTo>
                <a:lnTo>
                  <a:pt x="749" y="1304"/>
                </a:lnTo>
                <a:lnTo>
                  <a:pt x="738" y="1306"/>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30" name="Group 41">
            <a:extLst>
              <a:ext uri="{FF2B5EF4-FFF2-40B4-BE49-F238E27FC236}">
                <a16:creationId xmlns:a16="http://schemas.microsoft.com/office/drawing/2014/main" id="{62D8C75B-9F67-4983-8721-756BC1F70766}"/>
              </a:ext>
            </a:extLst>
          </p:cNvPr>
          <p:cNvGrpSpPr>
            <a:grpSpLocks noChangeAspect="1"/>
          </p:cNvGrpSpPr>
          <p:nvPr/>
        </p:nvGrpSpPr>
        <p:grpSpPr>
          <a:xfrm>
            <a:off x="2694965" y="5424518"/>
            <a:ext cx="304790" cy="292599"/>
            <a:chOff x="3362326" y="0"/>
            <a:chExt cx="476250" cy="457200"/>
          </a:xfrm>
          <a:solidFill>
            <a:schemeClr val="bg2"/>
          </a:solidFill>
          <a:effectLst/>
        </p:grpSpPr>
        <p:sp>
          <p:nvSpPr>
            <p:cNvPr id="1031" name="Freeform 56">
              <a:extLst>
                <a:ext uri="{FF2B5EF4-FFF2-40B4-BE49-F238E27FC236}">
                  <a16:creationId xmlns:a16="http://schemas.microsoft.com/office/drawing/2014/main" id="{77ABCBEC-951C-4D4A-8738-EF98EEBD9CBB}"/>
                </a:ext>
              </a:extLst>
            </p:cNvPr>
            <p:cNvSpPr>
              <a:spLocks noEditPoints="1"/>
            </p:cNvSpPr>
            <p:nvPr/>
          </p:nvSpPr>
          <p:spPr bwMode="auto">
            <a:xfrm>
              <a:off x="3671888" y="88900"/>
              <a:ext cx="77788" cy="77788"/>
            </a:xfrm>
            <a:custGeom>
              <a:avLst/>
              <a:gdLst>
                <a:gd name="T0" fmla="*/ 54 w 196"/>
                <a:gd name="T1" fmla="*/ 72 h 197"/>
                <a:gd name="T2" fmla="*/ 64 w 196"/>
                <a:gd name="T3" fmla="*/ 59 h 197"/>
                <a:gd name="T4" fmla="*/ 76 w 196"/>
                <a:gd name="T5" fmla="*/ 52 h 197"/>
                <a:gd name="T6" fmla="*/ 91 w 196"/>
                <a:gd name="T7" fmla="*/ 47 h 197"/>
                <a:gd name="T8" fmla="*/ 108 w 196"/>
                <a:gd name="T9" fmla="*/ 48 h 197"/>
                <a:gd name="T10" fmla="*/ 128 w 196"/>
                <a:gd name="T11" fmla="*/ 56 h 197"/>
                <a:gd name="T12" fmla="*/ 141 w 196"/>
                <a:gd name="T13" fmla="*/ 70 h 197"/>
                <a:gd name="T14" fmla="*/ 148 w 196"/>
                <a:gd name="T15" fmla="*/ 89 h 197"/>
                <a:gd name="T16" fmla="*/ 148 w 196"/>
                <a:gd name="T17" fmla="*/ 110 h 197"/>
                <a:gd name="T18" fmla="*/ 141 w 196"/>
                <a:gd name="T19" fmla="*/ 128 h 197"/>
                <a:gd name="T20" fmla="*/ 126 w 196"/>
                <a:gd name="T21" fmla="*/ 142 h 197"/>
                <a:gd name="T22" fmla="*/ 108 w 196"/>
                <a:gd name="T23" fmla="*/ 149 h 197"/>
                <a:gd name="T24" fmla="*/ 87 w 196"/>
                <a:gd name="T25" fmla="*/ 149 h 197"/>
                <a:gd name="T26" fmla="*/ 69 w 196"/>
                <a:gd name="T27" fmla="*/ 142 h 197"/>
                <a:gd name="T28" fmla="*/ 54 w 196"/>
                <a:gd name="T29" fmla="*/ 127 h 197"/>
                <a:gd name="T30" fmla="*/ 47 w 196"/>
                <a:gd name="T31" fmla="*/ 108 h 197"/>
                <a:gd name="T32" fmla="*/ 47 w 196"/>
                <a:gd name="T33" fmla="*/ 88 h 197"/>
                <a:gd name="T34" fmla="*/ 59 w 196"/>
                <a:gd name="T35" fmla="*/ 188 h 197"/>
                <a:gd name="T36" fmla="*/ 79 w 196"/>
                <a:gd name="T37" fmla="*/ 194 h 197"/>
                <a:gd name="T38" fmla="*/ 98 w 196"/>
                <a:gd name="T39" fmla="*/ 197 h 197"/>
                <a:gd name="T40" fmla="*/ 126 w 196"/>
                <a:gd name="T41" fmla="*/ 192 h 197"/>
                <a:gd name="T42" fmla="*/ 152 w 196"/>
                <a:gd name="T43" fmla="*/ 181 h 197"/>
                <a:gd name="T44" fmla="*/ 173 w 196"/>
                <a:gd name="T45" fmla="*/ 161 h 197"/>
                <a:gd name="T46" fmla="*/ 188 w 196"/>
                <a:gd name="T47" fmla="*/ 137 h 197"/>
                <a:gd name="T48" fmla="*/ 194 w 196"/>
                <a:gd name="T49" fmla="*/ 118 h 197"/>
                <a:gd name="T50" fmla="*/ 196 w 196"/>
                <a:gd name="T51" fmla="*/ 100 h 197"/>
                <a:gd name="T52" fmla="*/ 194 w 196"/>
                <a:gd name="T53" fmla="*/ 81 h 197"/>
                <a:gd name="T54" fmla="*/ 189 w 196"/>
                <a:gd name="T55" fmla="*/ 62 h 197"/>
                <a:gd name="T56" fmla="*/ 180 w 196"/>
                <a:gd name="T57" fmla="*/ 45 h 197"/>
                <a:gd name="T58" fmla="*/ 168 w 196"/>
                <a:gd name="T59" fmla="*/ 30 h 197"/>
                <a:gd name="T60" fmla="*/ 153 w 196"/>
                <a:gd name="T61" fmla="*/ 18 h 197"/>
                <a:gd name="T62" fmla="*/ 136 w 196"/>
                <a:gd name="T63" fmla="*/ 9 h 197"/>
                <a:gd name="T64" fmla="*/ 118 w 196"/>
                <a:gd name="T65" fmla="*/ 3 h 197"/>
                <a:gd name="T66" fmla="*/ 98 w 196"/>
                <a:gd name="T67" fmla="*/ 0 h 197"/>
                <a:gd name="T68" fmla="*/ 70 w 196"/>
                <a:gd name="T69" fmla="*/ 5 h 197"/>
                <a:gd name="T70" fmla="*/ 44 w 196"/>
                <a:gd name="T71" fmla="*/ 16 h 197"/>
                <a:gd name="T72" fmla="*/ 23 w 196"/>
                <a:gd name="T73" fmla="*/ 36 h 197"/>
                <a:gd name="T74" fmla="*/ 7 w 196"/>
                <a:gd name="T75" fmla="*/ 61 h 197"/>
                <a:gd name="T76" fmla="*/ 2 w 196"/>
                <a:gd name="T77" fmla="*/ 79 h 197"/>
                <a:gd name="T78" fmla="*/ 0 w 196"/>
                <a:gd name="T79" fmla="*/ 97 h 197"/>
                <a:gd name="T80" fmla="*/ 1 w 196"/>
                <a:gd name="T81" fmla="*/ 117 h 197"/>
                <a:gd name="T82" fmla="*/ 7 w 196"/>
                <a:gd name="T83" fmla="*/ 135 h 197"/>
                <a:gd name="T84" fmla="*/ 16 w 196"/>
                <a:gd name="T85" fmla="*/ 153 h 197"/>
                <a:gd name="T86" fmla="*/ 28 w 196"/>
                <a:gd name="T87" fmla="*/ 167 h 197"/>
                <a:gd name="T88" fmla="*/ 43 w 196"/>
                <a:gd name="T89" fmla="*/ 180 h 197"/>
                <a:gd name="T90" fmla="*/ 59 w 196"/>
                <a:gd name="T91" fmla="*/ 18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197">
                  <a:moveTo>
                    <a:pt x="50" y="78"/>
                  </a:moveTo>
                  <a:lnTo>
                    <a:pt x="54" y="72"/>
                  </a:lnTo>
                  <a:lnTo>
                    <a:pt x="58" y="65"/>
                  </a:lnTo>
                  <a:lnTo>
                    <a:pt x="64" y="59"/>
                  </a:lnTo>
                  <a:lnTo>
                    <a:pt x="70" y="56"/>
                  </a:lnTo>
                  <a:lnTo>
                    <a:pt x="76" y="52"/>
                  </a:lnTo>
                  <a:lnTo>
                    <a:pt x="83" y="50"/>
                  </a:lnTo>
                  <a:lnTo>
                    <a:pt x="91" y="47"/>
                  </a:lnTo>
                  <a:lnTo>
                    <a:pt x="98" y="47"/>
                  </a:lnTo>
                  <a:lnTo>
                    <a:pt x="108" y="48"/>
                  </a:lnTo>
                  <a:lnTo>
                    <a:pt x="118" y="51"/>
                  </a:lnTo>
                  <a:lnTo>
                    <a:pt x="128" y="56"/>
                  </a:lnTo>
                  <a:lnTo>
                    <a:pt x="135" y="63"/>
                  </a:lnTo>
                  <a:lnTo>
                    <a:pt x="141" y="70"/>
                  </a:lnTo>
                  <a:lnTo>
                    <a:pt x="146" y="79"/>
                  </a:lnTo>
                  <a:lnTo>
                    <a:pt x="148" y="89"/>
                  </a:lnTo>
                  <a:lnTo>
                    <a:pt x="150" y="100"/>
                  </a:lnTo>
                  <a:lnTo>
                    <a:pt x="148" y="110"/>
                  </a:lnTo>
                  <a:lnTo>
                    <a:pt x="146" y="119"/>
                  </a:lnTo>
                  <a:lnTo>
                    <a:pt x="141" y="128"/>
                  </a:lnTo>
                  <a:lnTo>
                    <a:pt x="134" y="135"/>
                  </a:lnTo>
                  <a:lnTo>
                    <a:pt x="126" y="142"/>
                  </a:lnTo>
                  <a:lnTo>
                    <a:pt x="118" y="146"/>
                  </a:lnTo>
                  <a:lnTo>
                    <a:pt x="108" y="149"/>
                  </a:lnTo>
                  <a:lnTo>
                    <a:pt x="98" y="150"/>
                  </a:lnTo>
                  <a:lnTo>
                    <a:pt x="87" y="149"/>
                  </a:lnTo>
                  <a:lnTo>
                    <a:pt x="77" y="146"/>
                  </a:lnTo>
                  <a:lnTo>
                    <a:pt x="69" y="142"/>
                  </a:lnTo>
                  <a:lnTo>
                    <a:pt x="61" y="135"/>
                  </a:lnTo>
                  <a:lnTo>
                    <a:pt x="54" y="127"/>
                  </a:lnTo>
                  <a:lnTo>
                    <a:pt x="50" y="118"/>
                  </a:lnTo>
                  <a:lnTo>
                    <a:pt x="47" y="108"/>
                  </a:lnTo>
                  <a:lnTo>
                    <a:pt x="47" y="99"/>
                  </a:lnTo>
                  <a:lnTo>
                    <a:pt x="47" y="88"/>
                  </a:lnTo>
                  <a:lnTo>
                    <a:pt x="50" y="78"/>
                  </a:lnTo>
                  <a:close/>
                  <a:moveTo>
                    <a:pt x="59" y="188"/>
                  </a:moveTo>
                  <a:lnTo>
                    <a:pt x="69" y="192"/>
                  </a:lnTo>
                  <a:lnTo>
                    <a:pt x="79" y="194"/>
                  </a:lnTo>
                  <a:lnTo>
                    <a:pt x="88" y="197"/>
                  </a:lnTo>
                  <a:lnTo>
                    <a:pt x="98" y="197"/>
                  </a:lnTo>
                  <a:lnTo>
                    <a:pt x="113" y="196"/>
                  </a:lnTo>
                  <a:lnTo>
                    <a:pt x="126" y="192"/>
                  </a:lnTo>
                  <a:lnTo>
                    <a:pt x="140" y="187"/>
                  </a:lnTo>
                  <a:lnTo>
                    <a:pt x="152" y="181"/>
                  </a:lnTo>
                  <a:lnTo>
                    <a:pt x="163" y="172"/>
                  </a:lnTo>
                  <a:lnTo>
                    <a:pt x="173" y="161"/>
                  </a:lnTo>
                  <a:lnTo>
                    <a:pt x="182" y="150"/>
                  </a:lnTo>
                  <a:lnTo>
                    <a:pt x="188" y="137"/>
                  </a:lnTo>
                  <a:lnTo>
                    <a:pt x="191" y="128"/>
                  </a:lnTo>
                  <a:lnTo>
                    <a:pt x="194" y="118"/>
                  </a:lnTo>
                  <a:lnTo>
                    <a:pt x="195" y="110"/>
                  </a:lnTo>
                  <a:lnTo>
                    <a:pt x="196" y="100"/>
                  </a:lnTo>
                  <a:lnTo>
                    <a:pt x="195" y="90"/>
                  </a:lnTo>
                  <a:lnTo>
                    <a:pt x="194" y="81"/>
                  </a:lnTo>
                  <a:lnTo>
                    <a:pt x="191" y="72"/>
                  </a:lnTo>
                  <a:lnTo>
                    <a:pt x="189" y="62"/>
                  </a:lnTo>
                  <a:lnTo>
                    <a:pt x="185" y="53"/>
                  </a:lnTo>
                  <a:lnTo>
                    <a:pt x="180" y="45"/>
                  </a:lnTo>
                  <a:lnTo>
                    <a:pt x="174" y="37"/>
                  </a:lnTo>
                  <a:lnTo>
                    <a:pt x="168" y="30"/>
                  </a:lnTo>
                  <a:lnTo>
                    <a:pt x="161" y="24"/>
                  </a:lnTo>
                  <a:lnTo>
                    <a:pt x="153" y="18"/>
                  </a:lnTo>
                  <a:lnTo>
                    <a:pt x="145" y="13"/>
                  </a:lnTo>
                  <a:lnTo>
                    <a:pt x="136" y="9"/>
                  </a:lnTo>
                  <a:lnTo>
                    <a:pt x="128" y="5"/>
                  </a:lnTo>
                  <a:lnTo>
                    <a:pt x="118" y="3"/>
                  </a:lnTo>
                  <a:lnTo>
                    <a:pt x="108" y="2"/>
                  </a:lnTo>
                  <a:lnTo>
                    <a:pt x="98" y="0"/>
                  </a:lnTo>
                  <a:lnTo>
                    <a:pt x="83" y="2"/>
                  </a:lnTo>
                  <a:lnTo>
                    <a:pt x="70" y="5"/>
                  </a:lnTo>
                  <a:lnTo>
                    <a:pt x="56" y="10"/>
                  </a:lnTo>
                  <a:lnTo>
                    <a:pt x="44" y="16"/>
                  </a:lnTo>
                  <a:lnTo>
                    <a:pt x="33" y="25"/>
                  </a:lnTo>
                  <a:lnTo>
                    <a:pt x="23" y="36"/>
                  </a:lnTo>
                  <a:lnTo>
                    <a:pt x="15" y="47"/>
                  </a:lnTo>
                  <a:lnTo>
                    <a:pt x="7" y="61"/>
                  </a:lnTo>
                  <a:lnTo>
                    <a:pt x="5" y="69"/>
                  </a:lnTo>
                  <a:lnTo>
                    <a:pt x="2" y="79"/>
                  </a:lnTo>
                  <a:lnTo>
                    <a:pt x="0" y="88"/>
                  </a:lnTo>
                  <a:lnTo>
                    <a:pt x="0" y="97"/>
                  </a:lnTo>
                  <a:lnTo>
                    <a:pt x="0" y="107"/>
                  </a:lnTo>
                  <a:lnTo>
                    <a:pt x="1" y="117"/>
                  </a:lnTo>
                  <a:lnTo>
                    <a:pt x="4" y="126"/>
                  </a:lnTo>
                  <a:lnTo>
                    <a:pt x="7" y="135"/>
                  </a:lnTo>
                  <a:lnTo>
                    <a:pt x="11" y="144"/>
                  </a:lnTo>
                  <a:lnTo>
                    <a:pt x="16" y="153"/>
                  </a:lnTo>
                  <a:lnTo>
                    <a:pt x="22" y="160"/>
                  </a:lnTo>
                  <a:lnTo>
                    <a:pt x="28" y="167"/>
                  </a:lnTo>
                  <a:lnTo>
                    <a:pt x="34" y="173"/>
                  </a:lnTo>
                  <a:lnTo>
                    <a:pt x="43" y="180"/>
                  </a:lnTo>
                  <a:lnTo>
                    <a:pt x="50" y="184"/>
                  </a:lnTo>
                  <a:lnTo>
                    <a:pt x="59"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57">
              <a:extLst>
                <a:ext uri="{FF2B5EF4-FFF2-40B4-BE49-F238E27FC236}">
                  <a16:creationId xmlns:a16="http://schemas.microsoft.com/office/drawing/2014/main" id="{15108133-ED33-4435-83F2-4EA4DDF7091F}"/>
                </a:ext>
              </a:extLst>
            </p:cNvPr>
            <p:cNvSpPr>
              <a:spLocks noEditPoints="1"/>
            </p:cNvSpPr>
            <p:nvPr/>
          </p:nvSpPr>
          <p:spPr bwMode="auto">
            <a:xfrm>
              <a:off x="3621088" y="38100"/>
              <a:ext cx="179388" cy="179388"/>
            </a:xfrm>
            <a:custGeom>
              <a:avLst/>
              <a:gdLst>
                <a:gd name="T0" fmla="*/ 113 w 452"/>
                <a:gd name="T1" fmla="*/ 167 h 451"/>
                <a:gd name="T2" fmla="*/ 138 w 452"/>
                <a:gd name="T3" fmla="*/ 141 h 451"/>
                <a:gd name="T4" fmla="*/ 164 w 452"/>
                <a:gd name="T5" fmla="*/ 115 h 451"/>
                <a:gd name="T6" fmla="*/ 203 w 452"/>
                <a:gd name="T7" fmla="*/ 51 h 451"/>
                <a:gd name="T8" fmla="*/ 226 w 452"/>
                <a:gd name="T9" fmla="*/ 103 h 451"/>
                <a:gd name="T10" fmla="*/ 264 w 452"/>
                <a:gd name="T11" fmla="*/ 110 h 451"/>
                <a:gd name="T12" fmla="*/ 296 w 452"/>
                <a:gd name="T13" fmla="*/ 114 h 451"/>
                <a:gd name="T14" fmla="*/ 339 w 452"/>
                <a:gd name="T15" fmla="*/ 145 h 451"/>
                <a:gd name="T16" fmla="*/ 335 w 452"/>
                <a:gd name="T17" fmla="*/ 170 h 451"/>
                <a:gd name="T18" fmla="*/ 348 w 452"/>
                <a:gd name="T19" fmla="*/ 215 h 451"/>
                <a:gd name="T20" fmla="*/ 365 w 452"/>
                <a:gd name="T21" fmla="*/ 235 h 451"/>
                <a:gd name="T22" fmla="*/ 345 w 452"/>
                <a:gd name="T23" fmla="*/ 283 h 451"/>
                <a:gd name="T24" fmla="*/ 321 w 452"/>
                <a:gd name="T25" fmla="*/ 303 h 451"/>
                <a:gd name="T26" fmla="*/ 292 w 452"/>
                <a:gd name="T27" fmla="*/ 330 h 451"/>
                <a:gd name="T28" fmla="*/ 299 w 452"/>
                <a:gd name="T29" fmla="*/ 386 h 451"/>
                <a:gd name="T30" fmla="*/ 231 w 452"/>
                <a:gd name="T31" fmla="*/ 352 h 451"/>
                <a:gd name="T32" fmla="*/ 198 w 452"/>
                <a:gd name="T33" fmla="*/ 345 h 451"/>
                <a:gd name="T34" fmla="*/ 167 w 452"/>
                <a:gd name="T35" fmla="*/ 335 h 451"/>
                <a:gd name="T36" fmla="*/ 150 w 452"/>
                <a:gd name="T37" fmla="*/ 342 h 451"/>
                <a:gd name="T38" fmla="*/ 117 w 452"/>
                <a:gd name="T39" fmla="*/ 300 h 451"/>
                <a:gd name="T40" fmla="*/ 112 w 452"/>
                <a:gd name="T41" fmla="*/ 270 h 451"/>
                <a:gd name="T42" fmla="*/ 102 w 452"/>
                <a:gd name="T43" fmla="*/ 229 h 451"/>
                <a:gd name="T44" fmla="*/ 51 w 452"/>
                <a:gd name="T45" fmla="*/ 207 h 451"/>
                <a:gd name="T46" fmla="*/ 64 w 452"/>
                <a:gd name="T47" fmla="*/ 272 h 451"/>
                <a:gd name="T48" fmla="*/ 34 w 452"/>
                <a:gd name="T49" fmla="*/ 326 h 451"/>
                <a:gd name="T50" fmla="*/ 34 w 452"/>
                <a:gd name="T51" fmla="*/ 343 h 451"/>
                <a:gd name="T52" fmla="*/ 112 w 452"/>
                <a:gd name="T53" fmla="*/ 422 h 451"/>
                <a:gd name="T54" fmla="*/ 129 w 452"/>
                <a:gd name="T55" fmla="*/ 424 h 451"/>
                <a:gd name="T56" fmla="*/ 172 w 452"/>
                <a:gd name="T57" fmla="*/ 385 h 451"/>
                <a:gd name="T58" fmla="*/ 215 w 452"/>
                <a:gd name="T59" fmla="*/ 442 h 451"/>
                <a:gd name="T60" fmla="*/ 237 w 452"/>
                <a:gd name="T61" fmla="*/ 451 h 451"/>
                <a:gd name="T62" fmla="*/ 341 w 452"/>
                <a:gd name="T63" fmla="*/ 419 h 451"/>
                <a:gd name="T64" fmla="*/ 350 w 452"/>
                <a:gd name="T65" fmla="*/ 405 h 451"/>
                <a:gd name="T66" fmla="*/ 346 w 452"/>
                <a:gd name="T67" fmla="*/ 343 h 451"/>
                <a:gd name="T68" fmla="*/ 408 w 452"/>
                <a:gd name="T69" fmla="*/ 345 h 451"/>
                <a:gd name="T70" fmla="*/ 424 w 452"/>
                <a:gd name="T71" fmla="*/ 336 h 451"/>
                <a:gd name="T72" fmla="*/ 452 w 452"/>
                <a:gd name="T73" fmla="*/ 229 h 451"/>
                <a:gd name="T74" fmla="*/ 446 w 452"/>
                <a:gd name="T75" fmla="*/ 212 h 451"/>
                <a:gd name="T76" fmla="*/ 391 w 452"/>
                <a:gd name="T77" fmla="*/ 194 h 451"/>
                <a:gd name="T78" fmla="*/ 416 w 452"/>
                <a:gd name="T79" fmla="*/ 129 h 451"/>
                <a:gd name="T80" fmla="*/ 420 w 452"/>
                <a:gd name="T81" fmla="*/ 112 h 451"/>
                <a:gd name="T82" fmla="*/ 343 w 452"/>
                <a:gd name="T83" fmla="*/ 33 h 451"/>
                <a:gd name="T84" fmla="*/ 327 w 452"/>
                <a:gd name="T85" fmla="*/ 27 h 451"/>
                <a:gd name="T86" fmla="*/ 311 w 452"/>
                <a:gd name="T87" fmla="*/ 34 h 451"/>
                <a:gd name="T88" fmla="*/ 241 w 452"/>
                <a:gd name="T89" fmla="*/ 16 h 451"/>
                <a:gd name="T90" fmla="*/ 230 w 452"/>
                <a:gd name="T91" fmla="*/ 2 h 451"/>
                <a:gd name="T92" fmla="*/ 211 w 452"/>
                <a:gd name="T93" fmla="*/ 1 h 451"/>
                <a:gd name="T94" fmla="*/ 107 w 452"/>
                <a:gd name="T95" fmla="*/ 34 h 451"/>
                <a:gd name="T96" fmla="*/ 102 w 452"/>
                <a:gd name="T97" fmla="*/ 51 h 451"/>
                <a:gd name="T98" fmla="*/ 96 w 452"/>
                <a:gd name="T99" fmla="*/ 119 h 451"/>
                <a:gd name="T100" fmla="*/ 40 w 452"/>
                <a:gd name="T101" fmla="*/ 108 h 451"/>
                <a:gd name="T102" fmla="*/ 26 w 452"/>
                <a:gd name="T103" fmla="*/ 120 h 451"/>
                <a:gd name="T104" fmla="*/ 0 w 452"/>
                <a:gd name="T105" fmla="*/ 227 h 451"/>
                <a:gd name="T106" fmla="*/ 9 w 452"/>
                <a:gd name="T107" fmla="*/ 24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451">
                  <a:moveTo>
                    <a:pt x="63" y="158"/>
                  </a:moveTo>
                  <a:lnTo>
                    <a:pt x="100" y="167"/>
                  </a:lnTo>
                  <a:lnTo>
                    <a:pt x="107" y="168"/>
                  </a:lnTo>
                  <a:lnTo>
                    <a:pt x="113" y="167"/>
                  </a:lnTo>
                  <a:lnTo>
                    <a:pt x="119" y="163"/>
                  </a:lnTo>
                  <a:lnTo>
                    <a:pt x="124" y="158"/>
                  </a:lnTo>
                  <a:lnTo>
                    <a:pt x="132" y="148"/>
                  </a:lnTo>
                  <a:lnTo>
                    <a:pt x="138" y="141"/>
                  </a:lnTo>
                  <a:lnTo>
                    <a:pt x="146" y="134"/>
                  </a:lnTo>
                  <a:lnTo>
                    <a:pt x="155" y="126"/>
                  </a:lnTo>
                  <a:lnTo>
                    <a:pt x="160" y="121"/>
                  </a:lnTo>
                  <a:lnTo>
                    <a:pt x="164" y="115"/>
                  </a:lnTo>
                  <a:lnTo>
                    <a:pt x="165" y="108"/>
                  </a:lnTo>
                  <a:lnTo>
                    <a:pt x="164" y="102"/>
                  </a:lnTo>
                  <a:lnTo>
                    <a:pt x="154" y="65"/>
                  </a:lnTo>
                  <a:lnTo>
                    <a:pt x="203" y="51"/>
                  </a:lnTo>
                  <a:lnTo>
                    <a:pt x="213" y="87"/>
                  </a:lnTo>
                  <a:lnTo>
                    <a:pt x="216" y="93"/>
                  </a:lnTo>
                  <a:lnTo>
                    <a:pt x="220" y="99"/>
                  </a:lnTo>
                  <a:lnTo>
                    <a:pt x="226" y="103"/>
                  </a:lnTo>
                  <a:lnTo>
                    <a:pt x="234" y="104"/>
                  </a:lnTo>
                  <a:lnTo>
                    <a:pt x="243" y="105"/>
                  </a:lnTo>
                  <a:lnTo>
                    <a:pt x="254" y="107"/>
                  </a:lnTo>
                  <a:lnTo>
                    <a:pt x="264" y="110"/>
                  </a:lnTo>
                  <a:lnTo>
                    <a:pt x="275" y="114"/>
                  </a:lnTo>
                  <a:lnTo>
                    <a:pt x="281" y="116"/>
                  </a:lnTo>
                  <a:lnTo>
                    <a:pt x="289" y="116"/>
                  </a:lnTo>
                  <a:lnTo>
                    <a:pt x="296" y="114"/>
                  </a:lnTo>
                  <a:lnTo>
                    <a:pt x="302" y="109"/>
                  </a:lnTo>
                  <a:lnTo>
                    <a:pt x="328" y="82"/>
                  </a:lnTo>
                  <a:lnTo>
                    <a:pt x="365" y="118"/>
                  </a:lnTo>
                  <a:lnTo>
                    <a:pt x="339" y="145"/>
                  </a:lnTo>
                  <a:lnTo>
                    <a:pt x="335" y="151"/>
                  </a:lnTo>
                  <a:lnTo>
                    <a:pt x="333" y="157"/>
                  </a:lnTo>
                  <a:lnTo>
                    <a:pt x="333" y="164"/>
                  </a:lnTo>
                  <a:lnTo>
                    <a:pt x="335" y="170"/>
                  </a:lnTo>
                  <a:lnTo>
                    <a:pt x="339" y="181"/>
                  </a:lnTo>
                  <a:lnTo>
                    <a:pt x="343" y="192"/>
                  </a:lnTo>
                  <a:lnTo>
                    <a:pt x="346" y="204"/>
                  </a:lnTo>
                  <a:lnTo>
                    <a:pt x="348" y="215"/>
                  </a:lnTo>
                  <a:lnTo>
                    <a:pt x="349" y="222"/>
                  </a:lnTo>
                  <a:lnTo>
                    <a:pt x="352" y="228"/>
                  </a:lnTo>
                  <a:lnTo>
                    <a:pt x="359" y="232"/>
                  </a:lnTo>
                  <a:lnTo>
                    <a:pt x="365" y="235"/>
                  </a:lnTo>
                  <a:lnTo>
                    <a:pt x="400" y="244"/>
                  </a:lnTo>
                  <a:lnTo>
                    <a:pt x="388" y="293"/>
                  </a:lnTo>
                  <a:lnTo>
                    <a:pt x="352" y="284"/>
                  </a:lnTo>
                  <a:lnTo>
                    <a:pt x="345" y="283"/>
                  </a:lnTo>
                  <a:lnTo>
                    <a:pt x="338" y="286"/>
                  </a:lnTo>
                  <a:lnTo>
                    <a:pt x="332" y="288"/>
                  </a:lnTo>
                  <a:lnTo>
                    <a:pt x="327" y="294"/>
                  </a:lnTo>
                  <a:lnTo>
                    <a:pt x="321" y="303"/>
                  </a:lnTo>
                  <a:lnTo>
                    <a:pt x="313" y="310"/>
                  </a:lnTo>
                  <a:lnTo>
                    <a:pt x="306" y="319"/>
                  </a:lnTo>
                  <a:lnTo>
                    <a:pt x="297" y="325"/>
                  </a:lnTo>
                  <a:lnTo>
                    <a:pt x="292" y="330"/>
                  </a:lnTo>
                  <a:lnTo>
                    <a:pt x="289" y="336"/>
                  </a:lnTo>
                  <a:lnTo>
                    <a:pt x="287" y="343"/>
                  </a:lnTo>
                  <a:lnTo>
                    <a:pt x="289" y="351"/>
                  </a:lnTo>
                  <a:lnTo>
                    <a:pt x="299" y="386"/>
                  </a:lnTo>
                  <a:lnTo>
                    <a:pt x="249" y="400"/>
                  </a:lnTo>
                  <a:lnTo>
                    <a:pt x="240" y="364"/>
                  </a:lnTo>
                  <a:lnTo>
                    <a:pt x="236" y="358"/>
                  </a:lnTo>
                  <a:lnTo>
                    <a:pt x="231" y="352"/>
                  </a:lnTo>
                  <a:lnTo>
                    <a:pt x="225" y="350"/>
                  </a:lnTo>
                  <a:lnTo>
                    <a:pt x="219" y="347"/>
                  </a:lnTo>
                  <a:lnTo>
                    <a:pt x="208" y="346"/>
                  </a:lnTo>
                  <a:lnTo>
                    <a:pt x="198" y="345"/>
                  </a:lnTo>
                  <a:lnTo>
                    <a:pt x="187" y="341"/>
                  </a:lnTo>
                  <a:lnTo>
                    <a:pt x="177" y="337"/>
                  </a:lnTo>
                  <a:lnTo>
                    <a:pt x="172" y="336"/>
                  </a:lnTo>
                  <a:lnTo>
                    <a:pt x="167" y="335"/>
                  </a:lnTo>
                  <a:lnTo>
                    <a:pt x="162" y="336"/>
                  </a:lnTo>
                  <a:lnTo>
                    <a:pt x="157" y="337"/>
                  </a:lnTo>
                  <a:lnTo>
                    <a:pt x="154" y="340"/>
                  </a:lnTo>
                  <a:lnTo>
                    <a:pt x="150" y="342"/>
                  </a:lnTo>
                  <a:lnTo>
                    <a:pt x="124" y="369"/>
                  </a:lnTo>
                  <a:lnTo>
                    <a:pt x="88" y="334"/>
                  </a:lnTo>
                  <a:lnTo>
                    <a:pt x="113" y="307"/>
                  </a:lnTo>
                  <a:lnTo>
                    <a:pt x="117" y="300"/>
                  </a:lnTo>
                  <a:lnTo>
                    <a:pt x="119" y="294"/>
                  </a:lnTo>
                  <a:lnTo>
                    <a:pt x="119" y="287"/>
                  </a:lnTo>
                  <a:lnTo>
                    <a:pt x="117" y="281"/>
                  </a:lnTo>
                  <a:lnTo>
                    <a:pt x="112" y="270"/>
                  </a:lnTo>
                  <a:lnTo>
                    <a:pt x="108" y="259"/>
                  </a:lnTo>
                  <a:lnTo>
                    <a:pt x="106" y="248"/>
                  </a:lnTo>
                  <a:lnTo>
                    <a:pt x="105" y="237"/>
                  </a:lnTo>
                  <a:lnTo>
                    <a:pt x="102" y="229"/>
                  </a:lnTo>
                  <a:lnTo>
                    <a:pt x="99" y="224"/>
                  </a:lnTo>
                  <a:lnTo>
                    <a:pt x="94" y="219"/>
                  </a:lnTo>
                  <a:lnTo>
                    <a:pt x="88" y="217"/>
                  </a:lnTo>
                  <a:lnTo>
                    <a:pt x="51" y="207"/>
                  </a:lnTo>
                  <a:lnTo>
                    <a:pt x="63" y="158"/>
                  </a:lnTo>
                  <a:close/>
                  <a:moveTo>
                    <a:pt x="18" y="246"/>
                  </a:moveTo>
                  <a:lnTo>
                    <a:pt x="61" y="258"/>
                  </a:lnTo>
                  <a:lnTo>
                    <a:pt x="64" y="272"/>
                  </a:lnTo>
                  <a:lnTo>
                    <a:pt x="69" y="286"/>
                  </a:lnTo>
                  <a:lnTo>
                    <a:pt x="38" y="319"/>
                  </a:lnTo>
                  <a:lnTo>
                    <a:pt x="35" y="323"/>
                  </a:lnTo>
                  <a:lnTo>
                    <a:pt x="34" y="326"/>
                  </a:lnTo>
                  <a:lnTo>
                    <a:pt x="32" y="331"/>
                  </a:lnTo>
                  <a:lnTo>
                    <a:pt x="31" y="335"/>
                  </a:lnTo>
                  <a:lnTo>
                    <a:pt x="32" y="340"/>
                  </a:lnTo>
                  <a:lnTo>
                    <a:pt x="34" y="343"/>
                  </a:lnTo>
                  <a:lnTo>
                    <a:pt x="36" y="348"/>
                  </a:lnTo>
                  <a:lnTo>
                    <a:pt x="38" y="352"/>
                  </a:lnTo>
                  <a:lnTo>
                    <a:pt x="108" y="418"/>
                  </a:lnTo>
                  <a:lnTo>
                    <a:pt x="112" y="422"/>
                  </a:lnTo>
                  <a:lnTo>
                    <a:pt x="117" y="423"/>
                  </a:lnTo>
                  <a:lnTo>
                    <a:pt x="121" y="424"/>
                  </a:lnTo>
                  <a:lnTo>
                    <a:pt x="126" y="424"/>
                  </a:lnTo>
                  <a:lnTo>
                    <a:pt x="129" y="424"/>
                  </a:lnTo>
                  <a:lnTo>
                    <a:pt x="134" y="423"/>
                  </a:lnTo>
                  <a:lnTo>
                    <a:pt x="138" y="421"/>
                  </a:lnTo>
                  <a:lnTo>
                    <a:pt x="142" y="418"/>
                  </a:lnTo>
                  <a:lnTo>
                    <a:pt x="172" y="385"/>
                  </a:lnTo>
                  <a:lnTo>
                    <a:pt x="186" y="389"/>
                  </a:lnTo>
                  <a:lnTo>
                    <a:pt x="199" y="391"/>
                  </a:lnTo>
                  <a:lnTo>
                    <a:pt x="211" y="435"/>
                  </a:lnTo>
                  <a:lnTo>
                    <a:pt x="215" y="442"/>
                  </a:lnTo>
                  <a:lnTo>
                    <a:pt x="220" y="448"/>
                  </a:lnTo>
                  <a:lnTo>
                    <a:pt x="226" y="450"/>
                  </a:lnTo>
                  <a:lnTo>
                    <a:pt x="234" y="451"/>
                  </a:lnTo>
                  <a:lnTo>
                    <a:pt x="237" y="451"/>
                  </a:lnTo>
                  <a:lnTo>
                    <a:pt x="240" y="451"/>
                  </a:lnTo>
                  <a:lnTo>
                    <a:pt x="333" y="424"/>
                  </a:lnTo>
                  <a:lnTo>
                    <a:pt x="338" y="422"/>
                  </a:lnTo>
                  <a:lnTo>
                    <a:pt x="341" y="419"/>
                  </a:lnTo>
                  <a:lnTo>
                    <a:pt x="345" y="417"/>
                  </a:lnTo>
                  <a:lnTo>
                    <a:pt x="348" y="413"/>
                  </a:lnTo>
                  <a:lnTo>
                    <a:pt x="349" y="408"/>
                  </a:lnTo>
                  <a:lnTo>
                    <a:pt x="350" y="405"/>
                  </a:lnTo>
                  <a:lnTo>
                    <a:pt x="350" y="400"/>
                  </a:lnTo>
                  <a:lnTo>
                    <a:pt x="349" y="395"/>
                  </a:lnTo>
                  <a:lnTo>
                    <a:pt x="337" y="352"/>
                  </a:lnTo>
                  <a:lnTo>
                    <a:pt x="346" y="343"/>
                  </a:lnTo>
                  <a:lnTo>
                    <a:pt x="355" y="332"/>
                  </a:lnTo>
                  <a:lnTo>
                    <a:pt x="399" y="345"/>
                  </a:lnTo>
                  <a:lnTo>
                    <a:pt x="404" y="345"/>
                  </a:lnTo>
                  <a:lnTo>
                    <a:pt x="408" y="345"/>
                  </a:lnTo>
                  <a:lnTo>
                    <a:pt x="413" y="343"/>
                  </a:lnTo>
                  <a:lnTo>
                    <a:pt x="416" y="341"/>
                  </a:lnTo>
                  <a:lnTo>
                    <a:pt x="420" y="338"/>
                  </a:lnTo>
                  <a:lnTo>
                    <a:pt x="424" y="336"/>
                  </a:lnTo>
                  <a:lnTo>
                    <a:pt x="426" y="332"/>
                  </a:lnTo>
                  <a:lnTo>
                    <a:pt x="427" y="327"/>
                  </a:lnTo>
                  <a:lnTo>
                    <a:pt x="452" y="233"/>
                  </a:lnTo>
                  <a:lnTo>
                    <a:pt x="452" y="229"/>
                  </a:lnTo>
                  <a:lnTo>
                    <a:pt x="452" y="224"/>
                  </a:lnTo>
                  <a:lnTo>
                    <a:pt x="451" y="219"/>
                  </a:lnTo>
                  <a:lnTo>
                    <a:pt x="449" y="216"/>
                  </a:lnTo>
                  <a:lnTo>
                    <a:pt x="446" y="212"/>
                  </a:lnTo>
                  <a:lnTo>
                    <a:pt x="443" y="210"/>
                  </a:lnTo>
                  <a:lnTo>
                    <a:pt x="440" y="207"/>
                  </a:lnTo>
                  <a:lnTo>
                    <a:pt x="435" y="205"/>
                  </a:lnTo>
                  <a:lnTo>
                    <a:pt x="391" y="194"/>
                  </a:lnTo>
                  <a:lnTo>
                    <a:pt x="388" y="179"/>
                  </a:lnTo>
                  <a:lnTo>
                    <a:pt x="383" y="166"/>
                  </a:lnTo>
                  <a:lnTo>
                    <a:pt x="414" y="132"/>
                  </a:lnTo>
                  <a:lnTo>
                    <a:pt x="416" y="129"/>
                  </a:lnTo>
                  <a:lnTo>
                    <a:pt x="419" y="125"/>
                  </a:lnTo>
                  <a:lnTo>
                    <a:pt x="420" y="120"/>
                  </a:lnTo>
                  <a:lnTo>
                    <a:pt x="420" y="116"/>
                  </a:lnTo>
                  <a:lnTo>
                    <a:pt x="420" y="112"/>
                  </a:lnTo>
                  <a:lnTo>
                    <a:pt x="419" y="108"/>
                  </a:lnTo>
                  <a:lnTo>
                    <a:pt x="416" y="103"/>
                  </a:lnTo>
                  <a:lnTo>
                    <a:pt x="413" y="100"/>
                  </a:lnTo>
                  <a:lnTo>
                    <a:pt x="343" y="33"/>
                  </a:lnTo>
                  <a:lnTo>
                    <a:pt x="339" y="31"/>
                  </a:lnTo>
                  <a:lnTo>
                    <a:pt x="335" y="28"/>
                  </a:lnTo>
                  <a:lnTo>
                    <a:pt x="330" y="27"/>
                  </a:lnTo>
                  <a:lnTo>
                    <a:pt x="327" y="27"/>
                  </a:lnTo>
                  <a:lnTo>
                    <a:pt x="322" y="27"/>
                  </a:lnTo>
                  <a:lnTo>
                    <a:pt x="318" y="28"/>
                  </a:lnTo>
                  <a:lnTo>
                    <a:pt x="313" y="31"/>
                  </a:lnTo>
                  <a:lnTo>
                    <a:pt x="311" y="34"/>
                  </a:lnTo>
                  <a:lnTo>
                    <a:pt x="279" y="66"/>
                  </a:lnTo>
                  <a:lnTo>
                    <a:pt x="267" y="62"/>
                  </a:lnTo>
                  <a:lnTo>
                    <a:pt x="253" y="60"/>
                  </a:lnTo>
                  <a:lnTo>
                    <a:pt x="241" y="16"/>
                  </a:lnTo>
                  <a:lnTo>
                    <a:pt x="238" y="12"/>
                  </a:lnTo>
                  <a:lnTo>
                    <a:pt x="236" y="8"/>
                  </a:lnTo>
                  <a:lnTo>
                    <a:pt x="234" y="5"/>
                  </a:lnTo>
                  <a:lnTo>
                    <a:pt x="230" y="2"/>
                  </a:lnTo>
                  <a:lnTo>
                    <a:pt x="225" y="1"/>
                  </a:lnTo>
                  <a:lnTo>
                    <a:pt x="221" y="0"/>
                  </a:lnTo>
                  <a:lnTo>
                    <a:pt x="216" y="0"/>
                  </a:lnTo>
                  <a:lnTo>
                    <a:pt x="211" y="1"/>
                  </a:lnTo>
                  <a:lnTo>
                    <a:pt x="118" y="27"/>
                  </a:lnTo>
                  <a:lnTo>
                    <a:pt x="115" y="29"/>
                  </a:lnTo>
                  <a:lnTo>
                    <a:pt x="111" y="32"/>
                  </a:lnTo>
                  <a:lnTo>
                    <a:pt x="107" y="34"/>
                  </a:lnTo>
                  <a:lnTo>
                    <a:pt x="105" y="38"/>
                  </a:lnTo>
                  <a:lnTo>
                    <a:pt x="104" y="43"/>
                  </a:lnTo>
                  <a:lnTo>
                    <a:pt x="102" y="47"/>
                  </a:lnTo>
                  <a:lnTo>
                    <a:pt x="102" y="51"/>
                  </a:lnTo>
                  <a:lnTo>
                    <a:pt x="102" y="56"/>
                  </a:lnTo>
                  <a:lnTo>
                    <a:pt x="116" y="99"/>
                  </a:lnTo>
                  <a:lnTo>
                    <a:pt x="106" y="109"/>
                  </a:lnTo>
                  <a:lnTo>
                    <a:pt x="96" y="119"/>
                  </a:lnTo>
                  <a:lnTo>
                    <a:pt x="53" y="108"/>
                  </a:lnTo>
                  <a:lnTo>
                    <a:pt x="48" y="107"/>
                  </a:lnTo>
                  <a:lnTo>
                    <a:pt x="43" y="107"/>
                  </a:lnTo>
                  <a:lnTo>
                    <a:pt x="40" y="108"/>
                  </a:lnTo>
                  <a:lnTo>
                    <a:pt x="35" y="110"/>
                  </a:lnTo>
                  <a:lnTo>
                    <a:pt x="31" y="113"/>
                  </a:lnTo>
                  <a:lnTo>
                    <a:pt x="29" y="115"/>
                  </a:lnTo>
                  <a:lnTo>
                    <a:pt x="26" y="120"/>
                  </a:lnTo>
                  <a:lnTo>
                    <a:pt x="25" y="124"/>
                  </a:lnTo>
                  <a:lnTo>
                    <a:pt x="0" y="218"/>
                  </a:lnTo>
                  <a:lnTo>
                    <a:pt x="0" y="223"/>
                  </a:lnTo>
                  <a:lnTo>
                    <a:pt x="0" y="227"/>
                  </a:lnTo>
                  <a:lnTo>
                    <a:pt x="2" y="232"/>
                  </a:lnTo>
                  <a:lnTo>
                    <a:pt x="3" y="235"/>
                  </a:lnTo>
                  <a:lnTo>
                    <a:pt x="5" y="239"/>
                  </a:lnTo>
                  <a:lnTo>
                    <a:pt x="9" y="242"/>
                  </a:lnTo>
                  <a:lnTo>
                    <a:pt x="13" y="244"/>
                  </a:lnTo>
                  <a:lnTo>
                    <a:pt x="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58">
              <a:extLst>
                <a:ext uri="{FF2B5EF4-FFF2-40B4-BE49-F238E27FC236}">
                  <a16:creationId xmlns:a16="http://schemas.microsoft.com/office/drawing/2014/main" id="{77774EDC-7160-4464-B88E-619D84419C5E}"/>
                </a:ext>
              </a:extLst>
            </p:cNvPr>
            <p:cNvSpPr>
              <a:spLocks noEditPoints="1"/>
            </p:cNvSpPr>
            <p:nvPr/>
          </p:nvSpPr>
          <p:spPr bwMode="auto">
            <a:xfrm>
              <a:off x="3400426" y="330200"/>
              <a:ext cx="90488" cy="90488"/>
            </a:xfrm>
            <a:custGeom>
              <a:avLst/>
              <a:gdLst>
                <a:gd name="T0" fmla="*/ 101 w 230"/>
                <a:gd name="T1" fmla="*/ 182 h 230"/>
                <a:gd name="T2" fmla="*/ 83 w 230"/>
                <a:gd name="T3" fmla="*/ 175 h 230"/>
                <a:gd name="T4" fmla="*/ 67 w 230"/>
                <a:gd name="T5" fmla="*/ 164 h 230"/>
                <a:gd name="T6" fmla="*/ 54 w 230"/>
                <a:gd name="T7" fmla="*/ 148 h 230"/>
                <a:gd name="T8" fmla="*/ 48 w 230"/>
                <a:gd name="T9" fmla="*/ 128 h 230"/>
                <a:gd name="T10" fmla="*/ 47 w 230"/>
                <a:gd name="T11" fmla="*/ 107 h 230"/>
                <a:gd name="T12" fmla="*/ 52 w 230"/>
                <a:gd name="T13" fmla="*/ 88 h 230"/>
                <a:gd name="T14" fmla="*/ 62 w 230"/>
                <a:gd name="T15" fmla="*/ 72 h 230"/>
                <a:gd name="T16" fmla="*/ 76 w 230"/>
                <a:gd name="T17" fmla="*/ 58 h 230"/>
                <a:gd name="T18" fmla="*/ 95 w 230"/>
                <a:gd name="T19" fmla="*/ 50 h 230"/>
                <a:gd name="T20" fmla="*/ 114 w 230"/>
                <a:gd name="T21" fmla="*/ 46 h 230"/>
                <a:gd name="T22" fmla="*/ 135 w 230"/>
                <a:gd name="T23" fmla="*/ 50 h 230"/>
                <a:gd name="T24" fmla="*/ 154 w 230"/>
                <a:gd name="T25" fmla="*/ 58 h 230"/>
                <a:gd name="T26" fmla="*/ 168 w 230"/>
                <a:gd name="T27" fmla="*/ 72 h 230"/>
                <a:gd name="T28" fmla="*/ 178 w 230"/>
                <a:gd name="T29" fmla="*/ 88 h 230"/>
                <a:gd name="T30" fmla="*/ 183 w 230"/>
                <a:gd name="T31" fmla="*/ 107 h 230"/>
                <a:gd name="T32" fmla="*/ 182 w 230"/>
                <a:gd name="T33" fmla="*/ 128 h 230"/>
                <a:gd name="T34" fmla="*/ 176 w 230"/>
                <a:gd name="T35" fmla="*/ 148 h 230"/>
                <a:gd name="T36" fmla="*/ 164 w 230"/>
                <a:gd name="T37" fmla="*/ 164 h 230"/>
                <a:gd name="T38" fmla="*/ 148 w 230"/>
                <a:gd name="T39" fmla="*/ 175 h 230"/>
                <a:gd name="T40" fmla="*/ 129 w 230"/>
                <a:gd name="T41" fmla="*/ 182 h 230"/>
                <a:gd name="T42" fmla="*/ 114 w 230"/>
                <a:gd name="T43" fmla="*/ 0 h 230"/>
                <a:gd name="T44" fmla="*/ 81 w 230"/>
                <a:gd name="T45" fmla="*/ 5 h 230"/>
                <a:gd name="T46" fmla="*/ 51 w 230"/>
                <a:gd name="T47" fmla="*/ 20 h 230"/>
                <a:gd name="T48" fmla="*/ 26 w 230"/>
                <a:gd name="T49" fmla="*/ 42 h 230"/>
                <a:gd name="T50" fmla="*/ 9 w 230"/>
                <a:gd name="T51" fmla="*/ 70 h 230"/>
                <a:gd name="T52" fmla="*/ 0 w 230"/>
                <a:gd name="T53" fmla="*/ 103 h 230"/>
                <a:gd name="T54" fmla="*/ 3 w 230"/>
                <a:gd name="T55" fmla="*/ 138 h 230"/>
                <a:gd name="T56" fmla="*/ 14 w 230"/>
                <a:gd name="T57" fmla="*/ 170 h 230"/>
                <a:gd name="T58" fmla="*/ 34 w 230"/>
                <a:gd name="T59" fmla="*/ 195 h 230"/>
                <a:gd name="T60" fmla="*/ 61 w 230"/>
                <a:gd name="T61" fmla="*/ 215 h 230"/>
                <a:gd name="T62" fmla="*/ 92 w 230"/>
                <a:gd name="T63" fmla="*/ 227 h 230"/>
                <a:gd name="T64" fmla="*/ 127 w 230"/>
                <a:gd name="T65" fmla="*/ 229 h 230"/>
                <a:gd name="T66" fmla="*/ 160 w 230"/>
                <a:gd name="T67" fmla="*/ 220 h 230"/>
                <a:gd name="T68" fmla="*/ 188 w 230"/>
                <a:gd name="T69" fmla="*/ 203 h 230"/>
                <a:gd name="T70" fmla="*/ 210 w 230"/>
                <a:gd name="T71" fmla="*/ 178 h 230"/>
                <a:gd name="T72" fmla="*/ 225 w 230"/>
                <a:gd name="T73" fmla="*/ 149 h 230"/>
                <a:gd name="T74" fmla="*/ 230 w 230"/>
                <a:gd name="T75" fmla="*/ 115 h 230"/>
                <a:gd name="T76" fmla="*/ 225 w 230"/>
                <a:gd name="T77" fmla="*/ 80 h 230"/>
                <a:gd name="T78" fmla="*/ 210 w 230"/>
                <a:gd name="T79" fmla="*/ 51 h 230"/>
                <a:gd name="T80" fmla="*/ 188 w 230"/>
                <a:gd name="T81" fmla="*/ 26 h 230"/>
                <a:gd name="T82" fmla="*/ 160 w 230"/>
                <a:gd name="T83" fmla="*/ 9 h 230"/>
                <a:gd name="T84" fmla="*/ 127 w 230"/>
                <a:gd name="T8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0" h="230">
                  <a:moveTo>
                    <a:pt x="114" y="183"/>
                  </a:moveTo>
                  <a:lnTo>
                    <a:pt x="108" y="183"/>
                  </a:lnTo>
                  <a:lnTo>
                    <a:pt x="101" y="182"/>
                  </a:lnTo>
                  <a:lnTo>
                    <a:pt x="95" y="181"/>
                  </a:lnTo>
                  <a:lnTo>
                    <a:pt x="89" y="178"/>
                  </a:lnTo>
                  <a:lnTo>
                    <a:pt x="83" y="175"/>
                  </a:lnTo>
                  <a:lnTo>
                    <a:pt x="76" y="171"/>
                  </a:lnTo>
                  <a:lnTo>
                    <a:pt x="72" y="167"/>
                  </a:lnTo>
                  <a:lnTo>
                    <a:pt x="67" y="164"/>
                  </a:lnTo>
                  <a:lnTo>
                    <a:pt x="62" y="159"/>
                  </a:lnTo>
                  <a:lnTo>
                    <a:pt x="58" y="153"/>
                  </a:lnTo>
                  <a:lnTo>
                    <a:pt x="54" y="148"/>
                  </a:lnTo>
                  <a:lnTo>
                    <a:pt x="52" y="142"/>
                  </a:lnTo>
                  <a:lnTo>
                    <a:pt x="49" y="135"/>
                  </a:lnTo>
                  <a:lnTo>
                    <a:pt x="48" y="128"/>
                  </a:lnTo>
                  <a:lnTo>
                    <a:pt x="47" y="122"/>
                  </a:lnTo>
                  <a:lnTo>
                    <a:pt x="46" y="115"/>
                  </a:lnTo>
                  <a:lnTo>
                    <a:pt x="47" y="107"/>
                  </a:lnTo>
                  <a:lnTo>
                    <a:pt x="48" y="101"/>
                  </a:lnTo>
                  <a:lnTo>
                    <a:pt x="49" y="94"/>
                  </a:lnTo>
                  <a:lnTo>
                    <a:pt x="52" y="88"/>
                  </a:lnTo>
                  <a:lnTo>
                    <a:pt x="54" y="81"/>
                  </a:lnTo>
                  <a:lnTo>
                    <a:pt x="58" y="77"/>
                  </a:lnTo>
                  <a:lnTo>
                    <a:pt x="62" y="72"/>
                  </a:lnTo>
                  <a:lnTo>
                    <a:pt x="67" y="67"/>
                  </a:lnTo>
                  <a:lnTo>
                    <a:pt x="72" y="62"/>
                  </a:lnTo>
                  <a:lnTo>
                    <a:pt x="76" y="58"/>
                  </a:lnTo>
                  <a:lnTo>
                    <a:pt x="83" y="54"/>
                  </a:lnTo>
                  <a:lnTo>
                    <a:pt x="89" y="52"/>
                  </a:lnTo>
                  <a:lnTo>
                    <a:pt x="95" y="50"/>
                  </a:lnTo>
                  <a:lnTo>
                    <a:pt x="101" y="47"/>
                  </a:lnTo>
                  <a:lnTo>
                    <a:pt x="108" y="46"/>
                  </a:lnTo>
                  <a:lnTo>
                    <a:pt x="114" y="46"/>
                  </a:lnTo>
                  <a:lnTo>
                    <a:pt x="122" y="46"/>
                  </a:lnTo>
                  <a:lnTo>
                    <a:pt x="129" y="47"/>
                  </a:lnTo>
                  <a:lnTo>
                    <a:pt x="135" y="50"/>
                  </a:lnTo>
                  <a:lnTo>
                    <a:pt x="141" y="52"/>
                  </a:lnTo>
                  <a:lnTo>
                    <a:pt x="148" y="54"/>
                  </a:lnTo>
                  <a:lnTo>
                    <a:pt x="154" y="58"/>
                  </a:lnTo>
                  <a:lnTo>
                    <a:pt x="159" y="62"/>
                  </a:lnTo>
                  <a:lnTo>
                    <a:pt x="164" y="67"/>
                  </a:lnTo>
                  <a:lnTo>
                    <a:pt x="168" y="72"/>
                  </a:lnTo>
                  <a:lnTo>
                    <a:pt x="172" y="77"/>
                  </a:lnTo>
                  <a:lnTo>
                    <a:pt x="176" y="81"/>
                  </a:lnTo>
                  <a:lnTo>
                    <a:pt x="178" y="88"/>
                  </a:lnTo>
                  <a:lnTo>
                    <a:pt x="181" y="94"/>
                  </a:lnTo>
                  <a:lnTo>
                    <a:pt x="182" y="101"/>
                  </a:lnTo>
                  <a:lnTo>
                    <a:pt x="183" y="107"/>
                  </a:lnTo>
                  <a:lnTo>
                    <a:pt x="183" y="115"/>
                  </a:lnTo>
                  <a:lnTo>
                    <a:pt x="183" y="122"/>
                  </a:lnTo>
                  <a:lnTo>
                    <a:pt x="182" y="128"/>
                  </a:lnTo>
                  <a:lnTo>
                    <a:pt x="181" y="135"/>
                  </a:lnTo>
                  <a:lnTo>
                    <a:pt x="178" y="142"/>
                  </a:lnTo>
                  <a:lnTo>
                    <a:pt x="176" y="148"/>
                  </a:lnTo>
                  <a:lnTo>
                    <a:pt x="172" y="153"/>
                  </a:lnTo>
                  <a:lnTo>
                    <a:pt x="168" y="159"/>
                  </a:lnTo>
                  <a:lnTo>
                    <a:pt x="164" y="164"/>
                  </a:lnTo>
                  <a:lnTo>
                    <a:pt x="159" y="167"/>
                  </a:lnTo>
                  <a:lnTo>
                    <a:pt x="154" y="171"/>
                  </a:lnTo>
                  <a:lnTo>
                    <a:pt x="148" y="175"/>
                  </a:lnTo>
                  <a:lnTo>
                    <a:pt x="141" y="178"/>
                  </a:lnTo>
                  <a:lnTo>
                    <a:pt x="135" y="181"/>
                  </a:lnTo>
                  <a:lnTo>
                    <a:pt x="129" y="182"/>
                  </a:lnTo>
                  <a:lnTo>
                    <a:pt x="122" y="183"/>
                  </a:lnTo>
                  <a:lnTo>
                    <a:pt x="114" y="183"/>
                  </a:lnTo>
                  <a:close/>
                  <a:moveTo>
                    <a:pt x="114" y="0"/>
                  </a:moveTo>
                  <a:lnTo>
                    <a:pt x="103" y="0"/>
                  </a:lnTo>
                  <a:lnTo>
                    <a:pt x="92" y="2"/>
                  </a:lnTo>
                  <a:lnTo>
                    <a:pt x="81" y="5"/>
                  </a:lnTo>
                  <a:lnTo>
                    <a:pt x="70" y="9"/>
                  </a:lnTo>
                  <a:lnTo>
                    <a:pt x="61" y="14"/>
                  </a:lnTo>
                  <a:lnTo>
                    <a:pt x="51" y="20"/>
                  </a:lnTo>
                  <a:lnTo>
                    <a:pt x="42" y="26"/>
                  </a:lnTo>
                  <a:lnTo>
                    <a:pt x="34" y="34"/>
                  </a:lnTo>
                  <a:lnTo>
                    <a:pt x="26" y="42"/>
                  </a:lnTo>
                  <a:lnTo>
                    <a:pt x="20" y="51"/>
                  </a:lnTo>
                  <a:lnTo>
                    <a:pt x="14" y="61"/>
                  </a:lnTo>
                  <a:lnTo>
                    <a:pt x="9" y="70"/>
                  </a:lnTo>
                  <a:lnTo>
                    <a:pt x="5" y="80"/>
                  </a:lnTo>
                  <a:lnTo>
                    <a:pt x="3" y="91"/>
                  </a:lnTo>
                  <a:lnTo>
                    <a:pt x="0" y="103"/>
                  </a:lnTo>
                  <a:lnTo>
                    <a:pt x="0" y="115"/>
                  </a:lnTo>
                  <a:lnTo>
                    <a:pt x="0" y="127"/>
                  </a:lnTo>
                  <a:lnTo>
                    <a:pt x="3" y="138"/>
                  </a:lnTo>
                  <a:lnTo>
                    <a:pt x="5" y="149"/>
                  </a:lnTo>
                  <a:lnTo>
                    <a:pt x="9" y="159"/>
                  </a:lnTo>
                  <a:lnTo>
                    <a:pt x="14" y="170"/>
                  </a:lnTo>
                  <a:lnTo>
                    <a:pt x="20" y="178"/>
                  </a:lnTo>
                  <a:lnTo>
                    <a:pt x="26" y="188"/>
                  </a:lnTo>
                  <a:lnTo>
                    <a:pt x="34" y="195"/>
                  </a:lnTo>
                  <a:lnTo>
                    <a:pt x="42" y="203"/>
                  </a:lnTo>
                  <a:lnTo>
                    <a:pt x="51" y="210"/>
                  </a:lnTo>
                  <a:lnTo>
                    <a:pt x="61" y="215"/>
                  </a:lnTo>
                  <a:lnTo>
                    <a:pt x="70" y="220"/>
                  </a:lnTo>
                  <a:lnTo>
                    <a:pt x="81" y="224"/>
                  </a:lnTo>
                  <a:lnTo>
                    <a:pt x="92" y="227"/>
                  </a:lnTo>
                  <a:lnTo>
                    <a:pt x="103" y="229"/>
                  </a:lnTo>
                  <a:lnTo>
                    <a:pt x="114" y="230"/>
                  </a:lnTo>
                  <a:lnTo>
                    <a:pt x="127" y="229"/>
                  </a:lnTo>
                  <a:lnTo>
                    <a:pt x="138" y="227"/>
                  </a:lnTo>
                  <a:lnTo>
                    <a:pt x="149" y="224"/>
                  </a:lnTo>
                  <a:lnTo>
                    <a:pt x="160" y="220"/>
                  </a:lnTo>
                  <a:lnTo>
                    <a:pt x="170" y="215"/>
                  </a:lnTo>
                  <a:lnTo>
                    <a:pt x="179" y="210"/>
                  </a:lnTo>
                  <a:lnTo>
                    <a:pt x="188" y="203"/>
                  </a:lnTo>
                  <a:lnTo>
                    <a:pt x="195" y="195"/>
                  </a:lnTo>
                  <a:lnTo>
                    <a:pt x="203" y="188"/>
                  </a:lnTo>
                  <a:lnTo>
                    <a:pt x="210" y="178"/>
                  </a:lnTo>
                  <a:lnTo>
                    <a:pt x="216" y="170"/>
                  </a:lnTo>
                  <a:lnTo>
                    <a:pt x="221" y="159"/>
                  </a:lnTo>
                  <a:lnTo>
                    <a:pt x="225" y="149"/>
                  </a:lnTo>
                  <a:lnTo>
                    <a:pt x="227" y="138"/>
                  </a:lnTo>
                  <a:lnTo>
                    <a:pt x="229" y="127"/>
                  </a:lnTo>
                  <a:lnTo>
                    <a:pt x="230" y="115"/>
                  </a:lnTo>
                  <a:lnTo>
                    <a:pt x="229" y="103"/>
                  </a:lnTo>
                  <a:lnTo>
                    <a:pt x="227" y="91"/>
                  </a:lnTo>
                  <a:lnTo>
                    <a:pt x="225" y="80"/>
                  </a:lnTo>
                  <a:lnTo>
                    <a:pt x="221" y="70"/>
                  </a:lnTo>
                  <a:lnTo>
                    <a:pt x="216" y="61"/>
                  </a:lnTo>
                  <a:lnTo>
                    <a:pt x="210" y="51"/>
                  </a:lnTo>
                  <a:lnTo>
                    <a:pt x="203" y="42"/>
                  </a:lnTo>
                  <a:lnTo>
                    <a:pt x="195" y="34"/>
                  </a:lnTo>
                  <a:lnTo>
                    <a:pt x="188" y="26"/>
                  </a:lnTo>
                  <a:lnTo>
                    <a:pt x="179" y="20"/>
                  </a:lnTo>
                  <a:lnTo>
                    <a:pt x="170" y="14"/>
                  </a:lnTo>
                  <a:lnTo>
                    <a:pt x="160" y="9"/>
                  </a:lnTo>
                  <a:lnTo>
                    <a:pt x="149" y="5"/>
                  </a:lnTo>
                  <a:lnTo>
                    <a:pt x="138" y="2"/>
                  </a:lnTo>
                  <a:lnTo>
                    <a:pt x="127" y="0"/>
                  </a:lnTo>
                  <a:lnTo>
                    <a:pt x="1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59">
              <a:extLst>
                <a:ext uri="{FF2B5EF4-FFF2-40B4-BE49-F238E27FC236}">
                  <a16:creationId xmlns:a16="http://schemas.microsoft.com/office/drawing/2014/main" id="{719E1890-F4A4-422A-AE20-7FBD4003273F}"/>
                </a:ext>
              </a:extLst>
            </p:cNvPr>
            <p:cNvSpPr>
              <a:spLocks noEditPoints="1"/>
            </p:cNvSpPr>
            <p:nvPr/>
          </p:nvSpPr>
          <p:spPr bwMode="auto">
            <a:xfrm>
              <a:off x="3362326" y="0"/>
              <a:ext cx="476250" cy="457200"/>
            </a:xfrm>
            <a:custGeom>
              <a:avLst/>
              <a:gdLst>
                <a:gd name="T0" fmla="*/ 415 w 1198"/>
                <a:gd name="T1" fmla="*/ 924 h 1152"/>
                <a:gd name="T2" fmla="*/ 368 w 1198"/>
                <a:gd name="T3" fmla="*/ 813 h 1152"/>
                <a:gd name="T4" fmla="*/ 270 w 1198"/>
                <a:gd name="T5" fmla="*/ 747 h 1152"/>
                <a:gd name="T6" fmla="*/ 178 w 1198"/>
                <a:gd name="T7" fmla="*/ 740 h 1152"/>
                <a:gd name="T8" fmla="*/ 553 w 1198"/>
                <a:gd name="T9" fmla="*/ 323 h 1152"/>
                <a:gd name="T10" fmla="*/ 568 w 1198"/>
                <a:gd name="T11" fmla="*/ 418 h 1152"/>
                <a:gd name="T12" fmla="*/ 609 w 1198"/>
                <a:gd name="T13" fmla="*/ 503 h 1152"/>
                <a:gd name="T14" fmla="*/ 671 w 1198"/>
                <a:gd name="T15" fmla="*/ 572 h 1152"/>
                <a:gd name="T16" fmla="*/ 751 w 1198"/>
                <a:gd name="T17" fmla="*/ 619 h 1152"/>
                <a:gd name="T18" fmla="*/ 843 w 1198"/>
                <a:gd name="T19" fmla="*/ 644 h 1152"/>
                <a:gd name="T20" fmla="*/ 47 w 1198"/>
                <a:gd name="T21" fmla="*/ 945 h 1152"/>
                <a:gd name="T22" fmla="*/ 74 w 1198"/>
                <a:gd name="T23" fmla="*/ 855 h 1152"/>
                <a:gd name="T24" fmla="*/ 145 w 1198"/>
                <a:gd name="T25" fmla="*/ 796 h 1152"/>
                <a:gd name="T26" fmla="*/ 241 w 1198"/>
                <a:gd name="T27" fmla="*/ 786 h 1152"/>
                <a:gd name="T28" fmla="*/ 322 w 1198"/>
                <a:gd name="T29" fmla="*/ 830 h 1152"/>
                <a:gd name="T30" fmla="*/ 366 w 1198"/>
                <a:gd name="T31" fmla="*/ 913 h 1152"/>
                <a:gd name="T32" fmla="*/ 356 w 1198"/>
                <a:gd name="T33" fmla="*/ 1007 h 1152"/>
                <a:gd name="T34" fmla="*/ 298 w 1198"/>
                <a:gd name="T35" fmla="*/ 1078 h 1152"/>
                <a:gd name="T36" fmla="*/ 207 w 1198"/>
                <a:gd name="T37" fmla="*/ 1106 h 1152"/>
                <a:gd name="T38" fmla="*/ 118 w 1198"/>
                <a:gd name="T39" fmla="*/ 1078 h 1152"/>
                <a:gd name="T40" fmla="*/ 59 w 1198"/>
                <a:gd name="T41" fmla="*/ 1007 h 1152"/>
                <a:gd name="T42" fmla="*/ 891 w 1198"/>
                <a:gd name="T43" fmla="*/ 47 h 1152"/>
                <a:gd name="T44" fmla="*/ 970 w 1198"/>
                <a:gd name="T45" fmla="*/ 63 h 1152"/>
                <a:gd name="T46" fmla="*/ 1042 w 1198"/>
                <a:gd name="T47" fmla="*/ 101 h 1152"/>
                <a:gd name="T48" fmla="*/ 1098 w 1198"/>
                <a:gd name="T49" fmla="*/ 157 h 1152"/>
                <a:gd name="T50" fmla="*/ 1136 w 1198"/>
                <a:gd name="T51" fmla="*/ 228 h 1152"/>
                <a:gd name="T52" fmla="*/ 1152 w 1198"/>
                <a:gd name="T53" fmla="*/ 308 h 1152"/>
                <a:gd name="T54" fmla="*/ 1142 w 1198"/>
                <a:gd name="T55" fmla="*/ 399 h 1152"/>
                <a:gd name="T56" fmla="*/ 1103 w 1198"/>
                <a:gd name="T57" fmla="*/ 480 h 1152"/>
                <a:gd name="T58" fmla="*/ 1022 w 1198"/>
                <a:gd name="T59" fmla="*/ 557 h 1152"/>
                <a:gd name="T60" fmla="*/ 915 w 1198"/>
                <a:gd name="T61" fmla="*/ 596 h 1152"/>
                <a:gd name="T62" fmla="*/ 821 w 1198"/>
                <a:gd name="T63" fmla="*/ 594 h 1152"/>
                <a:gd name="T64" fmla="*/ 745 w 1198"/>
                <a:gd name="T65" fmla="*/ 565 h 1152"/>
                <a:gd name="T66" fmla="*/ 681 w 1198"/>
                <a:gd name="T67" fmla="*/ 518 h 1152"/>
                <a:gd name="T68" fmla="*/ 633 w 1198"/>
                <a:gd name="T69" fmla="*/ 454 h 1152"/>
                <a:gd name="T70" fmla="*/ 605 w 1198"/>
                <a:gd name="T71" fmla="*/ 378 h 1152"/>
                <a:gd name="T72" fmla="*/ 601 w 1198"/>
                <a:gd name="T73" fmla="*/ 294 h 1152"/>
                <a:gd name="T74" fmla="*/ 621 w 1198"/>
                <a:gd name="T75" fmla="*/ 215 h 1152"/>
                <a:gd name="T76" fmla="*/ 663 w 1198"/>
                <a:gd name="T77" fmla="*/ 147 h 1152"/>
                <a:gd name="T78" fmla="*/ 721 w 1198"/>
                <a:gd name="T79" fmla="*/ 93 h 1152"/>
                <a:gd name="T80" fmla="*/ 794 w 1198"/>
                <a:gd name="T81" fmla="*/ 59 h 1152"/>
                <a:gd name="T82" fmla="*/ 876 w 1198"/>
                <a:gd name="T83" fmla="*/ 47 h 1152"/>
                <a:gd name="T84" fmla="*/ 1189 w 1198"/>
                <a:gd name="T85" fmla="*/ 242 h 1152"/>
                <a:gd name="T86" fmla="*/ 1152 w 1198"/>
                <a:gd name="T87" fmla="*/ 156 h 1152"/>
                <a:gd name="T88" fmla="*/ 1093 w 1198"/>
                <a:gd name="T89" fmla="*/ 83 h 1152"/>
                <a:gd name="T90" fmla="*/ 1016 w 1198"/>
                <a:gd name="T91" fmla="*/ 32 h 1152"/>
                <a:gd name="T92" fmla="*/ 925 w 1198"/>
                <a:gd name="T93" fmla="*/ 4 h 1152"/>
                <a:gd name="T94" fmla="*/ 818 w 1198"/>
                <a:gd name="T95" fmla="*/ 5 h 1152"/>
                <a:gd name="T96" fmla="*/ 714 w 1198"/>
                <a:gd name="T97" fmla="*/ 44 h 1152"/>
                <a:gd name="T98" fmla="*/ 631 w 1198"/>
                <a:gd name="T99" fmla="*/ 114 h 1152"/>
                <a:gd name="T100" fmla="*/ 59 w 1198"/>
                <a:gd name="T101" fmla="*/ 801 h 1152"/>
                <a:gd name="T102" fmla="*/ 5 w 1198"/>
                <a:gd name="T103" fmla="*/ 904 h 1152"/>
                <a:gd name="T104" fmla="*/ 17 w 1198"/>
                <a:gd name="T105" fmla="*/ 1025 h 1152"/>
                <a:gd name="T106" fmla="*/ 92 w 1198"/>
                <a:gd name="T107" fmla="*/ 1116 h 1152"/>
                <a:gd name="T108" fmla="*/ 207 w 1198"/>
                <a:gd name="T109" fmla="*/ 1152 h 1152"/>
                <a:gd name="T110" fmla="*/ 314 w 1198"/>
                <a:gd name="T111" fmla="*/ 1122 h 1152"/>
                <a:gd name="T112" fmla="*/ 1066 w 1198"/>
                <a:gd name="T113" fmla="*/ 583 h 1152"/>
                <a:gd name="T114" fmla="*/ 1109 w 1198"/>
                <a:gd name="T115" fmla="*/ 545 h 1152"/>
                <a:gd name="T116" fmla="*/ 1168 w 1198"/>
                <a:gd name="T117" fmla="*/ 460 h 1152"/>
                <a:gd name="T118" fmla="*/ 1196 w 1198"/>
                <a:gd name="T119" fmla="*/ 35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8" h="1152">
                  <a:moveTo>
                    <a:pt x="407" y="999"/>
                  </a:moveTo>
                  <a:lnTo>
                    <a:pt x="411" y="985"/>
                  </a:lnTo>
                  <a:lnTo>
                    <a:pt x="414" y="972"/>
                  </a:lnTo>
                  <a:lnTo>
                    <a:pt x="415" y="958"/>
                  </a:lnTo>
                  <a:lnTo>
                    <a:pt x="415" y="945"/>
                  </a:lnTo>
                  <a:lnTo>
                    <a:pt x="415" y="924"/>
                  </a:lnTo>
                  <a:lnTo>
                    <a:pt x="411" y="903"/>
                  </a:lnTo>
                  <a:lnTo>
                    <a:pt x="406" y="883"/>
                  </a:lnTo>
                  <a:lnTo>
                    <a:pt x="399" y="864"/>
                  </a:lnTo>
                  <a:lnTo>
                    <a:pt x="390" y="846"/>
                  </a:lnTo>
                  <a:lnTo>
                    <a:pt x="379" y="829"/>
                  </a:lnTo>
                  <a:lnTo>
                    <a:pt x="368" y="813"/>
                  </a:lnTo>
                  <a:lnTo>
                    <a:pt x="355" y="799"/>
                  </a:lnTo>
                  <a:lnTo>
                    <a:pt x="340" y="785"/>
                  </a:lnTo>
                  <a:lnTo>
                    <a:pt x="324" y="773"/>
                  </a:lnTo>
                  <a:lnTo>
                    <a:pt x="307" y="762"/>
                  </a:lnTo>
                  <a:lnTo>
                    <a:pt x="288" y="753"/>
                  </a:lnTo>
                  <a:lnTo>
                    <a:pt x="270" y="747"/>
                  </a:lnTo>
                  <a:lnTo>
                    <a:pt x="249" y="741"/>
                  </a:lnTo>
                  <a:lnTo>
                    <a:pt x="230" y="738"/>
                  </a:lnTo>
                  <a:lnTo>
                    <a:pt x="207" y="737"/>
                  </a:lnTo>
                  <a:lnTo>
                    <a:pt x="198" y="737"/>
                  </a:lnTo>
                  <a:lnTo>
                    <a:pt x="188" y="738"/>
                  </a:lnTo>
                  <a:lnTo>
                    <a:pt x="178" y="740"/>
                  </a:lnTo>
                  <a:lnTo>
                    <a:pt x="168" y="741"/>
                  </a:lnTo>
                  <a:lnTo>
                    <a:pt x="557" y="274"/>
                  </a:lnTo>
                  <a:lnTo>
                    <a:pt x="556" y="286"/>
                  </a:lnTo>
                  <a:lnTo>
                    <a:pt x="555" y="298"/>
                  </a:lnTo>
                  <a:lnTo>
                    <a:pt x="553" y="310"/>
                  </a:lnTo>
                  <a:lnTo>
                    <a:pt x="553" y="323"/>
                  </a:lnTo>
                  <a:lnTo>
                    <a:pt x="553" y="339"/>
                  </a:lnTo>
                  <a:lnTo>
                    <a:pt x="555" y="356"/>
                  </a:lnTo>
                  <a:lnTo>
                    <a:pt x="557" y="372"/>
                  </a:lnTo>
                  <a:lnTo>
                    <a:pt x="559" y="388"/>
                  </a:lnTo>
                  <a:lnTo>
                    <a:pt x="563" y="404"/>
                  </a:lnTo>
                  <a:lnTo>
                    <a:pt x="568" y="418"/>
                  </a:lnTo>
                  <a:lnTo>
                    <a:pt x="573" y="433"/>
                  </a:lnTo>
                  <a:lnTo>
                    <a:pt x="579" y="448"/>
                  </a:lnTo>
                  <a:lnTo>
                    <a:pt x="585" y="462"/>
                  </a:lnTo>
                  <a:lnTo>
                    <a:pt x="593" y="476"/>
                  </a:lnTo>
                  <a:lnTo>
                    <a:pt x="600" y="489"/>
                  </a:lnTo>
                  <a:lnTo>
                    <a:pt x="609" y="503"/>
                  </a:lnTo>
                  <a:lnTo>
                    <a:pt x="617" y="515"/>
                  </a:lnTo>
                  <a:lnTo>
                    <a:pt x="627" y="527"/>
                  </a:lnTo>
                  <a:lnTo>
                    <a:pt x="637" y="540"/>
                  </a:lnTo>
                  <a:lnTo>
                    <a:pt x="648" y="551"/>
                  </a:lnTo>
                  <a:lnTo>
                    <a:pt x="659" y="562"/>
                  </a:lnTo>
                  <a:lnTo>
                    <a:pt x="671" y="572"/>
                  </a:lnTo>
                  <a:lnTo>
                    <a:pt x="683" y="581"/>
                  </a:lnTo>
                  <a:lnTo>
                    <a:pt x="696" y="590"/>
                  </a:lnTo>
                  <a:lnTo>
                    <a:pt x="709" y="599"/>
                  </a:lnTo>
                  <a:lnTo>
                    <a:pt x="723" y="606"/>
                  </a:lnTo>
                  <a:lnTo>
                    <a:pt x="736" y="613"/>
                  </a:lnTo>
                  <a:lnTo>
                    <a:pt x="751" y="619"/>
                  </a:lnTo>
                  <a:lnTo>
                    <a:pt x="766" y="626"/>
                  </a:lnTo>
                  <a:lnTo>
                    <a:pt x="780" y="631"/>
                  </a:lnTo>
                  <a:lnTo>
                    <a:pt x="795" y="635"/>
                  </a:lnTo>
                  <a:lnTo>
                    <a:pt x="811" y="639"/>
                  </a:lnTo>
                  <a:lnTo>
                    <a:pt x="827" y="642"/>
                  </a:lnTo>
                  <a:lnTo>
                    <a:pt x="843" y="644"/>
                  </a:lnTo>
                  <a:lnTo>
                    <a:pt x="860" y="645"/>
                  </a:lnTo>
                  <a:lnTo>
                    <a:pt x="876" y="645"/>
                  </a:lnTo>
                  <a:lnTo>
                    <a:pt x="888" y="645"/>
                  </a:lnTo>
                  <a:lnTo>
                    <a:pt x="900" y="644"/>
                  </a:lnTo>
                  <a:lnTo>
                    <a:pt x="407" y="999"/>
                  </a:lnTo>
                  <a:close/>
                  <a:moveTo>
                    <a:pt x="47" y="945"/>
                  </a:moveTo>
                  <a:lnTo>
                    <a:pt x="48" y="929"/>
                  </a:lnTo>
                  <a:lnTo>
                    <a:pt x="50" y="913"/>
                  </a:lnTo>
                  <a:lnTo>
                    <a:pt x="54" y="897"/>
                  </a:lnTo>
                  <a:lnTo>
                    <a:pt x="59" y="882"/>
                  </a:lnTo>
                  <a:lnTo>
                    <a:pt x="66" y="867"/>
                  </a:lnTo>
                  <a:lnTo>
                    <a:pt x="74" y="855"/>
                  </a:lnTo>
                  <a:lnTo>
                    <a:pt x="84" y="843"/>
                  </a:lnTo>
                  <a:lnTo>
                    <a:pt x="93" y="830"/>
                  </a:lnTo>
                  <a:lnTo>
                    <a:pt x="106" y="821"/>
                  </a:lnTo>
                  <a:lnTo>
                    <a:pt x="118" y="811"/>
                  </a:lnTo>
                  <a:lnTo>
                    <a:pt x="131" y="803"/>
                  </a:lnTo>
                  <a:lnTo>
                    <a:pt x="145" y="796"/>
                  </a:lnTo>
                  <a:lnTo>
                    <a:pt x="160" y="791"/>
                  </a:lnTo>
                  <a:lnTo>
                    <a:pt x="176" y="786"/>
                  </a:lnTo>
                  <a:lnTo>
                    <a:pt x="192" y="784"/>
                  </a:lnTo>
                  <a:lnTo>
                    <a:pt x="207" y="784"/>
                  </a:lnTo>
                  <a:lnTo>
                    <a:pt x="225" y="784"/>
                  </a:lnTo>
                  <a:lnTo>
                    <a:pt x="241" y="786"/>
                  </a:lnTo>
                  <a:lnTo>
                    <a:pt x="255" y="791"/>
                  </a:lnTo>
                  <a:lnTo>
                    <a:pt x="270" y="796"/>
                  </a:lnTo>
                  <a:lnTo>
                    <a:pt x="285" y="803"/>
                  </a:lnTo>
                  <a:lnTo>
                    <a:pt x="298" y="811"/>
                  </a:lnTo>
                  <a:lnTo>
                    <a:pt x="311" y="821"/>
                  </a:lnTo>
                  <a:lnTo>
                    <a:pt x="322" y="830"/>
                  </a:lnTo>
                  <a:lnTo>
                    <a:pt x="333" y="843"/>
                  </a:lnTo>
                  <a:lnTo>
                    <a:pt x="341" y="855"/>
                  </a:lnTo>
                  <a:lnTo>
                    <a:pt x="350" y="867"/>
                  </a:lnTo>
                  <a:lnTo>
                    <a:pt x="356" y="882"/>
                  </a:lnTo>
                  <a:lnTo>
                    <a:pt x="362" y="897"/>
                  </a:lnTo>
                  <a:lnTo>
                    <a:pt x="366" y="913"/>
                  </a:lnTo>
                  <a:lnTo>
                    <a:pt x="368" y="929"/>
                  </a:lnTo>
                  <a:lnTo>
                    <a:pt x="369" y="945"/>
                  </a:lnTo>
                  <a:lnTo>
                    <a:pt x="368" y="962"/>
                  </a:lnTo>
                  <a:lnTo>
                    <a:pt x="366" y="978"/>
                  </a:lnTo>
                  <a:lnTo>
                    <a:pt x="362" y="992"/>
                  </a:lnTo>
                  <a:lnTo>
                    <a:pt x="356" y="1007"/>
                  </a:lnTo>
                  <a:lnTo>
                    <a:pt x="350" y="1022"/>
                  </a:lnTo>
                  <a:lnTo>
                    <a:pt x="341" y="1035"/>
                  </a:lnTo>
                  <a:lnTo>
                    <a:pt x="333" y="1048"/>
                  </a:lnTo>
                  <a:lnTo>
                    <a:pt x="322" y="1059"/>
                  </a:lnTo>
                  <a:lnTo>
                    <a:pt x="311" y="1070"/>
                  </a:lnTo>
                  <a:lnTo>
                    <a:pt x="298" y="1078"/>
                  </a:lnTo>
                  <a:lnTo>
                    <a:pt x="285" y="1087"/>
                  </a:lnTo>
                  <a:lnTo>
                    <a:pt x="270" y="1093"/>
                  </a:lnTo>
                  <a:lnTo>
                    <a:pt x="255" y="1099"/>
                  </a:lnTo>
                  <a:lnTo>
                    <a:pt x="241" y="1103"/>
                  </a:lnTo>
                  <a:lnTo>
                    <a:pt x="225" y="1105"/>
                  </a:lnTo>
                  <a:lnTo>
                    <a:pt x="207" y="1106"/>
                  </a:lnTo>
                  <a:lnTo>
                    <a:pt x="192" y="1105"/>
                  </a:lnTo>
                  <a:lnTo>
                    <a:pt x="176" y="1103"/>
                  </a:lnTo>
                  <a:lnTo>
                    <a:pt x="160" y="1099"/>
                  </a:lnTo>
                  <a:lnTo>
                    <a:pt x="145" y="1093"/>
                  </a:lnTo>
                  <a:lnTo>
                    <a:pt x="131" y="1087"/>
                  </a:lnTo>
                  <a:lnTo>
                    <a:pt x="118" y="1078"/>
                  </a:lnTo>
                  <a:lnTo>
                    <a:pt x="106" y="1070"/>
                  </a:lnTo>
                  <a:lnTo>
                    <a:pt x="93" y="1059"/>
                  </a:lnTo>
                  <a:lnTo>
                    <a:pt x="84" y="1048"/>
                  </a:lnTo>
                  <a:lnTo>
                    <a:pt x="74" y="1035"/>
                  </a:lnTo>
                  <a:lnTo>
                    <a:pt x="66" y="1022"/>
                  </a:lnTo>
                  <a:lnTo>
                    <a:pt x="59" y="1007"/>
                  </a:lnTo>
                  <a:lnTo>
                    <a:pt x="54" y="992"/>
                  </a:lnTo>
                  <a:lnTo>
                    <a:pt x="50" y="978"/>
                  </a:lnTo>
                  <a:lnTo>
                    <a:pt x="48" y="962"/>
                  </a:lnTo>
                  <a:lnTo>
                    <a:pt x="47" y="945"/>
                  </a:lnTo>
                  <a:close/>
                  <a:moveTo>
                    <a:pt x="876" y="47"/>
                  </a:moveTo>
                  <a:lnTo>
                    <a:pt x="891" y="47"/>
                  </a:lnTo>
                  <a:lnTo>
                    <a:pt x="904" y="48"/>
                  </a:lnTo>
                  <a:lnTo>
                    <a:pt x="918" y="49"/>
                  </a:lnTo>
                  <a:lnTo>
                    <a:pt x="931" y="52"/>
                  </a:lnTo>
                  <a:lnTo>
                    <a:pt x="945" y="55"/>
                  </a:lnTo>
                  <a:lnTo>
                    <a:pt x="958" y="59"/>
                  </a:lnTo>
                  <a:lnTo>
                    <a:pt x="970" y="63"/>
                  </a:lnTo>
                  <a:lnTo>
                    <a:pt x="984" y="67"/>
                  </a:lnTo>
                  <a:lnTo>
                    <a:pt x="996" y="74"/>
                  </a:lnTo>
                  <a:lnTo>
                    <a:pt x="1007" y="80"/>
                  </a:lnTo>
                  <a:lnTo>
                    <a:pt x="1019" y="86"/>
                  </a:lnTo>
                  <a:lnTo>
                    <a:pt x="1030" y="93"/>
                  </a:lnTo>
                  <a:lnTo>
                    <a:pt x="1042" y="101"/>
                  </a:lnTo>
                  <a:lnTo>
                    <a:pt x="1051" y="109"/>
                  </a:lnTo>
                  <a:lnTo>
                    <a:pt x="1061" y="118"/>
                  </a:lnTo>
                  <a:lnTo>
                    <a:pt x="1071" y="128"/>
                  </a:lnTo>
                  <a:lnTo>
                    <a:pt x="1081" y="136"/>
                  </a:lnTo>
                  <a:lnTo>
                    <a:pt x="1089" y="147"/>
                  </a:lnTo>
                  <a:lnTo>
                    <a:pt x="1098" y="157"/>
                  </a:lnTo>
                  <a:lnTo>
                    <a:pt x="1105" y="168"/>
                  </a:lnTo>
                  <a:lnTo>
                    <a:pt x="1113" y="179"/>
                  </a:lnTo>
                  <a:lnTo>
                    <a:pt x="1119" y="191"/>
                  </a:lnTo>
                  <a:lnTo>
                    <a:pt x="1125" y="202"/>
                  </a:lnTo>
                  <a:lnTo>
                    <a:pt x="1131" y="215"/>
                  </a:lnTo>
                  <a:lnTo>
                    <a:pt x="1136" y="228"/>
                  </a:lnTo>
                  <a:lnTo>
                    <a:pt x="1140" y="240"/>
                  </a:lnTo>
                  <a:lnTo>
                    <a:pt x="1143" y="254"/>
                  </a:lnTo>
                  <a:lnTo>
                    <a:pt x="1147" y="267"/>
                  </a:lnTo>
                  <a:lnTo>
                    <a:pt x="1149" y="281"/>
                  </a:lnTo>
                  <a:lnTo>
                    <a:pt x="1151" y="294"/>
                  </a:lnTo>
                  <a:lnTo>
                    <a:pt x="1152" y="308"/>
                  </a:lnTo>
                  <a:lnTo>
                    <a:pt x="1152" y="323"/>
                  </a:lnTo>
                  <a:lnTo>
                    <a:pt x="1152" y="339"/>
                  </a:lnTo>
                  <a:lnTo>
                    <a:pt x="1151" y="355"/>
                  </a:lnTo>
                  <a:lnTo>
                    <a:pt x="1148" y="369"/>
                  </a:lnTo>
                  <a:lnTo>
                    <a:pt x="1146" y="384"/>
                  </a:lnTo>
                  <a:lnTo>
                    <a:pt x="1142" y="399"/>
                  </a:lnTo>
                  <a:lnTo>
                    <a:pt x="1137" y="413"/>
                  </a:lnTo>
                  <a:lnTo>
                    <a:pt x="1131" y="428"/>
                  </a:lnTo>
                  <a:lnTo>
                    <a:pt x="1125" y="442"/>
                  </a:lnTo>
                  <a:lnTo>
                    <a:pt x="1119" y="455"/>
                  </a:lnTo>
                  <a:lnTo>
                    <a:pt x="1111" y="467"/>
                  </a:lnTo>
                  <a:lnTo>
                    <a:pt x="1103" y="480"/>
                  </a:lnTo>
                  <a:lnTo>
                    <a:pt x="1094" y="492"/>
                  </a:lnTo>
                  <a:lnTo>
                    <a:pt x="1084" y="503"/>
                  </a:lnTo>
                  <a:lnTo>
                    <a:pt x="1075" y="514"/>
                  </a:lnTo>
                  <a:lnTo>
                    <a:pt x="1064" y="525"/>
                  </a:lnTo>
                  <a:lnTo>
                    <a:pt x="1053" y="535"/>
                  </a:lnTo>
                  <a:lnTo>
                    <a:pt x="1022" y="557"/>
                  </a:lnTo>
                  <a:lnTo>
                    <a:pt x="1006" y="565"/>
                  </a:lnTo>
                  <a:lnTo>
                    <a:pt x="989" y="574"/>
                  </a:lnTo>
                  <a:lnTo>
                    <a:pt x="972" y="581"/>
                  </a:lnTo>
                  <a:lnTo>
                    <a:pt x="953" y="588"/>
                  </a:lnTo>
                  <a:lnTo>
                    <a:pt x="935" y="592"/>
                  </a:lnTo>
                  <a:lnTo>
                    <a:pt x="915" y="596"/>
                  </a:lnTo>
                  <a:lnTo>
                    <a:pt x="896" y="599"/>
                  </a:lnTo>
                  <a:lnTo>
                    <a:pt x="876" y="599"/>
                  </a:lnTo>
                  <a:lnTo>
                    <a:pt x="861" y="599"/>
                  </a:lnTo>
                  <a:lnTo>
                    <a:pt x="848" y="597"/>
                  </a:lnTo>
                  <a:lnTo>
                    <a:pt x="834" y="596"/>
                  </a:lnTo>
                  <a:lnTo>
                    <a:pt x="821" y="594"/>
                  </a:lnTo>
                  <a:lnTo>
                    <a:pt x="807" y="590"/>
                  </a:lnTo>
                  <a:lnTo>
                    <a:pt x="794" y="586"/>
                  </a:lnTo>
                  <a:lnTo>
                    <a:pt x="781" y="583"/>
                  </a:lnTo>
                  <a:lnTo>
                    <a:pt x="768" y="578"/>
                  </a:lnTo>
                  <a:lnTo>
                    <a:pt x="756" y="572"/>
                  </a:lnTo>
                  <a:lnTo>
                    <a:pt x="745" y="565"/>
                  </a:lnTo>
                  <a:lnTo>
                    <a:pt x="732" y="559"/>
                  </a:lnTo>
                  <a:lnTo>
                    <a:pt x="721" y="552"/>
                  </a:lnTo>
                  <a:lnTo>
                    <a:pt x="710" y="545"/>
                  </a:lnTo>
                  <a:lnTo>
                    <a:pt x="701" y="536"/>
                  </a:lnTo>
                  <a:lnTo>
                    <a:pt x="691" y="527"/>
                  </a:lnTo>
                  <a:lnTo>
                    <a:pt x="681" y="518"/>
                  </a:lnTo>
                  <a:lnTo>
                    <a:pt x="671" y="508"/>
                  </a:lnTo>
                  <a:lnTo>
                    <a:pt x="663" y="498"/>
                  </a:lnTo>
                  <a:lnTo>
                    <a:pt x="654" y="488"/>
                  </a:lnTo>
                  <a:lnTo>
                    <a:pt x="647" y="477"/>
                  </a:lnTo>
                  <a:lnTo>
                    <a:pt x="639" y="466"/>
                  </a:lnTo>
                  <a:lnTo>
                    <a:pt x="633" y="454"/>
                  </a:lnTo>
                  <a:lnTo>
                    <a:pt x="627" y="443"/>
                  </a:lnTo>
                  <a:lnTo>
                    <a:pt x="621" y="431"/>
                  </a:lnTo>
                  <a:lnTo>
                    <a:pt x="616" y="417"/>
                  </a:lnTo>
                  <a:lnTo>
                    <a:pt x="612" y="405"/>
                  </a:lnTo>
                  <a:lnTo>
                    <a:pt x="609" y="391"/>
                  </a:lnTo>
                  <a:lnTo>
                    <a:pt x="605" y="378"/>
                  </a:lnTo>
                  <a:lnTo>
                    <a:pt x="602" y="364"/>
                  </a:lnTo>
                  <a:lnTo>
                    <a:pt x="601" y="351"/>
                  </a:lnTo>
                  <a:lnTo>
                    <a:pt x="600" y="337"/>
                  </a:lnTo>
                  <a:lnTo>
                    <a:pt x="600" y="323"/>
                  </a:lnTo>
                  <a:lnTo>
                    <a:pt x="600" y="308"/>
                  </a:lnTo>
                  <a:lnTo>
                    <a:pt x="601" y="294"/>
                  </a:lnTo>
                  <a:lnTo>
                    <a:pt x="602" y="281"/>
                  </a:lnTo>
                  <a:lnTo>
                    <a:pt x="605" y="267"/>
                  </a:lnTo>
                  <a:lnTo>
                    <a:pt x="609" y="254"/>
                  </a:lnTo>
                  <a:lnTo>
                    <a:pt x="612" y="240"/>
                  </a:lnTo>
                  <a:lnTo>
                    <a:pt x="616" y="228"/>
                  </a:lnTo>
                  <a:lnTo>
                    <a:pt x="621" y="215"/>
                  </a:lnTo>
                  <a:lnTo>
                    <a:pt x="627" y="202"/>
                  </a:lnTo>
                  <a:lnTo>
                    <a:pt x="633" y="191"/>
                  </a:lnTo>
                  <a:lnTo>
                    <a:pt x="639" y="179"/>
                  </a:lnTo>
                  <a:lnTo>
                    <a:pt x="647" y="168"/>
                  </a:lnTo>
                  <a:lnTo>
                    <a:pt x="654" y="157"/>
                  </a:lnTo>
                  <a:lnTo>
                    <a:pt x="663" y="147"/>
                  </a:lnTo>
                  <a:lnTo>
                    <a:pt x="671" y="136"/>
                  </a:lnTo>
                  <a:lnTo>
                    <a:pt x="681" y="128"/>
                  </a:lnTo>
                  <a:lnTo>
                    <a:pt x="691" y="118"/>
                  </a:lnTo>
                  <a:lnTo>
                    <a:pt x="701" y="109"/>
                  </a:lnTo>
                  <a:lnTo>
                    <a:pt x="710" y="101"/>
                  </a:lnTo>
                  <a:lnTo>
                    <a:pt x="721" y="93"/>
                  </a:lnTo>
                  <a:lnTo>
                    <a:pt x="732" y="86"/>
                  </a:lnTo>
                  <a:lnTo>
                    <a:pt x="745" y="80"/>
                  </a:lnTo>
                  <a:lnTo>
                    <a:pt x="756" y="74"/>
                  </a:lnTo>
                  <a:lnTo>
                    <a:pt x="768" y="67"/>
                  </a:lnTo>
                  <a:lnTo>
                    <a:pt x="781" y="63"/>
                  </a:lnTo>
                  <a:lnTo>
                    <a:pt x="794" y="59"/>
                  </a:lnTo>
                  <a:lnTo>
                    <a:pt x="807" y="55"/>
                  </a:lnTo>
                  <a:lnTo>
                    <a:pt x="821" y="52"/>
                  </a:lnTo>
                  <a:lnTo>
                    <a:pt x="834" y="49"/>
                  </a:lnTo>
                  <a:lnTo>
                    <a:pt x="848" y="48"/>
                  </a:lnTo>
                  <a:lnTo>
                    <a:pt x="861" y="47"/>
                  </a:lnTo>
                  <a:lnTo>
                    <a:pt x="876" y="47"/>
                  </a:lnTo>
                  <a:close/>
                  <a:moveTo>
                    <a:pt x="1198" y="323"/>
                  </a:moveTo>
                  <a:lnTo>
                    <a:pt x="1198" y="305"/>
                  </a:lnTo>
                  <a:lnTo>
                    <a:pt x="1197" y="289"/>
                  </a:lnTo>
                  <a:lnTo>
                    <a:pt x="1195" y="274"/>
                  </a:lnTo>
                  <a:lnTo>
                    <a:pt x="1192" y="258"/>
                  </a:lnTo>
                  <a:lnTo>
                    <a:pt x="1189" y="242"/>
                  </a:lnTo>
                  <a:lnTo>
                    <a:pt x="1184" y="227"/>
                  </a:lnTo>
                  <a:lnTo>
                    <a:pt x="1179" y="212"/>
                  </a:lnTo>
                  <a:lnTo>
                    <a:pt x="1173" y="197"/>
                  </a:lnTo>
                  <a:lnTo>
                    <a:pt x="1167" y="183"/>
                  </a:lnTo>
                  <a:lnTo>
                    <a:pt x="1159" y="169"/>
                  </a:lnTo>
                  <a:lnTo>
                    <a:pt x="1152" y="156"/>
                  </a:lnTo>
                  <a:lnTo>
                    <a:pt x="1143" y="142"/>
                  </a:lnTo>
                  <a:lnTo>
                    <a:pt x="1135" y="130"/>
                  </a:lnTo>
                  <a:lnTo>
                    <a:pt x="1125" y="118"/>
                  </a:lnTo>
                  <a:lnTo>
                    <a:pt x="1115" y="105"/>
                  </a:lnTo>
                  <a:lnTo>
                    <a:pt x="1104" y="94"/>
                  </a:lnTo>
                  <a:lnTo>
                    <a:pt x="1093" y="83"/>
                  </a:lnTo>
                  <a:lnTo>
                    <a:pt x="1081" y="74"/>
                  </a:lnTo>
                  <a:lnTo>
                    <a:pt x="1068" y="64"/>
                  </a:lnTo>
                  <a:lnTo>
                    <a:pt x="1056" y="55"/>
                  </a:lnTo>
                  <a:lnTo>
                    <a:pt x="1043" y="47"/>
                  </a:lnTo>
                  <a:lnTo>
                    <a:pt x="1029" y="39"/>
                  </a:lnTo>
                  <a:lnTo>
                    <a:pt x="1016" y="32"/>
                  </a:lnTo>
                  <a:lnTo>
                    <a:pt x="1001" y="26"/>
                  </a:lnTo>
                  <a:lnTo>
                    <a:pt x="986" y="20"/>
                  </a:lnTo>
                  <a:lnTo>
                    <a:pt x="972" y="15"/>
                  </a:lnTo>
                  <a:lnTo>
                    <a:pt x="957" y="10"/>
                  </a:lnTo>
                  <a:lnTo>
                    <a:pt x="941" y="6"/>
                  </a:lnTo>
                  <a:lnTo>
                    <a:pt x="925" y="4"/>
                  </a:lnTo>
                  <a:lnTo>
                    <a:pt x="909" y="1"/>
                  </a:lnTo>
                  <a:lnTo>
                    <a:pt x="893" y="0"/>
                  </a:lnTo>
                  <a:lnTo>
                    <a:pt x="876" y="0"/>
                  </a:lnTo>
                  <a:lnTo>
                    <a:pt x="856" y="0"/>
                  </a:lnTo>
                  <a:lnTo>
                    <a:pt x="837" y="2"/>
                  </a:lnTo>
                  <a:lnTo>
                    <a:pt x="818" y="5"/>
                  </a:lnTo>
                  <a:lnTo>
                    <a:pt x="800" y="9"/>
                  </a:lnTo>
                  <a:lnTo>
                    <a:pt x="781" y="15"/>
                  </a:lnTo>
                  <a:lnTo>
                    <a:pt x="764" y="20"/>
                  </a:lnTo>
                  <a:lnTo>
                    <a:pt x="747" y="27"/>
                  </a:lnTo>
                  <a:lnTo>
                    <a:pt x="730" y="36"/>
                  </a:lnTo>
                  <a:lnTo>
                    <a:pt x="714" y="44"/>
                  </a:lnTo>
                  <a:lnTo>
                    <a:pt x="698" y="54"/>
                  </a:lnTo>
                  <a:lnTo>
                    <a:pt x="683" y="64"/>
                  </a:lnTo>
                  <a:lnTo>
                    <a:pt x="669" y="76"/>
                  </a:lnTo>
                  <a:lnTo>
                    <a:pt x="655" y="88"/>
                  </a:lnTo>
                  <a:lnTo>
                    <a:pt x="643" y="101"/>
                  </a:lnTo>
                  <a:lnTo>
                    <a:pt x="631" y="114"/>
                  </a:lnTo>
                  <a:lnTo>
                    <a:pt x="620" y="129"/>
                  </a:lnTo>
                  <a:lnTo>
                    <a:pt x="618" y="129"/>
                  </a:lnTo>
                  <a:lnTo>
                    <a:pt x="618" y="129"/>
                  </a:lnTo>
                  <a:lnTo>
                    <a:pt x="59" y="801"/>
                  </a:lnTo>
                  <a:lnTo>
                    <a:pt x="59" y="801"/>
                  </a:lnTo>
                  <a:lnTo>
                    <a:pt x="59" y="801"/>
                  </a:lnTo>
                  <a:lnTo>
                    <a:pt x="46" y="816"/>
                  </a:lnTo>
                  <a:lnTo>
                    <a:pt x="35" y="832"/>
                  </a:lnTo>
                  <a:lnTo>
                    <a:pt x="25" y="848"/>
                  </a:lnTo>
                  <a:lnTo>
                    <a:pt x="16" y="866"/>
                  </a:lnTo>
                  <a:lnTo>
                    <a:pt x="10" y="884"/>
                  </a:lnTo>
                  <a:lnTo>
                    <a:pt x="5" y="904"/>
                  </a:lnTo>
                  <a:lnTo>
                    <a:pt x="1" y="924"/>
                  </a:lnTo>
                  <a:lnTo>
                    <a:pt x="0" y="945"/>
                  </a:lnTo>
                  <a:lnTo>
                    <a:pt x="1" y="965"/>
                  </a:lnTo>
                  <a:lnTo>
                    <a:pt x="5" y="986"/>
                  </a:lnTo>
                  <a:lnTo>
                    <a:pt x="10" y="1006"/>
                  </a:lnTo>
                  <a:lnTo>
                    <a:pt x="17" y="1025"/>
                  </a:lnTo>
                  <a:lnTo>
                    <a:pt x="26" y="1044"/>
                  </a:lnTo>
                  <a:lnTo>
                    <a:pt x="36" y="1061"/>
                  </a:lnTo>
                  <a:lnTo>
                    <a:pt x="48" y="1077"/>
                  </a:lnTo>
                  <a:lnTo>
                    <a:pt x="62" y="1092"/>
                  </a:lnTo>
                  <a:lnTo>
                    <a:pt x="76" y="1104"/>
                  </a:lnTo>
                  <a:lnTo>
                    <a:pt x="92" y="1116"/>
                  </a:lnTo>
                  <a:lnTo>
                    <a:pt x="109" y="1127"/>
                  </a:lnTo>
                  <a:lnTo>
                    <a:pt x="128" y="1136"/>
                  </a:lnTo>
                  <a:lnTo>
                    <a:pt x="146" y="1143"/>
                  </a:lnTo>
                  <a:lnTo>
                    <a:pt x="166" y="1148"/>
                  </a:lnTo>
                  <a:lnTo>
                    <a:pt x="187" y="1151"/>
                  </a:lnTo>
                  <a:lnTo>
                    <a:pt x="207" y="1152"/>
                  </a:lnTo>
                  <a:lnTo>
                    <a:pt x="227" y="1151"/>
                  </a:lnTo>
                  <a:lnTo>
                    <a:pt x="246" y="1148"/>
                  </a:lnTo>
                  <a:lnTo>
                    <a:pt x="264" y="1144"/>
                  </a:lnTo>
                  <a:lnTo>
                    <a:pt x="281" y="1138"/>
                  </a:lnTo>
                  <a:lnTo>
                    <a:pt x="298" y="1131"/>
                  </a:lnTo>
                  <a:lnTo>
                    <a:pt x="314" y="1122"/>
                  </a:lnTo>
                  <a:lnTo>
                    <a:pt x="329" y="1113"/>
                  </a:lnTo>
                  <a:lnTo>
                    <a:pt x="342" y="1102"/>
                  </a:lnTo>
                  <a:lnTo>
                    <a:pt x="342" y="1102"/>
                  </a:lnTo>
                  <a:lnTo>
                    <a:pt x="344" y="1102"/>
                  </a:lnTo>
                  <a:lnTo>
                    <a:pt x="1049" y="595"/>
                  </a:lnTo>
                  <a:lnTo>
                    <a:pt x="1066" y="583"/>
                  </a:lnTo>
                  <a:lnTo>
                    <a:pt x="1082" y="570"/>
                  </a:lnTo>
                  <a:lnTo>
                    <a:pt x="1083" y="570"/>
                  </a:lnTo>
                  <a:lnTo>
                    <a:pt x="1083" y="569"/>
                  </a:lnTo>
                  <a:lnTo>
                    <a:pt x="1084" y="568"/>
                  </a:lnTo>
                  <a:lnTo>
                    <a:pt x="1097" y="557"/>
                  </a:lnTo>
                  <a:lnTo>
                    <a:pt x="1109" y="545"/>
                  </a:lnTo>
                  <a:lnTo>
                    <a:pt x="1121" y="532"/>
                  </a:lnTo>
                  <a:lnTo>
                    <a:pt x="1131" y="519"/>
                  </a:lnTo>
                  <a:lnTo>
                    <a:pt x="1142" y="505"/>
                  </a:lnTo>
                  <a:lnTo>
                    <a:pt x="1151" y="491"/>
                  </a:lnTo>
                  <a:lnTo>
                    <a:pt x="1159" y="476"/>
                  </a:lnTo>
                  <a:lnTo>
                    <a:pt x="1168" y="460"/>
                  </a:lnTo>
                  <a:lnTo>
                    <a:pt x="1174" y="444"/>
                  </a:lnTo>
                  <a:lnTo>
                    <a:pt x="1180" y="428"/>
                  </a:lnTo>
                  <a:lnTo>
                    <a:pt x="1186" y="411"/>
                  </a:lnTo>
                  <a:lnTo>
                    <a:pt x="1190" y="394"/>
                  </a:lnTo>
                  <a:lnTo>
                    <a:pt x="1194" y="377"/>
                  </a:lnTo>
                  <a:lnTo>
                    <a:pt x="1196" y="359"/>
                  </a:lnTo>
                  <a:lnTo>
                    <a:pt x="1198" y="341"/>
                  </a:lnTo>
                  <a:lnTo>
                    <a:pt x="1198"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5" name="Group 49">
            <a:extLst>
              <a:ext uri="{FF2B5EF4-FFF2-40B4-BE49-F238E27FC236}">
                <a16:creationId xmlns:a16="http://schemas.microsoft.com/office/drawing/2014/main" id="{38368811-FBB0-462E-AA28-1FB82740D3D0}"/>
              </a:ext>
            </a:extLst>
          </p:cNvPr>
          <p:cNvGrpSpPr>
            <a:grpSpLocks noChangeAspect="1"/>
          </p:cNvGrpSpPr>
          <p:nvPr/>
        </p:nvGrpSpPr>
        <p:grpSpPr>
          <a:xfrm>
            <a:off x="3193050" y="5413481"/>
            <a:ext cx="304790" cy="314674"/>
            <a:chOff x="946151" y="3240088"/>
            <a:chExt cx="293688" cy="303213"/>
          </a:xfrm>
          <a:solidFill>
            <a:schemeClr val="bg2"/>
          </a:solidFill>
          <a:effectLst/>
        </p:grpSpPr>
        <p:sp>
          <p:nvSpPr>
            <p:cNvPr id="1036" name="Freeform 57">
              <a:extLst>
                <a:ext uri="{FF2B5EF4-FFF2-40B4-BE49-F238E27FC236}">
                  <a16:creationId xmlns:a16="http://schemas.microsoft.com/office/drawing/2014/main" id="{C6D24E80-8A6C-42BB-A957-0F7B6438DF9C}"/>
                </a:ext>
              </a:extLst>
            </p:cNvPr>
            <p:cNvSpPr>
              <a:spLocks noEditPoints="1"/>
            </p:cNvSpPr>
            <p:nvPr/>
          </p:nvSpPr>
          <p:spPr bwMode="auto">
            <a:xfrm>
              <a:off x="1066801" y="3240088"/>
              <a:ext cx="173038" cy="171450"/>
            </a:xfrm>
            <a:custGeom>
              <a:avLst/>
              <a:gdLst>
                <a:gd name="T0" fmla="*/ 326 w 435"/>
                <a:gd name="T1" fmla="*/ 327 h 432"/>
                <a:gd name="T2" fmla="*/ 296 w 435"/>
                <a:gd name="T3" fmla="*/ 346 h 432"/>
                <a:gd name="T4" fmla="*/ 259 w 435"/>
                <a:gd name="T5" fmla="*/ 368 h 432"/>
                <a:gd name="T6" fmla="*/ 186 w 435"/>
                <a:gd name="T7" fmla="*/ 406 h 432"/>
                <a:gd name="T8" fmla="*/ 180 w 435"/>
                <a:gd name="T9" fmla="*/ 363 h 432"/>
                <a:gd name="T10" fmla="*/ 150 w 435"/>
                <a:gd name="T11" fmla="*/ 353 h 432"/>
                <a:gd name="T12" fmla="*/ 116 w 435"/>
                <a:gd name="T13" fmla="*/ 328 h 432"/>
                <a:gd name="T14" fmla="*/ 65 w 435"/>
                <a:gd name="T15" fmla="*/ 350 h 432"/>
                <a:gd name="T16" fmla="*/ 73 w 435"/>
                <a:gd name="T17" fmla="*/ 261 h 432"/>
                <a:gd name="T18" fmla="*/ 70 w 435"/>
                <a:gd name="T19" fmla="*/ 222 h 432"/>
                <a:gd name="T20" fmla="*/ 73 w 435"/>
                <a:gd name="T21" fmla="*/ 182 h 432"/>
                <a:gd name="T22" fmla="*/ 66 w 435"/>
                <a:gd name="T23" fmla="*/ 93 h 432"/>
                <a:gd name="T24" fmla="*/ 117 w 435"/>
                <a:gd name="T25" fmla="*/ 114 h 432"/>
                <a:gd name="T26" fmla="*/ 150 w 435"/>
                <a:gd name="T27" fmla="*/ 90 h 432"/>
                <a:gd name="T28" fmla="*/ 180 w 435"/>
                <a:gd name="T29" fmla="*/ 79 h 432"/>
                <a:gd name="T30" fmla="*/ 186 w 435"/>
                <a:gd name="T31" fmla="*/ 25 h 432"/>
                <a:gd name="T32" fmla="*/ 259 w 435"/>
                <a:gd name="T33" fmla="*/ 75 h 432"/>
                <a:gd name="T34" fmla="*/ 296 w 435"/>
                <a:gd name="T35" fmla="*/ 96 h 432"/>
                <a:gd name="T36" fmla="*/ 326 w 435"/>
                <a:gd name="T37" fmla="*/ 115 h 432"/>
                <a:gd name="T38" fmla="*/ 405 w 435"/>
                <a:gd name="T39" fmla="*/ 154 h 432"/>
                <a:gd name="T40" fmla="*/ 362 w 435"/>
                <a:gd name="T41" fmla="*/ 185 h 432"/>
                <a:gd name="T42" fmla="*/ 365 w 435"/>
                <a:gd name="T43" fmla="*/ 238 h 432"/>
                <a:gd name="T44" fmla="*/ 365 w 435"/>
                <a:gd name="T45" fmla="*/ 265 h 432"/>
                <a:gd name="T46" fmla="*/ 428 w 435"/>
                <a:gd name="T47" fmla="*/ 272 h 432"/>
                <a:gd name="T48" fmla="*/ 389 w 435"/>
                <a:gd name="T49" fmla="*/ 207 h 432"/>
                <a:gd name="T50" fmla="*/ 435 w 435"/>
                <a:gd name="T51" fmla="*/ 161 h 432"/>
                <a:gd name="T52" fmla="*/ 382 w 435"/>
                <a:gd name="T53" fmla="*/ 65 h 432"/>
                <a:gd name="T54" fmla="*/ 329 w 435"/>
                <a:gd name="T55" fmla="*/ 88 h 432"/>
                <a:gd name="T56" fmla="*/ 282 w 435"/>
                <a:gd name="T57" fmla="*/ 59 h 432"/>
                <a:gd name="T58" fmla="*/ 275 w 435"/>
                <a:gd name="T59" fmla="*/ 2 h 432"/>
                <a:gd name="T60" fmla="*/ 164 w 435"/>
                <a:gd name="T61" fmla="*/ 4 h 432"/>
                <a:gd name="T62" fmla="*/ 152 w 435"/>
                <a:gd name="T63" fmla="*/ 62 h 432"/>
                <a:gd name="T64" fmla="*/ 119 w 435"/>
                <a:gd name="T65" fmla="*/ 79 h 432"/>
                <a:gd name="T66" fmla="*/ 59 w 435"/>
                <a:gd name="T67" fmla="*/ 63 h 432"/>
                <a:gd name="T68" fmla="*/ 1 w 435"/>
                <a:gd name="T69" fmla="*/ 157 h 432"/>
                <a:gd name="T70" fmla="*/ 5 w 435"/>
                <a:gd name="T71" fmla="*/ 168 h 432"/>
                <a:gd name="T72" fmla="*/ 44 w 435"/>
                <a:gd name="T73" fmla="*/ 221 h 432"/>
                <a:gd name="T74" fmla="*/ 3 w 435"/>
                <a:gd name="T75" fmla="*/ 276 h 432"/>
                <a:gd name="T76" fmla="*/ 49 w 435"/>
                <a:gd name="T77" fmla="*/ 373 h 432"/>
                <a:gd name="T78" fmla="*/ 67 w 435"/>
                <a:gd name="T79" fmla="*/ 378 h 432"/>
                <a:gd name="T80" fmla="*/ 144 w 435"/>
                <a:gd name="T81" fmla="*/ 378 h 432"/>
                <a:gd name="T82" fmla="*/ 164 w 435"/>
                <a:gd name="T83" fmla="*/ 428 h 432"/>
                <a:gd name="T84" fmla="*/ 275 w 435"/>
                <a:gd name="T85" fmla="*/ 431 h 432"/>
                <a:gd name="T86" fmla="*/ 282 w 435"/>
                <a:gd name="T87" fmla="*/ 382 h 432"/>
                <a:gd name="T88" fmla="*/ 329 w 435"/>
                <a:gd name="T89" fmla="*/ 356 h 432"/>
                <a:gd name="T90" fmla="*/ 380 w 435"/>
                <a:gd name="T91" fmla="*/ 378 h 432"/>
                <a:gd name="T92" fmla="*/ 434 w 435"/>
                <a:gd name="T93" fmla="*/ 290 h 432"/>
                <a:gd name="T94" fmla="*/ 428 w 435"/>
                <a:gd name="T95" fmla="*/ 27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5" h="432">
                  <a:moveTo>
                    <a:pt x="369" y="350"/>
                  </a:moveTo>
                  <a:lnTo>
                    <a:pt x="335" y="329"/>
                  </a:lnTo>
                  <a:lnTo>
                    <a:pt x="330" y="327"/>
                  </a:lnTo>
                  <a:lnTo>
                    <a:pt x="326" y="327"/>
                  </a:lnTo>
                  <a:lnTo>
                    <a:pt x="323" y="328"/>
                  </a:lnTo>
                  <a:lnTo>
                    <a:pt x="319" y="330"/>
                  </a:lnTo>
                  <a:lnTo>
                    <a:pt x="309" y="339"/>
                  </a:lnTo>
                  <a:lnTo>
                    <a:pt x="296" y="346"/>
                  </a:lnTo>
                  <a:lnTo>
                    <a:pt x="281" y="355"/>
                  </a:lnTo>
                  <a:lnTo>
                    <a:pt x="264" y="363"/>
                  </a:lnTo>
                  <a:lnTo>
                    <a:pt x="261" y="364"/>
                  </a:lnTo>
                  <a:lnTo>
                    <a:pt x="259" y="368"/>
                  </a:lnTo>
                  <a:lnTo>
                    <a:pt x="257" y="371"/>
                  </a:lnTo>
                  <a:lnTo>
                    <a:pt x="256" y="374"/>
                  </a:lnTo>
                  <a:lnTo>
                    <a:pt x="256" y="406"/>
                  </a:lnTo>
                  <a:lnTo>
                    <a:pt x="186" y="406"/>
                  </a:lnTo>
                  <a:lnTo>
                    <a:pt x="186" y="374"/>
                  </a:lnTo>
                  <a:lnTo>
                    <a:pt x="186" y="370"/>
                  </a:lnTo>
                  <a:lnTo>
                    <a:pt x="183" y="367"/>
                  </a:lnTo>
                  <a:lnTo>
                    <a:pt x="180" y="363"/>
                  </a:lnTo>
                  <a:lnTo>
                    <a:pt x="176" y="361"/>
                  </a:lnTo>
                  <a:lnTo>
                    <a:pt x="166" y="359"/>
                  </a:lnTo>
                  <a:lnTo>
                    <a:pt x="158" y="356"/>
                  </a:lnTo>
                  <a:lnTo>
                    <a:pt x="150" y="353"/>
                  </a:lnTo>
                  <a:lnTo>
                    <a:pt x="144" y="349"/>
                  </a:lnTo>
                  <a:lnTo>
                    <a:pt x="132" y="341"/>
                  </a:lnTo>
                  <a:lnTo>
                    <a:pt x="120" y="330"/>
                  </a:lnTo>
                  <a:lnTo>
                    <a:pt x="116" y="328"/>
                  </a:lnTo>
                  <a:lnTo>
                    <a:pt x="112" y="327"/>
                  </a:lnTo>
                  <a:lnTo>
                    <a:pt x="108" y="327"/>
                  </a:lnTo>
                  <a:lnTo>
                    <a:pt x="105" y="329"/>
                  </a:lnTo>
                  <a:lnTo>
                    <a:pt x="65" y="350"/>
                  </a:lnTo>
                  <a:lnTo>
                    <a:pt x="30" y="289"/>
                  </a:lnTo>
                  <a:lnTo>
                    <a:pt x="67" y="268"/>
                  </a:lnTo>
                  <a:lnTo>
                    <a:pt x="71" y="265"/>
                  </a:lnTo>
                  <a:lnTo>
                    <a:pt x="73" y="261"/>
                  </a:lnTo>
                  <a:lnTo>
                    <a:pt x="74" y="257"/>
                  </a:lnTo>
                  <a:lnTo>
                    <a:pt x="73" y="254"/>
                  </a:lnTo>
                  <a:lnTo>
                    <a:pt x="71" y="238"/>
                  </a:lnTo>
                  <a:lnTo>
                    <a:pt x="70" y="222"/>
                  </a:lnTo>
                  <a:lnTo>
                    <a:pt x="71" y="206"/>
                  </a:lnTo>
                  <a:lnTo>
                    <a:pt x="74" y="189"/>
                  </a:lnTo>
                  <a:lnTo>
                    <a:pt x="74" y="185"/>
                  </a:lnTo>
                  <a:lnTo>
                    <a:pt x="73" y="182"/>
                  </a:lnTo>
                  <a:lnTo>
                    <a:pt x="71" y="179"/>
                  </a:lnTo>
                  <a:lnTo>
                    <a:pt x="67" y="175"/>
                  </a:lnTo>
                  <a:lnTo>
                    <a:pt x="31" y="154"/>
                  </a:lnTo>
                  <a:lnTo>
                    <a:pt x="66" y="93"/>
                  </a:lnTo>
                  <a:lnTo>
                    <a:pt x="105" y="114"/>
                  </a:lnTo>
                  <a:lnTo>
                    <a:pt x="108" y="116"/>
                  </a:lnTo>
                  <a:lnTo>
                    <a:pt x="112" y="115"/>
                  </a:lnTo>
                  <a:lnTo>
                    <a:pt x="117" y="114"/>
                  </a:lnTo>
                  <a:lnTo>
                    <a:pt x="120" y="112"/>
                  </a:lnTo>
                  <a:lnTo>
                    <a:pt x="132" y="101"/>
                  </a:lnTo>
                  <a:lnTo>
                    <a:pt x="144" y="93"/>
                  </a:lnTo>
                  <a:lnTo>
                    <a:pt x="150" y="90"/>
                  </a:lnTo>
                  <a:lnTo>
                    <a:pt x="158" y="86"/>
                  </a:lnTo>
                  <a:lnTo>
                    <a:pt x="166" y="83"/>
                  </a:lnTo>
                  <a:lnTo>
                    <a:pt x="176" y="80"/>
                  </a:lnTo>
                  <a:lnTo>
                    <a:pt x="180" y="79"/>
                  </a:lnTo>
                  <a:lnTo>
                    <a:pt x="183" y="76"/>
                  </a:lnTo>
                  <a:lnTo>
                    <a:pt x="186" y="72"/>
                  </a:lnTo>
                  <a:lnTo>
                    <a:pt x="186" y="68"/>
                  </a:lnTo>
                  <a:lnTo>
                    <a:pt x="186" y="25"/>
                  </a:lnTo>
                  <a:lnTo>
                    <a:pt x="256" y="25"/>
                  </a:lnTo>
                  <a:lnTo>
                    <a:pt x="256" y="68"/>
                  </a:lnTo>
                  <a:lnTo>
                    <a:pt x="257" y="71"/>
                  </a:lnTo>
                  <a:lnTo>
                    <a:pt x="259" y="75"/>
                  </a:lnTo>
                  <a:lnTo>
                    <a:pt x="261" y="78"/>
                  </a:lnTo>
                  <a:lnTo>
                    <a:pt x="264" y="80"/>
                  </a:lnTo>
                  <a:lnTo>
                    <a:pt x="281" y="88"/>
                  </a:lnTo>
                  <a:lnTo>
                    <a:pt x="296" y="96"/>
                  </a:lnTo>
                  <a:lnTo>
                    <a:pt x="309" y="105"/>
                  </a:lnTo>
                  <a:lnTo>
                    <a:pt x="319" y="112"/>
                  </a:lnTo>
                  <a:lnTo>
                    <a:pt x="323" y="114"/>
                  </a:lnTo>
                  <a:lnTo>
                    <a:pt x="326" y="115"/>
                  </a:lnTo>
                  <a:lnTo>
                    <a:pt x="330" y="115"/>
                  </a:lnTo>
                  <a:lnTo>
                    <a:pt x="335" y="113"/>
                  </a:lnTo>
                  <a:lnTo>
                    <a:pt x="369" y="93"/>
                  </a:lnTo>
                  <a:lnTo>
                    <a:pt x="405" y="154"/>
                  </a:lnTo>
                  <a:lnTo>
                    <a:pt x="368" y="175"/>
                  </a:lnTo>
                  <a:lnTo>
                    <a:pt x="365" y="179"/>
                  </a:lnTo>
                  <a:lnTo>
                    <a:pt x="363" y="182"/>
                  </a:lnTo>
                  <a:lnTo>
                    <a:pt x="362" y="185"/>
                  </a:lnTo>
                  <a:lnTo>
                    <a:pt x="362" y="189"/>
                  </a:lnTo>
                  <a:lnTo>
                    <a:pt x="364" y="206"/>
                  </a:lnTo>
                  <a:lnTo>
                    <a:pt x="365" y="222"/>
                  </a:lnTo>
                  <a:lnTo>
                    <a:pt x="365" y="238"/>
                  </a:lnTo>
                  <a:lnTo>
                    <a:pt x="362" y="254"/>
                  </a:lnTo>
                  <a:lnTo>
                    <a:pt x="362" y="257"/>
                  </a:lnTo>
                  <a:lnTo>
                    <a:pt x="363" y="261"/>
                  </a:lnTo>
                  <a:lnTo>
                    <a:pt x="365" y="265"/>
                  </a:lnTo>
                  <a:lnTo>
                    <a:pt x="368" y="268"/>
                  </a:lnTo>
                  <a:lnTo>
                    <a:pt x="405" y="289"/>
                  </a:lnTo>
                  <a:lnTo>
                    <a:pt x="369" y="350"/>
                  </a:lnTo>
                  <a:close/>
                  <a:moveTo>
                    <a:pt x="428" y="272"/>
                  </a:moveTo>
                  <a:lnTo>
                    <a:pt x="388" y="250"/>
                  </a:lnTo>
                  <a:lnTo>
                    <a:pt x="389" y="236"/>
                  </a:lnTo>
                  <a:lnTo>
                    <a:pt x="391" y="221"/>
                  </a:lnTo>
                  <a:lnTo>
                    <a:pt x="389" y="207"/>
                  </a:lnTo>
                  <a:lnTo>
                    <a:pt x="388" y="193"/>
                  </a:lnTo>
                  <a:lnTo>
                    <a:pt x="428" y="169"/>
                  </a:lnTo>
                  <a:lnTo>
                    <a:pt x="432" y="166"/>
                  </a:lnTo>
                  <a:lnTo>
                    <a:pt x="435" y="161"/>
                  </a:lnTo>
                  <a:lnTo>
                    <a:pt x="435" y="157"/>
                  </a:lnTo>
                  <a:lnTo>
                    <a:pt x="434" y="153"/>
                  </a:lnTo>
                  <a:lnTo>
                    <a:pt x="385" y="69"/>
                  </a:lnTo>
                  <a:lnTo>
                    <a:pt x="382" y="65"/>
                  </a:lnTo>
                  <a:lnTo>
                    <a:pt x="378" y="63"/>
                  </a:lnTo>
                  <a:lnTo>
                    <a:pt x="372" y="63"/>
                  </a:lnTo>
                  <a:lnTo>
                    <a:pt x="367" y="64"/>
                  </a:lnTo>
                  <a:lnTo>
                    <a:pt x="329" y="88"/>
                  </a:lnTo>
                  <a:lnTo>
                    <a:pt x="320" y="81"/>
                  </a:lnTo>
                  <a:lnTo>
                    <a:pt x="308" y="73"/>
                  </a:lnTo>
                  <a:lnTo>
                    <a:pt x="296" y="67"/>
                  </a:lnTo>
                  <a:lnTo>
                    <a:pt x="282" y="59"/>
                  </a:lnTo>
                  <a:lnTo>
                    <a:pt x="282" y="13"/>
                  </a:lnTo>
                  <a:lnTo>
                    <a:pt x="281" y="8"/>
                  </a:lnTo>
                  <a:lnTo>
                    <a:pt x="279" y="4"/>
                  </a:lnTo>
                  <a:lnTo>
                    <a:pt x="275" y="2"/>
                  </a:lnTo>
                  <a:lnTo>
                    <a:pt x="269" y="0"/>
                  </a:lnTo>
                  <a:lnTo>
                    <a:pt x="173" y="0"/>
                  </a:lnTo>
                  <a:lnTo>
                    <a:pt x="168" y="2"/>
                  </a:lnTo>
                  <a:lnTo>
                    <a:pt x="164" y="4"/>
                  </a:lnTo>
                  <a:lnTo>
                    <a:pt x="161" y="8"/>
                  </a:lnTo>
                  <a:lnTo>
                    <a:pt x="161" y="13"/>
                  </a:lnTo>
                  <a:lnTo>
                    <a:pt x="161" y="58"/>
                  </a:lnTo>
                  <a:lnTo>
                    <a:pt x="152" y="62"/>
                  </a:lnTo>
                  <a:lnTo>
                    <a:pt x="144" y="64"/>
                  </a:lnTo>
                  <a:lnTo>
                    <a:pt x="137" y="67"/>
                  </a:lnTo>
                  <a:lnTo>
                    <a:pt x="131" y="71"/>
                  </a:lnTo>
                  <a:lnTo>
                    <a:pt x="119" y="79"/>
                  </a:lnTo>
                  <a:lnTo>
                    <a:pt x="109" y="88"/>
                  </a:lnTo>
                  <a:lnTo>
                    <a:pt x="68" y="64"/>
                  </a:lnTo>
                  <a:lnTo>
                    <a:pt x="63" y="63"/>
                  </a:lnTo>
                  <a:lnTo>
                    <a:pt x="59" y="63"/>
                  </a:lnTo>
                  <a:lnTo>
                    <a:pt x="55" y="65"/>
                  </a:lnTo>
                  <a:lnTo>
                    <a:pt x="50" y="69"/>
                  </a:lnTo>
                  <a:lnTo>
                    <a:pt x="2" y="152"/>
                  </a:lnTo>
                  <a:lnTo>
                    <a:pt x="1" y="157"/>
                  </a:lnTo>
                  <a:lnTo>
                    <a:pt x="1" y="161"/>
                  </a:lnTo>
                  <a:lnTo>
                    <a:pt x="2" y="165"/>
                  </a:lnTo>
                  <a:lnTo>
                    <a:pt x="3" y="167"/>
                  </a:lnTo>
                  <a:lnTo>
                    <a:pt x="5" y="168"/>
                  </a:lnTo>
                  <a:lnTo>
                    <a:pt x="6" y="169"/>
                  </a:lnTo>
                  <a:lnTo>
                    <a:pt x="47" y="193"/>
                  </a:lnTo>
                  <a:lnTo>
                    <a:pt x="45" y="207"/>
                  </a:lnTo>
                  <a:lnTo>
                    <a:pt x="44" y="221"/>
                  </a:lnTo>
                  <a:lnTo>
                    <a:pt x="45" y="236"/>
                  </a:lnTo>
                  <a:lnTo>
                    <a:pt x="47" y="250"/>
                  </a:lnTo>
                  <a:lnTo>
                    <a:pt x="6" y="272"/>
                  </a:lnTo>
                  <a:lnTo>
                    <a:pt x="3" y="276"/>
                  </a:lnTo>
                  <a:lnTo>
                    <a:pt x="0" y="281"/>
                  </a:lnTo>
                  <a:lnTo>
                    <a:pt x="0" y="286"/>
                  </a:lnTo>
                  <a:lnTo>
                    <a:pt x="2" y="290"/>
                  </a:lnTo>
                  <a:lnTo>
                    <a:pt x="49" y="373"/>
                  </a:lnTo>
                  <a:lnTo>
                    <a:pt x="53" y="377"/>
                  </a:lnTo>
                  <a:lnTo>
                    <a:pt x="58" y="379"/>
                  </a:lnTo>
                  <a:lnTo>
                    <a:pt x="62" y="379"/>
                  </a:lnTo>
                  <a:lnTo>
                    <a:pt x="67" y="378"/>
                  </a:lnTo>
                  <a:lnTo>
                    <a:pt x="109" y="356"/>
                  </a:lnTo>
                  <a:lnTo>
                    <a:pt x="119" y="363"/>
                  </a:lnTo>
                  <a:lnTo>
                    <a:pt x="131" y="372"/>
                  </a:lnTo>
                  <a:lnTo>
                    <a:pt x="144" y="378"/>
                  </a:lnTo>
                  <a:lnTo>
                    <a:pt x="161" y="385"/>
                  </a:lnTo>
                  <a:lnTo>
                    <a:pt x="161" y="419"/>
                  </a:lnTo>
                  <a:lnTo>
                    <a:pt x="161" y="425"/>
                  </a:lnTo>
                  <a:lnTo>
                    <a:pt x="164" y="428"/>
                  </a:lnTo>
                  <a:lnTo>
                    <a:pt x="168" y="431"/>
                  </a:lnTo>
                  <a:lnTo>
                    <a:pt x="173" y="432"/>
                  </a:lnTo>
                  <a:lnTo>
                    <a:pt x="269" y="432"/>
                  </a:lnTo>
                  <a:lnTo>
                    <a:pt x="275" y="431"/>
                  </a:lnTo>
                  <a:lnTo>
                    <a:pt x="279" y="428"/>
                  </a:lnTo>
                  <a:lnTo>
                    <a:pt x="281" y="425"/>
                  </a:lnTo>
                  <a:lnTo>
                    <a:pt x="282" y="419"/>
                  </a:lnTo>
                  <a:lnTo>
                    <a:pt x="282" y="382"/>
                  </a:lnTo>
                  <a:lnTo>
                    <a:pt x="296" y="375"/>
                  </a:lnTo>
                  <a:lnTo>
                    <a:pt x="308" y="369"/>
                  </a:lnTo>
                  <a:lnTo>
                    <a:pt x="320" y="362"/>
                  </a:lnTo>
                  <a:lnTo>
                    <a:pt x="329" y="356"/>
                  </a:lnTo>
                  <a:lnTo>
                    <a:pt x="367" y="378"/>
                  </a:lnTo>
                  <a:lnTo>
                    <a:pt x="372" y="379"/>
                  </a:lnTo>
                  <a:lnTo>
                    <a:pt x="378" y="379"/>
                  </a:lnTo>
                  <a:lnTo>
                    <a:pt x="380" y="378"/>
                  </a:lnTo>
                  <a:lnTo>
                    <a:pt x="382" y="377"/>
                  </a:lnTo>
                  <a:lnTo>
                    <a:pt x="383" y="375"/>
                  </a:lnTo>
                  <a:lnTo>
                    <a:pt x="385" y="373"/>
                  </a:lnTo>
                  <a:lnTo>
                    <a:pt x="434" y="290"/>
                  </a:lnTo>
                  <a:lnTo>
                    <a:pt x="435" y="285"/>
                  </a:lnTo>
                  <a:lnTo>
                    <a:pt x="435" y="281"/>
                  </a:lnTo>
                  <a:lnTo>
                    <a:pt x="432" y="276"/>
                  </a:lnTo>
                  <a:lnTo>
                    <a:pt x="428"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58">
              <a:extLst>
                <a:ext uri="{FF2B5EF4-FFF2-40B4-BE49-F238E27FC236}">
                  <a16:creationId xmlns:a16="http://schemas.microsoft.com/office/drawing/2014/main" id="{BBEC919C-0A5A-457E-9FC3-0A7AA40897CD}"/>
                </a:ext>
              </a:extLst>
            </p:cNvPr>
            <p:cNvSpPr>
              <a:spLocks noEditPoints="1"/>
            </p:cNvSpPr>
            <p:nvPr/>
          </p:nvSpPr>
          <p:spPr bwMode="auto">
            <a:xfrm>
              <a:off x="1122363" y="3297238"/>
              <a:ext cx="61913" cy="60325"/>
            </a:xfrm>
            <a:custGeom>
              <a:avLst/>
              <a:gdLst>
                <a:gd name="T0" fmla="*/ 67 w 154"/>
                <a:gd name="T1" fmla="*/ 128 h 154"/>
                <a:gd name="T2" fmla="*/ 49 w 154"/>
                <a:gd name="T3" fmla="*/ 119 h 154"/>
                <a:gd name="T4" fmla="*/ 35 w 154"/>
                <a:gd name="T5" fmla="*/ 107 h 154"/>
                <a:gd name="T6" fmla="*/ 27 w 154"/>
                <a:gd name="T7" fmla="*/ 88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8 h 154"/>
                <a:gd name="T26" fmla="*/ 120 w 154"/>
                <a:gd name="T27" fmla="*/ 107 h 154"/>
                <a:gd name="T28" fmla="*/ 106 w 154"/>
                <a:gd name="T29" fmla="*/ 119 h 154"/>
                <a:gd name="T30" fmla="*/ 87 w 154"/>
                <a:gd name="T31" fmla="*/ 128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4 h 154"/>
                <a:gd name="T44" fmla="*/ 7 w 154"/>
                <a:gd name="T45" fmla="*/ 48 h 154"/>
                <a:gd name="T46" fmla="*/ 1 w 154"/>
                <a:gd name="T47" fmla="*/ 62 h 154"/>
                <a:gd name="T48" fmla="*/ 0 w 154"/>
                <a:gd name="T49" fmla="*/ 78 h 154"/>
                <a:gd name="T50" fmla="*/ 1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8 h 154"/>
                <a:gd name="T62" fmla="*/ 62 w 154"/>
                <a:gd name="T63" fmla="*/ 153 h 154"/>
                <a:gd name="T64" fmla="*/ 78 w 154"/>
                <a:gd name="T65" fmla="*/ 154 h 154"/>
                <a:gd name="T66" fmla="*/ 93 w 154"/>
                <a:gd name="T67" fmla="*/ 153 h 154"/>
                <a:gd name="T68" fmla="*/ 108 w 154"/>
                <a:gd name="T69" fmla="*/ 148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2 h 154"/>
                <a:gd name="T84" fmla="*/ 149 w 154"/>
                <a:gd name="T85" fmla="*/ 48 h 154"/>
                <a:gd name="T86" fmla="*/ 141 w 154"/>
                <a:gd name="T87" fmla="*/ 34 h 154"/>
                <a:gd name="T88" fmla="*/ 131 w 154"/>
                <a:gd name="T89" fmla="*/ 23 h 154"/>
                <a:gd name="T90" fmla="*/ 121 w 154"/>
                <a:gd name="T91" fmla="*/ 13 h 154"/>
                <a:gd name="T92" fmla="*/ 108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8"/>
                  </a:lnTo>
                  <a:lnTo>
                    <a:pt x="57" y="125"/>
                  </a:lnTo>
                  <a:lnTo>
                    <a:pt x="49" y="119"/>
                  </a:lnTo>
                  <a:lnTo>
                    <a:pt x="41" y="114"/>
                  </a:lnTo>
                  <a:lnTo>
                    <a:pt x="35" y="107"/>
                  </a:lnTo>
                  <a:lnTo>
                    <a:pt x="29" y="97"/>
                  </a:lnTo>
                  <a:lnTo>
                    <a:pt x="27" y="88"/>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4" y="41"/>
                  </a:lnTo>
                  <a:lnTo>
                    <a:pt x="120" y="49"/>
                  </a:lnTo>
                  <a:lnTo>
                    <a:pt x="125" y="57"/>
                  </a:lnTo>
                  <a:lnTo>
                    <a:pt x="128" y="67"/>
                  </a:lnTo>
                  <a:lnTo>
                    <a:pt x="129" y="78"/>
                  </a:lnTo>
                  <a:lnTo>
                    <a:pt x="128" y="88"/>
                  </a:lnTo>
                  <a:lnTo>
                    <a:pt x="125" y="97"/>
                  </a:lnTo>
                  <a:lnTo>
                    <a:pt x="120" y="107"/>
                  </a:lnTo>
                  <a:lnTo>
                    <a:pt x="114" y="114"/>
                  </a:lnTo>
                  <a:lnTo>
                    <a:pt x="106" y="119"/>
                  </a:lnTo>
                  <a:lnTo>
                    <a:pt x="97" y="125"/>
                  </a:lnTo>
                  <a:lnTo>
                    <a:pt x="87" y="128"/>
                  </a:lnTo>
                  <a:lnTo>
                    <a:pt x="78" y="128"/>
                  </a:lnTo>
                  <a:close/>
                  <a:moveTo>
                    <a:pt x="78" y="0"/>
                  </a:moveTo>
                  <a:lnTo>
                    <a:pt x="69" y="0"/>
                  </a:lnTo>
                  <a:lnTo>
                    <a:pt x="62" y="1"/>
                  </a:lnTo>
                  <a:lnTo>
                    <a:pt x="54" y="4"/>
                  </a:lnTo>
                  <a:lnTo>
                    <a:pt x="48" y="6"/>
                  </a:lnTo>
                  <a:lnTo>
                    <a:pt x="41" y="9"/>
                  </a:lnTo>
                  <a:lnTo>
                    <a:pt x="35" y="13"/>
                  </a:lnTo>
                  <a:lnTo>
                    <a:pt x="28" y="17"/>
                  </a:lnTo>
                  <a:lnTo>
                    <a:pt x="23" y="23"/>
                  </a:lnTo>
                  <a:lnTo>
                    <a:pt x="18" y="28"/>
                  </a:lnTo>
                  <a:lnTo>
                    <a:pt x="13" y="34"/>
                  </a:lnTo>
                  <a:lnTo>
                    <a:pt x="10" y="40"/>
                  </a:lnTo>
                  <a:lnTo>
                    <a:pt x="7" y="48"/>
                  </a:lnTo>
                  <a:lnTo>
                    <a:pt x="4" y="54"/>
                  </a:lnTo>
                  <a:lnTo>
                    <a:pt x="1" y="62"/>
                  </a:lnTo>
                  <a:lnTo>
                    <a:pt x="0" y="70"/>
                  </a:lnTo>
                  <a:lnTo>
                    <a:pt x="0" y="78"/>
                  </a:lnTo>
                  <a:lnTo>
                    <a:pt x="0" y="85"/>
                  </a:lnTo>
                  <a:lnTo>
                    <a:pt x="1" y="93"/>
                  </a:lnTo>
                  <a:lnTo>
                    <a:pt x="4" y="100"/>
                  </a:lnTo>
                  <a:lnTo>
                    <a:pt x="7" y="108"/>
                  </a:lnTo>
                  <a:lnTo>
                    <a:pt x="10" y="114"/>
                  </a:lnTo>
                  <a:lnTo>
                    <a:pt x="13" y="121"/>
                  </a:lnTo>
                  <a:lnTo>
                    <a:pt x="18" y="126"/>
                  </a:lnTo>
                  <a:lnTo>
                    <a:pt x="23" y="131"/>
                  </a:lnTo>
                  <a:lnTo>
                    <a:pt x="28" y="137"/>
                  </a:lnTo>
                  <a:lnTo>
                    <a:pt x="35" y="141"/>
                  </a:lnTo>
                  <a:lnTo>
                    <a:pt x="41" y="145"/>
                  </a:lnTo>
                  <a:lnTo>
                    <a:pt x="48" y="148"/>
                  </a:lnTo>
                  <a:lnTo>
                    <a:pt x="54" y="151"/>
                  </a:lnTo>
                  <a:lnTo>
                    <a:pt x="62" y="153"/>
                  </a:lnTo>
                  <a:lnTo>
                    <a:pt x="69" y="154"/>
                  </a:lnTo>
                  <a:lnTo>
                    <a:pt x="78" y="154"/>
                  </a:lnTo>
                  <a:lnTo>
                    <a:pt x="85" y="154"/>
                  </a:lnTo>
                  <a:lnTo>
                    <a:pt x="93" y="153"/>
                  </a:lnTo>
                  <a:lnTo>
                    <a:pt x="100" y="151"/>
                  </a:lnTo>
                  <a:lnTo>
                    <a:pt x="108" y="148"/>
                  </a:lnTo>
                  <a:lnTo>
                    <a:pt x="114" y="145"/>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2"/>
                  </a:lnTo>
                  <a:lnTo>
                    <a:pt x="151" y="54"/>
                  </a:lnTo>
                  <a:lnTo>
                    <a:pt x="149" y="48"/>
                  </a:lnTo>
                  <a:lnTo>
                    <a:pt x="145" y="40"/>
                  </a:lnTo>
                  <a:lnTo>
                    <a:pt x="141" y="34"/>
                  </a:lnTo>
                  <a:lnTo>
                    <a:pt x="137" y="28"/>
                  </a:lnTo>
                  <a:lnTo>
                    <a:pt x="131" y="23"/>
                  </a:lnTo>
                  <a:lnTo>
                    <a:pt x="126" y="17"/>
                  </a:lnTo>
                  <a:lnTo>
                    <a:pt x="121" y="13"/>
                  </a:lnTo>
                  <a:lnTo>
                    <a:pt x="114" y="9"/>
                  </a:lnTo>
                  <a:lnTo>
                    <a:pt x="108" y="6"/>
                  </a:lnTo>
                  <a:lnTo>
                    <a:pt x="100" y="4"/>
                  </a:lnTo>
                  <a:lnTo>
                    <a:pt x="93" y="1"/>
                  </a:lnTo>
                  <a:lnTo>
                    <a:pt x="85"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59">
              <a:extLst>
                <a:ext uri="{FF2B5EF4-FFF2-40B4-BE49-F238E27FC236}">
                  <a16:creationId xmlns:a16="http://schemas.microsoft.com/office/drawing/2014/main" id="{7C518ED5-093A-43A2-9375-FEDF110E648F}"/>
                </a:ext>
              </a:extLst>
            </p:cNvPr>
            <p:cNvSpPr>
              <a:spLocks noEditPoints="1"/>
            </p:cNvSpPr>
            <p:nvPr/>
          </p:nvSpPr>
          <p:spPr bwMode="auto">
            <a:xfrm>
              <a:off x="946151" y="3371851"/>
              <a:ext cx="173038" cy="171450"/>
            </a:xfrm>
            <a:custGeom>
              <a:avLst/>
              <a:gdLst>
                <a:gd name="T0" fmla="*/ 362 w 435"/>
                <a:gd name="T1" fmla="*/ 176 h 434"/>
                <a:gd name="T2" fmla="*/ 364 w 435"/>
                <a:gd name="T3" fmla="*/ 229 h 434"/>
                <a:gd name="T4" fmla="*/ 365 w 435"/>
                <a:gd name="T5" fmla="*/ 256 h 434"/>
                <a:gd name="T6" fmla="*/ 334 w 435"/>
                <a:gd name="T7" fmla="*/ 319 h 434"/>
                <a:gd name="T8" fmla="*/ 319 w 435"/>
                <a:gd name="T9" fmla="*/ 321 h 434"/>
                <a:gd name="T10" fmla="*/ 264 w 435"/>
                <a:gd name="T11" fmla="*/ 354 h 434"/>
                <a:gd name="T12" fmla="*/ 256 w 435"/>
                <a:gd name="T13" fmla="*/ 365 h 434"/>
                <a:gd name="T14" fmla="*/ 185 w 435"/>
                <a:gd name="T15" fmla="*/ 362 h 434"/>
                <a:gd name="T16" fmla="*/ 166 w 435"/>
                <a:gd name="T17" fmla="*/ 350 h 434"/>
                <a:gd name="T18" fmla="*/ 132 w 435"/>
                <a:gd name="T19" fmla="*/ 332 h 434"/>
                <a:gd name="T20" fmla="*/ 108 w 435"/>
                <a:gd name="T21" fmla="*/ 318 h 434"/>
                <a:gd name="T22" fmla="*/ 67 w 435"/>
                <a:gd name="T23" fmla="*/ 259 h 434"/>
                <a:gd name="T24" fmla="*/ 73 w 435"/>
                <a:gd name="T25" fmla="*/ 245 h 434"/>
                <a:gd name="T26" fmla="*/ 73 w 435"/>
                <a:gd name="T27" fmla="*/ 180 h 434"/>
                <a:gd name="T28" fmla="*/ 67 w 435"/>
                <a:gd name="T29" fmla="*/ 166 h 434"/>
                <a:gd name="T30" fmla="*/ 108 w 435"/>
                <a:gd name="T31" fmla="*/ 106 h 434"/>
                <a:gd name="T32" fmla="*/ 132 w 435"/>
                <a:gd name="T33" fmla="*/ 92 h 434"/>
                <a:gd name="T34" fmla="*/ 166 w 435"/>
                <a:gd name="T35" fmla="*/ 74 h 434"/>
                <a:gd name="T36" fmla="*/ 185 w 435"/>
                <a:gd name="T37" fmla="*/ 63 h 434"/>
                <a:gd name="T38" fmla="*/ 256 w 435"/>
                <a:gd name="T39" fmla="*/ 60 h 434"/>
                <a:gd name="T40" fmla="*/ 264 w 435"/>
                <a:gd name="T41" fmla="*/ 71 h 434"/>
                <a:gd name="T42" fmla="*/ 319 w 435"/>
                <a:gd name="T43" fmla="*/ 103 h 434"/>
                <a:gd name="T44" fmla="*/ 334 w 435"/>
                <a:gd name="T45" fmla="*/ 105 h 434"/>
                <a:gd name="T46" fmla="*/ 435 w 435"/>
                <a:gd name="T47" fmla="*/ 153 h 434"/>
                <a:gd name="T48" fmla="*/ 383 w 435"/>
                <a:gd name="T49" fmla="*/ 58 h 434"/>
                <a:gd name="T50" fmla="*/ 375 w 435"/>
                <a:gd name="T51" fmla="*/ 54 h 434"/>
                <a:gd name="T52" fmla="*/ 328 w 435"/>
                <a:gd name="T53" fmla="*/ 78 h 434"/>
                <a:gd name="T54" fmla="*/ 282 w 435"/>
                <a:gd name="T55" fmla="*/ 51 h 434"/>
                <a:gd name="T56" fmla="*/ 275 w 435"/>
                <a:gd name="T57" fmla="*/ 1 h 434"/>
                <a:gd name="T58" fmla="*/ 164 w 435"/>
                <a:gd name="T59" fmla="*/ 4 h 434"/>
                <a:gd name="T60" fmla="*/ 151 w 435"/>
                <a:gd name="T61" fmla="*/ 52 h 434"/>
                <a:gd name="T62" fmla="*/ 119 w 435"/>
                <a:gd name="T63" fmla="*/ 70 h 434"/>
                <a:gd name="T64" fmla="*/ 58 w 435"/>
                <a:gd name="T65" fmla="*/ 54 h 434"/>
                <a:gd name="T66" fmla="*/ 0 w 435"/>
                <a:gd name="T67" fmla="*/ 148 h 434"/>
                <a:gd name="T68" fmla="*/ 4 w 435"/>
                <a:gd name="T69" fmla="*/ 159 h 434"/>
                <a:gd name="T70" fmla="*/ 44 w 435"/>
                <a:gd name="T71" fmla="*/ 213 h 434"/>
                <a:gd name="T72" fmla="*/ 2 w 435"/>
                <a:gd name="T73" fmla="*/ 267 h 434"/>
                <a:gd name="T74" fmla="*/ 49 w 435"/>
                <a:gd name="T75" fmla="*/ 365 h 434"/>
                <a:gd name="T76" fmla="*/ 66 w 435"/>
                <a:gd name="T77" fmla="*/ 369 h 434"/>
                <a:gd name="T78" fmla="*/ 137 w 435"/>
                <a:gd name="T79" fmla="*/ 366 h 434"/>
                <a:gd name="T80" fmla="*/ 160 w 435"/>
                <a:gd name="T81" fmla="*/ 421 h 434"/>
                <a:gd name="T82" fmla="*/ 173 w 435"/>
                <a:gd name="T83" fmla="*/ 434 h 434"/>
                <a:gd name="T84" fmla="*/ 281 w 435"/>
                <a:gd name="T85" fmla="*/ 426 h 434"/>
                <a:gd name="T86" fmla="*/ 308 w 435"/>
                <a:gd name="T87" fmla="*/ 360 h 434"/>
                <a:gd name="T88" fmla="*/ 369 w 435"/>
                <a:gd name="T89" fmla="*/ 371 h 434"/>
                <a:gd name="T90" fmla="*/ 380 w 435"/>
                <a:gd name="T91" fmla="*/ 371 h 434"/>
                <a:gd name="T92" fmla="*/ 434 w 435"/>
                <a:gd name="T93" fmla="*/ 281 h 434"/>
                <a:gd name="T94" fmla="*/ 428 w 435"/>
                <a:gd name="T95" fmla="*/ 263 h 434"/>
                <a:gd name="T96" fmla="*/ 390 w 435"/>
                <a:gd name="T97" fmla="*/ 199 h 434"/>
                <a:gd name="T98" fmla="*/ 433 w 435"/>
                <a:gd name="T99" fmla="*/ 15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5" h="434">
                  <a:moveTo>
                    <a:pt x="368" y="166"/>
                  </a:moveTo>
                  <a:lnTo>
                    <a:pt x="365" y="169"/>
                  </a:lnTo>
                  <a:lnTo>
                    <a:pt x="363" y="172"/>
                  </a:lnTo>
                  <a:lnTo>
                    <a:pt x="362" y="176"/>
                  </a:lnTo>
                  <a:lnTo>
                    <a:pt x="362" y="180"/>
                  </a:lnTo>
                  <a:lnTo>
                    <a:pt x="364" y="197"/>
                  </a:lnTo>
                  <a:lnTo>
                    <a:pt x="365" y="213"/>
                  </a:lnTo>
                  <a:lnTo>
                    <a:pt x="364" y="229"/>
                  </a:lnTo>
                  <a:lnTo>
                    <a:pt x="362" y="245"/>
                  </a:lnTo>
                  <a:lnTo>
                    <a:pt x="362" y="248"/>
                  </a:lnTo>
                  <a:lnTo>
                    <a:pt x="363" y="252"/>
                  </a:lnTo>
                  <a:lnTo>
                    <a:pt x="365" y="256"/>
                  </a:lnTo>
                  <a:lnTo>
                    <a:pt x="368" y="259"/>
                  </a:lnTo>
                  <a:lnTo>
                    <a:pt x="405" y="280"/>
                  </a:lnTo>
                  <a:lnTo>
                    <a:pt x="369" y="342"/>
                  </a:lnTo>
                  <a:lnTo>
                    <a:pt x="334" y="319"/>
                  </a:lnTo>
                  <a:lnTo>
                    <a:pt x="331" y="318"/>
                  </a:lnTo>
                  <a:lnTo>
                    <a:pt x="326" y="318"/>
                  </a:lnTo>
                  <a:lnTo>
                    <a:pt x="323" y="319"/>
                  </a:lnTo>
                  <a:lnTo>
                    <a:pt x="319" y="321"/>
                  </a:lnTo>
                  <a:lnTo>
                    <a:pt x="309" y="330"/>
                  </a:lnTo>
                  <a:lnTo>
                    <a:pt x="296" y="337"/>
                  </a:lnTo>
                  <a:lnTo>
                    <a:pt x="281" y="346"/>
                  </a:lnTo>
                  <a:lnTo>
                    <a:pt x="264" y="354"/>
                  </a:lnTo>
                  <a:lnTo>
                    <a:pt x="261" y="357"/>
                  </a:lnTo>
                  <a:lnTo>
                    <a:pt x="259" y="359"/>
                  </a:lnTo>
                  <a:lnTo>
                    <a:pt x="258" y="362"/>
                  </a:lnTo>
                  <a:lnTo>
                    <a:pt x="256" y="365"/>
                  </a:lnTo>
                  <a:lnTo>
                    <a:pt x="256" y="409"/>
                  </a:lnTo>
                  <a:lnTo>
                    <a:pt x="186" y="409"/>
                  </a:lnTo>
                  <a:lnTo>
                    <a:pt x="186" y="365"/>
                  </a:lnTo>
                  <a:lnTo>
                    <a:pt x="185" y="362"/>
                  </a:lnTo>
                  <a:lnTo>
                    <a:pt x="183" y="358"/>
                  </a:lnTo>
                  <a:lnTo>
                    <a:pt x="180" y="354"/>
                  </a:lnTo>
                  <a:lnTo>
                    <a:pt x="176" y="352"/>
                  </a:lnTo>
                  <a:lnTo>
                    <a:pt x="166" y="350"/>
                  </a:lnTo>
                  <a:lnTo>
                    <a:pt x="158" y="347"/>
                  </a:lnTo>
                  <a:lnTo>
                    <a:pt x="150" y="344"/>
                  </a:lnTo>
                  <a:lnTo>
                    <a:pt x="144" y="340"/>
                  </a:lnTo>
                  <a:lnTo>
                    <a:pt x="132" y="332"/>
                  </a:lnTo>
                  <a:lnTo>
                    <a:pt x="119" y="321"/>
                  </a:lnTo>
                  <a:lnTo>
                    <a:pt x="116" y="319"/>
                  </a:lnTo>
                  <a:lnTo>
                    <a:pt x="113" y="318"/>
                  </a:lnTo>
                  <a:lnTo>
                    <a:pt x="108" y="318"/>
                  </a:lnTo>
                  <a:lnTo>
                    <a:pt x="105" y="319"/>
                  </a:lnTo>
                  <a:lnTo>
                    <a:pt x="65" y="342"/>
                  </a:lnTo>
                  <a:lnTo>
                    <a:pt x="30" y="280"/>
                  </a:lnTo>
                  <a:lnTo>
                    <a:pt x="67" y="259"/>
                  </a:lnTo>
                  <a:lnTo>
                    <a:pt x="71" y="256"/>
                  </a:lnTo>
                  <a:lnTo>
                    <a:pt x="73" y="252"/>
                  </a:lnTo>
                  <a:lnTo>
                    <a:pt x="74" y="248"/>
                  </a:lnTo>
                  <a:lnTo>
                    <a:pt x="73" y="245"/>
                  </a:lnTo>
                  <a:lnTo>
                    <a:pt x="71" y="229"/>
                  </a:lnTo>
                  <a:lnTo>
                    <a:pt x="70" y="213"/>
                  </a:lnTo>
                  <a:lnTo>
                    <a:pt x="71" y="197"/>
                  </a:lnTo>
                  <a:lnTo>
                    <a:pt x="73" y="180"/>
                  </a:lnTo>
                  <a:lnTo>
                    <a:pt x="74" y="176"/>
                  </a:lnTo>
                  <a:lnTo>
                    <a:pt x="73" y="172"/>
                  </a:lnTo>
                  <a:lnTo>
                    <a:pt x="71" y="169"/>
                  </a:lnTo>
                  <a:lnTo>
                    <a:pt x="67" y="166"/>
                  </a:lnTo>
                  <a:lnTo>
                    <a:pt x="30" y="145"/>
                  </a:lnTo>
                  <a:lnTo>
                    <a:pt x="66" y="84"/>
                  </a:lnTo>
                  <a:lnTo>
                    <a:pt x="105" y="105"/>
                  </a:lnTo>
                  <a:lnTo>
                    <a:pt x="108" y="106"/>
                  </a:lnTo>
                  <a:lnTo>
                    <a:pt x="113" y="106"/>
                  </a:lnTo>
                  <a:lnTo>
                    <a:pt x="117" y="105"/>
                  </a:lnTo>
                  <a:lnTo>
                    <a:pt x="120" y="103"/>
                  </a:lnTo>
                  <a:lnTo>
                    <a:pt x="132" y="92"/>
                  </a:lnTo>
                  <a:lnTo>
                    <a:pt x="144" y="84"/>
                  </a:lnTo>
                  <a:lnTo>
                    <a:pt x="150" y="80"/>
                  </a:lnTo>
                  <a:lnTo>
                    <a:pt x="158" y="76"/>
                  </a:lnTo>
                  <a:lnTo>
                    <a:pt x="166" y="74"/>
                  </a:lnTo>
                  <a:lnTo>
                    <a:pt x="176" y="71"/>
                  </a:lnTo>
                  <a:lnTo>
                    <a:pt x="180" y="70"/>
                  </a:lnTo>
                  <a:lnTo>
                    <a:pt x="183" y="67"/>
                  </a:lnTo>
                  <a:lnTo>
                    <a:pt x="185" y="63"/>
                  </a:lnTo>
                  <a:lnTo>
                    <a:pt x="186" y="60"/>
                  </a:lnTo>
                  <a:lnTo>
                    <a:pt x="186" y="26"/>
                  </a:lnTo>
                  <a:lnTo>
                    <a:pt x="256" y="26"/>
                  </a:lnTo>
                  <a:lnTo>
                    <a:pt x="256" y="60"/>
                  </a:lnTo>
                  <a:lnTo>
                    <a:pt x="258" y="63"/>
                  </a:lnTo>
                  <a:lnTo>
                    <a:pt x="259" y="67"/>
                  </a:lnTo>
                  <a:lnTo>
                    <a:pt x="261" y="69"/>
                  </a:lnTo>
                  <a:lnTo>
                    <a:pt x="264" y="71"/>
                  </a:lnTo>
                  <a:lnTo>
                    <a:pt x="281" y="80"/>
                  </a:lnTo>
                  <a:lnTo>
                    <a:pt x="296" y="87"/>
                  </a:lnTo>
                  <a:lnTo>
                    <a:pt x="309" y="96"/>
                  </a:lnTo>
                  <a:lnTo>
                    <a:pt x="319" y="103"/>
                  </a:lnTo>
                  <a:lnTo>
                    <a:pt x="322" y="105"/>
                  </a:lnTo>
                  <a:lnTo>
                    <a:pt x="326" y="106"/>
                  </a:lnTo>
                  <a:lnTo>
                    <a:pt x="331" y="106"/>
                  </a:lnTo>
                  <a:lnTo>
                    <a:pt x="334" y="105"/>
                  </a:lnTo>
                  <a:lnTo>
                    <a:pt x="369" y="84"/>
                  </a:lnTo>
                  <a:lnTo>
                    <a:pt x="405" y="145"/>
                  </a:lnTo>
                  <a:lnTo>
                    <a:pt x="368" y="166"/>
                  </a:lnTo>
                  <a:close/>
                  <a:moveTo>
                    <a:pt x="435" y="153"/>
                  </a:moveTo>
                  <a:lnTo>
                    <a:pt x="435" y="148"/>
                  </a:lnTo>
                  <a:lnTo>
                    <a:pt x="434" y="144"/>
                  </a:lnTo>
                  <a:lnTo>
                    <a:pt x="385" y="60"/>
                  </a:lnTo>
                  <a:lnTo>
                    <a:pt x="383" y="58"/>
                  </a:lnTo>
                  <a:lnTo>
                    <a:pt x="382" y="56"/>
                  </a:lnTo>
                  <a:lnTo>
                    <a:pt x="380" y="55"/>
                  </a:lnTo>
                  <a:lnTo>
                    <a:pt x="377" y="55"/>
                  </a:lnTo>
                  <a:lnTo>
                    <a:pt x="375" y="54"/>
                  </a:lnTo>
                  <a:lnTo>
                    <a:pt x="372" y="54"/>
                  </a:lnTo>
                  <a:lnTo>
                    <a:pt x="370" y="55"/>
                  </a:lnTo>
                  <a:lnTo>
                    <a:pt x="367" y="56"/>
                  </a:lnTo>
                  <a:lnTo>
                    <a:pt x="328" y="78"/>
                  </a:lnTo>
                  <a:lnTo>
                    <a:pt x="320" y="71"/>
                  </a:lnTo>
                  <a:lnTo>
                    <a:pt x="308" y="64"/>
                  </a:lnTo>
                  <a:lnTo>
                    <a:pt x="296" y="58"/>
                  </a:lnTo>
                  <a:lnTo>
                    <a:pt x="282" y="51"/>
                  </a:lnTo>
                  <a:lnTo>
                    <a:pt x="282" y="13"/>
                  </a:lnTo>
                  <a:lnTo>
                    <a:pt x="281" y="8"/>
                  </a:lnTo>
                  <a:lnTo>
                    <a:pt x="278" y="4"/>
                  </a:lnTo>
                  <a:lnTo>
                    <a:pt x="275" y="1"/>
                  </a:lnTo>
                  <a:lnTo>
                    <a:pt x="269" y="0"/>
                  </a:lnTo>
                  <a:lnTo>
                    <a:pt x="173" y="0"/>
                  </a:lnTo>
                  <a:lnTo>
                    <a:pt x="168" y="1"/>
                  </a:lnTo>
                  <a:lnTo>
                    <a:pt x="164" y="4"/>
                  </a:lnTo>
                  <a:lnTo>
                    <a:pt x="161" y="8"/>
                  </a:lnTo>
                  <a:lnTo>
                    <a:pt x="160" y="13"/>
                  </a:lnTo>
                  <a:lnTo>
                    <a:pt x="160" y="49"/>
                  </a:lnTo>
                  <a:lnTo>
                    <a:pt x="151" y="52"/>
                  </a:lnTo>
                  <a:lnTo>
                    <a:pt x="144" y="55"/>
                  </a:lnTo>
                  <a:lnTo>
                    <a:pt x="137" y="58"/>
                  </a:lnTo>
                  <a:lnTo>
                    <a:pt x="131" y="62"/>
                  </a:lnTo>
                  <a:lnTo>
                    <a:pt x="119" y="70"/>
                  </a:lnTo>
                  <a:lnTo>
                    <a:pt x="109" y="78"/>
                  </a:lnTo>
                  <a:lnTo>
                    <a:pt x="67" y="55"/>
                  </a:lnTo>
                  <a:lnTo>
                    <a:pt x="63" y="54"/>
                  </a:lnTo>
                  <a:lnTo>
                    <a:pt x="58" y="54"/>
                  </a:lnTo>
                  <a:lnTo>
                    <a:pt x="54" y="56"/>
                  </a:lnTo>
                  <a:lnTo>
                    <a:pt x="50" y="60"/>
                  </a:lnTo>
                  <a:lnTo>
                    <a:pt x="2" y="144"/>
                  </a:lnTo>
                  <a:lnTo>
                    <a:pt x="0" y="148"/>
                  </a:lnTo>
                  <a:lnTo>
                    <a:pt x="1" y="153"/>
                  </a:lnTo>
                  <a:lnTo>
                    <a:pt x="2" y="156"/>
                  </a:lnTo>
                  <a:lnTo>
                    <a:pt x="3" y="158"/>
                  </a:lnTo>
                  <a:lnTo>
                    <a:pt x="4" y="159"/>
                  </a:lnTo>
                  <a:lnTo>
                    <a:pt x="6" y="160"/>
                  </a:lnTo>
                  <a:lnTo>
                    <a:pt x="47" y="185"/>
                  </a:lnTo>
                  <a:lnTo>
                    <a:pt x="45" y="199"/>
                  </a:lnTo>
                  <a:lnTo>
                    <a:pt x="44" y="213"/>
                  </a:lnTo>
                  <a:lnTo>
                    <a:pt x="45" y="227"/>
                  </a:lnTo>
                  <a:lnTo>
                    <a:pt x="47" y="241"/>
                  </a:lnTo>
                  <a:lnTo>
                    <a:pt x="6" y="263"/>
                  </a:lnTo>
                  <a:lnTo>
                    <a:pt x="2" y="267"/>
                  </a:lnTo>
                  <a:lnTo>
                    <a:pt x="0" y="273"/>
                  </a:lnTo>
                  <a:lnTo>
                    <a:pt x="0" y="277"/>
                  </a:lnTo>
                  <a:lnTo>
                    <a:pt x="2" y="281"/>
                  </a:lnTo>
                  <a:lnTo>
                    <a:pt x="49" y="365"/>
                  </a:lnTo>
                  <a:lnTo>
                    <a:pt x="52" y="368"/>
                  </a:lnTo>
                  <a:lnTo>
                    <a:pt x="57" y="371"/>
                  </a:lnTo>
                  <a:lnTo>
                    <a:pt x="62" y="371"/>
                  </a:lnTo>
                  <a:lnTo>
                    <a:pt x="66" y="369"/>
                  </a:lnTo>
                  <a:lnTo>
                    <a:pt x="109" y="346"/>
                  </a:lnTo>
                  <a:lnTo>
                    <a:pt x="119" y="354"/>
                  </a:lnTo>
                  <a:lnTo>
                    <a:pt x="131" y="363"/>
                  </a:lnTo>
                  <a:lnTo>
                    <a:pt x="137" y="366"/>
                  </a:lnTo>
                  <a:lnTo>
                    <a:pt x="144" y="369"/>
                  </a:lnTo>
                  <a:lnTo>
                    <a:pt x="151" y="373"/>
                  </a:lnTo>
                  <a:lnTo>
                    <a:pt x="160" y="376"/>
                  </a:lnTo>
                  <a:lnTo>
                    <a:pt x="160" y="421"/>
                  </a:lnTo>
                  <a:lnTo>
                    <a:pt x="161" y="426"/>
                  </a:lnTo>
                  <a:lnTo>
                    <a:pt x="164" y="431"/>
                  </a:lnTo>
                  <a:lnTo>
                    <a:pt x="168" y="433"/>
                  </a:lnTo>
                  <a:lnTo>
                    <a:pt x="173" y="434"/>
                  </a:lnTo>
                  <a:lnTo>
                    <a:pt x="269" y="434"/>
                  </a:lnTo>
                  <a:lnTo>
                    <a:pt x="275" y="433"/>
                  </a:lnTo>
                  <a:lnTo>
                    <a:pt x="278" y="431"/>
                  </a:lnTo>
                  <a:lnTo>
                    <a:pt x="281" y="426"/>
                  </a:lnTo>
                  <a:lnTo>
                    <a:pt x="282" y="421"/>
                  </a:lnTo>
                  <a:lnTo>
                    <a:pt x="282" y="374"/>
                  </a:lnTo>
                  <a:lnTo>
                    <a:pt x="296" y="367"/>
                  </a:lnTo>
                  <a:lnTo>
                    <a:pt x="308" y="360"/>
                  </a:lnTo>
                  <a:lnTo>
                    <a:pt x="320" y="353"/>
                  </a:lnTo>
                  <a:lnTo>
                    <a:pt x="329" y="346"/>
                  </a:lnTo>
                  <a:lnTo>
                    <a:pt x="367" y="369"/>
                  </a:lnTo>
                  <a:lnTo>
                    <a:pt x="369" y="371"/>
                  </a:lnTo>
                  <a:lnTo>
                    <a:pt x="372" y="372"/>
                  </a:lnTo>
                  <a:lnTo>
                    <a:pt x="375" y="372"/>
                  </a:lnTo>
                  <a:lnTo>
                    <a:pt x="377" y="371"/>
                  </a:lnTo>
                  <a:lnTo>
                    <a:pt x="380" y="371"/>
                  </a:lnTo>
                  <a:lnTo>
                    <a:pt x="382" y="368"/>
                  </a:lnTo>
                  <a:lnTo>
                    <a:pt x="383" y="367"/>
                  </a:lnTo>
                  <a:lnTo>
                    <a:pt x="385" y="365"/>
                  </a:lnTo>
                  <a:lnTo>
                    <a:pt x="434" y="281"/>
                  </a:lnTo>
                  <a:lnTo>
                    <a:pt x="435" y="277"/>
                  </a:lnTo>
                  <a:lnTo>
                    <a:pt x="435" y="273"/>
                  </a:lnTo>
                  <a:lnTo>
                    <a:pt x="433" y="267"/>
                  </a:lnTo>
                  <a:lnTo>
                    <a:pt x="428" y="263"/>
                  </a:lnTo>
                  <a:lnTo>
                    <a:pt x="389" y="241"/>
                  </a:lnTo>
                  <a:lnTo>
                    <a:pt x="390" y="227"/>
                  </a:lnTo>
                  <a:lnTo>
                    <a:pt x="391" y="213"/>
                  </a:lnTo>
                  <a:lnTo>
                    <a:pt x="390" y="199"/>
                  </a:lnTo>
                  <a:lnTo>
                    <a:pt x="389" y="185"/>
                  </a:lnTo>
                  <a:lnTo>
                    <a:pt x="428" y="160"/>
                  </a:lnTo>
                  <a:lnTo>
                    <a:pt x="430" y="159"/>
                  </a:lnTo>
                  <a:lnTo>
                    <a:pt x="433" y="158"/>
                  </a:lnTo>
                  <a:lnTo>
                    <a:pt x="434" y="156"/>
                  </a:lnTo>
                  <a:lnTo>
                    <a:pt x="435"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60">
              <a:extLst>
                <a:ext uri="{FF2B5EF4-FFF2-40B4-BE49-F238E27FC236}">
                  <a16:creationId xmlns:a16="http://schemas.microsoft.com/office/drawing/2014/main" id="{A4AB7181-9456-4DCD-AE51-620FA34EE390}"/>
                </a:ext>
              </a:extLst>
            </p:cNvPr>
            <p:cNvSpPr>
              <a:spLocks noEditPoints="1"/>
            </p:cNvSpPr>
            <p:nvPr/>
          </p:nvSpPr>
          <p:spPr bwMode="auto">
            <a:xfrm>
              <a:off x="1001713" y="3424238"/>
              <a:ext cx="61913" cy="61913"/>
            </a:xfrm>
            <a:custGeom>
              <a:avLst/>
              <a:gdLst>
                <a:gd name="T0" fmla="*/ 67 w 154"/>
                <a:gd name="T1" fmla="*/ 127 h 154"/>
                <a:gd name="T2" fmla="*/ 49 w 154"/>
                <a:gd name="T3" fmla="*/ 120 h 154"/>
                <a:gd name="T4" fmla="*/ 35 w 154"/>
                <a:gd name="T5" fmla="*/ 106 h 154"/>
                <a:gd name="T6" fmla="*/ 27 w 154"/>
                <a:gd name="T7" fmla="*/ 87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7 h 154"/>
                <a:gd name="T26" fmla="*/ 120 w 154"/>
                <a:gd name="T27" fmla="*/ 106 h 154"/>
                <a:gd name="T28" fmla="*/ 106 w 154"/>
                <a:gd name="T29" fmla="*/ 120 h 154"/>
                <a:gd name="T30" fmla="*/ 87 w 154"/>
                <a:gd name="T31" fmla="*/ 127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5 h 154"/>
                <a:gd name="T44" fmla="*/ 7 w 154"/>
                <a:gd name="T45" fmla="*/ 48 h 154"/>
                <a:gd name="T46" fmla="*/ 2 w 154"/>
                <a:gd name="T47" fmla="*/ 63 h 154"/>
                <a:gd name="T48" fmla="*/ 0 w 154"/>
                <a:gd name="T49" fmla="*/ 78 h 154"/>
                <a:gd name="T50" fmla="*/ 2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7 h 154"/>
                <a:gd name="T62" fmla="*/ 62 w 154"/>
                <a:gd name="T63" fmla="*/ 153 h 154"/>
                <a:gd name="T64" fmla="*/ 78 w 154"/>
                <a:gd name="T65" fmla="*/ 154 h 154"/>
                <a:gd name="T66" fmla="*/ 93 w 154"/>
                <a:gd name="T67" fmla="*/ 153 h 154"/>
                <a:gd name="T68" fmla="*/ 107 w 154"/>
                <a:gd name="T69" fmla="*/ 147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3 h 154"/>
                <a:gd name="T84" fmla="*/ 149 w 154"/>
                <a:gd name="T85" fmla="*/ 48 h 154"/>
                <a:gd name="T86" fmla="*/ 141 w 154"/>
                <a:gd name="T87" fmla="*/ 35 h 154"/>
                <a:gd name="T88" fmla="*/ 131 w 154"/>
                <a:gd name="T89" fmla="*/ 23 h 154"/>
                <a:gd name="T90" fmla="*/ 121 w 154"/>
                <a:gd name="T91" fmla="*/ 13 h 154"/>
                <a:gd name="T92" fmla="*/ 107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7"/>
                  </a:lnTo>
                  <a:lnTo>
                    <a:pt x="57" y="125"/>
                  </a:lnTo>
                  <a:lnTo>
                    <a:pt x="49" y="120"/>
                  </a:lnTo>
                  <a:lnTo>
                    <a:pt x="41" y="113"/>
                  </a:lnTo>
                  <a:lnTo>
                    <a:pt x="35" y="106"/>
                  </a:lnTo>
                  <a:lnTo>
                    <a:pt x="29" y="97"/>
                  </a:lnTo>
                  <a:lnTo>
                    <a:pt x="27" y="87"/>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3" y="41"/>
                  </a:lnTo>
                  <a:lnTo>
                    <a:pt x="120" y="49"/>
                  </a:lnTo>
                  <a:lnTo>
                    <a:pt x="125" y="57"/>
                  </a:lnTo>
                  <a:lnTo>
                    <a:pt x="128" y="67"/>
                  </a:lnTo>
                  <a:lnTo>
                    <a:pt x="129" y="78"/>
                  </a:lnTo>
                  <a:lnTo>
                    <a:pt x="128" y="87"/>
                  </a:lnTo>
                  <a:lnTo>
                    <a:pt x="125" y="97"/>
                  </a:lnTo>
                  <a:lnTo>
                    <a:pt x="120" y="106"/>
                  </a:lnTo>
                  <a:lnTo>
                    <a:pt x="113" y="113"/>
                  </a:lnTo>
                  <a:lnTo>
                    <a:pt x="106" y="120"/>
                  </a:lnTo>
                  <a:lnTo>
                    <a:pt x="97" y="125"/>
                  </a:lnTo>
                  <a:lnTo>
                    <a:pt x="87" y="127"/>
                  </a:lnTo>
                  <a:lnTo>
                    <a:pt x="78" y="128"/>
                  </a:lnTo>
                  <a:close/>
                  <a:moveTo>
                    <a:pt x="78" y="0"/>
                  </a:moveTo>
                  <a:lnTo>
                    <a:pt x="69" y="0"/>
                  </a:lnTo>
                  <a:lnTo>
                    <a:pt x="62" y="1"/>
                  </a:lnTo>
                  <a:lnTo>
                    <a:pt x="54" y="4"/>
                  </a:lnTo>
                  <a:lnTo>
                    <a:pt x="48" y="6"/>
                  </a:lnTo>
                  <a:lnTo>
                    <a:pt x="40" y="9"/>
                  </a:lnTo>
                  <a:lnTo>
                    <a:pt x="35" y="13"/>
                  </a:lnTo>
                  <a:lnTo>
                    <a:pt x="28" y="18"/>
                  </a:lnTo>
                  <a:lnTo>
                    <a:pt x="23" y="23"/>
                  </a:lnTo>
                  <a:lnTo>
                    <a:pt x="18" y="28"/>
                  </a:lnTo>
                  <a:lnTo>
                    <a:pt x="13" y="35"/>
                  </a:lnTo>
                  <a:lnTo>
                    <a:pt x="10" y="41"/>
                  </a:lnTo>
                  <a:lnTo>
                    <a:pt x="7" y="48"/>
                  </a:lnTo>
                  <a:lnTo>
                    <a:pt x="4" y="55"/>
                  </a:lnTo>
                  <a:lnTo>
                    <a:pt x="2" y="63"/>
                  </a:lnTo>
                  <a:lnTo>
                    <a:pt x="0" y="70"/>
                  </a:lnTo>
                  <a:lnTo>
                    <a:pt x="0" y="78"/>
                  </a:lnTo>
                  <a:lnTo>
                    <a:pt x="0" y="85"/>
                  </a:lnTo>
                  <a:lnTo>
                    <a:pt x="2" y="93"/>
                  </a:lnTo>
                  <a:lnTo>
                    <a:pt x="4" y="100"/>
                  </a:lnTo>
                  <a:lnTo>
                    <a:pt x="7" y="108"/>
                  </a:lnTo>
                  <a:lnTo>
                    <a:pt x="10" y="114"/>
                  </a:lnTo>
                  <a:lnTo>
                    <a:pt x="13" y="121"/>
                  </a:lnTo>
                  <a:lnTo>
                    <a:pt x="18" y="126"/>
                  </a:lnTo>
                  <a:lnTo>
                    <a:pt x="23" y="131"/>
                  </a:lnTo>
                  <a:lnTo>
                    <a:pt x="28" y="137"/>
                  </a:lnTo>
                  <a:lnTo>
                    <a:pt x="35" y="141"/>
                  </a:lnTo>
                  <a:lnTo>
                    <a:pt x="40" y="144"/>
                  </a:lnTo>
                  <a:lnTo>
                    <a:pt x="48" y="147"/>
                  </a:lnTo>
                  <a:lnTo>
                    <a:pt x="54" y="151"/>
                  </a:lnTo>
                  <a:lnTo>
                    <a:pt x="62" y="153"/>
                  </a:lnTo>
                  <a:lnTo>
                    <a:pt x="69" y="154"/>
                  </a:lnTo>
                  <a:lnTo>
                    <a:pt x="78" y="154"/>
                  </a:lnTo>
                  <a:lnTo>
                    <a:pt x="85" y="154"/>
                  </a:lnTo>
                  <a:lnTo>
                    <a:pt x="93" y="153"/>
                  </a:lnTo>
                  <a:lnTo>
                    <a:pt x="100" y="151"/>
                  </a:lnTo>
                  <a:lnTo>
                    <a:pt x="107" y="147"/>
                  </a:lnTo>
                  <a:lnTo>
                    <a:pt x="114" y="144"/>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3"/>
                  </a:lnTo>
                  <a:lnTo>
                    <a:pt x="151" y="55"/>
                  </a:lnTo>
                  <a:lnTo>
                    <a:pt x="149" y="48"/>
                  </a:lnTo>
                  <a:lnTo>
                    <a:pt x="145" y="41"/>
                  </a:lnTo>
                  <a:lnTo>
                    <a:pt x="141" y="35"/>
                  </a:lnTo>
                  <a:lnTo>
                    <a:pt x="137" y="28"/>
                  </a:lnTo>
                  <a:lnTo>
                    <a:pt x="131" y="23"/>
                  </a:lnTo>
                  <a:lnTo>
                    <a:pt x="126" y="18"/>
                  </a:lnTo>
                  <a:lnTo>
                    <a:pt x="121" y="13"/>
                  </a:lnTo>
                  <a:lnTo>
                    <a:pt x="114" y="9"/>
                  </a:lnTo>
                  <a:lnTo>
                    <a:pt x="107" y="6"/>
                  </a:lnTo>
                  <a:lnTo>
                    <a:pt x="100" y="4"/>
                  </a:lnTo>
                  <a:lnTo>
                    <a:pt x="93" y="1"/>
                  </a:lnTo>
                  <a:lnTo>
                    <a:pt x="85"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40" name="Freeform 23">
            <a:extLst>
              <a:ext uri="{FF2B5EF4-FFF2-40B4-BE49-F238E27FC236}">
                <a16:creationId xmlns:a16="http://schemas.microsoft.com/office/drawing/2014/main" id="{4F45E483-501A-45DD-92E1-901B6CC7B371}"/>
              </a:ext>
            </a:extLst>
          </p:cNvPr>
          <p:cNvSpPr>
            <a:spLocks noChangeAspect="1" noEditPoints="1"/>
          </p:cNvSpPr>
          <p:nvPr/>
        </p:nvSpPr>
        <p:spPr bwMode="auto">
          <a:xfrm>
            <a:off x="3651168" y="5418423"/>
            <a:ext cx="304790" cy="304790"/>
          </a:xfrm>
          <a:custGeom>
            <a:avLst/>
            <a:gdLst>
              <a:gd name="T0" fmla="*/ 586 w 760"/>
              <a:gd name="T1" fmla="*/ 675 h 759"/>
              <a:gd name="T2" fmla="*/ 574 w 760"/>
              <a:gd name="T3" fmla="*/ 724 h 759"/>
              <a:gd name="T4" fmla="*/ 507 w 760"/>
              <a:gd name="T5" fmla="*/ 649 h 759"/>
              <a:gd name="T6" fmla="*/ 513 w 760"/>
              <a:gd name="T7" fmla="*/ 569 h 759"/>
              <a:gd name="T8" fmla="*/ 574 w 760"/>
              <a:gd name="T9" fmla="*/ 511 h 759"/>
              <a:gd name="T10" fmla="*/ 657 w 760"/>
              <a:gd name="T11" fmla="*/ 509 h 759"/>
              <a:gd name="T12" fmla="*/ 730 w 760"/>
              <a:gd name="T13" fmla="*/ 587 h 759"/>
              <a:gd name="T14" fmla="*/ 258 w 760"/>
              <a:gd name="T15" fmla="*/ 616 h 759"/>
              <a:gd name="T16" fmla="*/ 231 w 760"/>
              <a:gd name="T17" fmla="*/ 694 h 759"/>
              <a:gd name="T18" fmla="*/ 132 w 760"/>
              <a:gd name="T19" fmla="*/ 734 h 759"/>
              <a:gd name="T20" fmla="*/ 171 w 760"/>
              <a:gd name="T21" fmla="*/ 587 h 759"/>
              <a:gd name="T22" fmla="*/ 36 w 760"/>
              <a:gd name="T23" fmla="*/ 573 h 759"/>
              <a:gd name="T24" fmla="*/ 130 w 760"/>
              <a:gd name="T25" fmla="*/ 503 h 759"/>
              <a:gd name="T26" fmla="*/ 509 w 760"/>
              <a:gd name="T27" fmla="*/ 201 h 759"/>
              <a:gd name="T28" fmla="*/ 503 w 760"/>
              <a:gd name="T29" fmla="*/ 136 h 759"/>
              <a:gd name="T30" fmla="*/ 537 w 760"/>
              <a:gd name="T31" fmla="*/ 59 h 759"/>
              <a:gd name="T32" fmla="*/ 643 w 760"/>
              <a:gd name="T33" fmla="*/ 28 h 759"/>
              <a:gd name="T34" fmla="*/ 599 w 760"/>
              <a:gd name="T35" fmla="*/ 179 h 759"/>
              <a:gd name="T36" fmla="*/ 719 w 760"/>
              <a:gd name="T37" fmla="*/ 200 h 759"/>
              <a:gd name="T38" fmla="*/ 619 w 760"/>
              <a:gd name="T39" fmla="*/ 257 h 759"/>
              <a:gd name="T40" fmla="*/ 249 w 760"/>
              <a:gd name="T41" fmla="*/ 562 h 759"/>
              <a:gd name="T42" fmla="*/ 170 w 760"/>
              <a:gd name="T43" fmla="*/ 254 h 759"/>
              <a:gd name="T44" fmla="*/ 87 w 760"/>
              <a:gd name="T45" fmla="*/ 244 h 759"/>
              <a:gd name="T46" fmla="*/ 26 w 760"/>
              <a:gd name="T47" fmla="*/ 147 h 759"/>
              <a:gd name="T48" fmla="*/ 180 w 760"/>
              <a:gd name="T49" fmla="*/ 166 h 759"/>
              <a:gd name="T50" fmla="*/ 175 w 760"/>
              <a:gd name="T51" fmla="*/ 30 h 759"/>
              <a:gd name="T52" fmla="*/ 251 w 760"/>
              <a:gd name="T53" fmla="*/ 102 h 759"/>
              <a:gd name="T54" fmla="*/ 248 w 760"/>
              <a:gd name="T55" fmla="*/ 187 h 759"/>
              <a:gd name="T56" fmla="*/ 703 w 760"/>
              <a:gd name="T57" fmla="*/ 505 h 759"/>
              <a:gd name="T58" fmla="*/ 611 w 760"/>
              <a:gd name="T59" fmla="*/ 477 h 759"/>
              <a:gd name="T60" fmla="*/ 619 w 760"/>
              <a:gd name="T61" fmla="*/ 283 h 759"/>
              <a:gd name="T62" fmla="*/ 732 w 760"/>
              <a:gd name="T63" fmla="*/ 225 h 759"/>
              <a:gd name="T64" fmla="*/ 759 w 760"/>
              <a:gd name="T65" fmla="*/ 129 h 759"/>
              <a:gd name="T66" fmla="*/ 732 w 760"/>
              <a:gd name="T67" fmla="*/ 82 h 759"/>
              <a:gd name="T68" fmla="*/ 682 w 760"/>
              <a:gd name="T69" fmla="*/ 22 h 759"/>
              <a:gd name="T70" fmla="*/ 591 w 760"/>
              <a:gd name="T71" fmla="*/ 3 h 759"/>
              <a:gd name="T72" fmla="*/ 495 w 760"/>
              <a:gd name="T73" fmla="*/ 73 h 759"/>
              <a:gd name="T74" fmla="*/ 480 w 760"/>
              <a:gd name="T75" fmla="*/ 169 h 759"/>
              <a:gd name="T76" fmla="*/ 283 w 760"/>
              <a:gd name="T77" fmla="*/ 129 h 759"/>
              <a:gd name="T78" fmla="*/ 242 w 760"/>
              <a:gd name="T79" fmla="*/ 42 h 759"/>
              <a:gd name="T80" fmla="*/ 149 w 760"/>
              <a:gd name="T81" fmla="*/ 0 h 759"/>
              <a:gd name="T82" fmla="*/ 82 w 760"/>
              <a:gd name="T83" fmla="*/ 22 h 759"/>
              <a:gd name="T84" fmla="*/ 28 w 760"/>
              <a:gd name="T85" fmla="*/ 82 h 759"/>
              <a:gd name="T86" fmla="*/ 1 w 760"/>
              <a:gd name="T87" fmla="*/ 129 h 759"/>
              <a:gd name="T88" fmla="*/ 28 w 760"/>
              <a:gd name="T89" fmla="*/ 227 h 759"/>
              <a:gd name="T90" fmla="*/ 111 w 760"/>
              <a:gd name="T91" fmla="*/ 281 h 759"/>
              <a:gd name="T92" fmla="*/ 189 w 760"/>
              <a:gd name="T93" fmla="*/ 485 h 759"/>
              <a:gd name="T94" fmla="*/ 64 w 760"/>
              <a:gd name="T95" fmla="*/ 501 h 759"/>
              <a:gd name="T96" fmla="*/ 3 w 760"/>
              <a:gd name="T97" fmla="*/ 592 h 759"/>
              <a:gd name="T98" fmla="*/ 16 w 760"/>
              <a:gd name="T99" fmla="*/ 678 h 759"/>
              <a:gd name="T100" fmla="*/ 86 w 760"/>
              <a:gd name="T101" fmla="*/ 727 h 759"/>
              <a:gd name="T102" fmla="*/ 116 w 760"/>
              <a:gd name="T103" fmla="*/ 757 h 759"/>
              <a:gd name="T104" fmla="*/ 232 w 760"/>
              <a:gd name="T105" fmla="*/ 727 h 759"/>
              <a:gd name="T106" fmla="*/ 282 w 760"/>
              <a:gd name="T107" fmla="*/ 640 h 759"/>
              <a:gd name="T108" fmla="*/ 482 w 760"/>
              <a:gd name="T109" fmla="*/ 581 h 759"/>
              <a:gd name="T110" fmla="*/ 491 w 760"/>
              <a:gd name="T111" fmla="*/ 678 h 759"/>
              <a:gd name="T112" fmla="*/ 578 w 760"/>
              <a:gd name="T113" fmla="*/ 754 h 759"/>
              <a:gd name="T114" fmla="*/ 681 w 760"/>
              <a:gd name="T115" fmla="*/ 742 h 759"/>
              <a:gd name="T116" fmla="*/ 730 w 760"/>
              <a:gd name="T117" fmla="*/ 679 h 759"/>
              <a:gd name="T118" fmla="*/ 758 w 760"/>
              <a:gd name="T119" fmla="*/ 642 h 759"/>
              <a:gd name="T120" fmla="*/ 739 w 760"/>
              <a:gd name="T121" fmla="*/ 544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0" h="759">
                <a:moveTo>
                  <a:pt x="731" y="642"/>
                </a:moveTo>
                <a:lnTo>
                  <a:pt x="685" y="591"/>
                </a:lnTo>
                <a:lnTo>
                  <a:pt x="681" y="588"/>
                </a:lnTo>
                <a:lnTo>
                  <a:pt x="676" y="586"/>
                </a:lnTo>
                <a:lnTo>
                  <a:pt x="599" y="586"/>
                </a:lnTo>
                <a:lnTo>
                  <a:pt x="594" y="587"/>
                </a:lnTo>
                <a:lnTo>
                  <a:pt x="590" y="590"/>
                </a:lnTo>
                <a:lnTo>
                  <a:pt x="588" y="594"/>
                </a:lnTo>
                <a:lnTo>
                  <a:pt x="586" y="598"/>
                </a:lnTo>
                <a:lnTo>
                  <a:pt x="586" y="675"/>
                </a:lnTo>
                <a:lnTo>
                  <a:pt x="586" y="678"/>
                </a:lnTo>
                <a:lnTo>
                  <a:pt x="588" y="680"/>
                </a:lnTo>
                <a:lnTo>
                  <a:pt x="589" y="683"/>
                </a:lnTo>
                <a:lnTo>
                  <a:pt x="591" y="685"/>
                </a:lnTo>
                <a:lnTo>
                  <a:pt x="643" y="732"/>
                </a:lnTo>
                <a:lnTo>
                  <a:pt x="629" y="734"/>
                </a:lnTo>
                <a:lnTo>
                  <a:pt x="615" y="734"/>
                </a:lnTo>
                <a:lnTo>
                  <a:pt x="600" y="733"/>
                </a:lnTo>
                <a:lnTo>
                  <a:pt x="586" y="729"/>
                </a:lnTo>
                <a:lnTo>
                  <a:pt x="574" y="724"/>
                </a:lnTo>
                <a:lnTo>
                  <a:pt x="561" y="718"/>
                </a:lnTo>
                <a:lnTo>
                  <a:pt x="548" y="710"/>
                </a:lnTo>
                <a:lnTo>
                  <a:pt x="537" y="700"/>
                </a:lnTo>
                <a:lnTo>
                  <a:pt x="531" y="694"/>
                </a:lnTo>
                <a:lnTo>
                  <a:pt x="525" y="688"/>
                </a:lnTo>
                <a:lnTo>
                  <a:pt x="521" y="680"/>
                </a:lnTo>
                <a:lnTo>
                  <a:pt x="517" y="673"/>
                </a:lnTo>
                <a:lnTo>
                  <a:pt x="512" y="665"/>
                </a:lnTo>
                <a:lnTo>
                  <a:pt x="509" y="657"/>
                </a:lnTo>
                <a:lnTo>
                  <a:pt x="507" y="649"/>
                </a:lnTo>
                <a:lnTo>
                  <a:pt x="505" y="640"/>
                </a:lnTo>
                <a:lnTo>
                  <a:pt x="504" y="633"/>
                </a:lnTo>
                <a:lnTo>
                  <a:pt x="504" y="624"/>
                </a:lnTo>
                <a:lnTo>
                  <a:pt x="503" y="616"/>
                </a:lnTo>
                <a:lnTo>
                  <a:pt x="504" y="607"/>
                </a:lnTo>
                <a:lnTo>
                  <a:pt x="505" y="598"/>
                </a:lnTo>
                <a:lnTo>
                  <a:pt x="507" y="590"/>
                </a:lnTo>
                <a:lnTo>
                  <a:pt x="509" y="581"/>
                </a:lnTo>
                <a:lnTo>
                  <a:pt x="512" y="573"/>
                </a:lnTo>
                <a:lnTo>
                  <a:pt x="513" y="569"/>
                </a:lnTo>
                <a:lnTo>
                  <a:pt x="513" y="566"/>
                </a:lnTo>
                <a:lnTo>
                  <a:pt x="512" y="562"/>
                </a:lnTo>
                <a:lnTo>
                  <a:pt x="509" y="559"/>
                </a:lnTo>
                <a:lnTo>
                  <a:pt x="399" y="448"/>
                </a:lnTo>
                <a:lnTo>
                  <a:pt x="449" y="399"/>
                </a:lnTo>
                <a:lnTo>
                  <a:pt x="560" y="509"/>
                </a:lnTo>
                <a:lnTo>
                  <a:pt x="563" y="511"/>
                </a:lnTo>
                <a:lnTo>
                  <a:pt x="566" y="513"/>
                </a:lnTo>
                <a:lnTo>
                  <a:pt x="570" y="513"/>
                </a:lnTo>
                <a:lnTo>
                  <a:pt x="574" y="511"/>
                </a:lnTo>
                <a:lnTo>
                  <a:pt x="582" y="508"/>
                </a:lnTo>
                <a:lnTo>
                  <a:pt x="591" y="506"/>
                </a:lnTo>
                <a:lnTo>
                  <a:pt x="598" y="505"/>
                </a:lnTo>
                <a:lnTo>
                  <a:pt x="607" y="503"/>
                </a:lnTo>
                <a:lnTo>
                  <a:pt x="615" y="503"/>
                </a:lnTo>
                <a:lnTo>
                  <a:pt x="624" y="503"/>
                </a:lnTo>
                <a:lnTo>
                  <a:pt x="633" y="504"/>
                </a:lnTo>
                <a:lnTo>
                  <a:pt x="641" y="505"/>
                </a:lnTo>
                <a:lnTo>
                  <a:pt x="649" y="507"/>
                </a:lnTo>
                <a:lnTo>
                  <a:pt x="657" y="509"/>
                </a:lnTo>
                <a:lnTo>
                  <a:pt x="665" y="513"/>
                </a:lnTo>
                <a:lnTo>
                  <a:pt x="672" y="516"/>
                </a:lnTo>
                <a:lnTo>
                  <a:pt x="680" y="520"/>
                </a:lnTo>
                <a:lnTo>
                  <a:pt x="687" y="525"/>
                </a:lnTo>
                <a:lnTo>
                  <a:pt x="694" y="531"/>
                </a:lnTo>
                <a:lnTo>
                  <a:pt x="700" y="537"/>
                </a:lnTo>
                <a:lnTo>
                  <a:pt x="711" y="548"/>
                </a:lnTo>
                <a:lnTo>
                  <a:pt x="719" y="560"/>
                </a:lnTo>
                <a:lnTo>
                  <a:pt x="725" y="573"/>
                </a:lnTo>
                <a:lnTo>
                  <a:pt x="730" y="587"/>
                </a:lnTo>
                <a:lnTo>
                  <a:pt x="734" y="600"/>
                </a:lnTo>
                <a:lnTo>
                  <a:pt x="735" y="615"/>
                </a:lnTo>
                <a:lnTo>
                  <a:pt x="735" y="628"/>
                </a:lnTo>
                <a:lnTo>
                  <a:pt x="731" y="642"/>
                </a:lnTo>
                <a:close/>
                <a:moveTo>
                  <a:pt x="248" y="573"/>
                </a:moveTo>
                <a:lnTo>
                  <a:pt x="251" y="581"/>
                </a:lnTo>
                <a:lnTo>
                  <a:pt x="254" y="590"/>
                </a:lnTo>
                <a:lnTo>
                  <a:pt x="256" y="598"/>
                </a:lnTo>
                <a:lnTo>
                  <a:pt x="257" y="607"/>
                </a:lnTo>
                <a:lnTo>
                  <a:pt x="258" y="616"/>
                </a:lnTo>
                <a:lnTo>
                  <a:pt x="258" y="624"/>
                </a:lnTo>
                <a:lnTo>
                  <a:pt x="257" y="633"/>
                </a:lnTo>
                <a:lnTo>
                  <a:pt x="256" y="640"/>
                </a:lnTo>
                <a:lnTo>
                  <a:pt x="255" y="649"/>
                </a:lnTo>
                <a:lnTo>
                  <a:pt x="251" y="657"/>
                </a:lnTo>
                <a:lnTo>
                  <a:pt x="248" y="665"/>
                </a:lnTo>
                <a:lnTo>
                  <a:pt x="245" y="673"/>
                </a:lnTo>
                <a:lnTo>
                  <a:pt x="241" y="680"/>
                </a:lnTo>
                <a:lnTo>
                  <a:pt x="236" y="688"/>
                </a:lnTo>
                <a:lnTo>
                  <a:pt x="231" y="694"/>
                </a:lnTo>
                <a:lnTo>
                  <a:pt x="225" y="700"/>
                </a:lnTo>
                <a:lnTo>
                  <a:pt x="216" y="708"/>
                </a:lnTo>
                <a:lnTo>
                  <a:pt x="207" y="714"/>
                </a:lnTo>
                <a:lnTo>
                  <a:pt x="198" y="721"/>
                </a:lnTo>
                <a:lnTo>
                  <a:pt x="188" y="725"/>
                </a:lnTo>
                <a:lnTo>
                  <a:pt x="177" y="729"/>
                </a:lnTo>
                <a:lnTo>
                  <a:pt x="167" y="733"/>
                </a:lnTo>
                <a:lnTo>
                  <a:pt x="155" y="734"/>
                </a:lnTo>
                <a:lnTo>
                  <a:pt x="144" y="735"/>
                </a:lnTo>
                <a:lnTo>
                  <a:pt x="132" y="734"/>
                </a:lnTo>
                <a:lnTo>
                  <a:pt x="119" y="732"/>
                </a:lnTo>
                <a:lnTo>
                  <a:pt x="174" y="685"/>
                </a:lnTo>
                <a:lnTo>
                  <a:pt x="176" y="683"/>
                </a:lnTo>
                <a:lnTo>
                  <a:pt x="177" y="680"/>
                </a:lnTo>
                <a:lnTo>
                  <a:pt x="178" y="678"/>
                </a:lnTo>
                <a:lnTo>
                  <a:pt x="180" y="675"/>
                </a:lnTo>
                <a:lnTo>
                  <a:pt x="180" y="598"/>
                </a:lnTo>
                <a:lnTo>
                  <a:pt x="178" y="594"/>
                </a:lnTo>
                <a:lnTo>
                  <a:pt x="175" y="590"/>
                </a:lnTo>
                <a:lnTo>
                  <a:pt x="171" y="587"/>
                </a:lnTo>
                <a:lnTo>
                  <a:pt x="167" y="586"/>
                </a:lnTo>
                <a:lnTo>
                  <a:pt x="85" y="586"/>
                </a:lnTo>
                <a:lnTo>
                  <a:pt x="80" y="588"/>
                </a:lnTo>
                <a:lnTo>
                  <a:pt x="75" y="591"/>
                </a:lnTo>
                <a:lnTo>
                  <a:pt x="29" y="642"/>
                </a:lnTo>
                <a:lnTo>
                  <a:pt x="27" y="628"/>
                </a:lnTo>
                <a:lnTo>
                  <a:pt x="26" y="615"/>
                </a:lnTo>
                <a:lnTo>
                  <a:pt x="27" y="600"/>
                </a:lnTo>
                <a:lnTo>
                  <a:pt x="30" y="587"/>
                </a:lnTo>
                <a:lnTo>
                  <a:pt x="36" y="573"/>
                </a:lnTo>
                <a:lnTo>
                  <a:pt x="42" y="560"/>
                </a:lnTo>
                <a:lnTo>
                  <a:pt x="51" y="548"/>
                </a:lnTo>
                <a:lnTo>
                  <a:pt x="60" y="537"/>
                </a:lnTo>
                <a:lnTo>
                  <a:pt x="69" y="529"/>
                </a:lnTo>
                <a:lnTo>
                  <a:pt x="78" y="522"/>
                </a:lnTo>
                <a:lnTo>
                  <a:pt x="87" y="516"/>
                </a:lnTo>
                <a:lnTo>
                  <a:pt x="98" y="511"/>
                </a:lnTo>
                <a:lnTo>
                  <a:pt x="108" y="507"/>
                </a:lnTo>
                <a:lnTo>
                  <a:pt x="119" y="505"/>
                </a:lnTo>
                <a:lnTo>
                  <a:pt x="130" y="503"/>
                </a:lnTo>
                <a:lnTo>
                  <a:pt x="142" y="503"/>
                </a:lnTo>
                <a:lnTo>
                  <a:pt x="154" y="503"/>
                </a:lnTo>
                <a:lnTo>
                  <a:pt x="164" y="505"/>
                </a:lnTo>
                <a:lnTo>
                  <a:pt x="176" y="507"/>
                </a:lnTo>
                <a:lnTo>
                  <a:pt x="187" y="511"/>
                </a:lnTo>
                <a:lnTo>
                  <a:pt x="190" y="513"/>
                </a:lnTo>
                <a:lnTo>
                  <a:pt x="195" y="513"/>
                </a:lnTo>
                <a:lnTo>
                  <a:pt x="198" y="511"/>
                </a:lnTo>
                <a:lnTo>
                  <a:pt x="201" y="509"/>
                </a:lnTo>
                <a:lnTo>
                  <a:pt x="509" y="201"/>
                </a:lnTo>
                <a:lnTo>
                  <a:pt x="512" y="198"/>
                </a:lnTo>
                <a:lnTo>
                  <a:pt x="513" y="194"/>
                </a:lnTo>
                <a:lnTo>
                  <a:pt x="513" y="190"/>
                </a:lnTo>
                <a:lnTo>
                  <a:pt x="512" y="187"/>
                </a:lnTo>
                <a:lnTo>
                  <a:pt x="509" y="179"/>
                </a:lnTo>
                <a:lnTo>
                  <a:pt x="507" y="170"/>
                </a:lnTo>
                <a:lnTo>
                  <a:pt x="505" y="161"/>
                </a:lnTo>
                <a:lnTo>
                  <a:pt x="504" y="153"/>
                </a:lnTo>
                <a:lnTo>
                  <a:pt x="503" y="144"/>
                </a:lnTo>
                <a:lnTo>
                  <a:pt x="503" y="136"/>
                </a:lnTo>
                <a:lnTo>
                  <a:pt x="504" y="127"/>
                </a:lnTo>
                <a:lnTo>
                  <a:pt x="505" y="120"/>
                </a:lnTo>
                <a:lnTo>
                  <a:pt x="507" y="111"/>
                </a:lnTo>
                <a:lnTo>
                  <a:pt x="509" y="102"/>
                </a:lnTo>
                <a:lnTo>
                  <a:pt x="512" y="95"/>
                </a:lnTo>
                <a:lnTo>
                  <a:pt x="517" y="87"/>
                </a:lnTo>
                <a:lnTo>
                  <a:pt x="521" y="80"/>
                </a:lnTo>
                <a:lnTo>
                  <a:pt x="525" y="72"/>
                </a:lnTo>
                <a:lnTo>
                  <a:pt x="531" y="66"/>
                </a:lnTo>
                <a:lnTo>
                  <a:pt x="537" y="59"/>
                </a:lnTo>
                <a:lnTo>
                  <a:pt x="546" y="52"/>
                </a:lnTo>
                <a:lnTo>
                  <a:pt x="554" y="45"/>
                </a:lnTo>
                <a:lnTo>
                  <a:pt x="564" y="39"/>
                </a:lnTo>
                <a:lnTo>
                  <a:pt x="575" y="35"/>
                </a:lnTo>
                <a:lnTo>
                  <a:pt x="585" y="30"/>
                </a:lnTo>
                <a:lnTo>
                  <a:pt x="596" y="27"/>
                </a:lnTo>
                <a:lnTo>
                  <a:pt x="607" y="26"/>
                </a:lnTo>
                <a:lnTo>
                  <a:pt x="619" y="25"/>
                </a:lnTo>
                <a:lnTo>
                  <a:pt x="632" y="26"/>
                </a:lnTo>
                <a:lnTo>
                  <a:pt x="643" y="28"/>
                </a:lnTo>
                <a:lnTo>
                  <a:pt x="591" y="74"/>
                </a:lnTo>
                <a:lnTo>
                  <a:pt x="589" y="77"/>
                </a:lnTo>
                <a:lnTo>
                  <a:pt x="588" y="80"/>
                </a:lnTo>
                <a:lnTo>
                  <a:pt x="586" y="82"/>
                </a:lnTo>
                <a:lnTo>
                  <a:pt x="586" y="85"/>
                </a:lnTo>
                <a:lnTo>
                  <a:pt x="586" y="166"/>
                </a:lnTo>
                <a:lnTo>
                  <a:pt x="588" y="171"/>
                </a:lnTo>
                <a:lnTo>
                  <a:pt x="590" y="174"/>
                </a:lnTo>
                <a:lnTo>
                  <a:pt x="594" y="178"/>
                </a:lnTo>
                <a:lnTo>
                  <a:pt x="599" y="179"/>
                </a:lnTo>
                <a:lnTo>
                  <a:pt x="676" y="179"/>
                </a:lnTo>
                <a:lnTo>
                  <a:pt x="681" y="178"/>
                </a:lnTo>
                <a:lnTo>
                  <a:pt x="685" y="174"/>
                </a:lnTo>
                <a:lnTo>
                  <a:pt x="731" y="120"/>
                </a:lnTo>
                <a:lnTo>
                  <a:pt x="735" y="133"/>
                </a:lnTo>
                <a:lnTo>
                  <a:pt x="735" y="147"/>
                </a:lnTo>
                <a:lnTo>
                  <a:pt x="734" y="161"/>
                </a:lnTo>
                <a:lnTo>
                  <a:pt x="730" y="174"/>
                </a:lnTo>
                <a:lnTo>
                  <a:pt x="725" y="187"/>
                </a:lnTo>
                <a:lnTo>
                  <a:pt x="719" y="200"/>
                </a:lnTo>
                <a:lnTo>
                  <a:pt x="711" y="212"/>
                </a:lnTo>
                <a:lnTo>
                  <a:pt x="700" y="223"/>
                </a:lnTo>
                <a:lnTo>
                  <a:pt x="692" y="231"/>
                </a:lnTo>
                <a:lnTo>
                  <a:pt x="683" y="238"/>
                </a:lnTo>
                <a:lnTo>
                  <a:pt x="673" y="244"/>
                </a:lnTo>
                <a:lnTo>
                  <a:pt x="663" y="248"/>
                </a:lnTo>
                <a:lnTo>
                  <a:pt x="653" y="253"/>
                </a:lnTo>
                <a:lnTo>
                  <a:pt x="641" y="255"/>
                </a:lnTo>
                <a:lnTo>
                  <a:pt x="630" y="257"/>
                </a:lnTo>
                <a:lnTo>
                  <a:pt x="619" y="257"/>
                </a:lnTo>
                <a:lnTo>
                  <a:pt x="607" y="257"/>
                </a:lnTo>
                <a:lnTo>
                  <a:pt x="596" y="255"/>
                </a:lnTo>
                <a:lnTo>
                  <a:pt x="584" y="253"/>
                </a:lnTo>
                <a:lnTo>
                  <a:pt x="574" y="248"/>
                </a:lnTo>
                <a:lnTo>
                  <a:pt x="570" y="247"/>
                </a:lnTo>
                <a:lnTo>
                  <a:pt x="566" y="247"/>
                </a:lnTo>
                <a:lnTo>
                  <a:pt x="563" y="248"/>
                </a:lnTo>
                <a:lnTo>
                  <a:pt x="560" y="251"/>
                </a:lnTo>
                <a:lnTo>
                  <a:pt x="251" y="559"/>
                </a:lnTo>
                <a:lnTo>
                  <a:pt x="249" y="562"/>
                </a:lnTo>
                <a:lnTo>
                  <a:pt x="247" y="566"/>
                </a:lnTo>
                <a:lnTo>
                  <a:pt x="247" y="569"/>
                </a:lnTo>
                <a:lnTo>
                  <a:pt x="248" y="573"/>
                </a:lnTo>
                <a:close/>
                <a:moveTo>
                  <a:pt x="201" y="251"/>
                </a:moveTo>
                <a:lnTo>
                  <a:pt x="198" y="249"/>
                </a:lnTo>
                <a:lnTo>
                  <a:pt x="195" y="248"/>
                </a:lnTo>
                <a:lnTo>
                  <a:pt x="190" y="247"/>
                </a:lnTo>
                <a:lnTo>
                  <a:pt x="187" y="248"/>
                </a:lnTo>
                <a:lnTo>
                  <a:pt x="178" y="252"/>
                </a:lnTo>
                <a:lnTo>
                  <a:pt x="170" y="254"/>
                </a:lnTo>
                <a:lnTo>
                  <a:pt x="162" y="256"/>
                </a:lnTo>
                <a:lnTo>
                  <a:pt x="154" y="257"/>
                </a:lnTo>
                <a:lnTo>
                  <a:pt x="145" y="258"/>
                </a:lnTo>
                <a:lnTo>
                  <a:pt x="137" y="258"/>
                </a:lnTo>
                <a:lnTo>
                  <a:pt x="128" y="257"/>
                </a:lnTo>
                <a:lnTo>
                  <a:pt x="119" y="256"/>
                </a:lnTo>
                <a:lnTo>
                  <a:pt x="111" y="254"/>
                </a:lnTo>
                <a:lnTo>
                  <a:pt x="103" y="252"/>
                </a:lnTo>
                <a:lnTo>
                  <a:pt x="96" y="248"/>
                </a:lnTo>
                <a:lnTo>
                  <a:pt x="87" y="244"/>
                </a:lnTo>
                <a:lnTo>
                  <a:pt x="81" y="240"/>
                </a:lnTo>
                <a:lnTo>
                  <a:pt x="73" y="236"/>
                </a:lnTo>
                <a:lnTo>
                  <a:pt x="67" y="230"/>
                </a:lnTo>
                <a:lnTo>
                  <a:pt x="60" y="224"/>
                </a:lnTo>
                <a:lnTo>
                  <a:pt x="51" y="213"/>
                </a:lnTo>
                <a:lnTo>
                  <a:pt x="42" y="201"/>
                </a:lnTo>
                <a:lnTo>
                  <a:pt x="36" y="188"/>
                </a:lnTo>
                <a:lnTo>
                  <a:pt x="31" y="175"/>
                </a:lnTo>
                <a:lnTo>
                  <a:pt x="28" y="161"/>
                </a:lnTo>
                <a:lnTo>
                  <a:pt x="26" y="147"/>
                </a:lnTo>
                <a:lnTo>
                  <a:pt x="27" y="133"/>
                </a:lnTo>
                <a:lnTo>
                  <a:pt x="29" y="120"/>
                </a:lnTo>
                <a:lnTo>
                  <a:pt x="75" y="174"/>
                </a:lnTo>
                <a:lnTo>
                  <a:pt x="80" y="178"/>
                </a:lnTo>
                <a:lnTo>
                  <a:pt x="85" y="179"/>
                </a:lnTo>
                <a:lnTo>
                  <a:pt x="167" y="179"/>
                </a:lnTo>
                <a:lnTo>
                  <a:pt x="171" y="178"/>
                </a:lnTo>
                <a:lnTo>
                  <a:pt x="175" y="174"/>
                </a:lnTo>
                <a:lnTo>
                  <a:pt x="178" y="171"/>
                </a:lnTo>
                <a:lnTo>
                  <a:pt x="180" y="166"/>
                </a:lnTo>
                <a:lnTo>
                  <a:pt x="180" y="85"/>
                </a:lnTo>
                <a:lnTo>
                  <a:pt x="178" y="82"/>
                </a:lnTo>
                <a:lnTo>
                  <a:pt x="177" y="80"/>
                </a:lnTo>
                <a:lnTo>
                  <a:pt x="176" y="77"/>
                </a:lnTo>
                <a:lnTo>
                  <a:pt x="174" y="74"/>
                </a:lnTo>
                <a:lnTo>
                  <a:pt x="119" y="28"/>
                </a:lnTo>
                <a:lnTo>
                  <a:pt x="133" y="26"/>
                </a:lnTo>
                <a:lnTo>
                  <a:pt x="147" y="26"/>
                </a:lnTo>
                <a:lnTo>
                  <a:pt x="161" y="27"/>
                </a:lnTo>
                <a:lnTo>
                  <a:pt x="175" y="30"/>
                </a:lnTo>
                <a:lnTo>
                  <a:pt x="188" y="36"/>
                </a:lnTo>
                <a:lnTo>
                  <a:pt x="201" y="42"/>
                </a:lnTo>
                <a:lnTo>
                  <a:pt x="213" y="50"/>
                </a:lnTo>
                <a:lnTo>
                  <a:pt x="224" y="59"/>
                </a:lnTo>
                <a:lnTo>
                  <a:pt x="230" y="66"/>
                </a:lnTo>
                <a:lnTo>
                  <a:pt x="235" y="72"/>
                </a:lnTo>
                <a:lnTo>
                  <a:pt x="240" y="80"/>
                </a:lnTo>
                <a:lnTo>
                  <a:pt x="244" y="87"/>
                </a:lnTo>
                <a:lnTo>
                  <a:pt x="248" y="95"/>
                </a:lnTo>
                <a:lnTo>
                  <a:pt x="251" y="102"/>
                </a:lnTo>
                <a:lnTo>
                  <a:pt x="254" y="111"/>
                </a:lnTo>
                <a:lnTo>
                  <a:pt x="256" y="120"/>
                </a:lnTo>
                <a:lnTo>
                  <a:pt x="257" y="127"/>
                </a:lnTo>
                <a:lnTo>
                  <a:pt x="258" y="136"/>
                </a:lnTo>
                <a:lnTo>
                  <a:pt x="258" y="144"/>
                </a:lnTo>
                <a:lnTo>
                  <a:pt x="257" y="153"/>
                </a:lnTo>
                <a:lnTo>
                  <a:pt x="256" y="161"/>
                </a:lnTo>
                <a:lnTo>
                  <a:pt x="254" y="170"/>
                </a:lnTo>
                <a:lnTo>
                  <a:pt x="251" y="179"/>
                </a:lnTo>
                <a:lnTo>
                  <a:pt x="248" y="187"/>
                </a:lnTo>
                <a:lnTo>
                  <a:pt x="247" y="190"/>
                </a:lnTo>
                <a:lnTo>
                  <a:pt x="247" y="194"/>
                </a:lnTo>
                <a:lnTo>
                  <a:pt x="249" y="198"/>
                </a:lnTo>
                <a:lnTo>
                  <a:pt x="251" y="201"/>
                </a:lnTo>
                <a:lnTo>
                  <a:pt x="362" y="312"/>
                </a:lnTo>
                <a:lnTo>
                  <a:pt x="312" y="361"/>
                </a:lnTo>
                <a:lnTo>
                  <a:pt x="201" y="251"/>
                </a:lnTo>
                <a:close/>
                <a:moveTo>
                  <a:pt x="719" y="518"/>
                </a:moveTo>
                <a:lnTo>
                  <a:pt x="711" y="511"/>
                </a:lnTo>
                <a:lnTo>
                  <a:pt x="703" y="505"/>
                </a:lnTo>
                <a:lnTo>
                  <a:pt x="695" y="500"/>
                </a:lnTo>
                <a:lnTo>
                  <a:pt x="686" y="494"/>
                </a:lnTo>
                <a:lnTo>
                  <a:pt x="678" y="490"/>
                </a:lnTo>
                <a:lnTo>
                  <a:pt x="669" y="486"/>
                </a:lnTo>
                <a:lnTo>
                  <a:pt x="659" y="482"/>
                </a:lnTo>
                <a:lnTo>
                  <a:pt x="650" y="480"/>
                </a:lnTo>
                <a:lnTo>
                  <a:pt x="640" y="478"/>
                </a:lnTo>
                <a:lnTo>
                  <a:pt x="630" y="477"/>
                </a:lnTo>
                <a:lnTo>
                  <a:pt x="621" y="477"/>
                </a:lnTo>
                <a:lnTo>
                  <a:pt x="611" y="477"/>
                </a:lnTo>
                <a:lnTo>
                  <a:pt x="601" y="478"/>
                </a:lnTo>
                <a:lnTo>
                  <a:pt x="592" y="479"/>
                </a:lnTo>
                <a:lnTo>
                  <a:pt x="581" y="482"/>
                </a:lnTo>
                <a:lnTo>
                  <a:pt x="571" y="485"/>
                </a:lnTo>
                <a:lnTo>
                  <a:pt x="466" y="380"/>
                </a:lnTo>
                <a:lnTo>
                  <a:pt x="571" y="275"/>
                </a:lnTo>
                <a:lnTo>
                  <a:pt x="583" y="278"/>
                </a:lnTo>
                <a:lnTo>
                  <a:pt x="595" y="281"/>
                </a:lnTo>
                <a:lnTo>
                  <a:pt x="607" y="282"/>
                </a:lnTo>
                <a:lnTo>
                  <a:pt x="619" y="283"/>
                </a:lnTo>
                <a:lnTo>
                  <a:pt x="633" y="282"/>
                </a:lnTo>
                <a:lnTo>
                  <a:pt x="647" y="280"/>
                </a:lnTo>
                <a:lnTo>
                  <a:pt x="661" y="276"/>
                </a:lnTo>
                <a:lnTo>
                  <a:pt x="673" y="272"/>
                </a:lnTo>
                <a:lnTo>
                  <a:pt x="685" y="267"/>
                </a:lnTo>
                <a:lnTo>
                  <a:pt x="697" y="259"/>
                </a:lnTo>
                <a:lnTo>
                  <a:pt x="708" y="252"/>
                </a:lnTo>
                <a:lnTo>
                  <a:pt x="719" y="242"/>
                </a:lnTo>
                <a:lnTo>
                  <a:pt x="726" y="233"/>
                </a:lnTo>
                <a:lnTo>
                  <a:pt x="732" y="225"/>
                </a:lnTo>
                <a:lnTo>
                  <a:pt x="739" y="216"/>
                </a:lnTo>
                <a:lnTo>
                  <a:pt x="744" y="208"/>
                </a:lnTo>
                <a:lnTo>
                  <a:pt x="749" y="198"/>
                </a:lnTo>
                <a:lnTo>
                  <a:pt x="752" y="188"/>
                </a:lnTo>
                <a:lnTo>
                  <a:pt x="755" y="179"/>
                </a:lnTo>
                <a:lnTo>
                  <a:pt x="757" y="169"/>
                </a:lnTo>
                <a:lnTo>
                  <a:pt x="759" y="159"/>
                </a:lnTo>
                <a:lnTo>
                  <a:pt x="760" y="150"/>
                </a:lnTo>
                <a:lnTo>
                  <a:pt x="760" y="139"/>
                </a:lnTo>
                <a:lnTo>
                  <a:pt x="759" y="129"/>
                </a:lnTo>
                <a:lnTo>
                  <a:pt x="758" y="118"/>
                </a:lnTo>
                <a:lnTo>
                  <a:pt x="756" y="109"/>
                </a:lnTo>
                <a:lnTo>
                  <a:pt x="753" y="99"/>
                </a:lnTo>
                <a:lnTo>
                  <a:pt x="749" y="89"/>
                </a:lnTo>
                <a:lnTo>
                  <a:pt x="747" y="86"/>
                </a:lnTo>
                <a:lnTo>
                  <a:pt x="745" y="84"/>
                </a:lnTo>
                <a:lnTo>
                  <a:pt x="742" y="82"/>
                </a:lnTo>
                <a:lnTo>
                  <a:pt x="739" y="81"/>
                </a:lnTo>
                <a:lnTo>
                  <a:pt x="736" y="81"/>
                </a:lnTo>
                <a:lnTo>
                  <a:pt x="732" y="82"/>
                </a:lnTo>
                <a:lnTo>
                  <a:pt x="729" y="83"/>
                </a:lnTo>
                <a:lnTo>
                  <a:pt x="727" y="85"/>
                </a:lnTo>
                <a:lnTo>
                  <a:pt x="670" y="153"/>
                </a:lnTo>
                <a:lnTo>
                  <a:pt x="612" y="153"/>
                </a:lnTo>
                <a:lnTo>
                  <a:pt x="612" y="91"/>
                </a:lnTo>
                <a:lnTo>
                  <a:pt x="678" y="33"/>
                </a:lnTo>
                <a:lnTo>
                  <a:pt x="680" y="30"/>
                </a:lnTo>
                <a:lnTo>
                  <a:pt x="681" y="27"/>
                </a:lnTo>
                <a:lnTo>
                  <a:pt x="682" y="25"/>
                </a:lnTo>
                <a:lnTo>
                  <a:pt x="682" y="22"/>
                </a:lnTo>
                <a:lnTo>
                  <a:pt x="681" y="18"/>
                </a:lnTo>
                <a:lnTo>
                  <a:pt x="679" y="15"/>
                </a:lnTo>
                <a:lnTo>
                  <a:pt x="677" y="13"/>
                </a:lnTo>
                <a:lnTo>
                  <a:pt x="674" y="11"/>
                </a:lnTo>
                <a:lnTo>
                  <a:pt x="661" y="7"/>
                </a:lnTo>
                <a:lnTo>
                  <a:pt x="647" y="3"/>
                </a:lnTo>
                <a:lnTo>
                  <a:pt x="633" y="0"/>
                </a:lnTo>
                <a:lnTo>
                  <a:pt x="619" y="0"/>
                </a:lnTo>
                <a:lnTo>
                  <a:pt x="605" y="0"/>
                </a:lnTo>
                <a:lnTo>
                  <a:pt x="591" y="3"/>
                </a:lnTo>
                <a:lnTo>
                  <a:pt x="578" y="6"/>
                </a:lnTo>
                <a:lnTo>
                  <a:pt x="565" y="11"/>
                </a:lnTo>
                <a:lnTo>
                  <a:pt x="552" y="16"/>
                </a:lnTo>
                <a:lnTo>
                  <a:pt x="540" y="24"/>
                </a:lnTo>
                <a:lnTo>
                  <a:pt x="530" y="33"/>
                </a:lnTo>
                <a:lnTo>
                  <a:pt x="519" y="42"/>
                </a:lnTo>
                <a:lnTo>
                  <a:pt x="512" y="50"/>
                </a:lnTo>
                <a:lnTo>
                  <a:pt x="506" y="57"/>
                </a:lnTo>
                <a:lnTo>
                  <a:pt x="499" y="65"/>
                </a:lnTo>
                <a:lnTo>
                  <a:pt x="495" y="73"/>
                </a:lnTo>
                <a:lnTo>
                  <a:pt x="491" y="82"/>
                </a:lnTo>
                <a:lnTo>
                  <a:pt x="487" y="92"/>
                </a:lnTo>
                <a:lnTo>
                  <a:pt x="483" y="101"/>
                </a:lnTo>
                <a:lnTo>
                  <a:pt x="481" y="110"/>
                </a:lnTo>
                <a:lnTo>
                  <a:pt x="479" y="120"/>
                </a:lnTo>
                <a:lnTo>
                  <a:pt x="478" y="129"/>
                </a:lnTo>
                <a:lnTo>
                  <a:pt x="478" y="140"/>
                </a:lnTo>
                <a:lnTo>
                  <a:pt x="478" y="150"/>
                </a:lnTo>
                <a:lnTo>
                  <a:pt x="479" y="159"/>
                </a:lnTo>
                <a:lnTo>
                  <a:pt x="480" y="169"/>
                </a:lnTo>
                <a:lnTo>
                  <a:pt x="482" y="179"/>
                </a:lnTo>
                <a:lnTo>
                  <a:pt x="486" y="188"/>
                </a:lnTo>
                <a:lnTo>
                  <a:pt x="380" y="293"/>
                </a:lnTo>
                <a:lnTo>
                  <a:pt x="275" y="188"/>
                </a:lnTo>
                <a:lnTo>
                  <a:pt x="278" y="179"/>
                </a:lnTo>
                <a:lnTo>
                  <a:pt x="280" y="169"/>
                </a:lnTo>
                <a:lnTo>
                  <a:pt x="282" y="159"/>
                </a:lnTo>
                <a:lnTo>
                  <a:pt x="283" y="150"/>
                </a:lnTo>
                <a:lnTo>
                  <a:pt x="283" y="140"/>
                </a:lnTo>
                <a:lnTo>
                  <a:pt x="283" y="129"/>
                </a:lnTo>
                <a:lnTo>
                  <a:pt x="282" y="120"/>
                </a:lnTo>
                <a:lnTo>
                  <a:pt x="279" y="110"/>
                </a:lnTo>
                <a:lnTo>
                  <a:pt x="277" y="101"/>
                </a:lnTo>
                <a:lnTo>
                  <a:pt x="274" y="92"/>
                </a:lnTo>
                <a:lnTo>
                  <a:pt x="270" y="82"/>
                </a:lnTo>
                <a:lnTo>
                  <a:pt x="265" y="73"/>
                </a:lnTo>
                <a:lnTo>
                  <a:pt x="261" y="65"/>
                </a:lnTo>
                <a:lnTo>
                  <a:pt x="255" y="57"/>
                </a:lnTo>
                <a:lnTo>
                  <a:pt x="248" y="50"/>
                </a:lnTo>
                <a:lnTo>
                  <a:pt x="242" y="42"/>
                </a:lnTo>
                <a:lnTo>
                  <a:pt x="234" y="35"/>
                </a:lnTo>
                <a:lnTo>
                  <a:pt x="226" y="28"/>
                </a:lnTo>
                <a:lnTo>
                  <a:pt x="217" y="22"/>
                </a:lnTo>
                <a:lnTo>
                  <a:pt x="209" y="16"/>
                </a:lnTo>
                <a:lnTo>
                  <a:pt x="199" y="12"/>
                </a:lnTo>
                <a:lnTo>
                  <a:pt x="189" y="9"/>
                </a:lnTo>
                <a:lnTo>
                  <a:pt x="180" y="6"/>
                </a:lnTo>
                <a:lnTo>
                  <a:pt x="170" y="4"/>
                </a:lnTo>
                <a:lnTo>
                  <a:pt x="160" y="1"/>
                </a:lnTo>
                <a:lnTo>
                  <a:pt x="149" y="0"/>
                </a:lnTo>
                <a:lnTo>
                  <a:pt x="140" y="0"/>
                </a:lnTo>
                <a:lnTo>
                  <a:pt x="130" y="1"/>
                </a:lnTo>
                <a:lnTo>
                  <a:pt x="119" y="3"/>
                </a:lnTo>
                <a:lnTo>
                  <a:pt x="110" y="5"/>
                </a:lnTo>
                <a:lnTo>
                  <a:pt x="99" y="8"/>
                </a:lnTo>
                <a:lnTo>
                  <a:pt x="89" y="11"/>
                </a:lnTo>
                <a:lnTo>
                  <a:pt x="86" y="13"/>
                </a:lnTo>
                <a:lnTo>
                  <a:pt x="84" y="15"/>
                </a:lnTo>
                <a:lnTo>
                  <a:pt x="83" y="19"/>
                </a:lnTo>
                <a:lnTo>
                  <a:pt x="82" y="22"/>
                </a:lnTo>
                <a:lnTo>
                  <a:pt x="82" y="25"/>
                </a:lnTo>
                <a:lnTo>
                  <a:pt x="82" y="27"/>
                </a:lnTo>
                <a:lnTo>
                  <a:pt x="84" y="30"/>
                </a:lnTo>
                <a:lnTo>
                  <a:pt x="86" y="33"/>
                </a:lnTo>
                <a:lnTo>
                  <a:pt x="154" y="91"/>
                </a:lnTo>
                <a:lnTo>
                  <a:pt x="154" y="153"/>
                </a:lnTo>
                <a:lnTo>
                  <a:pt x="91" y="153"/>
                </a:lnTo>
                <a:lnTo>
                  <a:pt x="34" y="85"/>
                </a:lnTo>
                <a:lnTo>
                  <a:pt x="31" y="83"/>
                </a:lnTo>
                <a:lnTo>
                  <a:pt x="28" y="82"/>
                </a:lnTo>
                <a:lnTo>
                  <a:pt x="25" y="81"/>
                </a:lnTo>
                <a:lnTo>
                  <a:pt x="22" y="81"/>
                </a:lnTo>
                <a:lnTo>
                  <a:pt x="18" y="82"/>
                </a:lnTo>
                <a:lnTo>
                  <a:pt x="16" y="84"/>
                </a:lnTo>
                <a:lnTo>
                  <a:pt x="13" y="86"/>
                </a:lnTo>
                <a:lnTo>
                  <a:pt x="12" y="89"/>
                </a:lnTo>
                <a:lnTo>
                  <a:pt x="8" y="99"/>
                </a:lnTo>
                <a:lnTo>
                  <a:pt x="6" y="109"/>
                </a:lnTo>
                <a:lnTo>
                  <a:pt x="3" y="120"/>
                </a:lnTo>
                <a:lnTo>
                  <a:pt x="1" y="129"/>
                </a:lnTo>
                <a:lnTo>
                  <a:pt x="1" y="140"/>
                </a:lnTo>
                <a:lnTo>
                  <a:pt x="1" y="150"/>
                </a:lnTo>
                <a:lnTo>
                  <a:pt x="1" y="160"/>
                </a:lnTo>
                <a:lnTo>
                  <a:pt x="3" y="170"/>
                </a:lnTo>
                <a:lnTo>
                  <a:pt x="6" y="181"/>
                </a:lnTo>
                <a:lnTo>
                  <a:pt x="9" y="190"/>
                </a:lnTo>
                <a:lnTo>
                  <a:pt x="13" y="200"/>
                </a:lnTo>
                <a:lnTo>
                  <a:pt x="17" y="209"/>
                </a:lnTo>
                <a:lnTo>
                  <a:pt x="23" y="218"/>
                </a:lnTo>
                <a:lnTo>
                  <a:pt x="28" y="227"/>
                </a:lnTo>
                <a:lnTo>
                  <a:pt x="35" y="236"/>
                </a:lnTo>
                <a:lnTo>
                  <a:pt x="42" y="243"/>
                </a:lnTo>
                <a:lnTo>
                  <a:pt x="50" y="249"/>
                </a:lnTo>
                <a:lnTo>
                  <a:pt x="57" y="256"/>
                </a:lnTo>
                <a:lnTo>
                  <a:pt x="66" y="261"/>
                </a:lnTo>
                <a:lnTo>
                  <a:pt x="74" y="267"/>
                </a:lnTo>
                <a:lnTo>
                  <a:pt x="83" y="271"/>
                </a:lnTo>
                <a:lnTo>
                  <a:pt x="91" y="275"/>
                </a:lnTo>
                <a:lnTo>
                  <a:pt x="101" y="278"/>
                </a:lnTo>
                <a:lnTo>
                  <a:pt x="111" y="281"/>
                </a:lnTo>
                <a:lnTo>
                  <a:pt x="120" y="282"/>
                </a:lnTo>
                <a:lnTo>
                  <a:pt x="130" y="283"/>
                </a:lnTo>
                <a:lnTo>
                  <a:pt x="140" y="284"/>
                </a:lnTo>
                <a:lnTo>
                  <a:pt x="149" y="284"/>
                </a:lnTo>
                <a:lnTo>
                  <a:pt x="159" y="283"/>
                </a:lnTo>
                <a:lnTo>
                  <a:pt x="170" y="281"/>
                </a:lnTo>
                <a:lnTo>
                  <a:pt x="180" y="278"/>
                </a:lnTo>
                <a:lnTo>
                  <a:pt x="189" y="275"/>
                </a:lnTo>
                <a:lnTo>
                  <a:pt x="294" y="380"/>
                </a:lnTo>
                <a:lnTo>
                  <a:pt x="189" y="485"/>
                </a:lnTo>
                <a:lnTo>
                  <a:pt x="177" y="481"/>
                </a:lnTo>
                <a:lnTo>
                  <a:pt x="166" y="479"/>
                </a:lnTo>
                <a:lnTo>
                  <a:pt x="154" y="478"/>
                </a:lnTo>
                <a:lnTo>
                  <a:pt x="142" y="477"/>
                </a:lnTo>
                <a:lnTo>
                  <a:pt x="128" y="478"/>
                </a:lnTo>
                <a:lnTo>
                  <a:pt x="114" y="480"/>
                </a:lnTo>
                <a:lnTo>
                  <a:pt x="101" y="484"/>
                </a:lnTo>
                <a:lnTo>
                  <a:pt x="88" y="488"/>
                </a:lnTo>
                <a:lnTo>
                  <a:pt x="75" y="494"/>
                </a:lnTo>
                <a:lnTo>
                  <a:pt x="64" y="501"/>
                </a:lnTo>
                <a:lnTo>
                  <a:pt x="53" y="509"/>
                </a:lnTo>
                <a:lnTo>
                  <a:pt x="42" y="518"/>
                </a:lnTo>
                <a:lnTo>
                  <a:pt x="35" y="526"/>
                </a:lnTo>
                <a:lnTo>
                  <a:pt x="28" y="535"/>
                </a:lnTo>
                <a:lnTo>
                  <a:pt x="22" y="544"/>
                </a:lnTo>
                <a:lnTo>
                  <a:pt x="17" y="552"/>
                </a:lnTo>
                <a:lnTo>
                  <a:pt x="12" y="562"/>
                </a:lnTo>
                <a:lnTo>
                  <a:pt x="9" y="572"/>
                </a:lnTo>
                <a:lnTo>
                  <a:pt x="6" y="581"/>
                </a:lnTo>
                <a:lnTo>
                  <a:pt x="3" y="592"/>
                </a:lnTo>
                <a:lnTo>
                  <a:pt x="1" y="602"/>
                </a:lnTo>
                <a:lnTo>
                  <a:pt x="1" y="612"/>
                </a:lnTo>
                <a:lnTo>
                  <a:pt x="0" y="622"/>
                </a:lnTo>
                <a:lnTo>
                  <a:pt x="1" y="633"/>
                </a:lnTo>
                <a:lnTo>
                  <a:pt x="2" y="642"/>
                </a:lnTo>
                <a:lnTo>
                  <a:pt x="6" y="653"/>
                </a:lnTo>
                <a:lnTo>
                  <a:pt x="8" y="663"/>
                </a:lnTo>
                <a:lnTo>
                  <a:pt x="12" y="674"/>
                </a:lnTo>
                <a:lnTo>
                  <a:pt x="13" y="676"/>
                </a:lnTo>
                <a:lnTo>
                  <a:pt x="16" y="678"/>
                </a:lnTo>
                <a:lnTo>
                  <a:pt x="18" y="680"/>
                </a:lnTo>
                <a:lnTo>
                  <a:pt x="22" y="681"/>
                </a:lnTo>
                <a:lnTo>
                  <a:pt x="25" y="681"/>
                </a:lnTo>
                <a:lnTo>
                  <a:pt x="28" y="681"/>
                </a:lnTo>
                <a:lnTo>
                  <a:pt x="30" y="679"/>
                </a:lnTo>
                <a:lnTo>
                  <a:pt x="34" y="677"/>
                </a:lnTo>
                <a:lnTo>
                  <a:pt x="90" y="611"/>
                </a:lnTo>
                <a:lnTo>
                  <a:pt x="154" y="611"/>
                </a:lnTo>
                <a:lnTo>
                  <a:pt x="154" y="669"/>
                </a:lnTo>
                <a:lnTo>
                  <a:pt x="86" y="727"/>
                </a:lnTo>
                <a:lnTo>
                  <a:pt x="84" y="729"/>
                </a:lnTo>
                <a:lnTo>
                  <a:pt x="82" y="733"/>
                </a:lnTo>
                <a:lnTo>
                  <a:pt x="82" y="735"/>
                </a:lnTo>
                <a:lnTo>
                  <a:pt x="82" y="738"/>
                </a:lnTo>
                <a:lnTo>
                  <a:pt x="83" y="742"/>
                </a:lnTo>
                <a:lnTo>
                  <a:pt x="84" y="744"/>
                </a:lnTo>
                <a:lnTo>
                  <a:pt x="86" y="747"/>
                </a:lnTo>
                <a:lnTo>
                  <a:pt x="89" y="749"/>
                </a:lnTo>
                <a:lnTo>
                  <a:pt x="102" y="753"/>
                </a:lnTo>
                <a:lnTo>
                  <a:pt x="116" y="757"/>
                </a:lnTo>
                <a:lnTo>
                  <a:pt x="130" y="759"/>
                </a:lnTo>
                <a:lnTo>
                  <a:pt x="144" y="759"/>
                </a:lnTo>
                <a:lnTo>
                  <a:pt x="144" y="759"/>
                </a:lnTo>
                <a:lnTo>
                  <a:pt x="158" y="759"/>
                </a:lnTo>
                <a:lnTo>
                  <a:pt x="171" y="757"/>
                </a:lnTo>
                <a:lnTo>
                  <a:pt x="185" y="754"/>
                </a:lnTo>
                <a:lnTo>
                  <a:pt x="198" y="749"/>
                </a:lnTo>
                <a:lnTo>
                  <a:pt x="210" y="743"/>
                </a:lnTo>
                <a:lnTo>
                  <a:pt x="221" y="736"/>
                </a:lnTo>
                <a:lnTo>
                  <a:pt x="232" y="727"/>
                </a:lnTo>
                <a:lnTo>
                  <a:pt x="243" y="718"/>
                </a:lnTo>
                <a:lnTo>
                  <a:pt x="249" y="710"/>
                </a:lnTo>
                <a:lnTo>
                  <a:pt x="256" y="703"/>
                </a:lnTo>
                <a:lnTo>
                  <a:pt x="261" y="695"/>
                </a:lnTo>
                <a:lnTo>
                  <a:pt x="266" y="686"/>
                </a:lnTo>
                <a:lnTo>
                  <a:pt x="271" y="678"/>
                </a:lnTo>
                <a:lnTo>
                  <a:pt x="275" y="668"/>
                </a:lnTo>
                <a:lnTo>
                  <a:pt x="278" y="660"/>
                </a:lnTo>
                <a:lnTo>
                  <a:pt x="280" y="650"/>
                </a:lnTo>
                <a:lnTo>
                  <a:pt x="282" y="640"/>
                </a:lnTo>
                <a:lnTo>
                  <a:pt x="283" y="631"/>
                </a:lnTo>
                <a:lnTo>
                  <a:pt x="284" y="621"/>
                </a:lnTo>
                <a:lnTo>
                  <a:pt x="283" y="611"/>
                </a:lnTo>
                <a:lnTo>
                  <a:pt x="283" y="602"/>
                </a:lnTo>
                <a:lnTo>
                  <a:pt x="280" y="591"/>
                </a:lnTo>
                <a:lnTo>
                  <a:pt x="278" y="581"/>
                </a:lnTo>
                <a:lnTo>
                  <a:pt x="275" y="572"/>
                </a:lnTo>
                <a:lnTo>
                  <a:pt x="380" y="466"/>
                </a:lnTo>
                <a:lnTo>
                  <a:pt x="486" y="572"/>
                </a:lnTo>
                <a:lnTo>
                  <a:pt x="482" y="581"/>
                </a:lnTo>
                <a:lnTo>
                  <a:pt x="480" y="591"/>
                </a:lnTo>
                <a:lnTo>
                  <a:pt x="479" y="601"/>
                </a:lnTo>
                <a:lnTo>
                  <a:pt x="478" y="610"/>
                </a:lnTo>
                <a:lnTo>
                  <a:pt x="478" y="620"/>
                </a:lnTo>
                <a:lnTo>
                  <a:pt x="478" y="631"/>
                </a:lnTo>
                <a:lnTo>
                  <a:pt x="479" y="640"/>
                </a:lnTo>
                <a:lnTo>
                  <a:pt x="481" y="650"/>
                </a:lnTo>
                <a:lnTo>
                  <a:pt x="483" y="659"/>
                </a:lnTo>
                <a:lnTo>
                  <a:pt x="487" y="668"/>
                </a:lnTo>
                <a:lnTo>
                  <a:pt x="491" y="678"/>
                </a:lnTo>
                <a:lnTo>
                  <a:pt x="495" y="686"/>
                </a:lnTo>
                <a:lnTo>
                  <a:pt x="501" y="695"/>
                </a:lnTo>
                <a:lnTo>
                  <a:pt x="506" y="703"/>
                </a:lnTo>
                <a:lnTo>
                  <a:pt x="512" y="710"/>
                </a:lnTo>
                <a:lnTo>
                  <a:pt x="519" y="718"/>
                </a:lnTo>
                <a:lnTo>
                  <a:pt x="530" y="727"/>
                </a:lnTo>
                <a:lnTo>
                  <a:pt x="541" y="736"/>
                </a:lnTo>
                <a:lnTo>
                  <a:pt x="553" y="743"/>
                </a:lnTo>
                <a:lnTo>
                  <a:pt x="565" y="749"/>
                </a:lnTo>
                <a:lnTo>
                  <a:pt x="578" y="754"/>
                </a:lnTo>
                <a:lnTo>
                  <a:pt x="592" y="757"/>
                </a:lnTo>
                <a:lnTo>
                  <a:pt x="605" y="759"/>
                </a:lnTo>
                <a:lnTo>
                  <a:pt x="619" y="759"/>
                </a:lnTo>
                <a:lnTo>
                  <a:pt x="633" y="759"/>
                </a:lnTo>
                <a:lnTo>
                  <a:pt x="647" y="757"/>
                </a:lnTo>
                <a:lnTo>
                  <a:pt x="661" y="753"/>
                </a:lnTo>
                <a:lnTo>
                  <a:pt x="674" y="749"/>
                </a:lnTo>
                <a:lnTo>
                  <a:pt x="677" y="747"/>
                </a:lnTo>
                <a:lnTo>
                  <a:pt x="679" y="744"/>
                </a:lnTo>
                <a:lnTo>
                  <a:pt x="681" y="742"/>
                </a:lnTo>
                <a:lnTo>
                  <a:pt x="682" y="738"/>
                </a:lnTo>
                <a:lnTo>
                  <a:pt x="682" y="735"/>
                </a:lnTo>
                <a:lnTo>
                  <a:pt x="681" y="733"/>
                </a:lnTo>
                <a:lnTo>
                  <a:pt x="680" y="729"/>
                </a:lnTo>
                <a:lnTo>
                  <a:pt x="678" y="727"/>
                </a:lnTo>
                <a:lnTo>
                  <a:pt x="612" y="669"/>
                </a:lnTo>
                <a:lnTo>
                  <a:pt x="612" y="611"/>
                </a:lnTo>
                <a:lnTo>
                  <a:pt x="670" y="611"/>
                </a:lnTo>
                <a:lnTo>
                  <a:pt x="727" y="677"/>
                </a:lnTo>
                <a:lnTo>
                  <a:pt x="730" y="679"/>
                </a:lnTo>
                <a:lnTo>
                  <a:pt x="732" y="681"/>
                </a:lnTo>
                <a:lnTo>
                  <a:pt x="736" y="681"/>
                </a:lnTo>
                <a:lnTo>
                  <a:pt x="739" y="681"/>
                </a:lnTo>
                <a:lnTo>
                  <a:pt x="742" y="680"/>
                </a:lnTo>
                <a:lnTo>
                  <a:pt x="745" y="678"/>
                </a:lnTo>
                <a:lnTo>
                  <a:pt x="747" y="676"/>
                </a:lnTo>
                <a:lnTo>
                  <a:pt x="749" y="674"/>
                </a:lnTo>
                <a:lnTo>
                  <a:pt x="753" y="663"/>
                </a:lnTo>
                <a:lnTo>
                  <a:pt x="756" y="653"/>
                </a:lnTo>
                <a:lnTo>
                  <a:pt x="758" y="642"/>
                </a:lnTo>
                <a:lnTo>
                  <a:pt x="759" y="633"/>
                </a:lnTo>
                <a:lnTo>
                  <a:pt x="760" y="622"/>
                </a:lnTo>
                <a:lnTo>
                  <a:pt x="760" y="612"/>
                </a:lnTo>
                <a:lnTo>
                  <a:pt x="759" y="602"/>
                </a:lnTo>
                <a:lnTo>
                  <a:pt x="757" y="592"/>
                </a:lnTo>
                <a:lnTo>
                  <a:pt x="755" y="581"/>
                </a:lnTo>
                <a:lnTo>
                  <a:pt x="752" y="572"/>
                </a:lnTo>
                <a:lnTo>
                  <a:pt x="749" y="562"/>
                </a:lnTo>
                <a:lnTo>
                  <a:pt x="744" y="552"/>
                </a:lnTo>
                <a:lnTo>
                  <a:pt x="739" y="544"/>
                </a:lnTo>
                <a:lnTo>
                  <a:pt x="732" y="535"/>
                </a:lnTo>
                <a:lnTo>
                  <a:pt x="726" y="526"/>
                </a:lnTo>
                <a:lnTo>
                  <a:pt x="719" y="518"/>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044" name="Group 18">
            <a:extLst>
              <a:ext uri="{FF2B5EF4-FFF2-40B4-BE49-F238E27FC236}">
                <a16:creationId xmlns:a16="http://schemas.microsoft.com/office/drawing/2014/main" id="{19065DCC-B55E-4D5A-8D27-531B2C44C982}"/>
              </a:ext>
            </a:extLst>
          </p:cNvPr>
          <p:cNvGrpSpPr>
            <a:grpSpLocks noChangeAspect="1"/>
          </p:cNvGrpSpPr>
          <p:nvPr/>
        </p:nvGrpSpPr>
        <p:grpSpPr>
          <a:xfrm>
            <a:off x="272744" y="3282401"/>
            <a:ext cx="304790" cy="253991"/>
            <a:chOff x="9886950" y="822325"/>
            <a:chExt cx="285750" cy="238125"/>
          </a:xfrm>
          <a:solidFill>
            <a:schemeClr val="bg2"/>
          </a:solidFill>
          <a:effectLst/>
        </p:grpSpPr>
        <p:sp>
          <p:nvSpPr>
            <p:cNvPr id="1045" name="Freeform 361">
              <a:extLst>
                <a:ext uri="{FF2B5EF4-FFF2-40B4-BE49-F238E27FC236}">
                  <a16:creationId xmlns:a16="http://schemas.microsoft.com/office/drawing/2014/main" id="{FB966A3F-A650-4798-B3BB-22223844BCCB}"/>
                </a:ext>
              </a:extLst>
            </p:cNvPr>
            <p:cNvSpPr>
              <a:spLocks noEditPoints="1"/>
            </p:cNvSpPr>
            <p:nvPr/>
          </p:nvSpPr>
          <p:spPr bwMode="auto">
            <a:xfrm>
              <a:off x="9963150" y="898525"/>
              <a:ext cx="133350" cy="133350"/>
            </a:xfrm>
            <a:custGeom>
              <a:avLst/>
              <a:gdLst>
                <a:gd name="T0" fmla="*/ 286 w 421"/>
                <a:gd name="T1" fmla="*/ 270 h 420"/>
                <a:gd name="T2" fmla="*/ 280 w 421"/>
                <a:gd name="T3" fmla="*/ 271 h 420"/>
                <a:gd name="T4" fmla="*/ 275 w 421"/>
                <a:gd name="T5" fmla="*/ 274 h 420"/>
                <a:gd name="T6" fmla="*/ 272 w 421"/>
                <a:gd name="T7" fmla="*/ 280 h 420"/>
                <a:gd name="T8" fmla="*/ 271 w 421"/>
                <a:gd name="T9" fmla="*/ 285 h 420"/>
                <a:gd name="T10" fmla="*/ 150 w 421"/>
                <a:gd name="T11" fmla="*/ 390 h 420"/>
                <a:gd name="T12" fmla="*/ 150 w 421"/>
                <a:gd name="T13" fmla="*/ 282 h 420"/>
                <a:gd name="T14" fmla="*/ 148 w 421"/>
                <a:gd name="T15" fmla="*/ 277 h 420"/>
                <a:gd name="T16" fmla="*/ 144 w 421"/>
                <a:gd name="T17" fmla="*/ 273 h 420"/>
                <a:gd name="T18" fmla="*/ 138 w 421"/>
                <a:gd name="T19" fmla="*/ 270 h 420"/>
                <a:gd name="T20" fmla="*/ 30 w 421"/>
                <a:gd name="T21" fmla="*/ 270 h 420"/>
                <a:gd name="T22" fmla="*/ 135 w 421"/>
                <a:gd name="T23" fmla="*/ 150 h 420"/>
                <a:gd name="T24" fmla="*/ 142 w 421"/>
                <a:gd name="T25" fmla="*/ 149 h 420"/>
                <a:gd name="T26" fmla="*/ 146 w 421"/>
                <a:gd name="T27" fmla="*/ 146 h 420"/>
                <a:gd name="T28" fmla="*/ 149 w 421"/>
                <a:gd name="T29" fmla="*/ 142 h 420"/>
                <a:gd name="T30" fmla="*/ 150 w 421"/>
                <a:gd name="T31" fmla="*/ 135 h 420"/>
                <a:gd name="T32" fmla="*/ 271 w 421"/>
                <a:gd name="T33" fmla="*/ 30 h 420"/>
                <a:gd name="T34" fmla="*/ 271 w 421"/>
                <a:gd name="T35" fmla="*/ 138 h 420"/>
                <a:gd name="T36" fmla="*/ 273 w 421"/>
                <a:gd name="T37" fmla="*/ 144 h 420"/>
                <a:gd name="T38" fmla="*/ 278 w 421"/>
                <a:gd name="T39" fmla="*/ 148 h 420"/>
                <a:gd name="T40" fmla="*/ 283 w 421"/>
                <a:gd name="T41" fmla="*/ 150 h 420"/>
                <a:gd name="T42" fmla="*/ 391 w 421"/>
                <a:gd name="T43" fmla="*/ 150 h 420"/>
                <a:gd name="T44" fmla="*/ 406 w 421"/>
                <a:gd name="T45" fmla="*/ 120 h 420"/>
                <a:gd name="T46" fmla="*/ 301 w 421"/>
                <a:gd name="T47" fmla="*/ 15 h 420"/>
                <a:gd name="T48" fmla="*/ 299 w 421"/>
                <a:gd name="T49" fmla="*/ 10 h 420"/>
                <a:gd name="T50" fmla="*/ 296 w 421"/>
                <a:gd name="T51" fmla="*/ 5 h 420"/>
                <a:gd name="T52" fmla="*/ 291 w 421"/>
                <a:gd name="T53" fmla="*/ 1 h 420"/>
                <a:gd name="T54" fmla="*/ 286 w 421"/>
                <a:gd name="T55" fmla="*/ 0 h 420"/>
                <a:gd name="T56" fmla="*/ 133 w 421"/>
                <a:gd name="T57" fmla="*/ 0 h 420"/>
                <a:gd name="T58" fmla="*/ 127 w 421"/>
                <a:gd name="T59" fmla="*/ 2 h 420"/>
                <a:gd name="T60" fmla="*/ 124 w 421"/>
                <a:gd name="T61" fmla="*/ 7 h 420"/>
                <a:gd name="T62" fmla="*/ 121 w 421"/>
                <a:gd name="T63" fmla="*/ 12 h 420"/>
                <a:gd name="T64" fmla="*/ 120 w 421"/>
                <a:gd name="T65" fmla="*/ 120 h 420"/>
                <a:gd name="T66" fmla="*/ 12 w 421"/>
                <a:gd name="T67" fmla="*/ 120 h 420"/>
                <a:gd name="T68" fmla="*/ 7 w 421"/>
                <a:gd name="T69" fmla="*/ 122 h 420"/>
                <a:gd name="T70" fmla="*/ 4 w 421"/>
                <a:gd name="T71" fmla="*/ 127 h 420"/>
                <a:gd name="T72" fmla="*/ 0 w 421"/>
                <a:gd name="T73" fmla="*/ 132 h 420"/>
                <a:gd name="T74" fmla="*/ 0 w 421"/>
                <a:gd name="T75" fmla="*/ 285 h 420"/>
                <a:gd name="T76" fmla="*/ 2 w 421"/>
                <a:gd name="T77" fmla="*/ 291 h 420"/>
                <a:gd name="T78" fmla="*/ 5 w 421"/>
                <a:gd name="T79" fmla="*/ 296 h 420"/>
                <a:gd name="T80" fmla="*/ 10 w 421"/>
                <a:gd name="T81" fmla="*/ 299 h 420"/>
                <a:gd name="T82" fmla="*/ 15 w 421"/>
                <a:gd name="T83" fmla="*/ 300 h 420"/>
                <a:gd name="T84" fmla="*/ 120 w 421"/>
                <a:gd name="T85" fmla="*/ 405 h 420"/>
                <a:gd name="T86" fmla="*/ 121 w 421"/>
                <a:gd name="T87" fmla="*/ 411 h 420"/>
                <a:gd name="T88" fmla="*/ 125 w 421"/>
                <a:gd name="T89" fmla="*/ 415 h 420"/>
                <a:gd name="T90" fmla="*/ 130 w 421"/>
                <a:gd name="T91" fmla="*/ 419 h 420"/>
                <a:gd name="T92" fmla="*/ 135 w 421"/>
                <a:gd name="T93" fmla="*/ 420 h 420"/>
                <a:gd name="T94" fmla="*/ 288 w 421"/>
                <a:gd name="T95" fmla="*/ 420 h 420"/>
                <a:gd name="T96" fmla="*/ 294 w 421"/>
                <a:gd name="T97" fmla="*/ 418 h 420"/>
                <a:gd name="T98" fmla="*/ 298 w 421"/>
                <a:gd name="T99" fmla="*/ 413 h 420"/>
                <a:gd name="T100" fmla="*/ 300 w 421"/>
                <a:gd name="T101" fmla="*/ 408 h 420"/>
                <a:gd name="T102" fmla="*/ 301 w 421"/>
                <a:gd name="T103" fmla="*/ 300 h 420"/>
                <a:gd name="T104" fmla="*/ 409 w 421"/>
                <a:gd name="T105" fmla="*/ 300 h 420"/>
                <a:gd name="T106" fmla="*/ 415 w 421"/>
                <a:gd name="T107" fmla="*/ 298 h 420"/>
                <a:gd name="T108" fmla="*/ 418 w 421"/>
                <a:gd name="T109" fmla="*/ 293 h 420"/>
                <a:gd name="T110" fmla="*/ 420 w 421"/>
                <a:gd name="T111" fmla="*/ 288 h 420"/>
                <a:gd name="T112" fmla="*/ 421 w 421"/>
                <a:gd name="T113" fmla="*/ 135 h 420"/>
                <a:gd name="T114" fmla="*/ 420 w 421"/>
                <a:gd name="T115" fmla="*/ 130 h 420"/>
                <a:gd name="T116" fmla="*/ 417 w 421"/>
                <a:gd name="T117" fmla="*/ 124 h 420"/>
                <a:gd name="T118" fmla="*/ 411 w 421"/>
                <a:gd name="T119" fmla="*/ 121 h 420"/>
                <a:gd name="T120" fmla="*/ 406 w 421"/>
                <a:gd name="T121" fmla="*/ 1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1" h="420">
                  <a:moveTo>
                    <a:pt x="391" y="270"/>
                  </a:moveTo>
                  <a:lnTo>
                    <a:pt x="286" y="270"/>
                  </a:lnTo>
                  <a:lnTo>
                    <a:pt x="283" y="270"/>
                  </a:lnTo>
                  <a:lnTo>
                    <a:pt x="280" y="271"/>
                  </a:lnTo>
                  <a:lnTo>
                    <a:pt x="278" y="273"/>
                  </a:lnTo>
                  <a:lnTo>
                    <a:pt x="275" y="274"/>
                  </a:lnTo>
                  <a:lnTo>
                    <a:pt x="273" y="277"/>
                  </a:lnTo>
                  <a:lnTo>
                    <a:pt x="272" y="280"/>
                  </a:lnTo>
                  <a:lnTo>
                    <a:pt x="271" y="283"/>
                  </a:lnTo>
                  <a:lnTo>
                    <a:pt x="271" y="285"/>
                  </a:lnTo>
                  <a:lnTo>
                    <a:pt x="271" y="390"/>
                  </a:lnTo>
                  <a:lnTo>
                    <a:pt x="150" y="390"/>
                  </a:lnTo>
                  <a:lnTo>
                    <a:pt x="150" y="285"/>
                  </a:lnTo>
                  <a:lnTo>
                    <a:pt x="150" y="282"/>
                  </a:lnTo>
                  <a:lnTo>
                    <a:pt x="149" y="280"/>
                  </a:lnTo>
                  <a:lnTo>
                    <a:pt x="148" y="277"/>
                  </a:lnTo>
                  <a:lnTo>
                    <a:pt x="146" y="274"/>
                  </a:lnTo>
                  <a:lnTo>
                    <a:pt x="144" y="273"/>
                  </a:lnTo>
                  <a:lnTo>
                    <a:pt x="142" y="271"/>
                  </a:lnTo>
                  <a:lnTo>
                    <a:pt x="138" y="270"/>
                  </a:lnTo>
                  <a:lnTo>
                    <a:pt x="135" y="270"/>
                  </a:lnTo>
                  <a:lnTo>
                    <a:pt x="30" y="270"/>
                  </a:lnTo>
                  <a:lnTo>
                    <a:pt x="30" y="150"/>
                  </a:lnTo>
                  <a:lnTo>
                    <a:pt x="135" y="150"/>
                  </a:lnTo>
                  <a:lnTo>
                    <a:pt x="138" y="150"/>
                  </a:lnTo>
                  <a:lnTo>
                    <a:pt x="142" y="149"/>
                  </a:lnTo>
                  <a:lnTo>
                    <a:pt x="144" y="148"/>
                  </a:lnTo>
                  <a:lnTo>
                    <a:pt x="146" y="146"/>
                  </a:lnTo>
                  <a:lnTo>
                    <a:pt x="148" y="144"/>
                  </a:lnTo>
                  <a:lnTo>
                    <a:pt x="149" y="142"/>
                  </a:lnTo>
                  <a:lnTo>
                    <a:pt x="150" y="138"/>
                  </a:lnTo>
                  <a:lnTo>
                    <a:pt x="150" y="135"/>
                  </a:lnTo>
                  <a:lnTo>
                    <a:pt x="150" y="30"/>
                  </a:lnTo>
                  <a:lnTo>
                    <a:pt x="271" y="30"/>
                  </a:lnTo>
                  <a:lnTo>
                    <a:pt x="271" y="135"/>
                  </a:lnTo>
                  <a:lnTo>
                    <a:pt x="271" y="138"/>
                  </a:lnTo>
                  <a:lnTo>
                    <a:pt x="272" y="142"/>
                  </a:lnTo>
                  <a:lnTo>
                    <a:pt x="273" y="144"/>
                  </a:lnTo>
                  <a:lnTo>
                    <a:pt x="275" y="146"/>
                  </a:lnTo>
                  <a:lnTo>
                    <a:pt x="278" y="148"/>
                  </a:lnTo>
                  <a:lnTo>
                    <a:pt x="280" y="149"/>
                  </a:lnTo>
                  <a:lnTo>
                    <a:pt x="283" y="150"/>
                  </a:lnTo>
                  <a:lnTo>
                    <a:pt x="286" y="150"/>
                  </a:lnTo>
                  <a:lnTo>
                    <a:pt x="391" y="150"/>
                  </a:lnTo>
                  <a:lnTo>
                    <a:pt x="391" y="270"/>
                  </a:lnTo>
                  <a:close/>
                  <a:moveTo>
                    <a:pt x="406" y="120"/>
                  </a:moveTo>
                  <a:lnTo>
                    <a:pt x="301" y="120"/>
                  </a:lnTo>
                  <a:lnTo>
                    <a:pt x="301" y="15"/>
                  </a:lnTo>
                  <a:lnTo>
                    <a:pt x="300" y="12"/>
                  </a:lnTo>
                  <a:lnTo>
                    <a:pt x="299" y="10"/>
                  </a:lnTo>
                  <a:lnTo>
                    <a:pt x="298" y="7"/>
                  </a:lnTo>
                  <a:lnTo>
                    <a:pt x="296" y="5"/>
                  </a:lnTo>
                  <a:lnTo>
                    <a:pt x="294" y="2"/>
                  </a:lnTo>
                  <a:lnTo>
                    <a:pt x="291" y="1"/>
                  </a:lnTo>
                  <a:lnTo>
                    <a:pt x="288" y="0"/>
                  </a:lnTo>
                  <a:lnTo>
                    <a:pt x="286" y="0"/>
                  </a:lnTo>
                  <a:lnTo>
                    <a:pt x="135" y="0"/>
                  </a:lnTo>
                  <a:lnTo>
                    <a:pt x="133" y="0"/>
                  </a:lnTo>
                  <a:lnTo>
                    <a:pt x="130" y="1"/>
                  </a:lnTo>
                  <a:lnTo>
                    <a:pt x="127" y="2"/>
                  </a:lnTo>
                  <a:lnTo>
                    <a:pt x="125" y="5"/>
                  </a:lnTo>
                  <a:lnTo>
                    <a:pt x="124" y="7"/>
                  </a:lnTo>
                  <a:lnTo>
                    <a:pt x="121" y="10"/>
                  </a:lnTo>
                  <a:lnTo>
                    <a:pt x="121" y="12"/>
                  </a:lnTo>
                  <a:lnTo>
                    <a:pt x="120" y="15"/>
                  </a:lnTo>
                  <a:lnTo>
                    <a:pt x="120" y="120"/>
                  </a:lnTo>
                  <a:lnTo>
                    <a:pt x="15" y="120"/>
                  </a:lnTo>
                  <a:lnTo>
                    <a:pt x="12" y="120"/>
                  </a:lnTo>
                  <a:lnTo>
                    <a:pt x="10" y="121"/>
                  </a:lnTo>
                  <a:lnTo>
                    <a:pt x="7" y="122"/>
                  </a:lnTo>
                  <a:lnTo>
                    <a:pt x="5" y="124"/>
                  </a:lnTo>
                  <a:lnTo>
                    <a:pt x="4" y="127"/>
                  </a:lnTo>
                  <a:lnTo>
                    <a:pt x="2" y="130"/>
                  </a:lnTo>
                  <a:lnTo>
                    <a:pt x="0" y="132"/>
                  </a:lnTo>
                  <a:lnTo>
                    <a:pt x="0" y="135"/>
                  </a:lnTo>
                  <a:lnTo>
                    <a:pt x="0" y="285"/>
                  </a:lnTo>
                  <a:lnTo>
                    <a:pt x="0" y="288"/>
                  </a:lnTo>
                  <a:lnTo>
                    <a:pt x="2" y="291"/>
                  </a:lnTo>
                  <a:lnTo>
                    <a:pt x="4" y="293"/>
                  </a:lnTo>
                  <a:lnTo>
                    <a:pt x="5" y="296"/>
                  </a:lnTo>
                  <a:lnTo>
                    <a:pt x="7" y="298"/>
                  </a:lnTo>
                  <a:lnTo>
                    <a:pt x="10" y="299"/>
                  </a:lnTo>
                  <a:lnTo>
                    <a:pt x="12" y="300"/>
                  </a:lnTo>
                  <a:lnTo>
                    <a:pt x="15" y="300"/>
                  </a:lnTo>
                  <a:lnTo>
                    <a:pt x="120" y="300"/>
                  </a:lnTo>
                  <a:lnTo>
                    <a:pt x="120" y="405"/>
                  </a:lnTo>
                  <a:lnTo>
                    <a:pt x="121" y="408"/>
                  </a:lnTo>
                  <a:lnTo>
                    <a:pt x="121" y="411"/>
                  </a:lnTo>
                  <a:lnTo>
                    <a:pt x="124" y="413"/>
                  </a:lnTo>
                  <a:lnTo>
                    <a:pt x="125" y="415"/>
                  </a:lnTo>
                  <a:lnTo>
                    <a:pt x="127" y="418"/>
                  </a:lnTo>
                  <a:lnTo>
                    <a:pt x="130" y="419"/>
                  </a:lnTo>
                  <a:lnTo>
                    <a:pt x="132" y="420"/>
                  </a:lnTo>
                  <a:lnTo>
                    <a:pt x="135" y="420"/>
                  </a:lnTo>
                  <a:lnTo>
                    <a:pt x="286" y="420"/>
                  </a:lnTo>
                  <a:lnTo>
                    <a:pt x="288" y="420"/>
                  </a:lnTo>
                  <a:lnTo>
                    <a:pt x="291" y="419"/>
                  </a:lnTo>
                  <a:lnTo>
                    <a:pt x="294" y="418"/>
                  </a:lnTo>
                  <a:lnTo>
                    <a:pt x="296" y="415"/>
                  </a:lnTo>
                  <a:lnTo>
                    <a:pt x="298" y="413"/>
                  </a:lnTo>
                  <a:lnTo>
                    <a:pt x="299" y="411"/>
                  </a:lnTo>
                  <a:lnTo>
                    <a:pt x="300" y="408"/>
                  </a:lnTo>
                  <a:lnTo>
                    <a:pt x="301" y="405"/>
                  </a:lnTo>
                  <a:lnTo>
                    <a:pt x="301" y="300"/>
                  </a:lnTo>
                  <a:lnTo>
                    <a:pt x="406" y="300"/>
                  </a:lnTo>
                  <a:lnTo>
                    <a:pt x="409" y="300"/>
                  </a:lnTo>
                  <a:lnTo>
                    <a:pt x="411" y="299"/>
                  </a:lnTo>
                  <a:lnTo>
                    <a:pt x="415" y="298"/>
                  </a:lnTo>
                  <a:lnTo>
                    <a:pt x="417" y="296"/>
                  </a:lnTo>
                  <a:lnTo>
                    <a:pt x="418" y="293"/>
                  </a:lnTo>
                  <a:lnTo>
                    <a:pt x="420" y="291"/>
                  </a:lnTo>
                  <a:lnTo>
                    <a:pt x="420" y="288"/>
                  </a:lnTo>
                  <a:lnTo>
                    <a:pt x="421" y="285"/>
                  </a:lnTo>
                  <a:lnTo>
                    <a:pt x="421" y="135"/>
                  </a:lnTo>
                  <a:lnTo>
                    <a:pt x="420" y="132"/>
                  </a:lnTo>
                  <a:lnTo>
                    <a:pt x="420" y="130"/>
                  </a:lnTo>
                  <a:lnTo>
                    <a:pt x="418" y="127"/>
                  </a:lnTo>
                  <a:lnTo>
                    <a:pt x="417" y="124"/>
                  </a:lnTo>
                  <a:lnTo>
                    <a:pt x="415" y="122"/>
                  </a:lnTo>
                  <a:lnTo>
                    <a:pt x="411" y="121"/>
                  </a:lnTo>
                  <a:lnTo>
                    <a:pt x="409" y="120"/>
                  </a:lnTo>
                  <a:lnTo>
                    <a:pt x="406"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362">
              <a:extLst>
                <a:ext uri="{FF2B5EF4-FFF2-40B4-BE49-F238E27FC236}">
                  <a16:creationId xmlns:a16="http://schemas.microsoft.com/office/drawing/2014/main" id="{4DD37B91-4498-45F3-ABC3-AB061807308A}"/>
                </a:ext>
              </a:extLst>
            </p:cNvPr>
            <p:cNvSpPr>
              <a:spLocks noEditPoints="1"/>
            </p:cNvSpPr>
            <p:nvPr/>
          </p:nvSpPr>
          <p:spPr bwMode="auto">
            <a:xfrm>
              <a:off x="9886950" y="822325"/>
              <a:ext cx="285750" cy="238125"/>
            </a:xfrm>
            <a:custGeom>
              <a:avLst/>
              <a:gdLst>
                <a:gd name="T0" fmla="*/ 866 w 900"/>
                <a:gd name="T1" fmla="*/ 667 h 750"/>
                <a:gd name="T2" fmla="*/ 853 w 900"/>
                <a:gd name="T3" fmla="*/ 693 h 750"/>
                <a:gd name="T4" fmla="*/ 830 w 900"/>
                <a:gd name="T5" fmla="*/ 711 h 750"/>
                <a:gd name="T6" fmla="*/ 802 w 900"/>
                <a:gd name="T7" fmla="*/ 720 h 750"/>
                <a:gd name="T8" fmla="*/ 90 w 900"/>
                <a:gd name="T9" fmla="*/ 718 h 750"/>
                <a:gd name="T10" fmla="*/ 63 w 900"/>
                <a:gd name="T11" fmla="*/ 708 h 750"/>
                <a:gd name="T12" fmla="*/ 43 w 900"/>
                <a:gd name="T13" fmla="*/ 687 h 750"/>
                <a:gd name="T14" fmla="*/ 31 w 900"/>
                <a:gd name="T15" fmla="*/ 661 h 750"/>
                <a:gd name="T16" fmla="*/ 30 w 900"/>
                <a:gd name="T17" fmla="*/ 218 h 750"/>
                <a:gd name="T18" fmla="*/ 38 w 900"/>
                <a:gd name="T19" fmla="*/ 190 h 750"/>
                <a:gd name="T20" fmla="*/ 56 w 900"/>
                <a:gd name="T21" fmla="*/ 168 h 750"/>
                <a:gd name="T22" fmla="*/ 82 w 900"/>
                <a:gd name="T23" fmla="*/ 154 h 750"/>
                <a:gd name="T24" fmla="*/ 795 w 900"/>
                <a:gd name="T25" fmla="*/ 150 h 750"/>
                <a:gd name="T26" fmla="*/ 824 w 900"/>
                <a:gd name="T27" fmla="*/ 156 h 750"/>
                <a:gd name="T28" fmla="*/ 848 w 900"/>
                <a:gd name="T29" fmla="*/ 172 h 750"/>
                <a:gd name="T30" fmla="*/ 864 w 900"/>
                <a:gd name="T31" fmla="*/ 196 h 750"/>
                <a:gd name="T32" fmla="*/ 870 w 900"/>
                <a:gd name="T33" fmla="*/ 225 h 750"/>
                <a:gd name="T34" fmla="*/ 331 w 900"/>
                <a:gd name="T35" fmla="*/ 49 h 750"/>
                <a:gd name="T36" fmla="*/ 348 w 900"/>
                <a:gd name="T37" fmla="*/ 33 h 750"/>
                <a:gd name="T38" fmla="*/ 545 w 900"/>
                <a:gd name="T39" fmla="*/ 31 h 750"/>
                <a:gd name="T40" fmla="*/ 565 w 900"/>
                <a:gd name="T41" fmla="*/ 44 h 750"/>
                <a:gd name="T42" fmla="*/ 570 w 900"/>
                <a:gd name="T43" fmla="*/ 119 h 750"/>
                <a:gd name="T44" fmla="*/ 600 w 900"/>
                <a:gd name="T45" fmla="*/ 119 h 750"/>
                <a:gd name="T46" fmla="*/ 597 w 900"/>
                <a:gd name="T47" fmla="*/ 42 h 750"/>
                <a:gd name="T48" fmla="*/ 586 w 900"/>
                <a:gd name="T49" fmla="*/ 22 h 750"/>
                <a:gd name="T50" fmla="*/ 568 w 900"/>
                <a:gd name="T51" fmla="*/ 7 h 750"/>
                <a:gd name="T52" fmla="*/ 545 w 900"/>
                <a:gd name="T53" fmla="*/ 1 h 750"/>
                <a:gd name="T54" fmla="*/ 348 w 900"/>
                <a:gd name="T55" fmla="*/ 1 h 750"/>
                <a:gd name="T56" fmla="*/ 326 w 900"/>
                <a:gd name="T57" fmla="*/ 10 h 750"/>
                <a:gd name="T58" fmla="*/ 310 w 900"/>
                <a:gd name="T59" fmla="*/ 26 h 750"/>
                <a:gd name="T60" fmla="*/ 300 w 900"/>
                <a:gd name="T61" fmla="*/ 48 h 750"/>
                <a:gd name="T62" fmla="*/ 105 w 900"/>
                <a:gd name="T63" fmla="*/ 119 h 750"/>
                <a:gd name="T64" fmla="*/ 64 w 900"/>
                <a:gd name="T65" fmla="*/ 128 h 750"/>
                <a:gd name="T66" fmla="*/ 31 w 900"/>
                <a:gd name="T67" fmla="*/ 152 h 750"/>
                <a:gd name="T68" fmla="*/ 7 w 900"/>
                <a:gd name="T69" fmla="*/ 185 h 750"/>
                <a:gd name="T70" fmla="*/ 0 w 900"/>
                <a:gd name="T71" fmla="*/ 225 h 750"/>
                <a:gd name="T72" fmla="*/ 4 w 900"/>
                <a:gd name="T73" fmla="*/ 677 h 750"/>
                <a:gd name="T74" fmla="*/ 23 w 900"/>
                <a:gd name="T75" fmla="*/ 712 h 750"/>
                <a:gd name="T76" fmla="*/ 54 w 900"/>
                <a:gd name="T77" fmla="*/ 738 h 750"/>
                <a:gd name="T78" fmla="*/ 94 w 900"/>
                <a:gd name="T79" fmla="*/ 750 h 750"/>
                <a:gd name="T80" fmla="*/ 816 w 900"/>
                <a:gd name="T81" fmla="*/ 747 h 750"/>
                <a:gd name="T82" fmla="*/ 854 w 900"/>
                <a:gd name="T83" fmla="*/ 732 h 750"/>
                <a:gd name="T84" fmla="*/ 881 w 900"/>
                <a:gd name="T85" fmla="*/ 704 h 750"/>
                <a:gd name="T86" fmla="*/ 898 w 900"/>
                <a:gd name="T87" fmla="*/ 666 h 750"/>
                <a:gd name="T88" fmla="*/ 900 w 900"/>
                <a:gd name="T89" fmla="*/ 215 h 750"/>
                <a:gd name="T90" fmla="*/ 887 w 900"/>
                <a:gd name="T91" fmla="*/ 175 h 750"/>
                <a:gd name="T92" fmla="*/ 861 w 900"/>
                <a:gd name="T93" fmla="*/ 144 h 750"/>
                <a:gd name="T94" fmla="*/ 826 w 900"/>
                <a:gd name="T95" fmla="*/ 12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0" h="750">
                  <a:moveTo>
                    <a:pt x="870" y="645"/>
                  </a:moveTo>
                  <a:lnTo>
                    <a:pt x="870" y="653"/>
                  </a:lnTo>
                  <a:lnTo>
                    <a:pt x="869" y="661"/>
                  </a:lnTo>
                  <a:lnTo>
                    <a:pt x="866" y="667"/>
                  </a:lnTo>
                  <a:lnTo>
                    <a:pt x="864" y="675"/>
                  </a:lnTo>
                  <a:lnTo>
                    <a:pt x="861" y="681"/>
                  </a:lnTo>
                  <a:lnTo>
                    <a:pt x="857" y="687"/>
                  </a:lnTo>
                  <a:lnTo>
                    <a:pt x="853" y="693"/>
                  </a:lnTo>
                  <a:lnTo>
                    <a:pt x="847" y="698"/>
                  </a:lnTo>
                  <a:lnTo>
                    <a:pt x="843" y="704"/>
                  </a:lnTo>
                  <a:lnTo>
                    <a:pt x="837" y="708"/>
                  </a:lnTo>
                  <a:lnTo>
                    <a:pt x="830" y="711"/>
                  </a:lnTo>
                  <a:lnTo>
                    <a:pt x="824" y="714"/>
                  </a:lnTo>
                  <a:lnTo>
                    <a:pt x="817" y="716"/>
                  </a:lnTo>
                  <a:lnTo>
                    <a:pt x="810" y="718"/>
                  </a:lnTo>
                  <a:lnTo>
                    <a:pt x="802" y="720"/>
                  </a:lnTo>
                  <a:lnTo>
                    <a:pt x="795" y="720"/>
                  </a:lnTo>
                  <a:lnTo>
                    <a:pt x="105" y="720"/>
                  </a:lnTo>
                  <a:lnTo>
                    <a:pt x="97" y="720"/>
                  </a:lnTo>
                  <a:lnTo>
                    <a:pt x="90" y="718"/>
                  </a:lnTo>
                  <a:lnTo>
                    <a:pt x="82" y="716"/>
                  </a:lnTo>
                  <a:lnTo>
                    <a:pt x="76" y="714"/>
                  </a:lnTo>
                  <a:lnTo>
                    <a:pt x="69" y="711"/>
                  </a:lnTo>
                  <a:lnTo>
                    <a:pt x="63" y="708"/>
                  </a:lnTo>
                  <a:lnTo>
                    <a:pt x="56" y="704"/>
                  </a:lnTo>
                  <a:lnTo>
                    <a:pt x="51" y="698"/>
                  </a:lnTo>
                  <a:lnTo>
                    <a:pt x="47" y="693"/>
                  </a:lnTo>
                  <a:lnTo>
                    <a:pt x="43" y="687"/>
                  </a:lnTo>
                  <a:lnTo>
                    <a:pt x="38" y="681"/>
                  </a:lnTo>
                  <a:lnTo>
                    <a:pt x="35" y="675"/>
                  </a:lnTo>
                  <a:lnTo>
                    <a:pt x="33" y="667"/>
                  </a:lnTo>
                  <a:lnTo>
                    <a:pt x="31" y="661"/>
                  </a:lnTo>
                  <a:lnTo>
                    <a:pt x="30" y="653"/>
                  </a:lnTo>
                  <a:lnTo>
                    <a:pt x="30" y="645"/>
                  </a:lnTo>
                  <a:lnTo>
                    <a:pt x="30" y="225"/>
                  </a:lnTo>
                  <a:lnTo>
                    <a:pt x="30" y="218"/>
                  </a:lnTo>
                  <a:lnTo>
                    <a:pt x="31" y="210"/>
                  </a:lnTo>
                  <a:lnTo>
                    <a:pt x="33" y="203"/>
                  </a:lnTo>
                  <a:lnTo>
                    <a:pt x="35" y="196"/>
                  </a:lnTo>
                  <a:lnTo>
                    <a:pt x="38" y="190"/>
                  </a:lnTo>
                  <a:lnTo>
                    <a:pt x="43" y="184"/>
                  </a:lnTo>
                  <a:lnTo>
                    <a:pt x="47" y="177"/>
                  </a:lnTo>
                  <a:lnTo>
                    <a:pt x="51" y="172"/>
                  </a:lnTo>
                  <a:lnTo>
                    <a:pt x="56" y="168"/>
                  </a:lnTo>
                  <a:lnTo>
                    <a:pt x="63" y="163"/>
                  </a:lnTo>
                  <a:lnTo>
                    <a:pt x="69" y="159"/>
                  </a:lnTo>
                  <a:lnTo>
                    <a:pt x="76" y="156"/>
                  </a:lnTo>
                  <a:lnTo>
                    <a:pt x="82" y="154"/>
                  </a:lnTo>
                  <a:lnTo>
                    <a:pt x="90" y="152"/>
                  </a:lnTo>
                  <a:lnTo>
                    <a:pt x="97" y="150"/>
                  </a:lnTo>
                  <a:lnTo>
                    <a:pt x="105" y="150"/>
                  </a:lnTo>
                  <a:lnTo>
                    <a:pt x="795" y="150"/>
                  </a:lnTo>
                  <a:lnTo>
                    <a:pt x="802" y="150"/>
                  </a:lnTo>
                  <a:lnTo>
                    <a:pt x="810" y="152"/>
                  </a:lnTo>
                  <a:lnTo>
                    <a:pt x="817" y="154"/>
                  </a:lnTo>
                  <a:lnTo>
                    <a:pt x="824" y="156"/>
                  </a:lnTo>
                  <a:lnTo>
                    <a:pt x="830" y="159"/>
                  </a:lnTo>
                  <a:lnTo>
                    <a:pt x="837" y="163"/>
                  </a:lnTo>
                  <a:lnTo>
                    <a:pt x="843" y="168"/>
                  </a:lnTo>
                  <a:lnTo>
                    <a:pt x="848" y="172"/>
                  </a:lnTo>
                  <a:lnTo>
                    <a:pt x="853" y="177"/>
                  </a:lnTo>
                  <a:lnTo>
                    <a:pt x="857" y="184"/>
                  </a:lnTo>
                  <a:lnTo>
                    <a:pt x="861" y="190"/>
                  </a:lnTo>
                  <a:lnTo>
                    <a:pt x="864" y="196"/>
                  </a:lnTo>
                  <a:lnTo>
                    <a:pt x="866" y="203"/>
                  </a:lnTo>
                  <a:lnTo>
                    <a:pt x="869" y="210"/>
                  </a:lnTo>
                  <a:lnTo>
                    <a:pt x="870" y="218"/>
                  </a:lnTo>
                  <a:lnTo>
                    <a:pt x="870" y="225"/>
                  </a:lnTo>
                  <a:lnTo>
                    <a:pt x="870" y="645"/>
                  </a:lnTo>
                  <a:close/>
                  <a:moveTo>
                    <a:pt x="329" y="60"/>
                  </a:moveTo>
                  <a:lnTo>
                    <a:pt x="330" y="54"/>
                  </a:lnTo>
                  <a:lnTo>
                    <a:pt x="331" y="49"/>
                  </a:lnTo>
                  <a:lnTo>
                    <a:pt x="335" y="44"/>
                  </a:lnTo>
                  <a:lnTo>
                    <a:pt x="338" y="39"/>
                  </a:lnTo>
                  <a:lnTo>
                    <a:pt x="343" y="35"/>
                  </a:lnTo>
                  <a:lnTo>
                    <a:pt x="348" y="33"/>
                  </a:lnTo>
                  <a:lnTo>
                    <a:pt x="354" y="31"/>
                  </a:lnTo>
                  <a:lnTo>
                    <a:pt x="359" y="30"/>
                  </a:lnTo>
                  <a:lnTo>
                    <a:pt x="540" y="30"/>
                  </a:lnTo>
                  <a:lnTo>
                    <a:pt x="545" y="31"/>
                  </a:lnTo>
                  <a:lnTo>
                    <a:pt x="551" y="33"/>
                  </a:lnTo>
                  <a:lnTo>
                    <a:pt x="556" y="35"/>
                  </a:lnTo>
                  <a:lnTo>
                    <a:pt x="560" y="39"/>
                  </a:lnTo>
                  <a:lnTo>
                    <a:pt x="565" y="44"/>
                  </a:lnTo>
                  <a:lnTo>
                    <a:pt x="567" y="49"/>
                  </a:lnTo>
                  <a:lnTo>
                    <a:pt x="569" y="54"/>
                  </a:lnTo>
                  <a:lnTo>
                    <a:pt x="570" y="60"/>
                  </a:lnTo>
                  <a:lnTo>
                    <a:pt x="570" y="119"/>
                  </a:lnTo>
                  <a:lnTo>
                    <a:pt x="329" y="119"/>
                  </a:lnTo>
                  <a:lnTo>
                    <a:pt x="329" y="60"/>
                  </a:lnTo>
                  <a:close/>
                  <a:moveTo>
                    <a:pt x="795" y="119"/>
                  </a:moveTo>
                  <a:lnTo>
                    <a:pt x="600" y="119"/>
                  </a:lnTo>
                  <a:lnTo>
                    <a:pt x="600" y="60"/>
                  </a:lnTo>
                  <a:lnTo>
                    <a:pt x="599" y="54"/>
                  </a:lnTo>
                  <a:lnTo>
                    <a:pt x="599" y="48"/>
                  </a:lnTo>
                  <a:lnTo>
                    <a:pt x="597" y="42"/>
                  </a:lnTo>
                  <a:lnTo>
                    <a:pt x="595" y="37"/>
                  </a:lnTo>
                  <a:lnTo>
                    <a:pt x="593" y="32"/>
                  </a:lnTo>
                  <a:lnTo>
                    <a:pt x="589" y="26"/>
                  </a:lnTo>
                  <a:lnTo>
                    <a:pt x="586" y="22"/>
                  </a:lnTo>
                  <a:lnTo>
                    <a:pt x="582" y="18"/>
                  </a:lnTo>
                  <a:lnTo>
                    <a:pt x="578" y="14"/>
                  </a:lnTo>
                  <a:lnTo>
                    <a:pt x="573" y="10"/>
                  </a:lnTo>
                  <a:lnTo>
                    <a:pt x="568" y="7"/>
                  </a:lnTo>
                  <a:lnTo>
                    <a:pt x="563" y="5"/>
                  </a:lnTo>
                  <a:lnTo>
                    <a:pt x="557" y="3"/>
                  </a:lnTo>
                  <a:lnTo>
                    <a:pt x="552" y="1"/>
                  </a:lnTo>
                  <a:lnTo>
                    <a:pt x="545" y="1"/>
                  </a:lnTo>
                  <a:lnTo>
                    <a:pt x="540" y="0"/>
                  </a:lnTo>
                  <a:lnTo>
                    <a:pt x="359" y="0"/>
                  </a:lnTo>
                  <a:lnTo>
                    <a:pt x="354" y="1"/>
                  </a:lnTo>
                  <a:lnTo>
                    <a:pt x="348" y="1"/>
                  </a:lnTo>
                  <a:lnTo>
                    <a:pt x="342" y="3"/>
                  </a:lnTo>
                  <a:lnTo>
                    <a:pt x="336" y="5"/>
                  </a:lnTo>
                  <a:lnTo>
                    <a:pt x="331" y="7"/>
                  </a:lnTo>
                  <a:lnTo>
                    <a:pt x="326" y="10"/>
                  </a:lnTo>
                  <a:lnTo>
                    <a:pt x="322" y="14"/>
                  </a:lnTo>
                  <a:lnTo>
                    <a:pt x="318" y="18"/>
                  </a:lnTo>
                  <a:lnTo>
                    <a:pt x="313" y="22"/>
                  </a:lnTo>
                  <a:lnTo>
                    <a:pt x="310" y="26"/>
                  </a:lnTo>
                  <a:lnTo>
                    <a:pt x="307" y="32"/>
                  </a:lnTo>
                  <a:lnTo>
                    <a:pt x="305" y="37"/>
                  </a:lnTo>
                  <a:lnTo>
                    <a:pt x="303" y="42"/>
                  </a:lnTo>
                  <a:lnTo>
                    <a:pt x="300" y="48"/>
                  </a:lnTo>
                  <a:lnTo>
                    <a:pt x="299" y="54"/>
                  </a:lnTo>
                  <a:lnTo>
                    <a:pt x="299" y="60"/>
                  </a:lnTo>
                  <a:lnTo>
                    <a:pt x="299" y="119"/>
                  </a:lnTo>
                  <a:lnTo>
                    <a:pt x="105" y="119"/>
                  </a:lnTo>
                  <a:lnTo>
                    <a:pt x="94" y="121"/>
                  </a:lnTo>
                  <a:lnTo>
                    <a:pt x="83" y="123"/>
                  </a:lnTo>
                  <a:lnTo>
                    <a:pt x="74" y="125"/>
                  </a:lnTo>
                  <a:lnTo>
                    <a:pt x="64" y="128"/>
                  </a:lnTo>
                  <a:lnTo>
                    <a:pt x="54" y="133"/>
                  </a:lnTo>
                  <a:lnTo>
                    <a:pt x="46" y="139"/>
                  </a:lnTo>
                  <a:lnTo>
                    <a:pt x="38" y="144"/>
                  </a:lnTo>
                  <a:lnTo>
                    <a:pt x="31" y="152"/>
                  </a:lnTo>
                  <a:lnTo>
                    <a:pt x="23" y="159"/>
                  </a:lnTo>
                  <a:lnTo>
                    <a:pt x="18" y="167"/>
                  </a:lnTo>
                  <a:lnTo>
                    <a:pt x="13" y="175"/>
                  </a:lnTo>
                  <a:lnTo>
                    <a:pt x="7" y="185"/>
                  </a:lnTo>
                  <a:lnTo>
                    <a:pt x="4" y="194"/>
                  </a:lnTo>
                  <a:lnTo>
                    <a:pt x="2" y="204"/>
                  </a:lnTo>
                  <a:lnTo>
                    <a:pt x="0" y="215"/>
                  </a:lnTo>
                  <a:lnTo>
                    <a:pt x="0" y="225"/>
                  </a:lnTo>
                  <a:lnTo>
                    <a:pt x="0" y="645"/>
                  </a:lnTo>
                  <a:lnTo>
                    <a:pt x="0" y="655"/>
                  </a:lnTo>
                  <a:lnTo>
                    <a:pt x="2" y="666"/>
                  </a:lnTo>
                  <a:lnTo>
                    <a:pt x="4" y="677"/>
                  </a:lnTo>
                  <a:lnTo>
                    <a:pt x="7" y="686"/>
                  </a:lnTo>
                  <a:lnTo>
                    <a:pt x="13" y="695"/>
                  </a:lnTo>
                  <a:lnTo>
                    <a:pt x="18" y="704"/>
                  </a:lnTo>
                  <a:lnTo>
                    <a:pt x="23" y="712"/>
                  </a:lnTo>
                  <a:lnTo>
                    <a:pt x="31" y="720"/>
                  </a:lnTo>
                  <a:lnTo>
                    <a:pt x="38" y="726"/>
                  </a:lnTo>
                  <a:lnTo>
                    <a:pt x="46" y="732"/>
                  </a:lnTo>
                  <a:lnTo>
                    <a:pt x="54" y="738"/>
                  </a:lnTo>
                  <a:lnTo>
                    <a:pt x="64" y="742"/>
                  </a:lnTo>
                  <a:lnTo>
                    <a:pt x="74" y="745"/>
                  </a:lnTo>
                  <a:lnTo>
                    <a:pt x="83" y="747"/>
                  </a:lnTo>
                  <a:lnTo>
                    <a:pt x="94" y="750"/>
                  </a:lnTo>
                  <a:lnTo>
                    <a:pt x="105" y="750"/>
                  </a:lnTo>
                  <a:lnTo>
                    <a:pt x="795" y="750"/>
                  </a:lnTo>
                  <a:lnTo>
                    <a:pt x="805" y="750"/>
                  </a:lnTo>
                  <a:lnTo>
                    <a:pt x="816" y="747"/>
                  </a:lnTo>
                  <a:lnTo>
                    <a:pt x="826" y="745"/>
                  </a:lnTo>
                  <a:lnTo>
                    <a:pt x="835" y="742"/>
                  </a:lnTo>
                  <a:lnTo>
                    <a:pt x="845" y="738"/>
                  </a:lnTo>
                  <a:lnTo>
                    <a:pt x="854" y="732"/>
                  </a:lnTo>
                  <a:lnTo>
                    <a:pt x="861" y="726"/>
                  </a:lnTo>
                  <a:lnTo>
                    <a:pt x="869" y="720"/>
                  </a:lnTo>
                  <a:lnTo>
                    <a:pt x="876" y="712"/>
                  </a:lnTo>
                  <a:lnTo>
                    <a:pt x="881" y="704"/>
                  </a:lnTo>
                  <a:lnTo>
                    <a:pt x="887" y="695"/>
                  </a:lnTo>
                  <a:lnTo>
                    <a:pt x="891" y="686"/>
                  </a:lnTo>
                  <a:lnTo>
                    <a:pt x="895" y="677"/>
                  </a:lnTo>
                  <a:lnTo>
                    <a:pt x="898" y="666"/>
                  </a:lnTo>
                  <a:lnTo>
                    <a:pt x="900" y="655"/>
                  </a:lnTo>
                  <a:lnTo>
                    <a:pt x="900" y="645"/>
                  </a:lnTo>
                  <a:lnTo>
                    <a:pt x="900" y="225"/>
                  </a:lnTo>
                  <a:lnTo>
                    <a:pt x="900" y="215"/>
                  </a:lnTo>
                  <a:lnTo>
                    <a:pt x="898" y="204"/>
                  </a:lnTo>
                  <a:lnTo>
                    <a:pt x="895" y="194"/>
                  </a:lnTo>
                  <a:lnTo>
                    <a:pt x="891" y="185"/>
                  </a:lnTo>
                  <a:lnTo>
                    <a:pt x="887" y="175"/>
                  </a:lnTo>
                  <a:lnTo>
                    <a:pt x="881" y="167"/>
                  </a:lnTo>
                  <a:lnTo>
                    <a:pt x="876" y="159"/>
                  </a:lnTo>
                  <a:lnTo>
                    <a:pt x="869" y="152"/>
                  </a:lnTo>
                  <a:lnTo>
                    <a:pt x="861" y="144"/>
                  </a:lnTo>
                  <a:lnTo>
                    <a:pt x="854" y="139"/>
                  </a:lnTo>
                  <a:lnTo>
                    <a:pt x="845" y="133"/>
                  </a:lnTo>
                  <a:lnTo>
                    <a:pt x="835" y="128"/>
                  </a:lnTo>
                  <a:lnTo>
                    <a:pt x="826" y="125"/>
                  </a:lnTo>
                  <a:lnTo>
                    <a:pt x="816" y="123"/>
                  </a:lnTo>
                  <a:lnTo>
                    <a:pt x="805" y="121"/>
                  </a:lnTo>
                  <a:lnTo>
                    <a:pt x="79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7" name="Group 21">
            <a:extLst>
              <a:ext uri="{FF2B5EF4-FFF2-40B4-BE49-F238E27FC236}">
                <a16:creationId xmlns:a16="http://schemas.microsoft.com/office/drawing/2014/main" id="{44DFEC2A-3E1B-412B-9642-30952C9CD712}"/>
              </a:ext>
            </a:extLst>
          </p:cNvPr>
          <p:cNvGrpSpPr>
            <a:grpSpLocks noChangeAspect="1"/>
          </p:cNvGrpSpPr>
          <p:nvPr/>
        </p:nvGrpSpPr>
        <p:grpSpPr>
          <a:xfrm>
            <a:off x="655570" y="3256152"/>
            <a:ext cx="317057" cy="306488"/>
            <a:chOff x="10458450" y="784225"/>
            <a:chExt cx="285750" cy="276225"/>
          </a:xfrm>
          <a:solidFill>
            <a:schemeClr val="bg2"/>
          </a:solidFill>
          <a:effectLst/>
        </p:grpSpPr>
        <p:sp>
          <p:nvSpPr>
            <p:cNvPr id="1048" name="Freeform 363">
              <a:extLst>
                <a:ext uri="{FF2B5EF4-FFF2-40B4-BE49-F238E27FC236}">
                  <a16:creationId xmlns:a16="http://schemas.microsoft.com/office/drawing/2014/main" id="{57DDA428-119D-4C17-B580-7672D620E4E6}"/>
                </a:ext>
              </a:extLst>
            </p:cNvPr>
            <p:cNvSpPr>
              <a:spLocks/>
            </p:cNvSpPr>
            <p:nvPr/>
          </p:nvSpPr>
          <p:spPr bwMode="auto">
            <a:xfrm>
              <a:off x="10458450" y="893763"/>
              <a:ext cx="285750" cy="100013"/>
            </a:xfrm>
            <a:custGeom>
              <a:avLst/>
              <a:gdLst>
                <a:gd name="T0" fmla="*/ 600 w 900"/>
                <a:gd name="T1" fmla="*/ 165 h 315"/>
                <a:gd name="T2" fmla="*/ 592 w 900"/>
                <a:gd name="T3" fmla="*/ 168 h 315"/>
                <a:gd name="T4" fmla="*/ 587 w 900"/>
                <a:gd name="T5" fmla="*/ 174 h 315"/>
                <a:gd name="T6" fmla="*/ 480 w 900"/>
                <a:gd name="T7" fmla="*/ 12 h 315"/>
                <a:gd name="T8" fmla="*/ 475 w 900"/>
                <a:gd name="T9" fmla="*/ 5 h 315"/>
                <a:gd name="T10" fmla="*/ 466 w 900"/>
                <a:gd name="T11" fmla="*/ 0 h 315"/>
                <a:gd name="T12" fmla="*/ 457 w 900"/>
                <a:gd name="T13" fmla="*/ 3 h 315"/>
                <a:gd name="T14" fmla="*/ 451 w 900"/>
                <a:gd name="T15" fmla="*/ 9 h 315"/>
                <a:gd name="T16" fmla="*/ 313 w 900"/>
                <a:gd name="T17" fmla="*/ 98 h 315"/>
                <a:gd name="T18" fmla="*/ 308 w 900"/>
                <a:gd name="T19" fmla="*/ 92 h 315"/>
                <a:gd name="T20" fmla="*/ 301 w 900"/>
                <a:gd name="T21" fmla="*/ 90 h 315"/>
                <a:gd name="T22" fmla="*/ 294 w 900"/>
                <a:gd name="T23" fmla="*/ 92 h 315"/>
                <a:gd name="T24" fmla="*/ 288 w 900"/>
                <a:gd name="T25" fmla="*/ 96 h 315"/>
                <a:gd name="T26" fmla="*/ 14 w 900"/>
                <a:gd name="T27" fmla="*/ 165 h 315"/>
                <a:gd name="T28" fmla="*/ 9 w 900"/>
                <a:gd name="T29" fmla="*/ 166 h 315"/>
                <a:gd name="T30" fmla="*/ 5 w 900"/>
                <a:gd name="T31" fmla="*/ 169 h 315"/>
                <a:gd name="T32" fmla="*/ 2 w 900"/>
                <a:gd name="T33" fmla="*/ 175 h 315"/>
                <a:gd name="T34" fmla="*/ 0 w 900"/>
                <a:gd name="T35" fmla="*/ 180 h 315"/>
                <a:gd name="T36" fmla="*/ 2 w 900"/>
                <a:gd name="T37" fmla="*/ 186 h 315"/>
                <a:gd name="T38" fmla="*/ 5 w 900"/>
                <a:gd name="T39" fmla="*/ 191 h 315"/>
                <a:gd name="T40" fmla="*/ 9 w 900"/>
                <a:gd name="T41" fmla="*/ 194 h 315"/>
                <a:gd name="T42" fmla="*/ 14 w 900"/>
                <a:gd name="T43" fmla="*/ 195 h 315"/>
                <a:gd name="T44" fmla="*/ 243 w 900"/>
                <a:gd name="T45" fmla="*/ 195 h 315"/>
                <a:gd name="T46" fmla="*/ 249 w 900"/>
                <a:gd name="T47" fmla="*/ 193 h 315"/>
                <a:gd name="T48" fmla="*/ 298 w 900"/>
                <a:gd name="T49" fmla="*/ 132 h 315"/>
                <a:gd name="T50" fmla="*/ 365 w 900"/>
                <a:gd name="T51" fmla="*/ 237 h 315"/>
                <a:gd name="T52" fmla="*/ 372 w 900"/>
                <a:gd name="T53" fmla="*/ 240 h 315"/>
                <a:gd name="T54" fmla="*/ 380 w 900"/>
                <a:gd name="T55" fmla="*/ 240 h 315"/>
                <a:gd name="T56" fmla="*/ 387 w 900"/>
                <a:gd name="T57" fmla="*/ 235 h 315"/>
                <a:gd name="T58" fmla="*/ 462 w 900"/>
                <a:gd name="T59" fmla="*/ 61 h 315"/>
                <a:gd name="T60" fmla="*/ 527 w 900"/>
                <a:gd name="T61" fmla="*/ 308 h 315"/>
                <a:gd name="T62" fmla="*/ 535 w 900"/>
                <a:gd name="T63" fmla="*/ 314 h 315"/>
                <a:gd name="T64" fmla="*/ 540 w 900"/>
                <a:gd name="T65" fmla="*/ 315 h 315"/>
                <a:gd name="T66" fmla="*/ 544 w 900"/>
                <a:gd name="T67" fmla="*/ 315 h 315"/>
                <a:gd name="T68" fmla="*/ 551 w 900"/>
                <a:gd name="T69" fmla="*/ 311 h 315"/>
                <a:gd name="T70" fmla="*/ 609 w 900"/>
                <a:gd name="T71" fmla="*/ 195 h 315"/>
                <a:gd name="T72" fmla="*/ 889 w 900"/>
                <a:gd name="T73" fmla="*/ 195 h 315"/>
                <a:gd name="T74" fmla="*/ 894 w 900"/>
                <a:gd name="T75" fmla="*/ 193 h 315"/>
                <a:gd name="T76" fmla="*/ 897 w 900"/>
                <a:gd name="T77" fmla="*/ 189 h 315"/>
                <a:gd name="T78" fmla="*/ 899 w 900"/>
                <a:gd name="T79" fmla="*/ 183 h 315"/>
                <a:gd name="T80" fmla="*/ 899 w 900"/>
                <a:gd name="T81" fmla="*/ 177 h 315"/>
                <a:gd name="T82" fmla="*/ 897 w 900"/>
                <a:gd name="T83" fmla="*/ 172 h 315"/>
                <a:gd name="T84" fmla="*/ 894 w 900"/>
                <a:gd name="T85" fmla="*/ 168 h 315"/>
                <a:gd name="T86" fmla="*/ 889 w 900"/>
                <a:gd name="T87" fmla="*/ 16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0" h="315">
                  <a:moveTo>
                    <a:pt x="885" y="165"/>
                  </a:moveTo>
                  <a:lnTo>
                    <a:pt x="600" y="165"/>
                  </a:lnTo>
                  <a:lnTo>
                    <a:pt x="596" y="166"/>
                  </a:lnTo>
                  <a:lnTo>
                    <a:pt x="592" y="168"/>
                  </a:lnTo>
                  <a:lnTo>
                    <a:pt x="589" y="170"/>
                  </a:lnTo>
                  <a:lnTo>
                    <a:pt x="587" y="174"/>
                  </a:lnTo>
                  <a:lnTo>
                    <a:pt x="544" y="258"/>
                  </a:lnTo>
                  <a:lnTo>
                    <a:pt x="480" y="12"/>
                  </a:lnTo>
                  <a:lnTo>
                    <a:pt x="478" y="8"/>
                  </a:lnTo>
                  <a:lnTo>
                    <a:pt x="475" y="5"/>
                  </a:lnTo>
                  <a:lnTo>
                    <a:pt x="470" y="1"/>
                  </a:lnTo>
                  <a:lnTo>
                    <a:pt x="466" y="0"/>
                  </a:lnTo>
                  <a:lnTo>
                    <a:pt x="462" y="0"/>
                  </a:lnTo>
                  <a:lnTo>
                    <a:pt x="457" y="3"/>
                  </a:lnTo>
                  <a:lnTo>
                    <a:pt x="454" y="6"/>
                  </a:lnTo>
                  <a:lnTo>
                    <a:pt x="451" y="9"/>
                  </a:lnTo>
                  <a:lnTo>
                    <a:pt x="373" y="194"/>
                  </a:lnTo>
                  <a:lnTo>
                    <a:pt x="313" y="98"/>
                  </a:lnTo>
                  <a:lnTo>
                    <a:pt x="311" y="95"/>
                  </a:lnTo>
                  <a:lnTo>
                    <a:pt x="308" y="92"/>
                  </a:lnTo>
                  <a:lnTo>
                    <a:pt x="304" y="91"/>
                  </a:lnTo>
                  <a:lnTo>
                    <a:pt x="301" y="90"/>
                  </a:lnTo>
                  <a:lnTo>
                    <a:pt x="297" y="90"/>
                  </a:lnTo>
                  <a:lnTo>
                    <a:pt x="294" y="92"/>
                  </a:lnTo>
                  <a:lnTo>
                    <a:pt x="291" y="93"/>
                  </a:lnTo>
                  <a:lnTo>
                    <a:pt x="288" y="96"/>
                  </a:lnTo>
                  <a:lnTo>
                    <a:pt x="233" y="165"/>
                  </a:lnTo>
                  <a:lnTo>
                    <a:pt x="14" y="165"/>
                  </a:lnTo>
                  <a:lnTo>
                    <a:pt x="12" y="165"/>
                  </a:lnTo>
                  <a:lnTo>
                    <a:pt x="9" y="166"/>
                  </a:lnTo>
                  <a:lnTo>
                    <a:pt x="7" y="167"/>
                  </a:lnTo>
                  <a:lnTo>
                    <a:pt x="5" y="169"/>
                  </a:lnTo>
                  <a:lnTo>
                    <a:pt x="3" y="172"/>
                  </a:lnTo>
                  <a:lnTo>
                    <a:pt x="2" y="175"/>
                  </a:lnTo>
                  <a:lnTo>
                    <a:pt x="1" y="177"/>
                  </a:lnTo>
                  <a:lnTo>
                    <a:pt x="0" y="180"/>
                  </a:lnTo>
                  <a:lnTo>
                    <a:pt x="1" y="183"/>
                  </a:lnTo>
                  <a:lnTo>
                    <a:pt x="2" y="186"/>
                  </a:lnTo>
                  <a:lnTo>
                    <a:pt x="3" y="189"/>
                  </a:lnTo>
                  <a:lnTo>
                    <a:pt x="5" y="191"/>
                  </a:lnTo>
                  <a:lnTo>
                    <a:pt x="7" y="193"/>
                  </a:lnTo>
                  <a:lnTo>
                    <a:pt x="9" y="194"/>
                  </a:lnTo>
                  <a:lnTo>
                    <a:pt x="12" y="195"/>
                  </a:lnTo>
                  <a:lnTo>
                    <a:pt x="14" y="195"/>
                  </a:lnTo>
                  <a:lnTo>
                    <a:pt x="240" y="195"/>
                  </a:lnTo>
                  <a:lnTo>
                    <a:pt x="243" y="195"/>
                  </a:lnTo>
                  <a:lnTo>
                    <a:pt x="247" y="194"/>
                  </a:lnTo>
                  <a:lnTo>
                    <a:pt x="249" y="193"/>
                  </a:lnTo>
                  <a:lnTo>
                    <a:pt x="252" y="191"/>
                  </a:lnTo>
                  <a:lnTo>
                    <a:pt x="298" y="132"/>
                  </a:lnTo>
                  <a:lnTo>
                    <a:pt x="362" y="234"/>
                  </a:lnTo>
                  <a:lnTo>
                    <a:pt x="365" y="237"/>
                  </a:lnTo>
                  <a:lnTo>
                    <a:pt x="369" y="239"/>
                  </a:lnTo>
                  <a:lnTo>
                    <a:pt x="372" y="240"/>
                  </a:lnTo>
                  <a:lnTo>
                    <a:pt x="376" y="240"/>
                  </a:lnTo>
                  <a:lnTo>
                    <a:pt x="380" y="240"/>
                  </a:lnTo>
                  <a:lnTo>
                    <a:pt x="384" y="238"/>
                  </a:lnTo>
                  <a:lnTo>
                    <a:pt x="387" y="235"/>
                  </a:lnTo>
                  <a:lnTo>
                    <a:pt x="389" y="231"/>
                  </a:lnTo>
                  <a:lnTo>
                    <a:pt x="462" y="61"/>
                  </a:lnTo>
                  <a:lnTo>
                    <a:pt x="526" y="304"/>
                  </a:lnTo>
                  <a:lnTo>
                    <a:pt x="527" y="308"/>
                  </a:lnTo>
                  <a:lnTo>
                    <a:pt x="530" y="312"/>
                  </a:lnTo>
                  <a:lnTo>
                    <a:pt x="535" y="314"/>
                  </a:lnTo>
                  <a:lnTo>
                    <a:pt x="539" y="315"/>
                  </a:lnTo>
                  <a:lnTo>
                    <a:pt x="540" y="315"/>
                  </a:lnTo>
                  <a:lnTo>
                    <a:pt x="540" y="315"/>
                  </a:lnTo>
                  <a:lnTo>
                    <a:pt x="544" y="315"/>
                  </a:lnTo>
                  <a:lnTo>
                    <a:pt x="548" y="313"/>
                  </a:lnTo>
                  <a:lnTo>
                    <a:pt x="551" y="311"/>
                  </a:lnTo>
                  <a:lnTo>
                    <a:pt x="554" y="307"/>
                  </a:lnTo>
                  <a:lnTo>
                    <a:pt x="609" y="195"/>
                  </a:lnTo>
                  <a:lnTo>
                    <a:pt x="885" y="195"/>
                  </a:lnTo>
                  <a:lnTo>
                    <a:pt x="889" y="195"/>
                  </a:lnTo>
                  <a:lnTo>
                    <a:pt x="891" y="194"/>
                  </a:lnTo>
                  <a:lnTo>
                    <a:pt x="894" y="193"/>
                  </a:lnTo>
                  <a:lnTo>
                    <a:pt x="896" y="191"/>
                  </a:lnTo>
                  <a:lnTo>
                    <a:pt x="897" y="189"/>
                  </a:lnTo>
                  <a:lnTo>
                    <a:pt x="899" y="186"/>
                  </a:lnTo>
                  <a:lnTo>
                    <a:pt x="899" y="183"/>
                  </a:lnTo>
                  <a:lnTo>
                    <a:pt x="900" y="180"/>
                  </a:lnTo>
                  <a:lnTo>
                    <a:pt x="899" y="177"/>
                  </a:lnTo>
                  <a:lnTo>
                    <a:pt x="899" y="175"/>
                  </a:lnTo>
                  <a:lnTo>
                    <a:pt x="897" y="172"/>
                  </a:lnTo>
                  <a:lnTo>
                    <a:pt x="896" y="169"/>
                  </a:lnTo>
                  <a:lnTo>
                    <a:pt x="894" y="168"/>
                  </a:lnTo>
                  <a:lnTo>
                    <a:pt x="891" y="166"/>
                  </a:lnTo>
                  <a:lnTo>
                    <a:pt x="889" y="165"/>
                  </a:lnTo>
                  <a:lnTo>
                    <a:pt x="8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364">
              <a:extLst>
                <a:ext uri="{FF2B5EF4-FFF2-40B4-BE49-F238E27FC236}">
                  <a16:creationId xmlns:a16="http://schemas.microsoft.com/office/drawing/2014/main" id="{78A2377F-8491-4C9D-BA44-2C139C3EEF74}"/>
                </a:ext>
              </a:extLst>
            </p:cNvPr>
            <p:cNvSpPr>
              <a:spLocks/>
            </p:cNvSpPr>
            <p:nvPr/>
          </p:nvSpPr>
          <p:spPr bwMode="auto">
            <a:xfrm>
              <a:off x="10467975" y="784225"/>
              <a:ext cx="266700" cy="146050"/>
            </a:xfrm>
            <a:custGeom>
              <a:avLst/>
              <a:gdLst>
                <a:gd name="T0" fmla="*/ 54 w 841"/>
                <a:gd name="T1" fmla="*/ 457 h 458"/>
                <a:gd name="T2" fmla="*/ 67 w 841"/>
                <a:gd name="T3" fmla="*/ 456 h 458"/>
                <a:gd name="T4" fmla="*/ 73 w 841"/>
                <a:gd name="T5" fmla="*/ 446 h 458"/>
                <a:gd name="T6" fmla="*/ 70 w 841"/>
                <a:gd name="T7" fmla="*/ 431 h 458"/>
                <a:gd name="T8" fmla="*/ 35 w 841"/>
                <a:gd name="T9" fmla="*/ 322 h 458"/>
                <a:gd name="T10" fmla="*/ 35 w 841"/>
                <a:gd name="T11" fmla="*/ 222 h 458"/>
                <a:gd name="T12" fmla="*/ 64 w 841"/>
                <a:gd name="T13" fmla="*/ 126 h 458"/>
                <a:gd name="T14" fmla="*/ 111 w 841"/>
                <a:gd name="T15" fmla="*/ 65 h 458"/>
                <a:gd name="T16" fmla="*/ 167 w 841"/>
                <a:gd name="T17" fmla="*/ 35 h 458"/>
                <a:gd name="T18" fmla="*/ 229 w 841"/>
                <a:gd name="T19" fmla="*/ 31 h 458"/>
                <a:gd name="T20" fmla="*/ 296 w 841"/>
                <a:gd name="T21" fmla="*/ 54 h 458"/>
                <a:gd name="T22" fmla="*/ 354 w 841"/>
                <a:gd name="T23" fmla="*/ 108 h 458"/>
                <a:gd name="T24" fmla="*/ 394 w 841"/>
                <a:gd name="T25" fmla="*/ 190 h 458"/>
                <a:gd name="T26" fmla="*/ 411 w 841"/>
                <a:gd name="T27" fmla="*/ 251 h 458"/>
                <a:gd name="T28" fmla="*/ 431 w 841"/>
                <a:gd name="T29" fmla="*/ 251 h 458"/>
                <a:gd name="T30" fmla="*/ 448 w 841"/>
                <a:gd name="T31" fmla="*/ 190 h 458"/>
                <a:gd name="T32" fmla="*/ 489 w 841"/>
                <a:gd name="T33" fmla="*/ 108 h 458"/>
                <a:gd name="T34" fmla="*/ 546 w 841"/>
                <a:gd name="T35" fmla="*/ 54 h 458"/>
                <a:gd name="T36" fmla="*/ 613 w 841"/>
                <a:gd name="T37" fmla="*/ 31 h 458"/>
                <a:gd name="T38" fmla="*/ 675 w 841"/>
                <a:gd name="T39" fmla="*/ 35 h 458"/>
                <a:gd name="T40" fmla="*/ 731 w 841"/>
                <a:gd name="T41" fmla="*/ 65 h 458"/>
                <a:gd name="T42" fmla="*/ 778 w 841"/>
                <a:gd name="T43" fmla="*/ 126 h 458"/>
                <a:gd name="T44" fmla="*/ 807 w 841"/>
                <a:gd name="T45" fmla="*/ 222 h 458"/>
                <a:gd name="T46" fmla="*/ 808 w 841"/>
                <a:gd name="T47" fmla="*/ 315 h 458"/>
                <a:gd name="T48" fmla="*/ 775 w 841"/>
                <a:gd name="T49" fmla="*/ 401 h 458"/>
                <a:gd name="T50" fmla="*/ 758 w 841"/>
                <a:gd name="T51" fmla="*/ 435 h 458"/>
                <a:gd name="T52" fmla="*/ 757 w 841"/>
                <a:gd name="T53" fmla="*/ 447 h 458"/>
                <a:gd name="T54" fmla="*/ 776 w 841"/>
                <a:gd name="T55" fmla="*/ 457 h 458"/>
                <a:gd name="T56" fmla="*/ 785 w 841"/>
                <a:gd name="T57" fmla="*/ 449 h 458"/>
                <a:gd name="T58" fmla="*/ 802 w 841"/>
                <a:gd name="T59" fmla="*/ 415 h 458"/>
                <a:gd name="T60" fmla="*/ 830 w 841"/>
                <a:gd name="T61" fmla="*/ 353 h 458"/>
                <a:gd name="T62" fmla="*/ 841 w 841"/>
                <a:gd name="T63" fmla="*/ 284 h 458"/>
                <a:gd name="T64" fmla="*/ 836 w 841"/>
                <a:gd name="T65" fmla="*/ 215 h 458"/>
                <a:gd name="T66" fmla="*/ 823 w 841"/>
                <a:gd name="T67" fmla="*/ 156 h 458"/>
                <a:gd name="T68" fmla="*/ 803 w 841"/>
                <a:gd name="T69" fmla="*/ 108 h 458"/>
                <a:gd name="T70" fmla="*/ 777 w 841"/>
                <a:gd name="T71" fmla="*/ 69 h 458"/>
                <a:gd name="T72" fmla="*/ 748 w 841"/>
                <a:gd name="T73" fmla="*/ 41 h 458"/>
                <a:gd name="T74" fmla="*/ 681 w 841"/>
                <a:gd name="T75" fmla="*/ 6 h 458"/>
                <a:gd name="T76" fmla="*/ 615 w 841"/>
                <a:gd name="T77" fmla="*/ 1 h 458"/>
                <a:gd name="T78" fmla="*/ 548 w 841"/>
                <a:gd name="T79" fmla="*/ 20 h 458"/>
                <a:gd name="T80" fmla="*/ 487 w 841"/>
                <a:gd name="T81" fmla="*/ 63 h 458"/>
                <a:gd name="T82" fmla="*/ 439 w 841"/>
                <a:gd name="T83" fmla="*/ 132 h 458"/>
                <a:gd name="T84" fmla="*/ 403 w 841"/>
                <a:gd name="T85" fmla="*/ 132 h 458"/>
                <a:gd name="T86" fmla="*/ 355 w 841"/>
                <a:gd name="T87" fmla="*/ 63 h 458"/>
                <a:gd name="T88" fmla="*/ 294 w 841"/>
                <a:gd name="T89" fmla="*/ 20 h 458"/>
                <a:gd name="T90" fmla="*/ 227 w 841"/>
                <a:gd name="T91" fmla="*/ 1 h 458"/>
                <a:gd name="T92" fmla="*/ 161 w 841"/>
                <a:gd name="T93" fmla="*/ 6 h 458"/>
                <a:gd name="T94" fmla="*/ 95 w 841"/>
                <a:gd name="T95" fmla="*/ 41 h 458"/>
                <a:gd name="T96" fmla="*/ 65 w 841"/>
                <a:gd name="T97" fmla="*/ 69 h 458"/>
                <a:gd name="T98" fmla="*/ 39 w 841"/>
                <a:gd name="T99" fmla="*/ 108 h 458"/>
                <a:gd name="T100" fmla="*/ 19 w 841"/>
                <a:gd name="T101" fmla="*/ 156 h 458"/>
                <a:gd name="T102" fmla="*/ 6 w 841"/>
                <a:gd name="T103" fmla="*/ 215 h 458"/>
                <a:gd name="T104" fmla="*/ 0 w 841"/>
                <a:gd name="T105" fmla="*/ 284 h 458"/>
                <a:gd name="T106" fmla="*/ 13 w 841"/>
                <a:gd name="T107" fmla="*/ 36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1" h="458">
                  <a:moveTo>
                    <a:pt x="44" y="447"/>
                  </a:moveTo>
                  <a:lnTo>
                    <a:pt x="46" y="451"/>
                  </a:lnTo>
                  <a:lnTo>
                    <a:pt x="50" y="455"/>
                  </a:lnTo>
                  <a:lnTo>
                    <a:pt x="54" y="457"/>
                  </a:lnTo>
                  <a:lnTo>
                    <a:pt x="58" y="458"/>
                  </a:lnTo>
                  <a:lnTo>
                    <a:pt x="61" y="458"/>
                  </a:lnTo>
                  <a:lnTo>
                    <a:pt x="64" y="457"/>
                  </a:lnTo>
                  <a:lnTo>
                    <a:pt x="67" y="456"/>
                  </a:lnTo>
                  <a:lnTo>
                    <a:pt x="69" y="453"/>
                  </a:lnTo>
                  <a:lnTo>
                    <a:pt x="71" y="451"/>
                  </a:lnTo>
                  <a:lnTo>
                    <a:pt x="72" y="448"/>
                  </a:lnTo>
                  <a:lnTo>
                    <a:pt x="73" y="446"/>
                  </a:lnTo>
                  <a:lnTo>
                    <a:pt x="73" y="443"/>
                  </a:lnTo>
                  <a:lnTo>
                    <a:pt x="73" y="440"/>
                  </a:lnTo>
                  <a:lnTo>
                    <a:pt x="72" y="437"/>
                  </a:lnTo>
                  <a:lnTo>
                    <a:pt x="70" y="431"/>
                  </a:lnTo>
                  <a:lnTo>
                    <a:pt x="55" y="395"/>
                  </a:lnTo>
                  <a:lnTo>
                    <a:pt x="43" y="359"/>
                  </a:lnTo>
                  <a:lnTo>
                    <a:pt x="38" y="341"/>
                  </a:lnTo>
                  <a:lnTo>
                    <a:pt x="35" y="322"/>
                  </a:lnTo>
                  <a:lnTo>
                    <a:pt x="32" y="304"/>
                  </a:lnTo>
                  <a:lnTo>
                    <a:pt x="30" y="284"/>
                  </a:lnTo>
                  <a:lnTo>
                    <a:pt x="32" y="251"/>
                  </a:lnTo>
                  <a:lnTo>
                    <a:pt x="35" y="222"/>
                  </a:lnTo>
                  <a:lnTo>
                    <a:pt x="40" y="195"/>
                  </a:lnTo>
                  <a:lnTo>
                    <a:pt x="46" y="170"/>
                  </a:lnTo>
                  <a:lnTo>
                    <a:pt x="54" y="148"/>
                  </a:lnTo>
                  <a:lnTo>
                    <a:pt x="64" y="126"/>
                  </a:lnTo>
                  <a:lnTo>
                    <a:pt x="73" y="108"/>
                  </a:lnTo>
                  <a:lnTo>
                    <a:pt x="85" y="92"/>
                  </a:lnTo>
                  <a:lnTo>
                    <a:pt x="98" y="78"/>
                  </a:lnTo>
                  <a:lnTo>
                    <a:pt x="111" y="65"/>
                  </a:lnTo>
                  <a:lnTo>
                    <a:pt x="125" y="56"/>
                  </a:lnTo>
                  <a:lnTo>
                    <a:pt x="139" y="47"/>
                  </a:lnTo>
                  <a:lnTo>
                    <a:pt x="153" y="41"/>
                  </a:lnTo>
                  <a:lnTo>
                    <a:pt x="167" y="35"/>
                  </a:lnTo>
                  <a:lnTo>
                    <a:pt x="182" y="32"/>
                  </a:lnTo>
                  <a:lnTo>
                    <a:pt x="197" y="31"/>
                  </a:lnTo>
                  <a:lnTo>
                    <a:pt x="213" y="30"/>
                  </a:lnTo>
                  <a:lnTo>
                    <a:pt x="229" y="31"/>
                  </a:lnTo>
                  <a:lnTo>
                    <a:pt x="247" y="34"/>
                  </a:lnTo>
                  <a:lnTo>
                    <a:pt x="263" y="40"/>
                  </a:lnTo>
                  <a:lnTo>
                    <a:pt x="280" y="46"/>
                  </a:lnTo>
                  <a:lnTo>
                    <a:pt x="296" y="54"/>
                  </a:lnTo>
                  <a:lnTo>
                    <a:pt x="311" y="65"/>
                  </a:lnTo>
                  <a:lnTo>
                    <a:pt x="326" y="78"/>
                  </a:lnTo>
                  <a:lnTo>
                    <a:pt x="340" y="92"/>
                  </a:lnTo>
                  <a:lnTo>
                    <a:pt x="354" y="108"/>
                  </a:lnTo>
                  <a:lnTo>
                    <a:pt x="365" y="126"/>
                  </a:lnTo>
                  <a:lnTo>
                    <a:pt x="376" y="145"/>
                  </a:lnTo>
                  <a:lnTo>
                    <a:pt x="386" y="167"/>
                  </a:lnTo>
                  <a:lnTo>
                    <a:pt x="394" y="190"/>
                  </a:lnTo>
                  <a:lnTo>
                    <a:pt x="401" y="215"/>
                  </a:lnTo>
                  <a:lnTo>
                    <a:pt x="406" y="242"/>
                  </a:lnTo>
                  <a:lnTo>
                    <a:pt x="408" y="247"/>
                  </a:lnTo>
                  <a:lnTo>
                    <a:pt x="411" y="251"/>
                  </a:lnTo>
                  <a:lnTo>
                    <a:pt x="416" y="253"/>
                  </a:lnTo>
                  <a:lnTo>
                    <a:pt x="421" y="255"/>
                  </a:lnTo>
                  <a:lnTo>
                    <a:pt x="426" y="253"/>
                  </a:lnTo>
                  <a:lnTo>
                    <a:pt x="431" y="251"/>
                  </a:lnTo>
                  <a:lnTo>
                    <a:pt x="434" y="247"/>
                  </a:lnTo>
                  <a:lnTo>
                    <a:pt x="436" y="242"/>
                  </a:lnTo>
                  <a:lnTo>
                    <a:pt x="441" y="215"/>
                  </a:lnTo>
                  <a:lnTo>
                    <a:pt x="448" y="190"/>
                  </a:lnTo>
                  <a:lnTo>
                    <a:pt x="456" y="167"/>
                  </a:lnTo>
                  <a:lnTo>
                    <a:pt x="466" y="145"/>
                  </a:lnTo>
                  <a:lnTo>
                    <a:pt x="477" y="126"/>
                  </a:lnTo>
                  <a:lnTo>
                    <a:pt x="489" y="108"/>
                  </a:lnTo>
                  <a:lnTo>
                    <a:pt x="502" y="92"/>
                  </a:lnTo>
                  <a:lnTo>
                    <a:pt x="516" y="78"/>
                  </a:lnTo>
                  <a:lnTo>
                    <a:pt x="531" y="65"/>
                  </a:lnTo>
                  <a:lnTo>
                    <a:pt x="546" y="54"/>
                  </a:lnTo>
                  <a:lnTo>
                    <a:pt x="562" y="46"/>
                  </a:lnTo>
                  <a:lnTo>
                    <a:pt x="579" y="40"/>
                  </a:lnTo>
                  <a:lnTo>
                    <a:pt x="595" y="34"/>
                  </a:lnTo>
                  <a:lnTo>
                    <a:pt x="613" y="31"/>
                  </a:lnTo>
                  <a:lnTo>
                    <a:pt x="629" y="30"/>
                  </a:lnTo>
                  <a:lnTo>
                    <a:pt x="646" y="31"/>
                  </a:lnTo>
                  <a:lnTo>
                    <a:pt x="660" y="32"/>
                  </a:lnTo>
                  <a:lnTo>
                    <a:pt x="675" y="35"/>
                  </a:lnTo>
                  <a:lnTo>
                    <a:pt x="688" y="41"/>
                  </a:lnTo>
                  <a:lnTo>
                    <a:pt x="703" y="47"/>
                  </a:lnTo>
                  <a:lnTo>
                    <a:pt x="717" y="56"/>
                  </a:lnTo>
                  <a:lnTo>
                    <a:pt x="731" y="65"/>
                  </a:lnTo>
                  <a:lnTo>
                    <a:pt x="744" y="78"/>
                  </a:lnTo>
                  <a:lnTo>
                    <a:pt x="757" y="92"/>
                  </a:lnTo>
                  <a:lnTo>
                    <a:pt x="769" y="108"/>
                  </a:lnTo>
                  <a:lnTo>
                    <a:pt x="778" y="126"/>
                  </a:lnTo>
                  <a:lnTo>
                    <a:pt x="788" y="148"/>
                  </a:lnTo>
                  <a:lnTo>
                    <a:pt x="795" y="170"/>
                  </a:lnTo>
                  <a:lnTo>
                    <a:pt x="802" y="195"/>
                  </a:lnTo>
                  <a:lnTo>
                    <a:pt x="807" y="222"/>
                  </a:lnTo>
                  <a:lnTo>
                    <a:pt x="810" y="251"/>
                  </a:lnTo>
                  <a:lnTo>
                    <a:pt x="812" y="284"/>
                  </a:lnTo>
                  <a:lnTo>
                    <a:pt x="810" y="301"/>
                  </a:lnTo>
                  <a:lnTo>
                    <a:pt x="808" y="315"/>
                  </a:lnTo>
                  <a:lnTo>
                    <a:pt x="805" y="330"/>
                  </a:lnTo>
                  <a:lnTo>
                    <a:pt x="801" y="344"/>
                  </a:lnTo>
                  <a:lnTo>
                    <a:pt x="790" y="371"/>
                  </a:lnTo>
                  <a:lnTo>
                    <a:pt x="775" y="401"/>
                  </a:lnTo>
                  <a:lnTo>
                    <a:pt x="771" y="410"/>
                  </a:lnTo>
                  <a:lnTo>
                    <a:pt x="767" y="418"/>
                  </a:lnTo>
                  <a:lnTo>
                    <a:pt x="762" y="427"/>
                  </a:lnTo>
                  <a:lnTo>
                    <a:pt x="758" y="435"/>
                  </a:lnTo>
                  <a:lnTo>
                    <a:pt x="757" y="439"/>
                  </a:lnTo>
                  <a:lnTo>
                    <a:pt x="756" y="442"/>
                  </a:lnTo>
                  <a:lnTo>
                    <a:pt x="756" y="444"/>
                  </a:lnTo>
                  <a:lnTo>
                    <a:pt x="757" y="447"/>
                  </a:lnTo>
                  <a:lnTo>
                    <a:pt x="760" y="452"/>
                  </a:lnTo>
                  <a:lnTo>
                    <a:pt x="764" y="457"/>
                  </a:lnTo>
                  <a:lnTo>
                    <a:pt x="771" y="458"/>
                  </a:lnTo>
                  <a:lnTo>
                    <a:pt x="776" y="457"/>
                  </a:lnTo>
                  <a:lnTo>
                    <a:pt x="778" y="456"/>
                  </a:lnTo>
                  <a:lnTo>
                    <a:pt x="782" y="453"/>
                  </a:lnTo>
                  <a:lnTo>
                    <a:pt x="783" y="451"/>
                  </a:lnTo>
                  <a:lnTo>
                    <a:pt x="785" y="449"/>
                  </a:lnTo>
                  <a:lnTo>
                    <a:pt x="789" y="440"/>
                  </a:lnTo>
                  <a:lnTo>
                    <a:pt x="793" y="431"/>
                  </a:lnTo>
                  <a:lnTo>
                    <a:pt x="798" y="422"/>
                  </a:lnTo>
                  <a:lnTo>
                    <a:pt x="802" y="415"/>
                  </a:lnTo>
                  <a:lnTo>
                    <a:pt x="810" y="399"/>
                  </a:lnTo>
                  <a:lnTo>
                    <a:pt x="818" y="383"/>
                  </a:lnTo>
                  <a:lnTo>
                    <a:pt x="824" y="368"/>
                  </a:lnTo>
                  <a:lnTo>
                    <a:pt x="830" y="353"/>
                  </a:lnTo>
                  <a:lnTo>
                    <a:pt x="835" y="338"/>
                  </a:lnTo>
                  <a:lnTo>
                    <a:pt x="838" y="321"/>
                  </a:lnTo>
                  <a:lnTo>
                    <a:pt x="840" y="304"/>
                  </a:lnTo>
                  <a:lnTo>
                    <a:pt x="841" y="284"/>
                  </a:lnTo>
                  <a:lnTo>
                    <a:pt x="840" y="265"/>
                  </a:lnTo>
                  <a:lnTo>
                    <a:pt x="840" y="248"/>
                  </a:lnTo>
                  <a:lnTo>
                    <a:pt x="838" y="231"/>
                  </a:lnTo>
                  <a:lnTo>
                    <a:pt x="836" y="215"/>
                  </a:lnTo>
                  <a:lnTo>
                    <a:pt x="834" y="199"/>
                  </a:lnTo>
                  <a:lnTo>
                    <a:pt x="831" y="184"/>
                  </a:lnTo>
                  <a:lnTo>
                    <a:pt x="828" y="170"/>
                  </a:lnTo>
                  <a:lnTo>
                    <a:pt x="823" y="156"/>
                  </a:lnTo>
                  <a:lnTo>
                    <a:pt x="819" y="143"/>
                  </a:lnTo>
                  <a:lnTo>
                    <a:pt x="815" y="132"/>
                  </a:lnTo>
                  <a:lnTo>
                    <a:pt x="809" y="120"/>
                  </a:lnTo>
                  <a:lnTo>
                    <a:pt x="803" y="108"/>
                  </a:lnTo>
                  <a:lnTo>
                    <a:pt x="798" y="97"/>
                  </a:lnTo>
                  <a:lnTo>
                    <a:pt x="791" y="88"/>
                  </a:lnTo>
                  <a:lnTo>
                    <a:pt x="785" y="78"/>
                  </a:lnTo>
                  <a:lnTo>
                    <a:pt x="777" y="69"/>
                  </a:lnTo>
                  <a:lnTo>
                    <a:pt x="771" y="62"/>
                  </a:lnTo>
                  <a:lnTo>
                    <a:pt x="763" y="53"/>
                  </a:lnTo>
                  <a:lnTo>
                    <a:pt x="756" y="47"/>
                  </a:lnTo>
                  <a:lnTo>
                    <a:pt x="748" y="41"/>
                  </a:lnTo>
                  <a:lnTo>
                    <a:pt x="732" y="29"/>
                  </a:lnTo>
                  <a:lnTo>
                    <a:pt x="715" y="19"/>
                  </a:lnTo>
                  <a:lnTo>
                    <a:pt x="698" y="12"/>
                  </a:lnTo>
                  <a:lnTo>
                    <a:pt x="681" y="6"/>
                  </a:lnTo>
                  <a:lnTo>
                    <a:pt x="664" y="2"/>
                  </a:lnTo>
                  <a:lnTo>
                    <a:pt x="648" y="1"/>
                  </a:lnTo>
                  <a:lnTo>
                    <a:pt x="631" y="0"/>
                  </a:lnTo>
                  <a:lnTo>
                    <a:pt x="615" y="1"/>
                  </a:lnTo>
                  <a:lnTo>
                    <a:pt x="598" y="3"/>
                  </a:lnTo>
                  <a:lnTo>
                    <a:pt x="581" y="7"/>
                  </a:lnTo>
                  <a:lnTo>
                    <a:pt x="564" y="13"/>
                  </a:lnTo>
                  <a:lnTo>
                    <a:pt x="548" y="20"/>
                  </a:lnTo>
                  <a:lnTo>
                    <a:pt x="532" y="29"/>
                  </a:lnTo>
                  <a:lnTo>
                    <a:pt x="517" y="38"/>
                  </a:lnTo>
                  <a:lnTo>
                    <a:pt x="502" y="50"/>
                  </a:lnTo>
                  <a:lnTo>
                    <a:pt x="487" y="63"/>
                  </a:lnTo>
                  <a:lnTo>
                    <a:pt x="474" y="78"/>
                  </a:lnTo>
                  <a:lnTo>
                    <a:pt x="462" y="94"/>
                  </a:lnTo>
                  <a:lnTo>
                    <a:pt x="450" y="112"/>
                  </a:lnTo>
                  <a:lnTo>
                    <a:pt x="439" y="132"/>
                  </a:lnTo>
                  <a:lnTo>
                    <a:pt x="430" y="152"/>
                  </a:lnTo>
                  <a:lnTo>
                    <a:pt x="421" y="174"/>
                  </a:lnTo>
                  <a:lnTo>
                    <a:pt x="412" y="152"/>
                  </a:lnTo>
                  <a:lnTo>
                    <a:pt x="403" y="132"/>
                  </a:lnTo>
                  <a:lnTo>
                    <a:pt x="392" y="112"/>
                  </a:lnTo>
                  <a:lnTo>
                    <a:pt x="380" y="94"/>
                  </a:lnTo>
                  <a:lnTo>
                    <a:pt x="367" y="78"/>
                  </a:lnTo>
                  <a:lnTo>
                    <a:pt x="355" y="63"/>
                  </a:lnTo>
                  <a:lnTo>
                    <a:pt x="340" y="50"/>
                  </a:lnTo>
                  <a:lnTo>
                    <a:pt x="326" y="38"/>
                  </a:lnTo>
                  <a:lnTo>
                    <a:pt x="310" y="29"/>
                  </a:lnTo>
                  <a:lnTo>
                    <a:pt x="294" y="20"/>
                  </a:lnTo>
                  <a:lnTo>
                    <a:pt x="278" y="13"/>
                  </a:lnTo>
                  <a:lnTo>
                    <a:pt x="262" y="7"/>
                  </a:lnTo>
                  <a:lnTo>
                    <a:pt x="244" y="3"/>
                  </a:lnTo>
                  <a:lnTo>
                    <a:pt x="227" y="1"/>
                  </a:lnTo>
                  <a:lnTo>
                    <a:pt x="211" y="0"/>
                  </a:lnTo>
                  <a:lnTo>
                    <a:pt x="194" y="1"/>
                  </a:lnTo>
                  <a:lnTo>
                    <a:pt x="178" y="2"/>
                  </a:lnTo>
                  <a:lnTo>
                    <a:pt x="161" y="6"/>
                  </a:lnTo>
                  <a:lnTo>
                    <a:pt x="144" y="12"/>
                  </a:lnTo>
                  <a:lnTo>
                    <a:pt x="127" y="19"/>
                  </a:lnTo>
                  <a:lnTo>
                    <a:pt x="111" y="29"/>
                  </a:lnTo>
                  <a:lnTo>
                    <a:pt x="95" y="41"/>
                  </a:lnTo>
                  <a:lnTo>
                    <a:pt x="86" y="47"/>
                  </a:lnTo>
                  <a:lnTo>
                    <a:pt x="79" y="53"/>
                  </a:lnTo>
                  <a:lnTo>
                    <a:pt x="71" y="62"/>
                  </a:lnTo>
                  <a:lnTo>
                    <a:pt x="65" y="69"/>
                  </a:lnTo>
                  <a:lnTo>
                    <a:pt x="57" y="78"/>
                  </a:lnTo>
                  <a:lnTo>
                    <a:pt x="51" y="88"/>
                  </a:lnTo>
                  <a:lnTo>
                    <a:pt x="44" y="97"/>
                  </a:lnTo>
                  <a:lnTo>
                    <a:pt x="39" y="108"/>
                  </a:lnTo>
                  <a:lnTo>
                    <a:pt x="34" y="120"/>
                  </a:lnTo>
                  <a:lnTo>
                    <a:pt x="28" y="132"/>
                  </a:lnTo>
                  <a:lnTo>
                    <a:pt x="23" y="143"/>
                  </a:lnTo>
                  <a:lnTo>
                    <a:pt x="19" y="156"/>
                  </a:lnTo>
                  <a:lnTo>
                    <a:pt x="14" y="170"/>
                  </a:lnTo>
                  <a:lnTo>
                    <a:pt x="11" y="184"/>
                  </a:lnTo>
                  <a:lnTo>
                    <a:pt x="8" y="199"/>
                  </a:lnTo>
                  <a:lnTo>
                    <a:pt x="6" y="215"/>
                  </a:lnTo>
                  <a:lnTo>
                    <a:pt x="4" y="231"/>
                  </a:lnTo>
                  <a:lnTo>
                    <a:pt x="3" y="248"/>
                  </a:lnTo>
                  <a:lnTo>
                    <a:pt x="2" y="265"/>
                  </a:lnTo>
                  <a:lnTo>
                    <a:pt x="0" y="284"/>
                  </a:lnTo>
                  <a:lnTo>
                    <a:pt x="2" y="306"/>
                  </a:lnTo>
                  <a:lnTo>
                    <a:pt x="5" y="326"/>
                  </a:lnTo>
                  <a:lnTo>
                    <a:pt x="8" y="347"/>
                  </a:lnTo>
                  <a:lnTo>
                    <a:pt x="13" y="366"/>
                  </a:lnTo>
                  <a:lnTo>
                    <a:pt x="27" y="404"/>
                  </a:lnTo>
                  <a:lnTo>
                    <a:pt x="42" y="443"/>
                  </a:lnTo>
                  <a:lnTo>
                    <a:pt x="44"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365">
              <a:extLst>
                <a:ext uri="{FF2B5EF4-FFF2-40B4-BE49-F238E27FC236}">
                  <a16:creationId xmlns:a16="http://schemas.microsoft.com/office/drawing/2014/main" id="{E862ED33-2EE4-4386-B04B-167085951197}"/>
                </a:ext>
              </a:extLst>
            </p:cNvPr>
            <p:cNvSpPr>
              <a:spLocks/>
            </p:cNvSpPr>
            <p:nvPr/>
          </p:nvSpPr>
          <p:spPr bwMode="auto">
            <a:xfrm>
              <a:off x="10509250" y="968375"/>
              <a:ext cx="177800" cy="92075"/>
            </a:xfrm>
            <a:custGeom>
              <a:avLst/>
              <a:gdLst>
                <a:gd name="T0" fmla="*/ 517 w 562"/>
                <a:gd name="T1" fmla="*/ 29 h 290"/>
                <a:gd name="T2" fmla="*/ 479 w 562"/>
                <a:gd name="T3" fmla="*/ 73 h 290"/>
                <a:gd name="T4" fmla="*/ 424 w 562"/>
                <a:gd name="T5" fmla="*/ 133 h 290"/>
                <a:gd name="T6" fmla="*/ 356 w 562"/>
                <a:gd name="T7" fmla="*/ 199 h 290"/>
                <a:gd name="T8" fmla="*/ 305 w 562"/>
                <a:gd name="T9" fmla="*/ 244 h 290"/>
                <a:gd name="T10" fmla="*/ 272 w 562"/>
                <a:gd name="T11" fmla="*/ 245 h 290"/>
                <a:gd name="T12" fmla="*/ 217 w 562"/>
                <a:gd name="T13" fmla="*/ 202 h 290"/>
                <a:gd name="T14" fmla="*/ 164 w 562"/>
                <a:gd name="T15" fmla="*/ 155 h 290"/>
                <a:gd name="T16" fmla="*/ 124 w 562"/>
                <a:gd name="T17" fmla="*/ 117 h 290"/>
                <a:gd name="T18" fmla="*/ 85 w 562"/>
                <a:gd name="T19" fmla="*/ 76 h 290"/>
                <a:gd name="T20" fmla="*/ 46 w 562"/>
                <a:gd name="T21" fmla="*/ 31 h 290"/>
                <a:gd name="T22" fmla="*/ 25 w 562"/>
                <a:gd name="T23" fmla="*/ 4 h 290"/>
                <a:gd name="T24" fmla="*/ 20 w 562"/>
                <a:gd name="T25" fmla="*/ 1 h 290"/>
                <a:gd name="T26" fmla="*/ 14 w 562"/>
                <a:gd name="T27" fmla="*/ 0 h 290"/>
                <a:gd name="T28" fmla="*/ 9 w 562"/>
                <a:gd name="T29" fmla="*/ 2 h 290"/>
                <a:gd name="T30" fmla="*/ 4 w 562"/>
                <a:gd name="T31" fmla="*/ 5 h 290"/>
                <a:gd name="T32" fmla="*/ 1 w 562"/>
                <a:gd name="T33" fmla="*/ 10 h 290"/>
                <a:gd name="T34" fmla="*/ 0 w 562"/>
                <a:gd name="T35" fmla="*/ 16 h 290"/>
                <a:gd name="T36" fmla="*/ 1 w 562"/>
                <a:gd name="T37" fmla="*/ 22 h 290"/>
                <a:gd name="T38" fmla="*/ 26 w 562"/>
                <a:gd name="T39" fmla="*/ 53 h 290"/>
                <a:gd name="T40" fmla="*/ 72 w 562"/>
                <a:gd name="T41" fmla="*/ 107 h 290"/>
                <a:gd name="T42" fmla="*/ 118 w 562"/>
                <a:gd name="T43" fmla="*/ 154 h 290"/>
                <a:gd name="T44" fmla="*/ 163 w 562"/>
                <a:gd name="T45" fmla="*/ 195 h 290"/>
                <a:gd name="T46" fmla="*/ 222 w 562"/>
                <a:gd name="T47" fmla="*/ 245 h 290"/>
                <a:gd name="T48" fmla="*/ 273 w 562"/>
                <a:gd name="T49" fmla="*/ 282 h 290"/>
                <a:gd name="T50" fmla="*/ 286 w 562"/>
                <a:gd name="T51" fmla="*/ 290 h 290"/>
                <a:gd name="T52" fmla="*/ 292 w 562"/>
                <a:gd name="T53" fmla="*/ 290 h 290"/>
                <a:gd name="T54" fmla="*/ 297 w 562"/>
                <a:gd name="T55" fmla="*/ 288 h 290"/>
                <a:gd name="T56" fmla="*/ 306 w 562"/>
                <a:gd name="T57" fmla="*/ 282 h 290"/>
                <a:gd name="T58" fmla="*/ 352 w 562"/>
                <a:gd name="T59" fmla="*/ 244 h 290"/>
                <a:gd name="T60" fmla="*/ 427 w 562"/>
                <a:gd name="T61" fmla="*/ 174 h 290"/>
                <a:gd name="T62" fmla="*/ 492 w 562"/>
                <a:gd name="T63" fmla="*/ 104 h 290"/>
                <a:gd name="T64" fmla="*/ 537 w 562"/>
                <a:gd name="T65" fmla="*/ 52 h 290"/>
                <a:gd name="T66" fmla="*/ 560 w 562"/>
                <a:gd name="T67" fmla="*/ 22 h 290"/>
                <a:gd name="T68" fmla="*/ 562 w 562"/>
                <a:gd name="T69" fmla="*/ 16 h 290"/>
                <a:gd name="T70" fmla="*/ 561 w 562"/>
                <a:gd name="T71" fmla="*/ 10 h 290"/>
                <a:gd name="T72" fmla="*/ 557 w 562"/>
                <a:gd name="T73" fmla="*/ 5 h 290"/>
                <a:gd name="T74" fmla="*/ 553 w 562"/>
                <a:gd name="T75" fmla="*/ 2 h 290"/>
                <a:gd name="T76" fmla="*/ 547 w 562"/>
                <a:gd name="T77" fmla="*/ 0 h 290"/>
                <a:gd name="T78" fmla="*/ 541 w 562"/>
                <a:gd name="T79" fmla="*/ 1 h 290"/>
                <a:gd name="T80" fmla="*/ 536 w 562"/>
                <a:gd name="T81" fmla="*/ 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2" h="290">
                  <a:moveTo>
                    <a:pt x="534" y="5"/>
                  </a:moveTo>
                  <a:lnTo>
                    <a:pt x="517" y="29"/>
                  </a:lnTo>
                  <a:lnTo>
                    <a:pt x="498" y="51"/>
                  </a:lnTo>
                  <a:lnTo>
                    <a:pt x="479" y="73"/>
                  </a:lnTo>
                  <a:lnTo>
                    <a:pt x="460" y="95"/>
                  </a:lnTo>
                  <a:lnTo>
                    <a:pt x="424" y="133"/>
                  </a:lnTo>
                  <a:lnTo>
                    <a:pt x="388" y="169"/>
                  </a:lnTo>
                  <a:lnTo>
                    <a:pt x="356" y="199"/>
                  </a:lnTo>
                  <a:lnTo>
                    <a:pt x="327" y="224"/>
                  </a:lnTo>
                  <a:lnTo>
                    <a:pt x="305" y="244"/>
                  </a:lnTo>
                  <a:lnTo>
                    <a:pt x="290" y="257"/>
                  </a:lnTo>
                  <a:lnTo>
                    <a:pt x="272" y="245"/>
                  </a:lnTo>
                  <a:lnTo>
                    <a:pt x="247" y="226"/>
                  </a:lnTo>
                  <a:lnTo>
                    <a:pt x="217" y="202"/>
                  </a:lnTo>
                  <a:lnTo>
                    <a:pt x="182" y="172"/>
                  </a:lnTo>
                  <a:lnTo>
                    <a:pt x="164" y="155"/>
                  </a:lnTo>
                  <a:lnTo>
                    <a:pt x="144" y="137"/>
                  </a:lnTo>
                  <a:lnTo>
                    <a:pt x="124" y="117"/>
                  </a:lnTo>
                  <a:lnTo>
                    <a:pt x="105" y="97"/>
                  </a:lnTo>
                  <a:lnTo>
                    <a:pt x="85" y="76"/>
                  </a:lnTo>
                  <a:lnTo>
                    <a:pt x="65" y="54"/>
                  </a:lnTo>
                  <a:lnTo>
                    <a:pt x="46" y="31"/>
                  </a:lnTo>
                  <a:lnTo>
                    <a:pt x="27" y="6"/>
                  </a:lnTo>
                  <a:lnTo>
                    <a:pt x="25" y="4"/>
                  </a:lnTo>
                  <a:lnTo>
                    <a:pt x="22" y="2"/>
                  </a:lnTo>
                  <a:lnTo>
                    <a:pt x="20" y="1"/>
                  </a:lnTo>
                  <a:lnTo>
                    <a:pt x="17" y="0"/>
                  </a:lnTo>
                  <a:lnTo>
                    <a:pt x="14" y="0"/>
                  </a:lnTo>
                  <a:lnTo>
                    <a:pt x="12" y="1"/>
                  </a:lnTo>
                  <a:lnTo>
                    <a:pt x="9" y="2"/>
                  </a:lnTo>
                  <a:lnTo>
                    <a:pt x="6" y="4"/>
                  </a:lnTo>
                  <a:lnTo>
                    <a:pt x="4" y="5"/>
                  </a:lnTo>
                  <a:lnTo>
                    <a:pt x="2" y="7"/>
                  </a:lnTo>
                  <a:lnTo>
                    <a:pt x="1" y="10"/>
                  </a:lnTo>
                  <a:lnTo>
                    <a:pt x="0" y="12"/>
                  </a:lnTo>
                  <a:lnTo>
                    <a:pt x="0" y="16"/>
                  </a:lnTo>
                  <a:lnTo>
                    <a:pt x="0" y="19"/>
                  </a:lnTo>
                  <a:lnTo>
                    <a:pt x="1" y="22"/>
                  </a:lnTo>
                  <a:lnTo>
                    <a:pt x="3" y="24"/>
                  </a:lnTo>
                  <a:lnTo>
                    <a:pt x="26" y="53"/>
                  </a:lnTo>
                  <a:lnTo>
                    <a:pt x="48" y="81"/>
                  </a:lnTo>
                  <a:lnTo>
                    <a:pt x="72" y="107"/>
                  </a:lnTo>
                  <a:lnTo>
                    <a:pt x="95" y="131"/>
                  </a:lnTo>
                  <a:lnTo>
                    <a:pt x="118" y="154"/>
                  </a:lnTo>
                  <a:lnTo>
                    <a:pt x="141" y="175"/>
                  </a:lnTo>
                  <a:lnTo>
                    <a:pt x="163" y="195"/>
                  </a:lnTo>
                  <a:lnTo>
                    <a:pt x="184" y="214"/>
                  </a:lnTo>
                  <a:lnTo>
                    <a:pt x="222" y="245"/>
                  </a:lnTo>
                  <a:lnTo>
                    <a:pt x="251" y="267"/>
                  </a:lnTo>
                  <a:lnTo>
                    <a:pt x="273" y="282"/>
                  </a:lnTo>
                  <a:lnTo>
                    <a:pt x="281" y="288"/>
                  </a:lnTo>
                  <a:lnTo>
                    <a:pt x="286" y="290"/>
                  </a:lnTo>
                  <a:lnTo>
                    <a:pt x="290" y="290"/>
                  </a:lnTo>
                  <a:lnTo>
                    <a:pt x="292" y="290"/>
                  </a:lnTo>
                  <a:lnTo>
                    <a:pt x="295" y="290"/>
                  </a:lnTo>
                  <a:lnTo>
                    <a:pt x="297" y="288"/>
                  </a:lnTo>
                  <a:lnTo>
                    <a:pt x="300" y="287"/>
                  </a:lnTo>
                  <a:lnTo>
                    <a:pt x="306" y="282"/>
                  </a:lnTo>
                  <a:lnTo>
                    <a:pt x="324" y="267"/>
                  </a:lnTo>
                  <a:lnTo>
                    <a:pt x="352" y="244"/>
                  </a:lnTo>
                  <a:lnTo>
                    <a:pt x="386" y="212"/>
                  </a:lnTo>
                  <a:lnTo>
                    <a:pt x="427" y="174"/>
                  </a:lnTo>
                  <a:lnTo>
                    <a:pt x="470" y="129"/>
                  </a:lnTo>
                  <a:lnTo>
                    <a:pt x="492" y="104"/>
                  </a:lnTo>
                  <a:lnTo>
                    <a:pt x="515" y="79"/>
                  </a:lnTo>
                  <a:lnTo>
                    <a:pt x="537" y="52"/>
                  </a:lnTo>
                  <a:lnTo>
                    <a:pt x="559" y="24"/>
                  </a:lnTo>
                  <a:lnTo>
                    <a:pt x="560" y="22"/>
                  </a:lnTo>
                  <a:lnTo>
                    <a:pt x="561" y="19"/>
                  </a:lnTo>
                  <a:lnTo>
                    <a:pt x="562" y="16"/>
                  </a:lnTo>
                  <a:lnTo>
                    <a:pt x="562" y="12"/>
                  </a:lnTo>
                  <a:lnTo>
                    <a:pt x="561" y="10"/>
                  </a:lnTo>
                  <a:lnTo>
                    <a:pt x="560" y="7"/>
                  </a:lnTo>
                  <a:lnTo>
                    <a:pt x="557" y="5"/>
                  </a:lnTo>
                  <a:lnTo>
                    <a:pt x="555" y="4"/>
                  </a:lnTo>
                  <a:lnTo>
                    <a:pt x="553" y="2"/>
                  </a:lnTo>
                  <a:lnTo>
                    <a:pt x="550" y="1"/>
                  </a:lnTo>
                  <a:lnTo>
                    <a:pt x="547" y="0"/>
                  </a:lnTo>
                  <a:lnTo>
                    <a:pt x="545" y="0"/>
                  </a:lnTo>
                  <a:lnTo>
                    <a:pt x="541" y="1"/>
                  </a:lnTo>
                  <a:lnTo>
                    <a:pt x="539" y="2"/>
                  </a:lnTo>
                  <a:lnTo>
                    <a:pt x="536" y="3"/>
                  </a:lnTo>
                  <a:lnTo>
                    <a:pt x="53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51" name="Freeform 414">
            <a:extLst>
              <a:ext uri="{FF2B5EF4-FFF2-40B4-BE49-F238E27FC236}">
                <a16:creationId xmlns:a16="http://schemas.microsoft.com/office/drawing/2014/main" id="{519B6187-FB4D-43D3-A11C-FFF748C789FB}"/>
              </a:ext>
            </a:extLst>
          </p:cNvPr>
          <p:cNvSpPr>
            <a:spLocks noChangeAspect="1" noEditPoints="1"/>
          </p:cNvSpPr>
          <p:nvPr/>
        </p:nvSpPr>
        <p:spPr bwMode="auto">
          <a:xfrm>
            <a:off x="1081380" y="3256152"/>
            <a:ext cx="275840" cy="306488"/>
          </a:xfrm>
          <a:custGeom>
            <a:avLst/>
            <a:gdLst>
              <a:gd name="T0" fmla="*/ 648 w 810"/>
              <a:gd name="T1" fmla="*/ 422 h 900"/>
              <a:gd name="T2" fmla="*/ 634 w 810"/>
              <a:gd name="T3" fmla="*/ 353 h 900"/>
              <a:gd name="T4" fmla="*/ 683 w 810"/>
              <a:gd name="T5" fmla="*/ 304 h 900"/>
              <a:gd name="T6" fmla="*/ 754 w 810"/>
              <a:gd name="T7" fmla="*/ 318 h 900"/>
              <a:gd name="T8" fmla="*/ 780 w 810"/>
              <a:gd name="T9" fmla="*/ 383 h 900"/>
              <a:gd name="T10" fmla="*/ 742 w 810"/>
              <a:gd name="T11" fmla="*/ 441 h 900"/>
              <a:gd name="T12" fmla="*/ 142 w 810"/>
              <a:gd name="T13" fmla="*/ 49 h 900"/>
              <a:gd name="T14" fmla="*/ 132 w 810"/>
              <a:gd name="T15" fmla="*/ 112 h 900"/>
              <a:gd name="T16" fmla="*/ 303 w 810"/>
              <a:gd name="T17" fmla="*/ 89 h 900"/>
              <a:gd name="T18" fmla="*/ 331 w 810"/>
              <a:gd name="T19" fmla="*/ 33 h 900"/>
              <a:gd name="T20" fmla="*/ 779 w 810"/>
              <a:gd name="T21" fmla="*/ 302 h 900"/>
              <a:gd name="T22" fmla="*/ 684 w 810"/>
              <a:gd name="T23" fmla="*/ 273 h 900"/>
              <a:gd name="T24" fmla="*/ 609 w 810"/>
              <a:gd name="T25" fmla="*/ 335 h 900"/>
              <a:gd name="T26" fmla="*/ 616 w 810"/>
              <a:gd name="T27" fmla="*/ 430 h 900"/>
              <a:gd name="T28" fmla="*/ 690 w 810"/>
              <a:gd name="T29" fmla="*/ 480 h 900"/>
              <a:gd name="T30" fmla="*/ 669 w 810"/>
              <a:gd name="T31" fmla="*/ 781 h 900"/>
              <a:gd name="T32" fmla="*/ 612 w 810"/>
              <a:gd name="T33" fmla="*/ 793 h 900"/>
              <a:gd name="T34" fmla="*/ 573 w 810"/>
              <a:gd name="T35" fmla="*/ 753 h 900"/>
              <a:gd name="T36" fmla="*/ 552 w 810"/>
              <a:gd name="T37" fmla="*/ 587 h 900"/>
              <a:gd name="T38" fmla="*/ 466 w 810"/>
              <a:gd name="T39" fmla="*/ 540 h 900"/>
              <a:gd name="T40" fmla="*/ 378 w 810"/>
              <a:gd name="T41" fmla="*/ 587 h 900"/>
              <a:gd name="T42" fmla="*/ 358 w 810"/>
              <a:gd name="T43" fmla="*/ 828 h 900"/>
              <a:gd name="T44" fmla="*/ 318 w 810"/>
              <a:gd name="T45" fmla="*/ 867 h 900"/>
              <a:gd name="T46" fmla="*/ 262 w 810"/>
              <a:gd name="T47" fmla="*/ 857 h 900"/>
              <a:gd name="T48" fmla="*/ 240 w 810"/>
              <a:gd name="T49" fmla="*/ 570 h 900"/>
              <a:gd name="T50" fmla="*/ 414 w 810"/>
              <a:gd name="T51" fmla="*/ 467 h 900"/>
              <a:gd name="T52" fmla="*/ 447 w 810"/>
              <a:gd name="T53" fmla="*/ 137 h 900"/>
              <a:gd name="T54" fmla="*/ 388 w 810"/>
              <a:gd name="T55" fmla="*/ 69 h 900"/>
              <a:gd name="T56" fmla="*/ 351 w 810"/>
              <a:gd name="T57" fmla="*/ 1 h 900"/>
              <a:gd name="T58" fmla="*/ 292 w 810"/>
              <a:gd name="T59" fmla="*/ 22 h 900"/>
              <a:gd name="T60" fmla="*/ 272 w 810"/>
              <a:gd name="T61" fmla="*/ 90 h 900"/>
              <a:gd name="T62" fmla="*/ 316 w 810"/>
              <a:gd name="T63" fmla="*/ 144 h 900"/>
              <a:gd name="T64" fmla="*/ 359 w 810"/>
              <a:gd name="T65" fmla="*/ 141 h 900"/>
              <a:gd name="T66" fmla="*/ 410 w 810"/>
              <a:gd name="T67" fmla="*/ 128 h 900"/>
              <a:gd name="T68" fmla="*/ 405 w 810"/>
              <a:gd name="T69" fmla="*/ 421 h 900"/>
              <a:gd name="T70" fmla="*/ 265 w 810"/>
              <a:gd name="T71" fmla="*/ 536 h 900"/>
              <a:gd name="T72" fmla="*/ 88 w 810"/>
              <a:gd name="T73" fmla="*/ 483 h 900"/>
              <a:gd name="T74" fmla="*/ 30 w 810"/>
              <a:gd name="T75" fmla="*/ 158 h 900"/>
              <a:gd name="T76" fmla="*/ 84 w 810"/>
              <a:gd name="T77" fmla="*/ 93 h 900"/>
              <a:gd name="T78" fmla="*/ 105 w 810"/>
              <a:gd name="T79" fmla="*/ 150 h 900"/>
              <a:gd name="T80" fmla="*/ 167 w 810"/>
              <a:gd name="T81" fmla="*/ 118 h 900"/>
              <a:gd name="T82" fmla="*/ 175 w 810"/>
              <a:gd name="T83" fmla="*/ 46 h 900"/>
              <a:gd name="T84" fmla="*/ 120 w 810"/>
              <a:gd name="T85" fmla="*/ 2 h 900"/>
              <a:gd name="T86" fmla="*/ 90 w 810"/>
              <a:gd name="T87" fmla="*/ 15 h 900"/>
              <a:gd name="T88" fmla="*/ 21 w 810"/>
              <a:gd name="T89" fmla="*/ 104 h 900"/>
              <a:gd name="T90" fmla="*/ 5 w 810"/>
              <a:gd name="T91" fmla="*/ 389 h 900"/>
              <a:gd name="T92" fmla="*/ 128 w 810"/>
              <a:gd name="T93" fmla="*/ 549 h 900"/>
              <a:gd name="T94" fmla="*/ 222 w 810"/>
              <a:gd name="T95" fmla="*/ 852 h 900"/>
              <a:gd name="T96" fmla="*/ 291 w 810"/>
              <a:gd name="T97" fmla="*/ 900 h 900"/>
              <a:gd name="T98" fmla="*/ 369 w 810"/>
              <a:gd name="T99" fmla="*/ 867 h 900"/>
              <a:gd name="T100" fmla="*/ 392 w 810"/>
              <a:gd name="T101" fmla="*/ 630 h 900"/>
              <a:gd name="T102" fmla="*/ 436 w 810"/>
              <a:gd name="T103" fmla="*/ 576 h 900"/>
              <a:gd name="T104" fmla="*/ 508 w 810"/>
              <a:gd name="T105" fmla="*/ 583 h 900"/>
              <a:gd name="T106" fmla="*/ 541 w 810"/>
              <a:gd name="T107" fmla="*/ 645 h 900"/>
              <a:gd name="T108" fmla="*/ 573 w 810"/>
              <a:gd name="T109" fmla="*/ 804 h 900"/>
              <a:gd name="T110" fmla="*/ 657 w 810"/>
              <a:gd name="T111" fmla="*/ 821 h 900"/>
              <a:gd name="T112" fmla="*/ 716 w 810"/>
              <a:gd name="T113" fmla="*/ 762 h 900"/>
              <a:gd name="T114" fmla="*/ 772 w 810"/>
              <a:gd name="T115" fmla="*/ 458 h 900"/>
              <a:gd name="T116" fmla="*/ 810 w 810"/>
              <a:gd name="T117" fmla="*/ 37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900">
                <a:moveTo>
                  <a:pt x="705" y="450"/>
                </a:moveTo>
                <a:lnTo>
                  <a:pt x="698" y="449"/>
                </a:lnTo>
                <a:lnTo>
                  <a:pt x="690" y="448"/>
                </a:lnTo>
                <a:lnTo>
                  <a:pt x="683" y="447"/>
                </a:lnTo>
                <a:lnTo>
                  <a:pt x="677" y="444"/>
                </a:lnTo>
                <a:lnTo>
                  <a:pt x="670" y="441"/>
                </a:lnTo>
                <a:lnTo>
                  <a:pt x="664" y="437"/>
                </a:lnTo>
                <a:lnTo>
                  <a:pt x="658" y="433"/>
                </a:lnTo>
                <a:lnTo>
                  <a:pt x="653" y="428"/>
                </a:lnTo>
                <a:lnTo>
                  <a:pt x="648" y="422"/>
                </a:lnTo>
                <a:lnTo>
                  <a:pt x="643" y="417"/>
                </a:lnTo>
                <a:lnTo>
                  <a:pt x="639" y="411"/>
                </a:lnTo>
                <a:lnTo>
                  <a:pt x="636" y="404"/>
                </a:lnTo>
                <a:lnTo>
                  <a:pt x="634" y="398"/>
                </a:lnTo>
                <a:lnTo>
                  <a:pt x="632" y="390"/>
                </a:lnTo>
                <a:lnTo>
                  <a:pt x="631" y="383"/>
                </a:lnTo>
                <a:lnTo>
                  <a:pt x="631" y="375"/>
                </a:lnTo>
                <a:lnTo>
                  <a:pt x="631" y="368"/>
                </a:lnTo>
                <a:lnTo>
                  <a:pt x="632" y="360"/>
                </a:lnTo>
                <a:lnTo>
                  <a:pt x="634" y="353"/>
                </a:lnTo>
                <a:lnTo>
                  <a:pt x="637" y="346"/>
                </a:lnTo>
                <a:lnTo>
                  <a:pt x="639" y="340"/>
                </a:lnTo>
                <a:lnTo>
                  <a:pt x="643" y="334"/>
                </a:lnTo>
                <a:lnTo>
                  <a:pt x="648" y="327"/>
                </a:lnTo>
                <a:lnTo>
                  <a:pt x="653" y="322"/>
                </a:lnTo>
                <a:lnTo>
                  <a:pt x="658" y="318"/>
                </a:lnTo>
                <a:lnTo>
                  <a:pt x="664" y="313"/>
                </a:lnTo>
                <a:lnTo>
                  <a:pt x="670" y="309"/>
                </a:lnTo>
                <a:lnTo>
                  <a:pt x="677" y="306"/>
                </a:lnTo>
                <a:lnTo>
                  <a:pt x="683" y="304"/>
                </a:lnTo>
                <a:lnTo>
                  <a:pt x="690" y="302"/>
                </a:lnTo>
                <a:lnTo>
                  <a:pt x="698" y="300"/>
                </a:lnTo>
                <a:lnTo>
                  <a:pt x="705" y="300"/>
                </a:lnTo>
                <a:lnTo>
                  <a:pt x="713" y="300"/>
                </a:lnTo>
                <a:lnTo>
                  <a:pt x="720" y="302"/>
                </a:lnTo>
                <a:lnTo>
                  <a:pt x="728" y="304"/>
                </a:lnTo>
                <a:lnTo>
                  <a:pt x="734" y="306"/>
                </a:lnTo>
                <a:lnTo>
                  <a:pt x="742" y="309"/>
                </a:lnTo>
                <a:lnTo>
                  <a:pt x="747" y="313"/>
                </a:lnTo>
                <a:lnTo>
                  <a:pt x="754" y="318"/>
                </a:lnTo>
                <a:lnTo>
                  <a:pt x="759" y="322"/>
                </a:lnTo>
                <a:lnTo>
                  <a:pt x="763" y="327"/>
                </a:lnTo>
                <a:lnTo>
                  <a:pt x="768" y="334"/>
                </a:lnTo>
                <a:lnTo>
                  <a:pt x="772" y="340"/>
                </a:lnTo>
                <a:lnTo>
                  <a:pt x="775" y="346"/>
                </a:lnTo>
                <a:lnTo>
                  <a:pt x="777" y="353"/>
                </a:lnTo>
                <a:lnTo>
                  <a:pt x="779" y="360"/>
                </a:lnTo>
                <a:lnTo>
                  <a:pt x="780" y="368"/>
                </a:lnTo>
                <a:lnTo>
                  <a:pt x="780" y="375"/>
                </a:lnTo>
                <a:lnTo>
                  <a:pt x="780" y="383"/>
                </a:lnTo>
                <a:lnTo>
                  <a:pt x="779" y="390"/>
                </a:lnTo>
                <a:lnTo>
                  <a:pt x="777" y="398"/>
                </a:lnTo>
                <a:lnTo>
                  <a:pt x="775" y="404"/>
                </a:lnTo>
                <a:lnTo>
                  <a:pt x="772" y="411"/>
                </a:lnTo>
                <a:lnTo>
                  <a:pt x="768" y="417"/>
                </a:lnTo>
                <a:lnTo>
                  <a:pt x="763" y="422"/>
                </a:lnTo>
                <a:lnTo>
                  <a:pt x="759" y="428"/>
                </a:lnTo>
                <a:lnTo>
                  <a:pt x="754" y="433"/>
                </a:lnTo>
                <a:lnTo>
                  <a:pt x="747" y="437"/>
                </a:lnTo>
                <a:lnTo>
                  <a:pt x="742" y="441"/>
                </a:lnTo>
                <a:lnTo>
                  <a:pt x="734" y="444"/>
                </a:lnTo>
                <a:lnTo>
                  <a:pt x="728" y="447"/>
                </a:lnTo>
                <a:lnTo>
                  <a:pt x="720" y="448"/>
                </a:lnTo>
                <a:lnTo>
                  <a:pt x="713" y="449"/>
                </a:lnTo>
                <a:lnTo>
                  <a:pt x="705" y="450"/>
                </a:lnTo>
                <a:close/>
                <a:moveTo>
                  <a:pt x="120" y="33"/>
                </a:moveTo>
                <a:lnTo>
                  <a:pt x="127" y="35"/>
                </a:lnTo>
                <a:lnTo>
                  <a:pt x="132" y="39"/>
                </a:lnTo>
                <a:lnTo>
                  <a:pt x="137" y="44"/>
                </a:lnTo>
                <a:lnTo>
                  <a:pt x="142" y="49"/>
                </a:lnTo>
                <a:lnTo>
                  <a:pt x="146" y="54"/>
                </a:lnTo>
                <a:lnTo>
                  <a:pt x="148" y="61"/>
                </a:lnTo>
                <a:lnTo>
                  <a:pt x="150" y="68"/>
                </a:lnTo>
                <a:lnTo>
                  <a:pt x="150" y="75"/>
                </a:lnTo>
                <a:lnTo>
                  <a:pt x="150" y="82"/>
                </a:lnTo>
                <a:lnTo>
                  <a:pt x="148" y="89"/>
                </a:lnTo>
                <a:lnTo>
                  <a:pt x="146" y="96"/>
                </a:lnTo>
                <a:lnTo>
                  <a:pt x="142" y="102"/>
                </a:lnTo>
                <a:lnTo>
                  <a:pt x="137" y="107"/>
                </a:lnTo>
                <a:lnTo>
                  <a:pt x="132" y="112"/>
                </a:lnTo>
                <a:lnTo>
                  <a:pt x="127" y="115"/>
                </a:lnTo>
                <a:lnTo>
                  <a:pt x="120" y="119"/>
                </a:lnTo>
                <a:lnTo>
                  <a:pt x="120" y="33"/>
                </a:lnTo>
                <a:close/>
                <a:moveTo>
                  <a:pt x="331" y="119"/>
                </a:moveTo>
                <a:lnTo>
                  <a:pt x="325" y="115"/>
                </a:lnTo>
                <a:lnTo>
                  <a:pt x="318" y="112"/>
                </a:lnTo>
                <a:lnTo>
                  <a:pt x="314" y="107"/>
                </a:lnTo>
                <a:lnTo>
                  <a:pt x="308" y="102"/>
                </a:lnTo>
                <a:lnTo>
                  <a:pt x="305" y="96"/>
                </a:lnTo>
                <a:lnTo>
                  <a:pt x="303" y="89"/>
                </a:lnTo>
                <a:lnTo>
                  <a:pt x="301" y="82"/>
                </a:lnTo>
                <a:lnTo>
                  <a:pt x="300" y="75"/>
                </a:lnTo>
                <a:lnTo>
                  <a:pt x="301" y="68"/>
                </a:lnTo>
                <a:lnTo>
                  <a:pt x="303" y="61"/>
                </a:lnTo>
                <a:lnTo>
                  <a:pt x="305" y="54"/>
                </a:lnTo>
                <a:lnTo>
                  <a:pt x="308" y="49"/>
                </a:lnTo>
                <a:lnTo>
                  <a:pt x="314" y="44"/>
                </a:lnTo>
                <a:lnTo>
                  <a:pt x="318" y="39"/>
                </a:lnTo>
                <a:lnTo>
                  <a:pt x="325" y="35"/>
                </a:lnTo>
                <a:lnTo>
                  <a:pt x="331" y="33"/>
                </a:lnTo>
                <a:lnTo>
                  <a:pt x="331" y="119"/>
                </a:lnTo>
                <a:close/>
                <a:moveTo>
                  <a:pt x="810" y="375"/>
                </a:moveTo>
                <a:lnTo>
                  <a:pt x="810" y="365"/>
                </a:lnTo>
                <a:lnTo>
                  <a:pt x="808" y="354"/>
                </a:lnTo>
                <a:lnTo>
                  <a:pt x="806" y="344"/>
                </a:lnTo>
                <a:lnTo>
                  <a:pt x="803" y="335"/>
                </a:lnTo>
                <a:lnTo>
                  <a:pt x="797" y="325"/>
                </a:lnTo>
                <a:lnTo>
                  <a:pt x="792" y="317"/>
                </a:lnTo>
                <a:lnTo>
                  <a:pt x="787" y="309"/>
                </a:lnTo>
                <a:lnTo>
                  <a:pt x="779" y="302"/>
                </a:lnTo>
                <a:lnTo>
                  <a:pt x="772" y="294"/>
                </a:lnTo>
                <a:lnTo>
                  <a:pt x="764" y="289"/>
                </a:lnTo>
                <a:lnTo>
                  <a:pt x="756" y="283"/>
                </a:lnTo>
                <a:lnTo>
                  <a:pt x="746" y="278"/>
                </a:lnTo>
                <a:lnTo>
                  <a:pt x="736" y="275"/>
                </a:lnTo>
                <a:lnTo>
                  <a:pt x="727" y="273"/>
                </a:lnTo>
                <a:lnTo>
                  <a:pt x="716" y="271"/>
                </a:lnTo>
                <a:lnTo>
                  <a:pt x="705" y="271"/>
                </a:lnTo>
                <a:lnTo>
                  <a:pt x="695" y="271"/>
                </a:lnTo>
                <a:lnTo>
                  <a:pt x="684" y="273"/>
                </a:lnTo>
                <a:lnTo>
                  <a:pt x="674" y="275"/>
                </a:lnTo>
                <a:lnTo>
                  <a:pt x="665" y="278"/>
                </a:lnTo>
                <a:lnTo>
                  <a:pt x="655" y="283"/>
                </a:lnTo>
                <a:lnTo>
                  <a:pt x="647" y="289"/>
                </a:lnTo>
                <a:lnTo>
                  <a:pt x="639" y="294"/>
                </a:lnTo>
                <a:lnTo>
                  <a:pt x="632" y="302"/>
                </a:lnTo>
                <a:lnTo>
                  <a:pt x="624" y="309"/>
                </a:lnTo>
                <a:lnTo>
                  <a:pt x="619" y="317"/>
                </a:lnTo>
                <a:lnTo>
                  <a:pt x="613" y="325"/>
                </a:lnTo>
                <a:lnTo>
                  <a:pt x="609" y="335"/>
                </a:lnTo>
                <a:lnTo>
                  <a:pt x="605" y="344"/>
                </a:lnTo>
                <a:lnTo>
                  <a:pt x="603" y="354"/>
                </a:lnTo>
                <a:lnTo>
                  <a:pt x="601" y="365"/>
                </a:lnTo>
                <a:lnTo>
                  <a:pt x="601" y="375"/>
                </a:lnTo>
                <a:lnTo>
                  <a:pt x="601" y="385"/>
                </a:lnTo>
                <a:lnTo>
                  <a:pt x="603" y="395"/>
                </a:lnTo>
                <a:lnTo>
                  <a:pt x="605" y="404"/>
                </a:lnTo>
                <a:lnTo>
                  <a:pt x="607" y="413"/>
                </a:lnTo>
                <a:lnTo>
                  <a:pt x="611" y="421"/>
                </a:lnTo>
                <a:lnTo>
                  <a:pt x="616" y="430"/>
                </a:lnTo>
                <a:lnTo>
                  <a:pt x="621" y="437"/>
                </a:lnTo>
                <a:lnTo>
                  <a:pt x="626" y="445"/>
                </a:lnTo>
                <a:lnTo>
                  <a:pt x="633" y="451"/>
                </a:lnTo>
                <a:lnTo>
                  <a:pt x="640" y="458"/>
                </a:lnTo>
                <a:lnTo>
                  <a:pt x="647" y="463"/>
                </a:lnTo>
                <a:lnTo>
                  <a:pt x="655" y="468"/>
                </a:lnTo>
                <a:lnTo>
                  <a:pt x="664" y="472"/>
                </a:lnTo>
                <a:lnTo>
                  <a:pt x="672" y="476"/>
                </a:lnTo>
                <a:lnTo>
                  <a:pt x="681" y="478"/>
                </a:lnTo>
                <a:lnTo>
                  <a:pt x="690" y="480"/>
                </a:lnTo>
                <a:lnTo>
                  <a:pt x="690" y="735"/>
                </a:lnTo>
                <a:lnTo>
                  <a:pt x="690" y="741"/>
                </a:lnTo>
                <a:lnTo>
                  <a:pt x="689" y="747"/>
                </a:lnTo>
                <a:lnTo>
                  <a:pt x="688" y="753"/>
                </a:lnTo>
                <a:lnTo>
                  <a:pt x="686" y="758"/>
                </a:lnTo>
                <a:lnTo>
                  <a:pt x="683" y="764"/>
                </a:lnTo>
                <a:lnTo>
                  <a:pt x="681" y="769"/>
                </a:lnTo>
                <a:lnTo>
                  <a:pt x="677" y="773"/>
                </a:lnTo>
                <a:lnTo>
                  <a:pt x="673" y="778"/>
                </a:lnTo>
                <a:lnTo>
                  <a:pt x="669" y="781"/>
                </a:lnTo>
                <a:lnTo>
                  <a:pt x="664" y="785"/>
                </a:lnTo>
                <a:lnTo>
                  <a:pt x="659" y="788"/>
                </a:lnTo>
                <a:lnTo>
                  <a:pt x="654" y="790"/>
                </a:lnTo>
                <a:lnTo>
                  <a:pt x="649" y="793"/>
                </a:lnTo>
                <a:lnTo>
                  <a:pt x="642" y="794"/>
                </a:lnTo>
                <a:lnTo>
                  <a:pt x="637" y="795"/>
                </a:lnTo>
                <a:lnTo>
                  <a:pt x="631" y="795"/>
                </a:lnTo>
                <a:lnTo>
                  <a:pt x="624" y="795"/>
                </a:lnTo>
                <a:lnTo>
                  <a:pt x="619" y="794"/>
                </a:lnTo>
                <a:lnTo>
                  <a:pt x="612" y="793"/>
                </a:lnTo>
                <a:lnTo>
                  <a:pt x="607" y="790"/>
                </a:lnTo>
                <a:lnTo>
                  <a:pt x="602" y="788"/>
                </a:lnTo>
                <a:lnTo>
                  <a:pt x="597" y="785"/>
                </a:lnTo>
                <a:lnTo>
                  <a:pt x="592" y="781"/>
                </a:lnTo>
                <a:lnTo>
                  <a:pt x="588" y="778"/>
                </a:lnTo>
                <a:lnTo>
                  <a:pt x="585" y="773"/>
                </a:lnTo>
                <a:lnTo>
                  <a:pt x="580" y="769"/>
                </a:lnTo>
                <a:lnTo>
                  <a:pt x="578" y="764"/>
                </a:lnTo>
                <a:lnTo>
                  <a:pt x="575" y="758"/>
                </a:lnTo>
                <a:lnTo>
                  <a:pt x="573" y="753"/>
                </a:lnTo>
                <a:lnTo>
                  <a:pt x="572" y="747"/>
                </a:lnTo>
                <a:lnTo>
                  <a:pt x="571" y="741"/>
                </a:lnTo>
                <a:lnTo>
                  <a:pt x="571" y="735"/>
                </a:lnTo>
                <a:lnTo>
                  <a:pt x="571" y="645"/>
                </a:lnTo>
                <a:lnTo>
                  <a:pt x="570" y="634"/>
                </a:lnTo>
                <a:lnTo>
                  <a:pt x="568" y="625"/>
                </a:lnTo>
                <a:lnTo>
                  <a:pt x="565" y="614"/>
                </a:lnTo>
                <a:lnTo>
                  <a:pt x="562" y="604"/>
                </a:lnTo>
                <a:lnTo>
                  <a:pt x="558" y="596"/>
                </a:lnTo>
                <a:lnTo>
                  <a:pt x="552" y="587"/>
                </a:lnTo>
                <a:lnTo>
                  <a:pt x="546" y="579"/>
                </a:lnTo>
                <a:lnTo>
                  <a:pt x="540" y="571"/>
                </a:lnTo>
                <a:lnTo>
                  <a:pt x="532" y="565"/>
                </a:lnTo>
                <a:lnTo>
                  <a:pt x="525" y="558"/>
                </a:lnTo>
                <a:lnTo>
                  <a:pt x="515" y="553"/>
                </a:lnTo>
                <a:lnTo>
                  <a:pt x="506" y="549"/>
                </a:lnTo>
                <a:lnTo>
                  <a:pt x="497" y="544"/>
                </a:lnTo>
                <a:lnTo>
                  <a:pt x="487" y="542"/>
                </a:lnTo>
                <a:lnTo>
                  <a:pt x="476" y="540"/>
                </a:lnTo>
                <a:lnTo>
                  <a:pt x="466" y="540"/>
                </a:lnTo>
                <a:lnTo>
                  <a:pt x="455" y="540"/>
                </a:lnTo>
                <a:lnTo>
                  <a:pt x="444" y="542"/>
                </a:lnTo>
                <a:lnTo>
                  <a:pt x="435" y="544"/>
                </a:lnTo>
                <a:lnTo>
                  <a:pt x="425" y="549"/>
                </a:lnTo>
                <a:lnTo>
                  <a:pt x="415" y="553"/>
                </a:lnTo>
                <a:lnTo>
                  <a:pt x="407" y="558"/>
                </a:lnTo>
                <a:lnTo>
                  <a:pt x="398" y="565"/>
                </a:lnTo>
                <a:lnTo>
                  <a:pt x="391" y="571"/>
                </a:lnTo>
                <a:lnTo>
                  <a:pt x="384" y="579"/>
                </a:lnTo>
                <a:lnTo>
                  <a:pt x="378" y="587"/>
                </a:lnTo>
                <a:lnTo>
                  <a:pt x="373" y="596"/>
                </a:lnTo>
                <a:lnTo>
                  <a:pt x="368" y="604"/>
                </a:lnTo>
                <a:lnTo>
                  <a:pt x="365" y="614"/>
                </a:lnTo>
                <a:lnTo>
                  <a:pt x="363" y="625"/>
                </a:lnTo>
                <a:lnTo>
                  <a:pt x="361" y="634"/>
                </a:lnTo>
                <a:lnTo>
                  <a:pt x="361" y="645"/>
                </a:lnTo>
                <a:lnTo>
                  <a:pt x="361" y="810"/>
                </a:lnTo>
                <a:lnTo>
                  <a:pt x="360" y="816"/>
                </a:lnTo>
                <a:lnTo>
                  <a:pt x="359" y="822"/>
                </a:lnTo>
                <a:lnTo>
                  <a:pt x="358" y="828"/>
                </a:lnTo>
                <a:lnTo>
                  <a:pt x="356" y="833"/>
                </a:lnTo>
                <a:lnTo>
                  <a:pt x="353" y="839"/>
                </a:lnTo>
                <a:lnTo>
                  <a:pt x="350" y="844"/>
                </a:lnTo>
                <a:lnTo>
                  <a:pt x="347" y="848"/>
                </a:lnTo>
                <a:lnTo>
                  <a:pt x="343" y="852"/>
                </a:lnTo>
                <a:lnTo>
                  <a:pt x="338" y="857"/>
                </a:lnTo>
                <a:lnTo>
                  <a:pt x="334" y="860"/>
                </a:lnTo>
                <a:lnTo>
                  <a:pt x="329" y="863"/>
                </a:lnTo>
                <a:lnTo>
                  <a:pt x="323" y="865"/>
                </a:lnTo>
                <a:lnTo>
                  <a:pt x="318" y="867"/>
                </a:lnTo>
                <a:lnTo>
                  <a:pt x="313" y="868"/>
                </a:lnTo>
                <a:lnTo>
                  <a:pt x="306" y="870"/>
                </a:lnTo>
                <a:lnTo>
                  <a:pt x="300" y="870"/>
                </a:lnTo>
                <a:lnTo>
                  <a:pt x="295" y="870"/>
                </a:lnTo>
                <a:lnTo>
                  <a:pt x="288" y="868"/>
                </a:lnTo>
                <a:lnTo>
                  <a:pt x="283" y="867"/>
                </a:lnTo>
                <a:lnTo>
                  <a:pt x="277" y="865"/>
                </a:lnTo>
                <a:lnTo>
                  <a:pt x="272" y="863"/>
                </a:lnTo>
                <a:lnTo>
                  <a:pt x="267" y="860"/>
                </a:lnTo>
                <a:lnTo>
                  <a:pt x="262" y="857"/>
                </a:lnTo>
                <a:lnTo>
                  <a:pt x="258" y="852"/>
                </a:lnTo>
                <a:lnTo>
                  <a:pt x="254" y="848"/>
                </a:lnTo>
                <a:lnTo>
                  <a:pt x="251" y="844"/>
                </a:lnTo>
                <a:lnTo>
                  <a:pt x="247" y="839"/>
                </a:lnTo>
                <a:lnTo>
                  <a:pt x="245" y="833"/>
                </a:lnTo>
                <a:lnTo>
                  <a:pt x="243" y="828"/>
                </a:lnTo>
                <a:lnTo>
                  <a:pt x="242" y="822"/>
                </a:lnTo>
                <a:lnTo>
                  <a:pt x="241" y="816"/>
                </a:lnTo>
                <a:lnTo>
                  <a:pt x="240" y="810"/>
                </a:lnTo>
                <a:lnTo>
                  <a:pt x="240" y="570"/>
                </a:lnTo>
                <a:lnTo>
                  <a:pt x="262" y="568"/>
                </a:lnTo>
                <a:lnTo>
                  <a:pt x="283" y="563"/>
                </a:lnTo>
                <a:lnTo>
                  <a:pt x="303" y="557"/>
                </a:lnTo>
                <a:lnTo>
                  <a:pt x="322" y="549"/>
                </a:lnTo>
                <a:lnTo>
                  <a:pt x="341" y="539"/>
                </a:lnTo>
                <a:lnTo>
                  <a:pt x="359" y="527"/>
                </a:lnTo>
                <a:lnTo>
                  <a:pt x="375" y="514"/>
                </a:lnTo>
                <a:lnTo>
                  <a:pt x="390" y="499"/>
                </a:lnTo>
                <a:lnTo>
                  <a:pt x="403" y="483"/>
                </a:lnTo>
                <a:lnTo>
                  <a:pt x="414" y="467"/>
                </a:lnTo>
                <a:lnTo>
                  <a:pt x="425" y="449"/>
                </a:lnTo>
                <a:lnTo>
                  <a:pt x="434" y="430"/>
                </a:lnTo>
                <a:lnTo>
                  <a:pt x="441" y="410"/>
                </a:lnTo>
                <a:lnTo>
                  <a:pt x="447" y="389"/>
                </a:lnTo>
                <a:lnTo>
                  <a:pt x="450" y="367"/>
                </a:lnTo>
                <a:lnTo>
                  <a:pt x="451" y="345"/>
                </a:lnTo>
                <a:lnTo>
                  <a:pt x="451" y="165"/>
                </a:lnTo>
                <a:lnTo>
                  <a:pt x="450" y="155"/>
                </a:lnTo>
                <a:lnTo>
                  <a:pt x="449" y="145"/>
                </a:lnTo>
                <a:lnTo>
                  <a:pt x="447" y="137"/>
                </a:lnTo>
                <a:lnTo>
                  <a:pt x="443" y="127"/>
                </a:lnTo>
                <a:lnTo>
                  <a:pt x="440" y="120"/>
                </a:lnTo>
                <a:lnTo>
                  <a:pt x="436" y="111"/>
                </a:lnTo>
                <a:lnTo>
                  <a:pt x="430" y="104"/>
                </a:lnTo>
                <a:lnTo>
                  <a:pt x="424" y="96"/>
                </a:lnTo>
                <a:lnTo>
                  <a:pt x="419" y="90"/>
                </a:lnTo>
                <a:lnTo>
                  <a:pt x="411" y="83"/>
                </a:lnTo>
                <a:lnTo>
                  <a:pt x="404" y="78"/>
                </a:lnTo>
                <a:lnTo>
                  <a:pt x="396" y="74"/>
                </a:lnTo>
                <a:lnTo>
                  <a:pt x="388" y="69"/>
                </a:lnTo>
                <a:lnTo>
                  <a:pt x="379" y="66"/>
                </a:lnTo>
                <a:lnTo>
                  <a:pt x="369" y="63"/>
                </a:lnTo>
                <a:lnTo>
                  <a:pt x="361" y="62"/>
                </a:lnTo>
                <a:lnTo>
                  <a:pt x="361" y="15"/>
                </a:lnTo>
                <a:lnTo>
                  <a:pt x="360" y="12"/>
                </a:lnTo>
                <a:lnTo>
                  <a:pt x="359" y="10"/>
                </a:lnTo>
                <a:lnTo>
                  <a:pt x="358" y="7"/>
                </a:lnTo>
                <a:lnTo>
                  <a:pt x="356" y="4"/>
                </a:lnTo>
                <a:lnTo>
                  <a:pt x="353" y="3"/>
                </a:lnTo>
                <a:lnTo>
                  <a:pt x="351" y="1"/>
                </a:lnTo>
                <a:lnTo>
                  <a:pt x="348" y="0"/>
                </a:lnTo>
                <a:lnTo>
                  <a:pt x="346" y="0"/>
                </a:lnTo>
                <a:lnTo>
                  <a:pt x="337" y="0"/>
                </a:lnTo>
                <a:lnTo>
                  <a:pt x="330" y="2"/>
                </a:lnTo>
                <a:lnTo>
                  <a:pt x="323" y="3"/>
                </a:lnTo>
                <a:lnTo>
                  <a:pt x="316" y="6"/>
                </a:lnTo>
                <a:lnTo>
                  <a:pt x="310" y="10"/>
                </a:lnTo>
                <a:lnTo>
                  <a:pt x="303" y="13"/>
                </a:lnTo>
                <a:lnTo>
                  <a:pt x="298" y="17"/>
                </a:lnTo>
                <a:lnTo>
                  <a:pt x="292" y="22"/>
                </a:lnTo>
                <a:lnTo>
                  <a:pt x="287" y="28"/>
                </a:lnTo>
                <a:lnTo>
                  <a:pt x="283" y="33"/>
                </a:lnTo>
                <a:lnTo>
                  <a:pt x="280" y="39"/>
                </a:lnTo>
                <a:lnTo>
                  <a:pt x="276" y="46"/>
                </a:lnTo>
                <a:lnTo>
                  <a:pt x="274" y="53"/>
                </a:lnTo>
                <a:lnTo>
                  <a:pt x="272" y="60"/>
                </a:lnTo>
                <a:lnTo>
                  <a:pt x="271" y="67"/>
                </a:lnTo>
                <a:lnTo>
                  <a:pt x="270" y="75"/>
                </a:lnTo>
                <a:lnTo>
                  <a:pt x="271" y="82"/>
                </a:lnTo>
                <a:lnTo>
                  <a:pt x="272" y="90"/>
                </a:lnTo>
                <a:lnTo>
                  <a:pt x="274" y="97"/>
                </a:lnTo>
                <a:lnTo>
                  <a:pt x="276" y="105"/>
                </a:lnTo>
                <a:lnTo>
                  <a:pt x="280" y="111"/>
                </a:lnTo>
                <a:lnTo>
                  <a:pt x="283" y="118"/>
                </a:lnTo>
                <a:lnTo>
                  <a:pt x="287" y="123"/>
                </a:lnTo>
                <a:lnTo>
                  <a:pt x="292" y="128"/>
                </a:lnTo>
                <a:lnTo>
                  <a:pt x="298" y="133"/>
                </a:lnTo>
                <a:lnTo>
                  <a:pt x="303" y="137"/>
                </a:lnTo>
                <a:lnTo>
                  <a:pt x="310" y="141"/>
                </a:lnTo>
                <a:lnTo>
                  <a:pt x="316" y="144"/>
                </a:lnTo>
                <a:lnTo>
                  <a:pt x="323" y="146"/>
                </a:lnTo>
                <a:lnTo>
                  <a:pt x="330" y="149"/>
                </a:lnTo>
                <a:lnTo>
                  <a:pt x="337" y="150"/>
                </a:lnTo>
                <a:lnTo>
                  <a:pt x="346" y="150"/>
                </a:lnTo>
                <a:lnTo>
                  <a:pt x="348" y="150"/>
                </a:lnTo>
                <a:lnTo>
                  <a:pt x="351" y="149"/>
                </a:lnTo>
                <a:lnTo>
                  <a:pt x="353" y="148"/>
                </a:lnTo>
                <a:lnTo>
                  <a:pt x="356" y="145"/>
                </a:lnTo>
                <a:lnTo>
                  <a:pt x="358" y="143"/>
                </a:lnTo>
                <a:lnTo>
                  <a:pt x="359" y="141"/>
                </a:lnTo>
                <a:lnTo>
                  <a:pt x="360" y="138"/>
                </a:lnTo>
                <a:lnTo>
                  <a:pt x="361" y="135"/>
                </a:lnTo>
                <a:lnTo>
                  <a:pt x="361" y="92"/>
                </a:lnTo>
                <a:lnTo>
                  <a:pt x="367" y="93"/>
                </a:lnTo>
                <a:lnTo>
                  <a:pt x="373" y="95"/>
                </a:lnTo>
                <a:lnTo>
                  <a:pt x="379" y="98"/>
                </a:lnTo>
                <a:lnTo>
                  <a:pt x="384" y="102"/>
                </a:lnTo>
                <a:lnTo>
                  <a:pt x="394" y="109"/>
                </a:lnTo>
                <a:lnTo>
                  <a:pt x="404" y="118"/>
                </a:lnTo>
                <a:lnTo>
                  <a:pt x="410" y="128"/>
                </a:lnTo>
                <a:lnTo>
                  <a:pt x="415" y="139"/>
                </a:lnTo>
                <a:lnTo>
                  <a:pt x="418" y="145"/>
                </a:lnTo>
                <a:lnTo>
                  <a:pt x="420" y="152"/>
                </a:lnTo>
                <a:lnTo>
                  <a:pt x="420" y="158"/>
                </a:lnTo>
                <a:lnTo>
                  <a:pt x="421" y="165"/>
                </a:lnTo>
                <a:lnTo>
                  <a:pt x="421" y="345"/>
                </a:lnTo>
                <a:lnTo>
                  <a:pt x="420" y="365"/>
                </a:lnTo>
                <a:lnTo>
                  <a:pt x="417" y="384"/>
                </a:lnTo>
                <a:lnTo>
                  <a:pt x="411" y="403"/>
                </a:lnTo>
                <a:lnTo>
                  <a:pt x="405" y="421"/>
                </a:lnTo>
                <a:lnTo>
                  <a:pt x="397" y="438"/>
                </a:lnTo>
                <a:lnTo>
                  <a:pt x="388" y="455"/>
                </a:lnTo>
                <a:lnTo>
                  <a:pt x="376" y="470"/>
                </a:lnTo>
                <a:lnTo>
                  <a:pt x="363" y="483"/>
                </a:lnTo>
                <a:lnTo>
                  <a:pt x="349" y="495"/>
                </a:lnTo>
                <a:lnTo>
                  <a:pt x="334" y="507"/>
                </a:lnTo>
                <a:lnTo>
                  <a:pt x="318" y="517"/>
                </a:lnTo>
                <a:lnTo>
                  <a:pt x="301" y="525"/>
                </a:lnTo>
                <a:lnTo>
                  <a:pt x="284" y="532"/>
                </a:lnTo>
                <a:lnTo>
                  <a:pt x="265" y="536"/>
                </a:lnTo>
                <a:lnTo>
                  <a:pt x="245" y="539"/>
                </a:lnTo>
                <a:lnTo>
                  <a:pt x="225" y="540"/>
                </a:lnTo>
                <a:lnTo>
                  <a:pt x="206" y="539"/>
                </a:lnTo>
                <a:lnTo>
                  <a:pt x="187" y="536"/>
                </a:lnTo>
                <a:lnTo>
                  <a:pt x="167" y="532"/>
                </a:lnTo>
                <a:lnTo>
                  <a:pt x="149" y="525"/>
                </a:lnTo>
                <a:lnTo>
                  <a:pt x="133" y="517"/>
                </a:lnTo>
                <a:lnTo>
                  <a:pt x="117" y="507"/>
                </a:lnTo>
                <a:lnTo>
                  <a:pt x="101" y="495"/>
                </a:lnTo>
                <a:lnTo>
                  <a:pt x="88" y="483"/>
                </a:lnTo>
                <a:lnTo>
                  <a:pt x="75" y="470"/>
                </a:lnTo>
                <a:lnTo>
                  <a:pt x="63" y="455"/>
                </a:lnTo>
                <a:lnTo>
                  <a:pt x="54" y="438"/>
                </a:lnTo>
                <a:lnTo>
                  <a:pt x="45" y="421"/>
                </a:lnTo>
                <a:lnTo>
                  <a:pt x="39" y="403"/>
                </a:lnTo>
                <a:lnTo>
                  <a:pt x="35" y="384"/>
                </a:lnTo>
                <a:lnTo>
                  <a:pt x="31" y="365"/>
                </a:lnTo>
                <a:lnTo>
                  <a:pt x="30" y="345"/>
                </a:lnTo>
                <a:lnTo>
                  <a:pt x="30" y="165"/>
                </a:lnTo>
                <a:lnTo>
                  <a:pt x="30" y="158"/>
                </a:lnTo>
                <a:lnTo>
                  <a:pt x="31" y="152"/>
                </a:lnTo>
                <a:lnTo>
                  <a:pt x="33" y="145"/>
                </a:lnTo>
                <a:lnTo>
                  <a:pt x="35" y="139"/>
                </a:lnTo>
                <a:lnTo>
                  <a:pt x="40" y="128"/>
                </a:lnTo>
                <a:lnTo>
                  <a:pt x="47" y="118"/>
                </a:lnTo>
                <a:lnTo>
                  <a:pt x="56" y="109"/>
                </a:lnTo>
                <a:lnTo>
                  <a:pt x="67" y="102"/>
                </a:lnTo>
                <a:lnTo>
                  <a:pt x="72" y="98"/>
                </a:lnTo>
                <a:lnTo>
                  <a:pt x="78" y="95"/>
                </a:lnTo>
                <a:lnTo>
                  <a:pt x="84" y="93"/>
                </a:lnTo>
                <a:lnTo>
                  <a:pt x="90" y="92"/>
                </a:lnTo>
                <a:lnTo>
                  <a:pt x="90" y="135"/>
                </a:lnTo>
                <a:lnTo>
                  <a:pt x="90" y="138"/>
                </a:lnTo>
                <a:lnTo>
                  <a:pt x="91" y="141"/>
                </a:lnTo>
                <a:lnTo>
                  <a:pt x="93" y="143"/>
                </a:lnTo>
                <a:lnTo>
                  <a:pt x="94" y="145"/>
                </a:lnTo>
                <a:lnTo>
                  <a:pt x="97" y="148"/>
                </a:lnTo>
                <a:lnTo>
                  <a:pt x="100" y="149"/>
                </a:lnTo>
                <a:lnTo>
                  <a:pt x="102" y="150"/>
                </a:lnTo>
                <a:lnTo>
                  <a:pt x="105" y="150"/>
                </a:lnTo>
                <a:lnTo>
                  <a:pt x="113" y="150"/>
                </a:lnTo>
                <a:lnTo>
                  <a:pt x="120" y="149"/>
                </a:lnTo>
                <a:lnTo>
                  <a:pt x="128" y="146"/>
                </a:lnTo>
                <a:lnTo>
                  <a:pt x="135" y="144"/>
                </a:lnTo>
                <a:lnTo>
                  <a:pt x="142" y="141"/>
                </a:lnTo>
                <a:lnTo>
                  <a:pt x="147" y="137"/>
                </a:lnTo>
                <a:lnTo>
                  <a:pt x="153" y="133"/>
                </a:lnTo>
                <a:lnTo>
                  <a:pt x="159" y="128"/>
                </a:lnTo>
                <a:lnTo>
                  <a:pt x="163" y="123"/>
                </a:lnTo>
                <a:lnTo>
                  <a:pt x="167" y="118"/>
                </a:lnTo>
                <a:lnTo>
                  <a:pt x="172" y="111"/>
                </a:lnTo>
                <a:lnTo>
                  <a:pt x="175" y="105"/>
                </a:lnTo>
                <a:lnTo>
                  <a:pt x="177" y="97"/>
                </a:lnTo>
                <a:lnTo>
                  <a:pt x="179" y="90"/>
                </a:lnTo>
                <a:lnTo>
                  <a:pt x="180" y="82"/>
                </a:lnTo>
                <a:lnTo>
                  <a:pt x="180" y="75"/>
                </a:lnTo>
                <a:lnTo>
                  <a:pt x="180" y="67"/>
                </a:lnTo>
                <a:lnTo>
                  <a:pt x="179" y="60"/>
                </a:lnTo>
                <a:lnTo>
                  <a:pt x="177" y="53"/>
                </a:lnTo>
                <a:lnTo>
                  <a:pt x="175" y="46"/>
                </a:lnTo>
                <a:lnTo>
                  <a:pt x="172" y="39"/>
                </a:lnTo>
                <a:lnTo>
                  <a:pt x="167" y="33"/>
                </a:lnTo>
                <a:lnTo>
                  <a:pt x="163" y="28"/>
                </a:lnTo>
                <a:lnTo>
                  <a:pt x="159" y="22"/>
                </a:lnTo>
                <a:lnTo>
                  <a:pt x="153" y="17"/>
                </a:lnTo>
                <a:lnTo>
                  <a:pt x="147" y="13"/>
                </a:lnTo>
                <a:lnTo>
                  <a:pt x="142" y="10"/>
                </a:lnTo>
                <a:lnTo>
                  <a:pt x="134" y="6"/>
                </a:lnTo>
                <a:lnTo>
                  <a:pt x="128" y="3"/>
                </a:lnTo>
                <a:lnTo>
                  <a:pt x="120" y="2"/>
                </a:lnTo>
                <a:lnTo>
                  <a:pt x="113" y="0"/>
                </a:lnTo>
                <a:lnTo>
                  <a:pt x="105" y="0"/>
                </a:lnTo>
                <a:lnTo>
                  <a:pt x="102" y="0"/>
                </a:lnTo>
                <a:lnTo>
                  <a:pt x="100" y="1"/>
                </a:lnTo>
                <a:lnTo>
                  <a:pt x="97" y="3"/>
                </a:lnTo>
                <a:lnTo>
                  <a:pt x="94" y="4"/>
                </a:lnTo>
                <a:lnTo>
                  <a:pt x="93" y="7"/>
                </a:lnTo>
                <a:lnTo>
                  <a:pt x="91" y="10"/>
                </a:lnTo>
                <a:lnTo>
                  <a:pt x="90" y="13"/>
                </a:lnTo>
                <a:lnTo>
                  <a:pt x="90" y="15"/>
                </a:lnTo>
                <a:lnTo>
                  <a:pt x="90" y="62"/>
                </a:lnTo>
                <a:lnTo>
                  <a:pt x="81" y="63"/>
                </a:lnTo>
                <a:lnTo>
                  <a:pt x="72" y="66"/>
                </a:lnTo>
                <a:lnTo>
                  <a:pt x="63" y="69"/>
                </a:lnTo>
                <a:lnTo>
                  <a:pt x="55" y="74"/>
                </a:lnTo>
                <a:lnTo>
                  <a:pt x="47" y="78"/>
                </a:lnTo>
                <a:lnTo>
                  <a:pt x="40" y="83"/>
                </a:lnTo>
                <a:lnTo>
                  <a:pt x="32" y="90"/>
                </a:lnTo>
                <a:lnTo>
                  <a:pt x="26" y="96"/>
                </a:lnTo>
                <a:lnTo>
                  <a:pt x="21" y="104"/>
                </a:lnTo>
                <a:lnTo>
                  <a:pt x="15" y="111"/>
                </a:lnTo>
                <a:lnTo>
                  <a:pt x="11" y="120"/>
                </a:lnTo>
                <a:lnTo>
                  <a:pt x="8" y="128"/>
                </a:lnTo>
                <a:lnTo>
                  <a:pt x="5" y="137"/>
                </a:lnTo>
                <a:lnTo>
                  <a:pt x="2" y="145"/>
                </a:lnTo>
                <a:lnTo>
                  <a:pt x="0" y="155"/>
                </a:lnTo>
                <a:lnTo>
                  <a:pt x="0" y="165"/>
                </a:lnTo>
                <a:lnTo>
                  <a:pt x="0" y="345"/>
                </a:lnTo>
                <a:lnTo>
                  <a:pt x="1" y="367"/>
                </a:lnTo>
                <a:lnTo>
                  <a:pt x="5" y="389"/>
                </a:lnTo>
                <a:lnTo>
                  <a:pt x="10" y="410"/>
                </a:lnTo>
                <a:lnTo>
                  <a:pt x="16" y="430"/>
                </a:lnTo>
                <a:lnTo>
                  <a:pt x="26" y="449"/>
                </a:lnTo>
                <a:lnTo>
                  <a:pt x="36" y="467"/>
                </a:lnTo>
                <a:lnTo>
                  <a:pt x="48" y="483"/>
                </a:lnTo>
                <a:lnTo>
                  <a:pt x="61" y="499"/>
                </a:lnTo>
                <a:lnTo>
                  <a:pt x="76" y="514"/>
                </a:lnTo>
                <a:lnTo>
                  <a:pt x="92" y="527"/>
                </a:lnTo>
                <a:lnTo>
                  <a:pt x="109" y="539"/>
                </a:lnTo>
                <a:lnTo>
                  <a:pt x="128" y="549"/>
                </a:lnTo>
                <a:lnTo>
                  <a:pt x="148" y="557"/>
                </a:lnTo>
                <a:lnTo>
                  <a:pt x="167" y="564"/>
                </a:lnTo>
                <a:lnTo>
                  <a:pt x="189" y="568"/>
                </a:lnTo>
                <a:lnTo>
                  <a:pt x="210" y="570"/>
                </a:lnTo>
                <a:lnTo>
                  <a:pt x="210" y="810"/>
                </a:lnTo>
                <a:lnTo>
                  <a:pt x="211" y="819"/>
                </a:lnTo>
                <a:lnTo>
                  <a:pt x="212" y="828"/>
                </a:lnTo>
                <a:lnTo>
                  <a:pt x="214" y="836"/>
                </a:lnTo>
                <a:lnTo>
                  <a:pt x="218" y="845"/>
                </a:lnTo>
                <a:lnTo>
                  <a:pt x="222" y="852"/>
                </a:lnTo>
                <a:lnTo>
                  <a:pt x="226" y="860"/>
                </a:lnTo>
                <a:lnTo>
                  <a:pt x="231" y="867"/>
                </a:lnTo>
                <a:lnTo>
                  <a:pt x="237" y="874"/>
                </a:lnTo>
                <a:lnTo>
                  <a:pt x="243" y="879"/>
                </a:lnTo>
                <a:lnTo>
                  <a:pt x="250" y="885"/>
                </a:lnTo>
                <a:lnTo>
                  <a:pt x="257" y="889"/>
                </a:lnTo>
                <a:lnTo>
                  <a:pt x="266" y="893"/>
                </a:lnTo>
                <a:lnTo>
                  <a:pt x="273" y="896"/>
                </a:lnTo>
                <a:lnTo>
                  <a:pt x="283" y="898"/>
                </a:lnTo>
                <a:lnTo>
                  <a:pt x="291" y="900"/>
                </a:lnTo>
                <a:lnTo>
                  <a:pt x="300" y="900"/>
                </a:lnTo>
                <a:lnTo>
                  <a:pt x="310" y="900"/>
                </a:lnTo>
                <a:lnTo>
                  <a:pt x="318" y="898"/>
                </a:lnTo>
                <a:lnTo>
                  <a:pt x="327" y="896"/>
                </a:lnTo>
                <a:lnTo>
                  <a:pt x="335" y="893"/>
                </a:lnTo>
                <a:lnTo>
                  <a:pt x="344" y="889"/>
                </a:lnTo>
                <a:lnTo>
                  <a:pt x="351" y="885"/>
                </a:lnTo>
                <a:lnTo>
                  <a:pt x="358" y="879"/>
                </a:lnTo>
                <a:lnTo>
                  <a:pt x="364" y="874"/>
                </a:lnTo>
                <a:lnTo>
                  <a:pt x="369" y="867"/>
                </a:lnTo>
                <a:lnTo>
                  <a:pt x="375" y="860"/>
                </a:lnTo>
                <a:lnTo>
                  <a:pt x="379" y="852"/>
                </a:lnTo>
                <a:lnTo>
                  <a:pt x="383" y="845"/>
                </a:lnTo>
                <a:lnTo>
                  <a:pt x="387" y="836"/>
                </a:lnTo>
                <a:lnTo>
                  <a:pt x="389" y="828"/>
                </a:lnTo>
                <a:lnTo>
                  <a:pt x="390" y="819"/>
                </a:lnTo>
                <a:lnTo>
                  <a:pt x="391" y="810"/>
                </a:lnTo>
                <a:lnTo>
                  <a:pt x="391" y="645"/>
                </a:lnTo>
                <a:lnTo>
                  <a:pt x="391" y="637"/>
                </a:lnTo>
                <a:lnTo>
                  <a:pt x="392" y="630"/>
                </a:lnTo>
                <a:lnTo>
                  <a:pt x="394" y="624"/>
                </a:lnTo>
                <a:lnTo>
                  <a:pt x="396" y="616"/>
                </a:lnTo>
                <a:lnTo>
                  <a:pt x="399" y="610"/>
                </a:lnTo>
                <a:lnTo>
                  <a:pt x="404" y="603"/>
                </a:lnTo>
                <a:lnTo>
                  <a:pt x="408" y="598"/>
                </a:lnTo>
                <a:lnTo>
                  <a:pt x="412" y="593"/>
                </a:lnTo>
                <a:lnTo>
                  <a:pt x="418" y="587"/>
                </a:lnTo>
                <a:lnTo>
                  <a:pt x="424" y="583"/>
                </a:lnTo>
                <a:lnTo>
                  <a:pt x="429" y="580"/>
                </a:lnTo>
                <a:lnTo>
                  <a:pt x="436" y="576"/>
                </a:lnTo>
                <a:lnTo>
                  <a:pt x="443" y="573"/>
                </a:lnTo>
                <a:lnTo>
                  <a:pt x="451" y="571"/>
                </a:lnTo>
                <a:lnTo>
                  <a:pt x="458" y="570"/>
                </a:lnTo>
                <a:lnTo>
                  <a:pt x="466" y="570"/>
                </a:lnTo>
                <a:lnTo>
                  <a:pt x="473" y="570"/>
                </a:lnTo>
                <a:lnTo>
                  <a:pt x="481" y="571"/>
                </a:lnTo>
                <a:lnTo>
                  <a:pt x="488" y="573"/>
                </a:lnTo>
                <a:lnTo>
                  <a:pt x="495" y="576"/>
                </a:lnTo>
                <a:lnTo>
                  <a:pt x="501" y="580"/>
                </a:lnTo>
                <a:lnTo>
                  <a:pt x="508" y="583"/>
                </a:lnTo>
                <a:lnTo>
                  <a:pt x="513" y="587"/>
                </a:lnTo>
                <a:lnTo>
                  <a:pt x="518" y="593"/>
                </a:lnTo>
                <a:lnTo>
                  <a:pt x="524" y="598"/>
                </a:lnTo>
                <a:lnTo>
                  <a:pt x="528" y="603"/>
                </a:lnTo>
                <a:lnTo>
                  <a:pt x="531" y="610"/>
                </a:lnTo>
                <a:lnTo>
                  <a:pt x="534" y="616"/>
                </a:lnTo>
                <a:lnTo>
                  <a:pt x="537" y="624"/>
                </a:lnTo>
                <a:lnTo>
                  <a:pt x="539" y="630"/>
                </a:lnTo>
                <a:lnTo>
                  <a:pt x="540" y="637"/>
                </a:lnTo>
                <a:lnTo>
                  <a:pt x="541" y="645"/>
                </a:lnTo>
                <a:lnTo>
                  <a:pt x="541" y="735"/>
                </a:lnTo>
                <a:lnTo>
                  <a:pt x="541" y="744"/>
                </a:lnTo>
                <a:lnTo>
                  <a:pt x="543" y="753"/>
                </a:lnTo>
                <a:lnTo>
                  <a:pt x="545" y="762"/>
                </a:lnTo>
                <a:lnTo>
                  <a:pt x="547" y="770"/>
                </a:lnTo>
                <a:lnTo>
                  <a:pt x="551" y="778"/>
                </a:lnTo>
                <a:lnTo>
                  <a:pt x="556" y="785"/>
                </a:lnTo>
                <a:lnTo>
                  <a:pt x="561" y="793"/>
                </a:lnTo>
                <a:lnTo>
                  <a:pt x="567" y="799"/>
                </a:lnTo>
                <a:lnTo>
                  <a:pt x="573" y="804"/>
                </a:lnTo>
                <a:lnTo>
                  <a:pt x="580" y="810"/>
                </a:lnTo>
                <a:lnTo>
                  <a:pt x="588" y="814"/>
                </a:lnTo>
                <a:lnTo>
                  <a:pt x="595" y="818"/>
                </a:lnTo>
                <a:lnTo>
                  <a:pt x="604" y="821"/>
                </a:lnTo>
                <a:lnTo>
                  <a:pt x="612" y="824"/>
                </a:lnTo>
                <a:lnTo>
                  <a:pt x="621" y="825"/>
                </a:lnTo>
                <a:lnTo>
                  <a:pt x="631" y="825"/>
                </a:lnTo>
                <a:lnTo>
                  <a:pt x="640" y="825"/>
                </a:lnTo>
                <a:lnTo>
                  <a:pt x="649" y="824"/>
                </a:lnTo>
                <a:lnTo>
                  <a:pt x="657" y="821"/>
                </a:lnTo>
                <a:lnTo>
                  <a:pt x="666" y="818"/>
                </a:lnTo>
                <a:lnTo>
                  <a:pt x="673" y="814"/>
                </a:lnTo>
                <a:lnTo>
                  <a:pt x="681" y="810"/>
                </a:lnTo>
                <a:lnTo>
                  <a:pt x="687" y="804"/>
                </a:lnTo>
                <a:lnTo>
                  <a:pt x="694" y="799"/>
                </a:lnTo>
                <a:lnTo>
                  <a:pt x="700" y="793"/>
                </a:lnTo>
                <a:lnTo>
                  <a:pt x="705" y="785"/>
                </a:lnTo>
                <a:lnTo>
                  <a:pt x="710" y="778"/>
                </a:lnTo>
                <a:lnTo>
                  <a:pt x="713" y="770"/>
                </a:lnTo>
                <a:lnTo>
                  <a:pt x="716" y="762"/>
                </a:lnTo>
                <a:lnTo>
                  <a:pt x="718" y="753"/>
                </a:lnTo>
                <a:lnTo>
                  <a:pt x="720" y="744"/>
                </a:lnTo>
                <a:lnTo>
                  <a:pt x="720" y="735"/>
                </a:lnTo>
                <a:lnTo>
                  <a:pt x="720" y="480"/>
                </a:lnTo>
                <a:lnTo>
                  <a:pt x="730" y="478"/>
                </a:lnTo>
                <a:lnTo>
                  <a:pt x="739" y="476"/>
                </a:lnTo>
                <a:lnTo>
                  <a:pt x="748" y="472"/>
                </a:lnTo>
                <a:lnTo>
                  <a:pt x="756" y="468"/>
                </a:lnTo>
                <a:lnTo>
                  <a:pt x="764" y="463"/>
                </a:lnTo>
                <a:lnTo>
                  <a:pt x="772" y="458"/>
                </a:lnTo>
                <a:lnTo>
                  <a:pt x="778" y="451"/>
                </a:lnTo>
                <a:lnTo>
                  <a:pt x="785" y="445"/>
                </a:lnTo>
                <a:lnTo>
                  <a:pt x="790" y="437"/>
                </a:lnTo>
                <a:lnTo>
                  <a:pt x="795" y="430"/>
                </a:lnTo>
                <a:lnTo>
                  <a:pt x="800" y="421"/>
                </a:lnTo>
                <a:lnTo>
                  <a:pt x="804" y="413"/>
                </a:lnTo>
                <a:lnTo>
                  <a:pt x="807" y="404"/>
                </a:lnTo>
                <a:lnTo>
                  <a:pt x="809" y="395"/>
                </a:lnTo>
                <a:lnTo>
                  <a:pt x="810" y="385"/>
                </a:lnTo>
                <a:lnTo>
                  <a:pt x="810" y="375"/>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52" name="Group 93">
            <a:extLst>
              <a:ext uri="{FF2B5EF4-FFF2-40B4-BE49-F238E27FC236}">
                <a16:creationId xmlns:a16="http://schemas.microsoft.com/office/drawing/2014/main" id="{ABA04FBB-2023-4E30-B87C-E77F4797B4ED}"/>
              </a:ext>
            </a:extLst>
          </p:cNvPr>
          <p:cNvGrpSpPr>
            <a:grpSpLocks noChangeAspect="1"/>
          </p:cNvGrpSpPr>
          <p:nvPr/>
        </p:nvGrpSpPr>
        <p:grpSpPr>
          <a:xfrm>
            <a:off x="1458373" y="3256152"/>
            <a:ext cx="326557" cy="306488"/>
            <a:chOff x="7615238" y="1366838"/>
            <a:chExt cx="284163" cy="266699"/>
          </a:xfrm>
          <a:solidFill>
            <a:schemeClr val="bg2"/>
          </a:solidFill>
          <a:effectLst/>
        </p:grpSpPr>
        <p:sp>
          <p:nvSpPr>
            <p:cNvPr id="1053" name="Freeform 319">
              <a:extLst>
                <a:ext uri="{FF2B5EF4-FFF2-40B4-BE49-F238E27FC236}">
                  <a16:creationId xmlns:a16="http://schemas.microsoft.com/office/drawing/2014/main" id="{9EAA4219-D6EA-4ABE-A062-5A186FF7EADC}"/>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320">
              <a:extLst>
                <a:ext uri="{FF2B5EF4-FFF2-40B4-BE49-F238E27FC236}">
                  <a16:creationId xmlns:a16="http://schemas.microsoft.com/office/drawing/2014/main" id="{3F0339CB-5A0F-49CB-BAFF-00FE0E4CDBD1}"/>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321">
              <a:extLst>
                <a:ext uri="{FF2B5EF4-FFF2-40B4-BE49-F238E27FC236}">
                  <a16:creationId xmlns:a16="http://schemas.microsoft.com/office/drawing/2014/main" id="{2CB52107-0164-4B46-AF04-0AD9C41403C0}"/>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6" name="Group 115">
            <a:extLst>
              <a:ext uri="{FF2B5EF4-FFF2-40B4-BE49-F238E27FC236}">
                <a16:creationId xmlns:a16="http://schemas.microsoft.com/office/drawing/2014/main" id="{CCA478A1-D43D-4312-AA2D-28D81974B886}"/>
              </a:ext>
            </a:extLst>
          </p:cNvPr>
          <p:cNvGrpSpPr>
            <a:grpSpLocks noChangeAspect="1"/>
          </p:cNvGrpSpPr>
          <p:nvPr/>
        </p:nvGrpSpPr>
        <p:grpSpPr>
          <a:xfrm>
            <a:off x="1898777" y="3256152"/>
            <a:ext cx="275840" cy="306488"/>
            <a:chOff x="7037388" y="1346200"/>
            <a:chExt cx="257175" cy="285750"/>
          </a:xfrm>
          <a:solidFill>
            <a:schemeClr val="bg2"/>
          </a:solidFill>
        </p:grpSpPr>
        <p:sp>
          <p:nvSpPr>
            <p:cNvPr id="1057" name="Freeform 422">
              <a:extLst>
                <a:ext uri="{FF2B5EF4-FFF2-40B4-BE49-F238E27FC236}">
                  <a16:creationId xmlns:a16="http://schemas.microsoft.com/office/drawing/2014/main" id="{C9E6501C-A5B3-4C37-9DEB-256AA71ECC0E}"/>
                </a:ext>
              </a:extLst>
            </p:cNvPr>
            <p:cNvSpPr>
              <a:spLocks noEditPoints="1"/>
            </p:cNvSpPr>
            <p:nvPr/>
          </p:nvSpPr>
          <p:spPr bwMode="auto">
            <a:xfrm>
              <a:off x="7037388" y="1422400"/>
              <a:ext cx="257175" cy="209550"/>
            </a:xfrm>
            <a:custGeom>
              <a:avLst/>
              <a:gdLst>
                <a:gd name="T0" fmla="*/ 90 w 810"/>
                <a:gd name="T1" fmla="*/ 630 h 660"/>
                <a:gd name="T2" fmla="*/ 67 w 810"/>
                <a:gd name="T3" fmla="*/ 626 h 660"/>
                <a:gd name="T4" fmla="*/ 48 w 810"/>
                <a:gd name="T5" fmla="*/ 615 h 660"/>
                <a:gd name="T6" fmla="*/ 35 w 810"/>
                <a:gd name="T7" fmla="*/ 598 h 660"/>
                <a:gd name="T8" fmla="*/ 32 w 810"/>
                <a:gd name="T9" fmla="*/ 587 h 660"/>
                <a:gd name="T10" fmla="*/ 30 w 810"/>
                <a:gd name="T11" fmla="*/ 576 h 660"/>
                <a:gd name="T12" fmla="*/ 631 w 810"/>
                <a:gd name="T13" fmla="*/ 390 h 660"/>
                <a:gd name="T14" fmla="*/ 778 w 810"/>
                <a:gd name="T15" fmla="*/ 587 h 660"/>
                <a:gd name="T16" fmla="*/ 768 w 810"/>
                <a:gd name="T17" fmla="*/ 607 h 660"/>
                <a:gd name="T18" fmla="*/ 752 w 810"/>
                <a:gd name="T19" fmla="*/ 621 h 660"/>
                <a:gd name="T20" fmla="*/ 732 w 810"/>
                <a:gd name="T21" fmla="*/ 629 h 660"/>
                <a:gd name="T22" fmla="*/ 326 w 810"/>
                <a:gd name="T23" fmla="*/ 205 h 660"/>
                <a:gd name="T24" fmla="*/ 329 w 810"/>
                <a:gd name="T25" fmla="*/ 196 h 660"/>
                <a:gd name="T26" fmla="*/ 479 w 810"/>
                <a:gd name="T27" fmla="*/ 30 h 660"/>
                <a:gd name="T28" fmla="*/ 480 w 810"/>
                <a:gd name="T29" fmla="*/ 201 h 660"/>
                <a:gd name="T30" fmla="*/ 608 w 810"/>
                <a:gd name="T31" fmla="*/ 360 h 660"/>
                <a:gd name="T32" fmla="*/ 326 w 810"/>
                <a:gd name="T33" fmla="*/ 205 h 660"/>
                <a:gd name="T34" fmla="*/ 509 w 810"/>
                <a:gd name="T35" fmla="*/ 190 h 660"/>
                <a:gd name="T36" fmla="*/ 539 w 810"/>
                <a:gd name="T37" fmla="*/ 30 h 660"/>
                <a:gd name="T38" fmla="*/ 546 w 810"/>
                <a:gd name="T39" fmla="*/ 29 h 660"/>
                <a:gd name="T40" fmla="*/ 550 w 810"/>
                <a:gd name="T41" fmla="*/ 25 h 660"/>
                <a:gd name="T42" fmla="*/ 553 w 810"/>
                <a:gd name="T43" fmla="*/ 21 h 660"/>
                <a:gd name="T44" fmla="*/ 554 w 810"/>
                <a:gd name="T45" fmla="*/ 15 h 660"/>
                <a:gd name="T46" fmla="*/ 553 w 810"/>
                <a:gd name="T47" fmla="*/ 9 h 660"/>
                <a:gd name="T48" fmla="*/ 550 w 810"/>
                <a:gd name="T49" fmla="*/ 5 h 660"/>
                <a:gd name="T50" fmla="*/ 546 w 810"/>
                <a:gd name="T51" fmla="*/ 1 h 660"/>
                <a:gd name="T52" fmla="*/ 539 w 810"/>
                <a:gd name="T53" fmla="*/ 0 h 660"/>
                <a:gd name="T54" fmla="*/ 314 w 810"/>
                <a:gd name="T55" fmla="*/ 0 h 660"/>
                <a:gd name="T56" fmla="*/ 266 w 810"/>
                <a:gd name="T57" fmla="*/ 1 h 660"/>
                <a:gd name="T58" fmla="*/ 261 w 810"/>
                <a:gd name="T59" fmla="*/ 3 h 660"/>
                <a:gd name="T60" fmla="*/ 257 w 810"/>
                <a:gd name="T61" fmla="*/ 7 h 660"/>
                <a:gd name="T62" fmla="*/ 254 w 810"/>
                <a:gd name="T63" fmla="*/ 13 h 660"/>
                <a:gd name="T64" fmla="*/ 254 w 810"/>
                <a:gd name="T65" fmla="*/ 18 h 660"/>
                <a:gd name="T66" fmla="*/ 257 w 810"/>
                <a:gd name="T67" fmla="*/ 23 h 660"/>
                <a:gd name="T68" fmla="*/ 261 w 810"/>
                <a:gd name="T69" fmla="*/ 28 h 660"/>
                <a:gd name="T70" fmla="*/ 266 w 810"/>
                <a:gd name="T71" fmla="*/ 30 h 660"/>
                <a:gd name="T72" fmla="*/ 299 w 810"/>
                <a:gd name="T73" fmla="*/ 30 h 660"/>
                <a:gd name="T74" fmla="*/ 3 w 810"/>
                <a:gd name="T75" fmla="*/ 561 h 660"/>
                <a:gd name="T76" fmla="*/ 0 w 810"/>
                <a:gd name="T77" fmla="*/ 570 h 660"/>
                <a:gd name="T78" fmla="*/ 1 w 810"/>
                <a:gd name="T79" fmla="*/ 588 h 660"/>
                <a:gd name="T80" fmla="*/ 6 w 810"/>
                <a:gd name="T81" fmla="*/ 605 h 660"/>
                <a:gd name="T82" fmla="*/ 15 w 810"/>
                <a:gd name="T83" fmla="*/ 620 h 660"/>
                <a:gd name="T84" fmla="*/ 26 w 810"/>
                <a:gd name="T85" fmla="*/ 634 h 660"/>
                <a:gd name="T86" fmla="*/ 39 w 810"/>
                <a:gd name="T87" fmla="*/ 645 h 660"/>
                <a:gd name="T88" fmla="*/ 54 w 810"/>
                <a:gd name="T89" fmla="*/ 653 h 660"/>
                <a:gd name="T90" fmla="*/ 72 w 810"/>
                <a:gd name="T91" fmla="*/ 659 h 660"/>
                <a:gd name="T92" fmla="*/ 90 w 810"/>
                <a:gd name="T93" fmla="*/ 660 h 660"/>
                <a:gd name="T94" fmla="*/ 728 w 810"/>
                <a:gd name="T95" fmla="*/ 660 h 660"/>
                <a:gd name="T96" fmla="*/ 747 w 810"/>
                <a:gd name="T97" fmla="*/ 657 h 660"/>
                <a:gd name="T98" fmla="*/ 763 w 810"/>
                <a:gd name="T99" fmla="*/ 649 h 660"/>
                <a:gd name="T100" fmla="*/ 777 w 810"/>
                <a:gd name="T101" fmla="*/ 639 h 660"/>
                <a:gd name="T102" fmla="*/ 789 w 810"/>
                <a:gd name="T103" fmla="*/ 628 h 660"/>
                <a:gd name="T104" fmla="*/ 799 w 810"/>
                <a:gd name="T105" fmla="*/ 614 h 660"/>
                <a:gd name="T106" fmla="*/ 806 w 810"/>
                <a:gd name="T107" fmla="*/ 598 h 660"/>
                <a:gd name="T108" fmla="*/ 809 w 810"/>
                <a:gd name="T109" fmla="*/ 580 h 660"/>
                <a:gd name="T110" fmla="*/ 809 w 810"/>
                <a:gd name="T111" fmla="*/ 56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0" h="660">
                  <a:moveTo>
                    <a:pt x="720" y="630"/>
                  </a:moveTo>
                  <a:lnTo>
                    <a:pt x="90" y="630"/>
                  </a:lnTo>
                  <a:lnTo>
                    <a:pt x="78" y="629"/>
                  </a:lnTo>
                  <a:lnTo>
                    <a:pt x="67" y="626"/>
                  </a:lnTo>
                  <a:lnTo>
                    <a:pt x="57" y="621"/>
                  </a:lnTo>
                  <a:lnTo>
                    <a:pt x="48" y="615"/>
                  </a:lnTo>
                  <a:lnTo>
                    <a:pt x="42" y="607"/>
                  </a:lnTo>
                  <a:lnTo>
                    <a:pt x="35" y="598"/>
                  </a:lnTo>
                  <a:lnTo>
                    <a:pt x="33" y="592"/>
                  </a:lnTo>
                  <a:lnTo>
                    <a:pt x="32" y="587"/>
                  </a:lnTo>
                  <a:lnTo>
                    <a:pt x="30" y="582"/>
                  </a:lnTo>
                  <a:lnTo>
                    <a:pt x="30" y="576"/>
                  </a:lnTo>
                  <a:lnTo>
                    <a:pt x="177" y="390"/>
                  </a:lnTo>
                  <a:lnTo>
                    <a:pt x="631" y="390"/>
                  </a:lnTo>
                  <a:lnTo>
                    <a:pt x="780" y="576"/>
                  </a:lnTo>
                  <a:lnTo>
                    <a:pt x="778" y="587"/>
                  </a:lnTo>
                  <a:lnTo>
                    <a:pt x="773" y="598"/>
                  </a:lnTo>
                  <a:lnTo>
                    <a:pt x="768" y="607"/>
                  </a:lnTo>
                  <a:lnTo>
                    <a:pt x="761" y="615"/>
                  </a:lnTo>
                  <a:lnTo>
                    <a:pt x="752" y="621"/>
                  </a:lnTo>
                  <a:lnTo>
                    <a:pt x="742" y="626"/>
                  </a:lnTo>
                  <a:lnTo>
                    <a:pt x="732" y="629"/>
                  </a:lnTo>
                  <a:lnTo>
                    <a:pt x="720" y="630"/>
                  </a:lnTo>
                  <a:close/>
                  <a:moveTo>
                    <a:pt x="326" y="205"/>
                  </a:moveTo>
                  <a:lnTo>
                    <a:pt x="328" y="201"/>
                  </a:lnTo>
                  <a:lnTo>
                    <a:pt x="329" y="196"/>
                  </a:lnTo>
                  <a:lnTo>
                    <a:pt x="329" y="30"/>
                  </a:lnTo>
                  <a:lnTo>
                    <a:pt x="479" y="30"/>
                  </a:lnTo>
                  <a:lnTo>
                    <a:pt x="479" y="196"/>
                  </a:lnTo>
                  <a:lnTo>
                    <a:pt x="480" y="201"/>
                  </a:lnTo>
                  <a:lnTo>
                    <a:pt x="482" y="205"/>
                  </a:lnTo>
                  <a:lnTo>
                    <a:pt x="608" y="360"/>
                  </a:lnTo>
                  <a:lnTo>
                    <a:pt x="202" y="360"/>
                  </a:lnTo>
                  <a:lnTo>
                    <a:pt x="326" y="205"/>
                  </a:lnTo>
                  <a:close/>
                  <a:moveTo>
                    <a:pt x="807" y="561"/>
                  </a:moveTo>
                  <a:lnTo>
                    <a:pt x="509" y="190"/>
                  </a:lnTo>
                  <a:lnTo>
                    <a:pt x="509" y="30"/>
                  </a:lnTo>
                  <a:lnTo>
                    <a:pt x="539" y="30"/>
                  </a:lnTo>
                  <a:lnTo>
                    <a:pt x="542" y="30"/>
                  </a:lnTo>
                  <a:lnTo>
                    <a:pt x="546" y="29"/>
                  </a:lnTo>
                  <a:lnTo>
                    <a:pt x="548" y="28"/>
                  </a:lnTo>
                  <a:lnTo>
                    <a:pt x="550" y="25"/>
                  </a:lnTo>
                  <a:lnTo>
                    <a:pt x="552" y="23"/>
                  </a:lnTo>
                  <a:lnTo>
                    <a:pt x="553" y="21"/>
                  </a:lnTo>
                  <a:lnTo>
                    <a:pt x="554" y="18"/>
                  </a:lnTo>
                  <a:lnTo>
                    <a:pt x="554" y="15"/>
                  </a:lnTo>
                  <a:lnTo>
                    <a:pt x="554" y="13"/>
                  </a:lnTo>
                  <a:lnTo>
                    <a:pt x="553" y="9"/>
                  </a:lnTo>
                  <a:lnTo>
                    <a:pt x="552" y="7"/>
                  </a:lnTo>
                  <a:lnTo>
                    <a:pt x="550" y="5"/>
                  </a:lnTo>
                  <a:lnTo>
                    <a:pt x="548" y="3"/>
                  </a:lnTo>
                  <a:lnTo>
                    <a:pt x="546" y="1"/>
                  </a:lnTo>
                  <a:lnTo>
                    <a:pt x="542" y="1"/>
                  </a:lnTo>
                  <a:lnTo>
                    <a:pt x="539" y="0"/>
                  </a:lnTo>
                  <a:lnTo>
                    <a:pt x="494" y="0"/>
                  </a:lnTo>
                  <a:lnTo>
                    <a:pt x="314" y="0"/>
                  </a:lnTo>
                  <a:lnTo>
                    <a:pt x="269" y="0"/>
                  </a:lnTo>
                  <a:lnTo>
                    <a:pt x="266" y="1"/>
                  </a:lnTo>
                  <a:lnTo>
                    <a:pt x="264" y="1"/>
                  </a:lnTo>
                  <a:lnTo>
                    <a:pt x="261" y="3"/>
                  </a:lnTo>
                  <a:lnTo>
                    <a:pt x="259" y="5"/>
                  </a:lnTo>
                  <a:lnTo>
                    <a:pt x="257" y="7"/>
                  </a:lnTo>
                  <a:lnTo>
                    <a:pt x="256" y="9"/>
                  </a:lnTo>
                  <a:lnTo>
                    <a:pt x="254" y="13"/>
                  </a:lnTo>
                  <a:lnTo>
                    <a:pt x="254" y="15"/>
                  </a:lnTo>
                  <a:lnTo>
                    <a:pt x="254" y="18"/>
                  </a:lnTo>
                  <a:lnTo>
                    <a:pt x="256" y="21"/>
                  </a:lnTo>
                  <a:lnTo>
                    <a:pt x="257" y="23"/>
                  </a:lnTo>
                  <a:lnTo>
                    <a:pt x="259" y="25"/>
                  </a:lnTo>
                  <a:lnTo>
                    <a:pt x="261" y="28"/>
                  </a:lnTo>
                  <a:lnTo>
                    <a:pt x="264" y="29"/>
                  </a:lnTo>
                  <a:lnTo>
                    <a:pt x="266" y="30"/>
                  </a:lnTo>
                  <a:lnTo>
                    <a:pt x="269" y="30"/>
                  </a:lnTo>
                  <a:lnTo>
                    <a:pt x="299" y="30"/>
                  </a:lnTo>
                  <a:lnTo>
                    <a:pt x="299" y="190"/>
                  </a:lnTo>
                  <a:lnTo>
                    <a:pt x="3" y="561"/>
                  </a:lnTo>
                  <a:lnTo>
                    <a:pt x="0" y="566"/>
                  </a:lnTo>
                  <a:lnTo>
                    <a:pt x="0" y="570"/>
                  </a:lnTo>
                  <a:lnTo>
                    <a:pt x="0" y="580"/>
                  </a:lnTo>
                  <a:lnTo>
                    <a:pt x="1" y="588"/>
                  </a:lnTo>
                  <a:lnTo>
                    <a:pt x="3" y="597"/>
                  </a:lnTo>
                  <a:lnTo>
                    <a:pt x="6" y="605"/>
                  </a:lnTo>
                  <a:lnTo>
                    <a:pt x="11" y="613"/>
                  </a:lnTo>
                  <a:lnTo>
                    <a:pt x="15" y="620"/>
                  </a:lnTo>
                  <a:lnTo>
                    <a:pt x="20" y="628"/>
                  </a:lnTo>
                  <a:lnTo>
                    <a:pt x="26" y="634"/>
                  </a:lnTo>
                  <a:lnTo>
                    <a:pt x="32" y="639"/>
                  </a:lnTo>
                  <a:lnTo>
                    <a:pt x="39" y="645"/>
                  </a:lnTo>
                  <a:lnTo>
                    <a:pt x="47" y="649"/>
                  </a:lnTo>
                  <a:lnTo>
                    <a:pt x="54" y="653"/>
                  </a:lnTo>
                  <a:lnTo>
                    <a:pt x="63" y="655"/>
                  </a:lnTo>
                  <a:lnTo>
                    <a:pt x="72" y="659"/>
                  </a:lnTo>
                  <a:lnTo>
                    <a:pt x="80" y="660"/>
                  </a:lnTo>
                  <a:lnTo>
                    <a:pt x="90" y="660"/>
                  </a:lnTo>
                  <a:lnTo>
                    <a:pt x="720" y="660"/>
                  </a:lnTo>
                  <a:lnTo>
                    <a:pt x="728" y="660"/>
                  </a:lnTo>
                  <a:lnTo>
                    <a:pt x="738" y="659"/>
                  </a:lnTo>
                  <a:lnTo>
                    <a:pt x="747" y="657"/>
                  </a:lnTo>
                  <a:lnTo>
                    <a:pt x="755" y="653"/>
                  </a:lnTo>
                  <a:lnTo>
                    <a:pt x="763" y="649"/>
                  </a:lnTo>
                  <a:lnTo>
                    <a:pt x="770" y="645"/>
                  </a:lnTo>
                  <a:lnTo>
                    <a:pt x="777" y="639"/>
                  </a:lnTo>
                  <a:lnTo>
                    <a:pt x="783" y="634"/>
                  </a:lnTo>
                  <a:lnTo>
                    <a:pt x="789" y="628"/>
                  </a:lnTo>
                  <a:lnTo>
                    <a:pt x="795" y="621"/>
                  </a:lnTo>
                  <a:lnTo>
                    <a:pt x="799" y="614"/>
                  </a:lnTo>
                  <a:lnTo>
                    <a:pt x="802" y="605"/>
                  </a:lnTo>
                  <a:lnTo>
                    <a:pt x="806" y="598"/>
                  </a:lnTo>
                  <a:lnTo>
                    <a:pt x="808" y="588"/>
                  </a:lnTo>
                  <a:lnTo>
                    <a:pt x="809" y="580"/>
                  </a:lnTo>
                  <a:lnTo>
                    <a:pt x="810" y="570"/>
                  </a:lnTo>
                  <a:lnTo>
                    <a:pt x="809" y="566"/>
                  </a:lnTo>
                  <a:lnTo>
                    <a:pt x="807" y="5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423">
              <a:extLst>
                <a:ext uri="{FF2B5EF4-FFF2-40B4-BE49-F238E27FC236}">
                  <a16:creationId xmlns:a16="http://schemas.microsoft.com/office/drawing/2014/main" id="{047B1CC7-064A-4ED2-8526-2011BA3E8041}"/>
                </a:ext>
              </a:extLst>
            </p:cNvPr>
            <p:cNvSpPr>
              <a:spLocks noEditPoints="1"/>
            </p:cNvSpPr>
            <p:nvPr/>
          </p:nvSpPr>
          <p:spPr bwMode="auto">
            <a:xfrm>
              <a:off x="7075488" y="1365250"/>
              <a:ext cx="38100" cy="38100"/>
            </a:xfrm>
            <a:custGeom>
              <a:avLst/>
              <a:gdLst>
                <a:gd name="T0" fmla="*/ 65 w 120"/>
                <a:gd name="T1" fmla="*/ 31 h 120"/>
                <a:gd name="T2" fmla="*/ 76 w 120"/>
                <a:gd name="T3" fmla="*/ 35 h 120"/>
                <a:gd name="T4" fmla="*/ 84 w 120"/>
                <a:gd name="T5" fmla="*/ 43 h 120"/>
                <a:gd name="T6" fmla="*/ 88 w 120"/>
                <a:gd name="T7" fmla="*/ 54 h 120"/>
                <a:gd name="T8" fmla="*/ 88 w 120"/>
                <a:gd name="T9" fmla="*/ 66 h 120"/>
                <a:gd name="T10" fmla="*/ 84 w 120"/>
                <a:gd name="T11" fmla="*/ 77 h 120"/>
                <a:gd name="T12" fmla="*/ 76 w 120"/>
                <a:gd name="T13" fmla="*/ 85 h 120"/>
                <a:gd name="T14" fmla="*/ 65 w 120"/>
                <a:gd name="T15" fmla="*/ 90 h 120"/>
                <a:gd name="T16" fmla="*/ 53 w 120"/>
                <a:gd name="T17" fmla="*/ 90 h 120"/>
                <a:gd name="T18" fmla="*/ 42 w 120"/>
                <a:gd name="T19" fmla="*/ 85 h 120"/>
                <a:gd name="T20" fmla="*/ 35 w 120"/>
                <a:gd name="T21" fmla="*/ 77 h 120"/>
                <a:gd name="T22" fmla="*/ 30 w 120"/>
                <a:gd name="T23" fmla="*/ 66 h 120"/>
                <a:gd name="T24" fmla="*/ 30 w 120"/>
                <a:gd name="T25" fmla="*/ 54 h 120"/>
                <a:gd name="T26" fmla="*/ 35 w 120"/>
                <a:gd name="T27" fmla="*/ 43 h 120"/>
                <a:gd name="T28" fmla="*/ 42 w 120"/>
                <a:gd name="T29" fmla="*/ 35 h 120"/>
                <a:gd name="T30" fmla="*/ 53 w 120"/>
                <a:gd name="T31" fmla="*/ 31 h 120"/>
                <a:gd name="T32" fmla="*/ 60 w 120"/>
                <a:gd name="T33" fmla="*/ 120 h 120"/>
                <a:gd name="T34" fmla="*/ 71 w 120"/>
                <a:gd name="T35" fmla="*/ 119 h 120"/>
                <a:gd name="T36" fmla="*/ 83 w 120"/>
                <a:gd name="T37" fmla="*/ 116 h 120"/>
                <a:gd name="T38" fmla="*/ 93 w 120"/>
                <a:gd name="T39" fmla="*/ 110 h 120"/>
                <a:gd name="T40" fmla="*/ 101 w 120"/>
                <a:gd name="T41" fmla="*/ 103 h 120"/>
                <a:gd name="T42" fmla="*/ 109 w 120"/>
                <a:gd name="T43" fmla="*/ 93 h 120"/>
                <a:gd name="T44" fmla="*/ 115 w 120"/>
                <a:gd name="T45" fmla="*/ 83 h 120"/>
                <a:gd name="T46" fmla="*/ 118 w 120"/>
                <a:gd name="T47" fmla="*/ 72 h 120"/>
                <a:gd name="T48" fmla="*/ 120 w 120"/>
                <a:gd name="T49" fmla="*/ 60 h 120"/>
                <a:gd name="T50" fmla="*/ 118 w 120"/>
                <a:gd name="T51" fmla="*/ 48 h 120"/>
                <a:gd name="T52" fmla="*/ 115 w 120"/>
                <a:gd name="T53" fmla="*/ 36 h 120"/>
                <a:gd name="T54" fmla="*/ 109 w 120"/>
                <a:gd name="T55" fmla="*/ 27 h 120"/>
                <a:gd name="T56" fmla="*/ 101 w 120"/>
                <a:gd name="T57" fmla="*/ 17 h 120"/>
                <a:gd name="T58" fmla="*/ 93 w 120"/>
                <a:gd name="T59" fmla="*/ 11 h 120"/>
                <a:gd name="T60" fmla="*/ 83 w 120"/>
                <a:gd name="T61" fmla="*/ 4 h 120"/>
                <a:gd name="T62" fmla="*/ 71 w 120"/>
                <a:gd name="T63" fmla="*/ 1 h 120"/>
                <a:gd name="T64" fmla="*/ 60 w 120"/>
                <a:gd name="T65" fmla="*/ 0 h 120"/>
                <a:gd name="T66" fmla="*/ 48 w 120"/>
                <a:gd name="T67" fmla="*/ 1 h 120"/>
                <a:gd name="T68" fmla="*/ 36 w 120"/>
                <a:gd name="T69" fmla="*/ 4 h 120"/>
                <a:gd name="T70" fmla="*/ 25 w 120"/>
                <a:gd name="T71" fmla="*/ 11 h 120"/>
                <a:gd name="T72" fmla="*/ 17 w 120"/>
                <a:gd name="T73" fmla="*/ 17 h 120"/>
                <a:gd name="T74" fmla="*/ 9 w 120"/>
                <a:gd name="T75" fmla="*/ 27 h 120"/>
                <a:gd name="T76" fmla="*/ 4 w 120"/>
                <a:gd name="T77" fmla="*/ 36 h 120"/>
                <a:gd name="T78" fmla="*/ 1 w 120"/>
                <a:gd name="T79" fmla="*/ 48 h 120"/>
                <a:gd name="T80" fmla="*/ 0 w 120"/>
                <a:gd name="T81" fmla="*/ 60 h 120"/>
                <a:gd name="T82" fmla="*/ 1 w 120"/>
                <a:gd name="T83" fmla="*/ 72 h 120"/>
                <a:gd name="T84" fmla="*/ 4 w 120"/>
                <a:gd name="T85" fmla="*/ 83 h 120"/>
                <a:gd name="T86" fmla="*/ 9 w 120"/>
                <a:gd name="T87" fmla="*/ 93 h 120"/>
                <a:gd name="T88" fmla="*/ 17 w 120"/>
                <a:gd name="T89" fmla="*/ 103 h 120"/>
                <a:gd name="T90" fmla="*/ 25 w 120"/>
                <a:gd name="T91" fmla="*/ 110 h 120"/>
                <a:gd name="T92" fmla="*/ 36 w 120"/>
                <a:gd name="T93" fmla="*/ 116 h 120"/>
                <a:gd name="T94" fmla="*/ 48 w 120"/>
                <a:gd name="T95" fmla="*/ 119 h 120"/>
                <a:gd name="T96" fmla="*/ 60 w 120"/>
                <a:gd name="T9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20">
                  <a:moveTo>
                    <a:pt x="60" y="30"/>
                  </a:moveTo>
                  <a:lnTo>
                    <a:pt x="65" y="31"/>
                  </a:lnTo>
                  <a:lnTo>
                    <a:pt x="71" y="32"/>
                  </a:lnTo>
                  <a:lnTo>
                    <a:pt x="76" y="35"/>
                  </a:lnTo>
                  <a:lnTo>
                    <a:pt x="81" y="39"/>
                  </a:lnTo>
                  <a:lnTo>
                    <a:pt x="84" y="43"/>
                  </a:lnTo>
                  <a:lnTo>
                    <a:pt x="87" y="48"/>
                  </a:lnTo>
                  <a:lnTo>
                    <a:pt x="88" y="54"/>
                  </a:lnTo>
                  <a:lnTo>
                    <a:pt x="90" y="60"/>
                  </a:lnTo>
                  <a:lnTo>
                    <a:pt x="88" y="66"/>
                  </a:lnTo>
                  <a:lnTo>
                    <a:pt x="87" y="72"/>
                  </a:lnTo>
                  <a:lnTo>
                    <a:pt x="84" y="77"/>
                  </a:lnTo>
                  <a:lnTo>
                    <a:pt x="81" y="81"/>
                  </a:lnTo>
                  <a:lnTo>
                    <a:pt x="76" y="85"/>
                  </a:lnTo>
                  <a:lnTo>
                    <a:pt x="71" y="88"/>
                  </a:lnTo>
                  <a:lnTo>
                    <a:pt x="65" y="90"/>
                  </a:lnTo>
                  <a:lnTo>
                    <a:pt x="60" y="90"/>
                  </a:lnTo>
                  <a:lnTo>
                    <a:pt x="53" y="90"/>
                  </a:lnTo>
                  <a:lnTo>
                    <a:pt x="48" y="88"/>
                  </a:lnTo>
                  <a:lnTo>
                    <a:pt x="42" y="85"/>
                  </a:lnTo>
                  <a:lnTo>
                    <a:pt x="38" y="81"/>
                  </a:lnTo>
                  <a:lnTo>
                    <a:pt x="35" y="77"/>
                  </a:lnTo>
                  <a:lnTo>
                    <a:pt x="32" y="72"/>
                  </a:lnTo>
                  <a:lnTo>
                    <a:pt x="30" y="66"/>
                  </a:lnTo>
                  <a:lnTo>
                    <a:pt x="30" y="60"/>
                  </a:lnTo>
                  <a:lnTo>
                    <a:pt x="30" y="54"/>
                  </a:lnTo>
                  <a:lnTo>
                    <a:pt x="32" y="48"/>
                  </a:lnTo>
                  <a:lnTo>
                    <a:pt x="35" y="43"/>
                  </a:lnTo>
                  <a:lnTo>
                    <a:pt x="38" y="39"/>
                  </a:lnTo>
                  <a:lnTo>
                    <a:pt x="42" y="35"/>
                  </a:lnTo>
                  <a:lnTo>
                    <a:pt x="48" y="32"/>
                  </a:lnTo>
                  <a:lnTo>
                    <a:pt x="53" y="31"/>
                  </a:lnTo>
                  <a:lnTo>
                    <a:pt x="60" y="30"/>
                  </a:lnTo>
                  <a:close/>
                  <a:moveTo>
                    <a:pt x="60" y="120"/>
                  </a:moveTo>
                  <a:lnTo>
                    <a:pt x="66" y="120"/>
                  </a:lnTo>
                  <a:lnTo>
                    <a:pt x="71" y="119"/>
                  </a:lnTo>
                  <a:lnTo>
                    <a:pt x="78" y="118"/>
                  </a:lnTo>
                  <a:lnTo>
                    <a:pt x="83" y="116"/>
                  </a:lnTo>
                  <a:lnTo>
                    <a:pt x="88" y="112"/>
                  </a:lnTo>
                  <a:lnTo>
                    <a:pt x="93" y="110"/>
                  </a:lnTo>
                  <a:lnTo>
                    <a:pt x="98" y="106"/>
                  </a:lnTo>
                  <a:lnTo>
                    <a:pt x="101" y="103"/>
                  </a:lnTo>
                  <a:lnTo>
                    <a:pt x="106" y="98"/>
                  </a:lnTo>
                  <a:lnTo>
                    <a:pt x="109" y="93"/>
                  </a:lnTo>
                  <a:lnTo>
                    <a:pt x="112" y="89"/>
                  </a:lnTo>
                  <a:lnTo>
                    <a:pt x="115" y="83"/>
                  </a:lnTo>
                  <a:lnTo>
                    <a:pt x="116" y="78"/>
                  </a:lnTo>
                  <a:lnTo>
                    <a:pt x="118" y="72"/>
                  </a:lnTo>
                  <a:lnTo>
                    <a:pt x="120" y="66"/>
                  </a:lnTo>
                  <a:lnTo>
                    <a:pt x="120" y="60"/>
                  </a:lnTo>
                  <a:lnTo>
                    <a:pt x="120" y="54"/>
                  </a:lnTo>
                  <a:lnTo>
                    <a:pt x="118" y="48"/>
                  </a:lnTo>
                  <a:lnTo>
                    <a:pt x="116" y="42"/>
                  </a:lnTo>
                  <a:lnTo>
                    <a:pt x="115" y="36"/>
                  </a:lnTo>
                  <a:lnTo>
                    <a:pt x="112" y="31"/>
                  </a:lnTo>
                  <a:lnTo>
                    <a:pt x="109" y="27"/>
                  </a:lnTo>
                  <a:lnTo>
                    <a:pt x="106" y="21"/>
                  </a:lnTo>
                  <a:lnTo>
                    <a:pt x="101" y="17"/>
                  </a:lnTo>
                  <a:lnTo>
                    <a:pt x="98" y="14"/>
                  </a:lnTo>
                  <a:lnTo>
                    <a:pt x="93" y="11"/>
                  </a:lnTo>
                  <a:lnTo>
                    <a:pt x="88" y="8"/>
                  </a:lnTo>
                  <a:lnTo>
                    <a:pt x="83" y="4"/>
                  </a:lnTo>
                  <a:lnTo>
                    <a:pt x="78" y="2"/>
                  </a:lnTo>
                  <a:lnTo>
                    <a:pt x="71" y="1"/>
                  </a:lnTo>
                  <a:lnTo>
                    <a:pt x="66" y="0"/>
                  </a:lnTo>
                  <a:lnTo>
                    <a:pt x="60" y="0"/>
                  </a:lnTo>
                  <a:lnTo>
                    <a:pt x="53" y="0"/>
                  </a:lnTo>
                  <a:lnTo>
                    <a:pt x="48" y="1"/>
                  </a:lnTo>
                  <a:lnTo>
                    <a:pt x="41" y="2"/>
                  </a:lnTo>
                  <a:lnTo>
                    <a:pt x="36" y="4"/>
                  </a:lnTo>
                  <a:lnTo>
                    <a:pt x="31" y="8"/>
                  </a:lnTo>
                  <a:lnTo>
                    <a:pt x="25" y="11"/>
                  </a:lnTo>
                  <a:lnTo>
                    <a:pt x="21" y="14"/>
                  </a:lnTo>
                  <a:lnTo>
                    <a:pt x="17" y="17"/>
                  </a:lnTo>
                  <a:lnTo>
                    <a:pt x="14" y="21"/>
                  </a:lnTo>
                  <a:lnTo>
                    <a:pt x="9" y="27"/>
                  </a:lnTo>
                  <a:lnTo>
                    <a:pt x="7" y="31"/>
                  </a:lnTo>
                  <a:lnTo>
                    <a:pt x="4" y="36"/>
                  </a:lnTo>
                  <a:lnTo>
                    <a:pt x="2" y="42"/>
                  </a:lnTo>
                  <a:lnTo>
                    <a:pt x="1" y="48"/>
                  </a:lnTo>
                  <a:lnTo>
                    <a:pt x="0" y="54"/>
                  </a:lnTo>
                  <a:lnTo>
                    <a:pt x="0" y="60"/>
                  </a:lnTo>
                  <a:lnTo>
                    <a:pt x="0" y="66"/>
                  </a:lnTo>
                  <a:lnTo>
                    <a:pt x="1" y="72"/>
                  </a:lnTo>
                  <a:lnTo>
                    <a:pt x="2" y="78"/>
                  </a:lnTo>
                  <a:lnTo>
                    <a:pt x="4" y="83"/>
                  </a:lnTo>
                  <a:lnTo>
                    <a:pt x="7" y="89"/>
                  </a:lnTo>
                  <a:lnTo>
                    <a:pt x="9" y="93"/>
                  </a:lnTo>
                  <a:lnTo>
                    <a:pt x="14" y="98"/>
                  </a:lnTo>
                  <a:lnTo>
                    <a:pt x="17" y="103"/>
                  </a:lnTo>
                  <a:lnTo>
                    <a:pt x="21" y="106"/>
                  </a:lnTo>
                  <a:lnTo>
                    <a:pt x="25" y="110"/>
                  </a:lnTo>
                  <a:lnTo>
                    <a:pt x="31" y="112"/>
                  </a:lnTo>
                  <a:lnTo>
                    <a:pt x="36" y="116"/>
                  </a:lnTo>
                  <a:lnTo>
                    <a:pt x="41" y="118"/>
                  </a:lnTo>
                  <a:lnTo>
                    <a:pt x="48" y="119"/>
                  </a:lnTo>
                  <a:lnTo>
                    <a:pt x="53" y="120"/>
                  </a:lnTo>
                  <a:lnTo>
                    <a:pt x="6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424">
              <a:extLst>
                <a:ext uri="{FF2B5EF4-FFF2-40B4-BE49-F238E27FC236}">
                  <a16:creationId xmlns:a16="http://schemas.microsoft.com/office/drawing/2014/main" id="{32A1ED9D-5294-4946-A83A-821563DBA2D6}"/>
                </a:ext>
              </a:extLst>
            </p:cNvPr>
            <p:cNvSpPr>
              <a:spLocks noEditPoints="1"/>
            </p:cNvSpPr>
            <p:nvPr/>
          </p:nvSpPr>
          <p:spPr bwMode="auto">
            <a:xfrm>
              <a:off x="7142163" y="1346200"/>
              <a:ext cx="57150" cy="57150"/>
            </a:xfrm>
            <a:custGeom>
              <a:avLst/>
              <a:gdLst>
                <a:gd name="T0" fmla="*/ 102 w 180"/>
                <a:gd name="T1" fmla="*/ 31 h 180"/>
                <a:gd name="T2" fmla="*/ 119 w 180"/>
                <a:gd name="T3" fmla="*/ 38 h 180"/>
                <a:gd name="T4" fmla="*/ 133 w 180"/>
                <a:gd name="T5" fmla="*/ 47 h 180"/>
                <a:gd name="T6" fmla="*/ 143 w 180"/>
                <a:gd name="T7" fmla="*/ 61 h 180"/>
                <a:gd name="T8" fmla="*/ 149 w 180"/>
                <a:gd name="T9" fmla="*/ 78 h 180"/>
                <a:gd name="T10" fmla="*/ 150 w 180"/>
                <a:gd name="T11" fmla="*/ 96 h 180"/>
                <a:gd name="T12" fmla="*/ 146 w 180"/>
                <a:gd name="T13" fmla="*/ 114 h 180"/>
                <a:gd name="T14" fmla="*/ 136 w 180"/>
                <a:gd name="T15" fmla="*/ 129 h 180"/>
                <a:gd name="T16" fmla="*/ 125 w 180"/>
                <a:gd name="T17" fmla="*/ 139 h 180"/>
                <a:gd name="T18" fmla="*/ 108 w 180"/>
                <a:gd name="T19" fmla="*/ 148 h 180"/>
                <a:gd name="T20" fmla="*/ 90 w 180"/>
                <a:gd name="T21" fmla="*/ 150 h 180"/>
                <a:gd name="T22" fmla="*/ 72 w 180"/>
                <a:gd name="T23" fmla="*/ 148 h 180"/>
                <a:gd name="T24" fmla="*/ 57 w 180"/>
                <a:gd name="T25" fmla="*/ 139 h 180"/>
                <a:gd name="T26" fmla="*/ 44 w 180"/>
                <a:gd name="T27" fmla="*/ 129 h 180"/>
                <a:gd name="T28" fmla="*/ 35 w 180"/>
                <a:gd name="T29" fmla="*/ 114 h 180"/>
                <a:gd name="T30" fmla="*/ 30 w 180"/>
                <a:gd name="T31" fmla="*/ 96 h 180"/>
                <a:gd name="T32" fmla="*/ 31 w 180"/>
                <a:gd name="T33" fmla="*/ 78 h 180"/>
                <a:gd name="T34" fmla="*/ 38 w 180"/>
                <a:gd name="T35" fmla="*/ 61 h 180"/>
                <a:gd name="T36" fmla="*/ 49 w 180"/>
                <a:gd name="T37" fmla="*/ 47 h 180"/>
                <a:gd name="T38" fmla="*/ 61 w 180"/>
                <a:gd name="T39" fmla="*/ 38 h 180"/>
                <a:gd name="T40" fmla="*/ 78 w 180"/>
                <a:gd name="T41" fmla="*/ 31 h 180"/>
                <a:gd name="T42" fmla="*/ 90 w 180"/>
                <a:gd name="T43" fmla="*/ 180 h 180"/>
                <a:gd name="T44" fmla="*/ 117 w 180"/>
                <a:gd name="T45" fmla="*/ 176 h 180"/>
                <a:gd name="T46" fmla="*/ 141 w 180"/>
                <a:gd name="T47" fmla="*/ 165 h 180"/>
                <a:gd name="T48" fmla="*/ 160 w 180"/>
                <a:gd name="T49" fmla="*/ 147 h 180"/>
                <a:gd name="T50" fmla="*/ 174 w 180"/>
                <a:gd name="T51" fmla="*/ 125 h 180"/>
                <a:gd name="T52" fmla="*/ 180 w 180"/>
                <a:gd name="T53" fmla="*/ 100 h 180"/>
                <a:gd name="T54" fmla="*/ 179 w 180"/>
                <a:gd name="T55" fmla="*/ 72 h 180"/>
                <a:gd name="T56" fmla="*/ 169 w 180"/>
                <a:gd name="T57" fmla="*/ 47 h 180"/>
                <a:gd name="T58" fmla="*/ 154 w 180"/>
                <a:gd name="T59" fmla="*/ 27 h 180"/>
                <a:gd name="T60" fmla="*/ 133 w 180"/>
                <a:gd name="T61" fmla="*/ 11 h 180"/>
                <a:gd name="T62" fmla="*/ 108 w 180"/>
                <a:gd name="T63" fmla="*/ 2 h 180"/>
                <a:gd name="T64" fmla="*/ 82 w 180"/>
                <a:gd name="T65" fmla="*/ 0 h 180"/>
                <a:gd name="T66" fmla="*/ 55 w 180"/>
                <a:gd name="T67" fmla="*/ 7 h 180"/>
                <a:gd name="T68" fmla="*/ 34 w 180"/>
                <a:gd name="T69" fmla="*/ 20 h 180"/>
                <a:gd name="T70" fmla="*/ 15 w 180"/>
                <a:gd name="T71" fmla="*/ 40 h 180"/>
                <a:gd name="T72" fmla="*/ 5 w 180"/>
                <a:gd name="T73" fmla="*/ 63 h 180"/>
                <a:gd name="T74" fmla="*/ 0 w 180"/>
                <a:gd name="T75" fmla="*/ 90 h 180"/>
                <a:gd name="T76" fmla="*/ 5 w 180"/>
                <a:gd name="T77" fmla="*/ 117 h 180"/>
                <a:gd name="T78" fmla="*/ 15 w 180"/>
                <a:gd name="T79" fmla="*/ 140 h 180"/>
                <a:gd name="T80" fmla="*/ 34 w 180"/>
                <a:gd name="T81" fmla="*/ 160 h 180"/>
                <a:gd name="T82" fmla="*/ 55 w 180"/>
                <a:gd name="T83" fmla="*/ 172 h 180"/>
                <a:gd name="T84" fmla="*/ 82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7" y="30"/>
                  </a:lnTo>
                  <a:lnTo>
                    <a:pt x="102" y="31"/>
                  </a:lnTo>
                  <a:lnTo>
                    <a:pt x="108" y="32"/>
                  </a:lnTo>
                  <a:lnTo>
                    <a:pt x="114" y="34"/>
                  </a:lnTo>
                  <a:lnTo>
                    <a:pt x="119" y="38"/>
                  </a:lnTo>
                  <a:lnTo>
                    <a:pt x="125" y="41"/>
                  </a:lnTo>
                  <a:lnTo>
                    <a:pt x="129" y="44"/>
                  </a:lnTo>
                  <a:lnTo>
                    <a:pt x="133" y="47"/>
                  </a:lnTo>
                  <a:lnTo>
                    <a:pt x="136" y="52"/>
                  </a:lnTo>
                  <a:lnTo>
                    <a:pt x="141" y="57"/>
                  </a:lnTo>
                  <a:lnTo>
                    <a:pt x="143" y="61"/>
                  </a:lnTo>
                  <a:lnTo>
                    <a:pt x="146" y="66"/>
                  </a:lnTo>
                  <a:lnTo>
                    <a:pt x="148" y="72"/>
                  </a:lnTo>
                  <a:lnTo>
                    <a:pt x="149" y="78"/>
                  </a:lnTo>
                  <a:lnTo>
                    <a:pt x="150" y="84"/>
                  </a:lnTo>
                  <a:lnTo>
                    <a:pt x="150" y="90"/>
                  </a:lnTo>
                  <a:lnTo>
                    <a:pt x="150" y="96"/>
                  </a:lnTo>
                  <a:lnTo>
                    <a:pt x="149" y="102"/>
                  </a:lnTo>
                  <a:lnTo>
                    <a:pt x="148" y="108"/>
                  </a:lnTo>
                  <a:lnTo>
                    <a:pt x="146" y="114"/>
                  </a:lnTo>
                  <a:lnTo>
                    <a:pt x="143" y="119"/>
                  </a:lnTo>
                  <a:lnTo>
                    <a:pt x="141" y="123"/>
                  </a:lnTo>
                  <a:lnTo>
                    <a:pt x="136" y="129"/>
                  </a:lnTo>
                  <a:lnTo>
                    <a:pt x="133" y="133"/>
                  </a:lnTo>
                  <a:lnTo>
                    <a:pt x="129" y="136"/>
                  </a:lnTo>
                  <a:lnTo>
                    <a:pt x="125" y="139"/>
                  </a:lnTo>
                  <a:lnTo>
                    <a:pt x="119" y="142"/>
                  </a:lnTo>
                  <a:lnTo>
                    <a:pt x="114" y="146"/>
                  </a:lnTo>
                  <a:lnTo>
                    <a:pt x="108" y="148"/>
                  </a:lnTo>
                  <a:lnTo>
                    <a:pt x="102" y="149"/>
                  </a:lnTo>
                  <a:lnTo>
                    <a:pt x="97" y="150"/>
                  </a:lnTo>
                  <a:lnTo>
                    <a:pt x="90" y="150"/>
                  </a:lnTo>
                  <a:lnTo>
                    <a:pt x="84" y="150"/>
                  </a:lnTo>
                  <a:lnTo>
                    <a:pt x="78" y="149"/>
                  </a:lnTo>
                  <a:lnTo>
                    <a:pt x="72" y="148"/>
                  </a:lnTo>
                  <a:lnTo>
                    <a:pt x="67" y="146"/>
                  </a:lnTo>
                  <a:lnTo>
                    <a:pt x="61" y="142"/>
                  </a:lnTo>
                  <a:lnTo>
                    <a:pt x="57" y="139"/>
                  </a:lnTo>
                  <a:lnTo>
                    <a:pt x="52" y="136"/>
                  </a:lnTo>
                  <a:lnTo>
                    <a:pt x="49" y="133"/>
                  </a:lnTo>
                  <a:lnTo>
                    <a:pt x="44" y="129"/>
                  </a:lnTo>
                  <a:lnTo>
                    <a:pt x="41" y="123"/>
                  </a:lnTo>
                  <a:lnTo>
                    <a:pt x="38" y="119"/>
                  </a:lnTo>
                  <a:lnTo>
                    <a:pt x="35" y="114"/>
                  </a:lnTo>
                  <a:lnTo>
                    <a:pt x="34" y="108"/>
                  </a:lnTo>
                  <a:lnTo>
                    <a:pt x="31" y="102"/>
                  </a:lnTo>
                  <a:lnTo>
                    <a:pt x="30" y="96"/>
                  </a:lnTo>
                  <a:lnTo>
                    <a:pt x="30" y="90"/>
                  </a:lnTo>
                  <a:lnTo>
                    <a:pt x="30" y="84"/>
                  </a:lnTo>
                  <a:lnTo>
                    <a:pt x="31" y="78"/>
                  </a:lnTo>
                  <a:lnTo>
                    <a:pt x="34" y="72"/>
                  </a:lnTo>
                  <a:lnTo>
                    <a:pt x="35" y="66"/>
                  </a:lnTo>
                  <a:lnTo>
                    <a:pt x="38" y="61"/>
                  </a:lnTo>
                  <a:lnTo>
                    <a:pt x="41" y="57"/>
                  </a:lnTo>
                  <a:lnTo>
                    <a:pt x="44" y="52"/>
                  </a:lnTo>
                  <a:lnTo>
                    <a:pt x="49" y="47"/>
                  </a:lnTo>
                  <a:lnTo>
                    <a:pt x="52" y="44"/>
                  </a:lnTo>
                  <a:lnTo>
                    <a:pt x="57" y="41"/>
                  </a:lnTo>
                  <a:lnTo>
                    <a:pt x="61" y="38"/>
                  </a:lnTo>
                  <a:lnTo>
                    <a:pt x="67" y="34"/>
                  </a:lnTo>
                  <a:lnTo>
                    <a:pt x="72" y="32"/>
                  </a:lnTo>
                  <a:lnTo>
                    <a:pt x="78" y="31"/>
                  </a:lnTo>
                  <a:lnTo>
                    <a:pt x="84" y="30"/>
                  </a:lnTo>
                  <a:lnTo>
                    <a:pt x="90" y="30"/>
                  </a:lnTo>
                  <a:close/>
                  <a:moveTo>
                    <a:pt x="90" y="180"/>
                  </a:moveTo>
                  <a:lnTo>
                    <a:pt x="100" y="180"/>
                  </a:lnTo>
                  <a:lnTo>
                    <a:pt x="108" y="178"/>
                  </a:lnTo>
                  <a:lnTo>
                    <a:pt x="117" y="176"/>
                  </a:lnTo>
                  <a:lnTo>
                    <a:pt x="126" y="172"/>
                  </a:lnTo>
                  <a:lnTo>
                    <a:pt x="133" y="169"/>
                  </a:lnTo>
                  <a:lnTo>
                    <a:pt x="141" y="165"/>
                  </a:lnTo>
                  <a:lnTo>
                    <a:pt x="148" y="160"/>
                  </a:lnTo>
                  <a:lnTo>
                    <a:pt x="154" y="153"/>
                  </a:lnTo>
                  <a:lnTo>
                    <a:pt x="160" y="147"/>
                  </a:lnTo>
                  <a:lnTo>
                    <a:pt x="165" y="140"/>
                  </a:lnTo>
                  <a:lnTo>
                    <a:pt x="169" y="133"/>
                  </a:lnTo>
                  <a:lnTo>
                    <a:pt x="174" y="125"/>
                  </a:lnTo>
                  <a:lnTo>
                    <a:pt x="177" y="117"/>
                  </a:lnTo>
                  <a:lnTo>
                    <a:pt x="179" y="108"/>
                  </a:lnTo>
                  <a:lnTo>
                    <a:pt x="180" y="100"/>
                  </a:lnTo>
                  <a:lnTo>
                    <a:pt x="180" y="90"/>
                  </a:lnTo>
                  <a:lnTo>
                    <a:pt x="180" y="80"/>
                  </a:lnTo>
                  <a:lnTo>
                    <a:pt x="179" y="72"/>
                  </a:lnTo>
                  <a:lnTo>
                    <a:pt x="177" y="63"/>
                  </a:lnTo>
                  <a:lnTo>
                    <a:pt x="174" y="55"/>
                  </a:lnTo>
                  <a:lnTo>
                    <a:pt x="169" y="47"/>
                  </a:lnTo>
                  <a:lnTo>
                    <a:pt x="165" y="40"/>
                  </a:lnTo>
                  <a:lnTo>
                    <a:pt x="160" y="33"/>
                  </a:lnTo>
                  <a:lnTo>
                    <a:pt x="154" y="27"/>
                  </a:lnTo>
                  <a:lnTo>
                    <a:pt x="148" y="20"/>
                  </a:lnTo>
                  <a:lnTo>
                    <a:pt x="141" y="15"/>
                  </a:lnTo>
                  <a:lnTo>
                    <a:pt x="133" y="11"/>
                  </a:lnTo>
                  <a:lnTo>
                    <a:pt x="126" y="7"/>
                  </a:lnTo>
                  <a:lnTo>
                    <a:pt x="117" y="4"/>
                  </a:lnTo>
                  <a:lnTo>
                    <a:pt x="108" y="2"/>
                  </a:lnTo>
                  <a:lnTo>
                    <a:pt x="100" y="0"/>
                  </a:lnTo>
                  <a:lnTo>
                    <a:pt x="90" y="0"/>
                  </a:lnTo>
                  <a:lnTo>
                    <a:pt x="82" y="0"/>
                  </a:lnTo>
                  <a:lnTo>
                    <a:pt x="72" y="2"/>
                  </a:lnTo>
                  <a:lnTo>
                    <a:pt x="64" y="4"/>
                  </a:lnTo>
                  <a:lnTo>
                    <a:pt x="55" y="7"/>
                  </a:lnTo>
                  <a:lnTo>
                    <a:pt x="47" y="11"/>
                  </a:lnTo>
                  <a:lnTo>
                    <a:pt x="40" y="15"/>
                  </a:lnTo>
                  <a:lnTo>
                    <a:pt x="34" y="20"/>
                  </a:lnTo>
                  <a:lnTo>
                    <a:pt x="27" y="27"/>
                  </a:lnTo>
                  <a:lnTo>
                    <a:pt x="21" y="33"/>
                  </a:lnTo>
                  <a:lnTo>
                    <a:pt x="15" y="40"/>
                  </a:lnTo>
                  <a:lnTo>
                    <a:pt x="11" y="47"/>
                  </a:lnTo>
                  <a:lnTo>
                    <a:pt x="8" y="55"/>
                  </a:lnTo>
                  <a:lnTo>
                    <a:pt x="5" y="63"/>
                  </a:lnTo>
                  <a:lnTo>
                    <a:pt x="3" y="72"/>
                  </a:lnTo>
                  <a:lnTo>
                    <a:pt x="0" y="80"/>
                  </a:lnTo>
                  <a:lnTo>
                    <a:pt x="0" y="90"/>
                  </a:lnTo>
                  <a:lnTo>
                    <a:pt x="0" y="100"/>
                  </a:lnTo>
                  <a:lnTo>
                    <a:pt x="3" y="108"/>
                  </a:lnTo>
                  <a:lnTo>
                    <a:pt x="5" y="117"/>
                  </a:lnTo>
                  <a:lnTo>
                    <a:pt x="8" y="125"/>
                  </a:lnTo>
                  <a:lnTo>
                    <a:pt x="11" y="133"/>
                  </a:lnTo>
                  <a:lnTo>
                    <a:pt x="15" y="140"/>
                  </a:lnTo>
                  <a:lnTo>
                    <a:pt x="21" y="147"/>
                  </a:lnTo>
                  <a:lnTo>
                    <a:pt x="27" y="153"/>
                  </a:lnTo>
                  <a:lnTo>
                    <a:pt x="34" y="160"/>
                  </a:lnTo>
                  <a:lnTo>
                    <a:pt x="40" y="165"/>
                  </a:lnTo>
                  <a:lnTo>
                    <a:pt x="47" y="169"/>
                  </a:lnTo>
                  <a:lnTo>
                    <a:pt x="55" y="172"/>
                  </a:lnTo>
                  <a:lnTo>
                    <a:pt x="64" y="176"/>
                  </a:lnTo>
                  <a:lnTo>
                    <a:pt x="72" y="178"/>
                  </a:lnTo>
                  <a:lnTo>
                    <a:pt x="82"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425">
              <a:extLst>
                <a:ext uri="{FF2B5EF4-FFF2-40B4-BE49-F238E27FC236}">
                  <a16:creationId xmlns:a16="http://schemas.microsoft.com/office/drawing/2014/main" id="{0CBDF45B-90E7-4FF4-8891-DE8D43A6B588}"/>
                </a:ext>
              </a:extLst>
            </p:cNvPr>
            <p:cNvSpPr>
              <a:spLocks noEditPoints="1"/>
            </p:cNvSpPr>
            <p:nvPr/>
          </p:nvSpPr>
          <p:spPr bwMode="auto">
            <a:xfrm>
              <a:off x="7227888" y="1374775"/>
              <a:ext cx="28575" cy="28575"/>
            </a:xfrm>
            <a:custGeom>
              <a:avLst/>
              <a:gdLst>
                <a:gd name="T0" fmla="*/ 48 w 91"/>
                <a:gd name="T1" fmla="*/ 30 h 90"/>
                <a:gd name="T2" fmla="*/ 54 w 91"/>
                <a:gd name="T3" fmla="*/ 33 h 90"/>
                <a:gd name="T4" fmla="*/ 58 w 91"/>
                <a:gd name="T5" fmla="*/ 37 h 90"/>
                <a:gd name="T6" fmla="*/ 60 w 91"/>
                <a:gd name="T7" fmla="*/ 42 h 90"/>
                <a:gd name="T8" fmla="*/ 60 w 91"/>
                <a:gd name="T9" fmla="*/ 48 h 90"/>
                <a:gd name="T10" fmla="*/ 58 w 91"/>
                <a:gd name="T11" fmla="*/ 53 h 90"/>
                <a:gd name="T12" fmla="*/ 54 w 91"/>
                <a:gd name="T13" fmla="*/ 58 h 90"/>
                <a:gd name="T14" fmla="*/ 48 w 91"/>
                <a:gd name="T15" fmla="*/ 60 h 90"/>
                <a:gd name="T16" fmla="*/ 43 w 91"/>
                <a:gd name="T17" fmla="*/ 60 h 90"/>
                <a:gd name="T18" fmla="*/ 37 w 91"/>
                <a:gd name="T19" fmla="*/ 58 h 90"/>
                <a:gd name="T20" fmla="*/ 33 w 91"/>
                <a:gd name="T21" fmla="*/ 53 h 90"/>
                <a:gd name="T22" fmla="*/ 31 w 91"/>
                <a:gd name="T23" fmla="*/ 48 h 90"/>
                <a:gd name="T24" fmla="*/ 31 w 91"/>
                <a:gd name="T25" fmla="*/ 42 h 90"/>
                <a:gd name="T26" fmla="*/ 33 w 91"/>
                <a:gd name="T27" fmla="*/ 37 h 90"/>
                <a:gd name="T28" fmla="*/ 37 w 91"/>
                <a:gd name="T29" fmla="*/ 33 h 90"/>
                <a:gd name="T30" fmla="*/ 43 w 91"/>
                <a:gd name="T31" fmla="*/ 30 h 90"/>
                <a:gd name="T32" fmla="*/ 46 w 91"/>
                <a:gd name="T33" fmla="*/ 90 h 90"/>
                <a:gd name="T34" fmla="*/ 63 w 91"/>
                <a:gd name="T35" fmla="*/ 87 h 90"/>
                <a:gd name="T36" fmla="*/ 77 w 91"/>
                <a:gd name="T37" fmla="*/ 77 h 90"/>
                <a:gd name="T38" fmla="*/ 87 w 91"/>
                <a:gd name="T39" fmla="*/ 63 h 90"/>
                <a:gd name="T40" fmla="*/ 91 w 91"/>
                <a:gd name="T41" fmla="*/ 45 h 90"/>
                <a:gd name="T42" fmla="*/ 87 w 91"/>
                <a:gd name="T43" fmla="*/ 28 h 90"/>
                <a:gd name="T44" fmla="*/ 77 w 91"/>
                <a:gd name="T45" fmla="*/ 14 h 90"/>
                <a:gd name="T46" fmla="*/ 63 w 91"/>
                <a:gd name="T47" fmla="*/ 3 h 90"/>
                <a:gd name="T48" fmla="*/ 46 w 91"/>
                <a:gd name="T49" fmla="*/ 0 h 90"/>
                <a:gd name="T50" fmla="*/ 28 w 91"/>
                <a:gd name="T51" fmla="*/ 3 h 90"/>
                <a:gd name="T52" fmla="*/ 14 w 91"/>
                <a:gd name="T53" fmla="*/ 14 h 90"/>
                <a:gd name="T54" fmla="*/ 4 w 91"/>
                <a:gd name="T55" fmla="*/ 28 h 90"/>
                <a:gd name="T56" fmla="*/ 0 w 91"/>
                <a:gd name="T57" fmla="*/ 45 h 90"/>
                <a:gd name="T58" fmla="*/ 4 w 91"/>
                <a:gd name="T59" fmla="*/ 63 h 90"/>
                <a:gd name="T60" fmla="*/ 14 w 91"/>
                <a:gd name="T61" fmla="*/ 77 h 90"/>
                <a:gd name="T62" fmla="*/ 28 w 91"/>
                <a:gd name="T63" fmla="*/ 87 h 90"/>
                <a:gd name="T64" fmla="*/ 46 w 91"/>
                <a:gd name="T6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0">
                  <a:moveTo>
                    <a:pt x="46" y="30"/>
                  </a:moveTo>
                  <a:lnTo>
                    <a:pt x="48" y="30"/>
                  </a:lnTo>
                  <a:lnTo>
                    <a:pt x="51" y="31"/>
                  </a:lnTo>
                  <a:lnTo>
                    <a:pt x="54" y="33"/>
                  </a:lnTo>
                  <a:lnTo>
                    <a:pt x="56" y="34"/>
                  </a:lnTo>
                  <a:lnTo>
                    <a:pt x="58" y="37"/>
                  </a:lnTo>
                  <a:lnTo>
                    <a:pt x="59" y="40"/>
                  </a:lnTo>
                  <a:lnTo>
                    <a:pt x="60" y="42"/>
                  </a:lnTo>
                  <a:lnTo>
                    <a:pt x="61" y="45"/>
                  </a:lnTo>
                  <a:lnTo>
                    <a:pt x="60" y="48"/>
                  </a:lnTo>
                  <a:lnTo>
                    <a:pt x="59" y="51"/>
                  </a:lnTo>
                  <a:lnTo>
                    <a:pt x="58" y="53"/>
                  </a:lnTo>
                  <a:lnTo>
                    <a:pt x="56" y="56"/>
                  </a:lnTo>
                  <a:lnTo>
                    <a:pt x="54" y="58"/>
                  </a:lnTo>
                  <a:lnTo>
                    <a:pt x="51" y="59"/>
                  </a:lnTo>
                  <a:lnTo>
                    <a:pt x="48" y="60"/>
                  </a:lnTo>
                  <a:lnTo>
                    <a:pt x="46" y="60"/>
                  </a:lnTo>
                  <a:lnTo>
                    <a:pt x="43" y="60"/>
                  </a:lnTo>
                  <a:lnTo>
                    <a:pt x="40" y="59"/>
                  </a:lnTo>
                  <a:lnTo>
                    <a:pt x="37" y="58"/>
                  </a:lnTo>
                  <a:lnTo>
                    <a:pt x="35" y="56"/>
                  </a:lnTo>
                  <a:lnTo>
                    <a:pt x="33" y="53"/>
                  </a:lnTo>
                  <a:lnTo>
                    <a:pt x="32" y="51"/>
                  </a:lnTo>
                  <a:lnTo>
                    <a:pt x="31" y="48"/>
                  </a:lnTo>
                  <a:lnTo>
                    <a:pt x="30" y="45"/>
                  </a:lnTo>
                  <a:lnTo>
                    <a:pt x="31" y="42"/>
                  </a:lnTo>
                  <a:lnTo>
                    <a:pt x="32" y="40"/>
                  </a:lnTo>
                  <a:lnTo>
                    <a:pt x="33" y="37"/>
                  </a:lnTo>
                  <a:lnTo>
                    <a:pt x="35" y="34"/>
                  </a:lnTo>
                  <a:lnTo>
                    <a:pt x="37" y="33"/>
                  </a:lnTo>
                  <a:lnTo>
                    <a:pt x="40" y="31"/>
                  </a:lnTo>
                  <a:lnTo>
                    <a:pt x="43" y="30"/>
                  </a:lnTo>
                  <a:lnTo>
                    <a:pt x="46" y="30"/>
                  </a:lnTo>
                  <a:close/>
                  <a:moveTo>
                    <a:pt x="46" y="90"/>
                  </a:moveTo>
                  <a:lnTo>
                    <a:pt x="55" y="89"/>
                  </a:lnTo>
                  <a:lnTo>
                    <a:pt x="63" y="87"/>
                  </a:lnTo>
                  <a:lnTo>
                    <a:pt x="71" y="82"/>
                  </a:lnTo>
                  <a:lnTo>
                    <a:pt x="77" y="77"/>
                  </a:lnTo>
                  <a:lnTo>
                    <a:pt x="82" y="71"/>
                  </a:lnTo>
                  <a:lnTo>
                    <a:pt x="87" y="63"/>
                  </a:lnTo>
                  <a:lnTo>
                    <a:pt x="90" y="55"/>
                  </a:lnTo>
                  <a:lnTo>
                    <a:pt x="91" y="45"/>
                  </a:lnTo>
                  <a:lnTo>
                    <a:pt x="90" y="36"/>
                  </a:lnTo>
                  <a:lnTo>
                    <a:pt x="87" y="28"/>
                  </a:lnTo>
                  <a:lnTo>
                    <a:pt x="82" y="20"/>
                  </a:lnTo>
                  <a:lnTo>
                    <a:pt x="77" y="14"/>
                  </a:lnTo>
                  <a:lnTo>
                    <a:pt x="71" y="8"/>
                  </a:lnTo>
                  <a:lnTo>
                    <a:pt x="63" y="3"/>
                  </a:lnTo>
                  <a:lnTo>
                    <a:pt x="55" y="1"/>
                  </a:lnTo>
                  <a:lnTo>
                    <a:pt x="46" y="0"/>
                  </a:lnTo>
                  <a:lnTo>
                    <a:pt x="36" y="1"/>
                  </a:lnTo>
                  <a:lnTo>
                    <a:pt x="28" y="3"/>
                  </a:lnTo>
                  <a:lnTo>
                    <a:pt x="20" y="8"/>
                  </a:lnTo>
                  <a:lnTo>
                    <a:pt x="14" y="14"/>
                  </a:lnTo>
                  <a:lnTo>
                    <a:pt x="9" y="20"/>
                  </a:lnTo>
                  <a:lnTo>
                    <a:pt x="4" y="28"/>
                  </a:lnTo>
                  <a:lnTo>
                    <a:pt x="1" y="36"/>
                  </a:lnTo>
                  <a:lnTo>
                    <a:pt x="0" y="45"/>
                  </a:lnTo>
                  <a:lnTo>
                    <a:pt x="1" y="55"/>
                  </a:lnTo>
                  <a:lnTo>
                    <a:pt x="4" y="63"/>
                  </a:lnTo>
                  <a:lnTo>
                    <a:pt x="9" y="71"/>
                  </a:lnTo>
                  <a:lnTo>
                    <a:pt x="14" y="77"/>
                  </a:lnTo>
                  <a:lnTo>
                    <a:pt x="20" y="82"/>
                  </a:lnTo>
                  <a:lnTo>
                    <a:pt x="28" y="87"/>
                  </a:lnTo>
                  <a:lnTo>
                    <a:pt x="36" y="89"/>
                  </a:lnTo>
                  <a:lnTo>
                    <a:pt x="46"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1" name="Group 68">
            <a:extLst>
              <a:ext uri="{FF2B5EF4-FFF2-40B4-BE49-F238E27FC236}">
                <a16:creationId xmlns:a16="http://schemas.microsoft.com/office/drawing/2014/main" id="{88F15D10-9DA4-4010-B82D-67B50E798C68}"/>
              </a:ext>
            </a:extLst>
          </p:cNvPr>
          <p:cNvGrpSpPr>
            <a:grpSpLocks noChangeAspect="1"/>
          </p:cNvGrpSpPr>
          <p:nvPr/>
        </p:nvGrpSpPr>
        <p:grpSpPr>
          <a:xfrm>
            <a:off x="2320173" y="3256152"/>
            <a:ext cx="274226" cy="306488"/>
            <a:chOff x="5292726" y="-2751138"/>
            <a:chExt cx="323850" cy="361950"/>
          </a:xfrm>
          <a:solidFill>
            <a:schemeClr val="bg2"/>
          </a:solidFill>
        </p:grpSpPr>
        <p:sp>
          <p:nvSpPr>
            <p:cNvPr id="1062" name="Freeform 6">
              <a:extLst>
                <a:ext uri="{FF2B5EF4-FFF2-40B4-BE49-F238E27FC236}">
                  <a16:creationId xmlns:a16="http://schemas.microsoft.com/office/drawing/2014/main" id="{8B13909B-8959-4216-B31F-2349C6B9BEAA}"/>
                </a:ext>
              </a:extLst>
            </p:cNvPr>
            <p:cNvSpPr>
              <a:spLocks noEditPoints="1"/>
            </p:cNvSpPr>
            <p:nvPr/>
          </p:nvSpPr>
          <p:spPr bwMode="auto">
            <a:xfrm>
              <a:off x="5380038" y="-2751138"/>
              <a:ext cx="150812" cy="361950"/>
            </a:xfrm>
            <a:custGeom>
              <a:avLst/>
              <a:gdLst>
                <a:gd name="T0" fmla="*/ 20 w 40"/>
                <a:gd name="T1" fmla="*/ 96 h 96"/>
                <a:gd name="T2" fmla="*/ 0 w 40"/>
                <a:gd name="T3" fmla="*/ 48 h 96"/>
                <a:gd name="T4" fmla="*/ 20 w 40"/>
                <a:gd name="T5" fmla="*/ 0 h 96"/>
                <a:gd name="T6" fmla="*/ 40 w 40"/>
                <a:gd name="T7" fmla="*/ 48 h 96"/>
                <a:gd name="T8" fmla="*/ 20 w 40"/>
                <a:gd name="T9" fmla="*/ 96 h 96"/>
                <a:gd name="T10" fmla="*/ 20 w 40"/>
                <a:gd name="T11" fmla="*/ 4 h 96"/>
                <a:gd name="T12" fmla="*/ 4 w 40"/>
                <a:gd name="T13" fmla="*/ 48 h 96"/>
                <a:gd name="T14" fmla="*/ 20 w 40"/>
                <a:gd name="T15" fmla="*/ 92 h 96"/>
                <a:gd name="T16" fmla="*/ 36 w 40"/>
                <a:gd name="T17" fmla="*/ 48 h 96"/>
                <a:gd name="T18" fmla="*/ 20 w 40"/>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96">
                  <a:moveTo>
                    <a:pt x="20" y="96"/>
                  </a:moveTo>
                  <a:cubicBezTo>
                    <a:pt x="9" y="96"/>
                    <a:pt x="0" y="75"/>
                    <a:pt x="0" y="48"/>
                  </a:cubicBezTo>
                  <a:cubicBezTo>
                    <a:pt x="0" y="21"/>
                    <a:pt x="9" y="0"/>
                    <a:pt x="20" y="0"/>
                  </a:cubicBezTo>
                  <a:cubicBezTo>
                    <a:pt x="31" y="0"/>
                    <a:pt x="40" y="21"/>
                    <a:pt x="40" y="48"/>
                  </a:cubicBezTo>
                  <a:cubicBezTo>
                    <a:pt x="40" y="75"/>
                    <a:pt x="31" y="96"/>
                    <a:pt x="20" y="96"/>
                  </a:cubicBezTo>
                  <a:close/>
                  <a:moveTo>
                    <a:pt x="20" y="4"/>
                  </a:moveTo>
                  <a:cubicBezTo>
                    <a:pt x="12" y="4"/>
                    <a:pt x="4" y="22"/>
                    <a:pt x="4" y="48"/>
                  </a:cubicBezTo>
                  <a:cubicBezTo>
                    <a:pt x="4" y="74"/>
                    <a:pt x="12" y="92"/>
                    <a:pt x="20" y="92"/>
                  </a:cubicBezTo>
                  <a:cubicBezTo>
                    <a:pt x="28" y="92"/>
                    <a:pt x="36" y="74"/>
                    <a:pt x="36" y="48"/>
                  </a:cubicBezTo>
                  <a:cubicBezTo>
                    <a:pt x="36" y="22"/>
                    <a:pt x="28" y="4"/>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7">
              <a:extLst>
                <a:ext uri="{FF2B5EF4-FFF2-40B4-BE49-F238E27FC236}">
                  <a16:creationId xmlns:a16="http://schemas.microsoft.com/office/drawing/2014/main" id="{BBEB148B-D475-443D-A2DF-FC14AC6AD6DD}"/>
                </a:ext>
              </a:extLst>
            </p:cNvPr>
            <p:cNvSpPr>
              <a:spLocks noEditPoints="1"/>
            </p:cNvSpPr>
            <p:nvPr/>
          </p:nvSpPr>
          <p:spPr bwMode="auto">
            <a:xfrm>
              <a:off x="5292726" y="-2690813"/>
              <a:ext cx="323850" cy="241300"/>
            </a:xfrm>
            <a:custGeom>
              <a:avLst/>
              <a:gdLst>
                <a:gd name="T0" fmla="*/ 15 w 86"/>
                <a:gd name="T1" fmla="*/ 64 h 64"/>
                <a:gd name="T2" fmla="*/ 3 w 86"/>
                <a:gd name="T3" fmla="*/ 59 h 64"/>
                <a:gd name="T4" fmla="*/ 7 w 86"/>
                <a:gd name="T5" fmla="*/ 39 h 64"/>
                <a:gd name="T6" fmla="*/ 32 w 86"/>
                <a:gd name="T7" fmla="*/ 16 h 64"/>
                <a:gd name="T8" fmla="*/ 71 w 86"/>
                <a:gd name="T9" fmla="*/ 0 h 64"/>
                <a:gd name="T10" fmla="*/ 83 w 86"/>
                <a:gd name="T11" fmla="*/ 5 h 64"/>
                <a:gd name="T12" fmla="*/ 79 w 86"/>
                <a:gd name="T13" fmla="*/ 25 h 64"/>
                <a:gd name="T14" fmla="*/ 54 w 86"/>
                <a:gd name="T15" fmla="*/ 48 h 64"/>
                <a:gd name="T16" fmla="*/ 15 w 86"/>
                <a:gd name="T17" fmla="*/ 64 h 64"/>
                <a:gd name="T18" fmla="*/ 71 w 86"/>
                <a:gd name="T19" fmla="*/ 4 h 64"/>
                <a:gd name="T20" fmla="*/ 34 w 86"/>
                <a:gd name="T21" fmla="*/ 19 h 64"/>
                <a:gd name="T22" fmla="*/ 11 w 86"/>
                <a:gd name="T23" fmla="*/ 41 h 64"/>
                <a:gd name="T24" fmla="*/ 7 w 86"/>
                <a:gd name="T25" fmla="*/ 57 h 64"/>
                <a:gd name="T26" fmla="*/ 15 w 86"/>
                <a:gd name="T27" fmla="*/ 60 h 64"/>
                <a:gd name="T28" fmla="*/ 52 w 86"/>
                <a:gd name="T29" fmla="*/ 45 h 64"/>
                <a:gd name="T30" fmla="*/ 75 w 86"/>
                <a:gd name="T31" fmla="*/ 23 h 64"/>
                <a:gd name="T32" fmla="*/ 79 w 86"/>
                <a:gd name="T33" fmla="*/ 7 h 64"/>
                <a:gd name="T34" fmla="*/ 71 w 86"/>
                <a:gd name="T35"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64">
                  <a:moveTo>
                    <a:pt x="15" y="64"/>
                  </a:moveTo>
                  <a:cubicBezTo>
                    <a:pt x="10" y="64"/>
                    <a:pt x="6" y="62"/>
                    <a:pt x="3" y="59"/>
                  </a:cubicBezTo>
                  <a:cubicBezTo>
                    <a:pt x="0" y="55"/>
                    <a:pt x="2" y="47"/>
                    <a:pt x="7" y="39"/>
                  </a:cubicBezTo>
                  <a:cubicBezTo>
                    <a:pt x="13" y="31"/>
                    <a:pt x="21" y="23"/>
                    <a:pt x="32" y="16"/>
                  </a:cubicBezTo>
                  <a:cubicBezTo>
                    <a:pt x="46" y="6"/>
                    <a:pt x="61" y="0"/>
                    <a:pt x="71" y="0"/>
                  </a:cubicBezTo>
                  <a:cubicBezTo>
                    <a:pt x="76" y="0"/>
                    <a:pt x="80" y="2"/>
                    <a:pt x="83" y="5"/>
                  </a:cubicBezTo>
                  <a:cubicBezTo>
                    <a:pt x="86" y="9"/>
                    <a:pt x="84" y="17"/>
                    <a:pt x="79" y="25"/>
                  </a:cubicBezTo>
                  <a:cubicBezTo>
                    <a:pt x="73" y="33"/>
                    <a:pt x="65" y="41"/>
                    <a:pt x="54" y="48"/>
                  </a:cubicBezTo>
                  <a:cubicBezTo>
                    <a:pt x="40" y="58"/>
                    <a:pt x="25" y="64"/>
                    <a:pt x="15" y="64"/>
                  </a:cubicBezTo>
                  <a:close/>
                  <a:moveTo>
                    <a:pt x="71" y="4"/>
                  </a:moveTo>
                  <a:cubicBezTo>
                    <a:pt x="61" y="4"/>
                    <a:pt x="47" y="10"/>
                    <a:pt x="34" y="19"/>
                  </a:cubicBezTo>
                  <a:cubicBezTo>
                    <a:pt x="24" y="26"/>
                    <a:pt x="16" y="34"/>
                    <a:pt x="11" y="41"/>
                  </a:cubicBezTo>
                  <a:cubicBezTo>
                    <a:pt x="6" y="48"/>
                    <a:pt x="5" y="54"/>
                    <a:pt x="7" y="57"/>
                  </a:cubicBezTo>
                  <a:cubicBezTo>
                    <a:pt x="8" y="59"/>
                    <a:pt x="12" y="60"/>
                    <a:pt x="15" y="60"/>
                  </a:cubicBezTo>
                  <a:cubicBezTo>
                    <a:pt x="25" y="60"/>
                    <a:pt x="39" y="54"/>
                    <a:pt x="52" y="45"/>
                  </a:cubicBezTo>
                  <a:cubicBezTo>
                    <a:pt x="62" y="38"/>
                    <a:pt x="70" y="30"/>
                    <a:pt x="75" y="23"/>
                  </a:cubicBezTo>
                  <a:cubicBezTo>
                    <a:pt x="80" y="16"/>
                    <a:pt x="81" y="10"/>
                    <a:pt x="79" y="7"/>
                  </a:cubicBezTo>
                  <a:cubicBezTo>
                    <a:pt x="78" y="5"/>
                    <a:pt x="74" y="4"/>
                    <a:pt x="7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8">
              <a:extLst>
                <a:ext uri="{FF2B5EF4-FFF2-40B4-BE49-F238E27FC236}">
                  <a16:creationId xmlns:a16="http://schemas.microsoft.com/office/drawing/2014/main" id="{7D859149-5C04-477D-A5C4-96FCDFA92A27}"/>
                </a:ext>
              </a:extLst>
            </p:cNvPr>
            <p:cNvSpPr>
              <a:spLocks noEditPoints="1"/>
            </p:cNvSpPr>
            <p:nvPr/>
          </p:nvSpPr>
          <p:spPr bwMode="auto">
            <a:xfrm>
              <a:off x="5292726" y="-2690813"/>
              <a:ext cx="323850" cy="241300"/>
            </a:xfrm>
            <a:custGeom>
              <a:avLst/>
              <a:gdLst>
                <a:gd name="T0" fmla="*/ 71 w 86"/>
                <a:gd name="T1" fmla="*/ 64 h 64"/>
                <a:gd name="T2" fmla="*/ 71 w 86"/>
                <a:gd name="T3" fmla="*/ 64 h 64"/>
                <a:gd name="T4" fmla="*/ 32 w 86"/>
                <a:gd name="T5" fmla="*/ 48 h 64"/>
                <a:gd name="T6" fmla="*/ 7 w 86"/>
                <a:gd name="T7" fmla="*/ 25 h 64"/>
                <a:gd name="T8" fmla="*/ 3 w 86"/>
                <a:gd name="T9" fmla="*/ 5 h 64"/>
                <a:gd name="T10" fmla="*/ 15 w 86"/>
                <a:gd name="T11" fmla="*/ 0 h 64"/>
                <a:gd name="T12" fmla="*/ 54 w 86"/>
                <a:gd name="T13" fmla="*/ 16 h 64"/>
                <a:gd name="T14" fmla="*/ 79 w 86"/>
                <a:gd name="T15" fmla="*/ 39 h 64"/>
                <a:gd name="T16" fmla="*/ 83 w 86"/>
                <a:gd name="T17" fmla="*/ 59 h 64"/>
                <a:gd name="T18" fmla="*/ 71 w 86"/>
                <a:gd name="T19" fmla="*/ 64 h 64"/>
                <a:gd name="T20" fmla="*/ 15 w 86"/>
                <a:gd name="T21" fmla="*/ 4 h 64"/>
                <a:gd name="T22" fmla="*/ 7 w 86"/>
                <a:gd name="T23" fmla="*/ 7 h 64"/>
                <a:gd name="T24" fmla="*/ 11 w 86"/>
                <a:gd name="T25" fmla="*/ 23 h 64"/>
                <a:gd name="T26" fmla="*/ 34 w 86"/>
                <a:gd name="T27" fmla="*/ 45 h 64"/>
                <a:gd name="T28" fmla="*/ 71 w 86"/>
                <a:gd name="T29" fmla="*/ 60 h 64"/>
                <a:gd name="T30" fmla="*/ 71 w 86"/>
                <a:gd name="T31" fmla="*/ 60 h 64"/>
                <a:gd name="T32" fmla="*/ 79 w 86"/>
                <a:gd name="T33" fmla="*/ 57 h 64"/>
                <a:gd name="T34" fmla="*/ 75 w 86"/>
                <a:gd name="T35" fmla="*/ 41 h 64"/>
                <a:gd name="T36" fmla="*/ 52 w 86"/>
                <a:gd name="T37" fmla="*/ 19 h 64"/>
                <a:gd name="T38" fmla="*/ 15 w 86"/>
                <a:gd name="T3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64">
                  <a:moveTo>
                    <a:pt x="71" y="64"/>
                  </a:moveTo>
                  <a:cubicBezTo>
                    <a:pt x="71" y="64"/>
                    <a:pt x="71" y="64"/>
                    <a:pt x="71" y="64"/>
                  </a:cubicBezTo>
                  <a:cubicBezTo>
                    <a:pt x="61" y="64"/>
                    <a:pt x="46" y="58"/>
                    <a:pt x="32" y="48"/>
                  </a:cubicBezTo>
                  <a:cubicBezTo>
                    <a:pt x="21" y="41"/>
                    <a:pt x="13" y="33"/>
                    <a:pt x="7" y="25"/>
                  </a:cubicBezTo>
                  <a:cubicBezTo>
                    <a:pt x="2" y="17"/>
                    <a:pt x="0" y="9"/>
                    <a:pt x="3" y="5"/>
                  </a:cubicBezTo>
                  <a:cubicBezTo>
                    <a:pt x="6" y="2"/>
                    <a:pt x="10" y="0"/>
                    <a:pt x="15" y="0"/>
                  </a:cubicBezTo>
                  <a:cubicBezTo>
                    <a:pt x="25" y="0"/>
                    <a:pt x="40" y="6"/>
                    <a:pt x="54" y="16"/>
                  </a:cubicBezTo>
                  <a:cubicBezTo>
                    <a:pt x="65" y="23"/>
                    <a:pt x="73" y="31"/>
                    <a:pt x="79" y="39"/>
                  </a:cubicBezTo>
                  <a:cubicBezTo>
                    <a:pt x="84" y="47"/>
                    <a:pt x="86" y="55"/>
                    <a:pt x="83" y="59"/>
                  </a:cubicBezTo>
                  <a:cubicBezTo>
                    <a:pt x="80" y="62"/>
                    <a:pt x="76" y="64"/>
                    <a:pt x="71" y="64"/>
                  </a:cubicBezTo>
                  <a:close/>
                  <a:moveTo>
                    <a:pt x="15" y="4"/>
                  </a:moveTo>
                  <a:cubicBezTo>
                    <a:pt x="12" y="4"/>
                    <a:pt x="8" y="5"/>
                    <a:pt x="7" y="7"/>
                  </a:cubicBezTo>
                  <a:cubicBezTo>
                    <a:pt x="5" y="10"/>
                    <a:pt x="6" y="16"/>
                    <a:pt x="11" y="23"/>
                  </a:cubicBezTo>
                  <a:cubicBezTo>
                    <a:pt x="16" y="30"/>
                    <a:pt x="24" y="38"/>
                    <a:pt x="34" y="45"/>
                  </a:cubicBezTo>
                  <a:cubicBezTo>
                    <a:pt x="47" y="54"/>
                    <a:pt x="61" y="60"/>
                    <a:pt x="71" y="60"/>
                  </a:cubicBezTo>
                  <a:cubicBezTo>
                    <a:pt x="71" y="60"/>
                    <a:pt x="71" y="60"/>
                    <a:pt x="71" y="60"/>
                  </a:cubicBezTo>
                  <a:cubicBezTo>
                    <a:pt x="74" y="60"/>
                    <a:pt x="78" y="59"/>
                    <a:pt x="79" y="57"/>
                  </a:cubicBezTo>
                  <a:cubicBezTo>
                    <a:pt x="81" y="54"/>
                    <a:pt x="80" y="48"/>
                    <a:pt x="75" y="41"/>
                  </a:cubicBezTo>
                  <a:cubicBezTo>
                    <a:pt x="70" y="34"/>
                    <a:pt x="62" y="26"/>
                    <a:pt x="52" y="19"/>
                  </a:cubicBezTo>
                  <a:cubicBezTo>
                    <a:pt x="39" y="10"/>
                    <a:pt x="25" y="4"/>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9">
              <a:extLst>
                <a:ext uri="{FF2B5EF4-FFF2-40B4-BE49-F238E27FC236}">
                  <a16:creationId xmlns:a16="http://schemas.microsoft.com/office/drawing/2014/main" id="{436A19EF-4691-4205-85CD-95DAD1FFA1D4}"/>
                </a:ext>
              </a:extLst>
            </p:cNvPr>
            <p:cNvSpPr>
              <a:spLocks noEditPoints="1"/>
            </p:cNvSpPr>
            <p:nvPr/>
          </p:nvSpPr>
          <p:spPr bwMode="auto">
            <a:xfrm>
              <a:off x="5416550" y="-2608263"/>
              <a:ext cx="76200" cy="76200"/>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6" name="Freeform 446">
            <a:extLst>
              <a:ext uri="{FF2B5EF4-FFF2-40B4-BE49-F238E27FC236}">
                <a16:creationId xmlns:a16="http://schemas.microsoft.com/office/drawing/2014/main" id="{8FDDBB2A-98AF-4845-8F2C-1F491938BBA1}"/>
              </a:ext>
            </a:extLst>
          </p:cNvPr>
          <p:cNvSpPr>
            <a:spLocks noChangeAspect="1" noEditPoints="1"/>
          </p:cNvSpPr>
          <p:nvPr/>
        </p:nvSpPr>
        <p:spPr bwMode="auto">
          <a:xfrm>
            <a:off x="2769887" y="3256152"/>
            <a:ext cx="154947" cy="306488"/>
          </a:xfrm>
          <a:custGeom>
            <a:avLst/>
            <a:gdLst>
              <a:gd name="T0" fmla="*/ 325 w 451"/>
              <a:gd name="T1" fmla="*/ 646 h 900"/>
              <a:gd name="T2" fmla="*/ 306 w 451"/>
              <a:gd name="T3" fmla="*/ 682 h 900"/>
              <a:gd name="T4" fmla="*/ 275 w 451"/>
              <a:gd name="T5" fmla="*/ 707 h 900"/>
              <a:gd name="T6" fmla="*/ 236 w 451"/>
              <a:gd name="T7" fmla="*/ 719 h 900"/>
              <a:gd name="T8" fmla="*/ 194 w 451"/>
              <a:gd name="T9" fmla="*/ 715 h 900"/>
              <a:gd name="T10" fmla="*/ 158 w 451"/>
              <a:gd name="T11" fmla="*/ 696 h 900"/>
              <a:gd name="T12" fmla="*/ 133 w 451"/>
              <a:gd name="T13" fmla="*/ 666 h 900"/>
              <a:gd name="T14" fmla="*/ 121 w 451"/>
              <a:gd name="T15" fmla="*/ 626 h 900"/>
              <a:gd name="T16" fmla="*/ 198 w 451"/>
              <a:gd name="T17" fmla="*/ 510 h 900"/>
              <a:gd name="T18" fmla="*/ 208 w 451"/>
              <a:gd name="T19" fmla="*/ 504 h 900"/>
              <a:gd name="T20" fmla="*/ 210 w 451"/>
              <a:gd name="T21" fmla="*/ 492 h 900"/>
              <a:gd name="T22" fmla="*/ 203 w 451"/>
              <a:gd name="T23" fmla="*/ 483 h 900"/>
              <a:gd name="T24" fmla="*/ 120 w 451"/>
              <a:gd name="T25" fmla="*/ 480 h 900"/>
              <a:gd name="T26" fmla="*/ 201 w 451"/>
              <a:gd name="T27" fmla="*/ 419 h 900"/>
              <a:gd name="T28" fmla="*/ 209 w 451"/>
              <a:gd name="T29" fmla="*/ 411 h 900"/>
              <a:gd name="T30" fmla="*/ 209 w 451"/>
              <a:gd name="T31" fmla="*/ 399 h 900"/>
              <a:gd name="T32" fmla="*/ 201 w 451"/>
              <a:gd name="T33" fmla="*/ 391 h 900"/>
              <a:gd name="T34" fmla="*/ 120 w 451"/>
              <a:gd name="T35" fmla="*/ 330 h 900"/>
              <a:gd name="T36" fmla="*/ 203 w 451"/>
              <a:gd name="T37" fmla="*/ 328 h 900"/>
              <a:gd name="T38" fmla="*/ 210 w 451"/>
              <a:gd name="T39" fmla="*/ 318 h 900"/>
              <a:gd name="T40" fmla="*/ 208 w 451"/>
              <a:gd name="T41" fmla="*/ 307 h 900"/>
              <a:gd name="T42" fmla="*/ 198 w 451"/>
              <a:gd name="T43" fmla="*/ 300 h 900"/>
              <a:gd name="T44" fmla="*/ 331 w 451"/>
              <a:gd name="T45" fmla="*/ 210 h 900"/>
              <a:gd name="T46" fmla="*/ 271 w 451"/>
              <a:gd name="T47" fmla="*/ 180 h 900"/>
              <a:gd name="T48" fmla="*/ 301 w 451"/>
              <a:gd name="T49" fmla="*/ 180 h 900"/>
              <a:gd name="T50" fmla="*/ 351 w 451"/>
              <a:gd name="T51" fmla="*/ 29 h 900"/>
              <a:gd name="T52" fmla="*/ 360 w 451"/>
              <a:gd name="T53" fmla="*/ 21 h 900"/>
              <a:gd name="T54" fmla="*/ 360 w 451"/>
              <a:gd name="T55" fmla="*/ 9 h 900"/>
              <a:gd name="T56" fmla="*/ 351 w 451"/>
              <a:gd name="T57" fmla="*/ 1 h 900"/>
              <a:gd name="T58" fmla="*/ 102 w 451"/>
              <a:gd name="T59" fmla="*/ 0 h 900"/>
              <a:gd name="T60" fmla="*/ 93 w 451"/>
              <a:gd name="T61" fmla="*/ 7 h 900"/>
              <a:gd name="T62" fmla="*/ 91 w 451"/>
              <a:gd name="T63" fmla="*/ 19 h 900"/>
              <a:gd name="T64" fmla="*/ 96 w 451"/>
              <a:gd name="T65" fmla="*/ 27 h 900"/>
              <a:gd name="T66" fmla="*/ 150 w 451"/>
              <a:gd name="T67" fmla="*/ 30 h 900"/>
              <a:gd name="T68" fmla="*/ 10 w 451"/>
              <a:gd name="T69" fmla="*/ 181 h 900"/>
              <a:gd name="T70" fmla="*/ 1 w 451"/>
              <a:gd name="T71" fmla="*/ 190 h 900"/>
              <a:gd name="T72" fmla="*/ 1 w 451"/>
              <a:gd name="T73" fmla="*/ 202 h 900"/>
              <a:gd name="T74" fmla="*/ 10 w 451"/>
              <a:gd name="T75" fmla="*/ 209 h 900"/>
              <a:gd name="T76" fmla="*/ 90 w 451"/>
              <a:gd name="T77" fmla="*/ 615 h 900"/>
              <a:gd name="T78" fmla="*/ 100 w 451"/>
              <a:gd name="T79" fmla="*/ 665 h 900"/>
              <a:gd name="T80" fmla="*/ 125 w 451"/>
              <a:gd name="T81" fmla="*/ 706 h 900"/>
              <a:gd name="T82" fmla="*/ 163 w 451"/>
              <a:gd name="T83" fmla="*/ 735 h 900"/>
              <a:gd name="T84" fmla="*/ 210 w 451"/>
              <a:gd name="T85" fmla="*/ 750 h 900"/>
              <a:gd name="T86" fmla="*/ 213 w 451"/>
              <a:gd name="T87" fmla="*/ 894 h 900"/>
              <a:gd name="T88" fmla="*/ 223 w 451"/>
              <a:gd name="T89" fmla="*/ 900 h 900"/>
              <a:gd name="T90" fmla="*/ 233 w 451"/>
              <a:gd name="T91" fmla="*/ 898 h 900"/>
              <a:gd name="T92" fmla="*/ 240 w 451"/>
              <a:gd name="T93" fmla="*/ 888 h 900"/>
              <a:gd name="T94" fmla="*/ 264 w 451"/>
              <a:gd name="T95" fmla="*/ 745 h 900"/>
              <a:gd name="T96" fmla="*/ 308 w 451"/>
              <a:gd name="T97" fmla="*/ 722 h 900"/>
              <a:gd name="T98" fmla="*/ 340 w 451"/>
              <a:gd name="T99" fmla="*/ 687 h 900"/>
              <a:gd name="T100" fmla="*/ 358 w 451"/>
              <a:gd name="T101" fmla="*/ 641 h 900"/>
              <a:gd name="T102" fmla="*/ 436 w 451"/>
              <a:gd name="T103" fmla="*/ 210 h 900"/>
              <a:gd name="T104" fmla="*/ 446 w 451"/>
              <a:gd name="T105" fmla="*/ 206 h 900"/>
              <a:gd name="T106" fmla="*/ 451 w 451"/>
              <a:gd name="T107" fmla="*/ 195 h 900"/>
              <a:gd name="T108" fmla="*/ 446 w 451"/>
              <a:gd name="T109" fmla="*/ 184 h 900"/>
              <a:gd name="T110" fmla="*/ 436 w 451"/>
              <a:gd name="T111" fmla="*/ 18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1" h="900">
                <a:moveTo>
                  <a:pt x="331" y="615"/>
                </a:moveTo>
                <a:lnTo>
                  <a:pt x="330" y="626"/>
                </a:lnTo>
                <a:lnTo>
                  <a:pt x="329" y="636"/>
                </a:lnTo>
                <a:lnTo>
                  <a:pt x="325" y="646"/>
                </a:lnTo>
                <a:lnTo>
                  <a:pt x="322" y="656"/>
                </a:lnTo>
                <a:lnTo>
                  <a:pt x="318" y="666"/>
                </a:lnTo>
                <a:lnTo>
                  <a:pt x="313" y="674"/>
                </a:lnTo>
                <a:lnTo>
                  <a:pt x="306" y="682"/>
                </a:lnTo>
                <a:lnTo>
                  <a:pt x="300" y="689"/>
                </a:lnTo>
                <a:lnTo>
                  <a:pt x="292" y="696"/>
                </a:lnTo>
                <a:lnTo>
                  <a:pt x="284" y="702"/>
                </a:lnTo>
                <a:lnTo>
                  <a:pt x="275" y="707"/>
                </a:lnTo>
                <a:lnTo>
                  <a:pt x="267" y="712"/>
                </a:lnTo>
                <a:lnTo>
                  <a:pt x="257" y="715"/>
                </a:lnTo>
                <a:lnTo>
                  <a:pt x="246" y="718"/>
                </a:lnTo>
                <a:lnTo>
                  <a:pt x="236" y="719"/>
                </a:lnTo>
                <a:lnTo>
                  <a:pt x="225" y="720"/>
                </a:lnTo>
                <a:lnTo>
                  <a:pt x="214" y="719"/>
                </a:lnTo>
                <a:lnTo>
                  <a:pt x="205" y="718"/>
                </a:lnTo>
                <a:lnTo>
                  <a:pt x="194" y="715"/>
                </a:lnTo>
                <a:lnTo>
                  <a:pt x="184" y="712"/>
                </a:lnTo>
                <a:lnTo>
                  <a:pt x="176" y="707"/>
                </a:lnTo>
                <a:lnTo>
                  <a:pt x="167" y="702"/>
                </a:lnTo>
                <a:lnTo>
                  <a:pt x="158" y="696"/>
                </a:lnTo>
                <a:lnTo>
                  <a:pt x="151" y="689"/>
                </a:lnTo>
                <a:lnTo>
                  <a:pt x="145" y="682"/>
                </a:lnTo>
                <a:lnTo>
                  <a:pt x="138" y="674"/>
                </a:lnTo>
                <a:lnTo>
                  <a:pt x="133" y="666"/>
                </a:lnTo>
                <a:lnTo>
                  <a:pt x="129" y="656"/>
                </a:lnTo>
                <a:lnTo>
                  <a:pt x="125" y="646"/>
                </a:lnTo>
                <a:lnTo>
                  <a:pt x="122" y="636"/>
                </a:lnTo>
                <a:lnTo>
                  <a:pt x="121" y="626"/>
                </a:lnTo>
                <a:lnTo>
                  <a:pt x="120" y="615"/>
                </a:lnTo>
                <a:lnTo>
                  <a:pt x="120" y="510"/>
                </a:lnTo>
                <a:lnTo>
                  <a:pt x="195" y="510"/>
                </a:lnTo>
                <a:lnTo>
                  <a:pt x="198" y="510"/>
                </a:lnTo>
                <a:lnTo>
                  <a:pt x="201" y="509"/>
                </a:lnTo>
                <a:lnTo>
                  <a:pt x="203" y="507"/>
                </a:lnTo>
                <a:lnTo>
                  <a:pt x="206" y="506"/>
                </a:lnTo>
                <a:lnTo>
                  <a:pt x="208" y="504"/>
                </a:lnTo>
                <a:lnTo>
                  <a:pt x="209" y="501"/>
                </a:lnTo>
                <a:lnTo>
                  <a:pt x="210" y="498"/>
                </a:lnTo>
                <a:lnTo>
                  <a:pt x="210" y="495"/>
                </a:lnTo>
                <a:lnTo>
                  <a:pt x="210" y="492"/>
                </a:lnTo>
                <a:lnTo>
                  <a:pt x="209" y="489"/>
                </a:lnTo>
                <a:lnTo>
                  <a:pt x="208" y="487"/>
                </a:lnTo>
                <a:lnTo>
                  <a:pt x="206" y="485"/>
                </a:lnTo>
                <a:lnTo>
                  <a:pt x="203" y="483"/>
                </a:lnTo>
                <a:lnTo>
                  <a:pt x="201" y="482"/>
                </a:lnTo>
                <a:lnTo>
                  <a:pt x="198" y="481"/>
                </a:lnTo>
                <a:lnTo>
                  <a:pt x="195" y="480"/>
                </a:lnTo>
                <a:lnTo>
                  <a:pt x="120" y="480"/>
                </a:lnTo>
                <a:lnTo>
                  <a:pt x="120" y="420"/>
                </a:lnTo>
                <a:lnTo>
                  <a:pt x="195" y="420"/>
                </a:lnTo>
                <a:lnTo>
                  <a:pt x="198" y="420"/>
                </a:lnTo>
                <a:lnTo>
                  <a:pt x="201" y="419"/>
                </a:lnTo>
                <a:lnTo>
                  <a:pt x="203" y="418"/>
                </a:lnTo>
                <a:lnTo>
                  <a:pt x="206" y="415"/>
                </a:lnTo>
                <a:lnTo>
                  <a:pt x="208" y="413"/>
                </a:lnTo>
                <a:lnTo>
                  <a:pt x="209" y="411"/>
                </a:lnTo>
                <a:lnTo>
                  <a:pt x="210" y="408"/>
                </a:lnTo>
                <a:lnTo>
                  <a:pt x="210" y="405"/>
                </a:lnTo>
                <a:lnTo>
                  <a:pt x="210" y="403"/>
                </a:lnTo>
                <a:lnTo>
                  <a:pt x="209" y="399"/>
                </a:lnTo>
                <a:lnTo>
                  <a:pt x="208" y="397"/>
                </a:lnTo>
                <a:lnTo>
                  <a:pt x="206" y="395"/>
                </a:lnTo>
                <a:lnTo>
                  <a:pt x="203" y="393"/>
                </a:lnTo>
                <a:lnTo>
                  <a:pt x="201" y="391"/>
                </a:lnTo>
                <a:lnTo>
                  <a:pt x="198" y="391"/>
                </a:lnTo>
                <a:lnTo>
                  <a:pt x="195" y="390"/>
                </a:lnTo>
                <a:lnTo>
                  <a:pt x="120" y="390"/>
                </a:lnTo>
                <a:lnTo>
                  <a:pt x="120" y="330"/>
                </a:lnTo>
                <a:lnTo>
                  <a:pt x="195" y="330"/>
                </a:lnTo>
                <a:lnTo>
                  <a:pt x="198" y="330"/>
                </a:lnTo>
                <a:lnTo>
                  <a:pt x="201" y="329"/>
                </a:lnTo>
                <a:lnTo>
                  <a:pt x="203" y="328"/>
                </a:lnTo>
                <a:lnTo>
                  <a:pt x="206" y="326"/>
                </a:lnTo>
                <a:lnTo>
                  <a:pt x="208" y="323"/>
                </a:lnTo>
                <a:lnTo>
                  <a:pt x="209" y="321"/>
                </a:lnTo>
                <a:lnTo>
                  <a:pt x="210" y="318"/>
                </a:lnTo>
                <a:lnTo>
                  <a:pt x="210" y="315"/>
                </a:lnTo>
                <a:lnTo>
                  <a:pt x="210" y="312"/>
                </a:lnTo>
                <a:lnTo>
                  <a:pt x="209" y="310"/>
                </a:lnTo>
                <a:lnTo>
                  <a:pt x="208" y="307"/>
                </a:lnTo>
                <a:lnTo>
                  <a:pt x="206" y="304"/>
                </a:lnTo>
                <a:lnTo>
                  <a:pt x="203" y="303"/>
                </a:lnTo>
                <a:lnTo>
                  <a:pt x="201" y="301"/>
                </a:lnTo>
                <a:lnTo>
                  <a:pt x="198" y="300"/>
                </a:lnTo>
                <a:lnTo>
                  <a:pt x="195" y="300"/>
                </a:lnTo>
                <a:lnTo>
                  <a:pt x="120" y="300"/>
                </a:lnTo>
                <a:lnTo>
                  <a:pt x="120" y="210"/>
                </a:lnTo>
                <a:lnTo>
                  <a:pt x="331" y="210"/>
                </a:lnTo>
                <a:lnTo>
                  <a:pt x="331" y="615"/>
                </a:lnTo>
                <a:close/>
                <a:moveTo>
                  <a:pt x="180" y="30"/>
                </a:moveTo>
                <a:lnTo>
                  <a:pt x="271" y="30"/>
                </a:lnTo>
                <a:lnTo>
                  <a:pt x="271" y="180"/>
                </a:lnTo>
                <a:lnTo>
                  <a:pt x="180" y="180"/>
                </a:lnTo>
                <a:lnTo>
                  <a:pt x="180" y="30"/>
                </a:lnTo>
                <a:close/>
                <a:moveTo>
                  <a:pt x="436" y="180"/>
                </a:moveTo>
                <a:lnTo>
                  <a:pt x="301" y="180"/>
                </a:lnTo>
                <a:lnTo>
                  <a:pt x="301" y="30"/>
                </a:lnTo>
                <a:lnTo>
                  <a:pt x="346" y="30"/>
                </a:lnTo>
                <a:lnTo>
                  <a:pt x="348" y="29"/>
                </a:lnTo>
                <a:lnTo>
                  <a:pt x="351" y="29"/>
                </a:lnTo>
                <a:lnTo>
                  <a:pt x="353" y="27"/>
                </a:lnTo>
                <a:lnTo>
                  <a:pt x="356" y="26"/>
                </a:lnTo>
                <a:lnTo>
                  <a:pt x="358" y="24"/>
                </a:lnTo>
                <a:lnTo>
                  <a:pt x="360" y="21"/>
                </a:lnTo>
                <a:lnTo>
                  <a:pt x="360" y="19"/>
                </a:lnTo>
                <a:lnTo>
                  <a:pt x="361" y="15"/>
                </a:lnTo>
                <a:lnTo>
                  <a:pt x="360" y="12"/>
                </a:lnTo>
                <a:lnTo>
                  <a:pt x="360" y="9"/>
                </a:lnTo>
                <a:lnTo>
                  <a:pt x="358" y="7"/>
                </a:lnTo>
                <a:lnTo>
                  <a:pt x="356" y="5"/>
                </a:lnTo>
                <a:lnTo>
                  <a:pt x="353" y="3"/>
                </a:lnTo>
                <a:lnTo>
                  <a:pt x="351" y="1"/>
                </a:lnTo>
                <a:lnTo>
                  <a:pt x="348" y="0"/>
                </a:lnTo>
                <a:lnTo>
                  <a:pt x="346" y="0"/>
                </a:lnTo>
                <a:lnTo>
                  <a:pt x="105" y="0"/>
                </a:lnTo>
                <a:lnTo>
                  <a:pt x="102" y="0"/>
                </a:lnTo>
                <a:lnTo>
                  <a:pt x="100" y="1"/>
                </a:lnTo>
                <a:lnTo>
                  <a:pt x="96" y="3"/>
                </a:lnTo>
                <a:lnTo>
                  <a:pt x="94" y="5"/>
                </a:lnTo>
                <a:lnTo>
                  <a:pt x="93" y="7"/>
                </a:lnTo>
                <a:lnTo>
                  <a:pt x="91" y="9"/>
                </a:lnTo>
                <a:lnTo>
                  <a:pt x="91" y="12"/>
                </a:lnTo>
                <a:lnTo>
                  <a:pt x="90" y="15"/>
                </a:lnTo>
                <a:lnTo>
                  <a:pt x="91" y="19"/>
                </a:lnTo>
                <a:lnTo>
                  <a:pt x="91" y="21"/>
                </a:lnTo>
                <a:lnTo>
                  <a:pt x="93" y="24"/>
                </a:lnTo>
                <a:lnTo>
                  <a:pt x="94" y="26"/>
                </a:lnTo>
                <a:lnTo>
                  <a:pt x="96" y="27"/>
                </a:lnTo>
                <a:lnTo>
                  <a:pt x="100" y="29"/>
                </a:lnTo>
                <a:lnTo>
                  <a:pt x="102" y="29"/>
                </a:lnTo>
                <a:lnTo>
                  <a:pt x="105" y="30"/>
                </a:lnTo>
                <a:lnTo>
                  <a:pt x="150" y="30"/>
                </a:lnTo>
                <a:lnTo>
                  <a:pt x="150" y="180"/>
                </a:lnTo>
                <a:lnTo>
                  <a:pt x="15" y="180"/>
                </a:lnTo>
                <a:lnTo>
                  <a:pt x="12" y="180"/>
                </a:lnTo>
                <a:lnTo>
                  <a:pt x="10" y="181"/>
                </a:lnTo>
                <a:lnTo>
                  <a:pt x="7" y="182"/>
                </a:lnTo>
                <a:lnTo>
                  <a:pt x="4" y="184"/>
                </a:lnTo>
                <a:lnTo>
                  <a:pt x="3" y="187"/>
                </a:lnTo>
                <a:lnTo>
                  <a:pt x="1" y="190"/>
                </a:lnTo>
                <a:lnTo>
                  <a:pt x="0" y="192"/>
                </a:lnTo>
                <a:lnTo>
                  <a:pt x="0" y="195"/>
                </a:lnTo>
                <a:lnTo>
                  <a:pt x="0" y="198"/>
                </a:lnTo>
                <a:lnTo>
                  <a:pt x="1" y="202"/>
                </a:lnTo>
                <a:lnTo>
                  <a:pt x="3" y="204"/>
                </a:lnTo>
                <a:lnTo>
                  <a:pt x="4" y="206"/>
                </a:lnTo>
                <a:lnTo>
                  <a:pt x="7" y="208"/>
                </a:lnTo>
                <a:lnTo>
                  <a:pt x="10" y="209"/>
                </a:lnTo>
                <a:lnTo>
                  <a:pt x="12" y="210"/>
                </a:lnTo>
                <a:lnTo>
                  <a:pt x="15" y="210"/>
                </a:lnTo>
                <a:lnTo>
                  <a:pt x="90" y="210"/>
                </a:lnTo>
                <a:lnTo>
                  <a:pt x="90" y="615"/>
                </a:lnTo>
                <a:lnTo>
                  <a:pt x="91" y="628"/>
                </a:lnTo>
                <a:lnTo>
                  <a:pt x="92" y="641"/>
                </a:lnTo>
                <a:lnTo>
                  <a:pt x="95" y="653"/>
                </a:lnTo>
                <a:lnTo>
                  <a:pt x="100" y="665"/>
                </a:lnTo>
                <a:lnTo>
                  <a:pt x="105" y="676"/>
                </a:lnTo>
                <a:lnTo>
                  <a:pt x="110" y="687"/>
                </a:lnTo>
                <a:lnTo>
                  <a:pt x="118" y="697"/>
                </a:lnTo>
                <a:lnTo>
                  <a:pt x="125" y="706"/>
                </a:lnTo>
                <a:lnTo>
                  <a:pt x="134" y="715"/>
                </a:lnTo>
                <a:lnTo>
                  <a:pt x="142" y="722"/>
                </a:lnTo>
                <a:lnTo>
                  <a:pt x="153" y="730"/>
                </a:lnTo>
                <a:lnTo>
                  <a:pt x="163" y="735"/>
                </a:lnTo>
                <a:lnTo>
                  <a:pt x="175" y="741"/>
                </a:lnTo>
                <a:lnTo>
                  <a:pt x="186" y="745"/>
                </a:lnTo>
                <a:lnTo>
                  <a:pt x="198" y="748"/>
                </a:lnTo>
                <a:lnTo>
                  <a:pt x="210" y="750"/>
                </a:lnTo>
                <a:lnTo>
                  <a:pt x="210" y="885"/>
                </a:lnTo>
                <a:lnTo>
                  <a:pt x="211" y="888"/>
                </a:lnTo>
                <a:lnTo>
                  <a:pt x="212" y="891"/>
                </a:lnTo>
                <a:lnTo>
                  <a:pt x="213" y="894"/>
                </a:lnTo>
                <a:lnTo>
                  <a:pt x="215" y="896"/>
                </a:lnTo>
                <a:lnTo>
                  <a:pt x="217" y="898"/>
                </a:lnTo>
                <a:lnTo>
                  <a:pt x="219" y="899"/>
                </a:lnTo>
                <a:lnTo>
                  <a:pt x="223" y="900"/>
                </a:lnTo>
                <a:lnTo>
                  <a:pt x="225" y="900"/>
                </a:lnTo>
                <a:lnTo>
                  <a:pt x="228" y="900"/>
                </a:lnTo>
                <a:lnTo>
                  <a:pt x="231" y="899"/>
                </a:lnTo>
                <a:lnTo>
                  <a:pt x="233" y="898"/>
                </a:lnTo>
                <a:lnTo>
                  <a:pt x="236" y="896"/>
                </a:lnTo>
                <a:lnTo>
                  <a:pt x="238" y="894"/>
                </a:lnTo>
                <a:lnTo>
                  <a:pt x="239" y="891"/>
                </a:lnTo>
                <a:lnTo>
                  <a:pt x="240" y="888"/>
                </a:lnTo>
                <a:lnTo>
                  <a:pt x="240" y="885"/>
                </a:lnTo>
                <a:lnTo>
                  <a:pt x="240" y="750"/>
                </a:lnTo>
                <a:lnTo>
                  <a:pt x="253" y="748"/>
                </a:lnTo>
                <a:lnTo>
                  <a:pt x="264" y="745"/>
                </a:lnTo>
                <a:lnTo>
                  <a:pt x="276" y="741"/>
                </a:lnTo>
                <a:lnTo>
                  <a:pt x="288" y="735"/>
                </a:lnTo>
                <a:lnTo>
                  <a:pt x="298" y="730"/>
                </a:lnTo>
                <a:lnTo>
                  <a:pt x="308" y="722"/>
                </a:lnTo>
                <a:lnTo>
                  <a:pt x="317" y="715"/>
                </a:lnTo>
                <a:lnTo>
                  <a:pt x="325" y="706"/>
                </a:lnTo>
                <a:lnTo>
                  <a:pt x="333" y="697"/>
                </a:lnTo>
                <a:lnTo>
                  <a:pt x="340" y="687"/>
                </a:lnTo>
                <a:lnTo>
                  <a:pt x="346" y="676"/>
                </a:lnTo>
                <a:lnTo>
                  <a:pt x="351" y="665"/>
                </a:lnTo>
                <a:lnTo>
                  <a:pt x="355" y="653"/>
                </a:lnTo>
                <a:lnTo>
                  <a:pt x="358" y="641"/>
                </a:lnTo>
                <a:lnTo>
                  <a:pt x="360" y="628"/>
                </a:lnTo>
                <a:lnTo>
                  <a:pt x="361" y="615"/>
                </a:lnTo>
                <a:lnTo>
                  <a:pt x="361" y="210"/>
                </a:lnTo>
                <a:lnTo>
                  <a:pt x="436" y="210"/>
                </a:lnTo>
                <a:lnTo>
                  <a:pt x="439" y="210"/>
                </a:lnTo>
                <a:lnTo>
                  <a:pt x="441" y="209"/>
                </a:lnTo>
                <a:lnTo>
                  <a:pt x="444" y="208"/>
                </a:lnTo>
                <a:lnTo>
                  <a:pt x="446" y="206"/>
                </a:lnTo>
                <a:lnTo>
                  <a:pt x="447" y="204"/>
                </a:lnTo>
                <a:lnTo>
                  <a:pt x="450" y="202"/>
                </a:lnTo>
                <a:lnTo>
                  <a:pt x="450" y="198"/>
                </a:lnTo>
                <a:lnTo>
                  <a:pt x="451" y="195"/>
                </a:lnTo>
                <a:lnTo>
                  <a:pt x="450" y="192"/>
                </a:lnTo>
                <a:lnTo>
                  <a:pt x="450" y="190"/>
                </a:lnTo>
                <a:lnTo>
                  <a:pt x="447" y="187"/>
                </a:lnTo>
                <a:lnTo>
                  <a:pt x="446" y="184"/>
                </a:lnTo>
                <a:lnTo>
                  <a:pt x="444" y="182"/>
                </a:lnTo>
                <a:lnTo>
                  <a:pt x="441" y="181"/>
                </a:lnTo>
                <a:lnTo>
                  <a:pt x="439" y="180"/>
                </a:lnTo>
                <a:lnTo>
                  <a:pt x="436" y="18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67" name="Group 42">
            <a:extLst>
              <a:ext uri="{FF2B5EF4-FFF2-40B4-BE49-F238E27FC236}">
                <a16:creationId xmlns:a16="http://schemas.microsoft.com/office/drawing/2014/main" id="{2DF83CD1-306D-40E6-BEF1-ADB48A4500DE}"/>
              </a:ext>
            </a:extLst>
          </p:cNvPr>
          <p:cNvGrpSpPr>
            <a:grpSpLocks noChangeAspect="1"/>
          </p:cNvGrpSpPr>
          <p:nvPr/>
        </p:nvGrpSpPr>
        <p:grpSpPr>
          <a:xfrm>
            <a:off x="276818" y="2714172"/>
            <a:ext cx="298342" cy="360000"/>
            <a:chOff x="9915526" y="1917700"/>
            <a:chExt cx="238125" cy="287338"/>
          </a:xfrm>
          <a:solidFill>
            <a:schemeClr val="bg2"/>
          </a:solidFill>
          <a:effectLst/>
        </p:grpSpPr>
        <p:sp>
          <p:nvSpPr>
            <p:cNvPr id="1068" name="Freeform 358">
              <a:extLst>
                <a:ext uri="{FF2B5EF4-FFF2-40B4-BE49-F238E27FC236}">
                  <a16:creationId xmlns:a16="http://schemas.microsoft.com/office/drawing/2014/main" id="{46E42667-B914-41EA-A8BE-459334382082}"/>
                </a:ext>
              </a:extLst>
            </p:cNvPr>
            <p:cNvSpPr>
              <a:spLocks noEditPoints="1"/>
            </p:cNvSpPr>
            <p:nvPr/>
          </p:nvSpPr>
          <p:spPr bwMode="auto">
            <a:xfrm>
              <a:off x="9929813" y="1917700"/>
              <a:ext cx="204788" cy="190500"/>
            </a:xfrm>
            <a:custGeom>
              <a:avLst/>
              <a:gdLst>
                <a:gd name="T0" fmla="*/ 315 w 647"/>
                <a:gd name="T1" fmla="*/ 85 h 602"/>
                <a:gd name="T2" fmla="*/ 87 w 647"/>
                <a:gd name="T3" fmla="*/ 602 h 602"/>
                <a:gd name="T4" fmla="*/ 97 w 647"/>
                <a:gd name="T5" fmla="*/ 600 h 602"/>
                <a:gd name="T6" fmla="*/ 105 w 647"/>
                <a:gd name="T7" fmla="*/ 590 h 602"/>
                <a:gd name="T8" fmla="*/ 104 w 647"/>
                <a:gd name="T9" fmla="*/ 581 h 602"/>
                <a:gd name="T10" fmla="*/ 98 w 647"/>
                <a:gd name="T11" fmla="*/ 574 h 602"/>
                <a:gd name="T12" fmla="*/ 83 w 647"/>
                <a:gd name="T13" fmla="*/ 566 h 602"/>
                <a:gd name="T14" fmla="*/ 62 w 647"/>
                <a:gd name="T15" fmla="*/ 547 h 602"/>
                <a:gd name="T16" fmla="*/ 38 w 647"/>
                <a:gd name="T17" fmla="*/ 508 h 602"/>
                <a:gd name="T18" fmla="*/ 614 w 647"/>
                <a:gd name="T19" fmla="*/ 482 h 602"/>
                <a:gd name="T20" fmla="*/ 598 w 647"/>
                <a:gd name="T21" fmla="*/ 521 h 602"/>
                <a:gd name="T22" fmla="*/ 570 w 647"/>
                <a:gd name="T23" fmla="*/ 558 h 602"/>
                <a:gd name="T24" fmla="*/ 547 w 647"/>
                <a:gd name="T25" fmla="*/ 575 h 602"/>
                <a:gd name="T26" fmla="*/ 542 w 647"/>
                <a:gd name="T27" fmla="*/ 582 h 602"/>
                <a:gd name="T28" fmla="*/ 541 w 647"/>
                <a:gd name="T29" fmla="*/ 591 h 602"/>
                <a:gd name="T30" fmla="*/ 547 w 647"/>
                <a:gd name="T31" fmla="*/ 598 h 602"/>
                <a:gd name="T32" fmla="*/ 554 w 647"/>
                <a:gd name="T33" fmla="*/ 602 h 602"/>
                <a:gd name="T34" fmla="*/ 563 w 647"/>
                <a:gd name="T35" fmla="*/ 601 h 602"/>
                <a:gd name="T36" fmla="*/ 586 w 647"/>
                <a:gd name="T37" fmla="*/ 585 h 602"/>
                <a:gd name="T38" fmla="*/ 608 w 647"/>
                <a:gd name="T39" fmla="*/ 561 h 602"/>
                <a:gd name="T40" fmla="*/ 626 w 647"/>
                <a:gd name="T41" fmla="*/ 533 h 602"/>
                <a:gd name="T42" fmla="*/ 639 w 647"/>
                <a:gd name="T43" fmla="*/ 504 h 602"/>
                <a:gd name="T44" fmla="*/ 647 w 647"/>
                <a:gd name="T45" fmla="*/ 475 h 602"/>
                <a:gd name="T46" fmla="*/ 645 w 647"/>
                <a:gd name="T47" fmla="*/ 460 h 602"/>
                <a:gd name="T48" fmla="*/ 640 w 647"/>
                <a:gd name="T49" fmla="*/ 454 h 602"/>
                <a:gd name="T50" fmla="*/ 632 w 647"/>
                <a:gd name="T51" fmla="*/ 451 h 602"/>
                <a:gd name="T52" fmla="*/ 586 w 647"/>
                <a:gd name="T53" fmla="*/ 391 h 602"/>
                <a:gd name="T54" fmla="*/ 616 w 647"/>
                <a:gd name="T55" fmla="*/ 391 h 602"/>
                <a:gd name="T56" fmla="*/ 625 w 647"/>
                <a:gd name="T57" fmla="*/ 388 h 602"/>
                <a:gd name="T58" fmla="*/ 630 w 647"/>
                <a:gd name="T59" fmla="*/ 382 h 602"/>
                <a:gd name="T60" fmla="*/ 632 w 647"/>
                <a:gd name="T61" fmla="*/ 373 h 602"/>
                <a:gd name="T62" fmla="*/ 627 w 647"/>
                <a:gd name="T63" fmla="*/ 366 h 602"/>
                <a:gd name="T64" fmla="*/ 620 w 647"/>
                <a:gd name="T65" fmla="*/ 361 h 602"/>
                <a:gd name="T66" fmla="*/ 315 w 647"/>
                <a:gd name="T67" fmla="*/ 39 h 602"/>
                <a:gd name="T68" fmla="*/ 314 w 647"/>
                <a:gd name="T69" fmla="*/ 8 h 602"/>
                <a:gd name="T70" fmla="*/ 309 w 647"/>
                <a:gd name="T71" fmla="*/ 2 h 602"/>
                <a:gd name="T72" fmla="*/ 300 w 647"/>
                <a:gd name="T73" fmla="*/ 0 h 602"/>
                <a:gd name="T74" fmla="*/ 292 w 647"/>
                <a:gd name="T75" fmla="*/ 2 h 602"/>
                <a:gd name="T76" fmla="*/ 286 w 647"/>
                <a:gd name="T77" fmla="*/ 8 h 602"/>
                <a:gd name="T78" fmla="*/ 285 w 647"/>
                <a:gd name="T79" fmla="*/ 45 h 602"/>
                <a:gd name="T80" fmla="*/ 15 w 647"/>
                <a:gd name="T81" fmla="*/ 451 h 602"/>
                <a:gd name="T82" fmla="*/ 6 w 647"/>
                <a:gd name="T83" fmla="*/ 454 h 602"/>
                <a:gd name="T84" fmla="*/ 1 w 647"/>
                <a:gd name="T85" fmla="*/ 460 h 602"/>
                <a:gd name="T86" fmla="*/ 0 w 647"/>
                <a:gd name="T87" fmla="*/ 475 h 602"/>
                <a:gd name="T88" fmla="*/ 5 w 647"/>
                <a:gd name="T89" fmla="*/ 504 h 602"/>
                <a:gd name="T90" fmla="*/ 17 w 647"/>
                <a:gd name="T91" fmla="*/ 534 h 602"/>
                <a:gd name="T92" fmla="*/ 35 w 647"/>
                <a:gd name="T93" fmla="*/ 561 h 602"/>
                <a:gd name="T94" fmla="*/ 58 w 647"/>
                <a:gd name="T95" fmla="*/ 585 h 602"/>
                <a:gd name="T96" fmla="*/ 83 w 647"/>
                <a:gd name="T97" fmla="*/ 60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7" h="602">
                  <a:moveTo>
                    <a:pt x="553" y="361"/>
                  </a:moveTo>
                  <a:lnTo>
                    <a:pt x="315" y="361"/>
                  </a:lnTo>
                  <a:lnTo>
                    <a:pt x="315" y="85"/>
                  </a:lnTo>
                  <a:lnTo>
                    <a:pt x="553" y="361"/>
                  </a:lnTo>
                  <a:close/>
                  <a:moveTo>
                    <a:pt x="83" y="601"/>
                  </a:moveTo>
                  <a:lnTo>
                    <a:pt x="87" y="602"/>
                  </a:lnTo>
                  <a:lnTo>
                    <a:pt x="90" y="602"/>
                  </a:lnTo>
                  <a:lnTo>
                    <a:pt x="94" y="602"/>
                  </a:lnTo>
                  <a:lnTo>
                    <a:pt x="97" y="600"/>
                  </a:lnTo>
                  <a:lnTo>
                    <a:pt x="101" y="596"/>
                  </a:lnTo>
                  <a:lnTo>
                    <a:pt x="104" y="593"/>
                  </a:lnTo>
                  <a:lnTo>
                    <a:pt x="105" y="590"/>
                  </a:lnTo>
                  <a:lnTo>
                    <a:pt x="105" y="587"/>
                  </a:lnTo>
                  <a:lnTo>
                    <a:pt x="105" y="583"/>
                  </a:lnTo>
                  <a:lnTo>
                    <a:pt x="104" y="581"/>
                  </a:lnTo>
                  <a:lnTo>
                    <a:pt x="103" y="578"/>
                  </a:lnTo>
                  <a:lnTo>
                    <a:pt x="101" y="576"/>
                  </a:lnTo>
                  <a:lnTo>
                    <a:pt x="98" y="574"/>
                  </a:lnTo>
                  <a:lnTo>
                    <a:pt x="95" y="573"/>
                  </a:lnTo>
                  <a:lnTo>
                    <a:pt x="90" y="570"/>
                  </a:lnTo>
                  <a:lnTo>
                    <a:pt x="83" y="566"/>
                  </a:lnTo>
                  <a:lnTo>
                    <a:pt x="78" y="562"/>
                  </a:lnTo>
                  <a:lnTo>
                    <a:pt x="73" y="558"/>
                  </a:lnTo>
                  <a:lnTo>
                    <a:pt x="62" y="547"/>
                  </a:lnTo>
                  <a:lnTo>
                    <a:pt x="53" y="535"/>
                  </a:lnTo>
                  <a:lnTo>
                    <a:pt x="45" y="522"/>
                  </a:lnTo>
                  <a:lnTo>
                    <a:pt x="38" y="508"/>
                  </a:lnTo>
                  <a:lnTo>
                    <a:pt x="34" y="494"/>
                  </a:lnTo>
                  <a:lnTo>
                    <a:pt x="31" y="482"/>
                  </a:lnTo>
                  <a:lnTo>
                    <a:pt x="614" y="482"/>
                  </a:lnTo>
                  <a:lnTo>
                    <a:pt x="611" y="494"/>
                  </a:lnTo>
                  <a:lnTo>
                    <a:pt x="606" y="507"/>
                  </a:lnTo>
                  <a:lnTo>
                    <a:pt x="598" y="521"/>
                  </a:lnTo>
                  <a:lnTo>
                    <a:pt x="590" y="534"/>
                  </a:lnTo>
                  <a:lnTo>
                    <a:pt x="581" y="546"/>
                  </a:lnTo>
                  <a:lnTo>
                    <a:pt x="570" y="558"/>
                  </a:lnTo>
                  <a:lnTo>
                    <a:pt x="561" y="566"/>
                  </a:lnTo>
                  <a:lnTo>
                    <a:pt x="550" y="573"/>
                  </a:lnTo>
                  <a:lnTo>
                    <a:pt x="547" y="575"/>
                  </a:lnTo>
                  <a:lnTo>
                    <a:pt x="545" y="577"/>
                  </a:lnTo>
                  <a:lnTo>
                    <a:pt x="544" y="579"/>
                  </a:lnTo>
                  <a:lnTo>
                    <a:pt x="542" y="582"/>
                  </a:lnTo>
                  <a:lnTo>
                    <a:pt x="541" y="585"/>
                  </a:lnTo>
                  <a:lnTo>
                    <a:pt x="541" y="588"/>
                  </a:lnTo>
                  <a:lnTo>
                    <a:pt x="541" y="591"/>
                  </a:lnTo>
                  <a:lnTo>
                    <a:pt x="542" y="593"/>
                  </a:lnTo>
                  <a:lnTo>
                    <a:pt x="545" y="596"/>
                  </a:lnTo>
                  <a:lnTo>
                    <a:pt x="547" y="598"/>
                  </a:lnTo>
                  <a:lnTo>
                    <a:pt x="549" y="600"/>
                  </a:lnTo>
                  <a:lnTo>
                    <a:pt x="551" y="601"/>
                  </a:lnTo>
                  <a:lnTo>
                    <a:pt x="554" y="602"/>
                  </a:lnTo>
                  <a:lnTo>
                    <a:pt x="558" y="602"/>
                  </a:lnTo>
                  <a:lnTo>
                    <a:pt x="560" y="602"/>
                  </a:lnTo>
                  <a:lnTo>
                    <a:pt x="563" y="601"/>
                  </a:lnTo>
                  <a:lnTo>
                    <a:pt x="570" y="595"/>
                  </a:lnTo>
                  <a:lnTo>
                    <a:pt x="579" y="590"/>
                  </a:lnTo>
                  <a:lnTo>
                    <a:pt x="586" y="585"/>
                  </a:lnTo>
                  <a:lnTo>
                    <a:pt x="594" y="577"/>
                  </a:lnTo>
                  <a:lnTo>
                    <a:pt x="600" y="570"/>
                  </a:lnTo>
                  <a:lnTo>
                    <a:pt x="608" y="561"/>
                  </a:lnTo>
                  <a:lnTo>
                    <a:pt x="614" y="552"/>
                  </a:lnTo>
                  <a:lnTo>
                    <a:pt x="621" y="543"/>
                  </a:lnTo>
                  <a:lnTo>
                    <a:pt x="626" y="533"/>
                  </a:lnTo>
                  <a:lnTo>
                    <a:pt x="632" y="523"/>
                  </a:lnTo>
                  <a:lnTo>
                    <a:pt x="636" y="514"/>
                  </a:lnTo>
                  <a:lnTo>
                    <a:pt x="639" y="504"/>
                  </a:lnTo>
                  <a:lnTo>
                    <a:pt x="642" y="493"/>
                  </a:lnTo>
                  <a:lnTo>
                    <a:pt x="644" y="485"/>
                  </a:lnTo>
                  <a:lnTo>
                    <a:pt x="647" y="475"/>
                  </a:lnTo>
                  <a:lnTo>
                    <a:pt x="647" y="467"/>
                  </a:lnTo>
                  <a:lnTo>
                    <a:pt x="647" y="463"/>
                  </a:lnTo>
                  <a:lnTo>
                    <a:pt x="645" y="460"/>
                  </a:lnTo>
                  <a:lnTo>
                    <a:pt x="644" y="458"/>
                  </a:lnTo>
                  <a:lnTo>
                    <a:pt x="642" y="456"/>
                  </a:lnTo>
                  <a:lnTo>
                    <a:pt x="640" y="454"/>
                  </a:lnTo>
                  <a:lnTo>
                    <a:pt x="637" y="453"/>
                  </a:lnTo>
                  <a:lnTo>
                    <a:pt x="635" y="451"/>
                  </a:lnTo>
                  <a:lnTo>
                    <a:pt x="632" y="451"/>
                  </a:lnTo>
                  <a:lnTo>
                    <a:pt x="315" y="451"/>
                  </a:lnTo>
                  <a:lnTo>
                    <a:pt x="315" y="391"/>
                  </a:lnTo>
                  <a:lnTo>
                    <a:pt x="586" y="391"/>
                  </a:lnTo>
                  <a:lnTo>
                    <a:pt x="586" y="391"/>
                  </a:lnTo>
                  <a:lnTo>
                    <a:pt x="586" y="391"/>
                  </a:lnTo>
                  <a:lnTo>
                    <a:pt x="616" y="391"/>
                  </a:lnTo>
                  <a:lnTo>
                    <a:pt x="620" y="390"/>
                  </a:lnTo>
                  <a:lnTo>
                    <a:pt x="622" y="389"/>
                  </a:lnTo>
                  <a:lnTo>
                    <a:pt x="625" y="388"/>
                  </a:lnTo>
                  <a:lnTo>
                    <a:pt x="627" y="386"/>
                  </a:lnTo>
                  <a:lnTo>
                    <a:pt x="629" y="384"/>
                  </a:lnTo>
                  <a:lnTo>
                    <a:pt x="630" y="382"/>
                  </a:lnTo>
                  <a:lnTo>
                    <a:pt x="632" y="379"/>
                  </a:lnTo>
                  <a:lnTo>
                    <a:pt x="632" y="376"/>
                  </a:lnTo>
                  <a:lnTo>
                    <a:pt x="632" y="373"/>
                  </a:lnTo>
                  <a:lnTo>
                    <a:pt x="630" y="370"/>
                  </a:lnTo>
                  <a:lnTo>
                    <a:pt x="629" y="368"/>
                  </a:lnTo>
                  <a:lnTo>
                    <a:pt x="627" y="366"/>
                  </a:lnTo>
                  <a:lnTo>
                    <a:pt x="625" y="364"/>
                  </a:lnTo>
                  <a:lnTo>
                    <a:pt x="622" y="362"/>
                  </a:lnTo>
                  <a:lnTo>
                    <a:pt x="620" y="361"/>
                  </a:lnTo>
                  <a:lnTo>
                    <a:pt x="616" y="361"/>
                  </a:lnTo>
                  <a:lnTo>
                    <a:pt x="593" y="361"/>
                  </a:lnTo>
                  <a:lnTo>
                    <a:pt x="315" y="39"/>
                  </a:lnTo>
                  <a:lnTo>
                    <a:pt x="315" y="15"/>
                  </a:lnTo>
                  <a:lnTo>
                    <a:pt x="315" y="12"/>
                  </a:lnTo>
                  <a:lnTo>
                    <a:pt x="314" y="8"/>
                  </a:lnTo>
                  <a:lnTo>
                    <a:pt x="313" y="6"/>
                  </a:lnTo>
                  <a:lnTo>
                    <a:pt x="311" y="4"/>
                  </a:lnTo>
                  <a:lnTo>
                    <a:pt x="309" y="2"/>
                  </a:lnTo>
                  <a:lnTo>
                    <a:pt x="307" y="1"/>
                  </a:lnTo>
                  <a:lnTo>
                    <a:pt x="303" y="0"/>
                  </a:lnTo>
                  <a:lnTo>
                    <a:pt x="300" y="0"/>
                  </a:lnTo>
                  <a:lnTo>
                    <a:pt x="297" y="0"/>
                  </a:lnTo>
                  <a:lnTo>
                    <a:pt x="295" y="1"/>
                  </a:lnTo>
                  <a:lnTo>
                    <a:pt x="292" y="2"/>
                  </a:lnTo>
                  <a:lnTo>
                    <a:pt x="289" y="4"/>
                  </a:lnTo>
                  <a:lnTo>
                    <a:pt x="288" y="6"/>
                  </a:lnTo>
                  <a:lnTo>
                    <a:pt x="286" y="8"/>
                  </a:lnTo>
                  <a:lnTo>
                    <a:pt x="286" y="12"/>
                  </a:lnTo>
                  <a:lnTo>
                    <a:pt x="285" y="15"/>
                  </a:lnTo>
                  <a:lnTo>
                    <a:pt x="285" y="45"/>
                  </a:lnTo>
                  <a:lnTo>
                    <a:pt x="285" y="376"/>
                  </a:lnTo>
                  <a:lnTo>
                    <a:pt x="285" y="451"/>
                  </a:lnTo>
                  <a:lnTo>
                    <a:pt x="15" y="451"/>
                  </a:lnTo>
                  <a:lnTo>
                    <a:pt x="12" y="451"/>
                  </a:lnTo>
                  <a:lnTo>
                    <a:pt x="8" y="453"/>
                  </a:lnTo>
                  <a:lnTo>
                    <a:pt x="6" y="454"/>
                  </a:lnTo>
                  <a:lnTo>
                    <a:pt x="4" y="456"/>
                  </a:lnTo>
                  <a:lnTo>
                    <a:pt x="2" y="458"/>
                  </a:lnTo>
                  <a:lnTo>
                    <a:pt x="1" y="460"/>
                  </a:lnTo>
                  <a:lnTo>
                    <a:pt x="0" y="463"/>
                  </a:lnTo>
                  <a:lnTo>
                    <a:pt x="0" y="467"/>
                  </a:lnTo>
                  <a:lnTo>
                    <a:pt x="0" y="475"/>
                  </a:lnTo>
                  <a:lnTo>
                    <a:pt x="1" y="485"/>
                  </a:lnTo>
                  <a:lnTo>
                    <a:pt x="3" y="494"/>
                  </a:lnTo>
                  <a:lnTo>
                    <a:pt x="5" y="504"/>
                  </a:lnTo>
                  <a:lnTo>
                    <a:pt x="8" y="514"/>
                  </a:lnTo>
                  <a:lnTo>
                    <a:pt x="13" y="524"/>
                  </a:lnTo>
                  <a:lnTo>
                    <a:pt x="17" y="534"/>
                  </a:lnTo>
                  <a:lnTo>
                    <a:pt x="22" y="544"/>
                  </a:lnTo>
                  <a:lnTo>
                    <a:pt x="29" y="552"/>
                  </a:lnTo>
                  <a:lnTo>
                    <a:pt x="35" y="561"/>
                  </a:lnTo>
                  <a:lnTo>
                    <a:pt x="42" y="570"/>
                  </a:lnTo>
                  <a:lnTo>
                    <a:pt x="49" y="577"/>
                  </a:lnTo>
                  <a:lnTo>
                    <a:pt x="58" y="585"/>
                  </a:lnTo>
                  <a:lnTo>
                    <a:pt x="65" y="591"/>
                  </a:lnTo>
                  <a:lnTo>
                    <a:pt x="75" y="596"/>
                  </a:lnTo>
                  <a:lnTo>
                    <a:pt x="83" y="6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359">
              <a:extLst>
                <a:ext uri="{FF2B5EF4-FFF2-40B4-BE49-F238E27FC236}">
                  <a16:creationId xmlns:a16="http://schemas.microsoft.com/office/drawing/2014/main" id="{ED8C25EF-2E75-4760-A229-3D795FC5D9ED}"/>
                </a:ext>
              </a:extLst>
            </p:cNvPr>
            <p:cNvSpPr>
              <a:spLocks/>
            </p:cNvSpPr>
            <p:nvPr/>
          </p:nvSpPr>
          <p:spPr bwMode="auto">
            <a:xfrm>
              <a:off x="9915526" y="2127250"/>
              <a:ext cx="238125" cy="28575"/>
            </a:xfrm>
            <a:custGeom>
              <a:avLst/>
              <a:gdLst>
                <a:gd name="T0" fmla="*/ 57 w 753"/>
                <a:gd name="T1" fmla="*/ 78 h 90"/>
                <a:gd name="T2" fmla="*/ 94 w 753"/>
                <a:gd name="T3" fmla="*/ 78 h 90"/>
                <a:gd name="T4" fmla="*/ 144 w 753"/>
                <a:gd name="T5" fmla="*/ 90 h 90"/>
                <a:gd name="T6" fmla="*/ 191 w 753"/>
                <a:gd name="T7" fmla="*/ 66 h 90"/>
                <a:gd name="T8" fmla="*/ 230 w 753"/>
                <a:gd name="T9" fmla="*/ 86 h 90"/>
                <a:gd name="T10" fmla="*/ 282 w 753"/>
                <a:gd name="T11" fmla="*/ 86 h 90"/>
                <a:gd name="T12" fmla="*/ 321 w 753"/>
                <a:gd name="T13" fmla="*/ 66 h 90"/>
                <a:gd name="T14" fmla="*/ 368 w 753"/>
                <a:gd name="T15" fmla="*/ 90 h 90"/>
                <a:gd name="T16" fmla="*/ 418 w 753"/>
                <a:gd name="T17" fmla="*/ 78 h 90"/>
                <a:gd name="T18" fmla="*/ 456 w 753"/>
                <a:gd name="T19" fmla="*/ 78 h 90"/>
                <a:gd name="T20" fmla="*/ 506 w 753"/>
                <a:gd name="T21" fmla="*/ 90 h 90"/>
                <a:gd name="T22" fmla="*/ 552 w 753"/>
                <a:gd name="T23" fmla="*/ 66 h 90"/>
                <a:gd name="T24" fmla="*/ 591 w 753"/>
                <a:gd name="T25" fmla="*/ 86 h 90"/>
                <a:gd name="T26" fmla="*/ 643 w 753"/>
                <a:gd name="T27" fmla="*/ 86 h 90"/>
                <a:gd name="T28" fmla="*/ 683 w 753"/>
                <a:gd name="T29" fmla="*/ 66 h 90"/>
                <a:gd name="T30" fmla="*/ 729 w 753"/>
                <a:gd name="T31" fmla="*/ 90 h 90"/>
                <a:gd name="T32" fmla="*/ 750 w 753"/>
                <a:gd name="T33" fmla="*/ 83 h 90"/>
                <a:gd name="T34" fmla="*/ 750 w 753"/>
                <a:gd name="T35" fmla="*/ 67 h 90"/>
                <a:gd name="T36" fmla="*/ 729 w 753"/>
                <a:gd name="T37" fmla="*/ 59 h 90"/>
                <a:gd name="T38" fmla="*/ 694 w 753"/>
                <a:gd name="T39" fmla="*/ 24 h 90"/>
                <a:gd name="T40" fmla="*/ 686 w 753"/>
                <a:gd name="T41" fmla="*/ 3 h 90"/>
                <a:gd name="T42" fmla="*/ 669 w 753"/>
                <a:gd name="T43" fmla="*/ 3 h 90"/>
                <a:gd name="T44" fmla="*/ 661 w 753"/>
                <a:gd name="T45" fmla="*/ 24 h 90"/>
                <a:gd name="T46" fmla="*/ 626 w 753"/>
                <a:gd name="T47" fmla="*/ 60 h 90"/>
                <a:gd name="T48" fmla="*/ 580 w 753"/>
                <a:gd name="T49" fmla="*/ 41 h 90"/>
                <a:gd name="T50" fmla="*/ 569 w 753"/>
                <a:gd name="T51" fmla="*/ 6 h 90"/>
                <a:gd name="T52" fmla="*/ 554 w 753"/>
                <a:gd name="T53" fmla="*/ 1 h 90"/>
                <a:gd name="T54" fmla="*/ 542 w 753"/>
                <a:gd name="T55" fmla="*/ 12 h 90"/>
                <a:gd name="T56" fmla="*/ 522 w 753"/>
                <a:gd name="T57" fmla="*/ 52 h 90"/>
                <a:gd name="T58" fmla="*/ 472 w 753"/>
                <a:gd name="T59" fmla="*/ 52 h 90"/>
                <a:gd name="T60" fmla="*/ 451 w 753"/>
                <a:gd name="T61" fmla="*/ 12 h 90"/>
                <a:gd name="T62" fmla="*/ 439 w 753"/>
                <a:gd name="T63" fmla="*/ 1 h 90"/>
                <a:gd name="T64" fmla="*/ 424 w 753"/>
                <a:gd name="T65" fmla="*/ 6 h 90"/>
                <a:gd name="T66" fmla="*/ 414 w 753"/>
                <a:gd name="T67" fmla="*/ 41 h 90"/>
                <a:gd name="T68" fmla="*/ 368 w 753"/>
                <a:gd name="T69" fmla="*/ 59 h 90"/>
                <a:gd name="T70" fmla="*/ 332 w 753"/>
                <a:gd name="T71" fmla="*/ 24 h 90"/>
                <a:gd name="T72" fmla="*/ 325 w 753"/>
                <a:gd name="T73" fmla="*/ 3 h 90"/>
                <a:gd name="T74" fmla="*/ 307 w 753"/>
                <a:gd name="T75" fmla="*/ 3 h 90"/>
                <a:gd name="T76" fmla="*/ 300 w 753"/>
                <a:gd name="T77" fmla="*/ 24 h 90"/>
                <a:gd name="T78" fmla="*/ 265 w 753"/>
                <a:gd name="T79" fmla="*/ 60 h 90"/>
                <a:gd name="T80" fmla="*/ 218 w 753"/>
                <a:gd name="T81" fmla="*/ 41 h 90"/>
                <a:gd name="T82" fmla="*/ 209 w 753"/>
                <a:gd name="T83" fmla="*/ 6 h 90"/>
                <a:gd name="T84" fmla="*/ 193 w 753"/>
                <a:gd name="T85" fmla="*/ 1 h 90"/>
                <a:gd name="T86" fmla="*/ 181 w 753"/>
                <a:gd name="T87" fmla="*/ 12 h 90"/>
                <a:gd name="T88" fmla="*/ 161 w 753"/>
                <a:gd name="T89" fmla="*/ 52 h 90"/>
                <a:gd name="T90" fmla="*/ 110 w 753"/>
                <a:gd name="T91" fmla="*/ 52 h 90"/>
                <a:gd name="T92" fmla="*/ 90 w 753"/>
                <a:gd name="T93" fmla="*/ 12 h 90"/>
                <a:gd name="T94" fmla="*/ 78 w 753"/>
                <a:gd name="T95" fmla="*/ 1 h 90"/>
                <a:gd name="T96" fmla="*/ 63 w 753"/>
                <a:gd name="T97" fmla="*/ 6 h 90"/>
                <a:gd name="T98" fmla="*/ 52 w 753"/>
                <a:gd name="T99" fmla="*/ 41 h 90"/>
                <a:gd name="T100" fmla="*/ 13 w 753"/>
                <a:gd name="T101" fmla="*/ 61 h 90"/>
                <a:gd name="T102" fmla="*/ 1 w 753"/>
                <a:gd name="T103" fmla="*/ 73 h 90"/>
                <a:gd name="T104" fmla="*/ 7 w 753"/>
                <a:gd name="T105"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 h="90">
                  <a:moveTo>
                    <a:pt x="15" y="90"/>
                  </a:moveTo>
                  <a:lnTo>
                    <a:pt x="24" y="90"/>
                  </a:lnTo>
                  <a:lnTo>
                    <a:pt x="33" y="88"/>
                  </a:lnTo>
                  <a:lnTo>
                    <a:pt x="42" y="86"/>
                  </a:lnTo>
                  <a:lnTo>
                    <a:pt x="49" y="82"/>
                  </a:lnTo>
                  <a:lnTo>
                    <a:pt x="57" y="78"/>
                  </a:lnTo>
                  <a:lnTo>
                    <a:pt x="64" y="73"/>
                  </a:lnTo>
                  <a:lnTo>
                    <a:pt x="69" y="66"/>
                  </a:lnTo>
                  <a:lnTo>
                    <a:pt x="76" y="60"/>
                  </a:lnTo>
                  <a:lnTo>
                    <a:pt x="81" y="66"/>
                  </a:lnTo>
                  <a:lnTo>
                    <a:pt x="88" y="73"/>
                  </a:lnTo>
                  <a:lnTo>
                    <a:pt x="94" y="78"/>
                  </a:lnTo>
                  <a:lnTo>
                    <a:pt x="102" y="82"/>
                  </a:lnTo>
                  <a:lnTo>
                    <a:pt x="109" y="86"/>
                  </a:lnTo>
                  <a:lnTo>
                    <a:pt x="118" y="88"/>
                  </a:lnTo>
                  <a:lnTo>
                    <a:pt x="126" y="90"/>
                  </a:lnTo>
                  <a:lnTo>
                    <a:pt x="136" y="90"/>
                  </a:lnTo>
                  <a:lnTo>
                    <a:pt x="144" y="90"/>
                  </a:lnTo>
                  <a:lnTo>
                    <a:pt x="153" y="88"/>
                  </a:lnTo>
                  <a:lnTo>
                    <a:pt x="162" y="86"/>
                  </a:lnTo>
                  <a:lnTo>
                    <a:pt x="170" y="82"/>
                  </a:lnTo>
                  <a:lnTo>
                    <a:pt x="178" y="78"/>
                  </a:lnTo>
                  <a:lnTo>
                    <a:pt x="184" y="73"/>
                  </a:lnTo>
                  <a:lnTo>
                    <a:pt x="191" y="66"/>
                  </a:lnTo>
                  <a:lnTo>
                    <a:pt x="196" y="60"/>
                  </a:lnTo>
                  <a:lnTo>
                    <a:pt x="201" y="66"/>
                  </a:lnTo>
                  <a:lnTo>
                    <a:pt x="208" y="73"/>
                  </a:lnTo>
                  <a:lnTo>
                    <a:pt x="214" y="78"/>
                  </a:lnTo>
                  <a:lnTo>
                    <a:pt x="222" y="82"/>
                  </a:lnTo>
                  <a:lnTo>
                    <a:pt x="230" y="86"/>
                  </a:lnTo>
                  <a:lnTo>
                    <a:pt x="238" y="88"/>
                  </a:lnTo>
                  <a:lnTo>
                    <a:pt x="247" y="90"/>
                  </a:lnTo>
                  <a:lnTo>
                    <a:pt x="256" y="90"/>
                  </a:lnTo>
                  <a:lnTo>
                    <a:pt x="266" y="90"/>
                  </a:lnTo>
                  <a:lnTo>
                    <a:pt x="274" y="88"/>
                  </a:lnTo>
                  <a:lnTo>
                    <a:pt x="282" y="86"/>
                  </a:lnTo>
                  <a:lnTo>
                    <a:pt x="290" y="82"/>
                  </a:lnTo>
                  <a:lnTo>
                    <a:pt x="298" y="78"/>
                  </a:lnTo>
                  <a:lnTo>
                    <a:pt x="304" y="73"/>
                  </a:lnTo>
                  <a:lnTo>
                    <a:pt x="311" y="66"/>
                  </a:lnTo>
                  <a:lnTo>
                    <a:pt x="316" y="60"/>
                  </a:lnTo>
                  <a:lnTo>
                    <a:pt x="321" y="66"/>
                  </a:lnTo>
                  <a:lnTo>
                    <a:pt x="328" y="73"/>
                  </a:lnTo>
                  <a:lnTo>
                    <a:pt x="335" y="78"/>
                  </a:lnTo>
                  <a:lnTo>
                    <a:pt x="342" y="82"/>
                  </a:lnTo>
                  <a:lnTo>
                    <a:pt x="350" y="86"/>
                  </a:lnTo>
                  <a:lnTo>
                    <a:pt x="359" y="88"/>
                  </a:lnTo>
                  <a:lnTo>
                    <a:pt x="368" y="90"/>
                  </a:lnTo>
                  <a:lnTo>
                    <a:pt x="376" y="90"/>
                  </a:lnTo>
                  <a:lnTo>
                    <a:pt x="386" y="90"/>
                  </a:lnTo>
                  <a:lnTo>
                    <a:pt x="394" y="88"/>
                  </a:lnTo>
                  <a:lnTo>
                    <a:pt x="403" y="86"/>
                  </a:lnTo>
                  <a:lnTo>
                    <a:pt x="410" y="82"/>
                  </a:lnTo>
                  <a:lnTo>
                    <a:pt x="418" y="78"/>
                  </a:lnTo>
                  <a:lnTo>
                    <a:pt x="425" y="73"/>
                  </a:lnTo>
                  <a:lnTo>
                    <a:pt x="431" y="66"/>
                  </a:lnTo>
                  <a:lnTo>
                    <a:pt x="436" y="60"/>
                  </a:lnTo>
                  <a:lnTo>
                    <a:pt x="443" y="66"/>
                  </a:lnTo>
                  <a:lnTo>
                    <a:pt x="448" y="73"/>
                  </a:lnTo>
                  <a:lnTo>
                    <a:pt x="456" y="78"/>
                  </a:lnTo>
                  <a:lnTo>
                    <a:pt x="463" y="82"/>
                  </a:lnTo>
                  <a:lnTo>
                    <a:pt x="471" y="86"/>
                  </a:lnTo>
                  <a:lnTo>
                    <a:pt x="479" y="88"/>
                  </a:lnTo>
                  <a:lnTo>
                    <a:pt x="488" y="90"/>
                  </a:lnTo>
                  <a:lnTo>
                    <a:pt x="497" y="90"/>
                  </a:lnTo>
                  <a:lnTo>
                    <a:pt x="506" y="90"/>
                  </a:lnTo>
                  <a:lnTo>
                    <a:pt x="514" y="88"/>
                  </a:lnTo>
                  <a:lnTo>
                    <a:pt x="523" y="86"/>
                  </a:lnTo>
                  <a:lnTo>
                    <a:pt x="531" y="82"/>
                  </a:lnTo>
                  <a:lnTo>
                    <a:pt x="538" y="78"/>
                  </a:lnTo>
                  <a:lnTo>
                    <a:pt x="546" y="73"/>
                  </a:lnTo>
                  <a:lnTo>
                    <a:pt x="552" y="66"/>
                  </a:lnTo>
                  <a:lnTo>
                    <a:pt x="557" y="60"/>
                  </a:lnTo>
                  <a:lnTo>
                    <a:pt x="563" y="66"/>
                  </a:lnTo>
                  <a:lnTo>
                    <a:pt x="569" y="73"/>
                  </a:lnTo>
                  <a:lnTo>
                    <a:pt x="576" y="78"/>
                  </a:lnTo>
                  <a:lnTo>
                    <a:pt x="583" y="82"/>
                  </a:lnTo>
                  <a:lnTo>
                    <a:pt x="591" y="86"/>
                  </a:lnTo>
                  <a:lnTo>
                    <a:pt x="599" y="88"/>
                  </a:lnTo>
                  <a:lnTo>
                    <a:pt x="608" y="90"/>
                  </a:lnTo>
                  <a:lnTo>
                    <a:pt x="617" y="90"/>
                  </a:lnTo>
                  <a:lnTo>
                    <a:pt x="626" y="90"/>
                  </a:lnTo>
                  <a:lnTo>
                    <a:pt x="636" y="88"/>
                  </a:lnTo>
                  <a:lnTo>
                    <a:pt x="643" y="86"/>
                  </a:lnTo>
                  <a:lnTo>
                    <a:pt x="652" y="82"/>
                  </a:lnTo>
                  <a:lnTo>
                    <a:pt x="659" y="78"/>
                  </a:lnTo>
                  <a:lnTo>
                    <a:pt x="666" y="73"/>
                  </a:lnTo>
                  <a:lnTo>
                    <a:pt x="672" y="66"/>
                  </a:lnTo>
                  <a:lnTo>
                    <a:pt x="678" y="60"/>
                  </a:lnTo>
                  <a:lnTo>
                    <a:pt x="683" y="66"/>
                  </a:lnTo>
                  <a:lnTo>
                    <a:pt x="689" y="73"/>
                  </a:lnTo>
                  <a:lnTo>
                    <a:pt x="696" y="78"/>
                  </a:lnTo>
                  <a:lnTo>
                    <a:pt x="703" y="82"/>
                  </a:lnTo>
                  <a:lnTo>
                    <a:pt x="712" y="86"/>
                  </a:lnTo>
                  <a:lnTo>
                    <a:pt x="720" y="88"/>
                  </a:lnTo>
                  <a:lnTo>
                    <a:pt x="729" y="90"/>
                  </a:lnTo>
                  <a:lnTo>
                    <a:pt x="738" y="90"/>
                  </a:lnTo>
                  <a:lnTo>
                    <a:pt x="741" y="90"/>
                  </a:lnTo>
                  <a:lnTo>
                    <a:pt x="744" y="89"/>
                  </a:lnTo>
                  <a:lnTo>
                    <a:pt x="746" y="88"/>
                  </a:lnTo>
                  <a:lnTo>
                    <a:pt x="748" y="86"/>
                  </a:lnTo>
                  <a:lnTo>
                    <a:pt x="750" y="83"/>
                  </a:lnTo>
                  <a:lnTo>
                    <a:pt x="752" y="81"/>
                  </a:lnTo>
                  <a:lnTo>
                    <a:pt x="753" y="78"/>
                  </a:lnTo>
                  <a:lnTo>
                    <a:pt x="753" y="75"/>
                  </a:lnTo>
                  <a:lnTo>
                    <a:pt x="753" y="73"/>
                  </a:lnTo>
                  <a:lnTo>
                    <a:pt x="752" y="70"/>
                  </a:lnTo>
                  <a:lnTo>
                    <a:pt x="750" y="67"/>
                  </a:lnTo>
                  <a:lnTo>
                    <a:pt x="748" y="64"/>
                  </a:lnTo>
                  <a:lnTo>
                    <a:pt x="746" y="63"/>
                  </a:lnTo>
                  <a:lnTo>
                    <a:pt x="744" y="61"/>
                  </a:lnTo>
                  <a:lnTo>
                    <a:pt x="741" y="61"/>
                  </a:lnTo>
                  <a:lnTo>
                    <a:pt x="738" y="60"/>
                  </a:lnTo>
                  <a:lnTo>
                    <a:pt x="729" y="59"/>
                  </a:lnTo>
                  <a:lnTo>
                    <a:pt x="720" y="57"/>
                  </a:lnTo>
                  <a:lnTo>
                    <a:pt x="713" y="52"/>
                  </a:lnTo>
                  <a:lnTo>
                    <a:pt x="705" y="47"/>
                  </a:lnTo>
                  <a:lnTo>
                    <a:pt x="700" y="41"/>
                  </a:lnTo>
                  <a:lnTo>
                    <a:pt x="696" y="33"/>
                  </a:lnTo>
                  <a:lnTo>
                    <a:pt x="694" y="24"/>
                  </a:lnTo>
                  <a:lnTo>
                    <a:pt x="693" y="15"/>
                  </a:lnTo>
                  <a:lnTo>
                    <a:pt x="693" y="12"/>
                  </a:lnTo>
                  <a:lnTo>
                    <a:pt x="691" y="9"/>
                  </a:lnTo>
                  <a:lnTo>
                    <a:pt x="690" y="6"/>
                  </a:lnTo>
                  <a:lnTo>
                    <a:pt x="688" y="4"/>
                  </a:lnTo>
                  <a:lnTo>
                    <a:pt x="686" y="3"/>
                  </a:lnTo>
                  <a:lnTo>
                    <a:pt x="683" y="1"/>
                  </a:lnTo>
                  <a:lnTo>
                    <a:pt x="681" y="1"/>
                  </a:lnTo>
                  <a:lnTo>
                    <a:pt x="678" y="0"/>
                  </a:lnTo>
                  <a:lnTo>
                    <a:pt x="674" y="1"/>
                  </a:lnTo>
                  <a:lnTo>
                    <a:pt x="672" y="1"/>
                  </a:lnTo>
                  <a:lnTo>
                    <a:pt x="669" y="3"/>
                  </a:lnTo>
                  <a:lnTo>
                    <a:pt x="667" y="4"/>
                  </a:lnTo>
                  <a:lnTo>
                    <a:pt x="665" y="6"/>
                  </a:lnTo>
                  <a:lnTo>
                    <a:pt x="664" y="9"/>
                  </a:lnTo>
                  <a:lnTo>
                    <a:pt x="662" y="12"/>
                  </a:lnTo>
                  <a:lnTo>
                    <a:pt x="662" y="15"/>
                  </a:lnTo>
                  <a:lnTo>
                    <a:pt x="661" y="24"/>
                  </a:lnTo>
                  <a:lnTo>
                    <a:pt x="659" y="33"/>
                  </a:lnTo>
                  <a:lnTo>
                    <a:pt x="655" y="41"/>
                  </a:lnTo>
                  <a:lnTo>
                    <a:pt x="650" y="47"/>
                  </a:lnTo>
                  <a:lnTo>
                    <a:pt x="642" y="52"/>
                  </a:lnTo>
                  <a:lnTo>
                    <a:pt x="635" y="57"/>
                  </a:lnTo>
                  <a:lnTo>
                    <a:pt x="626" y="60"/>
                  </a:lnTo>
                  <a:lnTo>
                    <a:pt x="617" y="60"/>
                  </a:lnTo>
                  <a:lnTo>
                    <a:pt x="608" y="59"/>
                  </a:lnTo>
                  <a:lnTo>
                    <a:pt x="600" y="57"/>
                  </a:lnTo>
                  <a:lnTo>
                    <a:pt x="592" y="52"/>
                  </a:lnTo>
                  <a:lnTo>
                    <a:pt x="585" y="47"/>
                  </a:lnTo>
                  <a:lnTo>
                    <a:pt x="580" y="41"/>
                  </a:lnTo>
                  <a:lnTo>
                    <a:pt x="576" y="33"/>
                  </a:lnTo>
                  <a:lnTo>
                    <a:pt x="573" y="24"/>
                  </a:lnTo>
                  <a:lnTo>
                    <a:pt x="572" y="15"/>
                  </a:lnTo>
                  <a:lnTo>
                    <a:pt x="571" y="12"/>
                  </a:lnTo>
                  <a:lnTo>
                    <a:pt x="571" y="9"/>
                  </a:lnTo>
                  <a:lnTo>
                    <a:pt x="569" y="6"/>
                  </a:lnTo>
                  <a:lnTo>
                    <a:pt x="568" y="4"/>
                  </a:lnTo>
                  <a:lnTo>
                    <a:pt x="566" y="3"/>
                  </a:lnTo>
                  <a:lnTo>
                    <a:pt x="563" y="1"/>
                  </a:lnTo>
                  <a:lnTo>
                    <a:pt x="561" y="1"/>
                  </a:lnTo>
                  <a:lnTo>
                    <a:pt x="557" y="0"/>
                  </a:lnTo>
                  <a:lnTo>
                    <a:pt x="554" y="1"/>
                  </a:lnTo>
                  <a:lnTo>
                    <a:pt x="551" y="1"/>
                  </a:lnTo>
                  <a:lnTo>
                    <a:pt x="549" y="3"/>
                  </a:lnTo>
                  <a:lnTo>
                    <a:pt x="547" y="4"/>
                  </a:lnTo>
                  <a:lnTo>
                    <a:pt x="545" y="6"/>
                  </a:lnTo>
                  <a:lnTo>
                    <a:pt x="543" y="9"/>
                  </a:lnTo>
                  <a:lnTo>
                    <a:pt x="542" y="12"/>
                  </a:lnTo>
                  <a:lnTo>
                    <a:pt x="542" y="15"/>
                  </a:lnTo>
                  <a:lnTo>
                    <a:pt x="541" y="24"/>
                  </a:lnTo>
                  <a:lnTo>
                    <a:pt x="538" y="33"/>
                  </a:lnTo>
                  <a:lnTo>
                    <a:pt x="535" y="41"/>
                  </a:lnTo>
                  <a:lnTo>
                    <a:pt x="528" y="47"/>
                  </a:lnTo>
                  <a:lnTo>
                    <a:pt x="522" y="52"/>
                  </a:lnTo>
                  <a:lnTo>
                    <a:pt x="514" y="57"/>
                  </a:lnTo>
                  <a:lnTo>
                    <a:pt x="506" y="60"/>
                  </a:lnTo>
                  <a:lnTo>
                    <a:pt x="497" y="60"/>
                  </a:lnTo>
                  <a:lnTo>
                    <a:pt x="488" y="59"/>
                  </a:lnTo>
                  <a:lnTo>
                    <a:pt x="479" y="57"/>
                  </a:lnTo>
                  <a:lnTo>
                    <a:pt x="472" y="52"/>
                  </a:lnTo>
                  <a:lnTo>
                    <a:pt x="465" y="47"/>
                  </a:lnTo>
                  <a:lnTo>
                    <a:pt x="460" y="41"/>
                  </a:lnTo>
                  <a:lnTo>
                    <a:pt x="456" y="33"/>
                  </a:lnTo>
                  <a:lnTo>
                    <a:pt x="452" y="24"/>
                  </a:lnTo>
                  <a:lnTo>
                    <a:pt x="451" y="15"/>
                  </a:lnTo>
                  <a:lnTo>
                    <a:pt x="451" y="12"/>
                  </a:lnTo>
                  <a:lnTo>
                    <a:pt x="450" y="9"/>
                  </a:lnTo>
                  <a:lnTo>
                    <a:pt x="449" y="6"/>
                  </a:lnTo>
                  <a:lnTo>
                    <a:pt x="447" y="4"/>
                  </a:lnTo>
                  <a:lnTo>
                    <a:pt x="445" y="3"/>
                  </a:lnTo>
                  <a:lnTo>
                    <a:pt x="443" y="1"/>
                  </a:lnTo>
                  <a:lnTo>
                    <a:pt x="439" y="1"/>
                  </a:lnTo>
                  <a:lnTo>
                    <a:pt x="436" y="0"/>
                  </a:lnTo>
                  <a:lnTo>
                    <a:pt x="434" y="1"/>
                  </a:lnTo>
                  <a:lnTo>
                    <a:pt x="431" y="1"/>
                  </a:lnTo>
                  <a:lnTo>
                    <a:pt x="429" y="3"/>
                  </a:lnTo>
                  <a:lnTo>
                    <a:pt x="427" y="4"/>
                  </a:lnTo>
                  <a:lnTo>
                    <a:pt x="424" y="6"/>
                  </a:lnTo>
                  <a:lnTo>
                    <a:pt x="423" y="9"/>
                  </a:lnTo>
                  <a:lnTo>
                    <a:pt x="422" y="12"/>
                  </a:lnTo>
                  <a:lnTo>
                    <a:pt x="421" y="15"/>
                  </a:lnTo>
                  <a:lnTo>
                    <a:pt x="421" y="24"/>
                  </a:lnTo>
                  <a:lnTo>
                    <a:pt x="418" y="33"/>
                  </a:lnTo>
                  <a:lnTo>
                    <a:pt x="414" y="41"/>
                  </a:lnTo>
                  <a:lnTo>
                    <a:pt x="408" y="47"/>
                  </a:lnTo>
                  <a:lnTo>
                    <a:pt x="402" y="52"/>
                  </a:lnTo>
                  <a:lnTo>
                    <a:pt x="394" y="57"/>
                  </a:lnTo>
                  <a:lnTo>
                    <a:pt x="386" y="60"/>
                  </a:lnTo>
                  <a:lnTo>
                    <a:pt x="376" y="60"/>
                  </a:lnTo>
                  <a:lnTo>
                    <a:pt x="368" y="59"/>
                  </a:lnTo>
                  <a:lnTo>
                    <a:pt x="359" y="57"/>
                  </a:lnTo>
                  <a:lnTo>
                    <a:pt x="351" y="52"/>
                  </a:lnTo>
                  <a:lnTo>
                    <a:pt x="345" y="47"/>
                  </a:lnTo>
                  <a:lnTo>
                    <a:pt x="339" y="41"/>
                  </a:lnTo>
                  <a:lnTo>
                    <a:pt x="335" y="33"/>
                  </a:lnTo>
                  <a:lnTo>
                    <a:pt x="332" y="24"/>
                  </a:lnTo>
                  <a:lnTo>
                    <a:pt x="331" y="15"/>
                  </a:lnTo>
                  <a:lnTo>
                    <a:pt x="331" y="12"/>
                  </a:lnTo>
                  <a:lnTo>
                    <a:pt x="330" y="9"/>
                  </a:lnTo>
                  <a:lnTo>
                    <a:pt x="329" y="6"/>
                  </a:lnTo>
                  <a:lnTo>
                    <a:pt x="327" y="4"/>
                  </a:lnTo>
                  <a:lnTo>
                    <a:pt x="325" y="3"/>
                  </a:lnTo>
                  <a:lnTo>
                    <a:pt x="323" y="1"/>
                  </a:lnTo>
                  <a:lnTo>
                    <a:pt x="319" y="1"/>
                  </a:lnTo>
                  <a:lnTo>
                    <a:pt x="316" y="0"/>
                  </a:lnTo>
                  <a:lnTo>
                    <a:pt x="313" y="1"/>
                  </a:lnTo>
                  <a:lnTo>
                    <a:pt x="311" y="1"/>
                  </a:lnTo>
                  <a:lnTo>
                    <a:pt x="307" y="3"/>
                  </a:lnTo>
                  <a:lnTo>
                    <a:pt x="305" y="4"/>
                  </a:lnTo>
                  <a:lnTo>
                    <a:pt x="304" y="6"/>
                  </a:lnTo>
                  <a:lnTo>
                    <a:pt x="302" y="9"/>
                  </a:lnTo>
                  <a:lnTo>
                    <a:pt x="301" y="12"/>
                  </a:lnTo>
                  <a:lnTo>
                    <a:pt x="301" y="15"/>
                  </a:lnTo>
                  <a:lnTo>
                    <a:pt x="300" y="24"/>
                  </a:lnTo>
                  <a:lnTo>
                    <a:pt x="298" y="33"/>
                  </a:lnTo>
                  <a:lnTo>
                    <a:pt x="294" y="41"/>
                  </a:lnTo>
                  <a:lnTo>
                    <a:pt x="288" y="47"/>
                  </a:lnTo>
                  <a:lnTo>
                    <a:pt x="282" y="52"/>
                  </a:lnTo>
                  <a:lnTo>
                    <a:pt x="273" y="57"/>
                  </a:lnTo>
                  <a:lnTo>
                    <a:pt x="265" y="60"/>
                  </a:lnTo>
                  <a:lnTo>
                    <a:pt x="256" y="60"/>
                  </a:lnTo>
                  <a:lnTo>
                    <a:pt x="247" y="59"/>
                  </a:lnTo>
                  <a:lnTo>
                    <a:pt x="239" y="57"/>
                  </a:lnTo>
                  <a:lnTo>
                    <a:pt x="231" y="52"/>
                  </a:lnTo>
                  <a:lnTo>
                    <a:pt x="224" y="47"/>
                  </a:lnTo>
                  <a:lnTo>
                    <a:pt x="218" y="41"/>
                  </a:lnTo>
                  <a:lnTo>
                    <a:pt x="214" y="33"/>
                  </a:lnTo>
                  <a:lnTo>
                    <a:pt x="212" y="24"/>
                  </a:lnTo>
                  <a:lnTo>
                    <a:pt x="211" y="15"/>
                  </a:lnTo>
                  <a:lnTo>
                    <a:pt x="211" y="12"/>
                  </a:lnTo>
                  <a:lnTo>
                    <a:pt x="210" y="9"/>
                  </a:lnTo>
                  <a:lnTo>
                    <a:pt x="209" y="6"/>
                  </a:lnTo>
                  <a:lnTo>
                    <a:pt x="207" y="4"/>
                  </a:lnTo>
                  <a:lnTo>
                    <a:pt x="205" y="3"/>
                  </a:lnTo>
                  <a:lnTo>
                    <a:pt x="201" y="1"/>
                  </a:lnTo>
                  <a:lnTo>
                    <a:pt x="199" y="1"/>
                  </a:lnTo>
                  <a:lnTo>
                    <a:pt x="196" y="0"/>
                  </a:lnTo>
                  <a:lnTo>
                    <a:pt x="193" y="1"/>
                  </a:lnTo>
                  <a:lnTo>
                    <a:pt x="190" y="1"/>
                  </a:lnTo>
                  <a:lnTo>
                    <a:pt x="187" y="3"/>
                  </a:lnTo>
                  <a:lnTo>
                    <a:pt x="185" y="4"/>
                  </a:lnTo>
                  <a:lnTo>
                    <a:pt x="183" y="6"/>
                  </a:lnTo>
                  <a:lnTo>
                    <a:pt x="182" y="9"/>
                  </a:lnTo>
                  <a:lnTo>
                    <a:pt x="181" y="12"/>
                  </a:lnTo>
                  <a:lnTo>
                    <a:pt x="181" y="15"/>
                  </a:lnTo>
                  <a:lnTo>
                    <a:pt x="180" y="24"/>
                  </a:lnTo>
                  <a:lnTo>
                    <a:pt x="178" y="33"/>
                  </a:lnTo>
                  <a:lnTo>
                    <a:pt x="173" y="41"/>
                  </a:lnTo>
                  <a:lnTo>
                    <a:pt x="167" y="47"/>
                  </a:lnTo>
                  <a:lnTo>
                    <a:pt x="161" y="52"/>
                  </a:lnTo>
                  <a:lnTo>
                    <a:pt x="153" y="57"/>
                  </a:lnTo>
                  <a:lnTo>
                    <a:pt x="144" y="60"/>
                  </a:lnTo>
                  <a:lnTo>
                    <a:pt x="136" y="60"/>
                  </a:lnTo>
                  <a:lnTo>
                    <a:pt x="126" y="59"/>
                  </a:lnTo>
                  <a:lnTo>
                    <a:pt x="118" y="57"/>
                  </a:lnTo>
                  <a:lnTo>
                    <a:pt x="110" y="52"/>
                  </a:lnTo>
                  <a:lnTo>
                    <a:pt x="104" y="47"/>
                  </a:lnTo>
                  <a:lnTo>
                    <a:pt x="98" y="41"/>
                  </a:lnTo>
                  <a:lnTo>
                    <a:pt x="94" y="33"/>
                  </a:lnTo>
                  <a:lnTo>
                    <a:pt x="92" y="24"/>
                  </a:lnTo>
                  <a:lnTo>
                    <a:pt x="91" y="15"/>
                  </a:lnTo>
                  <a:lnTo>
                    <a:pt x="90" y="12"/>
                  </a:lnTo>
                  <a:lnTo>
                    <a:pt x="90" y="9"/>
                  </a:lnTo>
                  <a:lnTo>
                    <a:pt x="88" y="6"/>
                  </a:lnTo>
                  <a:lnTo>
                    <a:pt x="87" y="4"/>
                  </a:lnTo>
                  <a:lnTo>
                    <a:pt x="83" y="3"/>
                  </a:lnTo>
                  <a:lnTo>
                    <a:pt x="81" y="1"/>
                  </a:lnTo>
                  <a:lnTo>
                    <a:pt x="78" y="1"/>
                  </a:lnTo>
                  <a:lnTo>
                    <a:pt x="76" y="0"/>
                  </a:lnTo>
                  <a:lnTo>
                    <a:pt x="73" y="1"/>
                  </a:lnTo>
                  <a:lnTo>
                    <a:pt x="69" y="1"/>
                  </a:lnTo>
                  <a:lnTo>
                    <a:pt x="67" y="3"/>
                  </a:lnTo>
                  <a:lnTo>
                    <a:pt x="65" y="4"/>
                  </a:lnTo>
                  <a:lnTo>
                    <a:pt x="63" y="6"/>
                  </a:lnTo>
                  <a:lnTo>
                    <a:pt x="62" y="9"/>
                  </a:lnTo>
                  <a:lnTo>
                    <a:pt x="61" y="12"/>
                  </a:lnTo>
                  <a:lnTo>
                    <a:pt x="61" y="15"/>
                  </a:lnTo>
                  <a:lnTo>
                    <a:pt x="60" y="24"/>
                  </a:lnTo>
                  <a:lnTo>
                    <a:pt x="57" y="33"/>
                  </a:lnTo>
                  <a:lnTo>
                    <a:pt x="52" y="41"/>
                  </a:lnTo>
                  <a:lnTo>
                    <a:pt x="47" y="47"/>
                  </a:lnTo>
                  <a:lnTo>
                    <a:pt x="40" y="52"/>
                  </a:lnTo>
                  <a:lnTo>
                    <a:pt x="33" y="57"/>
                  </a:lnTo>
                  <a:lnTo>
                    <a:pt x="24" y="60"/>
                  </a:lnTo>
                  <a:lnTo>
                    <a:pt x="15" y="60"/>
                  </a:lnTo>
                  <a:lnTo>
                    <a:pt x="13" y="61"/>
                  </a:lnTo>
                  <a:lnTo>
                    <a:pt x="9" y="61"/>
                  </a:lnTo>
                  <a:lnTo>
                    <a:pt x="7" y="63"/>
                  </a:lnTo>
                  <a:lnTo>
                    <a:pt x="5" y="64"/>
                  </a:lnTo>
                  <a:lnTo>
                    <a:pt x="3" y="67"/>
                  </a:lnTo>
                  <a:lnTo>
                    <a:pt x="2" y="70"/>
                  </a:lnTo>
                  <a:lnTo>
                    <a:pt x="1" y="73"/>
                  </a:lnTo>
                  <a:lnTo>
                    <a:pt x="0" y="75"/>
                  </a:lnTo>
                  <a:lnTo>
                    <a:pt x="1" y="78"/>
                  </a:lnTo>
                  <a:lnTo>
                    <a:pt x="2" y="81"/>
                  </a:lnTo>
                  <a:lnTo>
                    <a:pt x="3" y="83"/>
                  </a:lnTo>
                  <a:lnTo>
                    <a:pt x="5" y="86"/>
                  </a:lnTo>
                  <a:lnTo>
                    <a:pt x="7" y="88"/>
                  </a:lnTo>
                  <a:lnTo>
                    <a:pt x="9" y="89"/>
                  </a:lnTo>
                  <a:lnTo>
                    <a:pt x="13"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360">
              <a:extLst>
                <a:ext uri="{FF2B5EF4-FFF2-40B4-BE49-F238E27FC236}">
                  <a16:creationId xmlns:a16="http://schemas.microsoft.com/office/drawing/2014/main" id="{D5ADE559-3660-428C-BF68-DB255B00D421}"/>
                </a:ext>
              </a:extLst>
            </p:cNvPr>
            <p:cNvSpPr>
              <a:spLocks/>
            </p:cNvSpPr>
            <p:nvPr/>
          </p:nvSpPr>
          <p:spPr bwMode="auto">
            <a:xfrm>
              <a:off x="9915526" y="2176463"/>
              <a:ext cx="238125" cy="28575"/>
            </a:xfrm>
            <a:custGeom>
              <a:avLst/>
              <a:gdLst>
                <a:gd name="T0" fmla="*/ 700 w 753"/>
                <a:gd name="T1" fmla="*/ 40 h 90"/>
                <a:gd name="T2" fmla="*/ 690 w 753"/>
                <a:gd name="T3" fmla="*/ 7 h 90"/>
                <a:gd name="T4" fmla="*/ 674 w 753"/>
                <a:gd name="T5" fmla="*/ 0 h 90"/>
                <a:gd name="T6" fmla="*/ 662 w 753"/>
                <a:gd name="T7" fmla="*/ 12 h 90"/>
                <a:gd name="T8" fmla="*/ 642 w 753"/>
                <a:gd name="T9" fmla="*/ 53 h 90"/>
                <a:gd name="T10" fmla="*/ 592 w 753"/>
                <a:gd name="T11" fmla="*/ 53 h 90"/>
                <a:gd name="T12" fmla="*/ 571 w 753"/>
                <a:gd name="T13" fmla="*/ 12 h 90"/>
                <a:gd name="T14" fmla="*/ 561 w 753"/>
                <a:gd name="T15" fmla="*/ 0 h 90"/>
                <a:gd name="T16" fmla="*/ 545 w 753"/>
                <a:gd name="T17" fmla="*/ 7 h 90"/>
                <a:gd name="T18" fmla="*/ 535 w 753"/>
                <a:gd name="T19" fmla="*/ 40 h 90"/>
                <a:gd name="T20" fmla="*/ 488 w 753"/>
                <a:gd name="T21" fmla="*/ 59 h 90"/>
                <a:gd name="T22" fmla="*/ 452 w 753"/>
                <a:gd name="T23" fmla="*/ 24 h 90"/>
                <a:gd name="T24" fmla="*/ 445 w 753"/>
                <a:gd name="T25" fmla="*/ 2 h 90"/>
                <a:gd name="T26" fmla="*/ 429 w 753"/>
                <a:gd name="T27" fmla="*/ 2 h 90"/>
                <a:gd name="T28" fmla="*/ 421 w 753"/>
                <a:gd name="T29" fmla="*/ 24 h 90"/>
                <a:gd name="T30" fmla="*/ 386 w 753"/>
                <a:gd name="T31" fmla="*/ 59 h 90"/>
                <a:gd name="T32" fmla="*/ 339 w 753"/>
                <a:gd name="T33" fmla="*/ 40 h 90"/>
                <a:gd name="T34" fmla="*/ 329 w 753"/>
                <a:gd name="T35" fmla="*/ 7 h 90"/>
                <a:gd name="T36" fmla="*/ 313 w 753"/>
                <a:gd name="T37" fmla="*/ 0 h 90"/>
                <a:gd name="T38" fmla="*/ 301 w 753"/>
                <a:gd name="T39" fmla="*/ 12 h 90"/>
                <a:gd name="T40" fmla="*/ 282 w 753"/>
                <a:gd name="T41" fmla="*/ 53 h 90"/>
                <a:gd name="T42" fmla="*/ 231 w 753"/>
                <a:gd name="T43" fmla="*/ 53 h 90"/>
                <a:gd name="T44" fmla="*/ 211 w 753"/>
                <a:gd name="T45" fmla="*/ 12 h 90"/>
                <a:gd name="T46" fmla="*/ 199 w 753"/>
                <a:gd name="T47" fmla="*/ 0 h 90"/>
                <a:gd name="T48" fmla="*/ 183 w 753"/>
                <a:gd name="T49" fmla="*/ 7 h 90"/>
                <a:gd name="T50" fmla="*/ 173 w 753"/>
                <a:gd name="T51" fmla="*/ 40 h 90"/>
                <a:gd name="T52" fmla="*/ 126 w 753"/>
                <a:gd name="T53" fmla="*/ 59 h 90"/>
                <a:gd name="T54" fmla="*/ 92 w 753"/>
                <a:gd name="T55" fmla="*/ 24 h 90"/>
                <a:gd name="T56" fmla="*/ 83 w 753"/>
                <a:gd name="T57" fmla="*/ 2 h 90"/>
                <a:gd name="T58" fmla="*/ 67 w 753"/>
                <a:gd name="T59" fmla="*/ 2 h 90"/>
                <a:gd name="T60" fmla="*/ 60 w 753"/>
                <a:gd name="T61" fmla="*/ 24 h 90"/>
                <a:gd name="T62" fmla="*/ 24 w 753"/>
                <a:gd name="T63" fmla="*/ 59 h 90"/>
                <a:gd name="T64" fmla="*/ 3 w 753"/>
                <a:gd name="T65" fmla="*/ 67 h 90"/>
                <a:gd name="T66" fmla="*/ 3 w 753"/>
                <a:gd name="T67" fmla="*/ 84 h 90"/>
                <a:gd name="T68" fmla="*/ 24 w 753"/>
                <a:gd name="T69" fmla="*/ 89 h 90"/>
                <a:gd name="T70" fmla="*/ 69 w 753"/>
                <a:gd name="T71" fmla="*/ 67 h 90"/>
                <a:gd name="T72" fmla="*/ 109 w 753"/>
                <a:gd name="T73" fmla="*/ 85 h 90"/>
                <a:gd name="T74" fmla="*/ 162 w 753"/>
                <a:gd name="T75" fmla="*/ 85 h 90"/>
                <a:gd name="T76" fmla="*/ 201 w 753"/>
                <a:gd name="T77" fmla="*/ 67 h 90"/>
                <a:gd name="T78" fmla="*/ 247 w 753"/>
                <a:gd name="T79" fmla="*/ 89 h 90"/>
                <a:gd name="T80" fmla="*/ 298 w 753"/>
                <a:gd name="T81" fmla="*/ 77 h 90"/>
                <a:gd name="T82" fmla="*/ 335 w 753"/>
                <a:gd name="T83" fmla="*/ 77 h 90"/>
                <a:gd name="T84" fmla="*/ 386 w 753"/>
                <a:gd name="T85" fmla="*/ 89 h 90"/>
                <a:gd name="T86" fmla="*/ 431 w 753"/>
                <a:gd name="T87" fmla="*/ 67 h 90"/>
                <a:gd name="T88" fmla="*/ 471 w 753"/>
                <a:gd name="T89" fmla="*/ 85 h 90"/>
                <a:gd name="T90" fmla="*/ 523 w 753"/>
                <a:gd name="T91" fmla="*/ 85 h 90"/>
                <a:gd name="T92" fmla="*/ 563 w 753"/>
                <a:gd name="T93" fmla="*/ 67 h 90"/>
                <a:gd name="T94" fmla="*/ 608 w 753"/>
                <a:gd name="T95" fmla="*/ 89 h 90"/>
                <a:gd name="T96" fmla="*/ 659 w 753"/>
                <a:gd name="T97" fmla="*/ 77 h 90"/>
                <a:gd name="T98" fmla="*/ 696 w 753"/>
                <a:gd name="T99" fmla="*/ 77 h 90"/>
                <a:gd name="T100" fmla="*/ 741 w 753"/>
                <a:gd name="T101" fmla="*/ 90 h 90"/>
                <a:gd name="T102" fmla="*/ 753 w 753"/>
                <a:gd name="T103" fmla="*/ 78 h 90"/>
                <a:gd name="T104" fmla="*/ 746 w 753"/>
                <a:gd name="T105"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 h="90">
                  <a:moveTo>
                    <a:pt x="738" y="60"/>
                  </a:moveTo>
                  <a:lnTo>
                    <a:pt x="729" y="59"/>
                  </a:lnTo>
                  <a:lnTo>
                    <a:pt x="720" y="56"/>
                  </a:lnTo>
                  <a:lnTo>
                    <a:pt x="713" y="53"/>
                  </a:lnTo>
                  <a:lnTo>
                    <a:pt x="705" y="46"/>
                  </a:lnTo>
                  <a:lnTo>
                    <a:pt x="700" y="40"/>
                  </a:lnTo>
                  <a:lnTo>
                    <a:pt x="696" y="32"/>
                  </a:lnTo>
                  <a:lnTo>
                    <a:pt x="694" y="24"/>
                  </a:lnTo>
                  <a:lnTo>
                    <a:pt x="693" y="15"/>
                  </a:lnTo>
                  <a:lnTo>
                    <a:pt x="693" y="12"/>
                  </a:lnTo>
                  <a:lnTo>
                    <a:pt x="691" y="9"/>
                  </a:lnTo>
                  <a:lnTo>
                    <a:pt x="690" y="7"/>
                  </a:lnTo>
                  <a:lnTo>
                    <a:pt x="688" y="4"/>
                  </a:lnTo>
                  <a:lnTo>
                    <a:pt x="686" y="2"/>
                  </a:lnTo>
                  <a:lnTo>
                    <a:pt x="683" y="1"/>
                  </a:lnTo>
                  <a:lnTo>
                    <a:pt x="681" y="0"/>
                  </a:lnTo>
                  <a:lnTo>
                    <a:pt x="678" y="0"/>
                  </a:lnTo>
                  <a:lnTo>
                    <a:pt x="674" y="0"/>
                  </a:lnTo>
                  <a:lnTo>
                    <a:pt x="672" y="1"/>
                  </a:lnTo>
                  <a:lnTo>
                    <a:pt x="669" y="2"/>
                  </a:lnTo>
                  <a:lnTo>
                    <a:pt x="667" y="4"/>
                  </a:lnTo>
                  <a:lnTo>
                    <a:pt x="665" y="7"/>
                  </a:lnTo>
                  <a:lnTo>
                    <a:pt x="664" y="9"/>
                  </a:lnTo>
                  <a:lnTo>
                    <a:pt x="662" y="12"/>
                  </a:lnTo>
                  <a:lnTo>
                    <a:pt x="662" y="15"/>
                  </a:lnTo>
                  <a:lnTo>
                    <a:pt x="661" y="24"/>
                  </a:lnTo>
                  <a:lnTo>
                    <a:pt x="659" y="32"/>
                  </a:lnTo>
                  <a:lnTo>
                    <a:pt x="655" y="40"/>
                  </a:lnTo>
                  <a:lnTo>
                    <a:pt x="650" y="46"/>
                  </a:lnTo>
                  <a:lnTo>
                    <a:pt x="642" y="53"/>
                  </a:lnTo>
                  <a:lnTo>
                    <a:pt x="635" y="56"/>
                  </a:lnTo>
                  <a:lnTo>
                    <a:pt x="626" y="59"/>
                  </a:lnTo>
                  <a:lnTo>
                    <a:pt x="617" y="60"/>
                  </a:lnTo>
                  <a:lnTo>
                    <a:pt x="608" y="59"/>
                  </a:lnTo>
                  <a:lnTo>
                    <a:pt x="600" y="56"/>
                  </a:lnTo>
                  <a:lnTo>
                    <a:pt x="592" y="53"/>
                  </a:lnTo>
                  <a:lnTo>
                    <a:pt x="585" y="46"/>
                  </a:lnTo>
                  <a:lnTo>
                    <a:pt x="580" y="40"/>
                  </a:lnTo>
                  <a:lnTo>
                    <a:pt x="576" y="32"/>
                  </a:lnTo>
                  <a:lnTo>
                    <a:pt x="573" y="24"/>
                  </a:lnTo>
                  <a:lnTo>
                    <a:pt x="572" y="15"/>
                  </a:lnTo>
                  <a:lnTo>
                    <a:pt x="571" y="12"/>
                  </a:lnTo>
                  <a:lnTo>
                    <a:pt x="571" y="9"/>
                  </a:lnTo>
                  <a:lnTo>
                    <a:pt x="569" y="7"/>
                  </a:lnTo>
                  <a:lnTo>
                    <a:pt x="568" y="4"/>
                  </a:lnTo>
                  <a:lnTo>
                    <a:pt x="566" y="2"/>
                  </a:lnTo>
                  <a:lnTo>
                    <a:pt x="563" y="1"/>
                  </a:lnTo>
                  <a:lnTo>
                    <a:pt x="561" y="0"/>
                  </a:lnTo>
                  <a:lnTo>
                    <a:pt x="557" y="0"/>
                  </a:lnTo>
                  <a:lnTo>
                    <a:pt x="554" y="0"/>
                  </a:lnTo>
                  <a:lnTo>
                    <a:pt x="551" y="1"/>
                  </a:lnTo>
                  <a:lnTo>
                    <a:pt x="549" y="2"/>
                  </a:lnTo>
                  <a:lnTo>
                    <a:pt x="547" y="4"/>
                  </a:lnTo>
                  <a:lnTo>
                    <a:pt x="545" y="7"/>
                  </a:lnTo>
                  <a:lnTo>
                    <a:pt x="543" y="9"/>
                  </a:lnTo>
                  <a:lnTo>
                    <a:pt x="542" y="12"/>
                  </a:lnTo>
                  <a:lnTo>
                    <a:pt x="542" y="15"/>
                  </a:lnTo>
                  <a:lnTo>
                    <a:pt x="541" y="24"/>
                  </a:lnTo>
                  <a:lnTo>
                    <a:pt x="538" y="32"/>
                  </a:lnTo>
                  <a:lnTo>
                    <a:pt x="535" y="40"/>
                  </a:lnTo>
                  <a:lnTo>
                    <a:pt x="528" y="46"/>
                  </a:lnTo>
                  <a:lnTo>
                    <a:pt x="522" y="53"/>
                  </a:lnTo>
                  <a:lnTo>
                    <a:pt x="514" y="56"/>
                  </a:lnTo>
                  <a:lnTo>
                    <a:pt x="506" y="59"/>
                  </a:lnTo>
                  <a:lnTo>
                    <a:pt x="497" y="60"/>
                  </a:lnTo>
                  <a:lnTo>
                    <a:pt x="488" y="59"/>
                  </a:lnTo>
                  <a:lnTo>
                    <a:pt x="479" y="56"/>
                  </a:lnTo>
                  <a:lnTo>
                    <a:pt x="472" y="53"/>
                  </a:lnTo>
                  <a:lnTo>
                    <a:pt x="465" y="46"/>
                  </a:lnTo>
                  <a:lnTo>
                    <a:pt x="460" y="40"/>
                  </a:lnTo>
                  <a:lnTo>
                    <a:pt x="456" y="32"/>
                  </a:lnTo>
                  <a:lnTo>
                    <a:pt x="452" y="24"/>
                  </a:lnTo>
                  <a:lnTo>
                    <a:pt x="451" y="15"/>
                  </a:lnTo>
                  <a:lnTo>
                    <a:pt x="451" y="12"/>
                  </a:lnTo>
                  <a:lnTo>
                    <a:pt x="450" y="9"/>
                  </a:lnTo>
                  <a:lnTo>
                    <a:pt x="449" y="7"/>
                  </a:lnTo>
                  <a:lnTo>
                    <a:pt x="447" y="4"/>
                  </a:lnTo>
                  <a:lnTo>
                    <a:pt x="445" y="2"/>
                  </a:lnTo>
                  <a:lnTo>
                    <a:pt x="443" y="1"/>
                  </a:lnTo>
                  <a:lnTo>
                    <a:pt x="439" y="0"/>
                  </a:lnTo>
                  <a:lnTo>
                    <a:pt x="436" y="0"/>
                  </a:lnTo>
                  <a:lnTo>
                    <a:pt x="434" y="0"/>
                  </a:lnTo>
                  <a:lnTo>
                    <a:pt x="431" y="1"/>
                  </a:lnTo>
                  <a:lnTo>
                    <a:pt x="429" y="2"/>
                  </a:lnTo>
                  <a:lnTo>
                    <a:pt x="427" y="4"/>
                  </a:lnTo>
                  <a:lnTo>
                    <a:pt x="424" y="7"/>
                  </a:lnTo>
                  <a:lnTo>
                    <a:pt x="423" y="9"/>
                  </a:lnTo>
                  <a:lnTo>
                    <a:pt x="422" y="12"/>
                  </a:lnTo>
                  <a:lnTo>
                    <a:pt x="421" y="15"/>
                  </a:lnTo>
                  <a:lnTo>
                    <a:pt x="421" y="24"/>
                  </a:lnTo>
                  <a:lnTo>
                    <a:pt x="418" y="32"/>
                  </a:lnTo>
                  <a:lnTo>
                    <a:pt x="414" y="40"/>
                  </a:lnTo>
                  <a:lnTo>
                    <a:pt x="408" y="46"/>
                  </a:lnTo>
                  <a:lnTo>
                    <a:pt x="402" y="53"/>
                  </a:lnTo>
                  <a:lnTo>
                    <a:pt x="394" y="56"/>
                  </a:lnTo>
                  <a:lnTo>
                    <a:pt x="386" y="59"/>
                  </a:lnTo>
                  <a:lnTo>
                    <a:pt x="376" y="60"/>
                  </a:lnTo>
                  <a:lnTo>
                    <a:pt x="368" y="59"/>
                  </a:lnTo>
                  <a:lnTo>
                    <a:pt x="359" y="56"/>
                  </a:lnTo>
                  <a:lnTo>
                    <a:pt x="351" y="53"/>
                  </a:lnTo>
                  <a:lnTo>
                    <a:pt x="345" y="46"/>
                  </a:lnTo>
                  <a:lnTo>
                    <a:pt x="339" y="40"/>
                  </a:lnTo>
                  <a:lnTo>
                    <a:pt x="335" y="32"/>
                  </a:lnTo>
                  <a:lnTo>
                    <a:pt x="332" y="24"/>
                  </a:lnTo>
                  <a:lnTo>
                    <a:pt x="331" y="15"/>
                  </a:lnTo>
                  <a:lnTo>
                    <a:pt x="331" y="12"/>
                  </a:lnTo>
                  <a:lnTo>
                    <a:pt x="330" y="9"/>
                  </a:lnTo>
                  <a:lnTo>
                    <a:pt x="329" y="7"/>
                  </a:lnTo>
                  <a:lnTo>
                    <a:pt x="327" y="4"/>
                  </a:lnTo>
                  <a:lnTo>
                    <a:pt x="325" y="2"/>
                  </a:lnTo>
                  <a:lnTo>
                    <a:pt x="323" y="1"/>
                  </a:lnTo>
                  <a:lnTo>
                    <a:pt x="319" y="0"/>
                  </a:lnTo>
                  <a:lnTo>
                    <a:pt x="316" y="0"/>
                  </a:lnTo>
                  <a:lnTo>
                    <a:pt x="313" y="0"/>
                  </a:lnTo>
                  <a:lnTo>
                    <a:pt x="311" y="1"/>
                  </a:lnTo>
                  <a:lnTo>
                    <a:pt x="307" y="2"/>
                  </a:lnTo>
                  <a:lnTo>
                    <a:pt x="305" y="4"/>
                  </a:lnTo>
                  <a:lnTo>
                    <a:pt x="304" y="7"/>
                  </a:lnTo>
                  <a:lnTo>
                    <a:pt x="302" y="9"/>
                  </a:lnTo>
                  <a:lnTo>
                    <a:pt x="301" y="12"/>
                  </a:lnTo>
                  <a:lnTo>
                    <a:pt x="301" y="15"/>
                  </a:lnTo>
                  <a:lnTo>
                    <a:pt x="300" y="24"/>
                  </a:lnTo>
                  <a:lnTo>
                    <a:pt x="298" y="32"/>
                  </a:lnTo>
                  <a:lnTo>
                    <a:pt x="294" y="40"/>
                  </a:lnTo>
                  <a:lnTo>
                    <a:pt x="288" y="46"/>
                  </a:lnTo>
                  <a:lnTo>
                    <a:pt x="282" y="53"/>
                  </a:lnTo>
                  <a:lnTo>
                    <a:pt x="273" y="56"/>
                  </a:lnTo>
                  <a:lnTo>
                    <a:pt x="265" y="59"/>
                  </a:lnTo>
                  <a:lnTo>
                    <a:pt x="256" y="60"/>
                  </a:lnTo>
                  <a:lnTo>
                    <a:pt x="247" y="59"/>
                  </a:lnTo>
                  <a:lnTo>
                    <a:pt x="239" y="56"/>
                  </a:lnTo>
                  <a:lnTo>
                    <a:pt x="231" y="53"/>
                  </a:lnTo>
                  <a:lnTo>
                    <a:pt x="224" y="46"/>
                  </a:lnTo>
                  <a:lnTo>
                    <a:pt x="218" y="40"/>
                  </a:lnTo>
                  <a:lnTo>
                    <a:pt x="214" y="32"/>
                  </a:lnTo>
                  <a:lnTo>
                    <a:pt x="212" y="24"/>
                  </a:lnTo>
                  <a:lnTo>
                    <a:pt x="211" y="15"/>
                  </a:lnTo>
                  <a:lnTo>
                    <a:pt x="211" y="12"/>
                  </a:lnTo>
                  <a:lnTo>
                    <a:pt x="210" y="9"/>
                  </a:lnTo>
                  <a:lnTo>
                    <a:pt x="209" y="7"/>
                  </a:lnTo>
                  <a:lnTo>
                    <a:pt x="207" y="4"/>
                  </a:lnTo>
                  <a:lnTo>
                    <a:pt x="205" y="2"/>
                  </a:lnTo>
                  <a:lnTo>
                    <a:pt x="201" y="1"/>
                  </a:lnTo>
                  <a:lnTo>
                    <a:pt x="199" y="0"/>
                  </a:lnTo>
                  <a:lnTo>
                    <a:pt x="196" y="0"/>
                  </a:lnTo>
                  <a:lnTo>
                    <a:pt x="193" y="0"/>
                  </a:lnTo>
                  <a:lnTo>
                    <a:pt x="190" y="1"/>
                  </a:lnTo>
                  <a:lnTo>
                    <a:pt x="187" y="2"/>
                  </a:lnTo>
                  <a:lnTo>
                    <a:pt x="185" y="4"/>
                  </a:lnTo>
                  <a:lnTo>
                    <a:pt x="183" y="7"/>
                  </a:lnTo>
                  <a:lnTo>
                    <a:pt x="182" y="9"/>
                  </a:lnTo>
                  <a:lnTo>
                    <a:pt x="181" y="12"/>
                  </a:lnTo>
                  <a:lnTo>
                    <a:pt x="181" y="15"/>
                  </a:lnTo>
                  <a:lnTo>
                    <a:pt x="180" y="24"/>
                  </a:lnTo>
                  <a:lnTo>
                    <a:pt x="178" y="32"/>
                  </a:lnTo>
                  <a:lnTo>
                    <a:pt x="173" y="40"/>
                  </a:lnTo>
                  <a:lnTo>
                    <a:pt x="167" y="46"/>
                  </a:lnTo>
                  <a:lnTo>
                    <a:pt x="161" y="53"/>
                  </a:lnTo>
                  <a:lnTo>
                    <a:pt x="153" y="56"/>
                  </a:lnTo>
                  <a:lnTo>
                    <a:pt x="144" y="59"/>
                  </a:lnTo>
                  <a:lnTo>
                    <a:pt x="136" y="60"/>
                  </a:lnTo>
                  <a:lnTo>
                    <a:pt x="126" y="59"/>
                  </a:lnTo>
                  <a:lnTo>
                    <a:pt x="118" y="56"/>
                  </a:lnTo>
                  <a:lnTo>
                    <a:pt x="110" y="53"/>
                  </a:lnTo>
                  <a:lnTo>
                    <a:pt x="104" y="46"/>
                  </a:lnTo>
                  <a:lnTo>
                    <a:pt x="98" y="40"/>
                  </a:lnTo>
                  <a:lnTo>
                    <a:pt x="94" y="32"/>
                  </a:lnTo>
                  <a:lnTo>
                    <a:pt x="92" y="24"/>
                  </a:lnTo>
                  <a:lnTo>
                    <a:pt x="91" y="15"/>
                  </a:lnTo>
                  <a:lnTo>
                    <a:pt x="90" y="12"/>
                  </a:lnTo>
                  <a:lnTo>
                    <a:pt x="90" y="9"/>
                  </a:lnTo>
                  <a:lnTo>
                    <a:pt x="88" y="7"/>
                  </a:lnTo>
                  <a:lnTo>
                    <a:pt x="87" y="4"/>
                  </a:lnTo>
                  <a:lnTo>
                    <a:pt x="83" y="2"/>
                  </a:lnTo>
                  <a:lnTo>
                    <a:pt x="81" y="1"/>
                  </a:lnTo>
                  <a:lnTo>
                    <a:pt x="78" y="0"/>
                  </a:lnTo>
                  <a:lnTo>
                    <a:pt x="76" y="0"/>
                  </a:lnTo>
                  <a:lnTo>
                    <a:pt x="73" y="0"/>
                  </a:lnTo>
                  <a:lnTo>
                    <a:pt x="69" y="1"/>
                  </a:lnTo>
                  <a:lnTo>
                    <a:pt x="67" y="2"/>
                  </a:lnTo>
                  <a:lnTo>
                    <a:pt x="65" y="4"/>
                  </a:lnTo>
                  <a:lnTo>
                    <a:pt x="63" y="7"/>
                  </a:lnTo>
                  <a:lnTo>
                    <a:pt x="62" y="9"/>
                  </a:lnTo>
                  <a:lnTo>
                    <a:pt x="61" y="12"/>
                  </a:lnTo>
                  <a:lnTo>
                    <a:pt x="61" y="15"/>
                  </a:lnTo>
                  <a:lnTo>
                    <a:pt x="60" y="24"/>
                  </a:lnTo>
                  <a:lnTo>
                    <a:pt x="57" y="32"/>
                  </a:lnTo>
                  <a:lnTo>
                    <a:pt x="52" y="40"/>
                  </a:lnTo>
                  <a:lnTo>
                    <a:pt x="47" y="46"/>
                  </a:lnTo>
                  <a:lnTo>
                    <a:pt x="40" y="53"/>
                  </a:lnTo>
                  <a:lnTo>
                    <a:pt x="33" y="56"/>
                  </a:lnTo>
                  <a:lnTo>
                    <a:pt x="24" y="59"/>
                  </a:lnTo>
                  <a:lnTo>
                    <a:pt x="15" y="60"/>
                  </a:lnTo>
                  <a:lnTo>
                    <a:pt x="13" y="60"/>
                  </a:lnTo>
                  <a:lnTo>
                    <a:pt x="9" y="61"/>
                  </a:lnTo>
                  <a:lnTo>
                    <a:pt x="7" y="62"/>
                  </a:lnTo>
                  <a:lnTo>
                    <a:pt x="5" y="64"/>
                  </a:lnTo>
                  <a:lnTo>
                    <a:pt x="3" y="67"/>
                  </a:lnTo>
                  <a:lnTo>
                    <a:pt x="2" y="69"/>
                  </a:lnTo>
                  <a:lnTo>
                    <a:pt x="1" y="72"/>
                  </a:lnTo>
                  <a:lnTo>
                    <a:pt x="0" y="75"/>
                  </a:lnTo>
                  <a:lnTo>
                    <a:pt x="1" y="78"/>
                  </a:lnTo>
                  <a:lnTo>
                    <a:pt x="2" y="81"/>
                  </a:lnTo>
                  <a:lnTo>
                    <a:pt x="3" y="84"/>
                  </a:lnTo>
                  <a:lnTo>
                    <a:pt x="5" y="86"/>
                  </a:lnTo>
                  <a:lnTo>
                    <a:pt x="7" y="87"/>
                  </a:lnTo>
                  <a:lnTo>
                    <a:pt x="9" y="89"/>
                  </a:lnTo>
                  <a:lnTo>
                    <a:pt x="13" y="90"/>
                  </a:lnTo>
                  <a:lnTo>
                    <a:pt x="15" y="90"/>
                  </a:lnTo>
                  <a:lnTo>
                    <a:pt x="24" y="89"/>
                  </a:lnTo>
                  <a:lnTo>
                    <a:pt x="33" y="88"/>
                  </a:lnTo>
                  <a:lnTo>
                    <a:pt x="42" y="85"/>
                  </a:lnTo>
                  <a:lnTo>
                    <a:pt x="49" y="82"/>
                  </a:lnTo>
                  <a:lnTo>
                    <a:pt x="57" y="77"/>
                  </a:lnTo>
                  <a:lnTo>
                    <a:pt x="64" y="72"/>
                  </a:lnTo>
                  <a:lnTo>
                    <a:pt x="69" y="67"/>
                  </a:lnTo>
                  <a:lnTo>
                    <a:pt x="76" y="60"/>
                  </a:lnTo>
                  <a:lnTo>
                    <a:pt x="81" y="67"/>
                  </a:lnTo>
                  <a:lnTo>
                    <a:pt x="88" y="72"/>
                  </a:lnTo>
                  <a:lnTo>
                    <a:pt x="94" y="77"/>
                  </a:lnTo>
                  <a:lnTo>
                    <a:pt x="102" y="82"/>
                  </a:lnTo>
                  <a:lnTo>
                    <a:pt x="109" y="85"/>
                  </a:lnTo>
                  <a:lnTo>
                    <a:pt x="118" y="88"/>
                  </a:lnTo>
                  <a:lnTo>
                    <a:pt x="126" y="89"/>
                  </a:lnTo>
                  <a:lnTo>
                    <a:pt x="136" y="90"/>
                  </a:lnTo>
                  <a:lnTo>
                    <a:pt x="144" y="89"/>
                  </a:lnTo>
                  <a:lnTo>
                    <a:pt x="153" y="88"/>
                  </a:lnTo>
                  <a:lnTo>
                    <a:pt x="162" y="85"/>
                  </a:lnTo>
                  <a:lnTo>
                    <a:pt x="170" y="82"/>
                  </a:lnTo>
                  <a:lnTo>
                    <a:pt x="178" y="77"/>
                  </a:lnTo>
                  <a:lnTo>
                    <a:pt x="184" y="72"/>
                  </a:lnTo>
                  <a:lnTo>
                    <a:pt x="191" y="67"/>
                  </a:lnTo>
                  <a:lnTo>
                    <a:pt x="196" y="60"/>
                  </a:lnTo>
                  <a:lnTo>
                    <a:pt x="201" y="67"/>
                  </a:lnTo>
                  <a:lnTo>
                    <a:pt x="208" y="72"/>
                  </a:lnTo>
                  <a:lnTo>
                    <a:pt x="214" y="77"/>
                  </a:lnTo>
                  <a:lnTo>
                    <a:pt x="222" y="82"/>
                  </a:lnTo>
                  <a:lnTo>
                    <a:pt x="230" y="85"/>
                  </a:lnTo>
                  <a:lnTo>
                    <a:pt x="238" y="88"/>
                  </a:lnTo>
                  <a:lnTo>
                    <a:pt x="247" y="89"/>
                  </a:lnTo>
                  <a:lnTo>
                    <a:pt x="256" y="90"/>
                  </a:lnTo>
                  <a:lnTo>
                    <a:pt x="266" y="89"/>
                  </a:lnTo>
                  <a:lnTo>
                    <a:pt x="274" y="88"/>
                  </a:lnTo>
                  <a:lnTo>
                    <a:pt x="282" y="85"/>
                  </a:lnTo>
                  <a:lnTo>
                    <a:pt x="290" y="82"/>
                  </a:lnTo>
                  <a:lnTo>
                    <a:pt x="298" y="77"/>
                  </a:lnTo>
                  <a:lnTo>
                    <a:pt x="304" y="72"/>
                  </a:lnTo>
                  <a:lnTo>
                    <a:pt x="311" y="67"/>
                  </a:lnTo>
                  <a:lnTo>
                    <a:pt x="316" y="60"/>
                  </a:lnTo>
                  <a:lnTo>
                    <a:pt x="321" y="67"/>
                  </a:lnTo>
                  <a:lnTo>
                    <a:pt x="328" y="72"/>
                  </a:lnTo>
                  <a:lnTo>
                    <a:pt x="335" y="77"/>
                  </a:lnTo>
                  <a:lnTo>
                    <a:pt x="342" y="82"/>
                  </a:lnTo>
                  <a:lnTo>
                    <a:pt x="350" y="85"/>
                  </a:lnTo>
                  <a:lnTo>
                    <a:pt x="359" y="88"/>
                  </a:lnTo>
                  <a:lnTo>
                    <a:pt x="368" y="89"/>
                  </a:lnTo>
                  <a:lnTo>
                    <a:pt x="376" y="90"/>
                  </a:lnTo>
                  <a:lnTo>
                    <a:pt x="386" y="89"/>
                  </a:lnTo>
                  <a:lnTo>
                    <a:pt x="394" y="88"/>
                  </a:lnTo>
                  <a:lnTo>
                    <a:pt x="403" y="85"/>
                  </a:lnTo>
                  <a:lnTo>
                    <a:pt x="410" y="82"/>
                  </a:lnTo>
                  <a:lnTo>
                    <a:pt x="418" y="77"/>
                  </a:lnTo>
                  <a:lnTo>
                    <a:pt x="425" y="72"/>
                  </a:lnTo>
                  <a:lnTo>
                    <a:pt x="431" y="67"/>
                  </a:lnTo>
                  <a:lnTo>
                    <a:pt x="436" y="60"/>
                  </a:lnTo>
                  <a:lnTo>
                    <a:pt x="443" y="67"/>
                  </a:lnTo>
                  <a:lnTo>
                    <a:pt x="448" y="72"/>
                  </a:lnTo>
                  <a:lnTo>
                    <a:pt x="456" y="77"/>
                  </a:lnTo>
                  <a:lnTo>
                    <a:pt x="463" y="82"/>
                  </a:lnTo>
                  <a:lnTo>
                    <a:pt x="471" y="85"/>
                  </a:lnTo>
                  <a:lnTo>
                    <a:pt x="479" y="88"/>
                  </a:lnTo>
                  <a:lnTo>
                    <a:pt x="488" y="89"/>
                  </a:lnTo>
                  <a:lnTo>
                    <a:pt x="497" y="90"/>
                  </a:lnTo>
                  <a:lnTo>
                    <a:pt x="506" y="89"/>
                  </a:lnTo>
                  <a:lnTo>
                    <a:pt x="514" y="88"/>
                  </a:lnTo>
                  <a:lnTo>
                    <a:pt x="523" y="85"/>
                  </a:lnTo>
                  <a:lnTo>
                    <a:pt x="531" y="82"/>
                  </a:lnTo>
                  <a:lnTo>
                    <a:pt x="538" y="77"/>
                  </a:lnTo>
                  <a:lnTo>
                    <a:pt x="546" y="72"/>
                  </a:lnTo>
                  <a:lnTo>
                    <a:pt x="552" y="67"/>
                  </a:lnTo>
                  <a:lnTo>
                    <a:pt x="557" y="60"/>
                  </a:lnTo>
                  <a:lnTo>
                    <a:pt x="563" y="67"/>
                  </a:lnTo>
                  <a:lnTo>
                    <a:pt x="569" y="72"/>
                  </a:lnTo>
                  <a:lnTo>
                    <a:pt x="576" y="77"/>
                  </a:lnTo>
                  <a:lnTo>
                    <a:pt x="583" y="82"/>
                  </a:lnTo>
                  <a:lnTo>
                    <a:pt x="591" y="85"/>
                  </a:lnTo>
                  <a:lnTo>
                    <a:pt x="599" y="88"/>
                  </a:lnTo>
                  <a:lnTo>
                    <a:pt x="608" y="89"/>
                  </a:lnTo>
                  <a:lnTo>
                    <a:pt x="617" y="90"/>
                  </a:lnTo>
                  <a:lnTo>
                    <a:pt x="626" y="89"/>
                  </a:lnTo>
                  <a:lnTo>
                    <a:pt x="636" y="88"/>
                  </a:lnTo>
                  <a:lnTo>
                    <a:pt x="643" y="85"/>
                  </a:lnTo>
                  <a:lnTo>
                    <a:pt x="652" y="82"/>
                  </a:lnTo>
                  <a:lnTo>
                    <a:pt x="659" y="77"/>
                  </a:lnTo>
                  <a:lnTo>
                    <a:pt x="666" y="72"/>
                  </a:lnTo>
                  <a:lnTo>
                    <a:pt x="672" y="67"/>
                  </a:lnTo>
                  <a:lnTo>
                    <a:pt x="678" y="60"/>
                  </a:lnTo>
                  <a:lnTo>
                    <a:pt x="683" y="67"/>
                  </a:lnTo>
                  <a:lnTo>
                    <a:pt x="689" y="72"/>
                  </a:lnTo>
                  <a:lnTo>
                    <a:pt x="696" y="77"/>
                  </a:lnTo>
                  <a:lnTo>
                    <a:pt x="703" y="82"/>
                  </a:lnTo>
                  <a:lnTo>
                    <a:pt x="712" y="85"/>
                  </a:lnTo>
                  <a:lnTo>
                    <a:pt x="720" y="88"/>
                  </a:lnTo>
                  <a:lnTo>
                    <a:pt x="729" y="89"/>
                  </a:lnTo>
                  <a:lnTo>
                    <a:pt x="738" y="90"/>
                  </a:lnTo>
                  <a:lnTo>
                    <a:pt x="741" y="90"/>
                  </a:lnTo>
                  <a:lnTo>
                    <a:pt x="744" y="89"/>
                  </a:lnTo>
                  <a:lnTo>
                    <a:pt x="746" y="87"/>
                  </a:lnTo>
                  <a:lnTo>
                    <a:pt x="748" y="86"/>
                  </a:lnTo>
                  <a:lnTo>
                    <a:pt x="750" y="84"/>
                  </a:lnTo>
                  <a:lnTo>
                    <a:pt x="752" y="81"/>
                  </a:lnTo>
                  <a:lnTo>
                    <a:pt x="753" y="78"/>
                  </a:lnTo>
                  <a:lnTo>
                    <a:pt x="753" y="75"/>
                  </a:lnTo>
                  <a:lnTo>
                    <a:pt x="753" y="72"/>
                  </a:lnTo>
                  <a:lnTo>
                    <a:pt x="752" y="69"/>
                  </a:lnTo>
                  <a:lnTo>
                    <a:pt x="750" y="67"/>
                  </a:lnTo>
                  <a:lnTo>
                    <a:pt x="748" y="64"/>
                  </a:lnTo>
                  <a:lnTo>
                    <a:pt x="746" y="62"/>
                  </a:lnTo>
                  <a:lnTo>
                    <a:pt x="744" y="61"/>
                  </a:lnTo>
                  <a:lnTo>
                    <a:pt x="741" y="60"/>
                  </a:lnTo>
                  <a:lnTo>
                    <a:pt x="73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3" name="Group 56">
            <a:extLst>
              <a:ext uri="{FF2B5EF4-FFF2-40B4-BE49-F238E27FC236}">
                <a16:creationId xmlns:a16="http://schemas.microsoft.com/office/drawing/2014/main" id="{CD2D2923-1F73-45AD-9EB5-25BF7FCFDC54}"/>
              </a:ext>
            </a:extLst>
          </p:cNvPr>
          <p:cNvGrpSpPr>
            <a:grpSpLocks noChangeAspect="1"/>
          </p:cNvGrpSpPr>
          <p:nvPr/>
        </p:nvGrpSpPr>
        <p:grpSpPr>
          <a:xfrm>
            <a:off x="1042629" y="2764780"/>
            <a:ext cx="298342" cy="258783"/>
            <a:chOff x="8736013" y="2536825"/>
            <a:chExt cx="287338" cy="249238"/>
          </a:xfrm>
          <a:solidFill>
            <a:schemeClr val="bg2"/>
          </a:solidFill>
          <a:effectLst/>
        </p:grpSpPr>
        <p:sp>
          <p:nvSpPr>
            <p:cNvPr id="1084" name="Freeform 219">
              <a:extLst>
                <a:ext uri="{FF2B5EF4-FFF2-40B4-BE49-F238E27FC236}">
                  <a16:creationId xmlns:a16="http://schemas.microsoft.com/office/drawing/2014/main" id="{191A8198-AFC9-4293-AD47-3BA98222715A}"/>
                </a:ext>
              </a:extLst>
            </p:cNvPr>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220">
              <a:extLst>
                <a:ext uri="{FF2B5EF4-FFF2-40B4-BE49-F238E27FC236}">
                  <a16:creationId xmlns:a16="http://schemas.microsoft.com/office/drawing/2014/main" id="{EB3D65B2-E517-4C66-97FC-83EADB8FA523}"/>
                </a:ext>
              </a:extLst>
            </p:cNvPr>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221">
              <a:extLst>
                <a:ext uri="{FF2B5EF4-FFF2-40B4-BE49-F238E27FC236}">
                  <a16:creationId xmlns:a16="http://schemas.microsoft.com/office/drawing/2014/main" id="{2F247201-A7AF-492D-A95A-4D23532F237A}"/>
                </a:ext>
              </a:extLst>
            </p:cNvPr>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222">
              <a:extLst>
                <a:ext uri="{FF2B5EF4-FFF2-40B4-BE49-F238E27FC236}">
                  <a16:creationId xmlns:a16="http://schemas.microsoft.com/office/drawing/2014/main" id="{40670E59-595D-4277-9461-EB2D980C0D48}"/>
                </a:ext>
              </a:extLst>
            </p:cNvPr>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223">
              <a:extLst>
                <a:ext uri="{FF2B5EF4-FFF2-40B4-BE49-F238E27FC236}">
                  <a16:creationId xmlns:a16="http://schemas.microsoft.com/office/drawing/2014/main" id="{D361A2C5-DF3A-47D7-92C3-71172DCC7C76}"/>
                </a:ext>
              </a:extLst>
            </p:cNvPr>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224">
              <a:extLst>
                <a:ext uri="{FF2B5EF4-FFF2-40B4-BE49-F238E27FC236}">
                  <a16:creationId xmlns:a16="http://schemas.microsoft.com/office/drawing/2014/main" id="{CE4A2DC7-9B7E-4B3D-B1E9-96467CE8A545}"/>
                </a:ext>
              </a:extLst>
            </p:cNvPr>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0" name="Group 83">
            <a:extLst>
              <a:ext uri="{FF2B5EF4-FFF2-40B4-BE49-F238E27FC236}">
                <a16:creationId xmlns:a16="http://schemas.microsoft.com/office/drawing/2014/main" id="{3B122029-C5EC-4EC5-8030-4BE7A20636EC}"/>
              </a:ext>
            </a:extLst>
          </p:cNvPr>
          <p:cNvGrpSpPr>
            <a:grpSpLocks noChangeAspect="1"/>
          </p:cNvGrpSpPr>
          <p:nvPr/>
        </p:nvGrpSpPr>
        <p:grpSpPr>
          <a:xfrm>
            <a:off x="1423207" y="2778978"/>
            <a:ext cx="298342" cy="230387"/>
            <a:chOff x="7591425" y="2565400"/>
            <a:chExt cx="285750" cy="220663"/>
          </a:xfrm>
          <a:solidFill>
            <a:schemeClr val="bg2"/>
          </a:solidFill>
          <a:effectLst/>
        </p:grpSpPr>
        <p:sp>
          <p:nvSpPr>
            <p:cNvPr id="1091" name="Freeform 101">
              <a:extLst>
                <a:ext uri="{FF2B5EF4-FFF2-40B4-BE49-F238E27FC236}">
                  <a16:creationId xmlns:a16="http://schemas.microsoft.com/office/drawing/2014/main" id="{01C5CCE5-A9FC-42A9-883C-B78A80782279}"/>
                </a:ext>
              </a:extLst>
            </p:cNvPr>
            <p:cNvSpPr>
              <a:spLocks noEditPoints="1"/>
            </p:cNvSpPr>
            <p:nvPr/>
          </p:nvSpPr>
          <p:spPr bwMode="auto">
            <a:xfrm>
              <a:off x="7791450" y="2719388"/>
              <a:ext cx="66675" cy="66675"/>
            </a:xfrm>
            <a:custGeom>
              <a:avLst/>
              <a:gdLst>
                <a:gd name="T0" fmla="*/ 90 w 210"/>
                <a:gd name="T1" fmla="*/ 179 h 210"/>
                <a:gd name="T2" fmla="*/ 70 w 210"/>
                <a:gd name="T3" fmla="*/ 172 h 210"/>
                <a:gd name="T4" fmla="*/ 52 w 210"/>
                <a:gd name="T5" fmla="*/ 159 h 210"/>
                <a:gd name="T6" fmla="*/ 39 w 210"/>
                <a:gd name="T7" fmla="*/ 141 h 210"/>
                <a:gd name="T8" fmla="*/ 31 w 210"/>
                <a:gd name="T9" fmla="*/ 120 h 210"/>
                <a:gd name="T10" fmla="*/ 30 w 210"/>
                <a:gd name="T11" fmla="*/ 98 h 210"/>
                <a:gd name="T12" fmla="*/ 36 w 210"/>
                <a:gd name="T13" fmla="*/ 76 h 210"/>
                <a:gd name="T14" fmla="*/ 47 w 210"/>
                <a:gd name="T15" fmla="*/ 57 h 210"/>
                <a:gd name="T16" fmla="*/ 63 w 210"/>
                <a:gd name="T17" fmla="*/ 43 h 210"/>
                <a:gd name="T18" fmla="*/ 82 w 210"/>
                <a:gd name="T19" fmla="*/ 34 h 210"/>
                <a:gd name="T20" fmla="*/ 105 w 210"/>
                <a:gd name="T21" fmla="*/ 30 h 210"/>
                <a:gd name="T22" fmla="*/ 127 w 210"/>
                <a:gd name="T23" fmla="*/ 34 h 210"/>
                <a:gd name="T24" fmla="*/ 147 w 210"/>
                <a:gd name="T25" fmla="*/ 43 h 210"/>
                <a:gd name="T26" fmla="*/ 163 w 210"/>
                <a:gd name="T27" fmla="*/ 57 h 210"/>
                <a:gd name="T28" fmla="*/ 175 w 210"/>
                <a:gd name="T29" fmla="*/ 76 h 210"/>
                <a:gd name="T30" fmla="*/ 180 w 210"/>
                <a:gd name="T31" fmla="*/ 98 h 210"/>
                <a:gd name="T32" fmla="*/ 179 w 210"/>
                <a:gd name="T33" fmla="*/ 120 h 210"/>
                <a:gd name="T34" fmla="*/ 171 w 210"/>
                <a:gd name="T35" fmla="*/ 141 h 210"/>
                <a:gd name="T36" fmla="*/ 159 w 210"/>
                <a:gd name="T37" fmla="*/ 158 h 210"/>
                <a:gd name="T38" fmla="*/ 141 w 210"/>
                <a:gd name="T39" fmla="*/ 172 h 210"/>
                <a:gd name="T40" fmla="*/ 120 w 210"/>
                <a:gd name="T41" fmla="*/ 179 h 210"/>
                <a:gd name="T42" fmla="*/ 105 w 210"/>
                <a:gd name="T43" fmla="*/ 0 h 210"/>
                <a:gd name="T44" fmla="*/ 74 w 210"/>
                <a:gd name="T45" fmla="*/ 5 h 210"/>
                <a:gd name="T46" fmla="*/ 46 w 210"/>
                <a:gd name="T47" fmla="*/ 18 h 210"/>
                <a:gd name="T48" fmla="*/ 24 w 210"/>
                <a:gd name="T49" fmla="*/ 38 h 210"/>
                <a:gd name="T50" fmla="*/ 9 w 210"/>
                <a:gd name="T51" fmla="*/ 65 h 210"/>
                <a:gd name="T52" fmla="*/ 0 w 210"/>
                <a:gd name="T53" fmla="*/ 95 h 210"/>
                <a:gd name="T54" fmla="*/ 2 w 210"/>
                <a:gd name="T55" fmla="*/ 127 h 210"/>
                <a:gd name="T56" fmla="*/ 13 w 210"/>
                <a:gd name="T57" fmla="*/ 156 h 210"/>
                <a:gd name="T58" fmla="*/ 31 w 210"/>
                <a:gd name="T59" fmla="*/ 179 h 210"/>
                <a:gd name="T60" fmla="*/ 55 w 210"/>
                <a:gd name="T61" fmla="*/ 197 h 210"/>
                <a:gd name="T62" fmla="*/ 84 w 210"/>
                <a:gd name="T63" fmla="*/ 208 h 210"/>
                <a:gd name="T64" fmla="*/ 116 w 210"/>
                <a:gd name="T65" fmla="*/ 210 h 210"/>
                <a:gd name="T66" fmla="*/ 146 w 210"/>
                <a:gd name="T67" fmla="*/ 202 h 210"/>
                <a:gd name="T68" fmla="*/ 172 w 210"/>
                <a:gd name="T69" fmla="*/ 187 h 210"/>
                <a:gd name="T70" fmla="*/ 193 w 210"/>
                <a:gd name="T71" fmla="*/ 164 h 210"/>
                <a:gd name="T72" fmla="*/ 206 w 210"/>
                <a:gd name="T73" fmla="*/ 136 h 210"/>
                <a:gd name="T74" fmla="*/ 210 w 210"/>
                <a:gd name="T75" fmla="*/ 105 h 210"/>
                <a:gd name="T76" fmla="*/ 206 w 210"/>
                <a:gd name="T77" fmla="*/ 74 h 210"/>
                <a:gd name="T78" fmla="*/ 193 w 210"/>
                <a:gd name="T79" fmla="*/ 46 h 210"/>
                <a:gd name="T80" fmla="*/ 172 w 210"/>
                <a:gd name="T81" fmla="*/ 24 h 210"/>
                <a:gd name="T82" fmla="*/ 146 w 210"/>
                <a:gd name="T83" fmla="*/ 8 h 210"/>
                <a:gd name="T84" fmla="*/ 116 w 210"/>
                <a:gd name="T8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70" y="172"/>
                  </a:lnTo>
                  <a:lnTo>
                    <a:pt x="63" y="167"/>
                  </a:lnTo>
                  <a:lnTo>
                    <a:pt x="58" y="163"/>
                  </a:lnTo>
                  <a:lnTo>
                    <a:pt x="52" y="159"/>
                  </a:lnTo>
                  <a:lnTo>
                    <a:pt x="47" y="154"/>
                  </a:lnTo>
                  <a:lnTo>
                    <a:pt x="43" y="147"/>
                  </a:lnTo>
                  <a:lnTo>
                    <a:pt x="39" y="141"/>
                  </a:lnTo>
                  <a:lnTo>
                    <a:pt x="36" y="134"/>
                  </a:lnTo>
                  <a:lnTo>
                    <a:pt x="33" y="128"/>
                  </a:lnTo>
                  <a:lnTo>
                    <a:pt x="31" y="120"/>
                  </a:lnTo>
                  <a:lnTo>
                    <a:pt x="30" y="113"/>
                  </a:lnTo>
                  <a:lnTo>
                    <a:pt x="30" y="105"/>
                  </a:lnTo>
                  <a:lnTo>
                    <a:pt x="30" y="98"/>
                  </a:lnTo>
                  <a:lnTo>
                    <a:pt x="31" y="90"/>
                  </a:lnTo>
                  <a:lnTo>
                    <a:pt x="33" y="83"/>
                  </a:lnTo>
                  <a:lnTo>
                    <a:pt x="36" y="76"/>
                  </a:lnTo>
                  <a:lnTo>
                    <a:pt x="39" y="69"/>
                  </a:lnTo>
                  <a:lnTo>
                    <a:pt x="43" y="64"/>
                  </a:lnTo>
                  <a:lnTo>
                    <a:pt x="47" y="57"/>
                  </a:lnTo>
                  <a:lnTo>
                    <a:pt x="52" y="52"/>
                  </a:lnTo>
                  <a:lnTo>
                    <a:pt x="58" y="48"/>
                  </a:lnTo>
                  <a:lnTo>
                    <a:pt x="63" y="43"/>
                  </a:lnTo>
                  <a:lnTo>
                    <a:pt x="70" y="39"/>
                  </a:lnTo>
                  <a:lnTo>
                    <a:pt x="76" y="36"/>
                  </a:lnTo>
                  <a:lnTo>
                    <a:pt x="82" y="34"/>
                  </a:lnTo>
                  <a:lnTo>
                    <a:pt x="90" y="31"/>
                  </a:lnTo>
                  <a:lnTo>
                    <a:pt x="97" y="30"/>
                  </a:lnTo>
                  <a:lnTo>
                    <a:pt x="105" y="30"/>
                  </a:lnTo>
                  <a:lnTo>
                    <a:pt x="112" y="30"/>
                  </a:lnTo>
                  <a:lnTo>
                    <a:pt x="120" y="31"/>
                  </a:lnTo>
                  <a:lnTo>
                    <a:pt x="127" y="34"/>
                  </a:lnTo>
                  <a:lnTo>
                    <a:pt x="134" y="36"/>
                  </a:lnTo>
                  <a:lnTo>
                    <a:pt x="141" y="39"/>
                  </a:lnTo>
                  <a:lnTo>
                    <a:pt x="147" y="43"/>
                  </a:lnTo>
                  <a:lnTo>
                    <a:pt x="153" y="48"/>
                  </a:lnTo>
                  <a:lnTo>
                    <a:pt x="159" y="52"/>
                  </a:lnTo>
                  <a:lnTo>
                    <a:pt x="163" y="57"/>
                  </a:lnTo>
                  <a:lnTo>
                    <a:pt x="167" y="64"/>
                  </a:lnTo>
                  <a:lnTo>
                    <a:pt x="171" y="69"/>
                  </a:lnTo>
                  <a:lnTo>
                    <a:pt x="175" y="76"/>
                  </a:lnTo>
                  <a:lnTo>
                    <a:pt x="177" y="83"/>
                  </a:lnTo>
                  <a:lnTo>
                    <a:pt x="179" y="90"/>
                  </a:lnTo>
                  <a:lnTo>
                    <a:pt x="180" y="98"/>
                  </a:lnTo>
                  <a:lnTo>
                    <a:pt x="180" y="105"/>
                  </a:lnTo>
                  <a:lnTo>
                    <a:pt x="180" y="113"/>
                  </a:lnTo>
                  <a:lnTo>
                    <a:pt x="179" y="120"/>
                  </a:lnTo>
                  <a:lnTo>
                    <a:pt x="177" y="128"/>
                  </a:lnTo>
                  <a:lnTo>
                    <a:pt x="175" y="134"/>
                  </a:lnTo>
                  <a:lnTo>
                    <a:pt x="171" y="141"/>
                  </a:lnTo>
                  <a:lnTo>
                    <a:pt x="167" y="147"/>
                  </a:lnTo>
                  <a:lnTo>
                    <a:pt x="163" y="152"/>
                  </a:lnTo>
                  <a:lnTo>
                    <a:pt x="159" y="158"/>
                  </a:lnTo>
                  <a:lnTo>
                    <a:pt x="153" y="163"/>
                  </a:lnTo>
                  <a:lnTo>
                    <a:pt x="147" y="167"/>
                  </a:lnTo>
                  <a:lnTo>
                    <a:pt x="141" y="172"/>
                  </a:lnTo>
                  <a:lnTo>
                    <a:pt x="134" y="175"/>
                  </a:lnTo>
                  <a:lnTo>
                    <a:pt x="127" y="177"/>
                  </a:lnTo>
                  <a:lnTo>
                    <a:pt x="120" y="179"/>
                  </a:lnTo>
                  <a:lnTo>
                    <a:pt x="112" y="180"/>
                  </a:lnTo>
                  <a:lnTo>
                    <a:pt x="105" y="180"/>
                  </a:lnTo>
                  <a:close/>
                  <a:moveTo>
                    <a:pt x="105" y="0"/>
                  </a:moveTo>
                  <a:lnTo>
                    <a:pt x="94" y="0"/>
                  </a:lnTo>
                  <a:lnTo>
                    <a:pt x="84" y="3"/>
                  </a:lnTo>
                  <a:lnTo>
                    <a:pt x="74" y="5"/>
                  </a:lnTo>
                  <a:lnTo>
                    <a:pt x="64" y="8"/>
                  </a:lnTo>
                  <a:lnTo>
                    <a:pt x="55" y="12"/>
                  </a:lnTo>
                  <a:lnTo>
                    <a:pt x="46" y="18"/>
                  </a:lnTo>
                  <a:lnTo>
                    <a:pt x="39" y="24"/>
                  </a:lnTo>
                  <a:lnTo>
                    <a:pt x="31" y="30"/>
                  </a:lnTo>
                  <a:lnTo>
                    <a:pt x="24" y="38"/>
                  </a:lnTo>
                  <a:lnTo>
                    <a:pt x="18" y="46"/>
                  </a:lnTo>
                  <a:lnTo>
                    <a:pt x="13" y="55"/>
                  </a:lnTo>
                  <a:lnTo>
                    <a:pt x="9" y="65"/>
                  </a:lnTo>
                  <a:lnTo>
                    <a:pt x="4" y="74"/>
                  </a:lnTo>
                  <a:lnTo>
                    <a:pt x="2" y="84"/>
                  </a:lnTo>
                  <a:lnTo>
                    <a:pt x="0" y="95"/>
                  </a:lnTo>
                  <a:lnTo>
                    <a:pt x="0" y="105"/>
                  </a:lnTo>
                  <a:lnTo>
                    <a:pt x="0" y="116"/>
                  </a:lnTo>
                  <a:lnTo>
                    <a:pt x="2" y="127"/>
                  </a:lnTo>
                  <a:lnTo>
                    <a:pt x="4" y="136"/>
                  </a:lnTo>
                  <a:lnTo>
                    <a:pt x="9" y="146"/>
                  </a:lnTo>
                  <a:lnTo>
                    <a:pt x="13" y="156"/>
                  </a:lnTo>
                  <a:lnTo>
                    <a:pt x="18" y="164"/>
                  </a:lnTo>
                  <a:lnTo>
                    <a:pt x="24" y="172"/>
                  </a:lnTo>
                  <a:lnTo>
                    <a:pt x="31" y="179"/>
                  </a:lnTo>
                  <a:lnTo>
                    <a:pt x="39" y="187"/>
                  </a:lnTo>
                  <a:lnTo>
                    <a:pt x="46" y="192"/>
                  </a:lnTo>
                  <a:lnTo>
                    <a:pt x="55" y="197"/>
                  </a:lnTo>
                  <a:lnTo>
                    <a:pt x="64" y="202"/>
                  </a:lnTo>
                  <a:lnTo>
                    <a:pt x="74" y="206"/>
                  </a:lnTo>
                  <a:lnTo>
                    <a:pt x="84" y="208"/>
                  </a:lnTo>
                  <a:lnTo>
                    <a:pt x="94" y="210"/>
                  </a:lnTo>
                  <a:lnTo>
                    <a:pt x="105" y="210"/>
                  </a:lnTo>
                  <a:lnTo>
                    <a:pt x="116" y="210"/>
                  </a:lnTo>
                  <a:lnTo>
                    <a:pt x="126" y="208"/>
                  </a:lnTo>
                  <a:lnTo>
                    <a:pt x="136" y="206"/>
                  </a:lnTo>
                  <a:lnTo>
                    <a:pt x="146" y="202"/>
                  </a:lnTo>
                  <a:lnTo>
                    <a:pt x="155" y="197"/>
                  </a:lnTo>
                  <a:lnTo>
                    <a:pt x="164" y="192"/>
                  </a:lnTo>
                  <a:lnTo>
                    <a:pt x="172" y="187"/>
                  </a:lnTo>
                  <a:lnTo>
                    <a:pt x="180" y="179"/>
                  </a:lnTo>
                  <a:lnTo>
                    <a:pt x="186" y="172"/>
                  </a:lnTo>
                  <a:lnTo>
                    <a:pt x="193" y="164"/>
                  </a:lnTo>
                  <a:lnTo>
                    <a:pt x="198" y="156"/>
                  </a:lnTo>
                  <a:lnTo>
                    <a:pt x="202" y="146"/>
                  </a:lnTo>
                  <a:lnTo>
                    <a:pt x="206" y="136"/>
                  </a:lnTo>
                  <a:lnTo>
                    <a:pt x="208" y="127"/>
                  </a:lnTo>
                  <a:lnTo>
                    <a:pt x="210" y="116"/>
                  </a:lnTo>
                  <a:lnTo>
                    <a:pt x="210" y="105"/>
                  </a:lnTo>
                  <a:lnTo>
                    <a:pt x="210" y="95"/>
                  </a:lnTo>
                  <a:lnTo>
                    <a:pt x="208" y="84"/>
                  </a:lnTo>
                  <a:lnTo>
                    <a:pt x="206" y="74"/>
                  </a:lnTo>
                  <a:lnTo>
                    <a:pt x="202" y="65"/>
                  </a:lnTo>
                  <a:lnTo>
                    <a:pt x="198" y="55"/>
                  </a:lnTo>
                  <a:lnTo>
                    <a:pt x="193" y="46"/>
                  </a:lnTo>
                  <a:lnTo>
                    <a:pt x="186" y="38"/>
                  </a:lnTo>
                  <a:lnTo>
                    <a:pt x="180" y="30"/>
                  </a:lnTo>
                  <a:lnTo>
                    <a:pt x="172" y="24"/>
                  </a:lnTo>
                  <a:lnTo>
                    <a:pt x="164" y="18"/>
                  </a:lnTo>
                  <a:lnTo>
                    <a:pt x="155" y="13"/>
                  </a:lnTo>
                  <a:lnTo>
                    <a:pt x="146" y="8"/>
                  </a:lnTo>
                  <a:lnTo>
                    <a:pt x="136" y="5"/>
                  </a:lnTo>
                  <a:lnTo>
                    <a:pt x="126" y="3"/>
                  </a:lnTo>
                  <a:lnTo>
                    <a:pt x="116"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02">
              <a:extLst>
                <a:ext uri="{FF2B5EF4-FFF2-40B4-BE49-F238E27FC236}">
                  <a16:creationId xmlns:a16="http://schemas.microsoft.com/office/drawing/2014/main" id="{CB88AA01-63B5-405B-80B8-CD01CE1852A4}"/>
                </a:ext>
              </a:extLst>
            </p:cNvPr>
            <p:cNvSpPr>
              <a:spLocks noEditPoints="1"/>
            </p:cNvSpPr>
            <p:nvPr/>
          </p:nvSpPr>
          <p:spPr bwMode="auto">
            <a:xfrm>
              <a:off x="7658100" y="2719388"/>
              <a:ext cx="66675" cy="66675"/>
            </a:xfrm>
            <a:custGeom>
              <a:avLst/>
              <a:gdLst>
                <a:gd name="T0" fmla="*/ 90 w 210"/>
                <a:gd name="T1" fmla="*/ 179 h 210"/>
                <a:gd name="T2" fmla="*/ 70 w 210"/>
                <a:gd name="T3" fmla="*/ 172 h 210"/>
                <a:gd name="T4" fmla="*/ 52 w 210"/>
                <a:gd name="T5" fmla="*/ 159 h 210"/>
                <a:gd name="T6" fmla="*/ 39 w 210"/>
                <a:gd name="T7" fmla="*/ 141 h 210"/>
                <a:gd name="T8" fmla="*/ 31 w 210"/>
                <a:gd name="T9" fmla="*/ 120 h 210"/>
                <a:gd name="T10" fmla="*/ 30 w 210"/>
                <a:gd name="T11" fmla="*/ 98 h 210"/>
                <a:gd name="T12" fmla="*/ 36 w 210"/>
                <a:gd name="T13" fmla="*/ 76 h 210"/>
                <a:gd name="T14" fmla="*/ 47 w 210"/>
                <a:gd name="T15" fmla="*/ 57 h 210"/>
                <a:gd name="T16" fmla="*/ 63 w 210"/>
                <a:gd name="T17" fmla="*/ 43 h 210"/>
                <a:gd name="T18" fmla="*/ 82 w 210"/>
                <a:gd name="T19" fmla="*/ 34 h 210"/>
                <a:gd name="T20" fmla="*/ 105 w 210"/>
                <a:gd name="T21" fmla="*/ 30 h 210"/>
                <a:gd name="T22" fmla="*/ 127 w 210"/>
                <a:gd name="T23" fmla="*/ 34 h 210"/>
                <a:gd name="T24" fmla="*/ 147 w 210"/>
                <a:gd name="T25" fmla="*/ 43 h 210"/>
                <a:gd name="T26" fmla="*/ 163 w 210"/>
                <a:gd name="T27" fmla="*/ 57 h 210"/>
                <a:gd name="T28" fmla="*/ 175 w 210"/>
                <a:gd name="T29" fmla="*/ 76 h 210"/>
                <a:gd name="T30" fmla="*/ 180 w 210"/>
                <a:gd name="T31" fmla="*/ 98 h 210"/>
                <a:gd name="T32" fmla="*/ 179 w 210"/>
                <a:gd name="T33" fmla="*/ 120 h 210"/>
                <a:gd name="T34" fmla="*/ 171 w 210"/>
                <a:gd name="T35" fmla="*/ 141 h 210"/>
                <a:gd name="T36" fmla="*/ 159 w 210"/>
                <a:gd name="T37" fmla="*/ 158 h 210"/>
                <a:gd name="T38" fmla="*/ 141 w 210"/>
                <a:gd name="T39" fmla="*/ 172 h 210"/>
                <a:gd name="T40" fmla="*/ 120 w 210"/>
                <a:gd name="T41" fmla="*/ 179 h 210"/>
                <a:gd name="T42" fmla="*/ 105 w 210"/>
                <a:gd name="T43" fmla="*/ 0 h 210"/>
                <a:gd name="T44" fmla="*/ 74 w 210"/>
                <a:gd name="T45" fmla="*/ 5 h 210"/>
                <a:gd name="T46" fmla="*/ 46 w 210"/>
                <a:gd name="T47" fmla="*/ 18 h 210"/>
                <a:gd name="T48" fmla="*/ 24 w 210"/>
                <a:gd name="T49" fmla="*/ 38 h 210"/>
                <a:gd name="T50" fmla="*/ 9 w 210"/>
                <a:gd name="T51" fmla="*/ 65 h 210"/>
                <a:gd name="T52" fmla="*/ 0 w 210"/>
                <a:gd name="T53" fmla="*/ 95 h 210"/>
                <a:gd name="T54" fmla="*/ 2 w 210"/>
                <a:gd name="T55" fmla="*/ 127 h 210"/>
                <a:gd name="T56" fmla="*/ 13 w 210"/>
                <a:gd name="T57" fmla="*/ 156 h 210"/>
                <a:gd name="T58" fmla="*/ 31 w 210"/>
                <a:gd name="T59" fmla="*/ 179 h 210"/>
                <a:gd name="T60" fmla="*/ 55 w 210"/>
                <a:gd name="T61" fmla="*/ 197 h 210"/>
                <a:gd name="T62" fmla="*/ 84 w 210"/>
                <a:gd name="T63" fmla="*/ 208 h 210"/>
                <a:gd name="T64" fmla="*/ 116 w 210"/>
                <a:gd name="T65" fmla="*/ 210 h 210"/>
                <a:gd name="T66" fmla="*/ 146 w 210"/>
                <a:gd name="T67" fmla="*/ 202 h 210"/>
                <a:gd name="T68" fmla="*/ 172 w 210"/>
                <a:gd name="T69" fmla="*/ 187 h 210"/>
                <a:gd name="T70" fmla="*/ 193 w 210"/>
                <a:gd name="T71" fmla="*/ 164 h 210"/>
                <a:gd name="T72" fmla="*/ 206 w 210"/>
                <a:gd name="T73" fmla="*/ 136 h 210"/>
                <a:gd name="T74" fmla="*/ 210 w 210"/>
                <a:gd name="T75" fmla="*/ 105 h 210"/>
                <a:gd name="T76" fmla="*/ 206 w 210"/>
                <a:gd name="T77" fmla="*/ 74 h 210"/>
                <a:gd name="T78" fmla="*/ 193 w 210"/>
                <a:gd name="T79" fmla="*/ 46 h 210"/>
                <a:gd name="T80" fmla="*/ 172 w 210"/>
                <a:gd name="T81" fmla="*/ 24 h 210"/>
                <a:gd name="T82" fmla="*/ 146 w 210"/>
                <a:gd name="T83" fmla="*/ 8 h 210"/>
                <a:gd name="T84" fmla="*/ 116 w 210"/>
                <a:gd name="T8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70" y="172"/>
                  </a:lnTo>
                  <a:lnTo>
                    <a:pt x="63" y="167"/>
                  </a:lnTo>
                  <a:lnTo>
                    <a:pt x="58" y="163"/>
                  </a:lnTo>
                  <a:lnTo>
                    <a:pt x="52" y="159"/>
                  </a:lnTo>
                  <a:lnTo>
                    <a:pt x="47" y="154"/>
                  </a:lnTo>
                  <a:lnTo>
                    <a:pt x="43" y="147"/>
                  </a:lnTo>
                  <a:lnTo>
                    <a:pt x="39" y="141"/>
                  </a:lnTo>
                  <a:lnTo>
                    <a:pt x="36" y="134"/>
                  </a:lnTo>
                  <a:lnTo>
                    <a:pt x="33" y="128"/>
                  </a:lnTo>
                  <a:lnTo>
                    <a:pt x="31" y="120"/>
                  </a:lnTo>
                  <a:lnTo>
                    <a:pt x="30" y="113"/>
                  </a:lnTo>
                  <a:lnTo>
                    <a:pt x="30" y="105"/>
                  </a:lnTo>
                  <a:lnTo>
                    <a:pt x="30" y="98"/>
                  </a:lnTo>
                  <a:lnTo>
                    <a:pt x="31" y="90"/>
                  </a:lnTo>
                  <a:lnTo>
                    <a:pt x="33" y="83"/>
                  </a:lnTo>
                  <a:lnTo>
                    <a:pt x="36" y="76"/>
                  </a:lnTo>
                  <a:lnTo>
                    <a:pt x="39" y="69"/>
                  </a:lnTo>
                  <a:lnTo>
                    <a:pt x="43" y="64"/>
                  </a:lnTo>
                  <a:lnTo>
                    <a:pt x="47" y="57"/>
                  </a:lnTo>
                  <a:lnTo>
                    <a:pt x="52" y="52"/>
                  </a:lnTo>
                  <a:lnTo>
                    <a:pt x="58" y="48"/>
                  </a:lnTo>
                  <a:lnTo>
                    <a:pt x="63" y="43"/>
                  </a:lnTo>
                  <a:lnTo>
                    <a:pt x="70" y="39"/>
                  </a:lnTo>
                  <a:lnTo>
                    <a:pt x="76" y="36"/>
                  </a:lnTo>
                  <a:lnTo>
                    <a:pt x="82" y="34"/>
                  </a:lnTo>
                  <a:lnTo>
                    <a:pt x="90" y="31"/>
                  </a:lnTo>
                  <a:lnTo>
                    <a:pt x="97" y="30"/>
                  </a:lnTo>
                  <a:lnTo>
                    <a:pt x="105" y="30"/>
                  </a:lnTo>
                  <a:lnTo>
                    <a:pt x="112" y="30"/>
                  </a:lnTo>
                  <a:lnTo>
                    <a:pt x="120" y="31"/>
                  </a:lnTo>
                  <a:lnTo>
                    <a:pt x="127" y="34"/>
                  </a:lnTo>
                  <a:lnTo>
                    <a:pt x="134" y="36"/>
                  </a:lnTo>
                  <a:lnTo>
                    <a:pt x="141" y="39"/>
                  </a:lnTo>
                  <a:lnTo>
                    <a:pt x="147" y="43"/>
                  </a:lnTo>
                  <a:lnTo>
                    <a:pt x="153" y="48"/>
                  </a:lnTo>
                  <a:lnTo>
                    <a:pt x="159" y="52"/>
                  </a:lnTo>
                  <a:lnTo>
                    <a:pt x="163" y="57"/>
                  </a:lnTo>
                  <a:lnTo>
                    <a:pt x="167" y="64"/>
                  </a:lnTo>
                  <a:lnTo>
                    <a:pt x="171" y="69"/>
                  </a:lnTo>
                  <a:lnTo>
                    <a:pt x="175" y="76"/>
                  </a:lnTo>
                  <a:lnTo>
                    <a:pt x="177" y="83"/>
                  </a:lnTo>
                  <a:lnTo>
                    <a:pt x="179" y="90"/>
                  </a:lnTo>
                  <a:lnTo>
                    <a:pt x="180" y="98"/>
                  </a:lnTo>
                  <a:lnTo>
                    <a:pt x="180" y="105"/>
                  </a:lnTo>
                  <a:lnTo>
                    <a:pt x="180" y="113"/>
                  </a:lnTo>
                  <a:lnTo>
                    <a:pt x="179" y="120"/>
                  </a:lnTo>
                  <a:lnTo>
                    <a:pt x="177" y="128"/>
                  </a:lnTo>
                  <a:lnTo>
                    <a:pt x="175" y="134"/>
                  </a:lnTo>
                  <a:lnTo>
                    <a:pt x="171" y="141"/>
                  </a:lnTo>
                  <a:lnTo>
                    <a:pt x="167" y="147"/>
                  </a:lnTo>
                  <a:lnTo>
                    <a:pt x="163" y="152"/>
                  </a:lnTo>
                  <a:lnTo>
                    <a:pt x="159" y="158"/>
                  </a:lnTo>
                  <a:lnTo>
                    <a:pt x="153" y="163"/>
                  </a:lnTo>
                  <a:lnTo>
                    <a:pt x="147" y="167"/>
                  </a:lnTo>
                  <a:lnTo>
                    <a:pt x="141" y="172"/>
                  </a:lnTo>
                  <a:lnTo>
                    <a:pt x="134" y="175"/>
                  </a:lnTo>
                  <a:lnTo>
                    <a:pt x="127" y="177"/>
                  </a:lnTo>
                  <a:lnTo>
                    <a:pt x="120" y="179"/>
                  </a:lnTo>
                  <a:lnTo>
                    <a:pt x="112" y="180"/>
                  </a:lnTo>
                  <a:lnTo>
                    <a:pt x="105" y="180"/>
                  </a:lnTo>
                  <a:close/>
                  <a:moveTo>
                    <a:pt x="105" y="0"/>
                  </a:moveTo>
                  <a:lnTo>
                    <a:pt x="94" y="0"/>
                  </a:lnTo>
                  <a:lnTo>
                    <a:pt x="84" y="3"/>
                  </a:lnTo>
                  <a:lnTo>
                    <a:pt x="74" y="5"/>
                  </a:lnTo>
                  <a:lnTo>
                    <a:pt x="64" y="8"/>
                  </a:lnTo>
                  <a:lnTo>
                    <a:pt x="55" y="12"/>
                  </a:lnTo>
                  <a:lnTo>
                    <a:pt x="46" y="18"/>
                  </a:lnTo>
                  <a:lnTo>
                    <a:pt x="39" y="24"/>
                  </a:lnTo>
                  <a:lnTo>
                    <a:pt x="31" y="30"/>
                  </a:lnTo>
                  <a:lnTo>
                    <a:pt x="24" y="38"/>
                  </a:lnTo>
                  <a:lnTo>
                    <a:pt x="18" y="46"/>
                  </a:lnTo>
                  <a:lnTo>
                    <a:pt x="13" y="55"/>
                  </a:lnTo>
                  <a:lnTo>
                    <a:pt x="9" y="65"/>
                  </a:lnTo>
                  <a:lnTo>
                    <a:pt x="4" y="74"/>
                  </a:lnTo>
                  <a:lnTo>
                    <a:pt x="2" y="84"/>
                  </a:lnTo>
                  <a:lnTo>
                    <a:pt x="0" y="95"/>
                  </a:lnTo>
                  <a:lnTo>
                    <a:pt x="0" y="105"/>
                  </a:lnTo>
                  <a:lnTo>
                    <a:pt x="0" y="116"/>
                  </a:lnTo>
                  <a:lnTo>
                    <a:pt x="2" y="127"/>
                  </a:lnTo>
                  <a:lnTo>
                    <a:pt x="4" y="136"/>
                  </a:lnTo>
                  <a:lnTo>
                    <a:pt x="9" y="146"/>
                  </a:lnTo>
                  <a:lnTo>
                    <a:pt x="13" y="156"/>
                  </a:lnTo>
                  <a:lnTo>
                    <a:pt x="18" y="164"/>
                  </a:lnTo>
                  <a:lnTo>
                    <a:pt x="24" y="172"/>
                  </a:lnTo>
                  <a:lnTo>
                    <a:pt x="31" y="179"/>
                  </a:lnTo>
                  <a:lnTo>
                    <a:pt x="39" y="187"/>
                  </a:lnTo>
                  <a:lnTo>
                    <a:pt x="46" y="192"/>
                  </a:lnTo>
                  <a:lnTo>
                    <a:pt x="55" y="197"/>
                  </a:lnTo>
                  <a:lnTo>
                    <a:pt x="64" y="202"/>
                  </a:lnTo>
                  <a:lnTo>
                    <a:pt x="74" y="206"/>
                  </a:lnTo>
                  <a:lnTo>
                    <a:pt x="84" y="208"/>
                  </a:lnTo>
                  <a:lnTo>
                    <a:pt x="94" y="210"/>
                  </a:lnTo>
                  <a:lnTo>
                    <a:pt x="105" y="210"/>
                  </a:lnTo>
                  <a:lnTo>
                    <a:pt x="116" y="210"/>
                  </a:lnTo>
                  <a:lnTo>
                    <a:pt x="126" y="208"/>
                  </a:lnTo>
                  <a:lnTo>
                    <a:pt x="136" y="206"/>
                  </a:lnTo>
                  <a:lnTo>
                    <a:pt x="146" y="202"/>
                  </a:lnTo>
                  <a:lnTo>
                    <a:pt x="155" y="197"/>
                  </a:lnTo>
                  <a:lnTo>
                    <a:pt x="164" y="192"/>
                  </a:lnTo>
                  <a:lnTo>
                    <a:pt x="172" y="187"/>
                  </a:lnTo>
                  <a:lnTo>
                    <a:pt x="180" y="179"/>
                  </a:lnTo>
                  <a:lnTo>
                    <a:pt x="186" y="172"/>
                  </a:lnTo>
                  <a:lnTo>
                    <a:pt x="193" y="164"/>
                  </a:lnTo>
                  <a:lnTo>
                    <a:pt x="198" y="156"/>
                  </a:lnTo>
                  <a:lnTo>
                    <a:pt x="202" y="146"/>
                  </a:lnTo>
                  <a:lnTo>
                    <a:pt x="206" y="136"/>
                  </a:lnTo>
                  <a:lnTo>
                    <a:pt x="208" y="127"/>
                  </a:lnTo>
                  <a:lnTo>
                    <a:pt x="210" y="116"/>
                  </a:lnTo>
                  <a:lnTo>
                    <a:pt x="210" y="105"/>
                  </a:lnTo>
                  <a:lnTo>
                    <a:pt x="210" y="95"/>
                  </a:lnTo>
                  <a:lnTo>
                    <a:pt x="208" y="84"/>
                  </a:lnTo>
                  <a:lnTo>
                    <a:pt x="206" y="74"/>
                  </a:lnTo>
                  <a:lnTo>
                    <a:pt x="202" y="65"/>
                  </a:lnTo>
                  <a:lnTo>
                    <a:pt x="198" y="55"/>
                  </a:lnTo>
                  <a:lnTo>
                    <a:pt x="193" y="46"/>
                  </a:lnTo>
                  <a:lnTo>
                    <a:pt x="186" y="38"/>
                  </a:lnTo>
                  <a:lnTo>
                    <a:pt x="180" y="30"/>
                  </a:lnTo>
                  <a:lnTo>
                    <a:pt x="172" y="24"/>
                  </a:lnTo>
                  <a:lnTo>
                    <a:pt x="164" y="18"/>
                  </a:lnTo>
                  <a:lnTo>
                    <a:pt x="155" y="13"/>
                  </a:lnTo>
                  <a:lnTo>
                    <a:pt x="146" y="8"/>
                  </a:lnTo>
                  <a:lnTo>
                    <a:pt x="136" y="5"/>
                  </a:lnTo>
                  <a:lnTo>
                    <a:pt x="126" y="3"/>
                  </a:lnTo>
                  <a:lnTo>
                    <a:pt x="116"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03">
              <a:extLst>
                <a:ext uri="{FF2B5EF4-FFF2-40B4-BE49-F238E27FC236}">
                  <a16:creationId xmlns:a16="http://schemas.microsoft.com/office/drawing/2014/main" id="{53EDA02B-CC89-40CE-8C80-7F554734971A}"/>
                </a:ext>
              </a:extLst>
            </p:cNvPr>
            <p:cNvSpPr>
              <a:spLocks/>
            </p:cNvSpPr>
            <p:nvPr/>
          </p:nvSpPr>
          <p:spPr bwMode="auto">
            <a:xfrm>
              <a:off x="7591425" y="2565400"/>
              <a:ext cx="285750" cy="201613"/>
            </a:xfrm>
            <a:custGeom>
              <a:avLst/>
              <a:gdLst>
                <a:gd name="T0" fmla="*/ 313 w 903"/>
                <a:gd name="T1" fmla="*/ 0 h 631"/>
                <a:gd name="T2" fmla="*/ 305 w 903"/>
                <a:gd name="T3" fmla="*/ 5 h 631"/>
                <a:gd name="T4" fmla="*/ 301 w 903"/>
                <a:gd name="T5" fmla="*/ 12 h 631"/>
                <a:gd name="T6" fmla="*/ 136 w 903"/>
                <a:gd name="T7" fmla="*/ 150 h 631"/>
                <a:gd name="T8" fmla="*/ 95 w 903"/>
                <a:gd name="T9" fmla="*/ 157 h 631"/>
                <a:gd name="T10" fmla="*/ 60 w 903"/>
                <a:gd name="T11" fmla="*/ 173 h 631"/>
                <a:gd name="T12" fmla="*/ 31 w 903"/>
                <a:gd name="T13" fmla="*/ 200 h 631"/>
                <a:gd name="T14" fmla="*/ 11 w 903"/>
                <a:gd name="T15" fmla="*/ 233 h 631"/>
                <a:gd name="T16" fmla="*/ 1 w 903"/>
                <a:gd name="T17" fmla="*/ 271 h 631"/>
                <a:gd name="T18" fmla="*/ 1 w 903"/>
                <a:gd name="T19" fmla="*/ 620 h 631"/>
                <a:gd name="T20" fmla="*/ 5 w 903"/>
                <a:gd name="T21" fmla="*/ 627 h 631"/>
                <a:gd name="T22" fmla="*/ 13 w 903"/>
                <a:gd name="T23" fmla="*/ 631 h 631"/>
                <a:gd name="T24" fmla="*/ 169 w 903"/>
                <a:gd name="T25" fmla="*/ 631 h 631"/>
                <a:gd name="T26" fmla="*/ 177 w 903"/>
                <a:gd name="T27" fmla="*/ 627 h 631"/>
                <a:gd name="T28" fmla="*/ 181 w 903"/>
                <a:gd name="T29" fmla="*/ 620 h 631"/>
                <a:gd name="T30" fmla="*/ 180 w 903"/>
                <a:gd name="T31" fmla="*/ 611 h 631"/>
                <a:gd name="T32" fmla="*/ 175 w 903"/>
                <a:gd name="T33" fmla="*/ 603 h 631"/>
                <a:gd name="T34" fmla="*/ 166 w 903"/>
                <a:gd name="T35" fmla="*/ 601 h 631"/>
                <a:gd name="T36" fmla="*/ 166 w 903"/>
                <a:gd name="T37" fmla="*/ 541 h 631"/>
                <a:gd name="T38" fmla="*/ 175 w 903"/>
                <a:gd name="T39" fmla="*/ 538 h 631"/>
                <a:gd name="T40" fmla="*/ 180 w 903"/>
                <a:gd name="T41" fmla="*/ 532 h 631"/>
                <a:gd name="T42" fmla="*/ 181 w 903"/>
                <a:gd name="T43" fmla="*/ 523 h 631"/>
                <a:gd name="T44" fmla="*/ 177 w 903"/>
                <a:gd name="T45" fmla="*/ 516 h 631"/>
                <a:gd name="T46" fmla="*/ 169 w 903"/>
                <a:gd name="T47" fmla="*/ 511 h 631"/>
                <a:gd name="T48" fmla="*/ 31 w 903"/>
                <a:gd name="T49" fmla="*/ 285 h 631"/>
                <a:gd name="T50" fmla="*/ 35 w 903"/>
                <a:gd name="T51" fmla="*/ 254 h 631"/>
                <a:gd name="T52" fmla="*/ 48 w 903"/>
                <a:gd name="T53" fmla="*/ 226 h 631"/>
                <a:gd name="T54" fmla="*/ 69 w 903"/>
                <a:gd name="T55" fmla="*/ 204 h 631"/>
                <a:gd name="T56" fmla="*/ 95 w 903"/>
                <a:gd name="T57" fmla="*/ 189 h 631"/>
                <a:gd name="T58" fmla="*/ 125 w 903"/>
                <a:gd name="T59" fmla="*/ 180 h 631"/>
                <a:gd name="T60" fmla="*/ 301 w 903"/>
                <a:gd name="T61" fmla="*/ 405 h 631"/>
                <a:gd name="T62" fmla="*/ 304 w 903"/>
                <a:gd name="T63" fmla="*/ 414 h 631"/>
                <a:gd name="T64" fmla="*/ 311 w 903"/>
                <a:gd name="T65" fmla="*/ 419 h 631"/>
                <a:gd name="T66" fmla="*/ 319 w 903"/>
                <a:gd name="T67" fmla="*/ 420 h 631"/>
                <a:gd name="T68" fmla="*/ 327 w 903"/>
                <a:gd name="T69" fmla="*/ 416 h 631"/>
                <a:gd name="T70" fmla="*/ 331 w 903"/>
                <a:gd name="T71" fmla="*/ 409 h 631"/>
                <a:gd name="T72" fmla="*/ 872 w 903"/>
                <a:gd name="T73" fmla="*/ 30 h 631"/>
                <a:gd name="T74" fmla="*/ 874 w 903"/>
                <a:gd name="T75" fmla="*/ 577 h 631"/>
                <a:gd name="T76" fmla="*/ 879 w 903"/>
                <a:gd name="T77" fmla="*/ 583 h 631"/>
                <a:gd name="T78" fmla="*/ 888 w 903"/>
                <a:gd name="T79" fmla="*/ 586 h 631"/>
                <a:gd name="T80" fmla="*/ 896 w 903"/>
                <a:gd name="T81" fmla="*/ 583 h 631"/>
                <a:gd name="T82" fmla="*/ 901 w 903"/>
                <a:gd name="T83" fmla="*/ 577 h 631"/>
                <a:gd name="T84" fmla="*/ 903 w 903"/>
                <a:gd name="T85" fmla="*/ 15 h 631"/>
                <a:gd name="T86" fmla="*/ 900 w 903"/>
                <a:gd name="T87" fmla="*/ 7 h 631"/>
                <a:gd name="T88" fmla="*/ 893 w 903"/>
                <a:gd name="T89" fmla="*/ 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3" h="631">
                  <a:moveTo>
                    <a:pt x="888" y="0"/>
                  </a:moveTo>
                  <a:lnTo>
                    <a:pt x="316" y="0"/>
                  </a:lnTo>
                  <a:lnTo>
                    <a:pt x="313" y="0"/>
                  </a:lnTo>
                  <a:lnTo>
                    <a:pt x="311" y="1"/>
                  </a:lnTo>
                  <a:lnTo>
                    <a:pt x="307" y="3"/>
                  </a:lnTo>
                  <a:lnTo>
                    <a:pt x="305" y="5"/>
                  </a:lnTo>
                  <a:lnTo>
                    <a:pt x="304" y="7"/>
                  </a:lnTo>
                  <a:lnTo>
                    <a:pt x="302" y="9"/>
                  </a:lnTo>
                  <a:lnTo>
                    <a:pt x="301" y="12"/>
                  </a:lnTo>
                  <a:lnTo>
                    <a:pt x="301" y="15"/>
                  </a:lnTo>
                  <a:lnTo>
                    <a:pt x="301" y="150"/>
                  </a:lnTo>
                  <a:lnTo>
                    <a:pt x="136" y="150"/>
                  </a:lnTo>
                  <a:lnTo>
                    <a:pt x="122" y="151"/>
                  </a:lnTo>
                  <a:lnTo>
                    <a:pt x="108" y="153"/>
                  </a:lnTo>
                  <a:lnTo>
                    <a:pt x="95" y="157"/>
                  </a:lnTo>
                  <a:lnTo>
                    <a:pt x="84" y="161"/>
                  </a:lnTo>
                  <a:lnTo>
                    <a:pt x="72" y="166"/>
                  </a:lnTo>
                  <a:lnTo>
                    <a:pt x="60" y="173"/>
                  </a:lnTo>
                  <a:lnTo>
                    <a:pt x="49" y="181"/>
                  </a:lnTo>
                  <a:lnTo>
                    <a:pt x="41" y="190"/>
                  </a:lnTo>
                  <a:lnTo>
                    <a:pt x="31" y="200"/>
                  </a:lnTo>
                  <a:lnTo>
                    <a:pt x="24" y="210"/>
                  </a:lnTo>
                  <a:lnTo>
                    <a:pt x="17" y="221"/>
                  </a:lnTo>
                  <a:lnTo>
                    <a:pt x="11" y="233"/>
                  </a:lnTo>
                  <a:lnTo>
                    <a:pt x="6" y="246"/>
                  </a:lnTo>
                  <a:lnTo>
                    <a:pt x="3" y="259"/>
                  </a:lnTo>
                  <a:lnTo>
                    <a:pt x="1" y="271"/>
                  </a:lnTo>
                  <a:lnTo>
                    <a:pt x="0" y="285"/>
                  </a:lnTo>
                  <a:lnTo>
                    <a:pt x="0" y="616"/>
                  </a:lnTo>
                  <a:lnTo>
                    <a:pt x="1" y="620"/>
                  </a:lnTo>
                  <a:lnTo>
                    <a:pt x="2" y="622"/>
                  </a:lnTo>
                  <a:lnTo>
                    <a:pt x="3" y="625"/>
                  </a:lnTo>
                  <a:lnTo>
                    <a:pt x="5" y="627"/>
                  </a:lnTo>
                  <a:lnTo>
                    <a:pt x="7" y="629"/>
                  </a:lnTo>
                  <a:lnTo>
                    <a:pt x="10" y="630"/>
                  </a:lnTo>
                  <a:lnTo>
                    <a:pt x="13" y="631"/>
                  </a:lnTo>
                  <a:lnTo>
                    <a:pt x="15" y="631"/>
                  </a:lnTo>
                  <a:lnTo>
                    <a:pt x="166" y="631"/>
                  </a:lnTo>
                  <a:lnTo>
                    <a:pt x="169" y="631"/>
                  </a:lnTo>
                  <a:lnTo>
                    <a:pt x="171" y="630"/>
                  </a:lnTo>
                  <a:lnTo>
                    <a:pt x="175" y="629"/>
                  </a:lnTo>
                  <a:lnTo>
                    <a:pt x="177" y="627"/>
                  </a:lnTo>
                  <a:lnTo>
                    <a:pt x="178" y="625"/>
                  </a:lnTo>
                  <a:lnTo>
                    <a:pt x="180" y="622"/>
                  </a:lnTo>
                  <a:lnTo>
                    <a:pt x="181" y="620"/>
                  </a:lnTo>
                  <a:lnTo>
                    <a:pt x="181" y="616"/>
                  </a:lnTo>
                  <a:lnTo>
                    <a:pt x="181" y="613"/>
                  </a:lnTo>
                  <a:lnTo>
                    <a:pt x="180" y="611"/>
                  </a:lnTo>
                  <a:lnTo>
                    <a:pt x="178" y="608"/>
                  </a:lnTo>
                  <a:lnTo>
                    <a:pt x="177" y="606"/>
                  </a:lnTo>
                  <a:lnTo>
                    <a:pt x="175" y="603"/>
                  </a:lnTo>
                  <a:lnTo>
                    <a:pt x="171" y="602"/>
                  </a:lnTo>
                  <a:lnTo>
                    <a:pt x="169" y="601"/>
                  </a:lnTo>
                  <a:lnTo>
                    <a:pt x="166" y="601"/>
                  </a:lnTo>
                  <a:lnTo>
                    <a:pt x="31" y="601"/>
                  </a:lnTo>
                  <a:lnTo>
                    <a:pt x="31" y="541"/>
                  </a:lnTo>
                  <a:lnTo>
                    <a:pt x="166" y="541"/>
                  </a:lnTo>
                  <a:lnTo>
                    <a:pt x="169" y="541"/>
                  </a:lnTo>
                  <a:lnTo>
                    <a:pt x="171" y="540"/>
                  </a:lnTo>
                  <a:lnTo>
                    <a:pt x="175" y="538"/>
                  </a:lnTo>
                  <a:lnTo>
                    <a:pt x="177" y="537"/>
                  </a:lnTo>
                  <a:lnTo>
                    <a:pt x="178" y="535"/>
                  </a:lnTo>
                  <a:lnTo>
                    <a:pt x="180" y="532"/>
                  </a:lnTo>
                  <a:lnTo>
                    <a:pt x="181" y="530"/>
                  </a:lnTo>
                  <a:lnTo>
                    <a:pt x="181" y="526"/>
                  </a:lnTo>
                  <a:lnTo>
                    <a:pt x="181" y="523"/>
                  </a:lnTo>
                  <a:lnTo>
                    <a:pt x="180" y="520"/>
                  </a:lnTo>
                  <a:lnTo>
                    <a:pt x="178" y="518"/>
                  </a:lnTo>
                  <a:lnTo>
                    <a:pt x="177" y="516"/>
                  </a:lnTo>
                  <a:lnTo>
                    <a:pt x="175" y="514"/>
                  </a:lnTo>
                  <a:lnTo>
                    <a:pt x="171" y="512"/>
                  </a:lnTo>
                  <a:lnTo>
                    <a:pt x="169" y="511"/>
                  </a:lnTo>
                  <a:lnTo>
                    <a:pt x="166" y="511"/>
                  </a:lnTo>
                  <a:lnTo>
                    <a:pt x="31" y="511"/>
                  </a:lnTo>
                  <a:lnTo>
                    <a:pt x="31" y="285"/>
                  </a:lnTo>
                  <a:lnTo>
                    <a:pt x="31" y="275"/>
                  </a:lnTo>
                  <a:lnTo>
                    <a:pt x="33" y="264"/>
                  </a:lnTo>
                  <a:lnTo>
                    <a:pt x="35" y="254"/>
                  </a:lnTo>
                  <a:lnTo>
                    <a:pt x="39" y="245"/>
                  </a:lnTo>
                  <a:lnTo>
                    <a:pt x="43" y="235"/>
                  </a:lnTo>
                  <a:lnTo>
                    <a:pt x="48" y="226"/>
                  </a:lnTo>
                  <a:lnTo>
                    <a:pt x="55" y="219"/>
                  </a:lnTo>
                  <a:lnTo>
                    <a:pt x="61" y="211"/>
                  </a:lnTo>
                  <a:lnTo>
                    <a:pt x="69" y="204"/>
                  </a:lnTo>
                  <a:lnTo>
                    <a:pt x="77" y="199"/>
                  </a:lnTo>
                  <a:lnTo>
                    <a:pt x="86" y="193"/>
                  </a:lnTo>
                  <a:lnTo>
                    <a:pt x="95" y="189"/>
                  </a:lnTo>
                  <a:lnTo>
                    <a:pt x="105" y="185"/>
                  </a:lnTo>
                  <a:lnTo>
                    <a:pt x="115" y="183"/>
                  </a:lnTo>
                  <a:lnTo>
                    <a:pt x="125" y="180"/>
                  </a:lnTo>
                  <a:lnTo>
                    <a:pt x="136" y="180"/>
                  </a:lnTo>
                  <a:lnTo>
                    <a:pt x="301" y="180"/>
                  </a:lnTo>
                  <a:lnTo>
                    <a:pt x="301" y="405"/>
                  </a:lnTo>
                  <a:lnTo>
                    <a:pt x="301" y="409"/>
                  </a:lnTo>
                  <a:lnTo>
                    <a:pt x="302" y="412"/>
                  </a:lnTo>
                  <a:lnTo>
                    <a:pt x="304" y="414"/>
                  </a:lnTo>
                  <a:lnTo>
                    <a:pt x="305" y="416"/>
                  </a:lnTo>
                  <a:lnTo>
                    <a:pt x="307" y="418"/>
                  </a:lnTo>
                  <a:lnTo>
                    <a:pt x="311" y="419"/>
                  </a:lnTo>
                  <a:lnTo>
                    <a:pt x="313" y="420"/>
                  </a:lnTo>
                  <a:lnTo>
                    <a:pt x="316" y="421"/>
                  </a:lnTo>
                  <a:lnTo>
                    <a:pt x="319" y="420"/>
                  </a:lnTo>
                  <a:lnTo>
                    <a:pt x="322" y="419"/>
                  </a:lnTo>
                  <a:lnTo>
                    <a:pt x="325" y="418"/>
                  </a:lnTo>
                  <a:lnTo>
                    <a:pt x="327" y="416"/>
                  </a:lnTo>
                  <a:lnTo>
                    <a:pt x="329" y="414"/>
                  </a:lnTo>
                  <a:lnTo>
                    <a:pt x="330" y="412"/>
                  </a:lnTo>
                  <a:lnTo>
                    <a:pt x="331" y="409"/>
                  </a:lnTo>
                  <a:lnTo>
                    <a:pt x="331" y="406"/>
                  </a:lnTo>
                  <a:lnTo>
                    <a:pt x="331" y="30"/>
                  </a:lnTo>
                  <a:lnTo>
                    <a:pt x="872" y="30"/>
                  </a:lnTo>
                  <a:lnTo>
                    <a:pt x="872" y="571"/>
                  </a:lnTo>
                  <a:lnTo>
                    <a:pt x="873" y="575"/>
                  </a:lnTo>
                  <a:lnTo>
                    <a:pt x="874" y="577"/>
                  </a:lnTo>
                  <a:lnTo>
                    <a:pt x="875" y="580"/>
                  </a:lnTo>
                  <a:lnTo>
                    <a:pt x="877" y="582"/>
                  </a:lnTo>
                  <a:lnTo>
                    <a:pt x="879" y="583"/>
                  </a:lnTo>
                  <a:lnTo>
                    <a:pt x="882" y="585"/>
                  </a:lnTo>
                  <a:lnTo>
                    <a:pt x="885" y="586"/>
                  </a:lnTo>
                  <a:lnTo>
                    <a:pt x="888" y="586"/>
                  </a:lnTo>
                  <a:lnTo>
                    <a:pt x="890" y="586"/>
                  </a:lnTo>
                  <a:lnTo>
                    <a:pt x="893" y="585"/>
                  </a:lnTo>
                  <a:lnTo>
                    <a:pt x="896" y="583"/>
                  </a:lnTo>
                  <a:lnTo>
                    <a:pt x="898" y="582"/>
                  </a:lnTo>
                  <a:lnTo>
                    <a:pt x="900" y="580"/>
                  </a:lnTo>
                  <a:lnTo>
                    <a:pt x="901" y="577"/>
                  </a:lnTo>
                  <a:lnTo>
                    <a:pt x="902" y="575"/>
                  </a:lnTo>
                  <a:lnTo>
                    <a:pt x="903" y="571"/>
                  </a:lnTo>
                  <a:lnTo>
                    <a:pt x="903" y="15"/>
                  </a:lnTo>
                  <a:lnTo>
                    <a:pt x="902" y="12"/>
                  </a:lnTo>
                  <a:lnTo>
                    <a:pt x="901" y="9"/>
                  </a:lnTo>
                  <a:lnTo>
                    <a:pt x="900" y="7"/>
                  </a:lnTo>
                  <a:lnTo>
                    <a:pt x="898" y="5"/>
                  </a:lnTo>
                  <a:lnTo>
                    <a:pt x="896" y="3"/>
                  </a:lnTo>
                  <a:lnTo>
                    <a:pt x="893" y="1"/>
                  </a:lnTo>
                  <a:lnTo>
                    <a:pt x="890"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04">
              <a:extLst>
                <a:ext uri="{FF2B5EF4-FFF2-40B4-BE49-F238E27FC236}">
                  <a16:creationId xmlns:a16="http://schemas.microsoft.com/office/drawing/2014/main" id="{1BD49734-D517-4FB1-AACC-D8CB97F9DB8C}"/>
                </a:ext>
              </a:extLst>
            </p:cNvPr>
            <p:cNvSpPr>
              <a:spLocks/>
            </p:cNvSpPr>
            <p:nvPr/>
          </p:nvSpPr>
          <p:spPr bwMode="auto">
            <a:xfrm>
              <a:off x="7734300" y="2747963"/>
              <a:ext cx="47625" cy="9525"/>
            </a:xfrm>
            <a:custGeom>
              <a:avLst/>
              <a:gdLst>
                <a:gd name="T0" fmla="*/ 136 w 151"/>
                <a:gd name="T1" fmla="*/ 0 h 30"/>
                <a:gd name="T2" fmla="*/ 16 w 151"/>
                <a:gd name="T3" fmla="*/ 0 h 30"/>
                <a:gd name="T4" fmla="*/ 13 w 151"/>
                <a:gd name="T5" fmla="*/ 0 h 30"/>
                <a:gd name="T6" fmla="*/ 10 w 151"/>
                <a:gd name="T7" fmla="*/ 1 h 30"/>
                <a:gd name="T8" fmla="*/ 7 w 151"/>
                <a:gd name="T9" fmla="*/ 3 h 30"/>
                <a:gd name="T10" fmla="*/ 5 w 151"/>
                <a:gd name="T11" fmla="*/ 5 h 30"/>
                <a:gd name="T12" fmla="*/ 3 w 151"/>
                <a:gd name="T13" fmla="*/ 7 h 30"/>
                <a:gd name="T14" fmla="*/ 2 w 151"/>
                <a:gd name="T15" fmla="*/ 9 h 30"/>
                <a:gd name="T16" fmla="*/ 1 w 151"/>
                <a:gd name="T17" fmla="*/ 12 h 30"/>
                <a:gd name="T18" fmla="*/ 0 w 151"/>
                <a:gd name="T19" fmla="*/ 15 h 30"/>
                <a:gd name="T20" fmla="*/ 1 w 151"/>
                <a:gd name="T21" fmla="*/ 19 h 30"/>
                <a:gd name="T22" fmla="*/ 2 w 151"/>
                <a:gd name="T23" fmla="*/ 21 h 30"/>
                <a:gd name="T24" fmla="*/ 3 w 151"/>
                <a:gd name="T25" fmla="*/ 24 h 30"/>
                <a:gd name="T26" fmla="*/ 5 w 151"/>
                <a:gd name="T27" fmla="*/ 26 h 30"/>
                <a:gd name="T28" fmla="*/ 7 w 151"/>
                <a:gd name="T29" fmla="*/ 28 h 30"/>
                <a:gd name="T30" fmla="*/ 10 w 151"/>
                <a:gd name="T31" fmla="*/ 29 h 30"/>
                <a:gd name="T32" fmla="*/ 13 w 151"/>
                <a:gd name="T33" fmla="*/ 30 h 30"/>
                <a:gd name="T34" fmla="*/ 16 w 151"/>
                <a:gd name="T35" fmla="*/ 30 h 30"/>
                <a:gd name="T36" fmla="*/ 136 w 151"/>
                <a:gd name="T37" fmla="*/ 30 h 30"/>
                <a:gd name="T38" fmla="*/ 139 w 151"/>
                <a:gd name="T39" fmla="*/ 30 h 30"/>
                <a:gd name="T40" fmla="*/ 141 w 151"/>
                <a:gd name="T41" fmla="*/ 29 h 30"/>
                <a:gd name="T42" fmla="*/ 145 w 151"/>
                <a:gd name="T43" fmla="*/ 28 h 30"/>
                <a:gd name="T44" fmla="*/ 147 w 151"/>
                <a:gd name="T45" fmla="*/ 26 h 30"/>
                <a:gd name="T46" fmla="*/ 148 w 151"/>
                <a:gd name="T47" fmla="*/ 24 h 30"/>
                <a:gd name="T48" fmla="*/ 150 w 151"/>
                <a:gd name="T49" fmla="*/ 21 h 30"/>
                <a:gd name="T50" fmla="*/ 151 w 151"/>
                <a:gd name="T51" fmla="*/ 19 h 30"/>
                <a:gd name="T52" fmla="*/ 151 w 151"/>
                <a:gd name="T53" fmla="*/ 15 h 30"/>
                <a:gd name="T54" fmla="*/ 151 w 151"/>
                <a:gd name="T55" fmla="*/ 12 h 30"/>
                <a:gd name="T56" fmla="*/ 150 w 151"/>
                <a:gd name="T57" fmla="*/ 9 h 30"/>
                <a:gd name="T58" fmla="*/ 148 w 151"/>
                <a:gd name="T59" fmla="*/ 7 h 30"/>
                <a:gd name="T60" fmla="*/ 147 w 151"/>
                <a:gd name="T61" fmla="*/ 5 h 30"/>
                <a:gd name="T62" fmla="*/ 145 w 151"/>
                <a:gd name="T63" fmla="*/ 3 h 30"/>
                <a:gd name="T64" fmla="*/ 141 w 151"/>
                <a:gd name="T65" fmla="*/ 1 h 30"/>
                <a:gd name="T66" fmla="*/ 139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6" y="0"/>
                  </a:lnTo>
                  <a:lnTo>
                    <a:pt x="13" y="0"/>
                  </a:lnTo>
                  <a:lnTo>
                    <a:pt x="10" y="1"/>
                  </a:lnTo>
                  <a:lnTo>
                    <a:pt x="7" y="3"/>
                  </a:lnTo>
                  <a:lnTo>
                    <a:pt x="5" y="5"/>
                  </a:lnTo>
                  <a:lnTo>
                    <a:pt x="3" y="7"/>
                  </a:lnTo>
                  <a:lnTo>
                    <a:pt x="2" y="9"/>
                  </a:lnTo>
                  <a:lnTo>
                    <a:pt x="1" y="12"/>
                  </a:lnTo>
                  <a:lnTo>
                    <a:pt x="0" y="15"/>
                  </a:lnTo>
                  <a:lnTo>
                    <a:pt x="1" y="19"/>
                  </a:lnTo>
                  <a:lnTo>
                    <a:pt x="2" y="21"/>
                  </a:lnTo>
                  <a:lnTo>
                    <a:pt x="3" y="24"/>
                  </a:lnTo>
                  <a:lnTo>
                    <a:pt x="5" y="26"/>
                  </a:lnTo>
                  <a:lnTo>
                    <a:pt x="7" y="28"/>
                  </a:lnTo>
                  <a:lnTo>
                    <a:pt x="10" y="29"/>
                  </a:lnTo>
                  <a:lnTo>
                    <a:pt x="13" y="30"/>
                  </a:lnTo>
                  <a:lnTo>
                    <a:pt x="16" y="30"/>
                  </a:lnTo>
                  <a:lnTo>
                    <a:pt x="136" y="30"/>
                  </a:lnTo>
                  <a:lnTo>
                    <a:pt x="139" y="30"/>
                  </a:lnTo>
                  <a:lnTo>
                    <a:pt x="141" y="29"/>
                  </a:lnTo>
                  <a:lnTo>
                    <a:pt x="145" y="28"/>
                  </a:lnTo>
                  <a:lnTo>
                    <a:pt x="147" y="26"/>
                  </a:lnTo>
                  <a:lnTo>
                    <a:pt x="148" y="24"/>
                  </a:lnTo>
                  <a:lnTo>
                    <a:pt x="150" y="21"/>
                  </a:lnTo>
                  <a:lnTo>
                    <a:pt x="151" y="19"/>
                  </a:lnTo>
                  <a:lnTo>
                    <a:pt x="151" y="15"/>
                  </a:lnTo>
                  <a:lnTo>
                    <a:pt x="151" y="12"/>
                  </a:lnTo>
                  <a:lnTo>
                    <a:pt x="150" y="9"/>
                  </a:lnTo>
                  <a:lnTo>
                    <a:pt x="148" y="7"/>
                  </a:lnTo>
                  <a:lnTo>
                    <a:pt x="147" y="5"/>
                  </a:lnTo>
                  <a:lnTo>
                    <a:pt x="145" y="3"/>
                  </a:lnTo>
                  <a:lnTo>
                    <a:pt x="141" y="1"/>
                  </a:lnTo>
                  <a:lnTo>
                    <a:pt x="139"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05">
              <a:extLst>
                <a:ext uri="{FF2B5EF4-FFF2-40B4-BE49-F238E27FC236}">
                  <a16:creationId xmlns:a16="http://schemas.microsoft.com/office/drawing/2014/main" id="{FBE09FDF-EE50-4238-8E68-30219D713C5E}"/>
                </a:ext>
              </a:extLst>
            </p:cNvPr>
            <p:cNvSpPr>
              <a:spLocks/>
            </p:cNvSpPr>
            <p:nvPr/>
          </p:nvSpPr>
          <p:spPr bwMode="auto">
            <a:xfrm>
              <a:off x="7620000" y="2641600"/>
              <a:ext cx="47625" cy="47625"/>
            </a:xfrm>
            <a:custGeom>
              <a:avLst/>
              <a:gdLst>
                <a:gd name="T0" fmla="*/ 150 w 150"/>
                <a:gd name="T1" fmla="*/ 15 h 150"/>
                <a:gd name="T2" fmla="*/ 150 w 150"/>
                <a:gd name="T3" fmla="*/ 12 h 150"/>
                <a:gd name="T4" fmla="*/ 149 w 150"/>
                <a:gd name="T5" fmla="*/ 10 h 150"/>
                <a:gd name="T6" fmla="*/ 148 w 150"/>
                <a:gd name="T7" fmla="*/ 7 h 150"/>
                <a:gd name="T8" fmla="*/ 146 w 150"/>
                <a:gd name="T9" fmla="*/ 5 h 150"/>
                <a:gd name="T10" fmla="*/ 144 w 150"/>
                <a:gd name="T11" fmla="*/ 2 h 150"/>
                <a:gd name="T12" fmla="*/ 140 w 150"/>
                <a:gd name="T13" fmla="*/ 1 h 150"/>
                <a:gd name="T14" fmla="*/ 138 w 150"/>
                <a:gd name="T15" fmla="*/ 0 h 150"/>
                <a:gd name="T16" fmla="*/ 135 w 150"/>
                <a:gd name="T17" fmla="*/ 0 h 150"/>
                <a:gd name="T18" fmla="*/ 60 w 150"/>
                <a:gd name="T19" fmla="*/ 0 h 150"/>
                <a:gd name="T20" fmla="*/ 54 w 150"/>
                <a:gd name="T21" fmla="*/ 0 h 150"/>
                <a:gd name="T22" fmla="*/ 47 w 150"/>
                <a:gd name="T23" fmla="*/ 1 h 150"/>
                <a:gd name="T24" fmla="*/ 42 w 150"/>
                <a:gd name="T25" fmla="*/ 4 h 150"/>
                <a:gd name="T26" fmla="*/ 36 w 150"/>
                <a:gd name="T27" fmla="*/ 6 h 150"/>
                <a:gd name="T28" fmla="*/ 31 w 150"/>
                <a:gd name="T29" fmla="*/ 8 h 150"/>
                <a:gd name="T30" fmla="*/ 26 w 150"/>
                <a:gd name="T31" fmla="*/ 11 h 150"/>
                <a:gd name="T32" fmla="*/ 21 w 150"/>
                <a:gd name="T33" fmla="*/ 14 h 150"/>
                <a:gd name="T34" fmla="*/ 17 w 150"/>
                <a:gd name="T35" fmla="*/ 19 h 150"/>
                <a:gd name="T36" fmla="*/ 13 w 150"/>
                <a:gd name="T37" fmla="*/ 23 h 150"/>
                <a:gd name="T38" fmla="*/ 10 w 150"/>
                <a:gd name="T39" fmla="*/ 27 h 150"/>
                <a:gd name="T40" fmla="*/ 6 w 150"/>
                <a:gd name="T41" fmla="*/ 32 h 150"/>
                <a:gd name="T42" fmla="*/ 4 w 150"/>
                <a:gd name="T43" fmla="*/ 37 h 150"/>
                <a:gd name="T44" fmla="*/ 2 w 150"/>
                <a:gd name="T45" fmla="*/ 43 h 150"/>
                <a:gd name="T46" fmla="*/ 1 w 150"/>
                <a:gd name="T47" fmla="*/ 49 h 150"/>
                <a:gd name="T48" fmla="*/ 0 w 150"/>
                <a:gd name="T49" fmla="*/ 55 h 150"/>
                <a:gd name="T50" fmla="*/ 0 w 150"/>
                <a:gd name="T51" fmla="*/ 60 h 150"/>
                <a:gd name="T52" fmla="*/ 0 w 150"/>
                <a:gd name="T53" fmla="*/ 135 h 150"/>
                <a:gd name="T54" fmla="*/ 0 w 150"/>
                <a:gd name="T55" fmla="*/ 139 h 150"/>
                <a:gd name="T56" fmla="*/ 1 w 150"/>
                <a:gd name="T57" fmla="*/ 142 h 150"/>
                <a:gd name="T58" fmla="*/ 2 w 150"/>
                <a:gd name="T59" fmla="*/ 144 h 150"/>
                <a:gd name="T60" fmla="*/ 4 w 150"/>
                <a:gd name="T61" fmla="*/ 146 h 150"/>
                <a:gd name="T62" fmla="*/ 6 w 150"/>
                <a:gd name="T63" fmla="*/ 148 h 150"/>
                <a:gd name="T64" fmla="*/ 9 w 150"/>
                <a:gd name="T65" fmla="*/ 149 h 150"/>
                <a:gd name="T66" fmla="*/ 12 w 150"/>
                <a:gd name="T67" fmla="*/ 150 h 150"/>
                <a:gd name="T68" fmla="*/ 15 w 150"/>
                <a:gd name="T69" fmla="*/ 150 h 150"/>
                <a:gd name="T70" fmla="*/ 18 w 150"/>
                <a:gd name="T71" fmla="*/ 150 h 150"/>
                <a:gd name="T72" fmla="*/ 20 w 150"/>
                <a:gd name="T73" fmla="*/ 149 h 150"/>
                <a:gd name="T74" fmla="*/ 24 w 150"/>
                <a:gd name="T75" fmla="*/ 148 h 150"/>
                <a:gd name="T76" fmla="*/ 26 w 150"/>
                <a:gd name="T77" fmla="*/ 146 h 150"/>
                <a:gd name="T78" fmla="*/ 27 w 150"/>
                <a:gd name="T79" fmla="*/ 144 h 150"/>
                <a:gd name="T80" fmla="*/ 29 w 150"/>
                <a:gd name="T81" fmla="*/ 142 h 150"/>
                <a:gd name="T82" fmla="*/ 29 w 150"/>
                <a:gd name="T83" fmla="*/ 139 h 150"/>
                <a:gd name="T84" fmla="*/ 30 w 150"/>
                <a:gd name="T85" fmla="*/ 135 h 150"/>
                <a:gd name="T86" fmla="*/ 30 w 150"/>
                <a:gd name="T87" fmla="*/ 60 h 150"/>
                <a:gd name="T88" fmla="*/ 30 w 150"/>
                <a:gd name="T89" fmla="*/ 55 h 150"/>
                <a:gd name="T90" fmla="*/ 32 w 150"/>
                <a:gd name="T91" fmla="*/ 49 h 150"/>
                <a:gd name="T92" fmla="*/ 35 w 150"/>
                <a:gd name="T93" fmla="*/ 44 h 150"/>
                <a:gd name="T94" fmla="*/ 39 w 150"/>
                <a:gd name="T95" fmla="*/ 39 h 150"/>
                <a:gd name="T96" fmla="*/ 43 w 150"/>
                <a:gd name="T97" fmla="*/ 36 h 150"/>
                <a:gd name="T98" fmla="*/ 48 w 150"/>
                <a:gd name="T99" fmla="*/ 32 h 150"/>
                <a:gd name="T100" fmla="*/ 54 w 150"/>
                <a:gd name="T101" fmla="*/ 31 h 150"/>
                <a:gd name="T102" fmla="*/ 60 w 150"/>
                <a:gd name="T103" fmla="*/ 30 h 150"/>
                <a:gd name="T104" fmla="*/ 135 w 150"/>
                <a:gd name="T105" fmla="*/ 30 h 150"/>
                <a:gd name="T106" fmla="*/ 138 w 150"/>
                <a:gd name="T107" fmla="*/ 30 h 150"/>
                <a:gd name="T108" fmla="*/ 140 w 150"/>
                <a:gd name="T109" fmla="*/ 29 h 150"/>
                <a:gd name="T110" fmla="*/ 144 w 150"/>
                <a:gd name="T111" fmla="*/ 28 h 150"/>
                <a:gd name="T112" fmla="*/ 146 w 150"/>
                <a:gd name="T113" fmla="*/ 26 h 150"/>
                <a:gd name="T114" fmla="*/ 148 w 150"/>
                <a:gd name="T115" fmla="*/ 24 h 150"/>
                <a:gd name="T116" fmla="*/ 149 w 150"/>
                <a:gd name="T117" fmla="*/ 22 h 150"/>
                <a:gd name="T118" fmla="*/ 150 w 150"/>
                <a:gd name="T119" fmla="*/ 19 h 150"/>
                <a:gd name="T120" fmla="*/ 150 w 150"/>
                <a:gd name="T121" fmla="*/ 1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150" y="15"/>
                  </a:moveTo>
                  <a:lnTo>
                    <a:pt x="150" y="12"/>
                  </a:lnTo>
                  <a:lnTo>
                    <a:pt x="149" y="10"/>
                  </a:lnTo>
                  <a:lnTo>
                    <a:pt x="148" y="7"/>
                  </a:lnTo>
                  <a:lnTo>
                    <a:pt x="146" y="5"/>
                  </a:lnTo>
                  <a:lnTo>
                    <a:pt x="144" y="2"/>
                  </a:lnTo>
                  <a:lnTo>
                    <a:pt x="140" y="1"/>
                  </a:lnTo>
                  <a:lnTo>
                    <a:pt x="138" y="0"/>
                  </a:lnTo>
                  <a:lnTo>
                    <a:pt x="135" y="0"/>
                  </a:lnTo>
                  <a:lnTo>
                    <a:pt x="60" y="0"/>
                  </a:lnTo>
                  <a:lnTo>
                    <a:pt x="54" y="0"/>
                  </a:lnTo>
                  <a:lnTo>
                    <a:pt x="47" y="1"/>
                  </a:lnTo>
                  <a:lnTo>
                    <a:pt x="42" y="4"/>
                  </a:lnTo>
                  <a:lnTo>
                    <a:pt x="36" y="6"/>
                  </a:lnTo>
                  <a:lnTo>
                    <a:pt x="31" y="8"/>
                  </a:lnTo>
                  <a:lnTo>
                    <a:pt x="26" y="11"/>
                  </a:lnTo>
                  <a:lnTo>
                    <a:pt x="21" y="14"/>
                  </a:lnTo>
                  <a:lnTo>
                    <a:pt x="17" y="19"/>
                  </a:lnTo>
                  <a:lnTo>
                    <a:pt x="13" y="23"/>
                  </a:lnTo>
                  <a:lnTo>
                    <a:pt x="10" y="27"/>
                  </a:lnTo>
                  <a:lnTo>
                    <a:pt x="6" y="32"/>
                  </a:lnTo>
                  <a:lnTo>
                    <a:pt x="4" y="37"/>
                  </a:lnTo>
                  <a:lnTo>
                    <a:pt x="2" y="43"/>
                  </a:lnTo>
                  <a:lnTo>
                    <a:pt x="1" y="49"/>
                  </a:lnTo>
                  <a:lnTo>
                    <a:pt x="0" y="55"/>
                  </a:lnTo>
                  <a:lnTo>
                    <a:pt x="0" y="60"/>
                  </a:lnTo>
                  <a:lnTo>
                    <a:pt x="0" y="135"/>
                  </a:lnTo>
                  <a:lnTo>
                    <a:pt x="0" y="139"/>
                  </a:lnTo>
                  <a:lnTo>
                    <a:pt x="1" y="142"/>
                  </a:lnTo>
                  <a:lnTo>
                    <a:pt x="2" y="144"/>
                  </a:lnTo>
                  <a:lnTo>
                    <a:pt x="4" y="146"/>
                  </a:lnTo>
                  <a:lnTo>
                    <a:pt x="6" y="148"/>
                  </a:lnTo>
                  <a:lnTo>
                    <a:pt x="9" y="149"/>
                  </a:lnTo>
                  <a:lnTo>
                    <a:pt x="12" y="150"/>
                  </a:lnTo>
                  <a:lnTo>
                    <a:pt x="15" y="150"/>
                  </a:lnTo>
                  <a:lnTo>
                    <a:pt x="18" y="150"/>
                  </a:lnTo>
                  <a:lnTo>
                    <a:pt x="20" y="149"/>
                  </a:lnTo>
                  <a:lnTo>
                    <a:pt x="24" y="148"/>
                  </a:lnTo>
                  <a:lnTo>
                    <a:pt x="26" y="146"/>
                  </a:lnTo>
                  <a:lnTo>
                    <a:pt x="27" y="144"/>
                  </a:lnTo>
                  <a:lnTo>
                    <a:pt x="29" y="142"/>
                  </a:lnTo>
                  <a:lnTo>
                    <a:pt x="29" y="139"/>
                  </a:lnTo>
                  <a:lnTo>
                    <a:pt x="30" y="135"/>
                  </a:lnTo>
                  <a:lnTo>
                    <a:pt x="30" y="60"/>
                  </a:lnTo>
                  <a:lnTo>
                    <a:pt x="30" y="55"/>
                  </a:lnTo>
                  <a:lnTo>
                    <a:pt x="32" y="49"/>
                  </a:lnTo>
                  <a:lnTo>
                    <a:pt x="35" y="44"/>
                  </a:lnTo>
                  <a:lnTo>
                    <a:pt x="39" y="39"/>
                  </a:lnTo>
                  <a:lnTo>
                    <a:pt x="43" y="36"/>
                  </a:lnTo>
                  <a:lnTo>
                    <a:pt x="48" y="32"/>
                  </a:lnTo>
                  <a:lnTo>
                    <a:pt x="54" y="31"/>
                  </a:lnTo>
                  <a:lnTo>
                    <a:pt x="60" y="30"/>
                  </a:lnTo>
                  <a:lnTo>
                    <a:pt x="135" y="30"/>
                  </a:lnTo>
                  <a:lnTo>
                    <a:pt x="138" y="30"/>
                  </a:lnTo>
                  <a:lnTo>
                    <a:pt x="140" y="29"/>
                  </a:lnTo>
                  <a:lnTo>
                    <a:pt x="144" y="28"/>
                  </a:lnTo>
                  <a:lnTo>
                    <a:pt x="146" y="26"/>
                  </a:lnTo>
                  <a:lnTo>
                    <a:pt x="148" y="24"/>
                  </a:lnTo>
                  <a:lnTo>
                    <a:pt x="149" y="22"/>
                  </a:lnTo>
                  <a:lnTo>
                    <a:pt x="150" y="19"/>
                  </a:lnTo>
                  <a:lnTo>
                    <a:pt x="15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6" name="Group 22">
            <a:extLst>
              <a:ext uri="{FF2B5EF4-FFF2-40B4-BE49-F238E27FC236}">
                <a16:creationId xmlns:a16="http://schemas.microsoft.com/office/drawing/2014/main" id="{961A5D0C-4DE0-4A41-9E28-354F970E2B0D}"/>
              </a:ext>
            </a:extLst>
          </p:cNvPr>
          <p:cNvGrpSpPr>
            <a:grpSpLocks noChangeAspect="1"/>
          </p:cNvGrpSpPr>
          <p:nvPr/>
        </p:nvGrpSpPr>
        <p:grpSpPr>
          <a:xfrm>
            <a:off x="1887526" y="2788923"/>
            <a:ext cx="298342" cy="210498"/>
            <a:chOff x="8164513" y="2584450"/>
            <a:chExt cx="285750" cy="201613"/>
          </a:xfrm>
          <a:solidFill>
            <a:schemeClr val="bg2"/>
          </a:solidFill>
          <a:effectLst/>
        </p:grpSpPr>
        <p:sp>
          <p:nvSpPr>
            <p:cNvPr id="1097" name="Freeform 32">
              <a:extLst>
                <a:ext uri="{FF2B5EF4-FFF2-40B4-BE49-F238E27FC236}">
                  <a16:creationId xmlns:a16="http://schemas.microsoft.com/office/drawing/2014/main" id="{70C27A8B-9F9A-4C34-9FEB-FA7F27D195AA}"/>
                </a:ext>
              </a:extLst>
            </p:cNvPr>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98" name="Freeform 33">
              <a:extLst>
                <a:ext uri="{FF2B5EF4-FFF2-40B4-BE49-F238E27FC236}">
                  <a16:creationId xmlns:a16="http://schemas.microsoft.com/office/drawing/2014/main" id="{1D16FC89-78F5-4443-B34A-4BFB9990E08E}"/>
                </a:ext>
              </a:extLst>
            </p:cNvPr>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099" name="Freeform 257">
            <a:extLst>
              <a:ext uri="{FF2B5EF4-FFF2-40B4-BE49-F238E27FC236}">
                <a16:creationId xmlns:a16="http://schemas.microsoft.com/office/drawing/2014/main" id="{7EAB7CAC-7F26-4889-94F9-E316B6B770FC}"/>
              </a:ext>
            </a:extLst>
          </p:cNvPr>
          <p:cNvSpPr>
            <a:spLocks noChangeAspect="1" noEditPoints="1"/>
          </p:cNvSpPr>
          <p:nvPr/>
        </p:nvSpPr>
        <p:spPr bwMode="auto">
          <a:xfrm>
            <a:off x="682340" y="2806371"/>
            <a:ext cx="298342" cy="175602"/>
          </a:xfrm>
          <a:custGeom>
            <a:avLst/>
            <a:gdLst>
              <a:gd name="T0" fmla="*/ 254 w 333"/>
              <a:gd name="T1" fmla="*/ 76 h 196"/>
              <a:gd name="T2" fmla="*/ 232 w 333"/>
              <a:gd name="T3" fmla="*/ 14 h 196"/>
              <a:gd name="T4" fmla="*/ 230 w 333"/>
              <a:gd name="T5" fmla="*/ 0 h 196"/>
              <a:gd name="T6" fmla="*/ 165 w 333"/>
              <a:gd name="T7" fmla="*/ 7 h 196"/>
              <a:gd name="T8" fmla="*/ 218 w 333"/>
              <a:gd name="T9" fmla="*/ 14 h 196"/>
              <a:gd name="T10" fmla="*/ 218 w 333"/>
              <a:gd name="T11" fmla="*/ 33 h 196"/>
              <a:gd name="T12" fmla="*/ 105 w 333"/>
              <a:gd name="T13" fmla="*/ 36 h 196"/>
              <a:gd name="T14" fmla="*/ 101 w 333"/>
              <a:gd name="T15" fmla="*/ 26 h 196"/>
              <a:gd name="T16" fmla="*/ 120 w 333"/>
              <a:gd name="T17" fmla="*/ 21 h 196"/>
              <a:gd name="T18" fmla="*/ 72 w 333"/>
              <a:gd name="T19" fmla="*/ 14 h 196"/>
              <a:gd name="T20" fmla="*/ 69 w 333"/>
              <a:gd name="T21" fmla="*/ 29 h 196"/>
              <a:gd name="T22" fmla="*/ 86 w 333"/>
              <a:gd name="T23" fmla="*/ 29 h 196"/>
              <a:gd name="T24" fmla="*/ 91 w 333"/>
              <a:gd name="T25" fmla="*/ 41 h 196"/>
              <a:gd name="T26" fmla="*/ 57 w 333"/>
              <a:gd name="T27" fmla="*/ 72 h 196"/>
              <a:gd name="T28" fmla="*/ 12 w 333"/>
              <a:gd name="T29" fmla="*/ 98 h 196"/>
              <a:gd name="T30" fmla="*/ 2 w 333"/>
              <a:gd name="T31" fmla="*/ 146 h 196"/>
              <a:gd name="T32" fmla="*/ 36 w 333"/>
              <a:gd name="T33" fmla="*/ 189 h 196"/>
              <a:gd name="T34" fmla="*/ 79 w 333"/>
              <a:gd name="T35" fmla="*/ 192 h 196"/>
              <a:gd name="T36" fmla="*/ 113 w 333"/>
              <a:gd name="T37" fmla="*/ 151 h 196"/>
              <a:gd name="T38" fmla="*/ 134 w 333"/>
              <a:gd name="T39" fmla="*/ 153 h 196"/>
              <a:gd name="T40" fmla="*/ 165 w 333"/>
              <a:gd name="T41" fmla="*/ 153 h 196"/>
              <a:gd name="T42" fmla="*/ 170 w 333"/>
              <a:gd name="T43" fmla="*/ 124 h 196"/>
              <a:gd name="T44" fmla="*/ 240 w 333"/>
              <a:gd name="T45" fmla="*/ 74 h 196"/>
              <a:gd name="T46" fmla="*/ 220 w 333"/>
              <a:gd name="T47" fmla="*/ 117 h 196"/>
              <a:gd name="T48" fmla="*/ 228 w 333"/>
              <a:gd name="T49" fmla="*/ 168 h 196"/>
              <a:gd name="T50" fmla="*/ 276 w 333"/>
              <a:gd name="T51" fmla="*/ 196 h 196"/>
              <a:gd name="T52" fmla="*/ 316 w 333"/>
              <a:gd name="T53" fmla="*/ 177 h 196"/>
              <a:gd name="T54" fmla="*/ 333 w 333"/>
              <a:gd name="T55" fmla="*/ 134 h 196"/>
              <a:gd name="T56" fmla="*/ 309 w 333"/>
              <a:gd name="T57" fmla="*/ 81 h 196"/>
              <a:gd name="T58" fmla="*/ 81 w 333"/>
              <a:gd name="T59" fmla="*/ 93 h 196"/>
              <a:gd name="T60" fmla="*/ 103 w 333"/>
              <a:gd name="T61" fmla="*/ 127 h 196"/>
              <a:gd name="T62" fmla="*/ 69 w 333"/>
              <a:gd name="T63" fmla="*/ 124 h 196"/>
              <a:gd name="T64" fmla="*/ 57 w 333"/>
              <a:gd name="T65" fmla="*/ 180 h 196"/>
              <a:gd name="T66" fmla="*/ 21 w 333"/>
              <a:gd name="T67" fmla="*/ 160 h 196"/>
              <a:gd name="T68" fmla="*/ 14 w 333"/>
              <a:gd name="T69" fmla="*/ 124 h 196"/>
              <a:gd name="T70" fmla="*/ 41 w 333"/>
              <a:gd name="T71" fmla="*/ 88 h 196"/>
              <a:gd name="T72" fmla="*/ 72 w 333"/>
              <a:gd name="T73" fmla="*/ 88 h 196"/>
              <a:gd name="T74" fmla="*/ 55 w 333"/>
              <a:gd name="T75" fmla="*/ 139 h 196"/>
              <a:gd name="T76" fmla="*/ 98 w 333"/>
              <a:gd name="T77" fmla="*/ 156 h 196"/>
              <a:gd name="T78" fmla="*/ 57 w 333"/>
              <a:gd name="T79" fmla="*/ 180 h 196"/>
              <a:gd name="T80" fmla="*/ 113 w 333"/>
              <a:gd name="T81" fmla="*/ 112 h 196"/>
              <a:gd name="T82" fmla="*/ 98 w 333"/>
              <a:gd name="T83" fmla="*/ 55 h 196"/>
              <a:gd name="T84" fmla="*/ 132 w 333"/>
              <a:gd name="T85" fmla="*/ 117 h 196"/>
              <a:gd name="T86" fmla="*/ 149 w 333"/>
              <a:gd name="T87" fmla="*/ 146 h 196"/>
              <a:gd name="T88" fmla="*/ 139 w 333"/>
              <a:gd name="T89" fmla="*/ 134 h 196"/>
              <a:gd name="T90" fmla="*/ 149 w 333"/>
              <a:gd name="T91" fmla="*/ 124 h 196"/>
              <a:gd name="T92" fmla="*/ 160 w 333"/>
              <a:gd name="T93" fmla="*/ 134 h 196"/>
              <a:gd name="T94" fmla="*/ 149 w 333"/>
              <a:gd name="T95" fmla="*/ 146 h 196"/>
              <a:gd name="T96" fmla="*/ 156 w 333"/>
              <a:gd name="T97" fmla="*/ 112 h 196"/>
              <a:gd name="T98" fmla="*/ 115 w 333"/>
              <a:gd name="T99" fmla="*/ 52 h 196"/>
              <a:gd name="T100" fmla="*/ 223 w 333"/>
              <a:gd name="T101" fmla="*/ 50 h 196"/>
              <a:gd name="T102" fmla="*/ 230 w 333"/>
              <a:gd name="T103" fmla="*/ 55 h 196"/>
              <a:gd name="T104" fmla="*/ 276 w 333"/>
              <a:gd name="T105" fmla="*/ 180 h 196"/>
              <a:gd name="T106" fmla="*/ 240 w 333"/>
              <a:gd name="T107" fmla="*/ 160 h 196"/>
              <a:gd name="T108" fmla="*/ 232 w 333"/>
              <a:gd name="T109" fmla="*/ 122 h 196"/>
              <a:gd name="T110" fmla="*/ 271 w 333"/>
              <a:gd name="T111" fmla="*/ 136 h 196"/>
              <a:gd name="T112" fmla="*/ 283 w 333"/>
              <a:gd name="T113" fmla="*/ 134 h 196"/>
              <a:gd name="T114" fmla="*/ 268 w 333"/>
              <a:gd name="T115" fmla="*/ 86 h 196"/>
              <a:gd name="T116" fmla="*/ 302 w 333"/>
              <a:gd name="T117" fmla="*/ 93 h 196"/>
              <a:gd name="T118" fmla="*/ 321 w 333"/>
              <a:gd name="T119" fmla="*/ 134 h 196"/>
              <a:gd name="T120" fmla="*/ 307 w 333"/>
              <a:gd name="T121" fmla="*/ 168 h 196"/>
              <a:gd name="T122" fmla="*/ 276 w 333"/>
              <a:gd name="T123"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3" h="196">
                <a:moveTo>
                  <a:pt x="276" y="72"/>
                </a:moveTo>
                <a:lnTo>
                  <a:pt x="276" y="72"/>
                </a:lnTo>
                <a:lnTo>
                  <a:pt x="264" y="72"/>
                </a:lnTo>
                <a:lnTo>
                  <a:pt x="254" y="76"/>
                </a:lnTo>
                <a:lnTo>
                  <a:pt x="254" y="76"/>
                </a:lnTo>
                <a:lnTo>
                  <a:pt x="230" y="31"/>
                </a:lnTo>
                <a:lnTo>
                  <a:pt x="230" y="31"/>
                </a:lnTo>
                <a:lnTo>
                  <a:pt x="230" y="21"/>
                </a:lnTo>
                <a:lnTo>
                  <a:pt x="232" y="14"/>
                </a:lnTo>
                <a:lnTo>
                  <a:pt x="232" y="14"/>
                </a:lnTo>
                <a:lnTo>
                  <a:pt x="235" y="12"/>
                </a:lnTo>
                <a:lnTo>
                  <a:pt x="235" y="7"/>
                </a:lnTo>
                <a:lnTo>
                  <a:pt x="235" y="7"/>
                </a:lnTo>
                <a:lnTo>
                  <a:pt x="232" y="2"/>
                </a:lnTo>
                <a:lnTo>
                  <a:pt x="230" y="0"/>
                </a:lnTo>
                <a:lnTo>
                  <a:pt x="170" y="0"/>
                </a:lnTo>
                <a:lnTo>
                  <a:pt x="170" y="0"/>
                </a:lnTo>
                <a:lnTo>
                  <a:pt x="165" y="2"/>
                </a:lnTo>
                <a:lnTo>
                  <a:pt x="165" y="7"/>
                </a:lnTo>
                <a:lnTo>
                  <a:pt x="165" y="7"/>
                </a:lnTo>
                <a:lnTo>
                  <a:pt x="165" y="12"/>
                </a:lnTo>
                <a:lnTo>
                  <a:pt x="170" y="14"/>
                </a:lnTo>
                <a:lnTo>
                  <a:pt x="213" y="14"/>
                </a:lnTo>
                <a:lnTo>
                  <a:pt x="213" y="14"/>
                </a:lnTo>
                <a:lnTo>
                  <a:pt x="218" y="14"/>
                </a:lnTo>
                <a:lnTo>
                  <a:pt x="216" y="19"/>
                </a:lnTo>
                <a:lnTo>
                  <a:pt x="216" y="19"/>
                </a:lnTo>
                <a:lnTo>
                  <a:pt x="216" y="26"/>
                </a:lnTo>
                <a:lnTo>
                  <a:pt x="218" y="33"/>
                </a:lnTo>
                <a:lnTo>
                  <a:pt x="218" y="33"/>
                </a:lnTo>
                <a:lnTo>
                  <a:pt x="218" y="36"/>
                </a:lnTo>
                <a:lnTo>
                  <a:pt x="216" y="38"/>
                </a:lnTo>
                <a:lnTo>
                  <a:pt x="110" y="38"/>
                </a:lnTo>
                <a:lnTo>
                  <a:pt x="110" y="38"/>
                </a:lnTo>
                <a:lnTo>
                  <a:pt x="105" y="36"/>
                </a:lnTo>
                <a:lnTo>
                  <a:pt x="105" y="33"/>
                </a:lnTo>
                <a:lnTo>
                  <a:pt x="105" y="33"/>
                </a:lnTo>
                <a:lnTo>
                  <a:pt x="103" y="29"/>
                </a:lnTo>
                <a:lnTo>
                  <a:pt x="103" y="29"/>
                </a:lnTo>
                <a:lnTo>
                  <a:pt x="101" y="26"/>
                </a:lnTo>
                <a:lnTo>
                  <a:pt x="105" y="24"/>
                </a:lnTo>
                <a:lnTo>
                  <a:pt x="105" y="24"/>
                </a:lnTo>
                <a:lnTo>
                  <a:pt x="117" y="21"/>
                </a:lnTo>
                <a:lnTo>
                  <a:pt x="117" y="21"/>
                </a:lnTo>
                <a:lnTo>
                  <a:pt x="120" y="21"/>
                </a:lnTo>
                <a:lnTo>
                  <a:pt x="122" y="17"/>
                </a:lnTo>
                <a:lnTo>
                  <a:pt x="120" y="14"/>
                </a:lnTo>
                <a:lnTo>
                  <a:pt x="117" y="14"/>
                </a:lnTo>
                <a:lnTo>
                  <a:pt x="72" y="14"/>
                </a:lnTo>
                <a:lnTo>
                  <a:pt x="72" y="14"/>
                </a:lnTo>
                <a:lnTo>
                  <a:pt x="69" y="14"/>
                </a:lnTo>
                <a:lnTo>
                  <a:pt x="67" y="19"/>
                </a:lnTo>
                <a:lnTo>
                  <a:pt x="67" y="19"/>
                </a:lnTo>
                <a:lnTo>
                  <a:pt x="67" y="26"/>
                </a:lnTo>
                <a:lnTo>
                  <a:pt x="69" y="29"/>
                </a:lnTo>
                <a:lnTo>
                  <a:pt x="72" y="29"/>
                </a:lnTo>
                <a:lnTo>
                  <a:pt x="72" y="29"/>
                </a:lnTo>
                <a:lnTo>
                  <a:pt x="84" y="29"/>
                </a:lnTo>
                <a:lnTo>
                  <a:pt x="84" y="29"/>
                </a:lnTo>
                <a:lnTo>
                  <a:pt x="86" y="29"/>
                </a:lnTo>
                <a:lnTo>
                  <a:pt x="86" y="29"/>
                </a:lnTo>
                <a:lnTo>
                  <a:pt x="91" y="36"/>
                </a:lnTo>
                <a:lnTo>
                  <a:pt x="91" y="36"/>
                </a:lnTo>
                <a:lnTo>
                  <a:pt x="91" y="41"/>
                </a:lnTo>
                <a:lnTo>
                  <a:pt x="91" y="41"/>
                </a:lnTo>
                <a:lnTo>
                  <a:pt x="77" y="74"/>
                </a:lnTo>
                <a:lnTo>
                  <a:pt x="77" y="74"/>
                </a:lnTo>
                <a:lnTo>
                  <a:pt x="67" y="72"/>
                </a:lnTo>
                <a:lnTo>
                  <a:pt x="57" y="72"/>
                </a:lnTo>
                <a:lnTo>
                  <a:pt x="57" y="72"/>
                </a:lnTo>
                <a:lnTo>
                  <a:pt x="48" y="72"/>
                </a:lnTo>
                <a:lnTo>
                  <a:pt x="36" y="76"/>
                </a:lnTo>
                <a:lnTo>
                  <a:pt x="26" y="81"/>
                </a:lnTo>
                <a:lnTo>
                  <a:pt x="17" y="88"/>
                </a:lnTo>
                <a:lnTo>
                  <a:pt x="12" y="98"/>
                </a:lnTo>
                <a:lnTo>
                  <a:pt x="5" y="110"/>
                </a:lnTo>
                <a:lnTo>
                  <a:pt x="2" y="120"/>
                </a:lnTo>
                <a:lnTo>
                  <a:pt x="0" y="134"/>
                </a:lnTo>
                <a:lnTo>
                  <a:pt x="0" y="134"/>
                </a:lnTo>
                <a:lnTo>
                  <a:pt x="2" y="146"/>
                </a:lnTo>
                <a:lnTo>
                  <a:pt x="5" y="158"/>
                </a:lnTo>
                <a:lnTo>
                  <a:pt x="12" y="168"/>
                </a:lnTo>
                <a:lnTo>
                  <a:pt x="17" y="177"/>
                </a:lnTo>
                <a:lnTo>
                  <a:pt x="26" y="184"/>
                </a:lnTo>
                <a:lnTo>
                  <a:pt x="36" y="189"/>
                </a:lnTo>
                <a:lnTo>
                  <a:pt x="48" y="194"/>
                </a:lnTo>
                <a:lnTo>
                  <a:pt x="57" y="196"/>
                </a:lnTo>
                <a:lnTo>
                  <a:pt x="57" y="196"/>
                </a:lnTo>
                <a:lnTo>
                  <a:pt x="69" y="194"/>
                </a:lnTo>
                <a:lnTo>
                  <a:pt x="79" y="192"/>
                </a:lnTo>
                <a:lnTo>
                  <a:pt x="89" y="187"/>
                </a:lnTo>
                <a:lnTo>
                  <a:pt x="98" y="180"/>
                </a:lnTo>
                <a:lnTo>
                  <a:pt x="105" y="170"/>
                </a:lnTo>
                <a:lnTo>
                  <a:pt x="110" y="160"/>
                </a:lnTo>
                <a:lnTo>
                  <a:pt x="113" y="151"/>
                </a:lnTo>
                <a:lnTo>
                  <a:pt x="115" y="139"/>
                </a:lnTo>
                <a:lnTo>
                  <a:pt x="127" y="139"/>
                </a:lnTo>
                <a:lnTo>
                  <a:pt x="127" y="139"/>
                </a:lnTo>
                <a:lnTo>
                  <a:pt x="129" y="148"/>
                </a:lnTo>
                <a:lnTo>
                  <a:pt x="134" y="153"/>
                </a:lnTo>
                <a:lnTo>
                  <a:pt x="141" y="158"/>
                </a:lnTo>
                <a:lnTo>
                  <a:pt x="149" y="160"/>
                </a:lnTo>
                <a:lnTo>
                  <a:pt x="149" y="160"/>
                </a:lnTo>
                <a:lnTo>
                  <a:pt x="158" y="158"/>
                </a:lnTo>
                <a:lnTo>
                  <a:pt x="165" y="153"/>
                </a:lnTo>
                <a:lnTo>
                  <a:pt x="170" y="144"/>
                </a:lnTo>
                <a:lnTo>
                  <a:pt x="172" y="134"/>
                </a:lnTo>
                <a:lnTo>
                  <a:pt x="172" y="134"/>
                </a:lnTo>
                <a:lnTo>
                  <a:pt x="170" y="124"/>
                </a:lnTo>
                <a:lnTo>
                  <a:pt x="170" y="124"/>
                </a:lnTo>
                <a:lnTo>
                  <a:pt x="232" y="74"/>
                </a:lnTo>
                <a:lnTo>
                  <a:pt x="232" y="74"/>
                </a:lnTo>
                <a:lnTo>
                  <a:pt x="237" y="72"/>
                </a:lnTo>
                <a:lnTo>
                  <a:pt x="240" y="74"/>
                </a:lnTo>
                <a:lnTo>
                  <a:pt x="240" y="74"/>
                </a:lnTo>
                <a:lnTo>
                  <a:pt x="244" y="81"/>
                </a:lnTo>
                <a:lnTo>
                  <a:pt x="244" y="81"/>
                </a:lnTo>
                <a:lnTo>
                  <a:pt x="232" y="91"/>
                </a:lnTo>
                <a:lnTo>
                  <a:pt x="225" y="103"/>
                </a:lnTo>
                <a:lnTo>
                  <a:pt x="220" y="117"/>
                </a:lnTo>
                <a:lnTo>
                  <a:pt x="218" y="134"/>
                </a:lnTo>
                <a:lnTo>
                  <a:pt x="218" y="134"/>
                </a:lnTo>
                <a:lnTo>
                  <a:pt x="220" y="146"/>
                </a:lnTo>
                <a:lnTo>
                  <a:pt x="223" y="158"/>
                </a:lnTo>
                <a:lnTo>
                  <a:pt x="228" y="168"/>
                </a:lnTo>
                <a:lnTo>
                  <a:pt x="235" y="177"/>
                </a:lnTo>
                <a:lnTo>
                  <a:pt x="244" y="184"/>
                </a:lnTo>
                <a:lnTo>
                  <a:pt x="254" y="189"/>
                </a:lnTo>
                <a:lnTo>
                  <a:pt x="264" y="194"/>
                </a:lnTo>
                <a:lnTo>
                  <a:pt x="276" y="196"/>
                </a:lnTo>
                <a:lnTo>
                  <a:pt x="276" y="196"/>
                </a:lnTo>
                <a:lnTo>
                  <a:pt x="288" y="194"/>
                </a:lnTo>
                <a:lnTo>
                  <a:pt x="300" y="189"/>
                </a:lnTo>
                <a:lnTo>
                  <a:pt x="309" y="184"/>
                </a:lnTo>
                <a:lnTo>
                  <a:pt x="316" y="177"/>
                </a:lnTo>
                <a:lnTo>
                  <a:pt x="324" y="168"/>
                </a:lnTo>
                <a:lnTo>
                  <a:pt x="328" y="158"/>
                </a:lnTo>
                <a:lnTo>
                  <a:pt x="333" y="146"/>
                </a:lnTo>
                <a:lnTo>
                  <a:pt x="333" y="134"/>
                </a:lnTo>
                <a:lnTo>
                  <a:pt x="333" y="134"/>
                </a:lnTo>
                <a:lnTo>
                  <a:pt x="333" y="120"/>
                </a:lnTo>
                <a:lnTo>
                  <a:pt x="328" y="110"/>
                </a:lnTo>
                <a:lnTo>
                  <a:pt x="324" y="98"/>
                </a:lnTo>
                <a:lnTo>
                  <a:pt x="316" y="88"/>
                </a:lnTo>
                <a:lnTo>
                  <a:pt x="309" y="81"/>
                </a:lnTo>
                <a:lnTo>
                  <a:pt x="300" y="76"/>
                </a:lnTo>
                <a:lnTo>
                  <a:pt x="288" y="72"/>
                </a:lnTo>
                <a:lnTo>
                  <a:pt x="276" y="72"/>
                </a:lnTo>
                <a:lnTo>
                  <a:pt x="276" y="72"/>
                </a:lnTo>
                <a:close/>
                <a:moveTo>
                  <a:pt x="81" y="93"/>
                </a:moveTo>
                <a:lnTo>
                  <a:pt x="81" y="93"/>
                </a:lnTo>
                <a:lnTo>
                  <a:pt x="89" y="98"/>
                </a:lnTo>
                <a:lnTo>
                  <a:pt x="96" y="108"/>
                </a:lnTo>
                <a:lnTo>
                  <a:pt x="101" y="117"/>
                </a:lnTo>
                <a:lnTo>
                  <a:pt x="103" y="127"/>
                </a:lnTo>
                <a:lnTo>
                  <a:pt x="103" y="127"/>
                </a:lnTo>
                <a:lnTo>
                  <a:pt x="72" y="127"/>
                </a:lnTo>
                <a:lnTo>
                  <a:pt x="72" y="127"/>
                </a:lnTo>
                <a:lnTo>
                  <a:pt x="69" y="127"/>
                </a:lnTo>
                <a:lnTo>
                  <a:pt x="69" y="124"/>
                </a:lnTo>
                <a:lnTo>
                  <a:pt x="69" y="124"/>
                </a:lnTo>
                <a:lnTo>
                  <a:pt x="81" y="93"/>
                </a:lnTo>
                <a:lnTo>
                  <a:pt x="81" y="93"/>
                </a:lnTo>
                <a:close/>
                <a:moveTo>
                  <a:pt x="57" y="180"/>
                </a:moveTo>
                <a:lnTo>
                  <a:pt x="57" y="180"/>
                </a:lnTo>
                <a:lnTo>
                  <a:pt x="50" y="180"/>
                </a:lnTo>
                <a:lnTo>
                  <a:pt x="41" y="177"/>
                </a:lnTo>
                <a:lnTo>
                  <a:pt x="33" y="172"/>
                </a:lnTo>
                <a:lnTo>
                  <a:pt x="26" y="168"/>
                </a:lnTo>
                <a:lnTo>
                  <a:pt x="21" y="160"/>
                </a:lnTo>
                <a:lnTo>
                  <a:pt x="17" y="151"/>
                </a:lnTo>
                <a:lnTo>
                  <a:pt x="14" y="144"/>
                </a:lnTo>
                <a:lnTo>
                  <a:pt x="14" y="134"/>
                </a:lnTo>
                <a:lnTo>
                  <a:pt x="14" y="134"/>
                </a:lnTo>
                <a:lnTo>
                  <a:pt x="14" y="124"/>
                </a:lnTo>
                <a:lnTo>
                  <a:pt x="17" y="115"/>
                </a:lnTo>
                <a:lnTo>
                  <a:pt x="21" y="108"/>
                </a:lnTo>
                <a:lnTo>
                  <a:pt x="26" y="100"/>
                </a:lnTo>
                <a:lnTo>
                  <a:pt x="33" y="93"/>
                </a:lnTo>
                <a:lnTo>
                  <a:pt x="41" y="88"/>
                </a:lnTo>
                <a:lnTo>
                  <a:pt x="50" y="86"/>
                </a:lnTo>
                <a:lnTo>
                  <a:pt x="57" y="86"/>
                </a:lnTo>
                <a:lnTo>
                  <a:pt x="57" y="86"/>
                </a:lnTo>
                <a:lnTo>
                  <a:pt x="72" y="88"/>
                </a:lnTo>
                <a:lnTo>
                  <a:pt x="72" y="88"/>
                </a:lnTo>
                <a:lnTo>
                  <a:pt x="53" y="132"/>
                </a:lnTo>
                <a:lnTo>
                  <a:pt x="53" y="132"/>
                </a:lnTo>
                <a:lnTo>
                  <a:pt x="53" y="134"/>
                </a:lnTo>
                <a:lnTo>
                  <a:pt x="53" y="134"/>
                </a:lnTo>
                <a:lnTo>
                  <a:pt x="55" y="139"/>
                </a:lnTo>
                <a:lnTo>
                  <a:pt x="57" y="139"/>
                </a:lnTo>
                <a:lnTo>
                  <a:pt x="103" y="139"/>
                </a:lnTo>
                <a:lnTo>
                  <a:pt x="103" y="139"/>
                </a:lnTo>
                <a:lnTo>
                  <a:pt x="101" y="148"/>
                </a:lnTo>
                <a:lnTo>
                  <a:pt x="98" y="156"/>
                </a:lnTo>
                <a:lnTo>
                  <a:pt x="89" y="170"/>
                </a:lnTo>
                <a:lnTo>
                  <a:pt x="81" y="175"/>
                </a:lnTo>
                <a:lnTo>
                  <a:pt x="74" y="177"/>
                </a:lnTo>
                <a:lnTo>
                  <a:pt x="67" y="180"/>
                </a:lnTo>
                <a:lnTo>
                  <a:pt x="57" y="180"/>
                </a:lnTo>
                <a:lnTo>
                  <a:pt x="57" y="180"/>
                </a:lnTo>
                <a:close/>
                <a:moveTo>
                  <a:pt x="127" y="127"/>
                </a:moveTo>
                <a:lnTo>
                  <a:pt x="115" y="127"/>
                </a:lnTo>
                <a:lnTo>
                  <a:pt x="115" y="127"/>
                </a:lnTo>
                <a:lnTo>
                  <a:pt x="113" y="112"/>
                </a:lnTo>
                <a:lnTo>
                  <a:pt x="108" y="98"/>
                </a:lnTo>
                <a:lnTo>
                  <a:pt x="98" y="88"/>
                </a:lnTo>
                <a:lnTo>
                  <a:pt x="89" y="79"/>
                </a:lnTo>
                <a:lnTo>
                  <a:pt x="89" y="79"/>
                </a:lnTo>
                <a:lnTo>
                  <a:pt x="98" y="55"/>
                </a:lnTo>
                <a:lnTo>
                  <a:pt x="98" y="55"/>
                </a:lnTo>
                <a:lnTo>
                  <a:pt x="98" y="52"/>
                </a:lnTo>
                <a:lnTo>
                  <a:pt x="101" y="55"/>
                </a:lnTo>
                <a:lnTo>
                  <a:pt x="101" y="55"/>
                </a:lnTo>
                <a:lnTo>
                  <a:pt x="132" y="117"/>
                </a:lnTo>
                <a:lnTo>
                  <a:pt x="132" y="117"/>
                </a:lnTo>
                <a:lnTo>
                  <a:pt x="127" y="127"/>
                </a:lnTo>
                <a:lnTo>
                  <a:pt x="127" y="127"/>
                </a:lnTo>
                <a:close/>
                <a:moveTo>
                  <a:pt x="149" y="146"/>
                </a:moveTo>
                <a:lnTo>
                  <a:pt x="149" y="146"/>
                </a:lnTo>
                <a:lnTo>
                  <a:pt x="146" y="146"/>
                </a:lnTo>
                <a:lnTo>
                  <a:pt x="141" y="144"/>
                </a:lnTo>
                <a:lnTo>
                  <a:pt x="139" y="139"/>
                </a:lnTo>
                <a:lnTo>
                  <a:pt x="139" y="134"/>
                </a:lnTo>
                <a:lnTo>
                  <a:pt x="139" y="134"/>
                </a:lnTo>
                <a:lnTo>
                  <a:pt x="139" y="132"/>
                </a:lnTo>
                <a:lnTo>
                  <a:pt x="141" y="127"/>
                </a:lnTo>
                <a:lnTo>
                  <a:pt x="146" y="124"/>
                </a:lnTo>
                <a:lnTo>
                  <a:pt x="149" y="124"/>
                </a:lnTo>
                <a:lnTo>
                  <a:pt x="149" y="124"/>
                </a:lnTo>
                <a:lnTo>
                  <a:pt x="153" y="124"/>
                </a:lnTo>
                <a:lnTo>
                  <a:pt x="158" y="127"/>
                </a:lnTo>
                <a:lnTo>
                  <a:pt x="160" y="132"/>
                </a:lnTo>
                <a:lnTo>
                  <a:pt x="160" y="134"/>
                </a:lnTo>
                <a:lnTo>
                  <a:pt x="160" y="134"/>
                </a:lnTo>
                <a:lnTo>
                  <a:pt x="160" y="139"/>
                </a:lnTo>
                <a:lnTo>
                  <a:pt x="158" y="144"/>
                </a:lnTo>
                <a:lnTo>
                  <a:pt x="153" y="146"/>
                </a:lnTo>
                <a:lnTo>
                  <a:pt x="149" y="146"/>
                </a:lnTo>
                <a:lnTo>
                  <a:pt x="149" y="146"/>
                </a:lnTo>
                <a:close/>
                <a:moveTo>
                  <a:pt x="228" y="62"/>
                </a:moveTo>
                <a:lnTo>
                  <a:pt x="228" y="62"/>
                </a:lnTo>
                <a:lnTo>
                  <a:pt x="163" y="115"/>
                </a:lnTo>
                <a:lnTo>
                  <a:pt x="163" y="115"/>
                </a:lnTo>
                <a:lnTo>
                  <a:pt x="156" y="112"/>
                </a:lnTo>
                <a:lnTo>
                  <a:pt x="149" y="110"/>
                </a:lnTo>
                <a:lnTo>
                  <a:pt x="149" y="110"/>
                </a:lnTo>
                <a:lnTo>
                  <a:pt x="144" y="112"/>
                </a:lnTo>
                <a:lnTo>
                  <a:pt x="144" y="112"/>
                </a:lnTo>
                <a:lnTo>
                  <a:pt x="115" y="52"/>
                </a:lnTo>
                <a:lnTo>
                  <a:pt x="115" y="52"/>
                </a:lnTo>
                <a:lnTo>
                  <a:pt x="113" y="50"/>
                </a:lnTo>
                <a:lnTo>
                  <a:pt x="117" y="50"/>
                </a:lnTo>
                <a:lnTo>
                  <a:pt x="223" y="50"/>
                </a:lnTo>
                <a:lnTo>
                  <a:pt x="223" y="50"/>
                </a:lnTo>
                <a:lnTo>
                  <a:pt x="228" y="50"/>
                </a:lnTo>
                <a:lnTo>
                  <a:pt x="228" y="52"/>
                </a:lnTo>
                <a:lnTo>
                  <a:pt x="228" y="52"/>
                </a:lnTo>
                <a:lnTo>
                  <a:pt x="230" y="55"/>
                </a:lnTo>
                <a:lnTo>
                  <a:pt x="230" y="55"/>
                </a:lnTo>
                <a:lnTo>
                  <a:pt x="230" y="57"/>
                </a:lnTo>
                <a:lnTo>
                  <a:pt x="228" y="62"/>
                </a:lnTo>
                <a:lnTo>
                  <a:pt x="228" y="62"/>
                </a:lnTo>
                <a:close/>
                <a:moveTo>
                  <a:pt x="276" y="180"/>
                </a:moveTo>
                <a:lnTo>
                  <a:pt x="276" y="180"/>
                </a:lnTo>
                <a:lnTo>
                  <a:pt x="268" y="180"/>
                </a:lnTo>
                <a:lnTo>
                  <a:pt x="259" y="177"/>
                </a:lnTo>
                <a:lnTo>
                  <a:pt x="252" y="172"/>
                </a:lnTo>
                <a:lnTo>
                  <a:pt x="244" y="168"/>
                </a:lnTo>
                <a:lnTo>
                  <a:pt x="240" y="160"/>
                </a:lnTo>
                <a:lnTo>
                  <a:pt x="235" y="151"/>
                </a:lnTo>
                <a:lnTo>
                  <a:pt x="232" y="144"/>
                </a:lnTo>
                <a:lnTo>
                  <a:pt x="232" y="134"/>
                </a:lnTo>
                <a:lnTo>
                  <a:pt x="232" y="134"/>
                </a:lnTo>
                <a:lnTo>
                  <a:pt x="232" y="122"/>
                </a:lnTo>
                <a:lnTo>
                  <a:pt x="237" y="112"/>
                </a:lnTo>
                <a:lnTo>
                  <a:pt x="242" y="103"/>
                </a:lnTo>
                <a:lnTo>
                  <a:pt x="249" y="96"/>
                </a:lnTo>
                <a:lnTo>
                  <a:pt x="249" y="96"/>
                </a:lnTo>
                <a:lnTo>
                  <a:pt x="271" y="136"/>
                </a:lnTo>
                <a:lnTo>
                  <a:pt x="271" y="136"/>
                </a:lnTo>
                <a:lnTo>
                  <a:pt x="276" y="139"/>
                </a:lnTo>
                <a:lnTo>
                  <a:pt x="280" y="139"/>
                </a:lnTo>
                <a:lnTo>
                  <a:pt x="280" y="139"/>
                </a:lnTo>
                <a:lnTo>
                  <a:pt x="283" y="134"/>
                </a:lnTo>
                <a:lnTo>
                  <a:pt x="280" y="129"/>
                </a:lnTo>
                <a:lnTo>
                  <a:pt x="280" y="129"/>
                </a:lnTo>
                <a:lnTo>
                  <a:pt x="261" y="88"/>
                </a:lnTo>
                <a:lnTo>
                  <a:pt x="261" y="88"/>
                </a:lnTo>
                <a:lnTo>
                  <a:pt x="268" y="86"/>
                </a:lnTo>
                <a:lnTo>
                  <a:pt x="276" y="86"/>
                </a:lnTo>
                <a:lnTo>
                  <a:pt x="276" y="86"/>
                </a:lnTo>
                <a:lnTo>
                  <a:pt x="285" y="86"/>
                </a:lnTo>
                <a:lnTo>
                  <a:pt x="292" y="88"/>
                </a:lnTo>
                <a:lnTo>
                  <a:pt x="302" y="93"/>
                </a:lnTo>
                <a:lnTo>
                  <a:pt x="307" y="100"/>
                </a:lnTo>
                <a:lnTo>
                  <a:pt x="314" y="108"/>
                </a:lnTo>
                <a:lnTo>
                  <a:pt x="316" y="115"/>
                </a:lnTo>
                <a:lnTo>
                  <a:pt x="319" y="124"/>
                </a:lnTo>
                <a:lnTo>
                  <a:pt x="321" y="134"/>
                </a:lnTo>
                <a:lnTo>
                  <a:pt x="321" y="134"/>
                </a:lnTo>
                <a:lnTo>
                  <a:pt x="319" y="144"/>
                </a:lnTo>
                <a:lnTo>
                  <a:pt x="316" y="151"/>
                </a:lnTo>
                <a:lnTo>
                  <a:pt x="314" y="160"/>
                </a:lnTo>
                <a:lnTo>
                  <a:pt x="307" y="168"/>
                </a:lnTo>
                <a:lnTo>
                  <a:pt x="302" y="172"/>
                </a:lnTo>
                <a:lnTo>
                  <a:pt x="292" y="177"/>
                </a:lnTo>
                <a:lnTo>
                  <a:pt x="285" y="180"/>
                </a:lnTo>
                <a:lnTo>
                  <a:pt x="276" y="180"/>
                </a:lnTo>
                <a:lnTo>
                  <a:pt x="276" y="18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rgbClr val="262626"/>
              </a:solidFill>
              <a:latin typeface="Calibri" pitchFamily="34" charset="0"/>
              <a:cs typeface="Calibri" pitchFamily="34" charset="0"/>
            </a:endParaRPr>
          </a:p>
        </p:txBody>
      </p:sp>
    </p:spTree>
    <p:extLst>
      <p:ext uri="{BB962C8B-B14F-4D97-AF65-F5344CB8AC3E}">
        <p14:creationId xmlns:p14="http://schemas.microsoft.com/office/powerpoint/2010/main" val="40034831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B9A9DD9-5E21-42B1-ADBC-1BFD70131FFA}"/>
              </a:ext>
            </a:extLst>
          </p:cNvPr>
          <p:cNvGraphicFramePr>
            <a:graphicFrameLocks noChangeAspect="1"/>
          </p:cNvGraphicFramePr>
          <p:nvPr>
            <p:custDataLst>
              <p:tags r:id="rId2"/>
            </p:custDataLst>
            <p:extLst>
              <p:ext uri="{D42A27DB-BD31-4B8C-83A1-F6EECF244321}">
                <p14:modId xmlns:p14="http://schemas.microsoft.com/office/powerpoint/2010/main" val="336206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2" name="think-cell Folie" r:id="rId5" imgW="425" imgH="426" progId="TCLayout.ActiveDocument.1">
                  <p:embed/>
                </p:oleObj>
              </mc:Choice>
              <mc:Fallback>
                <p:oleObj name="think-cell Folie" r:id="rId5" imgW="425" imgH="426" progId="TCLayout.ActiveDocument.1">
                  <p:embed/>
                  <p:pic>
                    <p:nvPicPr>
                      <p:cNvPr id="6" name="Objekt 5" hidden="1">
                        <a:extLst>
                          <a:ext uri="{FF2B5EF4-FFF2-40B4-BE49-F238E27FC236}">
                            <a16:creationId xmlns:a16="http://schemas.microsoft.com/office/drawing/2014/main" id="{FB9A9DD9-5E21-42B1-ADBC-1BFD70131F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C6A8B461-2888-4FF5-91FC-780AD5EA8A95}"/>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3" name="Rechteck 2">
            <a:extLst>
              <a:ext uri="{FF2B5EF4-FFF2-40B4-BE49-F238E27FC236}">
                <a16:creationId xmlns:a16="http://schemas.microsoft.com/office/drawing/2014/main" id="{164ADCBC-7026-4CDE-B813-78B070E05286}"/>
              </a:ext>
            </a:extLst>
          </p:cNvPr>
          <p:cNvSpPr/>
          <p:nvPr/>
        </p:nvSpPr>
        <p:spPr>
          <a:xfrm>
            <a:off x="0" y="1495425"/>
            <a:ext cx="9906000" cy="4878388"/>
          </a:xfrm>
          <a:prstGeom prst="rect">
            <a:avLst/>
          </a:prstGeom>
          <a:solidFill>
            <a:schemeClr val="accent3">
              <a:alpha val="80000"/>
            </a:schemeClr>
          </a:solidFill>
        </p:spPr>
        <p:txBody>
          <a:bodyPr vert="horz" lIns="270000" tIns="108000" rIns="270000" bIns="0" rtlCol="0" anchor="t" anchorCtr="0">
            <a:noAutofit/>
          </a:bodyPr>
          <a:lstStyle/>
          <a:p>
            <a:pPr defTabSz="914400">
              <a:lnSpc>
                <a:spcPct val="90000"/>
              </a:lnSpc>
              <a:spcBef>
                <a:spcPct val="0"/>
              </a:spcBef>
            </a:pPr>
            <a:endParaRPr lang="de-DE" sz="2400">
              <a:solidFill>
                <a:schemeClr val="bg1"/>
              </a:solidFill>
              <a:latin typeface="+mj-lt"/>
              <a:ea typeface="+mj-ea"/>
              <a:cs typeface="+mj-cs"/>
            </a:endParaRPr>
          </a:p>
        </p:txBody>
      </p:sp>
      <p:sp>
        <p:nvSpPr>
          <p:cNvPr id="2" name="Titel 1"/>
          <p:cNvSpPr>
            <a:spLocks noGrp="1"/>
          </p:cNvSpPr>
          <p:nvPr>
            <p:ph type="title"/>
          </p:nvPr>
        </p:nvSpPr>
        <p:spPr/>
        <p:txBody>
          <a:bodyPr/>
          <a:lstStyle/>
          <a:p>
            <a:r>
              <a:rPr lang="de-DE"/>
              <a:t>Farben der Icons änderbar über „Füllbereich“</a:t>
            </a:r>
            <a:endParaRPr lang="de-DE" dirty="0"/>
          </a:p>
        </p:txBody>
      </p:sp>
      <p:sp>
        <p:nvSpPr>
          <p:cNvPr id="9" name="Textplatzhalter 8"/>
          <p:cNvSpPr>
            <a:spLocks noGrp="1"/>
          </p:cNvSpPr>
          <p:nvPr>
            <p:ph type="body" sz="quarter" idx="13"/>
          </p:nvPr>
        </p:nvSpPr>
        <p:spPr/>
        <p:txBody>
          <a:bodyPr/>
          <a:lstStyle/>
          <a:p>
            <a:endParaRPr lang="de-DE"/>
          </a:p>
        </p:txBody>
      </p:sp>
      <p:sp>
        <p:nvSpPr>
          <p:cNvPr id="10" name="Textplatzhalter 9"/>
          <p:cNvSpPr>
            <a:spLocks noGrp="1"/>
          </p:cNvSpPr>
          <p:nvPr>
            <p:ph type="body" sz="quarter" idx="14"/>
          </p:nvPr>
        </p:nvSpPr>
        <p:spPr/>
        <p:txBody>
          <a:bodyPr/>
          <a:lstStyle/>
          <a:p>
            <a:pPr>
              <a:spcAft>
                <a:spcPts val="0"/>
              </a:spcAft>
            </a:pPr>
            <a:endParaRPr lang="de-DE" dirty="0"/>
          </a:p>
        </p:txBody>
      </p:sp>
      <p:sp>
        <p:nvSpPr>
          <p:cNvPr id="4" name="Foliennummernplatzhalter 3"/>
          <p:cNvSpPr>
            <a:spLocks noGrp="1"/>
          </p:cNvSpPr>
          <p:nvPr>
            <p:ph type="sldNum" sz="quarter" idx="4"/>
          </p:nvPr>
        </p:nvSpPr>
        <p:spPr>
          <a:xfrm>
            <a:off x="928939" y="6621990"/>
            <a:ext cx="209993" cy="153888"/>
          </a:xfrm>
        </p:spPr>
        <p:txBody>
          <a:bodyPr/>
          <a:lstStyle/>
          <a:p>
            <a:fld id="{70DB0CEF-E182-42EF-B1DF-BA42708E991C}" type="slidenum">
              <a:rPr lang="de-DE" noProof="0" smtClean="0"/>
              <a:pPr/>
              <a:t>36</a:t>
            </a:fld>
            <a:endParaRPr lang="de-DE" noProof="0" dirty="0"/>
          </a:p>
        </p:txBody>
      </p:sp>
      <p:sp>
        <p:nvSpPr>
          <p:cNvPr id="11" name="Datumsplatzhalter 10"/>
          <p:cNvSpPr>
            <a:spLocks noGrp="1"/>
          </p:cNvSpPr>
          <p:nvPr>
            <p:ph type="dt" sz="half" idx="2"/>
          </p:nvPr>
        </p:nvSpPr>
        <p:spPr/>
        <p:txBody>
          <a:bodyPr/>
          <a:lstStyle/>
          <a:p>
            <a:fld id="{E3916149-6814-43C5-857B-C3F2FF45D601}" type="datetime1">
              <a:rPr lang="de-DE" smtClean="0"/>
              <a:t>04.05.2020</a:t>
            </a:fld>
            <a:endParaRPr lang="de-DE" dirty="0"/>
          </a:p>
        </p:txBody>
      </p:sp>
      <p:grpSp>
        <p:nvGrpSpPr>
          <p:cNvPr id="348" name="Group 88">
            <a:extLst>
              <a:ext uri="{FF2B5EF4-FFF2-40B4-BE49-F238E27FC236}">
                <a16:creationId xmlns:a16="http://schemas.microsoft.com/office/drawing/2014/main" id="{426E5644-F0EB-4CDE-8C1D-8D955F4F2744}"/>
              </a:ext>
            </a:extLst>
          </p:cNvPr>
          <p:cNvGrpSpPr>
            <a:grpSpLocks noChangeAspect="1"/>
          </p:cNvGrpSpPr>
          <p:nvPr/>
        </p:nvGrpSpPr>
        <p:grpSpPr>
          <a:xfrm>
            <a:off x="284400" y="2186361"/>
            <a:ext cx="296247" cy="285619"/>
            <a:chOff x="-1011238" y="2097088"/>
            <a:chExt cx="354013" cy="341312"/>
          </a:xfrm>
          <a:solidFill>
            <a:schemeClr val="bg1"/>
          </a:solidFill>
          <a:effectLst/>
        </p:grpSpPr>
        <p:sp>
          <p:nvSpPr>
            <p:cNvPr id="349" name="Freeform 52">
              <a:extLst>
                <a:ext uri="{FF2B5EF4-FFF2-40B4-BE49-F238E27FC236}">
                  <a16:creationId xmlns:a16="http://schemas.microsoft.com/office/drawing/2014/main" id="{1F20EE0D-87AB-44F7-8EB0-29FF69F4DB79}"/>
                </a:ext>
              </a:extLst>
            </p:cNvPr>
            <p:cNvSpPr>
              <a:spLocks noEditPoints="1"/>
            </p:cNvSpPr>
            <p:nvPr/>
          </p:nvSpPr>
          <p:spPr bwMode="auto">
            <a:xfrm>
              <a:off x="-989013" y="2251075"/>
              <a:ext cx="93663" cy="9366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53">
              <a:extLst>
                <a:ext uri="{FF2B5EF4-FFF2-40B4-BE49-F238E27FC236}">
                  <a16:creationId xmlns:a16="http://schemas.microsoft.com/office/drawing/2014/main" id="{2AF629FB-9202-43F3-BD94-4693E0A76F95}"/>
                </a:ext>
              </a:extLst>
            </p:cNvPr>
            <p:cNvSpPr>
              <a:spLocks/>
            </p:cNvSpPr>
            <p:nvPr/>
          </p:nvSpPr>
          <p:spPr bwMode="auto">
            <a:xfrm>
              <a:off x="-1011238" y="2328863"/>
              <a:ext cx="127000" cy="77788"/>
            </a:xfrm>
            <a:custGeom>
              <a:avLst/>
              <a:gdLst>
                <a:gd name="T0" fmla="*/ 24 w 33"/>
                <a:gd name="T1" fmla="*/ 20 h 20"/>
                <a:gd name="T2" fmla="*/ 2 w 33"/>
                <a:gd name="T3" fmla="*/ 20 h 20"/>
                <a:gd name="T4" fmla="*/ 0 w 33"/>
                <a:gd name="T5" fmla="*/ 18 h 20"/>
                <a:gd name="T6" fmla="*/ 18 w 33"/>
                <a:gd name="T7" fmla="*/ 0 h 20"/>
                <a:gd name="T8" fmla="*/ 33 w 33"/>
                <a:gd name="T9" fmla="*/ 7 h 20"/>
                <a:gd name="T10" fmla="*/ 32 w 33"/>
                <a:gd name="T11" fmla="*/ 10 h 20"/>
                <a:gd name="T12" fmla="*/ 29 w 33"/>
                <a:gd name="T13" fmla="*/ 10 h 20"/>
                <a:gd name="T14" fmla="*/ 18 w 33"/>
                <a:gd name="T15" fmla="*/ 4 h 20"/>
                <a:gd name="T16" fmla="*/ 4 w 33"/>
                <a:gd name="T17" fmla="*/ 16 h 20"/>
                <a:gd name="T18" fmla="*/ 24 w 33"/>
                <a:gd name="T19" fmla="*/ 16 h 20"/>
                <a:gd name="T20" fmla="*/ 26 w 33"/>
                <a:gd name="T21" fmla="*/ 18 h 20"/>
                <a:gd name="T22" fmla="*/ 24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24" y="20"/>
                  </a:moveTo>
                  <a:cubicBezTo>
                    <a:pt x="2" y="20"/>
                    <a:pt x="2" y="20"/>
                    <a:pt x="2" y="20"/>
                  </a:cubicBezTo>
                  <a:cubicBezTo>
                    <a:pt x="1" y="20"/>
                    <a:pt x="0" y="19"/>
                    <a:pt x="0" y="18"/>
                  </a:cubicBezTo>
                  <a:cubicBezTo>
                    <a:pt x="0" y="8"/>
                    <a:pt x="8" y="0"/>
                    <a:pt x="18" y="0"/>
                  </a:cubicBezTo>
                  <a:cubicBezTo>
                    <a:pt x="24" y="0"/>
                    <a:pt x="29" y="3"/>
                    <a:pt x="33" y="7"/>
                  </a:cubicBezTo>
                  <a:cubicBezTo>
                    <a:pt x="33" y="8"/>
                    <a:pt x="33" y="9"/>
                    <a:pt x="32" y="10"/>
                  </a:cubicBezTo>
                  <a:cubicBezTo>
                    <a:pt x="31" y="11"/>
                    <a:pt x="30" y="11"/>
                    <a:pt x="29" y="10"/>
                  </a:cubicBezTo>
                  <a:cubicBezTo>
                    <a:pt x="27" y="6"/>
                    <a:pt x="22" y="4"/>
                    <a:pt x="18" y="4"/>
                  </a:cubicBezTo>
                  <a:cubicBezTo>
                    <a:pt x="11" y="4"/>
                    <a:pt x="5" y="9"/>
                    <a:pt x="4" y="16"/>
                  </a:cubicBezTo>
                  <a:cubicBezTo>
                    <a:pt x="24" y="16"/>
                    <a:pt x="24" y="16"/>
                    <a:pt x="24" y="16"/>
                  </a:cubicBezTo>
                  <a:cubicBezTo>
                    <a:pt x="25" y="16"/>
                    <a:pt x="26" y="17"/>
                    <a:pt x="26" y="18"/>
                  </a:cubicBezTo>
                  <a:cubicBezTo>
                    <a:pt x="26" y="19"/>
                    <a:pt x="25" y="20"/>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54">
              <a:extLst>
                <a:ext uri="{FF2B5EF4-FFF2-40B4-BE49-F238E27FC236}">
                  <a16:creationId xmlns:a16="http://schemas.microsoft.com/office/drawing/2014/main" id="{3A21E940-2117-4ED0-9833-C2D7FAA4988E}"/>
                </a:ext>
              </a:extLst>
            </p:cNvPr>
            <p:cNvSpPr>
              <a:spLocks noEditPoints="1"/>
            </p:cNvSpPr>
            <p:nvPr/>
          </p:nvSpPr>
          <p:spPr bwMode="auto">
            <a:xfrm>
              <a:off x="-773113" y="2251075"/>
              <a:ext cx="93663" cy="9366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55">
              <a:extLst>
                <a:ext uri="{FF2B5EF4-FFF2-40B4-BE49-F238E27FC236}">
                  <a16:creationId xmlns:a16="http://schemas.microsoft.com/office/drawing/2014/main" id="{A82A5E0A-4215-4B84-8EF9-52028CC9F6D8}"/>
                </a:ext>
              </a:extLst>
            </p:cNvPr>
            <p:cNvSpPr>
              <a:spLocks/>
            </p:cNvSpPr>
            <p:nvPr/>
          </p:nvSpPr>
          <p:spPr bwMode="auto">
            <a:xfrm>
              <a:off x="-784225" y="2328863"/>
              <a:ext cx="127000" cy="77788"/>
            </a:xfrm>
            <a:custGeom>
              <a:avLst/>
              <a:gdLst>
                <a:gd name="T0" fmla="*/ 31 w 33"/>
                <a:gd name="T1" fmla="*/ 20 h 20"/>
                <a:gd name="T2" fmla="*/ 9 w 33"/>
                <a:gd name="T3" fmla="*/ 20 h 20"/>
                <a:gd name="T4" fmla="*/ 7 w 33"/>
                <a:gd name="T5" fmla="*/ 18 h 20"/>
                <a:gd name="T6" fmla="*/ 9 w 33"/>
                <a:gd name="T7" fmla="*/ 16 h 20"/>
                <a:gd name="T8" fmla="*/ 29 w 33"/>
                <a:gd name="T9" fmla="*/ 16 h 20"/>
                <a:gd name="T10" fmla="*/ 15 w 33"/>
                <a:gd name="T11" fmla="*/ 4 h 20"/>
                <a:gd name="T12" fmla="*/ 4 w 33"/>
                <a:gd name="T13" fmla="*/ 10 h 20"/>
                <a:gd name="T14" fmla="*/ 1 w 33"/>
                <a:gd name="T15" fmla="*/ 10 h 20"/>
                <a:gd name="T16" fmla="*/ 0 w 33"/>
                <a:gd name="T17" fmla="*/ 7 h 20"/>
                <a:gd name="T18" fmla="*/ 15 w 33"/>
                <a:gd name="T19" fmla="*/ 0 h 20"/>
                <a:gd name="T20" fmla="*/ 33 w 33"/>
                <a:gd name="T21" fmla="*/ 18 h 20"/>
                <a:gd name="T22" fmla="*/ 31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31" y="20"/>
                  </a:moveTo>
                  <a:cubicBezTo>
                    <a:pt x="9" y="20"/>
                    <a:pt x="9" y="20"/>
                    <a:pt x="9" y="20"/>
                  </a:cubicBezTo>
                  <a:cubicBezTo>
                    <a:pt x="8" y="20"/>
                    <a:pt x="7" y="19"/>
                    <a:pt x="7" y="18"/>
                  </a:cubicBezTo>
                  <a:cubicBezTo>
                    <a:pt x="7" y="17"/>
                    <a:pt x="8" y="16"/>
                    <a:pt x="9" y="16"/>
                  </a:cubicBezTo>
                  <a:cubicBezTo>
                    <a:pt x="29" y="16"/>
                    <a:pt x="29" y="16"/>
                    <a:pt x="29" y="16"/>
                  </a:cubicBezTo>
                  <a:cubicBezTo>
                    <a:pt x="28" y="9"/>
                    <a:pt x="22" y="4"/>
                    <a:pt x="15" y="4"/>
                  </a:cubicBezTo>
                  <a:cubicBezTo>
                    <a:pt x="11" y="4"/>
                    <a:pt x="6" y="6"/>
                    <a:pt x="4" y="10"/>
                  </a:cubicBezTo>
                  <a:cubicBezTo>
                    <a:pt x="3" y="11"/>
                    <a:pt x="2" y="11"/>
                    <a:pt x="1" y="10"/>
                  </a:cubicBezTo>
                  <a:cubicBezTo>
                    <a:pt x="0" y="10"/>
                    <a:pt x="0" y="8"/>
                    <a:pt x="0" y="7"/>
                  </a:cubicBezTo>
                  <a:cubicBezTo>
                    <a:pt x="4" y="3"/>
                    <a:pt x="9" y="0"/>
                    <a:pt x="15" y="0"/>
                  </a:cubicBezTo>
                  <a:cubicBezTo>
                    <a:pt x="25" y="0"/>
                    <a:pt x="33" y="8"/>
                    <a:pt x="33" y="18"/>
                  </a:cubicBezTo>
                  <a:cubicBezTo>
                    <a:pt x="33" y="19"/>
                    <a:pt x="32"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56">
              <a:extLst>
                <a:ext uri="{FF2B5EF4-FFF2-40B4-BE49-F238E27FC236}">
                  <a16:creationId xmlns:a16="http://schemas.microsoft.com/office/drawing/2014/main" id="{3EB54784-6D8B-44E9-B89F-7890B4FD006D}"/>
                </a:ext>
              </a:extLst>
            </p:cNvPr>
            <p:cNvSpPr>
              <a:spLocks noEditPoints="1"/>
            </p:cNvSpPr>
            <p:nvPr/>
          </p:nvSpPr>
          <p:spPr bwMode="auto">
            <a:xfrm>
              <a:off x="-895350" y="2220913"/>
              <a:ext cx="122238" cy="127000"/>
            </a:xfrm>
            <a:custGeom>
              <a:avLst/>
              <a:gdLst>
                <a:gd name="T0" fmla="*/ 16 w 32"/>
                <a:gd name="T1" fmla="*/ 33 h 33"/>
                <a:gd name="T2" fmla="*/ 0 w 32"/>
                <a:gd name="T3" fmla="*/ 16 h 33"/>
                <a:gd name="T4" fmla="*/ 16 w 32"/>
                <a:gd name="T5" fmla="*/ 0 h 33"/>
                <a:gd name="T6" fmla="*/ 32 w 32"/>
                <a:gd name="T7" fmla="*/ 16 h 33"/>
                <a:gd name="T8" fmla="*/ 16 w 32"/>
                <a:gd name="T9" fmla="*/ 33 h 33"/>
                <a:gd name="T10" fmla="*/ 16 w 32"/>
                <a:gd name="T11" fmla="*/ 4 h 33"/>
                <a:gd name="T12" fmla="*/ 4 w 32"/>
                <a:gd name="T13" fmla="*/ 16 h 33"/>
                <a:gd name="T14" fmla="*/ 16 w 32"/>
                <a:gd name="T15" fmla="*/ 29 h 33"/>
                <a:gd name="T16" fmla="*/ 28 w 32"/>
                <a:gd name="T17" fmla="*/ 16 h 33"/>
                <a:gd name="T18" fmla="*/ 16 w 3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33"/>
                  </a:moveTo>
                  <a:cubicBezTo>
                    <a:pt x="7" y="33"/>
                    <a:pt x="0" y="26"/>
                    <a:pt x="0" y="16"/>
                  </a:cubicBezTo>
                  <a:cubicBezTo>
                    <a:pt x="0" y="7"/>
                    <a:pt x="7" y="0"/>
                    <a:pt x="16" y="0"/>
                  </a:cubicBezTo>
                  <a:cubicBezTo>
                    <a:pt x="25" y="0"/>
                    <a:pt x="32" y="7"/>
                    <a:pt x="32" y="16"/>
                  </a:cubicBezTo>
                  <a:cubicBezTo>
                    <a:pt x="32" y="26"/>
                    <a:pt x="25" y="33"/>
                    <a:pt x="16" y="33"/>
                  </a:cubicBezTo>
                  <a:close/>
                  <a:moveTo>
                    <a:pt x="16" y="4"/>
                  </a:moveTo>
                  <a:cubicBezTo>
                    <a:pt x="9" y="4"/>
                    <a:pt x="4" y="10"/>
                    <a:pt x="4" y="16"/>
                  </a:cubicBezTo>
                  <a:cubicBezTo>
                    <a:pt x="4" y="23"/>
                    <a:pt x="9" y="29"/>
                    <a:pt x="16" y="29"/>
                  </a:cubicBezTo>
                  <a:cubicBezTo>
                    <a:pt x="23" y="29"/>
                    <a:pt x="28" y="23"/>
                    <a:pt x="28" y="16"/>
                  </a:cubicBezTo>
                  <a:cubicBezTo>
                    <a:pt x="28" y="10"/>
                    <a:pt x="23"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57">
              <a:extLst>
                <a:ext uri="{FF2B5EF4-FFF2-40B4-BE49-F238E27FC236}">
                  <a16:creationId xmlns:a16="http://schemas.microsoft.com/office/drawing/2014/main" id="{E718D193-41AD-464C-97E3-318BE2215E8E}"/>
                </a:ext>
              </a:extLst>
            </p:cNvPr>
            <p:cNvSpPr>
              <a:spLocks/>
            </p:cNvSpPr>
            <p:nvPr/>
          </p:nvSpPr>
          <p:spPr bwMode="auto">
            <a:xfrm>
              <a:off x="-922338" y="2173288"/>
              <a:ext cx="176213" cy="55563"/>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58">
              <a:extLst>
                <a:ext uri="{FF2B5EF4-FFF2-40B4-BE49-F238E27FC236}">
                  <a16:creationId xmlns:a16="http://schemas.microsoft.com/office/drawing/2014/main" id="{12EC88A8-B513-4B51-B817-119187DCD64E}"/>
                </a:ext>
              </a:extLst>
            </p:cNvPr>
            <p:cNvSpPr>
              <a:spLocks/>
            </p:cNvSpPr>
            <p:nvPr/>
          </p:nvSpPr>
          <p:spPr bwMode="auto">
            <a:xfrm>
              <a:off x="-949325" y="2135188"/>
              <a:ext cx="231775" cy="69850"/>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59">
              <a:extLst>
                <a:ext uri="{FF2B5EF4-FFF2-40B4-BE49-F238E27FC236}">
                  <a16:creationId xmlns:a16="http://schemas.microsoft.com/office/drawing/2014/main" id="{34226AAF-C7D3-47C6-97EB-BEB3B04151F5}"/>
                </a:ext>
              </a:extLst>
            </p:cNvPr>
            <p:cNvSpPr>
              <a:spLocks/>
            </p:cNvSpPr>
            <p:nvPr/>
          </p:nvSpPr>
          <p:spPr bwMode="auto">
            <a:xfrm>
              <a:off x="-981075" y="2097088"/>
              <a:ext cx="293688"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60">
              <a:extLst>
                <a:ext uri="{FF2B5EF4-FFF2-40B4-BE49-F238E27FC236}">
                  <a16:creationId xmlns:a16="http://schemas.microsoft.com/office/drawing/2014/main" id="{1BD3EADE-D824-471D-98E0-40E1721520D3}"/>
                </a:ext>
              </a:extLst>
            </p:cNvPr>
            <p:cNvSpPr>
              <a:spLocks noEditPoints="1"/>
            </p:cNvSpPr>
            <p:nvPr/>
          </p:nvSpPr>
          <p:spPr bwMode="auto">
            <a:xfrm>
              <a:off x="-930275" y="2333625"/>
              <a:ext cx="192088" cy="104775"/>
            </a:xfrm>
            <a:custGeom>
              <a:avLst/>
              <a:gdLst>
                <a:gd name="T0" fmla="*/ 48 w 50"/>
                <a:gd name="T1" fmla="*/ 27 h 27"/>
                <a:gd name="T2" fmla="*/ 48 w 50"/>
                <a:gd name="T3" fmla="*/ 27 h 27"/>
                <a:gd name="T4" fmla="*/ 2 w 50"/>
                <a:gd name="T5" fmla="*/ 27 h 27"/>
                <a:gd name="T6" fmla="*/ 0 w 50"/>
                <a:gd name="T7" fmla="*/ 25 h 27"/>
                <a:gd name="T8" fmla="*/ 25 w 50"/>
                <a:gd name="T9" fmla="*/ 0 h 27"/>
                <a:gd name="T10" fmla="*/ 50 w 50"/>
                <a:gd name="T11" fmla="*/ 24 h 27"/>
                <a:gd name="T12" fmla="*/ 50 w 50"/>
                <a:gd name="T13" fmla="*/ 25 h 27"/>
                <a:gd name="T14" fmla="*/ 48 w 50"/>
                <a:gd name="T15" fmla="*/ 27 h 27"/>
                <a:gd name="T16" fmla="*/ 4 w 50"/>
                <a:gd name="T17" fmla="*/ 23 h 27"/>
                <a:gd name="T18" fmla="*/ 46 w 50"/>
                <a:gd name="T19" fmla="*/ 23 h 27"/>
                <a:gd name="T20" fmla="*/ 25 w 50"/>
                <a:gd name="T21" fmla="*/ 4 h 27"/>
                <a:gd name="T22" fmla="*/ 4 w 50"/>
                <a:gd name="T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48" y="27"/>
                  </a:moveTo>
                  <a:cubicBezTo>
                    <a:pt x="48" y="27"/>
                    <a:pt x="48" y="27"/>
                    <a:pt x="48" y="27"/>
                  </a:cubicBezTo>
                  <a:cubicBezTo>
                    <a:pt x="2" y="27"/>
                    <a:pt x="2" y="27"/>
                    <a:pt x="2" y="27"/>
                  </a:cubicBezTo>
                  <a:cubicBezTo>
                    <a:pt x="1" y="27"/>
                    <a:pt x="0" y="26"/>
                    <a:pt x="0" y="25"/>
                  </a:cubicBezTo>
                  <a:cubicBezTo>
                    <a:pt x="0" y="11"/>
                    <a:pt x="11" y="0"/>
                    <a:pt x="25" y="0"/>
                  </a:cubicBezTo>
                  <a:cubicBezTo>
                    <a:pt x="39" y="0"/>
                    <a:pt x="50" y="11"/>
                    <a:pt x="50" y="24"/>
                  </a:cubicBezTo>
                  <a:cubicBezTo>
                    <a:pt x="50" y="25"/>
                    <a:pt x="50" y="25"/>
                    <a:pt x="50" y="25"/>
                  </a:cubicBezTo>
                  <a:cubicBezTo>
                    <a:pt x="50" y="26"/>
                    <a:pt x="49" y="27"/>
                    <a:pt x="48" y="27"/>
                  </a:cubicBezTo>
                  <a:close/>
                  <a:moveTo>
                    <a:pt x="4" y="23"/>
                  </a:moveTo>
                  <a:cubicBezTo>
                    <a:pt x="46" y="23"/>
                    <a:pt x="46" y="23"/>
                    <a:pt x="46" y="23"/>
                  </a:cubicBezTo>
                  <a:cubicBezTo>
                    <a:pt x="45" y="12"/>
                    <a:pt x="36" y="4"/>
                    <a:pt x="25" y="4"/>
                  </a:cubicBezTo>
                  <a:cubicBezTo>
                    <a:pt x="14" y="4"/>
                    <a:pt x="5" y="12"/>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1" name="Group 27">
            <a:extLst>
              <a:ext uri="{FF2B5EF4-FFF2-40B4-BE49-F238E27FC236}">
                <a16:creationId xmlns:a16="http://schemas.microsoft.com/office/drawing/2014/main" id="{D263967E-415C-45A6-9AF7-8D7ED95F40E8}"/>
              </a:ext>
            </a:extLst>
          </p:cNvPr>
          <p:cNvGrpSpPr>
            <a:grpSpLocks noChangeAspect="1"/>
          </p:cNvGrpSpPr>
          <p:nvPr/>
        </p:nvGrpSpPr>
        <p:grpSpPr>
          <a:xfrm>
            <a:off x="284400" y="1647825"/>
            <a:ext cx="311734" cy="285619"/>
            <a:chOff x="7010400" y="1606551"/>
            <a:chExt cx="1497013" cy="1371600"/>
          </a:xfrm>
          <a:solidFill>
            <a:schemeClr val="bg1"/>
          </a:solidFill>
          <a:effectLst/>
        </p:grpSpPr>
        <p:sp>
          <p:nvSpPr>
            <p:cNvPr id="1032" name="Freeform 13">
              <a:extLst>
                <a:ext uri="{FF2B5EF4-FFF2-40B4-BE49-F238E27FC236}">
                  <a16:creationId xmlns:a16="http://schemas.microsoft.com/office/drawing/2014/main" id="{E50E5553-77D0-4E04-B1D9-89F3193DA957}"/>
                </a:ext>
              </a:extLst>
            </p:cNvPr>
            <p:cNvSpPr>
              <a:spLocks noEditPoints="1"/>
            </p:cNvSpPr>
            <p:nvPr/>
          </p:nvSpPr>
          <p:spPr bwMode="auto">
            <a:xfrm>
              <a:off x="7569200" y="1606551"/>
              <a:ext cx="374650" cy="373063"/>
            </a:xfrm>
            <a:custGeom>
              <a:avLst/>
              <a:gdLst>
                <a:gd name="T0" fmla="*/ 50 w 99"/>
                <a:gd name="T1" fmla="*/ 99 h 99"/>
                <a:gd name="T2" fmla="*/ 0 w 99"/>
                <a:gd name="T3" fmla="*/ 49 h 99"/>
                <a:gd name="T4" fmla="*/ 50 w 99"/>
                <a:gd name="T5" fmla="*/ 0 h 99"/>
                <a:gd name="T6" fmla="*/ 99 w 99"/>
                <a:gd name="T7" fmla="*/ 49 h 99"/>
                <a:gd name="T8" fmla="*/ 50 w 99"/>
                <a:gd name="T9" fmla="*/ 99 h 99"/>
                <a:gd name="T10" fmla="*/ 50 w 99"/>
                <a:gd name="T11" fmla="*/ 16 h 99"/>
                <a:gd name="T12" fmla="*/ 17 w 99"/>
                <a:gd name="T13" fmla="*/ 49 h 99"/>
                <a:gd name="T14" fmla="*/ 50 w 99"/>
                <a:gd name="T15" fmla="*/ 82 h 99"/>
                <a:gd name="T16" fmla="*/ 83 w 99"/>
                <a:gd name="T17" fmla="*/ 49 h 99"/>
                <a:gd name="T18" fmla="*/ 50 w 99"/>
                <a:gd name="T19" fmla="*/ 1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23" y="99"/>
                    <a:pt x="0" y="77"/>
                    <a:pt x="0" y="49"/>
                  </a:cubicBezTo>
                  <a:cubicBezTo>
                    <a:pt x="0" y="22"/>
                    <a:pt x="23" y="0"/>
                    <a:pt x="50" y="0"/>
                  </a:cubicBezTo>
                  <a:cubicBezTo>
                    <a:pt x="77" y="0"/>
                    <a:pt x="99" y="22"/>
                    <a:pt x="99" y="49"/>
                  </a:cubicBezTo>
                  <a:cubicBezTo>
                    <a:pt x="99" y="77"/>
                    <a:pt x="77" y="99"/>
                    <a:pt x="50" y="99"/>
                  </a:cubicBezTo>
                  <a:close/>
                  <a:moveTo>
                    <a:pt x="50" y="16"/>
                  </a:moveTo>
                  <a:cubicBezTo>
                    <a:pt x="32" y="16"/>
                    <a:pt x="17" y="31"/>
                    <a:pt x="17" y="49"/>
                  </a:cubicBezTo>
                  <a:cubicBezTo>
                    <a:pt x="17" y="68"/>
                    <a:pt x="32" y="82"/>
                    <a:pt x="50" y="82"/>
                  </a:cubicBezTo>
                  <a:cubicBezTo>
                    <a:pt x="68" y="82"/>
                    <a:pt x="83" y="68"/>
                    <a:pt x="83" y="49"/>
                  </a:cubicBezTo>
                  <a:cubicBezTo>
                    <a:pt x="83" y="31"/>
                    <a:pt x="68" y="16"/>
                    <a:pt x="5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3" name="Freeform 14">
              <a:extLst>
                <a:ext uri="{FF2B5EF4-FFF2-40B4-BE49-F238E27FC236}">
                  <a16:creationId xmlns:a16="http://schemas.microsoft.com/office/drawing/2014/main" id="{1A26E7E3-366A-4717-B0AD-83C7077D570C}"/>
                </a:ext>
              </a:extLst>
            </p:cNvPr>
            <p:cNvSpPr>
              <a:spLocks noEditPoints="1"/>
            </p:cNvSpPr>
            <p:nvPr/>
          </p:nvSpPr>
          <p:spPr bwMode="auto">
            <a:xfrm>
              <a:off x="8069263" y="1730376"/>
              <a:ext cx="249238" cy="249238"/>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6 h 66"/>
                <a:gd name="T12" fmla="*/ 17 w 66"/>
                <a:gd name="T13" fmla="*/ 33 h 66"/>
                <a:gd name="T14" fmla="*/ 33 w 66"/>
                <a:gd name="T15" fmla="*/ 49 h 66"/>
                <a:gd name="T16" fmla="*/ 50 w 66"/>
                <a:gd name="T17" fmla="*/ 33 h 66"/>
                <a:gd name="T18" fmla="*/ 33 w 66"/>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2" y="0"/>
                    <a:pt x="66" y="15"/>
                    <a:pt x="66" y="33"/>
                  </a:cubicBezTo>
                  <a:cubicBezTo>
                    <a:pt x="66" y="51"/>
                    <a:pt x="52" y="66"/>
                    <a:pt x="33" y="66"/>
                  </a:cubicBezTo>
                  <a:close/>
                  <a:moveTo>
                    <a:pt x="33" y="16"/>
                  </a:moveTo>
                  <a:cubicBezTo>
                    <a:pt x="24" y="16"/>
                    <a:pt x="17" y="24"/>
                    <a:pt x="17" y="33"/>
                  </a:cubicBezTo>
                  <a:cubicBezTo>
                    <a:pt x="17" y="42"/>
                    <a:pt x="24" y="49"/>
                    <a:pt x="33" y="49"/>
                  </a:cubicBezTo>
                  <a:cubicBezTo>
                    <a:pt x="43" y="49"/>
                    <a:pt x="50" y="42"/>
                    <a:pt x="50" y="33"/>
                  </a:cubicBezTo>
                  <a:cubicBezTo>
                    <a:pt x="50" y="24"/>
                    <a:pt x="43" y="1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4" name="Freeform 15">
              <a:extLst>
                <a:ext uri="{FF2B5EF4-FFF2-40B4-BE49-F238E27FC236}">
                  <a16:creationId xmlns:a16="http://schemas.microsoft.com/office/drawing/2014/main" id="{2C19106F-821B-460C-A4CB-BCC6B20BF6DC}"/>
                </a:ext>
              </a:extLst>
            </p:cNvPr>
            <p:cNvSpPr>
              <a:spLocks noEditPoints="1"/>
            </p:cNvSpPr>
            <p:nvPr/>
          </p:nvSpPr>
          <p:spPr bwMode="auto">
            <a:xfrm>
              <a:off x="7196138" y="1730376"/>
              <a:ext cx="249238" cy="249238"/>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6 h 66"/>
                <a:gd name="T12" fmla="*/ 17 w 66"/>
                <a:gd name="T13" fmla="*/ 33 h 66"/>
                <a:gd name="T14" fmla="*/ 33 w 66"/>
                <a:gd name="T15" fmla="*/ 49 h 66"/>
                <a:gd name="T16" fmla="*/ 50 w 66"/>
                <a:gd name="T17" fmla="*/ 33 h 66"/>
                <a:gd name="T18" fmla="*/ 33 w 66"/>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2" y="0"/>
                    <a:pt x="66" y="15"/>
                    <a:pt x="66" y="33"/>
                  </a:cubicBezTo>
                  <a:cubicBezTo>
                    <a:pt x="66" y="51"/>
                    <a:pt x="52" y="66"/>
                    <a:pt x="33" y="66"/>
                  </a:cubicBezTo>
                  <a:close/>
                  <a:moveTo>
                    <a:pt x="33" y="16"/>
                  </a:moveTo>
                  <a:cubicBezTo>
                    <a:pt x="24" y="16"/>
                    <a:pt x="17" y="24"/>
                    <a:pt x="17" y="33"/>
                  </a:cubicBezTo>
                  <a:cubicBezTo>
                    <a:pt x="17" y="42"/>
                    <a:pt x="24" y="49"/>
                    <a:pt x="33" y="49"/>
                  </a:cubicBezTo>
                  <a:cubicBezTo>
                    <a:pt x="43" y="49"/>
                    <a:pt x="50" y="42"/>
                    <a:pt x="50" y="33"/>
                  </a:cubicBezTo>
                  <a:cubicBezTo>
                    <a:pt x="50" y="24"/>
                    <a:pt x="43" y="1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5" name="Freeform 16">
              <a:extLst>
                <a:ext uri="{FF2B5EF4-FFF2-40B4-BE49-F238E27FC236}">
                  <a16:creationId xmlns:a16="http://schemas.microsoft.com/office/drawing/2014/main" id="{23762DEC-8784-414D-955C-2DCA16EF41BB}"/>
                </a:ext>
              </a:extLst>
            </p:cNvPr>
            <p:cNvSpPr>
              <a:spLocks/>
            </p:cNvSpPr>
            <p:nvPr/>
          </p:nvSpPr>
          <p:spPr bwMode="auto">
            <a:xfrm>
              <a:off x="7010400" y="2674938"/>
              <a:ext cx="1497013" cy="303213"/>
            </a:xfrm>
            <a:custGeom>
              <a:avLst/>
              <a:gdLst>
                <a:gd name="T0" fmla="*/ 198 w 396"/>
                <a:gd name="T1" fmla="*/ 80 h 80"/>
                <a:gd name="T2" fmla="*/ 0 w 396"/>
                <a:gd name="T3" fmla="*/ 39 h 80"/>
                <a:gd name="T4" fmla="*/ 114 w 396"/>
                <a:gd name="T5" fmla="*/ 1 h 80"/>
                <a:gd name="T6" fmla="*/ 123 w 396"/>
                <a:gd name="T7" fmla="*/ 8 h 80"/>
                <a:gd name="T8" fmla="*/ 116 w 396"/>
                <a:gd name="T9" fmla="*/ 17 h 80"/>
                <a:gd name="T10" fmla="*/ 16 w 396"/>
                <a:gd name="T11" fmla="*/ 40 h 80"/>
                <a:gd name="T12" fmla="*/ 198 w 396"/>
                <a:gd name="T13" fmla="*/ 63 h 80"/>
                <a:gd name="T14" fmla="*/ 380 w 396"/>
                <a:gd name="T15" fmla="*/ 38 h 80"/>
                <a:gd name="T16" fmla="*/ 280 w 396"/>
                <a:gd name="T17" fmla="*/ 17 h 80"/>
                <a:gd name="T18" fmla="*/ 272 w 396"/>
                <a:gd name="T19" fmla="*/ 8 h 80"/>
                <a:gd name="T20" fmla="*/ 281 w 396"/>
                <a:gd name="T21" fmla="*/ 1 h 80"/>
                <a:gd name="T22" fmla="*/ 396 w 396"/>
                <a:gd name="T23" fmla="*/ 39 h 80"/>
                <a:gd name="T24" fmla="*/ 198 w 396"/>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80">
                  <a:moveTo>
                    <a:pt x="198" y="80"/>
                  </a:moveTo>
                  <a:cubicBezTo>
                    <a:pt x="178" y="80"/>
                    <a:pt x="0" y="79"/>
                    <a:pt x="0" y="39"/>
                  </a:cubicBezTo>
                  <a:cubicBezTo>
                    <a:pt x="0" y="20"/>
                    <a:pt x="38" y="7"/>
                    <a:pt x="114" y="1"/>
                  </a:cubicBezTo>
                  <a:cubicBezTo>
                    <a:pt x="119" y="0"/>
                    <a:pt x="123" y="4"/>
                    <a:pt x="123" y="8"/>
                  </a:cubicBezTo>
                  <a:cubicBezTo>
                    <a:pt x="123" y="13"/>
                    <a:pt x="120" y="17"/>
                    <a:pt x="116" y="17"/>
                  </a:cubicBezTo>
                  <a:cubicBezTo>
                    <a:pt x="41" y="24"/>
                    <a:pt x="18" y="36"/>
                    <a:pt x="16" y="40"/>
                  </a:cubicBezTo>
                  <a:cubicBezTo>
                    <a:pt x="21" y="47"/>
                    <a:pt x="86" y="63"/>
                    <a:pt x="198" y="63"/>
                  </a:cubicBezTo>
                  <a:cubicBezTo>
                    <a:pt x="310" y="63"/>
                    <a:pt x="375" y="47"/>
                    <a:pt x="380" y="38"/>
                  </a:cubicBezTo>
                  <a:cubicBezTo>
                    <a:pt x="378" y="36"/>
                    <a:pt x="355" y="24"/>
                    <a:pt x="280" y="17"/>
                  </a:cubicBezTo>
                  <a:cubicBezTo>
                    <a:pt x="275" y="17"/>
                    <a:pt x="272" y="13"/>
                    <a:pt x="272" y="8"/>
                  </a:cubicBezTo>
                  <a:cubicBezTo>
                    <a:pt x="273" y="4"/>
                    <a:pt x="277" y="0"/>
                    <a:pt x="281" y="1"/>
                  </a:cubicBezTo>
                  <a:cubicBezTo>
                    <a:pt x="357" y="7"/>
                    <a:pt x="396" y="20"/>
                    <a:pt x="396" y="39"/>
                  </a:cubicBezTo>
                  <a:cubicBezTo>
                    <a:pt x="396" y="79"/>
                    <a:pt x="218" y="80"/>
                    <a:pt x="19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6" name="Freeform 17">
              <a:extLst>
                <a:ext uri="{FF2B5EF4-FFF2-40B4-BE49-F238E27FC236}">
                  <a16:creationId xmlns:a16="http://schemas.microsoft.com/office/drawing/2014/main" id="{0D26D65A-1801-4359-A408-E4011BBD33EB}"/>
                </a:ext>
              </a:extLst>
            </p:cNvPr>
            <p:cNvSpPr>
              <a:spLocks noEditPoints="1"/>
            </p:cNvSpPr>
            <p:nvPr/>
          </p:nvSpPr>
          <p:spPr bwMode="auto">
            <a:xfrm>
              <a:off x="7569200" y="2039938"/>
              <a:ext cx="374650" cy="623888"/>
            </a:xfrm>
            <a:custGeom>
              <a:avLst/>
              <a:gdLst>
                <a:gd name="T0" fmla="*/ 91 w 99"/>
                <a:gd name="T1" fmla="*/ 165 h 165"/>
                <a:gd name="T2" fmla="*/ 9 w 99"/>
                <a:gd name="T3" fmla="*/ 165 h 165"/>
                <a:gd name="T4" fmla="*/ 0 w 99"/>
                <a:gd name="T5" fmla="*/ 157 h 165"/>
                <a:gd name="T6" fmla="*/ 0 w 99"/>
                <a:gd name="T7" fmla="*/ 50 h 165"/>
                <a:gd name="T8" fmla="*/ 50 w 99"/>
                <a:gd name="T9" fmla="*/ 0 h 165"/>
                <a:gd name="T10" fmla="*/ 99 w 99"/>
                <a:gd name="T11" fmla="*/ 50 h 165"/>
                <a:gd name="T12" fmla="*/ 99 w 99"/>
                <a:gd name="T13" fmla="*/ 157 h 165"/>
                <a:gd name="T14" fmla="*/ 91 w 99"/>
                <a:gd name="T15" fmla="*/ 165 h 165"/>
                <a:gd name="T16" fmla="*/ 17 w 99"/>
                <a:gd name="T17" fmla="*/ 149 h 165"/>
                <a:gd name="T18" fmla="*/ 83 w 99"/>
                <a:gd name="T19" fmla="*/ 149 h 165"/>
                <a:gd name="T20" fmla="*/ 83 w 99"/>
                <a:gd name="T21" fmla="*/ 50 h 165"/>
                <a:gd name="T22" fmla="*/ 50 w 99"/>
                <a:gd name="T23" fmla="*/ 17 h 165"/>
                <a:gd name="T24" fmla="*/ 17 w 99"/>
                <a:gd name="T25" fmla="*/ 50 h 165"/>
                <a:gd name="T26" fmla="*/ 17 w 99"/>
                <a:gd name="T27" fmla="*/ 1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65">
                  <a:moveTo>
                    <a:pt x="91" y="165"/>
                  </a:moveTo>
                  <a:cubicBezTo>
                    <a:pt x="9" y="165"/>
                    <a:pt x="9" y="165"/>
                    <a:pt x="9" y="165"/>
                  </a:cubicBezTo>
                  <a:cubicBezTo>
                    <a:pt x="4" y="165"/>
                    <a:pt x="0" y="162"/>
                    <a:pt x="0" y="157"/>
                  </a:cubicBezTo>
                  <a:cubicBezTo>
                    <a:pt x="0" y="50"/>
                    <a:pt x="0" y="50"/>
                    <a:pt x="0" y="50"/>
                  </a:cubicBezTo>
                  <a:cubicBezTo>
                    <a:pt x="0" y="23"/>
                    <a:pt x="23" y="0"/>
                    <a:pt x="50" y="0"/>
                  </a:cubicBezTo>
                  <a:cubicBezTo>
                    <a:pt x="77" y="0"/>
                    <a:pt x="99" y="23"/>
                    <a:pt x="99" y="50"/>
                  </a:cubicBezTo>
                  <a:cubicBezTo>
                    <a:pt x="99" y="157"/>
                    <a:pt x="99" y="157"/>
                    <a:pt x="99" y="157"/>
                  </a:cubicBezTo>
                  <a:cubicBezTo>
                    <a:pt x="99" y="162"/>
                    <a:pt x="96" y="165"/>
                    <a:pt x="91" y="165"/>
                  </a:cubicBezTo>
                  <a:close/>
                  <a:moveTo>
                    <a:pt x="17" y="149"/>
                  </a:moveTo>
                  <a:cubicBezTo>
                    <a:pt x="83" y="149"/>
                    <a:pt x="83" y="149"/>
                    <a:pt x="83" y="149"/>
                  </a:cubicBezTo>
                  <a:cubicBezTo>
                    <a:pt x="83" y="50"/>
                    <a:pt x="83" y="50"/>
                    <a:pt x="83" y="50"/>
                  </a:cubicBezTo>
                  <a:cubicBezTo>
                    <a:pt x="83" y="32"/>
                    <a:pt x="68" y="17"/>
                    <a:pt x="50" y="17"/>
                  </a:cubicBezTo>
                  <a:cubicBezTo>
                    <a:pt x="32" y="17"/>
                    <a:pt x="17" y="32"/>
                    <a:pt x="17" y="50"/>
                  </a:cubicBezTo>
                  <a:lnTo>
                    <a:pt x="17"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7" name="Freeform 18">
              <a:extLst>
                <a:ext uri="{FF2B5EF4-FFF2-40B4-BE49-F238E27FC236}">
                  <a16:creationId xmlns:a16="http://schemas.microsoft.com/office/drawing/2014/main" id="{B38E2D4E-3EDB-4BBB-ADB3-B8DE532D0C70}"/>
                </a:ext>
              </a:extLst>
            </p:cNvPr>
            <p:cNvSpPr>
              <a:spLocks noEditPoints="1"/>
            </p:cNvSpPr>
            <p:nvPr/>
          </p:nvSpPr>
          <p:spPr bwMode="auto">
            <a:xfrm>
              <a:off x="8069263" y="2039938"/>
              <a:ext cx="249238" cy="498475"/>
            </a:xfrm>
            <a:custGeom>
              <a:avLst/>
              <a:gdLst>
                <a:gd name="T0" fmla="*/ 58 w 66"/>
                <a:gd name="T1" fmla="*/ 132 h 132"/>
                <a:gd name="T2" fmla="*/ 9 w 66"/>
                <a:gd name="T3" fmla="*/ 132 h 132"/>
                <a:gd name="T4" fmla="*/ 0 w 66"/>
                <a:gd name="T5" fmla="*/ 124 h 132"/>
                <a:gd name="T6" fmla="*/ 0 w 66"/>
                <a:gd name="T7" fmla="*/ 33 h 132"/>
                <a:gd name="T8" fmla="*/ 33 w 66"/>
                <a:gd name="T9" fmla="*/ 0 h 132"/>
                <a:gd name="T10" fmla="*/ 66 w 66"/>
                <a:gd name="T11" fmla="*/ 33 h 132"/>
                <a:gd name="T12" fmla="*/ 66 w 66"/>
                <a:gd name="T13" fmla="*/ 124 h 132"/>
                <a:gd name="T14" fmla="*/ 58 w 66"/>
                <a:gd name="T15" fmla="*/ 132 h 132"/>
                <a:gd name="T16" fmla="*/ 17 w 66"/>
                <a:gd name="T17" fmla="*/ 116 h 132"/>
                <a:gd name="T18" fmla="*/ 50 w 66"/>
                <a:gd name="T19" fmla="*/ 116 h 132"/>
                <a:gd name="T20" fmla="*/ 50 w 66"/>
                <a:gd name="T21" fmla="*/ 33 h 132"/>
                <a:gd name="T22" fmla="*/ 33 w 66"/>
                <a:gd name="T23" fmla="*/ 17 h 132"/>
                <a:gd name="T24" fmla="*/ 17 w 66"/>
                <a:gd name="T25" fmla="*/ 33 h 132"/>
                <a:gd name="T26" fmla="*/ 17 w 66"/>
                <a:gd name="T27"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32">
                  <a:moveTo>
                    <a:pt x="58" y="132"/>
                  </a:moveTo>
                  <a:cubicBezTo>
                    <a:pt x="9" y="132"/>
                    <a:pt x="9" y="132"/>
                    <a:pt x="9" y="132"/>
                  </a:cubicBezTo>
                  <a:cubicBezTo>
                    <a:pt x="4" y="132"/>
                    <a:pt x="0" y="129"/>
                    <a:pt x="0" y="124"/>
                  </a:cubicBezTo>
                  <a:cubicBezTo>
                    <a:pt x="0" y="33"/>
                    <a:pt x="0" y="33"/>
                    <a:pt x="0" y="33"/>
                  </a:cubicBezTo>
                  <a:cubicBezTo>
                    <a:pt x="0" y="15"/>
                    <a:pt x="15" y="0"/>
                    <a:pt x="33" y="0"/>
                  </a:cubicBezTo>
                  <a:cubicBezTo>
                    <a:pt x="52" y="0"/>
                    <a:pt x="66" y="15"/>
                    <a:pt x="66" y="33"/>
                  </a:cubicBezTo>
                  <a:cubicBezTo>
                    <a:pt x="66" y="124"/>
                    <a:pt x="66" y="124"/>
                    <a:pt x="66" y="124"/>
                  </a:cubicBezTo>
                  <a:cubicBezTo>
                    <a:pt x="66" y="129"/>
                    <a:pt x="63" y="132"/>
                    <a:pt x="58" y="132"/>
                  </a:cubicBezTo>
                  <a:close/>
                  <a:moveTo>
                    <a:pt x="17" y="116"/>
                  </a:moveTo>
                  <a:cubicBezTo>
                    <a:pt x="50" y="116"/>
                    <a:pt x="50" y="116"/>
                    <a:pt x="50" y="116"/>
                  </a:cubicBezTo>
                  <a:cubicBezTo>
                    <a:pt x="50" y="33"/>
                    <a:pt x="50" y="33"/>
                    <a:pt x="50" y="33"/>
                  </a:cubicBezTo>
                  <a:cubicBezTo>
                    <a:pt x="50" y="24"/>
                    <a:pt x="43" y="17"/>
                    <a:pt x="33" y="17"/>
                  </a:cubicBezTo>
                  <a:cubicBezTo>
                    <a:pt x="24" y="17"/>
                    <a:pt x="17" y="24"/>
                    <a:pt x="17" y="33"/>
                  </a:cubicBezTo>
                  <a:lnTo>
                    <a:pt x="1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8" name="Freeform 19">
              <a:extLst>
                <a:ext uri="{FF2B5EF4-FFF2-40B4-BE49-F238E27FC236}">
                  <a16:creationId xmlns:a16="http://schemas.microsoft.com/office/drawing/2014/main" id="{D746481E-F0D9-40EA-A1DA-536AE37229ED}"/>
                </a:ext>
              </a:extLst>
            </p:cNvPr>
            <p:cNvSpPr>
              <a:spLocks noEditPoints="1"/>
            </p:cNvSpPr>
            <p:nvPr/>
          </p:nvSpPr>
          <p:spPr bwMode="auto">
            <a:xfrm>
              <a:off x="7196138" y="2039938"/>
              <a:ext cx="249238" cy="498475"/>
            </a:xfrm>
            <a:custGeom>
              <a:avLst/>
              <a:gdLst>
                <a:gd name="T0" fmla="*/ 58 w 66"/>
                <a:gd name="T1" fmla="*/ 132 h 132"/>
                <a:gd name="T2" fmla="*/ 9 w 66"/>
                <a:gd name="T3" fmla="*/ 132 h 132"/>
                <a:gd name="T4" fmla="*/ 0 w 66"/>
                <a:gd name="T5" fmla="*/ 124 h 132"/>
                <a:gd name="T6" fmla="*/ 0 w 66"/>
                <a:gd name="T7" fmla="*/ 33 h 132"/>
                <a:gd name="T8" fmla="*/ 33 w 66"/>
                <a:gd name="T9" fmla="*/ 0 h 132"/>
                <a:gd name="T10" fmla="*/ 66 w 66"/>
                <a:gd name="T11" fmla="*/ 33 h 132"/>
                <a:gd name="T12" fmla="*/ 66 w 66"/>
                <a:gd name="T13" fmla="*/ 124 h 132"/>
                <a:gd name="T14" fmla="*/ 58 w 66"/>
                <a:gd name="T15" fmla="*/ 132 h 132"/>
                <a:gd name="T16" fmla="*/ 17 w 66"/>
                <a:gd name="T17" fmla="*/ 116 h 132"/>
                <a:gd name="T18" fmla="*/ 50 w 66"/>
                <a:gd name="T19" fmla="*/ 116 h 132"/>
                <a:gd name="T20" fmla="*/ 50 w 66"/>
                <a:gd name="T21" fmla="*/ 33 h 132"/>
                <a:gd name="T22" fmla="*/ 33 w 66"/>
                <a:gd name="T23" fmla="*/ 17 h 132"/>
                <a:gd name="T24" fmla="*/ 17 w 66"/>
                <a:gd name="T25" fmla="*/ 33 h 132"/>
                <a:gd name="T26" fmla="*/ 17 w 66"/>
                <a:gd name="T27" fmla="*/ 11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132">
                  <a:moveTo>
                    <a:pt x="58" y="132"/>
                  </a:moveTo>
                  <a:cubicBezTo>
                    <a:pt x="9" y="132"/>
                    <a:pt x="9" y="132"/>
                    <a:pt x="9" y="132"/>
                  </a:cubicBezTo>
                  <a:cubicBezTo>
                    <a:pt x="4" y="132"/>
                    <a:pt x="0" y="129"/>
                    <a:pt x="0" y="124"/>
                  </a:cubicBezTo>
                  <a:cubicBezTo>
                    <a:pt x="0" y="33"/>
                    <a:pt x="0" y="33"/>
                    <a:pt x="0" y="33"/>
                  </a:cubicBezTo>
                  <a:cubicBezTo>
                    <a:pt x="0" y="15"/>
                    <a:pt x="15" y="0"/>
                    <a:pt x="33" y="0"/>
                  </a:cubicBezTo>
                  <a:cubicBezTo>
                    <a:pt x="52" y="0"/>
                    <a:pt x="66" y="15"/>
                    <a:pt x="66" y="33"/>
                  </a:cubicBezTo>
                  <a:cubicBezTo>
                    <a:pt x="66" y="124"/>
                    <a:pt x="66" y="124"/>
                    <a:pt x="66" y="124"/>
                  </a:cubicBezTo>
                  <a:cubicBezTo>
                    <a:pt x="66" y="129"/>
                    <a:pt x="63" y="132"/>
                    <a:pt x="58" y="132"/>
                  </a:cubicBezTo>
                  <a:close/>
                  <a:moveTo>
                    <a:pt x="17" y="116"/>
                  </a:moveTo>
                  <a:cubicBezTo>
                    <a:pt x="50" y="116"/>
                    <a:pt x="50" y="116"/>
                    <a:pt x="50" y="116"/>
                  </a:cubicBezTo>
                  <a:cubicBezTo>
                    <a:pt x="50" y="33"/>
                    <a:pt x="50" y="33"/>
                    <a:pt x="50" y="33"/>
                  </a:cubicBezTo>
                  <a:cubicBezTo>
                    <a:pt x="50" y="24"/>
                    <a:pt x="43" y="17"/>
                    <a:pt x="33" y="17"/>
                  </a:cubicBezTo>
                  <a:cubicBezTo>
                    <a:pt x="24" y="17"/>
                    <a:pt x="17" y="24"/>
                    <a:pt x="17" y="33"/>
                  </a:cubicBezTo>
                  <a:lnTo>
                    <a:pt x="17"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58" name="Group 1035">
            <a:extLst>
              <a:ext uri="{FF2B5EF4-FFF2-40B4-BE49-F238E27FC236}">
                <a16:creationId xmlns:a16="http://schemas.microsoft.com/office/drawing/2014/main" id="{7AED7473-95F9-469B-B193-7F98B5E5AEAD}"/>
              </a:ext>
            </a:extLst>
          </p:cNvPr>
          <p:cNvGrpSpPr>
            <a:grpSpLocks noChangeAspect="1"/>
          </p:cNvGrpSpPr>
          <p:nvPr/>
        </p:nvGrpSpPr>
        <p:grpSpPr>
          <a:xfrm>
            <a:off x="284400" y="4340505"/>
            <a:ext cx="293136" cy="285619"/>
            <a:chOff x="1973263" y="-365125"/>
            <a:chExt cx="371475" cy="361950"/>
          </a:xfrm>
          <a:solidFill>
            <a:schemeClr val="bg1"/>
          </a:solidFill>
          <a:effectLst/>
        </p:grpSpPr>
        <p:sp>
          <p:nvSpPr>
            <p:cNvPr id="359" name="Freeform 14">
              <a:extLst>
                <a:ext uri="{FF2B5EF4-FFF2-40B4-BE49-F238E27FC236}">
                  <a16:creationId xmlns:a16="http://schemas.microsoft.com/office/drawing/2014/main" id="{1001A620-1654-4688-92DB-F27BFEF4EC12}"/>
                </a:ext>
              </a:extLst>
            </p:cNvPr>
            <p:cNvSpPr>
              <a:spLocks/>
            </p:cNvSpPr>
            <p:nvPr/>
          </p:nvSpPr>
          <p:spPr bwMode="auto">
            <a:xfrm>
              <a:off x="1973263" y="-365125"/>
              <a:ext cx="279400" cy="254000"/>
            </a:xfrm>
            <a:custGeom>
              <a:avLst/>
              <a:gdLst>
                <a:gd name="T0" fmla="*/ 4 w 72"/>
                <a:gd name="T1" fmla="*/ 66 h 66"/>
                <a:gd name="T2" fmla="*/ 2 w 72"/>
                <a:gd name="T3" fmla="*/ 65 h 66"/>
                <a:gd name="T4" fmla="*/ 2 w 72"/>
                <a:gd name="T5" fmla="*/ 63 h 66"/>
                <a:gd name="T6" fmla="*/ 9 w 72"/>
                <a:gd name="T7" fmla="*/ 50 h 66"/>
                <a:gd name="T8" fmla="*/ 0 w 72"/>
                <a:gd name="T9" fmla="*/ 30 h 66"/>
                <a:gd name="T10" fmla="*/ 36 w 72"/>
                <a:gd name="T11" fmla="*/ 0 h 66"/>
                <a:gd name="T12" fmla="*/ 72 w 72"/>
                <a:gd name="T13" fmla="*/ 30 h 66"/>
                <a:gd name="T14" fmla="*/ 70 w 72"/>
                <a:gd name="T15" fmla="*/ 32 h 66"/>
                <a:gd name="T16" fmla="*/ 68 w 72"/>
                <a:gd name="T17" fmla="*/ 30 h 66"/>
                <a:gd name="T18" fmla="*/ 36 w 72"/>
                <a:gd name="T19" fmla="*/ 4 h 66"/>
                <a:gd name="T20" fmla="*/ 4 w 72"/>
                <a:gd name="T21" fmla="*/ 30 h 66"/>
                <a:gd name="T22" fmla="*/ 13 w 72"/>
                <a:gd name="T23" fmla="*/ 48 h 66"/>
                <a:gd name="T24" fmla="*/ 14 w 72"/>
                <a:gd name="T25" fmla="*/ 51 h 66"/>
                <a:gd name="T26" fmla="*/ 9 w 72"/>
                <a:gd name="T27" fmla="*/ 60 h 66"/>
                <a:gd name="T28" fmla="*/ 23 w 72"/>
                <a:gd name="T29" fmla="*/ 54 h 66"/>
                <a:gd name="T30" fmla="*/ 25 w 72"/>
                <a:gd name="T31" fmla="*/ 54 h 66"/>
                <a:gd name="T32" fmla="*/ 30 w 72"/>
                <a:gd name="T33" fmla="*/ 55 h 66"/>
                <a:gd name="T34" fmla="*/ 32 w 72"/>
                <a:gd name="T35" fmla="*/ 58 h 66"/>
                <a:gd name="T36" fmla="*/ 29 w 72"/>
                <a:gd name="T37" fmla="*/ 59 h 66"/>
                <a:gd name="T38" fmla="*/ 24 w 72"/>
                <a:gd name="T39" fmla="*/ 58 h 66"/>
                <a:gd name="T40" fmla="*/ 5 w 72"/>
                <a:gd name="T41" fmla="*/ 66 h 66"/>
                <a:gd name="T42" fmla="*/ 4 w 72"/>
                <a:gd name="T4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66">
                  <a:moveTo>
                    <a:pt x="4" y="66"/>
                  </a:moveTo>
                  <a:cubicBezTo>
                    <a:pt x="3" y="66"/>
                    <a:pt x="3" y="66"/>
                    <a:pt x="2" y="65"/>
                  </a:cubicBezTo>
                  <a:cubicBezTo>
                    <a:pt x="2" y="65"/>
                    <a:pt x="2" y="64"/>
                    <a:pt x="2" y="63"/>
                  </a:cubicBezTo>
                  <a:cubicBezTo>
                    <a:pt x="9" y="50"/>
                    <a:pt x="9" y="50"/>
                    <a:pt x="9" y="50"/>
                  </a:cubicBezTo>
                  <a:cubicBezTo>
                    <a:pt x="3" y="45"/>
                    <a:pt x="0" y="38"/>
                    <a:pt x="0" y="30"/>
                  </a:cubicBezTo>
                  <a:cubicBezTo>
                    <a:pt x="0" y="13"/>
                    <a:pt x="16" y="0"/>
                    <a:pt x="36" y="0"/>
                  </a:cubicBezTo>
                  <a:cubicBezTo>
                    <a:pt x="56" y="0"/>
                    <a:pt x="72" y="13"/>
                    <a:pt x="72" y="30"/>
                  </a:cubicBezTo>
                  <a:cubicBezTo>
                    <a:pt x="72" y="31"/>
                    <a:pt x="71" y="32"/>
                    <a:pt x="70" y="32"/>
                  </a:cubicBezTo>
                  <a:cubicBezTo>
                    <a:pt x="69" y="32"/>
                    <a:pt x="68" y="31"/>
                    <a:pt x="68" y="30"/>
                  </a:cubicBezTo>
                  <a:cubicBezTo>
                    <a:pt x="68" y="16"/>
                    <a:pt x="54" y="4"/>
                    <a:pt x="36" y="4"/>
                  </a:cubicBezTo>
                  <a:cubicBezTo>
                    <a:pt x="18" y="4"/>
                    <a:pt x="4" y="16"/>
                    <a:pt x="4" y="30"/>
                  </a:cubicBezTo>
                  <a:cubicBezTo>
                    <a:pt x="4" y="37"/>
                    <a:pt x="7" y="44"/>
                    <a:pt x="13" y="48"/>
                  </a:cubicBezTo>
                  <a:cubicBezTo>
                    <a:pt x="14" y="49"/>
                    <a:pt x="14" y="50"/>
                    <a:pt x="14" y="51"/>
                  </a:cubicBezTo>
                  <a:cubicBezTo>
                    <a:pt x="9" y="60"/>
                    <a:pt x="9" y="60"/>
                    <a:pt x="9" y="60"/>
                  </a:cubicBezTo>
                  <a:cubicBezTo>
                    <a:pt x="23" y="54"/>
                    <a:pt x="23" y="54"/>
                    <a:pt x="23" y="54"/>
                  </a:cubicBezTo>
                  <a:cubicBezTo>
                    <a:pt x="24" y="54"/>
                    <a:pt x="24" y="54"/>
                    <a:pt x="25" y="54"/>
                  </a:cubicBezTo>
                  <a:cubicBezTo>
                    <a:pt x="26" y="55"/>
                    <a:pt x="28" y="55"/>
                    <a:pt x="30" y="55"/>
                  </a:cubicBezTo>
                  <a:cubicBezTo>
                    <a:pt x="31" y="55"/>
                    <a:pt x="32" y="56"/>
                    <a:pt x="32" y="58"/>
                  </a:cubicBezTo>
                  <a:cubicBezTo>
                    <a:pt x="32" y="59"/>
                    <a:pt x="31" y="59"/>
                    <a:pt x="29" y="59"/>
                  </a:cubicBezTo>
                  <a:cubicBezTo>
                    <a:pt x="28" y="59"/>
                    <a:pt x="26" y="59"/>
                    <a:pt x="24" y="58"/>
                  </a:cubicBezTo>
                  <a:cubicBezTo>
                    <a:pt x="5" y="66"/>
                    <a:pt x="5" y="66"/>
                    <a:pt x="5" y="66"/>
                  </a:cubicBezTo>
                  <a:cubicBezTo>
                    <a:pt x="5" y="66"/>
                    <a:pt x="4" y="66"/>
                    <a:pt x="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5">
              <a:extLst>
                <a:ext uri="{FF2B5EF4-FFF2-40B4-BE49-F238E27FC236}">
                  <a16:creationId xmlns:a16="http://schemas.microsoft.com/office/drawing/2014/main" id="{FE4498A4-A72F-4541-9B0E-EE39050A51CA}"/>
                </a:ext>
              </a:extLst>
            </p:cNvPr>
            <p:cNvSpPr>
              <a:spLocks noEditPoints="1"/>
            </p:cNvSpPr>
            <p:nvPr/>
          </p:nvSpPr>
          <p:spPr bwMode="auto">
            <a:xfrm>
              <a:off x="2112963" y="-219075"/>
              <a:ext cx="231775" cy="215900"/>
            </a:xfrm>
            <a:custGeom>
              <a:avLst/>
              <a:gdLst>
                <a:gd name="T0" fmla="*/ 56 w 60"/>
                <a:gd name="T1" fmla="*/ 56 h 56"/>
                <a:gd name="T2" fmla="*/ 55 w 60"/>
                <a:gd name="T3" fmla="*/ 56 h 56"/>
                <a:gd name="T4" fmla="*/ 40 w 60"/>
                <a:gd name="T5" fmla="*/ 50 h 56"/>
                <a:gd name="T6" fmla="*/ 29 w 60"/>
                <a:gd name="T7" fmla="*/ 52 h 56"/>
                <a:gd name="T8" fmla="*/ 29 w 60"/>
                <a:gd name="T9" fmla="*/ 52 h 56"/>
                <a:gd name="T10" fmla="*/ 0 w 60"/>
                <a:gd name="T11" fmla="*/ 26 h 56"/>
                <a:gd name="T12" fmla="*/ 30 w 60"/>
                <a:gd name="T13" fmla="*/ 0 h 56"/>
                <a:gd name="T14" fmla="*/ 60 w 60"/>
                <a:gd name="T15" fmla="*/ 26 h 56"/>
                <a:gd name="T16" fmla="*/ 52 w 60"/>
                <a:gd name="T17" fmla="*/ 43 h 56"/>
                <a:gd name="T18" fmla="*/ 58 w 60"/>
                <a:gd name="T19" fmla="*/ 53 h 56"/>
                <a:gd name="T20" fmla="*/ 58 w 60"/>
                <a:gd name="T21" fmla="*/ 54 h 56"/>
                <a:gd name="T22" fmla="*/ 56 w 60"/>
                <a:gd name="T23" fmla="*/ 56 h 56"/>
                <a:gd name="T24" fmla="*/ 56 w 60"/>
                <a:gd name="T25" fmla="*/ 56 h 56"/>
                <a:gd name="T26" fmla="*/ 40 w 60"/>
                <a:gd name="T27" fmla="*/ 46 h 56"/>
                <a:gd name="T28" fmla="*/ 41 w 60"/>
                <a:gd name="T29" fmla="*/ 46 h 56"/>
                <a:gd name="T30" fmla="*/ 52 w 60"/>
                <a:gd name="T31" fmla="*/ 50 h 56"/>
                <a:gd name="T32" fmla="*/ 48 w 60"/>
                <a:gd name="T33" fmla="*/ 43 h 56"/>
                <a:gd name="T34" fmla="*/ 49 w 60"/>
                <a:gd name="T35" fmla="*/ 40 h 56"/>
                <a:gd name="T36" fmla="*/ 56 w 60"/>
                <a:gd name="T37" fmla="*/ 26 h 56"/>
                <a:gd name="T38" fmla="*/ 30 w 60"/>
                <a:gd name="T39" fmla="*/ 4 h 56"/>
                <a:gd name="T40" fmla="*/ 4 w 60"/>
                <a:gd name="T41" fmla="*/ 26 h 56"/>
                <a:gd name="T42" fmla="*/ 29 w 60"/>
                <a:gd name="T43" fmla="*/ 48 h 56"/>
                <a:gd name="T44" fmla="*/ 29 w 60"/>
                <a:gd name="T45" fmla="*/ 48 h 56"/>
                <a:gd name="T46" fmla="*/ 39 w 60"/>
                <a:gd name="T47" fmla="*/ 46 h 56"/>
                <a:gd name="T48" fmla="*/ 40 w 60"/>
                <a:gd name="T4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56" y="56"/>
                  </a:moveTo>
                  <a:cubicBezTo>
                    <a:pt x="56" y="56"/>
                    <a:pt x="56" y="56"/>
                    <a:pt x="55" y="56"/>
                  </a:cubicBezTo>
                  <a:cubicBezTo>
                    <a:pt x="40" y="50"/>
                    <a:pt x="40" y="50"/>
                    <a:pt x="40" y="50"/>
                  </a:cubicBezTo>
                  <a:cubicBezTo>
                    <a:pt x="36" y="52"/>
                    <a:pt x="33" y="52"/>
                    <a:pt x="29" y="52"/>
                  </a:cubicBezTo>
                  <a:cubicBezTo>
                    <a:pt x="29" y="52"/>
                    <a:pt x="29" y="52"/>
                    <a:pt x="29" y="52"/>
                  </a:cubicBezTo>
                  <a:cubicBezTo>
                    <a:pt x="13" y="52"/>
                    <a:pt x="0" y="40"/>
                    <a:pt x="0" y="26"/>
                  </a:cubicBezTo>
                  <a:cubicBezTo>
                    <a:pt x="0" y="12"/>
                    <a:pt x="14" y="0"/>
                    <a:pt x="30" y="0"/>
                  </a:cubicBezTo>
                  <a:cubicBezTo>
                    <a:pt x="46" y="0"/>
                    <a:pt x="60" y="12"/>
                    <a:pt x="60" y="26"/>
                  </a:cubicBezTo>
                  <a:cubicBezTo>
                    <a:pt x="60" y="32"/>
                    <a:pt x="57" y="38"/>
                    <a:pt x="52" y="43"/>
                  </a:cubicBezTo>
                  <a:cubicBezTo>
                    <a:pt x="58" y="53"/>
                    <a:pt x="58" y="53"/>
                    <a:pt x="58" y="53"/>
                  </a:cubicBezTo>
                  <a:cubicBezTo>
                    <a:pt x="58" y="53"/>
                    <a:pt x="58" y="53"/>
                    <a:pt x="58" y="54"/>
                  </a:cubicBezTo>
                  <a:cubicBezTo>
                    <a:pt x="58" y="55"/>
                    <a:pt x="57" y="56"/>
                    <a:pt x="56" y="56"/>
                  </a:cubicBezTo>
                  <a:cubicBezTo>
                    <a:pt x="56" y="56"/>
                    <a:pt x="56" y="56"/>
                    <a:pt x="56" y="56"/>
                  </a:cubicBezTo>
                  <a:close/>
                  <a:moveTo>
                    <a:pt x="40" y="46"/>
                  </a:moveTo>
                  <a:cubicBezTo>
                    <a:pt x="40" y="46"/>
                    <a:pt x="40" y="46"/>
                    <a:pt x="41" y="46"/>
                  </a:cubicBezTo>
                  <a:cubicBezTo>
                    <a:pt x="52" y="50"/>
                    <a:pt x="52" y="50"/>
                    <a:pt x="52" y="50"/>
                  </a:cubicBezTo>
                  <a:cubicBezTo>
                    <a:pt x="48" y="43"/>
                    <a:pt x="48" y="43"/>
                    <a:pt x="48" y="43"/>
                  </a:cubicBezTo>
                  <a:cubicBezTo>
                    <a:pt x="48" y="42"/>
                    <a:pt x="48" y="41"/>
                    <a:pt x="49" y="40"/>
                  </a:cubicBezTo>
                  <a:cubicBezTo>
                    <a:pt x="54" y="37"/>
                    <a:pt x="56" y="32"/>
                    <a:pt x="56" y="26"/>
                  </a:cubicBezTo>
                  <a:cubicBezTo>
                    <a:pt x="56" y="14"/>
                    <a:pt x="44" y="4"/>
                    <a:pt x="30" y="4"/>
                  </a:cubicBezTo>
                  <a:cubicBezTo>
                    <a:pt x="16" y="4"/>
                    <a:pt x="4" y="14"/>
                    <a:pt x="4" y="26"/>
                  </a:cubicBezTo>
                  <a:cubicBezTo>
                    <a:pt x="4" y="38"/>
                    <a:pt x="15" y="48"/>
                    <a:pt x="29" y="48"/>
                  </a:cubicBezTo>
                  <a:cubicBezTo>
                    <a:pt x="29" y="48"/>
                    <a:pt x="29" y="48"/>
                    <a:pt x="29" y="48"/>
                  </a:cubicBezTo>
                  <a:cubicBezTo>
                    <a:pt x="32" y="48"/>
                    <a:pt x="36" y="48"/>
                    <a:pt x="39" y="46"/>
                  </a:cubicBezTo>
                  <a:cubicBezTo>
                    <a:pt x="39" y="46"/>
                    <a:pt x="40" y="46"/>
                    <a:pt x="4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6" name="Gruppieren 745">
            <a:extLst>
              <a:ext uri="{FF2B5EF4-FFF2-40B4-BE49-F238E27FC236}">
                <a16:creationId xmlns:a16="http://schemas.microsoft.com/office/drawing/2014/main" id="{B6D42B6A-E003-4C83-AFDA-27DFADFFDDDD}"/>
              </a:ext>
            </a:extLst>
          </p:cNvPr>
          <p:cNvGrpSpPr>
            <a:grpSpLocks noChangeAspect="1"/>
          </p:cNvGrpSpPr>
          <p:nvPr/>
        </p:nvGrpSpPr>
        <p:grpSpPr>
          <a:xfrm>
            <a:off x="4088904" y="4340505"/>
            <a:ext cx="1812851" cy="285619"/>
            <a:chOff x="4660606" y="4192665"/>
            <a:chExt cx="2284954" cy="360000"/>
          </a:xfrm>
          <a:solidFill>
            <a:schemeClr val="bg1"/>
          </a:solidFill>
        </p:grpSpPr>
        <p:grpSp>
          <p:nvGrpSpPr>
            <p:cNvPr id="747" name="Group 3">
              <a:extLst>
                <a:ext uri="{FF2B5EF4-FFF2-40B4-BE49-F238E27FC236}">
                  <a16:creationId xmlns:a16="http://schemas.microsoft.com/office/drawing/2014/main" id="{3C3622AA-54F0-491B-8CA6-6198F4BF5242}"/>
                </a:ext>
              </a:extLst>
            </p:cNvPr>
            <p:cNvGrpSpPr/>
            <p:nvPr/>
          </p:nvGrpSpPr>
          <p:grpSpPr>
            <a:xfrm>
              <a:off x="4660606" y="4192665"/>
              <a:ext cx="392727" cy="360000"/>
              <a:chOff x="4319588" y="1930401"/>
              <a:chExt cx="285750" cy="261938"/>
            </a:xfrm>
            <a:grpFill/>
          </p:grpSpPr>
          <p:sp>
            <p:nvSpPr>
              <p:cNvPr id="749" name="Freeform 156">
                <a:extLst>
                  <a:ext uri="{FF2B5EF4-FFF2-40B4-BE49-F238E27FC236}">
                    <a16:creationId xmlns:a16="http://schemas.microsoft.com/office/drawing/2014/main" id="{CA9C1C6A-783F-4A27-9D81-FAF318D926D4}"/>
                  </a:ext>
                </a:extLst>
              </p:cNvPr>
              <p:cNvSpPr>
                <a:spLocks/>
              </p:cNvSpPr>
              <p:nvPr/>
            </p:nvSpPr>
            <p:spPr bwMode="auto">
              <a:xfrm>
                <a:off x="4319588" y="1930401"/>
                <a:ext cx="238125" cy="200025"/>
              </a:xfrm>
              <a:custGeom>
                <a:avLst/>
                <a:gdLst>
                  <a:gd name="T0" fmla="*/ 286 w 751"/>
                  <a:gd name="T1" fmla="*/ 450 h 630"/>
                  <a:gd name="T2" fmla="*/ 280 w 751"/>
                  <a:gd name="T3" fmla="*/ 451 h 630"/>
                  <a:gd name="T4" fmla="*/ 275 w 751"/>
                  <a:gd name="T5" fmla="*/ 454 h 630"/>
                  <a:gd name="T6" fmla="*/ 150 w 751"/>
                  <a:gd name="T7" fmla="*/ 465 h 630"/>
                  <a:gd name="T8" fmla="*/ 149 w 751"/>
                  <a:gd name="T9" fmla="*/ 459 h 630"/>
                  <a:gd name="T10" fmla="*/ 146 w 751"/>
                  <a:gd name="T11" fmla="*/ 454 h 630"/>
                  <a:gd name="T12" fmla="*/ 141 w 751"/>
                  <a:gd name="T13" fmla="*/ 451 h 630"/>
                  <a:gd name="T14" fmla="*/ 135 w 751"/>
                  <a:gd name="T15" fmla="*/ 450 h 630"/>
                  <a:gd name="T16" fmla="*/ 30 w 751"/>
                  <a:gd name="T17" fmla="*/ 30 h 630"/>
                  <a:gd name="T18" fmla="*/ 721 w 751"/>
                  <a:gd name="T19" fmla="*/ 261 h 630"/>
                  <a:gd name="T20" fmla="*/ 722 w 751"/>
                  <a:gd name="T21" fmla="*/ 267 h 630"/>
                  <a:gd name="T22" fmla="*/ 726 w 751"/>
                  <a:gd name="T23" fmla="*/ 271 h 630"/>
                  <a:gd name="T24" fmla="*/ 730 w 751"/>
                  <a:gd name="T25" fmla="*/ 275 h 630"/>
                  <a:gd name="T26" fmla="*/ 736 w 751"/>
                  <a:gd name="T27" fmla="*/ 276 h 630"/>
                  <a:gd name="T28" fmla="*/ 742 w 751"/>
                  <a:gd name="T29" fmla="*/ 275 h 630"/>
                  <a:gd name="T30" fmla="*/ 747 w 751"/>
                  <a:gd name="T31" fmla="*/ 271 h 630"/>
                  <a:gd name="T32" fmla="*/ 750 w 751"/>
                  <a:gd name="T33" fmla="*/ 267 h 630"/>
                  <a:gd name="T34" fmla="*/ 751 w 751"/>
                  <a:gd name="T35" fmla="*/ 261 h 630"/>
                  <a:gd name="T36" fmla="*/ 750 w 751"/>
                  <a:gd name="T37" fmla="*/ 11 h 630"/>
                  <a:gd name="T38" fmla="*/ 748 w 751"/>
                  <a:gd name="T39" fmla="*/ 6 h 630"/>
                  <a:gd name="T40" fmla="*/ 745 w 751"/>
                  <a:gd name="T41" fmla="*/ 2 h 630"/>
                  <a:gd name="T42" fmla="*/ 740 w 751"/>
                  <a:gd name="T43" fmla="*/ 0 h 630"/>
                  <a:gd name="T44" fmla="*/ 15 w 751"/>
                  <a:gd name="T45" fmla="*/ 0 h 630"/>
                  <a:gd name="T46" fmla="*/ 10 w 751"/>
                  <a:gd name="T47" fmla="*/ 1 h 630"/>
                  <a:gd name="T48" fmla="*/ 5 w 751"/>
                  <a:gd name="T49" fmla="*/ 4 h 630"/>
                  <a:gd name="T50" fmla="*/ 1 w 751"/>
                  <a:gd name="T51" fmla="*/ 9 h 630"/>
                  <a:gd name="T52" fmla="*/ 0 w 751"/>
                  <a:gd name="T53" fmla="*/ 15 h 630"/>
                  <a:gd name="T54" fmla="*/ 0 w 751"/>
                  <a:gd name="T55" fmla="*/ 467 h 630"/>
                  <a:gd name="T56" fmla="*/ 2 w 751"/>
                  <a:gd name="T57" fmla="*/ 473 h 630"/>
                  <a:gd name="T58" fmla="*/ 7 w 751"/>
                  <a:gd name="T59" fmla="*/ 477 h 630"/>
                  <a:gd name="T60" fmla="*/ 12 w 751"/>
                  <a:gd name="T61" fmla="*/ 479 h 630"/>
                  <a:gd name="T62" fmla="*/ 120 w 751"/>
                  <a:gd name="T63" fmla="*/ 480 h 630"/>
                  <a:gd name="T64" fmla="*/ 121 w 751"/>
                  <a:gd name="T65" fmla="*/ 619 h 630"/>
                  <a:gd name="T66" fmla="*/ 125 w 751"/>
                  <a:gd name="T67" fmla="*/ 627 h 630"/>
                  <a:gd name="T68" fmla="*/ 133 w 751"/>
                  <a:gd name="T69" fmla="*/ 630 h 630"/>
                  <a:gd name="T70" fmla="*/ 138 w 751"/>
                  <a:gd name="T71" fmla="*/ 630 h 630"/>
                  <a:gd name="T72" fmla="*/ 144 w 751"/>
                  <a:gd name="T73" fmla="*/ 628 h 630"/>
                  <a:gd name="T74" fmla="*/ 292 w 751"/>
                  <a:gd name="T75" fmla="*/ 480 h 630"/>
                  <a:gd name="T76" fmla="*/ 334 w 751"/>
                  <a:gd name="T77" fmla="*/ 479 h 630"/>
                  <a:gd name="T78" fmla="*/ 339 w 751"/>
                  <a:gd name="T79" fmla="*/ 477 h 630"/>
                  <a:gd name="T80" fmla="*/ 343 w 751"/>
                  <a:gd name="T81" fmla="*/ 473 h 630"/>
                  <a:gd name="T82" fmla="*/ 346 w 751"/>
                  <a:gd name="T83" fmla="*/ 467 h 630"/>
                  <a:gd name="T84" fmla="*/ 346 w 751"/>
                  <a:gd name="T85" fmla="*/ 462 h 630"/>
                  <a:gd name="T86" fmla="*/ 343 w 751"/>
                  <a:gd name="T87" fmla="*/ 457 h 630"/>
                  <a:gd name="T88" fmla="*/ 339 w 751"/>
                  <a:gd name="T89" fmla="*/ 452 h 630"/>
                  <a:gd name="T90" fmla="*/ 334 w 751"/>
                  <a:gd name="T91" fmla="*/ 4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1" h="630">
                    <a:moveTo>
                      <a:pt x="331" y="450"/>
                    </a:moveTo>
                    <a:lnTo>
                      <a:pt x="286" y="450"/>
                    </a:lnTo>
                    <a:lnTo>
                      <a:pt x="283" y="450"/>
                    </a:lnTo>
                    <a:lnTo>
                      <a:pt x="280" y="451"/>
                    </a:lnTo>
                    <a:lnTo>
                      <a:pt x="277" y="452"/>
                    </a:lnTo>
                    <a:lnTo>
                      <a:pt x="275" y="454"/>
                    </a:lnTo>
                    <a:lnTo>
                      <a:pt x="150" y="579"/>
                    </a:lnTo>
                    <a:lnTo>
                      <a:pt x="150" y="465"/>
                    </a:lnTo>
                    <a:lnTo>
                      <a:pt x="150" y="462"/>
                    </a:lnTo>
                    <a:lnTo>
                      <a:pt x="149" y="459"/>
                    </a:lnTo>
                    <a:lnTo>
                      <a:pt x="148" y="457"/>
                    </a:lnTo>
                    <a:lnTo>
                      <a:pt x="146" y="454"/>
                    </a:lnTo>
                    <a:lnTo>
                      <a:pt x="144" y="452"/>
                    </a:lnTo>
                    <a:lnTo>
                      <a:pt x="141" y="451"/>
                    </a:lnTo>
                    <a:lnTo>
                      <a:pt x="138" y="450"/>
                    </a:lnTo>
                    <a:lnTo>
                      <a:pt x="135" y="450"/>
                    </a:lnTo>
                    <a:lnTo>
                      <a:pt x="30" y="450"/>
                    </a:lnTo>
                    <a:lnTo>
                      <a:pt x="30" y="30"/>
                    </a:lnTo>
                    <a:lnTo>
                      <a:pt x="721" y="30"/>
                    </a:lnTo>
                    <a:lnTo>
                      <a:pt x="721" y="261"/>
                    </a:lnTo>
                    <a:lnTo>
                      <a:pt x="721" y="264"/>
                    </a:lnTo>
                    <a:lnTo>
                      <a:pt x="722" y="267"/>
                    </a:lnTo>
                    <a:lnTo>
                      <a:pt x="724" y="269"/>
                    </a:lnTo>
                    <a:lnTo>
                      <a:pt x="726" y="271"/>
                    </a:lnTo>
                    <a:lnTo>
                      <a:pt x="728" y="274"/>
                    </a:lnTo>
                    <a:lnTo>
                      <a:pt x="730" y="275"/>
                    </a:lnTo>
                    <a:lnTo>
                      <a:pt x="733" y="276"/>
                    </a:lnTo>
                    <a:lnTo>
                      <a:pt x="736" y="276"/>
                    </a:lnTo>
                    <a:lnTo>
                      <a:pt x="740" y="276"/>
                    </a:lnTo>
                    <a:lnTo>
                      <a:pt x="742" y="275"/>
                    </a:lnTo>
                    <a:lnTo>
                      <a:pt x="745" y="274"/>
                    </a:lnTo>
                    <a:lnTo>
                      <a:pt x="747" y="271"/>
                    </a:lnTo>
                    <a:lnTo>
                      <a:pt x="748" y="269"/>
                    </a:lnTo>
                    <a:lnTo>
                      <a:pt x="750" y="267"/>
                    </a:lnTo>
                    <a:lnTo>
                      <a:pt x="750" y="264"/>
                    </a:lnTo>
                    <a:lnTo>
                      <a:pt x="751" y="261"/>
                    </a:lnTo>
                    <a:lnTo>
                      <a:pt x="751" y="15"/>
                    </a:lnTo>
                    <a:lnTo>
                      <a:pt x="750" y="11"/>
                    </a:lnTo>
                    <a:lnTo>
                      <a:pt x="750" y="9"/>
                    </a:lnTo>
                    <a:lnTo>
                      <a:pt x="748" y="6"/>
                    </a:lnTo>
                    <a:lnTo>
                      <a:pt x="747" y="4"/>
                    </a:lnTo>
                    <a:lnTo>
                      <a:pt x="745" y="2"/>
                    </a:lnTo>
                    <a:lnTo>
                      <a:pt x="742" y="1"/>
                    </a:lnTo>
                    <a:lnTo>
                      <a:pt x="740" y="0"/>
                    </a:lnTo>
                    <a:lnTo>
                      <a:pt x="736" y="0"/>
                    </a:lnTo>
                    <a:lnTo>
                      <a:pt x="15" y="0"/>
                    </a:lnTo>
                    <a:lnTo>
                      <a:pt x="12" y="0"/>
                    </a:lnTo>
                    <a:lnTo>
                      <a:pt x="10" y="1"/>
                    </a:lnTo>
                    <a:lnTo>
                      <a:pt x="7" y="2"/>
                    </a:lnTo>
                    <a:lnTo>
                      <a:pt x="5" y="4"/>
                    </a:lnTo>
                    <a:lnTo>
                      <a:pt x="2" y="6"/>
                    </a:lnTo>
                    <a:lnTo>
                      <a:pt x="1" y="9"/>
                    </a:lnTo>
                    <a:lnTo>
                      <a:pt x="0" y="11"/>
                    </a:lnTo>
                    <a:lnTo>
                      <a:pt x="0" y="15"/>
                    </a:lnTo>
                    <a:lnTo>
                      <a:pt x="0" y="465"/>
                    </a:lnTo>
                    <a:lnTo>
                      <a:pt x="0" y="467"/>
                    </a:lnTo>
                    <a:lnTo>
                      <a:pt x="1" y="471"/>
                    </a:lnTo>
                    <a:lnTo>
                      <a:pt x="2" y="473"/>
                    </a:lnTo>
                    <a:lnTo>
                      <a:pt x="5" y="475"/>
                    </a:lnTo>
                    <a:lnTo>
                      <a:pt x="7" y="477"/>
                    </a:lnTo>
                    <a:lnTo>
                      <a:pt x="10" y="478"/>
                    </a:lnTo>
                    <a:lnTo>
                      <a:pt x="12" y="479"/>
                    </a:lnTo>
                    <a:lnTo>
                      <a:pt x="15" y="480"/>
                    </a:lnTo>
                    <a:lnTo>
                      <a:pt x="120" y="480"/>
                    </a:lnTo>
                    <a:lnTo>
                      <a:pt x="120" y="615"/>
                    </a:lnTo>
                    <a:lnTo>
                      <a:pt x="121" y="619"/>
                    </a:lnTo>
                    <a:lnTo>
                      <a:pt x="123" y="624"/>
                    </a:lnTo>
                    <a:lnTo>
                      <a:pt x="125" y="627"/>
                    </a:lnTo>
                    <a:lnTo>
                      <a:pt x="130" y="629"/>
                    </a:lnTo>
                    <a:lnTo>
                      <a:pt x="133" y="630"/>
                    </a:lnTo>
                    <a:lnTo>
                      <a:pt x="135" y="630"/>
                    </a:lnTo>
                    <a:lnTo>
                      <a:pt x="138" y="630"/>
                    </a:lnTo>
                    <a:lnTo>
                      <a:pt x="141" y="629"/>
                    </a:lnTo>
                    <a:lnTo>
                      <a:pt x="144" y="628"/>
                    </a:lnTo>
                    <a:lnTo>
                      <a:pt x="146" y="626"/>
                    </a:lnTo>
                    <a:lnTo>
                      <a:pt x="292" y="480"/>
                    </a:lnTo>
                    <a:lnTo>
                      <a:pt x="331" y="480"/>
                    </a:lnTo>
                    <a:lnTo>
                      <a:pt x="334" y="479"/>
                    </a:lnTo>
                    <a:lnTo>
                      <a:pt x="336" y="478"/>
                    </a:lnTo>
                    <a:lnTo>
                      <a:pt x="339" y="477"/>
                    </a:lnTo>
                    <a:lnTo>
                      <a:pt x="342" y="475"/>
                    </a:lnTo>
                    <a:lnTo>
                      <a:pt x="343" y="473"/>
                    </a:lnTo>
                    <a:lnTo>
                      <a:pt x="345" y="471"/>
                    </a:lnTo>
                    <a:lnTo>
                      <a:pt x="346" y="467"/>
                    </a:lnTo>
                    <a:lnTo>
                      <a:pt x="346" y="465"/>
                    </a:lnTo>
                    <a:lnTo>
                      <a:pt x="346" y="462"/>
                    </a:lnTo>
                    <a:lnTo>
                      <a:pt x="345" y="459"/>
                    </a:lnTo>
                    <a:lnTo>
                      <a:pt x="343" y="457"/>
                    </a:lnTo>
                    <a:lnTo>
                      <a:pt x="342" y="454"/>
                    </a:lnTo>
                    <a:lnTo>
                      <a:pt x="339" y="452"/>
                    </a:lnTo>
                    <a:lnTo>
                      <a:pt x="336" y="451"/>
                    </a:lnTo>
                    <a:lnTo>
                      <a:pt x="334" y="450"/>
                    </a:lnTo>
                    <a:lnTo>
                      <a:pt x="331"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57">
                <a:extLst>
                  <a:ext uri="{FF2B5EF4-FFF2-40B4-BE49-F238E27FC236}">
                    <a16:creationId xmlns:a16="http://schemas.microsoft.com/office/drawing/2014/main" id="{B73D2E56-2F38-4820-9C87-1AC56EBADE47}"/>
                  </a:ext>
                </a:extLst>
              </p:cNvPr>
              <p:cNvSpPr>
                <a:spLocks noEditPoints="1"/>
              </p:cNvSpPr>
              <p:nvPr/>
            </p:nvSpPr>
            <p:spPr bwMode="auto">
              <a:xfrm>
                <a:off x="4443413" y="2035176"/>
                <a:ext cx="161925" cy="157163"/>
              </a:xfrm>
              <a:custGeom>
                <a:avLst/>
                <a:gdLst>
                  <a:gd name="T0" fmla="*/ 405 w 510"/>
                  <a:gd name="T1" fmla="*/ 301 h 496"/>
                  <a:gd name="T2" fmla="*/ 399 w 510"/>
                  <a:gd name="T3" fmla="*/ 302 h 496"/>
                  <a:gd name="T4" fmla="*/ 395 w 510"/>
                  <a:gd name="T5" fmla="*/ 305 h 496"/>
                  <a:gd name="T6" fmla="*/ 391 w 510"/>
                  <a:gd name="T7" fmla="*/ 311 h 496"/>
                  <a:gd name="T8" fmla="*/ 390 w 510"/>
                  <a:gd name="T9" fmla="*/ 316 h 496"/>
                  <a:gd name="T10" fmla="*/ 266 w 510"/>
                  <a:gd name="T11" fmla="*/ 306 h 496"/>
                  <a:gd name="T12" fmla="*/ 261 w 510"/>
                  <a:gd name="T13" fmla="*/ 302 h 496"/>
                  <a:gd name="T14" fmla="*/ 256 w 510"/>
                  <a:gd name="T15" fmla="*/ 301 h 496"/>
                  <a:gd name="T16" fmla="*/ 30 w 510"/>
                  <a:gd name="T17" fmla="*/ 30 h 496"/>
                  <a:gd name="T18" fmla="*/ 480 w 510"/>
                  <a:gd name="T19" fmla="*/ 301 h 496"/>
                  <a:gd name="T20" fmla="*/ 15 w 510"/>
                  <a:gd name="T21" fmla="*/ 0 h 496"/>
                  <a:gd name="T22" fmla="*/ 9 w 510"/>
                  <a:gd name="T23" fmla="*/ 1 h 496"/>
                  <a:gd name="T24" fmla="*/ 4 w 510"/>
                  <a:gd name="T25" fmla="*/ 5 h 496"/>
                  <a:gd name="T26" fmla="*/ 1 w 510"/>
                  <a:gd name="T27" fmla="*/ 10 h 496"/>
                  <a:gd name="T28" fmla="*/ 0 w 510"/>
                  <a:gd name="T29" fmla="*/ 15 h 496"/>
                  <a:gd name="T30" fmla="*/ 0 w 510"/>
                  <a:gd name="T31" fmla="*/ 319 h 496"/>
                  <a:gd name="T32" fmla="*/ 2 w 510"/>
                  <a:gd name="T33" fmla="*/ 324 h 496"/>
                  <a:gd name="T34" fmla="*/ 6 w 510"/>
                  <a:gd name="T35" fmla="*/ 329 h 496"/>
                  <a:gd name="T36" fmla="*/ 12 w 510"/>
                  <a:gd name="T37" fmla="*/ 331 h 496"/>
                  <a:gd name="T38" fmla="*/ 248 w 510"/>
                  <a:gd name="T39" fmla="*/ 331 h 496"/>
                  <a:gd name="T40" fmla="*/ 397 w 510"/>
                  <a:gd name="T41" fmla="*/ 494 h 496"/>
                  <a:gd name="T42" fmla="*/ 402 w 510"/>
                  <a:gd name="T43" fmla="*/ 496 h 496"/>
                  <a:gd name="T44" fmla="*/ 407 w 510"/>
                  <a:gd name="T45" fmla="*/ 496 h 496"/>
                  <a:gd name="T46" fmla="*/ 415 w 510"/>
                  <a:gd name="T47" fmla="*/ 493 h 496"/>
                  <a:gd name="T48" fmla="*/ 419 w 510"/>
                  <a:gd name="T49" fmla="*/ 486 h 496"/>
                  <a:gd name="T50" fmla="*/ 420 w 510"/>
                  <a:gd name="T51" fmla="*/ 331 h 496"/>
                  <a:gd name="T52" fmla="*/ 498 w 510"/>
                  <a:gd name="T53" fmla="*/ 331 h 496"/>
                  <a:gd name="T54" fmla="*/ 504 w 510"/>
                  <a:gd name="T55" fmla="*/ 329 h 496"/>
                  <a:gd name="T56" fmla="*/ 508 w 510"/>
                  <a:gd name="T57" fmla="*/ 324 h 496"/>
                  <a:gd name="T58" fmla="*/ 510 w 510"/>
                  <a:gd name="T59" fmla="*/ 319 h 496"/>
                  <a:gd name="T60" fmla="*/ 510 w 510"/>
                  <a:gd name="T61" fmla="*/ 15 h 496"/>
                  <a:gd name="T62" fmla="*/ 509 w 510"/>
                  <a:gd name="T63" fmla="*/ 10 h 496"/>
                  <a:gd name="T64" fmla="*/ 506 w 510"/>
                  <a:gd name="T65" fmla="*/ 5 h 496"/>
                  <a:gd name="T66" fmla="*/ 502 w 510"/>
                  <a:gd name="T67" fmla="*/ 1 h 496"/>
                  <a:gd name="T68" fmla="*/ 495 w 510"/>
                  <a:gd name="T6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496">
                    <a:moveTo>
                      <a:pt x="480" y="301"/>
                    </a:moveTo>
                    <a:lnTo>
                      <a:pt x="405" y="301"/>
                    </a:lnTo>
                    <a:lnTo>
                      <a:pt x="402" y="301"/>
                    </a:lnTo>
                    <a:lnTo>
                      <a:pt x="399" y="302"/>
                    </a:lnTo>
                    <a:lnTo>
                      <a:pt x="397" y="303"/>
                    </a:lnTo>
                    <a:lnTo>
                      <a:pt x="395" y="305"/>
                    </a:lnTo>
                    <a:lnTo>
                      <a:pt x="392" y="307"/>
                    </a:lnTo>
                    <a:lnTo>
                      <a:pt x="391" y="311"/>
                    </a:lnTo>
                    <a:lnTo>
                      <a:pt x="390" y="313"/>
                    </a:lnTo>
                    <a:lnTo>
                      <a:pt x="390" y="316"/>
                    </a:lnTo>
                    <a:lnTo>
                      <a:pt x="390" y="442"/>
                    </a:lnTo>
                    <a:lnTo>
                      <a:pt x="266" y="306"/>
                    </a:lnTo>
                    <a:lnTo>
                      <a:pt x="264" y="304"/>
                    </a:lnTo>
                    <a:lnTo>
                      <a:pt x="261" y="302"/>
                    </a:lnTo>
                    <a:lnTo>
                      <a:pt x="258" y="301"/>
                    </a:lnTo>
                    <a:lnTo>
                      <a:pt x="256" y="301"/>
                    </a:lnTo>
                    <a:lnTo>
                      <a:pt x="30" y="301"/>
                    </a:lnTo>
                    <a:lnTo>
                      <a:pt x="30" y="30"/>
                    </a:lnTo>
                    <a:lnTo>
                      <a:pt x="480" y="30"/>
                    </a:lnTo>
                    <a:lnTo>
                      <a:pt x="480" y="301"/>
                    </a:lnTo>
                    <a:close/>
                    <a:moveTo>
                      <a:pt x="495" y="0"/>
                    </a:moveTo>
                    <a:lnTo>
                      <a:pt x="15" y="0"/>
                    </a:lnTo>
                    <a:lnTo>
                      <a:pt x="12" y="1"/>
                    </a:lnTo>
                    <a:lnTo>
                      <a:pt x="9" y="1"/>
                    </a:lnTo>
                    <a:lnTo>
                      <a:pt x="6" y="3"/>
                    </a:lnTo>
                    <a:lnTo>
                      <a:pt x="4" y="5"/>
                    </a:lnTo>
                    <a:lnTo>
                      <a:pt x="2" y="7"/>
                    </a:lnTo>
                    <a:lnTo>
                      <a:pt x="1" y="10"/>
                    </a:lnTo>
                    <a:lnTo>
                      <a:pt x="0" y="12"/>
                    </a:lnTo>
                    <a:lnTo>
                      <a:pt x="0" y="15"/>
                    </a:lnTo>
                    <a:lnTo>
                      <a:pt x="0" y="316"/>
                    </a:lnTo>
                    <a:lnTo>
                      <a:pt x="0" y="319"/>
                    </a:lnTo>
                    <a:lnTo>
                      <a:pt x="1" y="321"/>
                    </a:lnTo>
                    <a:lnTo>
                      <a:pt x="2" y="324"/>
                    </a:lnTo>
                    <a:lnTo>
                      <a:pt x="4" y="327"/>
                    </a:lnTo>
                    <a:lnTo>
                      <a:pt x="6" y="329"/>
                    </a:lnTo>
                    <a:lnTo>
                      <a:pt x="9" y="330"/>
                    </a:lnTo>
                    <a:lnTo>
                      <a:pt x="12" y="331"/>
                    </a:lnTo>
                    <a:lnTo>
                      <a:pt x="15" y="331"/>
                    </a:lnTo>
                    <a:lnTo>
                      <a:pt x="248" y="331"/>
                    </a:lnTo>
                    <a:lnTo>
                      <a:pt x="395" y="491"/>
                    </a:lnTo>
                    <a:lnTo>
                      <a:pt x="397" y="494"/>
                    </a:lnTo>
                    <a:lnTo>
                      <a:pt x="399" y="495"/>
                    </a:lnTo>
                    <a:lnTo>
                      <a:pt x="402" y="496"/>
                    </a:lnTo>
                    <a:lnTo>
                      <a:pt x="405" y="496"/>
                    </a:lnTo>
                    <a:lnTo>
                      <a:pt x="407" y="496"/>
                    </a:lnTo>
                    <a:lnTo>
                      <a:pt x="411" y="495"/>
                    </a:lnTo>
                    <a:lnTo>
                      <a:pt x="415" y="493"/>
                    </a:lnTo>
                    <a:lnTo>
                      <a:pt x="417" y="489"/>
                    </a:lnTo>
                    <a:lnTo>
                      <a:pt x="419" y="486"/>
                    </a:lnTo>
                    <a:lnTo>
                      <a:pt x="420" y="481"/>
                    </a:lnTo>
                    <a:lnTo>
                      <a:pt x="420" y="331"/>
                    </a:lnTo>
                    <a:lnTo>
                      <a:pt x="495" y="331"/>
                    </a:lnTo>
                    <a:lnTo>
                      <a:pt x="498" y="331"/>
                    </a:lnTo>
                    <a:lnTo>
                      <a:pt x="502" y="330"/>
                    </a:lnTo>
                    <a:lnTo>
                      <a:pt x="504" y="329"/>
                    </a:lnTo>
                    <a:lnTo>
                      <a:pt x="506" y="327"/>
                    </a:lnTo>
                    <a:lnTo>
                      <a:pt x="508" y="324"/>
                    </a:lnTo>
                    <a:lnTo>
                      <a:pt x="509" y="321"/>
                    </a:lnTo>
                    <a:lnTo>
                      <a:pt x="510" y="319"/>
                    </a:lnTo>
                    <a:lnTo>
                      <a:pt x="510" y="316"/>
                    </a:lnTo>
                    <a:lnTo>
                      <a:pt x="510" y="15"/>
                    </a:lnTo>
                    <a:lnTo>
                      <a:pt x="510" y="12"/>
                    </a:lnTo>
                    <a:lnTo>
                      <a:pt x="509" y="10"/>
                    </a:lnTo>
                    <a:lnTo>
                      <a:pt x="508" y="7"/>
                    </a:lnTo>
                    <a:lnTo>
                      <a:pt x="506" y="5"/>
                    </a:lnTo>
                    <a:lnTo>
                      <a:pt x="504" y="3"/>
                    </a:lnTo>
                    <a:lnTo>
                      <a:pt x="502" y="1"/>
                    </a:lnTo>
                    <a:lnTo>
                      <a:pt x="498" y="1"/>
                    </a:lnTo>
                    <a:lnTo>
                      <a:pt x="4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8" name="Rectangle 22">
              <a:extLst>
                <a:ext uri="{FF2B5EF4-FFF2-40B4-BE49-F238E27FC236}">
                  <a16:creationId xmlns:a16="http://schemas.microsoft.com/office/drawing/2014/main" id="{3D66A3B9-3C2D-4EED-8E35-CCB6EB6ABBE7}"/>
                </a:ext>
              </a:extLst>
            </p:cNvPr>
            <p:cNvSpPr/>
            <p:nvPr/>
          </p:nvSpPr>
          <p:spPr>
            <a:xfrm>
              <a:off x="4974675" y="4303406"/>
              <a:ext cx="1970885" cy="107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uppieren 36">
            <a:extLst>
              <a:ext uri="{FF2B5EF4-FFF2-40B4-BE49-F238E27FC236}">
                <a16:creationId xmlns:a16="http://schemas.microsoft.com/office/drawing/2014/main" id="{123ADDD4-184C-4A00-9ABD-B7878063F3BA}"/>
              </a:ext>
            </a:extLst>
          </p:cNvPr>
          <p:cNvGrpSpPr/>
          <p:nvPr/>
        </p:nvGrpSpPr>
        <p:grpSpPr>
          <a:xfrm>
            <a:off x="284400" y="5417577"/>
            <a:ext cx="283177" cy="285619"/>
            <a:chOff x="284400" y="5417577"/>
            <a:chExt cx="283177" cy="285619"/>
          </a:xfrm>
          <a:solidFill>
            <a:schemeClr val="bg1"/>
          </a:solidFill>
        </p:grpSpPr>
        <p:sp>
          <p:nvSpPr>
            <p:cNvPr id="372" name="Freeform 31">
              <a:extLst>
                <a:ext uri="{FF2B5EF4-FFF2-40B4-BE49-F238E27FC236}">
                  <a16:creationId xmlns:a16="http://schemas.microsoft.com/office/drawing/2014/main" id="{D70FBF22-3D6B-4637-9526-96A5B96965B5}"/>
                </a:ext>
              </a:extLst>
            </p:cNvPr>
            <p:cNvSpPr>
              <a:spLocks/>
            </p:cNvSpPr>
            <p:nvPr/>
          </p:nvSpPr>
          <p:spPr bwMode="auto">
            <a:xfrm>
              <a:off x="284400" y="5581136"/>
              <a:ext cx="113515" cy="122059"/>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32">
              <a:extLst>
                <a:ext uri="{FF2B5EF4-FFF2-40B4-BE49-F238E27FC236}">
                  <a16:creationId xmlns:a16="http://schemas.microsoft.com/office/drawing/2014/main" id="{EDA5C10C-CB6B-461D-8BF5-BC5D407113C3}"/>
                </a:ext>
              </a:extLst>
            </p:cNvPr>
            <p:cNvSpPr>
              <a:spLocks/>
            </p:cNvSpPr>
            <p:nvPr/>
          </p:nvSpPr>
          <p:spPr bwMode="auto">
            <a:xfrm>
              <a:off x="456503" y="5584798"/>
              <a:ext cx="111074" cy="11839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33">
              <a:extLst>
                <a:ext uri="{FF2B5EF4-FFF2-40B4-BE49-F238E27FC236}">
                  <a16:creationId xmlns:a16="http://schemas.microsoft.com/office/drawing/2014/main" id="{6DD9F489-CC7C-418D-9161-11F622826D58}"/>
                </a:ext>
              </a:extLst>
            </p:cNvPr>
            <p:cNvSpPr>
              <a:spLocks noEditPoints="1"/>
            </p:cNvSpPr>
            <p:nvPr/>
          </p:nvSpPr>
          <p:spPr bwMode="auto">
            <a:xfrm>
              <a:off x="313694" y="5417577"/>
              <a:ext cx="227030" cy="225810"/>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34">
              <a:extLst>
                <a:ext uri="{FF2B5EF4-FFF2-40B4-BE49-F238E27FC236}">
                  <a16:creationId xmlns:a16="http://schemas.microsoft.com/office/drawing/2014/main" id="{B691A180-439B-4CA0-AF47-9C0CE39A3798}"/>
                </a:ext>
              </a:extLst>
            </p:cNvPr>
            <p:cNvSpPr>
              <a:spLocks noEditPoints="1"/>
            </p:cNvSpPr>
            <p:nvPr/>
          </p:nvSpPr>
          <p:spPr bwMode="auto">
            <a:xfrm>
              <a:off x="367400" y="5465180"/>
              <a:ext cx="119618" cy="119618"/>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9" name="Freeform 61">
            <a:extLst>
              <a:ext uri="{FF2B5EF4-FFF2-40B4-BE49-F238E27FC236}">
                <a16:creationId xmlns:a16="http://schemas.microsoft.com/office/drawing/2014/main" id="{210CD568-5C79-461B-9B7B-A2C6218C9757}"/>
              </a:ext>
            </a:extLst>
          </p:cNvPr>
          <p:cNvSpPr>
            <a:spLocks noEditPoints="1"/>
          </p:cNvSpPr>
          <p:nvPr/>
        </p:nvSpPr>
        <p:spPr bwMode="auto">
          <a:xfrm>
            <a:off x="9088472" y="5417577"/>
            <a:ext cx="209942" cy="205060"/>
          </a:xfrm>
          <a:custGeom>
            <a:avLst/>
            <a:gdLst>
              <a:gd name="T0" fmla="*/ 25 w 70"/>
              <a:gd name="T1" fmla="*/ 63 h 69"/>
              <a:gd name="T2" fmla="*/ 10 w 70"/>
              <a:gd name="T3" fmla="*/ 52 h 69"/>
              <a:gd name="T4" fmla="*/ 4 w 70"/>
              <a:gd name="T5" fmla="*/ 34 h 69"/>
              <a:gd name="T6" fmla="*/ 10 w 70"/>
              <a:gd name="T7" fmla="*/ 17 h 69"/>
              <a:gd name="T8" fmla="*/ 25 w 70"/>
              <a:gd name="T9" fmla="*/ 6 h 69"/>
              <a:gd name="T10" fmla="*/ 45 w 70"/>
              <a:gd name="T11" fmla="*/ 6 h 69"/>
              <a:gd name="T12" fmla="*/ 60 w 70"/>
              <a:gd name="T13" fmla="*/ 17 h 69"/>
              <a:gd name="T14" fmla="*/ 66 w 70"/>
              <a:gd name="T15" fmla="*/ 34 h 69"/>
              <a:gd name="T16" fmla="*/ 60 w 70"/>
              <a:gd name="T17" fmla="*/ 52 h 69"/>
              <a:gd name="T18" fmla="*/ 45 w 70"/>
              <a:gd name="T19" fmla="*/ 63 h 69"/>
              <a:gd name="T20" fmla="*/ 26 w 70"/>
              <a:gd name="T21" fmla="*/ 58 h 69"/>
              <a:gd name="T22" fmla="*/ 28 w 70"/>
              <a:gd name="T23" fmla="*/ 60 h 69"/>
              <a:gd name="T24" fmla="*/ 42 w 70"/>
              <a:gd name="T25" fmla="*/ 60 h 69"/>
              <a:gd name="T26" fmla="*/ 45 w 70"/>
              <a:gd name="T27" fmla="*/ 59 h 69"/>
              <a:gd name="T28" fmla="*/ 56 w 70"/>
              <a:gd name="T29" fmla="*/ 51 h 69"/>
              <a:gd name="T30" fmla="*/ 58 w 70"/>
              <a:gd name="T31" fmla="*/ 48 h 69"/>
              <a:gd name="T32" fmla="*/ 62 w 70"/>
              <a:gd name="T33" fmla="*/ 36 h 69"/>
              <a:gd name="T34" fmla="*/ 62 w 70"/>
              <a:gd name="T35" fmla="*/ 33 h 69"/>
              <a:gd name="T36" fmla="*/ 58 w 70"/>
              <a:gd name="T37" fmla="*/ 20 h 69"/>
              <a:gd name="T38" fmla="*/ 56 w 70"/>
              <a:gd name="T39" fmla="*/ 18 h 69"/>
              <a:gd name="T40" fmla="*/ 45 w 70"/>
              <a:gd name="T41" fmla="*/ 10 h 69"/>
              <a:gd name="T42" fmla="*/ 42 w 70"/>
              <a:gd name="T43" fmla="*/ 9 h 69"/>
              <a:gd name="T44" fmla="*/ 28 w 70"/>
              <a:gd name="T45" fmla="*/ 9 h 69"/>
              <a:gd name="T46" fmla="*/ 25 w 70"/>
              <a:gd name="T47" fmla="*/ 10 h 69"/>
              <a:gd name="T48" fmla="*/ 14 w 70"/>
              <a:gd name="T49" fmla="*/ 17 h 69"/>
              <a:gd name="T50" fmla="*/ 12 w 70"/>
              <a:gd name="T51" fmla="*/ 20 h 69"/>
              <a:gd name="T52" fmla="*/ 5 w 70"/>
              <a:gd name="T53" fmla="*/ 25 h 69"/>
              <a:gd name="T54" fmla="*/ 9 w 70"/>
              <a:gd name="T55" fmla="*/ 34 h 69"/>
              <a:gd name="T56" fmla="*/ 5 w 70"/>
              <a:gd name="T57" fmla="*/ 44 h 69"/>
              <a:gd name="T58" fmla="*/ 14 w 70"/>
              <a:gd name="T59" fmla="*/ 49 h 69"/>
              <a:gd name="T60" fmla="*/ 17 w 70"/>
              <a:gd name="T61" fmla="*/ 59 h 69"/>
              <a:gd name="T62" fmla="*/ 26 w 70"/>
              <a:gd name="T63"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69">
                <a:moveTo>
                  <a:pt x="35" y="69"/>
                </a:moveTo>
                <a:cubicBezTo>
                  <a:pt x="31" y="69"/>
                  <a:pt x="27" y="67"/>
                  <a:pt x="25" y="63"/>
                </a:cubicBezTo>
                <a:cubicBezTo>
                  <a:pt x="22" y="65"/>
                  <a:pt x="18" y="64"/>
                  <a:pt x="14" y="62"/>
                </a:cubicBezTo>
                <a:cubicBezTo>
                  <a:pt x="11" y="60"/>
                  <a:pt x="9" y="56"/>
                  <a:pt x="10" y="52"/>
                </a:cubicBezTo>
                <a:cubicBezTo>
                  <a:pt x="6" y="52"/>
                  <a:pt x="3" y="49"/>
                  <a:pt x="2" y="45"/>
                </a:cubicBezTo>
                <a:cubicBezTo>
                  <a:pt x="0" y="41"/>
                  <a:pt x="1" y="37"/>
                  <a:pt x="4" y="34"/>
                </a:cubicBezTo>
                <a:cubicBezTo>
                  <a:pt x="1" y="31"/>
                  <a:pt x="0" y="27"/>
                  <a:pt x="2" y="24"/>
                </a:cubicBezTo>
                <a:cubicBezTo>
                  <a:pt x="3" y="20"/>
                  <a:pt x="6" y="17"/>
                  <a:pt x="10" y="17"/>
                </a:cubicBezTo>
                <a:cubicBezTo>
                  <a:pt x="9" y="13"/>
                  <a:pt x="11" y="9"/>
                  <a:pt x="14" y="7"/>
                </a:cubicBezTo>
                <a:cubicBezTo>
                  <a:pt x="18" y="4"/>
                  <a:pt x="22" y="4"/>
                  <a:pt x="25" y="6"/>
                </a:cubicBezTo>
                <a:cubicBezTo>
                  <a:pt x="27" y="2"/>
                  <a:pt x="31" y="0"/>
                  <a:pt x="35" y="0"/>
                </a:cubicBezTo>
                <a:cubicBezTo>
                  <a:pt x="39" y="0"/>
                  <a:pt x="43" y="2"/>
                  <a:pt x="45" y="6"/>
                </a:cubicBezTo>
                <a:cubicBezTo>
                  <a:pt x="48" y="4"/>
                  <a:pt x="52" y="4"/>
                  <a:pt x="56" y="7"/>
                </a:cubicBezTo>
                <a:cubicBezTo>
                  <a:pt x="59" y="9"/>
                  <a:pt x="61" y="13"/>
                  <a:pt x="60" y="17"/>
                </a:cubicBezTo>
                <a:cubicBezTo>
                  <a:pt x="64" y="17"/>
                  <a:pt x="67" y="20"/>
                  <a:pt x="68" y="24"/>
                </a:cubicBezTo>
                <a:cubicBezTo>
                  <a:pt x="70" y="28"/>
                  <a:pt x="69" y="32"/>
                  <a:pt x="66" y="34"/>
                </a:cubicBezTo>
                <a:cubicBezTo>
                  <a:pt x="69" y="37"/>
                  <a:pt x="70" y="41"/>
                  <a:pt x="68" y="45"/>
                </a:cubicBezTo>
                <a:cubicBezTo>
                  <a:pt x="67" y="49"/>
                  <a:pt x="64" y="52"/>
                  <a:pt x="60" y="52"/>
                </a:cubicBezTo>
                <a:cubicBezTo>
                  <a:pt x="61" y="56"/>
                  <a:pt x="59" y="60"/>
                  <a:pt x="56" y="62"/>
                </a:cubicBezTo>
                <a:cubicBezTo>
                  <a:pt x="52" y="64"/>
                  <a:pt x="48" y="65"/>
                  <a:pt x="45" y="63"/>
                </a:cubicBezTo>
                <a:cubicBezTo>
                  <a:pt x="43" y="67"/>
                  <a:pt x="39" y="69"/>
                  <a:pt x="35" y="69"/>
                </a:cubicBezTo>
                <a:close/>
                <a:moveTo>
                  <a:pt x="26" y="58"/>
                </a:moveTo>
                <a:cubicBezTo>
                  <a:pt x="27" y="58"/>
                  <a:pt x="27" y="58"/>
                  <a:pt x="27" y="58"/>
                </a:cubicBezTo>
                <a:cubicBezTo>
                  <a:pt x="28" y="59"/>
                  <a:pt x="28" y="59"/>
                  <a:pt x="28" y="60"/>
                </a:cubicBezTo>
                <a:cubicBezTo>
                  <a:pt x="29" y="63"/>
                  <a:pt x="32" y="65"/>
                  <a:pt x="35" y="65"/>
                </a:cubicBezTo>
                <a:cubicBezTo>
                  <a:pt x="38" y="65"/>
                  <a:pt x="41" y="63"/>
                  <a:pt x="42" y="60"/>
                </a:cubicBezTo>
                <a:cubicBezTo>
                  <a:pt x="42" y="59"/>
                  <a:pt x="42" y="59"/>
                  <a:pt x="43" y="59"/>
                </a:cubicBezTo>
                <a:cubicBezTo>
                  <a:pt x="44" y="58"/>
                  <a:pt x="44" y="58"/>
                  <a:pt x="45" y="59"/>
                </a:cubicBezTo>
                <a:cubicBezTo>
                  <a:pt x="48" y="61"/>
                  <a:pt x="51" y="61"/>
                  <a:pt x="53" y="59"/>
                </a:cubicBezTo>
                <a:cubicBezTo>
                  <a:pt x="56" y="57"/>
                  <a:pt x="57" y="54"/>
                  <a:pt x="56" y="51"/>
                </a:cubicBezTo>
                <a:cubicBezTo>
                  <a:pt x="56" y="51"/>
                  <a:pt x="56" y="50"/>
                  <a:pt x="56" y="49"/>
                </a:cubicBezTo>
                <a:cubicBezTo>
                  <a:pt x="56" y="49"/>
                  <a:pt x="57" y="48"/>
                  <a:pt x="58" y="48"/>
                </a:cubicBezTo>
                <a:cubicBezTo>
                  <a:pt x="61" y="48"/>
                  <a:pt x="64" y="47"/>
                  <a:pt x="65" y="44"/>
                </a:cubicBezTo>
                <a:cubicBezTo>
                  <a:pt x="66" y="41"/>
                  <a:pt x="65" y="38"/>
                  <a:pt x="62" y="36"/>
                </a:cubicBezTo>
                <a:cubicBezTo>
                  <a:pt x="61" y="36"/>
                  <a:pt x="61" y="35"/>
                  <a:pt x="61" y="34"/>
                </a:cubicBezTo>
                <a:cubicBezTo>
                  <a:pt x="61" y="34"/>
                  <a:pt x="61" y="33"/>
                  <a:pt x="62" y="33"/>
                </a:cubicBezTo>
                <a:cubicBezTo>
                  <a:pt x="65" y="31"/>
                  <a:pt x="66" y="28"/>
                  <a:pt x="65" y="25"/>
                </a:cubicBezTo>
                <a:cubicBezTo>
                  <a:pt x="64" y="22"/>
                  <a:pt x="61" y="20"/>
                  <a:pt x="58" y="20"/>
                </a:cubicBezTo>
                <a:cubicBezTo>
                  <a:pt x="57" y="20"/>
                  <a:pt x="57" y="20"/>
                  <a:pt x="56" y="19"/>
                </a:cubicBezTo>
                <a:cubicBezTo>
                  <a:pt x="56" y="19"/>
                  <a:pt x="56" y="18"/>
                  <a:pt x="56" y="18"/>
                </a:cubicBezTo>
                <a:cubicBezTo>
                  <a:pt x="57" y="15"/>
                  <a:pt x="56" y="12"/>
                  <a:pt x="53" y="10"/>
                </a:cubicBezTo>
                <a:cubicBezTo>
                  <a:pt x="51" y="8"/>
                  <a:pt x="47" y="8"/>
                  <a:pt x="45" y="10"/>
                </a:cubicBezTo>
                <a:cubicBezTo>
                  <a:pt x="44" y="10"/>
                  <a:pt x="44" y="10"/>
                  <a:pt x="43" y="10"/>
                </a:cubicBezTo>
                <a:cubicBezTo>
                  <a:pt x="42" y="10"/>
                  <a:pt x="42" y="10"/>
                  <a:pt x="42" y="9"/>
                </a:cubicBezTo>
                <a:cubicBezTo>
                  <a:pt x="41" y="6"/>
                  <a:pt x="38" y="4"/>
                  <a:pt x="35" y="4"/>
                </a:cubicBezTo>
                <a:cubicBezTo>
                  <a:pt x="32" y="4"/>
                  <a:pt x="29" y="6"/>
                  <a:pt x="28" y="9"/>
                </a:cubicBezTo>
                <a:cubicBezTo>
                  <a:pt x="28" y="9"/>
                  <a:pt x="28" y="10"/>
                  <a:pt x="27" y="10"/>
                </a:cubicBezTo>
                <a:cubicBezTo>
                  <a:pt x="26" y="10"/>
                  <a:pt x="26" y="10"/>
                  <a:pt x="25" y="10"/>
                </a:cubicBezTo>
                <a:cubicBezTo>
                  <a:pt x="22" y="8"/>
                  <a:pt x="19" y="8"/>
                  <a:pt x="17" y="10"/>
                </a:cubicBezTo>
                <a:cubicBezTo>
                  <a:pt x="14" y="12"/>
                  <a:pt x="13" y="15"/>
                  <a:pt x="14" y="17"/>
                </a:cubicBezTo>
                <a:cubicBezTo>
                  <a:pt x="14" y="18"/>
                  <a:pt x="14" y="19"/>
                  <a:pt x="14" y="19"/>
                </a:cubicBezTo>
                <a:cubicBezTo>
                  <a:pt x="14" y="20"/>
                  <a:pt x="13" y="20"/>
                  <a:pt x="12" y="20"/>
                </a:cubicBezTo>
                <a:cubicBezTo>
                  <a:pt x="12" y="20"/>
                  <a:pt x="12" y="20"/>
                  <a:pt x="12" y="20"/>
                </a:cubicBezTo>
                <a:cubicBezTo>
                  <a:pt x="9" y="20"/>
                  <a:pt x="6" y="22"/>
                  <a:pt x="5" y="25"/>
                </a:cubicBezTo>
                <a:cubicBezTo>
                  <a:pt x="4" y="28"/>
                  <a:pt x="5" y="31"/>
                  <a:pt x="8" y="33"/>
                </a:cubicBezTo>
                <a:cubicBezTo>
                  <a:pt x="9" y="33"/>
                  <a:pt x="9" y="34"/>
                  <a:pt x="9" y="34"/>
                </a:cubicBezTo>
                <a:cubicBezTo>
                  <a:pt x="9" y="35"/>
                  <a:pt x="9" y="36"/>
                  <a:pt x="8" y="36"/>
                </a:cubicBezTo>
                <a:cubicBezTo>
                  <a:pt x="5" y="38"/>
                  <a:pt x="4" y="41"/>
                  <a:pt x="5" y="44"/>
                </a:cubicBezTo>
                <a:cubicBezTo>
                  <a:pt x="6" y="47"/>
                  <a:pt x="9" y="48"/>
                  <a:pt x="12" y="48"/>
                </a:cubicBezTo>
                <a:cubicBezTo>
                  <a:pt x="13" y="48"/>
                  <a:pt x="13" y="49"/>
                  <a:pt x="14" y="49"/>
                </a:cubicBezTo>
                <a:cubicBezTo>
                  <a:pt x="14" y="50"/>
                  <a:pt x="14" y="51"/>
                  <a:pt x="14" y="51"/>
                </a:cubicBezTo>
                <a:cubicBezTo>
                  <a:pt x="13" y="54"/>
                  <a:pt x="14" y="57"/>
                  <a:pt x="17" y="59"/>
                </a:cubicBezTo>
                <a:cubicBezTo>
                  <a:pt x="19" y="61"/>
                  <a:pt x="23" y="61"/>
                  <a:pt x="25" y="59"/>
                </a:cubicBezTo>
                <a:cubicBezTo>
                  <a:pt x="25" y="59"/>
                  <a:pt x="26" y="58"/>
                  <a:pt x="2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0" name="Freeform 62">
            <a:extLst>
              <a:ext uri="{FF2B5EF4-FFF2-40B4-BE49-F238E27FC236}">
                <a16:creationId xmlns:a16="http://schemas.microsoft.com/office/drawing/2014/main" id="{FF0CFA72-6860-4446-913C-7BEAD942BAEC}"/>
              </a:ext>
            </a:extLst>
          </p:cNvPr>
          <p:cNvSpPr>
            <a:spLocks/>
          </p:cNvSpPr>
          <p:nvPr/>
        </p:nvSpPr>
        <p:spPr bwMode="auto">
          <a:xfrm>
            <a:off x="9138517" y="5620196"/>
            <a:ext cx="108633" cy="83000"/>
          </a:xfrm>
          <a:custGeom>
            <a:avLst/>
            <a:gdLst>
              <a:gd name="T0" fmla="*/ 34 w 36"/>
              <a:gd name="T1" fmla="*/ 28 h 28"/>
              <a:gd name="T2" fmla="*/ 33 w 36"/>
              <a:gd name="T3" fmla="*/ 27 h 28"/>
              <a:gd name="T4" fmla="*/ 18 w 36"/>
              <a:gd name="T5" fmla="*/ 13 h 28"/>
              <a:gd name="T6" fmla="*/ 3 w 36"/>
              <a:gd name="T7" fmla="*/ 27 h 28"/>
              <a:gd name="T8" fmla="*/ 1 w 36"/>
              <a:gd name="T9" fmla="*/ 28 h 28"/>
              <a:gd name="T10" fmla="*/ 0 w 36"/>
              <a:gd name="T11" fmla="*/ 26 h 28"/>
              <a:gd name="T12" fmla="*/ 0 w 36"/>
              <a:gd name="T13" fmla="*/ 0 h 28"/>
              <a:gd name="T14" fmla="*/ 4 w 36"/>
              <a:gd name="T15" fmla="*/ 0 h 28"/>
              <a:gd name="T16" fmla="*/ 4 w 36"/>
              <a:gd name="T17" fmla="*/ 21 h 28"/>
              <a:gd name="T18" fmla="*/ 17 w 36"/>
              <a:gd name="T19" fmla="*/ 9 h 28"/>
              <a:gd name="T20" fmla="*/ 19 w 36"/>
              <a:gd name="T21" fmla="*/ 9 h 28"/>
              <a:gd name="T22" fmla="*/ 32 w 36"/>
              <a:gd name="T23" fmla="*/ 21 h 28"/>
              <a:gd name="T24" fmla="*/ 32 w 36"/>
              <a:gd name="T25" fmla="*/ 0 h 28"/>
              <a:gd name="T26" fmla="*/ 36 w 36"/>
              <a:gd name="T27" fmla="*/ 0 h 28"/>
              <a:gd name="T28" fmla="*/ 36 w 36"/>
              <a:gd name="T29" fmla="*/ 26 h 28"/>
              <a:gd name="T30" fmla="*/ 35 w 36"/>
              <a:gd name="T31" fmla="*/ 28 h 28"/>
              <a:gd name="T32" fmla="*/ 34 w 3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
                <a:moveTo>
                  <a:pt x="34" y="28"/>
                </a:moveTo>
                <a:cubicBezTo>
                  <a:pt x="33" y="28"/>
                  <a:pt x="33" y="28"/>
                  <a:pt x="33" y="27"/>
                </a:cubicBezTo>
                <a:cubicBezTo>
                  <a:pt x="18" y="13"/>
                  <a:pt x="18" y="13"/>
                  <a:pt x="18" y="13"/>
                </a:cubicBezTo>
                <a:cubicBezTo>
                  <a:pt x="3" y="27"/>
                  <a:pt x="3" y="27"/>
                  <a:pt x="3" y="27"/>
                </a:cubicBezTo>
                <a:cubicBezTo>
                  <a:pt x="3" y="28"/>
                  <a:pt x="2" y="28"/>
                  <a:pt x="1" y="28"/>
                </a:cubicBezTo>
                <a:cubicBezTo>
                  <a:pt x="0" y="28"/>
                  <a:pt x="0" y="27"/>
                  <a:pt x="0" y="26"/>
                </a:cubicBezTo>
                <a:cubicBezTo>
                  <a:pt x="0" y="0"/>
                  <a:pt x="0" y="0"/>
                  <a:pt x="0" y="0"/>
                </a:cubicBezTo>
                <a:cubicBezTo>
                  <a:pt x="4" y="0"/>
                  <a:pt x="4" y="0"/>
                  <a:pt x="4" y="0"/>
                </a:cubicBezTo>
                <a:cubicBezTo>
                  <a:pt x="4" y="21"/>
                  <a:pt x="4" y="21"/>
                  <a:pt x="4" y="21"/>
                </a:cubicBezTo>
                <a:cubicBezTo>
                  <a:pt x="17" y="9"/>
                  <a:pt x="17" y="9"/>
                  <a:pt x="17" y="9"/>
                </a:cubicBezTo>
                <a:cubicBezTo>
                  <a:pt x="17" y="8"/>
                  <a:pt x="19" y="8"/>
                  <a:pt x="19" y="9"/>
                </a:cubicBezTo>
                <a:cubicBezTo>
                  <a:pt x="32" y="21"/>
                  <a:pt x="32" y="21"/>
                  <a:pt x="32" y="21"/>
                </a:cubicBezTo>
                <a:cubicBezTo>
                  <a:pt x="32" y="0"/>
                  <a:pt x="32" y="0"/>
                  <a:pt x="32" y="0"/>
                </a:cubicBezTo>
                <a:cubicBezTo>
                  <a:pt x="36" y="0"/>
                  <a:pt x="36" y="0"/>
                  <a:pt x="36" y="0"/>
                </a:cubicBezTo>
                <a:cubicBezTo>
                  <a:pt x="36" y="26"/>
                  <a:pt x="36" y="26"/>
                  <a:pt x="36" y="26"/>
                </a:cubicBezTo>
                <a:cubicBezTo>
                  <a:pt x="36" y="27"/>
                  <a:pt x="36" y="28"/>
                  <a:pt x="35" y="28"/>
                </a:cubicBezTo>
                <a:cubicBezTo>
                  <a:pt x="35" y="28"/>
                  <a:pt x="34" y="28"/>
                  <a:pt x="34" y="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1" name="Freeform 63">
            <a:extLst>
              <a:ext uri="{FF2B5EF4-FFF2-40B4-BE49-F238E27FC236}">
                <a16:creationId xmlns:a16="http://schemas.microsoft.com/office/drawing/2014/main" id="{C88648E9-D26E-46B3-B2BF-B9BF2979788A}"/>
              </a:ext>
            </a:extLst>
          </p:cNvPr>
          <p:cNvSpPr>
            <a:spLocks noEditPoints="1"/>
          </p:cNvSpPr>
          <p:nvPr/>
        </p:nvSpPr>
        <p:spPr bwMode="auto">
          <a:xfrm>
            <a:off x="9133634" y="5452975"/>
            <a:ext cx="119618" cy="119618"/>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38" name="Gruppieren 37">
            <a:extLst>
              <a:ext uri="{FF2B5EF4-FFF2-40B4-BE49-F238E27FC236}">
                <a16:creationId xmlns:a16="http://schemas.microsoft.com/office/drawing/2014/main" id="{F0A39489-6CE0-4CB3-9E6A-64740AB992B4}"/>
              </a:ext>
            </a:extLst>
          </p:cNvPr>
          <p:cNvGrpSpPr/>
          <p:nvPr/>
        </p:nvGrpSpPr>
        <p:grpSpPr>
          <a:xfrm>
            <a:off x="1078931" y="5417577"/>
            <a:ext cx="280737" cy="285619"/>
            <a:chOff x="9379778" y="5417577"/>
            <a:chExt cx="280737" cy="285619"/>
          </a:xfrm>
          <a:solidFill>
            <a:schemeClr val="bg1"/>
          </a:solidFill>
        </p:grpSpPr>
        <p:sp>
          <p:nvSpPr>
            <p:cNvPr id="1047" name="Freeform 42">
              <a:extLst>
                <a:ext uri="{FF2B5EF4-FFF2-40B4-BE49-F238E27FC236}">
                  <a16:creationId xmlns:a16="http://schemas.microsoft.com/office/drawing/2014/main" id="{52451238-9577-456A-AADE-A5653491B587}"/>
                </a:ext>
              </a:extLst>
            </p:cNvPr>
            <p:cNvSpPr>
              <a:spLocks noEditPoints="1"/>
            </p:cNvSpPr>
            <p:nvPr/>
          </p:nvSpPr>
          <p:spPr bwMode="auto">
            <a:xfrm>
              <a:off x="9412734" y="5417577"/>
              <a:ext cx="214825" cy="214824"/>
            </a:xfrm>
            <a:custGeom>
              <a:avLst/>
              <a:gdLst>
                <a:gd name="T0" fmla="*/ 34 w 72"/>
                <a:gd name="T1" fmla="*/ 71 h 72"/>
                <a:gd name="T2" fmla="*/ 24 w 72"/>
                <a:gd name="T3" fmla="*/ 69 h 72"/>
                <a:gd name="T4" fmla="*/ 21 w 72"/>
                <a:gd name="T5" fmla="*/ 68 h 72"/>
                <a:gd name="T6" fmla="*/ 12 w 72"/>
                <a:gd name="T7" fmla="*/ 62 h 72"/>
                <a:gd name="T8" fmla="*/ 10 w 72"/>
                <a:gd name="T9" fmla="*/ 60 h 72"/>
                <a:gd name="T10" fmla="*/ 4 w 72"/>
                <a:gd name="T11" fmla="*/ 51 h 72"/>
                <a:gd name="T12" fmla="*/ 3 w 72"/>
                <a:gd name="T13" fmla="*/ 48 h 72"/>
                <a:gd name="T14" fmla="*/ 1 w 72"/>
                <a:gd name="T15" fmla="*/ 38 h 72"/>
                <a:gd name="T16" fmla="*/ 1 w 72"/>
                <a:gd name="T17" fmla="*/ 34 h 72"/>
                <a:gd name="T18" fmla="*/ 3 w 72"/>
                <a:gd name="T19" fmla="*/ 24 h 72"/>
                <a:gd name="T20" fmla="*/ 4 w 72"/>
                <a:gd name="T21" fmla="*/ 21 h 72"/>
                <a:gd name="T22" fmla="*/ 10 w 72"/>
                <a:gd name="T23" fmla="*/ 12 h 72"/>
                <a:gd name="T24" fmla="*/ 12 w 72"/>
                <a:gd name="T25" fmla="*/ 10 h 72"/>
                <a:gd name="T26" fmla="*/ 21 w 72"/>
                <a:gd name="T27" fmla="*/ 4 h 72"/>
                <a:gd name="T28" fmla="*/ 24 w 72"/>
                <a:gd name="T29" fmla="*/ 3 h 72"/>
                <a:gd name="T30" fmla="*/ 34 w 72"/>
                <a:gd name="T31" fmla="*/ 1 h 72"/>
                <a:gd name="T32" fmla="*/ 42 w 72"/>
                <a:gd name="T33" fmla="*/ 6 h 72"/>
                <a:gd name="T34" fmla="*/ 50 w 72"/>
                <a:gd name="T35" fmla="*/ 3 h 72"/>
                <a:gd name="T36" fmla="*/ 53 w 72"/>
                <a:gd name="T37" fmla="*/ 11 h 72"/>
                <a:gd name="T38" fmla="*/ 61 w 72"/>
                <a:gd name="T39" fmla="*/ 11 h 72"/>
                <a:gd name="T40" fmla="*/ 61 w 72"/>
                <a:gd name="T41" fmla="*/ 19 h 72"/>
                <a:gd name="T42" fmla="*/ 69 w 72"/>
                <a:gd name="T43" fmla="*/ 22 h 72"/>
                <a:gd name="T44" fmla="*/ 66 w 72"/>
                <a:gd name="T45" fmla="*/ 30 h 72"/>
                <a:gd name="T46" fmla="*/ 72 w 72"/>
                <a:gd name="T47" fmla="*/ 36 h 72"/>
                <a:gd name="T48" fmla="*/ 66 w 72"/>
                <a:gd name="T49" fmla="*/ 42 h 72"/>
                <a:gd name="T50" fmla="*/ 69 w 72"/>
                <a:gd name="T51" fmla="*/ 50 h 72"/>
                <a:gd name="T52" fmla="*/ 61 w 72"/>
                <a:gd name="T53" fmla="*/ 53 h 72"/>
                <a:gd name="T54" fmla="*/ 61 w 72"/>
                <a:gd name="T55" fmla="*/ 61 h 72"/>
                <a:gd name="T56" fmla="*/ 53 w 72"/>
                <a:gd name="T57" fmla="*/ 61 h 72"/>
                <a:gd name="T58" fmla="*/ 50 w 72"/>
                <a:gd name="T59" fmla="*/ 69 h 72"/>
                <a:gd name="T60" fmla="*/ 42 w 72"/>
                <a:gd name="T61" fmla="*/ 66 h 72"/>
                <a:gd name="T62" fmla="*/ 36 w 72"/>
                <a:gd name="T63" fmla="*/ 72 h 72"/>
                <a:gd name="T64" fmla="*/ 32 w 72"/>
                <a:gd name="T65" fmla="*/ 62 h 72"/>
                <a:gd name="T66" fmla="*/ 40 w 72"/>
                <a:gd name="T67" fmla="*/ 62 h 72"/>
                <a:gd name="T68" fmla="*/ 48 w 72"/>
                <a:gd name="T69" fmla="*/ 65 h 72"/>
                <a:gd name="T70" fmla="*/ 52 w 72"/>
                <a:gd name="T71" fmla="*/ 57 h 72"/>
                <a:gd name="T72" fmla="*/ 57 w 72"/>
                <a:gd name="T73" fmla="*/ 52 h 72"/>
                <a:gd name="T74" fmla="*/ 65 w 72"/>
                <a:gd name="T75" fmla="*/ 48 h 72"/>
                <a:gd name="T76" fmla="*/ 62 w 72"/>
                <a:gd name="T77" fmla="*/ 40 h 72"/>
                <a:gd name="T78" fmla="*/ 62 w 72"/>
                <a:gd name="T79" fmla="*/ 32 h 72"/>
                <a:gd name="T80" fmla="*/ 65 w 72"/>
                <a:gd name="T81" fmla="*/ 24 h 72"/>
                <a:gd name="T82" fmla="*/ 57 w 72"/>
                <a:gd name="T83" fmla="*/ 20 h 72"/>
                <a:gd name="T84" fmla="*/ 52 w 72"/>
                <a:gd name="T85" fmla="*/ 15 h 72"/>
                <a:gd name="T86" fmla="*/ 48 w 72"/>
                <a:gd name="T87" fmla="*/ 7 h 72"/>
                <a:gd name="T88" fmla="*/ 40 w 72"/>
                <a:gd name="T89" fmla="*/ 10 h 72"/>
                <a:gd name="T90" fmla="*/ 32 w 72"/>
                <a:gd name="T91" fmla="*/ 10 h 72"/>
                <a:gd name="T92" fmla="*/ 24 w 72"/>
                <a:gd name="T93" fmla="*/ 7 h 72"/>
                <a:gd name="T94" fmla="*/ 20 w 72"/>
                <a:gd name="T95" fmla="*/ 15 h 72"/>
                <a:gd name="T96" fmla="*/ 15 w 72"/>
                <a:gd name="T97" fmla="*/ 20 h 72"/>
                <a:gd name="T98" fmla="*/ 7 w 72"/>
                <a:gd name="T99" fmla="*/ 24 h 72"/>
                <a:gd name="T100" fmla="*/ 10 w 72"/>
                <a:gd name="T101" fmla="*/ 32 h 72"/>
                <a:gd name="T102" fmla="*/ 10 w 72"/>
                <a:gd name="T103" fmla="*/ 40 h 72"/>
                <a:gd name="T104" fmla="*/ 7 w 72"/>
                <a:gd name="T105" fmla="*/ 48 h 72"/>
                <a:gd name="T106" fmla="*/ 15 w 72"/>
                <a:gd name="T107" fmla="*/ 52 h 72"/>
                <a:gd name="T108" fmla="*/ 20 w 72"/>
                <a:gd name="T109" fmla="*/ 57 h 72"/>
                <a:gd name="T110" fmla="*/ 24 w 72"/>
                <a:gd name="T111" fmla="*/ 65 h 72"/>
                <a:gd name="T112" fmla="*/ 31 w 72"/>
                <a:gd name="T113"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 h="72">
                  <a:moveTo>
                    <a:pt x="36" y="72"/>
                  </a:moveTo>
                  <a:cubicBezTo>
                    <a:pt x="35" y="72"/>
                    <a:pt x="35" y="72"/>
                    <a:pt x="34" y="71"/>
                  </a:cubicBezTo>
                  <a:cubicBezTo>
                    <a:pt x="30" y="66"/>
                    <a:pt x="30" y="66"/>
                    <a:pt x="30" y="66"/>
                  </a:cubicBezTo>
                  <a:cubicBezTo>
                    <a:pt x="24" y="69"/>
                    <a:pt x="24" y="69"/>
                    <a:pt x="24" y="69"/>
                  </a:cubicBezTo>
                  <a:cubicBezTo>
                    <a:pt x="23" y="69"/>
                    <a:pt x="23" y="69"/>
                    <a:pt x="22" y="69"/>
                  </a:cubicBezTo>
                  <a:cubicBezTo>
                    <a:pt x="22" y="69"/>
                    <a:pt x="21" y="69"/>
                    <a:pt x="21" y="68"/>
                  </a:cubicBezTo>
                  <a:cubicBezTo>
                    <a:pt x="19" y="61"/>
                    <a:pt x="19" y="61"/>
                    <a:pt x="19" y="61"/>
                  </a:cubicBezTo>
                  <a:cubicBezTo>
                    <a:pt x="12" y="62"/>
                    <a:pt x="12" y="62"/>
                    <a:pt x="12" y="62"/>
                  </a:cubicBezTo>
                  <a:cubicBezTo>
                    <a:pt x="12" y="62"/>
                    <a:pt x="11" y="62"/>
                    <a:pt x="11" y="61"/>
                  </a:cubicBezTo>
                  <a:cubicBezTo>
                    <a:pt x="10" y="61"/>
                    <a:pt x="10" y="60"/>
                    <a:pt x="10" y="60"/>
                  </a:cubicBezTo>
                  <a:cubicBezTo>
                    <a:pt x="11" y="53"/>
                    <a:pt x="11" y="53"/>
                    <a:pt x="11" y="53"/>
                  </a:cubicBezTo>
                  <a:cubicBezTo>
                    <a:pt x="4" y="51"/>
                    <a:pt x="4" y="51"/>
                    <a:pt x="4" y="51"/>
                  </a:cubicBezTo>
                  <a:cubicBezTo>
                    <a:pt x="3" y="51"/>
                    <a:pt x="3" y="50"/>
                    <a:pt x="3" y="50"/>
                  </a:cubicBezTo>
                  <a:cubicBezTo>
                    <a:pt x="3" y="49"/>
                    <a:pt x="3" y="49"/>
                    <a:pt x="3" y="48"/>
                  </a:cubicBezTo>
                  <a:cubicBezTo>
                    <a:pt x="6" y="42"/>
                    <a:pt x="6" y="42"/>
                    <a:pt x="6" y="42"/>
                  </a:cubicBezTo>
                  <a:cubicBezTo>
                    <a:pt x="1" y="38"/>
                    <a:pt x="1" y="38"/>
                    <a:pt x="1" y="38"/>
                  </a:cubicBezTo>
                  <a:cubicBezTo>
                    <a:pt x="0" y="37"/>
                    <a:pt x="0" y="37"/>
                    <a:pt x="0" y="36"/>
                  </a:cubicBezTo>
                  <a:cubicBezTo>
                    <a:pt x="0" y="35"/>
                    <a:pt x="0" y="35"/>
                    <a:pt x="1" y="34"/>
                  </a:cubicBezTo>
                  <a:cubicBezTo>
                    <a:pt x="6" y="30"/>
                    <a:pt x="6" y="30"/>
                    <a:pt x="6" y="30"/>
                  </a:cubicBezTo>
                  <a:cubicBezTo>
                    <a:pt x="3" y="24"/>
                    <a:pt x="3" y="24"/>
                    <a:pt x="3" y="24"/>
                  </a:cubicBezTo>
                  <a:cubicBezTo>
                    <a:pt x="3" y="23"/>
                    <a:pt x="3" y="23"/>
                    <a:pt x="3" y="22"/>
                  </a:cubicBezTo>
                  <a:cubicBezTo>
                    <a:pt x="3" y="22"/>
                    <a:pt x="3" y="21"/>
                    <a:pt x="4" y="21"/>
                  </a:cubicBezTo>
                  <a:cubicBezTo>
                    <a:pt x="11" y="19"/>
                    <a:pt x="11" y="19"/>
                    <a:pt x="11" y="19"/>
                  </a:cubicBezTo>
                  <a:cubicBezTo>
                    <a:pt x="10" y="12"/>
                    <a:pt x="10" y="12"/>
                    <a:pt x="10" y="12"/>
                  </a:cubicBezTo>
                  <a:cubicBezTo>
                    <a:pt x="10" y="12"/>
                    <a:pt x="10" y="11"/>
                    <a:pt x="11" y="11"/>
                  </a:cubicBezTo>
                  <a:cubicBezTo>
                    <a:pt x="11" y="10"/>
                    <a:pt x="12" y="10"/>
                    <a:pt x="12" y="10"/>
                  </a:cubicBezTo>
                  <a:cubicBezTo>
                    <a:pt x="19" y="11"/>
                    <a:pt x="19" y="11"/>
                    <a:pt x="19" y="11"/>
                  </a:cubicBezTo>
                  <a:cubicBezTo>
                    <a:pt x="21" y="4"/>
                    <a:pt x="21" y="4"/>
                    <a:pt x="21" y="4"/>
                  </a:cubicBezTo>
                  <a:cubicBezTo>
                    <a:pt x="21" y="3"/>
                    <a:pt x="22" y="3"/>
                    <a:pt x="22" y="3"/>
                  </a:cubicBezTo>
                  <a:cubicBezTo>
                    <a:pt x="23" y="3"/>
                    <a:pt x="23" y="3"/>
                    <a:pt x="24" y="3"/>
                  </a:cubicBezTo>
                  <a:cubicBezTo>
                    <a:pt x="30" y="6"/>
                    <a:pt x="30" y="6"/>
                    <a:pt x="30" y="6"/>
                  </a:cubicBezTo>
                  <a:cubicBezTo>
                    <a:pt x="34" y="1"/>
                    <a:pt x="34" y="1"/>
                    <a:pt x="34" y="1"/>
                  </a:cubicBezTo>
                  <a:cubicBezTo>
                    <a:pt x="35" y="0"/>
                    <a:pt x="37" y="0"/>
                    <a:pt x="38" y="1"/>
                  </a:cubicBezTo>
                  <a:cubicBezTo>
                    <a:pt x="42" y="6"/>
                    <a:pt x="42" y="6"/>
                    <a:pt x="42" y="6"/>
                  </a:cubicBezTo>
                  <a:cubicBezTo>
                    <a:pt x="48" y="3"/>
                    <a:pt x="48" y="3"/>
                    <a:pt x="48" y="3"/>
                  </a:cubicBezTo>
                  <a:cubicBezTo>
                    <a:pt x="49" y="3"/>
                    <a:pt x="49" y="3"/>
                    <a:pt x="50" y="3"/>
                  </a:cubicBezTo>
                  <a:cubicBezTo>
                    <a:pt x="50" y="3"/>
                    <a:pt x="51" y="3"/>
                    <a:pt x="51" y="4"/>
                  </a:cubicBezTo>
                  <a:cubicBezTo>
                    <a:pt x="53" y="11"/>
                    <a:pt x="53" y="11"/>
                    <a:pt x="53" y="11"/>
                  </a:cubicBezTo>
                  <a:cubicBezTo>
                    <a:pt x="60" y="10"/>
                    <a:pt x="60" y="10"/>
                    <a:pt x="60" y="10"/>
                  </a:cubicBezTo>
                  <a:cubicBezTo>
                    <a:pt x="60" y="10"/>
                    <a:pt x="61" y="10"/>
                    <a:pt x="61" y="11"/>
                  </a:cubicBezTo>
                  <a:cubicBezTo>
                    <a:pt x="62" y="11"/>
                    <a:pt x="62" y="12"/>
                    <a:pt x="62" y="12"/>
                  </a:cubicBezTo>
                  <a:cubicBezTo>
                    <a:pt x="61" y="19"/>
                    <a:pt x="61" y="19"/>
                    <a:pt x="61" y="19"/>
                  </a:cubicBezTo>
                  <a:cubicBezTo>
                    <a:pt x="68" y="21"/>
                    <a:pt x="68" y="21"/>
                    <a:pt x="68" y="21"/>
                  </a:cubicBezTo>
                  <a:cubicBezTo>
                    <a:pt x="69" y="21"/>
                    <a:pt x="69" y="22"/>
                    <a:pt x="69" y="22"/>
                  </a:cubicBezTo>
                  <a:cubicBezTo>
                    <a:pt x="69" y="23"/>
                    <a:pt x="69" y="23"/>
                    <a:pt x="69" y="24"/>
                  </a:cubicBezTo>
                  <a:cubicBezTo>
                    <a:pt x="66" y="30"/>
                    <a:pt x="66" y="30"/>
                    <a:pt x="66" y="30"/>
                  </a:cubicBezTo>
                  <a:cubicBezTo>
                    <a:pt x="71" y="34"/>
                    <a:pt x="71" y="34"/>
                    <a:pt x="71" y="34"/>
                  </a:cubicBezTo>
                  <a:cubicBezTo>
                    <a:pt x="72" y="35"/>
                    <a:pt x="72" y="35"/>
                    <a:pt x="72" y="36"/>
                  </a:cubicBezTo>
                  <a:cubicBezTo>
                    <a:pt x="72" y="37"/>
                    <a:pt x="72" y="37"/>
                    <a:pt x="71" y="38"/>
                  </a:cubicBezTo>
                  <a:cubicBezTo>
                    <a:pt x="66" y="42"/>
                    <a:pt x="66" y="42"/>
                    <a:pt x="66" y="42"/>
                  </a:cubicBezTo>
                  <a:cubicBezTo>
                    <a:pt x="69" y="48"/>
                    <a:pt x="69" y="48"/>
                    <a:pt x="69" y="48"/>
                  </a:cubicBezTo>
                  <a:cubicBezTo>
                    <a:pt x="69" y="49"/>
                    <a:pt x="69" y="49"/>
                    <a:pt x="69" y="50"/>
                  </a:cubicBezTo>
                  <a:cubicBezTo>
                    <a:pt x="69" y="50"/>
                    <a:pt x="69" y="51"/>
                    <a:pt x="68" y="51"/>
                  </a:cubicBezTo>
                  <a:cubicBezTo>
                    <a:pt x="61" y="53"/>
                    <a:pt x="61" y="53"/>
                    <a:pt x="61" y="53"/>
                  </a:cubicBezTo>
                  <a:cubicBezTo>
                    <a:pt x="62" y="60"/>
                    <a:pt x="62" y="60"/>
                    <a:pt x="62" y="60"/>
                  </a:cubicBezTo>
                  <a:cubicBezTo>
                    <a:pt x="62" y="60"/>
                    <a:pt x="62" y="61"/>
                    <a:pt x="61" y="61"/>
                  </a:cubicBezTo>
                  <a:cubicBezTo>
                    <a:pt x="61" y="62"/>
                    <a:pt x="60" y="62"/>
                    <a:pt x="60" y="62"/>
                  </a:cubicBezTo>
                  <a:cubicBezTo>
                    <a:pt x="53" y="61"/>
                    <a:pt x="53" y="61"/>
                    <a:pt x="53" y="61"/>
                  </a:cubicBezTo>
                  <a:cubicBezTo>
                    <a:pt x="51" y="68"/>
                    <a:pt x="51" y="68"/>
                    <a:pt x="51" y="68"/>
                  </a:cubicBezTo>
                  <a:cubicBezTo>
                    <a:pt x="51" y="69"/>
                    <a:pt x="50" y="69"/>
                    <a:pt x="50" y="69"/>
                  </a:cubicBezTo>
                  <a:cubicBezTo>
                    <a:pt x="49" y="69"/>
                    <a:pt x="49" y="69"/>
                    <a:pt x="48" y="69"/>
                  </a:cubicBezTo>
                  <a:cubicBezTo>
                    <a:pt x="42" y="66"/>
                    <a:pt x="42" y="66"/>
                    <a:pt x="42" y="66"/>
                  </a:cubicBezTo>
                  <a:cubicBezTo>
                    <a:pt x="38" y="71"/>
                    <a:pt x="38" y="71"/>
                    <a:pt x="38" y="71"/>
                  </a:cubicBezTo>
                  <a:cubicBezTo>
                    <a:pt x="37" y="72"/>
                    <a:pt x="37" y="72"/>
                    <a:pt x="36" y="72"/>
                  </a:cubicBezTo>
                  <a:close/>
                  <a:moveTo>
                    <a:pt x="31" y="61"/>
                  </a:moveTo>
                  <a:cubicBezTo>
                    <a:pt x="31" y="61"/>
                    <a:pt x="32" y="62"/>
                    <a:pt x="32" y="62"/>
                  </a:cubicBezTo>
                  <a:cubicBezTo>
                    <a:pt x="36" y="67"/>
                    <a:pt x="36" y="67"/>
                    <a:pt x="36" y="67"/>
                  </a:cubicBezTo>
                  <a:cubicBezTo>
                    <a:pt x="40" y="62"/>
                    <a:pt x="40" y="62"/>
                    <a:pt x="40" y="62"/>
                  </a:cubicBezTo>
                  <a:cubicBezTo>
                    <a:pt x="41" y="61"/>
                    <a:pt x="42" y="61"/>
                    <a:pt x="42" y="62"/>
                  </a:cubicBezTo>
                  <a:cubicBezTo>
                    <a:pt x="48" y="65"/>
                    <a:pt x="48" y="65"/>
                    <a:pt x="48" y="65"/>
                  </a:cubicBezTo>
                  <a:cubicBezTo>
                    <a:pt x="50" y="59"/>
                    <a:pt x="50" y="59"/>
                    <a:pt x="50" y="59"/>
                  </a:cubicBezTo>
                  <a:cubicBezTo>
                    <a:pt x="50" y="58"/>
                    <a:pt x="51" y="57"/>
                    <a:pt x="52" y="57"/>
                  </a:cubicBezTo>
                  <a:cubicBezTo>
                    <a:pt x="58" y="58"/>
                    <a:pt x="58" y="58"/>
                    <a:pt x="58" y="58"/>
                  </a:cubicBezTo>
                  <a:cubicBezTo>
                    <a:pt x="57" y="52"/>
                    <a:pt x="57" y="52"/>
                    <a:pt x="57" y="52"/>
                  </a:cubicBezTo>
                  <a:cubicBezTo>
                    <a:pt x="57" y="51"/>
                    <a:pt x="58" y="50"/>
                    <a:pt x="59" y="50"/>
                  </a:cubicBezTo>
                  <a:cubicBezTo>
                    <a:pt x="65" y="48"/>
                    <a:pt x="65" y="48"/>
                    <a:pt x="65" y="48"/>
                  </a:cubicBezTo>
                  <a:cubicBezTo>
                    <a:pt x="62" y="42"/>
                    <a:pt x="62" y="42"/>
                    <a:pt x="62" y="42"/>
                  </a:cubicBezTo>
                  <a:cubicBezTo>
                    <a:pt x="61" y="42"/>
                    <a:pt x="61" y="41"/>
                    <a:pt x="62" y="40"/>
                  </a:cubicBezTo>
                  <a:cubicBezTo>
                    <a:pt x="67" y="36"/>
                    <a:pt x="67" y="36"/>
                    <a:pt x="67" y="36"/>
                  </a:cubicBezTo>
                  <a:cubicBezTo>
                    <a:pt x="62" y="32"/>
                    <a:pt x="62" y="32"/>
                    <a:pt x="62" y="32"/>
                  </a:cubicBezTo>
                  <a:cubicBezTo>
                    <a:pt x="61" y="31"/>
                    <a:pt x="61" y="30"/>
                    <a:pt x="62" y="30"/>
                  </a:cubicBezTo>
                  <a:cubicBezTo>
                    <a:pt x="65" y="24"/>
                    <a:pt x="65" y="24"/>
                    <a:pt x="65" y="24"/>
                  </a:cubicBezTo>
                  <a:cubicBezTo>
                    <a:pt x="59" y="22"/>
                    <a:pt x="59" y="22"/>
                    <a:pt x="59" y="22"/>
                  </a:cubicBezTo>
                  <a:cubicBezTo>
                    <a:pt x="58" y="22"/>
                    <a:pt x="57" y="21"/>
                    <a:pt x="57" y="20"/>
                  </a:cubicBezTo>
                  <a:cubicBezTo>
                    <a:pt x="58" y="14"/>
                    <a:pt x="58" y="14"/>
                    <a:pt x="58" y="14"/>
                  </a:cubicBezTo>
                  <a:cubicBezTo>
                    <a:pt x="52" y="15"/>
                    <a:pt x="52" y="15"/>
                    <a:pt x="52" y="15"/>
                  </a:cubicBezTo>
                  <a:cubicBezTo>
                    <a:pt x="51" y="15"/>
                    <a:pt x="50" y="14"/>
                    <a:pt x="50" y="13"/>
                  </a:cubicBezTo>
                  <a:cubicBezTo>
                    <a:pt x="48" y="7"/>
                    <a:pt x="48" y="7"/>
                    <a:pt x="48" y="7"/>
                  </a:cubicBezTo>
                  <a:cubicBezTo>
                    <a:pt x="42" y="10"/>
                    <a:pt x="42" y="10"/>
                    <a:pt x="42" y="10"/>
                  </a:cubicBezTo>
                  <a:cubicBezTo>
                    <a:pt x="42" y="11"/>
                    <a:pt x="41" y="11"/>
                    <a:pt x="40" y="10"/>
                  </a:cubicBezTo>
                  <a:cubicBezTo>
                    <a:pt x="36" y="5"/>
                    <a:pt x="36" y="5"/>
                    <a:pt x="36" y="5"/>
                  </a:cubicBezTo>
                  <a:cubicBezTo>
                    <a:pt x="32" y="10"/>
                    <a:pt x="32" y="10"/>
                    <a:pt x="32" y="10"/>
                  </a:cubicBezTo>
                  <a:cubicBezTo>
                    <a:pt x="31" y="11"/>
                    <a:pt x="30" y="11"/>
                    <a:pt x="30" y="10"/>
                  </a:cubicBezTo>
                  <a:cubicBezTo>
                    <a:pt x="24" y="7"/>
                    <a:pt x="24" y="7"/>
                    <a:pt x="24" y="7"/>
                  </a:cubicBezTo>
                  <a:cubicBezTo>
                    <a:pt x="22" y="13"/>
                    <a:pt x="22" y="13"/>
                    <a:pt x="22" y="13"/>
                  </a:cubicBezTo>
                  <a:cubicBezTo>
                    <a:pt x="22" y="14"/>
                    <a:pt x="21" y="15"/>
                    <a:pt x="20" y="15"/>
                  </a:cubicBezTo>
                  <a:cubicBezTo>
                    <a:pt x="14" y="14"/>
                    <a:pt x="14" y="14"/>
                    <a:pt x="14" y="14"/>
                  </a:cubicBezTo>
                  <a:cubicBezTo>
                    <a:pt x="15" y="20"/>
                    <a:pt x="15" y="20"/>
                    <a:pt x="15" y="20"/>
                  </a:cubicBezTo>
                  <a:cubicBezTo>
                    <a:pt x="15" y="21"/>
                    <a:pt x="14" y="22"/>
                    <a:pt x="13" y="22"/>
                  </a:cubicBezTo>
                  <a:cubicBezTo>
                    <a:pt x="7" y="24"/>
                    <a:pt x="7" y="24"/>
                    <a:pt x="7" y="24"/>
                  </a:cubicBezTo>
                  <a:cubicBezTo>
                    <a:pt x="10" y="30"/>
                    <a:pt x="10" y="30"/>
                    <a:pt x="10" y="30"/>
                  </a:cubicBezTo>
                  <a:cubicBezTo>
                    <a:pt x="11" y="30"/>
                    <a:pt x="11" y="31"/>
                    <a:pt x="10" y="32"/>
                  </a:cubicBezTo>
                  <a:cubicBezTo>
                    <a:pt x="5" y="36"/>
                    <a:pt x="5" y="36"/>
                    <a:pt x="5" y="36"/>
                  </a:cubicBezTo>
                  <a:cubicBezTo>
                    <a:pt x="10" y="40"/>
                    <a:pt x="10" y="40"/>
                    <a:pt x="10" y="40"/>
                  </a:cubicBezTo>
                  <a:cubicBezTo>
                    <a:pt x="11" y="41"/>
                    <a:pt x="11" y="42"/>
                    <a:pt x="10" y="42"/>
                  </a:cubicBezTo>
                  <a:cubicBezTo>
                    <a:pt x="7" y="48"/>
                    <a:pt x="7" y="48"/>
                    <a:pt x="7" y="48"/>
                  </a:cubicBezTo>
                  <a:cubicBezTo>
                    <a:pt x="13" y="50"/>
                    <a:pt x="13" y="50"/>
                    <a:pt x="13" y="50"/>
                  </a:cubicBezTo>
                  <a:cubicBezTo>
                    <a:pt x="14" y="50"/>
                    <a:pt x="15" y="51"/>
                    <a:pt x="15" y="52"/>
                  </a:cubicBezTo>
                  <a:cubicBezTo>
                    <a:pt x="14" y="58"/>
                    <a:pt x="14" y="58"/>
                    <a:pt x="14" y="58"/>
                  </a:cubicBezTo>
                  <a:cubicBezTo>
                    <a:pt x="20" y="57"/>
                    <a:pt x="20" y="57"/>
                    <a:pt x="20" y="57"/>
                  </a:cubicBezTo>
                  <a:cubicBezTo>
                    <a:pt x="21" y="57"/>
                    <a:pt x="22" y="58"/>
                    <a:pt x="22" y="59"/>
                  </a:cubicBezTo>
                  <a:cubicBezTo>
                    <a:pt x="24" y="65"/>
                    <a:pt x="24" y="65"/>
                    <a:pt x="24" y="65"/>
                  </a:cubicBezTo>
                  <a:cubicBezTo>
                    <a:pt x="30" y="62"/>
                    <a:pt x="30" y="62"/>
                    <a:pt x="30" y="62"/>
                  </a:cubicBezTo>
                  <a:cubicBezTo>
                    <a:pt x="30" y="62"/>
                    <a:pt x="30" y="61"/>
                    <a:pt x="31"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8" name="Freeform 43">
              <a:extLst>
                <a:ext uri="{FF2B5EF4-FFF2-40B4-BE49-F238E27FC236}">
                  <a16:creationId xmlns:a16="http://schemas.microsoft.com/office/drawing/2014/main" id="{9BCDCCBE-C0B3-48DC-99D6-3729FEF7D55D}"/>
                </a:ext>
              </a:extLst>
            </p:cNvPr>
            <p:cNvSpPr>
              <a:spLocks/>
            </p:cNvSpPr>
            <p:nvPr/>
          </p:nvSpPr>
          <p:spPr bwMode="auto">
            <a:xfrm>
              <a:off x="9555544" y="5589681"/>
              <a:ext cx="104971" cy="113515"/>
            </a:xfrm>
            <a:custGeom>
              <a:avLst/>
              <a:gdLst>
                <a:gd name="T0" fmla="*/ 13 w 35"/>
                <a:gd name="T1" fmla="*/ 38 h 38"/>
                <a:gd name="T2" fmla="*/ 11 w 35"/>
                <a:gd name="T3" fmla="*/ 37 h 38"/>
                <a:gd name="T4" fmla="*/ 0 w 35"/>
                <a:gd name="T5" fmla="*/ 19 h 38"/>
                <a:gd name="T6" fmla="*/ 4 w 35"/>
                <a:gd name="T7" fmla="*/ 17 h 38"/>
                <a:gd name="T8" fmla="*/ 12 w 35"/>
                <a:gd name="T9" fmla="*/ 31 h 38"/>
                <a:gd name="T10" fmla="*/ 16 w 35"/>
                <a:gd name="T11" fmla="*/ 21 h 38"/>
                <a:gd name="T12" fmla="*/ 18 w 35"/>
                <a:gd name="T13" fmla="*/ 19 h 38"/>
                <a:gd name="T14" fmla="*/ 29 w 35"/>
                <a:gd name="T15" fmla="*/ 21 h 38"/>
                <a:gd name="T16" fmla="*/ 18 w 35"/>
                <a:gd name="T17" fmla="*/ 2 h 38"/>
                <a:gd name="T18" fmla="*/ 22 w 35"/>
                <a:gd name="T19" fmla="*/ 0 h 38"/>
                <a:gd name="T20" fmla="*/ 35 w 35"/>
                <a:gd name="T21" fmla="*/ 23 h 38"/>
                <a:gd name="T22" fmla="*/ 35 w 35"/>
                <a:gd name="T23" fmla="*/ 25 h 38"/>
                <a:gd name="T24" fmla="*/ 33 w 35"/>
                <a:gd name="T25" fmla="*/ 26 h 38"/>
                <a:gd name="T26" fmla="*/ 19 w 35"/>
                <a:gd name="T27" fmla="*/ 24 h 38"/>
                <a:gd name="T28" fmla="*/ 14 w 35"/>
                <a:gd name="T29" fmla="*/ 37 h 38"/>
                <a:gd name="T30" fmla="*/ 13 w 35"/>
                <a:gd name="T31" fmla="*/ 38 h 38"/>
                <a:gd name="T32" fmla="*/ 13 w 35"/>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8">
                  <a:moveTo>
                    <a:pt x="13" y="38"/>
                  </a:moveTo>
                  <a:cubicBezTo>
                    <a:pt x="12" y="38"/>
                    <a:pt x="11" y="38"/>
                    <a:pt x="11" y="37"/>
                  </a:cubicBezTo>
                  <a:cubicBezTo>
                    <a:pt x="0" y="19"/>
                    <a:pt x="0" y="19"/>
                    <a:pt x="0" y="19"/>
                  </a:cubicBezTo>
                  <a:cubicBezTo>
                    <a:pt x="4" y="17"/>
                    <a:pt x="4" y="17"/>
                    <a:pt x="4" y="17"/>
                  </a:cubicBezTo>
                  <a:cubicBezTo>
                    <a:pt x="12" y="31"/>
                    <a:pt x="12" y="31"/>
                    <a:pt x="12" y="31"/>
                  </a:cubicBezTo>
                  <a:cubicBezTo>
                    <a:pt x="16" y="21"/>
                    <a:pt x="16" y="21"/>
                    <a:pt x="16" y="21"/>
                  </a:cubicBezTo>
                  <a:cubicBezTo>
                    <a:pt x="16" y="20"/>
                    <a:pt x="17" y="19"/>
                    <a:pt x="18" y="19"/>
                  </a:cubicBezTo>
                  <a:cubicBezTo>
                    <a:pt x="29" y="21"/>
                    <a:pt x="29" y="21"/>
                    <a:pt x="29" y="21"/>
                  </a:cubicBezTo>
                  <a:cubicBezTo>
                    <a:pt x="18" y="2"/>
                    <a:pt x="18" y="2"/>
                    <a:pt x="18" y="2"/>
                  </a:cubicBezTo>
                  <a:cubicBezTo>
                    <a:pt x="22" y="0"/>
                    <a:pt x="22" y="0"/>
                    <a:pt x="22" y="0"/>
                  </a:cubicBezTo>
                  <a:cubicBezTo>
                    <a:pt x="35" y="23"/>
                    <a:pt x="35" y="23"/>
                    <a:pt x="35" y="23"/>
                  </a:cubicBezTo>
                  <a:cubicBezTo>
                    <a:pt x="35" y="24"/>
                    <a:pt x="35" y="24"/>
                    <a:pt x="35" y="25"/>
                  </a:cubicBezTo>
                  <a:cubicBezTo>
                    <a:pt x="35" y="26"/>
                    <a:pt x="34" y="26"/>
                    <a:pt x="33" y="26"/>
                  </a:cubicBezTo>
                  <a:cubicBezTo>
                    <a:pt x="19" y="24"/>
                    <a:pt x="19" y="24"/>
                    <a:pt x="19" y="24"/>
                  </a:cubicBezTo>
                  <a:cubicBezTo>
                    <a:pt x="14" y="37"/>
                    <a:pt x="14" y="37"/>
                    <a:pt x="14" y="37"/>
                  </a:cubicBezTo>
                  <a:cubicBezTo>
                    <a:pt x="14" y="37"/>
                    <a:pt x="14" y="38"/>
                    <a:pt x="13" y="38"/>
                  </a:cubicBezTo>
                  <a:cubicBezTo>
                    <a:pt x="13" y="38"/>
                    <a:pt x="13" y="38"/>
                    <a:pt x="1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49" name="Freeform 44">
              <a:extLst>
                <a:ext uri="{FF2B5EF4-FFF2-40B4-BE49-F238E27FC236}">
                  <a16:creationId xmlns:a16="http://schemas.microsoft.com/office/drawing/2014/main" id="{F167C10F-6578-4CFB-825B-D635E278D887}"/>
                </a:ext>
              </a:extLst>
            </p:cNvPr>
            <p:cNvSpPr>
              <a:spLocks/>
            </p:cNvSpPr>
            <p:nvPr/>
          </p:nvSpPr>
          <p:spPr bwMode="auto">
            <a:xfrm>
              <a:off x="9379778" y="5589681"/>
              <a:ext cx="104971" cy="113515"/>
            </a:xfrm>
            <a:custGeom>
              <a:avLst/>
              <a:gdLst>
                <a:gd name="T0" fmla="*/ 22 w 35"/>
                <a:gd name="T1" fmla="*/ 38 h 38"/>
                <a:gd name="T2" fmla="*/ 22 w 35"/>
                <a:gd name="T3" fmla="*/ 38 h 38"/>
                <a:gd name="T4" fmla="*/ 21 w 35"/>
                <a:gd name="T5" fmla="*/ 37 h 38"/>
                <a:gd name="T6" fmla="*/ 16 w 35"/>
                <a:gd name="T7" fmla="*/ 24 h 38"/>
                <a:gd name="T8" fmla="*/ 2 w 35"/>
                <a:gd name="T9" fmla="*/ 26 h 38"/>
                <a:gd name="T10" fmla="*/ 0 w 35"/>
                <a:gd name="T11" fmla="*/ 25 h 38"/>
                <a:gd name="T12" fmla="*/ 0 w 35"/>
                <a:gd name="T13" fmla="*/ 23 h 38"/>
                <a:gd name="T14" fmla="*/ 13 w 35"/>
                <a:gd name="T15" fmla="*/ 0 h 38"/>
                <a:gd name="T16" fmla="*/ 17 w 35"/>
                <a:gd name="T17" fmla="*/ 2 h 38"/>
                <a:gd name="T18" fmla="*/ 6 w 35"/>
                <a:gd name="T19" fmla="*/ 21 h 38"/>
                <a:gd name="T20" fmla="*/ 17 w 35"/>
                <a:gd name="T21" fmla="*/ 19 h 38"/>
                <a:gd name="T22" fmla="*/ 19 w 35"/>
                <a:gd name="T23" fmla="*/ 21 h 38"/>
                <a:gd name="T24" fmla="*/ 23 w 35"/>
                <a:gd name="T25" fmla="*/ 31 h 38"/>
                <a:gd name="T26" fmla="*/ 31 w 35"/>
                <a:gd name="T27" fmla="*/ 17 h 38"/>
                <a:gd name="T28" fmla="*/ 35 w 35"/>
                <a:gd name="T29" fmla="*/ 19 h 38"/>
                <a:gd name="T30" fmla="*/ 24 w 35"/>
                <a:gd name="T31" fmla="*/ 37 h 38"/>
                <a:gd name="T32" fmla="*/ 22 w 35"/>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38">
                  <a:moveTo>
                    <a:pt x="22" y="38"/>
                  </a:moveTo>
                  <a:cubicBezTo>
                    <a:pt x="22" y="38"/>
                    <a:pt x="22" y="38"/>
                    <a:pt x="22" y="38"/>
                  </a:cubicBezTo>
                  <a:cubicBezTo>
                    <a:pt x="21" y="38"/>
                    <a:pt x="21" y="37"/>
                    <a:pt x="21" y="37"/>
                  </a:cubicBezTo>
                  <a:cubicBezTo>
                    <a:pt x="16" y="24"/>
                    <a:pt x="16" y="24"/>
                    <a:pt x="16" y="24"/>
                  </a:cubicBezTo>
                  <a:cubicBezTo>
                    <a:pt x="2" y="26"/>
                    <a:pt x="2" y="26"/>
                    <a:pt x="2" y="26"/>
                  </a:cubicBezTo>
                  <a:cubicBezTo>
                    <a:pt x="1" y="26"/>
                    <a:pt x="0" y="26"/>
                    <a:pt x="0" y="25"/>
                  </a:cubicBezTo>
                  <a:cubicBezTo>
                    <a:pt x="0" y="24"/>
                    <a:pt x="0" y="24"/>
                    <a:pt x="0" y="23"/>
                  </a:cubicBezTo>
                  <a:cubicBezTo>
                    <a:pt x="13" y="0"/>
                    <a:pt x="13" y="0"/>
                    <a:pt x="13" y="0"/>
                  </a:cubicBezTo>
                  <a:cubicBezTo>
                    <a:pt x="17" y="2"/>
                    <a:pt x="17" y="2"/>
                    <a:pt x="17" y="2"/>
                  </a:cubicBezTo>
                  <a:cubicBezTo>
                    <a:pt x="6" y="21"/>
                    <a:pt x="6" y="21"/>
                    <a:pt x="6" y="21"/>
                  </a:cubicBezTo>
                  <a:cubicBezTo>
                    <a:pt x="17" y="19"/>
                    <a:pt x="17" y="19"/>
                    <a:pt x="17" y="19"/>
                  </a:cubicBezTo>
                  <a:cubicBezTo>
                    <a:pt x="18" y="19"/>
                    <a:pt x="19" y="20"/>
                    <a:pt x="19" y="21"/>
                  </a:cubicBezTo>
                  <a:cubicBezTo>
                    <a:pt x="23" y="31"/>
                    <a:pt x="23" y="31"/>
                    <a:pt x="23" y="31"/>
                  </a:cubicBezTo>
                  <a:cubicBezTo>
                    <a:pt x="31" y="17"/>
                    <a:pt x="31" y="17"/>
                    <a:pt x="31" y="17"/>
                  </a:cubicBezTo>
                  <a:cubicBezTo>
                    <a:pt x="35" y="19"/>
                    <a:pt x="35" y="19"/>
                    <a:pt x="35" y="19"/>
                  </a:cubicBezTo>
                  <a:cubicBezTo>
                    <a:pt x="24" y="37"/>
                    <a:pt x="24" y="37"/>
                    <a:pt x="24" y="37"/>
                  </a:cubicBezTo>
                  <a:cubicBezTo>
                    <a:pt x="24" y="38"/>
                    <a:pt x="23" y="38"/>
                    <a:pt x="2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0" name="Freeform 45">
              <a:extLst>
                <a:ext uri="{FF2B5EF4-FFF2-40B4-BE49-F238E27FC236}">
                  <a16:creationId xmlns:a16="http://schemas.microsoft.com/office/drawing/2014/main" id="{570C87A9-5B6D-4821-8D43-73633A44F9F5}"/>
                </a:ext>
              </a:extLst>
            </p:cNvPr>
            <p:cNvSpPr>
              <a:spLocks noEditPoints="1"/>
            </p:cNvSpPr>
            <p:nvPr/>
          </p:nvSpPr>
          <p:spPr bwMode="auto">
            <a:xfrm>
              <a:off x="9463999" y="5465180"/>
              <a:ext cx="115957" cy="107412"/>
            </a:xfrm>
            <a:custGeom>
              <a:avLst/>
              <a:gdLst>
                <a:gd name="T0" fmla="*/ 25 w 39"/>
                <a:gd name="T1" fmla="*/ 36 h 36"/>
                <a:gd name="T2" fmla="*/ 18 w 39"/>
                <a:gd name="T3" fmla="*/ 36 h 36"/>
                <a:gd name="T4" fmla="*/ 12 w 39"/>
                <a:gd name="T5" fmla="*/ 35 h 36"/>
                <a:gd name="T6" fmla="*/ 2 w 39"/>
                <a:gd name="T7" fmla="*/ 33 h 36"/>
                <a:gd name="T8" fmla="*/ 0 w 39"/>
                <a:gd name="T9" fmla="*/ 31 h 36"/>
                <a:gd name="T10" fmla="*/ 0 w 39"/>
                <a:gd name="T11" fmla="*/ 18 h 36"/>
                <a:gd name="T12" fmla="*/ 2 w 39"/>
                <a:gd name="T13" fmla="*/ 16 h 36"/>
                <a:gd name="T14" fmla="*/ 5 w 39"/>
                <a:gd name="T15" fmla="*/ 16 h 36"/>
                <a:gd name="T16" fmla="*/ 16 w 39"/>
                <a:gd name="T17" fmla="*/ 3 h 36"/>
                <a:gd name="T18" fmla="*/ 20 w 39"/>
                <a:gd name="T19" fmla="*/ 0 h 36"/>
                <a:gd name="T20" fmla="*/ 24 w 39"/>
                <a:gd name="T21" fmla="*/ 5 h 36"/>
                <a:gd name="T22" fmla="*/ 24 w 39"/>
                <a:gd name="T23" fmla="*/ 12 h 36"/>
                <a:gd name="T24" fmla="*/ 34 w 39"/>
                <a:gd name="T25" fmla="*/ 12 h 36"/>
                <a:gd name="T26" fmla="*/ 39 w 39"/>
                <a:gd name="T27" fmla="*/ 17 h 36"/>
                <a:gd name="T28" fmla="*/ 38 w 39"/>
                <a:gd name="T29" fmla="*/ 17 h 36"/>
                <a:gd name="T30" fmla="*/ 33 w 39"/>
                <a:gd name="T31" fmla="*/ 31 h 36"/>
                <a:gd name="T32" fmla="*/ 25 w 39"/>
                <a:gd name="T33" fmla="*/ 36 h 36"/>
                <a:gd name="T34" fmla="*/ 4 w 39"/>
                <a:gd name="T35" fmla="*/ 29 h 36"/>
                <a:gd name="T36" fmla="*/ 13 w 39"/>
                <a:gd name="T37" fmla="*/ 31 h 36"/>
                <a:gd name="T38" fmla="*/ 18 w 39"/>
                <a:gd name="T39" fmla="*/ 32 h 36"/>
                <a:gd name="T40" fmla="*/ 25 w 39"/>
                <a:gd name="T41" fmla="*/ 32 h 36"/>
                <a:gd name="T42" fmla="*/ 29 w 39"/>
                <a:gd name="T43" fmla="*/ 29 h 36"/>
                <a:gd name="T44" fmla="*/ 35 w 39"/>
                <a:gd name="T45" fmla="*/ 16 h 36"/>
                <a:gd name="T46" fmla="*/ 34 w 39"/>
                <a:gd name="T47" fmla="*/ 16 h 36"/>
                <a:gd name="T48" fmla="*/ 22 w 39"/>
                <a:gd name="T49" fmla="*/ 16 h 36"/>
                <a:gd name="T50" fmla="*/ 20 w 39"/>
                <a:gd name="T51" fmla="*/ 14 h 36"/>
                <a:gd name="T52" fmla="*/ 20 w 39"/>
                <a:gd name="T53" fmla="*/ 5 h 36"/>
                <a:gd name="T54" fmla="*/ 20 w 39"/>
                <a:gd name="T55" fmla="*/ 4 h 36"/>
                <a:gd name="T56" fmla="*/ 19 w 39"/>
                <a:gd name="T57" fmla="*/ 5 h 36"/>
                <a:gd name="T58" fmla="*/ 5 w 39"/>
                <a:gd name="T59" fmla="*/ 20 h 36"/>
                <a:gd name="T60" fmla="*/ 4 w 39"/>
                <a:gd name="T61" fmla="*/ 20 h 36"/>
                <a:gd name="T62" fmla="*/ 4 w 39"/>
                <a:gd name="T63"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6">
                  <a:moveTo>
                    <a:pt x="25" y="36"/>
                  </a:moveTo>
                  <a:cubicBezTo>
                    <a:pt x="18" y="36"/>
                    <a:pt x="18" y="36"/>
                    <a:pt x="18" y="36"/>
                  </a:cubicBezTo>
                  <a:cubicBezTo>
                    <a:pt x="15" y="36"/>
                    <a:pt x="14" y="35"/>
                    <a:pt x="12" y="35"/>
                  </a:cubicBezTo>
                  <a:cubicBezTo>
                    <a:pt x="10" y="34"/>
                    <a:pt x="8" y="33"/>
                    <a:pt x="2" y="33"/>
                  </a:cubicBezTo>
                  <a:cubicBezTo>
                    <a:pt x="1" y="33"/>
                    <a:pt x="0" y="32"/>
                    <a:pt x="0" y="31"/>
                  </a:cubicBezTo>
                  <a:cubicBezTo>
                    <a:pt x="0" y="18"/>
                    <a:pt x="0" y="18"/>
                    <a:pt x="0" y="18"/>
                  </a:cubicBezTo>
                  <a:cubicBezTo>
                    <a:pt x="0" y="17"/>
                    <a:pt x="1" y="16"/>
                    <a:pt x="2" y="16"/>
                  </a:cubicBezTo>
                  <a:cubicBezTo>
                    <a:pt x="5" y="16"/>
                    <a:pt x="5" y="16"/>
                    <a:pt x="5" y="16"/>
                  </a:cubicBezTo>
                  <a:cubicBezTo>
                    <a:pt x="9" y="16"/>
                    <a:pt x="12" y="10"/>
                    <a:pt x="16" y="3"/>
                  </a:cubicBezTo>
                  <a:cubicBezTo>
                    <a:pt x="17" y="1"/>
                    <a:pt x="18" y="0"/>
                    <a:pt x="20" y="0"/>
                  </a:cubicBezTo>
                  <a:cubicBezTo>
                    <a:pt x="21" y="0"/>
                    <a:pt x="24" y="0"/>
                    <a:pt x="24" y="5"/>
                  </a:cubicBezTo>
                  <a:cubicBezTo>
                    <a:pt x="24" y="12"/>
                    <a:pt x="24" y="12"/>
                    <a:pt x="24" y="12"/>
                  </a:cubicBezTo>
                  <a:cubicBezTo>
                    <a:pt x="34" y="12"/>
                    <a:pt x="34" y="12"/>
                    <a:pt x="34" y="12"/>
                  </a:cubicBezTo>
                  <a:cubicBezTo>
                    <a:pt x="37" y="12"/>
                    <a:pt x="39" y="14"/>
                    <a:pt x="39" y="17"/>
                  </a:cubicBezTo>
                  <a:cubicBezTo>
                    <a:pt x="39" y="17"/>
                    <a:pt x="39" y="17"/>
                    <a:pt x="38" y="17"/>
                  </a:cubicBezTo>
                  <a:cubicBezTo>
                    <a:pt x="33" y="31"/>
                    <a:pt x="33" y="31"/>
                    <a:pt x="33" y="31"/>
                  </a:cubicBezTo>
                  <a:cubicBezTo>
                    <a:pt x="31" y="34"/>
                    <a:pt x="28" y="36"/>
                    <a:pt x="25" y="36"/>
                  </a:cubicBezTo>
                  <a:close/>
                  <a:moveTo>
                    <a:pt x="4" y="29"/>
                  </a:moveTo>
                  <a:cubicBezTo>
                    <a:pt x="9" y="29"/>
                    <a:pt x="12" y="30"/>
                    <a:pt x="13" y="31"/>
                  </a:cubicBezTo>
                  <a:cubicBezTo>
                    <a:pt x="15" y="32"/>
                    <a:pt x="16" y="32"/>
                    <a:pt x="18" y="32"/>
                  </a:cubicBezTo>
                  <a:cubicBezTo>
                    <a:pt x="25" y="32"/>
                    <a:pt x="25" y="32"/>
                    <a:pt x="25" y="32"/>
                  </a:cubicBezTo>
                  <a:cubicBezTo>
                    <a:pt x="27" y="32"/>
                    <a:pt x="28" y="31"/>
                    <a:pt x="29" y="29"/>
                  </a:cubicBezTo>
                  <a:cubicBezTo>
                    <a:pt x="35" y="16"/>
                    <a:pt x="35" y="16"/>
                    <a:pt x="35" y="16"/>
                  </a:cubicBezTo>
                  <a:cubicBezTo>
                    <a:pt x="34" y="16"/>
                    <a:pt x="34" y="16"/>
                    <a:pt x="34" y="16"/>
                  </a:cubicBezTo>
                  <a:cubicBezTo>
                    <a:pt x="22" y="16"/>
                    <a:pt x="22" y="16"/>
                    <a:pt x="22" y="16"/>
                  </a:cubicBezTo>
                  <a:cubicBezTo>
                    <a:pt x="21" y="16"/>
                    <a:pt x="20" y="15"/>
                    <a:pt x="20" y="14"/>
                  </a:cubicBezTo>
                  <a:cubicBezTo>
                    <a:pt x="20" y="5"/>
                    <a:pt x="20" y="5"/>
                    <a:pt x="20" y="5"/>
                  </a:cubicBezTo>
                  <a:cubicBezTo>
                    <a:pt x="20" y="5"/>
                    <a:pt x="20" y="5"/>
                    <a:pt x="20" y="4"/>
                  </a:cubicBezTo>
                  <a:cubicBezTo>
                    <a:pt x="20" y="4"/>
                    <a:pt x="19" y="5"/>
                    <a:pt x="19" y="5"/>
                  </a:cubicBezTo>
                  <a:cubicBezTo>
                    <a:pt x="16" y="12"/>
                    <a:pt x="12" y="20"/>
                    <a:pt x="5" y="20"/>
                  </a:cubicBezTo>
                  <a:cubicBezTo>
                    <a:pt x="4" y="20"/>
                    <a:pt x="4" y="20"/>
                    <a:pt x="4" y="20"/>
                  </a:cubicBezTo>
                  <a:lnTo>
                    <a:pt x="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35" name="Group 32">
            <a:extLst>
              <a:ext uri="{FF2B5EF4-FFF2-40B4-BE49-F238E27FC236}">
                <a16:creationId xmlns:a16="http://schemas.microsoft.com/office/drawing/2014/main" id="{F29B79FB-9F0D-4ECE-A11E-96953956A070}"/>
              </a:ext>
            </a:extLst>
          </p:cNvPr>
          <p:cNvGrpSpPr>
            <a:grpSpLocks noChangeAspect="1"/>
          </p:cNvGrpSpPr>
          <p:nvPr/>
        </p:nvGrpSpPr>
        <p:grpSpPr>
          <a:xfrm>
            <a:off x="284400" y="3263433"/>
            <a:ext cx="250221" cy="285619"/>
            <a:chOff x="-533400" y="2205038"/>
            <a:chExt cx="325437" cy="371476"/>
          </a:xfrm>
          <a:solidFill>
            <a:schemeClr val="bg1"/>
          </a:solidFill>
          <a:effectLst/>
        </p:grpSpPr>
        <p:sp>
          <p:nvSpPr>
            <p:cNvPr id="336" name="Freeform 30">
              <a:extLst>
                <a:ext uri="{FF2B5EF4-FFF2-40B4-BE49-F238E27FC236}">
                  <a16:creationId xmlns:a16="http://schemas.microsoft.com/office/drawing/2014/main" id="{510F6584-DF15-4A6B-B6F0-537E8F868FBE}"/>
                </a:ext>
              </a:extLst>
            </p:cNvPr>
            <p:cNvSpPr>
              <a:spLocks noEditPoints="1"/>
            </p:cNvSpPr>
            <p:nvPr/>
          </p:nvSpPr>
          <p:spPr bwMode="auto">
            <a:xfrm>
              <a:off x="-487363" y="2251076"/>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31">
              <a:extLst>
                <a:ext uri="{FF2B5EF4-FFF2-40B4-BE49-F238E27FC236}">
                  <a16:creationId xmlns:a16="http://schemas.microsoft.com/office/drawing/2014/main" id="{00307268-7C7B-4085-AD63-7F5012A607F4}"/>
                </a:ext>
              </a:extLst>
            </p:cNvPr>
            <p:cNvSpPr>
              <a:spLocks/>
            </p:cNvSpPr>
            <p:nvPr/>
          </p:nvSpPr>
          <p:spPr bwMode="auto">
            <a:xfrm>
              <a:off x="-425450" y="2468563"/>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32">
              <a:extLst>
                <a:ext uri="{FF2B5EF4-FFF2-40B4-BE49-F238E27FC236}">
                  <a16:creationId xmlns:a16="http://schemas.microsoft.com/office/drawing/2014/main" id="{1658029F-4797-4D98-971E-762E4B71D9D2}"/>
                </a:ext>
              </a:extLst>
            </p:cNvPr>
            <p:cNvSpPr>
              <a:spLocks noEditPoints="1"/>
            </p:cNvSpPr>
            <p:nvPr/>
          </p:nvSpPr>
          <p:spPr bwMode="auto">
            <a:xfrm>
              <a:off x="-409575" y="2498726"/>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33">
              <a:extLst>
                <a:ext uri="{FF2B5EF4-FFF2-40B4-BE49-F238E27FC236}">
                  <a16:creationId xmlns:a16="http://schemas.microsoft.com/office/drawing/2014/main" id="{B2B38CF3-D35F-4AD0-A4B2-298D5B4E489A}"/>
                </a:ext>
              </a:extLst>
            </p:cNvPr>
            <p:cNvSpPr>
              <a:spLocks/>
            </p:cNvSpPr>
            <p:nvPr/>
          </p:nvSpPr>
          <p:spPr bwMode="auto">
            <a:xfrm>
              <a:off x="-379413" y="2530476"/>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34">
              <a:extLst>
                <a:ext uri="{FF2B5EF4-FFF2-40B4-BE49-F238E27FC236}">
                  <a16:creationId xmlns:a16="http://schemas.microsoft.com/office/drawing/2014/main" id="{CA140066-6CCA-4E44-93F8-64FC11D7F89E}"/>
                </a:ext>
              </a:extLst>
            </p:cNvPr>
            <p:cNvSpPr>
              <a:spLocks/>
            </p:cNvSpPr>
            <p:nvPr/>
          </p:nvSpPr>
          <p:spPr bwMode="auto">
            <a:xfrm>
              <a:off x="-379413" y="220503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35">
              <a:extLst>
                <a:ext uri="{FF2B5EF4-FFF2-40B4-BE49-F238E27FC236}">
                  <a16:creationId xmlns:a16="http://schemas.microsoft.com/office/drawing/2014/main" id="{BC061A60-40A0-4BF0-965E-1F81B2251389}"/>
                </a:ext>
              </a:extLst>
            </p:cNvPr>
            <p:cNvSpPr>
              <a:spLocks/>
            </p:cNvSpPr>
            <p:nvPr/>
          </p:nvSpPr>
          <p:spPr bwMode="auto">
            <a:xfrm>
              <a:off x="-282575" y="2251076"/>
              <a:ext cx="26987"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36">
              <a:extLst>
                <a:ext uri="{FF2B5EF4-FFF2-40B4-BE49-F238E27FC236}">
                  <a16:creationId xmlns:a16="http://schemas.microsoft.com/office/drawing/2014/main" id="{8114E472-0AAD-4C13-9A8D-B89B13585B95}"/>
                </a:ext>
              </a:extLst>
            </p:cNvPr>
            <p:cNvSpPr>
              <a:spLocks/>
            </p:cNvSpPr>
            <p:nvPr/>
          </p:nvSpPr>
          <p:spPr bwMode="auto">
            <a:xfrm>
              <a:off x="-239713" y="2360613"/>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37">
              <a:extLst>
                <a:ext uri="{FF2B5EF4-FFF2-40B4-BE49-F238E27FC236}">
                  <a16:creationId xmlns:a16="http://schemas.microsoft.com/office/drawing/2014/main" id="{128A6983-7E31-43A6-B926-A361F0B4947D}"/>
                </a:ext>
              </a:extLst>
            </p:cNvPr>
            <p:cNvSpPr>
              <a:spLocks/>
            </p:cNvSpPr>
            <p:nvPr/>
          </p:nvSpPr>
          <p:spPr bwMode="auto">
            <a:xfrm>
              <a:off x="-282575" y="2455863"/>
              <a:ext cx="26987"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8">
              <a:extLst>
                <a:ext uri="{FF2B5EF4-FFF2-40B4-BE49-F238E27FC236}">
                  <a16:creationId xmlns:a16="http://schemas.microsoft.com/office/drawing/2014/main" id="{9EA7A4F4-59EC-4B25-96C2-4DDFC696692E}"/>
                </a:ext>
              </a:extLst>
            </p:cNvPr>
            <p:cNvSpPr>
              <a:spLocks/>
            </p:cNvSpPr>
            <p:nvPr/>
          </p:nvSpPr>
          <p:spPr bwMode="auto">
            <a:xfrm>
              <a:off x="-487363" y="2251076"/>
              <a:ext cx="26987"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39">
              <a:extLst>
                <a:ext uri="{FF2B5EF4-FFF2-40B4-BE49-F238E27FC236}">
                  <a16:creationId xmlns:a16="http://schemas.microsoft.com/office/drawing/2014/main" id="{F305BEF4-11D6-48BB-85F7-0898B671DA08}"/>
                </a:ext>
              </a:extLst>
            </p:cNvPr>
            <p:cNvSpPr>
              <a:spLocks/>
            </p:cNvSpPr>
            <p:nvPr/>
          </p:nvSpPr>
          <p:spPr bwMode="auto">
            <a:xfrm>
              <a:off x="-533400" y="2360613"/>
              <a:ext cx="30162"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40">
              <a:extLst>
                <a:ext uri="{FF2B5EF4-FFF2-40B4-BE49-F238E27FC236}">
                  <a16:creationId xmlns:a16="http://schemas.microsoft.com/office/drawing/2014/main" id="{F23A7469-0B0C-4ADA-A1CA-60535832791D}"/>
                </a:ext>
              </a:extLst>
            </p:cNvPr>
            <p:cNvSpPr>
              <a:spLocks/>
            </p:cNvSpPr>
            <p:nvPr/>
          </p:nvSpPr>
          <p:spPr bwMode="auto">
            <a:xfrm>
              <a:off x="-487363" y="2455863"/>
              <a:ext cx="26987"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41">
              <a:extLst>
                <a:ext uri="{FF2B5EF4-FFF2-40B4-BE49-F238E27FC236}">
                  <a16:creationId xmlns:a16="http://schemas.microsoft.com/office/drawing/2014/main" id="{0AA8EFF2-4F97-4404-9299-0E81256CB7A3}"/>
                </a:ext>
              </a:extLst>
            </p:cNvPr>
            <p:cNvSpPr>
              <a:spLocks noEditPoints="1"/>
            </p:cNvSpPr>
            <p:nvPr/>
          </p:nvSpPr>
          <p:spPr bwMode="auto">
            <a:xfrm>
              <a:off x="-441325" y="2360613"/>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1" name="Group 198">
            <a:extLst>
              <a:ext uri="{FF2B5EF4-FFF2-40B4-BE49-F238E27FC236}">
                <a16:creationId xmlns:a16="http://schemas.microsoft.com/office/drawing/2014/main" id="{9854DC43-FB2D-4410-935F-A2AFB8CAEBE9}"/>
              </a:ext>
            </a:extLst>
          </p:cNvPr>
          <p:cNvGrpSpPr>
            <a:grpSpLocks noChangeAspect="1"/>
          </p:cNvGrpSpPr>
          <p:nvPr/>
        </p:nvGrpSpPr>
        <p:grpSpPr>
          <a:xfrm>
            <a:off x="284400" y="4879041"/>
            <a:ext cx="285619" cy="285619"/>
            <a:chOff x="-1100138" y="4281488"/>
            <a:chExt cx="371475" cy="371475"/>
          </a:xfrm>
          <a:solidFill>
            <a:schemeClr val="bg1"/>
          </a:solidFill>
          <a:effectLst/>
        </p:grpSpPr>
        <p:sp>
          <p:nvSpPr>
            <p:cNvPr id="362" name="Freeform 19">
              <a:extLst>
                <a:ext uri="{FF2B5EF4-FFF2-40B4-BE49-F238E27FC236}">
                  <a16:creationId xmlns:a16="http://schemas.microsoft.com/office/drawing/2014/main" id="{BF358DF9-E252-4328-869E-617FFC048E14}"/>
                </a:ext>
              </a:extLst>
            </p:cNvPr>
            <p:cNvSpPr>
              <a:spLocks/>
            </p:cNvSpPr>
            <p:nvPr/>
          </p:nvSpPr>
          <p:spPr bwMode="auto">
            <a:xfrm>
              <a:off x="-1100138" y="4313238"/>
              <a:ext cx="371475" cy="339725"/>
            </a:xfrm>
            <a:custGeom>
              <a:avLst/>
              <a:gdLst>
                <a:gd name="T0" fmla="*/ 94 w 96"/>
                <a:gd name="T1" fmla="*/ 88 h 88"/>
                <a:gd name="T2" fmla="*/ 2 w 96"/>
                <a:gd name="T3" fmla="*/ 88 h 88"/>
                <a:gd name="T4" fmla="*/ 0 w 96"/>
                <a:gd name="T5" fmla="*/ 86 h 88"/>
                <a:gd name="T6" fmla="*/ 0 w 96"/>
                <a:gd name="T7" fmla="*/ 2 h 88"/>
                <a:gd name="T8" fmla="*/ 2 w 96"/>
                <a:gd name="T9" fmla="*/ 0 h 88"/>
                <a:gd name="T10" fmla="*/ 18 w 96"/>
                <a:gd name="T11" fmla="*/ 0 h 88"/>
                <a:gd name="T12" fmla="*/ 20 w 96"/>
                <a:gd name="T13" fmla="*/ 2 h 88"/>
                <a:gd name="T14" fmla="*/ 18 w 96"/>
                <a:gd name="T15" fmla="*/ 4 h 88"/>
                <a:gd name="T16" fmla="*/ 4 w 96"/>
                <a:gd name="T17" fmla="*/ 4 h 88"/>
                <a:gd name="T18" fmla="*/ 4 w 96"/>
                <a:gd name="T19" fmla="*/ 84 h 88"/>
                <a:gd name="T20" fmla="*/ 92 w 96"/>
                <a:gd name="T21" fmla="*/ 84 h 88"/>
                <a:gd name="T22" fmla="*/ 92 w 96"/>
                <a:gd name="T23" fmla="*/ 4 h 88"/>
                <a:gd name="T24" fmla="*/ 78 w 96"/>
                <a:gd name="T25" fmla="*/ 4 h 88"/>
                <a:gd name="T26" fmla="*/ 76 w 96"/>
                <a:gd name="T27" fmla="*/ 2 h 88"/>
                <a:gd name="T28" fmla="*/ 78 w 96"/>
                <a:gd name="T29" fmla="*/ 0 h 88"/>
                <a:gd name="T30" fmla="*/ 94 w 96"/>
                <a:gd name="T31" fmla="*/ 0 h 88"/>
                <a:gd name="T32" fmla="*/ 96 w 96"/>
                <a:gd name="T33" fmla="*/ 2 h 88"/>
                <a:gd name="T34" fmla="*/ 96 w 96"/>
                <a:gd name="T35" fmla="*/ 86 h 88"/>
                <a:gd name="T36" fmla="*/ 94 w 9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88">
                  <a:moveTo>
                    <a:pt x="94" y="88"/>
                  </a:moveTo>
                  <a:cubicBezTo>
                    <a:pt x="2" y="88"/>
                    <a:pt x="2" y="88"/>
                    <a:pt x="2" y="88"/>
                  </a:cubicBezTo>
                  <a:cubicBezTo>
                    <a:pt x="1" y="88"/>
                    <a:pt x="0" y="87"/>
                    <a:pt x="0" y="86"/>
                  </a:cubicBezTo>
                  <a:cubicBezTo>
                    <a:pt x="0" y="2"/>
                    <a:pt x="0" y="2"/>
                    <a:pt x="0" y="2"/>
                  </a:cubicBezTo>
                  <a:cubicBezTo>
                    <a:pt x="0" y="1"/>
                    <a:pt x="1" y="0"/>
                    <a:pt x="2" y="0"/>
                  </a:cubicBezTo>
                  <a:cubicBezTo>
                    <a:pt x="18" y="0"/>
                    <a:pt x="18" y="0"/>
                    <a:pt x="18" y="0"/>
                  </a:cubicBezTo>
                  <a:cubicBezTo>
                    <a:pt x="19" y="0"/>
                    <a:pt x="20" y="1"/>
                    <a:pt x="20" y="2"/>
                  </a:cubicBezTo>
                  <a:cubicBezTo>
                    <a:pt x="20" y="3"/>
                    <a:pt x="19" y="4"/>
                    <a:pt x="18" y="4"/>
                  </a:cubicBezTo>
                  <a:cubicBezTo>
                    <a:pt x="4" y="4"/>
                    <a:pt x="4" y="4"/>
                    <a:pt x="4" y="4"/>
                  </a:cubicBezTo>
                  <a:cubicBezTo>
                    <a:pt x="4" y="84"/>
                    <a:pt x="4" y="84"/>
                    <a:pt x="4" y="84"/>
                  </a:cubicBezTo>
                  <a:cubicBezTo>
                    <a:pt x="92" y="84"/>
                    <a:pt x="92" y="84"/>
                    <a:pt x="92" y="84"/>
                  </a:cubicBezTo>
                  <a:cubicBezTo>
                    <a:pt x="92" y="4"/>
                    <a:pt x="92" y="4"/>
                    <a:pt x="92" y="4"/>
                  </a:cubicBezTo>
                  <a:cubicBezTo>
                    <a:pt x="78" y="4"/>
                    <a:pt x="78" y="4"/>
                    <a:pt x="78" y="4"/>
                  </a:cubicBezTo>
                  <a:cubicBezTo>
                    <a:pt x="77" y="4"/>
                    <a:pt x="76" y="3"/>
                    <a:pt x="76" y="2"/>
                  </a:cubicBezTo>
                  <a:cubicBezTo>
                    <a:pt x="76" y="1"/>
                    <a:pt x="77" y="0"/>
                    <a:pt x="78" y="0"/>
                  </a:cubicBezTo>
                  <a:cubicBezTo>
                    <a:pt x="94" y="0"/>
                    <a:pt x="94" y="0"/>
                    <a:pt x="94" y="0"/>
                  </a:cubicBezTo>
                  <a:cubicBezTo>
                    <a:pt x="95" y="0"/>
                    <a:pt x="96" y="1"/>
                    <a:pt x="96" y="2"/>
                  </a:cubicBezTo>
                  <a:cubicBezTo>
                    <a:pt x="96" y="86"/>
                    <a:pt x="96" y="86"/>
                    <a:pt x="96" y="86"/>
                  </a:cubicBezTo>
                  <a:cubicBezTo>
                    <a:pt x="96" y="87"/>
                    <a:pt x="95" y="88"/>
                    <a:pt x="9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0">
              <a:extLst>
                <a:ext uri="{FF2B5EF4-FFF2-40B4-BE49-F238E27FC236}">
                  <a16:creationId xmlns:a16="http://schemas.microsoft.com/office/drawing/2014/main" id="{907A1EA1-9B53-4AE7-83C1-A6B257FB9934}"/>
                </a:ext>
              </a:extLst>
            </p:cNvPr>
            <p:cNvSpPr>
              <a:spLocks noEditPoints="1"/>
            </p:cNvSpPr>
            <p:nvPr/>
          </p:nvSpPr>
          <p:spPr bwMode="auto">
            <a:xfrm>
              <a:off x="-1038226"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1">
              <a:extLst>
                <a:ext uri="{FF2B5EF4-FFF2-40B4-BE49-F238E27FC236}">
                  <a16:creationId xmlns:a16="http://schemas.microsoft.com/office/drawing/2014/main" id="{5B4296C1-93DC-461C-B7F7-AB2CAD0F13C8}"/>
                </a:ext>
              </a:extLst>
            </p:cNvPr>
            <p:cNvSpPr>
              <a:spLocks noEditPoints="1"/>
            </p:cNvSpPr>
            <p:nvPr/>
          </p:nvSpPr>
          <p:spPr bwMode="auto">
            <a:xfrm>
              <a:off x="-852488"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2">
              <a:extLst>
                <a:ext uri="{FF2B5EF4-FFF2-40B4-BE49-F238E27FC236}">
                  <a16:creationId xmlns:a16="http://schemas.microsoft.com/office/drawing/2014/main" id="{9D9B4B6D-CD07-4617-95DD-6DB7B611152C}"/>
                </a:ext>
              </a:extLst>
            </p:cNvPr>
            <p:cNvSpPr>
              <a:spLocks/>
            </p:cNvSpPr>
            <p:nvPr/>
          </p:nvSpPr>
          <p:spPr bwMode="auto">
            <a:xfrm>
              <a:off x="-992188" y="4313238"/>
              <a:ext cx="155575" cy="1428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Freeform 23">
              <a:extLst>
                <a:ext uri="{FF2B5EF4-FFF2-40B4-BE49-F238E27FC236}">
                  <a16:creationId xmlns:a16="http://schemas.microsoft.com/office/drawing/2014/main" id="{C5A7E4B2-D906-4893-9958-C636044410FA}"/>
                </a:ext>
              </a:extLst>
            </p:cNvPr>
            <p:cNvSpPr>
              <a:spLocks/>
            </p:cNvSpPr>
            <p:nvPr/>
          </p:nvSpPr>
          <p:spPr bwMode="auto">
            <a:xfrm>
              <a:off x="-1100138" y="4389438"/>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4">
              <a:extLst>
                <a:ext uri="{FF2B5EF4-FFF2-40B4-BE49-F238E27FC236}">
                  <a16:creationId xmlns:a16="http://schemas.microsoft.com/office/drawing/2014/main" id="{BB4A609C-44D5-46EA-B278-E8CFAB88589A}"/>
                </a:ext>
              </a:extLst>
            </p:cNvPr>
            <p:cNvSpPr>
              <a:spLocks/>
            </p:cNvSpPr>
            <p:nvPr/>
          </p:nvSpPr>
          <p:spPr bwMode="auto">
            <a:xfrm>
              <a:off x="-992188" y="4451351"/>
              <a:ext cx="47625" cy="139700"/>
            </a:xfrm>
            <a:custGeom>
              <a:avLst/>
              <a:gdLst>
                <a:gd name="T0" fmla="*/ 10 w 12"/>
                <a:gd name="T1" fmla="*/ 36 h 36"/>
                <a:gd name="T2" fmla="*/ 8 w 12"/>
                <a:gd name="T3" fmla="*/ 34 h 36"/>
                <a:gd name="T4" fmla="*/ 8 w 12"/>
                <a:gd name="T5" fmla="*/ 7 h 36"/>
                <a:gd name="T6" fmla="*/ 3 w 12"/>
                <a:gd name="T7" fmla="*/ 11 h 36"/>
                <a:gd name="T8" fmla="*/ 1 w 12"/>
                <a:gd name="T9" fmla="*/ 11 h 36"/>
                <a:gd name="T10" fmla="*/ 1 w 12"/>
                <a:gd name="T11" fmla="*/ 9 h 36"/>
                <a:gd name="T12" fmla="*/ 9 w 12"/>
                <a:gd name="T13" fmla="*/ 1 h 36"/>
                <a:gd name="T14" fmla="*/ 11 w 12"/>
                <a:gd name="T15" fmla="*/ 0 h 36"/>
                <a:gd name="T16" fmla="*/ 12 w 12"/>
                <a:gd name="T17" fmla="*/ 2 h 36"/>
                <a:gd name="T18" fmla="*/ 12 w 12"/>
                <a:gd name="T19" fmla="*/ 34 h 36"/>
                <a:gd name="T20" fmla="*/ 10 w 1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6">
                  <a:moveTo>
                    <a:pt x="10" y="36"/>
                  </a:moveTo>
                  <a:cubicBezTo>
                    <a:pt x="9" y="36"/>
                    <a:pt x="8" y="35"/>
                    <a:pt x="8" y="34"/>
                  </a:cubicBezTo>
                  <a:cubicBezTo>
                    <a:pt x="8" y="7"/>
                    <a:pt x="8" y="7"/>
                    <a:pt x="8" y="7"/>
                  </a:cubicBezTo>
                  <a:cubicBezTo>
                    <a:pt x="3" y="11"/>
                    <a:pt x="3" y="11"/>
                    <a:pt x="3" y="11"/>
                  </a:cubicBezTo>
                  <a:cubicBezTo>
                    <a:pt x="3" y="12"/>
                    <a:pt x="1" y="12"/>
                    <a:pt x="1" y="11"/>
                  </a:cubicBezTo>
                  <a:cubicBezTo>
                    <a:pt x="0" y="11"/>
                    <a:pt x="0" y="9"/>
                    <a:pt x="1" y="9"/>
                  </a:cubicBezTo>
                  <a:cubicBezTo>
                    <a:pt x="9" y="1"/>
                    <a:pt x="9" y="1"/>
                    <a:pt x="9" y="1"/>
                  </a:cubicBezTo>
                  <a:cubicBezTo>
                    <a:pt x="9" y="0"/>
                    <a:pt x="10" y="0"/>
                    <a:pt x="11" y="0"/>
                  </a:cubicBezTo>
                  <a:cubicBezTo>
                    <a:pt x="12" y="0"/>
                    <a:pt x="12" y="1"/>
                    <a:pt x="12" y="2"/>
                  </a:cubicBezTo>
                  <a:cubicBezTo>
                    <a:pt x="12" y="34"/>
                    <a:pt x="12" y="34"/>
                    <a:pt x="12" y="34"/>
                  </a:cubicBezTo>
                  <a:cubicBezTo>
                    <a:pt x="12" y="35"/>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5">
              <a:extLst>
                <a:ext uri="{FF2B5EF4-FFF2-40B4-BE49-F238E27FC236}">
                  <a16:creationId xmlns:a16="http://schemas.microsoft.com/office/drawing/2014/main" id="{69B11815-C3AE-4785-B41D-B484F9E1491F}"/>
                </a:ext>
              </a:extLst>
            </p:cNvPr>
            <p:cNvSpPr>
              <a:spLocks/>
            </p:cNvSpPr>
            <p:nvPr/>
          </p:nvSpPr>
          <p:spPr bwMode="auto">
            <a:xfrm>
              <a:off x="-992188" y="4575176"/>
              <a:ext cx="77788"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6">
              <a:extLst>
                <a:ext uri="{FF2B5EF4-FFF2-40B4-BE49-F238E27FC236}">
                  <a16:creationId xmlns:a16="http://schemas.microsoft.com/office/drawing/2014/main" id="{DB483F1D-CE93-4308-96AF-E27F4F83FA21}"/>
                </a:ext>
              </a:extLst>
            </p:cNvPr>
            <p:cNvSpPr>
              <a:spLocks/>
            </p:cNvSpPr>
            <p:nvPr/>
          </p:nvSpPr>
          <p:spPr bwMode="auto">
            <a:xfrm>
              <a:off x="-922338" y="4451351"/>
              <a:ext cx="93663" cy="139700"/>
            </a:xfrm>
            <a:custGeom>
              <a:avLst/>
              <a:gdLst>
                <a:gd name="T0" fmla="*/ 10 w 24"/>
                <a:gd name="T1" fmla="*/ 36 h 36"/>
                <a:gd name="T2" fmla="*/ 9 w 24"/>
                <a:gd name="T3" fmla="*/ 36 h 36"/>
                <a:gd name="T4" fmla="*/ 8 w 24"/>
                <a:gd name="T5" fmla="*/ 33 h 36"/>
                <a:gd name="T6" fmla="*/ 19 w 24"/>
                <a:gd name="T7" fmla="*/ 4 h 36"/>
                <a:gd name="T8" fmla="*/ 4 w 24"/>
                <a:gd name="T9" fmla="*/ 4 h 36"/>
                <a:gd name="T10" fmla="*/ 4 w 24"/>
                <a:gd name="T11" fmla="*/ 6 h 36"/>
                <a:gd name="T12" fmla="*/ 2 w 24"/>
                <a:gd name="T13" fmla="*/ 8 h 36"/>
                <a:gd name="T14" fmla="*/ 0 w 24"/>
                <a:gd name="T15" fmla="*/ 6 h 36"/>
                <a:gd name="T16" fmla="*/ 0 w 24"/>
                <a:gd name="T17" fmla="*/ 2 h 36"/>
                <a:gd name="T18" fmla="*/ 2 w 24"/>
                <a:gd name="T19" fmla="*/ 0 h 36"/>
                <a:gd name="T20" fmla="*/ 22 w 24"/>
                <a:gd name="T21" fmla="*/ 0 h 36"/>
                <a:gd name="T22" fmla="*/ 24 w 24"/>
                <a:gd name="T23" fmla="*/ 1 h 36"/>
                <a:gd name="T24" fmla="*/ 24 w 24"/>
                <a:gd name="T25" fmla="*/ 3 h 36"/>
                <a:gd name="T26" fmla="*/ 12 w 24"/>
                <a:gd name="T27" fmla="*/ 35 h 36"/>
                <a:gd name="T28" fmla="*/ 10 w 2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6">
                  <a:moveTo>
                    <a:pt x="10" y="36"/>
                  </a:moveTo>
                  <a:cubicBezTo>
                    <a:pt x="10" y="36"/>
                    <a:pt x="10" y="36"/>
                    <a:pt x="9" y="36"/>
                  </a:cubicBezTo>
                  <a:cubicBezTo>
                    <a:pt x="8" y="35"/>
                    <a:pt x="8" y="34"/>
                    <a:pt x="8" y="33"/>
                  </a:cubicBezTo>
                  <a:cubicBezTo>
                    <a:pt x="19" y="4"/>
                    <a:pt x="19" y="4"/>
                    <a:pt x="19"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22" y="0"/>
                    <a:pt x="22" y="0"/>
                    <a:pt x="22" y="0"/>
                  </a:cubicBezTo>
                  <a:cubicBezTo>
                    <a:pt x="23" y="0"/>
                    <a:pt x="23" y="0"/>
                    <a:pt x="24" y="1"/>
                  </a:cubicBezTo>
                  <a:cubicBezTo>
                    <a:pt x="24" y="1"/>
                    <a:pt x="24" y="2"/>
                    <a:pt x="24" y="3"/>
                  </a:cubicBezTo>
                  <a:cubicBezTo>
                    <a:pt x="12" y="35"/>
                    <a:pt x="12" y="35"/>
                    <a:pt x="12" y="35"/>
                  </a:cubicBezTo>
                  <a:cubicBezTo>
                    <a:pt x="12" y="36"/>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7">
              <a:extLst>
                <a:ext uri="{FF2B5EF4-FFF2-40B4-BE49-F238E27FC236}">
                  <a16:creationId xmlns:a16="http://schemas.microsoft.com/office/drawing/2014/main" id="{2F2A5F97-C6E0-4F63-A687-10303FA4012C}"/>
                </a:ext>
              </a:extLst>
            </p:cNvPr>
            <p:cNvSpPr>
              <a:spLocks/>
            </p:cNvSpPr>
            <p:nvPr/>
          </p:nvSpPr>
          <p:spPr bwMode="auto">
            <a:xfrm>
              <a:off x="-898526" y="4513263"/>
              <a:ext cx="61913"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7" name="Group 5135">
            <a:extLst>
              <a:ext uri="{FF2B5EF4-FFF2-40B4-BE49-F238E27FC236}">
                <a16:creationId xmlns:a16="http://schemas.microsoft.com/office/drawing/2014/main" id="{49A60B8A-1C46-447A-A55F-FF5FFA3F51D3}"/>
              </a:ext>
            </a:extLst>
          </p:cNvPr>
          <p:cNvGrpSpPr>
            <a:grpSpLocks noChangeAspect="1"/>
          </p:cNvGrpSpPr>
          <p:nvPr/>
        </p:nvGrpSpPr>
        <p:grpSpPr>
          <a:xfrm>
            <a:off x="284400" y="3801969"/>
            <a:ext cx="297046" cy="285619"/>
            <a:chOff x="-465135" y="1112832"/>
            <a:chExt cx="371473" cy="357181"/>
          </a:xfrm>
          <a:solidFill>
            <a:schemeClr val="bg1"/>
          </a:solidFill>
          <a:effectLst/>
        </p:grpSpPr>
        <p:sp>
          <p:nvSpPr>
            <p:cNvPr id="328" name="Freeform 20">
              <a:extLst>
                <a:ext uri="{FF2B5EF4-FFF2-40B4-BE49-F238E27FC236}">
                  <a16:creationId xmlns:a16="http://schemas.microsoft.com/office/drawing/2014/main" id="{127F973B-31BD-4088-A46F-E7EC31BDB2A8}"/>
                </a:ext>
              </a:extLst>
            </p:cNvPr>
            <p:cNvSpPr>
              <a:spLocks/>
            </p:cNvSpPr>
            <p:nvPr/>
          </p:nvSpPr>
          <p:spPr bwMode="auto">
            <a:xfrm>
              <a:off x="-465135" y="1454137"/>
              <a:ext cx="371473"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1">
              <a:extLst>
                <a:ext uri="{FF2B5EF4-FFF2-40B4-BE49-F238E27FC236}">
                  <a16:creationId xmlns:a16="http://schemas.microsoft.com/office/drawing/2014/main" id="{D94E247B-9F8B-48CF-B2BA-3C2863F40DC1}"/>
                </a:ext>
              </a:extLst>
            </p:cNvPr>
            <p:cNvSpPr>
              <a:spLocks/>
            </p:cNvSpPr>
            <p:nvPr/>
          </p:nvSpPr>
          <p:spPr bwMode="auto">
            <a:xfrm>
              <a:off x="-449260" y="1376350"/>
              <a:ext cx="61913" cy="93662"/>
            </a:xfrm>
            <a:custGeom>
              <a:avLst/>
              <a:gdLst>
                <a:gd name="T0" fmla="*/ 14 w 16"/>
                <a:gd name="T1" fmla="*/ 24 h 24"/>
                <a:gd name="T2" fmla="*/ 12 w 16"/>
                <a:gd name="T3" fmla="*/ 22 h 24"/>
                <a:gd name="T4" fmla="*/ 12 w 16"/>
                <a:gd name="T5" fmla="*/ 4 h 24"/>
                <a:gd name="T6" fmla="*/ 4 w 16"/>
                <a:gd name="T7" fmla="*/ 4 h 24"/>
                <a:gd name="T8" fmla="*/ 4 w 16"/>
                <a:gd name="T9" fmla="*/ 22 h 24"/>
                <a:gd name="T10" fmla="*/ 2 w 16"/>
                <a:gd name="T11" fmla="*/ 24 h 24"/>
                <a:gd name="T12" fmla="*/ 0 w 16"/>
                <a:gd name="T13" fmla="*/ 22 h 24"/>
                <a:gd name="T14" fmla="*/ 0 w 16"/>
                <a:gd name="T15" fmla="*/ 2 h 24"/>
                <a:gd name="T16" fmla="*/ 2 w 16"/>
                <a:gd name="T17" fmla="*/ 0 h 24"/>
                <a:gd name="T18" fmla="*/ 14 w 16"/>
                <a:gd name="T19" fmla="*/ 0 h 24"/>
                <a:gd name="T20" fmla="*/ 16 w 16"/>
                <a:gd name="T21" fmla="*/ 2 h 24"/>
                <a:gd name="T22" fmla="*/ 16 w 16"/>
                <a:gd name="T23" fmla="*/ 22 h 24"/>
                <a:gd name="T24" fmla="*/ 14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4" y="24"/>
                  </a:moveTo>
                  <a:cubicBezTo>
                    <a:pt x="13" y="24"/>
                    <a:pt x="12" y="23"/>
                    <a:pt x="12" y="22"/>
                  </a:cubicBezTo>
                  <a:cubicBezTo>
                    <a:pt x="12" y="4"/>
                    <a:pt x="12" y="4"/>
                    <a:pt x="12" y="4"/>
                  </a:cubicBezTo>
                  <a:cubicBezTo>
                    <a:pt x="4" y="4"/>
                    <a:pt x="4" y="4"/>
                    <a:pt x="4" y="4"/>
                  </a:cubicBezTo>
                  <a:cubicBezTo>
                    <a:pt x="4" y="22"/>
                    <a:pt x="4" y="22"/>
                    <a:pt x="4" y="22"/>
                  </a:cubicBezTo>
                  <a:cubicBezTo>
                    <a:pt x="4" y="23"/>
                    <a:pt x="3"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2">
              <a:extLst>
                <a:ext uri="{FF2B5EF4-FFF2-40B4-BE49-F238E27FC236}">
                  <a16:creationId xmlns:a16="http://schemas.microsoft.com/office/drawing/2014/main" id="{85B95BD4-0F9A-472C-B18E-3F0FCAEF1B92}"/>
                </a:ext>
              </a:extLst>
            </p:cNvPr>
            <p:cNvSpPr>
              <a:spLocks/>
            </p:cNvSpPr>
            <p:nvPr/>
          </p:nvSpPr>
          <p:spPr bwMode="auto">
            <a:xfrm>
              <a:off x="-357185" y="1298564"/>
              <a:ext cx="61913" cy="171448"/>
            </a:xfrm>
            <a:custGeom>
              <a:avLst/>
              <a:gdLst>
                <a:gd name="T0" fmla="*/ 14 w 16"/>
                <a:gd name="T1" fmla="*/ 44 h 44"/>
                <a:gd name="T2" fmla="*/ 12 w 16"/>
                <a:gd name="T3" fmla="*/ 42 h 44"/>
                <a:gd name="T4" fmla="*/ 12 w 16"/>
                <a:gd name="T5" fmla="*/ 4 h 44"/>
                <a:gd name="T6" fmla="*/ 4 w 16"/>
                <a:gd name="T7" fmla="*/ 4 h 44"/>
                <a:gd name="T8" fmla="*/ 4 w 16"/>
                <a:gd name="T9" fmla="*/ 42 h 44"/>
                <a:gd name="T10" fmla="*/ 2 w 16"/>
                <a:gd name="T11" fmla="*/ 44 h 44"/>
                <a:gd name="T12" fmla="*/ 0 w 16"/>
                <a:gd name="T13" fmla="*/ 42 h 44"/>
                <a:gd name="T14" fmla="*/ 0 w 16"/>
                <a:gd name="T15" fmla="*/ 2 h 44"/>
                <a:gd name="T16" fmla="*/ 2 w 16"/>
                <a:gd name="T17" fmla="*/ 0 h 44"/>
                <a:gd name="T18" fmla="*/ 14 w 16"/>
                <a:gd name="T19" fmla="*/ 0 h 44"/>
                <a:gd name="T20" fmla="*/ 16 w 16"/>
                <a:gd name="T21" fmla="*/ 2 h 44"/>
                <a:gd name="T22" fmla="*/ 16 w 16"/>
                <a:gd name="T23" fmla="*/ 42 h 44"/>
                <a:gd name="T24" fmla="*/ 14 w 1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4">
                  <a:moveTo>
                    <a:pt x="14" y="44"/>
                  </a:moveTo>
                  <a:cubicBezTo>
                    <a:pt x="13" y="44"/>
                    <a:pt x="12" y="43"/>
                    <a:pt x="12" y="42"/>
                  </a:cubicBezTo>
                  <a:cubicBezTo>
                    <a:pt x="12" y="4"/>
                    <a:pt x="12" y="4"/>
                    <a:pt x="12" y="4"/>
                  </a:cubicBezTo>
                  <a:cubicBezTo>
                    <a:pt x="4" y="4"/>
                    <a:pt x="4" y="4"/>
                    <a:pt x="4" y="4"/>
                  </a:cubicBezTo>
                  <a:cubicBezTo>
                    <a:pt x="4" y="42"/>
                    <a:pt x="4" y="42"/>
                    <a:pt x="4" y="42"/>
                  </a:cubicBezTo>
                  <a:cubicBezTo>
                    <a:pt x="4" y="43"/>
                    <a:pt x="3"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3">
              <a:extLst>
                <a:ext uri="{FF2B5EF4-FFF2-40B4-BE49-F238E27FC236}">
                  <a16:creationId xmlns:a16="http://schemas.microsoft.com/office/drawing/2014/main" id="{0B059EF3-4AF0-4E08-A8BE-BC82E9445728}"/>
                </a:ext>
              </a:extLst>
            </p:cNvPr>
            <p:cNvSpPr>
              <a:spLocks/>
            </p:cNvSpPr>
            <p:nvPr/>
          </p:nvSpPr>
          <p:spPr bwMode="auto">
            <a:xfrm>
              <a:off x="-263525" y="1330313"/>
              <a:ext cx="61913" cy="139699"/>
            </a:xfrm>
            <a:custGeom>
              <a:avLst/>
              <a:gdLst>
                <a:gd name="T0" fmla="*/ 14 w 16"/>
                <a:gd name="T1" fmla="*/ 36 h 36"/>
                <a:gd name="T2" fmla="*/ 12 w 16"/>
                <a:gd name="T3" fmla="*/ 34 h 36"/>
                <a:gd name="T4" fmla="*/ 12 w 16"/>
                <a:gd name="T5" fmla="*/ 4 h 36"/>
                <a:gd name="T6" fmla="*/ 4 w 16"/>
                <a:gd name="T7" fmla="*/ 4 h 36"/>
                <a:gd name="T8" fmla="*/ 4 w 16"/>
                <a:gd name="T9" fmla="*/ 34 h 36"/>
                <a:gd name="T10" fmla="*/ 2 w 16"/>
                <a:gd name="T11" fmla="*/ 36 h 36"/>
                <a:gd name="T12" fmla="*/ 0 w 16"/>
                <a:gd name="T13" fmla="*/ 34 h 36"/>
                <a:gd name="T14" fmla="*/ 0 w 16"/>
                <a:gd name="T15" fmla="*/ 2 h 36"/>
                <a:gd name="T16" fmla="*/ 2 w 16"/>
                <a:gd name="T17" fmla="*/ 0 h 36"/>
                <a:gd name="T18" fmla="*/ 14 w 16"/>
                <a:gd name="T19" fmla="*/ 0 h 36"/>
                <a:gd name="T20" fmla="*/ 16 w 16"/>
                <a:gd name="T21" fmla="*/ 2 h 36"/>
                <a:gd name="T22" fmla="*/ 16 w 16"/>
                <a:gd name="T23" fmla="*/ 34 h 36"/>
                <a:gd name="T24" fmla="*/ 14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14" y="36"/>
                  </a:moveTo>
                  <a:cubicBezTo>
                    <a:pt x="13" y="36"/>
                    <a:pt x="12" y="35"/>
                    <a:pt x="12" y="34"/>
                  </a:cubicBezTo>
                  <a:cubicBezTo>
                    <a:pt x="12" y="4"/>
                    <a:pt x="12" y="4"/>
                    <a:pt x="12" y="4"/>
                  </a:cubicBezTo>
                  <a:cubicBezTo>
                    <a:pt x="4" y="4"/>
                    <a:pt x="4" y="4"/>
                    <a:pt x="4" y="4"/>
                  </a:cubicBezTo>
                  <a:cubicBezTo>
                    <a:pt x="4" y="34"/>
                    <a:pt x="4" y="34"/>
                    <a:pt x="4" y="34"/>
                  </a:cubicBezTo>
                  <a:cubicBezTo>
                    <a:pt x="4" y="35"/>
                    <a:pt x="3"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4">
              <a:extLst>
                <a:ext uri="{FF2B5EF4-FFF2-40B4-BE49-F238E27FC236}">
                  <a16:creationId xmlns:a16="http://schemas.microsoft.com/office/drawing/2014/main" id="{24262103-9671-4DDB-9B64-BFF846025EDB}"/>
                </a:ext>
              </a:extLst>
            </p:cNvPr>
            <p:cNvSpPr>
              <a:spLocks/>
            </p:cNvSpPr>
            <p:nvPr/>
          </p:nvSpPr>
          <p:spPr bwMode="auto">
            <a:xfrm>
              <a:off x="-171451" y="1220778"/>
              <a:ext cx="61913" cy="249235"/>
            </a:xfrm>
            <a:custGeom>
              <a:avLst/>
              <a:gdLst>
                <a:gd name="T0" fmla="*/ 14 w 16"/>
                <a:gd name="T1" fmla="*/ 64 h 64"/>
                <a:gd name="T2" fmla="*/ 12 w 16"/>
                <a:gd name="T3" fmla="*/ 62 h 64"/>
                <a:gd name="T4" fmla="*/ 12 w 16"/>
                <a:gd name="T5" fmla="*/ 4 h 64"/>
                <a:gd name="T6" fmla="*/ 4 w 16"/>
                <a:gd name="T7" fmla="*/ 4 h 64"/>
                <a:gd name="T8" fmla="*/ 4 w 16"/>
                <a:gd name="T9" fmla="*/ 62 h 64"/>
                <a:gd name="T10" fmla="*/ 2 w 16"/>
                <a:gd name="T11" fmla="*/ 64 h 64"/>
                <a:gd name="T12" fmla="*/ 0 w 16"/>
                <a:gd name="T13" fmla="*/ 62 h 64"/>
                <a:gd name="T14" fmla="*/ 0 w 16"/>
                <a:gd name="T15" fmla="*/ 2 h 64"/>
                <a:gd name="T16" fmla="*/ 2 w 16"/>
                <a:gd name="T17" fmla="*/ 0 h 64"/>
                <a:gd name="T18" fmla="*/ 14 w 16"/>
                <a:gd name="T19" fmla="*/ 0 h 64"/>
                <a:gd name="T20" fmla="*/ 16 w 16"/>
                <a:gd name="T21" fmla="*/ 2 h 64"/>
                <a:gd name="T22" fmla="*/ 16 w 16"/>
                <a:gd name="T23" fmla="*/ 62 h 64"/>
                <a:gd name="T24" fmla="*/ 14 w 1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4">
                  <a:moveTo>
                    <a:pt x="14" y="64"/>
                  </a:moveTo>
                  <a:cubicBezTo>
                    <a:pt x="13" y="64"/>
                    <a:pt x="12" y="63"/>
                    <a:pt x="12" y="62"/>
                  </a:cubicBezTo>
                  <a:cubicBezTo>
                    <a:pt x="12" y="4"/>
                    <a:pt x="12" y="4"/>
                    <a:pt x="12" y="4"/>
                  </a:cubicBezTo>
                  <a:cubicBezTo>
                    <a:pt x="4" y="4"/>
                    <a:pt x="4" y="4"/>
                    <a:pt x="4" y="4"/>
                  </a:cubicBezTo>
                  <a:cubicBezTo>
                    <a:pt x="4" y="62"/>
                    <a:pt x="4" y="62"/>
                    <a:pt x="4" y="62"/>
                  </a:cubicBezTo>
                  <a:cubicBezTo>
                    <a:pt x="4" y="63"/>
                    <a:pt x="3"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5">
              <a:extLst>
                <a:ext uri="{FF2B5EF4-FFF2-40B4-BE49-F238E27FC236}">
                  <a16:creationId xmlns:a16="http://schemas.microsoft.com/office/drawing/2014/main" id="{AF6F2A17-133A-47A6-8C84-12E3293A3FC6}"/>
                </a:ext>
              </a:extLst>
            </p:cNvPr>
            <p:cNvSpPr>
              <a:spLocks/>
            </p:cNvSpPr>
            <p:nvPr/>
          </p:nvSpPr>
          <p:spPr bwMode="auto">
            <a:xfrm>
              <a:off x="-427036" y="1112832"/>
              <a:ext cx="303212" cy="169861"/>
            </a:xfrm>
            <a:custGeom>
              <a:avLst/>
              <a:gdLst>
                <a:gd name="T0" fmla="*/ 2 w 78"/>
                <a:gd name="T1" fmla="*/ 44 h 44"/>
                <a:gd name="T2" fmla="*/ 0 w 78"/>
                <a:gd name="T3" fmla="*/ 43 h 44"/>
                <a:gd name="T4" fmla="*/ 1 w 78"/>
                <a:gd name="T5" fmla="*/ 40 h 44"/>
                <a:gd name="T6" fmla="*/ 25 w 78"/>
                <a:gd name="T7" fmla="*/ 20 h 44"/>
                <a:gd name="T8" fmla="*/ 27 w 78"/>
                <a:gd name="T9" fmla="*/ 20 h 44"/>
                <a:gd name="T10" fmla="*/ 49 w 78"/>
                <a:gd name="T11" fmla="*/ 28 h 44"/>
                <a:gd name="T12" fmla="*/ 75 w 78"/>
                <a:gd name="T13" fmla="*/ 1 h 44"/>
                <a:gd name="T14" fmla="*/ 77 w 78"/>
                <a:gd name="T15" fmla="*/ 1 h 44"/>
                <a:gd name="T16" fmla="*/ 77 w 78"/>
                <a:gd name="T17" fmla="*/ 3 h 44"/>
                <a:gd name="T18" fmla="*/ 51 w 78"/>
                <a:gd name="T19" fmla="*/ 31 h 44"/>
                <a:gd name="T20" fmla="*/ 49 w 78"/>
                <a:gd name="T21" fmla="*/ 32 h 44"/>
                <a:gd name="T22" fmla="*/ 26 w 78"/>
                <a:gd name="T23" fmla="*/ 24 h 44"/>
                <a:gd name="T24" fmla="*/ 3 w 78"/>
                <a:gd name="T25" fmla="*/ 44 h 44"/>
                <a:gd name="T26" fmla="*/ 2 w 7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44">
                  <a:moveTo>
                    <a:pt x="2" y="44"/>
                  </a:moveTo>
                  <a:cubicBezTo>
                    <a:pt x="1" y="44"/>
                    <a:pt x="1" y="44"/>
                    <a:pt x="0" y="43"/>
                  </a:cubicBezTo>
                  <a:cubicBezTo>
                    <a:pt x="0" y="42"/>
                    <a:pt x="0" y="41"/>
                    <a:pt x="1" y="40"/>
                  </a:cubicBezTo>
                  <a:cubicBezTo>
                    <a:pt x="25" y="20"/>
                    <a:pt x="25" y="20"/>
                    <a:pt x="25" y="20"/>
                  </a:cubicBezTo>
                  <a:cubicBezTo>
                    <a:pt x="25" y="20"/>
                    <a:pt x="26" y="20"/>
                    <a:pt x="27" y="20"/>
                  </a:cubicBezTo>
                  <a:cubicBezTo>
                    <a:pt x="49" y="28"/>
                    <a:pt x="49" y="28"/>
                    <a:pt x="49" y="28"/>
                  </a:cubicBezTo>
                  <a:cubicBezTo>
                    <a:pt x="75" y="1"/>
                    <a:pt x="75" y="1"/>
                    <a:pt x="75" y="1"/>
                  </a:cubicBezTo>
                  <a:cubicBezTo>
                    <a:pt x="75" y="0"/>
                    <a:pt x="77" y="0"/>
                    <a:pt x="77" y="1"/>
                  </a:cubicBezTo>
                  <a:cubicBezTo>
                    <a:pt x="78" y="1"/>
                    <a:pt x="78" y="3"/>
                    <a:pt x="77" y="3"/>
                  </a:cubicBezTo>
                  <a:cubicBezTo>
                    <a:pt x="51" y="31"/>
                    <a:pt x="51" y="31"/>
                    <a:pt x="51" y="31"/>
                  </a:cubicBezTo>
                  <a:cubicBezTo>
                    <a:pt x="51" y="32"/>
                    <a:pt x="50" y="32"/>
                    <a:pt x="49" y="32"/>
                  </a:cubicBezTo>
                  <a:cubicBezTo>
                    <a:pt x="26" y="24"/>
                    <a:pt x="26" y="24"/>
                    <a:pt x="26" y="24"/>
                  </a:cubicBezTo>
                  <a:cubicBezTo>
                    <a:pt x="3" y="44"/>
                    <a:pt x="3" y="44"/>
                    <a:pt x="3" y="44"/>
                  </a:cubicBezTo>
                  <a:cubicBezTo>
                    <a:pt x="3"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26">
              <a:extLst>
                <a:ext uri="{FF2B5EF4-FFF2-40B4-BE49-F238E27FC236}">
                  <a16:creationId xmlns:a16="http://schemas.microsoft.com/office/drawing/2014/main" id="{0988FFB1-86F7-400F-BB45-2528806429AA}"/>
                </a:ext>
              </a:extLst>
            </p:cNvPr>
            <p:cNvSpPr>
              <a:spLocks/>
            </p:cNvSpPr>
            <p:nvPr/>
          </p:nvSpPr>
          <p:spPr bwMode="auto">
            <a:xfrm>
              <a:off x="-201613" y="1112838"/>
              <a:ext cx="77788" cy="77787"/>
            </a:xfrm>
            <a:custGeom>
              <a:avLst/>
              <a:gdLst>
                <a:gd name="T0" fmla="*/ 18 w 20"/>
                <a:gd name="T1" fmla="*/ 20 h 20"/>
                <a:gd name="T2" fmla="*/ 16 w 20"/>
                <a:gd name="T3" fmla="*/ 18 h 20"/>
                <a:gd name="T4" fmla="*/ 16 w 20"/>
                <a:gd name="T5" fmla="*/ 4 h 20"/>
                <a:gd name="T6" fmla="*/ 2 w 20"/>
                <a:gd name="T7" fmla="*/ 4 h 20"/>
                <a:gd name="T8" fmla="*/ 0 w 20"/>
                <a:gd name="T9" fmla="*/ 2 h 20"/>
                <a:gd name="T10" fmla="*/ 2 w 20"/>
                <a:gd name="T11" fmla="*/ 0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17" y="20"/>
                    <a:pt x="16" y="19"/>
                    <a:pt x="16" y="18"/>
                  </a:cubicBezTo>
                  <a:cubicBezTo>
                    <a:pt x="16" y="4"/>
                    <a:pt x="16" y="4"/>
                    <a:pt x="16" y="4"/>
                  </a:cubicBez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3" name="Group 1029">
            <a:extLst>
              <a:ext uri="{FF2B5EF4-FFF2-40B4-BE49-F238E27FC236}">
                <a16:creationId xmlns:a16="http://schemas.microsoft.com/office/drawing/2014/main" id="{6339AB2E-E332-4722-B168-7008C113E0E5}"/>
              </a:ext>
            </a:extLst>
          </p:cNvPr>
          <p:cNvGrpSpPr>
            <a:grpSpLocks noChangeAspect="1"/>
          </p:cNvGrpSpPr>
          <p:nvPr/>
        </p:nvGrpSpPr>
        <p:grpSpPr>
          <a:xfrm>
            <a:off x="284400" y="5956111"/>
            <a:ext cx="286898" cy="285619"/>
            <a:chOff x="2532063" y="1825626"/>
            <a:chExt cx="355600" cy="354013"/>
          </a:xfrm>
          <a:solidFill>
            <a:schemeClr val="bg1"/>
          </a:solidFill>
          <a:effectLst/>
        </p:grpSpPr>
        <p:sp>
          <p:nvSpPr>
            <p:cNvPr id="1231" name="Freeform 14">
              <a:extLst>
                <a:ext uri="{FF2B5EF4-FFF2-40B4-BE49-F238E27FC236}">
                  <a16:creationId xmlns:a16="http://schemas.microsoft.com/office/drawing/2014/main" id="{64503E09-D29B-4260-AB39-A3B4B643BE09}"/>
                </a:ext>
              </a:extLst>
            </p:cNvPr>
            <p:cNvSpPr>
              <a:spLocks noEditPoints="1"/>
            </p:cNvSpPr>
            <p:nvPr/>
          </p:nvSpPr>
          <p:spPr bwMode="auto">
            <a:xfrm>
              <a:off x="2532063" y="1825626"/>
              <a:ext cx="355600" cy="354013"/>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232" name="Freeform 15">
              <a:extLst>
                <a:ext uri="{FF2B5EF4-FFF2-40B4-BE49-F238E27FC236}">
                  <a16:creationId xmlns:a16="http://schemas.microsoft.com/office/drawing/2014/main" id="{DAA869E6-CCEB-4696-AED7-23F690C218D8}"/>
                </a:ext>
              </a:extLst>
            </p:cNvPr>
            <p:cNvSpPr>
              <a:spLocks/>
            </p:cNvSpPr>
            <p:nvPr/>
          </p:nvSpPr>
          <p:spPr bwMode="auto">
            <a:xfrm>
              <a:off x="2655888" y="1909763"/>
              <a:ext cx="107950" cy="153988"/>
            </a:xfrm>
            <a:custGeom>
              <a:avLst/>
              <a:gdLst>
                <a:gd name="T0" fmla="*/ 14 w 28"/>
                <a:gd name="T1" fmla="*/ 40 h 40"/>
                <a:gd name="T2" fmla="*/ 12 w 28"/>
                <a:gd name="T3" fmla="*/ 38 h 40"/>
                <a:gd name="T4" fmla="*/ 12 w 28"/>
                <a:gd name="T5" fmla="*/ 26 h 40"/>
                <a:gd name="T6" fmla="*/ 14 w 28"/>
                <a:gd name="T7" fmla="*/ 24 h 40"/>
                <a:gd name="T8" fmla="*/ 24 w 28"/>
                <a:gd name="T9" fmla="*/ 14 h 40"/>
                <a:gd name="T10" fmla="*/ 14 w 28"/>
                <a:gd name="T11" fmla="*/ 4 h 40"/>
                <a:gd name="T12" fmla="*/ 4 w 28"/>
                <a:gd name="T13" fmla="*/ 14 h 40"/>
                <a:gd name="T14" fmla="*/ 2 w 28"/>
                <a:gd name="T15" fmla="*/ 16 h 40"/>
                <a:gd name="T16" fmla="*/ 0 w 28"/>
                <a:gd name="T17" fmla="*/ 14 h 40"/>
                <a:gd name="T18" fmla="*/ 14 w 28"/>
                <a:gd name="T19" fmla="*/ 0 h 40"/>
                <a:gd name="T20" fmla="*/ 28 w 28"/>
                <a:gd name="T21" fmla="*/ 14 h 40"/>
                <a:gd name="T22" fmla="*/ 16 w 28"/>
                <a:gd name="T23" fmla="*/ 28 h 40"/>
                <a:gd name="T24" fmla="*/ 16 w 28"/>
                <a:gd name="T25" fmla="*/ 38 h 40"/>
                <a:gd name="T26" fmla="*/ 14 w 28"/>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0">
                  <a:moveTo>
                    <a:pt x="14" y="40"/>
                  </a:moveTo>
                  <a:cubicBezTo>
                    <a:pt x="13" y="40"/>
                    <a:pt x="12" y="39"/>
                    <a:pt x="12" y="38"/>
                  </a:cubicBezTo>
                  <a:cubicBezTo>
                    <a:pt x="12" y="26"/>
                    <a:pt x="12" y="26"/>
                    <a:pt x="12" y="26"/>
                  </a:cubicBezTo>
                  <a:cubicBezTo>
                    <a:pt x="12" y="25"/>
                    <a:pt x="13" y="24"/>
                    <a:pt x="14" y="24"/>
                  </a:cubicBezTo>
                  <a:cubicBezTo>
                    <a:pt x="20" y="24"/>
                    <a:pt x="24" y="20"/>
                    <a:pt x="24" y="14"/>
                  </a:cubicBezTo>
                  <a:cubicBezTo>
                    <a:pt x="24" y="8"/>
                    <a:pt x="20" y="4"/>
                    <a:pt x="14" y="4"/>
                  </a:cubicBezTo>
                  <a:cubicBezTo>
                    <a:pt x="8" y="4"/>
                    <a:pt x="4" y="8"/>
                    <a:pt x="4" y="14"/>
                  </a:cubicBezTo>
                  <a:cubicBezTo>
                    <a:pt x="4" y="15"/>
                    <a:pt x="3" y="16"/>
                    <a:pt x="2" y="16"/>
                  </a:cubicBezTo>
                  <a:cubicBezTo>
                    <a:pt x="1" y="16"/>
                    <a:pt x="0" y="15"/>
                    <a:pt x="0" y="14"/>
                  </a:cubicBezTo>
                  <a:cubicBezTo>
                    <a:pt x="0" y="6"/>
                    <a:pt x="6" y="0"/>
                    <a:pt x="14" y="0"/>
                  </a:cubicBezTo>
                  <a:cubicBezTo>
                    <a:pt x="22" y="0"/>
                    <a:pt x="28" y="6"/>
                    <a:pt x="28" y="14"/>
                  </a:cubicBezTo>
                  <a:cubicBezTo>
                    <a:pt x="28" y="21"/>
                    <a:pt x="23" y="27"/>
                    <a:pt x="16" y="28"/>
                  </a:cubicBezTo>
                  <a:cubicBezTo>
                    <a:pt x="16" y="38"/>
                    <a:pt x="16" y="38"/>
                    <a:pt x="16" y="38"/>
                  </a:cubicBezTo>
                  <a:cubicBezTo>
                    <a:pt x="16" y="39"/>
                    <a:pt x="15" y="40"/>
                    <a:pt x="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1233" name="Oval 16">
              <a:extLst>
                <a:ext uri="{FF2B5EF4-FFF2-40B4-BE49-F238E27FC236}">
                  <a16:creationId xmlns:a16="http://schemas.microsoft.com/office/drawing/2014/main" id="{C5CFC876-2D8C-4A26-A488-88843D4E1267}"/>
                </a:ext>
              </a:extLst>
            </p:cNvPr>
            <p:cNvSpPr>
              <a:spLocks noChangeArrowheads="1"/>
            </p:cNvSpPr>
            <p:nvPr/>
          </p:nvSpPr>
          <p:spPr bwMode="auto">
            <a:xfrm>
              <a:off x="2693988" y="2079626"/>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415" name="Group 114">
            <a:extLst>
              <a:ext uri="{FF2B5EF4-FFF2-40B4-BE49-F238E27FC236}">
                <a16:creationId xmlns:a16="http://schemas.microsoft.com/office/drawing/2014/main" id="{11169D1A-F705-4F5F-9B4B-1AB2CB7DE588}"/>
              </a:ext>
            </a:extLst>
          </p:cNvPr>
          <p:cNvGrpSpPr>
            <a:grpSpLocks noChangeAspect="1"/>
          </p:cNvGrpSpPr>
          <p:nvPr/>
        </p:nvGrpSpPr>
        <p:grpSpPr>
          <a:xfrm>
            <a:off x="648948" y="2186361"/>
            <a:ext cx="330303" cy="285619"/>
            <a:chOff x="9732963" y="852488"/>
            <a:chExt cx="690563" cy="742951"/>
          </a:xfrm>
          <a:solidFill>
            <a:schemeClr val="bg1"/>
          </a:solidFill>
          <a:effectLst/>
        </p:grpSpPr>
        <p:sp>
          <p:nvSpPr>
            <p:cNvPr id="416" name="Freeform 22">
              <a:extLst>
                <a:ext uri="{FF2B5EF4-FFF2-40B4-BE49-F238E27FC236}">
                  <a16:creationId xmlns:a16="http://schemas.microsoft.com/office/drawing/2014/main" id="{EB64D436-92F4-4E3E-BC52-A4CF5D75351D}"/>
                </a:ext>
              </a:extLst>
            </p:cNvPr>
            <p:cNvSpPr>
              <a:spLocks noEditPoints="1"/>
            </p:cNvSpPr>
            <p:nvPr/>
          </p:nvSpPr>
          <p:spPr bwMode="auto">
            <a:xfrm>
              <a:off x="9969500" y="1144588"/>
              <a:ext cx="220663" cy="239713"/>
            </a:xfrm>
            <a:custGeom>
              <a:avLst/>
              <a:gdLst>
                <a:gd name="T0" fmla="*/ 177 w 416"/>
                <a:gd name="T1" fmla="*/ 55 h 451"/>
                <a:gd name="T2" fmla="*/ 133 w 416"/>
                <a:gd name="T3" fmla="*/ 72 h 451"/>
                <a:gd name="T4" fmla="*/ 97 w 416"/>
                <a:gd name="T5" fmla="*/ 103 h 451"/>
                <a:gd name="T6" fmla="*/ 72 w 416"/>
                <a:gd name="T7" fmla="*/ 143 h 451"/>
                <a:gd name="T8" fmla="*/ 56 w 416"/>
                <a:gd name="T9" fmla="*/ 191 h 451"/>
                <a:gd name="T10" fmla="*/ 53 w 416"/>
                <a:gd name="T11" fmla="*/ 244 h 451"/>
                <a:gd name="T12" fmla="*/ 64 w 416"/>
                <a:gd name="T13" fmla="*/ 293 h 451"/>
                <a:gd name="T14" fmla="*/ 87 w 416"/>
                <a:gd name="T15" fmla="*/ 336 h 451"/>
                <a:gd name="T16" fmla="*/ 120 w 416"/>
                <a:gd name="T17" fmla="*/ 369 h 451"/>
                <a:gd name="T18" fmla="*/ 161 w 416"/>
                <a:gd name="T19" fmla="*/ 391 h 451"/>
                <a:gd name="T20" fmla="*/ 208 w 416"/>
                <a:gd name="T21" fmla="*/ 399 h 451"/>
                <a:gd name="T22" fmla="*/ 254 w 416"/>
                <a:gd name="T23" fmla="*/ 391 h 451"/>
                <a:gd name="T24" fmla="*/ 295 w 416"/>
                <a:gd name="T25" fmla="*/ 369 h 451"/>
                <a:gd name="T26" fmla="*/ 328 w 416"/>
                <a:gd name="T27" fmla="*/ 336 h 451"/>
                <a:gd name="T28" fmla="*/ 351 w 416"/>
                <a:gd name="T29" fmla="*/ 293 h 451"/>
                <a:gd name="T30" fmla="*/ 362 w 416"/>
                <a:gd name="T31" fmla="*/ 244 h 451"/>
                <a:gd name="T32" fmla="*/ 360 w 416"/>
                <a:gd name="T33" fmla="*/ 191 h 451"/>
                <a:gd name="T34" fmla="*/ 344 w 416"/>
                <a:gd name="T35" fmla="*/ 143 h 451"/>
                <a:gd name="T36" fmla="*/ 318 w 416"/>
                <a:gd name="T37" fmla="*/ 103 h 451"/>
                <a:gd name="T38" fmla="*/ 282 w 416"/>
                <a:gd name="T39" fmla="*/ 72 h 451"/>
                <a:gd name="T40" fmla="*/ 239 w 416"/>
                <a:gd name="T41" fmla="*/ 55 h 451"/>
                <a:gd name="T42" fmla="*/ 208 w 416"/>
                <a:gd name="T43" fmla="*/ 451 h 451"/>
                <a:gd name="T44" fmla="*/ 146 w 416"/>
                <a:gd name="T45" fmla="*/ 441 h 451"/>
                <a:gd name="T46" fmla="*/ 92 w 416"/>
                <a:gd name="T47" fmla="*/ 412 h 451"/>
                <a:gd name="T48" fmla="*/ 47 w 416"/>
                <a:gd name="T49" fmla="*/ 369 h 451"/>
                <a:gd name="T50" fmla="*/ 17 w 416"/>
                <a:gd name="T51" fmla="*/ 313 h 451"/>
                <a:gd name="T52" fmla="*/ 1 w 416"/>
                <a:gd name="T53" fmla="*/ 248 h 451"/>
                <a:gd name="T54" fmla="*/ 4 w 416"/>
                <a:gd name="T55" fmla="*/ 180 h 451"/>
                <a:gd name="T56" fmla="*/ 25 w 416"/>
                <a:gd name="T57" fmla="*/ 119 h 451"/>
                <a:gd name="T58" fmla="*/ 61 w 416"/>
                <a:gd name="T59" fmla="*/ 65 h 451"/>
                <a:gd name="T60" fmla="*/ 109 w 416"/>
                <a:gd name="T61" fmla="*/ 26 h 451"/>
                <a:gd name="T62" fmla="*/ 167 w 416"/>
                <a:gd name="T63" fmla="*/ 5 h 451"/>
                <a:gd name="T64" fmla="*/ 228 w 416"/>
                <a:gd name="T65" fmla="*/ 0 h 451"/>
                <a:gd name="T66" fmla="*/ 289 w 416"/>
                <a:gd name="T67" fmla="*/ 18 h 451"/>
                <a:gd name="T68" fmla="*/ 339 w 416"/>
                <a:gd name="T69" fmla="*/ 51 h 451"/>
                <a:gd name="T70" fmla="*/ 380 w 416"/>
                <a:gd name="T71" fmla="*/ 100 h 451"/>
                <a:gd name="T72" fmla="*/ 406 w 416"/>
                <a:gd name="T73" fmla="*/ 159 h 451"/>
                <a:gd name="T74" fmla="*/ 416 w 416"/>
                <a:gd name="T75" fmla="*/ 225 h 451"/>
                <a:gd name="T76" fmla="*/ 406 w 416"/>
                <a:gd name="T77" fmla="*/ 293 h 451"/>
                <a:gd name="T78" fmla="*/ 380 w 416"/>
                <a:gd name="T79" fmla="*/ 352 h 451"/>
                <a:gd name="T80" fmla="*/ 339 w 416"/>
                <a:gd name="T81" fmla="*/ 399 h 451"/>
                <a:gd name="T82" fmla="*/ 289 w 416"/>
                <a:gd name="T83" fmla="*/ 434 h 451"/>
                <a:gd name="T84" fmla="*/ 228 w 416"/>
                <a:gd name="T85" fmla="*/ 45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1">
                  <a:moveTo>
                    <a:pt x="208" y="52"/>
                  </a:moveTo>
                  <a:lnTo>
                    <a:pt x="192" y="52"/>
                  </a:lnTo>
                  <a:lnTo>
                    <a:pt x="177" y="55"/>
                  </a:lnTo>
                  <a:lnTo>
                    <a:pt x="161" y="59"/>
                  </a:lnTo>
                  <a:lnTo>
                    <a:pt x="148" y="65"/>
                  </a:lnTo>
                  <a:lnTo>
                    <a:pt x="133" y="72"/>
                  </a:lnTo>
                  <a:lnTo>
                    <a:pt x="120" y="81"/>
                  </a:lnTo>
                  <a:lnTo>
                    <a:pt x="109" y="91"/>
                  </a:lnTo>
                  <a:lnTo>
                    <a:pt x="97" y="103"/>
                  </a:lnTo>
                  <a:lnTo>
                    <a:pt x="87" y="116"/>
                  </a:lnTo>
                  <a:lnTo>
                    <a:pt x="79" y="129"/>
                  </a:lnTo>
                  <a:lnTo>
                    <a:pt x="72" y="143"/>
                  </a:lnTo>
                  <a:lnTo>
                    <a:pt x="64" y="157"/>
                  </a:lnTo>
                  <a:lnTo>
                    <a:pt x="60" y="173"/>
                  </a:lnTo>
                  <a:lnTo>
                    <a:pt x="56" y="191"/>
                  </a:lnTo>
                  <a:lnTo>
                    <a:pt x="53" y="208"/>
                  </a:lnTo>
                  <a:lnTo>
                    <a:pt x="53" y="225"/>
                  </a:lnTo>
                  <a:lnTo>
                    <a:pt x="53" y="244"/>
                  </a:lnTo>
                  <a:lnTo>
                    <a:pt x="56" y="260"/>
                  </a:lnTo>
                  <a:lnTo>
                    <a:pt x="60" y="277"/>
                  </a:lnTo>
                  <a:lnTo>
                    <a:pt x="64" y="293"/>
                  </a:lnTo>
                  <a:lnTo>
                    <a:pt x="72" y="309"/>
                  </a:lnTo>
                  <a:lnTo>
                    <a:pt x="79" y="323"/>
                  </a:lnTo>
                  <a:lnTo>
                    <a:pt x="87" y="336"/>
                  </a:lnTo>
                  <a:lnTo>
                    <a:pt x="97" y="347"/>
                  </a:lnTo>
                  <a:lnTo>
                    <a:pt x="109" y="359"/>
                  </a:lnTo>
                  <a:lnTo>
                    <a:pt x="120" y="369"/>
                  </a:lnTo>
                  <a:lnTo>
                    <a:pt x="133" y="378"/>
                  </a:lnTo>
                  <a:lnTo>
                    <a:pt x="148" y="385"/>
                  </a:lnTo>
                  <a:lnTo>
                    <a:pt x="161" y="391"/>
                  </a:lnTo>
                  <a:lnTo>
                    <a:pt x="177" y="395"/>
                  </a:lnTo>
                  <a:lnTo>
                    <a:pt x="192" y="398"/>
                  </a:lnTo>
                  <a:lnTo>
                    <a:pt x="208" y="399"/>
                  </a:lnTo>
                  <a:lnTo>
                    <a:pt x="224" y="398"/>
                  </a:lnTo>
                  <a:lnTo>
                    <a:pt x="239" y="395"/>
                  </a:lnTo>
                  <a:lnTo>
                    <a:pt x="254" y="391"/>
                  </a:lnTo>
                  <a:lnTo>
                    <a:pt x="267" y="385"/>
                  </a:lnTo>
                  <a:lnTo>
                    <a:pt x="282" y="378"/>
                  </a:lnTo>
                  <a:lnTo>
                    <a:pt x="295" y="369"/>
                  </a:lnTo>
                  <a:lnTo>
                    <a:pt x="306" y="359"/>
                  </a:lnTo>
                  <a:lnTo>
                    <a:pt x="318" y="347"/>
                  </a:lnTo>
                  <a:lnTo>
                    <a:pt x="328" y="336"/>
                  </a:lnTo>
                  <a:lnTo>
                    <a:pt x="336" y="323"/>
                  </a:lnTo>
                  <a:lnTo>
                    <a:pt x="344" y="309"/>
                  </a:lnTo>
                  <a:lnTo>
                    <a:pt x="351" y="293"/>
                  </a:lnTo>
                  <a:lnTo>
                    <a:pt x="355" y="277"/>
                  </a:lnTo>
                  <a:lnTo>
                    <a:pt x="360" y="260"/>
                  </a:lnTo>
                  <a:lnTo>
                    <a:pt x="362" y="244"/>
                  </a:lnTo>
                  <a:lnTo>
                    <a:pt x="362" y="225"/>
                  </a:lnTo>
                  <a:lnTo>
                    <a:pt x="362" y="208"/>
                  </a:lnTo>
                  <a:lnTo>
                    <a:pt x="360" y="191"/>
                  </a:lnTo>
                  <a:lnTo>
                    <a:pt x="355" y="173"/>
                  </a:lnTo>
                  <a:lnTo>
                    <a:pt x="351" y="157"/>
                  </a:lnTo>
                  <a:lnTo>
                    <a:pt x="344" y="143"/>
                  </a:lnTo>
                  <a:lnTo>
                    <a:pt x="336" y="129"/>
                  </a:lnTo>
                  <a:lnTo>
                    <a:pt x="328" y="116"/>
                  </a:lnTo>
                  <a:lnTo>
                    <a:pt x="318" y="103"/>
                  </a:lnTo>
                  <a:lnTo>
                    <a:pt x="306" y="91"/>
                  </a:lnTo>
                  <a:lnTo>
                    <a:pt x="295" y="81"/>
                  </a:lnTo>
                  <a:lnTo>
                    <a:pt x="282" y="72"/>
                  </a:lnTo>
                  <a:lnTo>
                    <a:pt x="267" y="65"/>
                  </a:lnTo>
                  <a:lnTo>
                    <a:pt x="254" y="59"/>
                  </a:lnTo>
                  <a:lnTo>
                    <a:pt x="239" y="55"/>
                  </a:lnTo>
                  <a:lnTo>
                    <a:pt x="224" y="52"/>
                  </a:lnTo>
                  <a:lnTo>
                    <a:pt x="208" y="52"/>
                  </a:lnTo>
                  <a:close/>
                  <a:moveTo>
                    <a:pt x="208" y="451"/>
                  </a:moveTo>
                  <a:lnTo>
                    <a:pt x="187" y="450"/>
                  </a:lnTo>
                  <a:lnTo>
                    <a:pt x="167" y="447"/>
                  </a:lnTo>
                  <a:lnTo>
                    <a:pt x="146" y="441"/>
                  </a:lnTo>
                  <a:lnTo>
                    <a:pt x="126" y="434"/>
                  </a:lnTo>
                  <a:lnTo>
                    <a:pt x="109" y="424"/>
                  </a:lnTo>
                  <a:lnTo>
                    <a:pt x="92" y="412"/>
                  </a:lnTo>
                  <a:lnTo>
                    <a:pt x="76" y="399"/>
                  </a:lnTo>
                  <a:lnTo>
                    <a:pt x="61" y="385"/>
                  </a:lnTo>
                  <a:lnTo>
                    <a:pt x="47" y="369"/>
                  </a:lnTo>
                  <a:lnTo>
                    <a:pt x="36" y="352"/>
                  </a:lnTo>
                  <a:lnTo>
                    <a:pt x="25" y="333"/>
                  </a:lnTo>
                  <a:lnTo>
                    <a:pt x="17" y="313"/>
                  </a:lnTo>
                  <a:lnTo>
                    <a:pt x="10" y="293"/>
                  </a:lnTo>
                  <a:lnTo>
                    <a:pt x="4" y="271"/>
                  </a:lnTo>
                  <a:lnTo>
                    <a:pt x="1" y="248"/>
                  </a:lnTo>
                  <a:lnTo>
                    <a:pt x="0" y="225"/>
                  </a:lnTo>
                  <a:lnTo>
                    <a:pt x="1" y="202"/>
                  </a:lnTo>
                  <a:lnTo>
                    <a:pt x="4" y="180"/>
                  </a:lnTo>
                  <a:lnTo>
                    <a:pt x="10" y="159"/>
                  </a:lnTo>
                  <a:lnTo>
                    <a:pt x="17" y="137"/>
                  </a:lnTo>
                  <a:lnTo>
                    <a:pt x="25" y="119"/>
                  </a:lnTo>
                  <a:lnTo>
                    <a:pt x="36" y="100"/>
                  </a:lnTo>
                  <a:lnTo>
                    <a:pt x="47" y="83"/>
                  </a:lnTo>
                  <a:lnTo>
                    <a:pt x="61" y="65"/>
                  </a:lnTo>
                  <a:lnTo>
                    <a:pt x="76" y="51"/>
                  </a:lnTo>
                  <a:lnTo>
                    <a:pt x="92" y="38"/>
                  </a:lnTo>
                  <a:lnTo>
                    <a:pt x="109" y="26"/>
                  </a:lnTo>
                  <a:lnTo>
                    <a:pt x="126" y="18"/>
                  </a:lnTo>
                  <a:lnTo>
                    <a:pt x="146" y="11"/>
                  </a:lnTo>
                  <a:lnTo>
                    <a:pt x="167" y="5"/>
                  </a:lnTo>
                  <a:lnTo>
                    <a:pt x="187" y="0"/>
                  </a:lnTo>
                  <a:lnTo>
                    <a:pt x="208" y="0"/>
                  </a:lnTo>
                  <a:lnTo>
                    <a:pt x="228" y="0"/>
                  </a:lnTo>
                  <a:lnTo>
                    <a:pt x="250" y="5"/>
                  </a:lnTo>
                  <a:lnTo>
                    <a:pt x="269" y="11"/>
                  </a:lnTo>
                  <a:lnTo>
                    <a:pt x="289" y="18"/>
                  </a:lnTo>
                  <a:lnTo>
                    <a:pt x="306" y="26"/>
                  </a:lnTo>
                  <a:lnTo>
                    <a:pt x="324" y="38"/>
                  </a:lnTo>
                  <a:lnTo>
                    <a:pt x="339" y="51"/>
                  </a:lnTo>
                  <a:lnTo>
                    <a:pt x="354" y="65"/>
                  </a:lnTo>
                  <a:lnTo>
                    <a:pt x="368" y="83"/>
                  </a:lnTo>
                  <a:lnTo>
                    <a:pt x="380" y="100"/>
                  </a:lnTo>
                  <a:lnTo>
                    <a:pt x="390" y="119"/>
                  </a:lnTo>
                  <a:lnTo>
                    <a:pt x="398" y="137"/>
                  </a:lnTo>
                  <a:lnTo>
                    <a:pt x="406" y="159"/>
                  </a:lnTo>
                  <a:lnTo>
                    <a:pt x="411" y="180"/>
                  </a:lnTo>
                  <a:lnTo>
                    <a:pt x="414" y="202"/>
                  </a:lnTo>
                  <a:lnTo>
                    <a:pt x="416" y="225"/>
                  </a:lnTo>
                  <a:lnTo>
                    <a:pt x="414" y="248"/>
                  </a:lnTo>
                  <a:lnTo>
                    <a:pt x="411" y="271"/>
                  </a:lnTo>
                  <a:lnTo>
                    <a:pt x="406" y="293"/>
                  </a:lnTo>
                  <a:lnTo>
                    <a:pt x="398" y="313"/>
                  </a:lnTo>
                  <a:lnTo>
                    <a:pt x="390" y="333"/>
                  </a:lnTo>
                  <a:lnTo>
                    <a:pt x="380" y="352"/>
                  </a:lnTo>
                  <a:lnTo>
                    <a:pt x="368" y="369"/>
                  </a:lnTo>
                  <a:lnTo>
                    <a:pt x="354" y="385"/>
                  </a:lnTo>
                  <a:lnTo>
                    <a:pt x="339" y="399"/>
                  </a:lnTo>
                  <a:lnTo>
                    <a:pt x="324" y="412"/>
                  </a:lnTo>
                  <a:lnTo>
                    <a:pt x="306" y="424"/>
                  </a:lnTo>
                  <a:lnTo>
                    <a:pt x="289" y="434"/>
                  </a:lnTo>
                  <a:lnTo>
                    <a:pt x="269" y="441"/>
                  </a:lnTo>
                  <a:lnTo>
                    <a:pt x="250" y="447"/>
                  </a:lnTo>
                  <a:lnTo>
                    <a:pt x="228" y="450"/>
                  </a:lnTo>
                  <a:lnTo>
                    <a:pt x="208"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3">
              <a:extLst>
                <a:ext uri="{FF2B5EF4-FFF2-40B4-BE49-F238E27FC236}">
                  <a16:creationId xmlns:a16="http://schemas.microsoft.com/office/drawing/2014/main" id="{41AC34A0-7E12-446B-B2AA-DCF6C365CF11}"/>
                </a:ext>
              </a:extLst>
            </p:cNvPr>
            <p:cNvSpPr>
              <a:spLocks/>
            </p:cNvSpPr>
            <p:nvPr/>
          </p:nvSpPr>
          <p:spPr bwMode="auto">
            <a:xfrm>
              <a:off x="9893300" y="1358901"/>
              <a:ext cx="373063" cy="236538"/>
            </a:xfrm>
            <a:custGeom>
              <a:avLst/>
              <a:gdLst>
                <a:gd name="T0" fmla="*/ 0 w 704"/>
                <a:gd name="T1" fmla="*/ 445 h 445"/>
                <a:gd name="T2" fmla="*/ 0 w 704"/>
                <a:gd name="T3" fmla="*/ 217 h 445"/>
                <a:gd name="T4" fmla="*/ 5 w 704"/>
                <a:gd name="T5" fmla="*/ 184 h 445"/>
                <a:gd name="T6" fmla="*/ 18 w 704"/>
                <a:gd name="T7" fmla="*/ 157 h 445"/>
                <a:gd name="T8" fmla="*/ 34 w 704"/>
                <a:gd name="T9" fmla="*/ 137 h 445"/>
                <a:gd name="T10" fmla="*/ 54 w 704"/>
                <a:gd name="T11" fmla="*/ 120 h 445"/>
                <a:gd name="T12" fmla="*/ 79 w 704"/>
                <a:gd name="T13" fmla="*/ 107 h 445"/>
                <a:gd name="T14" fmla="*/ 119 w 704"/>
                <a:gd name="T15" fmla="*/ 92 h 445"/>
                <a:gd name="T16" fmla="*/ 161 w 704"/>
                <a:gd name="T17" fmla="*/ 79 h 445"/>
                <a:gd name="T18" fmla="*/ 185 w 704"/>
                <a:gd name="T19" fmla="*/ 72 h 445"/>
                <a:gd name="T20" fmla="*/ 208 w 704"/>
                <a:gd name="T21" fmla="*/ 63 h 445"/>
                <a:gd name="T22" fmla="*/ 224 w 704"/>
                <a:gd name="T23" fmla="*/ 55 h 445"/>
                <a:gd name="T24" fmla="*/ 240 w 704"/>
                <a:gd name="T25" fmla="*/ 39 h 445"/>
                <a:gd name="T26" fmla="*/ 253 w 704"/>
                <a:gd name="T27" fmla="*/ 12 h 445"/>
                <a:gd name="T28" fmla="*/ 305 w 704"/>
                <a:gd name="T29" fmla="*/ 0 h 445"/>
                <a:gd name="T30" fmla="*/ 302 w 704"/>
                <a:gd name="T31" fmla="*/ 27 h 445"/>
                <a:gd name="T32" fmla="*/ 289 w 704"/>
                <a:gd name="T33" fmla="*/ 61 h 445"/>
                <a:gd name="T34" fmla="*/ 277 w 704"/>
                <a:gd name="T35" fmla="*/ 76 h 445"/>
                <a:gd name="T36" fmla="*/ 262 w 704"/>
                <a:gd name="T37" fmla="*/ 92 h 445"/>
                <a:gd name="T38" fmla="*/ 240 w 704"/>
                <a:gd name="T39" fmla="*/ 107 h 445"/>
                <a:gd name="T40" fmla="*/ 214 w 704"/>
                <a:gd name="T41" fmla="*/ 117 h 445"/>
                <a:gd name="T42" fmla="*/ 188 w 704"/>
                <a:gd name="T43" fmla="*/ 125 h 445"/>
                <a:gd name="T44" fmla="*/ 164 w 704"/>
                <a:gd name="T45" fmla="*/ 133 h 445"/>
                <a:gd name="T46" fmla="*/ 110 w 704"/>
                <a:gd name="T47" fmla="*/ 150 h 445"/>
                <a:gd name="T48" fmla="*/ 90 w 704"/>
                <a:gd name="T49" fmla="*/ 160 h 445"/>
                <a:gd name="T50" fmla="*/ 76 w 704"/>
                <a:gd name="T51" fmla="*/ 169 h 445"/>
                <a:gd name="T52" fmla="*/ 64 w 704"/>
                <a:gd name="T53" fmla="*/ 181 h 445"/>
                <a:gd name="T54" fmla="*/ 57 w 704"/>
                <a:gd name="T55" fmla="*/ 196 h 445"/>
                <a:gd name="T56" fmla="*/ 53 w 704"/>
                <a:gd name="T57" fmla="*/ 215 h 445"/>
                <a:gd name="T58" fmla="*/ 51 w 704"/>
                <a:gd name="T59" fmla="*/ 238 h 445"/>
                <a:gd name="T60" fmla="*/ 652 w 704"/>
                <a:gd name="T61" fmla="*/ 393 h 445"/>
                <a:gd name="T62" fmla="*/ 652 w 704"/>
                <a:gd name="T63" fmla="*/ 226 h 445"/>
                <a:gd name="T64" fmla="*/ 649 w 704"/>
                <a:gd name="T65" fmla="*/ 205 h 445"/>
                <a:gd name="T66" fmla="*/ 643 w 704"/>
                <a:gd name="T67" fmla="*/ 189 h 445"/>
                <a:gd name="T68" fmla="*/ 635 w 704"/>
                <a:gd name="T69" fmla="*/ 174 h 445"/>
                <a:gd name="T70" fmla="*/ 620 w 704"/>
                <a:gd name="T71" fmla="*/ 164 h 445"/>
                <a:gd name="T72" fmla="*/ 604 w 704"/>
                <a:gd name="T73" fmla="*/ 154 h 445"/>
                <a:gd name="T74" fmla="*/ 570 w 704"/>
                <a:gd name="T75" fmla="*/ 143 h 445"/>
                <a:gd name="T76" fmla="*/ 528 w 704"/>
                <a:gd name="T77" fmla="*/ 130 h 445"/>
                <a:gd name="T78" fmla="*/ 502 w 704"/>
                <a:gd name="T79" fmla="*/ 121 h 445"/>
                <a:gd name="T80" fmla="*/ 475 w 704"/>
                <a:gd name="T81" fmla="*/ 112 h 445"/>
                <a:gd name="T82" fmla="*/ 452 w 704"/>
                <a:gd name="T83" fmla="*/ 99 h 445"/>
                <a:gd name="T84" fmla="*/ 433 w 704"/>
                <a:gd name="T85" fmla="*/ 85 h 445"/>
                <a:gd name="T86" fmla="*/ 420 w 704"/>
                <a:gd name="T87" fmla="*/ 69 h 445"/>
                <a:gd name="T88" fmla="*/ 406 w 704"/>
                <a:gd name="T89" fmla="*/ 43 h 445"/>
                <a:gd name="T90" fmla="*/ 398 w 704"/>
                <a:gd name="T91" fmla="*/ 13 h 445"/>
                <a:gd name="T92" fmla="*/ 450 w 704"/>
                <a:gd name="T93" fmla="*/ 3 h 445"/>
                <a:gd name="T94" fmla="*/ 452 w 704"/>
                <a:gd name="T95" fmla="*/ 13 h 445"/>
                <a:gd name="T96" fmla="*/ 457 w 704"/>
                <a:gd name="T97" fmla="*/ 30 h 445"/>
                <a:gd name="T98" fmla="*/ 473 w 704"/>
                <a:gd name="T99" fmla="*/ 50 h 445"/>
                <a:gd name="T100" fmla="*/ 486 w 704"/>
                <a:gd name="T101" fmla="*/ 61 h 445"/>
                <a:gd name="T102" fmla="*/ 505 w 704"/>
                <a:gd name="T103" fmla="*/ 68 h 445"/>
                <a:gd name="T104" fmla="*/ 531 w 704"/>
                <a:gd name="T105" fmla="*/ 76 h 445"/>
                <a:gd name="T106" fmla="*/ 554 w 704"/>
                <a:gd name="T107" fmla="*/ 84 h 445"/>
                <a:gd name="T108" fmla="*/ 612 w 704"/>
                <a:gd name="T109" fmla="*/ 102 h 445"/>
                <a:gd name="T110" fmla="*/ 637 w 704"/>
                <a:gd name="T111" fmla="*/ 114 h 445"/>
                <a:gd name="T112" fmla="*/ 659 w 704"/>
                <a:gd name="T113" fmla="*/ 128 h 445"/>
                <a:gd name="T114" fmla="*/ 678 w 704"/>
                <a:gd name="T115" fmla="*/ 147 h 445"/>
                <a:gd name="T116" fmla="*/ 692 w 704"/>
                <a:gd name="T117" fmla="*/ 170 h 445"/>
                <a:gd name="T118" fmla="*/ 701 w 704"/>
                <a:gd name="T119" fmla="*/ 200 h 445"/>
                <a:gd name="T120" fmla="*/ 704 w 704"/>
                <a:gd name="T121" fmla="*/ 238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5">
                  <a:moveTo>
                    <a:pt x="704" y="445"/>
                  </a:moveTo>
                  <a:lnTo>
                    <a:pt x="0" y="445"/>
                  </a:lnTo>
                  <a:lnTo>
                    <a:pt x="0" y="238"/>
                  </a:lnTo>
                  <a:lnTo>
                    <a:pt x="0" y="217"/>
                  </a:lnTo>
                  <a:lnTo>
                    <a:pt x="2" y="200"/>
                  </a:lnTo>
                  <a:lnTo>
                    <a:pt x="5" y="184"/>
                  </a:lnTo>
                  <a:lnTo>
                    <a:pt x="11" y="170"/>
                  </a:lnTo>
                  <a:lnTo>
                    <a:pt x="18" y="157"/>
                  </a:lnTo>
                  <a:lnTo>
                    <a:pt x="25" y="147"/>
                  </a:lnTo>
                  <a:lnTo>
                    <a:pt x="34" y="137"/>
                  </a:lnTo>
                  <a:lnTo>
                    <a:pt x="44" y="128"/>
                  </a:lnTo>
                  <a:lnTo>
                    <a:pt x="54" y="120"/>
                  </a:lnTo>
                  <a:lnTo>
                    <a:pt x="66" y="114"/>
                  </a:lnTo>
                  <a:lnTo>
                    <a:pt x="79" y="107"/>
                  </a:lnTo>
                  <a:lnTo>
                    <a:pt x="92" y="102"/>
                  </a:lnTo>
                  <a:lnTo>
                    <a:pt x="119" y="92"/>
                  </a:lnTo>
                  <a:lnTo>
                    <a:pt x="149" y="84"/>
                  </a:lnTo>
                  <a:lnTo>
                    <a:pt x="161" y="79"/>
                  </a:lnTo>
                  <a:lnTo>
                    <a:pt x="172" y="76"/>
                  </a:lnTo>
                  <a:lnTo>
                    <a:pt x="185" y="72"/>
                  </a:lnTo>
                  <a:lnTo>
                    <a:pt x="198" y="68"/>
                  </a:lnTo>
                  <a:lnTo>
                    <a:pt x="208" y="63"/>
                  </a:lnTo>
                  <a:lnTo>
                    <a:pt x="217" y="59"/>
                  </a:lnTo>
                  <a:lnTo>
                    <a:pt x="224" y="55"/>
                  </a:lnTo>
                  <a:lnTo>
                    <a:pt x="231" y="49"/>
                  </a:lnTo>
                  <a:lnTo>
                    <a:pt x="240" y="39"/>
                  </a:lnTo>
                  <a:lnTo>
                    <a:pt x="247" y="29"/>
                  </a:lnTo>
                  <a:lnTo>
                    <a:pt x="253" y="12"/>
                  </a:lnTo>
                  <a:lnTo>
                    <a:pt x="253" y="3"/>
                  </a:lnTo>
                  <a:lnTo>
                    <a:pt x="305" y="0"/>
                  </a:lnTo>
                  <a:lnTo>
                    <a:pt x="305" y="13"/>
                  </a:lnTo>
                  <a:lnTo>
                    <a:pt x="302" y="27"/>
                  </a:lnTo>
                  <a:lnTo>
                    <a:pt x="298" y="43"/>
                  </a:lnTo>
                  <a:lnTo>
                    <a:pt x="289" y="61"/>
                  </a:lnTo>
                  <a:lnTo>
                    <a:pt x="283" y="69"/>
                  </a:lnTo>
                  <a:lnTo>
                    <a:pt x="277" y="76"/>
                  </a:lnTo>
                  <a:lnTo>
                    <a:pt x="270" y="85"/>
                  </a:lnTo>
                  <a:lnTo>
                    <a:pt x="262" y="92"/>
                  </a:lnTo>
                  <a:lnTo>
                    <a:pt x="252" y="99"/>
                  </a:lnTo>
                  <a:lnTo>
                    <a:pt x="240" y="107"/>
                  </a:lnTo>
                  <a:lnTo>
                    <a:pt x="228" y="112"/>
                  </a:lnTo>
                  <a:lnTo>
                    <a:pt x="214" y="117"/>
                  </a:lnTo>
                  <a:lnTo>
                    <a:pt x="201" y="121"/>
                  </a:lnTo>
                  <a:lnTo>
                    <a:pt x="188" y="125"/>
                  </a:lnTo>
                  <a:lnTo>
                    <a:pt x="175" y="130"/>
                  </a:lnTo>
                  <a:lnTo>
                    <a:pt x="164" y="133"/>
                  </a:lnTo>
                  <a:lnTo>
                    <a:pt x="133" y="143"/>
                  </a:lnTo>
                  <a:lnTo>
                    <a:pt x="110" y="150"/>
                  </a:lnTo>
                  <a:lnTo>
                    <a:pt x="100" y="154"/>
                  </a:lnTo>
                  <a:lnTo>
                    <a:pt x="90" y="160"/>
                  </a:lnTo>
                  <a:lnTo>
                    <a:pt x="83" y="164"/>
                  </a:lnTo>
                  <a:lnTo>
                    <a:pt x="76" y="169"/>
                  </a:lnTo>
                  <a:lnTo>
                    <a:pt x="69" y="174"/>
                  </a:lnTo>
                  <a:lnTo>
                    <a:pt x="64" y="181"/>
                  </a:lnTo>
                  <a:lnTo>
                    <a:pt x="60" y="189"/>
                  </a:lnTo>
                  <a:lnTo>
                    <a:pt x="57" y="196"/>
                  </a:lnTo>
                  <a:lnTo>
                    <a:pt x="54" y="205"/>
                  </a:lnTo>
                  <a:lnTo>
                    <a:pt x="53" y="215"/>
                  </a:lnTo>
                  <a:lnTo>
                    <a:pt x="51" y="226"/>
                  </a:lnTo>
                  <a:lnTo>
                    <a:pt x="51" y="238"/>
                  </a:lnTo>
                  <a:lnTo>
                    <a:pt x="51" y="393"/>
                  </a:lnTo>
                  <a:lnTo>
                    <a:pt x="652" y="393"/>
                  </a:lnTo>
                  <a:lnTo>
                    <a:pt x="652" y="238"/>
                  </a:lnTo>
                  <a:lnTo>
                    <a:pt x="652" y="226"/>
                  </a:lnTo>
                  <a:lnTo>
                    <a:pt x="650" y="215"/>
                  </a:lnTo>
                  <a:lnTo>
                    <a:pt x="649" y="205"/>
                  </a:lnTo>
                  <a:lnTo>
                    <a:pt x="646" y="196"/>
                  </a:lnTo>
                  <a:lnTo>
                    <a:pt x="643" y="189"/>
                  </a:lnTo>
                  <a:lnTo>
                    <a:pt x="639" y="181"/>
                  </a:lnTo>
                  <a:lnTo>
                    <a:pt x="635" y="174"/>
                  </a:lnTo>
                  <a:lnTo>
                    <a:pt x="627" y="169"/>
                  </a:lnTo>
                  <a:lnTo>
                    <a:pt x="620" y="164"/>
                  </a:lnTo>
                  <a:lnTo>
                    <a:pt x="613" y="160"/>
                  </a:lnTo>
                  <a:lnTo>
                    <a:pt x="604" y="154"/>
                  </a:lnTo>
                  <a:lnTo>
                    <a:pt x="593" y="150"/>
                  </a:lnTo>
                  <a:lnTo>
                    <a:pt x="570" y="143"/>
                  </a:lnTo>
                  <a:lnTo>
                    <a:pt x="540" y="133"/>
                  </a:lnTo>
                  <a:lnTo>
                    <a:pt x="528" y="130"/>
                  </a:lnTo>
                  <a:lnTo>
                    <a:pt x="515" y="125"/>
                  </a:lnTo>
                  <a:lnTo>
                    <a:pt x="502" y="121"/>
                  </a:lnTo>
                  <a:lnTo>
                    <a:pt x="489" y="117"/>
                  </a:lnTo>
                  <a:lnTo>
                    <a:pt x="475" y="112"/>
                  </a:lnTo>
                  <a:lnTo>
                    <a:pt x="463" y="107"/>
                  </a:lnTo>
                  <a:lnTo>
                    <a:pt x="452" y="99"/>
                  </a:lnTo>
                  <a:lnTo>
                    <a:pt x="442" y="92"/>
                  </a:lnTo>
                  <a:lnTo>
                    <a:pt x="433" y="85"/>
                  </a:lnTo>
                  <a:lnTo>
                    <a:pt x="426" y="76"/>
                  </a:lnTo>
                  <a:lnTo>
                    <a:pt x="420" y="69"/>
                  </a:lnTo>
                  <a:lnTo>
                    <a:pt x="414" y="61"/>
                  </a:lnTo>
                  <a:lnTo>
                    <a:pt x="406" y="43"/>
                  </a:lnTo>
                  <a:lnTo>
                    <a:pt x="401" y="27"/>
                  </a:lnTo>
                  <a:lnTo>
                    <a:pt x="398" y="13"/>
                  </a:lnTo>
                  <a:lnTo>
                    <a:pt x="398" y="0"/>
                  </a:lnTo>
                  <a:lnTo>
                    <a:pt x="450" y="3"/>
                  </a:lnTo>
                  <a:lnTo>
                    <a:pt x="450" y="7"/>
                  </a:lnTo>
                  <a:lnTo>
                    <a:pt x="452" y="13"/>
                  </a:lnTo>
                  <a:lnTo>
                    <a:pt x="453" y="22"/>
                  </a:lnTo>
                  <a:lnTo>
                    <a:pt x="457" y="30"/>
                  </a:lnTo>
                  <a:lnTo>
                    <a:pt x="463" y="40"/>
                  </a:lnTo>
                  <a:lnTo>
                    <a:pt x="473" y="50"/>
                  </a:lnTo>
                  <a:lnTo>
                    <a:pt x="479" y="55"/>
                  </a:lnTo>
                  <a:lnTo>
                    <a:pt x="486" y="61"/>
                  </a:lnTo>
                  <a:lnTo>
                    <a:pt x="495" y="63"/>
                  </a:lnTo>
                  <a:lnTo>
                    <a:pt x="505" y="68"/>
                  </a:lnTo>
                  <a:lnTo>
                    <a:pt x="518" y="72"/>
                  </a:lnTo>
                  <a:lnTo>
                    <a:pt x="531" y="76"/>
                  </a:lnTo>
                  <a:lnTo>
                    <a:pt x="542" y="79"/>
                  </a:lnTo>
                  <a:lnTo>
                    <a:pt x="554" y="84"/>
                  </a:lnTo>
                  <a:lnTo>
                    <a:pt x="584" y="92"/>
                  </a:lnTo>
                  <a:lnTo>
                    <a:pt x="612" y="102"/>
                  </a:lnTo>
                  <a:lnTo>
                    <a:pt x="624" y="107"/>
                  </a:lnTo>
                  <a:lnTo>
                    <a:pt x="637" y="114"/>
                  </a:lnTo>
                  <a:lnTo>
                    <a:pt x="649" y="120"/>
                  </a:lnTo>
                  <a:lnTo>
                    <a:pt x="659" y="128"/>
                  </a:lnTo>
                  <a:lnTo>
                    <a:pt x="669" y="137"/>
                  </a:lnTo>
                  <a:lnTo>
                    <a:pt x="678" y="147"/>
                  </a:lnTo>
                  <a:lnTo>
                    <a:pt x="686" y="157"/>
                  </a:lnTo>
                  <a:lnTo>
                    <a:pt x="692" y="170"/>
                  </a:lnTo>
                  <a:lnTo>
                    <a:pt x="698" y="184"/>
                  </a:lnTo>
                  <a:lnTo>
                    <a:pt x="701" y="200"/>
                  </a:lnTo>
                  <a:lnTo>
                    <a:pt x="704" y="217"/>
                  </a:lnTo>
                  <a:lnTo>
                    <a:pt x="704" y="238"/>
                  </a:lnTo>
                  <a:lnTo>
                    <a:pt x="704"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24">
              <a:extLst>
                <a:ext uri="{FF2B5EF4-FFF2-40B4-BE49-F238E27FC236}">
                  <a16:creationId xmlns:a16="http://schemas.microsoft.com/office/drawing/2014/main" id="{D1808258-DBD1-428B-8FC3-583FA884D307}"/>
                </a:ext>
              </a:extLst>
            </p:cNvPr>
            <p:cNvSpPr>
              <a:spLocks/>
            </p:cNvSpPr>
            <p:nvPr/>
          </p:nvSpPr>
          <p:spPr bwMode="auto">
            <a:xfrm>
              <a:off x="9980613" y="1201738"/>
              <a:ext cx="193675" cy="53975"/>
            </a:xfrm>
            <a:custGeom>
              <a:avLst/>
              <a:gdLst>
                <a:gd name="T0" fmla="*/ 89 w 368"/>
                <a:gd name="T1" fmla="*/ 100 h 100"/>
                <a:gd name="T2" fmla="*/ 67 w 368"/>
                <a:gd name="T3" fmla="*/ 98 h 100"/>
                <a:gd name="T4" fmla="*/ 46 w 368"/>
                <a:gd name="T5" fmla="*/ 97 h 100"/>
                <a:gd name="T6" fmla="*/ 23 w 368"/>
                <a:gd name="T7" fmla="*/ 94 h 100"/>
                <a:gd name="T8" fmla="*/ 0 w 368"/>
                <a:gd name="T9" fmla="*/ 88 h 100"/>
                <a:gd name="T10" fmla="*/ 13 w 368"/>
                <a:gd name="T11" fmla="*/ 38 h 100"/>
                <a:gd name="T12" fmla="*/ 37 w 368"/>
                <a:gd name="T13" fmla="*/ 42 h 100"/>
                <a:gd name="T14" fmla="*/ 60 w 368"/>
                <a:gd name="T15" fmla="*/ 47 h 100"/>
                <a:gd name="T16" fmla="*/ 83 w 368"/>
                <a:gd name="T17" fmla="*/ 47 h 100"/>
                <a:gd name="T18" fmla="*/ 105 w 368"/>
                <a:gd name="T19" fmla="*/ 47 h 100"/>
                <a:gd name="T20" fmla="*/ 125 w 368"/>
                <a:gd name="T21" fmla="*/ 45 h 100"/>
                <a:gd name="T22" fmla="*/ 144 w 368"/>
                <a:gd name="T23" fmla="*/ 42 h 100"/>
                <a:gd name="T24" fmla="*/ 162 w 368"/>
                <a:gd name="T25" fmla="*/ 38 h 100"/>
                <a:gd name="T26" fmla="*/ 178 w 368"/>
                <a:gd name="T27" fmla="*/ 34 h 100"/>
                <a:gd name="T28" fmla="*/ 207 w 368"/>
                <a:gd name="T29" fmla="*/ 25 h 100"/>
                <a:gd name="T30" fmla="*/ 227 w 368"/>
                <a:gd name="T31" fmla="*/ 15 h 100"/>
                <a:gd name="T32" fmla="*/ 240 w 368"/>
                <a:gd name="T33" fmla="*/ 8 h 100"/>
                <a:gd name="T34" fmla="*/ 246 w 368"/>
                <a:gd name="T35" fmla="*/ 5 h 100"/>
                <a:gd name="T36" fmla="*/ 250 w 368"/>
                <a:gd name="T37" fmla="*/ 3 h 100"/>
                <a:gd name="T38" fmla="*/ 255 w 368"/>
                <a:gd name="T39" fmla="*/ 2 h 100"/>
                <a:gd name="T40" fmla="*/ 259 w 368"/>
                <a:gd name="T41" fmla="*/ 0 h 100"/>
                <a:gd name="T42" fmla="*/ 263 w 368"/>
                <a:gd name="T43" fmla="*/ 0 h 100"/>
                <a:gd name="T44" fmla="*/ 268 w 368"/>
                <a:gd name="T45" fmla="*/ 2 h 100"/>
                <a:gd name="T46" fmla="*/ 272 w 368"/>
                <a:gd name="T47" fmla="*/ 3 h 100"/>
                <a:gd name="T48" fmla="*/ 275 w 368"/>
                <a:gd name="T49" fmla="*/ 5 h 100"/>
                <a:gd name="T50" fmla="*/ 279 w 368"/>
                <a:gd name="T51" fmla="*/ 8 h 100"/>
                <a:gd name="T52" fmla="*/ 285 w 368"/>
                <a:gd name="T53" fmla="*/ 13 h 100"/>
                <a:gd name="T54" fmla="*/ 302 w 368"/>
                <a:gd name="T55" fmla="*/ 23 h 100"/>
                <a:gd name="T56" fmla="*/ 315 w 368"/>
                <a:gd name="T57" fmla="*/ 28 h 100"/>
                <a:gd name="T58" fmla="*/ 329 w 368"/>
                <a:gd name="T59" fmla="*/ 32 h 100"/>
                <a:gd name="T60" fmla="*/ 348 w 368"/>
                <a:gd name="T61" fmla="*/ 35 h 100"/>
                <a:gd name="T62" fmla="*/ 368 w 368"/>
                <a:gd name="T63" fmla="*/ 36 h 100"/>
                <a:gd name="T64" fmla="*/ 368 w 368"/>
                <a:gd name="T65" fmla="*/ 90 h 100"/>
                <a:gd name="T66" fmla="*/ 350 w 368"/>
                <a:gd name="T67" fmla="*/ 88 h 100"/>
                <a:gd name="T68" fmla="*/ 332 w 368"/>
                <a:gd name="T69" fmla="*/ 85 h 100"/>
                <a:gd name="T70" fmla="*/ 315 w 368"/>
                <a:gd name="T71" fmla="*/ 83 h 100"/>
                <a:gd name="T72" fmla="*/ 301 w 368"/>
                <a:gd name="T73" fmla="*/ 78 h 100"/>
                <a:gd name="T74" fmla="*/ 288 w 368"/>
                <a:gd name="T75" fmla="*/ 74 h 100"/>
                <a:gd name="T76" fmla="*/ 276 w 368"/>
                <a:gd name="T77" fmla="*/ 68 h 100"/>
                <a:gd name="T78" fmla="*/ 266 w 368"/>
                <a:gd name="T79" fmla="*/ 64 h 100"/>
                <a:gd name="T80" fmla="*/ 257 w 368"/>
                <a:gd name="T81" fmla="*/ 58 h 100"/>
                <a:gd name="T82" fmla="*/ 246 w 368"/>
                <a:gd name="T83" fmla="*/ 64 h 100"/>
                <a:gd name="T84" fmla="*/ 232 w 368"/>
                <a:gd name="T85" fmla="*/ 71 h 100"/>
                <a:gd name="T86" fmla="*/ 213 w 368"/>
                <a:gd name="T87" fmla="*/ 78 h 100"/>
                <a:gd name="T88" fmla="*/ 193 w 368"/>
                <a:gd name="T89" fmla="*/ 84 h 100"/>
                <a:gd name="T90" fmla="*/ 170 w 368"/>
                <a:gd name="T91" fmla="*/ 90 h 100"/>
                <a:gd name="T92" fmla="*/ 145 w 368"/>
                <a:gd name="T93" fmla="*/ 95 h 100"/>
                <a:gd name="T94" fmla="*/ 118 w 368"/>
                <a:gd name="T95" fmla="*/ 98 h 100"/>
                <a:gd name="T96" fmla="*/ 89 w 368"/>
                <a:gd name="T9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8" h="100">
                  <a:moveTo>
                    <a:pt x="89" y="100"/>
                  </a:moveTo>
                  <a:lnTo>
                    <a:pt x="67" y="98"/>
                  </a:lnTo>
                  <a:lnTo>
                    <a:pt x="46" y="97"/>
                  </a:lnTo>
                  <a:lnTo>
                    <a:pt x="23" y="94"/>
                  </a:lnTo>
                  <a:lnTo>
                    <a:pt x="0" y="88"/>
                  </a:lnTo>
                  <a:lnTo>
                    <a:pt x="13" y="38"/>
                  </a:lnTo>
                  <a:lnTo>
                    <a:pt x="37" y="42"/>
                  </a:lnTo>
                  <a:lnTo>
                    <a:pt x="60" y="47"/>
                  </a:lnTo>
                  <a:lnTo>
                    <a:pt x="83" y="47"/>
                  </a:lnTo>
                  <a:lnTo>
                    <a:pt x="105" y="47"/>
                  </a:lnTo>
                  <a:lnTo>
                    <a:pt x="125" y="45"/>
                  </a:lnTo>
                  <a:lnTo>
                    <a:pt x="144" y="42"/>
                  </a:lnTo>
                  <a:lnTo>
                    <a:pt x="162" y="38"/>
                  </a:lnTo>
                  <a:lnTo>
                    <a:pt x="178" y="34"/>
                  </a:lnTo>
                  <a:lnTo>
                    <a:pt x="207" y="25"/>
                  </a:lnTo>
                  <a:lnTo>
                    <a:pt x="227" y="15"/>
                  </a:lnTo>
                  <a:lnTo>
                    <a:pt x="240" y="8"/>
                  </a:lnTo>
                  <a:lnTo>
                    <a:pt x="246" y="5"/>
                  </a:lnTo>
                  <a:lnTo>
                    <a:pt x="250" y="3"/>
                  </a:lnTo>
                  <a:lnTo>
                    <a:pt x="255" y="2"/>
                  </a:lnTo>
                  <a:lnTo>
                    <a:pt x="259" y="0"/>
                  </a:lnTo>
                  <a:lnTo>
                    <a:pt x="263" y="0"/>
                  </a:lnTo>
                  <a:lnTo>
                    <a:pt x="268" y="2"/>
                  </a:lnTo>
                  <a:lnTo>
                    <a:pt x="272" y="3"/>
                  </a:lnTo>
                  <a:lnTo>
                    <a:pt x="275" y="5"/>
                  </a:lnTo>
                  <a:lnTo>
                    <a:pt x="279" y="8"/>
                  </a:lnTo>
                  <a:lnTo>
                    <a:pt x="285" y="13"/>
                  </a:lnTo>
                  <a:lnTo>
                    <a:pt x="302" y="23"/>
                  </a:lnTo>
                  <a:lnTo>
                    <a:pt x="315" y="28"/>
                  </a:lnTo>
                  <a:lnTo>
                    <a:pt x="329" y="32"/>
                  </a:lnTo>
                  <a:lnTo>
                    <a:pt x="348" y="35"/>
                  </a:lnTo>
                  <a:lnTo>
                    <a:pt x="368" y="36"/>
                  </a:lnTo>
                  <a:lnTo>
                    <a:pt x="368" y="90"/>
                  </a:lnTo>
                  <a:lnTo>
                    <a:pt x="350" y="88"/>
                  </a:lnTo>
                  <a:lnTo>
                    <a:pt x="332" y="85"/>
                  </a:lnTo>
                  <a:lnTo>
                    <a:pt x="315" y="83"/>
                  </a:lnTo>
                  <a:lnTo>
                    <a:pt x="301" y="78"/>
                  </a:lnTo>
                  <a:lnTo>
                    <a:pt x="288" y="74"/>
                  </a:lnTo>
                  <a:lnTo>
                    <a:pt x="276" y="68"/>
                  </a:lnTo>
                  <a:lnTo>
                    <a:pt x="266" y="64"/>
                  </a:lnTo>
                  <a:lnTo>
                    <a:pt x="257" y="58"/>
                  </a:lnTo>
                  <a:lnTo>
                    <a:pt x="246" y="64"/>
                  </a:lnTo>
                  <a:lnTo>
                    <a:pt x="232" y="71"/>
                  </a:lnTo>
                  <a:lnTo>
                    <a:pt x="213" y="78"/>
                  </a:lnTo>
                  <a:lnTo>
                    <a:pt x="193" y="84"/>
                  </a:lnTo>
                  <a:lnTo>
                    <a:pt x="170" y="90"/>
                  </a:lnTo>
                  <a:lnTo>
                    <a:pt x="145" y="95"/>
                  </a:lnTo>
                  <a:lnTo>
                    <a:pt x="118" y="98"/>
                  </a:lnTo>
                  <a:lnTo>
                    <a:pt x="8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149">
              <a:extLst>
                <a:ext uri="{FF2B5EF4-FFF2-40B4-BE49-F238E27FC236}">
                  <a16:creationId xmlns:a16="http://schemas.microsoft.com/office/drawing/2014/main" id="{FB17CE7B-42D5-4F0F-90FF-DC6A94B2EF4F}"/>
                </a:ext>
              </a:extLst>
            </p:cNvPr>
            <p:cNvSpPr>
              <a:spLocks/>
            </p:cNvSpPr>
            <p:nvPr/>
          </p:nvSpPr>
          <p:spPr bwMode="auto">
            <a:xfrm>
              <a:off x="9890125" y="1058863"/>
              <a:ext cx="374650" cy="127000"/>
            </a:xfrm>
            <a:custGeom>
              <a:avLst/>
              <a:gdLst>
                <a:gd name="T0" fmla="*/ 0 w 707"/>
                <a:gd name="T1" fmla="*/ 216 h 239"/>
                <a:gd name="T2" fmla="*/ 29 w 707"/>
                <a:gd name="T3" fmla="*/ 168 h 239"/>
                <a:gd name="T4" fmla="*/ 65 w 707"/>
                <a:gd name="T5" fmla="*/ 125 h 239"/>
                <a:gd name="T6" fmla="*/ 104 w 707"/>
                <a:gd name="T7" fmla="*/ 89 h 239"/>
                <a:gd name="T8" fmla="*/ 149 w 707"/>
                <a:gd name="T9" fmla="*/ 57 h 239"/>
                <a:gd name="T10" fmla="*/ 196 w 707"/>
                <a:gd name="T11" fmla="*/ 33 h 239"/>
                <a:gd name="T12" fmla="*/ 248 w 707"/>
                <a:gd name="T13" fmla="*/ 14 h 239"/>
                <a:gd name="T14" fmla="*/ 301 w 707"/>
                <a:gd name="T15" fmla="*/ 4 h 239"/>
                <a:gd name="T16" fmla="*/ 357 w 707"/>
                <a:gd name="T17" fmla="*/ 0 h 239"/>
                <a:gd name="T18" fmla="*/ 411 w 707"/>
                <a:gd name="T19" fmla="*/ 3 h 239"/>
                <a:gd name="T20" fmla="*/ 462 w 707"/>
                <a:gd name="T21" fmla="*/ 14 h 239"/>
                <a:gd name="T22" fmla="*/ 513 w 707"/>
                <a:gd name="T23" fmla="*/ 31 h 239"/>
                <a:gd name="T24" fmla="*/ 559 w 707"/>
                <a:gd name="T25" fmla="*/ 54 h 239"/>
                <a:gd name="T26" fmla="*/ 602 w 707"/>
                <a:gd name="T27" fmla="*/ 85 h 239"/>
                <a:gd name="T28" fmla="*/ 642 w 707"/>
                <a:gd name="T29" fmla="*/ 119 h 239"/>
                <a:gd name="T30" fmla="*/ 677 w 707"/>
                <a:gd name="T31" fmla="*/ 160 h 239"/>
                <a:gd name="T32" fmla="*/ 707 w 707"/>
                <a:gd name="T33" fmla="*/ 204 h 239"/>
                <a:gd name="T34" fmla="*/ 650 w 707"/>
                <a:gd name="T35" fmla="*/ 210 h 239"/>
                <a:gd name="T36" fmla="*/ 621 w 707"/>
                <a:gd name="T37" fmla="*/ 173 h 239"/>
                <a:gd name="T38" fmla="*/ 589 w 707"/>
                <a:gd name="T39" fmla="*/ 139 h 239"/>
                <a:gd name="T40" fmla="*/ 552 w 707"/>
                <a:gd name="T41" fmla="*/ 112 h 239"/>
                <a:gd name="T42" fmla="*/ 513 w 707"/>
                <a:gd name="T43" fmla="*/ 89 h 239"/>
                <a:gd name="T44" fmla="*/ 471 w 707"/>
                <a:gd name="T45" fmla="*/ 72 h 239"/>
                <a:gd name="T46" fmla="*/ 426 w 707"/>
                <a:gd name="T47" fmla="*/ 59 h 239"/>
                <a:gd name="T48" fmla="*/ 380 w 707"/>
                <a:gd name="T49" fmla="*/ 53 h 239"/>
                <a:gd name="T50" fmla="*/ 333 w 707"/>
                <a:gd name="T51" fmla="*/ 53 h 239"/>
                <a:gd name="T52" fmla="*/ 285 w 707"/>
                <a:gd name="T53" fmla="*/ 59 h 239"/>
                <a:gd name="T54" fmla="*/ 239 w 707"/>
                <a:gd name="T55" fmla="*/ 72 h 239"/>
                <a:gd name="T56" fmla="*/ 196 w 707"/>
                <a:gd name="T57" fmla="*/ 90 h 239"/>
                <a:gd name="T58" fmla="*/ 156 w 707"/>
                <a:gd name="T59" fmla="*/ 115 h 239"/>
                <a:gd name="T60" fmla="*/ 120 w 707"/>
                <a:gd name="T61" fmla="*/ 145 h 239"/>
                <a:gd name="T62" fmla="*/ 87 w 707"/>
                <a:gd name="T63" fmla="*/ 180 h 239"/>
                <a:gd name="T64" fmla="*/ 59 w 707"/>
                <a:gd name="T65"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7" h="239">
                  <a:moveTo>
                    <a:pt x="46" y="239"/>
                  </a:moveTo>
                  <a:lnTo>
                    <a:pt x="0" y="216"/>
                  </a:lnTo>
                  <a:lnTo>
                    <a:pt x="15" y="191"/>
                  </a:lnTo>
                  <a:lnTo>
                    <a:pt x="29" y="168"/>
                  </a:lnTo>
                  <a:lnTo>
                    <a:pt x="46" y="147"/>
                  </a:lnTo>
                  <a:lnTo>
                    <a:pt x="65" y="125"/>
                  </a:lnTo>
                  <a:lnTo>
                    <a:pt x="84" y="106"/>
                  </a:lnTo>
                  <a:lnTo>
                    <a:pt x="104" y="89"/>
                  </a:lnTo>
                  <a:lnTo>
                    <a:pt x="125" y="72"/>
                  </a:lnTo>
                  <a:lnTo>
                    <a:pt x="149" y="57"/>
                  </a:lnTo>
                  <a:lnTo>
                    <a:pt x="172" y="44"/>
                  </a:lnTo>
                  <a:lnTo>
                    <a:pt x="196" y="33"/>
                  </a:lnTo>
                  <a:lnTo>
                    <a:pt x="222" y="23"/>
                  </a:lnTo>
                  <a:lnTo>
                    <a:pt x="248" y="14"/>
                  </a:lnTo>
                  <a:lnTo>
                    <a:pt x="274" y="8"/>
                  </a:lnTo>
                  <a:lnTo>
                    <a:pt x="301" y="4"/>
                  </a:lnTo>
                  <a:lnTo>
                    <a:pt x="329" y="1"/>
                  </a:lnTo>
                  <a:lnTo>
                    <a:pt x="357" y="0"/>
                  </a:lnTo>
                  <a:lnTo>
                    <a:pt x="383" y="1"/>
                  </a:lnTo>
                  <a:lnTo>
                    <a:pt x="411" y="3"/>
                  </a:lnTo>
                  <a:lnTo>
                    <a:pt x="437" y="8"/>
                  </a:lnTo>
                  <a:lnTo>
                    <a:pt x="462" y="14"/>
                  </a:lnTo>
                  <a:lnTo>
                    <a:pt x="487" y="21"/>
                  </a:lnTo>
                  <a:lnTo>
                    <a:pt x="513" y="31"/>
                  </a:lnTo>
                  <a:lnTo>
                    <a:pt x="536" y="41"/>
                  </a:lnTo>
                  <a:lnTo>
                    <a:pt x="559" y="54"/>
                  </a:lnTo>
                  <a:lnTo>
                    <a:pt x="582" y="69"/>
                  </a:lnTo>
                  <a:lnTo>
                    <a:pt x="602" y="85"/>
                  </a:lnTo>
                  <a:lnTo>
                    <a:pt x="624" y="101"/>
                  </a:lnTo>
                  <a:lnTo>
                    <a:pt x="642" y="119"/>
                  </a:lnTo>
                  <a:lnTo>
                    <a:pt x="660" y="138"/>
                  </a:lnTo>
                  <a:lnTo>
                    <a:pt x="677" y="160"/>
                  </a:lnTo>
                  <a:lnTo>
                    <a:pt x="693" y="181"/>
                  </a:lnTo>
                  <a:lnTo>
                    <a:pt x="707" y="204"/>
                  </a:lnTo>
                  <a:lnTo>
                    <a:pt x="661" y="230"/>
                  </a:lnTo>
                  <a:lnTo>
                    <a:pt x="650" y="210"/>
                  </a:lnTo>
                  <a:lnTo>
                    <a:pt x="635" y="191"/>
                  </a:lnTo>
                  <a:lnTo>
                    <a:pt x="621" y="173"/>
                  </a:lnTo>
                  <a:lnTo>
                    <a:pt x="605" y="155"/>
                  </a:lnTo>
                  <a:lnTo>
                    <a:pt x="589" y="139"/>
                  </a:lnTo>
                  <a:lnTo>
                    <a:pt x="570" y="125"/>
                  </a:lnTo>
                  <a:lnTo>
                    <a:pt x="552" y="112"/>
                  </a:lnTo>
                  <a:lnTo>
                    <a:pt x="533" y="99"/>
                  </a:lnTo>
                  <a:lnTo>
                    <a:pt x="513" y="89"/>
                  </a:lnTo>
                  <a:lnTo>
                    <a:pt x="493" y="79"/>
                  </a:lnTo>
                  <a:lnTo>
                    <a:pt x="471" y="72"/>
                  </a:lnTo>
                  <a:lnTo>
                    <a:pt x="448" y="65"/>
                  </a:lnTo>
                  <a:lnTo>
                    <a:pt x="426" y="59"/>
                  </a:lnTo>
                  <a:lnTo>
                    <a:pt x="403" y="54"/>
                  </a:lnTo>
                  <a:lnTo>
                    <a:pt x="380" y="53"/>
                  </a:lnTo>
                  <a:lnTo>
                    <a:pt x="357" y="52"/>
                  </a:lnTo>
                  <a:lnTo>
                    <a:pt x="333" y="53"/>
                  </a:lnTo>
                  <a:lnTo>
                    <a:pt x="308" y="56"/>
                  </a:lnTo>
                  <a:lnTo>
                    <a:pt x="285" y="59"/>
                  </a:lnTo>
                  <a:lnTo>
                    <a:pt x="262" y="65"/>
                  </a:lnTo>
                  <a:lnTo>
                    <a:pt x="239" y="72"/>
                  </a:lnTo>
                  <a:lnTo>
                    <a:pt x="218" y="80"/>
                  </a:lnTo>
                  <a:lnTo>
                    <a:pt x="196" y="90"/>
                  </a:lnTo>
                  <a:lnTo>
                    <a:pt x="176" y="102"/>
                  </a:lnTo>
                  <a:lnTo>
                    <a:pt x="156" y="115"/>
                  </a:lnTo>
                  <a:lnTo>
                    <a:pt x="137" y="129"/>
                  </a:lnTo>
                  <a:lnTo>
                    <a:pt x="120" y="145"/>
                  </a:lnTo>
                  <a:lnTo>
                    <a:pt x="102" y="161"/>
                  </a:lnTo>
                  <a:lnTo>
                    <a:pt x="87" y="180"/>
                  </a:lnTo>
                  <a:lnTo>
                    <a:pt x="72" y="198"/>
                  </a:lnTo>
                  <a:lnTo>
                    <a:pt x="59" y="219"/>
                  </a:lnTo>
                  <a:lnTo>
                    <a:pt x="46"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50">
              <a:extLst>
                <a:ext uri="{FF2B5EF4-FFF2-40B4-BE49-F238E27FC236}">
                  <a16:creationId xmlns:a16="http://schemas.microsoft.com/office/drawing/2014/main" id="{7A87E4AF-668A-46D9-968A-49F01402F60A}"/>
                </a:ext>
              </a:extLst>
            </p:cNvPr>
            <p:cNvSpPr>
              <a:spLocks/>
            </p:cNvSpPr>
            <p:nvPr/>
          </p:nvSpPr>
          <p:spPr bwMode="auto">
            <a:xfrm>
              <a:off x="9810750" y="950913"/>
              <a:ext cx="534988" cy="155575"/>
            </a:xfrm>
            <a:custGeom>
              <a:avLst/>
              <a:gdLst>
                <a:gd name="T0" fmla="*/ 0 w 1010"/>
                <a:gd name="T1" fmla="*/ 262 h 293"/>
                <a:gd name="T2" fmla="*/ 47 w 1010"/>
                <a:gd name="T3" fmla="*/ 203 h 293"/>
                <a:gd name="T4" fmla="*/ 100 w 1010"/>
                <a:gd name="T5" fmla="*/ 151 h 293"/>
                <a:gd name="T6" fmla="*/ 159 w 1010"/>
                <a:gd name="T7" fmla="*/ 107 h 293"/>
                <a:gd name="T8" fmla="*/ 222 w 1010"/>
                <a:gd name="T9" fmla="*/ 69 h 293"/>
                <a:gd name="T10" fmla="*/ 288 w 1010"/>
                <a:gd name="T11" fmla="*/ 41 h 293"/>
                <a:gd name="T12" fmla="*/ 359 w 1010"/>
                <a:gd name="T13" fmla="*/ 19 h 293"/>
                <a:gd name="T14" fmla="*/ 432 w 1010"/>
                <a:gd name="T15" fmla="*/ 5 h 293"/>
                <a:gd name="T16" fmla="*/ 507 w 1010"/>
                <a:gd name="T17" fmla="*/ 0 h 293"/>
                <a:gd name="T18" fmla="*/ 581 w 1010"/>
                <a:gd name="T19" fmla="*/ 5 h 293"/>
                <a:gd name="T20" fmla="*/ 653 w 1010"/>
                <a:gd name="T21" fmla="*/ 18 h 293"/>
                <a:gd name="T22" fmla="*/ 722 w 1010"/>
                <a:gd name="T23" fmla="*/ 39 h 293"/>
                <a:gd name="T24" fmla="*/ 790 w 1010"/>
                <a:gd name="T25" fmla="*/ 69 h 293"/>
                <a:gd name="T26" fmla="*/ 851 w 1010"/>
                <a:gd name="T27" fmla="*/ 105 h 293"/>
                <a:gd name="T28" fmla="*/ 911 w 1010"/>
                <a:gd name="T29" fmla="*/ 150 h 293"/>
                <a:gd name="T30" fmla="*/ 964 w 1010"/>
                <a:gd name="T31" fmla="*/ 200 h 293"/>
                <a:gd name="T32" fmla="*/ 1010 w 1010"/>
                <a:gd name="T33" fmla="*/ 258 h 293"/>
                <a:gd name="T34" fmla="*/ 948 w 1010"/>
                <a:gd name="T35" fmla="*/ 261 h 293"/>
                <a:gd name="T36" fmla="*/ 902 w 1010"/>
                <a:gd name="T37" fmla="*/ 212 h 293"/>
                <a:gd name="T38" fmla="*/ 850 w 1010"/>
                <a:gd name="T39" fmla="*/ 169 h 293"/>
                <a:gd name="T40" fmla="*/ 795 w 1010"/>
                <a:gd name="T41" fmla="*/ 131 h 293"/>
                <a:gd name="T42" fmla="*/ 735 w 1010"/>
                <a:gd name="T43" fmla="*/ 101 h 293"/>
                <a:gd name="T44" fmla="*/ 673 w 1010"/>
                <a:gd name="T45" fmla="*/ 78 h 293"/>
                <a:gd name="T46" fmla="*/ 608 w 1010"/>
                <a:gd name="T47" fmla="*/ 62 h 293"/>
                <a:gd name="T48" fmla="*/ 540 w 1010"/>
                <a:gd name="T49" fmla="*/ 54 h 293"/>
                <a:gd name="T50" fmla="*/ 473 w 1010"/>
                <a:gd name="T51" fmla="*/ 54 h 293"/>
                <a:gd name="T52" fmla="*/ 405 w 1010"/>
                <a:gd name="T53" fmla="*/ 62 h 293"/>
                <a:gd name="T54" fmla="*/ 339 w 1010"/>
                <a:gd name="T55" fmla="*/ 78 h 293"/>
                <a:gd name="T56" fmla="*/ 275 w 1010"/>
                <a:gd name="T57" fmla="*/ 101 h 293"/>
                <a:gd name="T58" fmla="*/ 216 w 1010"/>
                <a:gd name="T59" fmla="*/ 133 h 293"/>
                <a:gd name="T60" fmla="*/ 160 w 1010"/>
                <a:gd name="T61" fmla="*/ 170 h 293"/>
                <a:gd name="T62" fmla="*/ 108 w 1010"/>
                <a:gd name="T63" fmla="*/ 215 h 293"/>
                <a:gd name="T64" fmla="*/ 64 w 1010"/>
                <a:gd name="T65" fmla="*/ 26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0" h="293">
                  <a:moveTo>
                    <a:pt x="42" y="293"/>
                  </a:moveTo>
                  <a:lnTo>
                    <a:pt x="0" y="262"/>
                  </a:lnTo>
                  <a:lnTo>
                    <a:pt x="22" y="232"/>
                  </a:lnTo>
                  <a:lnTo>
                    <a:pt x="47" y="203"/>
                  </a:lnTo>
                  <a:lnTo>
                    <a:pt x="72" y="177"/>
                  </a:lnTo>
                  <a:lnTo>
                    <a:pt x="100" y="151"/>
                  </a:lnTo>
                  <a:lnTo>
                    <a:pt x="129" y="128"/>
                  </a:lnTo>
                  <a:lnTo>
                    <a:pt x="159" y="107"/>
                  </a:lnTo>
                  <a:lnTo>
                    <a:pt x="189" y="88"/>
                  </a:lnTo>
                  <a:lnTo>
                    <a:pt x="222" y="69"/>
                  </a:lnTo>
                  <a:lnTo>
                    <a:pt x="255" y="54"/>
                  </a:lnTo>
                  <a:lnTo>
                    <a:pt x="288" y="41"/>
                  </a:lnTo>
                  <a:lnTo>
                    <a:pt x="323" y="28"/>
                  </a:lnTo>
                  <a:lnTo>
                    <a:pt x="359" y="19"/>
                  </a:lnTo>
                  <a:lnTo>
                    <a:pt x="395" y="10"/>
                  </a:lnTo>
                  <a:lnTo>
                    <a:pt x="432" y="5"/>
                  </a:lnTo>
                  <a:lnTo>
                    <a:pt x="468" y="2"/>
                  </a:lnTo>
                  <a:lnTo>
                    <a:pt x="507" y="0"/>
                  </a:lnTo>
                  <a:lnTo>
                    <a:pt x="543" y="2"/>
                  </a:lnTo>
                  <a:lnTo>
                    <a:pt x="581" y="5"/>
                  </a:lnTo>
                  <a:lnTo>
                    <a:pt x="617" y="10"/>
                  </a:lnTo>
                  <a:lnTo>
                    <a:pt x="653" y="18"/>
                  </a:lnTo>
                  <a:lnTo>
                    <a:pt x="687" y="28"/>
                  </a:lnTo>
                  <a:lnTo>
                    <a:pt x="722" y="39"/>
                  </a:lnTo>
                  <a:lnTo>
                    <a:pt x="756" y="54"/>
                  </a:lnTo>
                  <a:lnTo>
                    <a:pt x="790" y="69"/>
                  </a:lnTo>
                  <a:lnTo>
                    <a:pt x="821" y="87"/>
                  </a:lnTo>
                  <a:lnTo>
                    <a:pt x="851" y="105"/>
                  </a:lnTo>
                  <a:lnTo>
                    <a:pt x="882" y="127"/>
                  </a:lnTo>
                  <a:lnTo>
                    <a:pt x="911" y="150"/>
                  </a:lnTo>
                  <a:lnTo>
                    <a:pt x="938" y="174"/>
                  </a:lnTo>
                  <a:lnTo>
                    <a:pt x="964" y="200"/>
                  </a:lnTo>
                  <a:lnTo>
                    <a:pt x="988" y="228"/>
                  </a:lnTo>
                  <a:lnTo>
                    <a:pt x="1010" y="258"/>
                  </a:lnTo>
                  <a:lnTo>
                    <a:pt x="968" y="288"/>
                  </a:lnTo>
                  <a:lnTo>
                    <a:pt x="948" y="261"/>
                  </a:lnTo>
                  <a:lnTo>
                    <a:pt x="925" y="236"/>
                  </a:lnTo>
                  <a:lnTo>
                    <a:pt x="902" y="212"/>
                  </a:lnTo>
                  <a:lnTo>
                    <a:pt x="876" y="189"/>
                  </a:lnTo>
                  <a:lnTo>
                    <a:pt x="850" y="169"/>
                  </a:lnTo>
                  <a:lnTo>
                    <a:pt x="823" y="149"/>
                  </a:lnTo>
                  <a:lnTo>
                    <a:pt x="795" y="131"/>
                  </a:lnTo>
                  <a:lnTo>
                    <a:pt x="765" y="115"/>
                  </a:lnTo>
                  <a:lnTo>
                    <a:pt x="735" y="101"/>
                  </a:lnTo>
                  <a:lnTo>
                    <a:pt x="705" y="88"/>
                  </a:lnTo>
                  <a:lnTo>
                    <a:pt x="673" y="78"/>
                  </a:lnTo>
                  <a:lnTo>
                    <a:pt x="640" y="69"/>
                  </a:lnTo>
                  <a:lnTo>
                    <a:pt x="608" y="62"/>
                  </a:lnTo>
                  <a:lnTo>
                    <a:pt x="575" y="56"/>
                  </a:lnTo>
                  <a:lnTo>
                    <a:pt x="540" y="54"/>
                  </a:lnTo>
                  <a:lnTo>
                    <a:pt x="507" y="52"/>
                  </a:lnTo>
                  <a:lnTo>
                    <a:pt x="473" y="54"/>
                  </a:lnTo>
                  <a:lnTo>
                    <a:pt x="438" y="56"/>
                  </a:lnTo>
                  <a:lnTo>
                    <a:pt x="405" y="62"/>
                  </a:lnTo>
                  <a:lnTo>
                    <a:pt x="372" y="69"/>
                  </a:lnTo>
                  <a:lnTo>
                    <a:pt x="339" y="78"/>
                  </a:lnTo>
                  <a:lnTo>
                    <a:pt x="307" y="90"/>
                  </a:lnTo>
                  <a:lnTo>
                    <a:pt x="275" y="101"/>
                  </a:lnTo>
                  <a:lnTo>
                    <a:pt x="245" y="117"/>
                  </a:lnTo>
                  <a:lnTo>
                    <a:pt x="216" y="133"/>
                  </a:lnTo>
                  <a:lnTo>
                    <a:pt x="188" y="150"/>
                  </a:lnTo>
                  <a:lnTo>
                    <a:pt x="160" y="170"/>
                  </a:lnTo>
                  <a:lnTo>
                    <a:pt x="134" y="192"/>
                  </a:lnTo>
                  <a:lnTo>
                    <a:pt x="108" y="215"/>
                  </a:lnTo>
                  <a:lnTo>
                    <a:pt x="85" y="239"/>
                  </a:lnTo>
                  <a:lnTo>
                    <a:pt x="64" y="265"/>
                  </a:lnTo>
                  <a:lnTo>
                    <a:pt x="42"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151">
              <a:extLst>
                <a:ext uri="{FF2B5EF4-FFF2-40B4-BE49-F238E27FC236}">
                  <a16:creationId xmlns:a16="http://schemas.microsoft.com/office/drawing/2014/main" id="{BD64D3FC-A26D-488A-A5C9-382762014FDA}"/>
                </a:ext>
              </a:extLst>
            </p:cNvPr>
            <p:cNvSpPr>
              <a:spLocks/>
            </p:cNvSpPr>
            <p:nvPr/>
          </p:nvSpPr>
          <p:spPr bwMode="auto">
            <a:xfrm>
              <a:off x="9732963" y="852488"/>
              <a:ext cx="690563" cy="190500"/>
            </a:xfrm>
            <a:custGeom>
              <a:avLst/>
              <a:gdLst>
                <a:gd name="T0" fmla="*/ 0 w 1305"/>
                <a:gd name="T1" fmla="*/ 328 h 360"/>
                <a:gd name="T2" fmla="*/ 62 w 1305"/>
                <a:gd name="T3" fmla="*/ 255 h 360"/>
                <a:gd name="T4" fmla="*/ 131 w 1305"/>
                <a:gd name="T5" fmla="*/ 190 h 360"/>
                <a:gd name="T6" fmla="*/ 207 w 1305"/>
                <a:gd name="T7" fmla="*/ 134 h 360"/>
                <a:gd name="T8" fmla="*/ 288 w 1305"/>
                <a:gd name="T9" fmla="*/ 86 h 360"/>
                <a:gd name="T10" fmla="*/ 375 w 1305"/>
                <a:gd name="T11" fmla="*/ 49 h 360"/>
                <a:gd name="T12" fmla="*/ 465 w 1305"/>
                <a:gd name="T13" fmla="*/ 23 h 360"/>
                <a:gd name="T14" fmla="*/ 559 w 1305"/>
                <a:gd name="T15" fmla="*/ 6 h 360"/>
                <a:gd name="T16" fmla="*/ 655 w 1305"/>
                <a:gd name="T17" fmla="*/ 0 h 360"/>
                <a:gd name="T18" fmla="*/ 750 w 1305"/>
                <a:gd name="T19" fmla="*/ 6 h 360"/>
                <a:gd name="T20" fmla="*/ 843 w 1305"/>
                <a:gd name="T21" fmla="*/ 22 h 360"/>
                <a:gd name="T22" fmla="*/ 932 w 1305"/>
                <a:gd name="T23" fmla="*/ 49 h 360"/>
                <a:gd name="T24" fmla="*/ 1018 w 1305"/>
                <a:gd name="T25" fmla="*/ 85 h 360"/>
                <a:gd name="T26" fmla="*/ 1099 w 1305"/>
                <a:gd name="T27" fmla="*/ 131 h 360"/>
                <a:gd name="T28" fmla="*/ 1174 w 1305"/>
                <a:gd name="T29" fmla="*/ 186 h 360"/>
                <a:gd name="T30" fmla="*/ 1243 w 1305"/>
                <a:gd name="T31" fmla="*/ 251 h 360"/>
                <a:gd name="T32" fmla="*/ 1305 w 1305"/>
                <a:gd name="T33" fmla="*/ 323 h 360"/>
                <a:gd name="T34" fmla="*/ 1234 w 1305"/>
                <a:gd name="T35" fmla="*/ 320 h 360"/>
                <a:gd name="T36" fmla="*/ 1174 w 1305"/>
                <a:gd name="T37" fmla="*/ 255 h 360"/>
                <a:gd name="T38" fmla="*/ 1106 w 1305"/>
                <a:gd name="T39" fmla="*/ 200 h 360"/>
                <a:gd name="T40" fmla="*/ 1033 w 1305"/>
                <a:gd name="T41" fmla="*/ 153 h 360"/>
                <a:gd name="T42" fmla="*/ 955 w 1305"/>
                <a:gd name="T43" fmla="*/ 114 h 360"/>
                <a:gd name="T44" fmla="*/ 873 w 1305"/>
                <a:gd name="T45" fmla="*/ 84 h 360"/>
                <a:gd name="T46" fmla="*/ 788 w 1305"/>
                <a:gd name="T47" fmla="*/ 65 h 360"/>
                <a:gd name="T48" fmla="*/ 700 w 1305"/>
                <a:gd name="T49" fmla="*/ 53 h 360"/>
                <a:gd name="T50" fmla="*/ 609 w 1305"/>
                <a:gd name="T51" fmla="*/ 55 h 360"/>
                <a:gd name="T52" fmla="*/ 520 w 1305"/>
                <a:gd name="T53" fmla="*/ 65 h 360"/>
                <a:gd name="T54" fmla="*/ 434 w 1305"/>
                <a:gd name="T55" fmla="*/ 85 h 360"/>
                <a:gd name="T56" fmla="*/ 351 w 1305"/>
                <a:gd name="T57" fmla="*/ 115 h 360"/>
                <a:gd name="T58" fmla="*/ 274 w 1305"/>
                <a:gd name="T59" fmla="*/ 154 h 360"/>
                <a:gd name="T60" fmla="*/ 200 w 1305"/>
                <a:gd name="T61" fmla="*/ 202 h 360"/>
                <a:gd name="T62" fmla="*/ 133 w 1305"/>
                <a:gd name="T63" fmla="*/ 259 h 360"/>
                <a:gd name="T64" fmla="*/ 71 w 1305"/>
                <a:gd name="T65" fmla="*/ 324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5" h="360">
                  <a:moveTo>
                    <a:pt x="42" y="360"/>
                  </a:moveTo>
                  <a:lnTo>
                    <a:pt x="0" y="328"/>
                  </a:lnTo>
                  <a:lnTo>
                    <a:pt x="30" y="291"/>
                  </a:lnTo>
                  <a:lnTo>
                    <a:pt x="62" y="255"/>
                  </a:lnTo>
                  <a:lnTo>
                    <a:pt x="97" y="220"/>
                  </a:lnTo>
                  <a:lnTo>
                    <a:pt x="131" y="190"/>
                  </a:lnTo>
                  <a:lnTo>
                    <a:pt x="169" y="160"/>
                  </a:lnTo>
                  <a:lnTo>
                    <a:pt x="207" y="134"/>
                  </a:lnTo>
                  <a:lnTo>
                    <a:pt x="248" y="108"/>
                  </a:lnTo>
                  <a:lnTo>
                    <a:pt x="288" y="86"/>
                  </a:lnTo>
                  <a:lnTo>
                    <a:pt x="331" y="66"/>
                  </a:lnTo>
                  <a:lnTo>
                    <a:pt x="375" y="49"/>
                  </a:lnTo>
                  <a:lnTo>
                    <a:pt x="419" y="35"/>
                  </a:lnTo>
                  <a:lnTo>
                    <a:pt x="465" y="23"/>
                  </a:lnTo>
                  <a:lnTo>
                    <a:pt x="511" y="13"/>
                  </a:lnTo>
                  <a:lnTo>
                    <a:pt x="559" y="6"/>
                  </a:lnTo>
                  <a:lnTo>
                    <a:pt x="606" y="1"/>
                  </a:lnTo>
                  <a:lnTo>
                    <a:pt x="655" y="0"/>
                  </a:lnTo>
                  <a:lnTo>
                    <a:pt x="703" y="1"/>
                  </a:lnTo>
                  <a:lnTo>
                    <a:pt x="750" y="6"/>
                  </a:lnTo>
                  <a:lnTo>
                    <a:pt x="796" y="13"/>
                  </a:lnTo>
                  <a:lnTo>
                    <a:pt x="843" y="22"/>
                  </a:lnTo>
                  <a:lnTo>
                    <a:pt x="887" y="35"/>
                  </a:lnTo>
                  <a:lnTo>
                    <a:pt x="932" y="49"/>
                  </a:lnTo>
                  <a:lnTo>
                    <a:pt x="975" y="65"/>
                  </a:lnTo>
                  <a:lnTo>
                    <a:pt x="1018" y="85"/>
                  </a:lnTo>
                  <a:lnTo>
                    <a:pt x="1059" y="107"/>
                  </a:lnTo>
                  <a:lnTo>
                    <a:pt x="1099" y="131"/>
                  </a:lnTo>
                  <a:lnTo>
                    <a:pt x="1136" y="157"/>
                  </a:lnTo>
                  <a:lnTo>
                    <a:pt x="1174" y="186"/>
                  </a:lnTo>
                  <a:lnTo>
                    <a:pt x="1208" y="217"/>
                  </a:lnTo>
                  <a:lnTo>
                    <a:pt x="1243" y="251"/>
                  </a:lnTo>
                  <a:lnTo>
                    <a:pt x="1275" y="285"/>
                  </a:lnTo>
                  <a:lnTo>
                    <a:pt x="1305" y="323"/>
                  </a:lnTo>
                  <a:lnTo>
                    <a:pt x="1263" y="354"/>
                  </a:lnTo>
                  <a:lnTo>
                    <a:pt x="1234" y="320"/>
                  </a:lnTo>
                  <a:lnTo>
                    <a:pt x="1205" y="287"/>
                  </a:lnTo>
                  <a:lnTo>
                    <a:pt x="1174" y="255"/>
                  </a:lnTo>
                  <a:lnTo>
                    <a:pt x="1141" y="226"/>
                  </a:lnTo>
                  <a:lnTo>
                    <a:pt x="1106" y="200"/>
                  </a:lnTo>
                  <a:lnTo>
                    <a:pt x="1070" y="174"/>
                  </a:lnTo>
                  <a:lnTo>
                    <a:pt x="1033" y="153"/>
                  </a:lnTo>
                  <a:lnTo>
                    <a:pt x="994" y="131"/>
                  </a:lnTo>
                  <a:lnTo>
                    <a:pt x="955" y="114"/>
                  </a:lnTo>
                  <a:lnTo>
                    <a:pt x="915" y="98"/>
                  </a:lnTo>
                  <a:lnTo>
                    <a:pt x="873" y="84"/>
                  </a:lnTo>
                  <a:lnTo>
                    <a:pt x="831" y="73"/>
                  </a:lnTo>
                  <a:lnTo>
                    <a:pt x="788" y="65"/>
                  </a:lnTo>
                  <a:lnTo>
                    <a:pt x="743" y="58"/>
                  </a:lnTo>
                  <a:lnTo>
                    <a:pt x="700" y="53"/>
                  </a:lnTo>
                  <a:lnTo>
                    <a:pt x="655" y="53"/>
                  </a:lnTo>
                  <a:lnTo>
                    <a:pt x="609" y="55"/>
                  </a:lnTo>
                  <a:lnTo>
                    <a:pt x="565" y="58"/>
                  </a:lnTo>
                  <a:lnTo>
                    <a:pt x="520" y="65"/>
                  </a:lnTo>
                  <a:lnTo>
                    <a:pt x="477" y="73"/>
                  </a:lnTo>
                  <a:lnTo>
                    <a:pt x="434" y="85"/>
                  </a:lnTo>
                  <a:lnTo>
                    <a:pt x="392" y="98"/>
                  </a:lnTo>
                  <a:lnTo>
                    <a:pt x="351" y="115"/>
                  </a:lnTo>
                  <a:lnTo>
                    <a:pt x="311" y="133"/>
                  </a:lnTo>
                  <a:lnTo>
                    <a:pt x="274" y="154"/>
                  </a:lnTo>
                  <a:lnTo>
                    <a:pt x="236" y="177"/>
                  </a:lnTo>
                  <a:lnTo>
                    <a:pt x="200" y="202"/>
                  </a:lnTo>
                  <a:lnTo>
                    <a:pt x="166" y="229"/>
                  </a:lnTo>
                  <a:lnTo>
                    <a:pt x="133" y="259"/>
                  </a:lnTo>
                  <a:lnTo>
                    <a:pt x="101" y="291"/>
                  </a:lnTo>
                  <a:lnTo>
                    <a:pt x="71" y="324"/>
                  </a:lnTo>
                  <a:lnTo>
                    <a:pt x="42"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1" name="Group 42">
            <a:extLst>
              <a:ext uri="{FF2B5EF4-FFF2-40B4-BE49-F238E27FC236}">
                <a16:creationId xmlns:a16="http://schemas.microsoft.com/office/drawing/2014/main" id="{F99B92EF-261A-4ECF-8688-8281A7A724F5}"/>
              </a:ext>
            </a:extLst>
          </p:cNvPr>
          <p:cNvGrpSpPr>
            <a:grpSpLocks noChangeAspect="1"/>
          </p:cNvGrpSpPr>
          <p:nvPr/>
        </p:nvGrpSpPr>
        <p:grpSpPr>
          <a:xfrm>
            <a:off x="650369" y="2724897"/>
            <a:ext cx="327460" cy="285619"/>
            <a:chOff x="3173413" y="1952625"/>
            <a:chExt cx="285750" cy="249238"/>
          </a:xfrm>
          <a:solidFill>
            <a:schemeClr val="bg1"/>
          </a:solidFill>
          <a:effectLst/>
        </p:grpSpPr>
        <p:sp>
          <p:nvSpPr>
            <p:cNvPr id="632" name="Freeform 83">
              <a:extLst>
                <a:ext uri="{FF2B5EF4-FFF2-40B4-BE49-F238E27FC236}">
                  <a16:creationId xmlns:a16="http://schemas.microsoft.com/office/drawing/2014/main" id="{8310169E-CB12-4C6E-864A-FB6551E2AD46}"/>
                </a:ext>
              </a:extLst>
            </p:cNvPr>
            <p:cNvSpPr>
              <a:spLocks noEditPoints="1"/>
            </p:cNvSpPr>
            <p:nvPr/>
          </p:nvSpPr>
          <p:spPr bwMode="auto">
            <a:xfrm>
              <a:off x="3173413" y="1952625"/>
              <a:ext cx="225425" cy="249238"/>
            </a:xfrm>
            <a:custGeom>
              <a:avLst/>
              <a:gdLst>
                <a:gd name="T0" fmla="*/ 37 w 713"/>
                <a:gd name="T1" fmla="*/ 654 h 786"/>
                <a:gd name="T2" fmla="*/ 60 w 713"/>
                <a:gd name="T3" fmla="*/ 578 h 786"/>
                <a:gd name="T4" fmla="*/ 188 w 713"/>
                <a:gd name="T5" fmla="*/ 520 h 786"/>
                <a:gd name="T6" fmla="*/ 295 w 713"/>
                <a:gd name="T7" fmla="*/ 482 h 786"/>
                <a:gd name="T8" fmla="*/ 299 w 713"/>
                <a:gd name="T9" fmla="*/ 372 h 786"/>
                <a:gd name="T10" fmla="*/ 265 w 713"/>
                <a:gd name="T11" fmla="*/ 342 h 786"/>
                <a:gd name="T12" fmla="*/ 241 w 713"/>
                <a:gd name="T13" fmla="*/ 287 h 786"/>
                <a:gd name="T14" fmla="*/ 235 w 713"/>
                <a:gd name="T15" fmla="*/ 248 h 786"/>
                <a:gd name="T16" fmla="*/ 220 w 713"/>
                <a:gd name="T17" fmla="*/ 237 h 786"/>
                <a:gd name="T18" fmla="*/ 221 w 713"/>
                <a:gd name="T19" fmla="*/ 202 h 786"/>
                <a:gd name="T20" fmla="*/ 235 w 713"/>
                <a:gd name="T21" fmla="*/ 193 h 786"/>
                <a:gd name="T22" fmla="*/ 235 w 713"/>
                <a:gd name="T23" fmla="*/ 164 h 786"/>
                <a:gd name="T24" fmla="*/ 225 w 713"/>
                <a:gd name="T25" fmla="*/ 96 h 786"/>
                <a:gd name="T26" fmla="*/ 246 w 713"/>
                <a:gd name="T27" fmla="*/ 83 h 786"/>
                <a:gd name="T28" fmla="*/ 275 w 713"/>
                <a:gd name="T29" fmla="*/ 79 h 786"/>
                <a:gd name="T30" fmla="*/ 289 w 713"/>
                <a:gd name="T31" fmla="*/ 56 h 786"/>
                <a:gd name="T32" fmla="*/ 345 w 713"/>
                <a:gd name="T33" fmla="*/ 34 h 786"/>
                <a:gd name="T34" fmla="*/ 459 w 713"/>
                <a:gd name="T35" fmla="*/ 42 h 786"/>
                <a:gd name="T36" fmla="*/ 490 w 713"/>
                <a:gd name="T37" fmla="*/ 64 h 786"/>
                <a:gd name="T38" fmla="*/ 493 w 713"/>
                <a:gd name="T39" fmla="*/ 123 h 786"/>
                <a:gd name="T40" fmla="*/ 476 w 713"/>
                <a:gd name="T41" fmla="*/ 189 h 786"/>
                <a:gd name="T42" fmla="*/ 489 w 713"/>
                <a:gd name="T43" fmla="*/ 198 h 786"/>
                <a:gd name="T44" fmla="*/ 493 w 713"/>
                <a:gd name="T45" fmla="*/ 238 h 786"/>
                <a:gd name="T46" fmla="*/ 479 w 713"/>
                <a:gd name="T47" fmla="*/ 248 h 786"/>
                <a:gd name="T48" fmla="*/ 473 w 713"/>
                <a:gd name="T49" fmla="*/ 287 h 786"/>
                <a:gd name="T50" fmla="*/ 453 w 713"/>
                <a:gd name="T51" fmla="*/ 342 h 786"/>
                <a:gd name="T52" fmla="*/ 424 w 713"/>
                <a:gd name="T53" fmla="*/ 372 h 786"/>
                <a:gd name="T54" fmla="*/ 427 w 713"/>
                <a:gd name="T55" fmla="*/ 482 h 786"/>
                <a:gd name="T56" fmla="*/ 531 w 713"/>
                <a:gd name="T57" fmla="*/ 520 h 786"/>
                <a:gd name="T58" fmla="*/ 654 w 713"/>
                <a:gd name="T59" fmla="*/ 578 h 786"/>
                <a:gd name="T60" fmla="*/ 677 w 713"/>
                <a:gd name="T61" fmla="*/ 654 h 786"/>
                <a:gd name="T62" fmla="*/ 30 w 713"/>
                <a:gd name="T63" fmla="*/ 756 h 786"/>
                <a:gd name="T64" fmla="*/ 452 w 713"/>
                <a:gd name="T65" fmla="*/ 387 h 786"/>
                <a:gd name="T66" fmla="*/ 490 w 713"/>
                <a:gd name="T67" fmla="*/ 335 h 786"/>
                <a:gd name="T68" fmla="*/ 504 w 713"/>
                <a:gd name="T69" fmla="*/ 271 h 786"/>
                <a:gd name="T70" fmla="*/ 524 w 713"/>
                <a:gd name="T71" fmla="*/ 238 h 786"/>
                <a:gd name="T72" fmla="*/ 522 w 713"/>
                <a:gd name="T73" fmla="*/ 193 h 786"/>
                <a:gd name="T74" fmla="*/ 523 w 713"/>
                <a:gd name="T75" fmla="*/ 127 h 786"/>
                <a:gd name="T76" fmla="*/ 516 w 713"/>
                <a:gd name="T77" fmla="*/ 49 h 786"/>
                <a:gd name="T78" fmla="*/ 471 w 713"/>
                <a:gd name="T79" fmla="*/ 14 h 786"/>
                <a:gd name="T80" fmla="*/ 385 w 713"/>
                <a:gd name="T81" fmla="*/ 0 h 786"/>
                <a:gd name="T82" fmla="*/ 290 w 713"/>
                <a:gd name="T83" fmla="*/ 19 h 786"/>
                <a:gd name="T84" fmla="*/ 252 w 713"/>
                <a:gd name="T85" fmla="*/ 53 h 786"/>
                <a:gd name="T86" fmla="*/ 211 w 713"/>
                <a:gd name="T87" fmla="*/ 64 h 786"/>
                <a:gd name="T88" fmla="*/ 195 w 713"/>
                <a:gd name="T89" fmla="*/ 95 h 786"/>
                <a:gd name="T90" fmla="*/ 206 w 713"/>
                <a:gd name="T91" fmla="*/ 173 h 786"/>
                <a:gd name="T92" fmla="*/ 192 w 713"/>
                <a:gd name="T93" fmla="*/ 192 h 786"/>
                <a:gd name="T94" fmla="*/ 189 w 713"/>
                <a:gd name="T95" fmla="*/ 237 h 786"/>
                <a:gd name="T96" fmla="*/ 209 w 713"/>
                <a:gd name="T97" fmla="*/ 271 h 786"/>
                <a:gd name="T98" fmla="*/ 226 w 713"/>
                <a:gd name="T99" fmla="*/ 336 h 786"/>
                <a:gd name="T100" fmla="*/ 271 w 713"/>
                <a:gd name="T101" fmla="*/ 388 h 786"/>
                <a:gd name="T102" fmla="*/ 173 w 713"/>
                <a:gd name="T103" fmla="*/ 495 h 786"/>
                <a:gd name="T104" fmla="*/ 51 w 713"/>
                <a:gd name="T105" fmla="*/ 549 h 786"/>
                <a:gd name="T106" fmla="*/ 16 w 713"/>
                <a:gd name="T107" fmla="*/ 596 h 786"/>
                <a:gd name="T108" fmla="*/ 1 w 713"/>
                <a:gd name="T109" fmla="*/ 725 h 786"/>
                <a:gd name="T110" fmla="*/ 3 w 713"/>
                <a:gd name="T111" fmla="*/ 780 h 786"/>
                <a:gd name="T112" fmla="*/ 698 w 713"/>
                <a:gd name="T113" fmla="*/ 786 h 786"/>
                <a:gd name="T114" fmla="*/ 712 w 713"/>
                <a:gd name="T115" fmla="*/ 777 h 786"/>
                <a:gd name="T116" fmla="*/ 711 w 713"/>
                <a:gd name="T117" fmla="*/ 697 h 786"/>
                <a:gd name="T118" fmla="*/ 695 w 713"/>
                <a:gd name="T119" fmla="*/ 586 h 786"/>
                <a:gd name="T120" fmla="*/ 655 w 713"/>
                <a:gd name="T121" fmla="*/ 542 h 786"/>
                <a:gd name="T122" fmla="*/ 512 w 713"/>
                <a:gd name="T123" fmla="*/ 482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3" h="786">
                  <a:moveTo>
                    <a:pt x="30" y="756"/>
                  </a:moveTo>
                  <a:lnTo>
                    <a:pt x="31" y="740"/>
                  </a:lnTo>
                  <a:lnTo>
                    <a:pt x="31" y="722"/>
                  </a:lnTo>
                  <a:lnTo>
                    <a:pt x="32" y="700"/>
                  </a:lnTo>
                  <a:lnTo>
                    <a:pt x="34" y="678"/>
                  </a:lnTo>
                  <a:lnTo>
                    <a:pt x="37" y="654"/>
                  </a:lnTo>
                  <a:lnTo>
                    <a:pt x="40" y="632"/>
                  </a:lnTo>
                  <a:lnTo>
                    <a:pt x="43" y="613"/>
                  </a:lnTo>
                  <a:lnTo>
                    <a:pt x="47" y="595"/>
                  </a:lnTo>
                  <a:lnTo>
                    <a:pt x="51" y="589"/>
                  </a:lnTo>
                  <a:lnTo>
                    <a:pt x="55" y="584"/>
                  </a:lnTo>
                  <a:lnTo>
                    <a:pt x="60" y="578"/>
                  </a:lnTo>
                  <a:lnTo>
                    <a:pt x="68" y="573"/>
                  </a:lnTo>
                  <a:lnTo>
                    <a:pt x="86" y="562"/>
                  </a:lnTo>
                  <a:lnTo>
                    <a:pt x="107" y="551"/>
                  </a:lnTo>
                  <a:lnTo>
                    <a:pt x="133" y="541"/>
                  </a:lnTo>
                  <a:lnTo>
                    <a:pt x="160" y="531"/>
                  </a:lnTo>
                  <a:lnTo>
                    <a:pt x="188" y="520"/>
                  </a:lnTo>
                  <a:lnTo>
                    <a:pt x="216" y="511"/>
                  </a:lnTo>
                  <a:lnTo>
                    <a:pt x="235" y="504"/>
                  </a:lnTo>
                  <a:lnTo>
                    <a:pt x="254" y="498"/>
                  </a:lnTo>
                  <a:lnTo>
                    <a:pt x="273" y="491"/>
                  </a:lnTo>
                  <a:lnTo>
                    <a:pt x="292" y="484"/>
                  </a:lnTo>
                  <a:lnTo>
                    <a:pt x="295" y="482"/>
                  </a:lnTo>
                  <a:lnTo>
                    <a:pt x="298" y="479"/>
                  </a:lnTo>
                  <a:lnTo>
                    <a:pt x="300" y="474"/>
                  </a:lnTo>
                  <a:lnTo>
                    <a:pt x="301" y="470"/>
                  </a:lnTo>
                  <a:lnTo>
                    <a:pt x="301" y="380"/>
                  </a:lnTo>
                  <a:lnTo>
                    <a:pt x="300" y="376"/>
                  </a:lnTo>
                  <a:lnTo>
                    <a:pt x="299" y="372"/>
                  </a:lnTo>
                  <a:lnTo>
                    <a:pt x="296" y="369"/>
                  </a:lnTo>
                  <a:lnTo>
                    <a:pt x="293" y="366"/>
                  </a:lnTo>
                  <a:lnTo>
                    <a:pt x="290" y="365"/>
                  </a:lnTo>
                  <a:lnTo>
                    <a:pt x="283" y="361"/>
                  </a:lnTo>
                  <a:lnTo>
                    <a:pt x="275" y="353"/>
                  </a:lnTo>
                  <a:lnTo>
                    <a:pt x="265" y="342"/>
                  </a:lnTo>
                  <a:lnTo>
                    <a:pt x="261" y="335"/>
                  </a:lnTo>
                  <a:lnTo>
                    <a:pt x="255" y="327"/>
                  </a:lnTo>
                  <a:lnTo>
                    <a:pt x="251" y="319"/>
                  </a:lnTo>
                  <a:lnTo>
                    <a:pt x="247" y="309"/>
                  </a:lnTo>
                  <a:lnTo>
                    <a:pt x="244" y="298"/>
                  </a:lnTo>
                  <a:lnTo>
                    <a:pt x="241" y="287"/>
                  </a:lnTo>
                  <a:lnTo>
                    <a:pt x="239" y="273"/>
                  </a:lnTo>
                  <a:lnTo>
                    <a:pt x="239" y="259"/>
                  </a:lnTo>
                  <a:lnTo>
                    <a:pt x="239" y="256"/>
                  </a:lnTo>
                  <a:lnTo>
                    <a:pt x="238" y="253"/>
                  </a:lnTo>
                  <a:lnTo>
                    <a:pt x="236" y="250"/>
                  </a:lnTo>
                  <a:lnTo>
                    <a:pt x="235" y="248"/>
                  </a:lnTo>
                  <a:lnTo>
                    <a:pt x="233" y="246"/>
                  </a:lnTo>
                  <a:lnTo>
                    <a:pt x="230" y="245"/>
                  </a:lnTo>
                  <a:lnTo>
                    <a:pt x="227" y="244"/>
                  </a:lnTo>
                  <a:lnTo>
                    <a:pt x="224" y="244"/>
                  </a:lnTo>
                  <a:lnTo>
                    <a:pt x="222" y="243"/>
                  </a:lnTo>
                  <a:lnTo>
                    <a:pt x="220" y="237"/>
                  </a:lnTo>
                  <a:lnTo>
                    <a:pt x="218" y="231"/>
                  </a:lnTo>
                  <a:lnTo>
                    <a:pt x="217" y="221"/>
                  </a:lnTo>
                  <a:lnTo>
                    <a:pt x="217" y="216"/>
                  </a:lnTo>
                  <a:lnTo>
                    <a:pt x="218" y="210"/>
                  </a:lnTo>
                  <a:lnTo>
                    <a:pt x="219" y="206"/>
                  </a:lnTo>
                  <a:lnTo>
                    <a:pt x="221" y="202"/>
                  </a:lnTo>
                  <a:lnTo>
                    <a:pt x="222" y="200"/>
                  </a:lnTo>
                  <a:lnTo>
                    <a:pt x="224" y="198"/>
                  </a:lnTo>
                  <a:lnTo>
                    <a:pt x="227" y="198"/>
                  </a:lnTo>
                  <a:lnTo>
                    <a:pt x="230" y="197"/>
                  </a:lnTo>
                  <a:lnTo>
                    <a:pt x="233" y="195"/>
                  </a:lnTo>
                  <a:lnTo>
                    <a:pt x="235" y="193"/>
                  </a:lnTo>
                  <a:lnTo>
                    <a:pt x="236" y="191"/>
                  </a:lnTo>
                  <a:lnTo>
                    <a:pt x="238" y="189"/>
                  </a:lnTo>
                  <a:lnTo>
                    <a:pt x="239" y="186"/>
                  </a:lnTo>
                  <a:lnTo>
                    <a:pt x="239" y="183"/>
                  </a:lnTo>
                  <a:lnTo>
                    <a:pt x="238" y="176"/>
                  </a:lnTo>
                  <a:lnTo>
                    <a:pt x="235" y="164"/>
                  </a:lnTo>
                  <a:lnTo>
                    <a:pt x="231" y="147"/>
                  </a:lnTo>
                  <a:lnTo>
                    <a:pt x="225" y="126"/>
                  </a:lnTo>
                  <a:lnTo>
                    <a:pt x="224" y="114"/>
                  </a:lnTo>
                  <a:lnTo>
                    <a:pt x="224" y="104"/>
                  </a:lnTo>
                  <a:lnTo>
                    <a:pt x="224" y="100"/>
                  </a:lnTo>
                  <a:lnTo>
                    <a:pt x="225" y="96"/>
                  </a:lnTo>
                  <a:lnTo>
                    <a:pt x="227" y="91"/>
                  </a:lnTo>
                  <a:lnTo>
                    <a:pt x="229" y="88"/>
                  </a:lnTo>
                  <a:lnTo>
                    <a:pt x="231" y="87"/>
                  </a:lnTo>
                  <a:lnTo>
                    <a:pt x="233" y="85"/>
                  </a:lnTo>
                  <a:lnTo>
                    <a:pt x="238" y="83"/>
                  </a:lnTo>
                  <a:lnTo>
                    <a:pt x="246" y="83"/>
                  </a:lnTo>
                  <a:lnTo>
                    <a:pt x="252" y="83"/>
                  </a:lnTo>
                  <a:lnTo>
                    <a:pt x="259" y="84"/>
                  </a:lnTo>
                  <a:lnTo>
                    <a:pt x="265" y="84"/>
                  </a:lnTo>
                  <a:lnTo>
                    <a:pt x="270" y="82"/>
                  </a:lnTo>
                  <a:lnTo>
                    <a:pt x="273" y="81"/>
                  </a:lnTo>
                  <a:lnTo>
                    <a:pt x="275" y="79"/>
                  </a:lnTo>
                  <a:lnTo>
                    <a:pt x="276" y="75"/>
                  </a:lnTo>
                  <a:lnTo>
                    <a:pt x="277" y="73"/>
                  </a:lnTo>
                  <a:lnTo>
                    <a:pt x="278" y="68"/>
                  </a:lnTo>
                  <a:lnTo>
                    <a:pt x="281" y="64"/>
                  </a:lnTo>
                  <a:lnTo>
                    <a:pt x="284" y="59"/>
                  </a:lnTo>
                  <a:lnTo>
                    <a:pt x="289" y="56"/>
                  </a:lnTo>
                  <a:lnTo>
                    <a:pt x="293" y="52"/>
                  </a:lnTo>
                  <a:lnTo>
                    <a:pt x="298" y="49"/>
                  </a:lnTo>
                  <a:lnTo>
                    <a:pt x="305" y="45"/>
                  </a:lnTo>
                  <a:lnTo>
                    <a:pt x="312" y="42"/>
                  </a:lnTo>
                  <a:lnTo>
                    <a:pt x="327" y="37"/>
                  </a:lnTo>
                  <a:lnTo>
                    <a:pt x="345" y="34"/>
                  </a:lnTo>
                  <a:lnTo>
                    <a:pt x="365" y="30"/>
                  </a:lnTo>
                  <a:lnTo>
                    <a:pt x="385" y="30"/>
                  </a:lnTo>
                  <a:lnTo>
                    <a:pt x="407" y="30"/>
                  </a:lnTo>
                  <a:lnTo>
                    <a:pt x="426" y="34"/>
                  </a:lnTo>
                  <a:lnTo>
                    <a:pt x="443" y="37"/>
                  </a:lnTo>
                  <a:lnTo>
                    <a:pt x="459" y="42"/>
                  </a:lnTo>
                  <a:lnTo>
                    <a:pt x="466" y="45"/>
                  </a:lnTo>
                  <a:lnTo>
                    <a:pt x="472" y="49"/>
                  </a:lnTo>
                  <a:lnTo>
                    <a:pt x="477" y="52"/>
                  </a:lnTo>
                  <a:lnTo>
                    <a:pt x="483" y="56"/>
                  </a:lnTo>
                  <a:lnTo>
                    <a:pt x="487" y="59"/>
                  </a:lnTo>
                  <a:lnTo>
                    <a:pt x="490" y="64"/>
                  </a:lnTo>
                  <a:lnTo>
                    <a:pt x="492" y="68"/>
                  </a:lnTo>
                  <a:lnTo>
                    <a:pt x="494" y="73"/>
                  </a:lnTo>
                  <a:lnTo>
                    <a:pt x="496" y="85"/>
                  </a:lnTo>
                  <a:lnTo>
                    <a:pt x="497" y="98"/>
                  </a:lnTo>
                  <a:lnTo>
                    <a:pt x="496" y="111"/>
                  </a:lnTo>
                  <a:lnTo>
                    <a:pt x="493" y="123"/>
                  </a:lnTo>
                  <a:lnTo>
                    <a:pt x="487" y="145"/>
                  </a:lnTo>
                  <a:lnTo>
                    <a:pt x="481" y="163"/>
                  </a:lnTo>
                  <a:lnTo>
                    <a:pt x="476" y="175"/>
                  </a:lnTo>
                  <a:lnTo>
                    <a:pt x="474" y="183"/>
                  </a:lnTo>
                  <a:lnTo>
                    <a:pt x="475" y="186"/>
                  </a:lnTo>
                  <a:lnTo>
                    <a:pt x="476" y="189"/>
                  </a:lnTo>
                  <a:lnTo>
                    <a:pt x="477" y="191"/>
                  </a:lnTo>
                  <a:lnTo>
                    <a:pt x="479" y="193"/>
                  </a:lnTo>
                  <a:lnTo>
                    <a:pt x="482" y="195"/>
                  </a:lnTo>
                  <a:lnTo>
                    <a:pt x="484" y="197"/>
                  </a:lnTo>
                  <a:lnTo>
                    <a:pt x="487" y="198"/>
                  </a:lnTo>
                  <a:lnTo>
                    <a:pt x="489" y="198"/>
                  </a:lnTo>
                  <a:lnTo>
                    <a:pt x="491" y="200"/>
                  </a:lnTo>
                  <a:lnTo>
                    <a:pt x="493" y="204"/>
                  </a:lnTo>
                  <a:lnTo>
                    <a:pt x="496" y="210"/>
                  </a:lnTo>
                  <a:lnTo>
                    <a:pt x="497" y="221"/>
                  </a:lnTo>
                  <a:lnTo>
                    <a:pt x="496" y="231"/>
                  </a:lnTo>
                  <a:lnTo>
                    <a:pt x="493" y="238"/>
                  </a:lnTo>
                  <a:lnTo>
                    <a:pt x="491" y="243"/>
                  </a:lnTo>
                  <a:lnTo>
                    <a:pt x="489" y="244"/>
                  </a:lnTo>
                  <a:lnTo>
                    <a:pt x="487" y="244"/>
                  </a:lnTo>
                  <a:lnTo>
                    <a:pt x="484" y="245"/>
                  </a:lnTo>
                  <a:lnTo>
                    <a:pt x="482" y="246"/>
                  </a:lnTo>
                  <a:lnTo>
                    <a:pt x="479" y="248"/>
                  </a:lnTo>
                  <a:lnTo>
                    <a:pt x="477" y="250"/>
                  </a:lnTo>
                  <a:lnTo>
                    <a:pt x="476" y="253"/>
                  </a:lnTo>
                  <a:lnTo>
                    <a:pt x="475" y="256"/>
                  </a:lnTo>
                  <a:lnTo>
                    <a:pt x="474" y="259"/>
                  </a:lnTo>
                  <a:lnTo>
                    <a:pt x="474" y="273"/>
                  </a:lnTo>
                  <a:lnTo>
                    <a:pt x="473" y="287"/>
                  </a:lnTo>
                  <a:lnTo>
                    <a:pt x="471" y="298"/>
                  </a:lnTo>
                  <a:lnTo>
                    <a:pt x="468" y="309"/>
                  </a:lnTo>
                  <a:lnTo>
                    <a:pt x="464" y="319"/>
                  </a:lnTo>
                  <a:lnTo>
                    <a:pt x="460" y="327"/>
                  </a:lnTo>
                  <a:lnTo>
                    <a:pt x="457" y="336"/>
                  </a:lnTo>
                  <a:lnTo>
                    <a:pt x="453" y="342"/>
                  </a:lnTo>
                  <a:lnTo>
                    <a:pt x="444" y="353"/>
                  </a:lnTo>
                  <a:lnTo>
                    <a:pt x="437" y="361"/>
                  </a:lnTo>
                  <a:lnTo>
                    <a:pt x="431" y="365"/>
                  </a:lnTo>
                  <a:lnTo>
                    <a:pt x="429" y="367"/>
                  </a:lnTo>
                  <a:lnTo>
                    <a:pt x="426" y="369"/>
                  </a:lnTo>
                  <a:lnTo>
                    <a:pt x="424" y="372"/>
                  </a:lnTo>
                  <a:lnTo>
                    <a:pt x="423" y="376"/>
                  </a:lnTo>
                  <a:lnTo>
                    <a:pt x="422" y="380"/>
                  </a:lnTo>
                  <a:lnTo>
                    <a:pt x="422" y="470"/>
                  </a:lnTo>
                  <a:lnTo>
                    <a:pt x="423" y="474"/>
                  </a:lnTo>
                  <a:lnTo>
                    <a:pt x="425" y="479"/>
                  </a:lnTo>
                  <a:lnTo>
                    <a:pt x="427" y="482"/>
                  </a:lnTo>
                  <a:lnTo>
                    <a:pt x="431" y="484"/>
                  </a:lnTo>
                  <a:lnTo>
                    <a:pt x="449" y="490"/>
                  </a:lnTo>
                  <a:lnTo>
                    <a:pt x="467" y="497"/>
                  </a:lnTo>
                  <a:lnTo>
                    <a:pt x="485" y="503"/>
                  </a:lnTo>
                  <a:lnTo>
                    <a:pt x="502" y="510"/>
                  </a:lnTo>
                  <a:lnTo>
                    <a:pt x="531" y="520"/>
                  </a:lnTo>
                  <a:lnTo>
                    <a:pt x="559" y="530"/>
                  </a:lnTo>
                  <a:lnTo>
                    <a:pt x="586" y="541"/>
                  </a:lnTo>
                  <a:lnTo>
                    <a:pt x="609" y="551"/>
                  </a:lnTo>
                  <a:lnTo>
                    <a:pt x="631" y="562"/>
                  </a:lnTo>
                  <a:lnTo>
                    <a:pt x="647" y="573"/>
                  </a:lnTo>
                  <a:lnTo>
                    <a:pt x="654" y="578"/>
                  </a:lnTo>
                  <a:lnTo>
                    <a:pt x="660" y="584"/>
                  </a:lnTo>
                  <a:lnTo>
                    <a:pt x="663" y="589"/>
                  </a:lnTo>
                  <a:lnTo>
                    <a:pt x="666" y="595"/>
                  </a:lnTo>
                  <a:lnTo>
                    <a:pt x="670" y="613"/>
                  </a:lnTo>
                  <a:lnTo>
                    <a:pt x="675" y="632"/>
                  </a:lnTo>
                  <a:lnTo>
                    <a:pt x="677" y="654"/>
                  </a:lnTo>
                  <a:lnTo>
                    <a:pt x="679" y="678"/>
                  </a:lnTo>
                  <a:lnTo>
                    <a:pt x="681" y="700"/>
                  </a:lnTo>
                  <a:lnTo>
                    <a:pt x="682" y="722"/>
                  </a:lnTo>
                  <a:lnTo>
                    <a:pt x="682" y="740"/>
                  </a:lnTo>
                  <a:lnTo>
                    <a:pt x="683" y="756"/>
                  </a:lnTo>
                  <a:lnTo>
                    <a:pt x="30" y="756"/>
                  </a:lnTo>
                  <a:close/>
                  <a:moveTo>
                    <a:pt x="512" y="482"/>
                  </a:moveTo>
                  <a:lnTo>
                    <a:pt x="497" y="476"/>
                  </a:lnTo>
                  <a:lnTo>
                    <a:pt x="482" y="471"/>
                  </a:lnTo>
                  <a:lnTo>
                    <a:pt x="467" y="466"/>
                  </a:lnTo>
                  <a:lnTo>
                    <a:pt x="452" y="459"/>
                  </a:lnTo>
                  <a:lnTo>
                    <a:pt x="452" y="387"/>
                  </a:lnTo>
                  <a:lnTo>
                    <a:pt x="458" y="382"/>
                  </a:lnTo>
                  <a:lnTo>
                    <a:pt x="466" y="373"/>
                  </a:lnTo>
                  <a:lnTo>
                    <a:pt x="474" y="364"/>
                  </a:lnTo>
                  <a:lnTo>
                    <a:pt x="483" y="351"/>
                  </a:lnTo>
                  <a:lnTo>
                    <a:pt x="487" y="343"/>
                  </a:lnTo>
                  <a:lnTo>
                    <a:pt x="490" y="335"/>
                  </a:lnTo>
                  <a:lnTo>
                    <a:pt x="493" y="326"/>
                  </a:lnTo>
                  <a:lnTo>
                    <a:pt x="497" y="317"/>
                  </a:lnTo>
                  <a:lnTo>
                    <a:pt x="500" y="306"/>
                  </a:lnTo>
                  <a:lnTo>
                    <a:pt x="502" y="295"/>
                  </a:lnTo>
                  <a:lnTo>
                    <a:pt x="503" y="283"/>
                  </a:lnTo>
                  <a:lnTo>
                    <a:pt x="504" y="271"/>
                  </a:lnTo>
                  <a:lnTo>
                    <a:pt x="508" y="267"/>
                  </a:lnTo>
                  <a:lnTo>
                    <a:pt x="513" y="264"/>
                  </a:lnTo>
                  <a:lnTo>
                    <a:pt x="517" y="259"/>
                  </a:lnTo>
                  <a:lnTo>
                    <a:pt x="519" y="254"/>
                  </a:lnTo>
                  <a:lnTo>
                    <a:pt x="522" y="247"/>
                  </a:lnTo>
                  <a:lnTo>
                    <a:pt x="524" y="238"/>
                  </a:lnTo>
                  <a:lnTo>
                    <a:pt x="527" y="230"/>
                  </a:lnTo>
                  <a:lnTo>
                    <a:pt x="527" y="221"/>
                  </a:lnTo>
                  <a:lnTo>
                    <a:pt x="527" y="213"/>
                  </a:lnTo>
                  <a:lnTo>
                    <a:pt x="526" y="206"/>
                  </a:lnTo>
                  <a:lnTo>
                    <a:pt x="524" y="199"/>
                  </a:lnTo>
                  <a:lnTo>
                    <a:pt x="522" y="193"/>
                  </a:lnTo>
                  <a:lnTo>
                    <a:pt x="519" y="187"/>
                  </a:lnTo>
                  <a:lnTo>
                    <a:pt x="516" y="183"/>
                  </a:lnTo>
                  <a:lnTo>
                    <a:pt x="513" y="177"/>
                  </a:lnTo>
                  <a:lnTo>
                    <a:pt x="508" y="174"/>
                  </a:lnTo>
                  <a:lnTo>
                    <a:pt x="516" y="154"/>
                  </a:lnTo>
                  <a:lnTo>
                    <a:pt x="523" y="127"/>
                  </a:lnTo>
                  <a:lnTo>
                    <a:pt x="526" y="113"/>
                  </a:lnTo>
                  <a:lnTo>
                    <a:pt x="527" y="97"/>
                  </a:lnTo>
                  <a:lnTo>
                    <a:pt x="526" y="82"/>
                  </a:lnTo>
                  <a:lnTo>
                    <a:pt x="523" y="66"/>
                  </a:lnTo>
                  <a:lnTo>
                    <a:pt x="520" y="57"/>
                  </a:lnTo>
                  <a:lnTo>
                    <a:pt x="516" y="49"/>
                  </a:lnTo>
                  <a:lnTo>
                    <a:pt x="511" y="41"/>
                  </a:lnTo>
                  <a:lnTo>
                    <a:pt x="504" y="35"/>
                  </a:lnTo>
                  <a:lnTo>
                    <a:pt x="497" y="29"/>
                  </a:lnTo>
                  <a:lnTo>
                    <a:pt x="489" y="24"/>
                  </a:lnTo>
                  <a:lnTo>
                    <a:pt x="481" y="19"/>
                  </a:lnTo>
                  <a:lnTo>
                    <a:pt x="471" y="14"/>
                  </a:lnTo>
                  <a:lnTo>
                    <a:pt x="461" y="11"/>
                  </a:lnTo>
                  <a:lnTo>
                    <a:pt x="450" y="8"/>
                  </a:lnTo>
                  <a:lnTo>
                    <a:pt x="440" y="6"/>
                  </a:lnTo>
                  <a:lnTo>
                    <a:pt x="429" y="4"/>
                  </a:lnTo>
                  <a:lnTo>
                    <a:pt x="407" y="0"/>
                  </a:lnTo>
                  <a:lnTo>
                    <a:pt x="385" y="0"/>
                  </a:lnTo>
                  <a:lnTo>
                    <a:pt x="366" y="0"/>
                  </a:lnTo>
                  <a:lnTo>
                    <a:pt x="345" y="3"/>
                  </a:lnTo>
                  <a:lnTo>
                    <a:pt x="326" y="7"/>
                  </a:lnTo>
                  <a:lnTo>
                    <a:pt x="308" y="12"/>
                  </a:lnTo>
                  <a:lnTo>
                    <a:pt x="298" y="15"/>
                  </a:lnTo>
                  <a:lnTo>
                    <a:pt x="290" y="19"/>
                  </a:lnTo>
                  <a:lnTo>
                    <a:pt x="282" y="23"/>
                  </a:lnTo>
                  <a:lnTo>
                    <a:pt x="275" y="28"/>
                  </a:lnTo>
                  <a:lnTo>
                    <a:pt x="268" y="34"/>
                  </a:lnTo>
                  <a:lnTo>
                    <a:pt x="262" y="39"/>
                  </a:lnTo>
                  <a:lnTo>
                    <a:pt x="256" y="45"/>
                  </a:lnTo>
                  <a:lnTo>
                    <a:pt x="252" y="53"/>
                  </a:lnTo>
                  <a:lnTo>
                    <a:pt x="244" y="53"/>
                  </a:lnTo>
                  <a:lnTo>
                    <a:pt x="235" y="53"/>
                  </a:lnTo>
                  <a:lnTo>
                    <a:pt x="227" y="55"/>
                  </a:lnTo>
                  <a:lnTo>
                    <a:pt x="221" y="57"/>
                  </a:lnTo>
                  <a:lnTo>
                    <a:pt x="216" y="60"/>
                  </a:lnTo>
                  <a:lnTo>
                    <a:pt x="211" y="64"/>
                  </a:lnTo>
                  <a:lnTo>
                    <a:pt x="208" y="67"/>
                  </a:lnTo>
                  <a:lnTo>
                    <a:pt x="205" y="70"/>
                  </a:lnTo>
                  <a:lnTo>
                    <a:pt x="202" y="75"/>
                  </a:lnTo>
                  <a:lnTo>
                    <a:pt x="199" y="82"/>
                  </a:lnTo>
                  <a:lnTo>
                    <a:pt x="196" y="87"/>
                  </a:lnTo>
                  <a:lnTo>
                    <a:pt x="195" y="95"/>
                  </a:lnTo>
                  <a:lnTo>
                    <a:pt x="194" y="108"/>
                  </a:lnTo>
                  <a:lnTo>
                    <a:pt x="195" y="122"/>
                  </a:lnTo>
                  <a:lnTo>
                    <a:pt x="197" y="137"/>
                  </a:lnTo>
                  <a:lnTo>
                    <a:pt x="200" y="149"/>
                  </a:lnTo>
                  <a:lnTo>
                    <a:pt x="203" y="162"/>
                  </a:lnTo>
                  <a:lnTo>
                    <a:pt x="206" y="173"/>
                  </a:lnTo>
                  <a:lnTo>
                    <a:pt x="206" y="173"/>
                  </a:lnTo>
                  <a:lnTo>
                    <a:pt x="206" y="174"/>
                  </a:lnTo>
                  <a:lnTo>
                    <a:pt x="202" y="177"/>
                  </a:lnTo>
                  <a:lnTo>
                    <a:pt x="199" y="182"/>
                  </a:lnTo>
                  <a:lnTo>
                    <a:pt x="195" y="187"/>
                  </a:lnTo>
                  <a:lnTo>
                    <a:pt x="192" y="192"/>
                  </a:lnTo>
                  <a:lnTo>
                    <a:pt x="190" y="199"/>
                  </a:lnTo>
                  <a:lnTo>
                    <a:pt x="188" y="205"/>
                  </a:lnTo>
                  <a:lnTo>
                    <a:pt x="187" y="213"/>
                  </a:lnTo>
                  <a:lnTo>
                    <a:pt x="187" y="221"/>
                  </a:lnTo>
                  <a:lnTo>
                    <a:pt x="187" y="230"/>
                  </a:lnTo>
                  <a:lnTo>
                    <a:pt x="189" y="237"/>
                  </a:lnTo>
                  <a:lnTo>
                    <a:pt x="190" y="245"/>
                  </a:lnTo>
                  <a:lnTo>
                    <a:pt x="193" y="251"/>
                  </a:lnTo>
                  <a:lnTo>
                    <a:pt x="196" y="258"/>
                  </a:lnTo>
                  <a:lnTo>
                    <a:pt x="200" y="263"/>
                  </a:lnTo>
                  <a:lnTo>
                    <a:pt x="205" y="267"/>
                  </a:lnTo>
                  <a:lnTo>
                    <a:pt x="209" y="271"/>
                  </a:lnTo>
                  <a:lnTo>
                    <a:pt x="210" y="283"/>
                  </a:lnTo>
                  <a:lnTo>
                    <a:pt x="212" y="295"/>
                  </a:lnTo>
                  <a:lnTo>
                    <a:pt x="215" y="307"/>
                  </a:lnTo>
                  <a:lnTo>
                    <a:pt x="218" y="317"/>
                  </a:lnTo>
                  <a:lnTo>
                    <a:pt x="222" y="326"/>
                  </a:lnTo>
                  <a:lnTo>
                    <a:pt x="226" y="336"/>
                  </a:lnTo>
                  <a:lnTo>
                    <a:pt x="231" y="343"/>
                  </a:lnTo>
                  <a:lnTo>
                    <a:pt x="235" y="351"/>
                  </a:lnTo>
                  <a:lnTo>
                    <a:pt x="245" y="365"/>
                  </a:lnTo>
                  <a:lnTo>
                    <a:pt x="254" y="375"/>
                  </a:lnTo>
                  <a:lnTo>
                    <a:pt x="264" y="383"/>
                  </a:lnTo>
                  <a:lnTo>
                    <a:pt x="271" y="388"/>
                  </a:lnTo>
                  <a:lnTo>
                    <a:pt x="271" y="459"/>
                  </a:lnTo>
                  <a:lnTo>
                    <a:pt x="255" y="466"/>
                  </a:lnTo>
                  <a:lnTo>
                    <a:pt x="239" y="471"/>
                  </a:lnTo>
                  <a:lnTo>
                    <a:pt x="222" y="477"/>
                  </a:lnTo>
                  <a:lnTo>
                    <a:pt x="206" y="483"/>
                  </a:lnTo>
                  <a:lnTo>
                    <a:pt x="173" y="495"/>
                  </a:lnTo>
                  <a:lnTo>
                    <a:pt x="140" y="506"/>
                  </a:lnTo>
                  <a:lnTo>
                    <a:pt x="111" y="518"/>
                  </a:lnTo>
                  <a:lnTo>
                    <a:pt x="84" y="530"/>
                  </a:lnTo>
                  <a:lnTo>
                    <a:pt x="71" y="536"/>
                  </a:lnTo>
                  <a:lnTo>
                    <a:pt x="60" y="542"/>
                  </a:lnTo>
                  <a:lnTo>
                    <a:pt x="51" y="549"/>
                  </a:lnTo>
                  <a:lnTo>
                    <a:pt x="42" y="556"/>
                  </a:lnTo>
                  <a:lnTo>
                    <a:pt x="33" y="562"/>
                  </a:lnTo>
                  <a:lnTo>
                    <a:pt x="28" y="570"/>
                  </a:lnTo>
                  <a:lnTo>
                    <a:pt x="23" y="577"/>
                  </a:lnTo>
                  <a:lnTo>
                    <a:pt x="19" y="586"/>
                  </a:lnTo>
                  <a:lnTo>
                    <a:pt x="16" y="596"/>
                  </a:lnTo>
                  <a:lnTo>
                    <a:pt x="13" y="609"/>
                  </a:lnTo>
                  <a:lnTo>
                    <a:pt x="11" y="623"/>
                  </a:lnTo>
                  <a:lnTo>
                    <a:pt x="9" y="637"/>
                  </a:lnTo>
                  <a:lnTo>
                    <a:pt x="6" y="667"/>
                  </a:lnTo>
                  <a:lnTo>
                    <a:pt x="3" y="697"/>
                  </a:lnTo>
                  <a:lnTo>
                    <a:pt x="1" y="725"/>
                  </a:lnTo>
                  <a:lnTo>
                    <a:pt x="1" y="748"/>
                  </a:lnTo>
                  <a:lnTo>
                    <a:pt x="0" y="764"/>
                  </a:lnTo>
                  <a:lnTo>
                    <a:pt x="0" y="771"/>
                  </a:lnTo>
                  <a:lnTo>
                    <a:pt x="1" y="774"/>
                  </a:lnTo>
                  <a:lnTo>
                    <a:pt x="1" y="777"/>
                  </a:lnTo>
                  <a:lnTo>
                    <a:pt x="3" y="780"/>
                  </a:lnTo>
                  <a:lnTo>
                    <a:pt x="4" y="782"/>
                  </a:lnTo>
                  <a:lnTo>
                    <a:pt x="7" y="783"/>
                  </a:lnTo>
                  <a:lnTo>
                    <a:pt x="10" y="785"/>
                  </a:lnTo>
                  <a:lnTo>
                    <a:pt x="12" y="785"/>
                  </a:lnTo>
                  <a:lnTo>
                    <a:pt x="15" y="786"/>
                  </a:lnTo>
                  <a:lnTo>
                    <a:pt x="698" y="786"/>
                  </a:lnTo>
                  <a:lnTo>
                    <a:pt x="701" y="785"/>
                  </a:lnTo>
                  <a:lnTo>
                    <a:pt x="704" y="785"/>
                  </a:lnTo>
                  <a:lnTo>
                    <a:pt x="707" y="783"/>
                  </a:lnTo>
                  <a:lnTo>
                    <a:pt x="709" y="782"/>
                  </a:lnTo>
                  <a:lnTo>
                    <a:pt x="711" y="780"/>
                  </a:lnTo>
                  <a:lnTo>
                    <a:pt x="712" y="777"/>
                  </a:lnTo>
                  <a:lnTo>
                    <a:pt x="713" y="774"/>
                  </a:lnTo>
                  <a:lnTo>
                    <a:pt x="713" y="771"/>
                  </a:lnTo>
                  <a:lnTo>
                    <a:pt x="713" y="764"/>
                  </a:lnTo>
                  <a:lnTo>
                    <a:pt x="713" y="748"/>
                  </a:lnTo>
                  <a:lnTo>
                    <a:pt x="712" y="725"/>
                  </a:lnTo>
                  <a:lnTo>
                    <a:pt x="711" y="697"/>
                  </a:lnTo>
                  <a:lnTo>
                    <a:pt x="709" y="667"/>
                  </a:lnTo>
                  <a:lnTo>
                    <a:pt x="706" y="637"/>
                  </a:lnTo>
                  <a:lnTo>
                    <a:pt x="704" y="623"/>
                  </a:lnTo>
                  <a:lnTo>
                    <a:pt x="700" y="609"/>
                  </a:lnTo>
                  <a:lnTo>
                    <a:pt x="698" y="596"/>
                  </a:lnTo>
                  <a:lnTo>
                    <a:pt x="695" y="586"/>
                  </a:lnTo>
                  <a:lnTo>
                    <a:pt x="691" y="577"/>
                  </a:lnTo>
                  <a:lnTo>
                    <a:pt x="686" y="570"/>
                  </a:lnTo>
                  <a:lnTo>
                    <a:pt x="680" y="562"/>
                  </a:lnTo>
                  <a:lnTo>
                    <a:pt x="672" y="555"/>
                  </a:lnTo>
                  <a:lnTo>
                    <a:pt x="665" y="548"/>
                  </a:lnTo>
                  <a:lnTo>
                    <a:pt x="655" y="542"/>
                  </a:lnTo>
                  <a:lnTo>
                    <a:pt x="645" y="535"/>
                  </a:lnTo>
                  <a:lnTo>
                    <a:pt x="633" y="529"/>
                  </a:lnTo>
                  <a:lnTo>
                    <a:pt x="607" y="517"/>
                  </a:lnTo>
                  <a:lnTo>
                    <a:pt x="578" y="505"/>
                  </a:lnTo>
                  <a:lnTo>
                    <a:pt x="546" y="494"/>
                  </a:lnTo>
                  <a:lnTo>
                    <a:pt x="512"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84">
              <a:extLst>
                <a:ext uri="{FF2B5EF4-FFF2-40B4-BE49-F238E27FC236}">
                  <a16:creationId xmlns:a16="http://schemas.microsoft.com/office/drawing/2014/main" id="{70FF8B13-CEA9-486D-B59D-1F7640997B5C}"/>
                </a:ext>
              </a:extLst>
            </p:cNvPr>
            <p:cNvSpPr>
              <a:spLocks/>
            </p:cNvSpPr>
            <p:nvPr/>
          </p:nvSpPr>
          <p:spPr bwMode="auto">
            <a:xfrm>
              <a:off x="3348038" y="1954213"/>
              <a:ext cx="111125" cy="247650"/>
            </a:xfrm>
            <a:custGeom>
              <a:avLst/>
              <a:gdLst>
                <a:gd name="T0" fmla="*/ 315 w 353"/>
                <a:gd name="T1" fmla="*/ 553 h 782"/>
                <a:gd name="T2" fmla="*/ 265 w 353"/>
                <a:gd name="T3" fmla="*/ 517 h 782"/>
                <a:gd name="T4" fmla="*/ 129 w 353"/>
                <a:gd name="T5" fmla="*/ 458 h 782"/>
                <a:gd name="T6" fmla="*/ 90 w 353"/>
                <a:gd name="T7" fmla="*/ 394 h 782"/>
                <a:gd name="T8" fmla="*/ 124 w 353"/>
                <a:gd name="T9" fmla="*/ 358 h 782"/>
                <a:gd name="T10" fmla="*/ 139 w 353"/>
                <a:gd name="T11" fmla="*/ 321 h 782"/>
                <a:gd name="T12" fmla="*/ 148 w 353"/>
                <a:gd name="T13" fmla="*/ 283 h 782"/>
                <a:gd name="T14" fmla="*/ 162 w 353"/>
                <a:gd name="T15" fmla="*/ 261 h 782"/>
                <a:gd name="T16" fmla="*/ 166 w 353"/>
                <a:gd name="T17" fmla="*/ 228 h 782"/>
                <a:gd name="T18" fmla="*/ 159 w 353"/>
                <a:gd name="T19" fmla="*/ 202 h 782"/>
                <a:gd name="T20" fmla="*/ 148 w 353"/>
                <a:gd name="T21" fmla="*/ 188 h 782"/>
                <a:gd name="T22" fmla="*/ 165 w 353"/>
                <a:gd name="T23" fmla="*/ 122 h 782"/>
                <a:gd name="T24" fmla="*/ 159 w 353"/>
                <a:gd name="T25" fmla="*/ 64 h 782"/>
                <a:gd name="T26" fmla="*/ 129 w 353"/>
                <a:gd name="T27" fmla="*/ 26 h 782"/>
                <a:gd name="T28" fmla="*/ 83 w 353"/>
                <a:gd name="T29" fmla="*/ 3 h 782"/>
                <a:gd name="T30" fmla="*/ 38 w 353"/>
                <a:gd name="T31" fmla="*/ 2 h 782"/>
                <a:gd name="T32" fmla="*/ 5 w 353"/>
                <a:gd name="T33" fmla="*/ 17 h 782"/>
                <a:gd name="T34" fmla="*/ 0 w 353"/>
                <a:gd name="T35" fmla="*/ 27 h 782"/>
                <a:gd name="T36" fmla="*/ 5 w 353"/>
                <a:gd name="T37" fmla="*/ 38 h 782"/>
                <a:gd name="T38" fmla="*/ 15 w 353"/>
                <a:gd name="T39" fmla="*/ 42 h 782"/>
                <a:gd name="T40" fmla="*/ 32 w 353"/>
                <a:gd name="T41" fmla="*/ 35 h 782"/>
                <a:gd name="T42" fmla="*/ 65 w 353"/>
                <a:gd name="T43" fmla="*/ 30 h 782"/>
                <a:gd name="T44" fmla="*/ 93 w 353"/>
                <a:gd name="T45" fmla="*/ 39 h 782"/>
                <a:gd name="T46" fmla="*/ 124 w 353"/>
                <a:gd name="T47" fmla="*/ 64 h 782"/>
                <a:gd name="T48" fmla="*/ 135 w 353"/>
                <a:gd name="T49" fmla="*/ 94 h 782"/>
                <a:gd name="T50" fmla="*/ 127 w 353"/>
                <a:gd name="T51" fmla="*/ 158 h 782"/>
                <a:gd name="T52" fmla="*/ 115 w 353"/>
                <a:gd name="T53" fmla="*/ 201 h 782"/>
                <a:gd name="T54" fmla="*/ 120 w 353"/>
                <a:gd name="T55" fmla="*/ 211 h 782"/>
                <a:gd name="T56" fmla="*/ 131 w 353"/>
                <a:gd name="T57" fmla="*/ 214 h 782"/>
                <a:gd name="T58" fmla="*/ 136 w 353"/>
                <a:gd name="T59" fmla="*/ 241 h 782"/>
                <a:gd name="T60" fmla="*/ 131 w 353"/>
                <a:gd name="T61" fmla="*/ 258 h 782"/>
                <a:gd name="T62" fmla="*/ 120 w 353"/>
                <a:gd name="T63" fmla="*/ 261 h 782"/>
                <a:gd name="T64" fmla="*/ 115 w 353"/>
                <a:gd name="T65" fmla="*/ 271 h 782"/>
                <a:gd name="T66" fmla="*/ 110 w 353"/>
                <a:gd name="T67" fmla="*/ 313 h 782"/>
                <a:gd name="T68" fmla="*/ 93 w 353"/>
                <a:gd name="T69" fmla="*/ 348 h 782"/>
                <a:gd name="T70" fmla="*/ 65 w 353"/>
                <a:gd name="T71" fmla="*/ 376 h 782"/>
                <a:gd name="T72" fmla="*/ 53 w 353"/>
                <a:gd name="T73" fmla="*/ 387 h 782"/>
                <a:gd name="T74" fmla="*/ 55 w 353"/>
                <a:gd name="T75" fmla="*/ 460 h 782"/>
                <a:gd name="T76" fmla="*/ 112 w 353"/>
                <a:gd name="T77" fmla="*/ 484 h 782"/>
                <a:gd name="T78" fmla="*/ 239 w 353"/>
                <a:gd name="T79" fmla="*/ 538 h 782"/>
                <a:gd name="T80" fmla="*/ 289 w 353"/>
                <a:gd name="T81" fmla="*/ 569 h 782"/>
                <a:gd name="T82" fmla="*/ 310 w 353"/>
                <a:gd name="T83" fmla="*/ 609 h 782"/>
                <a:gd name="T84" fmla="*/ 321 w 353"/>
                <a:gd name="T85" fmla="*/ 696 h 782"/>
                <a:gd name="T86" fmla="*/ 262 w 353"/>
                <a:gd name="T87" fmla="*/ 752 h 782"/>
                <a:gd name="T88" fmla="*/ 251 w 353"/>
                <a:gd name="T89" fmla="*/ 756 h 782"/>
                <a:gd name="T90" fmla="*/ 247 w 353"/>
                <a:gd name="T91" fmla="*/ 767 h 782"/>
                <a:gd name="T92" fmla="*/ 251 w 353"/>
                <a:gd name="T93" fmla="*/ 778 h 782"/>
                <a:gd name="T94" fmla="*/ 262 w 353"/>
                <a:gd name="T95" fmla="*/ 782 h 782"/>
                <a:gd name="T96" fmla="*/ 347 w 353"/>
                <a:gd name="T97" fmla="*/ 779 h 782"/>
                <a:gd name="T98" fmla="*/ 353 w 353"/>
                <a:gd name="T99" fmla="*/ 770 h 782"/>
                <a:gd name="T100" fmla="*/ 352 w 353"/>
                <a:gd name="T101" fmla="*/ 721 h 782"/>
                <a:gd name="T102" fmla="*/ 342 w 353"/>
                <a:gd name="T103" fmla="*/ 61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82">
                  <a:moveTo>
                    <a:pt x="334" y="582"/>
                  </a:moveTo>
                  <a:lnTo>
                    <a:pt x="329" y="572"/>
                  </a:lnTo>
                  <a:lnTo>
                    <a:pt x="323" y="562"/>
                  </a:lnTo>
                  <a:lnTo>
                    <a:pt x="315" y="553"/>
                  </a:lnTo>
                  <a:lnTo>
                    <a:pt x="305" y="544"/>
                  </a:lnTo>
                  <a:lnTo>
                    <a:pt x="293" y="536"/>
                  </a:lnTo>
                  <a:lnTo>
                    <a:pt x="280" y="526"/>
                  </a:lnTo>
                  <a:lnTo>
                    <a:pt x="265" y="517"/>
                  </a:lnTo>
                  <a:lnTo>
                    <a:pt x="249" y="509"/>
                  </a:lnTo>
                  <a:lnTo>
                    <a:pt x="214" y="493"/>
                  </a:lnTo>
                  <a:lnTo>
                    <a:pt x="173" y="476"/>
                  </a:lnTo>
                  <a:lnTo>
                    <a:pt x="129" y="458"/>
                  </a:lnTo>
                  <a:lnTo>
                    <a:pt x="83" y="441"/>
                  </a:lnTo>
                  <a:lnTo>
                    <a:pt x="82" y="440"/>
                  </a:lnTo>
                  <a:lnTo>
                    <a:pt x="82" y="399"/>
                  </a:lnTo>
                  <a:lnTo>
                    <a:pt x="90" y="394"/>
                  </a:lnTo>
                  <a:lnTo>
                    <a:pt x="99" y="387"/>
                  </a:lnTo>
                  <a:lnTo>
                    <a:pt x="109" y="377"/>
                  </a:lnTo>
                  <a:lnTo>
                    <a:pt x="118" y="364"/>
                  </a:lnTo>
                  <a:lnTo>
                    <a:pt x="124" y="358"/>
                  </a:lnTo>
                  <a:lnTo>
                    <a:pt x="128" y="349"/>
                  </a:lnTo>
                  <a:lnTo>
                    <a:pt x="132" y="341"/>
                  </a:lnTo>
                  <a:lnTo>
                    <a:pt x="135" y="331"/>
                  </a:lnTo>
                  <a:lnTo>
                    <a:pt x="139" y="321"/>
                  </a:lnTo>
                  <a:lnTo>
                    <a:pt x="141" y="309"/>
                  </a:lnTo>
                  <a:lnTo>
                    <a:pt x="143" y="298"/>
                  </a:lnTo>
                  <a:lnTo>
                    <a:pt x="144" y="285"/>
                  </a:lnTo>
                  <a:lnTo>
                    <a:pt x="148" y="283"/>
                  </a:lnTo>
                  <a:lnTo>
                    <a:pt x="152" y="278"/>
                  </a:lnTo>
                  <a:lnTo>
                    <a:pt x="156" y="274"/>
                  </a:lnTo>
                  <a:lnTo>
                    <a:pt x="159" y="269"/>
                  </a:lnTo>
                  <a:lnTo>
                    <a:pt x="162" y="261"/>
                  </a:lnTo>
                  <a:lnTo>
                    <a:pt x="164" y="254"/>
                  </a:lnTo>
                  <a:lnTo>
                    <a:pt x="166" y="245"/>
                  </a:lnTo>
                  <a:lnTo>
                    <a:pt x="166" y="235"/>
                  </a:lnTo>
                  <a:lnTo>
                    <a:pt x="166" y="228"/>
                  </a:lnTo>
                  <a:lnTo>
                    <a:pt x="165" y="220"/>
                  </a:lnTo>
                  <a:lnTo>
                    <a:pt x="163" y="214"/>
                  </a:lnTo>
                  <a:lnTo>
                    <a:pt x="161" y="208"/>
                  </a:lnTo>
                  <a:lnTo>
                    <a:pt x="159" y="202"/>
                  </a:lnTo>
                  <a:lnTo>
                    <a:pt x="156" y="197"/>
                  </a:lnTo>
                  <a:lnTo>
                    <a:pt x="151" y="193"/>
                  </a:lnTo>
                  <a:lnTo>
                    <a:pt x="147" y="189"/>
                  </a:lnTo>
                  <a:lnTo>
                    <a:pt x="148" y="188"/>
                  </a:lnTo>
                  <a:lnTo>
                    <a:pt x="148" y="188"/>
                  </a:lnTo>
                  <a:lnTo>
                    <a:pt x="156" y="166"/>
                  </a:lnTo>
                  <a:lnTo>
                    <a:pt x="162" y="137"/>
                  </a:lnTo>
                  <a:lnTo>
                    <a:pt x="165" y="122"/>
                  </a:lnTo>
                  <a:lnTo>
                    <a:pt x="166" y="106"/>
                  </a:lnTo>
                  <a:lnTo>
                    <a:pt x="165" y="90"/>
                  </a:lnTo>
                  <a:lnTo>
                    <a:pt x="163" y="74"/>
                  </a:lnTo>
                  <a:lnTo>
                    <a:pt x="159" y="64"/>
                  </a:lnTo>
                  <a:lnTo>
                    <a:pt x="154" y="54"/>
                  </a:lnTo>
                  <a:lnTo>
                    <a:pt x="147" y="45"/>
                  </a:lnTo>
                  <a:lnTo>
                    <a:pt x="139" y="35"/>
                  </a:lnTo>
                  <a:lnTo>
                    <a:pt x="129" y="26"/>
                  </a:lnTo>
                  <a:lnTo>
                    <a:pt x="118" y="19"/>
                  </a:lnTo>
                  <a:lnTo>
                    <a:pt x="106" y="12"/>
                  </a:lnTo>
                  <a:lnTo>
                    <a:pt x="95" y="6"/>
                  </a:lnTo>
                  <a:lnTo>
                    <a:pt x="83" y="3"/>
                  </a:lnTo>
                  <a:lnTo>
                    <a:pt x="72" y="1"/>
                  </a:lnTo>
                  <a:lnTo>
                    <a:pt x="60" y="0"/>
                  </a:lnTo>
                  <a:lnTo>
                    <a:pt x="50" y="0"/>
                  </a:lnTo>
                  <a:lnTo>
                    <a:pt x="38" y="2"/>
                  </a:lnTo>
                  <a:lnTo>
                    <a:pt x="27" y="5"/>
                  </a:lnTo>
                  <a:lnTo>
                    <a:pt x="17" y="9"/>
                  </a:lnTo>
                  <a:lnTo>
                    <a:pt x="7" y="15"/>
                  </a:lnTo>
                  <a:lnTo>
                    <a:pt x="5" y="17"/>
                  </a:lnTo>
                  <a:lnTo>
                    <a:pt x="3" y="19"/>
                  </a:lnTo>
                  <a:lnTo>
                    <a:pt x="1" y="22"/>
                  </a:lnTo>
                  <a:lnTo>
                    <a:pt x="0" y="24"/>
                  </a:lnTo>
                  <a:lnTo>
                    <a:pt x="0" y="27"/>
                  </a:lnTo>
                  <a:lnTo>
                    <a:pt x="0" y="31"/>
                  </a:lnTo>
                  <a:lnTo>
                    <a:pt x="1" y="33"/>
                  </a:lnTo>
                  <a:lnTo>
                    <a:pt x="3" y="36"/>
                  </a:lnTo>
                  <a:lnTo>
                    <a:pt x="5" y="38"/>
                  </a:lnTo>
                  <a:lnTo>
                    <a:pt x="7" y="40"/>
                  </a:lnTo>
                  <a:lnTo>
                    <a:pt x="10" y="41"/>
                  </a:lnTo>
                  <a:lnTo>
                    <a:pt x="12" y="42"/>
                  </a:lnTo>
                  <a:lnTo>
                    <a:pt x="15" y="42"/>
                  </a:lnTo>
                  <a:lnTo>
                    <a:pt x="18" y="42"/>
                  </a:lnTo>
                  <a:lnTo>
                    <a:pt x="21" y="41"/>
                  </a:lnTo>
                  <a:lnTo>
                    <a:pt x="24" y="40"/>
                  </a:lnTo>
                  <a:lnTo>
                    <a:pt x="32" y="35"/>
                  </a:lnTo>
                  <a:lnTo>
                    <a:pt x="41" y="32"/>
                  </a:lnTo>
                  <a:lnTo>
                    <a:pt x="48" y="31"/>
                  </a:lnTo>
                  <a:lnTo>
                    <a:pt x="57" y="30"/>
                  </a:lnTo>
                  <a:lnTo>
                    <a:pt x="65" y="30"/>
                  </a:lnTo>
                  <a:lnTo>
                    <a:pt x="71" y="31"/>
                  </a:lnTo>
                  <a:lnTo>
                    <a:pt x="77" y="33"/>
                  </a:lnTo>
                  <a:lnTo>
                    <a:pt x="84" y="35"/>
                  </a:lnTo>
                  <a:lnTo>
                    <a:pt x="93" y="39"/>
                  </a:lnTo>
                  <a:lnTo>
                    <a:pt x="103" y="45"/>
                  </a:lnTo>
                  <a:lnTo>
                    <a:pt x="111" y="51"/>
                  </a:lnTo>
                  <a:lnTo>
                    <a:pt x="118" y="57"/>
                  </a:lnTo>
                  <a:lnTo>
                    <a:pt x="124" y="64"/>
                  </a:lnTo>
                  <a:lnTo>
                    <a:pt x="129" y="70"/>
                  </a:lnTo>
                  <a:lnTo>
                    <a:pt x="132" y="76"/>
                  </a:lnTo>
                  <a:lnTo>
                    <a:pt x="133" y="81"/>
                  </a:lnTo>
                  <a:lnTo>
                    <a:pt x="135" y="94"/>
                  </a:lnTo>
                  <a:lnTo>
                    <a:pt x="136" y="107"/>
                  </a:lnTo>
                  <a:lnTo>
                    <a:pt x="135" y="121"/>
                  </a:lnTo>
                  <a:lnTo>
                    <a:pt x="133" y="134"/>
                  </a:lnTo>
                  <a:lnTo>
                    <a:pt x="127" y="158"/>
                  </a:lnTo>
                  <a:lnTo>
                    <a:pt x="119" y="178"/>
                  </a:lnTo>
                  <a:lnTo>
                    <a:pt x="116" y="190"/>
                  </a:lnTo>
                  <a:lnTo>
                    <a:pt x="114" y="198"/>
                  </a:lnTo>
                  <a:lnTo>
                    <a:pt x="115" y="201"/>
                  </a:lnTo>
                  <a:lnTo>
                    <a:pt x="115" y="203"/>
                  </a:lnTo>
                  <a:lnTo>
                    <a:pt x="117" y="206"/>
                  </a:lnTo>
                  <a:lnTo>
                    <a:pt x="118" y="209"/>
                  </a:lnTo>
                  <a:lnTo>
                    <a:pt x="120" y="211"/>
                  </a:lnTo>
                  <a:lnTo>
                    <a:pt x="124" y="212"/>
                  </a:lnTo>
                  <a:lnTo>
                    <a:pt x="127" y="213"/>
                  </a:lnTo>
                  <a:lnTo>
                    <a:pt x="129" y="213"/>
                  </a:lnTo>
                  <a:lnTo>
                    <a:pt x="131" y="214"/>
                  </a:lnTo>
                  <a:lnTo>
                    <a:pt x="133" y="218"/>
                  </a:lnTo>
                  <a:lnTo>
                    <a:pt x="135" y="226"/>
                  </a:lnTo>
                  <a:lnTo>
                    <a:pt x="136" y="235"/>
                  </a:lnTo>
                  <a:lnTo>
                    <a:pt x="136" y="241"/>
                  </a:lnTo>
                  <a:lnTo>
                    <a:pt x="135" y="246"/>
                  </a:lnTo>
                  <a:lnTo>
                    <a:pt x="134" y="252"/>
                  </a:lnTo>
                  <a:lnTo>
                    <a:pt x="132" y="255"/>
                  </a:lnTo>
                  <a:lnTo>
                    <a:pt x="131" y="258"/>
                  </a:lnTo>
                  <a:lnTo>
                    <a:pt x="129" y="259"/>
                  </a:lnTo>
                  <a:lnTo>
                    <a:pt x="127" y="259"/>
                  </a:lnTo>
                  <a:lnTo>
                    <a:pt x="124" y="260"/>
                  </a:lnTo>
                  <a:lnTo>
                    <a:pt x="120" y="261"/>
                  </a:lnTo>
                  <a:lnTo>
                    <a:pt x="118" y="263"/>
                  </a:lnTo>
                  <a:lnTo>
                    <a:pt x="117" y="265"/>
                  </a:lnTo>
                  <a:lnTo>
                    <a:pt x="115" y="268"/>
                  </a:lnTo>
                  <a:lnTo>
                    <a:pt x="115" y="271"/>
                  </a:lnTo>
                  <a:lnTo>
                    <a:pt x="114" y="274"/>
                  </a:lnTo>
                  <a:lnTo>
                    <a:pt x="114" y="288"/>
                  </a:lnTo>
                  <a:lnTo>
                    <a:pt x="112" y="301"/>
                  </a:lnTo>
                  <a:lnTo>
                    <a:pt x="110" y="313"/>
                  </a:lnTo>
                  <a:lnTo>
                    <a:pt x="106" y="323"/>
                  </a:lnTo>
                  <a:lnTo>
                    <a:pt x="102" y="332"/>
                  </a:lnTo>
                  <a:lnTo>
                    <a:pt x="98" y="341"/>
                  </a:lnTo>
                  <a:lnTo>
                    <a:pt x="93" y="348"/>
                  </a:lnTo>
                  <a:lnTo>
                    <a:pt x="88" y="354"/>
                  </a:lnTo>
                  <a:lnTo>
                    <a:pt x="78" y="365"/>
                  </a:lnTo>
                  <a:lnTo>
                    <a:pt x="70" y="372"/>
                  </a:lnTo>
                  <a:lnTo>
                    <a:pt x="65" y="376"/>
                  </a:lnTo>
                  <a:lnTo>
                    <a:pt x="61" y="377"/>
                  </a:lnTo>
                  <a:lnTo>
                    <a:pt x="57" y="379"/>
                  </a:lnTo>
                  <a:lnTo>
                    <a:pt x="55" y="382"/>
                  </a:lnTo>
                  <a:lnTo>
                    <a:pt x="53" y="387"/>
                  </a:lnTo>
                  <a:lnTo>
                    <a:pt x="52" y="391"/>
                  </a:lnTo>
                  <a:lnTo>
                    <a:pt x="52" y="451"/>
                  </a:lnTo>
                  <a:lnTo>
                    <a:pt x="53" y="455"/>
                  </a:lnTo>
                  <a:lnTo>
                    <a:pt x="55" y="460"/>
                  </a:lnTo>
                  <a:lnTo>
                    <a:pt x="58" y="463"/>
                  </a:lnTo>
                  <a:lnTo>
                    <a:pt x="61" y="465"/>
                  </a:lnTo>
                  <a:lnTo>
                    <a:pt x="73" y="469"/>
                  </a:lnTo>
                  <a:lnTo>
                    <a:pt x="112" y="484"/>
                  </a:lnTo>
                  <a:lnTo>
                    <a:pt x="150" y="499"/>
                  </a:lnTo>
                  <a:lnTo>
                    <a:pt x="188" y="514"/>
                  </a:lnTo>
                  <a:lnTo>
                    <a:pt x="223" y="530"/>
                  </a:lnTo>
                  <a:lnTo>
                    <a:pt x="239" y="538"/>
                  </a:lnTo>
                  <a:lnTo>
                    <a:pt x="253" y="545"/>
                  </a:lnTo>
                  <a:lnTo>
                    <a:pt x="266" y="553"/>
                  </a:lnTo>
                  <a:lnTo>
                    <a:pt x="278" y="561"/>
                  </a:lnTo>
                  <a:lnTo>
                    <a:pt x="289" y="569"/>
                  </a:lnTo>
                  <a:lnTo>
                    <a:pt x="296" y="576"/>
                  </a:lnTo>
                  <a:lnTo>
                    <a:pt x="301" y="584"/>
                  </a:lnTo>
                  <a:lnTo>
                    <a:pt x="306" y="591"/>
                  </a:lnTo>
                  <a:lnTo>
                    <a:pt x="310" y="609"/>
                  </a:lnTo>
                  <a:lnTo>
                    <a:pt x="313" y="628"/>
                  </a:lnTo>
                  <a:lnTo>
                    <a:pt x="317" y="650"/>
                  </a:lnTo>
                  <a:lnTo>
                    <a:pt x="319" y="674"/>
                  </a:lnTo>
                  <a:lnTo>
                    <a:pt x="321" y="696"/>
                  </a:lnTo>
                  <a:lnTo>
                    <a:pt x="322" y="718"/>
                  </a:lnTo>
                  <a:lnTo>
                    <a:pt x="322" y="736"/>
                  </a:lnTo>
                  <a:lnTo>
                    <a:pt x="323" y="752"/>
                  </a:lnTo>
                  <a:lnTo>
                    <a:pt x="262" y="752"/>
                  </a:lnTo>
                  <a:lnTo>
                    <a:pt x="259" y="752"/>
                  </a:lnTo>
                  <a:lnTo>
                    <a:pt x="256" y="753"/>
                  </a:lnTo>
                  <a:lnTo>
                    <a:pt x="253" y="754"/>
                  </a:lnTo>
                  <a:lnTo>
                    <a:pt x="251" y="756"/>
                  </a:lnTo>
                  <a:lnTo>
                    <a:pt x="249" y="759"/>
                  </a:lnTo>
                  <a:lnTo>
                    <a:pt x="248" y="761"/>
                  </a:lnTo>
                  <a:lnTo>
                    <a:pt x="247" y="764"/>
                  </a:lnTo>
                  <a:lnTo>
                    <a:pt x="247" y="767"/>
                  </a:lnTo>
                  <a:lnTo>
                    <a:pt x="247" y="770"/>
                  </a:lnTo>
                  <a:lnTo>
                    <a:pt x="248" y="773"/>
                  </a:lnTo>
                  <a:lnTo>
                    <a:pt x="249" y="776"/>
                  </a:lnTo>
                  <a:lnTo>
                    <a:pt x="251" y="778"/>
                  </a:lnTo>
                  <a:lnTo>
                    <a:pt x="253" y="779"/>
                  </a:lnTo>
                  <a:lnTo>
                    <a:pt x="256" y="781"/>
                  </a:lnTo>
                  <a:lnTo>
                    <a:pt x="259" y="781"/>
                  </a:lnTo>
                  <a:lnTo>
                    <a:pt x="262" y="782"/>
                  </a:lnTo>
                  <a:lnTo>
                    <a:pt x="338" y="782"/>
                  </a:lnTo>
                  <a:lnTo>
                    <a:pt x="341" y="781"/>
                  </a:lnTo>
                  <a:lnTo>
                    <a:pt x="343" y="781"/>
                  </a:lnTo>
                  <a:lnTo>
                    <a:pt x="347" y="779"/>
                  </a:lnTo>
                  <a:lnTo>
                    <a:pt x="349" y="778"/>
                  </a:lnTo>
                  <a:lnTo>
                    <a:pt x="351" y="776"/>
                  </a:lnTo>
                  <a:lnTo>
                    <a:pt x="352" y="773"/>
                  </a:lnTo>
                  <a:lnTo>
                    <a:pt x="353" y="770"/>
                  </a:lnTo>
                  <a:lnTo>
                    <a:pt x="353" y="767"/>
                  </a:lnTo>
                  <a:lnTo>
                    <a:pt x="353" y="760"/>
                  </a:lnTo>
                  <a:lnTo>
                    <a:pt x="353" y="744"/>
                  </a:lnTo>
                  <a:lnTo>
                    <a:pt x="352" y="721"/>
                  </a:lnTo>
                  <a:lnTo>
                    <a:pt x="351" y="693"/>
                  </a:lnTo>
                  <a:lnTo>
                    <a:pt x="349" y="663"/>
                  </a:lnTo>
                  <a:lnTo>
                    <a:pt x="344" y="633"/>
                  </a:lnTo>
                  <a:lnTo>
                    <a:pt x="342" y="619"/>
                  </a:lnTo>
                  <a:lnTo>
                    <a:pt x="340" y="605"/>
                  </a:lnTo>
                  <a:lnTo>
                    <a:pt x="337" y="592"/>
                  </a:lnTo>
                  <a:lnTo>
                    <a:pt x="334"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1" name="Gruppieren 1050">
            <a:extLst>
              <a:ext uri="{FF2B5EF4-FFF2-40B4-BE49-F238E27FC236}">
                <a16:creationId xmlns:a16="http://schemas.microsoft.com/office/drawing/2014/main" id="{11B433EF-2A6D-4F0E-81B1-5B11E4C1BA3A}"/>
              </a:ext>
            </a:extLst>
          </p:cNvPr>
          <p:cNvGrpSpPr>
            <a:grpSpLocks noChangeAspect="1"/>
          </p:cNvGrpSpPr>
          <p:nvPr/>
        </p:nvGrpSpPr>
        <p:grpSpPr>
          <a:xfrm>
            <a:off x="674951" y="1647825"/>
            <a:ext cx="278296" cy="285619"/>
            <a:chOff x="1335452" y="350932"/>
            <a:chExt cx="352670" cy="361950"/>
          </a:xfrm>
          <a:solidFill>
            <a:schemeClr val="bg1"/>
          </a:solidFill>
        </p:grpSpPr>
        <p:sp>
          <p:nvSpPr>
            <p:cNvPr id="1052" name="Freeform 22">
              <a:extLst>
                <a:ext uri="{FF2B5EF4-FFF2-40B4-BE49-F238E27FC236}">
                  <a16:creationId xmlns:a16="http://schemas.microsoft.com/office/drawing/2014/main" id="{B67CCC23-0C15-4809-B5D0-28215104DFA2}"/>
                </a:ext>
              </a:extLst>
            </p:cNvPr>
            <p:cNvSpPr>
              <a:spLocks noEditPoints="1"/>
            </p:cNvSpPr>
            <p:nvPr/>
          </p:nvSpPr>
          <p:spPr bwMode="auto">
            <a:xfrm>
              <a:off x="1364842" y="350932"/>
              <a:ext cx="120650" cy="120650"/>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4 h 32"/>
                <a:gd name="T12" fmla="*/ 4 w 32"/>
                <a:gd name="T13" fmla="*/ 16 h 32"/>
                <a:gd name="T14" fmla="*/ 16 w 32"/>
                <a:gd name="T15" fmla="*/ 28 h 32"/>
                <a:gd name="T16" fmla="*/ 28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4"/>
                  </a:moveTo>
                  <a:cubicBezTo>
                    <a:pt x="9" y="4"/>
                    <a:pt x="4" y="9"/>
                    <a:pt x="4" y="16"/>
                  </a:cubicBezTo>
                  <a:cubicBezTo>
                    <a:pt x="4" y="23"/>
                    <a:pt x="9" y="28"/>
                    <a:pt x="16" y="28"/>
                  </a:cubicBezTo>
                  <a:cubicBezTo>
                    <a:pt x="23" y="28"/>
                    <a:pt x="28" y="23"/>
                    <a:pt x="28" y="16"/>
                  </a:cubicBezTo>
                  <a:cubicBezTo>
                    <a:pt x="28" y="9"/>
                    <a:pt x="23"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3" name="Freeform 23">
              <a:extLst>
                <a:ext uri="{FF2B5EF4-FFF2-40B4-BE49-F238E27FC236}">
                  <a16:creationId xmlns:a16="http://schemas.microsoft.com/office/drawing/2014/main" id="{BD43E709-1885-4A8F-B4FF-84CA01B3B70A}"/>
                </a:ext>
              </a:extLst>
            </p:cNvPr>
            <p:cNvSpPr>
              <a:spLocks noEditPoints="1"/>
            </p:cNvSpPr>
            <p:nvPr/>
          </p:nvSpPr>
          <p:spPr bwMode="auto">
            <a:xfrm>
              <a:off x="1335452" y="487050"/>
              <a:ext cx="179428" cy="225832"/>
            </a:xfrm>
            <a:custGeom>
              <a:avLst/>
              <a:gdLst>
                <a:gd name="T0" fmla="*/ 32 w 48"/>
                <a:gd name="T1" fmla="*/ 60 h 60"/>
                <a:gd name="T2" fmla="*/ 16 w 48"/>
                <a:gd name="T3" fmla="*/ 60 h 60"/>
                <a:gd name="T4" fmla="*/ 14 w 48"/>
                <a:gd name="T5" fmla="*/ 58 h 60"/>
                <a:gd name="T6" fmla="*/ 14 w 48"/>
                <a:gd name="T7" fmla="*/ 33 h 60"/>
                <a:gd name="T8" fmla="*/ 0 w 48"/>
                <a:gd name="T9" fmla="*/ 2 h 60"/>
                <a:gd name="T10" fmla="*/ 2 w 48"/>
                <a:gd name="T11" fmla="*/ 0 h 60"/>
                <a:gd name="T12" fmla="*/ 46 w 48"/>
                <a:gd name="T13" fmla="*/ 0 h 60"/>
                <a:gd name="T14" fmla="*/ 48 w 48"/>
                <a:gd name="T15" fmla="*/ 2 h 60"/>
                <a:gd name="T16" fmla="*/ 34 w 48"/>
                <a:gd name="T17" fmla="*/ 33 h 60"/>
                <a:gd name="T18" fmla="*/ 34 w 48"/>
                <a:gd name="T19" fmla="*/ 58 h 60"/>
                <a:gd name="T20" fmla="*/ 32 w 48"/>
                <a:gd name="T21" fmla="*/ 60 h 60"/>
                <a:gd name="T22" fmla="*/ 18 w 48"/>
                <a:gd name="T23" fmla="*/ 56 h 60"/>
                <a:gd name="T24" fmla="*/ 30 w 48"/>
                <a:gd name="T25" fmla="*/ 56 h 60"/>
                <a:gd name="T26" fmla="*/ 30 w 48"/>
                <a:gd name="T27" fmla="*/ 32 h 60"/>
                <a:gd name="T28" fmla="*/ 31 w 48"/>
                <a:gd name="T29" fmla="*/ 30 h 60"/>
                <a:gd name="T30" fmla="*/ 44 w 48"/>
                <a:gd name="T31" fmla="*/ 4 h 60"/>
                <a:gd name="T32" fmla="*/ 4 w 48"/>
                <a:gd name="T33" fmla="*/ 4 h 60"/>
                <a:gd name="T34" fmla="*/ 17 w 48"/>
                <a:gd name="T35" fmla="*/ 30 h 60"/>
                <a:gd name="T36" fmla="*/ 18 w 48"/>
                <a:gd name="T37" fmla="*/ 32 h 60"/>
                <a:gd name="T38" fmla="*/ 18 w 48"/>
                <a:gd name="T3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60">
                  <a:moveTo>
                    <a:pt x="32" y="60"/>
                  </a:moveTo>
                  <a:cubicBezTo>
                    <a:pt x="16" y="60"/>
                    <a:pt x="16" y="60"/>
                    <a:pt x="16" y="60"/>
                  </a:cubicBezTo>
                  <a:cubicBezTo>
                    <a:pt x="15" y="60"/>
                    <a:pt x="14" y="59"/>
                    <a:pt x="14" y="58"/>
                  </a:cubicBezTo>
                  <a:cubicBezTo>
                    <a:pt x="14" y="33"/>
                    <a:pt x="14" y="33"/>
                    <a:pt x="14" y="33"/>
                  </a:cubicBezTo>
                  <a:cubicBezTo>
                    <a:pt x="5" y="27"/>
                    <a:pt x="0" y="16"/>
                    <a:pt x="0" y="2"/>
                  </a:cubicBezTo>
                  <a:cubicBezTo>
                    <a:pt x="0" y="1"/>
                    <a:pt x="1" y="0"/>
                    <a:pt x="2" y="0"/>
                  </a:cubicBezTo>
                  <a:cubicBezTo>
                    <a:pt x="46" y="0"/>
                    <a:pt x="46" y="0"/>
                    <a:pt x="46" y="0"/>
                  </a:cubicBezTo>
                  <a:cubicBezTo>
                    <a:pt x="47" y="0"/>
                    <a:pt x="48" y="1"/>
                    <a:pt x="48" y="2"/>
                  </a:cubicBezTo>
                  <a:cubicBezTo>
                    <a:pt x="48" y="16"/>
                    <a:pt x="43" y="27"/>
                    <a:pt x="34" y="33"/>
                  </a:cubicBezTo>
                  <a:cubicBezTo>
                    <a:pt x="34" y="58"/>
                    <a:pt x="34" y="58"/>
                    <a:pt x="34" y="58"/>
                  </a:cubicBezTo>
                  <a:cubicBezTo>
                    <a:pt x="34" y="59"/>
                    <a:pt x="33" y="60"/>
                    <a:pt x="32" y="60"/>
                  </a:cubicBezTo>
                  <a:close/>
                  <a:moveTo>
                    <a:pt x="18" y="56"/>
                  </a:moveTo>
                  <a:cubicBezTo>
                    <a:pt x="30" y="56"/>
                    <a:pt x="30" y="56"/>
                    <a:pt x="30" y="56"/>
                  </a:cubicBezTo>
                  <a:cubicBezTo>
                    <a:pt x="30" y="32"/>
                    <a:pt x="30" y="32"/>
                    <a:pt x="30" y="32"/>
                  </a:cubicBezTo>
                  <a:cubicBezTo>
                    <a:pt x="30" y="31"/>
                    <a:pt x="30" y="31"/>
                    <a:pt x="31" y="30"/>
                  </a:cubicBezTo>
                  <a:cubicBezTo>
                    <a:pt x="39" y="26"/>
                    <a:pt x="44" y="16"/>
                    <a:pt x="44" y="4"/>
                  </a:cubicBezTo>
                  <a:cubicBezTo>
                    <a:pt x="4" y="4"/>
                    <a:pt x="4" y="4"/>
                    <a:pt x="4" y="4"/>
                  </a:cubicBezTo>
                  <a:cubicBezTo>
                    <a:pt x="4" y="16"/>
                    <a:pt x="9" y="26"/>
                    <a:pt x="17" y="30"/>
                  </a:cubicBezTo>
                  <a:cubicBezTo>
                    <a:pt x="18" y="31"/>
                    <a:pt x="18" y="31"/>
                    <a:pt x="18" y="32"/>
                  </a:cubicBez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4" name="Freeform 24">
              <a:extLst>
                <a:ext uri="{FF2B5EF4-FFF2-40B4-BE49-F238E27FC236}">
                  <a16:creationId xmlns:a16="http://schemas.microsoft.com/office/drawing/2014/main" id="{3B61A46D-E4D9-467C-AA0A-340A99D5E74E}"/>
                </a:ext>
              </a:extLst>
            </p:cNvPr>
            <p:cNvSpPr>
              <a:spLocks noEditPoints="1"/>
            </p:cNvSpPr>
            <p:nvPr/>
          </p:nvSpPr>
          <p:spPr bwMode="auto">
            <a:xfrm>
              <a:off x="1401965" y="487050"/>
              <a:ext cx="46404" cy="120650"/>
            </a:xfrm>
            <a:custGeom>
              <a:avLst/>
              <a:gdLst>
                <a:gd name="T0" fmla="*/ 6 w 12"/>
                <a:gd name="T1" fmla="*/ 32 h 32"/>
                <a:gd name="T2" fmla="*/ 5 w 12"/>
                <a:gd name="T3" fmla="*/ 31 h 32"/>
                <a:gd name="T4" fmla="*/ 1 w 12"/>
                <a:gd name="T5" fmla="*/ 27 h 32"/>
                <a:gd name="T6" fmla="*/ 0 w 12"/>
                <a:gd name="T7" fmla="*/ 26 h 32"/>
                <a:gd name="T8" fmla="*/ 2 w 12"/>
                <a:gd name="T9" fmla="*/ 2 h 32"/>
                <a:gd name="T10" fmla="*/ 4 w 12"/>
                <a:gd name="T11" fmla="*/ 0 h 32"/>
                <a:gd name="T12" fmla="*/ 8 w 12"/>
                <a:gd name="T13" fmla="*/ 0 h 32"/>
                <a:gd name="T14" fmla="*/ 10 w 12"/>
                <a:gd name="T15" fmla="*/ 2 h 32"/>
                <a:gd name="T16" fmla="*/ 12 w 12"/>
                <a:gd name="T17" fmla="*/ 26 h 32"/>
                <a:gd name="T18" fmla="*/ 11 w 12"/>
                <a:gd name="T19" fmla="*/ 27 h 32"/>
                <a:gd name="T20" fmla="*/ 7 w 12"/>
                <a:gd name="T21" fmla="*/ 31 h 32"/>
                <a:gd name="T22" fmla="*/ 6 w 12"/>
                <a:gd name="T23" fmla="*/ 32 h 32"/>
                <a:gd name="T24" fmla="*/ 4 w 12"/>
                <a:gd name="T25" fmla="*/ 25 h 32"/>
                <a:gd name="T26" fmla="*/ 6 w 12"/>
                <a:gd name="T27" fmla="*/ 27 h 32"/>
                <a:gd name="T28" fmla="*/ 8 w 12"/>
                <a:gd name="T29" fmla="*/ 25 h 32"/>
                <a:gd name="T30" fmla="*/ 6 w 12"/>
                <a:gd name="T31" fmla="*/ 4 h 32"/>
                <a:gd name="T32" fmla="*/ 6 w 12"/>
                <a:gd name="T33" fmla="*/ 4 h 32"/>
                <a:gd name="T34" fmla="*/ 4 w 12"/>
                <a:gd name="T35"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32">
                  <a:moveTo>
                    <a:pt x="6" y="32"/>
                  </a:moveTo>
                  <a:cubicBezTo>
                    <a:pt x="5" y="32"/>
                    <a:pt x="5" y="32"/>
                    <a:pt x="5" y="31"/>
                  </a:cubicBezTo>
                  <a:cubicBezTo>
                    <a:pt x="1" y="27"/>
                    <a:pt x="1" y="27"/>
                    <a:pt x="1" y="27"/>
                  </a:cubicBezTo>
                  <a:cubicBezTo>
                    <a:pt x="0" y="27"/>
                    <a:pt x="0" y="26"/>
                    <a:pt x="0" y="26"/>
                  </a:cubicBezTo>
                  <a:cubicBezTo>
                    <a:pt x="2" y="2"/>
                    <a:pt x="2" y="2"/>
                    <a:pt x="2" y="2"/>
                  </a:cubicBezTo>
                  <a:cubicBezTo>
                    <a:pt x="2" y="1"/>
                    <a:pt x="3" y="0"/>
                    <a:pt x="4" y="0"/>
                  </a:cubicBezTo>
                  <a:cubicBezTo>
                    <a:pt x="8" y="0"/>
                    <a:pt x="8" y="0"/>
                    <a:pt x="8" y="0"/>
                  </a:cubicBezTo>
                  <a:cubicBezTo>
                    <a:pt x="9" y="0"/>
                    <a:pt x="10" y="1"/>
                    <a:pt x="10" y="2"/>
                  </a:cubicBezTo>
                  <a:cubicBezTo>
                    <a:pt x="12" y="26"/>
                    <a:pt x="12" y="26"/>
                    <a:pt x="12" y="26"/>
                  </a:cubicBezTo>
                  <a:cubicBezTo>
                    <a:pt x="12" y="26"/>
                    <a:pt x="12" y="27"/>
                    <a:pt x="11" y="27"/>
                  </a:cubicBezTo>
                  <a:cubicBezTo>
                    <a:pt x="7" y="31"/>
                    <a:pt x="7" y="31"/>
                    <a:pt x="7" y="31"/>
                  </a:cubicBezTo>
                  <a:cubicBezTo>
                    <a:pt x="7" y="32"/>
                    <a:pt x="7" y="32"/>
                    <a:pt x="6" y="32"/>
                  </a:cubicBezTo>
                  <a:close/>
                  <a:moveTo>
                    <a:pt x="4" y="25"/>
                  </a:moveTo>
                  <a:cubicBezTo>
                    <a:pt x="6" y="27"/>
                    <a:pt x="6" y="27"/>
                    <a:pt x="6" y="27"/>
                  </a:cubicBezTo>
                  <a:cubicBezTo>
                    <a:pt x="8" y="25"/>
                    <a:pt x="8" y="25"/>
                    <a:pt x="8" y="25"/>
                  </a:cubicBezTo>
                  <a:cubicBezTo>
                    <a:pt x="6" y="4"/>
                    <a:pt x="6" y="4"/>
                    <a:pt x="6" y="4"/>
                  </a:cubicBezTo>
                  <a:cubicBezTo>
                    <a:pt x="6" y="4"/>
                    <a:pt x="6" y="4"/>
                    <a:pt x="6" y="4"/>
                  </a:cubicBezTo>
                  <a:lnTo>
                    <a:pt x="4"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55" name="Gruppieren 1054">
              <a:extLst>
                <a:ext uri="{FF2B5EF4-FFF2-40B4-BE49-F238E27FC236}">
                  <a16:creationId xmlns:a16="http://schemas.microsoft.com/office/drawing/2014/main" id="{3A4BB65F-59AD-48F0-AEA8-3F1E8C8D474D}"/>
                </a:ext>
              </a:extLst>
            </p:cNvPr>
            <p:cNvGrpSpPr/>
            <p:nvPr/>
          </p:nvGrpSpPr>
          <p:grpSpPr>
            <a:xfrm>
              <a:off x="1538082" y="562843"/>
              <a:ext cx="150040" cy="150039"/>
              <a:chOff x="1538082" y="562843"/>
              <a:chExt cx="150040" cy="150039"/>
            </a:xfrm>
            <a:grpFill/>
          </p:grpSpPr>
          <p:sp>
            <p:nvSpPr>
              <p:cNvPr id="1056" name="Freeform 25">
                <a:extLst>
                  <a:ext uri="{FF2B5EF4-FFF2-40B4-BE49-F238E27FC236}">
                    <a16:creationId xmlns:a16="http://schemas.microsoft.com/office/drawing/2014/main" id="{4926C1F8-C1AF-4E77-8F37-C14E827D878C}"/>
                  </a:ext>
                </a:extLst>
              </p:cNvPr>
              <p:cNvSpPr>
                <a:spLocks noEditPoints="1"/>
              </p:cNvSpPr>
              <p:nvPr/>
            </p:nvSpPr>
            <p:spPr bwMode="auto">
              <a:xfrm>
                <a:off x="1538082" y="592232"/>
                <a:ext cx="150040" cy="120650"/>
              </a:xfrm>
              <a:custGeom>
                <a:avLst/>
                <a:gdLst>
                  <a:gd name="T0" fmla="*/ 38 w 40"/>
                  <a:gd name="T1" fmla="*/ 32 h 32"/>
                  <a:gd name="T2" fmla="*/ 2 w 40"/>
                  <a:gd name="T3" fmla="*/ 32 h 32"/>
                  <a:gd name="T4" fmla="*/ 0 w 40"/>
                  <a:gd name="T5" fmla="*/ 30 h 32"/>
                  <a:gd name="T6" fmla="*/ 0 w 40"/>
                  <a:gd name="T7" fmla="*/ 2 h 32"/>
                  <a:gd name="T8" fmla="*/ 2 w 40"/>
                  <a:gd name="T9" fmla="*/ 0 h 32"/>
                  <a:gd name="T10" fmla="*/ 38 w 40"/>
                  <a:gd name="T11" fmla="*/ 0 h 32"/>
                  <a:gd name="T12" fmla="*/ 40 w 40"/>
                  <a:gd name="T13" fmla="*/ 2 h 32"/>
                  <a:gd name="T14" fmla="*/ 40 w 40"/>
                  <a:gd name="T15" fmla="*/ 30 h 32"/>
                  <a:gd name="T16" fmla="*/ 38 w 40"/>
                  <a:gd name="T17" fmla="*/ 32 h 32"/>
                  <a:gd name="T18" fmla="*/ 4 w 40"/>
                  <a:gd name="T19" fmla="*/ 28 h 32"/>
                  <a:gd name="T20" fmla="*/ 36 w 40"/>
                  <a:gd name="T21" fmla="*/ 28 h 32"/>
                  <a:gd name="T22" fmla="*/ 36 w 40"/>
                  <a:gd name="T23" fmla="*/ 4 h 32"/>
                  <a:gd name="T24" fmla="*/ 4 w 40"/>
                  <a:gd name="T25" fmla="*/ 4 h 32"/>
                  <a:gd name="T26" fmla="*/ 4 w 40"/>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2">
                    <a:moveTo>
                      <a:pt x="38" y="32"/>
                    </a:moveTo>
                    <a:cubicBezTo>
                      <a:pt x="2" y="32"/>
                      <a:pt x="2" y="32"/>
                      <a:pt x="2" y="32"/>
                    </a:cubicBezTo>
                    <a:cubicBezTo>
                      <a:pt x="1" y="32"/>
                      <a:pt x="0" y="31"/>
                      <a:pt x="0" y="30"/>
                    </a:cubicBezTo>
                    <a:cubicBezTo>
                      <a:pt x="0" y="2"/>
                      <a:pt x="0" y="2"/>
                      <a:pt x="0" y="2"/>
                    </a:cubicBezTo>
                    <a:cubicBezTo>
                      <a:pt x="0" y="1"/>
                      <a:pt x="1" y="0"/>
                      <a:pt x="2" y="0"/>
                    </a:cubicBezTo>
                    <a:cubicBezTo>
                      <a:pt x="38" y="0"/>
                      <a:pt x="38" y="0"/>
                      <a:pt x="38" y="0"/>
                    </a:cubicBezTo>
                    <a:cubicBezTo>
                      <a:pt x="39" y="0"/>
                      <a:pt x="40" y="1"/>
                      <a:pt x="40" y="2"/>
                    </a:cubicBezTo>
                    <a:cubicBezTo>
                      <a:pt x="40" y="30"/>
                      <a:pt x="40" y="30"/>
                      <a:pt x="40" y="30"/>
                    </a:cubicBezTo>
                    <a:cubicBezTo>
                      <a:pt x="40" y="31"/>
                      <a:pt x="39" y="32"/>
                      <a:pt x="38" y="32"/>
                    </a:cubicBezTo>
                    <a:close/>
                    <a:moveTo>
                      <a:pt x="4" y="28"/>
                    </a:moveTo>
                    <a:cubicBezTo>
                      <a:pt x="36" y="28"/>
                      <a:pt x="36" y="28"/>
                      <a:pt x="36" y="28"/>
                    </a:cubicBezTo>
                    <a:cubicBezTo>
                      <a:pt x="36" y="4"/>
                      <a:pt x="36" y="4"/>
                      <a:pt x="36"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7" name="Freeform 26">
                <a:extLst>
                  <a:ext uri="{FF2B5EF4-FFF2-40B4-BE49-F238E27FC236}">
                    <a16:creationId xmlns:a16="http://schemas.microsoft.com/office/drawing/2014/main" id="{C10E0D35-7265-4F3E-940B-F82F50B6DCC8}"/>
                  </a:ext>
                </a:extLst>
              </p:cNvPr>
              <p:cNvSpPr>
                <a:spLocks/>
              </p:cNvSpPr>
              <p:nvPr/>
            </p:nvSpPr>
            <p:spPr bwMode="auto">
              <a:xfrm>
                <a:off x="1582939" y="562843"/>
                <a:ext cx="60325" cy="44858"/>
              </a:xfrm>
              <a:custGeom>
                <a:avLst/>
                <a:gdLst>
                  <a:gd name="T0" fmla="*/ 14 w 16"/>
                  <a:gd name="T1" fmla="*/ 12 h 12"/>
                  <a:gd name="T2" fmla="*/ 12 w 16"/>
                  <a:gd name="T3" fmla="*/ 10 h 12"/>
                  <a:gd name="T4" fmla="*/ 12 w 16"/>
                  <a:gd name="T5" fmla="*/ 6 h 12"/>
                  <a:gd name="T6" fmla="*/ 10 w 16"/>
                  <a:gd name="T7" fmla="*/ 4 h 12"/>
                  <a:gd name="T8" fmla="*/ 6 w 16"/>
                  <a:gd name="T9" fmla="*/ 4 h 12"/>
                  <a:gd name="T10" fmla="*/ 4 w 16"/>
                  <a:gd name="T11" fmla="*/ 6 h 12"/>
                  <a:gd name="T12" fmla="*/ 4 w 16"/>
                  <a:gd name="T13" fmla="*/ 10 h 12"/>
                  <a:gd name="T14" fmla="*/ 2 w 16"/>
                  <a:gd name="T15" fmla="*/ 12 h 12"/>
                  <a:gd name="T16" fmla="*/ 0 w 16"/>
                  <a:gd name="T17" fmla="*/ 10 h 12"/>
                  <a:gd name="T18" fmla="*/ 0 w 16"/>
                  <a:gd name="T19" fmla="*/ 6 h 12"/>
                  <a:gd name="T20" fmla="*/ 6 w 16"/>
                  <a:gd name="T21" fmla="*/ 0 h 12"/>
                  <a:gd name="T22" fmla="*/ 10 w 16"/>
                  <a:gd name="T23" fmla="*/ 0 h 12"/>
                  <a:gd name="T24" fmla="*/ 16 w 16"/>
                  <a:gd name="T25" fmla="*/ 6 h 12"/>
                  <a:gd name="T26" fmla="*/ 16 w 16"/>
                  <a:gd name="T27" fmla="*/ 10 h 12"/>
                  <a:gd name="T28" fmla="*/ 14 w 16"/>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2">
                    <a:moveTo>
                      <a:pt x="14" y="12"/>
                    </a:moveTo>
                    <a:cubicBezTo>
                      <a:pt x="13" y="12"/>
                      <a:pt x="12" y="11"/>
                      <a:pt x="12" y="10"/>
                    </a:cubicBezTo>
                    <a:cubicBezTo>
                      <a:pt x="12" y="6"/>
                      <a:pt x="12" y="6"/>
                      <a:pt x="12" y="6"/>
                    </a:cubicBezTo>
                    <a:cubicBezTo>
                      <a:pt x="12" y="5"/>
                      <a:pt x="11" y="4"/>
                      <a:pt x="10" y="4"/>
                    </a:cubicBezTo>
                    <a:cubicBezTo>
                      <a:pt x="6" y="4"/>
                      <a:pt x="6" y="4"/>
                      <a:pt x="6" y="4"/>
                    </a:cubicBezTo>
                    <a:cubicBezTo>
                      <a:pt x="5" y="4"/>
                      <a:pt x="4" y="5"/>
                      <a:pt x="4" y="6"/>
                    </a:cubicBezTo>
                    <a:cubicBezTo>
                      <a:pt x="4" y="10"/>
                      <a:pt x="4" y="10"/>
                      <a:pt x="4" y="10"/>
                    </a:cubicBezTo>
                    <a:cubicBezTo>
                      <a:pt x="4" y="11"/>
                      <a:pt x="3" y="12"/>
                      <a:pt x="2" y="12"/>
                    </a:cubicBezTo>
                    <a:cubicBezTo>
                      <a:pt x="1" y="12"/>
                      <a:pt x="0" y="11"/>
                      <a:pt x="0" y="10"/>
                    </a:cubicBezTo>
                    <a:cubicBezTo>
                      <a:pt x="0" y="6"/>
                      <a:pt x="0" y="6"/>
                      <a:pt x="0" y="6"/>
                    </a:cubicBezTo>
                    <a:cubicBezTo>
                      <a:pt x="0" y="3"/>
                      <a:pt x="3" y="0"/>
                      <a:pt x="6" y="0"/>
                    </a:cubicBezTo>
                    <a:cubicBezTo>
                      <a:pt x="10" y="0"/>
                      <a:pt x="10" y="0"/>
                      <a:pt x="10" y="0"/>
                    </a:cubicBezTo>
                    <a:cubicBezTo>
                      <a:pt x="13" y="0"/>
                      <a:pt x="16" y="3"/>
                      <a:pt x="16" y="6"/>
                    </a:cubicBezTo>
                    <a:cubicBezTo>
                      <a:pt x="16" y="10"/>
                      <a:pt x="16" y="10"/>
                      <a:pt x="16" y="10"/>
                    </a:cubicBezTo>
                    <a:cubicBezTo>
                      <a:pt x="16" y="11"/>
                      <a:pt x="15" y="12"/>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8" name="Freeform 27">
                <a:extLst>
                  <a:ext uri="{FF2B5EF4-FFF2-40B4-BE49-F238E27FC236}">
                    <a16:creationId xmlns:a16="http://schemas.microsoft.com/office/drawing/2014/main" id="{39B22DE3-DC0C-4AC5-B56E-6B2EED57F3B3}"/>
                  </a:ext>
                </a:extLst>
              </p:cNvPr>
              <p:cNvSpPr>
                <a:spLocks/>
              </p:cNvSpPr>
              <p:nvPr/>
            </p:nvSpPr>
            <p:spPr bwMode="auto">
              <a:xfrm>
                <a:off x="1538082" y="637090"/>
                <a:ext cx="150040" cy="1546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59" name="Freeform 28">
                <a:extLst>
                  <a:ext uri="{FF2B5EF4-FFF2-40B4-BE49-F238E27FC236}">
                    <a16:creationId xmlns:a16="http://schemas.microsoft.com/office/drawing/2014/main" id="{23B362B6-A5FE-4438-9968-78EC873DD079}"/>
                  </a:ext>
                </a:extLst>
              </p:cNvPr>
              <p:cNvSpPr>
                <a:spLocks/>
              </p:cNvSpPr>
              <p:nvPr/>
            </p:nvSpPr>
            <p:spPr bwMode="auto">
              <a:xfrm>
                <a:off x="1606141" y="637090"/>
                <a:ext cx="13922" cy="30936"/>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438" name="Group 29">
            <a:extLst>
              <a:ext uri="{FF2B5EF4-FFF2-40B4-BE49-F238E27FC236}">
                <a16:creationId xmlns:a16="http://schemas.microsoft.com/office/drawing/2014/main" id="{35627F3B-9A3C-4289-8540-7144373D0C59}"/>
              </a:ext>
            </a:extLst>
          </p:cNvPr>
          <p:cNvGrpSpPr>
            <a:grpSpLocks noChangeAspect="1"/>
          </p:cNvGrpSpPr>
          <p:nvPr/>
        </p:nvGrpSpPr>
        <p:grpSpPr>
          <a:xfrm>
            <a:off x="671290" y="4340505"/>
            <a:ext cx="285619" cy="285619"/>
            <a:chOff x="4891088" y="1930401"/>
            <a:chExt cx="285750" cy="285750"/>
          </a:xfrm>
          <a:solidFill>
            <a:schemeClr val="bg1"/>
          </a:solidFill>
          <a:effectLst/>
        </p:grpSpPr>
        <p:sp>
          <p:nvSpPr>
            <p:cNvPr id="439" name="Freeform 42">
              <a:extLst>
                <a:ext uri="{FF2B5EF4-FFF2-40B4-BE49-F238E27FC236}">
                  <a16:creationId xmlns:a16="http://schemas.microsoft.com/office/drawing/2014/main" id="{008150CF-17B2-4272-8AE7-AAA191437063}"/>
                </a:ext>
              </a:extLst>
            </p:cNvPr>
            <p:cNvSpPr>
              <a:spLocks noEditPoints="1"/>
            </p:cNvSpPr>
            <p:nvPr/>
          </p:nvSpPr>
          <p:spPr bwMode="auto">
            <a:xfrm>
              <a:off x="4919663" y="2139951"/>
              <a:ext cx="47625" cy="47625"/>
            </a:xfrm>
            <a:custGeom>
              <a:avLst/>
              <a:gdLst>
                <a:gd name="T0" fmla="*/ 66 w 151"/>
                <a:gd name="T1" fmla="*/ 119 h 150"/>
                <a:gd name="T2" fmla="*/ 50 w 151"/>
                <a:gd name="T3" fmla="*/ 112 h 150"/>
                <a:gd name="T4" fmla="*/ 39 w 151"/>
                <a:gd name="T5" fmla="*/ 101 h 150"/>
                <a:gd name="T6" fmla="*/ 31 w 151"/>
                <a:gd name="T7" fmla="*/ 84 h 150"/>
                <a:gd name="T8" fmla="*/ 31 w 151"/>
                <a:gd name="T9" fmla="*/ 66 h 150"/>
                <a:gd name="T10" fmla="*/ 39 w 151"/>
                <a:gd name="T11" fmla="*/ 50 h 150"/>
                <a:gd name="T12" fmla="*/ 50 w 151"/>
                <a:gd name="T13" fmla="*/ 37 h 150"/>
                <a:gd name="T14" fmla="*/ 66 w 151"/>
                <a:gd name="T15" fmla="*/ 31 h 150"/>
                <a:gd name="T16" fmla="*/ 85 w 151"/>
                <a:gd name="T17" fmla="*/ 31 h 150"/>
                <a:gd name="T18" fmla="*/ 101 w 151"/>
                <a:gd name="T19" fmla="*/ 37 h 150"/>
                <a:gd name="T20" fmla="*/ 112 w 151"/>
                <a:gd name="T21" fmla="*/ 50 h 150"/>
                <a:gd name="T22" fmla="*/ 120 w 151"/>
                <a:gd name="T23" fmla="*/ 66 h 150"/>
                <a:gd name="T24" fmla="*/ 120 w 151"/>
                <a:gd name="T25" fmla="*/ 84 h 150"/>
                <a:gd name="T26" fmla="*/ 112 w 151"/>
                <a:gd name="T27" fmla="*/ 101 h 150"/>
                <a:gd name="T28" fmla="*/ 101 w 151"/>
                <a:gd name="T29" fmla="*/ 112 h 150"/>
                <a:gd name="T30" fmla="*/ 85 w 151"/>
                <a:gd name="T31" fmla="*/ 119 h 150"/>
                <a:gd name="T32" fmla="*/ 76 w 151"/>
                <a:gd name="T33" fmla="*/ 120 h 150"/>
                <a:gd name="T34" fmla="*/ 67 w 151"/>
                <a:gd name="T35" fmla="*/ 0 h 150"/>
                <a:gd name="T36" fmla="*/ 53 w 151"/>
                <a:gd name="T37" fmla="*/ 3 h 150"/>
                <a:gd name="T38" fmla="*/ 40 w 151"/>
                <a:gd name="T39" fmla="*/ 8 h 150"/>
                <a:gd name="T40" fmla="*/ 28 w 151"/>
                <a:gd name="T41" fmla="*/ 17 h 150"/>
                <a:gd name="T42" fmla="*/ 17 w 151"/>
                <a:gd name="T43" fmla="*/ 28 h 150"/>
                <a:gd name="T44" fmla="*/ 10 w 151"/>
                <a:gd name="T45" fmla="*/ 40 h 150"/>
                <a:gd name="T46" fmla="*/ 4 w 151"/>
                <a:gd name="T47" fmla="*/ 52 h 150"/>
                <a:gd name="T48" fmla="*/ 1 w 151"/>
                <a:gd name="T49" fmla="*/ 67 h 150"/>
                <a:gd name="T50" fmla="*/ 1 w 151"/>
                <a:gd name="T51" fmla="*/ 82 h 150"/>
                <a:gd name="T52" fmla="*/ 4 w 151"/>
                <a:gd name="T53" fmla="*/ 97 h 150"/>
                <a:gd name="T54" fmla="*/ 10 w 151"/>
                <a:gd name="T55" fmla="*/ 111 h 150"/>
                <a:gd name="T56" fmla="*/ 17 w 151"/>
                <a:gd name="T57" fmla="*/ 123 h 150"/>
                <a:gd name="T58" fmla="*/ 28 w 151"/>
                <a:gd name="T59" fmla="*/ 133 h 150"/>
                <a:gd name="T60" fmla="*/ 40 w 151"/>
                <a:gd name="T61" fmla="*/ 141 h 150"/>
                <a:gd name="T62" fmla="*/ 53 w 151"/>
                <a:gd name="T63" fmla="*/ 147 h 150"/>
                <a:gd name="T64" fmla="*/ 67 w 151"/>
                <a:gd name="T65" fmla="*/ 150 h 150"/>
                <a:gd name="T66" fmla="*/ 83 w 151"/>
                <a:gd name="T67" fmla="*/ 150 h 150"/>
                <a:gd name="T68" fmla="*/ 97 w 151"/>
                <a:gd name="T69" fmla="*/ 147 h 150"/>
                <a:gd name="T70" fmla="*/ 111 w 151"/>
                <a:gd name="T71" fmla="*/ 141 h 150"/>
                <a:gd name="T72" fmla="*/ 123 w 151"/>
                <a:gd name="T73" fmla="*/ 133 h 150"/>
                <a:gd name="T74" fmla="*/ 134 w 151"/>
                <a:gd name="T75" fmla="*/ 123 h 150"/>
                <a:gd name="T76" fmla="*/ 141 w 151"/>
                <a:gd name="T77" fmla="*/ 111 h 150"/>
                <a:gd name="T78" fmla="*/ 148 w 151"/>
                <a:gd name="T79" fmla="*/ 97 h 150"/>
                <a:gd name="T80" fmla="*/ 150 w 151"/>
                <a:gd name="T81" fmla="*/ 82 h 150"/>
                <a:gd name="T82" fmla="*/ 150 w 151"/>
                <a:gd name="T83" fmla="*/ 67 h 150"/>
                <a:gd name="T84" fmla="*/ 148 w 151"/>
                <a:gd name="T85" fmla="*/ 52 h 150"/>
                <a:gd name="T86" fmla="*/ 141 w 151"/>
                <a:gd name="T87" fmla="*/ 40 h 150"/>
                <a:gd name="T88" fmla="*/ 134 w 151"/>
                <a:gd name="T89" fmla="*/ 28 h 150"/>
                <a:gd name="T90" fmla="*/ 123 w 151"/>
                <a:gd name="T91" fmla="*/ 17 h 150"/>
                <a:gd name="T92" fmla="*/ 111 w 151"/>
                <a:gd name="T93" fmla="*/ 8 h 150"/>
                <a:gd name="T94" fmla="*/ 97 w 151"/>
                <a:gd name="T95" fmla="*/ 3 h 150"/>
                <a:gd name="T96" fmla="*/ 83 w 151"/>
                <a:gd name="T97" fmla="*/ 0 h 150"/>
                <a:gd name="T98" fmla="*/ 76 w 151"/>
                <a:gd name="T9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0">
                  <a:moveTo>
                    <a:pt x="76" y="120"/>
                  </a:moveTo>
                  <a:lnTo>
                    <a:pt x="66" y="119"/>
                  </a:lnTo>
                  <a:lnTo>
                    <a:pt x="58" y="117"/>
                  </a:lnTo>
                  <a:lnTo>
                    <a:pt x="50" y="112"/>
                  </a:lnTo>
                  <a:lnTo>
                    <a:pt x="44" y="107"/>
                  </a:lnTo>
                  <a:lnTo>
                    <a:pt x="39" y="101"/>
                  </a:lnTo>
                  <a:lnTo>
                    <a:pt x="34" y="93"/>
                  </a:lnTo>
                  <a:lnTo>
                    <a:pt x="31" y="84"/>
                  </a:lnTo>
                  <a:lnTo>
                    <a:pt x="30" y="75"/>
                  </a:lnTo>
                  <a:lnTo>
                    <a:pt x="31" y="66"/>
                  </a:lnTo>
                  <a:lnTo>
                    <a:pt x="34" y="58"/>
                  </a:lnTo>
                  <a:lnTo>
                    <a:pt x="39" y="50"/>
                  </a:lnTo>
                  <a:lnTo>
                    <a:pt x="44" y="43"/>
                  </a:lnTo>
                  <a:lnTo>
                    <a:pt x="50" y="37"/>
                  </a:lnTo>
                  <a:lnTo>
                    <a:pt x="58" y="33"/>
                  </a:lnTo>
                  <a:lnTo>
                    <a:pt x="66" y="31"/>
                  </a:lnTo>
                  <a:lnTo>
                    <a:pt x="76" y="30"/>
                  </a:lnTo>
                  <a:lnTo>
                    <a:pt x="85" y="31"/>
                  </a:lnTo>
                  <a:lnTo>
                    <a:pt x="93" y="33"/>
                  </a:lnTo>
                  <a:lnTo>
                    <a:pt x="101" y="37"/>
                  </a:lnTo>
                  <a:lnTo>
                    <a:pt x="107" y="43"/>
                  </a:lnTo>
                  <a:lnTo>
                    <a:pt x="112" y="50"/>
                  </a:lnTo>
                  <a:lnTo>
                    <a:pt x="117" y="58"/>
                  </a:lnTo>
                  <a:lnTo>
                    <a:pt x="120" y="66"/>
                  </a:lnTo>
                  <a:lnTo>
                    <a:pt x="121" y="75"/>
                  </a:lnTo>
                  <a:lnTo>
                    <a:pt x="120" y="84"/>
                  </a:lnTo>
                  <a:lnTo>
                    <a:pt x="117" y="92"/>
                  </a:lnTo>
                  <a:lnTo>
                    <a:pt x="112" y="101"/>
                  </a:lnTo>
                  <a:lnTo>
                    <a:pt x="107" y="107"/>
                  </a:lnTo>
                  <a:lnTo>
                    <a:pt x="101" y="112"/>
                  </a:lnTo>
                  <a:lnTo>
                    <a:pt x="93" y="117"/>
                  </a:lnTo>
                  <a:lnTo>
                    <a:pt x="85" y="119"/>
                  </a:lnTo>
                  <a:lnTo>
                    <a:pt x="76" y="120"/>
                  </a:lnTo>
                  <a:lnTo>
                    <a:pt x="76" y="120"/>
                  </a:lnTo>
                  <a:close/>
                  <a:moveTo>
                    <a:pt x="76" y="0"/>
                  </a:moveTo>
                  <a:lnTo>
                    <a:pt x="67" y="0"/>
                  </a:lnTo>
                  <a:lnTo>
                    <a:pt x="60" y="1"/>
                  </a:lnTo>
                  <a:lnTo>
                    <a:pt x="53" y="3"/>
                  </a:lnTo>
                  <a:lnTo>
                    <a:pt x="46" y="5"/>
                  </a:lnTo>
                  <a:lnTo>
                    <a:pt x="40" y="8"/>
                  </a:lnTo>
                  <a:lnTo>
                    <a:pt x="33" y="13"/>
                  </a:lnTo>
                  <a:lnTo>
                    <a:pt x="28" y="17"/>
                  </a:lnTo>
                  <a:lnTo>
                    <a:pt x="22" y="22"/>
                  </a:lnTo>
                  <a:lnTo>
                    <a:pt x="17" y="28"/>
                  </a:lnTo>
                  <a:lnTo>
                    <a:pt x="13" y="33"/>
                  </a:lnTo>
                  <a:lnTo>
                    <a:pt x="10" y="40"/>
                  </a:lnTo>
                  <a:lnTo>
                    <a:pt x="6" y="46"/>
                  </a:lnTo>
                  <a:lnTo>
                    <a:pt x="4" y="52"/>
                  </a:lnTo>
                  <a:lnTo>
                    <a:pt x="2" y="60"/>
                  </a:lnTo>
                  <a:lnTo>
                    <a:pt x="1" y="67"/>
                  </a:lnTo>
                  <a:lnTo>
                    <a:pt x="0" y="75"/>
                  </a:lnTo>
                  <a:lnTo>
                    <a:pt x="1" y="82"/>
                  </a:lnTo>
                  <a:lnTo>
                    <a:pt x="2" y="90"/>
                  </a:lnTo>
                  <a:lnTo>
                    <a:pt x="4" y="97"/>
                  </a:lnTo>
                  <a:lnTo>
                    <a:pt x="6" y="104"/>
                  </a:lnTo>
                  <a:lnTo>
                    <a:pt x="10" y="111"/>
                  </a:lnTo>
                  <a:lnTo>
                    <a:pt x="13" y="117"/>
                  </a:lnTo>
                  <a:lnTo>
                    <a:pt x="17" y="123"/>
                  </a:lnTo>
                  <a:lnTo>
                    <a:pt x="22" y="128"/>
                  </a:lnTo>
                  <a:lnTo>
                    <a:pt x="28" y="133"/>
                  </a:lnTo>
                  <a:lnTo>
                    <a:pt x="33" y="137"/>
                  </a:lnTo>
                  <a:lnTo>
                    <a:pt x="40" y="141"/>
                  </a:lnTo>
                  <a:lnTo>
                    <a:pt x="46" y="144"/>
                  </a:lnTo>
                  <a:lnTo>
                    <a:pt x="53" y="147"/>
                  </a:lnTo>
                  <a:lnTo>
                    <a:pt x="60" y="149"/>
                  </a:lnTo>
                  <a:lnTo>
                    <a:pt x="67" y="150"/>
                  </a:lnTo>
                  <a:lnTo>
                    <a:pt x="76" y="150"/>
                  </a:lnTo>
                  <a:lnTo>
                    <a:pt x="83" y="150"/>
                  </a:lnTo>
                  <a:lnTo>
                    <a:pt x="91" y="149"/>
                  </a:lnTo>
                  <a:lnTo>
                    <a:pt x="97" y="147"/>
                  </a:lnTo>
                  <a:lnTo>
                    <a:pt x="105" y="144"/>
                  </a:lnTo>
                  <a:lnTo>
                    <a:pt x="111" y="141"/>
                  </a:lnTo>
                  <a:lnTo>
                    <a:pt x="118" y="137"/>
                  </a:lnTo>
                  <a:lnTo>
                    <a:pt x="123" y="133"/>
                  </a:lnTo>
                  <a:lnTo>
                    <a:pt x="128" y="128"/>
                  </a:lnTo>
                  <a:lnTo>
                    <a:pt x="134" y="123"/>
                  </a:lnTo>
                  <a:lnTo>
                    <a:pt x="138" y="117"/>
                  </a:lnTo>
                  <a:lnTo>
                    <a:pt x="141" y="111"/>
                  </a:lnTo>
                  <a:lnTo>
                    <a:pt x="144" y="104"/>
                  </a:lnTo>
                  <a:lnTo>
                    <a:pt x="148" y="97"/>
                  </a:lnTo>
                  <a:lnTo>
                    <a:pt x="149" y="90"/>
                  </a:lnTo>
                  <a:lnTo>
                    <a:pt x="150" y="82"/>
                  </a:lnTo>
                  <a:lnTo>
                    <a:pt x="151" y="75"/>
                  </a:lnTo>
                  <a:lnTo>
                    <a:pt x="150" y="67"/>
                  </a:lnTo>
                  <a:lnTo>
                    <a:pt x="149" y="60"/>
                  </a:lnTo>
                  <a:lnTo>
                    <a:pt x="148" y="52"/>
                  </a:lnTo>
                  <a:lnTo>
                    <a:pt x="144" y="46"/>
                  </a:lnTo>
                  <a:lnTo>
                    <a:pt x="141" y="40"/>
                  </a:lnTo>
                  <a:lnTo>
                    <a:pt x="138" y="33"/>
                  </a:lnTo>
                  <a:lnTo>
                    <a:pt x="134" y="28"/>
                  </a:lnTo>
                  <a:lnTo>
                    <a:pt x="128" y="22"/>
                  </a:lnTo>
                  <a:lnTo>
                    <a:pt x="123" y="17"/>
                  </a:lnTo>
                  <a:lnTo>
                    <a:pt x="118" y="13"/>
                  </a:lnTo>
                  <a:lnTo>
                    <a:pt x="111" y="8"/>
                  </a:lnTo>
                  <a:lnTo>
                    <a:pt x="105" y="6"/>
                  </a:lnTo>
                  <a:lnTo>
                    <a:pt x="97" y="3"/>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43">
              <a:extLst>
                <a:ext uri="{FF2B5EF4-FFF2-40B4-BE49-F238E27FC236}">
                  <a16:creationId xmlns:a16="http://schemas.microsoft.com/office/drawing/2014/main" id="{CB94C63E-3F49-4694-819B-D4775AC68648}"/>
                </a:ext>
              </a:extLst>
            </p:cNvPr>
            <p:cNvSpPr>
              <a:spLocks/>
            </p:cNvSpPr>
            <p:nvPr/>
          </p:nvSpPr>
          <p:spPr bwMode="auto">
            <a:xfrm>
              <a:off x="4891088" y="2197101"/>
              <a:ext cx="19050" cy="19050"/>
            </a:xfrm>
            <a:custGeom>
              <a:avLst/>
              <a:gdLst>
                <a:gd name="T0" fmla="*/ 30 w 59"/>
                <a:gd name="T1" fmla="*/ 0 h 60"/>
                <a:gd name="T2" fmla="*/ 24 w 59"/>
                <a:gd name="T3" fmla="*/ 1 h 60"/>
                <a:gd name="T4" fmla="*/ 18 w 59"/>
                <a:gd name="T5" fmla="*/ 2 h 60"/>
                <a:gd name="T6" fmla="*/ 13 w 59"/>
                <a:gd name="T7" fmla="*/ 5 h 60"/>
                <a:gd name="T8" fmla="*/ 9 w 59"/>
                <a:gd name="T9" fmla="*/ 8 h 60"/>
                <a:gd name="T10" fmla="*/ 5 w 59"/>
                <a:gd name="T11" fmla="*/ 14 h 60"/>
                <a:gd name="T12" fmla="*/ 2 w 59"/>
                <a:gd name="T13" fmla="*/ 18 h 60"/>
                <a:gd name="T14" fmla="*/ 1 w 59"/>
                <a:gd name="T15" fmla="*/ 23 h 60"/>
                <a:gd name="T16" fmla="*/ 0 w 59"/>
                <a:gd name="T17" fmla="*/ 30 h 60"/>
                <a:gd name="T18" fmla="*/ 1 w 59"/>
                <a:gd name="T19" fmla="*/ 35 h 60"/>
                <a:gd name="T20" fmla="*/ 2 w 59"/>
                <a:gd name="T21" fmla="*/ 42 h 60"/>
                <a:gd name="T22" fmla="*/ 5 w 59"/>
                <a:gd name="T23" fmla="*/ 46 h 60"/>
                <a:gd name="T24" fmla="*/ 9 w 59"/>
                <a:gd name="T25" fmla="*/ 50 h 60"/>
                <a:gd name="T26" fmla="*/ 13 w 59"/>
                <a:gd name="T27" fmla="*/ 54 h 60"/>
                <a:gd name="T28" fmla="*/ 18 w 59"/>
                <a:gd name="T29" fmla="*/ 56 h 60"/>
                <a:gd name="T30" fmla="*/ 24 w 59"/>
                <a:gd name="T31" fmla="*/ 59 h 60"/>
                <a:gd name="T32" fmla="*/ 30 w 59"/>
                <a:gd name="T33" fmla="*/ 60 h 60"/>
                <a:gd name="T34" fmla="*/ 35 w 59"/>
                <a:gd name="T35" fmla="*/ 59 h 60"/>
                <a:gd name="T36" fmla="*/ 42 w 59"/>
                <a:gd name="T37" fmla="*/ 56 h 60"/>
                <a:gd name="T38" fmla="*/ 46 w 59"/>
                <a:gd name="T39" fmla="*/ 54 h 60"/>
                <a:gd name="T40" fmla="*/ 50 w 59"/>
                <a:gd name="T41" fmla="*/ 50 h 60"/>
                <a:gd name="T42" fmla="*/ 55 w 59"/>
                <a:gd name="T43" fmla="*/ 46 h 60"/>
                <a:gd name="T44" fmla="*/ 57 w 59"/>
                <a:gd name="T45" fmla="*/ 42 h 60"/>
                <a:gd name="T46" fmla="*/ 59 w 59"/>
                <a:gd name="T47" fmla="*/ 35 h 60"/>
                <a:gd name="T48" fmla="*/ 59 w 59"/>
                <a:gd name="T49" fmla="*/ 30 h 60"/>
                <a:gd name="T50" fmla="*/ 59 w 59"/>
                <a:gd name="T51" fmla="*/ 23 h 60"/>
                <a:gd name="T52" fmla="*/ 57 w 59"/>
                <a:gd name="T53" fmla="*/ 18 h 60"/>
                <a:gd name="T54" fmla="*/ 55 w 59"/>
                <a:gd name="T55" fmla="*/ 14 h 60"/>
                <a:gd name="T56" fmla="*/ 50 w 59"/>
                <a:gd name="T57" fmla="*/ 8 h 60"/>
                <a:gd name="T58" fmla="*/ 46 w 59"/>
                <a:gd name="T59" fmla="*/ 5 h 60"/>
                <a:gd name="T60" fmla="*/ 42 w 59"/>
                <a:gd name="T61" fmla="*/ 3 h 60"/>
                <a:gd name="T62" fmla="*/ 35 w 59"/>
                <a:gd name="T63" fmla="*/ 1 h 60"/>
                <a:gd name="T64" fmla="*/ 30 w 59"/>
                <a:gd name="T65" fmla="*/ 0 h 60"/>
                <a:gd name="T66" fmla="*/ 30 w 59"/>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60">
                  <a:moveTo>
                    <a:pt x="30" y="0"/>
                  </a:moveTo>
                  <a:lnTo>
                    <a:pt x="24" y="1"/>
                  </a:lnTo>
                  <a:lnTo>
                    <a:pt x="18" y="2"/>
                  </a:lnTo>
                  <a:lnTo>
                    <a:pt x="13" y="5"/>
                  </a:lnTo>
                  <a:lnTo>
                    <a:pt x="9" y="8"/>
                  </a:lnTo>
                  <a:lnTo>
                    <a:pt x="5" y="14"/>
                  </a:lnTo>
                  <a:lnTo>
                    <a:pt x="2" y="18"/>
                  </a:lnTo>
                  <a:lnTo>
                    <a:pt x="1" y="23"/>
                  </a:lnTo>
                  <a:lnTo>
                    <a:pt x="0" y="30"/>
                  </a:lnTo>
                  <a:lnTo>
                    <a:pt x="1" y="35"/>
                  </a:lnTo>
                  <a:lnTo>
                    <a:pt x="2" y="42"/>
                  </a:lnTo>
                  <a:lnTo>
                    <a:pt x="5" y="46"/>
                  </a:lnTo>
                  <a:lnTo>
                    <a:pt x="9" y="50"/>
                  </a:lnTo>
                  <a:lnTo>
                    <a:pt x="13" y="54"/>
                  </a:lnTo>
                  <a:lnTo>
                    <a:pt x="18" y="56"/>
                  </a:lnTo>
                  <a:lnTo>
                    <a:pt x="24" y="59"/>
                  </a:lnTo>
                  <a:lnTo>
                    <a:pt x="30" y="60"/>
                  </a:lnTo>
                  <a:lnTo>
                    <a:pt x="35" y="59"/>
                  </a:lnTo>
                  <a:lnTo>
                    <a:pt x="42" y="56"/>
                  </a:lnTo>
                  <a:lnTo>
                    <a:pt x="46" y="54"/>
                  </a:lnTo>
                  <a:lnTo>
                    <a:pt x="50" y="50"/>
                  </a:lnTo>
                  <a:lnTo>
                    <a:pt x="55" y="46"/>
                  </a:lnTo>
                  <a:lnTo>
                    <a:pt x="57" y="42"/>
                  </a:lnTo>
                  <a:lnTo>
                    <a:pt x="59" y="35"/>
                  </a:lnTo>
                  <a:lnTo>
                    <a:pt x="59" y="30"/>
                  </a:lnTo>
                  <a:lnTo>
                    <a:pt x="59" y="23"/>
                  </a:lnTo>
                  <a:lnTo>
                    <a:pt x="57" y="18"/>
                  </a:lnTo>
                  <a:lnTo>
                    <a:pt x="55" y="14"/>
                  </a:lnTo>
                  <a:lnTo>
                    <a:pt x="50" y="8"/>
                  </a:lnTo>
                  <a:lnTo>
                    <a:pt x="46" y="5"/>
                  </a:lnTo>
                  <a:lnTo>
                    <a:pt x="42" y="3"/>
                  </a:lnTo>
                  <a:lnTo>
                    <a:pt x="35" y="1"/>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44">
              <a:extLst>
                <a:ext uri="{FF2B5EF4-FFF2-40B4-BE49-F238E27FC236}">
                  <a16:creationId xmlns:a16="http://schemas.microsoft.com/office/drawing/2014/main" id="{C11A09E9-33D9-407B-9AC0-4290991B4BA4}"/>
                </a:ext>
              </a:extLst>
            </p:cNvPr>
            <p:cNvSpPr>
              <a:spLocks noEditPoints="1"/>
            </p:cNvSpPr>
            <p:nvPr/>
          </p:nvSpPr>
          <p:spPr bwMode="auto">
            <a:xfrm>
              <a:off x="4891088" y="1930401"/>
              <a:ext cx="285750" cy="212725"/>
            </a:xfrm>
            <a:custGeom>
              <a:avLst/>
              <a:gdLst>
                <a:gd name="T0" fmla="*/ 542 w 901"/>
                <a:gd name="T1" fmla="*/ 588 h 669"/>
                <a:gd name="T2" fmla="*/ 460 w 901"/>
                <a:gd name="T3" fmla="*/ 632 h 669"/>
                <a:gd name="T4" fmla="*/ 375 w 901"/>
                <a:gd name="T5" fmla="*/ 635 h 669"/>
                <a:gd name="T6" fmla="*/ 308 w 901"/>
                <a:gd name="T7" fmla="*/ 611 h 669"/>
                <a:gd name="T8" fmla="*/ 255 w 901"/>
                <a:gd name="T9" fmla="*/ 562 h 669"/>
                <a:gd name="T10" fmla="*/ 208 w 901"/>
                <a:gd name="T11" fmla="*/ 545 h 669"/>
                <a:gd name="T12" fmla="*/ 102 w 901"/>
                <a:gd name="T13" fmla="*/ 500 h 669"/>
                <a:gd name="T14" fmla="*/ 39 w 901"/>
                <a:gd name="T15" fmla="*/ 404 h 669"/>
                <a:gd name="T16" fmla="*/ 39 w 901"/>
                <a:gd name="T17" fmla="*/ 284 h 669"/>
                <a:gd name="T18" fmla="*/ 102 w 901"/>
                <a:gd name="T19" fmla="*/ 188 h 669"/>
                <a:gd name="T20" fmla="*/ 208 w 901"/>
                <a:gd name="T21" fmla="*/ 143 h 669"/>
                <a:gd name="T22" fmla="*/ 302 w 901"/>
                <a:gd name="T23" fmla="*/ 157 h 669"/>
                <a:gd name="T24" fmla="*/ 374 w 901"/>
                <a:gd name="T25" fmla="*/ 158 h 669"/>
                <a:gd name="T26" fmla="*/ 450 w 901"/>
                <a:gd name="T27" fmla="*/ 79 h 669"/>
                <a:gd name="T28" fmla="*/ 549 w 901"/>
                <a:gd name="T29" fmla="*/ 36 h 669"/>
                <a:gd name="T30" fmla="*/ 645 w 901"/>
                <a:gd name="T31" fmla="*/ 34 h 669"/>
                <a:gd name="T32" fmla="*/ 721 w 901"/>
                <a:gd name="T33" fmla="*/ 57 h 669"/>
                <a:gd name="T34" fmla="*/ 784 w 901"/>
                <a:gd name="T35" fmla="*/ 103 h 669"/>
                <a:gd name="T36" fmla="*/ 834 w 901"/>
                <a:gd name="T37" fmla="*/ 167 h 669"/>
                <a:gd name="T38" fmla="*/ 863 w 901"/>
                <a:gd name="T39" fmla="*/ 244 h 669"/>
                <a:gd name="T40" fmla="*/ 871 w 901"/>
                <a:gd name="T41" fmla="*/ 330 h 669"/>
                <a:gd name="T42" fmla="*/ 855 w 901"/>
                <a:gd name="T43" fmla="*/ 413 h 669"/>
                <a:gd name="T44" fmla="*/ 819 w 901"/>
                <a:gd name="T45" fmla="*/ 484 h 669"/>
                <a:gd name="T46" fmla="*/ 765 w 901"/>
                <a:gd name="T47" fmla="*/ 541 h 669"/>
                <a:gd name="T48" fmla="*/ 697 w 901"/>
                <a:gd name="T49" fmla="*/ 579 h 669"/>
                <a:gd name="T50" fmla="*/ 619 w 901"/>
                <a:gd name="T51" fmla="*/ 596 h 669"/>
                <a:gd name="T52" fmla="*/ 547 w 901"/>
                <a:gd name="T53" fmla="*/ 6 h 669"/>
                <a:gd name="T54" fmla="*/ 440 w 901"/>
                <a:gd name="T55" fmla="*/ 49 h 669"/>
                <a:gd name="T56" fmla="*/ 356 w 901"/>
                <a:gd name="T57" fmla="*/ 129 h 669"/>
                <a:gd name="T58" fmla="*/ 274 w 901"/>
                <a:gd name="T59" fmla="*/ 116 h 669"/>
                <a:gd name="T60" fmla="*/ 193 w 901"/>
                <a:gd name="T61" fmla="*/ 114 h 669"/>
                <a:gd name="T62" fmla="*/ 130 w 901"/>
                <a:gd name="T63" fmla="*/ 134 h 669"/>
                <a:gd name="T64" fmla="*/ 53 w 901"/>
                <a:gd name="T65" fmla="*/ 196 h 669"/>
                <a:gd name="T66" fmla="*/ 14 w 901"/>
                <a:gd name="T67" fmla="*/ 264 h 669"/>
                <a:gd name="T68" fmla="*/ 0 w 901"/>
                <a:gd name="T69" fmla="*/ 332 h 669"/>
                <a:gd name="T70" fmla="*/ 8 w 901"/>
                <a:gd name="T71" fmla="*/ 402 h 669"/>
                <a:gd name="T72" fmla="*/ 33 w 901"/>
                <a:gd name="T73" fmla="*/ 464 h 669"/>
                <a:gd name="T74" fmla="*/ 109 w 901"/>
                <a:gd name="T75" fmla="*/ 542 h 669"/>
                <a:gd name="T76" fmla="*/ 171 w 901"/>
                <a:gd name="T77" fmla="*/ 569 h 669"/>
                <a:gd name="T78" fmla="*/ 228 w 901"/>
                <a:gd name="T79" fmla="*/ 576 h 669"/>
                <a:gd name="T80" fmla="*/ 275 w 901"/>
                <a:gd name="T81" fmla="*/ 623 h 669"/>
                <a:gd name="T82" fmla="*/ 345 w 901"/>
                <a:gd name="T83" fmla="*/ 660 h 669"/>
                <a:gd name="T84" fmla="*/ 429 w 901"/>
                <a:gd name="T85" fmla="*/ 668 h 669"/>
                <a:gd name="T86" fmla="*/ 534 w 901"/>
                <a:gd name="T87" fmla="*/ 632 h 669"/>
                <a:gd name="T88" fmla="*/ 620 w 901"/>
                <a:gd name="T89" fmla="*/ 626 h 669"/>
                <a:gd name="T90" fmla="*/ 707 w 901"/>
                <a:gd name="T91" fmla="*/ 607 h 669"/>
                <a:gd name="T92" fmla="*/ 783 w 901"/>
                <a:gd name="T93" fmla="*/ 565 h 669"/>
                <a:gd name="T94" fmla="*/ 843 w 901"/>
                <a:gd name="T95" fmla="*/ 503 h 669"/>
                <a:gd name="T96" fmla="*/ 884 w 901"/>
                <a:gd name="T97" fmla="*/ 423 h 669"/>
                <a:gd name="T98" fmla="*/ 901 w 901"/>
                <a:gd name="T99" fmla="*/ 331 h 669"/>
                <a:gd name="T100" fmla="*/ 892 w 901"/>
                <a:gd name="T101" fmla="*/ 236 h 669"/>
                <a:gd name="T102" fmla="*/ 859 w 901"/>
                <a:gd name="T103" fmla="*/ 150 h 669"/>
                <a:gd name="T104" fmla="*/ 805 w 901"/>
                <a:gd name="T105" fmla="*/ 81 h 669"/>
                <a:gd name="T106" fmla="*/ 734 w 901"/>
                <a:gd name="T107" fmla="*/ 31 h 669"/>
                <a:gd name="T108" fmla="*/ 651 w 901"/>
                <a:gd name="T109" fmla="*/ 4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 h="669">
                  <a:moveTo>
                    <a:pt x="605" y="596"/>
                  </a:moveTo>
                  <a:lnTo>
                    <a:pt x="591" y="596"/>
                  </a:lnTo>
                  <a:lnTo>
                    <a:pt x="576" y="595"/>
                  </a:lnTo>
                  <a:lnTo>
                    <a:pt x="562" y="592"/>
                  </a:lnTo>
                  <a:lnTo>
                    <a:pt x="548" y="590"/>
                  </a:lnTo>
                  <a:lnTo>
                    <a:pt x="542" y="588"/>
                  </a:lnTo>
                  <a:lnTo>
                    <a:pt x="535" y="594"/>
                  </a:lnTo>
                  <a:lnTo>
                    <a:pt x="522" y="603"/>
                  </a:lnTo>
                  <a:lnTo>
                    <a:pt x="507" y="613"/>
                  </a:lnTo>
                  <a:lnTo>
                    <a:pt x="492" y="620"/>
                  </a:lnTo>
                  <a:lnTo>
                    <a:pt x="476" y="628"/>
                  </a:lnTo>
                  <a:lnTo>
                    <a:pt x="460" y="632"/>
                  </a:lnTo>
                  <a:lnTo>
                    <a:pt x="444" y="636"/>
                  </a:lnTo>
                  <a:lnTo>
                    <a:pt x="427" y="638"/>
                  </a:lnTo>
                  <a:lnTo>
                    <a:pt x="410" y="640"/>
                  </a:lnTo>
                  <a:lnTo>
                    <a:pt x="398" y="638"/>
                  </a:lnTo>
                  <a:lnTo>
                    <a:pt x="386" y="637"/>
                  </a:lnTo>
                  <a:lnTo>
                    <a:pt x="375" y="635"/>
                  </a:lnTo>
                  <a:lnTo>
                    <a:pt x="363" y="633"/>
                  </a:lnTo>
                  <a:lnTo>
                    <a:pt x="351" y="630"/>
                  </a:lnTo>
                  <a:lnTo>
                    <a:pt x="340" y="626"/>
                  </a:lnTo>
                  <a:lnTo>
                    <a:pt x="330" y="621"/>
                  </a:lnTo>
                  <a:lnTo>
                    <a:pt x="319" y="616"/>
                  </a:lnTo>
                  <a:lnTo>
                    <a:pt x="308" y="611"/>
                  </a:lnTo>
                  <a:lnTo>
                    <a:pt x="299" y="604"/>
                  </a:lnTo>
                  <a:lnTo>
                    <a:pt x="289" y="597"/>
                  </a:lnTo>
                  <a:lnTo>
                    <a:pt x="279" y="589"/>
                  </a:lnTo>
                  <a:lnTo>
                    <a:pt x="271" y="581"/>
                  </a:lnTo>
                  <a:lnTo>
                    <a:pt x="262" y="572"/>
                  </a:lnTo>
                  <a:lnTo>
                    <a:pt x="255" y="562"/>
                  </a:lnTo>
                  <a:lnTo>
                    <a:pt x="247" y="553"/>
                  </a:lnTo>
                  <a:lnTo>
                    <a:pt x="243" y="545"/>
                  </a:lnTo>
                  <a:lnTo>
                    <a:pt x="231" y="545"/>
                  </a:lnTo>
                  <a:lnTo>
                    <a:pt x="229" y="546"/>
                  </a:lnTo>
                  <a:lnTo>
                    <a:pt x="228" y="546"/>
                  </a:lnTo>
                  <a:lnTo>
                    <a:pt x="208" y="545"/>
                  </a:lnTo>
                  <a:lnTo>
                    <a:pt x="188" y="542"/>
                  </a:lnTo>
                  <a:lnTo>
                    <a:pt x="169" y="537"/>
                  </a:lnTo>
                  <a:lnTo>
                    <a:pt x="151" y="530"/>
                  </a:lnTo>
                  <a:lnTo>
                    <a:pt x="134" y="522"/>
                  </a:lnTo>
                  <a:lnTo>
                    <a:pt x="118" y="511"/>
                  </a:lnTo>
                  <a:lnTo>
                    <a:pt x="102" y="500"/>
                  </a:lnTo>
                  <a:lnTo>
                    <a:pt x="88" y="486"/>
                  </a:lnTo>
                  <a:lnTo>
                    <a:pt x="75" y="473"/>
                  </a:lnTo>
                  <a:lnTo>
                    <a:pt x="64" y="457"/>
                  </a:lnTo>
                  <a:lnTo>
                    <a:pt x="54" y="440"/>
                  </a:lnTo>
                  <a:lnTo>
                    <a:pt x="46" y="422"/>
                  </a:lnTo>
                  <a:lnTo>
                    <a:pt x="39" y="404"/>
                  </a:lnTo>
                  <a:lnTo>
                    <a:pt x="34" y="385"/>
                  </a:lnTo>
                  <a:lnTo>
                    <a:pt x="31" y="364"/>
                  </a:lnTo>
                  <a:lnTo>
                    <a:pt x="30" y="344"/>
                  </a:lnTo>
                  <a:lnTo>
                    <a:pt x="31" y="324"/>
                  </a:lnTo>
                  <a:lnTo>
                    <a:pt x="34" y="303"/>
                  </a:lnTo>
                  <a:lnTo>
                    <a:pt x="39" y="284"/>
                  </a:lnTo>
                  <a:lnTo>
                    <a:pt x="46" y="265"/>
                  </a:lnTo>
                  <a:lnTo>
                    <a:pt x="54" y="248"/>
                  </a:lnTo>
                  <a:lnTo>
                    <a:pt x="64" y="231"/>
                  </a:lnTo>
                  <a:lnTo>
                    <a:pt x="75" y="216"/>
                  </a:lnTo>
                  <a:lnTo>
                    <a:pt x="88" y="201"/>
                  </a:lnTo>
                  <a:lnTo>
                    <a:pt x="102" y="188"/>
                  </a:lnTo>
                  <a:lnTo>
                    <a:pt x="118" y="176"/>
                  </a:lnTo>
                  <a:lnTo>
                    <a:pt x="134" y="167"/>
                  </a:lnTo>
                  <a:lnTo>
                    <a:pt x="151" y="158"/>
                  </a:lnTo>
                  <a:lnTo>
                    <a:pt x="169" y="150"/>
                  </a:lnTo>
                  <a:lnTo>
                    <a:pt x="188" y="146"/>
                  </a:lnTo>
                  <a:lnTo>
                    <a:pt x="208" y="143"/>
                  </a:lnTo>
                  <a:lnTo>
                    <a:pt x="228" y="142"/>
                  </a:lnTo>
                  <a:lnTo>
                    <a:pt x="243" y="142"/>
                  </a:lnTo>
                  <a:lnTo>
                    <a:pt x="258" y="144"/>
                  </a:lnTo>
                  <a:lnTo>
                    <a:pt x="273" y="147"/>
                  </a:lnTo>
                  <a:lnTo>
                    <a:pt x="288" y="152"/>
                  </a:lnTo>
                  <a:lnTo>
                    <a:pt x="302" y="157"/>
                  </a:lnTo>
                  <a:lnTo>
                    <a:pt x="316" y="163"/>
                  </a:lnTo>
                  <a:lnTo>
                    <a:pt x="329" y="171"/>
                  </a:lnTo>
                  <a:lnTo>
                    <a:pt x="341" y="179"/>
                  </a:lnTo>
                  <a:lnTo>
                    <a:pt x="355" y="189"/>
                  </a:lnTo>
                  <a:lnTo>
                    <a:pt x="364" y="174"/>
                  </a:lnTo>
                  <a:lnTo>
                    <a:pt x="374" y="158"/>
                  </a:lnTo>
                  <a:lnTo>
                    <a:pt x="384" y="142"/>
                  </a:lnTo>
                  <a:lnTo>
                    <a:pt x="396" y="128"/>
                  </a:lnTo>
                  <a:lnTo>
                    <a:pt x="408" y="114"/>
                  </a:lnTo>
                  <a:lnTo>
                    <a:pt x="422" y="101"/>
                  </a:lnTo>
                  <a:lnTo>
                    <a:pt x="436" y="89"/>
                  </a:lnTo>
                  <a:lnTo>
                    <a:pt x="450" y="79"/>
                  </a:lnTo>
                  <a:lnTo>
                    <a:pt x="466" y="69"/>
                  </a:lnTo>
                  <a:lnTo>
                    <a:pt x="481" y="60"/>
                  </a:lnTo>
                  <a:lnTo>
                    <a:pt x="498" y="52"/>
                  </a:lnTo>
                  <a:lnTo>
                    <a:pt x="515" y="46"/>
                  </a:lnTo>
                  <a:lnTo>
                    <a:pt x="532" y="40"/>
                  </a:lnTo>
                  <a:lnTo>
                    <a:pt x="549" y="36"/>
                  </a:lnTo>
                  <a:lnTo>
                    <a:pt x="567" y="33"/>
                  </a:lnTo>
                  <a:lnTo>
                    <a:pt x="585" y="31"/>
                  </a:lnTo>
                  <a:lnTo>
                    <a:pt x="605" y="31"/>
                  </a:lnTo>
                  <a:lnTo>
                    <a:pt x="619" y="31"/>
                  </a:lnTo>
                  <a:lnTo>
                    <a:pt x="632" y="32"/>
                  </a:lnTo>
                  <a:lnTo>
                    <a:pt x="645" y="34"/>
                  </a:lnTo>
                  <a:lnTo>
                    <a:pt x="659" y="36"/>
                  </a:lnTo>
                  <a:lnTo>
                    <a:pt x="672" y="39"/>
                  </a:lnTo>
                  <a:lnTo>
                    <a:pt x="685" y="42"/>
                  </a:lnTo>
                  <a:lnTo>
                    <a:pt x="697" y="47"/>
                  </a:lnTo>
                  <a:lnTo>
                    <a:pt x="710" y="52"/>
                  </a:lnTo>
                  <a:lnTo>
                    <a:pt x="721" y="57"/>
                  </a:lnTo>
                  <a:lnTo>
                    <a:pt x="733" y="64"/>
                  </a:lnTo>
                  <a:lnTo>
                    <a:pt x="744" y="71"/>
                  </a:lnTo>
                  <a:lnTo>
                    <a:pt x="754" y="78"/>
                  </a:lnTo>
                  <a:lnTo>
                    <a:pt x="765" y="86"/>
                  </a:lnTo>
                  <a:lnTo>
                    <a:pt x="775" y="95"/>
                  </a:lnTo>
                  <a:lnTo>
                    <a:pt x="784" y="103"/>
                  </a:lnTo>
                  <a:lnTo>
                    <a:pt x="794" y="113"/>
                  </a:lnTo>
                  <a:lnTo>
                    <a:pt x="803" y="123"/>
                  </a:lnTo>
                  <a:lnTo>
                    <a:pt x="811" y="133"/>
                  </a:lnTo>
                  <a:lnTo>
                    <a:pt x="819" y="144"/>
                  </a:lnTo>
                  <a:lnTo>
                    <a:pt x="826" y="155"/>
                  </a:lnTo>
                  <a:lnTo>
                    <a:pt x="834" y="167"/>
                  </a:lnTo>
                  <a:lnTo>
                    <a:pt x="840" y="178"/>
                  </a:lnTo>
                  <a:lnTo>
                    <a:pt x="845" y="191"/>
                  </a:lnTo>
                  <a:lnTo>
                    <a:pt x="851" y="203"/>
                  </a:lnTo>
                  <a:lnTo>
                    <a:pt x="855" y="217"/>
                  </a:lnTo>
                  <a:lnTo>
                    <a:pt x="859" y="230"/>
                  </a:lnTo>
                  <a:lnTo>
                    <a:pt x="863" y="244"/>
                  </a:lnTo>
                  <a:lnTo>
                    <a:pt x="866" y="257"/>
                  </a:lnTo>
                  <a:lnTo>
                    <a:pt x="868" y="271"/>
                  </a:lnTo>
                  <a:lnTo>
                    <a:pt x="870" y="286"/>
                  </a:lnTo>
                  <a:lnTo>
                    <a:pt x="871" y="300"/>
                  </a:lnTo>
                  <a:lnTo>
                    <a:pt x="871" y="315"/>
                  </a:lnTo>
                  <a:lnTo>
                    <a:pt x="871" y="330"/>
                  </a:lnTo>
                  <a:lnTo>
                    <a:pt x="870" y="344"/>
                  </a:lnTo>
                  <a:lnTo>
                    <a:pt x="868" y="359"/>
                  </a:lnTo>
                  <a:lnTo>
                    <a:pt x="866" y="373"/>
                  </a:lnTo>
                  <a:lnTo>
                    <a:pt x="863" y="386"/>
                  </a:lnTo>
                  <a:lnTo>
                    <a:pt x="859" y="400"/>
                  </a:lnTo>
                  <a:lnTo>
                    <a:pt x="855" y="413"/>
                  </a:lnTo>
                  <a:lnTo>
                    <a:pt x="851" y="425"/>
                  </a:lnTo>
                  <a:lnTo>
                    <a:pt x="845" y="438"/>
                  </a:lnTo>
                  <a:lnTo>
                    <a:pt x="840" y="450"/>
                  </a:lnTo>
                  <a:lnTo>
                    <a:pt x="834" y="462"/>
                  </a:lnTo>
                  <a:lnTo>
                    <a:pt x="826" y="474"/>
                  </a:lnTo>
                  <a:lnTo>
                    <a:pt x="819" y="484"/>
                  </a:lnTo>
                  <a:lnTo>
                    <a:pt x="811" y="495"/>
                  </a:lnTo>
                  <a:lnTo>
                    <a:pt x="803" y="505"/>
                  </a:lnTo>
                  <a:lnTo>
                    <a:pt x="794" y="514"/>
                  </a:lnTo>
                  <a:lnTo>
                    <a:pt x="784" y="524"/>
                  </a:lnTo>
                  <a:lnTo>
                    <a:pt x="775" y="533"/>
                  </a:lnTo>
                  <a:lnTo>
                    <a:pt x="765" y="541"/>
                  </a:lnTo>
                  <a:lnTo>
                    <a:pt x="754" y="549"/>
                  </a:lnTo>
                  <a:lnTo>
                    <a:pt x="744" y="556"/>
                  </a:lnTo>
                  <a:lnTo>
                    <a:pt x="733" y="562"/>
                  </a:lnTo>
                  <a:lnTo>
                    <a:pt x="721" y="569"/>
                  </a:lnTo>
                  <a:lnTo>
                    <a:pt x="710" y="574"/>
                  </a:lnTo>
                  <a:lnTo>
                    <a:pt x="697" y="579"/>
                  </a:lnTo>
                  <a:lnTo>
                    <a:pt x="685" y="583"/>
                  </a:lnTo>
                  <a:lnTo>
                    <a:pt x="672" y="587"/>
                  </a:lnTo>
                  <a:lnTo>
                    <a:pt x="659" y="590"/>
                  </a:lnTo>
                  <a:lnTo>
                    <a:pt x="645" y="592"/>
                  </a:lnTo>
                  <a:lnTo>
                    <a:pt x="632" y="595"/>
                  </a:lnTo>
                  <a:lnTo>
                    <a:pt x="619" y="596"/>
                  </a:lnTo>
                  <a:lnTo>
                    <a:pt x="605" y="596"/>
                  </a:lnTo>
                  <a:lnTo>
                    <a:pt x="605" y="596"/>
                  </a:lnTo>
                  <a:close/>
                  <a:moveTo>
                    <a:pt x="605" y="0"/>
                  </a:moveTo>
                  <a:lnTo>
                    <a:pt x="585" y="1"/>
                  </a:lnTo>
                  <a:lnTo>
                    <a:pt x="565" y="3"/>
                  </a:lnTo>
                  <a:lnTo>
                    <a:pt x="547" y="6"/>
                  </a:lnTo>
                  <a:lnTo>
                    <a:pt x="528" y="10"/>
                  </a:lnTo>
                  <a:lnTo>
                    <a:pt x="509" y="16"/>
                  </a:lnTo>
                  <a:lnTo>
                    <a:pt x="491" y="22"/>
                  </a:lnTo>
                  <a:lnTo>
                    <a:pt x="474" y="30"/>
                  </a:lnTo>
                  <a:lnTo>
                    <a:pt x="457" y="39"/>
                  </a:lnTo>
                  <a:lnTo>
                    <a:pt x="440" y="49"/>
                  </a:lnTo>
                  <a:lnTo>
                    <a:pt x="425" y="60"/>
                  </a:lnTo>
                  <a:lnTo>
                    <a:pt x="409" y="72"/>
                  </a:lnTo>
                  <a:lnTo>
                    <a:pt x="395" y="85"/>
                  </a:lnTo>
                  <a:lnTo>
                    <a:pt x="381" y="99"/>
                  </a:lnTo>
                  <a:lnTo>
                    <a:pt x="368" y="113"/>
                  </a:lnTo>
                  <a:lnTo>
                    <a:pt x="356" y="129"/>
                  </a:lnTo>
                  <a:lnTo>
                    <a:pt x="346" y="145"/>
                  </a:lnTo>
                  <a:lnTo>
                    <a:pt x="332" y="138"/>
                  </a:lnTo>
                  <a:lnTo>
                    <a:pt x="318" y="131"/>
                  </a:lnTo>
                  <a:lnTo>
                    <a:pt x="304" y="125"/>
                  </a:lnTo>
                  <a:lnTo>
                    <a:pt x="289" y="121"/>
                  </a:lnTo>
                  <a:lnTo>
                    <a:pt x="274" y="116"/>
                  </a:lnTo>
                  <a:lnTo>
                    <a:pt x="259" y="114"/>
                  </a:lnTo>
                  <a:lnTo>
                    <a:pt x="243" y="112"/>
                  </a:lnTo>
                  <a:lnTo>
                    <a:pt x="228" y="112"/>
                  </a:lnTo>
                  <a:lnTo>
                    <a:pt x="216" y="112"/>
                  </a:lnTo>
                  <a:lnTo>
                    <a:pt x="204" y="113"/>
                  </a:lnTo>
                  <a:lnTo>
                    <a:pt x="193" y="114"/>
                  </a:lnTo>
                  <a:lnTo>
                    <a:pt x="182" y="116"/>
                  </a:lnTo>
                  <a:lnTo>
                    <a:pt x="171" y="119"/>
                  </a:lnTo>
                  <a:lnTo>
                    <a:pt x="161" y="123"/>
                  </a:lnTo>
                  <a:lnTo>
                    <a:pt x="150" y="126"/>
                  </a:lnTo>
                  <a:lnTo>
                    <a:pt x="139" y="130"/>
                  </a:lnTo>
                  <a:lnTo>
                    <a:pt x="130" y="134"/>
                  </a:lnTo>
                  <a:lnTo>
                    <a:pt x="119" y="140"/>
                  </a:lnTo>
                  <a:lnTo>
                    <a:pt x="109" y="145"/>
                  </a:lnTo>
                  <a:lnTo>
                    <a:pt x="101" y="152"/>
                  </a:lnTo>
                  <a:lnTo>
                    <a:pt x="83" y="164"/>
                  </a:lnTo>
                  <a:lnTo>
                    <a:pt x="66" y="179"/>
                  </a:lnTo>
                  <a:lnTo>
                    <a:pt x="53" y="196"/>
                  </a:lnTo>
                  <a:lnTo>
                    <a:pt x="39" y="215"/>
                  </a:lnTo>
                  <a:lnTo>
                    <a:pt x="33" y="223"/>
                  </a:lnTo>
                  <a:lnTo>
                    <a:pt x="28" y="233"/>
                  </a:lnTo>
                  <a:lnTo>
                    <a:pt x="23" y="244"/>
                  </a:lnTo>
                  <a:lnTo>
                    <a:pt x="18" y="253"/>
                  </a:lnTo>
                  <a:lnTo>
                    <a:pt x="14" y="264"/>
                  </a:lnTo>
                  <a:lnTo>
                    <a:pt x="11" y="275"/>
                  </a:lnTo>
                  <a:lnTo>
                    <a:pt x="8" y="286"/>
                  </a:lnTo>
                  <a:lnTo>
                    <a:pt x="4" y="297"/>
                  </a:lnTo>
                  <a:lnTo>
                    <a:pt x="2" y="309"/>
                  </a:lnTo>
                  <a:lnTo>
                    <a:pt x="1" y="321"/>
                  </a:lnTo>
                  <a:lnTo>
                    <a:pt x="0" y="332"/>
                  </a:lnTo>
                  <a:lnTo>
                    <a:pt x="0" y="344"/>
                  </a:lnTo>
                  <a:lnTo>
                    <a:pt x="0" y="356"/>
                  </a:lnTo>
                  <a:lnTo>
                    <a:pt x="1" y="368"/>
                  </a:lnTo>
                  <a:lnTo>
                    <a:pt x="2" y="379"/>
                  </a:lnTo>
                  <a:lnTo>
                    <a:pt x="4" y="391"/>
                  </a:lnTo>
                  <a:lnTo>
                    <a:pt x="8" y="402"/>
                  </a:lnTo>
                  <a:lnTo>
                    <a:pt x="11" y="413"/>
                  </a:lnTo>
                  <a:lnTo>
                    <a:pt x="14" y="423"/>
                  </a:lnTo>
                  <a:lnTo>
                    <a:pt x="18" y="434"/>
                  </a:lnTo>
                  <a:lnTo>
                    <a:pt x="23" y="445"/>
                  </a:lnTo>
                  <a:lnTo>
                    <a:pt x="28" y="454"/>
                  </a:lnTo>
                  <a:lnTo>
                    <a:pt x="33" y="464"/>
                  </a:lnTo>
                  <a:lnTo>
                    <a:pt x="39" y="474"/>
                  </a:lnTo>
                  <a:lnTo>
                    <a:pt x="53" y="492"/>
                  </a:lnTo>
                  <a:lnTo>
                    <a:pt x="66" y="508"/>
                  </a:lnTo>
                  <a:lnTo>
                    <a:pt x="83" y="523"/>
                  </a:lnTo>
                  <a:lnTo>
                    <a:pt x="101" y="537"/>
                  </a:lnTo>
                  <a:lnTo>
                    <a:pt x="109" y="542"/>
                  </a:lnTo>
                  <a:lnTo>
                    <a:pt x="119" y="549"/>
                  </a:lnTo>
                  <a:lnTo>
                    <a:pt x="130" y="553"/>
                  </a:lnTo>
                  <a:lnTo>
                    <a:pt x="139" y="558"/>
                  </a:lnTo>
                  <a:lnTo>
                    <a:pt x="150" y="562"/>
                  </a:lnTo>
                  <a:lnTo>
                    <a:pt x="161" y="566"/>
                  </a:lnTo>
                  <a:lnTo>
                    <a:pt x="171" y="569"/>
                  </a:lnTo>
                  <a:lnTo>
                    <a:pt x="182" y="571"/>
                  </a:lnTo>
                  <a:lnTo>
                    <a:pt x="193" y="573"/>
                  </a:lnTo>
                  <a:lnTo>
                    <a:pt x="204" y="575"/>
                  </a:lnTo>
                  <a:lnTo>
                    <a:pt x="216" y="576"/>
                  </a:lnTo>
                  <a:lnTo>
                    <a:pt x="228" y="576"/>
                  </a:lnTo>
                  <a:lnTo>
                    <a:pt x="228" y="576"/>
                  </a:lnTo>
                  <a:lnTo>
                    <a:pt x="228" y="576"/>
                  </a:lnTo>
                  <a:lnTo>
                    <a:pt x="237" y="587"/>
                  </a:lnTo>
                  <a:lnTo>
                    <a:pt x="245" y="597"/>
                  </a:lnTo>
                  <a:lnTo>
                    <a:pt x="255" y="606"/>
                  </a:lnTo>
                  <a:lnTo>
                    <a:pt x="264" y="615"/>
                  </a:lnTo>
                  <a:lnTo>
                    <a:pt x="275" y="623"/>
                  </a:lnTo>
                  <a:lnTo>
                    <a:pt x="286" y="631"/>
                  </a:lnTo>
                  <a:lnTo>
                    <a:pt x="297" y="638"/>
                  </a:lnTo>
                  <a:lnTo>
                    <a:pt x="308" y="645"/>
                  </a:lnTo>
                  <a:lnTo>
                    <a:pt x="320" y="650"/>
                  </a:lnTo>
                  <a:lnTo>
                    <a:pt x="332" y="656"/>
                  </a:lnTo>
                  <a:lnTo>
                    <a:pt x="345" y="660"/>
                  </a:lnTo>
                  <a:lnTo>
                    <a:pt x="357" y="663"/>
                  </a:lnTo>
                  <a:lnTo>
                    <a:pt x="370" y="665"/>
                  </a:lnTo>
                  <a:lnTo>
                    <a:pt x="383" y="667"/>
                  </a:lnTo>
                  <a:lnTo>
                    <a:pt x="397" y="668"/>
                  </a:lnTo>
                  <a:lnTo>
                    <a:pt x="410" y="669"/>
                  </a:lnTo>
                  <a:lnTo>
                    <a:pt x="429" y="668"/>
                  </a:lnTo>
                  <a:lnTo>
                    <a:pt x="447" y="666"/>
                  </a:lnTo>
                  <a:lnTo>
                    <a:pt x="466" y="662"/>
                  </a:lnTo>
                  <a:lnTo>
                    <a:pt x="484" y="657"/>
                  </a:lnTo>
                  <a:lnTo>
                    <a:pt x="501" y="650"/>
                  </a:lnTo>
                  <a:lnTo>
                    <a:pt x="518" y="642"/>
                  </a:lnTo>
                  <a:lnTo>
                    <a:pt x="534" y="632"/>
                  </a:lnTo>
                  <a:lnTo>
                    <a:pt x="549" y="620"/>
                  </a:lnTo>
                  <a:lnTo>
                    <a:pt x="563" y="622"/>
                  </a:lnTo>
                  <a:lnTo>
                    <a:pt x="577" y="625"/>
                  </a:lnTo>
                  <a:lnTo>
                    <a:pt x="591" y="626"/>
                  </a:lnTo>
                  <a:lnTo>
                    <a:pt x="605" y="626"/>
                  </a:lnTo>
                  <a:lnTo>
                    <a:pt x="620" y="626"/>
                  </a:lnTo>
                  <a:lnTo>
                    <a:pt x="636" y="625"/>
                  </a:lnTo>
                  <a:lnTo>
                    <a:pt x="651" y="622"/>
                  </a:lnTo>
                  <a:lnTo>
                    <a:pt x="665" y="619"/>
                  </a:lnTo>
                  <a:lnTo>
                    <a:pt x="680" y="616"/>
                  </a:lnTo>
                  <a:lnTo>
                    <a:pt x="693" y="612"/>
                  </a:lnTo>
                  <a:lnTo>
                    <a:pt x="707" y="607"/>
                  </a:lnTo>
                  <a:lnTo>
                    <a:pt x="721" y="602"/>
                  </a:lnTo>
                  <a:lnTo>
                    <a:pt x="734" y="596"/>
                  </a:lnTo>
                  <a:lnTo>
                    <a:pt x="747" y="589"/>
                  </a:lnTo>
                  <a:lnTo>
                    <a:pt x="760" y="582"/>
                  </a:lnTo>
                  <a:lnTo>
                    <a:pt x="772" y="573"/>
                  </a:lnTo>
                  <a:lnTo>
                    <a:pt x="783" y="565"/>
                  </a:lnTo>
                  <a:lnTo>
                    <a:pt x="794" y="556"/>
                  </a:lnTo>
                  <a:lnTo>
                    <a:pt x="805" y="546"/>
                  </a:lnTo>
                  <a:lnTo>
                    <a:pt x="815" y="536"/>
                  </a:lnTo>
                  <a:lnTo>
                    <a:pt x="825" y="525"/>
                  </a:lnTo>
                  <a:lnTo>
                    <a:pt x="835" y="514"/>
                  </a:lnTo>
                  <a:lnTo>
                    <a:pt x="843" y="503"/>
                  </a:lnTo>
                  <a:lnTo>
                    <a:pt x="851" y="490"/>
                  </a:lnTo>
                  <a:lnTo>
                    <a:pt x="859" y="478"/>
                  </a:lnTo>
                  <a:lnTo>
                    <a:pt x="866" y="465"/>
                  </a:lnTo>
                  <a:lnTo>
                    <a:pt x="872" y="451"/>
                  </a:lnTo>
                  <a:lnTo>
                    <a:pt x="879" y="437"/>
                  </a:lnTo>
                  <a:lnTo>
                    <a:pt x="884" y="423"/>
                  </a:lnTo>
                  <a:lnTo>
                    <a:pt x="888" y="408"/>
                  </a:lnTo>
                  <a:lnTo>
                    <a:pt x="892" y="394"/>
                  </a:lnTo>
                  <a:lnTo>
                    <a:pt x="896" y="378"/>
                  </a:lnTo>
                  <a:lnTo>
                    <a:pt x="898" y="363"/>
                  </a:lnTo>
                  <a:lnTo>
                    <a:pt x="900" y="347"/>
                  </a:lnTo>
                  <a:lnTo>
                    <a:pt x="901" y="331"/>
                  </a:lnTo>
                  <a:lnTo>
                    <a:pt x="901" y="315"/>
                  </a:lnTo>
                  <a:lnTo>
                    <a:pt x="901" y="299"/>
                  </a:lnTo>
                  <a:lnTo>
                    <a:pt x="900" y="283"/>
                  </a:lnTo>
                  <a:lnTo>
                    <a:pt x="898" y="267"/>
                  </a:lnTo>
                  <a:lnTo>
                    <a:pt x="896" y="251"/>
                  </a:lnTo>
                  <a:lnTo>
                    <a:pt x="892" y="236"/>
                  </a:lnTo>
                  <a:lnTo>
                    <a:pt x="888" y="221"/>
                  </a:lnTo>
                  <a:lnTo>
                    <a:pt x="884" y="206"/>
                  </a:lnTo>
                  <a:lnTo>
                    <a:pt x="879" y="191"/>
                  </a:lnTo>
                  <a:lnTo>
                    <a:pt x="872" y="177"/>
                  </a:lnTo>
                  <a:lnTo>
                    <a:pt x="866" y="164"/>
                  </a:lnTo>
                  <a:lnTo>
                    <a:pt x="859" y="150"/>
                  </a:lnTo>
                  <a:lnTo>
                    <a:pt x="851" y="138"/>
                  </a:lnTo>
                  <a:lnTo>
                    <a:pt x="843" y="126"/>
                  </a:lnTo>
                  <a:lnTo>
                    <a:pt x="835" y="114"/>
                  </a:lnTo>
                  <a:lnTo>
                    <a:pt x="825" y="102"/>
                  </a:lnTo>
                  <a:lnTo>
                    <a:pt x="815" y="92"/>
                  </a:lnTo>
                  <a:lnTo>
                    <a:pt x="805" y="81"/>
                  </a:lnTo>
                  <a:lnTo>
                    <a:pt x="794" y="71"/>
                  </a:lnTo>
                  <a:lnTo>
                    <a:pt x="783" y="62"/>
                  </a:lnTo>
                  <a:lnTo>
                    <a:pt x="772" y="53"/>
                  </a:lnTo>
                  <a:lnTo>
                    <a:pt x="760" y="46"/>
                  </a:lnTo>
                  <a:lnTo>
                    <a:pt x="747" y="38"/>
                  </a:lnTo>
                  <a:lnTo>
                    <a:pt x="734" y="31"/>
                  </a:lnTo>
                  <a:lnTo>
                    <a:pt x="721" y="24"/>
                  </a:lnTo>
                  <a:lnTo>
                    <a:pt x="707" y="19"/>
                  </a:lnTo>
                  <a:lnTo>
                    <a:pt x="693" y="15"/>
                  </a:lnTo>
                  <a:lnTo>
                    <a:pt x="680" y="10"/>
                  </a:lnTo>
                  <a:lnTo>
                    <a:pt x="665" y="6"/>
                  </a:lnTo>
                  <a:lnTo>
                    <a:pt x="651" y="4"/>
                  </a:lnTo>
                  <a:lnTo>
                    <a:pt x="636" y="2"/>
                  </a:lnTo>
                  <a:lnTo>
                    <a:pt x="620" y="1"/>
                  </a:lnTo>
                  <a:lnTo>
                    <a:pt x="605" y="1"/>
                  </a:lnTo>
                  <a:lnTo>
                    <a:pt x="6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45">
              <a:extLst>
                <a:ext uri="{FF2B5EF4-FFF2-40B4-BE49-F238E27FC236}">
                  <a16:creationId xmlns:a16="http://schemas.microsoft.com/office/drawing/2014/main" id="{BF77E8F5-7D0D-4E84-80FE-70C77C7B971B}"/>
                </a:ext>
              </a:extLst>
            </p:cNvPr>
            <p:cNvSpPr>
              <a:spLocks noEditPoints="1"/>
            </p:cNvSpPr>
            <p:nvPr/>
          </p:nvSpPr>
          <p:spPr bwMode="auto">
            <a:xfrm>
              <a:off x="4962525" y="2036763"/>
              <a:ext cx="20638" cy="20638"/>
            </a:xfrm>
            <a:custGeom>
              <a:avLst/>
              <a:gdLst>
                <a:gd name="T0" fmla="*/ 30 w 67"/>
                <a:gd name="T1" fmla="*/ 33 h 66"/>
                <a:gd name="T2" fmla="*/ 31 w 67"/>
                <a:gd name="T3" fmla="*/ 31 h 66"/>
                <a:gd name="T4" fmla="*/ 33 w 67"/>
                <a:gd name="T5" fmla="*/ 30 h 66"/>
                <a:gd name="T6" fmla="*/ 36 w 67"/>
                <a:gd name="T7" fmla="*/ 31 h 66"/>
                <a:gd name="T8" fmla="*/ 36 w 67"/>
                <a:gd name="T9" fmla="*/ 33 h 66"/>
                <a:gd name="T10" fmla="*/ 35 w 67"/>
                <a:gd name="T11" fmla="*/ 35 h 66"/>
                <a:gd name="T12" fmla="*/ 33 w 67"/>
                <a:gd name="T13" fmla="*/ 36 h 66"/>
                <a:gd name="T14" fmla="*/ 31 w 67"/>
                <a:gd name="T15" fmla="*/ 35 h 66"/>
                <a:gd name="T16" fmla="*/ 30 w 67"/>
                <a:gd name="T17" fmla="*/ 33 h 66"/>
                <a:gd name="T18" fmla="*/ 30 w 67"/>
                <a:gd name="T19" fmla="*/ 33 h 66"/>
                <a:gd name="T20" fmla="*/ 33 w 67"/>
                <a:gd name="T21" fmla="*/ 0 h 66"/>
                <a:gd name="T22" fmla="*/ 26 w 67"/>
                <a:gd name="T23" fmla="*/ 0 h 66"/>
                <a:gd name="T24" fmla="*/ 20 w 67"/>
                <a:gd name="T25" fmla="*/ 2 h 66"/>
                <a:gd name="T26" fmla="*/ 15 w 67"/>
                <a:gd name="T27" fmla="*/ 5 h 66"/>
                <a:gd name="T28" fmla="*/ 9 w 67"/>
                <a:gd name="T29" fmla="*/ 9 h 66"/>
                <a:gd name="T30" fmla="*/ 5 w 67"/>
                <a:gd name="T31" fmla="*/ 14 h 66"/>
                <a:gd name="T32" fmla="*/ 2 w 67"/>
                <a:gd name="T33" fmla="*/ 20 h 66"/>
                <a:gd name="T34" fmla="*/ 0 w 67"/>
                <a:gd name="T35" fmla="*/ 26 h 66"/>
                <a:gd name="T36" fmla="*/ 0 w 67"/>
                <a:gd name="T37" fmla="*/ 33 h 66"/>
                <a:gd name="T38" fmla="*/ 0 w 67"/>
                <a:gd name="T39" fmla="*/ 39 h 66"/>
                <a:gd name="T40" fmla="*/ 2 w 67"/>
                <a:gd name="T41" fmla="*/ 46 h 66"/>
                <a:gd name="T42" fmla="*/ 5 w 67"/>
                <a:gd name="T43" fmla="*/ 52 h 66"/>
                <a:gd name="T44" fmla="*/ 9 w 67"/>
                <a:gd name="T45" fmla="*/ 56 h 66"/>
                <a:gd name="T46" fmla="*/ 15 w 67"/>
                <a:gd name="T47" fmla="*/ 61 h 66"/>
                <a:gd name="T48" fmla="*/ 20 w 67"/>
                <a:gd name="T49" fmla="*/ 64 h 66"/>
                <a:gd name="T50" fmla="*/ 26 w 67"/>
                <a:gd name="T51" fmla="*/ 66 h 66"/>
                <a:gd name="T52" fmla="*/ 33 w 67"/>
                <a:gd name="T53" fmla="*/ 66 h 66"/>
                <a:gd name="T54" fmla="*/ 39 w 67"/>
                <a:gd name="T55" fmla="*/ 66 h 66"/>
                <a:gd name="T56" fmla="*/ 46 w 67"/>
                <a:gd name="T57" fmla="*/ 64 h 66"/>
                <a:gd name="T58" fmla="*/ 52 w 67"/>
                <a:gd name="T59" fmla="*/ 61 h 66"/>
                <a:gd name="T60" fmla="*/ 56 w 67"/>
                <a:gd name="T61" fmla="*/ 56 h 66"/>
                <a:gd name="T62" fmla="*/ 61 w 67"/>
                <a:gd name="T63" fmla="*/ 52 h 66"/>
                <a:gd name="T64" fmla="*/ 64 w 67"/>
                <a:gd name="T65" fmla="*/ 46 h 66"/>
                <a:gd name="T66" fmla="*/ 66 w 67"/>
                <a:gd name="T67" fmla="*/ 39 h 66"/>
                <a:gd name="T68" fmla="*/ 67 w 67"/>
                <a:gd name="T69" fmla="*/ 33 h 66"/>
                <a:gd name="T70" fmla="*/ 66 w 67"/>
                <a:gd name="T71" fmla="*/ 26 h 66"/>
                <a:gd name="T72" fmla="*/ 64 w 67"/>
                <a:gd name="T73" fmla="*/ 20 h 66"/>
                <a:gd name="T74" fmla="*/ 61 w 67"/>
                <a:gd name="T75" fmla="*/ 14 h 66"/>
                <a:gd name="T76" fmla="*/ 56 w 67"/>
                <a:gd name="T77" fmla="*/ 9 h 66"/>
                <a:gd name="T78" fmla="*/ 52 w 67"/>
                <a:gd name="T79" fmla="*/ 5 h 66"/>
                <a:gd name="T80" fmla="*/ 46 w 67"/>
                <a:gd name="T81" fmla="*/ 2 h 66"/>
                <a:gd name="T82" fmla="*/ 39 w 67"/>
                <a:gd name="T83" fmla="*/ 0 h 66"/>
                <a:gd name="T84" fmla="*/ 33 w 67"/>
                <a:gd name="T85" fmla="*/ 0 h 66"/>
                <a:gd name="T86" fmla="*/ 33 w 67"/>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66">
                  <a:moveTo>
                    <a:pt x="30" y="33"/>
                  </a:moveTo>
                  <a:lnTo>
                    <a:pt x="31" y="31"/>
                  </a:lnTo>
                  <a:lnTo>
                    <a:pt x="33" y="30"/>
                  </a:lnTo>
                  <a:lnTo>
                    <a:pt x="36" y="31"/>
                  </a:lnTo>
                  <a:lnTo>
                    <a:pt x="36" y="33"/>
                  </a:lnTo>
                  <a:lnTo>
                    <a:pt x="35" y="35"/>
                  </a:lnTo>
                  <a:lnTo>
                    <a:pt x="33" y="36"/>
                  </a:lnTo>
                  <a:lnTo>
                    <a:pt x="31" y="35"/>
                  </a:lnTo>
                  <a:lnTo>
                    <a:pt x="30" y="33"/>
                  </a:lnTo>
                  <a:lnTo>
                    <a:pt x="30" y="33"/>
                  </a:lnTo>
                  <a:close/>
                  <a:moveTo>
                    <a:pt x="33" y="0"/>
                  </a:moveTo>
                  <a:lnTo>
                    <a:pt x="26" y="0"/>
                  </a:lnTo>
                  <a:lnTo>
                    <a:pt x="20" y="2"/>
                  </a:lnTo>
                  <a:lnTo>
                    <a:pt x="15" y="5"/>
                  </a:lnTo>
                  <a:lnTo>
                    <a:pt x="9" y="9"/>
                  </a:lnTo>
                  <a:lnTo>
                    <a:pt x="5" y="14"/>
                  </a:lnTo>
                  <a:lnTo>
                    <a:pt x="2" y="20"/>
                  </a:lnTo>
                  <a:lnTo>
                    <a:pt x="0" y="26"/>
                  </a:lnTo>
                  <a:lnTo>
                    <a:pt x="0" y="33"/>
                  </a:lnTo>
                  <a:lnTo>
                    <a:pt x="0" y="39"/>
                  </a:lnTo>
                  <a:lnTo>
                    <a:pt x="2" y="46"/>
                  </a:lnTo>
                  <a:lnTo>
                    <a:pt x="5" y="52"/>
                  </a:lnTo>
                  <a:lnTo>
                    <a:pt x="9" y="56"/>
                  </a:lnTo>
                  <a:lnTo>
                    <a:pt x="15" y="61"/>
                  </a:lnTo>
                  <a:lnTo>
                    <a:pt x="20" y="64"/>
                  </a:lnTo>
                  <a:lnTo>
                    <a:pt x="26" y="66"/>
                  </a:lnTo>
                  <a:lnTo>
                    <a:pt x="33" y="66"/>
                  </a:lnTo>
                  <a:lnTo>
                    <a:pt x="39" y="66"/>
                  </a:lnTo>
                  <a:lnTo>
                    <a:pt x="46" y="64"/>
                  </a:lnTo>
                  <a:lnTo>
                    <a:pt x="52" y="61"/>
                  </a:lnTo>
                  <a:lnTo>
                    <a:pt x="56" y="56"/>
                  </a:lnTo>
                  <a:lnTo>
                    <a:pt x="61" y="52"/>
                  </a:lnTo>
                  <a:lnTo>
                    <a:pt x="64" y="46"/>
                  </a:lnTo>
                  <a:lnTo>
                    <a:pt x="66" y="39"/>
                  </a:lnTo>
                  <a:lnTo>
                    <a:pt x="67" y="33"/>
                  </a:lnTo>
                  <a:lnTo>
                    <a:pt x="66" y="26"/>
                  </a:lnTo>
                  <a:lnTo>
                    <a:pt x="64" y="20"/>
                  </a:lnTo>
                  <a:lnTo>
                    <a:pt x="61" y="14"/>
                  </a:lnTo>
                  <a:lnTo>
                    <a:pt x="56" y="9"/>
                  </a:lnTo>
                  <a:lnTo>
                    <a:pt x="52" y="5"/>
                  </a:lnTo>
                  <a:lnTo>
                    <a:pt x="46" y="2"/>
                  </a:lnTo>
                  <a:lnTo>
                    <a:pt x="39"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46">
              <a:extLst>
                <a:ext uri="{FF2B5EF4-FFF2-40B4-BE49-F238E27FC236}">
                  <a16:creationId xmlns:a16="http://schemas.microsoft.com/office/drawing/2014/main" id="{4C5A9DF3-2F93-4D90-8460-B42AC3F4F8C1}"/>
                </a:ext>
              </a:extLst>
            </p:cNvPr>
            <p:cNvSpPr>
              <a:spLocks noEditPoints="1"/>
            </p:cNvSpPr>
            <p:nvPr/>
          </p:nvSpPr>
          <p:spPr bwMode="auto">
            <a:xfrm>
              <a:off x="5021263" y="2036763"/>
              <a:ext cx="22225" cy="20638"/>
            </a:xfrm>
            <a:custGeom>
              <a:avLst/>
              <a:gdLst>
                <a:gd name="T0" fmla="*/ 30 w 67"/>
                <a:gd name="T1" fmla="*/ 33 h 66"/>
                <a:gd name="T2" fmla="*/ 31 w 67"/>
                <a:gd name="T3" fmla="*/ 31 h 66"/>
                <a:gd name="T4" fmla="*/ 33 w 67"/>
                <a:gd name="T5" fmla="*/ 30 h 66"/>
                <a:gd name="T6" fmla="*/ 35 w 67"/>
                <a:gd name="T7" fmla="*/ 31 h 66"/>
                <a:gd name="T8" fmla="*/ 36 w 67"/>
                <a:gd name="T9" fmla="*/ 33 h 66"/>
                <a:gd name="T10" fmla="*/ 35 w 67"/>
                <a:gd name="T11" fmla="*/ 35 h 66"/>
                <a:gd name="T12" fmla="*/ 33 w 67"/>
                <a:gd name="T13" fmla="*/ 36 h 66"/>
                <a:gd name="T14" fmla="*/ 31 w 67"/>
                <a:gd name="T15" fmla="*/ 35 h 66"/>
                <a:gd name="T16" fmla="*/ 30 w 67"/>
                <a:gd name="T17" fmla="*/ 33 h 66"/>
                <a:gd name="T18" fmla="*/ 30 w 67"/>
                <a:gd name="T19" fmla="*/ 33 h 66"/>
                <a:gd name="T20" fmla="*/ 33 w 67"/>
                <a:gd name="T21" fmla="*/ 0 h 66"/>
                <a:gd name="T22" fmla="*/ 27 w 67"/>
                <a:gd name="T23" fmla="*/ 0 h 66"/>
                <a:gd name="T24" fmla="*/ 20 w 67"/>
                <a:gd name="T25" fmla="*/ 2 h 66"/>
                <a:gd name="T26" fmla="*/ 15 w 67"/>
                <a:gd name="T27" fmla="*/ 5 h 66"/>
                <a:gd name="T28" fmla="*/ 10 w 67"/>
                <a:gd name="T29" fmla="*/ 9 h 66"/>
                <a:gd name="T30" fmla="*/ 5 w 67"/>
                <a:gd name="T31" fmla="*/ 14 h 66"/>
                <a:gd name="T32" fmla="*/ 2 w 67"/>
                <a:gd name="T33" fmla="*/ 20 h 66"/>
                <a:gd name="T34" fmla="*/ 0 w 67"/>
                <a:gd name="T35" fmla="*/ 26 h 66"/>
                <a:gd name="T36" fmla="*/ 0 w 67"/>
                <a:gd name="T37" fmla="*/ 33 h 66"/>
                <a:gd name="T38" fmla="*/ 0 w 67"/>
                <a:gd name="T39" fmla="*/ 39 h 66"/>
                <a:gd name="T40" fmla="*/ 2 w 67"/>
                <a:gd name="T41" fmla="*/ 46 h 66"/>
                <a:gd name="T42" fmla="*/ 5 w 67"/>
                <a:gd name="T43" fmla="*/ 52 h 66"/>
                <a:gd name="T44" fmla="*/ 10 w 67"/>
                <a:gd name="T45" fmla="*/ 56 h 66"/>
                <a:gd name="T46" fmla="*/ 15 w 67"/>
                <a:gd name="T47" fmla="*/ 61 h 66"/>
                <a:gd name="T48" fmla="*/ 20 w 67"/>
                <a:gd name="T49" fmla="*/ 64 h 66"/>
                <a:gd name="T50" fmla="*/ 27 w 67"/>
                <a:gd name="T51" fmla="*/ 66 h 66"/>
                <a:gd name="T52" fmla="*/ 33 w 67"/>
                <a:gd name="T53" fmla="*/ 66 h 66"/>
                <a:gd name="T54" fmla="*/ 40 w 67"/>
                <a:gd name="T55" fmla="*/ 66 h 66"/>
                <a:gd name="T56" fmla="*/ 46 w 67"/>
                <a:gd name="T57" fmla="*/ 64 h 66"/>
                <a:gd name="T58" fmla="*/ 52 w 67"/>
                <a:gd name="T59" fmla="*/ 61 h 66"/>
                <a:gd name="T60" fmla="*/ 57 w 67"/>
                <a:gd name="T61" fmla="*/ 56 h 66"/>
                <a:gd name="T62" fmla="*/ 61 w 67"/>
                <a:gd name="T63" fmla="*/ 52 h 66"/>
                <a:gd name="T64" fmla="*/ 64 w 67"/>
                <a:gd name="T65" fmla="*/ 46 h 66"/>
                <a:gd name="T66" fmla="*/ 66 w 67"/>
                <a:gd name="T67" fmla="*/ 39 h 66"/>
                <a:gd name="T68" fmla="*/ 67 w 67"/>
                <a:gd name="T69" fmla="*/ 33 h 66"/>
                <a:gd name="T70" fmla="*/ 66 w 67"/>
                <a:gd name="T71" fmla="*/ 26 h 66"/>
                <a:gd name="T72" fmla="*/ 64 w 67"/>
                <a:gd name="T73" fmla="*/ 20 h 66"/>
                <a:gd name="T74" fmla="*/ 61 w 67"/>
                <a:gd name="T75" fmla="*/ 14 h 66"/>
                <a:gd name="T76" fmla="*/ 57 w 67"/>
                <a:gd name="T77" fmla="*/ 9 h 66"/>
                <a:gd name="T78" fmla="*/ 52 w 67"/>
                <a:gd name="T79" fmla="*/ 5 h 66"/>
                <a:gd name="T80" fmla="*/ 46 w 67"/>
                <a:gd name="T81" fmla="*/ 2 h 66"/>
                <a:gd name="T82" fmla="*/ 40 w 67"/>
                <a:gd name="T83" fmla="*/ 0 h 66"/>
                <a:gd name="T84" fmla="*/ 33 w 67"/>
                <a:gd name="T85" fmla="*/ 0 h 66"/>
                <a:gd name="T86" fmla="*/ 33 w 67"/>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66">
                  <a:moveTo>
                    <a:pt x="30" y="33"/>
                  </a:moveTo>
                  <a:lnTo>
                    <a:pt x="31" y="31"/>
                  </a:lnTo>
                  <a:lnTo>
                    <a:pt x="33" y="30"/>
                  </a:lnTo>
                  <a:lnTo>
                    <a:pt x="35" y="31"/>
                  </a:lnTo>
                  <a:lnTo>
                    <a:pt x="36" y="33"/>
                  </a:lnTo>
                  <a:lnTo>
                    <a:pt x="35" y="35"/>
                  </a:lnTo>
                  <a:lnTo>
                    <a:pt x="33" y="36"/>
                  </a:lnTo>
                  <a:lnTo>
                    <a:pt x="31" y="35"/>
                  </a:lnTo>
                  <a:lnTo>
                    <a:pt x="30" y="33"/>
                  </a:lnTo>
                  <a:lnTo>
                    <a:pt x="30" y="33"/>
                  </a:lnTo>
                  <a:close/>
                  <a:moveTo>
                    <a:pt x="33" y="0"/>
                  </a:moveTo>
                  <a:lnTo>
                    <a:pt x="27" y="0"/>
                  </a:lnTo>
                  <a:lnTo>
                    <a:pt x="20" y="2"/>
                  </a:lnTo>
                  <a:lnTo>
                    <a:pt x="15" y="5"/>
                  </a:lnTo>
                  <a:lnTo>
                    <a:pt x="10" y="9"/>
                  </a:lnTo>
                  <a:lnTo>
                    <a:pt x="5" y="14"/>
                  </a:lnTo>
                  <a:lnTo>
                    <a:pt x="2" y="20"/>
                  </a:lnTo>
                  <a:lnTo>
                    <a:pt x="0" y="26"/>
                  </a:lnTo>
                  <a:lnTo>
                    <a:pt x="0" y="33"/>
                  </a:lnTo>
                  <a:lnTo>
                    <a:pt x="0" y="39"/>
                  </a:lnTo>
                  <a:lnTo>
                    <a:pt x="2" y="46"/>
                  </a:lnTo>
                  <a:lnTo>
                    <a:pt x="5" y="52"/>
                  </a:lnTo>
                  <a:lnTo>
                    <a:pt x="10" y="56"/>
                  </a:lnTo>
                  <a:lnTo>
                    <a:pt x="15" y="61"/>
                  </a:lnTo>
                  <a:lnTo>
                    <a:pt x="20" y="64"/>
                  </a:lnTo>
                  <a:lnTo>
                    <a:pt x="27" y="66"/>
                  </a:lnTo>
                  <a:lnTo>
                    <a:pt x="33" y="66"/>
                  </a:lnTo>
                  <a:lnTo>
                    <a:pt x="40" y="66"/>
                  </a:lnTo>
                  <a:lnTo>
                    <a:pt x="46" y="64"/>
                  </a:lnTo>
                  <a:lnTo>
                    <a:pt x="52" y="61"/>
                  </a:lnTo>
                  <a:lnTo>
                    <a:pt x="57" y="56"/>
                  </a:lnTo>
                  <a:lnTo>
                    <a:pt x="61" y="52"/>
                  </a:lnTo>
                  <a:lnTo>
                    <a:pt x="64" y="46"/>
                  </a:lnTo>
                  <a:lnTo>
                    <a:pt x="66" y="39"/>
                  </a:lnTo>
                  <a:lnTo>
                    <a:pt x="67" y="33"/>
                  </a:lnTo>
                  <a:lnTo>
                    <a:pt x="66" y="26"/>
                  </a:lnTo>
                  <a:lnTo>
                    <a:pt x="64" y="20"/>
                  </a:lnTo>
                  <a:lnTo>
                    <a:pt x="61" y="14"/>
                  </a:lnTo>
                  <a:lnTo>
                    <a:pt x="57" y="9"/>
                  </a:lnTo>
                  <a:lnTo>
                    <a:pt x="52" y="5"/>
                  </a:lnTo>
                  <a:lnTo>
                    <a:pt x="46" y="2"/>
                  </a:lnTo>
                  <a:lnTo>
                    <a:pt x="40"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47">
              <a:extLst>
                <a:ext uri="{FF2B5EF4-FFF2-40B4-BE49-F238E27FC236}">
                  <a16:creationId xmlns:a16="http://schemas.microsoft.com/office/drawing/2014/main" id="{DF7A681E-EA70-420B-B5CC-2B0D68FB4BC7}"/>
                </a:ext>
              </a:extLst>
            </p:cNvPr>
            <p:cNvSpPr>
              <a:spLocks noEditPoints="1"/>
            </p:cNvSpPr>
            <p:nvPr/>
          </p:nvSpPr>
          <p:spPr bwMode="auto">
            <a:xfrm>
              <a:off x="5080000" y="2036763"/>
              <a:ext cx="22225" cy="20638"/>
            </a:xfrm>
            <a:custGeom>
              <a:avLst/>
              <a:gdLst>
                <a:gd name="T0" fmla="*/ 30 w 68"/>
                <a:gd name="T1" fmla="*/ 33 h 66"/>
                <a:gd name="T2" fmla="*/ 31 w 68"/>
                <a:gd name="T3" fmla="*/ 31 h 66"/>
                <a:gd name="T4" fmla="*/ 33 w 68"/>
                <a:gd name="T5" fmla="*/ 30 h 66"/>
                <a:gd name="T6" fmla="*/ 35 w 68"/>
                <a:gd name="T7" fmla="*/ 31 h 66"/>
                <a:gd name="T8" fmla="*/ 36 w 68"/>
                <a:gd name="T9" fmla="*/ 33 h 66"/>
                <a:gd name="T10" fmla="*/ 35 w 68"/>
                <a:gd name="T11" fmla="*/ 35 h 66"/>
                <a:gd name="T12" fmla="*/ 33 w 68"/>
                <a:gd name="T13" fmla="*/ 36 h 66"/>
                <a:gd name="T14" fmla="*/ 31 w 68"/>
                <a:gd name="T15" fmla="*/ 35 h 66"/>
                <a:gd name="T16" fmla="*/ 30 w 68"/>
                <a:gd name="T17" fmla="*/ 33 h 66"/>
                <a:gd name="T18" fmla="*/ 30 w 68"/>
                <a:gd name="T19" fmla="*/ 33 h 66"/>
                <a:gd name="T20" fmla="*/ 33 w 68"/>
                <a:gd name="T21" fmla="*/ 0 h 66"/>
                <a:gd name="T22" fmla="*/ 27 w 68"/>
                <a:gd name="T23" fmla="*/ 0 h 66"/>
                <a:gd name="T24" fmla="*/ 20 w 68"/>
                <a:gd name="T25" fmla="*/ 2 h 66"/>
                <a:gd name="T26" fmla="*/ 15 w 68"/>
                <a:gd name="T27" fmla="*/ 5 h 66"/>
                <a:gd name="T28" fmla="*/ 10 w 68"/>
                <a:gd name="T29" fmla="*/ 9 h 66"/>
                <a:gd name="T30" fmla="*/ 5 w 68"/>
                <a:gd name="T31" fmla="*/ 14 h 66"/>
                <a:gd name="T32" fmla="*/ 2 w 68"/>
                <a:gd name="T33" fmla="*/ 20 h 66"/>
                <a:gd name="T34" fmla="*/ 0 w 68"/>
                <a:gd name="T35" fmla="*/ 26 h 66"/>
                <a:gd name="T36" fmla="*/ 0 w 68"/>
                <a:gd name="T37" fmla="*/ 33 h 66"/>
                <a:gd name="T38" fmla="*/ 0 w 68"/>
                <a:gd name="T39" fmla="*/ 39 h 66"/>
                <a:gd name="T40" fmla="*/ 2 w 68"/>
                <a:gd name="T41" fmla="*/ 46 h 66"/>
                <a:gd name="T42" fmla="*/ 5 w 68"/>
                <a:gd name="T43" fmla="*/ 52 h 66"/>
                <a:gd name="T44" fmla="*/ 10 w 68"/>
                <a:gd name="T45" fmla="*/ 56 h 66"/>
                <a:gd name="T46" fmla="*/ 15 w 68"/>
                <a:gd name="T47" fmla="*/ 61 h 66"/>
                <a:gd name="T48" fmla="*/ 20 w 68"/>
                <a:gd name="T49" fmla="*/ 64 h 66"/>
                <a:gd name="T50" fmla="*/ 27 w 68"/>
                <a:gd name="T51" fmla="*/ 66 h 66"/>
                <a:gd name="T52" fmla="*/ 33 w 68"/>
                <a:gd name="T53" fmla="*/ 66 h 66"/>
                <a:gd name="T54" fmla="*/ 40 w 68"/>
                <a:gd name="T55" fmla="*/ 66 h 66"/>
                <a:gd name="T56" fmla="*/ 46 w 68"/>
                <a:gd name="T57" fmla="*/ 64 h 66"/>
                <a:gd name="T58" fmla="*/ 53 w 68"/>
                <a:gd name="T59" fmla="*/ 61 h 66"/>
                <a:gd name="T60" fmla="*/ 57 w 68"/>
                <a:gd name="T61" fmla="*/ 56 h 66"/>
                <a:gd name="T62" fmla="*/ 61 w 68"/>
                <a:gd name="T63" fmla="*/ 52 h 66"/>
                <a:gd name="T64" fmla="*/ 64 w 68"/>
                <a:gd name="T65" fmla="*/ 46 h 66"/>
                <a:gd name="T66" fmla="*/ 66 w 68"/>
                <a:gd name="T67" fmla="*/ 39 h 66"/>
                <a:gd name="T68" fmla="*/ 68 w 68"/>
                <a:gd name="T69" fmla="*/ 33 h 66"/>
                <a:gd name="T70" fmla="*/ 66 w 68"/>
                <a:gd name="T71" fmla="*/ 26 h 66"/>
                <a:gd name="T72" fmla="*/ 64 w 68"/>
                <a:gd name="T73" fmla="*/ 20 h 66"/>
                <a:gd name="T74" fmla="*/ 61 w 68"/>
                <a:gd name="T75" fmla="*/ 14 h 66"/>
                <a:gd name="T76" fmla="*/ 57 w 68"/>
                <a:gd name="T77" fmla="*/ 9 h 66"/>
                <a:gd name="T78" fmla="*/ 53 w 68"/>
                <a:gd name="T79" fmla="*/ 5 h 66"/>
                <a:gd name="T80" fmla="*/ 46 w 68"/>
                <a:gd name="T81" fmla="*/ 2 h 66"/>
                <a:gd name="T82" fmla="*/ 40 w 68"/>
                <a:gd name="T83" fmla="*/ 0 h 66"/>
                <a:gd name="T84" fmla="*/ 33 w 68"/>
                <a:gd name="T85" fmla="*/ 0 h 66"/>
                <a:gd name="T86" fmla="*/ 33 w 68"/>
                <a:gd name="T8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66">
                  <a:moveTo>
                    <a:pt x="30" y="33"/>
                  </a:moveTo>
                  <a:lnTo>
                    <a:pt x="31" y="31"/>
                  </a:lnTo>
                  <a:lnTo>
                    <a:pt x="33" y="30"/>
                  </a:lnTo>
                  <a:lnTo>
                    <a:pt x="35" y="31"/>
                  </a:lnTo>
                  <a:lnTo>
                    <a:pt x="36" y="33"/>
                  </a:lnTo>
                  <a:lnTo>
                    <a:pt x="35" y="35"/>
                  </a:lnTo>
                  <a:lnTo>
                    <a:pt x="33" y="36"/>
                  </a:lnTo>
                  <a:lnTo>
                    <a:pt x="31" y="35"/>
                  </a:lnTo>
                  <a:lnTo>
                    <a:pt x="30" y="33"/>
                  </a:lnTo>
                  <a:lnTo>
                    <a:pt x="30" y="33"/>
                  </a:lnTo>
                  <a:close/>
                  <a:moveTo>
                    <a:pt x="33" y="0"/>
                  </a:moveTo>
                  <a:lnTo>
                    <a:pt x="27" y="0"/>
                  </a:lnTo>
                  <a:lnTo>
                    <a:pt x="20" y="2"/>
                  </a:lnTo>
                  <a:lnTo>
                    <a:pt x="15" y="5"/>
                  </a:lnTo>
                  <a:lnTo>
                    <a:pt x="10" y="9"/>
                  </a:lnTo>
                  <a:lnTo>
                    <a:pt x="5" y="14"/>
                  </a:lnTo>
                  <a:lnTo>
                    <a:pt x="2" y="20"/>
                  </a:lnTo>
                  <a:lnTo>
                    <a:pt x="0" y="26"/>
                  </a:lnTo>
                  <a:lnTo>
                    <a:pt x="0" y="33"/>
                  </a:lnTo>
                  <a:lnTo>
                    <a:pt x="0" y="39"/>
                  </a:lnTo>
                  <a:lnTo>
                    <a:pt x="2" y="46"/>
                  </a:lnTo>
                  <a:lnTo>
                    <a:pt x="5" y="52"/>
                  </a:lnTo>
                  <a:lnTo>
                    <a:pt x="10" y="56"/>
                  </a:lnTo>
                  <a:lnTo>
                    <a:pt x="15" y="61"/>
                  </a:lnTo>
                  <a:lnTo>
                    <a:pt x="20" y="64"/>
                  </a:lnTo>
                  <a:lnTo>
                    <a:pt x="27" y="66"/>
                  </a:lnTo>
                  <a:lnTo>
                    <a:pt x="33" y="66"/>
                  </a:lnTo>
                  <a:lnTo>
                    <a:pt x="40" y="66"/>
                  </a:lnTo>
                  <a:lnTo>
                    <a:pt x="46" y="64"/>
                  </a:lnTo>
                  <a:lnTo>
                    <a:pt x="53" y="61"/>
                  </a:lnTo>
                  <a:lnTo>
                    <a:pt x="57" y="56"/>
                  </a:lnTo>
                  <a:lnTo>
                    <a:pt x="61" y="52"/>
                  </a:lnTo>
                  <a:lnTo>
                    <a:pt x="64" y="46"/>
                  </a:lnTo>
                  <a:lnTo>
                    <a:pt x="66" y="39"/>
                  </a:lnTo>
                  <a:lnTo>
                    <a:pt x="68" y="33"/>
                  </a:lnTo>
                  <a:lnTo>
                    <a:pt x="66" y="26"/>
                  </a:lnTo>
                  <a:lnTo>
                    <a:pt x="64" y="20"/>
                  </a:lnTo>
                  <a:lnTo>
                    <a:pt x="61" y="14"/>
                  </a:lnTo>
                  <a:lnTo>
                    <a:pt x="57" y="9"/>
                  </a:lnTo>
                  <a:lnTo>
                    <a:pt x="53" y="5"/>
                  </a:lnTo>
                  <a:lnTo>
                    <a:pt x="46" y="2"/>
                  </a:lnTo>
                  <a:lnTo>
                    <a:pt x="40" y="0"/>
                  </a:lnTo>
                  <a:lnTo>
                    <a:pt x="33" y="0"/>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0" name="Group 99">
            <a:extLst>
              <a:ext uri="{FF2B5EF4-FFF2-40B4-BE49-F238E27FC236}">
                <a16:creationId xmlns:a16="http://schemas.microsoft.com/office/drawing/2014/main" id="{4D9F94E0-E57B-4A90-B682-0E77F5BA2C63}"/>
              </a:ext>
            </a:extLst>
          </p:cNvPr>
          <p:cNvGrpSpPr>
            <a:grpSpLocks noChangeAspect="1"/>
          </p:cNvGrpSpPr>
          <p:nvPr/>
        </p:nvGrpSpPr>
        <p:grpSpPr>
          <a:xfrm>
            <a:off x="671400" y="5417577"/>
            <a:ext cx="285398" cy="285619"/>
            <a:chOff x="885825" y="3556001"/>
            <a:chExt cx="692150" cy="692150"/>
          </a:xfrm>
          <a:solidFill>
            <a:schemeClr val="bg1"/>
          </a:solidFill>
          <a:effectLst/>
        </p:grpSpPr>
        <p:sp>
          <p:nvSpPr>
            <p:cNvPr id="411" name="Freeform 154">
              <a:extLst>
                <a:ext uri="{FF2B5EF4-FFF2-40B4-BE49-F238E27FC236}">
                  <a16:creationId xmlns:a16="http://schemas.microsoft.com/office/drawing/2014/main" id="{2F285887-B442-4B79-AA9A-F7E9F7579821}"/>
                </a:ext>
              </a:extLst>
            </p:cNvPr>
            <p:cNvSpPr>
              <a:spLocks noEditPoints="1"/>
            </p:cNvSpPr>
            <p:nvPr/>
          </p:nvSpPr>
          <p:spPr bwMode="auto">
            <a:xfrm>
              <a:off x="885825" y="3556001"/>
              <a:ext cx="692150" cy="692150"/>
            </a:xfrm>
            <a:custGeom>
              <a:avLst/>
              <a:gdLst>
                <a:gd name="T0" fmla="*/ 558 w 1309"/>
                <a:gd name="T1" fmla="*/ 1155 h 1309"/>
                <a:gd name="T2" fmla="*/ 745 w 1309"/>
                <a:gd name="T3" fmla="*/ 1158 h 1309"/>
                <a:gd name="T4" fmla="*/ 926 w 1309"/>
                <a:gd name="T5" fmla="*/ 1092 h 1309"/>
                <a:gd name="T6" fmla="*/ 946 w 1309"/>
                <a:gd name="T7" fmla="*/ 1075 h 1309"/>
                <a:gd name="T8" fmla="*/ 1077 w 1309"/>
                <a:gd name="T9" fmla="*/ 941 h 1309"/>
                <a:gd name="T10" fmla="*/ 1158 w 1309"/>
                <a:gd name="T11" fmla="*/ 768 h 1309"/>
                <a:gd name="T12" fmla="*/ 1246 w 1309"/>
                <a:gd name="T13" fmla="*/ 654 h 1309"/>
                <a:gd name="T14" fmla="*/ 1159 w 1309"/>
                <a:gd name="T15" fmla="*/ 542 h 1309"/>
                <a:gd name="T16" fmla="*/ 1083 w 1309"/>
                <a:gd name="T17" fmla="*/ 373 h 1309"/>
                <a:gd name="T18" fmla="*/ 959 w 1309"/>
                <a:gd name="T19" fmla="*/ 237 h 1309"/>
                <a:gd name="T20" fmla="*/ 929 w 1309"/>
                <a:gd name="T21" fmla="*/ 221 h 1309"/>
                <a:gd name="T22" fmla="*/ 762 w 1309"/>
                <a:gd name="T23" fmla="*/ 153 h 1309"/>
                <a:gd name="T24" fmla="*/ 575 w 1309"/>
                <a:gd name="T25" fmla="*/ 143 h 1309"/>
                <a:gd name="T26" fmla="*/ 533 w 1309"/>
                <a:gd name="T27" fmla="*/ 152 h 1309"/>
                <a:gd name="T28" fmla="*/ 370 w 1309"/>
                <a:gd name="T29" fmla="*/ 228 h 1309"/>
                <a:gd name="T30" fmla="*/ 236 w 1309"/>
                <a:gd name="T31" fmla="*/ 350 h 1309"/>
                <a:gd name="T32" fmla="*/ 219 w 1309"/>
                <a:gd name="T33" fmla="*/ 384 h 1309"/>
                <a:gd name="T34" fmla="*/ 153 w 1309"/>
                <a:gd name="T35" fmla="*/ 555 h 1309"/>
                <a:gd name="T36" fmla="*/ 150 w 1309"/>
                <a:gd name="T37" fmla="*/ 743 h 1309"/>
                <a:gd name="T38" fmla="*/ 213 w 1309"/>
                <a:gd name="T39" fmla="*/ 919 h 1309"/>
                <a:gd name="T40" fmla="*/ 235 w 1309"/>
                <a:gd name="T41" fmla="*/ 948 h 1309"/>
                <a:gd name="T42" fmla="*/ 369 w 1309"/>
                <a:gd name="T43" fmla="*/ 1078 h 1309"/>
                <a:gd name="T44" fmla="*/ 428 w 1309"/>
                <a:gd name="T45" fmla="*/ 1201 h 1309"/>
                <a:gd name="T46" fmla="*/ 650 w 1309"/>
                <a:gd name="T47" fmla="*/ 1309 h 1309"/>
                <a:gd name="T48" fmla="*/ 424 w 1309"/>
                <a:gd name="T49" fmla="*/ 1259 h 1309"/>
                <a:gd name="T50" fmla="*/ 399 w 1309"/>
                <a:gd name="T51" fmla="*/ 1256 h 1309"/>
                <a:gd name="T52" fmla="*/ 211 w 1309"/>
                <a:gd name="T53" fmla="*/ 1125 h 1309"/>
                <a:gd name="T54" fmla="*/ 189 w 1309"/>
                <a:gd name="T55" fmla="*/ 1114 h 1309"/>
                <a:gd name="T56" fmla="*/ 61 w 1309"/>
                <a:gd name="T57" fmla="*/ 911 h 1309"/>
                <a:gd name="T58" fmla="*/ 45 w 1309"/>
                <a:gd name="T59" fmla="*/ 892 h 1309"/>
                <a:gd name="T60" fmla="*/ 7 w 1309"/>
                <a:gd name="T61" fmla="*/ 673 h 1309"/>
                <a:gd name="T62" fmla="*/ 0 w 1309"/>
                <a:gd name="T63" fmla="*/ 650 h 1309"/>
                <a:gd name="T64" fmla="*/ 48 w 1309"/>
                <a:gd name="T65" fmla="*/ 431 h 1309"/>
                <a:gd name="T66" fmla="*/ 51 w 1309"/>
                <a:gd name="T67" fmla="*/ 405 h 1309"/>
                <a:gd name="T68" fmla="*/ 185 w 1309"/>
                <a:gd name="T69" fmla="*/ 343 h 1309"/>
                <a:gd name="T70" fmla="*/ 189 w 1309"/>
                <a:gd name="T71" fmla="*/ 196 h 1309"/>
                <a:gd name="T72" fmla="*/ 211 w 1309"/>
                <a:gd name="T73" fmla="*/ 185 h 1309"/>
                <a:gd name="T74" fmla="*/ 399 w 1309"/>
                <a:gd name="T75" fmla="*/ 52 h 1309"/>
                <a:gd name="T76" fmla="*/ 424 w 1309"/>
                <a:gd name="T77" fmla="*/ 49 h 1309"/>
                <a:gd name="T78" fmla="*/ 650 w 1309"/>
                <a:gd name="T79" fmla="*/ 0 h 1309"/>
                <a:gd name="T80" fmla="*/ 673 w 1309"/>
                <a:gd name="T81" fmla="*/ 8 h 1309"/>
                <a:gd name="T82" fmla="*/ 902 w 1309"/>
                <a:gd name="T83" fmla="*/ 49 h 1309"/>
                <a:gd name="T84" fmla="*/ 920 w 1309"/>
                <a:gd name="T85" fmla="*/ 64 h 1309"/>
                <a:gd name="T86" fmla="*/ 1113 w 1309"/>
                <a:gd name="T87" fmla="*/ 189 h 1309"/>
                <a:gd name="T88" fmla="*/ 1125 w 1309"/>
                <a:gd name="T89" fmla="*/ 211 h 1309"/>
                <a:gd name="T90" fmla="*/ 1255 w 1309"/>
                <a:gd name="T91" fmla="*/ 401 h 1309"/>
                <a:gd name="T92" fmla="*/ 1265 w 1309"/>
                <a:gd name="T93" fmla="*/ 424 h 1309"/>
                <a:gd name="T94" fmla="*/ 1305 w 1309"/>
                <a:gd name="T95" fmla="*/ 640 h 1309"/>
                <a:gd name="T96" fmla="*/ 1308 w 1309"/>
                <a:gd name="T97" fmla="*/ 664 h 1309"/>
                <a:gd name="T98" fmla="*/ 1263 w 1309"/>
                <a:gd name="T99" fmla="*/ 885 h 1309"/>
                <a:gd name="T100" fmla="*/ 1257 w 1309"/>
                <a:gd name="T101" fmla="*/ 908 h 1309"/>
                <a:gd name="T102" fmla="*/ 1125 w 1309"/>
                <a:gd name="T103" fmla="*/ 1105 h 1309"/>
                <a:gd name="T104" fmla="*/ 1109 w 1309"/>
                <a:gd name="T105" fmla="*/ 1124 h 1309"/>
                <a:gd name="T106" fmla="*/ 918 w 1309"/>
                <a:gd name="T107" fmla="*/ 1250 h 1309"/>
                <a:gd name="T108" fmla="*/ 896 w 1309"/>
                <a:gd name="T109" fmla="*/ 1262 h 1309"/>
                <a:gd name="T110" fmla="*/ 670 w 1309"/>
                <a:gd name="T111" fmla="*/ 1305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9" h="1309">
                  <a:moveTo>
                    <a:pt x="547" y="1154"/>
                  </a:moveTo>
                  <a:lnTo>
                    <a:pt x="550" y="1154"/>
                  </a:lnTo>
                  <a:lnTo>
                    <a:pt x="552" y="1154"/>
                  </a:lnTo>
                  <a:lnTo>
                    <a:pt x="555" y="1155"/>
                  </a:lnTo>
                  <a:lnTo>
                    <a:pt x="558" y="1155"/>
                  </a:lnTo>
                  <a:lnTo>
                    <a:pt x="565" y="1158"/>
                  </a:lnTo>
                  <a:lnTo>
                    <a:pt x="571" y="1163"/>
                  </a:lnTo>
                  <a:lnTo>
                    <a:pt x="655" y="1246"/>
                  </a:lnTo>
                  <a:lnTo>
                    <a:pt x="739" y="1163"/>
                  </a:lnTo>
                  <a:lnTo>
                    <a:pt x="745" y="1158"/>
                  </a:lnTo>
                  <a:lnTo>
                    <a:pt x="752" y="1155"/>
                  </a:lnTo>
                  <a:lnTo>
                    <a:pt x="762" y="1154"/>
                  </a:lnTo>
                  <a:lnTo>
                    <a:pt x="772" y="1155"/>
                  </a:lnTo>
                  <a:lnTo>
                    <a:pt x="882" y="1201"/>
                  </a:lnTo>
                  <a:lnTo>
                    <a:pt x="926" y="1092"/>
                  </a:lnTo>
                  <a:lnTo>
                    <a:pt x="931" y="1085"/>
                  </a:lnTo>
                  <a:lnTo>
                    <a:pt x="936" y="1080"/>
                  </a:lnTo>
                  <a:lnTo>
                    <a:pt x="938" y="1079"/>
                  </a:lnTo>
                  <a:lnTo>
                    <a:pt x="939" y="1079"/>
                  </a:lnTo>
                  <a:lnTo>
                    <a:pt x="946" y="1075"/>
                  </a:lnTo>
                  <a:lnTo>
                    <a:pt x="955" y="1073"/>
                  </a:lnTo>
                  <a:lnTo>
                    <a:pt x="1073" y="1073"/>
                  </a:lnTo>
                  <a:lnTo>
                    <a:pt x="1073" y="955"/>
                  </a:lnTo>
                  <a:lnTo>
                    <a:pt x="1075" y="948"/>
                  </a:lnTo>
                  <a:lnTo>
                    <a:pt x="1077" y="941"/>
                  </a:lnTo>
                  <a:lnTo>
                    <a:pt x="1083" y="934"/>
                  </a:lnTo>
                  <a:lnTo>
                    <a:pt x="1089" y="926"/>
                  </a:lnTo>
                  <a:lnTo>
                    <a:pt x="1096" y="922"/>
                  </a:lnTo>
                  <a:lnTo>
                    <a:pt x="1204" y="876"/>
                  </a:lnTo>
                  <a:lnTo>
                    <a:pt x="1158" y="768"/>
                  </a:lnTo>
                  <a:lnTo>
                    <a:pt x="1157" y="761"/>
                  </a:lnTo>
                  <a:lnTo>
                    <a:pt x="1157" y="754"/>
                  </a:lnTo>
                  <a:lnTo>
                    <a:pt x="1159" y="745"/>
                  </a:lnTo>
                  <a:lnTo>
                    <a:pt x="1164" y="738"/>
                  </a:lnTo>
                  <a:lnTo>
                    <a:pt x="1246" y="654"/>
                  </a:lnTo>
                  <a:lnTo>
                    <a:pt x="1165" y="574"/>
                  </a:lnTo>
                  <a:lnTo>
                    <a:pt x="1159" y="566"/>
                  </a:lnTo>
                  <a:lnTo>
                    <a:pt x="1158" y="559"/>
                  </a:lnTo>
                  <a:lnTo>
                    <a:pt x="1157" y="551"/>
                  </a:lnTo>
                  <a:lnTo>
                    <a:pt x="1159" y="542"/>
                  </a:lnTo>
                  <a:lnTo>
                    <a:pt x="1204" y="437"/>
                  </a:lnTo>
                  <a:lnTo>
                    <a:pt x="1099" y="391"/>
                  </a:lnTo>
                  <a:lnTo>
                    <a:pt x="1093" y="386"/>
                  </a:lnTo>
                  <a:lnTo>
                    <a:pt x="1087" y="381"/>
                  </a:lnTo>
                  <a:lnTo>
                    <a:pt x="1083" y="373"/>
                  </a:lnTo>
                  <a:lnTo>
                    <a:pt x="1077" y="366"/>
                  </a:lnTo>
                  <a:lnTo>
                    <a:pt x="1075" y="359"/>
                  </a:lnTo>
                  <a:lnTo>
                    <a:pt x="1073" y="350"/>
                  </a:lnTo>
                  <a:lnTo>
                    <a:pt x="1073" y="237"/>
                  </a:lnTo>
                  <a:lnTo>
                    <a:pt x="959" y="237"/>
                  </a:lnTo>
                  <a:lnTo>
                    <a:pt x="952" y="235"/>
                  </a:lnTo>
                  <a:lnTo>
                    <a:pt x="945" y="232"/>
                  </a:lnTo>
                  <a:lnTo>
                    <a:pt x="941" y="228"/>
                  </a:lnTo>
                  <a:lnTo>
                    <a:pt x="935" y="225"/>
                  </a:lnTo>
                  <a:lnTo>
                    <a:pt x="929" y="221"/>
                  </a:lnTo>
                  <a:lnTo>
                    <a:pt x="926" y="214"/>
                  </a:lnTo>
                  <a:lnTo>
                    <a:pt x="882" y="108"/>
                  </a:lnTo>
                  <a:lnTo>
                    <a:pt x="778" y="152"/>
                  </a:lnTo>
                  <a:lnTo>
                    <a:pt x="769" y="153"/>
                  </a:lnTo>
                  <a:lnTo>
                    <a:pt x="762" y="153"/>
                  </a:lnTo>
                  <a:lnTo>
                    <a:pt x="751" y="150"/>
                  </a:lnTo>
                  <a:lnTo>
                    <a:pt x="742" y="149"/>
                  </a:lnTo>
                  <a:lnTo>
                    <a:pt x="735" y="143"/>
                  </a:lnTo>
                  <a:lnTo>
                    <a:pt x="655" y="64"/>
                  </a:lnTo>
                  <a:lnTo>
                    <a:pt x="575" y="143"/>
                  </a:lnTo>
                  <a:lnTo>
                    <a:pt x="569" y="149"/>
                  </a:lnTo>
                  <a:lnTo>
                    <a:pt x="560" y="150"/>
                  </a:lnTo>
                  <a:lnTo>
                    <a:pt x="549" y="153"/>
                  </a:lnTo>
                  <a:lnTo>
                    <a:pt x="540" y="153"/>
                  </a:lnTo>
                  <a:lnTo>
                    <a:pt x="533" y="152"/>
                  </a:lnTo>
                  <a:lnTo>
                    <a:pt x="428" y="108"/>
                  </a:lnTo>
                  <a:lnTo>
                    <a:pt x="385" y="214"/>
                  </a:lnTo>
                  <a:lnTo>
                    <a:pt x="380" y="221"/>
                  </a:lnTo>
                  <a:lnTo>
                    <a:pt x="375" y="225"/>
                  </a:lnTo>
                  <a:lnTo>
                    <a:pt x="370" y="228"/>
                  </a:lnTo>
                  <a:lnTo>
                    <a:pt x="366" y="232"/>
                  </a:lnTo>
                  <a:lnTo>
                    <a:pt x="359" y="235"/>
                  </a:lnTo>
                  <a:lnTo>
                    <a:pt x="350" y="237"/>
                  </a:lnTo>
                  <a:lnTo>
                    <a:pt x="236" y="237"/>
                  </a:lnTo>
                  <a:lnTo>
                    <a:pt x="236" y="350"/>
                  </a:lnTo>
                  <a:lnTo>
                    <a:pt x="235" y="359"/>
                  </a:lnTo>
                  <a:lnTo>
                    <a:pt x="232" y="366"/>
                  </a:lnTo>
                  <a:lnTo>
                    <a:pt x="228" y="372"/>
                  </a:lnTo>
                  <a:lnTo>
                    <a:pt x="225" y="376"/>
                  </a:lnTo>
                  <a:lnTo>
                    <a:pt x="219" y="384"/>
                  </a:lnTo>
                  <a:lnTo>
                    <a:pt x="212" y="389"/>
                  </a:lnTo>
                  <a:lnTo>
                    <a:pt x="107" y="434"/>
                  </a:lnTo>
                  <a:lnTo>
                    <a:pt x="151" y="540"/>
                  </a:lnTo>
                  <a:lnTo>
                    <a:pt x="153" y="548"/>
                  </a:lnTo>
                  <a:lnTo>
                    <a:pt x="153" y="555"/>
                  </a:lnTo>
                  <a:lnTo>
                    <a:pt x="150" y="565"/>
                  </a:lnTo>
                  <a:lnTo>
                    <a:pt x="146" y="574"/>
                  </a:lnTo>
                  <a:lnTo>
                    <a:pt x="64" y="654"/>
                  </a:lnTo>
                  <a:lnTo>
                    <a:pt x="146" y="738"/>
                  </a:lnTo>
                  <a:lnTo>
                    <a:pt x="150" y="743"/>
                  </a:lnTo>
                  <a:lnTo>
                    <a:pt x="153" y="751"/>
                  </a:lnTo>
                  <a:lnTo>
                    <a:pt x="153" y="759"/>
                  </a:lnTo>
                  <a:lnTo>
                    <a:pt x="151" y="767"/>
                  </a:lnTo>
                  <a:lnTo>
                    <a:pt x="105" y="873"/>
                  </a:lnTo>
                  <a:lnTo>
                    <a:pt x="213" y="919"/>
                  </a:lnTo>
                  <a:lnTo>
                    <a:pt x="219" y="923"/>
                  </a:lnTo>
                  <a:lnTo>
                    <a:pt x="225" y="929"/>
                  </a:lnTo>
                  <a:lnTo>
                    <a:pt x="229" y="936"/>
                  </a:lnTo>
                  <a:lnTo>
                    <a:pt x="232" y="941"/>
                  </a:lnTo>
                  <a:lnTo>
                    <a:pt x="235" y="948"/>
                  </a:lnTo>
                  <a:lnTo>
                    <a:pt x="236" y="955"/>
                  </a:lnTo>
                  <a:lnTo>
                    <a:pt x="236" y="1073"/>
                  </a:lnTo>
                  <a:lnTo>
                    <a:pt x="355" y="1073"/>
                  </a:lnTo>
                  <a:lnTo>
                    <a:pt x="362" y="1075"/>
                  </a:lnTo>
                  <a:lnTo>
                    <a:pt x="369" y="1078"/>
                  </a:lnTo>
                  <a:lnTo>
                    <a:pt x="372" y="1079"/>
                  </a:lnTo>
                  <a:lnTo>
                    <a:pt x="373" y="1080"/>
                  </a:lnTo>
                  <a:lnTo>
                    <a:pt x="379" y="1085"/>
                  </a:lnTo>
                  <a:lnTo>
                    <a:pt x="383" y="1092"/>
                  </a:lnTo>
                  <a:lnTo>
                    <a:pt x="428" y="1201"/>
                  </a:lnTo>
                  <a:lnTo>
                    <a:pt x="537" y="1155"/>
                  </a:lnTo>
                  <a:lnTo>
                    <a:pt x="542" y="1154"/>
                  </a:lnTo>
                  <a:lnTo>
                    <a:pt x="547" y="1154"/>
                  </a:lnTo>
                  <a:close/>
                  <a:moveTo>
                    <a:pt x="655" y="1309"/>
                  </a:moveTo>
                  <a:lnTo>
                    <a:pt x="650" y="1309"/>
                  </a:lnTo>
                  <a:lnTo>
                    <a:pt x="645" y="1308"/>
                  </a:lnTo>
                  <a:lnTo>
                    <a:pt x="641" y="1305"/>
                  </a:lnTo>
                  <a:lnTo>
                    <a:pt x="637" y="1302"/>
                  </a:lnTo>
                  <a:lnTo>
                    <a:pt x="545" y="1210"/>
                  </a:lnTo>
                  <a:lnTo>
                    <a:pt x="424" y="1259"/>
                  </a:lnTo>
                  <a:lnTo>
                    <a:pt x="419" y="1260"/>
                  </a:lnTo>
                  <a:lnTo>
                    <a:pt x="414" y="1262"/>
                  </a:lnTo>
                  <a:lnTo>
                    <a:pt x="409" y="1260"/>
                  </a:lnTo>
                  <a:lnTo>
                    <a:pt x="403" y="1259"/>
                  </a:lnTo>
                  <a:lnTo>
                    <a:pt x="399" y="1256"/>
                  </a:lnTo>
                  <a:lnTo>
                    <a:pt x="395" y="1253"/>
                  </a:lnTo>
                  <a:lnTo>
                    <a:pt x="392" y="1249"/>
                  </a:lnTo>
                  <a:lnTo>
                    <a:pt x="389" y="1245"/>
                  </a:lnTo>
                  <a:lnTo>
                    <a:pt x="340" y="1125"/>
                  </a:lnTo>
                  <a:lnTo>
                    <a:pt x="211" y="1125"/>
                  </a:lnTo>
                  <a:lnTo>
                    <a:pt x="205" y="1125"/>
                  </a:lnTo>
                  <a:lnTo>
                    <a:pt x="200" y="1124"/>
                  </a:lnTo>
                  <a:lnTo>
                    <a:pt x="196" y="1121"/>
                  </a:lnTo>
                  <a:lnTo>
                    <a:pt x="192" y="1118"/>
                  </a:lnTo>
                  <a:lnTo>
                    <a:pt x="189" y="1114"/>
                  </a:lnTo>
                  <a:lnTo>
                    <a:pt x="186" y="1109"/>
                  </a:lnTo>
                  <a:lnTo>
                    <a:pt x="185" y="1105"/>
                  </a:lnTo>
                  <a:lnTo>
                    <a:pt x="185" y="1099"/>
                  </a:lnTo>
                  <a:lnTo>
                    <a:pt x="185" y="964"/>
                  </a:lnTo>
                  <a:lnTo>
                    <a:pt x="61" y="911"/>
                  </a:lnTo>
                  <a:lnTo>
                    <a:pt x="56" y="908"/>
                  </a:lnTo>
                  <a:lnTo>
                    <a:pt x="52" y="905"/>
                  </a:lnTo>
                  <a:lnTo>
                    <a:pt x="49" y="900"/>
                  </a:lnTo>
                  <a:lnTo>
                    <a:pt x="46" y="896"/>
                  </a:lnTo>
                  <a:lnTo>
                    <a:pt x="45" y="892"/>
                  </a:lnTo>
                  <a:lnTo>
                    <a:pt x="45" y="886"/>
                  </a:lnTo>
                  <a:lnTo>
                    <a:pt x="45" y="882"/>
                  </a:lnTo>
                  <a:lnTo>
                    <a:pt x="46" y="876"/>
                  </a:lnTo>
                  <a:lnTo>
                    <a:pt x="97" y="762"/>
                  </a:lnTo>
                  <a:lnTo>
                    <a:pt x="7" y="673"/>
                  </a:lnTo>
                  <a:lnTo>
                    <a:pt x="5" y="669"/>
                  </a:lnTo>
                  <a:lnTo>
                    <a:pt x="2" y="664"/>
                  </a:lnTo>
                  <a:lnTo>
                    <a:pt x="0" y="660"/>
                  </a:lnTo>
                  <a:lnTo>
                    <a:pt x="0" y="654"/>
                  </a:lnTo>
                  <a:lnTo>
                    <a:pt x="0" y="650"/>
                  </a:lnTo>
                  <a:lnTo>
                    <a:pt x="2" y="646"/>
                  </a:lnTo>
                  <a:lnTo>
                    <a:pt x="5" y="640"/>
                  </a:lnTo>
                  <a:lnTo>
                    <a:pt x="7" y="637"/>
                  </a:lnTo>
                  <a:lnTo>
                    <a:pt x="98" y="546"/>
                  </a:lnTo>
                  <a:lnTo>
                    <a:pt x="48" y="431"/>
                  </a:lnTo>
                  <a:lnTo>
                    <a:pt x="46" y="425"/>
                  </a:lnTo>
                  <a:lnTo>
                    <a:pt x="46" y="421"/>
                  </a:lnTo>
                  <a:lnTo>
                    <a:pt x="46" y="415"/>
                  </a:lnTo>
                  <a:lnTo>
                    <a:pt x="48" y="411"/>
                  </a:lnTo>
                  <a:lnTo>
                    <a:pt x="51" y="405"/>
                  </a:lnTo>
                  <a:lnTo>
                    <a:pt x="54" y="402"/>
                  </a:lnTo>
                  <a:lnTo>
                    <a:pt x="56" y="398"/>
                  </a:lnTo>
                  <a:lnTo>
                    <a:pt x="62" y="396"/>
                  </a:lnTo>
                  <a:lnTo>
                    <a:pt x="183" y="345"/>
                  </a:lnTo>
                  <a:lnTo>
                    <a:pt x="185" y="343"/>
                  </a:lnTo>
                  <a:lnTo>
                    <a:pt x="185" y="343"/>
                  </a:lnTo>
                  <a:lnTo>
                    <a:pt x="185" y="211"/>
                  </a:lnTo>
                  <a:lnTo>
                    <a:pt x="185" y="205"/>
                  </a:lnTo>
                  <a:lnTo>
                    <a:pt x="186" y="201"/>
                  </a:lnTo>
                  <a:lnTo>
                    <a:pt x="189" y="196"/>
                  </a:lnTo>
                  <a:lnTo>
                    <a:pt x="192" y="192"/>
                  </a:lnTo>
                  <a:lnTo>
                    <a:pt x="196" y="189"/>
                  </a:lnTo>
                  <a:lnTo>
                    <a:pt x="200" y="186"/>
                  </a:lnTo>
                  <a:lnTo>
                    <a:pt x="205" y="185"/>
                  </a:lnTo>
                  <a:lnTo>
                    <a:pt x="211" y="185"/>
                  </a:lnTo>
                  <a:lnTo>
                    <a:pt x="340" y="185"/>
                  </a:lnTo>
                  <a:lnTo>
                    <a:pt x="391" y="64"/>
                  </a:lnTo>
                  <a:lnTo>
                    <a:pt x="392" y="60"/>
                  </a:lnTo>
                  <a:lnTo>
                    <a:pt x="396" y="55"/>
                  </a:lnTo>
                  <a:lnTo>
                    <a:pt x="399" y="52"/>
                  </a:lnTo>
                  <a:lnTo>
                    <a:pt x="403" y="49"/>
                  </a:lnTo>
                  <a:lnTo>
                    <a:pt x="409" y="48"/>
                  </a:lnTo>
                  <a:lnTo>
                    <a:pt x="414" y="48"/>
                  </a:lnTo>
                  <a:lnTo>
                    <a:pt x="419" y="48"/>
                  </a:lnTo>
                  <a:lnTo>
                    <a:pt x="424" y="49"/>
                  </a:lnTo>
                  <a:lnTo>
                    <a:pt x="545" y="100"/>
                  </a:lnTo>
                  <a:lnTo>
                    <a:pt x="637" y="8"/>
                  </a:lnTo>
                  <a:lnTo>
                    <a:pt x="641" y="5"/>
                  </a:lnTo>
                  <a:lnTo>
                    <a:pt x="645" y="2"/>
                  </a:lnTo>
                  <a:lnTo>
                    <a:pt x="650" y="0"/>
                  </a:lnTo>
                  <a:lnTo>
                    <a:pt x="655" y="0"/>
                  </a:lnTo>
                  <a:lnTo>
                    <a:pt x="660" y="0"/>
                  </a:lnTo>
                  <a:lnTo>
                    <a:pt x="664" y="2"/>
                  </a:lnTo>
                  <a:lnTo>
                    <a:pt x="670" y="5"/>
                  </a:lnTo>
                  <a:lnTo>
                    <a:pt x="673" y="8"/>
                  </a:lnTo>
                  <a:lnTo>
                    <a:pt x="766" y="100"/>
                  </a:lnTo>
                  <a:lnTo>
                    <a:pt x="886" y="51"/>
                  </a:lnTo>
                  <a:lnTo>
                    <a:pt x="892" y="48"/>
                  </a:lnTo>
                  <a:lnTo>
                    <a:pt x="896" y="48"/>
                  </a:lnTo>
                  <a:lnTo>
                    <a:pt x="902" y="49"/>
                  </a:lnTo>
                  <a:lnTo>
                    <a:pt x="906" y="51"/>
                  </a:lnTo>
                  <a:lnTo>
                    <a:pt x="910" y="52"/>
                  </a:lnTo>
                  <a:lnTo>
                    <a:pt x="915" y="55"/>
                  </a:lnTo>
                  <a:lnTo>
                    <a:pt x="918" y="60"/>
                  </a:lnTo>
                  <a:lnTo>
                    <a:pt x="920" y="64"/>
                  </a:lnTo>
                  <a:lnTo>
                    <a:pt x="969" y="185"/>
                  </a:lnTo>
                  <a:lnTo>
                    <a:pt x="1099" y="185"/>
                  </a:lnTo>
                  <a:lnTo>
                    <a:pt x="1105" y="185"/>
                  </a:lnTo>
                  <a:lnTo>
                    <a:pt x="1109" y="186"/>
                  </a:lnTo>
                  <a:lnTo>
                    <a:pt x="1113" y="189"/>
                  </a:lnTo>
                  <a:lnTo>
                    <a:pt x="1118" y="192"/>
                  </a:lnTo>
                  <a:lnTo>
                    <a:pt x="1121" y="196"/>
                  </a:lnTo>
                  <a:lnTo>
                    <a:pt x="1123" y="201"/>
                  </a:lnTo>
                  <a:lnTo>
                    <a:pt x="1125" y="205"/>
                  </a:lnTo>
                  <a:lnTo>
                    <a:pt x="1125" y="211"/>
                  </a:lnTo>
                  <a:lnTo>
                    <a:pt x="1125" y="343"/>
                  </a:lnTo>
                  <a:lnTo>
                    <a:pt x="1126" y="345"/>
                  </a:lnTo>
                  <a:lnTo>
                    <a:pt x="1128" y="346"/>
                  </a:lnTo>
                  <a:lnTo>
                    <a:pt x="1250" y="399"/>
                  </a:lnTo>
                  <a:lnTo>
                    <a:pt x="1255" y="401"/>
                  </a:lnTo>
                  <a:lnTo>
                    <a:pt x="1257" y="405"/>
                  </a:lnTo>
                  <a:lnTo>
                    <a:pt x="1262" y="408"/>
                  </a:lnTo>
                  <a:lnTo>
                    <a:pt x="1263" y="414"/>
                  </a:lnTo>
                  <a:lnTo>
                    <a:pt x="1265" y="418"/>
                  </a:lnTo>
                  <a:lnTo>
                    <a:pt x="1265" y="424"/>
                  </a:lnTo>
                  <a:lnTo>
                    <a:pt x="1265" y="428"/>
                  </a:lnTo>
                  <a:lnTo>
                    <a:pt x="1263" y="432"/>
                  </a:lnTo>
                  <a:lnTo>
                    <a:pt x="1214" y="548"/>
                  </a:lnTo>
                  <a:lnTo>
                    <a:pt x="1302" y="637"/>
                  </a:lnTo>
                  <a:lnTo>
                    <a:pt x="1305" y="640"/>
                  </a:lnTo>
                  <a:lnTo>
                    <a:pt x="1308" y="646"/>
                  </a:lnTo>
                  <a:lnTo>
                    <a:pt x="1309" y="650"/>
                  </a:lnTo>
                  <a:lnTo>
                    <a:pt x="1309" y="654"/>
                  </a:lnTo>
                  <a:lnTo>
                    <a:pt x="1309" y="660"/>
                  </a:lnTo>
                  <a:lnTo>
                    <a:pt x="1308" y="664"/>
                  </a:lnTo>
                  <a:lnTo>
                    <a:pt x="1305" y="669"/>
                  </a:lnTo>
                  <a:lnTo>
                    <a:pt x="1302" y="673"/>
                  </a:lnTo>
                  <a:lnTo>
                    <a:pt x="1213" y="762"/>
                  </a:lnTo>
                  <a:lnTo>
                    <a:pt x="1262" y="879"/>
                  </a:lnTo>
                  <a:lnTo>
                    <a:pt x="1263" y="885"/>
                  </a:lnTo>
                  <a:lnTo>
                    <a:pt x="1265" y="889"/>
                  </a:lnTo>
                  <a:lnTo>
                    <a:pt x="1263" y="895"/>
                  </a:lnTo>
                  <a:lnTo>
                    <a:pt x="1262" y="899"/>
                  </a:lnTo>
                  <a:lnTo>
                    <a:pt x="1260" y="903"/>
                  </a:lnTo>
                  <a:lnTo>
                    <a:pt x="1257" y="908"/>
                  </a:lnTo>
                  <a:lnTo>
                    <a:pt x="1253" y="911"/>
                  </a:lnTo>
                  <a:lnTo>
                    <a:pt x="1249" y="913"/>
                  </a:lnTo>
                  <a:lnTo>
                    <a:pt x="1125" y="965"/>
                  </a:lnTo>
                  <a:lnTo>
                    <a:pt x="1125" y="1099"/>
                  </a:lnTo>
                  <a:lnTo>
                    <a:pt x="1125" y="1105"/>
                  </a:lnTo>
                  <a:lnTo>
                    <a:pt x="1123" y="1109"/>
                  </a:lnTo>
                  <a:lnTo>
                    <a:pt x="1121" y="1114"/>
                  </a:lnTo>
                  <a:lnTo>
                    <a:pt x="1118" y="1118"/>
                  </a:lnTo>
                  <a:lnTo>
                    <a:pt x="1113" y="1121"/>
                  </a:lnTo>
                  <a:lnTo>
                    <a:pt x="1109" y="1124"/>
                  </a:lnTo>
                  <a:lnTo>
                    <a:pt x="1105" y="1125"/>
                  </a:lnTo>
                  <a:lnTo>
                    <a:pt x="1099" y="1125"/>
                  </a:lnTo>
                  <a:lnTo>
                    <a:pt x="969" y="1125"/>
                  </a:lnTo>
                  <a:lnTo>
                    <a:pt x="920" y="1245"/>
                  </a:lnTo>
                  <a:lnTo>
                    <a:pt x="918" y="1250"/>
                  </a:lnTo>
                  <a:lnTo>
                    <a:pt x="915" y="1253"/>
                  </a:lnTo>
                  <a:lnTo>
                    <a:pt x="910" y="1258"/>
                  </a:lnTo>
                  <a:lnTo>
                    <a:pt x="906" y="1259"/>
                  </a:lnTo>
                  <a:lnTo>
                    <a:pt x="900" y="1260"/>
                  </a:lnTo>
                  <a:lnTo>
                    <a:pt x="896" y="1262"/>
                  </a:lnTo>
                  <a:lnTo>
                    <a:pt x="890" y="1260"/>
                  </a:lnTo>
                  <a:lnTo>
                    <a:pt x="886" y="1259"/>
                  </a:lnTo>
                  <a:lnTo>
                    <a:pt x="765" y="1210"/>
                  </a:lnTo>
                  <a:lnTo>
                    <a:pt x="673" y="1302"/>
                  </a:lnTo>
                  <a:lnTo>
                    <a:pt x="670" y="1305"/>
                  </a:lnTo>
                  <a:lnTo>
                    <a:pt x="664" y="1308"/>
                  </a:lnTo>
                  <a:lnTo>
                    <a:pt x="660" y="1309"/>
                  </a:lnTo>
                  <a:lnTo>
                    <a:pt x="655" y="1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55">
              <a:extLst>
                <a:ext uri="{FF2B5EF4-FFF2-40B4-BE49-F238E27FC236}">
                  <a16:creationId xmlns:a16="http://schemas.microsoft.com/office/drawing/2014/main" id="{192F5900-FADF-456C-A71F-12E56DA29096}"/>
                </a:ext>
              </a:extLst>
            </p:cNvPr>
            <p:cNvSpPr>
              <a:spLocks noEditPoints="1"/>
            </p:cNvSpPr>
            <p:nvPr/>
          </p:nvSpPr>
          <p:spPr bwMode="auto">
            <a:xfrm>
              <a:off x="995363" y="3665538"/>
              <a:ext cx="471488" cy="471488"/>
            </a:xfrm>
            <a:custGeom>
              <a:avLst/>
              <a:gdLst>
                <a:gd name="T0" fmla="*/ 367 w 891"/>
                <a:gd name="T1" fmla="*/ 60 h 891"/>
                <a:gd name="T2" fmla="*/ 275 w 891"/>
                <a:gd name="T3" fmla="*/ 91 h 891"/>
                <a:gd name="T4" fmla="*/ 196 w 891"/>
                <a:gd name="T5" fmla="*/ 142 h 891"/>
                <a:gd name="T6" fmla="*/ 131 w 891"/>
                <a:gd name="T7" fmla="*/ 210 h 891"/>
                <a:gd name="T8" fmla="*/ 84 w 891"/>
                <a:gd name="T9" fmla="*/ 292 h 891"/>
                <a:gd name="T10" fmla="*/ 58 w 891"/>
                <a:gd name="T11" fmla="*/ 386 h 891"/>
                <a:gd name="T12" fmla="*/ 55 w 891"/>
                <a:gd name="T13" fmla="*/ 485 h 891"/>
                <a:gd name="T14" fmla="*/ 76 w 891"/>
                <a:gd name="T15" fmla="*/ 580 h 891"/>
                <a:gd name="T16" fmla="*/ 120 w 891"/>
                <a:gd name="T17" fmla="*/ 665 h 891"/>
                <a:gd name="T18" fmla="*/ 182 w 891"/>
                <a:gd name="T19" fmla="*/ 737 h 891"/>
                <a:gd name="T20" fmla="*/ 259 w 891"/>
                <a:gd name="T21" fmla="*/ 792 h 891"/>
                <a:gd name="T22" fmla="*/ 347 w 891"/>
                <a:gd name="T23" fmla="*/ 826 h 891"/>
                <a:gd name="T24" fmla="*/ 446 w 891"/>
                <a:gd name="T25" fmla="*/ 839 h 891"/>
                <a:gd name="T26" fmla="*/ 544 w 891"/>
                <a:gd name="T27" fmla="*/ 826 h 891"/>
                <a:gd name="T28" fmla="*/ 634 w 891"/>
                <a:gd name="T29" fmla="*/ 792 h 891"/>
                <a:gd name="T30" fmla="*/ 710 w 891"/>
                <a:gd name="T31" fmla="*/ 737 h 891"/>
                <a:gd name="T32" fmla="*/ 772 w 891"/>
                <a:gd name="T33" fmla="*/ 665 h 891"/>
                <a:gd name="T34" fmla="*/ 815 w 891"/>
                <a:gd name="T35" fmla="*/ 580 h 891"/>
                <a:gd name="T36" fmla="*/ 838 w 891"/>
                <a:gd name="T37" fmla="*/ 485 h 891"/>
                <a:gd name="T38" fmla="*/ 835 w 891"/>
                <a:gd name="T39" fmla="*/ 386 h 891"/>
                <a:gd name="T40" fmla="*/ 808 w 891"/>
                <a:gd name="T41" fmla="*/ 292 h 891"/>
                <a:gd name="T42" fmla="*/ 762 w 891"/>
                <a:gd name="T43" fmla="*/ 210 h 891"/>
                <a:gd name="T44" fmla="*/ 696 w 891"/>
                <a:gd name="T45" fmla="*/ 142 h 891"/>
                <a:gd name="T46" fmla="*/ 616 w 891"/>
                <a:gd name="T47" fmla="*/ 91 h 891"/>
                <a:gd name="T48" fmla="*/ 526 w 891"/>
                <a:gd name="T49" fmla="*/ 60 h 891"/>
                <a:gd name="T50" fmla="*/ 446 w 891"/>
                <a:gd name="T51" fmla="*/ 891 h 891"/>
                <a:gd name="T52" fmla="*/ 334 w 891"/>
                <a:gd name="T53" fmla="*/ 877 h 891"/>
                <a:gd name="T54" fmla="*/ 233 w 891"/>
                <a:gd name="T55" fmla="*/ 838 h 891"/>
                <a:gd name="T56" fmla="*/ 147 w 891"/>
                <a:gd name="T57" fmla="*/ 775 h 891"/>
                <a:gd name="T58" fmla="*/ 76 w 891"/>
                <a:gd name="T59" fmla="*/ 694 h 891"/>
                <a:gd name="T60" fmla="*/ 27 w 891"/>
                <a:gd name="T61" fmla="*/ 599 h 891"/>
                <a:gd name="T62" fmla="*/ 3 w 891"/>
                <a:gd name="T63" fmla="*/ 491 h 891"/>
                <a:gd name="T64" fmla="*/ 6 w 891"/>
                <a:gd name="T65" fmla="*/ 377 h 891"/>
                <a:gd name="T66" fmla="*/ 35 w 891"/>
                <a:gd name="T67" fmla="*/ 272 h 891"/>
                <a:gd name="T68" fmla="*/ 89 w 891"/>
                <a:gd name="T69" fmla="*/ 178 h 891"/>
                <a:gd name="T70" fmla="*/ 163 w 891"/>
                <a:gd name="T71" fmla="*/ 102 h 891"/>
                <a:gd name="T72" fmla="*/ 254 w 891"/>
                <a:gd name="T73" fmla="*/ 43 h 891"/>
                <a:gd name="T74" fmla="*/ 356 w 891"/>
                <a:gd name="T75" fmla="*/ 8 h 891"/>
                <a:gd name="T76" fmla="*/ 470 w 891"/>
                <a:gd name="T77" fmla="*/ 0 h 891"/>
                <a:gd name="T78" fmla="*/ 579 w 891"/>
                <a:gd name="T79" fmla="*/ 20 h 891"/>
                <a:gd name="T80" fmla="*/ 677 w 891"/>
                <a:gd name="T81" fmla="*/ 65 h 891"/>
                <a:gd name="T82" fmla="*/ 760 w 891"/>
                <a:gd name="T83" fmla="*/ 131 h 891"/>
                <a:gd name="T84" fmla="*/ 827 w 891"/>
                <a:gd name="T85" fmla="*/ 214 h 891"/>
                <a:gd name="T86" fmla="*/ 871 w 891"/>
                <a:gd name="T87" fmla="*/ 312 h 891"/>
                <a:gd name="T88" fmla="*/ 891 w 891"/>
                <a:gd name="T89" fmla="*/ 422 h 891"/>
                <a:gd name="T90" fmla="*/ 883 w 891"/>
                <a:gd name="T91" fmla="*/ 535 h 891"/>
                <a:gd name="T92" fmla="*/ 848 w 891"/>
                <a:gd name="T93" fmla="*/ 638 h 891"/>
                <a:gd name="T94" fmla="*/ 789 w 891"/>
                <a:gd name="T95" fmla="*/ 728 h 891"/>
                <a:gd name="T96" fmla="*/ 713 w 891"/>
                <a:gd name="T97" fmla="*/ 802 h 891"/>
                <a:gd name="T98" fmla="*/ 619 w 891"/>
                <a:gd name="T99" fmla="*/ 857 h 891"/>
                <a:gd name="T100" fmla="*/ 514 w 891"/>
                <a:gd name="T101" fmla="*/ 88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1" h="891">
                  <a:moveTo>
                    <a:pt x="446" y="52"/>
                  </a:moveTo>
                  <a:lnTo>
                    <a:pt x="426" y="52"/>
                  </a:lnTo>
                  <a:lnTo>
                    <a:pt x="406" y="55"/>
                  </a:lnTo>
                  <a:lnTo>
                    <a:pt x="386" y="56"/>
                  </a:lnTo>
                  <a:lnTo>
                    <a:pt x="367" y="60"/>
                  </a:lnTo>
                  <a:lnTo>
                    <a:pt x="347" y="65"/>
                  </a:lnTo>
                  <a:lnTo>
                    <a:pt x="328" y="69"/>
                  </a:lnTo>
                  <a:lnTo>
                    <a:pt x="311" y="76"/>
                  </a:lnTo>
                  <a:lnTo>
                    <a:pt x="292" y="83"/>
                  </a:lnTo>
                  <a:lnTo>
                    <a:pt x="275" y="91"/>
                  </a:lnTo>
                  <a:lnTo>
                    <a:pt x="259" y="99"/>
                  </a:lnTo>
                  <a:lnTo>
                    <a:pt x="242" y="109"/>
                  </a:lnTo>
                  <a:lnTo>
                    <a:pt x="226" y="119"/>
                  </a:lnTo>
                  <a:lnTo>
                    <a:pt x="210" y="129"/>
                  </a:lnTo>
                  <a:lnTo>
                    <a:pt x="196" y="142"/>
                  </a:lnTo>
                  <a:lnTo>
                    <a:pt x="182" y="154"/>
                  </a:lnTo>
                  <a:lnTo>
                    <a:pt x="169" y="167"/>
                  </a:lnTo>
                  <a:lnTo>
                    <a:pt x="154" y="181"/>
                  </a:lnTo>
                  <a:lnTo>
                    <a:pt x="143" y="196"/>
                  </a:lnTo>
                  <a:lnTo>
                    <a:pt x="131" y="210"/>
                  </a:lnTo>
                  <a:lnTo>
                    <a:pt x="120" y="226"/>
                  </a:lnTo>
                  <a:lnTo>
                    <a:pt x="110" y="242"/>
                  </a:lnTo>
                  <a:lnTo>
                    <a:pt x="99" y="258"/>
                  </a:lnTo>
                  <a:lnTo>
                    <a:pt x="91" y="275"/>
                  </a:lnTo>
                  <a:lnTo>
                    <a:pt x="84" y="292"/>
                  </a:lnTo>
                  <a:lnTo>
                    <a:pt x="76" y="311"/>
                  </a:lnTo>
                  <a:lnTo>
                    <a:pt x="71" y="328"/>
                  </a:lnTo>
                  <a:lnTo>
                    <a:pt x="65" y="347"/>
                  </a:lnTo>
                  <a:lnTo>
                    <a:pt x="61" y="366"/>
                  </a:lnTo>
                  <a:lnTo>
                    <a:pt x="58" y="386"/>
                  </a:lnTo>
                  <a:lnTo>
                    <a:pt x="55" y="404"/>
                  </a:lnTo>
                  <a:lnTo>
                    <a:pt x="53" y="425"/>
                  </a:lnTo>
                  <a:lnTo>
                    <a:pt x="52" y="445"/>
                  </a:lnTo>
                  <a:lnTo>
                    <a:pt x="53" y="465"/>
                  </a:lnTo>
                  <a:lnTo>
                    <a:pt x="55" y="485"/>
                  </a:lnTo>
                  <a:lnTo>
                    <a:pt x="58" y="505"/>
                  </a:lnTo>
                  <a:lnTo>
                    <a:pt x="61" y="524"/>
                  </a:lnTo>
                  <a:lnTo>
                    <a:pt x="65" y="544"/>
                  </a:lnTo>
                  <a:lnTo>
                    <a:pt x="71" y="563"/>
                  </a:lnTo>
                  <a:lnTo>
                    <a:pt x="76" y="580"/>
                  </a:lnTo>
                  <a:lnTo>
                    <a:pt x="84" y="599"/>
                  </a:lnTo>
                  <a:lnTo>
                    <a:pt x="91" y="616"/>
                  </a:lnTo>
                  <a:lnTo>
                    <a:pt x="99" y="633"/>
                  </a:lnTo>
                  <a:lnTo>
                    <a:pt x="110" y="649"/>
                  </a:lnTo>
                  <a:lnTo>
                    <a:pt x="120" y="665"/>
                  </a:lnTo>
                  <a:lnTo>
                    <a:pt x="131" y="681"/>
                  </a:lnTo>
                  <a:lnTo>
                    <a:pt x="143" y="695"/>
                  </a:lnTo>
                  <a:lnTo>
                    <a:pt x="154" y="710"/>
                  </a:lnTo>
                  <a:lnTo>
                    <a:pt x="169" y="724"/>
                  </a:lnTo>
                  <a:lnTo>
                    <a:pt x="182" y="737"/>
                  </a:lnTo>
                  <a:lnTo>
                    <a:pt x="196" y="749"/>
                  </a:lnTo>
                  <a:lnTo>
                    <a:pt x="210" y="760"/>
                  </a:lnTo>
                  <a:lnTo>
                    <a:pt x="226" y="772"/>
                  </a:lnTo>
                  <a:lnTo>
                    <a:pt x="242" y="782"/>
                  </a:lnTo>
                  <a:lnTo>
                    <a:pt x="259" y="792"/>
                  </a:lnTo>
                  <a:lnTo>
                    <a:pt x="275" y="800"/>
                  </a:lnTo>
                  <a:lnTo>
                    <a:pt x="292" y="808"/>
                  </a:lnTo>
                  <a:lnTo>
                    <a:pt x="311" y="815"/>
                  </a:lnTo>
                  <a:lnTo>
                    <a:pt x="328" y="821"/>
                  </a:lnTo>
                  <a:lnTo>
                    <a:pt x="347" y="826"/>
                  </a:lnTo>
                  <a:lnTo>
                    <a:pt x="367" y="831"/>
                  </a:lnTo>
                  <a:lnTo>
                    <a:pt x="386" y="835"/>
                  </a:lnTo>
                  <a:lnTo>
                    <a:pt x="406" y="836"/>
                  </a:lnTo>
                  <a:lnTo>
                    <a:pt x="426" y="838"/>
                  </a:lnTo>
                  <a:lnTo>
                    <a:pt x="446" y="839"/>
                  </a:lnTo>
                  <a:lnTo>
                    <a:pt x="467" y="838"/>
                  </a:lnTo>
                  <a:lnTo>
                    <a:pt x="487" y="836"/>
                  </a:lnTo>
                  <a:lnTo>
                    <a:pt x="506" y="835"/>
                  </a:lnTo>
                  <a:lnTo>
                    <a:pt x="526" y="831"/>
                  </a:lnTo>
                  <a:lnTo>
                    <a:pt x="544" y="826"/>
                  </a:lnTo>
                  <a:lnTo>
                    <a:pt x="563" y="821"/>
                  </a:lnTo>
                  <a:lnTo>
                    <a:pt x="582" y="815"/>
                  </a:lnTo>
                  <a:lnTo>
                    <a:pt x="599" y="808"/>
                  </a:lnTo>
                  <a:lnTo>
                    <a:pt x="616" y="800"/>
                  </a:lnTo>
                  <a:lnTo>
                    <a:pt x="634" y="792"/>
                  </a:lnTo>
                  <a:lnTo>
                    <a:pt x="650" y="782"/>
                  </a:lnTo>
                  <a:lnTo>
                    <a:pt x="665" y="772"/>
                  </a:lnTo>
                  <a:lnTo>
                    <a:pt x="681" y="760"/>
                  </a:lnTo>
                  <a:lnTo>
                    <a:pt x="696" y="749"/>
                  </a:lnTo>
                  <a:lnTo>
                    <a:pt x="710" y="737"/>
                  </a:lnTo>
                  <a:lnTo>
                    <a:pt x="724" y="724"/>
                  </a:lnTo>
                  <a:lnTo>
                    <a:pt x="737" y="710"/>
                  </a:lnTo>
                  <a:lnTo>
                    <a:pt x="749" y="695"/>
                  </a:lnTo>
                  <a:lnTo>
                    <a:pt x="762" y="681"/>
                  </a:lnTo>
                  <a:lnTo>
                    <a:pt x="772" y="665"/>
                  </a:lnTo>
                  <a:lnTo>
                    <a:pt x="782" y="649"/>
                  </a:lnTo>
                  <a:lnTo>
                    <a:pt x="792" y="633"/>
                  </a:lnTo>
                  <a:lnTo>
                    <a:pt x="801" y="616"/>
                  </a:lnTo>
                  <a:lnTo>
                    <a:pt x="808" y="599"/>
                  </a:lnTo>
                  <a:lnTo>
                    <a:pt x="815" y="580"/>
                  </a:lnTo>
                  <a:lnTo>
                    <a:pt x="822" y="563"/>
                  </a:lnTo>
                  <a:lnTo>
                    <a:pt x="827" y="544"/>
                  </a:lnTo>
                  <a:lnTo>
                    <a:pt x="831" y="524"/>
                  </a:lnTo>
                  <a:lnTo>
                    <a:pt x="835" y="505"/>
                  </a:lnTo>
                  <a:lnTo>
                    <a:pt x="838" y="485"/>
                  </a:lnTo>
                  <a:lnTo>
                    <a:pt x="840" y="465"/>
                  </a:lnTo>
                  <a:lnTo>
                    <a:pt x="840" y="445"/>
                  </a:lnTo>
                  <a:lnTo>
                    <a:pt x="840" y="425"/>
                  </a:lnTo>
                  <a:lnTo>
                    <a:pt x="838" y="404"/>
                  </a:lnTo>
                  <a:lnTo>
                    <a:pt x="835" y="386"/>
                  </a:lnTo>
                  <a:lnTo>
                    <a:pt x="831" y="366"/>
                  </a:lnTo>
                  <a:lnTo>
                    <a:pt x="827" y="347"/>
                  </a:lnTo>
                  <a:lnTo>
                    <a:pt x="822" y="328"/>
                  </a:lnTo>
                  <a:lnTo>
                    <a:pt x="815" y="311"/>
                  </a:lnTo>
                  <a:lnTo>
                    <a:pt x="808" y="292"/>
                  </a:lnTo>
                  <a:lnTo>
                    <a:pt x="801" y="275"/>
                  </a:lnTo>
                  <a:lnTo>
                    <a:pt x="792" y="258"/>
                  </a:lnTo>
                  <a:lnTo>
                    <a:pt x="782" y="242"/>
                  </a:lnTo>
                  <a:lnTo>
                    <a:pt x="772" y="226"/>
                  </a:lnTo>
                  <a:lnTo>
                    <a:pt x="762" y="210"/>
                  </a:lnTo>
                  <a:lnTo>
                    <a:pt x="749" y="196"/>
                  </a:lnTo>
                  <a:lnTo>
                    <a:pt x="737" y="181"/>
                  </a:lnTo>
                  <a:lnTo>
                    <a:pt x="724" y="167"/>
                  </a:lnTo>
                  <a:lnTo>
                    <a:pt x="710" y="154"/>
                  </a:lnTo>
                  <a:lnTo>
                    <a:pt x="696" y="142"/>
                  </a:lnTo>
                  <a:lnTo>
                    <a:pt x="681" y="129"/>
                  </a:lnTo>
                  <a:lnTo>
                    <a:pt x="665" y="119"/>
                  </a:lnTo>
                  <a:lnTo>
                    <a:pt x="650" y="109"/>
                  </a:lnTo>
                  <a:lnTo>
                    <a:pt x="634" y="99"/>
                  </a:lnTo>
                  <a:lnTo>
                    <a:pt x="616" y="91"/>
                  </a:lnTo>
                  <a:lnTo>
                    <a:pt x="599" y="83"/>
                  </a:lnTo>
                  <a:lnTo>
                    <a:pt x="582" y="76"/>
                  </a:lnTo>
                  <a:lnTo>
                    <a:pt x="563" y="69"/>
                  </a:lnTo>
                  <a:lnTo>
                    <a:pt x="544" y="65"/>
                  </a:lnTo>
                  <a:lnTo>
                    <a:pt x="526" y="60"/>
                  </a:lnTo>
                  <a:lnTo>
                    <a:pt x="506" y="56"/>
                  </a:lnTo>
                  <a:lnTo>
                    <a:pt x="487" y="55"/>
                  </a:lnTo>
                  <a:lnTo>
                    <a:pt x="467" y="52"/>
                  </a:lnTo>
                  <a:lnTo>
                    <a:pt x="446" y="52"/>
                  </a:lnTo>
                  <a:close/>
                  <a:moveTo>
                    <a:pt x="446" y="891"/>
                  </a:moveTo>
                  <a:lnTo>
                    <a:pt x="423" y="891"/>
                  </a:lnTo>
                  <a:lnTo>
                    <a:pt x="400" y="888"/>
                  </a:lnTo>
                  <a:lnTo>
                    <a:pt x="379" y="885"/>
                  </a:lnTo>
                  <a:lnTo>
                    <a:pt x="356" y="883"/>
                  </a:lnTo>
                  <a:lnTo>
                    <a:pt x="334" y="877"/>
                  </a:lnTo>
                  <a:lnTo>
                    <a:pt x="314" y="871"/>
                  </a:lnTo>
                  <a:lnTo>
                    <a:pt x="292" y="864"/>
                  </a:lnTo>
                  <a:lnTo>
                    <a:pt x="272" y="857"/>
                  </a:lnTo>
                  <a:lnTo>
                    <a:pt x="254" y="847"/>
                  </a:lnTo>
                  <a:lnTo>
                    <a:pt x="233" y="838"/>
                  </a:lnTo>
                  <a:lnTo>
                    <a:pt x="215" y="826"/>
                  </a:lnTo>
                  <a:lnTo>
                    <a:pt x="197" y="815"/>
                  </a:lnTo>
                  <a:lnTo>
                    <a:pt x="180" y="802"/>
                  </a:lnTo>
                  <a:lnTo>
                    <a:pt x="163" y="789"/>
                  </a:lnTo>
                  <a:lnTo>
                    <a:pt x="147" y="775"/>
                  </a:lnTo>
                  <a:lnTo>
                    <a:pt x="131" y="760"/>
                  </a:lnTo>
                  <a:lnTo>
                    <a:pt x="117" y="744"/>
                  </a:lnTo>
                  <a:lnTo>
                    <a:pt x="102" y="728"/>
                  </a:lnTo>
                  <a:lnTo>
                    <a:pt x="89" y="713"/>
                  </a:lnTo>
                  <a:lnTo>
                    <a:pt x="76" y="694"/>
                  </a:lnTo>
                  <a:lnTo>
                    <a:pt x="65" y="677"/>
                  </a:lnTo>
                  <a:lnTo>
                    <a:pt x="55" y="658"/>
                  </a:lnTo>
                  <a:lnTo>
                    <a:pt x="45" y="638"/>
                  </a:lnTo>
                  <a:lnTo>
                    <a:pt x="35" y="619"/>
                  </a:lnTo>
                  <a:lnTo>
                    <a:pt x="27" y="599"/>
                  </a:lnTo>
                  <a:lnTo>
                    <a:pt x="20" y="577"/>
                  </a:lnTo>
                  <a:lnTo>
                    <a:pt x="14" y="557"/>
                  </a:lnTo>
                  <a:lnTo>
                    <a:pt x="9" y="535"/>
                  </a:lnTo>
                  <a:lnTo>
                    <a:pt x="6" y="512"/>
                  </a:lnTo>
                  <a:lnTo>
                    <a:pt x="3" y="491"/>
                  </a:lnTo>
                  <a:lnTo>
                    <a:pt x="2" y="468"/>
                  </a:lnTo>
                  <a:lnTo>
                    <a:pt x="0" y="445"/>
                  </a:lnTo>
                  <a:lnTo>
                    <a:pt x="2" y="422"/>
                  </a:lnTo>
                  <a:lnTo>
                    <a:pt x="3" y="400"/>
                  </a:lnTo>
                  <a:lnTo>
                    <a:pt x="6" y="377"/>
                  </a:lnTo>
                  <a:lnTo>
                    <a:pt x="9" y="356"/>
                  </a:lnTo>
                  <a:lnTo>
                    <a:pt x="14" y="334"/>
                  </a:lnTo>
                  <a:lnTo>
                    <a:pt x="20" y="312"/>
                  </a:lnTo>
                  <a:lnTo>
                    <a:pt x="27" y="292"/>
                  </a:lnTo>
                  <a:lnTo>
                    <a:pt x="35" y="272"/>
                  </a:lnTo>
                  <a:lnTo>
                    <a:pt x="45" y="252"/>
                  </a:lnTo>
                  <a:lnTo>
                    <a:pt x="55" y="233"/>
                  </a:lnTo>
                  <a:lnTo>
                    <a:pt x="65" y="214"/>
                  </a:lnTo>
                  <a:lnTo>
                    <a:pt x="76" y="196"/>
                  </a:lnTo>
                  <a:lnTo>
                    <a:pt x="89" y="178"/>
                  </a:lnTo>
                  <a:lnTo>
                    <a:pt x="102" y="163"/>
                  </a:lnTo>
                  <a:lnTo>
                    <a:pt x="117" y="145"/>
                  </a:lnTo>
                  <a:lnTo>
                    <a:pt x="131" y="131"/>
                  </a:lnTo>
                  <a:lnTo>
                    <a:pt x="147" y="115"/>
                  </a:lnTo>
                  <a:lnTo>
                    <a:pt x="163" y="102"/>
                  </a:lnTo>
                  <a:lnTo>
                    <a:pt x="180" y="88"/>
                  </a:lnTo>
                  <a:lnTo>
                    <a:pt x="197" y="76"/>
                  </a:lnTo>
                  <a:lnTo>
                    <a:pt x="215" y="65"/>
                  </a:lnTo>
                  <a:lnTo>
                    <a:pt x="233" y="53"/>
                  </a:lnTo>
                  <a:lnTo>
                    <a:pt x="254" y="43"/>
                  </a:lnTo>
                  <a:lnTo>
                    <a:pt x="272" y="34"/>
                  </a:lnTo>
                  <a:lnTo>
                    <a:pt x="292" y="27"/>
                  </a:lnTo>
                  <a:lnTo>
                    <a:pt x="314" y="20"/>
                  </a:lnTo>
                  <a:lnTo>
                    <a:pt x="334" y="14"/>
                  </a:lnTo>
                  <a:lnTo>
                    <a:pt x="356" y="8"/>
                  </a:lnTo>
                  <a:lnTo>
                    <a:pt x="379" y="4"/>
                  </a:lnTo>
                  <a:lnTo>
                    <a:pt x="400" y="1"/>
                  </a:lnTo>
                  <a:lnTo>
                    <a:pt x="423" y="0"/>
                  </a:lnTo>
                  <a:lnTo>
                    <a:pt x="446" y="0"/>
                  </a:lnTo>
                  <a:lnTo>
                    <a:pt x="470" y="0"/>
                  </a:lnTo>
                  <a:lnTo>
                    <a:pt x="491" y="1"/>
                  </a:lnTo>
                  <a:lnTo>
                    <a:pt x="514" y="4"/>
                  </a:lnTo>
                  <a:lnTo>
                    <a:pt x="536" y="8"/>
                  </a:lnTo>
                  <a:lnTo>
                    <a:pt x="557" y="14"/>
                  </a:lnTo>
                  <a:lnTo>
                    <a:pt x="579" y="20"/>
                  </a:lnTo>
                  <a:lnTo>
                    <a:pt x="599" y="27"/>
                  </a:lnTo>
                  <a:lnTo>
                    <a:pt x="619" y="34"/>
                  </a:lnTo>
                  <a:lnTo>
                    <a:pt x="639" y="43"/>
                  </a:lnTo>
                  <a:lnTo>
                    <a:pt x="658" y="53"/>
                  </a:lnTo>
                  <a:lnTo>
                    <a:pt x="677" y="65"/>
                  </a:lnTo>
                  <a:lnTo>
                    <a:pt x="696" y="76"/>
                  </a:lnTo>
                  <a:lnTo>
                    <a:pt x="713" y="88"/>
                  </a:lnTo>
                  <a:lnTo>
                    <a:pt x="729" y="102"/>
                  </a:lnTo>
                  <a:lnTo>
                    <a:pt x="746" y="115"/>
                  </a:lnTo>
                  <a:lnTo>
                    <a:pt x="760" y="131"/>
                  </a:lnTo>
                  <a:lnTo>
                    <a:pt x="776" y="145"/>
                  </a:lnTo>
                  <a:lnTo>
                    <a:pt x="789" y="163"/>
                  </a:lnTo>
                  <a:lnTo>
                    <a:pt x="804" y="178"/>
                  </a:lnTo>
                  <a:lnTo>
                    <a:pt x="815" y="196"/>
                  </a:lnTo>
                  <a:lnTo>
                    <a:pt x="827" y="214"/>
                  </a:lnTo>
                  <a:lnTo>
                    <a:pt x="838" y="233"/>
                  </a:lnTo>
                  <a:lnTo>
                    <a:pt x="848" y="252"/>
                  </a:lnTo>
                  <a:lnTo>
                    <a:pt x="857" y="272"/>
                  </a:lnTo>
                  <a:lnTo>
                    <a:pt x="864" y="292"/>
                  </a:lnTo>
                  <a:lnTo>
                    <a:pt x="871" y="312"/>
                  </a:lnTo>
                  <a:lnTo>
                    <a:pt x="877" y="334"/>
                  </a:lnTo>
                  <a:lnTo>
                    <a:pt x="883" y="356"/>
                  </a:lnTo>
                  <a:lnTo>
                    <a:pt x="887" y="377"/>
                  </a:lnTo>
                  <a:lnTo>
                    <a:pt x="890" y="400"/>
                  </a:lnTo>
                  <a:lnTo>
                    <a:pt x="891" y="422"/>
                  </a:lnTo>
                  <a:lnTo>
                    <a:pt x="891" y="445"/>
                  </a:lnTo>
                  <a:lnTo>
                    <a:pt x="891" y="468"/>
                  </a:lnTo>
                  <a:lnTo>
                    <a:pt x="890" y="491"/>
                  </a:lnTo>
                  <a:lnTo>
                    <a:pt x="887" y="512"/>
                  </a:lnTo>
                  <a:lnTo>
                    <a:pt x="883" y="535"/>
                  </a:lnTo>
                  <a:lnTo>
                    <a:pt x="877" y="557"/>
                  </a:lnTo>
                  <a:lnTo>
                    <a:pt x="871" y="577"/>
                  </a:lnTo>
                  <a:lnTo>
                    <a:pt x="864" y="599"/>
                  </a:lnTo>
                  <a:lnTo>
                    <a:pt x="857" y="619"/>
                  </a:lnTo>
                  <a:lnTo>
                    <a:pt x="848" y="638"/>
                  </a:lnTo>
                  <a:lnTo>
                    <a:pt x="838" y="658"/>
                  </a:lnTo>
                  <a:lnTo>
                    <a:pt x="827" y="677"/>
                  </a:lnTo>
                  <a:lnTo>
                    <a:pt x="815" y="694"/>
                  </a:lnTo>
                  <a:lnTo>
                    <a:pt x="804" y="713"/>
                  </a:lnTo>
                  <a:lnTo>
                    <a:pt x="789" y="728"/>
                  </a:lnTo>
                  <a:lnTo>
                    <a:pt x="776" y="744"/>
                  </a:lnTo>
                  <a:lnTo>
                    <a:pt x="760" y="760"/>
                  </a:lnTo>
                  <a:lnTo>
                    <a:pt x="746" y="775"/>
                  </a:lnTo>
                  <a:lnTo>
                    <a:pt x="729" y="789"/>
                  </a:lnTo>
                  <a:lnTo>
                    <a:pt x="713" y="802"/>
                  </a:lnTo>
                  <a:lnTo>
                    <a:pt x="696" y="815"/>
                  </a:lnTo>
                  <a:lnTo>
                    <a:pt x="677" y="826"/>
                  </a:lnTo>
                  <a:lnTo>
                    <a:pt x="658" y="838"/>
                  </a:lnTo>
                  <a:lnTo>
                    <a:pt x="639" y="847"/>
                  </a:lnTo>
                  <a:lnTo>
                    <a:pt x="619" y="857"/>
                  </a:lnTo>
                  <a:lnTo>
                    <a:pt x="599" y="864"/>
                  </a:lnTo>
                  <a:lnTo>
                    <a:pt x="579" y="871"/>
                  </a:lnTo>
                  <a:lnTo>
                    <a:pt x="557" y="877"/>
                  </a:lnTo>
                  <a:lnTo>
                    <a:pt x="536" y="883"/>
                  </a:lnTo>
                  <a:lnTo>
                    <a:pt x="514" y="885"/>
                  </a:lnTo>
                  <a:lnTo>
                    <a:pt x="491" y="888"/>
                  </a:lnTo>
                  <a:lnTo>
                    <a:pt x="470" y="891"/>
                  </a:lnTo>
                  <a:lnTo>
                    <a:pt x="446"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67">
              <a:extLst>
                <a:ext uri="{FF2B5EF4-FFF2-40B4-BE49-F238E27FC236}">
                  <a16:creationId xmlns:a16="http://schemas.microsoft.com/office/drawing/2014/main" id="{E268392B-12B6-4004-A8A1-5FAA1B11DE0C}"/>
                </a:ext>
              </a:extLst>
            </p:cNvPr>
            <p:cNvSpPr>
              <a:spLocks noEditPoints="1"/>
            </p:cNvSpPr>
            <p:nvPr/>
          </p:nvSpPr>
          <p:spPr bwMode="auto">
            <a:xfrm>
              <a:off x="1089025" y="3752851"/>
              <a:ext cx="285750" cy="276225"/>
            </a:xfrm>
            <a:custGeom>
              <a:avLst/>
              <a:gdLst>
                <a:gd name="T0" fmla="*/ 444 w 540"/>
                <a:gd name="T1" fmla="*/ 469 h 521"/>
                <a:gd name="T2" fmla="*/ 353 w 540"/>
                <a:gd name="T3" fmla="*/ 248 h 521"/>
                <a:gd name="T4" fmla="*/ 344 w 540"/>
                <a:gd name="T5" fmla="*/ 245 h 521"/>
                <a:gd name="T6" fmla="*/ 337 w 540"/>
                <a:gd name="T7" fmla="*/ 239 h 521"/>
                <a:gd name="T8" fmla="*/ 333 w 540"/>
                <a:gd name="T9" fmla="*/ 230 h 521"/>
                <a:gd name="T10" fmla="*/ 331 w 540"/>
                <a:gd name="T11" fmla="*/ 222 h 521"/>
                <a:gd name="T12" fmla="*/ 331 w 540"/>
                <a:gd name="T13" fmla="*/ 118 h 521"/>
                <a:gd name="T14" fmla="*/ 326 w 540"/>
                <a:gd name="T15" fmla="*/ 94 h 521"/>
                <a:gd name="T16" fmla="*/ 318 w 540"/>
                <a:gd name="T17" fmla="*/ 78 h 521"/>
                <a:gd name="T18" fmla="*/ 307 w 540"/>
                <a:gd name="T19" fmla="*/ 66 h 521"/>
                <a:gd name="T20" fmla="*/ 290 w 540"/>
                <a:gd name="T21" fmla="*/ 59 h 521"/>
                <a:gd name="T22" fmla="*/ 280 w 540"/>
                <a:gd name="T23" fmla="*/ 145 h 521"/>
                <a:gd name="T24" fmla="*/ 278 w 540"/>
                <a:gd name="T25" fmla="*/ 156 h 521"/>
                <a:gd name="T26" fmla="*/ 272 w 540"/>
                <a:gd name="T27" fmla="*/ 163 h 521"/>
                <a:gd name="T28" fmla="*/ 195 w 540"/>
                <a:gd name="T29" fmla="*/ 243 h 521"/>
                <a:gd name="T30" fmla="*/ 186 w 540"/>
                <a:gd name="T31" fmla="*/ 248 h 521"/>
                <a:gd name="T32" fmla="*/ 52 w 540"/>
                <a:gd name="T33" fmla="*/ 248 h 521"/>
                <a:gd name="T34" fmla="*/ 182 w 540"/>
                <a:gd name="T35" fmla="*/ 443 h 521"/>
                <a:gd name="T36" fmla="*/ 187 w 540"/>
                <a:gd name="T37" fmla="*/ 443 h 521"/>
                <a:gd name="T38" fmla="*/ 464 w 540"/>
                <a:gd name="T39" fmla="*/ 521 h 521"/>
                <a:gd name="T40" fmla="*/ 301 w 540"/>
                <a:gd name="T41" fmla="*/ 521 h 521"/>
                <a:gd name="T42" fmla="*/ 179 w 540"/>
                <a:gd name="T43" fmla="*/ 495 h 521"/>
                <a:gd name="T44" fmla="*/ 20 w 540"/>
                <a:gd name="T45" fmla="*/ 495 h 521"/>
                <a:gd name="T46" fmla="*/ 12 w 540"/>
                <a:gd name="T47" fmla="*/ 491 h 521"/>
                <a:gd name="T48" fmla="*/ 5 w 540"/>
                <a:gd name="T49" fmla="*/ 484 h 521"/>
                <a:gd name="T50" fmla="*/ 0 w 540"/>
                <a:gd name="T51" fmla="*/ 475 h 521"/>
                <a:gd name="T52" fmla="*/ 0 w 540"/>
                <a:gd name="T53" fmla="*/ 222 h 521"/>
                <a:gd name="T54" fmla="*/ 2 w 540"/>
                <a:gd name="T55" fmla="*/ 212 h 521"/>
                <a:gd name="T56" fmla="*/ 7 w 540"/>
                <a:gd name="T57" fmla="*/ 203 h 521"/>
                <a:gd name="T58" fmla="*/ 16 w 540"/>
                <a:gd name="T59" fmla="*/ 199 h 521"/>
                <a:gd name="T60" fmla="*/ 26 w 540"/>
                <a:gd name="T61" fmla="*/ 196 h 521"/>
                <a:gd name="T62" fmla="*/ 228 w 540"/>
                <a:gd name="T63" fmla="*/ 135 h 521"/>
                <a:gd name="T64" fmla="*/ 228 w 540"/>
                <a:gd name="T65" fmla="*/ 22 h 521"/>
                <a:gd name="T66" fmla="*/ 232 w 540"/>
                <a:gd name="T67" fmla="*/ 12 h 521"/>
                <a:gd name="T68" fmla="*/ 239 w 540"/>
                <a:gd name="T69" fmla="*/ 4 h 521"/>
                <a:gd name="T70" fmla="*/ 248 w 540"/>
                <a:gd name="T71" fmla="*/ 1 h 521"/>
                <a:gd name="T72" fmla="*/ 267 w 540"/>
                <a:gd name="T73" fmla="*/ 1 h 521"/>
                <a:gd name="T74" fmla="*/ 307 w 540"/>
                <a:gd name="T75" fmla="*/ 9 h 521"/>
                <a:gd name="T76" fmla="*/ 330 w 540"/>
                <a:gd name="T77" fmla="*/ 19 h 521"/>
                <a:gd name="T78" fmla="*/ 344 w 540"/>
                <a:gd name="T79" fmla="*/ 29 h 521"/>
                <a:gd name="T80" fmla="*/ 362 w 540"/>
                <a:gd name="T81" fmla="*/ 48 h 521"/>
                <a:gd name="T82" fmla="*/ 376 w 540"/>
                <a:gd name="T83" fmla="*/ 76 h 521"/>
                <a:gd name="T84" fmla="*/ 383 w 540"/>
                <a:gd name="T85" fmla="*/ 115 h 521"/>
                <a:gd name="T86" fmla="*/ 385 w 540"/>
                <a:gd name="T87" fmla="*/ 202 h 521"/>
                <a:gd name="T88" fmla="*/ 526 w 540"/>
                <a:gd name="T89" fmla="*/ 233 h 521"/>
                <a:gd name="T90" fmla="*/ 533 w 540"/>
                <a:gd name="T91" fmla="*/ 239 h 521"/>
                <a:gd name="T92" fmla="*/ 539 w 540"/>
                <a:gd name="T93" fmla="*/ 248 h 521"/>
                <a:gd name="T94" fmla="*/ 540 w 540"/>
                <a:gd name="T95" fmla="*/ 256 h 521"/>
                <a:gd name="T96" fmla="*/ 490 w 540"/>
                <a:gd name="T97" fmla="*/ 501 h 521"/>
                <a:gd name="T98" fmla="*/ 487 w 540"/>
                <a:gd name="T99" fmla="*/ 510 h 521"/>
                <a:gd name="T100" fmla="*/ 481 w 540"/>
                <a:gd name="T101" fmla="*/ 515 h 521"/>
                <a:gd name="T102" fmla="*/ 474 w 540"/>
                <a:gd name="T103" fmla="*/ 520 h 521"/>
                <a:gd name="T104" fmla="*/ 464 w 540"/>
                <a:gd name="T105"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0" h="521">
                  <a:moveTo>
                    <a:pt x="307" y="469"/>
                  </a:moveTo>
                  <a:lnTo>
                    <a:pt x="444" y="469"/>
                  </a:lnTo>
                  <a:lnTo>
                    <a:pt x="484" y="276"/>
                  </a:lnTo>
                  <a:lnTo>
                    <a:pt x="353" y="248"/>
                  </a:lnTo>
                  <a:lnTo>
                    <a:pt x="349" y="246"/>
                  </a:lnTo>
                  <a:lnTo>
                    <a:pt x="344" y="245"/>
                  </a:lnTo>
                  <a:lnTo>
                    <a:pt x="340" y="242"/>
                  </a:lnTo>
                  <a:lnTo>
                    <a:pt x="337" y="239"/>
                  </a:lnTo>
                  <a:lnTo>
                    <a:pt x="336" y="235"/>
                  </a:lnTo>
                  <a:lnTo>
                    <a:pt x="333" y="230"/>
                  </a:lnTo>
                  <a:lnTo>
                    <a:pt x="333" y="226"/>
                  </a:lnTo>
                  <a:lnTo>
                    <a:pt x="331" y="222"/>
                  </a:lnTo>
                  <a:lnTo>
                    <a:pt x="331" y="128"/>
                  </a:lnTo>
                  <a:lnTo>
                    <a:pt x="331" y="118"/>
                  </a:lnTo>
                  <a:lnTo>
                    <a:pt x="329" y="102"/>
                  </a:lnTo>
                  <a:lnTo>
                    <a:pt x="326" y="94"/>
                  </a:lnTo>
                  <a:lnTo>
                    <a:pt x="323" y="85"/>
                  </a:lnTo>
                  <a:lnTo>
                    <a:pt x="318" y="78"/>
                  </a:lnTo>
                  <a:lnTo>
                    <a:pt x="314" y="71"/>
                  </a:lnTo>
                  <a:lnTo>
                    <a:pt x="307" y="66"/>
                  </a:lnTo>
                  <a:lnTo>
                    <a:pt x="298" y="62"/>
                  </a:lnTo>
                  <a:lnTo>
                    <a:pt x="290" y="59"/>
                  </a:lnTo>
                  <a:lnTo>
                    <a:pt x="280" y="56"/>
                  </a:lnTo>
                  <a:lnTo>
                    <a:pt x="280" y="145"/>
                  </a:lnTo>
                  <a:lnTo>
                    <a:pt x="280" y="150"/>
                  </a:lnTo>
                  <a:lnTo>
                    <a:pt x="278" y="156"/>
                  </a:lnTo>
                  <a:lnTo>
                    <a:pt x="275" y="160"/>
                  </a:lnTo>
                  <a:lnTo>
                    <a:pt x="272" y="163"/>
                  </a:lnTo>
                  <a:lnTo>
                    <a:pt x="199" y="240"/>
                  </a:lnTo>
                  <a:lnTo>
                    <a:pt x="195" y="243"/>
                  </a:lnTo>
                  <a:lnTo>
                    <a:pt x="190" y="246"/>
                  </a:lnTo>
                  <a:lnTo>
                    <a:pt x="186" y="248"/>
                  </a:lnTo>
                  <a:lnTo>
                    <a:pt x="180" y="248"/>
                  </a:lnTo>
                  <a:lnTo>
                    <a:pt x="52" y="248"/>
                  </a:lnTo>
                  <a:lnTo>
                    <a:pt x="52" y="443"/>
                  </a:lnTo>
                  <a:lnTo>
                    <a:pt x="182" y="443"/>
                  </a:lnTo>
                  <a:lnTo>
                    <a:pt x="185" y="443"/>
                  </a:lnTo>
                  <a:lnTo>
                    <a:pt x="187" y="443"/>
                  </a:lnTo>
                  <a:lnTo>
                    <a:pt x="307" y="469"/>
                  </a:lnTo>
                  <a:close/>
                  <a:moveTo>
                    <a:pt x="464" y="521"/>
                  </a:moveTo>
                  <a:lnTo>
                    <a:pt x="304" y="521"/>
                  </a:lnTo>
                  <a:lnTo>
                    <a:pt x="301" y="521"/>
                  </a:lnTo>
                  <a:lnTo>
                    <a:pt x="298" y="521"/>
                  </a:lnTo>
                  <a:lnTo>
                    <a:pt x="179" y="495"/>
                  </a:lnTo>
                  <a:lnTo>
                    <a:pt x="26" y="495"/>
                  </a:lnTo>
                  <a:lnTo>
                    <a:pt x="20" y="495"/>
                  </a:lnTo>
                  <a:lnTo>
                    <a:pt x="16" y="494"/>
                  </a:lnTo>
                  <a:lnTo>
                    <a:pt x="12" y="491"/>
                  </a:lnTo>
                  <a:lnTo>
                    <a:pt x="7" y="488"/>
                  </a:lnTo>
                  <a:lnTo>
                    <a:pt x="5" y="484"/>
                  </a:lnTo>
                  <a:lnTo>
                    <a:pt x="2" y="479"/>
                  </a:lnTo>
                  <a:lnTo>
                    <a:pt x="0" y="475"/>
                  </a:lnTo>
                  <a:lnTo>
                    <a:pt x="0" y="469"/>
                  </a:lnTo>
                  <a:lnTo>
                    <a:pt x="0" y="222"/>
                  </a:lnTo>
                  <a:lnTo>
                    <a:pt x="0" y="217"/>
                  </a:lnTo>
                  <a:lnTo>
                    <a:pt x="2" y="212"/>
                  </a:lnTo>
                  <a:lnTo>
                    <a:pt x="5" y="207"/>
                  </a:lnTo>
                  <a:lnTo>
                    <a:pt x="7" y="203"/>
                  </a:lnTo>
                  <a:lnTo>
                    <a:pt x="12" y="200"/>
                  </a:lnTo>
                  <a:lnTo>
                    <a:pt x="16" y="199"/>
                  </a:lnTo>
                  <a:lnTo>
                    <a:pt x="20" y="196"/>
                  </a:lnTo>
                  <a:lnTo>
                    <a:pt x="26" y="196"/>
                  </a:lnTo>
                  <a:lnTo>
                    <a:pt x="169" y="196"/>
                  </a:lnTo>
                  <a:lnTo>
                    <a:pt x="228" y="135"/>
                  </a:lnTo>
                  <a:lnTo>
                    <a:pt x="228" y="27"/>
                  </a:lnTo>
                  <a:lnTo>
                    <a:pt x="228" y="22"/>
                  </a:lnTo>
                  <a:lnTo>
                    <a:pt x="229" y="16"/>
                  </a:lnTo>
                  <a:lnTo>
                    <a:pt x="232" y="12"/>
                  </a:lnTo>
                  <a:lnTo>
                    <a:pt x="235" y="9"/>
                  </a:lnTo>
                  <a:lnTo>
                    <a:pt x="239" y="4"/>
                  </a:lnTo>
                  <a:lnTo>
                    <a:pt x="244" y="3"/>
                  </a:lnTo>
                  <a:lnTo>
                    <a:pt x="248" y="1"/>
                  </a:lnTo>
                  <a:lnTo>
                    <a:pt x="254" y="0"/>
                  </a:lnTo>
                  <a:lnTo>
                    <a:pt x="267" y="1"/>
                  </a:lnTo>
                  <a:lnTo>
                    <a:pt x="293" y="6"/>
                  </a:lnTo>
                  <a:lnTo>
                    <a:pt x="307" y="9"/>
                  </a:lnTo>
                  <a:lnTo>
                    <a:pt x="323" y="16"/>
                  </a:lnTo>
                  <a:lnTo>
                    <a:pt x="330" y="19"/>
                  </a:lnTo>
                  <a:lnTo>
                    <a:pt x="337" y="23"/>
                  </a:lnTo>
                  <a:lnTo>
                    <a:pt x="344" y="29"/>
                  </a:lnTo>
                  <a:lnTo>
                    <a:pt x="350" y="35"/>
                  </a:lnTo>
                  <a:lnTo>
                    <a:pt x="362" y="48"/>
                  </a:lnTo>
                  <a:lnTo>
                    <a:pt x="370" y="62"/>
                  </a:lnTo>
                  <a:lnTo>
                    <a:pt x="376" y="76"/>
                  </a:lnTo>
                  <a:lnTo>
                    <a:pt x="379" y="91"/>
                  </a:lnTo>
                  <a:lnTo>
                    <a:pt x="383" y="115"/>
                  </a:lnTo>
                  <a:lnTo>
                    <a:pt x="385" y="128"/>
                  </a:lnTo>
                  <a:lnTo>
                    <a:pt x="385" y="202"/>
                  </a:lnTo>
                  <a:lnTo>
                    <a:pt x="520" y="232"/>
                  </a:lnTo>
                  <a:lnTo>
                    <a:pt x="526" y="233"/>
                  </a:lnTo>
                  <a:lnTo>
                    <a:pt x="530" y="236"/>
                  </a:lnTo>
                  <a:lnTo>
                    <a:pt x="533" y="239"/>
                  </a:lnTo>
                  <a:lnTo>
                    <a:pt x="536" y="243"/>
                  </a:lnTo>
                  <a:lnTo>
                    <a:pt x="539" y="248"/>
                  </a:lnTo>
                  <a:lnTo>
                    <a:pt x="540" y="252"/>
                  </a:lnTo>
                  <a:lnTo>
                    <a:pt x="540" y="256"/>
                  </a:lnTo>
                  <a:lnTo>
                    <a:pt x="540" y="262"/>
                  </a:lnTo>
                  <a:lnTo>
                    <a:pt x="490" y="501"/>
                  </a:lnTo>
                  <a:lnTo>
                    <a:pt x="488" y="505"/>
                  </a:lnTo>
                  <a:lnTo>
                    <a:pt x="487" y="510"/>
                  </a:lnTo>
                  <a:lnTo>
                    <a:pt x="484" y="513"/>
                  </a:lnTo>
                  <a:lnTo>
                    <a:pt x="481" y="515"/>
                  </a:lnTo>
                  <a:lnTo>
                    <a:pt x="477" y="518"/>
                  </a:lnTo>
                  <a:lnTo>
                    <a:pt x="474" y="520"/>
                  </a:lnTo>
                  <a:lnTo>
                    <a:pt x="470" y="521"/>
                  </a:lnTo>
                  <a:lnTo>
                    <a:pt x="464"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8">
              <a:extLst>
                <a:ext uri="{FF2B5EF4-FFF2-40B4-BE49-F238E27FC236}">
                  <a16:creationId xmlns:a16="http://schemas.microsoft.com/office/drawing/2014/main" id="{224A59C6-829A-465D-BE5D-4084B71F9808}"/>
                </a:ext>
              </a:extLst>
            </p:cNvPr>
            <p:cNvSpPr>
              <a:spLocks/>
            </p:cNvSpPr>
            <p:nvPr/>
          </p:nvSpPr>
          <p:spPr bwMode="auto">
            <a:xfrm>
              <a:off x="1133475" y="3860801"/>
              <a:ext cx="28575" cy="144463"/>
            </a:xfrm>
            <a:custGeom>
              <a:avLst/>
              <a:gdLst>
                <a:gd name="T0" fmla="*/ 26 w 52"/>
                <a:gd name="T1" fmla="*/ 274 h 274"/>
                <a:gd name="T2" fmla="*/ 20 w 52"/>
                <a:gd name="T3" fmla="*/ 274 h 274"/>
                <a:gd name="T4" fmla="*/ 16 w 52"/>
                <a:gd name="T5" fmla="*/ 273 h 274"/>
                <a:gd name="T6" fmla="*/ 11 w 52"/>
                <a:gd name="T7" fmla="*/ 270 h 274"/>
                <a:gd name="T8" fmla="*/ 7 w 52"/>
                <a:gd name="T9" fmla="*/ 267 h 274"/>
                <a:gd name="T10" fmla="*/ 4 w 52"/>
                <a:gd name="T11" fmla="*/ 263 h 274"/>
                <a:gd name="T12" fmla="*/ 1 w 52"/>
                <a:gd name="T13" fmla="*/ 258 h 274"/>
                <a:gd name="T14" fmla="*/ 0 w 52"/>
                <a:gd name="T15" fmla="*/ 254 h 274"/>
                <a:gd name="T16" fmla="*/ 0 w 52"/>
                <a:gd name="T17" fmla="*/ 248 h 274"/>
                <a:gd name="T18" fmla="*/ 0 w 52"/>
                <a:gd name="T19" fmla="*/ 26 h 274"/>
                <a:gd name="T20" fmla="*/ 0 w 52"/>
                <a:gd name="T21" fmla="*/ 22 h 274"/>
                <a:gd name="T22" fmla="*/ 1 w 52"/>
                <a:gd name="T23" fmla="*/ 16 h 274"/>
                <a:gd name="T24" fmla="*/ 4 w 52"/>
                <a:gd name="T25" fmla="*/ 12 h 274"/>
                <a:gd name="T26" fmla="*/ 7 w 52"/>
                <a:gd name="T27" fmla="*/ 9 h 274"/>
                <a:gd name="T28" fmla="*/ 11 w 52"/>
                <a:gd name="T29" fmla="*/ 5 h 274"/>
                <a:gd name="T30" fmla="*/ 16 w 52"/>
                <a:gd name="T31" fmla="*/ 3 h 274"/>
                <a:gd name="T32" fmla="*/ 20 w 52"/>
                <a:gd name="T33" fmla="*/ 2 h 274"/>
                <a:gd name="T34" fmla="*/ 26 w 52"/>
                <a:gd name="T35" fmla="*/ 0 h 274"/>
                <a:gd name="T36" fmla="*/ 30 w 52"/>
                <a:gd name="T37" fmla="*/ 2 h 274"/>
                <a:gd name="T38" fmla="*/ 36 w 52"/>
                <a:gd name="T39" fmla="*/ 3 h 274"/>
                <a:gd name="T40" fmla="*/ 40 w 52"/>
                <a:gd name="T41" fmla="*/ 5 h 274"/>
                <a:gd name="T42" fmla="*/ 44 w 52"/>
                <a:gd name="T43" fmla="*/ 8 h 274"/>
                <a:gd name="T44" fmla="*/ 47 w 52"/>
                <a:gd name="T45" fmla="*/ 12 h 274"/>
                <a:gd name="T46" fmla="*/ 50 w 52"/>
                <a:gd name="T47" fmla="*/ 16 h 274"/>
                <a:gd name="T48" fmla="*/ 52 w 52"/>
                <a:gd name="T49" fmla="*/ 22 h 274"/>
                <a:gd name="T50" fmla="*/ 52 w 52"/>
                <a:gd name="T51" fmla="*/ 26 h 274"/>
                <a:gd name="T52" fmla="*/ 52 w 52"/>
                <a:gd name="T53" fmla="*/ 248 h 274"/>
                <a:gd name="T54" fmla="*/ 52 w 52"/>
                <a:gd name="T55" fmla="*/ 254 h 274"/>
                <a:gd name="T56" fmla="*/ 50 w 52"/>
                <a:gd name="T57" fmla="*/ 258 h 274"/>
                <a:gd name="T58" fmla="*/ 47 w 52"/>
                <a:gd name="T59" fmla="*/ 263 h 274"/>
                <a:gd name="T60" fmla="*/ 44 w 52"/>
                <a:gd name="T61" fmla="*/ 267 h 274"/>
                <a:gd name="T62" fmla="*/ 40 w 52"/>
                <a:gd name="T63" fmla="*/ 270 h 274"/>
                <a:gd name="T64" fmla="*/ 36 w 52"/>
                <a:gd name="T65" fmla="*/ 273 h 274"/>
                <a:gd name="T66" fmla="*/ 30 w 52"/>
                <a:gd name="T67" fmla="*/ 274 h 274"/>
                <a:gd name="T68" fmla="*/ 26 w 52"/>
                <a:gd name="T69"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74">
                  <a:moveTo>
                    <a:pt x="26" y="274"/>
                  </a:moveTo>
                  <a:lnTo>
                    <a:pt x="20" y="274"/>
                  </a:lnTo>
                  <a:lnTo>
                    <a:pt x="16" y="273"/>
                  </a:lnTo>
                  <a:lnTo>
                    <a:pt x="11" y="270"/>
                  </a:lnTo>
                  <a:lnTo>
                    <a:pt x="7" y="267"/>
                  </a:lnTo>
                  <a:lnTo>
                    <a:pt x="4" y="263"/>
                  </a:lnTo>
                  <a:lnTo>
                    <a:pt x="1" y="258"/>
                  </a:lnTo>
                  <a:lnTo>
                    <a:pt x="0" y="254"/>
                  </a:lnTo>
                  <a:lnTo>
                    <a:pt x="0" y="248"/>
                  </a:lnTo>
                  <a:lnTo>
                    <a:pt x="0" y="26"/>
                  </a:lnTo>
                  <a:lnTo>
                    <a:pt x="0" y="22"/>
                  </a:lnTo>
                  <a:lnTo>
                    <a:pt x="1" y="16"/>
                  </a:lnTo>
                  <a:lnTo>
                    <a:pt x="4" y="12"/>
                  </a:lnTo>
                  <a:lnTo>
                    <a:pt x="7" y="9"/>
                  </a:lnTo>
                  <a:lnTo>
                    <a:pt x="11" y="5"/>
                  </a:lnTo>
                  <a:lnTo>
                    <a:pt x="16" y="3"/>
                  </a:lnTo>
                  <a:lnTo>
                    <a:pt x="20" y="2"/>
                  </a:lnTo>
                  <a:lnTo>
                    <a:pt x="26" y="0"/>
                  </a:lnTo>
                  <a:lnTo>
                    <a:pt x="30" y="2"/>
                  </a:lnTo>
                  <a:lnTo>
                    <a:pt x="36" y="3"/>
                  </a:lnTo>
                  <a:lnTo>
                    <a:pt x="40" y="5"/>
                  </a:lnTo>
                  <a:lnTo>
                    <a:pt x="44" y="8"/>
                  </a:lnTo>
                  <a:lnTo>
                    <a:pt x="47" y="12"/>
                  </a:lnTo>
                  <a:lnTo>
                    <a:pt x="50" y="16"/>
                  </a:lnTo>
                  <a:lnTo>
                    <a:pt x="52" y="22"/>
                  </a:lnTo>
                  <a:lnTo>
                    <a:pt x="52" y="26"/>
                  </a:lnTo>
                  <a:lnTo>
                    <a:pt x="52" y="248"/>
                  </a:lnTo>
                  <a:lnTo>
                    <a:pt x="52" y="254"/>
                  </a:lnTo>
                  <a:lnTo>
                    <a:pt x="50" y="258"/>
                  </a:lnTo>
                  <a:lnTo>
                    <a:pt x="47" y="263"/>
                  </a:lnTo>
                  <a:lnTo>
                    <a:pt x="44" y="267"/>
                  </a:lnTo>
                  <a:lnTo>
                    <a:pt x="40" y="270"/>
                  </a:lnTo>
                  <a:lnTo>
                    <a:pt x="36" y="273"/>
                  </a:lnTo>
                  <a:lnTo>
                    <a:pt x="30" y="274"/>
                  </a:lnTo>
                  <a:lnTo>
                    <a:pt x="26" y="2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5" name="Group 10">
            <a:extLst>
              <a:ext uri="{FF2B5EF4-FFF2-40B4-BE49-F238E27FC236}">
                <a16:creationId xmlns:a16="http://schemas.microsoft.com/office/drawing/2014/main" id="{B077E574-A3B8-4C67-8F2E-84BAEDF7220E}"/>
              </a:ext>
            </a:extLst>
          </p:cNvPr>
          <p:cNvGrpSpPr>
            <a:grpSpLocks noChangeAspect="1"/>
          </p:cNvGrpSpPr>
          <p:nvPr/>
        </p:nvGrpSpPr>
        <p:grpSpPr>
          <a:xfrm>
            <a:off x="714685" y="3263433"/>
            <a:ext cx="198828" cy="285619"/>
            <a:chOff x="10501313" y="2228850"/>
            <a:chExt cx="200025" cy="287338"/>
          </a:xfrm>
          <a:solidFill>
            <a:schemeClr val="bg1"/>
          </a:solidFill>
          <a:effectLst/>
        </p:grpSpPr>
        <p:sp>
          <p:nvSpPr>
            <p:cNvPr id="446" name="Freeform 203">
              <a:extLst>
                <a:ext uri="{FF2B5EF4-FFF2-40B4-BE49-F238E27FC236}">
                  <a16:creationId xmlns:a16="http://schemas.microsoft.com/office/drawing/2014/main" id="{5044F358-38E2-4B69-AFE1-227125542372}"/>
                </a:ext>
              </a:extLst>
            </p:cNvPr>
            <p:cNvSpPr>
              <a:spLocks noEditPoints="1"/>
            </p:cNvSpPr>
            <p:nvPr/>
          </p:nvSpPr>
          <p:spPr bwMode="auto">
            <a:xfrm>
              <a:off x="10501313" y="2228850"/>
              <a:ext cx="200025" cy="201613"/>
            </a:xfrm>
            <a:custGeom>
              <a:avLst/>
              <a:gdLst>
                <a:gd name="T0" fmla="*/ 373 w 632"/>
                <a:gd name="T1" fmla="*/ 511 h 631"/>
                <a:gd name="T2" fmla="*/ 447 w 632"/>
                <a:gd name="T3" fmla="*/ 447 h 631"/>
                <a:gd name="T4" fmla="*/ 450 w 632"/>
                <a:gd name="T5" fmla="*/ 431 h 631"/>
                <a:gd name="T6" fmla="*/ 436 w 632"/>
                <a:gd name="T7" fmla="*/ 421 h 631"/>
                <a:gd name="T8" fmla="*/ 327 w 632"/>
                <a:gd name="T9" fmla="*/ 426 h 631"/>
                <a:gd name="T10" fmla="*/ 310 w 632"/>
                <a:gd name="T11" fmla="*/ 422 h 631"/>
                <a:gd name="T12" fmla="*/ 202 w 632"/>
                <a:gd name="T13" fmla="*/ 422 h 631"/>
                <a:gd name="T14" fmla="*/ 184 w 632"/>
                <a:gd name="T15" fmla="*/ 426 h 631"/>
                <a:gd name="T16" fmla="*/ 181 w 632"/>
                <a:gd name="T17" fmla="*/ 442 h 631"/>
                <a:gd name="T18" fmla="*/ 253 w 632"/>
                <a:gd name="T19" fmla="*/ 511 h 631"/>
                <a:gd name="T20" fmla="*/ 301 w 632"/>
                <a:gd name="T21" fmla="*/ 473 h 631"/>
                <a:gd name="T22" fmla="*/ 233 w 632"/>
                <a:gd name="T23" fmla="*/ 589 h 631"/>
                <a:gd name="T24" fmla="*/ 160 w 632"/>
                <a:gd name="T25" fmla="*/ 555 h 631"/>
                <a:gd name="T26" fmla="*/ 100 w 632"/>
                <a:gd name="T27" fmla="*/ 503 h 631"/>
                <a:gd name="T28" fmla="*/ 57 w 632"/>
                <a:gd name="T29" fmla="*/ 436 h 631"/>
                <a:gd name="T30" fmla="*/ 33 w 632"/>
                <a:gd name="T31" fmla="*/ 358 h 631"/>
                <a:gd name="T32" fmla="*/ 33 w 632"/>
                <a:gd name="T33" fmla="*/ 272 h 631"/>
                <a:gd name="T34" fmla="*/ 58 w 632"/>
                <a:gd name="T35" fmla="*/ 192 h 631"/>
                <a:gd name="T36" fmla="*/ 104 w 632"/>
                <a:gd name="T37" fmla="*/ 123 h 631"/>
                <a:gd name="T38" fmla="*/ 167 w 632"/>
                <a:gd name="T39" fmla="*/ 72 h 631"/>
                <a:gd name="T40" fmla="*/ 244 w 632"/>
                <a:gd name="T41" fmla="*/ 38 h 631"/>
                <a:gd name="T42" fmla="*/ 330 w 632"/>
                <a:gd name="T43" fmla="*/ 30 h 631"/>
                <a:gd name="T44" fmla="*/ 414 w 632"/>
                <a:gd name="T45" fmla="*/ 47 h 631"/>
                <a:gd name="T46" fmla="*/ 487 w 632"/>
                <a:gd name="T47" fmla="*/ 87 h 631"/>
                <a:gd name="T48" fmla="*/ 545 w 632"/>
                <a:gd name="T49" fmla="*/ 145 h 631"/>
                <a:gd name="T50" fmla="*/ 584 w 632"/>
                <a:gd name="T51" fmla="*/ 218 h 631"/>
                <a:gd name="T52" fmla="*/ 602 w 632"/>
                <a:gd name="T53" fmla="*/ 301 h 631"/>
                <a:gd name="T54" fmla="*/ 593 w 632"/>
                <a:gd name="T55" fmla="*/ 385 h 631"/>
                <a:gd name="T56" fmla="*/ 563 w 632"/>
                <a:gd name="T57" fmla="*/ 460 h 631"/>
                <a:gd name="T58" fmla="*/ 514 w 632"/>
                <a:gd name="T59" fmla="*/ 522 h 631"/>
                <a:gd name="T60" fmla="*/ 449 w 632"/>
                <a:gd name="T61" fmla="*/ 568 h 631"/>
                <a:gd name="T62" fmla="*/ 372 w 632"/>
                <a:gd name="T63" fmla="*/ 596 h 631"/>
                <a:gd name="T64" fmla="*/ 283 w 632"/>
                <a:gd name="T65" fmla="*/ 1 h 631"/>
                <a:gd name="T66" fmla="*/ 193 w 632"/>
                <a:gd name="T67" fmla="*/ 25 h 631"/>
                <a:gd name="T68" fmla="*/ 115 w 632"/>
                <a:gd name="T69" fmla="*/ 72 h 631"/>
                <a:gd name="T70" fmla="*/ 54 w 632"/>
                <a:gd name="T71" fmla="*/ 139 h 631"/>
                <a:gd name="T72" fmla="*/ 14 w 632"/>
                <a:gd name="T73" fmla="*/ 222 h 631"/>
                <a:gd name="T74" fmla="*/ 0 w 632"/>
                <a:gd name="T75" fmla="*/ 316 h 631"/>
                <a:gd name="T76" fmla="*/ 14 w 632"/>
                <a:gd name="T77" fmla="*/ 410 h 631"/>
                <a:gd name="T78" fmla="*/ 54 w 632"/>
                <a:gd name="T79" fmla="*/ 492 h 631"/>
                <a:gd name="T80" fmla="*/ 115 w 632"/>
                <a:gd name="T81" fmla="*/ 560 h 631"/>
                <a:gd name="T82" fmla="*/ 193 w 632"/>
                <a:gd name="T83" fmla="*/ 607 h 631"/>
                <a:gd name="T84" fmla="*/ 283 w 632"/>
                <a:gd name="T85" fmla="*/ 630 h 631"/>
                <a:gd name="T86" fmla="*/ 380 w 632"/>
                <a:gd name="T87" fmla="*/ 625 h 631"/>
                <a:gd name="T88" fmla="*/ 466 w 632"/>
                <a:gd name="T89" fmla="*/ 594 h 631"/>
                <a:gd name="T90" fmla="*/ 539 w 632"/>
                <a:gd name="T91" fmla="*/ 539 h 631"/>
                <a:gd name="T92" fmla="*/ 594 w 632"/>
                <a:gd name="T93" fmla="*/ 466 h 631"/>
                <a:gd name="T94" fmla="*/ 625 w 632"/>
                <a:gd name="T95" fmla="*/ 379 h 631"/>
                <a:gd name="T96" fmla="*/ 631 w 632"/>
                <a:gd name="T97" fmla="*/ 284 h 631"/>
                <a:gd name="T98" fmla="*/ 607 w 632"/>
                <a:gd name="T99" fmla="*/ 193 h 631"/>
                <a:gd name="T100" fmla="*/ 560 w 632"/>
                <a:gd name="T101" fmla="*/ 115 h 631"/>
                <a:gd name="T102" fmla="*/ 492 w 632"/>
                <a:gd name="T103" fmla="*/ 53 h 631"/>
                <a:gd name="T104" fmla="*/ 410 w 632"/>
                <a:gd name="T105" fmla="*/ 14 h 631"/>
                <a:gd name="T106" fmla="*/ 316 w 632"/>
                <a:gd name="T10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2" h="631">
                  <a:moveTo>
                    <a:pt x="331" y="601"/>
                  </a:moveTo>
                  <a:lnTo>
                    <a:pt x="331" y="473"/>
                  </a:lnTo>
                  <a:lnTo>
                    <a:pt x="366" y="507"/>
                  </a:lnTo>
                  <a:lnTo>
                    <a:pt x="368" y="509"/>
                  </a:lnTo>
                  <a:lnTo>
                    <a:pt x="370" y="510"/>
                  </a:lnTo>
                  <a:lnTo>
                    <a:pt x="373" y="511"/>
                  </a:lnTo>
                  <a:lnTo>
                    <a:pt x="376" y="511"/>
                  </a:lnTo>
                  <a:lnTo>
                    <a:pt x="379" y="511"/>
                  </a:lnTo>
                  <a:lnTo>
                    <a:pt x="382" y="510"/>
                  </a:lnTo>
                  <a:lnTo>
                    <a:pt x="384" y="509"/>
                  </a:lnTo>
                  <a:lnTo>
                    <a:pt x="387" y="507"/>
                  </a:lnTo>
                  <a:lnTo>
                    <a:pt x="447" y="447"/>
                  </a:lnTo>
                  <a:lnTo>
                    <a:pt x="449" y="445"/>
                  </a:lnTo>
                  <a:lnTo>
                    <a:pt x="450" y="442"/>
                  </a:lnTo>
                  <a:lnTo>
                    <a:pt x="451" y="440"/>
                  </a:lnTo>
                  <a:lnTo>
                    <a:pt x="451" y="436"/>
                  </a:lnTo>
                  <a:lnTo>
                    <a:pt x="451" y="433"/>
                  </a:lnTo>
                  <a:lnTo>
                    <a:pt x="450" y="431"/>
                  </a:lnTo>
                  <a:lnTo>
                    <a:pt x="449" y="428"/>
                  </a:lnTo>
                  <a:lnTo>
                    <a:pt x="447" y="426"/>
                  </a:lnTo>
                  <a:lnTo>
                    <a:pt x="445" y="423"/>
                  </a:lnTo>
                  <a:lnTo>
                    <a:pt x="442" y="422"/>
                  </a:lnTo>
                  <a:lnTo>
                    <a:pt x="440" y="421"/>
                  </a:lnTo>
                  <a:lnTo>
                    <a:pt x="436" y="421"/>
                  </a:lnTo>
                  <a:lnTo>
                    <a:pt x="433" y="421"/>
                  </a:lnTo>
                  <a:lnTo>
                    <a:pt x="431" y="422"/>
                  </a:lnTo>
                  <a:lnTo>
                    <a:pt x="428" y="423"/>
                  </a:lnTo>
                  <a:lnTo>
                    <a:pt x="426" y="426"/>
                  </a:lnTo>
                  <a:lnTo>
                    <a:pt x="376" y="475"/>
                  </a:lnTo>
                  <a:lnTo>
                    <a:pt x="327" y="426"/>
                  </a:lnTo>
                  <a:lnTo>
                    <a:pt x="324" y="423"/>
                  </a:lnTo>
                  <a:lnTo>
                    <a:pt x="322" y="422"/>
                  </a:lnTo>
                  <a:lnTo>
                    <a:pt x="318" y="421"/>
                  </a:lnTo>
                  <a:lnTo>
                    <a:pt x="316" y="421"/>
                  </a:lnTo>
                  <a:lnTo>
                    <a:pt x="313" y="421"/>
                  </a:lnTo>
                  <a:lnTo>
                    <a:pt x="310" y="422"/>
                  </a:lnTo>
                  <a:lnTo>
                    <a:pt x="308" y="423"/>
                  </a:lnTo>
                  <a:lnTo>
                    <a:pt x="306" y="426"/>
                  </a:lnTo>
                  <a:lnTo>
                    <a:pt x="255" y="475"/>
                  </a:lnTo>
                  <a:lnTo>
                    <a:pt x="206" y="426"/>
                  </a:lnTo>
                  <a:lnTo>
                    <a:pt x="204" y="423"/>
                  </a:lnTo>
                  <a:lnTo>
                    <a:pt x="202" y="422"/>
                  </a:lnTo>
                  <a:lnTo>
                    <a:pt x="198" y="421"/>
                  </a:lnTo>
                  <a:lnTo>
                    <a:pt x="195" y="421"/>
                  </a:lnTo>
                  <a:lnTo>
                    <a:pt x="193" y="421"/>
                  </a:lnTo>
                  <a:lnTo>
                    <a:pt x="190" y="422"/>
                  </a:lnTo>
                  <a:lnTo>
                    <a:pt x="188" y="423"/>
                  </a:lnTo>
                  <a:lnTo>
                    <a:pt x="184" y="426"/>
                  </a:lnTo>
                  <a:lnTo>
                    <a:pt x="183" y="428"/>
                  </a:lnTo>
                  <a:lnTo>
                    <a:pt x="181" y="431"/>
                  </a:lnTo>
                  <a:lnTo>
                    <a:pt x="180" y="433"/>
                  </a:lnTo>
                  <a:lnTo>
                    <a:pt x="180" y="436"/>
                  </a:lnTo>
                  <a:lnTo>
                    <a:pt x="180" y="440"/>
                  </a:lnTo>
                  <a:lnTo>
                    <a:pt x="181" y="442"/>
                  </a:lnTo>
                  <a:lnTo>
                    <a:pt x="183" y="445"/>
                  </a:lnTo>
                  <a:lnTo>
                    <a:pt x="184" y="447"/>
                  </a:lnTo>
                  <a:lnTo>
                    <a:pt x="244" y="507"/>
                  </a:lnTo>
                  <a:lnTo>
                    <a:pt x="248" y="509"/>
                  </a:lnTo>
                  <a:lnTo>
                    <a:pt x="250" y="510"/>
                  </a:lnTo>
                  <a:lnTo>
                    <a:pt x="253" y="511"/>
                  </a:lnTo>
                  <a:lnTo>
                    <a:pt x="255" y="511"/>
                  </a:lnTo>
                  <a:lnTo>
                    <a:pt x="258" y="511"/>
                  </a:lnTo>
                  <a:lnTo>
                    <a:pt x="262" y="510"/>
                  </a:lnTo>
                  <a:lnTo>
                    <a:pt x="264" y="509"/>
                  </a:lnTo>
                  <a:lnTo>
                    <a:pt x="266" y="507"/>
                  </a:lnTo>
                  <a:lnTo>
                    <a:pt x="301" y="473"/>
                  </a:lnTo>
                  <a:lnTo>
                    <a:pt x="301" y="601"/>
                  </a:lnTo>
                  <a:lnTo>
                    <a:pt x="286" y="600"/>
                  </a:lnTo>
                  <a:lnTo>
                    <a:pt x="273" y="598"/>
                  </a:lnTo>
                  <a:lnTo>
                    <a:pt x="259" y="596"/>
                  </a:lnTo>
                  <a:lnTo>
                    <a:pt x="246" y="593"/>
                  </a:lnTo>
                  <a:lnTo>
                    <a:pt x="233" y="589"/>
                  </a:lnTo>
                  <a:lnTo>
                    <a:pt x="220" y="584"/>
                  </a:lnTo>
                  <a:lnTo>
                    <a:pt x="207" y="580"/>
                  </a:lnTo>
                  <a:lnTo>
                    <a:pt x="195" y="575"/>
                  </a:lnTo>
                  <a:lnTo>
                    <a:pt x="183" y="568"/>
                  </a:lnTo>
                  <a:lnTo>
                    <a:pt x="172" y="562"/>
                  </a:lnTo>
                  <a:lnTo>
                    <a:pt x="160" y="555"/>
                  </a:lnTo>
                  <a:lnTo>
                    <a:pt x="149" y="548"/>
                  </a:lnTo>
                  <a:lnTo>
                    <a:pt x="138" y="539"/>
                  </a:lnTo>
                  <a:lnTo>
                    <a:pt x="128" y="531"/>
                  </a:lnTo>
                  <a:lnTo>
                    <a:pt x="118" y="522"/>
                  </a:lnTo>
                  <a:lnTo>
                    <a:pt x="109" y="512"/>
                  </a:lnTo>
                  <a:lnTo>
                    <a:pt x="100" y="503"/>
                  </a:lnTo>
                  <a:lnTo>
                    <a:pt x="91" y="492"/>
                  </a:lnTo>
                  <a:lnTo>
                    <a:pt x="84" y="482"/>
                  </a:lnTo>
                  <a:lnTo>
                    <a:pt x="76" y="471"/>
                  </a:lnTo>
                  <a:lnTo>
                    <a:pt x="69" y="460"/>
                  </a:lnTo>
                  <a:lnTo>
                    <a:pt x="62" y="448"/>
                  </a:lnTo>
                  <a:lnTo>
                    <a:pt x="57" y="436"/>
                  </a:lnTo>
                  <a:lnTo>
                    <a:pt x="51" y="423"/>
                  </a:lnTo>
                  <a:lnTo>
                    <a:pt x="46" y="411"/>
                  </a:lnTo>
                  <a:lnTo>
                    <a:pt x="42" y="398"/>
                  </a:lnTo>
                  <a:lnTo>
                    <a:pt x="39" y="385"/>
                  </a:lnTo>
                  <a:lnTo>
                    <a:pt x="35" y="372"/>
                  </a:lnTo>
                  <a:lnTo>
                    <a:pt x="33" y="358"/>
                  </a:lnTo>
                  <a:lnTo>
                    <a:pt x="31" y="344"/>
                  </a:lnTo>
                  <a:lnTo>
                    <a:pt x="30" y="330"/>
                  </a:lnTo>
                  <a:lnTo>
                    <a:pt x="30" y="316"/>
                  </a:lnTo>
                  <a:lnTo>
                    <a:pt x="30" y="301"/>
                  </a:lnTo>
                  <a:lnTo>
                    <a:pt x="31" y="286"/>
                  </a:lnTo>
                  <a:lnTo>
                    <a:pt x="33" y="272"/>
                  </a:lnTo>
                  <a:lnTo>
                    <a:pt x="35" y="258"/>
                  </a:lnTo>
                  <a:lnTo>
                    <a:pt x="39" y="244"/>
                  </a:lnTo>
                  <a:lnTo>
                    <a:pt x="43" y="230"/>
                  </a:lnTo>
                  <a:lnTo>
                    <a:pt x="47" y="218"/>
                  </a:lnTo>
                  <a:lnTo>
                    <a:pt x="52" y="205"/>
                  </a:lnTo>
                  <a:lnTo>
                    <a:pt x="58" y="192"/>
                  </a:lnTo>
                  <a:lnTo>
                    <a:pt x="64" y="180"/>
                  </a:lnTo>
                  <a:lnTo>
                    <a:pt x="72" y="167"/>
                  </a:lnTo>
                  <a:lnTo>
                    <a:pt x="78" y="156"/>
                  </a:lnTo>
                  <a:lnTo>
                    <a:pt x="87" y="145"/>
                  </a:lnTo>
                  <a:lnTo>
                    <a:pt x="95" y="134"/>
                  </a:lnTo>
                  <a:lnTo>
                    <a:pt x="104" y="123"/>
                  </a:lnTo>
                  <a:lnTo>
                    <a:pt x="114" y="114"/>
                  </a:lnTo>
                  <a:lnTo>
                    <a:pt x="123" y="104"/>
                  </a:lnTo>
                  <a:lnTo>
                    <a:pt x="134" y="95"/>
                  </a:lnTo>
                  <a:lnTo>
                    <a:pt x="145" y="87"/>
                  </a:lnTo>
                  <a:lnTo>
                    <a:pt x="157" y="79"/>
                  </a:lnTo>
                  <a:lnTo>
                    <a:pt x="167" y="72"/>
                  </a:lnTo>
                  <a:lnTo>
                    <a:pt x="180" y="64"/>
                  </a:lnTo>
                  <a:lnTo>
                    <a:pt x="192" y="58"/>
                  </a:lnTo>
                  <a:lnTo>
                    <a:pt x="205" y="52"/>
                  </a:lnTo>
                  <a:lnTo>
                    <a:pt x="218" y="47"/>
                  </a:lnTo>
                  <a:lnTo>
                    <a:pt x="231" y="43"/>
                  </a:lnTo>
                  <a:lnTo>
                    <a:pt x="244" y="38"/>
                  </a:lnTo>
                  <a:lnTo>
                    <a:pt x="258" y="35"/>
                  </a:lnTo>
                  <a:lnTo>
                    <a:pt x="272" y="33"/>
                  </a:lnTo>
                  <a:lnTo>
                    <a:pt x="286" y="31"/>
                  </a:lnTo>
                  <a:lnTo>
                    <a:pt x="301" y="30"/>
                  </a:lnTo>
                  <a:lnTo>
                    <a:pt x="316" y="30"/>
                  </a:lnTo>
                  <a:lnTo>
                    <a:pt x="330" y="30"/>
                  </a:lnTo>
                  <a:lnTo>
                    <a:pt x="345" y="31"/>
                  </a:lnTo>
                  <a:lnTo>
                    <a:pt x="359" y="33"/>
                  </a:lnTo>
                  <a:lnTo>
                    <a:pt x="373" y="35"/>
                  </a:lnTo>
                  <a:lnTo>
                    <a:pt x="387" y="38"/>
                  </a:lnTo>
                  <a:lnTo>
                    <a:pt x="401" y="43"/>
                  </a:lnTo>
                  <a:lnTo>
                    <a:pt x="414" y="47"/>
                  </a:lnTo>
                  <a:lnTo>
                    <a:pt x="427" y="52"/>
                  </a:lnTo>
                  <a:lnTo>
                    <a:pt x="440" y="58"/>
                  </a:lnTo>
                  <a:lnTo>
                    <a:pt x="453" y="64"/>
                  </a:lnTo>
                  <a:lnTo>
                    <a:pt x="464" y="72"/>
                  </a:lnTo>
                  <a:lnTo>
                    <a:pt x="476" y="79"/>
                  </a:lnTo>
                  <a:lnTo>
                    <a:pt x="487" y="87"/>
                  </a:lnTo>
                  <a:lnTo>
                    <a:pt x="498" y="95"/>
                  </a:lnTo>
                  <a:lnTo>
                    <a:pt x="508" y="104"/>
                  </a:lnTo>
                  <a:lnTo>
                    <a:pt x="518" y="114"/>
                  </a:lnTo>
                  <a:lnTo>
                    <a:pt x="528" y="123"/>
                  </a:lnTo>
                  <a:lnTo>
                    <a:pt x="536" y="134"/>
                  </a:lnTo>
                  <a:lnTo>
                    <a:pt x="545" y="145"/>
                  </a:lnTo>
                  <a:lnTo>
                    <a:pt x="553" y="156"/>
                  </a:lnTo>
                  <a:lnTo>
                    <a:pt x="561" y="167"/>
                  </a:lnTo>
                  <a:lnTo>
                    <a:pt x="567" y="180"/>
                  </a:lnTo>
                  <a:lnTo>
                    <a:pt x="574" y="192"/>
                  </a:lnTo>
                  <a:lnTo>
                    <a:pt x="579" y="205"/>
                  </a:lnTo>
                  <a:lnTo>
                    <a:pt x="584" y="218"/>
                  </a:lnTo>
                  <a:lnTo>
                    <a:pt x="589" y="230"/>
                  </a:lnTo>
                  <a:lnTo>
                    <a:pt x="593" y="244"/>
                  </a:lnTo>
                  <a:lnTo>
                    <a:pt x="596" y="258"/>
                  </a:lnTo>
                  <a:lnTo>
                    <a:pt x="598" y="272"/>
                  </a:lnTo>
                  <a:lnTo>
                    <a:pt x="601" y="286"/>
                  </a:lnTo>
                  <a:lnTo>
                    <a:pt x="602" y="301"/>
                  </a:lnTo>
                  <a:lnTo>
                    <a:pt x="602" y="316"/>
                  </a:lnTo>
                  <a:lnTo>
                    <a:pt x="602" y="330"/>
                  </a:lnTo>
                  <a:lnTo>
                    <a:pt x="601" y="344"/>
                  </a:lnTo>
                  <a:lnTo>
                    <a:pt x="598" y="358"/>
                  </a:lnTo>
                  <a:lnTo>
                    <a:pt x="596" y="372"/>
                  </a:lnTo>
                  <a:lnTo>
                    <a:pt x="593" y="385"/>
                  </a:lnTo>
                  <a:lnTo>
                    <a:pt x="590" y="398"/>
                  </a:lnTo>
                  <a:lnTo>
                    <a:pt x="586" y="411"/>
                  </a:lnTo>
                  <a:lnTo>
                    <a:pt x="581" y="423"/>
                  </a:lnTo>
                  <a:lnTo>
                    <a:pt x="575" y="436"/>
                  </a:lnTo>
                  <a:lnTo>
                    <a:pt x="569" y="448"/>
                  </a:lnTo>
                  <a:lnTo>
                    <a:pt x="563" y="460"/>
                  </a:lnTo>
                  <a:lnTo>
                    <a:pt x="555" y="471"/>
                  </a:lnTo>
                  <a:lnTo>
                    <a:pt x="548" y="482"/>
                  </a:lnTo>
                  <a:lnTo>
                    <a:pt x="540" y="492"/>
                  </a:lnTo>
                  <a:lnTo>
                    <a:pt x="532" y="503"/>
                  </a:lnTo>
                  <a:lnTo>
                    <a:pt x="523" y="512"/>
                  </a:lnTo>
                  <a:lnTo>
                    <a:pt x="514" y="522"/>
                  </a:lnTo>
                  <a:lnTo>
                    <a:pt x="504" y="531"/>
                  </a:lnTo>
                  <a:lnTo>
                    <a:pt x="493" y="539"/>
                  </a:lnTo>
                  <a:lnTo>
                    <a:pt x="483" y="548"/>
                  </a:lnTo>
                  <a:lnTo>
                    <a:pt x="472" y="555"/>
                  </a:lnTo>
                  <a:lnTo>
                    <a:pt x="460" y="562"/>
                  </a:lnTo>
                  <a:lnTo>
                    <a:pt x="449" y="568"/>
                  </a:lnTo>
                  <a:lnTo>
                    <a:pt x="436" y="575"/>
                  </a:lnTo>
                  <a:lnTo>
                    <a:pt x="425" y="580"/>
                  </a:lnTo>
                  <a:lnTo>
                    <a:pt x="412" y="584"/>
                  </a:lnTo>
                  <a:lnTo>
                    <a:pt x="399" y="589"/>
                  </a:lnTo>
                  <a:lnTo>
                    <a:pt x="386" y="593"/>
                  </a:lnTo>
                  <a:lnTo>
                    <a:pt x="372" y="596"/>
                  </a:lnTo>
                  <a:lnTo>
                    <a:pt x="359" y="598"/>
                  </a:lnTo>
                  <a:lnTo>
                    <a:pt x="345" y="600"/>
                  </a:lnTo>
                  <a:lnTo>
                    <a:pt x="331" y="601"/>
                  </a:lnTo>
                  <a:close/>
                  <a:moveTo>
                    <a:pt x="316" y="0"/>
                  </a:moveTo>
                  <a:lnTo>
                    <a:pt x="299" y="0"/>
                  </a:lnTo>
                  <a:lnTo>
                    <a:pt x="283" y="1"/>
                  </a:lnTo>
                  <a:lnTo>
                    <a:pt x="268" y="3"/>
                  </a:lnTo>
                  <a:lnTo>
                    <a:pt x="252" y="6"/>
                  </a:lnTo>
                  <a:lnTo>
                    <a:pt x="237" y="10"/>
                  </a:lnTo>
                  <a:lnTo>
                    <a:pt x="222" y="14"/>
                  </a:lnTo>
                  <a:lnTo>
                    <a:pt x="207" y="19"/>
                  </a:lnTo>
                  <a:lnTo>
                    <a:pt x="193" y="25"/>
                  </a:lnTo>
                  <a:lnTo>
                    <a:pt x="179" y="31"/>
                  </a:lnTo>
                  <a:lnTo>
                    <a:pt x="165" y="38"/>
                  </a:lnTo>
                  <a:lnTo>
                    <a:pt x="152" y="46"/>
                  </a:lnTo>
                  <a:lnTo>
                    <a:pt x="139" y="53"/>
                  </a:lnTo>
                  <a:lnTo>
                    <a:pt x="126" y="63"/>
                  </a:lnTo>
                  <a:lnTo>
                    <a:pt x="115" y="72"/>
                  </a:lnTo>
                  <a:lnTo>
                    <a:pt x="103" y="82"/>
                  </a:lnTo>
                  <a:lnTo>
                    <a:pt x="92" y="92"/>
                  </a:lnTo>
                  <a:lnTo>
                    <a:pt x="81" y="104"/>
                  </a:lnTo>
                  <a:lnTo>
                    <a:pt x="72" y="115"/>
                  </a:lnTo>
                  <a:lnTo>
                    <a:pt x="62" y="126"/>
                  </a:lnTo>
                  <a:lnTo>
                    <a:pt x="54" y="139"/>
                  </a:lnTo>
                  <a:lnTo>
                    <a:pt x="46" y="152"/>
                  </a:lnTo>
                  <a:lnTo>
                    <a:pt x="37" y="165"/>
                  </a:lnTo>
                  <a:lnTo>
                    <a:pt x="31" y="179"/>
                  </a:lnTo>
                  <a:lnTo>
                    <a:pt x="25" y="193"/>
                  </a:lnTo>
                  <a:lnTo>
                    <a:pt x="19" y="207"/>
                  </a:lnTo>
                  <a:lnTo>
                    <a:pt x="14" y="222"/>
                  </a:lnTo>
                  <a:lnTo>
                    <a:pt x="10" y="237"/>
                  </a:lnTo>
                  <a:lnTo>
                    <a:pt x="6" y="252"/>
                  </a:lnTo>
                  <a:lnTo>
                    <a:pt x="3" y="268"/>
                  </a:lnTo>
                  <a:lnTo>
                    <a:pt x="1" y="284"/>
                  </a:lnTo>
                  <a:lnTo>
                    <a:pt x="0" y="299"/>
                  </a:lnTo>
                  <a:lnTo>
                    <a:pt x="0" y="316"/>
                  </a:lnTo>
                  <a:lnTo>
                    <a:pt x="0" y="332"/>
                  </a:lnTo>
                  <a:lnTo>
                    <a:pt x="1" y="348"/>
                  </a:lnTo>
                  <a:lnTo>
                    <a:pt x="3" y="363"/>
                  </a:lnTo>
                  <a:lnTo>
                    <a:pt x="6" y="379"/>
                  </a:lnTo>
                  <a:lnTo>
                    <a:pt x="10" y="394"/>
                  </a:lnTo>
                  <a:lnTo>
                    <a:pt x="14" y="410"/>
                  </a:lnTo>
                  <a:lnTo>
                    <a:pt x="19" y="425"/>
                  </a:lnTo>
                  <a:lnTo>
                    <a:pt x="25" y="438"/>
                  </a:lnTo>
                  <a:lnTo>
                    <a:pt x="31" y="452"/>
                  </a:lnTo>
                  <a:lnTo>
                    <a:pt x="37" y="466"/>
                  </a:lnTo>
                  <a:lnTo>
                    <a:pt x="46" y="479"/>
                  </a:lnTo>
                  <a:lnTo>
                    <a:pt x="54" y="492"/>
                  </a:lnTo>
                  <a:lnTo>
                    <a:pt x="62" y="505"/>
                  </a:lnTo>
                  <a:lnTo>
                    <a:pt x="72" y="517"/>
                  </a:lnTo>
                  <a:lnTo>
                    <a:pt x="81" y="529"/>
                  </a:lnTo>
                  <a:lnTo>
                    <a:pt x="92" y="539"/>
                  </a:lnTo>
                  <a:lnTo>
                    <a:pt x="103" y="550"/>
                  </a:lnTo>
                  <a:lnTo>
                    <a:pt x="115" y="560"/>
                  </a:lnTo>
                  <a:lnTo>
                    <a:pt x="126" y="569"/>
                  </a:lnTo>
                  <a:lnTo>
                    <a:pt x="139" y="578"/>
                  </a:lnTo>
                  <a:lnTo>
                    <a:pt x="152" y="586"/>
                  </a:lnTo>
                  <a:lnTo>
                    <a:pt x="165" y="594"/>
                  </a:lnTo>
                  <a:lnTo>
                    <a:pt x="179" y="600"/>
                  </a:lnTo>
                  <a:lnTo>
                    <a:pt x="193" y="607"/>
                  </a:lnTo>
                  <a:lnTo>
                    <a:pt x="207" y="612"/>
                  </a:lnTo>
                  <a:lnTo>
                    <a:pt x="222" y="618"/>
                  </a:lnTo>
                  <a:lnTo>
                    <a:pt x="237" y="622"/>
                  </a:lnTo>
                  <a:lnTo>
                    <a:pt x="252" y="625"/>
                  </a:lnTo>
                  <a:lnTo>
                    <a:pt x="268" y="628"/>
                  </a:lnTo>
                  <a:lnTo>
                    <a:pt x="283" y="630"/>
                  </a:lnTo>
                  <a:lnTo>
                    <a:pt x="299" y="631"/>
                  </a:lnTo>
                  <a:lnTo>
                    <a:pt x="316" y="631"/>
                  </a:lnTo>
                  <a:lnTo>
                    <a:pt x="332" y="631"/>
                  </a:lnTo>
                  <a:lnTo>
                    <a:pt x="348" y="630"/>
                  </a:lnTo>
                  <a:lnTo>
                    <a:pt x="364" y="628"/>
                  </a:lnTo>
                  <a:lnTo>
                    <a:pt x="380" y="625"/>
                  </a:lnTo>
                  <a:lnTo>
                    <a:pt x="395" y="622"/>
                  </a:lnTo>
                  <a:lnTo>
                    <a:pt x="410" y="618"/>
                  </a:lnTo>
                  <a:lnTo>
                    <a:pt x="425" y="612"/>
                  </a:lnTo>
                  <a:lnTo>
                    <a:pt x="439" y="607"/>
                  </a:lnTo>
                  <a:lnTo>
                    <a:pt x="453" y="600"/>
                  </a:lnTo>
                  <a:lnTo>
                    <a:pt x="466" y="594"/>
                  </a:lnTo>
                  <a:lnTo>
                    <a:pt x="479" y="586"/>
                  </a:lnTo>
                  <a:lnTo>
                    <a:pt x="492" y="578"/>
                  </a:lnTo>
                  <a:lnTo>
                    <a:pt x="505" y="569"/>
                  </a:lnTo>
                  <a:lnTo>
                    <a:pt x="517" y="560"/>
                  </a:lnTo>
                  <a:lnTo>
                    <a:pt x="529" y="550"/>
                  </a:lnTo>
                  <a:lnTo>
                    <a:pt x="539" y="539"/>
                  </a:lnTo>
                  <a:lnTo>
                    <a:pt x="550" y="529"/>
                  </a:lnTo>
                  <a:lnTo>
                    <a:pt x="560" y="517"/>
                  </a:lnTo>
                  <a:lnTo>
                    <a:pt x="569" y="505"/>
                  </a:lnTo>
                  <a:lnTo>
                    <a:pt x="578" y="492"/>
                  </a:lnTo>
                  <a:lnTo>
                    <a:pt x="587" y="479"/>
                  </a:lnTo>
                  <a:lnTo>
                    <a:pt x="594" y="466"/>
                  </a:lnTo>
                  <a:lnTo>
                    <a:pt x="601" y="452"/>
                  </a:lnTo>
                  <a:lnTo>
                    <a:pt x="607" y="438"/>
                  </a:lnTo>
                  <a:lnTo>
                    <a:pt x="612" y="425"/>
                  </a:lnTo>
                  <a:lnTo>
                    <a:pt x="618" y="410"/>
                  </a:lnTo>
                  <a:lnTo>
                    <a:pt x="622" y="394"/>
                  </a:lnTo>
                  <a:lnTo>
                    <a:pt x="625" y="379"/>
                  </a:lnTo>
                  <a:lnTo>
                    <a:pt x="628" y="363"/>
                  </a:lnTo>
                  <a:lnTo>
                    <a:pt x="631" y="348"/>
                  </a:lnTo>
                  <a:lnTo>
                    <a:pt x="632" y="332"/>
                  </a:lnTo>
                  <a:lnTo>
                    <a:pt x="632" y="316"/>
                  </a:lnTo>
                  <a:lnTo>
                    <a:pt x="632" y="299"/>
                  </a:lnTo>
                  <a:lnTo>
                    <a:pt x="631" y="284"/>
                  </a:lnTo>
                  <a:lnTo>
                    <a:pt x="628" y="268"/>
                  </a:lnTo>
                  <a:lnTo>
                    <a:pt x="625" y="252"/>
                  </a:lnTo>
                  <a:lnTo>
                    <a:pt x="622" y="237"/>
                  </a:lnTo>
                  <a:lnTo>
                    <a:pt x="618" y="222"/>
                  </a:lnTo>
                  <a:lnTo>
                    <a:pt x="612" y="207"/>
                  </a:lnTo>
                  <a:lnTo>
                    <a:pt x="607" y="193"/>
                  </a:lnTo>
                  <a:lnTo>
                    <a:pt x="601" y="179"/>
                  </a:lnTo>
                  <a:lnTo>
                    <a:pt x="594" y="165"/>
                  </a:lnTo>
                  <a:lnTo>
                    <a:pt x="587" y="152"/>
                  </a:lnTo>
                  <a:lnTo>
                    <a:pt x="578" y="139"/>
                  </a:lnTo>
                  <a:lnTo>
                    <a:pt x="569" y="126"/>
                  </a:lnTo>
                  <a:lnTo>
                    <a:pt x="560" y="115"/>
                  </a:lnTo>
                  <a:lnTo>
                    <a:pt x="550" y="104"/>
                  </a:lnTo>
                  <a:lnTo>
                    <a:pt x="539" y="92"/>
                  </a:lnTo>
                  <a:lnTo>
                    <a:pt x="529" y="82"/>
                  </a:lnTo>
                  <a:lnTo>
                    <a:pt x="517" y="72"/>
                  </a:lnTo>
                  <a:lnTo>
                    <a:pt x="505" y="63"/>
                  </a:lnTo>
                  <a:lnTo>
                    <a:pt x="492" y="53"/>
                  </a:lnTo>
                  <a:lnTo>
                    <a:pt x="479" y="46"/>
                  </a:lnTo>
                  <a:lnTo>
                    <a:pt x="466" y="38"/>
                  </a:lnTo>
                  <a:lnTo>
                    <a:pt x="453" y="31"/>
                  </a:lnTo>
                  <a:lnTo>
                    <a:pt x="439" y="25"/>
                  </a:lnTo>
                  <a:lnTo>
                    <a:pt x="425" y="19"/>
                  </a:lnTo>
                  <a:lnTo>
                    <a:pt x="410" y="14"/>
                  </a:lnTo>
                  <a:lnTo>
                    <a:pt x="395" y="10"/>
                  </a:lnTo>
                  <a:lnTo>
                    <a:pt x="380" y="6"/>
                  </a:lnTo>
                  <a:lnTo>
                    <a:pt x="364" y="3"/>
                  </a:lnTo>
                  <a:lnTo>
                    <a:pt x="348" y="1"/>
                  </a:lnTo>
                  <a:lnTo>
                    <a:pt x="332" y="0"/>
                  </a:lnTo>
                  <a:lnTo>
                    <a:pt x="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04">
              <a:extLst>
                <a:ext uri="{FF2B5EF4-FFF2-40B4-BE49-F238E27FC236}">
                  <a16:creationId xmlns:a16="http://schemas.microsoft.com/office/drawing/2014/main" id="{272099AA-B974-41D2-8B11-022A246EE819}"/>
                </a:ext>
              </a:extLst>
            </p:cNvPr>
            <p:cNvSpPr>
              <a:spLocks/>
            </p:cNvSpPr>
            <p:nvPr/>
          </p:nvSpPr>
          <p:spPr bwMode="auto">
            <a:xfrm>
              <a:off x="10567988" y="2449513"/>
              <a:ext cx="66675" cy="9525"/>
            </a:xfrm>
            <a:custGeom>
              <a:avLst/>
              <a:gdLst>
                <a:gd name="T0" fmla="*/ 196 w 211"/>
                <a:gd name="T1" fmla="*/ 0 h 31"/>
                <a:gd name="T2" fmla="*/ 15 w 211"/>
                <a:gd name="T3" fmla="*/ 0 h 31"/>
                <a:gd name="T4" fmla="*/ 13 w 211"/>
                <a:gd name="T5" fmla="*/ 1 h 31"/>
                <a:gd name="T6" fmla="*/ 10 w 211"/>
                <a:gd name="T7" fmla="*/ 2 h 31"/>
                <a:gd name="T8" fmla="*/ 8 w 211"/>
                <a:gd name="T9" fmla="*/ 3 h 31"/>
                <a:gd name="T10" fmla="*/ 4 w 211"/>
                <a:gd name="T11" fmla="*/ 5 h 31"/>
                <a:gd name="T12" fmla="*/ 3 w 211"/>
                <a:gd name="T13" fmla="*/ 7 h 31"/>
                <a:gd name="T14" fmla="*/ 1 w 211"/>
                <a:gd name="T15" fmla="*/ 9 h 31"/>
                <a:gd name="T16" fmla="*/ 1 w 211"/>
                <a:gd name="T17" fmla="*/ 12 h 31"/>
                <a:gd name="T18" fmla="*/ 0 w 211"/>
                <a:gd name="T19" fmla="*/ 16 h 31"/>
                <a:gd name="T20" fmla="*/ 1 w 211"/>
                <a:gd name="T21" fmla="*/ 18 h 31"/>
                <a:gd name="T22" fmla="*/ 1 w 211"/>
                <a:gd name="T23" fmla="*/ 21 h 31"/>
                <a:gd name="T24" fmla="*/ 3 w 211"/>
                <a:gd name="T25" fmla="*/ 23 h 31"/>
                <a:gd name="T26" fmla="*/ 4 w 211"/>
                <a:gd name="T27" fmla="*/ 25 h 31"/>
                <a:gd name="T28" fmla="*/ 8 w 211"/>
                <a:gd name="T29" fmla="*/ 27 h 31"/>
                <a:gd name="T30" fmla="*/ 10 w 211"/>
                <a:gd name="T31" fmla="*/ 28 h 31"/>
                <a:gd name="T32" fmla="*/ 13 w 211"/>
                <a:gd name="T33" fmla="*/ 30 h 31"/>
                <a:gd name="T34" fmla="*/ 15 w 211"/>
                <a:gd name="T35" fmla="*/ 31 h 31"/>
                <a:gd name="T36" fmla="*/ 196 w 211"/>
                <a:gd name="T37" fmla="*/ 31 h 31"/>
                <a:gd name="T38" fmla="*/ 200 w 211"/>
                <a:gd name="T39" fmla="*/ 30 h 31"/>
                <a:gd name="T40" fmla="*/ 202 w 211"/>
                <a:gd name="T41" fmla="*/ 28 h 31"/>
                <a:gd name="T42" fmla="*/ 205 w 211"/>
                <a:gd name="T43" fmla="*/ 27 h 31"/>
                <a:gd name="T44" fmla="*/ 207 w 211"/>
                <a:gd name="T45" fmla="*/ 25 h 31"/>
                <a:gd name="T46" fmla="*/ 208 w 211"/>
                <a:gd name="T47" fmla="*/ 23 h 31"/>
                <a:gd name="T48" fmla="*/ 210 w 211"/>
                <a:gd name="T49" fmla="*/ 21 h 31"/>
                <a:gd name="T50" fmla="*/ 211 w 211"/>
                <a:gd name="T51" fmla="*/ 18 h 31"/>
                <a:gd name="T52" fmla="*/ 211 w 211"/>
                <a:gd name="T53" fmla="*/ 16 h 31"/>
                <a:gd name="T54" fmla="*/ 211 w 211"/>
                <a:gd name="T55" fmla="*/ 12 h 31"/>
                <a:gd name="T56" fmla="*/ 210 w 211"/>
                <a:gd name="T57" fmla="*/ 9 h 31"/>
                <a:gd name="T58" fmla="*/ 208 w 211"/>
                <a:gd name="T59" fmla="*/ 7 h 31"/>
                <a:gd name="T60" fmla="*/ 207 w 211"/>
                <a:gd name="T61" fmla="*/ 5 h 31"/>
                <a:gd name="T62" fmla="*/ 205 w 211"/>
                <a:gd name="T63" fmla="*/ 3 h 31"/>
                <a:gd name="T64" fmla="*/ 202 w 211"/>
                <a:gd name="T65" fmla="*/ 2 h 31"/>
                <a:gd name="T66" fmla="*/ 200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3" y="1"/>
                  </a:lnTo>
                  <a:lnTo>
                    <a:pt x="10" y="2"/>
                  </a:lnTo>
                  <a:lnTo>
                    <a:pt x="8" y="3"/>
                  </a:lnTo>
                  <a:lnTo>
                    <a:pt x="4" y="5"/>
                  </a:lnTo>
                  <a:lnTo>
                    <a:pt x="3" y="7"/>
                  </a:lnTo>
                  <a:lnTo>
                    <a:pt x="1" y="9"/>
                  </a:lnTo>
                  <a:lnTo>
                    <a:pt x="1" y="12"/>
                  </a:lnTo>
                  <a:lnTo>
                    <a:pt x="0" y="16"/>
                  </a:lnTo>
                  <a:lnTo>
                    <a:pt x="1" y="18"/>
                  </a:lnTo>
                  <a:lnTo>
                    <a:pt x="1" y="21"/>
                  </a:lnTo>
                  <a:lnTo>
                    <a:pt x="3" y="23"/>
                  </a:lnTo>
                  <a:lnTo>
                    <a:pt x="4" y="25"/>
                  </a:lnTo>
                  <a:lnTo>
                    <a:pt x="8" y="27"/>
                  </a:lnTo>
                  <a:lnTo>
                    <a:pt x="10" y="28"/>
                  </a:lnTo>
                  <a:lnTo>
                    <a:pt x="13" y="30"/>
                  </a:lnTo>
                  <a:lnTo>
                    <a:pt x="15" y="31"/>
                  </a:lnTo>
                  <a:lnTo>
                    <a:pt x="196" y="31"/>
                  </a:lnTo>
                  <a:lnTo>
                    <a:pt x="200" y="30"/>
                  </a:lnTo>
                  <a:lnTo>
                    <a:pt x="202" y="28"/>
                  </a:lnTo>
                  <a:lnTo>
                    <a:pt x="205" y="27"/>
                  </a:lnTo>
                  <a:lnTo>
                    <a:pt x="207" y="25"/>
                  </a:lnTo>
                  <a:lnTo>
                    <a:pt x="208" y="23"/>
                  </a:lnTo>
                  <a:lnTo>
                    <a:pt x="210" y="21"/>
                  </a:lnTo>
                  <a:lnTo>
                    <a:pt x="211" y="18"/>
                  </a:lnTo>
                  <a:lnTo>
                    <a:pt x="211" y="16"/>
                  </a:lnTo>
                  <a:lnTo>
                    <a:pt x="211" y="12"/>
                  </a:lnTo>
                  <a:lnTo>
                    <a:pt x="210" y="9"/>
                  </a:lnTo>
                  <a:lnTo>
                    <a:pt x="208" y="7"/>
                  </a:lnTo>
                  <a:lnTo>
                    <a:pt x="207" y="5"/>
                  </a:lnTo>
                  <a:lnTo>
                    <a:pt x="205" y="3"/>
                  </a:lnTo>
                  <a:lnTo>
                    <a:pt x="202" y="2"/>
                  </a:lnTo>
                  <a:lnTo>
                    <a:pt x="200"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05">
              <a:extLst>
                <a:ext uri="{FF2B5EF4-FFF2-40B4-BE49-F238E27FC236}">
                  <a16:creationId xmlns:a16="http://schemas.microsoft.com/office/drawing/2014/main" id="{6AB3D108-839D-49EF-B8F7-8E80287AD289}"/>
                </a:ext>
              </a:extLst>
            </p:cNvPr>
            <p:cNvSpPr>
              <a:spLocks/>
            </p:cNvSpPr>
            <p:nvPr/>
          </p:nvSpPr>
          <p:spPr bwMode="auto">
            <a:xfrm>
              <a:off x="10567988" y="2468563"/>
              <a:ext cx="66675" cy="9525"/>
            </a:xfrm>
            <a:custGeom>
              <a:avLst/>
              <a:gdLst>
                <a:gd name="T0" fmla="*/ 196 w 211"/>
                <a:gd name="T1" fmla="*/ 0 h 30"/>
                <a:gd name="T2" fmla="*/ 15 w 211"/>
                <a:gd name="T3" fmla="*/ 0 h 30"/>
                <a:gd name="T4" fmla="*/ 13 w 211"/>
                <a:gd name="T5" fmla="*/ 0 h 30"/>
                <a:gd name="T6" fmla="*/ 10 w 211"/>
                <a:gd name="T7" fmla="*/ 1 h 30"/>
                <a:gd name="T8" fmla="*/ 8 w 211"/>
                <a:gd name="T9" fmla="*/ 2 h 30"/>
                <a:gd name="T10" fmla="*/ 4 w 211"/>
                <a:gd name="T11" fmla="*/ 4 h 30"/>
                <a:gd name="T12" fmla="*/ 3 w 211"/>
                <a:gd name="T13" fmla="*/ 6 h 30"/>
                <a:gd name="T14" fmla="*/ 1 w 211"/>
                <a:gd name="T15" fmla="*/ 8 h 30"/>
                <a:gd name="T16" fmla="*/ 1 w 211"/>
                <a:gd name="T17" fmla="*/ 11 h 30"/>
                <a:gd name="T18" fmla="*/ 0 w 211"/>
                <a:gd name="T19" fmla="*/ 15 h 30"/>
                <a:gd name="T20" fmla="*/ 1 w 211"/>
                <a:gd name="T21" fmla="*/ 17 h 30"/>
                <a:gd name="T22" fmla="*/ 1 w 211"/>
                <a:gd name="T23" fmla="*/ 20 h 30"/>
                <a:gd name="T24" fmla="*/ 3 w 211"/>
                <a:gd name="T25" fmla="*/ 22 h 30"/>
                <a:gd name="T26" fmla="*/ 4 w 211"/>
                <a:gd name="T27" fmla="*/ 25 h 30"/>
                <a:gd name="T28" fmla="*/ 8 w 211"/>
                <a:gd name="T29" fmla="*/ 26 h 30"/>
                <a:gd name="T30" fmla="*/ 10 w 211"/>
                <a:gd name="T31" fmla="*/ 29 h 30"/>
                <a:gd name="T32" fmla="*/ 13 w 211"/>
                <a:gd name="T33" fmla="*/ 29 h 30"/>
                <a:gd name="T34" fmla="*/ 15 w 211"/>
                <a:gd name="T35" fmla="*/ 30 h 30"/>
                <a:gd name="T36" fmla="*/ 196 w 211"/>
                <a:gd name="T37" fmla="*/ 30 h 30"/>
                <a:gd name="T38" fmla="*/ 200 w 211"/>
                <a:gd name="T39" fmla="*/ 29 h 30"/>
                <a:gd name="T40" fmla="*/ 202 w 211"/>
                <a:gd name="T41" fmla="*/ 29 h 30"/>
                <a:gd name="T42" fmla="*/ 205 w 211"/>
                <a:gd name="T43" fmla="*/ 26 h 30"/>
                <a:gd name="T44" fmla="*/ 207 w 211"/>
                <a:gd name="T45" fmla="*/ 25 h 30"/>
                <a:gd name="T46" fmla="*/ 208 w 211"/>
                <a:gd name="T47" fmla="*/ 22 h 30"/>
                <a:gd name="T48" fmla="*/ 210 w 211"/>
                <a:gd name="T49" fmla="*/ 20 h 30"/>
                <a:gd name="T50" fmla="*/ 211 w 211"/>
                <a:gd name="T51" fmla="*/ 17 h 30"/>
                <a:gd name="T52" fmla="*/ 211 w 211"/>
                <a:gd name="T53" fmla="*/ 15 h 30"/>
                <a:gd name="T54" fmla="*/ 211 w 211"/>
                <a:gd name="T55" fmla="*/ 11 h 30"/>
                <a:gd name="T56" fmla="*/ 210 w 211"/>
                <a:gd name="T57" fmla="*/ 8 h 30"/>
                <a:gd name="T58" fmla="*/ 208 w 211"/>
                <a:gd name="T59" fmla="*/ 6 h 30"/>
                <a:gd name="T60" fmla="*/ 207 w 211"/>
                <a:gd name="T61" fmla="*/ 4 h 30"/>
                <a:gd name="T62" fmla="*/ 205 w 211"/>
                <a:gd name="T63" fmla="*/ 2 h 30"/>
                <a:gd name="T64" fmla="*/ 202 w 211"/>
                <a:gd name="T65" fmla="*/ 1 h 30"/>
                <a:gd name="T66" fmla="*/ 200 w 211"/>
                <a:gd name="T67" fmla="*/ 0 h 30"/>
                <a:gd name="T68" fmla="*/ 196 w 21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0">
                  <a:moveTo>
                    <a:pt x="196" y="0"/>
                  </a:moveTo>
                  <a:lnTo>
                    <a:pt x="15" y="0"/>
                  </a:lnTo>
                  <a:lnTo>
                    <a:pt x="13" y="0"/>
                  </a:lnTo>
                  <a:lnTo>
                    <a:pt x="10" y="1"/>
                  </a:lnTo>
                  <a:lnTo>
                    <a:pt x="8" y="2"/>
                  </a:lnTo>
                  <a:lnTo>
                    <a:pt x="4" y="4"/>
                  </a:lnTo>
                  <a:lnTo>
                    <a:pt x="3" y="6"/>
                  </a:lnTo>
                  <a:lnTo>
                    <a:pt x="1" y="8"/>
                  </a:lnTo>
                  <a:lnTo>
                    <a:pt x="1" y="11"/>
                  </a:lnTo>
                  <a:lnTo>
                    <a:pt x="0" y="15"/>
                  </a:lnTo>
                  <a:lnTo>
                    <a:pt x="1" y="17"/>
                  </a:lnTo>
                  <a:lnTo>
                    <a:pt x="1" y="20"/>
                  </a:lnTo>
                  <a:lnTo>
                    <a:pt x="3" y="22"/>
                  </a:lnTo>
                  <a:lnTo>
                    <a:pt x="4" y="25"/>
                  </a:lnTo>
                  <a:lnTo>
                    <a:pt x="8" y="26"/>
                  </a:lnTo>
                  <a:lnTo>
                    <a:pt x="10" y="29"/>
                  </a:lnTo>
                  <a:lnTo>
                    <a:pt x="13" y="29"/>
                  </a:lnTo>
                  <a:lnTo>
                    <a:pt x="15" y="30"/>
                  </a:lnTo>
                  <a:lnTo>
                    <a:pt x="196" y="30"/>
                  </a:lnTo>
                  <a:lnTo>
                    <a:pt x="200" y="29"/>
                  </a:lnTo>
                  <a:lnTo>
                    <a:pt x="202" y="29"/>
                  </a:lnTo>
                  <a:lnTo>
                    <a:pt x="205" y="26"/>
                  </a:lnTo>
                  <a:lnTo>
                    <a:pt x="207" y="25"/>
                  </a:lnTo>
                  <a:lnTo>
                    <a:pt x="208" y="22"/>
                  </a:lnTo>
                  <a:lnTo>
                    <a:pt x="210" y="20"/>
                  </a:lnTo>
                  <a:lnTo>
                    <a:pt x="211" y="17"/>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06">
              <a:extLst>
                <a:ext uri="{FF2B5EF4-FFF2-40B4-BE49-F238E27FC236}">
                  <a16:creationId xmlns:a16="http://schemas.microsoft.com/office/drawing/2014/main" id="{4C312FAE-9085-4546-B360-8470FA40B158}"/>
                </a:ext>
              </a:extLst>
            </p:cNvPr>
            <p:cNvSpPr>
              <a:spLocks/>
            </p:cNvSpPr>
            <p:nvPr/>
          </p:nvSpPr>
          <p:spPr bwMode="auto">
            <a:xfrm>
              <a:off x="10567988" y="2487613"/>
              <a:ext cx="66675" cy="28575"/>
            </a:xfrm>
            <a:custGeom>
              <a:avLst/>
              <a:gdLst>
                <a:gd name="T0" fmla="*/ 196 w 211"/>
                <a:gd name="T1" fmla="*/ 0 h 90"/>
                <a:gd name="T2" fmla="*/ 15 w 211"/>
                <a:gd name="T3" fmla="*/ 0 h 90"/>
                <a:gd name="T4" fmla="*/ 13 w 211"/>
                <a:gd name="T5" fmla="*/ 0 h 90"/>
                <a:gd name="T6" fmla="*/ 10 w 211"/>
                <a:gd name="T7" fmla="*/ 1 h 90"/>
                <a:gd name="T8" fmla="*/ 8 w 211"/>
                <a:gd name="T9" fmla="*/ 2 h 90"/>
                <a:gd name="T10" fmla="*/ 4 w 211"/>
                <a:gd name="T11" fmla="*/ 4 h 90"/>
                <a:gd name="T12" fmla="*/ 3 w 211"/>
                <a:gd name="T13" fmla="*/ 6 h 90"/>
                <a:gd name="T14" fmla="*/ 1 w 211"/>
                <a:gd name="T15" fmla="*/ 8 h 90"/>
                <a:gd name="T16" fmla="*/ 1 w 211"/>
                <a:gd name="T17" fmla="*/ 11 h 90"/>
                <a:gd name="T18" fmla="*/ 0 w 211"/>
                <a:gd name="T19" fmla="*/ 15 h 90"/>
                <a:gd name="T20" fmla="*/ 1 w 211"/>
                <a:gd name="T21" fmla="*/ 18 h 90"/>
                <a:gd name="T22" fmla="*/ 1 w 211"/>
                <a:gd name="T23" fmla="*/ 20 h 90"/>
                <a:gd name="T24" fmla="*/ 3 w 211"/>
                <a:gd name="T25" fmla="*/ 23 h 90"/>
                <a:gd name="T26" fmla="*/ 4 w 211"/>
                <a:gd name="T27" fmla="*/ 25 h 90"/>
                <a:gd name="T28" fmla="*/ 8 w 211"/>
                <a:gd name="T29" fmla="*/ 27 h 90"/>
                <a:gd name="T30" fmla="*/ 10 w 211"/>
                <a:gd name="T31" fmla="*/ 29 h 90"/>
                <a:gd name="T32" fmla="*/ 13 w 211"/>
                <a:gd name="T33" fmla="*/ 30 h 90"/>
                <a:gd name="T34" fmla="*/ 15 w 211"/>
                <a:gd name="T35" fmla="*/ 30 h 90"/>
                <a:gd name="T36" fmla="*/ 91 w 211"/>
                <a:gd name="T37" fmla="*/ 30 h 90"/>
                <a:gd name="T38" fmla="*/ 91 w 211"/>
                <a:gd name="T39" fmla="*/ 75 h 90"/>
                <a:gd name="T40" fmla="*/ 91 w 211"/>
                <a:gd name="T41" fmla="*/ 78 h 90"/>
                <a:gd name="T42" fmla="*/ 92 w 211"/>
                <a:gd name="T43" fmla="*/ 80 h 90"/>
                <a:gd name="T44" fmla="*/ 93 w 211"/>
                <a:gd name="T45" fmla="*/ 83 h 90"/>
                <a:gd name="T46" fmla="*/ 96 w 211"/>
                <a:gd name="T47" fmla="*/ 85 h 90"/>
                <a:gd name="T48" fmla="*/ 98 w 211"/>
                <a:gd name="T49" fmla="*/ 88 h 90"/>
                <a:gd name="T50" fmla="*/ 100 w 211"/>
                <a:gd name="T51" fmla="*/ 89 h 90"/>
                <a:gd name="T52" fmla="*/ 103 w 211"/>
                <a:gd name="T53" fmla="*/ 90 h 90"/>
                <a:gd name="T54" fmla="*/ 106 w 211"/>
                <a:gd name="T55" fmla="*/ 90 h 90"/>
                <a:gd name="T56" fmla="*/ 108 w 211"/>
                <a:gd name="T57" fmla="*/ 90 h 90"/>
                <a:gd name="T58" fmla="*/ 112 w 211"/>
                <a:gd name="T59" fmla="*/ 89 h 90"/>
                <a:gd name="T60" fmla="*/ 114 w 211"/>
                <a:gd name="T61" fmla="*/ 88 h 90"/>
                <a:gd name="T62" fmla="*/ 116 w 211"/>
                <a:gd name="T63" fmla="*/ 85 h 90"/>
                <a:gd name="T64" fmla="*/ 118 w 211"/>
                <a:gd name="T65" fmla="*/ 83 h 90"/>
                <a:gd name="T66" fmla="*/ 119 w 211"/>
                <a:gd name="T67" fmla="*/ 80 h 90"/>
                <a:gd name="T68" fmla="*/ 120 w 211"/>
                <a:gd name="T69" fmla="*/ 78 h 90"/>
                <a:gd name="T70" fmla="*/ 121 w 211"/>
                <a:gd name="T71" fmla="*/ 75 h 90"/>
                <a:gd name="T72" fmla="*/ 121 w 211"/>
                <a:gd name="T73" fmla="*/ 30 h 90"/>
                <a:gd name="T74" fmla="*/ 196 w 211"/>
                <a:gd name="T75" fmla="*/ 30 h 90"/>
                <a:gd name="T76" fmla="*/ 200 w 211"/>
                <a:gd name="T77" fmla="*/ 30 h 90"/>
                <a:gd name="T78" fmla="*/ 202 w 211"/>
                <a:gd name="T79" fmla="*/ 29 h 90"/>
                <a:gd name="T80" fmla="*/ 205 w 211"/>
                <a:gd name="T81" fmla="*/ 27 h 90"/>
                <a:gd name="T82" fmla="*/ 207 w 211"/>
                <a:gd name="T83" fmla="*/ 25 h 90"/>
                <a:gd name="T84" fmla="*/ 208 w 211"/>
                <a:gd name="T85" fmla="*/ 23 h 90"/>
                <a:gd name="T86" fmla="*/ 210 w 211"/>
                <a:gd name="T87" fmla="*/ 20 h 90"/>
                <a:gd name="T88" fmla="*/ 211 w 211"/>
                <a:gd name="T89" fmla="*/ 18 h 90"/>
                <a:gd name="T90" fmla="*/ 211 w 211"/>
                <a:gd name="T91" fmla="*/ 15 h 90"/>
                <a:gd name="T92" fmla="*/ 211 w 211"/>
                <a:gd name="T93" fmla="*/ 11 h 90"/>
                <a:gd name="T94" fmla="*/ 210 w 211"/>
                <a:gd name="T95" fmla="*/ 8 h 90"/>
                <a:gd name="T96" fmla="*/ 208 w 211"/>
                <a:gd name="T97" fmla="*/ 6 h 90"/>
                <a:gd name="T98" fmla="*/ 207 w 211"/>
                <a:gd name="T99" fmla="*/ 4 h 90"/>
                <a:gd name="T100" fmla="*/ 205 w 211"/>
                <a:gd name="T101" fmla="*/ 2 h 90"/>
                <a:gd name="T102" fmla="*/ 202 w 211"/>
                <a:gd name="T103" fmla="*/ 1 h 90"/>
                <a:gd name="T104" fmla="*/ 200 w 211"/>
                <a:gd name="T105" fmla="*/ 0 h 90"/>
                <a:gd name="T106" fmla="*/ 196 w 211"/>
                <a:gd name="T10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1" h="90">
                  <a:moveTo>
                    <a:pt x="196" y="0"/>
                  </a:move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91" y="30"/>
                  </a:lnTo>
                  <a:lnTo>
                    <a:pt x="91" y="75"/>
                  </a:lnTo>
                  <a:lnTo>
                    <a:pt x="91" y="78"/>
                  </a:lnTo>
                  <a:lnTo>
                    <a:pt x="92" y="80"/>
                  </a:lnTo>
                  <a:lnTo>
                    <a:pt x="93" y="83"/>
                  </a:lnTo>
                  <a:lnTo>
                    <a:pt x="96" y="85"/>
                  </a:lnTo>
                  <a:lnTo>
                    <a:pt x="98" y="88"/>
                  </a:lnTo>
                  <a:lnTo>
                    <a:pt x="100" y="89"/>
                  </a:lnTo>
                  <a:lnTo>
                    <a:pt x="103" y="90"/>
                  </a:lnTo>
                  <a:lnTo>
                    <a:pt x="106" y="90"/>
                  </a:lnTo>
                  <a:lnTo>
                    <a:pt x="108" y="90"/>
                  </a:lnTo>
                  <a:lnTo>
                    <a:pt x="112" y="89"/>
                  </a:lnTo>
                  <a:lnTo>
                    <a:pt x="114" y="88"/>
                  </a:lnTo>
                  <a:lnTo>
                    <a:pt x="116" y="85"/>
                  </a:lnTo>
                  <a:lnTo>
                    <a:pt x="118" y="83"/>
                  </a:lnTo>
                  <a:lnTo>
                    <a:pt x="119" y="80"/>
                  </a:lnTo>
                  <a:lnTo>
                    <a:pt x="120" y="78"/>
                  </a:lnTo>
                  <a:lnTo>
                    <a:pt x="121" y="75"/>
                  </a:lnTo>
                  <a:lnTo>
                    <a:pt x="121" y="30"/>
                  </a:lnTo>
                  <a:lnTo>
                    <a:pt x="196" y="30"/>
                  </a:lnTo>
                  <a:lnTo>
                    <a:pt x="200" y="30"/>
                  </a:lnTo>
                  <a:lnTo>
                    <a:pt x="202" y="29"/>
                  </a:lnTo>
                  <a:lnTo>
                    <a:pt x="205" y="27"/>
                  </a:lnTo>
                  <a:lnTo>
                    <a:pt x="207" y="25"/>
                  </a:lnTo>
                  <a:lnTo>
                    <a:pt x="208" y="23"/>
                  </a:lnTo>
                  <a:lnTo>
                    <a:pt x="210" y="20"/>
                  </a:lnTo>
                  <a:lnTo>
                    <a:pt x="211" y="18"/>
                  </a:lnTo>
                  <a:lnTo>
                    <a:pt x="211" y="15"/>
                  </a:lnTo>
                  <a:lnTo>
                    <a:pt x="211" y="11"/>
                  </a:lnTo>
                  <a:lnTo>
                    <a:pt x="210" y="8"/>
                  </a:lnTo>
                  <a:lnTo>
                    <a:pt x="208" y="6"/>
                  </a:lnTo>
                  <a:lnTo>
                    <a:pt x="207" y="4"/>
                  </a:lnTo>
                  <a:lnTo>
                    <a:pt x="205" y="2"/>
                  </a:lnTo>
                  <a:lnTo>
                    <a:pt x="202" y="1"/>
                  </a:lnTo>
                  <a:lnTo>
                    <a:pt x="200"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9" name="Group 17">
            <a:extLst>
              <a:ext uri="{FF2B5EF4-FFF2-40B4-BE49-F238E27FC236}">
                <a16:creationId xmlns:a16="http://schemas.microsoft.com/office/drawing/2014/main" id="{367CF4E4-FC24-4EC7-87CE-F57C8A47F9F8}"/>
              </a:ext>
            </a:extLst>
          </p:cNvPr>
          <p:cNvGrpSpPr>
            <a:grpSpLocks noChangeAspect="1"/>
          </p:cNvGrpSpPr>
          <p:nvPr/>
        </p:nvGrpSpPr>
        <p:grpSpPr>
          <a:xfrm>
            <a:off x="666530" y="4879041"/>
            <a:ext cx="295139" cy="285619"/>
            <a:chOff x="338138" y="4464051"/>
            <a:chExt cx="295275" cy="285750"/>
          </a:xfrm>
          <a:solidFill>
            <a:schemeClr val="bg1"/>
          </a:solidFill>
          <a:effectLst/>
        </p:grpSpPr>
        <p:sp>
          <p:nvSpPr>
            <p:cNvPr id="690" name="Freeform 117">
              <a:extLst>
                <a:ext uri="{FF2B5EF4-FFF2-40B4-BE49-F238E27FC236}">
                  <a16:creationId xmlns:a16="http://schemas.microsoft.com/office/drawing/2014/main" id="{C91D067D-68F1-4FD4-8C1D-99BAD95B29FD}"/>
                </a:ext>
              </a:extLst>
            </p:cNvPr>
            <p:cNvSpPr>
              <a:spLocks noEditPoints="1"/>
            </p:cNvSpPr>
            <p:nvPr/>
          </p:nvSpPr>
          <p:spPr bwMode="auto">
            <a:xfrm>
              <a:off x="355601" y="4497388"/>
              <a:ext cx="252413" cy="252413"/>
            </a:xfrm>
            <a:custGeom>
              <a:avLst/>
              <a:gdLst>
                <a:gd name="T0" fmla="*/ 260 w 636"/>
                <a:gd name="T1" fmla="*/ 606 h 637"/>
                <a:gd name="T2" fmla="*/ 191 w 636"/>
                <a:gd name="T3" fmla="*/ 583 h 637"/>
                <a:gd name="T4" fmla="*/ 132 w 636"/>
                <a:gd name="T5" fmla="*/ 544 h 637"/>
                <a:gd name="T6" fmla="*/ 84 w 636"/>
                <a:gd name="T7" fmla="*/ 494 h 637"/>
                <a:gd name="T8" fmla="*/ 48 w 636"/>
                <a:gd name="T9" fmla="*/ 433 h 637"/>
                <a:gd name="T10" fmla="*/ 29 w 636"/>
                <a:gd name="T11" fmla="*/ 363 h 637"/>
                <a:gd name="T12" fmla="*/ 27 w 636"/>
                <a:gd name="T13" fmla="*/ 289 h 637"/>
                <a:gd name="T14" fmla="*/ 43 w 636"/>
                <a:gd name="T15" fmla="*/ 219 h 637"/>
                <a:gd name="T16" fmla="*/ 75 w 636"/>
                <a:gd name="T17" fmla="*/ 156 h 637"/>
                <a:gd name="T18" fmla="*/ 121 w 636"/>
                <a:gd name="T19" fmla="*/ 102 h 637"/>
                <a:gd name="T20" fmla="*/ 179 w 636"/>
                <a:gd name="T21" fmla="*/ 61 h 637"/>
                <a:gd name="T22" fmla="*/ 245 w 636"/>
                <a:gd name="T23" fmla="*/ 35 h 637"/>
                <a:gd name="T24" fmla="*/ 318 w 636"/>
                <a:gd name="T25" fmla="*/ 26 h 637"/>
                <a:gd name="T26" fmla="*/ 392 w 636"/>
                <a:gd name="T27" fmla="*/ 35 h 637"/>
                <a:gd name="T28" fmla="*/ 457 w 636"/>
                <a:gd name="T29" fmla="*/ 61 h 637"/>
                <a:gd name="T30" fmla="*/ 515 w 636"/>
                <a:gd name="T31" fmla="*/ 102 h 637"/>
                <a:gd name="T32" fmla="*/ 561 w 636"/>
                <a:gd name="T33" fmla="*/ 156 h 637"/>
                <a:gd name="T34" fmla="*/ 593 w 636"/>
                <a:gd name="T35" fmla="*/ 219 h 637"/>
                <a:gd name="T36" fmla="*/ 610 w 636"/>
                <a:gd name="T37" fmla="*/ 289 h 637"/>
                <a:gd name="T38" fmla="*/ 607 w 636"/>
                <a:gd name="T39" fmla="*/ 363 h 637"/>
                <a:gd name="T40" fmla="*/ 588 w 636"/>
                <a:gd name="T41" fmla="*/ 433 h 637"/>
                <a:gd name="T42" fmla="*/ 553 w 636"/>
                <a:gd name="T43" fmla="*/ 494 h 637"/>
                <a:gd name="T44" fmla="*/ 504 w 636"/>
                <a:gd name="T45" fmla="*/ 544 h 637"/>
                <a:gd name="T46" fmla="*/ 445 w 636"/>
                <a:gd name="T47" fmla="*/ 583 h 637"/>
                <a:gd name="T48" fmla="*/ 377 w 636"/>
                <a:gd name="T49" fmla="*/ 606 h 637"/>
                <a:gd name="T50" fmla="*/ 636 w 636"/>
                <a:gd name="T51" fmla="*/ 319 h 637"/>
                <a:gd name="T52" fmla="*/ 627 w 636"/>
                <a:gd name="T53" fmla="*/ 240 h 637"/>
                <a:gd name="T54" fmla="*/ 598 w 636"/>
                <a:gd name="T55" fmla="*/ 168 h 637"/>
                <a:gd name="T56" fmla="*/ 554 w 636"/>
                <a:gd name="T57" fmla="*/ 105 h 637"/>
                <a:gd name="T58" fmla="*/ 496 w 636"/>
                <a:gd name="T59" fmla="*/ 55 h 637"/>
                <a:gd name="T60" fmla="*/ 427 w 636"/>
                <a:gd name="T61" fmla="*/ 20 h 637"/>
                <a:gd name="T62" fmla="*/ 351 w 636"/>
                <a:gd name="T63" fmla="*/ 2 h 637"/>
                <a:gd name="T64" fmla="*/ 269 w 636"/>
                <a:gd name="T65" fmla="*/ 4 h 637"/>
                <a:gd name="T66" fmla="*/ 194 w 636"/>
                <a:gd name="T67" fmla="*/ 26 h 637"/>
                <a:gd name="T68" fmla="*/ 128 w 636"/>
                <a:gd name="T69" fmla="*/ 64 h 637"/>
                <a:gd name="T70" fmla="*/ 73 w 636"/>
                <a:gd name="T71" fmla="*/ 117 h 637"/>
                <a:gd name="T72" fmla="*/ 31 w 636"/>
                <a:gd name="T73" fmla="*/ 182 h 637"/>
                <a:gd name="T74" fmla="*/ 6 w 636"/>
                <a:gd name="T75" fmla="*/ 255 h 637"/>
                <a:gd name="T76" fmla="*/ 1 w 636"/>
                <a:gd name="T77" fmla="*/ 338 h 637"/>
                <a:gd name="T78" fmla="*/ 20 w 636"/>
                <a:gd name="T79" fmla="*/ 433 h 637"/>
                <a:gd name="T80" fmla="*/ 66 w 636"/>
                <a:gd name="T81" fmla="*/ 513 h 637"/>
                <a:gd name="T82" fmla="*/ 132 w 636"/>
                <a:gd name="T83" fmla="*/ 578 h 637"/>
                <a:gd name="T84" fmla="*/ 95 w 636"/>
                <a:gd name="T85" fmla="*/ 634 h 637"/>
                <a:gd name="T86" fmla="*/ 153 w 636"/>
                <a:gd name="T87" fmla="*/ 592 h 637"/>
                <a:gd name="T88" fmla="*/ 252 w 636"/>
                <a:gd name="T89" fmla="*/ 630 h 637"/>
                <a:gd name="T90" fmla="*/ 366 w 636"/>
                <a:gd name="T91" fmla="*/ 634 h 637"/>
                <a:gd name="T92" fmla="*/ 475 w 636"/>
                <a:gd name="T93" fmla="*/ 596 h 637"/>
                <a:gd name="T94" fmla="*/ 558 w 636"/>
                <a:gd name="T95" fmla="*/ 636 h 637"/>
                <a:gd name="T96" fmla="*/ 562 w 636"/>
                <a:gd name="T97" fmla="*/ 614 h 637"/>
                <a:gd name="T98" fmla="*/ 566 w 636"/>
                <a:gd name="T99" fmla="*/ 519 h 637"/>
                <a:gd name="T100" fmla="*/ 611 w 636"/>
                <a:gd name="T101" fmla="*/ 444 h 637"/>
                <a:gd name="T102" fmla="*/ 634 w 636"/>
                <a:gd name="T103" fmla="*/ 355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6" h="637">
                  <a:moveTo>
                    <a:pt x="318" y="612"/>
                  </a:moveTo>
                  <a:lnTo>
                    <a:pt x="303" y="611"/>
                  </a:lnTo>
                  <a:lnTo>
                    <a:pt x="289" y="610"/>
                  </a:lnTo>
                  <a:lnTo>
                    <a:pt x="274" y="608"/>
                  </a:lnTo>
                  <a:lnTo>
                    <a:pt x="260" y="606"/>
                  </a:lnTo>
                  <a:lnTo>
                    <a:pt x="245" y="602"/>
                  </a:lnTo>
                  <a:lnTo>
                    <a:pt x="231" y="598"/>
                  </a:lnTo>
                  <a:lnTo>
                    <a:pt x="218" y="594"/>
                  </a:lnTo>
                  <a:lnTo>
                    <a:pt x="204" y="588"/>
                  </a:lnTo>
                  <a:lnTo>
                    <a:pt x="191" y="583"/>
                  </a:lnTo>
                  <a:lnTo>
                    <a:pt x="179" y="577"/>
                  </a:lnTo>
                  <a:lnTo>
                    <a:pt x="166" y="569"/>
                  </a:lnTo>
                  <a:lnTo>
                    <a:pt x="154" y="562"/>
                  </a:lnTo>
                  <a:lnTo>
                    <a:pt x="143" y="553"/>
                  </a:lnTo>
                  <a:lnTo>
                    <a:pt x="132" y="544"/>
                  </a:lnTo>
                  <a:lnTo>
                    <a:pt x="121" y="536"/>
                  </a:lnTo>
                  <a:lnTo>
                    <a:pt x="111" y="526"/>
                  </a:lnTo>
                  <a:lnTo>
                    <a:pt x="102" y="515"/>
                  </a:lnTo>
                  <a:lnTo>
                    <a:pt x="92" y="505"/>
                  </a:lnTo>
                  <a:lnTo>
                    <a:pt x="84" y="494"/>
                  </a:lnTo>
                  <a:lnTo>
                    <a:pt x="75" y="482"/>
                  </a:lnTo>
                  <a:lnTo>
                    <a:pt x="67" y="470"/>
                  </a:lnTo>
                  <a:lnTo>
                    <a:pt x="61" y="459"/>
                  </a:lnTo>
                  <a:lnTo>
                    <a:pt x="55" y="446"/>
                  </a:lnTo>
                  <a:lnTo>
                    <a:pt x="48" y="433"/>
                  </a:lnTo>
                  <a:lnTo>
                    <a:pt x="43" y="420"/>
                  </a:lnTo>
                  <a:lnTo>
                    <a:pt x="38" y="406"/>
                  </a:lnTo>
                  <a:lnTo>
                    <a:pt x="34" y="392"/>
                  </a:lnTo>
                  <a:lnTo>
                    <a:pt x="31" y="378"/>
                  </a:lnTo>
                  <a:lnTo>
                    <a:pt x="29" y="363"/>
                  </a:lnTo>
                  <a:lnTo>
                    <a:pt x="27" y="349"/>
                  </a:lnTo>
                  <a:lnTo>
                    <a:pt x="26" y="334"/>
                  </a:lnTo>
                  <a:lnTo>
                    <a:pt x="26" y="319"/>
                  </a:lnTo>
                  <a:lnTo>
                    <a:pt x="26" y="304"/>
                  </a:lnTo>
                  <a:lnTo>
                    <a:pt x="27" y="289"/>
                  </a:lnTo>
                  <a:lnTo>
                    <a:pt x="29" y="275"/>
                  </a:lnTo>
                  <a:lnTo>
                    <a:pt x="31" y="260"/>
                  </a:lnTo>
                  <a:lnTo>
                    <a:pt x="34" y="246"/>
                  </a:lnTo>
                  <a:lnTo>
                    <a:pt x="38" y="232"/>
                  </a:lnTo>
                  <a:lnTo>
                    <a:pt x="43" y="219"/>
                  </a:lnTo>
                  <a:lnTo>
                    <a:pt x="48" y="205"/>
                  </a:lnTo>
                  <a:lnTo>
                    <a:pt x="55" y="192"/>
                  </a:lnTo>
                  <a:lnTo>
                    <a:pt x="61" y="179"/>
                  </a:lnTo>
                  <a:lnTo>
                    <a:pt x="67" y="168"/>
                  </a:lnTo>
                  <a:lnTo>
                    <a:pt x="75" y="156"/>
                  </a:lnTo>
                  <a:lnTo>
                    <a:pt x="84" y="144"/>
                  </a:lnTo>
                  <a:lnTo>
                    <a:pt x="92" y="133"/>
                  </a:lnTo>
                  <a:lnTo>
                    <a:pt x="102" y="122"/>
                  </a:lnTo>
                  <a:lnTo>
                    <a:pt x="111" y="112"/>
                  </a:lnTo>
                  <a:lnTo>
                    <a:pt x="121" y="102"/>
                  </a:lnTo>
                  <a:lnTo>
                    <a:pt x="132" y="93"/>
                  </a:lnTo>
                  <a:lnTo>
                    <a:pt x="143" y="85"/>
                  </a:lnTo>
                  <a:lnTo>
                    <a:pt x="154" y="76"/>
                  </a:lnTo>
                  <a:lnTo>
                    <a:pt x="166" y="69"/>
                  </a:lnTo>
                  <a:lnTo>
                    <a:pt x="179" y="61"/>
                  </a:lnTo>
                  <a:lnTo>
                    <a:pt x="191" y="55"/>
                  </a:lnTo>
                  <a:lnTo>
                    <a:pt x="204" y="49"/>
                  </a:lnTo>
                  <a:lnTo>
                    <a:pt x="218" y="44"/>
                  </a:lnTo>
                  <a:lnTo>
                    <a:pt x="231" y="39"/>
                  </a:lnTo>
                  <a:lnTo>
                    <a:pt x="245" y="35"/>
                  </a:lnTo>
                  <a:lnTo>
                    <a:pt x="260" y="32"/>
                  </a:lnTo>
                  <a:lnTo>
                    <a:pt x="274" y="29"/>
                  </a:lnTo>
                  <a:lnTo>
                    <a:pt x="289" y="28"/>
                  </a:lnTo>
                  <a:lnTo>
                    <a:pt x="303" y="26"/>
                  </a:lnTo>
                  <a:lnTo>
                    <a:pt x="318" y="26"/>
                  </a:lnTo>
                  <a:lnTo>
                    <a:pt x="333" y="26"/>
                  </a:lnTo>
                  <a:lnTo>
                    <a:pt x="348" y="28"/>
                  </a:lnTo>
                  <a:lnTo>
                    <a:pt x="363" y="29"/>
                  </a:lnTo>
                  <a:lnTo>
                    <a:pt x="377" y="32"/>
                  </a:lnTo>
                  <a:lnTo>
                    <a:pt x="392" y="35"/>
                  </a:lnTo>
                  <a:lnTo>
                    <a:pt x="405" y="39"/>
                  </a:lnTo>
                  <a:lnTo>
                    <a:pt x="418" y="44"/>
                  </a:lnTo>
                  <a:lnTo>
                    <a:pt x="431" y="49"/>
                  </a:lnTo>
                  <a:lnTo>
                    <a:pt x="445" y="55"/>
                  </a:lnTo>
                  <a:lnTo>
                    <a:pt x="457" y="61"/>
                  </a:lnTo>
                  <a:lnTo>
                    <a:pt x="470" y="69"/>
                  </a:lnTo>
                  <a:lnTo>
                    <a:pt x="482" y="76"/>
                  </a:lnTo>
                  <a:lnTo>
                    <a:pt x="494" y="85"/>
                  </a:lnTo>
                  <a:lnTo>
                    <a:pt x="504" y="93"/>
                  </a:lnTo>
                  <a:lnTo>
                    <a:pt x="515" y="102"/>
                  </a:lnTo>
                  <a:lnTo>
                    <a:pt x="525" y="112"/>
                  </a:lnTo>
                  <a:lnTo>
                    <a:pt x="534" y="122"/>
                  </a:lnTo>
                  <a:lnTo>
                    <a:pt x="544" y="133"/>
                  </a:lnTo>
                  <a:lnTo>
                    <a:pt x="553" y="144"/>
                  </a:lnTo>
                  <a:lnTo>
                    <a:pt x="561" y="156"/>
                  </a:lnTo>
                  <a:lnTo>
                    <a:pt x="569" y="168"/>
                  </a:lnTo>
                  <a:lnTo>
                    <a:pt x="575" y="179"/>
                  </a:lnTo>
                  <a:lnTo>
                    <a:pt x="582" y="192"/>
                  </a:lnTo>
                  <a:lnTo>
                    <a:pt x="588" y="205"/>
                  </a:lnTo>
                  <a:lnTo>
                    <a:pt x="593" y="219"/>
                  </a:lnTo>
                  <a:lnTo>
                    <a:pt x="598" y="232"/>
                  </a:lnTo>
                  <a:lnTo>
                    <a:pt x="602" y="246"/>
                  </a:lnTo>
                  <a:lnTo>
                    <a:pt x="605" y="260"/>
                  </a:lnTo>
                  <a:lnTo>
                    <a:pt x="607" y="275"/>
                  </a:lnTo>
                  <a:lnTo>
                    <a:pt x="610" y="289"/>
                  </a:lnTo>
                  <a:lnTo>
                    <a:pt x="611" y="304"/>
                  </a:lnTo>
                  <a:lnTo>
                    <a:pt x="611" y="319"/>
                  </a:lnTo>
                  <a:lnTo>
                    <a:pt x="611" y="334"/>
                  </a:lnTo>
                  <a:lnTo>
                    <a:pt x="610" y="349"/>
                  </a:lnTo>
                  <a:lnTo>
                    <a:pt x="607" y="363"/>
                  </a:lnTo>
                  <a:lnTo>
                    <a:pt x="605" y="378"/>
                  </a:lnTo>
                  <a:lnTo>
                    <a:pt x="602" y="392"/>
                  </a:lnTo>
                  <a:lnTo>
                    <a:pt x="598" y="406"/>
                  </a:lnTo>
                  <a:lnTo>
                    <a:pt x="593" y="420"/>
                  </a:lnTo>
                  <a:lnTo>
                    <a:pt x="588" y="433"/>
                  </a:lnTo>
                  <a:lnTo>
                    <a:pt x="582" y="446"/>
                  </a:lnTo>
                  <a:lnTo>
                    <a:pt x="575" y="459"/>
                  </a:lnTo>
                  <a:lnTo>
                    <a:pt x="569" y="470"/>
                  </a:lnTo>
                  <a:lnTo>
                    <a:pt x="561" y="482"/>
                  </a:lnTo>
                  <a:lnTo>
                    <a:pt x="553" y="494"/>
                  </a:lnTo>
                  <a:lnTo>
                    <a:pt x="544" y="505"/>
                  </a:lnTo>
                  <a:lnTo>
                    <a:pt x="534" y="515"/>
                  </a:lnTo>
                  <a:lnTo>
                    <a:pt x="525" y="526"/>
                  </a:lnTo>
                  <a:lnTo>
                    <a:pt x="515" y="536"/>
                  </a:lnTo>
                  <a:lnTo>
                    <a:pt x="504" y="544"/>
                  </a:lnTo>
                  <a:lnTo>
                    <a:pt x="494" y="553"/>
                  </a:lnTo>
                  <a:lnTo>
                    <a:pt x="482" y="562"/>
                  </a:lnTo>
                  <a:lnTo>
                    <a:pt x="470" y="569"/>
                  </a:lnTo>
                  <a:lnTo>
                    <a:pt x="457" y="577"/>
                  </a:lnTo>
                  <a:lnTo>
                    <a:pt x="445" y="583"/>
                  </a:lnTo>
                  <a:lnTo>
                    <a:pt x="431" y="588"/>
                  </a:lnTo>
                  <a:lnTo>
                    <a:pt x="418" y="594"/>
                  </a:lnTo>
                  <a:lnTo>
                    <a:pt x="405" y="598"/>
                  </a:lnTo>
                  <a:lnTo>
                    <a:pt x="392" y="602"/>
                  </a:lnTo>
                  <a:lnTo>
                    <a:pt x="377" y="606"/>
                  </a:lnTo>
                  <a:lnTo>
                    <a:pt x="363" y="608"/>
                  </a:lnTo>
                  <a:lnTo>
                    <a:pt x="348" y="610"/>
                  </a:lnTo>
                  <a:lnTo>
                    <a:pt x="333" y="611"/>
                  </a:lnTo>
                  <a:lnTo>
                    <a:pt x="318" y="612"/>
                  </a:lnTo>
                  <a:close/>
                  <a:moveTo>
                    <a:pt x="636" y="319"/>
                  </a:moveTo>
                  <a:lnTo>
                    <a:pt x="636" y="303"/>
                  </a:lnTo>
                  <a:lnTo>
                    <a:pt x="634" y="287"/>
                  </a:lnTo>
                  <a:lnTo>
                    <a:pt x="632" y="271"/>
                  </a:lnTo>
                  <a:lnTo>
                    <a:pt x="630" y="255"/>
                  </a:lnTo>
                  <a:lnTo>
                    <a:pt x="627" y="240"/>
                  </a:lnTo>
                  <a:lnTo>
                    <a:pt x="622" y="224"/>
                  </a:lnTo>
                  <a:lnTo>
                    <a:pt x="617" y="209"/>
                  </a:lnTo>
                  <a:lnTo>
                    <a:pt x="612" y="195"/>
                  </a:lnTo>
                  <a:lnTo>
                    <a:pt x="605" y="182"/>
                  </a:lnTo>
                  <a:lnTo>
                    <a:pt x="598" y="168"/>
                  </a:lnTo>
                  <a:lnTo>
                    <a:pt x="590" y="155"/>
                  </a:lnTo>
                  <a:lnTo>
                    <a:pt x="582" y="142"/>
                  </a:lnTo>
                  <a:lnTo>
                    <a:pt x="573" y="129"/>
                  </a:lnTo>
                  <a:lnTo>
                    <a:pt x="563" y="117"/>
                  </a:lnTo>
                  <a:lnTo>
                    <a:pt x="554" y="105"/>
                  </a:lnTo>
                  <a:lnTo>
                    <a:pt x="543" y="95"/>
                  </a:lnTo>
                  <a:lnTo>
                    <a:pt x="532" y="84"/>
                  </a:lnTo>
                  <a:lnTo>
                    <a:pt x="520" y="73"/>
                  </a:lnTo>
                  <a:lnTo>
                    <a:pt x="509" y="64"/>
                  </a:lnTo>
                  <a:lnTo>
                    <a:pt x="496" y="55"/>
                  </a:lnTo>
                  <a:lnTo>
                    <a:pt x="483" y="47"/>
                  </a:lnTo>
                  <a:lnTo>
                    <a:pt x="470" y="39"/>
                  </a:lnTo>
                  <a:lnTo>
                    <a:pt x="456" y="32"/>
                  </a:lnTo>
                  <a:lnTo>
                    <a:pt x="442" y="26"/>
                  </a:lnTo>
                  <a:lnTo>
                    <a:pt x="427" y="20"/>
                  </a:lnTo>
                  <a:lnTo>
                    <a:pt x="412" y="15"/>
                  </a:lnTo>
                  <a:lnTo>
                    <a:pt x="397" y="11"/>
                  </a:lnTo>
                  <a:lnTo>
                    <a:pt x="382" y="7"/>
                  </a:lnTo>
                  <a:lnTo>
                    <a:pt x="367" y="4"/>
                  </a:lnTo>
                  <a:lnTo>
                    <a:pt x="351" y="2"/>
                  </a:lnTo>
                  <a:lnTo>
                    <a:pt x="335" y="1"/>
                  </a:lnTo>
                  <a:lnTo>
                    <a:pt x="318" y="0"/>
                  </a:lnTo>
                  <a:lnTo>
                    <a:pt x="301" y="1"/>
                  </a:lnTo>
                  <a:lnTo>
                    <a:pt x="285" y="2"/>
                  </a:lnTo>
                  <a:lnTo>
                    <a:pt x="269" y="4"/>
                  </a:lnTo>
                  <a:lnTo>
                    <a:pt x="254" y="7"/>
                  </a:lnTo>
                  <a:lnTo>
                    <a:pt x="238" y="11"/>
                  </a:lnTo>
                  <a:lnTo>
                    <a:pt x="223" y="15"/>
                  </a:lnTo>
                  <a:lnTo>
                    <a:pt x="209" y="20"/>
                  </a:lnTo>
                  <a:lnTo>
                    <a:pt x="194" y="26"/>
                  </a:lnTo>
                  <a:lnTo>
                    <a:pt x="180" y="32"/>
                  </a:lnTo>
                  <a:lnTo>
                    <a:pt x="166" y="39"/>
                  </a:lnTo>
                  <a:lnTo>
                    <a:pt x="153" y="47"/>
                  </a:lnTo>
                  <a:lnTo>
                    <a:pt x="140" y="55"/>
                  </a:lnTo>
                  <a:lnTo>
                    <a:pt x="128" y="64"/>
                  </a:lnTo>
                  <a:lnTo>
                    <a:pt x="116" y="73"/>
                  </a:lnTo>
                  <a:lnTo>
                    <a:pt x="104" y="84"/>
                  </a:lnTo>
                  <a:lnTo>
                    <a:pt x="93" y="95"/>
                  </a:lnTo>
                  <a:lnTo>
                    <a:pt x="82" y="105"/>
                  </a:lnTo>
                  <a:lnTo>
                    <a:pt x="73" y="117"/>
                  </a:lnTo>
                  <a:lnTo>
                    <a:pt x="63" y="129"/>
                  </a:lnTo>
                  <a:lnTo>
                    <a:pt x="55" y="142"/>
                  </a:lnTo>
                  <a:lnTo>
                    <a:pt x="46" y="155"/>
                  </a:lnTo>
                  <a:lnTo>
                    <a:pt x="38" y="168"/>
                  </a:lnTo>
                  <a:lnTo>
                    <a:pt x="31" y="182"/>
                  </a:lnTo>
                  <a:lnTo>
                    <a:pt x="24" y="195"/>
                  </a:lnTo>
                  <a:lnTo>
                    <a:pt x="19" y="209"/>
                  </a:lnTo>
                  <a:lnTo>
                    <a:pt x="14" y="224"/>
                  </a:lnTo>
                  <a:lnTo>
                    <a:pt x="9" y="240"/>
                  </a:lnTo>
                  <a:lnTo>
                    <a:pt x="6" y="255"/>
                  </a:lnTo>
                  <a:lnTo>
                    <a:pt x="3" y="271"/>
                  </a:lnTo>
                  <a:lnTo>
                    <a:pt x="1" y="287"/>
                  </a:lnTo>
                  <a:lnTo>
                    <a:pt x="0" y="303"/>
                  </a:lnTo>
                  <a:lnTo>
                    <a:pt x="0" y="319"/>
                  </a:lnTo>
                  <a:lnTo>
                    <a:pt x="1" y="338"/>
                  </a:lnTo>
                  <a:lnTo>
                    <a:pt x="2" y="359"/>
                  </a:lnTo>
                  <a:lnTo>
                    <a:pt x="5" y="377"/>
                  </a:lnTo>
                  <a:lnTo>
                    <a:pt x="9" y="396"/>
                  </a:lnTo>
                  <a:lnTo>
                    <a:pt x="15" y="415"/>
                  </a:lnTo>
                  <a:lnTo>
                    <a:pt x="20" y="433"/>
                  </a:lnTo>
                  <a:lnTo>
                    <a:pt x="28" y="450"/>
                  </a:lnTo>
                  <a:lnTo>
                    <a:pt x="36" y="467"/>
                  </a:lnTo>
                  <a:lnTo>
                    <a:pt x="45" y="483"/>
                  </a:lnTo>
                  <a:lnTo>
                    <a:pt x="55" y="498"/>
                  </a:lnTo>
                  <a:lnTo>
                    <a:pt x="66" y="513"/>
                  </a:lnTo>
                  <a:lnTo>
                    <a:pt x="78" y="527"/>
                  </a:lnTo>
                  <a:lnTo>
                    <a:pt x="90" y="541"/>
                  </a:lnTo>
                  <a:lnTo>
                    <a:pt x="104" y="554"/>
                  </a:lnTo>
                  <a:lnTo>
                    <a:pt x="118" y="566"/>
                  </a:lnTo>
                  <a:lnTo>
                    <a:pt x="132" y="578"/>
                  </a:lnTo>
                  <a:lnTo>
                    <a:pt x="95" y="614"/>
                  </a:lnTo>
                  <a:lnTo>
                    <a:pt x="92" y="619"/>
                  </a:lnTo>
                  <a:lnTo>
                    <a:pt x="91" y="624"/>
                  </a:lnTo>
                  <a:lnTo>
                    <a:pt x="92" y="629"/>
                  </a:lnTo>
                  <a:lnTo>
                    <a:pt x="95" y="634"/>
                  </a:lnTo>
                  <a:lnTo>
                    <a:pt x="99" y="636"/>
                  </a:lnTo>
                  <a:lnTo>
                    <a:pt x="104" y="637"/>
                  </a:lnTo>
                  <a:lnTo>
                    <a:pt x="108" y="636"/>
                  </a:lnTo>
                  <a:lnTo>
                    <a:pt x="112" y="634"/>
                  </a:lnTo>
                  <a:lnTo>
                    <a:pt x="153" y="592"/>
                  </a:lnTo>
                  <a:lnTo>
                    <a:pt x="173" y="601"/>
                  </a:lnTo>
                  <a:lnTo>
                    <a:pt x="191" y="611"/>
                  </a:lnTo>
                  <a:lnTo>
                    <a:pt x="211" y="619"/>
                  </a:lnTo>
                  <a:lnTo>
                    <a:pt x="232" y="625"/>
                  </a:lnTo>
                  <a:lnTo>
                    <a:pt x="252" y="630"/>
                  </a:lnTo>
                  <a:lnTo>
                    <a:pt x="274" y="634"/>
                  </a:lnTo>
                  <a:lnTo>
                    <a:pt x="296" y="637"/>
                  </a:lnTo>
                  <a:lnTo>
                    <a:pt x="318" y="637"/>
                  </a:lnTo>
                  <a:lnTo>
                    <a:pt x="342" y="636"/>
                  </a:lnTo>
                  <a:lnTo>
                    <a:pt x="366" y="634"/>
                  </a:lnTo>
                  <a:lnTo>
                    <a:pt x="390" y="629"/>
                  </a:lnTo>
                  <a:lnTo>
                    <a:pt x="412" y="623"/>
                  </a:lnTo>
                  <a:lnTo>
                    <a:pt x="435" y="615"/>
                  </a:lnTo>
                  <a:lnTo>
                    <a:pt x="455" y="607"/>
                  </a:lnTo>
                  <a:lnTo>
                    <a:pt x="475" y="596"/>
                  </a:lnTo>
                  <a:lnTo>
                    <a:pt x="496" y="584"/>
                  </a:lnTo>
                  <a:lnTo>
                    <a:pt x="544" y="634"/>
                  </a:lnTo>
                  <a:lnTo>
                    <a:pt x="548" y="636"/>
                  </a:lnTo>
                  <a:lnTo>
                    <a:pt x="554" y="637"/>
                  </a:lnTo>
                  <a:lnTo>
                    <a:pt x="558" y="636"/>
                  </a:lnTo>
                  <a:lnTo>
                    <a:pt x="562" y="634"/>
                  </a:lnTo>
                  <a:lnTo>
                    <a:pt x="566" y="629"/>
                  </a:lnTo>
                  <a:lnTo>
                    <a:pt x="566" y="624"/>
                  </a:lnTo>
                  <a:lnTo>
                    <a:pt x="566" y="619"/>
                  </a:lnTo>
                  <a:lnTo>
                    <a:pt x="562" y="614"/>
                  </a:lnTo>
                  <a:lnTo>
                    <a:pt x="516" y="568"/>
                  </a:lnTo>
                  <a:lnTo>
                    <a:pt x="529" y="557"/>
                  </a:lnTo>
                  <a:lnTo>
                    <a:pt x="542" y="544"/>
                  </a:lnTo>
                  <a:lnTo>
                    <a:pt x="554" y="533"/>
                  </a:lnTo>
                  <a:lnTo>
                    <a:pt x="566" y="519"/>
                  </a:lnTo>
                  <a:lnTo>
                    <a:pt x="576" y="505"/>
                  </a:lnTo>
                  <a:lnTo>
                    <a:pt x="586" y="490"/>
                  </a:lnTo>
                  <a:lnTo>
                    <a:pt x="596" y="475"/>
                  </a:lnTo>
                  <a:lnTo>
                    <a:pt x="603" y="460"/>
                  </a:lnTo>
                  <a:lnTo>
                    <a:pt x="611" y="444"/>
                  </a:lnTo>
                  <a:lnTo>
                    <a:pt x="617" y="426"/>
                  </a:lnTo>
                  <a:lnTo>
                    <a:pt x="624" y="409"/>
                  </a:lnTo>
                  <a:lnTo>
                    <a:pt x="628" y="392"/>
                  </a:lnTo>
                  <a:lnTo>
                    <a:pt x="631" y="374"/>
                  </a:lnTo>
                  <a:lnTo>
                    <a:pt x="634" y="355"/>
                  </a:lnTo>
                  <a:lnTo>
                    <a:pt x="635" y="337"/>
                  </a:lnTo>
                  <a:lnTo>
                    <a:pt x="636"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1" name="Freeform 118">
              <a:extLst>
                <a:ext uri="{FF2B5EF4-FFF2-40B4-BE49-F238E27FC236}">
                  <a16:creationId xmlns:a16="http://schemas.microsoft.com/office/drawing/2014/main" id="{E60F77FE-CBF2-4A2B-8BF5-4FCE0941B44D}"/>
                </a:ext>
              </a:extLst>
            </p:cNvPr>
            <p:cNvSpPr>
              <a:spLocks/>
            </p:cNvSpPr>
            <p:nvPr/>
          </p:nvSpPr>
          <p:spPr bwMode="auto">
            <a:xfrm>
              <a:off x="436563" y="4548188"/>
              <a:ext cx="60325" cy="85725"/>
            </a:xfrm>
            <a:custGeom>
              <a:avLst/>
              <a:gdLst>
                <a:gd name="T0" fmla="*/ 140 w 153"/>
                <a:gd name="T1" fmla="*/ 0 h 216"/>
                <a:gd name="T2" fmla="*/ 136 w 153"/>
                <a:gd name="T3" fmla="*/ 1 h 216"/>
                <a:gd name="T4" fmla="*/ 132 w 153"/>
                <a:gd name="T5" fmla="*/ 4 h 216"/>
                <a:gd name="T6" fmla="*/ 129 w 153"/>
                <a:gd name="T7" fmla="*/ 9 h 216"/>
                <a:gd name="T8" fmla="*/ 128 w 153"/>
                <a:gd name="T9" fmla="*/ 13 h 216"/>
                <a:gd name="T10" fmla="*/ 128 w 153"/>
                <a:gd name="T11" fmla="*/ 190 h 216"/>
                <a:gd name="T12" fmla="*/ 13 w 153"/>
                <a:gd name="T13" fmla="*/ 190 h 216"/>
                <a:gd name="T14" fmla="*/ 7 w 153"/>
                <a:gd name="T15" fmla="*/ 191 h 216"/>
                <a:gd name="T16" fmla="*/ 3 w 153"/>
                <a:gd name="T17" fmla="*/ 194 h 216"/>
                <a:gd name="T18" fmla="*/ 1 w 153"/>
                <a:gd name="T19" fmla="*/ 197 h 216"/>
                <a:gd name="T20" fmla="*/ 0 w 153"/>
                <a:gd name="T21" fmla="*/ 203 h 216"/>
                <a:gd name="T22" fmla="*/ 1 w 153"/>
                <a:gd name="T23" fmla="*/ 208 h 216"/>
                <a:gd name="T24" fmla="*/ 3 w 153"/>
                <a:gd name="T25" fmla="*/ 211 h 216"/>
                <a:gd name="T26" fmla="*/ 7 w 153"/>
                <a:gd name="T27" fmla="*/ 215 h 216"/>
                <a:gd name="T28" fmla="*/ 13 w 153"/>
                <a:gd name="T29" fmla="*/ 216 h 216"/>
                <a:gd name="T30" fmla="*/ 140 w 153"/>
                <a:gd name="T31" fmla="*/ 216 h 216"/>
                <a:gd name="T32" fmla="*/ 146 w 153"/>
                <a:gd name="T33" fmla="*/ 215 h 216"/>
                <a:gd name="T34" fmla="*/ 150 w 153"/>
                <a:gd name="T35" fmla="*/ 211 h 216"/>
                <a:gd name="T36" fmla="*/ 152 w 153"/>
                <a:gd name="T37" fmla="*/ 208 h 216"/>
                <a:gd name="T38" fmla="*/ 153 w 153"/>
                <a:gd name="T39" fmla="*/ 203 h 216"/>
                <a:gd name="T40" fmla="*/ 153 w 153"/>
                <a:gd name="T41" fmla="*/ 13 h 216"/>
                <a:gd name="T42" fmla="*/ 152 w 153"/>
                <a:gd name="T43" fmla="*/ 9 h 216"/>
                <a:gd name="T44" fmla="*/ 150 w 153"/>
                <a:gd name="T45" fmla="*/ 4 h 216"/>
                <a:gd name="T46" fmla="*/ 146 w 153"/>
                <a:gd name="T47" fmla="*/ 1 h 216"/>
                <a:gd name="T48" fmla="*/ 140 w 153"/>
                <a:gd name="T4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16">
                  <a:moveTo>
                    <a:pt x="140" y="0"/>
                  </a:moveTo>
                  <a:lnTo>
                    <a:pt x="136" y="1"/>
                  </a:lnTo>
                  <a:lnTo>
                    <a:pt x="132" y="4"/>
                  </a:lnTo>
                  <a:lnTo>
                    <a:pt x="129" y="9"/>
                  </a:lnTo>
                  <a:lnTo>
                    <a:pt x="128" y="13"/>
                  </a:lnTo>
                  <a:lnTo>
                    <a:pt x="128" y="190"/>
                  </a:lnTo>
                  <a:lnTo>
                    <a:pt x="13" y="190"/>
                  </a:lnTo>
                  <a:lnTo>
                    <a:pt x="7" y="191"/>
                  </a:lnTo>
                  <a:lnTo>
                    <a:pt x="3" y="194"/>
                  </a:lnTo>
                  <a:lnTo>
                    <a:pt x="1" y="197"/>
                  </a:lnTo>
                  <a:lnTo>
                    <a:pt x="0" y="203"/>
                  </a:lnTo>
                  <a:lnTo>
                    <a:pt x="1" y="208"/>
                  </a:lnTo>
                  <a:lnTo>
                    <a:pt x="3" y="211"/>
                  </a:lnTo>
                  <a:lnTo>
                    <a:pt x="7" y="215"/>
                  </a:lnTo>
                  <a:lnTo>
                    <a:pt x="13" y="216"/>
                  </a:lnTo>
                  <a:lnTo>
                    <a:pt x="140" y="216"/>
                  </a:lnTo>
                  <a:lnTo>
                    <a:pt x="146" y="215"/>
                  </a:lnTo>
                  <a:lnTo>
                    <a:pt x="150" y="211"/>
                  </a:lnTo>
                  <a:lnTo>
                    <a:pt x="152" y="208"/>
                  </a:lnTo>
                  <a:lnTo>
                    <a:pt x="153" y="203"/>
                  </a:lnTo>
                  <a:lnTo>
                    <a:pt x="153" y="13"/>
                  </a:lnTo>
                  <a:lnTo>
                    <a:pt x="152" y="9"/>
                  </a:lnTo>
                  <a:lnTo>
                    <a:pt x="150" y="4"/>
                  </a:lnTo>
                  <a:lnTo>
                    <a:pt x="146" y="1"/>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2" name="Freeform 119">
              <a:extLst>
                <a:ext uri="{FF2B5EF4-FFF2-40B4-BE49-F238E27FC236}">
                  <a16:creationId xmlns:a16="http://schemas.microsoft.com/office/drawing/2014/main" id="{07D6C11C-5E06-4736-9B3B-121DC95898E0}"/>
                </a:ext>
              </a:extLst>
            </p:cNvPr>
            <p:cNvSpPr>
              <a:spLocks/>
            </p:cNvSpPr>
            <p:nvPr/>
          </p:nvSpPr>
          <p:spPr bwMode="auto">
            <a:xfrm>
              <a:off x="338138" y="4464051"/>
              <a:ext cx="95250" cy="95250"/>
            </a:xfrm>
            <a:custGeom>
              <a:avLst/>
              <a:gdLst>
                <a:gd name="T0" fmla="*/ 62 w 240"/>
                <a:gd name="T1" fmla="*/ 231 h 240"/>
                <a:gd name="T2" fmla="*/ 62 w 240"/>
                <a:gd name="T3" fmla="*/ 223 h 240"/>
                <a:gd name="T4" fmla="*/ 51 w 240"/>
                <a:gd name="T5" fmla="*/ 210 h 240"/>
                <a:gd name="T6" fmla="*/ 38 w 240"/>
                <a:gd name="T7" fmla="*/ 190 h 240"/>
                <a:gd name="T8" fmla="*/ 30 w 240"/>
                <a:gd name="T9" fmla="*/ 171 h 240"/>
                <a:gd name="T10" fmla="*/ 27 w 240"/>
                <a:gd name="T11" fmla="*/ 149 h 240"/>
                <a:gd name="T12" fmla="*/ 27 w 240"/>
                <a:gd name="T13" fmla="*/ 128 h 240"/>
                <a:gd name="T14" fmla="*/ 30 w 240"/>
                <a:gd name="T15" fmla="*/ 108 h 240"/>
                <a:gd name="T16" fmla="*/ 38 w 240"/>
                <a:gd name="T17" fmla="*/ 87 h 240"/>
                <a:gd name="T18" fmla="*/ 51 w 240"/>
                <a:gd name="T19" fmla="*/ 69 h 240"/>
                <a:gd name="T20" fmla="*/ 67 w 240"/>
                <a:gd name="T21" fmla="*/ 52 h 240"/>
                <a:gd name="T22" fmla="*/ 87 w 240"/>
                <a:gd name="T23" fmla="*/ 39 h 240"/>
                <a:gd name="T24" fmla="*/ 106 w 240"/>
                <a:gd name="T25" fmla="*/ 30 h 240"/>
                <a:gd name="T26" fmla="*/ 128 w 240"/>
                <a:gd name="T27" fmla="*/ 26 h 240"/>
                <a:gd name="T28" fmla="*/ 150 w 240"/>
                <a:gd name="T29" fmla="*/ 26 h 240"/>
                <a:gd name="T30" fmla="*/ 171 w 240"/>
                <a:gd name="T31" fmla="*/ 30 h 240"/>
                <a:gd name="T32" fmla="*/ 191 w 240"/>
                <a:gd name="T33" fmla="*/ 39 h 240"/>
                <a:gd name="T34" fmla="*/ 209 w 240"/>
                <a:gd name="T35" fmla="*/ 52 h 240"/>
                <a:gd name="T36" fmla="*/ 222 w 240"/>
                <a:gd name="T37" fmla="*/ 63 h 240"/>
                <a:gd name="T38" fmla="*/ 232 w 240"/>
                <a:gd name="T39" fmla="*/ 63 h 240"/>
                <a:gd name="T40" fmla="*/ 239 w 240"/>
                <a:gd name="T41" fmla="*/ 56 h 240"/>
                <a:gd name="T42" fmla="*/ 239 w 240"/>
                <a:gd name="T43" fmla="*/ 45 h 240"/>
                <a:gd name="T44" fmla="*/ 225 w 240"/>
                <a:gd name="T45" fmla="*/ 31 h 240"/>
                <a:gd name="T46" fmla="*/ 203 w 240"/>
                <a:gd name="T47" fmla="*/ 16 h 240"/>
                <a:gd name="T48" fmla="*/ 178 w 240"/>
                <a:gd name="T49" fmla="*/ 7 h 240"/>
                <a:gd name="T50" fmla="*/ 152 w 240"/>
                <a:gd name="T51" fmla="*/ 1 h 240"/>
                <a:gd name="T52" fmla="*/ 125 w 240"/>
                <a:gd name="T53" fmla="*/ 1 h 240"/>
                <a:gd name="T54" fmla="*/ 100 w 240"/>
                <a:gd name="T55" fmla="*/ 7 h 240"/>
                <a:gd name="T56" fmla="*/ 75 w 240"/>
                <a:gd name="T57" fmla="*/ 16 h 240"/>
                <a:gd name="T58" fmla="*/ 51 w 240"/>
                <a:gd name="T59" fmla="*/ 31 h 240"/>
                <a:gd name="T60" fmla="*/ 32 w 240"/>
                <a:gd name="T61" fmla="*/ 52 h 240"/>
                <a:gd name="T62" fmla="*/ 16 w 240"/>
                <a:gd name="T63" fmla="*/ 75 h 240"/>
                <a:gd name="T64" fmla="*/ 6 w 240"/>
                <a:gd name="T65" fmla="*/ 100 h 240"/>
                <a:gd name="T66" fmla="*/ 1 w 240"/>
                <a:gd name="T67" fmla="*/ 126 h 240"/>
                <a:gd name="T68" fmla="*/ 1 w 240"/>
                <a:gd name="T69" fmla="*/ 152 h 240"/>
                <a:gd name="T70" fmla="*/ 6 w 240"/>
                <a:gd name="T71" fmla="*/ 177 h 240"/>
                <a:gd name="T72" fmla="*/ 16 w 240"/>
                <a:gd name="T73" fmla="*/ 202 h 240"/>
                <a:gd name="T74" fmla="*/ 32 w 240"/>
                <a:gd name="T75" fmla="*/ 225 h 240"/>
                <a:gd name="T76" fmla="*/ 46 w 240"/>
                <a:gd name="T77" fmla="*/ 239 h 240"/>
                <a:gd name="T78" fmla="*/ 56 w 240"/>
                <a:gd name="T79"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60" y="235"/>
                  </a:moveTo>
                  <a:lnTo>
                    <a:pt x="62" y="231"/>
                  </a:lnTo>
                  <a:lnTo>
                    <a:pt x="63" y="227"/>
                  </a:lnTo>
                  <a:lnTo>
                    <a:pt x="62" y="223"/>
                  </a:lnTo>
                  <a:lnTo>
                    <a:pt x="60" y="218"/>
                  </a:lnTo>
                  <a:lnTo>
                    <a:pt x="51" y="210"/>
                  </a:lnTo>
                  <a:lnTo>
                    <a:pt x="45" y="200"/>
                  </a:lnTo>
                  <a:lnTo>
                    <a:pt x="38" y="190"/>
                  </a:lnTo>
                  <a:lnTo>
                    <a:pt x="34" y="181"/>
                  </a:lnTo>
                  <a:lnTo>
                    <a:pt x="30" y="171"/>
                  </a:lnTo>
                  <a:lnTo>
                    <a:pt x="28" y="160"/>
                  </a:lnTo>
                  <a:lnTo>
                    <a:pt x="27" y="149"/>
                  </a:lnTo>
                  <a:lnTo>
                    <a:pt x="26" y="139"/>
                  </a:lnTo>
                  <a:lnTo>
                    <a:pt x="27" y="128"/>
                  </a:lnTo>
                  <a:lnTo>
                    <a:pt x="28" y="117"/>
                  </a:lnTo>
                  <a:lnTo>
                    <a:pt x="30" y="108"/>
                  </a:lnTo>
                  <a:lnTo>
                    <a:pt x="34" y="97"/>
                  </a:lnTo>
                  <a:lnTo>
                    <a:pt x="38" y="87"/>
                  </a:lnTo>
                  <a:lnTo>
                    <a:pt x="45" y="78"/>
                  </a:lnTo>
                  <a:lnTo>
                    <a:pt x="51" y="69"/>
                  </a:lnTo>
                  <a:lnTo>
                    <a:pt x="60" y="60"/>
                  </a:lnTo>
                  <a:lnTo>
                    <a:pt x="67" y="52"/>
                  </a:lnTo>
                  <a:lnTo>
                    <a:pt x="77" y="45"/>
                  </a:lnTo>
                  <a:lnTo>
                    <a:pt x="87" y="39"/>
                  </a:lnTo>
                  <a:lnTo>
                    <a:pt x="96" y="35"/>
                  </a:lnTo>
                  <a:lnTo>
                    <a:pt x="106" y="30"/>
                  </a:lnTo>
                  <a:lnTo>
                    <a:pt x="117" y="28"/>
                  </a:lnTo>
                  <a:lnTo>
                    <a:pt x="128" y="26"/>
                  </a:lnTo>
                  <a:lnTo>
                    <a:pt x="138" y="26"/>
                  </a:lnTo>
                  <a:lnTo>
                    <a:pt x="150" y="26"/>
                  </a:lnTo>
                  <a:lnTo>
                    <a:pt x="161" y="28"/>
                  </a:lnTo>
                  <a:lnTo>
                    <a:pt x="171" y="30"/>
                  </a:lnTo>
                  <a:lnTo>
                    <a:pt x="181" y="35"/>
                  </a:lnTo>
                  <a:lnTo>
                    <a:pt x="191" y="39"/>
                  </a:lnTo>
                  <a:lnTo>
                    <a:pt x="201" y="45"/>
                  </a:lnTo>
                  <a:lnTo>
                    <a:pt x="209" y="52"/>
                  </a:lnTo>
                  <a:lnTo>
                    <a:pt x="218" y="60"/>
                  </a:lnTo>
                  <a:lnTo>
                    <a:pt x="222" y="63"/>
                  </a:lnTo>
                  <a:lnTo>
                    <a:pt x="227" y="64"/>
                  </a:lnTo>
                  <a:lnTo>
                    <a:pt x="232" y="63"/>
                  </a:lnTo>
                  <a:lnTo>
                    <a:pt x="236" y="60"/>
                  </a:lnTo>
                  <a:lnTo>
                    <a:pt x="239" y="56"/>
                  </a:lnTo>
                  <a:lnTo>
                    <a:pt x="240" y="51"/>
                  </a:lnTo>
                  <a:lnTo>
                    <a:pt x="239" y="45"/>
                  </a:lnTo>
                  <a:lnTo>
                    <a:pt x="236" y="41"/>
                  </a:lnTo>
                  <a:lnTo>
                    <a:pt x="225" y="31"/>
                  </a:lnTo>
                  <a:lnTo>
                    <a:pt x="215" y="24"/>
                  </a:lnTo>
                  <a:lnTo>
                    <a:pt x="203" y="16"/>
                  </a:lnTo>
                  <a:lnTo>
                    <a:pt x="191" y="11"/>
                  </a:lnTo>
                  <a:lnTo>
                    <a:pt x="178" y="7"/>
                  </a:lnTo>
                  <a:lnTo>
                    <a:pt x="165" y="3"/>
                  </a:lnTo>
                  <a:lnTo>
                    <a:pt x="152" y="1"/>
                  </a:lnTo>
                  <a:lnTo>
                    <a:pt x="138" y="0"/>
                  </a:lnTo>
                  <a:lnTo>
                    <a:pt x="125" y="1"/>
                  </a:lnTo>
                  <a:lnTo>
                    <a:pt x="113" y="3"/>
                  </a:lnTo>
                  <a:lnTo>
                    <a:pt x="100" y="7"/>
                  </a:lnTo>
                  <a:lnTo>
                    <a:pt x="87" y="11"/>
                  </a:lnTo>
                  <a:lnTo>
                    <a:pt x="75" y="16"/>
                  </a:lnTo>
                  <a:lnTo>
                    <a:pt x="63" y="24"/>
                  </a:lnTo>
                  <a:lnTo>
                    <a:pt x="51" y="31"/>
                  </a:lnTo>
                  <a:lnTo>
                    <a:pt x="42" y="41"/>
                  </a:lnTo>
                  <a:lnTo>
                    <a:pt x="32" y="52"/>
                  </a:lnTo>
                  <a:lnTo>
                    <a:pt x="23" y="64"/>
                  </a:lnTo>
                  <a:lnTo>
                    <a:pt x="16" y="75"/>
                  </a:lnTo>
                  <a:lnTo>
                    <a:pt x="11" y="87"/>
                  </a:lnTo>
                  <a:lnTo>
                    <a:pt x="6" y="100"/>
                  </a:lnTo>
                  <a:lnTo>
                    <a:pt x="2" y="113"/>
                  </a:lnTo>
                  <a:lnTo>
                    <a:pt x="1" y="126"/>
                  </a:lnTo>
                  <a:lnTo>
                    <a:pt x="0" y="139"/>
                  </a:lnTo>
                  <a:lnTo>
                    <a:pt x="1" y="152"/>
                  </a:lnTo>
                  <a:lnTo>
                    <a:pt x="2" y="165"/>
                  </a:lnTo>
                  <a:lnTo>
                    <a:pt x="6" y="177"/>
                  </a:lnTo>
                  <a:lnTo>
                    <a:pt x="11" y="190"/>
                  </a:lnTo>
                  <a:lnTo>
                    <a:pt x="16" y="202"/>
                  </a:lnTo>
                  <a:lnTo>
                    <a:pt x="23" y="214"/>
                  </a:lnTo>
                  <a:lnTo>
                    <a:pt x="32" y="225"/>
                  </a:lnTo>
                  <a:lnTo>
                    <a:pt x="42" y="235"/>
                  </a:lnTo>
                  <a:lnTo>
                    <a:pt x="46" y="239"/>
                  </a:lnTo>
                  <a:lnTo>
                    <a:pt x="50" y="240"/>
                  </a:lnTo>
                  <a:lnTo>
                    <a:pt x="56" y="239"/>
                  </a:lnTo>
                  <a:lnTo>
                    <a:pt x="60"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693" name="Freeform 120">
              <a:extLst>
                <a:ext uri="{FF2B5EF4-FFF2-40B4-BE49-F238E27FC236}">
                  <a16:creationId xmlns:a16="http://schemas.microsoft.com/office/drawing/2014/main" id="{73F21F5F-9C4B-45C4-A030-8CFA5C5231FE}"/>
                </a:ext>
              </a:extLst>
            </p:cNvPr>
            <p:cNvSpPr>
              <a:spLocks/>
            </p:cNvSpPr>
            <p:nvPr/>
          </p:nvSpPr>
          <p:spPr bwMode="auto">
            <a:xfrm>
              <a:off x="538163" y="4464051"/>
              <a:ext cx="95250" cy="95250"/>
            </a:xfrm>
            <a:custGeom>
              <a:avLst/>
              <a:gdLst>
                <a:gd name="T0" fmla="*/ 188 w 240"/>
                <a:gd name="T1" fmla="*/ 31 h 240"/>
                <a:gd name="T2" fmla="*/ 166 w 240"/>
                <a:gd name="T3" fmla="*/ 16 h 240"/>
                <a:gd name="T4" fmla="*/ 141 w 240"/>
                <a:gd name="T5" fmla="*/ 7 h 240"/>
                <a:gd name="T6" fmla="*/ 115 w 240"/>
                <a:gd name="T7" fmla="*/ 1 h 240"/>
                <a:gd name="T8" fmla="*/ 88 w 240"/>
                <a:gd name="T9" fmla="*/ 1 h 240"/>
                <a:gd name="T10" fmla="*/ 62 w 240"/>
                <a:gd name="T11" fmla="*/ 7 h 240"/>
                <a:gd name="T12" fmla="*/ 37 w 240"/>
                <a:gd name="T13" fmla="*/ 16 h 240"/>
                <a:gd name="T14" fmla="*/ 14 w 240"/>
                <a:gd name="T15" fmla="*/ 31 h 240"/>
                <a:gd name="T16" fmla="*/ 1 w 240"/>
                <a:gd name="T17" fmla="*/ 45 h 240"/>
                <a:gd name="T18" fmla="*/ 1 w 240"/>
                <a:gd name="T19" fmla="*/ 56 h 240"/>
                <a:gd name="T20" fmla="*/ 8 w 240"/>
                <a:gd name="T21" fmla="*/ 63 h 240"/>
                <a:gd name="T22" fmla="*/ 18 w 240"/>
                <a:gd name="T23" fmla="*/ 63 h 240"/>
                <a:gd name="T24" fmla="*/ 30 w 240"/>
                <a:gd name="T25" fmla="*/ 52 h 240"/>
                <a:gd name="T26" fmla="*/ 49 w 240"/>
                <a:gd name="T27" fmla="*/ 39 h 240"/>
                <a:gd name="T28" fmla="*/ 69 w 240"/>
                <a:gd name="T29" fmla="*/ 30 h 240"/>
                <a:gd name="T30" fmla="*/ 91 w 240"/>
                <a:gd name="T31" fmla="*/ 26 h 240"/>
                <a:gd name="T32" fmla="*/ 112 w 240"/>
                <a:gd name="T33" fmla="*/ 26 h 240"/>
                <a:gd name="T34" fmla="*/ 133 w 240"/>
                <a:gd name="T35" fmla="*/ 30 h 240"/>
                <a:gd name="T36" fmla="*/ 154 w 240"/>
                <a:gd name="T37" fmla="*/ 39 h 240"/>
                <a:gd name="T38" fmla="*/ 172 w 240"/>
                <a:gd name="T39" fmla="*/ 52 h 240"/>
                <a:gd name="T40" fmla="*/ 188 w 240"/>
                <a:gd name="T41" fmla="*/ 69 h 240"/>
                <a:gd name="T42" fmla="*/ 201 w 240"/>
                <a:gd name="T43" fmla="*/ 87 h 240"/>
                <a:gd name="T44" fmla="*/ 210 w 240"/>
                <a:gd name="T45" fmla="*/ 108 h 240"/>
                <a:gd name="T46" fmla="*/ 214 w 240"/>
                <a:gd name="T47" fmla="*/ 128 h 240"/>
                <a:gd name="T48" fmla="*/ 214 w 240"/>
                <a:gd name="T49" fmla="*/ 149 h 240"/>
                <a:gd name="T50" fmla="*/ 210 w 240"/>
                <a:gd name="T51" fmla="*/ 171 h 240"/>
                <a:gd name="T52" fmla="*/ 201 w 240"/>
                <a:gd name="T53" fmla="*/ 190 h 240"/>
                <a:gd name="T54" fmla="*/ 188 w 240"/>
                <a:gd name="T55" fmla="*/ 210 h 240"/>
                <a:gd name="T56" fmla="*/ 178 w 240"/>
                <a:gd name="T57" fmla="*/ 223 h 240"/>
                <a:gd name="T58" fmla="*/ 178 w 240"/>
                <a:gd name="T59" fmla="*/ 231 h 240"/>
                <a:gd name="T60" fmla="*/ 185 w 240"/>
                <a:gd name="T61" fmla="*/ 239 h 240"/>
                <a:gd name="T62" fmla="*/ 195 w 240"/>
                <a:gd name="T63" fmla="*/ 239 h 240"/>
                <a:gd name="T64" fmla="*/ 209 w 240"/>
                <a:gd name="T65" fmla="*/ 225 h 240"/>
                <a:gd name="T66" fmla="*/ 224 w 240"/>
                <a:gd name="T67" fmla="*/ 202 h 240"/>
                <a:gd name="T68" fmla="*/ 234 w 240"/>
                <a:gd name="T69" fmla="*/ 177 h 240"/>
                <a:gd name="T70" fmla="*/ 240 w 240"/>
                <a:gd name="T71" fmla="*/ 152 h 240"/>
                <a:gd name="T72" fmla="*/ 240 w 240"/>
                <a:gd name="T73" fmla="*/ 126 h 240"/>
                <a:gd name="T74" fmla="*/ 234 w 240"/>
                <a:gd name="T75" fmla="*/ 100 h 240"/>
                <a:gd name="T76" fmla="*/ 224 w 240"/>
                <a:gd name="T77" fmla="*/ 75 h 240"/>
                <a:gd name="T78" fmla="*/ 209 w 240"/>
                <a:gd name="T79" fmla="*/ 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199" y="41"/>
                  </a:moveTo>
                  <a:lnTo>
                    <a:pt x="188" y="31"/>
                  </a:lnTo>
                  <a:lnTo>
                    <a:pt x="178" y="24"/>
                  </a:lnTo>
                  <a:lnTo>
                    <a:pt x="166" y="16"/>
                  </a:lnTo>
                  <a:lnTo>
                    <a:pt x="154" y="11"/>
                  </a:lnTo>
                  <a:lnTo>
                    <a:pt x="141" y="7"/>
                  </a:lnTo>
                  <a:lnTo>
                    <a:pt x="128" y="3"/>
                  </a:lnTo>
                  <a:lnTo>
                    <a:pt x="115" y="1"/>
                  </a:lnTo>
                  <a:lnTo>
                    <a:pt x="101" y="0"/>
                  </a:lnTo>
                  <a:lnTo>
                    <a:pt x="88" y="1"/>
                  </a:lnTo>
                  <a:lnTo>
                    <a:pt x="74" y="3"/>
                  </a:lnTo>
                  <a:lnTo>
                    <a:pt x="62" y="7"/>
                  </a:lnTo>
                  <a:lnTo>
                    <a:pt x="49" y="11"/>
                  </a:lnTo>
                  <a:lnTo>
                    <a:pt x="37" y="16"/>
                  </a:lnTo>
                  <a:lnTo>
                    <a:pt x="25" y="24"/>
                  </a:lnTo>
                  <a:lnTo>
                    <a:pt x="14" y="31"/>
                  </a:lnTo>
                  <a:lnTo>
                    <a:pt x="4" y="41"/>
                  </a:lnTo>
                  <a:lnTo>
                    <a:pt x="1" y="45"/>
                  </a:lnTo>
                  <a:lnTo>
                    <a:pt x="0" y="51"/>
                  </a:lnTo>
                  <a:lnTo>
                    <a:pt x="1" y="56"/>
                  </a:lnTo>
                  <a:lnTo>
                    <a:pt x="4" y="60"/>
                  </a:lnTo>
                  <a:lnTo>
                    <a:pt x="8" y="63"/>
                  </a:lnTo>
                  <a:lnTo>
                    <a:pt x="13" y="64"/>
                  </a:lnTo>
                  <a:lnTo>
                    <a:pt x="18" y="63"/>
                  </a:lnTo>
                  <a:lnTo>
                    <a:pt x="22" y="60"/>
                  </a:lnTo>
                  <a:lnTo>
                    <a:pt x="30" y="52"/>
                  </a:lnTo>
                  <a:lnTo>
                    <a:pt x="40" y="45"/>
                  </a:lnTo>
                  <a:lnTo>
                    <a:pt x="49" y="39"/>
                  </a:lnTo>
                  <a:lnTo>
                    <a:pt x="59" y="35"/>
                  </a:lnTo>
                  <a:lnTo>
                    <a:pt x="69" y="30"/>
                  </a:lnTo>
                  <a:lnTo>
                    <a:pt x="80" y="28"/>
                  </a:lnTo>
                  <a:lnTo>
                    <a:pt x="91" y="26"/>
                  </a:lnTo>
                  <a:lnTo>
                    <a:pt x="101" y="26"/>
                  </a:lnTo>
                  <a:lnTo>
                    <a:pt x="112" y="26"/>
                  </a:lnTo>
                  <a:lnTo>
                    <a:pt x="123" y="28"/>
                  </a:lnTo>
                  <a:lnTo>
                    <a:pt x="133" y="30"/>
                  </a:lnTo>
                  <a:lnTo>
                    <a:pt x="144" y="35"/>
                  </a:lnTo>
                  <a:lnTo>
                    <a:pt x="154" y="39"/>
                  </a:lnTo>
                  <a:lnTo>
                    <a:pt x="164" y="45"/>
                  </a:lnTo>
                  <a:lnTo>
                    <a:pt x="172" y="52"/>
                  </a:lnTo>
                  <a:lnTo>
                    <a:pt x="181" y="60"/>
                  </a:lnTo>
                  <a:lnTo>
                    <a:pt x="188" y="69"/>
                  </a:lnTo>
                  <a:lnTo>
                    <a:pt x="196" y="78"/>
                  </a:lnTo>
                  <a:lnTo>
                    <a:pt x="201" y="87"/>
                  </a:lnTo>
                  <a:lnTo>
                    <a:pt x="207" y="97"/>
                  </a:lnTo>
                  <a:lnTo>
                    <a:pt x="210" y="108"/>
                  </a:lnTo>
                  <a:lnTo>
                    <a:pt x="213" y="117"/>
                  </a:lnTo>
                  <a:lnTo>
                    <a:pt x="214" y="128"/>
                  </a:lnTo>
                  <a:lnTo>
                    <a:pt x="214" y="139"/>
                  </a:lnTo>
                  <a:lnTo>
                    <a:pt x="214" y="149"/>
                  </a:lnTo>
                  <a:lnTo>
                    <a:pt x="213" y="160"/>
                  </a:lnTo>
                  <a:lnTo>
                    <a:pt x="210" y="171"/>
                  </a:lnTo>
                  <a:lnTo>
                    <a:pt x="207" y="181"/>
                  </a:lnTo>
                  <a:lnTo>
                    <a:pt x="201" y="190"/>
                  </a:lnTo>
                  <a:lnTo>
                    <a:pt x="196" y="200"/>
                  </a:lnTo>
                  <a:lnTo>
                    <a:pt x="188" y="210"/>
                  </a:lnTo>
                  <a:lnTo>
                    <a:pt x="181" y="218"/>
                  </a:lnTo>
                  <a:lnTo>
                    <a:pt x="178" y="223"/>
                  </a:lnTo>
                  <a:lnTo>
                    <a:pt x="176" y="227"/>
                  </a:lnTo>
                  <a:lnTo>
                    <a:pt x="178" y="231"/>
                  </a:lnTo>
                  <a:lnTo>
                    <a:pt x="181" y="235"/>
                  </a:lnTo>
                  <a:lnTo>
                    <a:pt x="185" y="239"/>
                  </a:lnTo>
                  <a:lnTo>
                    <a:pt x="189" y="240"/>
                  </a:lnTo>
                  <a:lnTo>
                    <a:pt x="195" y="239"/>
                  </a:lnTo>
                  <a:lnTo>
                    <a:pt x="199" y="235"/>
                  </a:lnTo>
                  <a:lnTo>
                    <a:pt x="209" y="225"/>
                  </a:lnTo>
                  <a:lnTo>
                    <a:pt x="217" y="214"/>
                  </a:lnTo>
                  <a:lnTo>
                    <a:pt x="224" y="202"/>
                  </a:lnTo>
                  <a:lnTo>
                    <a:pt x="230" y="190"/>
                  </a:lnTo>
                  <a:lnTo>
                    <a:pt x="234" y="177"/>
                  </a:lnTo>
                  <a:lnTo>
                    <a:pt x="238" y="165"/>
                  </a:lnTo>
                  <a:lnTo>
                    <a:pt x="240" y="152"/>
                  </a:lnTo>
                  <a:lnTo>
                    <a:pt x="240" y="139"/>
                  </a:lnTo>
                  <a:lnTo>
                    <a:pt x="240" y="126"/>
                  </a:lnTo>
                  <a:lnTo>
                    <a:pt x="238" y="113"/>
                  </a:lnTo>
                  <a:lnTo>
                    <a:pt x="234" y="100"/>
                  </a:lnTo>
                  <a:lnTo>
                    <a:pt x="230" y="87"/>
                  </a:lnTo>
                  <a:lnTo>
                    <a:pt x="224" y="75"/>
                  </a:lnTo>
                  <a:lnTo>
                    <a:pt x="217" y="64"/>
                  </a:lnTo>
                  <a:lnTo>
                    <a:pt x="209" y="52"/>
                  </a:lnTo>
                  <a:lnTo>
                    <a:pt x="199"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433" name="Group 136">
            <a:extLst>
              <a:ext uri="{FF2B5EF4-FFF2-40B4-BE49-F238E27FC236}">
                <a16:creationId xmlns:a16="http://schemas.microsoft.com/office/drawing/2014/main" id="{4E7A9D6D-63F6-4362-9969-80E195536AB4}"/>
              </a:ext>
            </a:extLst>
          </p:cNvPr>
          <p:cNvGrpSpPr>
            <a:grpSpLocks noChangeAspect="1"/>
          </p:cNvGrpSpPr>
          <p:nvPr/>
        </p:nvGrpSpPr>
        <p:grpSpPr>
          <a:xfrm>
            <a:off x="651487" y="3801969"/>
            <a:ext cx="325224" cy="285619"/>
            <a:chOff x="0" y="4483101"/>
            <a:chExt cx="677863" cy="595313"/>
          </a:xfrm>
          <a:solidFill>
            <a:schemeClr val="bg1"/>
          </a:solidFill>
          <a:effectLst/>
        </p:grpSpPr>
        <p:sp>
          <p:nvSpPr>
            <p:cNvPr id="434" name="Freeform 201">
              <a:extLst>
                <a:ext uri="{FF2B5EF4-FFF2-40B4-BE49-F238E27FC236}">
                  <a16:creationId xmlns:a16="http://schemas.microsoft.com/office/drawing/2014/main" id="{185ECA56-6E06-4EA2-A095-70F4E6045D97}"/>
                </a:ext>
              </a:extLst>
            </p:cNvPr>
            <p:cNvSpPr>
              <a:spLocks noEditPoints="1"/>
            </p:cNvSpPr>
            <p:nvPr/>
          </p:nvSpPr>
          <p:spPr bwMode="auto">
            <a:xfrm>
              <a:off x="84138" y="4802188"/>
              <a:ext cx="138113" cy="276225"/>
            </a:xfrm>
            <a:custGeom>
              <a:avLst/>
              <a:gdLst>
                <a:gd name="T0" fmla="*/ 52 w 261"/>
                <a:gd name="T1" fmla="*/ 469 h 521"/>
                <a:gd name="T2" fmla="*/ 209 w 261"/>
                <a:gd name="T3" fmla="*/ 469 h 521"/>
                <a:gd name="T4" fmla="*/ 209 w 261"/>
                <a:gd name="T5" fmla="*/ 52 h 521"/>
                <a:gd name="T6" fmla="*/ 52 w 261"/>
                <a:gd name="T7" fmla="*/ 52 h 521"/>
                <a:gd name="T8" fmla="*/ 52 w 261"/>
                <a:gd name="T9" fmla="*/ 469 h 521"/>
                <a:gd name="T10" fmla="*/ 235 w 261"/>
                <a:gd name="T11" fmla="*/ 521 h 521"/>
                <a:gd name="T12" fmla="*/ 26 w 261"/>
                <a:gd name="T13" fmla="*/ 521 h 521"/>
                <a:gd name="T14" fmla="*/ 21 w 261"/>
                <a:gd name="T15" fmla="*/ 521 h 521"/>
                <a:gd name="T16" fmla="*/ 16 w 261"/>
                <a:gd name="T17" fmla="*/ 520 h 521"/>
                <a:gd name="T18" fmla="*/ 12 w 261"/>
                <a:gd name="T19" fmla="*/ 517 h 521"/>
                <a:gd name="T20" fmla="*/ 8 w 261"/>
                <a:gd name="T21" fmla="*/ 514 h 521"/>
                <a:gd name="T22" fmla="*/ 5 w 261"/>
                <a:gd name="T23" fmla="*/ 510 h 521"/>
                <a:gd name="T24" fmla="*/ 2 w 261"/>
                <a:gd name="T25" fmla="*/ 505 h 521"/>
                <a:gd name="T26" fmla="*/ 0 w 261"/>
                <a:gd name="T27" fmla="*/ 501 h 521"/>
                <a:gd name="T28" fmla="*/ 0 w 261"/>
                <a:gd name="T29" fmla="*/ 495 h 521"/>
                <a:gd name="T30" fmla="*/ 0 w 261"/>
                <a:gd name="T31" fmla="*/ 26 h 521"/>
                <a:gd name="T32" fmla="*/ 0 w 261"/>
                <a:gd name="T33" fmla="*/ 20 h 521"/>
                <a:gd name="T34" fmla="*/ 2 w 261"/>
                <a:gd name="T35" fmla="*/ 16 h 521"/>
                <a:gd name="T36" fmla="*/ 5 w 261"/>
                <a:gd name="T37" fmla="*/ 11 h 521"/>
                <a:gd name="T38" fmla="*/ 8 w 261"/>
                <a:gd name="T39" fmla="*/ 7 h 521"/>
                <a:gd name="T40" fmla="*/ 12 w 261"/>
                <a:gd name="T41" fmla="*/ 4 h 521"/>
                <a:gd name="T42" fmla="*/ 16 w 261"/>
                <a:gd name="T43" fmla="*/ 1 h 521"/>
                <a:gd name="T44" fmla="*/ 21 w 261"/>
                <a:gd name="T45" fmla="*/ 0 h 521"/>
                <a:gd name="T46" fmla="*/ 26 w 261"/>
                <a:gd name="T47" fmla="*/ 0 h 521"/>
                <a:gd name="T48" fmla="*/ 235 w 261"/>
                <a:gd name="T49" fmla="*/ 0 h 521"/>
                <a:gd name="T50" fmla="*/ 241 w 261"/>
                <a:gd name="T51" fmla="*/ 0 h 521"/>
                <a:gd name="T52" fmla="*/ 245 w 261"/>
                <a:gd name="T53" fmla="*/ 1 h 521"/>
                <a:gd name="T54" fmla="*/ 250 w 261"/>
                <a:gd name="T55" fmla="*/ 4 h 521"/>
                <a:gd name="T56" fmla="*/ 254 w 261"/>
                <a:gd name="T57" fmla="*/ 7 h 521"/>
                <a:gd name="T58" fmla="*/ 257 w 261"/>
                <a:gd name="T59" fmla="*/ 11 h 521"/>
                <a:gd name="T60" fmla="*/ 260 w 261"/>
                <a:gd name="T61" fmla="*/ 16 h 521"/>
                <a:gd name="T62" fmla="*/ 261 w 261"/>
                <a:gd name="T63" fmla="*/ 20 h 521"/>
                <a:gd name="T64" fmla="*/ 261 w 261"/>
                <a:gd name="T65" fmla="*/ 26 h 521"/>
                <a:gd name="T66" fmla="*/ 261 w 261"/>
                <a:gd name="T67" fmla="*/ 495 h 521"/>
                <a:gd name="T68" fmla="*/ 261 w 261"/>
                <a:gd name="T69" fmla="*/ 501 h 521"/>
                <a:gd name="T70" fmla="*/ 260 w 261"/>
                <a:gd name="T71" fmla="*/ 505 h 521"/>
                <a:gd name="T72" fmla="*/ 257 w 261"/>
                <a:gd name="T73" fmla="*/ 510 h 521"/>
                <a:gd name="T74" fmla="*/ 254 w 261"/>
                <a:gd name="T75" fmla="*/ 514 h 521"/>
                <a:gd name="T76" fmla="*/ 250 w 261"/>
                <a:gd name="T77" fmla="*/ 517 h 521"/>
                <a:gd name="T78" fmla="*/ 245 w 261"/>
                <a:gd name="T79" fmla="*/ 520 h 521"/>
                <a:gd name="T80" fmla="*/ 241 w 261"/>
                <a:gd name="T81" fmla="*/ 521 h 521"/>
                <a:gd name="T82" fmla="*/ 235 w 261"/>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521">
                  <a:moveTo>
                    <a:pt x="52" y="469"/>
                  </a:moveTo>
                  <a:lnTo>
                    <a:pt x="209" y="469"/>
                  </a:lnTo>
                  <a:lnTo>
                    <a:pt x="209" y="52"/>
                  </a:lnTo>
                  <a:lnTo>
                    <a:pt x="52" y="52"/>
                  </a:lnTo>
                  <a:lnTo>
                    <a:pt x="52" y="469"/>
                  </a:lnTo>
                  <a:close/>
                  <a:moveTo>
                    <a:pt x="235" y="521"/>
                  </a:moveTo>
                  <a:lnTo>
                    <a:pt x="26" y="521"/>
                  </a:lnTo>
                  <a:lnTo>
                    <a:pt x="21" y="521"/>
                  </a:lnTo>
                  <a:lnTo>
                    <a:pt x="16" y="520"/>
                  </a:lnTo>
                  <a:lnTo>
                    <a:pt x="12" y="517"/>
                  </a:lnTo>
                  <a:lnTo>
                    <a:pt x="8" y="514"/>
                  </a:lnTo>
                  <a:lnTo>
                    <a:pt x="5" y="510"/>
                  </a:lnTo>
                  <a:lnTo>
                    <a:pt x="2" y="505"/>
                  </a:lnTo>
                  <a:lnTo>
                    <a:pt x="0" y="501"/>
                  </a:lnTo>
                  <a:lnTo>
                    <a:pt x="0" y="495"/>
                  </a:lnTo>
                  <a:lnTo>
                    <a:pt x="0" y="26"/>
                  </a:lnTo>
                  <a:lnTo>
                    <a:pt x="0" y="20"/>
                  </a:lnTo>
                  <a:lnTo>
                    <a:pt x="2" y="16"/>
                  </a:lnTo>
                  <a:lnTo>
                    <a:pt x="5" y="11"/>
                  </a:lnTo>
                  <a:lnTo>
                    <a:pt x="8" y="7"/>
                  </a:lnTo>
                  <a:lnTo>
                    <a:pt x="12" y="4"/>
                  </a:lnTo>
                  <a:lnTo>
                    <a:pt x="16" y="1"/>
                  </a:lnTo>
                  <a:lnTo>
                    <a:pt x="21" y="0"/>
                  </a:lnTo>
                  <a:lnTo>
                    <a:pt x="26" y="0"/>
                  </a:lnTo>
                  <a:lnTo>
                    <a:pt x="235" y="0"/>
                  </a:lnTo>
                  <a:lnTo>
                    <a:pt x="241" y="0"/>
                  </a:lnTo>
                  <a:lnTo>
                    <a:pt x="245" y="1"/>
                  </a:lnTo>
                  <a:lnTo>
                    <a:pt x="250" y="4"/>
                  </a:lnTo>
                  <a:lnTo>
                    <a:pt x="254" y="7"/>
                  </a:lnTo>
                  <a:lnTo>
                    <a:pt x="257" y="11"/>
                  </a:lnTo>
                  <a:lnTo>
                    <a:pt x="260" y="16"/>
                  </a:lnTo>
                  <a:lnTo>
                    <a:pt x="261" y="20"/>
                  </a:lnTo>
                  <a:lnTo>
                    <a:pt x="261" y="26"/>
                  </a:lnTo>
                  <a:lnTo>
                    <a:pt x="261" y="495"/>
                  </a:lnTo>
                  <a:lnTo>
                    <a:pt x="261" y="501"/>
                  </a:lnTo>
                  <a:lnTo>
                    <a:pt x="260" y="505"/>
                  </a:lnTo>
                  <a:lnTo>
                    <a:pt x="257" y="510"/>
                  </a:lnTo>
                  <a:lnTo>
                    <a:pt x="254" y="514"/>
                  </a:lnTo>
                  <a:lnTo>
                    <a:pt x="250" y="517"/>
                  </a:lnTo>
                  <a:lnTo>
                    <a:pt x="245" y="520"/>
                  </a:lnTo>
                  <a:lnTo>
                    <a:pt x="241" y="521"/>
                  </a:lnTo>
                  <a:lnTo>
                    <a:pt x="235"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02">
              <a:extLst>
                <a:ext uri="{FF2B5EF4-FFF2-40B4-BE49-F238E27FC236}">
                  <a16:creationId xmlns:a16="http://schemas.microsoft.com/office/drawing/2014/main" id="{47D21B9D-2C73-4075-97F1-967104F06923}"/>
                </a:ext>
              </a:extLst>
            </p:cNvPr>
            <p:cNvSpPr>
              <a:spLocks noEditPoints="1"/>
            </p:cNvSpPr>
            <p:nvPr/>
          </p:nvSpPr>
          <p:spPr bwMode="auto">
            <a:xfrm>
              <a:off x="277813" y="4664076"/>
              <a:ext cx="138113" cy="414338"/>
            </a:xfrm>
            <a:custGeom>
              <a:avLst/>
              <a:gdLst>
                <a:gd name="T0" fmla="*/ 52 w 261"/>
                <a:gd name="T1" fmla="*/ 731 h 783"/>
                <a:gd name="T2" fmla="*/ 209 w 261"/>
                <a:gd name="T3" fmla="*/ 731 h 783"/>
                <a:gd name="T4" fmla="*/ 209 w 261"/>
                <a:gd name="T5" fmla="*/ 52 h 783"/>
                <a:gd name="T6" fmla="*/ 52 w 261"/>
                <a:gd name="T7" fmla="*/ 52 h 783"/>
                <a:gd name="T8" fmla="*/ 52 w 261"/>
                <a:gd name="T9" fmla="*/ 731 h 783"/>
                <a:gd name="T10" fmla="*/ 235 w 261"/>
                <a:gd name="T11" fmla="*/ 783 h 783"/>
                <a:gd name="T12" fmla="*/ 26 w 261"/>
                <a:gd name="T13" fmla="*/ 783 h 783"/>
                <a:gd name="T14" fmla="*/ 20 w 261"/>
                <a:gd name="T15" fmla="*/ 783 h 783"/>
                <a:gd name="T16" fmla="*/ 16 w 261"/>
                <a:gd name="T17" fmla="*/ 782 h 783"/>
                <a:gd name="T18" fmla="*/ 12 w 261"/>
                <a:gd name="T19" fmla="*/ 779 h 783"/>
                <a:gd name="T20" fmla="*/ 7 w 261"/>
                <a:gd name="T21" fmla="*/ 776 h 783"/>
                <a:gd name="T22" fmla="*/ 4 w 261"/>
                <a:gd name="T23" fmla="*/ 772 h 783"/>
                <a:gd name="T24" fmla="*/ 2 w 261"/>
                <a:gd name="T25" fmla="*/ 767 h 783"/>
                <a:gd name="T26" fmla="*/ 0 w 261"/>
                <a:gd name="T27" fmla="*/ 763 h 783"/>
                <a:gd name="T28" fmla="*/ 0 w 261"/>
                <a:gd name="T29" fmla="*/ 757 h 783"/>
                <a:gd name="T30" fmla="*/ 0 w 261"/>
                <a:gd name="T31" fmla="*/ 26 h 783"/>
                <a:gd name="T32" fmla="*/ 0 w 261"/>
                <a:gd name="T33" fmla="*/ 21 h 783"/>
                <a:gd name="T34" fmla="*/ 2 w 261"/>
                <a:gd name="T35" fmla="*/ 16 h 783"/>
                <a:gd name="T36" fmla="*/ 4 w 261"/>
                <a:gd name="T37" fmla="*/ 11 h 783"/>
                <a:gd name="T38" fmla="*/ 7 w 261"/>
                <a:gd name="T39" fmla="*/ 8 h 783"/>
                <a:gd name="T40" fmla="*/ 12 w 261"/>
                <a:gd name="T41" fmla="*/ 4 h 783"/>
                <a:gd name="T42" fmla="*/ 16 w 261"/>
                <a:gd name="T43" fmla="*/ 3 h 783"/>
                <a:gd name="T44" fmla="*/ 20 w 261"/>
                <a:gd name="T45" fmla="*/ 1 h 783"/>
                <a:gd name="T46" fmla="*/ 26 w 261"/>
                <a:gd name="T47" fmla="*/ 0 h 783"/>
                <a:gd name="T48" fmla="*/ 235 w 261"/>
                <a:gd name="T49" fmla="*/ 0 h 783"/>
                <a:gd name="T50" fmla="*/ 241 w 261"/>
                <a:gd name="T51" fmla="*/ 1 h 783"/>
                <a:gd name="T52" fmla="*/ 245 w 261"/>
                <a:gd name="T53" fmla="*/ 3 h 783"/>
                <a:gd name="T54" fmla="*/ 249 w 261"/>
                <a:gd name="T55" fmla="*/ 4 h 783"/>
                <a:gd name="T56" fmla="*/ 254 w 261"/>
                <a:gd name="T57" fmla="*/ 8 h 783"/>
                <a:gd name="T58" fmla="*/ 256 w 261"/>
                <a:gd name="T59" fmla="*/ 11 h 783"/>
                <a:gd name="T60" fmla="*/ 259 w 261"/>
                <a:gd name="T61" fmla="*/ 16 h 783"/>
                <a:gd name="T62" fmla="*/ 261 w 261"/>
                <a:gd name="T63" fmla="*/ 21 h 783"/>
                <a:gd name="T64" fmla="*/ 261 w 261"/>
                <a:gd name="T65" fmla="*/ 26 h 783"/>
                <a:gd name="T66" fmla="*/ 261 w 261"/>
                <a:gd name="T67" fmla="*/ 757 h 783"/>
                <a:gd name="T68" fmla="*/ 261 w 261"/>
                <a:gd name="T69" fmla="*/ 763 h 783"/>
                <a:gd name="T70" fmla="*/ 259 w 261"/>
                <a:gd name="T71" fmla="*/ 767 h 783"/>
                <a:gd name="T72" fmla="*/ 256 w 261"/>
                <a:gd name="T73" fmla="*/ 772 h 783"/>
                <a:gd name="T74" fmla="*/ 254 w 261"/>
                <a:gd name="T75" fmla="*/ 776 h 783"/>
                <a:gd name="T76" fmla="*/ 249 w 261"/>
                <a:gd name="T77" fmla="*/ 779 h 783"/>
                <a:gd name="T78" fmla="*/ 245 w 261"/>
                <a:gd name="T79" fmla="*/ 782 h 783"/>
                <a:gd name="T80" fmla="*/ 241 w 261"/>
                <a:gd name="T81" fmla="*/ 783 h 783"/>
                <a:gd name="T82" fmla="*/ 235 w 261"/>
                <a:gd name="T83"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783">
                  <a:moveTo>
                    <a:pt x="52" y="731"/>
                  </a:moveTo>
                  <a:lnTo>
                    <a:pt x="209" y="731"/>
                  </a:lnTo>
                  <a:lnTo>
                    <a:pt x="209" y="52"/>
                  </a:lnTo>
                  <a:lnTo>
                    <a:pt x="52" y="52"/>
                  </a:lnTo>
                  <a:lnTo>
                    <a:pt x="52" y="731"/>
                  </a:lnTo>
                  <a:close/>
                  <a:moveTo>
                    <a:pt x="235" y="783"/>
                  </a:moveTo>
                  <a:lnTo>
                    <a:pt x="26" y="783"/>
                  </a:lnTo>
                  <a:lnTo>
                    <a:pt x="20" y="783"/>
                  </a:lnTo>
                  <a:lnTo>
                    <a:pt x="16" y="782"/>
                  </a:lnTo>
                  <a:lnTo>
                    <a:pt x="12" y="779"/>
                  </a:lnTo>
                  <a:lnTo>
                    <a:pt x="7" y="776"/>
                  </a:lnTo>
                  <a:lnTo>
                    <a:pt x="4" y="772"/>
                  </a:lnTo>
                  <a:lnTo>
                    <a:pt x="2" y="767"/>
                  </a:lnTo>
                  <a:lnTo>
                    <a:pt x="0" y="763"/>
                  </a:lnTo>
                  <a:lnTo>
                    <a:pt x="0" y="757"/>
                  </a:lnTo>
                  <a:lnTo>
                    <a:pt x="0" y="26"/>
                  </a:lnTo>
                  <a:lnTo>
                    <a:pt x="0" y="21"/>
                  </a:lnTo>
                  <a:lnTo>
                    <a:pt x="2" y="16"/>
                  </a:lnTo>
                  <a:lnTo>
                    <a:pt x="4" y="11"/>
                  </a:lnTo>
                  <a:lnTo>
                    <a:pt x="7" y="8"/>
                  </a:lnTo>
                  <a:lnTo>
                    <a:pt x="12" y="4"/>
                  </a:lnTo>
                  <a:lnTo>
                    <a:pt x="16" y="3"/>
                  </a:lnTo>
                  <a:lnTo>
                    <a:pt x="20" y="1"/>
                  </a:lnTo>
                  <a:lnTo>
                    <a:pt x="26" y="0"/>
                  </a:lnTo>
                  <a:lnTo>
                    <a:pt x="235" y="0"/>
                  </a:lnTo>
                  <a:lnTo>
                    <a:pt x="241" y="1"/>
                  </a:lnTo>
                  <a:lnTo>
                    <a:pt x="245" y="3"/>
                  </a:lnTo>
                  <a:lnTo>
                    <a:pt x="249" y="4"/>
                  </a:lnTo>
                  <a:lnTo>
                    <a:pt x="254" y="8"/>
                  </a:lnTo>
                  <a:lnTo>
                    <a:pt x="256" y="11"/>
                  </a:lnTo>
                  <a:lnTo>
                    <a:pt x="259" y="16"/>
                  </a:lnTo>
                  <a:lnTo>
                    <a:pt x="261" y="21"/>
                  </a:lnTo>
                  <a:lnTo>
                    <a:pt x="261" y="26"/>
                  </a:lnTo>
                  <a:lnTo>
                    <a:pt x="261" y="757"/>
                  </a:lnTo>
                  <a:lnTo>
                    <a:pt x="261" y="763"/>
                  </a:lnTo>
                  <a:lnTo>
                    <a:pt x="259" y="767"/>
                  </a:lnTo>
                  <a:lnTo>
                    <a:pt x="256" y="772"/>
                  </a:lnTo>
                  <a:lnTo>
                    <a:pt x="254" y="776"/>
                  </a:lnTo>
                  <a:lnTo>
                    <a:pt x="249" y="779"/>
                  </a:lnTo>
                  <a:lnTo>
                    <a:pt x="245" y="782"/>
                  </a:lnTo>
                  <a:lnTo>
                    <a:pt x="241" y="783"/>
                  </a:lnTo>
                  <a:lnTo>
                    <a:pt x="235" y="7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203">
              <a:extLst>
                <a:ext uri="{FF2B5EF4-FFF2-40B4-BE49-F238E27FC236}">
                  <a16:creationId xmlns:a16="http://schemas.microsoft.com/office/drawing/2014/main" id="{DC663A64-F43D-49E4-9281-186B80E8DFF6}"/>
                </a:ext>
              </a:extLst>
            </p:cNvPr>
            <p:cNvSpPr>
              <a:spLocks noEditPoints="1"/>
            </p:cNvSpPr>
            <p:nvPr/>
          </p:nvSpPr>
          <p:spPr bwMode="auto">
            <a:xfrm>
              <a:off x="471488" y="4552951"/>
              <a:ext cx="138113" cy="525463"/>
            </a:xfrm>
            <a:custGeom>
              <a:avLst/>
              <a:gdLst>
                <a:gd name="T0" fmla="*/ 52 w 261"/>
                <a:gd name="T1" fmla="*/ 940 h 992"/>
                <a:gd name="T2" fmla="*/ 209 w 261"/>
                <a:gd name="T3" fmla="*/ 940 h 992"/>
                <a:gd name="T4" fmla="*/ 209 w 261"/>
                <a:gd name="T5" fmla="*/ 52 h 992"/>
                <a:gd name="T6" fmla="*/ 52 w 261"/>
                <a:gd name="T7" fmla="*/ 52 h 992"/>
                <a:gd name="T8" fmla="*/ 52 w 261"/>
                <a:gd name="T9" fmla="*/ 940 h 992"/>
                <a:gd name="T10" fmla="*/ 235 w 261"/>
                <a:gd name="T11" fmla="*/ 992 h 992"/>
                <a:gd name="T12" fmla="*/ 26 w 261"/>
                <a:gd name="T13" fmla="*/ 992 h 992"/>
                <a:gd name="T14" fmla="*/ 20 w 261"/>
                <a:gd name="T15" fmla="*/ 992 h 992"/>
                <a:gd name="T16" fmla="*/ 16 w 261"/>
                <a:gd name="T17" fmla="*/ 991 h 992"/>
                <a:gd name="T18" fmla="*/ 11 w 261"/>
                <a:gd name="T19" fmla="*/ 988 h 992"/>
                <a:gd name="T20" fmla="*/ 7 w 261"/>
                <a:gd name="T21" fmla="*/ 985 h 992"/>
                <a:gd name="T22" fmla="*/ 4 w 261"/>
                <a:gd name="T23" fmla="*/ 981 h 992"/>
                <a:gd name="T24" fmla="*/ 1 w 261"/>
                <a:gd name="T25" fmla="*/ 976 h 992"/>
                <a:gd name="T26" fmla="*/ 0 w 261"/>
                <a:gd name="T27" fmla="*/ 972 h 992"/>
                <a:gd name="T28" fmla="*/ 0 w 261"/>
                <a:gd name="T29" fmla="*/ 966 h 992"/>
                <a:gd name="T30" fmla="*/ 0 w 261"/>
                <a:gd name="T31" fmla="*/ 26 h 992"/>
                <a:gd name="T32" fmla="*/ 0 w 261"/>
                <a:gd name="T33" fmla="*/ 22 h 992"/>
                <a:gd name="T34" fmla="*/ 1 w 261"/>
                <a:gd name="T35" fmla="*/ 16 h 992"/>
                <a:gd name="T36" fmla="*/ 4 w 261"/>
                <a:gd name="T37" fmla="*/ 11 h 992"/>
                <a:gd name="T38" fmla="*/ 7 w 261"/>
                <a:gd name="T39" fmla="*/ 7 h 992"/>
                <a:gd name="T40" fmla="*/ 11 w 261"/>
                <a:gd name="T41" fmla="*/ 4 h 992"/>
                <a:gd name="T42" fmla="*/ 16 w 261"/>
                <a:gd name="T43" fmla="*/ 3 h 992"/>
                <a:gd name="T44" fmla="*/ 20 w 261"/>
                <a:gd name="T45" fmla="*/ 0 h 992"/>
                <a:gd name="T46" fmla="*/ 26 w 261"/>
                <a:gd name="T47" fmla="*/ 0 h 992"/>
                <a:gd name="T48" fmla="*/ 235 w 261"/>
                <a:gd name="T49" fmla="*/ 0 h 992"/>
                <a:gd name="T50" fmla="*/ 240 w 261"/>
                <a:gd name="T51" fmla="*/ 0 h 992"/>
                <a:gd name="T52" fmla="*/ 245 w 261"/>
                <a:gd name="T53" fmla="*/ 3 h 992"/>
                <a:gd name="T54" fmla="*/ 249 w 261"/>
                <a:gd name="T55" fmla="*/ 4 h 992"/>
                <a:gd name="T56" fmla="*/ 253 w 261"/>
                <a:gd name="T57" fmla="*/ 7 h 992"/>
                <a:gd name="T58" fmla="*/ 256 w 261"/>
                <a:gd name="T59" fmla="*/ 11 h 992"/>
                <a:gd name="T60" fmla="*/ 259 w 261"/>
                <a:gd name="T61" fmla="*/ 16 h 992"/>
                <a:gd name="T62" fmla="*/ 261 w 261"/>
                <a:gd name="T63" fmla="*/ 22 h 992"/>
                <a:gd name="T64" fmla="*/ 261 w 261"/>
                <a:gd name="T65" fmla="*/ 26 h 992"/>
                <a:gd name="T66" fmla="*/ 261 w 261"/>
                <a:gd name="T67" fmla="*/ 966 h 992"/>
                <a:gd name="T68" fmla="*/ 261 w 261"/>
                <a:gd name="T69" fmla="*/ 972 h 992"/>
                <a:gd name="T70" fmla="*/ 259 w 261"/>
                <a:gd name="T71" fmla="*/ 976 h 992"/>
                <a:gd name="T72" fmla="*/ 256 w 261"/>
                <a:gd name="T73" fmla="*/ 981 h 992"/>
                <a:gd name="T74" fmla="*/ 253 w 261"/>
                <a:gd name="T75" fmla="*/ 985 h 992"/>
                <a:gd name="T76" fmla="*/ 249 w 261"/>
                <a:gd name="T77" fmla="*/ 988 h 992"/>
                <a:gd name="T78" fmla="*/ 245 w 261"/>
                <a:gd name="T79" fmla="*/ 991 h 992"/>
                <a:gd name="T80" fmla="*/ 240 w 261"/>
                <a:gd name="T81" fmla="*/ 992 h 992"/>
                <a:gd name="T82" fmla="*/ 235 w 261"/>
                <a:gd name="T83" fmla="*/ 99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992">
                  <a:moveTo>
                    <a:pt x="52" y="940"/>
                  </a:moveTo>
                  <a:lnTo>
                    <a:pt x="209" y="940"/>
                  </a:lnTo>
                  <a:lnTo>
                    <a:pt x="209" y="52"/>
                  </a:lnTo>
                  <a:lnTo>
                    <a:pt x="52" y="52"/>
                  </a:lnTo>
                  <a:lnTo>
                    <a:pt x="52" y="940"/>
                  </a:lnTo>
                  <a:close/>
                  <a:moveTo>
                    <a:pt x="235" y="992"/>
                  </a:moveTo>
                  <a:lnTo>
                    <a:pt x="26" y="992"/>
                  </a:lnTo>
                  <a:lnTo>
                    <a:pt x="20" y="992"/>
                  </a:lnTo>
                  <a:lnTo>
                    <a:pt x="16" y="991"/>
                  </a:lnTo>
                  <a:lnTo>
                    <a:pt x="11" y="988"/>
                  </a:lnTo>
                  <a:lnTo>
                    <a:pt x="7" y="985"/>
                  </a:lnTo>
                  <a:lnTo>
                    <a:pt x="4" y="981"/>
                  </a:lnTo>
                  <a:lnTo>
                    <a:pt x="1" y="976"/>
                  </a:lnTo>
                  <a:lnTo>
                    <a:pt x="0" y="972"/>
                  </a:lnTo>
                  <a:lnTo>
                    <a:pt x="0" y="966"/>
                  </a:lnTo>
                  <a:lnTo>
                    <a:pt x="0" y="26"/>
                  </a:lnTo>
                  <a:lnTo>
                    <a:pt x="0" y="22"/>
                  </a:lnTo>
                  <a:lnTo>
                    <a:pt x="1" y="16"/>
                  </a:lnTo>
                  <a:lnTo>
                    <a:pt x="4" y="11"/>
                  </a:lnTo>
                  <a:lnTo>
                    <a:pt x="7" y="7"/>
                  </a:lnTo>
                  <a:lnTo>
                    <a:pt x="11" y="4"/>
                  </a:lnTo>
                  <a:lnTo>
                    <a:pt x="16" y="3"/>
                  </a:lnTo>
                  <a:lnTo>
                    <a:pt x="20" y="0"/>
                  </a:lnTo>
                  <a:lnTo>
                    <a:pt x="26" y="0"/>
                  </a:lnTo>
                  <a:lnTo>
                    <a:pt x="235" y="0"/>
                  </a:lnTo>
                  <a:lnTo>
                    <a:pt x="240" y="0"/>
                  </a:lnTo>
                  <a:lnTo>
                    <a:pt x="245" y="3"/>
                  </a:lnTo>
                  <a:lnTo>
                    <a:pt x="249" y="4"/>
                  </a:lnTo>
                  <a:lnTo>
                    <a:pt x="253" y="7"/>
                  </a:lnTo>
                  <a:lnTo>
                    <a:pt x="256" y="11"/>
                  </a:lnTo>
                  <a:lnTo>
                    <a:pt x="259" y="16"/>
                  </a:lnTo>
                  <a:lnTo>
                    <a:pt x="261" y="22"/>
                  </a:lnTo>
                  <a:lnTo>
                    <a:pt x="261" y="26"/>
                  </a:lnTo>
                  <a:lnTo>
                    <a:pt x="261" y="966"/>
                  </a:lnTo>
                  <a:lnTo>
                    <a:pt x="261" y="972"/>
                  </a:lnTo>
                  <a:lnTo>
                    <a:pt x="259" y="976"/>
                  </a:lnTo>
                  <a:lnTo>
                    <a:pt x="256" y="981"/>
                  </a:lnTo>
                  <a:lnTo>
                    <a:pt x="253" y="985"/>
                  </a:lnTo>
                  <a:lnTo>
                    <a:pt x="249" y="988"/>
                  </a:lnTo>
                  <a:lnTo>
                    <a:pt x="245" y="991"/>
                  </a:lnTo>
                  <a:lnTo>
                    <a:pt x="240" y="992"/>
                  </a:lnTo>
                  <a:lnTo>
                    <a:pt x="235"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204">
              <a:extLst>
                <a:ext uri="{FF2B5EF4-FFF2-40B4-BE49-F238E27FC236}">
                  <a16:creationId xmlns:a16="http://schemas.microsoft.com/office/drawing/2014/main" id="{469A5F5C-EBC0-45F8-9D8F-2193F0AE580D}"/>
                </a:ext>
              </a:extLst>
            </p:cNvPr>
            <p:cNvSpPr>
              <a:spLocks/>
            </p:cNvSpPr>
            <p:nvPr/>
          </p:nvSpPr>
          <p:spPr bwMode="auto">
            <a:xfrm>
              <a:off x="0" y="4483101"/>
              <a:ext cx="677863" cy="595313"/>
            </a:xfrm>
            <a:custGeom>
              <a:avLst/>
              <a:gdLst>
                <a:gd name="T0" fmla="*/ 1281 w 1281"/>
                <a:gd name="T1" fmla="*/ 1123 h 1123"/>
                <a:gd name="T2" fmla="*/ 0 w 1281"/>
                <a:gd name="T3" fmla="*/ 1123 h 1123"/>
                <a:gd name="T4" fmla="*/ 0 w 1281"/>
                <a:gd name="T5" fmla="*/ 0 h 1123"/>
                <a:gd name="T6" fmla="*/ 52 w 1281"/>
                <a:gd name="T7" fmla="*/ 0 h 1123"/>
                <a:gd name="T8" fmla="*/ 52 w 1281"/>
                <a:gd name="T9" fmla="*/ 1071 h 1123"/>
                <a:gd name="T10" fmla="*/ 1281 w 1281"/>
                <a:gd name="T11" fmla="*/ 1071 h 1123"/>
                <a:gd name="T12" fmla="*/ 1281 w 1281"/>
                <a:gd name="T13" fmla="*/ 1123 h 1123"/>
              </a:gdLst>
              <a:ahLst/>
              <a:cxnLst>
                <a:cxn ang="0">
                  <a:pos x="T0" y="T1"/>
                </a:cxn>
                <a:cxn ang="0">
                  <a:pos x="T2" y="T3"/>
                </a:cxn>
                <a:cxn ang="0">
                  <a:pos x="T4" y="T5"/>
                </a:cxn>
                <a:cxn ang="0">
                  <a:pos x="T6" y="T7"/>
                </a:cxn>
                <a:cxn ang="0">
                  <a:pos x="T8" y="T9"/>
                </a:cxn>
                <a:cxn ang="0">
                  <a:pos x="T10" y="T11"/>
                </a:cxn>
                <a:cxn ang="0">
                  <a:pos x="T12" y="T13"/>
                </a:cxn>
              </a:cxnLst>
              <a:rect l="0" t="0" r="r" b="b"/>
              <a:pathLst>
                <a:path w="1281" h="1123">
                  <a:moveTo>
                    <a:pt x="1281" y="1123"/>
                  </a:moveTo>
                  <a:lnTo>
                    <a:pt x="0" y="1123"/>
                  </a:lnTo>
                  <a:lnTo>
                    <a:pt x="0" y="0"/>
                  </a:lnTo>
                  <a:lnTo>
                    <a:pt x="52" y="0"/>
                  </a:lnTo>
                  <a:lnTo>
                    <a:pt x="52" y="1071"/>
                  </a:lnTo>
                  <a:lnTo>
                    <a:pt x="1281" y="1071"/>
                  </a:lnTo>
                  <a:lnTo>
                    <a:pt x="1281" y="1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4" name="Gruppieren 1153">
            <a:extLst>
              <a:ext uri="{FF2B5EF4-FFF2-40B4-BE49-F238E27FC236}">
                <a16:creationId xmlns:a16="http://schemas.microsoft.com/office/drawing/2014/main" id="{7EA37E08-2918-4A6F-A31E-6A6A74EA9541}"/>
              </a:ext>
            </a:extLst>
          </p:cNvPr>
          <p:cNvGrpSpPr>
            <a:grpSpLocks noChangeAspect="1"/>
          </p:cNvGrpSpPr>
          <p:nvPr/>
        </p:nvGrpSpPr>
        <p:grpSpPr>
          <a:xfrm>
            <a:off x="671290" y="5956111"/>
            <a:ext cx="285619" cy="285619"/>
            <a:chOff x="695878" y="6317331"/>
            <a:chExt cx="360000" cy="360000"/>
          </a:xfrm>
          <a:solidFill>
            <a:schemeClr val="bg1"/>
          </a:solidFill>
        </p:grpSpPr>
        <p:sp>
          <p:nvSpPr>
            <p:cNvPr id="1229" name="Freeform 407">
              <a:extLst>
                <a:ext uri="{FF2B5EF4-FFF2-40B4-BE49-F238E27FC236}">
                  <a16:creationId xmlns:a16="http://schemas.microsoft.com/office/drawing/2014/main" id="{C8A7E6B4-F348-4332-8236-ECC2E5E0AFF9}"/>
                </a:ext>
              </a:extLst>
            </p:cNvPr>
            <p:cNvSpPr>
              <a:spLocks noEditPoints="1"/>
            </p:cNvSpPr>
            <p:nvPr/>
          </p:nvSpPr>
          <p:spPr bwMode="auto">
            <a:xfrm>
              <a:off x="695878" y="6317331"/>
              <a:ext cx="360000" cy="360000"/>
            </a:xfrm>
            <a:custGeom>
              <a:avLst/>
              <a:gdLst>
                <a:gd name="T0" fmla="*/ 242 w 597"/>
                <a:gd name="T1" fmla="*/ 25 h 596"/>
                <a:gd name="T2" fmla="*/ 179 w 597"/>
                <a:gd name="T3" fmla="*/ 48 h 596"/>
                <a:gd name="T4" fmla="*/ 123 w 597"/>
                <a:gd name="T5" fmla="*/ 83 h 596"/>
                <a:gd name="T6" fmla="*/ 76 w 597"/>
                <a:gd name="T7" fmla="*/ 132 h 596"/>
                <a:gd name="T8" fmla="*/ 43 w 597"/>
                <a:gd name="T9" fmla="*/ 190 h 596"/>
                <a:gd name="T10" fmla="*/ 24 w 597"/>
                <a:gd name="T11" fmla="*/ 256 h 596"/>
                <a:gd name="T12" fmla="*/ 22 w 597"/>
                <a:gd name="T13" fmla="*/ 326 h 596"/>
                <a:gd name="T14" fmla="*/ 37 w 597"/>
                <a:gd name="T15" fmla="*/ 393 h 596"/>
                <a:gd name="T16" fmla="*/ 69 w 597"/>
                <a:gd name="T17" fmla="*/ 454 h 596"/>
                <a:gd name="T18" fmla="*/ 112 w 597"/>
                <a:gd name="T19" fmla="*/ 503 h 596"/>
                <a:gd name="T20" fmla="*/ 167 w 597"/>
                <a:gd name="T21" fmla="*/ 542 h 596"/>
                <a:gd name="T22" fmla="*/ 229 w 597"/>
                <a:gd name="T23" fmla="*/ 567 h 596"/>
                <a:gd name="T24" fmla="*/ 299 w 597"/>
                <a:gd name="T25" fmla="*/ 576 h 596"/>
                <a:gd name="T26" fmla="*/ 369 w 597"/>
                <a:gd name="T27" fmla="*/ 567 h 596"/>
                <a:gd name="T28" fmla="*/ 431 w 597"/>
                <a:gd name="T29" fmla="*/ 542 h 596"/>
                <a:gd name="T30" fmla="*/ 485 w 597"/>
                <a:gd name="T31" fmla="*/ 503 h 596"/>
                <a:gd name="T32" fmla="*/ 530 w 597"/>
                <a:gd name="T33" fmla="*/ 454 h 596"/>
                <a:gd name="T34" fmla="*/ 560 w 597"/>
                <a:gd name="T35" fmla="*/ 393 h 596"/>
                <a:gd name="T36" fmla="*/ 575 w 597"/>
                <a:gd name="T37" fmla="*/ 326 h 596"/>
                <a:gd name="T38" fmla="*/ 574 w 597"/>
                <a:gd name="T39" fmla="*/ 256 h 596"/>
                <a:gd name="T40" fmla="*/ 554 w 597"/>
                <a:gd name="T41" fmla="*/ 190 h 596"/>
                <a:gd name="T42" fmla="*/ 522 w 597"/>
                <a:gd name="T43" fmla="*/ 132 h 596"/>
                <a:gd name="T44" fmla="*/ 476 w 597"/>
                <a:gd name="T45" fmla="*/ 83 h 596"/>
                <a:gd name="T46" fmla="*/ 420 w 597"/>
                <a:gd name="T47" fmla="*/ 48 h 596"/>
                <a:gd name="T48" fmla="*/ 355 w 597"/>
                <a:gd name="T49" fmla="*/ 25 h 596"/>
                <a:gd name="T50" fmla="*/ 299 w 597"/>
                <a:gd name="T51" fmla="*/ 596 h 596"/>
                <a:gd name="T52" fmla="*/ 224 w 597"/>
                <a:gd name="T53" fmla="*/ 587 h 596"/>
                <a:gd name="T54" fmla="*/ 157 w 597"/>
                <a:gd name="T55" fmla="*/ 560 h 596"/>
                <a:gd name="T56" fmla="*/ 99 w 597"/>
                <a:gd name="T57" fmla="*/ 519 h 596"/>
                <a:gd name="T58" fmla="*/ 52 w 597"/>
                <a:gd name="T59" fmla="*/ 465 h 596"/>
                <a:gd name="T60" fmla="*/ 19 w 597"/>
                <a:gd name="T61" fmla="*/ 400 h 596"/>
                <a:gd name="T62" fmla="*/ 3 w 597"/>
                <a:gd name="T63" fmla="*/ 328 h 596"/>
                <a:gd name="T64" fmla="*/ 5 w 597"/>
                <a:gd name="T65" fmla="*/ 253 h 596"/>
                <a:gd name="T66" fmla="*/ 24 w 597"/>
                <a:gd name="T67" fmla="*/ 182 h 596"/>
                <a:gd name="T68" fmla="*/ 60 w 597"/>
                <a:gd name="T69" fmla="*/ 120 h 596"/>
                <a:gd name="T70" fmla="*/ 110 w 597"/>
                <a:gd name="T71" fmla="*/ 68 h 596"/>
                <a:gd name="T72" fmla="*/ 170 w 597"/>
                <a:gd name="T73" fmla="*/ 29 h 596"/>
                <a:gd name="T74" fmla="*/ 239 w 597"/>
                <a:gd name="T75" fmla="*/ 6 h 596"/>
                <a:gd name="T76" fmla="*/ 314 w 597"/>
                <a:gd name="T77" fmla="*/ 0 h 596"/>
                <a:gd name="T78" fmla="*/ 387 w 597"/>
                <a:gd name="T79" fmla="*/ 13 h 596"/>
                <a:gd name="T80" fmla="*/ 453 w 597"/>
                <a:gd name="T81" fmla="*/ 43 h 596"/>
                <a:gd name="T82" fmla="*/ 509 w 597"/>
                <a:gd name="T83" fmla="*/ 88 h 596"/>
                <a:gd name="T84" fmla="*/ 553 w 597"/>
                <a:gd name="T85" fmla="*/ 144 h 596"/>
                <a:gd name="T86" fmla="*/ 584 w 597"/>
                <a:gd name="T87" fmla="*/ 210 h 596"/>
                <a:gd name="T88" fmla="*/ 597 w 597"/>
                <a:gd name="T89" fmla="*/ 282 h 596"/>
                <a:gd name="T90" fmla="*/ 591 w 597"/>
                <a:gd name="T91" fmla="*/ 358 h 596"/>
                <a:gd name="T92" fmla="*/ 567 w 597"/>
                <a:gd name="T93" fmla="*/ 427 h 596"/>
                <a:gd name="T94" fmla="*/ 529 w 597"/>
                <a:gd name="T95" fmla="*/ 487 h 596"/>
                <a:gd name="T96" fmla="*/ 477 w 597"/>
                <a:gd name="T97" fmla="*/ 537 h 596"/>
                <a:gd name="T98" fmla="*/ 415 w 597"/>
                <a:gd name="T99" fmla="*/ 573 h 596"/>
                <a:gd name="T100" fmla="*/ 344 w 597"/>
                <a:gd name="T101" fmla="*/ 59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7" h="596">
                  <a:moveTo>
                    <a:pt x="299" y="20"/>
                  </a:moveTo>
                  <a:lnTo>
                    <a:pt x="285" y="21"/>
                  </a:lnTo>
                  <a:lnTo>
                    <a:pt x="270" y="22"/>
                  </a:lnTo>
                  <a:lnTo>
                    <a:pt x="256" y="23"/>
                  </a:lnTo>
                  <a:lnTo>
                    <a:pt x="242" y="25"/>
                  </a:lnTo>
                  <a:lnTo>
                    <a:pt x="229" y="28"/>
                  </a:lnTo>
                  <a:lnTo>
                    <a:pt x="216" y="33"/>
                  </a:lnTo>
                  <a:lnTo>
                    <a:pt x="204" y="37"/>
                  </a:lnTo>
                  <a:lnTo>
                    <a:pt x="191" y="41"/>
                  </a:lnTo>
                  <a:lnTo>
                    <a:pt x="179" y="48"/>
                  </a:lnTo>
                  <a:lnTo>
                    <a:pt x="167" y="53"/>
                  </a:lnTo>
                  <a:lnTo>
                    <a:pt x="155" y="61"/>
                  </a:lnTo>
                  <a:lnTo>
                    <a:pt x="143" y="67"/>
                  </a:lnTo>
                  <a:lnTo>
                    <a:pt x="132" y="75"/>
                  </a:lnTo>
                  <a:lnTo>
                    <a:pt x="123" y="83"/>
                  </a:lnTo>
                  <a:lnTo>
                    <a:pt x="112" y="92"/>
                  </a:lnTo>
                  <a:lnTo>
                    <a:pt x="102" y="102"/>
                  </a:lnTo>
                  <a:lnTo>
                    <a:pt x="93" y="111"/>
                  </a:lnTo>
                  <a:lnTo>
                    <a:pt x="85" y="121"/>
                  </a:lnTo>
                  <a:lnTo>
                    <a:pt x="76" y="132"/>
                  </a:lnTo>
                  <a:lnTo>
                    <a:pt x="69" y="143"/>
                  </a:lnTo>
                  <a:lnTo>
                    <a:pt x="61" y="153"/>
                  </a:lnTo>
                  <a:lnTo>
                    <a:pt x="54" y="165"/>
                  </a:lnTo>
                  <a:lnTo>
                    <a:pt x="48" y="177"/>
                  </a:lnTo>
                  <a:lnTo>
                    <a:pt x="43" y="190"/>
                  </a:lnTo>
                  <a:lnTo>
                    <a:pt x="37" y="202"/>
                  </a:lnTo>
                  <a:lnTo>
                    <a:pt x="33" y="215"/>
                  </a:lnTo>
                  <a:lnTo>
                    <a:pt x="30" y="228"/>
                  </a:lnTo>
                  <a:lnTo>
                    <a:pt x="26" y="242"/>
                  </a:lnTo>
                  <a:lnTo>
                    <a:pt x="24" y="256"/>
                  </a:lnTo>
                  <a:lnTo>
                    <a:pt x="22" y="269"/>
                  </a:lnTo>
                  <a:lnTo>
                    <a:pt x="21" y="283"/>
                  </a:lnTo>
                  <a:lnTo>
                    <a:pt x="21" y="298"/>
                  </a:lnTo>
                  <a:lnTo>
                    <a:pt x="21" y="312"/>
                  </a:lnTo>
                  <a:lnTo>
                    <a:pt x="22" y="326"/>
                  </a:lnTo>
                  <a:lnTo>
                    <a:pt x="24" y="340"/>
                  </a:lnTo>
                  <a:lnTo>
                    <a:pt x="26" y="353"/>
                  </a:lnTo>
                  <a:lnTo>
                    <a:pt x="30" y="367"/>
                  </a:lnTo>
                  <a:lnTo>
                    <a:pt x="33" y="380"/>
                  </a:lnTo>
                  <a:lnTo>
                    <a:pt x="37" y="393"/>
                  </a:lnTo>
                  <a:lnTo>
                    <a:pt x="43" y="406"/>
                  </a:lnTo>
                  <a:lnTo>
                    <a:pt x="48" y="418"/>
                  </a:lnTo>
                  <a:lnTo>
                    <a:pt x="54" y="430"/>
                  </a:lnTo>
                  <a:lnTo>
                    <a:pt x="61" y="442"/>
                  </a:lnTo>
                  <a:lnTo>
                    <a:pt x="69" y="454"/>
                  </a:lnTo>
                  <a:lnTo>
                    <a:pt x="76" y="465"/>
                  </a:lnTo>
                  <a:lnTo>
                    <a:pt x="85" y="474"/>
                  </a:lnTo>
                  <a:lnTo>
                    <a:pt x="93" y="485"/>
                  </a:lnTo>
                  <a:lnTo>
                    <a:pt x="102" y="495"/>
                  </a:lnTo>
                  <a:lnTo>
                    <a:pt x="112" y="503"/>
                  </a:lnTo>
                  <a:lnTo>
                    <a:pt x="123" y="512"/>
                  </a:lnTo>
                  <a:lnTo>
                    <a:pt x="132" y="521"/>
                  </a:lnTo>
                  <a:lnTo>
                    <a:pt x="143" y="528"/>
                  </a:lnTo>
                  <a:lnTo>
                    <a:pt x="155" y="536"/>
                  </a:lnTo>
                  <a:lnTo>
                    <a:pt x="167" y="542"/>
                  </a:lnTo>
                  <a:lnTo>
                    <a:pt x="179" y="549"/>
                  </a:lnTo>
                  <a:lnTo>
                    <a:pt x="191" y="554"/>
                  </a:lnTo>
                  <a:lnTo>
                    <a:pt x="204" y="558"/>
                  </a:lnTo>
                  <a:lnTo>
                    <a:pt x="216" y="564"/>
                  </a:lnTo>
                  <a:lnTo>
                    <a:pt x="229" y="567"/>
                  </a:lnTo>
                  <a:lnTo>
                    <a:pt x="242" y="570"/>
                  </a:lnTo>
                  <a:lnTo>
                    <a:pt x="256" y="573"/>
                  </a:lnTo>
                  <a:lnTo>
                    <a:pt x="270" y="575"/>
                  </a:lnTo>
                  <a:lnTo>
                    <a:pt x="285" y="576"/>
                  </a:lnTo>
                  <a:lnTo>
                    <a:pt x="299" y="576"/>
                  </a:lnTo>
                  <a:lnTo>
                    <a:pt x="314" y="576"/>
                  </a:lnTo>
                  <a:lnTo>
                    <a:pt x="328" y="575"/>
                  </a:lnTo>
                  <a:lnTo>
                    <a:pt x="341" y="573"/>
                  </a:lnTo>
                  <a:lnTo>
                    <a:pt x="355" y="570"/>
                  </a:lnTo>
                  <a:lnTo>
                    <a:pt x="369" y="567"/>
                  </a:lnTo>
                  <a:lnTo>
                    <a:pt x="382" y="564"/>
                  </a:lnTo>
                  <a:lnTo>
                    <a:pt x="395" y="558"/>
                  </a:lnTo>
                  <a:lnTo>
                    <a:pt x="407" y="554"/>
                  </a:lnTo>
                  <a:lnTo>
                    <a:pt x="420" y="549"/>
                  </a:lnTo>
                  <a:lnTo>
                    <a:pt x="431" y="542"/>
                  </a:lnTo>
                  <a:lnTo>
                    <a:pt x="443" y="536"/>
                  </a:lnTo>
                  <a:lnTo>
                    <a:pt x="454" y="528"/>
                  </a:lnTo>
                  <a:lnTo>
                    <a:pt x="465" y="521"/>
                  </a:lnTo>
                  <a:lnTo>
                    <a:pt x="476" y="512"/>
                  </a:lnTo>
                  <a:lnTo>
                    <a:pt x="485" y="503"/>
                  </a:lnTo>
                  <a:lnTo>
                    <a:pt x="495" y="495"/>
                  </a:lnTo>
                  <a:lnTo>
                    <a:pt x="505" y="485"/>
                  </a:lnTo>
                  <a:lnTo>
                    <a:pt x="513" y="474"/>
                  </a:lnTo>
                  <a:lnTo>
                    <a:pt x="522" y="465"/>
                  </a:lnTo>
                  <a:lnTo>
                    <a:pt x="530" y="454"/>
                  </a:lnTo>
                  <a:lnTo>
                    <a:pt x="536" y="442"/>
                  </a:lnTo>
                  <a:lnTo>
                    <a:pt x="544" y="430"/>
                  </a:lnTo>
                  <a:lnTo>
                    <a:pt x="549" y="418"/>
                  </a:lnTo>
                  <a:lnTo>
                    <a:pt x="554" y="406"/>
                  </a:lnTo>
                  <a:lnTo>
                    <a:pt x="560" y="393"/>
                  </a:lnTo>
                  <a:lnTo>
                    <a:pt x="564" y="380"/>
                  </a:lnTo>
                  <a:lnTo>
                    <a:pt x="569" y="367"/>
                  </a:lnTo>
                  <a:lnTo>
                    <a:pt x="572" y="353"/>
                  </a:lnTo>
                  <a:lnTo>
                    <a:pt x="574" y="340"/>
                  </a:lnTo>
                  <a:lnTo>
                    <a:pt x="575" y="326"/>
                  </a:lnTo>
                  <a:lnTo>
                    <a:pt x="576" y="312"/>
                  </a:lnTo>
                  <a:lnTo>
                    <a:pt x="577" y="298"/>
                  </a:lnTo>
                  <a:lnTo>
                    <a:pt x="576" y="283"/>
                  </a:lnTo>
                  <a:lnTo>
                    <a:pt x="575" y="269"/>
                  </a:lnTo>
                  <a:lnTo>
                    <a:pt x="574" y="256"/>
                  </a:lnTo>
                  <a:lnTo>
                    <a:pt x="572" y="242"/>
                  </a:lnTo>
                  <a:lnTo>
                    <a:pt x="569" y="228"/>
                  </a:lnTo>
                  <a:lnTo>
                    <a:pt x="564" y="215"/>
                  </a:lnTo>
                  <a:lnTo>
                    <a:pt x="560" y="202"/>
                  </a:lnTo>
                  <a:lnTo>
                    <a:pt x="554" y="190"/>
                  </a:lnTo>
                  <a:lnTo>
                    <a:pt x="549" y="177"/>
                  </a:lnTo>
                  <a:lnTo>
                    <a:pt x="544" y="165"/>
                  </a:lnTo>
                  <a:lnTo>
                    <a:pt x="536" y="153"/>
                  </a:lnTo>
                  <a:lnTo>
                    <a:pt x="530" y="143"/>
                  </a:lnTo>
                  <a:lnTo>
                    <a:pt x="522" y="132"/>
                  </a:lnTo>
                  <a:lnTo>
                    <a:pt x="513" y="121"/>
                  </a:lnTo>
                  <a:lnTo>
                    <a:pt x="505" y="111"/>
                  </a:lnTo>
                  <a:lnTo>
                    <a:pt x="495" y="102"/>
                  </a:lnTo>
                  <a:lnTo>
                    <a:pt x="485" y="92"/>
                  </a:lnTo>
                  <a:lnTo>
                    <a:pt x="476" y="83"/>
                  </a:lnTo>
                  <a:lnTo>
                    <a:pt x="465" y="75"/>
                  </a:lnTo>
                  <a:lnTo>
                    <a:pt x="454" y="67"/>
                  </a:lnTo>
                  <a:lnTo>
                    <a:pt x="443" y="61"/>
                  </a:lnTo>
                  <a:lnTo>
                    <a:pt x="431" y="53"/>
                  </a:lnTo>
                  <a:lnTo>
                    <a:pt x="420" y="48"/>
                  </a:lnTo>
                  <a:lnTo>
                    <a:pt x="407" y="41"/>
                  </a:lnTo>
                  <a:lnTo>
                    <a:pt x="395" y="37"/>
                  </a:lnTo>
                  <a:lnTo>
                    <a:pt x="382" y="33"/>
                  </a:lnTo>
                  <a:lnTo>
                    <a:pt x="369" y="28"/>
                  </a:lnTo>
                  <a:lnTo>
                    <a:pt x="355" y="25"/>
                  </a:lnTo>
                  <a:lnTo>
                    <a:pt x="341" y="23"/>
                  </a:lnTo>
                  <a:lnTo>
                    <a:pt x="328" y="22"/>
                  </a:lnTo>
                  <a:lnTo>
                    <a:pt x="314" y="21"/>
                  </a:lnTo>
                  <a:lnTo>
                    <a:pt x="299" y="20"/>
                  </a:lnTo>
                  <a:close/>
                  <a:moveTo>
                    <a:pt x="299" y="596"/>
                  </a:moveTo>
                  <a:lnTo>
                    <a:pt x="283" y="595"/>
                  </a:lnTo>
                  <a:lnTo>
                    <a:pt x="268" y="594"/>
                  </a:lnTo>
                  <a:lnTo>
                    <a:pt x="253" y="592"/>
                  </a:lnTo>
                  <a:lnTo>
                    <a:pt x="239" y="590"/>
                  </a:lnTo>
                  <a:lnTo>
                    <a:pt x="224" y="587"/>
                  </a:lnTo>
                  <a:lnTo>
                    <a:pt x="210" y="582"/>
                  </a:lnTo>
                  <a:lnTo>
                    <a:pt x="197" y="578"/>
                  </a:lnTo>
                  <a:lnTo>
                    <a:pt x="183" y="573"/>
                  </a:lnTo>
                  <a:lnTo>
                    <a:pt x="170" y="566"/>
                  </a:lnTo>
                  <a:lnTo>
                    <a:pt x="157" y="560"/>
                  </a:lnTo>
                  <a:lnTo>
                    <a:pt x="144" y="553"/>
                  </a:lnTo>
                  <a:lnTo>
                    <a:pt x="132" y="544"/>
                  </a:lnTo>
                  <a:lnTo>
                    <a:pt x="120" y="537"/>
                  </a:lnTo>
                  <a:lnTo>
                    <a:pt x="110" y="527"/>
                  </a:lnTo>
                  <a:lnTo>
                    <a:pt x="99" y="519"/>
                  </a:lnTo>
                  <a:lnTo>
                    <a:pt x="88" y="509"/>
                  </a:lnTo>
                  <a:lnTo>
                    <a:pt x="78" y="498"/>
                  </a:lnTo>
                  <a:lnTo>
                    <a:pt x="70" y="487"/>
                  </a:lnTo>
                  <a:lnTo>
                    <a:pt x="60" y="476"/>
                  </a:lnTo>
                  <a:lnTo>
                    <a:pt x="52" y="465"/>
                  </a:lnTo>
                  <a:lnTo>
                    <a:pt x="44" y="453"/>
                  </a:lnTo>
                  <a:lnTo>
                    <a:pt x="37" y="440"/>
                  </a:lnTo>
                  <a:lnTo>
                    <a:pt x="31" y="427"/>
                  </a:lnTo>
                  <a:lnTo>
                    <a:pt x="24" y="414"/>
                  </a:lnTo>
                  <a:lnTo>
                    <a:pt x="19" y="400"/>
                  </a:lnTo>
                  <a:lnTo>
                    <a:pt x="15" y="387"/>
                  </a:lnTo>
                  <a:lnTo>
                    <a:pt x="10" y="373"/>
                  </a:lnTo>
                  <a:lnTo>
                    <a:pt x="7" y="358"/>
                  </a:lnTo>
                  <a:lnTo>
                    <a:pt x="5" y="344"/>
                  </a:lnTo>
                  <a:lnTo>
                    <a:pt x="3" y="328"/>
                  </a:lnTo>
                  <a:lnTo>
                    <a:pt x="2" y="313"/>
                  </a:lnTo>
                  <a:lnTo>
                    <a:pt x="0" y="298"/>
                  </a:lnTo>
                  <a:lnTo>
                    <a:pt x="2" y="282"/>
                  </a:lnTo>
                  <a:lnTo>
                    <a:pt x="3" y="267"/>
                  </a:lnTo>
                  <a:lnTo>
                    <a:pt x="5" y="253"/>
                  </a:lnTo>
                  <a:lnTo>
                    <a:pt x="7" y="238"/>
                  </a:lnTo>
                  <a:lnTo>
                    <a:pt x="10" y="224"/>
                  </a:lnTo>
                  <a:lnTo>
                    <a:pt x="15" y="210"/>
                  </a:lnTo>
                  <a:lnTo>
                    <a:pt x="19" y="196"/>
                  </a:lnTo>
                  <a:lnTo>
                    <a:pt x="24" y="182"/>
                  </a:lnTo>
                  <a:lnTo>
                    <a:pt x="31" y="169"/>
                  </a:lnTo>
                  <a:lnTo>
                    <a:pt x="37" y="156"/>
                  </a:lnTo>
                  <a:lnTo>
                    <a:pt x="44" y="144"/>
                  </a:lnTo>
                  <a:lnTo>
                    <a:pt x="52" y="132"/>
                  </a:lnTo>
                  <a:lnTo>
                    <a:pt x="60" y="120"/>
                  </a:lnTo>
                  <a:lnTo>
                    <a:pt x="69" y="108"/>
                  </a:lnTo>
                  <a:lnTo>
                    <a:pt x="78" y="97"/>
                  </a:lnTo>
                  <a:lnTo>
                    <a:pt x="88" y="88"/>
                  </a:lnTo>
                  <a:lnTo>
                    <a:pt x="99" y="78"/>
                  </a:lnTo>
                  <a:lnTo>
                    <a:pt x="110" y="68"/>
                  </a:lnTo>
                  <a:lnTo>
                    <a:pt x="120" y="60"/>
                  </a:lnTo>
                  <a:lnTo>
                    <a:pt x="132" y="51"/>
                  </a:lnTo>
                  <a:lnTo>
                    <a:pt x="144" y="43"/>
                  </a:lnTo>
                  <a:lnTo>
                    <a:pt x="157" y="36"/>
                  </a:lnTo>
                  <a:lnTo>
                    <a:pt x="170" y="29"/>
                  </a:lnTo>
                  <a:lnTo>
                    <a:pt x="183" y="24"/>
                  </a:lnTo>
                  <a:lnTo>
                    <a:pt x="197" y="18"/>
                  </a:lnTo>
                  <a:lnTo>
                    <a:pt x="210" y="13"/>
                  </a:lnTo>
                  <a:lnTo>
                    <a:pt x="224" y="10"/>
                  </a:lnTo>
                  <a:lnTo>
                    <a:pt x="239" y="6"/>
                  </a:lnTo>
                  <a:lnTo>
                    <a:pt x="253" y="3"/>
                  </a:lnTo>
                  <a:lnTo>
                    <a:pt x="268" y="1"/>
                  </a:lnTo>
                  <a:lnTo>
                    <a:pt x="283" y="0"/>
                  </a:lnTo>
                  <a:lnTo>
                    <a:pt x="299" y="0"/>
                  </a:lnTo>
                  <a:lnTo>
                    <a:pt x="314" y="0"/>
                  </a:lnTo>
                  <a:lnTo>
                    <a:pt x="329" y="1"/>
                  </a:lnTo>
                  <a:lnTo>
                    <a:pt x="344" y="3"/>
                  </a:lnTo>
                  <a:lnTo>
                    <a:pt x="359" y="6"/>
                  </a:lnTo>
                  <a:lnTo>
                    <a:pt x="373" y="9"/>
                  </a:lnTo>
                  <a:lnTo>
                    <a:pt x="387" y="13"/>
                  </a:lnTo>
                  <a:lnTo>
                    <a:pt x="401" y="18"/>
                  </a:lnTo>
                  <a:lnTo>
                    <a:pt x="415" y="24"/>
                  </a:lnTo>
                  <a:lnTo>
                    <a:pt x="428" y="29"/>
                  </a:lnTo>
                  <a:lnTo>
                    <a:pt x="441" y="36"/>
                  </a:lnTo>
                  <a:lnTo>
                    <a:pt x="453" y="43"/>
                  </a:lnTo>
                  <a:lnTo>
                    <a:pt x="465" y="51"/>
                  </a:lnTo>
                  <a:lnTo>
                    <a:pt x="477" y="60"/>
                  </a:lnTo>
                  <a:lnTo>
                    <a:pt x="489" y="68"/>
                  </a:lnTo>
                  <a:lnTo>
                    <a:pt x="499" y="78"/>
                  </a:lnTo>
                  <a:lnTo>
                    <a:pt x="509" y="88"/>
                  </a:lnTo>
                  <a:lnTo>
                    <a:pt x="519" y="97"/>
                  </a:lnTo>
                  <a:lnTo>
                    <a:pt x="529" y="108"/>
                  </a:lnTo>
                  <a:lnTo>
                    <a:pt x="537" y="120"/>
                  </a:lnTo>
                  <a:lnTo>
                    <a:pt x="546" y="132"/>
                  </a:lnTo>
                  <a:lnTo>
                    <a:pt x="553" y="144"/>
                  </a:lnTo>
                  <a:lnTo>
                    <a:pt x="561" y="156"/>
                  </a:lnTo>
                  <a:lnTo>
                    <a:pt x="567" y="169"/>
                  </a:lnTo>
                  <a:lnTo>
                    <a:pt x="573" y="182"/>
                  </a:lnTo>
                  <a:lnTo>
                    <a:pt x="578" y="196"/>
                  </a:lnTo>
                  <a:lnTo>
                    <a:pt x="584" y="210"/>
                  </a:lnTo>
                  <a:lnTo>
                    <a:pt x="587" y="224"/>
                  </a:lnTo>
                  <a:lnTo>
                    <a:pt x="591" y="238"/>
                  </a:lnTo>
                  <a:lnTo>
                    <a:pt x="593" y="253"/>
                  </a:lnTo>
                  <a:lnTo>
                    <a:pt x="596" y="267"/>
                  </a:lnTo>
                  <a:lnTo>
                    <a:pt x="597" y="282"/>
                  </a:lnTo>
                  <a:lnTo>
                    <a:pt x="597" y="298"/>
                  </a:lnTo>
                  <a:lnTo>
                    <a:pt x="597" y="313"/>
                  </a:lnTo>
                  <a:lnTo>
                    <a:pt x="596" y="328"/>
                  </a:lnTo>
                  <a:lnTo>
                    <a:pt x="593" y="344"/>
                  </a:lnTo>
                  <a:lnTo>
                    <a:pt x="591" y="358"/>
                  </a:lnTo>
                  <a:lnTo>
                    <a:pt x="587" y="373"/>
                  </a:lnTo>
                  <a:lnTo>
                    <a:pt x="584" y="387"/>
                  </a:lnTo>
                  <a:lnTo>
                    <a:pt x="578" y="400"/>
                  </a:lnTo>
                  <a:lnTo>
                    <a:pt x="573" y="414"/>
                  </a:lnTo>
                  <a:lnTo>
                    <a:pt x="567" y="427"/>
                  </a:lnTo>
                  <a:lnTo>
                    <a:pt x="561" y="440"/>
                  </a:lnTo>
                  <a:lnTo>
                    <a:pt x="553" y="453"/>
                  </a:lnTo>
                  <a:lnTo>
                    <a:pt x="546" y="465"/>
                  </a:lnTo>
                  <a:lnTo>
                    <a:pt x="537" y="476"/>
                  </a:lnTo>
                  <a:lnTo>
                    <a:pt x="529" y="487"/>
                  </a:lnTo>
                  <a:lnTo>
                    <a:pt x="519" y="498"/>
                  </a:lnTo>
                  <a:lnTo>
                    <a:pt x="509" y="509"/>
                  </a:lnTo>
                  <a:lnTo>
                    <a:pt x="499" y="519"/>
                  </a:lnTo>
                  <a:lnTo>
                    <a:pt x="489" y="527"/>
                  </a:lnTo>
                  <a:lnTo>
                    <a:pt x="477" y="537"/>
                  </a:lnTo>
                  <a:lnTo>
                    <a:pt x="465" y="544"/>
                  </a:lnTo>
                  <a:lnTo>
                    <a:pt x="453" y="553"/>
                  </a:lnTo>
                  <a:lnTo>
                    <a:pt x="441" y="560"/>
                  </a:lnTo>
                  <a:lnTo>
                    <a:pt x="428" y="566"/>
                  </a:lnTo>
                  <a:lnTo>
                    <a:pt x="415" y="573"/>
                  </a:lnTo>
                  <a:lnTo>
                    <a:pt x="401" y="578"/>
                  </a:lnTo>
                  <a:lnTo>
                    <a:pt x="387" y="582"/>
                  </a:lnTo>
                  <a:lnTo>
                    <a:pt x="373" y="587"/>
                  </a:lnTo>
                  <a:lnTo>
                    <a:pt x="359" y="590"/>
                  </a:lnTo>
                  <a:lnTo>
                    <a:pt x="344" y="592"/>
                  </a:lnTo>
                  <a:lnTo>
                    <a:pt x="329" y="594"/>
                  </a:lnTo>
                  <a:lnTo>
                    <a:pt x="314" y="595"/>
                  </a:lnTo>
                  <a:lnTo>
                    <a:pt x="299"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230" name="Freeform 408">
              <a:extLst>
                <a:ext uri="{FF2B5EF4-FFF2-40B4-BE49-F238E27FC236}">
                  <a16:creationId xmlns:a16="http://schemas.microsoft.com/office/drawing/2014/main" id="{5305086C-6FEB-4C61-9275-09D5C6163B15}"/>
                </a:ext>
              </a:extLst>
            </p:cNvPr>
            <p:cNvSpPr>
              <a:spLocks/>
            </p:cNvSpPr>
            <p:nvPr/>
          </p:nvSpPr>
          <p:spPr bwMode="auto">
            <a:xfrm>
              <a:off x="816683" y="6382567"/>
              <a:ext cx="132886" cy="227114"/>
            </a:xfrm>
            <a:custGeom>
              <a:avLst/>
              <a:gdLst>
                <a:gd name="T0" fmla="*/ 11 w 219"/>
                <a:gd name="T1" fmla="*/ 377 h 377"/>
                <a:gd name="T2" fmla="*/ 7 w 219"/>
                <a:gd name="T3" fmla="*/ 377 h 377"/>
                <a:gd name="T4" fmla="*/ 3 w 219"/>
                <a:gd name="T5" fmla="*/ 374 h 377"/>
                <a:gd name="T6" fmla="*/ 1 w 219"/>
                <a:gd name="T7" fmla="*/ 371 h 377"/>
                <a:gd name="T8" fmla="*/ 0 w 219"/>
                <a:gd name="T9" fmla="*/ 367 h 377"/>
                <a:gd name="T10" fmla="*/ 1 w 219"/>
                <a:gd name="T11" fmla="*/ 363 h 377"/>
                <a:gd name="T12" fmla="*/ 3 w 219"/>
                <a:gd name="T13" fmla="*/ 360 h 377"/>
                <a:gd name="T14" fmla="*/ 195 w 219"/>
                <a:gd name="T15" fmla="*/ 189 h 377"/>
                <a:gd name="T16" fmla="*/ 3 w 219"/>
                <a:gd name="T17" fmla="*/ 17 h 377"/>
                <a:gd name="T18" fmla="*/ 1 w 219"/>
                <a:gd name="T19" fmla="*/ 14 h 377"/>
                <a:gd name="T20" fmla="*/ 0 w 219"/>
                <a:gd name="T21" fmla="*/ 11 h 377"/>
                <a:gd name="T22" fmla="*/ 1 w 219"/>
                <a:gd name="T23" fmla="*/ 7 h 377"/>
                <a:gd name="T24" fmla="*/ 3 w 219"/>
                <a:gd name="T25" fmla="*/ 3 h 377"/>
                <a:gd name="T26" fmla="*/ 7 w 219"/>
                <a:gd name="T27" fmla="*/ 1 h 377"/>
                <a:gd name="T28" fmla="*/ 10 w 219"/>
                <a:gd name="T29" fmla="*/ 0 h 377"/>
                <a:gd name="T30" fmla="*/ 14 w 219"/>
                <a:gd name="T31" fmla="*/ 0 h 377"/>
                <a:gd name="T32" fmla="*/ 17 w 219"/>
                <a:gd name="T33" fmla="*/ 2 h 377"/>
                <a:gd name="T34" fmla="*/ 216 w 219"/>
                <a:gd name="T35" fmla="*/ 182 h 377"/>
                <a:gd name="T36" fmla="*/ 218 w 219"/>
                <a:gd name="T37" fmla="*/ 185 h 377"/>
                <a:gd name="T38" fmla="*/ 219 w 219"/>
                <a:gd name="T39" fmla="*/ 189 h 377"/>
                <a:gd name="T40" fmla="*/ 218 w 219"/>
                <a:gd name="T41" fmla="*/ 192 h 377"/>
                <a:gd name="T42" fmla="*/ 216 w 219"/>
                <a:gd name="T43" fmla="*/ 196 h 377"/>
                <a:gd name="T44" fmla="*/ 17 w 219"/>
                <a:gd name="T45" fmla="*/ 375 h 377"/>
                <a:gd name="T46" fmla="*/ 14 w 219"/>
                <a:gd name="T47" fmla="*/ 377 h 377"/>
                <a:gd name="T48" fmla="*/ 11 w 219"/>
                <a:gd name="T49"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377">
                  <a:moveTo>
                    <a:pt x="11" y="377"/>
                  </a:moveTo>
                  <a:lnTo>
                    <a:pt x="7" y="377"/>
                  </a:lnTo>
                  <a:lnTo>
                    <a:pt x="3" y="374"/>
                  </a:lnTo>
                  <a:lnTo>
                    <a:pt x="1" y="371"/>
                  </a:lnTo>
                  <a:lnTo>
                    <a:pt x="0" y="367"/>
                  </a:lnTo>
                  <a:lnTo>
                    <a:pt x="1" y="363"/>
                  </a:lnTo>
                  <a:lnTo>
                    <a:pt x="3" y="360"/>
                  </a:lnTo>
                  <a:lnTo>
                    <a:pt x="195" y="189"/>
                  </a:lnTo>
                  <a:lnTo>
                    <a:pt x="3" y="17"/>
                  </a:lnTo>
                  <a:lnTo>
                    <a:pt x="1" y="14"/>
                  </a:lnTo>
                  <a:lnTo>
                    <a:pt x="0" y="11"/>
                  </a:lnTo>
                  <a:lnTo>
                    <a:pt x="1" y="7"/>
                  </a:lnTo>
                  <a:lnTo>
                    <a:pt x="3" y="3"/>
                  </a:lnTo>
                  <a:lnTo>
                    <a:pt x="7" y="1"/>
                  </a:lnTo>
                  <a:lnTo>
                    <a:pt x="10" y="0"/>
                  </a:lnTo>
                  <a:lnTo>
                    <a:pt x="14" y="0"/>
                  </a:lnTo>
                  <a:lnTo>
                    <a:pt x="17" y="2"/>
                  </a:lnTo>
                  <a:lnTo>
                    <a:pt x="216" y="182"/>
                  </a:lnTo>
                  <a:lnTo>
                    <a:pt x="218" y="185"/>
                  </a:lnTo>
                  <a:lnTo>
                    <a:pt x="219" y="189"/>
                  </a:lnTo>
                  <a:lnTo>
                    <a:pt x="218" y="192"/>
                  </a:lnTo>
                  <a:lnTo>
                    <a:pt x="216" y="196"/>
                  </a:lnTo>
                  <a:lnTo>
                    <a:pt x="17" y="375"/>
                  </a:lnTo>
                  <a:lnTo>
                    <a:pt x="14" y="377"/>
                  </a:lnTo>
                  <a:lnTo>
                    <a:pt x="11"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393" name="Group 54">
            <a:extLst>
              <a:ext uri="{FF2B5EF4-FFF2-40B4-BE49-F238E27FC236}">
                <a16:creationId xmlns:a16="http://schemas.microsoft.com/office/drawing/2014/main" id="{AEDD9035-4A55-499D-90A6-6B6B189DFC01}"/>
              </a:ext>
            </a:extLst>
          </p:cNvPr>
          <p:cNvGrpSpPr>
            <a:grpSpLocks noChangeAspect="1"/>
          </p:cNvGrpSpPr>
          <p:nvPr/>
        </p:nvGrpSpPr>
        <p:grpSpPr>
          <a:xfrm>
            <a:off x="1459347" y="2186361"/>
            <a:ext cx="324608" cy="285619"/>
            <a:chOff x="2606675" y="839788"/>
            <a:chExt cx="787401" cy="757238"/>
          </a:xfrm>
          <a:solidFill>
            <a:schemeClr val="bg1"/>
          </a:solidFill>
          <a:effectLst/>
        </p:grpSpPr>
        <p:sp>
          <p:nvSpPr>
            <p:cNvPr id="394" name="Freeform 33">
              <a:extLst>
                <a:ext uri="{FF2B5EF4-FFF2-40B4-BE49-F238E27FC236}">
                  <a16:creationId xmlns:a16="http://schemas.microsoft.com/office/drawing/2014/main" id="{91B82AD0-0AD2-4227-8D34-B9463889A99B}"/>
                </a:ext>
              </a:extLst>
            </p:cNvPr>
            <p:cNvSpPr>
              <a:spLocks noEditPoints="1"/>
            </p:cNvSpPr>
            <p:nvPr/>
          </p:nvSpPr>
          <p:spPr bwMode="auto">
            <a:xfrm>
              <a:off x="2890838" y="1146176"/>
              <a:ext cx="219075" cy="238125"/>
            </a:xfrm>
            <a:custGeom>
              <a:avLst/>
              <a:gdLst>
                <a:gd name="T0" fmla="*/ 176 w 415"/>
                <a:gd name="T1" fmla="*/ 56 h 451"/>
                <a:gd name="T2" fmla="*/ 133 w 415"/>
                <a:gd name="T3" fmla="*/ 73 h 451"/>
                <a:gd name="T4" fmla="*/ 98 w 415"/>
                <a:gd name="T5" fmla="*/ 104 h 451"/>
                <a:gd name="T6" fmla="*/ 71 w 415"/>
                <a:gd name="T7" fmla="*/ 142 h 451"/>
                <a:gd name="T8" fmla="*/ 55 w 415"/>
                <a:gd name="T9" fmla="*/ 191 h 451"/>
                <a:gd name="T10" fmla="*/ 52 w 415"/>
                <a:gd name="T11" fmla="*/ 243 h 451"/>
                <a:gd name="T12" fmla="*/ 64 w 415"/>
                <a:gd name="T13" fmla="*/ 294 h 451"/>
                <a:gd name="T14" fmla="*/ 88 w 415"/>
                <a:gd name="T15" fmla="*/ 335 h 451"/>
                <a:gd name="T16" fmla="*/ 121 w 415"/>
                <a:gd name="T17" fmla="*/ 370 h 451"/>
                <a:gd name="T18" fmla="*/ 162 w 415"/>
                <a:gd name="T19" fmla="*/ 392 h 451"/>
                <a:gd name="T20" fmla="*/ 208 w 415"/>
                <a:gd name="T21" fmla="*/ 399 h 451"/>
                <a:gd name="T22" fmla="*/ 254 w 415"/>
                <a:gd name="T23" fmla="*/ 392 h 451"/>
                <a:gd name="T24" fmla="*/ 294 w 415"/>
                <a:gd name="T25" fmla="*/ 370 h 451"/>
                <a:gd name="T26" fmla="*/ 327 w 415"/>
                <a:gd name="T27" fmla="*/ 335 h 451"/>
                <a:gd name="T28" fmla="*/ 350 w 415"/>
                <a:gd name="T29" fmla="*/ 294 h 451"/>
                <a:gd name="T30" fmla="*/ 362 w 415"/>
                <a:gd name="T31" fmla="*/ 243 h 451"/>
                <a:gd name="T32" fmla="*/ 359 w 415"/>
                <a:gd name="T33" fmla="*/ 191 h 451"/>
                <a:gd name="T34" fmla="*/ 345 w 415"/>
                <a:gd name="T35" fmla="*/ 142 h 451"/>
                <a:gd name="T36" fmla="*/ 317 w 415"/>
                <a:gd name="T37" fmla="*/ 104 h 451"/>
                <a:gd name="T38" fmla="*/ 281 w 415"/>
                <a:gd name="T39" fmla="*/ 73 h 451"/>
                <a:gd name="T40" fmla="*/ 238 w 415"/>
                <a:gd name="T41" fmla="*/ 56 h 451"/>
                <a:gd name="T42" fmla="*/ 208 w 415"/>
                <a:gd name="T43" fmla="*/ 451 h 451"/>
                <a:gd name="T44" fmla="*/ 146 w 415"/>
                <a:gd name="T45" fmla="*/ 440 h 451"/>
                <a:gd name="T46" fmla="*/ 91 w 415"/>
                <a:gd name="T47" fmla="*/ 413 h 451"/>
                <a:gd name="T48" fmla="*/ 48 w 415"/>
                <a:gd name="T49" fmla="*/ 368 h 451"/>
                <a:gd name="T50" fmla="*/ 16 w 415"/>
                <a:gd name="T51" fmla="*/ 314 h 451"/>
                <a:gd name="T52" fmla="*/ 0 w 415"/>
                <a:gd name="T53" fmla="*/ 249 h 451"/>
                <a:gd name="T54" fmla="*/ 5 w 415"/>
                <a:gd name="T55" fmla="*/ 180 h 451"/>
                <a:gd name="T56" fmla="*/ 25 w 415"/>
                <a:gd name="T57" fmla="*/ 118 h 451"/>
                <a:gd name="T58" fmla="*/ 61 w 415"/>
                <a:gd name="T59" fmla="*/ 66 h 451"/>
                <a:gd name="T60" fmla="*/ 108 w 415"/>
                <a:gd name="T61" fmla="*/ 27 h 451"/>
                <a:gd name="T62" fmla="*/ 166 w 415"/>
                <a:gd name="T63" fmla="*/ 4 h 451"/>
                <a:gd name="T64" fmla="*/ 228 w 415"/>
                <a:gd name="T65" fmla="*/ 1 h 451"/>
                <a:gd name="T66" fmla="*/ 288 w 415"/>
                <a:gd name="T67" fmla="*/ 17 h 451"/>
                <a:gd name="T68" fmla="*/ 339 w 415"/>
                <a:gd name="T69" fmla="*/ 52 h 451"/>
                <a:gd name="T70" fmla="*/ 379 w 415"/>
                <a:gd name="T71" fmla="*/ 99 h 451"/>
                <a:gd name="T72" fmla="*/ 405 w 415"/>
                <a:gd name="T73" fmla="*/ 158 h 451"/>
                <a:gd name="T74" fmla="*/ 415 w 415"/>
                <a:gd name="T75" fmla="*/ 226 h 451"/>
                <a:gd name="T76" fmla="*/ 405 w 415"/>
                <a:gd name="T77" fmla="*/ 292 h 451"/>
                <a:gd name="T78" fmla="*/ 379 w 415"/>
                <a:gd name="T79" fmla="*/ 351 h 451"/>
                <a:gd name="T80" fmla="*/ 339 w 415"/>
                <a:gd name="T81" fmla="*/ 400 h 451"/>
                <a:gd name="T82" fmla="*/ 288 w 415"/>
                <a:gd name="T83" fmla="*/ 433 h 451"/>
                <a:gd name="T84" fmla="*/ 228 w 415"/>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5" h="451">
                  <a:moveTo>
                    <a:pt x="208" y="52"/>
                  </a:moveTo>
                  <a:lnTo>
                    <a:pt x="192" y="53"/>
                  </a:lnTo>
                  <a:lnTo>
                    <a:pt x="176" y="56"/>
                  </a:lnTo>
                  <a:lnTo>
                    <a:pt x="162" y="60"/>
                  </a:lnTo>
                  <a:lnTo>
                    <a:pt x="147" y="66"/>
                  </a:lnTo>
                  <a:lnTo>
                    <a:pt x="133" y="73"/>
                  </a:lnTo>
                  <a:lnTo>
                    <a:pt x="121" y="82"/>
                  </a:lnTo>
                  <a:lnTo>
                    <a:pt x="108" y="92"/>
                  </a:lnTo>
                  <a:lnTo>
                    <a:pt x="98" y="104"/>
                  </a:lnTo>
                  <a:lnTo>
                    <a:pt x="88" y="115"/>
                  </a:lnTo>
                  <a:lnTo>
                    <a:pt x="78" y="128"/>
                  </a:lnTo>
                  <a:lnTo>
                    <a:pt x="71" y="142"/>
                  </a:lnTo>
                  <a:lnTo>
                    <a:pt x="64" y="158"/>
                  </a:lnTo>
                  <a:lnTo>
                    <a:pt x="59" y="174"/>
                  </a:lnTo>
                  <a:lnTo>
                    <a:pt x="55" y="191"/>
                  </a:lnTo>
                  <a:lnTo>
                    <a:pt x="52" y="207"/>
                  </a:lnTo>
                  <a:lnTo>
                    <a:pt x="52" y="226"/>
                  </a:lnTo>
                  <a:lnTo>
                    <a:pt x="52" y="243"/>
                  </a:lnTo>
                  <a:lnTo>
                    <a:pt x="55" y="260"/>
                  </a:lnTo>
                  <a:lnTo>
                    <a:pt x="59" y="278"/>
                  </a:lnTo>
                  <a:lnTo>
                    <a:pt x="64" y="294"/>
                  </a:lnTo>
                  <a:lnTo>
                    <a:pt x="71" y="308"/>
                  </a:lnTo>
                  <a:lnTo>
                    <a:pt x="78" y="322"/>
                  </a:lnTo>
                  <a:lnTo>
                    <a:pt x="88" y="335"/>
                  </a:lnTo>
                  <a:lnTo>
                    <a:pt x="98" y="348"/>
                  </a:lnTo>
                  <a:lnTo>
                    <a:pt x="108" y="360"/>
                  </a:lnTo>
                  <a:lnTo>
                    <a:pt x="121" y="370"/>
                  </a:lnTo>
                  <a:lnTo>
                    <a:pt x="133" y="379"/>
                  </a:lnTo>
                  <a:lnTo>
                    <a:pt x="147" y="386"/>
                  </a:lnTo>
                  <a:lnTo>
                    <a:pt x="162" y="392"/>
                  </a:lnTo>
                  <a:lnTo>
                    <a:pt x="176" y="396"/>
                  </a:lnTo>
                  <a:lnTo>
                    <a:pt x="192" y="399"/>
                  </a:lnTo>
                  <a:lnTo>
                    <a:pt x="208" y="399"/>
                  </a:lnTo>
                  <a:lnTo>
                    <a:pt x="224" y="399"/>
                  </a:lnTo>
                  <a:lnTo>
                    <a:pt x="238" y="396"/>
                  </a:lnTo>
                  <a:lnTo>
                    <a:pt x="254" y="392"/>
                  </a:lnTo>
                  <a:lnTo>
                    <a:pt x="268" y="386"/>
                  </a:lnTo>
                  <a:lnTo>
                    <a:pt x="281" y="379"/>
                  </a:lnTo>
                  <a:lnTo>
                    <a:pt x="294" y="370"/>
                  </a:lnTo>
                  <a:lnTo>
                    <a:pt x="306" y="360"/>
                  </a:lnTo>
                  <a:lnTo>
                    <a:pt x="317" y="348"/>
                  </a:lnTo>
                  <a:lnTo>
                    <a:pt x="327" y="335"/>
                  </a:lnTo>
                  <a:lnTo>
                    <a:pt x="336" y="322"/>
                  </a:lnTo>
                  <a:lnTo>
                    <a:pt x="345" y="308"/>
                  </a:lnTo>
                  <a:lnTo>
                    <a:pt x="350" y="294"/>
                  </a:lnTo>
                  <a:lnTo>
                    <a:pt x="356" y="278"/>
                  </a:lnTo>
                  <a:lnTo>
                    <a:pt x="359" y="260"/>
                  </a:lnTo>
                  <a:lnTo>
                    <a:pt x="362" y="243"/>
                  </a:lnTo>
                  <a:lnTo>
                    <a:pt x="363" y="226"/>
                  </a:lnTo>
                  <a:lnTo>
                    <a:pt x="362" y="207"/>
                  </a:lnTo>
                  <a:lnTo>
                    <a:pt x="359" y="191"/>
                  </a:lnTo>
                  <a:lnTo>
                    <a:pt x="356" y="174"/>
                  </a:lnTo>
                  <a:lnTo>
                    <a:pt x="350" y="158"/>
                  </a:lnTo>
                  <a:lnTo>
                    <a:pt x="345" y="142"/>
                  </a:lnTo>
                  <a:lnTo>
                    <a:pt x="336" y="128"/>
                  </a:lnTo>
                  <a:lnTo>
                    <a:pt x="327" y="115"/>
                  </a:lnTo>
                  <a:lnTo>
                    <a:pt x="317" y="104"/>
                  </a:lnTo>
                  <a:lnTo>
                    <a:pt x="306" y="92"/>
                  </a:lnTo>
                  <a:lnTo>
                    <a:pt x="294" y="82"/>
                  </a:lnTo>
                  <a:lnTo>
                    <a:pt x="281" y="73"/>
                  </a:lnTo>
                  <a:lnTo>
                    <a:pt x="268" y="66"/>
                  </a:lnTo>
                  <a:lnTo>
                    <a:pt x="254" y="60"/>
                  </a:lnTo>
                  <a:lnTo>
                    <a:pt x="238" y="56"/>
                  </a:lnTo>
                  <a:lnTo>
                    <a:pt x="224" y="53"/>
                  </a:lnTo>
                  <a:lnTo>
                    <a:pt x="208" y="52"/>
                  </a:lnTo>
                  <a:close/>
                  <a:moveTo>
                    <a:pt x="208" y="451"/>
                  </a:moveTo>
                  <a:lnTo>
                    <a:pt x="186" y="451"/>
                  </a:lnTo>
                  <a:lnTo>
                    <a:pt x="166" y="446"/>
                  </a:lnTo>
                  <a:lnTo>
                    <a:pt x="146" y="440"/>
                  </a:lnTo>
                  <a:lnTo>
                    <a:pt x="127" y="433"/>
                  </a:lnTo>
                  <a:lnTo>
                    <a:pt x="108" y="425"/>
                  </a:lnTo>
                  <a:lnTo>
                    <a:pt x="91" y="413"/>
                  </a:lnTo>
                  <a:lnTo>
                    <a:pt x="75" y="400"/>
                  </a:lnTo>
                  <a:lnTo>
                    <a:pt x="61" y="386"/>
                  </a:lnTo>
                  <a:lnTo>
                    <a:pt x="48" y="368"/>
                  </a:lnTo>
                  <a:lnTo>
                    <a:pt x="35" y="351"/>
                  </a:lnTo>
                  <a:lnTo>
                    <a:pt x="25" y="332"/>
                  </a:lnTo>
                  <a:lnTo>
                    <a:pt x="16" y="314"/>
                  </a:lnTo>
                  <a:lnTo>
                    <a:pt x="9" y="292"/>
                  </a:lnTo>
                  <a:lnTo>
                    <a:pt x="5" y="271"/>
                  </a:lnTo>
                  <a:lnTo>
                    <a:pt x="0" y="249"/>
                  </a:lnTo>
                  <a:lnTo>
                    <a:pt x="0" y="226"/>
                  </a:lnTo>
                  <a:lnTo>
                    <a:pt x="0" y="203"/>
                  </a:lnTo>
                  <a:lnTo>
                    <a:pt x="5" y="180"/>
                  </a:lnTo>
                  <a:lnTo>
                    <a:pt x="9" y="158"/>
                  </a:lnTo>
                  <a:lnTo>
                    <a:pt x="16" y="138"/>
                  </a:lnTo>
                  <a:lnTo>
                    <a:pt x="25" y="118"/>
                  </a:lnTo>
                  <a:lnTo>
                    <a:pt x="35" y="99"/>
                  </a:lnTo>
                  <a:lnTo>
                    <a:pt x="48" y="82"/>
                  </a:lnTo>
                  <a:lnTo>
                    <a:pt x="61" y="66"/>
                  </a:lnTo>
                  <a:lnTo>
                    <a:pt x="75" y="52"/>
                  </a:lnTo>
                  <a:lnTo>
                    <a:pt x="91" y="39"/>
                  </a:lnTo>
                  <a:lnTo>
                    <a:pt x="108" y="27"/>
                  </a:lnTo>
                  <a:lnTo>
                    <a:pt x="127" y="17"/>
                  </a:lnTo>
                  <a:lnTo>
                    <a:pt x="146" y="10"/>
                  </a:lnTo>
                  <a:lnTo>
                    <a:pt x="166" y="4"/>
                  </a:lnTo>
                  <a:lnTo>
                    <a:pt x="186" y="1"/>
                  </a:lnTo>
                  <a:lnTo>
                    <a:pt x="208" y="0"/>
                  </a:lnTo>
                  <a:lnTo>
                    <a:pt x="228" y="1"/>
                  </a:lnTo>
                  <a:lnTo>
                    <a:pt x="249" y="4"/>
                  </a:lnTo>
                  <a:lnTo>
                    <a:pt x="270" y="10"/>
                  </a:lnTo>
                  <a:lnTo>
                    <a:pt x="288" y="17"/>
                  </a:lnTo>
                  <a:lnTo>
                    <a:pt x="306" y="27"/>
                  </a:lnTo>
                  <a:lnTo>
                    <a:pt x="323" y="39"/>
                  </a:lnTo>
                  <a:lnTo>
                    <a:pt x="339" y="52"/>
                  </a:lnTo>
                  <a:lnTo>
                    <a:pt x="355" y="66"/>
                  </a:lnTo>
                  <a:lnTo>
                    <a:pt x="368" y="82"/>
                  </a:lnTo>
                  <a:lnTo>
                    <a:pt x="379" y="99"/>
                  </a:lnTo>
                  <a:lnTo>
                    <a:pt x="389" y="118"/>
                  </a:lnTo>
                  <a:lnTo>
                    <a:pt x="399" y="138"/>
                  </a:lnTo>
                  <a:lnTo>
                    <a:pt x="405" y="158"/>
                  </a:lnTo>
                  <a:lnTo>
                    <a:pt x="411" y="180"/>
                  </a:lnTo>
                  <a:lnTo>
                    <a:pt x="414" y="203"/>
                  </a:lnTo>
                  <a:lnTo>
                    <a:pt x="415" y="226"/>
                  </a:lnTo>
                  <a:lnTo>
                    <a:pt x="414" y="249"/>
                  </a:lnTo>
                  <a:lnTo>
                    <a:pt x="411" y="271"/>
                  </a:lnTo>
                  <a:lnTo>
                    <a:pt x="405" y="292"/>
                  </a:lnTo>
                  <a:lnTo>
                    <a:pt x="399" y="314"/>
                  </a:lnTo>
                  <a:lnTo>
                    <a:pt x="389" y="332"/>
                  </a:lnTo>
                  <a:lnTo>
                    <a:pt x="379" y="351"/>
                  </a:lnTo>
                  <a:lnTo>
                    <a:pt x="368" y="368"/>
                  </a:lnTo>
                  <a:lnTo>
                    <a:pt x="355" y="386"/>
                  </a:lnTo>
                  <a:lnTo>
                    <a:pt x="339" y="400"/>
                  </a:lnTo>
                  <a:lnTo>
                    <a:pt x="323" y="413"/>
                  </a:lnTo>
                  <a:lnTo>
                    <a:pt x="306" y="425"/>
                  </a:lnTo>
                  <a:lnTo>
                    <a:pt x="288" y="433"/>
                  </a:lnTo>
                  <a:lnTo>
                    <a:pt x="270" y="440"/>
                  </a:lnTo>
                  <a:lnTo>
                    <a:pt x="249" y="446"/>
                  </a:lnTo>
                  <a:lnTo>
                    <a:pt x="228" y="451"/>
                  </a:lnTo>
                  <a:lnTo>
                    <a:pt x="208"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34">
              <a:extLst>
                <a:ext uri="{FF2B5EF4-FFF2-40B4-BE49-F238E27FC236}">
                  <a16:creationId xmlns:a16="http://schemas.microsoft.com/office/drawing/2014/main" id="{B2F3836A-D0FE-4DDA-9454-7512341C9920}"/>
                </a:ext>
              </a:extLst>
            </p:cNvPr>
            <p:cNvSpPr>
              <a:spLocks/>
            </p:cNvSpPr>
            <p:nvPr/>
          </p:nvSpPr>
          <p:spPr bwMode="auto">
            <a:xfrm>
              <a:off x="2814638" y="1360488"/>
              <a:ext cx="373063" cy="236538"/>
            </a:xfrm>
            <a:custGeom>
              <a:avLst/>
              <a:gdLst>
                <a:gd name="T0" fmla="*/ 0 w 706"/>
                <a:gd name="T1" fmla="*/ 445 h 445"/>
                <a:gd name="T2" fmla="*/ 0 w 706"/>
                <a:gd name="T3" fmla="*/ 217 h 445"/>
                <a:gd name="T4" fmla="*/ 7 w 706"/>
                <a:gd name="T5" fmla="*/ 183 h 445"/>
                <a:gd name="T6" fmla="*/ 19 w 706"/>
                <a:gd name="T7" fmla="*/ 157 h 445"/>
                <a:gd name="T8" fmla="*/ 34 w 706"/>
                <a:gd name="T9" fmla="*/ 135 h 445"/>
                <a:gd name="T10" fmla="*/ 55 w 706"/>
                <a:gd name="T11" fmla="*/ 119 h 445"/>
                <a:gd name="T12" fmla="*/ 79 w 706"/>
                <a:gd name="T13" fmla="*/ 106 h 445"/>
                <a:gd name="T14" fmla="*/ 119 w 706"/>
                <a:gd name="T15" fmla="*/ 91 h 445"/>
                <a:gd name="T16" fmla="*/ 161 w 706"/>
                <a:gd name="T17" fmla="*/ 79 h 445"/>
                <a:gd name="T18" fmla="*/ 186 w 706"/>
                <a:gd name="T19" fmla="*/ 70 h 445"/>
                <a:gd name="T20" fmla="*/ 209 w 706"/>
                <a:gd name="T21" fmla="*/ 63 h 445"/>
                <a:gd name="T22" fmla="*/ 225 w 706"/>
                <a:gd name="T23" fmla="*/ 55 h 445"/>
                <a:gd name="T24" fmla="*/ 242 w 706"/>
                <a:gd name="T25" fmla="*/ 39 h 445"/>
                <a:gd name="T26" fmla="*/ 253 w 706"/>
                <a:gd name="T27" fmla="*/ 10 h 445"/>
                <a:gd name="T28" fmla="*/ 305 w 706"/>
                <a:gd name="T29" fmla="*/ 0 h 445"/>
                <a:gd name="T30" fmla="*/ 304 w 706"/>
                <a:gd name="T31" fmla="*/ 26 h 445"/>
                <a:gd name="T32" fmla="*/ 289 w 706"/>
                <a:gd name="T33" fmla="*/ 59 h 445"/>
                <a:gd name="T34" fmla="*/ 278 w 706"/>
                <a:gd name="T35" fmla="*/ 76 h 445"/>
                <a:gd name="T36" fmla="*/ 262 w 706"/>
                <a:gd name="T37" fmla="*/ 92 h 445"/>
                <a:gd name="T38" fmla="*/ 242 w 706"/>
                <a:gd name="T39" fmla="*/ 105 h 445"/>
                <a:gd name="T40" fmla="*/ 216 w 706"/>
                <a:gd name="T41" fmla="*/ 117 h 445"/>
                <a:gd name="T42" fmla="*/ 189 w 706"/>
                <a:gd name="T43" fmla="*/ 125 h 445"/>
                <a:gd name="T44" fmla="*/ 164 w 706"/>
                <a:gd name="T45" fmla="*/ 132 h 445"/>
                <a:gd name="T46" fmla="*/ 111 w 706"/>
                <a:gd name="T47" fmla="*/ 150 h 445"/>
                <a:gd name="T48" fmla="*/ 91 w 706"/>
                <a:gd name="T49" fmla="*/ 158 h 445"/>
                <a:gd name="T50" fmla="*/ 76 w 706"/>
                <a:gd name="T51" fmla="*/ 168 h 445"/>
                <a:gd name="T52" fmla="*/ 65 w 706"/>
                <a:gd name="T53" fmla="*/ 180 h 445"/>
                <a:gd name="T54" fmla="*/ 58 w 706"/>
                <a:gd name="T55" fmla="*/ 196 h 445"/>
                <a:gd name="T56" fmla="*/ 53 w 706"/>
                <a:gd name="T57" fmla="*/ 213 h 445"/>
                <a:gd name="T58" fmla="*/ 52 w 706"/>
                <a:gd name="T59" fmla="*/ 236 h 445"/>
                <a:gd name="T60" fmla="*/ 652 w 706"/>
                <a:gd name="T61" fmla="*/ 392 h 445"/>
                <a:gd name="T62" fmla="*/ 652 w 706"/>
                <a:gd name="T63" fmla="*/ 225 h 445"/>
                <a:gd name="T64" fmla="*/ 649 w 706"/>
                <a:gd name="T65" fmla="*/ 204 h 445"/>
                <a:gd name="T66" fmla="*/ 644 w 706"/>
                <a:gd name="T67" fmla="*/ 187 h 445"/>
                <a:gd name="T68" fmla="*/ 635 w 706"/>
                <a:gd name="T69" fmla="*/ 174 h 445"/>
                <a:gd name="T70" fmla="*/ 622 w 706"/>
                <a:gd name="T71" fmla="*/ 163 h 445"/>
                <a:gd name="T72" fmla="*/ 605 w 706"/>
                <a:gd name="T73" fmla="*/ 154 h 445"/>
                <a:gd name="T74" fmla="*/ 570 w 706"/>
                <a:gd name="T75" fmla="*/ 141 h 445"/>
                <a:gd name="T76" fmla="*/ 528 w 706"/>
                <a:gd name="T77" fmla="*/ 128 h 445"/>
                <a:gd name="T78" fmla="*/ 502 w 706"/>
                <a:gd name="T79" fmla="*/ 121 h 445"/>
                <a:gd name="T80" fmla="*/ 475 w 706"/>
                <a:gd name="T81" fmla="*/ 111 h 445"/>
                <a:gd name="T82" fmla="*/ 452 w 706"/>
                <a:gd name="T83" fmla="*/ 99 h 445"/>
                <a:gd name="T84" fmla="*/ 435 w 706"/>
                <a:gd name="T85" fmla="*/ 83 h 445"/>
                <a:gd name="T86" fmla="*/ 420 w 706"/>
                <a:gd name="T87" fmla="*/ 68 h 445"/>
                <a:gd name="T88" fmla="*/ 406 w 706"/>
                <a:gd name="T89" fmla="*/ 43 h 445"/>
                <a:gd name="T90" fmla="*/ 399 w 706"/>
                <a:gd name="T91" fmla="*/ 11 h 445"/>
                <a:gd name="T92" fmla="*/ 451 w 706"/>
                <a:gd name="T93" fmla="*/ 3 h 445"/>
                <a:gd name="T94" fmla="*/ 452 w 706"/>
                <a:gd name="T95" fmla="*/ 11 h 445"/>
                <a:gd name="T96" fmla="*/ 458 w 706"/>
                <a:gd name="T97" fmla="*/ 30 h 445"/>
                <a:gd name="T98" fmla="*/ 474 w 706"/>
                <a:gd name="T99" fmla="*/ 50 h 445"/>
                <a:gd name="T100" fmla="*/ 488 w 706"/>
                <a:gd name="T101" fmla="*/ 59 h 445"/>
                <a:gd name="T102" fmla="*/ 505 w 706"/>
                <a:gd name="T103" fmla="*/ 68 h 445"/>
                <a:gd name="T104" fmla="*/ 531 w 706"/>
                <a:gd name="T105" fmla="*/ 75 h 445"/>
                <a:gd name="T106" fmla="*/ 556 w 706"/>
                <a:gd name="T107" fmla="*/ 82 h 445"/>
                <a:gd name="T108" fmla="*/ 612 w 706"/>
                <a:gd name="T109" fmla="*/ 101 h 445"/>
                <a:gd name="T110" fmla="*/ 638 w 706"/>
                <a:gd name="T111" fmla="*/ 112 h 445"/>
                <a:gd name="T112" fmla="*/ 661 w 706"/>
                <a:gd name="T113" fmla="*/ 127 h 445"/>
                <a:gd name="T114" fmla="*/ 678 w 706"/>
                <a:gd name="T115" fmla="*/ 145 h 445"/>
                <a:gd name="T116" fmla="*/ 693 w 706"/>
                <a:gd name="T117" fmla="*/ 170 h 445"/>
                <a:gd name="T118" fmla="*/ 701 w 706"/>
                <a:gd name="T119" fmla="*/ 200 h 445"/>
                <a:gd name="T120" fmla="*/ 706 w 706"/>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445">
                  <a:moveTo>
                    <a:pt x="706" y="445"/>
                  </a:moveTo>
                  <a:lnTo>
                    <a:pt x="0" y="445"/>
                  </a:lnTo>
                  <a:lnTo>
                    <a:pt x="0" y="236"/>
                  </a:lnTo>
                  <a:lnTo>
                    <a:pt x="0" y="217"/>
                  </a:lnTo>
                  <a:lnTo>
                    <a:pt x="3" y="200"/>
                  </a:lnTo>
                  <a:lnTo>
                    <a:pt x="7" y="183"/>
                  </a:lnTo>
                  <a:lnTo>
                    <a:pt x="11" y="170"/>
                  </a:lnTo>
                  <a:lnTo>
                    <a:pt x="19" y="157"/>
                  </a:lnTo>
                  <a:lnTo>
                    <a:pt x="26" y="145"/>
                  </a:lnTo>
                  <a:lnTo>
                    <a:pt x="34" y="135"/>
                  </a:lnTo>
                  <a:lnTo>
                    <a:pt x="45" y="127"/>
                  </a:lnTo>
                  <a:lnTo>
                    <a:pt x="55" y="119"/>
                  </a:lnTo>
                  <a:lnTo>
                    <a:pt x="66" y="112"/>
                  </a:lnTo>
                  <a:lnTo>
                    <a:pt x="79" y="106"/>
                  </a:lnTo>
                  <a:lnTo>
                    <a:pt x="92" y="101"/>
                  </a:lnTo>
                  <a:lnTo>
                    <a:pt x="119" y="91"/>
                  </a:lnTo>
                  <a:lnTo>
                    <a:pt x="150" y="82"/>
                  </a:lnTo>
                  <a:lnTo>
                    <a:pt x="161" y="79"/>
                  </a:lnTo>
                  <a:lnTo>
                    <a:pt x="173" y="75"/>
                  </a:lnTo>
                  <a:lnTo>
                    <a:pt x="186" y="70"/>
                  </a:lnTo>
                  <a:lnTo>
                    <a:pt x="199" y="68"/>
                  </a:lnTo>
                  <a:lnTo>
                    <a:pt x="209" y="63"/>
                  </a:lnTo>
                  <a:lnTo>
                    <a:pt x="217" y="59"/>
                  </a:lnTo>
                  <a:lnTo>
                    <a:pt x="225" y="55"/>
                  </a:lnTo>
                  <a:lnTo>
                    <a:pt x="232" y="49"/>
                  </a:lnTo>
                  <a:lnTo>
                    <a:pt x="242" y="39"/>
                  </a:lnTo>
                  <a:lnTo>
                    <a:pt x="248" y="27"/>
                  </a:lnTo>
                  <a:lnTo>
                    <a:pt x="253" y="10"/>
                  </a:lnTo>
                  <a:lnTo>
                    <a:pt x="253" y="3"/>
                  </a:lnTo>
                  <a:lnTo>
                    <a:pt x="305" y="0"/>
                  </a:lnTo>
                  <a:lnTo>
                    <a:pt x="305" y="11"/>
                  </a:lnTo>
                  <a:lnTo>
                    <a:pt x="304" y="26"/>
                  </a:lnTo>
                  <a:lnTo>
                    <a:pt x="298" y="43"/>
                  </a:lnTo>
                  <a:lnTo>
                    <a:pt x="289" y="59"/>
                  </a:lnTo>
                  <a:lnTo>
                    <a:pt x="285" y="68"/>
                  </a:lnTo>
                  <a:lnTo>
                    <a:pt x="278" y="76"/>
                  </a:lnTo>
                  <a:lnTo>
                    <a:pt x="271" y="83"/>
                  </a:lnTo>
                  <a:lnTo>
                    <a:pt x="262" y="92"/>
                  </a:lnTo>
                  <a:lnTo>
                    <a:pt x="252" y="99"/>
                  </a:lnTo>
                  <a:lnTo>
                    <a:pt x="242" y="105"/>
                  </a:lnTo>
                  <a:lnTo>
                    <a:pt x="229" y="111"/>
                  </a:lnTo>
                  <a:lnTo>
                    <a:pt x="216" y="117"/>
                  </a:lnTo>
                  <a:lnTo>
                    <a:pt x="202" y="121"/>
                  </a:lnTo>
                  <a:lnTo>
                    <a:pt x="189" y="125"/>
                  </a:lnTo>
                  <a:lnTo>
                    <a:pt x="177" y="128"/>
                  </a:lnTo>
                  <a:lnTo>
                    <a:pt x="164" y="132"/>
                  </a:lnTo>
                  <a:lnTo>
                    <a:pt x="135" y="141"/>
                  </a:lnTo>
                  <a:lnTo>
                    <a:pt x="111" y="150"/>
                  </a:lnTo>
                  <a:lnTo>
                    <a:pt x="101" y="154"/>
                  </a:lnTo>
                  <a:lnTo>
                    <a:pt x="91" y="158"/>
                  </a:lnTo>
                  <a:lnTo>
                    <a:pt x="83" y="163"/>
                  </a:lnTo>
                  <a:lnTo>
                    <a:pt x="76" y="168"/>
                  </a:lnTo>
                  <a:lnTo>
                    <a:pt x="70" y="174"/>
                  </a:lnTo>
                  <a:lnTo>
                    <a:pt x="65" y="180"/>
                  </a:lnTo>
                  <a:lnTo>
                    <a:pt x="60" y="187"/>
                  </a:lnTo>
                  <a:lnTo>
                    <a:pt x="58" y="196"/>
                  </a:lnTo>
                  <a:lnTo>
                    <a:pt x="55" y="204"/>
                  </a:lnTo>
                  <a:lnTo>
                    <a:pt x="53" y="213"/>
                  </a:lnTo>
                  <a:lnTo>
                    <a:pt x="52" y="225"/>
                  </a:lnTo>
                  <a:lnTo>
                    <a:pt x="52" y="236"/>
                  </a:lnTo>
                  <a:lnTo>
                    <a:pt x="52" y="392"/>
                  </a:lnTo>
                  <a:lnTo>
                    <a:pt x="652" y="392"/>
                  </a:lnTo>
                  <a:lnTo>
                    <a:pt x="652" y="236"/>
                  </a:lnTo>
                  <a:lnTo>
                    <a:pt x="652" y="225"/>
                  </a:lnTo>
                  <a:lnTo>
                    <a:pt x="651" y="213"/>
                  </a:lnTo>
                  <a:lnTo>
                    <a:pt x="649" y="204"/>
                  </a:lnTo>
                  <a:lnTo>
                    <a:pt x="648" y="196"/>
                  </a:lnTo>
                  <a:lnTo>
                    <a:pt x="644" y="187"/>
                  </a:lnTo>
                  <a:lnTo>
                    <a:pt x="639" y="180"/>
                  </a:lnTo>
                  <a:lnTo>
                    <a:pt x="635" y="174"/>
                  </a:lnTo>
                  <a:lnTo>
                    <a:pt x="629" y="168"/>
                  </a:lnTo>
                  <a:lnTo>
                    <a:pt x="622" y="163"/>
                  </a:lnTo>
                  <a:lnTo>
                    <a:pt x="613" y="158"/>
                  </a:lnTo>
                  <a:lnTo>
                    <a:pt x="605" y="154"/>
                  </a:lnTo>
                  <a:lnTo>
                    <a:pt x="595" y="150"/>
                  </a:lnTo>
                  <a:lnTo>
                    <a:pt x="570" y="141"/>
                  </a:lnTo>
                  <a:lnTo>
                    <a:pt x="540" y="132"/>
                  </a:lnTo>
                  <a:lnTo>
                    <a:pt x="528" y="128"/>
                  </a:lnTo>
                  <a:lnTo>
                    <a:pt x="515" y="125"/>
                  </a:lnTo>
                  <a:lnTo>
                    <a:pt x="502" y="121"/>
                  </a:lnTo>
                  <a:lnTo>
                    <a:pt x="490" y="117"/>
                  </a:lnTo>
                  <a:lnTo>
                    <a:pt x="475" y="111"/>
                  </a:lnTo>
                  <a:lnTo>
                    <a:pt x="464" y="105"/>
                  </a:lnTo>
                  <a:lnTo>
                    <a:pt x="452" y="99"/>
                  </a:lnTo>
                  <a:lnTo>
                    <a:pt x="443" y="92"/>
                  </a:lnTo>
                  <a:lnTo>
                    <a:pt x="435" y="83"/>
                  </a:lnTo>
                  <a:lnTo>
                    <a:pt x="426" y="76"/>
                  </a:lnTo>
                  <a:lnTo>
                    <a:pt x="420" y="68"/>
                  </a:lnTo>
                  <a:lnTo>
                    <a:pt x="415" y="59"/>
                  </a:lnTo>
                  <a:lnTo>
                    <a:pt x="406" y="43"/>
                  </a:lnTo>
                  <a:lnTo>
                    <a:pt x="402" y="26"/>
                  </a:lnTo>
                  <a:lnTo>
                    <a:pt x="399" y="11"/>
                  </a:lnTo>
                  <a:lnTo>
                    <a:pt x="399" y="0"/>
                  </a:lnTo>
                  <a:lnTo>
                    <a:pt x="451" y="3"/>
                  </a:lnTo>
                  <a:lnTo>
                    <a:pt x="451" y="6"/>
                  </a:lnTo>
                  <a:lnTo>
                    <a:pt x="452" y="11"/>
                  </a:lnTo>
                  <a:lnTo>
                    <a:pt x="454" y="20"/>
                  </a:lnTo>
                  <a:lnTo>
                    <a:pt x="458" y="30"/>
                  </a:lnTo>
                  <a:lnTo>
                    <a:pt x="464" y="40"/>
                  </a:lnTo>
                  <a:lnTo>
                    <a:pt x="474" y="50"/>
                  </a:lnTo>
                  <a:lnTo>
                    <a:pt x="481" y="55"/>
                  </a:lnTo>
                  <a:lnTo>
                    <a:pt x="488" y="59"/>
                  </a:lnTo>
                  <a:lnTo>
                    <a:pt x="497" y="63"/>
                  </a:lnTo>
                  <a:lnTo>
                    <a:pt x="505" y="68"/>
                  </a:lnTo>
                  <a:lnTo>
                    <a:pt x="518" y="70"/>
                  </a:lnTo>
                  <a:lnTo>
                    <a:pt x="531" y="75"/>
                  </a:lnTo>
                  <a:lnTo>
                    <a:pt x="544" y="79"/>
                  </a:lnTo>
                  <a:lnTo>
                    <a:pt x="556" y="82"/>
                  </a:lnTo>
                  <a:lnTo>
                    <a:pt x="585" y="91"/>
                  </a:lnTo>
                  <a:lnTo>
                    <a:pt x="612" y="101"/>
                  </a:lnTo>
                  <a:lnTo>
                    <a:pt x="626" y="106"/>
                  </a:lnTo>
                  <a:lnTo>
                    <a:pt x="638" y="112"/>
                  </a:lnTo>
                  <a:lnTo>
                    <a:pt x="649" y="119"/>
                  </a:lnTo>
                  <a:lnTo>
                    <a:pt x="661" y="127"/>
                  </a:lnTo>
                  <a:lnTo>
                    <a:pt x="670" y="135"/>
                  </a:lnTo>
                  <a:lnTo>
                    <a:pt x="678" y="145"/>
                  </a:lnTo>
                  <a:lnTo>
                    <a:pt x="687" y="157"/>
                  </a:lnTo>
                  <a:lnTo>
                    <a:pt x="693" y="170"/>
                  </a:lnTo>
                  <a:lnTo>
                    <a:pt x="698" y="183"/>
                  </a:lnTo>
                  <a:lnTo>
                    <a:pt x="701" y="200"/>
                  </a:lnTo>
                  <a:lnTo>
                    <a:pt x="704" y="217"/>
                  </a:lnTo>
                  <a:lnTo>
                    <a:pt x="706" y="236"/>
                  </a:lnTo>
                  <a:lnTo>
                    <a:pt x="706"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35">
              <a:extLst>
                <a:ext uri="{FF2B5EF4-FFF2-40B4-BE49-F238E27FC236}">
                  <a16:creationId xmlns:a16="http://schemas.microsoft.com/office/drawing/2014/main" id="{CE9C1DF6-CE85-4BB5-A472-8DF3AD09E43A}"/>
                </a:ext>
              </a:extLst>
            </p:cNvPr>
            <p:cNvSpPr>
              <a:spLocks/>
            </p:cNvSpPr>
            <p:nvPr/>
          </p:nvSpPr>
          <p:spPr bwMode="auto">
            <a:xfrm>
              <a:off x="2900363" y="1200151"/>
              <a:ext cx="196850" cy="55563"/>
            </a:xfrm>
            <a:custGeom>
              <a:avLst/>
              <a:gdLst>
                <a:gd name="T0" fmla="*/ 89 w 370"/>
                <a:gd name="T1" fmla="*/ 106 h 106"/>
                <a:gd name="T2" fmla="*/ 68 w 370"/>
                <a:gd name="T3" fmla="*/ 106 h 106"/>
                <a:gd name="T4" fmla="*/ 46 w 370"/>
                <a:gd name="T5" fmla="*/ 103 h 106"/>
                <a:gd name="T6" fmla="*/ 25 w 370"/>
                <a:gd name="T7" fmla="*/ 100 h 106"/>
                <a:gd name="T8" fmla="*/ 0 w 370"/>
                <a:gd name="T9" fmla="*/ 96 h 106"/>
                <a:gd name="T10" fmla="*/ 13 w 370"/>
                <a:gd name="T11" fmla="*/ 44 h 106"/>
                <a:gd name="T12" fmla="*/ 38 w 370"/>
                <a:gd name="T13" fmla="*/ 50 h 106"/>
                <a:gd name="T14" fmla="*/ 61 w 370"/>
                <a:gd name="T15" fmla="*/ 53 h 106"/>
                <a:gd name="T16" fmla="*/ 84 w 370"/>
                <a:gd name="T17" fmla="*/ 54 h 106"/>
                <a:gd name="T18" fmla="*/ 105 w 370"/>
                <a:gd name="T19" fmla="*/ 54 h 106"/>
                <a:gd name="T20" fmla="*/ 125 w 370"/>
                <a:gd name="T21" fmla="*/ 52 h 106"/>
                <a:gd name="T22" fmla="*/ 146 w 370"/>
                <a:gd name="T23" fmla="*/ 49 h 106"/>
                <a:gd name="T24" fmla="*/ 163 w 370"/>
                <a:gd name="T25" fmla="*/ 46 h 106"/>
                <a:gd name="T26" fmla="*/ 179 w 370"/>
                <a:gd name="T27" fmla="*/ 41 h 106"/>
                <a:gd name="T28" fmla="*/ 207 w 370"/>
                <a:gd name="T29" fmla="*/ 31 h 106"/>
                <a:gd name="T30" fmla="*/ 228 w 370"/>
                <a:gd name="T31" fmla="*/ 23 h 106"/>
                <a:gd name="T32" fmla="*/ 242 w 370"/>
                <a:gd name="T33" fmla="*/ 16 h 106"/>
                <a:gd name="T34" fmla="*/ 246 w 370"/>
                <a:gd name="T35" fmla="*/ 13 h 106"/>
                <a:gd name="T36" fmla="*/ 264 w 370"/>
                <a:gd name="T37" fmla="*/ 0 h 106"/>
                <a:gd name="T38" fmla="*/ 279 w 370"/>
                <a:gd name="T39" fmla="*/ 16 h 106"/>
                <a:gd name="T40" fmla="*/ 285 w 370"/>
                <a:gd name="T41" fmla="*/ 20 h 106"/>
                <a:gd name="T42" fmla="*/ 302 w 370"/>
                <a:gd name="T43" fmla="*/ 30 h 106"/>
                <a:gd name="T44" fmla="*/ 315 w 370"/>
                <a:gd name="T45" fmla="*/ 36 h 106"/>
                <a:gd name="T46" fmla="*/ 331 w 370"/>
                <a:gd name="T47" fmla="*/ 40 h 106"/>
                <a:gd name="T48" fmla="*/ 349 w 370"/>
                <a:gd name="T49" fmla="*/ 43 h 106"/>
                <a:gd name="T50" fmla="*/ 370 w 370"/>
                <a:gd name="T51" fmla="*/ 44 h 106"/>
                <a:gd name="T52" fmla="*/ 370 w 370"/>
                <a:gd name="T53" fmla="*/ 96 h 106"/>
                <a:gd name="T54" fmla="*/ 350 w 370"/>
                <a:gd name="T55" fmla="*/ 96 h 106"/>
                <a:gd name="T56" fmla="*/ 333 w 370"/>
                <a:gd name="T57" fmla="*/ 93 h 106"/>
                <a:gd name="T58" fmla="*/ 315 w 370"/>
                <a:gd name="T59" fmla="*/ 90 h 106"/>
                <a:gd name="T60" fmla="*/ 301 w 370"/>
                <a:gd name="T61" fmla="*/ 86 h 106"/>
                <a:gd name="T62" fmla="*/ 288 w 370"/>
                <a:gd name="T63" fmla="*/ 80 h 106"/>
                <a:gd name="T64" fmla="*/ 277 w 370"/>
                <a:gd name="T65" fmla="*/ 76 h 106"/>
                <a:gd name="T66" fmla="*/ 266 w 370"/>
                <a:gd name="T67" fmla="*/ 70 h 106"/>
                <a:gd name="T68" fmla="*/ 259 w 370"/>
                <a:gd name="T69" fmla="*/ 66 h 106"/>
                <a:gd name="T70" fmla="*/ 246 w 370"/>
                <a:gd name="T71" fmla="*/ 72 h 106"/>
                <a:gd name="T72" fmla="*/ 232 w 370"/>
                <a:gd name="T73" fmla="*/ 77 h 106"/>
                <a:gd name="T74" fmla="*/ 215 w 370"/>
                <a:gd name="T75" fmla="*/ 85 h 106"/>
                <a:gd name="T76" fmla="*/ 193 w 370"/>
                <a:gd name="T77" fmla="*/ 92 h 106"/>
                <a:gd name="T78" fmla="*/ 171 w 370"/>
                <a:gd name="T79" fmla="*/ 98 h 106"/>
                <a:gd name="T80" fmla="*/ 146 w 370"/>
                <a:gd name="T81" fmla="*/ 102 h 106"/>
                <a:gd name="T82" fmla="*/ 118 w 370"/>
                <a:gd name="T83" fmla="*/ 105 h 106"/>
                <a:gd name="T84" fmla="*/ 89 w 370"/>
                <a:gd name="T8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6">
                  <a:moveTo>
                    <a:pt x="89" y="106"/>
                  </a:moveTo>
                  <a:lnTo>
                    <a:pt x="68" y="106"/>
                  </a:lnTo>
                  <a:lnTo>
                    <a:pt x="46" y="103"/>
                  </a:lnTo>
                  <a:lnTo>
                    <a:pt x="25" y="100"/>
                  </a:lnTo>
                  <a:lnTo>
                    <a:pt x="0" y="96"/>
                  </a:lnTo>
                  <a:lnTo>
                    <a:pt x="13" y="44"/>
                  </a:lnTo>
                  <a:lnTo>
                    <a:pt x="38" y="50"/>
                  </a:lnTo>
                  <a:lnTo>
                    <a:pt x="61" y="53"/>
                  </a:lnTo>
                  <a:lnTo>
                    <a:pt x="84" y="54"/>
                  </a:lnTo>
                  <a:lnTo>
                    <a:pt x="105" y="54"/>
                  </a:lnTo>
                  <a:lnTo>
                    <a:pt x="125" y="52"/>
                  </a:lnTo>
                  <a:lnTo>
                    <a:pt x="146" y="49"/>
                  </a:lnTo>
                  <a:lnTo>
                    <a:pt x="163" y="46"/>
                  </a:lnTo>
                  <a:lnTo>
                    <a:pt x="179" y="41"/>
                  </a:lnTo>
                  <a:lnTo>
                    <a:pt x="207" y="31"/>
                  </a:lnTo>
                  <a:lnTo>
                    <a:pt x="228" y="23"/>
                  </a:lnTo>
                  <a:lnTo>
                    <a:pt x="242" y="16"/>
                  </a:lnTo>
                  <a:lnTo>
                    <a:pt x="246" y="13"/>
                  </a:lnTo>
                  <a:lnTo>
                    <a:pt x="264" y="0"/>
                  </a:lnTo>
                  <a:lnTo>
                    <a:pt x="279" y="16"/>
                  </a:lnTo>
                  <a:lnTo>
                    <a:pt x="285" y="20"/>
                  </a:lnTo>
                  <a:lnTo>
                    <a:pt x="302" y="30"/>
                  </a:lnTo>
                  <a:lnTo>
                    <a:pt x="315" y="36"/>
                  </a:lnTo>
                  <a:lnTo>
                    <a:pt x="331" y="40"/>
                  </a:lnTo>
                  <a:lnTo>
                    <a:pt x="349" y="43"/>
                  </a:lnTo>
                  <a:lnTo>
                    <a:pt x="370" y="44"/>
                  </a:lnTo>
                  <a:lnTo>
                    <a:pt x="370" y="96"/>
                  </a:lnTo>
                  <a:lnTo>
                    <a:pt x="350" y="96"/>
                  </a:lnTo>
                  <a:lnTo>
                    <a:pt x="333" y="93"/>
                  </a:lnTo>
                  <a:lnTo>
                    <a:pt x="315" y="90"/>
                  </a:lnTo>
                  <a:lnTo>
                    <a:pt x="301" y="86"/>
                  </a:lnTo>
                  <a:lnTo>
                    <a:pt x="288" y="80"/>
                  </a:lnTo>
                  <a:lnTo>
                    <a:pt x="277" y="76"/>
                  </a:lnTo>
                  <a:lnTo>
                    <a:pt x="266" y="70"/>
                  </a:lnTo>
                  <a:lnTo>
                    <a:pt x="259" y="66"/>
                  </a:lnTo>
                  <a:lnTo>
                    <a:pt x="246" y="72"/>
                  </a:lnTo>
                  <a:lnTo>
                    <a:pt x="232" y="77"/>
                  </a:lnTo>
                  <a:lnTo>
                    <a:pt x="215" y="85"/>
                  </a:lnTo>
                  <a:lnTo>
                    <a:pt x="193" y="92"/>
                  </a:lnTo>
                  <a:lnTo>
                    <a:pt x="171" y="98"/>
                  </a:lnTo>
                  <a:lnTo>
                    <a:pt x="146" y="102"/>
                  </a:lnTo>
                  <a:lnTo>
                    <a:pt x="118" y="105"/>
                  </a:lnTo>
                  <a:lnTo>
                    <a:pt x="89"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42">
              <a:extLst>
                <a:ext uri="{FF2B5EF4-FFF2-40B4-BE49-F238E27FC236}">
                  <a16:creationId xmlns:a16="http://schemas.microsoft.com/office/drawing/2014/main" id="{516FF7E9-8318-4860-A201-0C1DDDC3CDA0}"/>
                </a:ext>
              </a:extLst>
            </p:cNvPr>
            <p:cNvSpPr>
              <a:spLocks noEditPoints="1"/>
            </p:cNvSpPr>
            <p:nvPr/>
          </p:nvSpPr>
          <p:spPr bwMode="auto">
            <a:xfrm>
              <a:off x="2667000" y="1230313"/>
              <a:ext cx="182563" cy="196850"/>
            </a:xfrm>
            <a:custGeom>
              <a:avLst/>
              <a:gdLst>
                <a:gd name="T0" fmla="*/ 149 w 343"/>
                <a:gd name="T1" fmla="*/ 54 h 371"/>
                <a:gd name="T2" fmla="*/ 116 w 343"/>
                <a:gd name="T3" fmla="*/ 67 h 371"/>
                <a:gd name="T4" fmla="*/ 88 w 343"/>
                <a:gd name="T5" fmla="*/ 90 h 371"/>
                <a:gd name="T6" fmla="*/ 68 w 343"/>
                <a:gd name="T7" fmla="*/ 122 h 371"/>
                <a:gd name="T8" fmla="*/ 55 w 343"/>
                <a:gd name="T9" fmla="*/ 158 h 371"/>
                <a:gd name="T10" fmla="*/ 54 w 343"/>
                <a:gd name="T11" fmla="*/ 198 h 371"/>
                <a:gd name="T12" fmla="*/ 62 w 343"/>
                <a:gd name="T13" fmla="*/ 237 h 371"/>
                <a:gd name="T14" fmla="*/ 81 w 343"/>
                <a:gd name="T15" fmla="*/ 270 h 371"/>
                <a:gd name="T16" fmla="*/ 106 w 343"/>
                <a:gd name="T17" fmla="*/ 296 h 371"/>
                <a:gd name="T18" fmla="*/ 137 w 343"/>
                <a:gd name="T19" fmla="*/ 312 h 371"/>
                <a:gd name="T20" fmla="*/ 172 w 343"/>
                <a:gd name="T21" fmla="*/ 319 h 371"/>
                <a:gd name="T22" fmla="*/ 208 w 343"/>
                <a:gd name="T23" fmla="*/ 312 h 371"/>
                <a:gd name="T24" fmla="*/ 238 w 343"/>
                <a:gd name="T25" fmla="*/ 296 h 371"/>
                <a:gd name="T26" fmla="*/ 264 w 343"/>
                <a:gd name="T27" fmla="*/ 270 h 371"/>
                <a:gd name="T28" fmla="*/ 281 w 343"/>
                <a:gd name="T29" fmla="*/ 237 h 371"/>
                <a:gd name="T30" fmla="*/ 291 w 343"/>
                <a:gd name="T31" fmla="*/ 198 h 371"/>
                <a:gd name="T32" fmla="*/ 288 w 343"/>
                <a:gd name="T33" fmla="*/ 158 h 371"/>
                <a:gd name="T34" fmla="*/ 277 w 343"/>
                <a:gd name="T35" fmla="*/ 122 h 371"/>
                <a:gd name="T36" fmla="*/ 257 w 343"/>
                <a:gd name="T37" fmla="*/ 90 h 371"/>
                <a:gd name="T38" fmla="*/ 229 w 343"/>
                <a:gd name="T39" fmla="*/ 67 h 371"/>
                <a:gd name="T40" fmla="*/ 196 w 343"/>
                <a:gd name="T41" fmla="*/ 54 h 371"/>
                <a:gd name="T42" fmla="*/ 172 w 343"/>
                <a:gd name="T43" fmla="*/ 371 h 371"/>
                <a:gd name="T44" fmla="*/ 121 w 343"/>
                <a:gd name="T45" fmla="*/ 363 h 371"/>
                <a:gd name="T46" fmla="*/ 77 w 343"/>
                <a:gd name="T47" fmla="*/ 340 h 371"/>
                <a:gd name="T48" fmla="*/ 41 w 343"/>
                <a:gd name="T49" fmla="*/ 304 h 371"/>
                <a:gd name="T50" fmla="*/ 15 w 343"/>
                <a:gd name="T51" fmla="*/ 257 h 371"/>
                <a:gd name="T52" fmla="*/ 2 w 343"/>
                <a:gd name="T53" fmla="*/ 204 h 371"/>
                <a:gd name="T54" fmla="*/ 5 w 343"/>
                <a:gd name="T55" fmla="*/ 148 h 371"/>
                <a:gd name="T56" fmla="*/ 22 w 343"/>
                <a:gd name="T57" fmla="*/ 96 h 371"/>
                <a:gd name="T58" fmla="*/ 51 w 343"/>
                <a:gd name="T59" fmla="*/ 54 h 371"/>
                <a:gd name="T60" fmla="*/ 91 w 343"/>
                <a:gd name="T61" fmla="*/ 21 h 371"/>
                <a:gd name="T62" fmla="*/ 137 w 343"/>
                <a:gd name="T63" fmla="*/ 4 h 371"/>
                <a:gd name="T64" fmla="*/ 189 w 343"/>
                <a:gd name="T65" fmla="*/ 1 h 371"/>
                <a:gd name="T66" fmla="*/ 239 w 343"/>
                <a:gd name="T67" fmla="*/ 14 h 371"/>
                <a:gd name="T68" fmla="*/ 281 w 343"/>
                <a:gd name="T69" fmla="*/ 41 h 371"/>
                <a:gd name="T70" fmla="*/ 314 w 343"/>
                <a:gd name="T71" fmla="*/ 82 h 371"/>
                <a:gd name="T72" fmla="*/ 336 w 343"/>
                <a:gd name="T73" fmla="*/ 131 h 371"/>
                <a:gd name="T74" fmla="*/ 343 w 343"/>
                <a:gd name="T75" fmla="*/ 185 h 371"/>
                <a:gd name="T76" fmla="*/ 336 w 343"/>
                <a:gd name="T77" fmla="*/ 240 h 371"/>
                <a:gd name="T78" fmla="*/ 314 w 343"/>
                <a:gd name="T79" fmla="*/ 289 h 371"/>
                <a:gd name="T80" fmla="*/ 281 w 343"/>
                <a:gd name="T81" fmla="*/ 328 h 371"/>
                <a:gd name="T82" fmla="*/ 239 w 343"/>
                <a:gd name="T83" fmla="*/ 357 h 371"/>
                <a:gd name="T84" fmla="*/ 189 w 343"/>
                <a:gd name="T85" fmla="*/ 37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1">
                  <a:moveTo>
                    <a:pt x="172" y="52"/>
                  </a:moveTo>
                  <a:lnTo>
                    <a:pt x="160" y="53"/>
                  </a:lnTo>
                  <a:lnTo>
                    <a:pt x="149" y="54"/>
                  </a:lnTo>
                  <a:lnTo>
                    <a:pt x="137" y="57"/>
                  </a:lnTo>
                  <a:lnTo>
                    <a:pt x="126" y="62"/>
                  </a:lnTo>
                  <a:lnTo>
                    <a:pt x="116" y="67"/>
                  </a:lnTo>
                  <a:lnTo>
                    <a:pt x="106" y="75"/>
                  </a:lnTo>
                  <a:lnTo>
                    <a:pt x="97" y="82"/>
                  </a:lnTo>
                  <a:lnTo>
                    <a:pt x="88" y="90"/>
                  </a:lnTo>
                  <a:lnTo>
                    <a:pt x="81" y="100"/>
                  </a:lnTo>
                  <a:lnTo>
                    <a:pt x="74" y="111"/>
                  </a:lnTo>
                  <a:lnTo>
                    <a:pt x="68" y="122"/>
                  </a:lnTo>
                  <a:lnTo>
                    <a:pt x="62" y="134"/>
                  </a:lnTo>
                  <a:lnTo>
                    <a:pt x="58" y="145"/>
                  </a:lnTo>
                  <a:lnTo>
                    <a:pt x="55" y="158"/>
                  </a:lnTo>
                  <a:lnTo>
                    <a:pt x="54" y="171"/>
                  </a:lnTo>
                  <a:lnTo>
                    <a:pt x="54" y="185"/>
                  </a:lnTo>
                  <a:lnTo>
                    <a:pt x="54" y="198"/>
                  </a:lnTo>
                  <a:lnTo>
                    <a:pt x="55" y="213"/>
                  </a:lnTo>
                  <a:lnTo>
                    <a:pt x="58" y="224"/>
                  </a:lnTo>
                  <a:lnTo>
                    <a:pt x="62" y="237"/>
                  </a:lnTo>
                  <a:lnTo>
                    <a:pt x="68" y="249"/>
                  </a:lnTo>
                  <a:lnTo>
                    <a:pt x="74" y="260"/>
                  </a:lnTo>
                  <a:lnTo>
                    <a:pt x="81" y="270"/>
                  </a:lnTo>
                  <a:lnTo>
                    <a:pt x="88" y="279"/>
                  </a:lnTo>
                  <a:lnTo>
                    <a:pt x="97" y="288"/>
                  </a:lnTo>
                  <a:lnTo>
                    <a:pt x="106" y="296"/>
                  </a:lnTo>
                  <a:lnTo>
                    <a:pt x="116" y="302"/>
                  </a:lnTo>
                  <a:lnTo>
                    <a:pt x="126" y="308"/>
                  </a:lnTo>
                  <a:lnTo>
                    <a:pt x="137" y="312"/>
                  </a:lnTo>
                  <a:lnTo>
                    <a:pt x="149" y="316"/>
                  </a:lnTo>
                  <a:lnTo>
                    <a:pt x="160" y="318"/>
                  </a:lnTo>
                  <a:lnTo>
                    <a:pt x="172" y="319"/>
                  </a:lnTo>
                  <a:lnTo>
                    <a:pt x="185" y="318"/>
                  </a:lnTo>
                  <a:lnTo>
                    <a:pt x="196" y="316"/>
                  </a:lnTo>
                  <a:lnTo>
                    <a:pt x="208" y="312"/>
                  </a:lnTo>
                  <a:lnTo>
                    <a:pt x="218" y="308"/>
                  </a:lnTo>
                  <a:lnTo>
                    <a:pt x="229" y="302"/>
                  </a:lnTo>
                  <a:lnTo>
                    <a:pt x="238" y="296"/>
                  </a:lnTo>
                  <a:lnTo>
                    <a:pt x="248" y="288"/>
                  </a:lnTo>
                  <a:lnTo>
                    <a:pt x="257" y="279"/>
                  </a:lnTo>
                  <a:lnTo>
                    <a:pt x="264" y="270"/>
                  </a:lnTo>
                  <a:lnTo>
                    <a:pt x="271" y="260"/>
                  </a:lnTo>
                  <a:lnTo>
                    <a:pt x="277" y="249"/>
                  </a:lnTo>
                  <a:lnTo>
                    <a:pt x="281" y="237"/>
                  </a:lnTo>
                  <a:lnTo>
                    <a:pt x="286" y="224"/>
                  </a:lnTo>
                  <a:lnTo>
                    <a:pt x="288" y="213"/>
                  </a:lnTo>
                  <a:lnTo>
                    <a:pt x="291" y="198"/>
                  </a:lnTo>
                  <a:lnTo>
                    <a:pt x="291" y="185"/>
                  </a:lnTo>
                  <a:lnTo>
                    <a:pt x="291" y="171"/>
                  </a:lnTo>
                  <a:lnTo>
                    <a:pt x="288" y="158"/>
                  </a:lnTo>
                  <a:lnTo>
                    <a:pt x="286" y="145"/>
                  </a:lnTo>
                  <a:lnTo>
                    <a:pt x="281" y="134"/>
                  </a:lnTo>
                  <a:lnTo>
                    <a:pt x="277" y="122"/>
                  </a:lnTo>
                  <a:lnTo>
                    <a:pt x="271" y="111"/>
                  </a:lnTo>
                  <a:lnTo>
                    <a:pt x="264" y="100"/>
                  </a:lnTo>
                  <a:lnTo>
                    <a:pt x="257" y="90"/>
                  </a:lnTo>
                  <a:lnTo>
                    <a:pt x="248" y="82"/>
                  </a:lnTo>
                  <a:lnTo>
                    <a:pt x="238" y="75"/>
                  </a:lnTo>
                  <a:lnTo>
                    <a:pt x="229" y="67"/>
                  </a:lnTo>
                  <a:lnTo>
                    <a:pt x="218" y="62"/>
                  </a:lnTo>
                  <a:lnTo>
                    <a:pt x="208" y="57"/>
                  </a:lnTo>
                  <a:lnTo>
                    <a:pt x="196" y="54"/>
                  </a:lnTo>
                  <a:lnTo>
                    <a:pt x="185" y="53"/>
                  </a:lnTo>
                  <a:lnTo>
                    <a:pt x="172" y="52"/>
                  </a:lnTo>
                  <a:close/>
                  <a:moveTo>
                    <a:pt x="172" y="371"/>
                  </a:moveTo>
                  <a:lnTo>
                    <a:pt x="155" y="370"/>
                  </a:lnTo>
                  <a:lnTo>
                    <a:pt x="137" y="367"/>
                  </a:lnTo>
                  <a:lnTo>
                    <a:pt x="121" y="363"/>
                  </a:lnTo>
                  <a:lnTo>
                    <a:pt x="106" y="357"/>
                  </a:lnTo>
                  <a:lnTo>
                    <a:pt x="91" y="348"/>
                  </a:lnTo>
                  <a:lnTo>
                    <a:pt x="77" y="340"/>
                  </a:lnTo>
                  <a:lnTo>
                    <a:pt x="64" y="328"/>
                  </a:lnTo>
                  <a:lnTo>
                    <a:pt x="51" y="316"/>
                  </a:lnTo>
                  <a:lnTo>
                    <a:pt x="41" y="304"/>
                  </a:lnTo>
                  <a:lnTo>
                    <a:pt x="31" y="289"/>
                  </a:lnTo>
                  <a:lnTo>
                    <a:pt x="22" y="273"/>
                  </a:lnTo>
                  <a:lnTo>
                    <a:pt x="15" y="257"/>
                  </a:lnTo>
                  <a:lnTo>
                    <a:pt x="9" y="240"/>
                  </a:lnTo>
                  <a:lnTo>
                    <a:pt x="5" y="223"/>
                  </a:lnTo>
                  <a:lnTo>
                    <a:pt x="2" y="204"/>
                  </a:lnTo>
                  <a:lnTo>
                    <a:pt x="0" y="185"/>
                  </a:lnTo>
                  <a:lnTo>
                    <a:pt x="2" y="167"/>
                  </a:lnTo>
                  <a:lnTo>
                    <a:pt x="5" y="148"/>
                  </a:lnTo>
                  <a:lnTo>
                    <a:pt x="9" y="131"/>
                  </a:lnTo>
                  <a:lnTo>
                    <a:pt x="15" y="113"/>
                  </a:lnTo>
                  <a:lnTo>
                    <a:pt x="22" y="96"/>
                  </a:lnTo>
                  <a:lnTo>
                    <a:pt x="31" y="82"/>
                  </a:lnTo>
                  <a:lnTo>
                    <a:pt x="41" y="67"/>
                  </a:lnTo>
                  <a:lnTo>
                    <a:pt x="51" y="54"/>
                  </a:lnTo>
                  <a:lnTo>
                    <a:pt x="64" y="41"/>
                  </a:lnTo>
                  <a:lnTo>
                    <a:pt x="77" y="31"/>
                  </a:lnTo>
                  <a:lnTo>
                    <a:pt x="91" y="21"/>
                  </a:lnTo>
                  <a:lnTo>
                    <a:pt x="106" y="14"/>
                  </a:lnTo>
                  <a:lnTo>
                    <a:pt x="121" y="8"/>
                  </a:lnTo>
                  <a:lnTo>
                    <a:pt x="137" y="4"/>
                  </a:lnTo>
                  <a:lnTo>
                    <a:pt x="155" y="1"/>
                  </a:lnTo>
                  <a:lnTo>
                    <a:pt x="172" y="0"/>
                  </a:lnTo>
                  <a:lnTo>
                    <a:pt x="189" y="1"/>
                  </a:lnTo>
                  <a:lnTo>
                    <a:pt x="206" y="4"/>
                  </a:lnTo>
                  <a:lnTo>
                    <a:pt x="224" y="8"/>
                  </a:lnTo>
                  <a:lnTo>
                    <a:pt x="239" y="14"/>
                  </a:lnTo>
                  <a:lnTo>
                    <a:pt x="254" y="21"/>
                  </a:lnTo>
                  <a:lnTo>
                    <a:pt x="268" y="31"/>
                  </a:lnTo>
                  <a:lnTo>
                    <a:pt x="281" y="41"/>
                  </a:lnTo>
                  <a:lnTo>
                    <a:pt x="293" y="54"/>
                  </a:lnTo>
                  <a:lnTo>
                    <a:pt x="304" y="67"/>
                  </a:lnTo>
                  <a:lnTo>
                    <a:pt x="314" y="82"/>
                  </a:lnTo>
                  <a:lnTo>
                    <a:pt x="323" y="96"/>
                  </a:lnTo>
                  <a:lnTo>
                    <a:pt x="330" y="113"/>
                  </a:lnTo>
                  <a:lnTo>
                    <a:pt x="336" y="131"/>
                  </a:lnTo>
                  <a:lnTo>
                    <a:pt x="340" y="148"/>
                  </a:lnTo>
                  <a:lnTo>
                    <a:pt x="343" y="167"/>
                  </a:lnTo>
                  <a:lnTo>
                    <a:pt x="343" y="185"/>
                  </a:lnTo>
                  <a:lnTo>
                    <a:pt x="343" y="204"/>
                  </a:lnTo>
                  <a:lnTo>
                    <a:pt x="340" y="223"/>
                  </a:lnTo>
                  <a:lnTo>
                    <a:pt x="336" y="240"/>
                  </a:lnTo>
                  <a:lnTo>
                    <a:pt x="330" y="257"/>
                  </a:lnTo>
                  <a:lnTo>
                    <a:pt x="323" y="273"/>
                  </a:lnTo>
                  <a:lnTo>
                    <a:pt x="314" y="289"/>
                  </a:lnTo>
                  <a:lnTo>
                    <a:pt x="304" y="304"/>
                  </a:lnTo>
                  <a:lnTo>
                    <a:pt x="293" y="316"/>
                  </a:lnTo>
                  <a:lnTo>
                    <a:pt x="281" y="328"/>
                  </a:lnTo>
                  <a:lnTo>
                    <a:pt x="268" y="340"/>
                  </a:lnTo>
                  <a:lnTo>
                    <a:pt x="254" y="348"/>
                  </a:lnTo>
                  <a:lnTo>
                    <a:pt x="239" y="357"/>
                  </a:lnTo>
                  <a:lnTo>
                    <a:pt x="224" y="363"/>
                  </a:lnTo>
                  <a:lnTo>
                    <a:pt x="206" y="367"/>
                  </a:lnTo>
                  <a:lnTo>
                    <a:pt x="189" y="370"/>
                  </a:lnTo>
                  <a:lnTo>
                    <a:pt x="172" y="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43">
              <a:extLst>
                <a:ext uri="{FF2B5EF4-FFF2-40B4-BE49-F238E27FC236}">
                  <a16:creationId xmlns:a16="http://schemas.microsoft.com/office/drawing/2014/main" id="{9CCD627A-46C6-4E8F-83D0-399073449BC8}"/>
                </a:ext>
              </a:extLst>
            </p:cNvPr>
            <p:cNvSpPr>
              <a:spLocks/>
            </p:cNvSpPr>
            <p:nvPr/>
          </p:nvSpPr>
          <p:spPr bwMode="auto">
            <a:xfrm>
              <a:off x="2776538" y="1404938"/>
              <a:ext cx="66675" cy="58738"/>
            </a:xfrm>
            <a:custGeom>
              <a:avLst/>
              <a:gdLst>
                <a:gd name="T0" fmla="*/ 114 w 128"/>
                <a:gd name="T1" fmla="*/ 112 h 112"/>
                <a:gd name="T2" fmla="*/ 95 w 128"/>
                <a:gd name="T3" fmla="*/ 107 h 112"/>
                <a:gd name="T4" fmla="*/ 75 w 128"/>
                <a:gd name="T5" fmla="*/ 99 h 112"/>
                <a:gd name="T6" fmla="*/ 63 w 128"/>
                <a:gd name="T7" fmla="*/ 95 h 112"/>
                <a:gd name="T8" fmla="*/ 53 w 128"/>
                <a:gd name="T9" fmla="*/ 91 h 112"/>
                <a:gd name="T10" fmla="*/ 45 w 128"/>
                <a:gd name="T11" fmla="*/ 85 h 112"/>
                <a:gd name="T12" fmla="*/ 36 w 128"/>
                <a:gd name="T13" fmla="*/ 79 h 112"/>
                <a:gd name="T14" fmla="*/ 29 w 128"/>
                <a:gd name="T15" fmla="*/ 72 h 112"/>
                <a:gd name="T16" fmla="*/ 23 w 128"/>
                <a:gd name="T17" fmla="*/ 66 h 112"/>
                <a:gd name="T18" fmla="*/ 17 w 128"/>
                <a:gd name="T19" fmla="*/ 59 h 112"/>
                <a:gd name="T20" fmla="*/ 13 w 128"/>
                <a:gd name="T21" fmla="*/ 52 h 112"/>
                <a:gd name="T22" fmla="*/ 6 w 128"/>
                <a:gd name="T23" fmla="*/ 37 h 112"/>
                <a:gd name="T24" fmla="*/ 1 w 128"/>
                <a:gd name="T25" fmla="*/ 23 h 112"/>
                <a:gd name="T26" fmla="*/ 0 w 128"/>
                <a:gd name="T27" fmla="*/ 12 h 112"/>
                <a:gd name="T28" fmla="*/ 0 w 128"/>
                <a:gd name="T29" fmla="*/ 0 h 112"/>
                <a:gd name="T30" fmla="*/ 52 w 128"/>
                <a:gd name="T31" fmla="*/ 4 h 112"/>
                <a:gd name="T32" fmla="*/ 52 w 128"/>
                <a:gd name="T33" fmla="*/ 12 h 112"/>
                <a:gd name="T34" fmla="*/ 56 w 128"/>
                <a:gd name="T35" fmla="*/ 24 h 112"/>
                <a:gd name="T36" fmla="*/ 62 w 128"/>
                <a:gd name="T37" fmla="*/ 32 h 112"/>
                <a:gd name="T38" fmla="*/ 69 w 128"/>
                <a:gd name="T39" fmla="*/ 39 h 112"/>
                <a:gd name="T40" fmla="*/ 79 w 128"/>
                <a:gd name="T41" fmla="*/ 45 h 112"/>
                <a:gd name="T42" fmla="*/ 92 w 128"/>
                <a:gd name="T43" fmla="*/ 50 h 112"/>
                <a:gd name="T44" fmla="*/ 111 w 128"/>
                <a:gd name="T45" fmla="*/ 56 h 112"/>
                <a:gd name="T46" fmla="*/ 128 w 128"/>
                <a:gd name="T47" fmla="*/ 62 h 112"/>
                <a:gd name="T48" fmla="*/ 114 w 128"/>
                <a:gd name="T4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12">
                  <a:moveTo>
                    <a:pt x="114" y="112"/>
                  </a:moveTo>
                  <a:lnTo>
                    <a:pt x="95" y="107"/>
                  </a:lnTo>
                  <a:lnTo>
                    <a:pt x="75" y="99"/>
                  </a:lnTo>
                  <a:lnTo>
                    <a:pt x="63" y="95"/>
                  </a:lnTo>
                  <a:lnTo>
                    <a:pt x="53" y="91"/>
                  </a:lnTo>
                  <a:lnTo>
                    <a:pt x="45" y="85"/>
                  </a:lnTo>
                  <a:lnTo>
                    <a:pt x="36" y="79"/>
                  </a:lnTo>
                  <a:lnTo>
                    <a:pt x="29" y="72"/>
                  </a:lnTo>
                  <a:lnTo>
                    <a:pt x="23" y="66"/>
                  </a:lnTo>
                  <a:lnTo>
                    <a:pt x="17" y="59"/>
                  </a:lnTo>
                  <a:lnTo>
                    <a:pt x="13" y="52"/>
                  </a:lnTo>
                  <a:lnTo>
                    <a:pt x="6" y="37"/>
                  </a:lnTo>
                  <a:lnTo>
                    <a:pt x="1" y="23"/>
                  </a:lnTo>
                  <a:lnTo>
                    <a:pt x="0" y="12"/>
                  </a:lnTo>
                  <a:lnTo>
                    <a:pt x="0" y="0"/>
                  </a:lnTo>
                  <a:lnTo>
                    <a:pt x="52" y="4"/>
                  </a:lnTo>
                  <a:lnTo>
                    <a:pt x="52" y="12"/>
                  </a:lnTo>
                  <a:lnTo>
                    <a:pt x="56" y="24"/>
                  </a:lnTo>
                  <a:lnTo>
                    <a:pt x="62" y="32"/>
                  </a:lnTo>
                  <a:lnTo>
                    <a:pt x="69" y="39"/>
                  </a:lnTo>
                  <a:lnTo>
                    <a:pt x="79" y="45"/>
                  </a:lnTo>
                  <a:lnTo>
                    <a:pt x="92" y="50"/>
                  </a:lnTo>
                  <a:lnTo>
                    <a:pt x="111" y="56"/>
                  </a:lnTo>
                  <a:lnTo>
                    <a:pt x="128" y="62"/>
                  </a:lnTo>
                  <a:lnTo>
                    <a:pt x="11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44">
              <a:extLst>
                <a:ext uri="{FF2B5EF4-FFF2-40B4-BE49-F238E27FC236}">
                  <a16:creationId xmlns:a16="http://schemas.microsoft.com/office/drawing/2014/main" id="{25731B04-C210-4FE3-882B-5A7F93064089}"/>
                </a:ext>
              </a:extLst>
            </p:cNvPr>
            <p:cNvSpPr>
              <a:spLocks/>
            </p:cNvSpPr>
            <p:nvPr/>
          </p:nvSpPr>
          <p:spPr bwMode="auto">
            <a:xfrm>
              <a:off x="2606675" y="1404938"/>
              <a:ext cx="223838" cy="192088"/>
            </a:xfrm>
            <a:custGeom>
              <a:avLst/>
              <a:gdLst>
                <a:gd name="T0" fmla="*/ 424 w 424"/>
                <a:gd name="T1" fmla="*/ 363 h 363"/>
                <a:gd name="T2" fmla="*/ 0 w 424"/>
                <a:gd name="T3" fmla="*/ 363 h 363"/>
                <a:gd name="T4" fmla="*/ 0 w 424"/>
                <a:gd name="T5" fmla="*/ 192 h 363"/>
                <a:gd name="T6" fmla="*/ 0 w 424"/>
                <a:gd name="T7" fmla="*/ 174 h 363"/>
                <a:gd name="T8" fmla="*/ 3 w 424"/>
                <a:gd name="T9" fmla="*/ 160 h 363"/>
                <a:gd name="T10" fmla="*/ 6 w 424"/>
                <a:gd name="T11" fmla="*/ 147 h 363"/>
                <a:gd name="T12" fmla="*/ 10 w 424"/>
                <a:gd name="T13" fmla="*/ 135 h 363"/>
                <a:gd name="T14" fmla="*/ 16 w 424"/>
                <a:gd name="T15" fmla="*/ 124 h 363"/>
                <a:gd name="T16" fmla="*/ 22 w 424"/>
                <a:gd name="T17" fmla="*/ 115 h 363"/>
                <a:gd name="T18" fmla="*/ 29 w 424"/>
                <a:gd name="T19" fmla="*/ 107 h 363"/>
                <a:gd name="T20" fmla="*/ 38 w 424"/>
                <a:gd name="T21" fmla="*/ 99 h 363"/>
                <a:gd name="T22" fmla="*/ 46 w 424"/>
                <a:gd name="T23" fmla="*/ 92 h 363"/>
                <a:gd name="T24" fmla="*/ 56 w 424"/>
                <a:gd name="T25" fmla="*/ 86 h 363"/>
                <a:gd name="T26" fmla="*/ 66 w 424"/>
                <a:gd name="T27" fmla="*/ 82 h 363"/>
                <a:gd name="T28" fmla="*/ 78 w 424"/>
                <a:gd name="T29" fmla="*/ 78 h 363"/>
                <a:gd name="T30" fmla="*/ 100 w 424"/>
                <a:gd name="T31" fmla="*/ 69 h 363"/>
                <a:gd name="T32" fmla="*/ 124 w 424"/>
                <a:gd name="T33" fmla="*/ 62 h 363"/>
                <a:gd name="T34" fmla="*/ 143 w 424"/>
                <a:gd name="T35" fmla="*/ 56 h 363"/>
                <a:gd name="T36" fmla="*/ 163 w 424"/>
                <a:gd name="T37" fmla="*/ 50 h 363"/>
                <a:gd name="T38" fmla="*/ 176 w 424"/>
                <a:gd name="T39" fmla="*/ 45 h 363"/>
                <a:gd name="T40" fmla="*/ 186 w 424"/>
                <a:gd name="T41" fmla="*/ 39 h 363"/>
                <a:gd name="T42" fmla="*/ 193 w 424"/>
                <a:gd name="T43" fmla="*/ 32 h 363"/>
                <a:gd name="T44" fmla="*/ 198 w 424"/>
                <a:gd name="T45" fmla="*/ 24 h 363"/>
                <a:gd name="T46" fmla="*/ 202 w 424"/>
                <a:gd name="T47" fmla="*/ 12 h 363"/>
                <a:gd name="T48" fmla="*/ 203 w 424"/>
                <a:gd name="T49" fmla="*/ 4 h 363"/>
                <a:gd name="T50" fmla="*/ 255 w 424"/>
                <a:gd name="T51" fmla="*/ 0 h 363"/>
                <a:gd name="T52" fmla="*/ 255 w 424"/>
                <a:gd name="T53" fmla="*/ 12 h 363"/>
                <a:gd name="T54" fmla="*/ 254 w 424"/>
                <a:gd name="T55" fmla="*/ 23 h 363"/>
                <a:gd name="T56" fmla="*/ 249 w 424"/>
                <a:gd name="T57" fmla="*/ 37 h 363"/>
                <a:gd name="T58" fmla="*/ 242 w 424"/>
                <a:gd name="T59" fmla="*/ 52 h 363"/>
                <a:gd name="T60" fmla="*/ 238 w 424"/>
                <a:gd name="T61" fmla="*/ 59 h 363"/>
                <a:gd name="T62" fmla="*/ 232 w 424"/>
                <a:gd name="T63" fmla="*/ 66 h 363"/>
                <a:gd name="T64" fmla="*/ 226 w 424"/>
                <a:gd name="T65" fmla="*/ 72 h 363"/>
                <a:gd name="T66" fmla="*/ 219 w 424"/>
                <a:gd name="T67" fmla="*/ 79 h 363"/>
                <a:gd name="T68" fmla="*/ 210 w 424"/>
                <a:gd name="T69" fmla="*/ 85 h 363"/>
                <a:gd name="T70" fmla="*/ 200 w 424"/>
                <a:gd name="T71" fmla="*/ 91 h 363"/>
                <a:gd name="T72" fmla="*/ 190 w 424"/>
                <a:gd name="T73" fmla="*/ 95 h 363"/>
                <a:gd name="T74" fmla="*/ 179 w 424"/>
                <a:gd name="T75" fmla="*/ 99 h 363"/>
                <a:gd name="T76" fmla="*/ 159 w 424"/>
                <a:gd name="T77" fmla="*/ 107 h 363"/>
                <a:gd name="T78" fmla="*/ 138 w 424"/>
                <a:gd name="T79" fmla="*/ 112 h 363"/>
                <a:gd name="T80" fmla="*/ 115 w 424"/>
                <a:gd name="T81" fmla="*/ 120 h 363"/>
                <a:gd name="T82" fmla="*/ 97 w 424"/>
                <a:gd name="T83" fmla="*/ 125 h 363"/>
                <a:gd name="T84" fmla="*/ 82 w 424"/>
                <a:gd name="T85" fmla="*/ 132 h 363"/>
                <a:gd name="T86" fmla="*/ 71 w 424"/>
                <a:gd name="T87" fmla="*/ 140 h 363"/>
                <a:gd name="T88" fmla="*/ 65 w 424"/>
                <a:gd name="T89" fmla="*/ 144 h 363"/>
                <a:gd name="T90" fmla="*/ 62 w 424"/>
                <a:gd name="T91" fmla="*/ 148 h 363"/>
                <a:gd name="T92" fmla="*/ 59 w 424"/>
                <a:gd name="T93" fmla="*/ 154 h 363"/>
                <a:gd name="T94" fmla="*/ 56 w 424"/>
                <a:gd name="T95" fmla="*/ 160 h 363"/>
                <a:gd name="T96" fmla="*/ 54 w 424"/>
                <a:gd name="T97" fmla="*/ 174 h 363"/>
                <a:gd name="T98" fmla="*/ 52 w 424"/>
                <a:gd name="T99" fmla="*/ 192 h 363"/>
                <a:gd name="T100" fmla="*/ 52 w 424"/>
                <a:gd name="T101" fmla="*/ 310 h 363"/>
                <a:gd name="T102" fmla="*/ 424 w 424"/>
                <a:gd name="T103" fmla="*/ 310 h 363"/>
                <a:gd name="T104" fmla="*/ 424 w 424"/>
                <a:gd name="T10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363">
                  <a:moveTo>
                    <a:pt x="424" y="363"/>
                  </a:moveTo>
                  <a:lnTo>
                    <a:pt x="0" y="363"/>
                  </a:lnTo>
                  <a:lnTo>
                    <a:pt x="0" y="192"/>
                  </a:lnTo>
                  <a:lnTo>
                    <a:pt x="0" y="174"/>
                  </a:lnTo>
                  <a:lnTo>
                    <a:pt x="3" y="160"/>
                  </a:lnTo>
                  <a:lnTo>
                    <a:pt x="6" y="147"/>
                  </a:lnTo>
                  <a:lnTo>
                    <a:pt x="10" y="135"/>
                  </a:lnTo>
                  <a:lnTo>
                    <a:pt x="16" y="124"/>
                  </a:lnTo>
                  <a:lnTo>
                    <a:pt x="22" y="115"/>
                  </a:lnTo>
                  <a:lnTo>
                    <a:pt x="29" y="107"/>
                  </a:lnTo>
                  <a:lnTo>
                    <a:pt x="38" y="99"/>
                  </a:lnTo>
                  <a:lnTo>
                    <a:pt x="46" y="92"/>
                  </a:lnTo>
                  <a:lnTo>
                    <a:pt x="56" y="86"/>
                  </a:lnTo>
                  <a:lnTo>
                    <a:pt x="66" y="82"/>
                  </a:lnTo>
                  <a:lnTo>
                    <a:pt x="78" y="78"/>
                  </a:lnTo>
                  <a:lnTo>
                    <a:pt x="100" y="69"/>
                  </a:lnTo>
                  <a:lnTo>
                    <a:pt x="124" y="62"/>
                  </a:lnTo>
                  <a:lnTo>
                    <a:pt x="143" y="56"/>
                  </a:lnTo>
                  <a:lnTo>
                    <a:pt x="163" y="50"/>
                  </a:lnTo>
                  <a:lnTo>
                    <a:pt x="176" y="45"/>
                  </a:lnTo>
                  <a:lnTo>
                    <a:pt x="186" y="39"/>
                  </a:lnTo>
                  <a:lnTo>
                    <a:pt x="193" y="32"/>
                  </a:lnTo>
                  <a:lnTo>
                    <a:pt x="198" y="24"/>
                  </a:lnTo>
                  <a:lnTo>
                    <a:pt x="202" y="12"/>
                  </a:lnTo>
                  <a:lnTo>
                    <a:pt x="203" y="4"/>
                  </a:lnTo>
                  <a:lnTo>
                    <a:pt x="255" y="0"/>
                  </a:lnTo>
                  <a:lnTo>
                    <a:pt x="255" y="12"/>
                  </a:lnTo>
                  <a:lnTo>
                    <a:pt x="254" y="23"/>
                  </a:lnTo>
                  <a:lnTo>
                    <a:pt x="249" y="37"/>
                  </a:lnTo>
                  <a:lnTo>
                    <a:pt x="242" y="52"/>
                  </a:lnTo>
                  <a:lnTo>
                    <a:pt x="238" y="59"/>
                  </a:lnTo>
                  <a:lnTo>
                    <a:pt x="232" y="66"/>
                  </a:lnTo>
                  <a:lnTo>
                    <a:pt x="226" y="72"/>
                  </a:lnTo>
                  <a:lnTo>
                    <a:pt x="219" y="79"/>
                  </a:lnTo>
                  <a:lnTo>
                    <a:pt x="210" y="85"/>
                  </a:lnTo>
                  <a:lnTo>
                    <a:pt x="200" y="91"/>
                  </a:lnTo>
                  <a:lnTo>
                    <a:pt x="190" y="95"/>
                  </a:lnTo>
                  <a:lnTo>
                    <a:pt x="179" y="99"/>
                  </a:lnTo>
                  <a:lnTo>
                    <a:pt x="159" y="107"/>
                  </a:lnTo>
                  <a:lnTo>
                    <a:pt x="138" y="112"/>
                  </a:lnTo>
                  <a:lnTo>
                    <a:pt x="115" y="120"/>
                  </a:lnTo>
                  <a:lnTo>
                    <a:pt x="97" y="125"/>
                  </a:lnTo>
                  <a:lnTo>
                    <a:pt x="82" y="132"/>
                  </a:lnTo>
                  <a:lnTo>
                    <a:pt x="71" y="140"/>
                  </a:lnTo>
                  <a:lnTo>
                    <a:pt x="65" y="144"/>
                  </a:lnTo>
                  <a:lnTo>
                    <a:pt x="62" y="148"/>
                  </a:lnTo>
                  <a:lnTo>
                    <a:pt x="59" y="154"/>
                  </a:lnTo>
                  <a:lnTo>
                    <a:pt x="56" y="160"/>
                  </a:lnTo>
                  <a:lnTo>
                    <a:pt x="54" y="174"/>
                  </a:lnTo>
                  <a:lnTo>
                    <a:pt x="52" y="192"/>
                  </a:lnTo>
                  <a:lnTo>
                    <a:pt x="52" y="310"/>
                  </a:lnTo>
                  <a:lnTo>
                    <a:pt x="424" y="310"/>
                  </a:lnTo>
                  <a:lnTo>
                    <a:pt x="424"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45">
              <a:extLst>
                <a:ext uri="{FF2B5EF4-FFF2-40B4-BE49-F238E27FC236}">
                  <a16:creationId xmlns:a16="http://schemas.microsoft.com/office/drawing/2014/main" id="{DEF1416A-7DAA-424B-BD47-D3913B5861AA}"/>
                </a:ext>
              </a:extLst>
            </p:cNvPr>
            <p:cNvSpPr>
              <a:spLocks/>
            </p:cNvSpPr>
            <p:nvPr/>
          </p:nvSpPr>
          <p:spPr bwMode="auto">
            <a:xfrm>
              <a:off x="2678113" y="1273176"/>
              <a:ext cx="157163" cy="50800"/>
            </a:xfrm>
            <a:custGeom>
              <a:avLst/>
              <a:gdLst>
                <a:gd name="T0" fmla="*/ 72 w 296"/>
                <a:gd name="T1" fmla="*/ 96 h 96"/>
                <a:gd name="T2" fmla="*/ 54 w 296"/>
                <a:gd name="T3" fmla="*/ 96 h 96"/>
                <a:gd name="T4" fmla="*/ 37 w 296"/>
                <a:gd name="T5" fmla="*/ 95 h 96"/>
                <a:gd name="T6" fmla="*/ 18 w 296"/>
                <a:gd name="T7" fmla="*/ 92 h 96"/>
                <a:gd name="T8" fmla="*/ 0 w 296"/>
                <a:gd name="T9" fmla="*/ 88 h 96"/>
                <a:gd name="T10" fmla="*/ 13 w 296"/>
                <a:gd name="T11" fmla="*/ 37 h 96"/>
                <a:gd name="T12" fmla="*/ 31 w 296"/>
                <a:gd name="T13" fmla="*/ 42 h 96"/>
                <a:gd name="T14" fmla="*/ 50 w 296"/>
                <a:gd name="T15" fmla="*/ 43 h 96"/>
                <a:gd name="T16" fmla="*/ 67 w 296"/>
                <a:gd name="T17" fmla="*/ 45 h 96"/>
                <a:gd name="T18" fmla="*/ 85 w 296"/>
                <a:gd name="T19" fmla="*/ 45 h 96"/>
                <a:gd name="T20" fmla="*/ 100 w 296"/>
                <a:gd name="T21" fmla="*/ 43 h 96"/>
                <a:gd name="T22" fmla="*/ 115 w 296"/>
                <a:gd name="T23" fmla="*/ 40 h 96"/>
                <a:gd name="T24" fmla="*/ 129 w 296"/>
                <a:gd name="T25" fmla="*/ 37 h 96"/>
                <a:gd name="T26" fmla="*/ 142 w 296"/>
                <a:gd name="T27" fmla="*/ 34 h 96"/>
                <a:gd name="T28" fmla="*/ 164 w 296"/>
                <a:gd name="T29" fmla="*/ 27 h 96"/>
                <a:gd name="T30" fmla="*/ 181 w 296"/>
                <a:gd name="T31" fmla="*/ 20 h 96"/>
                <a:gd name="T32" fmla="*/ 191 w 296"/>
                <a:gd name="T33" fmla="*/ 14 h 96"/>
                <a:gd name="T34" fmla="*/ 195 w 296"/>
                <a:gd name="T35" fmla="*/ 11 h 96"/>
                <a:gd name="T36" fmla="*/ 213 w 296"/>
                <a:gd name="T37" fmla="*/ 0 h 96"/>
                <a:gd name="T38" fmla="*/ 227 w 296"/>
                <a:gd name="T39" fmla="*/ 16 h 96"/>
                <a:gd name="T40" fmla="*/ 233 w 296"/>
                <a:gd name="T41" fmla="*/ 19 h 96"/>
                <a:gd name="T42" fmla="*/ 246 w 296"/>
                <a:gd name="T43" fmla="*/ 26 h 96"/>
                <a:gd name="T44" fmla="*/ 254 w 296"/>
                <a:gd name="T45" fmla="*/ 30 h 96"/>
                <a:gd name="T46" fmla="*/ 266 w 296"/>
                <a:gd name="T47" fmla="*/ 33 h 96"/>
                <a:gd name="T48" fmla="*/ 280 w 296"/>
                <a:gd name="T49" fmla="*/ 36 h 96"/>
                <a:gd name="T50" fmla="*/ 296 w 296"/>
                <a:gd name="T51" fmla="*/ 37 h 96"/>
                <a:gd name="T52" fmla="*/ 296 w 296"/>
                <a:gd name="T53" fmla="*/ 89 h 96"/>
                <a:gd name="T54" fmla="*/ 280 w 296"/>
                <a:gd name="T55" fmla="*/ 88 h 96"/>
                <a:gd name="T56" fmla="*/ 267 w 296"/>
                <a:gd name="T57" fmla="*/ 86 h 96"/>
                <a:gd name="T58" fmla="*/ 254 w 296"/>
                <a:gd name="T59" fmla="*/ 83 h 96"/>
                <a:gd name="T60" fmla="*/ 242 w 296"/>
                <a:gd name="T61" fmla="*/ 81 h 96"/>
                <a:gd name="T62" fmla="*/ 223 w 296"/>
                <a:gd name="T63" fmla="*/ 73 h 96"/>
                <a:gd name="T64" fmla="*/ 207 w 296"/>
                <a:gd name="T65" fmla="*/ 65 h 96"/>
                <a:gd name="T66" fmla="*/ 185 w 296"/>
                <a:gd name="T67" fmla="*/ 75 h 96"/>
                <a:gd name="T68" fmla="*/ 154 w 296"/>
                <a:gd name="T69" fmla="*/ 86 h 96"/>
                <a:gd name="T70" fmla="*/ 136 w 296"/>
                <a:gd name="T71" fmla="*/ 91 h 96"/>
                <a:gd name="T72" fmla="*/ 116 w 296"/>
                <a:gd name="T73" fmla="*/ 93 h 96"/>
                <a:gd name="T74" fmla="*/ 95 w 296"/>
                <a:gd name="T75" fmla="*/ 96 h 96"/>
                <a:gd name="T76" fmla="*/ 72 w 296"/>
                <a:gd name="T7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96">
                  <a:moveTo>
                    <a:pt x="72" y="96"/>
                  </a:moveTo>
                  <a:lnTo>
                    <a:pt x="54" y="96"/>
                  </a:lnTo>
                  <a:lnTo>
                    <a:pt x="37" y="95"/>
                  </a:lnTo>
                  <a:lnTo>
                    <a:pt x="18" y="92"/>
                  </a:lnTo>
                  <a:lnTo>
                    <a:pt x="0" y="88"/>
                  </a:lnTo>
                  <a:lnTo>
                    <a:pt x="13" y="37"/>
                  </a:lnTo>
                  <a:lnTo>
                    <a:pt x="31" y="42"/>
                  </a:lnTo>
                  <a:lnTo>
                    <a:pt x="50" y="43"/>
                  </a:lnTo>
                  <a:lnTo>
                    <a:pt x="67" y="45"/>
                  </a:lnTo>
                  <a:lnTo>
                    <a:pt x="85" y="45"/>
                  </a:lnTo>
                  <a:lnTo>
                    <a:pt x="100" y="43"/>
                  </a:lnTo>
                  <a:lnTo>
                    <a:pt x="115" y="40"/>
                  </a:lnTo>
                  <a:lnTo>
                    <a:pt x="129" y="37"/>
                  </a:lnTo>
                  <a:lnTo>
                    <a:pt x="142" y="34"/>
                  </a:lnTo>
                  <a:lnTo>
                    <a:pt x="164" y="27"/>
                  </a:lnTo>
                  <a:lnTo>
                    <a:pt x="181" y="20"/>
                  </a:lnTo>
                  <a:lnTo>
                    <a:pt x="191" y="14"/>
                  </a:lnTo>
                  <a:lnTo>
                    <a:pt x="195" y="11"/>
                  </a:lnTo>
                  <a:lnTo>
                    <a:pt x="213" y="0"/>
                  </a:lnTo>
                  <a:lnTo>
                    <a:pt x="227" y="16"/>
                  </a:lnTo>
                  <a:lnTo>
                    <a:pt x="233" y="19"/>
                  </a:lnTo>
                  <a:lnTo>
                    <a:pt x="246" y="26"/>
                  </a:lnTo>
                  <a:lnTo>
                    <a:pt x="254" y="30"/>
                  </a:lnTo>
                  <a:lnTo>
                    <a:pt x="266" y="33"/>
                  </a:lnTo>
                  <a:lnTo>
                    <a:pt x="280" y="36"/>
                  </a:lnTo>
                  <a:lnTo>
                    <a:pt x="296" y="37"/>
                  </a:lnTo>
                  <a:lnTo>
                    <a:pt x="296" y="89"/>
                  </a:lnTo>
                  <a:lnTo>
                    <a:pt x="280" y="88"/>
                  </a:lnTo>
                  <a:lnTo>
                    <a:pt x="267" y="86"/>
                  </a:lnTo>
                  <a:lnTo>
                    <a:pt x="254" y="83"/>
                  </a:lnTo>
                  <a:lnTo>
                    <a:pt x="242" y="81"/>
                  </a:lnTo>
                  <a:lnTo>
                    <a:pt x="223" y="73"/>
                  </a:lnTo>
                  <a:lnTo>
                    <a:pt x="207" y="65"/>
                  </a:lnTo>
                  <a:lnTo>
                    <a:pt x="185" y="75"/>
                  </a:lnTo>
                  <a:lnTo>
                    <a:pt x="154" y="86"/>
                  </a:lnTo>
                  <a:lnTo>
                    <a:pt x="136" y="91"/>
                  </a:lnTo>
                  <a:lnTo>
                    <a:pt x="116" y="93"/>
                  </a:lnTo>
                  <a:lnTo>
                    <a:pt x="95" y="96"/>
                  </a:lnTo>
                  <a:lnTo>
                    <a:pt x="7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46">
              <a:extLst>
                <a:ext uri="{FF2B5EF4-FFF2-40B4-BE49-F238E27FC236}">
                  <a16:creationId xmlns:a16="http://schemas.microsoft.com/office/drawing/2014/main" id="{F07F22BA-B115-4058-8009-DC74923A9FC9}"/>
                </a:ext>
              </a:extLst>
            </p:cNvPr>
            <p:cNvSpPr>
              <a:spLocks noEditPoints="1"/>
            </p:cNvSpPr>
            <p:nvPr/>
          </p:nvSpPr>
          <p:spPr bwMode="auto">
            <a:xfrm>
              <a:off x="3151188" y="1230313"/>
              <a:ext cx="182563" cy="196850"/>
            </a:xfrm>
            <a:custGeom>
              <a:avLst/>
              <a:gdLst>
                <a:gd name="T0" fmla="*/ 148 w 343"/>
                <a:gd name="T1" fmla="*/ 54 h 371"/>
                <a:gd name="T2" fmla="*/ 115 w 343"/>
                <a:gd name="T3" fmla="*/ 67 h 371"/>
                <a:gd name="T4" fmla="*/ 88 w 343"/>
                <a:gd name="T5" fmla="*/ 90 h 371"/>
                <a:gd name="T6" fmla="*/ 68 w 343"/>
                <a:gd name="T7" fmla="*/ 122 h 371"/>
                <a:gd name="T8" fmla="*/ 55 w 343"/>
                <a:gd name="T9" fmla="*/ 158 h 371"/>
                <a:gd name="T10" fmla="*/ 53 w 343"/>
                <a:gd name="T11" fmla="*/ 198 h 371"/>
                <a:gd name="T12" fmla="*/ 62 w 343"/>
                <a:gd name="T13" fmla="*/ 237 h 371"/>
                <a:gd name="T14" fmla="*/ 79 w 343"/>
                <a:gd name="T15" fmla="*/ 270 h 371"/>
                <a:gd name="T16" fmla="*/ 105 w 343"/>
                <a:gd name="T17" fmla="*/ 296 h 371"/>
                <a:gd name="T18" fmla="*/ 137 w 343"/>
                <a:gd name="T19" fmla="*/ 312 h 371"/>
                <a:gd name="T20" fmla="*/ 171 w 343"/>
                <a:gd name="T21" fmla="*/ 319 h 371"/>
                <a:gd name="T22" fmla="*/ 207 w 343"/>
                <a:gd name="T23" fmla="*/ 312 h 371"/>
                <a:gd name="T24" fmla="*/ 237 w 343"/>
                <a:gd name="T25" fmla="*/ 296 h 371"/>
                <a:gd name="T26" fmla="*/ 263 w 343"/>
                <a:gd name="T27" fmla="*/ 270 h 371"/>
                <a:gd name="T28" fmla="*/ 281 w 343"/>
                <a:gd name="T29" fmla="*/ 237 h 371"/>
                <a:gd name="T30" fmla="*/ 289 w 343"/>
                <a:gd name="T31" fmla="*/ 198 h 371"/>
                <a:gd name="T32" fmla="*/ 288 w 343"/>
                <a:gd name="T33" fmla="*/ 158 h 371"/>
                <a:gd name="T34" fmla="*/ 276 w 343"/>
                <a:gd name="T35" fmla="*/ 122 h 371"/>
                <a:gd name="T36" fmla="*/ 256 w 343"/>
                <a:gd name="T37" fmla="*/ 90 h 371"/>
                <a:gd name="T38" fmla="*/ 229 w 343"/>
                <a:gd name="T39" fmla="*/ 67 h 371"/>
                <a:gd name="T40" fmla="*/ 196 w 343"/>
                <a:gd name="T41" fmla="*/ 54 h 371"/>
                <a:gd name="T42" fmla="*/ 171 w 343"/>
                <a:gd name="T43" fmla="*/ 371 h 371"/>
                <a:gd name="T44" fmla="*/ 121 w 343"/>
                <a:gd name="T45" fmla="*/ 363 h 371"/>
                <a:gd name="T46" fmla="*/ 76 w 343"/>
                <a:gd name="T47" fmla="*/ 340 h 371"/>
                <a:gd name="T48" fmla="*/ 39 w 343"/>
                <a:gd name="T49" fmla="*/ 304 h 371"/>
                <a:gd name="T50" fmla="*/ 14 w 343"/>
                <a:gd name="T51" fmla="*/ 257 h 371"/>
                <a:gd name="T52" fmla="*/ 1 w 343"/>
                <a:gd name="T53" fmla="*/ 204 h 371"/>
                <a:gd name="T54" fmla="*/ 4 w 343"/>
                <a:gd name="T55" fmla="*/ 148 h 371"/>
                <a:gd name="T56" fmla="*/ 21 w 343"/>
                <a:gd name="T57" fmla="*/ 96 h 371"/>
                <a:gd name="T58" fmla="*/ 50 w 343"/>
                <a:gd name="T59" fmla="*/ 54 h 371"/>
                <a:gd name="T60" fmla="*/ 91 w 343"/>
                <a:gd name="T61" fmla="*/ 21 h 371"/>
                <a:gd name="T62" fmla="*/ 137 w 343"/>
                <a:gd name="T63" fmla="*/ 4 h 371"/>
                <a:gd name="T64" fmla="*/ 188 w 343"/>
                <a:gd name="T65" fmla="*/ 1 h 371"/>
                <a:gd name="T66" fmla="*/ 237 w 343"/>
                <a:gd name="T67" fmla="*/ 14 h 371"/>
                <a:gd name="T68" fmla="*/ 281 w 343"/>
                <a:gd name="T69" fmla="*/ 41 h 371"/>
                <a:gd name="T70" fmla="*/ 314 w 343"/>
                <a:gd name="T71" fmla="*/ 82 h 371"/>
                <a:gd name="T72" fmla="*/ 335 w 343"/>
                <a:gd name="T73" fmla="*/ 131 h 371"/>
                <a:gd name="T74" fmla="*/ 343 w 343"/>
                <a:gd name="T75" fmla="*/ 185 h 371"/>
                <a:gd name="T76" fmla="*/ 335 w 343"/>
                <a:gd name="T77" fmla="*/ 240 h 371"/>
                <a:gd name="T78" fmla="*/ 314 w 343"/>
                <a:gd name="T79" fmla="*/ 289 h 371"/>
                <a:gd name="T80" fmla="*/ 281 w 343"/>
                <a:gd name="T81" fmla="*/ 328 h 371"/>
                <a:gd name="T82" fmla="*/ 237 w 343"/>
                <a:gd name="T83" fmla="*/ 357 h 371"/>
                <a:gd name="T84" fmla="*/ 188 w 343"/>
                <a:gd name="T85" fmla="*/ 37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371">
                  <a:moveTo>
                    <a:pt x="171" y="52"/>
                  </a:moveTo>
                  <a:lnTo>
                    <a:pt x="160" y="53"/>
                  </a:lnTo>
                  <a:lnTo>
                    <a:pt x="148" y="54"/>
                  </a:lnTo>
                  <a:lnTo>
                    <a:pt x="137" y="57"/>
                  </a:lnTo>
                  <a:lnTo>
                    <a:pt x="125" y="62"/>
                  </a:lnTo>
                  <a:lnTo>
                    <a:pt x="115" y="67"/>
                  </a:lnTo>
                  <a:lnTo>
                    <a:pt x="105" y="75"/>
                  </a:lnTo>
                  <a:lnTo>
                    <a:pt x="96" y="82"/>
                  </a:lnTo>
                  <a:lnTo>
                    <a:pt x="88" y="90"/>
                  </a:lnTo>
                  <a:lnTo>
                    <a:pt x="79" y="100"/>
                  </a:lnTo>
                  <a:lnTo>
                    <a:pt x="73" y="111"/>
                  </a:lnTo>
                  <a:lnTo>
                    <a:pt x="68" y="122"/>
                  </a:lnTo>
                  <a:lnTo>
                    <a:pt x="62" y="134"/>
                  </a:lnTo>
                  <a:lnTo>
                    <a:pt x="57" y="145"/>
                  </a:lnTo>
                  <a:lnTo>
                    <a:pt x="55" y="158"/>
                  </a:lnTo>
                  <a:lnTo>
                    <a:pt x="53" y="171"/>
                  </a:lnTo>
                  <a:lnTo>
                    <a:pt x="53" y="185"/>
                  </a:lnTo>
                  <a:lnTo>
                    <a:pt x="53" y="198"/>
                  </a:lnTo>
                  <a:lnTo>
                    <a:pt x="55" y="213"/>
                  </a:lnTo>
                  <a:lnTo>
                    <a:pt x="57" y="224"/>
                  </a:lnTo>
                  <a:lnTo>
                    <a:pt x="62" y="237"/>
                  </a:lnTo>
                  <a:lnTo>
                    <a:pt x="68" y="249"/>
                  </a:lnTo>
                  <a:lnTo>
                    <a:pt x="73" y="260"/>
                  </a:lnTo>
                  <a:lnTo>
                    <a:pt x="79" y="270"/>
                  </a:lnTo>
                  <a:lnTo>
                    <a:pt x="88" y="279"/>
                  </a:lnTo>
                  <a:lnTo>
                    <a:pt x="96" y="288"/>
                  </a:lnTo>
                  <a:lnTo>
                    <a:pt x="105" y="296"/>
                  </a:lnTo>
                  <a:lnTo>
                    <a:pt x="115" y="302"/>
                  </a:lnTo>
                  <a:lnTo>
                    <a:pt x="125" y="308"/>
                  </a:lnTo>
                  <a:lnTo>
                    <a:pt x="137" y="312"/>
                  </a:lnTo>
                  <a:lnTo>
                    <a:pt x="148" y="316"/>
                  </a:lnTo>
                  <a:lnTo>
                    <a:pt x="160" y="318"/>
                  </a:lnTo>
                  <a:lnTo>
                    <a:pt x="171" y="319"/>
                  </a:lnTo>
                  <a:lnTo>
                    <a:pt x="184" y="318"/>
                  </a:lnTo>
                  <a:lnTo>
                    <a:pt x="196" y="316"/>
                  </a:lnTo>
                  <a:lnTo>
                    <a:pt x="207" y="312"/>
                  </a:lnTo>
                  <a:lnTo>
                    <a:pt x="217" y="308"/>
                  </a:lnTo>
                  <a:lnTo>
                    <a:pt x="229" y="302"/>
                  </a:lnTo>
                  <a:lnTo>
                    <a:pt x="237" y="296"/>
                  </a:lnTo>
                  <a:lnTo>
                    <a:pt x="248" y="288"/>
                  </a:lnTo>
                  <a:lnTo>
                    <a:pt x="256" y="279"/>
                  </a:lnTo>
                  <a:lnTo>
                    <a:pt x="263" y="270"/>
                  </a:lnTo>
                  <a:lnTo>
                    <a:pt x="271" y="260"/>
                  </a:lnTo>
                  <a:lnTo>
                    <a:pt x="276" y="249"/>
                  </a:lnTo>
                  <a:lnTo>
                    <a:pt x="281" y="237"/>
                  </a:lnTo>
                  <a:lnTo>
                    <a:pt x="285" y="224"/>
                  </a:lnTo>
                  <a:lnTo>
                    <a:pt x="288" y="213"/>
                  </a:lnTo>
                  <a:lnTo>
                    <a:pt x="289" y="198"/>
                  </a:lnTo>
                  <a:lnTo>
                    <a:pt x="291" y="185"/>
                  </a:lnTo>
                  <a:lnTo>
                    <a:pt x="289" y="171"/>
                  </a:lnTo>
                  <a:lnTo>
                    <a:pt x="288" y="158"/>
                  </a:lnTo>
                  <a:lnTo>
                    <a:pt x="285" y="145"/>
                  </a:lnTo>
                  <a:lnTo>
                    <a:pt x="281" y="134"/>
                  </a:lnTo>
                  <a:lnTo>
                    <a:pt x="276" y="122"/>
                  </a:lnTo>
                  <a:lnTo>
                    <a:pt x="271" y="111"/>
                  </a:lnTo>
                  <a:lnTo>
                    <a:pt x="263" y="100"/>
                  </a:lnTo>
                  <a:lnTo>
                    <a:pt x="256" y="90"/>
                  </a:lnTo>
                  <a:lnTo>
                    <a:pt x="248" y="82"/>
                  </a:lnTo>
                  <a:lnTo>
                    <a:pt x="237" y="75"/>
                  </a:lnTo>
                  <a:lnTo>
                    <a:pt x="229" y="67"/>
                  </a:lnTo>
                  <a:lnTo>
                    <a:pt x="217" y="62"/>
                  </a:lnTo>
                  <a:lnTo>
                    <a:pt x="207" y="57"/>
                  </a:lnTo>
                  <a:lnTo>
                    <a:pt x="196" y="54"/>
                  </a:lnTo>
                  <a:lnTo>
                    <a:pt x="184" y="53"/>
                  </a:lnTo>
                  <a:lnTo>
                    <a:pt x="171" y="52"/>
                  </a:lnTo>
                  <a:close/>
                  <a:moveTo>
                    <a:pt x="171" y="371"/>
                  </a:moveTo>
                  <a:lnTo>
                    <a:pt x="154" y="370"/>
                  </a:lnTo>
                  <a:lnTo>
                    <a:pt x="137" y="367"/>
                  </a:lnTo>
                  <a:lnTo>
                    <a:pt x="121" y="363"/>
                  </a:lnTo>
                  <a:lnTo>
                    <a:pt x="105" y="357"/>
                  </a:lnTo>
                  <a:lnTo>
                    <a:pt x="91" y="348"/>
                  </a:lnTo>
                  <a:lnTo>
                    <a:pt x="76" y="340"/>
                  </a:lnTo>
                  <a:lnTo>
                    <a:pt x="63" y="328"/>
                  </a:lnTo>
                  <a:lnTo>
                    <a:pt x="50" y="316"/>
                  </a:lnTo>
                  <a:lnTo>
                    <a:pt x="39" y="304"/>
                  </a:lnTo>
                  <a:lnTo>
                    <a:pt x="30" y="289"/>
                  </a:lnTo>
                  <a:lnTo>
                    <a:pt x="21" y="273"/>
                  </a:lnTo>
                  <a:lnTo>
                    <a:pt x="14" y="257"/>
                  </a:lnTo>
                  <a:lnTo>
                    <a:pt x="8" y="240"/>
                  </a:lnTo>
                  <a:lnTo>
                    <a:pt x="4" y="223"/>
                  </a:lnTo>
                  <a:lnTo>
                    <a:pt x="1" y="204"/>
                  </a:lnTo>
                  <a:lnTo>
                    <a:pt x="0" y="185"/>
                  </a:lnTo>
                  <a:lnTo>
                    <a:pt x="1" y="167"/>
                  </a:lnTo>
                  <a:lnTo>
                    <a:pt x="4" y="148"/>
                  </a:lnTo>
                  <a:lnTo>
                    <a:pt x="8" y="131"/>
                  </a:lnTo>
                  <a:lnTo>
                    <a:pt x="14" y="113"/>
                  </a:lnTo>
                  <a:lnTo>
                    <a:pt x="21" y="96"/>
                  </a:lnTo>
                  <a:lnTo>
                    <a:pt x="30" y="82"/>
                  </a:lnTo>
                  <a:lnTo>
                    <a:pt x="39" y="67"/>
                  </a:lnTo>
                  <a:lnTo>
                    <a:pt x="50" y="54"/>
                  </a:lnTo>
                  <a:lnTo>
                    <a:pt x="63" y="41"/>
                  </a:lnTo>
                  <a:lnTo>
                    <a:pt x="76" y="31"/>
                  </a:lnTo>
                  <a:lnTo>
                    <a:pt x="91" y="21"/>
                  </a:lnTo>
                  <a:lnTo>
                    <a:pt x="105" y="14"/>
                  </a:lnTo>
                  <a:lnTo>
                    <a:pt x="121" y="8"/>
                  </a:lnTo>
                  <a:lnTo>
                    <a:pt x="137" y="4"/>
                  </a:lnTo>
                  <a:lnTo>
                    <a:pt x="154" y="1"/>
                  </a:lnTo>
                  <a:lnTo>
                    <a:pt x="171" y="0"/>
                  </a:lnTo>
                  <a:lnTo>
                    <a:pt x="188" y="1"/>
                  </a:lnTo>
                  <a:lnTo>
                    <a:pt x="206" y="4"/>
                  </a:lnTo>
                  <a:lnTo>
                    <a:pt x="223" y="8"/>
                  </a:lnTo>
                  <a:lnTo>
                    <a:pt x="237" y="14"/>
                  </a:lnTo>
                  <a:lnTo>
                    <a:pt x="253" y="21"/>
                  </a:lnTo>
                  <a:lnTo>
                    <a:pt x="268" y="31"/>
                  </a:lnTo>
                  <a:lnTo>
                    <a:pt x="281" y="41"/>
                  </a:lnTo>
                  <a:lnTo>
                    <a:pt x="292" y="54"/>
                  </a:lnTo>
                  <a:lnTo>
                    <a:pt x="304" y="67"/>
                  </a:lnTo>
                  <a:lnTo>
                    <a:pt x="314" y="82"/>
                  </a:lnTo>
                  <a:lnTo>
                    <a:pt x="322" y="96"/>
                  </a:lnTo>
                  <a:lnTo>
                    <a:pt x="330" y="113"/>
                  </a:lnTo>
                  <a:lnTo>
                    <a:pt x="335" y="131"/>
                  </a:lnTo>
                  <a:lnTo>
                    <a:pt x="340" y="148"/>
                  </a:lnTo>
                  <a:lnTo>
                    <a:pt x="341" y="167"/>
                  </a:lnTo>
                  <a:lnTo>
                    <a:pt x="343" y="185"/>
                  </a:lnTo>
                  <a:lnTo>
                    <a:pt x="341" y="204"/>
                  </a:lnTo>
                  <a:lnTo>
                    <a:pt x="340" y="223"/>
                  </a:lnTo>
                  <a:lnTo>
                    <a:pt x="335" y="240"/>
                  </a:lnTo>
                  <a:lnTo>
                    <a:pt x="330" y="257"/>
                  </a:lnTo>
                  <a:lnTo>
                    <a:pt x="322" y="273"/>
                  </a:lnTo>
                  <a:lnTo>
                    <a:pt x="314" y="289"/>
                  </a:lnTo>
                  <a:lnTo>
                    <a:pt x="304" y="304"/>
                  </a:lnTo>
                  <a:lnTo>
                    <a:pt x="292" y="316"/>
                  </a:lnTo>
                  <a:lnTo>
                    <a:pt x="281" y="328"/>
                  </a:lnTo>
                  <a:lnTo>
                    <a:pt x="268" y="340"/>
                  </a:lnTo>
                  <a:lnTo>
                    <a:pt x="253" y="348"/>
                  </a:lnTo>
                  <a:lnTo>
                    <a:pt x="237" y="357"/>
                  </a:lnTo>
                  <a:lnTo>
                    <a:pt x="223" y="363"/>
                  </a:lnTo>
                  <a:lnTo>
                    <a:pt x="206" y="367"/>
                  </a:lnTo>
                  <a:lnTo>
                    <a:pt x="188" y="370"/>
                  </a:lnTo>
                  <a:lnTo>
                    <a:pt x="171" y="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47">
              <a:extLst>
                <a:ext uri="{FF2B5EF4-FFF2-40B4-BE49-F238E27FC236}">
                  <a16:creationId xmlns:a16="http://schemas.microsoft.com/office/drawing/2014/main" id="{73E809BB-3200-4E0B-A8D6-AB9C3D2CFFF5}"/>
                </a:ext>
              </a:extLst>
            </p:cNvPr>
            <p:cNvSpPr>
              <a:spLocks/>
            </p:cNvSpPr>
            <p:nvPr/>
          </p:nvSpPr>
          <p:spPr bwMode="auto">
            <a:xfrm>
              <a:off x="3176588" y="1404938"/>
              <a:ext cx="217488" cy="192088"/>
            </a:xfrm>
            <a:custGeom>
              <a:avLst/>
              <a:gdLst>
                <a:gd name="T0" fmla="*/ 412 w 412"/>
                <a:gd name="T1" fmla="*/ 363 h 363"/>
                <a:gd name="T2" fmla="*/ 0 w 412"/>
                <a:gd name="T3" fmla="*/ 363 h 363"/>
                <a:gd name="T4" fmla="*/ 0 w 412"/>
                <a:gd name="T5" fmla="*/ 310 h 363"/>
                <a:gd name="T6" fmla="*/ 359 w 412"/>
                <a:gd name="T7" fmla="*/ 310 h 363"/>
                <a:gd name="T8" fmla="*/ 359 w 412"/>
                <a:gd name="T9" fmla="*/ 192 h 363"/>
                <a:gd name="T10" fmla="*/ 359 w 412"/>
                <a:gd name="T11" fmla="*/ 174 h 363"/>
                <a:gd name="T12" fmla="*/ 356 w 412"/>
                <a:gd name="T13" fmla="*/ 160 h 363"/>
                <a:gd name="T14" fmla="*/ 353 w 412"/>
                <a:gd name="T15" fmla="*/ 154 h 363"/>
                <a:gd name="T16" fmla="*/ 350 w 412"/>
                <a:gd name="T17" fmla="*/ 148 h 363"/>
                <a:gd name="T18" fmla="*/ 346 w 412"/>
                <a:gd name="T19" fmla="*/ 144 h 363"/>
                <a:gd name="T20" fmla="*/ 342 w 412"/>
                <a:gd name="T21" fmla="*/ 140 h 363"/>
                <a:gd name="T22" fmla="*/ 330 w 412"/>
                <a:gd name="T23" fmla="*/ 132 h 363"/>
                <a:gd name="T24" fmla="*/ 316 w 412"/>
                <a:gd name="T25" fmla="*/ 125 h 363"/>
                <a:gd name="T26" fmla="*/ 297 w 412"/>
                <a:gd name="T27" fmla="*/ 120 h 363"/>
                <a:gd name="T28" fmla="*/ 274 w 412"/>
                <a:gd name="T29" fmla="*/ 112 h 363"/>
                <a:gd name="T30" fmla="*/ 254 w 412"/>
                <a:gd name="T31" fmla="*/ 107 h 363"/>
                <a:gd name="T32" fmla="*/ 232 w 412"/>
                <a:gd name="T33" fmla="*/ 99 h 363"/>
                <a:gd name="T34" fmla="*/ 221 w 412"/>
                <a:gd name="T35" fmla="*/ 95 h 363"/>
                <a:gd name="T36" fmla="*/ 211 w 412"/>
                <a:gd name="T37" fmla="*/ 91 h 363"/>
                <a:gd name="T38" fmla="*/ 202 w 412"/>
                <a:gd name="T39" fmla="*/ 85 h 363"/>
                <a:gd name="T40" fmla="*/ 193 w 412"/>
                <a:gd name="T41" fmla="*/ 79 h 363"/>
                <a:gd name="T42" fmla="*/ 186 w 412"/>
                <a:gd name="T43" fmla="*/ 72 h 363"/>
                <a:gd name="T44" fmla="*/ 180 w 412"/>
                <a:gd name="T45" fmla="*/ 66 h 363"/>
                <a:gd name="T46" fmla="*/ 175 w 412"/>
                <a:gd name="T47" fmla="*/ 59 h 363"/>
                <a:gd name="T48" fmla="*/ 170 w 412"/>
                <a:gd name="T49" fmla="*/ 52 h 363"/>
                <a:gd name="T50" fmla="*/ 163 w 412"/>
                <a:gd name="T51" fmla="*/ 37 h 363"/>
                <a:gd name="T52" fmla="*/ 159 w 412"/>
                <a:gd name="T53" fmla="*/ 23 h 363"/>
                <a:gd name="T54" fmla="*/ 157 w 412"/>
                <a:gd name="T55" fmla="*/ 12 h 363"/>
                <a:gd name="T56" fmla="*/ 156 w 412"/>
                <a:gd name="T57" fmla="*/ 0 h 363"/>
                <a:gd name="T58" fmla="*/ 209 w 412"/>
                <a:gd name="T59" fmla="*/ 4 h 363"/>
                <a:gd name="T60" fmla="*/ 209 w 412"/>
                <a:gd name="T61" fmla="*/ 12 h 363"/>
                <a:gd name="T62" fmla="*/ 213 w 412"/>
                <a:gd name="T63" fmla="*/ 24 h 363"/>
                <a:gd name="T64" fmla="*/ 219 w 412"/>
                <a:gd name="T65" fmla="*/ 32 h 363"/>
                <a:gd name="T66" fmla="*/ 226 w 412"/>
                <a:gd name="T67" fmla="*/ 39 h 363"/>
                <a:gd name="T68" fmla="*/ 237 w 412"/>
                <a:gd name="T69" fmla="*/ 45 h 363"/>
                <a:gd name="T70" fmla="*/ 249 w 412"/>
                <a:gd name="T71" fmla="*/ 50 h 363"/>
                <a:gd name="T72" fmla="*/ 270 w 412"/>
                <a:gd name="T73" fmla="*/ 56 h 363"/>
                <a:gd name="T74" fmla="*/ 288 w 412"/>
                <a:gd name="T75" fmla="*/ 62 h 363"/>
                <a:gd name="T76" fmla="*/ 311 w 412"/>
                <a:gd name="T77" fmla="*/ 69 h 363"/>
                <a:gd name="T78" fmla="*/ 334 w 412"/>
                <a:gd name="T79" fmla="*/ 78 h 363"/>
                <a:gd name="T80" fmla="*/ 345 w 412"/>
                <a:gd name="T81" fmla="*/ 82 h 363"/>
                <a:gd name="T82" fmla="*/ 356 w 412"/>
                <a:gd name="T83" fmla="*/ 86 h 363"/>
                <a:gd name="T84" fmla="*/ 365 w 412"/>
                <a:gd name="T85" fmla="*/ 92 h 363"/>
                <a:gd name="T86" fmla="*/ 373 w 412"/>
                <a:gd name="T87" fmla="*/ 99 h 363"/>
                <a:gd name="T88" fmla="*/ 382 w 412"/>
                <a:gd name="T89" fmla="*/ 107 h 363"/>
                <a:gd name="T90" fmla="*/ 389 w 412"/>
                <a:gd name="T91" fmla="*/ 115 h 363"/>
                <a:gd name="T92" fmla="*/ 396 w 412"/>
                <a:gd name="T93" fmla="*/ 124 h 363"/>
                <a:gd name="T94" fmla="*/ 402 w 412"/>
                <a:gd name="T95" fmla="*/ 135 h 363"/>
                <a:gd name="T96" fmla="*/ 406 w 412"/>
                <a:gd name="T97" fmla="*/ 147 h 363"/>
                <a:gd name="T98" fmla="*/ 409 w 412"/>
                <a:gd name="T99" fmla="*/ 160 h 363"/>
                <a:gd name="T100" fmla="*/ 411 w 412"/>
                <a:gd name="T101" fmla="*/ 174 h 363"/>
                <a:gd name="T102" fmla="*/ 412 w 412"/>
                <a:gd name="T103" fmla="*/ 192 h 363"/>
                <a:gd name="T104" fmla="*/ 412 w 412"/>
                <a:gd name="T105"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2" h="363">
                  <a:moveTo>
                    <a:pt x="412" y="363"/>
                  </a:moveTo>
                  <a:lnTo>
                    <a:pt x="0" y="363"/>
                  </a:lnTo>
                  <a:lnTo>
                    <a:pt x="0" y="310"/>
                  </a:lnTo>
                  <a:lnTo>
                    <a:pt x="359" y="310"/>
                  </a:lnTo>
                  <a:lnTo>
                    <a:pt x="359" y="192"/>
                  </a:lnTo>
                  <a:lnTo>
                    <a:pt x="359" y="174"/>
                  </a:lnTo>
                  <a:lnTo>
                    <a:pt x="356" y="160"/>
                  </a:lnTo>
                  <a:lnTo>
                    <a:pt x="353" y="154"/>
                  </a:lnTo>
                  <a:lnTo>
                    <a:pt x="350" y="148"/>
                  </a:lnTo>
                  <a:lnTo>
                    <a:pt x="346" y="144"/>
                  </a:lnTo>
                  <a:lnTo>
                    <a:pt x="342" y="140"/>
                  </a:lnTo>
                  <a:lnTo>
                    <a:pt x="330" y="132"/>
                  </a:lnTo>
                  <a:lnTo>
                    <a:pt x="316" y="125"/>
                  </a:lnTo>
                  <a:lnTo>
                    <a:pt x="297" y="120"/>
                  </a:lnTo>
                  <a:lnTo>
                    <a:pt x="274" y="112"/>
                  </a:lnTo>
                  <a:lnTo>
                    <a:pt x="254" y="107"/>
                  </a:lnTo>
                  <a:lnTo>
                    <a:pt x="232" y="99"/>
                  </a:lnTo>
                  <a:lnTo>
                    <a:pt x="221" y="95"/>
                  </a:lnTo>
                  <a:lnTo>
                    <a:pt x="211" y="91"/>
                  </a:lnTo>
                  <a:lnTo>
                    <a:pt x="202" y="85"/>
                  </a:lnTo>
                  <a:lnTo>
                    <a:pt x="193" y="79"/>
                  </a:lnTo>
                  <a:lnTo>
                    <a:pt x="186" y="72"/>
                  </a:lnTo>
                  <a:lnTo>
                    <a:pt x="180" y="66"/>
                  </a:lnTo>
                  <a:lnTo>
                    <a:pt x="175" y="59"/>
                  </a:lnTo>
                  <a:lnTo>
                    <a:pt x="170" y="52"/>
                  </a:lnTo>
                  <a:lnTo>
                    <a:pt x="163" y="37"/>
                  </a:lnTo>
                  <a:lnTo>
                    <a:pt x="159" y="23"/>
                  </a:lnTo>
                  <a:lnTo>
                    <a:pt x="157" y="12"/>
                  </a:lnTo>
                  <a:lnTo>
                    <a:pt x="156" y="0"/>
                  </a:lnTo>
                  <a:lnTo>
                    <a:pt x="209" y="4"/>
                  </a:lnTo>
                  <a:lnTo>
                    <a:pt x="209" y="12"/>
                  </a:lnTo>
                  <a:lnTo>
                    <a:pt x="213" y="24"/>
                  </a:lnTo>
                  <a:lnTo>
                    <a:pt x="219" y="32"/>
                  </a:lnTo>
                  <a:lnTo>
                    <a:pt x="226" y="39"/>
                  </a:lnTo>
                  <a:lnTo>
                    <a:pt x="237" y="45"/>
                  </a:lnTo>
                  <a:lnTo>
                    <a:pt x="249" y="50"/>
                  </a:lnTo>
                  <a:lnTo>
                    <a:pt x="270" y="56"/>
                  </a:lnTo>
                  <a:lnTo>
                    <a:pt x="288" y="62"/>
                  </a:lnTo>
                  <a:lnTo>
                    <a:pt x="311" y="69"/>
                  </a:lnTo>
                  <a:lnTo>
                    <a:pt x="334" y="78"/>
                  </a:lnTo>
                  <a:lnTo>
                    <a:pt x="345" y="82"/>
                  </a:lnTo>
                  <a:lnTo>
                    <a:pt x="356" y="86"/>
                  </a:lnTo>
                  <a:lnTo>
                    <a:pt x="365" y="92"/>
                  </a:lnTo>
                  <a:lnTo>
                    <a:pt x="373" y="99"/>
                  </a:lnTo>
                  <a:lnTo>
                    <a:pt x="382" y="107"/>
                  </a:lnTo>
                  <a:lnTo>
                    <a:pt x="389" y="115"/>
                  </a:lnTo>
                  <a:lnTo>
                    <a:pt x="396" y="124"/>
                  </a:lnTo>
                  <a:lnTo>
                    <a:pt x="402" y="135"/>
                  </a:lnTo>
                  <a:lnTo>
                    <a:pt x="406" y="147"/>
                  </a:lnTo>
                  <a:lnTo>
                    <a:pt x="409" y="160"/>
                  </a:lnTo>
                  <a:lnTo>
                    <a:pt x="411" y="174"/>
                  </a:lnTo>
                  <a:lnTo>
                    <a:pt x="412" y="192"/>
                  </a:lnTo>
                  <a:lnTo>
                    <a:pt x="412"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48">
              <a:extLst>
                <a:ext uri="{FF2B5EF4-FFF2-40B4-BE49-F238E27FC236}">
                  <a16:creationId xmlns:a16="http://schemas.microsoft.com/office/drawing/2014/main" id="{635F6E05-A554-45BE-B3AB-E631C974EFE5}"/>
                </a:ext>
              </a:extLst>
            </p:cNvPr>
            <p:cNvSpPr>
              <a:spLocks/>
            </p:cNvSpPr>
            <p:nvPr/>
          </p:nvSpPr>
          <p:spPr bwMode="auto">
            <a:xfrm>
              <a:off x="3162300" y="1404938"/>
              <a:ext cx="63500" cy="57150"/>
            </a:xfrm>
            <a:custGeom>
              <a:avLst/>
              <a:gdLst>
                <a:gd name="T0" fmla="*/ 15 w 121"/>
                <a:gd name="T1" fmla="*/ 109 h 109"/>
                <a:gd name="T2" fmla="*/ 0 w 121"/>
                <a:gd name="T3" fmla="*/ 59 h 109"/>
                <a:gd name="T4" fmla="*/ 14 w 121"/>
                <a:gd name="T5" fmla="*/ 55 h 109"/>
                <a:gd name="T6" fmla="*/ 28 w 121"/>
                <a:gd name="T7" fmla="*/ 50 h 109"/>
                <a:gd name="T8" fmla="*/ 41 w 121"/>
                <a:gd name="T9" fmla="*/ 45 h 109"/>
                <a:gd name="T10" fmla="*/ 51 w 121"/>
                <a:gd name="T11" fmla="*/ 39 h 109"/>
                <a:gd name="T12" fmla="*/ 59 w 121"/>
                <a:gd name="T13" fmla="*/ 32 h 109"/>
                <a:gd name="T14" fmla="*/ 63 w 121"/>
                <a:gd name="T15" fmla="*/ 24 h 109"/>
                <a:gd name="T16" fmla="*/ 67 w 121"/>
                <a:gd name="T17" fmla="*/ 12 h 109"/>
                <a:gd name="T18" fmla="*/ 69 w 121"/>
                <a:gd name="T19" fmla="*/ 4 h 109"/>
                <a:gd name="T20" fmla="*/ 121 w 121"/>
                <a:gd name="T21" fmla="*/ 0 h 109"/>
                <a:gd name="T22" fmla="*/ 121 w 121"/>
                <a:gd name="T23" fmla="*/ 12 h 109"/>
                <a:gd name="T24" fmla="*/ 118 w 121"/>
                <a:gd name="T25" fmla="*/ 23 h 109"/>
                <a:gd name="T26" fmla="*/ 115 w 121"/>
                <a:gd name="T27" fmla="*/ 37 h 109"/>
                <a:gd name="T28" fmla="*/ 108 w 121"/>
                <a:gd name="T29" fmla="*/ 52 h 109"/>
                <a:gd name="T30" fmla="*/ 103 w 121"/>
                <a:gd name="T31" fmla="*/ 59 h 109"/>
                <a:gd name="T32" fmla="*/ 97 w 121"/>
                <a:gd name="T33" fmla="*/ 66 h 109"/>
                <a:gd name="T34" fmla="*/ 90 w 121"/>
                <a:gd name="T35" fmla="*/ 72 h 109"/>
                <a:gd name="T36" fmla="*/ 83 w 121"/>
                <a:gd name="T37" fmla="*/ 79 h 109"/>
                <a:gd name="T38" fmla="*/ 76 w 121"/>
                <a:gd name="T39" fmla="*/ 85 h 109"/>
                <a:gd name="T40" fmla="*/ 66 w 121"/>
                <a:gd name="T41" fmla="*/ 91 h 109"/>
                <a:gd name="T42" fmla="*/ 56 w 121"/>
                <a:gd name="T43" fmla="*/ 95 h 109"/>
                <a:gd name="T44" fmla="*/ 44 w 121"/>
                <a:gd name="T45" fmla="*/ 99 h 109"/>
                <a:gd name="T46" fmla="*/ 30 w 121"/>
                <a:gd name="T47" fmla="*/ 105 h 109"/>
                <a:gd name="T48" fmla="*/ 15 w 121"/>
                <a:gd name="T4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09">
                  <a:moveTo>
                    <a:pt x="15" y="109"/>
                  </a:moveTo>
                  <a:lnTo>
                    <a:pt x="0" y="59"/>
                  </a:lnTo>
                  <a:lnTo>
                    <a:pt x="14" y="55"/>
                  </a:lnTo>
                  <a:lnTo>
                    <a:pt x="28" y="50"/>
                  </a:lnTo>
                  <a:lnTo>
                    <a:pt x="41" y="45"/>
                  </a:lnTo>
                  <a:lnTo>
                    <a:pt x="51" y="39"/>
                  </a:lnTo>
                  <a:lnTo>
                    <a:pt x="59" y="32"/>
                  </a:lnTo>
                  <a:lnTo>
                    <a:pt x="63" y="24"/>
                  </a:lnTo>
                  <a:lnTo>
                    <a:pt x="67" y="12"/>
                  </a:lnTo>
                  <a:lnTo>
                    <a:pt x="69" y="4"/>
                  </a:lnTo>
                  <a:lnTo>
                    <a:pt x="121" y="0"/>
                  </a:lnTo>
                  <a:lnTo>
                    <a:pt x="121" y="12"/>
                  </a:lnTo>
                  <a:lnTo>
                    <a:pt x="118" y="23"/>
                  </a:lnTo>
                  <a:lnTo>
                    <a:pt x="115" y="37"/>
                  </a:lnTo>
                  <a:lnTo>
                    <a:pt x="108" y="52"/>
                  </a:lnTo>
                  <a:lnTo>
                    <a:pt x="103" y="59"/>
                  </a:lnTo>
                  <a:lnTo>
                    <a:pt x="97" y="66"/>
                  </a:lnTo>
                  <a:lnTo>
                    <a:pt x="90" y="72"/>
                  </a:lnTo>
                  <a:lnTo>
                    <a:pt x="83" y="79"/>
                  </a:lnTo>
                  <a:lnTo>
                    <a:pt x="76" y="85"/>
                  </a:lnTo>
                  <a:lnTo>
                    <a:pt x="66" y="91"/>
                  </a:lnTo>
                  <a:lnTo>
                    <a:pt x="56" y="95"/>
                  </a:lnTo>
                  <a:lnTo>
                    <a:pt x="44" y="99"/>
                  </a:lnTo>
                  <a:lnTo>
                    <a:pt x="30" y="105"/>
                  </a:lnTo>
                  <a:lnTo>
                    <a:pt x="15"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49">
              <a:extLst>
                <a:ext uri="{FF2B5EF4-FFF2-40B4-BE49-F238E27FC236}">
                  <a16:creationId xmlns:a16="http://schemas.microsoft.com/office/drawing/2014/main" id="{0D4414F7-7E35-4301-A317-DDB9BB01BF68}"/>
                </a:ext>
              </a:extLst>
            </p:cNvPr>
            <p:cNvSpPr>
              <a:spLocks/>
            </p:cNvSpPr>
            <p:nvPr/>
          </p:nvSpPr>
          <p:spPr bwMode="auto">
            <a:xfrm>
              <a:off x="3162300" y="1273176"/>
              <a:ext cx="157163" cy="50800"/>
            </a:xfrm>
            <a:custGeom>
              <a:avLst/>
              <a:gdLst>
                <a:gd name="T0" fmla="*/ 72 w 297"/>
                <a:gd name="T1" fmla="*/ 96 h 96"/>
                <a:gd name="T2" fmla="*/ 55 w 297"/>
                <a:gd name="T3" fmla="*/ 96 h 96"/>
                <a:gd name="T4" fmla="*/ 37 w 297"/>
                <a:gd name="T5" fmla="*/ 95 h 96"/>
                <a:gd name="T6" fmla="*/ 19 w 297"/>
                <a:gd name="T7" fmla="*/ 92 h 96"/>
                <a:gd name="T8" fmla="*/ 0 w 297"/>
                <a:gd name="T9" fmla="*/ 88 h 96"/>
                <a:gd name="T10" fmla="*/ 13 w 297"/>
                <a:gd name="T11" fmla="*/ 37 h 96"/>
                <a:gd name="T12" fmla="*/ 32 w 297"/>
                <a:gd name="T13" fmla="*/ 42 h 96"/>
                <a:gd name="T14" fmla="*/ 50 w 297"/>
                <a:gd name="T15" fmla="*/ 43 h 96"/>
                <a:gd name="T16" fmla="*/ 68 w 297"/>
                <a:gd name="T17" fmla="*/ 45 h 96"/>
                <a:gd name="T18" fmla="*/ 85 w 297"/>
                <a:gd name="T19" fmla="*/ 45 h 96"/>
                <a:gd name="T20" fmla="*/ 101 w 297"/>
                <a:gd name="T21" fmla="*/ 43 h 96"/>
                <a:gd name="T22" fmla="*/ 115 w 297"/>
                <a:gd name="T23" fmla="*/ 40 h 96"/>
                <a:gd name="T24" fmla="*/ 130 w 297"/>
                <a:gd name="T25" fmla="*/ 37 h 96"/>
                <a:gd name="T26" fmla="*/ 143 w 297"/>
                <a:gd name="T27" fmla="*/ 34 h 96"/>
                <a:gd name="T28" fmla="*/ 164 w 297"/>
                <a:gd name="T29" fmla="*/ 27 h 96"/>
                <a:gd name="T30" fmla="*/ 181 w 297"/>
                <a:gd name="T31" fmla="*/ 20 h 96"/>
                <a:gd name="T32" fmla="*/ 192 w 297"/>
                <a:gd name="T33" fmla="*/ 14 h 96"/>
                <a:gd name="T34" fmla="*/ 196 w 297"/>
                <a:gd name="T35" fmla="*/ 11 h 96"/>
                <a:gd name="T36" fmla="*/ 213 w 297"/>
                <a:gd name="T37" fmla="*/ 0 h 96"/>
                <a:gd name="T38" fmla="*/ 228 w 297"/>
                <a:gd name="T39" fmla="*/ 16 h 96"/>
                <a:gd name="T40" fmla="*/ 233 w 297"/>
                <a:gd name="T41" fmla="*/ 19 h 96"/>
                <a:gd name="T42" fmla="*/ 245 w 297"/>
                <a:gd name="T43" fmla="*/ 26 h 96"/>
                <a:gd name="T44" fmla="*/ 255 w 297"/>
                <a:gd name="T45" fmla="*/ 30 h 96"/>
                <a:gd name="T46" fmla="*/ 266 w 297"/>
                <a:gd name="T47" fmla="*/ 33 h 96"/>
                <a:gd name="T48" fmla="*/ 281 w 297"/>
                <a:gd name="T49" fmla="*/ 36 h 96"/>
                <a:gd name="T50" fmla="*/ 297 w 297"/>
                <a:gd name="T51" fmla="*/ 37 h 96"/>
                <a:gd name="T52" fmla="*/ 297 w 297"/>
                <a:gd name="T53" fmla="*/ 89 h 96"/>
                <a:gd name="T54" fmla="*/ 281 w 297"/>
                <a:gd name="T55" fmla="*/ 88 h 96"/>
                <a:gd name="T56" fmla="*/ 266 w 297"/>
                <a:gd name="T57" fmla="*/ 86 h 96"/>
                <a:gd name="T58" fmla="*/ 253 w 297"/>
                <a:gd name="T59" fmla="*/ 83 h 96"/>
                <a:gd name="T60" fmla="*/ 242 w 297"/>
                <a:gd name="T61" fmla="*/ 81 h 96"/>
                <a:gd name="T62" fmla="*/ 223 w 297"/>
                <a:gd name="T63" fmla="*/ 73 h 96"/>
                <a:gd name="T64" fmla="*/ 207 w 297"/>
                <a:gd name="T65" fmla="*/ 65 h 96"/>
                <a:gd name="T66" fmla="*/ 184 w 297"/>
                <a:gd name="T67" fmla="*/ 75 h 96"/>
                <a:gd name="T68" fmla="*/ 154 w 297"/>
                <a:gd name="T69" fmla="*/ 86 h 96"/>
                <a:gd name="T70" fmla="*/ 137 w 297"/>
                <a:gd name="T71" fmla="*/ 91 h 96"/>
                <a:gd name="T72" fmla="*/ 117 w 297"/>
                <a:gd name="T73" fmla="*/ 93 h 96"/>
                <a:gd name="T74" fmla="*/ 95 w 297"/>
                <a:gd name="T75" fmla="*/ 96 h 96"/>
                <a:gd name="T76" fmla="*/ 72 w 297"/>
                <a:gd name="T7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 h="96">
                  <a:moveTo>
                    <a:pt x="72" y="96"/>
                  </a:moveTo>
                  <a:lnTo>
                    <a:pt x="55" y="96"/>
                  </a:lnTo>
                  <a:lnTo>
                    <a:pt x="37" y="95"/>
                  </a:lnTo>
                  <a:lnTo>
                    <a:pt x="19" y="92"/>
                  </a:lnTo>
                  <a:lnTo>
                    <a:pt x="0" y="88"/>
                  </a:lnTo>
                  <a:lnTo>
                    <a:pt x="13" y="37"/>
                  </a:lnTo>
                  <a:lnTo>
                    <a:pt x="32" y="42"/>
                  </a:lnTo>
                  <a:lnTo>
                    <a:pt x="50" y="43"/>
                  </a:lnTo>
                  <a:lnTo>
                    <a:pt x="68" y="45"/>
                  </a:lnTo>
                  <a:lnTo>
                    <a:pt x="85" y="45"/>
                  </a:lnTo>
                  <a:lnTo>
                    <a:pt x="101" y="43"/>
                  </a:lnTo>
                  <a:lnTo>
                    <a:pt x="115" y="40"/>
                  </a:lnTo>
                  <a:lnTo>
                    <a:pt x="130" y="37"/>
                  </a:lnTo>
                  <a:lnTo>
                    <a:pt x="143" y="34"/>
                  </a:lnTo>
                  <a:lnTo>
                    <a:pt x="164" y="27"/>
                  </a:lnTo>
                  <a:lnTo>
                    <a:pt x="181" y="20"/>
                  </a:lnTo>
                  <a:lnTo>
                    <a:pt x="192" y="14"/>
                  </a:lnTo>
                  <a:lnTo>
                    <a:pt x="196" y="11"/>
                  </a:lnTo>
                  <a:lnTo>
                    <a:pt x="213" y="0"/>
                  </a:lnTo>
                  <a:lnTo>
                    <a:pt x="228" y="16"/>
                  </a:lnTo>
                  <a:lnTo>
                    <a:pt x="233" y="19"/>
                  </a:lnTo>
                  <a:lnTo>
                    <a:pt x="245" y="26"/>
                  </a:lnTo>
                  <a:lnTo>
                    <a:pt x="255" y="30"/>
                  </a:lnTo>
                  <a:lnTo>
                    <a:pt x="266" y="33"/>
                  </a:lnTo>
                  <a:lnTo>
                    <a:pt x="281" y="36"/>
                  </a:lnTo>
                  <a:lnTo>
                    <a:pt x="297" y="37"/>
                  </a:lnTo>
                  <a:lnTo>
                    <a:pt x="297" y="89"/>
                  </a:lnTo>
                  <a:lnTo>
                    <a:pt x="281" y="88"/>
                  </a:lnTo>
                  <a:lnTo>
                    <a:pt x="266" y="86"/>
                  </a:lnTo>
                  <a:lnTo>
                    <a:pt x="253" y="83"/>
                  </a:lnTo>
                  <a:lnTo>
                    <a:pt x="242" y="81"/>
                  </a:lnTo>
                  <a:lnTo>
                    <a:pt x="223" y="73"/>
                  </a:lnTo>
                  <a:lnTo>
                    <a:pt x="207" y="65"/>
                  </a:lnTo>
                  <a:lnTo>
                    <a:pt x="184" y="75"/>
                  </a:lnTo>
                  <a:lnTo>
                    <a:pt x="154" y="86"/>
                  </a:lnTo>
                  <a:lnTo>
                    <a:pt x="137" y="91"/>
                  </a:lnTo>
                  <a:lnTo>
                    <a:pt x="117" y="93"/>
                  </a:lnTo>
                  <a:lnTo>
                    <a:pt x="95" y="96"/>
                  </a:lnTo>
                  <a:lnTo>
                    <a:pt x="7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50">
              <a:extLst>
                <a:ext uri="{FF2B5EF4-FFF2-40B4-BE49-F238E27FC236}">
                  <a16:creationId xmlns:a16="http://schemas.microsoft.com/office/drawing/2014/main" id="{CA4D130C-5F18-4CCB-8E60-4FBAFF75619D}"/>
                </a:ext>
              </a:extLst>
            </p:cNvPr>
            <p:cNvSpPr>
              <a:spLocks/>
            </p:cNvSpPr>
            <p:nvPr/>
          </p:nvSpPr>
          <p:spPr bwMode="auto">
            <a:xfrm>
              <a:off x="2768600" y="839788"/>
              <a:ext cx="466725" cy="387350"/>
            </a:xfrm>
            <a:custGeom>
              <a:avLst/>
              <a:gdLst>
                <a:gd name="T0" fmla="*/ 724 w 881"/>
                <a:gd name="T1" fmla="*/ 732 h 732"/>
                <a:gd name="T2" fmla="*/ 672 w 881"/>
                <a:gd name="T3" fmla="*/ 732 h 732"/>
                <a:gd name="T4" fmla="*/ 672 w 881"/>
                <a:gd name="T5" fmla="*/ 412 h 732"/>
                <a:gd name="T6" fmla="*/ 672 w 881"/>
                <a:gd name="T7" fmla="*/ 406 h 732"/>
                <a:gd name="T8" fmla="*/ 674 w 881"/>
                <a:gd name="T9" fmla="*/ 402 h 732"/>
                <a:gd name="T10" fmla="*/ 677 w 881"/>
                <a:gd name="T11" fmla="*/ 397 h 732"/>
                <a:gd name="T12" fmla="*/ 680 w 881"/>
                <a:gd name="T13" fmla="*/ 393 h 732"/>
                <a:gd name="T14" fmla="*/ 684 w 881"/>
                <a:gd name="T15" fmla="*/ 390 h 732"/>
                <a:gd name="T16" fmla="*/ 688 w 881"/>
                <a:gd name="T17" fmla="*/ 387 h 732"/>
                <a:gd name="T18" fmla="*/ 693 w 881"/>
                <a:gd name="T19" fmla="*/ 386 h 732"/>
                <a:gd name="T20" fmla="*/ 698 w 881"/>
                <a:gd name="T21" fmla="*/ 386 h 732"/>
                <a:gd name="T22" fmla="*/ 788 w 881"/>
                <a:gd name="T23" fmla="*/ 386 h 732"/>
                <a:gd name="T24" fmla="*/ 438 w 881"/>
                <a:gd name="T25" fmla="*/ 62 h 732"/>
                <a:gd name="T26" fmla="*/ 92 w 881"/>
                <a:gd name="T27" fmla="*/ 386 h 732"/>
                <a:gd name="T28" fmla="*/ 176 w 881"/>
                <a:gd name="T29" fmla="*/ 386 h 732"/>
                <a:gd name="T30" fmla="*/ 181 w 881"/>
                <a:gd name="T31" fmla="*/ 386 h 732"/>
                <a:gd name="T32" fmla="*/ 186 w 881"/>
                <a:gd name="T33" fmla="*/ 387 h 732"/>
                <a:gd name="T34" fmla="*/ 190 w 881"/>
                <a:gd name="T35" fmla="*/ 390 h 732"/>
                <a:gd name="T36" fmla="*/ 194 w 881"/>
                <a:gd name="T37" fmla="*/ 393 h 732"/>
                <a:gd name="T38" fmla="*/ 197 w 881"/>
                <a:gd name="T39" fmla="*/ 397 h 732"/>
                <a:gd name="T40" fmla="*/ 200 w 881"/>
                <a:gd name="T41" fmla="*/ 402 h 732"/>
                <a:gd name="T42" fmla="*/ 202 w 881"/>
                <a:gd name="T43" fmla="*/ 406 h 732"/>
                <a:gd name="T44" fmla="*/ 202 w 881"/>
                <a:gd name="T45" fmla="*/ 412 h 732"/>
                <a:gd name="T46" fmla="*/ 202 w 881"/>
                <a:gd name="T47" fmla="*/ 732 h 732"/>
                <a:gd name="T48" fmla="*/ 150 w 881"/>
                <a:gd name="T49" fmla="*/ 732 h 732"/>
                <a:gd name="T50" fmla="*/ 150 w 881"/>
                <a:gd name="T51" fmla="*/ 438 h 732"/>
                <a:gd name="T52" fmla="*/ 26 w 881"/>
                <a:gd name="T53" fmla="*/ 438 h 732"/>
                <a:gd name="T54" fmla="*/ 17 w 881"/>
                <a:gd name="T55" fmla="*/ 436 h 732"/>
                <a:gd name="T56" fmla="*/ 10 w 881"/>
                <a:gd name="T57" fmla="*/ 433 h 732"/>
                <a:gd name="T58" fmla="*/ 6 w 881"/>
                <a:gd name="T59" fmla="*/ 428 h 732"/>
                <a:gd name="T60" fmla="*/ 1 w 881"/>
                <a:gd name="T61" fmla="*/ 422 h 732"/>
                <a:gd name="T62" fmla="*/ 0 w 881"/>
                <a:gd name="T63" fmla="*/ 413 h 732"/>
                <a:gd name="T64" fmla="*/ 0 w 881"/>
                <a:gd name="T65" fmla="*/ 406 h 732"/>
                <a:gd name="T66" fmla="*/ 3 w 881"/>
                <a:gd name="T67" fmla="*/ 399 h 732"/>
                <a:gd name="T68" fmla="*/ 7 w 881"/>
                <a:gd name="T69" fmla="*/ 393 h 732"/>
                <a:gd name="T70" fmla="*/ 419 w 881"/>
                <a:gd name="T71" fmla="*/ 7 h 732"/>
                <a:gd name="T72" fmla="*/ 423 w 881"/>
                <a:gd name="T73" fmla="*/ 4 h 732"/>
                <a:gd name="T74" fmla="*/ 428 w 881"/>
                <a:gd name="T75" fmla="*/ 1 h 732"/>
                <a:gd name="T76" fmla="*/ 432 w 881"/>
                <a:gd name="T77" fmla="*/ 0 h 732"/>
                <a:gd name="T78" fmla="*/ 436 w 881"/>
                <a:gd name="T79" fmla="*/ 0 h 732"/>
                <a:gd name="T80" fmla="*/ 442 w 881"/>
                <a:gd name="T81" fmla="*/ 0 h 732"/>
                <a:gd name="T82" fmla="*/ 446 w 881"/>
                <a:gd name="T83" fmla="*/ 1 h 732"/>
                <a:gd name="T84" fmla="*/ 451 w 881"/>
                <a:gd name="T85" fmla="*/ 4 h 732"/>
                <a:gd name="T86" fmla="*/ 455 w 881"/>
                <a:gd name="T87" fmla="*/ 7 h 732"/>
                <a:gd name="T88" fmla="*/ 873 w 881"/>
                <a:gd name="T89" fmla="*/ 393 h 732"/>
                <a:gd name="T90" fmla="*/ 877 w 881"/>
                <a:gd name="T91" fmla="*/ 399 h 732"/>
                <a:gd name="T92" fmla="*/ 880 w 881"/>
                <a:gd name="T93" fmla="*/ 406 h 732"/>
                <a:gd name="T94" fmla="*/ 881 w 881"/>
                <a:gd name="T95" fmla="*/ 413 h 732"/>
                <a:gd name="T96" fmla="*/ 878 w 881"/>
                <a:gd name="T97" fmla="*/ 422 h 732"/>
                <a:gd name="T98" fmla="*/ 875 w 881"/>
                <a:gd name="T99" fmla="*/ 428 h 732"/>
                <a:gd name="T100" fmla="*/ 870 w 881"/>
                <a:gd name="T101" fmla="*/ 433 h 732"/>
                <a:gd name="T102" fmla="*/ 863 w 881"/>
                <a:gd name="T103" fmla="*/ 436 h 732"/>
                <a:gd name="T104" fmla="*/ 855 w 881"/>
                <a:gd name="T105" fmla="*/ 438 h 732"/>
                <a:gd name="T106" fmla="*/ 724 w 881"/>
                <a:gd name="T107" fmla="*/ 438 h 732"/>
                <a:gd name="T108" fmla="*/ 724 w 881"/>
                <a:gd name="T10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1" h="732">
                  <a:moveTo>
                    <a:pt x="724" y="732"/>
                  </a:moveTo>
                  <a:lnTo>
                    <a:pt x="672" y="732"/>
                  </a:lnTo>
                  <a:lnTo>
                    <a:pt x="672" y="412"/>
                  </a:lnTo>
                  <a:lnTo>
                    <a:pt x="672" y="406"/>
                  </a:lnTo>
                  <a:lnTo>
                    <a:pt x="674" y="402"/>
                  </a:lnTo>
                  <a:lnTo>
                    <a:pt x="677" y="397"/>
                  </a:lnTo>
                  <a:lnTo>
                    <a:pt x="680" y="393"/>
                  </a:lnTo>
                  <a:lnTo>
                    <a:pt x="684" y="390"/>
                  </a:lnTo>
                  <a:lnTo>
                    <a:pt x="688" y="387"/>
                  </a:lnTo>
                  <a:lnTo>
                    <a:pt x="693" y="386"/>
                  </a:lnTo>
                  <a:lnTo>
                    <a:pt x="698" y="386"/>
                  </a:lnTo>
                  <a:lnTo>
                    <a:pt x="788" y="386"/>
                  </a:lnTo>
                  <a:lnTo>
                    <a:pt x="438" y="62"/>
                  </a:lnTo>
                  <a:lnTo>
                    <a:pt x="92" y="386"/>
                  </a:lnTo>
                  <a:lnTo>
                    <a:pt x="176" y="386"/>
                  </a:lnTo>
                  <a:lnTo>
                    <a:pt x="181" y="386"/>
                  </a:lnTo>
                  <a:lnTo>
                    <a:pt x="186" y="387"/>
                  </a:lnTo>
                  <a:lnTo>
                    <a:pt x="190" y="390"/>
                  </a:lnTo>
                  <a:lnTo>
                    <a:pt x="194" y="393"/>
                  </a:lnTo>
                  <a:lnTo>
                    <a:pt x="197" y="397"/>
                  </a:lnTo>
                  <a:lnTo>
                    <a:pt x="200" y="402"/>
                  </a:lnTo>
                  <a:lnTo>
                    <a:pt x="202" y="406"/>
                  </a:lnTo>
                  <a:lnTo>
                    <a:pt x="202" y="412"/>
                  </a:lnTo>
                  <a:lnTo>
                    <a:pt x="202" y="732"/>
                  </a:lnTo>
                  <a:lnTo>
                    <a:pt x="150" y="732"/>
                  </a:lnTo>
                  <a:lnTo>
                    <a:pt x="150" y="438"/>
                  </a:lnTo>
                  <a:lnTo>
                    <a:pt x="26" y="438"/>
                  </a:lnTo>
                  <a:lnTo>
                    <a:pt x="17" y="436"/>
                  </a:lnTo>
                  <a:lnTo>
                    <a:pt x="10" y="433"/>
                  </a:lnTo>
                  <a:lnTo>
                    <a:pt x="6" y="428"/>
                  </a:lnTo>
                  <a:lnTo>
                    <a:pt x="1" y="422"/>
                  </a:lnTo>
                  <a:lnTo>
                    <a:pt x="0" y="413"/>
                  </a:lnTo>
                  <a:lnTo>
                    <a:pt x="0" y="406"/>
                  </a:lnTo>
                  <a:lnTo>
                    <a:pt x="3" y="399"/>
                  </a:lnTo>
                  <a:lnTo>
                    <a:pt x="7" y="393"/>
                  </a:lnTo>
                  <a:lnTo>
                    <a:pt x="419" y="7"/>
                  </a:lnTo>
                  <a:lnTo>
                    <a:pt x="423" y="4"/>
                  </a:lnTo>
                  <a:lnTo>
                    <a:pt x="428" y="1"/>
                  </a:lnTo>
                  <a:lnTo>
                    <a:pt x="432" y="0"/>
                  </a:lnTo>
                  <a:lnTo>
                    <a:pt x="436" y="0"/>
                  </a:lnTo>
                  <a:lnTo>
                    <a:pt x="442" y="0"/>
                  </a:lnTo>
                  <a:lnTo>
                    <a:pt x="446" y="1"/>
                  </a:lnTo>
                  <a:lnTo>
                    <a:pt x="451" y="4"/>
                  </a:lnTo>
                  <a:lnTo>
                    <a:pt x="455" y="7"/>
                  </a:lnTo>
                  <a:lnTo>
                    <a:pt x="873" y="393"/>
                  </a:lnTo>
                  <a:lnTo>
                    <a:pt x="877" y="399"/>
                  </a:lnTo>
                  <a:lnTo>
                    <a:pt x="880" y="406"/>
                  </a:lnTo>
                  <a:lnTo>
                    <a:pt x="881" y="413"/>
                  </a:lnTo>
                  <a:lnTo>
                    <a:pt x="878" y="422"/>
                  </a:lnTo>
                  <a:lnTo>
                    <a:pt x="875" y="428"/>
                  </a:lnTo>
                  <a:lnTo>
                    <a:pt x="870" y="433"/>
                  </a:lnTo>
                  <a:lnTo>
                    <a:pt x="863" y="436"/>
                  </a:lnTo>
                  <a:lnTo>
                    <a:pt x="855" y="438"/>
                  </a:lnTo>
                  <a:lnTo>
                    <a:pt x="724" y="438"/>
                  </a:lnTo>
                  <a:lnTo>
                    <a:pt x="724" y="7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3" name="Group 39">
            <a:extLst>
              <a:ext uri="{FF2B5EF4-FFF2-40B4-BE49-F238E27FC236}">
                <a16:creationId xmlns:a16="http://schemas.microsoft.com/office/drawing/2014/main" id="{553D3DDD-37A0-4385-8859-7977C5018E0B}"/>
              </a:ext>
            </a:extLst>
          </p:cNvPr>
          <p:cNvGrpSpPr>
            <a:grpSpLocks noChangeAspect="1"/>
          </p:cNvGrpSpPr>
          <p:nvPr/>
        </p:nvGrpSpPr>
        <p:grpSpPr>
          <a:xfrm>
            <a:off x="1478842" y="2724897"/>
            <a:ext cx="285619" cy="285619"/>
            <a:chOff x="314325" y="4219576"/>
            <a:chExt cx="285750" cy="285750"/>
          </a:xfrm>
          <a:solidFill>
            <a:schemeClr val="bg1"/>
          </a:solidFill>
          <a:effectLst/>
        </p:grpSpPr>
        <p:sp>
          <p:nvSpPr>
            <p:cNvPr id="654" name="Freeform 18">
              <a:extLst>
                <a:ext uri="{FF2B5EF4-FFF2-40B4-BE49-F238E27FC236}">
                  <a16:creationId xmlns:a16="http://schemas.microsoft.com/office/drawing/2014/main" id="{BDAE88D5-5850-453A-A1B7-E005BF653743}"/>
                </a:ext>
              </a:extLst>
            </p:cNvPr>
            <p:cNvSpPr>
              <a:spLocks noEditPoints="1"/>
            </p:cNvSpPr>
            <p:nvPr/>
          </p:nvSpPr>
          <p:spPr bwMode="auto">
            <a:xfrm>
              <a:off x="314325" y="4219576"/>
              <a:ext cx="285750" cy="285750"/>
            </a:xfrm>
            <a:custGeom>
              <a:avLst/>
              <a:gdLst>
                <a:gd name="T0" fmla="*/ 195 w 901"/>
                <a:gd name="T1" fmla="*/ 692 h 901"/>
                <a:gd name="T2" fmla="*/ 239 w 901"/>
                <a:gd name="T3" fmla="*/ 609 h 901"/>
                <a:gd name="T4" fmla="*/ 304 w 901"/>
                <a:gd name="T5" fmla="*/ 544 h 901"/>
                <a:gd name="T6" fmla="*/ 386 w 901"/>
                <a:gd name="T7" fmla="*/ 504 h 901"/>
                <a:gd name="T8" fmla="*/ 477 w 901"/>
                <a:gd name="T9" fmla="*/ 496 h 901"/>
                <a:gd name="T10" fmla="*/ 564 w 901"/>
                <a:gd name="T11" fmla="*/ 523 h 901"/>
                <a:gd name="T12" fmla="*/ 637 w 901"/>
                <a:gd name="T13" fmla="*/ 578 h 901"/>
                <a:gd name="T14" fmla="*/ 690 w 901"/>
                <a:gd name="T15" fmla="*/ 655 h 901"/>
                <a:gd name="T16" fmla="*/ 718 w 901"/>
                <a:gd name="T17" fmla="*/ 745 h 901"/>
                <a:gd name="T18" fmla="*/ 646 w 901"/>
                <a:gd name="T19" fmla="*/ 823 h 901"/>
                <a:gd name="T20" fmla="*/ 525 w 901"/>
                <a:gd name="T21" fmla="*/ 865 h 901"/>
                <a:gd name="T22" fmla="*/ 394 w 901"/>
                <a:gd name="T23" fmla="*/ 867 h 901"/>
                <a:gd name="T24" fmla="*/ 271 w 901"/>
                <a:gd name="T25" fmla="*/ 830 h 901"/>
                <a:gd name="T26" fmla="*/ 181 w 901"/>
                <a:gd name="T27" fmla="*/ 773 h 901"/>
                <a:gd name="T28" fmla="*/ 49 w 901"/>
                <a:gd name="T29" fmla="*/ 325 h 901"/>
                <a:gd name="T30" fmla="*/ 113 w 901"/>
                <a:gd name="T31" fmla="*/ 199 h 901"/>
                <a:gd name="T32" fmla="*/ 215 w 901"/>
                <a:gd name="T33" fmla="*/ 102 h 901"/>
                <a:gd name="T34" fmla="*/ 346 w 901"/>
                <a:gd name="T35" fmla="*/ 43 h 901"/>
                <a:gd name="T36" fmla="*/ 493 w 901"/>
                <a:gd name="T37" fmla="*/ 32 h 901"/>
                <a:gd name="T38" fmla="*/ 632 w 901"/>
                <a:gd name="T39" fmla="*/ 72 h 901"/>
                <a:gd name="T40" fmla="*/ 748 w 901"/>
                <a:gd name="T41" fmla="*/ 153 h 901"/>
                <a:gd name="T42" fmla="*/ 829 w 901"/>
                <a:gd name="T43" fmla="*/ 269 h 901"/>
                <a:gd name="T44" fmla="*/ 869 w 901"/>
                <a:gd name="T45" fmla="*/ 408 h 901"/>
                <a:gd name="T46" fmla="*/ 858 w 901"/>
                <a:gd name="T47" fmla="*/ 555 h 901"/>
                <a:gd name="T48" fmla="*/ 799 w 901"/>
                <a:gd name="T49" fmla="*/ 684 h 901"/>
                <a:gd name="T50" fmla="*/ 740 w 901"/>
                <a:gd name="T51" fmla="*/ 704 h 901"/>
                <a:gd name="T52" fmla="*/ 702 w 901"/>
                <a:gd name="T53" fmla="*/ 613 h 901"/>
                <a:gd name="T54" fmla="*/ 639 w 901"/>
                <a:gd name="T55" fmla="*/ 539 h 901"/>
                <a:gd name="T56" fmla="*/ 557 w 901"/>
                <a:gd name="T57" fmla="*/ 488 h 901"/>
                <a:gd name="T58" fmla="*/ 464 w 901"/>
                <a:gd name="T59" fmla="*/ 465 h 901"/>
                <a:gd name="T60" fmla="*/ 369 w 901"/>
                <a:gd name="T61" fmla="*/ 478 h 901"/>
                <a:gd name="T62" fmla="*/ 284 w 901"/>
                <a:gd name="T63" fmla="*/ 522 h 901"/>
                <a:gd name="T64" fmla="*/ 215 w 901"/>
                <a:gd name="T65" fmla="*/ 591 h 901"/>
                <a:gd name="T66" fmla="*/ 168 w 901"/>
                <a:gd name="T67" fmla="*/ 677 h 901"/>
                <a:gd name="T68" fmla="*/ 125 w 901"/>
                <a:gd name="T69" fmla="*/ 717 h 901"/>
                <a:gd name="T70" fmla="*/ 56 w 901"/>
                <a:gd name="T71" fmla="*/ 594 h 901"/>
                <a:gd name="T72" fmla="*/ 30 w 901"/>
                <a:gd name="T73" fmla="*/ 450 h 901"/>
                <a:gd name="T74" fmla="*/ 887 w 901"/>
                <a:gd name="T75" fmla="*/ 338 h 901"/>
                <a:gd name="T76" fmla="*/ 824 w 901"/>
                <a:gd name="T77" fmla="*/ 199 h 901"/>
                <a:gd name="T78" fmla="*/ 720 w 901"/>
                <a:gd name="T79" fmla="*/ 90 h 901"/>
                <a:gd name="T80" fmla="*/ 584 w 901"/>
                <a:gd name="T81" fmla="*/ 20 h 901"/>
                <a:gd name="T82" fmla="*/ 427 w 901"/>
                <a:gd name="T83" fmla="*/ 0 h 901"/>
                <a:gd name="T84" fmla="*/ 275 w 901"/>
                <a:gd name="T85" fmla="*/ 35 h 901"/>
                <a:gd name="T86" fmla="*/ 148 w 901"/>
                <a:gd name="T87" fmla="*/ 117 h 901"/>
                <a:gd name="T88" fmla="*/ 55 w 901"/>
                <a:gd name="T89" fmla="*/ 235 h 901"/>
                <a:gd name="T90" fmla="*/ 5 w 901"/>
                <a:gd name="T91" fmla="*/ 382 h 901"/>
                <a:gd name="T92" fmla="*/ 11 w 901"/>
                <a:gd name="T93" fmla="*/ 548 h 901"/>
                <a:gd name="T94" fmla="*/ 75 w 901"/>
                <a:gd name="T95" fmla="*/ 700 h 901"/>
                <a:gd name="T96" fmla="*/ 155 w 901"/>
                <a:gd name="T97" fmla="*/ 792 h 901"/>
                <a:gd name="T98" fmla="*/ 241 w 901"/>
                <a:gd name="T99" fmla="*/ 849 h 901"/>
                <a:gd name="T100" fmla="*/ 370 w 901"/>
                <a:gd name="T101" fmla="*/ 894 h 901"/>
                <a:gd name="T102" fmla="*/ 511 w 901"/>
                <a:gd name="T103" fmla="*/ 897 h 901"/>
                <a:gd name="T104" fmla="*/ 643 w 901"/>
                <a:gd name="T105" fmla="*/ 857 h 901"/>
                <a:gd name="T106" fmla="*/ 744 w 901"/>
                <a:gd name="T107" fmla="*/ 794 h 901"/>
                <a:gd name="T108" fmla="*/ 812 w 901"/>
                <a:gd name="T109" fmla="*/ 718 h 901"/>
                <a:gd name="T110" fmla="*/ 885 w 901"/>
                <a:gd name="T111" fmla="*/ 57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1" h="901">
                  <a:moveTo>
                    <a:pt x="181" y="773"/>
                  </a:moveTo>
                  <a:lnTo>
                    <a:pt x="182" y="759"/>
                  </a:lnTo>
                  <a:lnTo>
                    <a:pt x="183" y="745"/>
                  </a:lnTo>
                  <a:lnTo>
                    <a:pt x="185" y="731"/>
                  </a:lnTo>
                  <a:lnTo>
                    <a:pt x="187" y="718"/>
                  </a:lnTo>
                  <a:lnTo>
                    <a:pt x="192" y="705"/>
                  </a:lnTo>
                  <a:lnTo>
                    <a:pt x="195" y="692"/>
                  </a:lnTo>
                  <a:lnTo>
                    <a:pt x="200" y="679"/>
                  </a:lnTo>
                  <a:lnTo>
                    <a:pt x="204" y="667"/>
                  </a:lnTo>
                  <a:lnTo>
                    <a:pt x="211" y="655"/>
                  </a:lnTo>
                  <a:lnTo>
                    <a:pt x="217" y="642"/>
                  </a:lnTo>
                  <a:lnTo>
                    <a:pt x="224" y="631"/>
                  </a:lnTo>
                  <a:lnTo>
                    <a:pt x="231" y="620"/>
                  </a:lnTo>
                  <a:lnTo>
                    <a:pt x="239" y="609"/>
                  </a:lnTo>
                  <a:lnTo>
                    <a:pt x="246" y="598"/>
                  </a:lnTo>
                  <a:lnTo>
                    <a:pt x="256" y="589"/>
                  </a:lnTo>
                  <a:lnTo>
                    <a:pt x="264" y="578"/>
                  </a:lnTo>
                  <a:lnTo>
                    <a:pt x="274" y="569"/>
                  </a:lnTo>
                  <a:lnTo>
                    <a:pt x="284" y="561"/>
                  </a:lnTo>
                  <a:lnTo>
                    <a:pt x="293" y="552"/>
                  </a:lnTo>
                  <a:lnTo>
                    <a:pt x="304" y="544"/>
                  </a:lnTo>
                  <a:lnTo>
                    <a:pt x="315" y="537"/>
                  </a:lnTo>
                  <a:lnTo>
                    <a:pt x="326" y="530"/>
                  </a:lnTo>
                  <a:lnTo>
                    <a:pt x="338" y="523"/>
                  </a:lnTo>
                  <a:lnTo>
                    <a:pt x="349" y="518"/>
                  </a:lnTo>
                  <a:lnTo>
                    <a:pt x="362" y="513"/>
                  </a:lnTo>
                  <a:lnTo>
                    <a:pt x="373" y="508"/>
                  </a:lnTo>
                  <a:lnTo>
                    <a:pt x="386" y="504"/>
                  </a:lnTo>
                  <a:lnTo>
                    <a:pt x="398" y="502"/>
                  </a:lnTo>
                  <a:lnTo>
                    <a:pt x="411" y="499"/>
                  </a:lnTo>
                  <a:lnTo>
                    <a:pt x="424" y="496"/>
                  </a:lnTo>
                  <a:lnTo>
                    <a:pt x="438" y="495"/>
                  </a:lnTo>
                  <a:lnTo>
                    <a:pt x="450" y="495"/>
                  </a:lnTo>
                  <a:lnTo>
                    <a:pt x="463" y="495"/>
                  </a:lnTo>
                  <a:lnTo>
                    <a:pt x="477" y="496"/>
                  </a:lnTo>
                  <a:lnTo>
                    <a:pt x="490" y="499"/>
                  </a:lnTo>
                  <a:lnTo>
                    <a:pt x="503" y="501"/>
                  </a:lnTo>
                  <a:lnTo>
                    <a:pt x="515" y="504"/>
                  </a:lnTo>
                  <a:lnTo>
                    <a:pt x="528" y="508"/>
                  </a:lnTo>
                  <a:lnTo>
                    <a:pt x="539" y="513"/>
                  </a:lnTo>
                  <a:lnTo>
                    <a:pt x="552" y="518"/>
                  </a:lnTo>
                  <a:lnTo>
                    <a:pt x="564" y="523"/>
                  </a:lnTo>
                  <a:lnTo>
                    <a:pt x="575" y="530"/>
                  </a:lnTo>
                  <a:lnTo>
                    <a:pt x="586" y="536"/>
                  </a:lnTo>
                  <a:lnTo>
                    <a:pt x="597" y="544"/>
                  </a:lnTo>
                  <a:lnTo>
                    <a:pt x="608" y="552"/>
                  </a:lnTo>
                  <a:lnTo>
                    <a:pt x="617" y="561"/>
                  </a:lnTo>
                  <a:lnTo>
                    <a:pt x="627" y="569"/>
                  </a:lnTo>
                  <a:lnTo>
                    <a:pt x="637" y="578"/>
                  </a:lnTo>
                  <a:lnTo>
                    <a:pt x="646" y="589"/>
                  </a:lnTo>
                  <a:lnTo>
                    <a:pt x="655" y="598"/>
                  </a:lnTo>
                  <a:lnTo>
                    <a:pt x="662" y="609"/>
                  </a:lnTo>
                  <a:lnTo>
                    <a:pt x="670" y="620"/>
                  </a:lnTo>
                  <a:lnTo>
                    <a:pt x="677" y="631"/>
                  </a:lnTo>
                  <a:lnTo>
                    <a:pt x="685" y="642"/>
                  </a:lnTo>
                  <a:lnTo>
                    <a:pt x="690" y="655"/>
                  </a:lnTo>
                  <a:lnTo>
                    <a:pt x="697" y="667"/>
                  </a:lnTo>
                  <a:lnTo>
                    <a:pt x="701" y="679"/>
                  </a:lnTo>
                  <a:lnTo>
                    <a:pt x="706" y="692"/>
                  </a:lnTo>
                  <a:lnTo>
                    <a:pt x="709" y="705"/>
                  </a:lnTo>
                  <a:lnTo>
                    <a:pt x="714" y="718"/>
                  </a:lnTo>
                  <a:lnTo>
                    <a:pt x="716" y="732"/>
                  </a:lnTo>
                  <a:lnTo>
                    <a:pt x="718" y="745"/>
                  </a:lnTo>
                  <a:lnTo>
                    <a:pt x="720" y="759"/>
                  </a:lnTo>
                  <a:lnTo>
                    <a:pt x="720" y="773"/>
                  </a:lnTo>
                  <a:lnTo>
                    <a:pt x="706" y="783"/>
                  </a:lnTo>
                  <a:lnTo>
                    <a:pt x="692" y="794"/>
                  </a:lnTo>
                  <a:lnTo>
                    <a:pt x="677" y="805"/>
                  </a:lnTo>
                  <a:lnTo>
                    <a:pt x="662" y="814"/>
                  </a:lnTo>
                  <a:lnTo>
                    <a:pt x="646" y="823"/>
                  </a:lnTo>
                  <a:lnTo>
                    <a:pt x="630" y="830"/>
                  </a:lnTo>
                  <a:lnTo>
                    <a:pt x="613" y="838"/>
                  </a:lnTo>
                  <a:lnTo>
                    <a:pt x="597" y="844"/>
                  </a:lnTo>
                  <a:lnTo>
                    <a:pt x="579" y="851"/>
                  </a:lnTo>
                  <a:lnTo>
                    <a:pt x="562" y="856"/>
                  </a:lnTo>
                  <a:lnTo>
                    <a:pt x="544" y="860"/>
                  </a:lnTo>
                  <a:lnTo>
                    <a:pt x="525" y="865"/>
                  </a:lnTo>
                  <a:lnTo>
                    <a:pt x="507" y="867"/>
                  </a:lnTo>
                  <a:lnTo>
                    <a:pt x="489" y="869"/>
                  </a:lnTo>
                  <a:lnTo>
                    <a:pt x="470" y="871"/>
                  </a:lnTo>
                  <a:lnTo>
                    <a:pt x="450" y="871"/>
                  </a:lnTo>
                  <a:lnTo>
                    <a:pt x="431" y="871"/>
                  </a:lnTo>
                  <a:lnTo>
                    <a:pt x="412" y="869"/>
                  </a:lnTo>
                  <a:lnTo>
                    <a:pt x="394" y="867"/>
                  </a:lnTo>
                  <a:lnTo>
                    <a:pt x="376" y="865"/>
                  </a:lnTo>
                  <a:lnTo>
                    <a:pt x="357" y="860"/>
                  </a:lnTo>
                  <a:lnTo>
                    <a:pt x="339" y="856"/>
                  </a:lnTo>
                  <a:lnTo>
                    <a:pt x="322" y="851"/>
                  </a:lnTo>
                  <a:lnTo>
                    <a:pt x="305" y="844"/>
                  </a:lnTo>
                  <a:lnTo>
                    <a:pt x="288" y="838"/>
                  </a:lnTo>
                  <a:lnTo>
                    <a:pt x="271" y="830"/>
                  </a:lnTo>
                  <a:lnTo>
                    <a:pt x="255" y="823"/>
                  </a:lnTo>
                  <a:lnTo>
                    <a:pt x="240" y="814"/>
                  </a:lnTo>
                  <a:lnTo>
                    <a:pt x="224" y="805"/>
                  </a:lnTo>
                  <a:lnTo>
                    <a:pt x="209" y="794"/>
                  </a:lnTo>
                  <a:lnTo>
                    <a:pt x="195" y="783"/>
                  </a:lnTo>
                  <a:lnTo>
                    <a:pt x="181" y="773"/>
                  </a:lnTo>
                  <a:lnTo>
                    <a:pt x="181" y="773"/>
                  </a:lnTo>
                  <a:close/>
                  <a:moveTo>
                    <a:pt x="30" y="450"/>
                  </a:moveTo>
                  <a:lnTo>
                    <a:pt x="31" y="429"/>
                  </a:lnTo>
                  <a:lnTo>
                    <a:pt x="32" y="408"/>
                  </a:lnTo>
                  <a:lnTo>
                    <a:pt x="35" y="386"/>
                  </a:lnTo>
                  <a:lnTo>
                    <a:pt x="39" y="366"/>
                  </a:lnTo>
                  <a:lnTo>
                    <a:pt x="43" y="346"/>
                  </a:lnTo>
                  <a:lnTo>
                    <a:pt x="49" y="325"/>
                  </a:lnTo>
                  <a:lnTo>
                    <a:pt x="56" y="306"/>
                  </a:lnTo>
                  <a:lnTo>
                    <a:pt x="63" y="287"/>
                  </a:lnTo>
                  <a:lnTo>
                    <a:pt x="72" y="269"/>
                  </a:lnTo>
                  <a:lnTo>
                    <a:pt x="81" y="250"/>
                  </a:lnTo>
                  <a:lnTo>
                    <a:pt x="91" y="232"/>
                  </a:lnTo>
                  <a:lnTo>
                    <a:pt x="102" y="215"/>
                  </a:lnTo>
                  <a:lnTo>
                    <a:pt x="113" y="199"/>
                  </a:lnTo>
                  <a:lnTo>
                    <a:pt x="126" y="183"/>
                  </a:lnTo>
                  <a:lnTo>
                    <a:pt x="139" y="168"/>
                  </a:lnTo>
                  <a:lnTo>
                    <a:pt x="153" y="153"/>
                  </a:lnTo>
                  <a:lnTo>
                    <a:pt x="168" y="139"/>
                  </a:lnTo>
                  <a:lnTo>
                    <a:pt x="183" y="126"/>
                  </a:lnTo>
                  <a:lnTo>
                    <a:pt x="199" y="113"/>
                  </a:lnTo>
                  <a:lnTo>
                    <a:pt x="215" y="102"/>
                  </a:lnTo>
                  <a:lnTo>
                    <a:pt x="232" y="91"/>
                  </a:lnTo>
                  <a:lnTo>
                    <a:pt x="250" y="81"/>
                  </a:lnTo>
                  <a:lnTo>
                    <a:pt x="269" y="72"/>
                  </a:lnTo>
                  <a:lnTo>
                    <a:pt x="287" y="63"/>
                  </a:lnTo>
                  <a:lnTo>
                    <a:pt x="306" y="56"/>
                  </a:lnTo>
                  <a:lnTo>
                    <a:pt x="325" y="49"/>
                  </a:lnTo>
                  <a:lnTo>
                    <a:pt x="346" y="43"/>
                  </a:lnTo>
                  <a:lnTo>
                    <a:pt x="366" y="38"/>
                  </a:lnTo>
                  <a:lnTo>
                    <a:pt x="386" y="35"/>
                  </a:lnTo>
                  <a:lnTo>
                    <a:pt x="408" y="32"/>
                  </a:lnTo>
                  <a:lnTo>
                    <a:pt x="429" y="31"/>
                  </a:lnTo>
                  <a:lnTo>
                    <a:pt x="450" y="30"/>
                  </a:lnTo>
                  <a:lnTo>
                    <a:pt x="472" y="31"/>
                  </a:lnTo>
                  <a:lnTo>
                    <a:pt x="493" y="32"/>
                  </a:lnTo>
                  <a:lnTo>
                    <a:pt x="515" y="35"/>
                  </a:lnTo>
                  <a:lnTo>
                    <a:pt x="535" y="38"/>
                  </a:lnTo>
                  <a:lnTo>
                    <a:pt x="555" y="43"/>
                  </a:lnTo>
                  <a:lnTo>
                    <a:pt x="576" y="49"/>
                  </a:lnTo>
                  <a:lnTo>
                    <a:pt x="595" y="56"/>
                  </a:lnTo>
                  <a:lnTo>
                    <a:pt x="614" y="63"/>
                  </a:lnTo>
                  <a:lnTo>
                    <a:pt x="632" y="72"/>
                  </a:lnTo>
                  <a:lnTo>
                    <a:pt x="651" y="80"/>
                  </a:lnTo>
                  <a:lnTo>
                    <a:pt x="669" y="91"/>
                  </a:lnTo>
                  <a:lnTo>
                    <a:pt x="686" y="102"/>
                  </a:lnTo>
                  <a:lnTo>
                    <a:pt x="702" y="113"/>
                  </a:lnTo>
                  <a:lnTo>
                    <a:pt x="718" y="126"/>
                  </a:lnTo>
                  <a:lnTo>
                    <a:pt x="733" y="139"/>
                  </a:lnTo>
                  <a:lnTo>
                    <a:pt x="748" y="153"/>
                  </a:lnTo>
                  <a:lnTo>
                    <a:pt x="762" y="168"/>
                  </a:lnTo>
                  <a:lnTo>
                    <a:pt x="775" y="183"/>
                  </a:lnTo>
                  <a:lnTo>
                    <a:pt x="788" y="199"/>
                  </a:lnTo>
                  <a:lnTo>
                    <a:pt x="799" y="215"/>
                  </a:lnTo>
                  <a:lnTo>
                    <a:pt x="810" y="232"/>
                  </a:lnTo>
                  <a:lnTo>
                    <a:pt x="821" y="250"/>
                  </a:lnTo>
                  <a:lnTo>
                    <a:pt x="829" y="269"/>
                  </a:lnTo>
                  <a:lnTo>
                    <a:pt x="838" y="287"/>
                  </a:lnTo>
                  <a:lnTo>
                    <a:pt x="845" y="306"/>
                  </a:lnTo>
                  <a:lnTo>
                    <a:pt x="852" y="325"/>
                  </a:lnTo>
                  <a:lnTo>
                    <a:pt x="858" y="346"/>
                  </a:lnTo>
                  <a:lnTo>
                    <a:pt x="862" y="366"/>
                  </a:lnTo>
                  <a:lnTo>
                    <a:pt x="866" y="386"/>
                  </a:lnTo>
                  <a:lnTo>
                    <a:pt x="869" y="408"/>
                  </a:lnTo>
                  <a:lnTo>
                    <a:pt x="870" y="429"/>
                  </a:lnTo>
                  <a:lnTo>
                    <a:pt x="871" y="450"/>
                  </a:lnTo>
                  <a:lnTo>
                    <a:pt x="870" y="472"/>
                  </a:lnTo>
                  <a:lnTo>
                    <a:pt x="869" y="493"/>
                  </a:lnTo>
                  <a:lnTo>
                    <a:pt x="867" y="514"/>
                  </a:lnTo>
                  <a:lnTo>
                    <a:pt x="862" y="535"/>
                  </a:lnTo>
                  <a:lnTo>
                    <a:pt x="858" y="555"/>
                  </a:lnTo>
                  <a:lnTo>
                    <a:pt x="852" y="575"/>
                  </a:lnTo>
                  <a:lnTo>
                    <a:pt x="845" y="594"/>
                  </a:lnTo>
                  <a:lnTo>
                    <a:pt x="838" y="613"/>
                  </a:lnTo>
                  <a:lnTo>
                    <a:pt x="830" y="631"/>
                  </a:lnTo>
                  <a:lnTo>
                    <a:pt x="821" y="650"/>
                  </a:lnTo>
                  <a:lnTo>
                    <a:pt x="811" y="668"/>
                  </a:lnTo>
                  <a:lnTo>
                    <a:pt x="799" y="684"/>
                  </a:lnTo>
                  <a:lnTo>
                    <a:pt x="789" y="701"/>
                  </a:lnTo>
                  <a:lnTo>
                    <a:pt x="776" y="717"/>
                  </a:lnTo>
                  <a:lnTo>
                    <a:pt x="763" y="732"/>
                  </a:lnTo>
                  <a:lnTo>
                    <a:pt x="749" y="747"/>
                  </a:lnTo>
                  <a:lnTo>
                    <a:pt x="747" y="732"/>
                  </a:lnTo>
                  <a:lnTo>
                    <a:pt x="745" y="718"/>
                  </a:lnTo>
                  <a:lnTo>
                    <a:pt x="740" y="704"/>
                  </a:lnTo>
                  <a:lnTo>
                    <a:pt x="737" y="690"/>
                  </a:lnTo>
                  <a:lnTo>
                    <a:pt x="733" y="677"/>
                  </a:lnTo>
                  <a:lnTo>
                    <a:pt x="728" y="663"/>
                  </a:lnTo>
                  <a:lnTo>
                    <a:pt x="722" y="651"/>
                  </a:lnTo>
                  <a:lnTo>
                    <a:pt x="716" y="638"/>
                  </a:lnTo>
                  <a:lnTo>
                    <a:pt x="709" y="626"/>
                  </a:lnTo>
                  <a:lnTo>
                    <a:pt x="702" y="613"/>
                  </a:lnTo>
                  <a:lnTo>
                    <a:pt x="694" y="601"/>
                  </a:lnTo>
                  <a:lnTo>
                    <a:pt x="686" y="591"/>
                  </a:lnTo>
                  <a:lnTo>
                    <a:pt x="677" y="579"/>
                  </a:lnTo>
                  <a:lnTo>
                    <a:pt x="669" y="568"/>
                  </a:lnTo>
                  <a:lnTo>
                    <a:pt x="659" y="559"/>
                  </a:lnTo>
                  <a:lnTo>
                    <a:pt x="649" y="549"/>
                  </a:lnTo>
                  <a:lnTo>
                    <a:pt x="639" y="539"/>
                  </a:lnTo>
                  <a:lnTo>
                    <a:pt x="628" y="531"/>
                  </a:lnTo>
                  <a:lnTo>
                    <a:pt x="617" y="522"/>
                  </a:lnTo>
                  <a:lnTo>
                    <a:pt x="606" y="514"/>
                  </a:lnTo>
                  <a:lnTo>
                    <a:pt x="594" y="506"/>
                  </a:lnTo>
                  <a:lnTo>
                    <a:pt x="582" y="500"/>
                  </a:lnTo>
                  <a:lnTo>
                    <a:pt x="570" y="493"/>
                  </a:lnTo>
                  <a:lnTo>
                    <a:pt x="557" y="488"/>
                  </a:lnTo>
                  <a:lnTo>
                    <a:pt x="545" y="483"/>
                  </a:lnTo>
                  <a:lnTo>
                    <a:pt x="532" y="478"/>
                  </a:lnTo>
                  <a:lnTo>
                    <a:pt x="519" y="474"/>
                  </a:lnTo>
                  <a:lnTo>
                    <a:pt x="505" y="471"/>
                  </a:lnTo>
                  <a:lnTo>
                    <a:pt x="492" y="469"/>
                  </a:lnTo>
                  <a:lnTo>
                    <a:pt x="478" y="467"/>
                  </a:lnTo>
                  <a:lnTo>
                    <a:pt x="464" y="465"/>
                  </a:lnTo>
                  <a:lnTo>
                    <a:pt x="450" y="465"/>
                  </a:lnTo>
                  <a:lnTo>
                    <a:pt x="437" y="465"/>
                  </a:lnTo>
                  <a:lnTo>
                    <a:pt x="423" y="467"/>
                  </a:lnTo>
                  <a:lnTo>
                    <a:pt x="409" y="469"/>
                  </a:lnTo>
                  <a:lnTo>
                    <a:pt x="396" y="471"/>
                  </a:lnTo>
                  <a:lnTo>
                    <a:pt x="382" y="474"/>
                  </a:lnTo>
                  <a:lnTo>
                    <a:pt x="369" y="478"/>
                  </a:lnTo>
                  <a:lnTo>
                    <a:pt x="356" y="483"/>
                  </a:lnTo>
                  <a:lnTo>
                    <a:pt x="343" y="488"/>
                  </a:lnTo>
                  <a:lnTo>
                    <a:pt x="331" y="493"/>
                  </a:lnTo>
                  <a:lnTo>
                    <a:pt x="319" y="500"/>
                  </a:lnTo>
                  <a:lnTo>
                    <a:pt x="307" y="506"/>
                  </a:lnTo>
                  <a:lnTo>
                    <a:pt x="295" y="514"/>
                  </a:lnTo>
                  <a:lnTo>
                    <a:pt x="284" y="522"/>
                  </a:lnTo>
                  <a:lnTo>
                    <a:pt x="273" y="531"/>
                  </a:lnTo>
                  <a:lnTo>
                    <a:pt x="262" y="539"/>
                  </a:lnTo>
                  <a:lnTo>
                    <a:pt x="253" y="549"/>
                  </a:lnTo>
                  <a:lnTo>
                    <a:pt x="242" y="559"/>
                  </a:lnTo>
                  <a:lnTo>
                    <a:pt x="232" y="568"/>
                  </a:lnTo>
                  <a:lnTo>
                    <a:pt x="224" y="579"/>
                  </a:lnTo>
                  <a:lnTo>
                    <a:pt x="215" y="591"/>
                  </a:lnTo>
                  <a:lnTo>
                    <a:pt x="207" y="601"/>
                  </a:lnTo>
                  <a:lnTo>
                    <a:pt x="199" y="613"/>
                  </a:lnTo>
                  <a:lnTo>
                    <a:pt x="192" y="626"/>
                  </a:lnTo>
                  <a:lnTo>
                    <a:pt x="185" y="638"/>
                  </a:lnTo>
                  <a:lnTo>
                    <a:pt x="179" y="651"/>
                  </a:lnTo>
                  <a:lnTo>
                    <a:pt x="173" y="663"/>
                  </a:lnTo>
                  <a:lnTo>
                    <a:pt x="168" y="677"/>
                  </a:lnTo>
                  <a:lnTo>
                    <a:pt x="164" y="690"/>
                  </a:lnTo>
                  <a:lnTo>
                    <a:pt x="161" y="704"/>
                  </a:lnTo>
                  <a:lnTo>
                    <a:pt x="157" y="718"/>
                  </a:lnTo>
                  <a:lnTo>
                    <a:pt x="154" y="732"/>
                  </a:lnTo>
                  <a:lnTo>
                    <a:pt x="152" y="747"/>
                  </a:lnTo>
                  <a:lnTo>
                    <a:pt x="138" y="732"/>
                  </a:lnTo>
                  <a:lnTo>
                    <a:pt x="125" y="717"/>
                  </a:lnTo>
                  <a:lnTo>
                    <a:pt x="113" y="701"/>
                  </a:lnTo>
                  <a:lnTo>
                    <a:pt x="102" y="684"/>
                  </a:lnTo>
                  <a:lnTo>
                    <a:pt x="91" y="668"/>
                  </a:lnTo>
                  <a:lnTo>
                    <a:pt x="80" y="650"/>
                  </a:lnTo>
                  <a:lnTo>
                    <a:pt x="72" y="631"/>
                  </a:lnTo>
                  <a:lnTo>
                    <a:pt x="63" y="613"/>
                  </a:lnTo>
                  <a:lnTo>
                    <a:pt x="56" y="594"/>
                  </a:lnTo>
                  <a:lnTo>
                    <a:pt x="49" y="575"/>
                  </a:lnTo>
                  <a:lnTo>
                    <a:pt x="43" y="555"/>
                  </a:lnTo>
                  <a:lnTo>
                    <a:pt x="39" y="535"/>
                  </a:lnTo>
                  <a:lnTo>
                    <a:pt x="35" y="514"/>
                  </a:lnTo>
                  <a:lnTo>
                    <a:pt x="32" y="493"/>
                  </a:lnTo>
                  <a:lnTo>
                    <a:pt x="31" y="472"/>
                  </a:lnTo>
                  <a:lnTo>
                    <a:pt x="30" y="450"/>
                  </a:lnTo>
                  <a:lnTo>
                    <a:pt x="30" y="450"/>
                  </a:lnTo>
                  <a:close/>
                  <a:moveTo>
                    <a:pt x="901" y="450"/>
                  </a:moveTo>
                  <a:lnTo>
                    <a:pt x="901" y="427"/>
                  </a:lnTo>
                  <a:lnTo>
                    <a:pt x="899" y="404"/>
                  </a:lnTo>
                  <a:lnTo>
                    <a:pt x="896" y="382"/>
                  </a:lnTo>
                  <a:lnTo>
                    <a:pt x="892" y="360"/>
                  </a:lnTo>
                  <a:lnTo>
                    <a:pt x="887" y="338"/>
                  </a:lnTo>
                  <a:lnTo>
                    <a:pt x="881" y="317"/>
                  </a:lnTo>
                  <a:lnTo>
                    <a:pt x="873" y="295"/>
                  </a:lnTo>
                  <a:lnTo>
                    <a:pt x="866" y="275"/>
                  </a:lnTo>
                  <a:lnTo>
                    <a:pt x="856" y="256"/>
                  </a:lnTo>
                  <a:lnTo>
                    <a:pt x="846" y="235"/>
                  </a:lnTo>
                  <a:lnTo>
                    <a:pt x="836" y="217"/>
                  </a:lnTo>
                  <a:lnTo>
                    <a:pt x="824" y="199"/>
                  </a:lnTo>
                  <a:lnTo>
                    <a:pt x="811" y="181"/>
                  </a:lnTo>
                  <a:lnTo>
                    <a:pt x="798" y="164"/>
                  </a:lnTo>
                  <a:lnTo>
                    <a:pt x="784" y="148"/>
                  </a:lnTo>
                  <a:lnTo>
                    <a:pt x="769" y="132"/>
                  </a:lnTo>
                  <a:lnTo>
                    <a:pt x="753" y="117"/>
                  </a:lnTo>
                  <a:lnTo>
                    <a:pt x="737" y="103"/>
                  </a:lnTo>
                  <a:lnTo>
                    <a:pt x="720" y="90"/>
                  </a:lnTo>
                  <a:lnTo>
                    <a:pt x="702" y="77"/>
                  </a:lnTo>
                  <a:lnTo>
                    <a:pt x="684" y="65"/>
                  </a:lnTo>
                  <a:lnTo>
                    <a:pt x="666" y="55"/>
                  </a:lnTo>
                  <a:lnTo>
                    <a:pt x="645" y="45"/>
                  </a:lnTo>
                  <a:lnTo>
                    <a:pt x="626" y="35"/>
                  </a:lnTo>
                  <a:lnTo>
                    <a:pt x="606" y="28"/>
                  </a:lnTo>
                  <a:lnTo>
                    <a:pt x="584" y="20"/>
                  </a:lnTo>
                  <a:lnTo>
                    <a:pt x="563" y="14"/>
                  </a:lnTo>
                  <a:lnTo>
                    <a:pt x="541" y="10"/>
                  </a:lnTo>
                  <a:lnTo>
                    <a:pt x="519" y="5"/>
                  </a:lnTo>
                  <a:lnTo>
                    <a:pt x="496" y="2"/>
                  </a:lnTo>
                  <a:lnTo>
                    <a:pt x="474" y="0"/>
                  </a:lnTo>
                  <a:lnTo>
                    <a:pt x="450" y="0"/>
                  </a:lnTo>
                  <a:lnTo>
                    <a:pt x="427" y="0"/>
                  </a:lnTo>
                  <a:lnTo>
                    <a:pt x="404" y="2"/>
                  </a:lnTo>
                  <a:lnTo>
                    <a:pt x="382" y="5"/>
                  </a:lnTo>
                  <a:lnTo>
                    <a:pt x="360" y="10"/>
                  </a:lnTo>
                  <a:lnTo>
                    <a:pt x="338" y="14"/>
                  </a:lnTo>
                  <a:lnTo>
                    <a:pt x="317" y="20"/>
                  </a:lnTo>
                  <a:lnTo>
                    <a:pt x="295" y="28"/>
                  </a:lnTo>
                  <a:lnTo>
                    <a:pt x="275" y="35"/>
                  </a:lnTo>
                  <a:lnTo>
                    <a:pt x="256" y="45"/>
                  </a:lnTo>
                  <a:lnTo>
                    <a:pt x="236" y="55"/>
                  </a:lnTo>
                  <a:lnTo>
                    <a:pt x="217" y="65"/>
                  </a:lnTo>
                  <a:lnTo>
                    <a:pt x="199" y="77"/>
                  </a:lnTo>
                  <a:lnTo>
                    <a:pt x="181" y="90"/>
                  </a:lnTo>
                  <a:lnTo>
                    <a:pt x="164" y="103"/>
                  </a:lnTo>
                  <a:lnTo>
                    <a:pt x="148" y="117"/>
                  </a:lnTo>
                  <a:lnTo>
                    <a:pt x="132" y="132"/>
                  </a:lnTo>
                  <a:lnTo>
                    <a:pt x="118" y="148"/>
                  </a:lnTo>
                  <a:lnTo>
                    <a:pt x="103" y="164"/>
                  </a:lnTo>
                  <a:lnTo>
                    <a:pt x="90" y="181"/>
                  </a:lnTo>
                  <a:lnTo>
                    <a:pt x="77" y="199"/>
                  </a:lnTo>
                  <a:lnTo>
                    <a:pt x="65" y="217"/>
                  </a:lnTo>
                  <a:lnTo>
                    <a:pt x="55" y="235"/>
                  </a:lnTo>
                  <a:lnTo>
                    <a:pt x="45" y="256"/>
                  </a:lnTo>
                  <a:lnTo>
                    <a:pt x="35" y="275"/>
                  </a:lnTo>
                  <a:lnTo>
                    <a:pt x="28" y="295"/>
                  </a:lnTo>
                  <a:lnTo>
                    <a:pt x="20" y="317"/>
                  </a:lnTo>
                  <a:lnTo>
                    <a:pt x="14" y="338"/>
                  </a:lnTo>
                  <a:lnTo>
                    <a:pt x="10" y="360"/>
                  </a:lnTo>
                  <a:lnTo>
                    <a:pt x="5" y="382"/>
                  </a:lnTo>
                  <a:lnTo>
                    <a:pt x="2" y="404"/>
                  </a:lnTo>
                  <a:lnTo>
                    <a:pt x="1" y="427"/>
                  </a:lnTo>
                  <a:lnTo>
                    <a:pt x="0" y="450"/>
                  </a:lnTo>
                  <a:lnTo>
                    <a:pt x="1" y="475"/>
                  </a:lnTo>
                  <a:lnTo>
                    <a:pt x="3" y="500"/>
                  </a:lnTo>
                  <a:lnTo>
                    <a:pt x="6" y="524"/>
                  </a:lnTo>
                  <a:lnTo>
                    <a:pt x="11" y="548"/>
                  </a:lnTo>
                  <a:lnTo>
                    <a:pt x="16" y="571"/>
                  </a:lnTo>
                  <a:lnTo>
                    <a:pt x="24" y="594"/>
                  </a:lnTo>
                  <a:lnTo>
                    <a:pt x="32" y="616"/>
                  </a:lnTo>
                  <a:lnTo>
                    <a:pt x="41" y="638"/>
                  </a:lnTo>
                  <a:lnTo>
                    <a:pt x="51" y="659"/>
                  </a:lnTo>
                  <a:lnTo>
                    <a:pt x="63" y="679"/>
                  </a:lnTo>
                  <a:lnTo>
                    <a:pt x="75" y="700"/>
                  </a:lnTo>
                  <a:lnTo>
                    <a:pt x="89" y="718"/>
                  </a:lnTo>
                  <a:lnTo>
                    <a:pt x="103" y="737"/>
                  </a:lnTo>
                  <a:lnTo>
                    <a:pt x="119" y="754"/>
                  </a:lnTo>
                  <a:lnTo>
                    <a:pt x="135" y="772"/>
                  </a:lnTo>
                  <a:lnTo>
                    <a:pt x="152" y="788"/>
                  </a:lnTo>
                  <a:lnTo>
                    <a:pt x="153" y="790"/>
                  </a:lnTo>
                  <a:lnTo>
                    <a:pt x="155" y="792"/>
                  </a:lnTo>
                  <a:lnTo>
                    <a:pt x="157" y="794"/>
                  </a:lnTo>
                  <a:lnTo>
                    <a:pt x="161" y="795"/>
                  </a:lnTo>
                  <a:lnTo>
                    <a:pt x="175" y="807"/>
                  </a:lnTo>
                  <a:lnTo>
                    <a:pt x="192" y="819"/>
                  </a:lnTo>
                  <a:lnTo>
                    <a:pt x="207" y="829"/>
                  </a:lnTo>
                  <a:lnTo>
                    <a:pt x="224" y="839"/>
                  </a:lnTo>
                  <a:lnTo>
                    <a:pt x="241" y="849"/>
                  </a:lnTo>
                  <a:lnTo>
                    <a:pt x="258" y="857"/>
                  </a:lnTo>
                  <a:lnTo>
                    <a:pt x="275" y="866"/>
                  </a:lnTo>
                  <a:lnTo>
                    <a:pt x="293" y="873"/>
                  </a:lnTo>
                  <a:lnTo>
                    <a:pt x="312" y="880"/>
                  </a:lnTo>
                  <a:lnTo>
                    <a:pt x="331" y="885"/>
                  </a:lnTo>
                  <a:lnTo>
                    <a:pt x="350" y="889"/>
                  </a:lnTo>
                  <a:lnTo>
                    <a:pt x="370" y="894"/>
                  </a:lnTo>
                  <a:lnTo>
                    <a:pt x="389" y="897"/>
                  </a:lnTo>
                  <a:lnTo>
                    <a:pt x="410" y="899"/>
                  </a:lnTo>
                  <a:lnTo>
                    <a:pt x="430" y="901"/>
                  </a:lnTo>
                  <a:lnTo>
                    <a:pt x="450" y="901"/>
                  </a:lnTo>
                  <a:lnTo>
                    <a:pt x="471" y="901"/>
                  </a:lnTo>
                  <a:lnTo>
                    <a:pt x="491" y="899"/>
                  </a:lnTo>
                  <a:lnTo>
                    <a:pt x="511" y="897"/>
                  </a:lnTo>
                  <a:lnTo>
                    <a:pt x="532" y="894"/>
                  </a:lnTo>
                  <a:lnTo>
                    <a:pt x="551" y="889"/>
                  </a:lnTo>
                  <a:lnTo>
                    <a:pt x="570" y="885"/>
                  </a:lnTo>
                  <a:lnTo>
                    <a:pt x="589" y="880"/>
                  </a:lnTo>
                  <a:lnTo>
                    <a:pt x="608" y="873"/>
                  </a:lnTo>
                  <a:lnTo>
                    <a:pt x="626" y="866"/>
                  </a:lnTo>
                  <a:lnTo>
                    <a:pt x="643" y="857"/>
                  </a:lnTo>
                  <a:lnTo>
                    <a:pt x="660" y="849"/>
                  </a:lnTo>
                  <a:lnTo>
                    <a:pt x="677" y="839"/>
                  </a:lnTo>
                  <a:lnTo>
                    <a:pt x="694" y="829"/>
                  </a:lnTo>
                  <a:lnTo>
                    <a:pt x="710" y="819"/>
                  </a:lnTo>
                  <a:lnTo>
                    <a:pt x="725" y="807"/>
                  </a:lnTo>
                  <a:lnTo>
                    <a:pt x="740" y="795"/>
                  </a:lnTo>
                  <a:lnTo>
                    <a:pt x="744" y="794"/>
                  </a:lnTo>
                  <a:lnTo>
                    <a:pt x="746" y="792"/>
                  </a:lnTo>
                  <a:lnTo>
                    <a:pt x="748" y="790"/>
                  </a:lnTo>
                  <a:lnTo>
                    <a:pt x="749" y="788"/>
                  </a:lnTo>
                  <a:lnTo>
                    <a:pt x="766" y="772"/>
                  </a:lnTo>
                  <a:lnTo>
                    <a:pt x="782" y="754"/>
                  </a:lnTo>
                  <a:lnTo>
                    <a:pt x="798" y="737"/>
                  </a:lnTo>
                  <a:lnTo>
                    <a:pt x="812" y="718"/>
                  </a:lnTo>
                  <a:lnTo>
                    <a:pt x="826" y="700"/>
                  </a:lnTo>
                  <a:lnTo>
                    <a:pt x="838" y="679"/>
                  </a:lnTo>
                  <a:lnTo>
                    <a:pt x="850" y="659"/>
                  </a:lnTo>
                  <a:lnTo>
                    <a:pt x="860" y="638"/>
                  </a:lnTo>
                  <a:lnTo>
                    <a:pt x="869" y="616"/>
                  </a:lnTo>
                  <a:lnTo>
                    <a:pt x="877" y="594"/>
                  </a:lnTo>
                  <a:lnTo>
                    <a:pt x="885" y="571"/>
                  </a:lnTo>
                  <a:lnTo>
                    <a:pt x="890" y="548"/>
                  </a:lnTo>
                  <a:lnTo>
                    <a:pt x="895" y="524"/>
                  </a:lnTo>
                  <a:lnTo>
                    <a:pt x="899" y="500"/>
                  </a:lnTo>
                  <a:lnTo>
                    <a:pt x="900" y="475"/>
                  </a:lnTo>
                  <a:lnTo>
                    <a:pt x="901" y="450"/>
                  </a:lnTo>
                  <a:lnTo>
                    <a:pt x="901" y="4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9">
              <a:extLst>
                <a:ext uri="{FF2B5EF4-FFF2-40B4-BE49-F238E27FC236}">
                  <a16:creationId xmlns:a16="http://schemas.microsoft.com/office/drawing/2014/main" id="{705EB0FA-A4BA-4C53-9BE3-996D0B50BC26}"/>
                </a:ext>
              </a:extLst>
            </p:cNvPr>
            <p:cNvSpPr>
              <a:spLocks/>
            </p:cNvSpPr>
            <p:nvPr/>
          </p:nvSpPr>
          <p:spPr bwMode="auto">
            <a:xfrm>
              <a:off x="376238" y="4310063"/>
              <a:ext cx="57150" cy="33338"/>
            </a:xfrm>
            <a:custGeom>
              <a:avLst/>
              <a:gdLst>
                <a:gd name="T0" fmla="*/ 99 w 181"/>
                <a:gd name="T1" fmla="*/ 103 h 105"/>
                <a:gd name="T2" fmla="*/ 117 w 181"/>
                <a:gd name="T3" fmla="*/ 100 h 105"/>
                <a:gd name="T4" fmla="*/ 133 w 181"/>
                <a:gd name="T5" fmla="*/ 94 h 105"/>
                <a:gd name="T6" fmla="*/ 148 w 181"/>
                <a:gd name="T7" fmla="*/ 84 h 105"/>
                <a:gd name="T8" fmla="*/ 160 w 181"/>
                <a:gd name="T9" fmla="*/ 71 h 105"/>
                <a:gd name="T10" fmla="*/ 170 w 181"/>
                <a:gd name="T11" fmla="*/ 57 h 105"/>
                <a:gd name="T12" fmla="*/ 176 w 181"/>
                <a:gd name="T13" fmla="*/ 41 h 105"/>
                <a:gd name="T14" fmla="*/ 180 w 181"/>
                <a:gd name="T15" fmla="*/ 23 h 105"/>
                <a:gd name="T16" fmla="*/ 181 w 181"/>
                <a:gd name="T17" fmla="*/ 11 h 105"/>
                <a:gd name="T18" fmla="*/ 177 w 181"/>
                <a:gd name="T19" fmla="*/ 6 h 105"/>
                <a:gd name="T20" fmla="*/ 174 w 181"/>
                <a:gd name="T21" fmla="*/ 2 h 105"/>
                <a:gd name="T22" fmla="*/ 169 w 181"/>
                <a:gd name="T23" fmla="*/ 0 h 105"/>
                <a:gd name="T24" fmla="*/ 162 w 181"/>
                <a:gd name="T25" fmla="*/ 0 h 105"/>
                <a:gd name="T26" fmla="*/ 157 w 181"/>
                <a:gd name="T27" fmla="*/ 2 h 105"/>
                <a:gd name="T28" fmla="*/ 153 w 181"/>
                <a:gd name="T29" fmla="*/ 6 h 105"/>
                <a:gd name="T30" fmla="*/ 151 w 181"/>
                <a:gd name="T31" fmla="*/ 11 h 105"/>
                <a:gd name="T32" fmla="*/ 151 w 181"/>
                <a:gd name="T33" fmla="*/ 20 h 105"/>
                <a:gd name="T34" fmla="*/ 147 w 181"/>
                <a:gd name="T35" fmla="*/ 32 h 105"/>
                <a:gd name="T36" fmla="*/ 143 w 181"/>
                <a:gd name="T37" fmla="*/ 44 h 105"/>
                <a:gd name="T38" fmla="*/ 137 w 181"/>
                <a:gd name="T39" fmla="*/ 53 h 105"/>
                <a:gd name="T40" fmla="*/ 129 w 181"/>
                <a:gd name="T41" fmla="*/ 61 h 105"/>
                <a:gd name="T42" fmla="*/ 120 w 181"/>
                <a:gd name="T43" fmla="*/ 67 h 105"/>
                <a:gd name="T44" fmla="*/ 109 w 181"/>
                <a:gd name="T45" fmla="*/ 71 h 105"/>
                <a:gd name="T46" fmla="*/ 96 w 181"/>
                <a:gd name="T47" fmla="*/ 74 h 105"/>
                <a:gd name="T48" fmla="*/ 84 w 181"/>
                <a:gd name="T49" fmla="*/ 74 h 105"/>
                <a:gd name="T50" fmla="*/ 73 w 181"/>
                <a:gd name="T51" fmla="*/ 71 h 105"/>
                <a:gd name="T52" fmla="*/ 62 w 181"/>
                <a:gd name="T53" fmla="*/ 67 h 105"/>
                <a:gd name="T54" fmla="*/ 52 w 181"/>
                <a:gd name="T55" fmla="*/ 61 h 105"/>
                <a:gd name="T56" fmla="*/ 44 w 181"/>
                <a:gd name="T57" fmla="*/ 52 h 105"/>
                <a:gd name="T58" fmla="*/ 37 w 181"/>
                <a:gd name="T59" fmla="*/ 44 h 105"/>
                <a:gd name="T60" fmla="*/ 33 w 181"/>
                <a:gd name="T61" fmla="*/ 32 h 105"/>
                <a:gd name="T62" fmla="*/ 31 w 181"/>
                <a:gd name="T63" fmla="*/ 20 h 105"/>
                <a:gd name="T64" fmla="*/ 30 w 181"/>
                <a:gd name="T65" fmla="*/ 11 h 105"/>
                <a:gd name="T66" fmla="*/ 28 w 181"/>
                <a:gd name="T67" fmla="*/ 6 h 105"/>
                <a:gd name="T68" fmla="*/ 23 w 181"/>
                <a:gd name="T69" fmla="*/ 2 h 105"/>
                <a:gd name="T70" fmla="*/ 18 w 181"/>
                <a:gd name="T71" fmla="*/ 0 h 105"/>
                <a:gd name="T72" fmla="*/ 13 w 181"/>
                <a:gd name="T73" fmla="*/ 0 h 105"/>
                <a:gd name="T74" fmla="*/ 7 w 181"/>
                <a:gd name="T75" fmla="*/ 2 h 105"/>
                <a:gd name="T76" fmla="*/ 3 w 181"/>
                <a:gd name="T77" fmla="*/ 6 h 105"/>
                <a:gd name="T78" fmla="*/ 1 w 181"/>
                <a:gd name="T79" fmla="*/ 11 h 105"/>
                <a:gd name="T80" fmla="*/ 1 w 181"/>
                <a:gd name="T81" fmla="*/ 23 h 105"/>
                <a:gd name="T82" fmla="*/ 4 w 181"/>
                <a:gd name="T83" fmla="*/ 41 h 105"/>
                <a:gd name="T84" fmla="*/ 10 w 181"/>
                <a:gd name="T85" fmla="*/ 57 h 105"/>
                <a:gd name="T86" fmla="*/ 20 w 181"/>
                <a:gd name="T87" fmla="*/ 71 h 105"/>
                <a:gd name="T88" fmla="*/ 33 w 181"/>
                <a:gd name="T89" fmla="*/ 84 h 105"/>
                <a:gd name="T90" fmla="*/ 47 w 181"/>
                <a:gd name="T91" fmla="*/ 94 h 105"/>
                <a:gd name="T92" fmla="*/ 63 w 181"/>
                <a:gd name="T93" fmla="*/ 100 h 105"/>
                <a:gd name="T94" fmla="*/ 81 w 181"/>
                <a:gd name="T9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91" y="105"/>
                  </a:moveTo>
                  <a:lnTo>
                    <a:pt x="99" y="103"/>
                  </a:lnTo>
                  <a:lnTo>
                    <a:pt x="109" y="102"/>
                  </a:lnTo>
                  <a:lnTo>
                    <a:pt x="117" y="100"/>
                  </a:lnTo>
                  <a:lnTo>
                    <a:pt x="126" y="97"/>
                  </a:lnTo>
                  <a:lnTo>
                    <a:pt x="133" y="94"/>
                  </a:lnTo>
                  <a:lnTo>
                    <a:pt x="141" y="90"/>
                  </a:lnTo>
                  <a:lnTo>
                    <a:pt x="148" y="84"/>
                  </a:lnTo>
                  <a:lnTo>
                    <a:pt x="154" y="78"/>
                  </a:lnTo>
                  <a:lnTo>
                    <a:pt x="160" y="71"/>
                  </a:lnTo>
                  <a:lnTo>
                    <a:pt x="166" y="65"/>
                  </a:lnTo>
                  <a:lnTo>
                    <a:pt x="170" y="57"/>
                  </a:lnTo>
                  <a:lnTo>
                    <a:pt x="173" y="50"/>
                  </a:lnTo>
                  <a:lnTo>
                    <a:pt x="176" y="41"/>
                  </a:lnTo>
                  <a:lnTo>
                    <a:pt x="178" y="33"/>
                  </a:lnTo>
                  <a:lnTo>
                    <a:pt x="180" y="23"/>
                  </a:lnTo>
                  <a:lnTo>
                    <a:pt x="181" y="15"/>
                  </a:lnTo>
                  <a:lnTo>
                    <a:pt x="181" y="11"/>
                  </a:lnTo>
                  <a:lnTo>
                    <a:pt x="180" y="8"/>
                  </a:lnTo>
                  <a:lnTo>
                    <a:pt x="177" y="6"/>
                  </a:lnTo>
                  <a:lnTo>
                    <a:pt x="176" y="4"/>
                  </a:lnTo>
                  <a:lnTo>
                    <a:pt x="174" y="2"/>
                  </a:lnTo>
                  <a:lnTo>
                    <a:pt x="171" y="1"/>
                  </a:lnTo>
                  <a:lnTo>
                    <a:pt x="169" y="0"/>
                  </a:lnTo>
                  <a:lnTo>
                    <a:pt x="166" y="0"/>
                  </a:lnTo>
                  <a:lnTo>
                    <a:pt x="162" y="0"/>
                  </a:lnTo>
                  <a:lnTo>
                    <a:pt x="159" y="1"/>
                  </a:lnTo>
                  <a:lnTo>
                    <a:pt x="157" y="2"/>
                  </a:lnTo>
                  <a:lnTo>
                    <a:pt x="155" y="4"/>
                  </a:lnTo>
                  <a:lnTo>
                    <a:pt x="153" y="6"/>
                  </a:lnTo>
                  <a:lnTo>
                    <a:pt x="152" y="8"/>
                  </a:lnTo>
                  <a:lnTo>
                    <a:pt x="151" y="11"/>
                  </a:lnTo>
                  <a:lnTo>
                    <a:pt x="151" y="15"/>
                  </a:lnTo>
                  <a:lnTo>
                    <a:pt x="151" y="20"/>
                  </a:lnTo>
                  <a:lnTo>
                    <a:pt x="150" y="26"/>
                  </a:lnTo>
                  <a:lnTo>
                    <a:pt x="147" y="32"/>
                  </a:lnTo>
                  <a:lnTo>
                    <a:pt x="145" y="38"/>
                  </a:lnTo>
                  <a:lnTo>
                    <a:pt x="143" y="44"/>
                  </a:lnTo>
                  <a:lnTo>
                    <a:pt x="140" y="48"/>
                  </a:lnTo>
                  <a:lnTo>
                    <a:pt x="137" y="53"/>
                  </a:lnTo>
                  <a:lnTo>
                    <a:pt x="133" y="56"/>
                  </a:lnTo>
                  <a:lnTo>
                    <a:pt x="129" y="61"/>
                  </a:lnTo>
                  <a:lnTo>
                    <a:pt x="124" y="64"/>
                  </a:lnTo>
                  <a:lnTo>
                    <a:pt x="120" y="67"/>
                  </a:lnTo>
                  <a:lnTo>
                    <a:pt x="114" y="69"/>
                  </a:lnTo>
                  <a:lnTo>
                    <a:pt x="109" y="71"/>
                  </a:lnTo>
                  <a:lnTo>
                    <a:pt x="102" y="74"/>
                  </a:lnTo>
                  <a:lnTo>
                    <a:pt x="96" y="74"/>
                  </a:lnTo>
                  <a:lnTo>
                    <a:pt x="91" y="75"/>
                  </a:lnTo>
                  <a:lnTo>
                    <a:pt x="84" y="74"/>
                  </a:lnTo>
                  <a:lnTo>
                    <a:pt x="78" y="74"/>
                  </a:lnTo>
                  <a:lnTo>
                    <a:pt x="73" y="71"/>
                  </a:lnTo>
                  <a:lnTo>
                    <a:pt x="67" y="69"/>
                  </a:lnTo>
                  <a:lnTo>
                    <a:pt x="62" y="67"/>
                  </a:lnTo>
                  <a:lnTo>
                    <a:pt x="56" y="64"/>
                  </a:lnTo>
                  <a:lnTo>
                    <a:pt x="52" y="61"/>
                  </a:lnTo>
                  <a:lnTo>
                    <a:pt x="48" y="56"/>
                  </a:lnTo>
                  <a:lnTo>
                    <a:pt x="44" y="52"/>
                  </a:lnTo>
                  <a:lnTo>
                    <a:pt x="40" y="48"/>
                  </a:lnTo>
                  <a:lnTo>
                    <a:pt x="37" y="44"/>
                  </a:lnTo>
                  <a:lnTo>
                    <a:pt x="35" y="38"/>
                  </a:lnTo>
                  <a:lnTo>
                    <a:pt x="33" y="32"/>
                  </a:lnTo>
                  <a:lnTo>
                    <a:pt x="32" y="26"/>
                  </a:lnTo>
                  <a:lnTo>
                    <a:pt x="31" y="20"/>
                  </a:lnTo>
                  <a:lnTo>
                    <a:pt x="31" y="15"/>
                  </a:lnTo>
                  <a:lnTo>
                    <a:pt x="30" y="11"/>
                  </a:lnTo>
                  <a:lnTo>
                    <a:pt x="29" y="8"/>
                  </a:lnTo>
                  <a:lnTo>
                    <a:pt x="28" y="6"/>
                  </a:lnTo>
                  <a:lnTo>
                    <a:pt x="25" y="4"/>
                  </a:lnTo>
                  <a:lnTo>
                    <a:pt x="23" y="2"/>
                  </a:lnTo>
                  <a:lnTo>
                    <a:pt x="21" y="1"/>
                  </a:lnTo>
                  <a:lnTo>
                    <a:pt x="18" y="0"/>
                  </a:lnTo>
                  <a:lnTo>
                    <a:pt x="15" y="0"/>
                  </a:lnTo>
                  <a:lnTo>
                    <a:pt x="13" y="0"/>
                  </a:lnTo>
                  <a:lnTo>
                    <a:pt x="9" y="1"/>
                  </a:lnTo>
                  <a:lnTo>
                    <a:pt x="7" y="2"/>
                  </a:lnTo>
                  <a:lnTo>
                    <a:pt x="5" y="4"/>
                  </a:lnTo>
                  <a:lnTo>
                    <a:pt x="3" y="6"/>
                  </a:lnTo>
                  <a:lnTo>
                    <a:pt x="2" y="8"/>
                  </a:lnTo>
                  <a:lnTo>
                    <a:pt x="1" y="11"/>
                  </a:lnTo>
                  <a:lnTo>
                    <a:pt x="0" y="15"/>
                  </a:lnTo>
                  <a:lnTo>
                    <a:pt x="1" y="23"/>
                  </a:lnTo>
                  <a:lnTo>
                    <a:pt x="2" y="33"/>
                  </a:lnTo>
                  <a:lnTo>
                    <a:pt x="4" y="41"/>
                  </a:lnTo>
                  <a:lnTo>
                    <a:pt x="7" y="50"/>
                  </a:lnTo>
                  <a:lnTo>
                    <a:pt x="10" y="57"/>
                  </a:lnTo>
                  <a:lnTo>
                    <a:pt x="16" y="65"/>
                  </a:lnTo>
                  <a:lnTo>
                    <a:pt x="20" y="71"/>
                  </a:lnTo>
                  <a:lnTo>
                    <a:pt x="26" y="78"/>
                  </a:lnTo>
                  <a:lnTo>
                    <a:pt x="33" y="84"/>
                  </a:lnTo>
                  <a:lnTo>
                    <a:pt x="39" y="90"/>
                  </a:lnTo>
                  <a:lnTo>
                    <a:pt x="47" y="94"/>
                  </a:lnTo>
                  <a:lnTo>
                    <a:pt x="55" y="97"/>
                  </a:lnTo>
                  <a:lnTo>
                    <a:pt x="63" y="100"/>
                  </a:lnTo>
                  <a:lnTo>
                    <a:pt x="71" y="102"/>
                  </a:lnTo>
                  <a:lnTo>
                    <a:pt x="81" y="103"/>
                  </a:lnTo>
                  <a:lnTo>
                    <a:pt x="9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20">
              <a:extLst>
                <a:ext uri="{FF2B5EF4-FFF2-40B4-BE49-F238E27FC236}">
                  <a16:creationId xmlns:a16="http://schemas.microsoft.com/office/drawing/2014/main" id="{9020F68D-26F3-4853-BA12-57481009BD32}"/>
                </a:ext>
              </a:extLst>
            </p:cNvPr>
            <p:cNvSpPr>
              <a:spLocks/>
            </p:cNvSpPr>
            <p:nvPr/>
          </p:nvSpPr>
          <p:spPr bwMode="auto">
            <a:xfrm>
              <a:off x="481013" y="4310063"/>
              <a:ext cx="57150" cy="33338"/>
            </a:xfrm>
            <a:custGeom>
              <a:avLst/>
              <a:gdLst>
                <a:gd name="T0" fmla="*/ 100 w 181"/>
                <a:gd name="T1" fmla="*/ 103 h 105"/>
                <a:gd name="T2" fmla="*/ 118 w 181"/>
                <a:gd name="T3" fmla="*/ 100 h 105"/>
                <a:gd name="T4" fmla="*/ 134 w 181"/>
                <a:gd name="T5" fmla="*/ 94 h 105"/>
                <a:gd name="T6" fmla="*/ 148 w 181"/>
                <a:gd name="T7" fmla="*/ 84 h 105"/>
                <a:gd name="T8" fmla="*/ 161 w 181"/>
                <a:gd name="T9" fmla="*/ 71 h 105"/>
                <a:gd name="T10" fmla="*/ 171 w 181"/>
                <a:gd name="T11" fmla="*/ 57 h 105"/>
                <a:gd name="T12" fmla="*/ 177 w 181"/>
                <a:gd name="T13" fmla="*/ 41 h 105"/>
                <a:gd name="T14" fmla="*/ 180 w 181"/>
                <a:gd name="T15" fmla="*/ 23 h 105"/>
                <a:gd name="T16" fmla="*/ 180 w 181"/>
                <a:gd name="T17" fmla="*/ 11 h 105"/>
                <a:gd name="T18" fmla="*/ 178 w 181"/>
                <a:gd name="T19" fmla="*/ 6 h 105"/>
                <a:gd name="T20" fmla="*/ 174 w 181"/>
                <a:gd name="T21" fmla="*/ 2 h 105"/>
                <a:gd name="T22" fmla="*/ 168 w 181"/>
                <a:gd name="T23" fmla="*/ 0 h 105"/>
                <a:gd name="T24" fmla="*/ 163 w 181"/>
                <a:gd name="T25" fmla="*/ 0 h 105"/>
                <a:gd name="T26" fmla="*/ 158 w 181"/>
                <a:gd name="T27" fmla="*/ 2 h 105"/>
                <a:gd name="T28" fmla="*/ 153 w 181"/>
                <a:gd name="T29" fmla="*/ 6 h 105"/>
                <a:gd name="T30" fmla="*/ 151 w 181"/>
                <a:gd name="T31" fmla="*/ 11 h 105"/>
                <a:gd name="T32" fmla="*/ 150 w 181"/>
                <a:gd name="T33" fmla="*/ 20 h 105"/>
                <a:gd name="T34" fmla="*/ 148 w 181"/>
                <a:gd name="T35" fmla="*/ 32 h 105"/>
                <a:gd name="T36" fmla="*/ 144 w 181"/>
                <a:gd name="T37" fmla="*/ 44 h 105"/>
                <a:gd name="T38" fmla="*/ 137 w 181"/>
                <a:gd name="T39" fmla="*/ 53 h 105"/>
                <a:gd name="T40" fmla="*/ 129 w 181"/>
                <a:gd name="T41" fmla="*/ 61 h 105"/>
                <a:gd name="T42" fmla="*/ 119 w 181"/>
                <a:gd name="T43" fmla="*/ 67 h 105"/>
                <a:gd name="T44" fmla="*/ 108 w 181"/>
                <a:gd name="T45" fmla="*/ 71 h 105"/>
                <a:gd name="T46" fmla="*/ 97 w 181"/>
                <a:gd name="T47" fmla="*/ 74 h 105"/>
                <a:gd name="T48" fmla="*/ 85 w 181"/>
                <a:gd name="T49" fmla="*/ 74 h 105"/>
                <a:gd name="T50" fmla="*/ 73 w 181"/>
                <a:gd name="T51" fmla="*/ 71 h 105"/>
                <a:gd name="T52" fmla="*/ 61 w 181"/>
                <a:gd name="T53" fmla="*/ 67 h 105"/>
                <a:gd name="T54" fmla="*/ 53 w 181"/>
                <a:gd name="T55" fmla="*/ 61 h 105"/>
                <a:gd name="T56" fmla="*/ 44 w 181"/>
                <a:gd name="T57" fmla="*/ 52 h 105"/>
                <a:gd name="T58" fmla="*/ 38 w 181"/>
                <a:gd name="T59" fmla="*/ 44 h 105"/>
                <a:gd name="T60" fmla="*/ 34 w 181"/>
                <a:gd name="T61" fmla="*/ 32 h 105"/>
                <a:gd name="T62" fmla="*/ 31 w 181"/>
                <a:gd name="T63" fmla="*/ 20 h 105"/>
                <a:gd name="T64" fmla="*/ 30 w 181"/>
                <a:gd name="T65" fmla="*/ 11 h 105"/>
                <a:gd name="T66" fmla="*/ 28 w 181"/>
                <a:gd name="T67" fmla="*/ 6 h 105"/>
                <a:gd name="T68" fmla="*/ 24 w 181"/>
                <a:gd name="T69" fmla="*/ 2 h 105"/>
                <a:gd name="T70" fmla="*/ 19 w 181"/>
                <a:gd name="T71" fmla="*/ 0 h 105"/>
                <a:gd name="T72" fmla="*/ 12 w 181"/>
                <a:gd name="T73" fmla="*/ 0 h 105"/>
                <a:gd name="T74" fmla="*/ 7 w 181"/>
                <a:gd name="T75" fmla="*/ 2 h 105"/>
                <a:gd name="T76" fmla="*/ 4 w 181"/>
                <a:gd name="T77" fmla="*/ 6 h 105"/>
                <a:gd name="T78" fmla="*/ 0 w 181"/>
                <a:gd name="T79" fmla="*/ 11 h 105"/>
                <a:gd name="T80" fmla="*/ 1 w 181"/>
                <a:gd name="T81" fmla="*/ 23 h 105"/>
                <a:gd name="T82" fmla="*/ 5 w 181"/>
                <a:gd name="T83" fmla="*/ 41 h 105"/>
                <a:gd name="T84" fmla="*/ 11 w 181"/>
                <a:gd name="T85" fmla="*/ 57 h 105"/>
                <a:gd name="T86" fmla="*/ 21 w 181"/>
                <a:gd name="T87" fmla="*/ 71 h 105"/>
                <a:gd name="T88" fmla="*/ 34 w 181"/>
                <a:gd name="T89" fmla="*/ 84 h 105"/>
                <a:gd name="T90" fmla="*/ 47 w 181"/>
                <a:gd name="T91" fmla="*/ 94 h 105"/>
                <a:gd name="T92" fmla="*/ 64 w 181"/>
                <a:gd name="T93" fmla="*/ 100 h 105"/>
                <a:gd name="T94" fmla="*/ 82 w 181"/>
                <a:gd name="T95" fmla="*/ 10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90" y="105"/>
                  </a:moveTo>
                  <a:lnTo>
                    <a:pt x="100" y="103"/>
                  </a:lnTo>
                  <a:lnTo>
                    <a:pt x="110" y="102"/>
                  </a:lnTo>
                  <a:lnTo>
                    <a:pt x="118" y="100"/>
                  </a:lnTo>
                  <a:lnTo>
                    <a:pt x="126" y="97"/>
                  </a:lnTo>
                  <a:lnTo>
                    <a:pt x="134" y="94"/>
                  </a:lnTo>
                  <a:lnTo>
                    <a:pt x="142" y="90"/>
                  </a:lnTo>
                  <a:lnTo>
                    <a:pt x="148" y="84"/>
                  </a:lnTo>
                  <a:lnTo>
                    <a:pt x="154" y="78"/>
                  </a:lnTo>
                  <a:lnTo>
                    <a:pt x="161" y="71"/>
                  </a:lnTo>
                  <a:lnTo>
                    <a:pt x="165" y="65"/>
                  </a:lnTo>
                  <a:lnTo>
                    <a:pt x="171" y="57"/>
                  </a:lnTo>
                  <a:lnTo>
                    <a:pt x="174" y="50"/>
                  </a:lnTo>
                  <a:lnTo>
                    <a:pt x="177" y="41"/>
                  </a:lnTo>
                  <a:lnTo>
                    <a:pt x="179" y="33"/>
                  </a:lnTo>
                  <a:lnTo>
                    <a:pt x="180" y="23"/>
                  </a:lnTo>
                  <a:lnTo>
                    <a:pt x="181" y="15"/>
                  </a:lnTo>
                  <a:lnTo>
                    <a:pt x="180" y="11"/>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1"/>
                  </a:lnTo>
                  <a:lnTo>
                    <a:pt x="151" y="15"/>
                  </a:lnTo>
                  <a:lnTo>
                    <a:pt x="150" y="20"/>
                  </a:lnTo>
                  <a:lnTo>
                    <a:pt x="149" y="26"/>
                  </a:lnTo>
                  <a:lnTo>
                    <a:pt x="148" y="32"/>
                  </a:lnTo>
                  <a:lnTo>
                    <a:pt x="146" y="38"/>
                  </a:lnTo>
                  <a:lnTo>
                    <a:pt x="144" y="44"/>
                  </a:lnTo>
                  <a:lnTo>
                    <a:pt x="141" y="48"/>
                  </a:lnTo>
                  <a:lnTo>
                    <a:pt x="137" y="53"/>
                  </a:lnTo>
                  <a:lnTo>
                    <a:pt x="133" y="56"/>
                  </a:lnTo>
                  <a:lnTo>
                    <a:pt x="129" y="61"/>
                  </a:lnTo>
                  <a:lnTo>
                    <a:pt x="124" y="64"/>
                  </a:lnTo>
                  <a:lnTo>
                    <a:pt x="119" y="67"/>
                  </a:lnTo>
                  <a:lnTo>
                    <a:pt x="114" y="69"/>
                  </a:lnTo>
                  <a:lnTo>
                    <a:pt x="108" y="71"/>
                  </a:lnTo>
                  <a:lnTo>
                    <a:pt x="103" y="74"/>
                  </a:lnTo>
                  <a:lnTo>
                    <a:pt x="97" y="74"/>
                  </a:lnTo>
                  <a:lnTo>
                    <a:pt x="90" y="75"/>
                  </a:lnTo>
                  <a:lnTo>
                    <a:pt x="85" y="74"/>
                  </a:lnTo>
                  <a:lnTo>
                    <a:pt x="78" y="74"/>
                  </a:lnTo>
                  <a:lnTo>
                    <a:pt x="73" y="71"/>
                  </a:lnTo>
                  <a:lnTo>
                    <a:pt x="67" y="69"/>
                  </a:lnTo>
                  <a:lnTo>
                    <a:pt x="61" y="67"/>
                  </a:lnTo>
                  <a:lnTo>
                    <a:pt x="57" y="64"/>
                  </a:lnTo>
                  <a:lnTo>
                    <a:pt x="53" y="61"/>
                  </a:lnTo>
                  <a:lnTo>
                    <a:pt x="49" y="56"/>
                  </a:lnTo>
                  <a:lnTo>
                    <a:pt x="44" y="52"/>
                  </a:lnTo>
                  <a:lnTo>
                    <a:pt x="41" y="48"/>
                  </a:lnTo>
                  <a:lnTo>
                    <a:pt x="38" y="44"/>
                  </a:lnTo>
                  <a:lnTo>
                    <a:pt x="36" y="38"/>
                  </a:lnTo>
                  <a:lnTo>
                    <a:pt x="34" y="32"/>
                  </a:lnTo>
                  <a:lnTo>
                    <a:pt x="31" y="26"/>
                  </a:lnTo>
                  <a:lnTo>
                    <a:pt x="31" y="20"/>
                  </a:lnTo>
                  <a:lnTo>
                    <a:pt x="30" y="15"/>
                  </a:lnTo>
                  <a:lnTo>
                    <a:pt x="30" y="11"/>
                  </a:lnTo>
                  <a:lnTo>
                    <a:pt x="29" y="8"/>
                  </a:lnTo>
                  <a:lnTo>
                    <a:pt x="28" y="6"/>
                  </a:lnTo>
                  <a:lnTo>
                    <a:pt x="26" y="4"/>
                  </a:lnTo>
                  <a:lnTo>
                    <a:pt x="24" y="2"/>
                  </a:lnTo>
                  <a:lnTo>
                    <a:pt x="22" y="1"/>
                  </a:lnTo>
                  <a:lnTo>
                    <a:pt x="19" y="0"/>
                  </a:lnTo>
                  <a:lnTo>
                    <a:pt x="15" y="0"/>
                  </a:lnTo>
                  <a:lnTo>
                    <a:pt x="12" y="0"/>
                  </a:lnTo>
                  <a:lnTo>
                    <a:pt x="10" y="1"/>
                  </a:lnTo>
                  <a:lnTo>
                    <a:pt x="7" y="2"/>
                  </a:lnTo>
                  <a:lnTo>
                    <a:pt x="5" y="4"/>
                  </a:lnTo>
                  <a:lnTo>
                    <a:pt x="4" y="6"/>
                  </a:lnTo>
                  <a:lnTo>
                    <a:pt x="1" y="8"/>
                  </a:lnTo>
                  <a:lnTo>
                    <a:pt x="0" y="11"/>
                  </a:lnTo>
                  <a:lnTo>
                    <a:pt x="0" y="15"/>
                  </a:lnTo>
                  <a:lnTo>
                    <a:pt x="1" y="23"/>
                  </a:lnTo>
                  <a:lnTo>
                    <a:pt x="3" y="33"/>
                  </a:lnTo>
                  <a:lnTo>
                    <a:pt x="5" y="41"/>
                  </a:lnTo>
                  <a:lnTo>
                    <a:pt x="8" y="50"/>
                  </a:lnTo>
                  <a:lnTo>
                    <a:pt x="11" y="57"/>
                  </a:lnTo>
                  <a:lnTo>
                    <a:pt x="15" y="65"/>
                  </a:lnTo>
                  <a:lnTo>
                    <a:pt x="21" y="71"/>
                  </a:lnTo>
                  <a:lnTo>
                    <a:pt x="27" y="78"/>
                  </a:lnTo>
                  <a:lnTo>
                    <a:pt x="34" y="84"/>
                  </a:lnTo>
                  <a:lnTo>
                    <a:pt x="40" y="90"/>
                  </a:lnTo>
                  <a:lnTo>
                    <a:pt x="47" y="94"/>
                  </a:lnTo>
                  <a:lnTo>
                    <a:pt x="55" y="97"/>
                  </a:lnTo>
                  <a:lnTo>
                    <a:pt x="64" y="100"/>
                  </a:lnTo>
                  <a:lnTo>
                    <a:pt x="72" y="102"/>
                  </a:lnTo>
                  <a:lnTo>
                    <a:pt x="82" y="103"/>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1" name="Group 42">
            <a:extLst>
              <a:ext uri="{FF2B5EF4-FFF2-40B4-BE49-F238E27FC236}">
                <a16:creationId xmlns:a16="http://schemas.microsoft.com/office/drawing/2014/main" id="{BA1E713E-73EC-4BF3-9AC8-D98844B0A4E8}"/>
              </a:ext>
            </a:extLst>
          </p:cNvPr>
          <p:cNvGrpSpPr>
            <a:grpSpLocks noChangeAspect="1"/>
          </p:cNvGrpSpPr>
          <p:nvPr/>
        </p:nvGrpSpPr>
        <p:grpSpPr>
          <a:xfrm>
            <a:off x="1516924" y="5417577"/>
            <a:ext cx="209454" cy="285619"/>
            <a:chOff x="2081213" y="2497138"/>
            <a:chExt cx="209550" cy="285750"/>
          </a:xfrm>
          <a:solidFill>
            <a:schemeClr val="bg1"/>
          </a:solidFill>
          <a:effectLst/>
        </p:grpSpPr>
        <p:sp>
          <p:nvSpPr>
            <p:cNvPr id="472" name="Freeform 78">
              <a:extLst>
                <a:ext uri="{FF2B5EF4-FFF2-40B4-BE49-F238E27FC236}">
                  <a16:creationId xmlns:a16="http://schemas.microsoft.com/office/drawing/2014/main" id="{881CEC1C-F49F-42F5-BD78-A9DE55C4AE62}"/>
                </a:ext>
              </a:extLst>
            </p:cNvPr>
            <p:cNvSpPr>
              <a:spLocks noEditPoints="1"/>
            </p:cNvSpPr>
            <p:nvPr/>
          </p:nvSpPr>
          <p:spPr bwMode="auto">
            <a:xfrm>
              <a:off x="2119313" y="2530475"/>
              <a:ext cx="133350" cy="133350"/>
            </a:xfrm>
            <a:custGeom>
              <a:avLst/>
              <a:gdLst>
                <a:gd name="T0" fmla="*/ 273 w 420"/>
                <a:gd name="T1" fmla="*/ 231 h 420"/>
                <a:gd name="T2" fmla="*/ 270 w 420"/>
                <a:gd name="T3" fmla="*/ 240 h 420"/>
                <a:gd name="T4" fmla="*/ 313 w 420"/>
                <a:gd name="T5" fmla="*/ 361 h 420"/>
                <a:gd name="T6" fmla="*/ 215 w 420"/>
                <a:gd name="T7" fmla="*/ 286 h 420"/>
                <a:gd name="T8" fmla="*/ 206 w 420"/>
                <a:gd name="T9" fmla="*/ 286 h 420"/>
                <a:gd name="T10" fmla="*/ 107 w 420"/>
                <a:gd name="T11" fmla="*/ 361 h 420"/>
                <a:gd name="T12" fmla="*/ 150 w 420"/>
                <a:gd name="T13" fmla="*/ 240 h 420"/>
                <a:gd name="T14" fmla="*/ 148 w 420"/>
                <a:gd name="T15" fmla="*/ 231 h 420"/>
                <a:gd name="T16" fmla="*/ 60 w 420"/>
                <a:gd name="T17" fmla="*/ 165 h 420"/>
                <a:gd name="T18" fmla="*/ 170 w 420"/>
                <a:gd name="T19" fmla="*/ 164 h 420"/>
                <a:gd name="T20" fmla="*/ 177 w 420"/>
                <a:gd name="T21" fmla="*/ 159 h 420"/>
                <a:gd name="T22" fmla="*/ 210 w 420"/>
                <a:gd name="T23" fmla="*/ 62 h 420"/>
                <a:gd name="T24" fmla="*/ 243 w 420"/>
                <a:gd name="T25" fmla="*/ 159 h 420"/>
                <a:gd name="T26" fmla="*/ 251 w 420"/>
                <a:gd name="T27" fmla="*/ 164 h 420"/>
                <a:gd name="T28" fmla="*/ 360 w 420"/>
                <a:gd name="T29" fmla="*/ 165 h 420"/>
                <a:gd name="T30" fmla="*/ 405 w 420"/>
                <a:gd name="T31" fmla="*/ 135 h 420"/>
                <a:gd name="T32" fmla="*/ 225 w 420"/>
                <a:gd name="T33" fmla="*/ 10 h 420"/>
                <a:gd name="T34" fmla="*/ 218 w 420"/>
                <a:gd name="T35" fmla="*/ 4 h 420"/>
                <a:gd name="T36" fmla="*/ 210 w 420"/>
                <a:gd name="T37" fmla="*/ 0 h 420"/>
                <a:gd name="T38" fmla="*/ 201 w 420"/>
                <a:gd name="T39" fmla="*/ 4 h 420"/>
                <a:gd name="T40" fmla="*/ 196 w 420"/>
                <a:gd name="T41" fmla="*/ 10 h 420"/>
                <a:gd name="T42" fmla="*/ 15 w 420"/>
                <a:gd name="T43" fmla="*/ 135 h 420"/>
                <a:gd name="T44" fmla="*/ 7 w 420"/>
                <a:gd name="T45" fmla="*/ 138 h 420"/>
                <a:gd name="T46" fmla="*/ 1 w 420"/>
                <a:gd name="T47" fmla="*/ 145 h 420"/>
                <a:gd name="T48" fmla="*/ 1 w 420"/>
                <a:gd name="T49" fmla="*/ 154 h 420"/>
                <a:gd name="T50" fmla="*/ 7 w 420"/>
                <a:gd name="T51" fmla="*/ 162 h 420"/>
                <a:gd name="T52" fmla="*/ 61 w 420"/>
                <a:gd name="T53" fmla="*/ 399 h 420"/>
                <a:gd name="T54" fmla="*/ 61 w 420"/>
                <a:gd name="T55" fmla="*/ 409 h 420"/>
                <a:gd name="T56" fmla="*/ 67 w 420"/>
                <a:gd name="T57" fmla="*/ 416 h 420"/>
                <a:gd name="T58" fmla="*/ 75 w 420"/>
                <a:gd name="T59" fmla="*/ 420 h 420"/>
                <a:gd name="T60" fmla="*/ 85 w 420"/>
                <a:gd name="T61" fmla="*/ 416 h 420"/>
                <a:gd name="T62" fmla="*/ 336 w 420"/>
                <a:gd name="T63" fmla="*/ 416 h 420"/>
                <a:gd name="T64" fmla="*/ 345 w 420"/>
                <a:gd name="T65" fmla="*/ 420 h 420"/>
                <a:gd name="T66" fmla="*/ 353 w 420"/>
                <a:gd name="T67" fmla="*/ 416 h 420"/>
                <a:gd name="T68" fmla="*/ 360 w 420"/>
                <a:gd name="T69" fmla="*/ 409 h 420"/>
                <a:gd name="T70" fmla="*/ 359 w 420"/>
                <a:gd name="T71" fmla="*/ 399 h 420"/>
                <a:gd name="T72" fmla="*/ 414 w 420"/>
                <a:gd name="T73" fmla="*/ 162 h 420"/>
                <a:gd name="T74" fmla="*/ 420 w 420"/>
                <a:gd name="T75" fmla="*/ 154 h 420"/>
                <a:gd name="T76" fmla="*/ 420 w 420"/>
                <a:gd name="T77" fmla="*/ 145 h 420"/>
                <a:gd name="T78" fmla="*/ 413 w 420"/>
                <a:gd name="T79" fmla="*/ 138 h 420"/>
                <a:gd name="T80" fmla="*/ 405 w 420"/>
                <a:gd name="T81" fmla="*/ 135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0" h="420">
                  <a:moveTo>
                    <a:pt x="276" y="228"/>
                  </a:moveTo>
                  <a:lnTo>
                    <a:pt x="273" y="231"/>
                  </a:lnTo>
                  <a:lnTo>
                    <a:pt x="271" y="236"/>
                  </a:lnTo>
                  <a:lnTo>
                    <a:pt x="270" y="240"/>
                  </a:lnTo>
                  <a:lnTo>
                    <a:pt x="271" y="245"/>
                  </a:lnTo>
                  <a:lnTo>
                    <a:pt x="313" y="361"/>
                  </a:lnTo>
                  <a:lnTo>
                    <a:pt x="220" y="288"/>
                  </a:lnTo>
                  <a:lnTo>
                    <a:pt x="215" y="286"/>
                  </a:lnTo>
                  <a:lnTo>
                    <a:pt x="210" y="285"/>
                  </a:lnTo>
                  <a:lnTo>
                    <a:pt x="206" y="286"/>
                  </a:lnTo>
                  <a:lnTo>
                    <a:pt x="201" y="288"/>
                  </a:lnTo>
                  <a:lnTo>
                    <a:pt x="107" y="361"/>
                  </a:lnTo>
                  <a:lnTo>
                    <a:pt x="149" y="245"/>
                  </a:lnTo>
                  <a:lnTo>
                    <a:pt x="150" y="240"/>
                  </a:lnTo>
                  <a:lnTo>
                    <a:pt x="150" y="236"/>
                  </a:lnTo>
                  <a:lnTo>
                    <a:pt x="148" y="231"/>
                  </a:lnTo>
                  <a:lnTo>
                    <a:pt x="145" y="228"/>
                  </a:lnTo>
                  <a:lnTo>
                    <a:pt x="60" y="165"/>
                  </a:lnTo>
                  <a:lnTo>
                    <a:pt x="165" y="165"/>
                  </a:lnTo>
                  <a:lnTo>
                    <a:pt x="170" y="164"/>
                  </a:lnTo>
                  <a:lnTo>
                    <a:pt x="174" y="162"/>
                  </a:lnTo>
                  <a:lnTo>
                    <a:pt x="177" y="159"/>
                  </a:lnTo>
                  <a:lnTo>
                    <a:pt x="179" y="154"/>
                  </a:lnTo>
                  <a:lnTo>
                    <a:pt x="210" y="62"/>
                  </a:lnTo>
                  <a:lnTo>
                    <a:pt x="241" y="154"/>
                  </a:lnTo>
                  <a:lnTo>
                    <a:pt x="243" y="159"/>
                  </a:lnTo>
                  <a:lnTo>
                    <a:pt x="246" y="162"/>
                  </a:lnTo>
                  <a:lnTo>
                    <a:pt x="251" y="164"/>
                  </a:lnTo>
                  <a:lnTo>
                    <a:pt x="255" y="165"/>
                  </a:lnTo>
                  <a:lnTo>
                    <a:pt x="360" y="165"/>
                  </a:lnTo>
                  <a:lnTo>
                    <a:pt x="276" y="228"/>
                  </a:lnTo>
                  <a:close/>
                  <a:moveTo>
                    <a:pt x="405" y="135"/>
                  </a:moveTo>
                  <a:lnTo>
                    <a:pt x="266" y="135"/>
                  </a:lnTo>
                  <a:lnTo>
                    <a:pt x="225" y="10"/>
                  </a:lnTo>
                  <a:lnTo>
                    <a:pt x="222" y="6"/>
                  </a:lnTo>
                  <a:lnTo>
                    <a:pt x="218" y="4"/>
                  </a:lnTo>
                  <a:lnTo>
                    <a:pt x="215" y="1"/>
                  </a:lnTo>
                  <a:lnTo>
                    <a:pt x="210" y="0"/>
                  </a:lnTo>
                  <a:lnTo>
                    <a:pt x="206" y="1"/>
                  </a:lnTo>
                  <a:lnTo>
                    <a:pt x="201" y="4"/>
                  </a:lnTo>
                  <a:lnTo>
                    <a:pt x="198" y="7"/>
                  </a:lnTo>
                  <a:lnTo>
                    <a:pt x="196" y="10"/>
                  </a:lnTo>
                  <a:lnTo>
                    <a:pt x="154" y="135"/>
                  </a:lnTo>
                  <a:lnTo>
                    <a:pt x="15" y="135"/>
                  </a:lnTo>
                  <a:lnTo>
                    <a:pt x="11" y="136"/>
                  </a:lnTo>
                  <a:lnTo>
                    <a:pt x="7" y="138"/>
                  </a:lnTo>
                  <a:lnTo>
                    <a:pt x="3" y="142"/>
                  </a:lnTo>
                  <a:lnTo>
                    <a:pt x="1" y="145"/>
                  </a:lnTo>
                  <a:lnTo>
                    <a:pt x="0" y="150"/>
                  </a:lnTo>
                  <a:lnTo>
                    <a:pt x="1" y="154"/>
                  </a:lnTo>
                  <a:lnTo>
                    <a:pt x="3" y="159"/>
                  </a:lnTo>
                  <a:lnTo>
                    <a:pt x="7" y="162"/>
                  </a:lnTo>
                  <a:lnTo>
                    <a:pt x="118" y="245"/>
                  </a:lnTo>
                  <a:lnTo>
                    <a:pt x="61" y="399"/>
                  </a:lnTo>
                  <a:lnTo>
                    <a:pt x="60" y="405"/>
                  </a:lnTo>
                  <a:lnTo>
                    <a:pt x="61" y="409"/>
                  </a:lnTo>
                  <a:lnTo>
                    <a:pt x="63" y="413"/>
                  </a:lnTo>
                  <a:lnTo>
                    <a:pt x="67" y="416"/>
                  </a:lnTo>
                  <a:lnTo>
                    <a:pt x="71" y="419"/>
                  </a:lnTo>
                  <a:lnTo>
                    <a:pt x="75" y="420"/>
                  </a:lnTo>
                  <a:lnTo>
                    <a:pt x="80" y="419"/>
                  </a:lnTo>
                  <a:lnTo>
                    <a:pt x="85" y="416"/>
                  </a:lnTo>
                  <a:lnTo>
                    <a:pt x="210" y="319"/>
                  </a:lnTo>
                  <a:lnTo>
                    <a:pt x="336" y="416"/>
                  </a:lnTo>
                  <a:lnTo>
                    <a:pt x="340" y="419"/>
                  </a:lnTo>
                  <a:lnTo>
                    <a:pt x="345" y="420"/>
                  </a:lnTo>
                  <a:lnTo>
                    <a:pt x="349" y="419"/>
                  </a:lnTo>
                  <a:lnTo>
                    <a:pt x="353" y="416"/>
                  </a:lnTo>
                  <a:lnTo>
                    <a:pt x="358" y="413"/>
                  </a:lnTo>
                  <a:lnTo>
                    <a:pt x="360" y="409"/>
                  </a:lnTo>
                  <a:lnTo>
                    <a:pt x="360" y="405"/>
                  </a:lnTo>
                  <a:lnTo>
                    <a:pt x="359" y="399"/>
                  </a:lnTo>
                  <a:lnTo>
                    <a:pt x="303" y="245"/>
                  </a:lnTo>
                  <a:lnTo>
                    <a:pt x="414" y="162"/>
                  </a:lnTo>
                  <a:lnTo>
                    <a:pt x="418" y="159"/>
                  </a:lnTo>
                  <a:lnTo>
                    <a:pt x="420" y="154"/>
                  </a:lnTo>
                  <a:lnTo>
                    <a:pt x="420" y="150"/>
                  </a:lnTo>
                  <a:lnTo>
                    <a:pt x="420" y="145"/>
                  </a:lnTo>
                  <a:lnTo>
                    <a:pt x="416" y="142"/>
                  </a:lnTo>
                  <a:lnTo>
                    <a:pt x="413" y="138"/>
                  </a:lnTo>
                  <a:lnTo>
                    <a:pt x="410" y="136"/>
                  </a:lnTo>
                  <a:lnTo>
                    <a:pt x="405"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3" name="Freeform 79">
              <a:extLst>
                <a:ext uri="{FF2B5EF4-FFF2-40B4-BE49-F238E27FC236}">
                  <a16:creationId xmlns:a16="http://schemas.microsoft.com/office/drawing/2014/main" id="{14CA5F3D-DC2C-4752-A8C8-EFAFDAE102DE}"/>
                </a:ext>
              </a:extLst>
            </p:cNvPr>
            <p:cNvSpPr>
              <a:spLocks noEditPoints="1"/>
            </p:cNvSpPr>
            <p:nvPr/>
          </p:nvSpPr>
          <p:spPr bwMode="auto">
            <a:xfrm>
              <a:off x="2081213" y="2497138"/>
              <a:ext cx="209550" cy="285750"/>
            </a:xfrm>
            <a:custGeom>
              <a:avLst/>
              <a:gdLst>
                <a:gd name="T0" fmla="*/ 388 w 659"/>
                <a:gd name="T1" fmla="*/ 627 h 898"/>
                <a:gd name="T2" fmla="*/ 272 w 659"/>
                <a:gd name="T3" fmla="*/ 627 h 898"/>
                <a:gd name="T4" fmla="*/ 250 w 659"/>
                <a:gd name="T5" fmla="*/ 618 h 898"/>
                <a:gd name="T6" fmla="*/ 191 w 659"/>
                <a:gd name="T7" fmla="*/ 594 h 898"/>
                <a:gd name="T8" fmla="*/ 112 w 659"/>
                <a:gd name="T9" fmla="*/ 534 h 898"/>
                <a:gd name="T10" fmla="*/ 57 w 659"/>
                <a:gd name="T11" fmla="*/ 452 h 898"/>
                <a:gd name="T12" fmla="*/ 32 w 659"/>
                <a:gd name="T13" fmla="*/ 367 h 898"/>
                <a:gd name="T14" fmla="*/ 31 w 659"/>
                <a:gd name="T15" fmla="*/ 314 h 898"/>
                <a:gd name="T16" fmla="*/ 40 w 659"/>
                <a:gd name="T17" fmla="*/ 254 h 898"/>
                <a:gd name="T18" fmla="*/ 60 w 659"/>
                <a:gd name="T19" fmla="*/ 200 h 898"/>
                <a:gd name="T20" fmla="*/ 90 w 659"/>
                <a:gd name="T21" fmla="*/ 149 h 898"/>
                <a:gd name="T22" fmla="*/ 129 w 659"/>
                <a:gd name="T23" fmla="*/ 108 h 898"/>
                <a:gd name="T24" fmla="*/ 175 w 659"/>
                <a:gd name="T25" fmla="*/ 73 h 898"/>
                <a:gd name="T26" fmla="*/ 227 w 659"/>
                <a:gd name="T27" fmla="*/ 48 h 898"/>
                <a:gd name="T28" fmla="*/ 285 w 659"/>
                <a:gd name="T29" fmla="*/ 33 h 898"/>
                <a:gd name="T30" fmla="*/ 346 w 659"/>
                <a:gd name="T31" fmla="*/ 29 h 898"/>
                <a:gd name="T32" fmla="*/ 405 w 659"/>
                <a:gd name="T33" fmla="*/ 39 h 898"/>
                <a:gd name="T34" fmla="*/ 460 w 659"/>
                <a:gd name="T35" fmla="*/ 59 h 898"/>
                <a:gd name="T36" fmla="*/ 510 w 659"/>
                <a:gd name="T37" fmla="*/ 89 h 898"/>
                <a:gd name="T38" fmla="*/ 551 w 659"/>
                <a:gd name="T39" fmla="*/ 128 h 898"/>
                <a:gd name="T40" fmla="*/ 587 w 659"/>
                <a:gd name="T41" fmla="*/ 174 h 898"/>
                <a:gd name="T42" fmla="*/ 611 w 659"/>
                <a:gd name="T43" fmla="*/ 226 h 898"/>
                <a:gd name="T44" fmla="*/ 626 w 659"/>
                <a:gd name="T45" fmla="*/ 283 h 898"/>
                <a:gd name="T46" fmla="*/ 630 w 659"/>
                <a:gd name="T47" fmla="*/ 342 h 898"/>
                <a:gd name="T48" fmla="*/ 620 w 659"/>
                <a:gd name="T49" fmla="*/ 405 h 898"/>
                <a:gd name="T50" fmla="*/ 579 w 659"/>
                <a:gd name="T51" fmla="*/ 496 h 898"/>
                <a:gd name="T52" fmla="*/ 512 w 659"/>
                <a:gd name="T53" fmla="*/ 567 h 898"/>
                <a:gd name="T54" fmla="*/ 435 w 659"/>
                <a:gd name="T55" fmla="*/ 609 h 898"/>
                <a:gd name="T56" fmla="*/ 330 w 659"/>
                <a:gd name="T57" fmla="*/ 0 h 898"/>
                <a:gd name="T58" fmla="*/ 264 w 659"/>
                <a:gd name="T59" fmla="*/ 6 h 898"/>
                <a:gd name="T60" fmla="*/ 202 w 659"/>
                <a:gd name="T61" fmla="*/ 25 h 898"/>
                <a:gd name="T62" fmla="*/ 146 w 659"/>
                <a:gd name="T63" fmla="*/ 56 h 898"/>
                <a:gd name="T64" fmla="*/ 97 w 659"/>
                <a:gd name="T65" fmla="*/ 96 h 898"/>
                <a:gd name="T66" fmla="*/ 57 w 659"/>
                <a:gd name="T67" fmla="*/ 145 h 898"/>
                <a:gd name="T68" fmla="*/ 26 w 659"/>
                <a:gd name="T69" fmla="*/ 201 h 898"/>
                <a:gd name="T70" fmla="*/ 7 w 659"/>
                <a:gd name="T71" fmla="*/ 263 h 898"/>
                <a:gd name="T72" fmla="*/ 0 w 659"/>
                <a:gd name="T73" fmla="*/ 329 h 898"/>
                <a:gd name="T74" fmla="*/ 5 w 659"/>
                <a:gd name="T75" fmla="*/ 385 h 898"/>
                <a:gd name="T76" fmla="*/ 19 w 659"/>
                <a:gd name="T77" fmla="*/ 437 h 898"/>
                <a:gd name="T78" fmla="*/ 40 w 659"/>
                <a:gd name="T79" fmla="*/ 486 h 898"/>
                <a:gd name="T80" fmla="*/ 69 w 659"/>
                <a:gd name="T81" fmla="*/ 531 h 898"/>
                <a:gd name="T82" fmla="*/ 105 w 659"/>
                <a:gd name="T83" fmla="*/ 570 h 898"/>
                <a:gd name="T84" fmla="*/ 147 w 659"/>
                <a:gd name="T85" fmla="*/ 603 h 898"/>
                <a:gd name="T86" fmla="*/ 195 w 659"/>
                <a:gd name="T87" fmla="*/ 630 h 898"/>
                <a:gd name="T88" fmla="*/ 248 w 659"/>
                <a:gd name="T89" fmla="*/ 648 h 898"/>
                <a:gd name="T90" fmla="*/ 326 w 659"/>
                <a:gd name="T91" fmla="*/ 897 h 898"/>
                <a:gd name="T92" fmla="*/ 343 w 659"/>
                <a:gd name="T93" fmla="*/ 892 h 898"/>
                <a:gd name="T94" fmla="*/ 440 w 659"/>
                <a:gd name="T95" fmla="*/ 639 h 898"/>
                <a:gd name="T96" fmla="*/ 490 w 659"/>
                <a:gd name="T97" fmla="*/ 617 h 898"/>
                <a:gd name="T98" fmla="*/ 534 w 659"/>
                <a:gd name="T99" fmla="*/ 588 h 898"/>
                <a:gd name="T100" fmla="*/ 574 w 659"/>
                <a:gd name="T101" fmla="*/ 551 h 898"/>
                <a:gd name="T102" fmla="*/ 606 w 659"/>
                <a:gd name="T103" fmla="*/ 509 h 898"/>
                <a:gd name="T104" fmla="*/ 632 w 659"/>
                <a:gd name="T105" fmla="*/ 463 h 898"/>
                <a:gd name="T106" fmla="*/ 650 w 659"/>
                <a:gd name="T107" fmla="*/ 411 h 898"/>
                <a:gd name="T108" fmla="*/ 658 w 659"/>
                <a:gd name="T109" fmla="*/ 357 h 898"/>
                <a:gd name="T110" fmla="*/ 658 w 659"/>
                <a:gd name="T111" fmla="*/ 295 h 898"/>
                <a:gd name="T112" fmla="*/ 645 w 659"/>
                <a:gd name="T113" fmla="*/ 231 h 898"/>
                <a:gd name="T114" fmla="*/ 620 w 659"/>
                <a:gd name="T115" fmla="*/ 172 h 898"/>
                <a:gd name="T116" fmla="*/ 585 w 659"/>
                <a:gd name="T117" fmla="*/ 119 h 898"/>
                <a:gd name="T118" fmla="*/ 540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1" y="624"/>
                  </a:lnTo>
                  <a:lnTo>
                    <a:pt x="388" y="627"/>
                  </a:lnTo>
                  <a:lnTo>
                    <a:pt x="387" y="631"/>
                  </a:lnTo>
                  <a:lnTo>
                    <a:pt x="330" y="828"/>
                  </a:lnTo>
                  <a:lnTo>
                    <a:pt x="273" y="631"/>
                  </a:lnTo>
                  <a:lnTo>
                    <a:pt x="272" y="627"/>
                  </a:lnTo>
                  <a:lnTo>
                    <a:pt x="270" y="624"/>
                  </a:lnTo>
                  <a:lnTo>
                    <a:pt x="267" y="622"/>
                  </a:lnTo>
                  <a:lnTo>
                    <a:pt x="263" y="621"/>
                  </a:lnTo>
                  <a:lnTo>
                    <a:pt x="250" y="618"/>
                  </a:lnTo>
                  <a:lnTo>
                    <a:pt x="238" y="613"/>
                  </a:lnTo>
                  <a:lnTo>
                    <a:pt x="225" y="609"/>
                  </a:lnTo>
                  <a:lnTo>
                    <a:pt x="213" y="605"/>
                  </a:lnTo>
                  <a:lnTo>
                    <a:pt x="191" y="594"/>
                  </a:lnTo>
                  <a:lnTo>
                    <a:pt x="168" y="581"/>
                  </a:lnTo>
                  <a:lnTo>
                    <a:pt x="148" y="567"/>
                  </a:lnTo>
                  <a:lnTo>
                    <a:pt x="129" y="551"/>
                  </a:lnTo>
                  <a:lnTo>
                    <a:pt x="112" y="534"/>
                  </a:lnTo>
                  <a:lnTo>
                    <a:pt x="96" y="515"/>
                  </a:lnTo>
                  <a:lnTo>
                    <a:pt x="81" y="496"/>
                  </a:lnTo>
                  <a:lnTo>
                    <a:pt x="68" y="474"/>
                  </a:lnTo>
                  <a:lnTo>
                    <a:pt x="57" y="452"/>
                  </a:lnTo>
                  <a:lnTo>
                    <a:pt x="47" y="430"/>
                  </a:lnTo>
                  <a:lnTo>
                    <a:pt x="40" y="405"/>
                  </a:lnTo>
                  <a:lnTo>
                    <a:pt x="35" y="380"/>
                  </a:lnTo>
                  <a:lnTo>
                    <a:pt x="32" y="367"/>
                  </a:lnTo>
                  <a:lnTo>
                    <a:pt x="31" y="355"/>
                  </a:lnTo>
                  <a:lnTo>
                    <a:pt x="30" y="342"/>
                  </a:lnTo>
                  <a:lnTo>
                    <a:pt x="30" y="329"/>
                  </a:lnTo>
                  <a:lnTo>
                    <a:pt x="31" y="314"/>
                  </a:lnTo>
                  <a:lnTo>
                    <a:pt x="32" y="298"/>
                  </a:lnTo>
                  <a:lnTo>
                    <a:pt x="34" y="283"/>
                  </a:lnTo>
                  <a:lnTo>
                    <a:pt x="37" y="269"/>
                  </a:lnTo>
                  <a:lnTo>
                    <a:pt x="40" y="254"/>
                  </a:lnTo>
                  <a:lnTo>
                    <a:pt x="44" y="240"/>
                  </a:lnTo>
                  <a:lnTo>
                    <a:pt x="49" y="226"/>
                  </a:lnTo>
                  <a:lnTo>
                    <a:pt x="54" y="212"/>
                  </a:lnTo>
                  <a:lnTo>
                    <a:pt x="60" y="200"/>
                  </a:lnTo>
                  <a:lnTo>
                    <a:pt x="67" y="187"/>
                  </a:lnTo>
                  <a:lnTo>
                    <a:pt x="74" y="174"/>
                  </a:lnTo>
                  <a:lnTo>
                    <a:pt x="82" y="161"/>
                  </a:lnTo>
                  <a:lnTo>
                    <a:pt x="90" y="149"/>
                  </a:lnTo>
                  <a:lnTo>
                    <a:pt x="99" y="139"/>
                  </a:lnTo>
                  <a:lnTo>
                    <a:pt x="108" y="128"/>
                  </a:lnTo>
                  <a:lnTo>
                    <a:pt x="118" y="117"/>
                  </a:lnTo>
                  <a:lnTo>
                    <a:pt x="129" y="108"/>
                  </a:lnTo>
                  <a:lnTo>
                    <a:pt x="139" y="98"/>
                  </a:lnTo>
                  <a:lnTo>
                    <a:pt x="151" y="89"/>
                  </a:lnTo>
                  <a:lnTo>
                    <a:pt x="163" y="81"/>
                  </a:lnTo>
                  <a:lnTo>
                    <a:pt x="175" y="73"/>
                  </a:lnTo>
                  <a:lnTo>
                    <a:pt x="188" y="66"/>
                  </a:lnTo>
                  <a:lnTo>
                    <a:pt x="200" y="59"/>
                  </a:lnTo>
                  <a:lnTo>
                    <a:pt x="213" y="53"/>
                  </a:lnTo>
                  <a:lnTo>
                    <a:pt x="227" y="48"/>
                  </a:lnTo>
                  <a:lnTo>
                    <a:pt x="241" y="43"/>
                  </a:lnTo>
                  <a:lnTo>
                    <a:pt x="255" y="39"/>
                  </a:lnTo>
                  <a:lnTo>
                    <a:pt x="270" y="36"/>
                  </a:lnTo>
                  <a:lnTo>
                    <a:pt x="285" y="33"/>
                  </a:lnTo>
                  <a:lnTo>
                    <a:pt x="300" y="31"/>
                  </a:lnTo>
                  <a:lnTo>
                    <a:pt x="315" y="29"/>
                  </a:lnTo>
                  <a:lnTo>
                    <a:pt x="330" y="29"/>
                  </a:lnTo>
                  <a:lnTo>
                    <a:pt x="346" y="29"/>
                  </a:lnTo>
                  <a:lnTo>
                    <a:pt x="361" y="31"/>
                  </a:lnTo>
                  <a:lnTo>
                    <a:pt x="376" y="33"/>
                  </a:lnTo>
                  <a:lnTo>
                    <a:pt x="391" y="36"/>
                  </a:lnTo>
                  <a:lnTo>
                    <a:pt x="405" y="39"/>
                  </a:lnTo>
                  <a:lnTo>
                    <a:pt x="419" y="43"/>
                  </a:lnTo>
                  <a:lnTo>
                    <a:pt x="433" y="48"/>
                  </a:lnTo>
                  <a:lnTo>
                    <a:pt x="447" y="53"/>
                  </a:lnTo>
                  <a:lnTo>
                    <a:pt x="460" y="59"/>
                  </a:lnTo>
                  <a:lnTo>
                    <a:pt x="473" y="66"/>
                  </a:lnTo>
                  <a:lnTo>
                    <a:pt x="485" y="72"/>
                  </a:lnTo>
                  <a:lnTo>
                    <a:pt x="498" y="81"/>
                  </a:lnTo>
                  <a:lnTo>
                    <a:pt x="510" y="89"/>
                  </a:lnTo>
                  <a:lnTo>
                    <a:pt x="520" y="98"/>
                  </a:lnTo>
                  <a:lnTo>
                    <a:pt x="531" y="108"/>
                  </a:lnTo>
                  <a:lnTo>
                    <a:pt x="542" y="117"/>
                  </a:lnTo>
                  <a:lnTo>
                    <a:pt x="551" y="128"/>
                  </a:lnTo>
                  <a:lnTo>
                    <a:pt x="561" y="139"/>
                  </a:lnTo>
                  <a:lnTo>
                    <a:pt x="571" y="149"/>
                  </a:lnTo>
                  <a:lnTo>
                    <a:pt x="578" y="161"/>
                  </a:lnTo>
                  <a:lnTo>
                    <a:pt x="587" y="174"/>
                  </a:lnTo>
                  <a:lnTo>
                    <a:pt x="593" y="187"/>
                  </a:lnTo>
                  <a:lnTo>
                    <a:pt x="601" y="200"/>
                  </a:lnTo>
                  <a:lnTo>
                    <a:pt x="606" y="212"/>
                  </a:lnTo>
                  <a:lnTo>
                    <a:pt x="611" y="226"/>
                  </a:lnTo>
                  <a:lnTo>
                    <a:pt x="617" y="240"/>
                  </a:lnTo>
                  <a:lnTo>
                    <a:pt x="620" y="254"/>
                  </a:lnTo>
                  <a:lnTo>
                    <a:pt x="624" y="269"/>
                  </a:lnTo>
                  <a:lnTo>
                    <a:pt x="626" y="283"/>
                  </a:lnTo>
                  <a:lnTo>
                    <a:pt x="628" y="298"/>
                  </a:lnTo>
                  <a:lnTo>
                    <a:pt x="630" y="314"/>
                  </a:lnTo>
                  <a:lnTo>
                    <a:pt x="630" y="329"/>
                  </a:lnTo>
                  <a:lnTo>
                    <a:pt x="630" y="342"/>
                  </a:lnTo>
                  <a:lnTo>
                    <a:pt x="628" y="355"/>
                  </a:lnTo>
                  <a:lnTo>
                    <a:pt x="627" y="367"/>
                  </a:lnTo>
                  <a:lnTo>
                    <a:pt x="625" y="380"/>
                  </a:lnTo>
                  <a:lnTo>
                    <a:pt x="620" y="405"/>
                  </a:lnTo>
                  <a:lnTo>
                    <a:pt x="612" y="430"/>
                  </a:lnTo>
                  <a:lnTo>
                    <a:pt x="604" y="452"/>
                  </a:lnTo>
                  <a:lnTo>
                    <a:pt x="592" y="474"/>
                  </a:lnTo>
                  <a:lnTo>
                    <a:pt x="579" y="496"/>
                  </a:lnTo>
                  <a:lnTo>
                    <a:pt x="565" y="515"/>
                  </a:lnTo>
                  <a:lnTo>
                    <a:pt x="549" y="534"/>
                  </a:lnTo>
                  <a:lnTo>
                    <a:pt x="531" y="551"/>
                  </a:lnTo>
                  <a:lnTo>
                    <a:pt x="512" y="567"/>
                  </a:lnTo>
                  <a:lnTo>
                    <a:pt x="492" y="581"/>
                  </a:lnTo>
                  <a:lnTo>
                    <a:pt x="470" y="594"/>
                  </a:lnTo>
                  <a:lnTo>
                    <a:pt x="447" y="605"/>
                  </a:lnTo>
                  <a:lnTo>
                    <a:pt x="435" y="609"/>
                  </a:lnTo>
                  <a:lnTo>
                    <a:pt x="423" y="613"/>
                  </a:lnTo>
                  <a:lnTo>
                    <a:pt x="410" y="618"/>
                  </a:lnTo>
                  <a:lnTo>
                    <a:pt x="397" y="621"/>
                  </a:lnTo>
                  <a:close/>
                  <a:moveTo>
                    <a:pt x="330" y="0"/>
                  </a:moveTo>
                  <a:lnTo>
                    <a:pt x="313" y="0"/>
                  </a:lnTo>
                  <a:lnTo>
                    <a:pt x="297" y="1"/>
                  </a:lnTo>
                  <a:lnTo>
                    <a:pt x="280" y="3"/>
                  </a:lnTo>
                  <a:lnTo>
                    <a:pt x="264" y="6"/>
                  </a:lnTo>
                  <a:lnTo>
                    <a:pt x="248" y="10"/>
                  </a:lnTo>
                  <a:lnTo>
                    <a:pt x="233" y="15"/>
                  </a:lnTo>
                  <a:lnTo>
                    <a:pt x="217" y="20"/>
                  </a:lnTo>
                  <a:lnTo>
                    <a:pt x="202" y="25"/>
                  </a:lnTo>
                  <a:lnTo>
                    <a:pt x="188" y="32"/>
                  </a:lnTo>
                  <a:lnTo>
                    <a:pt x="174" y="39"/>
                  </a:lnTo>
                  <a:lnTo>
                    <a:pt x="160" y="48"/>
                  </a:lnTo>
                  <a:lnTo>
                    <a:pt x="146" y="56"/>
                  </a:lnTo>
                  <a:lnTo>
                    <a:pt x="133" y="65"/>
                  </a:lnTo>
                  <a:lnTo>
                    <a:pt x="120" y="74"/>
                  </a:lnTo>
                  <a:lnTo>
                    <a:pt x="108" y="85"/>
                  </a:lnTo>
                  <a:lnTo>
                    <a:pt x="97" y="96"/>
                  </a:lnTo>
                  <a:lnTo>
                    <a:pt x="86" y="108"/>
                  </a:lnTo>
                  <a:lnTo>
                    <a:pt x="76" y="119"/>
                  </a:lnTo>
                  <a:lnTo>
                    <a:pt x="66" y="132"/>
                  </a:lnTo>
                  <a:lnTo>
                    <a:pt x="57" y="145"/>
                  </a:lnTo>
                  <a:lnTo>
                    <a:pt x="49" y="158"/>
                  </a:lnTo>
                  <a:lnTo>
                    <a:pt x="40" y="172"/>
                  </a:lnTo>
                  <a:lnTo>
                    <a:pt x="34" y="187"/>
                  </a:lnTo>
                  <a:lnTo>
                    <a:pt x="26" y="201"/>
                  </a:lnTo>
                  <a:lnTo>
                    <a:pt x="21" y="216"/>
                  </a:lnTo>
                  <a:lnTo>
                    <a:pt x="15" y="231"/>
                  </a:lnTo>
                  <a:lnTo>
                    <a:pt x="11" y="247"/>
                  </a:lnTo>
                  <a:lnTo>
                    <a:pt x="7" y="263"/>
                  </a:lnTo>
                  <a:lnTo>
                    <a:pt x="5" y="279"/>
                  </a:lnTo>
                  <a:lnTo>
                    <a:pt x="3" y="296"/>
                  </a:lnTo>
                  <a:lnTo>
                    <a:pt x="1" y="312"/>
                  </a:lnTo>
                  <a:lnTo>
                    <a:pt x="0" y="329"/>
                  </a:lnTo>
                  <a:lnTo>
                    <a:pt x="0" y="343"/>
                  </a:lnTo>
                  <a:lnTo>
                    <a:pt x="1" y="357"/>
                  </a:lnTo>
                  <a:lnTo>
                    <a:pt x="4" y="371"/>
                  </a:lnTo>
                  <a:lnTo>
                    <a:pt x="5" y="385"/>
                  </a:lnTo>
                  <a:lnTo>
                    <a:pt x="8" y="397"/>
                  </a:lnTo>
                  <a:lnTo>
                    <a:pt x="11" y="411"/>
                  </a:lnTo>
                  <a:lnTo>
                    <a:pt x="14" y="424"/>
                  </a:lnTo>
                  <a:lnTo>
                    <a:pt x="19" y="437"/>
                  </a:lnTo>
                  <a:lnTo>
                    <a:pt x="23" y="450"/>
                  </a:lnTo>
                  <a:lnTo>
                    <a:pt x="28" y="463"/>
                  </a:lnTo>
                  <a:lnTo>
                    <a:pt x="34" y="474"/>
                  </a:lnTo>
                  <a:lnTo>
                    <a:pt x="40" y="486"/>
                  </a:lnTo>
                  <a:lnTo>
                    <a:pt x="46" y="498"/>
                  </a:lnTo>
                  <a:lnTo>
                    <a:pt x="54" y="509"/>
                  </a:lnTo>
                  <a:lnTo>
                    <a:pt x="61" y="520"/>
                  </a:lnTo>
                  <a:lnTo>
                    <a:pt x="69" y="531"/>
                  </a:lnTo>
                  <a:lnTo>
                    <a:pt x="77" y="541"/>
                  </a:lnTo>
                  <a:lnTo>
                    <a:pt x="86" y="551"/>
                  </a:lnTo>
                  <a:lnTo>
                    <a:pt x="96" y="561"/>
                  </a:lnTo>
                  <a:lnTo>
                    <a:pt x="105" y="570"/>
                  </a:lnTo>
                  <a:lnTo>
                    <a:pt x="115" y="579"/>
                  </a:lnTo>
                  <a:lnTo>
                    <a:pt x="126" y="588"/>
                  </a:lnTo>
                  <a:lnTo>
                    <a:pt x="136" y="595"/>
                  </a:lnTo>
                  <a:lnTo>
                    <a:pt x="147" y="603"/>
                  </a:lnTo>
                  <a:lnTo>
                    <a:pt x="159" y="610"/>
                  </a:lnTo>
                  <a:lnTo>
                    <a:pt x="171" y="617"/>
                  </a:lnTo>
                  <a:lnTo>
                    <a:pt x="182" y="623"/>
                  </a:lnTo>
                  <a:lnTo>
                    <a:pt x="195" y="630"/>
                  </a:lnTo>
                  <a:lnTo>
                    <a:pt x="208" y="635"/>
                  </a:lnTo>
                  <a:lnTo>
                    <a:pt x="221" y="639"/>
                  </a:lnTo>
                  <a:lnTo>
                    <a:pt x="234" y="643"/>
                  </a:lnTo>
                  <a:lnTo>
                    <a:pt x="248" y="648"/>
                  </a:lnTo>
                  <a:lnTo>
                    <a:pt x="316" y="887"/>
                  </a:lnTo>
                  <a:lnTo>
                    <a:pt x="318" y="892"/>
                  </a:lnTo>
                  <a:lnTo>
                    <a:pt x="321" y="895"/>
                  </a:lnTo>
                  <a:lnTo>
                    <a:pt x="326" y="897"/>
                  </a:lnTo>
                  <a:lnTo>
                    <a:pt x="330" y="898"/>
                  </a:lnTo>
                  <a:lnTo>
                    <a:pt x="335" y="897"/>
                  </a:lnTo>
                  <a:lnTo>
                    <a:pt x="340" y="895"/>
                  </a:lnTo>
                  <a:lnTo>
                    <a:pt x="343" y="892"/>
                  </a:lnTo>
                  <a:lnTo>
                    <a:pt x="345" y="887"/>
                  </a:lnTo>
                  <a:lnTo>
                    <a:pt x="413" y="648"/>
                  </a:lnTo>
                  <a:lnTo>
                    <a:pt x="426" y="643"/>
                  </a:lnTo>
                  <a:lnTo>
                    <a:pt x="440" y="639"/>
                  </a:lnTo>
                  <a:lnTo>
                    <a:pt x="453" y="635"/>
                  </a:lnTo>
                  <a:lnTo>
                    <a:pt x="466" y="630"/>
                  </a:lnTo>
                  <a:lnTo>
                    <a:pt x="478" y="623"/>
                  </a:lnTo>
                  <a:lnTo>
                    <a:pt x="490" y="617"/>
                  </a:lnTo>
                  <a:lnTo>
                    <a:pt x="501" y="610"/>
                  </a:lnTo>
                  <a:lnTo>
                    <a:pt x="513" y="603"/>
                  </a:lnTo>
                  <a:lnTo>
                    <a:pt x="524" y="595"/>
                  </a:lnTo>
                  <a:lnTo>
                    <a:pt x="534" y="588"/>
                  </a:lnTo>
                  <a:lnTo>
                    <a:pt x="545" y="579"/>
                  </a:lnTo>
                  <a:lnTo>
                    <a:pt x="555" y="570"/>
                  </a:lnTo>
                  <a:lnTo>
                    <a:pt x="564" y="561"/>
                  </a:lnTo>
                  <a:lnTo>
                    <a:pt x="574" y="551"/>
                  </a:lnTo>
                  <a:lnTo>
                    <a:pt x="582" y="541"/>
                  </a:lnTo>
                  <a:lnTo>
                    <a:pt x="591" y="531"/>
                  </a:lnTo>
                  <a:lnTo>
                    <a:pt x="599" y="520"/>
                  </a:lnTo>
                  <a:lnTo>
                    <a:pt x="606" y="509"/>
                  </a:lnTo>
                  <a:lnTo>
                    <a:pt x="613" y="498"/>
                  </a:lnTo>
                  <a:lnTo>
                    <a:pt x="620" y="486"/>
                  </a:lnTo>
                  <a:lnTo>
                    <a:pt x="626" y="474"/>
                  </a:lnTo>
                  <a:lnTo>
                    <a:pt x="632" y="463"/>
                  </a:lnTo>
                  <a:lnTo>
                    <a:pt x="637" y="450"/>
                  </a:lnTo>
                  <a:lnTo>
                    <a:pt x="641" y="437"/>
                  </a:lnTo>
                  <a:lnTo>
                    <a:pt x="646" y="424"/>
                  </a:lnTo>
                  <a:lnTo>
                    <a:pt x="650" y="411"/>
                  </a:lnTo>
                  <a:lnTo>
                    <a:pt x="653" y="399"/>
                  </a:lnTo>
                  <a:lnTo>
                    <a:pt x="655" y="385"/>
                  </a:lnTo>
                  <a:lnTo>
                    <a:pt x="657" y="371"/>
                  </a:lnTo>
                  <a:lnTo>
                    <a:pt x="658" y="357"/>
                  </a:lnTo>
                  <a:lnTo>
                    <a:pt x="659" y="343"/>
                  </a:lnTo>
                  <a:lnTo>
                    <a:pt x="659" y="329"/>
                  </a:lnTo>
                  <a:lnTo>
                    <a:pt x="659" y="312"/>
                  </a:lnTo>
                  <a:lnTo>
                    <a:pt x="658" y="295"/>
                  </a:lnTo>
                  <a:lnTo>
                    <a:pt x="656" y="279"/>
                  </a:lnTo>
                  <a:lnTo>
                    <a:pt x="653" y="263"/>
                  </a:lnTo>
                  <a:lnTo>
                    <a:pt x="650" y="247"/>
                  </a:lnTo>
                  <a:lnTo>
                    <a:pt x="645" y="231"/>
                  </a:lnTo>
                  <a:lnTo>
                    <a:pt x="640" y="216"/>
                  </a:lnTo>
                  <a:lnTo>
                    <a:pt x="634" y="201"/>
                  </a:lnTo>
                  <a:lnTo>
                    <a:pt x="627" y="187"/>
                  </a:lnTo>
                  <a:lnTo>
                    <a:pt x="620" y="172"/>
                  </a:lnTo>
                  <a:lnTo>
                    <a:pt x="612" y="158"/>
                  </a:lnTo>
                  <a:lnTo>
                    <a:pt x="604" y="145"/>
                  </a:lnTo>
                  <a:lnTo>
                    <a:pt x="594" y="132"/>
                  </a:lnTo>
                  <a:lnTo>
                    <a:pt x="585" y="119"/>
                  </a:lnTo>
                  <a:lnTo>
                    <a:pt x="574" y="108"/>
                  </a:lnTo>
                  <a:lnTo>
                    <a:pt x="563" y="96"/>
                  </a:lnTo>
                  <a:lnTo>
                    <a:pt x="551" y="85"/>
                  </a:lnTo>
                  <a:lnTo>
                    <a:pt x="540" y="74"/>
                  </a:lnTo>
                  <a:lnTo>
                    <a:pt x="527" y="65"/>
                  </a:lnTo>
                  <a:lnTo>
                    <a:pt x="514" y="56"/>
                  </a:lnTo>
                  <a:lnTo>
                    <a:pt x="501" y="48"/>
                  </a:lnTo>
                  <a:lnTo>
                    <a:pt x="487" y="39"/>
                  </a:lnTo>
                  <a:lnTo>
                    <a:pt x="473" y="32"/>
                  </a:lnTo>
                  <a:lnTo>
                    <a:pt x="458" y="25"/>
                  </a:lnTo>
                  <a:lnTo>
                    <a:pt x="443" y="20"/>
                  </a:lnTo>
                  <a:lnTo>
                    <a:pt x="428" y="15"/>
                  </a:lnTo>
                  <a:lnTo>
                    <a:pt x="412" y="10"/>
                  </a:lnTo>
                  <a:lnTo>
                    <a:pt x="396" y="6"/>
                  </a:lnTo>
                  <a:lnTo>
                    <a:pt x="380" y="3"/>
                  </a:lnTo>
                  <a:lnTo>
                    <a:pt x="364" y="2"/>
                  </a:lnTo>
                  <a:lnTo>
                    <a:pt x="347" y="0"/>
                  </a:lnTo>
                  <a:lnTo>
                    <a:pt x="330" y="0"/>
                  </a:lnTo>
                  <a:lnTo>
                    <a:pt x="3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502" name="Group 16">
            <a:extLst>
              <a:ext uri="{FF2B5EF4-FFF2-40B4-BE49-F238E27FC236}">
                <a16:creationId xmlns:a16="http://schemas.microsoft.com/office/drawing/2014/main" id="{C01BBEA1-545D-4CC0-B44F-E691B91F1D31}"/>
              </a:ext>
            </a:extLst>
          </p:cNvPr>
          <p:cNvGrpSpPr>
            <a:grpSpLocks noChangeAspect="1"/>
          </p:cNvGrpSpPr>
          <p:nvPr/>
        </p:nvGrpSpPr>
        <p:grpSpPr>
          <a:xfrm>
            <a:off x="1514544" y="3263433"/>
            <a:ext cx="214214" cy="285619"/>
            <a:chOff x="6821487" y="1028700"/>
            <a:chExt cx="533400" cy="711200"/>
          </a:xfrm>
          <a:solidFill>
            <a:schemeClr val="bg1"/>
          </a:solidFill>
          <a:effectLst/>
        </p:grpSpPr>
        <p:sp>
          <p:nvSpPr>
            <p:cNvPr id="503" name="Freeform 17">
              <a:extLst>
                <a:ext uri="{FF2B5EF4-FFF2-40B4-BE49-F238E27FC236}">
                  <a16:creationId xmlns:a16="http://schemas.microsoft.com/office/drawing/2014/main" id="{4E3519E0-2AF0-4A1D-B17E-66E09EDC1CC1}"/>
                </a:ext>
              </a:extLst>
            </p:cNvPr>
            <p:cNvSpPr>
              <a:spLocks noEditPoints="1"/>
            </p:cNvSpPr>
            <p:nvPr/>
          </p:nvSpPr>
          <p:spPr bwMode="auto">
            <a:xfrm>
              <a:off x="6821487" y="1028700"/>
              <a:ext cx="533400" cy="711200"/>
            </a:xfrm>
            <a:custGeom>
              <a:avLst/>
              <a:gdLst>
                <a:gd name="T0" fmla="*/ 503 w 1344"/>
                <a:gd name="T1" fmla="*/ 1609 h 1792"/>
                <a:gd name="T2" fmla="*/ 516 w 1344"/>
                <a:gd name="T3" fmla="*/ 1651 h 1792"/>
                <a:gd name="T4" fmla="*/ 559 w 1344"/>
                <a:gd name="T5" fmla="*/ 1699 h 1792"/>
                <a:gd name="T6" fmla="*/ 640 w 1344"/>
                <a:gd name="T7" fmla="*/ 1726 h 1792"/>
                <a:gd name="T8" fmla="*/ 734 w 1344"/>
                <a:gd name="T9" fmla="*/ 1720 h 1792"/>
                <a:gd name="T10" fmla="*/ 804 w 1344"/>
                <a:gd name="T11" fmla="*/ 1685 h 1792"/>
                <a:gd name="T12" fmla="*/ 832 w 1344"/>
                <a:gd name="T13" fmla="*/ 1632 h 1792"/>
                <a:gd name="T14" fmla="*/ 852 w 1344"/>
                <a:gd name="T15" fmla="*/ 1603 h 1792"/>
                <a:gd name="T16" fmla="*/ 965 w 1344"/>
                <a:gd name="T17" fmla="*/ 1210 h 1792"/>
                <a:gd name="T18" fmla="*/ 1043 w 1344"/>
                <a:gd name="T19" fmla="*/ 1153 h 1792"/>
                <a:gd name="T20" fmla="*/ 1130 w 1344"/>
                <a:gd name="T21" fmla="*/ 1072 h 1792"/>
                <a:gd name="T22" fmla="*/ 1234 w 1344"/>
                <a:gd name="T23" fmla="*/ 904 h 1792"/>
                <a:gd name="T24" fmla="*/ 1268 w 1344"/>
                <a:gd name="T25" fmla="*/ 792 h 1792"/>
                <a:gd name="T26" fmla="*/ 1280 w 1344"/>
                <a:gd name="T27" fmla="*/ 672 h 1792"/>
                <a:gd name="T28" fmla="*/ 1253 w 1344"/>
                <a:gd name="T29" fmla="*/ 491 h 1792"/>
                <a:gd name="T30" fmla="*/ 1176 w 1344"/>
                <a:gd name="T31" fmla="*/ 332 h 1792"/>
                <a:gd name="T32" fmla="*/ 1059 w 1344"/>
                <a:gd name="T33" fmla="*/ 203 h 1792"/>
                <a:gd name="T34" fmla="*/ 909 w 1344"/>
                <a:gd name="T35" fmla="*/ 112 h 1792"/>
                <a:gd name="T36" fmla="*/ 734 w 1344"/>
                <a:gd name="T37" fmla="*/ 67 h 1792"/>
                <a:gd name="T38" fmla="*/ 550 w 1344"/>
                <a:gd name="T39" fmla="*/ 76 h 1792"/>
                <a:gd name="T40" fmla="*/ 383 w 1344"/>
                <a:gd name="T41" fmla="*/ 137 h 1792"/>
                <a:gd name="T42" fmla="*/ 242 w 1344"/>
                <a:gd name="T43" fmla="*/ 242 h 1792"/>
                <a:gd name="T44" fmla="*/ 138 w 1344"/>
                <a:gd name="T45" fmla="*/ 382 h 1792"/>
                <a:gd name="T46" fmla="*/ 76 w 1344"/>
                <a:gd name="T47" fmla="*/ 549 h 1792"/>
                <a:gd name="T48" fmla="*/ 66 w 1344"/>
                <a:gd name="T49" fmla="*/ 713 h 1792"/>
                <a:gd name="T50" fmla="*/ 85 w 1344"/>
                <a:gd name="T51" fmla="*/ 830 h 1792"/>
                <a:gd name="T52" fmla="*/ 146 w 1344"/>
                <a:gd name="T53" fmla="*/ 975 h 1792"/>
                <a:gd name="T54" fmla="*/ 242 w 1344"/>
                <a:gd name="T55" fmla="*/ 1101 h 1792"/>
                <a:gd name="T56" fmla="*/ 333 w 1344"/>
                <a:gd name="T57" fmla="*/ 1177 h 1792"/>
                <a:gd name="T58" fmla="*/ 384 w 1344"/>
                <a:gd name="T59" fmla="*/ 1225 h 1792"/>
                <a:gd name="T60" fmla="*/ 594 w 1344"/>
                <a:gd name="T61" fmla="*/ 1782 h 1792"/>
                <a:gd name="T62" fmla="*/ 502 w 1344"/>
                <a:gd name="T63" fmla="*/ 1737 h 1792"/>
                <a:gd name="T64" fmla="*/ 452 w 1344"/>
                <a:gd name="T65" fmla="*/ 1664 h 1792"/>
                <a:gd name="T66" fmla="*/ 326 w 1344"/>
                <a:gd name="T67" fmla="*/ 1650 h 1792"/>
                <a:gd name="T68" fmla="*/ 284 w 1344"/>
                <a:gd name="T69" fmla="*/ 1220 h 1792"/>
                <a:gd name="T70" fmla="*/ 186 w 1344"/>
                <a:gd name="T71" fmla="*/ 1135 h 1792"/>
                <a:gd name="T72" fmla="*/ 108 w 1344"/>
                <a:gd name="T73" fmla="*/ 1036 h 1792"/>
                <a:gd name="T74" fmla="*/ 49 w 1344"/>
                <a:gd name="T75" fmla="*/ 923 h 1792"/>
                <a:gd name="T76" fmla="*/ 12 w 1344"/>
                <a:gd name="T77" fmla="*/ 800 h 1792"/>
                <a:gd name="T78" fmla="*/ 0 w 1344"/>
                <a:gd name="T79" fmla="*/ 672 h 1792"/>
                <a:gd name="T80" fmla="*/ 30 w 1344"/>
                <a:gd name="T81" fmla="*/ 472 h 1792"/>
                <a:gd name="T82" fmla="*/ 115 w 1344"/>
                <a:gd name="T83" fmla="*/ 297 h 1792"/>
                <a:gd name="T84" fmla="*/ 245 w 1344"/>
                <a:gd name="T85" fmla="*/ 154 h 1792"/>
                <a:gd name="T86" fmla="*/ 411 w 1344"/>
                <a:gd name="T87" fmla="*/ 53 h 1792"/>
                <a:gd name="T88" fmla="*/ 603 w 1344"/>
                <a:gd name="T89" fmla="*/ 4 h 1792"/>
                <a:gd name="T90" fmla="*/ 807 w 1344"/>
                <a:gd name="T91" fmla="*/ 14 h 1792"/>
                <a:gd name="T92" fmla="*/ 993 w 1344"/>
                <a:gd name="T93" fmla="*/ 81 h 1792"/>
                <a:gd name="T94" fmla="*/ 1147 w 1344"/>
                <a:gd name="T95" fmla="*/ 197 h 1792"/>
                <a:gd name="T96" fmla="*/ 1263 w 1344"/>
                <a:gd name="T97" fmla="*/ 351 h 1792"/>
                <a:gd name="T98" fmla="*/ 1330 w 1344"/>
                <a:gd name="T99" fmla="*/ 537 h 1792"/>
                <a:gd name="T100" fmla="*/ 1343 w 1344"/>
                <a:gd name="T101" fmla="*/ 715 h 1792"/>
                <a:gd name="T102" fmla="*/ 1322 w 1344"/>
                <a:gd name="T103" fmla="*/ 842 h 1792"/>
                <a:gd name="T104" fmla="*/ 1278 w 1344"/>
                <a:gd name="T105" fmla="*/ 961 h 1792"/>
                <a:gd name="T106" fmla="*/ 1212 w 1344"/>
                <a:gd name="T107" fmla="*/ 1070 h 1792"/>
                <a:gd name="T108" fmla="*/ 1127 w 1344"/>
                <a:gd name="T109" fmla="*/ 1166 h 1792"/>
                <a:gd name="T110" fmla="*/ 1024 w 1344"/>
                <a:gd name="T111" fmla="*/ 1244 h 1792"/>
                <a:gd name="T112" fmla="*/ 1010 w 1344"/>
                <a:gd name="T113" fmla="*/ 1659 h 1792"/>
                <a:gd name="T114" fmla="*/ 881 w 1344"/>
                <a:gd name="T115" fmla="*/ 1691 h 1792"/>
                <a:gd name="T116" fmla="*/ 815 w 1344"/>
                <a:gd name="T117" fmla="*/ 1755 h 1792"/>
                <a:gd name="T118" fmla="*/ 712 w 1344"/>
                <a:gd name="T119" fmla="*/ 1789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1792">
                  <a:moveTo>
                    <a:pt x="384" y="1601"/>
                  </a:moveTo>
                  <a:lnTo>
                    <a:pt x="480" y="1601"/>
                  </a:lnTo>
                  <a:lnTo>
                    <a:pt x="487" y="1601"/>
                  </a:lnTo>
                  <a:lnTo>
                    <a:pt x="493" y="1603"/>
                  </a:lnTo>
                  <a:lnTo>
                    <a:pt x="498" y="1606"/>
                  </a:lnTo>
                  <a:lnTo>
                    <a:pt x="503" y="1609"/>
                  </a:lnTo>
                  <a:lnTo>
                    <a:pt x="507" y="1614"/>
                  </a:lnTo>
                  <a:lnTo>
                    <a:pt x="510" y="1620"/>
                  </a:lnTo>
                  <a:lnTo>
                    <a:pt x="511" y="1626"/>
                  </a:lnTo>
                  <a:lnTo>
                    <a:pt x="512" y="1632"/>
                  </a:lnTo>
                  <a:lnTo>
                    <a:pt x="513" y="1641"/>
                  </a:lnTo>
                  <a:lnTo>
                    <a:pt x="516" y="1651"/>
                  </a:lnTo>
                  <a:lnTo>
                    <a:pt x="520" y="1660"/>
                  </a:lnTo>
                  <a:lnTo>
                    <a:pt x="525" y="1669"/>
                  </a:lnTo>
                  <a:lnTo>
                    <a:pt x="531" y="1678"/>
                  </a:lnTo>
                  <a:lnTo>
                    <a:pt x="540" y="1685"/>
                  </a:lnTo>
                  <a:lnTo>
                    <a:pt x="549" y="1693"/>
                  </a:lnTo>
                  <a:lnTo>
                    <a:pt x="559" y="1699"/>
                  </a:lnTo>
                  <a:lnTo>
                    <a:pt x="570" y="1706"/>
                  </a:lnTo>
                  <a:lnTo>
                    <a:pt x="583" y="1711"/>
                  </a:lnTo>
                  <a:lnTo>
                    <a:pt x="597" y="1716"/>
                  </a:lnTo>
                  <a:lnTo>
                    <a:pt x="611" y="1720"/>
                  </a:lnTo>
                  <a:lnTo>
                    <a:pt x="625" y="1724"/>
                  </a:lnTo>
                  <a:lnTo>
                    <a:pt x="640" y="1726"/>
                  </a:lnTo>
                  <a:lnTo>
                    <a:pt x="655" y="1727"/>
                  </a:lnTo>
                  <a:lnTo>
                    <a:pt x="672" y="1729"/>
                  </a:lnTo>
                  <a:lnTo>
                    <a:pt x="688" y="1727"/>
                  </a:lnTo>
                  <a:lnTo>
                    <a:pt x="704" y="1726"/>
                  </a:lnTo>
                  <a:lnTo>
                    <a:pt x="719" y="1724"/>
                  </a:lnTo>
                  <a:lnTo>
                    <a:pt x="734" y="1720"/>
                  </a:lnTo>
                  <a:lnTo>
                    <a:pt x="748" y="1716"/>
                  </a:lnTo>
                  <a:lnTo>
                    <a:pt x="761" y="1711"/>
                  </a:lnTo>
                  <a:lnTo>
                    <a:pt x="773" y="1706"/>
                  </a:lnTo>
                  <a:lnTo>
                    <a:pt x="785" y="1699"/>
                  </a:lnTo>
                  <a:lnTo>
                    <a:pt x="795" y="1693"/>
                  </a:lnTo>
                  <a:lnTo>
                    <a:pt x="804" y="1685"/>
                  </a:lnTo>
                  <a:lnTo>
                    <a:pt x="813" y="1678"/>
                  </a:lnTo>
                  <a:lnTo>
                    <a:pt x="819" y="1669"/>
                  </a:lnTo>
                  <a:lnTo>
                    <a:pt x="825" y="1660"/>
                  </a:lnTo>
                  <a:lnTo>
                    <a:pt x="829" y="1651"/>
                  </a:lnTo>
                  <a:lnTo>
                    <a:pt x="832" y="1641"/>
                  </a:lnTo>
                  <a:lnTo>
                    <a:pt x="832" y="1632"/>
                  </a:lnTo>
                  <a:lnTo>
                    <a:pt x="833" y="1626"/>
                  </a:lnTo>
                  <a:lnTo>
                    <a:pt x="834" y="1620"/>
                  </a:lnTo>
                  <a:lnTo>
                    <a:pt x="838" y="1614"/>
                  </a:lnTo>
                  <a:lnTo>
                    <a:pt x="842" y="1609"/>
                  </a:lnTo>
                  <a:lnTo>
                    <a:pt x="846" y="1606"/>
                  </a:lnTo>
                  <a:lnTo>
                    <a:pt x="852" y="1603"/>
                  </a:lnTo>
                  <a:lnTo>
                    <a:pt x="857" y="1601"/>
                  </a:lnTo>
                  <a:lnTo>
                    <a:pt x="865" y="1601"/>
                  </a:lnTo>
                  <a:lnTo>
                    <a:pt x="960" y="1601"/>
                  </a:lnTo>
                  <a:lnTo>
                    <a:pt x="960" y="1225"/>
                  </a:lnTo>
                  <a:lnTo>
                    <a:pt x="961" y="1218"/>
                  </a:lnTo>
                  <a:lnTo>
                    <a:pt x="965" y="1210"/>
                  </a:lnTo>
                  <a:lnTo>
                    <a:pt x="970" y="1204"/>
                  </a:lnTo>
                  <a:lnTo>
                    <a:pt x="976" y="1199"/>
                  </a:lnTo>
                  <a:lnTo>
                    <a:pt x="994" y="1187"/>
                  </a:lnTo>
                  <a:lnTo>
                    <a:pt x="1010" y="1177"/>
                  </a:lnTo>
                  <a:lnTo>
                    <a:pt x="1027" y="1166"/>
                  </a:lnTo>
                  <a:lnTo>
                    <a:pt x="1043" y="1153"/>
                  </a:lnTo>
                  <a:lnTo>
                    <a:pt x="1059" y="1140"/>
                  </a:lnTo>
                  <a:lnTo>
                    <a:pt x="1074" y="1128"/>
                  </a:lnTo>
                  <a:lnTo>
                    <a:pt x="1088" y="1114"/>
                  </a:lnTo>
                  <a:lnTo>
                    <a:pt x="1103" y="1101"/>
                  </a:lnTo>
                  <a:lnTo>
                    <a:pt x="1117" y="1086"/>
                  </a:lnTo>
                  <a:lnTo>
                    <a:pt x="1130" y="1072"/>
                  </a:lnTo>
                  <a:lnTo>
                    <a:pt x="1142" y="1057"/>
                  </a:lnTo>
                  <a:lnTo>
                    <a:pt x="1155" y="1041"/>
                  </a:lnTo>
                  <a:lnTo>
                    <a:pt x="1178" y="1008"/>
                  </a:lnTo>
                  <a:lnTo>
                    <a:pt x="1198" y="975"/>
                  </a:lnTo>
                  <a:lnTo>
                    <a:pt x="1217" y="940"/>
                  </a:lnTo>
                  <a:lnTo>
                    <a:pt x="1234" y="904"/>
                  </a:lnTo>
                  <a:lnTo>
                    <a:pt x="1241" y="887"/>
                  </a:lnTo>
                  <a:lnTo>
                    <a:pt x="1247" y="868"/>
                  </a:lnTo>
                  <a:lnTo>
                    <a:pt x="1254" y="849"/>
                  </a:lnTo>
                  <a:lnTo>
                    <a:pt x="1259" y="830"/>
                  </a:lnTo>
                  <a:lnTo>
                    <a:pt x="1264" y="811"/>
                  </a:lnTo>
                  <a:lnTo>
                    <a:pt x="1268" y="792"/>
                  </a:lnTo>
                  <a:lnTo>
                    <a:pt x="1272" y="771"/>
                  </a:lnTo>
                  <a:lnTo>
                    <a:pt x="1274" y="752"/>
                  </a:lnTo>
                  <a:lnTo>
                    <a:pt x="1277" y="732"/>
                  </a:lnTo>
                  <a:lnTo>
                    <a:pt x="1279" y="713"/>
                  </a:lnTo>
                  <a:lnTo>
                    <a:pt x="1279" y="693"/>
                  </a:lnTo>
                  <a:lnTo>
                    <a:pt x="1280" y="672"/>
                  </a:lnTo>
                  <a:lnTo>
                    <a:pt x="1279" y="641"/>
                  </a:lnTo>
                  <a:lnTo>
                    <a:pt x="1277" y="610"/>
                  </a:lnTo>
                  <a:lnTo>
                    <a:pt x="1273" y="580"/>
                  </a:lnTo>
                  <a:lnTo>
                    <a:pt x="1268" y="549"/>
                  </a:lnTo>
                  <a:lnTo>
                    <a:pt x="1261" y="520"/>
                  </a:lnTo>
                  <a:lnTo>
                    <a:pt x="1253" y="491"/>
                  </a:lnTo>
                  <a:lnTo>
                    <a:pt x="1242" y="463"/>
                  </a:lnTo>
                  <a:lnTo>
                    <a:pt x="1232" y="435"/>
                  </a:lnTo>
                  <a:lnTo>
                    <a:pt x="1220" y="409"/>
                  </a:lnTo>
                  <a:lnTo>
                    <a:pt x="1207" y="382"/>
                  </a:lnTo>
                  <a:lnTo>
                    <a:pt x="1192" y="357"/>
                  </a:lnTo>
                  <a:lnTo>
                    <a:pt x="1176" y="332"/>
                  </a:lnTo>
                  <a:lnTo>
                    <a:pt x="1159" y="308"/>
                  </a:lnTo>
                  <a:lnTo>
                    <a:pt x="1141" y="286"/>
                  </a:lnTo>
                  <a:lnTo>
                    <a:pt x="1122" y="264"/>
                  </a:lnTo>
                  <a:lnTo>
                    <a:pt x="1102" y="242"/>
                  </a:lnTo>
                  <a:lnTo>
                    <a:pt x="1080" y="222"/>
                  </a:lnTo>
                  <a:lnTo>
                    <a:pt x="1059" y="203"/>
                  </a:lnTo>
                  <a:lnTo>
                    <a:pt x="1036" y="185"/>
                  </a:lnTo>
                  <a:lnTo>
                    <a:pt x="1012" y="168"/>
                  </a:lnTo>
                  <a:lnTo>
                    <a:pt x="988" y="152"/>
                  </a:lnTo>
                  <a:lnTo>
                    <a:pt x="962" y="137"/>
                  </a:lnTo>
                  <a:lnTo>
                    <a:pt x="936" y="125"/>
                  </a:lnTo>
                  <a:lnTo>
                    <a:pt x="909" y="112"/>
                  </a:lnTo>
                  <a:lnTo>
                    <a:pt x="881" y="100"/>
                  </a:lnTo>
                  <a:lnTo>
                    <a:pt x="853" y="92"/>
                  </a:lnTo>
                  <a:lnTo>
                    <a:pt x="824" y="83"/>
                  </a:lnTo>
                  <a:lnTo>
                    <a:pt x="795" y="76"/>
                  </a:lnTo>
                  <a:lnTo>
                    <a:pt x="764" y="71"/>
                  </a:lnTo>
                  <a:lnTo>
                    <a:pt x="734" y="67"/>
                  </a:lnTo>
                  <a:lnTo>
                    <a:pt x="704" y="65"/>
                  </a:lnTo>
                  <a:lnTo>
                    <a:pt x="672" y="64"/>
                  </a:lnTo>
                  <a:lnTo>
                    <a:pt x="641" y="65"/>
                  </a:lnTo>
                  <a:lnTo>
                    <a:pt x="610" y="67"/>
                  </a:lnTo>
                  <a:lnTo>
                    <a:pt x="579" y="71"/>
                  </a:lnTo>
                  <a:lnTo>
                    <a:pt x="550" y="76"/>
                  </a:lnTo>
                  <a:lnTo>
                    <a:pt x="520" y="83"/>
                  </a:lnTo>
                  <a:lnTo>
                    <a:pt x="492" y="92"/>
                  </a:lnTo>
                  <a:lnTo>
                    <a:pt x="463" y="100"/>
                  </a:lnTo>
                  <a:lnTo>
                    <a:pt x="436" y="112"/>
                  </a:lnTo>
                  <a:lnTo>
                    <a:pt x="408" y="125"/>
                  </a:lnTo>
                  <a:lnTo>
                    <a:pt x="383" y="137"/>
                  </a:lnTo>
                  <a:lnTo>
                    <a:pt x="357" y="152"/>
                  </a:lnTo>
                  <a:lnTo>
                    <a:pt x="332" y="168"/>
                  </a:lnTo>
                  <a:lnTo>
                    <a:pt x="308" y="185"/>
                  </a:lnTo>
                  <a:lnTo>
                    <a:pt x="285" y="203"/>
                  </a:lnTo>
                  <a:lnTo>
                    <a:pt x="264" y="222"/>
                  </a:lnTo>
                  <a:lnTo>
                    <a:pt x="242" y="242"/>
                  </a:lnTo>
                  <a:lnTo>
                    <a:pt x="222" y="264"/>
                  </a:lnTo>
                  <a:lnTo>
                    <a:pt x="203" y="286"/>
                  </a:lnTo>
                  <a:lnTo>
                    <a:pt x="185" y="308"/>
                  </a:lnTo>
                  <a:lnTo>
                    <a:pt x="168" y="332"/>
                  </a:lnTo>
                  <a:lnTo>
                    <a:pt x="152" y="357"/>
                  </a:lnTo>
                  <a:lnTo>
                    <a:pt x="138" y="382"/>
                  </a:lnTo>
                  <a:lnTo>
                    <a:pt x="124" y="409"/>
                  </a:lnTo>
                  <a:lnTo>
                    <a:pt x="111" y="435"/>
                  </a:lnTo>
                  <a:lnTo>
                    <a:pt x="101" y="463"/>
                  </a:lnTo>
                  <a:lnTo>
                    <a:pt x="91" y="491"/>
                  </a:lnTo>
                  <a:lnTo>
                    <a:pt x="83" y="520"/>
                  </a:lnTo>
                  <a:lnTo>
                    <a:pt x="76" y="549"/>
                  </a:lnTo>
                  <a:lnTo>
                    <a:pt x="71" y="580"/>
                  </a:lnTo>
                  <a:lnTo>
                    <a:pt x="67" y="610"/>
                  </a:lnTo>
                  <a:lnTo>
                    <a:pt x="64" y="641"/>
                  </a:lnTo>
                  <a:lnTo>
                    <a:pt x="64" y="672"/>
                  </a:lnTo>
                  <a:lnTo>
                    <a:pt x="64" y="693"/>
                  </a:lnTo>
                  <a:lnTo>
                    <a:pt x="66" y="713"/>
                  </a:lnTo>
                  <a:lnTo>
                    <a:pt x="67" y="732"/>
                  </a:lnTo>
                  <a:lnTo>
                    <a:pt x="70" y="752"/>
                  </a:lnTo>
                  <a:lnTo>
                    <a:pt x="72" y="771"/>
                  </a:lnTo>
                  <a:lnTo>
                    <a:pt x="76" y="792"/>
                  </a:lnTo>
                  <a:lnTo>
                    <a:pt x="80" y="811"/>
                  </a:lnTo>
                  <a:lnTo>
                    <a:pt x="85" y="830"/>
                  </a:lnTo>
                  <a:lnTo>
                    <a:pt x="91" y="849"/>
                  </a:lnTo>
                  <a:lnTo>
                    <a:pt x="96" y="868"/>
                  </a:lnTo>
                  <a:lnTo>
                    <a:pt x="104" y="887"/>
                  </a:lnTo>
                  <a:lnTo>
                    <a:pt x="111" y="904"/>
                  </a:lnTo>
                  <a:lnTo>
                    <a:pt x="127" y="940"/>
                  </a:lnTo>
                  <a:lnTo>
                    <a:pt x="146" y="975"/>
                  </a:lnTo>
                  <a:lnTo>
                    <a:pt x="166" y="1008"/>
                  </a:lnTo>
                  <a:lnTo>
                    <a:pt x="190" y="1041"/>
                  </a:lnTo>
                  <a:lnTo>
                    <a:pt x="201" y="1057"/>
                  </a:lnTo>
                  <a:lnTo>
                    <a:pt x="214" y="1072"/>
                  </a:lnTo>
                  <a:lnTo>
                    <a:pt x="228" y="1086"/>
                  </a:lnTo>
                  <a:lnTo>
                    <a:pt x="242" y="1101"/>
                  </a:lnTo>
                  <a:lnTo>
                    <a:pt x="256" y="1114"/>
                  </a:lnTo>
                  <a:lnTo>
                    <a:pt x="270" y="1128"/>
                  </a:lnTo>
                  <a:lnTo>
                    <a:pt x="285" y="1140"/>
                  </a:lnTo>
                  <a:lnTo>
                    <a:pt x="302" y="1153"/>
                  </a:lnTo>
                  <a:lnTo>
                    <a:pt x="317" y="1166"/>
                  </a:lnTo>
                  <a:lnTo>
                    <a:pt x="333" y="1177"/>
                  </a:lnTo>
                  <a:lnTo>
                    <a:pt x="351" y="1187"/>
                  </a:lnTo>
                  <a:lnTo>
                    <a:pt x="367" y="1199"/>
                  </a:lnTo>
                  <a:lnTo>
                    <a:pt x="375" y="1204"/>
                  </a:lnTo>
                  <a:lnTo>
                    <a:pt x="380" y="1210"/>
                  </a:lnTo>
                  <a:lnTo>
                    <a:pt x="383" y="1218"/>
                  </a:lnTo>
                  <a:lnTo>
                    <a:pt x="384" y="1225"/>
                  </a:lnTo>
                  <a:lnTo>
                    <a:pt x="384" y="1601"/>
                  </a:lnTo>
                  <a:close/>
                  <a:moveTo>
                    <a:pt x="672" y="1792"/>
                  </a:moveTo>
                  <a:lnTo>
                    <a:pt x="652" y="1792"/>
                  </a:lnTo>
                  <a:lnTo>
                    <a:pt x="631" y="1789"/>
                  </a:lnTo>
                  <a:lnTo>
                    <a:pt x="612" y="1787"/>
                  </a:lnTo>
                  <a:lnTo>
                    <a:pt x="594" y="1782"/>
                  </a:lnTo>
                  <a:lnTo>
                    <a:pt x="577" y="1777"/>
                  </a:lnTo>
                  <a:lnTo>
                    <a:pt x="559" y="1770"/>
                  </a:lnTo>
                  <a:lnTo>
                    <a:pt x="544" y="1764"/>
                  </a:lnTo>
                  <a:lnTo>
                    <a:pt x="529" y="1755"/>
                  </a:lnTo>
                  <a:lnTo>
                    <a:pt x="515" y="1746"/>
                  </a:lnTo>
                  <a:lnTo>
                    <a:pt x="502" y="1737"/>
                  </a:lnTo>
                  <a:lnTo>
                    <a:pt x="490" y="1726"/>
                  </a:lnTo>
                  <a:lnTo>
                    <a:pt x="479" y="1715"/>
                  </a:lnTo>
                  <a:lnTo>
                    <a:pt x="470" y="1703"/>
                  </a:lnTo>
                  <a:lnTo>
                    <a:pt x="463" y="1691"/>
                  </a:lnTo>
                  <a:lnTo>
                    <a:pt x="456" y="1678"/>
                  </a:lnTo>
                  <a:lnTo>
                    <a:pt x="452" y="1664"/>
                  </a:lnTo>
                  <a:lnTo>
                    <a:pt x="352" y="1664"/>
                  </a:lnTo>
                  <a:lnTo>
                    <a:pt x="346" y="1664"/>
                  </a:lnTo>
                  <a:lnTo>
                    <a:pt x="340" y="1661"/>
                  </a:lnTo>
                  <a:lnTo>
                    <a:pt x="335" y="1659"/>
                  </a:lnTo>
                  <a:lnTo>
                    <a:pt x="329" y="1655"/>
                  </a:lnTo>
                  <a:lnTo>
                    <a:pt x="326" y="1650"/>
                  </a:lnTo>
                  <a:lnTo>
                    <a:pt x="323" y="1645"/>
                  </a:lnTo>
                  <a:lnTo>
                    <a:pt x="321" y="1639"/>
                  </a:lnTo>
                  <a:lnTo>
                    <a:pt x="321" y="1632"/>
                  </a:lnTo>
                  <a:lnTo>
                    <a:pt x="321" y="1244"/>
                  </a:lnTo>
                  <a:lnTo>
                    <a:pt x="302" y="1232"/>
                  </a:lnTo>
                  <a:lnTo>
                    <a:pt x="284" y="1220"/>
                  </a:lnTo>
                  <a:lnTo>
                    <a:pt x="266" y="1207"/>
                  </a:lnTo>
                  <a:lnTo>
                    <a:pt x="250" y="1193"/>
                  </a:lnTo>
                  <a:lnTo>
                    <a:pt x="233" y="1180"/>
                  </a:lnTo>
                  <a:lnTo>
                    <a:pt x="217" y="1166"/>
                  </a:lnTo>
                  <a:lnTo>
                    <a:pt x="201" y="1150"/>
                  </a:lnTo>
                  <a:lnTo>
                    <a:pt x="186" y="1135"/>
                  </a:lnTo>
                  <a:lnTo>
                    <a:pt x="172" y="1120"/>
                  </a:lnTo>
                  <a:lnTo>
                    <a:pt x="158" y="1103"/>
                  </a:lnTo>
                  <a:lnTo>
                    <a:pt x="144" y="1087"/>
                  </a:lnTo>
                  <a:lnTo>
                    <a:pt x="132" y="1070"/>
                  </a:lnTo>
                  <a:lnTo>
                    <a:pt x="119" y="1053"/>
                  </a:lnTo>
                  <a:lnTo>
                    <a:pt x="108" y="1036"/>
                  </a:lnTo>
                  <a:lnTo>
                    <a:pt x="96" y="1017"/>
                  </a:lnTo>
                  <a:lnTo>
                    <a:pt x="86" y="999"/>
                  </a:lnTo>
                  <a:lnTo>
                    <a:pt x="76" y="980"/>
                  </a:lnTo>
                  <a:lnTo>
                    <a:pt x="66" y="961"/>
                  </a:lnTo>
                  <a:lnTo>
                    <a:pt x="57" y="942"/>
                  </a:lnTo>
                  <a:lnTo>
                    <a:pt x="49" y="923"/>
                  </a:lnTo>
                  <a:lnTo>
                    <a:pt x="42" y="903"/>
                  </a:lnTo>
                  <a:lnTo>
                    <a:pt x="34" y="883"/>
                  </a:lnTo>
                  <a:lnTo>
                    <a:pt x="28" y="863"/>
                  </a:lnTo>
                  <a:lnTo>
                    <a:pt x="23" y="842"/>
                  </a:lnTo>
                  <a:lnTo>
                    <a:pt x="18" y="822"/>
                  </a:lnTo>
                  <a:lnTo>
                    <a:pt x="12" y="800"/>
                  </a:lnTo>
                  <a:lnTo>
                    <a:pt x="9" y="780"/>
                  </a:lnTo>
                  <a:lnTo>
                    <a:pt x="6" y="759"/>
                  </a:lnTo>
                  <a:lnTo>
                    <a:pt x="4" y="737"/>
                  </a:lnTo>
                  <a:lnTo>
                    <a:pt x="1" y="715"/>
                  </a:lnTo>
                  <a:lnTo>
                    <a:pt x="0" y="694"/>
                  </a:lnTo>
                  <a:lnTo>
                    <a:pt x="0" y="672"/>
                  </a:lnTo>
                  <a:lnTo>
                    <a:pt x="1" y="638"/>
                  </a:lnTo>
                  <a:lnTo>
                    <a:pt x="4" y="604"/>
                  </a:lnTo>
                  <a:lnTo>
                    <a:pt x="7" y="570"/>
                  </a:lnTo>
                  <a:lnTo>
                    <a:pt x="14" y="537"/>
                  </a:lnTo>
                  <a:lnTo>
                    <a:pt x="21" y="504"/>
                  </a:lnTo>
                  <a:lnTo>
                    <a:pt x="30" y="472"/>
                  </a:lnTo>
                  <a:lnTo>
                    <a:pt x="40" y="442"/>
                  </a:lnTo>
                  <a:lnTo>
                    <a:pt x="53" y="411"/>
                  </a:lnTo>
                  <a:lnTo>
                    <a:pt x="67" y="381"/>
                  </a:lnTo>
                  <a:lnTo>
                    <a:pt x="81" y="351"/>
                  </a:lnTo>
                  <a:lnTo>
                    <a:pt x="97" y="324"/>
                  </a:lnTo>
                  <a:lnTo>
                    <a:pt x="115" y="297"/>
                  </a:lnTo>
                  <a:lnTo>
                    <a:pt x="134" y="270"/>
                  </a:lnTo>
                  <a:lnTo>
                    <a:pt x="153" y="245"/>
                  </a:lnTo>
                  <a:lnTo>
                    <a:pt x="175" y="221"/>
                  </a:lnTo>
                  <a:lnTo>
                    <a:pt x="198" y="197"/>
                  </a:lnTo>
                  <a:lnTo>
                    <a:pt x="220" y="175"/>
                  </a:lnTo>
                  <a:lnTo>
                    <a:pt x="245" y="154"/>
                  </a:lnTo>
                  <a:lnTo>
                    <a:pt x="270" y="133"/>
                  </a:lnTo>
                  <a:lnTo>
                    <a:pt x="296" y="114"/>
                  </a:lnTo>
                  <a:lnTo>
                    <a:pt x="324" y="98"/>
                  </a:lnTo>
                  <a:lnTo>
                    <a:pt x="352" y="81"/>
                  </a:lnTo>
                  <a:lnTo>
                    <a:pt x="381" y="66"/>
                  </a:lnTo>
                  <a:lnTo>
                    <a:pt x="411" y="53"/>
                  </a:lnTo>
                  <a:lnTo>
                    <a:pt x="441" y="41"/>
                  </a:lnTo>
                  <a:lnTo>
                    <a:pt x="473" y="31"/>
                  </a:lnTo>
                  <a:lnTo>
                    <a:pt x="504" y="22"/>
                  </a:lnTo>
                  <a:lnTo>
                    <a:pt x="536" y="14"/>
                  </a:lnTo>
                  <a:lnTo>
                    <a:pt x="570" y="8"/>
                  </a:lnTo>
                  <a:lnTo>
                    <a:pt x="603" y="4"/>
                  </a:lnTo>
                  <a:lnTo>
                    <a:pt x="638" y="2"/>
                  </a:lnTo>
                  <a:lnTo>
                    <a:pt x="672" y="0"/>
                  </a:lnTo>
                  <a:lnTo>
                    <a:pt x="706" y="2"/>
                  </a:lnTo>
                  <a:lnTo>
                    <a:pt x="740" y="4"/>
                  </a:lnTo>
                  <a:lnTo>
                    <a:pt x="775" y="8"/>
                  </a:lnTo>
                  <a:lnTo>
                    <a:pt x="807" y="14"/>
                  </a:lnTo>
                  <a:lnTo>
                    <a:pt x="839" y="22"/>
                  </a:lnTo>
                  <a:lnTo>
                    <a:pt x="872" y="31"/>
                  </a:lnTo>
                  <a:lnTo>
                    <a:pt x="903" y="41"/>
                  </a:lnTo>
                  <a:lnTo>
                    <a:pt x="933" y="53"/>
                  </a:lnTo>
                  <a:lnTo>
                    <a:pt x="963" y="66"/>
                  </a:lnTo>
                  <a:lnTo>
                    <a:pt x="993" y="81"/>
                  </a:lnTo>
                  <a:lnTo>
                    <a:pt x="1021" y="98"/>
                  </a:lnTo>
                  <a:lnTo>
                    <a:pt x="1047" y="114"/>
                  </a:lnTo>
                  <a:lnTo>
                    <a:pt x="1074" y="133"/>
                  </a:lnTo>
                  <a:lnTo>
                    <a:pt x="1099" y="154"/>
                  </a:lnTo>
                  <a:lnTo>
                    <a:pt x="1123" y="175"/>
                  </a:lnTo>
                  <a:lnTo>
                    <a:pt x="1147" y="197"/>
                  </a:lnTo>
                  <a:lnTo>
                    <a:pt x="1169" y="221"/>
                  </a:lnTo>
                  <a:lnTo>
                    <a:pt x="1190" y="245"/>
                  </a:lnTo>
                  <a:lnTo>
                    <a:pt x="1211" y="270"/>
                  </a:lnTo>
                  <a:lnTo>
                    <a:pt x="1228" y="297"/>
                  </a:lnTo>
                  <a:lnTo>
                    <a:pt x="1246" y="324"/>
                  </a:lnTo>
                  <a:lnTo>
                    <a:pt x="1263" y="351"/>
                  </a:lnTo>
                  <a:lnTo>
                    <a:pt x="1278" y="381"/>
                  </a:lnTo>
                  <a:lnTo>
                    <a:pt x="1291" y="411"/>
                  </a:lnTo>
                  <a:lnTo>
                    <a:pt x="1303" y="442"/>
                  </a:lnTo>
                  <a:lnTo>
                    <a:pt x="1313" y="472"/>
                  </a:lnTo>
                  <a:lnTo>
                    <a:pt x="1322" y="504"/>
                  </a:lnTo>
                  <a:lnTo>
                    <a:pt x="1330" y="537"/>
                  </a:lnTo>
                  <a:lnTo>
                    <a:pt x="1336" y="570"/>
                  </a:lnTo>
                  <a:lnTo>
                    <a:pt x="1340" y="604"/>
                  </a:lnTo>
                  <a:lnTo>
                    <a:pt x="1343" y="638"/>
                  </a:lnTo>
                  <a:lnTo>
                    <a:pt x="1344" y="672"/>
                  </a:lnTo>
                  <a:lnTo>
                    <a:pt x="1344" y="694"/>
                  </a:lnTo>
                  <a:lnTo>
                    <a:pt x="1343" y="715"/>
                  </a:lnTo>
                  <a:lnTo>
                    <a:pt x="1341" y="737"/>
                  </a:lnTo>
                  <a:lnTo>
                    <a:pt x="1339" y="759"/>
                  </a:lnTo>
                  <a:lnTo>
                    <a:pt x="1335" y="780"/>
                  </a:lnTo>
                  <a:lnTo>
                    <a:pt x="1331" y="800"/>
                  </a:lnTo>
                  <a:lnTo>
                    <a:pt x="1327" y="822"/>
                  </a:lnTo>
                  <a:lnTo>
                    <a:pt x="1322" y="842"/>
                  </a:lnTo>
                  <a:lnTo>
                    <a:pt x="1316" y="863"/>
                  </a:lnTo>
                  <a:lnTo>
                    <a:pt x="1310" y="883"/>
                  </a:lnTo>
                  <a:lnTo>
                    <a:pt x="1302" y="903"/>
                  </a:lnTo>
                  <a:lnTo>
                    <a:pt x="1294" y="923"/>
                  </a:lnTo>
                  <a:lnTo>
                    <a:pt x="1287" y="942"/>
                  </a:lnTo>
                  <a:lnTo>
                    <a:pt x="1278" y="961"/>
                  </a:lnTo>
                  <a:lnTo>
                    <a:pt x="1268" y="980"/>
                  </a:lnTo>
                  <a:lnTo>
                    <a:pt x="1258" y="999"/>
                  </a:lnTo>
                  <a:lnTo>
                    <a:pt x="1247" y="1017"/>
                  </a:lnTo>
                  <a:lnTo>
                    <a:pt x="1236" y="1036"/>
                  </a:lnTo>
                  <a:lnTo>
                    <a:pt x="1225" y="1053"/>
                  </a:lnTo>
                  <a:lnTo>
                    <a:pt x="1212" y="1070"/>
                  </a:lnTo>
                  <a:lnTo>
                    <a:pt x="1199" y="1087"/>
                  </a:lnTo>
                  <a:lnTo>
                    <a:pt x="1185" y="1103"/>
                  </a:lnTo>
                  <a:lnTo>
                    <a:pt x="1171" y="1120"/>
                  </a:lnTo>
                  <a:lnTo>
                    <a:pt x="1157" y="1135"/>
                  </a:lnTo>
                  <a:lnTo>
                    <a:pt x="1142" y="1150"/>
                  </a:lnTo>
                  <a:lnTo>
                    <a:pt x="1127" y="1166"/>
                  </a:lnTo>
                  <a:lnTo>
                    <a:pt x="1111" y="1180"/>
                  </a:lnTo>
                  <a:lnTo>
                    <a:pt x="1094" y="1193"/>
                  </a:lnTo>
                  <a:lnTo>
                    <a:pt x="1078" y="1207"/>
                  </a:lnTo>
                  <a:lnTo>
                    <a:pt x="1060" y="1220"/>
                  </a:lnTo>
                  <a:lnTo>
                    <a:pt x="1042" y="1232"/>
                  </a:lnTo>
                  <a:lnTo>
                    <a:pt x="1024" y="1244"/>
                  </a:lnTo>
                  <a:lnTo>
                    <a:pt x="1024" y="1632"/>
                  </a:lnTo>
                  <a:lnTo>
                    <a:pt x="1023" y="1639"/>
                  </a:lnTo>
                  <a:lnTo>
                    <a:pt x="1022" y="1645"/>
                  </a:lnTo>
                  <a:lnTo>
                    <a:pt x="1018" y="1650"/>
                  </a:lnTo>
                  <a:lnTo>
                    <a:pt x="1014" y="1655"/>
                  </a:lnTo>
                  <a:lnTo>
                    <a:pt x="1010" y="1659"/>
                  </a:lnTo>
                  <a:lnTo>
                    <a:pt x="1004" y="1661"/>
                  </a:lnTo>
                  <a:lnTo>
                    <a:pt x="999" y="1664"/>
                  </a:lnTo>
                  <a:lnTo>
                    <a:pt x="993" y="1664"/>
                  </a:lnTo>
                  <a:lnTo>
                    <a:pt x="891" y="1664"/>
                  </a:lnTo>
                  <a:lnTo>
                    <a:pt x="887" y="1678"/>
                  </a:lnTo>
                  <a:lnTo>
                    <a:pt x="881" y="1691"/>
                  </a:lnTo>
                  <a:lnTo>
                    <a:pt x="873" y="1703"/>
                  </a:lnTo>
                  <a:lnTo>
                    <a:pt x="865" y="1715"/>
                  </a:lnTo>
                  <a:lnTo>
                    <a:pt x="854" y="1726"/>
                  </a:lnTo>
                  <a:lnTo>
                    <a:pt x="843" y="1737"/>
                  </a:lnTo>
                  <a:lnTo>
                    <a:pt x="829" y="1746"/>
                  </a:lnTo>
                  <a:lnTo>
                    <a:pt x="815" y="1755"/>
                  </a:lnTo>
                  <a:lnTo>
                    <a:pt x="801" y="1764"/>
                  </a:lnTo>
                  <a:lnTo>
                    <a:pt x="785" y="1770"/>
                  </a:lnTo>
                  <a:lnTo>
                    <a:pt x="768" y="1777"/>
                  </a:lnTo>
                  <a:lnTo>
                    <a:pt x="750" y="1782"/>
                  </a:lnTo>
                  <a:lnTo>
                    <a:pt x="731" y="1787"/>
                  </a:lnTo>
                  <a:lnTo>
                    <a:pt x="712" y="1789"/>
                  </a:lnTo>
                  <a:lnTo>
                    <a:pt x="692" y="1792"/>
                  </a:lnTo>
                  <a:lnTo>
                    <a:pt x="672" y="1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8">
              <a:extLst>
                <a:ext uri="{FF2B5EF4-FFF2-40B4-BE49-F238E27FC236}">
                  <a16:creationId xmlns:a16="http://schemas.microsoft.com/office/drawing/2014/main" id="{8A3E6D6C-4DF9-4387-B9CB-4E81746E9DFB}"/>
                </a:ext>
              </a:extLst>
            </p:cNvPr>
            <p:cNvSpPr>
              <a:spLocks/>
            </p:cNvSpPr>
            <p:nvPr/>
          </p:nvSpPr>
          <p:spPr bwMode="auto">
            <a:xfrm>
              <a:off x="6948487" y="15621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5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5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5"/>
                  </a:lnTo>
                  <a:lnTo>
                    <a:pt x="19" y="3"/>
                  </a:lnTo>
                  <a:lnTo>
                    <a:pt x="25" y="0"/>
                  </a:lnTo>
                  <a:lnTo>
                    <a:pt x="31" y="0"/>
                  </a:lnTo>
                  <a:lnTo>
                    <a:pt x="672" y="0"/>
                  </a:lnTo>
                  <a:lnTo>
                    <a:pt x="678" y="0"/>
                  </a:lnTo>
                  <a:lnTo>
                    <a:pt x="683" y="3"/>
                  </a:lnTo>
                  <a:lnTo>
                    <a:pt x="689" y="5"/>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Freeform 19">
              <a:extLst>
                <a:ext uri="{FF2B5EF4-FFF2-40B4-BE49-F238E27FC236}">
                  <a16:creationId xmlns:a16="http://schemas.microsoft.com/office/drawing/2014/main" id="{5FE466C3-C7E0-4F93-8B2F-96B055149E3F}"/>
                </a:ext>
              </a:extLst>
            </p:cNvPr>
            <p:cNvSpPr>
              <a:spLocks/>
            </p:cNvSpPr>
            <p:nvPr/>
          </p:nvSpPr>
          <p:spPr bwMode="auto">
            <a:xfrm>
              <a:off x="6948487" y="1612900"/>
              <a:ext cx="279400" cy="25400"/>
            </a:xfrm>
            <a:custGeom>
              <a:avLst/>
              <a:gdLst>
                <a:gd name="T0" fmla="*/ 672 w 703"/>
                <a:gd name="T1" fmla="*/ 64 h 64"/>
                <a:gd name="T2" fmla="*/ 31 w 703"/>
                <a:gd name="T3" fmla="*/ 64 h 64"/>
                <a:gd name="T4" fmla="*/ 25 w 703"/>
                <a:gd name="T5" fmla="*/ 64 h 64"/>
                <a:gd name="T6" fmla="*/ 19 w 703"/>
                <a:gd name="T7" fmla="*/ 61 h 64"/>
                <a:gd name="T8" fmla="*/ 14 w 703"/>
                <a:gd name="T9" fmla="*/ 59 h 64"/>
                <a:gd name="T10" fmla="*/ 8 w 703"/>
                <a:gd name="T11" fmla="*/ 55 h 64"/>
                <a:gd name="T12" fmla="*/ 5 w 703"/>
                <a:gd name="T13" fmla="*/ 50 h 64"/>
                <a:gd name="T14" fmla="*/ 2 w 703"/>
                <a:gd name="T15" fmla="*/ 45 h 64"/>
                <a:gd name="T16" fmla="*/ 0 w 703"/>
                <a:gd name="T17" fmla="*/ 38 h 64"/>
                <a:gd name="T18" fmla="*/ 0 w 703"/>
                <a:gd name="T19" fmla="*/ 32 h 64"/>
                <a:gd name="T20" fmla="*/ 0 w 703"/>
                <a:gd name="T21" fmla="*/ 26 h 64"/>
                <a:gd name="T22" fmla="*/ 2 w 703"/>
                <a:gd name="T23" fmla="*/ 19 h 64"/>
                <a:gd name="T24" fmla="*/ 5 w 703"/>
                <a:gd name="T25" fmla="*/ 14 h 64"/>
                <a:gd name="T26" fmla="*/ 8 w 703"/>
                <a:gd name="T27" fmla="*/ 9 h 64"/>
                <a:gd name="T28" fmla="*/ 14 w 703"/>
                <a:gd name="T29" fmla="*/ 6 h 64"/>
                <a:gd name="T30" fmla="*/ 19 w 703"/>
                <a:gd name="T31" fmla="*/ 3 h 64"/>
                <a:gd name="T32" fmla="*/ 25 w 703"/>
                <a:gd name="T33" fmla="*/ 0 h 64"/>
                <a:gd name="T34" fmla="*/ 31 w 703"/>
                <a:gd name="T35" fmla="*/ 0 h 64"/>
                <a:gd name="T36" fmla="*/ 672 w 703"/>
                <a:gd name="T37" fmla="*/ 0 h 64"/>
                <a:gd name="T38" fmla="*/ 678 w 703"/>
                <a:gd name="T39" fmla="*/ 0 h 64"/>
                <a:gd name="T40" fmla="*/ 683 w 703"/>
                <a:gd name="T41" fmla="*/ 3 h 64"/>
                <a:gd name="T42" fmla="*/ 689 w 703"/>
                <a:gd name="T43" fmla="*/ 6 h 64"/>
                <a:gd name="T44" fmla="*/ 693 w 703"/>
                <a:gd name="T45" fmla="*/ 9 h 64"/>
                <a:gd name="T46" fmla="*/ 697 w 703"/>
                <a:gd name="T47" fmla="*/ 14 h 64"/>
                <a:gd name="T48" fmla="*/ 701 w 703"/>
                <a:gd name="T49" fmla="*/ 19 h 64"/>
                <a:gd name="T50" fmla="*/ 702 w 703"/>
                <a:gd name="T51" fmla="*/ 26 h 64"/>
                <a:gd name="T52" fmla="*/ 703 w 703"/>
                <a:gd name="T53" fmla="*/ 32 h 64"/>
                <a:gd name="T54" fmla="*/ 702 w 703"/>
                <a:gd name="T55" fmla="*/ 38 h 64"/>
                <a:gd name="T56" fmla="*/ 701 w 703"/>
                <a:gd name="T57" fmla="*/ 45 h 64"/>
                <a:gd name="T58" fmla="*/ 697 w 703"/>
                <a:gd name="T59" fmla="*/ 50 h 64"/>
                <a:gd name="T60" fmla="*/ 693 w 703"/>
                <a:gd name="T61" fmla="*/ 55 h 64"/>
                <a:gd name="T62" fmla="*/ 689 w 703"/>
                <a:gd name="T63" fmla="*/ 59 h 64"/>
                <a:gd name="T64" fmla="*/ 683 w 703"/>
                <a:gd name="T65" fmla="*/ 61 h 64"/>
                <a:gd name="T66" fmla="*/ 678 w 703"/>
                <a:gd name="T67" fmla="*/ 64 h 64"/>
                <a:gd name="T68" fmla="*/ 672 w 703"/>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3" h="64">
                  <a:moveTo>
                    <a:pt x="672" y="64"/>
                  </a:moveTo>
                  <a:lnTo>
                    <a:pt x="31" y="64"/>
                  </a:lnTo>
                  <a:lnTo>
                    <a:pt x="25" y="64"/>
                  </a:lnTo>
                  <a:lnTo>
                    <a:pt x="19" y="61"/>
                  </a:lnTo>
                  <a:lnTo>
                    <a:pt x="14" y="59"/>
                  </a:lnTo>
                  <a:lnTo>
                    <a:pt x="8" y="55"/>
                  </a:lnTo>
                  <a:lnTo>
                    <a:pt x="5" y="50"/>
                  </a:lnTo>
                  <a:lnTo>
                    <a:pt x="2" y="45"/>
                  </a:lnTo>
                  <a:lnTo>
                    <a:pt x="0" y="38"/>
                  </a:lnTo>
                  <a:lnTo>
                    <a:pt x="0" y="32"/>
                  </a:lnTo>
                  <a:lnTo>
                    <a:pt x="0" y="26"/>
                  </a:lnTo>
                  <a:lnTo>
                    <a:pt x="2" y="19"/>
                  </a:lnTo>
                  <a:lnTo>
                    <a:pt x="5" y="14"/>
                  </a:lnTo>
                  <a:lnTo>
                    <a:pt x="8" y="9"/>
                  </a:lnTo>
                  <a:lnTo>
                    <a:pt x="14" y="6"/>
                  </a:lnTo>
                  <a:lnTo>
                    <a:pt x="19" y="3"/>
                  </a:lnTo>
                  <a:lnTo>
                    <a:pt x="25" y="0"/>
                  </a:lnTo>
                  <a:lnTo>
                    <a:pt x="31" y="0"/>
                  </a:lnTo>
                  <a:lnTo>
                    <a:pt x="672" y="0"/>
                  </a:lnTo>
                  <a:lnTo>
                    <a:pt x="678" y="0"/>
                  </a:lnTo>
                  <a:lnTo>
                    <a:pt x="683" y="3"/>
                  </a:lnTo>
                  <a:lnTo>
                    <a:pt x="689" y="6"/>
                  </a:lnTo>
                  <a:lnTo>
                    <a:pt x="693" y="9"/>
                  </a:lnTo>
                  <a:lnTo>
                    <a:pt x="697" y="14"/>
                  </a:lnTo>
                  <a:lnTo>
                    <a:pt x="701" y="19"/>
                  </a:lnTo>
                  <a:lnTo>
                    <a:pt x="702" y="26"/>
                  </a:lnTo>
                  <a:lnTo>
                    <a:pt x="703" y="32"/>
                  </a:lnTo>
                  <a:lnTo>
                    <a:pt x="702" y="38"/>
                  </a:lnTo>
                  <a:lnTo>
                    <a:pt x="701" y="45"/>
                  </a:lnTo>
                  <a:lnTo>
                    <a:pt x="697" y="50"/>
                  </a:lnTo>
                  <a:lnTo>
                    <a:pt x="693" y="55"/>
                  </a:lnTo>
                  <a:lnTo>
                    <a:pt x="689" y="59"/>
                  </a:lnTo>
                  <a:lnTo>
                    <a:pt x="683" y="61"/>
                  </a:lnTo>
                  <a:lnTo>
                    <a:pt x="678" y="64"/>
                  </a:lnTo>
                  <a:lnTo>
                    <a:pt x="67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20">
              <a:extLst>
                <a:ext uri="{FF2B5EF4-FFF2-40B4-BE49-F238E27FC236}">
                  <a16:creationId xmlns:a16="http://schemas.microsoft.com/office/drawing/2014/main" id="{308E7572-374D-4B15-99CB-68ACFF3299F1}"/>
                </a:ext>
              </a:extLst>
            </p:cNvPr>
            <p:cNvSpPr>
              <a:spLocks/>
            </p:cNvSpPr>
            <p:nvPr/>
          </p:nvSpPr>
          <p:spPr bwMode="auto">
            <a:xfrm>
              <a:off x="6897687" y="1104900"/>
              <a:ext cx="190500" cy="190500"/>
            </a:xfrm>
            <a:custGeom>
              <a:avLst/>
              <a:gdLst>
                <a:gd name="T0" fmla="*/ 25 w 479"/>
                <a:gd name="T1" fmla="*/ 479 h 480"/>
                <a:gd name="T2" fmla="*/ 13 w 479"/>
                <a:gd name="T3" fmla="*/ 474 h 480"/>
                <a:gd name="T4" fmla="*/ 5 w 479"/>
                <a:gd name="T5" fmla="*/ 466 h 480"/>
                <a:gd name="T6" fmla="*/ 0 w 479"/>
                <a:gd name="T7" fmla="*/ 455 h 480"/>
                <a:gd name="T8" fmla="*/ 0 w 479"/>
                <a:gd name="T9" fmla="*/ 425 h 480"/>
                <a:gd name="T10" fmla="*/ 5 w 479"/>
                <a:gd name="T11" fmla="*/ 380 h 480"/>
                <a:gd name="T12" fmla="*/ 13 w 479"/>
                <a:gd name="T13" fmla="*/ 336 h 480"/>
                <a:gd name="T14" fmla="*/ 26 w 479"/>
                <a:gd name="T15" fmla="*/ 294 h 480"/>
                <a:gd name="T16" fmla="*/ 43 w 479"/>
                <a:gd name="T17" fmla="*/ 253 h 480"/>
                <a:gd name="T18" fmla="*/ 64 w 479"/>
                <a:gd name="T19" fmla="*/ 215 h 480"/>
                <a:gd name="T20" fmla="*/ 88 w 479"/>
                <a:gd name="T21" fmla="*/ 180 h 480"/>
                <a:gd name="T22" fmla="*/ 115 w 479"/>
                <a:gd name="T23" fmla="*/ 147 h 480"/>
                <a:gd name="T24" fmla="*/ 145 w 479"/>
                <a:gd name="T25" fmla="*/ 116 h 480"/>
                <a:gd name="T26" fmla="*/ 180 w 479"/>
                <a:gd name="T27" fmla="*/ 90 h 480"/>
                <a:gd name="T28" fmla="*/ 215 w 479"/>
                <a:gd name="T29" fmla="*/ 64 h 480"/>
                <a:gd name="T30" fmla="*/ 253 w 479"/>
                <a:gd name="T31" fmla="*/ 44 h 480"/>
                <a:gd name="T32" fmla="*/ 294 w 479"/>
                <a:gd name="T33" fmla="*/ 28 h 480"/>
                <a:gd name="T34" fmla="*/ 336 w 479"/>
                <a:gd name="T35" fmla="*/ 14 h 480"/>
                <a:gd name="T36" fmla="*/ 379 w 479"/>
                <a:gd name="T37" fmla="*/ 5 h 480"/>
                <a:gd name="T38" fmla="*/ 424 w 479"/>
                <a:gd name="T39" fmla="*/ 1 h 480"/>
                <a:gd name="T40" fmla="*/ 453 w 479"/>
                <a:gd name="T41" fmla="*/ 1 h 480"/>
                <a:gd name="T42" fmla="*/ 465 w 479"/>
                <a:gd name="T43" fmla="*/ 6 h 480"/>
                <a:gd name="T44" fmla="*/ 474 w 479"/>
                <a:gd name="T45" fmla="*/ 14 h 480"/>
                <a:gd name="T46" fmla="*/ 479 w 479"/>
                <a:gd name="T47" fmla="*/ 25 h 480"/>
                <a:gd name="T48" fmla="*/ 479 w 479"/>
                <a:gd name="T49" fmla="*/ 39 h 480"/>
                <a:gd name="T50" fmla="*/ 474 w 479"/>
                <a:gd name="T51" fmla="*/ 50 h 480"/>
                <a:gd name="T52" fmla="*/ 465 w 479"/>
                <a:gd name="T53" fmla="*/ 58 h 480"/>
                <a:gd name="T54" fmla="*/ 453 w 479"/>
                <a:gd name="T55" fmla="*/ 63 h 480"/>
                <a:gd name="T56" fmla="*/ 427 w 479"/>
                <a:gd name="T57" fmla="*/ 64 h 480"/>
                <a:gd name="T58" fmla="*/ 389 w 479"/>
                <a:gd name="T59" fmla="*/ 68 h 480"/>
                <a:gd name="T60" fmla="*/ 351 w 479"/>
                <a:gd name="T61" fmla="*/ 76 h 480"/>
                <a:gd name="T62" fmla="*/ 315 w 479"/>
                <a:gd name="T63" fmla="*/ 87 h 480"/>
                <a:gd name="T64" fmla="*/ 281 w 479"/>
                <a:gd name="T65" fmla="*/ 102 h 480"/>
                <a:gd name="T66" fmla="*/ 248 w 479"/>
                <a:gd name="T67" fmla="*/ 120 h 480"/>
                <a:gd name="T68" fmla="*/ 218 w 479"/>
                <a:gd name="T69" fmla="*/ 140 h 480"/>
                <a:gd name="T70" fmla="*/ 188 w 479"/>
                <a:gd name="T71" fmla="*/ 163 h 480"/>
                <a:gd name="T72" fmla="*/ 163 w 479"/>
                <a:gd name="T73" fmla="*/ 190 h 480"/>
                <a:gd name="T74" fmla="*/ 139 w 479"/>
                <a:gd name="T75" fmla="*/ 218 h 480"/>
                <a:gd name="T76" fmla="*/ 119 w 479"/>
                <a:gd name="T77" fmla="*/ 250 h 480"/>
                <a:gd name="T78" fmla="*/ 101 w 479"/>
                <a:gd name="T79" fmla="*/ 281 h 480"/>
                <a:gd name="T80" fmla="*/ 86 w 479"/>
                <a:gd name="T81" fmla="*/ 317 h 480"/>
                <a:gd name="T82" fmla="*/ 76 w 479"/>
                <a:gd name="T83" fmla="*/ 352 h 480"/>
                <a:gd name="T84" fmla="*/ 68 w 479"/>
                <a:gd name="T85" fmla="*/ 389 h 480"/>
                <a:gd name="T86" fmla="*/ 63 w 479"/>
                <a:gd name="T87" fmla="*/ 428 h 480"/>
                <a:gd name="T88" fmla="*/ 63 w 479"/>
                <a:gd name="T89" fmla="*/ 455 h 480"/>
                <a:gd name="T90" fmla="*/ 58 w 479"/>
                <a:gd name="T91" fmla="*/ 466 h 480"/>
                <a:gd name="T92" fmla="*/ 49 w 479"/>
                <a:gd name="T93" fmla="*/ 474 h 480"/>
                <a:gd name="T94" fmla="*/ 38 w 479"/>
                <a:gd name="T95" fmla="*/ 47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 h="480">
                  <a:moveTo>
                    <a:pt x="31" y="480"/>
                  </a:moveTo>
                  <a:lnTo>
                    <a:pt x="25" y="479"/>
                  </a:lnTo>
                  <a:lnTo>
                    <a:pt x="19" y="478"/>
                  </a:lnTo>
                  <a:lnTo>
                    <a:pt x="13" y="474"/>
                  </a:lnTo>
                  <a:lnTo>
                    <a:pt x="8" y="470"/>
                  </a:lnTo>
                  <a:lnTo>
                    <a:pt x="5" y="466"/>
                  </a:lnTo>
                  <a:lnTo>
                    <a:pt x="2" y="460"/>
                  </a:lnTo>
                  <a:lnTo>
                    <a:pt x="0" y="455"/>
                  </a:lnTo>
                  <a:lnTo>
                    <a:pt x="0" y="449"/>
                  </a:lnTo>
                  <a:lnTo>
                    <a:pt x="0" y="425"/>
                  </a:lnTo>
                  <a:lnTo>
                    <a:pt x="1" y="402"/>
                  </a:lnTo>
                  <a:lnTo>
                    <a:pt x="5" y="380"/>
                  </a:lnTo>
                  <a:lnTo>
                    <a:pt x="8" y="357"/>
                  </a:lnTo>
                  <a:lnTo>
                    <a:pt x="13" y="336"/>
                  </a:lnTo>
                  <a:lnTo>
                    <a:pt x="20" y="315"/>
                  </a:lnTo>
                  <a:lnTo>
                    <a:pt x="26" y="294"/>
                  </a:lnTo>
                  <a:lnTo>
                    <a:pt x="34" y="274"/>
                  </a:lnTo>
                  <a:lnTo>
                    <a:pt x="43" y="253"/>
                  </a:lnTo>
                  <a:lnTo>
                    <a:pt x="53" y="234"/>
                  </a:lnTo>
                  <a:lnTo>
                    <a:pt x="64" y="215"/>
                  </a:lnTo>
                  <a:lnTo>
                    <a:pt x="76" y="198"/>
                  </a:lnTo>
                  <a:lnTo>
                    <a:pt x="88" y="180"/>
                  </a:lnTo>
                  <a:lnTo>
                    <a:pt x="101" y="163"/>
                  </a:lnTo>
                  <a:lnTo>
                    <a:pt x="115" y="147"/>
                  </a:lnTo>
                  <a:lnTo>
                    <a:pt x="130" y="132"/>
                  </a:lnTo>
                  <a:lnTo>
                    <a:pt x="145" y="116"/>
                  </a:lnTo>
                  <a:lnTo>
                    <a:pt x="162" y="102"/>
                  </a:lnTo>
                  <a:lnTo>
                    <a:pt x="180" y="90"/>
                  </a:lnTo>
                  <a:lnTo>
                    <a:pt x="196" y="77"/>
                  </a:lnTo>
                  <a:lnTo>
                    <a:pt x="215" y="64"/>
                  </a:lnTo>
                  <a:lnTo>
                    <a:pt x="234" y="54"/>
                  </a:lnTo>
                  <a:lnTo>
                    <a:pt x="253" y="44"/>
                  </a:lnTo>
                  <a:lnTo>
                    <a:pt x="273" y="35"/>
                  </a:lnTo>
                  <a:lnTo>
                    <a:pt x="294" y="28"/>
                  </a:lnTo>
                  <a:lnTo>
                    <a:pt x="314" y="20"/>
                  </a:lnTo>
                  <a:lnTo>
                    <a:pt x="336" y="14"/>
                  </a:lnTo>
                  <a:lnTo>
                    <a:pt x="357" y="9"/>
                  </a:lnTo>
                  <a:lnTo>
                    <a:pt x="379" y="5"/>
                  </a:lnTo>
                  <a:lnTo>
                    <a:pt x="401" y="2"/>
                  </a:lnTo>
                  <a:lnTo>
                    <a:pt x="424" y="1"/>
                  </a:lnTo>
                  <a:lnTo>
                    <a:pt x="447" y="0"/>
                  </a:lnTo>
                  <a:lnTo>
                    <a:pt x="453" y="1"/>
                  </a:lnTo>
                  <a:lnTo>
                    <a:pt x="460" y="2"/>
                  </a:lnTo>
                  <a:lnTo>
                    <a:pt x="465" y="6"/>
                  </a:lnTo>
                  <a:lnTo>
                    <a:pt x="470" y="10"/>
                  </a:lnTo>
                  <a:lnTo>
                    <a:pt x="474" y="14"/>
                  </a:lnTo>
                  <a:lnTo>
                    <a:pt x="476" y="20"/>
                  </a:lnTo>
                  <a:lnTo>
                    <a:pt x="479" y="25"/>
                  </a:lnTo>
                  <a:lnTo>
                    <a:pt x="479" y="31"/>
                  </a:lnTo>
                  <a:lnTo>
                    <a:pt x="479" y="39"/>
                  </a:lnTo>
                  <a:lnTo>
                    <a:pt x="476" y="44"/>
                  </a:lnTo>
                  <a:lnTo>
                    <a:pt x="474" y="50"/>
                  </a:lnTo>
                  <a:lnTo>
                    <a:pt x="470" y="54"/>
                  </a:lnTo>
                  <a:lnTo>
                    <a:pt x="465" y="58"/>
                  </a:lnTo>
                  <a:lnTo>
                    <a:pt x="460" y="62"/>
                  </a:lnTo>
                  <a:lnTo>
                    <a:pt x="453" y="63"/>
                  </a:lnTo>
                  <a:lnTo>
                    <a:pt x="447" y="64"/>
                  </a:lnTo>
                  <a:lnTo>
                    <a:pt x="427" y="64"/>
                  </a:lnTo>
                  <a:lnTo>
                    <a:pt x="408" y="66"/>
                  </a:lnTo>
                  <a:lnTo>
                    <a:pt x="389" y="68"/>
                  </a:lnTo>
                  <a:lnTo>
                    <a:pt x="370" y="72"/>
                  </a:lnTo>
                  <a:lnTo>
                    <a:pt x="351" y="76"/>
                  </a:lnTo>
                  <a:lnTo>
                    <a:pt x="333" y="81"/>
                  </a:lnTo>
                  <a:lnTo>
                    <a:pt x="315" y="87"/>
                  </a:lnTo>
                  <a:lnTo>
                    <a:pt x="297" y="95"/>
                  </a:lnTo>
                  <a:lnTo>
                    <a:pt x="281" y="102"/>
                  </a:lnTo>
                  <a:lnTo>
                    <a:pt x="265" y="110"/>
                  </a:lnTo>
                  <a:lnTo>
                    <a:pt x="248" y="120"/>
                  </a:lnTo>
                  <a:lnTo>
                    <a:pt x="233" y="129"/>
                  </a:lnTo>
                  <a:lnTo>
                    <a:pt x="218" y="140"/>
                  </a:lnTo>
                  <a:lnTo>
                    <a:pt x="202" y="152"/>
                  </a:lnTo>
                  <a:lnTo>
                    <a:pt x="188" y="163"/>
                  </a:lnTo>
                  <a:lnTo>
                    <a:pt x="176" y="177"/>
                  </a:lnTo>
                  <a:lnTo>
                    <a:pt x="163" y="190"/>
                  </a:lnTo>
                  <a:lnTo>
                    <a:pt x="150" y="204"/>
                  </a:lnTo>
                  <a:lnTo>
                    <a:pt x="139" y="218"/>
                  </a:lnTo>
                  <a:lnTo>
                    <a:pt x="129" y="233"/>
                  </a:lnTo>
                  <a:lnTo>
                    <a:pt x="119" y="250"/>
                  </a:lnTo>
                  <a:lnTo>
                    <a:pt x="110" y="265"/>
                  </a:lnTo>
                  <a:lnTo>
                    <a:pt x="101" y="281"/>
                  </a:lnTo>
                  <a:lnTo>
                    <a:pt x="93" y="299"/>
                  </a:lnTo>
                  <a:lnTo>
                    <a:pt x="86" y="317"/>
                  </a:lnTo>
                  <a:lnTo>
                    <a:pt x="81" y="334"/>
                  </a:lnTo>
                  <a:lnTo>
                    <a:pt x="76" y="352"/>
                  </a:lnTo>
                  <a:lnTo>
                    <a:pt x="71" y="371"/>
                  </a:lnTo>
                  <a:lnTo>
                    <a:pt x="68" y="389"/>
                  </a:lnTo>
                  <a:lnTo>
                    <a:pt x="65" y="409"/>
                  </a:lnTo>
                  <a:lnTo>
                    <a:pt x="63" y="428"/>
                  </a:lnTo>
                  <a:lnTo>
                    <a:pt x="63" y="449"/>
                  </a:lnTo>
                  <a:lnTo>
                    <a:pt x="63" y="455"/>
                  </a:lnTo>
                  <a:lnTo>
                    <a:pt x="60" y="460"/>
                  </a:lnTo>
                  <a:lnTo>
                    <a:pt x="58" y="466"/>
                  </a:lnTo>
                  <a:lnTo>
                    <a:pt x="54" y="470"/>
                  </a:lnTo>
                  <a:lnTo>
                    <a:pt x="49" y="474"/>
                  </a:lnTo>
                  <a:lnTo>
                    <a:pt x="44" y="478"/>
                  </a:lnTo>
                  <a:lnTo>
                    <a:pt x="38" y="479"/>
                  </a:lnTo>
                  <a:lnTo>
                    <a:pt x="31"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6" name="Gruppieren 735">
            <a:extLst>
              <a:ext uri="{FF2B5EF4-FFF2-40B4-BE49-F238E27FC236}">
                <a16:creationId xmlns:a16="http://schemas.microsoft.com/office/drawing/2014/main" id="{43E70F04-7D6E-4F55-9ECE-C44BD722DA58}"/>
              </a:ext>
            </a:extLst>
          </p:cNvPr>
          <p:cNvGrpSpPr>
            <a:grpSpLocks noChangeAspect="1"/>
          </p:cNvGrpSpPr>
          <p:nvPr/>
        </p:nvGrpSpPr>
        <p:grpSpPr>
          <a:xfrm>
            <a:off x="1477864" y="4879041"/>
            <a:ext cx="287575" cy="285619"/>
            <a:chOff x="3896333" y="4953768"/>
            <a:chExt cx="219725" cy="218230"/>
          </a:xfrm>
          <a:solidFill>
            <a:schemeClr val="bg1"/>
          </a:solidFill>
          <a:effectLst/>
        </p:grpSpPr>
        <p:sp>
          <p:nvSpPr>
            <p:cNvPr id="737" name="Freeform 273">
              <a:extLst>
                <a:ext uri="{FF2B5EF4-FFF2-40B4-BE49-F238E27FC236}">
                  <a16:creationId xmlns:a16="http://schemas.microsoft.com/office/drawing/2014/main" id="{A66EA8F8-DED1-4773-815F-22CCAB4A9724}"/>
                </a:ext>
              </a:extLst>
            </p:cNvPr>
            <p:cNvSpPr>
              <a:spLocks noEditPoints="1"/>
            </p:cNvSpPr>
            <p:nvPr/>
          </p:nvSpPr>
          <p:spPr bwMode="auto">
            <a:xfrm>
              <a:off x="3896333" y="4953768"/>
              <a:ext cx="219725" cy="218230"/>
            </a:xfrm>
            <a:custGeom>
              <a:avLst/>
              <a:gdLst>
                <a:gd name="T0" fmla="*/ 239 w 585"/>
                <a:gd name="T1" fmla="*/ 554 h 586"/>
                <a:gd name="T2" fmla="*/ 177 w 585"/>
                <a:gd name="T3" fmla="*/ 534 h 586"/>
                <a:gd name="T4" fmla="*/ 122 w 585"/>
                <a:gd name="T5" fmla="*/ 500 h 586"/>
                <a:gd name="T6" fmla="*/ 78 w 585"/>
                <a:gd name="T7" fmla="*/ 452 h 586"/>
                <a:gd name="T8" fmla="*/ 46 w 585"/>
                <a:gd name="T9" fmla="*/ 397 h 586"/>
                <a:gd name="T10" fmla="*/ 29 w 585"/>
                <a:gd name="T11" fmla="*/ 333 h 586"/>
                <a:gd name="T12" fmla="*/ 26 w 585"/>
                <a:gd name="T13" fmla="*/ 266 h 586"/>
                <a:gd name="T14" fmla="*/ 42 w 585"/>
                <a:gd name="T15" fmla="*/ 201 h 586"/>
                <a:gd name="T16" fmla="*/ 71 w 585"/>
                <a:gd name="T17" fmla="*/ 144 h 586"/>
                <a:gd name="T18" fmla="*/ 112 w 585"/>
                <a:gd name="T19" fmla="*/ 95 h 586"/>
                <a:gd name="T20" fmla="*/ 165 w 585"/>
                <a:gd name="T21" fmla="*/ 58 h 586"/>
                <a:gd name="T22" fmla="*/ 226 w 585"/>
                <a:gd name="T23" fmla="*/ 34 h 586"/>
                <a:gd name="T24" fmla="*/ 293 w 585"/>
                <a:gd name="T25" fmla="*/ 25 h 586"/>
                <a:gd name="T26" fmla="*/ 359 w 585"/>
                <a:gd name="T27" fmla="*/ 34 h 586"/>
                <a:gd name="T28" fmla="*/ 419 w 585"/>
                <a:gd name="T29" fmla="*/ 58 h 586"/>
                <a:gd name="T30" fmla="*/ 472 w 585"/>
                <a:gd name="T31" fmla="*/ 95 h 586"/>
                <a:gd name="T32" fmla="*/ 514 w 585"/>
                <a:gd name="T33" fmla="*/ 144 h 586"/>
                <a:gd name="T34" fmla="*/ 544 w 585"/>
                <a:gd name="T35" fmla="*/ 201 h 586"/>
                <a:gd name="T36" fmla="*/ 558 w 585"/>
                <a:gd name="T37" fmla="*/ 266 h 586"/>
                <a:gd name="T38" fmla="*/ 557 w 585"/>
                <a:gd name="T39" fmla="*/ 333 h 586"/>
                <a:gd name="T40" fmla="*/ 539 w 585"/>
                <a:gd name="T41" fmla="*/ 397 h 586"/>
                <a:gd name="T42" fmla="*/ 506 w 585"/>
                <a:gd name="T43" fmla="*/ 452 h 586"/>
                <a:gd name="T44" fmla="*/ 462 w 585"/>
                <a:gd name="T45" fmla="*/ 500 h 586"/>
                <a:gd name="T46" fmla="*/ 409 w 585"/>
                <a:gd name="T47" fmla="*/ 534 h 586"/>
                <a:gd name="T48" fmla="*/ 346 w 585"/>
                <a:gd name="T49" fmla="*/ 554 h 586"/>
                <a:gd name="T50" fmla="*/ 293 w 585"/>
                <a:gd name="T51" fmla="*/ 0 h 586"/>
                <a:gd name="T52" fmla="*/ 220 w 585"/>
                <a:gd name="T53" fmla="*/ 9 h 586"/>
                <a:gd name="T54" fmla="*/ 153 w 585"/>
                <a:gd name="T55" fmla="*/ 36 h 586"/>
                <a:gd name="T56" fmla="*/ 95 w 585"/>
                <a:gd name="T57" fmla="*/ 77 h 586"/>
                <a:gd name="T58" fmla="*/ 50 w 585"/>
                <a:gd name="T59" fmla="*/ 129 h 586"/>
                <a:gd name="T60" fmla="*/ 18 w 585"/>
                <a:gd name="T61" fmla="*/ 193 h 586"/>
                <a:gd name="T62" fmla="*/ 1 w 585"/>
                <a:gd name="T63" fmla="*/ 263 h 586"/>
                <a:gd name="T64" fmla="*/ 3 w 585"/>
                <a:gd name="T65" fmla="*/ 338 h 586"/>
                <a:gd name="T66" fmla="*/ 22 w 585"/>
                <a:gd name="T67" fmla="*/ 407 h 586"/>
                <a:gd name="T68" fmla="*/ 58 w 585"/>
                <a:gd name="T69" fmla="*/ 469 h 586"/>
                <a:gd name="T70" fmla="*/ 106 w 585"/>
                <a:gd name="T71" fmla="*/ 519 h 586"/>
                <a:gd name="T72" fmla="*/ 166 w 585"/>
                <a:gd name="T73" fmla="*/ 557 h 586"/>
                <a:gd name="T74" fmla="*/ 234 w 585"/>
                <a:gd name="T75" fmla="*/ 580 h 586"/>
                <a:gd name="T76" fmla="*/ 308 w 585"/>
                <a:gd name="T77" fmla="*/ 586 h 586"/>
                <a:gd name="T78" fmla="*/ 380 w 585"/>
                <a:gd name="T79" fmla="*/ 573 h 586"/>
                <a:gd name="T80" fmla="*/ 444 w 585"/>
                <a:gd name="T81" fmla="*/ 544 h 586"/>
                <a:gd name="T82" fmla="*/ 499 w 585"/>
                <a:gd name="T83" fmla="*/ 500 h 586"/>
                <a:gd name="T84" fmla="*/ 543 w 585"/>
                <a:gd name="T85" fmla="*/ 445 h 586"/>
                <a:gd name="T86" fmla="*/ 572 w 585"/>
                <a:gd name="T87" fmla="*/ 380 h 586"/>
                <a:gd name="T88" fmla="*/ 585 w 585"/>
                <a:gd name="T89" fmla="*/ 307 h 586"/>
                <a:gd name="T90" fmla="*/ 579 w 585"/>
                <a:gd name="T91" fmla="*/ 234 h 586"/>
                <a:gd name="T92" fmla="*/ 557 w 585"/>
                <a:gd name="T93" fmla="*/ 167 h 586"/>
                <a:gd name="T94" fmla="*/ 518 w 585"/>
                <a:gd name="T95" fmla="*/ 107 h 586"/>
                <a:gd name="T96" fmla="*/ 468 w 585"/>
                <a:gd name="T97" fmla="*/ 58 h 586"/>
                <a:gd name="T98" fmla="*/ 407 w 585"/>
                <a:gd name="T99" fmla="*/ 23 h 586"/>
                <a:gd name="T100" fmla="*/ 337 w 585"/>
                <a:gd name="T101" fmla="*/ 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5" h="586">
                  <a:moveTo>
                    <a:pt x="293" y="560"/>
                  </a:moveTo>
                  <a:lnTo>
                    <a:pt x="279" y="560"/>
                  </a:lnTo>
                  <a:lnTo>
                    <a:pt x="265" y="559"/>
                  </a:lnTo>
                  <a:lnTo>
                    <a:pt x="252" y="558"/>
                  </a:lnTo>
                  <a:lnTo>
                    <a:pt x="239" y="554"/>
                  </a:lnTo>
                  <a:lnTo>
                    <a:pt x="226" y="552"/>
                  </a:lnTo>
                  <a:lnTo>
                    <a:pt x="213" y="548"/>
                  </a:lnTo>
                  <a:lnTo>
                    <a:pt x="200" y="544"/>
                  </a:lnTo>
                  <a:lnTo>
                    <a:pt x="189" y="539"/>
                  </a:lnTo>
                  <a:lnTo>
                    <a:pt x="177" y="534"/>
                  </a:lnTo>
                  <a:lnTo>
                    <a:pt x="165" y="528"/>
                  </a:lnTo>
                  <a:lnTo>
                    <a:pt x="154" y="521"/>
                  </a:lnTo>
                  <a:lnTo>
                    <a:pt x="144" y="515"/>
                  </a:lnTo>
                  <a:lnTo>
                    <a:pt x="133" y="507"/>
                  </a:lnTo>
                  <a:lnTo>
                    <a:pt x="122" y="500"/>
                  </a:lnTo>
                  <a:lnTo>
                    <a:pt x="112" y="491"/>
                  </a:lnTo>
                  <a:lnTo>
                    <a:pt x="104" y="482"/>
                  </a:lnTo>
                  <a:lnTo>
                    <a:pt x="94" y="473"/>
                  </a:lnTo>
                  <a:lnTo>
                    <a:pt x="87" y="463"/>
                  </a:lnTo>
                  <a:lnTo>
                    <a:pt x="78" y="452"/>
                  </a:lnTo>
                  <a:lnTo>
                    <a:pt x="71" y="443"/>
                  </a:lnTo>
                  <a:lnTo>
                    <a:pt x="64" y="432"/>
                  </a:lnTo>
                  <a:lnTo>
                    <a:pt x="58" y="420"/>
                  </a:lnTo>
                  <a:lnTo>
                    <a:pt x="51" y="408"/>
                  </a:lnTo>
                  <a:lnTo>
                    <a:pt x="46" y="397"/>
                  </a:lnTo>
                  <a:lnTo>
                    <a:pt x="42" y="385"/>
                  </a:lnTo>
                  <a:lnTo>
                    <a:pt x="37" y="372"/>
                  </a:lnTo>
                  <a:lnTo>
                    <a:pt x="34" y="360"/>
                  </a:lnTo>
                  <a:lnTo>
                    <a:pt x="31" y="347"/>
                  </a:lnTo>
                  <a:lnTo>
                    <a:pt x="29" y="333"/>
                  </a:lnTo>
                  <a:lnTo>
                    <a:pt x="26" y="320"/>
                  </a:lnTo>
                  <a:lnTo>
                    <a:pt x="25" y="306"/>
                  </a:lnTo>
                  <a:lnTo>
                    <a:pt x="25" y="292"/>
                  </a:lnTo>
                  <a:lnTo>
                    <a:pt x="25" y="280"/>
                  </a:lnTo>
                  <a:lnTo>
                    <a:pt x="26" y="266"/>
                  </a:lnTo>
                  <a:lnTo>
                    <a:pt x="29" y="253"/>
                  </a:lnTo>
                  <a:lnTo>
                    <a:pt x="31" y="240"/>
                  </a:lnTo>
                  <a:lnTo>
                    <a:pt x="34" y="227"/>
                  </a:lnTo>
                  <a:lnTo>
                    <a:pt x="37" y="214"/>
                  </a:lnTo>
                  <a:lnTo>
                    <a:pt x="42" y="201"/>
                  </a:lnTo>
                  <a:lnTo>
                    <a:pt x="46" y="189"/>
                  </a:lnTo>
                  <a:lnTo>
                    <a:pt x="51" y="178"/>
                  </a:lnTo>
                  <a:lnTo>
                    <a:pt x="58" y="166"/>
                  </a:lnTo>
                  <a:lnTo>
                    <a:pt x="64" y="155"/>
                  </a:lnTo>
                  <a:lnTo>
                    <a:pt x="71" y="144"/>
                  </a:lnTo>
                  <a:lnTo>
                    <a:pt x="78" y="134"/>
                  </a:lnTo>
                  <a:lnTo>
                    <a:pt x="87" y="123"/>
                  </a:lnTo>
                  <a:lnTo>
                    <a:pt x="94" y="113"/>
                  </a:lnTo>
                  <a:lnTo>
                    <a:pt x="104" y="105"/>
                  </a:lnTo>
                  <a:lnTo>
                    <a:pt x="112" y="95"/>
                  </a:lnTo>
                  <a:lnTo>
                    <a:pt x="122" y="87"/>
                  </a:lnTo>
                  <a:lnTo>
                    <a:pt x="133" y="79"/>
                  </a:lnTo>
                  <a:lnTo>
                    <a:pt x="144" y="71"/>
                  </a:lnTo>
                  <a:lnTo>
                    <a:pt x="154" y="65"/>
                  </a:lnTo>
                  <a:lnTo>
                    <a:pt x="165" y="58"/>
                  </a:lnTo>
                  <a:lnTo>
                    <a:pt x="177" y="52"/>
                  </a:lnTo>
                  <a:lnTo>
                    <a:pt x="189" y="47"/>
                  </a:lnTo>
                  <a:lnTo>
                    <a:pt x="200" y="42"/>
                  </a:lnTo>
                  <a:lnTo>
                    <a:pt x="213" y="38"/>
                  </a:lnTo>
                  <a:lnTo>
                    <a:pt x="226" y="34"/>
                  </a:lnTo>
                  <a:lnTo>
                    <a:pt x="239" y="30"/>
                  </a:lnTo>
                  <a:lnTo>
                    <a:pt x="252" y="28"/>
                  </a:lnTo>
                  <a:lnTo>
                    <a:pt x="265" y="27"/>
                  </a:lnTo>
                  <a:lnTo>
                    <a:pt x="279" y="26"/>
                  </a:lnTo>
                  <a:lnTo>
                    <a:pt x="293" y="25"/>
                  </a:lnTo>
                  <a:lnTo>
                    <a:pt x="306" y="26"/>
                  </a:lnTo>
                  <a:lnTo>
                    <a:pt x="320" y="27"/>
                  </a:lnTo>
                  <a:lnTo>
                    <a:pt x="334" y="28"/>
                  </a:lnTo>
                  <a:lnTo>
                    <a:pt x="346" y="30"/>
                  </a:lnTo>
                  <a:lnTo>
                    <a:pt x="359" y="34"/>
                  </a:lnTo>
                  <a:lnTo>
                    <a:pt x="372" y="38"/>
                  </a:lnTo>
                  <a:lnTo>
                    <a:pt x="384" y="42"/>
                  </a:lnTo>
                  <a:lnTo>
                    <a:pt x="397" y="47"/>
                  </a:lnTo>
                  <a:lnTo>
                    <a:pt x="409" y="52"/>
                  </a:lnTo>
                  <a:lnTo>
                    <a:pt x="419" y="58"/>
                  </a:lnTo>
                  <a:lnTo>
                    <a:pt x="431" y="65"/>
                  </a:lnTo>
                  <a:lnTo>
                    <a:pt x="442" y="71"/>
                  </a:lnTo>
                  <a:lnTo>
                    <a:pt x="453" y="79"/>
                  </a:lnTo>
                  <a:lnTo>
                    <a:pt x="462" y="87"/>
                  </a:lnTo>
                  <a:lnTo>
                    <a:pt x="472" y="95"/>
                  </a:lnTo>
                  <a:lnTo>
                    <a:pt x="482" y="105"/>
                  </a:lnTo>
                  <a:lnTo>
                    <a:pt x="490" y="113"/>
                  </a:lnTo>
                  <a:lnTo>
                    <a:pt x="499" y="123"/>
                  </a:lnTo>
                  <a:lnTo>
                    <a:pt x="506" y="134"/>
                  </a:lnTo>
                  <a:lnTo>
                    <a:pt x="514" y="144"/>
                  </a:lnTo>
                  <a:lnTo>
                    <a:pt x="521" y="155"/>
                  </a:lnTo>
                  <a:lnTo>
                    <a:pt x="528" y="166"/>
                  </a:lnTo>
                  <a:lnTo>
                    <a:pt x="533" y="178"/>
                  </a:lnTo>
                  <a:lnTo>
                    <a:pt x="539" y="189"/>
                  </a:lnTo>
                  <a:lnTo>
                    <a:pt x="544" y="201"/>
                  </a:lnTo>
                  <a:lnTo>
                    <a:pt x="548" y="214"/>
                  </a:lnTo>
                  <a:lnTo>
                    <a:pt x="551" y="227"/>
                  </a:lnTo>
                  <a:lnTo>
                    <a:pt x="555" y="240"/>
                  </a:lnTo>
                  <a:lnTo>
                    <a:pt x="557" y="253"/>
                  </a:lnTo>
                  <a:lnTo>
                    <a:pt x="558" y="266"/>
                  </a:lnTo>
                  <a:lnTo>
                    <a:pt x="559" y="280"/>
                  </a:lnTo>
                  <a:lnTo>
                    <a:pt x="560" y="292"/>
                  </a:lnTo>
                  <a:lnTo>
                    <a:pt x="559" y="306"/>
                  </a:lnTo>
                  <a:lnTo>
                    <a:pt x="558" y="320"/>
                  </a:lnTo>
                  <a:lnTo>
                    <a:pt x="557" y="333"/>
                  </a:lnTo>
                  <a:lnTo>
                    <a:pt x="555" y="347"/>
                  </a:lnTo>
                  <a:lnTo>
                    <a:pt x="551" y="360"/>
                  </a:lnTo>
                  <a:lnTo>
                    <a:pt x="548" y="372"/>
                  </a:lnTo>
                  <a:lnTo>
                    <a:pt x="544" y="385"/>
                  </a:lnTo>
                  <a:lnTo>
                    <a:pt x="539" y="397"/>
                  </a:lnTo>
                  <a:lnTo>
                    <a:pt x="533" y="408"/>
                  </a:lnTo>
                  <a:lnTo>
                    <a:pt x="528" y="420"/>
                  </a:lnTo>
                  <a:lnTo>
                    <a:pt x="521" y="432"/>
                  </a:lnTo>
                  <a:lnTo>
                    <a:pt x="514" y="443"/>
                  </a:lnTo>
                  <a:lnTo>
                    <a:pt x="506" y="452"/>
                  </a:lnTo>
                  <a:lnTo>
                    <a:pt x="499" y="463"/>
                  </a:lnTo>
                  <a:lnTo>
                    <a:pt x="490" y="473"/>
                  </a:lnTo>
                  <a:lnTo>
                    <a:pt x="482" y="482"/>
                  </a:lnTo>
                  <a:lnTo>
                    <a:pt x="472" y="491"/>
                  </a:lnTo>
                  <a:lnTo>
                    <a:pt x="462" y="500"/>
                  </a:lnTo>
                  <a:lnTo>
                    <a:pt x="453" y="507"/>
                  </a:lnTo>
                  <a:lnTo>
                    <a:pt x="442" y="515"/>
                  </a:lnTo>
                  <a:lnTo>
                    <a:pt x="431" y="521"/>
                  </a:lnTo>
                  <a:lnTo>
                    <a:pt x="419" y="528"/>
                  </a:lnTo>
                  <a:lnTo>
                    <a:pt x="409" y="534"/>
                  </a:lnTo>
                  <a:lnTo>
                    <a:pt x="397" y="539"/>
                  </a:lnTo>
                  <a:lnTo>
                    <a:pt x="384" y="544"/>
                  </a:lnTo>
                  <a:lnTo>
                    <a:pt x="372" y="548"/>
                  </a:lnTo>
                  <a:lnTo>
                    <a:pt x="359" y="552"/>
                  </a:lnTo>
                  <a:lnTo>
                    <a:pt x="346" y="554"/>
                  </a:lnTo>
                  <a:lnTo>
                    <a:pt x="334" y="558"/>
                  </a:lnTo>
                  <a:lnTo>
                    <a:pt x="320" y="559"/>
                  </a:lnTo>
                  <a:lnTo>
                    <a:pt x="306" y="560"/>
                  </a:lnTo>
                  <a:lnTo>
                    <a:pt x="293" y="560"/>
                  </a:lnTo>
                  <a:close/>
                  <a:moveTo>
                    <a:pt x="293" y="0"/>
                  </a:moveTo>
                  <a:lnTo>
                    <a:pt x="278" y="0"/>
                  </a:lnTo>
                  <a:lnTo>
                    <a:pt x="263" y="1"/>
                  </a:lnTo>
                  <a:lnTo>
                    <a:pt x="248" y="4"/>
                  </a:lnTo>
                  <a:lnTo>
                    <a:pt x="234" y="6"/>
                  </a:lnTo>
                  <a:lnTo>
                    <a:pt x="220" y="9"/>
                  </a:lnTo>
                  <a:lnTo>
                    <a:pt x="206" y="13"/>
                  </a:lnTo>
                  <a:lnTo>
                    <a:pt x="192" y="18"/>
                  </a:lnTo>
                  <a:lnTo>
                    <a:pt x="179" y="23"/>
                  </a:lnTo>
                  <a:lnTo>
                    <a:pt x="166" y="29"/>
                  </a:lnTo>
                  <a:lnTo>
                    <a:pt x="153" y="36"/>
                  </a:lnTo>
                  <a:lnTo>
                    <a:pt x="140" y="42"/>
                  </a:lnTo>
                  <a:lnTo>
                    <a:pt x="128" y="51"/>
                  </a:lnTo>
                  <a:lnTo>
                    <a:pt x="118" y="58"/>
                  </a:lnTo>
                  <a:lnTo>
                    <a:pt x="106" y="67"/>
                  </a:lnTo>
                  <a:lnTo>
                    <a:pt x="95" y="77"/>
                  </a:lnTo>
                  <a:lnTo>
                    <a:pt x="86" y="86"/>
                  </a:lnTo>
                  <a:lnTo>
                    <a:pt x="76" y="97"/>
                  </a:lnTo>
                  <a:lnTo>
                    <a:pt x="66" y="107"/>
                  </a:lnTo>
                  <a:lnTo>
                    <a:pt x="58" y="118"/>
                  </a:lnTo>
                  <a:lnTo>
                    <a:pt x="50" y="129"/>
                  </a:lnTo>
                  <a:lnTo>
                    <a:pt x="42" y="142"/>
                  </a:lnTo>
                  <a:lnTo>
                    <a:pt x="35" y="154"/>
                  </a:lnTo>
                  <a:lnTo>
                    <a:pt x="29" y="167"/>
                  </a:lnTo>
                  <a:lnTo>
                    <a:pt x="22" y="180"/>
                  </a:lnTo>
                  <a:lnTo>
                    <a:pt x="18" y="193"/>
                  </a:lnTo>
                  <a:lnTo>
                    <a:pt x="13" y="207"/>
                  </a:lnTo>
                  <a:lnTo>
                    <a:pt x="9" y="220"/>
                  </a:lnTo>
                  <a:lnTo>
                    <a:pt x="5" y="234"/>
                  </a:lnTo>
                  <a:lnTo>
                    <a:pt x="3" y="248"/>
                  </a:lnTo>
                  <a:lnTo>
                    <a:pt x="1" y="263"/>
                  </a:lnTo>
                  <a:lnTo>
                    <a:pt x="0" y="277"/>
                  </a:lnTo>
                  <a:lnTo>
                    <a:pt x="0" y="292"/>
                  </a:lnTo>
                  <a:lnTo>
                    <a:pt x="0" y="307"/>
                  </a:lnTo>
                  <a:lnTo>
                    <a:pt x="1" y="322"/>
                  </a:lnTo>
                  <a:lnTo>
                    <a:pt x="3" y="338"/>
                  </a:lnTo>
                  <a:lnTo>
                    <a:pt x="5" y="351"/>
                  </a:lnTo>
                  <a:lnTo>
                    <a:pt x="9" y="367"/>
                  </a:lnTo>
                  <a:lnTo>
                    <a:pt x="13" y="380"/>
                  </a:lnTo>
                  <a:lnTo>
                    <a:pt x="18" y="393"/>
                  </a:lnTo>
                  <a:lnTo>
                    <a:pt x="22" y="407"/>
                  </a:lnTo>
                  <a:lnTo>
                    <a:pt x="29" y="420"/>
                  </a:lnTo>
                  <a:lnTo>
                    <a:pt x="35" y="432"/>
                  </a:lnTo>
                  <a:lnTo>
                    <a:pt x="42" y="445"/>
                  </a:lnTo>
                  <a:lnTo>
                    <a:pt x="50" y="457"/>
                  </a:lnTo>
                  <a:lnTo>
                    <a:pt x="58" y="469"/>
                  </a:lnTo>
                  <a:lnTo>
                    <a:pt x="66" y="479"/>
                  </a:lnTo>
                  <a:lnTo>
                    <a:pt x="76" y="490"/>
                  </a:lnTo>
                  <a:lnTo>
                    <a:pt x="86" y="500"/>
                  </a:lnTo>
                  <a:lnTo>
                    <a:pt x="95" y="509"/>
                  </a:lnTo>
                  <a:lnTo>
                    <a:pt x="106" y="519"/>
                  </a:lnTo>
                  <a:lnTo>
                    <a:pt x="118" y="528"/>
                  </a:lnTo>
                  <a:lnTo>
                    <a:pt x="128" y="536"/>
                  </a:lnTo>
                  <a:lnTo>
                    <a:pt x="140" y="544"/>
                  </a:lnTo>
                  <a:lnTo>
                    <a:pt x="153" y="550"/>
                  </a:lnTo>
                  <a:lnTo>
                    <a:pt x="166" y="557"/>
                  </a:lnTo>
                  <a:lnTo>
                    <a:pt x="179" y="563"/>
                  </a:lnTo>
                  <a:lnTo>
                    <a:pt x="192" y="568"/>
                  </a:lnTo>
                  <a:lnTo>
                    <a:pt x="206" y="573"/>
                  </a:lnTo>
                  <a:lnTo>
                    <a:pt x="220" y="577"/>
                  </a:lnTo>
                  <a:lnTo>
                    <a:pt x="234" y="580"/>
                  </a:lnTo>
                  <a:lnTo>
                    <a:pt x="248" y="582"/>
                  </a:lnTo>
                  <a:lnTo>
                    <a:pt x="263" y="584"/>
                  </a:lnTo>
                  <a:lnTo>
                    <a:pt x="278" y="586"/>
                  </a:lnTo>
                  <a:lnTo>
                    <a:pt x="293" y="586"/>
                  </a:lnTo>
                  <a:lnTo>
                    <a:pt x="308" y="586"/>
                  </a:lnTo>
                  <a:lnTo>
                    <a:pt x="323" y="584"/>
                  </a:lnTo>
                  <a:lnTo>
                    <a:pt x="337" y="582"/>
                  </a:lnTo>
                  <a:lnTo>
                    <a:pt x="352" y="580"/>
                  </a:lnTo>
                  <a:lnTo>
                    <a:pt x="366" y="577"/>
                  </a:lnTo>
                  <a:lnTo>
                    <a:pt x="380" y="573"/>
                  </a:lnTo>
                  <a:lnTo>
                    <a:pt x="393" y="568"/>
                  </a:lnTo>
                  <a:lnTo>
                    <a:pt x="407" y="563"/>
                  </a:lnTo>
                  <a:lnTo>
                    <a:pt x="419" y="557"/>
                  </a:lnTo>
                  <a:lnTo>
                    <a:pt x="432" y="550"/>
                  </a:lnTo>
                  <a:lnTo>
                    <a:pt x="444" y="544"/>
                  </a:lnTo>
                  <a:lnTo>
                    <a:pt x="456" y="536"/>
                  </a:lnTo>
                  <a:lnTo>
                    <a:pt x="468" y="528"/>
                  </a:lnTo>
                  <a:lnTo>
                    <a:pt x="478" y="519"/>
                  </a:lnTo>
                  <a:lnTo>
                    <a:pt x="489" y="509"/>
                  </a:lnTo>
                  <a:lnTo>
                    <a:pt x="499" y="500"/>
                  </a:lnTo>
                  <a:lnTo>
                    <a:pt x="510" y="490"/>
                  </a:lnTo>
                  <a:lnTo>
                    <a:pt x="518" y="479"/>
                  </a:lnTo>
                  <a:lnTo>
                    <a:pt x="527" y="469"/>
                  </a:lnTo>
                  <a:lnTo>
                    <a:pt x="535" y="457"/>
                  </a:lnTo>
                  <a:lnTo>
                    <a:pt x="543" y="445"/>
                  </a:lnTo>
                  <a:lnTo>
                    <a:pt x="549" y="432"/>
                  </a:lnTo>
                  <a:lnTo>
                    <a:pt x="557" y="420"/>
                  </a:lnTo>
                  <a:lnTo>
                    <a:pt x="562" y="407"/>
                  </a:lnTo>
                  <a:lnTo>
                    <a:pt x="568" y="393"/>
                  </a:lnTo>
                  <a:lnTo>
                    <a:pt x="572" y="380"/>
                  </a:lnTo>
                  <a:lnTo>
                    <a:pt x="576" y="367"/>
                  </a:lnTo>
                  <a:lnTo>
                    <a:pt x="579" y="351"/>
                  </a:lnTo>
                  <a:lnTo>
                    <a:pt x="582" y="338"/>
                  </a:lnTo>
                  <a:lnTo>
                    <a:pt x="584" y="322"/>
                  </a:lnTo>
                  <a:lnTo>
                    <a:pt x="585" y="307"/>
                  </a:lnTo>
                  <a:lnTo>
                    <a:pt x="585" y="292"/>
                  </a:lnTo>
                  <a:lnTo>
                    <a:pt x="585" y="277"/>
                  </a:lnTo>
                  <a:lnTo>
                    <a:pt x="584" y="263"/>
                  </a:lnTo>
                  <a:lnTo>
                    <a:pt x="582" y="248"/>
                  </a:lnTo>
                  <a:lnTo>
                    <a:pt x="579" y="234"/>
                  </a:lnTo>
                  <a:lnTo>
                    <a:pt x="576" y="220"/>
                  </a:lnTo>
                  <a:lnTo>
                    <a:pt x="572" y="207"/>
                  </a:lnTo>
                  <a:lnTo>
                    <a:pt x="568" y="193"/>
                  </a:lnTo>
                  <a:lnTo>
                    <a:pt x="562" y="180"/>
                  </a:lnTo>
                  <a:lnTo>
                    <a:pt x="557" y="167"/>
                  </a:lnTo>
                  <a:lnTo>
                    <a:pt x="549" y="154"/>
                  </a:lnTo>
                  <a:lnTo>
                    <a:pt x="543" y="142"/>
                  </a:lnTo>
                  <a:lnTo>
                    <a:pt x="535" y="129"/>
                  </a:lnTo>
                  <a:lnTo>
                    <a:pt x="527" y="118"/>
                  </a:lnTo>
                  <a:lnTo>
                    <a:pt x="518" y="107"/>
                  </a:lnTo>
                  <a:lnTo>
                    <a:pt x="510" y="97"/>
                  </a:lnTo>
                  <a:lnTo>
                    <a:pt x="499" y="86"/>
                  </a:lnTo>
                  <a:lnTo>
                    <a:pt x="489" y="77"/>
                  </a:lnTo>
                  <a:lnTo>
                    <a:pt x="478" y="67"/>
                  </a:lnTo>
                  <a:lnTo>
                    <a:pt x="468" y="58"/>
                  </a:lnTo>
                  <a:lnTo>
                    <a:pt x="456" y="51"/>
                  </a:lnTo>
                  <a:lnTo>
                    <a:pt x="444" y="42"/>
                  </a:lnTo>
                  <a:lnTo>
                    <a:pt x="432" y="36"/>
                  </a:lnTo>
                  <a:lnTo>
                    <a:pt x="419" y="29"/>
                  </a:lnTo>
                  <a:lnTo>
                    <a:pt x="407" y="23"/>
                  </a:lnTo>
                  <a:lnTo>
                    <a:pt x="393" y="18"/>
                  </a:lnTo>
                  <a:lnTo>
                    <a:pt x="380" y="13"/>
                  </a:lnTo>
                  <a:lnTo>
                    <a:pt x="366" y="9"/>
                  </a:lnTo>
                  <a:lnTo>
                    <a:pt x="352" y="6"/>
                  </a:lnTo>
                  <a:lnTo>
                    <a:pt x="337" y="4"/>
                  </a:lnTo>
                  <a:lnTo>
                    <a:pt x="323" y="1"/>
                  </a:lnTo>
                  <a:lnTo>
                    <a:pt x="308" y="0"/>
                  </a:lnTo>
                  <a:lnTo>
                    <a:pt x="2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274">
              <a:extLst>
                <a:ext uri="{FF2B5EF4-FFF2-40B4-BE49-F238E27FC236}">
                  <a16:creationId xmlns:a16="http://schemas.microsoft.com/office/drawing/2014/main" id="{EA99545B-28EF-4248-98A1-4B4BD688C67B}"/>
                </a:ext>
              </a:extLst>
            </p:cNvPr>
            <p:cNvSpPr>
              <a:spLocks/>
            </p:cNvSpPr>
            <p:nvPr/>
          </p:nvSpPr>
          <p:spPr bwMode="auto">
            <a:xfrm>
              <a:off x="3996479" y="5000104"/>
              <a:ext cx="52316" cy="73242"/>
            </a:xfrm>
            <a:custGeom>
              <a:avLst/>
              <a:gdLst>
                <a:gd name="T0" fmla="*/ 126 w 137"/>
                <a:gd name="T1" fmla="*/ 168 h 194"/>
                <a:gd name="T2" fmla="*/ 26 w 137"/>
                <a:gd name="T3" fmla="*/ 168 h 194"/>
                <a:gd name="T4" fmla="*/ 26 w 137"/>
                <a:gd name="T5" fmla="*/ 13 h 194"/>
                <a:gd name="T6" fmla="*/ 25 w 137"/>
                <a:gd name="T7" fmla="*/ 7 h 194"/>
                <a:gd name="T8" fmla="*/ 21 w 137"/>
                <a:gd name="T9" fmla="*/ 3 h 194"/>
                <a:gd name="T10" fmla="*/ 17 w 137"/>
                <a:gd name="T11" fmla="*/ 1 h 194"/>
                <a:gd name="T12" fmla="*/ 13 w 137"/>
                <a:gd name="T13" fmla="*/ 0 h 194"/>
                <a:gd name="T14" fmla="*/ 7 w 137"/>
                <a:gd name="T15" fmla="*/ 1 h 194"/>
                <a:gd name="T16" fmla="*/ 3 w 137"/>
                <a:gd name="T17" fmla="*/ 3 h 194"/>
                <a:gd name="T18" fmla="*/ 1 w 137"/>
                <a:gd name="T19" fmla="*/ 7 h 194"/>
                <a:gd name="T20" fmla="*/ 0 w 137"/>
                <a:gd name="T21" fmla="*/ 13 h 194"/>
                <a:gd name="T22" fmla="*/ 0 w 137"/>
                <a:gd name="T23" fmla="*/ 194 h 194"/>
                <a:gd name="T24" fmla="*/ 126 w 137"/>
                <a:gd name="T25" fmla="*/ 194 h 194"/>
                <a:gd name="T26" fmla="*/ 130 w 137"/>
                <a:gd name="T27" fmla="*/ 193 h 194"/>
                <a:gd name="T28" fmla="*/ 134 w 137"/>
                <a:gd name="T29" fmla="*/ 191 h 194"/>
                <a:gd name="T30" fmla="*/ 136 w 137"/>
                <a:gd name="T31" fmla="*/ 187 h 194"/>
                <a:gd name="T32" fmla="*/ 137 w 137"/>
                <a:gd name="T33" fmla="*/ 181 h 194"/>
                <a:gd name="T34" fmla="*/ 136 w 137"/>
                <a:gd name="T35" fmla="*/ 177 h 194"/>
                <a:gd name="T36" fmla="*/ 134 w 137"/>
                <a:gd name="T37" fmla="*/ 173 h 194"/>
                <a:gd name="T38" fmla="*/ 130 w 137"/>
                <a:gd name="T39" fmla="*/ 170 h 194"/>
                <a:gd name="T40" fmla="*/ 126 w 137"/>
                <a:gd name="T41" fmla="*/ 16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94">
                  <a:moveTo>
                    <a:pt x="126" y="168"/>
                  </a:moveTo>
                  <a:lnTo>
                    <a:pt x="26" y="168"/>
                  </a:lnTo>
                  <a:lnTo>
                    <a:pt x="26" y="13"/>
                  </a:lnTo>
                  <a:lnTo>
                    <a:pt x="25" y="7"/>
                  </a:lnTo>
                  <a:lnTo>
                    <a:pt x="21" y="3"/>
                  </a:lnTo>
                  <a:lnTo>
                    <a:pt x="17" y="1"/>
                  </a:lnTo>
                  <a:lnTo>
                    <a:pt x="13" y="0"/>
                  </a:lnTo>
                  <a:lnTo>
                    <a:pt x="7" y="1"/>
                  </a:lnTo>
                  <a:lnTo>
                    <a:pt x="3" y="3"/>
                  </a:lnTo>
                  <a:lnTo>
                    <a:pt x="1" y="7"/>
                  </a:lnTo>
                  <a:lnTo>
                    <a:pt x="0" y="13"/>
                  </a:lnTo>
                  <a:lnTo>
                    <a:pt x="0" y="194"/>
                  </a:lnTo>
                  <a:lnTo>
                    <a:pt x="126" y="194"/>
                  </a:lnTo>
                  <a:lnTo>
                    <a:pt x="130" y="193"/>
                  </a:lnTo>
                  <a:lnTo>
                    <a:pt x="134" y="191"/>
                  </a:lnTo>
                  <a:lnTo>
                    <a:pt x="136" y="187"/>
                  </a:lnTo>
                  <a:lnTo>
                    <a:pt x="137" y="181"/>
                  </a:lnTo>
                  <a:lnTo>
                    <a:pt x="136" y="177"/>
                  </a:lnTo>
                  <a:lnTo>
                    <a:pt x="134" y="173"/>
                  </a:lnTo>
                  <a:lnTo>
                    <a:pt x="130" y="170"/>
                  </a:lnTo>
                  <a:lnTo>
                    <a:pt x="126"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8" name="Group 120">
            <a:extLst>
              <a:ext uri="{FF2B5EF4-FFF2-40B4-BE49-F238E27FC236}">
                <a16:creationId xmlns:a16="http://schemas.microsoft.com/office/drawing/2014/main" id="{9B805C7D-C247-45A7-8E29-97F2D4A75428}"/>
              </a:ext>
            </a:extLst>
          </p:cNvPr>
          <p:cNvGrpSpPr>
            <a:grpSpLocks noChangeAspect="1"/>
          </p:cNvGrpSpPr>
          <p:nvPr/>
        </p:nvGrpSpPr>
        <p:grpSpPr>
          <a:xfrm>
            <a:off x="1474762" y="3801969"/>
            <a:ext cx="293779" cy="285619"/>
            <a:chOff x="11028363" y="2508250"/>
            <a:chExt cx="285750" cy="277813"/>
          </a:xfrm>
          <a:solidFill>
            <a:schemeClr val="bg1"/>
          </a:solidFill>
          <a:effectLst/>
        </p:grpSpPr>
        <p:sp>
          <p:nvSpPr>
            <p:cNvPr id="559" name="Freeform 70">
              <a:extLst>
                <a:ext uri="{FF2B5EF4-FFF2-40B4-BE49-F238E27FC236}">
                  <a16:creationId xmlns:a16="http://schemas.microsoft.com/office/drawing/2014/main" id="{71A076B8-45D1-4614-828D-96B068D4DECD}"/>
                </a:ext>
              </a:extLst>
            </p:cNvPr>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71">
              <a:extLst>
                <a:ext uri="{FF2B5EF4-FFF2-40B4-BE49-F238E27FC236}">
                  <a16:creationId xmlns:a16="http://schemas.microsoft.com/office/drawing/2014/main" id="{D258B877-4FF4-4E2F-AF25-48F40AE0EAD1}"/>
                </a:ext>
              </a:extLst>
            </p:cNvPr>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5" name="Group 47">
            <a:extLst>
              <a:ext uri="{FF2B5EF4-FFF2-40B4-BE49-F238E27FC236}">
                <a16:creationId xmlns:a16="http://schemas.microsoft.com/office/drawing/2014/main" id="{4AD96C36-7CF0-4B7D-9959-8B26E98EE7DD}"/>
              </a:ext>
            </a:extLst>
          </p:cNvPr>
          <p:cNvGrpSpPr>
            <a:grpSpLocks noChangeAspect="1"/>
          </p:cNvGrpSpPr>
          <p:nvPr/>
        </p:nvGrpSpPr>
        <p:grpSpPr>
          <a:xfrm>
            <a:off x="1486383" y="5956111"/>
            <a:ext cx="270537" cy="285619"/>
            <a:chOff x="4926013" y="5194300"/>
            <a:chExt cx="455613" cy="481013"/>
          </a:xfrm>
          <a:solidFill>
            <a:schemeClr val="bg1"/>
          </a:solidFill>
          <a:effectLst/>
        </p:grpSpPr>
        <p:sp>
          <p:nvSpPr>
            <p:cNvPr id="1227" name="Freeform 181">
              <a:extLst>
                <a:ext uri="{FF2B5EF4-FFF2-40B4-BE49-F238E27FC236}">
                  <a16:creationId xmlns:a16="http://schemas.microsoft.com/office/drawing/2014/main" id="{A28C888A-4DA5-42F2-A0B4-4036254E9969}"/>
                </a:ext>
              </a:extLst>
            </p:cNvPr>
            <p:cNvSpPr>
              <a:spLocks/>
            </p:cNvSpPr>
            <p:nvPr/>
          </p:nvSpPr>
          <p:spPr bwMode="auto">
            <a:xfrm>
              <a:off x="4926013" y="5218113"/>
              <a:ext cx="455613" cy="457200"/>
            </a:xfrm>
            <a:custGeom>
              <a:avLst/>
              <a:gdLst>
                <a:gd name="T0" fmla="*/ 460 w 1152"/>
                <a:gd name="T1" fmla="*/ 1139 h 1151"/>
                <a:gd name="T2" fmla="*/ 327 w 1152"/>
                <a:gd name="T3" fmla="*/ 1094 h 1151"/>
                <a:gd name="T4" fmla="*/ 210 w 1152"/>
                <a:gd name="T5" fmla="*/ 1019 h 1151"/>
                <a:gd name="T6" fmla="*/ 114 w 1152"/>
                <a:gd name="T7" fmla="*/ 920 h 1151"/>
                <a:gd name="T8" fmla="*/ 46 w 1152"/>
                <a:gd name="T9" fmla="*/ 799 h 1151"/>
                <a:gd name="T10" fmla="*/ 6 w 1152"/>
                <a:gd name="T11" fmla="*/ 663 h 1151"/>
                <a:gd name="T12" fmla="*/ 3 w 1152"/>
                <a:gd name="T13" fmla="*/ 523 h 1151"/>
                <a:gd name="T14" fmla="*/ 27 w 1152"/>
                <a:gd name="T15" fmla="*/ 398 h 1151"/>
                <a:gd name="T16" fmla="*/ 78 w 1152"/>
                <a:gd name="T17" fmla="*/ 284 h 1151"/>
                <a:gd name="T18" fmla="*/ 151 w 1152"/>
                <a:gd name="T19" fmla="*/ 186 h 1151"/>
                <a:gd name="T20" fmla="*/ 244 w 1152"/>
                <a:gd name="T21" fmla="*/ 104 h 1151"/>
                <a:gd name="T22" fmla="*/ 353 w 1152"/>
                <a:gd name="T23" fmla="*/ 44 h 1151"/>
                <a:gd name="T24" fmla="*/ 477 w 1152"/>
                <a:gd name="T25" fmla="*/ 8 h 1151"/>
                <a:gd name="T26" fmla="*/ 497 w 1152"/>
                <a:gd name="T27" fmla="*/ 14 h 1151"/>
                <a:gd name="T28" fmla="*/ 503 w 1152"/>
                <a:gd name="T29" fmla="*/ 35 h 1151"/>
                <a:gd name="T30" fmla="*/ 490 w 1152"/>
                <a:gd name="T31" fmla="*/ 52 h 1151"/>
                <a:gd name="T32" fmla="*/ 393 w 1152"/>
                <a:gd name="T33" fmla="*/ 78 h 1151"/>
                <a:gd name="T34" fmla="*/ 290 w 1152"/>
                <a:gd name="T35" fmla="*/ 128 h 1151"/>
                <a:gd name="T36" fmla="*/ 200 w 1152"/>
                <a:gd name="T37" fmla="*/ 201 h 1151"/>
                <a:gd name="T38" fmla="*/ 130 w 1152"/>
                <a:gd name="T39" fmla="*/ 289 h 1151"/>
                <a:gd name="T40" fmla="*/ 79 w 1152"/>
                <a:gd name="T41" fmla="*/ 391 h 1151"/>
                <a:gd name="T42" fmla="*/ 51 w 1152"/>
                <a:gd name="T43" fmla="*/ 504 h 1151"/>
                <a:gd name="T44" fmla="*/ 49 w 1152"/>
                <a:gd name="T45" fmla="*/ 629 h 1151"/>
                <a:gd name="T46" fmla="*/ 79 w 1152"/>
                <a:gd name="T47" fmla="*/ 758 h 1151"/>
                <a:gd name="T48" fmla="*/ 136 w 1152"/>
                <a:gd name="T49" fmla="*/ 872 h 1151"/>
                <a:gd name="T50" fmla="*/ 220 w 1152"/>
                <a:gd name="T51" fmla="*/ 967 h 1151"/>
                <a:gd name="T52" fmla="*/ 324 w 1152"/>
                <a:gd name="T53" fmla="*/ 1041 h 1151"/>
                <a:gd name="T54" fmla="*/ 443 w 1152"/>
                <a:gd name="T55" fmla="*/ 1089 h 1151"/>
                <a:gd name="T56" fmla="*/ 575 w 1152"/>
                <a:gd name="T57" fmla="*/ 1105 h 1151"/>
                <a:gd name="T58" fmla="*/ 708 w 1152"/>
                <a:gd name="T59" fmla="*/ 1089 h 1151"/>
                <a:gd name="T60" fmla="*/ 828 w 1152"/>
                <a:gd name="T61" fmla="*/ 1041 h 1151"/>
                <a:gd name="T62" fmla="*/ 932 w 1152"/>
                <a:gd name="T63" fmla="*/ 967 h 1151"/>
                <a:gd name="T64" fmla="*/ 1015 w 1152"/>
                <a:gd name="T65" fmla="*/ 872 h 1151"/>
                <a:gd name="T66" fmla="*/ 1073 w 1152"/>
                <a:gd name="T67" fmla="*/ 758 h 1151"/>
                <a:gd name="T68" fmla="*/ 1103 w 1152"/>
                <a:gd name="T69" fmla="*/ 629 h 1151"/>
                <a:gd name="T70" fmla="*/ 1100 w 1152"/>
                <a:gd name="T71" fmla="*/ 499 h 1151"/>
                <a:gd name="T72" fmla="*/ 1069 w 1152"/>
                <a:gd name="T73" fmla="*/ 380 h 1151"/>
                <a:gd name="T74" fmla="*/ 1011 w 1152"/>
                <a:gd name="T75" fmla="*/ 273 h 1151"/>
                <a:gd name="T76" fmla="*/ 931 w 1152"/>
                <a:gd name="T77" fmla="*/ 182 h 1151"/>
                <a:gd name="T78" fmla="*/ 832 w 1152"/>
                <a:gd name="T79" fmla="*/ 112 h 1151"/>
                <a:gd name="T80" fmla="*/ 719 w 1152"/>
                <a:gd name="T81" fmla="*/ 65 h 1151"/>
                <a:gd name="T82" fmla="*/ 609 w 1152"/>
                <a:gd name="T83" fmla="*/ 46 h 1151"/>
                <a:gd name="T84" fmla="*/ 567 w 1152"/>
                <a:gd name="T85" fmla="*/ 44 h 1151"/>
                <a:gd name="T86" fmla="*/ 553 w 1152"/>
                <a:gd name="T87" fmla="*/ 27 h 1151"/>
                <a:gd name="T88" fmla="*/ 560 w 1152"/>
                <a:gd name="T89" fmla="*/ 6 h 1151"/>
                <a:gd name="T90" fmla="*/ 588 w 1152"/>
                <a:gd name="T91" fmla="*/ 0 h 1151"/>
                <a:gd name="T92" fmla="*/ 679 w 1152"/>
                <a:gd name="T93" fmla="*/ 8 h 1151"/>
                <a:gd name="T94" fmla="*/ 807 w 1152"/>
                <a:gd name="T95" fmla="*/ 47 h 1151"/>
                <a:gd name="T96" fmla="*/ 921 w 1152"/>
                <a:gd name="T97" fmla="*/ 115 h 1151"/>
                <a:gd name="T98" fmla="*/ 1016 w 1152"/>
                <a:gd name="T99" fmla="*/ 206 h 1151"/>
                <a:gd name="T100" fmla="*/ 1089 w 1152"/>
                <a:gd name="T101" fmla="*/ 315 h 1151"/>
                <a:gd name="T102" fmla="*/ 1136 w 1152"/>
                <a:gd name="T103" fmla="*/ 440 h 1151"/>
                <a:gd name="T104" fmla="*/ 1152 w 1152"/>
                <a:gd name="T105" fmla="*/ 575 h 1151"/>
                <a:gd name="T106" fmla="*/ 1134 w 1152"/>
                <a:gd name="T107" fmla="*/ 718 h 1151"/>
                <a:gd name="T108" fmla="*/ 1082 w 1152"/>
                <a:gd name="T109" fmla="*/ 850 h 1151"/>
                <a:gd name="T110" fmla="*/ 1002 w 1152"/>
                <a:gd name="T111" fmla="*/ 963 h 1151"/>
                <a:gd name="T112" fmla="*/ 898 w 1152"/>
                <a:gd name="T113" fmla="*/ 1052 h 1151"/>
                <a:gd name="T114" fmla="*/ 774 w 1152"/>
                <a:gd name="T115" fmla="*/ 1116 h 1151"/>
                <a:gd name="T116" fmla="*/ 634 w 1152"/>
                <a:gd name="T117" fmla="*/ 1148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2" h="1151">
                  <a:moveTo>
                    <a:pt x="575" y="1151"/>
                  </a:moveTo>
                  <a:lnTo>
                    <a:pt x="546" y="1150"/>
                  </a:lnTo>
                  <a:lnTo>
                    <a:pt x="517" y="1148"/>
                  </a:lnTo>
                  <a:lnTo>
                    <a:pt x="488" y="1144"/>
                  </a:lnTo>
                  <a:lnTo>
                    <a:pt x="460" y="1139"/>
                  </a:lnTo>
                  <a:lnTo>
                    <a:pt x="432" y="1133"/>
                  </a:lnTo>
                  <a:lnTo>
                    <a:pt x="405" y="1126"/>
                  </a:lnTo>
                  <a:lnTo>
                    <a:pt x="378" y="1116"/>
                  </a:lnTo>
                  <a:lnTo>
                    <a:pt x="352" y="1106"/>
                  </a:lnTo>
                  <a:lnTo>
                    <a:pt x="327" y="1094"/>
                  </a:lnTo>
                  <a:lnTo>
                    <a:pt x="302" y="1082"/>
                  </a:lnTo>
                  <a:lnTo>
                    <a:pt x="277" y="1068"/>
                  </a:lnTo>
                  <a:lnTo>
                    <a:pt x="254" y="1052"/>
                  </a:lnTo>
                  <a:lnTo>
                    <a:pt x="232" y="1036"/>
                  </a:lnTo>
                  <a:lnTo>
                    <a:pt x="210" y="1019"/>
                  </a:lnTo>
                  <a:lnTo>
                    <a:pt x="189" y="1002"/>
                  </a:lnTo>
                  <a:lnTo>
                    <a:pt x="168" y="982"/>
                  </a:lnTo>
                  <a:lnTo>
                    <a:pt x="150" y="963"/>
                  </a:lnTo>
                  <a:lnTo>
                    <a:pt x="132" y="942"/>
                  </a:lnTo>
                  <a:lnTo>
                    <a:pt x="114" y="920"/>
                  </a:lnTo>
                  <a:lnTo>
                    <a:pt x="98" y="898"/>
                  </a:lnTo>
                  <a:lnTo>
                    <a:pt x="84" y="873"/>
                  </a:lnTo>
                  <a:lnTo>
                    <a:pt x="70" y="850"/>
                  </a:lnTo>
                  <a:lnTo>
                    <a:pt x="57" y="825"/>
                  </a:lnTo>
                  <a:lnTo>
                    <a:pt x="46" y="799"/>
                  </a:lnTo>
                  <a:lnTo>
                    <a:pt x="35" y="772"/>
                  </a:lnTo>
                  <a:lnTo>
                    <a:pt x="26" y="747"/>
                  </a:lnTo>
                  <a:lnTo>
                    <a:pt x="19" y="718"/>
                  </a:lnTo>
                  <a:lnTo>
                    <a:pt x="11" y="691"/>
                  </a:lnTo>
                  <a:lnTo>
                    <a:pt x="6" y="663"/>
                  </a:lnTo>
                  <a:lnTo>
                    <a:pt x="3" y="634"/>
                  </a:lnTo>
                  <a:lnTo>
                    <a:pt x="0" y="604"/>
                  </a:lnTo>
                  <a:lnTo>
                    <a:pt x="0" y="575"/>
                  </a:lnTo>
                  <a:lnTo>
                    <a:pt x="0" y="549"/>
                  </a:lnTo>
                  <a:lnTo>
                    <a:pt x="3" y="523"/>
                  </a:lnTo>
                  <a:lnTo>
                    <a:pt x="5" y="498"/>
                  </a:lnTo>
                  <a:lnTo>
                    <a:pt x="9" y="472"/>
                  </a:lnTo>
                  <a:lnTo>
                    <a:pt x="14" y="447"/>
                  </a:lnTo>
                  <a:lnTo>
                    <a:pt x="20" y="423"/>
                  </a:lnTo>
                  <a:lnTo>
                    <a:pt x="27" y="398"/>
                  </a:lnTo>
                  <a:lnTo>
                    <a:pt x="36" y="375"/>
                  </a:lnTo>
                  <a:lnTo>
                    <a:pt x="44" y="352"/>
                  </a:lnTo>
                  <a:lnTo>
                    <a:pt x="55" y="328"/>
                  </a:lnTo>
                  <a:lnTo>
                    <a:pt x="66" y="306"/>
                  </a:lnTo>
                  <a:lnTo>
                    <a:pt x="78" y="284"/>
                  </a:lnTo>
                  <a:lnTo>
                    <a:pt x="91" y="263"/>
                  </a:lnTo>
                  <a:lnTo>
                    <a:pt x="105" y="244"/>
                  </a:lnTo>
                  <a:lnTo>
                    <a:pt x="119" y="223"/>
                  </a:lnTo>
                  <a:lnTo>
                    <a:pt x="135" y="204"/>
                  </a:lnTo>
                  <a:lnTo>
                    <a:pt x="151" y="186"/>
                  </a:lnTo>
                  <a:lnTo>
                    <a:pt x="168" y="168"/>
                  </a:lnTo>
                  <a:lnTo>
                    <a:pt x="185" y="150"/>
                  </a:lnTo>
                  <a:lnTo>
                    <a:pt x="205" y="135"/>
                  </a:lnTo>
                  <a:lnTo>
                    <a:pt x="223" y="119"/>
                  </a:lnTo>
                  <a:lnTo>
                    <a:pt x="244" y="104"/>
                  </a:lnTo>
                  <a:lnTo>
                    <a:pt x="264" y="90"/>
                  </a:lnTo>
                  <a:lnTo>
                    <a:pt x="286" y="77"/>
                  </a:lnTo>
                  <a:lnTo>
                    <a:pt x="308" y="65"/>
                  </a:lnTo>
                  <a:lnTo>
                    <a:pt x="330" y="54"/>
                  </a:lnTo>
                  <a:lnTo>
                    <a:pt x="353" y="44"/>
                  </a:lnTo>
                  <a:lnTo>
                    <a:pt x="377" y="34"/>
                  </a:lnTo>
                  <a:lnTo>
                    <a:pt x="401" y="27"/>
                  </a:lnTo>
                  <a:lnTo>
                    <a:pt x="426" y="19"/>
                  </a:lnTo>
                  <a:lnTo>
                    <a:pt x="452" y="13"/>
                  </a:lnTo>
                  <a:lnTo>
                    <a:pt x="477" y="8"/>
                  </a:lnTo>
                  <a:lnTo>
                    <a:pt x="481" y="7"/>
                  </a:lnTo>
                  <a:lnTo>
                    <a:pt x="486" y="8"/>
                  </a:lnTo>
                  <a:lnTo>
                    <a:pt x="490" y="9"/>
                  </a:lnTo>
                  <a:lnTo>
                    <a:pt x="495" y="12"/>
                  </a:lnTo>
                  <a:lnTo>
                    <a:pt x="497" y="14"/>
                  </a:lnTo>
                  <a:lnTo>
                    <a:pt x="501" y="18"/>
                  </a:lnTo>
                  <a:lnTo>
                    <a:pt x="502" y="22"/>
                  </a:lnTo>
                  <a:lnTo>
                    <a:pt x="503" y="27"/>
                  </a:lnTo>
                  <a:lnTo>
                    <a:pt x="504" y="31"/>
                  </a:lnTo>
                  <a:lnTo>
                    <a:pt x="503" y="35"/>
                  </a:lnTo>
                  <a:lnTo>
                    <a:pt x="502" y="40"/>
                  </a:lnTo>
                  <a:lnTo>
                    <a:pt x="499" y="44"/>
                  </a:lnTo>
                  <a:lnTo>
                    <a:pt x="497" y="47"/>
                  </a:lnTo>
                  <a:lnTo>
                    <a:pt x="493" y="50"/>
                  </a:lnTo>
                  <a:lnTo>
                    <a:pt x="490" y="52"/>
                  </a:lnTo>
                  <a:lnTo>
                    <a:pt x="485" y="54"/>
                  </a:lnTo>
                  <a:lnTo>
                    <a:pt x="461" y="57"/>
                  </a:lnTo>
                  <a:lnTo>
                    <a:pt x="438" y="63"/>
                  </a:lnTo>
                  <a:lnTo>
                    <a:pt x="415" y="70"/>
                  </a:lnTo>
                  <a:lnTo>
                    <a:pt x="393" y="78"/>
                  </a:lnTo>
                  <a:lnTo>
                    <a:pt x="371" y="85"/>
                  </a:lnTo>
                  <a:lnTo>
                    <a:pt x="350" y="95"/>
                  </a:lnTo>
                  <a:lnTo>
                    <a:pt x="329" y="105"/>
                  </a:lnTo>
                  <a:lnTo>
                    <a:pt x="309" y="117"/>
                  </a:lnTo>
                  <a:lnTo>
                    <a:pt x="290" y="128"/>
                  </a:lnTo>
                  <a:lnTo>
                    <a:pt x="270" y="142"/>
                  </a:lnTo>
                  <a:lnTo>
                    <a:pt x="252" y="155"/>
                  </a:lnTo>
                  <a:lnTo>
                    <a:pt x="235" y="169"/>
                  </a:lnTo>
                  <a:lnTo>
                    <a:pt x="217" y="185"/>
                  </a:lnTo>
                  <a:lnTo>
                    <a:pt x="200" y="201"/>
                  </a:lnTo>
                  <a:lnTo>
                    <a:pt x="185" y="217"/>
                  </a:lnTo>
                  <a:lnTo>
                    <a:pt x="170" y="234"/>
                  </a:lnTo>
                  <a:lnTo>
                    <a:pt x="156" y="251"/>
                  </a:lnTo>
                  <a:lnTo>
                    <a:pt x="143" y="269"/>
                  </a:lnTo>
                  <a:lnTo>
                    <a:pt x="130" y="289"/>
                  </a:lnTo>
                  <a:lnTo>
                    <a:pt x="118" y="307"/>
                  </a:lnTo>
                  <a:lnTo>
                    <a:pt x="107" y="328"/>
                  </a:lnTo>
                  <a:lnTo>
                    <a:pt x="97" y="348"/>
                  </a:lnTo>
                  <a:lnTo>
                    <a:pt x="87" y="369"/>
                  </a:lnTo>
                  <a:lnTo>
                    <a:pt x="79" y="391"/>
                  </a:lnTo>
                  <a:lnTo>
                    <a:pt x="71" y="413"/>
                  </a:lnTo>
                  <a:lnTo>
                    <a:pt x="65" y="435"/>
                  </a:lnTo>
                  <a:lnTo>
                    <a:pt x="59" y="457"/>
                  </a:lnTo>
                  <a:lnTo>
                    <a:pt x="54" y="480"/>
                  </a:lnTo>
                  <a:lnTo>
                    <a:pt x="51" y="504"/>
                  </a:lnTo>
                  <a:lnTo>
                    <a:pt x="48" y="527"/>
                  </a:lnTo>
                  <a:lnTo>
                    <a:pt x="47" y="552"/>
                  </a:lnTo>
                  <a:lnTo>
                    <a:pt x="46" y="575"/>
                  </a:lnTo>
                  <a:lnTo>
                    <a:pt x="47" y="602"/>
                  </a:lnTo>
                  <a:lnTo>
                    <a:pt x="49" y="629"/>
                  </a:lnTo>
                  <a:lnTo>
                    <a:pt x="52" y="656"/>
                  </a:lnTo>
                  <a:lnTo>
                    <a:pt x="57" y="682"/>
                  </a:lnTo>
                  <a:lnTo>
                    <a:pt x="63" y="707"/>
                  </a:lnTo>
                  <a:lnTo>
                    <a:pt x="70" y="733"/>
                  </a:lnTo>
                  <a:lnTo>
                    <a:pt x="79" y="758"/>
                  </a:lnTo>
                  <a:lnTo>
                    <a:pt x="87" y="781"/>
                  </a:lnTo>
                  <a:lnTo>
                    <a:pt x="98" y="804"/>
                  </a:lnTo>
                  <a:lnTo>
                    <a:pt x="111" y="828"/>
                  </a:lnTo>
                  <a:lnTo>
                    <a:pt x="123" y="850"/>
                  </a:lnTo>
                  <a:lnTo>
                    <a:pt x="136" y="872"/>
                  </a:lnTo>
                  <a:lnTo>
                    <a:pt x="151" y="891"/>
                  </a:lnTo>
                  <a:lnTo>
                    <a:pt x="167" y="912"/>
                  </a:lnTo>
                  <a:lnTo>
                    <a:pt x="184" y="931"/>
                  </a:lnTo>
                  <a:lnTo>
                    <a:pt x="201" y="950"/>
                  </a:lnTo>
                  <a:lnTo>
                    <a:pt x="220" y="967"/>
                  </a:lnTo>
                  <a:lnTo>
                    <a:pt x="239" y="983"/>
                  </a:lnTo>
                  <a:lnTo>
                    <a:pt x="259" y="999"/>
                  </a:lnTo>
                  <a:lnTo>
                    <a:pt x="280" y="1014"/>
                  </a:lnTo>
                  <a:lnTo>
                    <a:pt x="301" y="1029"/>
                  </a:lnTo>
                  <a:lnTo>
                    <a:pt x="324" y="1041"/>
                  </a:lnTo>
                  <a:lnTo>
                    <a:pt x="346" y="1053"/>
                  </a:lnTo>
                  <a:lnTo>
                    <a:pt x="369" y="1063"/>
                  </a:lnTo>
                  <a:lnTo>
                    <a:pt x="394" y="1073"/>
                  </a:lnTo>
                  <a:lnTo>
                    <a:pt x="419" y="1082"/>
                  </a:lnTo>
                  <a:lnTo>
                    <a:pt x="443" y="1089"/>
                  </a:lnTo>
                  <a:lnTo>
                    <a:pt x="469" y="1094"/>
                  </a:lnTo>
                  <a:lnTo>
                    <a:pt x="496" y="1099"/>
                  </a:lnTo>
                  <a:lnTo>
                    <a:pt x="522" y="1102"/>
                  </a:lnTo>
                  <a:lnTo>
                    <a:pt x="549" y="1105"/>
                  </a:lnTo>
                  <a:lnTo>
                    <a:pt x="575" y="1105"/>
                  </a:lnTo>
                  <a:lnTo>
                    <a:pt x="604" y="1105"/>
                  </a:lnTo>
                  <a:lnTo>
                    <a:pt x="629" y="1102"/>
                  </a:lnTo>
                  <a:lnTo>
                    <a:pt x="656" y="1099"/>
                  </a:lnTo>
                  <a:lnTo>
                    <a:pt x="682" y="1094"/>
                  </a:lnTo>
                  <a:lnTo>
                    <a:pt x="708" y="1089"/>
                  </a:lnTo>
                  <a:lnTo>
                    <a:pt x="734" y="1082"/>
                  </a:lnTo>
                  <a:lnTo>
                    <a:pt x="758" y="1073"/>
                  </a:lnTo>
                  <a:lnTo>
                    <a:pt x="782" y="1063"/>
                  </a:lnTo>
                  <a:lnTo>
                    <a:pt x="805" y="1053"/>
                  </a:lnTo>
                  <a:lnTo>
                    <a:pt x="828" y="1041"/>
                  </a:lnTo>
                  <a:lnTo>
                    <a:pt x="850" y="1029"/>
                  </a:lnTo>
                  <a:lnTo>
                    <a:pt x="872" y="1014"/>
                  </a:lnTo>
                  <a:lnTo>
                    <a:pt x="893" y="999"/>
                  </a:lnTo>
                  <a:lnTo>
                    <a:pt x="913" y="983"/>
                  </a:lnTo>
                  <a:lnTo>
                    <a:pt x="932" y="967"/>
                  </a:lnTo>
                  <a:lnTo>
                    <a:pt x="951" y="950"/>
                  </a:lnTo>
                  <a:lnTo>
                    <a:pt x="968" y="931"/>
                  </a:lnTo>
                  <a:lnTo>
                    <a:pt x="985" y="912"/>
                  </a:lnTo>
                  <a:lnTo>
                    <a:pt x="1000" y="891"/>
                  </a:lnTo>
                  <a:lnTo>
                    <a:pt x="1015" y="872"/>
                  </a:lnTo>
                  <a:lnTo>
                    <a:pt x="1029" y="850"/>
                  </a:lnTo>
                  <a:lnTo>
                    <a:pt x="1042" y="828"/>
                  </a:lnTo>
                  <a:lnTo>
                    <a:pt x="1054" y="804"/>
                  </a:lnTo>
                  <a:lnTo>
                    <a:pt x="1064" y="781"/>
                  </a:lnTo>
                  <a:lnTo>
                    <a:pt x="1073" y="758"/>
                  </a:lnTo>
                  <a:lnTo>
                    <a:pt x="1082" y="733"/>
                  </a:lnTo>
                  <a:lnTo>
                    <a:pt x="1089" y="707"/>
                  </a:lnTo>
                  <a:lnTo>
                    <a:pt x="1096" y="682"/>
                  </a:lnTo>
                  <a:lnTo>
                    <a:pt x="1099" y="656"/>
                  </a:lnTo>
                  <a:lnTo>
                    <a:pt x="1103" y="629"/>
                  </a:lnTo>
                  <a:lnTo>
                    <a:pt x="1105" y="602"/>
                  </a:lnTo>
                  <a:lnTo>
                    <a:pt x="1105" y="575"/>
                  </a:lnTo>
                  <a:lnTo>
                    <a:pt x="1105" y="549"/>
                  </a:lnTo>
                  <a:lnTo>
                    <a:pt x="1103" y="525"/>
                  </a:lnTo>
                  <a:lnTo>
                    <a:pt x="1100" y="499"/>
                  </a:lnTo>
                  <a:lnTo>
                    <a:pt x="1096" y="474"/>
                  </a:lnTo>
                  <a:lnTo>
                    <a:pt x="1091" y="451"/>
                  </a:lnTo>
                  <a:lnTo>
                    <a:pt x="1084" y="426"/>
                  </a:lnTo>
                  <a:lnTo>
                    <a:pt x="1077" y="403"/>
                  </a:lnTo>
                  <a:lnTo>
                    <a:pt x="1069" y="380"/>
                  </a:lnTo>
                  <a:lnTo>
                    <a:pt x="1059" y="358"/>
                  </a:lnTo>
                  <a:lnTo>
                    <a:pt x="1048" y="336"/>
                  </a:lnTo>
                  <a:lnTo>
                    <a:pt x="1037" y="315"/>
                  </a:lnTo>
                  <a:lnTo>
                    <a:pt x="1024" y="294"/>
                  </a:lnTo>
                  <a:lnTo>
                    <a:pt x="1011" y="273"/>
                  </a:lnTo>
                  <a:lnTo>
                    <a:pt x="996" y="254"/>
                  </a:lnTo>
                  <a:lnTo>
                    <a:pt x="981" y="235"/>
                  </a:lnTo>
                  <a:lnTo>
                    <a:pt x="966" y="217"/>
                  </a:lnTo>
                  <a:lnTo>
                    <a:pt x="948" y="200"/>
                  </a:lnTo>
                  <a:lnTo>
                    <a:pt x="931" y="182"/>
                  </a:lnTo>
                  <a:lnTo>
                    <a:pt x="913" y="166"/>
                  </a:lnTo>
                  <a:lnTo>
                    <a:pt x="893" y="152"/>
                  </a:lnTo>
                  <a:lnTo>
                    <a:pt x="874" y="138"/>
                  </a:lnTo>
                  <a:lnTo>
                    <a:pt x="854" y="125"/>
                  </a:lnTo>
                  <a:lnTo>
                    <a:pt x="832" y="112"/>
                  </a:lnTo>
                  <a:lnTo>
                    <a:pt x="811" y="100"/>
                  </a:lnTo>
                  <a:lnTo>
                    <a:pt x="789" y="90"/>
                  </a:lnTo>
                  <a:lnTo>
                    <a:pt x="766" y="81"/>
                  </a:lnTo>
                  <a:lnTo>
                    <a:pt x="742" y="72"/>
                  </a:lnTo>
                  <a:lnTo>
                    <a:pt x="719" y="65"/>
                  </a:lnTo>
                  <a:lnTo>
                    <a:pt x="694" y="58"/>
                  </a:lnTo>
                  <a:lnTo>
                    <a:pt x="670" y="54"/>
                  </a:lnTo>
                  <a:lnTo>
                    <a:pt x="645" y="50"/>
                  </a:lnTo>
                  <a:lnTo>
                    <a:pt x="620" y="47"/>
                  </a:lnTo>
                  <a:lnTo>
                    <a:pt x="609" y="46"/>
                  </a:lnTo>
                  <a:lnTo>
                    <a:pt x="598" y="46"/>
                  </a:lnTo>
                  <a:lnTo>
                    <a:pt x="587" y="45"/>
                  </a:lnTo>
                  <a:lnTo>
                    <a:pt x="575" y="45"/>
                  </a:lnTo>
                  <a:lnTo>
                    <a:pt x="572" y="45"/>
                  </a:lnTo>
                  <a:lnTo>
                    <a:pt x="567" y="44"/>
                  </a:lnTo>
                  <a:lnTo>
                    <a:pt x="563" y="41"/>
                  </a:lnTo>
                  <a:lnTo>
                    <a:pt x="560" y="39"/>
                  </a:lnTo>
                  <a:lnTo>
                    <a:pt x="557" y="35"/>
                  </a:lnTo>
                  <a:lnTo>
                    <a:pt x="555" y="31"/>
                  </a:lnTo>
                  <a:lnTo>
                    <a:pt x="553" y="27"/>
                  </a:lnTo>
                  <a:lnTo>
                    <a:pt x="553" y="22"/>
                  </a:lnTo>
                  <a:lnTo>
                    <a:pt x="553" y="18"/>
                  </a:lnTo>
                  <a:lnTo>
                    <a:pt x="555" y="13"/>
                  </a:lnTo>
                  <a:lnTo>
                    <a:pt x="557" y="9"/>
                  </a:lnTo>
                  <a:lnTo>
                    <a:pt x="560" y="6"/>
                  </a:lnTo>
                  <a:lnTo>
                    <a:pt x="563" y="3"/>
                  </a:lnTo>
                  <a:lnTo>
                    <a:pt x="567" y="1"/>
                  </a:lnTo>
                  <a:lnTo>
                    <a:pt x="572" y="0"/>
                  </a:lnTo>
                  <a:lnTo>
                    <a:pt x="575" y="0"/>
                  </a:lnTo>
                  <a:lnTo>
                    <a:pt x="588" y="0"/>
                  </a:lnTo>
                  <a:lnTo>
                    <a:pt x="600" y="0"/>
                  </a:lnTo>
                  <a:lnTo>
                    <a:pt x="612" y="1"/>
                  </a:lnTo>
                  <a:lnTo>
                    <a:pt x="623" y="1"/>
                  </a:lnTo>
                  <a:lnTo>
                    <a:pt x="652" y="5"/>
                  </a:lnTo>
                  <a:lnTo>
                    <a:pt x="679" y="8"/>
                  </a:lnTo>
                  <a:lnTo>
                    <a:pt x="706" y="14"/>
                  </a:lnTo>
                  <a:lnTo>
                    <a:pt x="731" y="20"/>
                  </a:lnTo>
                  <a:lnTo>
                    <a:pt x="757" y="29"/>
                  </a:lnTo>
                  <a:lnTo>
                    <a:pt x="783" y="38"/>
                  </a:lnTo>
                  <a:lnTo>
                    <a:pt x="807" y="47"/>
                  </a:lnTo>
                  <a:lnTo>
                    <a:pt x="831" y="60"/>
                  </a:lnTo>
                  <a:lnTo>
                    <a:pt x="855" y="72"/>
                  </a:lnTo>
                  <a:lnTo>
                    <a:pt x="877" y="85"/>
                  </a:lnTo>
                  <a:lnTo>
                    <a:pt x="899" y="99"/>
                  </a:lnTo>
                  <a:lnTo>
                    <a:pt x="921" y="115"/>
                  </a:lnTo>
                  <a:lnTo>
                    <a:pt x="942" y="131"/>
                  </a:lnTo>
                  <a:lnTo>
                    <a:pt x="962" y="148"/>
                  </a:lnTo>
                  <a:lnTo>
                    <a:pt x="980" y="166"/>
                  </a:lnTo>
                  <a:lnTo>
                    <a:pt x="999" y="186"/>
                  </a:lnTo>
                  <a:lnTo>
                    <a:pt x="1016" y="206"/>
                  </a:lnTo>
                  <a:lnTo>
                    <a:pt x="1033" y="227"/>
                  </a:lnTo>
                  <a:lnTo>
                    <a:pt x="1048" y="247"/>
                  </a:lnTo>
                  <a:lnTo>
                    <a:pt x="1062" y="269"/>
                  </a:lnTo>
                  <a:lnTo>
                    <a:pt x="1076" y="292"/>
                  </a:lnTo>
                  <a:lnTo>
                    <a:pt x="1089" y="315"/>
                  </a:lnTo>
                  <a:lnTo>
                    <a:pt x="1100" y="339"/>
                  </a:lnTo>
                  <a:lnTo>
                    <a:pt x="1111" y="364"/>
                  </a:lnTo>
                  <a:lnTo>
                    <a:pt x="1120" y="388"/>
                  </a:lnTo>
                  <a:lnTo>
                    <a:pt x="1129" y="414"/>
                  </a:lnTo>
                  <a:lnTo>
                    <a:pt x="1136" y="440"/>
                  </a:lnTo>
                  <a:lnTo>
                    <a:pt x="1141" y="466"/>
                  </a:lnTo>
                  <a:lnTo>
                    <a:pt x="1146" y="493"/>
                  </a:lnTo>
                  <a:lnTo>
                    <a:pt x="1149" y="520"/>
                  </a:lnTo>
                  <a:lnTo>
                    <a:pt x="1151" y="548"/>
                  </a:lnTo>
                  <a:lnTo>
                    <a:pt x="1152" y="575"/>
                  </a:lnTo>
                  <a:lnTo>
                    <a:pt x="1151" y="604"/>
                  </a:lnTo>
                  <a:lnTo>
                    <a:pt x="1148" y="634"/>
                  </a:lnTo>
                  <a:lnTo>
                    <a:pt x="1145" y="663"/>
                  </a:lnTo>
                  <a:lnTo>
                    <a:pt x="1140" y="691"/>
                  </a:lnTo>
                  <a:lnTo>
                    <a:pt x="1134" y="718"/>
                  </a:lnTo>
                  <a:lnTo>
                    <a:pt x="1126" y="747"/>
                  </a:lnTo>
                  <a:lnTo>
                    <a:pt x="1116" y="772"/>
                  </a:lnTo>
                  <a:lnTo>
                    <a:pt x="1107" y="799"/>
                  </a:lnTo>
                  <a:lnTo>
                    <a:pt x="1094" y="825"/>
                  </a:lnTo>
                  <a:lnTo>
                    <a:pt x="1082" y="850"/>
                  </a:lnTo>
                  <a:lnTo>
                    <a:pt x="1069" y="873"/>
                  </a:lnTo>
                  <a:lnTo>
                    <a:pt x="1054" y="898"/>
                  </a:lnTo>
                  <a:lnTo>
                    <a:pt x="1037" y="920"/>
                  </a:lnTo>
                  <a:lnTo>
                    <a:pt x="1021" y="942"/>
                  </a:lnTo>
                  <a:lnTo>
                    <a:pt x="1002" y="963"/>
                  </a:lnTo>
                  <a:lnTo>
                    <a:pt x="983" y="982"/>
                  </a:lnTo>
                  <a:lnTo>
                    <a:pt x="963" y="1002"/>
                  </a:lnTo>
                  <a:lnTo>
                    <a:pt x="942" y="1019"/>
                  </a:lnTo>
                  <a:lnTo>
                    <a:pt x="920" y="1036"/>
                  </a:lnTo>
                  <a:lnTo>
                    <a:pt x="898" y="1052"/>
                  </a:lnTo>
                  <a:lnTo>
                    <a:pt x="875" y="1068"/>
                  </a:lnTo>
                  <a:lnTo>
                    <a:pt x="850" y="1082"/>
                  </a:lnTo>
                  <a:lnTo>
                    <a:pt x="826" y="1094"/>
                  </a:lnTo>
                  <a:lnTo>
                    <a:pt x="800" y="1106"/>
                  </a:lnTo>
                  <a:lnTo>
                    <a:pt x="774" y="1116"/>
                  </a:lnTo>
                  <a:lnTo>
                    <a:pt x="747" y="1126"/>
                  </a:lnTo>
                  <a:lnTo>
                    <a:pt x="720" y="1133"/>
                  </a:lnTo>
                  <a:lnTo>
                    <a:pt x="692" y="1139"/>
                  </a:lnTo>
                  <a:lnTo>
                    <a:pt x="664" y="1144"/>
                  </a:lnTo>
                  <a:lnTo>
                    <a:pt x="634" y="1148"/>
                  </a:lnTo>
                  <a:lnTo>
                    <a:pt x="605" y="1150"/>
                  </a:lnTo>
                  <a:lnTo>
                    <a:pt x="575" y="1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82">
              <a:extLst>
                <a:ext uri="{FF2B5EF4-FFF2-40B4-BE49-F238E27FC236}">
                  <a16:creationId xmlns:a16="http://schemas.microsoft.com/office/drawing/2014/main" id="{E65DA497-A8FD-4168-A276-65DBF93B664D}"/>
                </a:ext>
              </a:extLst>
            </p:cNvPr>
            <p:cNvSpPr>
              <a:spLocks/>
            </p:cNvSpPr>
            <p:nvPr/>
          </p:nvSpPr>
          <p:spPr bwMode="auto">
            <a:xfrm>
              <a:off x="5084763" y="5194300"/>
              <a:ext cx="47625" cy="74613"/>
            </a:xfrm>
            <a:custGeom>
              <a:avLst/>
              <a:gdLst>
                <a:gd name="T0" fmla="*/ 23 w 120"/>
                <a:gd name="T1" fmla="*/ 191 h 191"/>
                <a:gd name="T2" fmla="*/ 19 w 120"/>
                <a:gd name="T3" fmla="*/ 191 h 191"/>
                <a:gd name="T4" fmla="*/ 15 w 120"/>
                <a:gd name="T5" fmla="*/ 190 h 191"/>
                <a:gd name="T6" fmla="*/ 11 w 120"/>
                <a:gd name="T7" fmla="*/ 188 h 191"/>
                <a:gd name="T8" fmla="*/ 7 w 120"/>
                <a:gd name="T9" fmla="*/ 185 h 191"/>
                <a:gd name="T10" fmla="*/ 5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5 w 120"/>
                <a:gd name="T23" fmla="*/ 156 h 191"/>
                <a:gd name="T24" fmla="*/ 7 w 120"/>
                <a:gd name="T25" fmla="*/ 152 h 191"/>
                <a:gd name="T26" fmla="*/ 65 w 120"/>
                <a:gd name="T27" fmla="*/ 96 h 191"/>
                <a:gd name="T28" fmla="*/ 8 w 120"/>
                <a:gd name="T29" fmla="*/ 39 h 191"/>
                <a:gd name="T30" fmla="*/ 6 w 120"/>
                <a:gd name="T31" fmla="*/ 36 h 191"/>
                <a:gd name="T32" fmla="*/ 3 w 120"/>
                <a:gd name="T33" fmla="*/ 32 h 191"/>
                <a:gd name="T34" fmla="*/ 2 w 120"/>
                <a:gd name="T35" fmla="*/ 28 h 191"/>
                <a:gd name="T36" fmla="*/ 2 w 120"/>
                <a:gd name="T37" fmla="*/ 23 h 191"/>
                <a:gd name="T38" fmla="*/ 2 w 120"/>
                <a:gd name="T39" fmla="*/ 18 h 191"/>
                <a:gd name="T40" fmla="*/ 3 w 120"/>
                <a:gd name="T41" fmla="*/ 15 h 191"/>
                <a:gd name="T42" fmla="*/ 6 w 120"/>
                <a:gd name="T43" fmla="*/ 11 h 191"/>
                <a:gd name="T44" fmla="*/ 8 w 120"/>
                <a:gd name="T45" fmla="*/ 7 h 191"/>
                <a:gd name="T46" fmla="*/ 12 w 120"/>
                <a:gd name="T47" fmla="*/ 4 h 191"/>
                <a:gd name="T48" fmla="*/ 16 w 120"/>
                <a:gd name="T49" fmla="*/ 2 h 191"/>
                <a:gd name="T50" fmla="*/ 21 w 120"/>
                <a:gd name="T51" fmla="*/ 1 h 191"/>
                <a:gd name="T52" fmla="*/ 24 w 120"/>
                <a:gd name="T53" fmla="*/ 0 h 191"/>
                <a:gd name="T54" fmla="*/ 29 w 120"/>
                <a:gd name="T55" fmla="*/ 1 h 191"/>
                <a:gd name="T56" fmla="*/ 33 w 120"/>
                <a:gd name="T57" fmla="*/ 2 h 191"/>
                <a:gd name="T58" fmla="*/ 38 w 120"/>
                <a:gd name="T59" fmla="*/ 4 h 191"/>
                <a:gd name="T60" fmla="*/ 41 w 120"/>
                <a:gd name="T61" fmla="*/ 7 h 191"/>
                <a:gd name="T62" fmla="*/ 113 w 120"/>
                <a:gd name="T63" fmla="*/ 79 h 191"/>
                <a:gd name="T64" fmla="*/ 116 w 120"/>
                <a:gd name="T65" fmla="*/ 82 h 191"/>
                <a:gd name="T66" fmla="*/ 118 w 120"/>
                <a:gd name="T67" fmla="*/ 87 h 191"/>
                <a:gd name="T68" fmla="*/ 120 w 120"/>
                <a:gd name="T69" fmla="*/ 91 h 191"/>
                <a:gd name="T70" fmla="*/ 120 w 120"/>
                <a:gd name="T71" fmla="*/ 96 h 191"/>
                <a:gd name="T72" fmla="*/ 120 w 120"/>
                <a:gd name="T73" fmla="*/ 99 h 191"/>
                <a:gd name="T74" fmla="*/ 118 w 120"/>
                <a:gd name="T75" fmla="*/ 104 h 191"/>
                <a:gd name="T76" fmla="*/ 116 w 120"/>
                <a:gd name="T77" fmla="*/ 108 h 191"/>
                <a:gd name="T78" fmla="*/ 113 w 120"/>
                <a:gd name="T79" fmla="*/ 112 h 191"/>
                <a:gd name="T80" fmla="*/ 40 w 120"/>
                <a:gd name="T81" fmla="*/ 185 h 191"/>
                <a:gd name="T82" fmla="*/ 37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9" y="191"/>
                  </a:lnTo>
                  <a:lnTo>
                    <a:pt x="15" y="190"/>
                  </a:lnTo>
                  <a:lnTo>
                    <a:pt x="11" y="188"/>
                  </a:lnTo>
                  <a:lnTo>
                    <a:pt x="7" y="185"/>
                  </a:lnTo>
                  <a:lnTo>
                    <a:pt x="5" y="182"/>
                  </a:lnTo>
                  <a:lnTo>
                    <a:pt x="2" y="178"/>
                  </a:lnTo>
                  <a:lnTo>
                    <a:pt x="1" y="173"/>
                  </a:lnTo>
                  <a:lnTo>
                    <a:pt x="0" y="168"/>
                  </a:lnTo>
                  <a:lnTo>
                    <a:pt x="1" y="164"/>
                  </a:lnTo>
                  <a:lnTo>
                    <a:pt x="2" y="160"/>
                  </a:lnTo>
                  <a:lnTo>
                    <a:pt x="5" y="156"/>
                  </a:lnTo>
                  <a:lnTo>
                    <a:pt x="7" y="152"/>
                  </a:lnTo>
                  <a:lnTo>
                    <a:pt x="65" y="96"/>
                  </a:lnTo>
                  <a:lnTo>
                    <a:pt x="8" y="39"/>
                  </a:lnTo>
                  <a:lnTo>
                    <a:pt x="6" y="36"/>
                  </a:lnTo>
                  <a:lnTo>
                    <a:pt x="3" y="32"/>
                  </a:lnTo>
                  <a:lnTo>
                    <a:pt x="2" y="28"/>
                  </a:lnTo>
                  <a:lnTo>
                    <a:pt x="2" y="23"/>
                  </a:lnTo>
                  <a:lnTo>
                    <a:pt x="2" y="18"/>
                  </a:lnTo>
                  <a:lnTo>
                    <a:pt x="3" y="15"/>
                  </a:lnTo>
                  <a:lnTo>
                    <a:pt x="6" y="11"/>
                  </a:lnTo>
                  <a:lnTo>
                    <a:pt x="8" y="7"/>
                  </a:lnTo>
                  <a:lnTo>
                    <a:pt x="12" y="4"/>
                  </a:lnTo>
                  <a:lnTo>
                    <a:pt x="16" y="2"/>
                  </a:lnTo>
                  <a:lnTo>
                    <a:pt x="21" y="1"/>
                  </a:lnTo>
                  <a:lnTo>
                    <a:pt x="24" y="0"/>
                  </a:lnTo>
                  <a:lnTo>
                    <a:pt x="29" y="1"/>
                  </a:lnTo>
                  <a:lnTo>
                    <a:pt x="33" y="2"/>
                  </a:lnTo>
                  <a:lnTo>
                    <a:pt x="38" y="4"/>
                  </a:lnTo>
                  <a:lnTo>
                    <a:pt x="41" y="7"/>
                  </a:lnTo>
                  <a:lnTo>
                    <a:pt x="113" y="79"/>
                  </a:lnTo>
                  <a:lnTo>
                    <a:pt x="116" y="82"/>
                  </a:lnTo>
                  <a:lnTo>
                    <a:pt x="118" y="87"/>
                  </a:lnTo>
                  <a:lnTo>
                    <a:pt x="120" y="91"/>
                  </a:lnTo>
                  <a:lnTo>
                    <a:pt x="120" y="96"/>
                  </a:lnTo>
                  <a:lnTo>
                    <a:pt x="120" y="99"/>
                  </a:lnTo>
                  <a:lnTo>
                    <a:pt x="118" y="104"/>
                  </a:lnTo>
                  <a:lnTo>
                    <a:pt x="116" y="108"/>
                  </a:lnTo>
                  <a:lnTo>
                    <a:pt x="113" y="112"/>
                  </a:lnTo>
                  <a:lnTo>
                    <a:pt x="40" y="185"/>
                  </a:lnTo>
                  <a:lnTo>
                    <a:pt x="37"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3" name="Group 55">
            <a:extLst>
              <a:ext uri="{FF2B5EF4-FFF2-40B4-BE49-F238E27FC236}">
                <a16:creationId xmlns:a16="http://schemas.microsoft.com/office/drawing/2014/main" id="{DC37E5AC-DD8E-461C-970E-F61BD4B6A40F}"/>
              </a:ext>
            </a:extLst>
          </p:cNvPr>
          <p:cNvGrpSpPr>
            <a:grpSpLocks noChangeAspect="1"/>
          </p:cNvGrpSpPr>
          <p:nvPr/>
        </p:nvGrpSpPr>
        <p:grpSpPr>
          <a:xfrm>
            <a:off x="2292507" y="2186361"/>
            <a:ext cx="329560" cy="285619"/>
            <a:chOff x="4892675" y="1935163"/>
            <a:chExt cx="285750" cy="247650"/>
          </a:xfrm>
          <a:solidFill>
            <a:schemeClr val="bg1"/>
          </a:solidFill>
          <a:effectLst/>
        </p:grpSpPr>
        <p:sp>
          <p:nvSpPr>
            <p:cNvPr id="454" name="Freeform 185">
              <a:extLst>
                <a:ext uri="{FF2B5EF4-FFF2-40B4-BE49-F238E27FC236}">
                  <a16:creationId xmlns:a16="http://schemas.microsoft.com/office/drawing/2014/main" id="{5107C765-4D09-4537-9293-60D36396DFE5}"/>
                </a:ext>
              </a:extLst>
            </p:cNvPr>
            <p:cNvSpPr>
              <a:spLocks noEditPoints="1"/>
            </p:cNvSpPr>
            <p:nvPr/>
          </p:nvSpPr>
          <p:spPr bwMode="auto">
            <a:xfrm>
              <a:off x="4892675" y="2020888"/>
              <a:ext cx="66675" cy="114300"/>
            </a:xfrm>
            <a:custGeom>
              <a:avLst/>
              <a:gdLst>
                <a:gd name="T0" fmla="*/ 30 w 210"/>
                <a:gd name="T1" fmla="*/ 30 h 360"/>
                <a:gd name="T2" fmla="*/ 180 w 210"/>
                <a:gd name="T3" fmla="*/ 30 h 360"/>
                <a:gd name="T4" fmla="*/ 180 w 210"/>
                <a:gd name="T5" fmla="*/ 123 h 360"/>
                <a:gd name="T6" fmla="*/ 180 w 210"/>
                <a:gd name="T7" fmla="*/ 135 h 360"/>
                <a:gd name="T8" fmla="*/ 180 w 210"/>
                <a:gd name="T9" fmla="*/ 146 h 360"/>
                <a:gd name="T10" fmla="*/ 179 w 210"/>
                <a:gd name="T11" fmla="*/ 157 h 360"/>
                <a:gd name="T12" fmla="*/ 177 w 210"/>
                <a:gd name="T13" fmla="*/ 167 h 360"/>
                <a:gd name="T14" fmla="*/ 174 w 210"/>
                <a:gd name="T15" fmla="*/ 175 h 360"/>
                <a:gd name="T16" fmla="*/ 171 w 210"/>
                <a:gd name="T17" fmla="*/ 178 h 360"/>
                <a:gd name="T18" fmla="*/ 168 w 210"/>
                <a:gd name="T19" fmla="*/ 180 h 360"/>
                <a:gd name="T20" fmla="*/ 165 w 210"/>
                <a:gd name="T21" fmla="*/ 180 h 360"/>
                <a:gd name="T22" fmla="*/ 150 w 210"/>
                <a:gd name="T23" fmla="*/ 180 h 360"/>
                <a:gd name="T24" fmla="*/ 150 w 210"/>
                <a:gd name="T25" fmla="*/ 330 h 360"/>
                <a:gd name="T26" fmla="*/ 60 w 210"/>
                <a:gd name="T27" fmla="*/ 330 h 360"/>
                <a:gd name="T28" fmla="*/ 60 w 210"/>
                <a:gd name="T29" fmla="*/ 180 h 360"/>
                <a:gd name="T30" fmla="*/ 45 w 210"/>
                <a:gd name="T31" fmla="*/ 180 h 360"/>
                <a:gd name="T32" fmla="*/ 40 w 210"/>
                <a:gd name="T33" fmla="*/ 179 h 360"/>
                <a:gd name="T34" fmla="*/ 38 w 210"/>
                <a:gd name="T35" fmla="*/ 178 h 360"/>
                <a:gd name="T36" fmla="*/ 35 w 210"/>
                <a:gd name="T37" fmla="*/ 173 h 360"/>
                <a:gd name="T38" fmla="*/ 33 w 210"/>
                <a:gd name="T39" fmla="*/ 168 h 360"/>
                <a:gd name="T40" fmla="*/ 32 w 210"/>
                <a:gd name="T41" fmla="*/ 162 h 360"/>
                <a:gd name="T42" fmla="*/ 31 w 210"/>
                <a:gd name="T43" fmla="*/ 154 h 360"/>
                <a:gd name="T44" fmla="*/ 30 w 210"/>
                <a:gd name="T45" fmla="*/ 138 h 360"/>
                <a:gd name="T46" fmla="*/ 30 w 210"/>
                <a:gd name="T47" fmla="*/ 123 h 360"/>
                <a:gd name="T48" fmla="*/ 30 w 210"/>
                <a:gd name="T49" fmla="*/ 30 h 360"/>
                <a:gd name="T50" fmla="*/ 0 w 210"/>
                <a:gd name="T51" fmla="*/ 123 h 360"/>
                <a:gd name="T52" fmla="*/ 0 w 210"/>
                <a:gd name="T53" fmla="*/ 143 h 360"/>
                <a:gd name="T54" fmla="*/ 2 w 210"/>
                <a:gd name="T55" fmla="*/ 164 h 360"/>
                <a:gd name="T56" fmla="*/ 4 w 210"/>
                <a:gd name="T57" fmla="*/ 175 h 360"/>
                <a:gd name="T58" fmla="*/ 7 w 210"/>
                <a:gd name="T59" fmla="*/ 183 h 360"/>
                <a:gd name="T60" fmla="*/ 12 w 210"/>
                <a:gd name="T61" fmla="*/ 192 h 360"/>
                <a:gd name="T62" fmla="*/ 17 w 210"/>
                <a:gd name="T63" fmla="*/ 199 h 360"/>
                <a:gd name="T64" fmla="*/ 23 w 210"/>
                <a:gd name="T65" fmla="*/ 203 h 360"/>
                <a:gd name="T66" fmla="*/ 30 w 210"/>
                <a:gd name="T67" fmla="*/ 208 h 360"/>
                <a:gd name="T68" fmla="*/ 30 w 210"/>
                <a:gd name="T69" fmla="*/ 360 h 360"/>
                <a:gd name="T70" fmla="*/ 180 w 210"/>
                <a:gd name="T71" fmla="*/ 360 h 360"/>
                <a:gd name="T72" fmla="*/ 180 w 210"/>
                <a:gd name="T73" fmla="*/ 208 h 360"/>
                <a:gd name="T74" fmla="*/ 184 w 210"/>
                <a:gd name="T75" fmla="*/ 206 h 360"/>
                <a:gd name="T76" fmla="*/ 187 w 210"/>
                <a:gd name="T77" fmla="*/ 203 h 360"/>
                <a:gd name="T78" fmla="*/ 192 w 210"/>
                <a:gd name="T79" fmla="*/ 200 h 360"/>
                <a:gd name="T80" fmla="*/ 195 w 210"/>
                <a:gd name="T81" fmla="*/ 197 h 360"/>
                <a:gd name="T82" fmla="*/ 198 w 210"/>
                <a:gd name="T83" fmla="*/ 193 h 360"/>
                <a:gd name="T84" fmla="*/ 201 w 210"/>
                <a:gd name="T85" fmla="*/ 187 h 360"/>
                <a:gd name="T86" fmla="*/ 203 w 210"/>
                <a:gd name="T87" fmla="*/ 181 h 360"/>
                <a:gd name="T88" fmla="*/ 206 w 210"/>
                <a:gd name="T89" fmla="*/ 175 h 360"/>
                <a:gd name="T90" fmla="*/ 209 w 210"/>
                <a:gd name="T91" fmla="*/ 162 h 360"/>
                <a:gd name="T92" fmla="*/ 210 w 210"/>
                <a:gd name="T93" fmla="*/ 149 h 360"/>
                <a:gd name="T94" fmla="*/ 210 w 210"/>
                <a:gd name="T95" fmla="*/ 136 h 360"/>
                <a:gd name="T96" fmla="*/ 210 w 210"/>
                <a:gd name="T97" fmla="*/ 123 h 360"/>
                <a:gd name="T98" fmla="*/ 210 w 210"/>
                <a:gd name="T99" fmla="*/ 0 h 360"/>
                <a:gd name="T100" fmla="*/ 0 w 210"/>
                <a:gd name="T101" fmla="*/ 0 h 360"/>
                <a:gd name="T102" fmla="*/ 0 w 210"/>
                <a:gd name="T103" fmla="*/ 12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0" h="360">
                  <a:moveTo>
                    <a:pt x="30" y="30"/>
                  </a:moveTo>
                  <a:lnTo>
                    <a:pt x="180" y="30"/>
                  </a:lnTo>
                  <a:lnTo>
                    <a:pt x="180" y="123"/>
                  </a:lnTo>
                  <a:lnTo>
                    <a:pt x="180" y="135"/>
                  </a:lnTo>
                  <a:lnTo>
                    <a:pt x="180" y="146"/>
                  </a:lnTo>
                  <a:lnTo>
                    <a:pt x="179" y="157"/>
                  </a:lnTo>
                  <a:lnTo>
                    <a:pt x="177" y="167"/>
                  </a:lnTo>
                  <a:lnTo>
                    <a:pt x="174" y="175"/>
                  </a:lnTo>
                  <a:lnTo>
                    <a:pt x="171" y="178"/>
                  </a:lnTo>
                  <a:lnTo>
                    <a:pt x="168" y="180"/>
                  </a:lnTo>
                  <a:lnTo>
                    <a:pt x="165" y="180"/>
                  </a:lnTo>
                  <a:lnTo>
                    <a:pt x="150" y="180"/>
                  </a:lnTo>
                  <a:lnTo>
                    <a:pt x="150" y="330"/>
                  </a:lnTo>
                  <a:lnTo>
                    <a:pt x="60" y="330"/>
                  </a:lnTo>
                  <a:lnTo>
                    <a:pt x="60" y="180"/>
                  </a:lnTo>
                  <a:lnTo>
                    <a:pt x="45" y="180"/>
                  </a:lnTo>
                  <a:lnTo>
                    <a:pt x="40" y="179"/>
                  </a:lnTo>
                  <a:lnTo>
                    <a:pt x="38" y="178"/>
                  </a:lnTo>
                  <a:lnTo>
                    <a:pt x="35" y="173"/>
                  </a:lnTo>
                  <a:lnTo>
                    <a:pt x="33" y="168"/>
                  </a:lnTo>
                  <a:lnTo>
                    <a:pt x="32" y="162"/>
                  </a:lnTo>
                  <a:lnTo>
                    <a:pt x="31" y="154"/>
                  </a:lnTo>
                  <a:lnTo>
                    <a:pt x="30" y="138"/>
                  </a:lnTo>
                  <a:lnTo>
                    <a:pt x="30" y="123"/>
                  </a:lnTo>
                  <a:lnTo>
                    <a:pt x="30" y="30"/>
                  </a:lnTo>
                  <a:close/>
                  <a:moveTo>
                    <a:pt x="0" y="123"/>
                  </a:moveTo>
                  <a:lnTo>
                    <a:pt x="0" y="143"/>
                  </a:lnTo>
                  <a:lnTo>
                    <a:pt x="2" y="164"/>
                  </a:lnTo>
                  <a:lnTo>
                    <a:pt x="4" y="175"/>
                  </a:lnTo>
                  <a:lnTo>
                    <a:pt x="7" y="183"/>
                  </a:lnTo>
                  <a:lnTo>
                    <a:pt x="12" y="192"/>
                  </a:lnTo>
                  <a:lnTo>
                    <a:pt x="17" y="199"/>
                  </a:lnTo>
                  <a:lnTo>
                    <a:pt x="23" y="203"/>
                  </a:lnTo>
                  <a:lnTo>
                    <a:pt x="30" y="208"/>
                  </a:lnTo>
                  <a:lnTo>
                    <a:pt x="30" y="360"/>
                  </a:lnTo>
                  <a:lnTo>
                    <a:pt x="180" y="360"/>
                  </a:lnTo>
                  <a:lnTo>
                    <a:pt x="180" y="208"/>
                  </a:lnTo>
                  <a:lnTo>
                    <a:pt x="184" y="206"/>
                  </a:lnTo>
                  <a:lnTo>
                    <a:pt x="187" y="203"/>
                  </a:lnTo>
                  <a:lnTo>
                    <a:pt x="192" y="200"/>
                  </a:lnTo>
                  <a:lnTo>
                    <a:pt x="195" y="197"/>
                  </a:lnTo>
                  <a:lnTo>
                    <a:pt x="198" y="193"/>
                  </a:lnTo>
                  <a:lnTo>
                    <a:pt x="201" y="187"/>
                  </a:lnTo>
                  <a:lnTo>
                    <a:pt x="203" y="181"/>
                  </a:lnTo>
                  <a:lnTo>
                    <a:pt x="206" y="175"/>
                  </a:lnTo>
                  <a:lnTo>
                    <a:pt x="209" y="162"/>
                  </a:lnTo>
                  <a:lnTo>
                    <a:pt x="210" y="149"/>
                  </a:lnTo>
                  <a:lnTo>
                    <a:pt x="210" y="136"/>
                  </a:lnTo>
                  <a:lnTo>
                    <a:pt x="210" y="123"/>
                  </a:lnTo>
                  <a:lnTo>
                    <a:pt x="210" y="0"/>
                  </a:lnTo>
                  <a:lnTo>
                    <a:pt x="0" y="0"/>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86">
              <a:extLst>
                <a:ext uri="{FF2B5EF4-FFF2-40B4-BE49-F238E27FC236}">
                  <a16:creationId xmlns:a16="http://schemas.microsoft.com/office/drawing/2014/main" id="{EE311F8C-DF75-476D-8F83-E0126323615B}"/>
                </a:ext>
              </a:extLst>
            </p:cNvPr>
            <p:cNvSpPr>
              <a:spLocks noEditPoints="1"/>
            </p:cNvSpPr>
            <p:nvPr/>
          </p:nvSpPr>
          <p:spPr bwMode="auto">
            <a:xfrm>
              <a:off x="5111750" y="2020888"/>
              <a:ext cx="66675" cy="114300"/>
            </a:xfrm>
            <a:custGeom>
              <a:avLst/>
              <a:gdLst>
                <a:gd name="T0" fmla="*/ 181 w 212"/>
                <a:gd name="T1" fmla="*/ 120 h 360"/>
                <a:gd name="T2" fmla="*/ 180 w 212"/>
                <a:gd name="T3" fmla="*/ 130 h 360"/>
                <a:gd name="T4" fmla="*/ 179 w 212"/>
                <a:gd name="T5" fmla="*/ 138 h 360"/>
                <a:gd name="T6" fmla="*/ 177 w 212"/>
                <a:gd name="T7" fmla="*/ 146 h 360"/>
                <a:gd name="T8" fmla="*/ 175 w 212"/>
                <a:gd name="T9" fmla="*/ 152 h 360"/>
                <a:gd name="T10" fmla="*/ 173 w 212"/>
                <a:gd name="T11" fmla="*/ 157 h 360"/>
                <a:gd name="T12" fmla="*/ 170 w 212"/>
                <a:gd name="T13" fmla="*/ 161 h 360"/>
                <a:gd name="T14" fmla="*/ 168 w 212"/>
                <a:gd name="T15" fmla="*/ 164 h 360"/>
                <a:gd name="T16" fmla="*/ 166 w 212"/>
                <a:gd name="T17" fmla="*/ 165 h 360"/>
                <a:gd name="T18" fmla="*/ 151 w 212"/>
                <a:gd name="T19" fmla="*/ 165 h 360"/>
                <a:gd name="T20" fmla="*/ 151 w 212"/>
                <a:gd name="T21" fmla="*/ 330 h 360"/>
                <a:gd name="T22" fmla="*/ 60 w 212"/>
                <a:gd name="T23" fmla="*/ 330 h 360"/>
                <a:gd name="T24" fmla="*/ 60 w 212"/>
                <a:gd name="T25" fmla="*/ 180 h 360"/>
                <a:gd name="T26" fmla="*/ 59 w 212"/>
                <a:gd name="T27" fmla="*/ 166 h 360"/>
                <a:gd name="T28" fmla="*/ 45 w 212"/>
                <a:gd name="T29" fmla="*/ 165 h 360"/>
                <a:gd name="T30" fmla="*/ 44 w 212"/>
                <a:gd name="T31" fmla="*/ 164 h 360"/>
                <a:gd name="T32" fmla="*/ 42 w 212"/>
                <a:gd name="T33" fmla="*/ 162 h 360"/>
                <a:gd name="T34" fmla="*/ 40 w 212"/>
                <a:gd name="T35" fmla="*/ 158 h 360"/>
                <a:gd name="T36" fmla="*/ 37 w 212"/>
                <a:gd name="T37" fmla="*/ 154 h 360"/>
                <a:gd name="T38" fmla="*/ 35 w 212"/>
                <a:gd name="T39" fmla="*/ 148 h 360"/>
                <a:gd name="T40" fmla="*/ 32 w 212"/>
                <a:gd name="T41" fmla="*/ 139 h 360"/>
                <a:gd name="T42" fmla="*/ 31 w 212"/>
                <a:gd name="T43" fmla="*/ 131 h 360"/>
                <a:gd name="T44" fmla="*/ 30 w 212"/>
                <a:gd name="T45" fmla="*/ 120 h 360"/>
                <a:gd name="T46" fmla="*/ 30 w 212"/>
                <a:gd name="T47" fmla="*/ 30 h 360"/>
                <a:gd name="T48" fmla="*/ 181 w 212"/>
                <a:gd name="T49" fmla="*/ 30 h 360"/>
                <a:gd name="T50" fmla="*/ 181 w 212"/>
                <a:gd name="T51" fmla="*/ 120 h 360"/>
                <a:gd name="T52" fmla="*/ 0 w 212"/>
                <a:gd name="T53" fmla="*/ 0 h 360"/>
                <a:gd name="T54" fmla="*/ 0 w 212"/>
                <a:gd name="T55" fmla="*/ 120 h 360"/>
                <a:gd name="T56" fmla="*/ 1 w 212"/>
                <a:gd name="T57" fmla="*/ 133 h 360"/>
                <a:gd name="T58" fmla="*/ 2 w 212"/>
                <a:gd name="T59" fmla="*/ 145 h 360"/>
                <a:gd name="T60" fmla="*/ 6 w 212"/>
                <a:gd name="T61" fmla="*/ 155 h 360"/>
                <a:gd name="T62" fmla="*/ 9 w 212"/>
                <a:gd name="T63" fmla="*/ 165 h 360"/>
                <a:gd name="T64" fmla="*/ 13 w 212"/>
                <a:gd name="T65" fmla="*/ 173 h 360"/>
                <a:gd name="T66" fmla="*/ 19 w 212"/>
                <a:gd name="T67" fmla="*/ 181 h 360"/>
                <a:gd name="T68" fmla="*/ 24 w 212"/>
                <a:gd name="T69" fmla="*/ 186 h 360"/>
                <a:gd name="T70" fmla="*/ 30 w 212"/>
                <a:gd name="T71" fmla="*/ 192 h 360"/>
                <a:gd name="T72" fmla="*/ 30 w 212"/>
                <a:gd name="T73" fmla="*/ 360 h 360"/>
                <a:gd name="T74" fmla="*/ 181 w 212"/>
                <a:gd name="T75" fmla="*/ 360 h 360"/>
                <a:gd name="T76" fmla="*/ 181 w 212"/>
                <a:gd name="T77" fmla="*/ 191 h 360"/>
                <a:gd name="T78" fmla="*/ 188 w 212"/>
                <a:gd name="T79" fmla="*/ 186 h 360"/>
                <a:gd name="T80" fmla="*/ 194 w 212"/>
                <a:gd name="T81" fmla="*/ 180 h 360"/>
                <a:gd name="T82" fmla="*/ 199 w 212"/>
                <a:gd name="T83" fmla="*/ 171 h 360"/>
                <a:gd name="T84" fmla="*/ 203 w 212"/>
                <a:gd name="T85" fmla="*/ 163 h 360"/>
                <a:gd name="T86" fmla="*/ 207 w 212"/>
                <a:gd name="T87" fmla="*/ 152 h 360"/>
                <a:gd name="T88" fmla="*/ 209 w 212"/>
                <a:gd name="T89" fmla="*/ 142 h 360"/>
                <a:gd name="T90" fmla="*/ 210 w 212"/>
                <a:gd name="T91" fmla="*/ 131 h 360"/>
                <a:gd name="T92" fmla="*/ 212 w 212"/>
                <a:gd name="T93" fmla="*/ 120 h 360"/>
                <a:gd name="T94" fmla="*/ 212 w 212"/>
                <a:gd name="T95" fmla="*/ 0 h 360"/>
                <a:gd name="T96" fmla="*/ 0 w 212"/>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360">
                  <a:moveTo>
                    <a:pt x="181" y="120"/>
                  </a:moveTo>
                  <a:lnTo>
                    <a:pt x="180" y="130"/>
                  </a:lnTo>
                  <a:lnTo>
                    <a:pt x="179" y="138"/>
                  </a:lnTo>
                  <a:lnTo>
                    <a:pt x="177" y="146"/>
                  </a:lnTo>
                  <a:lnTo>
                    <a:pt x="175" y="152"/>
                  </a:lnTo>
                  <a:lnTo>
                    <a:pt x="173" y="157"/>
                  </a:lnTo>
                  <a:lnTo>
                    <a:pt x="170" y="161"/>
                  </a:lnTo>
                  <a:lnTo>
                    <a:pt x="168" y="164"/>
                  </a:lnTo>
                  <a:lnTo>
                    <a:pt x="166" y="165"/>
                  </a:lnTo>
                  <a:lnTo>
                    <a:pt x="151" y="165"/>
                  </a:lnTo>
                  <a:lnTo>
                    <a:pt x="151" y="330"/>
                  </a:lnTo>
                  <a:lnTo>
                    <a:pt x="60" y="330"/>
                  </a:lnTo>
                  <a:lnTo>
                    <a:pt x="60" y="180"/>
                  </a:lnTo>
                  <a:lnTo>
                    <a:pt x="59" y="166"/>
                  </a:lnTo>
                  <a:lnTo>
                    <a:pt x="45" y="165"/>
                  </a:lnTo>
                  <a:lnTo>
                    <a:pt x="44" y="164"/>
                  </a:lnTo>
                  <a:lnTo>
                    <a:pt x="42" y="162"/>
                  </a:lnTo>
                  <a:lnTo>
                    <a:pt x="40" y="158"/>
                  </a:lnTo>
                  <a:lnTo>
                    <a:pt x="37" y="154"/>
                  </a:lnTo>
                  <a:lnTo>
                    <a:pt x="35" y="148"/>
                  </a:lnTo>
                  <a:lnTo>
                    <a:pt x="32" y="139"/>
                  </a:lnTo>
                  <a:lnTo>
                    <a:pt x="31" y="131"/>
                  </a:lnTo>
                  <a:lnTo>
                    <a:pt x="30" y="120"/>
                  </a:lnTo>
                  <a:lnTo>
                    <a:pt x="30" y="30"/>
                  </a:lnTo>
                  <a:lnTo>
                    <a:pt x="181" y="30"/>
                  </a:lnTo>
                  <a:lnTo>
                    <a:pt x="181" y="120"/>
                  </a:lnTo>
                  <a:close/>
                  <a:moveTo>
                    <a:pt x="0" y="0"/>
                  </a:moveTo>
                  <a:lnTo>
                    <a:pt x="0" y="120"/>
                  </a:lnTo>
                  <a:lnTo>
                    <a:pt x="1" y="133"/>
                  </a:lnTo>
                  <a:lnTo>
                    <a:pt x="2" y="145"/>
                  </a:lnTo>
                  <a:lnTo>
                    <a:pt x="6" y="155"/>
                  </a:lnTo>
                  <a:lnTo>
                    <a:pt x="9" y="165"/>
                  </a:lnTo>
                  <a:lnTo>
                    <a:pt x="13" y="173"/>
                  </a:lnTo>
                  <a:lnTo>
                    <a:pt x="19" y="181"/>
                  </a:lnTo>
                  <a:lnTo>
                    <a:pt x="24" y="186"/>
                  </a:lnTo>
                  <a:lnTo>
                    <a:pt x="30" y="192"/>
                  </a:lnTo>
                  <a:lnTo>
                    <a:pt x="30" y="360"/>
                  </a:lnTo>
                  <a:lnTo>
                    <a:pt x="181" y="360"/>
                  </a:lnTo>
                  <a:lnTo>
                    <a:pt x="181" y="191"/>
                  </a:lnTo>
                  <a:lnTo>
                    <a:pt x="188" y="186"/>
                  </a:lnTo>
                  <a:lnTo>
                    <a:pt x="194" y="180"/>
                  </a:lnTo>
                  <a:lnTo>
                    <a:pt x="199" y="171"/>
                  </a:lnTo>
                  <a:lnTo>
                    <a:pt x="203" y="163"/>
                  </a:lnTo>
                  <a:lnTo>
                    <a:pt x="207" y="152"/>
                  </a:lnTo>
                  <a:lnTo>
                    <a:pt x="209" y="142"/>
                  </a:lnTo>
                  <a:lnTo>
                    <a:pt x="210" y="131"/>
                  </a:lnTo>
                  <a:lnTo>
                    <a:pt x="212" y="120"/>
                  </a:lnTo>
                  <a:lnTo>
                    <a:pt x="21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87">
              <a:extLst>
                <a:ext uri="{FF2B5EF4-FFF2-40B4-BE49-F238E27FC236}">
                  <a16:creationId xmlns:a16="http://schemas.microsoft.com/office/drawing/2014/main" id="{31556E63-788D-4DA1-A080-6A0C8ECB50A0}"/>
                </a:ext>
              </a:extLst>
            </p:cNvPr>
            <p:cNvSpPr>
              <a:spLocks noEditPoints="1"/>
            </p:cNvSpPr>
            <p:nvPr/>
          </p:nvSpPr>
          <p:spPr bwMode="auto">
            <a:xfrm>
              <a:off x="4987925" y="2020888"/>
              <a:ext cx="95250" cy="161925"/>
            </a:xfrm>
            <a:custGeom>
              <a:avLst/>
              <a:gdLst>
                <a:gd name="T0" fmla="*/ 270 w 300"/>
                <a:gd name="T1" fmla="*/ 30 h 511"/>
                <a:gd name="T2" fmla="*/ 270 w 300"/>
                <a:gd name="T3" fmla="*/ 218 h 511"/>
                <a:gd name="T4" fmla="*/ 266 w 300"/>
                <a:gd name="T5" fmla="*/ 239 h 511"/>
                <a:gd name="T6" fmla="*/ 259 w 300"/>
                <a:gd name="T7" fmla="*/ 253 h 511"/>
                <a:gd name="T8" fmla="*/ 253 w 300"/>
                <a:gd name="T9" fmla="*/ 260 h 511"/>
                <a:gd name="T10" fmla="*/ 244 w 300"/>
                <a:gd name="T11" fmla="*/ 267 h 511"/>
                <a:gd name="T12" fmla="*/ 233 w 300"/>
                <a:gd name="T13" fmla="*/ 270 h 511"/>
                <a:gd name="T14" fmla="*/ 210 w 300"/>
                <a:gd name="T15" fmla="*/ 270 h 511"/>
                <a:gd name="T16" fmla="*/ 90 w 300"/>
                <a:gd name="T17" fmla="*/ 481 h 511"/>
                <a:gd name="T18" fmla="*/ 75 w 300"/>
                <a:gd name="T19" fmla="*/ 270 h 511"/>
                <a:gd name="T20" fmla="*/ 61 w 300"/>
                <a:gd name="T21" fmla="*/ 269 h 511"/>
                <a:gd name="T22" fmla="*/ 51 w 300"/>
                <a:gd name="T23" fmla="*/ 264 h 511"/>
                <a:gd name="T24" fmla="*/ 43 w 300"/>
                <a:gd name="T25" fmla="*/ 257 h 511"/>
                <a:gd name="T26" fmla="*/ 38 w 300"/>
                <a:gd name="T27" fmla="*/ 249 h 511"/>
                <a:gd name="T28" fmla="*/ 31 w 300"/>
                <a:gd name="T29" fmla="*/ 229 h 511"/>
                <a:gd name="T30" fmla="*/ 30 w 300"/>
                <a:gd name="T31" fmla="*/ 210 h 511"/>
                <a:gd name="T32" fmla="*/ 0 w 300"/>
                <a:gd name="T33" fmla="*/ 210 h 511"/>
                <a:gd name="T34" fmla="*/ 1 w 300"/>
                <a:gd name="T35" fmla="*/ 228 h 511"/>
                <a:gd name="T36" fmla="*/ 3 w 300"/>
                <a:gd name="T37" fmla="*/ 244 h 511"/>
                <a:gd name="T38" fmla="*/ 9 w 300"/>
                <a:gd name="T39" fmla="*/ 258 h 511"/>
                <a:gd name="T40" fmla="*/ 16 w 300"/>
                <a:gd name="T41" fmla="*/ 270 h 511"/>
                <a:gd name="T42" fmla="*/ 25 w 300"/>
                <a:gd name="T43" fmla="*/ 281 h 511"/>
                <a:gd name="T44" fmla="*/ 34 w 300"/>
                <a:gd name="T45" fmla="*/ 289 h 511"/>
                <a:gd name="T46" fmla="*/ 46 w 300"/>
                <a:gd name="T47" fmla="*/ 295 h 511"/>
                <a:gd name="T48" fmla="*/ 60 w 300"/>
                <a:gd name="T49" fmla="*/ 299 h 511"/>
                <a:gd name="T50" fmla="*/ 240 w 300"/>
                <a:gd name="T51" fmla="*/ 511 h 511"/>
                <a:gd name="T52" fmla="*/ 247 w 300"/>
                <a:gd name="T53" fmla="*/ 297 h 511"/>
                <a:gd name="T54" fmla="*/ 259 w 300"/>
                <a:gd name="T55" fmla="*/ 292 h 511"/>
                <a:gd name="T56" fmla="*/ 271 w 300"/>
                <a:gd name="T57" fmla="*/ 285 h 511"/>
                <a:gd name="T58" fmla="*/ 280 w 300"/>
                <a:gd name="T59" fmla="*/ 275 h 511"/>
                <a:gd name="T60" fmla="*/ 288 w 300"/>
                <a:gd name="T61" fmla="*/ 265 h 511"/>
                <a:gd name="T62" fmla="*/ 294 w 300"/>
                <a:gd name="T63" fmla="*/ 251 h 511"/>
                <a:gd name="T64" fmla="*/ 298 w 300"/>
                <a:gd name="T65" fmla="*/ 236 h 511"/>
                <a:gd name="T66" fmla="*/ 300 w 300"/>
                <a:gd name="T67" fmla="*/ 220 h 511"/>
                <a:gd name="T68" fmla="*/ 300 w 300"/>
                <a:gd name="T69" fmla="*/ 0 h 511"/>
                <a:gd name="T70" fmla="*/ 0 w 300"/>
                <a:gd name="T71" fmla="*/ 21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511">
                  <a:moveTo>
                    <a:pt x="30" y="30"/>
                  </a:moveTo>
                  <a:lnTo>
                    <a:pt x="270" y="30"/>
                  </a:lnTo>
                  <a:lnTo>
                    <a:pt x="270" y="210"/>
                  </a:lnTo>
                  <a:lnTo>
                    <a:pt x="270" y="218"/>
                  </a:lnTo>
                  <a:lnTo>
                    <a:pt x="269" y="229"/>
                  </a:lnTo>
                  <a:lnTo>
                    <a:pt x="266" y="239"/>
                  </a:lnTo>
                  <a:lnTo>
                    <a:pt x="263" y="249"/>
                  </a:lnTo>
                  <a:lnTo>
                    <a:pt x="259" y="253"/>
                  </a:lnTo>
                  <a:lnTo>
                    <a:pt x="256" y="257"/>
                  </a:lnTo>
                  <a:lnTo>
                    <a:pt x="253" y="260"/>
                  </a:lnTo>
                  <a:lnTo>
                    <a:pt x="249" y="264"/>
                  </a:lnTo>
                  <a:lnTo>
                    <a:pt x="244" y="267"/>
                  </a:lnTo>
                  <a:lnTo>
                    <a:pt x="238" y="269"/>
                  </a:lnTo>
                  <a:lnTo>
                    <a:pt x="233" y="270"/>
                  </a:lnTo>
                  <a:lnTo>
                    <a:pt x="225" y="270"/>
                  </a:lnTo>
                  <a:lnTo>
                    <a:pt x="210" y="270"/>
                  </a:lnTo>
                  <a:lnTo>
                    <a:pt x="210" y="481"/>
                  </a:lnTo>
                  <a:lnTo>
                    <a:pt x="90" y="481"/>
                  </a:lnTo>
                  <a:lnTo>
                    <a:pt x="90" y="270"/>
                  </a:lnTo>
                  <a:lnTo>
                    <a:pt x="75" y="270"/>
                  </a:lnTo>
                  <a:lnTo>
                    <a:pt x="68" y="270"/>
                  </a:lnTo>
                  <a:lnTo>
                    <a:pt x="61" y="269"/>
                  </a:lnTo>
                  <a:lnTo>
                    <a:pt x="56" y="267"/>
                  </a:lnTo>
                  <a:lnTo>
                    <a:pt x="51" y="264"/>
                  </a:lnTo>
                  <a:lnTo>
                    <a:pt x="47" y="260"/>
                  </a:lnTo>
                  <a:lnTo>
                    <a:pt x="43" y="257"/>
                  </a:lnTo>
                  <a:lnTo>
                    <a:pt x="40" y="253"/>
                  </a:lnTo>
                  <a:lnTo>
                    <a:pt x="38" y="249"/>
                  </a:lnTo>
                  <a:lnTo>
                    <a:pt x="33" y="239"/>
                  </a:lnTo>
                  <a:lnTo>
                    <a:pt x="31" y="229"/>
                  </a:lnTo>
                  <a:lnTo>
                    <a:pt x="30" y="218"/>
                  </a:lnTo>
                  <a:lnTo>
                    <a:pt x="30" y="210"/>
                  </a:lnTo>
                  <a:lnTo>
                    <a:pt x="30" y="30"/>
                  </a:lnTo>
                  <a:close/>
                  <a:moveTo>
                    <a:pt x="0" y="210"/>
                  </a:moveTo>
                  <a:lnTo>
                    <a:pt x="0" y="218"/>
                  </a:lnTo>
                  <a:lnTo>
                    <a:pt x="1" y="228"/>
                  </a:lnTo>
                  <a:lnTo>
                    <a:pt x="2" y="236"/>
                  </a:lnTo>
                  <a:lnTo>
                    <a:pt x="3" y="244"/>
                  </a:lnTo>
                  <a:lnTo>
                    <a:pt x="6" y="251"/>
                  </a:lnTo>
                  <a:lnTo>
                    <a:pt x="9" y="258"/>
                  </a:lnTo>
                  <a:lnTo>
                    <a:pt x="12" y="265"/>
                  </a:lnTo>
                  <a:lnTo>
                    <a:pt x="16" y="270"/>
                  </a:lnTo>
                  <a:lnTo>
                    <a:pt x="19" y="275"/>
                  </a:lnTo>
                  <a:lnTo>
                    <a:pt x="25" y="281"/>
                  </a:lnTo>
                  <a:lnTo>
                    <a:pt x="29" y="285"/>
                  </a:lnTo>
                  <a:lnTo>
                    <a:pt x="34" y="289"/>
                  </a:lnTo>
                  <a:lnTo>
                    <a:pt x="41" y="292"/>
                  </a:lnTo>
                  <a:lnTo>
                    <a:pt x="46" y="295"/>
                  </a:lnTo>
                  <a:lnTo>
                    <a:pt x="53" y="297"/>
                  </a:lnTo>
                  <a:lnTo>
                    <a:pt x="60" y="299"/>
                  </a:lnTo>
                  <a:lnTo>
                    <a:pt x="60" y="511"/>
                  </a:lnTo>
                  <a:lnTo>
                    <a:pt x="240" y="511"/>
                  </a:lnTo>
                  <a:lnTo>
                    <a:pt x="240" y="299"/>
                  </a:lnTo>
                  <a:lnTo>
                    <a:pt x="247" y="297"/>
                  </a:lnTo>
                  <a:lnTo>
                    <a:pt x="254" y="295"/>
                  </a:lnTo>
                  <a:lnTo>
                    <a:pt x="259" y="292"/>
                  </a:lnTo>
                  <a:lnTo>
                    <a:pt x="266" y="289"/>
                  </a:lnTo>
                  <a:lnTo>
                    <a:pt x="271" y="285"/>
                  </a:lnTo>
                  <a:lnTo>
                    <a:pt x="276" y="281"/>
                  </a:lnTo>
                  <a:lnTo>
                    <a:pt x="280" y="275"/>
                  </a:lnTo>
                  <a:lnTo>
                    <a:pt x="284" y="270"/>
                  </a:lnTo>
                  <a:lnTo>
                    <a:pt x="288" y="265"/>
                  </a:lnTo>
                  <a:lnTo>
                    <a:pt x="292" y="258"/>
                  </a:lnTo>
                  <a:lnTo>
                    <a:pt x="294" y="251"/>
                  </a:lnTo>
                  <a:lnTo>
                    <a:pt x="296" y="244"/>
                  </a:lnTo>
                  <a:lnTo>
                    <a:pt x="298" y="236"/>
                  </a:lnTo>
                  <a:lnTo>
                    <a:pt x="299" y="228"/>
                  </a:lnTo>
                  <a:lnTo>
                    <a:pt x="300" y="220"/>
                  </a:lnTo>
                  <a:lnTo>
                    <a:pt x="300" y="210"/>
                  </a:lnTo>
                  <a:lnTo>
                    <a:pt x="300" y="0"/>
                  </a:lnTo>
                  <a:lnTo>
                    <a:pt x="0" y="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88">
              <a:extLst>
                <a:ext uri="{FF2B5EF4-FFF2-40B4-BE49-F238E27FC236}">
                  <a16:creationId xmlns:a16="http://schemas.microsoft.com/office/drawing/2014/main" id="{07C53F6D-8DD5-4CC5-87FD-AA4F9E71C7FE}"/>
                </a:ext>
              </a:extLst>
            </p:cNvPr>
            <p:cNvSpPr>
              <a:spLocks noEditPoints="1"/>
            </p:cNvSpPr>
            <p:nvPr/>
          </p:nvSpPr>
          <p:spPr bwMode="auto">
            <a:xfrm>
              <a:off x="5121275" y="1963738"/>
              <a:ext cx="47625" cy="47625"/>
            </a:xfrm>
            <a:custGeom>
              <a:avLst/>
              <a:gdLst>
                <a:gd name="T0" fmla="*/ 85 w 151"/>
                <a:gd name="T1" fmla="*/ 31 h 151"/>
                <a:gd name="T2" fmla="*/ 101 w 151"/>
                <a:gd name="T3" fmla="*/ 38 h 151"/>
                <a:gd name="T4" fmla="*/ 113 w 151"/>
                <a:gd name="T5" fmla="*/ 50 h 151"/>
                <a:gd name="T6" fmla="*/ 120 w 151"/>
                <a:gd name="T7" fmla="*/ 66 h 151"/>
                <a:gd name="T8" fmla="*/ 120 w 151"/>
                <a:gd name="T9" fmla="*/ 84 h 151"/>
                <a:gd name="T10" fmla="*/ 113 w 151"/>
                <a:gd name="T11" fmla="*/ 100 h 151"/>
                <a:gd name="T12" fmla="*/ 101 w 151"/>
                <a:gd name="T13" fmla="*/ 112 h 151"/>
                <a:gd name="T14" fmla="*/ 85 w 151"/>
                <a:gd name="T15" fmla="*/ 120 h 151"/>
                <a:gd name="T16" fmla="*/ 67 w 151"/>
                <a:gd name="T17" fmla="*/ 120 h 151"/>
                <a:gd name="T18" fmla="*/ 51 w 151"/>
                <a:gd name="T19" fmla="*/ 112 h 151"/>
                <a:gd name="T20" fmla="*/ 39 w 151"/>
                <a:gd name="T21" fmla="*/ 100 h 151"/>
                <a:gd name="T22" fmla="*/ 31 w 151"/>
                <a:gd name="T23" fmla="*/ 84 h 151"/>
                <a:gd name="T24" fmla="*/ 31 w 151"/>
                <a:gd name="T25" fmla="*/ 66 h 151"/>
                <a:gd name="T26" fmla="*/ 39 w 151"/>
                <a:gd name="T27" fmla="*/ 50 h 151"/>
                <a:gd name="T28" fmla="*/ 51 w 151"/>
                <a:gd name="T29" fmla="*/ 38 h 151"/>
                <a:gd name="T30" fmla="*/ 67 w 151"/>
                <a:gd name="T31" fmla="*/ 31 h 151"/>
                <a:gd name="T32" fmla="*/ 76 w 151"/>
                <a:gd name="T33" fmla="*/ 151 h 151"/>
                <a:gd name="T34" fmla="*/ 91 w 151"/>
                <a:gd name="T35" fmla="*/ 149 h 151"/>
                <a:gd name="T36" fmla="*/ 105 w 151"/>
                <a:gd name="T37" fmla="*/ 144 h 151"/>
                <a:gd name="T38" fmla="*/ 118 w 151"/>
                <a:gd name="T39" fmla="*/ 138 h 151"/>
                <a:gd name="T40" fmla="*/ 129 w 151"/>
                <a:gd name="T41" fmla="*/ 128 h 151"/>
                <a:gd name="T42" fmla="*/ 139 w 151"/>
                <a:gd name="T43" fmla="*/ 118 h 151"/>
                <a:gd name="T44" fmla="*/ 145 w 151"/>
                <a:gd name="T45" fmla="*/ 105 h 151"/>
                <a:gd name="T46" fmla="*/ 149 w 151"/>
                <a:gd name="T47" fmla="*/ 91 h 151"/>
                <a:gd name="T48" fmla="*/ 151 w 151"/>
                <a:gd name="T49" fmla="*/ 75 h 151"/>
                <a:gd name="T50" fmla="*/ 149 w 151"/>
                <a:gd name="T51" fmla="*/ 60 h 151"/>
                <a:gd name="T52" fmla="*/ 145 w 151"/>
                <a:gd name="T53" fmla="*/ 46 h 151"/>
                <a:gd name="T54" fmla="*/ 139 w 151"/>
                <a:gd name="T55" fmla="*/ 33 h 151"/>
                <a:gd name="T56" fmla="*/ 129 w 151"/>
                <a:gd name="T57" fmla="*/ 22 h 151"/>
                <a:gd name="T58" fmla="*/ 118 w 151"/>
                <a:gd name="T59" fmla="*/ 12 h 151"/>
                <a:gd name="T60" fmla="*/ 105 w 151"/>
                <a:gd name="T61" fmla="*/ 6 h 151"/>
                <a:gd name="T62" fmla="*/ 91 w 151"/>
                <a:gd name="T63" fmla="*/ 2 h 151"/>
                <a:gd name="T64" fmla="*/ 76 w 151"/>
                <a:gd name="T65" fmla="*/ 0 h 151"/>
                <a:gd name="T66" fmla="*/ 60 w 151"/>
                <a:gd name="T67" fmla="*/ 2 h 151"/>
                <a:gd name="T68" fmla="*/ 46 w 151"/>
                <a:gd name="T69" fmla="*/ 6 h 151"/>
                <a:gd name="T70" fmla="*/ 34 w 151"/>
                <a:gd name="T71" fmla="*/ 12 h 151"/>
                <a:gd name="T72" fmla="*/ 23 w 151"/>
                <a:gd name="T73" fmla="*/ 22 h 151"/>
                <a:gd name="T74" fmla="*/ 13 w 151"/>
                <a:gd name="T75" fmla="*/ 33 h 151"/>
                <a:gd name="T76" fmla="*/ 7 w 151"/>
                <a:gd name="T77" fmla="*/ 46 h 151"/>
                <a:gd name="T78" fmla="*/ 2 w 151"/>
                <a:gd name="T79" fmla="*/ 60 h 151"/>
                <a:gd name="T80" fmla="*/ 0 w 151"/>
                <a:gd name="T81" fmla="*/ 75 h 151"/>
                <a:gd name="T82" fmla="*/ 2 w 151"/>
                <a:gd name="T83" fmla="*/ 91 h 151"/>
                <a:gd name="T84" fmla="*/ 7 w 151"/>
                <a:gd name="T85" fmla="*/ 105 h 151"/>
                <a:gd name="T86" fmla="*/ 13 w 151"/>
                <a:gd name="T87" fmla="*/ 118 h 151"/>
                <a:gd name="T88" fmla="*/ 23 w 151"/>
                <a:gd name="T89" fmla="*/ 128 h 151"/>
                <a:gd name="T90" fmla="*/ 34 w 151"/>
                <a:gd name="T91" fmla="*/ 138 h 151"/>
                <a:gd name="T92" fmla="*/ 46 w 151"/>
                <a:gd name="T93" fmla="*/ 144 h 151"/>
                <a:gd name="T94" fmla="*/ 60 w 151"/>
                <a:gd name="T95" fmla="*/ 149 h 151"/>
                <a:gd name="T96" fmla="*/ 76 w 151"/>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76" y="30"/>
                  </a:moveTo>
                  <a:lnTo>
                    <a:pt x="85" y="31"/>
                  </a:lnTo>
                  <a:lnTo>
                    <a:pt x="94" y="34"/>
                  </a:lnTo>
                  <a:lnTo>
                    <a:pt x="101" y="38"/>
                  </a:lnTo>
                  <a:lnTo>
                    <a:pt x="108" y="44"/>
                  </a:lnTo>
                  <a:lnTo>
                    <a:pt x="113" y="50"/>
                  </a:lnTo>
                  <a:lnTo>
                    <a:pt x="117" y="57"/>
                  </a:lnTo>
                  <a:lnTo>
                    <a:pt x="120" y="66"/>
                  </a:lnTo>
                  <a:lnTo>
                    <a:pt x="121" y="75"/>
                  </a:lnTo>
                  <a:lnTo>
                    <a:pt x="120" y="84"/>
                  </a:lnTo>
                  <a:lnTo>
                    <a:pt x="117" y="93"/>
                  </a:lnTo>
                  <a:lnTo>
                    <a:pt x="113" y="100"/>
                  </a:lnTo>
                  <a:lnTo>
                    <a:pt x="108" y="107"/>
                  </a:lnTo>
                  <a:lnTo>
                    <a:pt x="101" y="112"/>
                  </a:lnTo>
                  <a:lnTo>
                    <a:pt x="94" y="116"/>
                  </a:lnTo>
                  <a:lnTo>
                    <a:pt x="85" y="120"/>
                  </a:lnTo>
                  <a:lnTo>
                    <a:pt x="76" y="121"/>
                  </a:lnTo>
                  <a:lnTo>
                    <a:pt x="67" y="120"/>
                  </a:lnTo>
                  <a:lnTo>
                    <a:pt x="58" y="116"/>
                  </a:lnTo>
                  <a:lnTo>
                    <a:pt x="51" y="112"/>
                  </a:lnTo>
                  <a:lnTo>
                    <a:pt x="44" y="107"/>
                  </a:lnTo>
                  <a:lnTo>
                    <a:pt x="39" y="100"/>
                  </a:lnTo>
                  <a:lnTo>
                    <a:pt x="35" y="93"/>
                  </a:lnTo>
                  <a:lnTo>
                    <a:pt x="31" y="84"/>
                  </a:lnTo>
                  <a:lnTo>
                    <a:pt x="30" y="75"/>
                  </a:lnTo>
                  <a:lnTo>
                    <a:pt x="31" y="66"/>
                  </a:lnTo>
                  <a:lnTo>
                    <a:pt x="35" y="57"/>
                  </a:lnTo>
                  <a:lnTo>
                    <a:pt x="39" y="50"/>
                  </a:lnTo>
                  <a:lnTo>
                    <a:pt x="44" y="44"/>
                  </a:lnTo>
                  <a:lnTo>
                    <a:pt x="51" y="38"/>
                  </a:lnTo>
                  <a:lnTo>
                    <a:pt x="58" y="34"/>
                  </a:lnTo>
                  <a:lnTo>
                    <a:pt x="67" y="31"/>
                  </a:lnTo>
                  <a:lnTo>
                    <a:pt x="76" y="30"/>
                  </a:lnTo>
                  <a:close/>
                  <a:moveTo>
                    <a:pt x="76" y="151"/>
                  </a:moveTo>
                  <a:lnTo>
                    <a:pt x="84" y="150"/>
                  </a:lnTo>
                  <a:lnTo>
                    <a:pt x="91" y="149"/>
                  </a:lnTo>
                  <a:lnTo>
                    <a:pt x="98" y="146"/>
                  </a:lnTo>
                  <a:lnTo>
                    <a:pt x="105" y="144"/>
                  </a:lnTo>
                  <a:lnTo>
                    <a:pt x="112" y="141"/>
                  </a:lnTo>
                  <a:lnTo>
                    <a:pt x="118" y="138"/>
                  </a:lnTo>
                  <a:lnTo>
                    <a:pt x="124" y="134"/>
                  </a:lnTo>
                  <a:lnTo>
                    <a:pt x="129" y="128"/>
                  </a:lnTo>
                  <a:lnTo>
                    <a:pt x="134" y="123"/>
                  </a:lnTo>
                  <a:lnTo>
                    <a:pt x="139" y="118"/>
                  </a:lnTo>
                  <a:lnTo>
                    <a:pt x="142" y="111"/>
                  </a:lnTo>
                  <a:lnTo>
                    <a:pt x="145" y="105"/>
                  </a:lnTo>
                  <a:lnTo>
                    <a:pt x="148" y="97"/>
                  </a:lnTo>
                  <a:lnTo>
                    <a:pt x="149" y="91"/>
                  </a:lnTo>
                  <a:lnTo>
                    <a:pt x="150" y="83"/>
                  </a:lnTo>
                  <a:lnTo>
                    <a:pt x="151" y="75"/>
                  </a:lnTo>
                  <a:lnTo>
                    <a:pt x="150" y="67"/>
                  </a:lnTo>
                  <a:lnTo>
                    <a:pt x="149" y="60"/>
                  </a:lnTo>
                  <a:lnTo>
                    <a:pt x="148" y="53"/>
                  </a:lnTo>
                  <a:lnTo>
                    <a:pt x="145" y="46"/>
                  </a:lnTo>
                  <a:lnTo>
                    <a:pt x="142" y="39"/>
                  </a:lnTo>
                  <a:lnTo>
                    <a:pt x="139" y="33"/>
                  </a:lnTo>
                  <a:lnTo>
                    <a:pt x="134" y="27"/>
                  </a:lnTo>
                  <a:lnTo>
                    <a:pt x="129" y="22"/>
                  </a:lnTo>
                  <a:lnTo>
                    <a:pt x="124" y="17"/>
                  </a:lnTo>
                  <a:lnTo>
                    <a:pt x="118" y="12"/>
                  </a:lnTo>
                  <a:lnTo>
                    <a:pt x="112" y="9"/>
                  </a:lnTo>
                  <a:lnTo>
                    <a:pt x="105" y="6"/>
                  </a:lnTo>
                  <a:lnTo>
                    <a:pt x="98" y="4"/>
                  </a:lnTo>
                  <a:lnTo>
                    <a:pt x="91" y="2"/>
                  </a:lnTo>
                  <a:lnTo>
                    <a:pt x="84" y="1"/>
                  </a:lnTo>
                  <a:lnTo>
                    <a:pt x="76" y="0"/>
                  </a:lnTo>
                  <a:lnTo>
                    <a:pt x="68" y="1"/>
                  </a:lnTo>
                  <a:lnTo>
                    <a:pt x="60" y="2"/>
                  </a:lnTo>
                  <a:lnTo>
                    <a:pt x="54" y="4"/>
                  </a:lnTo>
                  <a:lnTo>
                    <a:pt x="46" y="6"/>
                  </a:lnTo>
                  <a:lnTo>
                    <a:pt x="40" y="9"/>
                  </a:lnTo>
                  <a:lnTo>
                    <a:pt x="34" y="12"/>
                  </a:lnTo>
                  <a:lnTo>
                    <a:pt x="28" y="17"/>
                  </a:lnTo>
                  <a:lnTo>
                    <a:pt x="23" y="22"/>
                  </a:lnTo>
                  <a:lnTo>
                    <a:pt x="17" y="27"/>
                  </a:lnTo>
                  <a:lnTo>
                    <a:pt x="13" y="33"/>
                  </a:lnTo>
                  <a:lnTo>
                    <a:pt x="10" y="39"/>
                  </a:lnTo>
                  <a:lnTo>
                    <a:pt x="7" y="46"/>
                  </a:lnTo>
                  <a:lnTo>
                    <a:pt x="5" y="53"/>
                  </a:lnTo>
                  <a:lnTo>
                    <a:pt x="2" y="60"/>
                  </a:lnTo>
                  <a:lnTo>
                    <a:pt x="1" y="67"/>
                  </a:lnTo>
                  <a:lnTo>
                    <a:pt x="0" y="75"/>
                  </a:lnTo>
                  <a:lnTo>
                    <a:pt x="1" y="83"/>
                  </a:lnTo>
                  <a:lnTo>
                    <a:pt x="2" y="91"/>
                  </a:lnTo>
                  <a:lnTo>
                    <a:pt x="5" y="97"/>
                  </a:lnTo>
                  <a:lnTo>
                    <a:pt x="7" y="105"/>
                  </a:lnTo>
                  <a:lnTo>
                    <a:pt x="10" y="111"/>
                  </a:lnTo>
                  <a:lnTo>
                    <a:pt x="13" y="118"/>
                  </a:lnTo>
                  <a:lnTo>
                    <a:pt x="17" y="123"/>
                  </a:lnTo>
                  <a:lnTo>
                    <a:pt x="23" y="128"/>
                  </a:lnTo>
                  <a:lnTo>
                    <a:pt x="28" y="134"/>
                  </a:lnTo>
                  <a:lnTo>
                    <a:pt x="34" y="138"/>
                  </a:lnTo>
                  <a:lnTo>
                    <a:pt x="40" y="141"/>
                  </a:lnTo>
                  <a:lnTo>
                    <a:pt x="46" y="144"/>
                  </a:lnTo>
                  <a:lnTo>
                    <a:pt x="54" y="146"/>
                  </a:lnTo>
                  <a:lnTo>
                    <a:pt x="60" y="149"/>
                  </a:lnTo>
                  <a:lnTo>
                    <a:pt x="68" y="150"/>
                  </a:lnTo>
                  <a:lnTo>
                    <a:pt x="7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89">
              <a:extLst>
                <a:ext uri="{FF2B5EF4-FFF2-40B4-BE49-F238E27FC236}">
                  <a16:creationId xmlns:a16="http://schemas.microsoft.com/office/drawing/2014/main" id="{CC50189B-5468-4EFB-9D10-C128FC416911}"/>
                </a:ext>
              </a:extLst>
            </p:cNvPr>
            <p:cNvSpPr>
              <a:spLocks noEditPoints="1"/>
            </p:cNvSpPr>
            <p:nvPr/>
          </p:nvSpPr>
          <p:spPr bwMode="auto">
            <a:xfrm>
              <a:off x="4902200" y="1963738"/>
              <a:ext cx="47625" cy="47625"/>
            </a:xfrm>
            <a:custGeom>
              <a:avLst/>
              <a:gdLst>
                <a:gd name="T0" fmla="*/ 84 w 150"/>
                <a:gd name="T1" fmla="*/ 31 h 151"/>
                <a:gd name="T2" fmla="*/ 101 w 150"/>
                <a:gd name="T3" fmla="*/ 38 h 151"/>
                <a:gd name="T4" fmla="*/ 112 w 150"/>
                <a:gd name="T5" fmla="*/ 50 h 151"/>
                <a:gd name="T6" fmla="*/ 119 w 150"/>
                <a:gd name="T7" fmla="*/ 66 h 151"/>
                <a:gd name="T8" fmla="*/ 119 w 150"/>
                <a:gd name="T9" fmla="*/ 84 h 151"/>
                <a:gd name="T10" fmla="*/ 112 w 150"/>
                <a:gd name="T11" fmla="*/ 100 h 151"/>
                <a:gd name="T12" fmla="*/ 101 w 150"/>
                <a:gd name="T13" fmla="*/ 112 h 151"/>
                <a:gd name="T14" fmla="*/ 84 w 150"/>
                <a:gd name="T15" fmla="*/ 120 h 151"/>
                <a:gd name="T16" fmla="*/ 66 w 150"/>
                <a:gd name="T17" fmla="*/ 120 h 151"/>
                <a:gd name="T18" fmla="*/ 50 w 150"/>
                <a:gd name="T19" fmla="*/ 112 h 151"/>
                <a:gd name="T20" fmla="*/ 37 w 150"/>
                <a:gd name="T21" fmla="*/ 100 h 151"/>
                <a:gd name="T22" fmla="*/ 31 w 150"/>
                <a:gd name="T23" fmla="*/ 84 h 151"/>
                <a:gd name="T24" fmla="*/ 31 w 150"/>
                <a:gd name="T25" fmla="*/ 66 h 151"/>
                <a:gd name="T26" fmla="*/ 37 w 150"/>
                <a:gd name="T27" fmla="*/ 50 h 151"/>
                <a:gd name="T28" fmla="*/ 50 w 150"/>
                <a:gd name="T29" fmla="*/ 38 h 151"/>
                <a:gd name="T30" fmla="*/ 66 w 150"/>
                <a:gd name="T31" fmla="*/ 31 h 151"/>
                <a:gd name="T32" fmla="*/ 75 w 150"/>
                <a:gd name="T33" fmla="*/ 151 h 151"/>
                <a:gd name="T34" fmla="*/ 90 w 150"/>
                <a:gd name="T35" fmla="*/ 149 h 151"/>
                <a:gd name="T36" fmla="*/ 105 w 150"/>
                <a:gd name="T37" fmla="*/ 144 h 151"/>
                <a:gd name="T38" fmla="*/ 117 w 150"/>
                <a:gd name="T39" fmla="*/ 138 h 151"/>
                <a:gd name="T40" fmla="*/ 128 w 150"/>
                <a:gd name="T41" fmla="*/ 128 h 151"/>
                <a:gd name="T42" fmla="*/ 137 w 150"/>
                <a:gd name="T43" fmla="*/ 118 h 151"/>
                <a:gd name="T44" fmla="*/ 144 w 150"/>
                <a:gd name="T45" fmla="*/ 105 h 151"/>
                <a:gd name="T46" fmla="*/ 149 w 150"/>
                <a:gd name="T47" fmla="*/ 91 h 151"/>
                <a:gd name="T48" fmla="*/ 150 w 150"/>
                <a:gd name="T49" fmla="*/ 75 h 151"/>
                <a:gd name="T50" fmla="*/ 149 w 150"/>
                <a:gd name="T51" fmla="*/ 60 h 151"/>
                <a:gd name="T52" fmla="*/ 144 w 150"/>
                <a:gd name="T53" fmla="*/ 46 h 151"/>
                <a:gd name="T54" fmla="*/ 137 w 150"/>
                <a:gd name="T55" fmla="*/ 33 h 151"/>
                <a:gd name="T56" fmla="*/ 128 w 150"/>
                <a:gd name="T57" fmla="*/ 22 h 151"/>
                <a:gd name="T58" fmla="*/ 117 w 150"/>
                <a:gd name="T59" fmla="*/ 12 h 151"/>
                <a:gd name="T60" fmla="*/ 105 w 150"/>
                <a:gd name="T61" fmla="*/ 6 h 151"/>
                <a:gd name="T62" fmla="*/ 90 w 150"/>
                <a:gd name="T63" fmla="*/ 2 h 151"/>
                <a:gd name="T64" fmla="*/ 75 w 150"/>
                <a:gd name="T65" fmla="*/ 0 h 151"/>
                <a:gd name="T66" fmla="*/ 60 w 150"/>
                <a:gd name="T67" fmla="*/ 2 h 151"/>
                <a:gd name="T68" fmla="*/ 46 w 150"/>
                <a:gd name="T69" fmla="*/ 6 h 151"/>
                <a:gd name="T70" fmla="*/ 33 w 150"/>
                <a:gd name="T71" fmla="*/ 12 h 151"/>
                <a:gd name="T72" fmla="*/ 22 w 150"/>
                <a:gd name="T73" fmla="*/ 22 h 151"/>
                <a:gd name="T74" fmla="*/ 13 w 150"/>
                <a:gd name="T75" fmla="*/ 33 h 151"/>
                <a:gd name="T76" fmla="*/ 6 w 150"/>
                <a:gd name="T77" fmla="*/ 46 h 151"/>
                <a:gd name="T78" fmla="*/ 2 w 150"/>
                <a:gd name="T79" fmla="*/ 60 h 151"/>
                <a:gd name="T80" fmla="*/ 0 w 150"/>
                <a:gd name="T81" fmla="*/ 75 h 151"/>
                <a:gd name="T82" fmla="*/ 2 w 150"/>
                <a:gd name="T83" fmla="*/ 91 h 151"/>
                <a:gd name="T84" fmla="*/ 6 w 150"/>
                <a:gd name="T85" fmla="*/ 105 h 151"/>
                <a:gd name="T86" fmla="*/ 13 w 150"/>
                <a:gd name="T87" fmla="*/ 118 h 151"/>
                <a:gd name="T88" fmla="*/ 22 w 150"/>
                <a:gd name="T89" fmla="*/ 128 h 151"/>
                <a:gd name="T90" fmla="*/ 33 w 150"/>
                <a:gd name="T91" fmla="*/ 138 h 151"/>
                <a:gd name="T92" fmla="*/ 46 w 150"/>
                <a:gd name="T93" fmla="*/ 144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1" y="38"/>
                  </a:lnTo>
                  <a:lnTo>
                    <a:pt x="107" y="44"/>
                  </a:lnTo>
                  <a:lnTo>
                    <a:pt x="112" y="50"/>
                  </a:lnTo>
                  <a:lnTo>
                    <a:pt x="117" y="57"/>
                  </a:lnTo>
                  <a:lnTo>
                    <a:pt x="119" y="66"/>
                  </a:lnTo>
                  <a:lnTo>
                    <a:pt x="120" y="75"/>
                  </a:lnTo>
                  <a:lnTo>
                    <a:pt x="119" y="84"/>
                  </a:lnTo>
                  <a:lnTo>
                    <a:pt x="117" y="93"/>
                  </a:lnTo>
                  <a:lnTo>
                    <a:pt x="112" y="100"/>
                  </a:lnTo>
                  <a:lnTo>
                    <a:pt x="107" y="107"/>
                  </a:lnTo>
                  <a:lnTo>
                    <a:pt x="101" y="112"/>
                  </a:lnTo>
                  <a:lnTo>
                    <a:pt x="93" y="116"/>
                  </a:lnTo>
                  <a:lnTo>
                    <a:pt x="84" y="120"/>
                  </a:lnTo>
                  <a:lnTo>
                    <a:pt x="75" y="121"/>
                  </a:lnTo>
                  <a:lnTo>
                    <a:pt x="66" y="120"/>
                  </a:lnTo>
                  <a:lnTo>
                    <a:pt x="58" y="116"/>
                  </a:lnTo>
                  <a:lnTo>
                    <a:pt x="50" y="112"/>
                  </a:lnTo>
                  <a:lnTo>
                    <a:pt x="44" y="107"/>
                  </a:lnTo>
                  <a:lnTo>
                    <a:pt x="37" y="100"/>
                  </a:lnTo>
                  <a:lnTo>
                    <a:pt x="33" y="93"/>
                  </a:lnTo>
                  <a:lnTo>
                    <a:pt x="31" y="84"/>
                  </a:lnTo>
                  <a:lnTo>
                    <a:pt x="30" y="75"/>
                  </a:lnTo>
                  <a:lnTo>
                    <a:pt x="31" y="66"/>
                  </a:lnTo>
                  <a:lnTo>
                    <a:pt x="33" y="57"/>
                  </a:lnTo>
                  <a:lnTo>
                    <a:pt x="37" y="50"/>
                  </a:lnTo>
                  <a:lnTo>
                    <a:pt x="44" y="44"/>
                  </a:lnTo>
                  <a:lnTo>
                    <a:pt x="50" y="38"/>
                  </a:lnTo>
                  <a:lnTo>
                    <a:pt x="58" y="34"/>
                  </a:lnTo>
                  <a:lnTo>
                    <a:pt x="66" y="31"/>
                  </a:lnTo>
                  <a:lnTo>
                    <a:pt x="75" y="30"/>
                  </a:lnTo>
                  <a:close/>
                  <a:moveTo>
                    <a:pt x="75" y="151"/>
                  </a:moveTo>
                  <a:lnTo>
                    <a:pt x="82" y="150"/>
                  </a:lnTo>
                  <a:lnTo>
                    <a:pt x="90" y="149"/>
                  </a:lnTo>
                  <a:lnTo>
                    <a:pt x="97" y="146"/>
                  </a:lnTo>
                  <a:lnTo>
                    <a:pt x="105" y="144"/>
                  </a:lnTo>
                  <a:lnTo>
                    <a:pt x="111" y="141"/>
                  </a:lnTo>
                  <a:lnTo>
                    <a:pt x="117" y="138"/>
                  </a:lnTo>
                  <a:lnTo>
                    <a:pt x="123" y="134"/>
                  </a:lnTo>
                  <a:lnTo>
                    <a:pt x="128" y="128"/>
                  </a:lnTo>
                  <a:lnTo>
                    <a:pt x="133" y="123"/>
                  </a:lnTo>
                  <a:lnTo>
                    <a:pt x="137" y="118"/>
                  </a:lnTo>
                  <a:lnTo>
                    <a:pt x="141" y="111"/>
                  </a:lnTo>
                  <a:lnTo>
                    <a:pt x="144" y="105"/>
                  </a:lnTo>
                  <a:lnTo>
                    <a:pt x="147" y="97"/>
                  </a:lnTo>
                  <a:lnTo>
                    <a:pt x="149" y="91"/>
                  </a:lnTo>
                  <a:lnTo>
                    <a:pt x="150" y="83"/>
                  </a:lnTo>
                  <a:lnTo>
                    <a:pt x="150" y="75"/>
                  </a:lnTo>
                  <a:lnTo>
                    <a:pt x="150" y="67"/>
                  </a:lnTo>
                  <a:lnTo>
                    <a:pt x="149" y="60"/>
                  </a:lnTo>
                  <a:lnTo>
                    <a:pt x="147" y="53"/>
                  </a:lnTo>
                  <a:lnTo>
                    <a:pt x="144" y="46"/>
                  </a:lnTo>
                  <a:lnTo>
                    <a:pt x="141" y="39"/>
                  </a:lnTo>
                  <a:lnTo>
                    <a:pt x="137" y="33"/>
                  </a:lnTo>
                  <a:lnTo>
                    <a:pt x="133" y="27"/>
                  </a:lnTo>
                  <a:lnTo>
                    <a:pt x="128" y="22"/>
                  </a:lnTo>
                  <a:lnTo>
                    <a:pt x="123" y="17"/>
                  </a:lnTo>
                  <a:lnTo>
                    <a:pt x="117" y="12"/>
                  </a:lnTo>
                  <a:lnTo>
                    <a:pt x="111" y="9"/>
                  </a:lnTo>
                  <a:lnTo>
                    <a:pt x="105" y="6"/>
                  </a:lnTo>
                  <a:lnTo>
                    <a:pt x="97" y="4"/>
                  </a:lnTo>
                  <a:lnTo>
                    <a:pt x="90" y="2"/>
                  </a:lnTo>
                  <a:lnTo>
                    <a:pt x="82" y="1"/>
                  </a:lnTo>
                  <a:lnTo>
                    <a:pt x="75" y="0"/>
                  </a:lnTo>
                  <a:lnTo>
                    <a:pt x="67" y="1"/>
                  </a:lnTo>
                  <a:lnTo>
                    <a:pt x="60" y="2"/>
                  </a:lnTo>
                  <a:lnTo>
                    <a:pt x="52" y="4"/>
                  </a:lnTo>
                  <a:lnTo>
                    <a:pt x="46" y="6"/>
                  </a:lnTo>
                  <a:lnTo>
                    <a:pt x="39" y="9"/>
                  </a:lnTo>
                  <a:lnTo>
                    <a:pt x="33" y="12"/>
                  </a:lnTo>
                  <a:lnTo>
                    <a:pt x="28" y="17"/>
                  </a:lnTo>
                  <a:lnTo>
                    <a:pt x="22" y="22"/>
                  </a:lnTo>
                  <a:lnTo>
                    <a:pt x="17" y="27"/>
                  </a:lnTo>
                  <a:lnTo>
                    <a:pt x="13" y="33"/>
                  </a:lnTo>
                  <a:lnTo>
                    <a:pt x="9" y="39"/>
                  </a:lnTo>
                  <a:lnTo>
                    <a:pt x="6" y="46"/>
                  </a:lnTo>
                  <a:lnTo>
                    <a:pt x="3" y="53"/>
                  </a:lnTo>
                  <a:lnTo>
                    <a:pt x="2" y="60"/>
                  </a:lnTo>
                  <a:lnTo>
                    <a:pt x="0" y="67"/>
                  </a:lnTo>
                  <a:lnTo>
                    <a:pt x="0" y="75"/>
                  </a:lnTo>
                  <a:lnTo>
                    <a:pt x="0" y="83"/>
                  </a:lnTo>
                  <a:lnTo>
                    <a:pt x="2" y="91"/>
                  </a:lnTo>
                  <a:lnTo>
                    <a:pt x="3" y="97"/>
                  </a:lnTo>
                  <a:lnTo>
                    <a:pt x="6" y="105"/>
                  </a:lnTo>
                  <a:lnTo>
                    <a:pt x="9" y="111"/>
                  </a:lnTo>
                  <a:lnTo>
                    <a:pt x="13" y="118"/>
                  </a:lnTo>
                  <a:lnTo>
                    <a:pt x="17" y="123"/>
                  </a:lnTo>
                  <a:lnTo>
                    <a:pt x="22" y="128"/>
                  </a:lnTo>
                  <a:lnTo>
                    <a:pt x="28" y="134"/>
                  </a:lnTo>
                  <a:lnTo>
                    <a:pt x="33" y="138"/>
                  </a:lnTo>
                  <a:lnTo>
                    <a:pt x="39" y="141"/>
                  </a:lnTo>
                  <a:lnTo>
                    <a:pt x="46" y="144"/>
                  </a:lnTo>
                  <a:lnTo>
                    <a:pt x="52" y="146"/>
                  </a:lnTo>
                  <a:lnTo>
                    <a:pt x="60" y="149"/>
                  </a:lnTo>
                  <a:lnTo>
                    <a:pt x="67" y="150"/>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90">
              <a:extLst>
                <a:ext uri="{FF2B5EF4-FFF2-40B4-BE49-F238E27FC236}">
                  <a16:creationId xmlns:a16="http://schemas.microsoft.com/office/drawing/2014/main" id="{79AAF082-FD57-4345-8AC2-A45F2BAC7618}"/>
                </a:ext>
              </a:extLst>
            </p:cNvPr>
            <p:cNvSpPr>
              <a:spLocks noEditPoints="1"/>
            </p:cNvSpPr>
            <p:nvPr/>
          </p:nvSpPr>
          <p:spPr bwMode="auto">
            <a:xfrm>
              <a:off x="4997450" y="1935163"/>
              <a:ext cx="76200" cy="76200"/>
            </a:xfrm>
            <a:custGeom>
              <a:avLst/>
              <a:gdLst>
                <a:gd name="T0" fmla="*/ 138 w 240"/>
                <a:gd name="T1" fmla="*/ 32 h 241"/>
                <a:gd name="T2" fmla="*/ 163 w 240"/>
                <a:gd name="T3" fmla="*/ 40 h 241"/>
                <a:gd name="T4" fmla="*/ 183 w 240"/>
                <a:gd name="T5" fmla="*/ 56 h 241"/>
                <a:gd name="T6" fmla="*/ 199 w 240"/>
                <a:gd name="T7" fmla="*/ 77 h 241"/>
                <a:gd name="T8" fmla="*/ 208 w 240"/>
                <a:gd name="T9" fmla="*/ 101 h 241"/>
                <a:gd name="T10" fmla="*/ 210 w 240"/>
                <a:gd name="T11" fmla="*/ 129 h 241"/>
                <a:gd name="T12" fmla="*/ 203 w 240"/>
                <a:gd name="T13" fmla="*/ 155 h 241"/>
                <a:gd name="T14" fmla="*/ 190 w 240"/>
                <a:gd name="T15" fmla="*/ 178 h 241"/>
                <a:gd name="T16" fmla="*/ 171 w 240"/>
                <a:gd name="T17" fmla="*/ 195 h 241"/>
                <a:gd name="T18" fmla="*/ 147 w 240"/>
                <a:gd name="T19" fmla="*/ 206 h 241"/>
                <a:gd name="T20" fmla="*/ 120 w 240"/>
                <a:gd name="T21" fmla="*/ 211 h 241"/>
                <a:gd name="T22" fmla="*/ 93 w 240"/>
                <a:gd name="T23" fmla="*/ 206 h 241"/>
                <a:gd name="T24" fmla="*/ 70 w 240"/>
                <a:gd name="T25" fmla="*/ 195 h 241"/>
                <a:gd name="T26" fmla="*/ 50 w 240"/>
                <a:gd name="T27" fmla="*/ 178 h 241"/>
                <a:gd name="T28" fmla="*/ 36 w 240"/>
                <a:gd name="T29" fmla="*/ 155 h 241"/>
                <a:gd name="T30" fmla="*/ 30 w 240"/>
                <a:gd name="T31" fmla="*/ 129 h 241"/>
                <a:gd name="T32" fmla="*/ 31 w 240"/>
                <a:gd name="T33" fmla="*/ 101 h 241"/>
                <a:gd name="T34" fmla="*/ 41 w 240"/>
                <a:gd name="T35" fmla="*/ 77 h 241"/>
                <a:gd name="T36" fmla="*/ 56 w 240"/>
                <a:gd name="T37" fmla="*/ 56 h 241"/>
                <a:gd name="T38" fmla="*/ 77 w 240"/>
                <a:gd name="T39" fmla="*/ 40 h 241"/>
                <a:gd name="T40" fmla="*/ 102 w 240"/>
                <a:gd name="T41" fmla="*/ 32 h 241"/>
                <a:gd name="T42" fmla="*/ 120 w 240"/>
                <a:gd name="T43" fmla="*/ 241 h 241"/>
                <a:gd name="T44" fmla="*/ 155 w 240"/>
                <a:gd name="T45" fmla="*/ 235 h 241"/>
                <a:gd name="T46" fmla="*/ 188 w 240"/>
                <a:gd name="T47" fmla="*/ 219 h 241"/>
                <a:gd name="T48" fmla="*/ 212 w 240"/>
                <a:gd name="T49" fmla="*/ 197 h 241"/>
                <a:gd name="T50" fmla="*/ 231 w 240"/>
                <a:gd name="T51" fmla="*/ 167 h 241"/>
                <a:gd name="T52" fmla="*/ 240 w 240"/>
                <a:gd name="T53" fmla="*/ 132 h 241"/>
                <a:gd name="T54" fmla="*/ 238 w 240"/>
                <a:gd name="T55" fmla="*/ 96 h 241"/>
                <a:gd name="T56" fmla="*/ 226 w 240"/>
                <a:gd name="T57" fmla="*/ 63 h 241"/>
                <a:gd name="T58" fmla="*/ 205 w 240"/>
                <a:gd name="T59" fmla="*/ 35 h 241"/>
                <a:gd name="T60" fmla="*/ 177 w 240"/>
                <a:gd name="T61" fmla="*/ 15 h 241"/>
                <a:gd name="T62" fmla="*/ 144 w 240"/>
                <a:gd name="T63" fmla="*/ 2 h 241"/>
                <a:gd name="T64" fmla="*/ 107 w 240"/>
                <a:gd name="T65" fmla="*/ 1 h 241"/>
                <a:gd name="T66" fmla="*/ 73 w 240"/>
                <a:gd name="T67" fmla="*/ 9 h 241"/>
                <a:gd name="T68" fmla="*/ 44 w 240"/>
                <a:gd name="T69" fmla="*/ 27 h 241"/>
                <a:gd name="T70" fmla="*/ 20 w 240"/>
                <a:gd name="T71" fmla="*/ 53 h 241"/>
                <a:gd name="T72" fmla="*/ 5 w 240"/>
                <a:gd name="T73" fmla="*/ 84 h 241"/>
                <a:gd name="T74" fmla="*/ 0 w 240"/>
                <a:gd name="T75" fmla="*/ 120 h 241"/>
                <a:gd name="T76" fmla="*/ 5 w 240"/>
                <a:gd name="T77" fmla="*/ 156 h 241"/>
                <a:gd name="T78" fmla="*/ 20 w 240"/>
                <a:gd name="T79" fmla="*/ 187 h 241"/>
                <a:gd name="T80" fmla="*/ 44 w 240"/>
                <a:gd name="T81" fmla="*/ 213 h 241"/>
                <a:gd name="T82" fmla="*/ 73 w 240"/>
                <a:gd name="T83" fmla="*/ 231 h 241"/>
                <a:gd name="T84" fmla="*/ 107 w 240"/>
                <a:gd name="T85" fmla="*/ 24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29" y="31"/>
                  </a:lnTo>
                  <a:lnTo>
                    <a:pt x="138" y="32"/>
                  </a:lnTo>
                  <a:lnTo>
                    <a:pt x="147" y="34"/>
                  </a:lnTo>
                  <a:lnTo>
                    <a:pt x="155" y="37"/>
                  </a:lnTo>
                  <a:lnTo>
                    <a:pt x="163" y="40"/>
                  </a:lnTo>
                  <a:lnTo>
                    <a:pt x="171" y="46"/>
                  </a:lnTo>
                  <a:lnTo>
                    <a:pt x="177" y="50"/>
                  </a:lnTo>
                  <a:lnTo>
                    <a:pt x="183" y="56"/>
                  </a:lnTo>
                  <a:lnTo>
                    <a:pt x="190" y="63"/>
                  </a:lnTo>
                  <a:lnTo>
                    <a:pt x="195" y="69"/>
                  </a:lnTo>
                  <a:lnTo>
                    <a:pt x="199" y="77"/>
                  </a:lnTo>
                  <a:lnTo>
                    <a:pt x="203" y="85"/>
                  </a:lnTo>
                  <a:lnTo>
                    <a:pt x="206" y="93"/>
                  </a:lnTo>
                  <a:lnTo>
                    <a:pt x="208" y="101"/>
                  </a:lnTo>
                  <a:lnTo>
                    <a:pt x="210" y="111"/>
                  </a:lnTo>
                  <a:lnTo>
                    <a:pt x="210" y="120"/>
                  </a:lnTo>
                  <a:lnTo>
                    <a:pt x="210" y="129"/>
                  </a:lnTo>
                  <a:lnTo>
                    <a:pt x="208" y="138"/>
                  </a:lnTo>
                  <a:lnTo>
                    <a:pt x="206" y="146"/>
                  </a:lnTo>
                  <a:lnTo>
                    <a:pt x="203" y="155"/>
                  </a:lnTo>
                  <a:lnTo>
                    <a:pt x="199" y="163"/>
                  </a:lnTo>
                  <a:lnTo>
                    <a:pt x="195" y="170"/>
                  </a:lnTo>
                  <a:lnTo>
                    <a:pt x="190" y="178"/>
                  </a:lnTo>
                  <a:lnTo>
                    <a:pt x="183" y="184"/>
                  </a:lnTo>
                  <a:lnTo>
                    <a:pt x="177" y="189"/>
                  </a:lnTo>
                  <a:lnTo>
                    <a:pt x="171" y="195"/>
                  </a:lnTo>
                  <a:lnTo>
                    <a:pt x="163" y="199"/>
                  </a:lnTo>
                  <a:lnTo>
                    <a:pt x="155" y="203"/>
                  </a:lnTo>
                  <a:lnTo>
                    <a:pt x="147" y="206"/>
                  </a:lnTo>
                  <a:lnTo>
                    <a:pt x="138" y="209"/>
                  </a:lnTo>
                  <a:lnTo>
                    <a:pt x="129" y="210"/>
                  </a:lnTo>
                  <a:lnTo>
                    <a:pt x="120" y="211"/>
                  </a:lnTo>
                  <a:lnTo>
                    <a:pt x="110" y="210"/>
                  </a:lnTo>
                  <a:lnTo>
                    <a:pt x="102" y="209"/>
                  </a:lnTo>
                  <a:lnTo>
                    <a:pt x="93" y="206"/>
                  </a:lnTo>
                  <a:lnTo>
                    <a:pt x="85" y="203"/>
                  </a:lnTo>
                  <a:lnTo>
                    <a:pt x="77" y="199"/>
                  </a:lnTo>
                  <a:lnTo>
                    <a:pt x="70" y="195"/>
                  </a:lnTo>
                  <a:lnTo>
                    <a:pt x="62" y="189"/>
                  </a:lnTo>
                  <a:lnTo>
                    <a:pt x="56" y="184"/>
                  </a:lnTo>
                  <a:lnTo>
                    <a:pt x="50" y="178"/>
                  </a:lnTo>
                  <a:lnTo>
                    <a:pt x="45" y="170"/>
                  </a:lnTo>
                  <a:lnTo>
                    <a:pt x="41" y="164"/>
                  </a:lnTo>
                  <a:lnTo>
                    <a:pt x="36" y="155"/>
                  </a:lnTo>
                  <a:lnTo>
                    <a:pt x="34" y="146"/>
                  </a:lnTo>
                  <a:lnTo>
                    <a:pt x="31" y="138"/>
                  </a:lnTo>
                  <a:lnTo>
                    <a:pt x="30" y="129"/>
                  </a:lnTo>
                  <a:lnTo>
                    <a:pt x="30" y="120"/>
                  </a:lnTo>
                  <a:lnTo>
                    <a:pt x="30" y="111"/>
                  </a:lnTo>
                  <a:lnTo>
                    <a:pt x="31" y="101"/>
                  </a:lnTo>
                  <a:lnTo>
                    <a:pt x="34" y="93"/>
                  </a:lnTo>
                  <a:lnTo>
                    <a:pt x="36" y="85"/>
                  </a:lnTo>
                  <a:lnTo>
                    <a:pt x="41" y="77"/>
                  </a:lnTo>
                  <a:lnTo>
                    <a:pt x="45" y="69"/>
                  </a:lnTo>
                  <a:lnTo>
                    <a:pt x="50" y="63"/>
                  </a:lnTo>
                  <a:lnTo>
                    <a:pt x="56" y="56"/>
                  </a:lnTo>
                  <a:lnTo>
                    <a:pt x="62" y="50"/>
                  </a:lnTo>
                  <a:lnTo>
                    <a:pt x="70" y="46"/>
                  </a:lnTo>
                  <a:lnTo>
                    <a:pt x="77" y="40"/>
                  </a:lnTo>
                  <a:lnTo>
                    <a:pt x="85" y="37"/>
                  </a:lnTo>
                  <a:lnTo>
                    <a:pt x="93" y="34"/>
                  </a:lnTo>
                  <a:lnTo>
                    <a:pt x="102" y="32"/>
                  </a:lnTo>
                  <a:lnTo>
                    <a:pt x="110" y="31"/>
                  </a:lnTo>
                  <a:lnTo>
                    <a:pt x="120" y="30"/>
                  </a:lnTo>
                  <a:close/>
                  <a:moveTo>
                    <a:pt x="120" y="241"/>
                  </a:moveTo>
                  <a:lnTo>
                    <a:pt x="132" y="240"/>
                  </a:lnTo>
                  <a:lnTo>
                    <a:pt x="144" y="238"/>
                  </a:lnTo>
                  <a:lnTo>
                    <a:pt x="155" y="235"/>
                  </a:lnTo>
                  <a:lnTo>
                    <a:pt x="167" y="231"/>
                  </a:lnTo>
                  <a:lnTo>
                    <a:pt x="177" y="226"/>
                  </a:lnTo>
                  <a:lnTo>
                    <a:pt x="188" y="219"/>
                  </a:lnTo>
                  <a:lnTo>
                    <a:pt x="196" y="213"/>
                  </a:lnTo>
                  <a:lnTo>
                    <a:pt x="205" y="205"/>
                  </a:lnTo>
                  <a:lnTo>
                    <a:pt x="212" y="197"/>
                  </a:lnTo>
                  <a:lnTo>
                    <a:pt x="220" y="187"/>
                  </a:lnTo>
                  <a:lnTo>
                    <a:pt x="226" y="178"/>
                  </a:lnTo>
                  <a:lnTo>
                    <a:pt x="231" y="167"/>
                  </a:lnTo>
                  <a:lnTo>
                    <a:pt x="235" y="156"/>
                  </a:lnTo>
                  <a:lnTo>
                    <a:pt x="238" y="144"/>
                  </a:lnTo>
                  <a:lnTo>
                    <a:pt x="240" y="132"/>
                  </a:lnTo>
                  <a:lnTo>
                    <a:pt x="240" y="120"/>
                  </a:lnTo>
                  <a:lnTo>
                    <a:pt x="240" y="108"/>
                  </a:lnTo>
                  <a:lnTo>
                    <a:pt x="238" y="96"/>
                  </a:lnTo>
                  <a:lnTo>
                    <a:pt x="235" y="84"/>
                  </a:lnTo>
                  <a:lnTo>
                    <a:pt x="231" y="74"/>
                  </a:lnTo>
                  <a:lnTo>
                    <a:pt x="226" y="63"/>
                  </a:lnTo>
                  <a:lnTo>
                    <a:pt x="220" y="53"/>
                  </a:lnTo>
                  <a:lnTo>
                    <a:pt x="212" y="43"/>
                  </a:lnTo>
                  <a:lnTo>
                    <a:pt x="205" y="35"/>
                  </a:lnTo>
                  <a:lnTo>
                    <a:pt x="196" y="27"/>
                  </a:lnTo>
                  <a:lnTo>
                    <a:pt x="188" y="20"/>
                  </a:lnTo>
                  <a:lnTo>
                    <a:pt x="177" y="15"/>
                  </a:lnTo>
                  <a:lnTo>
                    <a:pt x="167" y="9"/>
                  </a:lnTo>
                  <a:lnTo>
                    <a:pt x="155" y="5"/>
                  </a:lnTo>
                  <a:lnTo>
                    <a:pt x="144" y="2"/>
                  </a:lnTo>
                  <a:lnTo>
                    <a:pt x="132" y="1"/>
                  </a:lnTo>
                  <a:lnTo>
                    <a:pt x="120" y="0"/>
                  </a:lnTo>
                  <a:lnTo>
                    <a:pt x="107" y="1"/>
                  </a:lnTo>
                  <a:lnTo>
                    <a:pt x="95" y="2"/>
                  </a:lnTo>
                  <a:lnTo>
                    <a:pt x="85" y="5"/>
                  </a:lnTo>
                  <a:lnTo>
                    <a:pt x="73" y="9"/>
                  </a:lnTo>
                  <a:lnTo>
                    <a:pt x="62" y="15"/>
                  </a:lnTo>
                  <a:lnTo>
                    <a:pt x="53" y="20"/>
                  </a:lnTo>
                  <a:lnTo>
                    <a:pt x="44" y="27"/>
                  </a:lnTo>
                  <a:lnTo>
                    <a:pt x="35" y="35"/>
                  </a:lnTo>
                  <a:lnTo>
                    <a:pt x="27" y="43"/>
                  </a:lnTo>
                  <a:lnTo>
                    <a:pt x="20" y="53"/>
                  </a:lnTo>
                  <a:lnTo>
                    <a:pt x="14" y="63"/>
                  </a:lnTo>
                  <a:lnTo>
                    <a:pt x="10" y="74"/>
                  </a:lnTo>
                  <a:lnTo>
                    <a:pt x="5" y="84"/>
                  </a:lnTo>
                  <a:lnTo>
                    <a:pt x="2" y="96"/>
                  </a:lnTo>
                  <a:lnTo>
                    <a:pt x="0" y="108"/>
                  </a:lnTo>
                  <a:lnTo>
                    <a:pt x="0" y="120"/>
                  </a:lnTo>
                  <a:lnTo>
                    <a:pt x="0" y="132"/>
                  </a:lnTo>
                  <a:lnTo>
                    <a:pt x="2" y="144"/>
                  </a:lnTo>
                  <a:lnTo>
                    <a:pt x="5" y="156"/>
                  </a:lnTo>
                  <a:lnTo>
                    <a:pt x="10" y="167"/>
                  </a:lnTo>
                  <a:lnTo>
                    <a:pt x="14" y="178"/>
                  </a:lnTo>
                  <a:lnTo>
                    <a:pt x="20" y="187"/>
                  </a:lnTo>
                  <a:lnTo>
                    <a:pt x="27" y="197"/>
                  </a:lnTo>
                  <a:lnTo>
                    <a:pt x="35" y="205"/>
                  </a:lnTo>
                  <a:lnTo>
                    <a:pt x="44" y="213"/>
                  </a:lnTo>
                  <a:lnTo>
                    <a:pt x="53" y="219"/>
                  </a:lnTo>
                  <a:lnTo>
                    <a:pt x="62" y="226"/>
                  </a:lnTo>
                  <a:lnTo>
                    <a:pt x="73" y="231"/>
                  </a:lnTo>
                  <a:lnTo>
                    <a:pt x="85" y="235"/>
                  </a:lnTo>
                  <a:lnTo>
                    <a:pt x="95" y="238"/>
                  </a:lnTo>
                  <a:lnTo>
                    <a:pt x="107" y="240"/>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8" name="Group 28">
            <a:extLst>
              <a:ext uri="{FF2B5EF4-FFF2-40B4-BE49-F238E27FC236}">
                <a16:creationId xmlns:a16="http://schemas.microsoft.com/office/drawing/2014/main" id="{A364059B-A4A8-4428-B14E-EE1E69DC0849}"/>
              </a:ext>
            </a:extLst>
          </p:cNvPr>
          <p:cNvGrpSpPr>
            <a:grpSpLocks noChangeAspect="1"/>
          </p:cNvGrpSpPr>
          <p:nvPr/>
        </p:nvGrpSpPr>
        <p:grpSpPr>
          <a:xfrm>
            <a:off x="2314477" y="2724897"/>
            <a:ext cx="285619" cy="285619"/>
            <a:chOff x="2603500" y="4219576"/>
            <a:chExt cx="285750" cy="285750"/>
          </a:xfrm>
          <a:solidFill>
            <a:schemeClr val="bg1"/>
          </a:solidFill>
          <a:effectLst/>
        </p:grpSpPr>
        <p:sp>
          <p:nvSpPr>
            <p:cNvPr id="649" name="Freeform 33">
              <a:extLst>
                <a:ext uri="{FF2B5EF4-FFF2-40B4-BE49-F238E27FC236}">
                  <a16:creationId xmlns:a16="http://schemas.microsoft.com/office/drawing/2014/main" id="{86C529CC-D125-49C8-BA41-46D03C39BB15}"/>
                </a:ext>
              </a:extLst>
            </p:cNvPr>
            <p:cNvSpPr>
              <a:spLocks noEditPoints="1"/>
            </p:cNvSpPr>
            <p:nvPr/>
          </p:nvSpPr>
          <p:spPr bwMode="auto">
            <a:xfrm>
              <a:off x="2603500" y="4219576"/>
              <a:ext cx="285750" cy="285750"/>
            </a:xfrm>
            <a:custGeom>
              <a:avLst/>
              <a:gdLst>
                <a:gd name="T0" fmla="*/ 366 w 901"/>
                <a:gd name="T1" fmla="*/ 862 h 901"/>
                <a:gd name="T2" fmla="*/ 267 w 901"/>
                <a:gd name="T3" fmla="*/ 829 h 901"/>
                <a:gd name="T4" fmla="*/ 183 w 901"/>
                <a:gd name="T5" fmla="*/ 775 h 901"/>
                <a:gd name="T6" fmla="*/ 113 w 901"/>
                <a:gd name="T7" fmla="*/ 702 h 901"/>
                <a:gd name="T8" fmla="*/ 63 w 901"/>
                <a:gd name="T9" fmla="*/ 614 h 901"/>
                <a:gd name="T10" fmla="*/ 34 w 901"/>
                <a:gd name="T11" fmla="*/ 515 h 901"/>
                <a:gd name="T12" fmla="*/ 32 w 901"/>
                <a:gd name="T13" fmla="*/ 408 h 901"/>
                <a:gd name="T14" fmla="*/ 55 w 901"/>
                <a:gd name="T15" fmla="*/ 306 h 901"/>
                <a:gd name="T16" fmla="*/ 101 w 901"/>
                <a:gd name="T17" fmla="*/ 215 h 901"/>
                <a:gd name="T18" fmla="*/ 168 w 901"/>
                <a:gd name="T19" fmla="*/ 139 h 901"/>
                <a:gd name="T20" fmla="*/ 249 w 901"/>
                <a:gd name="T21" fmla="*/ 81 h 901"/>
                <a:gd name="T22" fmla="*/ 345 w 901"/>
                <a:gd name="T23" fmla="*/ 43 h 901"/>
                <a:gd name="T24" fmla="*/ 450 w 901"/>
                <a:gd name="T25" fmla="*/ 30 h 901"/>
                <a:gd name="T26" fmla="*/ 555 w 901"/>
                <a:gd name="T27" fmla="*/ 43 h 901"/>
                <a:gd name="T28" fmla="*/ 650 w 901"/>
                <a:gd name="T29" fmla="*/ 80 h 901"/>
                <a:gd name="T30" fmla="*/ 733 w 901"/>
                <a:gd name="T31" fmla="*/ 139 h 901"/>
                <a:gd name="T32" fmla="*/ 798 w 901"/>
                <a:gd name="T33" fmla="*/ 215 h 901"/>
                <a:gd name="T34" fmla="*/ 845 w 901"/>
                <a:gd name="T35" fmla="*/ 306 h 901"/>
                <a:gd name="T36" fmla="*/ 868 w 901"/>
                <a:gd name="T37" fmla="*/ 408 h 901"/>
                <a:gd name="T38" fmla="*/ 865 w 901"/>
                <a:gd name="T39" fmla="*/ 515 h 901"/>
                <a:gd name="T40" fmla="*/ 837 w 901"/>
                <a:gd name="T41" fmla="*/ 614 h 901"/>
                <a:gd name="T42" fmla="*/ 786 w 901"/>
                <a:gd name="T43" fmla="*/ 702 h 901"/>
                <a:gd name="T44" fmla="*/ 716 w 901"/>
                <a:gd name="T45" fmla="*/ 775 h 901"/>
                <a:gd name="T46" fmla="*/ 632 w 901"/>
                <a:gd name="T47" fmla="*/ 829 h 901"/>
                <a:gd name="T48" fmla="*/ 535 w 901"/>
                <a:gd name="T49" fmla="*/ 862 h 901"/>
                <a:gd name="T50" fmla="*/ 450 w 901"/>
                <a:gd name="T51" fmla="*/ 871 h 901"/>
                <a:gd name="T52" fmla="*/ 359 w 901"/>
                <a:gd name="T53" fmla="*/ 9 h 901"/>
                <a:gd name="T54" fmla="*/ 254 w 901"/>
                <a:gd name="T55" fmla="*/ 45 h 901"/>
                <a:gd name="T56" fmla="*/ 163 w 901"/>
                <a:gd name="T57" fmla="*/ 103 h 901"/>
                <a:gd name="T58" fmla="*/ 88 w 901"/>
                <a:gd name="T59" fmla="*/ 181 h 901"/>
                <a:gd name="T60" fmla="*/ 35 w 901"/>
                <a:gd name="T61" fmla="*/ 275 h 901"/>
                <a:gd name="T62" fmla="*/ 4 w 901"/>
                <a:gd name="T63" fmla="*/ 382 h 901"/>
                <a:gd name="T64" fmla="*/ 2 w 901"/>
                <a:gd name="T65" fmla="*/ 496 h 901"/>
                <a:gd name="T66" fmla="*/ 26 w 901"/>
                <a:gd name="T67" fmla="*/ 606 h 901"/>
                <a:gd name="T68" fmla="*/ 77 w 901"/>
                <a:gd name="T69" fmla="*/ 702 h 901"/>
                <a:gd name="T70" fmla="*/ 147 w 901"/>
                <a:gd name="T71" fmla="*/ 783 h 901"/>
                <a:gd name="T72" fmla="*/ 235 w 901"/>
                <a:gd name="T73" fmla="*/ 846 h 901"/>
                <a:gd name="T74" fmla="*/ 338 w 901"/>
                <a:gd name="T75" fmla="*/ 887 h 901"/>
                <a:gd name="T76" fmla="*/ 450 w 901"/>
                <a:gd name="T77" fmla="*/ 901 h 901"/>
                <a:gd name="T78" fmla="*/ 562 w 901"/>
                <a:gd name="T79" fmla="*/ 887 h 901"/>
                <a:gd name="T80" fmla="*/ 664 w 901"/>
                <a:gd name="T81" fmla="*/ 846 h 901"/>
                <a:gd name="T82" fmla="*/ 753 w 901"/>
                <a:gd name="T83" fmla="*/ 783 h 901"/>
                <a:gd name="T84" fmla="*/ 823 w 901"/>
                <a:gd name="T85" fmla="*/ 702 h 901"/>
                <a:gd name="T86" fmla="*/ 873 w 901"/>
                <a:gd name="T87" fmla="*/ 606 h 901"/>
                <a:gd name="T88" fmla="*/ 897 w 901"/>
                <a:gd name="T89" fmla="*/ 496 h 901"/>
                <a:gd name="T90" fmla="*/ 895 w 901"/>
                <a:gd name="T91" fmla="*/ 382 h 901"/>
                <a:gd name="T92" fmla="*/ 865 w 901"/>
                <a:gd name="T93" fmla="*/ 275 h 901"/>
                <a:gd name="T94" fmla="*/ 811 w 901"/>
                <a:gd name="T95" fmla="*/ 181 h 901"/>
                <a:gd name="T96" fmla="*/ 736 w 901"/>
                <a:gd name="T97" fmla="*/ 103 h 901"/>
                <a:gd name="T98" fmla="*/ 645 w 901"/>
                <a:gd name="T99" fmla="*/ 44 h 901"/>
                <a:gd name="T100" fmla="*/ 540 w 901"/>
                <a:gd name="T101" fmla="*/ 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8" y="870"/>
                  </a:lnTo>
                  <a:lnTo>
                    <a:pt x="407" y="869"/>
                  </a:lnTo>
                  <a:lnTo>
                    <a:pt x="386" y="866"/>
                  </a:lnTo>
                  <a:lnTo>
                    <a:pt x="366" y="862"/>
                  </a:lnTo>
                  <a:lnTo>
                    <a:pt x="345" y="857"/>
                  </a:lnTo>
                  <a:lnTo>
                    <a:pt x="325" y="852"/>
                  </a:lnTo>
                  <a:lnTo>
                    <a:pt x="306" y="845"/>
                  </a:lnTo>
                  <a:lnTo>
                    <a:pt x="286" y="838"/>
                  </a:lnTo>
                  <a:lnTo>
                    <a:pt x="267" y="829"/>
                  </a:lnTo>
                  <a:lnTo>
                    <a:pt x="249" y="820"/>
                  </a:lnTo>
                  <a:lnTo>
                    <a:pt x="232" y="810"/>
                  </a:lnTo>
                  <a:lnTo>
                    <a:pt x="215" y="799"/>
                  </a:lnTo>
                  <a:lnTo>
                    <a:pt x="199" y="788"/>
                  </a:lnTo>
                  <a:lnTo>
                    <a:pt x="183" y="775"/>
                  </a:lnTo>
                  <a:lnTo>
                    <a:pt x="168" y="762"/>
                  </a:lnTo>
                  <a:lnTo>
                    <a:pt x="153" y="748"/>
                  </a:lnTo>
                  <a:lnTo>
                    <a:pt x="139" y="733"/>
                  </a:lnTo>
                  <a:lnTo>
                    <a:pt x="126" y="718"/>
                  </a:lnTo>
                  <a:lnTo>
                    <a:pt x="113" y="702"/>
                  </a:lnTo>
                  <a:lnTo>
                    <a:pt x="101" y="686"/>
                  </a:lnTo>
                  <a:lnTo>
                    <a:pt x="91" y="669"/>
                  </a:lnTo>
                  <a:lnTo>
                    <a:pt x="80" y="651"/>
                  </a:lnTo>
                  <a:lnTo>
                    <a:pt x="70" y="632"/>
                  </a:lnTo>
                  <a:lnTo>
                    <a:pt x="63" y="614"/>
                  </a:lnTo>
                  <a:lnTo>
                    <a:pt x="55" y="595"/>
                  </a:lnTo>
                  <a:lnTo>
                    <a:pt x="48" y="576"/>
                  </a:lnTo>
                  <a:lnTo>
                    <a:pt x="42" y="555"/>
                  </a:lnTo>
                  <a:lnTo>
                    <a:pt x="38" y="535"/>
                  </a:lnTo>
                  <a:lnTo>
                    <a:pt x="34" y="515"/>
                  </a:lnTo>
                  <a:lnTo>
                    <a:pt x="32" y="493"/>
                  </a:lnTo>
                  <a:lnTo>
                    <a:pt x="30" y="472"/>
                  </a:lnTo>
                  <a:lnTo>
                    <a:pt x="30" y="450"/>
                  </a:lnTo>
                  <a:lnTo>
                    <a:pt x="30" y="429"/>
                  </a:lnTo>
                  <a:lnTo>
                    <a:pt x="32" y="408"/>
                  </a:lnTo>
                  <a:lnTo>
                    <a:pt x="34" y="386"/>
                  </a:lnTo>
                  <a:lnTo>
                    <a:pt x="38" y="366"/>
                  </a:lnTo>
                  <a:lnTo>
                    <a:pt x="42" y="346"/>
                  </a:lnTo>
                  <a:lnTo>
                    <a:pt x="48" y="325"/>
                  </a:lnTo>
                  <a:lnTo>
                    <a:pt x="55" y="306"/>
                  </a:lnTo>
                  <a:lnTo>
                    <a:pt x="63" y="287"/>
                  </a:lnTo>
                  <a:lnTo>
                    <a:pt x="70" y="269"/>
                  </a:lnTo>
                  <a:lnTo>
                    <a:pt x="80" y="250"/>
                  </a:lnTo>
                  <a:lnTo>
                    <a:pt x="91" y="232"/>
                  </a:lnTo>
                  <a:lnTo>
                    <a:pt x="101" y="215"/>
                  </a:lnTo>
                  <a:lnTo>
                    <a:pt x="113" y="199"/>
                  </a:lnTo>
                  <a:lnTo>
                    <a:pt x="126" y="183"/>
                  </a:lnTo>
                  <a:lnTo>
                    <a:pt x="139" y="168"/>
                  </a:lnTo>
                  <a:lnTo>
                    <a:pt x="153" y="153"/>
                  </a:lnTo>
                  <a:lnTo>
                    <a:pt x="168" y="139"/>
                  </a:lnTo>
                  <a:lnTo>
                    <a:pt x="183" y="126"/>
                  </a:lnTo>
                  <a:lnTo>
                    <a:pt x="199" y="113"/>
                  </a:lnTo>
                  <a:lnTo>
                    <a:pt x="215" y="102"/>
                  </a:lnTo>
                  <a:lnTo>
                    <a:pt x="232" y="91"/>
                  </a:lnTo>
                  <a:lnTo>
                    <a:pt x="249" y="81"/>
                  </a:lnTo>
                  <a:lnTo>
                    <a:pt x="267" y="72"/>
                  </a:lnTo>
                  <a:lnTo>
                    <a:pt x="286" y="63"/>
                  </a:lnTo>
                  <a:lnTo>
                    <a:pt x="306" y="56"/>
                  </a:lnTo>
                  <a:lnTo>
                    <a:pt x="325" y="49"/>
                  </a:lnTo>
                  <a:lnTo>
                    <a:pt x="345" y="43"/>
                  </a:lnTo>
                  <a:lnTo>
                    <a:pt x="366" y="38"/>
                  </a:lnTo>
                  <a:lnTo>
                    <a:pt x="386" y="35"/>
                  </a:lnTo>
                  <a:lnTo>
                    <a:pt x="407" y="32"/>
                  </a:lnTo>
                  <a:lnTo>
                    <a:pt x="428" y="31"/>
                  </a:lnTo>
                  <a:lnTo>
                    <a:pt x="450" y="30"/>
                  </a:lnTo>
                  <a:lnTo>
                    <a:pt x="471" y="31"/>
                  </a:lnTo>
                  <a:lnTo>
                    <a:pt x="493" y="32"/>
                  </a:lnTo>
                  <a:lnTo>
                    <a:pt x="513" y="35"/>
                  </a:lnTo>
                  <a:lnTo>
                    <a:pt x="535" y="38"/>
                  </a:lnTo>
                  <a:lnTo>
                    <a:pt x="555" y="43"/>
                  </a:lnTo>
                  <a:lnTo>
                    <a:pt x="574" y="49"/>
                  </a:lnTo>
                  <a:lnTo>
                    <a:pt x="595" y="56"/>
                  </a:lnTo>
                  <a:lnTo>
                    <a:pt x="613" y="63"/>
                  </a:lnTo>
                  <a:lnTo>
                    <a:pt x="632" y="72"/>
                  </a:lnTo>
                  <a:lnTo>
                    <a:pt x="650" y="80"/>
                  </a:lnTo>
                  <a:lnTo>
                    <a:pt x="667" y="91"/>
                  </a:lnTo>
                  <a:lnTo>
                    <a:pt x="684" y="102"/>
                  </a:lnTo>
                  <a:lnTo>
                    <a:pt x="702" y="113"/>
                  </a:lnTo>
                  <a:lnTo>
                    <a:pt x="716" y="126"/>
                  </a:lnTo>
                  <a:lnTo>
                    <a:pt x="733" y="139"/>
                  </a:lnTo>
                  <a:lnTo>
                    <a:pt x="746" y="153"/>
                  </a:lnTo>
                  <a:lnTo>
                    <a:pt x="760" y="168"/>
                  </a:lnTo>
                  <a:lnTo>
                    <a:pt x="774" y="183"/>
                  </a:lnTo>
                  <a:lnTo>
                    <a:pt x="786" y="199"/>
                  </a:lnTo>
                  <a:lnTo>
                    <a:pt x="798" y="215"/>
                  </a:lnTo>
                  <a:lnTo>
                    <a:pt x="810" y="232"/>
                  </a:lnTo>
                  <a:lnTo>
                    <a:pt x="819" y="250"/>
                  </a:lnTo>
                  <a:lnTo>
                    <a:pt x="829" y="269"/>
                  </a:lnTo>
                  <a:lnTo>
                    <a:pt x="837" y="287"/>
                  </a:lnTo>
                  <a:lnTo>
                    <a:pt x="845" y="306"/>
                  </a:lnTo>
                  <a:lnTo>
                    <a:pt x="851" y="325"/>
                  </a:lnTo>
                  <a:lnTo>
                    <a:pt x="857" y="346"/>
                  </a:lnTo>
                  <a:lnTo>
                    <a:pt x="862" y="366"/>
                  </a:lnTo>
                  <a:lnTo>
                    <a:pt x="865" y="386"/>
                  </a:lnTo>
                  <a:lnTo>
                    <a:pt x="868" y="408"/>
                  </a:lnTo>
                  <a:lnTo>
                    <a:pt x="870" y="429"/>
                  </a:lnTo>
                  <a:lnTo>
                    <a:pt x="871" y="450"/>
                  </a:lnTo>
                  <a:lnTo>
                    <a:pt x="870" y="472"/>
                  </a:lnTo>
                  <a:lnTo>
                    <a:pt x="868" y="493"/>
                  </a:lnTo>
                  <a:lnTo>
                    <a:pt x="865" y="515"/>
                  </a:lnTo>
                  <a:lnTo>
                    <a:pt x="862" y="535"/>
                  </a:lnTo>
                  <a:lnTo>
                    <a:pt x="857" y="555"/>
                  </a:lnTo>
                  <a:lnTo>
                    <a:pt x="851" y="576"/>
                  </a:lnTo>
                  <a:lnTo>
                    <a:pt x="845" y="595"/>
                  </a:lnTo>
                  <a:lnTo>
                    <a:pt x="837" y="614"/>
                  </a:lnTo>
                  <a:lnTo>
                    <a:pt x="829" y="632"/>
                  </a:lnTo>
                  <a:lnTo>
                    <a:pt x="819" y="651"/>
                  </a:lnTo>
                  <a:lnTo>
                    <a:pt x="810" y="669"/>
                  </a:lnTo>
                  <a:lnTo>
                    <a:pt x="798" y="686"/>
                  </a:lnTo>
                  <a:lnTo>
                    <a:pt x="786" y="702"/>
                  </a:lnTo>
                  <a:lnTo>
                    <a:pt x="774" y="718"/>
                  </a:lnTo>
                  <a:lnTo>
                    <a:pt x="760" y="733"/>
                  </a:lnTo>
                  <a:lnTo>
                    <a:pt x="746" y="748"/>
                  </a:lnTo>
                  <a:lnTo>
                    <a:pt x="733" y="762"/>
                  </a:lnTo>
                  <a:lnTo>
                    <a:pt x="716" y="775"/>
                  </a:lnTo>
                  <a:lnTo>
                    <a:pt x="702" y="788"/>
                  </a:lnTo>
                  <a:lnTo>
                    <a:pt x="684" y="799"/>
                  </a:lnTo>
                  <a:lnTo>
                    <a:pt x="667" y="810"/>
                  </a:lnTo>
                  <a:lnTo>
                    <a:pt x="650" y="820"/>
                  </a:lnTo>
                  <a:lnTo>
                    <a:pt x="632" y="829"/>
                  </a:lnTo>
                  <a:lnTo>
                    <a:pt x="613" y="838"/>
                  </a:lnTo>
                  <a:lnTo>
                    <a:pt x="595" y="845"/>
                  </a:lnTo>
                  <a:lnTo>
                    <a:pt x="574" y="852"/>
                  </a:lnTo>
                  <a:lnTo>
                    <a:pt x="555" y="858"/>
                  </a:lnTo>
                  <a:lnTo>
                    <a:pt x="535" y="862"/>
                  </a:lnTo>
                  <a:lnTo>
                    <a:pt x="513" y="866"/>
                  </a:lnTo>
                  <a:lnTo>
                    <a:pt x="493" y="869"/>
                  </a:lnTo>
                  <a:lnTo>
                    <a:pt x="471" y="870"/>
                  </a:lnTo>
                  <a:lnTo>
                    <a:pt x="450" y="871"/>
                  </a:lnTo>
                  <a:lnTo>
                    <a:pt x="450" y="871"/>
                  </a:lnTo>
                  <a:close/>
                  <a:moveTo>
                    <a:pt x="450" y="0"/>
                  </a:moveTo>
                  <a:lnTo>
                    <a:pt x="427" y="0"/>
                  </a:lnTo>
                  <a:lnTo>
                    <a:pt x="404" y="2"/>
                  </a:lnTo>
                  <a:lnTo>
                    <a:pt x="382" y="5"/>
                  </a:lnTo>
                  <a:lnTo>
                    <a:pt x="359" y="9"/>
                  </a:lnTo>
                  <a:lnTo>
                    <a:pt x="338" y="14"/>
                  </a:lnTo>
                  <a:lnTo>
                    <a:pt x="316" y="20"/>
                  </a:lnTo>
                  <a:lnTo>
                    <a:pt x="295" y="28"/>
                  </a:lnTo>
                  <a:lnTo>
                    <a:pt x="275" y="35"/>
                  </a:lnTo>
                  <a:lnTo>
                    <a:pt x="254" y="45"/>
                  </a:lnTo>
                  <a:lnTo>
                    <a:pt x="235" y="55"/>
                  </a:lnTo>
                  <a:lnTo>
                    <a:pt x="216" y="65"/>
                  </a:lnTo>
                  <a:lnTo>
                    <a:pt x="198" y="77"/>
                  </a:lnTo>
                  <a:lnTo>
                    <a:pt x="180" y="90"/>
                  </a:lnTo>
                  <a:lnTo>
                    <a:pt x="163" y="103"/>
                  </a:lnTo>
                  <a:lnTo>
                    <a:pt x="147" y="117"/>
                  </a:lnTo>
                  <a:lnTo>
                    <a:pt x="131" y="132"/>
                  </a:lnTo>
                  <a:lnTo>
                    <a:pt x="116" y="148"/>
                  </a:lnTo>
                  <a:lnTo>
                    <a:pt x="102" y="164"/>
                  </a:lnTo>
                  <a:lnTo>
                    <a:pt x="88" y="181"/>
                  </a:lnTo>
                  <a:lnTo>
                    <a:pt x="77" y="199"/>
                  </a:lnTo>
                  <a:lnTo>
                    <a:pt x="65" y="217"/>
                  </a:lnTo>
                  <a:lnTo>
                    <a:pt x="53" y="235"/>
                  </a:lnTo>
                  <a:lnTo>
                    <a:pt x="43" y="256"/>
                  </a:lnTo>
                  <a:lnTo>
                    <a:pt x="35" y="275"/>
                  </a:lnTo>
                  <a:lnTo>
                    <a:pt x="26" y="295"/>
                  </a:lnTo>
                  <a:lnTo>
                    <a:pt x="20" y="317"/>
                  </a:lnTo>
                  <a:lnTo>
                    <a:pt x="14" y="338"/>
                  </a:lnTo>
                  <a:lnTo>
                    <a:pt x="8" y="360"/>
                  </a:lnTo>
                  <a:lnTo>
                    <a:pt x="4" y="382"/>
                  </a:lnTo>
                  <a:lnTo>
                    <a:pt x="2" y="404"/>
                  </a:lnTo>
                  <a:lnTo>
                    <a:pt x="0" y="427"/>
                  </a:lnTo>
                  <a:lnTo>
                    <a:pt x="0" y="450"/>
                  </a:lnTo>
                  <a:lnTo>
                    <a:pt x="0" y="474"/>
                  </a:lnTo>
                  <a:lnTo>
                    <a:pt x="2" y="496"/>
                  </a:lnTo>
                  <a:lnTo>
                    <a:pt x="4" y="519"/>
                  </a:lnTo>
                  <a:lnTo>
                    <a:pt x="8" y="541"/>
                  </a:lnTo>
                  <a:lnTo>
                    <a:pt x="14" y="563"/>
                  </a:lnTo>
                  <a:lnTo>
                    <a:pt x="20" y="584"/>
                  </a:lnTo>
                  <a:lnTo>
                    <a:pt x="26" y="606"/>
                  </a:lnTo>
                  <a:lnTo>
                    <a:pt x="35" y="626"/>
                  </a:lnTo>
                  <a:lnTo>
                    <a:pt x="43" y="645"/>
                  </a:lnTo>
                  <a:lnTo>
                    <a:pt x="53" y="665"/>
                  </a:lnTo>
                  <a:lnTo>
                    <a:pt x="65" y="684"/>
                  </a:lnTo>
                  <a:lnTo>
                    <a:pt x="77" y="702"/>
                  </a:lnTo>
                  <a:lnTo>
                    <a:pt x="88" y="720"/>
                  </a:lnTo>
                  <a:lnTo>
                    <a:pt x="102" y="737"/>
                  </a:lnTo>
                  <a:lnTo>
                    <a:pt x="116" y="753"/>
                  </a:lnTo>
                  <a:lnTo>
                    <a:pt x="131" y="769"/>
                  </a:lnTo>
                  <a:lnTo>
                    <a:pt x="147" y="783"/>
                  </a:lnTo>
                  <a:lnTo>
                    <a:pt x="163" y="798"/>
                  </a:lnTo>
                  <a:lnTo>
                    <a:pt x="180" y="811"/>
                  </a:lnTo>
                  <a:lnTo>
                    <a:pt x="198" y="824"/>
                  </a:lnTo>
                  <a:lnTo>
                    <a:pt x="216" y="836"/>
                  </a:lnTo>
                  <a:lnTo>
                    <a:pt x="235" y="846"/>
                  </a:lnTo>
                  <a:lnTo>
                    <a:pt x="254" y="856"/>
                  </a:lnTo>
                  <a:lnTo>
                    <a:pt x="275" y="866"/>
                  </a:lnTo>
                  <a:lnTo>
                    <a:pt x="295" y="873"/>
                  </a:lnTo>
                  <a:lnTo>
                    <a:pt x="316" y="881"/>
                  </a:lnTo>
                  <a:lnTo>
                    <a:pt x="338" y="887"/>
                  </a:lnTo>
                  <a:lnTo>
                    <a:pt x="359" y="891"/>
                  </a:lnTo>
                  <a:lnTo>
                    <a:pt x="382" y="896"/>
                  </a:lnTo>
                  <a:lnTo>
                    <a:pt x="404" y="899"/>
                  </a:lnTo>
                  <a:lnTo>
                    <a:pt x="427" y="900"/>
                  </a:lnTo>
                  <a:lnTo>
                    <a:pt x="450" y="901"/>
                  </a:lnTo>
                  <a:lnTo>
                    <a:pt x="473" y="900"/>
                  </a:lnTo>
                  <a:lnTo>
                    <a:pt x="496" y="899"/>
                  </a:lnTo>
                  <a:lnTo>
                    <a:pt x="519" y="896"/>
                  </a:lnTo>
                  <a:lnTo>
                    <a:pt x="540" y="891"/>
                  </a:lnTo>
                  <a:lnTo>
                    <a:pt x="562" y="887"/>
                  </a:lnTo>
                  <a:lnTo>
                    <a:pt x="584" y="881"/>
                  </a:lnTo>
                  <a:lnTo>
                    <a:pt x="604" y="873"/>
                  </a:lnTo>
                  <a:lnTo>
                    <a:pt x="624" y="866"/>
                  </a:lnTo>
                  <a:lnTo>
                    <a:pt x="645" y="856"/>
                  </a:lnTo>
                  <a:lnTo>
                    <a:pt x="664" y="846"/>
                  </a:lnTo>
                  <a:lnTo>
                    <a:pt x="683" y="836"/>
                  </a:lnTo>
                  <a:lnTo>
                    <a:pt x="702" y="824"/>
                  </a:lnTo>
                  <a:lnTo>
                    <a:pt x="719" y="811"/>
                  </a:lnTo>
                  <a:lnTo>
                    <a:pt x="736" y="798"/>
                  </a:lnTo>
                  <a:lnTo>
                    <a:pt x="753" y="783"/>
                  </a:lnTo>
                  <a:lnTo>
                    <a:pt x="768" y="768"/>
                  </a:lnTo>
                  <a:lnTo>
                    <a:pt x="783" y="753"/>
                  </a:lnTo>
                  <a:lnTo>
                    <a:pt x="797" y="737"/>
                  </a:lnTo>
                  <a:lnTo>
                    <a:pt x="811" y="720"/>
                  </a:lnTo>
                  <a:lnTo>
                    <a:pt x="823" y="702"/>
                  </a:lnTo>
                  <a:lnTo>
                    <a:pt x="835" y="684"/>
                  </a:lnTo>
                  <a:lnTo>
                    <a:pt x="846" y="665"/>
                  </a:lnTo>
                  <a:lnTo>
                    <a:pt x="856" y="645"/>
                  </a:lnTo>
                  <a:lnTo>
                    <a:pt x="865" y="626"/>
                  </a:lnTo>
                  <a:lnTo>
                    <a:pt x="873" y="606"/>
                  </a:lnTo>
                  <a:lnTo>
                    <a:pt x="880" y="584"/>
                  </a:lnTo>
                  <a:lnTo>
                    <a:pt x="886" y="563"/>
                  </a:lnTo>
                  <a:lnTo>
                    <a:pt x="891" y="541"/>
                  </a:lnTo>
                  <a:lnTo>
                    <a:pt x="895" y="519"/>
                  </a:lnTo>
                  <a:lnTo>
                    <a:pt x="897" y="496"/>
                  </a:lnTo>
                  <a:lnTo>
                    <a:pt x="899" y="474"/>
                  </a:lnTo>
                  <a:lnTo>
                    <a:pt x="901" y="450"/>
                  </a:lnTo>
                  <a:lnTo>
                    <a:pt x="899" y="427"/>
                  </a:lnTo>
                  <a:lnTo>
                    <a:pt x="897" y="404"/>
                  </a:lnTo>
                  <a:lnTo>
                    <a:pt x="895" y="382"/>
                  </a:lnTo>
                  <a:lnTo>
                    <a:pt x="891" y="360"/>
                  </a:lnTo>
                  <a:lnTo>
                    <a:pt x="886" y="338"/>
                  </a:lnTo>
                  <a:lnTo>
                    <a:pt x="880" y="317"/>
                  </a:lnTo>
                  <a:lnTo>
                    <a:pt x="873" y="295"/>
                  </a:lnTo>
                  <a:lnTo>
                    <a:pt x="865" y="275"/>
                  </a:lnTo>
                  <a:lnTo>
                    <a:pt x="856" y="256"/>
                  </a:lnTo>
                  <a:lnTo>
                    <a:pt x="846" y="235"/>
                  </a:lnTo>
                  <a:lnTo>
                    <a:pt x="835" y="217"/>
                  </a:lnTo>
                  <a:lnTo>
                    <a:pt x="823" y="199"/>
                  </a:lnTo>
                  <a:lnTo>
                    <a:pt x="811" y="181"/>
                  </a:lnTo>
                  <a:lnTo>
                    <a:pt x="797" y="164"/>
                  </a:lnTo>
                  <a:lnTo>
                    <a:pt x="783" y="148"/>
                  </a:lnTo>
                  <a:lnTo>
                    <a:pt x="768" y="132"/>
                  </a:lnTo>
                  <a:lnTo>
                    <a:pt x="753" y="117"/>
                  </a:lnTo>
                  <a:lnTo>
                    <a:pt x="736" y="103"/>
                  </a:lnTo>
                  <a:lnTo>
                    <a:pt x="719" y="90"/>
                  </a:lnTo>
                  <a:lnTo>
                    <a:pt x="702" y="77"/>
                  </a:lnTo>
                  <a:lnTo>
                    <a:pt x="683" y="65"/>
                  </a:lnTo>
                  <a:lnTo>
                    <a:pt x="664" y="55"/>
                  </a:lnTo>
                  <a:lnTo>
                    <a:pt x="645" y="44"/>
                  </a:lnTo>
                  <a:lnTo>
                    <a:pt x="624" y="35"/>
                  </a:lnTo>
                  <a:lnTo>
                    <a:pt x="604" y="28"/>
                  </a:lnTo>
                  <a:lnTo>
                    <a:pt x="584" y="20"/>
                  </a:lnTo>
                  <a:lnTo>
                    <a:pt x="562" y="14"/>
                  </a:lnTo>
                  <a:lnTo>
                    <a:pt x="540" y="9"/>
                  </a:lnTo>
                  <a:lnTo>
                    <a:pt x="519" y="5"/>
                  </a:lnTo>
                  <a:lnTo>
                    <a:pt x="496" y="2"/>
                  </a:lnTo>
                  <a:lnTo>
                    <a:pt x="473"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Freeform 34">
              <a:extLst>
                <a:ext uri="{FF2B5EF4-FFF2-40B4-BE49-F238E27FC236}">
                  <a16:creationId xmlns:a16="http://schemas.microsoft.com/office/drawing/2014/main" id="{128079B1-61B5-4FD3-BFF2-A5FD57016683}"/>
                </a:ext>
              </a:extLst>
            </p:cNvPr>
            <p:cNvSpPr>
              <a:spLocks/>
            </p:cNvSpPr>
            <p:nvPr/>
          </p:nvSpPr>
          <p:spPr bwMode="auto">
            <a:xfrm>
              <a:off x="2651125" y="4367213"/>
              <a:ext cx="190500" cy="101600"/>
            </a:xfrm>
            <a:custGeom>
              <a:avLst/>
              <a:gdLst>
                <a:gd name="T0" fmla="*/ 580 w 601"/>
                <a:gd name="T1" fmla="*/ 2 h 323"/>
                <a:gd name="T2" fmla="*/ 574 w 601"/>
                <a:gd name="T3" fmla="*/ 7 h 323"/>
                <a:gd name="T4" fmla="*/ 571 w 601"/>
                <a:gd name="T5" fmla="*/ 15 h 323"/>
                <a:gd name="T6" fmla="*/ 567 w 601"/>
                <a:gd name="T7" fmla="*/ 57 h 323"/>
                <a:gd name="T8" fmla="*/ 559 w 601"/>
                <a:gd name="T9" fmla="*/ 97 h 323"/>
                <a:gd name="T10" fmla="*/ 544 w 601"/>
                <a:gd name="T11" fmla="*/ 134 h 323"/>
                <a:gd name="T12" fmla="*/ 524 w 601"/>
                <a:gd name="T13" fmla="*/ 168 h 323"/>
                <a:gd name="T14" fmla="*/ 500 w 601"/>
                <a:gd name="T15" fmla="*/ 201 h 323"/>
                <a:gd name="T16" fmla="*/ 471 w 601"/>
                <a:gd name="T17" fmla="*/ 228 h 323"/>
                <a:gd name="T18" fmla="*/ 439 w 601"/>
                <a:gd name="T19" fmla="*/ 252 h 323"/>
                <a:gd name="T20" fmla="*/ 405 w 601"/>
                <a:gd name="T21" fmla="*/ 270 h 323"/>
                <a:gd name="T22" fmla="*/ 367 w 601"/>
                <a:gd name="T23" fmla="*/ 283 h 323"/>
                <a:gd name="T24" fmla="*/ 328 w 601"/>
                <a:gd name="T25" fmla="*/ 290 h 323"/>
                <a:gd name="T26" fmla="*/ 287 w 601"/>
                <a:gd name="T27" fmla="*/ 292 h 323"/>
                <a:gd name="T28" fmla="*/ 246 w 601"/>
                <a:gd name="T29" fmla="*/ 286 h 323"/>
                <a:gd name="T30" fmla="*/ 209 w 601"/>
                <a:gd name="T31" fmla="*/ 275 h 323"/>
                <a:gd name="T32" fmla="*/ 173 w 601"/>
                <a:gd name="T33" fmla="*/ 258 h 323"/>
                <a:gd name="T34" fmla="*/ 141 w 601"/>
                <a:gd name="T35" fmla="*/ 236 h 323"/>
                <a:gd name="T36" fmla="*/ 111 w 601"/>
                <a:gd name="T37" fmla="*/ 210 h 323"/>
                <a:gd name="T38" fmla="*/ 85 w 601"/>
                <a:gd name="T39" fmla="*/ 180 h 323"/>
                <a:gd name="T40" fmla="*/ 64 w 601"/>
                <a:gd name="T41" fmla="*/ 146 h 323"/>
                <a:gd name="T42" fmla="*/ 47 w 601"/>
                <a:gd name="T43" fmla="*/ 110 h 323"/>
                <a:gd name="T44" fmla="*/ 36 w 601"/>
                <a:gd name="T45" fmla="*/ 70 h 323"/>
                <a:gd name="T46" fmla="*/ 30 w 601"/>
                <a:gd name="T47" fmla="*/ 29 h 323"/>
                <a:gd name="T48" fmla="*/ 29 w 601"/>
                <a:gd name="T49" fmla="*/ 10 h 323"/>
                <a:gd name="T50" fmla="*/ 24 w 601"/>
                <a:gd name="T51" fmla="*/ 3 h 323"/>
                <a:gd name="T52" fmla="*/ 15 w 601"/>
                <a:gd name="T53" fmla="*/ 0 h 323"/>
                <a:gd name="T54" fmla="*/ 7 w 601"/>
                <a:gd name="T55" fmla="*/ 3 h 323"/>
                <a:gd name="T56" fmla="*/ 1 w 601"/>
                <a:gd name="T57" fmla="*/ 10 h 323"/>
                <a:gd name="T58" fmla="*/ 0 w 601"/>
                <a:gd name="T59" fmla="*/ 31 h 323"/>
                <a:gd name="T60" fmla="*/ 7 w 601"/>
                <a:gd name="T61" fmla="*/ 76 h 323"/>
                <a:gd name="T62" fmla="*/ 19 w 601"/>
                <a:gd name="T63" fmla="*/ 119 h 323"/>
                <a:gd name="T64" fmla="*/ 37 w 601"/>
                <a:gd name="T65" fmla="*/ 160 h 323"/>
                <a:gd name="T66" fmla="*/ 61 w 601"/>
                <a:gd name="T67" fmla="*/ 197 h 323"/>
                <a:gd name="T68" fmla="*/ 89 w 601"/>
                <a:gd name="T69" fmla="*/ 232 h 323"/>
                <a:gd name="T70" fmla="*/ 122 w 601"/>
                <a:gd name="T71" fmla="*/ 261 h 323"/>
                <a:gd name="T72" fmla="*/ 159 w 601"/>
                <a:gd name="T73" fmla="*/ 285 h 323"/>
                <a:gd name="T74" fmla="*/ 198 w 601"/>
                <a:gd name="T75" fmla="*/ 303 h 323"/>
                <a:gd name="T76" fmla="*/ 241 w 601"/>
                <a:gd name="T77" fmla="*/ 316 h 323"/>
                <a:gd name="T78" fmla="*/ 285 w 601"/>
                <a:gd name="T79" fmla="*/ 321 h 323"/>
                <a:gd name="T80" fmla="*/ 331 w 601"/>
                <a:gd name="T81" fmla="*/ 320 h 323"/>
                <a:gd name="T82" fmla="*/ 375 w 601"/>
                <a:gd name="T83" fmla="*/ 313 h 323"/>
                <a:gd name="T84" fmla="*/ 417 w 601"/>
                <a:gd name="T85" fmla="*/ 298 h 323"/>
                <a:gd name="T86" fmla="*/ 455 w 601"/>
                <a:gd name="T87" fmla="*/ 278 h 323"/>
                <a:gd name="T88" fmla="*/ 490 w 601"/>
                <a:gd name="T89" fmla="*/ 251 h 323"/>
                <a:gd name="T90" fmla="*/ 521 w 601"/>
                <a:gd name="T91" fmla="*/ 221 h 323"/>
                <a:gd name="T92" fmla="*/ 549 w 601"/>
                <a:gd name="T93" fmla="*/ 186 h 323"/>
                <a:gd name="T94" fmla="*/ 571 w 601"/>
                <a:gd name="T95" fmla="*/ 147 h 323"/>
                <a:gd name="T96" fmla="*/ 587 w 601"/>
                <a:gd name="T97" fmla="*/ 105 h 323"/>
                <a:gd name="T98" fmla="*/ 597 w 601"/>
                <a:gd name="T99" fmla="*/ 61 h 323"/>
                <a:gd name="T100" fmla="*/ 601 w 601"/>
                <a:gd name="T101" fmla="*/ 15 h 323"/>
                <a:gd name="T102" fmla="*/ 599 w 601"/>
                <a:gd name="T103" fmla="*/ 7 h 323"/>
                <a:gd name="T104" fmla="*/ 592 w 601"/>
                <a:gd name="T105" fmla="*/ 2 h 323"/>
                <a:gd name="T106" fmla="*/ 586 w 601"/>
                <a:gd name="T107"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1" h="323">
                  <a:moveTo>
                    <a:pt x="586" y="0"/>
                  </a:moveTo>
                  <a:lnTo>
                    <a:pt x="582" y="0"/>
                  </a:lnTo>
                  <a:lnTo>
                    <a:pt x="580" y="2"/>
                  </a:lnTo>
                  <a:lnTo>
                    <a:pt x="577" y="3"/>
                  </a:lnTo>
                  <a:lnTo>
                    <a:pt x="575" y="5"/>
                  </a:lnTo>
                  <a:lnTo>
                    <a:pt x="574" y="7"/>
                  </a:lnTo>
                  <a:lnTo>
                    <a:pt x="572" y="10"/>
                  </a:lnTo>
                  <a:lnTo>
                    <a:pt x="572" y="12"/>
                  </a:lnTo>
                  <a:lnTo>
                    <a:pt x="571" y="15"/>
                  </a:lnTo>
                  <a:lnTo>
                    <a:pt x="571" y="29"/>
                  </a:lnTo>
                  <a:lnTo>
                    <a:pt x="570" y="43"/>
                  </a:lnTo>
                  <a:lnTo>
                    <a:pt x="567" y="57"/>
                  </a:lnTo>
                  <a:lnTo>
                    <a:pt x="565" y="70"/>
                  </a:lnTo>
                  <a:lnTo>
                    <a:pt x="562" y="84"/>
                  </a:lnTo>
                  <a:lnTo>
                    <a:pt x="559" y="97"/>
                  </a:lnTo>
                  <a:lnTo>
                    <a:pt x="555" y="110"/>
                  </a:lnTo>
                  <a:lnTo>
                    <a:pt x="549" y="122"/>
                  </a:lnTo>
                  <a:lnTo>
                    <a:pt x="544" y="134"/>
                  </a:lnTo>
                  <a:lnTo>
                    <a:pt x="538" y="146"/>
                  </a:lnTo>
                  <a:lnTo>
                    <a:pt x="531" y="158"/>
                  </a:lnTo>
                  <a:lnTo>
                    <a:pt x="524" y="168"/>
                  </a:lnTo>
                  <a:lnTo>
                    <a:pt x="516" y="180"/>
                  </a:lnTo>
                  <a:lnTo>
                    <a:pt x="509" y="190"/>
                  </a:lnTo>
                  <a:lnTo>
                    <a:pt x="500" y="201"/>
                  </a:lnTo>
                  <a:lnTo>
                    <a:pt x="490" y="210"/>
                  </a:lnTo>
                  <a:lnTo>
                    <a:pt x="481" y="220"/>
                  </a:lnTo>
                  <a:lnTo>
                    <a:pt x="471" y="228"/>
                  </a:lnTo>
                  <a:lnTo>
                    <a:pt x="462" y="237"/>
                  </a:lnTo>
                  <a:lnTo>
                    <a:pt x="451" y="244"/>
                  </a:lnTo>
                  <a:lnTo>
                    <a:pt x="439" y="252"/>
                  </a:lnTo>
                  <a:lnTo>
                    <a:pt x="428" y="258"/>
                  </a:lnTo>
                  <a:lnTo>
                    <a:pt x="417" y="265"/>
                  </a:lnTo>
                  <a:lnTo>
                    <a:pt x="405" y="270"/>
                  </a:lnTo>
                  <a:lnTo>
                    <a:pt x="392" y="275"/>
                  </a:lnTo>
                  <a:lnTo>
                    <a:pt x="380" y="280"/>
                  </a:lnTo>
                  <a:lnTo>
                    <a:pt x="367" y="283"/>
                  </a:lnTo>
                  <a:lnTo>
                    <a:pt x="355" y="286"/>
                  </a:lnTo>
                  <a:lnTo>
                    <a:pt x="342" y="289"/>
                  </a:lnTo>
                  <a:lnTo>
                    <a:pt x="328" y="290"/>
                  </a:lnTo>
                  <a:lnTo>
                    <a:pt x="314" y="292"/>
                  </a:lnTo>
                  <a:lnTo>
                    <a:pt x="301" y="293"/>
                  </a:lnTo>
                  <a:lnTo>
                    <a:pt x="287" y="292"/>
                  </a:lnTo>
                  <a:lnTo>
                    <a:pt x="273" y="290"/>
                  </a:lnTo>
                  <a:lnTo>
                    <a:pt x="260" y="289"/>
                  </a:lnTo>
                  <a:lnTo>
                    <a:pt x="246" y="286"/>
                  </a:lnTo>
                  <a:lnTo>
                    <a:pt x="234" y="283"/>
                  </a:lnTo>
                  <a:lnTo>
                    <a:pt x="221" y="280"/>
                  </a:lnTo>
                  <a:lnTo>
                    <a:pt x="209" y="275"/>
                  </a:lnTo>
                  <a:lnTo>
                    <a:pt x="196" y="270"/>
                  </a:lnTo>
                  <a:lnTo>
                    <a:pt x="184" y="265"/>
                  </a:lnTo>
                  <a:lnTo>
                    <a:pt x="173" y="258"/>
                  </a:lnTo>
                  <a:lnTo>
                    <a:pt x="162" y="252"/>
                  </a:lnTo>
                  <a:lnTo>
                    <a:pt x="151" y="244"/>
                  </a:lnTo>
                  <a:lnTo>
                    <a:pt x="141" y="236"/>
                  </a:lnTo>
                  <a:lnTo>
                    <a:pt x="130" y="228"/>
                  </a:lnTo>
                  <a:lnTo>
                    <a:pt x="120" y="220"/>
                  </a:lnTo>
                  <a:lnTo>
                    <a:pt x="111" y="210"/>
                  </a:lnTo>
                  <a:lnTo>
                    <a:pt x="102" y="201"/>
                  </a:lnTo>
                  <a:lnTo>
                    <a:pt x="93" y="190"/>
                  </a:lnTo>
                  <a:lnTo>
                    <a:pt x="85" y="180"/>
                  </a:lnTo>
                  <a:lnTo>
                    <a:pt x="77" y="168"/>
                  </a:lnTo>
                  <a:lnTo>
                    <a:pt x="70" y="158"/>
                  </a:lnTo>
                  <a:lnTo>
                    <a:pt x="64" y="146"/>
                  </a:lnTo>
                  <a:lnTo>
                    <a:pt x="57" y="134"/>
                  </a:lnTo>
                  <a:lnTo>
                    <a:pt x="52" y="122"/>
                  </a:lnTo>
                  <a:lnTo>
                    <a:pt x="47" y="110"/>
                  </a:lnTo>
                  <a:lnTo>
                    <a:pt x="43" y="97"/>
                  </a:lnTo>
                  <a:lnTo>
                    <a:pt x="39" y="84"/>
                  </a:lnTo>
                  <a:lnTo>
                    <a:pt x="36" y="70"/>
                  </a:lnTo>
                  <a:lnTo>
                    <a:pt x="34" y="57"/>
                  </a:lnTo>
                  <a:lnTo>
                    <a:pt x="31" y="43"/>
                  </a:lnTo>
                  <a:lnTo>
                    <a:pt x="30" y="29"/>
                  </a:lnTo>
                  <a:lnTo>
                    <a:pt x="30" y="15"/>
                  </a:lnTo>
                  <a:lnTo>
                    <a:pt x="30" y="12"/>
                  </a:lnTo>
                  <a:lnTo>
                    <a:pt x="29" y="10"/>
                  </a:lnTo>
                  <a:lnTo>
                    <a:pt x="28" y="7"/>
                  </a:lnTo>
                  <a:lnTo>
                    <a:pt x="26" y="5"/>
                  </a:lnTo>
                  <a:lnTo>
                    <a:pt x="24" y="3"/>
                  </a:lnTo>
                  <a:lnTo>
                    <a:pt x="21" y="2"/>
                  </a:lnTo>
                  <a:lnTo>
                    <a:pt x="19" y="0"/>
                  </a:lnTo>
                  <a:lnTo>
                    <a:pt x="15" y="0"/>
                  </a:lnTo>
                  <a:lnTo>
                    <a:pt x="12" y="0"/>
                  </a:lnTo>
                  <a:lnTo>
                    <a:pt x="10" y="2"/>
                  </a:lnTo>
                  <a:lnTo>
                    <a:pt x="7" y="3"/>
                  </a:lnTo>
                  <a:lnTo>
                    <a:pt x="5" y="5"/>
                  </a:lnTo>
                  <a:lnTo>
                    <a:pt x="3" y="7"/>
                  </a:lnTo>
                  <a:lnTo>
                    <a:pt x="1" y="10"/>
                  </a:lnTo>
                  <a:lnTo>
                    <a:pt x="0" y="12"/>
                  </a:lnTo>
                  <a:lnTo>
                    <a:pt x="0" y="15"/>
                  </a:lnTo>
                  <a:lnTo>
                    <a:pt x="0" y="31"/>
                  </a:lnTo>
                  <a:lnTo>
                    <a:pt x="1" y="46"/>
                  </a:lnTo>
                  <a:lnTo>
                    <a:pt x="4" y="61"/>
                  </a:lnTo>
                  <a:lnTo>
                    <a:pt x="7" y="76"/>
                  </a:lnTo>
                  <a:lnTo>
                    <a:pt x="10" y="91"/>
                  </a:lnTo>
                  <a:lnTo>
                    <a:pt x="14" y="105"/>
                  </a:lnTo>
                  <a:lnTo>
                    <a:pt x="19" y="119"/>
                  </a:lnTo>
                  <a:lnTo>
                    <a:pt x="24" y="133"/>
                  </a:lnTo>
                  <a:lnTo>
                    <a:pt x="30" y="147"/>
                  </a:lnTo>
                  <a:lnTo>
                    <a:pt x="37" y="160"/>
                  </a:lnTo>
                  <a:lnTo>
                    <a:pt x="44" y="173"/>
                  </a:lnTo>
                  <a:lnTo>
                    <a:pt x="53" y="186"/>
                  </a:lnTo>
                  <a:lnTo>
                    <a:pt x="61" y="197"/>
                  </a:lnTo>
                  <a:lnTo>
                    <a:pt x="70" y="209"/>
                  </a:lnTo>
                  <a:lnTo>
                    <a:pt x="80" y="221"/>
                  </a:lnTo>
                  <a:lnTo>
                    <a:pt x="89" y="232"/>
                  </a:lnTo>
                  <a:lnTo>
                    <a:pt x="100" y="241"/>
                  </a:lnTo>
                  <a:lnTo>
                    <a:pt x="111" y="251"/>
                  </a:lnTo>
                  <a:lnTo>
                    <a:pt x="122" y="261"/>
                  </a:lnTo>
                  <a:lnTo>
                    <a:pt x="134" y="269"/>
                  </a:lnTo>
                  <a:lnTo>
                    <a:pt x="146" y="278"/>
                  </a:lnTo>
                  <a:lnTo>
                    <a:pt x="159" y="285"/>
                  </a:lnTo>
                  <a:lnTo>
                    <a:pt x="172" y="292"/>
                  </a:lnTo>
                  <a:lnTo>
                    <a:pt x="186" y="298"/>
                  </a:lnTo>
                  <a:lnTo>
                    <a:pt x="198" y="303"/>
                  </a:lnTo>
                  <a:lnTo>
                    <a:pt x="212" y="309"/>
                  </a:lnTo>
                  <a:lnTo>
                    <a:pt x="226" y="313"/>
                  </a:lnTo>
                  <a:lnTo>
                    <a:pt x="241" y="316"/>
                  </a:lnTo>
                  <a:lnTo>
                    <a:pt x="256" y="318"/>
                  </a:lnTo>
                  <a:lnTo>
                    <a:pt x="270" y="320"/>
                  </a:lnTo>
                  <a:lnTo>
                    <a:pt x="285" y="321"/>
                  </a:lnTo>
                  <a:lnTo>
                    <a:pt x="301" y="323"/>
                  </a:lnTo>
                  <a:lnTo>
                    <a:pt x="316" y="321"/>
                  </a:lnTo>
                  <a:lnTo>
                    <a:pt x="331" y="320"/>
                  </a:lnTo>
                  <a:lnTo>
                    <a:pt x="346" y="318"/>
                  </a:lnTo>
                  <a:lnTo>
                    <a:pt x="360" y="316"/>
                  </a:lnTo>
                  <a:lnTo>
                    <a:pt x="375" y="313"/>
                  </a:lnTo>
                  <a:lnTo>
                    <a:pt x="389" y="309"/>
                  </a:lnTo>
                  <a:lnTo>
                    <a:pt x="403" y="303"/>
                  </a:lnTo>
                  <a:lnTo>
                    <a:pt x="417" y="298"/>
                  </a:lnTo>
                  <a:lnTo>
                    <a:pt x="429" y="292"/>
                  </a:lnTo>
                  <a:lnTo>
                    <a:pt x="442" y="285"/>
                  </a:lnTo>
                  <a:lnTo>
                    <a:pt x="455" y="278"/>
                  </a:lnTo>
                  <a:lnTo>
                    <a:pt x="467" y="269"/>
                  </a:lnTo>
                  <a:lnTo>
                    <a:pt x="479" y="261"/>
                  </a:lnTo>
                  <a:lnTo>
                    <a:pt x="490" y="251"/>
                  </a:lnTo>
                  <a:lnTo>
                    <a:pt x="501" y="241"/>
                  </a:lnTo>
                  <a:lnTo>
                    <a:pt x="512" y="232"/>
                  </a:lnTo>
                  <a:lnTo>
                    <a:pt x="521" y="221"/>
                  </a:lnTo>
                  <a:lnTo>
                    <a:pt x="531" y="209"/>
                  </a:lnTo>
                  <a:lnTo>
                    <a:pt x="541" y="197"/>
                  </a:lnTo>
                  <a:lnTo>
                    <a:pt x="549" y="186"/>
                  </a:lnTo>
                  <a:lnTo>
                    <a:pt x="557" y="173"/>
                  </a:lnTo>
                  <a:lnTo>
                    <a:pt x="564" y="160"/>
                  </a:lnTo>
                  <a:lnTo>
                    <a:pt x="571" y="147"/>
                  </a:lnTo>
                  <a:lnTo>
                    <a:pt x="577" y="133"/>
                  </a:lnTo>
                  <a:lnTo>
                    <a:pt x="582" y="119"/>
                  </a:lnTo>
                  <a:lnTo>
                    <a:pt x="587" y="105"/>
                  </a:lnTo>
                  <a:lnTo>
                    <a:pt x="591" y="91"/>
                  </a:lnTo>
                  <a:lnTo>
                    <a:pt x="595" y="76"/>
                  </a:lnTo>
                  <a:lnTo>
                    <a:pt x="597" y="61"/>
                  </a:lnTo>
                  <a:lnTo>
                    <a:pt x="600" y="46"/>
                  </a:lnTo>
                  <a:lnTo>
                    <a:pt x="601" y="31"/>
                  </a:lnTo>
                  <a:lnTo>
                    <a:pt x="601" y="15"/>
                  </a:lnTo>
                  <a:lnTo>
                    <a:pt x="601" y="12"/>
                  </a:lnTo>
                  <a:lnTo>
                    <a:pt x="600" y="10"/>
                  </a:lnTo>
                  <a:lnTo>
                    <a:pt x="599" y="7"/>
                  </a:lnTo>
                  <a:lnTo>
                    <a:pt x="596" y="5"/>
                  </a:lnTo>
                  <a:lnTo>
                    <a:pt x="594" y="3"/>
                  </a:lnTo>
                  <a:lnTo>
                    <a:pt x="592" y="2"/>
                  </a:lnTo>
                  <a:lnTo>
                    <a:pt x="589" y="0"/>
                  </a:lnTo>
                  <a:lnTo>
                    <a:pt x="586" y="0"/>
                  </a:lnTo>
                  <a:lnTo>
                    <a:pt x="5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35">
              <a:extLst>
                <a:ext uri="{FF2B5EF4-FFF2-40B4-BE49-F238E27FC236}">
                  <a16:creationId xmlns:a16="http://schemas.microsoft.com/office/drawing/2014/main" id="{ED1FA292-80B1-45BD-874A-9E43DF1B4C54}"/>
                </a:ext>
              </a:extLst>
            </p:cNvPr>
            <p:cNvSpPr>
              <a:spLocks/>
            </p:cNvSpPr>
            <p:nvPr/>
          </p:nvSpPr>
          <p:spPr bwMode="auto">
            <a:xfrm>
              <a:off x="2770188" y="4322763"/>
              <a:ext cx="57150" cy="20638"/>
            </a:xfrm>
            <a:custGeom>
              <a:avLst/>
              <a:gdLst>
                <a:gd name="T0" fmla="*/ 18 w 180"/>
                <a:gd name="T1" fmla="*/ 63 h 63"/>
                <a:gd name="T2" fmla="*/ 24 w 180"/>
                <a:gd name="T3" fmla="*/ 59 h 63"/>
                <a:gd name="T4" fmla="*/ 27 w 180"/>
                <a:gd name="T5" fmla="*/ 56 h 63"/>
                <a:gd name="T6" fmla="*/ 30 w 180"/>
                <a:gd name="T7" fmla="*/ 51 h 63"/>
                <a:gd name="T8" fmla="*/ 31 w 180"/>
                <a:gd name="T9" fmla="*/ 45 h 63"/>
                <a:gd name="T10" fmla="*/ 38 w 180"/>
                <a:gd name="T11" fmla="*/ 40 h 63"/>
                <a:gd name="T12" fmla="*/ 53 w 180"/>
                <a:gd name="T13" fmla="*/ 35 h 63"/>
                <a:gd name="T14" fmla="*/ 76 w 180"/>
                <a:gd name="T15" fmla="*/ 32 h 63"/>
                <a:gd name="T16" fmla="*/ 103 w 180"/>
                <a:gd name="T17" fmla="*/ 32 h 63"/>
                <a:gd name="T18" fmla="*/ 126 w 180"/>
                <a:gd name="T19" fmla="*/ 35 h 63"/>
                <a:gd name="T20" fmla="*/ 142 w 180"/>
                <a:gd name="T21" fmla="*/ 41 h 63"/>
                <a:gd name="T22" fmla="*/ 149 w 180"/>
                <a:gd name="T23" fmla="*/ 45 h 63"/>
                <a:gd name="T24" fmla="*/ 150 w 180"/>
                <a:gd name="T25" fmla="*/ 51 h 63"/>
                <a:gd name="T26" fmla="*/ 153 w 180"/>
                <a:gd name="T27" fmla="*/ 56 h 63"/>
                <a:gd name="T28" fmla="*/ 156 w 180"/>
                <a:gd name="T29" fmla="*/ 59 h 63"/>
                <a:gd name="T30" fmla="*/ 162 w 180"/>
                <a:gd name="T31" fmla="*/ 63 h 63"/>
                <a:gd name="T32" fmla="*/ 168 w 180"/>
                <a:gd name="T33" fmla="*/ 63 h 63"/>
                <a:gd name="T34" fmla="*/ 173 w 180"/>
                <a:gd name="T35" fmla="*/ 59 h 63"/>
                <a:gd name="T36" fmla="*/ 178 w 180"/>
                <a:gd name="T37" fmla="*/ 56 h 63"/>
                <a:gd name="T38" fmla="*/ 180 w 180"/>
                <a:gd name="T39" fmla="*/ 51 h 63"/>
                <a:gd name="T40" fmla="*/ 180 w 180"/>
                <a:gd name="T41" fmla="*/ 41 h 63"/>
                <a:gd name="T42" fmla="*/ 175 w 180"/>
                <a:gd name="T43" fmla="*/ 30 h 63"/>
                <a:gd name="T44" fmla="*/ 168 w 180"/>
                <a:gd name="T45" fmla="*/ 22 h 63"/>
                <a:gd name="T46" fmla="*/ 157 w 180"/>
                <a:gd name="T47" fmla="*/ 14 h 63"/>
                <a:gd name="T48" fmla="*/ 137 w 180"/>
                <a:gd name="T49" fmla="*/ 7 h 63"/>
                <a:gd name="T50" fmla="*/ 106 w 180"/>
                <a:gd name="T51" fmla="*/ 2 h 63"/>
                <a:gd name="T52" fmla="*/ 74 w 180"/>
                <a:gd name="T53" fmla="*/ 2 h 63"/>
                <a:gd name="T54" fmla="*/ 43 w 180"/>
                <a:gd name="T55" fmla="*/ 7 h 63"/>
                <a:gd name="T56" fmla="*/ 24 w 180"/>
                <a:gd name="T57" fmla="*/ 14 h 63"/>
                <a:gd name="T58" fmla="*/ 13 w 180"/>
                <a:gd name="T59" fmla="*/ 22 h 63"/>
                <a:gd name="T60" fmla="*/ 4 w 180"/>
                <a:gd name="T61" fmla="*/ 30 h 63"/>
                <a:gd name="T62" fmla="*/ 0 w 180"/>
                <a:gd name="T63" fmla="*/ 41 h 63"/>
                <a:gd name="T64" fmla="*/ 0 w 180"/>
                <a:gd name="T65" fmla="*/ 51 h 63"/>
                <a:gd name="T66" fmla="*/ 2 w 180"/>
                <a:gd name="T67" fmla="*/ 56 h 63"/>
                <a:gd name="T68" fmla="*/ 6 w 180"/>
                <a:gd name="T69" fmla="*/ 59 h 63"/>
                <a:gd name="T70" fmla="*/ 12 w 18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63">
                  <a:moveTo>
                    <a:pt x="15" y="63"/>
                  </a:moveTo>
                  <a:lnTo>
                    <a:pt x="18" y="63"/>
                  </a:lnTo>
                  <a:lnTo>
                    <a:pt x="20" y="61"/>
                  </a:lnTo>
                  <a:lnTo>
                    <a:pt x="24" y="59"/>
                  </a:lnTo>
                  <a:lnTo>
                    <a:pt x="26" y="58"/>
                  </a:lnTo>
                  <a:lnTo>
                    <a:pt x="27" y="56"/>
                  </a:lnTo>
                  <a:lnTo>
                    <a:pt x="29" y="53"/>
                  </a:lnTo>
                  <a:lnTo>
                    <a:pt x="30" y="51"/>
                  </a:lnTo>
                  <a:lnTo>
                    <a:pt x="30" y="48"/>
                  </a:lnTo>
                  <a:lnTo>
                    <a:pt x="31" y="45"/>
                  </a:lnTo>
                  <a:lnTo>
                    <a:pt x="33" y="42"/>
                  </a:lnTo>
                  <a:lnTo>
                    <a:pt x="38" y="40"/>
                  </a:lnTo>
                  <a:lnTo>
                    <a:pt x="45" y="37"/>
                  </a:lnTo>
                  <a:lnTo>
                    <a:pt x="53" y="35"/>
                  </a:lnTo>
                  <a:lnTo>
                    <a:pt x="64" y="33"/>
                  </a:lnTo>
                  <a:lnTo>
                    <a:pt x="76" y="32"/>
                  </a:lnTo>
                  <a:lnTo>
                    <a:pt x="90" y="32"/>
                  </a:lnTo>
                  <a:lnTo>
                    <a:pt x="103" y="32"/>
                  </a:lnTo>
                  <a:lnTo>
                    <a:pt x="116" y="33"/>
                  </a:lnTo>
                  <a:lnTo>
                    <a:pt x="126" y="35"/>
                  </a:lnTo>
                  <a:lnTo>
                    <a:pt x="136" y="38"/>
                  </a:lnTo>
                  <a:lnTo>
                    <a:pt x="142" y="41"/>
                  </a:lnTo>
                  <a:lnTo>
                    <a:pt x="147" y="43"/>
                  </a:lnTo>
                  <a:lnTo>
                    <a:pt x="149" y="45"/>
                  </a:lnTo>
                  <a:lnTo>
                    <a:pt x="150" y="48"/>
                  </a:lnTo>
                  <a:lnTo>
                    <a:pt x="150" y="51"/>
                  </a:lnTo>
                  <a:lnTo>
                    <a:pt x="151" y="53"/>
                  </a:lnTo>
                  <a:lnTo>
                    <a:pt x="153" y="56"/>
                  </a:lnTo>
                  <a:lnTo>
                    <a:pt x="154" y="58"/>
                  </a:lnTo>
                  <a:lnTo>
                    <a:pt x="156" y="59"/>
                  </a:lnTo>
                  <a:lnTo>
                    <a:pt x="159" y="61"/>
                  </a:lnTo>
                  <a:lnTo>
                    <a:pt x="162" y="63"/>
                  </a:lnTo>
                  <a:lnTo>
                    <a:pt x="165" y="63"/>
                  </a:lnTo>
                  <a:lnTo>
                    <a:pt x="168" y="63"/>
                  </a:lnTo>
                  <a:lnTo>
                    <a:pt x="171" y="61"/>
                  </a:lnTo>
                  <a:lnTo>
                    <a:pt x="173" y="59"/>
                  </a:lnTo>
                  <a:lnTo>
                    <a:pt x="175" y="58"/>
                  </a:lnTo>
                  <a:lnTo>
                    <a:pt x="178" y="56"/>
                  </a:lnTo>
                  <a:lnTo>
                    <a:pt x="179" y="53"/>
                  </a:lnTo>
                  <a:lnTo>
                    <a:pt x="180" y="51"/>
                  </a:lnTo>
                  <a:lnTo>
                    <a:pt x="180" y="48"/>
                  </a:lnTo>
                  <a:lnTo>
                    <a:pt x="180" y="41"/>
                  </a:lnTo>
                  <a:lnTo>
                    <a:pt x="178" y="36"/>
                  </a:lnTo>
                  <a:lnTo>
                    <a:pt x="175" y="30"/>
                  </a:lnTo>
                  <a:lnTo>
                    <a:pt x="172" y="25"/>
                  </a:lnTo>
                  <a:lnTo>
                    <a:pt x="168" y="22"/>
                  </a:lnTo>
                  <a:lnTo>
                    <a:pt x="163" y="18"/>
                  </a:lnTo>
                  <a:lnTo>
                    <a:pt x="157" y="14"/>
                  </a:lnTo>
                  <a:lnTo>
                    <a:pt x="151" y="11"/>
                  </a:lnTo>
                  <a:lnTo>
                    <a:pt x="137" y="7"/>
                  </a:lnTo>
                  <a:lnTo>
                    <a:pt x="122" y="4"/>
                  </a:lnTo>
                  <a:lnTo>
                    <a:pt x="106" y="2"/>
                  </a:lnTo>
                  <a:lnTo>
                    <a:pt x="90" y="0"/>
                  </a:lnTo>
                  <a:lnTo>
                    <a:pt x="74" y="2"/>
                  </a:lnTo>
                  <a:lnTo>
                    <a:pt x="58" y="4"/>
                  </a:lnTo>
                  <a:lnTo>
                    <a:pt x="43" y="7"/>
                  </a:lnTo>
                  <a:lnTo>
                    <a:pt x="29" y="11"/>
                  </a:lnTo>
                  <a:lnTo>
                    <a:pt x="24" y="14"/>
                  </a:lnTo>
                  <a:lnTo>
                    <a:pt x="17" y="18"/>
                  </a:lnTo>
                  <a:lnTo>
                    <a:pt x="13" y="22"/>
                  </a:lnTo>
                  <a:lnTo>
                    <a:pt x="9" y="26"/>
                  </a:lnTo>
                  <a:lnTo>
                    <a:pt x="4" y="30"/>
                  </a:lnTo>
                  <a:lnTo>
                    <a:pt x="2" y="36"/>
                  </a:lnTo>
                  <a:lnTo>
                    <a:pt x="0" y="41"/>
                  </a:lnTo>
                  <a:lnTo>
                    <a:pt x="0" y="48"/>
                  </a:lnTo>
                  <a:lnTo>
                    <a:pt x="0" y="51"/>
                  </a:lnTo>
                  <a:lnTo>
                    <a:pt x="1" y="53"/>
                  </a:lnTo>
                  <a:lnTo>
                    <a:pt x="2" y="56"/>
                  </a:lnTo>
                  <a:lnTo>
                    <a:pt x="4" y="58"/>
                  </a:lnTo>
                  <a:lnTo>
                    <a:pt x="6" y="59"/>
                  </a:lnTo>
                  <a:lnTo>
                    <a:pt x="9" y="61"/>
                  </a:lnTo>
                  <a:lnTo>
                    <a:pt x="12" y="63"/>
                  </a:lnTo>
                  <a:lnTo>
                    <a:pt x="1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36">
              <a:extLst>
                <a:ext uri="{FF2B5EF4-FFF2-40B4-BE49-F238E27FC236}">
                  <a16:creationId xmlns:a16="http://schemas.microsoft.com/office/drawing/2014/main" id="{BD2EB25F-D68B-4035-B2B3-0DD2C9C8BFDD}"/>
                </a:ext>
              </a:extLst>
            </p:cNvPr>
            <p:cNvSpPr>
              <a:spLocks noEditPoints="1"/>
            </p:cNvSpPr>
            <p:nvPr/>
          </p:nvSpPr>
          <p:spPr bwMode="auto">
            <a:xfrm>
              <a:off x="2670175" y="4305301"/>
              <a:ext cx="47625" cy="47625"/>
            </a:xfrm>
            <a:custGeom>
              <a:avLst/>
              <a:gdLst>
                <a:gd name="T0" fmla="*/ 85 w 150"/>
                <a:gd name="T1" fmla="*/ 30 h 150"/>
                <a:gd name="T2" fmla="*/ 101 w 150"/>
                <a:gd name="T3" fmla="*/ 37 h 150"/>
                <a:gd name="T4" fmla="*/ 113 w 150"/>
                <a:gd name="T5" fmla="*/ 49 h 150"/>
                <a:gd name="T6" fmla="*/ 120 w 150"/>
                <a:gd name="T7" fmla="*/ 65 h 150"/>
                <a:gd name="T8" fmla="*/ 120 w 150"/>
                <a:gd name="T9" fmla="*/ 83 h 150"/>
                <a:gd name="T10" fmla="*/ 113 w 150"/>
                <a:gd name="T11" fmla="*/ 99 h 150"/>
                <a:gd name="T12" fmla="*/ 101 w 150"/>
                <a:gd name="T13" fmla="*/ 112 h 150"/>
                <a:gd name="T14" fmla="*/ 85 w 150"/>
                <a:gd name="T15" fmla="*/ 118 h 150"/>
                <a:gd name="T16" fmla="*/ 67 w 150"/>
                <a:gd name="T17" fmla="*/ 118 h 150"/>
                <a:gd name="T18" fmla="*/ 51 w 150"/>
                <a:gd name="T19" fmla="*/ 112 h 150"/>
                <a:gd name="T20" fmla="*/ 38 w 150"/>
                <a:gd name="T21" fmla="*/ 99 h 150"/>
                <a:gd name="T22" fmla="*/ 31 w 150"/>
                <a:gd name="T23" fmla="*/ 83 h 150"/>
                <a:gd name="T24" fmla="*/ 31 w 150"/>
                <a:gd name="T25" fmla="*/ 65 h 150"/>
                <a:gd name="T26" fmla="*/ 38 w 150"/>
                <a:gd name="T27" fmla="*/ 49 h 150"/>
                <a:gd name="T28" fmla="*/ 51 w 150"/>
                <a:gd name="T29" fmla="*/ 37 h 150"/>
                <a:gd name="T30" fmla="*/ 67 w 150"/>
                <a:gd name="T31" fmla="*/ 30 h 150"/>
                <a:gd name="T32" fmla="*/ 75 w 150"/>
                <a:gd name="T33" fmla="*/ 30 h 150"/>
                <a:gd name="T34" fmla="*/ 83 w 150"/>
                <a:gd name="T35" fmla="*/ 148 h 150"/>
                <a:gd name="T36" fmla="*/ 98 w 150"/>
                <a:gd name="T37" fmla="*/ 146 h 150"/>
                <a:gd name="T38" fmla="*/ 112 w 150"/>
                <a:gd name="T39" fmla="*/ 140 h 150"/>
                <a:gd name="T40" fmla="*/ 123 w 150"/>
                <a:gd name="T41" fmla="*/ 132 h 150"/>
                <a:gd name="T42" fmla="*/ 133 w 150"/>
                <a:gd name="T43" fmla="*/ 122 h 150"/>
                <a:gd name="T44" fmla="*/ 142 w 150"/>
                <a:gd name="T45" fmla="*/ 110 h 150"/>
                <a:gd name="T46" fmla="*/ 147 w 150"/>
                <a:gd name="T47" fmla="*/ 97 h 150"/>
                <a:gd name="T48" fmla="*/ 150 w 150"/>
                <a:gd name="T49" fmla="*/ 82 h 150"/>
                <a:gd name="T50" fmla="*/ 150 w 150"/>
                <a:gd name="T51" fmla="*/ 67 h 150"/>
                <a:gd name="T52" fmla="*/ 147 w 150"/>
                <a:gd name="T53" fmla="*/ 52 h 150"/>
                <a:gd name="T54" fmla="*/ 142 w 150"/>
                <a:gd name="T55" fmla="*/ 38 h 150"/>
                <a:gd name="T56" fmla="*/ 133 w 150"/>
                <a:gd name="T57" fmla="*/ 26 h 150"/>
                <a:gd name="T58" fmla="*/ 123 w 150"/>
                <a:gd name="T59" fmla="*/ 17 h 150"/>
                <a:gd name="T60" fmla="*/ 112 w 150"/>
                <a:gd name="T61" fmla="*/ 8 h 150"/>
                <a:gd name="T62" fmla="*/ 98 w 150"/>
                <a:gd name="T63" fmla="*/ 3 h 150"/>
                <a:gd name="T64" fmla="*/ 83 w 150"/>
                <a:gd name="T65" fmla="*/ 0 h 150"/>
                <a:gd name="T66" fmla="*/ 68 w 150"/>
                <a:gd name="T67" fmla="*/ 0 h 150"/>
                <a:gd name="T68" fmla="*/ 53 w 150"/>
                <a:gd name="T69" fmla="*/ 3 h 150"/>
                <a:gd name="T70" fmla="*/ 40 w 150"/>
                <a:gd name="T71" fmla="*/ 8 h 150"/>
                <a:gd name="T72" fmla="*/ 28 w 150"/>
                <a:gd name="T73" fmla="*/ 17 h 150"/>
                <a:gd name="T74" fmla="*/ 17 w 150"/>
                <a:gd name="T75" fmla="*/ 26 h 150"/>
                <a:gd name="T76" fmla="*/ 10 w 150"/>
                <a:gd name="T77" fmla="*/ 38 h 150"/>
                <a:gd name="T78" fmla="*/ 4 w 150"/>
                <a:gd name="T79" fmla="*/ 52 h 150"/>
                <a:gd name="T80" fmla="*/ 0 w 150"/>
                <a:gd name="T81" fmla="*/ 67 h 150"/>
                <a:gd name="T82" fmla="*/ 0 w 150"/>
                <a:gd name="T83" fmla="*/ 82 h 150"/>
                <a:gd name="T84" fmla="*/ 4 w 150"/>
                <a:gd name="T85" fmla="*/ 97 h 150"/>
                <a:gd name="T86" fmla="*/ 10 w 150"/>
                <a:gd name="T87" fmla="*/ 110 h 150"/>
                <a:gd name="T88" fmla="*/ 17 w 150"/>
                <a:gd name="T89" fmla="*/ 122 h 150"/>
                <a:gd name="T90" fmla="*/ 28 w 150"/>
                <a:gd name="T91" fmla="*/ 132 h 150"/>
                <a:gd name="T92" fmla="*/ 40 w 150"/>
                <a:gd name="T93" fmla="*/ 140 h 150"/>
                <a:gd name="T94" fmla="*/ 53 w 150"/>
                <a:gd name="T95" fmla="*/ 146 h 150"/>
                <a:gd name="T96" fmla="*/ 68 w 150"/>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30"/>
                  </a:moveTo>
                  <a:lnTo>
                    <a:pt x="85" y="30"/>
                  </a:lnTo>
                  <a:lnTo>
                    <a:pt x="93" y="33"/>
                  </a:lnTo>
                  <a:lnTo>
                    <a:pt x="101" y="37"/>
                  </a:lnTo>
                  <a:lnTo>
                    <a:pt x="107" y="43"/>
                  </a:lnTo>
                  <a:lnTo>
                    <a:pt x="113" y="49"/>
                  </a:lnTo>
                  <a:lnTo>
                    <a:pt x="117" y="56"/>
                  </a:lnTo>
                  <a:lnTo>
                    <a:pt x="120" y="65"/>
                  </a:lnTo>
                  <a:lnTo>
                    <a:pt x="120" y="75"/>
                  </a:lnTo>
                  <a:lnTo>
                    <a:pt x="120" y="83"/>
                  </a:lnTo>
                  <a:lnTo>
                    <a:pt x="117" y="92"/>
                  </a:lnTo>
                  <a:lnTo>
                    <a:pt x="113" y="99"/>
                  </a:lnTo>
                  <a:lnTo>
                    <a:pt x="107" y="106"/>
                  </a:lnTo>
                  <a:lnTo>
                    <a:pt x="101" y="112"/>
                  </a:lnTo>
                  <a:lnTo>
                    <a:pt x="93" y="116"/>
                  </a:lnTo>
                  <a:lnTo>
                    <a:pt x="85" y="118"/>
                  </a:lnTo>
                  <a:lnTo>
                    <a:pt x="75" y="120"/>
                  </a:lnTo>
                  <a:lnTo>
                    <a:pt x="67" y="118"/>
                  </a:lnTo>
                  <a:lnTo>
                    <a:pt x="58" y="116"/>
                  </a:lnTo>
                  <a:lnTo>
                    <a:pt x="51" y="112"/>
                  </a:lnTo>
                  <a:lnTo>
                    <a:pt x="43" y="106"/>
                  </a:lnTo>
                  <a:lnTo>
                    <a:pt x="38" y="99"/>
                  </a:lnTo>
                  <a:lnTo>
                    <a:pt x="33" y="92"/>
                  </a:lnTo>
                  <a:lnTo>
                    <a:pt x="31" y="83"/>
                  </a:lnTo>
                  <a:lnTo>
                    <a:pt x="30" y="75"/>
                  </a:lnTo>
                  <a:lnTo>
                    <a:pt x="31" y="65"/>
                  </a:lnTo>
                  <a:lnTo>
                    <a:pt x="33" y="56"/>
                  </a:lnTo>
                  <a:lnTo>
                    <a:pt x="38" y="49"/>
                  </a:lnTo>
                  <a:lnTo>
                    <a:pt x="43" y="43"/>
                  </a:lnTo>
                  <a:lnTo>
                    <a:pt x="51" y="37"/>
                  </a:lnTo>
                  <a:lnTo>
                    <a:pt x="58" y="33"/>
                  </a:lnTo>
                  <a:lnTo>
                    <a:pt x="67" y="30"/>
                  </a:lnTo>
                  <a:lnTo>
                    <a:pt x="75" y="30"/>
                  </a:lnTo>
                  <a:lnTo>
                    <a:pt x="75" y="30"/>
                  </a:lnTo>
                  <a:close/>
                  <a:moveTo>
                    <a:pt x="75" y="150"/>
                  </a:moveTo>
                  <a:lnTo>
                    <a:pt x="83" y="148"/>
                  </a:lnTo>
                  <a:lnTo>
                    <a:pt x="90" y="147"/>
                  </a:lnTo>
                  <a:lnTo>
                    <a:pt x="98" y="146"/>
                  </a:lnTo>
                  <a:lnTo>
                    <a:pt x="105" y="143"/>
                  </a:lnTo>
                  <a:lnTo>
                    <a:pt x="112" y="140"/>
                  </a:lnTo>
                  <a:lnTo>
                    <a:pt x="117" y="137"/>
                  </a:lnTo>
                  <a:lnTo>
                    <a:pt x="123" y="132"/>
                  </a:lnTo>
                  <a:lnTo>
                    <a:pt x="129" y="127"/>
                  </a:lnTo>
                  <a:lnTo>
                    <a:pt x="133" y="122"/>
                  </a:lnTo>
                  <a:lnTo>
                    <a:pt x="137" y="116"/>
                  </a:lnTo>
                  <a:lnTo>
                    <a:pt x="142" y="110"/>
                  </a:lnTo>
                  <a:lnTo>
                    <a:pt x="145" y="104"/>
                  </a:lnTo>
                  <a:lnTo>
                    <a:pt x="147" y="97"/>
                  </a:lnTo>
                  <a:lnTo>
                    <a:pt x="149" y="90"/>
                  </a:lnTo>
                  <a:lnTo>
                    <a:pt x="150" y="82"/>
                  </a:lnTo>
                  <a:lnTo>
                    <a:pt x="150" y="75"/>
                  </a:lnTo>
                  <a:lnTo>
                    <a:pt x="150" y="67"/>
                  </a:lnTo>
                  <a:lnTo>
                    <a:pt x="149" y="60"/>
                  </a:lnTo>
                  <a:lnTo>
                    <a:pt x="147" y="52"/>
                  </a:lnTo>
                  <a:lnTo>
                    <a:pt x="145" y="45"/>
                  </a:lnTo>
                  <a:lnTo>
                    <a:pt x="142" y="38"/>
                  </a:lnTo>
                  <a:lnTo>
                    <a:pt x="137" y="33"/>
                  </a:lnTo>
                  <a:lnTo>
                    <a:pt x="133" y="26"/>
                  </a:lnTo>
                  <a:lnTo>
                    <a:pt x="129" y="21"/>
                  </a:lnTo>
                  <a:lnTo>
                    <a:pt x="123" y="17"/>
                  </a:lnTo>
                  <a:lnTo>
                    <a:pt x="117" y="13"/>
                  </a:lnTo>
                  <a:lnTo>
                    <a:pt x="112" y="8"/>
                  </a:lnTo>
                  <a:lnTo>
                    <a:pt x="105" y="5"/>
                  </a:lnTo>
                  <a:lnTo>
                    <a:pt x="98" y="3"/>
                  </a:lnTo>
                  <a:lnTo>
                    <a:pt x="90" y="1"/>
                  </a:lnTo>
                  <a:lnTo>
                    <a:pt x="83" y="0"/>
                  </a:lnTo>
                  <a:lnTo>
                    <a:pt x="75" y="0"/>
                  </a:lnTo>
                  <a:lnTo>
                    <a:pt x="68" y="0"/>
                  </a:lnTo>
                  <a:lnTo>
                    <a:pt x="60" y="1"/>
                  </a:lnTo>
                  <a:lnTo>
                    <a:pt x="53" y="3"/>
                  </a:lnTo>
                  <a:lnTo>
                    <a:pt x="46" y="5"/>
                  </a:lnTo>
                  <a:lnTo>
                    <a:pt x="40" y="8"/>
                  </a:lnTo>
                  <a:lnTo>
                    <a:pt x="33" y="13"/>
                  </a:lnTo>
                  <a:lnTo>
                    <a:pt x="28" y="17"/>
                  </a:lnTo>
                  <a:lnTo>
                    <a:pt x="23" y="21"/>
                  </a:lnTo>
                  <a:lnTo>
                    <a:pt x="17" y="26"/>
                  </a:lnTo>
                  <a:lnTo>
                    <a:pt x="13" y="33"/>
                  </a:lnTo>
                  <a:lnTo>
                    <a:pt x="10" y="38"/>
                  </a:lnTo>
                  <a:lnTo>
                    <a:pt x="7" y="45"/>
                  </a:lnTo>
                  <a:lnTo>
                    <a:pt x="4" y="52"/>
                  </a:lnTo>
                  <a:lnTo>
                    <a:pt x="2" y="60"/>
                  </a:lnTo>
                  <a:lnTo>
                    <a:pt x="0" y="67"/>
                  </a:lnTo>
                  <a:lnTo>
                    <a:pt x="0" y="75"/>
                  </a:lnTo>
                  <a:lnTo>
                    <a:pt x="0" y="82"/>
                  </a:lnTo>
                  <a:lnTo>
                    <a:pt x="2" y="90"/>
                  </a:lnTo>
                  <a:lnTo>
                    <a:pt x="4" y="97"/>
                  </a:lnTo>
                  <a:lnTo>
                    <a:pt x="7" y="104"/>
                  </a:lnTo>
                  <a:lnTo>
                    <a:pt x="10" y="110"/>
                  </a:lnTo>
                  <a:lnTo>
                    <a:pt x="13" y="116"/>
                  </a:lnTo>
                  <a:lnTo>
                    <a:pt x="17" y="122"/>
                  </a:lnTo>
                  <a:lnTo>
                    <a:pt x="23" y="127"/>
                  </a:lnTo>
                  <a:lnTo>
                    <a:pt x="28" y="132"/>
                  </a:lnTo>
                  <a:lnTo>
                    <a:pt x="33" y="137"/>
                  </a:lnTo>
                  <a:lnTo>
                    <a:pt x="40" y="140"/>
                  </a:lnTo>
                  <a:lnTo>
                    <a:pt x="46" y="143"/>
                  </a:lnTo>
                  <a:lnTo>
                    <a:pt x="53" y="146"/>
                  </a:lnTo>
                  <a:lnTo>
                    <a:pt x="60" y="147"/>
                  </a:lnTo>
                  <a:lnTo>
                    <a:pt x="68" y="150"/>
                  </a:lnTo>
                  <a:lnTo>
                    <a:pt x="7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9" name="Group 51">
            <a:extLst>
              <a:ext uri="{FF2B5EF4-FFF2-40B4-BE49-F238E27FC236}">
                <a16:creationId xmlns:a16="http://schemas.microsoft.com/office/drawing/2014/main" id="{D555D959-CAAD-4828-B16D-6BF2583F8C4F}"/>
              </a:ext>
            </a:extLst>
          </p:cNvPr>
          <p:cNvGrpSpPr>
            <a:grpSpLocks noChangeAspect="1"/>
          </p:cNvGrpSpPr>
          <p:nvPr/>
        </p:nvGrpSpPr>
        <p:grpSpPr>
          <a:xfrm>
            <a:off x="2289439" y="4340505"/>
            <a:ext cx="335696" cy="285619"/>
            <a:chOff x="5432425" y="3116263"/>
            <a:chExt cx="574675" cy="488950"/>
          </a:xfrm>
          <a:solidFill>
            <a:schemeClr val="bg1"/>
          </a:solidFill>
          <a:effectLst/>
        </p:grpSpPr>
        <p:sp>
          <p:nvSpPr>
            <p:cNvPr id="600" name="Freeform 119">
              <a:extLst>
                <a:ext uri="{FF2B5EF4-FFF2-40B4-BE49-F238E27FC236}">
                  <a16:creationId xmlns:a16="http://schemas.microsoft.com/office/drawing/2014/main" id="{58629794-FDB8-40CA-8F41-BDA221D2A01A}"/>
                </a:ext>
              </a:extLst>
            </p:cNvPr>
            <p:cNvSpPr>
              <a:spLocks noEditPoints="1"/>
            </p:cNvSpPr>
            <p:nvPr/>
          </p:nvSpPr>
          <p:spPr bwMode="auto">
            <a:xfrm>
              <a:off x="5432425" y="3116263"/>
              <a:ext cx="574675" cy="488950"/>
            </a:xfrm>
            <a:custGeom>
              <a:avLst/>
              <a:gdLst>
                <a:gd name="T0" fmla="*/ 141 w 1450"/>
                <a:gd name="T1" fmla="*/ 56 h 1235"/>
                <a:gd name="T2" fmla="*/ 110 w 1450"/>
                <a:gd name="T3" fmla="*/ 66 h 1235"/>
                <a:gd name="T4" fmla="*/ 86 w 1450"/>
                <a:gd name="T5" fmla="*/ 86 h 1235"/>
                <a:gd name="T6" fmla="*/ 68 w 1450"/>
                <a:gd name="T7" fmla="*/ 110 h 1235"/>
                <a:gd name="T8" fmla="*/ 57 w 1450"/>
                <a:gd name="T9" fmla="*/ 139 h 1235"/>
                <a:gd name="T10" fmla="*/ 54 w 1450"/>
                <a:gd name="T11" fmla="*/ 805 h 1235"/>
                <a:gd name="T12" fmla="*/ 60 w 1450"/>
                <a:gd name="T13" fmla="*/ 837 h 1235"/>
                <a:gd name="T14" fmla="*/ 73 w 1450"/>
                <a:gd name="T15" fmla="*/ 865 h 1235"/>
                <a:gd name="T16" fmla="*/ 94 w 1450"/>
                <a:gd name="T17" fmla="*/ 888 h 1235"/>
                <a:gd name="T18" fmla="*/ 120 w 1450"/>
                <a:gd name="T19" fmla="*/ 904 h 1235"/>
                <a:gd name="T20" fmla="*/ 151 w 1450"/>
                <a:gd name="T21" fmla="*/ 912 h 1235"/>
                <a:gd name="T22" fmla="*/ 915 w 1450"/>
                <a:gd name="T23" fmla="*/ 913 h 1235"/>
                <a:gd name="T24" fmla="*/ 931 w 1450"/>
                <a:gd name="T25" fmla="*/ 923 h 1235"/>
                <a:gd name="T26" fmla="*/ 935 w 1450"/>
                <a:gd name="T27" fmla="*/ 940 h 1235"/>
                <a:gd name="T28" fmla="*/ 1174 w 1450"/>
                <a:gd name="T29" fmla="*/ 917 h 1235"/>
                <a:gd name="T30" fmla="*/ 1185 w 1450"/>
                <a:gd name="T31" fmla="*/ 913 h 1235"/>
                <a:gd name="T32" fmla="*/ 1300 w 1450"/>
                <a:gd name="T33" fmla="*/ 912 h 1235"/>
                <a:gd name="T34" fmla="*/ 1330 w 1450"/>
                <a:gd name="T35" fmla="*/ 904 h 1235"/>
                <a:gd name="T36" fmla="*/ 1357 w 1450"/>
                <a:gd name="T37" fmla="*/ 888 h 1235"/>
                <a:gd name="T38" fmla="*/ 1377 w 1450"/>
                <a:gd name="T39" fmla="*/ 865 h 1235"/>
                <a:gd name="T40" fmla="*/ 1391 w 1450"/>
                <a:gd name="T41" fmla="*/ 837 h 1235"/>
                <a:gd name="T42" fmla="*/ 1396 w 1450"/>
                <a:gd name="T43" fmla="*/ 805 h 1235"/>
                <a:gd name="T44" fmla="*/ 1394 w 1450"/>
                <a:gd name="T45" fmla="*/ 139 h 1235"/>
                <a:gd name="T46" fmla="*/ 1383 w 1450"/>
                <a:gd name="T47" fmla="*/ 110 h 1235"/>
                <a:gd name="T48" fmla="*/ 1365 w 1450"/>
                <a:gd name="T49" fmla="*/ 86 h 1235"/>
                <a:gd name="T50" fmla="*/ 1340 w 1450"/>
                <a:gd name="T51" fmla="*/ 66 h 1235"/>
                <a:gd name="T52" fmla="*/ 1310 w 1450"/>
                <a:gd name="T53" fmla="*/ 56 h 1235"/>
                <a:gd name="T54" fmla="*/ 162 w 1450"/>
                <a:gd name="T55" fmla="*/ 54 h 1235"/>
                <a:gd name="T56" fmla="*/ 824 w 1450"/>
                <a:gd name="T57" fmla="*/ 1234 h 1235"/>
                <a:gd name="T58" fmla="*/ 814 w 1450"/>
                <a:gd name="T59" fmla="*/ 1227 h 1235"/>
                <a:gd name="T60" fmla="*/ 808 w 1450"/>
                <a:gd name="T61" fmla="*/ 1217 h 1235"/>
                <a:gd name="T62" fmla="*/ 805 w 1450"/>
                <a:gd name="T63" fmla="*/ 1204 h 1235"/>
                <a:gd name="T64" fmla="*/ 162 w 1450"/>
                <a:gd name="T65" fmla="*/ 966 h 1235"/>
                <a:gd name="T66" fmla="*/ 114 w 1450"/>
                <a:gd name="T67" fmla="*/ 959 h 1235"/>
                <a:gd name="T68" fmla="*/ 72 w 1450"/>
                <a:gd name="T69" fmla="*/ 939 h 1235"/>
                <a:gd name="T70" fmla="*/ 37 w 1450"/>
                <a:gd name="T71" fmla="*/ 907 h 1235"/>
                <a:gd name="T72" fmla="*/ 14 w 1450"/>
                <a:gd name="T73" fmla="*/ 868 h 1235"/>
                <a:gd name="T74" fmla="*/ 2 w 1450"/>
                <a:gd name="T75" fmla="*/ 821 h 1235"/>
                <a:gd name="T76" fmla="*/ 2 w 1450"/>
                <a:gd name="T77" fmla="*/ 145 h 1235"/>
                <a:gd name="T78" fmla="*/ 14 w 1450"/>
                <a:gd name="T79" fmla="*/ 99 h 1235"/>
                <a:gd name="T80" fmla="*/ 37 w 1450"/>
                <a:gd name="T81" fmla="*/ 59 h 1235"/>
                <a:gd name="T82" fmla="*/ 72 w 1450"/>
                <a:gd name="T83" fmla="*/ 27 h 1235"/>
                <a:gd name="T84" fmla="*/ 114 w 1450"/>
                <a:gd name="T85" fmla="*/ 7 h 1235"/>
                <a:gd name="T86" fmla="*/ 162 w 1450"/>
                <a:gd name="T87" fmla="*/ 0 h 1235"/>
                <a:gd name="T88" fmla="*/ 1321 w 1450"/>
                <a:gd name="T89" fmla="*/ 4 h 1235"/>
                <a:gd name="T90" fmla="*/ 1365 w 1450"/>
                <a:gd name="T91" fmla="*/ 19 h 1235"/>
                <a:gd name="T92" fmla="*/ 1402 w 1450"/>
                <a:gd name="T93" fmla="*/ 47 h 1235"/>
                <a:gd name="T94" fmla="*/ 1430 w 1450"/>
                <a:gd name="T95" fmla="*/ 84 h 1235"/>
                <a:gd name="T96" fmla="*/ 1447 w 1450"/>
                <a:gd name="T97" fmla="*/ 129 h 1235"/>
                <a:gd name="T98" fmla="*/ 1450 w 1450"/>
                <a:gd name="T99" fmla="*/ 805 h 1235"/>
                <a:gd name="T100" fmla="*/ 1442 w 1450"/>
                <a:gd name="T101" fmla="*/ 852 h 1235"/>
                <a:gd name="T102" fmla="*/ 1422 w 1450"/>
                <a:gd name="T103" fmla="*/ 895 h 1235"/>
                <a:gd name="T104" fmla="*/ 1391 w 1450"/>
                <a:gd name="T105" fmla="*/ 929 h 1235"/>
                <a:gd name="T106" fmla="*/ 1351 w 1450"/>
                <a:gd name="T107" fmla="*/ 953 h 1235"/>
                <a:gd name="T108" fmla="*/ 1305 w 1450"/>
                <a:gd name="T109" fmla="*/ 966 h 1235"/>
                <a:gd name="T110" fmla="*/ 849 w 1450"/>
                <a:gd name="T111" fmla="*/ 1229 h 1235"/>
                <a:gd name="T112" fmla="*/ 837 w 1450"/>
                <a:gd name="T113" fmla="*/ 1234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50" h="1235">
                  <a:moveTo>
                    <a:pt x="162" y="54"/>
                  </a:moveTo>
                  <a:lnTo>
                    <a:pt x="151" y="54"/>
                  </a:lnTo>
                  <a:lnTo>
                    <a:pt x="141" y="56"/>
                  </a:lnTo>
                  <a:lnTo>
                    <a:pt x="131" y="59"/>
                  </a:lnTo>
                  <a:lnTo>
                    <a:pt x="120" y="62"/>
                  </a:lnTo>
                  <a:lnTo>
                    <a:pt x="110" y="66"/>
                  </a:lnTo>
                  <a:lnTo>
                    <a:pt x="102" y="72"/>
                  </a:lnTo>
                  <a:lnTo>
                    <a:pt x="94" y="79"/>
                  </a:lnTo>
                  <a:lnTo>
                    <a:pt x="86" y="86"/>
                  </a:lnTo>
                  <a:lnTo>
                    <a:pt x="79" y="93"/>
                  </a:lnTo>
                  <a:lnTo>
                    <a:pt x="73" y="101"/>
                  </a:lnTo>
                  <a:lnTo>
                    <a:pt x="68" y="110"/>
                  </a:lnTo>
                  <a:lnTo>
                    <a:pt x="63" y="119"/>
                  </a:lnTo>
                  <a:lnTo>
                    <a:pt x="60" y="129"/>
                  </a:lnTo>
                  <a:lnTo>
                    <a:pt x="57" y="139"/>
                  </a:lnTo>
                  <a:lnTo>
                    <a:pt x="55" y="151"/>
                  </a:lnTo>
                  <a:lnTo>
                    <a:pt x="54" y="161"/>
                  </a:lnTo>
                  <a:lnTo>
                    <a:pt x="54" y="805"/>
                  </a:lnTo>
                  <a:lnTo>
                    <a:pt x="55" y="817"/>
                  </a:lnTo>
                  <a:lnTo>
                    <a:pt x="57" y="827"/>
                  </a:lnTo>
                  <a:lnTo>
                    <a:pt x="60" y="837"/>
                  </a:lnTo>
                  <a:lnTo>
                    <a:pt x="63" y="847"/>
                  </a:lnTo>
                  <a:lnTo>
                    <a:pt x="68" y="856"/>
                  </a:lnTo>
                  <a:lnTo>
                    <a:pt x="73" y="865"/>
                  </a:lnTo>
                  <a:lnTo>
                    <a:pt x="79" y="874"/>
                  </a:lnTo>
                  <a:lnTo>
                    <a:pt x="86" y="880"/>
                  </a:lnTo>
                  <a:lnTo>
                    <a:pt x="94" y="888"/>
                  </a:lnTo>
                  <a:lnTo>
                    <a:pt x="102" y="894"/>
                  </a:lnTo>
                  <a:lnTo>
                    <a:pt x="110" y="899"/>
                  </a:lnTo>
                  <a:lnTo>
                    <a:pt x="120" y="904"/>
                  </a:lnTo>
                  <a:lnTo>
                    <a:pt x="131" y="907"/>
                  </a:lnTo>
                  <a:lnTo>
                    <a:pt x="141" y="911"/>
                  </a:lnTo>
                  <a:lnTo>
                    <a:pt x="151" y="912"/>
                  </a:lnTo>
                  <a:lnTo>
                    <a:pt x="162" y="912"/>
                  </a:lnTo>
                  <a:lnTo>
                    <a:pt x="910" y="912"/>
                  </a:lnTo>
                  <a:lnTo>
                    <a:pt x="915" y="913"/>
                  </a:lnTo>
                  <a:lnTo>
                    <a:pt x="921" y="915"/>
                  </a:lnTo>
                  <a:lnTo>
                    <a:pt x="926" y="919"/>
                  </a:lnTo>
                  <a:lnTo>
                    <a:pt x="931" y="923"/>
                  </a:lnTo>
                  <a:lnTo>
                    <a:pt x="934" y="929"/>
                  </a:lnTo>
                  <a:lnTo>
                    <a:pt x="935" y="934"/>
                  </a:lnTo>
                  <a:lnTo>
                    <a:pt x="935" y="940"/>
                  </a:lnTo>
                  <a:lnTo>
                    <a:pt x="935" y="947"/>
                  </a:lnTo>
                  <a:lnTo>
                    <a:pt x="880" y="1138"/>
                  </a:lnTo>
                  <a:lnTo>
                    <a:pt x="1174" y="917"/>
                  </a:lnTo>
                  <a:lnTo>
                    <a:pt x="1178" y="915"/>
                  </a:lnTo>
                  <a:lnTo>
                    <a:pt x="1182" y="914"/>
                  </a:lnTo>
                  <a:lnTo>
                    <a:pt x="1185" y="913"/>
                  </a:lnTo>
                  <a:lnTo>
                    <a:pt x="1190" y="912"/>
                  </a:lnTo>
                  <a:lnTo>
                    <a:pt x="1288" y="912"/>
                  </a:lnTo>
                  <a:lnTo>
                    <a:pt x="1300" y="912"/>
                  </a:lnTo>
                  <a:lnTo>
                    <a:pt x="1310" y="910"/>
                  </a:lnTo>
                  <a:lnTo>
                    <a:pt x="1320" y="907"/>
                  </a:lnTo>
                  <a:lnTo>
                    <a:pt x="1330" y="904"/>
                  </a:lnTo>
                  <a:lnTo>
                    <a:pt x="1340" y="899"/>
                  </a:lnTo>
                  <a:lnTo>
                    <a:pt x="1349" y="894"/>
                  </a:lnTo>
                  <a:lnTo>
                    <a:pt x="1357" y="888"/>
                  </a:lnTo>
                  <a:lnTo>
                    <a:pt x="1365" y="880"/>
                  </a:lnTo>
                  <a:lnTo>
                    <a:pt x="1371" y="874"/>
                  </a:lnTo>
                  <a:lnTo>
                    <a:pt x="1377" y="865"/>
                  </a:lnTo>
                  <a:lnTo>
                    <a:pt x="1383" y="856"/>
                  </a:lnTo>
                  <a:lnTo>
                    <a:pt x="1387" y="847"/>
                  </a:lnTo>
                  <a:lnTo>
                    <a:pt x="1391" y="837"/>
                  </a:lnTo>
                  <a:lnTo>
                    <a:pt x="1394" y="827"/>
                  </a:lnTo>
                  <a:lnTo>
                    <a:pt x="1395" y="817"/>
                  </a:lnTo>
                  <a:lnTo>
                    <a:pt x="1396" y="805"/>
                  </a:lnTo>
                  <a:lnTo>
                    <a:pt x="1396" y="161"/>
                  </a:lnTo>
                  <a:lnTo>
                    <a:pt x="1395" y="151"/>
                  </a:lnTo>
                  <a:lnTo>
                    <a:pt x="1394" y="139"/>
                  </a:lnTo>
                  <a:lnTo>
                    <a:pt x="1391" y="129"/>
                  </a:lnTo>
                  <a:lnTo>
                    <a:pt x="1387" y="119"/>
                  </a:lnTo>
                  <a:lnTo>
                    <a:pt x="1383" y="110"/>
                  </a:lnTo>
                  <a:lnTo>
                    <a:pt x="1377" y="101"/>
                  </a:lnTo>
                  <a:lnTo>
                    <a:pt x="1371" y="93"/>
                  </a:lnTo>
                  <a:lnTo>
                    <a:pt x="1365" y="86"/>
                  </a:lnTo>
                  <a:lnTo>
                    <a:pt x="1357" y="79"/>
                  </a:lnTo>
                  <a:lnTo>
                    <a:pt x="1349" y="72"/>
                  </a:lnTo>
                  <a:lnTo>
                    <a:pt x="1340" y="66"/>
                  </a:lnTo>
                  <a:lnTo>
                    <a:pt x="1330" y="62"/>
                  </a:lnTo>
                  <a:lnTo>
                    <a:pt x="1320" y="59"/>
                  </a:lnTo>
                  <a:lnTo>
                    <a:pt x="1310" y="56"/>
                  </a:lnTo>
                  <a:lnTo>
                    <a:pt x="1300" y="54"/>
                  </a:lnTo>
                  <a:lnTo>
                    <a:pt x="1288" y="54"/>
                  </a:lnTo>
                  <a:lnTo>
                    <a:pt x="162" y="54"/>
                  </a:lnTo>
                  <a:close/>
                  <a:moveTo>
                    <a:pt x="832" y="1235"/>
                  </a:moveTo>
                  <a:lnTo>
                    <a:pt x="829" y="1234"/>
                  </a:lnTo>
                  <a:lnTo>
                    <a:pt x="824" y="1234"/>
                  </a:lnTo>
                  <a:lnTo>
                    <a:pt x="821" y="1231"/>
                  </a:lnTo>
                  <a:lnTo>
                    <a:pt x="818" y="1229"/>
                  </a:lnTo>
                  <a:lnTo>
                    <a:pt x="814" y="1227"/>
                  </a:lnTo>
                  <a:lnTo>
                    <a:pt x="811" y="1224"/>
                  </a:lnTo>
                  <a:lnTo>
                    <a:pt x="809" y="1220"/>
                  </a:lnTo>
                  <a:lnTo>
                    <a:pt x="808" y="1217"/>
                  </a:lnTo>
                  <a:lnTo>
                    <a:pt x="806" y="1212"/>
                  </a:lnTo>
                  <a:lnTo>
                    <a:pt x="805" y="1209"/>
                  </a:lnTo>
                  <a:lnTo>
                    <a:pt x="805" y="1204"/>
                  </a:lnTo>
                  <a:lnTo>
                    <a:pt x="806" y="1200"/>
                  </a:lnTo>
                  <a:lnTo>
                    <a:pt x="874" y="966"/>
                  </a:lnTo>
                  <a:lnTo>
                    <a:pt x="162" y="966"/>
                  </a:lnTo>
                  <a:lnTo>
                    <a:pt x="145" y="966"/>
                  </a:lnTo>
                  <a:lnTo>
                    <a:pt x="129" y="962"/>
                  </a:lnTo>
                  <a:lnTo>
                    <a:pt x="114" y="959"/>
                  </a:lnTo>
                  <a:lnTo>
                    <a:pt x="99" y="953"/>
                  </a:lnTo>
                  <a:lnTo>
                    <a:pt x="86" y="947"/>
                  </a:lnTo>
                  <a:lnTo>
                    <a:pt x="72" y="939"/>
                  </a:lnTo>
                  <a:lnTo>
                    <a:pt x="60" y="929"/>
                  </a:lnTo>
                  <a:lnTo>
                    <a:pt x="49" y="919"/>
                  </a:lnTo>
                  <a:lnTo>
                    <a:pt x="37" y="907"/>
                  </a:lnTo>
                  <a:lnTo>
                    <a:pt x="28" y="895"/>
                  </a:lnTo>
                  <a:lnTo>
                    <a:pt x="21" y="882"/>
                  </a:lnTo>
                  <a:lnTo>
                    <a:pt x="14" y="868"/>
                  </a:lnTo>
                  <a:lnTo>
                    <a:pt x="8" y="852"/>
                  </a:lnTo>
                  <a:lnTo>
                    <a:pt x="4" y="838"/>
                  </a:lnTo>
                  <a:lnTo>
                    <a:pt x="2" y="821"/>
                  </a:lnTo>
                  <a:lnTo>
                    <a:pt x="0" y="805"/>
                  </a:lnTo>
                  <a:lnTo>
                    <a:pt x="0" y="161"/>
                  </a:lnTo>
                  <a:lnTo>
                    <a:pt x="2" y="145"/>
                  </a:lnTo>
                  <a:lnTo>
                    <a:pt x="4" y="129"/>
                  </a:lnTo>
                  <a:lnTo>
                    <a:pt x="8" y="114"/>
                  </a:lnTo>
                  <a:lnTo>
                    <a:pt x="14" y="99"/>
                  </a:lnTo>
                  <a:lnTo>
                    <a:pt x="21" y="84"/>
                  </a:lnTo>
                  <a:lnTo>
                    <a:pt x="28" y="71"/>
                  </a:lnTo>
                  <a:lnTo>
                    <a:pt x="37" y="59"/>
                  </a:lnTo>
                  <a:lnTo>
                    <a:pt x="49" y="47"/>
                  </a:lnTo>
                  <a:lnTo>
                    <a:pt x="60" y="37"/>
                  </a:lnTo>
                  <a:lnTo>
                    <a:pt x="72" y="27"/>
                  </a:lnTo>
                  <a:lnTo>
                    <a:pt x="86" y="19"/>
                  </a:lnTo>
                  <a:lnTo>
                    <a:pt x="99" y="13"/>
                  </a:lnTo>
                  <a:lnTo>
                    <a:pt x="114" y="7"/>
                  </a:lnTo>
                  <a:lnTo>
                    <a:pt x="129" y="4"/>
                  </a:lnTo>
                  <a:lnTo>
                    <a:pt x="145" y="1"/>
                  </a:lnTo>
                  <a:lnTo>
                    <a:pt x="162" y="0"/>
                  </a:lnTo>
                  <a:lnTo>
                    <a:pt x="1288" y="0"/>
                  </a:lnTo>
                  <a:lnTo>
                    <a:pt x="1305" y="1"/>
                  </a:lnTo>
                  <a:lnTo>
                    <a:pt x="1321" y="4"/>
                  </a:lnTo>
                  <a:lnTo>
                    <a:pt x="1337" y="7"/>
                  </a:lnTo>
                  <a:lnTo>
                    <a:pt x="1351" y="13"/>
                  </a:lnTo>
                  <a:lnTo>
                    <a:pt x="1365" y="19"/>
                  </a:lnTo>
                  <a:lnTo>
                    <a:pt x="1378" y="27"/>
                  </a:lnTo>
                  <a:lnTo>
                    <a:pt x="1391" y="37"/>
                  </a:lnTo>
                  <a:lnTo>
                    <a:pt x="1402" y="47"/>
                  </a:lnTo>
                  <a:lnTo>
                    <a:pt x="1413" y="59"/>
                  </a:lnTo>
                  <a:lnTo>
                    <a:pt x="1422" y="71"/>
                  </a:lnTo>
                  <a:lnTo>
                    <a:pt x="1430" y="84"/>
                  </a:lnTo>
                  <a:lnTo>
                    <a:pt x="1436" y="99"/>
                  </a:lnTo>
                  <a:lnTo>
                    <a:pt x="1442" y="114"/>
                  </a:lnTo>
                  <a:lnTo>
                    <a:pt x="1447" y="129"/>
                  </a:lnTo>
                  <a:lnTo>
                    <a:pt x="1449" y="145"/>
                  </a:lnTo>
                  <a:lnTo>
                    <a:pt x="1450" y="161"/>
                  </a:lnTo>
                  <a:lnTo>
                    <a:pt x="1450" y="805"/>
                  </a:lnTo>
                  <a:lnTo>
                    <a:pt x="1449" y="821"/>
                  </a:lnTo>
                  <a:lnTo>
                    <a:pt x="1447" y="838"/>
                  </a:lnTo>
                  <a:lnTo>
                    <a:pt x="1442" y="852"/>
                  </a:lnTo>
                  <a:lnTo>
                    <a:pt x="1436" y="868"/>
                  </a:lnTo>
                  <a:lnTo>
                    <a:pt x="1430" y="882"/>
                  </a:lnTo>
                  <a:lnTo>
                    <a:pt x="1422" y="895"/>
                  </a:lnTo>
                  <a:lnTo>
                    <a:pt x="1413" y="907"/>
                  </a:lnTo>
                  <a:lnTo>
                    <a:pt x="1402" y="919"/>
                  </a:lnTo>
                  <a:lnTo>
                    <a:pt x="1391" y="929"/>
                  </a:lnTo>
                  <a:lnTo>
                    <a:pt x="1378" y="939"/>
                  </a:lnTo>
                  <a:lnTo>
                    <a:pt x="1365" y="947"/>
                  </a:lnTo>
                  <a:lnTo>
                    <a:pt x="1351" y="953"/>
                  </a:lnTo>
                  <a:lnTo>
                    <a:pt x="1337" y="959"/>
                  </a:lnTo>
                  <a:lnTo>
                    <a:pt x="1321" y="962"/>
                  </a:lnTo>
                  <a:lnTo>
                    <a:pt x="1305" y="966"/>
                  </a:lnTo>
                  <a:lnTo>
                    <a:pt x="1288" y="966"/>
                  </a:lnTo>
                  <a:lnTo>
                    <a:pt x="1199" y="966"/>
                  </a:lnTo>
                  <a:lnTo>
                    <a:pt x="849" y="1229"/>
                  </a:lnTo>
                  <a:lnTo>
                    <a:pt x="845" y="1231"/>
                  </a:lnTo>
                  <a:lnTo>
                    <a:pt x="841" y="1232"/>
                  </a:lnTo>
                  <a:lnTo>
                    <a:pt x="837" y="1234"/>
                  </a:lnTo>
                  <a:lnTo>
                    <a:pt x="832" y="1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20">
              <a:extLst>
                <a:ext uri="{FF2B5EF4-FFF2-40B4-BE49-F238E27FC236}">
                  <a16:creationId xmlns:a16="http://schemas.microsoft.com/office/drawing/2014/main" id="{272A0230-7BB5-4B78-9118-87A8A3E6CB6B}"/>
                </a:ext>
              </a:extLst>
            </p:cNvPr>
            <p:cNvSpPr>
              <a:spLocks noEditPoints="1"/>
            </p:cNvSpPr>
            <p:nvPr/>
          </p:nvSpPr>
          <p:spPr bwMode="auto">
            <a:xfrm>
              <a:off x="5561013" y="3286125"/>
              <a:ext cx="63500" cy="63500"/>
            </a:xfrm>
            <a:custGeom>
              <a:avLst/>
              <a:gdLst>
                <a:gd name="T0" fmla="*/ 75 w 161"/>
                <a:gd name="T1" fmla="*/ 54 h 160"/>
                <a:gd name="T2" fmla="*/ 65 w 161"/>
                <a:gd name="T3" fmla="*/ 58 h 160"/>
                <a:gd name="T4" fmla="*/ 59 w 161"/>
                <a:gd name="T5" fmla="*/ 65 h 160"/>
                <a:gd name="T6" fmla="*/ 54 w 161"/>
                <a:gd name="T7" fmla="*/ 75 h 160"/>
                <a:gd name="T8" fmla="*/ 54 w 161"/>
                <a:gd name="T9" fmla="*/ 85 h 160"/>
                <a:gd name="T10" fmla="*/ 59 w 161"/>
                <a:gd name="T11" fmla="*/ 95 h 160"/>
                <a:gd name="T12" fmla="*/ 65 w 161"/>
                <a:gd name="T13" fmla="*/ 102 h 160"/>
                <a:gd name="T14" fmla="*/ 75 w 161"/>
                <a:gd name="T15" fmla="*/ 106 h 160"/>
                <a:gd name="T16" fmla="*/ 86 w 161"/>
                <a:gd name="T17" fmla="*/ 106 h 160"/>
                <a:gd name="T18" fmla="*/ 96 w 161"/>
                <a:gd name="T19" fmla="*/ 102 h 160"/>
                <a:gd name="T20" fmla="*/ 102 w 161"/>
                <a:gd name="T21" fmla="*/ 95 h 160"/>
                <a:gd name="T22" fmla="*/ 107 w 161"/>
                <a:gd name="T23" fmla="*/ 85 h 160"/>
                <a:gd name="T24" fmla="*/ 107 w 161"/>
                <a:gd name="T25" fmla="*/ 75 h 160"/>
                <a:gd name="T26" fmla="*/ 102 w 161"/>
                <a:gd name="T27" fmla="*/ 65 h 160"/>
                <a:gd name="T28" fmla="*/ 96 w 161"/>
                <a:gd name="T29" fmla="*/ 58 h 160"/>
                <a:gd name="T30" fmla="*/ 86 w 161"/>
                <a:gd name="T31" fmla="*/ 54 h 160"/>
                <a:gd name="T32" fmla="*/ 80 w 161"/>
                <a:gd name="T33" fmla="*/ 160 h 160"/>
                <a:gd name="T34" fmla="*/ 64 w 161"/>
                <a:gd name="T35" fmla="*/ 159 h 160"/>
                <a:gd name="T36" fmla="*/ 49 w 161"/>
                <a:gd name="T37" fmla="*/ 154 h 160"/>
                <a:gd name="T38" fmla="*/ 35 w 161"/>
                <a:gd name="T39" fmla="*/ 147 h 160"/>
                <a:gd name="T40" fmla="*/ 24 w 161"/>
                <a:gd name="T41" fmla="*/ 136 h 160"/>
                <a:gd name="T42" fmla="*/ 14 w 161"/>
                <a:gd name="T43" fmla="*/ 125 h 160"/>
                <a:gd name="T44" fmla="*/ 6 w 161"/>
                <a:gd name="T45" fmla="*/ 111 h 160"/>
                <a:gd name="T46" fmla="*/ 1 w 161"/>
                <a:gd name="T47" fmla="*/ 96 h 160"/>
                <a:gd name="T48" fmla="*/ 0 w 161"/>
                <a:gd name="T49" fmla="*/ 80 h 160"/>
                <a:gd name="T50" fmla="*/ 1 w 161"/>
                <a:gd name="T51" fmla="*/ 64 h 160"/>
                <a:gd name="T52" fmla="*/ 6 w 161"/>
                <a:gd name="T53" fmla="*/ 49 h 160"/>
                <a:gd name="T54" fmla="*/ 14 w 161"/>
                <a:gd name="T55" fmla="*/ 34 h 160"/>
                <a:gd name="T56" fmla="*/ 24 w 161"/>
                <a:gd name="T57" fmla="*/ 23 h 160"/>
                <a:gd name="T58" fmla="*/ 35 w 161"/>
                <a:gd name="T59" fmla="*/ 13 h 160"/>
                <a:gd name="T60" fmla="*/ 49 w 161"/>
                <a:gd name="T61" fmla="*/ 5 h 160"/>
                <a:gd name="T62" fmla="*/ 64 w 161"/>
                <a:gd name="T63" fmla="*/ 1 h 160"/>
                <a:gd name="T64" fmla="*/ 80 w 161"/>
                <a:gd name="T65" fmla="*/ 0 h 160"/>
                <a:gd name="T66" fmla="*/ 97 w 161"/>
                <a:gd name="T67" fmla="*/ 1 h 160"/>
                <a:gd name="T68" fmla="*/ 111 w 161"/>
                <a:gd name="T69" fmla="*/ 5 h 160"/>
                <a:gd name="T70" fmla="*/ 125 w 161"/>
                <a:gd name="T71" fmla="*/ 13 h 160"/>
                <a:gd name="T72" fmla="*/ 137 w 161"/>
                <a:gd name="T73" fmla="*/ 23 h 160"/>
                <a:gd name="T74" fmla="*/ 147 w 161"/>
                <a:gd name="T75" fmla="*/ 34 h 160"/>
                <a:gd name="T76" fmla="*/ 155 w 161"/>
                <a:gd name="T77" fmla="*/ 49 h 160"/>
                <a:gd name="T78" fmla="*/ 159 w 161"/>
                <a:gd name="T79" fmla="*/ 64 h 160"/>
                <a:gd name="T80" fmla="*/ 161 w 161"/>
                <a:gd name="T81" fmla="*/ 80 h 160"/>
                <a:gd name="T82" fmla="*/ 159 w 161"/>
                <a:gd name="T83" fmla="*/ 96 h 160"/>
                <a:gd name="T84" fmla="*/ 155 w 161"/>
                <a:gd name="T85" fmla="*/ 111 h 160"/>
                <a:gd name="T86" fmla="*/ 147 w 161"/>
                <a:gd name="T87" fmla="*/ 125 h 160"/>
                <a:gd name="T88" fmla="*/ 137 w 161"/>
                <a:gd name="T89" fmla="*/ 136 h 160"/>
                <a:gd name="T90" fmla="*/ 125 w 161"/>
                <a:gd name="T91" fmla="*/ 147 h 160"/>
                <a:gd name="T92" fmla="*/ 111 w 161"/>
                <a:gd name="T93" fmla="*/ 154 h 160"/>
                <a:gd name="T94" fmla="*/ 97 w 161"/>
                <a:gd name="T95" fmla="*/ 159 h 160"/>
                <a:gd name="T96" fmla="*/ 80 w 161"/>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60">
                  <a:moveTo>
                    <a:pt x="80" y="54"/>
                  </a:moveTo>
                  <a:lnTo>
                    <a:pt x="75" y="54"/>
                  </a:lnTo>
                  <a:lnTo>
                    <a:pt x="70" y="55"/>
                  </a:lnTo>
                  <a:lnTo>
                    <a:pt x="65" y="58"/>
                  </a:lnTo>
                  <a:lnTo>
                    <a:pt x="61" y="61"/>
                  </a:lnTo>
                  <a:lnTo>
                    <a:pt x="59" y="65"/>
                  </a:lnTo>
                  <a:lnTo>
                    <a:pt x="55" y="69"/>
                  </a:lnTo>
                  <a:lnTo>
                    <a:pt x="54" y="75"/>
                  </a:lnTo>
                  <a:lnTo>
                    <a:pt x="53" y="80"/>
                  </a:lnTo>
                  <a:lnTo>
                    <a:pt x="54" y="85"/>
                  </a:lnTo>
                  <a:lnTo>
                    <a:pt x="55" y="91"/>
                  </a:lnTo>
                  <a:lnTo>
                    <a:pt x="59" y="95"/>
                  </a:lnTo>
                  <a:lnTo>
                    <a:pt x="61" y="98"/>
                  </a:lnTo>
                  <a:lnTo>
                    <a:pt x="65" y="102"/>
                  </a:lnTo>
                  <a:lnTo>
                    <a:pt x="70" y="105"/>
                  </a:lnTo>
                  <a:lnTo>
                    <a:pt x="75" y="106"/>
                  </a:lnTo>
                  <a:lnTo>
                    <a:pt x="80" y="106"/>
                  </a:lnTo>
                  <a:lnTo>
                    <a:pt x="86" y="106"/>
                  </a:lnTo>
                  <a:lnTo>
                    <a:pt x="91" y="105"/>
                  </a:lnTo>
                  <a:lnTo>
                    <a:pt x="96" y="102"/>
                  </a:lnTo>
                  <a:lnTo>
                    <a:pt x="99" y="98"/>
                  </a:lnTo>
                  <a:lnTo>
                    <a:pt x="102" y="95"/>
                  </a:lnTo>
                  <a:lnTo>
                    <a:pt x="105" y="91"/>
                  </a:lnTo>
                  <a:lnTo>
                    <a:pt x="107" y="85"/>
                  </a:lnTo>
                  <a:lnTo>
                    <a:pt x="107" y="80"/>
                  </a:lnTo>
                  <a:lnTo>
                    <a:pt x="107" y="75"/>
                  </a:lnTo>
                  <a:lnTo>
                    <a:pt x="105" y="69"/>
                  </a:lnTo>
                  <a:lnTo>
                    <a:pt x="102" y="65"/>
                  </a:lnTo>
                  <a:lnTo>
                    <a:pt x="99" y="61"/>
                  </a:lnTo>
                  <a:lnTo>
                    <a:pt x="96" y="58"/>
                  </a:lnTo>
                  <a:lnTo>
                    <a:pt x="91" y="55"/>
                  </a:lnTo>
                  <a:lnTo>
                    <a:pt x="86" y="54"/>
                  </a:lnTo>
                  <a:lnTo>
                    <a:pt x="80" y="54"/>
                  </a:lnTo>
                  <a:close/>
                  <a:moveTo>
                    <a:pt x="80" y="160"/>
                  </a:moveTo>
                  <a:lnTo>
                    <a:pt x="72" y="160"/>
                  </a:lnTo>
                  <a:lnTo>
                    <a:pt x="64" y="159"/>
                  </a:lnTo>
                  <a:lnTo>
                    <a:pt x="56" y="157"/>
                  </a:lnTo>
                  <a:lnTo>
                    <a:pt x="49" y="154"/>
                  </a:lnTo>
                  <a:lnTo>
                    <a:pt x="42" y="151"/>
                  </a:lnTo>
                  <a:lnTo>
                    <a:pt x="35" y="147"/>
                  </a:lnTo>
                  <a:lnTo>
                    <a:pt x="29" y="142"/>
                  </a:lnTo>
                  <a:lnTo>
                    <a:pt x="24" y="136"/>
                  </a:lnTo>
                  <a:lnTo>
                    <a:pt x="18" y="131"/>
                  </a:lnTo>
                  <a:lnTo>
                    <a:pt x="14" y="125"/>
                  </a:lnTo>
                  <a:lnTo>
                    <a:pt x="9" y="119"/>
                  </a:lnTo>
                  <a:lnTo>
                    <a:pt x="6" y="111"/>
                  </a:lnTo>
                  <a:lnTo>
                    <a:pt x="4" y="104"/>
                  </a:lnTo>
                  <a:lnTo>
                    <a:pt x="1" y="96"/>
                  </a:lnTo>
                  <a:lnTo>
                    <a:pt x="0" y="88"/>
                  </a:lnTo>
                  <a:lnTo>
                    <a:pt x="0" y="80"/>
                  </a:lnTo>
                  <a:lnTo>
                    <a:pt x="0" y="71"/>
                  </a:lnTo>
                  <a:lnTo>
                    <a:pt x="1" y="64"/>
                  </a:lnTo>
                  <a:lnTo>
                    <a:pt x="4" y="56"/>
                  </a:lnTo>
                  <a:lnTo>
                    <a:pt x="6" y="49"/>
                  </a:lnTo>
                  <a:lnTo>
                    <a:pt x="9" y="41"/>
                  </a:lnTo>
                  <a:lnTo>
                    <a:pt x="14" y="34"/>
                  </a:lnTo>
                  <a:lnTo>
                    <a:pt x="18" y="29"/>
                  </a:lnTo>
                  <a:lnTo>
                    <a:pt x="24" y="23"/>
                  </a:lnTo>
                  <a:lnTo>
                    <a:pt x="29" y="18"/>
                  </a:lnTo>
                  <a:lnTo>
                    <a:pt x="35" y="13"/>
                  </a:lnTo>
                  <a:lnTo>
                    <a:pt x="42" y="9"/>
                  </a:lnTo>
                  <a:lnTo>
                    <a:pt x="49" y="5"/>
                  </a:lnTo>
                  <a:lnTo>
                    <a:pt x="56" y="3"/>
                  </a:lnTo>
                  <a:lnTo>
                    <a:pt x="64" y="1"/>
                  </a:lnTo>
                  <a:lnTo>
                    <a:pt x="72" y="0"/>
                  </a:lnTo>
                  <a:lnTo>
                    <a:pt x="80" y="0"/>
                  </a:lnTo>
                  <a:lnTo>
                    <a:pt x="89" y="0"/>
                  </a:lnTo>
                  <a:lnTo>
                    <a:pt x="97" y="1"/>
                  </a:lnTo>
                  <a:lnTo>
                    <a:pt x="105" y="3"/>
                  </a:lnTo>
                  <a:lnTo>
                    <a:pt x="111" y="5"/>
                  </a:lnTo>
                  <a:lnTo>
                    <a:pt x="119" y="9"/>
                  </a:lnTo>
                  <a:lnTo>
                    <a:pt x="125" y="13"/>
                  </a:lnTo>
                  <a:lnTo>
                    <a:pt x="131" y="18"/>
                  </a:lnTo>
                  <a:lnTo>
                    <a:pt x="137" y="23"/>
                  </a:lnTo>
                  <a:lnTo>
                    <a:pt x="143" y="29"/>
                  </a:lnTo>
                  <a:lnTo>
                    <a:pt x="147" y="34"/>
                  </a:lnTo>
                  <a:lnTo>
                    <a:pt x="151" y="41"/>
                  </a:lnTo>
                  <a:lnTo>
                    <a:pt x="155" y="49"/>
                  </a:lnTo>
                  <a:lnTo>
                    <a:pt x="157" y="56"/>
                  </a:lnTo>
                  <a:lnTo>
                    <a:pt x="159" y="64"/>
                  </a:lnTo>
                  <a:lnTo>
                    <a:pt x="161" y="71"/>
                  </a:lnTo>
                  <a:lnTo>
                    <a:pt x="161" y="80"/>
                  </a:lnTo>
                  <a:lnTo>
                    <a:pt x="161" y="88"/>
                  </a:lnTo>
                  <a:lnTo>
                    <a:pt x="159" y="96"/>
                  </a:lnTo>
                  <a:lnTo>
                    <a:pt x="157" y="104"/>
                  </a:lnTo>
                  <a:lnTo>
                    <a:pt x="155" y="111"/>
                  </a:lnTo>
                  <a:lnTo>
                    <a:pt x="151" y="119"/>
                  </a:lnTo>
                  <a:lnTo>
                    <a:pt x="147" y="125"/>
                  </a:lnTo>
                  <a:lnTo>
                    <a:pt x="143" y="131"/>
                  </a:lnTo>
                  <a:lnTo>
                    <a:pt x="137" y="136"/>
                  </a:lnTo>
                  <a:lnTo>
                    <a:pt x="131" y="142"/>
                  </a:lnTo>
                  <a:lnTo>
                    <a:pt x="125" y="147"/>
                  </a:lnTo>
                  <a:lnTo>
                    <a:pt x="119" y="151"/>
                  </a:lnTo>
                  <a:lnTo>
                    <a:pt x="111" y="154"/>
                  </a:lnTo>
                  <a:lnTo>
                    <a:pt x="105" y="157"/>
                  </a:lnTo>
                  <a:lnTo>
                    <a:pt x="97" y="159"/>
                  </a:lnTo>
                  <a:lnTo>
                    <a:pt x="89" y="160"/>
                  </a:lnTo>
                  <a:lnTo>
                    <a:pt x="8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21">
              <a:extLst>
                <a:ext uri="{FF2B5EF4-FFF2-40B4-BE49-F238E27FC236}">
                  <a16:creationId xmlns:a16="http://schemas.microsoft.com/office/drawing/2014/main" id="{412AC8ED-FD0C-4CE8-B43B-80C60CAD9D70}"/>
                </a:ext>
              </a:extLst>
            </p:cNvPr>
            <p:cNvSpPr>
              <a:spLocks noEditPoints="1"/>
            </p:cNvSpPr>
            <p:nvPr/>
          </p:nvSpPr>
          <p:spPr bwMode="auto">
            <a:xfrm>
              <a:off x="5688013" y="3286125"/>
              <a:ext cx="63500" cy="63500"/>
            </a:xfrm>
            <a:custGeom>
              <a:avLst/>
              <a:gdLst>
                <a:gd name="T0" fmla="*/ 75 w 160"/>
                <a:gd name="T1" fmla="*/ 54 h 160"/>
                <a:gd name="T2" fmla="*/ 65 w 160"/>
                <a:gd name="T3" fmla="*/ 58 h 160"/>
                <a:gd name="T4" fmla="*/ 58 w 160"/>
                <a:gd name="T5" fmla="*/ 65 h 160"/>
                <a:gd name="T6" fmla="*/ 54 w 160"/>
                <a:gd name="T7" fmla="*/ 75 h 160"/>
                <a:gd name="T8" fmla="*/ 54 w 160"/>
                <a:gd name="T9" fmla="*/ 85 h 160"/>
                <a:gd name="T10" fmla="*/ 58 w 160"/>
                <a:gd name="T11" fmla="*/ 95 h 160"/>
                <a:gd name="T12" fmla="*/ 65 w 160"/>
                <a:gd name="T13" fmla="*/ 102 h 160"/>
                <a:gd name="T14" fmla="*/ 75 w 160"/>
                <a:gd name="T15" fmla="*/ 106 h 160"/>
                <a:gd name="T16" fmla="*/ 85 w 160"/>
                <a:gd name="T17" fmla="*/ 106 h 160"/>
                <a:gd name="T18" fmla="*/ 95 w 160"/>
                <a:gd name="T19" fmla="*/ 102 h 160"/>
                <a:gd name="T20" fmla="*/ 102 w 160"/>
                <a:gd name="T21" fmla="*/ 95 h 160"/>
                <a:gd name="T22" fmla="*/ 107 w 160"/>
                <a:gd name="T23" fmla="*/ 85 h 160"/>
                <a:gd name="T24" fmla="*/ 107 w 160"/>
                <a:gd name="T25" fmla="*/ 75 h 160"/>
                <a:gd name="T26" fmla="*/ 102 w 160"/>
                <a:gd name="T27" fmla="*/ 65 h 160"/>
                <a:gd name="T28" fmla="*/ 95 w 160"/>
                <a:gd name="T29" fmla="*/ 58 h 160"/>
                <a:gd name="T30" fmla="*/ 85 w 160"/>
                <a:gd name="T31" fmla="*/ 54 h 160"/>
                <a:gd name="T32" fmla="*/ 81 w 160"/>
                <a:gd name="T33" fmla="*/ 160 h 160"/>
                <a:gd name="T34" fmla="*/ 64 w 160"/>
                <a:gd name="T35" fmla="*/ 159 h 160"/>
                <a:gd name="T36" fmla="*/ 49 w 160"/>
                <a:gd name="T37" fmla="*/ 154 h 160"/>
                <a:gd name="T38" fmla="*/ 35 w 160"/>
                <a:gd name="T39" fmla="*/ 147 h 160"/>
                <a:gd name="T40" fmla="*/ 24 w 160"/>
                <a:gd name="T41" fmla="*/ 136 h 160"/>
                <a:gd name="T42" fmla="*/ 13 w 160"/>
                <a:gd name="T43" fmla="*/ 125 h 160"/>
                <a:gd name="T44" fmla="*/ 6 w 160"/>
                <a:gd name="T45" fmla="*/ 111 h 160"/>
                <a:gd name="T46" fmla="*/ 1 w 160"/>
                <a:gd name="T47" fmla="*/ 96 h 160"/>
                <a:gd name="T48" fmla="*/ 0 w 160"/>
                <a:gd name="T49" fmla="*/ 80 h 160"/>
                <a:gd name="T50" fmla="*/ 1 w 160"/>
                <a:gd name="T51" fmla="*/ 64 h 160"/>
                <a:gd name="T52" fmla="*/ 6 w 160"/>
                <a:gd name="T53" fmla="*/ 49 h 160"/>
                <a:gd name="T54" fmla="*/ 13 w 160"/>
                <a:gd name="T55" fmla="*/ 34 h 160"/>
                <a:gd name="T56" fmla="*/ 24 w 160"/>
                <a:gd name="T57" fmla="*/ 23 h 160"/>
                <a:gd name="T58" fmla="*/ 35 w 160"/>
                <a:gd name="T59" fmla="*/ 13 h 160"/>
                <a:gd name="T60" fmla="*/ 49 w 160"/>
                <a:gd name="T61" fmla="*/ 5 h 160"/>
                <a:gd name="T62" fmla="*/ 64 w 160"/>
                <a:gd name="T63" fmla="*/ 1 h 160"/>
                <a:gd name="T64" fmla="*/ 81 w 160"/>
                <a:gd name="T65" fmla="*/ 0 h 160"/>
                <a:gd name="T66" fmla="*/ 96 w 160"/>
                <a:gd name="T67" fmla="*/ 1 h 160"/>
                <a:gd name="T68" fmla="*/ 111 w 160"/>
                <a:gd name="T69" fmla="*/ 5 h 160"/>
                <a:gd name="T70" fmla="*/ 126 w 160"/>
                <a:gd name="T71" fmla="*/ 13 h 160"/>
                <a:gd name="T72" fmla="*/ 137 w 160"/>
                <a:gd name="T73" fmla="*/ 23 h 160"/>
                <a:gd name="T74" fmla="*/ 147 w 160"/>
                <a:gd name="T75" fmla="*/ 34 h 160"/>
                <a:gd name="T76" fmla="*/ 155 w 160"/>
                <a:gd name="T77" fmla="*/ 49 h 160"/>
                <a:gd name="T78" fmla="*/ 159 w 160"/>
                <a:gd name="T79" fmla="*/ 64 h 160"/>
                <a:gd name="T80" fmla="*/ 160 w 160"/>
                <a:gd name="T81" fmla="*/ 80 h 160"/>
                <a:gd name="T82" fmla="*/ 159 w 160"/>
                <a:gd name="T83" fmla="*/ 96 h 160"/>
                <a:gd name="T84" fmla="*/ 155 w 160"/>
                <a:gd name="T85" fmla="*/ 111 h 160"/>
                <a:gd name="T86" fmla="*/ 147 w 160"/>
                <a:gd name="T87" fmla="*/ 125 h 160"/>
                <a:gd name="T88" fmla="*/ 137 w 160"/>
                <a:gd name="T89" fmla="*/ 136 h 160"/>
                <a:gd name="T90" fmla="*/ 126 w 160"/>
                <a:gd name="T91" fmla="*/ 147 h 160"/>
                <a:gd name="T92" fmla="*/ 111 w 160"/>
                <a:gd name="T93" fmla="*/ 154 h 160"/>
                <a:gd name="T94" fmla="*/ 96 w 160"/>
                <a:gd name="T95" fmla="*/ 159 h 160"/>
                <a:gd name="T96" fmla="*/ 81 w 160"/>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81" y="54"/>
                  </a:moveTo>
                  <a:lnTo>
                    <a:pt x="75" y="54"/>
                  </a:lnTo>
                  <a:lnTo>
                    <a:pt x="70" y="55"/>
                  </a:lnTo>
                  <a:lnTo>
                    <a:pt x="65" y="58"/>
                  </a:lnTo>
                  <a:lnTo>
                    <a:pt x="62" y="61"/>
                  </a:lnTo>
                  <a:lnTo>
                    <a:pt x="58" y="65"/>
                  </a:lnTo>
                  <a:lnTo>
                    <a:pt x="55" y="69"/>
                  </a:lnTo>
                  <a:lnTo>
                    <a:pt x="54" y="75"/>
                  </a:lnTo>
                  <a:lnTo>
                    <a:pt x="54" y="80"/>
                  </a:lnTo>
                  <a:lnTo>
                    <a:pt x="54" y="85"/>
                  </a:lnTo>
                  <a:lnTo>
                    <a:pt x="55" y="91"/>
                  </a:lnTo>
                  <a:lnTo>
                    <a:pt x="58" y="95"/>
                  </a:lnTo>
                  <a:lnTo>
                    <a:pt x="62" y="98"/>
                  </a:lnTo>
                  <a:lnTo>
                    <a:pt x="65" y="102"/>
                  </a:lnTo>
                  <a:lnTo>
                    <a:pt x="70" y="105"/>
                  </a:lnTo>
                  <a:lnTo>
                    <a:pt x="75" y="106"/>
                  </a:lnTo>
                  <a:lnTo>
                    <a:pt x="81" y="106"/>
                  </a:lnTo>
                  <a:lnTo>
                    <a:pt x="85" y="106"/>
                  </a:lnTo>
                  <a:lnTo>
                    <a:pt x="91" y="105"/>
                  </a:lnTo>
                  <a:lnTo>
                    <a:pt x="95" y="102"/>
                  </a:lnTo>
                  <a:lnTo>
                    <a:pt x="99" y="98"/>
                  </a:lnTo>
                  <a:lnTo>
                    <a:pt x="102" y="95"/>
                  </a:lnTo>
                  <a:lnTo>
                    <a:pt x="105" y="91"/>
                  </a:lnTo>
                  <a:lnTo>
                    <a:pt x="107" y="85"/>
                  </a:lnTo>
                  <a:lnTo>
                    <a:pt x="107" y="80"/>
                  </a:lnTo>
                  <a:lnTo>
                    <a:pt x="107" y="75"/>
                  </a:lnTo>
                  <a:lnTo>
                    <a:pt x="105" y="69"/>
                  </a:lnTo>
                  <a:lnTo>
                    <a:pt x="102" y="65"/>
                  </a:lnTo>
                  <a:lnTo>
                    <a:pt x="99" y="61"/>
                  </a:lnTo>
                  <a:lnTo>
                    <a:pt x="95" y="58"/>
                  </a:lnTo>
                  <a:lnTo>
                    <a:pt x="91" y="55"/>
                  </a:lnTo>
                  <a:lnTo>
                    <a:pt x="85" y="54"/>
                  </a:lnTo>
                  <a:lnTo>
                    <a:pt x="81" y="54"/>
                  </a:lnTo>
                  <a:close/>
                  <a:moveTo>
                    <a:pt x="81" y="160"/>
                  </a:moveTo>
                  <a:lnTo>
                    <a:pt x="72" y="160"/>
                  </a:lnTo>
                  <a:lnTo>
                    <a:pt x="64" y="159"/>
                  </a:lnTo>
                  <a:lnTo>
                    <a:pt x="56" y="157"/>
                  </a:lnTo>
                  <a:lnTo>
                    <a:pt x="49" y="154"/>
                  </a:lnTo>
                  <a:lnTo>
                    <a:pt x="42" y="151"/>
                  </a:lnTo>
                  <a:lnTo>
                    <a:pt x="35" y="147"/>
                  </a:lnTo>
                  <a:lnTo>
                    <a:pt x="29" y="142"/>
                  </a:lnTo>
                  <a:lnTo>
                    <a:pt x="24" y="136"/>
                  </a:lnTo>
                  <a:lnTo>
                    <a:pt x="18" y="131"/>
                  </a:lnTo>
                  <a:lnTo>
                    <a:pt x="13" y="125"/>
                  </a:lnTo>
                  <a:lnTo>
                    <a:pt x="9" y="119"/>
                  </a:lnTo>
                  <a:lnTo>
                    <a:pt x="6" y="111"/>
                  </a:lnTo>
                  <a:lnTo>
                    <a:pt x="3" y="104"/>
                  </a:lnTo>
                  <a:lnTo>
                    <a:pt x="1" y="96"/>
                  </a:lnTo>
                  <a:lnTo>
                    <a:pt x="0" y="88"/>
                  </a:lnTo>
                  <a:lnTo>
                    <a:pt x="0" y="80"/>
                  </a:lnTo>
                  <a:lnTo>
                    <a:pt x="0" y="71"/>
                  </a:lnTo>
                  <a:lnTo>
                    <a:pt x="1" y="64"/>
                  </a:lnTo>
                  <a:lnTo>
                    <a:pt x="3" y="56"/>
                  </a:lnTo>
                  <a:lnTo>
                    <a:pt x="6" y="49"/>
                  </a:lnTo>
                  <a:lnTo>
                    <a:pt x="9" y="41"/>
                  </a:lnTo>
                  <a:lnTo>
                    <a:pt x="13" y="34"/>
                  </a:lnTo>
                  <a:lnTo>
                    <a:pt x="18" y="29"/>
                  </a:lnTo>
                  <a:lnTo>
                    <a:pt x="24" y="23"/>
                  </a:lnTo>
                  <a:lnTo>
                    <a:pt x="29" y="18"/>
                  </a:lnTo>
                  <a:lnTo>
                    <a:pt x="35" y="13"/>
                  </a:lnTo>
                  <a:lnTo>
                    <a:pt x="42" y="9"/>
                  </a:lnTo>
                  <a:lnTo>
                    <a:pt x="49" y="5"/>
                  </a:lnTo>
                  <a:lnTo>
                    <a:pt x="56" y="3"/>
                  </a:lnTo>
                  <a:lnTo>
                    <a:pt x="64" y="1"/>
                  </a:lnTo>
                  <a:lnTo>
                    <a:pt x="72" y="0"/>
                  </a:lnTo>
                  <a:lnTo>
                    <a:pt x="81" y="0"/>
                  </a:lnTo>
                  <a:lnTo>
                    <a:pt x="89" y="0"/>
                  </a:lnTo>
                  <a:lnTo>
                    <a:pt x="96" y="1"/>
                  </a:lnTo>
                  <a:lnTo>
                    <a:pt x="104" y="3"/>
                  </a:lnTo>
                  <a:lnTo>
                    <a:pt x="111" y="5"/>
                  </a:lnTo>
                  <a:lnTo>
                    <a:pt x="119" y="9"/>
                  </a:lnTo>
                  <a:lnTo>
                    <a:pt x="126" y="13"/>
                  </a:lnTo>
                  <a:lnTo>
                    <a:pt x="131" y="18"/>
                  </a:lnTo>
                  <a:lnTo>
                    <a:pt x="137" y="23"/>
                  </a:lnTo>
                  <a:lnTo>
                    <a:pt x="142" y="29"/>
                  </a:lnTo>
                  <a:lnTo>
                    <a:pt x="147" y="34"/>
                  </a:lnTo>
                  <a:lnTo>
                    <a:pt x="151" y="41"/>
                  </a:lnTo>
                  <a:lnTo>
                    <a:pt x="155" y="49"/>
                  </a:lnTo>
                  <a:lnTo>
                    <a:pt x="157" y="56"/>
                  </a:lnTo>
                  <a:lnTo>
                    <a:pt x="159" y="64"/>
                  </a:lnTo>
                  <a:lnTo>
                    <a:pt x="160" y="71"/>
                  </a:lnTo>
                  <a:lnTo>
                    <a:pt x="160" y="80"/>
                  </a:lnTo>
                  <a:lnTo>
                    <a:pt x="160" y="88"/>
                  </a:lnTo>
                  <a:lnTo>
                    <a:pt x="159" y="96"/>
                  </a:lnTo>
                  <a:lnTo>
                    <a:pt x="157" y="104"/>
                  </a:lnTo>
                  <a:lnTo>
                    <a:pt x="155" y="111"/>
                  </a:lnTo>
                  <a:lnTo>
                    <a:pt x="151" y="119"/>
                  </a:lnTo>
                  <a:lnTo>
                    <a:pt x="147" y="125"/>
                  </a:lnTo>
                  <a:lnTo>
                    <a:pt x="142" y="131"/>
                  </a:lnTo>
                  <a:lnTo>
                    <a:pt x="137" y="136"/>
                  </a:lnTo>
                  <a:lnTo>
                    <a:pt x="131" y="142"/>
                  </a:lnTo>
                  <a:lnTo>
                    <a:pt x="126" y="147"/>
                  </a:lnTo>
                  <a:lnTo>
                    <a:pt x="119" y="151"/>
                  </a:lnTo>
                  <a:lnTo>
                    <a:pt x="111" y="154"/>
                  </a:lnTo>
                  <a:lnTo>
                    <a:pt x="104" y="157"/>
                  </a:lnTo>
                  <a:lnTo>
                    <a:pt x="96" y="159"/>
                  </a:lnTo>
                  <a:lnTo>
                    <a:pt x="89" y="160"/>
                  </a:lnTo>
                  <a:lnTo>
                    <a:pt x="81"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22">
              <a:extLst>
                <a:ext uri="{FF2B5EF4-FFF2-40B4-BE49-F238E27FC236}">
                  <a16:creationId xmlns:a16="http://schemas.microsoft.com/office/drawing/2014/main" id="{57B57FE1-7EE7-4FDB-87FD-D250F50288D2}"/>
                </a:ext>
              </a:extLst>
            </p:cNvPr>
            <p:cNvSpPr>
              <a:spLocks noEditPoints="1"/>
            </p:cNvSpPr>
            <p:nvPr/>
          </p:nvSpPr>
          <p:spPr bwMode="auto">
            <a:xfrm>
              <a:off x="5815013" y="3286125"/>
              <a:ext cx="65088" cy="63500"/>
            </a:xfrm>
            <a:custGeom>
              <a:avLst/>
              <a:gdLst>
                <a:gd name="T0" fmla="*/ 75 w 160"/>
                <a:gd name="T1" fmla="*/ 54 h 160"/>
                <a:gd name="T2" fmla="*/ 65 w 160"/>
                <a:gd name="T3" fmla="*/ 58 h 160"/>
                <a:gd name="T4" fmla="*/ 58 w 160"/>
                <a:gd name="T5" fmla="*/ 65 h 160"/>
                <a:gd name="T6" fmla="*/ 54 w 160"/>
                <a:gd name="T7" fmla="*/ 75 h 160"/>
                <a:gd name="T8" fmla="*/ 54 w 160"/>
                <a:gd name="T9" fmla="*/ 85 h 160"/>
                <a:gd name="T10" fmla="*/ 58 w 160"/>
                <a:gd name="T11" fmla="*/ 95 h 160"/>
                <a:gd name="T12" fmla="*/ 65 w 160"/>
                <a:gd name="T13" fmla="*/ 102 h 160"/>
                <a:gd name="T14" fmla="*/ 75 w 160"/>
                <a:gd name="T15" fmla="*/ 106 h 160"/>
                <a:gd name="T16" fmla="*/ 85 w 160"/>
                <a:gd name="T17" fmla="*/ 106 h 160"/>
                <a:gd name="T18" fmla="*/ 95 w 160"/>
                <a:gd name="T19" fmla="*/ 102 h 160"/>
                <a:gd name="T20" fmla="*/ 102 w 160"/>
                <a:gd name="T21" fmla="*/ 95 h 160"/>
                <a:gd name="T22" fmla="*/ 106 w 160"/>
                <a:gd name="T23" fmla="*/ 85 h 160"/>
                <a:gd name="T24" fmla="*/ 106 w 160"/>
                <a:gd name="T25" fmla="*/ 75 h 160"/>
                <a:gd name="T26" fmla="*/ 102 w 160"/>
                <a:gd name="T27" fmla="*/ 65 h 160"/>
                <a:gd name="T28" fmla="*/ 95 w 160"/>
                <a:gd name="T29" fmla="*/ 58 h 160"/>
                <a:gd name="T30" fmla="*/ 85 w 160"/>
                <a:gd name="T31" fmla="*/ 54 h 160"/>
                <a:gd name="T32" fmla="*/ 80 w 160"/>
                <a:gd name="T33" fmla="*/ 160 h 160"/>
                <a:gd name="T34" fmla="*/ 64 w 160"/>
                <a:gd name="T35" fmla="*/ 159 h 160"/>
                <a:gd name="T36" fmla="*/ 49 w 160"/>
                <a:gd name="T37" fmla="*/ 154 h 160"/>
                <a:gd name="T38" fmla="*/ 36 w 160"/>
                <a:gd name="T39" fmla="*/ 147 h 160"/>
                <a:gd name="T40" fmla="*/ 23 w 160"/>
                <a:gd name="T41" fmla="*/ 136 h 160"/>
                <a:gd name="T42" fmla="*/ 13 w 160"/>
                <a:gd name="T43" fmla="*/ 125 h 160"/>
                <a:gd name="T44" fmla="*/ 6 w 160"/>
                <a:gd name="T45" fmla="*/ 111 h 160"/>
                <a:gd name="T46" fmla="*/ 1 w 160"/>
                <a:gd name="T47" fmla="*/ 96 h 160"/>
                <a:gd name="T48" fmla="*/ 0 w 160"/>
                <a:gd name="T49" fmla="*/ 80 h 160"/>
                <a:gd name="T50" fmla="*/ 1 w 160"/>
                <a:gd name="T51" fmla="*/ 64 h 160"/>
                <a:gd name="T52" fmla="*/ 6 w 160"/>
                <a:gd name="T53" fmla="*/ 49 h 160"/>
                <a:gd name="T54" fmla="*/ 13 w 160"/>
                <a:gd name="T55" fmla="*/ 34 h 160"/>
                <a:gd name="T56" fmla="*/ 23 w 160"/>
                <a:gd name="T57" fmla="*/ 23 h 160"/>
                <a:gd name="T58" fmla="*/ 36 w 160"/>
                <a:gd name="T59" fmla="*/ 13 h 160"/>
                <a:gd name="T60" fmla="*/ 49 w 160"/>
                <a:gd name="T61" fmla="*/ 5 h 160"/>
                <a:gd name="T62" fmla="*/ 64 w 160"/>
                <a:gd name="T63" fmla="*/ 1 h 160"/>
                <a:gd name="T64" fmla="*/ 80 w 160"/>
                <a:gd name="T65" fmla="*/ 0 h 160"/>
                <a:gd name="T66" fmla="*/ 96 w 160"/>
                <a:gd name="T67" fmla="*/ 1 h 160"/>
                <a:gd name="T68" fmla="*/ 112 w 160"/>
                <a:gd name="T69" fmla="*/ 5 h 160"/>
                <a:gd name="T70" fmla="*/ 125 w 160"/>
                <a:gd name="T71" fmla="*/ 13 h 160"/>
                <a:gd name="T72" fmla="*/ 137 w 160"/>
                <a:gd name="T73" fmla="*/ 23 h 160"/>
                <a:gd name="T74" fmla="*/ 147 w 160"/>
                <a:gd name="T75" fmla="*/ 34 h 160"/>
                <a:gd name="T76" fmla="*/ 154 w 160"/>
                <a:gd name="T77" fmla="*/ 49 h 160"/>
                <a:gd name="T78" fmla="*/ 159 w 160"/>
                <a:gd name="T79" fmla="*/ 64 h 160"/>
                <a:gd name="T80" fmla="*/ 160 w 160"/>
                <a:gd name="T81" fmla="*/ 80 h 160"/>
                <a:gd name="T82" fmla="*/ 159 w 160"/>
                <a:gd name="T83" fmla="*/ 96 h 160"/>
                <a:gd name="T84" fmla="*/ 154 w 160"/>
                <a:gd name="T85" fmla="*/ 111 h 160"/>
                <a:gd name="T86" fmla="*/ 147 w 160"/>
                <a:gd name="T87" fmla="*/ 125 h 160"/>
                <a:gd name="T88" fmla="*/ 137 w 160"/>
                <a:gd name="T89" fmla="*/ 136 h 160"/>
                <a:gd name="T90" fmla="*/ 125 w 160"/>
                <a:gd name="T91" fmla="*/ 147 h 160"/>
                <a:gd name="T92" fmla="*/ 112 w 160"/>
                <a:gd name="T93" fmla="*/ 154 h 160"/>
                <a:gd name="T94" fmla="*/ 96 w 160"/>
                <a:gd name="T95" fmla="*/ 159 h 160"/>
                <a:gd name="T96" fmla="*/ 80 w 160"/>
                <a:gd name="T9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60">
                  <a:moveTo>
                    <a:pt x="80" y="54"/>
                  </a:moveTo>
                  <a:lnTo>
                    <a:pt x="75" y="54"/>
                  </a:lnTo>
                  <a:lnTo>
                    <a:pt x="69" y="55"/>
                  </a:lnTo>
                  <a:lnTo>
                    <a:pt x="65" y="58"/>
                  </a:lnTo>
                  <a:lnTo>
                    <a:pt x="61" y="61"/>
                  </a:lnTo>
                  <a:lnTo>
                    <a:pt x="58" y="65"/>
                  </a:lnTo>
                  <a:lnTo>
                    <a:pt x="56" y="69"/>
                  </a:lnTo>
                  <a:lnTo>
                    <a:pt x="54" y="75"/>
                  </a:lnTo>
                  <a:lnTo>
                    <a:pt x="54" y="80"/>
                  </a:lnTo>
                  <a:lnTo>
                    <a:pt x="54" y="85"/>
                  </a:lnTo>
                  <a:lnTo>
                    <a:pt x="56" y="91"/>
                  </a:lnTo>
                  <a:lnTo>
                    <a:pt x="58" y="95"/>
                  </a:lnTo>
                  <a:lnTo>
                    <a:pt x="61" y="98"/>
                  </a:lnTo>
                  <a:lnTo>
                    <a:pt x="65" y="102"/>
                  </a:lnTo>
                  <a:lnTo>
                    <a:pt x="69" y="105"/>
                  </a:lnTo>
                  <a:lnTo>
                    <a:pt x="75" y="106"/>
                  </a:lnTo>
                  <a:lnTo>
                    <a:pt x="80" y="106"/>
                  </a:lnTo>
                  <a:lnTo>
                    <a:pt x="85" y="106"/>
                  </a:lnTo>
                  <a:lnTo>
                    <a:pt x="91" y="105"/>
                  </a:lnTo>
                  <a:lnTo>
                    <a:pt x="95" y="102"/>
                  </a:lnTo>
                  <a:lnTo>
                    <a:pt x="100" y="98"/>
                  </a:lnTo>
                  <a:lnTo>
                    <a:pt x="102" y="95"/>
                  </a:lnTo>
                  <a:lnTo>
                    <a:pt x="105" y="91"/>
                  </a:lnTo>
                  <a:lnTo>
                    <a:pt x="106" y="85"/>
                  </a:lnTo>
                  <a:lnTo>
                    <a:pt x="107" y="80"/>
                  </a:lnTo>
                  <a:lnTo>
                    <a:pt x="106" y="75"/>
                  </a:lnTo>
                  <a:lnTo>
                    <a:pt x="105" y="69"/>
                  </a:lnTo>
                  <a:lnTo>
                    <a:pt x="102" y="65"/>
                  </a:lnTo>
                  <a:lnTo>
                    <a:pt x="100" y="61"/>
                  </a:lnTo>
                  <a:lnTo>
                    <a:pt x="95" y="58"/>
                  </a:lnTo>
                  <a:lnTo>
                    <a:pt x="91" y="55"/>
                  </a:lnTo>
                  <a:lnTo>
                    <a:pt x="85" y="54"/>
                  </a:lnTo>
                  <a:lnTo>
                    <a:pt x="80" y="54"/>
                  </a:lnTo>
                  <a:close/>
                  <a:moveTo>
                    <a:pt x="80" y="160"/>
                  </a:moveTo>
                  <a:lnTo>
                    <a:pt x="72" y="160"/>
                  </a:lnTo>
                  <a:lnTo>
                    <a:pt x="64" y="159"/>
                  </a:lnTo>
                  <a:lnTo>
                    <a:pt x="56" y="157"/>
                  </a:lnTo>
                  <a:lnTo>
                    <a:pt x="49" y="154"/>
                  </a:lnTo>
                  <a:lnTo>
                    <a:pt x="41" y="151"/>
                  </a:lnTo>
                  <a:lnTo>
                    <a:pt x="36" y="147"/>
                  </a:lnTo>
                  <a:lnTo>
                    <a:pt x="29" y="142"/>
                  </a:lnTo>
                  <a:lnTo>
                    <a:pt x="23" y="136"/>
                  </a:lnTo>
                  <a:lnTo>
                    <a:pt x="18" y="131"/>
                  </a:lnTo>
                  <a:lnTo>
                    <a:pt x="13" y="125"/>
                  </a:lnTo>
                  <a:lnTo>
                    <a:pt x="10" y="119"/>
                  </a:lnTo>
                  <a:lnTo>
                    <a:pt x="6" y="111"/>
                  </a:lnTo>
                  <a:lnTo>
                    <a:pt x="3" y="104"/>
                  </a:lnTo>
                  <a:lnTo>
                    <a:pt x="1" y="96"/>
                  </a:lnTo>
                  <a:lnTo>
                    <a:pt x="0" y="88"/>
                  </a:lnTo>
                  <a:lnTo>
                    <a:pt x="0" y="80"/>
                  </a:lnTo>
                  <a:lnTo>
                    <a:pt x="0" y="71"/>
                  </a:lnTo>
                  <a:lnTo>
                    <a:pt x="1" y="64"/>
                  </a:lnTo>
                  <a:lnTo>
                    <a:pt x="3" y="56"/>
                  </a:lnTo>
                  <a:lnTo>
                    <a:pt x="6" y="49"/>
                  </a:lnTo>
                  <a:lnTo>
                    <a:pt x="10" y="41"/>
                  </a:lnTo>
                  <a:lnTo>
                    <a:pt x="13" y="34"/>
                  </a:lnTo>
                  <a:lnTo>
                    <a:pt x="18" y="29"/>
                  </a:lnTo>
                  <a:lnTo>
                    <a:pt x="23" y="23"/>
                  </a:lnTo>
                  <a:lnTo>
                    <a:pt x="29" y="18"/>
                  </a:lnTo>
                  <a:lnTo>
                    <a:pt x="36" y="13"/>
                  </a:lnTo>
                  <a:lnTo>
                    <a:pt x="41" y="9"/>
                  </a:lnTo>
                  <a:lnTo>
                    <a:pt x="49" y="5"/>
                  </a:lnTo>
                  <a:lnTo>
                    <a:pt x="56" y="3"/>
                  </a:lnTo>
                  <a:lnTo>
                    <a:pt x="64" y="1"/>
                  </a:lnTo>
                  <a:lnTo>
                    <a:pt x="72" y="0"/>
                  </a:lnTo>
                  <a:lnTo>
                    <a:pt x="80" y="0"/>
                  </a:lnTo>
                  <a:lnTo>
                    <a:pt x="88" y="0"/>
                  </a:lnTo>
                  <a:lnTo>
                    <a:pt x="96" y="1"/>
                  </a:lnTo>
                  <a:lnTo>
                    <a:pt x="104" y="3"/>
                  </a:lnTo>
                  <a:lnTo>
                    <a:pt x="112" y="5"/>
                  </a:lnTo>
                  <a:lnTo>
                    <a:pt x="119" y="9"/>
                  </a:lnTo>
                  <a:lnTo>
                    <a:pt x="125" y="13"/>
                  </a:lnTo>
                  <a:lnTo>
                    <a:pt x="131" y="18"/>
                  </a:lnTo>
                  <a:lnTo>
                    <a:pt x="137" y="23"/>
                  </a:lnTo>
                  <a:lnTo>
                    <a:pt x="142" y="29"/>
                  </a:lnTo>
                  <a:lnTo>
                    <a:pt x="147" y="34"/>
                  </a:lnTo>
                  <a:lnTo>
                    <a:pt x="151" y="41"/>
                  </a:lnTo>
                  <a:lnTo>
                    <a:pt x="154" y="49"/>
                  </a:lnTo>
                  <a:lnTo>
                    <a:pt x="157" y="56"/>
                  </a:lnTo>
                  <a:lnTo>
                    <a:pt x="159" y="64"/>
                  </a:lnTo>
                  <a:lnTo>
                    <a:pt x="160" y="71"/>
                  </a:lnTo>
                  <a:lnTo>
                    <a:pt x="160" y="80"/>
                  </a:lnTo>
                  <a:lnTo>
                    <a:pt x="160" y="88"/>
                  </a:lnTo>
                  <a:lnTo>
                    <a:pt x="159" y="96"/>
                  </a:lnTo>
                  <a:lnTo>
                    <a:pt x="157" y="104"/>
                  </a:lnTo>
                  <a:lnTo>
                    <a:pt x="154" y="111"/>
                  </a:lnTo>
                  <a:lnTo>
                    <a:pt x="151" y="119"/>
                  </a:lnTo>
                  <a:lnTo>
                    <a:pt x="147" y="125"/>
                  </a:lnTo>
                  <a:lnTo>
                    <a:pt x="142" y="131"/>
                  </a:lnTo>
                  <a:lnTo>
                    <a:pt x="137" y="136"/>
                  </a:lnTo>
                  <a:lnTo>
                    <a:pt x="131" y="142"/>
                  </a:lnTo>
                  <a:lnTo>
                    <a:pt x="125" y="147"/>
                  </a:lnTo>
                  <a:lnTo>
                    <a:pt x="119" y="151"/>
                  </a:lnTo>
                  <a:lnTo>
                    <a:pt x="112" y="154"/>
                  </a:lnTo>
                  <a:lnTo>
                    <a:pt x="104" y="157"/>
                  </a:lnTo>
                  <a:lnTo>
                    <a:pt x="96" y="159"/>
                  </a:lnTo>
                  <a:lnTo>
                    <a:pt x="88" y="160"/>
                  </a:lnTo>
                  <a:lnTo>
                    <a:pt x="8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3" name="Group 51">
            <a:extLst>
              <a:ext uri="{FF2B5EF4-FFF2-40B4-BE49-F238E27FC236}">
                <a16:creationId xmlns:a16="http://schemas.microsoft.com/office/drawing/2014/main" id="{8F0014FF-63AF-4C59-B43B-F4CF5F764066}"/>
              </a:ext>
            </a:extLst>
          </p:cNvPr>
          <p:cNvGrpSpPr>
            <a:grpSpLocks noChangeAspect="1"/>
          </p:cNvGrpSpPr>
          <p:nvPr/>
        </p:nvGrpSpPr>
        <p:grpSpPr>
          <a:xfrm>
            <a:off x="2315699" y="5426101"/>
            <a:ext cx="283177" cy="268571"/>
            <a:chOff x="4478338" y="3613151"/>
            <a:chExt cx="554038" cy="525463"/>
          </a:xfrm>
          <a:solidFill>
            <a:schemeClr val="bg1"/>
          </a:solidFill>
          <a:effectLst/>
        </p:grpSpPr>
        <p:sp>
          <p:nvSpPr>
            <p:cNvPr id="484" name="Freeform 164">
              <a:extLst>
                <a:ext uri="{FF2B5EF4-FFF2-40B4-BE49-F238E27FC236}">
                  <a16:creationId xmlns:a16="http://schemas.microsoft.com/office/drawing/2014/main" id="{57E6EA8F-4091-4B1F-953E-F09AFD9ED5F7}"/>
                </a:ext>
              </a:extLst>
            </p:cNvPr>
            <p:cNvSpPr>
              <a:spLocks/>
            </p:cNvSpPr>
            <p:nvPr/>
          </p:nvSpPr>
          <p:spPr bwMode="auto">
            <a:xfrm>
              <a:off x="4883150" y="3892551"/>
              <a:ext cx="134938" cy="50800"/>
            </a:xfrm>
            <a:custGeom>
              <a:avLst/>
              <a:gdLst>
                <a:gd name="T0" fmla="*/ 227 w 253"/>
                <a:gd name="T1" fmla="*/ 96 h 96"/>
                <a:gd name="T2" fmla="*/ 225 w 253"/>
                <a:gd name="T3" fmla="*/ 94 h 96"/>
                <a:gd name="T4" fmla="*/ 222 w 253"/>
                <a:gd name="T5" fmla="*/ 94 h 96"/>
                <a:gd name="T6" fmla="*/ 20 w 253"/>
                <a:gd name="T7" fmla="*/ 52 h 96"/>
                <a:gd name="T8" fmla="*/ 16 w 253"/>
                <a:gd name="T9" fmla="*/ 51 h 96"/>
                <a:gd name="T10" fmla="*/ 11 w 253"/>
                <a:gd name="T11" fmla="*/ 48 h 96"/>
                <a:gd name="T12" fmla="*/ 7 w 253"/>
                <a:gd name="T13" fmla="*/ 45 h 96"/>
                <a:gd name="T14" fmla="*/ 4 w 253"/>
                <a:gd name="T15" fmla="*/ 41 h 96"/>
                <a:gd name="T16" fmla="*/ 1 w 253"/>
                <a:gd name="T17" fmla="*/ 36 h 96"/>
                <a:gd name="T18" fmla="*/ 0 w 253"/>
                <a:gd name="T19" fmla="*/ 31 h 96"/>
                <a:gd name="T20" fmla="*/ 0 w 253"/>
                <a:gd name="T21" fmla="*/ 26 h 96"/>
                <a:gd name="T22" fmla="*/ 0 w 253"/>
                <a:gd name="T23" fmla="*/ 21 h 96"/>
                <a:gd name="T24" fmla="*/ 3 w 253"/>
                <a:gd name="T25" fmla="*/ 16 h 96"/>
                <a:gd name="T26" fmla="*/ 4 w 253"/>
                <a:gd name="T27" fmla="*/ 12 h 96"/>
                <a:gd name="T28" fmla="*/ 9 w 253"/>
                <a:gd name="T29" fmla="*/ 8 h 96"/>
                <a:gd name="T30" fmla="*/ 11 w 253"/>
                <a:gd name="T31" fmla="*/ 5 h 96"/>
                <a:gd name="T32" fmla="*/ 16 w 253"/>
                <a:gd name="T33" fmla="*/ 2 h 96"/>
                <a:gd name="T34" fmla="*/ 22 w 253"/>
                <a:gd name="T35" fmla="*/ 0 h 96"/>
                <a:gd name="T36" fmla="*/ 26 w 253"/>
                <a:gd name="T37" fmla="*/ 0 h 96"/>
                <a:gd name="T38" fmla="*/ 32 w 253"/>
                <a:gd name="T39" fmla="*/ 0 h 96"/>
                <a:gd name="T40" fmla="*/ 233 w 253"/>
                <a:gd name="T41" fmla="*/ 44 h 96"/>
                <a:gd name="T42" fmla="*/ 238 w 253"/>
                <a:gd name="T43" fmla="*/ 45 h 96"/>
                <a:gd name="T44" fmla="*/ 243 w 253"/>
                <a:gd name="T45" fmla="*/ 47 h 96"/>
                <a:gd name="T46" fmla="*/ 246 w 253"/>
                <a:gd name="T47" fmla="*/ 51 h 96"/>
                <a:gd name="T48" fmla="*/ 249 w 253"/>
                <a:gd name="T49" fmla="*/ 54 h 96"/>
                <a:gd name="T50" fmla="*/ 252 w 253"/>
                <a:gd name="T51" fmla="*/ 60 h 96"/>
                <a:gd name="T52" fmla="*/ 253 w 253"/>
                <a:gd name="T53" fmla="*/ 64 h 96"/>
                <a:gd name="T54" fmla="*/ 253 w 253"/>
                <a:gd name="T55" fmla="*/ 68 h 96"/>
                <a:gd name="T56" fmla="*/ 253 w 253"/>
                <a:gd name="T57" fmla="*/ 74 h 96"/>
                <a:gd name="T58" fmla="*/ 252 w 253"/>
                <a:gd name="T59" fmla="*/ 78 h 96"/>
                <a:gd name="T60" fmla="*/ 251 w 253"/>
                <a:gd name="T61" fmla="*/ 83 h 96"/>
                <a:gd name="T62" fmla="*/ 248 w 253"/>
                <a:gd name="T63" fmla="*/ 85 h 96"/>
                <a:gd name="T64" fmla="*/ 245 w 253"/>
                <a:gd name="T65" fmla="*/ 90 h 96"/>
                <a:gd name="T66" fmla="*/ 240 w 253"/>
                <a:gd name="T67" fmla="*/ 91 h 96"/>
                <a:gd name="T68" fmla="*/ 236 w 253"/>
                <a:gd name="T69" fmla="*/ 93 h 96"/>
                <a:gd name="T70" fmla="*/ 232 w 253"/>
                <a:gd name="T71" fmla="*/ 94 h 96"/>
                <a:gd name="T72" fmla="*/ 227 w 253"/>
                <a:gd name="T7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96">
                  <a:moveTo>
                    <a:pt x="227" y="96"/>
                  </a:moveTo>
                  <a:lnTo>
                    <a:pt x="225" y="94"/>
                  </a:lnTo>
                  <a:lnTo>
                    <a:pt x="222" y="94"/>
                  </a:lnTo>
                  <a:lnTo>
                    <a:pt x="20" y="52"/>
                  </a:lnTo>
                  <a:lnTo>
                    <a:pt x="16" y="51"/>
                  </a:lnTo>
                  <a:lnTo>
                    <a:pt x="11" y="48"/>
                  </a:lnTo>
                  <a:lnTo>
                    <a:pt x="7" y="45"/>
                  </a:lnTo>
                  <a:lnTo>
                    <a:pt x="4" y="41"/>
                  </a:lnTo>
                  <a:lnTo>
                    <a:pt x="1" y="36"/>
                  </a:lnTo>
                  <a:lnTo>
                    <a:pt x="0" y="31"/>
                  </a:lnTo>
                  <a:lnTo>
                    <a:pt x="0" y="26"/>
                  </a:lnTo>
                  <a:lnTo>
                    <a:pt x="0" y="21"/>
                  </a:lnTo>
                  <a:lnTo>
                    <a:pt x="3" y="16"/>
                  </a:lnTo>
                  <a:lnTo>
                    <a:pt x="4" y="12"/>
                  </a:lnTo>
                  <a:lnTo>
                    <a:pt x="9" y="8"/>
                  </a:lnTo>
                  <a:lnTo>
                    <a:pt x="11" y="5"/>
                  </a:lnTo>
                  <a:lnTo>
                    <a:pt x="16" y="2"/>
                  </a:lnTo>
                  <a:lnTo>
                    <a:pt x="22" y="0"/>
                  </a:lnTo>
                  <a:lnTo>
                    <a:pt x="26" y="0"/>
                  </a:lnTo>
                  <a:lnTo>
                    <a:pt x="32" y="0"/>
                  </a:lnTo>
                  <a:lnTo>
                    <a:pt x="233" y="44"/>
                  </a:lnTo>
                  <a:lnTo>
                    <a:pt x="238" y="45"/>
                  </a:lnTo>
                  <a:lnTo>
                    <a:pt x="243" y="47"/>
                  </a:lnTo>
                  <a:lnTo>
                    <a:pt x="246" y="51"/>
                  </a:lnTo>
                  <a:lnTo>
                    <a:pt x="249" y="54"/>
                  </a:lnTo>
                  <a:lnTo>
                    <a:pt x="252" y="60"/>
                  </a:lnTo>
                  <a:lnTo>
                    <a:pt x="253" y="64"/>
                  </a:lnTo>
                  <a:lnTo>
                    <a:pt x="253" y="68"/>
                  </a:lnTo>
                  <a:lnTo>
                    <a:pt x="253" y="74"/>
                  </a:lnTo>
                  <a:lnTo>
                    <a:pt x="252" y="78"/>
                  </a:lnTo>
                  <a:lnTo>
                    <a:pt x="251" y="83"/>
                  </a:lnTo>
                  <a:lnTo>
                    <a:pt x="248" y="85"/>
                  </a:lnTo>
                  <a:lnTo>
                    <a:pt x="245" y="90"/>
                  </a:lnTo>
                  <a:lnTo>
                    <a:pt x="240" y="91"/>
                  </a:lnTo>
                  <a:lnTo>
                    <a:pt x="236" y="93"/>
                  </a:lnTo>
                  <a:lnTo>
                    <a:pt x="232" y="94"/>
                  </a:lnTo>
                  <a:lnTo>
                    <a:pt x="22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65">
              <a:extLst>
                <a:ext uri="{FF2B5EF4-FFF2-40B4-BE49-F238E27FC236}">
                  <a16:creationId xmlns:a16="http://schemas.microsoft.com/office/drawing/2014/main" id="{454991A3-0DDD-4080-AE5E-DB651D6262F9}"/>
                </a:ext>
              </a:extLst>
            </p:cNvPr>
            <p:cNvSpPr>
              <a:spLocks/>
            </p:cNvSpPr>
            <p:nvPr/>
          </p:nvSpPr>
          <p:spPr bwMode="auto">
            <a:xfrm>
              <a:off x="4870450" y="3967163"/>
              <a:ext cx="138113" cy="49213"/>
            </a:xfrm>
            <a:custGeom>
              <a:avLst/>
              <a:gdLst>
                <a:gd name="T0" fmla="*/ 235 w 261"/>
                <a:gd name="T1" fmla="*/ 92 h 92"/>
                <a:gd name="T2" fmla="*/ 232 w 261"/>
                <a:gd name="T3" fmla="*/ 90 h 92"/>
                <a:gd name="T4" fmla="*/ 229 w 261"/>
                <a:gd name="T5" fmla="*/ 90 h 92"/>
                <a:gd name="T6" fmla="*/ 22 w 261"/>
                <a:gd name="T7" fmla="*/ 51 h 92"/>
                <a:gd name="T8" fmla="*/ 16 w 261"/>
                <a:gd name="T9" fmla="*/ 50 h 92"/>
                <a:gd name="T10" fmla="*/ 12 w 261"/>
                <a:gd name="T11" fmla="*/ 47 h 92"/>
                <a:gd name="T12" fmla="*/ 7 w 261"/>
                <a:gd name="T13" fmla="*/ 44 h 92"/>
                <a:gd name="T14" fmla="*/ 4 w 261"/>
                <a:gd name="T15" fmla="*/ 40 h 92"/>
                <a:gd name="T16" fmla="*/ 1 w 261"/>
                <a:gd name="T17" fmla="*/ 36 h 92"/>
                <a:gd name="T18" fmla="*/ 0 w 261"/>
                <a:gd name="T19" fmla="*/ 31 h 92"/>
                <a:gd name="T20" fmla="*/ 0 w 261"/>
                <a:gd name="T21" fmla="*/ 26 h 92"/>
                <a:gd name="T22" fmla="*/ 0 w 261"/>
                <a:gd name="T23" fmla="*/ 21 h 92"/>
                <a:gd name="T24" fmla="*/ 1 w 261"/>
                <a:gd name="T25" fmla="*/ 15 h 92"/>
                <a:gd name="T26" fmla="*/ 4 w 261"/>
                <a:gd name="T27" fmla="*/ 11 h 92"/>
                <a:gd name="T28" fmla="*/ 7 w 261"/>
                <a:gd name="T29" fmla="*/ 7 h 92"/>
                <a:gd name="T30" fmla="*/ 12 w 261"/>
                <a:gd name="T31" fmla="*/ 4 h 92"/>
                <a:gd name="T32" fmla="*/ 16 w 261"/>
                <a:gd name="T33" fmla="*/ 1 h 92"/>
                <a:gd name="T34" fmla="*/ 20 w 261"/>
                <a:gd name="T35" fmla="*/ 0 h 92"/>
                <a:gd name="T36" fmla="*/ 26 w 261"/>
                <a:gd name="T37" fmla="*/ 0 h 92"/>
                <a:gd name="T38" fmla="*/ 30 w 261"/>
                <a:gd name="T39" fmla="*/ 0 h 92"/>
                <a:gd name="T40" fmla="*/ 239 w 261"/>
                <a:gd name="T41" fmla="*/ 40 h 92"/>
                <a:gd name="T42" fmla="*/ 245 w 261"/>
                <a:gd name="T43" fmla="*/ 41 h 92"/>
                <a:gd name="T44" fmla="*/ 249 w 261"/>
                <a:gd name="T45" fmla="*/ 43 h 92"/>
                <a:gd name="T46" fmla="*/ 253 w 261"/>
                <a:gd name="T47" fmla="*/ 46 h 92"/>
                <a:gd name="T48" fmla="*/ 256 w 261"/>
                <a:gd name="T49" fmla="*/ 50 h 92"/>
                <a:gd name="T50" fmla="*/ 259 w 261"/>
                <a:gd name="T51" fmla="*/ 54 h 92"/>
                <a:gd name="T52" fmla="*/ 261 w 261"/>
                <a:gd name="T53" fmla="*/ 60 h 92"/>
                <a:gd name="T54" fmla="*/ 261 w 261"/>
                <a:gd name="T55" fmla="*/ 64 h 92"/>
                <a:gd name="T56" fmla="*/ 261 w 261"/>
                <a:gd name="T57" fmla="*/ 70 h 92"/>
                <a:gd name="T58" fmla="*/ 259 w 261"/>
                <a:gd name="T59" fmla="*/ 74 h 92"/>
                <a:gd name="T60" fmla="*/ 256 w 261"/>
                <a:gd name="T61" fmla="*/ 79 h 92"/>
                <a:gd name="T62" fmla="*/ 255 w 261"/>
                <a:gd name="T63" fmla="*/ 82 h 92"/>
                <a:gd name="T64" fmla="*/ 251 w 261"/>
                <a:gd name="T65" fmla="*/ 85 h 92"/>
                <a:gd name="T66" fmla="*/ 248 w 261"/>
                <a:gd name="T67" fmla="*/ 87 h 92"/>
                <a:gd name="T68" fmla="*/ 243 w 261"/>
                <a:gd name="T69" fmla="*/ 89 h 92"/>
                <a:gd name="T70" fmla="*/ 239 w 261"/>
                <a:gd name="T71" fmla="*/ 90 h 92"/>
                <a:gd name="T72" fmla="*/ 235 w 261"/>
                <a:gd name="T7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1" h="92">
                  <a:moveTo>
                    <a:pt x="235" y="92"/>
                  </a:moveTo>
                  <a:lnTo>
                    <a:pt x="232" y="90"/>
                  </a:lnTo>
                  <a:lnTo>
                    <a:pt x="229" y="90"/>
                  </a:lnTo>
                  <a:lnTo>
                    <a:pt x="22" y="51"/>
                  </a:lnTo>
                  <a:lnTo>
                    <a:pt x="16" y="50"/>
                  </a:lnTo>
                  <a:lnTo>
                    <a:pt x="12" y="47"/>
                  </a:lnTo>
                  <a:lnTo>
                    <a:pt x="7" y="44"/>
                  </a:lnTo>
                  <a:lnTo>
                    <a:pt x="4" y="40"/>
                  </a:lnTo>
                  <a:lnTo>
                    <a:pt x="1" y="36"/>
                  </a:lnTo>
                  <a:lnTo>
                    <a:pt x="0" y="31"/>
                  </a:lnTo>
                  <a:lnTo>
                    <a:pt x="0" y="26"/>
                  </a:lnTo>
                  <a:lnTo>
                    <a:pt x="0" y="21"/>
                  </a:lnTo>
                  <a:lnTo>
                    <a:pt x="1" y="15"/>
                  </a:lnTo>
                  <a:lnTo>
                    <a:pt x="4" y="11"/>
                  </a:lnTo>
                  <a:lnTo>
                    <a:pt x="7" y="7"/>
                  </a:lnTo>
                  <a:lnTo>
                    <a:pt x="12" y="4"/>
                  </a:lnTo>
                  <a:lnTo>
                    <a:pt x="16" y="1"/>
                  </a:lnTo>
                  <a:lnTo>
                    <a:pt x="20" y="0"/>
                  </a:lnTo>
                  <a:lnTo>
                    <a:pt x="26" y="0"/>
                  </a:lnTo>
                  <a:lnTo>
                    <a:pt x="30" y="0"/>
                  </a:lnTo>
                  <a:lnTo>
                    <a:pt x="239" y="40"/>
                  </a:lnTo>
                  <a:lnTo>
                    <a:pt x="245" y="41"/>
                  </a:lnTo>
                  <a:lnTo>
                    <a:pt x="249" y="43"/>
                  </a:lnTo>
                  <a:lnTo>
                    <a:pt x="253" y="46"/>
                  </a:lnTo>
                  <a:lnTo>
                    <a:pt x="256" y="50"/>
                  </a:lnTo>
                  <a:lnTo>
                    <a:pt x="259" y="54"/>
                  </a:lnTo>
                  <a:lnTo>
                    <a:pt x="261" y="60"/>
                  </a:lnTo>
                  <a:lnTo>
                    <a:pt x="261" y="64"/>
                  </a:lnTo>
                  <a:lnTo>
                    <a:pt x="261" y="70"/>
                  </a:lnTo>
                  <a:lnTo>
                    <a:pt x="259" y="74"/>
                  </a:lnTo>
                  <a:lnTo>
                    <a:pt x="256" y="79"/>
                  </a:lnTo>
                  <a:lnTo>
                    <a:pt x="255" y="82"/>
                  </a:lnTo>
                  <a:lnTo>
                    <a:pt x="251" y="85"/>
                  </a:lnTo>
                  <a:lnTo>
                    <a:pt x="248" y="87"/>
                  </a:lnTo>
                  <a:lnTo>
                    <a:pt x="243" y="89"/>
                  </a:lnTo>
                  <a:lnTo>
                    <a:pt x="239" y="90"/>
                  </a:lnTo>
                  <a:lnTo>
                    <a:pt x="235"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66">
              <a:extLst>
                <a:ext uri="{FF2B5EF4-FFF2-40B4-BE49-F238E27FC236}">
                  <a16:creationId xmlns:a16="http://schemas.microsoft.com/office/drawing/2014/main" id="{AF405D08-B170-4249-AD22-77DBED538FC4}"/>
                </a:ext>
              </a:extLst>
            </p:cNvPr>
            <p:cNvSpPr>
              <a:spLocks/>
            </p:cNvSpPr>
            <p:nvPr/>
          </p:nvSpPr>
          <p:spPr bwMode="auto">
            <a:xfrm>
              <a:off x="4860925" y="4037013"/>
              <a:ext cx="130175" cy="39688"/>
            </a:xfrm>
            <a:custGeom>
              <a:avLst/>
              <a:gdLst>
                <a:gd name="T0" fmla="*/ 219 w 245"/>
                <a:gd name="T1" fmla="*/ 76 h 76"/>
                <a:gd name="T2" fmla="*/ 218 w 245"/>
                <a:gd name="T3" fmla="*/ 76 h 76"/>
                <a:gd name="T4" fmla="*/ 216 w 245"/>
                <a:gd name="T5" fmla="*/ 76 h 76"/>
                <a:gd name="T6" fmla="*/ 23 w 245"/>
                <a:gd name="T7" fmla="*/ 51 h 76"/>
                <a:gd name="T8" fmla="*/ 17 w 245"/>
                <a:gd name="T9" fmla="*/ 50 h 76"/>
                <a:gd name="T10" fmla="*/ 13 w 245"/>
                <a:gd name="T11" fmla="*/ 47 h 76"/>
                <a:gd name="T12" fmla="*/ 9 w 245"/>
                <a:gd name="T13" fmla="*/ 44 h 76"/>
                <a:gd name="T14" fmla="*/ 6 w 245"/>
                <a:gd name="T15" fmla="*/ 41 h 76"/>
                <a:gd name="T16" fmla="*/ 3 w 245"/>
                <a:gd name="T17" fmla="*/ 37 h 76"/>
                <a:gd name="T18" fmla="*/ 0 w 245"/>
                <a:gd name="T19" fmla="*/ 33 h 76"/>
                <a:gd name="T20" fmla="*/ 0 w 245"/>
                <a:gd name="T21" fmla="*/ 27 h 76"/>
                <a:gd name="T22" fmla="*/ 0 w 245"/>
                <a:gd name="T23" fmla="*/ 23 h 76"/>
                <a:gd name="T24" fmla="*/ 2 w 245"/>
                <a:gd name="T25" fmla="*/ 17 h 76"/>
                <a:gd name="T26" fmla="*/ 3 w 245"/>
                <a:gd name="T27" fmla="*/ 13 h 76"/>
                <a:gd name="T28" fmla="*/ 6 w 245"/>
                <a:gd name="T29" fmla="*/ 8 h 76"/>
                <a:gd name="T30" fmla="*/ 10 w 245"/>
                <a:gd name="T31" fmla="*/ 4 h 76"/>
                <a:gd name="T32" fmla="*/ 15 w 245"/>
                <a:gd name="T33" fmla="*/ 3 h 76"/>
                <a:gd name="T34" fmla="*/ 19 w 245"/>
                <a:gd name="T35" fmla="*/ 0 h 76"/>
                <a:gd name="T36" fmla="*/ 23 w 245"/>
                <a:gd name="T37" fmla="*/ 0 h 76"/>
                <a:gd name="T38" fmla="*/ 29 w 245"/>
                <a:gd name="T39" fmla="*/ 0 h 76"/>
                <a:gd name="T40" fmla="*/ 223 w 245"/>
                <a:gd name="T41" fmla="*/ 24 h 76"/>
                <a:gd name="T42" fmla="*/ 228 w 245"/>
                <a:gd name="T43" fmla="*/ 24 h 76"/>
                <a:gd name="T44" fmla="*/ 232 w 245"/>
                <a:gd name="T45" fmla="*/ 27 h 76"/>
                <a:gd name="T46" fmla="*/ 236 w 245"/>
                <a:gd name="T47" fmla="*/ 30 h 76"/>
                <a:gd name="T48" fmla="*/ 241 w 245"/>
                <a:gd name="T49" fmla="*/ 33 h 76"/>
                <a:gd name="T50" fmla="*/ 244 w 245"/>
                <a:gd name="T51" fmla="*/ 37 h 76"/>
                <a:gd name="T52" fmla="*/ 245 w 245"/>
                <a:gd name="T53" fmla="*/ 43 h 76"/>
                <a:gd name="T54" fmla="*/ 245 w 245"/>
                <a:gd name="T55" fmla="*/ 47 h 76"/>
                <a:gd name="T56" fmla="*/ 245 w 245"/>
                <a:gd name="T57" fmla="*/ 53 h 76"/>
                <a:gd name="T58" fmla="*/ 245 w 245"/>
                <a:gd name="T59" fmla="*/ 57 h 76"/>
                <a:gd name="T60" fmla="*/ 242 w 245"/>
                <a:gd name="T61" fmla="*/ 62 h 76"/>
                <a:gd name="T62" fmla="*/ 241 w 245"/>
                <a:gd name="T63" fmla="*/ 66 h 76"/>
                <a:gd name="T64" fmla="*/ 236 w 245"/>
                <a:gd name="T65" fmla="*/ 69 h 76"/>
                <a:gd name="T66" fmla="*/ 233 w 245"/>
                <a:gd name="T67" fmla="*/ 72 h 76"/>
                <a:gd name="T68" fmla="*/ 229 w 245"/>
                <a:gd name="T69" fmla="*/ 73 h 76"/>
                <a:gd name="T70" fmla="*/ 225 w 245"/>
                <a:gd name="T71" fmla="*/ 75 h 76"/>
                <a:gd name="T72" fmla="*/ 219 w 245"/>
                <a:gd name="T7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76">
                  <a:moveTo>
                    <a:pt x="219" y="76"/>
                  </a:moveTo>
                  <a:lnTo>
                    <a:pt x="218" y="76"/>
                  </a:lnTo>
                  <a:lnTo>
                    <a:pt x="216" y="76"/>
                  </a:lnTo>
                  <a:lnTo>
                    <a:pt x="23" y="51"/>
                  </a:lnTo>
                  <a:lnTo>
                    <a:pt x="17" y="50"/>
                  </a:lnTo>
                  <a:lnTo>
                    <a:pt x="13" y="47"/>
                  </a:lnTo>
                  <a:lnTo>
                    <a:pt x="9" y="44"/>
                  </a:lnTo>
                  <a:lnTo>
                    <a:pt x="6" y="41"/>
                  </a:lnTo>
                  <a:lnTo>
                    <a:pt x="3" y="37"/>
                  </a:lnTo>
                  <a:lnTo>
                    <a:pt x="0" y="33"/>
                  </a:lnTo>
                  <a:lnTo>
                    <a:pt x="0" y="27"/>
                  </a:lnTo>
                  <a:lnTo>
                    <a:pt x="0" y="23"/>
                  </a:lnTo>
                  <a:lnTo>
                    <a:pt x="2" y="17"/>
                  </a:lnTo>
                  <a:lnTo>
                    <a:pt x="3" y="13"/>
                  </a:lnTo>
                  <a:lnTo>
                    <a:pt x="6" y="8"/>
                  </a:lnTo>
                  <a:lnTo>
                    <a:pt x="10" y="4"/>
                  </a:lnTo>
                  <a:lnTo>
                    <a:pt x="15" y="3"/>
                  </a:lnTo>
                  <a:lnTo>
                    <a:pt x="19" y="0"/>
                  </a:lnTo>
                  <a:lnTo>
                    <a:pt x="23" y="0"/>
                  </a:lnTo>
                  <a:lnTo>
                    <a:pt x="29" y="0"/>
                  </a:lnTo>
                  <a:lnTo>
                    <a:pt x="223" y="24"/>
                  </a:lnTo>
                  <a:lnTo>
                    <a:pt x="228" y="24"/>
                  </a:lnTo>
                  <a:lnTo>
                    <a:pt x="232" y="27"/>
                  </a:lnTo>
                  <a:lnTo>
                    <a:pt x="236" y="30"/>
                  </a:lnTo>
                  <a:lnTo>
                    <a:pt x="241" y="33"/>
                  </a:lnTo>
                  <a:lnTo>
                    <a:pt x="244" y="37"/>
                  </a:lnTo>
                  <a:lnTo>
                    <a:pt x="245" y="43"/>
                  </a:lnTo>
                  <a:lnTo>
                    <a:pt x="245" y="47"/>
                  </a:lnTo>
                  <a:lnTo>
                    <a:pt x="245" y="53"/>
                  </a:lnTo>
                  <a:lnTo>
                    <a:pt x="245" y="57"/>
                  </a:lnTo>
                  <a:lnTo>
                    <a:pt x="242" y="62"/>
                  </a:lnTo>
                  <a:lnTo>
                    <a:pt x="241" y="66"/>
                  </a:lnTo>
                  <a:lnTo>
                    <a:pt x="236" y="69"/>
                  </a:lnTo>
                  <a:lnTo>
                    <a:pt x="233" y="72"/>
                  </a:lnTo>
                  <a:lnTo>
                    <a:pt x="229" y="73"/>
                  </a:lnTo>
                  <a:lnTo>
                    <a:pt x="225" y="75"/>
                  </a:lnTo>
                  <a:lnTo>
                    <a:pt x="219"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69">
              <a:extLst>
                <a:ext uri="{FF2B5EF4-FFF2-40B4-BE49-F238E27FC236}">
                  <a16:creationId xmlns:a16="http://schemas.microsoft.com/office/drawing/2014/main" id="{9D7C538F-FA2D-4430-A2E7-E007327C4F6F}"/>
                </a:ext>
              </a:extLst>
            </p:cNvPr>
            <p:cNvSpPr>
              <a:spLocks noEditPoints="1"/>
            </p:cNvSpPr>
            <p:nvPr/>
          </p:nvSpPr>
          <p:spPr bwMode="auto">
            <a:xfrm>
              <a:off x="4478338" y="3613151"/>
              <a:ext cx="554038" cy="525463"/>
            </a:xfrm>
            <a:custGeom>
              <a:avLst/>
              <a:gdLst>
                <a:gd name="T0" fmla="*/ 897 w 1046"/>
                <a:gd name="T1" fmla="*/ 941 h 993"/>
                <a:gd name="T2" fmla="*/ 700 w 1046"/>
                <a:gd name="T3" fmla="*/ 444 h 993"/>
                <a:gd name="T4" fmla="*/ 692 w 1046"/>
                <a:gd name="T5" fmla="*/ 440 h 993"/>
                <a:gd name="T6" fmla="*/ 686 w 1046"/>
                <a:gd name="T7" fmla="*/ 434 h 993"/>
                <a:gd name="T8" fmla="*/ 681 w 1046"/>
                <a:gd name="T9" fmla="*/ 427 h 993"/>
                <a:gd name="T10" fmla="*/ 680 w 1046"/>
                <a:gd name="T11" fmla="*/ 418 h 993"/>
                <a:gd name="T12" fmla="*/ 679 w 1046"/>
                <a:gd name="T13" fmla="*/ 215 h 993"/>
                <a:gd name="T14" fmla="*/ 668 w 1046"/>
                <a:gd name="T15" fmla="*/ 157 h 993"/>
                <a:gd name="T16" fmla="*/ 656 w 1046"/>
                <a:gd name="T17" fmla="*/ 126 h 993"/>
                <a:gd name="T18" fmla="*/ 643 w 1046"/>
                <a:gd name="T19" fmla="*/ 106 h 993"/>
                <a:gd name="T20" fmla="*/ 624 w 1046"/>
                <a:gd name="T21" fmla="*/ 87 h 993"/>
                <a:gd name="T22" fmla="*/ 596 w 1046"/>
                <a:gd name="T23" fmla="*/ 72 h 993"/>
                <a:gd name="T24" fmla="*/ 566 w 1046"/>
                <a:gd name="T25" fmla="*/ 62 h 993"/>
                <a:gd name="T26" fmla="*/ 536 w 1046"/>
                <a:gd name="T27" fmla="*/ 55 h 993"/>
                <a:gd name="T28" fmla="*/ 523 w 1046"/>
                <a:gd name="T29" fmla="*/ 264 h 993"/>
                <a:gd name="T30" fmla="*/ 522 w 1046"/>
                <a:gd name="T31" fmla="*/ 273 h 993"/>
                <a:gd name="T32" fmla="*/ 516 w 1046"/>
                <a:gd name="T33" fmla="*/ 281 h 993"/>
                <a:gd name="T34" fmla="*/ 363 w 1046"/>
                <a:gd name="T35" fmla="*/ 440 h 993"/>
                <a:gd name="T36" fmla="*/ 355 w 1046"/>
                <a:gd name="T37" fmla="*/ 444 h 993"/>
                <a:gd name="T38" fmla="*/ 54 w 1046"/>
                <a:gd name="T39" fmla="*/ 444 h 993"/>
                <a:gd name="T40" fmla="*/ 353 w 1046"/>
                <a:gd name="T41" fmla="*/ 887 h 993"/>
                <a:gd name="T42" fmla="*/ 359 w 1046"/>
                <a:gd name="T43" fmla="*/ 889 h 993"/>
                <a:gd name="T44" fmla="*/ 919 w 1046"/>
                <a:gd name="T45" fmla="*/ 993 h 993"/>
                <a:gd name="T46" fmla="*/ 595 w 1046"/>
                <a:gd name="T47" fmla="*/ 993 h 993"/>
                <a:gd name="T48" fmla="*/ 350 w 1046"/>
                <a:gd name="T49" fmla="*/ 941 h 993"/>
                <a:gd name="T50" fmla="*/ 22 w 1046"/>
                <a:gd name="T51" fmla="*/ 939 h 993"/>
                <a:gd name="T52" fmla="*/ 12 w 1046"/>
                <a:gd name="T53" fmla="*/ 936 h 993"/>
                <a:gd name="T54" fmla="*/ 5 w 1046"/>
                <a:gd name="T55" fmla="*/ 929 h 993"/>
                <a:gd name="T56" fmla="*/ 2 w 1046"/>
                <a:gd name="T57" fmla="*/ 919 h 993"/>
                <a:gd name="T58" fmla="*/ 0 w 1046"/>
                <a:gd name="T59" fmla="*/ 418 h 993"/>
                <a:gd name="T60" fmla="*/ 3 w 1046"/>
                <a:gd name="T61" fmla="*/ 408 h 993"/>
                <a:gd name="T62" fmla="*/ 9 w 1046"/>
                <a:gd name="T63" fmla="*/ 399 h 993"/>
                <a:gd name="T64" fmla="*/ 16 w 1046"/>
                <a:gd name="T65" fmla="*/ 394 h 993"/>
                <a:gd name="T66" fmla="*/ 26 w 1046"/>
                <a:gd name="T67" fmla="*/ 392 h 993"/>
                <a:gd name="T68" fmla="*/ 471 w 1046"/>
                <a:gd name="T69" fmla="*/ 252 h 993"/>
                <a:gd name="T70" fmla="*/ 471 w 1046"/>
                <a:gd name="T71" fmla="*/ 21 h 993"/>
                <a:gd name="T72" fmla="*/ 476 w 1046"/>
                <a:gd name="T73" fmla="*/ 12 h 993"/>
                <a:gd name="T74" fmla="*/ 483 w 1046"/>
                <a:gd name="T75" fmla="*/ 5 h 993"/>
                <a:gd name="T76" fmla="*/ 491 w 1046"/>
                <a:gd name="T77" fmla="*/ 0 h 993"/>
                <a:gd name="T78" fmla="*/ 519 w 1046"/>
                <a:gd name="T79" fmla="*/ 0 h 993"/>
                <a:gd name="T80" fmla="*/ 578 w 1046"/>
                <a:gd name="T81" fmla="*/ 11 h 993"/>
                <a:gd name="T82" fmla="*/ 607 w 1046"/>
                <a:gd name="T83" fmla="*/ 19 h 993"/>
                <a:gd name="T84" fmla="*/ 634 w 1046"/>
                <a:gd name="T85" fmla="*/ 32 h 993"/>
                <a:gd name="T86" fmla="*/ 660 w 1046"/>
                <a:gd name="T87" fmla="*/ 49 h 993"/>
                <a:gd name="T88" fmla="*/ 683 w 1046"/>
                <a:gd name="T89" fmla="*/ 71 h 993"/>
                <a:gd name="T90" fmla="*/ 700 w 1046"/>
                <a:gd name="T91" fmla="*/ 97 h 993"/>
                <a:gd name="T92" fmla="*/ 712 w 1046"/>
                <a:gd name="T93" fmla="*/ 124 h 993"/>
                <a:gd name="T94" fmla="*/ 722 w 1046"/>
                <a:gd name="T95" fmla="*/ 152 h 993"/>
                <a:gd name="T96" fmla="*/ 730 w 1046"/>
                <a:gd name="T97" fmla="*/ 209 h 993"/>
                <a:gd name="T98" fmla="*/ 732 w 1046"/>
                <a:gd name="T99" fmla="*/ 396 h 993"/>
                <a:gd name="T100" fmla="*/ 1030 w 1046"/>
                <a:gd name="T101" fmla="*/ 464 h 993"/>
                <a:gd name="T102" fmla="*/ 1039 w 1046"/>
                <a:gd name="T103" fmla="*/ 470 h 993"/>
                <a:gd name="T104" fmla="*/ 1044 w 1046"/>
                <a:gd name="T105" fmla="*/ 477 h 993"/>
                <a:gd name="T106" fmla="*/ 1046 w 1046"/>
                <a:gd name="T107" fmla="*/ 487 h 993"/>
                <a:gd name="T108" fmla="*/ 945 w 1046"/>
                <a:gd name="T109" fmla="*/ 971 h 993"/>
                <a:gd name="T110" fmla="*/ 942 w 1046"/>
                <a:gd name="T111" fmla="*/ 980 h 993"/>
                <a:gd name="T112" fmla="*/ 936 w 1046"/>
                <a:gd name="T113" fmla="*/ 987 h 993"/>
                <a:gd name="T114" fmla="*/ 928 w 1046"/>
                <a:gd name="T115" fmla="*/ 991 h 993"/>
                <a:gd name="T116" fmla="*/ 919 w 1046"/>
                <a:gd name="T117" fmla="*/ 993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6" h="993">
                  <a:moveTo>
                    <a:pt x="599" y="941"/>
                  </a:moveTo>
                  <a:lnTo>
                    <a:pt x="897" y="941"/>
                  </a:lnTo>
                  <a:lnTo>
                    <a:pt x="988" y="507"/>
                  </a:lnTo>
                  <a:lnTo>
                    <a:pt x="700" y="444"/>
                  </a:lnTo>
                  <a:lnTo>
                    <a:pt x="696" y="443"/>
                  </a:lnTo>
                  <a:lnTo>
                    <a:pt x="692" y="440"/>
                  </a:lnTo>
                  <a:lnTo>
                    <a:pt x="689" y="437"/>
                  </a:lnTo>
                  <a:lnTo>
                    <a:pt x="686" y="434"/>
                  </a:lnTo>
                  <a:lnTo>
                    <a:pt x="683" y="431"/>
                  </a:lnTo>
                  <a:lnTo>
                    <a:pt x="681" y="427"/>
                  </a:lnTo>
                  <a:lnTo>
                    <a:pt x="680" y="422"/>
                  </a:lnTo>
                  <a:lnTo>
                    <a:pt x="680" y="418"/>
                  </a:lnTo>
                  <a:lnTo>
                    <a:pt x="680" y="231"/>
                  </a:lnTo>
                  <a:lnTo>
                    <a:pt x="679" y="215"/>
                  </a:lnTo>
                  <a:lnTo>
                    <a:pt x="674" y="179"/>
                  </a:lnTo>
                  <a:lnTo>
                    <a:pt x="668" y="157"/>
                  </a:lnTo>
                  <a:lnTo>
                    <a:pt x="661" y="136"/>
                  </a:lnTo>
                  <a:lnTo>
                    <a:pt x="656" y="126"/>
                  </a:lnTo>
                  <a:lnTo>
                    <a:pt x="650" y="114"/>
                  </a:lnTo>
                  <a:lnTo>
                    <a:pt x="643" y="106"/>
                  </a:lnTo>
                  <a:lnTo>
                    <a:pt x="635" y="97"/>
                  </a:lnTo>
                  <a:lnTo>
                    <a:pt x="624" y="87"/>
                  </a:lnTo>
                  <a:lnTo>
                    <a:pt x="611" y="78"/>
                  </a:lnTo>
                  <a:lnTo>
                    <a:pt x="596" y="72"/>
                  </a:lnTo>
                  <a:lnTo>
                    <a:pt x="582" y="67"/>
                  </a:lnTo>
                  <a:lnTo>
                    <a:pt x="566" y="62"/>
                  </a:lnTo>
                  <a:lnTo>
                    <a:pt x="550" y="58"/>
                  </a:lnTo>
                  <a:lnTo>
                    <a:pt x="536" y="55"/>
                  </a:lnTo>
                  <a:lnTo>
                    <a:pt x="523" y="54"/>
                  </a:lnTo>
                  <a:lnTo>
                    <a:pt x="523" y="264"/>
                  </a:lnTo>
                  <a:lnTo>
                    <a:pt x="523" y="268"/>
                  </a:lnTo>
                  <a:lnTo>
                    <a:pt x="522" y="273"/>
                  </a:lnTo>
                  <a:lnTo>
                    <a:pt x="519" y="278"/>
                  </a:lnTo>
                  <a:lnTo>
                    <a:pt x="516" y="281"/>
                  </a:lnTo>
                  <a:lnTo>
                    <a:pt x="368" y="435"/>
                  </a:lnTo>
                  <a:lnTo>
                    <a:pt x="363" y="440"/>
                  </a:lnTo>
                  <a:lnTo>
                    <a:pt x="359" y="441"/>
                  </a:lnTo>
                  <a:lnTo>
                    <a:pt x="355" y="444"/>
                  </a:lnTo>
                  <a:lnTo>
                    <a:pt x="349" y="444"/>
                  </a:lnTo>
                  <a:lnTo>
                    <a:pt x="54" y="444"/>
                  </a:lnTo>
                  <a:lnTo>
                    <a:pt x="54" y="887"/>
                  </a:lnTo>
                  <a:lnTo>
                    <a:pt x="353" y="887"/>
                  </a:lnTo>
                  <a:lnTo>
                    <a:pt x="356" y="887"/>
                  </a:lnTo>
                  <a:lnTo>
                    <a:pt x="359" y="889"/>
                  </a:lnTo>
                  <a:lnTo>
                    <a:pt x="599" y="941"/>
                  </a:lnTo>
                  <a:close/>
                  <a:moveTo>
                    <a:pt x="919" y="993"/>
                  </a:moveTo>
                  <a:lnTo>
                    <a:pt x="596" y="993"/>
                  </a:lnTo>
                  <a:lnTo>
                    <a:pt x="595" y="993"/>
                  </a:lnTo>
                  <a:lnTo>
                    <a:pt x="592" y="991"/>
                  </a:lnTo>
                  <a:lnTo>
                    <a:pt x="350" y="941"/>
                  </a:lnTo>
                  <a:lnTo>
                    <a:pt x="26" y="941"/>
                  </a:lnTo>
                  <a:lnTo>
                    <a:pt x="22" y="939"/>
                  </a:lnTo>
                  <a:lnTo>
                    <a:pt x="16" y="938"/>
                  </a:lnTo>
                  <a:lnTo>
                    <a:pt x="12" y="936"/>
                  </a:lnTo>
                  <a:lnTo>
                    <a:pt x="9" y="932"/>
                  </a:lnTo>
                  <a:lnTo>
                    <a:pt x="5" y="929"/>
                  </a:lnTo>
                  <a:lnTo>
                    <a:pt x="3" y="925"/>
                  </a:lnTo>
                  <a:lnTo>
                    <a:pt x="2" y="919"/>
                  </a:lnTo>
                  <a:lnTo>
                    <a:pt x="0" y="913"/>
                  </a:lnTo>
                  <a:lnTo>
                    <a:pt x="0" y="418"/>
                  </a:lnTo>
                  <a:lnTo>
                    <a:pt x="2" y="412"/>
                  </a:lnTo>
                  <a:lnTo>
                    <a:pt x="3" y="408"/>
                  </a:lnTo>
                  <a:lnTo>
                    <a:pt x="5" y="404"/>
                  </a:lnTo>
                  <a:lnTo>
                    <a:pt x="9" y="399"/>
                  </a:lnTo>
                  <a:lnTo>
                    <a:pt x="12" y="396"/>
                  </a:lnTo>
                  <a:lnTo>
                    <a:pt x="16" y="394"/>
                  </a:lnTo>
                  <a:lnTo>
                    <a:pt x="22" y="392"/>
                  </a:lnTo>
                  <a:lnTo>
                    <a:pt x="26" y="392"/>
                  </a:lnTo>
                  <a:lnTo>
                    <a:pt x="337" y="392"/>
                  </a:lnTo>
                  <a:lnTo>
                    <a:pt x="471" y="252"/>
                  </a:lnTo>
                  <a:lnTo>
                    <a:pt x="471" y="26"/>
                  </a:lnTo>
                  <a:lnTo>
                    <a:pt x="471" y="21"/>
                  </a:lnTo>
                  <a:lnTo>
                    <a:pt x="473" y="16"/>
                  </a:lnTo>
                  <a:lnTo>
                    <a:pt x="476" y="12"/>
                  </a:lnTo>
                  <a:lnTo>
                    <a:pt x="478" y="8"/>
                  </a:lnTo>
                  <a:lnTo>
                    <a:pt x="483" y="5"/>
                  </a:lnTo>
                  <a:lnTo>
                    <a:pt x="487" y="2"/>
                  </a:lnTo>
                  <a:lnTo>
                    <a:pt x="491" y="0"/>
                  </a:lnTo>
                  <a:lnTo>
                    <a:pt x="497" y="0"/>
                  </a:lnTo>
                  <a:lnTo>
                    <a:pt x="519" y="0"/>
                  </a:lnTo>
                  <a:lnTo>
                    <a:pt x="565" y="8"/>
                  </a:lnTo>
                  <a:lnTo>
                    <a:pt x="578" y="11"/>
                  </a:lnTo>
                  <a:lnTo>
                    <a:pt x="592" y="15"/>
                  </a:lnTo>
                  <a:lnTo>
                    <a:pt x="607" y="19"/>
                  </a:lnTo>
                  <a:lnTo>
                    <a:pt x="621" y="25"/>
                  </a:lnTo>
                  <a:lnTo>
                    <a:pt x="634" y="32"/>
                  </a:lnTo>
                  <a:lnTo>
                    <a:pt x="648" y="41"/>
                  </a:lnTo>
                  <a:lnTo>
                    <a:pt x="660" y="49"/>
                  </a:lnTo>
                  <a:lnTo>
                    <a:pt x="673" y="60"/>
                  </a:lnTo>
                  <a:lnTo>
                    <a:pt x="683" y="71"/>
                  </a:lnTo>
                  <a:lnTo>
                    <a:pt x="692" y="84"/>
                  </a:lnTo>
                  <a:lnTo>
                    <a:pt x="700" y="97"/>
                  </a:lnTo>
                  <a:lnTo>
                    <a:pt x="706" y="111"/>
                  </a:lnTo>
                  <a:lnTo>
                    <a:pt x="712" y="124"/>
                  </a:lnTo>
                  <a:lnTo>
                    <a:pt x="717" y="139"/>
                  </a:lnTo>
                  <a:lnTo>
                    <a:pt x="722" y="152"/>
                  </a:lnTo>
                  <a:lnTo>
                    <a:pt x="725" y="166"/>
                  </a:lnTo>
                  <a:lnTo>
                    <a:pt x="730" y="209"/>
                  </a:lnTo>
                  <a:lnTo>
                    <a:pt x="732" y="231"/>
                  </a:lnTo>
                  <a:lnTo>
                    <a:pt x="732" y="396"/>
                  </a:lnTo>
                  <a:lnTo>
                    <a:pt x="1026" y="461"/>
                  </a:lnTo>
                  <a:lnTo>
                    <a:pt x="1030" y="464"/>
                  </a:lnTo>
                  <a:lnTo>
                    <a:pt x="1034" y="466"/>
                  </a:lnTo>
                  <a:lnTo>
                    <a:pt x="1039" y="470"/>
                  </a:lnTo>
                  <a:lnTo>
                    <a:pt x="1041" y="473"/>
                  </a:lnTo>
                  <a:lnTo>
                    <a:pt x="1044" y="477"/>
                  </a:lnTo>
                  <a:lnTo>
                    <a:pt x="1046" y="483"/>
                  </a:lnTo>
                  <a:lnTo>
                    <a:pt x="1046" y="487"/>
                  </a:lnTo>
                  <a:lnTo>
                    <a:pt x="1044" y="493"/>
                  </a:lnTo>
                  <a:lnTo>
                    <a:pt x="945" y="971"/>
                  </a:lnTo>
                  <a:lnTo>
                    <a:pt x="944" y="975"/>
                  </a:lnTo>
                  <a:lnTo>
                    <a:pt x="942" y="980"/>
                  </a:lnTo>
                  <a:lnTo>
                    <a:pt x="939" y="984"/>
                  </a:lnTo>
                  <a:lnTo>
                    <a:pt x="936" y="987"/>
                  </a:lnTo>
                  <a:lnTo>
                    <a:pt x="932" y="990"/>
                  </a:lnTo>
                  <a:lnTo>
                    <a:pt x="928" y="991"/>
                  </a:lnTo>
                  <a:lnTo>
                    <a:pt x="923" y="993"/>
                  </a:lnTo>
                  <a:lnTo>
                    <a:pt x="919"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70">
              <a:extLst>
                <a:ext uri="{FF2B5EF4-FFF2-40B4-BE49-F238E27FC236}">
                  <a16:creationId xmlns:a16="http://schemas.microsoft.com/office/drawing/2014/main" id="{7A73A93E-C5D9-421B-B7DB-5738E7855367}"/>
                </a:ext>
              </a:extLst>
            </p:cNvPr>
            <p:cNvSpPr>
              <a:spLocks/>
            </p:cNvSpPr>
            <p:nvPr/>
          </p:nvSpPr>
          <p:spPr bwMode="auto">
            <a:xfrm>
              <a:off x="4560888" y="3838576"/>
              <a:ext cx="26988" cy="257175"/>
            </a:xfrm>
            <a:custGeom>
              <a:avLst/>
              <a:gdLst>
                <a:gd name="T0" fmla="*/ 26 w 52"/>
                <a:gd name="T1" fmla="*/ 486 h 486"/>
                <a:gd name="T2" fmla="*/ 21 w 52"/>
                <a:gd name="T3" fmla="*/ 486 h 486"/>
                <a:gd name="T4" fmla="*/ 16 w 52"/>
                <a:gd name="T5" fmla="*/ 485 h 486"/>
                <a:gd name="T6" fmla="*/ 12 w 52"/>
                <a:gd name="T7" fmla="*/ 482 h 486"/>
                <a:gd name="T8" fmla="*/ 8 w 52"/>
                <a:gd name="T9" fmla="*/ 479 h 486"/>
                <a:gd name="T10" fmla="*/ 5 w 52"/>
                <a:gd name="T11" fmla="*/ 475 h 486"/>
                <a:gd name="T12" fmla="*/ 2 w 52"/>
                <a:gd name="T13" fmla="*/ 471 h 486"/>
                <a:gd name="T14" fmla="*/ 0 w 52"/>
                <a:gd name="T15" fmla="*/ 466 h 486"/>
                <a:gd name="T16" fmla="*/ 0 w 52"/>
                <a:gd name="T17" fmla="*/ 460 h 486"/>
                <a:gd name="T18" fmla="*/ 0 w 52"/>
                <a:gd name="T19" fmla="*/ 26 h 486"/>
                <a:gd name="T20" fmla="*/ 0 w 52"/>
                <a:gd name="T21" fmla="*/ 20 h 486"/>
                <a:gd name="T22" fmla="*/ 2 w 52"/>
                <a:gd name="T23" fmla="*/ 16 h 486"/>
                <a:gd name="T24" fmla="*/ 5 w 52"/>
                <a:gd name="T25" fmla="*/ 11 h 486"/>
                <a:gd name="T26" fmla="*/ 8 w 52"/>
                <a:gd name="T27" fmla="*/ 7 h 486"/>
                <a:gd name="T28" fmla="*/ 12 w 52"/>
                <a:gd name="T29" fmla="*/ 4 h 486"/>
                <a:gd name="T30" fmla="*/ 16 w 52"/>
                <a:gd name="T31" fmla="*/ 1 h 486"/>
                <a:gd name="T32" fmla="*/ 21 w 52"/>
                <a:gd name="T33" fmla="*/ 0 h 486"/>
                <a:gd name="T34" fmla="*/ 26 w 52"/>
                <a:gd name="T35" fmla="*/ 0 h 486"/>
                <a:gd name="T36" fmla="*/ 32 w 52"/>
                <a:gd name="T37" fmla="*/ 0 h 486"/>
                <a:gd name="T38" fmla="*/ 36 w 52"/>
                <a:gd name="T39" fmla="*/ 1 h 486"/>
                <a:gd name="T40" fmla="*/ 41 w 52"/>
                <a:gd name="T41" fmla="*/ 4 h 486"/>
                <a:gd name="T42" fmla="*/ 45 w 52"/>
                <a:gd name="T43" fmla="*/ 7 h 486"/>
                <a:gd name="T44" fmla="*/ 48 w 52"/>
                <a:gd name="T45" fmla="*/ 11 h 486"/>
                <a:gd name="T46" fmla="*/ 51 w 52"/>
                <a:gd name="T47" fmla="*/ 16 h 486"/>
                <a:gd name="T48" fmla="*/ 52 w 52"/>
                <a:gd name="T49" fmla="*/ 20 h 486"/>
                <a:gd name="T50" fmla="*/ 52 w 52"/>
                <a:gd name="T51" fmla="*/ 26 h 486"/>
                <a:gd name="T52" fmla="*/ 52 w 52"/>
                <a:gd name="T53" fmla="*/ 460 h 486"/>
                <a:gd name="T54" fmla="*/ 52 w 52"/>
                <a:gd name="T55" fmla="*/ 466 h 486"/>
                <a:gd name="T56" fmla="*/ 51 w 52"/>
                <a:gd name="T57" fmla="*/ 471 h 486"/>
                <a:gd name="T58" fmla="*/ 48 w 52"/>
                <a:gd name="T59" fmla="*/ 475 h 486"/>
                <a:gd name="T60" fmla="*/ 45 w 52"/>
                <a:gd name="T61" fmla="*/ 479 h 486"/>
                <a:gd name="T62" fmla="*/ 41 w 52"/>
                <a:gd name="T63" fmla="*/ 482 h 486"/>
                <a:gd name="T64" fmla="*/ 36 w 52"/>
                <a:gd name="T65" fmla="*/ 485 h 486"/>
                <a:gd name="T66" fmla="*/ 32 w 52"/>
                <a:gd name="T67" fmla="*/ 486 h 486"/>
                <a:gd name="T68" fmla="*/ 26 w 52"/>
                <a:gd name="T69"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486">
                  <a:moveTo>
                    <a:pt x="26" y="486"/>
                  </a:moveTo>
                  <a:lnTo>
                    <a:pt x="21" y="486"/>
                  </a:lnTo>
                  <a:lnTo>
                    <a:pt x="16" y="485"/>
                  </a:lnTo>
                  <a:lnTo>
                    <a:pt x="12" y="482"/>
                  </a:lnTo>
                  <a:lnTo>
                    <a:pt x="8" y="479"/>
                  </a:lnTo>
                  <a:lnTo>
                    <a:pt x="5" y="475"/>
                  </a:lnTo>
                  <a:lnTo>
                    <a:pt x="2" y="471"/>
                  </a:lnTo>
                  <a:lnTo>
                    <a:pt x="0" y="466"/>
                  </a:lnTo>
                  <a:lnTo>
                    <a:pt x="0" y="460"/>
                  </a:lnTo>
                  <a:lnTo>
                    <a:pt x="0" y="26"/>
                  </a:lnTo>
                  <a:lnTo>
                    <a:pt x="0" y="20"/>
                  </a:lnTo>
                  <a:lnTo>
                    <a:pt x="2" y="16"/>
                  </a:lnTo>
                  <a:lnTo>
                    <a:pt x="5" y="11"/>
                  </a:lnTo>
                  <a:lnTo>
                    <a:pt x="8" y="7"/>
                  </a:lnTo>
                  <a:lnTo>
                    <a:pt x="12" y="4"/>
                  </a:lnTo>
                  <a:lnTo>
                    <a:pt x="16" y="1"/>
                  </a:lnTo>
                  <a:lnTo>
                    <a:pt x="21" y="0"/>
                  </a:lnTo>
                  <a:lnTo>
                    <a:pt x="26" y="0"/>
                  </a:lnTo>
                  <a:lnTo>
                    <a:pt x="32" y="0"/>
                  </a:lnTo>
                  <a:lnTo>
                    <a:pt x="36" y="1"/>
                  </a:lnTo>
                  <a:lnTo>
                    <a:pt x="41" y="4"/>
                  </a:lnTo>
                  <a:lnTo>
                    <a:pt x="45" y="7"/>
                  </a:lnTo>
                  <a:lnTo>
                    <a:pt x="48" y="11"/>
                  </a:lnTo>
                  <a:lnTo>
                    <a:pt x="51" y="16"/>
                  </a:lnTo>
                  <a:lnTo>
                    <a:pt x="52" y="20"/>
                  </a:lnTo>
                  <a:lnTo>
                    <a:pt x="52" y="26"/>
                  </a:lnTo>
                  <a:lnTo>
                    <a:pt x="52" y="460"/>
                  </a:lnTo>
                  <a:lnTo>
                    <a:pt x="52" y="466"/>
                  </a:lnTo>
                  <a:lnTo>
                    <a:pt x="51" y="471"/>
                  </a:lnTo>
                  <a:lnTo>
                    <a:pt x="48" y="475"/>
                  </a:lnTo>
                  <a:lnTo>
                    <a:pt x="45" y="479"/>
                  </a:lnTo>
                  <a:lnTo>
                    <a:pt x="41" y="482"/>
                  </a:lnTo>
                  <a:lnTo>
                    <a:pt x="36" y="485"/>
                  </a:lnTo>
                  <a:lnTo>
                    <a:pt x="32" y="486"/>
                  </a:lnTo>
                  <a:lnTo>
                    <a:pt x="2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04" name="Group 118">
            <a:extLst>
              <a:ext uri="{FF2B5EF4-FFF2-40B4-BE49-F238E27FC236}">
                <a16:creationId xmlns:a16="http://schemas.microsoft.com/office/drawing/2014/main" id="{2FD96BB2-97D2-416A-8763-825A9CF57F77}"/>
              </a:ext>
            </a:extLst>
          </p:cNvPr>
          <p:cNvGrpSpPr>
            <a:grpSpLocks noChangeAspect="1"/>
          </p:cNvGrpSpPr>
          <p:nvPr/>
        </p:nvGrpSpPr>
        <p:grpSpPr>
          <a:xfrm>
            <a:off x="2351346" y="3263433"/>
            <a:ext cx="211881" cy="285619"/>
            <a:chOff x="3132981" y="2563141"/>
            <a:chExt cx="418808" cy="564561"/>
          </a:xfrm>
          <a:solidFill>
            <a:schemeClr val="bg1"/>
          </a:solidFill>
          <a:effectLst/>
        </p:grpSpPr>
        <p:sp>
          <p:nvSpPr>
            <p:cNvPr id="605" name="Freeform 77">
              <a:extLst>
                <a:ext uri="{FF2B5EF4-FFF2-40B4-BE49-F238E27FC236}">
                  <a16:creationId xmlns:a16="http://schemas.microsoft.com/office/drawing/2014/main" id="{641DC4CB-3D79-49C2-A708-0AE92AA83F87}"/>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78">
              <a:extLst>
                <a:ext uri="{FF2B5EF4-FFF2-40B4-BE49-F238E27FC236}">
                  <a16:creationId xmlns:a16="http://schemas.microsoft.com/office/drawing/2014/main" id="{D884862B-0D68-4B90-AC5D-56173C14AEEB}"/>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79">
              <a:extLst>
                <a:ext uri="{FF2B5EF4-FFF2-40B4-BE49-F238E27FC236}">
                  <a16:creationId xmlns:a16="http://schemas.microsoft.com/office/drawing/2014/main" id="{7F7A55AD-95BA-4D0F-8DB9-8EB604652AC1}"/>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80">
              <a:extLst>
                <a:ext uri="{FF2B5EF4-FFF2-40B4-BE49-F238E27FC236}">
                  <a16:creationId xmlns:a16="http://schemas.microsoft.com/office/drawing/2014/main" id="{901B6CA0-0FAE-4E1B-9E10-EFCDBF395C8F}"/>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81">
              <a:extLst>
                <a:ext uri="{FF2B5EF4-FFF2-40B4-BE49-F238E27FC236}">
                  <a16:creationId xmlns:a16="http://schemas.microsoft.com/office/drawing/2014/main" id="{050665B7-694D-4528-BA19-3C6B5B67C91A}"/>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1" name="Group 50">
            <a:extLst>
              <a:ext uri="{FF2B5EF4-FFF2-40B4-BE49-F238E27FC236}">
                <a16:creationId xmlns:a16="http://schemas.microsoft.com/office/drawing/2014/main" id="{ABEA1E2C-1F1F-4F27-B39C-84B7C255ACFF}"/>
              </a:ext>
            </a:extLst>
          </p:cNvPr>
          <p:cNvGrpSpPr>
            <a:grpSpLocks noChangeAspect="1"/>
          </p:cNvGrpSpPr>
          <p:nvPr/>
        </p:nvGrpSpPr>
        <p:grpSpPr>
          <a:xfrm>
            <a:off x="2332422" y="4879041"/>
            <a:ext cx="249730" cy="285619"/>
            <a:chOff x="345159" y="5354717"/>
            <a:chExt cx="249620" cy="285493"/>
          </a:xfrm>
          <a:solidFill>
            <a:schemeClr val="bg1"/>
          </a:solidFill>
          <a:effectLst/>
        </p:grpSpPr>
        <p:sp>
          <p:nvSpPr>
            <p:cNvPr id="782" name="Freeform 196">
              <a:extLst>
                <a:ext uri="{FF2B5EF4-FFF2-40B4-BE49-F238E27FC236}">
                  <a16:creationId xmlns:a16="http://schemas.microsoft.com/office/drawing/2014/main" id="{99FC9733-D670-4100-9EB7-F3155D5A0B73}"/>
                </a:ext>
              </a:extLst>
            </p:cNvPr>
            <p:cNvSpPr>
              <a:spLocks/>
            </p:cNvSpPr>
            <p:nvPr/>
          </p:nvSpPr>
          <p:spPr bwMode="auto">
            <a:xfrm>
              <a:off x="404948" y="5450380"/>
              <a:ext cx="28400" cy="26905"/>
            </a:xfrm>
            <a:custGeom>
              <a:avLst/>
              <a:gdLst>
                <a:gd name="T0" fmla="*/ 53 w 75"/>
                <a:gd name="T1" fmla="*/ 71 h 74"/>
                <a:gd name="T2" fmla="*/ 57 w 75"/>
                <a:gd name="T3" fmla="*/ 73 h 74"/>
                <a:gd name="T4" fmla="*/ 62 w 75"/>
                <a:gd name="T5" fmla="*/ 74 h 74"/>
                <a:gd name="T6" fmla="*/ 67 w 75"/>
                <a:gd name="T7" fmla="*/ 73 h 74"/>
                <a:gd name="T8" fmla="*/ 71 w 75"/>
                <a:gd name="T9" fmla="*/ 71 h 74"/>
                <a:gd name="T10" fmla="*/ 73 w 75"/>
                <a:gd name="T11" fmla="*/ 66 h 74"/>
                <a:gd name="T12" fmla="*/ 75 w 75"/>
                <a:gd name="T13" fmla="*/ 61 h 74"/>
                <a:gd name="T14" fmla="*/ 73 w 75"/>
                <a:gd name="T15" fmla="*/ 57 h 74"/>
                <a:gd name="T16" fmla="*/ 71 w 75"/>
                <a:gd name="T17" fmla="*/ 52 h 74"/>
                <a:gd name="T18" fmla="*/ 23 w 75"/>
                <a:gd name="T19" fmla="*/ 4 h 74"/>
                <a:gd name="T20" fmla="*/ 19 w 75"/>
                <a:gd name="T21" fmla="*/ 1 h 74"/>
                <a:gd name="T22" fmla="*/ 13 w 75"/>
                <a:gd name="T23" fmla="*/ 0 h 74"/>
                <a:gd name="T24" fmla="*/ 9 w 75"/>
                <a:gd name="T25" fmla="*/ 1 h 74"/>
                <a:gd name="T26" fmla="*/ 5 w 75"/>
                <a:gd name="T27" fmla="*/ 4 h 74"/>
                <a:gd name="T28" fmla="*/ 2 w 75"/>
                <a:gd name="T29" fmla="*/ 8 h 74"/>
                <a:gd name="T30" fmla="*/ 0 w 75"/>
                <a:gd name="T31" fmla="*/ 13 h 74"/>
                <a:gd name="T32" fmla="*/ 2 w 75"/>
                <a:gd name="T33" fmla="*/ 18 h 74"/>
                <a:gd name="T34" fmla="*/ 5 w 75"/>
                <a:gd name="T35" fmla="*/ 21 h 74"/>
                <a:gd name="T36" fmla="*/ 53 w 75"/>
                <a:gd name="T37"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4">
                  <a:moveTo>
                    <a:pt x="53" y="71"/>
                  </a:moveTo>
                  <a:lnTo>
                    <a:pt x="57" y="73"/>
                  </a:lnTo>
                  <a:lnTo>
                    <a:pt x="62" y="74"/>
                  </a:lnTo>
                  <a:lnTo>
                    <a:pt x="67" y="73"/>
                  </a:lnTo>
                  <a:lnTo>
                    <a:pt x="71" y="71"/>
                  </a:lnTo>
                  <a:lnTo>
                    <a:pt x="73" y="66"/>
                  </a:lnTo>
                  <a:lnTo>
                    <a:pt x="75" y="61"/>
                  </a:lnTo>
                  <a:lnTo>
                    <a:pt x="73" y="57"/>
                  </a:lnTo>
                  <a:lnTo>
                    <a:pt x="71" y="52"/>
                  </a:lnTo>
                  <a:lnTo>
                    <a:pt x="23" y="4"/>
                  </a:lnTo>
                  <a:lnTo>
                    <a:pt x="19" y="1"/>
                  </a:lnTo>
                  <a:lnTo>
                    <a:pt x="13" y="0"/>
                  </a:lnTo>
                  <a:lnTo>
                    <a:pt x="9" y="1"/>
                  </a:lnTo>
                  <a:lnTo>
                    <a:pt x="5" y="4"/>
                  </a:lnTo>
                  <a:lnTo>
                    <a:pt x="2" y="8"/>
                  </a:lnTo>
                  <a:lnTo>
                    <a:pt x="0" y="13"/>
                  </a:lnTo>
                  <a:lnTo>
                    <a:pt x="2" y="18"/>
                  </a:lnTo>
                  <a:lnTo>
                    <a:pt x="5" y="21"/>
                  </a:lnTo>
                  <a:lnTo>
                    <a:pt x="53"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3" name="Freeform 197">
              <a:extLst>
                <a:ext uri="{FF2B5EF4-FFF2-40B4-BE49-F238E27FC236}">
                  <a16:creationId xmlns:a16="http://schemas.microsoft.com/office/drawing/2014/main" id="{6898D383-A921-4E7F-96BB-EB7F7EA14763}"/>
                </a:ext>
              </a:extLst>
            </p:cNvPr>
            <p:cNvSpPr>
              <a:spLocks/>
            </p:cNvSpPr>
            <p:nvPr/>
          </p:nvSpPr>
          <p:spPr bwMode="auto">
            <a:xfrm>
              <a:off x="466232" y="5569958"/>
              <a:ext cx="10464" cy="34379"/>
            </a:xfrm>
            <a:custGeom>
              <a:avLst/>
              <a:gdLst>
                <a:gd name="T0" fmla="*/ 12 w 24"/>
                <a:gd name="T1" fmla="*/ 0 h 90"/>
                <a:gd name="T2" fmla="*/ 7 w 24"/>
                <a:gd name="T3" fmla="*/ 1 h 90"/>
                <a:gd name="T4" fmla="*/ 3 w 24"/>
                <a:gd name="T5" fmla="*/ 4 h 90"/>
                <a:gd name="T6" fmla="*/ 0 w 24"/>
                <a:gd name="T7" fmla="*/ 8 h 90"/>
                <a:gd name="T8" fmla="*/ 0 w 24"/>
                <a:gd name="T9" fmla="*/ 13 h 90"/>
                <a:gd name="T10" fmla="*/ 0 w 24"/>
                <a:gd name="T11" fmla="*/ 78 h 90"/>
                <a:gd name="T12" fmla="*/ 0 w 24"/>
                <a:gd name="T13" fmla="*/ 82 h 90"/>
                <a:gd name="T14" fmla="*/ 3 w 24"/>
                <a:gd name="T15" fmla="*/ 87 h 90"/>
                <a:gd name="T16" fmla="*/ 7 w 24"/>
                <a:gd name="T17" fmla="*/ 89 h 90"/>
                <a:gd name="T18" fmla="*/ 12 w 24"/>
                <a:gd name="T19" fmla="*/ 90 h 90"/>
                <a:gd name="T20" fmla="*/ 17 w 24"/>
                <a:gd name="T21" fmla="*/ 89 h 90"/>
                <a:gd name="T22" fmla="*/ 21 w 24"/>
                <a:gd name="T23" fmla="*/ 87 h 90"/>
                <a:gd name="T24" fmla="*/ 23 w 24"/>
                <a:gd name="T25" fmla="*/ 82 h 90"/>
                <a:gd name="T26" fmla="*/ 24 w 24"/>
                <a:gd name="T27" fmla="*/ 78 h 90"/>
                <a:gd name="T28" fmla="*/ 24 w 24"/>
                <a:gd name="T29" fmla="*/ 13 h 90"/>
                <a:gd name="T30" fmla="*/ 23 w 24"/>
                <a:gd name="T31" fmla="*/ 8 h 90"/>
                <a:gd name="T32" fmla="*/ 21 w 24"/>
                <a:gd name="T33" fmla="*/ 4 h 90"/>
                <a:gd name="T34" fmla="*/ 17 w 24"/>
                <a:gd name="T35" fmla="*/ 1 h 90"/>
                <a:gd name="T36" fmla="*/ 12 w 24"/>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90">
                  <a:moveTo>
                    <a:pt x="12" y="0"/>
                  </a:moveTo>
                  <a:lnTo>
                    <a:pt x="7" y="1"/>
                  </a:lnTo>
                  <a:lnTo>
                    <a:pt x="3" y="4"/>
                  </a:lnTo>
                  <a:lnTo>
                    <a:pt x="0" y="8"/>
                  </a:lnTo>
                  <a:lnTo>
                    <a:pt x="0" y="13"/>
                  </a:lnTo>
                  <a:lnTo>
                    <a:pt x="0" y="78"/>
                  </a:lnTo>
                  <a:lnTo>
                    <a:pt x="0" y="82"/>
                  </a:lnTo>
                  <a:lnTo>
                    <a:pt x="3" y="87"/>
                  </a:lnTo>
                  <a:lnTo>
                    <a:pt x="7" y="89"/>
                  </a:lnTo>
                  <a:lnTo>
                    <a:pt x="12" y="90"/>
                  </a:lnTo>
                  <a:lnTo>
                    <a:pt x="17" y="89"/>
                  </a:lnTo>
                  <a:lnTo>
                    <a:pt x="21" y="87"/>
                  </a:lnTo>
                  <a:lnTo>
                    <a:pt x="23" y="82"/>
                  </a:lnTo>
                  <a:lnTo>
                    <a:pt x="24" y="78"/>
                  </a:lnTo>
                  <a:lnTo>
                    <a:pt x="24" y="13"/>
                  </a:lnTo>
                  <a:lnTo>
                    <a:pt x="23"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4" name="Freeform 198">
              <a:extLst>
                <a:ext uri="{FF2B5EF4-FFF2-40B4-BE49-F238E27FC236}">
                  <a16:creationId xmlns:a16="http://schemas.microsoft.com/office/drawing/2014/main" id="{42470ECD-BB16-42EA-9F63-DA461AC41479}"/>
                </a:ext>
              </a:extLst>
            </p:cNvPr>
            <p:cNvSpPr>
              <a:spLocks/>
            </p:cNvSpPr>
            <p:nvPr/>
          </p:nvSpPr>
          <p:spPr bwMode="auto">
            <a:xfrm>
              <a:off x="404948" y="5552021"/>
              <a:ext cx="28400" cy="28400"/>
            </a:xfrm>
            <a:custGeom>
              <a:avLst/>
              <a:gdLst>
                <a:gd name="T0" fmla="*/ 53 w 75"/>
                <a:gd name="T1" fmla="*/ 5 h 75"/>
                <a:gd name="T2" fmla="*/ 5 w 75"/>
                <a:gd name="T3" fmla="*/ 53 h 75"/>
                <a:gd name="T4" fmla="*/ 2 w 75"/>
                <a:gd name="T5" fmla="*/ 57 h 75"/>
                <a:gd name="T6" fmla="*/ 0 w 75"/>
                <a:gd name="T7" fmla="*/ 62 h 75"/>
                <a:gd name="T8" fmla="*/ 2 w 75"/>
                <a:gd name="T9" fmla="*/ 66 h 75"/>
                <a:gd name="T10" fmla="*/ 5 w 75"/>
                <a:gd name="T11" fmla="*/ 70 h 75"/>
                <a:gd name="T12" fmla="*/ 9 w 75"/>
                <a:gd name="T13" fmla="*/ 74 h 75"/>
                <a:gd name="T14" fmla="*/ 13 w 75"/>
                <a:gd name="T15" fmla="*/ 75 h 75"/>
                <a:gd name="T16" fmla="*/ 19 w 75"/>
                <a:gd name="T17" fmla="*/ 74 h 75"/>
                <a:gd name="T18" fmla="*/ 23 w 75"/>
                <a:gd name="T19" fmla="*/ 70 h 75"/>
                <a:gd name="T20" fmla="*/ 71 w 75"/>
                <a:gd name="T21" fmla="*/ 23 h 75"/>
                <a:gd name="T22" fmla="*/ 73 w 75"/>
                <a:gd name="T23" fmla="*/ 19 h 75"/>
                <a:gd name="T24" fmla="*/ 75 w 75"/>
                <a:gd name="T25" fmla="*/ 14 h 75"/>
                <a:gd name="T26" fmla="*/ 73 w 75"/>
                <a:gd name="T27" fmla="*/ 9 h 75"/>
                <a:gd name="T28" fmla="*/ 71 w 75"/>
                <a:gd name="T29" fmla="*/ 5 h 75"/>
                <a:gd name="T30" fmla="*/ 67 w 75"/>
                <a:gd name="T31" fmla="*/ 2 h 75"/>
                <a:gd name="T32" fmla="*/ 62 w 75"/>
                <a:gd name="T33" fmla="*/ 0 h 75"/>
                <a:gd name="T34" fmla="*/ 57 w 75"/>
                <a:gd name="T35" fmla="*/ 2 h 75"/>
                <a:gd name="T36" fmla="*/ 53 w 75"/>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5">
                  <a:moveTo>
                    <a:pt x="53" y="5"/>
                  </a:moveTo>
                  <a:lnTo>
                    <a:pt x="5" y="53"/>
                  </a:lnTo>
                  <a:lnTo>
                    <a:pt x="2" y="57"/>
                  </a:lnTo>
                  <a:lnTo>
                    <a:pt x="0" y="62"/>
                  </a:lnTo>
                  <a:lnTo>
                    <a:pt x="2" y="66"/>
                  </a:lnTo>
                  <a:lnTo>
                    <a:pt x="5" y="70"/>
                  </a:lnTo>
                  <a:lnTo>
                    <a:pt x="9" y="74"/>
                  </a:lnTo>
                  <a:lnTo>
                    <a:pt x="13" y="75"/>
                  </a:lnTo>
                  <a:lnTo>
                    <a:pt x="19" y="74"/>
                  </a:lnTo>
                  <a:lnTo>
                    <a:pt x="23" y="70"/>
                  </a:lnTo>
                  <a:lnTo>
                    <a:pt x="71" y="23"/>
                  </a:lnTo>
                  <a:lnTo>
                    <a:pt x="73" y="19"/>
                  </a:lnTo>
                  <a:lnTo>
                    <a:pt x="75" y="14"/>
                  </a:lnTo>
                  <a:lnTo>
                    <a:pt x="73" y="9"/>
                  </a:lnTo>
                  <a:lnTo>
                    <a:pt x="71" y="5"/>
                  </a:lnTo>
                  <a:lnTo>
                    <a:pt x="67" y="2"/>
                  </a:lnTo>
                  <a:lnTo>
                    <a:pt x="62" y="0"/>
                  </a:lnTo>
                  <a:lnTo>
                    <a:pt x="57" y="2"/>
                  </a:lnTo>
                  <a:lnTo>
                    <a:pt x="5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5" name="Freeform 199">
              <a:extLst>
                <a:ext uri="{FF2B5EF4-FFF2-40B4-BE49-F238E27FC236}">
                  <a16:creationId xmlns:a16="http://schemas.microsoft.com/office/drawing/2014/main" id="{7255AA1C-D2F4-4A20-9A68-DDE76580F901}"/>
                </a:ext>
              </a:extLst>
            </p:cNvPr>
            <p:cNvSpPr>
              <a:spLocks/>
            </p:cNvSpPr>
            <p:nvPr/>
          </p:nvSpPr>
          <p:spPr bwMode="auto">
            <a:xfrm>
              <a:off x="526021" y="5507179"/>
              <a:ext cx="32884" cy="8968"/>
            </a:xfrm>
            <a:custGeom>
              <a:avLst/>
              <a:gdLst>
                <a:gd name="T0" fmla="*/ 76 w 89"/>
                <a:gd name="T1" fmla="*/ 0 h 26"/>
                <a:gd name="T2" fmla="*/ 11 w 89"/>
                <a:gd name="T3" fmla="*/ 0 h 26"/>
                <a:gd name="T4" fmla="*/ 7 w 89"/>
                <a:gd name="T5" fmla="*/ 1 h 26"/>
                <a:gd name="T6" fmla="*/ 3 w 89"/>
                <a:gd name="T7" fmla="*/ 4 h 26"/>
                <a:gd name="T8" fmla="*/ 0 w 89"/>
                <a:gd name="T9" fmla="*/ 9 h 26"/>
                <a:gd name="T10" fmla="*/ 0 w 89"/>
                <a:gd name="T11" fmla="*/ 13 h 26"/>
                <a:gd name="T12" fmla="*/ 0 w 89"/>
                <a:gd name="T13" fmla="*/ 18 h 26"/>
                <a:gd name="T14" fmla="*/ 3 w 89"/>
                <a:gd name="T15" fmla="*/ 23 h 26"/>
                <a:gd name="T16" fmla="*/ 7 w 89"/>
                <a:gd name="T17" fmla="*/ 25 h 26"/>
                <a:gd name="T18" fmla="*/ 11 w 89"/>
                <a:gd name="T19" fmla="*/ 26 h 26"/>
                <a:gd name="T20" fmla="*/ 76 w 89"/>
                <a:gd name="T21" fmla="*/ 26 h 26"/>
                <a:gd name="T22" fmla="*/ 81 w 89"/>
                <a:gd name="T23" fmla="*/ 25 h 26"/>
                <a:gd name="T24" fmla="*/ 85 w 89"/>
                <a:gd name="T25" fmla="*/ 23 h 26"/>
                <a:gd name="T26" fmla="*/ 88 w 89"/>
                <a:gd name="T27" fmla="*/ 18 h 26"/>
                <a:gd name="T28" fmla="*/ 89 w 89"/>
                <a:gd name="T29" fmla="*/ 13 h 26"/>
                <a:gd name="T30" fmla="*/ 88 w 89"/>
                <a:gd name="T31" fmla="*/ 9 h 26"/>
                <a:gd name="T32" fmla="*/ 85 w 89"/>
                <a:gd name="T33" fmla="*/ 4 h 26"/>
                <a:gd name="T34" fmla="*/ 81 w 89"/>
                <a:gd name="T35" fmla="*/ 1 h 26"/>
                <a:gd name="T36" fmla="*/ 76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6" y="0"/>
                  </a:moveTo>
                  <a:lnTo>
                    <a:pt x="11" y="0"/>
                  </a:lnTo>
                  <a:lnTo>
                    <a:pt x="7" y="1"/>
                  </a:lnTo>
                  <a:lnTo>
                    <a:pt x="3" y="4"/>
                  </a:lnTo>
                  <a:lnTo>
                    <a:pt x="0" y="9"/>
                  </a:lnTo>
                  <a:lnTo>
                    <a:pt x="0" y="13"/>
                  </a:lnTo>
                  <a:lnTo>
                    <a:pt x="0" y="18"/>
                  </a:lnTo>
                  <a:lnTo>
                    <a:pt x="3" y="23"/>
                  </a:lnTo>
                  <a:lnTo>
                    <a:pt x="7" y="25"/>
                  </a:lnTo>
                  <a:lnTo>
                    <a:pt x="11" y="26"/>
                  </a:lnTo>
                  <a:lnTo>
                    <a:pt x="76" y="26"/>
                  </a:lnTo>
                  <a:lnTo>
                    <a:pt x="81" y="25"/>
                  </a:lnTo>
                  <a:lnTo>
                    <a:pt x="85" y="23"/>
                  </a:lnTo>
                  <a:lnTo>
                    <a:pt x="88" y="18"/>
                  </a:lnTo>
                  <a:lnTo>
                    <a:pt x="89" y="13"/>
                  </a:lnTo>
                  <a:lnTo>
                    <a:pt x="88" y="9"/>
                  </a:lnTo>
                  <a:lnTo>
                    <a:pt x="85" y="4"/>
                  </a:lnTo>
                  <a:lnTo>
                    <a:pt x="81"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6" name="Freeform 200">
              <a:extLst>
                <a:ext uri="{FF2B5EF4-FFF2-40B4-BE49-F238E27FC236}">
                  <a16:creationId xmlns:a16="http://schemas.microsoft.com/office/drawing/2014/main" id="{55309BA6-5B44-4196-89BF-06E4D7C67809}"/>
                </a:ext>
              </a:extLst>
            </p:cNvPr>
            <p:cNvSpPr>
              <a:spLocks/>
            </p:cNvSpPr>
            <p:nvPr/>
          </p:nvSpPr>
          <p:spPr bwMode="auto">
            <a:xfrm>
              <a:off x="508085" y="5552021"/>
              <a:ext cx="26905" cy="28400"/>
            </a:xfrm>
            <a:custGeom>
              <a:avLst/>
              <a:gdLst>
                <a:gd name="T0" fmla="*/ 22 w 73"/>
                <a:gd name="T1" fmla="*/ 5 h 75"/>
                <a:gd name="T2" fmla="*/ 17 w 73"/>
                <a:gd name="T3" fmla="*/ 2 h 75"/>
                <a:gd name="T4" fmla="*/ 13 w 73"/>
                <a:gd name="T5" fmla="*/ 0 h 75"/>
                <a:gd name="T6" fmla="*/ 8 w 73"/>
                <a:gd name="T7" fmla="*/ 2 h 75"/>
                <a:gd name="T8" fmla="*/ 3 w 73"/>
                <a:gd name="T9" fmla="*/ 5 h 75"/>
                <a:gd name="T10" fmla="*/ 1 w 73"/>
                <a:gd name="T11" fmla="*/ 9 h 75"/>
                <a:gd name="T12" fmla="*/ 0 w 73"/>
                <a:gd name="T13" fmla="*/ 14 h 75"/>
                <a:gd name="T14" fmla="*/ 1 w 73"/>
                <a:gd name="T15" fmla="*/ 19 h 75"/>
                <a:gd name="T16" fmla="*/ 3 w 73"/>
                <a:gd name="T17" fmla="*/ 23 h 75"/>
                <a:gd name="T18" fmla="*/ 52 w 73"/>
                <a:gd name="T19" fmla="*/ 70 h 75"/>
                <a:gd name="T20" fmla="*/ 56 w 73"/>
                <a:gd name="T21" fmla="*/ 74 h 75"/>
                <a:gd name="T22" fmla="*/ 60 w 73"/>
                <a:gd name="T23" fmla="*/ 75 h 75"/>
                <a:gd name="T24" fmla="*/ 66 w 73"/>
                <a:gd name="T25" fmla="*/ 74 h 75"/>
                <a:gd name="T26" fmla="*/ 70 w 73"/>
                <a:gd name="T27" fmla="*/ 70 h 75"/>
                <a:gd name="T28" fmla="*/ 72 w 73"/>
                <a:gd name="T29" fmla="*/ 66 h 75"/>
                <a:gd name="T30" fmla="*/ 73 w 73"/>
                <a:gd name="T31" fmla="*/ 62 h 75"/>
                <a:gd name="T32" fmla="*/ 72 w 73"/>
                <a:gd name="T33" fmla="*/ 57 h 75"/>
                <a:gd name="T34" fmla="*/ 70 w 73"/>
                <a:gd name="T35" fmla="*/ 53 h 75"/>
                <a:gd name="T36" fmla="*/ 22 w 73"/>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5">
                  <a:moveTo>
                    <a:pt x="22" y="5"/>
                  </a:moveTo>
                  <a:lnTo>
                    <a:pt x="17" y="2"/>
                  </a:lnTo>
                  <a:lnTo>
                    <a:pt x="13" y="0"/>
                  </a:lnTo>
                  <a:lnTo>
                    <a:pt x="8" y="2"/>
                  </a:lnTo>
                  <a:lnTo>
                    <a:pt x="3" y="5"/>
                  </a:lnTo>
                  <a:lnTo>
                    <a:pt x="1" y="9"/>
                  </a:lnTo>
                  <a:lnTo>
                    <a:pt x="0" y="14"/>
                  </a:lnTo>
                  <a:lnTo>
                    <a:pt x="1" y="19"/>
                  </a:lnTo>
                  <a:lnTo>
                    <a:pt x="3" y="23"/>
                  </a:lnTo>
                  <a:lnTo>
                    <a:pt x="52" y="70"/>
                  </a:lnTo>
                  <a:lnTo>
                    <a:pt x="56" y="74"/>
                  </a:lnTo>
                  <a:lnTo>
                    <a:pt x="60" y="75"/>
                  </a:lnTo>
                  <a:lnTo>
                    <a:pt x="66" y="74"/>
                  </a:lnTo>
                  <a:lnTo>
                    <a:pt x="70" y="70"/>
                  </a:lnTo>
                  <a:lnTo>
                    <a:pt x="72" y="66"/>
                  </a:lnTo>
                  <a:lnTo>
                    <a:pt x="73" y="62"/>
                  </a:lnTo>
                  <a:lnTo>
                    <a:pt x="72" y="57"/>
                  </a:lnTo>
                  <a:lnTo>
                    <a:pt x="70" y="53"/>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7" name="Freeform 201">
              <a:extLst>
                <a:ext uri="{FF2B5EF4-FFF2-40B4-BE49-F238E27FC236}">
                  <a16:creationId xmlns:a16="http://schemas.microsoft.com/office/drawing/2014/main" id="{95C7FC4E-F8E3-4FF9-8334-3EE920E086DA}"/>
                </a:ext>
              </a:extLst>
            </p:cNvPr>
            <p:cNvSpPr>
              <a:spLocks/>
            </p:cNvSpPr>
            <p:nvPr/>
          </p:nvSpPr>
          <p:spPr bwMode="auto">
            <a:xfrm>
              <a:off x="508085" y="5450380"/>
              <a:ext cx="26905" cy="26905"/>
            </a:xfrm>
            <a:custGeom>
              <a:avLst/>
              <a:gdLst>
                <a:gd name="T0" fmla="*/ 13 w 73"/>
                <a:gd name="T1" fmla="*/ 74 h 74"/>
                <a:gd name="T2" fmla="*/ 17 w 73"/>
                <a:gd name="T3" fmla="*/ 73 h 74"/>
                <a:gd name="T4" fmla="*/ 22 w 73"/>
                <a:gd name="T5" fmla="*/ 71 h 74"/>
                <a:gd name="T6" fmla="*/ 70 w 73"/>
                <a:gd name="T7" fmla="*/ 21 h 74"/>
                <a:gd name="T8" fmla="*/ 72 w 73"/>
                <a:gd name="T9" fmla="*/ 18 h 74"/>
                <a:gd name="T10" fmla="*/ 73 w 73"/>
                <a:gd name="T11" fmla="*/ 13 h 74"/>
                <a:gd name="T12" fmla="*/ 72 w 73"/>
                <a:gd name="T13" fmla="*/ 8 h 74"/>
                <a:gd name="T14" fmla="*/ 70 w 73"/>
                <a:gd name="T15" fmla="*/ 4 h 74"/>
                <a:gd name="T16" fmla="*/ 66 w 73"/>
                <a:gd name="T17" fmla="*/ 1 h 74"/>
                <a:gd name="T18" fmla="*/ 60 w 73"/>
                <a:gd name="T19" fmla="*/ 0 h 74"/>
                <a:gd name="T20" fmla="*/ 56 w 73"/>
                <a:gd name="T21" fmla="*/ 1 h 74"/>
                <a:gd name="T22" fmla="*/ 52 w 73"/>
                <a:gd name="T23" fmla="*/ 4 h 74"/>
                <a:gd name="T24" fmla="*/ 3 w 73"/>
                <a:gd name="T25" fmla="*/ 52 h 74"/>
                <a:gd name="T26" fmla="*/ 1 w 73"/>
                <a:gd name="T27" fmla="*/ 57 h 74"/>
                <a:gd name="T28" fmla="*/ 0 w 73"/>
                <a:gd name="T29" fmla="*/ 61 h 74"/>
                <a:gd name="T30" fmla="*/ 1 w 73"/>
                <a:gd name="T31" fmla="*/ 66 h 74"/>
                <a:gd name="T32" fmla="*/ 3 w 73"/>
                <a:gd name="T33" fmla="*/ 71 h 74"/>
                <a:gd name="T34" fmla="*/ 8 w 73"/>
                <a:gd name="T35" fmla="*/ 73 h 74"/>
                <a:gd name="T36" fmla="*/ 13 w 73"/>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4">
                  <a:moveTo>
                    <a:pt x="13" y="74"/>
                  </a:moveTo>
                  <a:lnTo>
                    <a:pt x="17" y="73"/>
                  </a:lnTo>
                  <a:lnTo>
                    <a:pt x="22" y="71"/>
                  </a:lnTo>
                  <a:lnTo>
                    <a:pt x="70" y="21"/>
                  </a:lnTo>
                  <a:lnTo>
                    <a:pt x="72" y="18"/>
                  </a:lnTo>
                  <a:lnTo>
                    <a:pt x="73" y="13"/>
                  </a:lnTo>
                  <a:lnTo>
                    <a:pt x="72" y="8"/>
                  </a:lnTo>
                  <a:lnTo>
                    <a:pt x="70" y="4"/>
                  </a:lnTo>
                  <a:lnTo>
                    <a:pt x="66" y="1"/>
                  </a:lnTo>
                  <a:lnTo>
                    <a:pt x="60" y="0"/>
                  </a:lnTo>
                  <a:lnTo>
                    <a:pt x="56" y="1"/>
                  </a:lnTo>
                  <a:lnTo>
                    <a:pt x="52" y="4"/>
                  </a:lnTo>
                  <a:lnTo>
                    <a:pt x="3" y="52"/>
                  </a:lnTo>
                  <a:lnTo>
                    <a:pt x="1" y="57"/>
                  </a:lnTo>
                  <a:lnTo>
                    <a:pt x="0" y="61"/>
                  </a:lnTo>
                  <a:lnTo>
                    <a:pt x="1" y="66"/>
                  </a:lnTo>
                  <a:lnTo>
                    <a:pt x="3" y="71"/>
                  </a:lnTo>
                  <a:lnTo>
                    <a:pt x="8"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8" name="Freeform 202">
              <a:extLst>
                <a:ext uri="{FF2B5EF4-FFF2-40B4-BE49-F238E27FC236}">
                  <a16:creationId xmlns:a16="http://schemas.microsoft.com/office/drawing/2014/main" id="{9E13AF6B-1F48-4E41-97F9-B0949104753B}"/>
                </a:ext>
              </a:extLst>
            </p:cNvPr>
            <p:cNvSpPr>
              <a:spLocks noEditPoints="1"/>
            </p:cNvSpPr>
            <p:nvPr/>
          </p:nvSpPr>
          <p:spPr bwMode="auto">
            <a:xfrm>
              <a:off x="345159" y="5354717"/>
              <a:ext cx="249620" cy="285493"/>
            </a:xfrm>
            <a:custGeom>
              <a:avLst/>
              <a:gdLst>
                <a:gd name="T0" fmla="*/ 287 w 667"/>
                <a:gd name="T1" fmla="*/ 735 h 764"/>
                <a:gd name="T2" fmla="*/ 228 w 667"/>
                <a:gd name="T3" fmla="*/ 721 h 764"/>
                <a:gd name="T4" fmla="*/ 176 w 667"/>
                <a:gd name="T5" fmla="*/ 695 h 764"/>
                <a:gd name="T6" fmla="*/ 128 w 667"/>
                <a:gd name="T7" fmla="*/ 660 h 764"/>
                <a:gd name="T8" fmla="*/ 90 w 667"/>
                <a:gd name="T9" fmla="*/ 618 h 764"/>
                <a:gd name="T10" fmla="*/ 59 w 667"/>
                <a:gd name="T11" fmla="*/ 567 h 764"/>
                <a:gd name="T12" fmla="*/ 37 w 667"/>
                <a:gd name="T13" fmla="*/ 510 h 764"/>
                <a:gd name="T14" fmla="*/ 26 w 667"/>
                <a:gd name="T15" fmla="*/ 449 h 764"/>
                <a:gd name="T16" fmla="*/ 345 w 667"/>
                <a:gd name="T17" fmla="*/ 430 h 764"/>
                <a:gd name="T18" fmla="*/ 362 w 667"/>
                <a:gd name="T19" fmla="*/ 124 h 764"/>
                <a:gd name="T20" fmla="*/ 416 w 667"/>
                <a:gd name="T21" fmla="*/ 133 h 764"/>
                <a:gd name="T22" fmla="*/ 467 w 667"/>
                <a:gd name="T23" fmla="*/ 152 h 764"/>
                <a:gd name="T24" fmla="*/ 512 w 667"/>
                <a:gd name="T25" fmla="*/ 178 h 764"/>
                <a:gd name="T26" fmla="*/ 543 w 667"/>
                <a:gd name="T27" fmla="*/ 204 h 764"/>
                <a:gd name="T28" fmla="*/ 556 w 667"/>
                <a:gd name="T29" fmla="*/ 217 h 764"/>
                <a:gd name="T30" fmla="*/ 594 w 667"/>
                <a:gd name="T31" fmla="*/ 265 h 764"/>
                <a:gd name="T32" fmla="*/ 621 w 667"/>
                <a:gd name="T33" fmla="*/ 321 h 764"/>
                <a:gd name="T34" fmla="*/ 637 w 667"/>
                <a:gd name="T35" fmla="*/ 381 h 764"/>
                <a:gd name="T36" fmla="*/ 642 w 667"/>
                <a:gd name="T37" fmla="*/ 446 h 764"/>
                <a:gd name="T38" fmla="*/ 632 w 667"/>
                <a:gd name="T39" fmla="*/ 507 h 764"/>
                <a:gd name="T40" fmla="*/ 611 w 667"/>
                <a:gd name="T41" fmla="*/ 564 h 764"/>
                <a:gd name="T42" fmla="*/ 580 w 667"/>
                <a:gd name="T43" fmla="*/ 614 h 764"/>
                <a:gd name="T44" fmla="*/ 541 w 667"/>
                <a:gd name="T45" fmla="*/ 658 h 764"/>
                <a:gd name="T46" fmla="*/ 493 w 667"/>
                <a:gd name="T47" fmla="*/ 694 h 764"/>
                <a:gd name="T48" fmla="*/ 439 w 667"/>
                <a:gd name="T49" fmla="*/ 720 h 764"/>
                <a:gd name="T50" fmla="*/ 381 w 667"/>
                <a:gd name="T51" fmla="*/ 735 h 764"/>
                <a:gd name="T52" fmla="*/ 571 w 667"/>
                <a:gd name="T53" fmla="*/ 194 h 764"/>
                <a:gd name="T54" fmla="*/ 638 w 667"/>
                <a:gd name="T55" fmla="*/ 171 h 764"/>
                <a:gd name="T56" fmla="*/ 651 w 667"/>
                <a:gd name="T57" fmla="*/ 158 h 764"/>
                <a:gd name="T58" fmla="*/ 595 w 667"/>
                <a:gd name="T59" fmla="*/ 98 h 764"/>
                <a:gd name="T60" fmla="*/ 578 w 667"/>
                <a:gd name="T61" fmla="*/ 104 h 764"/>
                <a:gd name="T62" fmla="*/ 596 w 667"/>
                <a:gd name="T63" fmla="*/ 133 h 764"/>
                <a:gd name="T64" fmla="*/ 519 w 667"/>
                <a:gd name="T65" fmla="*/ 153 h 764"/>
                <a:gd name="T66" fmla="*/ 472 w 667"/>
                <a:gd name="T67" fmla="*/ 126 h 764"/>
                <a:gd name="T68" fmla="*/ 419 w 667"/>
                <a:gd name="T69" fmla="*/ 108 h 764"/>
                <a:gd name="T70" fmla="*/ 363 w 667"/>
                <a:gd name="T71" fmla="*/ 98 h 764"/>
                <a:gd name="T72" fmla="*/ 380 w 667"/>
                <a:gd name="T73" fmla="*/ 25 h 764"/>
                <a:gd name="T74" fmla="*/ 386 w 667"/>
                <a:gd name="T75" fmla="*/ 8 h 764"/>
                <a:gd name="T76" fmla="*/ 298 w 667"/>
                <a:gd name="T77" fmla="*/ 0 h 764"/>
                <a:gd name="T78" fmla="*/ 285 w 667"/>
                <a:gd name="T79" fmla="*/ 13 h 764"/>
                <a:gd name="T80" fmla="*/ 298 w 667"/>
                <a:gd name="T81" fmla="*/ 25 h 764"/>
                <a:gd name="T82" fmla="*/ 12 w 667"/>
                <a:gd name="T83" fmla="*/ 407 h 764"/>
                <a:gd name="T84" fmla="*/ 0 w 667"/>
                <a:gd name="T85" fmla="*/ 420 h 764"/>
                <a:gd name="T86" fmla="*/ 6 w 667"/>
                <a:gd name="T87" fmla="*/ 491 h 764"/>
                <a:gd name="T88" fmla="*/ 25 w 667"/>
                <a:gd name="T89" fmla="*/ 555 h 764"/>
                <a:gd name="T90" fmla="*/ 55 w 667"/>
                <a:gd name="T91" fmla="*/ 614 h 764"/>
                <a:gd name="T92" fmla="*/ 96 w 667"/>
                <a:gd name="T93" fmla="*/ 665 h 764"/>
                <a:gd name="T94" fmla="*/ 146 w 667"/>
                <a:gd name="T95" fmla="*/ 707 h 764"/>
                <a:gd name="T96" fmla="*/ 202 w 667"/>
                <a:gd name="T97" fmla="*/ 738 h 764"/>
                <a:gd name="T98" fmla="*/ 265 w 667"/>
                <a:gd name="T99" fmla="*/ 757 h 764"/>
                <a:gd name="T100" fmla="*/ 333 w 667"/>
                <a:gd name="T101" fmla="*/ 764 h 764"/>
                <a:gd name="T102" fmla="*/ 400 w 667"/>
                <a:gd name="T103" fmla="*/ 757 h 764"/>
                <a:gd name="T104" fmla="*/ 463 w 667"/>
                <a:gd name="T105" fmla="*/ 738 h 764"/>
                <a:gd name="T106" fmla="*/ 520 w 667"/>
                <a:gd name="T107" fmla="*/ 707 h 764"/>
                <a:gd name="T108" fmla="*/ 570 w 667"/>
                <a:gd name="T109" fmla="*/ 666 h 764"/>
                <a:gd name="T110" fmla="*/ 610 w 667"/>
                <a:gd name="T111" fmla="*/ 616 h 764"/>
                <a:gd name="T112" fmla="*/ 640 w 667"/>
                <a:gd name="T113" fmla="*/ 561 h 764"/>
                <a:gd name="T114" fmla="*/ 660 w 667"/>
                <a:gd name="T115" fmla="*/ 497 h 764"/>
                <a:gd name="T116" fmla="*/ 667 w 667"/>
                <a:gd name="T117" fmla="*/ 431 h 764"/>
                <a:gd name="T118" fmla="*/ 661 w 667"/>
                <a:gd name="T119" fmla="*/ 363 h 764"/>
                <a:gd name="T120" fmla="*/ 642 w 667"/>
                <a:gd name="T121" fmla="*/ 301 h 764"/>
                <a:gd name="T122" fmla="*/ 610 w 667"/>
                <a:gd name="T123" fmla="*/ 244 h 764"/>
                <a:gd name="T124" fmla="*/ 571 w 667"/>
                <a:gd name="T125" fmla="*/ 19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7" h="764">
                  <a:moveTo>
                    <a:pt x="333" y="739"/>
                  </a:moveTo>
                  <a:lnTo>
                    <a:pt x="317" y="738"/>
                  </a:lnTo>
                  <a:lnTo>
                    <a:pt x="302" y="737"/>
                  </a:lnTo>
                  <a:lnTo>
                    <a:pt x="287" y="735"/>
                  </a:lnTo>
                  <a:lnTo>
                    <a:pt x="272" y="732"/>
                  </a:lnTo>
                  <a:lnTo>
                    <a:pt x="257" y="729"/>
                  </a:lnTo>
                  <a:lnTo>
                    <a:pt x="242" y="725"/>
                  </a:lnTo>
                  <a:lnTo>
                    <a:pt x="228" y="721"/>
                  </a:lnTo>
                  <a:lnTo>
                    <a:pt x="215" y="715"/>
                  </a:lnTo>
                  <a:lnTo>
                    <a:pt x="201" y="709"/>
                  </a:lnTo>
                  <a:lnTo>
                    <a:pt x="188" y="702"/>
                  </a:lnTo>
                  <a:lnTo>
                    <a:pt x="176" y="695"/>
                  </a:lnTo>
                  <a:lnTo>
                    <a:pt x="164" y="687"/>
                  </a:lnTo>
                  <a:lnTo>
                    <a:pt x="151" y="679"/>
                  </a:lnTo>
                  <a:lnTo>
                    <a:pt x="140" y="670"/>
                  </a:lnTo>
                  <a:lnTo>
                    <a:pt x="128" y="660"/>
                  </a:lnTo>
                  <a:lnTo>
                    <a:pt x="119" y="651"/>
                  </a:lnTo>
                  <a:lnTo>
                    <a:pt x="108" y="640"/>
                  </a:lnTo>
                  <a:lnTo>
                    <a:pt x="98" y="629"/>
                  </a:lnTo>
                  <a:lnTo>
                    <a:pt x="90" y="618"/>
                  </a:lnTo>
                  <a:lnTo>
                    <a:pt x="81" y="606"/>
                  </a:lnTo>
                  <a:lnTo>
                    <a:pt x="73" y="593"/>
                  </a:lnTo>
                  <a:lnTo>
                    <a:pt x="65" y="580"/>
                  </a:lnTo>
                  <a:lnTo>
                    <a:pt x="59" y="567"/>
                  </a:lnTo>
                  <a:lnTo>
                    <a:pt x="52" y="553"/>
                  </a:lnTo>
                  <a:lnTo>
                    <a:pt x="47" y="539"/>
                  </a:lnTo>
                  <a:lnTo>
                    <a:pt x="41" y="525"/>
                  </a:lnTo>
                  <a:lnTo>
                    <a:pt x="37" y="510"/>
                  </a:lnTo>
                  <a:lnTo>
                    <a:pt x="33" y="496"/>
                  </a:lnTo>
                  <a:lnTo>
                    <a:pt x="31" y="480"/>
                  </a:lnTo>
                  <a:lnTo>
                    <a:pt x="27" y="465"/>
                  </a:lnTo>
                  <a:lnTo>
                    <a:pt x="26" y="449"/>
                  </a:lnTo>
                  <a:lnTo>
                    <a:pt x="25" y="433"/>
                  </a:lnTo>
                  <a:lnTo>
                    <a:pt x="336" y="433"/>
                  </a:lnTo>
                  <a:lnTo>
                    <a:pt x="341" y="432"/>
                  </a:lnTo>
                  <a:lnTo>
                    <a:pt x="345" y="430"/>
                  </a:lnTo>
                  <a:lnTo>
                    <a:pt x="347" y="425"/>
                  </a:lnTo>
                  <a:lnTo>
                    <a:pt x="348" y="420"/>
                  </a:lnTo>
                  <a:lnTo>
                    <a:pt x="348" y="123"/>
                  </a:lnTo>
                  <a:lnTo>
                    <a:pt x="362" y="124"/>
                  </a:lnTo>
                  <a:lnTo>
                    <a:pt x="376" y="125"/>
                  </a:lnTo>
                  <a:lnTo>
                    <a:pt x="390" y="127"/>
                  </a:lnTo>
                  <a:lnTo>
                    <a:pt x="403" y="130"/>
                  </a:lnTo>
                  <a:lnTo>
                    <a:pt x="416" y="133"/>
                  </a:lnTo>
                  <a:lnTo>
                    <a:pt x="429" y="137"/>
                  </a:lnTo>
                  <a:lnTo>
                    <a:pt x="442" y="141"/>
                  </a:lnTo>
                  <a:lnTo>
                    <a:pt x="454" y="146"/>
                  </a:lnTo>
                  <a:lnTo>
                    <a:pt x="467" y="152"/>
                  </a:lnTo>
                  <a:lnTo>
                    <a:pt x="478" y="158"/>
                  </a:lnTo>
                  <a:lnTo>
                    <a:pt x="489" y="164"/>
                  </a:lnTo>
                  <a:lnTo>
                    <a:pt x="501" y="171"/>
                  </a:lnTo>
                  <a:lnTo>
                    <a:pt x="512" y="178"/>
                  </a:lnTo>
                  <a:lnTo>
                    <a:pt x="522" y="186"/>
                  </a:lnTo>
                  <a:lnTo>
                    <a:pt x="532" y="194"/>
                  </a:lnTo>
                  <a:lnTo>
                    <a:pt x="542" y="204"/>
                  </a:lnTo>
                  <a:lnTo>
                    <a:pt x="543" y="204"/>
                  </a:lnTo>
                  <a:lnTo>
                    <a:pt x="543" y="205"/>
                  </a:lnTo>
                  <a:lnTo>
                    <a:pt x="544" y="205"/>
                  </a:lnTo>
                  <a:lnTo>
                    <a:pt x="545" y="206"/>
                  </a:lnTo>
                  <a:lnTo>
                    <a:pt x="556" y="217"/>
                  </a:lnTo>
                  <a:lnTo>
                    <a:pt x="566" y="228"/>
                  </a:lnTo>
                  <a:lnTo>
                    <a:pt x="576" y="241"/>
                  </a:lnTo>
                  <a:lnTo>
                    <a:pt x="586" y="252"/>
                  </a:lnTo>
                  <a:lnTo>
                    <a:pt x="594" y="265"/>
                  </a:lnTo>
                  <a:lnTo>
                    <a:pt x="602" y="278"/>
                  </a:lnTo>
                  <a:lnTo>
                    <a:pt x="609" y="292"/>
                  </a:lnTo>
                  <a:lnTo>
                    <a:pt x="616" y="306"/>
                  </a:lnTo>
                  <a:lnTo>
                    <a:pt x="621" y="321"/>
                  </a:lnTo>
                  <a:lnTo>
                    <a:pt x="627" y="335"/>
                  </a:lnTo>
                  <a:lnTo>
                    <a:pt x="631" y="350"/>
                  </a:lnTo>
                  <a:lnTo>
                    <a:pt x="635" y="366"/>
                  </a:lnTo>
                  <a:lnTo>
                    <a:pt x="637" y="381"/>
                  </a:lnTo>
                  <a:lnTo>
                    <a:pt x="639" y="397"/>
                  </a:lnTo>
                  <a:lnTo>
                    <a:pt x="642" y="414"/>
                  </a:lnTo>
                  <a:lnTo>
                    <a:pt x="642" y="431"/>
                  </a:lnTo>
                  <a:lnTo>
                    <a:pt x="642" y="446"/>
                  </a:lnTo>
                  <a:lnTo>
                    <a:pt x="640" y="462"/>
                  </a:lnTo>
                  <a:lnTo>
                    <a:pt x="638" y="477"/>
                  </a:lnTo>
                  <a:lnTo>
                    <a:pt x="635" y="493"/>
                  </a:lnTo>
                  <a:lnTo>
                    <a:pt x="632" y="507"/>
                  </a:lnTo>
                  <a:lnTo>
                    <a:pt x="628" y="522"/>
                  </a:lnTo>
                  <a:lnTo>
                    <a:pt x="623" y="536"/>
                  </a:lnTo>
                  <a:lnTo>
                    <a:pt x="617" y="550"/>
                  </a:lnTo>
                  <a:lnTo>
                    <a:pt x="611" y="564"/>
                  </a:lnTo>
                  <a:lnTo>
                    <a:pt x="604" y="578"/>
                  </a:lnTo>
                  <a:lnTo>
                    <a:pt x="596" y="591"/>
                  </a:lnTo>
                  <a:lnTo>
                    <a:pt x="589" y="603"/>
                  </a:lnTo>
                  <a:lnTo>
                    <a:pt x="580" y="614"/>
                  </a:lnTo>
                  <a:lnTo>
                    <a:pt x="571" y="626"/>
                  </a:lnTo>
                  <a:lnTo>
                    <a:pt x="561" y="638"/>
                  </a:lnTo>
                  <a:lnTo>
                    <a:pt x="551" y="649"/>
                  </a:lnTo>
                  <a:lnTo>
                    <a:pt x="541" y="658"/>
                  </a:lnTo>
                  <a:lnTo>
                    <a:pt x="529" y="668"/>
                  </a:lnTo>
                  <a:lnTo>
                    <a:pt x="518" y="678"/>
                  </a:lnTo>
                  <a:lnTo>
                    <a:pt x="505" y="686"/>
                  </a:lnTo>
                  <a:lnTo>
                    <a:pt x="493" y="694"/>
                  </a:lnTo>
                  <a:lnTo>
                    <a:pt x="481" y="701"/>
                  </a:lnTo>
                  <a:lnTo>
                    <a:pt x="467" y="708"/>
                  </a:lnTo>
                  <a:lnTo>
                    <a:pt x="454" y="714"/>
                  </a:lnTo>
                  <a:lnTo>
                    <a:pt x="439" y="720"/>
                  </a:lnTo>
                  <a:lnTo>
                    <a:pt x="425" y="725"/>
                  </a:lnTo>
                  <a:lnTo>
                    <a:pt x="411" y="729"/>
                  </a:lnTo>
                  <a:lnTo>
                    <a:pt x="396" y="732"/>
                  </a:lnTo>
                  <a:lnTo>
                    <a:pt x="381" y="735"/>
                  </a:lnTo>
                  <a:lnTo>
                    <a:pt x="365" y="737"/>
                  </a:lnTo>
                  <a:lnTo>
                    <a:pt x="350" y="738"/>
                  </a:lnTo>
                  <a:lnTo>
                    <a:pt x="333" y="739"/>
                  </a:lnTo>
                  <a:close/>
                  <a:moveTo>
                    <a:pt x="571" y="194"/>
                  </a:moveTo>
                  <a:lnTo>
                    <a:pt x="615" y="152"/>
                  </a:lnTo>
                  <a:lnTo>
                    <a:pt x="630" y="167"/>
                  </a:lnTo>
                  <a:lnTo>
                    <a:pt x="633" y="170"/>
                  </a:lnTo>
                  <a:lnTo>
                    <a:pt x="638" y="171"/>
                  </a:lnTo>
                  <a:lnTo>
                    <a:pt x="643" y="170"/>
                  </a:lnTo>
                  <a:lnTo>
                    <a:pt x="647" y="167"/>
                  </a:lnTo>
                  <a:lnTo>
                    <a:pt x="650" y="162"/>
                  </a:lnTo>
                  <a:lnTo>
                    <a:pt x="651" y="158"/>
                  </a:lnTo>
                  <a:lnTo>
                    <a:pt x="650" y="153"/>
                  </a:lnTo>
                  <a:lnTo>
                    <a:pt x="647" y="149"/>
                  </a:lnTo>
                  <a:lnTo>
                    <a:pt x="599" y="100"/>
                  </a:lnTo>
                  <a:lnTo>
                    <a:pt x="595" y="98"/>
                  </a:lnTo>
                  <a:lnTo>
                    <a:pt x="590" y="97"/>
                  </a:lnTo>
                  <a:lnTo>
                    <a:pt x="586" y="98"/>
                  </a:lnTo>
                  <a:lnTo>
                    <a:pt x="581" y="100"/>
                  </a:lnTo>
                  <a:lnTo>
                    <a:pt x="578" y="104"/>
                  </a:lnTo>
                  <a:lnTo>
                    <a:pt x="577" y="110"/>
                  </a:lnTo>
                  <a:lnTo>
                    <a:pt x="578" y="114"/>
                  </a:lnTo>
                  <a:lnTo>
                    <a:pt x="581" y="118"/>
                  </a:lnTo>
                  <a:lnTo>
                    <a:pt x="596" y="133"/>
                  </a:lnTo>
                  <a:lnTo>
                    <a:pt x="552" y="178"/>
                  </a:lnTo>
                  <a:lnTo>
                    <a:pt x="542" y="170"/>
                  </a:lnTo>
                  <a:lnTo>
                    <a:pt x="531" y="161"/>
                  </a:lnTo>
                  <a:lnTo>
                    <a:pt x="519" y="153"/>
                  </a:lnTo>
                  <a:lnTo>
                    <a:pt x="507" y="145"/>
                  </a:lnTo>
                  <a:lnTo>
                    <a:pt x="496" y="139"/>
                  </a:lnTo>
                  <a:lnTo>
                    <a:pt x="484" y="132"/>
                  </a:lnTo>
                  <a:lnTo>
                    <a:pt x="472" y="126"/>
                  </a:lnTo>
                  <a:lnTo>
                    <a:pt x="459" y="120"/>
                  </a:lnTo>
                  <a:lnTo>
                    <a:pt x="446" y="116"/>
                  </a:lnTo>
                  <a:lnTo>
                    <a:pt x="432" y="112"/>
                  </a:lnTo>
                  <a:lnTo>
                    <a:pt x="419" y="108"/>
                  </a:lnTo>
                  <a:lnTo>
                    <a:pt x="405" y="104"/>
                  </a:lnTo>
                  <a:lnTo>
                    <a:pt x="391" y="101"/>
                  </a:lnTo>
                  <a:lnTo>
                    <a:pt x="377" y="99"/>
                  </a:lnTo>
                  <a:lnTo>
                    <a:pt x="363" y="98"/>
                  </a:lnTo>
                  <a:lnTo>
                    <a:pt x="348" y="97"/>
                  </a:lnTo>
                  <a:lnTo>
                    <a:pt x="348" y="25"/>
                  </a:lnTo>
                  <a:lnTo>
                    <a:pt x="374" y="25"/>
                  </a:lnTo>
                  <a:lnTo>
                    <a:pt x="380" y="25"/>
                  </a:lnTo>
                  <a:lnTo>
                    <a:pt x="383" y="22"/>
                  </a:lnTo>
                  <a:lnTo>
                    <a:pt x="386" y="17"/>
                  </a:lnTo>
                  <a:lnTo>
                    <a:pt x="387" y="13"/>
                  </a:lnTo>
                  <a:lnTo>
                    <a:pt x="386" y="8"/>
                  </a:lnTo>
                  <a:lnTo>
                    <a:pt x="383" y="3"/>
                  </a:lnTo>
                  <a:lnTo>
                    <a:pt x="380" y="1"/>
                  </a:lnTo>
                  <a:lnTo>
                    <a:pt x="374" y="0"/>
                  </a:lnTo>
                  <a:lnTo>
                    <a:pt x="298" y="0"/>
                  </a:lnTo>
                  <a:lnTo>
                    <a:pt x="293" y="1"/>
                  </a:lnTo>
                  <a:lnTo>
                    <a:pt x="288" y="3"/>
                  </a:lnTo>
                  <a:lnTo>
                    <a:pt x="286" y="8"/>
                  </a:lnTo>
                  <a:lnTo>
                    <a:pt x="285" y="13"/>
                  </a:lnTo>
                  <a:lnTo>
                    <a:pt x="286" y="17"/>
                  </a:lnTo>
                  <a:lnTo>
                    <a:pt x="288" y="22"/>
                  </a:lnTo>
                  <a:lnTo>
                    <a:pt x="293" y="25"/>
                  </a:lnTo>
                  <a:lnTo>
                    <a:pt x="298" y="25"/>
                  </a:lnTo>
                  <a:lnTo>
                    <a:pt x="324" y="25"/>
                  </a:lnTo>
                  <a:lnTo>
                    <a:pt x="324" y="110"/>
                  </a:lnTo>
                  <a:lnTo>
                    <a:pt x="324" y="407"/>
                  </a:lnTo>
                  <a:lnTo>
                    <a:pt x="12" y="407"/>
                  </a:lnTo>
                  <a:lnTo>
                    <a:pt x="7" y="408"/>
                  </a:lnTo>
                  <a:lnTo>
                    <a:pt x="3" y="411"/>
                  </a:lnTo>
                  <a:lnTo>
                    <a:pt x="1" y="416"/>
                  </a:lnTo>
                  <a:lnTo>
                    <a:pt x="0" y="420"/>
                  </a:lnTo>
                  <a:lnTo>
                    <a:pt x="0" y="438"/>
                  </a:lnTo>
                  <a:lnTo>
                    <a:pt x="2" y="455"/>
                  </a:lnTo>
                  <a:lnTo>
                    <a:pt x="3" y="474"/>
                  </a:lnTo>
                  <a:lnTo>
                    <a:pt x="6" y="491"/>
                  </a:lnTo>
                  <a:lnTo>
                    <a:pt x="10" y="507"/>
                  </a:lnTo>
                  <a:lnTo>
                    <a:pt x="15" y="524"/>
                  </a:lnTo>
                  <a:lnTo>
                    <a:pt x="19" y="540"/>
                  </a:lnTo>
                  <a:lnTo>
                    <a:pt x="25" y="555"/>
                  </a:lnTo>
                  <a:lnTo>
                    <a:pt x="32" y="570"/>
                  </a:lnTo>
                  <a:lnTo>
                    <a:pt x="39" y="585"/>
                  </a:lnTo>
                  <a:lnTo>
                    <a:pt x="47" y="600"/>
                  </a:lnTo>
                  <a:lnTo>
                    <a:pt x="55" y="614"/>
                  </a:lnTo>
                  <a:lnTo>
                    <a:pt x="65" y="627"/>
                  </a:lnTo>
                  <a:lnTo>
                    <a:pt x="75" y="640"/>
                  </a:lnTo>
                  <a:lnTo>
                    <a:pt x="85" y="653"/>
                  </a:lnTo>
                  <a:lnTo>
                    <a:pt x="96" y="665"/>
                  </a:lnTo>
                  <a:lnTo>
                    <a:pt x="108" y="676"/>
                  </a:lnTo>
                  <a:lnTo>
                    <a:pt x="120" y="686"/>
                  </a:lnTo>
                  <a:lnTo>
                    <a:pt x="133" y="697"/>
                  </a:lnTo>
                  <a:lnTo>
                    <a:pt x="146" y="707"/>
                  </a:lnTo>
                  <a:lnTo>
                    <a:pt x="158" y="715"/>
                  </a:lnTo>
                  <a:lnTo>
                    <a:pt x="172" y="723"/>
                  </a:lnTo>
                  <a:lnTo>
                    <a:pt x="187" y="730"/>
                  </a:lnTo>
                  <a:lnTo>
                    <a:pt x="202" y="738"/>
                  </a:lnTo>
                  <a:lnTo>
                    <a:pt x="217" y="743"/>
                  </a:lnTo>
                  <a:lnTo>
                    <a:pt x="232" y="749"/>
                  </a:lnTo>
                  <a:lnTo>
                    <a:pt x="249" y="753"/>
                  </a:lnTo>
                  <a:lnTo>
                    <a:pt x="265" y="757"/>
                  </a:lnTo>
                  <a:lnTo>
                    <a:pt x="282" y="760"/>
                  </a:lnTo>
                  <a:lnTo>
                    <a:pt x="299" y="763"/>
                  </a:lnTo>
                  <a:lnTo>
                    <a:pt x="316" y="764"/>
                  </a:lnTo>
                  <a:lnTo>
                    <a:pt x="333" y="764"/>
                  </a:lnTo>
                  <a:lnTo>
                    <a:pt x="351" y="764"/>
                  </a:lnTo>
                  <a:lnTo>
                    <a:pt x="368" y="763"/>
                  </a:lnTo>
                  <a:lnTo>
                    <a:pt x="384" y="760"/>
                  </a:lnTo>
                  <a:lnTo>
                    <a:pt x="400" y="757"/>
                  </a:lnTo>
                  <a:lnTo>
                    <a:pt x="416" y="754"/>
                  </a:lnTo>
                  <a:lnTo>
                    <a:pt x="432" y="749"/>
                  </a:lnTo>
                  <a:lnTo>
                    <a:pt x="448" y="743"/>
                  </a:lnTo>
                  <a:lnTo>
                    <a:pt x="463" y="738"/>
                  </a:lnTo>
                  <a:lnTo>
                    <a:pt x="478" y="731"/>
                  </a:lnTo>
                  <a:lnTo>
                    <a:pt x="492" y="724"/>
                  </a:lnTo>
                  <a:lnTo>
                    <a:pt x="506" y="715"/>
                  </a:lnTo>
                  <a:lnTo>
                    <a:pt x="520" y="707"/>
                  </a:lnTo>
                  <a:lnTo>
                    <a:pt x="533" y="698"/>
                  </a:lnTo>
                  <a:lnTo>
                    <a:pt x="545" y="687"/>
                  </a:lnTo>
                  <a:lnTo>
                    <a:pt x="558" y="678"/>
                  </a:lnTo>
                  <a:lnTo>
                    <a:pt x="570" y="666"/>
                  </a:lnTo>
                  <a:lnTo>
                    <a:pt x="580" y="655"/>
                  </a:lnTo>
                  <a:lnTo>
                    <a:pt x="591" y="642"/>
                  </a:lnTo>
                  <a:lnTo>
                    <a:pt x="601" y="630"/>
                  </a:lnTo>
                  <a:lnTo>
                    <a:pt x="610" y="616"/>
                  </a:lnTo>
                  <a:lnTo>
                    <a:pt x="619" y="604"/>
                  </a:lnTo>
                  <a:lnTo>
                    <a:pt x="627" y="590"/>
                  </a:lnTo>
                  <a:lnTo>
                    <a:pt x="634" y="575"/>
                  </a:lnTo>
                  <a:lnTo>
                    <a:pt x="640" y="561"/>
                  </a:lnTo>
                  <a:lnTo>
                    <a:pt x="647" y="546"/>
                  </a:lnTo>
                  <a:lnTo>
                    <a:pt x="652" y="529"/>
                  </a:lnTo>
                  <a:lnTo>
                    <a:pt x="657" y="513"/>
                  </a:lnTo>
                  <a:lnTo>
                    <a:pt x="660" y="497"/>
                  </a:lnTo>
                  <a:lnTo>
                    <a:pt x="663" y="481"/>
                  </a:lnTo>
                  <a:lnTo>
                    <a:pt x="665" y="464"/>
                  </a:lnTo>
                  <a:lnTo>
                    <a:pt x="666" y="448"/>
                  </a:lnTo>
                  <a:lnTo>
                    <a:pt x="667" y="431"/>
                  </a:lnTo>
                  <a:lnTo>
                    <a:pt x="666" y="414"/>
                  </a:lnTo>
                  <a:lnTo>
                    <a:pt x="665" y="396"/>
                  </a:lnTo>
                  <a:lnTo>
                    <a:pt x="663" y="380"/>
                  </a:lnTo>
                  <a:lnTo>
                    <a:pt x="661" y="363"/>
                  </a:lnTo>
                  <a:lnTo>
                    <a:pt x="657" y="347"/>
                  </a:lnTo>
                  <a:lnTo>
                    <a:pt x="652" y="332"/>
                  </a:lnTo>
                  <a:lnTo>
                    <a:pt x="647" y="316"/>
                  </a:lnTo>
                  <a:lnTo>
                    <a:pt x="642" y="301"/>
                  </a:lnTo>
                  <a:lnTo>
                    <a:pt x="634" y="287"/>
                  </a:lnTo>
                  <a:lnTo>
                    <a:pt x="628" y="272"/>
                  </a:lnTo>
                  <a:lnTo>
                    <a:pt x="619" y="258"/>
                  </a:lnTo>
                  <a:lnTo>
                    <a:pt x="610" y="244"/>
                  </a:lnTo>
                  <a:lnTo>
                    <a:pt x="602" y="231"/>
                  </a:lnTo>
                  <a:lnTo>
                    <a:pt x="592" y="218"/>
                  </a:lnTo>
                  <a:lnTo>
                    <a:pt x="581" y="206"/>
                  </a:lnTo>
                  <a:lnTo>
                    <a:pt x="571"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20" name="Group 55">
            <a:extLst>
              <a:ext uri="{FF2B5EF4-FFF2-40B4-BE49-F238E27FC236}">
                <a16:creationId xmlns:a16="http://schemas.microsoft.com/office/drawing/2014/main" id="{92B3731E-F05D-4282-B496-73173E924730}"/>
              </a:ext>
            </a:extLst>
          </p:cNvPr>
          <p:cNvGrpSpPr>
            <a:grpSpLocks noChangeAspect="1"/>
          </p:cNvGrpSpPr>
          <p:nvPr/>
        </p:nvGrpSpPr>
        <p:grpSpPr>
          <a:xfrm>
            <a:off x="2301726" y="3801969"/>
            <a:ext cx="311122" cy="285619"/>
            <a:chOff x="1770063" y="4483101"/>
            <a:chExt cx="677863" cy="622300"/>
          </a:xfrm>
          <a:solidFill>
            <a:schemeClr val="bg1"/>
          </a:solidFill>
          <a:effectLst/>
        </p:grpSpPr>
        <p:sp>
          <p:nvSpPr>
            <p:cNvPr id="621" name="Freeform 206">
              <a:extLst>
                <a:ext uri="{FF2B5EF4-FFF2-40B4-BE49-F238E27FC236}">
                  <a16:creationId xmlns:a16="http://schemas.microsoft.com/office/drawing/2014/main" id="{760B06C3-D45D-4450-92E9-CEF37BEECAB5}"/>
                </a:ext>
              </a:extLst>
            </p:cNvPr>
            <p:cNvSpPr>
              <a:spLocks/>
            </p:cNvSpPr>
            <p:nvPr/>
          </p:nvSpPr>
          <p:spPr bwMode="auto">
            <a:xfrm>
              <a:off x="1770063" y="4483101"/>
              <a:ext cx="677863" cy="622300"/>
            </a:xfrm>
            <a:custGeom>
              <a:avLst/>
              <a:gdLst>
                <a:gd name="T0" fmla="*/ 1280 w 1280"/>
                <a:gd name="T1" fmla="*/ 1176 h 1176"/>
                <a:gd name="T2" fmla="*/ 0 w 1280"/>
                <a:gd name="T3" fmla="*/ 1176 h 1176"/>
                <a:gd name="T4" fmla="*/ 0 w 1280"/>
                <a:gd name="T5" fmla="*/ 0 h 1176"/>
                <a:gd name="T6" fmla="*/ 52 w 1280"/>
                <a:gd name="T7" fmla="*/ 0 h 1176"/>
                <a:gd name="T8" fmla="*/ 52 w 1280"/>
                <a:gd name="T9" fmla="*/ 1123 h 1176"/>
                <a:gd name="T10" fmla="*/ 1280 w 1280"/>
                <a:gd name="T11" fmla="*/ 1123 h 1176"/>
                <a:gd name="T12" fmla="*/ 1280 w 1280"/>
                <a:gd name="T13" fmla="*/ 1176 h 1176"/>
              </a:gdLst>
              <a:ahLst/>
              <a:cxnLst>
                <a:cxn ang="0">
                  <a:pos x="T0" y="T1"/>
                </a:cxn>
                <a:cxn ang="0">
                  <a:pos x="T2" y="T3"/>
                </a:cxn>
                <a:cxn ang="0">
                  <a:pos x="T4" y="T5"/>
                </a:cxn>
                <a:cxn ang="0">
                  <a:pos x="T6" y="T7"/>
                </a:cxn>
                <a:cxn ang="0">
                  <a:pos x="T8" y="T9"/>
                </a:cxn>
                <a:cxn ang="0">
                  <a:pos x="T10" y="T11"/>
                </a:cxn>
                <a:cxn ang="0">
                  <a:pos x="T12" y="T13"/>
                </a:cxn>
              </a:cxnLst>
              <a:rect l="0" t="0" r="r" b="b"/>
              <a:pathLst>
                <a:path w="1280" h="1176">
                  <a:moveTo>
                    <a:pt x="1280" y="1176"/>
                  </a:moveTo>
                  <a:lnTo>
                    <a:pt x="0" y="1176"/>
                  </a:lnTo>
                  <a:lnTo>
                    <a:pt x="0" y="0"/>
                  </a:lnTo>
                  <a:lnTo>
                    <a:pt x="52" y="0"/>
                  </a:lnTo>
                  <a:lnTo>
                    <a:pt x="52" y="1123"/>
                  </a:lnTo>
                  <a:lnTo>
                    <a:pt x="1280" y="1123"/>
                  </a:lnTo>
                  <a:lnTo>
                    <a:pt x="1280" y="1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210">
              <a:extLst>
                <a:ext uri="{FF2B5EF4-FFF2-40B4-BE49-F238E27FC236}">
                  <a16:creationId xmlns:a16="http://schemas.microsoft.com/office/drawing/2014/main" id="{948A19AD-1DDB-4CF3-9D2D-302FD418C271}"/>
                </a:ext>
              </a:extLst>
            </p:cNvPr>
            <p:cNvSpPr>
              <a:spLocks/>
            </p:cNvSpPr>
            <p:nvPr/>
          </p:nvSpPr>
          <p:spPr bwMode="auto">
            <a:xfrm>
              <a:off x="1773238" y="4640263"/>
              <a:ext cx="655638" cy="461963"/>
            </a:xfrm>
            <a:custGeom>
              <a:avLst/>
              <a:gdLst>
                <a:gd name="T0" fmla="*/ 38 w 1239"/>
                <a:gd name="T1" fmla="*/ 873 h 873"/>
                <a:gd name="T2" fmla="*/ 0 w 1239"/>
                <a:gd name="T3" fmla="*/ 837 h 873"/>
                <a:gd name="T4" fmla="*/ 471 w 1239"/>
                <a:gd name="T5" fmla="*/ 366 h 873"/>
                <a:gd name="T6" fmla="*/ 476 w 1239"/>
                <a:gd name="T7" fmla="*/ 363 h 873"/>
                <a:gd name="T8" fmla="*/ 480 w 1239"/>
                <a:gd name="T9" fmla="*/ 360 h 873"/>
                <a:gd name="T10" fmla="*/ 484 w 1239"/>
                <a:gd name="T11" fmla="*/ 359 h 873"/>
                <a:gd name="T12" fmla="*/ 490 w 1239"/>
                <a:gd name="T13" fmla="*/ 359 h 873"/>
                <a:gd name="T14" fmla="*/ 494 w 1239"/>
                <a:gd name="T15" fmla="*/ 359 h 873"/>
                <a:gd name="T16" fmla="*/ 499 w 1239"/>
                <a:gd name="T17" fmla="*/ 360 h 873"/>
                <a:gd name="T18" fmla="*/ 504 w 1239"/>
                <a:gd name="T19" fmla="*/ 363 h 873"/>
                <a:gd name="T20" fmla="*/ 507 w 1239"/>
                <a:gd name="T21" fmla="*/ 366 h 873"/>
                <a:gd name="T22" fmla="*/ 673 w 1239"/>
                <a:gd name="T23" fmla="*/ 530 h 873"/>
                <a:gd name="T24" fmla="*/ 1203 w 1239"/>
                <a:gd name="T25" fmla="*/ 0 h 873"/>
                <a:gd name="T26" fmla="*/ 1239 w 1239"/>
                <a:gd name="T27" fmla="*/ 38 h 873"/>
                <a:gd name="T28" fmla="*/ 690 w 1239"/>
                <a:gd name="T29" fmla="*/ 586 h 873"/>
                <a:gd name="T30" fmla="*/ 687 w 1239"/>
                <a:gd name="T31" fmla="*/ 589 h 873"/>
                <a:gd name="T32" fmla="*/ 681 w 1239"/>
                <a:gd name="T33" fmla="*/ 592 h 873"/>
                <a:gd name="T34" fmla="*/ 677 w 1239"/>
                <a:gd name="T35" fmla="*/ 593 h 873"/>
                <a:gd name="T36" fmla="*/ 673 w 1239"/>
                <a:gd name="T37" fmla="*/ 593 h 873"/>
                <a:gd name="T38" fmla="*/ 667 w 1239"/>
                <a:gd name="T39" fmla="*/ 593 h 873"/>
                <a:gd name="T40" fmla="*/ 663 w 1239"/>
                <a:gd name="T41" fmla="*/ 592 h 873"/>
                <a:gd name="T42" fmla="*/ 658 w 1239"/>
                <a:gd name="T43" fmla="*/ 589 h 873"/>
                <a:gd name="T44" fmla="*/ 654 w 1239"/>
                <a:gd name="T45" fmla="*/ 586 h 873"/>
                <a:gd name="T46" fmla="*/ 490 w 1239"/>
                <a:gd name="T47" fmla="*/ 422 h 873"/>
                <a:gd name="T48" fmla="*/ 38 w 1239"/>
                <a:gd name="T49" fmla="*/ 87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9" h="873">
                  <a:moveTo>
                    <a:pt x="38" y="873"/>
                  </a:moveTo>
                  <a:lnTo>
                    <a:pt x="0" y="837"/>
                  </a:lnTo>
                  <a:lnTo>
                    <a:pt x="471" y="366"/>
                  </a:lnTo>
                  <a:lnTo>
                    <a:pt x="476" y="363"/>
                  </a:lnTo>
                  <a:lnTo>
                    <a:pt x="480" y="360"/>
                  </a:lnTo>
                  <a:lnTo>
                    <a:pt x="484" y="359"/>
                  </a:lnTo>
                  <a:lnTo>
                    <a:pt x="490" y="359"/>
                  </a:lnTo>
                  <a:lnTo>
                    <a:pt x="494" y="359"/>
                  </a:lnTo>
                  <a:lnTo>
                    <a:pt x="499" y="360"/>
                  </a:lnTo>
                  <a:lnTo>
                    <a:pt x="504" y="363"/>
                  </a:lnTo>
                  <a:lnTo>
                    <a:pt x="507" y="366"/>
                  </a:lnTo>
                  <a:lnTo>
                    <a:pt x="673" y="530"/>
                  </a:lnTo>
                  <a:lnTo>
                    <a:pt x="1203" y="0"/>
                  </a:lnTo>
                  <a:lnTo>
                    <a:pt x="1239" y="38"/>
                  </a:lnTo>
                  <a:lnTo>
                    <a:pt x="690" y="586"/>
                  </a:lnTo>
                  <a:lnTo>
                    <a:pt x="687" y="589"/>
                  </a:lnTo>
                  <a:lnTo>
                    <a:pt x="681" y="592"/>
                  </a:lnTo>
                  <a:lnTo>
                    <a:pt x="677" y="593"/>
                  </a:lnTo>
                  <a:lnTo>
                    <a:pt x="673" y="593"/>
                  </a:lnTo>
                  <a:lnTo>
                    <a:pt x="667" y="593"/>
                  </a:lnTo>
                  <a:lnTo>
                    <a:pt x="663" y="592"/>
                  </a:lnTo>
                  <a:lnTo>
                    <a:pt x="658" y="589"/>
                  </a:lnTo>
                  <a:lnTo>
                    <a:pt x="654" y="586"/>
                  </a:lnTo>
                  <a:lnTo>
                    <a:pt x="490" y="422"/>
                  </a:lnTo>
                  <a:lnTo>
                    <a:pt x="38" y="8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211">
              <a:extLst>
                <a:ext uri="{FF2B5EF4-FFF2-40B4-BE49-F238E27FC236}">
                  <a16:creationId xmlns:a16="http://schemas.microsoft.com/office/drawing/2014/main" id="{D835990C-7538-47C1-A7AE-EF5104A52E2C}"/>
                </a:ext>
              </a:extLst>
            </p:cNvPr>
            <p:cNvSpPr>
              <a:spLocks/>
            </p:cNvSpPr>
            <p:nvPr/>
          </p:nvSpPr>
          <p:spPr bwMode="auto">
            <a:xfrm>
              <a:off x="2295525" y="4635501"/>
              <a:ext cx="138113" cy="138113"/>
            </a:xfrm>
            <a:custGeom>
              <a:avLst/>
              <a:gdLst>
                <a:gd name="T0" fmla="*/ 236 w 262"/>
                <a:gd name="T1" fmla="*/ 261 h 261"/>
                <a:gd name="T2" fmla="*/ 231 w 262"/>
                <a:gd name="T3" fmla="*/ 261 h 261"/>
                <a:gd name="T4" fmla="*/ 225 w 262"/>
                <a:gd name="T5" fmla="*/ 259 h 261"/>
                <a:gd name="T6" fmla="*/ 221 w 262"/>
                <a:gd name="T7" fmla="*/ 256 h 261"/>
                <a:gd name="T8" fmla="*/ 218 w 262"/>
                <a:gd name="T9" fmla="*/ 253 h 261"/>
                <a:gd name="T10" fmla="*/ 213 w 262"/>
                <a:gd name="T11" fmla="*/ 249 h 261"/>
                <a:gd name="T12" fmla="*/ 212 w 262"/>
                <a:gd name="T13" fmla="*/ 245 h 261"/>
                <a:gd name="T14" fmla="*/ 211 w 262"/>
                <a:gd name="T15" fmla="*/ 240 h 261"/>
                <a:gd name="T16" fmla="*/ 209 w 262"/>
                <a:gd name="T17" fmla="*/ 235 h 261"/>
                <a:gd name="T18" fmla="*/ 209 w 262"/>
                <a:gd name="T19" fmla="*/ 52 h 261"/>
                <a:gd name="T20" fmla="*/ 26 w 262"/>
                <a:gd name="T21" fmla="*/ 52 h 261"/>
                <a:gd name="T22" fmla="*/ 22 w 262"/>
                <a:gd name="T23" fmla="*/ 52 h 261"/>
                <a:gd name="T24" fmla="*/ 16 w 262"/>
                <a:gd name="T25" fmla="*/ 50 h 261"/>
                <a:gd name="T26" fmla="*/ 12 w 262"/>
                <a:gd name="T27" fmla="*/ 47 h 261"/>
                <a:gd name="T28" fmla="*/ 9 w 262"/>
                <a:gd name="T29" fmla="*/ 45 h 261"/>
                <a:gd name="T30" fmla="*/ 5 w 262"/>
                <a:gd name="T31" fmla="*/ 40 h 261"/>
                <a:gd name="T32" fmla="*/ 3 w 262"/>
                <a:gd name="T33" fmla="*/ 36 h 261"/>
                <a:gd name="T34" fmla="*/ 2 w 262"/>
                <a:gd name="T35" fmla="*/ 32 h 261"/>
                <a:gd name="T36" fmla="*/ 0 w 262"/>
                <a:gd name="T37" fmla="*/ 26 h 261"/>
                <a:gd name="T38" fmla="*/ 2 w 262"/>
                <a:gd name="T39" fmla="*/ 20 h 261"/>
                <a:gd name="T40" fmla="*/ 3 w 262"/>
                <a:gd name="T41" fmla="*/ 16 h 261"/>
                <a:gd name="T42" fmla="*/ 5 w 262"/>
                <a:gd name="T43" fmla="*/ 11 h 261"/>
                <a:gd name="T44" fmla="*/ 9 w 262"/>
                <a:gd name="T45" fmla="*/ 7 h 261"/>
                <a:gd name="T46" fmla="*/ 12 w 262"/>
                <a:gd name="T47" fmla="*/ 4 h 261"/>
                <a:gd name="T48" fmla="*/ 16 w 262"/>
                <a:gd name="T49" fmla="*/ 1 h 261"/>
                <a:gd name="T50" fmla="*/ 22 w 262"/>
                <a:gd name="T51" fmla="*/ 0 h 261"/>
                <a:gd name="T52" fmla="*/ 26 w 262"/>
                <a:gd name="T53" fmla="*/ 0 h 261"/>
                <a:gd name="T54" fmla="*/ 262 w 262"/>
                <a:gd name="T55" fmla="*/ 0 h 261"/>
                <a:gd name="T56" fmla="*/ 262 w 262"/>
                <a:gd name="T57" fmla="*/ 235 h 261"/>
                <a:gd name="T58" fmla="*/ 261 w 262"/>
                <a:gd name="T59" fmla="*/ 240 h 261"/>
                <a:gd name="T60" fmla="*/ 259 w 262"/>
                <a:gd name="T61" fmla="*/ 245 h 261"/>
                <a:gd name="T62" fmla="*/ 258 w 262"/>
                <a:gd name="T63" fmla="*/ 249 h 261"/>
                <a:gd name="T64" fmla="*/ 254 w 262"/>
                <a:gd name="T65" fmla="*/ 253 h 261"/>
                <a:gd name="T66" fmla="*/ 251 w 262"/>
                <a:gd name="T67" fmla="*/ 256 h 261"/>
                <a:gd name="T68" fmla="*/ 247 w 262"/>
                <a:gd name="T69" fmla="*/ 259 h 261"/>
                <a:gd name="T70" fmla="*/ 241 w 262"/>
                <a:gd name="T71" fmla="*/ 261 h 261"/>
                <a:gd name="T72" fmla="*/ 236 w 262"/>
                <a:gd name="T7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61">
                  <a:moveTo>
                    <a:pt x="236" y="261"/>
                  </a:moveTo>
                  <a:lnTo>
                    <a:pt x="231" y="261"/>
                  </a:lnTo>
                  <a:lnTo>
                    <a:pt x="225" y="259"/>
                  </a:lnTo>
                  <a:lnTo>
                    <a:pt x="221" y="256"/>
                  </a:lnTo>
                  <a:lnTo>
                    <a:pt x="218" y="253"/>
                  </a:lnTo>
                  <a:lnTo>
                    <a:pt x="213" y="249"/>
                  </a:lnTo>
                  <a:lnTo>
                    <a:pt x="212" y="245"/>
                  </a:lnTo>
                  <a:lnTo>
                    <a:pt x="211" y="240"/>
                  </a:lnTo>
                  <a:lnTo>
                    <a:pt x="209" y="235"/>
                  </a:lnTo>
                  <a:lnTo>
                    <a:pt x="209" y="52"/>
                  </a:lnTo>
                  <a:lnTo>
                    <a:pt x="26" y="52"/>
                  </a:lnTo>
                  <a:lnTo>
                    <a:pt x="22" y="52"/>
                  </a:lnTo>
                  <a:lnTo>
                    <a:pt x="16" y="50"/>
                  </a:lnTo>
                  <a:lnTo>
                    <a:pt x="12" y="47"/>
                  </a:lnTo>
                  <a:lnTo>
                    <a:pt x="9" y="45"/>
                  </a:lnTo>
                  <a:lnTo>
                    <a:pt x="5" y="40"/>
                  </a:lnTo>
                  <a:lnTo>
                    <a:pt x="3" y="36"/>
                  </a:lnTo>
                  <a:lnTo>
                    <a:pt x="2" y="32"/>
                  </a:lnTo>
                  <a:lnTo>
                    <a:pt x="0" y="26"/>
                  </a:lnTo>
                  <a:lnTo>
                    <a:pt x="2" y="20"/>
                  </a:lnTo>
                  <a:lnTo>
                    <a:pt x="3" y="16"/>
                  </a:lnTo>
                  <a:lnTo>
                    <a:pt x="5" y="11"/>
                  </a:lnTo>
                  <a:lnTo>
                    <a:pt x="9" y="7"/>
                  </a:lnTo>
                  <a:lnTo>
                    <a:pt x="12" y="4"/>
                  </a:lnTo>
                  <a:lnTo>
                    <a:pt x="16" y="1"/>
                  </a:lnTo>
                  <a:lnTo>
                    <a:pt x="22" y="0"/>
                  </a:lnTo>
                  <a:lnTo>
                    <a:pt x="26" y="0"/>
                  </a:lnTo>
                  <a:lnTo>
                    <a:pt x="262" y="0"/>
                  </a:lnTo>
                  <a:lnTo>
                    <a:pt x="262" y="235"/>
                  </a:lnTo>
                  <a:lnTo>
                    <a:pt x="261" y="240"/>
                  </a:lnTo>
                  <a:lnTo>
                    <a:pt x="259" y="245"/>
                  </a:lnTo>
                  <a:lnTo>
                    <a:pt x="258" y="249"/>
                  </a:lnTo>
                  <a:lnTo>
                    <a:pt x="254" y="253"/>
                  </a:lnTo>
                  <a:lnTo>
                    <a:pt x="251" y="256"/>
                  </a:lnTo>
                  <a:lnTo>
                    <a:pt x="247" y="259"/>
                  </a:lnTo>
                  <a:lnTo>
                    <a:pt x="241" y="261"/>
                  </a:lnTo>
                  <a:lnTo>
                    <a:pt x="23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6" name="Group 32">
            <a:extLst>
              <a:ext uri="{FF2B5EF4-FFF2-40B4-BE49-F238E27FC236}">
                <a16:creationId xmlns:a16="http://schemas.microsoft.com/office/drawing/2014/main" id="{20AD3CB7-1F9E-41C8-B459-91793939ABA5}"/>
              </a:ext>
            </a:extLst>
          </p:cNvPr>
          <p:cNvGrpSpPr>
            <a:grpSpLocks noChangeAspect="1"/>
          </p:cNvGrpSpPr>
          <p:nvPr/>
        </p:nvGrpSpPr>
        <p:grpSpPr>
          <a:xfrm>
            <a:off x="2314477" y="5956111"/>
            <a:ext cx="285619" cy="285619"/>
            <a:chOff x="4319588" y="1954213"/>
            <a:chExt cx="276225" cy="276225"/>
          </a:xfrm>
          <a:solidFill>
            <a:schemeClr val="bg1"/>
          </a:solidFill>
          <a:effectLst/>
        </p:grpSpPr>
        <p:sp>
          <p:nvSpPr>
            <p:cNvPr id="1225" name="Freeform 140">
              <a:extLst>
                <a:ext uri="{FF2B5EF4-FFF2-40B4-BE49-F238E27FC236}">
                  <a16:creationId xmlns:a16="http://schemas.microsoft.com/office/drawing/2014/main" id="{1C0A9200-8963-454F-8500-F02F35F23917}"/>
                </a:ext>
              </a:extLst>
            </p:cNvPr>
            <p:cNvSpPr>
              <a:spLocks noEditPoints="1"/>
            </p:cNvSpPr>
            <p:nvPr/>
          </p:nvSpPr>
          <p:spPr bwMode="auto">
            <a:xfrm>
              <a:off x="4319588" y="1954213"/>
              <a:ext cx="276225" cy="276225"/>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1">
              <a:extLst>
                <a:ext uri="{FF2B5EF4-FFF2-40B4-BE49-F238E27FC236}">
                  <a16:creationId xmlns:a16="http://schemas.microsoft.com/office/drawing/2014/main" id="{91C9C2D4-5AE3-49D8-8567-DCD396F44A25}"/>
                </a:ext>
              </a:extLst>
            </p:cNvPr>
            <p:cNvSpPr>
              <a:spLocks/>
            </p:cNvSpPr>
            <p:nvPr/>
          </p:nvSpPr>
          <p:spPr bwMode="auto">
            <a:xfrm>
              <a:off x="4400550" y="2035175"/>
              <a:ext cx="114300" cy="114300"/>
            </a:xfrm>
            <a:custGeom>
              <a:avLst/>
              <a:gdLst>
                <a:gd name="T0" fmla="*/ 5 w 361"/>
                <a:gd name="T1" fmla="*/ 335 h 361"/>
                <a:gd name="T2" fmla="*/ 1 w 361"/>
                <a:gd name="T3" fmla="*/ 341 h 361"/>
                <a:gd name="T4" fmla="*/ 0 w 361"/>
                <a:gd name="T5" fmla="*/ 346 h 361"/>
                <a:gd name="T6" fmla="*/ 1 w 361"/>
                <a:gd name="T7" fmla="*/ 351 h 361"/>
                <a:gd name="T8" fmla="*/ 5 w 361"/>
                <a:gd name="T9" fmla="*/ 357 h 361"/>
                <a:gd name="T10" fmla="*/ 10 w 361"/>
                <a:gd name="T11" fmla="*/ 360 h 361"/>
                <a:gd name="T12" fmla="*/ 15 w 361"/>
                <a:gd name="T13" fmla="*/ 361 h 361"/>
                <a:gd name="T14" fmla="*/ 21 w 361"/>
                <a:gd name="T15" fmla="*/ 360 h 361"/>
                <a:gd name="T16" fmla="*/ 26 w 361"/>
                <a:gd name="T17" fmla="*/ 357 h 361"/>
                <a:gd name="T18" fmla="*/ 336 w 361"/>
                <a:gd name="T19" fmla="*/ 357 h 361"/>
                <a:gd name="T20" fmla="*/ 340 w 361"/>
                <a:gd name="T21" fmla="*/ 360 h 361"/>
                <a:gd name="T22" fmla="*/ 346 w 361"/>
                <a:gd name="T23" fmla="*/ 361 h 361"/>
                <a:gd name="T24" fmla="*/ 352 w 361"/>
                <a:gd name="T25" fmla="*/ 360 h 361"/>
                <a:gd name="T26" fmla="*/ 357 w 361"/>
                <a:gd name="T27" fmla="*/ 357 h 361"/>
                <a:gd name="T28" fmla="*/ 360 w 361"/>
                <a:gd name="T29" fmla="*/ 353 h 361"/>
                <a:gd name="T30" fmla="*/ 361 w 361"/>
                <a:gd name="T31" fmla="*/ 347 h 361"/>
                <a:gd name="T32" fmla="*/ 360 w 361"/>
                <a:gd name="T33" fmla="*/ 341 h 361"/>
                <a:gd name="T34" fmla="*/ 357 w 361"/>
                <a:gd name="T35" fmla="*/ 335 h 361"/>
                <a:gd name="T36" fmla="*/ 357 w 361"/>
                <a:gd name="T37" fmla="*/ 25 h 361"/>
                <a:gd name="T38" fmla="*/ 360 w 361"/>
                <a:gd name="T39" fmla="*/ 21 h 361"/>
                <a:gd name="T40" fmla="*/ 361 w 361"/>
                <a:gd name="T41" fmla="*/ 16 h 361"/>
                <a:gd name="T42" fmla="*/ 360 w 361"/>
                <a:gd name="T43" fmla="*/ 9 h 361"/>
                <a:gd name="T44" fmla="*/ 357 w 361"/>
                <a:gd name="T45" fmla="*/ 5 h 361"/>
                <a:gd name="T46" fmla="*/ 352 w 361"/>
                <a:gd name="T47" fmla="*/ 1 h 361"/>
                <a:gd name="T48" fmla="*/ 346 w 361"/>
                <a:gd name="T49" fmla="*/ 0 h 361"/>
                <a:gd name="T50" fmla="*/ 340 w 361"/>
                <a:gd name="T51" fmla="*/ 1 h 361"/>
                <a:gd name="T52" fmla="*/ 336 w 361"/>
                <a:gd name="T53" fmla="*/ 5 h 361"/>
                <a:gd name="T54" fmla="*/ 26 w 361"/>
                <a:gd name="T55" fmla="*/ 5 h 361"/>
                <a:gd name="T56" fmla="*/ 20 w 361"/>
                <a:gd name="T57" fmla="*/ 1 h 361"/>
                <a:gd name="T58" fmla="*/ 15 w 361"/>
                <a:gd name="T59" fmla="*/ 0 h 361"/>
                <a:gd name="T60" fmla="*/ 10 w 361"/>
                <a:gd name="T61" fmla="*/ 1 h 361"/>
                <a:gd name="T62" fmla="*/ 4 w 361"/>
                <a:gd name="T63" fmla="*/ 5 h 361"/>
                <a:gd name="T64" fmla="*/ 1 w 361"/>
                <a:gd name="T65" fmla="*/ 9 h 361"/>
                <a:gd name="T66" fmla="*/ 0 w 361"/>
                <a:gd name="T67" fmla="*/ 16 h 361"/>
                <a:gd name="T68" fmla="*/ 1 w 361"/>
                <a:gd name="T69" fmla="*/ 21 h 361"/>
                <a:gd name="T70" fmla="*/ 4 w 361"/>
                <a:gd name="T71" fmla="*/ 2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61">
                  <a:moveTo>
                    <a:pt x="159" y="181"/>
                  </a:moveTo>
                  <a:lnTo>
                    <a:pt x="5" y="335"/>
                  </a:lnTo>
                  <a:lnTo>
                    <a:pt x="3" y="339"/>
                  </a:lnTo>
                  <a:lnTo>
                    <a:pt x="1" y="341"/>
                  </a:lnTo>
                  <a:lnTo>
                    <a:pt x="1" y="344"/>
                  </a:lnTo>
                  <a:lnTo>
                    <a:pt x="0" y="346"/>
                  </a:lnTo>
                  <a:lnTo>
                    <a:pt x="1" y="349"/>
                  </a:lnTo>
                  <a:lnTo>
                    <a:pt x="1" y="351"/>
                  </a:lnTo>
                  <a:lnTo>
                    <a:pt x="3" y="355"/>
                  </a:lnTo>
                  <a:lnTo>
                    <a:pt x="5" y="357"/>
                  </a:lnTo>
                  <a:lnTo>
                    <a:pt x="8" y="359"/>
                  </a:lnTo>
                  <a:lnTo>
                    <a:pt x="10" y="360"/>
                  </a:lnTo>
                  <a:lnTo>
                    <a:pt x="13" y="361"/>
                  </a:lnTo>
                  <a:lnTo>
                    <a:pt x="15" y="361"/>
                  </a:lnTo>
                  <a:lnTo>
                    <a:pt x="18" y="361"/>
                  </a:lnTo>
                  <a:lnTo>
                    <a:pt x="21" y="360"/>
                  </a:lnTo>
                  <a:lnTo>
                    <a:pt x="24" y="359"/>
                  </a:lnTo>
                  <a:lnTo>
                    <a:pt x="26" y="357"/>
                  </a:lnTo>
                  <a:lnTo>
                    <a:pt x="180" y="203"/>
                  </a:lnTo>
                  <a:lnTo>
                    <a:pt x="336" y="357"/>
                  </a:lnTo>
                  <a:lnTo>
                    <a:pt x="338" y="359"/>
                  </a:lnTo>
                  <a:lnTo>
                    <a:pt x="340" y="360"/>
                  </a:lnTo>
                  <a:lnTo>
                    <a:pt x="343" y="361"/>
                  </a:lnTo>
                  <a:lnTo>
                    <a:pt x="346" y="361"/>
                  </a:lnTo>
                  <a:lnTo>
                    <a:pt x="349" y="361"/>
                  </a:lnTo>
                  <a:lnTo>
                    <a:pt x="352" y="360"/>
                  </a:lnTo>
                  <a:lnTo>
                    <a:pt x="354" y="359"/>
                  </a:lnTo>
                  <a:lnTo>
                    <a:pt x="357" y="357"/>
                  </a:lnTo>
                  <a:lnTo>
                    <a:pt x="358" y="355"/>
                  </a:lnTo>
                  <a:lnTo>
                    <a:pt x="360" y="353"/>
                  </a:lnTo>
                  <a:lnTo>
                    <a:pt x="360" y="349"/>
                  </a:lnTo>
                  <a:lnTo>
                    <a:pt x="361" y="347"/>
                  </a:lnTo>
                  <a:lnTo>
                    <a:pt x="360" y="344"/>
                  </a:lnTo>
                  <a:lnTo>
                    <a:pt x="360" y="341"/>
                  </a:lnTo>
                  <a:lnTo>
                    <a:pt x="358" y="339"/>
                  </a:lnTo>
                  <a:lnTo>
                    <a:pt x="357" y="335"/>
                  </a:lnTo>
                  <a:lnTo>
                    <a:pt x="202" y="181"/>
                  </a:lnTo>
                  <a:lnTo>
                    <a:pt x="357" y="25"/>
                  </a:lnTo>
                  <a:lnTo>
                    <a:pt x="358" y="23"/>
                  </a:lnTo>
                  <a:lnTo>
                    <a:pt x="360" y="21"/>
                  </a:lnTo>
                  <a:lnTo>
                    <a:pt x="360" y="19"/>
                  </a:lnTo>
                  <a:lnTo>
                    <a:pt x="361" y="16"/>
                  </a:lnTo>
                  <a:lnTo>
                    <a:pt x="360" y="13"/>
                  </a:lnTo>
                  <a:lnTo>
                    <a:pt x="360" y="9"/>
                  </a:lnTo>
                  <a:lnTo>
                    <a:pt x="358" y="7"/>
                  </a:lnTo>
                  <a:lnTo>
                    <a:pt x="357" y="5"/>
                  </a:lnTo>
                  <a:lnTo>
                    <a:pt x="354" y="3"/>
                  </a:lnTo>
                  <a:lnTo>
                    <a:pt x="352" y="1"/>
                  </a:lnTo>
                  <a:lnTo>
                    <a:pt x="349" y="1"/>
                  </a:lnTo>
                  <a:lnTo>
                    <a:pt x="346" y="0"/>
                  </a:lnTo>
                  <a:lnTo>
                    <a:pt x="343" y="1"/>
                  </a:lnTo>
                  <a:lnTo>
                    <a:pt x="340" y="1"/>
                  </a:lnTo>
                  <a:lnTo>
                    <a:pt x="338" y="3"/>
                  </a:lnTo>
                  <a:lnTo>
                    <a:pt x="336" y="5"/>
                  </a:lnTo>
                  <a:lnTo>
                    <a:pt x="180" y="159"/>
                  </a:lnTo>
                  <a:lnTo>
                    <a:pt x="26" y="5"/>
                  </a:lnTo>
                  <a:lnTo>
                    <a:pt x="24" y="3"/>
                  </a:lnTo>
                  <a:lnTo>
                    <a:pt x="20" y="1"/>
                  </a:lnTo>
                  <a:lnTo>
                    <a:pt x="18" y="1"/>
                  </a:lnTo>
                  <a:lnTo>
                    <a:pt x="15" y="0"/>
                  </a:lnTo>
                  <a:lnTo>
                    <a:pt x="12" y="1"/>
                  </a:lnTo>
                  <a:lnTo>
                    <a:pt x="10" y="1"/>
                  </a:lnTo>
                  <a:lnTo>
                    <a:pt x="6" y="3"/>
                  </a:lnTo>
                  <a:lnTo>
                    <a:pt x="4" y="5"/>
                  </a:lnTo>
                  <a:lnTo>
                    <a:pt x="2" y="7"/>
                  </a:lnTo>
                  <a:lnTo>
                    <a:pt x="1" y="9"/>
                  </a:lnTo>
                  <a:lnTo>
                    <a:pt x="0" y="13"/>
                  </a:lnTo>
                  <a:lnTo>
                    <a:pt x="0" y="16"/>
                  </a:lnTo>
                  <a:lnTo>
                    <a:pt x="0" y="19"/>
                  </a:lnTo>
                  <a:lnTo>
                    <a:pt x="1" y="21"/>
                  </a:lnTo>
                  <a:lnTo>
                    <a:pt x="2" y="23"/>
                  </a:lnTo>
                  <a:lnTo>
                    <a:pt x="4" y="25"/>
                  </a:lnTo>
                  <a:lnTo>
                    <a:pt x="15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5" name="Group 27">
            <a:extLst>
              <a:ext uri="{FF2B5EF4-FFF2-40B4-BE49-F238E27FC236}">
                <a16:creationId xmlns:a16="http://schemas.microsoft.com/office/drawing/2014/main" id="{CC8A8C85-6EA7-49F2-B5FD-53064FA66E06}"/>
              </a:ext>
            </a:extLst>
          </p:cNvPr>
          <p:cNvGrpSpPr>
            <a:grpSpLocks noChangeAspect="1"/>
          </p:cNvGrpSpPr>
          <p:nvPr/>
        </p:nvGrpSpPr>
        <p:grpSpPr>
          <a:xfrm>
            <a:off x="3227529" y="2186361"/>
            <a:ext cx="235832" cy="285619"/>
            <a:chOff x="50800" y="903288"/>
            <a:chExt cx="571500" cy="692151"/>
          </a:xfrm>
          <a:solidFill>
            <a:schemeClr val="bg1"/>
          </a:solidFill>
          <a:effectLst/>
        </p:grpSpPr>
        <p:sp>
          <p:nvSpPr>
            <p:cNvPr id="596" name="Freeform 5">
              <a:extLst>
                <a:ext uri="{FF2B5EF4-FFF2-40B4-BE49-F238E27FC236}">
                  <a16:creationId xmlns:a16="http://schemas.microsoft.com/office/drawing/2014/main" id="{76CB36CB-4FB0-43A1-85D6-4B43063F7EBC}"/>
                </a:ext>
              </a:extLst>
            </p:cNvPr>
            <p:cNvSpPr>
              <a:spLocks noEditPoints="1"/>
            </p:cNvSpPr>
            <p:nvPr/>
          </p:nvSpPr>
          <p:spPr bwMode="auto">
            <a:xfrm>
              <a:off x="171450" y="903288"/>
              <a:ext cx="328613" cy="360363"/>
            </a:xfrm>
            <a:custGeom>
              <a:avLst/>
              <a:gdLst>
                <a:gd name="T0" fmla="*/ 272 w 622"/>
                <a:gd name="T1" fmla="*/ 56 h 680"/>
                <a:gd name="T2" fmla="*/ 189 w 622"/>
                <a:gd name="T3" fmla="*/ 86 h 680"/>
                <a:gd name="T4" fmla="*/ 112 w 622"/>
                <a:gd name="T5" fmla="*/ 157 h 680"/>
                <a:gd name="T6" fmla="*/ 65 w 622"/>
                <a:gd name="T7" fmla="*/ 255 h 680"/>
                <a:gd name="T8" fmla="*/ 55 w 622"/>
                <a:gd name="T9" fmla="*/ 369 h 680"/>
                <a:gd name="T10" fmla="*/ 84 w 622"/>
                <a:gd name="T11" fmla="*/ 477 h 680"/>
                <a:gd name="T12" fmla="*/ 147 w 622"/>
                <a:gd name="T13" fmla="*/ 562 h 680"/>
                <a:gd name="T14" fmla="*/ 235 w 622"/>
                <a:gd name="T15" fmla="*/ 613 h 680"/>
                <a:gd name="T16" fmla="*/ 298 w 622"/>
                <a:gd name="T17" fmla="*/ 626 h 680"/>
                <a:gd name="T18" fmla="*/ 351 w 622"/>
                <a:gd name="T19" fmla="*/ 623 h 680"/>
                <a:gd name="T20" fmla="*/ 435 w 622"/>
                <a:gd name="T21" fmla="*/ 592 h 680"/>
                <a:gd name="T22" fmla="*/ 511 w 622"/>
                <a:gd name="T23" fmla="*/ 523 h 680"/>
                <a:gd name="T24" fmla="*/ 559 w 622"/>
                <a:gd name="T25" fmla="*/ 425 h 680"/>
                <a:gd name="T26" fmla="*/ 569 w 622"/>
                <a:gd name="T27" fmla="*/ 311 h 680"/>
                <a:gd name="T28" fmla="*/ 539 w 622"/>
                <a:gd name="T29" fmla="*/ 203 h 680"/>
                <a:gd name="T30" fmla="*/ 477 w 622"/>
                <a:gd name="T31" fmla="*/ 118 h 680"/>
                <a:gd name="T32" fmla="*/ 389 w 622"/>
                <a:gd name="T33" fmla="*/ 65 h 680"/>
                <a:gd name="T34" fmla="*/ 325 w 622"/>
                <a:gd name="T35" fmla="*/ 53 h 680"/>
                <a:gd name="T36" fmla="*/ 279 w 622"/>
                <a:gd name="T37" fmla="*/ 678 h 680"/>
                <a:gd name="T38" fmla="*/ 219 w 622"/>
                <a:gd name="T39" fmla="*/ 664 h 680"/>
                <a:gd name="T40" fmla="*/ 164 w 622"/>
                <a:gd name="T41" fmla="*/ 638 h 680"/>
                <a:gd name="T42" fmla="*/ 114 w 622"/>
                <a:gd name="T43" fmla="*/ 602 h 680"/>
                <a:gd name="T44" fmla="*/ 72 w 622"/>
                <a:gd name="T45" fmla="*/ 556 h 680"/>
                <a:gd name="T46" fmla="*/ 39 w 622"/>
                <a:gd name="T47" fmla="*/ 501 h 680"/>
                <a:gd name="T48" fmla="*/ 14 w 622"/>
                <a:gd name="T49" fmla="*/ 441 h 680"/>
                <a:gd name="T50" fmla="*/ 3 w 622"/>
                <a:gd name="T51" fmla="*/ 374 h 680"/>
                <a:gd name="T52" fmla="*/ 3 w 622"/>
                <a:gd name="T53" fmla="*/ 305 h 680"/>
                <a:gd name="T54" fmla="*/ 14 w 622"/>
                <a:gd name="T55" fmla="*/ 239 h 680"/>
                <a:gd name="T56" fmla="*/ 39 w 622"/>
                <a:gd name="T57" fmla="*/ 179 h 680"/>
                <a:gd name="T58" fmla="*/ 72 w 622"/>
                <a:gd name="T59" fmla="*/ 124 h 680"/>
                <a:gd name="T60" fmla="*/ 114 w 622"/>
                <a:gd name="T61" fmla="*/ 78 h 680"/>
                <a:gd name="T62" fmla="*/ 164 w 622"/>
                <a:gd name="T63" fmla="*/ 42 h 680"/>
                <a:gd name="T64" fmla="*/ 219 w 622"/>
                <a:gd name="T65" fmla="*/ 16 h 680"/>
                <a:gd name="T66" fmla="*/ 279 w 622"/>
                <a:gd name="T67" fmla="*/ 1 h 680"/>
                <a:gd name="T68" fmla="*/ 343 w 622"/>
                <a:gd name="T69" fmla="*/ 1 h 680"/>
                <a:gd name="T70" fmla="*/ 405 w 622"/>
                <a:gd name="T71" fmla="*/ 16 h 680"/>
                <a:gd name="T72" fmla="*/ 459 w 622"/>
                <a:gd name="T73" fmla="*/ 42 h 680"/>
                <a:gd name="T74" fmla="*/ 510 w 622"/>
                <a:gd name="T75" fmla="*/ 78 h 680"/>
                <a:gd name="T76" fmla="*/ 552 w 622"/>
                <a:gd name="T77" fmla="*/ 124 h 680"/>
                <a:gd name="T78" fmla="*/ 585 w 622"/>
                <a:gd name="T79" fmla="*/ 179 h 680"/>
                <a:gd name="T80" fmla="*/ 609 w 622"/>
                <a:gd name="T81" fmla="*/ 239 h 680"/>
                <a:gd name="T82" fmla="*/ 621 w 622"/>
                <a:gd name="T83" fmla="*/ 305 h 680"/>
                <a:gd name="T84" fmla="*/ 621 w 622"/>
                <a:gd name="T85" fmla="*/ 374 h 680"/>
                <a:gd name="T86" fmla="*/ 609 w 622"/>
                <a:gd name="T87" fmla="*/ 441 h 680"/>
                <a:gd name="T88" fmla="*/ 585 w 622"/>
                <a:gd name="T89" fmla="*/ 501 h 680"/>
                <a:gd name="T90" fmla="*/ 552 w 622"/>
                <a:gd name="T91" fmla="*/ 556 h 680"/>
                <a:gd name="T92" fmla="*/ 510 w 622"/>
                <a:gd name="T93" fmla="*/ 602 h 680"/>
                <a:gd name="T94" fmla="*/ 459 w 622"/>
                <a:gd name="T95" fmla="*/ 638 h 680"/>
                <a:gd name="T96" fmla="*/ 405 w 622"/>
                <a:gd name="T97" fmla="*/ 664 h 680"/>
                <a:gd name="T98" fmla="*/ 343 w 622"/>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2" h="680">
                  <a:moveTo>
                    <a:pt x="311" y="52"/>
                  </a:moveTo>
                  <a:lnTo>
                    <a:pt x="298" y="53"/>
                  </a:lnTo>
                  <a:lnTo>
                    <a:pt x="285" y="53"/>
                  </a:lnTo>
                  <a:lnTo>
                    <a:pt x="272" y="56"/>
                  </a:lnTo>
                  <a:lnTo>
                    <a:pt x="259" y="58"/>
                  </a:lnTo>
                  <a:lnTo>
                    <a:pt x="235" y="65"/>
                  </a:lnTo>
                  <a:lnTo>
                    <a:pt x="212" y="75"/>
                  </a:lnTo>
                  <a:lnTo>
                    <a:pt x="189" y="86"/>
                  </a:lnTo>
                  <a:lnTo>
                    <a:pt x="167" y="101"/>
                  </a:lnTo>
                  <a:lnTo>
                    <a:pt x="147" y="118"/>
                  </a:lnTo>
                  <a:lnTo>
                    <a:pt x="128" y="137"/>
                  </a:lnTo>
                  <a:lnTo>
                    <a:pt x="112" y="157"/>
                  </a:lnTo>
                  <a:lnTo>
                    <a:pt x="96" y="179"/>
                  </a:lnTo>
                  <a:lnTo>
                    <a:pt x="84" y="203"/>
                  </a:lnTo>
                  <a:lnTo>
                    <a:pt x="73" y="227"/>
                  </a:lnTo>
                  <a:lnTo>
                    <a:pt x="65" y="255"/>
                  </a:lnTo>
                  <a:lnTo>
                    <a:pt x="58" y="282"/>
                  </a:lnTo>
                  <a:lnTo>
                    <a:pt x="55" y="311"/>
                  </a:lnTo>
                  <a:lnTo>
                    <a:pt x="53" y="340"/>
                  </a:lnTo>
                  <a:lnTo>
                    <a:pt x="55" y="369"/>
                  </a:lnTo>
                  <a:lnTo>
                    <a:pt x="58" y="397"/>
                  </a:lnTo>
                  <a:lnTo>
                    <a:pt x="65" y="425"/>
                  </a:lnTo>
                  <a:lnTo>
                    <a:pt x="73" y="452"/>
                  </a:lnTo>
                  <a:lnTo>
                    <a:pt x="84" y="477"/>
                  </a:lnTo>
                  <a:lnTo>
                    <a:pt x="96" y="500"/>
                  </a:lnTo>
                  <a:lnTo>
                    <a:pt x="112" y="523"/>
                  </a:lnTo>
                  <a:lnTo>
                    <a:pt x="128" y="543"/>
                  </a:lnTo>
                  <a:lnTo>
                    <a:pt x="147" y="562"/>
                  </a:lnTo>
                  <a:lnTo>
                    <a:pt x="167" y="577"/>
                  </a:lnTo>
                  <a:lnTo>
                    <a:pt x="189" y="592"/>
                  </a:lnTo>
                  <a:lnTo>
                    <a:pt x="212" y="605"/>
                  </a:lnTo>
                  <a:lnTo>
                    <a:pt x="235" y="613"/>
                  </a:lnTo>
                  <a:lnTo>
                    <a:pt x="259" y="621"/>
                  </a:lnTo>
                  <a:lnTo>
                    <a:pt x="272" y="623"/>
                  </a:lnTo>
                  <a:lnTo>
                    <a:pt x="285" y="625"/>
                  </a:lnTo>
                  <a:lnTo>
                    <a:pt x="298" y="626"/>
                  </a:lnTo>
                  <a:lnTo>
                    <a:pt x="311" y="626"/>
                  </a:lnTo>
                  <a:lnTo>
                    <a:pt x="325" y="626"/>
                  </a:lnTo>
                  <a:lnTo>
                    <a:pt x="338" y="625"/>
                  </a:lnTo>
                  <a:lnTo>
                    <a:pt x="351" y="623"/>
                  </a:lnTo>
                  <a:lnTo>
                    <a:pt x="364" y="621"/>
                  </a:lnTo>
                  <a:lnTo>
                    <a:pt x="389" y="613"/>
                  </a:lnTo>
                  <a:lnTo>
                    <a:pt x="412" y="605"/>
                  </a:lnTo>
                  <a:lnTo>
                    <a:pt x="435" y="592"/>
                  </a:lnTo>
                  <a:lnTo>
                    <a:pt x="456" y="577"/>
                  </a:lnTo>
                  <a:lnTo>
                    <a:pt x="477" y="562"/>
                  </a:lnTo>
                  <a:lnTo>
                    <a:pt x="494" y="543"/>
                  </a:lnTo>
                  <a:lnTo>
                    <a:pt x="511" y="523"/>
                  </a:lnTo>
                  <a:lnTo>
                    <a:pt x="526" y="500"/>
                  </a:lnTo>
                  <a:lnTo>
                    <a:pt x="539" y="477"/>
                  </a:lnTo>
                  <a:lnTo>
                    <a:pt x="550" y="452"/>
                  </a:lnTo>
                  <a:lnTo>
                    <a:pt x="559" y="425"/>
                  </a:lnTo>
                  <a:lnTo>
                    <a:pt x="566" y="397"/>
                  </a:lnTo>
                  <a:lnTo>
                    <a:pt x="569" y="369"/>
                  </a:lnTo>
                  <a:lnTo>
                    <a:pt x="570" y="340"/>
                  </a:lnTo>
                  <a:lnTo>
                    <a:pt x="569" y="311"/>
                  </a:lnTo>
                  <a:lnTo>
                    <a:pt x="566" y="282"/>
                  </a:lnTo>
                  <a:lnTo>
                    <a:pt x="559" y="255"/>
                  </a:lnTo>
                  <a:lnTo>
                    <a:pt x="550" y="227"/>
                  </a:lnTo>
                  <a:lnTo>
                    <a:pt x="539" y="203"/>
                  </a:lnTo>
                  <a:lnTo>
                    <a:pt x="526" y="179"/>
                  </a:lnTo>
                  <a:lnTo>
                    <a:pt x="511" y="157"/>
                  </a:lnTo>
                  <a:lnTo>
                    <a:pt x="494" y="137"/>
                  </a:lnTo>
                  <a:lnTo>
                    <a:pt x="477" y="118"/>
                  </a:lnTo>
                  <a:lnTo>
                    <a:pt x="456" y="101"/>
                  </a:lnTo>
                  <a:lnTo>
                    <a:pt x="435" y="86"/>
                  </a:lnTo>
                  <a:lnTo>
                    <a:pt x="412" y="75"/>
                  </a:lnTo>
                  <a:lnTo>
                    <a:pt x="389" y="65"/>
                  </a:lnTo>
                  <a:lnTo>
                    <a:pt x="364" y="58"/>
                  </a:lnTo>
                  <a:lnTo>
                    <a:pt x="351" y="56"/>
                  </a:lnTo>
                  <a:lnTo>
                    <a:pt x="338" y="53"/>
                  </a:lnTo>
                  <a:lnTo>
                    <a:pt x="325" y="53"/>
                  </a:lnTo>
                  <a:lnTo>
                    <a:pt x="311" y="52"/>
                  </a:lnTo>
                  <a:close/>
                  <a:moveTo>
                    <a:pt x="311" y="680"/>
                  </a:moveTo>
                  <a:lnTo>
                    <a:pt x="295" y="678"/>
                  </a:lnTo>
                  <a:lnTo>
                    <a:pt x="279" y="678"/>
                  </a:lnTo>
                  <a:lnTo>
                    <a:pt x="265" y="675"/>
                  </a:lnTo>
                  <a:lnTo>
                    <a:pt x="249" y="672"/>
                  </a:lnTo>
                  <a:lnTo>
                    <a:pt x="233" y="668"/>
                  </a:lnTo>
                  <a:lnTo>
                    <a:pt x="219" y="664"/>
                  </a:lnTo>
                  <a:lnTo>
                    <a:pt x="204" y="658"/>
                  </a:lnTo>
                  <a:lnTo>
                    <a:pt x="190" y="652"/>
                  </a:lnTo>
                  <a:lnTo>
                    <a:pt x="177" y="645"/>
                  </a:lnTo>
                  <a:lnTo>
                    <a:pt x="164" y="638"/>
                  </a:lnTo>
                  <a:lnTo>
                    <a:pt x="150" y="631"/>
                  </a:lnTo>
                  <a:lnTo>
                    <a:pt x="138" y="621"/>
                  </a:lnTo>
                  <a:lnTo>
                    <a:pt x="125" y="612"/>
                  </a:lnTo>
                  <a:lnTo>
                    <a:pt x="114" y="602"/>
                  </a:lnTo>
                  <a:lnTo>
                    <a:pt x="102" y="590"/>
                  </a:lnTo>
                  <a:lnTo>
                    <a:pt x="92" y="580"/>
                  </a:lnTo>
                  <a:lnTo>
                    <a:pt x="82" y="567"/>
                  </a:lnTo>
                  <a:lnTo>
                    <a:pt x="72" y="556"/>
                  </a:lnTo>
                  <a:lnTo>
                    <a:pt x="62" y="543"/>
                  </a:lnTo>
                  <a:lnTo>
                    <a:pt x="53" y="530"/>
                  </a:lnTo>
                  <a:lnTo>
                    <a:pt x="46" y="515"/>
                  </a:lnTo>
                  <a:lnTo>
                    <a:pt x="39" y="501"/>
                  </a:lnTo>
                  <a:lnTo>
                    <a:pt x="32" y="487"/>
                  </a:lnTo>
                  <a:lnTo>
                    <a:pt x="24" y="472"/>
                  </a:lnTo>
                  <a:lnTo>
                    <a:pt x="20" y="456"/>
                  </a:lnTo>
                  <a:lnTo>
                    <a:pt x="14" y="441"/>
                  </a:lnTo>
                  <a:lnTo>
                    <a:pt x="10" y="425"/>
                  </a:lnTo>
                  <a:lnTo>
                    <a:pt x="7" y="407"/>
                  </a:lnTo>
                  <a:lnTo>
                    <a:pt x="4" y="392"/>
                  </a:lnTo>
                  <a:lnTo>
                    <a:pt x="3" y="374"/>
                  </a:lnTo>
                  <a:lnTo>
                    <a:pt x="1" y="357"/>
                  </a:lnTo>
                  <a:lnTo>
                    <a:pt x="0" y="340"/>
                  </a:lnTo>
                  <a:lnTo>
                    <a:pt x="1" y="323"/>
                  </a:lnTo>
                  <a:lnTo>
                    <a:pt x="3" y="305"/>
                  </a:lnTo>
                  <a:lnTo>
                    <a:pt x="4" y="288"/>
                  </a:lnTo>
                  <a:lnTo>
                    <a:pt x="7" y="271"/>
                  </a:lnTo>
                  <a:lnTo>
                    <a:pt x="10" y="255"/>
                  </a:lnTo>
                  <a:lnTo>
                    <a:pt x="14" y="239"/>
                  </a:lnTo>
                  <a:lnTo>
                    <a:pt x="20" y="223"/>
                  </a:lnTo>
                  <a:lnTo>
                    <a:pt x="24" y="207"/>
                  </a:lnTo>
                  <a:lnTo>
                    <a:pt x="32" y="193"/>
                  </a:lnTo>
                  <a:lnTo>
                    <a:pt x="39" y="179"/>
                  </a:lnTo>
                  <a:lnTo>
                    <a:pt x="46" y="164"/>
                  </a:lnTo>
                  <a:lnTo>
                    <a:pt x="53" y="150"/>
                  </a:lnTo>
                  <a:lnTo>
                    <a:pt x="62" y="137"/>
                  </a:lnTo>
                  <a:lnTo>
                    <a:pt x="72" y="124"/>
                  </a:lnTo>
                  <a:lnTo>
                    <a:pt x="82" y="111"/>
                  </a:lnTo>
                  <a:lnTo>
                    <a:pt x="92" y="99"/>
                  </a:lnTo>
                  <a:lnTo>
                    <a:pt x="102" y="88"/>
                  </a:lnTo>
                  <a:lnTo>
                    <a:pt x="114" y="78"/>
                  </a:lnTo>
                  <a:lnTo>
                    <a:pt x="125" y="68"/>
                  </a:lnTo>
                  <a:lnTo>
                    <a:pt x="138" y="58"/>
                  </a:lnTo>
                  <a:lnTo>
                    <a:pt x="150" y="49"/>
                  </a:lnTo>
                  <a:lnTo>
                    <a:pt x="164" y="42"/>
                  </a:lnTo>
                  <a:lnTo>
                    <a:pt x="177" y="33"/>
                  </a:lnTo>
                  <a:lnTo>
                    <a:pt x="190" y="27"/>
                  </a:lnTo>
                  <a:lnTo>
                    <a:pt x="204" y="20"/>
                  </a:lnTo>
                  <a:lnTo>
                    <a:pt x="219" y="16"/>
                  </a:lnTo>
                  <a:lnTo>
                    <a:pt x="233" y="11"/>
                  </a:lnTo>
                  <a:lnTo>
                    <a:pt x="249" y="7"/>
                  </a:lnTo>
                  <a:lnTo>
                    <a:pt x="265" y="4"/>
                  </a:lnTo>
                  <a:lnTo>
                    <a:pt x="279" y="1"/>
                  </a:lnTo>
                  <a:lnTo>
                    <a:pt x="295" y="0"/>
                  </a:lnTo>
                  <a:lnTo>
                    <a:pt x="311" y="0"/>
                  </a:lnTo>
                  <a:lnTo>
                    <a:pt x="328" y="0"/>
                  </a:lnTo>
                  <a:lnTo>
                    <a:pt x="343" y="1"/>
                  </a:lnTo>
                  <a:lnTo>
                    <a:pt x="359" y="4"/>
                  </a:lnTo>
                  <a:lnTo>
                    <a:pt x="374" y="7"/>
                  </a:lnTo>
                  <a:lnTo>
                    <a:pt x="389" y="11"/>
                  </a:lnTo>
                  <a:lnTo>
                    <a:pt x="405" y="16"/>
                  </a:lnTo>
                  <a:lnTo>
                    <a:pt x="419" y="20"/>
                  </a:lnTo>
                  <a:lnTo>
                    <a:pt x="432" y="27"/>
                  </a:lnTo>
                  <a:lnTo>
                    <a:pt x="446" y="33"/>
                  </a:lnTo>
                  <a:lnTo>
                    <a:pt x="459" y="42"/>
                  </a:lnTo>
                  <a:lnTo>
                    <a:pt x="472" y="49"/>
                  </a:lnTo>
                  <a:lnTo>
                    <a:pt x="485" y="58"/>
                  </a:lnTo>
                  <a:lnTo>
                    <a:pt x="498" y="68"/>
                  </a:lnTo>
                  <a:lnTo>
                    <a:pt x="510" y="78"/>
                  </a:lnTo>
                  <a:lnTo>
                    <a:pt x="521" y="88"/>
                  </a:lnTo>
                  <a:lnTo>
                    <a:pt x="531" y="99"/>
                  </a:lnTo>
                  <a:lnTo>
                    <a:pt x="541" y="111"/>
                  </a:lnTo>
                  <a:lnTo>
                    <a:pt x="552" y="124"/>
                  </a:lnTo>
                  <a:lnTo>
                    <a:pt x="560" y="137"/>
                  </a:lnTo>
                  <a:lnTo>
                    <a:pt x="570" y="150"/>
                  </a:lnTo>
                  <a:lnTo>
                    <a:pt x="577" y="164"/>
                  </a:lnTo>
                  <a:lnTo>
                    <a:pt x="585" y="179"/>
                  </a:lnTo>
                  <a:lnTo>
                    <a:pt x="592" y="193"/>
                  </a:lnTo>
                  <a:lnTo>
                    <a:pt x="598" y="207"/>
                  </a:lnTo>
                  <a:lnTo>
                    <a:pt x="603" y="223"/>
                  </a:lnTo>
                  <a:lnTo>
                    <a:pt x="609" y="239"/>
                  </a:lnTo>
                  <a:lnTo>
                    <a:pt x="613" y="255"/>
                  </a:lnTo>
                  <a:lnTo>
                    <a:pt x="616" y="271"/>
                  </a:lnTo>
                  <a:lnTo>
                    <a:pt x="619" y="288"/>
                  </a:lnTo>
                  <a:lnTo>
                    <a:pt x="621" y="305"/>
                  </a:lnTo>
                  <a:lnTo>
                    <a:pt x="622" y="323"/>
                  </a:lnTo>
                  <a:lnTo>
                    <a:pt x="622" y="340"/>
                  </a:lnTo>
                  <a:lnTo>
                    <a:pt x="622" y="357"/>
                  </a:lnTo>
                  <a:lnTo>
                    <a:pt x="621" y="374"/>
                  </a:lnTo>
                  <a:lnTo>
                    <a:pt x="619" y="392"/>
                  </a:lnTo>
                  <a:lnTo>
                    <a:pt x="616" y="407"/>
                  </a:lnTo>
                  <a:lnTo>
                    <a:pt x="613" y="425"/>
                  </a:lnTo>
                  <a:lnTo>
                    <a:pt x="609" y="441"/>
                  </a:lnTo>
                  <a:lnTo>
                    <a:pt x="603" y="456"/>
                  </a:lnTo>
                  <a:lnTo>
                    <a:pt x="598" y="472"/>
                  </a:lnTo>
                  <a:lnTo>
                    <a:pt x="592" y="487"/>
                  </a:lnTo>
                  <a:lnTo>
                    <a:pt x="585" y="501"/>
                  </a:lnTo>
                  <a:lnTo>
                    <a:pt x="577" y="515"/>
                  </a:lnTo>
                  <a:lnTo>
                    <a:pt x="570" y="530"/>
                  </a:lnTo>
                  <a:lnTo>
                    <a:pt x="560" y="543"/>
                  </a:lnTo>
                  <a:lnTo>
                    <a:pt x="552" y="556"/>
                  </a:lnTo>
                  <a:lnTo>
                    <a:pt x="541" y="567"/>
                  </a:lnTo>
                  <a:lnTo>
                    <a:pt x="531" y="580"/>
                  </a:lnTo>
                  <a:lnTo>
                    <a:pt x="521" y="590"/>
                  </a:lnTo>
                  <a:lnTo>
                    <a:pt x="510" y="602"/>
                  </a:lnTo>
                  <a:lnTo>
                    <a:pt x="498" y="612"/>
                  </a:lnTo>
                  <a:lnTo>
                    <a:pt x="485" y="621"/>
                  </a:lnTo>
                  <a:lnTo>
                    <a:pt x="472" y="631"/>
                  </a:lnTo>
                  <a:lnTo>
                    <a:pt x="459" y="638"/>
                  </a:lnTo>
                  <a:lnTo>
                    <a:pt x="446" y="645"/>
                  </a:lnTo>
                  <a:lnTo>
                    <a:pt x="432" y="652"/>
                  </a:lnTo>
                  <a:lnTo>
                    <a:pt x="419" y="658"/>
                  </a:lnTo>
                  <a:lnTo>
                    <a:pt x="405" y="664"/>
                  </a:lnTo>
                  <a:lnTo>
                    <a:pt x="389" y="668"/>
                  </a:lnTo>
                  <a:lnTo>
                    <a:pt x="374" y="672"/>
                  </a:lnTo>
                  <a:lnTo>
                    <a:pt x="359" y="675"/>
                  </a:lnTo>
                  <a:lnTo>
                    <a:pt x="343" y="678"/>
                  </a:lnTo>
                  <a:lnTo>
                    <a:pt x="328"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6">
              <a:extLst>
                <a:ext uri="{FF2B5EF4-FFF2-40B4-BE49-F238E27FC236}">
                  <a16:creationId xmlns:a16="http://schemas.microsoft.com/office/drawing/2014/main" id="{2D294B2B-AD6A-4088-80BE-66933AA8EBEF}"/>
                </a:ext>
              </a:extLst>
            </p:cNvPr>
            <p:cNvSpPr>
              <a:spLocks/>
            </p:cNvSpPr>
            <p:nvPr/>
          </p:nvSpPr>
          <p:spPr bwMode="auto">
            <a:xfrm>
              <a:off x="50800" y="1235076"/>
              <a:ext cx="571500" cy="360363"/>
            </a:xfrm>
            <a:custGeom>
              <a:avLst/>
              <a:gdLst>
                <a:gd name="T0" fmla="*/ 0 w 1079"/>
                <a:gd name="T1" fmla="*/ 370 h 681"/>
                <a:gd name="T2" fmla="*/ 11 w 1079"/>
                <a:gd name="T3" fmla="*/ 292 h 681"/>
                <a:gd name="T4" fmla="*/ 38 w 1079"/>
                <a:gd name="T5" fmla="*/ 236 h 681"/>
                <a:gd name="T6" fmla="*/ 81 w 1079"/>
                <a:gd name="T7" fmla="*/ 197 h 681"/>
                <a:gd name="T8" fmla="*/ 137 w 1079"/>
                <a:gd name="T9" fmla="*/ 170 h 681"/>
                <a:gd name="T10" fmla="*/ 244 w 1079"/>
                <a:gd name="T11" fmla="*/ 137 h 681"/>
                <a:gd name="T12" fmla="*/ 303 w 1079"/>
                <a:gd name="T13" fmla="*/ 118 h 681"/>
                <a:gd name="T14" fmla="*/ 349 w 1079"/>
                <a:gd name="T15" fmla="*/ 95 h 681"/>
                <a:gd name="T16" fmla="*/ 378 w 1079"/>
                <a:gd name="T17" fmla="*/ 66 h 681"/>
                <a:gd name="T18" fmla="*/ 395 w 1079"/>
                <a:gd name="T19" fmla="*/ 30 h 681"/>
                <a:gd name="T20" fmla="*/ 399 w 1079"/>
                <a:gd name="T21" fmla="*/ 3 h 681"/>
                <a:gd name="T22" fmla="*/ 448 w 1079"/>
                <a:gd name="T23" fmla="*/ 37 h 681"/>
                <a:gd name="T24" fmla="*/ 435 w 1079"/>
                <a:gd name="T25" fmla="*/ 73 h 681"/>
                <a:gd name="T26" fmla="*/ 411 w 1079"/>
                <a:gd name="T27" fmla="*/ 109 h 681"/>
                <a:gd name="T28" fmla="*/ 373 w 1079"/>
                <a:gd name="T29" fmla="*/ 141 h 681"/>
                <a:gd name="T30" fmla="*/ 320 w 1079"/>
                <a:gd name="T31" fmla="*/ 167 h 681"/>
                <a:gd name="T32" fmla="*/ 258 w 1079"/>
                <a:gd name="T33" fmla="*/ 186 h 681"/>
                <a:gd name="T34" fmla="*/ 157 w 1079"/>
                <a:gd name="T35" fmla="*/ 217 h 681"/>
                <a:gd name="T36" fmla="*/ 111 w 1079"/>
                <a:gd name="T37" fmla="*/ 239 h 681"/>
                <a:gd name="T38" fmla="*/ 80 w 1079"/>
                <a:gd name="T39" fmla="*/ 269 h 681"/>
                <a:gd name="T40" fmla="*/ 60 w 1079"/>
                <a:gd name="T41" fmla="*/ 311 h 681"/>
                <a:gd name="T42" fmla="*/ 52 w 1079"/>
                <a:gd name="T43" fmla="*/ 370 h 681"/>
                <a:gd name="T44" fmla="*/ 1026 w 1079"/>
                <a:gd name="T45" fmla="*/ 370 h 681"/>
                <a:gd name="T46" fmla="*/ 1020 w 1079"/>
                <a:gd name="T47" fmla="*/ 311 h 681"/>
                <a:gd name="T48" fmla="*/ 1000 w 1079"/>
                <a:gd name="T49" fmla="*/ 269 h 681"/>
                <a:gd name="T50" fmla="*/ 967 w 1079"/>
                <a:gd name="T51" fmla="*/ 239 h 681"/>
                <a:gd name="T52" fmla="*/ 921 w 1079"/>
                <a:gd name="T53" fmla="*/ 217 h 681"/>
                <a:gd name="T54" fmla="*/ 820 w 1079"/>
                <a:gd name="T55" fmla="*/ 186 h 681"/>
                <a:gd name="T56" fmla="*/ 759 w 1079"/>
                <a:gd name="T57" fmla="*/ 167 h 681"/>
                <a:gd name="T58" fmla="*/ 706 w 1079"/>
                <a:gd name="T59" fmla="*/ 141 h 681"/>
                <a:gd name="T60" fmla="*/ 669 w 1079"/>
                <a:gd name="T61" fmla="*/ 109 h 681"/>
                <a:gd name="T62" fmla="*/ 644 w 1079"/>
                <a:gd name="T63" fmla="*/ 73 h 681"/>
                <a:gd name="T64" fmla="*/ 631 w 1079"/>
                <a:gd name="T65" fmla="*/ 37 h 681"/>
                <a:gd name="T66" fmla="*/ 680 w 1079"/>
                <a:gd name="T67" fmla="*/ 3 h 681"/>
                <a:gd name="T68" fmla="*/ 684 w 1079"/>
                <a:gd name="T69" fmla="*/ 32 h 681"/>
                <a:gd name="T70" fmla="*/ 702 w 1079"/>
                <a:gd name="T71" fmla="*/ 68 h 681"/>
                <a:gd name="T72" fmla="*/ 731 w 1079"/>
                <a:gd name="T73" fmla="*/ 95 h 681"/>
                <a:gd name="T74" fmla="*/ 775 w 1079"/>
                <a:gd name="T75" fmla="*/ 118 h 681"/>
                <a:gd name="T76" fmla="*/ 836 w 1079"/>
                <a:gd name="T77" fmla="*/ 137 h 681"/>
                <a:gd name="T78" fmla="*/ 942 w 1079"/>
                <a:gd name="T79" fmla="*/ 170 h 681"/>
                <a:gd name="T80" fmla="*/ 997 w 1079"/>
                <a:gd name="T81" fmla="*/ 197 h 681"/>
                <a:gd name="T82" fmla="*/ 1040 w 1079"/>
                <a:gd name="T83" fmla="*/ 236 h 681"/>
                <a:gd name="T84" fmla="*/ 1069 w 1079"/>
                <a:gd name="T85" fmla="*/ 292 h 681"/>
                <a:gd name="T86" fmla="*/ 1079 w 1079"/>
                <a:gd name="T87" fmla="*/ 3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9" h="681">
                  <a:moveTo>
                    <a:pt x="1079" y="681"/>
                  </a:moveTo>
                  <a:lnTo>
                    <a:pt x="0" y="681"/>
                  </a:lnTo>
                  <a:lnTo>
                    <a:pt x="0" y="370"/>
                  </a:lnTo>
                  <a:lnTo>
                    <a:pt x="2" y="341"/>
                  </a:lnTo>
                  <a:lnTo>
                    <a:pt x="5" y="315"/>
                  </a:lnTo>
                  <a:lnTo>
                    <a:pt x="11" y="292"/>
                  </a:lnTo>
                  <a:lnTo>
                    <a:pt x="18" y="271"/>
                  </a:lnTo>
                  <a:lnTo>
                    <a:pt x="28" y="252"/>
                  </a:lnTo>
                  <a:lnTo>
                    <a:pt x="38" y="236"/>
                  </a:lnTo>
                  <a:lnTo>
                    <a:pt x="51" y="222"/>
                  </a:lnTo>
                  <a:lnTo>
                    <a:pt x="65" y="209"/>
                  </a:lnTo>
                  <a:lnTo>
                    <a:pt x="81" y="197"/>
                  </a:lnTo>
                  <a:lnTo>
                    <a:pt x="98" y="187"/>
                  </a:lnTo>
                  <a:lnTo>
                    <a:pt x="117" y="178"/>
                  </a:lnTo>
                  <a:lnTo>
                    <a:pt x="137" y="170"/>
                  </a:lnTo>
                  <a:lnTo>
                    <a:pt x="179" y="155"/>
                  </a:lnTo>
                  <a:lnTo>
                    <a:pt x="225" y="141"/>
                  </a:lnTo>
                  <a:lnTo>
                    <a:pt x="244" y="137"/>
                  </a:lnTo>
                  <a:lnTo>
                    <a:pt x="263" y="129"/>
                  </a:lnTo>
                  <a:lnTo>
                    <a:pt x="283" y="124"/>
                  </a:lnTo>
                  <a:lnTo>
                    <a:pt x="303" y="118"/>
                  </a:lnTo>
                  <a:lnTo>
                    <a:pt x="322" y="111"/>
                  </a:lnTo>
                  <a:lnTo>
                    <a:pt x="336" y="102"/>
                  </a:lnTo>
                  <a:lnTo>
                    <a:pt x="349" y="95"/>
                  </a:lnTo>
                  <a:lnTo>
                    <a:pt x="360" y="85"/>
                  </a:lnTo>
                  <a:lnTo>
                    <a:pt x="371" y="76"/>
                  </a:lnTo>
                  <a:lnTo>
                    <a:pt x="378" y="66"/>
                  </a:lnTo>
                  <a:lnTo>
                    <a:pt x="385" y="58"/>
                  </a:lnTo>
                  <a:lnTo>
                    <a:pt x="389" y="47"/>
                  </a:lnTo>
                  <a:lnTo>
                    <a:pt x="395" y="30"/>
                  </a:lnTo>
                  <a:lnTo>
                    <a:pt x="399" y="16"/>
                  </a:lnTo>
                  <a:lnTo>
                    <a:pt x="399" y="7"/>
                  </a:lnTo>
                  <a:lnTo>
                    <a:pt x="399" y="3"/>
                  </a:lnTo>
                  <a:lnTo>
                    <a:pt x="451" y="0"/>
                  </a:lnTo>
                  <a:lnTo>
                    <a:pt x="451" y="17"/>
                  </a:lnTo>
                  <a:lnTo>
                    <a:pt x="448" y="37"/>
                  </a:lnTo>
                  <a:lnTo>
                    <a:pt x="445" y="49"/>
                  </a:lnTo>
                  <a:lnTo>
                    <a:pt x="441" y="60"/>
                  </a:lnTo>
                  <a:lnTo>
                    <a:pt x="435" y="73"/>
                  </a:lnTo>
                  <a:lnTo>
                    <a:pt x="428" y="85"/>
                  </a:lnTo>
                  <a:lnTo>
                    <a:pt x="421" y="96"/>
                  </a:lnTo>
                  <a:lnTo>
                    <a:pt x="411" y="109"/>
                  </a:lnTo>
                  <a:lnTo>
                    <a:pt x="401" y="119"/>
                  </a:lnTo>
                  <a:lnTo>
                    <a:pt x="388" y="131"/>
                  </a:lnTo>
                  <a:lnTo>
                    <a:pt x="373" y="141"/>
                  </a:lnTo>
                  <a:lnTo>
                    <a:pt x="358" y="151"/>
                  </a:lnTo>
                  <a:lnTo>
                    <a:pt x="340" y="160"/>
                  </a:lnTo>
                  <a:lnTo>
                    <a:pt x="320" y="167"/>
                  </a:lnTo>
                  <a:lnTo>
                    <a:pt x="299" y="174"/>
                  </a:lnTo>
                  <a:lnTo>
                    <a:pt x="278" y="180"/>
                  </a:lnTo>
                  <a:lnTo>
                    <a:pt x="258" y="186"/>
                  </a:lnTo>
                  <a:lnTo>
                    <a:pt x="240" y="191"/>
                  </a:lnTo>
                  <a:lnTo>
                    <a:pt x="196" y="204"/>
                  </a:lnTo>
                  <a:lnTo>
                    <a:pt x="157" y="217"/>
                  </a:lnTo>
                  <a:lnTo>
                    <a:pt x="142" y="225"/>
                  </a:lnTo>
                  <a:lnTo>
                    <a:pt x="126" y="232"/>
                  </a:lnTo>
                  <a:lnTo>
                    <a:pt x="111" y="239"/>
                  </a:lnTo>
                  <a:lnTo>
                    <a:pt x="100" y="249"/>
                  </a:lnTo>
                  <a:lnTo>
                    <a:pt x="88" y="258"/>
                  </a:lnTo>
                  <a:lnTo>
                    <a:pt x="80" y="269"/>
                  </a:lnTo>
                  <a:lnTo>
                    <a:pt x="71" y="281"/>
                  </a:lnTo>
                  <a:lnTo>
                    <a:pt x="65" y="295"/>
                  </a:lnTo>
                  <a:lnTo>
                    <a:pt x="60" y="311"/>
                  </a:lnTo>
                  <a:lnTo>
                    <a:pt x="55" y="328"/>
                  </a:lnTo>
                  <a:lnTo>
                    <a:pt x="54" y="348"/>
                  </a:lnTo>
                  <a:lnTo>
                    <a:pt x="52" y="370"/>
                  </a:lnTo>
                  <a:lnTo>
                    <a:pt x="52" y="629"/>
                  </a:lnTo>
                  <a:lnTo>
                    <a:pt x="1026" y="629"/>
                  </a:lnTo>
                  <a:lnTo>
                    <a:pt x="1026" y="370"/>
                  </a:lnTo>
                  <a:lnTo>
                    <a:pt x="1026" y="348"/>
                  </a:lnTo>
                  <a:lnTo>
                    <a:pt x="1023" y="328"/>
                  </a:lnTo>
                  <a:lnTo>
                    <a:pt x="1020" y="311"/>
                  </a:lnTo>
                  <a:lnTo>
                    <a:pt x="1014" y="295"/>
                  </a:lnTo>
                  <a:lnTo>
                    <a:pt x="1008" y="281"/>
                  </a:lnTo>
                  <a:lnTo>
                    <a:pt x="1000" y="269"/>
                  </a:lnTo>
                  <a:lnTo>
                    <a:pt x="991" y="258"/>
                  </a:lnTo>
                  <a:lnTo>
                    <a:pt x="980" y="249"/>
                  </a:lnTo>
                  <a:lnTo>
                    <a:pt x="967" y="239"/>
                  </a:lnTo>
                  <a:lnTo>
                    <a:pt x="954" y="232"/>
                  </a:lnTo>
                  <a:lnTo>
                    <a:pt x="938" y="225"/>
                  </a:lnTo>
                  <a:lnTo>
                    <a:pt x="921" y="217"/>
                  </a:lnTo>
                  <a:lnTo>
                    <a:pt x="883" y="204"/>
                  </a:lnTo>
                  <a:lnTo>
                    <a:pt x="840" y="191"/>
                  </a:lnTo>
                  <a:lnTo>
                    <a:pt x="820" y="186"/>
                  </a:lnTo>
                  <a:lnTo>
                    <a:pt x="801" y="180"/>
                  </a:lnTo>
                  <a:lnTo>
                    <a:pt x="781" y="174"/>
                  </a:lnTo>
                  <a:lnTo>
                    <a:pt x="759" y="167"/>
                  </a:lnTo>
                  <a:lnTo>
                    <a:pt x="739" y="160"/>
                  </a:lnTo>
                  <a:lnTo>
                    <a:pt x="722" y="151"/>
                  </a:lnTo>
                  <a:lnTo>
                    <a:pt x="706" y="141"/>
                  </a:lnTo>
                  <a:lnTo>
                    <a:pt x="692" y="131"/>
                  </a:lnTo>
                  <a:lnTo>
                    <a:pt x="679" y="119"/>
                  </a:lnTo>
                  <a:lnTo>
                    <a:pt x="669" y="109"/>
                  </a:lnTo>
                  <a:lnTo>
                    <a:pt x="659" y="96"/>
                  </a:lnTo>
                  <a:lnTo>
                    <a:pt x="651" y="85"/>
                  </a:lnTo>
                  <a:lnTo>
                    <a:pt x="644" y="73"/>
                  </a:lnTo>
                  <a:lnTo>
                    <a:pt x="638" y="60"/>
                  </a:lnTo>
                  <a:lnTo>
                    <a:pt x="634" y="49"/>
                  </a:lnTo>
                  <a:lnTo>
                    <a:pt x="631" y="37"/>
                  </a:lnTo>
                  <a:lnTo>
                    <a:pt x="628" y="17"/>
                  </a:lnTo>
                  <a:lnTo>
                    <a:pt x="627" y="0"/>
                  </a:lnTo>
                  <a:lnTo>
                    <a:pt x="680" y="3"/>
                  </a:lnTo>
                  <a:lnTo>
                    <a:pt x="680" y="7"/>
                  </a:lnTo>
                  <a:lnTo>
                    <a:pt x="680" y="17"/>
                  </a:lnTo>
                  <a:lnTo>
                    <a:pt x="684" y="32"/>
                  </a:lnTo>
                  <a:lnTo>
                    <a:pt x="690" y="49"/>
                  </a:lnTo>
                  <a:lnTo>
                    <a:pt x="696" y="58"/>
                  </a:lnTo>
                  <a:lnTo>
                    <a:pt x="702" y="68"/>
                  </a:lnTo>
                  <a:lnTo>
                    <a:pt x="709" y="76"/>
                  </a:lnTo>
                  <a:lnTo>
                    <a:pt x="719" y="86"/>
                  </a:lnTo>
                  <a:lnTo>
                    <a:pt x="731" y="95"/>
                  </a:lnTo>
                  <a:lnTo>
                    <a:pt x="744" y="104"/>
                  </a:lnTo>
                  <a:lnTo>
                    <a:pt x="758" y="111"/>
                  </a:lnTo>
                  <a:lnTo>
                    <a:pt x="775" y="118"/>
                  </a:lnTo>
                  <a:lnTo>
                    <a:pt x="797" y="124"/>
                  </a:lnTo>
                  <a:lnTo>
                    <a:pt x="817" y="129"/>
                  </a:lnTo>
                  <a:lnTo>
                    <a:pt x="836" y="137"/>
                  </a:lnTo>
                  <a:lnTo>
                    <a:pt x="854" y="141"/>
                  </a:lnTo>
                  <a:lnTo>
                    <a:pt x="900" y="155"/>
                  </a:lnTo>
                  <a:lnTo>
                    <a:pt x="942" y="170"/>
                  </a:lnTo>
                  <a:lnTo>
                    <a:pt x="962" y="178"/>
                  </a:lnTo>
                  <a:lnTo>
                    <a:pt x="981" y="187"/>
                  </a:lnTo>
                  <a:lnTo>
                    <a:pt x="997" y="197"/>
                  </a:lnTo>
                  <a:lnTo>
                    <a:pt x="1014" y="209"/>
                  </a:lnTo>
                  <a:lnTo>
                    <a:pt x="1029" y="222"/>
                  </a:lnTo>
                  <a:lnTo>
                    <a:pt x="1040" y="236"/>
                  </a:lnTo>
                  <a:lnTo>
                    <a:pt x="1052" y="252"/>
                  </a:lnTo>
                  <a:lnTo>
                    <a:pt x="1062" y="271"/>
                  </a:lnTo>
                  <a:lnTo>
                    <a:pt x="1069" y="292"/>
                  </a:lnTo>
                  <a:lnTo>
                    <a:pt x="1075" y="315"/>
                  </a:lnTo>
                  <a:lnTo>
                    <a:pt x="1078" y="341"/>
                  </a:lnTo>
                  <a:lnTo>
                    <a:pt x="1079" y="370"/>
                  </a:lnTo>
                  <a:lnTo>
                    <a:pt x="1079"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7">
              <a:extLst>
                <a:ext uri="{FF2B5EF4-FFF2-40B4-BE49-F238E27FC236}">
                  <a16:creationId xmlns:a16="http://schemas.microsoft.com/office/drawing/2014/main" id="{7C87C997-98EA-402A-81F3-ACDF3348940F}"/>
                </a:ext>
              </a:extLst>
            </p:cNvPr>
            <p:cNvSpPr>
              <a:spLocks/>
            </p:cNvSpPr>
            <p:nvPr/>
          </p:nvSpPr>
          <p:spPr bwMode="auto">
            <a:xfrm>
              <a:off x="182563" y="993776"/>
              <a:ext cx="304800" cy="66675"/>
            </a:xfrm>
            <a:custGeom>
              <a:avLst/>
              <a:gdLst>
                <a:gd name="T0" fmla="*/ 137 w 576"/>
                <a:gd name="T1" fmla="*/ 126 h 126"/>
                <a:gd name="T2" fmla="*/ 104 w 576"/>
                <a:gd name="T3" fmla="*/ 124 h 126"/>
                <a:gd name="T4" fmla="*/ 71 w 576"/>
                <a:gd name="T5" fmla="*/ 121 h 126"/>
                <a:gd name="T6" fmla="*/ 36 w 576"/>
                <a:gd name="T7" fmla="*/ 117 h 126"/>
                <a:gd name="T8" fmla="*/ 0 w 576"/>
                <a:gd name="T9" fmla="*/ 108 h 126"/>
                <a:gd name="T10" fmla="*/ 13 w 576"/>
                <a:gd name="T11" fmla="*/ 58 h 126"/>
                <a:gd name="T12" fmla="*/ 33 w 576"/>
                <a:gd name="T13" fmla="*/ 62 h 126"/>
                <a:gd name="T14" fmla="*/ 52 w 576"/>
                <a:gd name="T15" fmla="*/ 67 h 126"/>
                <a:gd name="T16" fmla="*/ 72 w 576"/>
                <a:gd name="T17" fmla="*/ 69 h 126"/>
                <a:gd name="T18" fmla="*/ 91 w 576"/>
                <a:gd name="T19" fmla="*/ 71 h 126"/>
                <a:gd name="T20" fmla="*/ 127 w 576"/>
                <a:gd name="T21" fmla="*/ 72 h 126"/>
                <a:gd name="T22" fmla="*/ 161 w 576"/>
                <a:gd name="T23" fmla="*/ 72 h 126"/>
                <a:gd name="T24" fmla="*/ 195 w 576"/>
                <a:gd name="T25" fmla="*/ 69 h 126"/>
                <a:gd name="T26" fmla="*/ 226 w 576"/>
                <a:gd name="T27" fmla="*/ 65 h 126"/>
                <a:gd name="T28" fmla="*/ 255 w 576"/>
                <a:gd name="T29" fmla="*/ 58 h 126"/>
                <a:gd name="T30" fmla="*/ 281 w 576"/>
                <a:gd name="T31" fmla="*/ 52 h 126"/>
                <a:gd name="T32" fmla="*/ 305 w 576"/>
                <a:gd name="T33" fmla="*/ 44 h 126"/>
                <a:gd name="T34" fmla="*/ 327 w 576"/>
                <a:gd name="T35" fmla="*/ 36 h 126"/>
                <a:gd name="T36" fmla="*/ 346 w 576"/>
                <a:gd name="T37" fmla="*/ 28 h 126"/>
                <a:gd name="T38" fmla="*/ 362 w 576"/>
                <a:gd name="T39" fmla="*/ 20 h 126"/>
                <a:gd name="T40" fmla="*/ 383 w 576"/>
                <a:gd name="T41" fmla="*/ 9 h 126"/>
                <a:gd name="T42" fmla="*/ 392 w 576"/>
                <a:gd name="T43" fmla="*/ 5 h 126"/>
                <a:gd name="T44" fmla="*/ 395 w 576"/>
                <a:gd name="T45" fmla="*/ 2 h 126"/>
                <a:gd name="T46" fmla="*/ 399 w 576"/>
                <a:gd name="T47" fmla="*/ 0 h 126"/>
                <a:gd name="T48" fmla="*/ 403 w 576"/>
                <a:gd name="T49" fmla="*/ 0 h 126"/>
                <a:gd name="T50" fmla="*/ 408 w 576"/>
                <a:gd name="T51" fmla="*/ 0 h 126"/>
                <a:gd name="T52" fmla="*/ 412 w 576"/>
                <a:gd name="T53" fmla="*/ 0 h 126"/>
                <a:gd name="T54" fmla="*/ 416 w 576"/>
                <a:gd name="T55" fmla="*/ 3 h 126"/>
                <a:gd name="T56" fmla="*/ 421 w 576"/>
                <a:gd name="T57" fmla="*/ 5 h 126"/>
                <a:gd name="T58" fmla="*/ 424 w 576"/>
                <a:gd name="T59" fmla="*/ 8 h 126"/>
                <a:gd name="T60" fmla="*/ 435 w 576"/>
                <a:gd name="T61" fmla="*/ 16 h 126"/>
                <a:gd name="T62" fmla="*/ 464 w 576"/>
                <a:gd name="T63" fmla="*/ 33 h 126"/>
                <a:gd name="T64" fmla="*/ 484 w 576"/>
                <a:gd name="T65" fmla="*/ 42 h 126"/>
                <a:gd name="T66" fmla="*/ 510 w 576"/>
                <a:gd name="T67" fmla="*/ 49 h 126"/>
                <a:gd name="T68" fmla="*/ 526 w 576"/>
                <a:gd name="T69" fmla="*/ 52 h 126"/>
                <a:gd name="T70" fmla="*/ 542 w 576"/>
                <a:gd name="T71" fmla="*/ 55 h 126"/>
                <a:gd name="T72" fmla="*/ 559 w 576"/>
                <a:gd name="T73" fmla="*/ 56 h 126"/>
                <a:gd name="T74" fmla="*/ 576 w 576"/>
                <a:gd name="T75" fmla="*/ 56 h 126"/>
                <a:gd name="T76" fmla="*/ 576 w 576"/>
                <a:gd name="T77" fmla="*/ 110 h 126"/>
                <a:gd name="T78" fmla="*/ 544 w 576"/>
                <a:gd name="T79" fmla="*/ 108 h 126"/>
                <a:gd name="T80" fmla="*/ 516 w 576"/>
                <a:gd name="T81" fmla="*/ 104 h 126"/>
                <a:gd name="T82" fmla="*/ 490 w 576"/>
                <a:gd name="T83" fmla="*/ 98 h 126"/>
                <a:gd name="T84" fmla="*/ 467 w 576"/>
                <a:gd name="T85" fmla="*/ 91 h 126"/>
                <a:gd name="T86" fmla="*/ 447 w 576"/>
                <a:gd name="T87" fmla="*/ 82 h 126"/>
                <a:gd name="T88" fmla="*/ 429 w 576"/>
                <a:gd name="T89" fmla="*/ 74 h 126"/>
                <a:gd name="T90" fmla="*/ 415 w 576"/>
                <a:gd name="T91" fmla="*/ 65 h 126"/>
                <a:gd name="T92" fmla="*/ 403 w 576"/>
                <a:gd name="T93" fmla="*/ 58 h 126"/>
                <a:gd name="T94" fmla="*/ 386 w 576"/>
                <a:gd name="T95" fmla="*/ 67 h 126"/>
                <a:gd name="T96" fmla="*/ 364 w 576"/>
                <a:gd name="T97" fmla="*/ 78 h 126"/>
                <a:gd name="T98" fmla="*/ 337 w 576"/>
                <a:gd name="T99" fmla="*/ 88 h 126"/>
                <a:gd name="T100" fmla="*/ 305 w 576"/>
                <a:gd name="T101" fmla="*/ 100 h 126"/>
                <a:gd name="T102" fmla="*/ 268 w 576"/>
                <a:gd name="T103" fmla="*/ 110 h 126"/>
                <a:gd name="T104" fmla="*/ 228 w 576"/>
                <a:gd name="T105" fmla="*/ 118 h 126"/>
                <a:gd name="T106" fmla="*/ 206 w 576"/>
                <a:gd name="T107" fmla="*/ 121 h 126"/>
                <a:gd name="T108" fmla="*/ 184 w 576"/>
                <a:gd name="T109" fmla="*/ 123 h 126"/>
                <a:gd name="T110" fmla="*/ 160 w 576"/>
                <a:gd name="T111" fmla="*/ 124 h 126"/>
                <a:gd name="T112" fmla="*/ 137 w 576"/>
                <a:gd name="T11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126">
                  <a:moveTo>
                    <a:pt x="137" y="126"/>
                  </a:moveTo>
                  <a:lnTo>
                    <a:pt x="104" y="124"/>
                  </a:lnTo>
                  <a:lnTo>
                    <a:pt x="71" y="121"/>
                  </a:lnTo>
                  <a:lnTo>
                    <a:pt x="36" y="117"/>
                  </a:lnTo>
                  <a:lnTo>
                    <a:pt x="0" y="108"/>
                  </a:lnTo>
                  <a:lnTo>
                    <a:pt x="13" y="58"/>
                  </a:lnTo>
                  <a:lnTo>
                    <a:pt x="33" y="62"/>
                  </a:lnTo>
                  <a:lnTo>
                    <a:pt x="52" y="67"/>
                  </a:lnTo>
                  <a:lnTo>
                    <a:pt x="72" y="69"/>
                  </a:lnTo>
                  <a:lnTo>
                    <a:pt x="91" y="71"/>
                  </a:lnTo>
                  <a:lnTo>
                    <a:pt x="127" y="72"/>
                  </a:lnTo>
                  <a:lnTo>
                    <a:pt x="161" y="72"/>
                  </a:lnTo>
                  <a:lnTo>
                    <a:pt x="195" y="69"/>
                  </a:lnTo>
                  <a:lnTo>
                    <a:pt x="226" y="65"/>
                  </a:lnTo>
                  <a:lnTo>
                    <a:pt x="255" y="58"/>
                  </a:lnTo>
                  <a:lnTo>
                    <a:pt x="281" y="52"/>
                  </a:lnTo>
                  <a:lnTo>
                    <a:pt x="305" y="44"/>
                  </a:lnTo>
                  <a:lnTo>
                    <a:pt x="327" y="36"/>
                  </a:lnTo>
                  <a:lnTo>
                    <a:pt x="346" y="28"/>
                  </a:lnTo>
                  <a:lnTo>
                    <a:pt x="362" y="20"/>
                  </a:lnTo>
                  <a:lnTo>
                    <a:pt x="383" y="9"/>
                  </a:lnTo>
                  <a:lnTo>
                    <a:pt x="392" y="5"/>
                  </a:lnTo>
                  <a:lnTo>
                    <a:pt x="395" y="2"/>
                  </a:lnTo>
                  <a:lnTo>
                    <a:pt x="399" y="0"/>
                  </a:lnTo>
                  <a:lnTo>
                    <a:pt x="403" y="0"/>
                  </a:lnTo>
                  <a:lnTo>
                    <a:pt x="408" y="0"/>
                  </a:lnTo>
                  <a:lnTo>
                    <a:pt x="412" y="0"/>
                  </a:lnTo>
                  <a:lnTo>
                    <a:pt x="416" y="3"/>
                  </a:lnTo>
                  <a:lnTo>
                    <a:pt x="421" y="5"/>
                  </a:lnTo>
                  <a:lnTo>
                    <a:pt x="424" y="8"/>
                  </a:lnTo>
                  <a:lnTo>
                    <a:pt x="435" y="16"/>
                  </a:lnTo>
                  <a:lnTo>
                    <a:pt x="464" y="33"/>
                  </a:lnTo>
                  <a:lnTo>
                    <a:pt x="484" y="42"/>
                  </a:lnTo>
                  <a:lnTo>
                    <a:pt x="510" y="49"/>
                  </a:lnTo>
                  <a:lnTo>
                    <a:pt x="526" y="52"/>
                  </a:lnTo>
                  <a:lnTo>
                    <a:pt x="542" y="55"/>
                  </a:lnTo>
                  <a:lnTo>
                    <a:pt x="559" y="56"/>
                  </a:lnTo>
                  <a:lnTo>
                    <a:pt x="576" y="56"/>
                  </a:lnTo>
                  <a:lnTo>
                    <a:pt x="576" y="110"/>
                  </a:lnTo>
                  <a:lnTo>
                    <a:pt x="544" y="108"/>
                  </a:lnTo>
                  <a:lnTo>
                    <a:pt x="516" y="104"/>
                  </a:lnTo>
                  <a:lnTo>
                    <a:pt x="490" y="98"/>
                  </a:lnTo>
                  <a:lnTo>
                    <a:pt x="467" y="91"/>
                  </a:lnTo>
                  <a:lnTo>
                    <a:pt x="447" y="82"/>
                  </a:lnTo>
                  <a:lnTo>
                    <a:pt x="429" y="74"/>
                  </a:lnTo>
                  <a:lnTo>
                    <a:pt x="415" y="65"/>
                  </a:lnTo>
                  <a:lnTo>
                    <a:pt x="403" y="58"/>
                  </a:lnTo>
                  <a:lnTo>
                    <a:pt x="386" y="67"/>
                  </a:lnTo>
                  <a:lnTo>
                    <a:pt x="364" y="78"/>
                  </a:lnTo>
                  <a:lnTo>
                    <a:pt x="337" y="88"/>
                  </a:lnTo>
                  <a:lnTo>
                    <a:pt x="305" y="100"/>
                  </a:lnTo>
                  <a:lnTo>
                    <a:pt x="268" y="110"/>
                  </a:lnTo>
                  <a:lnTo>
                    <a:pt x="228" y="118"/>
                  </a:lnTo>
                  <a:lnTo>
                    <a:pt x="206" y="121"/>
                  </a:lnTo>
                  <a:lnTo>
                    <a:pt x="184" y="123"/>
                  </a:lnTo>
                  <a:lnTo>
                    <a:pt x="160" y="124"/>
                  </a:lnTo>
                  <a:lnTo>
                    <a:pt x="13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7" name="Group 43">
            <a:extLst>
              <a:ext uri="{FF2B5EF4-FFF2-40B4-BE49-F238E27FC236}">
                <a16:creationId xmlns:a16="http://schemas.microsoft.com/office/drawing/2014/main" id="{5911ED0F-DBB5-4B7C-9564-C9699D5C6301}"/>
              </a:ext>
            </a:extLst>
          </p:cNvPr>
          <p:cNvGrpSpPr>
            <a:grpSpLocks noChangeAspect="1"/>
          </p:cNvGrpSpPr>
          <p:nvPr/>
        </p:nvGrpSpPr>
        <p:grpSpPr>
          <a:xfrm>
            <a:off x="3252618" y="2724897"/>
            <a:ext cx="185654" cy="285619"/>
            <a:chOff x="1525588" y="2489200"/>
            <a:chExt cx="185737" cy="285750"/>
          </a:xfrm>
          <a:solidFill>
            <a:schemeClr val="bg1"/>
          </a:solidFill>
          <a:effectLst/>
        </p:grpSpPr>
        <p:sp>
          <p:nvSpPr>
            <p:cNvPr id="658" name="Freeform 196">
              <a:extLst>
                <a:ext uri="{FF2B5EF4-FFF2-40B4-BE49-F238E27FC236}">
                  <a16:creationId xmlns:a16="http://schemas.microsoft.com/office/drawing/2014/main" id="{C1225F9D-8FB5-4104-ADA3-9CF78038F415}"/>
                </a:ext>
              </a:extLst>
            </p:cNvPr>
            <p:cNvSpPr>
              <a:spLocks noEditPoints="1"/>
            </p:cNvSpPr>
            <p:nvPr/>
          </p:nvSpPr>
          <p:spPr bwMode="auto">
            <a:xfrm>
              <a:off x="1549400" y="2489200"/>
              <a:ext cx="95250" cy="95250"/>
            </a:xfrm>
            <a:custGeom>
              <a:avLst/>
              <a:gdLst>
                <a:gd name="T0" fmla="*/ 175 w 301"/>
                <a:gd name="T1" fmla="*/ 33 h 301"/>
                <a:gd name="T2" fmla="*/ 208 w 301"/>
                <a:gd name="T3" fmla="*/ 45 h 301"/>
                <a:gd name="T4" fmla="*/ 236 w 301"/>
                <a:gd name="T5" fmla="*/ 65 h 301"/>
                <a:gd name="T6" fmla="*/ 256 w 301"/>
                <a:gd name="T7" fmla="*/ 93 h 301"/>
                <a:gd name="T8" fmla="*/ 268 w 301"/>
                <a:gd name="T9" fmla="*/ 126 h 301"/>
                <a:gd name="T10" fmla="*/ 270 w 301"/>
                <a:gd name="T11" fmla="*/ 163 h 301"/>
                <a:gd name="T12" fmla="*/ 262 w 301"/>
                <a:gd name="T13" fmla="*/ 197 h 301"/>
                <a:gd name="T14" fmla="*/ 243 w 301"/>
                <a:gd name="T15" fmla="*/ 227 h 301"/>
                <a:gd name="T16" fmla="*/ 218 w 301"/>
                <a:gd name="T17" fmla="*/ 251 h 301"/>
                <a:gd name="T18" fmla="*/ 186 w 301"/>
                <a:gd name="T19" fmla="*/ 266 h 301"/>
                <a:gd name="T20" fmla="*/ 150 w 301"/>
                <a:gd name="T21" fmla="*/ 271 h 301"/>
                <a:gd name="T22" fmla="*/ 115 w 301"/>
                <a:gd name="T23" fmla="*/ 266 h 301"/>
                <a:gd name="T24" fmla="*/ 84 w 301"/>
                <a:gd name="T25" fmla="*/ 251 h 301"/>
                <a:gd name="T26" fmla="*/ 58 w 301"/>
                <a:gd name="T27" fmla="*/ 227 h 301"/>
                <a:gd name="T28" fmla="*/ 40 w 301"/>
                <a:gd name="T29" fmla="*/ 197 h 301"/>
                <a:gd name="T30" fmla="*/ 31 w 301"/>
                <a:gd name="T31" fmla="*/ 163 h 301"/>
                <a:gd name="T32" fmla="*/ 32 w 301"/>
                <a:gd name="T33" fmla="*/ 126 h 301"/>
                <a:gd name="T34" fmla="*/ 45 w 301"/>
                <a:gd name="T35" fmla="*/ 93 h 301"/>
                <a:gd name="T36" fmla="*/ 65 w 301"/>
                <a:gd name="T37" fmla="*/ 65 h 301"/>
                <a:gd name="T38" fmla="*/ 93 w 301"/>
                <a:gd name="T39" fmla="*/ 45 h 301"/>
                <a:gd name="T40" fmla="*/ 126 w 301"/>
                <a:gd name="T41" fmla="*/ 33 h 301"/>
                <a:gd name="T42" fmla="*/ 150 w 301"/>
                <a:gd name="T43" fmla="*/ 301 h 301"/>
                <a:gd name="T44" fmla="*/ 195 w 301"/>
                <a:gd name="T45" fmla="*/ 295 h 301"/>
                <a:gd name="T46" fmla="*/ 235 w 301"/>
                <a:gd name="T47" fmla="*/ 275 h 301"/>
                <a:gd name="T48" fmla="*/ 266 w 301"/>
                <a:gd name="T49" fmla="*/ 246 h 301"/>
                <a:gd name="T50" fmla="*/ 289 w 301"/>
                <a:gd name="T51" fmla="*/ 209 h 301"/>
                <a:gd name="T52" fmla="*/ 300 w 301"/>
                <a:gd name="T53" fmla="*/ 166 h 301"/>
                <a:gd name="T54" fmla="*/ 298 w 301"/>
                <a:gd name="T55" fmla="*/ 120 h 301"/>
                <a:gd name="T56" fmla="*/ 283 w 301"/>
                <a:gd name="T57" fmla="*/ 79 h 301"/>
                <a:gd name="T58" fmla="*/ 256 w 301"/>
                <a:gd name="T59" fmla="*/ 44 h 301"/>
                <a:gd name="T60" fmla="*/ 222 w 301"/>
                <a:gd name="T61" fmla="*/ 18 h 301"/>
                <a:gd name="T62" fmla="*/ 181 w 301"/>
                <a:gd name="T63" fmla="*/ 3 h 301"/>
                <a:gd name="T64" fmla="*/ 135 w 301"/>
                <a:gd name="T65" fmla="*/ 1 h 301"/>
                <a:gd name="T66" fmla="*/ 92 w 301"/>
                <a:gd name="T67" fmla="*/ 12 h 301"/>
                <a:gd name="T68" fmla="*/ 55 w 301"/>
                <a:gd name="T69" fmla="*/ 34 h 301"/>
                <a:gd name="T70" fmla="*/ 26 w 301"/>
                <a:gd name="T71" fmla="*/ 66 h 301"/>
                <a:gd name="T72" fmla="*/ 6 w 301"/>
                <a:gd name="T73" fmla="*/ 106 h 301"/>
                <a:gd name="T74" fmla="*/ 0 w 301"/>
                <a:gd name="T75" fmla="*/ 151 h 301"/>
                <a:gd name="T76" fmla="*/ 6 w 301"/>
                <a:gd name="T77" fmla="*/ 195 h 301"/>
                <a:gd name="T78" fmla="*/ 26 w 301"/>
                <a:gd name="T79" fmla="*/ 235 h 301"/>
                <a:gd name="T80" fmla="*/ 55 w 301"/>
                <a:gd name="T81" fmla="*/ 267 h 301"/>
                <a:gd name="T82" fmla="*/ 92 w 301"/>
                <a:gd name="T83" fmla="*/ 289 h 301"/>
                <a:gd name="T84" fmla="*/ 135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0" y="30"/>
                  </a:moveTo>
                  <a:lnTo>
                    <a:pt x="163" y="31"/>
                  </a:lnTo>
                  <a:lnTo>
                    <a:pt x="175" y="33"/>
                  </a:lnTo>
                  <a:lnTo>
                    <a:pt x="186" y="35"/>
                  </a:lnTo>
                  <a:lnTo>
                    <a:pt x="197" y="40"/>
                  </a:lnTo>
                  <a:lnTo>
                    <a:pt x="208" y="45"/>
                  </a:lnTo>
                  <a:lnTo>
                    <a:pt x="218" y="51"/>
                  </a:lnTo>
                  <a:lnTo>
                    <a:pt x="227" y="58"/>
                  </a:lnTo>
                  <a:lnTo>
                    <a:pt x="236" y="65"/>
                  </a:lnTo>
                  <a:lnTo>
                    <a:pt x="243" y="74"/>
                  </a:lnTo>
                  <a:lnTo>
                    <a:pt x="250" y="83"/>
                  </a:lnTo>
                  <a:lnTo>
                    <a:pt x="256" y="93"/>
                  </a:lnTo>
                  <a:lnTo>
                    <a:pt x="262" y="104"/>
                  </a:lnTo>
                  <a:lnTo>
                    <a:pt x="265" y="115"/>
                  </a:lnTo>
                  <a:lnTo>
                    <a:pt x="268" y="126"/>
                  </a:lnTo>
                  <a:lnTo>
                    <a:pt x="270" y="138"/>
                  </a:lnTo>
                  <a:lnTo>
                    <a:pt x="270" y="151"/>
                  </a:lnTo>
                  <a:lnTo>
                    <a:pt x="270" y="163"/>
                  </a:lnTo>
                  <a:lnTo>
                    <a:pt x="268" y="175"/>
                  </a:lnTo>
                  <a:lnTo>
                    <a:pt x="265" y="186"/>
                  </a:lnTo>
                  <a:lnTo>
                    <a:pt x="262" y="197"/>
                  </a:lnTo>
                  <a:lnTo>
                    <a:pt x="256" y="208"/>
                  </a:lnTo>
                  <a:lnTo>
                    <a:pt x="250" y="217"/>
                  </a:lnTo>
                  <a:lnTo>
                    <a:pt x="243" y="227"/>
                  </a:lnTo>
                  <a:lnTo>
                    <a:pt x="236" y="236"/>
                  </a:lnTo>
                  <a:lnTo>
                    <a:pt x="227" y="243"/>
                  </a:lnTo>
                  <a:lnTo>
                    <a:pt x="218" y="251"/>
                  </a:lnTo>
                  <a:lnTo>
                    <a:pt x="208" y="256"/>
                  </a:lnTo>
                  <a:lnTo>
                    <a:pt x="197" y="261"/>
                  </a:lnTo>
                  <a:lnTo>
                    <a:pt x="186" y="266"/>
                  </a:lnTo>
                  <a:lnTo>
                    <a:pt x="175" y="269"/>
                  </a:lnTo>
                  <a:lnTo>
                    <a:pt x="163" y="270"/>
                  </a:lnTo>
                  <a:lnTo>
                    <a:pt x="150" y="271"/>
                  </a:lnTo>
                  <a:lnTo>
                    <a:pt x="138" y="270"/>
                  </a:lnTo>
                  <a:lnTo>
                    <a:pt x="126" y="269"/>
                  </a:lnTo>
                  <a:lnTo>
                    <a:pt x="115" y="266"/>
                  </a:lnTo>
                  <a:lnTo>
                    <a:pt x="104" y="261"/>
                  </a:lnTo>
                  <a:lnTo>
                    <a:pt x="93" y="256"/>
                  </a:lnTo>
                  <a:lnTo>
                    <a:pt x="84" y="251"/>
                  </a:lnTo>
                  <a:lnTo>
                    <a:pt x="74" y="243"/>
                  </a:lnTo>
                  <a:lnTo>
                    <a:pt x="65" y="236"/>
                  </a:lnTo>
                  <a:lnTo>
                    <a:pt x="58" y="227"/>
                  </a:lnTo>
                  <a:lnTo>
                    <a:pt x="50" y="217"/>
                  </a:lnTo>
                  <a:lnTo>
                    <a:pt x="45" y="208"/>
                  </a:lnTo>
                  <a:lnTo>
                    <a:pt x="40" y="197"/>
                  </a:lnTo>
                  <a:lnTo>
                    <a:pt x="35" y="186"/>
                  </a:lnTo>
                  <a:lnTo>
                    <a:pt x="32" y="175"/>
                  </a:lnTo>
                  <a:lnTo>
                    <a:pt x="31" y="163"/>
                  </a:lnTo>
                  <a:lnTo>
                    <a:pt x="30" y="151"/>
                  </a:lnTo>
                  <a:lnTo>
                    <a:pt x="31" y="138"/>
                  </a:lnTo>
                  <a:lnTo>
                    <a:pt x="32" y="126"/>
                  </a:lnTo>
                  <a:lnTo>
                    <a:pt x="35" y="115"/>
                  </a:lnTo>
                  <a:lnTo>
                    <a:pt x="40" y="104"/>
                  </a:lnTo>
                  <a:lnTo>
                    <a:pt x="45" y="93"/>
                  </a:lnTo>
                  <a:lnTo>
                    <a:pt x="50" y="83"/>
                  </a:lnTo>
                  <a:lnTo>
                    <a:pt x="58" y="74"/>
                  </a:lnTo>
                  <a:lnTo>
                    <a:pt x="65" y="65"/>
                  </a:lnTo>
                  <a:lnTo>
                    <a:pt x="74" y="58"/>
                  </a:lnTo>
                  <a:lnTo>
                    <a:pt x="84" y="51"/>
                  </a:lnTo>
                  <a:lnTo>
                    <a:pt x="93" y="45"/>
                  </a:lnTo>
                  <a:lnTo>
                    <a:pt x="104" y="40"/>
                  </a:lnTo>
                  <a:lnTo>
                    <a:pt x="115" y="35"/>
                  </a:lnTo>
                  <a:lnTo>
                    <a:pt x="126" y="33"/>
                  </a:lnTo>
                  <a:lnTo>
                    <a:pt x="138" y="31"/>
                  </a:lnTo>
                  <a:lnTo>
                    <a:pt x="150" y="30"/>
                  </a:lnTo>
                  <a:close/>
                  <a:moveTo>
                    <a:pt x="150" y="301"/>
                  </a:moveTo>
                  <a:lnTo>
                    <a:pt x="166" y="300"/>
                  </a:lnTo>
                  <a:lnTo>
                    <a:pt x="181" y="298"/>
                  </a:lnTo>
                  <a:lnTo>
                    <a:pt x="195" y="295"/>
                  </a:lnTo>
                  <a:lnTo>
                    <a:pt x="209" y="289"/>
                  </a:lnTo>
                  <a:lnTo>
                    <a:pt x="222" y="283"/>
                  </a:lnTo>
                  <a:lnTo>
                    <a:pt x="235" y="275"/>
                  </a:lnTo>
                  <a:lnTo>
                    <a:pt x="245" y="267"/>
                  </a:lnTo>
                  <a:lnTo>
                    <a:pt x="256" y="257"/>
                  </a:lnTo>
                  <a:lnTo>
                    <a:pt x="266" y="246"/>
                  </a:lnTo>
                  <a:lnTo>
                    <a:pt x="275" y="235"/>
                  </a:lnTo>
                  <a:lnTo>
                    <a:pt x="283" y="222"/>
                  </a:lnTo>
                  <a:lnTo>
                    <a:pt x="289" y="209"/>
                  </a:lnTo>
                  <a:lnTo>
                    <a:pt x="294" y="195"/>
                  </a:lnTo>
                  <a:lnTo>
                    <a:pt x="298" y="181"/>
                  </a:lnTo>
                  <a:lnTo>
                    <a:pt x="300" y="166"/>
                  </a:lnTo>
                  <a:lnTo>
                    <a:pt x="301" y="151"/>
                  </a:lnTo>
                  <a:lnTo>
                    <a:pt x="300" y="135"/>
                  </a:lnTo>
                  <a:lnTo>
                    <a:pt x="298" y="120"/>
                  </a:lnTo>
                  <a:lnTo>
                    <a:pt x="294" y="106"/>
                  </a:lnTo>
                  <a:lnTo>
                    <a:pt x="289" y="92"/>
                  </a:lnTo>
                  <a:lnTo>
                    <a:pt x="283" y="79"/>
                  </a:lnTo>
                  <a:lnTo>
                    <a:pt x="275" y="66"/>
                  </a:lnTo>
                  <a:lnTo>
                    <a:pt x="266" y="55"/>
                  </a:lnTo>
                  <a:lnTo>
                    <a:pt x="256" y="44"/>
                  </a:lnTo>
                  <a:lnTo>
                    <a:pt x="245" y="34"/>
                  </a:lnTo>
                  <a:lnTo>
                    <a:pt x="235" y="26"/>
                  </a:lnTo>
                  <a:lnTo>
                    <a:pt x="222" y="18"/>
                  </a:lnTo>
                  <a:lnTo>
                    <a:pt x="209" y="12"/>
                  </a:lnTo>
                  <a:lnTo>
                    <a:pt x="195" y="7"/>
                  </a:lnTo>
                  <a:lnTo>
                    <a:pt x="181" y="3"/>
                  </a:lnTo>
                  <a:lnTo>
                    <a:pt x="166" y="1"/>
                  </a:lnTo>
                  <a:lnTo>
                    <a:pt x="150" y="0"/>
                  </a:lnTo>
                  <a:lnTo>
                    <a:pt x="135" y="1"/>
                  </a:lnTo>
                  <a:lnTo>
                    <a:pt x="120" y="3"/>
                  </a:lnTo>
                  <a:lnTo>
                    <a:pt x="106" y="7"/>
                  </a:lnTo>
                  <a:lnTo>
                    <a:pt x="92" y="12"/>
                  </a:lnTo>
                  <a:lnTo>
                    <a:pt x="78" y="18"/>
                  </a:lnTo>
                  <a:lnTo>
                    <a:pt x="66" y="26"/>
                  </a:lnTo>
                  <a:lnTo>
                    <a:pt x="55" y="34"/>
                  </a:lnTo>
                  <a:lnTo>
                    <a:pt x="44" y="44"/>
                  </a:lnTo>
                  <a:lnTo>
                    <a:pt x="34" y="55"/>
                  </a:lnTo>
                  <a:lnTo>
                    <a:pt x="26" y="66"/>
                  </a:lnTo>
                  <a:lnTo>
                    <a:pt x="18" y="79"/>
                  </a:lnTo>
                  <a:lnTo>
                    <a:pt x="12" y="92"/>
                  </a:lnTo>
                  <a:lnTo>
                    <a:pt x="6" y="106"/>
                  </a:lnTo>
                  <a:lnTo>
                    <a:pt x="3" y="120"/>
                  </a:lnTo>
                  <a:lnTo>
                    <a:pt x="1" y="135"/>
                  </a:lnTo>
                  <a:lnTo>
                    <a:pt x="0" y="151"/>
                  </a:lnTo>
                  <a:lnTo>
                    <a:pt x="1" y="166"/>
                  </a:lnTo>
                  <a:lnTo>
                    <a:pt x="3" y="181"/>
                  </a:lnTo>
                  <a:lnTo>
                    <a:pt x="6" y="195"/>
                  </a:lnTo>
                  <a:lnTo>
                    <a:pt x="12" y="209"/>
                  </a:lnTo>
                  <a:lnTo>
                    <a:pt x="18" y="222"/>
                  </a:lnTo>
                  <a:lnTo>
                    <a:pt x="26" y="235"/>
                  </a:lnTo>
                  <a:lnTo>
                    <a:pt x="34" y="246"/>
                  </a:lnTo>
                  <a:lnTo>
                    <a:pt x="44" y="257"/>
                  </a:lnTo>
                  <a:lnTo>
                    <a:pt x="55" y="267"/>
                  </a:lnTo>
                  <a:lnTo>
                    <a:pt x="66" y="275"/>
                  </a:lnTo>
                  <a:lnTo>
                    <a:pt x="78" y="283"/>
                  </a:lnTo>
                  <a:lnTo>
                    <a:pt x="92" y="289"/>
                  </a:lnTo>
                  <a:lnTo>
                    <a:pt x="106"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97">
              <a:extLst>
                <a:ext uri="{FF2B5EF4-FFF2-40B4-BE49-F238E27FC236}">
                  <a16:creationId xmlns:a16="http://schemas.microsoft.com/office/drawing/2014/main" id="{95984782-8CAC-41E0-BBDC-2C6FCD9A0443}"/>
                </a:ext>
              </a:extLst>
            </p:cNvPr>
            <p:cNvSpPr>
              <a:spLocks noEditPoints="1"/>
            </p:cNvSpPr>
            <p:nvPr/>
          </p:nvSpPr>
          <p:spPr bwMode="auto">
            <a:xfrm>
              <a:off x="1525588" y="2593975"/>
              <a:ext cx="142875" cy="180975"/>
            </a:xfrm>
            <a:custGeom>
              <a:avLst/>
              <a:gdLst>
                <a:gd name="T0" fmla="*/ 285 w 451"/>
                <a:gd name="T1" fmla="*/ 307 h 572"/>
                <a:gd name="T2" fmla="*/ 165 w 451"/>
                <a:gd name="T3" fmla="*/ 542 h 572"/>
                <a:gd name="T4" fmla="*/ 157 w 451"/>
                <a:gd name="T5" fmla="*/ 302 h 572"/>
                <a:gd name="T6" fmla="*/ 136 w 451"/>
                <a:gd name="T7" fmla="*/ 287 h 572"/>
                <a:gd name="T8" fmla="*/ 115 w 451"/>
                <a:gd name="T9" fmla="*/ 267 h 572"/>
                <a:gd name="T10" fmla="*/ 93 w 451"/>
                <a:gd name="T11" fmla="*/ 241 h 572"/>
                <a:gd name="T12" fmla="*/ 74 w 451"/>
                <a:gd name="T13" fmla="*/ 210 h 572"/>
                <a:gd name="T14" fmla="*/ 57 w 451"/>
                <a:gd name="T15" fmla="*/ 174 h 572"/>
                <a:gd name="T16" fmla="*/ 44 w 451"/>
                <a:gd name="T17" fmla="*/ 131 h 572"/>
                <a:gd name="T18" fmla="*/ 34 w 451"/>
                <a:gd name="T19" fmla="*/ 84 h 572"/>
                <a:gd name="T20" fmla="*/ 30 w 451"/>
                <a:gd name="T21" fmla="*/ 30 h 572"/>
                <a:gd name="T22" fmla="*/ 170 w 451"/>
                <a:gd name="T23" fmla="*/ 252 h 572"/>
                <a:gd name="T24" fmla="*/ 171 w 451"/>
                <a:gd name="T25" fmla="*/ 259 h 572"/>
                <a:gd name="T26" fmla="*/ 175 w 451"/>
                <a:gd name="T27" fmla="*/ 264 h 572"/>
                <a:gd name="T28" fmla="*/ 215 w 451"/>
                <a:gd name="T29" fmla="*/ 304 h 572"/>
                <a:gd name="T30" fmla="*/ 221 w 451"/>
                <a:gd name="T31" fmla="*/ 306 h 572"/>
                <a:gd name="T32" fmla="*/ 226 w 451"/>
                <a:gd name="T33" fmla="*/ 306 h 572"/>
                <a:gd name="T34" fmla="*/ 231 w 451"/>
                <a:gd name="T35" fmla="*/ 304 h 572"/>
                <a:gd name="T36" fmla="*/ 272 w 451"/>
                <a:gd name="T37" fmla="*/ 264 h 572"/>
                <a:gd name="T38" fmla="*/ 275 w 451"/>
                <a:gd name="T39" fmla="*/ 259 h 572"/>
                <a:gd name="T40" fmla="*/ 276 w 451"/>
                <a:gd name="T41" fmla="*/ 252 h 572"/>
                <a:gd name="T42" fmla="*/ 420 w 451"/>
                <a:gd name="T43" fmla="*/ 30 h 572"/>
                <a:gd name="T44" fmla="*/ 416 w 451"/>
                <a:gd name="T45" fmla="*/ 84 h 572"/>
                <a:gd name="T46" fmla="*/ 407 w 451"/>
                <a:gd name="T47" fmla="*/ 131 h 572"/>
                <a:gd name="T48" fmla="*/ 393 w 451"/>
                <a:gd name="T49" fmla="*/ 174 h 572"/>
                <a:gd name="T50" fmla="*/ 376 w 451"/>
                <a:gd name="T51" fmla="*/ 210 h 572"/>
                <a:gd name="T52" fmla="*/ 357 w 451"/>
                <a:gd name="T53" fmla="*/ 241 h 572"/>
                <a:gd name="T54" fmla="*/ 337 w 451"/>
                <a:gd name="T55" fmla="*/ 267 h 572"/>
                <a:gd name="T56" fmla="*/ 315 w 451"/>
                <a:gd name="T57" fmla="*/ 287 h 572"/>
                <a:gd name="T58" fmla="*/ 293 w 451"/>
                <a:gd name="T59" fmla="*/ 302 h 572"/>
                <a:gd name="T60" fmla="*/ 223 w 451"/>
                <a:gd name="T61" fmla="*/ 269 h 572"/>
                <a:gd name="T62" fmla="*/ 219 w 451"/>
                <a:gd name="T63" fmla="*/ 30 h 572"/>
                <a:gd name="T64" fmla="*/ 245 w 451"/>
                <a:gd name="T65" fmla="*/ 248 h 572"/>
                <a:gd name="T66" fmla="*/ 0 w 451"/>
                <a:gd name="T67" fmla="*/ 0 h 572"/>
                <a:gd name="T68" fmla="*/ 1 w 451"/>
                <a:gd name="T69" fmla="*/ 45 h 572"/>
                <a:gd name="T70" fmla="*/ 6 w 451"/>
                <a:gd name="T71" fmla="*/ 101 h 572"/>
                <a:gd name="T72" fmla="*/ 18 w 451"/>
                <a:gd name="T73" fmla="*/ 151 h 572"/>
                <a:gd name="T74" fmla="*/ 34 w 451"/>
                <a:gd name="T75" fmla="*/ 196 h 572"/>
                <a:gd name="T76" fmla="*/ 53 w 451"/>
                <a:gd name="T77" fmla="*/ 235 h 572"/>
                <a:gd name="T78" fmla="*/ 75 w 451"/>
                <a:gd name="T79" fmla="*/ 268 h 572"/>
                <a:gd name="T80" fmla="*/ 99 w 451"/>
                <a:gd name="T81" fmla="*/ 295 h 572"/>
                <a:gd name="T82" fmla="*/ 123 w 451"/>
                <a:gd name="T83" fmla="*/ 316 h 572"/>
                <a:gd name="T84" fmla="*/ 135 w 451"/>
                <a:gd name="T85" fmla="*/ 572 h 572"/>
                <a:gd name="T86" fmla="*/ 315 w 451"/>
                <a:gd name="T87" fmla="*/ 324 h 572"/>
                <a:gd name="T88" fmla="*/ 340 w 451"/>
                <a:gd name="T89" fmla="*/ 306 h 572"/>
                <a:gd name="T90" fmla="*/ 363 w 451"/>
                <a:gd name="T91" fmla="*/ 282 h 572"/>
                <a:gd name="T92" fmla="*/ 387 w 451"/>
                <a:gd name="T93" fmla="*/ 252 h 572"/>
                <a:gd name="T94" fmla="*/ 407 w 451"/>
                <a:gd name="T95" fmla="*/ 217 h 572"/>
                <a:gd name="T96" fmla="*/ 426 w 451"/>
                <a:gd name="T97" fmla="*/ 175 h 572"/>
                <a:gd name="T98" fmla="*/ 438 w 451"/>
                <a:gd name="T99" fmla="*/ 128 h 572"/>
                <a:gd name="T100" fmla="*/ 448 w 451"/>
                <a:gd name="T101" fmla="*/ 74 h 572"/>
                <a:gd name="T102" fmla="*/ 451 w 451"/>
                <a:gd name="T103" fmla="*/ 1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1" h="572">
                  <a:moveTo>
                    <a:pt x="293" y="302"/>
                  </a:moveTo>
                  <a:lnTo>
                    <a:pt x="285" y="307"/>
                  </a:lnTo>
                  <a:lnTo>
                    <a:pt x="285" y="542"/>
                  </a:lnTo>
                  <a:lnTo>
                    <a:pt x="165" y="542"/>
                  </a:lnTo>
                  <a:lnTo>
                    <a:pt x="165" y="307"/>
                  </a:lnTo>
                  <a:lnTo>
                    <a:pt x="157" y="302"/>
                  </a:lnTo>
                  <a:lnTo>
                    <a:pt x="147" y="296"/>
                  </a:lnTo>
                  <a:lnTo>
                    <a:pt x="136" y="287"/>
                  </a:lnTo>
                  <a:lnTo>
                    <a:pt x="125" y="279"/>
                  </a:lnTo>
                  <a:lnTo>
                    <a:pt x="115" y="267"/>
                  </a:lnTo>
                  <a:lnTo>
                    <a:pt x="104" y="255"/>
                  </a:lnTo>
                  <a:lnTo>
                    <a:pt x="93" y="241"/>
                  </a:lnTo>
                  <a:lnTo>
                    <a:pt x="83" y="226"/>
                  </a:lnTo>
                  <a:lnTo>
                    <a:pt x="74" y="210"/>
                  </a:lnTo>
                  <a:lnTo>
                    <a:pt x="65" y="193"/>
                  </a:lnTo>
                  <a:lnTo>
                    <a:pt x="57" y="174"/>
                  </a:lnTo>
                  <a:lnTo>
                    <a:pt x="50" y="153"/>
                  </a:lnTo>
                  <a:lnTo>
                    <a:pt x="44" y="131"/>
                  </a:lnTo>
                  <a:lnTo>
                    <a:pt x="38" y="108"/>
                  </a:lnTo>
                  <a:lnTo>
                    <a:pt x="34" y="84"/>
                  </a:lnTo>
                  <a:lnTo>
                    <a:pt x="32" y="58"/>
                  </a:lnTo>
                  <a:lnTo>
                    <a:pt x="30" y="30"/>
                  </a:lnTo>
                  <a:lnTo>
                    <a:pt x="189" y="30"/>
                  </a:lnTo>
                  <a:lnTo>
                    <a:pt x="170" y="252"/>
                  </a:lnTo>
                  <a:lnTo>
                    <a:pt x="170" y="255"/>
                  </a:lnTo>
                  <a:lnTo>
                    <a:pt x="171" y="259"/>
                  </a:lnTo>
                  <a:lnTo>
                    <a:pt x="172" y="261"/>
                  </a:lnTo>
                  <a:lnTo>
                    <a:pt x="175" y="264"/>
                  </a:lnTo>
                  <a:lnTo>
                    <a:pt x="213" y="301"/>
                  </a:lnTo>
                  <a:lnTo>
                    <a:pt x="215" y="304"/>
                  </a:lnTo>
                  <a:lnTo>
                    <a:pt x="218" y="305"/>
                  </a:lnTo>
                  <a:lnTo>
                    <a:pt x="221" y="306"/>
                  </a:lnTo>
                  <a:lnTo>
                    <a:pt x="223" y="306"/>
                  </a:lnTo>
                  <a:lnTo>
                    <a:pt x="226" y="306"/>
                  </a:lnTo>
                  <a:lnTo>
                    <a:pt x="229" y="305"/>
                  </a:lnTo>
                  <a:lnTo>
                    <a:pt x="231" y="304"/>
                  </a:lnTo>
                  <a:lnTo>
                    <a:pt x="234" y="301"/>
                  </a:lnTo>
                  <a:lnTo>
                    <a:pt x="272" y="264"/>
                  </a:lnTo>
                  <a:lnTo>
                    <a:pt x="274" y="261"/>
                  </a:lnTo>
                  <a:lnTo>
                    <a:pt x="275" y="259"/>
                  </a:lnTo>
                  <a:lnTo>
                    <a:pt x="276" y="255"/>
                  </a:lnTo>
                  <a:lnTo>
                    <a:pt x="276" y="252"/>
                  </a:lnTo>
                  <a:lnTo>
                    <a:pt x="258" y="30"/>
                  </a:lnTo>
                  <a:lnTo>
                    <a:pt x="420" y="30"/>
                  </a:lnTo>
                  <a:lnTo>
                    <a:pt x="419" y="58"/>
                  </a:lnTo>
                  <a:lnTo>
                    <a:pt x="416" y="84"/>
                  </a:lnTo>
                  <a:lnTo>
                    <a:pt x="413" y="108"/>
                  </a:lnTo>
                  <a:lnTo>
                    <a:pt x="407" y="131"/>
                  </a:lnTo>
                  <a:lnTo>
                    <a:pt x="401" y="153"/>
                  </a:lnTo>
                  <a:lnTo>
                    <a:pt x="393" y="174"/>
                  </a:lnTo>
                  <a:lnTo>
                    <a:pt x="386" y="193"/>
                  </a:lnTo>
                  <a:lnTo>
                    <a:pt x="376" y="210"/>
                  </a:lnTo>
                  <a:lnTo>
                    <a:pt x="368" y="226"/>
                  </a:lnTo>
                  <a:lnTo>
                    <a:pt x="357" y="241"/>
                  </a:lnTo>
                  <a:lnTo>
                    <a:pt x="347" y="255"/>
                  </a:lnTo>
                  <a:lnTo>
                    <a:pt x="337" y="267"/>
                  </a:lnTo>
                  <a:lnTo>
                    <a:pt x="326" y="279"/>
                  </a:lnTo>
                  <a:lnTo>
                    <a:pt x="315" y="287"/>
                  </a:lnTo>
                  <a:lnTo>
                    <a:pt x="304" y="296"/>
                  </a:lnTo>
                  <a:lnTo>
                    <a:pt x="293" y="302"/>
                  </a:lnTo>
                  <a:close/>
                  <a:moveTo>
                    <a:pt x="245" y="248"/>
                  </a:moveTo>
                  <a:lnTo>
                    <a:pt x="223" y="269"/>
                  </a:lnTo>
                  <a:lnTo>
                    <a:pt x="201" y="248"/>
                  </a:lnTo>
                  <a:lnTo>
                    <a:pt x="219" y="30"/>
                  </a:lnTo>
                  <a:lnTo>
                    <a:pt x="228" y="30"/>
                  </a:lnTo>
                  <a:lnTo>
                    <a:pt x="245" y="248"/>
                  </a:lnTo>
                  <a:close/>
                  <a:moveTo>
                    <a:pt x="451" y="0"/>
                  </a:moveTo>
                  <a:lnTo>
                    <a:pt x="0" y="0"/>
                  </a:lnTo>
                  <a:lnTo>
                    <a:pt x="0" y="15"/>
                  </a:lnTo>
                  <a:lnTo>
                    <a:pt x="1" y="45"/>
                  </a:lnTo>
                  <a:lnTo>
                    <a:pt x="3" y="74"/>
                  </a:lnTo>
                  <a:lnTo>
                    <a:pt x="6" y="101"/>
                  </a:lnTo>
                  <a:lnTo>
                    <a:pt x="12" y="128"/>
                  </a:lnTo>
                  <a:lnTo>
                    <a:pt x="18" y="151"/>
                  </a:lnTo>
                  <a:lnTo>
                    <a:pt x="26" y="175"/>
                  </a:lnTo>
                  <a:lnTo>
                    <a:pt x="34" y="196"/>
                  </a:lnTo>
                  <a:lnTo>
                    <a:pt x="44" y="216"/>
                  </a:lnTo>
                  <a:lnTo>
                    <a:pt x="53" y="235"/>
                  </a:lnTo>
                  <a:lnTo>
                    <a:pt x="64" y="252"/>
                  </a:lnTo>
                  <a:lnTo>
                    <a:pt x="75" y="268"/>
                  </a:lnTo>
                  <a:lnTo>
                    <a:pt x="87" y="282"/>
                  </a:lnTo>
                  <a:lnTo>
                    <a:pt x="99" y="295"/>
                  </a:lnTo>
                  <a:lnTo>
                    <a:pt x="111" y="306"/>
                  </a:lnTo>
                  <a:lnTo>
                    <a:pt x="123" y="316"/>
                  </a:lnTo>
                  <a:lnTo>
                    <a:pt x="135" y="324"/>
                  </a:lnTo>
                  <a:lnTo>
                    <a:pt x="135" y="572"/>
                  </a:lnTo>
                  <a:lnTo>
                    <a:pt x="315" y="572"/>
                  </a:lnTo>
                  <a:lnTo>
                    <a:pt x="315" y="324"/>
                  </a:lnTo>
                  <a:lnTo>
                    <a:pt x="328" y="315"/>
                  </a:lnTo>
                  <a:lnTo>
                    <a:pt x="340" y="306"/>
                  </a:lnTo>
                  <a:lnTo>
                    <a:pt x="352" y="295"/>
                  </a:lnTo>
                  <a:lnTo>
                    <a:pt x="363" y="282"/>
                  </a:lnTo>
                  <a:lnTo>
                    <a:pt x="375" y="267"/>
                  </a:lnTo>
                  <a:lnTo>
                    <a:pt x="387" y="252"/>
                  </a:lnTo>
                  <a:lnTo>
                    <a:pt x="398" y="235"/>
                  </a:lnTo>
                  <a:lnTo>
                    <a:pt x="407" y="217"/>
                  </a:lnTo>
                  <a:lnTo>
                    <a:pt x="417" y="196"/>
                  </a:lnTo>
                  <a:lnTo>
                    <a:pt x="426" y="175"/>
                  </a:lnTo>
                  <a:lnTo>
                    <a:pt x="432" y="151"/>
                  </a:lnTo>
                  <a:lnTo>
                    <a:pt x="438" y="128"/>
                  </a:lnTo>
                  <a:lnTo>
                    <a:pt x="444" y="101"/>
                  </a:lnTo>
                  <a:lnTo>
                    <a:pt x="448" y="74"/>
                  </a:lnTo>
                  <a:lnTo>
                    <a:pt x="450" y="45"/>
                  </a:lnTo>
                  <a:lnTo>
                    <a:pt x="451" y="15"/>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98">
              <a:extLst>
                <a:ext uri="{FF2B5EF4-FFF2-40B4-BE49-F238E27FC236}">
                  <a16:creationId xmlns:a16="http://schemas.microsoft.com/office/drawing/2014/main" id="{924C7458-3F41-40AB-9FB6-D1736C9D4682}"/>
                </a:ext>
              </a:extLst>
            </p:cNvPr>
            <p:cNvSpPr>
              <a:spLocks noEditPoints="1"/>
            </p:cNvSpPr>
            <p:nvPr/>
          </p:nvSpPr>
          <p:spPr bwMode="auto">
            <a:xfrm>
              <a:off x="1663700" y="2670175"/>
              <a:ext cx="47625" cy="104775"/>
            </a:xfrm>
            <a:custGeom>
              <a:avLst/>
              <a:gdLst>
                <a:gd name="T0" fmla="*/ 120 w 150"/>
                <a:gd name="T1" fmla="*/ 302 h 332"/>
                <a:gd name="T2" fmla="*/ 30 w 150"/>
                <a:gd name="T3" fmla="*/ 302 h 332"/>
                <a:gd name="T4" fmla="*/ 30 w 150"/>
                <a:gd name="T5" fmla="*/ 60 h 332"/>
                <a:gd name="T6" fmla="*/ 120 w 150"/>
                <a:gd name="T7" fmla="*/ 60 h 332"/>
                <a:gd name="T8" fmla="*/ 120 w 150"/>
                <a:gd name="T9" fmla="*/ 302 h 332"/>
                <a:gd name="T10" fmla="*/ 90 w 150"/>
                <a:gd name="T11" fmla="*/ 30 h 332"/>
                <a:gd name="T12" fmla="*/ 90 w 150"/>
                <a:gd name="T13" fmla="*/ 0 h 332"/>
                <a:gd name="T14" fmla="*/ 60 w 150"/>
                <a:gd name="T15" fmla="*/ 0 h 332"/>
                <a:gd name="T16" fmla="*/ 60 w 150"/>
                <a:gd name="T17" fmla="*/ 30 h 332"/>
                <a:gd name="T18" fmla="*/ 0 w 150"/>
                <a:gd name="T19" fmla="*/ 30 h 332"/>
                <a:gd name="T20" fmla="*/ 0 w 150"/>
                <a:gd name="T21" fmla="*/ 332 h 332"/>
                <a:gd name="T22" fmla="*/ 150 w 150"/>
                <a:gd name="T23" fmla="*/ 332 h 332"/>
                <a:gd name="T24" fmla="*/ 150 w 150"/>
                <a:gd name="T25" fmla="*/ 30 h 332"/>
                <a:gd name="T26" fmla="*/ 90 w 150"/>
                <a:gd name="T27" fmla="*/ 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2">
                  <a:moveTo>
                    <a:pt x="120" y="302"/>
                  </a:moveTo>
                  <a:lnTo>
                    <a:pt x="30" y="302"/>
                  </a:lnTo>
                  <a:lnTo>
                    <a:pt x="30" y="60"/>
                  </a:lnTo>
                  <a:lnTo>
                    <a:pt x="120" y="60"/>
                  </a:lnTo>
                  <a:lnTo>
                    <a:pt x="120" y="302"/>
                  </a:lnTo>
                  <a:close/>
                  <a:moveTo>
                    <a:pt x="90" y="30"/>
                  </a:moveTo>
                  <a:lnTo>
                    <a:pt x="90" y="0"/>
                  </a:lnTo>
                  <a:lnTo>
                    <a:pt x="60" y="0"/>
                  </a:lnTo>
                  <a:lnTo>
                    <a:pt x="60" y="30"/>
                  </a:lnTo>
                  <a:lnTo>
                    <a:pt x="0" y="30"/>
                  </a:lnTo>
                  <a:lnTo>
                    <a:pt x="0" y="332"/>
                  </a:lnTo>
                  <a:lnTo>
                    <a:pt x="150" y="332"/>
                  </a:lnTo>
                  <a:lnTo>
                    <a:pt x="150" y="30"/>
                  </a:lnTo>
                  <a:lnTo>
                    <a:pt x="9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3" name="Group 68">
            <a:extLst>
              <a:ext uri="{FF2B5EF4-FFF2-40B4-BE49-F238E27FC236}">
                <a16:creationId xmlns:a16="http://schemas.microsoft.com/office/drawing/2014/main" id="{3F6A994C-DAE1-4AC9-B188-F4ED5FAD88A5}"/>
              </a:ext>
            </a:extLst>
          </p:cNvPr>
          <p:cNvGrpSpPr>
            <a:grpSpLocks noChangeAspect="1"/>
          </p:cNvGrpSpPr>
          <p:nvPr/>
        </p:nvGrpSpPr>
        <p:grpSpPr>
          <a:xfrm>
            <a:off x="3192435" y="4340505"/>
            <a:ext cx="306021" cy="285619"/>
            <a:chOff x="2603500" y="2522538"/>
            <a:chExt cx="285750" cy="266700"/>
          </a:xfrm>
          <a:solidFill>
            <a:schemeClr val="bg1"/>
          </a:solidFill>
          <a:effectLst/>
        </p:grpSpPr>
        <p:sp>
          <p:nvSpPr>
            <p:cNvPr id="734" name="Freeform 130">
              <a:extLst>
                <a:ext uri="{FF2B5EF4-FFF2-40B4-BE49-F238E27FC236}">
                  <a16:creationId xmlns:a16="http://schemas.microsoft.com/office/drawing/2014/main" id="{4E03FEF3-E343-4B68-9243-D59593AB6F97}"/>
                </a:ext>
              </a:extLst>
            </p:cNvPr>
            <p:cNvSpPr>
              <a:spLocks noEditPoints="1"/>
            </p:cNvSpPr>
            <p:nvPr/>
          </p:nvSpPr>
          <p:spPr bwMode="auto">
            <a:xfrm>
              <a:off x="2603500" y="2522538"/>
              <a:ext cx="285750" cy="266700"/>
            </a:xfrm>
            <a:custGeom>
              <a:avLst/>
              <a:gdLst>
                <a:gd name="T0" fmla="*/ 374 w 901"/>
                <a:gd name="T1" fmla="*/ 705 h 841"/>
                <a:gd name="T2" fmla="*/ 296 w 901"/>
                <a:gd name="T3" fmla="*/ 688 h 841"/>
                <a:gd name="T4" fmla="*/ 159 w 901"/>
                <a:gd name="T5" fmla="*/ 620 h 841"/>
                <a:gd name="T6" fmla="*/ 113 w 901"/>
                <a:gd name="T7" fmla="*/ 573 h 841"/>
                <a:gd name="T8" fmla="*/ 62 w 901"/>
                <a:gd name="T9" fmla="*/ 500 h 841"/>
                <a:gd name="T10" fmla="*/ 34 w 901"/>
                <a:gd name="T11" fmla="*/ 420 h 841"/>
                <a:gd name="T12" fmla="*/ 32 w 901"/>
                <a:gd name="T13" fmla="*/ 335 h 841"/>
                <a:gd name="T14" fmla="*/ 55 w 901"/>
                <a:gd name="T15" fmla="*/ 253 h 841"/>
                <a:gd name="T16" fmla="*/ 101 w 901"/>
                <a:gd name="T17" fmla="*/ 179 h 841"/>
                <a:gd name="T18" fmla="*/ 168 w 901"/>
                <a:gd name="T19" fmla="*/ 117 h 841"/>
                <a:gd name="T20" fmla="*/ 249 w 901"/>
                <a:gd name="T21" fmla="*/ 70 h 841"/>
                <a:gd name="T22" fmla="*/ 345 w 901"/>
                <a:gd name="T23" fmla="*/ 40 h 841"/>
                <a:gd name="T24" fmla="*/ 450 w 901"/>
                <a:gd name="T25" fmla="*/ 30 h 841"/>
                <a:gd name="T26" fmla="*/ 555 w 901"/>
                <a:gd name="T27" fmla="*/ 40 h 841"/>
                <a:gd name="T28" fmla="*/ 650 w 901"/>
                <a:gd name="T29" fmla="*/ 70 h 841"/>
                <a:gd name="T30" fmla="*/ 733 w 901"/>
                <a:gd name="T31" fmla="*/ 117 h 841"/>
                <a:gd name="T32" fmla="*/ 798 w 901"/>
                <a:gd name="T33" fmla="*/ 179 h 841"/>
                <a:gd name="T34" fmla="*/ 845 w 901"/>
                <a:gd name="T35" fmla="*/ 253 h 841"/>
                <a:gd name="T36" fmla="*/ 868 w 901"/>
                <a:gd name="T37" fmla="*/ 335 h 841"/>
                <a:gd name="T38" fmla="*/ 865 w 901"/>
                <a:gd name="T39" fmla="*/ 421 h 841"/>
                <a:gd name="T40" fmla="*/ 837 w 901"/>
                <a:gd name="T41" fmla="*/ 502 h 841"/>
                <a:gd name="T42" fmla="*/ 786 w 901"/>
                <a:gd name="T43" fmla="*/ 573 h 841"/>
                <a:gd name="T44" fmla="*/ 716 w 901"/>
                <a:gd name="T45" fmla="*/ 632 h 841"/>
                <a:gd name="T46" fmla="*/ 632 w 901"/>
                <a:gd name="T47" fmla="*/ 676 h 841"/>
                <a:gd name="T48" fmla="*/ 535 w 901"/>
                <a:gd name="T49" fmla="*/ 703 h 841"/>
                <a:gd name="T50" fmla="*/ 450 w 901"/>
                <a:gd name="T51" fmla="*/ 710 h 841"/>
                <a:gd name="T52" fmla="*/ 359 w 901"/>
                <a:gd name="T53" fmla="*/ 7 h 841"/>
                <a:gd name="T54" fmla="*/ 254 w 901"/>
                <a:gd name="T55" fmla="*/ 36 h 841"/>
                <a:gd name="T56" fmla="*/ 163 w 901"/>
                <a:gd name="T57" fmla="*/ 84 h 841"/>
                <a:gd name="T58" fmla="*/ 88 w 901"/>
                <a:gd name="T59" fmla="*/ 148 h 841"/>
                <a:gd name="T60" fmla="*/ 35 w 901"/>
                <a:gd name="T61" fmla="*/ 225 h 841"/>
                <a:gd name="T62" fmla="*/ 4 w 901"/>
                <a:gd name="T63" fmla="*/ 313 h 841"/>
                <a:gd name="T64" fmla="*/ 2 w 901"/>
                <a:gd name="T65" fmla="*/ 406 h 841"/>
                <a:gd name="T66" fmla="*/ 24 w 901"/>
                <a:gd name="T67" fmla="*/ 493 h 841"/>
                <a:gd name="T68" fmla="*/ 71 w 901"/>
                <a:gd name="T69" fmla="*/ 571 h 841"/>
                <a:gd name="T70" fmla="*/ 31 w 901"/>
                <a:gd name="T71" fmla="*/ 818 h 841"/>
                <a:gd name="T72" fmla="*/ 36 w 901"/>
                <a:gd name="T73" fmla="*/ 838 h 841"/>
                <a:gd name="T74" fmla="*/ 51 w 901"/>
                <a:gd name="T75" fmla="*/ 839 h 841"/>
                <a:gd name="T76" fmla="*/ 373 w 901"/>
                <a:gd name="T77" fmla="*/ 735 h 841"/>
                <a:gd name="T78" fmla="*/ 473 w 901"/>
                <a:gd name="T79" fmla="*/ 739 h 841"/>
                <a:gd name="T80" fmla="*/ 584 w 901"/>
                <a:gd name="T81" fmla="*/ 723 h 841"/>
                <a:gd name="T82" fmla="*/ 683 w 901"/>
                <a:gd name="T83" fmla="*/ 687 h 841"/>
                <a:gd name="T84" fmla="*/ 768 w 901"/>
                <a:gd name="T85" fmla="*/ 631 h 841"/>
                <a:gd name="T86" fmla="*/ 835 w 901"/>
                <a:gd name="T87" fmla="*/ 561 h 841"/>
                <a:gd name="T88" fmla="*/ 880 w 901"/>
                <a:gd name="T89" fmla="*/ 480 h 841"/>
                <a:gd name="T90" fmla="*/ 899 w 901"/>
                <a:gd name="T91" fmla="*/ 389 h 841"/>
                <a:gd name="T92" fmla="*/ 891 w 901"/>
                <a:gd name="T93" fmla="*/ 295 h 841"/>
                <a:gd name="T94" fmla="*/ 856 w 901"/>
                <a:gd name="T95" fmla="*/ 209 h 841"/>
                <a:gd name="T96" fmla="*/ 797 w 901"/>
                <a:gd name="T97" fmla="*/ 134 h 841"/>
                <a:gd name="T98" fmla="*/ 719 w 901"/>
                <a:gd name="T99" fmla="*/ 73 h 841"/>
                <a:gd name="T100" fmla="*/ 624 w 901"/>
                <a:gd name="T101" fmla="*/ 29 h 841"/>
                <a:gd name="T102" fmla="*/ 519 w 901"/>
                <a:gd name="T103" fmla="*/ 4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1" h="841">
                  <a:moveTo>
                    <a:pt x="450" y="710"/>
                  </a:moveTo>
                  <a:lnTo>
                    <a:pt x="431" y="709"/>
                  </a:lnTo>
                  <a:lnTo>
                    <a:pt x="412" y="709"/>
                  </a:lnTo>
                  <a:lnTo>
                    <a:pt x="393" y="707"/>
                  </a:lnTo>
                  <a:lnTo>
                    <a:pt x="374" y="705"/>
                  </a:lnTo>
                  <a:lnTo>
                    <a:pt x="356" y="702"/>
                  </a:lnTo>
                  <a:lnTo>
                    <a:pt x="338" y="697"/>
                  </a:lnTo>
                  <a:lnTo>
                    <a:pt x="320" y="693"/>
                  </a:lnTo>
                  <a:lnTo>
                    <a:pt x="301" y="689"/>
                  </a:lnTo>
                  <a:lnTo>
                    <a:pt x="296" y="688"/>
                  </a:lnTo>
                  <a:lnTo>
                    <a:pt x="291" y="689"/>
                  </a:lnTo>
                  <a:lnTo>
                    <a:pt x="78" y="793"/>
                  </a:lnTo>
                  <a:lnTo>
                    <a:pt x="158" y="630"/>
                  </a:lnTo>
                  <a:lnTo>
                    <a:pt x="160" y="626"/>
                  </a:lnTo>
                  <a:lnTo>
                    <a:pt x="159" y="620"/>
                  </a:lnTo>
                  <a:lnTo>
                    <a:pt x="158" y="616"/>
                  </a:lnTo>
                  <a:lnTo>
                    <a:pt x="155" y="612"/>
                  </a:lnTo>
                  <a:lnTo>
                    <a:pt x="140" y="599"/>
                  </a:lnTo>
                  <a:lnTo>
                    <a:pt x="126" y="586"/>
                  </a:lnTo>
                  <a:lnTo>
                    <a:pt x="113" y="573"/>
                  </a:lnTo>
                  <a:lnTo>
                    <a:pt x="100" y="559"/>
                  </a:lnTo>
                  <a:lnTo>
                    <a:pt x="89" y="545"/>
                  </a:lnTo>
                  <a:lnTo>
                    <a:pt x="79" y="532"/>
                  </a:lnTo>
                  <a:lnTo>
                    <a:pt x="70" y="517"/>
                  </a:lnTo>
                  <a:lnTo>
                    <a:pt x="62" y="500"/>
                  </a:lnTo>
                  <a:lnTo>
                    <a:pt x="54" y="485"/>
                  </a:lnTo>
                  <a:lnTo>
                    <a:pt x="48" y="469"/>
                  </a:lnTo>
                  <a:lnTo>
                    <a:pt x="42" y="453"/>
                  </a:lnTo>
                  <a:lnTo>
                    <a:pt x="37" y="437"/>
                  </a:lnTo>
                  <a:lnTo>
                    <a:pt x="34" y="420"/>
                  </a:lnTo>
                  <a:lnTo>
                    <a:pt x="32" y="404"/>
                  </a:lnTo>
                  <a:lnTo>
                    <a:pt x="30" y="387"/>
                  </a:lnTo>
                  <a:lnTo>
                    <a:pt x="30" y="370"/>
                  </a:lnTo>
                  <a:lnTo>
                    <a:pt x="30" y="352"/>
                  </a:lnTo>
                  <a:lnTo>
                    <a:pt x="32" y="335"/>
                  </a:lnTo>
                  <a:lnTo>
                    <a:pt x="34" y="317"/>
                  </a:lnTo>
                  <a:lnTo>
                    <a:pt x="38" y="301"/>
                  </a:lnTo>
                  <a:lnTo>
                    <a:pt x="42" y="284"/>
                  </a:lnTo>
                  <a:lnTo>
                    <a:pt x="48" y="268"/>
                  </a:lnTo>
                  <a:lnTo>
                    <a:pt x="55" y="253"/>
                  </a:lnTo>
                  <a:lnTo>
                    <a:pt x="63" y="237"/>
                  </a:lnTo>
                  <a:lnTo>
                    <a:pt x="70" y="222"/>
                  </a:lnTo>
                  <a:lnTo>
                    <a:pt x="80" y="207"/>
                  </a:lnTo>
                  <a:lnTo>
                    <a:pt x="91" y="193"/>
                  </a:lnTo>
                  <a:lnTo>
                    <a:pt x="101" y="179"/>
                  </a:lnTo>
                  <a:lnTo>
                    <a:pt x="113" y="167"/>
                  </a:lnTo>
                  <a:lnTo>
                    <a:pt x="126" y="154"/>
                  </a:lnTo>
                  <a:lnTo>
                    <a:pt x="139" y="141"/>
                  </a:lnTo>
                  <a:lnTo>
                    <a:pt x="153" y="129"/>
                  </a:lnTo>
                  <a:lnTo>
                    <a:pt x="168" y="117"/>
                  </a:lnTo>
                  <a:lnTo>
                    <a:pt x="183" y="107"/>
                  </a:lnTo>
                  <a:lnTo>
                    <a:pt x="199" y="97"/>
                  </a:lnTo>
                  <a:lnTo>
                    <a:pt x="215" y="87"/>
                  </a:lnTo>
                  <a:lnTo>
                    <a:pt x="232" y="79"/>
                  </a:lnTo>
                  <a:lnTo>
                    <a:pt x="249" y="70"/>
                  </a:lnTo>
                  <a:lnTo>
                    <a:pt x="267" y="63"/>
                  </a:lnTo>
                  <a:lnTo>
                    <a:pt x="286" y="56"/>
                  </a:lnTo>
                  <a:lnTo>
                    <a:pt x="306" y="50"/>
                  </a:lnTo>
                  <a:lnTo>
                    <a:pt x="325" y="45"/>
                  </a:lnTo>
                  <a:lnTo>
                    <a:pt x="345" y="40"/>
                  </a:lnTo>
                  <a:lnTo>
                    <a:pt x="366" y="36"/>
                  </a:lnTo>
                  <a:lnTo>
                    <a:pt x="386" y="33"/>
                  </a:lnTo>
                  <a:lnTo>
                    <a:pt x="407" y="31"/>
                  </a:lnTo>
                  <a:lnTo>
                    <a:pt x="428" y="30"/>
                  </a:lnTo>
                  <a:lnTo>
                    <a:pt x="450" y="30"/>
                  </a:lnTo>
                  <a:lnTo>
                    <a:pt x="471" y="30"/>
                  </a:lnTo>
                  <a:lnTo>
                    <a:pt x="493" y="31"/>
                  </a:lnTo>
                  <a:lnTo>
                    <a:pt x="513" y="33"/>
                  </a:lnTo>
                  <a:lnTo>
                    <a:pt x="535" y="36"/>
                  </a:lnTo>
                  <a:lnTo>
                    <a:pt x="555" y="40"/>
                  </a:lnTo>
                  <a:lnTo>
                    <a:pt x="574" y="45"/>
                  </a:lnTo>
                  <a:lnTo>
                    <a:pt x="595" y="50"/>
                  </a:lnTo>
                  <a:lnTo>
                    <a:pt x="613" y="56"/>
                  </a:lnTo>
                  <a:lnTo>
                    <a:pt x="632" y="63"/>
                  </a:lnTo>
                  <a:lnTo>
                    <a:pt x="650" y="70"/>
                  </a:lnTo>
                  <a:lnTo>
                    <a:pt x="667" y="79"/>
                  </a:lnTo>
                  <a:lnTo>
                    <a:pt x="684" y="87"/>
                  </a:lnTo>
                  <a:lnTo>
                    <a:pt x="702" y="97"/>
                  </a:lnTo>
                  <a:lnTo>
                    <a:pt x="716" y="107"/>
                  </a:lnTo>
                  <a:lnTo>
                    <a:pt x="733" y="117"/>
                  </a:lnTo>
                  <a:lnTo>
                    <a:pt x="746" y="129"/>
                  </a:lnTo>
                  <a:lnTo>
                    <a:pt x="760" y="141"/>
                  </a:lnTo>
                  <a:lnTo>
                    <a:pt x="774" y="154"/>
                  </a:lnTo>
                  <a:lnTo>
                    <a:pt x="786" y="167"/>
                  </a:lnTo>
                  <a:lnTo>
                    <a:pt x="798" y="179"/>
                  </a:lnTo>
                  <a:lnTo>
                    <a:pt x="810" y="193"/>
                  </a:lnTo>
                  <a:lnTo>
                    <a:pt x="819" y="207"/>
                  </a:lnTo>
                  <a:lnTo>
                    <a:pt x="829" y="222"/>
                  </a:lnTo>
                  <a:lnTo>
                    <a:pt x="837" y="237"/>
                  </a:lnTo>
                  <a:lnTo>
                    <a:pt x="845" y="253"/>
                  </a:lnTo>
                  <a:lnTo>
                    <a:pt x="851" y="268"/>
                  </a:lnTo>
                  <a:lnTo>
                    <a:pt x="857" y="284"/>
                  </a:lnTo>
                  <a:lnTo>
                    <a:pt x="862" y="301"/>
                  </a:lnTo>
                  <a:lnTo>
                    <a:pt x="865" y="317"/>
                  </a:lnTo>
                  <a:lnTo>
                    <a:pt x="868" y="335"/>
                  </a:lnTo>
                  <a:lnTo>
                    <a:pt x="870" y="352"/>
                  </a:lnTo>
                  <a:lnTo>
                    <a:pt x="871" y="370"/>
                  </a:lnTo>
                  <a:lnTo>
                    <a:pt x="870" y="387"/>
                  </a:lnTo>
                  <a:lnTo>
                    <a:pt x="868" y="404"/>
                  </a:lnTo>
                  <a:lnTo>
                    <a:pt x="865" y="421"/>
                  </a:lnTo>
                  <a:lnTo>
                    <a:pt x="862" y="438"/>
                  </a:lnTo>
                  <a:lnTo>
                    <a:pt x="857" y="454"/>
                  </a:lnTo>
                  <a:lnTo>
                    <a:pt x="851" y="471"/>
                  </a:lnTo>
                  <a:lnTo>
                    <a:pt x="845" y="487"/>
                  </a:lnTo>
                  <a:lnTo>
                    <a:pt x="837" y="502"/>
                  </a:lnTo>
                  <a:lnTo>
                    <a:pt x="829" y="518"/>
                  </a:lnTo>
                  <a:lnTo>
                    <a:pt x="819" y="532"/>
                  </a:lnTo>
                  <a:lnTo>
                    <a:pt x="810" y="546"/>
                  </a:lnTo>
                  <a:lnTo>
                    <a:pt x="798" y="559"/>
                  </a:lnTo>
                  <a:lnTo>
                    <a:pt x="786" y="573"/>
                  </a:lnTo>
                  <a:lnTo>
                    <a:pt x="774" y="586"/>
                  </a:lnTo>
                  <a:lnTo>
                    <a:pt x="760" y="599"/>
                  </a:lnTo>
                  <a:lnTo>
                    <a:pt x="746" y="611"/>
                  </a:lnTo>
                  <a:lnTo>
                    <a:pt x="733" y="621"/>
                  </a:lnTo>
                  <a:lnTo>
                    <a:pt x="716" y="632"/>
                  </a:lnTo>
                  <a:lnTo>
                    <a:pt x="702" y="643"/>
                  </a:lnTo>
                  <a:lnTo>
                    <a:pt x="684" y="651"/>
                  </a:lnTo>
                  <a:lnTo>
                    <a:pt x="667" y="661"/>
                  </a:lnTo>
                  <a:lnTo>
                    <a:pt x="650" y="668"/>
                  </a:lnTo>
                  <a:lnTo>
                    <a:pt x="632" y="676"/>
                  </a:lnTo>
                  <a:lnTo>
                    <a:pt x="613" y="683"/>
                  </a:lnTo>
                  <a:lnTo>
                    <a:pt x="595" y="690"/>
                  </a:lnTo>
                  <a:lnTo>
                    <a:pt x="574" y="695"/>
                  </a:lnTo>
                  <a:lnTo>
                    <a:pt x="555" y="700"/>
                  </a:lnTo>
                  <a:lnTo>
                    <a:pt x="535" y="703"/>
                  </a:lnTo>
                  <a:lnTo>
                    <a:pt x="513" y="706"/>
                  </a:lnTo>
                  <a:lnTo>
                    <a:pt x="493" y="708"/>
                  </a:lnTo>
                  <a:lnTo>
                    <a:pt x="471" y="709"/>
                  </a:lnTo>
                  <a:lnTo>
                    <a:pt x="450" y="710"/>
                  </a:lnTo>
                  <a:lnTo>
                    <a:pt x="450" y="710"/>
                  </a:lnTo>
                  <a:close/>
                  <a:moveTo>
                    <a:pt x="450" y="0"/>
                  </a:moveTo>
                  <a:lnTo>
                    <a:pt x="427" y="0"/>
                  </a:lnTo>
                  <a:lnTo>
                    <a:pt x="404" y="1"/>
                  </a:lnTo>
                  <a:lnTo>
                    <a:pt x="382" y="4"/>
                  </a:lnTo>
                  <a:lnTo>
                    <a:pt x="359" y="7"/>
                  </a:lnTo>
                  <a:lnTo>
                    <a:pt x="338" y="11"/>
                  </a:lnTo>
                  <a:lnTo>
                    <a:pt x="316" y="16"/>
                  </a:lnTo>
                  <a:lnTo>
                    <a:pt x="295" y="22"/>
                  </a:lnTo>
                  <a:lnTo>
                    <a:pt x="275" y="29"/>
                  </a:lnTo>
                  <a:lnTo>
                    <a:pt x="254" y="36"/>
                  </a:lnTo>
                  <a:lnTo>
                    <a:pt x="235" y="45"/>
                  </a:lnTo>
                  <a:lnTo>
                    <a:pt x="216" y="53"/>
                  </a:lnTo>
                  <a:lnTo>
                    <a:pt x="198" y="63"/>
                  </a:lnTo>
                  <a:lnTo>
                    <a:pt x="180" y="73"/>
                  </a:lnTo>
                  <a:lnTo>
                    <a:pt x="163" y="84"/>
                  </a:lnTo>
                  <a:lnTo>
                    <a:pt x="147" y="96"/>
                  </a:lnTo>
                  <a:lnTo>
                    <a:pt x="131" y="108"/>
                  </a:lnTo>
                  <a:lnTo>
                    <a:pt x="116" y="121"/>
                  </a:lnTo>
                  <a:lnTo>
                    <a:pt x="102" y="134"/>
                  </a:lnTo>
                  <a:lnTo>
                    <a:pt x="88" y="148"/>
                  </a:lnTo>
                  <a:lnTo>
                    <a:pt x="77" y="162"/>
                  </a:lnTo>
                  <a:lnTo>
                    <a:pt x="65" y="177"/>
                  </a:lnTo>
                  <a:lnTo>
                    <a:pt x="53" y="193"/>
                  </a:lnTo>
                  <a:lnTo>
                    <a:pt x="43" y="209"/>
                  </a:lnTo>
                  <a:lnTo>
                    <a:pt x="35" y="225"/>
                  </a:lnTo>
                  <a:lnTo>
                    <a:pt x="26" y="243"/>
                  </a:lnTo>
                  <a:lnTo>
                    <a:pt x="20" y="260"/>
                  </a:lnTo>
                  <a:lnTo>
                    <a:pt x="14" y="277"/>
                  </a:lnTo>
                  <a:lnTo>
                    <a:pt x="8" y="295"/>
                  </a:lnTo>
                  <a:lnTo>
                    <a:pt x="4" y="313"/>
                  </a:lnTo>
                  <a:lnTo>
                    <a:pt x="2" y="331"/>
                  </a:lnTo>
                  <a:lnTo>
                    <a:pt x="0" y="351"/>
                  </a:lnTo>
                  <a:lnTo>
                    <a:pt x="0" y="370"/>
                  </a:lnTo>
                  <a:lnTo>
                    <a:pt x="0" y="388"/>
                  </a:lnTo>
                  <a:lnTo>
                    <a:pt x="2" y="406"/>
                  </a:lnTo>
                  <a:lnTo>
                    <a:pt x="4" y="423"/>
                  </a:lnTo>
                  <a:lnTo>
                    <a:pt x="7" y="442"/>
                  </a:lnTo>
                  <a:lnTo>
                    <a:pt x="12" y="459"/>
                  </a:lnTo>
                  <a:lnTo>
                    <a:pt x="18" y="476"/>
                  </a:lnTo>
                  <a:lnTo>
                    <a:pt x="24" y="493"/>
                  </a:lnTo>
                  <a:lnTo>
                    <a:pt x="32" y="509"/>
                  </a:lnTo>
                  <a:lnTo>
                    <a:pt x="40" y="525"/>
                  </a:lnTo>
                  <a:lnTo>
                    <a:pt x="50" y="541"/>
                  </a:lnTo>
                  <a:lnTo>
                    <a:pt x="61" y="556"/>
                  </a:lnTo>
                  <a:lnTo>
                    <a:pt x="71" y="571"/>
                  </a:lnTo>
                  <a:lnTo>
                    <a:pt x="84" y="586"/>
                  </a:lnTo>
                  <a:lnTo>
                    <a:pt x="97" y="600"/>
                  </a:lnTo>
                  <a:lnTo>
                    <a:pt x="111" y="614"/>
                  </a:lnTo>
                  <a:lnTo>
                    <a:pt x="126" y="628"/>
                  </a:lnTo>
                  <a:lnTo>
                    <a:pt x="31" y="818"/>
                  </a:lnTo>
                  <a:lnTo>
                    <a:pt x="30" y="824"/>
                  </a:lnTo>
                  <a:lnTo>
                    <a:pt x="30" y="828"/>
                  </a:lnTo>
                  <a:lnTo>
                    <a:pt x="31" y="832"/>
                  </a:lnTo>
                  <a:lnTo>
                    <a:pt x="34" y="835"/>
                  </a:lnTo>
                  <a:lnTo>
                    <a:pt x="36" y="838"/>
                  </a:lnTo>
                  <a:lnTo>
                    <a:pt x="38" y="840"/>
                  </a:lnTo>
                  <a:lnTo>
                    <a:pt x="41" y="840"/>
                  </a:lnTo>
                  <a:lnTo>
                    <a:pt x="45" y="841"/>
                  </a:lnTo>
                  <a:lnTo>
                    <a:pt x="48" y="840"/>
                  </a:lnTo>
                  <a:lnTo>
                    <a:pt x="51" y="839"/>
                  </a:lnTo>
                  <a:lnTo>
                    <a:pt x="298" y="719"/>
                  </a:lnTo>
                  <a:lnTo>
                    <a:pt x="316" y="724"/>
                  </a:lnTo>
                  <a:lnTo>
                    <a:pt x="336" y="728"/>
                  </a:lnTo>
                  <a:lnTo>
                    <a:pt x="354" y="732"/>
                  </a:lnTo>
                  <a:lnTo>
                    <a:pt x="373" y="735"/>
                  </a:lnTo>
                  <a:lnTo>
                    <a:pt x="391" y="737"/>
                  </a:lnTo>
                  <a:lnTo>
                    <a:pt x="410" y="739"/>
                  </a:lnTo>
                  <a:lnTo>
                    <a:pt x="430" y="740"/>
                  </a:lnTo>
                  <a:lnTo>
                    <a:pt x="450" y="740"/>
                  </a:lnTo>
                  <a:lnTo>
                    <a:pt x="473" y="739"/>
                  </a:lnTo>
                  <a:lnTo>
                    <a:pt x="496" y="738"/>
                  </a:lnTo>
                  <a:lnTo>
                    <a:pt x="519" y="736"/>
                  </a:lnTo>
                  <a:lnTo>
                    <a:pt x="540" y="733"/>
                  </a:lnTo>
                  <a:lnTo>
                    <a:pt x="562" y="728"/>
                  </a:lnTo>
                  <a:lnTo>
                    <a:pt x="584" y="723"/>
                  </a:lnTo>
                  <a:lnTo>
                    <a:pt x="604" y="718"/>
                  </a:lnTo>
                  <a:lnTo>
                    <a:pt x="624" y="711"/>
                  </a:lnTo>
                  <a:lnTo>
                    <a:pt x="645" y="704"/>
                  </a:lnTo>
                  <a:lnTo>
                    <a:pt x="664" y="695"/>
                  </a:lnTo>
                  <a:lnTo>
                    <a:pt x="683" y="687"/>
                  </a:lnTo>
                  <a:lnTo>
                    <a:pt x="702" y="677"/>
                  </a:lnTo>
                  <a:lnTo>
                    <a:pt x="719" y="666"/>
                  </a:lnTo>
                  <a:lnTo>
                    <a:pt x="736" y="656"/>
                  </a:lnTo>
                  <a:lnTo>
                    <a:pt x="753" y="644"/>
                  </a:lnTo>
                  <a:lnTo>
                    <a:pt x="768" y="631"/>
                  </a:lnTo>
                  <a:lnTo>
                    <a:pt x="783" y="618"/>
                  </a:lnTo>
                  <a:lnTo>
                    <a:pt x="797" y="605"/>
                  </a:lnTo>
                  <a:lnTo>
                    <a:pt x="811" y="591"/>
                  </a:lnTo>
                  <a:lnTo>
                    <a:pt x="823" y="576"/>
                  </a:lnTo>
                  <a:lnTo>
                    <a:pt x="835" y="561"/>
                  </a:lnTo>
                  <a:lnTo>
                    <a:pt x="846" y="546"/>
                  </a:lnTo>
                  <a:lnTo>
                    <a:pt x="856" y="530"/>
                  </a:lnTo>
                  <a:lnTo>
                    <a:pt x="865" y="513"/>
                  </a:lnTo>
                  <a:lnTo>
                    <a:pt x="873" y="497"/>
                  </a:lnTo>
                  <a:lnTo>
                    <a:pt x="880" y="480"/>
                  </a:lnTo>
                  <a:lnTo>
                    <a:pt x="886" y="462"/>
                  </a:lnTo>
                  <a:lnTo>
                    <a:pt x="891" y="444"/>
                  </a:lnTo>
                  <a:lnTo>
                    <a:pt x="895" y="426"/>
                  </a:lnTo>
                  <a:lnTo>
                    <a:pt x="897" y="407"/>
                  </a:lnTo>
                  <a:lnTo>
                    <a:pt x="899" y="389"/>
                  </a:lnTo>
                  <a:lnTo>
                    <a:pt x="901" y="370"/>
                  </a:lnTo>
                  <a:lnTo>
                    <a:pt x="899" y="351"/>
                  </a:lnTo>
                  <a:lnTo>
                    <a:pt x="897" y="331"/>
                  </a:lnTo>
                  <a:lnTo>
                    <a:pt x="895" y="313"/>
                  </a:lnTo>
                  <a:lnTo>
                    <a:pt x="891" y="295"/>
                  </a:lnTo>
                  <a:lnTo>
                    <a:pt x="886" y="277"/>
                  </a:lnTo>
                  <a:lnTo>
                    <a:pt x="880" y="260"/>
                  </a:lnTo>
                  <a:lnTo>
                    <a:pt x="873" y="243"/>
                  </a:lnTo>
                  <a:lnTo>
                    <a:pt x="865" y="225"/>
                  </a:lnTo>
                  <a:lnTo>
                    <a:pt x="856" y="209"/>
                  </a:lnTo>
                  <a:lnTo>
                    <a:pt x="846" y="193"/>
                  </a:lnTo>
                  <a:lnTo>
                    <a:pt x="835" y="177"/>
                  </a:lnTo>
                  <a:lnTo>
                    <a:pt x="823" y="162"/>
                  </a:lnTo>
                  <a:lnTo>
                    <a:pt x="811" y="148"/>
                  </a:lnTo>
                  <a:lnTo>
                    <a:pt x="797" y="134"/>
                  </a:lnTo>
                  <a:lnTo>
                    <a:pt x="783" y="121"/>
                  </a:lnTo>
                  <a:lnTo>
                    <a:pt x="768" y="108"/>
                  </a:lnTo>
                  <a:lnTo>
                    <a:pt x="753" y="96"/>
                  </a:lnTo>
                  <a:lnTo>
                    <a:pt x="736" y="84"/>
                  </a:lnTo>
                  <a:lnTo>
                    <a:pt x="719" y="73"/>
                  </a:lnTo>
                  <a:lnTo>
                    <a:pt x="702" y="63"/>
                  </a:lnTo>
                  <a:lnTo>
                    <a:pt x="683" y="53"/>
                  </a:lnTo>
                  <a:lnTo>
                    <a:pt x="664" y="45"/>
                  </a:lnTo>
                  <a:lnTo>
                    <a:pt x="645" y="36"/>
                  </a:lnTo>
                  <a:lnTo>
                    <a:pt x="624" y="29"/>
                  </a:lnTo>
                  <a:lnTo>
                    <a:pt x="604" y="22"/>
                  </a:lnTo>
                  <a:lnTo>
                    <a:pt x="584" y="16"/>
                  </a:lnTo>
                  <a:lnTo>
                    <a:pt x="562" y="11"/>
                  </a:lnTo>
                  <a:lnTo>
                    <a:pt x="540" y="7"/>
                  </a:lnTo>
                  <a:lnTo>
                    <a:pt x="519" y="4"/>
                  </a:lnTo>
                  <a:lnTo>
                    <a:pt x="496" y="2"/>
                  </a:lnTo>
                  <a:lnTo>
                    <a:pt x="473"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131">
              <a:extLst>
                <a:ext uri="{FF2B5EF4-FFF2-40B4-BE49-F238E27FC236}">
                  <a16:creationId xmlns:a16="http://schemas.microsoft.com/office/drawing/2014/main" id="{5F5C8347-19D5-4385-824B-31C41996BF8E}"/>
                </a:ext>
              </a:extLst>
            </p:cNvPr>
            <p:cNvSpPr>
              <a:spLocks noEditPoints="1"/>
            </p:cNvSpPr>
            <p:nvPr/>
          </p:nvSpPr>
          <p:spPr bwMode="auto">
            <a:xfrm>
              <a:off x="2681288" y="2581276"/>
              <a:ext cx="141288" cy="130175"/>
            </a:xfrm>
            <a:custGeom>
              <a:avLst/>
              <a:gdLst>
                <a:gd name="T0" fmla="*/ 151 w 446"/>
                <a:gd name="T1" fmla="*/ 314 h 409"/>
                <a:gd name="T2" fmla="*/ 89 w 446"/>
                <a:gd name="T3" fmla="*/ 248 h 409"/>
                <a:gd name="T4" fmla="*/ 41 w 446"/>
                <a:gd name="T5" fmla="*/ 179 h 409"/>
                <a:gd name="T6" fmla="*/ 30 w 446"/>
                <a:gd name="T7" fmla="*/ 137 h 409"/>
                <a:gd name="T8" fmla="*/ 34 w 446"/>
                <a:gd name="T9" fmla="*/ 97 h 409"/>
                <a:gd name="T10" fmla="*/ 51 w 446"/>
                <a:gd name="T11" fmla="*/ 63 h 409"/>
                <a:gd name="T12" fmla="*/ 78 w 446"/>
                <a:gd name="T13" fmla="*/ 41 h 409"/>
                <a:gd name="T14" fmla="*/ 109 w 446"/>
                <a:gd name="T15" fmla="*/ 30 h 409"/>
                <a:gd name="T16" fmla="*/ 141 w 446"/>
                <a:gd name="T17" fmla="*/ 33 h 409"/>
                <a:gd name="T18" fmla="*/ 168 w 446"/>
                <a:gd name="T19" fmla="*/ 48 h 409"/>
                <a:gd name="T20" fmla="*/ 190 w 446"/>
                <a:gd name="T21" fmla="*/ 74 h 409"/>
                <a:gd name="T22" fmla="*/ 205 w 446"/>
                <a:gd name="T23" fmla="*/ 110 h 409"/>
                <a:gd name="T24" fmla="*/ 218 w 446"/>
                <a:gd name="T25" fmla="*/ 131 h 409"/>
                <a:gd name="T26" fmla="*/ 235 w 446"/>
                <a:gd name="T27" fmla="*/ 125 h 409"/>
                <a:gd name="T28" fmla="*/ 247 w 446"/>
                <a:gd name="T29" fmla="*/ 91 h 409"/>
                <a:gd name="T30" fmla="*/ 266 w 446"/>
                <a:gd name="T31" fmla="*/ 60 h 409"/>
                <a:gd name="T32" fmla="*/ 291 w 446"/>
                <a:gd name="T33" fmla="*/ 40 h 409"/>
                <a:gd name="T34" fmla="*/ 320 w 446"/>
                <a:gd name="T35" fmla="*/ 30 h 409"/>
                <a:gd name="T36" fmla="*/ 352 w 446"/>
                <a:gd name="T37" fmla="*/ 33 h 409"/>
                <a:gd name="T38" fmla="*/ 382 w 446"/>
                <a:gd name="T39" fmla="*/ 50 h 409"/>
                <a:gd name="T40" fmla="*/ 404 w 446"/>
                <a:gd name="T41" fmla="*/ 79 h 409"/>
                <a:gd name="T42" fmla="*/ 415 w 446"/>
                <a:gd name="T43" fmla="*/ 119 h 409"/>
                <a:gd name="T44" fmla="*/ 413 w 446"/>
                <a:gd name="T45" fmla="*/ 153 h 409"/>
                <a:gd name="T46" fmla="*/ 384 w 446"/>
                <a:gd name="T47" fmla="*/ 213 h 409"/>
                <a:gd name="T48" fmla="*/ 327 w 446"/>
                <a:gd name="T49" fmla="*/ 283 h 409"/>
                <a:gd name="T50" fmla="*/ 249 w 446"/>
                <a:gd name="T51" fmla="*/ 354 h 409"/>
                <a:gd name="T52" fmla="*/ 299 w 446"/>
                <a:gd name="T53" fmla="*/ 3 h 409"/>
                <a:gd name="T54" fmla="*/ 271 w 446"/>
                <a:gd name="T55" fmla="*/ 16 h 409"/>
                <a:gd name="T56" fmla="*/ 245 w 446"/>
                <a:gd name="T57" fmla="*/ 39 h 409"/>
                <a:gd name="T58" fmla="*/ 222 w 446"/>
                <a:gd name="T59" fmla="*/ 72 h 409"/>
                <a:gd name="T60" fmla="*/ 201 w 446"/>
                <a:gd name="T61" fmla="*/ 39 h 409"/>
                <a:gd name="T62" fmla="*/ 174 w 446"/>
                <a:gd name="T63" fmla="*/ 16 h 409"/>
                <a:gd name="T64" fmla="*/ 145 w 446"/>
                <a:gd name="T65" fmla="*/ 3 h 409"/>
                <a:gd name="T66" fmla="*/ 96 w 446"/>
                <a:gd name="T67" fmla="*/ 2 h 409"/>
                <a:gd name="T68" fmla="*/ 54 w 446"/>
                <a:gd name="T69" fmla="*/ 19 h 409"/>
                <a:gd name="T70" fmla="*/ 21 w 446"/>
                <a:gd name="T71" fmla="*/ 53 h 409"/>
                <a:gd name="T72" fmla="*/ 2 w 446"/>
                <a:gd name="T73" fmla="*/ 101 h 409"/>
                <a:gd name="T74" fmla="*/ 2 w 446"/>
                <a:gd name="T75" fmla="*/ 152 h 409"/>
                <a:gd name="T76" fmla="*/ 18 w 446"/>
                <a:gd name="T77" fmla="*/ 199 h 409"/>
                <a:gd name="T78" fmla="*/ 65 w 446"/>
                <a:gd name="T79" fmla="*/ 268 h 409"/>
                <a:gd name="T80" fmla="*/ 142 w 446"/>
                <a:gd name="T81" fmla="*/ 347 h 409"/>
                <a:gd name="T82" fmla="*/ 214 w 446"/>
                <a:gd name="T83" fmla="*/ 406 h 409"/>
                <a:gd name="T84" fmla="*/ 232 w 446"/>
                <a:gd name="T85" fmla="*/ 406 h 409"/>
                <a:gd name="T86" fmla="*/ 304 w 446"/>
                <a:gd name="T87" fmla="*/ 347 h 409"/>
                <a:gd name="T88" fmla="*/ 381 w 446"/>
                <a:gd name="T89" fmla="*/ 268 h 409"/>
                <a:gd name="T90" fmla="*/ 427 w 446"/>
                <a:gd name="T91" fmla="*/ 199 h 409"/>
                <a:gd name="T92" fmla="*/ 444 w 446"/>
                <a:gd name="T93" fmla="*/ 152 h 409"/>
                <a:gd name="T94" fmla="*/ 444 w 446"/>
                <a:gd name="T95" fmla="*/ 101 h 409"/>
                <a:gd name="T96" fmla="*/ 423 w 446"/>
                <a:gd name="T97" fmla="*/ 53 h 409"/>
                <a:gd name="T98" fmla="*/ 390 w 446"/>
                <a:gd name="T99" fmla="*/ 19 h 409"/>
                <a:gd name="T100" fmla="*/ 350 w 446"/>
                <a:gd name="T101" fmla="*/ 2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6" h="409">
                  <a:moveTo>
                    <a:pt x="222" y="375"/>
                  </a:moveTo>
                  <a:lnTo>
                    <a:pt x="197" y="354"/>
                  </a:lnTo>
                  <a:lnTo>
                    <a:pt x="167" y="329"/>
                  </a:lnTo>
                  <a:lnTo>
                    <a:pt x="151" y="314"/>
                  </a:lnTo>
                  <a:lnTo>
                    <a:pt x="135" y="299"/>
                  </a:lnTo>
                  <a:lnTo>
                    <a:pt x="118" y="283"/>
                  </a:lnTo>
                  <a:lnTo>
                    <a:pt x="103" y="265"/>
                  </a:lnTo>
                  <a:lnTo>
                    <a:pt x="89" y="248"/>
                  </a:lnTo>
                  <a:lnTo>
                    <a:pt x="75" y="231"/>
                  </a:lnTo>
                  <a:lnTo>
                    <a:pt x="62" y="213"/>
                  </a:lnTo>
                  <a:lnTo>
                    <a:pt x="51" y="196"/>
                  </a:lnTo>
                  <a:lnTo>
                    <a:pt x="41" y="179"/>
                  </a:lnTo>
                  <a:lnTo>
                    <a:pt x="35" y="162"/>
                  </a:lnTo>
                  <a:lnTo>
                    <a:pt x="33" y="153"/>
                  </a:lnTo>
                  <a:lnTo>
                    <a:pt x="31" y="146"/>
                  </a:lnTo>
                  <a:lnTo>
                    <a:pt x="30" y="137"/>
                  </a:lnTo>
                  <a:lnTo>
                    <a:pt x="30" y="130"/>
                  </a:lnTo>
                  <a:lnTo>
                    <a:pt x="30" y="119"/>
                  </a:lnTo>
                  <a:lnTo>
                    <a:pt x="32" y="107"/>
                  </a:lnTo>
                  <a:lnTo>
                    <a:pt x="34" y="97"/>
                  </a:lnTo>
                  <a:lnTo>
                    <a:pt x="37" y="88"/>
                  </a:lnTo>
                  <a:lnTo>
                    <a:pt x="41" y="79"/>
                  </a:lnTo>
                  <a:lnTo>
                    <a:pt x="46" y="71"/>
                  </a:lnTo>
                  <a:lnTo>
                    <a:pt x="51" y="63"/>
                  </a:lnTo>
                  <a:lnTo>
                    <a:pt x="57" y="57"/>
                  </a:lnTo>
                  <a:lnTo>
                    <a:pt x="64" y="50"/>
                  </a:lnTo>
                  <a:lnTo>
                    <a:pt x="70" y="45"/>
                  </a:lnTo>
                  <a:lnTo>
                    <a:pt x="78" y="41"/>
                  </a:lnTo>
                  <a:lnTo>
                    <a:pt x="85" y="36"/>
                  </a:lnTo>
                  <a:lnTo>
                    <a:pt x="93" y="33"/>
                  </a:lnTo>
                  <a:lnTo>
                    <a:pt x="101" y="31"/>
                  </a:lnTo>
                  <a:lnTo>
                    <a:pt x="109" y="30"/>
                  </a:lnTo>
                  <a:lnTo>
                    <a:pt x="117" y="30"/>
                  </a:lnTo>
                  <a:lnTo>
                    <a:pt x="126" y="30"/>
                  </a:lnTo>
                  <a:lnTo>
                    <a:pt x="133" y="31"/>
                  </a:lnTo>
                  <a:lnTo>
                    <a:pt x="141" y="33"/>
                  </a:lnTo>
                  <a:lnTo>
                    <a:pt x="147" y="36"/>
                  </a:lnTo>
                  <a:lnTo>
                    <a:pt x="155" y="40"/>
                  </a:lnTo>
                  <a:lnTo>
                    <a:pt x="161" y="44"/>
                  </a:lnTo>
                  <a:lnTo>
                    <a:pt x="168" y="48"/>
                  </a:lnTo>
                  <a:lnTo>
                    <a:pt x="174" y="54"/>
                  </a:lnTo>
                  <a:lnTo>
                    <a:pt x="179" y="60"/>
                  </a:lnTo>
                  <a:lnTo>
                    <a:pt x="185" y="66"/>
                  </a:lnTo>
                  <a:lnTo>
                    <a:pt x="190" y="74"/>
                  </a:lnTo>
                  <a:lnTo>
                    <a:pt x="194" y="82"/>
                  </a:lnTo>
                  <a:lnTo>
                    <a:pt x="199" y="91"/>
                  </a:lnTo>
                  <a:lnTo>
                    <a:pt x="202" y="101"/>
                  </a:lnTo>
                  <a:lnTo>
                    <a:pt x="205" y="110"/>
                  </a:lnTo>
                  <a:lnTo>
                    <a:pt x="208" y="120"/>
                  </a:lnTo>
                  <a:lnTo>
                    <a:pt x="210" y="125"/>
                  </a:lnTo>
                  <a:lnTo>
                    <a:pt x="214" y="128"/>
                  </a:lnTo>
                  <a:lnTo>
                    <a:pt x="218" y="131"/>
                  </a:lnTo>
                  <a:lnTo>
                    <a:pt x="222" y="132"/>
                  </a:lnTo>
                  <a:lnTo>
                    <a:pt x="228" y="131"/>
                  </a:lnTo>
                  <a:lnTo>
                    <a:pt x="232" y="128"/>
                  </a:lnTo>
                  <a:lnTo>
                    <a:pt x="235" y="125"/>
                  </a:lnTo>
                  <a:lnTo>
                    <a:pt x="237" y="120"/>
                  </a:lnTo>
                  <a:lnTo>
                    <a:pt x="240" y="110"/>
                  </a:lnTo>
                  <a:lnTo>
                    <a:pt x="244" y="101"/>
                  </a:lnTo>
                  <a:lnTo>
                    <a:pt x="247" y="91"/>
                  </a:lnTo>
                  <a:lnTo>
                    <a:pt x="251" y="82"/>
                  </a:lnTo>
                  <a:lnTo>
                    <a:pt x="255" y="74"/>
                  </a:lnTo>
                  <a:lnTo>
                    <a:pt x="261" y="66"/>
                  </a:lnTo>
                  <a:lnTo>
                    <a:pt x="266" y="60"/>
                  </a:lnTo>
                  <a:lnTo>
                    <a:pt x="271" y="54"/>
                  </a:lnTo>
                  <a:lnTo>
                    <a:pt x="278" y="48"/>
                  </a:lnTo>
                  <a:lnTo>
                    <a:pt x="283" y="44"/>
                  </a:lnTo>
                  <a:lnTo>
                    <a:pt x="291" y="40"/>
                  </a:lnTo>
                  <a:lnTo>
                    <a:pt x="297" y="36"/>
                  </a:lnTo>
                  <a:lnTo>
                    <a:pt x="305" y="33"/>
                  </a:lnTo>
                  <a:lnTo>
                    <a:pt x="312" y="31"/>
                  </a:lnTo>
                  <a:lnTo>
                    <a:pt x="320" y="30"/>
                  </a:lnTo>
                  <a:lnTo>
                    <a:pt x="328" y="30"/>
                  </a:lnTo>
                  <a:lnTo>
                    <a:pt x="336" y="30"/>
                  </a:lnTo>
                  <a:lnTo>
                    <a:pt x="344" y="31"/>
                  </a:lnTo>
                  <a:lnTo>
                    <a:pt x="352" y="33"/>
                  </a:lnTo>
                  <a:lnTo>
                    <a:pt x="360" y="36"/>
                  </a:lnTo>
                  <a:lnTo>
                    <a:pt x="368" y="41"/>
                  </a:lnTo>
                  <a:lnTo>
                    <a:pt x="374" y="45"/>
                  </a:lnTo>
                  <a:lnTo>
                    <a:pt x="382" y="50"/>
                  </a:lnTo>
                  <a:lnTo>
                    <a:pt x="388" y="57"/>
                  </a:lnTo>
                  <a:lnTo>
                    <a:pt x="395" y="63"/>
                  </a:lnTo>
                  <a:lnTo>
                    <a:pt x="400" y="71"/>
                  </a:lnTo>
                  <a:lnTo>
                    <a:pt x="404" y="79"/>
                  </a:lnTo>
                  <a:lnTo>
                    <a:pt x="408" y="88"/>
                  </a:lnTo>
                  <a:lnTo>
                    <a:pt x="412" y="97"/>
                  </a:lnTo>
                  <a:lnTo>
                    <a:pt x="414" y="107"/>
                  </a:lnTo>
                  <a:lnTo>
                    <a:pt x="415" y="119"/>
                  </a:lnTo>
                  <a:lnTo>
                    <a:pt x="416" y="130"/>
                  </a:lnTo>
                  <a:lnTo>
                    <a:pt x="416" y="137"/>
                  </a:lnTo>
                  <a:lnTo>
                    <a:pt x="415" y="146"/>
                  </a:lnTo>
                  <a:lnTo>
                    <a:pt x="413" y="153"/>
                  </a:lnTo>
                  <a:lnTo>
                    <a:pt x="411" y="162"/>
                  </a:lnTo>
                  <a:lnTo>
                    <a:pt x="403" y="179"/>
                  </a:lnTo>
                  <a:lnTo>
                    <a:pt x="395" y="196"/>
                  </a:lnTo>
                  <a:lnTo>
                    <a:pt x="384" y="213"/>
                  </a:lnTo>
                  <a:lnTo>
                    <a:pt x="371" y="231"/>
                  </a:lnTo>
                  <a:lnTo>
                    <a:pt x="357" y="248"/>
                  </a:lnTo>
                  <a:lnTo>
                    <a:pt x="342" y="265"/>
                  </a:lnTo>
                  <a:lnTo>
                    <a:pt x="327" y="283"/>
                  </a:lnTo>
                  <a:lnTo>
                    <a:pt x="311" y="299"/>
                  </a:lnTo>
                  <a:lnTo>
                    <a:pt x="295" y="314"/>
                  </a:lnTo>
                  <a:lnTo>
                    <a:pt x="279" y="329"/>
                  </a:lnTo>
                  <a:lnTo>
                    <a:pt x="249" y="354"/>
                  </a:lnTo>
                  <a:lnTo>
                    <a:pt x="222" y="375"/>
                  </a:lnTo>
                  <a:close/>
                  <a:moveTo>
                    <a:pt x="328" y="0"/>
                  </a:moveTo>
                  <a:lnTo>
                    <a:pt x="314" y="1"/>
                  </a:lnTo>
                  <a:lnTo>
                    <a:pt x="299" y="3"/>
                  </a:lnTo>
                  <a:lnTo>
                    <a:pt x="293" y="5"/>
                  </a:lnTo>
                  <a:lnTo>
                    <a:pt x="285" y="9"/>
                  </a:lnTo>
                  <a:lnTo>
                    <a:pt x="278" y="12"/>
                  </a:lnTo>
                  <a:lnTo>
                    <a:pt x="271" y="16"/>
                  </a:lnTo>
                  <a:lnTo>
                    <a:pt x="264" y="20"/>
                  </a:lnTo>
                  <a:lnTo>
                    <a:pt x="258" y="26"/>
                  </a:lnTo>
                  <a:lnTo>
                    <a:pt x="251" y="32"/>
                  </a:lnTo>
                  <a:lnTo>
                    <a:pt x="245" y="39"/>
                  </a:lnTo>
                  <a:lnTo>
                    <a:pt x="238" y="46"/>
                  </a:lnTo>
                  <a:lnTo>
                    <a:pt x="233" y="54"/>
                  </a:lnTo>
                  <a:lnTo>
                    <a:pt x="228" y="62"/>
                  </a:lnTo>
                  <a:lnTo>
                    <a:pt x="222" y="72"/>
                  </a:lnTo>
                  <a:lnTo>
                    <a:pt x="218" y="62"/>
                  </a:lnTo>
                  <a:lnTo>
                    <a:pt x="213" y="54"/>
                  </a:lnTo>
                  <a:lnTo>
                    <a:pt x="206" y="46"/>
                  </a:lnTo>
                  <a:lnTo>
                    <a:pt x="201" y="39"/>
                  </a:lnTo>
                  <a:lnTo>
                    <a:pt x="194" y="32"/>
                  </a:lnTo>
                  <a:lnTo>
                    <a:pt x="188" y="26"/>
                  </a:lnTo>
                  <a:lnTo>
                    <a:pt x="181" y="20"/>
                  </a:lnTo>
                  <a:lnTo>
                    <a:pt x="174" y="16"/>
                  </a:lnTo>
                  <a:lnTo>
                    <a:pt x="167" y="12"/>
                  </a:lnTo>
                  <a:lnTo>
                    <a:pt x="160" y="9"/>
                  </a:lnTo>
                  <a:lnTo>
                    <a:pt x="153" y="5"/>
                  </a:lnTo>
                  <a:lnTo>
                    <a:pt x="145" y="3"/>
                  </a:lnTo>
                  <a:lnTo>
                    <a:pt x="131" y="1"/>
                  </a:lnTo>
                  <a:lnTo>
                    <a:pt x="117" y="0"/>
                  </a:lnTo>
                  <a:lnTo>
                    <a:pt x="107" y="0"/>
                  </a:lnTo>
                  <a:lnTo>
                    <a:pt x="96" y="2"/>
                  </a:lnTo>
                  <a:lnTo>
                    <a:pt x="85" y="4"/>
                  </a:lnTo>
                  <a:lnTo>
                    <a:pt x="75" y="9"/>
                  </a:lnTo>
                  <a:lnTo>
                    <a:pt x="64" y="14"/>
                  </a:lnTo>
                  <a:lnTo>
                    <a:pt x="54" y="19"/>
                  </a:lnTo>
                  <a:lnTo>
                    <a:pt x="46" y="27"/>
                  </a:lnTo>
                  <a:lnTo>
                    <a:pt x="36" y="34"/>
                  </a:lnTo>
                  <a:lnTo>
                    <a:pt x="29" y="43"/>
                  </a:lnTo>
                  <a:lnTo>
                    <a:pt x="21" y="53"/>
                  </a:lnTo>
                  <a:lnTo>
                    <a:pt x="15" y="63"/>
                  </a:lnTo>
                  <a:lnTo>
                    <a:pt x="9" y="75"/>
                  </a:lnTo>
                  <a:lnTo>
                    <a:pt x="5" y="88"/>
                  </a:lnTo>
                  <a:lnTo>
                    <a:pt x="2" y="101"/>
                  </a:lnTo>
                  <a:lnTo>
                    <a:pt x="0" y="115"/>
                  </a:lnTo>
                  <a:lnTo>
                    <a:pt x="0" y="130"/>
                  </a:lnTo>
                  <a:lnTo>
                    <a:pt x="0" y="141"/>
                  </a:lnTo>
                  <a:lnTo>
                    <a:pt x="2" y="152"/>
                  </a:lnTo>
                  <a:lnTo>
                    <a:pt x="4" y="164"/>
                  </a:lnTo>
                  <a:lnTo>
                    <a:pt x="8" y="176"/>
                  </a:lnTo>
                  <a:lnTo>
                    <a:pt x="13" y="187"/>
                  </a:lnTo>
                  <a:lnTo>
                    <a:pt x="18" y="199"/>
                  </a:lnTo>
                  <a:lnTo>
                    <a:pt x="24" y="211"/>
                  </a:lnTo>
                  <a:lnTo>
                    <a:pt x="32" y="222"/>
                  </a:lnTo>
                  <a:lnTo>
                    <a:pt x="47" y="245"/>
                  </a:lnTo>
                  <a:lnTo>
                    <a:pt x="65" y="268"/>
                  </a:lnTo>
                  <a:lnTo>
                    <a:pt x="84" y="289"/>
                  </a:lnTo>
                  <a:lnTo>
                    <a:pt x="103" y="309"/>
                  </a:lnTo>
                  <a:lnTo>
                    <a:pt x="123" y="329"/>
                  </a:lnTo>
                  <a:lnTo>
                    <a:pt x="142" y="347"/>
                  </a:lnTo>
                  <a:lnTo>
                    <a:pt x="160" y="363"/>
                  </a:lnTo>
                  <a:lnTo>
                    <a:pt x="176" y="377"/>
                  </a:lnTo>
                  <a:lnTo>
                    <a:pt x="202" y="397"/>
                  </a:lnTo>
                  <a:lnTo>
                    <a:pt x="214" y="406"/>
                  </a:lnTo>
                  <a:lnTo>
                    <a:pt x="218" y="408"/>
                  </a:lnTo>
                  <a:lnTo>
                    <a:pt x="222" y="409"/>
                  </a:lnTo>
                  <a:lnTo>
                    <a:pt x="228" y="408"/>
                  </a:lnTo>
                  <a:lnTo>
                    <a:pt x="232" y="406"/>
                  </a:lnTo>
                  <a:lnTo>
                    <a:pt x="244" y="397"/>
                  </a:lnTo>
                  <a:lnTo>
                    <a:pt x="268" y="377"/>
                  </a:lnTo>
                  <a:lnTo>
                    <a:pt x="285" y="363"/>
                  </a:lnTo>
                  <a:lnTo>
                    <a:pt x="304" y="347"/>
                  </a:lnTo>
                  <a:lnTo>
                    <a:pt x="323" y="329"/>
                  </a:lnTo>
                  <a:lnTo>
                    <a:pt x="342" y="309"/>
                  </a:lnTo>
                  <a:lnTo>
                    <a:pt x="361" y="289"/>
                  </a:lnTo>
                  <a:lnTo>
                    <a:pt x="381" y="268"/>
                  </a:lnTo>
                  <a:lnTo>
                    <a:pt x="398" y="245"/>
                  </a:lnTo>
                  <a:lnTo>
                    <a:pt x="414" y="222"/>
                  </a:lnTo>
                  <a:lnTo>
                    <a:pt x="420" y="211"/>
                  </a:lnTo>
                  <a:lnTo>
                    <a:pt x="427" y="199"/>
                  </a:lnTo>
                  <a:lnTo>
                    <a:pt x="432" y="187"/>
                  </a:lnTo>
                  <a:lnTo>
                    <a:pt x="437" y="176"/>
                  </a:lnTo>
                  <a:lnTo>
                    <a:pt x="441" y="164"/>
                  </a:lnTo>
                  <a:lnTo>
                    <a:pt x="444" y="152"/>
                  </a:lnTo>
                  <a:lnTo>
                    <a:pt x="445" y="141"/>
                  </a:lnTo>
                  <a:lnTo>
                    <a:pt x="446" y="130"/>
                  </a:lnTo>
                  <a:lnTo>
                    <a:pt x="445" y="115"/>
                  </a:lnTo>
                  <a:lnTo>
                    <a:pt x="444" y="101"/>
                  </a:lnTo>
                  <a:lnTo>
                    <a:pt x="439" y="88"/>
                  </a:lnTo>
                  <a:lnTo>
                    <a:pt x="435" y="75"/>
                  </a:lnTo>
                  <a:lnTo>
                    <a:pt x="430" y="63"/>
                  </a:lnTo>
                  <a:lnTo>
                    <a:pt x="423" y="53"/>
                  </a:lnTo>
                  <a:lnTo>
                    <a:pt x="417" y="43"/>
                  </a:lnTo>
                  <a:lnTo>
                    <a:pt x="408" y="34"/>
                  </a:lnTo>
                  <a:lnTo>
                    <a:pt x="400" y="27"/>
                  </a:lnTo>
                  <a:lnTo>
                    <a:pt x="390" y="19"/>
                  </a:lnTo>
                  <a:lnTo>
                    <a:pt x="381" y="14"/>
                  </a:lnTo>
                  <a:lnTo>
                    <a:pt x="371" y="9"/>
                  </a:lnTo>
                  <a:lnTo>
                    <a:pt x="360" y="4"/>
                  </a:lnTo>
                  <a:lnTo>
                    <a:pt x="350" y="2"/>
                  </a:lnTo>
                  <a:lnTo>
                    <a:pt x="339" y="0"/>
                  </a:lnTo>
                  <a:lnTo>
                    <a:pt x="328" y="0"/>
                  </a:lnTo>
                  <a:lnTo>
                    <a:pt x="3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5" name="Group 87">
            <a:extLst>
              <a:ext uri="{FF2B5EF4-FFF2-40B4-BE49-F238E27FC236}">
                <a16:creationId xmlns:a16="http://schemas.microsoft.com/office/drawing/2014/main" id="{2AA9A862-B8F6-4772-A5E4-9E7F78C4C70C}"/>
              </a:ext>
            </a:extLst>
          </p:cNvPr>
          <p:cNvGrpSpPr>
            <a:grpSpLocks noChangeAspect="1"/>
          </p:cNvGrpSpPr>
          <p:nvPr/>
        </p:nvGrpSpPr>
        <p:grpSpPr>
          <a:xfrm>
            <a:off x="3202635" y="5417577"/>
            <a:ext cx="285620" cy="285619"/>
            <a:chOff x="11033125" y="1349375"/>
            <a:chExt cx="284163" cy="284162"/>
          </a:xfrm>
          <a:solidFill>
            <a:schemeClr val="bg1"/>
          </a:solidFill>
          <a:effectLst/>
        </p:grpSpPr>
        <p:sp>
          <p:nvSpPr>
            <p:cNvPr id="556" name="Freeform 331">
              <a:extLst>
                <a:ext uri="{FF2B5EF4-FFF2-40B4-BE49-F238E27FC236}">
                  <a16:creationId xmlns:a16="http://schemas.microsoft.com/office/drawing/2014/main" id="{8C60EC95-2429-4DAD-B82F-B4A99002DDD1}"/>
                </a:ext>
              </a:extLst>
            </p:cNvPr>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Freeform 332">
              <a:extLst>
                <a:ext uri="{FF2B5EF4-FFF2-40B4-BE49-F238E27FC236}">
                  <a16:creationId xmlns:a16="http://schemas.microsoft.com/office/drawing/2014/main" id="{0DA34B4C-410E-4922-9972-7822BF40AB4C}"/>
                </a:ext>
              </a:extLst>
            </p:cNvPr>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6" name="Gruppieren 1095">
            <a:extLst>
              <a:ext uri="{FF2B5EF4-FFF2-40B4-BE49-F238E27FC236}">
                <a16:creationId xmlns:a16="http://schemas.microsoft.com/office/drawing/2014/main" id="{83A0F234-1505-4CD0-8DD0-E319666E1DED}"/>
              </a:ext>
            </a:extLst>
          </p:cNvPr>
          <p:cNvGrpSpPr>
            <a:grpSpLocks noChangeAspect="1"/>
          </p:cNvGrpSpPr>
          <p:nvPr/>
        </p:nvGrpSpPr>
        <p:grpSpPr>
          <a:xfrm>
            <a:off x="3199890" y="3263433"/>
            <a:ext cx="291110" cy="285619"/>
            <a:chOff x="1716088" y="5295900"/>
            <a:chExt cx="882649" cy="931863"/>
          </a:xfrm>
          <a:solidFill>
            <a:schemeClr val="bg1"/>
          </a:solidFill>
        </p:grpSpPr>
        <p:sp>
          <p:nvSpPr>
            <p:cNvPr id="1097" name="Freeform 50">
              <a:extLst>
                <a:ext uri="{FF2B5EF4-FFF2-40B4-BE49-F238E27FC236}">
                  <a16:creationId xmlns:a16="http://schemas.microsoft.com/office/drawing/2014/main" id="{5C9E45A8-9598-416B-83AC-152DF82E9281}"/>
                </a:ext>
              </a:extLst>
            </p:cNvPr>
            <p:cNvSpPr>
              <a:spLocks/>
            </p:cNvSpPr>
            <p:nvPr/>
          </p:nvSpPr>
          <p:spPr bwMode="auto">
            <a:xfrm>
              <a:off x="2047875" y="6097588"/>
              <a:ext cx="215900" cy="25400"/>
            </a:xfrm>
            <a:custGeom>
              <a:avLst/>
              <a:gdLst>
                <a:gd name="T0" fmla="*/ 265 w 271"/>
                <a:gd name="T1" fmla="*/ 0 h 33"/>
                <a:gd name="T2" fmla="*/ 6 w 271"/>
                <a:gd name="T3" fmla="*/ 0 h 33"/>
                <a:gd name="T4" fmla="*/ 6 w 271"/>
                <a:gd name="T5" fmla="*/ 0 h 33"/>
                <a:gd name="T6" fmla="*/ 4 w 271"/>
                <a:gd name="T7" fmla="*/ 2 h 33"/>
                <a:gd name="T8" fmla="*/ 2 w 271"/>
                <a:gd name="T9" fmla="*/ 3 h 33"/>
                <a:gd name="T10" fmla="*/ 0 w 271"/>
                <a:gd name="T11" fmla="*/ 5 h 33"/>
                <a:gd name="T12" fmla="*/ 0 w 271"/>
                <a:gd name="T13" fmla="*/ 8 h 33"/>
                <a:gd name="T14" fmla="*/ 1 w 271"/>
                <a:gd name="T15" fmla="*/ 27 h 33"/>
                <a:gd name="T16" fmla="*/ 1 w 271"/>
                <a:gd name="T17" fmla="*/ 27 h 33"/>
                <a:gd name="T18" fmla="*/ 2 w 271"/>
                <a:gd name="T19" fmla="*/ 29 h 33"/>
                <a:gd name="T20" fmla="*/ 3 w 271"/>
                <a:gd name="T21" fmla="*/ 31 h 33"/>
                <a:gd name="T22" fmla="*/ 6 w 271"/>
                <a:gd name="T23" fmla="*/ 33 h 33"/>
                <a:gd name="T24" fmla="*/ 8 w 271"/>
                <a:gd name="T25" fmla="*/ 33 h 33"/>
                <a:gd name="T26" fmla="*/ 263 w 271"/>
                <a:gd name="T27" fmla="*/ 33 h 33"/>
                <a:gd name="T28" fmla="*/ 263 w 271"/>
                <a:gd name="T29" fmla="*/ 33 h 33"/>
                <a:gd name="T30" fmla="*/ 265 w 271"/>
                <a:gd name="T31" fmla="*/ 33 h 33"/>
                <a:gd name="T32" fmla="*/ 268 w 271"/>
                <a:gd name="T33" fmla="*/ 31 h 33"/>
                <a:gd name="T34" fmla="*/ 269 w 271"/>
                <a:gd name="T35" fmla="*/ 29 h 33"/>
                <a:gd name="T36" fmla="*/ 270 w 271"/>
                <a:gd name="T37" fmla="*/ 27 h 33"/>
                <a:gd name="T38" fmla="*/ 271 w 271"/>
                <a:gd name="T39" fmla="*/ 8 h 33"/>
                <a:gd name="T40" fmla="*/ 271 w 271"/>
                <a:gd name="T41" fmla="*/ 8 h 33"/>
                <a:gd name="T42" fmla="*/ 271 w 271"/>
                <a:gd name="T43" fmla="*/ 5 h 33"/>
                <a:gd name="T44" fmla="*/ 269 w 271"/>
                <a:gd name="T45" fmla="*/ 3 h 33"/>
                <a:gd name="T46" fmla="*/ 267 w 271"/>
                <a:gd name="T47" fmla="*/ 2 h 33"/>
                <a:gd name="T48" fmla="*/ 265 w 271"/>
                <a:gd name="T49" fmla="*/ 0 h 33"/>
                <a:gd name="T50" fmla="*/ 265 w 271"/>
                <a:gd name="T5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1" h="33">
                  <a:moveTo>
                    <a:pt x="265" y="0"/>
                  </a:moveTo>
                  <a:lnTo>
                    <a:pt x="6" y="0"/>
                  </a:lnTo>
                  <a:lnTo>
                    <a:pt x="6" y="0"/>
                  </a:lnTo>
                  <a:lnTo>
                    <a:pt x="4" y="2"/>
                  </a:lnTo>
                  <a:lnTo>
                    <a:pt x="2" y="3"/>
                  </a:lnTo>
                  <a:lnTo>
                    <a:pt x="0" y="5"/>
                  </a:lnTo>
                  <a:lnTo>
                    <a:pt x="0" y="8"/>
                  </a:lnTo>
                  <a:lnTo>
                    <a:pt x="1" y="27"/>
                  </a:lnTo>
                  <a:lnTo>
                    <a:pt x="1" y="27"/>
                  </a:lnTo>
                  <a:lnTo>
                    <a:pt x="2" y="29"/>
                  </a:lnTo>
                  <a:lnTo>
                    <a:pt x="3" y="31"/>
                  </a:lnTo>
                  <a:lnTo>
                    <a:pt x="6" y="33"/>
                  </a:lnTo>
                  <a:lnTo>
                    <a:pt x="8" y="33"/>
                  </a:lnTo>
                  <a:lnTo>
                    <a:pt x="263" y="33"/>
                  </a:lnTo>
                  <a:lnTo>
                    <a:pt x="263" y="33"/>
                  </a:lnTo>
                  <a:lnTo>
                    <a:pt x="265" y="33"/>
                  </a:lnTo>
                  <a:lnTo>
                    <a:pt x="268" y="31"/>
                  </a:lnTo>
                  <a:lnTo>
                    <a:pt x="269" y="29"/>
                  </a:lnTo>
                  <a:lnTo>
                    <a:pt x="270" y="27"/>
                  </a:lnTo>
                  <a:lnTo>
                    <a:pt x="271" y="8"/>
                  </a:lnTo>
                  <a:lnTo>
                    <a:pt x="271" y="8"/>
                  </a:lnTo>
                  <a:lnTo>
                    <a:pt x="271" y="5"/>
                  </a:lnTo>
                  <a:lnTo>
                    <a:pt x="269" y="3"/>
                  </a:lnTo>
                  <a:lnTo>
                    <a:pt x="267" y="2"/>
                  </a:lnTo>
                  <a:lnTo>
                    <a:pt x="265" y="0"/>
                  </a:lnTo>
                  <a:lnTo>
                    <a:pt x="265"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8" name="Freeform 51">
              <a:extLst>
                <a:ext uri="{FF2B5EF4-FFF2-40B4-BE49-F238E27FC236}">
                  <a16:creationId xmlns:a16="http://schemas.microsoft.com/office/drawing/2014/main" id="{AC64A850-AF0B-493E-8D5E-E8BF4BAF2293}"/>
                </a:ext>
              </a:extLst>
            </p:cNvPr>
            <p:cNvSpPr>
              <a:spLocks noEditPoints="1"/>
            </p:cNvSpPr>
            <p:nvPr/>
          </p:nvSpPr>
          <p:spPr bwMode="auto">
            <a:xfrm>
              <a:off x="1919287" y="5522914"/>
              <a:ext cx="473075" cy="557213"/>
            </a:xfrm>
            <a:custGeom>
              <a:avLst/>
              <a:gdLst>
                <a:gd name="T0" fmla="*/ 237 w 596"/>
                <a:gd name="T1" fmla="*/ 5 h 703"/>
                <a:gd name="T2" fmla="*/ 156 w 596"/>
                <a:gd name="T3" fmla="*/ 33 h 703"/>
                <a:gd name="T4" fmla="*/ 87 w 596"/>
                <a:gd name="T5" fmla="*/ 82 h 703"/>
                <a:gd name="T6" fmla="*/ 36 w 596"/>
                <a:gd name="T7" fmla="*/ 147 h 703"/>
                <a:gd name="T8" fmla="*/ 7 w 596"/>
                <a:gd name="T9" fmla="*/ 227 h 703"/>
                <a:gd name="T10" fmla="*/ 0 w 596"/>
                <a:gd name="T11" fmla="*/ 305 h 703"/>
                <a:gd name="T12" fmla="*/ 20 w 596"/>
                <a:gd name="T13" fmla="*/ 399 h 703"/>
                <a:gd name="T14" fmla="*/ 81 w 596"/>
                <a:gd name="T15" fmla="*/ 500 h 703"/>
                <a:gd name="T16" fmla="*/ 140 w 596"/>
                <a:gd name="T17" fmla="*/ 608 h 703"/>
                <a:gd name="T18" fmla="*/ 156 w 596"/>
                <a:gd name="T19" fmla="*/ 676 h 703"/>
                <a:gd name="T20" fmla="*/ 164 w 596"/>
                <a:gd name="T21" fmla="*/ 701 h 703"/>
                <a:gd name="T22" fmla="*/ 436 w 596"/>
                <a:gd name="T23" fmla="*/ 698 h 703"/>
                <a:gd name="T24" fmla="*/ 451 w 596"/>
                <a:gd name="T25" fmla="*/ 623 h 703"/>
                <a:gd name="T26" fmla="*/ 483 w 596"/>
                <a:gd name="T27" fmla="*/ 549 h 703"/>
                <a:gd name="T28" fmla="*/ 557 w 596"/>
                <a:gd name="T29" fmla="*/ 435 h 703"/>
                <a:gd name="T30" fmla="*/ 592 w 596"/>
                <a:gd name="T31" fmla="*/ 340 h 703"/>
                <a:gd name="T32" fmla="*/ 594 w 596"/>
                <a:gd name="T33" fmla="*/ 256 h 703"/>
                <a:gd name="T34" fmla="*/ 572 w 596"/>
                <a:gd name="T35" fmla="*/ 172 h 703"/>
                <a:gd name="T36" fmla="*/ 528 w 596"/>
                <a:gd name="T37" fmla="*/ 102 h 703"/>
                <a:gd name="T38" fmla="*/ 464 w 596"/>
                <a:gd name="T39" fmla="*/ 47 h 703"/>
                <a:gd name="T40" fmla="*/ 386 w 596"/>
                <a:gd name="T41" fmla="*/ 12 h 703"/>
                <a:gd name="T42" fmla="*/ 298 w 596"/>
                <a:gd name="T43" fmla="*/ 0 h 703"/>
                <a:gd name="T44" fmla="*/ 469 w 596"/>
                <a:gd name="T45" fmla="*/ 470 h 703"/>
                <a:gd name="T46" fmla="*/ 407 w 596"/>
                <a:gd name="T47" fmla="*/ 587 h 703"/>
                <a:gd name="T48" fmla="*/ 393 w 596"/>
                <a:gd name="T49" fmla="*/ 644 h 703"/>
                <a:gd name="T50" fmla="*/ 353 w 596"/>
                <a:gd name="T51" fmla="*/ 428 h 703"/>
                <a:gd name="T52" fmla="*/ 416 w 596"/>
                <a:gd name="T53" fmla="*/ 392 h 703"/>
                <a:gd name="T54" fmla="*/ 425 w 596"/>
                <a:gd name="T55" fmla="*/ 361 h 703"/>
                <a:gd name="T56" fmla="*/ 408 w 596"/>
                <a:gd name="T57" fmla="*/ 329 h 703"/>
                <a:gd name="T58" fmla="*/ 366 w 596"/>
                <a:gd name="T59" fmla="*/ 312 h 703"/>
                <a:gd name="T60" fmla="*/ 330 w 596"/>
                <a:gd name="T61" fmla="*/ 341 h 703"/>
                <a:gd name="T62" fmla="*/ 300 w 596"/>
                <a:gd name="T63" fmla="*/ 383 h 703"/>
                <a:gd name="T64" fmla="*/ 273 w 596"/>
                <a:gd name="T65" fmla="*/ 319 h 703"/>
                <a:gd name="T66" fmla="*/ 244 w 596"/>
                <a:gd name="T67" fmla="*/ 305 h 703"/>
                <a:gd name="T68" fmla="*/ 203 w 596"/>
                <a:gd name="T69" fmla="*/ 324 h 703"/>
                <a:gd name="T70" fmla="*/ 186 w 596"/>
                <a:gd name="T71" fmla="*/ 357 h 703"/>
                <a:gd name="T72" fmla="*/ 203 w 596"/>
                <a:gd name="T73" fmla="*/ 391 h 703"/>
                <a:gd name="T74" fmla="*/ 293 w 596"/>
                <a:gd name="T75" fmla="*/ 440 h 703"/>
                <a:gd name="T76" fmla="*/ 202 w 596"/>
                <a:gd name="T77" fmla="*/ 641 h 703"/>
                <a:gd name="T78" fmla="*/ 177 w 596"/>
                <a:gd name="T79" fmla="*/ 555 h 703"/>
                <a:gd name="T80" fmla="*/ 126 w 596"/>
                <a:gd name="T81" fmla="*/ 469 h 703"/>
                <a:gd name="T82" fmla="*/ 75 w 596"/>
                <a:gd name="T83" fmla="*/ 386 h 703"/>
                <a:gd name="T84" fmla="*/ 56 w 596"/>
                <a:gd name="T85" fmla="*/ 303 h 703"/>
                <a:gd name="T86" fmla="*/ 74 w 596"/>
                <a:gd name="T87" fmla="*/ 198 h 703"/>
                <a:gd name="T88" fmla="*/ 143 w 596"/>
                <a:gd name="T89" fmla="*/ 108 h 703"/>
                <a:gd name="T90" fmla="*/ 273 w 596"/>
                <a:gd name="T91" fmla="*/ 58 h 703"/>
                <a:gd name="T92" fmla="*/ 391 w 596"/>
                <a:gd name="T93" fmla="*/ 74 h 703"/>
                <a:gd name="T94" fmla="*/ 486 w 596"/>
                <a:gd name="T95" fmla="*/ 141 h 703"/>
                <a:gd name="T96" fmla="*/ 539 w 596"/>
                <a:gd name="T97" fmla="*/ 265 h 703"/>
                <a:gd name="T98" fmla="*/ 535 w 596"/>
                <a:gd name="T99" fmla="*/ 343 h 703"/>
                <a:gd name="T100" fmla="*/ 489 w 596"/>
                <a:gd name="T101" fmla="*/ 442 h 703"/>
                <a:gd name="T102" fmla="*/ 325 w 596"/>
                <a:gd name="T103" fmla="*/ 390 h 703"/>
                <a:gd name="T104" fmla="*/ 365 w 596"/>
                <a:gd name="T105" fmla="*/ 329 h 703"/>
                <a:gd name="T106" fmla="*/ 393 w 596"/>
                <a:gd name="T107" fmla="*/ 335 h 703"/>
                <a:gd name="T108" fmla="*/ 412 w 596"/>
                <a:gd name="T109" fmla="*/ 366 h 703"/>
                <a:gd name="T110" fmla="*/ 402 w 596"/>
                <a:gd name="T111" fmla="*/ 387 h 703"/>
                <a:gd name="T112" fmla="*/ 315 w 596"/>
                <a:gd name="T113" fmla="*/ 423 h 703"/>
                <a:gd name="T114" fmla="*/ 246 w 596"/>
                <a:gd name="T115" fmla="*/ 404 h 703"/>
                <a:gd name="T116" fmla="*/ 202 w 596"/>
                <a:gd name="T117" fmla="*/ 364 h 703"/>
                <a:gd name="T118" fmla="*/ 216 w 596"/>
                <a:gd name="T119" fmla="*/ 333 h 703"/>
                <a:gd name="T120" fmla="*/ 242 w 596"/>
                <a:gd name="T121" fmla="*/ 321 h 703"/>
                <a:gd name="T122" fmla="*/ 269 w 596"/>
                <a:gd name="T123" fmla="*/ 344 h 703"/>
                <a:gd name="T124" fmla="*/ 289 w 596"/>
                <a:gd name="T125" fmla="*/ 424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6" h="703">
                  <a:moveTo>
                    <a:pt x="298" y="0"/>
                  </a:moveTo>
                  <a:lnTo>
                    <a:pt x="298" y="0"/>
                  </a:lnTo>
                  <a:lnTo>
                    <a:pt x="282" y="0"/>
                  </a:lnTo>
                  <a:lnTo>
                    <a:pt x="268" y="1"/>
                  </a:lnTo>
                  <a:lnTo>
                    <a:pt x="252" y="3"/>
                  </a:lnTo>
                  <a:lnTo>
                    <a:pt x="237" y="5"/>
                  </a:lnTo>
                  <a:lnTo>
                    <a:pt x="224" y="9"/>
                  </a:lnTo>
                  <a:lnTo>
                    <a:pt x="209" y="12"/>
                  </a:lnTo>
                  <a:lnTo>
                    <a:pt x="195" y="16"/>
                  </a:lnTo>
                  <a:lnTo>
                    <a:pt x="182" y="21"/>
                  </a:lnTo>
                  <a:lnTo>
                    <a:pt x="169" y="27"/>
                  </a:lnTo>
                  <a:lnTo>
                    <a:pt x="156" y="33"/>
                  </a:lnTo>
                  <a:lnTo>
                    <a:pt x="143" y="40"/>
                  </a:lnTo>
                  <a:lnTo>
                    <a:pt x="132" y="47"/>
                  </a:lnTo>
                  <a:lnTo>
                    <a:pt x="120" y="55"/>
                  </a:lnTo>
                  <a:lnTo>
                    <a:pt x="108" y="63"/>
                  </a:lnTo>
                  <a:lnTo>
                    <a:pt x="98" y="73"/>
                  </a:lnTo>
                  <a:lnTo>
                    <a:pt x="87" y="82"/>
                  </a:lnTo>
                  <a:lnTo>
                    <a:pt x="78" y="91"/>
                  </a:lnTo>
                  <a:lnTo>
                    <a:pt x="69" y="102"/>
                  </a:lnTo>
                  <a:lnTo>
                    <a:pt x="59" y="112"/>
                  </a:lnTo>
                  <a:lnTo>
                    <a:pt x="51" y="124"/>
                  </a:lnTo>
                  <a:lnTo>
                    <a:pt x="43" y="135"/>
                  </a:lnTo>
                  <a:lnTo>
                    <a:pt x="36" y="147"/>
                  </a:lnTo>
                  <a:lnTo>
                    <a:pt x="30" y="160"/>
                  </a:lnTo>
                  <a:lnTo>
                    <a:pt x="24" y="172"/>
                  </a:lnTo>
                  <a:lnTo>
                    <a:pt x="18" y="186"/>
                  </a:lnTo>
                  <a:lnTo>
                    <a:pt x="14" y="199"/>
                  </a:lnTo>
                  <a:lnTo>
                    <a:pt x="10" y="213"/>
                  </a:lnTo>
                  <a:lnTo>
                    <a:pt x="7" y="227"/>
                  </a:lnTo>
                  <a:lnTo>
                    <a:pt x="4" y="241"/>
                  </a:lnTo>
                  <a:lnTo>
                    <a:pt x="2" y="256"/>
                  </a:lnTo>
                  <a:lnTo>
                    <a:pt x="0" y="272"/>
                  </a:lnTo>
                  <a:lnTo>
                    <a:pt x="0" y="286"/>
                  </a:lnTo>
                  <a:lnTo>
                    <a:pt x="0" y="286"/>
                  </a:lnTo>
                  <a:lnTo>
                    <a:pt x="0" y="305"/>
                  </a:lnTo>
                  <a:lnTo>
                    <a:pt x="3" y="323"/>
                  </a:lnTo>
                  <a:lnTo>
                    <a:pt x="5" y="340"/>
                  </a:lnTo>
                  <a:lnTo>
                    <a:pt x="8" y="357"/>
                  </a:lnTo>
                  <a:lnTo>
                    <a:pt x="11" y="371"/>
                  </a:lnTo>
                  <a:lnTo>
                    <a:pt x="15" y="386"/>
                  </a:lnTo>
                  <a:lnTo>
                    <a:pt x="20" y="399"/>
                  </a:lnTo>
                  <a:lnTo>
                    <a:pt x="26" y="412"/>
                  </a:lnTo>
                  <a:lnTo>
                    <a:pt x="38" y="435"/>
                  </a:lnTo>
                  <a:lnTo>
                    <a:pt x="52" y="458"/>
                  </a:lnTo>
                  <a:lnTo>
                    <a:pt x="67" y="479"/>
                  </a:lnTo>
                  <a:lnTo>
                    <a:pt x="81" y="500"/>
                  </a:lnTo>
                  <a:lnTo>
                    <a:pt x="81" y="500"/>
                  </a:lnTo>
                  <a:lnTo>
                    <a:pt x="103" y="534"/>
                  </a:lnTo>
                  <a:lnTo>
                    <a:pt x="113" y="549"/>
                  </a:lnTo>
                  <a:lnTo>
                    <a:pt x="121" y="564"/>
                  </a:lnTo>
                  <a:lnTo>
                    <a:pt x="128" y="579"/>
                  </a:lnTo>
                  <a:lnTo>
                    <a:pt x="135" y="594"/>
                  </a:lnTo>
                  <a:lnTo>
                    <a:pt x="140" y="608"/>
                  </a:lnTo>
                  <a:lnTo>
                    <a:pt x="144" y="623"/>
                  </a:lnTo>
                  <a:lnTo>
                    <a:pt x="144" y="623"/>
                  </a:lnTo>
                  <a:lnTo>
                    <a:pt x="152" y="661"/>
                  </a:lnTo>
                  <a:lnTo>
                    <a:pt x="152" y="661"/>
                  </a:lnTo>
                  <a:lnTo>
                    <a:pt x="156" y="676"/>
                  </a:lnTo>
                  <a:lnTo>
                    <a:pt x="156" y="676"/>
                  </a:lnTo>
                  <a:lnTo>
                    <a:pt x="156" y="676"/>
                  </a:lnTo>
                  <a:lnTo>
                    <a:pt x="159" y="695"/>
                  </a:lnTo>
                  <a:lnTo>
                    <a:pt x="159" y="695"/>
                  </a:lnTo>
                  <a:lnTo>
                    <a:pt x="160" y="698"/>
                  </a:lnTo>
                  <a:lnTo>
                    <a:pt x="161" y="700"/>
                  </a:lnTo>
                  <a:lnTo>
                    <a:pt x="164" y="701"/>
                  </a:lnTo>
                  <a:lnTo>
                    <a:pt x="167" y="703"/>
                  </a:lnTo>
                  <a:lnTo>
                    <a:pt x="428" y="703"/>
                  </a:lnTo>
                  <a:lnTo>
                    <a:pt x="428" y="703"/>
                  </a:lnTo>
                  <a:lnTo>
                    <a:pt x="431" y="701"/>
                  </a:lnTo>
                  <a:lnTo>
                    <a:pt x="433" y="700"/>
                  </a:lnTo>
                  <a:lnTo>
                    <a:pt x="436" y="698"/>
                  </a:lnTo>
                  <a:lnTo>
                    <a:pt x="437" y="695"/>
                  </a:lnTo>
                  <a:lnTo>
                    <a:pt x="440" y="677"/>
                  </a:lnTo>
                  <a:lnTo>
                    <a:pt x="440" y="677"/>
                  </a:lnTo>
                  <a:lnTo>
                    <a:pt x="443" y="661"/>
                  </a:lnTo>
                  <a:lnTo>
                    <a:pt x="443" y="661"/>
                  </a:lnTo>
                  <a:lnTo>
                    <a:pt x="451" y="623"/>
                  </a:lnTo>
                  <a:lnTo>
                    <a:pt x="451" y="623"/>
                  </a:lnTo>
                  <a:lnTo>
                    <a:pt x="455" y="608"/>
                  </a:lnTo>
                  <a:lnTo>
                    <a:pt x="461" y="594"/>
                  </a:lnTo>
                  <a:lnTo>
                    <a:pt x="467" y="579"/>
                  </a:lnTo>
                  <a:lnTo>
                    <a:pt x="474" y="564"/>
                  </a:lnTo>
                  <a:lnTo>
                    <a:pt x="483" y="549"/>
                  </a:lnTo>
                  <a:lnTo>
                    <a:pt x="492" y="534"/>
                  </a:lnTo>
                  <a:lnTo>
                    <a:pt x="514" y="500"/>
                  </a:lnTo>
                  <a:lnTo>
                    <a:pt x="514" y="500"/>
                  </a:lnTo>
                  <a:lnTo>
                    <a:pt x="529" y="479"/>
                  </a:lnTo>
                  <a:lnTo>
                    <a:pt x="543" y="458"/>
                  </a:lnTo>
                  <a:lnTo>
                    <a:pt x="557" y="435"/>
                  </a:lnTo>
                  <a:lnTo>
                    <a:pt x="570" y="412"/>
                  </a:lnTo>
                  <a:lnTo>
                    <a:pt x="575" y="399"/>
                  </a:lnTo>
                  <a:lnTo>
                    <a:pt x="580" y="386"/>
                  </a:lnTo>
                  <a:lnTo>
                    <a:pt x="584" y="371"/>
                  </a:lnTo>
                  <a:lnTo>
                    <a:pt x="589" y="357"/>
                  </a:lnTo>
                  <a:lnTo>
                    <a:pt x="592" y="340"/>
                  </a:lnTo>
                  <a:lnTo>
                    <a:pt x="594" y="323"/>
                  </a:lnTo>
                  <a:lnTo>
                    <a:pt x="595" y="305"/>
                  </a:lnTo>
                  <a:lnTo>
                    <a:pt x="596" y="286"/>
                  </a:lnTo>
                  <a:lnTo>
                    <a:pt x="596" y="286"/>
                  </a:lnTo>
                  <a:lnTo>
                    <a:pt x="595" y="272"/>
                  </a:lnTo>
                  <a:lnTo>
                    <a:pt x="594" y="256"/>
                  </a:lnTo>
                  <a:lnTo>
                    <a:pt x="592" y="241"/>
                  </a:lnTo>
                  <a:lnTo>
                    <a:pt x="590" y="227"/>
                  </a:lnTo>
                  <a:lnTo>
                    <a:pt x="586" y="213"/>
                  </a:lnTo>
                  <a:lnTo>
                    <a:pt x="582" y="199"/>
                  </a:lnTo>
                  <a:lnTo>
                    <a:pt x="577" y="186"/>
                  </a:lnTo>
                  <a:lnTo>
                    <a:pt x="572" y="172"/>
                  </a:lnTo>
                  <a:lnTo>
                    <a:pt x="567" y="160"/>
                  </a:lnTo>
                  <a:lnTo>
                    <a:pt x="559" y="147"/>
                  </a:lnTo>
                  <a:lnTo>
                    <a:pt x="552" y="135"/>
                  </a:lnTo>
                  <a:lnTo>
                    <a:pt x="545" y="124"/>
                  </a:lnTo>
                  <a:lnTo>
                    <a:pt x="536" y="112"/>
                  </a:lnTo>
                  <a:lnTo>
                    <a:pt x="528" y="102"/>
                  </a:lnTo>
                  <a:lnTo>
                    <a:pt x="518" y="91"/>
                  </a:lnTo>
                  <a:lnTo>
                    <a:pt x="508" y="82"/>
                  </a:lnTo>
                  <a:lnTo>
                    <a:pt x="498" y="73"/>
                  </a:lnTo>
                  <a:lnTo>
                    <a:pt x="487" y="63"/>
                  </a:lnTo>
                  <a:lnTo>
                    <a:pt x="475" y="55"/>
                  </a:lnTo>
                  <a:lnTo>
                    <a:pt x="464" y="47"/>
                  </a:lnTo>
                  <a:lnTo>
                    <a:pt x="452" y="40"/>
                  </a:lnTo>
                  <a:lnTo>
                    <a:pt x="440" y="33"/>
                  </a:lnTo>
                  <a:lnTo>
                    <a:pt x="427" y="27"/>
                  </a:lnTo>
                  <a:lnTo>
                    <a:pt x="413" y="21"/>
                  </a:lnTo>
                  <a:lnTo>
                    <a:pt x="400" y="16"/>
                  </a:lnTo>
                  <a:lnTo>
                    <a:pt x="386" y="12"/>
                  </a:lnTo>
                  <a:lnTo>
                    <a:pt x="373" y="9"/>
                  </a:lnTo>
                  <a:lnTo>
                    <a:pt x="358" y="5"/>
                  </a:lnTo>
                  <a:lnTo>
                    <a:pt x="343" y="3"/>
                  </a:lnTo>
                  <a:lnTo>
                    <a:pt x="329" y="1"/>
                  </a:lnTo>
                  <a:lnTo>
                    <a:pt x="313" y="0"/>
                  </a:lnTo>
                  <a:lnTo>
                    <a:pt x="298" y="0"/>
                  </a:lnTo>
                  <a:lnTo>
                    <a:pt x="298" y="0"/>
                  </a:lnTo>
                  <a:close/>
                  <a:moveTo>
                    <a:pt x="476" y="459"/>
                  </a:moveTo>
                  <a:lnTo>
                    <a:pt x="470" y="469"/>
                  </a:lnTo>
                  <a:lnTo>
                    <a:pt x="470" y="469"/>
                  </a:lnTo>
                  <a:lnTo>
                    <a:pt x="469" y="470"/>
                  </a:lnTo>
                  <a:lnTo>
                    <a:pt x="469" y="470"/>
                  </a:lnTo>
                  <a:lnTo>
                    <a:pt x="446" y="507"/>
                  </a:lnTo>
                  <a:lnTo>
                    <a:pt x="436" y="523"/>
                  </a:lnTo>
                  <a:lnTo>
                    <a:pt x="426" y="539"/>
                  </a:lnTo>
                  <a:lnTo>
                    <a:pt x="419" y="555"/>
                  </a:lnTo>
                  <a:lnTo>
                    <a:pt x="412" y="570"/>
                  </a:lnTo>
                  <a:lnTo>
                    <a:pt x="407" y="587"/>
                  </a:lnTo>
                  <a:lnTo>
                    <a:pt x="402" y="603"/>
                  </a:lnTo>
                  <a:lnTo>
                    <a:pt x="402" y="603"/>
                  </a:lnTo>
                  <a:lnTo>
                    <a:pt x="394" y="640"/>
                  </a:lnTo>
                  <a:lnTo>
                    <a:pt x="394" y="640"/>
                  </a:lnTo>
                  <a:lnTo>
                    <a:pt x="393" y="644"/>
                  </a:lnTo>
                  <a:lnTo>
                    <a:pt x="393" y="644"/>
                  </a:lnTo>
                  <a:lnTo>
                    <a:pt x="393" y="646"/>
                  </a:lnTo>
                  <a:lnTo>
                    <a:pt x="310" y="646"/>
                  </a:lnTo>
                  <a:lnTo>
                    <a:pt x="310" y="438"/>
                  </a:lnTo>
                  <a:lnTo>
                    <a:pt x="310" y="438"/>
                  </a:lnTo>
                  <a:lnTo>
                    <a:pt x="335" y="433"/>
                  </a:lnTo>
                  <a:lnTo>
                    <a:pt x="353" y="428"/>
                  </a:lnTo>
                  <a:lnTo>
                    <a:pt x="371" y="422"/>
                  </a:lnTo>
                  <a:lnTo>
                    <a:pt x="388" y="414"/>
                  </a:lnTo>
                  <a:lnTo>
                    <a:pt x="396" y="409"/>
                  </a:lnTo>
                  <a:lnTo>
                    <a:pt x="404" y="404"/>
                  </a:lnTo>
                  <a:lnTo>
                    <a:pt x="410" y="399"/>
                  </a:lnTo>
                  <a:lnTo>
                    <a:pt x="416" y="392"/>
                  </a:lnTo>
                  <a:lnTo>
                    <a:pt x="421" y="386"/>
                  </a:lnTo>
                  <a:lnTo>
                    <a:pt x="424" y="379"/>
                  </a:lnTo>
                  <a:lnTo>
                    <a:pt x="424" y="379"/>
                  </a:lnTo>
                  <a:lnTo>
                    <a:pt x="425" y="372"/>
                  </a:lnTo>
                  <a:lnTo>
                    <a:pt x="426" y="367"/>
                  </a:lnTo>
                  <a:lnTo>
                    <a:pt x="425" y="361"/>
                  </a:lnTo>
                  <a:lnTo>
                    <a:pt x="424" y="355"/>
                  </a:lnTo>
                  <a:lnTo>
                    <a:pt x="422" y="348"/>
                  </a:lnTo>
                  <a:lnTo>
                    <a:pt x="418" y="342"/>
                  </a:lnTo>
                  <a:lnTo>
                    <a:pt x="413" y="336"/>
                  </a:lnTo>
                  <a:lnTo>
                    <a:pt x="408" y="329"/>
                  </a:lnTo>
                  <a:lnTo>
                    <a:pt x="408" y="329"/>
                  </a:lnTo>
                  <a:lnTo>
                    <a:pt x="399" y="322"/>
                  </a:lnTo>
                  <a:lnTo>
                    <a:pt x="390" y="316"/>
                  </a:lnTo>
                  <a:lnTo>
                    <a:pt x="381" y="313"/>
                  </a:lnTo>
                  <a:lnTo>
                    <a:pt x="373" y="312"/>
                  </a:lnTo>
                  <a:lnTo>
                    <a:pt x="373" y="312"/>
                  </a:lnTo>
                  <a:lnTo>
                    <a:pt x="366" y="312"/>
                  </a:lnTo>
                  <a:lnTo>
                    <a:pt x="360" y="314"/>
                  </a:lnTo>
                  <a:lnTo>
                    <a:pt x="355" y="316"/>
                  </a:lnTo>
                  <a:lnTo>
                    <a:pt x="349" y="320"/>
                  </a:lnTo>
                  <a:lnTo>
                    <a:pt x="343" y="324"/>
                  </a:lnTo>
                  <a:lnTo>
                    <a:pt x="339" y="329"/>
                  </a:lnTo>
                  <a:lnTo>
                    <a:pt x="330" y="341"/>
                  </a:lnTo>
                  <a:lnTo>
                    <a:pt x="321" y="355"/>
                  </a:lnTo>
                  <a:lnTo>
                    <a:pt x="314" y="369"/>
                  </a:lnTo>
                  <a:lnTo>
                    <a:pt x="309" y="384"/>
                  </a:lnTo>
                  <a:lnTo>
                    <a:pt x="303" y="397"/>
                  </a:lnTo>
                  <a:lnTo>
                    <a:pt x="303" y="397"/>
                  </a:lnTo>
                  <a:lnTo>
                    <a:pt x="300" y="383"/>
                  </a:lnTo>
                  <a:lnTo>
                    <a:pt x="296" y="367"/>
                  </a:lnTo>
                  <a:lnTo>
                    <a:pt x="292" y="351"/>
                  </a:lnTo>
                  <a:lnTo>
                    <a:pt x="285" y="337"/>
                  </a:lnTo>
                  <a:lnTo>
                    <a:pt x="281" y="330"/>
                  </a:lnTo>
                  <a:lnTo>
                    <a:pt x="277" y="324"/>
                  </a:lnTo>
                  <a:lnTo>
                    <a:pt x="273" y="319"/>
                  </a:lnTo>
                  <a:lnTo>
                    <a:pt x="268" y="314"/>
                  </a:lnTo>
                  <a:lnTo>
                    <a:pt x="263" y="310"/>
                  </a:lnTo>
                  <a:lnTo>
                    <a:pt x="256" y="307"/>
                  </a:lnTo>
                  <a:lnTo>
                    <a:pt x="250" y="305"/>
                  </a:lnTo>
                  <a:lnTo>
                    <a:pt x="244" y="305"/>
                  </a:lnTo>
                  <a:lnTo>
                    <a:pt x="244" y="305"/>
                  </a:lnTo>
                  <a:lnTo>
                    <a:pt x="235" y="306"/>
                  </a:lnTo>
                  <a:lnTo>
                    <a:pt x="226" y="308"/>
                  </a:lnTo>
                  <a:lnTo>
                    <a:pt x="217" y="314"/>
                  </a:lnTo>
                  <a:lnTo>
                    <a:pt x="208" y="319"/>
                  </a:lnTo>
                  <a:lnTo>
                    <a:pt x="208" y="319"/>
                  </a:lnTo>
                  <a:lnTo>
                    <a:pt x="203" y="324"/>
                  </a:lnTo>
                  <a:lnTo>
                    <a:pt x="198" y="329"/>
                  </a:lnTo>
                  <a:lnTo>
                    <a:pt x="193" y="335"/>
                  </a:lnTo>
                  <a:lnTo>
                    <a:pt x="190" y="340"/>
                  </a:lnTo>
                  <a:lnTo>
                    <a:pt x="188" y="345"/>
                  </a:lnTo>
                  <a:lnTo>
                    <a:pt x="186" y="351"/>
                  </a:lnTo>
                  <a:lnTo>
                    <a:pt x="186" y="357"/>
                  </a:lnTo>
                  <a:lnTo>
                    <a:pt x="187" y="362"/>
                  </a:lnTo>
                  <a:lnTo>
                    <a:pt x="187" y="362"/>
                  </a:lnTo>
                  <a:lnTo>
                    <a:pt x="189" y="370"/>
                  </a:lnTo>
                  <a:lnTo>
                    <a:pt x="192" y="378"/>
                  </a:lnTo>
                  <a:lnTo>
                    <a:pt x="198" y="384"/>
                  </a:lnTo>
                  <a:lnTo>
                    <a:pt x="203" y="391"/>
                  </a:lnTo>
                  <a:lnTo>
                    <a:pt x="210" y="397"/>
                  </a:lnTo>
                  <a:lnTo>
                    <a:pt x="217" y="404"/>
                  </a:lnTo>
                  <a:lnTo>
                    <a:pt x="234" y="414"/>
                  </a:lnTo>
                  <a:lnTo>
                    <a:pt x="252" y="424"/>
                  </a:lnTo>
                  <a:lnTo>
                    <a:pt x="268" y="431"/>
                  </a:lnTo>
                  <a:lnTo>
                    <a:pt x="293" y="440"/>
                  </a:lnTo>
                  <a:lnTo>
                    <a:pt x="293" y="646"/>
                  </a:lnTo>
                  <a:lnTo>
                    <a:pt x="203" y="646"/>
                  </a:lnTo>
                  <a:lnTo>
                    <a:pt x="203" y="646"/>
                  </a:lnTo>
                  <a:lnTo>
                    <a:pt x="203" y="644"/>
                  </a:lnTo>
                  <a:lnTo>
                    <a:pt x="203" y="644"/>
                  </a:lnTo>
                  <a:lnTo>
                    <a:pt x="202" y="641"/>
                  </a:lnTo>
                  <a:lnTo>
                    <a:pt x="202" y="641"/>
                  </a:lnTo>
                  <a:lnTo>
                    <a:pt x="193" y="603"/>
                  </a:lnTo>
                  <a:lnTo>
                    <a:pt x="193" y="603"/>
                  </a:lnTo>
                  <a:lnTo>
                    <a:pt x="189" y="587"/>
                  </a:lnTo>
                  <a:lnTo>
                    <a:pt x="184" y="570"/>
                  </a:lnTo>
                  <a:lnTo>
                    <a:pt x="177" y="555"/>
                  </a:lnTo>
                  <a:lnTo>
                    <a:pt x="169" y="539"/>
                  </a:lnTo>
                  <a:lnTo>
                    <a:pt x="160" y="523"/>
                  </a:lnTo>
                  <a:lnTo>
                    <a:pt x="150" y="507"/>
                  </a:lnTo>
                  <a:lnTo>
                    <a:pt x="126" y="470"/>
                  </a:lnTo>
                  <a:lnTo>
                    <a:pt x="126" y="470"/>
                  </a:lnTo>
                  <a:lnTo>
                    <a:pt x="126" y="469"/>
                  </a:lnTo>
                  <a:lnTo>
                    <a:pt x="119" y="459"/>
                  </a:lnTo>
                  <a:lnTo>
                    <a:pt x="119" y="459"/>
                  </a:lnTo>
                  <a:lnTo>
                    <a:pt x="106" y="442"/>
                  </a:lnTo>
                  <a:lnTo>
                    <a:pt x="95" y="424"/>
                  </a:lnTo>
                  <a:lnTo>
                    <a:pt x="84" y="406"/>
                  </a:lnTo>
                  <a:lnTo>
                    <a:pt x="75" y="386"/>
                  </a:lnTo>
                  <a:lnTo>
                    <a:pt x="67" y="365"/>
                  </a:lnTo>
                  <a:lnTo>
                    <a:pt x="63" y="355"/>
                  </a:lnTo>
                  <a:lnTo>
                    <a:pt x="61" y="343"/>
                  </a:lnTo>
                  <a:lnTo>
                    <a:pt x="58" y="330"/>
                  </a:lnTo>
                  <a:lnTo>
                    <a:pt x="57" y="317"/>
                  </a:lnTo>
                  <a:lnTo>
                    <a:pt x="56" y="303"/>
                  </a:lnTo>
                  <a:lnTo>
                    <a:pt x="56" y="288"/>
                  </a:lnTo>
                  <a:lnTo>
                    <a:pt x="56" y="288"/>
                  </a:lnTo>
                  <a:lnTo>
                    <a:pt x="57" y="265"/>
                  </a:lnTo>
                  <a:lnTo>
                    <a:pt x="60" y="242"/>
                  </a:lnTo>
                  <a:lnTo>
                    <a:pt x="65" y="219"/>
                  </a:lnTo>
                  <a:lnTo>
                    <a:pt x="74" y="198"/>
                  </a:lnTo>
                  <a:lnTo>
                    <a:pt x="83" y="177"/>
                  </a:lnTo>
                  <a:lnTo>
                    <a:pt x="96" y="158"/>
                  </a:lnTo>
                  <a:lnTo>
                    <a:pt x="110" y="141"/>
                  </a:lnTo>
                  <a:lnTo>
                    <a:pt x="126" y="124"/>
                  </a:lnTo>
                  <a:lnTo>
                    <a:pt x="126" y="124"/>
                  </a:lnTo>
                  <a:lnTo>
                    <a:pt x="143" y="108"/>
                  </a:lnTo>
                  <a:lnTo>
                    <a:pt x="163" y="95"/>
                  </a:lnTo>
                  <a:lnTo>
                    <a:pt x="183" y="83"/>
                  </a:lnTo>
                  <a:lnTo>
                    <a:pt x="204" y="74"/>
                  </a:lnTo>
                  <a:lnTo>
                    <a:pt x="227" y="66"/>
                  </a:lnTo>
                  <a:lnTo>
                    <a:pt x="250" y="61"/>
                  </a:lnTo>
                  <a:lnTo>
                    <a:pt x="273" y="58"/>
                  </a:lnTo>
                  <a:lnTo>
                    <a:pt x="298" y="57"/>
                  </a:lnTo>
                  <a:lnTo>
                    <a:pt x="298" y="57"/>
                  </a:lnTo>
                  <a:lnTo>
                    <a:pt x="322" y="58"/>
                  </a:lnTo>
                  <a:lnTo>
                    <a:pt x="346" y="61"/>
                  </a:lnTo>
                  <a:lnTo>
                    <a:pt x="369" y="66"/>
                  </a:lnTo>
                  <a:lnTo>
                    <a:pt x="391" y="74"/>
                  </a:lnTo>
                  <a:lnTo>
                    <a:pt x="413" y="83"/>
                  </a:lnTo>
                  <a:lnTo>
                    <a:pt x="433" y="95"/>
                  </a:lnTo>
                  <a:lnTo>
                    <a:pt x="452" y="108"/>
                  </a:lnTo>
                  <a:lnTo>
                    <a:pt x="470" y="124"/>
                  </a:lnTo>
                  <a:lnTo>
                    <a:pt x="470" y="124"/>
                  </a:lnTo>
                  <a:lnTo>
                    <a:pt x="486" y="141"/>
                  </a:lnTo>
                  <a:lnTo>
                    <a:pt x="499" y="158"/>
                  </a:lnTo>
                  <a:lnTo>
                    <a:pt x="512" y="177"/>
                  </a:lnTo>
                  <a:lnTo>
                    <a:pt x="521" y="198"/>
                  </a:lnTo>
                  <a:lnTo>
                    <a:pt x="530" y="219"/>
                  </a:lnTo>
                  <a:lnTo>
                    <a:pt x="535" y="242"/>
                  </a:lnTo>
                  <a:lnTo>
                    <a:pt x="539" y="265"/>
                  </a:lnTo>
                  <a:lnTo>
                    <a:pt x="540" y="288"/>
                  </a:lnTo>
                  <a:lnTo>
                    <a:pt x="540" y="288"/>
                  </a:lnTo>
                  <a:lnTo>
                    <a:pt x="539" y="303"/>
                  </a:lnTo>
                  <a:lnTo>
                    <a:pt x="538" y="317"/>
                  </a:lnTo>
                  <a:lnTo>
                    <a:pt x="537" y="330"/>
                  </a:lnTo>
                  <a:lnTo>
                    <a:pt x="535" y="343"/>
                  </a:lnTo>
                  <a:lnTo>
                    <a:pt x="532" y="355"/>
                  </a:lnTo>
                  <a:lnTo>
                    <a:pt x="529" y="366"/>
                  </a:lnTo>
                  <a:lnTo>
                    <a:pt x="521" y="386"/>
                  </a:lnTo>
                  <a:lnTo>
                    <a:pt x="512" y="406"/>
                  </a:lnTo>
                  <a:lnTo>
                    <a:pt x="500" y="424"/>
                  </a:lnTo>
                  <a:lnTo>
                    <a:pt x="489" y="442"/>
                  </a:lnTo>
                  <a:lnTo>
                    <a:pt x="476" y="459"/>
                  </a:lnTo>
                  <a:lnTo>
                    <a:pt x="476" y="459"/>
                  </a:lnTo>
                  <a:close/>
                  <a:moveTo>
                    <a:pt x="315" y="423"/>
                  </a:moveTo>
                  <a:lnTo>
                    <a:pt x="315" y="423"/>
                  </a:lnTo>
                  <a:lnTo>
                    <a:pt x="319" y="407"/>
                  </a:lnTo>
                  <a:lnTo>
                    <a:pt x="325" y="390"/>
                  </a:lnTo>
                  <a:lnTo>
                    <a:pt x="332" y="374"/>
                  </a:lnTo>
                  <a:lnTo>
                    <a:pt x="339" y="360"/>
                  </a:lnTo>
                  <a:lnTo>
                    <a:pt x="347" y="347"/>
                  </a:lnTo>
                  <a:lnTo>
                    <a:pt x="357" y="337"/>
                  </a:lnTo>
                  <a:lnTo>
                    <a:pt x="361" y="333"/>
                  </a:lnTo>
                  <a:lnTo>
                    <a:pt x="365" y="329"/>
                  </a:lnTo>
                  <a:lnTo>
                    <a:pt x="371" y="328"/>
                  </a:lnTo>
                  <a:lnTo>
                    <a:pt x="375" y="327"/>
                  </a:lnTo>
                  <a:lnTo>
                    <a:pt x="375" y="327"/>
                  </a:lnTo>
                  <a:lnTo>
                    <a:pt x="381" y="328"/>
                  </a:lnTo>
                  <a:lnTo>
                    <a:pt x="386" y="330"/>
                  </a:lnTo>
                  <a:lnTo>
                    <a:pt x="393" y="335"/>
                  </a:lnTo>
                  <a:lnTo>
                    <a:pt x="399" y="341"/>
                  </a:lnTo>
                  <a:lnTo>
                    <a:pt x="399" y="341"/>
                  </a:lnTo>
                  <a:lnTo>
                    <a:pt x="406" y="350"/>
                  </a:lnTo>
                  <a:lnTo>
                    <a:pt x="410" y="359"/>
                  </a:lnTo>
                  <a:lnTo>
                    <a:pt x="411" y="363"/>
                  </a:lnTo>
                  <a:lnTo>
                    <a:pt x="412" y="366"/>
                  </a:lnTo>
                  <a:lnTo>
                    <a:pt x="412" y="370"/>
                  </a:lnTo>
                  <a:lnTo>
                    <a:pt x="411" y="373"/>
                  </a:lnTo>
                  <a:lnTo>
                    <a:pt x="411" y="373"/>
                  </a:lnTo>
                  <a:lnTo>
                    <a:pt x="409" y="379"/>
                  </a:lnTo>
                  <a:lnTo>
                    <a:pt x="406" y="383"/>
                  </a:lnTo>
                  <a:lnTo>
                    <a:pt x="402" y="387"/>
                  </a:lnTo>
                  <a:lnTo>
                    <a:pt x="397" y="391"/>
                  </a:lnTo>
                  <a:lnTo>
                    <a:pt x="385" y="399"/>
                  </a:lnTo>
                  <a:lnTo>
                    <a:pt x="372" y="405"/>
                  </a:lnTo>
                  <a:lnTo>
                    <a:pt x="357" y="411"/>
                  </a:lnTo>
                  <a:lnTo>
                    <a:pt x="342" y="416"/>
                  </a:lnTo>
                  <a:lnTo>
                    <a:pt x="315" y="423"/>
                  </a:lnTo>
                  <a:lnTo>
                    <a:pt x="315" y="423"/>
                  </a:lnTo>
                  <a:close/>
                  <a:moveTo>
                    <a:pt x="289" y="424"/>
                  </a:moveTo>
                  <a:lnTo>
                    <a:pt x="289" y="424"/>
                  </a:lnTo>
                  <a:lnTo>
                    <a:pt x="275" y="418"/>
                  </a:lnTo>
                  <a:lnTo>
                    <a:pt x="260" y="411"/>
                  </a:lnTo>
                  <a:lnTo>
                    <a:pt x="246" y="404"/>
                  </a:lnTo>
                  <a:lnTo>
                    <a:pt x="232" y="395"/>
                  </a:lnTo>
                  <a:lnTo>
                    <a:pt x="221" y="387"/>
                  </a:lnTo>
                  <a:lnTo>
                    <a:pt x="211" y="378"/>
                  </a:lnTo>
                  <a:lnTo>
                    <a:pt x="207" y="373"/>
                  </a:lnTo>
                  <a:lnTo>
                    <a:pt x="204" y="369"/>
                  </a:lnTo>
                  <a:lnTo>
                    <a:pt x="202" y="364"/>
                  </a:lnTo>
                  <a:lnTo>
                    <a:pt x="201" y="360"/>
                  </a:lnTo>
                  <a:lnTo>
                    <a:pt x="201" y="360"/>
                  </a:lnTo>
                  <a:lnTo>
                    <a:pt x="201" y="352"/>
                  </a:lnTo>
                  <a:lnTo>
                    <a:pt x="203" y="346"/>
                  </a:lnTo>
                  <a:lnTo>
                    <a:pt x="208" y="339"/>
                  </a:lnTo>
                  <a:lnTo>
                    <a:pt x="216" y="333"/>
                  </a:lnTo>
                  <a:lnTo>
                    <a:pt x="216" y="333"/>
                  </a:lnTo>
                  <a:lnTo>
                    <a:pt x="223" y="327"/>
                  </a:lnTo>
                  <a:lnTo>
                    <a:pt x="229" y="324"/>
                  </a:lnTo>
                  <a:lnTo>
                    <a:pt x="235" y="322"/>
                  </a:lnTo>
                  <a:lnTo>
                    <a:pt x="242" y="321"/>
                  </a:lnTo>
                  <a:lnTo>
                    <a:pt x="242" y="321"/>
                  </a:lnTo>
                  <a:lnTo>
                    <a:pt x="247" y="322"/>
                  </a:lnTo>
                  <a:lnTo>
                    <a:pt x="252" y="324"/>
                  </a:lnTo>
                  <a:lnTo>
                    <a:pt x="256" y="327"/>
                  </a:lnTo>
                  <a:lnTo>
                    <a:pt x="260" y="333"/>
                  </a:lnTo>
                  <a:lnTo>
                    <a:pt x="265" y="338"/>
                  </a:lnTo>
                  <a:lnTo>
                    <a:pt x="269" y="344"/>
                  </a:lnTo>
                  <a:lnTo>
                    <a:pt x="275" y="359"/>
                  </a:lnTo>
                  <a:lnTo>
                    <a:pt x="280" y="375"/>
                  </a:lnTo>
                  <a:lnTo>
                    <a:pt x="285" y="392"/>
                  </a:lnTo>
                  <a:lnTo>
                    <a:pt x="287" y="409"/>
                  </a:lnTo>
                  <a:lnTo>
                    <a:pt x="289" y="424"/>
                  </a:lnTo>
                  <a:lnTo>
                    <a:pt x="289" y="424"/>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9" name="Freeform 52">
              <a:extLst>
                <a:ext uri="{FF2B5EF4-FFF2-40B4-BE49-F238E27FC236}">
                  <a16:creationId xmlns:a16="http://schemas.microsoft.com/office/drawing/2014/main" id="{B40CC998-328B-4FD1-99E1-1B1572397875}"/>
                </a:ext>
              </a:extLst>
            </p:cNvPr>
            <p:cNvSpPr>
              <a:spLocks/>
            </p:cNvSpPr>
            <p:nvPr/>
          </p:nvSpPr>
          <p:spPr bwMode="auto">
            <a:xfrm>
              <a:off x="2051050" y="6142038"/>
              <a:ext cx="209550" cy="23812"/>
            </a:xfrm>
            <a:custGeom>
              <a:avLst/>
              <a:gdLst>
                <a:gd name="T0" fmla="*/ 259 w 265"/>
                <a:gd name="T1" fmla="*/ 0 h 30"/>
                <a:gd name="T2" fmla="*/ 6 w 265"/>
                <a:gd name="T3" fmla="*/ 0 h 30"/>
                <a:gd name="T4" fmla="*/ 6 w 265"/>
                <a:gd name="T5" fmla="*/ 0 h 30"/>
                <a:gd name="T6" fmla="*/ 4 w 265"/>
                <a:gd name="T7" fmla="*/ 1 h 30"/>
                <a:gd name="T8" fmla="*/ 2 w 265"/>
                <a:gd name="T9" fmla="*/ 2 h 30"/>
                <a:gd name="T10" fmla="*/ 0 w 265"/>
                <a:gd name="T11" fmla="*/ 4 h 30"/>
                <a:gd name="T12" fmla="*/ 0 w 265"/>
                <a:gd name="T13" fmla="*/ 7 h 30"/>
                <a:gd name="T14" fmla="*/ 1 w 265"/>
                <a:gd name="T15" fmla="*/ 23 h 30"/>
                <a:gd name="T16" fmla="*/ 1 w 265"/>
                <a:gd name="T17" fmla="*/ 23 h 30"/>
                <a:gd name="T18" fmla="*/ 1 w 265"/>
                <a:gd name="T19" fmla="*/ 26 h 30"/>
                <a:gd name="T20" fmla="*/ 3 w 265"/>
                <a:gd name="T21" fmla="*/ 28 h 30"/>
                <a:gd name="T22" fmla="*/ 5 w 265"/>
                <a:gd name="T23" fmla="*/ 30 h 30"/>
                <a:gd name="T24" fmla="*/ 8 w 265"/>
                <a:gd name="T25" fmla="*/ 30 h 30"/>
                <a:gd name="T26" fmla="*/ 257 w 265"/>
                <a:gd name="T27" fmla="*/ 30 h 30"/>
                <a:gd name="T28" fmla="*/ 257 w 265"/>
                <a:gd name="T29" fmla="*/ 30 h 30"/>
                <a:gd name="T30" fmla="*/ 260 w 265"/>
                <a:gd name="T31" fmla="*/ 30 h 30"/>
                <a:gd name="T32" fmla="*/ 262 w 265"/>
                <a:gd name="T33" fmla="*/ 28 h 30"/>
                <a:gd name="T34" fmla="*/ 264 w 265"/>
                <a:gd name="T35" fmla="*/ 26 h 30"/>
                <a:gd name="T36" fmla="*/ 264 w 265"/>
                <a:gd name="T37" fmla="*/ 23 h 30"/>
                <a:gd name="T38" fmla="*/ 265 w 265"/>
                <a:gd name="T39" fmla="*/ 7 h 30"/>
                <a:gd name="T40" fmla="*/ 265 w 265"/>
                <a:gd name="T41" fmla="*/ 7 h 30"/>
                <a:gd name="T42" fmla="*/ 265 w 265"/>
                <a:gd name="T43" fmla="*/ 4 h 30"/>
                <a:gd name="T44" fmla="*/ 263 w 265"/>
                <a:gd name="T45" fmla="*/ 2 h 30"/>
                <a:gd name="T46" fmla="*/ 261 w 265"/>
                <a:gd name="T47" fmla="*/ 1 h 30"/>
                <a:gd name="T48" fmla="*/ 259 w 265"/>
                <a:gd name="T49" fmla="*/ 0 h 30"/>
                <a:gd name="T50" fmla="*/ 259 w 265"/>
                <a:gd name="T5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5" h="30">
                  <a:moveTo>
                    <a:pt x="259" y="0"/>
                  </a:moveTo>
                  <a:lnTo>
                    <a:pt x="6" y="0"/>
                  </a:lnTo>
                  <a:lnTo>
                    <a:pt x="6" y="0"/>
                  </a:lnTo>
                  <a:lnTo>
                    <a:pt x="4" y="1"/>
                  </a:lnTo>
                  <a:lnTo>
                    <a:pt x="2" y="2"/>
                  </a:lnTo>
                  <a:lnTo>
                    <a:pt x="0" y="4"/>
                  </a:lnTo>
                  <a:lnTo>
                    <a:pt x="0" y="7"/>
                  </a:lnTo>
                  <a:lnTo>
                    <a:pt x="1" y="23"/>
                  </a:lnTo>
                  <a:lnTo>
                    <a:pt x="1" y="23"/>
                  </a:lnTo>
                  <a:lnTo>
                    <a:pt x="1" y="26"/>
                  </a:lnTo>
                  <a:lnTo>
                    <a:pt x="3" y="28"/>
                  </a:lnTo>
                  <a:lnTo>
                    <a:pt x="5" y="30"/>
                  </a:lnTo>
                  <a:lnTo>
                    <a:pt x="8" y="30"/>
                  </a:lnTo>
                  <a:lnTo>
                    <a:pt x="257" y="30"/>
                  </a:lnTo>
                  <a:lnTo>
                    <a:pt x="257" y="30"/>
                  </a:lnTo>
                  <a:lnTo>
                    <a:pt x="260" y="30"/>
                  </a:lnTo>
                  <a:lnTo>
                    <a:pt x="262" y="28"/>
                  </a:lnTo>
                  <a:lnTo>
                    <a:pt x="264" y="26"/>
                  </a:lnTo>
                  <a:lnTo>
                    <a:pt x="264" y="23"/>
                  </a:lnTo>
                  <a:lnTo>
                    <a:pt x="265" y="7"/>
                  </a:lnTo>
                  <a:lnTo>
                    <a:pt x="265" y="7"/>
                  </a:lnTo>
                  <a:lnTo>
                    <a:pt x="265" y="4"/>
                  </a:lnTo>
                  <a:lnTo>
                    <a:pt x="263" y="2"/>
                  </a:lnTo>
                  <a:lnTo>
                    <a:pt x="261" y="1"/>
                  </a:lnTo>
                  <a:lnTo>
                    <a:pt x="259" y="0"/>
                  </a:lnTo>
                  <a:lnTo>
                    <a:pt x="259"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0" name="Freeform 53">
              <a:extLst>
                <a:ext uri="{FF2B5EF4-FFF2-40B4-BE49-F238E27FC236}">
                  <a16:creationId xmlns:a16="http://schemas.microsoft.com/office/drawing/2014/main" id="{8A1FD2FC-A08C-43B8-8D5F-C63416B4BD8B}"/>
                </a:ext>
              </a:extLst>
            </p:cNvPr>
            <p:cNvSpPr>
              <a:spLocks/>
            </p:cNvSpPr>
            <p:nvPr/>
          </p:nvSpPr>
          <p:spPr bwMode="auto">
            <a:xfrm>
              <a:off x="2052638" y="6183313"/>
              <a:ext cx="206375" cy="44450"/>
            </a:xfrm>
            <a:custGeom>
              <a:avLst/>
              <a:gdLst>
                <a:gd name="T0" fmla="*/ 7 w 261"/>
                <a:gd name="T1" fmla="*/ 0 h 57"/>
                <a:gd name="T2" fmla="*/ 2 w 261"/>
                <a:gd name="T3" fmla="*/ 1 h 57"/>
                <a:gd name="T4" fmla="*/ 0 w 261"/>
                <a:gd name="T5" fmla="*/ 4 h 57"/>
                <a:gd name="T6" fmla="*/ 0 w 261"/>
                <a:gd name="T7" fmla="*/ 5 h 57"/>
                <a:gd name="T8" fmla="*/ 1 w 261"/>
                <a:gd name="T9" fmla="*/ 12 h 57"/>
                <a:gd name="T10" fmla="*/ 7 w 261"/>
                <a:gd name="T11" fmla="*/ 25 h 57"/>
                <a:gd name="T12" fmla="*/ 20 w 261"/>
                <a:gd name="T13" fmla="*/ 35 h 57"/>
                <a:gd name="T14" fmla="*/ 35 w 261"/>
                <a:gd name="T15" fmla="*/ 41 h 57"/>
                <a:gd name="T16" fmla="*/ 43 w 261"/>
                <a:gd name="T17" fmla="*/ 42 h 57"/>
                <a:gd name="T18" fmla="*/ 70 w 261"/>
                <a:gd name="T19" fmla="*/ 42 h 57"/>
                <a:gd name="T20" fmla="*/ 77 w 261"/>
                <a:gd name="T21" fmla="*/ 42 h 57"/>
                <a:gd name="T22" fmla="*/ 77 w 261"/>
                <a:gd name="T23" fmla="*/ 42 h 57"/>
                <a:gd name="T24" fmla="*/ 77 w 261"/>
                <a:gd name="T25" fmla="*/ 43 h 57"/>
                <a:gd name="T26" fmla="*/ 78 w 261"/>
                <a:gd name="T27" fmla="*/ 49 h 57"/>
                <a:gd name="T28" fmla="*/ 86 w 261"/>
                <a:gd name="T29" fmla="*/ 56 h 57"/>
                <a:gd name="T30" fmla="*/ 92 w 261"/>
                <a:gd name="T31" fmla="*/ 57 h 57"/>
                <a:gd name="T32" fmla="*/ 106 w 261"/>
                <a:gd name="T33" fmla="*/ 57 h 57"/>
                <a:gd name="T34" fmla="*/ 152 w 261"/>
                <a:gd name="T35" fmla="*/ 57 h 57"/>
                <a:gd name="T36" fmla="*/ 158 w 261"/>
                <a:gd name="T37" fmla="*/ 57 h 57"/>
                <a:gd name="T38" fmla="*/ 169 w 261"/>
                <a:gd name="T39" fmla="*/ 57 h 57"/>
                <a:gd name="T40" fmla="*/ 180 w 261"/>
                <a:gd name="T41" fmla="*/ 53 h 57"/>
                <a:gd name="T42" fmla="*/ 185 w 261"/>
                <a:gd name="T43" fmla="*/ 47 h 57"/>
                <a:gd name="T44" fmla="*/ 185 w 261"/>
                <a:gd name="T45" fmla="*/ 43 h 57"/>
                <a:gd name="T46" fmla="*/ 185 w 261"/>
                <a:gd name="T47" fmla="*/ 42 h 57"/>
                <a:gd name="T48" fmla="*/ 185 w 261"/>
                <a:gd name="T49" fmla="*/ 42 h 57"/>
                <a:gd name="T50" fmla="*/ 194 w 261"/>
                <a:gd name="T51" fmla="*/ 42 h 57"/>
                <a:gd name="T52" fmla="*/ 218 w 261"/>
                <a:gd name="T53" fmla="*/ 42 h 57"/>
                <a:gd name="T54" fmla="*/ 234 w 261"/>
                <a:gd name="T55" fmla="*/ 39 h 57"/>
                <a:gd name="T56" fmla="*/ 248 w 261"/>
                <a:gd name="T57" fmla="*/ 31 h 57"/>
                <a:gd name="T58" fmla="*/ 258 w 261"/>
                <a:gd name="T59" fmla="*/ 18 h 57"/>
                <a:gd name="T60" fmla="*/ 261 w 261"/>
                <a:gd name="T61" fmla="*/ 5 h 57"/>
                <a:gd name="T62" fmla="*/ 261 w 261"/>
                <a:gd name="T63" fmla="*/ 4 h 57"/>
                <a:gd name="T64" fmla="*/ 260 w 261"/>
                <a:gd name="T65" fmla="*/ 3 h 57"/>
                <a:gd name="T66" fmla="*/ 254 w 261"/>
                <a:gd name="T6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1" h="57">
                  <a:moveTo>
                    <a:pt x="254" y="0"/>
                  </a:moveTo>
                  <a:lnTo>
                    <a:pt x="7" y="0"/>
                  </a:lnTo>
                  <a:lnTo>
                    <a:pt x="7" y="0"/>
                  </a:lnTo>
                  <a:lnTo>
                    <a:pt x="2" y="1"/>
                  </a:lnTo>
                  <a:lnTo>
                    <a:pt x="1" y="3"/>
                  </a:lnTo>
                  <a:lnTo>
                    <a:pt x="0" y="4"/>
                  </a:lnTo>
                  <a:lnTo>
                    <a:pt x="0" y="4"/>
                  </a:lnTo>
                  <a:lnTo>
                    <a:pt x="0" y="5"/>
                  </a:lnTo>
                  <a:lnTo>
                    <a:pt x="0" y="5"/>
                  </a:lnTo>
                  <a:lnTo>
                    <a:pt x="1" y="12"/>
                  </a:lnTo>
                  <a:lnTo>
                    <a:pt x="3" y="18"/>
                  </a:lnTo>
                  <a:lnTo>
                    <a:pt x="7" y="25"/>
                  </a:lnTo>
                  <a:lnTo>
                    <a:pt x="14" y="31"/>
                  </a:lnTo>
                  <a:lnTo>
                    <a:pt x="20" y="35"/>
                  </a:lnTo>
                  <a:lnTo>
                    <a:pt x="27" y="39"/>
                  </a:lnTo>
                  <a:lnTo>
                    <a:pt x="35" y="41"/>
                  </a:lnTo>
                  <a:lnTo>
                    <a:pt x="43" y="42"/>
                  </a:lnTo>
                  <a:lnTo>
                    <a:pt x="43" y="42"/>
                  </a:lnTo>
                  <a:lnTo>
                    <a:pt x="70" y="42"/>
                  </a:lnTo>
                  <a:lnTo>
                    <a:pt x="70" y="42"/>
                  </a:lnTo>
                  <a:lnTo>
                    <a:pt x="77" y="42"/>
                  </a:lnTo>
                  <a:lnTo>
                    <a:pt x="77" y="42"/>
                  </a:lnTo>
                  <a:lnTo>
                    <a:pt x="77" y="42"/>
                  </a:lnTo>
                  <a:lnTo>
                    <a:pt x="77" y="42"/>
                  </a:lnTo>
                  <a:lnTo>
                    <a:pt x="77" y="43"/>
                  </a:lnTo>
                  <a:lnTo>
                    <a:pt x="77" y="43"/>
                  </a:lnTo>
                  <a:lnTo>
                    <a:pt x="77" y="47"/>
                  </a:lnTo>
                  <a:lnTo>
                    <a:pt x="78" y="49"/>
                  </a:lnTo>
                  <a:lnTo>
                    <a:pt x="81" y="53"/>
                  </a:lnTo>
                  <a:lnTo>
                    <a:pt x="86" y="56"/>
                  </a:lnTo>
                  <a:lnTo>
                    <a:pt x="92" y="57"/>
                  </a:lnTo>
                  <a:lnTo>
                    <a:pt x="92" y="57"/>
                  </a:lnTo>
                  <a:lnTo>
                    <a:pt x="106" y="57"/>
                  </a:lnTo>
                  <a:lnTo>
                    <a:pt x="106" y="57"/>
                  </a:lnTo>
                  <a:lnTo>
                    <a:pt x="152" y="57"/>
                  </a:lnTo>
                  <a:lnTo>
                    <a:pt x="152" y="57"/>
                  </a:lnTo>
                  <a:lnTo>
                    <a:pt x="158" y="57"/>
                  </a:lnTo>
                  <a:lnTo>
                    <a:pt x="158" y="57"/>
                  </a:lnTo>
                  <a:lnTo>
                    <a:pt x="169" y="57"/>
                  </a:lnTo>
                  <a:lnTo>
                    <a:pt x="169" y="57"/>
                  </a:lnTo>
                  <a:lnTo>
                    <a:pt x="175" y="56"/>
                  </a:lnTo>
                  <a:lnTo>
                    <a:pt x="180" y="53"/>
                  </a:lnTo>
                  <a:lnTo>
                    <a:pt x="184" y="49"/>
                  </a:lnTo>
                  <a:lnTo>
                    <a:pt x="185" y="47"/>
                  </a:lnTo>
                  <a:lnTo>
                    <a:pt x="185" y="43"/>
                  </a:lnTo>
                  <a:lnTo>
                    <a:pt x="185" y="43"/>
                  </a:lnTo>
                  <a:lnTo>
                    <a:pt x="185" y="42"/>
                  </a:lnTo>
                  <a:lnTo>
                    <a:pt x="185" y="42"/>
                  </a:lnTo>
                  <a:lnTo>
                    <a:pt x="185" y="42"/>
                  </a:lnTo>
                  <a:lnTo>
                    <a:pt x="185" y="42"/>
                  </a:lnTo>
                  <a:lnTo>
                    <a:pt x="194" y="42"/>
                  </a:lnTo>
                  <a:lnTo>
                    <a:pt x="194" y="42"/>
                  </a:lnTo>
                  <a:lnTo>
                    <a:pt x="218" y="42"/>
                  </a:lnTo>
                  <a:lnTo>
                    <a:pt x="218" y="42"/>
                  </a:lnTo>
                  <a:lnTo>
                    <a:pt x="227" y="41"/>
                  </a:lnTo>
                  <a:lnTo>
                    <a:pt x="234" y="39"/>
                  </a:lnTo>
                  <a:lnTo>
                    <a:pt x="241" y="35"/>
                  </a:lnTo>
                  <a:lnTo>
                    <a:pt x="248" y="31"/>
                  </a:lnTo>
                  <a:lnTo>
                    <a:pt x="254" y="25"/>
                  </a:lnTo>
                  <a:lnTo>
                    <a:pt x="258" y="18"/>
                  </a:lnTo>
                  <a:lnTo>
                    <a:pt x="260" y="12"/>
                  </a:lnTo>
                  <a:lnTo>
                    <a:pt x="261" y="5"/>
                  </a:lnTo>
                  <a:lnTo>
                    <a:pt x="261" y="5"/>
                  </a:lnTo>
                  <a:lnTo>
                    <a:pt x="261" y="4"/>
                  </a:lnTo>
                  <a:lnTo>
                    <a:pt x="261" y="4"/>
                  </a:lnTo>
                  <a:lnTo>
                    <a:pt x="260" y="3"/>
                  </a:lnTo>
                  <a:lnTo>
                    <a:pt x="259" y="1"/>
                  </a:lnTo>
                  <a:lnTo>
                    <a:pt x="254" y="0"/>
                  </a:lnTo>
                  <a:lnTo>
                    <a:pt x="254" y="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1" name="Freeform 54">
              <a:extLst>
                <a:ext uri="{FF2B5EF4-FFF2-40B4-BE49-F238E27FC236}">
                  <a16:creationId xmlns:a16="http://schemas.microsoft.com/office/drawing/2014/main" id="{CA7FD4F9-FA26-4E22-AF51-94FD9A16FBA8}"/>
                </a:ext>
              </a:extLst>
            </p:cNvPr>
            <p:cNvSpPr>
              <a:spLocks/>
            </p:cNvSpPr>
            <p:nvPr/>
          </p:nvSpPr>
          <p:spPr bwMode="auto">
            <a:xfrm>
              <a:off x="2136775" y="5295900"/>
              <a:ext cx="39687" cy="174625"/>
            </a:xfrm>
            <a:custGeom>
              <a:avLst/>
              <a:gdLst>
                <a:gd name="T0" fmla="*/ 25 w 50"/>
                <a:gd name="T1" fmla="*/ 220 h 220"/>
                <a:gd name="T2" fmla="*/ 25 w 50"/>
                <a:gd name="T3" fmla="*/ 220 h 220"/>
                <a:gd name="T4" fmla="*/ 30 w 50"/>
                <a:gd name="T5" fmla="*/ 220 h 220"/>
                <a:gd name="T6" fmla="*/ 35 w 50"/>
                <a:gd name="T7" fmla="*/ 218 h 220"/>
                <a:gd name="T8" fmla="*/ 39 w 50"/>
                <a:gd name="T9" fmla="*/ 216 h 220"/>
                <a:gd name="T10" fmla="*/ 43 w 50"/>
                <a:gd name="T11" fmla="*/ 213 h 220"/>
                <a:gd name="T12" fmla="*/ 46 w 50"/>
                <a:gd name="T13" fmla="*/ 209 h 220"/>
                <a:gd name="T14" fmla="*/ 48 w 50"/>
                <a:gd name="T15" fmla="*/ 204 h 220"/>
                <a:gd name="T16" fmla="*/ 49 w 50"/>
                <a:gd name="T17" fmla="*/ 200 h 220"/>
                <a:gd name="T18" fmla="*/ 50 w 50"/>
                <a:gd name="T19" fmla="*/ 195 h 220"/>
                <a:gd name="T20" fmla="*/ 50 w 50"/>
                <a:gd name="T21" fmla="*/ 25 h 220"/>
                <a:gd name="T22" fmla="*/ 50 w 50"/>
                <a:gd name="T23" fmla="*/ 25 h 220"/>
                <a:gd name="T24" fmla="*/ 49 w 50"/>
                <a:gd name="T25" fmla="*/ 20 h 220"/>
                <a:gd name="T26" fmla="*/ 48 w 50"/>
                <a:gd name="T27" fmla="*/ 16 h 220"/>
                <a:gd name="T28" fmla="*/ 46 w 50"/>
                <a:gd name="T29" fmla="*/ 12 h 220"/>
                <a:gd name="T30" fmla="*/ 43 w 50"/>
                <a:gd name="T31" fmla="*/ 7 h 220"/>
                <a:gd name="T32" fmla="*/ 39 w 50"/>
                <a:gd name="T33" fmla="*/ 4 h 220"/>
                <a:gd name="T34" fmla="*/ 35 w 50"/>
                <a:gd name="T35" fmla="*/ 2 h 220"/>
                <a:gd name="T36" fmla="*/ 30 w 50"/>
                <a:gd name="T37" fmla="*/ 1 h 220"/>
                <a:gd name="T38" fmla="*/ 25 w 50"/>
                <a:gd name="T39" fmla="*/ 0 h 220"/>
                <a:gd name="T40" fmla="*/ 25 w 50"/>
                <a:gd name="T41" fmla="*/ 0 h 220"/>
                <a:gd name="T42" fmla="*/ 20 w 50"/>
                <a:gd name="T43" fmla="*/ 1 h 220"/>
                <a:gd name="T44" fmla="*/ 16 w 50"/>
                <a:gd name="T45" fmla="*/ 2 h 220"/>
                <a:gd name="T46" fmla="*/ 12 w 50"/>
                <a:gd name="T47" fmla="*/ 4 h 220"/>
                <a:gd name="T48" fmla="*/ 7 w 50"/>
                <a:gd name="T49" fmla="*/ 7 h 220"/>
                <a:gd name="T50" fmla="*/ 4 w 50"/>
                <a:gd name="T51" fmla="*/ 12 h 220"/>
                <a:gd name="T52" fmla="*/ 2 w 50"/>
                <a:gd name="T53" fmla="*/ 16 h 220"/>
                <a:gd name="T54" fmla="*/ 0 w 50"/>
                <a:gd name="T55" fmla="*/ 20 h 220"/>
                <a:gd name="T56" fmla="*/ 0 w 50"/>
                <a:gd name="T57" fmla="*/ 25 h 220"/>
                <a:gd name="T58" fmla="*/ 0 w 50"/>
                <a:gd name="T59" fmla="*/ 195 h 220"/>
                <a:gd name="T60" fmla="*/ 0 w 50"/>
                <a:gd name="T61" fmla="*/ 195 h 220"/>
                <a:gd name="T62" fmla="*/ 0 w 50"/>
                <a:gd name="T63" fmla="*/ 200 h 220"/>
                <a:gd name="T64" fmla="*/ 2 w 50"/>
                <a:gd name="T65" fmla="*/ 204 h 220"/>
                <a:gd name="T66" fmla="*/ 4 w 50"/>
                <a:gd name="T67" fmla="*/ 209 h 220"/>
                <a:gd name="T68" fmla="*/ 7 w 50"/>
                <a:gd name="T69" fmla="*/ 213 h 220"/>
                <a:gd name="T70" fmla="*/ 12 w 50"/>
                <a:gd name="T71" fmla="*/ 216 h 220"/>
                <a:gd name="T72" fmla="*/ 16 w 50"/>
                <a:gd name="T73" fmla="*/ 218 h 220"/>
                <a:gd name="T74" fmla="*/ 20 w 50"/>
                <a:gd name="T75" fmla="*/ 220 h 220"/>
                <a:gd name="T76" fmla="*/ 25 w 50"/>
                <a:gd name="T77" fmla="*/ 220 h 220"/>
                <a:gd name="T78" fmla="*/ 25 w 50"/>
                <a:gd name="T7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 h="220">
                  <a:moveTo>
                    <a:pt x="25" y="220"/>
                  </a:moveTo>
                  <a:lnTo>
                    <a:pt x="25" y="220"/>
                  </a:lnTo>
                  <a:lnTo>
                    <a:pt x="30" y="220"/>
                  </a:lnTo>
                  <a:lnTo>
                    <a:pt x="35" y="218"/>
                  </a:lnTo>
                  <a:lnTo>
                    <a:pt x="39" y="216"/>
                  </a:lnTo>
                  <a:lnTo>
                    <a:pt x="43" y="213"/>
                  </a:lnTo>
                  <a:lnTo>
                    <a:pt x="46" y="209"/>
                  </a:lnTo>
                  <a:lnTo>
                    <a:pt x="48" y="204"/>
                  </a:lnTo>
                  <a:lnTo>
                    <a:pt x="49" y="200"/>
                  </a:lnTo>
                  <a:lnTo>
                    <a:pt x="50" y="195"/>
                  </a:lnTo>
                  <a:lnTo>
                    <a:pt x="50" y="25"/>
                  </a:lnTo>
                  <a:lnTo>
                    <a:pt x="50" y="25"/>
                  </a:lnTo>
                  <a:lnTo>
                    <a:pt x="49" y="20"/>
                  </a:lnTo>
                  <a:lnTo>
                    <a:pt x="48" y="16"/>
                  </a:lnTo>
                  <a:lnTo>
                    <a:pt x="46" y="12"/>
                  </a:lnTo>
                  <a:lnTo>
                    <a:pt x="43" y="7"/>
                  </a:lnTo>
                  <a:lnTo>
                    <a:pt x="39" y="4"/>
                  </a:lnTo>
                  <a:lnTo>
                    <a:pt x="35" y="2"/>
                  </a:lnTo>
                  <a:lnTo>
                    <a:pt x="30" y="1"/>
                  </a:lnTo>
                  <a:lnTo>
                    <a:pt x="25" y="0"/>
                  </a:lnTo>
                  <a:lnTo>
                    <a:pt x="25" y="0"/>
                  </a:lnTo>
                  <a:lnTo>
                    <a:pt x="20" y="1"/>
                  </a:lnTo>
                  <a:lnTo>
                    <a:pt x="16" y="2"/>
                  </a:lnTo>
                  <a:lnTo>
                    <a:pt x="12" y="4"/>
                  </a:lnTo>
                  <a:lnTo>
                    <a:pt x="7" y="7"/>
                  </a:lnTo>
                  <a:lnTo>
                    <a:pt x="4" y="12"/>
                  </a:lnTo>
                  <a:lnTo>
                    <a:pt x="2" y="16"/>
                  </a:lnTo>
                  <a:lnTo>
                    <a:pt x="0" y="20"/>
                  </a:lnTo>
                  <a:lnTo>
                    <a:pt x="0" y="25"/>
                  </a:lnTo>
                  <a:lnTo>
                    <a:pt x="0" y="195"/>
                  </a:lnTo>
                  <a:lnTo>
                    <a:pt x="0" y="195"/>
                  </a:lnTo>
                  <a:lnTo>
                    <a:pt x="0" y="200"/>
                  </a:lnTo>
                  <a:lnTo>
                    <a:pt x="2" y="204"/>
                  </a:lnTo>
                  <a:lnTo>
                    <a:pt x="4" y="209"/>
                  </a:lnTo>
                  <a:lnTo>
                    <a:pt x="7" y="213"/>
                  </a:lnTo>
                  <a:lnTo>
                    <a:pt x="12" y="216"/>
                  </a:lnTo>
                  <a:lnTo>
                    <a:pt x="16" y="218"/>
                  </a:lnTo>
                  <a:lnTo>
                    <a:pt x="20" y="220"/>
                  </a:lnTo>
                  <a:lnTo>
                    <a:pt x="25" y="220"/>
                  </a:lnTo>
                  <a:lnTo>
                    <a:pt x="25" y="220"/>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2" name="Freeform 55">
              <a:extLst>
                <a:ext uri="{FF2B5EF4-FFF2-40B4-BE49-F238E27FC236}">
                  <a16:creationId xmlns:a16="http://schemas.microsoft.com/office/drawing/2014/main" id="{E0370F75-37C7-4E2B-83C4-421F903B75E7}"/>
                </a:ext>
              </a:extLst>
            </p:cNvPr>
            <p:cNvSpPr>
              <a:spLocks/>
            </p:cNvSpPr>
            <p:nvPr/>
          </p:nvSpPr>
          <p:spPr bwMode="auto">
            <a:xfrm>
              <a:off x="2319338" y="5378450"/>
              <a:ext cx="119062" cy="147637"/>
            </a:xfrm>
            <a:custGeom>
              <a:avLst/>
              <a:gdLst>
                <a:gd name="T0" fmla="*/ 10 w 151"/>
                <a:gd name="T1" fmla="*/ 182 h 186"/>
                <a:gd name="T2" fmla="*/ 10 w 151"/>
                <a:gd name="T3" fmla="*/ 182 h 186"/>
                <a:gd name="T4" fmla="*/ 13 w 151"/>
                <a:gd name="T5" fmla="*/ 184 h 186"/>
                <a:gd name="T6" fmla="*/ 16 w 151"/>
                <a:gd name="T7" fmla="*/ 185 h 186"/>
                <a:gd name="T8" fmla="*/ 21 w 151"/>
                <a:gd name="T9" fmla="*/ 186 h 186"/>
                <a:gd name="T10" fmla="*/ 25 w 151"/>
                <a:gd name="T11" fmla="*/ 186 h 186"/>
                <a:gd name="T12" fmla="*/ 25 w 151"/>
                <a:gd name="T13" fmla="*/ 186 h 186"/>
                <a:gd name="T14" fmla="*/ 30 w 151"/>
                <a:gd name="T15" fmla="*/ 186 h 186"/>
                <a:gd name="T16" fmla="*/ 36 w 151"/>
                <a:gd name="T17" fmla="*/ 184 h 186"/>
                <a:gd name="T18" fmla="*/ 41 w 151"/>
                <a:gd name="T19" fmla="*/ 181 h 186"/>
                <a:gd name="T20" fmla="*/ 45 w 151"/>
                <a:gd name="T21" fmla="*/ 177 h 186"/>
                <a:gd name="T22" fmla="*/ 145 w 151"/>
                <a:gd name="T23" fmla="*/ 40 h 186"/>
                <a:gd name="T24" fmla="*/ 145 w 151"/>
                <a:gd name="T25" fmla="*/ 40 h 186"/>
                <a:gd name="T26" fmla="*/ 148 w 151"/>
                <a:gd name="T27" fmla="*/ 35 h 186"/>
                <a:gd name="T28" fmla="*/ 150 w 151"/>
                <a:gd name="T29" fmla="*/ 31 h 186"/>
                <a:gd name="T30" fmla="*/ 151 w 151"/>
                <a:gd name="T31" fmla="*/ 26 h 186"/>
                <a:gd name="T32" fmla="*/ 151 w 151"/>
                <a:gd name="T33" fmla="*/ 21 h 186"/>
                <a:gd name="T34" fmla="*/ 148 w 151"/>
                <a:gd name="T35" fmla="*/ 17 h 186"/>
                <a:gd name="T36" fmla="*/ 146 w 151"/>
                <a:gd name="T37" fmla="*/ 12 h 186"/>
                <a:gd name="T38" fmla="*/ 144 w 151"/>
                <a:gd name="T39" fmla="*/ 8 h 186"/>
                <a:gd name="T40" fmla="*/ 140 w 151"/>
                <a:gd name="T41" fmla="*/ 5 h 186"/>
                <a:gd name="T42" fmla="*/ 140 w 151"/>
                <a:gd name="T43" fmla="*/ 5 h 186"/>
                <a:gd name="T44" fmla="*/ 136 w 151"/>
                <a:gd name="T45" fmla="*/ 2 h 186"/>
                <a:gd name="T46" fmla="*/ 132 w 151"/>
                <a:gd name="T47" fmla="*/ 1 h 186"/>
                <a:gd name="T48" fmla="*/ 126 w 151"/>
                <a:gd name="T49" fmla="*/ 0 h 186"/>
                <a:gd name="T50" fmla="*/ 121 w 151"/>
                <a:gd name="T51" fmla="*/ 1 h 186"/>
                <a:gd name="T52" fmla="*/ 117 w 151"/>
                <a:gd name="T53" fmla="*/ 2 h 186"/>
                <a:gd name="T54" fmla="*/ 113 w 151"/>
                <a:gd name="T55" fmla="*/ 4 h 186"/>
                <a:gd name="T56" fmla="*/ 109 w 151"/>
                <a:gd name="T57" fmla="*/ 6 h 186"/>
                <a:gd name="T58" fmla="*/ 106 w 151"/>
                <a:gd name="T59" fmla="*/ 10 h 186"/>
                <a:gd name="T60" fmla="*/ 5 w 151"/>
                <a:gd name="T61" fmla="*/ 147 h 186"/>
                <a:gd name="T62" fmla="*/ 5 w 151"/>
                <a:gd name="T63" fmla="*/ 147 h 186"/>
                <a:gd name="T64" fmla="*/ 2 w 151"/>
                <a:gd name="T65" fmla="*/ 151 h 186"/>
                <a:gd name="T66" fmla="*/ 1 w 151"/>
                <a:gd name="T67" fmla="*/ 156 h 186"/>
                <a:gd name="T68" fmla="*/ 0 w 151"/>
                <a:gd name="T69" fmla="*/ 160 h 186"/>
                <a:gd name="T70" fmla="*/ 0 w 151"/>
                <a:gd name="T71" fmla="*/ 165 h 186"/>
                <a:gd name="T72" fmla="*/ 1 w 151"/>
                <a:gd name="T73" fmla="*/ 170 h 186"/>
                <a:gd name="T74" fmla="*/ 3 w 151"/>
                <a:gd name="T75" fmla="*/ 175 h 186"/>
                <a:gd name="T76" fmla="*/ 6 w 151"/>
                <a:gd name="T77" fmla="*/ 178 h 186"/>
                <a:gd name="T78" fmla="*/ 10 w 151"/>
                <a:gd name="T79" fmla="*/ 182 h 186"/>
                <a:gd name="T80" fmla="*/ 10 w 151"/>
                <a:gd name="T81"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186">
                  <a:moveTo>
                    <a:pt x="10" y="182"/>
                  </a:moveTo>
                  <a:lnTo>
                    <a:pt x="10" y="182"/>
                  </a:lnTo>
                  <a:lnTo>
                    <a:pt x="13" y="184"/>
                  </a:lnTo>
                  <a:lnTo>
                    <a:pt x="16" y="185"/>
                  </a:lnTo>
                  <a:lnTo>
                    <a:pt x="21" y="186"/>
                  </a:lnTo>
                  <a:lnTo>
                    <a:pt x="25" y="186"/>
                  </a:lnTo>
                  <a:lnTo>
                    <a:pt x="25" y="186"/>
                  </a:lnTo>
                  <a:lnTo>
                    <a:pt x="30" y="186"/>
                  </a:lnTo>
                  <a:lnTo>
                    <a:pt x="36" y="184"/>
                  </a:lnTo>
                  <a:lnTo>
                    <a:pt x="41" y="181"/>
                  </a:lnTo>
                  <a:lnTo>
                    <a:pt x="45" y="177"/>
                  </a:lnTo>
                  <a:lnTo>
                    <a:pt x="145" y="40"/>
                  </a:lnTo>
                  <a:lnTo>
                    <a:pt x="145" y="40"/>
                  </a:lnTo>
                  <a:lnTo>
                    <a:pt x="148" y="35"/>
                  </a:lnTo>
                  <a:lnTo>
                    <a:pt x="150" y="31"/>
                  </a:lnTo>
                  <a:lnTo>
                    <a:pt x="151" y="26"/>
                  </a:lnTo>
                  <a:lnTo>
                    <a:pt x="151" y="21"/>
                  </a:lnTo>
                  <a:lnTo>
                    <a:pt x="148" y="17"/>
                  </a:lnTo>
                  <a:lnTo>
                    <a:pt x="146" y="12"/>
                  </a:lnTo>
                  <a:lnTo>
                    <a:pt x="144" y="8"/>
                  </a:lnTo>
                  <a:lnTo>
                    <a:pt x="140" y="5"/>
                  </a:lnTo>
                  <a:lnTo>
                    <a:pt x="140" y="5"/>
                  </a:lnTo>
                  <a:lnTo>
                    <a:pt x="136" y="2"/>
                  </a:lnTo>
                  <a:lnTo>
                    <a:pt x="132" y="1"/>
                  </a:lnTo>
                  <a:lnTo>
                    <a:pt x="126" y="0"/>
                  </a:lnTo>
                  <a:lnTo>
                    <a:pt x="121" y="1"/>
                  </a:lnTo>
                  <a:lnTo>
                    <a:pt x="117" y="2"/>
                  </a:lnTo>
                  <a:lnTo>
                    <a:pt x="113" y="4"/>
                  </a:lnTo>
                  <a:lnTo>
                    <a:pt x="109" y="6"/>
                  </a:lnTo>
                  <a:lnTo>
                    <a:pt x="106" y="10"/>
                  </a:lnTo>
                  <a:lnTo>
                    <a:pt x="5" y="147"/>
                  </a:lnTo>
                  <a:lnTo>
                    <a:pt x="5" y="147"/>
                  </a:lnTo>
                  <a:lnTo>
                    <a:pt x="2" y="151"/>
                  </a:lnTo>
                  <a:lnTo>
                    <a:pt x="1" y="156"/>
                  </a:lnTo>
                  <a:lnTo>
                    <a:pt x="0" y="160"/>
                  </a:lnTo>
                  <a:lnTo>
                    <a:pt x="0" y="165"/>
                  </a:lnTo>
                  <a:lnTo>
                    <a:pt x="1" y="170"/>
                  </a:lnTo>
                  <a:lnTo>
                    <a:pt x="3" y="175"/>
                  </a:lnTo>
                  <a:lnTo>
                    <a:pt x="6" y="178"/>
                  </a:lnTo>
                  <a:lnTo>
                    <a:pt x="10" y="182"/>
                  </a:lnTo>
                  <a:lnTo>
                    <a:pt x="10" y="182"/>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3" name="Freeform 56">
              <a:extLst>
                <a:ext uri="{FF2B5EF4-FFF2-40B4-BE49-F238E27FC236}">
                  <a16:creationId xmlns:a16="http://schemas.microsoft.com/office/drawing/2014/main" id="{3C028D44-8C45-4A32-B885-9DEF8C17E611}"/>
                </a:ext>
              </a:extLst>
            </p:cNvPr>
            <p:cNvSpPr>
              <a:spLocks/>
            </p:cNvSpPr>
            <p:nvPr/>
          </p:nvSpPr>
          <p:spPr bwMode="auto">
            <a:xfrm>
              <a:off x="2432050" y="5595938"/>
              <a:ext cx="166687" cy="80962"/>
            </a:xfrm>
            <a:custGeom>
              <a:avLst/>
              <a:gdLst>
                <a:gd name="T0" fmla="*/ 24 w 211"/>
                <a:gd name="T1" fmla="*/ 103 h 103"/>
                <a:gd name="T2" fmla="*/ 24 w 211"/>
                <a:gd name="T3" fmla="*/ 103 h 103"/>
                <a:gd name="T4" fmla="*/ 33 w 211"/>
                <a:gd name="T5" fmla="*/ 102 h 103"/>
                <a:gd name="T6" fmla="*/ 194 w 211"/>
                <a:gd name="T7" fmla="*/ 49 h 103"/>
                <a:gd name="T8" fmla="*/ 194 w 211"/>
                <a:gd name="T9" fmla="*/ 49 h 103"/>
                <a:gd name="T10" fmla="*/ 198 w 211"/>
                <a:gd name="T11" fmla="*/ 48 h 103"/>
                <a:gd name="T12" fmla="*/ 202 w 211"/>
                <a:gd name="T13" fmla="*/ 44 h 103"/>
                <a:gd name="T14" fmla="*/ 206 w 211"/>
                <a:gd name="T15" fmla="*/ 41 h 103"/>
                <a:gd name="T16" fmla="*/ 209 w 211"/>
                <a:gd name="T17" fmla="*/ 37 h 103"/>
                <a:gd name="T18" fmla="*/ 209 w 211"/>
                <a:gd name="T19" fmla="*/ 37 h 103"/>
                <a:gd name="T20" fmla="*/ 210 w 211"/>
                <a:gd name="T21" fmla="*/ 32 h 103"/>
                <a:gd name="T22" fmla="*/ 211 w 211"/>
                <a:gd name="T23" fmla="*/ 28 h 103"/>
                <a:gd name="T24" fmla="*/ 211 w 211"/>
                <a:gd name="T25" fmla="*/ 22 h 103"/>
                <a:gd name="T26" fmla="*/ 210 w 211"/>
                <a:gd name="T27" fmla="*/ 17 h 103"/>
                <a:gd name="T28" fmla="*/ 210 w 211"/>
                <a:gd name="T29" fmla="*/ 17 h 103"/>
                <a:gd name="T30" fmla="*/ 209 w 211"/>
                <a:gd name="T31" fmla="*/ 14 h 103"/>
                <a:gd name="T32" fmla="*/ 207 w 211"/>
                <a:gd name="T33" fmla="*/ 11 h 103"/>
                <a:gd name="T34" fmla="*/ 200 w 211"/>
                <a:gd name="T35" fmla="*/ 5 h 103"/>
                <a:gd name="T36" fmla="*/ 194 w 211"/>
                <a:gd name="T37" fmla="*/ 1 h 103"/>
                <a:gd name="T38" fmla="*/ 190 w 211"/>
                <a:gd name="T39" fmla="*/ 0 h 103"/>
                <a:gd name="T40" fmla="*/ 186 w 211"/>
                <a:gd name="T41" fmla="*/ 0 h 103"/>
                <a:gd name="T42" fmla="*/ 186 w 211"/>
                <a:gd name="T43" fmla="*/ 0 h 103"/>
                <a:gd name="T44" fmla="*/ 178 w 211"/>
                <a:gd name="T45" fmla="*/ 1 h 103"/>
                <a:gd name="T46" fmla="*/ 17 w 211"/>
                <a:gd name="T47" fmla="*/ 54 h 103"/>
                <a:gd name="T48" fmla="*/ 17 w 211"/>
                <a:gd name="T49" fmla="*/ 54 h 103"/>
                <a:gd name="T50" fmla="*/ 13 w 211"/>
                <a:gd name="T51" fmla="*/ 56 h 103"/>
                <a:gd name="T52" fmla="*/ 9 w 211"/>
                <a:gd name="T53" fmla="*/ 59 h 103"/>
                <a:gd name="T54" fmla="*/ 5 w 211"/>
                <a:gd name="T55" fmla="*/ 62 h 103"/>
                <a:gd name="T56" fmla="*/ 2 w 211"/>
                <a:gd name="T57" fmla="*/ 66 h 103"/>
                <a:gd name="T58" fmla="*/ 0 w 211"/>
                <a:gd name="T59" fmla="*/ 71 h 103"/>
                <a:gd name="T60" fmla="*/ 0 w 211"/>
                <a:gd name="T61" fmla="*/ 76 h 103"/>
                <a:gd name="T62" fmla="*/ 0 w 211"/>
                <a:gd name="T63" fmla="*/ 80 h 103"/>
                <a:gd name="T64" fmla="*/ 1 w 211"/>
                <a:gd name="T65" fmla="*/ 85 h 103"/>
                <a:gd name="T66" fmla="*/ 1 w 211"/>
                <a:gd name="T67" fmla="*/ 85 h 103"/>
                <a:gd name="T68" fmla="*/ 2 w 211"/>
                <a:gd name="T69" fmla="*/ 90 h 103"/>
                <a:gd name="T70" fmla="*/ 4 w 211"/>
                <a:gd name="T71" fmla="*/ 93 h 103"/>
                <a:gd name="T72" fmla="*/ 10 w 211"/>
                <a:gd name="T73" fmla="*/ 98 h 103"/>
                <a:gd name="T74" fmla="*/ 17 w 211"/>
                <a:gd name="T75" fmla="*/ 102 h 103"/>
                <a:gd name="T76" fmla="*/ 21 w 211"/>
                <a:gd name="T77" fmla="*/ 102 h 103"/>
                <a:gd name="T78" fmla="*/ 24 w 211"/>
                <a:gd name="T79" fmla="*/ 103 h 103"/>
                <a:gd name="T80" fmla="*/ 24 w 211"/>
                <a:gd name="T8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103">
                  <a:moveTo>
                    <a:pt x="24" y="103"/>
                  </a:moveTo>
                  <a:lnTo>
                    <a:pt x="24" y="103"/>
                  </a:lnTo>
                  <a:lnTo>
                    <a:pt x="33" y="102"/>
                  </a:lnTo>
                  <a:lnTo>
                    <a:pt x="194" y="49"/>
                  </a:lnTo>
                  <a:lnTo>
                    <a:pt x="194" y="49"/>
                  </a:lnTo>
                  <a:lnTo>
                    <a:pt x="198" y="48"/>
                  </a:lnTo>
                  <a:lnTo>
                    <a:pt x="202" y="44"/>
                  </a:lnTo>
                  <a:lnTo>
                    <a:pt x="206" y="41"/>
                  </a:lnTo>
                  <a:lnTo>
                    <a:pt x="209" y="37"/>
                  </a:lnTo>
                  <a:lnTo>
                    <a:pt x="209" y="37"/>
                  </a:lnTo>
                  <a:lnTo>
                    <a:pt x="210" y="32"/>
                  </a:lnTo>
                  <a:lnTo>
                    <a:pt x="211" y="28"/>
                  </a:lnTo>
                  <a:lnTo>
                    <a:pt x="211" y="22"/>
                  </a:lnTo>
                  <a:lnTo>
                    <a:pt x="210" y="17"/>
                  </a:lnTo>
                  <a:lnTo>
                    <a:pt x="210" y="17"/>
                  </a:lnTo>
                  <a:lnTo>
                    <a:pt x="209" y="14"/>
                  </a:lnTo>
                  <a:lnTo>
                    <a:pt x="207" y="11"/>
                  </a:lnTo>
                  <a:lnTo>
                    <a:pt x="200" y="5"/>
                  </a:lnTo>
                  <a:lnTo>
                    <a:pt x="194" y="1"/>
                  </a:lnTo>
                  <a:lnTo>
                    <a:pt x="190" y="0"/>
                  </a:lnTo>
                  <a:lnTo>
                    <a:pt x="186" y="0"/>
                  </a:lnTo>
                  <a:lnTo>
                    <a:pt x="186" y="0"/>
                  </a:lnTo>
                  <a:lnTo>
                    <a:pt x="178" y="1"/>
                  </a:lnTo>
                  <a:lnTo>
                    <a:pt x="17" y="54"/>
                  </a:lnTo>
                  <a:lnTo>
                    <a:pt x="17" y="54"/>
                  </a:lnTo>
                  <a:lnTo>
                    <a:pt x="13" y="56"/>
                  </a:lnTo>
                  <a:lnTo>
                    <a:pt x="9" y="59"/>
                  </a:lnTo>
                  <a:lnTo>
                    <a:pt x="5" y="62"/>
                  </a:lnTo>
                  <a:lnTo>
                    <a:pt x="2" y="66"/>
                  </a:lnTo>
                  <a:lnTo>
                    <a:pt x="0" y="71"/>
                  </a:lnTo>
                  <a:lnTo>
                    <a:pt x="0" y="76"/>
                  </a:lnTo>
                  <a:lnTo>
                    <a:pt x="0" y="80"/>
                  </a:lnTo>
                  <a:lnTo>
                    <a:pt x="1" y="85"/>
                  </a:lnTo>
                  <a:lnTo>
                    <a:pt x="1" y="85"/>
                  </a:lnTo>
                  <a:lnTo>
                    <a:pt x="2" y="90"/>
                  </a:lnTo>
                  <a:lnTo>
                    <a:pt x="4" y="93"/>
                  </a:lnTo>
                  <a:lnTo>
                    <a:pt x="10" y="98"/>
                  </a:lnTo>
                  <a:lnTo>
                    <a:pt x="17" y="102"/>
                  </a:lnTo>
                  <a:lnTo>
                    <a:pt x="21" y="102"/>
                  </a:lnTo>
                  <a:lnTo>
                    <a:pt x="24" y="103"/>
                  </a:lnTo>
                  <a:lnTo>
                    <a:pt x="24" y="103"/>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4" name="Freeform 57">
              <a:extLst>
                <a:ext uri="{FF2B5EF4-FFF2-40B4-BE49-F238E27FC236}">
                  <a16:creationId xmlns:a16="http://schemas.microsoft.com/office/drawing/2014/main" id="{4020FA5E-D642-41DF-AB55-ABD47163F877}"/>
                </a:ext>
              </a:extLst>
            </p:cNvPr>
            <p:cNvSpPr>
              <a:spLocks/>
            </p:cNvSpPr>
            <p:nvPr/>
          </p:nvSpPr>
          <p:spPr bwMode="auto">
            <a:xfrm>
              <a:off x="2432050" y="5824538"/>
              <a:ext cx="166687" cy="80962"/>
            </a:xfrm>
            <a:custGeom>
              <a:avLst/>
              <a:gdLst>
                <a:gd name="T0" fmla="*/ 209 w 212"/>
                <a:gd name="T1" fmla="*/ 65 h 101"/>
                <a:gd name="T2" fmla="*/ 209 w 212"/>
                <a:gd name="T3" fmla="*/ 65 h 101"/>
                <a:gd name="T4" fmla="*/ 206 w 212"/>
                <a:gd name="T5" fmla="*/ 61 h 101"/>
                <a:gd name="T6" fmla="*/ 202 w 212"/>
                <a:gd name="T7" fmla="*/ 57 h 101"/>
                <a:gd name="T8" fmla="*/ 198 w 212"/>
                <a:gd name="T9" fmla="*/ 54 h 101"/>
                <a:gd name="T10" fmla="*/ 194 w 212"/>
                <a:gd name="T11" fmla="*/ 52 h 101"/>
                <a:gd name="T12" fmla="*/ 34 w 212"/>
                <a:gd name="T13" fmla="*/ 1 h 101"/>
                <a:gd name="T14" fmla="*/ 34 w 212"/>
                <a:gd name="T15" fmla="*/ 1 h 101"/>
                <a:gd name="T16" fmla="*/ 28 w 212"/>
                <a:gd name="T17" fmla="*/ 0 h 101"/>
                <a:gd name="T18" fmla="*/ 23 w 212"/>
                <a:gd name="T19" fmla="*/ 0 h 101"/>
                <a:gd name="T20" fmla="*/ 19 w 212"/>
                <a:gd name="T21" fmla="*/ 0 h 101"/>
                <a:gd name="T22" fmla="*/ 14 w 212"/>
                <a:gd name="T23" fmla="*/ 2 h 101"/>
                <a:gd name="T24" fmla="*/ 10 w 212"/>
                <a:gd name="T25" fmla="*/ 5 h 101"/>
                <a:gd name="T26" fmla="*/ 6 w 212"/>
                <a:gd name="T27" fmla="*/ 8 h 101"/>
                <a:gd name="T28" fmla="*/ 3 w 212"/>
                <a:gd name="T29" fmla="*/ 12 h 101"/>
                <a:gd name="T30" fmla="*/ 1 w 212"/>
                <a:gd name="T31" fmla="*/ 16 h 101"/>
                <a:gd name="T32" fmla="*/ 1 w 212"/>
                <a:gd name="T33" fmla="*/ 16 h 101"/>
                <a:gd name="T34" fmla="*/ 0 w 212"/>
                <a:gd name="T35" fmla="*/ 22 h 101"/>
                <a:gd name="T36" fmla="*/ 0 w 212"/>
                <a:gd name="T37" fmla="*/ 26 h 101"/>
                <a:gd name="T38" fmla="*/ 1 w 212"/>
                <a:gd name="T39" fmla="*/ 31 h 101"/>
                <a:gd name="T40" fmla="*/ 3 w 212"/>
                <a:gd name="T41" fmla="*/ 35 h 101"/>
                <a:gd name="T42" fmla="*/ 5 w 212"/>
                <a:gd name="T43" fmla="*/ 40 h 101"/>
                <a:gd name="T44" fmla="*/ 10 w 212"/>
                <a:gd name="T45" fmla="*/ 43 h 101"/>
                <a:gd name="T46" fmla="*/ 13 w 212"/>
                <a:gd name="T47" fmla="*/ 46 h 101"/>
                <a:gd name="T48" fmla="*/ 18 w 212"/>
                <a:gd name="T49" fmla="*/ 48 h 101"/>
                <a:gd name="T50" fmla="*/ 178 w 212"/>
                <a:gd name="T51" fmla="*/ 100 h 101"/>
                <a:gd name="T52" fmla="*/ 178 w 212"/>
                <a:gd name="T53" fmla="*/ 100 h 101"/>
                <a:gd name="T54" fmla="*/ 187 w 212"/>
                <a:gd name="T55" fmla="*/ 101 h 101"/>
                <a:gd name="T56" fmla="*/ 187 w 212"/>
                <a:gd name="T57" fmla="*/ 101 h 101"/>
                <a:gd name="T58" fmla="*/ 191 w 212"/>
                <a:gd name="T59" fmla="*/ 101 h 101"/>
                <a:gd name="T60" fmla="*/ 194 w 212"/>
                <a:gd name="T61" fmla="*/ 100 h 101"/>
                <a:gd name="T62" fmla="*/ 201 w 212"/>
                <a:gd name="T63" fmla="*/ 97 h 101"/>
                <a:gd name="T64" fmla="*/ 207 w 212"/>
                <a:gd name="T65" fmla="*/ 91 h 101"/>
                <a:gd name="T66" fmla="*/ 209 w 212"/>
                <a:gd name="T67" fmla="*/ 88 h 101"/>
                <a:gd name="T68" fmla="*/ 210 w 212"/>
                <a:gd name="T69" fmla="*/ 85 h 101"/>
                <a:gd name="T70" fmla="*/ 210 w 212"/>
                <a:gd name="T71" fmla="*/ 85 h 101"/>
                <a:gd name="T72" fmla="*/ 211 w 212"/>
                <a:gd name="T73" fmla="*/ 79 h 101"/>
                <a:gd name="T74" fmla="*/ 212 w 212"/>
                <a:gd name="T75" fmla="*/ 74 h 101"/>
                <a:gd name="T76" fmla="*/ 211 w 212"/>
                <a:gd name="T77" fmla="*/ 70 h 101"/>
                <a:gd name="T78" fmla="*/ 209 w 212"/>
                <a:gd name="T79" fmla="*/ 65 h 101"/>
                <a:gd name="T80" fmla="*/ 209 w 212"/>
                <a:gd name="T81"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2" h="101">
                  <a:moveTo>
                    <a:pt x="209" y="65"/>
                  </a:moveTo>
                  <a:lnTo>
                    <a:pt x="209" y="65"/>
                  </a:lnTo>
                  <a:lnTo>
                    <a:pt x="206" y="61"/>
                  </a:lnTo>
                  <a:lnTo>
                    <a:pt x="202" y="57"/>
                  </a:lnTo>
                  <a:lnTo>
                    <a:pt x="198" y="54"/>
                  </a:lnTo>
                  <a:lnTo>
                    <a:pt x="194" y="52"/>
                  </a:lnTo>
                  <a:lnTo>
                    <a:pt x="34" y="1"/>
                  </a:lnTo>
                  <a:lnTo>
                    <a:pt x="34" y="1"/>
                  </a:lnTo>
                  <a:lnTo>
                    <a:pt x="28" y="0"/>
                  </a:lnTo>
                  <a:lnTo>
                    <a:pt x="23" y="0"/>
                  </a:lnTo>
                  <a:lnTo>
                    <a:pt x="19" y="0"/>
                  </a:lnTo>
                  <a:lnTo>
                    <a:pt x="14" y="2"/>
                  </a:lnTo>
                  <a:lnTo>
                    <a:pt x="10" y="5"/>
                  </a:lnTo>
                  <a:lnTo>
                    <a:pt x="6" y="8"/>
                  </a:lnTo>
                  <a:lnTo>
                    <a:pt x="3" y="12"/>
                  </a:lnTo>
                  <a:lnTo>
                    <a:pt x="1" y="16"/>
                  </a:lnTo>
                  <a:lnTo>
                    <a:pt x="1" y="16"/>
                  </a:lnTo>
                  <a:lnTo>
                    <a:pt x="0" y="22"/>
                  </a:lnTo>
                  <a:lnTo>
                    <a:pt x="0" y="26"/>
                  </a:lnTo>
                  <a:lnTo>
                    <a:pt x="1" y="31"/>
                  </a:lnTo>
                  <a:lnTo>
                    <a:pt x="3" y="35"/>
                  </a:lnTo>
                  <a:lnTo>
                    <a:pt x="5" y="40"/>
                  </a:lnTo>
                  <a:lnTo>
                    <a:pt x="10" y="43"/>
                  </a:lnTo>
                  <a:lnTo>
                    <a:pt x="13" y="46"/>
                  </a:lnTo>
                  <a:lnTo>
                    <a:pt x="18" y="48"/>
                  </a:lnTo>
                  <a:lnTo>
                    <a:pt x="178" y="100"/>
                  </a:lnTo>
                  <a:lnTo>
                    <a:pt x="178" y="100"/>
                  </a:lnTo>
                  <a:lnTo>
                    <a:pt x="187" y="101"/>
                  </a:lnTo>
                  <a:lnTo>
                    <a:pt x="187" y="101"/>
                  </a:lnTo>
                  <a:lnTo>
                    <a:pt x="191" y="101"/>
                  </a:lnTo>
                  <a:lnTo>
                    <a:pt x="194" y="100"/>
                  </a:lnTo>
                  <a:lnTo>
                    <a:pt x="201" y="97"/>
                  </a:lnTo>
                  <a:lnTo>
                    <a:pt x="207" y="91"/>
                  </a:lnTo>
                  <a:lnTo>
                    <a:pt x="209" y="88"/>
                  </a:lnTo>
                  <a:lnTo>
                    <a:pt x="210" y="85"/>
                  </a:lnTo>
                  <a:lnTo>
                    <a:pt x="210" y="85"/>
                  </a:lnTo>
                  <a:lnTo>
                    <a:pt x="211" y="79"/>
                  </a:lnTo>
                  <a:lnTo>
                    <a:pt x="212" y="74"/>
                  </a:lnTo>
                  <a:lnTo>
                    <a:pt x="211" y="70"/>
                  </a:lnTo>
                  <a:lnTo>
                    <a:pt x="209" y="65"/>
                  </a:lnTo>
                  <a:lnTo>
                    <a:pt x="209" y="65"/>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5" name="Freeform 58">
              <a:extLst>
                <a:ext uri="{FF2B5EF4-FFF2-40B4-BE49-F238E27FC236}">
                  <a16:creationId xmlns:a16="http://schemas.microsoft.com/office/drawing/2014/main" id="{0CB6C87B-1735-4EC5-9C76-3337B4FC45E0}"/>
                </a:ext>
              </a:extLst>
            </p:cNvPr>
            <p:cNvSpPr>
              <a:spLocks/>
            </p:cNvSpPr>
            <p:nvPr/>
          </p:nvSpPr>
          <p:spPr bwMode="auto">
            <a:xfrm>
              <a:off x="1879600" y="5378450"/>
              <a:ext cx="120650" cy="147637"/>
            </a:xfrm>
            <a:custGeom>
              <a:avLst/>
              <a:gdLst>
                <a:gd name="T0" fmla="*/ 105 w 151"/>
                <a:gd name="T1" fmla="*/ 177 h 186"/>
                <a:gd name="T2" fmla="*/ 105 w 151"/>
                <a:gd name="T3" fmla="*/ 177 h 186"/>
                <a:gd name="T4" fmla="*/ 109 w 151"/>
                <a:gd name="T5" fmla="*/ 181 h 186"/>
                <a:gd name="T6" fmla="*/ 114 w 151"/>
                <a:gd name="T7" fmla="*/ 184 h 186"/>
                <a:gd name="T8" fmla="*/ 120 w 151"/>
                <a:gd name="T9" fmla="*/ 186 h 186"/>
                <a:gd name="T10" fmla="*/ 126 w 151"/>
                <a:gd name="T11" fmla="*/ 186 h 186"/>
                <a:gd name="T12" fmla="*/ 126 w 151"/>
                <a:gd name="T13" fmla="*/ 186 h 186"/>
                <a:gd name="T14" fmla="*/ 130 w 151"/>
                <a:gd name="T15" fmla="*/ 186 h 186"/>
                <a:gd name="T16" fmla="*/ 133 w 151"/>
                <a:gd name="T17" fmla="*/ 185 h 186"/>
                <a:gd name="T18" fmla="*/ 137 w 151"/>
                <a:gd name="T19" fmla="*/ 184 h 186"/>
                <a:gd name="T20" fmla="*/ 141 w 151"/>
                <a:gd name="T21" fmla="*/ 182 h 186"/>
                <a:gd name="T22" fmla="*/ 141 w 151"/>
                <a:gd name="T23" fmla="*/ 182 h 186"/>
                <a:gd name="T24" fmla="*/ 144 w 151"/>
                <a:gd name="T25" fmla="*/ 178 h 186"/>
                <a:gd name="T26" fmla="*/ 147 w 151"/>
                <a:gd name="T27" fmla="*/ 175 h 186"/>
                <a:gd name="T28" fmla="*/ 149 w 151"/>
                <a:gd name="T29" fmla="*/ 171 h 186"/>
                <a:gd name="T30" fmla="*/ 150 w 151"/>
                <a:gd name="T31" fmla="*/ 165 h 186"/>
                <a:gd name="T32" fmla="*/ 150 w 151"/>
                <a:gd name="T33" fmla="*/ 165 h 186"/>
                <a:gd name="T34" fmla="*/ 151 w 151"/>
                <a:gd name="T35" fmla="*/ 160 h 186"/>
                <a:gd name="T36" fmla="*/ 150 w 151"/>
                <a:gd name="T37" fmla="*/ 156 h 186"/>
                <a:gd name="T38" fmla="*/ 148 w 151"/>
                <a:gd name="T39" fmla="*/ 151 h 186"/>
                <a:gd name="T40" fmla="*/ 146 w 151"/>
                <a:gd name="T41" fmla="*/ 147 h 186"/>
                <a:gd name="T42" fmla="*/ 45 w 151"/>
                <a:gd name="T43" fmla="*/ 10 h 186"/>
                <a:gd name="T44" fmla="*/ 45 w 151"/>
                <a:gd name="T45" fmla="*/ 10 h 186"/>
                <a:gd name="T46" fmla="*/ 42 w 151"/>
                <a:gd name="T47" fmla="*/ 6 h 186"/>
                <a:gd name="T48" fmla="*/ 38 w 151"/>
                <a:gd name="T49" fmla="*/ 4 h 186"/>
                <a:gd name="T50" fmla="*/ 34 w 151"/>
                <a:gd name="T51" fmla="*/ 2 h 186"/>
                <a:gd name="T52" fmla="*/ 28 w 151"/>
                <a:gd name="T53" fmla="*/ 0 h 186"/>
                <a:gd name="T54" fmla="*/ 24 w 151"/>
                <a:gd name="T55" fmla="*/ 0 h 186"/>
                <a:gd name="T56" fmla="*/ 19 w 151"/>
                <a:gd name="T57" fmla="*/ 1 h 186"/>
                <a:gd name="T58" fmla="*/ 15 w 151"/>
                <a:gd name="T59" fmla="*/ 2 h 186"/>
                <a:gd name="T60" fmla="*/ 11 w 151"/>
                <a:gd name="T61" fmla="*/ 5 h 186"/>
                <a:gd name="T62" fmla="*/ 11 w 151"/>
                <a:gd name="T63" fmla="*/ 5 h 186"/>
                <a:gd name="T64" fmla="*/ 6 w 151"/>
                <a:gd name="T65" fmla="*/ 8 h 186"/>
                <a:gd name="T66" fmla="*/ 3 w 151"/>
                <a:gd name="T67" fmla="*/ 12 h 186"/>
                <a:gd name="T68" fmla="*/ 1 w 151"/>
                <a:gd name="T69" fmla="*/ 17 h 186"/>
                <a:gd name="T70" fmla="*/ 0 w 151"/>
                <a:gd name="T71" fmla="*/ 21 h 186"/>
                <a:gd name="T72" fmla="*/ 0 w 151"/>
                <a:gd name="T73" fmla="*/ 26 h 186"/>
                <a:gd name="T74" fmla="*/ 0 w 151"/>
                <a:gd name="T75" fmla="*/ 31 h 186"/>
                <a:gd name="T76" fmla="*/ 2 w 151"/>
                <a:gd name="T77" fmla="*/ 35 h 186"/>
                <a:gd name="T78" fmla="*/ 4 w 151"/>
                <a:gd name="T79" fmla="*/ 40 h 186"/>
                <a:gd name="T80" fmla="*/ 105 w 151"/>
                <a:gd name="T81" fmla="*/ 17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186">
                  <a:moveTo>
                    <a:pt x="105" y="177"/>
                  </a:moveTo>
                  <a:lnTo>
                    <a:pt x="105" y="177"/>
                  </a:lnTo>
                  <a:lnTo>
                    <a:pt x="109" y="181"/>
                  </a:lnTo>
                  <a:lnTo>
                    <a:pt x="114" y="184"/>
                  </a:lnTo>
                  <a:lnTo>
                    <a:pt x="120" y="186"/>
                  </a:lnTo>
                  <a:lnTo>
                    <a:pt x="126" y="186"/>
                  </a:lnTo>
                  <a:lnTo>
                    <a:pt x="126" y="186"/>
                  </a:lnTo>
                  <a:lnTo>
                    <a:pt x="130" y="186"/>
                  </a:lnTo>
                  <a:lnTo>
                    <a:pt x="133" y="185"/>
                  </a:lnTo>
                  <a:lnTo>
                    <a:pt x="137" y="184"/>
                  </a:lnTo>
                  <a:lnTo>
                    <a:pt x="141" y="182"/>
                  </a:lnTo>
                  <a:lnTo>
                    <a:pt x="141" y="182"/>
                  </a:lnTo>
                  <a:lnTo>
                    <a:pt x="144" y="178"/>
                  </a:lnTo>
                  <a:lnTo>
                    <a:pt x="147" y="175"/>
                  </a:lnTo>
                  <a:lnTo>
                    <a:pt x="149" y="171"/>
                  </a:lnTo>
                  <a:lnTo>
                    <a:pt x="150" y="165"/>
                  </a:lnTo>
                  <a:lnTo>
                    <a:pt x="150" y="165"/>
                  </a:lnTo>
                  <a:lnTo>
                    <a:pt x="151" y="160"/>
                  </a:lnTo>
                  <a:lnTo>
                    <a:pt x="150" y="156"/>
                  </a:lnTo>
                  <a:lnTo>
                    <a:pt x="148" y="151"/>
                  </a:lnTo>
                  <a:lnTo>
                    <a:pt x="146" y="147"/>
                  </a:lnTo>
                  <a:lnTo>
                    <a:pt x="45" y="10"/>
                  </a:lnTo>
                  <a:lnTo>
                    <a:pt x="45" y="10"/>
                  </a:lnTo>
                  <a:lnTo>
                    <a:pt x="42" y="6"/>
                  </a:lnTo>
                  <a:lnTo>
                    <a:pt x="38" y="4"/>
                  </a:lnTo>
                  <a:lnTo>
                    <a:pt x="34" y="2"/>
                  </a:lnTo>
                  <a:lnTo>
                    <a:pt x="28" y="0"/>
                  </a:lnTo>
                  <a:lnTo>
                    <a:pt x="24" y="0"/>
                  </a:lnTo>
                  <a:lnTo>
                    <a:pt x="19" y="1"/>
                  </a:lnTo>
                  <a:lnTo>
                    <a:pt x="15" y="2"/>
                  </a:lnTo>
                  <a:lnTo>
                    <a:pt x="11" y="5"/>
                  </a:lnTo>
                  <a:lnTo>
                    <a:pt x="11" y="5"/>
                  </a:lnTo>
                  <a:lnTo>
                    <a:pt x="6" y="8"/>
                  </a:lnTo>
                  <a:lnTo>
                    <a:pt x="3" y="12"/>
                  </a:lnTo>
                  <a:lnTo>
                    <a:pt x="1" y="17"/>
                  </a:lnTo>
                  <a:lnTo>
                    <a:pt x="0" y="21"/>
                  </a:lnTo>
                  <a:lnTo>
                    <a:pt x="0" y="26"/>
                  </a:lnTo>
                  <a:lnTo>
                    <a:pt x="0" y="31"/>
                  </a:lnTo>
                  <a:lnTo>
                    <a:pt x="2" y="35"/>
                  </a:lnTo>
                  <a:lnTo>
                    <a:pt x="4" y="40"/>
                  </a:lnTo>
                  <a:lnTo>
                    <a:pt x="105" y="177"/>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6" name="Freeform 59">
              <a:extLst>
                <a:ext uri="{FF2B5EF4-FFF2-40B4-BE49-F238E27FC236}">
                  <a16:creationId xmlns:a16="http://schemas.microsoft.com/office/drawing/2014/main" id="{7CD92002-C3BC-469E-805A-4E85E43286BF}"/>
                </a:ext>
              </a:extLst>
            </p:cNvPr>
            <p:cNvSpPr>
              <a:spLocks/>
            </p:cNvSpPr>
            <p:nvPr/>
          </p:nvSpPr>
          <p:spPr bwMode="auto">
            <a:xfrm>
              <a:off x="1719263" y="5595938"/>
              <a:ext cx="168275" cy="80962"/>
            </a:xfrm>
            <a:custGeom>
              <a:avLst/>
              <a:gdLst>
                <a:gd name="T0" fmla="*/ 195 w 212"/>
                <a:gd name="T1" fmla="*/ 54 h 103"/>
                <a:gd name="T2" fmla="*/ 33 w 212"/>
                <a:gd name="T3" fmla="*/ 1 h 103"/>
                <a:gd name="T4" fmla="*/ 33 w 212"/>
                <a:gd name="T5" fmla="*/ 1 h 103"/>
                <a:gd name="T6" fmla="*/ 25 w 212"/>
                <a:gd name="T7" fmla="*/ 0 h 103"/>
                <a:gd name="T8" fmla="*/ 25 w 212"/>
                <a:gd name="T9" fmla="*/ 0 h 103"/>
                <a:gd name="T10" fmla="*/ 21 w 212"/>
                <a:gd name="T11" fmla="*/ 0 h 103"/>
                <a:gd name="T12" fmla="*/ 18 w 212"/>
                <a:gd name="T13" fmla="*/ 1 h 103"/>
                <a:gd name="T14" fmla="*/ 10 w 212"/>
                <a:gd name="T15" fmla="*/ 5 h 103"/>
                <a:gd name="T16" fmla="*/ 5 w 212"/>
                <a:gd name="T17" fmla="*/ 11 h 103"/>
                <a:gd name="T18" fmla="*/ 3 w 212"/>
                <a:gd name="T19" fmla="*/ 14 h 103"/>
                <a:gd name="T20" fmla="*/ 1 w 212"/>
                <a:gd name="T21" fmla="*/ 17 h 103"/>
                <a:gd name="T22" fmla="*/ 1 w 212"/>
                <a:gd name="T23" fmla="*/ 17 h 103"/>
                <a:gd name="T24" fmla="*/ 0 w 212"/>
                <a:gd name="T25" fmla="*/ 22 h 103"/>
                <a:gd name="T26" fmla="*/ 0 w 212"/>
                <a:gd name="T27" fmla="*/ 28 h 103"/>
                <a:gd name="T28" fmla="*/ 1 w 212"/>
                <a:gd name="T29" fmla="*/ 32 h 103"/>
                <a:gd name="T30" fmla="*/ 3 w 212"/>
                <a:gd name="T31" fmla="*/ 37 h 103"/>
                <a:gd name="T32" fmla="*/ 3 w 212"/>
                <a:gd name="T33" fmla="*/ 37 h 103"/>
                <a:gd name="T34" fmla="*/ 5 w 212"/>
                <a:gd name="T35" fmla="*/ 41 h 103"/>
                <a:gd name="T36" fmla="*/ 9 w 212"/>
                <a:gd name="T37" fmla="*/ 44 h 103"/>
                <a:gd name="T38" fmla="*/ 14 w 212"/>
                <a:gd name="T39" fmla="*/ 48 h 103"/>
                <a:gd name="T40" fmla="*/ 18 w 212"/>
                <a:gd name="T41" fmla="*/ 49 h 103"/>
                <a:gd name="T42" fmla="*/ 179 w 212"/>
                <a:gd name="T43" fmla="*/ 102 h 103"/>
                <a:gd name="T44" fmla="*/ 179 w 212"/>
                <a:gd name="T45" fmla="*/ 102 h 103"/>
                <a:gd name="T46" fmla="*/ 186 w 212"/>
                <a:gd name="T47" fmla="*/ 103 h 103"/>
                <a:gd name="T48" fmla="*/ 186 w 212"/>
                <a:gd name="T49" fmla="*/ 103 h 103"/>
                <a:gd name="T50" fmla="*/ 191 w 212"/>
                <a:gd name="T51" fmla="*/ 102 h 103"/>
                <a:gd name="T52" fmla="*/ 195 w 212"/>
                <a:gd name="T53" fmla="*/ 102 h 103"/>
                <a:gd name="T54" fmla="*/ 201 w 212"/>
                <a:gd name="T55" fmla="*/ 98 h 103"/>
                <a:gd name="T56" fmla="*/ 207 w 212"/>
                <a:gd name="T57" fmla="*/ 93 h 103"/>
                <a:gd name="T58" fmla="*/ 210 w 212"/>
                <a:gd name="T59" fmla="*/ 90 h 103"/>
                <a:gd name="T60" fmla="*/ 211 w 212"/>
                <a:gd name="T61" fmla="*/ 85 h 103"/>
                <a:gd name="T62" fmla="*/ 211 w 212"/>
                <a:gd name="T63" fmla="*/ 85 h 103"/>
                <a:gd name="T64" fmla="*/ 212 w 212"/>
                <a:gd name="T65" fmla="*/ 80 h 103"/>
                <a:gd name="T66" fmla="*/ 212 w 212"/>
                <a:gd name="T67" fmla="*/ 76 h 103"/>
                <a:gd name="T68" fmla="*/ 211 w 212"/>
                <a:gd name="T69" fmla="*/ 71 h 103"/>
                <a:gd name="T70" fmla="*/ 210 w 212"/>
                <a:gd name="T71" fmla="*/ 66 h 103"/>
                <a:gd name="T72" fmla="*/ 206 w 212"/>
                <a:gd name="T73" fmla="*/ 62 h 103"/>
                <a:gd name="T74" fmla="*/ 203 w 212"/>
                <a:gd name="T75" fmla="*/ 59 h 103"/>
                <a:gd name="T76" fmla="*/ 199 w 212"/>
                <a:gd name="T77" fmla="*/ 56 h 103"/>
                <a:gd name="T78" fmla="*/ 195 w 212"/>
                <a:gd name="T79" fmla="*/ 54 h 103"/>
                <a:gd name="T80" fmla="*/ 195 w 212"/>
                <a:gd name="T81"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2" h="103">
                  <a:moveTo>
                    <a:pt x="195" y="54"/>
                  </a:moveTo>
                  <a:lnTo>
                    <a:pt x="33" y="1"/>
                  </a:lnTo>
                  <a:lnTo>
                    <a:pt x="33" y="1"/>
                  </a:lnTo>
                  <a:lnTo>
                    <a:pt x="25" y="0"/>
                  </a:lnTo>
                  <a:lnTo>
                    <a:pt x="25" y="0"/>
                  </a:lnTo>
                  <a:lnTo>
                    <a:pt x="21" y="0"/>
                  </a:lnTo>
                  <a:lnTo>
                    <a:pt x="18" y="1"/>
                  </a:lnTo>
                  <a:lnTo>
                    <a:pt x="10" y="5"/>
                  </a:lnTo>
                  <a:lnTo>
                    <a:pt x="5" y="11"/>
                  </a:lnTo>
                  <a:lnTo>
                    <a:pt x="3" y="14"/>
                  </a:lnTo>
                  <a:lnTo>
                    <a:pt x="1" y="17"/>
                  </a:lnTo>
                  <a:lnTo>
                    <a:pt x="1" y="17"/>
                  </a:lnTo>
                  <a:lnTo>
                    <a:pt x="0" y="22"/>
                  </a:lnTo>
                  <a:lnTo>
                    <a:pt x="0" y="28"/>
                  </a:lnTo>
                  <a:lnTo>
                    <a:pt x="1" y="32"/>
                  </a:lnTo>
                  <a:lnTo>
                    <a:pt x="3" y="37"/>
                  </a:lnTo>
                  <a:lnTo>
                    <a:pt x="3" y="37"/>
                  </a:lnTo>
                  <a:lnTo>
                    <a:pt x="5" y="41"/>
                  </a:lnTo>
                  <a:lnTo>
                    <a:pt x="9" y="44"/>
                  </a:lnTo>
                  <a:lnTo>
                    <a:pt x="14" y="48"/>
                  </a:lnTo>
                  <a:lnTo>
                    <a:pt x="18" y="49"/>
                  </a:lnTo>
                  <a:lnTo>
                    <a:pt x="179" y="102"/>
                  </a:lnTo>
                  <a:lnTo>
                    <a:pt x="179" y="102"/>
                  </a:lnTo>
                  <a:lnTo>
                    <a:pt x="186" y="103"/>
                  </a:lnTo>
                  <a:lnTo>
                    <a:pt x="186" y="103"/>
                  </a:lnTo>
                  <a:lnTo>
                    <a:pt x="191" y="102"/>
                  </a:lnTo>
                  <a:lnTo>
                    <a:pt x="195" y="102"/>
                  </a:lnTo>
                  <a:lnTo>
                    <a:pt x="201" y="98"/>
                  </a:lnTo>
                  <a:lnTo>
                    <a:pt x="207" y="93"/>
                  </a:lnTo>
                  <a:lnTo>
                    <a:pt x="210" y="90"/>
                  </a:lnTo>
                  <a:lnTo>
                    <a:pt x="211" y="85"/>
                  </a:lnTo>
                  <a:lnTo>
                    <a:pt x="211" y="85"/>
                  </a:lnTo>
                  <a:lnTo>
                    <a:pt x="212" y="80"/>
                  </a:lnTo>
                  <a:lnTo>
                    <a:pt x="212" y="76"/>
                  </a:lnTo>
                  <a:lnTo>
                    <a:pt x="211" y="71"/>
                  </a:lnTo>
                  <a:lnTo>
                    <a:pt x="210" y="66"/>
                  </a:lnTo>
                  <a:lnTo>
                    <a:pt x="206" y="62"/>
                  </a:lnTo>
                  <a:lnTo>
                    <a:pt x="203" y="59"/>
                  </a:lnTo>
                  <a:lnTo>
                    <a:pt x="199" y="56"/>
                  </a:lnTo>
                  <a:lnTo>
                    <a:pt x="195" y="54"/>
                  </a:lnTo>
                  <a:lnTo>
                    <a:pt x="195" y="54"/>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7" name="Freeform 60">
              <a:extLst>
                <a:ext uri="{FF2B5EF4-FFF2-40B4-BE49-F238E27FC236}">
                  <a16:creationId xmlns:a16="http://schemas.microsoft.com/office/drawing/2014/main" id="{985305CC-B648-41F9-A29C-8822EC72AE33}"/>
                </a:ext>
              </a:extLst>
            </p:cNvPr>
            <p:cNvSpPr>
              <a:spLocks/>
            </p:cNvSpPr>
            <p:nvPr/>
          </p:nvSpPr>
          <p:spPr bwMode="auto">
            <a:xfrm>
              <a:off x="1716088" y="5826125"/>
              <a:ext cx="168275" cy="80962"/>
            </a:xfrm>
            <a:custGeom>
              <a:avLst/>
              <a:gdLst>
                <a:gd name="T0" fmla="*/ 178 w 211"/>
                <a:gd name="T1" fmla="*/ 1 h 102"/>
                <a:gd name="T2" fmla="*/ 17 w 211"/>
                <a:gd name="T3" fmla="*/ 54 h 102"/>
                <a:gd name="T4" fmla="*/ 17 w 211"/>
                <a:gd name="T5" fmla="*/ 54 h 102"/>
                <a:gd name="T6" fmla="*/ 12 w 211"/>
                <a:gd name="T7" fmla="*/ 55 h 102"/>
                <a:gd name="T8" fmla="*/ 8 w 211"/>
                <a:gd name="T9" fmla="*/ 58 h 102"/>
                <a:gd name="T10" fmla="*/ 5 w 211"/>
                <a:gd name="T11" fmla="*/ 62 h 102"/>
                <a:gd name="T12" fmla="*/ 2 w 211"/>
                <a:gd name="T13" fmla="*/ 66 h 102"/>
                <a:gd name="T14" fmla="*/ 2 w 211"/>
                <a:gd name="T15" fmla="*/ 66 h 102"/>
                <a:gd name="T16" fmla="*/ 1 w 211"/>
                <a:gd name="T17" fmla="*/ 71 h 102"/>
                <a:gd name="T18" fmla="*/ 0 w 211"/>
                <a:gd name="T19" fmla="*/ 75 h 102"/>
                <a:gd name="T20" fmla="*/ 0 w 211"/>
                <a:gd name="T21" fmla="*/ 80 h 102"/>
                <a:gd name="T22" fmla="*/ 1 w 211"/>
                <a:gd name="T23" fmla="*/ 86 h 102"/>
                <a:gd name="T24" fmla="*/ 1 w 211"/>
                <a:gd name="T25" fmla="*/ 86 h 102"/>
                <a:gd name="T26" fmla="*/ 3 w 211"/>
                <a:gd name="T27" fmla="*/ 89 h 102"/>
                <a:gd name="T28" fmla="*/ 4 w 211"/>
                <a:gd name="T29" fmla="*/ 93 h 102"/>
                <a:gd name="T30" fmla="*/ 10 w 211"/>
                <a:gd name="T31" fmla="*/ 98 h 102"/>
                <a:gd name="T32" fmla="*/ 17 w 211"/>
                <a:gd name="T33" fmla="*/ 101 h 102"/>
                <a:gd name="T34" fmla="*/ 21 w 211"/>
                <a:gd name="T35" fmla="*/ 102 h 102"/>
                <a:gd name="T36" fmla="*/ 25 w 211"/>
                <a:gd name="T37" fmla="*/ 102 h 102"/>
                <a:gd name="T38" fmla="*/ 25 w 211"/>
                <a:gd name="T39" fmla="*/ 102 h 102"/>
                <a:gd name="T40" fmla="*/ 32 w 211"/>
                <a:gd name="T41" fmla="*/ 101 h 102"/>
                <a:gd name="T42" fmla="*/ 194 w 211"/>
                <a:gd name="T43" fmla="*/ 49 h 102"/>
                <a:gd name="T44" fmla="*/ 194 w 211"/>
                <a:gd name="T45" fmla="*/ 49 h 102"/>
                <a:gd name="T46" fmla="*/ 199 w 211"/>
                <a:gd name="T47" fmla="*/ 47 h 102"/>
                <a:gd name="T48" fmla="*/ 203 w 211"/>
                <a:gd name="T49" fmla="*/ 44 h 102"/>
                <a:gd name="T50" fmla="*/ 206 w 211"/>
                <a:gd name="T51" fmla="*/ 41 h 102"/>
                <a:gd name="T52" fmla="*/ 208 w 211"/>
                <a:gd name="T53" fmla="*/ 36 h 102"/>
                <a:gd name="T54" fmla="*/ 210 w 211"/>
                <a:gd name="T55" fmla="*/ 32 h 102"/>
                <a:gd name="T56" fmla="*/ 211 w 211"/>
                <a:gd name="T57" fmla="*/ 27 h 102"/>
                <a:gd name="T58" fmla="*/ 211 w 211"/>
                <a:gd name="T59" fmla="*/ 23 h 102"/>
                <a:gd name="T60" fmla="*/ 210 w 211"/>
                <a:gd name="T61" fmla="*/ 18 h 102"/>
                <a:gd name="T62" fmla="*/ 210 w 211"/>
                <a:gd name="T63" fmla="*/ 18 h 102"/>
                <a:gd name="T64" fmla="*/ 208 w 211"/>
                <a:gd name="T65" fmla="*/ 12 h 102"/>
                <a:gd name="T66" fmla="*/ 205 w 211"/>
                <a:gd name="T67" fmla="*/ 9 h 102"/>
                <a:gd name="T68" fmla="*/ 202 w 211"/>
                <a:gd name="T69" fmla="*/ 6 h 102"/>
                <a:gd name="T70" fmla="*/ 198 w 211"/>
                <a:gd name="T71" fmla="*/ 3 h 102"/>
                <a:gd name="T72" fmla="*/ 193 w 211"/>
                <a:gd name="T73" fmla="*/ 1 h 102"/>
                <a:gd name="T74" fmla="*/ 188 w 211"/>
                <a:gd name="T75" fmla="*/ 0 h 102"/>
                <a:gd name="T76" fmla="*/ 183 w 211"/>
                <a:gd name="T77" fmla="*/ 0 h 102"/>
                <a:gd name="T78" fmla="*/ 178 w 211"/>
                <a:gd name="T79" fmla="*/ 1 h 102"/>
                <a:gd name="T80" fmla="*/ 178 w 211"/>
                <a:gd name="T81"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102">
                  <a:moveTo>
                    <a:pt x="178" y="1"/>
                  </a:moveTo>
                  <a:lnTo>
                    <a:pt x="17" y="54"/>
                  </a:lnTo>
                  <a:lnTo>
                    <a:pt x="17" y="54"/>
                  </a:lnTo>
                  <a:lnTo>
                    <a:pt x="12" y="55"/>
                  </a:lnTo>
                  <a:lnTo>
                    <a:pt x="8" y="58"/>
                  </a:lnTo>
                  <a:lnTo>
                    <a:pt x="5" y="62"/>
                  </a:lnTo>
                  <a:lnTo>
                    <a:pt x="2" y="66"/>
                  </a:lnTo>
                  <a:lnTo>
                    <a:pt x="2" y="66"/>
                  </a:lnTo>
                  <a:lnTo>
                    <a:pt x="1" y="71"/>
                  </a:lnTo>
                  <a:lnTo>
                    <a:pt x="0" y="75"/>
                  </a:lnTo>
                  <a:lnTo>
                    <a:pt x="0" y="80"/>
                  </a:lnTo>
                  <a:lnTo>
                    <a:pt x="1" y="86"/>
                  </a:lnTo>
                  <a:lnTo>
                    <a:pt x="1" y="86"/>
                  </a:lnTo>
                  <a:lnTo>
                    <a:pt x="3" y="89"/>
                  </a:lnTo>
                  <a:lnTo>
                    <a:pt x="4" y="93"/>
                  </a:lnTo>
                  <a:lnTo>
                    <a:pt x="10" y="98"/>
                  </a:lnTo>
                  <a:lnTo>
                    <a:pt x="17" y="101"/>
                  </a:lnTo>
                  <a:lnTo>
                    <a:pt x="21" y="102"/>
                  </a:lnTo>
                  <a:lnTo>
                    <a:pt x="25" y="102"/>
                  </a:lnTo>
                  <a:lnTo>
                    <a:pt x="25" y="102"/>
                  </a:lnTo>
                  <a:lnTo>
                    <a:pt x="32" y="101"/>
                  </a:lnTo>
                  <a:lnTo>
                    <a:pt x="194" y="49"/>
                  </a:lnTo>
                  <a:lnTo>
                    <a:pt x="194" y="49"/>
                  </a:lnTo>
                  <a:lnTo>
                    <a:pt x="199" y="47"/>
                  </a:lnTo>
                  <a:lnTo>
                    <a:pt x="203" y="44"/>
                  </a:lnTo>
                  <a:lnTo>
                    <a:pt x="206" y="41"/>
                  </a:lnTo>
                  <a:lnTo>
                    <a:pt x="208" y="36"/>
                  </a:lnTo>
                  <a:lnTo>
                    <a:pt x="210" y="32"/>
                  </a:lnTo>
                  <a:lnTo>
                    <a:pt x="211" y="27"/>
                  </a:lnTo>
                  <a:lnTo>
                    <a:pt x="211" y="23"/>
                  </a:lnTo>
                  <a:lnTo>
                    <a:pt x="210" y="18"/>
                  </a:lnTo>
                  <a:lnTo>
                    <a:pt x="210" y="18"/>
                  </a:lnTo>
                  <a:lnTo>
                    <a:pt x="208" y="12"/>
                  </a:lnTo>
                  <a:lnTo>
                    <a:pt x="205" y="9"/>
                  </a:lnTo>
                  <a:lnTo>
                    <a:pt x="202" y="6"/>
                  </a:lnTo>
                  <a:lnTo>
                    <a:pt x="198" y="3"/>
                  </a:lnTo>
                  <a:lnTo>
                    <a:pt x="193" y="1"/>
                  </a:lnTo>
                  <a:lnTo>
                    <a:pt x="188" y="0"/>
                  </a:lnTo>
                  <a:lnTo>
                    <a:pt x="183" y="0"/>
                  </a:lnTo>
                  <a:lnTo>
                    <a:pt x="178" y="1"/>
                  </a:lnTo>
                  <a:lnTo>
                    <a:pt x="178" y="1"/>
                  </a:lnTo>
                  <a:close/>
                </a:path>
              </a:pathLst>
            </a:custGeom>
            <a:grpFill/>
            <a:ln w="9525">
              <a:noFill/>
              <a:round/>
              <a:headEnd/>
              <a:tailEnd/>
            </a:ln>
            <a:extLst>
              <a:ext uri="{91240B29-F687-4F45-9708-019B960494DF}">
                <a14:hiddenLine xmlns:a14="http://schemas.microsoft.com/office/drawing/2010/main" w="9525">
                  <a:solidFill>
                    <a:schemeClr val="bg1">
                      <a:lumMod val="75000"/>
                    </a:schemeClr>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5" name="Group 107">
            <a:extLst>
              <a:ext uri="{FF2B5EF4-FFF2-40B4-BE49-F238E27FC236}">
                <a16:creationId xmlns:a16="http://schemas.microsoft.com/office/drawing/2014/main" id="{5C38A95F-0651-49E3-AA1E-3C51CFA4235C}"/>
              </a:ext>
            </a:extLst>
          </p:cNvPr>
          <p:cNvGrpSpPr>
            <a:grpSpLocks noChangeAspect="1"/>
          </p:cNvGrpSpPr>
          <p:nvPr/>
        </p:nvGrpSpPr>
        <p:grpSpPr>
          <a:xfrm>
            <a:off x="3198008" y="4879041"/>
            <a:ext cx="294875" cy="285619"/>
            <a:chOff x="2046165" y="4792684"/>
            <a:chExt cx="285486" cy="276521"/>
          </a:xfrm>
          <a:solidFill>
            <a:schemeClr val="bg1"/>
          </a:solidFill>
          <a:effectLst/>
        </p:grpSpPr>
        <p:sp>
          <p:nvSpPr>
            <p:cNvPr id="886" name="Freeform 132">
              <a:extLst>
                <a:ext uri="{FF2B5EF4-FFF2-40B4-BE49-F238E27FC236}">
                  <a16:creationId xmlns:a16="http://schemas.microsoft.com/office/drawing/2014/main" id="{CFB9FCE2-ED2B-47D2-A45B-FAA665912A7B}"/>
                </a:ext>
              </a:extLst>
            </p:cNvPr>
            <p:cNvSpPr>
              <a:spLocks noEditPoints="1"/>
            </p:cNvSpPr>
            <p:nvPr/>
          </p:nvSpPr>
          <p:spPr bwMode="auto">
            <a:xfrm>
              <a:off x="2082039" y="4855460"/>
              <a:ext cx="213747" cy="213745"/>
            </a:xfrm>
            <a:custGeom>
              <a:avLst/>
              <a:gdLst>
                <a:gd name="T0" fmla="*/ 82 w 570"/>
                <a:gd name="T1" fmla="*/ 455 h 572"/>
                <a:gd name="T2" fmla="*/ 94 w 570"/>
                <a:gd name="T3" fmla="*/ 428 h 572"/>
                <a:gd name="T4" fmla="*/ 92 w 570"/>
                <a:gd name="T5" fmla="*/ 257 h 572"/>
                <a:gd name="T6" fmla="*/ 109 w 570"/>
                <a:gd name="T7" fmla="*/ 202 h 572"/>
                <a:gd name="T8" fmla="*/ 140 w 570"/>
                <a:gd name="T9" fmla="*/ 155 h 572"/>
                <a:gd name="T10" fmla="*/ 184 w 570"/>
                <a:gd name="T11" fmla="*/ 120 h 572"/>
                <a:gd name="T12" fmla="*/ 216 w 570"/>
                <a:gd name="T13" fmla="*/ 100 h 572"/>
                <a:gd name="T14" fmla="*/ 219 w 570"/>
                <a:gd name="T15" fmla="*/ 80 h 572"/>
                <a:gd name="T16" fmla="*/ 229 w 570"/>
                <a:gd name="T17" fmla="*/ 55 h 572"/>
                <a:gd name="T18" fmla="*/ 247 w 570"/>
                <a:gd name="T19" fmla="*/ 37 h 572"/>
                <a:gd name="T20" fmla="*/ 272 w 570"/>
                <a:gd name="T21" fmla="*/ 27 h 572"/>
                <a:gd name="T22" fmla="*/ 299 w 570"/>
                <a:gd name="T23" fmla="*/ 27 h 572"/>
                <a:gd name="T24" fmla="*/ 324 w 570"/>
                <a:gd name="T25" fmla="*/ 37 h 572"/>
                <a:gd name="T26" fmla="*/ 342 w 570"/>
                <a:gd name="T27" fmla="*/ 55 h 572"/>
                <a:gd name="T28" fmla="*/ 351 w 570"/>
                <a:gd name="T29" fmla="*/ 80 h 572"/>
                <a:gd name="T30" fmla="*/ 355 w 570"/>
                <a:gd name="T31" fmla="*/ 100 h 572"/>
                <a:gd name="T32" fmla="*/ 387 w 570"/>
                <a:gd name="T33" fmla="*/ 120 h 572"/>
                <a:gd name="T34" fmla="*/ 431 w 570"/>
                <a:gd name="T35" fmla="*/ 155 h 572"/>
                <a:gd name="T36" fmla="*/ 463 w 570"/>
                <a:gd name="T37" fmla="*/ 202 h 572"/>
                <a:gd name="T38" fmla="*/ 479 w 570"/>
                <a:gd name="T39" fmla="*/ 256 h 572"/>
                <a:gd name="T40" fmla="*/ 477 w 570"/>
                <a:gd name="T41" fmla="*/ 428 h 572"/>
                <a:gd name="T42" fmla="*/ 489 w 570"/>
                <a:gd name="T43" fmla="*/ 456 h 572"/>
                <a:gd name="T44" fmla="*/ 66 w 570"/>
                <a:gd name="T45" fmla="*/ 470 h 572"/>
                <a:gd name="T46" fmla="*/ 297 w 570"/>
                <a:gd name="T47" fmla="*/ 546 h 572"/>
                <a:gd name="T48" fmla="*/ 257 w 570"/>
                <a:gd name="T49" fmla="*/ 539 h 572"/>
                <a:gd name="T50" fmla="*/ 238 w 570"/>
                <a:gd name="T51" fmla="*/ 507 h 572"/>
                <a:gd name="T52" fmla="*/ 331 w 570"/>
                <a:gd name="T53" fmla="*/ 517 h 572"/>
                <a:gd name="T54" fmla="*/ 320 w 570"/>
                <a:gd name="T55" fmla="*/ 535 h 572"/>
                <a:gd name="T56" fmla="*/ 529 w 570"/>
                <a:gd name="T57" fmla="*/ 456 h 572"/>
                <a:gd name="T58" fmla="*/ 505 w 570"/>
                <a:gd name="T59" fmla="*/ 433 h 572"/>
                <a:gd name="T60" fmla="*/ 507 w 570"/>
                <a:gd name="T61" fmla="*/ 287 h 572"/>
                <a:gd name="T62" fmla="*/ 497 w 570"/>
                <a:gd name="T63" fmla="*/ 223 h 572"/>
                <a:gd name="T64" fmla="*/ 472 w 570"/>
                <a:gd name="T65" fmla="*/ 167 h 572"/>
                <a:gd name="T66" fmla="*/ 431 w 570"/>
                <a:gd name="T67" fmla="*/ 120 h 572"/>
                <a:gd name="T68" fmla="*/ 378 w 570"/>
                <a:gd name="T69" fmla="*/ 85 h 572"/>
                <a:gd name="T70" fmla="*/ 369 w 570"/>
                <a:gd name="T71" fmla="*/ 52 h 572"/>
                <a:gd name="T72" fmla="*/ 348 w 570"/>
                <a:gd name="T73" fmla="*/ 25 h 572"/>
                <a:gd name="T74" fmla="*/ 320 w 570"/>
                <a:gd name="T75" fmla="*/ 7 h 572"/>
                <a:gd name="T76" fmla="*/ 286 w 570"/>
                <a:gd name="T77" fmla="*/ 0 h 572"/>
                <a:gd name="T78" fmla="*/ 252 w 570"/>
                <a:gd name="T79" fmla="*/ 7 h 572"/>
                <a:gd name="T80" fmla="*/ 223 w 570"/>
                <a:gd name="T81" fmla="*/ 25 h 572"/>
                <a:gd name="T82" fmla="*/ 202 w 570"/>
                <a:gd name="T83" fmla="*/ 52 h 572"/>
                <a:gd name="T84" fmla="*/ 193 w 570"/>
                <a:gd name="T85" fmla="*/ 85 h 572"/>
                <a:gd name="T86" fmla="*/ 140 w 570"/>
                <a:gd name="T87" fmla="*/ 120 h 572"/>
                <a:gd name="T88" fmla="*/ 99 w 570"/>
                <a:gd name="T89" fmla="*/ 167 h 572"/>
                <a:gd name="T90" fmla="*/ 73 w 570"/>
                <a:gd name="T91" fmla="*/ 223 h 572"/>
                <a:gd name="T92" fmla="*/ 64 w 570"/>
                <a:gd name="T93" fmla="*/ 287 h 572"/>
                <a:gd name="T94" fmla="*/ 67 w 570"/>
                <a:gd name="T95" fmla="*/ 432 h 572"/>
                <a:gd name="T96" fmla="*/ 42 w 570"/>
                <a:gd name="T97" fmla="*/ 456 h 572"/>
                <a:gd name="T98" fmla="*/ 4 w 570"/>
                <a:gd name="T99" fmla="*/ 474 h 572"/>
                <a:gd name="T100" fmla="*/ 1 w 570"/>
                <a:gd name="T101" fmla="*/ 490 h 572"/>
                <a:gd name="T102" fmla="*/ 210 w 570"/>
                <a:gd name="T103" fmla="*/ 495 h 572"/>
                <a:gd name="T104" fmla="*/ 217 w 570"/>
                <a:gd name="T105" fmla="*/ 528 h 572"/>
                <a:gd name="T106" fmla="*/ 232 w 570"/>
                <a:gd name="T107" fmla="*/ 552 h 572"/>
                <a:gd name="T108" fmla="*/ 255 w 570"/>
                <a:gd name="T109" fmla="*/ 566 h 572"/>
                <a:gd name="T110" fmla="*/ 285 w 570"/>
                <a:gd name="T111" fmla="*/ 572 h 572"/>
                <a:gd name="T112" fmla="*/ 302 w 570"/>
                <a:gd name="T113" fmla="*/ 571 h 572"/>
                <a:gd name="T114" fmla="*/ 328 w 570"/>
                <a:gd name="T115" fmla="*/ 561 h 572"/>
                <a:gd name="T116" fmla="*/ 348 w 570"/>
                <a:gd name="T117" fmla="*/ 540 h 572"/>
                <a:gd name="T118" fmla="*/ 361 w 570"/>
                <a:gd name="T119" fmla="*/ 495 h 572"/>
                <a:gd name="T120" fmla="*/ 569 w 570"/>
                <a:gd name="T121" fmla="*/ 490 h 572"/>
                <a:gd name="T122" fmla="*/ 566 w 570"/>
                <a:gd name="T123" fmla="*/ 47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0" h="572">
                  <a:moveTo>
                    <a:pt x="66" y="470"/>
                  </a:moveTo>
                  <a:lnTo>
                    <a:pt x="71" y="465"/>
                  </a:lnTo>
                  <a:lnTo>
                    <a:pt x="78" y="460"/>
                  </a:lnTo>
                  <a:lnTo>
                    <a:pt x="82" y="455"/>
                  </a:lnTo>
                  <a:lnTo>
                    <a:pt x="86" y="449"/>
                  </a:lnTo>
                  <a:lnTo>
                    <a:pt x="89" y="443"/>
                  </a:lnTo>
                  <a:lnTo>
                    <a:pt x="93" y="435"/>
                  </a:lnTo>
                  <a:lnTo>
                    <a:pt x="94" y="428"/>
                  </a:lnTo>
                  <a:lnTo>
                    <a:pt x="95" y="419"/>
                  </a:lnTo>
                  <a:lnTo>
                    <a:pt x="89" y="287"/>
                  </a:lnTo>
                  <a:lnTo>
                    <a:pt x="91" y="272"/>
                  </a:lnTo>
                  <a:lnTo>
                    <a:pt x="92" y="257"/>
                  </a:lnTo>
                  <a:lnTo>
                    <a:pt x="95" y="243"/>
                  </a:lnTo>
                  <a:lnTo>
                    <a:pt x="98" y="229"/>
                  </a:lnTo>
                  <a:lnTo>
                    <a:pt x="102" y="215"/>
                  </a:lnTo>
                  <a:lnTo>
                    <a:pt x="109" y="202"/>
                  </a:lnTo>
                  <a:lnTo>
                    <a:pt x="115" y="189"/>
                  </a:lnTo>
                  <a:lnTo>
                    <a:pt x="123" y="178"/>
                  </a:lnTo>
                  <a:lnTo>
                    <a:pt x="130" y="166"/>
                  </a:lnTo>
                  <a:lnTo>
                    <a:pt x="140" y="155"/>
                  </a:lnTo>
                  <a:lnTo>
                    <a:pt x="150" y="145"/>
                  </a:lnTo>
                  <a:lnTo>
                    <a:pt x="160" y="136"/>
                  </a:lnTo>
                  <a:lnTo>
                    <a:pt x="172" y="127"/>
                  </a:lnTo>
                  <a:lnTo>
                    <a:pt x="184" y="120"/>
                  </a:lnTo>
                  <a:lnTo>
                    <a:pt x="197" y="112"/>
                  </a:lnTo>
                  <a:lnTo>
                    <a:pt x="210" y="106"/>
                  </a:lnTo>
                  <a:lnTo>
                    <a:pt x="213" y="103"/>
                  </a:lnTo>
                  <a:lnTo>
                    <a:pt x="216" y="100"/>
                  </a:lnTo>
                  <a:lnTo>
                    <a:pt x="217" y="97"/>
                  </a:lnTo>
                  <a:lnTo>
                    <a:pt x="218" y="93"/>
                  </a:lnTo>
                  <a:lnTo>
                    <a:pt x="218" y="86"/>
                  </a:lnTo>
                  <a:lnTo>
                    <a:pt x="219" y="80"/>
                  </a:lnTo>
                  <a:lnTo>
                    <a:pt x="222" y="73"/>
                  </a:lnTo>
                  <a:lnTo>
                    <a:pt x="224" y="67"/>
                  </a:lnTo>
                  <a:lnTo>
                    <a:pt x="226" y="62"/>
                  </a:lnTo>
                  <a:lnTo>
                    <a:pt x="229" y="55"/>
                  </a:lnTo>
                  <a:lnTo>
                    <a:pt x="233" y="50"/>
                  </a:lnTo>
                  <a:lnTo>
                    <a:pt x="238" y="45"/>
                  </a:lnTo>
                  <a:lnTo>
                    <a:pt x="243" y="41"/>
                  </a:lnTo>
                  <a:lnTo>
                    <a:pt x="247" y="37"/>
                  </a:lnTo>
                  <a:lnTo>
                    <a:pt x="254" y="34"/>
                  </a:lnTo>
                  <a:lnTo>
                    <a:pt x="259" y="30"/>
                  </a:lnTo>
                  <a:lnTo>
                    <a:pt x="266" y="28"/>
                  </a:lnTo>
                  <a:lnTo>
                    <a:pt x="272" y="27"/>
                  </a:lnTo>
                  <a:lnTo>
                    <a:pt x="278" y="26"/>
                  </a:lnTo>
                  <a:lnTo>
                    <a:pt x="286" y="25"/>
                  </a:lnTo>
                  <a:lnTo>
                    <a:pt x="292" y="26"/>
                  </a:lnTo>
                  <a:lnTo>
                    <a:pt x="299" y="27"/>
                  </a:lnTo>
                  <a:lnTo>
                    <a:pt x="305" y="28"/>
                  </a:lnTo>
                  <a:lnTo>
                    <a:pt x="312" y="30"/>
                  </a:lnTo>
                  <a:lnTo>
                    <a:pt x="318" y="34"/>
                  </a:lnTo>
                  <a:lnTo>
                    <a:pt x="324" y="37"/>
                  </a:lnTo>
                  <a:lnTo>
                    <a:pt x="329" y="41"/>
                  </a:lnTo>
                  <a:lnTo>
                    <a:pt x="333" y="45"/>
                  </a:lnTo>
                  <a:lnTo>
                    <a:pt x="337" y="50"/>
                  </a:lnTo>
                  <a:lnTo>
                    <a:pt x="342" y="55"/>
                  </a:lnTo>
                  <a:lnTo>
                    <a:pt x="345" y="62"/>
                  </a:lnTo>
                  <a:lnTo>
                    <a:pt x="348" y="67"/>
                  </a:lnTo>
                  <a:lnTo>
                    <a:pt x="350" y="73"/>
                  </a:lnTo>
                  <a:lnTo>
                    <a:pt x="351" y="80"/>
                  </a:lnTo>
                  <a:lnTo>
                    <a:pt x="353" y="86"/>
                  </a:lnTo>
                  <a:lnTo>
                    <a:pt x="353" y="93"/>
                  </a:lnTo>
                  <a:lnTo>
                    <a:pt x="354" y="97"/>
                  </a:lnTo>
                  <a:lnTo>
                    <a:pt x="355" y="100"/>
                  </a:lnTo>
                  <a:lnTo>
                    <a:pt x="358" y="103"/>
                  </a:lnTo>
                  <a:lnTo>
                    <a:pt x="361" y="106"/>
                  </a:lnTo>
                  <a:lnTo>
                    <a:pt x="374" y="112"/>
                  </a:lnTo>
                  <a:lnTo>
                    <a:pt x="387" y="120"/>
                  </a:lnTo>
                  <a:lnTo>
                    <a:pt x="399" y="127"/>
                  </a:lnTo>
                  <a:lnTo>
                    <a:pt x="410" y="136"/>
                  </a:lnTo>
                  <a:lnTo>
                    <a:pt x="421" y="145"/>
                  </a:lnTo>
                  <a:lnTo>
                    <a:pt x="431" y="155"/>
                  </a:lnTo>
                  <a:lnTo>
                    <a:pt x="441" y="166"/>
                  </a:lnTo>
                  <a:lnTo>
                    <a:pt x="449" y="178"/>
                  </a:lnTo>
                  <a:lnTo>
                    <a:pt x="456" y="189"/>
                  </a:lnTo>
                  <a:lnTo>
                    <a:pt x="463" y="202"/>
                  </a:lnTo>
                  <a:lnTo>
                    <a:pt x="468" y="215"/>
                  </a:lnTo>
                  <a:lnTo>
                    <a:pt x="473" y="228"/>
                  </a:lnTo>
                  <a:lnTo>
                    <a:pt x="477" y="242"/>
                  </a:lnTo>
                  <a:lnTo>
                    <a:pt x="479" y="256"/>
                  </a:lnTo>
                  <a:lnTo>
                    <a:pt x="481" y="271"/>
                  </a:lnTo>
                  <a:lnTo>
                    <a:pt x="481" y="285"/>
                  </a:lnTo>
                  <a:lnTo>
                    <a:pt x="476" y="419"/>
                  </a:lnTo>
                  <a:lnTo>
                    <a:pt x="477" y="428"/>
                  </a:lnTo>
                  <a:lnTo>
                    <a:pt x="479" y="435"/>
                  </a:lnTo>
                  <a:lnTo>
                    <a:pt x="481" y="443"/>
                  </a:lnTo>
                  <a:lnTo>
                    <a:pt x="485" y="449"/>
                  </a:lnTo>
                  <a:lnTo>
                    <a:pt x="489" y="456"/>
                  </a:lnTo>
                  <a:lnTo>
                    <a:pt x="494" y="461"/>
                  </a:lnTo>
                  <a:lnTo>
                    <a:pt x="500" y="465"/>
                  </a:lnTo>
                  <a:lnTo>
                    <a:pt x="505" y="470"/>
                  </a:lnTo>
                  <a:lnTo>
                    <a:pt x="66" y="470"/>
                  </a:lnTo>
                  <a:close/>
                  <a:moveTo>
                    <a:pt x="320" y="535"/>
                  </a:moveTo>
                  <a:lnTo>
                    <a:pt x="314" y="540"/>
                  </a:lnTo>
                  <a:lnTo>
                    <a:pt x="305" y="544"/>
                  </a:lnTo>
                  <a:lnTo>
                    <a:pt x="297" y="546"/>
                  </a:lnTo>
                  <a:lnTo>
                    <a:pt x="286" y="547"/>
                  </a:lnTo>
                  <a:lnTo>
                    <a:pt x="275" y="546"/>
                  </a:lnTo>
                  <a:lnTo>
                    <a:pt x="266" y="544"/>
                  </a:lnTo>
                  <a:lnTo>
                    <a:pt x="257" y="539"/>
                  </a:lnTo>
                  <a:lnTo>
                    <a:pt x="251" y="534"/>
                  </a:lnTo>
                  <a:lnTo>
                    <a:pt x="245" y="527"/>
                  </a:lnTo>
                  <a:lnTo>
                    <a:pt x="240" y="518"/>
                  </a:lnTo>
                  <a:lnTo>
                    <a:pt x="238" y="507"/>
                  </a:lnTo>
                  <a:lnTo>
                    <a:pt x="235" y="495"/>
                  </a:lnTo>
                  <a:lnTo>
                    <a:pt x="335" y="495"/>
                  </a:lnTo>
                  <a:lnTo>
                    <a:pt x="334" y="506"/>
                  </a:lnTo>
                  <a:lnTo>
                    <a:pt x="331" y="517"/>
                  </a:lnTo>
                  <a:lnTo>
                    <a:pt x="329" y="521"/>
                  </a:lnTo>
                  <a:lnTo>
                    <a:pt x="327" y="527"/>
                  </a:lnTo>
                  <a:lnTo>
                    <a:pt x="324" y="531"/>
                  </a:lnTo>
                  <a:lnTo>
                    <a:pt x="320" y="535"/>
                  </a:lnTo>
                  <a:close/>
                  <a:moveTo>
                    <a:pt x="563" y="472"/>
                  </a:moveTo>
                  <a:lnTo>
                    <a:pt x="550" y="466"/>
                  </a:lnTo>
                  <a:lnTo>
                    <a:pt x="538" y="461"/>
                  </a:lnTo>
                  <a:lnTo>
                    <a:pt x="529" y="456"/>
                  </a:lnTo>
                  <a:lnTo>
                    <a:pt x="519" y="449"/>
                  </a:lnTo>
                  <a:lnTo>
                    <a:pt x="512" y="444"/>
                  </a:lnTo>
                  <a:lnTo>
                    <a:pt x="507" y="436"/>
                  </a:lnTo>
                  <a:lnTo>
                    <a:pt x="505" y="433"/>
                  </a:lnTo>
                  <a:lnTo>
                    <a:pt x="503" y="429"/>
                  </a:lnTo>
                  <a:lnTo>
                    <a:pt x="502" y="425"/>
                  </a:lnTo>
                  <a:lnTo>
                    <a:pt x="502" y="420"/>
                  </a:lnTo>
                  <a:lnTo>
                    <a:pt x="507" y="287"/>
                  </a:lnTo>
                  <a:lnTo>
                    <a:pt x="506" y="270"/>
                  </a:lnTo>
                  <a:lnTo>
                    <a:pt x="505" y="254"/>
                  </a:lnTo>
                  <a:lnTo>
                    <a:pt x="502" y="239"/>
                  </a:lnTo>
                  <a:lnTo>
                    <a:pt x="497" y="223"/>
                  </a:lnTo>
                  <a:lnTo>
                    <a:pt x="493" y="209"/>
                  </a:lnTo>
                  <a:lnTo>
                    <a:pt x="487" y="194"/>
                  </a:lnTo>
                  <a:lnTo>
                    <a:pt x="480" y="180"/>
                  </a:lnTo>
                  <a:lnTo>
                    <a:pt x="472" y="167"/>
                  </a:lnTo>
                  <a:lnTo>
                    <a:pt x="463" y="154"/>
                  </a:lnTo>
                  <a:lnTo>
                    <a:pt x="453" y="142"/>
                  </a:lnTo>
                  <a:lnTo>
                    <a:pt x="443" y="130"/>
                  </a:lnTo>
                  <a:lnTo>
                    <a:pt x="431" y="120"/>
                  </a:lnTo>
                  <a:lnTo>
                    <a:pt x="419" y="110"/>
                  </a:lnTo>
                  <a:lnTo>
                    <a:pt x="406" y="100"/>
                  </a:lnTo>
                  <a:lnTo>
                    <a:pt x="392" y="93"/>
                  </a:lnTo>
                  <a:lnTo>
                    <a:pt x="378" y="85"/>
                  </a:lnTo>
                  <a:lnTo>
                    <a:pt x="377" y="77"/>
                  </a:lnTo>
                  <a:lnTo>
                    <a:pt x="375" y="68"/>
                  </a:lnTo>
                  <a:lnTo>
                    <a:pt x="372" y="59"/>
                  </a:lnTo>
                  <a:lnTo>
                    <a:pt x="369" y="52"/>
                  </a:lnTo>
                  <a:lnTo>
                    <a:pt x="364" y="44"/>
                  </a:lnTo>
                  <a:lnTo>
                    <a:pt x="360" y="37"/>
                  </a:lnTo>
                  <a:lnTo>
                    <a:pt x="355" y="30"/>
                  </a:lnTo>
                  <a:lnTo>
                    <a:pt x="348" y="25"/>
                  </a:lnTo>
                  <a:lnTo>
                    <a:pt x="342" y="20"/>
                  </a:lnTo>
                  <a:lnTo>
                    <a:pt x="335" y="14"/>
                  </a:lnTo>
                  <a:lnTo>
                    <a:pt x="328" y="10"/>
                  </a:lnTo>
                  <a:lnTo>
                    <a:pt x="320" y="7"/>
                  </a:lnTo>
                  <a:lnTo>
                    <a:pt x="312" y="4"/>
                  </a:lnTo>
                  <a:lnTo>
                    <a:pt x="303" y="1"/>
                  </a:lnTo>
                  <a:lnTo>
                    <a:pt x="295" y="0"/>
                  </a:lnTo>
                  <a:lnTo>
                    <a:pt x="286" y="0"/>
                  </a:lnTo>
                  <a:lnTo>
                    <a:pt x="276" y="0"/>
                  </a:lnTo>
                  <a:lnTo>
                    <a:pt x="268" y="1"/>
                  </a:lnTo>
                  <a:lnTo>
                    <a:pt x="259" y="4"/>
                  </a:lnTo>
                  <a:lnTo>
                    <a:pt x="252" y="7"/>
                  </a:lnTo>
                  <a:lnTo>
                    <a:pt x="243" y="10"/>
                  </a:lnTo>
                  <a:lnTo>
                    <a:pt x="237" y="14"/>
                  </a:lnTo>
                  <a:lnTo>
                    <a:pt x="229" y="20"/>
                  </a:lnTo>
                  <a:lnTo>
                    <a:pt x="223" y="25"/>
                  </a:lnTo>
                  <a:lnTo>
                    <a:pt x="217" y="30"/>
                  </a:lnTo>
                  <a:lnTo>
                    <a:pt x="211" y="37"/>
                  </a:lnTo>
                  <a:lnTo>
                    <a:pt x="206" y="44"/>
                  </a:lnTo>
                  <a:lnTo>
                    <a:pt x="202" y="52"/>
                  </a:lnTo>
                  <a:lnTo>
                    <a:pt x="199" y="59"/>
                  </a:lnTo>
                  <a:lnTo>
                    <a:pt x="196" y="68"/>
                  </a:lnTo>
                  <a:lnTo>
                    <a:pt x="194" y="77"/>
                  </a:lnTo>
                  <a:lnTo>
                    <a:pt x="193" y="85"/>
                  </a:lnTo>
                  <a:lnTo>
                    <a:pt x="179" y="93"/>
                  </a:lnTo>
                  <a:lnTo>
                    <a:pt x="165" y="100"/>
                  </a:lnTo>
                  <a:lnTo>
                    <a:pt x="152" y="110"/>
                  </a:lnTo>
                  <a:lnTo>
                    <a:pt x="140" y="120"/>
                  </a:lnTo>
                  <a:lnTo>
                    <a:pt x="128" y="130"/>
                  </a:lnTo>
                  <a:lnTo>
                    <a:pt x="117" y="142"/>
                  </a:lnTo>
                  <a:lnTo>
                    <a:pt x="108" y="154"/>
                  </a:lnTo>
                  <a:lnTo>
                    <a:pt x="99" y="167"/>
                  </a:lnTo>
                  <a:lnTo>
                    <a:pt x="92" y="180"/>
                  </a:lnTo>
                  <a:lnTo>
                    <a:pt x="84" y="194"/>
                  </a:lnTo>
                  <a:lnTo>
                    <a:pt x="78" y="209"/>
                  </a:lnTo>
                  <a:lnTo>
                    <a:pt x="73" y="223"/>
                  </a:lnTo>
                  <a:lnTo>
                    <a:pt x="69" y="239"/>
                  </a:lnTo>
                  <a:lnTo>
                    <a:pt x="66" y="254"/>
                  </a:lnTo>
                  <a:lnTo>
                    <a:pt x="65" y="270"/>
                  </a:lnTo>
                  <a:lnTo>
                    <a:pt x="64" y="287"/>
                  </a:lnTo>
                  <a:lnTo>
                    <a:pt x="69" y="419"/>
                  </a:lnTo>
                  <a:lnTo>
                    <a:pt x="69" y="423"/>
                  </a:lnTo>
                  <a:lnTo>
                    <a:pt x="68" y="428"/>
                  </a:lnTo>
                  <a:lnTo>
                    <a:pt x="67" y="432"/>
                  </a:lnTo>
                  <a:lnTo>
                    <a:pt x="65" y="436"/>
                  </a:lnTo>
                  <a:lnTo>
                    <a:pt x="59" y="443"/>
                  </a:lnTo>
                  <a:lnTo>
                    <a:pt x="52" y="449"/>
                  </a:lnTo>
                  <a:lnTo>
                    <a:pt x="42" y="456"/>
                  </a:lnTo>
                  <a:lnTo>
                    <a:pt x="33" y="461"/>
                  </a:lnTo>
                  <a:lnTo>
                    <a:pt x="21" y="466"/>
                  </a:lnTo>
                  <a:lnTo>
                    <a:pt x="8" y="472"/>
                  </a:lnTo>
                  <a:lnTo>
                    <a:pt x="4" y="474"/>
                  </a:lnTo>
                  <a:lnTo>
                    <a:pt x="1" y="477"/>
                  </a:lnTo>
                  <a:lnTo>
                    <a:pt x="0" y="481"/>
                  </a:lnTo>
                  <a:lnTo>
                    <a:pt x="0" y="486"/>
                  </a:lnTo>
                  <a:lnTo>
                    <a:pt x="1" y="490"/>
                  </a:lnTo>
                  <a:lnTo>
                    <a:pt x="5" y="493"/>
                  </a:lnTo>
                  <a:lnTo>
                    <a:pt x="8" y="494"/>
                  </a:lnTo>
                  <a:lnTo>
                    <a:pt x="12" y="495"/>
                  </a:lnTo>
                  <a:lnTo>
                    <a:pt x="210" y="495"/>
                  </a:lnTo>
                  <a:lnTo>
                    <a:pt x="211" y="504"/>
                  </a:lnTo>
                  <a:lnTo>
                    <a:pt x="212" y="513"/>
                  </a:lnTo>
                  <a:lnTo>
                    <a:pt x="214" y="520"/>
                  </a:lnTo>
                  <a:lnTo>
                    <a:pt x="217" y="528"/>
                  </a:lnTo>
                  <a:lnTo>
                    <a:pt x="220" y="535"/>
                  </a:lnTo>
                  <a:lnTo>
                    <a:pt x="224" y="540"/>
                  </a:lnTo>
                  <a:lnTo>
                    <a:pt x="228" y="547"/>
                  </a:lnTo>
                  <a:lnTo>
                    <a:pt x="232" y="552"/>
                  </a:lnTo>
                  <a:lnTo>
                    <a:pt x="238" y="557"/>
                  </a:lnTo>
                  <a:lnTo>
                    <a:pt x="243" y="561"/>
                  </a:lnTo>
                  <a:lnTo>
                    <a:pt x="248" y="564"/>
                  </a:lnTo>
                  <a:lnTo>
                    <a:pt x="255" y="566"/>
                  </a:lnTo>
                  <a:lnTo>
                    <a:pt x="262" y="569"/>
                  </a:lnTo>
                  <a:lnTo>
                    <a:pt x="270" y="571"/>
                  </a:lnTo>
                  <a:lnTo>
                    <a:pt x="277" y="572"/>
                  </a:lnTo>
                  <a:lnTo>
                    <a:pt x="285" y="572"/>
                  </a:lnTo>
                  <a:lnTo>
                    <a:pt x="286" y="572"/>
                  </a:lnTo>
                  <a:lnTo>
                    <a:pt x="287" y="572"/>
                  </a:lnTo>
                  <a:lnTo>
                    <a:pt x="295" y="572"/>
                  </a:lnTo>
                  <a:lnTo>
                    <a:pt x="302" y="571"/>
                  </a:lnTo>
                  <a:lnTo>
                    <a:pt x="308" y="569"/>
                  </a:lnTo>
                  <a:lnTo>
                    <a:pt x="315" y="567"/>
                  </a:lnTo>
                  <a:lnTo>
                    <a:pt x="321" y="564"/>
                  </a:lnTo>
                  <a:lnTo>
                    <a:pt x="328" y="561"/>
                  </a:lnTo>
                  <a:lnTo>
                    <a:pt x="333" y="558"/>
                  </a:lnTo>
                  <a:lnTo>
                    <a:pt x="337" y="552"/>
                  </a:lnTo>
                  <a:lnTo>
                    <a:pt x="344" y="547"/>
                  </a:lnTo>
                  <a:lnTo>
                    <a:pt x="348" y="540"/>
                  </a:lnTo>
                  <a:lnTo>
                    <a:pt x="353" y="533"/>
                  </a:lnTo>
                  <a:lnTo>
                    <a:pt x="355" y="525"/>
                  </a:lnTo>
                  <a:lnTo>
                    <a:pt x="359" y="510"/>
                  </a:lnTo>
                  <a:lnTo>
                    <a:pt x="361" y="495"/>
                  </a:lnTo>
                  <a:lnTo>
                    <a:pt x="559" y="495"/>
                  </a:lnTo>
                  <a:lnTo>
                    <a:pt x="563" y="494"/>
                  </a:lnTo>
                  <a:lnTo>
                    <a:pt x="566" y="493"/>
                  </a:lnTo>
                  <a:lnTo>
                    <a:pt x="569" y="490"/>
                  </a:lnTo>
                  <a:lnTo>
                    <a:pt x="570" y="486"/>
                  </a:lnTo>
                  <a:lnTo>
                    <a:pt x="570" y="481"/>
                  </a:lnTo>
                  <a:lnTo>
                    <a:pt x="569" y="477"/>
                  </a:lnTo>
                  <a:lnTo>
                    <a:pt x="566" y="474"/>
                  </a:lnTo>
                  <a:lnTo>
                    <a:pt x="563"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7" name="Freeform 133">
              <a:extLst>
                <a:ext uri="{FF2B5EF4-FFF2-40B4-BE49-F238E27FC236}">
                  <a16:creationId xmlns:a16="http://schemas.microsoft.com/office/drawing/2014/main" id="{21C11CB9-601E-4042-8ADE-102D03341A03}"/>
                </a:ext>
              </a:extLst>
            </p:cNvPr>
            <p:cNvSpPr>
              <a:spLocks/>
            </p:cNvSpPr>
            <p:nvPr/>
          </p:nvSpPr>
          <p:spPr bwMode="auto">
            <a:xfrm>
              <a:off x="2046165" y="4849481"/>
              <a:ext cx="46337" cy="47831"/>
            </a:xfrm>
            <a:custGeom>
              <a:avLst/>
              <a:gdLst>
                <a:gd name="T0" fmla="*/ 121 w 121"/>
                <a:gd name="T1" fmla="*/ 114 h 127"/>
                <a:gd name="T2" fmla="*/ 120 w 121"/>
                <a:gd name="T3" fmla="*/ 110 h 127"/>
                <a:gd name="T4" fmla="*/ 118 w 121"/>
                <a:gd name="T5" fmla="*/ 106 h 127"/>
                <a:gd name="T6" fmla="*/ 114 w 121"/>
                <a:gd name="T7" fmla="*/ 104 h 127"/>
                <a:gd name="T8" fmla="*/ 108 w 121"/>
                <a:gd name="T9" fmla="*/ 102 h 127"/>
                <a:gd name="T10" fmla="*/ 42 w 121"/>
                <a:gd name="T11" fmla="*/ 102 h 127"/>
                <a:gd name="T12" fmla="*/ 118 w 121"/>
                <a:gd name="T13" fmla="*/ 22 h 127"/>
                <a:gd name="T14" fmla="*/ 120 w 121"/>
                <a:gd name="T15" fmla="*/ 19 h 127"/>
                <a:gd name="T16" fmla="*/ 121 w 121"/>
                <a:gd name="T17" fmla="*/ 15 h 127"/>
                <a:gd name="T18" fmla="*/ 121 w 121"/>
                <a:gd name="T19" fmla="*/ 11 h 127"/>
                <a:gd name="T20" fmla="*/ 120 w 121"/>
                <a:gd name="T21" fmla="*/ 8 h 127"/>
                <a:gd name="T22" fmla="*/ 118 w 121"/>
                <a:gd name="T23" fmla="*/ 5 h 127"/>
                <a:gd name="T24" fmla="*/ 116 w 121"/>
                <a:gd name="T25" fmla="*/ 3 h 127"/>
                <a:gd name="T26" fmla="*/ 112 w 121"/>
                <a:gd name="T27" fmla="*/ 0 h 127"/>
                <a:gd name="T28" fmla="*/ 108 w 121"/>
                <a:gd name="T29" fmla="*/ 0 h 127"/>
                <a:gd name="T30" fmla="*/ 13 w 121"/>
                <a:gd name="T31" fmla="*/ 0 h 127"/>
                <a:gd name="T32" fmla="*/ 7 w 121"/>
                <a:gd name="T33" fmla="*/ 2 h 127"/>
                <a:gd name="T34" fmla="*/ 3 w 121"/>
                <a:gd name="T35" fmla="*/ 4 h 127"/>
                <a:gd name="T36" fmla="*/ 1 w 121"/>
                <a:gd name="T37" fmla="*/ 8 h 127"/>
                <a:gd name="T38" fmla="*/ 0 w 121"/>
                <a:gd name="T39" fmla="*/ 13 h 127"/>
                <a:gd name="T40" fmla="*/ 1 w 121"/>
                <a:gd name="T41" fmla="*/ 18 h 127"/>
                <a:gd name="T42" fmla="*/ 3 w 121"/>
                <a:gd name="T43" fmla="*/ 22 h 127"/>
                <a:gd name="T44" fmla="*/ 7 w 121"/>
                <a:gd name="T45" fmla="*/ 25 h 127"/>
                <a:gd name="T46" fmla="*/ 13 w 121"/>
                <a:gd name="T47" fmla="*/ 25 h 127"/>
                <a:gd name="T48" fmla="*/ 79 w 121"/>
                <a:gd name="T49" fmla="*/ 25 h 127"/>
                <a:gd name="T50" fmla="*/ 3 w 121"/>
                <a:gd name="T51" fmla="*/ 107 h 127"/>
                <a:gd name="T52" fmla="*/ 1 w 121"/>
                <a:gd name="T53" fmla="*/ 110 h 127"/>
                <a:gd name="T54" fmla="*/ 0 w 121"/>
                <a:gd name="T55" fmla="*/ 113 h 127"/>
                <a:gd name="T56" fmla="*/ 0 w 121"/>
                <a:gd name="T57" fmla="*/ 116 h 127"/>
                <a:gd name="T58" fmla="*/ 1 w 121"/>
                <a:gd name="T59" fmla="*/ 120 h 127"/>
                <a:gd name="T60" fmla="*/ 3 w 121"/>
                <a:gd name="T61" fmla="*/ 123 h 127"/>
                <a:gd name="T62" fmla="*/ 5 w 121"/>
                <a:gd name="T63" fmla="*/ 126 h 127"/>
                <a:gd name="T64" fmla="*/ 8 w 121"/>
                <a:gd name="T65" fmla="*/ 127 h 127"/>
                <a:gd name="T66" fmla="*/ 13 w 121"/>
                <a:gd name="T67" fmla="*/ 127 h 127"/>
                <a:gd name="T68" fmla="*/ 108 w 121"/>
                <a:gd name="T69" fmla="*/ 127 h 127"/>
                <a:gd name="T70" fmla="*/ 114 w 121"/>
                <a:gd name="T71" fmla="*/ 126 h 127"/>
                <a:gd name="T72" fmla="*/ 118 w 121"/>
                <a:gd name="T73" fmla="*/ 124 h 127"/>
                <a:gd name="T74" fmla="*/ 120 w 121"/>
                <a:gd name="T75" fmla="*/ 120 h 127"/>
                <a:gd name="T76" fmla="*/ 121 w 121"/>
                <a:gd name="T77" fmla="*/ 11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27">
                  <a:moveTo>
                    <a:pt x="121" y="114"/>
                  </a:moveTo>
                  <a:lnTo>
                    <a:pt x="120" y="110"/>
                  </a:lnTo>
                  <a:lnTo>
                    <a:pt x="118" y="106"/>
                  </a:lnTo>
                  <a:lnTo>
                    <a:pt x="114" y="104"/>
                  </a:lnTo>
                  <a:lnTo>
                    <a:pt x="108" y="102"/>
                  </a:lnTo>
                  <a:lnTo>
                    <a:pt x="42" y="102"/>
                  </a:lnTo>
                  <a:lnTo>
                    <a:pt x="118" y="22"/>
                  </a:lnTo>
                  <a:lnTo>
                    <a:pt x="120" y="19"/>
                  </a:lnTo>
                  <a:lnTo>
                    <a:pt x="121" y="15"/>
                  </a:lnTo>
                  <a:lnTo>
                    <a:pt x="121" y="11"/>
                  </a:lnTo>
                  <a:lnTo>
                    <a:pt x="120" y="8"/>
                  </a:lnTo>
                  <a:lnTo>
                    <a:pt x="118" y="5"/>
                  </a:lnTo>
                  <a:lnTo>
                    <a:pt x="116" y="3"/>
                  </a:lnTo>
                  <a:lnTo>
                    <a:pt x="112" y="0"/>
                  </a:lnTo>
                  <a:lnTo>
                    <a:pt x="108" y="0"/>
                  </a:lnTo>
                  <a:lnTo>
                    <a:pt x="13" y="0"/>
                  </a:lnTo>
                  <a:lnTo>
                    <a:pt x="7" y="2"/>
                  </a:lnTo>
                  <a:lnTo>
                    <a:pt x="3" y="4"/>
                  </a:lnTo>
                  <a:lnTo>
                    <a:pt x="1" y="8"/>
                  </a:lnTo>
                  <a:lnTo>
                    <a:pt x="0" y="13"/>
                  </a:lnTo>
                  <a:lnTo>
                    <a:pt x="1" y="18"/>
                  </a:lnTo>
                  <a:lnTo>
                    <a:pt x="3" y="22"/>
                  </a:lnTo>
                  <a:lnTo>
                    <a:pt x="7" y="25"/>
                  </a:lnTo>
                  <a:lnTo>
                    <a:pt x="13" y="25"/>
                  </a:lnTo>
                  <a:lnTo>
                    <a:pt x="79" y="25"/>
                  </a:lnTo>
                  <a:lnTo>
                    <a:pt x="3" y="107"/>
                  </a:lnTo>
                  <a:lnTo>
                    <a:pt x="1" y="110"/>
                  </a:lnTo>
                  <a:lnTo>
                    <a:pt x="0" y="113"/>
                  </a:lnTo>
                  <a:lnTo>
                    <a:pt x="0" y="116"/>
                  </a:lnTo>
                  <a:lnTo>
                    <a:pt x="1" y="120"/>
                  </a:lnTo>
                  <a:lnTo>
                    <a:pt x="3" y="123"/>
                  </a:lnTo>
                  <a:lnTo>
                    <a:pt x="5" y="126"/>
                  </a:lnTo>
                  <a:lnTo>
                    <a:pt x="8" y="127"/>
                  </a:lnTo>
                  <a:lnTo>
                    <a:pt x="13" y="127"/>
                  </a:lnTo>
                  <a:lnTo>
                    <a:pt x="108" y="127"/>
                  </a:lnTo>
                  <a:lnTo>
                    <a:pt x="114" y="126"/>
                  </a:lnTo>
                  <a:lnTo>
                    <a:pt x="118" y="124"/>
                  </a:lnTo>
                  <a:lnTo>
                    <a:pt x="120" y="120"/>
                  </a:lnTo>
                  <a:lnTo>
                    <a:pt x="12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8" name="Freeform 134">
              <a:extLst>
                <a:ext uri="{FF2B5EF4-FFF2-40B4-BE49-F238E27FC236}">
                  <a16:creationId xmlns:a16="http://schemas.microsoft.com/office/drawing/2014/main" id="{F61700DF-69DC-4B5A-A127-2429765D5EF2}"/>
                </a:ext>
              </a:extLst>
            </p:cNvPr>
            <p:cNvSpPr>
              <a:spLocks/>
            </p:cNvSpPr>
            <p:nvPr/>
          </p:nvSpPr>
          <p:spPr bwMode="auto">
            <a:xfrm>
              <a:off x="2153786" y="4792684"/>
              <a:ext cx="34379" cy="37369"/>
            </a:xfrm>
            <a:custGeom>
              <a:avLst/>
              <a:gdLst>
                <a:gd name="T0" fmla="*/ 12 w 90"/>
                <a:gd name="T1" fmla="*/ 26 h 102"/>
                <a:gd name="T2" fmla="*/ 49 w 90"/>
                <a:gd name="T3" fmla="*/ 26 h 102"/>
                <a:gd name="T4" fmla="*/ 3 w 90"/>
                <a:gd name="T5" fmla="*/ 81 h 102"/>
                <a:gd name="T6" fmla="*/ 1 w 90"/>
                <a:gd name="T7" fmla="*/ 85 h 102"/>
                <a:gd name="T8" fmla="*/ 0 w 90"/>
                <a:gd name="T9" fmla="*/ 88 h 102"/>
                <a:gd name="T10" fmla="*/ 0 w 90"/>
                <a:gd name="T11" fmla="*/ 92 h 102"/>
                <a:gd name="T12" fmla="*/ 1 w 90"/>
                <a:gd name="T13" fmla="*/ 95 h 102"/>
                <a:gd name="T14" fmla="*/ 3 w 90"/>
                <a:gd name="T15" fmla="*/ 99 h 102"/>
                <a:gd name="T16" fmla="*/ 5 w 90"/>
                <a:gd name="T17" fmla="*/ 101 h 102"/>
                <a:gd name="T18" fmla="*/ 8 w 90"/>
                <a:gd name="T19" fmla="*/ 102 h 102"/>
                <a:gd name="T20" fmla="*/ 12 w 90"/>
                <a:gd name="T21" fmla="*/ 102 h 102"/>
                <a:gd name="T22" fmla="*/ 77 w 90"/>
                <a:gd name="T23" fmla="*/ 102 h 102"/>
                <a:gd name="T24" fmla="*/ 81 w 90"/>
                <a:gd name="T25" fmla="*/ 101 h 102"/>
                <a:gd name="T26" fmla="*/ 85 w 90"/>
                <a:gd name="T27" fmla="*/ 99 h 102"/>
                <a:gd name="T28" fmla="*/ 89 w 90"/>
                <a:gd name="T29" fmla="*/ 94 h 102"/>
                <a:gd name="T30" fmla="*/ 90 w 90"/>
                <a:gd name="T31" fmla="*/ 89 h 102"/>
                <a:gd name="T32" fmla="*/ 89 w 90"/>
                <a:gd name="T33" fmla="*/ 85 h 102"/>
                <a:gd name="T34" fmla="*/ 85 w 90"/>
                <a:gd name="T35" fmla="*/ 80 h 102"/>
                <a:gd name="T36" fmla="*/ 81 w 90"/>
                <a:gd name="T37" fmla="*/ 78 h 102"/>
                <a:gd name="T38" fmla="*/ 77 w 90"/>
                <a:gd name="T39" fmla="*/ 77 h 102"/>
                <a:gd name="T40" fmla="*/ 39 w 90"/>
                <a:gd name="T41" fmla="*/ 77 h 102"/>
                <a:gd name="T42" fmla="*/ 87 w 90"/>
                <a:gd name="T43" fmla="*/ 22 h 102"/>
                <a:gd name="T44" fmla="*/ 89 w 90"/>
                <a:gd name="T45" fmla="*/ 19 h 102"/>
                <a:gd name="T46" fmla="*/ 89 w 90"/>
                <a:gd name="T47" fmla="*/ 16 h 102"/>
                <a:gd name="T48" fmla="*/ 89 w 90"/>
                <a:gd name="T49" fmla="*/ 12 h 102"/>
                <a:gd name="T50" fmla="*/ 88 w 90"/>
                <a:gd name="T51" fmla="*/ 8 h 102"/>
                <a:gd name="T52" fmla="*/ 87 w 90"/>
                <a:gd name="T53" fmla="*/ 5 h 102"/>
                <a:gd name="T54" fmla="*/ 83 w 90"/>
                <a:gd name="T55" fmla="*/ 3 h 102"/>
                <a:gd name="T56" fmla="*/ 80 w 90"/>
                <a:gd name="T57" fmla="*/ 1 h 102"/>
                <a:gd name="T58" fmla="*/ 77 w 90"/>
                <a:gd name="T59" fmla="*/ 0 h 102"/>
                <a:gd name="T60" fmla="*/ 12 w 90"/>
                <a:gd name="T61" fmla="*/ 0 h 102"/>
                <a:gd name="T62" fmla="*/ 7 w 90"/>
                <a:gd name="T63" fmla="*/ 1 h 102"/>
                <a:gd name="T64" fmla="*/ 3 w 90"/>
                <a:gd name="T65" fmla="*/ 4 h 102"/>
                <a:gd name="T66" fmla="*/ 1 w 90"/>
                <a:gd name="T67" fmla="*/ 8 h 102"/>
                <a:gd name="T68" fmla="*/ 0 w 90"/>
                <a:gd name="T69" fmla="*/ 13 h 102"/>
                <a:gd name="T70" fmla="*/ 1 w 90"/>
                <a:gd name="T71" fmla="*/ 18 h 102"/>
                <a:gd name="T72" fmla="*/ 3 w 90"/>
                <a:gd name="T73" fmla="*/ 22 h 102"/>
                <a:gd name="T74" fmla="*/ 7 w 90"/>
                <a:gd name="T75" fmla="*/ 25 h 102"/>
                <a:gd name="T76" fmla="*/ 12 w 90"/>
                <a:gd name="T77" fmla="*/ 2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0" h="102">
                  <a:moveTo>
                    <a:pt x="12" y="26"/>
                  </a:moveTo>
                  <a:lnTo>
                    <a:pt x="49" y="26"/>
                  </a:lnTo>
                  <a:lnTo>
                    <a:pt x="3" y="81"/>
                  </a:lnTo>
                  <a:lnTo>
                    <a:pt x="1" y="85"/>
                  </a:lnTo>
                  <a:lnTo>
                    <a:pt x="0" y="88"/>
                  </a:lnTo>
                  <a:lnTo>
                    <a:pt x="0" y="92"/>
                  </a:lnTo>
                  <a:lnTo>
                    <a:pt x="1" y="95"/>
                  </a:lnTo>
                  <a:lnTo>
                    <a:pt x="3" y="99"/>
                  </a:lnTo>
                  <a:lnTo>
                    <a:pt x="5" y="101"/>
                  </a:lnTo>
                  <a:lnTo>
                    <a:pt x="8" y="102"/>
                  </a:lnTo>
                  <a:lnTo>
                    <a:pt x="12" y="102"/>
                  </a:lnTo>
                  <a:lnTo>
                    <a:pt x="77" y="102"/>
                  </a:lnTo>
                  <a:lnTo>
                    <a:pt x="81" y="101"/>
                  </a:lnTo>
                  <a:lnTo>
                    <a:pt x="85" y="99"/>
                  </a:lnTo>
                  <a:lnTo>
                    <a:pt x="89" y="94"/>
                  </a:lnTo>
                  <a:lnTo>
                    <a:pt x="90" y="89"/>
                  </a:lnTo>
                  <a:lnTo>
                    <a:pt x="89" y="85"/>
                  </a:lnTo>
                  <a:lnTo>
                    <a:pt x="85" y="80"/>
                  </a:lnTo>
                  <a:lnTo>
                    <a:pt x="81" y="78"/>
                  </a:lnTo>
                  <a:lnTo>
                    <a:pt x="77" y="77"/>
                  </a:lnTo>
                  <a:lnTo>
                    <a:pt x="39" y="77"/>
                  </a:lnTo>
                  <a:lnTo>
                    <a:pt x="87" y="22"/>
                  </a:lnTo>
                  <a:lnTo>
                    <a:pt x="89" y="19"/>
                  </a:lnTo>
                  <a:lnTo>
                    <a:pt x="89" y="16"/>
                  </a:lnTo>
                  <a:lnTo>
                    <a:pt x="89" y="12"/>
                  </a:lnTo>
                  <a:lnTo>
                    <a:pt x="88" y="8"/>
                  </a:lnTo>
                  <a:lnTo>
                    <a:pt x="87" y="5"/>
                  </a:lnTo>
                  <a:lnTo>
                    <a:pt x="83" y="3"/>
                  </a:lnTo>
                  <a:lnTo>
                    <a:pt x="80" y="1"/>
                  </a:lnTo>
                  <a:lnTo>
                    <a:pt x="77" y="0"/>
                  </a:lnTo>
                  <a:lnTo>
                    <a:pt x="12" y="0"/>
                  </a:lnTo>
                  <a:lnTo>
                    <a:pt x="7" y="1"/>
                  </a:lnTo>
                  <a:lnTo>
                    <a:pt x="3" y="4"/>
                  </a:lnTo>
                  <a:lnTo>
                    <a:pt x="1" y="8"/>
                  </a:lnTo>
                  <a:lnTo>
                    <a:pt x="0" y="13"/>
                  </a:lnTo>
                  <a:lnTo>
                    <a:pt x="1" y="18"/>
                  </a:lnTo>
                  <a:lnTo>
                    <a:pt x="3" y="22"/>
                  </a:lnTo>
                  <a:lnTo>
                    <a:pt x="7" y="25"/>
                  </a:ln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9" name="Freeform 135">
              <a:extLst>
                <a:ext uri="{FF2B5EF4-FFF2-40B4-BE49-F238E27FC236}">
                  <a16:creationId xmlns:a16="http://schemas.microsoft.com/office/drawing/2014/main" id="{808C9BC3-351D-4438-A0EB-6DBD77EBD8E2}"/>
                </a:ext>
              </a:extLst>
            </p:cNvPr>
            <p:cNvSpPr>
              <a:spLocks/>
            </p:cNvSpPr>
            <p:nvPr/>
          </p:nvSpPr>
          <p:spPr bwMode="auto">
            <a:xfrm>
              <a:off x="2274851" y="4821100"/>
              <a:ext cx="56800" cy="56800"/>
            </a:xfrm>
            <a:custGeom>
              <a:avLst/>
              <a:gdLst>
                <a:gd name="T0" fmla="*/ 141 w 153"/>
                <a:gd name="T1" fmla="*/ 127 h 153"/>
                <a:gd name="T2" fmla="*/ 44 w 153"/>
                <a:gd name="T3" fmla="*/ 127 h 153"/>
                <a:gd name="T4" fmla="*/ 150 w 153"/>
                <a:gd name="T5" fmla="*/ 22 h 153"/>
                <a:gd name="T6" fmla="*/ 152 w 153"/>
                <a:gd name="T7" fmla="*/ 18 h 153"/>
                <a:gd name="T8" fmla="*/ 153 w 153"/>
                <a:gd name="T9" fmla="*/ 15 h 153"/>
                <a:gd name="T10" fmla="*/ 153 w 153"/>
                <a:gd name="T11" fmla="*/ 12 h 153"/>
                <a:gd name="T12" fmla="*/ 152 w 153"/>
                <a:gd name="T13" fmla="*/ 9 h 153"/>
                <a:gd name="T14" fmla="*/ 151 w 153"/>
                <a:gd name="T15" fmla="*/ 6 h 153"/>
                <a:gd name="T16" fmla="*/ 148 w 153"/>
                <a:gd name="T17" fmla="*/ 2 h 153"/>
                <a:gd name="T18" fmla="*/ 144 w 153"/>
                <a:gd name="T19" fmla="*/ 0 h 153"/>
                <a:gd name="T20" fmla="*/ 141 w 153"/>
                <a:gd name="T21" fmla="*/ 0 h 153"/>
                <a:gd name="T22" fmla="*/ 12 w 153"/>
                <a:gd name="T23" fmla="*/ 0 h 153"/>
                <a:gd name="T24" fmla="*/ 7 w 153"/>
                <a:gd name="T25" fmla="*/ 1 h 153"/>
                <a:gd name="T26" fmla="*/ 3 w 153"/>
                <a:gd name="T27" fmla="*/ 3 h 153"/>
                <a:gd name="T28" fmla="*/ 1 w 153"/>
                <a:gd name="T29" fmla="*/ 8 h 153"/>
                <a:gd name="T30" fmla="*/ 0 w 153"/>
                <a:gd name="T31" fmla="*/ 12 h 153"/>
                <a:gd name="T32" fmla="*/ 1 w 153"/>
                <a:gd name="T33" fmla="*/ 17 h 153"/>
                <a:gd name="T34" fmla="*/ 3 w 153"/>
                <a:gd name="T35" fmla="*/ 22 h 153"/>
                <a:gd name="T36" fmla="*/ 7 w 153"/>
                <a:gd name="T37" fmla="*/ 24 h 153"/>
                <a:gd name="T38" fmla="*/ 12 w 153"/>
                <a:gd name="T39" fmla="*/ 25 h 153"/>
                <a:gd name="T40" fmla="*/ 110 w 153"/>
                <a:gd name="T41" fmla="*/ 25 h 153"/>
                <a:gd name="T42" fmla="*/ 4 w 153"/>
                <a:gd name="T43" fmla="*/ 131 h 153"/>
                <a:gd name="T44" fmla="*/ 1 w 153"/>
                <a:gd name="T45" fmla="*/ 134 h 153"/>
                <a:gd name="T46" fmla="*/ 0 w 153"/>
                <a:gd name="T47" fmla="*/ 138 h 153"/>
                <a:gd name="T48" fmla="*/ 0 w 153"/>
                <a:gd name="T49" fmla="*/ 141 h 153"/>
                <a:gd name="T50" fmla="*/ 1 w 153"/>
                <a:gd name="T51" fmla="*/ 145 h 153"/>
                <a:gd name="T52" fmla="*/ 3 w 153"/>
                <a:gd name="T53" fmla="*/ 148 h 153"/>
                <a:gd name="T54" fmla="*/ 5 w 153"/>
                <a:gd name="T55" fmla="*/ 151 h 153"/>
                <a:gd name="T56" fmla="*/ 8 w 153"/>
                <a:gd name="T57" fmla="*/ 152 h 153"/>
                <a:gd name="T58" fmla="*/ 12 w 153"/>
                <a:gd name="T59" fmla="*/ 153 h 153"/>
                <a:gd name="T60" fmla="*/ 141 w 153"/>
                <a:gd name="T61" fmla="*/ 153 h 153"/>
                <a:gd name="T62" fmla="*/ 146 w 153"/>
                <a:gd name="T63" fmla="*/ 152 h 153"/>
                <a:gd name="T64" fmla="*/ 150 w 153"/>
                <a:gd name="T65" fmla="*/ 149 h 153"/>
                <a:gd name="T66" fmla="*/ 152 w 153"/>
                <a:gd name="T67" fmla="*/ 145 h 153"/>
                <a:gd name="T68" fmla="*/ 153 w 153"/>
                <a:gd name="T69" fmla="*/ 140 h 153"/>
                <a:gd name="T70" fmla="*/ 152 w 153"/>
                <a:gd name="T71" fmla="*/ 135 h 153"/>
                <a:gd name="T72" fmla="*/ 150 w 153"/>
                <a:gd name="T73" fmla="*/ 131 h 153"/>
                <a:gd name="T74" fmla="*/ 146 w 153"/>
                <a:gd name="T75" fmla="*/ 128 h 153"/>
                <a:gd name="T76" fmla="*/ 141 w 153"/>
                <a:gd name="T77" fmla="*/ 12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3" h="153">
                  <a:moveTo>
                    <a:pt x="141" y="127"/>
                  </a:moveTo>
                  <a:lnTo>
                    <a:pt x="44" y="127"/>
                  </a:lnTo>
                  <a:lnTo>
                    <a:pt x="150" y="22"/>
                  </a:lnTo>
                  <a:lnTo>
                    <a:pt x="152" y="18"/>
                  </a:lnTo>
                  <a:lnTo>
                    <a:pt x="153" y="15"/>
                  </a:lnTo>
                  <a:lnTo>
                    <a:pt x="153" y="12"/>
                  </a:lnTo>
                  <a:lnTo>
                    <a:pt x="152" y="9"/>
                  </a:lnTo>
                  <a:lnTo>
                    <a:pt x="151" y="6"/>
                  </a:lnTo>
                  <a:lnTo>
                    <a:pt x="148" y="2"/>
                  </a:lnTo>
                  <a:lnTo>
                    <a:pt x="144" y="0"/>
                  </a:lnTo>
                  <a:lnTo>
                    <a:pt x="141" y="0"/>
                  </a:lnTo>
                  <a:lnTo>
                    <a:pt x="12" y="0"/>
                  </a:lnTo>
                  <a:lnTo>
                    <a:pt x="7" y="1"/>
                  </a:lnTo>
                  <a:lnTo>
                    <a:pt x="3" y="3"/>
                  </a:lnTo>
                  <a:lnTo>
                    <a:pt x="1" y="8"/>
                  </a:lnTo>
                  <a:lnTo>
                    <a:pt x="0" y="12"/>
                  </a:lnTo>
                  <a:lnTo>
                    <a:pt x="1" y="17"/>
                  </a:lnTo>
                  <a:lnTo>
                    <a:pt x="3" y="22"/>
                  </a:lnTo>
                  <a:lnTo>
                    <a:pt x="7" y="24"/>
                  </a:lnTo>
                  <a:lnTo>
                    <a:pt x="12" y="25"/>
                  </a:lnTo>
                  <a:lnTo>
                    <a:pt x="110" y="25"/>
                  </a:lnTo>
                  <a:lnTo>
                    <a:pt x="4" y="131"/>
                  </a:lnTo>
                  <a:lnTo>
                    <a:pt x="1" y="134"/>
                  </a:lnTo>
                  <a:lnTo>
                    <a:pt x="0" y="138"/>
                  </a:lnTo>
                  <a:lnTo>
                    <a:pt x="0" y="141"/>
                  </a:lnTo>
                  <a:lnTo>
                    <a:pt x="1" y="145"/>
                  </a:lnTo>
                  <a:lnTo>
                    <a:pt x="3" y="148"/>
                  </a:lnTo>
                  <a:lnTo>
                    <a:pt x="5" y="151"/>
                  </a:lnTo>
                  <a:lnTo>
                    <a:pt x="8" y="152"/>
                  </a:lnTo>
                  <a:lnTo>
                    <a:pt x="12" y="153"/>
                  </a:lnTo>
                  <a:lnTo>
                    <a:pt x="141" y="153"/>
                  </a:lnTo>
                  <a:lnTo>
                    <a:pt x="146" y="152"/>
                  </a:lnTo>
                  <a:lnTo>
                    <a:pt x="150" y="149"/>
                  </a:lnTo>
                  <a:lnTo>
                    <a:pt x="152" y="145"/>
                  </a:lnTo>
                  <a:lnTo>
                    <a:pt x="153" y="140"/>
                  </a:lnTo>
                  <a:lnTo>
                    <a:pt x="152" y="135"/>
                  </a:lnTo>
                  <a:lnTo>
                    <a:pt x="150" y="131"/>
                  </a:lnTo>
                  <a:lnTo>
                    <a:pt x="146" y="128"/>
                  </a:lnTo>
                  <a:lnTo>
                    <a:pt x="141"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732" name="Freeform 72">
            <a:extLst>
              <a:ext uri="{FF2B5EF4-FFF2-40B4-BE49-F238E27FC236}">
                <a16:creationId xmlns:a16="http://schemas.microsoft.com/office/drawing/2014/main" id="{82823FC1-A2D5-4C8B-B488-11C03B513BA4}"/>
              </a:ext>
            </a:extLst>
          </p:cNvPr>
          <p:cNvSpPr>
            <a:spLocks noChangeAspect="1" noEditPoints="1"/>
          </p:cNvSpPr>
          <p:nvPr/>
        </p:nvSpPr>
        <p:spPr bwMode="auto">
          <a:xfrm>
            <a:off x="3196922" y="3844938"/>
            <a:ext cx="297046" cy="199681"/>
          </a:xfrm>
          <a:custGeom>
            <a:avLst/>
            <a:gdLst>
              <a:gd name="T0" fmla="*/ 812 w 902"/>
              <a:gd name="T1" fmla="*/ 30 h 601"/>
              <a:gd name="T2" fmla="*/ 511 w 902"/>
              <a:gd name="T3" fmla="*/ 571 h 601"/>
              <a:gd name="T4" fmla="*/ 602 w 902"/>
              <a:gd name="T5" fmla="*/ 571 h 601"/>
              <a:gd name="T6" fmla="*/ 301 w 902"/>
              <a:gd name="T7" fmla="*/ 210 h 601"/>
              <a:gd name="T8" fmla="*/ 301 w 902"/>
              <a:gd name="T9" fmla="*/ 571 h 601"/>
              <a:gd name="T10" fmla="*/ 181 w 902"/>
              <a:gd name="T11" fmla="*/ 421 h 601"/>
              <a:gd name="T12" fmla="*/ 887 w 902"/>
              <a:gd name="T13" fmla="*/ 571 h 601"/>
              <a:gd name="T14" fmla="*/ 842 w 902"/>
              <a:gd name="T15" fmla="*/ 12 h 601"/>
              <a:gd name="T16" fmla="*/ 838 w 902"/>
              <a:gd name="T17" fmla="*/ 5 h 601"/>
              <a:gd name="T18" fmla="*/ 830 w 902"/>
              <a:gd name="T19" fmla="*/ 0 h 601"/>
              <a:gd name="T20" fmla="*/ 704 w 902"/>
              <a:gd name="T21" fmla="*/ 0 h 601"/>
              <a:gd name="T22" fmla="*/ 696 w 902"/>
              <a:gd name="T23" fmla="*/ 5 h 601"/>
              <a:gd name="T24" fmla="*/ 692 w 902"/>
              <a:gd name="T25" fmla="*/ 12 h 601"/>
              <a:gd name="T26" fmla="*/ 632 w 902"/>
              <a:gd name="T27" fmla="*/ 571 h 601"/>
              <a:gd name="T28" fmla="*/ 631 w 902"/>
              <a:gd name="T29" fmla="*/ 280 h 601"/>
              <a:gd name="T30" fmla="*/ 626 w 902"/>
              <a:gd name="T31" fmla="*/ 274 h 601"/>
              <a:gd name="T32" fmla="*/ 617 w 902"/>
              <a:gd name="T33" fmla="*/ 270 h 601"/>
              <a:gd name="T34" fmla="*/ 491 w 902"/>
              <a:gd name="T35" fmla="*/ 271 h 601"/>
              <a:gd name="T36" fmla="*/ 484 w 902"/>
              <a:gd name="T37" fmla="*/ 278 h 601"/>
              <a:gd name="T38" fmla="*/ 481 w 902"/>
              <a:gd name="T39" fmla="*/ 285 h 601"/>
              <a:gd name="T40" fmla="*/ 421 w 902"/>
              <a:gd name="T41" fmla="*/ 195 h 601"/>
              <a:gd name="T42" fmla="*/ 419 w 902"/>
              <a:gd name="T43" fmla="*/ 187 h 601"/>
              <a:gd name="T44" fmla="*/ 412 w 902"/>
              <a:gd name="T45" fmla="*/ 181 h 601"/>
              <a:gd name="T46" fmla="*/ 286 w 902"/>
              <a:gd name="T47" fmla="*/ 180 h 601"/>
              <a:gd name="T48" fmla="*/ 277 w 902"/>
              <a:gd name="T49" fmla="*/ 184 h 601"/>
              <a:gd name="T50" fmla="*/ 272 w 902"/>
              <a:gd name="T51" fmla="*/ 190 h 601"/>
              <a:gd name="T52" fmla="*/ 271 w 902"/>
              <a:gd name="T53" fmla="*/ 571 h 601"/>
              <a:gd name="T54" fmla="*/ 210 w 902"/>
              <a:gd name="T55" fmla="*/ 403 h 601"/>
              <a:gd name="T56" fmla="*/ 207 w 902"/>
              <a:gd name="T57" fmla="*/ 396 h 601"/>
              <a:gd name="T58" fmla="*/ 199 w 902"/>
              <a:gd name="T59" fmla="*/ 391 h 601"/>
              <a:gd name="T60" fmla="*/ 73 w 902"/>
              <a:gd name="T61" fmla="*/ 391 h 601"/>
              <a:gd name="T62" fmla="*/ 65 w 902"/>
              <a:gd name="T63" fmla="*/ 396 h 601"/>
              <a:gd name="T64" fmla="*/ 61 w 902"/>
              <a:gd name="T65" fmla="*/ 403 h 601"/>
              <a:gd name="T66" fmla="*/ 15 w 902"/>
              <a:gd name="T67" fmla="*/ 571 h 601"/>
              <a:gd name="T68" fmla="*/ 6 w 902"/>
              <a:gd name="T69" fmla="*/ 573 h 601"/>
              <a:gd name="T70" fmla="*/ 1 w 902"/>
              <a:gd name="T71" fmla="*/ 581 h 601"/>
              <a:gd name="T72" fmla="*/ 1 w 902"/>
              <a:gd name="T73" fmla="*/ 590 h 601"/>
              <a:gd name="T74" fmla="*/ 4 w 902"/>
              <a:gd name="T75" fmla="*/ 597 h 601"/>
              <a:gd name="T76" fmla="*/ 12 w 902"/>
              <a:gd name="T77" fmla="*/ 601 h 601"/>
              <a:gd name="T78" fmla="*/ 196 w 902"/>
              <a:gd name="T79" fmla="*/ 601 h 601"/>
              <a:gd name="T80" fmla="*/ 496 w 902"/>
              <a:gd name="T81" fmla="*/ 601 h 601"/>
              <a:gd name="T82" fmla="*/ 827 w 902"/>
              <a:gd name="T83" fmla="*/ 601 h 601"/>
              <a:gd name="T84" fmla="*/ 893 w 902"/>
              <a:gd name="T85" fmla="*/ 600 h 601"/>
              <a:gd name="T86" fmla="*/ 900 w 902"/>
              <a:gd name="T87" fmla="*/ 595 h 601"/>
              <a:gd name="T88" fmla="*/ 902 w 902"/>
              <a:gd name="T89" fmla="*/ 586 h 601"/>
              <a:gd name="T90" fmla="*/ 900 w 902"/>
              <a:gd name="T91" fmla="*/ 578 h 601"/>
              <a:gd name="T92" fmla="*/ 893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2" y="571"/>
                </a:moveTo>
                <a:lnTo>
                  <a:pt x="722" y="30"/>
                </a:lnTo>
                <a:lnTo>
                  <a:pt x="812" y="30"/>
                </a:lnTo>
                <a:lnTo>
                  <a:pt x="812" y="571"/>
                </a:lnTo>
                <a:lnTo>
                  <a:pt x="722" y="571"/>
                </a:lnTo>
                <a:close/>
                <a:moveTo>
                  <a:pt x="511" y="571"/>
                </a:moveTo>
                <a:lnTo>
                  <a:pt x="511" y="300"/>
                </a:lnTo>
                <a:lnTo>
                  <a:pt x="602" y="300"/>
                </a:lnTo>
                <a:lnTo>
                  <a:pt x="602" y="571"/>
                </a:lnTo>
                <a:lnTo>
                  <a:pt x="511" y="571"/>
                </a:lnTo>
                <a:close/>
                <a:moveTo>
                  <a:pt x="301" y="571"/>
                </a:moveTo>
                <a:lnTo>
                  <a:pt x="301" y="210"/>
                </a:lnTo>
                <a:lnTo>
                  <a:pt x="391" y="210"/>
                </a:lnTo>
                <a:lnTo>
                  <a:pt x="391" y="571"/>
                </a:lnTo>
                <a:lnTo>
                  <a:pt x="301" y="571"/>
                </a:lnTo>
                <a:close/>
                <a:moveTo>
                  <a:pt x="90" y="571"/>
                </a:moveTo>
                <a:lnTo>
                  <a:pt x="90" y="421"/>
                </a:lnTo>
                <a:lnTo>
                  <a:pt x="181" y="421"/>
                </a:lnTo>
                <a:lnTo>
                  <a:pt x="181" y="571"/>
                </a:lnTo>
                <a:lnTo>
                  <a:pt x="90" y="571"/>
                </a:lnTo>
                <a:close/>
                <a:moveTo>
                  <a:pt x="887"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1" y="1"/>
                </a:lnTo>
                <a:lnTo>
                  <a:pt x="698" y="3"/>
                </a:lnTo>
                <a:lnTo>
                  <a:pt x="696" y="5"/>
                </a:lnTo>
                <a:lnTo>
                  <a:pt x="694" y="7"/>
                </a:lnTo>
                <a:lnTo>
                  <a:pt x="693" y="9"/>
                </a:lnTo>
                <a:lnTo>
                  <a:pt x="692" y="12"/>
                </a:lnTo>
                <a:lnTo>
                  <a:pt x="692" y="15"/>
                </a:lnTo>
                <a:lnTo>
                  <a:pt x="692" y="571"/>
                </a:lnTo>
                <a:lnTo>
                  <a:pt x="632" y="571"/>
                </a:lnTo>
                <a:lnTo>
                  <a:pt x="632" y="285"/>
                </a:lnTo>
                <a:lnTo>
                  <a:pt x="631" y="283"/>
                </a:lnTo>
                <a:lnTo>
                  <a:pt x="631" y="280"/>
                </a:lnTo>
                <a:lnTo>
                  <a:pt x="629" y="278"/>
                </a:lnTo>
                <a:lnTo>
                  <a:pt x="628" y="275"/>
                </a:lnTo>
                <a:lnTo>
                  <a:pt x="626" y="274"/>
                </a:lnTo>
                <a:lnTo>
                  <a:pt x="622" y="271"/>
                </a:lnTo>
                <a:lnTo>
                  <a:pt x="620" y="271"/>
                </a:lnTo>
                <a:lnTo>
                  <a:pt x="617" y="270"/>
                </a:lnTo>
                <a:lnTo>
                  <a:pt x="496" y="270"/>
                </a:lnTo>
                <a:lnTo>
                  <a:pt x="494" y="271"/>
                </a:lnTo>
                <a:lnTo>
                  <a:pt x="491" y="271"/>
                </a:lnTo>
                <a:lnTo>
                  <a:pt x="488" y="274"/>
                </a:lnTo>
                <a:lnTo>
                  <a:pt x="486" y="275"/>
                </a:lnTo>
                <a:lnTo>
                  <a:pt x="484" y="278"/>
                </a:lnTo>
                <a:lnTo>
                  <a:pt x="483" y="280"/>
                </a:lnTo>
                <a:lnTo>
                  <a:pt x="482" y="283"/>
                </a:lnTo>
                <a:lnTo>
                  <a:pt x="481" y="285"/>
                </a:lnTo>
                <a:lnTo>
                  <a:pt x="481"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0" y="181"/>
                </a:lnTo>
                <a:lnTo>
                  <a:pt x="277" y="184"/>
                </a:lnTo>
                <a:lnTo>
                  <a:pt x="275" y="185"/>
                </a:lnTo>
                <a:lnTo>
                  <a:pt x="273" y="187"/>
                </a:lnTo>
                <a:lnTo>
                  <a:pt x="272" y="190"/>
                </a:lnTo>
                <a:lnTo>
                  <a:pt x="271" y="192"/>
                </a:lnTo>
                <a:lnTo>
                  <a:pt x="271" y="195"/>
                </a:lnTo>
                <a:lnTo>
                  <a:pt x="271" y="571"/>
                </a:lnTo>
                <a:lnTo>
                  <a:pt x="211" y="571"/>
                </a:lnTo>
                <a:lnTo>
                  <a:pt x="211" y="406"/>
                </a:lnTo>
                <a:lnTo>
                  <a:pt x="210" y="403"/>
                </a:lnTo>
                <a:lnTo>
                  <a:pt x="210" y="400"/>
                </a:lnTo>
                <a:lnTo>
                  <a:pt x="208" y="398"/>
                </a:lnTo>
                <a:lnTo>
                  <a:pt x="207" y="396"/>
                </a:lnTo>
                <a:lnTo>
                  <a:pt x="205" y="394"/>
                </a:lnTo>
                <a:lnTo>
                  <a:pt x="201" y="392"/>
                </a:lnTo>
                <a:lnTo>
                  <a:pt x="199" y="391"/>
                </a:lnTo>
                <a:lnTo>
                  <a:pt x="196" y="391"/>
                </a:lnTo>
                <a:lnTo>
                  <a:pt x="75" y="391"/>
                </a:lnTo>
                <a:lnTo>
                  <a:pt x="73" y="391"/>
                </a:lnTo>
                <a:lnTo>
                  <a:pt x="70" y="392"/>
                </a:lnTo>
                <a:lnTo>
                  <a:pt x="67" y="394"/>
                </a:lnTo>
                <a:lnTo>
                  <a:pt x="65" y="396"/>
                </a:lnTo>
                <a:lnTo>
                  <a:pt x="63" y="398"/>
                </a:lnTo>
                <a:lnTo>
                  <a:pt x="62" y="400"/>
                </a:lnTo>
                <a:lnTo>
                  <a:pt x="61" y="403"/>
                </a:lnTo>
                <a:lnTo>
                  <a:pt x="60" y="406"/>
                </a:lnTo>
                <a:lnTo>
                  <a:pt x="60" y="571"/>
                </a:lnTo>
                <a:lnTo>
                  <a:pt x="15" y="571"/>
                </a:lnTo>
                <a:lnTo>
                  <a:pt x="12" y="571"/>
                </a:lnTo>
                <a:lnTo>
                  <a:pt x="10" y="572"/>
                </a:lnTo>
                <a:lnTo>
                  <a:pt x="6" y="573"/>
                </a:lnTo>
                <a:lnTo>
                  <a:pt x="4" y="576"/>
                </a:lnTo>
                <a:lnTo>
                  <a:pt x="3" y="578"/>
                </a:lnTo>
                <a:lnTo>
                  <a:pt x="1" y="581"/>
                </a:lnTo>
                <a:lnTo>
                  <a:pt x="1" y="583"/>
                </a:lnTo>
                <a:lnTo>
                  <a:pt x="0" y="586"/>
                </a:lnTo>
                <a:lnTo>
                  <a:pt x="1" y="590"/>
                </a:lnTo>
                <a:lnTo>
                  <a:pt x="1" y="593"/>
                </a:lnTo>
                <a:lnTo>
                  <a:pt x="3" y="595"/>
                </a:lnTo>
                <a:lnTo>
                  <a:pt x="4" y="597"/>
                </a:lnTo>
                <a:lnTo>
                  <a:pt x="6" y="599"/>
                </a:lnTo>
                <a:lnTo>
                  <a:pt x="10" y="600"/>
                </a:lnTo>
                <a:lnTo>
                  <a:pt x="12" y="601"/>
                </a:lnTo>
                <a:lnTo>
                  <a:pt x="15" y="601"/>
                </a:lnTo>
                <a:lnTo>
                  <a:pt x="75" y="601"/>
                </a:lnTo>
                <a:lnTo>
                  <a:pt x="196" y="601"/>
                </a:lnTo>
                <a:lnTo>
                  <a:pt x="286" y="601"/>
                </a:lnTo>
                <a:lnTo>
                  <a:pt x="406" y="601"/>
                </a:lnTo>
                <a:lnTo>
                  <a:pt x="496" y="601"/>
                </a:lnTo>
                <a:lnTo>
                  <a:pt x="617" y="601"/>
                </a:lnTo>
                <a:lnTo>
                  <a:pt x="707" y="601"/>
                </a:lnTo>
                <a:lnTo>
                  <a:pt x="827" y="601"/>
                </a:lnTo>
                <a:lnTo>
                  <a:pt x="887" y="601"/>
                </a:lnTo>
                <a:lnTo>
                  <a:pt x="890" y="601"/>
                </a:lnTo>
                <a:lnTo>
                  <a:pt x="893" y="600"/>
                </a:lnTo>
                <a:lnTo>
                  <a:pt x="896" y="599"/>
                </a:lnTo>
                <a:lnTo>
                  <a:pt x="898" y="597"/>
                </a:lnTo>
                <a:lnTo>
                  <a:pt x="900" y="595"/>
                </a:lnTo>
                <a:lnTo>
                  <a:pt x="901" y="593"/>
                </a:lnTo>
                <a:lnTo>
                  <a:pt x="902" y="590"/>
                </a:lnTo>
                <a:lnTo>
                  <a:pt x="902" y="586"/>
                </a:lnTo>
                <a:lnTo>
                  <a:pt x="902" y="583"/>
                </a:lnTo>
                <a:lnTo>
                  <a:pt x="901" y="581"/>
                </a:lnTo>
                <a:lnTo>
                  <a:pt x="900" y="578"/>
                </a:lnTo>
                <a:lnTo>
                  <a:pt x="898" y="576"/>
                </a:lnTo>
                <a:lnTo>
                  <a:pt x="896" y="573"/>
                </a:lnTo>
                <a:lnTo>
                  <a:pt x="893" y="572"/>
                </a:lnTo>
                <a:lnTo>
                  <a:pt x="890" y="571"/>
                </a:lnTo>
                <a:lnTo>
                  <a:pt x="887" y="57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57" name="Group 531">
            <a:extLst>
              <a:ext uri="{FF2B5EF4-FFF2-40B4-BE49-F238E27FC236}">
                <a16:creationId xmlns:a16="http://schemas.microsoft.com/office/drawing/2014/main" id="{E4165FCE-CECC-4F55-8286-AD84FA6DD2C2}"/>
              </a:ext>
            </a:extLst>
          </p:cNvPr>
          <p:cNvGrpSpPr>
            <a:grpSpLocks noChangeAspect="1"/>
          </p:cNvGrpSpPr>
          <p:nvPr/>
        </p:nvGrpSpPr>
        <p:grpSpPr>
          <a:xfrm>
            <a:off x="3181249" y="5956111"/>
            <a:ext cx="328392" cy="285619"/>
            <a:chOff x="8137525" y="2320925"/>
            <a:chExt cx="377825" cy="328613"/>
          </a:xfrm>
          <a:solidFill>
            <a:schemeClr val="bg1"/>
          </a:solidFill>
          <a:effectLst/>
        </p:grpSpPr>
        <p:sp>
          <p:nvSpPr>
            <p:cNvPr id="1222" name="Freeform 273">
              <a:extLst>
                <a:ext uri="{FF2B5EF4-FFF2-40B4-BE49-F238E27FC236}">
                  <a16:creationId xmlns:a16="http://schemas.microsoft.com/office/drawing/2014/main" id="{B7AC327D-ED84-4940-81AF-E154C44DABF9}"/>
                </a:ext>
              </a:extLst>
            </p:cNvPr>
            <p:cNvSpPr>
              <a:spLocks noEditPoints="1"/>
            </p:cNvSpPr>
            <p:nvPr/>
          </p:nvSpPr>
          <p:spPr bwMode="auto">
            <a:xfrm>
              <a:off x="8137525" y="2320925"/>
              <a:ext cx="377825" cy="328613"/>
            </a:xfrm>
            <a:custGeom>
              <a:avLst/>
              <a:gdLst>
                <a:gd name="T0" fmla="*/ 476 w 952"/>
                <a:gd name="T1" fmla="*/ 72 h 830"/>
                <a:gd name="T2" fmla="*/ 891 w 952"/>
                <a:gd name="T3" fmla="*/ 794 h 830"/>
                <a:gd name="T4" fmla="*/ 61 w 952"/>
                <a:gd name="T5" fmla="*/ 794 h 830"/>
                <a:gd name="T6" fmla="*/ 476 w 952"/>
                <a:gd name="T7" fmla="*/ 72 h 830"/>
                <a:gd name="T8" fmla="*/ 476 w 952"/>
                <a:gd name="T9" fmla="*/ 0 h 830"/>
                <a:gd name="T10" fmla="*/ 0 w 952"/>
                <a:gd name="T11" fmla="*/ 830 h 830"/>
                <a:gd name="T12" fmla="*/ 952 w 952"/>
                <a:gd name="T13" fmla="*/ 830 h 830"/>
                <a:gd name="T14" fmla="*/ 476 w 952"/>
                <a:gd name="T15" fmla="*/ 0 h 8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2" h="830">
                  <a:moveTo>
                    <a:pt x="476" y="72"/>
                  </a:moveTo>
                  <a:lnTo>
                    <a:pt x="891" y="794"/>
                  </a:lnTo>
                  <a:lnTo>
                    <a:pt x="61" y="794"/>
                  </a:lnTo>
                  <a:lnTo>
                    <a:pt x="476" y="72"/>
                  </a:lnTo>
                  <a:close/>
                  <a:moveTo>
                    <a:pt x="476" y="0"/>
                  </a:moveTo>
                  <a:lnTo>
                    <a:pt x="0" y="830"/>
                  </a:lnTo>
                  <a:lnTo>
                    <a:pt x="952" y="8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Rectangle 274">
              <a:extLst>
                <a:ext uri="{FF2B5EF4-FFF2-40B4-BE49-F238E27FC236}">
                  <a16:creationId xmlns:a16="http://schemas.microsoft.com/office/drawing/2014/main" id="{5C649E59-85E4-49B9-98A2-242A96FA2AD9}"/>
                </a:ext>
              </a:extLst>
            </p:cNvPr>
            <p:cNvSpPr>
              <a:spLocks noChangeArrowheads="1"/>
            </p:cNvSpPr>
            <p:nvPr/>
          </p:nvSpPr>
          <p:spPr bwMode="auto">
            <a:xfrm>
              <a:off x="8320088" y="2452688"/>
              <a:ext cx="12700" cy="98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275">
              <a:extLst>
                <a:ext uri="{FF2B5EF4-FFF2-40B4-BE49-F238E27FC236}">
                  <a16:creationId xmlns:a16="http://schemas.microsoft.com/office/drawing/2014/main" id="{86695E81-BC10-4D36-8DAC-E2BB09E94ED1}"/>
                </a:ext>
              </a:extLst>
            </p:cNvPr>
            <p:cNvSpPr>
              <a:spLocks/>
            </p:cNvSpPr>
            <p:nvPr/>
          </p:nvSpPr>
          <p:spPr bwMode="auto">
            <a:xfrm>
              <a:off x="8315325" y="2571750"/>
              <a:ext cx="22225" cy="22225"/>
            </a:xfrm>
            <a:custGeom>
              <a:avLst/>
              <a:gdLst>
                <a:gd name="T0" fmla="*/ 26 w 53"/>
                <a:gd name="T1" fmla="*/ 0 h 53"/>
                <a:gd name="T2" fmla="*/ 20 w 53"/>
                <a:gd name="T3" fmla="*/ 1 h 53"/>
                <a:gd name="T4" fmla="*/ 15 w 53"/>
                <a:gd name="T5" fmla="*/ 3 h 53"/>
                <a:gd name="T6" fmla="*/ 11 w 53"/>
                <a:gd name="T7" fmla="*/ 5 h 53"/>
                <a:gd name="T8" fmla="*/ 7 w 53"/>
                <a:gd name="T9" fmla="*/ 8 h 53"/>
                <a:gd name="T10" fmla="*/ 4 w 53"/>
                <a:gd name="T11" fmla="*/ 12 h 53"/>
                <a:gd name="T12" fmla="*/ 1 w 53"/>
                <a:gd name="T13" fmla="*/ 17 h 53"/>
                <a:gd name="T14" fmla="*/ 0 w 53"/>
                <a:gd name="T15" fmla="*/ 22 h 53"/>
                <a:gd name="T16" fmla="*/ 0 w 53"/>
                <a:gd name="T17" fmla="*/ 27 h 53"/>
                <a:gd name="T18" fmla="*/ 0 w 53"/>
                <a:gd name="T19" fmla="*/ 32 h 53"/>
                <a:gd name="T20" fmla="*/ 1 w 53"/>
                <a:gd name="T21" fmla="*/ 37 h 53"/>
                <a:gd name="T22" fmla="*/ 4 w 53"/>
                <a:gd name="T23" fmla="*/ 41 h 53"/>
                <a:gd name="T24" fmla="*/ 7 w 53"/>
                <a:gd name="T25" fmla="*/ 46 h 53"/>
                <a:gd name="T26" fmla="*/ 11 w 53"/>
                <a:gd name="T27" fmla="*/ 49 h 53"/>
                <a:gd name="T28" fmla="*/ 15 w 53"/>
                <a:gd name="T29" fmla="*/ 51 h 53"/>
                <a:gd name="T30" fmla="*/ 20 w 53"/>
                <a:gd name="T31" fmla="*/ 52 h 53"/>
                <a:gd name="T32" fmla="*/ 26 w 53"/>
                <a:gd name="T33" fmla="*/ 53 h 53"/>
                <a:gd name="T34" fmla="*/ 31 w 53"/>
                <a:gd name="T35" fmla="*/ 52 h 53"/>
                <a:gd name="T36" fmla="*/ 37 w 53"/>
                <a:gd name="T37" fmla="*/ 51 h 53"/>
                <a:gd name="T38" fmla="*/ 41 w 53"/>
                <a:gd name="T39" fmla="*/ 49 h 53"/>
                <a:gd name="T40" fmla="*/ 44 w 53"/>
                <a:gd name="T41" fmla="*/ 46 h 53"/>
                <a:gd name="T42" fmla="*/ 47 w 53"/>
                <a:gd name="T43" fmla="*/ 41 h 53"/>
                <a:gd name="T44" fmla="*/ 51 w 53"/>
                <a:gd name="T45" fmla="*/ 37 h 53"/>
                <a:gd name="T46" fmla="*/ 52 w 53"/>
                <a:gd name="T47" fmla="*/ 32 h 53"/>
                <a:gd name="T48" fmla="*/ 53 w 53"/>
                <a:gd name="T49" fmla="*/ 27 h 53"/>
                <a:gd name="T50" fmla="*/ 52 w 53"/>
                <a:gd name="T51" fmla="*/ 22 h 53"/>
                <a:gd name="T52" fmla="*/ 51 w 53"/>
                <a:gd name="T53" fmla="*/ 17 h 53"/>
                <a:gd name="T54" fmla="*/ 47 w 53"/>
                <a:gd name="T55" fmla="*/ 12 h 53"/>
                <a:gd name="T56" fmla="*/ 44 w 53"/>
                <a:gd name="T57" fmla="*/ 8 h 53"/>
                <a:gd name="T58" fmla="*/ 41 w 53"/>
                <a:gd name="T59" fmla="*/ 5 h 53"/>
                <a:gd name="T60" fmla="*/ 37 w 53"/>
                <a:gd name="T61" fmla="*/ 3 h 53"/>
                <a:gd name="T62" fmla="*/ 31 w 53"/>
                <a:gd name="T63" fmla="*/ 1 h 53"/>
                <a:gd name="T64" fmla="*/ 26 w 53"/>
                <a:gd name="T6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6" y="0"/>
                  </a:moveTo>
                  <a:lnTo>
                    <a:pt x="20" y="1"/>
                  </a:lnTo>
                  <a:lnTo>
                    <a:pt x="15" y="3"/>
                  </a:lnTo>
                  <a:lnTo>
                    <a:pt x="11" y="5"/>
                  </a:lnTo>
                  <a:lnTo>
                    <a:pt x="7" y="8"/>
                  </a:lnTo>
                  <a:lnTo>
                    <a:pt x="4" y="12"/>
                  </a:lnTo>
                  <a:lnTo>
                    <a:pt x="1" y="17"/>
                  </a:lnTo>
                  <a:lnTo>
                    <a:pt x="0" y="22"/>
                  </a:lnTo>
                  <a:lnTo>
                    <a:pt x="0" y="27"/>
                  </a:lnTo>
                  <a:lnTo>
                    <a:pt x="0" y="32"/>
                  </a:lnTo>
                  <a:lnTo>
                    <a:pt x="1" y="37"/>
                  </a:lnTo>
                  <a:lnTo>
                    <a:pt x="4" y="41"/>
                  </a:lnTo>
                  <a:lnTo>
                    <a:pt x="7" y="46"/>
                  </a:lnTo>
                  <a:lnTo>
                    <a:pt x="11" y="49"/>
                  </a:lnTo>
                  <a:lnTo>
                    <a:pt x="15" y="51"/>
                  </a:lnTo>
                  <a:lnTo>
                    <a:pt x="20" y="52"/>
                  </a:lnTo>
                  <a:lnTo>
                    <a:pt x="26" y="53"/>
                  </a:lnTo>
                  <a:lnTo>
                    <a:pt x="31" y="52"/>
                  </a:lnTo>
                  <a:lnTo>
                    <a:pt x="37" y="51"/>
                  </a:lnTo>
                  <a:lnTo>
                    <a:pt x="41" y="49"/>
                  </a:lnTo>
                  <a:lnTo>
                    <a:pt x="44" y="46"/>
                  </a:lnTo>
                  <a:lnTo>
                    <a:pt x="47" y="41"/>
                  </a:lnTo>
                  <a:lnTo>
                    <a:pt x="51" y="37"/>
                  </a:lnTo>
                  <a:lnTo>
                    <a:pt x="52" y="32"/>
                  </a:lnTo>
                  <a:lnTo>
                    <a:pt x="53" y="27"/>
                  </a:lnTo>
                  <a:lnTo>
                    <a:pt x="52" y="22"/>
                  </a:lnTo>
                  <a:lnTo>
                    <a:pt x="51" y="17"/>
                  </a:lnTo>
                  <a:lnTo>
                    <a:pt x="47" y="12"/>
                  </a:lnTo>
                  <a:lnTo>
                    <a:pt x="44" y="8"/>
                  </a:lnTo>
                  <a:lnTo>
                    <a:pt x="41" y="5"/>
                  </a:lnTo>
                  <a:lnTo>
                    <a:pt x="37" y="3"/>
                  </a:lnTo>
                  <a:lnTo>
                    <a:pt x="31" y="1"/>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9" name="Group 34">
            <a:extLst>
              <a:ext uri="{FF2B5EF4-FFF2-40B4-BE49-F238E27FC236}">
                <a16:creationId xmlns:a16="http://schemas.microsoft.com/office/drawing/2014/main" id="{8320273D-5A94-4FB3-A91D-C3102E8F8490}"/>
              </a:ext>
            </a:extLst>
          </p:cNvPr>
          <p:cNvGrpSpPr>
            <a:grpSpLocks noChangeAspect="1"/>
          </p:cNvGrpSpPr>
          <p:nvPr/>
        </p:nvGrpSpPr>
        <p:grpSpPr>
          <a:xfrm>
            <a:off x="4437123" y="2203241"/>
            <a:ext cx="311734" cy="251859"/>
            <a:chOff x="5483226" y="5235575"/>
            <a:chExt cx="520700" cy="420688"/>
          </a:xfrm>
          <a:solidFill>
            <a:schemeClr val="bg1"/>
          </a:solidFill>
          <a:effectLst/>
        </p:grpSpPr>
        <p:sp>
          <p:nvSpPr>
            <p:cNvPr id="540" name="Freeform 112">
              <a:extLst>
                <a:ext uri="{FF2B5EF4-FFF2-40B4-BE49-F238E27FC236}">
                  <a16:creationId xmlns:a16="http://schemas.microsoft.com/office/drawing/2014/main" id="{55D2CCD9-6DAB-4E57-AD35-836B7504DA2D}"/>
                </a:ext>
              </a:extLst>
            </p:cNvPr>
            <p:cNvSpPr>
              <a:spLocks noEditPoints="1"/>
            </p:cNvSpPr>
            <p:nvPr/>
          </p:nvSpPr>
          <p:spPr bwMode="auto">
            <a:xfrm>
              <a:off x="5670551" y="5235575"/>
              <a:ext cx="146050" cy="158750"/>
            </a:xfrm>
            <a:custGeom>
              <a:avLst/>
              <a:gdLst>
                <a:gd name="T0" fmla="*/ 155 w 366"/>
                <a:gd name="T1" fmla="*/ 49 h 399"/>
                <a:gd name="T2" fmla="*/ 118 w 366"/>
                <a:gd name="T3" fmla="*/ 65 h 399"/>
                <a:gd name="T4" fmla="*/ 86 w 366"/>
                <a:gd name="T5" fmla="*/ 91 h 399"/>
                <a:gd name="T6" fmla="*/ 63 w 366"/>
                <a:gd name="T7" fmla="*/ 126 h 399"/>
                <a:gd name="T8" fmla="*/ 48 w 366"/>
                <a:gd name="T9" fmla="*/ 168 h 399"/>
                <a:gd name="T10" fmla="*/ 47 w 366"/>
                <a:gd name="T11" fmla="*/ 215 h 399"/>
                <a:gd name="T12" fmla="*/ 57 w 366"/>
                <a:gd name="T13" fmla="*/ 259 h 399"/>
                <a:gd name="T14" fmla="*/ 78 w 366"/>
                <a:gd name="T15" fmla="*/ 297 h 399"/>
                <a:gd name="T16" fmla="*/ 106 w 366"/>
                <a:gd name="T17" fmla="*/ 326 h 399"/>
                <a:gd name="T18" fmla="*/ 143 w 366"/>
                <a:gd name="T19" fmla="*/ 346 h 399"/>
                <a:gd name="T20" fmla="*/ 183 w 366"/>
                <a:gd name="T21" fmla="*/ 352 h 399"/>
                <a:gd name="T22" fmla="*/ 223 w 366"/>
                <a:gd name="T23" fmla="*/ 346 h 399"/>
                <a:gd name="T24" fmla="*/ 259 w 366"/>
                <a:gd name="T25" fmla="*/ 326 h 399"/>
                <a:gd name="T26" fmla="*/ 288 w 366"/>
                <a:gd name="T27" fmla="*/ 297 h 399"/>
                <a:gd name="T28" fmla="*/ 309 w 366"/>
                <a:gd name="T29" fmla="*/ 259 h 399"/>
                <a:gd name="T30" fmla="*/ 319 w 366"/>
                <a:gd name="T31" fmla="*/ 215 h 399"/>
                <a:gd name="T32" fmla="*/ 317 w 366"/>
                <a:gd name="T33" fmla="*/ 168 h 399"/>
                <a:gd name="T34" fmla="*/ 303 w 366"/>
                <a:gd name="T35" fmla="*/ 126 h 399"/>
                <a:gd name="T36" fmla="*/ 280 w 366"/>
                <a:gd name="T37" fmla="*/ 91 h 399"/>
                <a:gd name="T38" fmla="*/ 248 w 366"/>
                <a:gd name="T39" fmla="*/ 65 h 399"/>
                <a:gd name="T40" fmla="*/ 210 w 366"/>
                <a:gd name="T41" fmla="*/ 49 h 399"/>
                <a:gd name="T42" fmla="*/ 183 w 366"/>
                <a:gd name="T43" fmla="*/ 399 h 399"/>
                <a:gd name="T44" fmla="*/ 128 w 366"/>
                <a:gd name="T45" fmla="*/ 389 h 399"/>
                <a:gd name="T46" fmla="*/ 80 w 366"/>
                <a:gd name="T47" fmla="*/ 364 h 399"/>
                <a:gd name="T48" fmla="*/ 42 w 366"/>
                <a:gd name="T49" fmla="*/ 326 h 399"/>
                <a:gd name="T50" fmla="*/ 14 w 366"/>
                <a:gd name="T51" fmla="*/ 277 h 399"/>
                <a:gd name="T52" fmla="*/ 0 w 366"/>
                <a:gd name="T53" fmla="*/ 220 h 399"/>
                <a:gd name="T54" fmla="*/ 4 w 366"/>
                <a:gd name="T55" fmla="*/ 159 h 399"/>
                <a:gd name="T56" fmla="*/ 22 w 366"/>
                <a:gd name="T57" fmla="*/ 104 h 399"/>
                <a:gd name="T58" fmla="*/ 53 w 366"/>
                <a:gd name="T59" fmla="*/ 59 h 399"/>
                <a:gd name="T60" fmla="*/ 96 w 366"/>
                <a:gd name="T61" fmla="*/ 25 h 399"/>
                <a:gd name="T62" fmla="*/ 146 w 366"/>
                <a:gd name="T63" fmla="*/ 4 h 399"/>
                <a:gd name="T64" fmla="*/ 201 w 366"/>
                <a:gd name="T65" fmla="*/ 1 h 399"/>
                <a:gd name="T66" fmla="*/ 254 w 366"/>
                <a:gd name="T67" fmla="*/ 16 h 399"/>
                <a:gd name="T68" fmla="*/ 300 w 366"/>
                <a:gd name="T69" fmla="*/ 45 h 399"/>
                <a:gd name="T70" fmla="*/ 334 w 366"/>
                <a:gd name="T71" fmla="*/ 88 h 399"/>
                <a:gd name="T72" fmla="*/ 357 w 366"/>
                <a:gd name="T73" fmla="*/ 140 h 399"/>
                <a:gd name="T74" fmla="*/ 366 w 366"/>
                <a:gd name="T75" fmla="*/ 199 h 399"/>
                <a:gd name="T76" fmla="*/ 357 w 366"/>
                <a:gd name="T77" fmla="*/ 259 h 399"/>
                <a:gd name="T78" fmla="*/ 334 w 366"/>
                <a:gd name="T79" fmla="*/ 310 h 399"/>
                <a:gd name="T80" fmla="*/ 300 w 366"/>
                <a:gd name="T81" fmla="*/ 353 h 399"/>
                <a:gd name="T82" fmla="*/ 254 w 366"/>
                <a:gd name="T83" fmla="*/ 383 h 399"/>
                <a:gd name="T84" fmla="*/ 201 w 366"/>
                <a:gd name="T85" fmla="*/ 39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9">
                  <a:moveTo>
                    <a:pt x="183" y="47"/>
                  </a:moveTo>
                  <a:lnTo>
                    <a:pt x="168" y="47"/>
                  </a:lnTo>
                  <a:lnTo>
                    <a:pt x="155" y="49"/>
                  </a:lnTo>
                  <a:lnTo>
                    <a:pt x="143" y="53"/>
                  </a:lnTo>
                  <a:lnTo>
                    <a:pt x="129" y="59"/>
                  </a:lnTo>
                  <a:lnTo>
                    <a:pt x="118" y="65"/>
                  </a:lnTo>
                  <a:lnTo>
                    <a:pt x="106" y="72"/>
                  </a:lnTo>
                  <a:lnTo>
                    <a:pt x="96" y="81"/>
                  </a:lnTo>
                  <a:lnTo>
                    <a:pt x="86" y="91"/>
                  </a:lnTo>
                  <a:lnTo>
                    <a:pt x="78" y="102"/>
                  </a:lnTo>
                  <a:lnTo>
                    <a:pt x="69" y="114"/>
                  </a:lnTo>
                  <a:lnTo>
                    <a:pt x="63" y="126"/>
                  </a:lnTo>
                  <a:lnTo>
                    <a:pt x="57" y="140"/>
                  </a:lnTo>
                  <a:lnTo>
                    <a:pt x="52" y="153"/>
                  </a:lnTo>
                  <a:lnTo>
                    <a:pt x="48" y="168"/>
                  </a:lnTo>
                  <a:lnTo>
                    <a:pt x="47" y="184"/>
                  </a:lnTo>
                  <a:lnTo>
                    <a:pt x="46" y="199"/>
                  </a:lnTo>
                  <a:lnTo>
                    <a:pt x="47" y="215"/>
                  </a:lnTo>
                  <a:lnTo>
                    <a:pt x="48" y="231"/>
                  </a:lnTo>
                  <a:lnTo>
                    <a:pt x="52" y="244"/>
                  </a:lnTo>
                  <a:lnTo>
                    <a:pt x="57" y="259"/>
                  </a:lnTo>
                  <a:lnTo>
                    <a:pt x="63" y="272"/>
                  </a:lnTo>
                  <a:lnTo>
                    <a:pt x="69" y="285"/>
                  </a:lnTo>
                  <a:lnTo>
                    <a:pt x="78" y="297"/>
                  </a:lnTo>
                  <a:lnTo>
                    <a:pt x="86" y="308"/>
                  </a:lnTo>
                  <a:lnTo>
                    <a:pt x="96" y="318"/>
                  </a:lnTo>
                  <a:lnTo>
                    <a:pt x="106" y="326"/>
                  </a:lnTo>
                  <a:lnTo>
                    <a:pt x="118" y="334"/>
                  </a:lnTo>
                  <a:lnTo>
                    <a:pt x="129" y="340"/>
                  </a:lnTo>
                  <a:lnTo>
                    <a:pt x="143" y="346"/>
                  </a:lnTo>
                  <a:lnTo>
                    <a:pt x="155" y="350"/>
                  </a:lnTo>
                  <a:lnTo>
                    <a:pt x="168" y="351"/>
                  </a:lnTo>
                  <a:lnTo>
                    <a:pt x="183" y="352"/>
                  </a:lnTo>
                  <a:lnTo>
                    <a:pt x="197" y="351"/>
                  </a:lnTo>
                  <a:lnTo>
                    <a:pt x="210" y="350"/>
                  </a:lnTo>
                  <a:lnTo>
                    <a:pt x="223" y="346"/>
                  </a:lnTo>
                  <a:lnTo>
                    <a:pt x="236" y="340"/>
                  </a:lnTo>
                  <a:lnTo>
                    <a:pt x="248" y="334"/>
                  </a:lnTo>
                  <a:lnTo>
                    <a:pt x="259" y="326"/>
                  </a:lnTo>
                  <a:lnTo>
                    <a:pt x="270" y="318"/>
                  </a:lnTo>
                  <a:lnTo>
                    <a:pt x="280" y="308"/>
                  </a:lnTo>
                  <a:lnTo>
                    <a:pt x="288" y="297"/>
                  </a:lnTo>
                  <a:lnTo>
                    <a:pt x="296" y="285"/>
                  </a:lnTo>
                  <a:lnTo>
                    <a:pt x="303" y="272"/>
                  </a:lnTo>
                  <a:lnTo>
                    <a:pt x="309" y="259"/>
                  </a:lnTo>
                  <a:lnTo>
                    <a:pt x="313" y="244"/>
                  </a:lnTo>
                  <a:lnTo>
                    <a:pt x="317" y="231"/>
                  </a:lnTo>
                  <a:lnTo>
                    <a:pt x="319" y="215"/>
                  </a:lnTo>
                  <a:lnTo>
                    <a:pt x="319" y="199"/>
                  </a:lnTo>
                  <a:lnTo>
                    <a:pt x="319" y="184"/>
                  </a:lnTo>
                  <a:lnTo>
                    <a:pt x="317" y="168"/>
                  </a:lnTo>
                  <a:lnTo>
                    <a:pt x="313" y="153"/>
                  </a:lnTo>
                  <a:lnTo>
                    <a:pt x="309" y="140"/>
                  </a:lnTo>
                  <a:lnTo>
                    <a:pt x="303" y="126"/>
                  </a:lnTo>
                  <a:lnTo>
                    <a:pt x="296" y="114"/>
                  </a:lnTo>
                  <a:lnTo>
                    <a:pt x="288" y="102"/>
                  </a:lnTo>
                  <a:lnTo>
                    <a:pt x="280" y="91"/>
                  </a:lnTo>
                  <a:lnTo>
                    <a:pt x="270" y="81"/>
                  </a:lnTo>
                  <a:lnTo>
                    <a:pt x="259" y="72"/>
                  </a:lnTo>
                  <a:lnTo>
                    <a:pt x="248" y="65"/>
                  </a:lnTo>
                  <a:lnTo>
                    <a:pt x="236" y="59"/>
                  </a:lnTo>
                  <a:lnTo>
                    <a:pt x="223" y="53"/>
                  </a:lnTo>
                  <a:lnTo>
                    <a:pt x="210" y="49"/>
                  </a:lnTo>
                  <a:lnTo>
                    <a:pt x="197" y="47"/>
                  </a:lnTo>
                  <a:lnTo>
                    <a:pt x="183" y="47"/>
                  </a:lnTo>
                  <a:close/>
                  <a:moveTo>
                    <a:pt x="183" y="399"/>
                  </a:moveTo>
                  <a:lnTo>
                    <a:pt x="165" y="397"/>
                  </a:lnTo>
                  <a:lnTo>
                    <a:pt x="146" y="394"/>
                  </a:lnTo>
                  <a:lnTo>
                    <a:pt x="128" y="389"/>
                  </a:lnTo>
                  <a:lnTo>
                    <a:pt x="112" y="383"/>
                  </a:lnTo>
                  <a:lnTo>
                    <a:pt x="96" y="374"/>
                  </a:lnTo>
                  <a:lnTo>
                    <a:pt x="80" y="364"/>
                  </a:lnTo>
                  <a:lnTo>
                    <a:pt x="66" y="353"/>
                  </a:lnTo>
                  <a:lnTo>
                    <a:pt x="53" y="340"/>
                  </a:lnTo>
                  <a:lnTo>
                    <a:pt x="42" y="326"/>
                  </a:lnTo>
                  <a:lnTo>
                    <a:pt x="31" y="310"/>
                  </a:lnTo>
                  <a:lnTo>
                    <a:pt x="22" y="294"/>
                  </a:lnTo>
                  <a:lnTo>
                    <a:pt x="14" y="277"/>
                  </a:lnTo>
                  <a:lnTo>
                    <a:pt x="8" y="259"/>
                  </a:lnTo>
                  <a:lnTo>
                    <a:pt x="4" y="239"/>
                  </a:lnTo>
                  <a:lnTo>
                    <a:pt x="0" y="220"/>
                  </a:lnTo>
                  <a:lnTo>
                    <a:pt x="0" y="199"/>
                  </a:lnTo>
                  <a:lnTo>
                    <a:pt x="0" y="179"/>
                  </a:lnTo>
                  <a:lnTo>
                    <a:pt x="4" y="159"/>
                  </a:lnTo>
                  <a:lnTo>
                    <a:pt x="8" y="140"/>
                  </a:lnTo>
                  <a:lnTo>
                    <a:pt x="14" y="121"/>
                  </a:lnTo>
                  <a:lnTo>
                    <a:pt x="22" y="104"/>
                  </a:lnTo>
                  <a:lnTo>
                    <a:pt x="31" y="88"/>
                  </a:lnTo>
                  <a:lnTo>
                    <a:pt x="42" y="72"/>
                  </a:lnTo>
                  <a:lnTo>
                    <a:pt x="53" y="59"/>
                  </a:lnTo>
                  <a:lnTo>
                    <a:pt x="66" y="45"/>
                  </a:lnTo>
                  <a:lnTo>
                    <a:pt x="80" y="34"/>
                  </a:lnTo>
                  <a:lnTo>
                    <a:pt x="96" y="25"/>
                  </a:lnTo>
                  <a:lnTo>
                    <a:pt x="112" y="16"/>
                  </a:lnTo>
                  <a:lnTo>
                    <a:pt x="128" y="9"/>
                  </a:lnTo>
                  <a:lnTo>
                    <a:pt x="146" y="4"/>
                  </a:lnTo>
                  <a:lnTo>
                    <a:pt x="165" y="1"/>
                  </a:lnTo>
                  <a:lnTo>
                    <a:pt x="183" y="0"/>
                  </a:lnTo>
                  <a:lnTo>
                    <a:pt x="201" y="1"/>
                  </a:lnTo>
                  <a:lnTo>
                    <a:pt x="220" y="4"/>
                  </a:lnTo>
                  <a:lnTo>
                    <a:pt x="237" y="9"/>
                  </a:lnTo>
                  <a:lnTo>
                    <a:pt x="254" y="16"/>
                  </a:lnTo>
                  <a:lnTo>
                    <a:pt x="270" y="25"/>
                  </a:lnTo>
                  <a:lnTo>
                    <a:pt x="285" y="34"/>
                  </a:lnTo>
                  <a:lnTo>
                    <a:pt x="300" y="45"/>
                  </a:lnTo>
                  <a:lnTo>
                    <a:pt x="312" y="59"/>
                  </a:lnTo>
                  <a:lnTo>
                    <a:pt x="324" y="72"/>
                  </a:lnTo>
                  <a:lnTo>
                    <a:pt x="334" y="88"/>
                  </a:lnTo>
                  <a:lnTo>
                    <a:pt x="344" y="104"/>
                  </a:lnTo>
                  <a:lnTo>
                    <a:pt x="351" y="121"/>
                  </a:lnTo>
                  <a:lnTo>
                    <a:pt x="357" y="140"/>
                  </a:lnTo>
                  <a:lnTo>
                    <a:pt x="362" y="159"/>
                  </a:lnTo>
                  <a:lnTo>
                    <a:pt x="365" y="179"/>
                  </a:lnTo>
                  <a:lnTo>
                    <a:pt x="366" y="199"/>
                  </a:lnTo>
                  <a:lnTo>
                    <a:pt x="365" y="220"/>
                  </a:lnTo>
                  <a:lnTo>
                    <a:pt x="362" y="239"/>
                  </a:lnTo>
                  <a:lnTo>
                    <a:pt x="357" y="259"/>
                  </a:lnTo>
                  <a:lnTo>
                    <a:pt x="351" y="277"/>
                  </a:lnTo>
                  <a:lnTo>
                    <a:pt x="344" y="294"/>
                  </a:lnTo>
                  <a:lnTo>
                    <a:pt x="334" y="310"/>
                  </a:lnTo>
                  <a:lnTo>
                    <a:pt x="324" y="326"/>
                  </a:lnTo>
                  <a:lnTo>
                    <a:pt x="312" y="340"/>
                  </a:lnTo>
                  <a:lnTo>
                    <a:pt x="300" y="353"/>
                  </a:lnTo>
                  <a:lnTo>
                    <a:pt x="285" y="364"/>
                  </a:lnTo>
                  <a:lnTo>
                    <a:pt x="270" y="374"/>
                  </a:lnTo>
                  <a:lnTo>
                    <a:pt x="254" y="383"/>
                  </a:lnTo>
                  <a:lnTo>
                    <a:pt x="237" y="389"/>
                  </a:lnTo>
                  <a:lnTo>
                    <a:pt x="220" y="394"/>
                  </a:lnTo>
                  <a:lnTo>
                    <a:pt x="201" y="397"/>
                  </a:lnTo>
                  <a:lnTo>
                    <a:pt x="183"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1" name="Freeform 113">
              <a:extLst>
                <a:ext uri="{FF2B5EF4-FFF2-40B4-BE49-F238E27FC236}">
                  <a16:creationId xmlns:a16="http://schemas.microsoft.com/office/drawing/2014/main" id="{262417CE-80E8-451B-8AC2-29611E185C51}"/>
                </a:ext>
              </a:extLst>
            </p:cNvPr>
            <p:cNvSpPr>
              <a:spLocks/>
            </p:cNvSpPr>
            <p:nvPr/>
          </p:nvSpPr>
          <p:spPr bwMode="auto">
            <a:xfrm>
              <a:off x="5619751" y="5378450"/>
              <a:ext cx="247650" cy="155575"/>
            </a:xfrm>
            <a:custGeom>
              <a:avLst/>
              <a:gdLst>
                <a:gd name="T0" fmla="*/ 0 w 622"/>
                <a:gd name="T1" fmla="*/ 393 h 393"/>
                <a:gd name="T2" fmla="*/ 2 w 622"/>
                <a:gd name="T3" fmla="*/ 192 h 393"/>
                <a:gd name="T4" fmla="*/ 7 w 622"/>
                <a:gd name="T5" fmla="*/ 162 h 393"/>
                <a:gd name="T6" fmla="*/ 18 w 622"/>
                <a:gd name="T7" fmla="*/ 139 h 393"/>
                <a:gd name="T8" fmla="*/ 31 w 622"/>
                <a:gd name="T9" fmla="*/ 120 h 393"/>
                <a:gd name="T10" fmla="*/ 50 w 622"/>
                <a:gd name="T11" fmla="*/ 106 h 393"/>
                <a:gd name="T12" fmla="*/ 70 w 622"/>
                <a:gd name="T13" fmla="*/ 95 h 393"/>
                <a:gd name="T14" fmla="*/ 107 w 622"/>
                <a:gd name="T15" fmla="*/ 81 h 393"/>
                <a:gd name="T16" fmla="*/ 143 w 622"/>
                <a:gd name="T17" fmla="*/ 70 h 393"/>
                <a:gd name="T18" fmla="*/ 165 w 622"/>
                <a:gd name="T19" fmla="*/ 63 h 393"/>
                <a:gd name="T20" fmla="*/ 184 w 622"/>
                <a:gd name="T21" fmla="*/ 57 h 393"/>
                <a:gd name="T22" fmla="*/ 199 w 622"/>
                <a:gd name="T23" fmla="*/ 48 h 393"/>
                <a:gd name="T24" fmla="*/ 213 w 622"/>
                <a:gd name="T25" fmla="*/ 36 h 393"/>
                <a:gd name="T26" fmla="*/ 222 w 622"/>
                <a:gd name="T27" fmla="*/ 19 h 393"/>
                <a:gd name="T28" fmla="*/ 225 w 622"/>
                <a:gd name="T29" fmla="*/ 5 h 393"/>
                <a:gd name="T30" fmla="*/ 270 w 622"/>
                <a:gd name="T31" fmla="*/ 0 h 393"/>
                <a:gd name="T32" fmla="*/ 268 w 622"/>
                <a:gd name="T33" fmla="*/ 23 h 393"/>
                <a:gd name="T34" fmla="*/ 257 w 622"/>
                <a:gd name="T35" fmla="*/ 53 h 393"/>
                <a:gd name="T36" fmla="*/ 246 w 622"/>
                <a:gd name="T37" fmla="*/ 68 h 393"/>
                <a:gd name="T38" fmla="*/ 232 w 622"/>
                <a:gd name="T39" fmla="*/ 81 h 393"/>
                <a:gd name="T40" fmla="*/ 214 w 622"/>
                <a:gd name="T41" fmla="*/ 93 h 393"/>
                <a:gd name="T42" fmla="*/ 191 w 622"/>
                <a:gd name="T43" fmla="*/ 103 h 393"/>
                <a:gd name="T44" fmla="*/ 167 w 622"/>
                <a:gd name="T45" fmla="*/ 111 h 393"/>
                <a:gd name="T46" fmla="*/ 145 w 622"/>
                <a:gd name="T47" fmla="*/ 117 h 393"/>
                <a:gd name="T48" fmla="*/ 99 w 622"/>
                <a:gd name="T49" fmla="*/ 133 h 393"/>
                <a:gd name="T50" fmla="*/ 81 w 622"/>
                <a:gd name="T51" fmla="*/ 140 h 393"/>
                <a:gd name="T52" fmla="*/ 68 w 622"/>
                <a:gd name="T53" fmla="*/ 149 h 393"/>
                <a:gd name="T54" fmla="*/ 58 w 622"/>
                <a:gd name="T55" fmla="*/ 160 h 393"/>
                <a:gd name="T56" fmla="*/ 52 w 622"/>
                <a:gd name="T57" fmla="*/ 173 h 393"/>
                <a:gd name="T58" fmla="*/ 48 w 622"/>
                <a:gd name="T59" fmla="*/ 189 h 393"/>
                <a:gd name="T60" fmla="*/ 47 w 622"/>
                <a:gd name="T61" fmla="*/ 209 h 393"/>
                <a:gd name="T62" fmla="*/ 577 w 622"/>
                <a:gd name="T63" fmla="*/ 346 h 393"/>
                <a:gd name="T64" fmla="*/ 577 w 622"/>
                <a:gd name="T65" fmla="*/ 199 h 393"/>
                <a:gd name="T66" fmla="*/ 574 w 622"/>
                <a:gd name="T67" fmla="*/ 180 h 393"/>
                <a:gd name="T68" fmla="*/ 568 w 622"/>
                <a:gd name="T69" fmla="*/ 166 h 393"/>
                <a:gd name="T70" fmla="*/ 561 w 622"/>
                <a:gd name="T71" fmla="*/ 154 h 393"/>
                <a:gd name="T72" fmla="*/ 549 w 622"/>
                <a:gd name="T73" fmla="*/ 145 h 393"/>
                <a:gd name="T74" fmla="*/ 534 w 622"/>
                <a:gd name="T75" fmla="*/ 136 h 393"/>
                <a:gd name="T76" fmla="*/ 503 w 622"/>
                <a:gd name="T77" fmla="*/ 125 h 393"/>
                <a:gd name="T78" fmla="*/ 467 w 622"/>
                <a:gd name="T79" fmla="*/ 114 h 393"/>
                <a:gd name="T80" fmla="*/ 444 w 622"/>
                <a:gd name="T81" fmla="*/ 107 h 393"/>
                <a:gd name="T82" fmla="*/ 420 w 622"/>
                <a:gd name="T83" fmla="*/ 98 h 393"/>
                <a:gd name="T84" fmla="*/ 400 w 622"/>
                <a:gd name="T85" fmla="*/ 87 h 393"/>
                <a:gd name="T86" fmla="*/ 384 w 622"/>
                <a:gd name="T87" fmla="*/ 75 h 393"/>
                <a:gd name="T88" fmla="*/ 372 w 622"/>
                <a:gd name="T89" fmla="*/ 60 h 393"/>
                <a:gd name="T90" fmla="*/ 360 w 622"/>
                <a:gd name="T91" fmla="*/ 38 h 393"/>
                <a:gd name="T92" fmla="*/ 352 w 622"/>
                <a:gd name="T93" fmla="*/ 11 h 393"/>
                <a:gd name="T94" fmla="*/ 399 w 622"/>
                <a:gd name="T95" fmla="*/ 3 h 393"/>
                <a:gd name="T96" fmla="*/ 399 w 622"/>
                <a:gd name="T97" fmla="*/ 11 h 393"/>
                <a:gd name="T98" fmla="*/ 404 w 622"/>
                <a:gd name="T99" fmla="*/ 26 h 393"/>
                <a:gd name="T100" fmla="*/ 419 w 622"/>
                <a:gd name="T101" fmla="*/ 44 h 393"/>
                <a:gd name="T102" fmla="*/ 431 w 622"/>
                <a:gd name="T103" fmla="*/ 53 h 393"/>
                <a:gd name="T104" fmla="*/ 447 w 622"/>
                <a:gd name="T105" fmla="*/ 59 h 393"/>
                <a:gd name="T106" fmla="*/ 469 w 622"/>
                <a:gd name="T107" fmla="*/ 66 h 393"/>
                <a:gd name="T108" fmla="*/ 491 w 622"/>
                <a:gd name="T109" fmla="*/ 73 h 393"/>
                <a:gd name="T110" fmla="*/ 541 w 622"/>
                <a:gd name="T111" fmla="*/ 90 h 393"/>
                <a:gd name="T112" fmla="*/ 563 w 622"/>
                <a:gd name="T113" fmla="*/ 100 h 393"/>
                <a:gd name="T114" fmla="*/ 583 w 622"/>
                <a:gd name="T115" fmla="*/ 112 h 393"/>
                <a:gd name="T116" fmla="*/ 599 w 622"/>
                <a:gd name="T117" fmla="*/ 129 h 393"/>
                <a:gd name="T118" fmla="*/ 613 w 622"/>
                <a:gd name="T119" fmla="*/ 150 h 393"/>
                <a:gd name="T120" fmla="*/ 620 w 622"/>
                <a:gd name="T121" fmla="*/ 177 h 393"/>
                <a:gd name="T122" fmla="*/ 622 w 622"/>
                <a:gd name="T123" fmla="*/ 209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3">
                  <a:moveTo>
                    <a:pt x="622" y="393"/>
                  </a:moveTo>
                  <a:lnTo>
                    <a:pt x="0" y="393"/>
                  </a:lnTo>
                  <a:lnTo>
                    <a:pt x="0" y="209"/>
                  </a:lnTo>
                  <a:lnTo>
                    <a:pt x="2" y="192"/>
                  </a:lnTo>
                  <a:lnTo>
                    <a:pt x="3" y="177"/>
                  </a:lnTo>
                  <a:lnTo>
                    <a:pt x="7" y="162"/>
                  </a:lnTo>
                  <a:lnTo>
                    <a:pt x="12" y="150"/>
                  </a:lnTo>
                  <a:lnTo>
                    <a:pt x="18" y="139"/>
                  </a:lnTo>
                  <a:lnTo>
                    <a:pt x="24" y="129"/>
                  </a:lnTo>
                  <a:lnTo>
                    <a:pt x="31" y="120"/>
                  </a:lnTo>
                  <a:lnTo>
                    <a:pt x="40" y="112"/>
                  </a:lnTo>
                  <a:lnTo>
                    <a:pt x="50" y="106"/>
                  </a:lnTo>
                  <a:lnTo>
                    <a:pt x="59" y="100"/>
                  </a:lnTo>
                  <a:lnTo>
                    <a:pt x="70" y="95"/>
                  </a:lnTo>
                  <a:lnTo>
                    <a:pt x="83" y="90"/>
                  </a:lnTo>
                  <a:lnTo>
                    <a:pt x="107" y="81"/>
                  </a:lnTo>
                  <a:lnTo>
                    <a:pt x="133" y="73"/>
                  </a:lnTo>
                  <a:lnTo>
                    <a:pt x="143" y="70"/>
                  </a:lnTo>
                  <a:lnTo>
                    <a:pt x="154" y="66"/>
                  </a:lnTo>
                  <a:lnTo>
                    <a:pt x="165" y="63"/>
                  </a:lnTo>
                  <a:lnTo>
                    <a:pt x="176" y="59"/>
                  </a:lnTo>
                  <a:lnTo>
                    <a:pt x="184" y="57"/>
                  </a:lnTo>
                  <a:lnTo>
                    <a:pt x="193" y="53"/>
                  </a:lnTo>
                  <a:lnTo>
                    <a:pt x="199" y="48"/>
                  </a:lnTo>
                  <a:lnTo>
                    <a:pt x="204" y="44"/>
                  </a:lnTo>
                  <a:lnTo>
                    <a:pt x="213" y="36"/>
                  </a:lnTo>
                  <a:lnTo>
                    <a:pt x="219" y="26"/>
                  </a:lnTo>
                  <a:lnTo>
                    <a:pt x="222" y="19"/>
                  </a:lnTo>
                  <a:lnTo>
                    <a:pt x="224" y="11"/>
                  </a:lnTo>
                  <a:lnTo>
                    <a:pt x="225" y="5"/>
                  </a:lnTo>
                  <a:lnTo>
                    <a:pt x="225" y="3"/>
                  </a:lnTo>
                  <a:lnTo>
                    <a:pt x="270" y="0"/>
                  </a:lnTo>
                  <a:lnTo>
                    <a:pt x="270" y="11"/>
                  </a:lnTo>
                  <a:lnTo>
                    <a:pt x="268" y="23"/>
                  </a:lnTo>
                  <a:lnTo>
                    <a:pt x="264" y="38"/>
                  </a:lnTo>
                  <a:lnTo>
                    <a:pt x="257" y="53"/>
                  </a:lnTo>
                  <a:lnTo>
                    <a:pt x="252" y="60"/>
                  </a:lnTo>
                  <a:lnTo>
                    <a:pt x="246" y="68"/>
                  </a:lnTo>
                  <a:lnTo>
                    <a:pt x="240" y="75"/>
                  </a:lnTo>
                  <a:lnTo>
                    <a:pt x="232" y="81"/>
                  </a:lnTo>
                  <a:lnTo>
                    <a:pt x="224" y="87"/>
                  </a:lnTo>
                  <a:lnTo>
                    <a:pt x="214" y="93"/>
                  </a:lnTo>
                  <a:lnTo>
                    <a:pt x="203" y="98"/>
                  </a:lnTo>
                  <a:lnTo>
                    <a:pt x="191" y="103"/>
                  </a:lnTo>
                  <a:lnTo>
                    <a:pt x="180" y="107"/>
                  </a:lnTo>
                  <a:lnTo>
                    <a:pt x="167" y="111"/>
                  </a:lnTo>
                  <a:lnTo>
                    <a:pt x="156" y="114"/>
                  </a:lnTo>
                  <a:lnTo>
                    <a:pt x="145" y="117"/>
                  </a:lnTo>
                  <a:lnTo>
                    <a:pt x="119" y="125"/>
                  </a:lnTo>
                  <a:lnTo>
                    <a:pt x="99" y="133"/>
                  </a:lnTo>
                  <a:lnTo>
                    <a:pt x="90" y="136"/>
                  </a:lnTo>
                  <a:lnTo>
                    <a:pt x="81" y="140"/>
                  </a:lnTo>
                  <a:lnTo>
                    <a:pt x="74" y="145"/>
                  </a:lnTo>
                  <a:lnTo>
                    <a:pt x="68" y="149"/>
                  </a:lnTo>
                  <a:lnTo>
                    <a:pt x="63" y="154"/>
                  </a:lnTo>
                  <a:lnTo>
                    <a:pt x="58" y="160"/>
                  </a:lnTo>
                  <a:lnTo>
                    <a:pt x="54" y="166"/>
                  </a:lnTo>
                  <a:lnTo>
                    <a:pt x="52" y="173"/>
                  </a:lnTo>
                  <a:lnTo>
                    <a:pt x="50" y="180"/>
                  </a:lnTo>
                  <a:lnTo>
                    <a:pt x="48" y="189"/>
                  </a:lnTo>
                  <a:lnTo>
                    <a:pt x="47" y="199"/>
                  </a:lnTo>
                  <a:lnTo>
                    <a:pt x="47" y="209"/>
                  </a:lnTo>
                  <a:lnTo>
                    <a:pt x="47" y="346"/>
                  </a:lnTo>
                  <a:lnTo>
                    <a:pt x="577" y="346"/>
                  </a:lnTo>
                  <a:lnTo>
                    <a:pt x="577" y="209"/>
                  </a:lnTo>
                  <a:lnTo>
                    <a:pt x="577" y="199"/>
                  </a:lnTo>
                  <a:lnTo>
                    <a:pt x="576" y="189"/>
                  </a:lnTo>
                  <a:lnTo>
                    <a:pt x="574" y="180"/>
                  </a:lnTo>
                  <a:lnTo>
                    <a:pt x="572" y="173"/>
                  </a:lnTo>
                  <a:lnTo>
                    <a:pt x="568" y="166"/>
                  </a:lnTo>
                  <a:lnTo>
                    <a:pt x="565" y="160"/>
                  </a:lnTo>
                  <a:lnTo>
                    <a:pt x="561" y="154"/>
                  </a:lnTo>
                  <a:lnTo>
                    <a:pt x="555" y="149"/>
                  </a:lnTo>
                  <a:lnTo>
                    <a:pt x="549" y="145"/>
                  </a:lnTo>
                  <a:lnTo>
                    <a:pt x="543" y="140"/>
                  </a:lnTo>
                  <a:lnTo>
                    <a:pt x="534" y="136"/>
                  </a:lnTo>
                  <a:lnTo>
                    <a:pt x="525" y="133"/>
                  </a:lnTo>
                  <a:lnTo>
                    <a:pt x="503" y="125"/>
                  </a:lnTo>
                  <a:lnTo>
                    <a:pt x="478" y="117"/>
                  </a:lnTo>
                  <a:lnTo>
                    <a:pt x="467" y="114"/>
                  </a:lnTo>
                  <a:lnTo>
                    <a:pt x="456" y="111"/>
                  </a:lnTo>
                  <a:lnTo>
                    <a:pt x="444" y="107"/>
                  </a:lnTo>
                  <a:lnTo>
                    <a:pt x="432" y="103"/>
                  </a:lnTo>
                  <a:lnTo>
                    <a:pt x="420" y="98"/>
                  </a:lnTo>
                  <a:lnTo>
                    <a:pt x="410" y="93"/>
                  </a:lnTo>
                  <a:lnTo>
                    <a:pt x="400" y="87"/>
                  </a:lnTo>
                  <a:lnTo>
                    <a:pt x="392" y="81"/>
                  </a:lnTo>
                  <a:lnTo>
                    <a:pt x="384" y="75"/>
                  </a:lnTo>
                  <a:lnTo>
                    <a:pt x="377" y="68"/>
                  </a:lnTo>
                  <a:lnTo>
                    <a:pt x="372" y="60"/>
                  </a:lnTo>
                  <a:lnTo>
                    <a:pt x="367" y="53"/>
                  </a:lnTo>
                  <a:lnTo>
                    <a:pt x="360" y="38"/>
                  </a:lnTo>
                  <a:lnTo>
                    <a:pt x="355" y="23"/>
                  </a:lnTo>
                  <a:lnTo>
                    <a:pt x="352" y="11"/>
                  </a:lnTo>
                  <a:lnTo>
                    <a:pt x="352" y="0"/>
                  </a:lnTo>
                  <a:lnTo>
                    <a:pt x="399" y="3"/>
                  </a:lnTo>
                  <a:lnTo>
                    <a:pt x="399" y="5"/>
                  </a:lnTo>
                  <a:lnTo>
                    <a:pt x="399" y="11"/>
                  </a:lnTo>
                  <a:lnTo>
                    <a:pt x="402" y="19"/>
                  </a:lnTo>
                  <a:lnTo>
                    <a:pt x="404" y="26"/>
                  </a:lnTo>
                  <a:lnTo>
                    <a:pt x="410" y="36"/>
                  </a:lnTo>
                  <a:lnTo>
                    <a:pt x="419" y="44"/>
                  </a:lnTo>
                  <a:lnTo>
                    <a:pt x="425" y="48"/>
                  </a:lnTo>
                  <a:lnTo>
                    <a:pt x="431" y="53"/>
                  </a:lnTo>
                  <a:lnTo>
                    <a:pt x="438" y="57"/>
                  </a:lnTo>
                  <a:lnTo>
                    <a:pt x="447" y="59"/>
                  </a:lnTo>
                  <a:lnTo>
                    <a:pt x="458" y="63"/>
                  </a:lnTo>
                  <a:lnTo>
                    <a:pt x="469" y="66"/>
                  </a:lnTo>
                  <a:lnTo>
                    <a:pt x="480" y="70"/>
                  </a:lnTo>
                  <a:lnTo>
                    <a:pt x="491" y="73"/>
                  </a:lnTo>
                  <a:lnTo>
                    <a:pt x="517" y="81"/>
                  </a:lnTo>
                  <a:lnTo>
                    <a:pt x="541" y="90"/>
                  </a:lnTo>
                  <a:lnTo>
                    <a:pt x="552" y="95"/>
                  </a:lnTo>
                  <a:lnTo>
                    <a:pt x="563" y="100"/>
                  </a:lnTo>
                  <a:lnTo>
                    <a:pt x="573" y="106"/>
                  </a:lnTo>
                  <a:lnTo>
                    <a:pt x="583" y="112"/>
                  </a:lnTo>
                  <a:lnTo>
                    <a:pt x="592" y="120"/>
                  </a:lnTo>
                  <a:lnTo>
                    <a:pt x="599" y="129"/>
                  </a:lnTo>
                  <a:lnTo>
                    <a:pt x="606" y="139"/>
                  </a:lnTo>
                  <a:lnTo>
                    <a:pt x="613" y="150"/>
                  </a:lnTo>
                  <a:lnTo>
                    <a:pt x="616" y="162"/>
                  </a:lnTo>
                  <a:lnTo>
                    <a:pt x="620" y="177"/>
                  </a:lnTo>
                  <a:lnTo>
                    <a:pt x="622" y="192"/>
                  </a:lnTo>
                  <a:lnTo>
                    <a:pt x="622" y="209"/>
                  </a:lnTo>
                  <a:lnTo>
                    <a:pt x="622" y="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2" name="Freeform 114">
              <a:extLst>
                <a:ext uri="{FF2B5EF4-FFF2-40B4-BE49-F238E27FC236}">
                  <a16:creationId xmlns:a16="http://schemas.microsoft.com/office/drawing/2014/main" id="{50716418-60A3-441C-9682-642EED9A910F}"/>
                </a:ext>
              </a:extLst>
            </p:cNvPr>
            <p:cNvSpPr>
              <a:spLocks/>
            </p:cNvSpPr>
            <p:nvPr/>
          </p:nvSpPr>
          <p:spPr bwMode="auto">
            <a:xfrm>
              <a:off x="5678488" y="5273675"/>
              <a:ext cx="128588" cy="34925"/>
            </a:xfrm>
            <a:custGeom>
              <a:avLst/>
              <a:gdLst>
                <a:gd name="T0" fmla="*/ 79 w 325"/>
                <a:gd name="T1" fmla="*/ 87 h 87"/>
                <a:gd name="T2" fmla="*/ 59 w 325"/>
                <a:gd name="T3" fmla="*/ 87 h 87"/>
                <a:gd name="T4" fmla="*/ 41 w 325"/>
                <a:gd name="T5" fmla="*/ 86 h 87"/>
                <a:gd name="T6" fmla="*/ 20 w 325"/>
                <a:gd name="T7" fmla="*/ 82 h 87"/>
                <a:gd name="T8" fmla="*/ 0 w 325"/>
                <a:gd name="T9" fmla="*/ 78 h 87"/>
                <a:gd name="T10" fmla="*/ 11 w 325"/>
                <a:gd name="T11" fmla="*/ 33 h 87"/>
                <a:gd name="T12" fmla="*/ 32 w 325"/>
                <a:gd name="T13" fmla="*/ 38 h 87"/>
                <a:gd name="T14" fmla="*/ 53 w 325"/>
                <a:gd name="T15" fmla="*/ 40 h 87"/>
                <a:gd name="T16" fmla="*/ 74 w 325"/>
                <a:gd name="T17" fmla="*/ 41 h 87"/>
                <a:gd name="T18" fmla="*/ 92 w 325"/>
                <a:gd name="T19" fmla="*/ 41 h 87"/>
                <a:gd name="T20" fmla="*/ 111 w 325"/>
                <a:gd name="T21" fmla="*/ 39 h 87"/>
                <a:gd name="T22" fmla="*/ 128 w 325"/>
                <a:gd name="T23" fmla="*/ 36 h 87"/>
                <a:gd name="T24" fmla="*/ 143 w 325"/>
                <a:gd name="T25" fmla="*/ 34 h 87"/>
                <a:gd name="T26" fmla="*/ 157 w 325"/>
                <a:gd name="T27" fmla="*/ 29 h 87"/>
                <a:gd name="T28" fmla="*/ 182 w 325"/>
                <a:gd name="T29" fmla="*/ 22 h 87"/>
                <a:gd name="T30" fmla="*/ 200 w 325"/>
                <a:gd name="T31" fmla="*/ 13 h 87"/>
                <a:gd name="T32" fmla="*/ 213 w 325"/>
                <a:gd name="T33" fmla="*/ 7 h 87"/>
                <a:gd name="T34" fmla="*/ 218 w 325"/>
                <a:gd name="T35" fmla="*/ 5 h 87"/>
                <a:gd name="T36" fmla="*/ 220 w 325"/>
                <a:gd name="T37" fmla="*/ 2 h 87"/>
                <a:gd name="T38" fmla="*/ 224 w 325"/>
                <a:gd name="T39" fmla="*/ 1 h 87"/>
                <a:gd name="T40" fmla="*/ 229 w 325"/>
                <a:gd name="T41" fmla="*/ 0 h 87"/>
                <a:gd name="T42" fmla="*/ 232 w 325"/>
                <a:gd name="T43" fmla="*/ 1 h 87"/>
                <a:gd name="T44" fmla="*/ 236 w 325"/>
                <a:gd name="T45" fmla="*/ 1 h 87"/>
                <a:gd name="T46" fmla="*/ 240 w 325"/>
                <a:gd name="T47" fmla="*/ 2 h 87"/>
                <a:gd name="T48" fmla="*/ 243 w 325"/>
                <a:gd name="T49" fmla="*/ 5 h 87"/>
                <a:gd name="T50" fmla="*/ 246 w 325"/>
                <a:gd name="T51" fmla="*/ 7 h 87"/>
                <a:gd name="T52" fmla="*/ 252 w 325"/>
                <a:gd name="T53" fmla="*/ 11 h 87"/>
                <a:gd name="T54" fmla="*/ 267 w 325"/>
                <a:gd name="T55" fmla="*/ 19 h 87"/>
                <a:gd name="T56" fmla="*/ 278 w 325"/>
                <a:gd name="T57" fmla="*/ 24 h 87"/>
                <a:gd name="T58" fmla="*/ 291 w 325"/>
                <a:gd name="T59" fmla="*/ 28 h 87"/>
                <a:gd name="T60" fmla="*/ 307 w 325"/>
                <a:gd name="T61" fmla="*/ 32 h 87"/>
                <a:gd name="T62" fmla="*/ 325 w 325"/>
                <a:gd name="T63" fmla="*/ 33 h 87"/>
                <a:gd name="T64" fmla="*/ 325 w 325"/>
                <a:gd name="T65" fmla="*/ 78 h 87"/>
                <a:gd name="T66" fmla="*/ 308 w 325"/>
                <a:gd name="T67" fmla="*/ 78 h 87"/>
                <a:gd name="T68" fmla="*/ 292 w 325"/>
                <a:gd name="T69" fmla="*/ 76 h 87"/>
                <a:gd name="T70" fmla="*/ 279 w 325"/>
                <a:gd name="T71" fmla="*/ 72 h 87"/>
                <a:gd name="T72" fmla="*/ 265 w 325"/>
                <a:gd name="T73" fmla="*/ 68 h 87"/>
                <a:gd name="T74" fmla="*/ 254 w 325"/>
                <a:gd name="T75" fmla="*/ 65 h 87"/>
                <a:gd name="T76" fmla="*/ 243 w 325"/>
                <a:gd name="T77" fmla="*/ 60 h 87"/>
                <a:gd name="T78" fmla="*/ 235 w 325"/>
                <a:gd name="T79" fmla="*/ 55 h 87"/>
                <a:gd name="T80" fmla="*/ 227 w 325"/>
                <a:gd name="T81" fmla="*/ 51 h 87"/>
                <a:gd name="T82" fmla="*/ 218 w 325"/>
                <a:gd name="T83" fmla="*/ 56 h 87"/>
                <a:gd name="T84" fmla="*/ 204 w 325"/>
                <a:gd name="T85" fmla="*/ 62 h 87"/>
                <a:gd name="T86" fmla="*/ 188 w 325"/>
                <a:gd name="T87" fmla="*/ 68 h 87"/>
                <a:gd name="T88" fmla="*/ 171 w 325"/>
                <a:gd name="T89" fmla="*/ 74 h 87"/>
                <a:gd name="T90" fmla="*/ 150 w 325"/>
                <a:gd name="T91" fmla="*/ 79 h 87"/>
                <a:gd name="T92" fmla="*/ 128 w 325"/>
                <a:gd name="T93" fmla="*/ 83 h 87"/>
                <a:gd name="T94" fmla="*/ 105 w 325"/>
                <a:gd name="T95" fmla="*/ 87 h 87"/>
                <a:gd name="T96" fmla="*/ 79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9" y="87"/>
                  </a:moveTo>
                  <a:lnTo>
                    <a:pt x="59" y="87"/>
                  </a:lnTo>
                  <a:lnTo>
                    <a:pt x="41" y="86"/>
                  </a:lnTo>
                  <a:lnTo>
                    <a:pt x="20" y="82"/>
                  </a:lnTo>
                  <a:lnTo>
                    <a:pt x="0" y="78"/>
                  </a:lnTo>
                  <a:lnTo>
                    <a:pt x="11" y="33"/>
                  </a:lnTo>
                  <a:lnTo>
                    <a:pt x="32" y="38"/>
                  </a:lnTo>
                  <a:lnTo>
                    <a:pt x="53" y="40"/>
                  </a:lnTo>
                  <a:lnTo>
                    <a:pt x="74" y="41"/>
                  </a:lnTo>
                  <a:lnTo>
                    <a:pt x="92" y="41"/>
                  </a:lnTo>
                  <a:lnTo>
                    <a:pt x="111" y="39"/>
                  </a:lnTo>
                  <a:lnTo>
                    <a:pt x="128" y="36"/>
                  </a:lnTo>
                  <a:lnTo>
                    <a:pt x="143" y="34"/>
                  </a:lnTo>
                  <a:lnTo>
                    <a:pt x="157" y="29"/>
                  </a:lnTo>
                  <a:lnTo>
                    <a:pt x="182" y="22"/>
                  </a:lnTo>
                  <a:lnTo>
                    <a:pt x="200" y="13"/>
                  </a:lnTo>
                  <a:lnTo>
                    <a:pt x="213" y="7"/>
                  </a:lnTo>
                  <a:lnTo>
                    <a:pt x="218" y="5"/>
                  </a:lnTo>
                  <a:lnTo>
                    <a:pt x="220" y="2"/>
                  </a:lnTo>
                  <a:lnTo>
                    <a:pt x="224" y="1"/>
                  </a:lnTo>
                  <a:lnTo>
                    <a:pt x="229" y="0"/>
                  </a:lnTo>
                  <a:lnTo>
                    <a:pt x="232" y="1"/>
                  </a:lnTo>
                  <a:lnTo>
                    <a:pt x="236" y="1"/>
                  </a:lnTo>
                  <a:lnTo>
                    <a:pt x="240" y="2"/>
                  </a:lnTo>
                  <a:lnTo>
                    <a:pt x="243" y="5"/>
                  </a:lnTo>
                  <a:lnTo>
                    <a:pt x="246" y="7"/>
                  </a:lnTo>
                  <a:lnTo>
                    <a:pt x="252" y="11"/>
                  </a:lnTo>
                  <a:lnTo>
                    <a:pt x="267" y="19"/>
                  </a:lnTo>
                  <a:lnTo>
                    <a:pt x="278" y="24"/>
                  </a:lnTo>
                  <a:lnTo>
                    <a:pt x="291" y="28"/>
                  </a:lnTo>
                  <a:lnTo>
                    <a:pt x="307" y="32"/>
                  </a:lnTo>
                  <a:lnTo>
                    <a:pt x="325" y="33"/>
                  </a:lnTo>
                  <a:lnTo>
                    <a:pt x="325" y="78"/>
                  </a:lnTo>
                  <a:lnTo>
                    <a:pt x="308" y="78"/>
                  </a:lnTo>
                  <a:lnTo>
                    <a:pt x="292" y="76"/>
                  </a:lnTo>
                  <a:lnTo>
                    <a:pt x="279" y="72"/>
                  </a:lnTo>
                  <a:lnTo>
                    <a:pt x="265" y="68"/>
                  </a:lnTo>
                  <a:lnTo>
                    <a:pt x="254" y="65"/>
                  </a:lnTo>
                  <a:lnTo>
                    <a:pt x="243" y="60"/>
                  </a:lnTo>
                  <a:lnTo>
                    <a:pt x="235" y="55"/>
                  </a:lnTo>
                  <a:lnTo>
                    <a:pt x="227" y="51"/>
                  </a:lnTo>
                  <a:lnTo>
                    <a:pt x="218" y="56"/>
                  </a:lnTo>
                  <a:lnTo>
                    <a:pt x="204" y="62"/>
                  </a:lnTo>
                  <a:lnTo>
                    <a:pt x="188" y="68"/>
                  </a:lnTo>
                  <a:lnTo>
                    <a:pt x="171" y="74"/>
                  </a:lnTo>
                  <a:lnTo>
                    <a:pt x="150" y="79"/>
                  </a:lnTo>
                  <a:lnTo>
                    <a:pt x="128" y="83"/>
                  </a:lnTo>
                  <a:lnTo>
                    <a:pt x="105" y="87"/>
                  </a:lnTo>
                  <a:lnTo>
                    <a:pt x="79"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3" name="Freeform 115">
              <a:extLst>
                <a:ext uri="{FF2B5EF4-FFF2-40B4-BE49-F238E27FC236}">
                  <a16:creationId xmlns:a16="http://schemas.microsoft.com/office/drawing/2014/main" id="{9838D33C-34DB-4BEA-BD9C-42F14EAB37E6}"/>
                </a:ext>
              </a:extLst>
            </p:cNvPr>
            <p:cNvSpPr>
              <a:spLocks noEditPoints="1"/>
            </p:cNvSpPr>
            <p:nvPr/>
          </p:nvSpPr>
          <p:spPr bwMode="auto">
            <a:xfrm>
              <a:off x="5522913" y="5292725"/>
              <a:ext cx="120650" cy="130175"/>
            </a:xfrm>
            <a:custGeom>
              <a:avLst/>
              <a:gdLst>
                <a:gd name="T0" fmla="*/ 130 w 301"/>
                <a:gd name="T1" fmla="*/ 48 h 328"/>
                <a:gd name="T2" fmla="*/ 100 w 301"/>
                <a:gd name="T3" fmla="*/ 60 h 328"/>
                <a:gd name="T4" fmla="*/ 77 w 301"/>
                <a:gd name="T5" fmla="*/ 81 h 328"/>
                <a:gd name="T6" fmla="*/ 59 w 301"/>
                <a:gd name="T7" fmla="*/ 108 h 328"/>
                <a:gd name="T8" fmla="*/ 47 w 301"/>
                <a:gd name="T9" fmla="*/ 140 h 328"/>
                <a:gd name="T10" fmla="*/ 46 w 301"/>
                <a:gd name="T11" fmla="*/ 175 h 328"/>
                <a:gd name="T12" fmla="*/ 54 w 301"/>
                <a:gd name="T13" fmla="*/ 210 h 328"/>
                <a:gd name="T14" fmla="*/ 70 w 301"/>
                <a:gd name="T15" fmla="*/ 239 h 328"/>
                <a:gd name="T16" fmla="*/ 92 w 301"/>
                <a:gd name="T17" fmla="*/ 261 h 328"/>
                <a:gd name="T18" fmla="*/ 120 w 301"/>
                <a:gd name="T19" fmla="*/ 276 h 328"/>
                <a:gd name="T20" fmla="*/ 150 w 301"/>
                <a:gd name="T21" fmla="*/ 282 h 328"/>
                <a:gd name="T22" fmla="*/ 181 w 301"/>
                <a:gd name="T23" fmla="*/ 276 h 328"/>
                <a:gd name="T24" fmla="*/ 209 w 301"/>
                <a:gd name="T25" fmla="*/ 261 h 328"/>
                <a:gd name="T26" fmla="*/ 231 w 301"/>
                <a:gd name="T27" fmla="*/ 239 h 328"/>
                <a:gd name="T28" fmla="*/ 247 w 301"/>
                <a:gd name="T29" fmla="*/ 210 h 328"/>
                <a:gd name="T30" fmla="*/ 255 w 301"/>
                <a:gd name="T31" fmla="*/ 175 h 328"/>
                <a:gd name="T32" fmla="*/ 254 w 301"/>
                <a:gd name="T33" fmla="*/ 140 h 328"/>
                <a:gd name="T34" fmla="*/ 242 w 301"/>
                <a:gd name="T35" fmla="*/ 108 h 328"/>
                <a:gd name="T36" fmla="*/ 225 w 301"/>
                <a:gd name="T37" fmla="*/ 81 h 328"/>
                <a:gd name="T38" fmla="*/ 201 w 301"/>
                <a:gd name="T39" fmla="*/ 60 h 328"/>
                <a:gd name="T40" fmla="*/ 171 w 301"/>
                <a:gd name="T41" fmla="*/ 48 h 328"/>
                <a:gd name="T42" fmla="*/ 150 w 301"/>
                <a:gd name="T43" fmla="*/ 328 h 328"/>
                <a:gd name="T44" fmla="*/ 106 w 301"/>
                <a:gd name="T45" fmla="*/ 320 h 328"/>
                <a:gd name="T46" fmla="*/ 66 w 301"/>
                <a:gd name="T47" fmla="*/ 299 h 328"/>
                <a:gd name="T48" fmla="*/ 34 w 301"/>
                <a:gd name="T49" fmla="*/ 267 h 328"/>
                <a:gd name="T50" fmla="*/ 12 w 301"/>
                <a:gd name="T51" fmla="*/ 227 h 328"/>
                <a:gd name="T52" fmla="*/ 1 w 301"/>
                <a:gd name="T53" fmla="*/ 180 h 328"/>
                <a:gd name="T54" fmla="*/ 2 w 301"/>
                <a:gd name="T55" fmla="*/ 131 h 328"/>
                <a:gd name="T56" fmla="*/ 18 w 301"/>
                <a:gd name="T57" fmla="*/ 86 h 328"/>
                <a:gd name="T58" fmla="*/ 44 w 301"/>
                <a:gd name="T59" fmla="*/ 48 h 328"/>
                <a:gd name="T60" fmla="*/ 78 w 301"/>
                <a:gd name="T61" fmla="*/ 20 h 328"/>
                <a:gd name="T62" fmla="*/ 120 w 301"/>
                <a:gd name="T63" fmla="*/ 4 h 328"/>
                <a:gd name="T64" fmla="*/ 166 w 301"/>
                <a:gd name="T65" fmla="*/ 1 h 328"/>
                <a:gd name="T66" fmla="*/ 209 w 301"/>
                <a:gd name="T67" fmla="*/ 12 h 328"/>
                <a:gd name="T68" fmla="*/ 246 w 301"/>
                <a:gd name="T69" fmla="*/ 38 h 328"/>
                <a:gd name="T70" fmla="*/ 276 w 301"/>
                <a:gd name="T71" fmla="*/ 72 h 328"/>
                <a:gd name="T72" fmla="*/ 295 w 301"/>
                <a:gd name="T73" fmla="*/ 115 h 328"/>
                <a:gd name="T74" fmla="*/ 301 w 301"/>
                <a:gd name="T75" fmla="*/ 164 h 328"/>
                <a:gd name="T76" fmla="*/ 295 w 301"/>
                <a:gd name="T77" fmla="*/ 212 h 328"/>
                <a:gd name="T78" fmla="*/ 276 w 301"/>
                <a:gd name="T79" fmla="*/ 255 h 328"/>
                <a:gd name="T80" fmla="*/ 246 w 301"/>
                <a:gd name="T81" fmla="*/ 291 h 328"/>
                <a:gd name="T82" fmla="*/ 209 w 301"/>
                <a:gd name="T83" fmla="*/ 315 h 328"/>
                <a:gd name="T84" fmla="*/ 166 w 301"/>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28">
                  <a:moveTo>
                    <a:pt x="150" y="47"/>
                  </a:moveTo>
                  <a:lnTo>
                    <a:pt x="139" y="47"/>
                  </a:lnTo>
                  <a:lnTo>
                    <a:pt x="130" y="48"/>
                  </a:lnTo>
                  <a:lnTo>
                    <a:pt x="120" y="52"/>
                  </a:lnTo>
                  <a:lnTo>
                    <a:pt x="110" y="55"/>
                  </a:lnTo>
                  <a:lnTo>
                    <a:pt x="100" y="60"/>
                  </a:lnTo>
                  <a:lnTo>
                    <a:pt x="92" y="66"/>
                  </a:lnTo>
                  <a:lnTo>
                    <a:pt x="84" y="72"/>
                  </a:lnTo>
                  <a:lnTo>
                    <a:pt x="77" y="81"/>
                  </a:lnTo>
                  <a:lnTo>
                    <a:pt x="70" y="88"/>
                  </a:lnTo>
                  <a:lnTo>
                    <a:pt x="63" y="98"/>
                  </a:lnTo>
                  <a:lnTo>
                    <a:pt x="59" y="108"/>
                  </a:lnTo>
                  <a:lnTo>
                    <a:pt x="54" y="118"/>
                  </a:lnTo>
                  <a:lnTo>
                    <a:pt x="50" y="129"/>
                  </a:lnTo>
                  <a:lnTo>
                    <a:pt x="47" y="140"/>
                  </a:lnTo>
                  <a:lnTo>
                    <a:pt x="46" y="152"/>
                  </a:lnTo>
                  <a:lnTo>
                    <a:pt x="46" y="164"/>
                  </a:lnTo>
                  <a:lnTo>
                    <a:pt x="46" y="175"/>
                  </a:lnTo>
                  <a:lnTo>
                    <a:pt x="47" y="188"/>
                  </a:lnTo>
                  <a:lnTo>
                    <a:pt x="50" y="199"/>
                  </a:lnTo>
                  <a:lnTo>
                    <a:pt x="54" y="210"/>
                  </a:lnTo>
                  <a:lnTo>
                    <a:pt x="59" y="220"/>
                  </a:lnTo>
                  <a:lnTo>
                    <a:pt x="63" y="229"/>
                  </a:lnTo>
                  <a:lnTo>
                    <a:pt x="70" y="239"/>
                  </a:lnTo>
                  <a:lnTo>
                    <a:pt x="77" y="247"/>
                  </a:lnTo>
                  <a:lnTo>
                    <a:pt x="84" y="255"/>
                  </a:lnTo>
                  <a:lnTo>
                    <a:pt x="92" y="261"/>
                  </a:lnTo>
                  <a:lnTo>
                    <a:pt x="100" y="267"/>
                  </a:lnTo>
                  <a:lnTo>
                    <a:pt x="110" y="272"/>
                  </a:lnTo>
                  <a:lnTo>
                    <a:pt x="120" y="276"/>
                  </a:lnTo>
                  <a:lnTo>
                    <a:pt x="130" y="280"/>
                  </a:lnTo>
                  <a:lnTo>
                    <a:pt x="139" y="281"/>
                  </a:lnTo>
                  <a:lnTo>
                    <a:pt x="150" y="282"/>
                  </a:lnTo>
                  <a:lnTo>
                    <a:pt x="162" y="281"/>
                  </a:lnTo>
                  <a:lnTo>
                    <a:pt x="171" y="280"/>
                  </a:lnTo>
                  <a:lnTo>
                    <a:pt x="181" y="276"/>
                  </a:lnTo>
                  <a:lnTo>
                    <a:pt x="191" y="272"/>
                  </a:lnTo>
                  <a:lnTo>
                    <a:pt x="201" y="267"/>
                  </a:lnTo>
                  <a:lnTo>
                    <a:pt x="209" y="261"/>
                  </a:lnTo>
                  <a:lnTo>
                    <a:pt x="217" y="255"/>
                  </a:lnTo>
                  <a:lnTo>
                    <a:pt x="225" y="247"/>
                  </a:lnTo>
                  <a:lnTo>
                    <a:pt x="231" y="239"/>
                  </a:lnTo>
                  <a:lnTo>
                    <a:pt x="238" y="229"/>
                  </a:lnTo>
                  <a:lnTo>
                    <a:pt x="242" y="220"/>
                  </a:lnTo>
                  <a:lnTo>
                    <a:pt x="247" y="210"/>
                  </a:lnTo>
                  <a:lnTo>
                    <a:pt x="251" y="199"/>
                  </a:lnTo>
                  <a:lnTo>
                    <a:pt x="254" y="188"/>
                  </a:lnTo>
                  <a:lnTo>
                    <a:pt x="255" y="175"/>
                  </a:lnTo>
                  <a:lnTo>
                    <a:pt x="256" y="164"/>
                  </a:lnTo>
                  <a:lnTo>
                    <a:pt x="255" y="152"/>
                  </a:lnTo>
                  <a:lnTo>
                    <a:pt x="254" y="140"/>
                  </a:lnTo>
                  <a:lnTo>
                    <a:pt x="251" y="129"/>
                  </a:lnTo>
                  <a:lnTo>
                    <a:pt x="247" y="118"/>
                  </a:lnTo>
                  <a:lnTo>
                    <a:pt x="242" y="108"/>
                  </a:lnTo>
                  <a:lnTo>
                    <a:pt x="238" y="98"/>
                  </a:lnTo>
                  <a:lnTo>
                    <a:pt x="231" y="88"/>
                  </a:lnTo>
                  <a:lnTo>
                    <a:pt x="225" y="81"/>
                  </a:lnTo>
                  <a:lnTo>
                    <a:pt x="217" y="72"/>
                  </a:lnTo>
                  <a:lnTo>
                    <a:pt x="209" y="66"/>
                  </a:lnTo>
                  <a:lnTo>
                    <a:pt x="201" y="60"/>
                  </a:lnTo>
                  <a:lnTo>
                    <a:pt x="191" y="55"/>
                  </a:lnTo>
                  <a:lnTo>
                    <a:pt x="181" y="52"/>
                  </a:lnTo>
                  <a:lnTo>
                    <a:pt x="171" y="48"/>
                  </a:lnTo>
                  <a:lnTo>
                    <a:pt x="162" y="47"/>
                  </a:lnTo>
                  <a:lnTo>
                    <a:pt x="150" y="47"/>
                  </a:lnTo>
                  <a:close/>
                  <a:moveTo>
                    <a:pt x="150" y="328"/>
                  </a:moveTo>
                  <a:lnTo>
                    <a:pt x="136" y="326"/>
                  </a:lnTo>
                  <a:lnTo>
                    <a:pt x="120" y="324"/>
                  </a:lnTo>
                  <a:lnTo>
                    <a:pt x="106" y="320"/>
                  </a:lnTo>
                  <a:lnTo>
                    <a:pt x="92" y="315"/>
                  </a:lnTo>
                  <a:lnTo>
                    <a:pt x="78" y="308"/>
                  </a:lnTo>
                  <a:lnTo>
                    <a:pt x="66" y="299"/>
                  </a:lnTo>
                  <a:lnTo>
                    <a:pt x="55" y="291"/>
                  </a:lnTo>
                  <a:lnTo>
                    <a:pt x="44" y="280"/>
                  </a:lnTo>
                  <a:lnTo>
                    <a:pt x="34" y="267"/>
                  </a:lnTo>
                  <a:lnTo>
                    <a:pt x="25" y="255"/>
                  </a:lnTo>
                  <a:lnTo>
                    <a:pt x="18" y="242"/>
                  </a:lnTo>
                  <a:lnTo>
                    <a:pt x="12" y="227"/>
                  </a:lnTo>
                  <a:lnTo>
                    <a:pt x="7" y="212"/>
                  </a:lnTo>
                  <a:lnTo>
                    <a:pt x="2" y="196"/>
                  </a:lnTo>
                  <a:lnTo>
                    <a:pt x="1" y="180"/>
                  </a:lnTo>
                  <a:lnTo>
                    <a:pt x="0" y="164"/>
                  </a:lnTo>
                  <a:lnTo>
                    <a:pt x="1" y="147"/>
                  </a:lnTo>
                  <a:lnTo>
                    <a:pt x="2" y="131"/>
                  </a:lnTo>
                  <a:lnTo>
                    <a:pt x="7" y="115"/>
                  </a:lnTo>
                  <a:lnTo>
                    <a:pt x="12" y="101"/>
                  </a:lnTo>
                  <a:lnTo>
                    <a:pt x="18" y="86"/>
                  </a:lnTo>
                  <a:lnTo>
                    <a:pt x="25" y="72"/>
                  </a:lnTo>
                  <a:lnTo>
                    <a:pt x="34" y="60"/>
                  </a:lnTo>
                  <a:lnTo>
                    <a:pt x="44" y="48"/>
                  </a:lnTo>
                  <a:lnTo>
                    <a:pt x="55" y="38"/>
                  </a:lnTo>
                  <a:lnTo>
                    <a:pt x="66" y="28"/>
                  </a:lnTo>
                  <a:lnTo>
                    <a:pt x="78" y="20"/>
                  </a:lnTo>
                  <a:lnTo>
                    <a:pt x="92" y="12"/>
                  </a:lnTo>
                  <a:lnTo>
                    <a:pt x="106" y="7"/>
                  </a:lnTo>
                  <a:lnTo>
                    <a:pt x="120" y="4"/>
                  </a:lnTo>
                  <a:lnTo>
                    <a:pt x="136" y="1"/>
                  </a:lnTo>
                  <a:lnTo>
                    <a:pt x="150" y="0"/>
                  </a:lnTo>
                  <a:lnTo>
                    <a:pt x="166" y="1"/>
                  </a:lnTo>
                  <a:lnTo>
                    <a:pt x="181" y="4"/>
                  </a:lnTo>
                  <a:lnTo>
                    <a:pt x="196" y="7"/>
                  </a:lnTo>
                  <a:lnTo>
                    <a:pt x="209" y="12"/>
                  </a:lnTo>
                  <a:lnTo>
                    <a:pt x="223" y="20"/>
                  </a:lnTo>
                  <a:lnTo>
                    <a:pt x="235" y="28"/>
                  </a:lnTo>
                  <a:lnTo>
                    <a:pt x="246" y="38"/>
                  </a:lnTo>
                  <a:lnTo>
                    <a:pt x="257" y="48"/>
                  </a:lnTo>
                  <a:lnTo>
                    <a:pt x="267" y="60"/>
                  </a:lnTo>
                  <a:lnTo>
                    <a:pt x="276" y="72"/>
                  </a:lnTo>
                  <a:lnTo>
                    <a:pt x="283" y="86"/>
                  </a:lnTo>
                  <a:lnTo>
                    <a:pt x="290" y="101"/>
                  </a:lnTo>
                  <a:lnTo>
                    <a:pt x="295" y="115"/>
                  </a:lnTo>
                  <a:lnTo>
                    <a:pt x="299" y="131"/>
                  </a:lnTo>
                  <a:lnTo>
                    <a:pt x="301" y="147"/>
                  </a:lnTo>
                  <a:lnTo>
                    <a:pt x="301" y="164"/>
                  </a:lnTo>
                  <a:lnTo>
                    <a:pt x="301" y="180"/>
                  </a:lnTo>
                  <a:lnTo>
                    <a:pt x="299" y="196"/>
                  </a:lnTo>
                  <a:lnTo>
                    <a:pt x="295" y="212"/>
                  </a:lnTo>
                  <a:lnTo>
                    <a:pt x="290" y="227"/>
                  </a:lnTo>
                  <a:lnTo>
                    <a:pt x="283" y="242"/>
                  </a:lnTo>
                  <a:lnTo>
                    <a:pt x="276" y="255"/>
                  </a:lnTo>
                  <a:lnTo>
                    <a:pt x="267" y="267"/>
                  </a:lnTo>
                  <a:lnTo>
                    <a:pt x="257" y="280"/>
                  </a:lnTo>
                  <a:lnTo>
                    <a:pt x="246" y="291"/>
                  </a:lnTo>
                  <a:lnTo>
                    <a:pt x="235" y="299"/>
                  </a:lnTo>
                  <a:lnTo>
                    <a:pt x="223" y="308"/>
                  </a:lnTo>
                  <a:lnTo>
                    <a:pt x="209" y="315"/>
                  </a:lnTo>
                  <a:lnTo>
                    <a:pt x="196" y="320"/>
                  </a:lnTo>
                  <a:lnTo>
                    <a:pt x="181" y="324"/>
                  </a:lnTo>
                  <a:lnTo>
                    <a:pt x="166" y="326"/>
                  </a:lnTo>
                  <a:lnTo>
                    <a:pt x="15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4" name="Freeform 116">
              <a:extLst>
                <a:ext uri="{FF2B5EF4-FFF2-40B4-BE49-F238E27FC236}">
                  <a16:creationId xmlns:a16="http://schemas.microsoft.com/office/drawing/2014/main" id="{8B63E073-04CE-4E4C-8B24-AFD02B61702C}"/>
                </a:ext>
              </a:extLst>
            </p:cNvPr>
            <p:cNvSpPr>
              <a:spLocks/>
            </p:cNvSpPr>
            <p:nvPr/>
          </p:nvSpPr>
          <p:spPr bwMode="auto">
            <a:xfrm>
              <a:off x="5594351" y="5407025"/>
              <a:ext cx="46038" cy="39688"/>
            </a:xfrm>
            <a:custGeom>
              <a:avLst/>
              <a:gdLst>
                <a:gd name="T0" fmla="*/ 102 w 114"/>
                <a:gd name="T1" fmla="*/ 98 h 98"/>
                <a:gd name="T2" fmla="*/ 84 w 114"/>
                <a:gd name="T3" fmla="*/ 92 h 98"/>
                <a:gd name="T4" fmla="*/ 67 w 114"/>
                <a:gd name="T5" fmla="*/ 87 h 98"/>
                <a:gd name="T6" fmla="*/ 56 w 114"/>
                <a:gd name="T7" fmla="*/ 83 h 98"/>
                <a:gd name="T8" fmla="*/ 48 w 114"/>
                <a:gd name="T9" fmla="*/ 78 h 98"/>
                <a:gd name="T10" fmla="*/ 39 w 114"/>
                <a:gd name="T11" fmla="*/ 73 h 98"/>
                <a:gd name="T12" fmla="*/ 33 w 114"/>
                <a:gd name="T13" fmla="*/ 68 h 98"/>
                <a:gd name="T14" fmla="*/ 25 w 114"/>
                <a:gd name="T15" fmla="*/ 62 h 98"/>
                <a:gd name="T16" fmla="*/ 21 w 114"/>
                <a:gd name="T17" fmla="*/ 56 h 98"/>
                <a:gd name="T18" fmla="*/ 16 w 114"/>
                <a:gd name="T19" fmla="*/ 50 h 98"/>
                <a:gd name="T20" fmla="*/ 12 w 114"/>
                <a:gd name="T21" fmla="*/ 44 h 98"/>
                <a:gd name="T22" fmla="*/ 6 w 114"/>
                <a:gd name="T23" fmla="*/ 32 h 98"/>
                <a:gd name="T24" fmla="*/ 2 w 114"/>
                <a:gd name="T25" fmla="*/ 19 h 98"/>
                <a:gd name="T26" fmla="*/ 0 w 114"/>
                <a:gd name="T27" fmla="*/ 8 h 98"/>
                <a:gd name="T28" fmla="*/ 0 w 114"/>
                <a:gd name="T29" fmla="*/ 0 h 98"/>
                <a:gd name="T30" fmla="*/ 46 w 114"/>
                <a:gd name="T31" fmla="*/ 2 h 98"/>
                <a:gd name="T32" fmla="*/ 46 w 114"/>
                <a:gd name="T33" fmla="*/ 10 h 98"/>
                <a:gd name="T34" fmla="*/ 50 w 114"/>
                <a:gd name="T35" fmla="*/ 21 h 98"/>
                <a:gd name="T36" fmla="*/ 55 w 114"/>
                <a:gd name="T37" fmla="*/ 27 h 98"/>
                <a:gd name="T38" fmla="*/ 61 w 114"/>
                <a:gd name="T39" fmla="*/ 33 h 98"/>
                <a:gd name="T40" fmla="*/ 70 w 114"/>
                <a:gd name="T41" fmla="*/ 38 h 98"/>
                <a:gd name="T42" fmla="*/ 81 w 114"/>
                <a:gd name="T43" fmla="*/ 43 h 98"/>
                <a:gd name="T44" fmla="*/ 98 w 114"/>
                <a:gd name="T45" fmla="*/ 49 h 98"/>
                <a:gd name="T46" fmla="*/ 114 w 114"/>
                <a:gd name="T47" fmla="*/ 53 h 98"/>
                <a:gd name="T48" fmla="*/ 102 w 114"/>
                <a:gd name="T4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98">
                  <a:moveTo>
                    <a:pt x="102" y="98"/>
                  </a:moveTo>
                  <a:lnTo>
                    <a:pt x="84" y="92"/>
                  </a:lnTo>
                  <a:lnTo>
                    <a:pt x="67" y="87"/>
                  </a:lnTo>
                  <a:lnTo>
                    <a:pt x="56" y="83"/>
                  </a:lnTo>
                  <a:lnTo>
                    <a:pt x="48" y="78"/>
                  </a:lnTo>
                  <a:lnTo>
                    <a:pt x="39" y="73"/>
                  </a:lnTo>
                  <a:lnTo>
                    <a:pt x="33" y="68"/>
                  </a:lnTo>
                  <a:lnTo>
                    <a:pt x="25" y="62"/>
                  </a:lnTo>
                  <a:lnTo>
                    <a:pt x="21" y="56"/>
                  </a:lnTo>
                  <a:lnTo>
                    <a:pt x="16" y="50"/>
                  </a:lnTo>
                  <a:lnTo>
                    <a:pt x="12" y="44"/>
                  </a:lnTo>
                  <a:lnTo>
                    <a:pt x="6" y="32"/>
                  </a:lnTo>
                  <a:lnTo>
                    <a:pt x="2" y="19"/>
                  </a:lnTo>
                  <a:lnTo>
                    <a:pt x="0" y="8"/>
                  </a:lnTo>
                  <a:lnTo>
                    <a:pt x="0" y="0"/>
                  </a:lnTo>
                  <a:lnTo>
                    <a:pt x="46" y="2"/>
                  </a:lnTo>
                  <a:lnTo>
                    <a:pt x="46" y="10"/>
                  </a:lnTo>
                  <a:lnTo>
                    <a:pt x="50" y="21"/>
                  </a:lnTo>
                  <a:lnTo>
                    <a:pt x="55" y="27"/>
                  </a:lnTo>
                  <a:lnTo>
                    <a:pt x="61" y="33"/>
                  </a:lnTo>
                  <a:lnTo>
                    <a:pt x="70" y="38"/>
                  </a:lnTo>
                  <a:lnTo>
                    <a:pt x="81" y="43"/>
                  </a:lnTo>
                  <a:lnTo>
                    <a:pt x="98" y="49"/>
                  </a:lnTo>
                  <a:lnTo>
                    <a:pt x="114" y="53"/>
                  </a:lnTo>
                  <a:lnTo>
                    <a:pt x="102"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5" name="Freeform 117">
              <a:extLst>
                <a:ext uri="{FF2B5EF4-FFF2-40B4-BE49-F238E27FC236}">
                  <a16:creationId xmlns:a16="http://schemas.microsoft.com/office/drawing/2014/main" id="{078BD6AF-BAEB-4F99-93DB-B0489BB1E480}"/>
                </a:ext>
              </a:extLst>
            </p:cNvPr>
            <p:cNvSpPr>
              <a:spLocks/>
            </p:cNvSpPr>
            <p:nvPr/>
          </p:nvSpPr>
          <p:spPr bwMode="auto">
            <a:xfrm>
              <a:off x="5483226" y="5407025"/>
              <a:ext cx="147638" cy="127000"/>
            </a:xfrm>
            <a:custGeom>
              <a:avLst/>
              <a:gdLst>
                <a:gd name="T0" fmla="*/ 374 w 374"/>
                <a:gd name="T1" fmla="*/ 319 h 319"/>
                <a:gd name="T2" fmla="*/ 0 w 374"/>
                <a:gd name="T3" fmla="*/ 319 h 319"/>
                <a:gd name="T4" fmla="*/ 0 w 374"/>
                <a:gd name="T5" fmla="*/ 168 h 319"/>
                <a:gd name="T6" fmla="*/ 1 w 374"/>
                <a:gd name="T7" fmla="*/ 153 h 319"/>
                <a:gd name="T8" fmla="*/ 2 w 374"/>
                <a:gd name="T9" fmla="*/ 140 h 319"/>
                <a:gd name="T10" fmla="*/ 6 w 374"/>
                <a:gd name="T11" fmla="*/ 127 h 319"/>
                <a:gd name="T12" fmla="*/ 9 w 374"/>
                <a:gd name="T13" fmla="*/ 118 h 319"/>
                <a:gd name="T14" fmla="*/ 14 w 374"/>
                <a:gd name="T15" fmla="*/ 108 h 319"/>
                <a:gd name="T16" fmla="*/ 20 w 374"/>
                <a:gd name="T17" fmla="*/ 100 h 319"/>
                <a:gd name="T18" fmla="*/ 27 w 374"/>
                <a:gd name="T19" fmla="*/ 93 h 319"/>
                <a:gd name="T20" fmla="*/ 34 w 374"/>
                <a:gd name="T21" fmla="*/ 86 h 319"/>
                <a:gd name="T22" fmla="*/ 41 w 374"/>
                <a:gd name="T23" fmla="*/ 81 h 319"/>
                <a:gd name="T24" fmla="*/ 50 w 374"/>
                <a:gd name="T25" fmla="*/ 76 h 319"/>
                <a:gd name="T26" fmla="*/ 58 w 374"/>
                <a:gd name="T27" fmla="*/ 71 h 319"/>
                <a:gd name="T28" fmla="*/ 68 w 374"/>
                <a:gd name="T29" fmla="*/ 67 h 319"/>
                <a:gd name="T30" fmla="*/ 88 w 374"/>
                <a:gd name="T31" fmla="*/ 60 h 319"/>
                <a:gd name="T32" fmla="*/ 109 w 374"/>
                <a:gd name="T33" fmla="*/ 54 h 319"/>
                <a:gd name="T34" fmla="*/ 126 w 374"/>
                <a:gd name="T35" fmla="*/ 49 h 319"/>
                <a:gd name="T36" fmla="*/ 144 w 374"/>
                <a:gd name="T37" fmla="*/ 43 h 319"/>
                <a:gd name="T38" fmla="*/ 157 w 374"/>
                <a:gd name="T39" fmla="*/ 38 h 319"/>
                <a:gd name="T40" fmla="*/ 165 w 374"/>
                <a:gd name="T41" fmla="*/ 32 h 319"/>
                <a:gd name="T42" fmla="*/ 171 w 374"/>
                <a:gd name="T43" fmla="*/ 24 h 319"/>
                <a:gd name="T44" fmla="*/ 175 w 374"/>
                <a:gd name="T45" fmla="*/ 18 h 319"/>
                <a:gd name="T46" fmla="*/ 179 w 374"/>
                <a:gd name="T47" fmla="*/ 7 h 319"/>
                <a:gd name="T48" fmla="*/ 180 w 374"/>
                <a:gd name="T49" fmla="*/ 2 h 319"/>
                <a:gd name="T50" fmla="*/ 225 w 374"/>
                <a:gd name="T51" fmla="*/ 0 h 319"/>
                <a:gd name="T52" fmla="*/ 225 w 374"/>
                <a:gd name="T53" fmla="*/ 8 h 319"/>
                <a:gd name="T54" fmla="*/ 224 w 374"/>
                <a:gd name="T55" fmla="*/ 19 h 319"/>
                <a:gd name="T56" fmla="*/ 219 w 374"/>
                <a:gd name="T57" fmla="*/ 32 h 319"/>
                <a:gd name="T58" fmla="*/ 213 w 374"/>
                <a:gd name="T59" fmla="*/ 44 h 319"/>
                <a:gd name="T60" fmla="*/ 209 w 374"/>
                <a:gd name="T61" fmla="*/ 50 h 319"/>
                <a:gd name="T62" fmla="*/ 204 w 374"/>
                <a:gd name="T63" fmla="*/ 56 h 319"/>
                <a:gd name="T64" fmla="*/ 200 w 374"/>
                <a:gd name="T65" fmla="*/ 62 h 319"/>
                <a:gd name="T66" fmla="*/ 193 w 374"/>
                <a:gd name="T67" fmla="*/ 68 h 319"/>
                <a:gd name="T68" fmla="*/ 186 w 374"/>
                <a:gd name="T69" fmla="*/ 73 h 319"/>
                <a:gd name="T70" fmla="*/ 177 w 374"/>
                <a:gd name="T71" fmla="*/ 78 h 319"/>
                <a:gd name="T72" fmla="*/ 169 w 374"/>
                <a:gd name="T73" fmla="*/ 83 h 319"/>
                <a:gd name="T74" fmla="*/ 159 w 374"/>
                <a:gd name="T75" fmla="*/ 87 h 319"/>
                <a:gd name="T76" fmla="*/ 139 w 374"/>
                <a:gd name="T77" fmla="*/ 93 h 319"/>
                <a:gd name="T78" fmla="*/ 122 w 374"/>
                <a:gd name="T79" fmla="*/ 98 h 319"/>
                <a:gd name="T80" fmla="*/ 101 w 374"/>
                <a:gd name="T81" fmla="*/ 104 h 319"/>
                <a:gd name="T82" fmla="*/ 85 w 374"/>
                <a:gd name="T83" fmla="*/ 110 h 319"/>
                <a:gd name="T84" fmla="*/ 72 w 374"/>
                <a:gd name="T85" fmla="*/ 115 h 319"/>
                <a:gd name="T86" fmla="*/ 62 w 374"/>
                <a:gd name="T87" fmla="*/ 122 h 319"/>
                <a:gd name="T88" fmla="*/ 58 w 374"/>
                <a:gd name="T89" fmla="*/ 126 h 319"/>
                <a:gd name="T90" fmla="*/ 55 w 374"/>
                <a:gd name="T91" fmla="*/ 130 h 319"/>
                <a:gd name="T92" fmla="*/ 52 w 374"/>
                <a:gd name="T93" fmla="*/ 135 h 319"/>
                <a:gd name="T94" fmla="*/ 50 w 374"/>
                <a:gd name="T95" fmla="*/ 140 h 319"/>
                <a:gd name="T96" fmla="*/ 47 w 374"/>
                <a:gd name="T97" fmla="*/ 152 h 319"/>
                <a:gd name="T98" fmla="*/ 46 w 374"/>
                <a:gd name="T99" fmla="*/ 168 h 319"/>
                <a:gd name="T100" fmla="*/ 46 w 374"/>
                <a:gd name="T101" fmla="*/ 272 h 319"/>
                <a:gd name="T102" fmla="*/ 374 w 374"/>
                <a:gd name="T103" fmla="*/ 272 h 319"/>
                <a:gd name="T104" fmla="*/ 374 w 374"/>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4" h="319">
                  <a:moveTo>
                    <a:pt x="374" y="319"/>
                  </a:moveTo>
                  <a:lnTo>
                    <a:pt x="0" y="319"/>
                  </a:lnTo>
                  <a:lnTo>
                    <a:pt x="0" y="168"/>
                  </a:lnTo>
                  <a:lnTo>
                    <a:pt x="1" y="153"/>
                  </a:lnTo>
                  <a:lnTo>
                    <a:pt x="2" y="140"/>
                  </a:lnTo>
                  <a:lnTo>
                    <a:pt x="6" y="127"/>
                  </a:lnTo>
                  <a:lnTo>
                    <a:pt x="9" y="118"/>
                  </a:lnTo>
                  <a:lnTo>
                    <a:pt x="14" y="108"/>
                  </a:lnTo>
                  <a:lnTo>
                    <a:pt x="20" y="100"/>
                  </a:lnTo>
                  <a:lnTo>
                    <a:pt x="27" y="93"/>
                  </a:lnTo>
                  <a:lnTo>
                    <a:pt x="34" y="86"/>
                  </a:lnTo>
                  <a:lnTo>
                    <a:pt x="41" y="81"/>
                  </a:lnTo>
                  <a:lnTo>
                    <a:pt x="50" y="76"/>
                  </a:lnTo>
                  <a:lnTo>
                    <a:pt x="58" y="71"/>
                  </a:lnTo>
                  <a:lnTo>
                    <a:pt x="68" y="67"/>
                  </a:lnTo>
                  <a:lnTo>
                    <a:pt x="88" y="60"/>
                  </a:lnTo>
                  <a:lnTo>
                    <a:pt x="109" y="54"/>
                  </a:lnTo>
                  <a:lnTo>
                    <a:pt x="126" y="49"/>
                  </a:lnTo>
                  <a:lnTo>
                    <a:pt x="144" y="43"/>
                  </a:lnTo>
                  <a:lnTo>
                    <a:pt x="157" y="38"/>
                  </a:lnTo>
                  <a:lnTo>
                    <a:pt x="165" y="32"/>
                  </a:lnTo>
                  <a:lnTo>
                    <a:pt x="171" y="24"/>
                  </a:lnTo>
                  <a:lnTo>
                    <a:pt x="175" y="18"/>
                  </a:lnTo>
                  <a:lnTo>
                    <a:pt x="179" y="7"/>
                  </a:lnTo>
                  <a:lnTo>
                    <a:pt x="180" y="2"/>
                  </a:lnTo>
                  <a:lnTo>
                    <a:pt x="225" y="0"/>
                  </a:lnTo>
                  <a:lnTo>
                    <a:pt x="225" y="8"/>
                  </a:lnTo>
                  <a:lnTo>
                    <a:pt x="224" y="19"/>
                  </a:lnTo>
                  <a:lnTo>
                    <a:pt x="219" y="32"/>
                  </a:lnTo>
                  <a:lnTo>
                    <a:pt x="213" y="44"/>
                  </a:lnTo>
                  <a:lnTo>
                    <a:pt x="209" y="50"/>
                  </a:lnTo>
                  <a:lnTo>
                    <a:pt x="204" y="56"/>
                  </a:lnTo>
                  <a:lnTo>
                    <a:pt x="200" y="62"/>
                  </a:lnTo>
                  <a:lnTo>
                    <a:pt x="193" y="68"/>
                  </a:lnTo>
                  <a:lnTo>
                    <a:pt x="186" y="73"/>
                  </a:lnTo>
                  <a:lnTo>
                    <a:pt x="177" y="78"/>
                  </a:lnTo>
                  <a:lnTo>
                    <a:pt x="169" y="83"/>
                  </a:lnTo>
                  <a:lnTo>
                    <a:pt x="159" y="87"/>
                  </a:lnTo>
                  <a:lnTo>
                    <a:pt x="139" y="93"/>
                  </a:lnTo>
                  <a:lnTo>
                    <a:pt x="122" y="98"/>
                  </a:lnTo>
                  <a:lnTo>
                    <a:pt x="101" y="104"/>
                  </a:lnTo>
                  <a:lnTo>
                    <a:pt x="85" y="110"/>
                  </a:lnTo>
                  <a:lnTo>
                    <a:pt x="72" y="115"/>
                  </a:lnTo>
                  <a:lnTo>
                    <a:pt x="62" y="122"/>
                  </a:lnTo>
                  <a:lnTo>
                    <a:pt x="58" y="126"/>
                  </a:lnTo>
                  <a:lnTo>
                    <a:pt x="55" y="130"/>
                  </a:lnTo>
                  <a:lnTo>
                    <a:pt x="52" y="135"/>
                  </a:lnTo>
                  <a:lnTo>
                    <a:pt x="50" y="140"/>
                  </a:lnTo>
                  <a:lnTo>
                    <a:pt x="47" y="152"/>
                  </a:lnTo>
                  <a:lnTo>
                    <a:pt x="46" y="168"/>
                  </a:lnTo>
                  <a:lnTo>
                    <a:pt x="46" y="272"/>
                  </a:lnTo>
                  <a:lnTo>
                    <a:pt x="374" y="272"/>
                  </a:lnTo>
                  <a:lnTo>
                    <a:pt x="37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6" name="Freeform 118">
              <a:extLst>
                <a:ext uri="{FF2B5EF4-FFF2-40B4-BE49-F238E27FC236}">
                  <a16:creationId xmlns:a16="http://schemas.microsoft.com/office/drawing/2014/main" id="{170FF2F3-CB57-4DB3-8537-4742D033C405}"/>
                </a:ext>
              </a:extLst>
            </p:cNvPr>
            <p:cNvSpPr>
              <a:spLocks/>
            </p:cNvSpPr>
            <p:nvPr/>
          </p:nvSpPr>
          <p:spPr bwMode="auto">
            <a:xfrm>
              <a:off x="5530851" y="5322888"/>
              <a:ext cx="103188" cy="31750"/>
            </a:xfrm>
            <a:custGeom>
              <a:avLst/>
              <a:gdLst>
                <a:gd name="T0" fmla="*/ 64 w 261"/>
                <a:gd name="T1" fmla="*/ 79 h 79"/>
                <a:gd name="T2" fmla="*/ 49 w 261"/>
                <a:gd name="T3" fmla="*/ 79 h 79"/>
                <a:gd name="T4" fmla="*/ 33 w 261"/>
                <a:gd name="T5" fmla="*/ 76 h 79"/>
                <a:gd name="T6" fmla="*/ 17 w 261"/>
                <a:gd name="T7" fmla="*/ 74 h 79"/>
                <a:gd name="T8" fmla="*/ 0 w 261"/>
                <a:gd name="T9" fmla="*/ 70 h 79"/>
                <a:gd name="T10" fmla="*/ 11 w 261"/>
                <a:gd name="T11" fmla="*/ 26 h 79"/>
                <a:gd name="T12" fmla="*/ 28 w 261"/>
                <a:gd name="T13" fmla="*/ 30 h 79"/>
                <a:gd name="T14" fmla="*/ 44 w 261"/>
                <a:gd name="T15" fmla="*/ 32 h 79"/>
                <a:gd name="T16" fmla="*/ 60 w 261"/>
                <a:gd name="T17" fmla="*/ 32 h 79"/>
                <a:gd name="T18" fmla="*/ 75 w 261"/>
                <a:gd name="T19" fmla="*/ 32 h 79"/>
                <a:gd name="T20" fmla="*/ 89 w 261"/>
                <a:gd name="T21" fmla="*/ 31 h 79"/>
                <a:gd name="T22" fmla="*/ 102 w 261"/>
                <a:gd name="T23" fmla="*/ 30 h 79"/>
                <a:gd name="T24" fmla="*/ 114 w 261"/>
                <a:gd name="T25" fmla="*/ 26 h 79"/>
                <a:gd name="T26" fmla="*/ 126 w 261"/>
                <a:gd name="T27" fmla="*/ 24 h 79"/>
                <a:gd name="T28" fmla="*/ 145 w 261"/>
                <a:gd name="T29" fmla="*/ 18 h 79"/>
                <a:gd name="T30" fmla="*/ 159 w 261"/>
                <a:gd name="T31" fmla="*/ 10 h 79"/>
                <a:gd name="T32" fmla="*/ 169 w 261"/>
                <a:gd name="T33" fmla="*/ 5 h 79"/>
                <a:gd name="T34" fmla="*/ 172 w 261"/>
                <a:gd name="T35" fmla="*/ 4 h 79"/>
                <a:gd name="T36" fmla="*/ 175 w 261"/>
                <a:gd name="T37" fmla="*/ 2 h 79"/>
                <a:gd name="T38" fmla="*/ 179 w 261"/>
                <a:gd name="T39" fmla="*/ 0 h 79"/>
                <a:gd name="T40" fmla="*/ 184 w 261"/>
                <a:gd name="T41" fmla="*/ 0 h 79"/>
                <a:gd name="T42" fmla="*/ 187 w 261"/>
                <a:gd name="T43" fmla="*/ 0 h 79"/>
                <a:gd name="T44" fmla="*/ 191 w 261"/>
                <a:gd name="T45" fmla="*/ 0 h 79"/>
                <a:gd name="T46" fmla="*/ 195 w 261"/>
                <a:gd name="T47" fmla="*/ 2 h 79"/>
                <a:gd name="T48" fmla="*/ 199 w 261"/>
                <a:gd name="T49" fmla="*/ 4 h 79"/>
                <a:gd name="T50" fmla="*/ 201 w 261"/>
                <a:gd name="T51" fmla="*/ 6 h 79"/>
                <a:gd name="T52" fmla="*/ 205 w 261"/>
                <a:gd name="T53" fmla="*/ 10 h 79"/>
                <a:gd name="T54" fmla="*/ 217 w 261"/>
                <a:gd name="T55" fmla="*/ 16 h 79"/>
                <a:gd name="T56" fmla="*/ 225 w 261"/>
                <a:gd name="T57" fmla="*/ 20 h 79"/>
                <a:gd name="T58" fmla="*/ 235 w 261"/>
                <a:gd name="T59" fmla="*/ 22 h 79"/>
                <a:gd name="T60" fmla="*/ 248 w 261"/>
                <a:gd name="T61" fmla="*/ 25 h 79"/>
                <a:gd name="T62" fmla="*/ 261 w 261"/>
                <a:gd name="T63" fmla="*/ 25 h 79"/>
                <a:gd name="T64" fmla="*/ 261 w 261"/>
                <a:gd name="T65" fmla="*/ 71 h 79"/>
                <a:gd name="T66" fmla="*/ 248 w 261"/>
                <a:gd name="T67" fmla="*/ 71 h 79"/>
                <a:gd name="T68" fmla="*/ 235 w 261"/>
                <a:gd name="T69" fmla="*/ 69 h 79"/>
                <a:gd name="T70" fmla="*/ 224 w 261"/>
                <a:gd name="T71" fmla="*/ 68 h 79"/>
                <a:gd name="T72" fmla="*/ 213 w 261"/>
                <a:gd name="T73" fmla="*/ 64 h 79"/>
                <a:gd name="T74" fmla="*/ 196 w 261"/>
                <a:gd name="T75" fmla="*/ 58 h 79"/>
                <a:gd name="T76" fmla="*/ 183 w 261"/>
                <a:gd name="T77" fmla="*/ 51 h 79"/>
                <a:gd name="T78" fmla="*/ 163 w 261"/>
                <a:gd name="T79" fmla="*/ 59 h 79"/>
                <a:gd name="T80" fmla="*/ 136 w 261"/>
                <a:gd name="T81" fmla="*/ 69 h 79"/>
                <a:gd name="T82" fmla="*/ 120 w 261"/>
                <a:gd name="T83" fmla="*/ 73 h 79"/>
                <a:gd name="T84" fmla="*/ 103 w 261"/>
                <a:gd name="T85" fmla="*/ 76 h 79"/>
                <a:gd name="T86" fmla="*/ 83 w 261"/>
                <a:gd name="T87" fmla="*/ 78 h 79"/>
                <a:gd name="T88" fmla="*/ 64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4" y="79"/>
                  </a:moveTo>
                  <a:lnTo>
                    <a:pt x="49" y="79"/>
                  </a:lnTo>
                  <a:lnTo>
                    <a:pt x="33" y="76"/>
                  </a:lnTo>
                  <a:lnTo>
                    <a:pt x="17" y="74"/>
                  </a:lnTo>
                  <a:lnTo>
                    <a:pt x="0" y="70"/>
                  </a:lnTo>
                  <a:lnTo>
                    <a:pt x="11" y="26"/>
                  </a:lnTo>
                  <a:lnTo>
                    <a:pt x="28" y="30"/>
                  </a:lnTo>
                  <a:lnTo>
                    <a:pt x="44" y="32"/>
                  </a:lnTo>
                  <a:lnTo>
                    <a:pt x="60" y="32"/>
                  </a:lnTo>
                  <a:lnTo>
                    <a:pt x="75" y="32"/>
                  </a:lnTo>
                  <a:lnTo>
                    <a:pt x="89" y="31"/>
                  </a:lnTo>
                  <a:lnTo>
                    <a:pt x="102" y="30"/>
                  </a:lnTo>
                  <a:lnTo>
                    <a:pt x="114" y="26"/>
                  </a:lnTo>
                  <a:lnTo>
                    <a:pt x="126" y="24"/>
                  </a:lnTo>
                  <a:lnTo>
                    <a:pt x="145" y="18"/>
                  </a:lnTo>
                  <a:lnTo>
                    <a:pt x="159" y="10"/>
                  </a:lnTo>
                  <a:lnTo>
                    <a:pt x="169" y="5"/>
                  </a:lnTo>
                  <a:lnTo>
                    <a:pt x="172" y="4"/>
                  </a:lnTo>
                  <a:lnTo>
                    <a:pt x="175" y="2"/>
                  </a:lnTo>
                  <a:lnTo>
                    <a:pt x="179" y="0"/>
                  </a:lnTo>
                  <a:lnTo>
                    <a:pt x="184" y="0"/>
                  </a:lnTo>
                  <a:lnTo>
                    <a:pt x="187" y="0"/>
                  </a:lnTo>
                  <a:lnTo>
                    <a:pt x="191" y="0"/>
                  </a:lnTo>
                  <a:lnTo>
                    <a:pt x="195" y="2"/>
                  </a:lnTo>
                  <a:lnTo>
                    <a:pt x="199" y="4"/>
                  </a:lnTo>
                  <a:lnTo>
                    <a:pt x="201" y="6"/>
                  </a:lnTo>
                  <a:lnTo>
                    <a:pt x="205" y="10"/>
                  </a:lnTo>
                  <a:lnTo>
                    <a:pt x="217" y="16"/>
                  </a:lnTo>
                  <a:lnTo>
                    <a:pt x="225" y="20"/>
                  </a:lnTo>
                  <a:lnTo>
                    <a:pt x="235" y="22"/>
                  </a:lnTo>
                  <a:lnTo>
                    <a:pt x="248" y="25"/>
                  </a:lnTo>
                  <a:lnTo>
                    <a:pt x="261" y="25"/>
                  </a:lnTo>
                  <a:lnTo>
                    <a:pt x="261" y="71"/>
                  </a:lnTo>
                  <a:lnTo>
                    <a:pt x="248" y="71"/>
                  </a:lnTo>
                  <a:lnTo>
                    <a:pt x="235" y="69"/>
                  </a:lnTo>
                  <a:lnTo>
                    <a:pt x="224" y="68"/>
                  </a:lnTo>
                  <a:lnTo>
                    <a:pt x="213" y="64"/>
                  </a:lnTo>
                  <a:lnTo>
                    <a:pt x="196" y="58"/>
                  </a:lnTo>
                  <a:lnTo>
                    <a:pt x="183" y="51"/>
                  </a:lnTo>
                  <a:lnTo>
                    <a:pt x="163" y="59"/>
                  </a:lnTo>
                  <a:lnTo>
                    <a:pt x="136" y="69"/>
                  </a:lnTo>
                  <a:lnTo>
                    <a:pt x="120" y="73"/>
                  </a:lnTo>
                  <a:lnTo>
                    <a:pt x="103" y="76"/>
                  </a:lnTo>
                  <a:lnTo>
                    <a:pt x="83" y="78"/>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7" name="Freeform 119">
              <a:extLst>
                <a:ext uri="{FF2B5EF4-FFF2-40B4-BE49-F238E27FC236}">
                  <a16:creationId xmlns:a16="http://schemas.microsoft.com/office/drawing/2014/main" id="{3DD01D0F-AD14-413E-8EBD-7A2FB7D06E0C}"/>
                </a:ext>
              </a:extLst>
            </p:cNvPr>
            <p:cNvSpPr>
              <a:spLocks noEditPoints="1"/>
            </p:cNvSpPr>
            <p:nvPr/>
          </p:nvSpPr>
          <p:spPr bwMode="auto">
            <a:xfrm>
              <a:off x="5843588" y="5292725"/>
              <a:ext cx="120650" cy="130175"/>
            </a:xfrm>
            <a:custGeom>
              <a:avLst/>
              <a:gdLst>
                <a:gd name="T0" fmla="*/ 130 w 303"/>
                <a:gd name="T1" fmla="*/ 48 h 328"/>
                <a:gd name="T2" fmla="*/ 102 w 303"/>
                <a:gd name="T3" fmla="*/ 60 h 328"/>
                <a:gd name="T4" fmla="*/ 78 w 303"/>
                <a:gd name="T5" fmla="*/ 81 h 328"/>
                <a:gd name="T6" fmla="*/ 59 w 303"/>
                <a:gd name="T7" fmla="*/ 108 h 328"/>
                <a:gd name="T8" fmla="*/ 50 w 303"/>
                <a:gd name="T9" fmla="*/ 140 h 328"/>
                <a:gd name="T10" fmla="*/ 47 w 303"/>
                <a:gd name="T11" fmla="*/ 175 h 328"/>
                <a:gd name="T12" fmla="*/ 56 w 303"/>
                <a:gd name="T13" fmla="*/ 210 h 328"/>
                <a:gd name="T14" fmla="*/ 70 w 303"/>
                <a:gd name="T15" fmla="*/ 239 h 328"/>
                <a:gd name="T16" fmla="*/ 94 w 303"/>
                <a:gd name="T17" fmla="*/ 261 h 328"/>
                <a:gd name="T18" fmla="*/ 121 w 303"/>
                <a:gd name="T19" fmla="*/ 276 h 328"/>
                <a:gd name="T20" fmla="*/ 151 w 303"/>
                <a:gd name="T21" fmla="*/ 282 h 328"/>
                <a:gd name="T22" fmla="*/ 183 w 303"/>
                <a:gd name="T23" fmla="*/ 276 h 328"/>
                <a:gd name="T24" fmla="*/ 210 w 303"/>
                <a:gd name="T25" fmla="*/ 261 h 328"/>
                <a:gd name="T26" fmla="*/ 232 w 303"/>
                <a:gd name="T27" fmla="*/ 239 h 328"/>
                <a:gd name="T28" fmla="*/ 248 w 303"/>
                <a:gd name="T29" fmla="*/ 210 h 328"/>
                <a:gd name="T30" fmla="*/ 257 w 303"/>
                <a:gd name="T31" fmla="*/ 175 h 328"/>
                <a:gd name="T32" fmla="*/ 254 w 303"/>
                <a:gd name="T33" fmla="*/ 140 h 328"/>
                <a:gd name="T34" fmla="*/ 245 w 303"/>
                <a:gd name="T35" fmla="*/ 108 h 328"/>
                <a:gd name="T36" fmla="*/ 226 w 303"/>
                <a:gd name="T37" fmla="*/ 81 h 328"/>
                <a:gd name="T38" fmla="*/ 202 w 303"/>
                <a:gd name="T39" fmla="*/ 60 h 328"/>
                <a:gd name="T40" fmla="*/ 173 w 303"/>
                <a:gd name="T41" fmla="*/ 48 h 328"/>
                <a:gd name="T42" fmla="*/ 151 w 303"/>
                <a:gd name="T43" fmla="*/ 328 h 328"/>
                <a:gd name="T44" fmla="*/ 107 w 303"/>
                <a:gd name="T45" fmla="*/ 320 h 328"/>
                <a:gd name="T46" fmla="*/ 68 w 303"/>
                <a:gd name="T47" fmla="*/ 299 h 328"/>
                <a:gd name="T48" fmla="*/ 35 w 303"/>
                <a:gd name="T49" fmla="*/ 267 h 328"/>
                <a:gd name="T50" fmla="*/ 13 w 303"/>
                <a:gd name="T51" fmla="*/ 227 h 328"/>
                <a:gd name="T52" fmla="*/ 2 w 303"/>
                <a:gd name="T53" fmla="*/ 180 h 328"/>
                <a:gd name="T54" fmla="*/ 4 w 303"/>
                <a:gd name="T55" fmla="*/ 131 h 328"/>
                <a:gd name="T56" fmla="*/ 19 w 303"/>
                <a:gd name="T57" fmla="*/ 86 h 328"/>
                <a:gd name="T58" fmla="*/ 45 w 303"/>
                <a:gd name="T59" fmla="*/ 48 h 328"/>
                <a:gd name="T60" fmla="*/ 80 w 303"/>
                <a:gd name="T61" fmla="*/ 20 h 328"/>
                <a:gd name="T62" fmla="*/ 122 w 303"/>
                <a:gd name="T63" fmla="*/ 4 h 328"/>
                <a:gd name="T64" fmla="*/ 167 w 303"/>
                <a:gd name="T65" fmla="*/ 1 h 328"/>
                <a:gd name="T66" fmla="*/ 210 w 303"/>
                <a:gd name="T67" fmla="*/ 12 h 328"/>
                <a:gd name="T68" fmla="*/ 248 w 303"/>
                <a:gd name="T69" fmla="*/ 38 h 328"/>
                <a:gd name="T70" fmla="*/ 278 w 303"/>
                <a:gd name="T71" fmla="*/ 72 h 328"/>
                <a:gd name="T72" fmla="*/ 296 w 303"/>
                <a:gd name="T73" fmla="*/ 115 h 328"/>
                <a:gd name="T74" fmla="*/ 303 w 303"/>
                <a:gd name="T75" fmla="*/ 164 h 328"/>
                <a:gd name="T76" fmla="*/ 296 w 303"/>
                <a:gd name="T77" fmla="*/ 212 h 328"/>
                <a:gd name="T78" fmla="*/ 278 w 303"/>
                <a:gd name="T79" fmla="*/ 255 h 328"/>
                <a:gd name="T80" fmla="*/ 248 w 303"/>
                <a:gd name="T81" fmla="*/ 291 h 328"/>
                <a:gd name="T82" fmla="*/ 210 w 303"/>
                <a:gd name="T83" fmla="*/ 315 h 328"/>
                <a:gd name="T84" fmla="*/ 167 w 303"/>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3" h="328">
                  <a:moveTo>
                    <a:pt x="151" y="47"/>
                  </a:moveTo>
                  <a:lnTo>
                    <a:pt x="141" y="47"/>
                  </a:lnTo>
                  <a:lnTo>
                    <a:pt x="130" y="48"/>
                  </a:lnTo>
                  <a:lnTo>
                    <a:pt x="121" y="52"/>
                  </a:lnTo>
                  <a:lnTo>
                    <a:pt x="111" y="55"/>
                  </a:lnTo>
                  <a:lnTo>
                    <a:pt x="102" y="60"/>
                  </a:lnTo>
                  <a:lnTo>
                    <a:pt x="94" y="66"/>
                  </a:lnTo>
                  <a:lnTo>
                    <a:pt x="85" y="72"/>
                  </a:lnTo>
                  <a:lnTo>
                    <a:pt x="78" y="81"/>
                  </a:lnTo>
                  <a:lnTo>
                    <a:pt x="70" y="88"/>
                  </a:lnTo>
                  <a:lnTo>
                    <a:pt x="65" y="98"/>
                  </a:lnTo>
                  <a:lnTo>
                    <a:pt x="59" y="108"/>
                  </a:lnTo>
                  <a:lnTo>
                    <a:pt x="56" y="118"/>
                  </a:lnTo>
                  <a:lnTo>
                    <a:pt x="52" y="129"/>
                  </a:lnTo>
                  <a:lnTo>
                    <a:pt x="50" y="140"/>
                  </a:lnTo>
                  <a:lnTo>
                    <a:pt x="47" y="152"/>
                  </a:lnTo>
                  <a:lnTo>
                    <a:pt x="47" y="164"/>
                  </a:lnTo>
                  <a:lnTo>
                    <a:pt x="47" y="175"/>
                  </a:lnTo>
                  <a:lnTo>
                    <a:pt x="50" y="188"/>
                  </a:lnTo>
                  <a:lnTo>
                    <a:pt x="52" y="199"/>
                  </a:lnTo>
                  <a:lnTo>
                    <a:pt x="56" y="210"/>
                  </a:lnTo>
                  <a:lnTo>
                    <a:pt x="59" y="220"/>
                  </a:lnTo>
                  <a:lnTo>
                    <a:pt x="65" y="229"/>
                  </a:lnTo>
                  <a:lnTo>
                    <a:pt x="70" y="239"/>
                  </a:lnTo>
                  <a:lnTo>
                    <a:pt x="78" y="247"/>
                  </a:lnTo>
                  <a:lnTo>
                    <a:pt x="85" y="255"/>
                  </a:lnTo>
                  <a:lnTo>
                    <a:pt x="94" y="261"/>
                  </a:lnTo>
                  <a:lnTo>
                    <a:pt x="102" y="267"/>
                  </a:lnTo>
                  <a:lnTo>
                    <a:pt x="111" y="272"/>
                  </a:lnTo>
                  <a:lnTo>
                    <a:pt x="121" y="276"/>
                  </a:lnTo>
                  <a:lnTo>
                    <a:pt x="130" y="280"/>
                  </a:lnTo>
                  <a:lnTo>
                    <a:pt x="141" y="281"/>
                  </a:lnTo>
                  <a:lnTo>
                    <a:pt x="151" y="282"/>
                  </a:lnTo>
                  <a:lnTo>
                    <a:pt x="162" y="281"/>
                  </a:lnTo>
                  <a:lnTo>
                    <a:pt x="173" y="280"/>
                  </a:lnTo>
                  <a:lnTo>
                    <a:pt x="183" y="276"/>
                  </a:lnTo>
                  <a:lnTo>
                    <a:pt x="193" y="272"/>
                  </a:lnTo>
                  <a:lnTo>
                    <a:pt x="202" y="267"/>
                  </a:lnTo>
                  <a:lnTo>
                    <a:pt x="210" y="261"/>
                  </a:lnTo>
                  <a:lnTo>
                    <a:pt x="219" y="255"/>
                  </a:lnTo>
                  <a:lnTo>
                    <a:pt x="226" y="247"/>
                  </a:lnTo>
                  <a:lnTo>
                    <a:pt x="232" y="239"/>
                  </a:lnTo>
                  <a:lnTo>
                    <a:pt x="238" y="229"/>
                  </a:lnTo>
                  <a:lnTo>
                    <a:pt x="245" y="220"/>
                  </a:lnTo>
                  <a:lnTo>
                    <a:pt x="248" y="210"/>
                  </a:lnTo>
                  <a:lnTo>
                    <a:pt x="252" y="199"/>
                  </a:lnTo>
                  <a:lnTo>
                    <a:pt x="254" y="188"/>
                  </a:lnTo>
                  <a:lnTo>
                    <a:pt x="257" y="175"/>
                  </a:lnTo>
                  <a:lnTo>
                    <a:pt x="257" y="164"/>
                  </a:lnTo>
                  <a:lnTo>
                    <a:pt x="257" y="152"/>
                  </a:lnTo>
                  <a:lnTo>
                    <a:pt x="254" y="140"/>
                  </a:lnTo>
                  <a:lnTo>
                    <a:pt x="252" y="129"/>
                  </a:lnTo>
                  <a:lnTo>
                    <a:pt x="248" y="118"/>
                  </a:lnTo>
                  <a:lnTo>
                    <a:pt x="245" y="108"/>
                  </a:lnTo>
                  <a:lnTo>
                    <a:pt x="238" y="98"/>
                  </a:lnTo>
                  <a:lnTo>
                    <a:pt x="232" y="88"/>
                  </a:lnTo>
                  <a:lnTo>
                    <a:pt x="226" y="81"/>
                  </a:lnTo>
                  <a:lnTo>
                    <a:pt x="219" y="72"/>
                  </a:lnTo>
                  <a:lnTo>
                    <a:pt x="210" y="66"/>
                  </a:lnTo>
                  <a:lnTo>
                    <a:pt x="202" y="60"/>
                  </a:lnTo>
                  <a:lnTo>
                    <a:pt x="193" y="55"/>
                  </a:lnTo>
                  <a:lnTo>
                    <a:pt x="183" y="52"/>
                  </a:lnTo>
                  <a:lnTo>
                    <a:pt x="173" y="48"/>
                  </a:lnTo>
                  <a:lnTo>
                    <a:pt x="162" y="47"/>
                  </a:lnTo>
                  <a:lnTo>
                    <a:pt x="151" y="47"/>
                  </a:lnTo>
                  <a:close/>
                  <a:moveTo>
                    <a:pt x="151" y="328"/>
                  </a:moveTo>
                  <a:lnTo>
                    <a:pt x="137" y="326"/>
                  </a:lnTo>
                  <a:lnTo>
                    <a:pt x="122" y="324"/>
                  </a:lnTo>
                  <a:lnTo>
                    <a:pt x="107" y="320"/>
                  </a:lnTo>
                  <a:lnTo>
                    <a:pt x="94" y="315"/>
                  </a:lnTo>
                  <a:lnTo>
                    <a:pt x="80" y="308"/>
                  </a:lnTo>
                  <a:lnTo>
                    <a:pt x="68" y="299"/>
                  </a:lnTo>
                  <a:lnTo>
                    <a:pt x="56" y="291"/>
                  </a:lnTo>
                  <a:lnTo>
                    <a:pt x="45" y="280"/>
                  </a:lnTo>
                  <a:lnTo>
                    <a:pt x="35" y="267"/>
                  </a:lnTo>
                  <a:lnTo>
                    <a:pt x="26" y="255"/>
                  </a:lnTo>
                  <a:lnTo>
                    <a:pt x="19" y="242"/>
                  </a:lnTo>
                  <a:lnTo>
                    <a:pt x="13" y="227"/>
                  </a:lnTo>
                  <a:lnTo>
                    <a:pt x="8" y="212"/>
                  </a:lnTo>
                  <a:lnTo>
                    <a:pt x="4" y="196"/>
                  </a:lnTo>
                  <a:lnTo>
                    <a:pt x="2" y="180"/>
                  </a:lnTo>
                  <a:lnTo>
                    <a:pt x="0" y="164"/>
                  </a:lnTo>
                  <a:lnTo>
                    <a:pt x="2" y="147"/>
                  </a:lnTo>
                  <a:lnTo>
                    <a:pt x="4" y="131"/>
                  </a:lnTo>
                  <a:lnTo>
                    <a:pt x="8" y="115"/>
                  </a:lnTo>
                  <a:lnTo>
                    <a:pt x="13" y="101"/>
                  </a:lnTo>
                  <a:lnTo>
                    <a:pt x="19" y="86"/>
                  </a:lnTo>
                  <a:lnTo>
                    <a:pt x="26" y="72"/>
                  </a:lnTo>
                  <a:lnTo>
                    <a:pt x="35" y="60"/>
                  </a:lnTo>
                  <a:lnTo>
                    <a:pt x="45" y="48"/>
                  </a:lnTo>
                  <a:lnTo>
                    <a:pt x="56" y="38"/>
                  </a:lnTo>
                  <a:lnTo>
                    <a:pt x="68" y="28"/>
                  </a:lnTo>
                  <a:lnTo>
                    <a:pt x="80" y="20"/>
                  </a:lnTo>
                  <a:lnTo>
                    <a:pt x="94" y="12"/>
                  </a:lnTo>
                  <a:lnTo>
                    <a:pt x="107" y="7"/>
                  </a:lnTo>
                  <a:lnTo>
                    <a:pt x="122" y="4"/>
                  </a:lnTo>
                  <a:lnTo>
                    <a:pt x="137" y="1"/>
                  </a:lnTo>
                  <a:lnTo>
                    <a:pt x="151" y="0"/>
                  </a:lnTo>
                  <a:lnTo>
                    <a:pt x="167" y="1"/>
                  </a:lnTo>
                  <a:lnTo>
                    <a:pt x="182" y="4"/>
                  </a:lnTo>
                  <a:lnTo>
                    <a:pt x="197" y="7"/>
                  </a:lnTo>
                  <a:lnTo>
                    <a:pt x="210" y="12"/>
                  </a:lnTo>
                  <a:lnTo>
                    <a:pt x="224" y="20"/>
                  </a:lnTo>
                  <a:lnTo>
                    <a:pt x="236" y="28"/>
                  </a:lnTo>
                  <a:lnTo>
                    <a:pt x="248" y="38"/>
                  </a:lnTo>
                  <a:lnTo>
                    <a:pt x="258" y="48"/>
                  </a:lnTo>
                  <a:lnTo>
                    <a:pt x="268" y="60"/>
                  </a:lnTo>
                  <a:lnTo>
                    <a:pt x="278" y="72"/>
                  </a:lnTo>
                  <a:lnTo>
                    <a:pt x="285" y="86"/>
                  </a:lnTo>
                  <a:lnTo>
                    <a:pt x="291" y="101"/>
                  </a:lnTo>
                  <a:lnTo>
                    <a:pt x="296" y="115"/>
                  </a:lnTo>
                  <a:lnTo>
                    <a:pt x="300" y="131"/>
                  </a:lnTo>
                  <a:lnTo>
                    <a:pt x="302" y="147"/>
                  </a:lnTo>
                  <a:lnTo>
                    <a:pt x="303" y="164"/>
                  </a:lnTo>
                  <a:lnTo>
                    <a:pt x="302" y="180"/>
                  </a:lnTo>
                  <a:lnTo>
                    <a:pt x="300" y="196"/>
                  </a:lnTo>
                  <a:lnTo>
                    <a:pt x="296" y="212"/>
                  </a:lnTo>
                  <a:lnTo>
                    <a:pt x="291" y="227"/>
                  </a:lnTo>
                  <a:lnTo>
                    <a:pt x="285" y="242"/>
                  </a:lnTo>
                  <a:lnTo>
                    <a:pt x="278" y="255"/>
                  </a:lnTo>
                  <a:lnTo>
                    <a:pt x="268" y="267"/>
                  </a:lnTo>
                  <a:lnTo>
                    <a:pt x="258" y="280"/>
                  </a:lnTo>
                  <a:lnTo>
                    <a:pt x="248" y="291"/>
                  </a:lnTo>
                  <a:lnTo>
                    <a:pt x="236" y="299"/>
                  </a:lnTo>
                  <a:lnTo>
                    <a:pt x="224" y="308"/>
                  </a:lnTo>
                  <a:lnTo>
                    <a:pt x="210" y="315"/>
                  </a:lnTo>
                  <a:lnTo>
                    <a:pt x="197" y="320"/>
                  </a:lnTo>
                  <a:lnTo>
                    <a:pt x="182" y="324"/>
                  </a:lnTo>
                  <a:lnTo>
                    <a:pt x="167" y="326"/>
                  </a:lnTo>
                  <a:lnTo>
                    <a:pt x="15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8" name="Freeform 120">
              <a:extLst>
                <a:ext uri="{FF2B5EF4-FFF2-40B4-BE49-F238E27FC236}">
                  <a16:creationId xmlns:a16="http://schemas.microsoft.com/office/drawing/2014/main" id="{45DF0826-98A0-4543-9434-95FE64F67796}"/>
                </a:ext>
              </a:extLst>
            </p:cNvPr>
            <p:cNvSpPr>
              <a:spLocks/>
            </p:cNvSpPr>
            <p:nvPr/>
          </p:nvSpPr>
          <p:spPr bwMode="auto">
            <a:xfrm>
              <a:off x="5859463" y="5407025"/>
              <a:ext cx="144463" cy="127000"/>
            </a:xfrm>
            <a:custGeom>
              <a:avLst/>
              <a:gdLst>
                <a:gd name="T0" fmla="*/ 363 w 363"/>
                <a:gd name="T1" fmla="*/ 319 h 319"/>
                <a:gd name="T2" fmla="*/ 0 w 363"/>
                <a:gd name="T3" fmla="*/ 319 h 319"/>
                <a:gd name="T4" fmla="*/ 0 w 363"/>
                <a:gd name="T5" fmla="*/ 272 h 319"/>
                <a:gd name="T6" fmla="*/ 317 w 363"/>
                <a:gd name="T7" fmla="*/ 272 h 319"/>
                <a:gd name="T8" fmla="*/ 317 w 363"/>
                <a:gd name="T9" fmla="*/ 168 h 319"/>
                <a:gd name="T10" fmla="*/ 317 w 363"/>
                <a:gd name="T11" fmla="*/ 152 h 319"/>
                <a:gd name="T12" fmla="*/ 314 w 363"/>
                <a:gd name="T13" fmla="*/ 140 h 319"/>
                <a:gd name="T14" fmla="*/ 312 w 363"/>
                <a:gd name="T15" fmla="*/ 135 h 319"/>
                <a:gd name="T16" fmla="*/ 309 w 363"/>
                <a:gd name="T17" fmla="*/ 130 h 319"/>
                <a:gd name="T18" fmla="*/ 306 w 363"/>
                <a:gd name="T19" fmla="*/ 126 h 319"/>
                <a:gd name="T20" fmla="*/ 302 w 363"/>
                <a:gd name="T21" fmla="*/ 122 h 319"/>
                <a:gd name="T22" fmla="*/ 291 w 363"/>
                <a:gd name="T23" fmla="*/ 115 h 319"/>
                <a:gd name="T24" fmla="*/ 279 w 363"/>
                <a:gd name="T25" fmla="*/ 110 h 319"/>
                <a:gd name="T26" fmla="*/ 261 w 363"/>
                <a:gd name="T27" fmla="*/ 104 h 319"/>
                <a:gd name="T28" fmla="*/ 242 w 363"/>
                <a:gd name="T29" fmla="*/ 98 h 319"/>
                <a:gd name="T30" fmla="*/ 223 w 363"/>
                <a:gd name="T31" fmla="*/ 93 h 319"/>
                <a:gd name="T32" fmla="*/ 205 w 363"/>
                <a:gd name="T33" fmla="*/ 87 h 319"/>
                <a:gd name="T34" fmla="*/ 195 w 363"/>
                <a:gd name="T35" fmla="*/ 83 h 319"/>
                <a:gd name="T36" fmla="*/ 185 w 363"/>
                <a:gd name="T37" fmla="*/ 78 h 319"/>
                <a:gd name="T38" fmla="*/ 178 w 363"/>
                <a:gd name="T39" fmla="*/ 73 h 319"/>
                <a:gd name="T40" fmla="*/ 171 w 363"/>
                <a:gd name="T41" fmla="*/ 68 h 319"/>
                <a:gd name="T42" fmla="*/ 164 w 363"/>
                <a:gd name="T43" fmla="*/ 62 h 319"/>
                <a:gd name="T44" fmla="*/ 158 w 363"/>
                <a:gd name="T45" fmla="*/ 56 h 319"/>
                <a:gd name="T46" fmla="*/ 153 w 363"/>
                <a:gd name="T47" fmla="*/ 50 h 319"/>
                <a:gd name="T48" fmla="*/ 150 w 363"/>
                <a:gd name="T49" fmla="*/ 44 h 319"/>
                <a:gd name="T50" fmla="*/ 144 w 363"/>
                <a:gd name="T51" fmla="*/ 32 h 319"/>
                <a:gd name="T52" fmla="*/ 140 w 363"/>
                <a:gd name="T53" fmla="*/ 19 h 319"/>
                <a:gd name="T54" fmla="*/ 139 w 363"/>
                <a:gd name="T55" fmla="*/ 8 h 319"/>
                <a:gd name="T56" fmla="*/ 138 w 363"/>
                <a:gd name="T57" fmla="*/ 0 h 319"/>
                <a:gd name="T58" fmla="*/ 184 w 363"/>
                <a:gd name="T59" fmla="*/ 2 h 319"/>
                <a:gd name="T60" fmla="*/ 184 w 363"/>
                <a:gd name="T61" fmla="*/ 10 h 319"/>
                <a:gd name="T62" fmla="*/ 189 w 363"/>
                <a:gd name="T63" fmla="*/ 21 h 319"/>
                <a:gd name="T64" fmla="*/ 193 w 363"/>
                <a:gd name="T65" fmla="*/ 27 h 319"/>
                <a:gd name="T66" fmla="*/ 199 w 363"/>
                <a:gd name="T67" fmla="*/ 33 h 319"/>
                <a:gd name="T68" fmla="*/ 209 w 363"/>
                <a:gd name="T69" fmla="*/ 38 h 319"/>
                <a:gd name="T70" fmla="*/ 220 w 363"/>
                <a:gd name="T71" fmla="*/ 43 h 319"/>
                <a:gd name="T72" fmla="*/ 238 w 363"/>
                <a:gd name="T73" fmla="*/ 49 h 319"/>
                <a:gd name="T74" fmla="*/ 254 w 363"/>
                <a:gd name="T75" fmla="*/ 54 h 319"/>
                <a:gd name="T76" fmla="*/ 275 w 363"/>
                <a:gd name="T77" fmla="*/ 60 h 319"/>
                <a:gd name="T78" fmla="*/ 295 w 363"/>
                <a:gd name="T79" fmla="*/ 67 h 319"/>
                <a:gd name="T80" fmla="*/ 304 w 363"/>
                <a:gd name="T81" fmla="*/ 71 h 319"/>
                <a:gd name="T82" fmla="*/ 313 w 363"/>
                <a:gd name="T83" fmla="*/ 76 h 319"/>
                <a:gd name="T84" fmla="*/ 321 w 363"/>
                <a:gd name="T85" fmla="*/ 81 h 319"/>
                <a:gd name="T86" fmla="*/ 330 w 363"/>
                <a:gd name="T87" fmla="*/ 86 h 319"/>
                <a:gd name="T88" fmla="*/ 337 w 363"/>
                <a:gd name="T89" fmla="*/ 93 h 319"/>
                <a:gd name="T90" fmla="*/ 344 w 363"/>
                <a:gd name="T91" fmla="*/ 100 h 319"/>
                <a:gd name="T92" fmla="*/ 350 w 363"/>
                <a:gd name="T93" fmla="*/ 108 h 319"/>
                <a:gd name="T94" fmla="*/ 355 w 363"/>
                <a:gd name="T95" fmla="*/ 118 h 319"/>
                <a:gd name="T96" fmla="*/ 358 w 363"/>
                <a:gd name="T97" fmla="*/ 127 h 319"/>
                <a:gd name="T98" fmla="*/ 361 w 363"/>
                <a:gd name="T99" fmla="*/ 140 h 319"/>
                <a:gd name="T100" fmla="*/ 363 w 363"/>
                <a:gd name="T101" fmla="*/ 153 h 319"/>
                <a:gd name="T102" fmla="*/ 363 w 363"/>
                <a:gd name="T103" fmla="*/ 168 h 319"/>
                <a:gd name="T104" fmla="*/ 363 w 363"/>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3" h="319">
                  <a:moveTo>
                    <a:pt x="363" y="319"/>
                  </a:moveTo>
                  <a:lnTo>
                    <a:pt x="0" y="319"/>
                  </a:lnTo>
                  <a:lnTo>
                    <a:pt x="0" y="272"/>
                  </a:lnTo>
                  <a:lnTo>
                    <a:pt x="317" y="272"/>
                  </a:lnTo>
                  <a:lnTo>
                    <a:pt x="317" y="168"/>
                  </a:lnTo>
                  <a:lnTo>
                    <a:pt x="317" y="152"/>
                  </a:lnTo>
                  <a:lnTo>
                    <a:pt x="314" y="140"/>
                  </a:lnTo>
                  <a:lnTo>
                    <a:pt x="312" y="135"/>
                  </a:lnTo>
                  <a:lnTo>
                    <a:pt x="309" y="130"/>
                  </a:lnTo>
                  <a:lnTo>
                    <a:pt x="306" y="126"/>
                  </a:lnTo>
                  <a:lnTo>
                    <a:pt x="302" y="122"/>
                  </a:lnTo>
                  <a:lnTo>
                    <a:pt x="291" y="115"/>
                  </a:lnTo>
                  <a:lnTo>
                    <a:pt x="279" y="110"/>
                  </a:lnTo>
                  <a:lnTo>
                    <a:pt x="261" y="104"/>
                  </a:lnTo>
                  <a:lnTo>
                    <a:pt x="242" y="98"/>
                  </a:lnTo>
                  <a:lnTo>
                    <a:pt x="223" y="93"/>
                  </a:lnTo>
                  <a:lnTo>
                    <a:pt x="205" y="87"/>
                  </a:lnTo>
                  <a:lnTo>
                    <a:pt x="195" y="83"/>
                  </a:lnTo>
                  <a:lnTo>
                    <a:pt x="185" y="78"/>
                  </a:lnTo>
                  <a:lnTo>
                    <a:pt x="178" y="73"/>
                  </a:lnTo>
                  <a:lnTo>
                    <a:pt x="171" y="68"/>
                  </a:lnTo>
                  <a:lnTo>
                    <a:pt x="164" y="62"/>
                  </a:lnTo>
                  <a:lnTo>
                    <a:pt x="158" y="56"/>
                  </a:lnTo>
                  <a:lnTo>
                    <a:pt x="153" y="50"/>
                  </a:lnTo>
                  <a:lnTo>
                    <a:pt x="150" y="44"/>
                  </a:lnTo>
                  <a:lnTo>
                    <a:pt x="144" y="32"/>
                  </a:lnTo>
                  <a:lnTo>
                    <a:pt x="140" y="19"/>
                  </a:lnTo>
                  <a:lnTo>
                    <a:pt x="139" y="8"/>
                  </a:lnTo>
                  <a:lnTo>
                    <a:pt x="138" y="0"/>
                  </a:lnTo>
                  <a:lnTo>
                    <a:pt x="184" y="2"/>
                  </a:lnTo>
                  <a:lnTo>
                    <a:pt x="184" y="10"/>
                  </a:lnTo>
                  <a:lnTo>
                    <a:pt x="189" y="21"/>
                  </a:lnTo>
                  <a:lnTo>
                    <a:pt x="193" y="27"/>
                  </a:lnTo>
                  <a:lnTo>
                    <a:pt x="199" y="33"/>
                  </a:lnTo>
                  <a:lnTo>
                    <a:pt x="209" y="38"/>
                  </a:lnTo>
                  <a:lnTo>
                    <a:pt x="220" y="43"/>
                  </a:lnTo>
                  <a:lnTo>
                    <a:pt x="238" y="49"/>
                  </a:lnTo>
                  <a:lnTo>
                    <a:pt x="254" y="54"/>
                  </a:lnTo>
                  <a:lnTo>
                    <a:pt x="275" y="60"/>
                  </a:lnTo>
                  <a:lnTo>
                    <a:pt x="295" y="67"/>
                  </a:lnTo>
                  <a:lnTo>
                    <a:pt x="304" y="71"/>
                  </a:lnTo>
                  <a:lnTo>
                    <a:pt x="313" y="76"/>
                  </a:lnTo>
                  <a:lnTo>
                    <a:pt x="321" y="81"/>
                  </a:lnTo>
                  <a:lnTo>
                    <a:pt x="330" y="86"/>
                  </a:lnTo>
                  <a:lnTo>
                    <a:pt x="337" y="93"/>
                  </a:lnTo>
                  <a:lnTo>
                    <a:pt x="344" y="100"/>
                  </a:lnTo>
                  <a:lnTo>
                    <a:pt x="350" y="108"/>
                  </a:lnTo>
                  <a:lnTo>
                    <a:pt x="355" y="118"/>
                  </a:lnTo>
                  <a:lnTo>
                    <a:pt x="358" y="127"/>
                  </a:lnTo>
                  <a:lnTo>
                    <a:pt x="361" y="140"/>
                  </a:lnTo>
                  <a:lnTo>
                    <a:pt x="363" y="153"/>
                  </a:lnTo>
                  <a:lnTo>
                    <a:pt x="363" y="168"/>
                  </a:lnTo>
                  <a:lnTo>
                    <a:pt x="36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49" name="Freeform 121">
              <a:extLst>
                <a:ext uri="{FF2B5EF4-FFF2-40B4-BE49-F238E27FC236}">
                  <a16:creationId xmlns:a16="http://schemas.microsoft.com/office/drawing/2014/main" id="{7DB8801F-EAFF-47DE-BDB7-C8D5826249BF}"/>
                </a:ext>
              </a:extLst>
            </p:cNvPr>
            <p:cNvSpPr>
              <a:spLocks/>
            </p:cNvSpPr>
            <p:nvPr/>
          </p:nvSpPr>
          <p:spPr bwMode="auto">
            <a:xfrm>
              <a:off x="5849938" y="5407025"/>
              <a:ext cx="42863" cy="38100"/>
            </a:xfrm>
            <a:custGeom>
              <a:avLst/>
              <a:gdLst>
                <a:gd name="T0" fmla="*/ 12 w 105"/>
                <a:gd name="T1" fmla="*/ 95 h 95"/>
                <a:gd name="T2" fmla="*/ 0 w 105"/>
                <a:gd name="T3" fmla="*/ 51 h 95"/>
                <a:gd name="T4" fmla="*/ 12 w 105"/>
                <a:gd name="T5" fmla="*/ 48 h 95"/>
                <a:gd name="T6" fmla="*/ 24 w 105"/>
                <a:gd name="T7" fmla="*/ 43 h 95"/>
                <a:gd name="T8" fmla="*/ 36 w 105"/>
                <a:gd name="T9" fmla="*/ 38 h 95"/>
                <a:gd name="T10" fmla="*/ 45 w 105"/>
                <a:gd name="T11" fmla="*/ 32 h 95"/>
                <a:gd name="T12" fmla="*/ 51 w 105"/>
                <a:gd name="T13" fmla="*/ 24 h 95"/>
                <a:gd name="T14" fmla="*/ 56 w 105"/>
                <a:gd name="T15" fmla="*/ 18 h 95"/>
                <a:gd name="T16" fmla="*/ 60 w 105"/>
                <a:gd name="T17" fmla="*/ 7 h 95"/>
                <a:gd name="T18" fmla="*/ 60 w 105"/>
                <a:gd name="T19" fmla="*/ 2 h 95"/>
                <a:gd name="T20" fmla="*/ 105 w 105"/>
                <a:gd name="T21" fmla="*/ 0 h 95"/>
                <a:gd name="T22" fmla="*/ 105 w 105"/>
                <a:gd name="T23" fmla="*/ 8 h 95"/>
                <a:gd name="T24" fmla="*/ 104 w 105"/>
                <a:gd name="T25" fmla="*/ 19 h 95"/>
                <a:gd name="T26" fmla="*/ 100 w 105"/>
                <a:gd name="T27" fmla="*/ 32 h 95"/>
                <a:gd name="T28" fmla="*/ 94 w 105"/>
                <a:gd name="T29" fmla="*/ 44 h 95"/>
                <a:gd name="T30" fmla="*/ 90 w 105"/>
                <a:gd name="T31" fmla="*/ 50 h 95"/>
                <a:gd name="T32" fmla="*/ 85 w 105"/>
                <a:gd name="T33" fmla="*/ 56 h 95"/>
                <a:gd name="T34" fmla="*/ 79 w 105"/>
                <a:gd name="T35" fmla="*/ 62 h 95"/>
                <a:gd name="T36" fmla="*/ 73 w 105"/>
                <a:gd name="T37" fmla="*/ 68 h 95"/>
                <a:gd name="T38" fmla="*/ 66 w 105"/>
                <a:gd name="T39" fmla="*/ 73 h 95"/>
                <a:gd name="T40" fmla="*/ 57 w 105"/>
                <a:gd name="T41" fmla="*/ 78 h 95"/>
                <a:gd name="T42" fmla="*/ 49 w 105"/>
                <a:gd name="T43" fmla="*/ 83 h 95"/>
                <a:gd name="T44" fmla="*/ 39 w 105"/>
                <a:gd name="T45" fmla="*/ 87 h 95"/>
                <a:gd name="T46" fmla="*/ 25 w 105"/>
                <a:gd name="T47" fmla="*/ 91 h 95"/>
                <a:gd name="T48" fmla="*/ 12 w 105"/>
                <a:gd name="T4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95">
                  <a:moveTo>
                    <a:pt x="12" y="95"/>
                  </a:moveTo>
                  <a:lnTo>
                    <a:pt x="0" y="51"/>
                  </a:lnTo>
                  <a:lnTo>
                    <a:pt x="12" y="48"/>
                  </a:lnTo>
                  <a:lnTo>
                    <a:pt x="24" y="43"/>
                  </a:lnTo>
                  <a:lnTo>
                    <a:pt x="36" y="38"/>
                  </a:lnTo>
                  <a:lnTo>
                    <a:pt x="45" y="32"/>
                  </a:lnTo>
                  <a:lnTo>
                    <a:pt x="51" y="24"/>
                  </a:lnTo>
                  <a:lnTo>
                    <a:pt x="56" y="18"/>
                  </a:lnTo>
                  <a:lnTo>
                    <a:pt x="60" y="7"/>
                  </a:lnTo>
                  <a:lnTo>
                    <a:pt x="60" y="2"/>
                  </a:lnTo>
                  <a:lnTo>
                    <a:pt x="105" y="0"/>
                  </a:lnTo>
                  <a:lnTo>
                    <a:pt x="105" y="8"/>
                  </a:lnTo>
                  <a:lnTo>
                    <a:pt x="104" y="19"/>
                  </a:lnTo>
                  <a:lnTo>
                    <a:pt x="100" y="32"/>
                  </a:lnTo>
                  <a:lnTo>
                    <a:pt x="94" y="44"/>
                  </a:lnTo>
                  <a:lnTo>
                    <a:pt x="90" y="50"/>
                  </a:lnTo>
                  <a:lnTo>
                    <a:pt x="85" y="56"/>
                  </a:lnTo>
                  <a:lnTo>
                    <a:pt x="79" y="62"/>
                  </a:lnTo>
                  <a:lnTo>
                    <a:pt x="73" y="68"/>
                  </a:lnTo>
                  <a:lnTo>
                    <a:pt x="66" y="73"/>
                  </a:lnTo>
                  <a:lnTo>
                    <a:pt x="57" y="78"/>
                  </a:lnTo>
                  <a:lnTo>
                    <a:pt x="49" y="83"/>
                  </a:lnTo>
                  <a:lnTo>
                    <a:pt x="39" y="87"/>
                  </a:lnTo>
                  <a:lnTo>
                    <a:pt x="25" y="91"/>
                  </a:lnTo>
                  <a:lnTo>
                    <a:pt x="12"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0" name="Freeform 122">
              <a:extLst>
                <a:ext uri="{FF2B5EF4-FFF2-40B4-BE49-F238E27FC236}">
                  <a16:creationId xmlns:a16="http://schemas.microsoft.com/office/drawing/2014/main" id="{ED40DCAC-4C6B-42F7-A793-5D1DEB89C0B2}"/>
                </a:ext>
              </a:extLst>
            </p:cNvPr>
            <p:cNvSpPr>
              <a:spLocks/>
            </p:cNvSpPr>
            <p:nvPr/>
          </p:nvSpPr>
          <p:spPr bwMode="auto">
            <a:xfrm>
              <a:off x="5849938" y="5322888"/>
              <a:ext cx="104775" cy="31750"/>
            </a:xfrm>
            <a:custGeom>
              <a:avLst/>
              <a:gdLst>
                <a:gd name="T0" fmla="*/ 62 w 261"/>
                <a:gd name="T1" fmla="*/ 79 h 79"/>
                <a:gd name="T2" fmla="*/ 48 w 261"/>
                <a:gd name="T3" fmla="*/ 79 h 79"/>
                <a:gd name="T4" fmla="*/ 32 w 261"/>
                <a:gd name="T5" fmla="*/ 76 h 79"/>
                <a:gd name="T6" fmla="*/ 16 w 261"/>
                <a:gd name="T7" fmla="*/ 74 h 79"/>
                <a:gd name="T8" fmla="*/ 0 w 261"/>
                <a:gd name="T9" fmla="*/ 70 h 79"/>
                <a:gd name="T10" fmla="*/ 11 w 261"/>
                <a:gd name="T11" fmla="*/ 26 h 79"/>
                <a:gd name="T12" fmla="*/ 27 w 261"/>
                <a:gd name="T13" fmla="*/ 30 h 79"/>
                <a:gd name="T14" fmla="*/ 44 w 261"/>
                <a:gd name="T15" fmla="*/ 32 h 79"/>
                <a:gd name="T16" fmla="*/ 59 w 261"/>
                <a:gd name="T17" fmla="*/ 32 h 79"/>
                <a:gd name="T18" fmla="*/ 75 w 261"/>
                <a:gd name="T19" fmla="*/ 32 h 79"/>
                <a:gd name="T20" fmla="*/ 88 w 261"/>
                <a:gd name="T21" fmla="*/ 31 h 79"/>
                <a:gd name="T22" fmla="*/ 102 w 261"/>
                <a:gd name="T23" fmla="*/ 30 h 79"/>
                <a:gd name="T24" fmla="*/ 114 w 261"/>
                <a:gd name="T25" fmla="*/ 26 h 79"/>
                <a:gd name="T26" fmla="*/ 125 w 261"/>
                <a:gd name="T27" fmla="*/ 24 h 79"/>
                <a:gd name="T28" fmla="*/ 145 w 261"/>
                <a:gd name="T29" fmla="*/ 18 h 79"/>
                <a:gd name="T30" fmla="*/ 159 w 261"/>
                <a:gd name="T31" fmla="*/ 10 h 79"/>
                <a:gd name="T32" fmla="*/ 168 w 261"/>
                <a:gd name="T33" fmla="*/ 5 h 79"/>
                <a:gd name="T34" fmla="*/ 172 w 261"/>
                <a:gd name="T35" fmla="*/ 4 h 79"/>
                <a:gd name="T36" fmla="*/ 175 w 261"/>
                <a:gd name="T37" fmla="*/ 2 h 79"/>
                <a:gd name="T38" fmla="*/ 179 w 261"/>
                <a:gd name="T39" fmla="*/ 0 h 79"/>
                <a:gd name="T40" fmla="*/ 183 w 261"/>
                <a:gd name="T41" fmla="*/ 0 h 79"/>
                <a:gd name="T42" fmla="*/ 186 w 261"/>
                <a:gd name="T43" fmla="*/ 0 h 79"/>
                <a:gd name="T44" fmla="*/ 190 w 261"/>
                <a:gd name="T45" fmla="*/ 0 h 79"/>
                <a:gd name="T46" fmla="*/ 194 w 261"/>
                <a:gd name="T47" fmla="*/ 2 h 79"/>
                <a:gd name="T48" fmla="*/ 197 w 261"/>
                <a:gd name="T49" fmla="*/ 4 h 79"/>
                <a:gd name="T50" fmla="*/ 200 w 261"/>
                <a:gd name="T51" fmla="*/ 6 h 79"/>
                <a:gd name="T52" fmla="*/ 205 w 261"/>
                <a:gd name="T53" fmla="*/ 10 h 79"/>
                <a:gd name="T54" fmla="*/ 216 w 261"/>
                <a:gd name="T55" fmla="*/ 16 h 79"/>
                <a:gd name="T56" fmla="*/ 224 w 261"/>
                <a:gd name="T57" fmla="*/ 20 h 79"/>
                <a:gd name="T58" fmla="*/ 234 w 261"/>
                <a:gd name="T59" fmla="*/ 22 h 79"/>
                <a:gd name="T60" fmla="*/ 246 w 261"/>
                <a:gd name="T61" fmla="*/ 25 h 79"/>
                <a:gd name="T62" fmla="*/ 261 w 261"/>
                <a:gd name="T63" fmla="*/ 25 h 79"/>
                <a:gd name="T64" fmla="*/ 261 w 261"/>
                <a:gd name="T65" fmla="*/ 71 h 79"/>
                <a:gd name="T66" fmla="*/ 248 w 261"/>
                <a:gd name="T67" fmla="*/ 71 h 79"/>
                <a:gd name="T68" fmla="*/ 235 w 261"/>
                <a:gd name="T69" fmla="*/ 69 h 79"/>
                <a:gd name="T70" fmla="*/ 223 w 261"/>
                <a:gd name="T71" fmla="*/ 68 h 79"/>
                <a:gd name="T72" fmla="*/ 213 w 261"/>
                <a:gd name="T73" fmla="*/ 64 h 79"/>
                <a:gd name="T74" fmla="*/ 196 w 261"/>
                <a:gd name="T75" fmla="*/ 58 h 79"/>
                <a:gd name="T76" fmla="*/ 183 w 261"/>
                <a:gd name="T77" fmla="*/ 51 h 79"/>
                <a:gd name="T78" fmla="*/ 163 w 261"/>
                <a:gd name="T79" fmla="*/ 59 h 79"/>
                <a:gd name="T80" fmla="*/ 135 w 261"/>
                <a:gd name="T81" fmla="*/ 69 h 79"/>
                <a:gd name="T82" fmla="*/ 119 w 261"/>
                <a:gd name="T83" fmla="*/ 73 h 79"/>
                <a:gd name="T84" fmla="*/ 102 w 261"/>
                <a:gd name="T85" fmla="*/ 76 h 79"/>
                <a:gd name="T86" fmla="*/ 83 w 261"/>
                <a:gd name="T87" fmla="*/ 78 h 79"/>
                <a:gd name="T88" fmla="*/ 62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2" y="79"/>
                  </a:moveTo>
                  <a:lnTo>
                    <a:pt x="48" y="79"/>
                  </a:lnTo>
                  <a:lnTo>
                    <a:pt x="32" y="76"/>
                  </a:lnTo>
                  <a:lnTo>
                    <a:pt x="16" y="74"/>
                  </a:lnTo>
                  <a:lnTo>
                    <a:pt x="0" y="70"/>
                  </a:lnTo>
                  <a:lnTo>
                    <a:pt x="11" y="26"/>
                  </a:lnTo>
                  <a:lnTo>
                    <a:pt x="27" y="30"/>
                  </a:lnTo>
                  <a:lnTo>
                    <a:pt x="44" y="32"/>
                  </a:lnTo>
                  <a:lnTo>
                    <a:pt x="59" y="32"/>
                  </a:lnTo>
                  <a:lnTo>
                    <a:pt x="75" y="32"/>
                  </a:lnTo>
                  <a:lnTo>
                    <a:pt x="88" y="31"/>
                  </a:lnTo>
                  <a:lnTo>
                    <a:pt x="102" y="30"/>
                  </a:lnTo>
                  <a:lnTo>
                    <a:pt x="114" y="26"/>
                  </a:lnTo>
                  <a:lnTo>
                    <a:pt x="125" y="24"/>
                  </a:lnTo>
                  <a:lnTo>
                    <a:pt x="145" y="18"/>
                  </a:lnTo>
                  <a:lnTo>
                    <a:pt x="159" y="10"/>
                  </a:lnTo>
                  <a:lnTo>
                    <a:pt x="168" y="5"/>
                  </a:lnTo>
                  <a:lnTo>
                    <a:pt x="172" y="4"/>
                  </a:lnTo>
                  <a:lnTo>
                    <a:pt x="175" y="2"/>
                  </a:lnTo>
                  <a:lnTo>
                    <a:pt x="179" y="0"/>
                  </a:lnTo>
                  <a:lnTo>
                    <a:pt x="183" y="0"/>
                  </a:lnTo>
                  <a:lnTo>
                    <a:pt x="186" y="0"/>
                  </a:lnTo>
                  <a:lnTo>
                    <a:pt x="190" y="0"/>
                  </a:lnTo>
                  <a:lnTo>
                    <a:pt x="194" y="2"/>
                  </a:lnTo>
                  <a:lnTo>
                    <a:pt x="197" y="4"/>
                  </a:lnTo>
                  <a:lnTo>
                    <a:pt x="200" y="6"/>
                  </a:lnTo>
                  <a:lnTo>
                    <a:pt x="205" y="10"/>
                  </a:lnTo>
                  <a:lnTo>
                    <a:pt x="216" y="16"/>
                  </a:lnTo>
                  <a:lnTo>
                    <a:pt x="224" y="20"/>
                  </a:lnTo>
                  <a:lnTo>
                    <a:pt x="234" y="22"/>
                  </a:lnTo>
                  <a:lnTo>
                    <a:pt x="246" y="25"/>
                  </a:lnTo>
                  <a:lnTo>
                    <a:pt x="261" y="25"/>
                  </a:lnTo>
                  <a:lnTo>
                    <a:pt x="261" y="71"/>
                  </a:lnTo>
                  <a:lnTo>
                    <a:pt x="248" y="71"/>
                  </a:lnTo>
                  <a:lnTo>
                    <a:pt x="235" y="69"/>
                  </a:lnTo>
                  <a:lnTo>
                    <a:pt x="223" y="68"/>
                  </a:lnTo>
                  <a:lnTo>
                    <a:pt x="213" y="64"/>
                  </a:lnTo>
                  <a:lnTo>
                    <a:pt x="196" y="58"/>
                  </a:lnTo>
                  <a:lnTo>
                    <a:pt x="183" y="51"/>
                  </a:lnTo>
                  <a:lnTo>
                    <a:pt x="163" y="59"/>
                  </a:lnTo>
                  <a:lnTo>
                    <a:pt x="135" y="69"/>
                  </a:lnTo>
                  <a:lnTo>
                    <a:pt x="119" y="73"/>
                  </a:lnTo>
                  <a:lnTo>
                    <a:pt x="102" y="76"/>
                  </a:lnTo>
                  <a:lnTo>
                    <a:pt x="83" y="78"/>
                  </a:lnTo>
                  <a:lnTo>
                    <a:pt x="6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1" name="Freeform 183">
              <a:extLst>
                <a:ext uri="{FF2B5EF4-FFF2-40B4-BE49-F238E27FC236}">
                  <a16:creationId xmlns:a16="http://schemas.microsoft.com/office/drawing/2014/main" id="{7BA17524-F703-42A1-B2D3-BF8C146FAD45}"/>
                </a:ext>
              </a:extLst>
            </p:cNvPr>
            <p:cNvSpPr>
              <a:spLocks/>
            </p:cNvSpPr>
            <p:nvPr/>
          </p:nvSpPr>
          <p:spPr bwMode="auto">
            <a:xfrm>
              <a:off x="5537201" y="5565775"/>
              <a:ext cx="76200" cy="47625"/>
            </a:xfrm>
            <a:custGeom>
              <a:avLst/>
              <a:gdLst>
                <a:gd name="T0" fmla="*/ 168 w 191"/>
                <a:gd name="T1" fmla="*/ 120 h 120"/>
                <a:gd name="T2" fmla="*/ 163 w 191"/>
                <a:gd name="T3" fmla="*/ 119 h 120"/>
                <a:gd name="T4" fmla="*/ 159 w 191"/>
                <a:gd name="T5" fmla="*/ 118 h 120"/>
                <a:gd name="T6" fmla="*/ 155 w 191"/>
                <a:gd name="T7" fmla="*/ 117 h 120"/>
                <a:gd name="T8" fmla="*/ 152 w 191"/>
                <a:gd name="T9" fmla="*/ 113 h 120"/>
                <a:gd name="T10" fmla="*/ 94 w 191"/>
                <a:gd name="T11" fmla="*/ 57 h 120"/>
                <a:gd name="T12" fmla="*/ 39 w 191"/>
                <a:gd name="T13" fmla="*/ 112 h 120"/>
                <a:gd name="T14" fmla="*/ 36 w 191"/>
                <a:gd name="T15" fmla="*/ 116 h 120"/>
                <a:gd name="T16" fmla="*/ 31 w 191"/>
                <a:gd name="T17" fmla="*/ 117 h 120"/>
                <a:gd name="T18" fmla="*/ 27 w 191"/>
                <a:gd name="T19" fmla="*/ 118 h 120"/>
                <a:gd name="T20" fmla="*/ 22 w 191"/>
                <a:gd name="T21" fmla="*/ 119 h 120"/>
                <a:gd name="T22" fmla="*/ 18 w 191"/>
                <a:gd name="T23" fmla="*/ 118 h 120"/>
                <a:gd name="T24" fmla="*/ 13 w 191"/>
                <a:gd name="T25" fmla="*/ 117 h 120"/>
                <a:gd name="T26" fmla="*/ 10 w 191"/>
                <a:gd name="T27" fmla="*/ 116 h 120"/>
                <a:gd name="T28" fmla="*/ 6 w 191"/>
                <a:gd name="T29" fmla="*/ 112 h 120"/>
                <a:gd name="T30" fmla="*/ 4 w 191"/>
                <a:gd name="T31" fmla="*/ 108 h 120"/>
                <a:gd name="T32" fmla="*/ 1 w 191"/>
                <a:gd name="T33" fmla="*/ 104 h 120"/>
                <a:gd name="T34" fmla="*/ 0 w 191"/>
                <a:gd name="T35" fmla="*/ 100 h 120"/>
                <a:gd name="T36" fmla="*/ 0 w 191"/>
                <a:gd name="T37" fmla="*/ 96 h 120"/>
                <a:gd name="T38" fmla="*/ 0 w 191"/>
                <a:gd name="T39" fmla="*/ 91 h 120"/>
                <a:gd name="T40" fmla="*/ 1 w 191"/>
                <a:gd name="T41" fmla="*/ 87 h 120"/>
                <a:gd name="T42" fmla="*/ 4 w 191"/>
                <a:gd name="T43" fmla="*/ 82 h 120"/>
                <a:gd name="T44" fmla="*/ 6 w 191"/>
                <a:gd name="T45" fmla="*/ 80 h 120"/>
                <a:gd name="T46" fmla="*/ 78 w 191"/>
                <a:gd name="T47" fmla="*/ 8 h 120"/>
                <a:gd name="T48" fmla="*/ 82 w 191"/>
                <a:gd name="T49" fmla="*/ 5 h 120"/>
                <a:gd name="T50" fmla="*/ 86 w 191"/>
                <a:gd name="T51" fmla="*/ 3 h 120"/>
                <a:gd name="T52" fmla="*/ 90 w 191"/>
                <a:gd name="T53" fmla="*/ 1 h 120"/>
                <a:gd name="T54" fmla="*/ 94 w 191"/>
                <a:gd name="T55" fmla="*/ 0 h 120"/>
                <a:gd name="T56" fmla="*/ 99 w 191"/>
                <a:gd name="T57" fmla="*/ 1 h 120"/>
                <a:gd name="T58" fmla="*/ 103 w 191"/>
                <a:gd name="T59" fmla="*/ 3 h 120"/>
                <a:gd name="T60" fmla="*/ 107 w 191"/>
                <a:gd name="T61" fmla="*/ 5 h 120"/>
                <a:gd name="T62" fmla="*/ 110 w 191"/>
                <a:gd name="T63" fmla="*/ 8 h 120"/>
                <a:gd name="T64" fmla="*/ 184 w 191"/>
                <a:gd name="T65" fmla="*/ 81 h 120"/>
                <a:gd name="T66" fmla="*/ 186 w 191"/>
                <a:gd name="T67" fmla="*/ 85 h 120"/>
                <a:gd name="T68" fmla="*/ 189 w 191"/>
                <a:gd name="T69" fmla="*/ 89 h 120"/>
                <a:gd name="T70" fmla="*/ 190 w 191"/>
                <a:gd name="T71" fmla="*/ 92 h 120"/>
                <a:gd name="T72" fmla="*/ 191 w 191"/>
                <a:gd name="T73" fmla="*/ 97 h 120"/>
                <a:gd name="T74" fmla="*/ 190 w 191"/>
                <a:gd name="T75" fmla="*/ 102 h 120"/>
                <a:gd name="T76" fmla="*/ 189 w 191"/>
                <a:gd name="T77" fmla="*/ 106 h 120"/>
                <a:gd name="T78" fmla="*/ 186 w 191"/>
                <a:gd name="T79" fmla="*/ 109 h 120"/>
                <a:gd name="T80" fmla="*/ 184 w 191"/>
                <a:gd name="T81" fmla="*/ 113 h 120"/>
                <a:gd name="T82" fmla="*/ 180 w 191"/>
                <a:gd name="T83" fmla="*/ 117 h 120"/>
                <a:gd name="T84" fmla="*/ 177 w 191"/>
                <a:gd name="T85" fmla="*/ 118 h 120"/>
                <a:gd name="T86" fmla="*/ 172 w 191"/>
                <a:gd name="T87" fmla="*/ 119 h 120"/>
                <a:gd name="T88" fmla="*/ 168 w 191"/>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 h="120">
                  <a:moveTo>
                    <a:pt x="168" y="120"/>
                  </a:moveTo>
                  <a:lnTo>
                    <a:pt x="163" y="119"/>
                  </a:lnTo>
                  <a:lnTo>
                    <a:pt x="159" y="118"/>
                  </a:lnTo>
                  <a:lnTo>
                    <a:pt x="155" y="117"/>
                  </a:lnTo>
                  <a:lnTo>
                    <a:pt x="152" y="113"/>
                  </a:lnTo>
                  <a:lnTo>
                    <a:pt x="94" y="57"/>
                  </a:lnTo>
                  <a:lnTo>
                    <a:pt x="39" y="112"/>
                  </a:lnTo>
                  <a:lnTo>
                    <a:pt x="36" y="116"/>
                  </a:lnTo>
                  <a:lnTo>
                    <a:pt x="31" y="117"/>
                  </a:lnTo>
                  <a:lnTo>
                    <a:pt x="27" y="118"/>
                  </a:lnTo>
                  <a:lnTo>
                    <a:pt x="22" y="119"/>
                  </a:lnTo>
                  <a:lnTo>
                    <a:pt x="18" y="118"/>
                  </a:lnTo>
                  <a:lnTo>
                    <a:pt x="13" y="117"/>
                  </a:lnTo>
                  <a:lnTo>
                    <a:pt x="10" y="116"/>
                  </a:lnTo>
                  <a:lnTo>
                    <a:pt x="6" y="112"/>
                  </a:lnTo>
                  <a:lnTo>
                    <a:pt x="4" y="108"/>
                  </a:lnTo>
                  <a:lnTo>
                    <a:pt x="1" y="104"/>
                  </a:lnTo>
                  <a:lnTo>
                    <a:pt x="0" y="100"/>
                  </a:lnTo>
                  <a:lnTo>
                    <a:pt x="0" y="96"/>
                  </a:lnTo>
                  <a:lnTo>
                    <a:pt x="0" y="91"/>
                  </a:lnTo>
                  <a:lnTo>
                    <a:pt x="1" y="87"/>
                  </a:lnTo>
                  <a:lnTo>
                    <a:pt x="4" y="82"/>
                  </a:lnTo>
                  <a:lnTo>
                    <a:pt x="6" y="80"/>
                  </a:lnTo>
                  <a:lnTo>
                    <a:pt x="78" y="8"/>
                  </a:lnTo>
                  <a:lnTo>
                    <a:pt x="82" y="5"/>
                  </a:lnTo>
                  <a:lnTo>
                    <a:pt x="86" y="3"/>
                  </a:lnTo>
                  <a:lnTo>
                    <a:pt x="90" y="1"/>
                  </a:lnTo>
                  <a:lnTo>
                    <a:pt x="94" y="0"/>
                  </a:lnTo>
                  <a:lnTo>
                    <a:pt x="99" y="1"/>
                  </a:lnTo>
                  <a:lnTo>
                    <a:pt x="103" y="3"/>
                  </a:lnTo>
                  <a:lnTo>
                    <a:pt x="107" y="5"/>
                  </a:lnTo>
                  <a:lnTo>
                    <a:pt x="110" y="8"/>
                  </a:lnTo>
                  <a:lnTo>
                    <a:pt x="184" y="81"/>
                  </a:lnTo>
                  <a:lnTo>
                    <a:pt x="186" y="85"/>
                  </a:lnTo>
                  <a:lnTo>
                    <a:pt x="189" y="89"/>
                  </a:lnTo>
                  <a:lnTo>
                    <a:pt x="190" y="92"/>
                  </a:lnTo>
                  <a:lnTo>
                    <a:pt x="191" y="97"/>
                  </a:lnTo>
                  <a:lnTo>
                    <a:pt x="190" y="102"/>
                  </a:lnTo>
                  <a:lnTo>
                    <a:pt x="189" y="106"/>
                  </a:lnTo>
                  <a:lnTo>
                    <a:pt x="186" y="109"/>
                  </a:lnTo>
                  <a:lnTo>
                    <a:pt x="184" y="113"/>
                  </a:lnTo>
                  <a:lnTo>
                    <a:pt x="180" y="117"/>
                  </a:lnTo>
                  <a:lnTo>
                    <a:pt x="177" y="118"/>
                  </a:lnTo>
                  <a:lnTo>
                    <a:pt x="172"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2" name="Freeform 184">
              <a:extLst>
                <a:ext uri="{FF2B5EF4-FFF2-40B4-BE49-F238E27FC236}">
                  <a16:creationId xmlns:a16="http://schemas.microsoft.com/office/drawing/2014/main" id="{3190240F-CE5B-4A04-811E-0A362ED9A0F1}"/>
                </a:ext>
              </a:extLst>
            </p:cNvPr>
            <p:cNvSpPr>
              <a:spLocks/>
            </p:cNvSpPr>
            <p:nvPr/>
          </p:nvSpPr>
          <p:spPr bwMode="auto">
            <a:xfrm>
              <a:off x="5883276" y="5565775"/>
              <a:ext cx="76200" cy="47625"/>
            </a:xfrm>
            <a:custGeom>
              <a:avLst/>
              <a:gdLst>
                <a:gd name="T0" fmla="*/ 168 w 192"/>
                <a:gd name="T1" fmla="*/ 120 h 120"/>
                <a:gd name="T2" fmla="*/ 165 w 192"/>
                <a:gd name="T3" fmla="*/ 119 h 120"/>
                <a:gd name="T4" fmla="*/ 160 w 192"/>
                <a:gd name="T5" fmla="*/ 118 h 120"/>
                <a:gd name="T6" fmla="*/ 156 w 192"/>
                <a:gd name="T7" fmla="*/ 117 h 120"/>
                <a:gd name="T8" fmla="*/ 152 w 192"/>
                <a:gd name="T9" fmla="*/ 113 h 120"/>
                <a:gd name="T10" fmla="*/ 95 w 192"/>
                <a:gd name="T11" fmla="*/ 57 h 120"/>
                <a:gd name="T12" fmla="*/ 39 w 192"/>
                <a:gd name="T13" fmla="*/ 112 h 120"/>
                <a:gd name="T14" fmla="*/ 36 w 192"/>
                <a:gd name="T15" fmla="*/ 116 h 120"/>
                <a:gd name="T16" fmla="*/ 32 w 192"/>
                <a:gd name="T17" fmla="*/ 117 h 120"/>
                <a:gd name="T18" fmla="*/ 27 w 192"/>
                <a:gd name="T19" fmla="*/ 118 h 120"/>
                <a:gd name="T20" fmla="*/ 24 w 192"/>
                <a:gd name="T21" fmla="*/ 119 h 120"/>
                <a:gd name="T22" fmla="*/ 19 w 192"/>
                <a:gd name="T23" fmla="*/ 118 h 120"/>
                <a:gd name="T24" fmla="*/ 15 w 192"/>
                <a:gd name="T25" fmla="*/ 117 h 120"/>
                <a:gd name="T26" fmla="*/ 10 w 192"/>
                <a:gd name="T27" fmla="*/ 116 h 120"/>
                <a:gd name="T28" fmla="*/ 8 w 192"/>
                <a:gd name="T29" fmla="*/ 112 h 120"/>
                <a:gd name="T30" fmla="*/ 4 w 192"/>
                <a:gd name="T31" fmla="*/ 108 h 120"/>
                <a:gd name="T32" fmla="*/ 1 w 192"/>
                <a:gd name="T33" fmla="*/ 104 h 120"/>
                <a:gd name="T34" fmla="*/ 0 w 192"/>
                <a:gd name="T35" fmla="*/ 100 h 120"/>
                <a:gd name="T36" fmla="*/ 0 w 192"/>
                <a:gd name="T37" fmla="*/ 96 h 120"/>
                <a:gd name="T38" fmla="*/ 0 w 192"/>
                <a:gd name="T39" fmla="*/ 91 h 120"/>
                <a:gd name="T40" fmla="*/ 1 w 192"/>
                <a:gd name="T41" fmla="*/ 87 h 120"/>
                <a:gd name="T42" fmla="*/ 4 w 192"/>
                <a:gd name="T43" fmla="*/ 82 h 120"/>
                <a:gd name="T44" fmla="*/ 8 w 192"/>
                <a:gd name="T45" fmla="*/ 80 h 120"/>
                <a:gd name="T46" fmla="*/ 79 w 192"/>
                <a:gd name="T47" fmla="*/ 8 h 120"/>
                <a:gd name="T48" fmla="*/ 82 w 192"/>
                <a:gd name="T49" fmla="*/ 5 h 120"/>
                <a:gd name="T50" fmla="*/ 86 w 192"/>
                <a:gd name="T51" fmla="*/ 3 h 120"/>
                <a:gd name="T52" fmla="*/ 91 w 192"/>
                <a:gd name="T53" fmla="*/ 1 h 120"/>
                <a:gd name="T54" fmla="*/ 95 w 192"/>
                <a:gd name="T55" fmla="*/ 0 h 120"/>
                <a:gd name="T56" fmla="*/ 95 w 192"/>
                <a:gd name="T57" fmla="*/ 0 h 120"/>
                <a:gd name="T58" fmla="*/ 100 w 192"/>
                <a:gd name="T59" fmla="*/ 1 h 120"/>
                <a:gd name="T60" fmla="*/ 104 w 192"/>
                <a:gd name="T61" fmla="*/ 3 h 120"/>
                <a:gd name="T62" fmla="*/ 108 w 192"/>
                <a:gd name="T63" fmla="*/ 5 h 120"/>
                <a:gd name="T64" fmla="*/ 112 w 192"/>
                <a:gd name="T65" fmla="*/ 8 h 120"/>
                <a:gd name="T66" fmla="*/ 185 w 192"/>
                <a:gd name="T67" fmla="*/ 81 h 120"/>
                <a:gd name="T68" fmla="*/ 188 w 192"/>
                <a:gd name="T69" fmla="*/ 85 h 120"/>
                <a:gd name="T70" fmla="*/ 190 w 192"/>
                <a:gd name="T71" fmla="*/ 89 h 120"/>
                <a:gd name="T72" fmla="*/ 192 w 192"/>
                <a:gd name="T73" fmla="*/ 92 h 120"/>
                <a:gd name="T74" fmla="*/ 192 w 192"/>
                <a:gd name="T75" fmla="*/ 97 h 120"/>
                <a:gd name="T76" fmla="*/ 192 w 192"/>
                <a:gd name="T77" fmla="*/ 102 h 120"/>
                <a:gd name="T78" fmla="*/ 190 w 192"/>
                <a:gd name="T79" fmla="*/ 106 h 120"/>
                <a:gd name="T80" fmla="*/ 188 w 192"/>
                <a:gd name="T81" fmla="*/ 109 h 120"/>
                <a:gd name="T82" fmla="*/ 184 w 192"/>
                <a:gd name="T83" fmla="*/ 113 h 120"/>
                <a:gd name="T84" fmla="*/ 182 w 192"/>
                <a:gd name="T85" fmla="*/ 117 h 120"/>
                <a:gd name="T86" fmla="*/ 177 w 192"/>
                <a:gd name="T87" fmla="*/ 118 h 120"/>
                <a:gd name="T88" fmla="*/ 173 w 192"/>
                <a:gd name="T89" fmla="*/ 119 h 120"/>
                <a:gd name="T90" fmla="*/ 168 w 192"/>
                <a:gd name="T9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0">
                  <a:moveTo>
                    <a:pt x="168" y="120"/>
                  </a:moveTo>
                  <a:lnTo>
                    <a:pt x="165" y="119"/>
                  </a:lnTo>
                  <a:lnTo>
                    <a:pt x="160" y="118"/>
                  </a:lnTo>
                  <a:lnTo>
                    <a:pt x="156" y="117"/>
                  </a:lnTo>
                  <a:lnTo>
                    <a:pt x="152" y="113"/>
                  </a:lnTo>
                  <a:lnTo>
                    <a:pt x="95" y="57"/>
                  </a:lnTo>
                  <a:lnTo>
                    <a:pt x="39" y="112"/>
                  </a:lnTo>
                  <a:lnTo>
                    <a:pt x="36" y="116"/>
                  </a:lnTo>
                  <a:lnTo>
                    <a:pt x="32" y="117"/>
                  </a:lnTo>
                  <a:lnTo>
                    <a:pt x="27" y="118"/>
                  </a:lnTo>
                  <a:lnTo>
                    <a:pt x="24" y="119"/>
                  </a:lnTo>
                  <a:lnTo>
                    <a:pt x="19" y="118"/>
                  </a:lnTo>
                  <a:lnTo>
                    <a:pt x="15" y="117"/>
                  </a:lnTo>
                  <a:lnTo>
                    <a:pt x="10" y="116"/>
                  </a:lnTo>
                  <a:lnTo>
                    <a:pt x="8" y="112"/>
                  </a:lnTo>
                  <a:lnTo>
                    <a:pt x="4" y="108"/>
                  </a:lnTo>
                  <a:lnTo>
                    <a:pt x="1" y="104"/>
                  </a:lnTo>
                  <a:lnTo>
                    <a:pt x="0" y="100"/>
                  </a:lnTo>
                  <a:lnTo>
                    <a:pt x="0" y="96"/>
                  </a:lnTo>
                  <a:lnTo>
                    <a:pt x="0" y="91"/>
                  </a:lnTo>
                  <a:lnTo>
                    <a:pt x="1" y="87"/>
                  </a:lnTo>
                  <a:lnTo>
                    <a:pt x="4" y="82"/>
                  </a:lnTo>
                  <a:lnTo>
                    <a:pt x="8" y="80"/>
                  </a:lnTo>
                  <a:lnTo>
                    <a:pt x="79" y="8"/>
                  </a:lnTo>
                  <a:lnTo>
                    <a:pt x="82" y="5"/>
                  </a:lnTo>
                  <a:lnTo>
                    <a:pt x="86" y="3"/>
                  </a:lnTo>
                  <a:lnTo>
                    <a:pt x="91" y="1"/>
                  </a:lnTo>
                  <a:lnTo>
                    <a:pt x="95" y="0"/>
                  </a:lnTo>
                  <a:lnTo>
                    <a:pt x="95" y="0"/>
                  </a:lnTo>
                  <a:lnTo>
                    <a:pt x="100" y="1"/>
                  </a:lnTo>
                  <a:lnTo>
                    <a:pt x="104" y="3"/>
                  </a:lnTo>
                  <a:lnTo>
                    <a:pt x="108" y="5"/>
                  </a:lnTo>
                  <a:lnTo>
                    <a:pt x="112" y="8"/>
                  </a:lnTo>
                  <a:lnTo>
                    <a:pt x="185" y="81"/>
                  </a:lnTo>
                  <a:lnTo>
                    <a:pt x="188" y="85"/>
                  </a:lnTo>
                  <a:lnTo>
                    <a:pt x="190" y="89"/>
                  </a:lnTo>
                  <a:lnTo>
                    <a:pt x="192" y="92"/>
                  </a:lnTo>
                  <a:lnTo>
                    <a:pt x="192" y="97"/>
                  </a:lnTo>
                  <a:lnTo>
                    <a:pt x="192" y="102"/>
                  </a:lnTo>
                  <a:lnTo>
                    <a:pt x="190" y="106"/>
                  </a:lnTo>
                  <a:lnTo>
                    <a:pt x="188" y="109"/>
                  </a:lnTo>
                  <a:lnTo>
                    <a:pt x="184" y="113"/>
                  </a:lnTo>
                  <a:lnTo>
                    <a:pt x="182" y="117"/>
                  </a:lnTo>
                  <a:lnTo>
                    <a:pt x="177" y="118"/>
                  </a:lnTo>
                  <a:lnTo>
                    <a:pt x="173"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3" name="Freeform 187">
              <a:extLst>
                <a:ext uri="{FF2B5EF4-FFF2-40B4-BE49-F238E27FC236}">
                  <a16:creationId xmlns:a16="http://schemas.microsoft.com/office/drawing/2014/main" id="{C66CDADD-BD39-4F0D-8CB2-AA42562BA323}"/>
                </a:ext>
              </a:extLst>
            </p:cNvPr>
            <p:cNvSpPr>
              <a:spLocks/>
            </p:cNvSpPr>
            <p:nvPr/>
          </p:nvSpPr>
          <p:spPr bwMode="auto">
            <a:xfrm>
              <a:off x="5565776" y="5583238"/>
              <a:ext cx="365125" cy="73025"/>
            </a:xfrm>
            <a:custGeom>
              <a:avLst/>
              <a:gdLst>
                <a:gd name="T0" fmla="*/ 898 w 921"/>
                <a:gd name="T1" fmla="*/ 184 h 184"/>
                <a:gd name="T2" fmla="*/ 22 w 921"/>
                <a:gd name="T3" fmla="*/ 184 h 184"/>
                <a:gd name="T4" fmla="*/ 19 w 921"/>
                <a:gd name="T5" fmla="*/ 184 h 184"/>
                <a:gd name="T6" fmla="*/ 14 w 921"/>
                <a:gd name="T7" fmla="*/ 183 h 184"/>
                <a:gd name="T8" fmla="*/ 10 w 921"/>
                <a:gd name="T9" fmla="*/ 180 h 184"/>
                <a:gd name="T10" fmla="*/ 6 w 921"/>
                <a:gd name="T11" fmla="*/ 178 h 184"/>
                <a:gd name="T12" fmla="*/ 4 w 921"/>
                <a:gd name="T13" fmla="*/ 174 h 184"/>
                <a:gd name="T14" fmla="*/ 1 w 921"/>
                <a:gd name="T15" fmla="*/ 170 h 184"/>
                <a:gd name="T16" fmla="*/ 0 w 921"/>
                <a:gd name="T17" fmla="*/ 165 h 184"/>
                <a:gd name="T18" fmla="*/ 0 w 921"/>
                <a:gd name="T19" fmla="*/ 161 h 184"/>
                <a:gd name="T20" fmla="*/ 0 w 921"/>
                <a:gd name="T21" fmla="*/ 0 h 184"/>
                <a:gd name="T22" fmla="*/ 45 w 921"/>
                <a:gd name="T23" fmla="*/ 0 h 184"/>
                <a:gd name="T24" fmla="*/ 45 w 921"/>
                <a:gd name="T25" fmla="*/ 138 h 184"/>
                <a:gd name="T26" fmla="*/ 875 w 921"/>
                <a:gd name="T27" fmla="*/ 138 h 184"/>
                <a:gd name="T28" fmla="*/ 875 w 921"/>
                <a:gd name="T29" fmla="*/ 0 h 184"/>
                <a:gd name="T30" fmla="*/ 921 w 921"/>
                <a:gd name="T31" fmla="*/ 0 h 184"/>
                <a:gd name="T32" fmla="*/ 921 w 921"/>
                <a:gd name="T33" fmla="*/ 161 h 184"/>
                <a:gd name="T34" fmla="*/ 920 w 921"/>
                <a:gd name="T35" fmla="*/ 165 h 184"/>
                <a:gd name="T36" fmla="*/ 919 w 921"/>
                <a:gd name="T37" fmla="*/ 170 h 184"/>
                <a:gd name="T38" fmla="*/ 918 w 921"/>
                <a:gd name="T39" fmla="*/ 174 h 184"/>
                <a:gd name="T40" fmla="*/ 914 w 921"/>
                <a:gd name="T41" fmla="*/ 178 h 184"/>
                <a:gd name="T42" fmla="*/ 911 w 921"/>
                <a:gd name="T43" fmla="*/ 180 h 184"/>
                <a:gd name="T44" fmla="*/ 906 w 921"/>
                <a:gd name="T45" fmla="*/ 183 h 184"/>
                <a:gd name="T46" fmla="*/ 903 w 921"/>
                <a:gd name="T47" fmla="*/ 184 h 184"/>
                <a:gd name="T48" fmla="*/ 898 w 921"/>
                <a:gd name="T4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1" h="184">
                  <a:moveTo>
                    <a:pt x="898" y="184"/>
                  </a:moveTo>
                  <a:lnTo>
                    <a:pt x="22" y="184"/>
                  </a:lnTo>
                  <a:lnTo>
                    <a:pt x="19" y="184"/>
                  </a:lnTo>
                  <a:lnTo>
                    <a:pt x="14" y="183"/>
                  </a:lnTo>
                  <a:lnTo>
                    <a:pt x="10" y="180"/>
                  </a:lnTo>
                  <a:lnTo>
                    <a:pt x="6" y="178"/>
                  </a:lnTo>
                  <a:lnTo>
                    <a:pt x="4" y="174"/>
                  </a:lnTo>
                  <a:lnTo>
                    <a:pt x="1" y="170"/>
                  </a:lnTo>
                  <a:lnTo>
                    <a:pt x="0" y="165"/>
                  </a:lnTo>
                  <a:lnTo>
                    <a:pt x="0" y="161"/>
                  </a:lnTo>
                  <a:lnTo>
                    <a:pt x="0" y="0"/>
                  </a:lnTo>
                  <a:lnTo>
                    <a:pt x="45" y="0"/>
                  </a:lnTo>
                  <a:lnTo>
                    <a:pt x="45" y="138"/>
                  </a:lnTo>
                  <a:lnTo>
                    <a:pt x="875" y="138"/>
                  </a:lnTo>
                  <a:lnTo>
                    <a:pt x="875" y="0"/>
                  </a:lnTo>
                  <a:lnTo>
                    <a:pt x="921" y="0"/>
                  </a:lnTo>
                  <a:lnTo>
                    <a:pt x="921" y="161"/>
                  </a:lnTo>
                  <a:lnTo>
                    <a:pt x="920" y="165"/>
                  </a:lnTo>
                  <a:lnTo>
                    <a:pt x="919" y="170"/>
                  </a:lnTo>
                  <a:lnTo>
                    <a:pt x="918" y="174"/>
                  </a:lnTo>
                  <a:lnTo>
                    <a:pt x="914" y="178"/>
                  </a:lnTo>
                  <a:lnTo>
                    <a:pt x="911" y="180"/>
                  </a:lnTo>
                  <a:lnTo>
                    <a:pt x="906" y="183"/>
                  </a:lnTo>
                  <a:lnTo>
                    <a:pt x="903" y="184"/>
                  </a:lnTo>
                  <a:lnTo>
                    <a:pt x="89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54" name="Rectangle 188">
              <a:extLst>
                <a:ext uri="{FF2B5EF4-FFF2-40B4-BE49-F238E27FC236}">
                  <a16:creationId xmlns:a16="http://schemas.microsoft.com/office/drawing/2014/main" id="{7D6644D6-3EC4-45C3-8FB5-081885AB7C21}"/>
                </a:ext>
              </a:extLst>
            </p:cNvPr>
            <p:cNvSpPr>
              <a:spLocks noChangeArrowheads="1"/>
            </p:cNvSpPr>
            <p:nvPr/>
          </p:nvSpPr>
          <p:spPr bwMode="auto">
            <a:xfrm>
              <a:off x="5729288" y="5519738"/>
              <a:ext cx="19050"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77" name="Group 45">
            <a:extLst>
              <a:ext uri="{FF2B5EF4-FFF2-40B4-BE49-F238E27FC236}">
                <a16:creationId xmlns:a16="http://schemas.microsoft.com/office/drawing/2014/main" id="{2C43E14A-DCB7-4C24-A0DE-98CC311DC72E}"/>
              </a:ext>
            </a:extLst>
          </p:cNvPr>
          <p:cNvGrpSpPr>
            <a:grpSpLocks noChangeAspect="1"/>
          </p:cNvGrpSpPr>
          <p:nvPr/>
        </p:nvGrpSpPr>
        <p:grpSpPr>
          <a:xfrm>
            <a:off x="4461398" y="2724897"/>
            <a:ext cx="263183" cy="285619"/>
            <a:chOff x="7832726" y="4595813"/>
            <a:chExt cx="484187" cy="525463"/>
          </a:xfrm>
          <a:solidFill>
            <a:schemeClr val="bg1"/>
          </a:solidFill>
          <a:effectLst/>
        </p:grpSpPr>
        <p:sp>
          <p:nvSpPr>
            <p:cNvPr id="678" name="Freeform 127">
              <a:extLst>
                <a:ext uri="{FF2B5EF4-FFF2-40B4-BE49-F238E27FC236}">
                  <a16:creationId xmlns:a16="http://schemas.microsoft.com/office/drawing/2014/main" id="{6E636A0F-F7DD-4497-A4FE-0938F2EA436D}"/>
                </a:ext>
              </a:extLst>
            </p:cNvPr>
            <p:cNvSpPr>
              <a:spLocks noEditPoints="1"/>
            </p:cNvSpPr>
            <p:nvPr/>
          </p:nvSpPr>
          <p:spPr bwMode="auto">
            <a:xfrm>
              <a:off x="7912101" y="4595813"/>
              <a:ext cx="217488" cy="238125"/>
            </a:xfrm>
            <a:custGeom>
              <a:avLst/>
              <a:gdLst>
                <a:gd name="T0" fmla="*/ 240 w 550"/>
                <a:gd name="T1" fmla="*/ 49 h 600"/>
                <a:gd name="T2" fmla="*/ 166 w 550"/>
                <a:gd name="T3" fmla="*/ 77 h 600"/>
                <a:gd name="T4" fmla="*/ 98 w 550"/>
                <a:gd name="T5" fmla="*/ 139 h 600"/>
                <a:gd name="T6" fmla="*/ 56 w 550"/>
                <a:gd name="T7" fmla="*/ 224 h 600"/>
                <a:gd name="T8" fmla="*/ 48 w 550"/>
                <a:gd name="T9" fmla="*/ 326 h 600"/>
                <a:gd name="T10" fmla="*/ 74 w 550"/>
                <a:gd name="T11" fmla="*/ 421 h 600"/>
                <a:gd name="T12" fmla="*/ 130 w 550"/>
                <a:gd name="T13" fmla="*/ 495 h 600"/>
                <a:gd name="T14" fmla="*/ 207 w 550"/>
                <a:gd name="T15" fmla="*/ 542 h 600"/>
                <a:gd name="T16" fmla="*/ 263 w 550"/>
                <a:gd name="T17" fmla="*/ 553 h 600"/>
                <a:gd name="T18" fmla="*/ 309 w 550"/>
                <a:gd name="T19" fmla="*/ 551 h 600"/>
                <a:gd name="T20" fmla="*/ 384 w 550"/>
                <a:gd name="T21" fmla="*/ 522 h 600"/>
                <a:gd name="T22" fmla="*/ 451 w 550"/>
                <a:gd name="T23" fmla="*/ 461 h 600"/>
                <a:gd name="T24" fmla="*/ 493 w 550"/>
                <a:gd name="T25" fmla="*/ 375 h 600"/>
                <a:gd name="T26" fmla="*/ 502 w 550"/>
                <a:gd name="T27" fmla="*/ 273 h 600"/>
                <a:gd name="T28" fmla="*/ 476 w 550"/>
                <a:gd name="T29" fmla="*/ 179 h 600"/>
                <a:gd name="T30" fmla="*/ 420 w 550"/>
                <a:gd name="T31" fmla="*/ 104 h 600"/>
                <a:gd name="T32" fmla="*/ 342 w 550"/>
                <a:gd name="T33" fmla="*/ 58 h 600"/>
                <a:gd name="T34" fmla="*/ 287 w 550"/>
                <a:gd name="T35" fmla="*/ 47 h 600"/>
                <a:gd name="T36" fmla="*/ 247 w 550"/>
                <a:gd name="T37" fmla="*/ 597 h 600"/>
                <a:gd name="T38" fmla="*/ 194 w 550"/>
                <a:gd name="T39" fmla="*/ 586 h 600"/>
                <a:gd name="T40" fmla="*/ 144 w 550"/>
                <a:gd name="T41" fmla="*/ 563 h 600"/>
                <a:gd name="T42" fmla="*/ 101 w 550"/>
                <a:gd name="T43" fmla="*/ 531 h 600"/>
                <a:gd name="T44" fmla="*/ 63 w 550"/>
                <a:gd name="T45" fmla="*/ 491 h 600"/>
                <a:gd name="T46" fmla="*/ 33 w 550"/>
                <a:gd name="T47" fmla="*/ 443 h 600"/>
                <a:gd name="T48" fmla="*/ 12 w 550"/>
                <a:gd name="T49" fmla="*/ 389 h 600"/>
                <a:gd name="T50" fmla="*/ 1 w 550"/>
                <a:gd name="T51" fmla="*/ 331 h 600"/>
                <a:gd name="T52" fmla="*/ 1 w 550"/>
                <a:gd name="T53" fmla="*/ 270 h 600"/>
                <a:gd name="T54" fmla="*/ 12 w 550"/>
                <a:gd name="T55" fmla="*/ 211 h 600"/>
                <a:gd name="T56" fmla="*/ 33 w 550"/>
                <a:gd name="T57" fmla="*/ 157 h 600"/>
                <a:gd name="T58" fmla="*/ 63 w 550"/>
                <a:gd name="T59" fmla="*/ 109 h 600"/>
                <a:gd name="T60" fmla="*/ 101 w 550"/>
                <a:gd name="T61" fmla="*/ 69 h 600"/>
                <a:gd name="T62" fmla="*/ 144 w 550"/>
                <a:gd name="T63" fmla="*/ 37 h 600"/>
                <a:gd name="T64" fmla="*/ 194 w 550"/>
                <a:gd name="T65" fmla="*/ 13 h 600"/>
                <a:gd name="T66" fmla="*/ 247 w 550"/>
                <a:gd name="T67" fmla="*/ 2 h 600"/>
                <a:gd name="T68" fmla="*/ 303 w 550"/>
                <a:gd name="T69" fmla="*/ 2 h 600"/>
                <a:gd name="T70" fmla="*/ 356 w 550"/>
                <a:gd name="T71" fmla="*/ 13 h 600"/>
                <a:gd name="T72" fmla="*/ 406 w 550"/>
                <a:gd name="T73" fmla="*/ 37 h 600"/>
                <a:gd name="T74" fmla="*/ 449 w 550"/>
                <a:gd name="T75" fmla="*/ 69 h 600"/>
                <a:gd name="T76" fmla="*/ 487 w 550"/>
                <a:gd name="T77" fmla="*/ 109 h 600"/>
                <a:gd name="T78" fmla="*/ 516 w 550"/>
                <a:gd name="T79" fmla="*/ 157 h 600"/>
                <a:gd name="T80" fmla="*/ 537 w 550"/>
                <a:gd name="T81" fmla="*/ 211 h 600"/>
                <a:gd name="T82" fmla="*/ 548 w 550"/>
                <a:gd name="T83" fmla="*/ 270 h 600"/>
                <a:gd name="T84" fmla="*/ 548 w 550"/>
                <a:gd name="T85" fmla="*/ 331 h 600"/>
                <a:gd name="T86" fmla="*/ 537 w 550"/>
                <a:gd name="T87" fmla="*/ 389 h 600"/>
                <a:gd name="T88" fmla="*/ 516 w 550"/>
                <a:gd name="T89" fmla="*/ 443 h 600"/>
                <a:gd name="T90" fmla="*/ 487 w 550"/>
                <a:gd name="T91" fmla="*/ 491 h 600"/>
                <a:gd name="T92" fmla="*/ 449 w 550"/>
                <a:gd name="T93" fmla="*/ 531 h 600"/>
                <a:gd name="T94" fmla="*/ 406 w 550"/>
                <a:gd name="T95" fmla="*/ 563 h 600"/>
                <a:gd name="T96" fmla="*/ 356 w 550"/>
                <a:gd name="T97" fmla="*/ 586 h 600"/>
                <a:gd name="T98" fmla="*/ 303 w 550"/>
                <a:gd name="T99" fmla="*/ 597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0" h="600">
                  <a:moveTo>
                    <a:pt x="275" y="47"/>
                  </a:moveTo>
                  <a:lnTo>
                    <a:pt x="263" y="47"/>
                  </a:lnTo>
                  <a:lnTo>
                    <a:pt x="252" y="48"/>
                  </a:lnTo>
                  <a:lnTo>
                    <a:pt x="240" y="49"/>
                  </a:lnTo>
                  <a:lnTo>
                    <a:pt x="229" y="51"/>
                  </a:lnTo>
                  <a:lnTo>
                    <a:pt x="207" y="58"/>
                  </a:lnTo>
                  <a:lnTo>
                    <a:pt x="186" y="66"/>
                  </a:lnTo>
                  <a:lnTo>
                    <a:pt x="166" y="77"/>
                  </a:lnTo>
                  <a:lnTo>
                    <a:pt x="147" y="89"/>
                  </a:lnTo>
                  <a:lnTo>
                    <a:pt x="130" y="104"/>
                  </a:lnTo>
                  <a:lnTo>
                    <a:pt x="113" y="121"/>
                  </a:lnTo>
                  <a:lnTo>
                    <a:pt x="98" y="139"/>
                  </a:lnTo>
                  <a:lnTo>
                    <a:pt x="86" y="158"/>
                  </a:lnTo>
                  <a:lnTo>
                    <a:pt x="74" y="179"/>
                  </a:lnTo>
                  <a:lnTo>
                    <a:pt x="65" y="201"/>
                  </a:lnTo>
                  <a:lnTo>
                    <a:pt x="56" y="224"/>
                  </a:lnTo>
                  <a:lnTo>
                    <a:pt x="52" y="249"/>
                  </a:lnTo>
                  <a:lnTo>
                    <a:pt x="48" y="273"/>
                  </a:lnTo>
                  <a:lnTo>
                    <a:pt x="47" y="300"/>
                  </a:lnTo>
                  <a:lnTo>
                    <a:pt x="48" y="326"/>
                  </a:lnTo>
                  <a:lnTo>
                    <a:pt x="52" y="351"/>
                  </a:lnTo>
                  <a:lnTo>
                    <a:pt x="56" y="375"/>
                  </a:lnTo>
                  <a:lnTo>
                    <a:pt x="65" y="399"/>
                  </a:lnTo>
                  <a:lnTo>
                    <a:pt x="74" y="421"/>
                  </a:lnTo>
                  <a:lnTo>
                    <a:pt x="86" y="442"/>
                  </a:lnTo>
                  <a:lnTo>
                    <a:pt x="98" y="461"/>
                  </a:lnTo>
                  <a:lnTo>
                    <a:pt x="113" y="480"/>
                  </a:lnTo>
                  <a:lnTo>
                    <a:pt x="130" y="495"/>
                  </a:lnTo>
                  <a:lnTo>
                    <a:pt x="147" y="510"/>
                  </a:lnTo>
                  <a:lnTo>
                    <a:pt x="166" y="522"/>
                  </a:lnTo>
                  <a:lnTo>
                    <a:pt x="186" y="534"/>
                  </a:lnTo>
                  <a:lnTo>
                    <a:pt x="207" y="542"/>
                  </a:lnTo>
                  <a:lnTo>
                    <a:pt x="229" y="548"/>
                  </a:lnTo>
                  <a:lnTo>
                    <a:pt x="240" y="551"/>
                  </a:lnTo>
                  <a:lnTo>
                    <a:pt x="252" y="552"/>
                  </a:lnTo>
                  <a:lnTo>
                    <a:pt x="263" y="553"/>
                  </a:lnTo>
                  <a:lnTo>
                    <a:pt x="275" y="553"/>
                  </a:lnTo>
                  <a:lnTo>
                    <a:pt x="287" y="553"/>
                  </a:lnTo>
                  <a:lnTo>
                    <a:pt x="298" y="552"/>
                  </a:lnTo>
                  <a:lnTo>
                    <a:pt x="309" y="551"/>
                  </a:lnTo>
                  <a:lnTo>
                    <a:pt x="320" y="548"/>
                  </a:lnTo>
                  <a:lnTo>
                    <a:pt x="342" y="542"/>
                  </a:lnTo>
                  <a:lnTo>
                    <a:pt x="363" y="534"/>
                  </a:lnTo>
                  <a:lnTo>
                    <a:pt x="384" y="522"/>
                  </a:lnTo>
                  <a:lnTo>
                    <a:pt x="402" y="510"/>
                  </a:lnTo>
                  <a:lnTo>
                    <a:pt x="420" y="495"/>
                  </a:lnTo>
                  <a:lnTo>
                    <a:pt x="437" y="480"/>
                  </a:lnTo>
                  <a:lnTo>
                    <a:pt x="451" y="461"/>
                  </a:lnTo>
                  <a:lnTo>
                    <a:pt x="464" y="442"/>
                  </a:lnTo>
                  <a:lnTo>
                    <a:pt x="476" y="421"/>
                  </a:lnTo>
                  <a:lnTo>
                    <a:pt x="485" y="399"/>
                  </a:lnTo>
                  <a:lnTo>
                    <a:pt x="493" y="375"/>
                  </a:lnTo>
                  <a:lnTo>
                    <a:pt x="498" y="351"/>
                  </a:lnTo>
                  <a:lnTo>
                    <a:pt x="502" y="326"/>
                  </a:lnTo>
                  <a:lnTo>
                    <a:pt x="503" y="300"/>
                  </a:lnTo>
                  <a:lnTo>
                    <a:pt x="502" y="273"/>
                  </a:lnTo>
                  <a:lnTo>
                    <a:pt x="498" y="249"/>
                  </a:lnTo>
                  <a:lnTo>
                    <a:pt x="493" y="224"/>
                  </a:lnTo>
                  <a:lnTo>
                    <a:pt x="485" y="201"/>
                  </a:lnTo>
                  <a:lnTo>
                    <a:pt x="476" y="179"/>
                  </a:lnTo>
                  <a:lnTo>
                    <a:pt x="464" y="158"/>
                  </a:lnTo>
                  <a:lnTo>
                    <a:pt x="451" y="139"/>
                  </a:lnTo>
                  <a:lnTo>
                    <a:pt x="437" y="121"/>
                  </a:lnTo>
                  <a:lnTo>
                    <a:pt x="420" y="104"/>
                  </a:lnTo>
                  <a:lnTo>
                    <a:pt x="402" y="89"/>
                  </a:lnTo>
                  <a:lnTo>
                    <a:pt x="384" y="77"/>
                  </a:lnTo>
                  <a:lnTo>
                    <a:pt x="363" y="66"/>
                  </a:lnTo>
                  <a:lnTo>
                    <a:pt x="342" y="58"/>
                  </a:lnTo>
                  <a:lnTo>
                    <a:pt x="320" y="51"/>
                  </a:lnTo>
                  <a:lnTo>
                    <a:pt x="309" y="49"/>
                  </a:lnTo>
                  <a:lnTo>
                    <a:pt x="298" y="48"/>
                  </a:lnTo>
                  <a:lnTo>
                    <a:pt x="287" y="47"/>
                  </a:lnTo>
                  <a:lnTo>
                    <a:pt x="275" y="47"/>
                  </a:lnTo>
                  <a:close/>
                  <a:moveTo>
                    <a:pt x="275" y="600"/>
                  </a:moveTo>
                  <a:lnTo>
                    <a:pt x="261" y="599"/>
                  </a:lnTo>
                  <a:lnTo>
                    <a:pt x="247" y="597"/>
                  </a:lnTo>
                  <a:lnTo>
                    <a:pt x="233" y="596"/>
                  </a:lnTo>
                  <a:lnTo>
                    <a:pt x="220" y="594"/>
                  </a:lnTo>
                  <a:lnTo>
                    <a:pt x="206" y="590"/>
                  </a:lnTo>
                  <a:lnTo>
                    <a:pt x="194" y="586"/>
                  </a:lnTo>
                  <a:lnTo>
                    <a:pt x="180" y="581"/>
                  </a:lnTo>
                  <a:lnTo>
                    <a:pt x="168" y="576"/>
                  </a:lnTo>
                  <a:lnTo>
                    <a:pt x="156" y="570"/>
                  </a:lnTo>
                  <a:lnTo>
                    <a:pt x="144" y="563"/>
                  </a:lnTo>
                  <a:lnTo>
                    <a:pt x="133" y="556"/>
                  </a:lnTo>
                  <a:lnTo>
                    <a:pt x="121" y="548"/>
                  </a:lnTo>
                  <a:lnTo>
                    <a:pt x="110" y="540"/>
                  </a:lnTo>
                  <a:lnTo>
                    <a:pt x="101" y="531"/>
                  </a:lnTo>
                  <a:lnTo>
                    <a:pt x="91" y="521"/>
                  </a:lnTo>
                  <a:lnTo>
                    <a:pt x="81" y="511"/>
                  </a:lnTo>
                  <a:lnTo>
                    <a:pt x="72" y="502"/>
                  </a:lnTo>
                  <a:lnTo>
                    <a:pt x="63" y="491"/>
                  </a:lnTo>
                  <a:lnTo>
                    <a:pt x="55" y="480"/>
                  </a:lnTo>
                  <a:lnTo>
                    <a:pt x="48" y="467"/>
                  </a:lnTo>
                  <a:lnTo>
                    <a:pt x="41" y="455"/>
                  </a:lnTo>
                  <a:lnTo>
                    <a:pt x="33" y="443"/>
                  </a:lnTo>
                  <a:lnTo>
                    <a:pt x="27" y="429"/>
                  </a:lnTo>
                  <a:lnTo>
                    <a:pt x="22" y="417"/>
                  </a:lnTo>
                  <a:lnTo>
                    <a:pt x="17" y="402"/>
                  </a:lnTo>
                  <a:lnTo>
                    <a:pt x="12" y="389"/>
                  </a:lnTo>
                  <a:lnTo>
                    <a:pt x="9" y="375"/>
                  </a:lnTo>
                  <a:lnTo>
                    <a:pt x="6" y="361"/>
                  </a:lnTo>
                  <a:lnTo>
                    <a:pt x="4" y="346"/>
                  </a:lnTo>
                  <a:lnTo>
                    <a:pt x="1" y="331"/>
                  </a:lnTo>
                  <a:lnTo>
                    <a:pt x="1" y="315"/>
                  </a:lnTo>
                  <a:lnTo>
                    <a:pt x="0" y="300"/>
                  </a:lnTo>
                  <a:lnTo>
                    <a:pt x="1" y="285"/>
                  </a:lnTo>
                  <a:lnTo>
                    <a:pt x="1" y="270"/>
                  </a:lnTo>
                  <a:lnTo>
                    <a:pt x="4" y="254"/>
                  </a:lnTo>
                  <a:lnTo>
                    <a:pt x="6" y="239"/>
                  </a:lnTo>
                  <a:lnTo>
                    <a:pt x="9" y="226"/>
                  </a:lnTo>
                  <a:lnTo>
                    <a:pt x="12" y="211"/>
                  </a:lnTo>
                  <a:lnTo>
                    <a:pt x="17" y="197"/>
                  </a:lnTo>
                  <a:lnTo>
                    <a:pt x="22" y="184"/>
                  </a:lnTo>
                  <a:lnTo>
                    <a:pt x="27" y="170"/>
                  </a:lnTo>
                  <a:lnTo>
                    <a:pt x="33" y="157"/>
                  </a:lnTo>
                  <a:lnTo>
                    <a:pt x="41" y="145"/>
                  </a:lnTo>
                  <a:lnTo>
                    <a:pt x="48" y="132"/>
                  </a:lnTo>
                  <a:lnTo>
                    <a:pt x="55" y="121"/>
                  </a:lnTo>
                  <a:lnTo>
                    <a:pt x="63" y="109"/>
                  </a:lnTo>
                  <a:lnTo>
                    <a:pt x="72" y="98"/>
                  </a:lnTo>
                  <a:lnTo>
                    <a:pt x="81" y="88"/>
                  </a:lnTo>
                  <a:lnTo>
                    <a:pt x="91" y="78"/>
                  </a:lnTo>
                  <a:lnTo>
                    <a:pt x="101" y="69"/>
                  </a:lnTo>
                  <a:lnTo>
                    <a:pt x="110" y="60"/>
                  </a:lnTo>
                  <a:lnTo>
                    <a:pt x="121" y="51"/>
                  </a:lnTo>
                  <a:lnTo>
                    <a:pt x="133" y="44"/>
                  </a:lnTo>
                  <a:lnTo>
                    <a:pt x="144" y="37"/>
                  </a:lnTo>
                  <a:lnTo>
                    <a:pt x="156" y="31"/>
                  </a:lnTo>
                  <a:lnTo>
                    <a:pt x="168" y="24"/>
                  </a:lnTo>
                  <a:lnTo>
                    <a:pt x="180" y="18"/>
                  </a:lnTo>
                  <a:lnTo>
                    <a:pt x="194" y="13"/>
                  </a:lnTo>
                  <a:lnTo>
                    <a:pt x="206" y="10"/>
                  </a:lnTo>
                  <a:lnTo>
                    <a:pt x="220" y="6"/>
                  </a:lnTo>
                  <a:lnTo>
                    <a:pt x="233" y="4"/>
                  </a:lnTo>
                  <a:lnTo>
                    <a:pt x="247" y="2"/>
                  </a:lnTo>
                  <a:lnTo>
                    <a:pt x="261" y="1"/>
                  </a:lnTo>
                  <a:lnTo>
                    <a:pt x="275" y="0"/>
                  </a:lnTo>
                  <a:lnTo>
                    <a:pt x="290" y="1"/>
                  </a:lnTo>
                  <a:lnTo>
                    <a:pt x="303" y="2"/>
                  </a:lnTo>
                  <a:lnTo>
                    <a:pt x="317" y="4"/>
                  </a:lnTo>
                  <a:lnTo>
                    <a:pt x="330" y="6"/>
                  </a:lnTo>
                  <a:lnTo>
                    <a:pt x="343" y="10"/>
                  </a:lnTo>
                  <a:lnTo>
                    <a:pt x="356" y="13"/>
                  </a:lnTo>
                  <a:lnTo>
                    <a:pt x="369" y="18"/>
                  </a:lnTo>
                  <a:lnTo>
                    <a:pt x="382" y="24"/>
                  </a:lnTo>
                  <a:lnTo>
                    <a:pt x="394" y="31"/>
                  </a:lnTo>
                  <a:lnTo>
                    <a:pt x="406" y="37"/>
                  </a:lnTo>
                  <a:lnTo>
                    <a:pt x="417" y="44"/>
                  </a:lnTo>
                  <a:lnTo>
                    <a:pt x="428" y="51"/>
                  </a:lnTo>
                  <a:lnTo>
                    <a:pt x="439" y="60"/>
                  </a:lnTo>
                  <a:lnTo>
                    <a:pt x="449" y="69"/>
                  </a:lnTo>
                  <a:lnTo>
                    <a:pt x="459" y="78"/>
                  </a:lnTo>
                  <a:lnTo>
                    <a:pt x="469" y="88"/>
                  </a:lnTo>
                  <a:lnTo>
                    <a:pt x="478" y="98"/>
                  </a:lnTo>
                  <a:lnTo>
                    <a:pt x="487" y="109"/>
                  </a:lnTo>
                  <a:lnTo>
                    <a:pt x="494" y="121"/>
                  </a:lnTo>
                  <a:lnTo>
                    <a:pt x="502" y="132"/>
                  </a:lnTo>
                  <a:lnTo>
                    <a:pt x="509" y="145"/>
                  </a:lnTo>
                  <a:lnTo>
                    <a:pt x="516" y="157"/>
                  </a:lnTo>
                  <a:lnTo>
                    <a:pt x="523" y="170"/>
                  </a:lnTo>
                  <a:lnTo>
                    <a:pt x="527" y="184"/>
                  </a:lnTo>
                  <a:lnTo>
                    <a:pt x="532" y="197"/>
                  </a:lnTo>
                  <a:lnTo>
                    <a:pt x="537" y="211"/>
                  </a:lnTo>
                  <a:lnTo>
                    <a:pt x="541" y="226"/>
                  </a:lnTo>
                  <a:lnTo>
                    <a:pt x="543" y="239"/>
                  </a:lnTo>
                  <a:lnTo>
                    <a:pt x="546" y="254"/>
                  </a:lnTo>
                  <a:lnTo>
                    <a:pt x="548" y="270"/>
                  </a:lnTo>
                  <a:lnTo>
                    <a:pt x="548" y="285"/>
                  </a:lnTo>
                  <a:lnTo>
                    <a:pt x="550" y="300"/>
                  </a:lnTo>
                  <a:lnTo>
                    <a:pt x="548" y="315"/>
                  </a:lnTo>
                  <a:lnTo>
                    <a:pt x="548" y="331"/>
                  </a:lnTo>
                  <a:lnTo>
                    <a:pt x="546" y="346"/>
                  </a:lnTo>
                  <a:lnTo>
                    <a:pt x="543" y="361"/>
                  </a:lnTo>
                  <a:lnTo>
                    <a:pt x="541" y="375"/>
                  </a:lnTo>
                  <a:lnTo>
                    <a:pt x="537" y="389"/>
                  </a:lnTo>
                  <a:lnTo>
                    <a:pt x="532" y="402"/>
                  </a:lnTo>
                  <a:lnTo>
                    <a:pt x="527" y="417"/>
                  </a:lnTo>
                  <a:lnTo>
                    <a:pt x="523" y="429"/>
                  </a:lnTo>
                  <a:lnTo>
                    <a:pt x="516" y="443"/>
                  </a:lnTo>
                  <a:lnTo>
                    <a:pt x="509" y="455"/>
                  </a:lnTo>
                  <a:lnTo>
                    <a:pt x="502" y="467"/>
                  </a:lnTo>
                  <a:lnTo>
                    <a:pt x="494" y="480"/>
                  </a:lnTo>
                  <a:lnTo>
                    <a:pt x="487" y="491"/>
                  </a:lnTo>
                  <a:lnTo>
                    <a:pt x="478" y="502"/>
                  </a:lnTo>
                  <a:lnTo>
                    <a:pt x="469" y="511"/>
                  </a:lnTo>
                  <a:lnTo>
                    <a:pt x="459" y="521"/>
                  </a:lnTo>
                  <a:lnTo>
                    <a:pt x="449" y="531"/>
                  </a:lnTo>
                  <a:lnTo>
                    <a:pt x="439" y="540"/>
                  </a:lnTo>
                  <a:lnTo>
                    <a:pt x="428" y="548"/>
                  </a:lnTo>
                  <a:lnTo>
                    <a:pt x="417" y="556"/>
                  </a:lnTo>
                  <a:lnTo>
                    <a:pt x="406" y="563"/>
                  </a:lnTo>
                  <a:lnTo>
                    <a:pt x="394" y="570"/>
                  </a:lnTo>
                  <a:lnTo>
                    <a:pt x="382" y="576"/>
                  </a:lnTo>
                  <a:lnTo>
                    <a:pt x="369" y="581"/>
                  </a:lnTo>
                  <a:lnTo>
                    <a:pt x="356" y="586"/>
                  </a:lnTo>
                  <a:lnTo>
                    <a:pt x="343" y="590"/>
                  </a:lnTo>
                  <a:lnTo>
                    <a:pt x="330" y="594"/>
                  </a:lnTo>
                  <a:lnTo>
                    <a:pt x="317" y="596"/>
                  </a:lnTo>
                  <a:lnTo>
                    <a:pt x="303" y="597"/>
                  </a:lnTo>
                  <a:lnTo>
                    <a:pt x="290" y="599"/>
                  </a:lnTo>
                  <a:lnTo>
                    <a:pt x="275" y="60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28">
              <a:extLst>
                <a:ext uri="{FF2B5EF4-FFF2-40B4-BE49-F238E27FC236}">
                  <a16:creationId xmlns:a16="http://schemas.microsoft.com/office/drawing/2014/main" id="{CD678A13-16CC-4CF0-82A1-9FE82419E2D0}"/>
                </a:ext>
              </a:extLst>
            </p:cNvPr>
            <p:cNvSpPr>
              <a:spLocks/>
            </p:cNvSpPr>
            <p:nvPr/>
          </p:nvSpPr>
          <p:spPr bwMode="auto">
            <a:xfrm>
              <a:off x="8051801" y="4814888"/>
              <a:ext cx="158750" cy="130175"/>
            </a:xfrm>
            <a:custGeom>
              <a:avLst/>
              <a:gdLst>
                <a:gd name="T0" fmla="*/ 352 w 399"/>
                <a:gd name="T1" fmla="*/ 327 h 327"/>
                <a:gd name="T2" fmla="*/ 350 w 399"/>
                <a:gd name="T3" fmla="*/ 290 h 327"/>
                <a:gd name="T4" fmla="*/ 342 w 399"/>
                <a:gd name="T5" fmla="*/ 261 h 327"/>
                <a:gd name="T6" fmla="*/ 329 w 399"/>
                <a:gd name="T7" fmla="*/ 238 h 327"/>
                <a:gd name="T8" fmla="*/ 310 w 399"/>
                <a:gd name="T9" fmla="*/ 219 h 327"/>
                <a:gd name="T10" fmla="*/ 288 w 399"/>
                <a:gd name="T11" fmla="*/ 205 h 327"/>
                <a:gd name="T12" fmla="*/ 259 w 399"/>
                <a:gd name="T13" fmla="*/ 192 h 327"/>
                <a:gd name="T14" fmla="*/ 188 w 399"/>
                <a:gd name="T15" fmla="*/ 170 h 327"/>
                <a:gd name="T16" fmla="*/ 153 w 399"/>
                <a:gd name="T17" fmla="*/ 159 h 327"/>
                <a:gd name="T18" fmla="*/ 117 w 399"/>
                <a:gd name="T19" fmla="*/ 148 h 327"/>
                <a:gd name="T20" fmla="*/ 83 w 399"/>
                <a:gd name="T21" fmla="*/ 133 h 327"/>
                <a:gd name="T22" fmla="*/ 56 w 399"/>
                <a:gd name="T23" fmla="*/ 116 h 327"/>
                <a:gd name="T24" fmla="*/ 36 w 399"/>
                <a:gd name="T25" fmla="*/ 97 h 327"/>
                <a:gd name="T26" fmla="*/ 21 w 399"/>
                <a:gd name="T27" fmla="*/ 76 h 327"/>
                <a:gd name="T28" fmla="*/ 10 w 399"/>
                <a:gd name="T29" fmla="*/ 55 h 327"/>
                <a:gd name="T30" fmla="*/ 4 w 399"/>
                <a:gd name="T31" fmla="*/ 34 h 327"/>
                <a:gd name="T32" fmla="*/ 0 w 399"/>
                <a:gd name="T33" fmla="*/ 16 h 327"/>
                <a:gd name="T34" fmla="*/ 0 w 399"/>
                <a:gd name="T35" fmla="*/ 0 h 327"/>
                <a:gd name="T36" fmla="*/ 47 w 399"/>
                <a:gd name="T37" fmla="*/ 7 h 327"/>
                <a:gd name="T38" fmla="*/ 50 w 399"/>
                <a:gd name="T39" fmla="*/ 29 h 327"/>
                <a:gd name="T40" fmla="*/ 60 w 399"/>
                <a:gd name="T41" fmla="*/ 51 h 327"/>
                <a:gd name="T42" fmla="*/ 72 w 399"/>
                <a:gd name="T43" fmla="*/ 68 h 327"/>
                <a:gd name="T44" fmla="*/ 91 w 399"/>
                <a:gd name="T45" fmla="*/ 84 h 327"/>
                <a:gd name="T46" fmla="*/ 115 w 399"/>
                <a:gd name="T47" fmla="*/ 98 h 327"/>
                <a:gd name="T48" fmla="*/ 150 w 399"/>
                <a:gd name="T49" fmla="*/ 110 h 327"/>
                <a:gd name="T50" fmla="*/ 184 w 399"/>
                <a:gd name="T51" fmla="*/ 121 h 327"/>
                <a:gd name="T52" fmla="*/ 240 w 399"/>
                <a:gd name="T53" fmla="*/ 137 h 327"/>
                <a:gd name="T54" fmla="*/ 296 w 399"/>
                <a:gd name="T55" fmla="*/ 158 h 327"/>
                <a:gd name="T56" fmla="*/ 326 w 399"/>
                <a:gd name="T57" fmla="*/ 175 h 327"/>
                <a:gd name="T58" fmla="*/ 353 w 399"/>
                <a:gd name="T59" fmla="*/ 196 h 327"/>
                <a:gd name="T60" fmla="*/ 374 w 399"/>
                <a:gd name="T61" fmla="*/ 223 h 327"/>
                <a:gd name="T62" fmla="*/ 389 w 399"/>
                <a:gd name="T63" fmla="*/ 259 h 327"/>
                <a:gd name="T64" fmla="*/ 397 w 399"/>
                <a:gd name="T65" fmla="*/ 30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9" h="327">
                  <a:moveTo>
                    <a:pt x="399" y="327"/>
                  </a:moveTo>
                  <a:lnTo>
                    <a:pt x="352" y="327"/>
                  </a:lnTo>
                  <a:lnTo>
                    <a:pt x="352" y="308"/>
                  </a:lnTo>
                  <a:lnTo>
                    <a:pt x="350" y="290"/>
                  </a:lnTo>
                  <a:lnTo>
                    <a:pt x="346" y="274"/>
                  </a:lnTo>
                  <a:lnTo>
                    <a:pt x="342" y="261"/>
                  </a:lnTo>
                  <a:lnTo>
                    <a:pt x="336" y="249"/>
                  </a:lnTo>
                  <a:lnTo>
                    <a:pt x="329" y="238"/>
                  </a:lnTo>
                  <a:lnTo>
                    <a:pt x="320" y="228"/>
                  </a:lnTo>
                  <a:lnTo>
                    <a:pt x="310" y="219"/>
                  </a:lnTo>
                  <a:lnTo>
                    <a:pt x="299" y="212"/>
                  </a:lnTo>
                  <a:lnTo>
                    <a:pt x="288" y="205"/>
                  </a:lnTo>
                  <a:lnTo>
                    <a:pt x="274" y="198"/>
                  </a:lnTo>
                  <a:lnTo>
                    <a:pt x="259" y="192"/>
                  </a:lnTo>
                  <a:lnTo>
                    <a:pt x="226" y="181"/>
                  </a:lnTo>
                  <a:lnTo>
                    <a:pt x="188" y="170"/>
                  </a:lnTo>
                  <a:lnTo>
                    <a:pt x="171" y="164"/>
                  </a:lnTo>
                  <a:lnTo>
                    <a:pt x="153" y="159"/>
                  </a:lnTo>
                  <a:lnTo>
                    <a:pt x="135" y="154"/>
                  </a:lnTo>
                  <a:lnTo>
                    <a:pt x="117" y="148"/>
                  </a:lnTo>
                  <a:lnTo>
                    <a:pt x="99" y="141"/>
                  </a:lnTo>
                  <a:lnTo>
                    <a:pt x="83" y="133"/>
                  </a:lnTo>
                  <a:lnTo>
                    <a:pt x="70" y="125"/>
                  </a:lnTo>
                  <a:lnTo>
                    <a:pt x="56" y="116"/>
                  </a:lnTo>
                  <a:lnTo>
                    <a:pt x="45" y="106"/>
                  </a:lnTo>
                  <a:lnTo>
                    <a:pt x="36" y="97"/>
                  </a:lnTo>
                  <a:lnTo>
                    <a:pt x="28" y="86"/>
                  </a:lnTo>
                  <a:lnTo>
                    <a:pt x="21" y="76"/>
                  </a:lnTo>
                  <a:lnTo>
                    <a:pt x="15" y="65"/>
                  </a:lnTo>
                  <a:lnTo>
                    <a:pt x="10" y="55"/>
                  </a:lnTo>
                  <a:lnTo>
                    <a:pt x="6" y="44"/>
                  </a:lnTo>
                  <a:lnTo>
                    <a:pt x="4" y="34"/>
                  </a:lnTo>
                  <a:lnTo>
                    <a:pt x="1" y="24"/>
                  </a:lnTo>
                  <a:lnTo>
                    <a:pt x="0" y="16"/>
                  </a:lnTo>
                  <a:lnTo>
                    <a:pt x="0" y="7"/>
                  </a:lnTo>
                  <a:lnTo>
                    <a:pt x="0" y="0"/>
                  </a:lnTo>
                  <a:lnTo>
                    <a:pt x="47" y="3"/>
                  </a:lnTo>
                  <a:lnTo>
                    <a:pt x="47" y="7"/>
                  </a:lnTo>
                  <a:lnTo>
                    <a:pt x="47" y="16"/>
                  </a:lnTo>
                  <a:lnTo>
                    <a:pt x="50" y="29"/>
                  </a:lnTo>
                  <a:lnTo>
                    <a:pt x="56" y="44"/>
                  </a:lnTo>
                  <a:lnTo>
                    <a:pt x="60" y="51"/>
                  </a:lnTo>
                  <a:lnTo>
                    <a:pt x="66" y="60"/>
                  </a:lnTo>
                  <a:lnTo>
                    <a:pt x="72" y="68"/>
                  </a:lnTo>
                  <a:lnTo>
                    <a:pt x="81" y="77"/>
                  </a:lnTo>
                  <a:lnTo>
                    <a:pt x="91" y="84"/>
                  </a:lnTo>
                  <a:lnTo>
                    <a:pt x="102" y="92"/>
                  </a:lnTo>
                  <a:lnTo>
                    <a:pt x="115" y="98"/>
                  </a:lnTo>
                  <a:lnTo>
                    <a:pt x="131" y="104"/>
                  </a:lnTo>
                  <a:lnTo>
                    <a:pt x="150" y="110"/>
                  </a:lnTo>
                  <a:lnTo>
                    <a:pt x="167" y="115"/>
                  </a:lnTo>
                  <a:lnTo>
                    <a:pt x="184" y="121"/>
                  </a:lnTo>
                  <a:lnTo>
                    <a:pt x="200" y="125"/>
                  </a:lnTo>
                  <a:lnTo>
                    <a:pt x="240" y="137"/>
                  </a:lnTo>
                  <a:lnTo>
                    <a:pt x="278" y="151"/>
                  </a:lnTo>
                  <a:lnTo>
                    <a:pt x="296" y="158"/>
                  </a:lnTo>
                  <a:lnTo>
                    <a:pt x="312" y="165"/>
                  </a:lnTo>
                  <a:lnTo>
                    <a:pt x="326" y="175"/>
                  </a:lnTo>
                  <a:lnTo>
                    <a:pt x="341" y="185"/>
                  </a:lnTo>
                  <a:lnTo>
                    <a:pt x="353" y="196"/>
                  </a:lnTo>
                  <a:lnTo>
                    <a:pt x="364" y="209"/>
                  </a:lnTo>
                  <a:lnTo>
                    <a:pt x="374" y="223"/>
                  </a:lnTo>
                  <a:lnTo>
                    <a:pt x="383" y="240"/>
                  </a:lnTo>
                  <a:lnTo>
                    <a:pt x="389" y="259"/>
                  </a:lnTo>
                  <a:lnTo>
                    <a:pt x="394" y="278"/>
                  </a:lnTo>
                  <a:lnTo>
                    <a:pt x="397" y="301"/>
                  </a:lnTo>
                  <a:lnTo>
                    <a:pt x="399" y="327"/>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29">
              <a:extLst>
                <a:ext uri="{FF2B5EF4-FFF2-40B4-BE49-F238E27FC236}">
                  <a16:creationId xmlns:a16="http://schemas.microsoft.com/office/drawing/2014/main" id="{8C451405-B75D-44F7-93FE-CF02D2C0286B}"/>
                </a:ext>
              </a:extLst>
            </p:cNvPr>
            <p:cNvSpPr>
              <a:spLocks/>
            </p:cNvSpPr>
            <p:nvPr/>
          </p:nvSpPr>
          <p:spPr bwMode="auto">
            <a:xfrm>
              <a:off x="7832726" y="4814888"/>
              <a:ext cx="276225" cy="238125"/>
            </a:xfrm>
            <a:custGeom>
              <a:avLst/>
              <a:gdLst>
                <a:gd name="T0" fmla="*/ 0 w 698"/>
                <a:gd name="T1" fmla="*/ 602 h 602"/>
                <a:gd name="T2" fmla="*/ 1 w 698"/>
                <a:gd name="T3" fmla="*/ 301 h 602"/>
                <a:gd name="T4" fmla="*/ 10 w 698"/>
                <a:gd name="T5" fmla="*/ 259 h 602"/>
                <a:gd name="T6" fmla="*/ 24 w 698"/>
                <a:gd name="T7" fmla="*/ 223 h 602"/>
                <a:gd name="T8" fmla="*/ 45 w 698"/>
                <a:gd name="T9" fmla="*/ 196 h 602"/>
                <a:gd name="T10" fmla="*/ 72 w 698"/>
                <a:gd name="T11" fmla="*/ 175 h 602"/>
                <a:gd name="T12" fmla="*/ 103 w 698"/>
                <a:gd name="T13" fmla="*/ 158 h 602"/>
                <a:gd name="T14" fmla="*/ 158 w 698"/>
                <a:gd name="T15" fmla="*/ 137 h 602"/>
                <a:gd name="T16" fmla="*/ 215 w 698"/>
                <a:gd name="T17" fmla="*/ 121 h 602"/>
                <a:gd name="T18" fmla="*/ 249 w 698"/>
                <a:gd name="T19" fmla="*/ 110 h 602"/>
                <a:gd name="T20" fmla="*/ 283 w 698"/>
                <a:gd name="T21" fmla="*/ 98 h 602"/>
                <a:gd name="T22" fmla="*/ 308 w 698"/>
                <a:gd name="T23" fmla="*/ 84 h 602"/>
                <a:gd name="T24" fmla="*/ 326 w 698"/>
                <a:gd name="T25" fmla="*/ 68 h 602"/>
                <a:gd name="T26" fmla="*/ 338 w 698"/>
                <a:gd name="T27" fmla="*/ 51 h 602"/>
                <a:gd name="T28" fmla="*/ 348 w 698"/>
                <a:gd name="T29" fmla="*/ 28 h 602"/>
                <a:gd name="T30" fmla="*/ 352 w 698"/>
                <a:gd name="T31" fmla="*/ 7 h 602"/>
                <a:gd name="T32" fmla="*/ 399 w 698"/>
                <a:gd name="T33" fmla="*/ 0 h 602"/>
                <a:gd name="T34" fmla="*/ 399 w 698"/>
                <a:gd name="T35" fmla="*/ 16 h 602"/>
                <a:gd name="T36" fmla="*/ 395 w 698"/>
                <a:gd name="T37" fmla="*/ 34 h 602"/>
                <a:gd name="T38" fmla="*/ 389 w 698"/>
                <a:gd name="T39" fmla="*/ 55 h 602"/>
                <a:gd name="T40" fmla="*/ 378 w 698"/>
                <a:gd name="T41" fmla="*/ 76 h 602"/>
                <a:gd name="T42" fmla="*/ 363 w 698"/>
                <a:gd name="T43" fmla="*/ 97 h 602"/>
                <a:gd name="T44" fmla="*/ 342 w 698"/>
                <a:gd name="T45" fmla="*/ 116 h 602"/>
                <a:gd name="T46" fmla="*/ 315 w 698"/>
                <a:gd name="T47" fmla="*/ 133 h 602"/>
                <a:gd name="T48" fmla="*/ 282 w 698"/>
                <a:gd name="T49" fmla="*/ 148 h 602"/>
                <a:gd name="T50" fmla="*/ 245 w 698"/>
                <a:gd name="T51" fmla="*/ 159 h 602"/>
                <a:gd name="T52" fmla="*/ 211 w 698"/>
                <a:gd name="T53" fmla="*/ 170 h 602"/>
                <a:gd name="T54" fmla="*/ 140 w 698"/>
                <a:gd name="T55" fmla="*/ 192 h 602"/>
                <a:gd name="T56" fmla="*/ 112 w 698"/>
                <a:gd name="T57" fmla="*/ 205 h 602"/>
                <a:gd name="T58" fmla="*/ 88 w 698"/>
                <a:gd name="T59" fmla="*/ 219 h 602"/>
                <a:gd name="T60" fmla="*/ 70 w 698"/>
                <a:gd name="T61" fmla="*/ 238 h 602"/>
                <a:gd name="T62" fmla="*/ 56 w 698"/>
                <a:gd name="T63" fmla="*/ 261 h 602"/>
                <a:gd name="T64" fmla="*/ 49 w 698"/>
                <a:gd name="T65" fmla="*/ 290 h 602"/>
                <a:gd name="T66" fmla="*/ 47 w 698"/>
                <a:gd name="T67" fmla="*/ 327 h 602"/>
                <a:gd name="T68" fmla="*/ 698 w 698"/>
                <a:gd name="T69" fmla="*/ 55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602">
                  <a:moveTo>
                    <a:pt x="698" y="602"/>
                  </a:moveTo>
                  <a:lnTo>
                    <a:pt x="0" y="602"/>
                  </a:lnTo>
                  <a:lnTo>
                    <a:pt x="0" y="327"/>
                  </a:lnTo>
                  <a:lnTo>
                    <a:pt x="1" y="301"/>
                  </a:lnTo>
                  <a:lnTo>
                    <a:pt x="5" y="278"/>
                  </a:lnTo>
                  <a:lnTo>
                    <a:pt x="10" y="259"/>
                  </a:lnTo>
                  <a:lnTo>
                    <a:pt x="16" y="240"/>
                  </a:lnTo>
                  <a:lnTo>
                    <a:pt x="24" y="223"/>
                  </a:lnTo>
                  <a:lnTo>
                    <a:pt x="34" y="209"/>
                  </a:lnTo>
                  <a:lnTo>
                    <a:pt x="45" y="196"/>
                  </a:lnTo>
                  <a:lnTo>
                    <a:pt x="58" y="185"/>
                  </a:lnTo>
                  <a:lnTo>
                    <a:pt x="72" y="175"/>
                  </a:lnTo>
                  <a:lnTo>
                    <a:pt x="87" y="165"/>
                  </a:lnTo>
                  <a:lnTo>
                    <a:pt x="103" y="158"/>
                  </a:lnTo>
                  <a:lnTo>
                    <a:pt x="121" y="151"/>
                  </a:lnTo>
                  <a:lnTo>
                    <a:pt x="158" y="137"/>
                  </a:lnTo>
                  <a:lnTo>
                    <a:pt x="199" y="125"/>
                  </a:lnTo>
                  <a:lnTo>
                    <a:pt x="215" y="121"/>
                  </a:lnTo>
                  <a:lnTo>
                    <a:pt x="232" y="115"/>
                  </a:lnTo>
                  <a:lnTo>
                    <a:pt x="249" y="110"/>
                  </a:lnTo>
                  <a:lnTo>
                    <a:pt x="267" y="104"/>
                  </a:lnTo>
                  <a:lnTo>
                    <a:pt x="283" y="98"/>
                  </a:lnTo>
                  <a:lnTo>
                    <a:pt x="297" y="92"/>
                  </a:lnTo>
                  <a:lnTo>
                    <a:pt x="308" y="84"/>
                  </a:lnTo>
                  <a:lnTo>
                    <a:pt x="318" y="77"/>
                  </a:lnTo>
                  <a:lnTo>
                    <a:pt x="326" y="68"/>
                  </a:lnTo>
                  <a:lnTo>
                    <a:pt x="332" y="60"/>
                  </a:lnTo>
                  <a:lnTo>
                    <a:pt x="338" y="51"/>
                  </a:lnTo>
                  <a:lnTo>
                    <a:pt x="343" y="44"/>
                  </a:lnTo>
                  <a:lnTo>
                    <a:pt x="348" y="28"/>
                  </a:lnTo>
                  <a:lnTo>
                    <a:pt x="352" y="16"/>
                  </a:lnTo>
                  <a:lnTo>
                    <a:pt x="352" y="7"/>
                  </a:lnTo>
                  <a:lnTo>
                    <a:pt x="352" y="3"/>
                  </a:lnTo>
                  <a:lnTo>
                    <a:pt x="399" y="0"/>
                  </a:lnTo>
                  <a:lnTo>
                    <a:pt x="399" y="7"/>
                  </a:lnTo>
                  <a:lnTo>
                    <a:pt x="399" y="16"/>
                  </a:lnTo>
                  <a:lnTo>
                    <a:pt x="397" y="24"/>
                  </a:lnTo>
                  <a:lnTo>
                    <a:pt x="395" y="34"/>
                  </a:lnTo>
                  <a:lnTo>
                    <a:pt x="392" y="44"/>
                  </a:lnTo>
                  <a:lnTo>
                    <a:pt x="389" y="55"/>
                  </a:lnTo>
                  <a:lnTo>
                    <a:pt x="384" y="65"/>
                  </a:lnTo>
                  <a:lnTo>
                    <a:pt x="378" y="76"/>
                  </a:lnTo>
                  <a:lnTo>
                    <a:pt x="370" y="86"/>
                  </a:lnTo>
                  <a:lnTo>
                    <a:pt x="363" y="97"/>
                  </a:lnTo>
                  <a:lnTo>
                    <a:pt x="353" y="106"/>
                  </a:lnTo>
                  <a:lnTo>
                    <a:pt x="342" y="116"/>
                  </a:lnTo>
                  <a:lnTo>
                    <a:pt x="330" y="125"/>
                  </a:lnTo>
                  <a:lnTo>
                    <a:pt x="315" y="133"/>
                  </a:lnTo>
                  <a:lnTo>
                    <a:pt x="299" y="141"/>
                  </a:lnTo>
                  <a:lnTo>
                    <a:pt x="282" y="148"/>
                  </a:lnTo>
                  <a:lnTo>
                    <a:pt x="264" y="154"/>
                  </a:lnTo>
                  <a:lnTo>
                    <a:pt x="245" y="159"/>
                  </a:lnTo>
                  <a:lnTo>
                    <a:pt x="228" y="164"/>
                  </a:lnTo>
                  <a:lnTo>
                    <a:pt x="211" y="170"/>
                  </a:lnTo>
                  <a:lnTo>
                    <a:pt x="173" y="181"/>
                  </a:lnTo>
                  <a:lnTo>
                    <a:pt x="140" y="192"/>
                  </a:lnTo>
                  <a:lnTo>
                    <a:pt x="125" y="198"/>
                  </a:lnTo>
                  <a:lnTo>
                    <a:pt x="112" y="205"/>
                  </a:lnTo>
                  <a:lnTo>
                    <a:pt x="99" y="212"/>
                  </a:lnTo>
                  <a:lnTo>
                    <a:pt x="88" y="219"/>
                  </a:lnTo>
                  <a:lnTo>
                    <a:pt x="78" y="228"/>
                  </a:lnTo>
                  <a:lnTo>
                    <a:pt x="70" y="238"/>
                  </a:lnTo>
                  <a:lnTo>
                    <a:pt x="62" y="249"/>
                  </a:lnTo>
                  <a:lnTo>
                    <a:pt x="56" y="261"/>
                  </a:lnTo>
                  <a:lnTo>
                    <a:pt x="53" y="274"/>
                  </a:lnTo>
                  <a:lnTo>
                    <a:pt x="49" y="290"/>
                  </a:lnTo>
                  <a:lnTo>
                    <a:pt x="48" y="308"/>
                  </a:lnTo>
                  <a:lnTo>
                    <a:pt x="47" y="327"/>
                  </a:lnTo>
                  <a:lnTo>
                    <a:pt x="47" y="555"/>
                  </a:lnTo>
                  <a:lnTo>
                    <a:pt x="698" y="555"/>
                  </a:lnTo>
                  <a:lnTo>
                    <a:pt x="698" y="602"/>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30">
              <a:extLst>
                <a:ext uri="{FF2B5EF4-FFF2-40B4-BE49-F238E27FC236}">
                  <a16:creationId xmlns:a16="http://schemas.microsoft.com/office/drawing/2014/main" id="{C0D187EC-99F3-4806-A0A9-865A7E7E4627}"/>
                </a:ext>
              </a:extLst>
            </p:cNvPr>
            <p:cNvSpPr>
              <a:spLocks/>
            </p:cNvSpPr>
            <p:nvPr/>
          </p:nvSpPr>
          <p:spPr bwMode="auto">
            <a:xfrm>
              <a:off x="7920038" y="4656138"/>
              <a:ext cx="201613" cy="44450"/>
            </a:xfrm>
            <a:custGeom>
              <a:avLst/>
              <a:gdLst>
                <a:gd name="T0" fmla="*/ 119 w 508"/>
                <a:gd name="T1" fmla="*/ 110 h 110"/>
                <a:gd name="T2" fmla="*/ 91 w 508"/>
                <a:gd name="T3" fmla="*/ 110 h 110"/>
                <a:gd name="T4" fmla="*/ 62 w 508"/>
                <a:gd name="T5" fmla="*/ 108 h 110"/>
                <a:gd name="T6" fmla="*/ 31 w 508"/>
                <a:gd name="T7" fmla="*/ 103 h 110"/>
                <a:gd name="T8" fmla="*/ 0 w 508"/>
                <a:gd name="T9" fmla="*/ 95 h 110"/>
                <a:gd name="T10" fmla="*/ 12 w 508"/>
                <a:gd name="T11" fmla="*/ 51 h 110"/>
                <a:gd name="T12" fmla="*/ 29 w 508"/>
                <a:gd name="T13" fmla="*/ 55 h 110"/>
                <a:gd name="T14" fmla="*/ 46 w 508"/>
                <a:gd name="T15" fmla="*/ 59 h 110"/>
                <a:gd name="T16" fmla="*/ 63 w 508"/>
                <a:gd name="T17" fmla="*/ 61 h 110"/>
                <a:gd name="T18" fmla="*/ 79 w 508"/>
                <a:gd name="T19" fmla="*/ 62 h 110"/>
                <a:gd name="T20" fmla="*/ 112 w 508"/>
                <a:gd name="T21" fmla="*/ 65 h 110"/>
                <a:gd name="T22" fmla="*/ 143 w 508"/>
                <a:gd name="T23" fmla="*/ 64 h 110"/>
                <a:gd name="T24" fmla="*/ 171 w 508"/>
                <a:gd name="T25" fmla="*/ 61 h 110"/>
                <a:gd name="T26" fmla="*/ 199 w 508"/>
                <a:gd name="T27" fmla="*/ 57 h 110"/>
                <a:gd name="T28" fmla="*/ 225 w 508"/>
                <a:gd name="T29" fmla="*/ 51 h 110"/>
                <a:gd name="T30" fmla="*/ 248 w 508"/>
                <a:gd name="T31" fmla="*/ 45 h 110"/>
                <a:gd name="T32" fmla="*/ 269 w 508"/>
                <a:gd name="T33" fmla="*/ 39 h 110"/>
                <a:gd name="T34" fmla="*/ 287 w 508"/>
                <a:gd name="T35" fmla="*/ 32 h 110"/>
                <a:gd name="T36" fmla="*/ 305 w 508"/>
                <a:gd name="T37" fmla="*/ 24 h 110"/>
                <a:gd name="T38" fmla="*/ 318 w 508"/>
                <a:gd name="T39" fmla="*/ 18 h 110"/>
                <a:gd name="T40" fmla="*/ 338 w 508"/>
                <a:gd name="T41" fmla="*/ 8 h 110"/>
                <a:gd name="T42" fmla="*/ 345 w 508"/>
                <a:gd name="T43" fmla="*/ 3 h 110"/>
                <a:gd name="T44" fmla="*/ 348 w 508"/>
                <a:gd name="T45" fmla="*/ 2 h 110"/>
                <a:gd name="T46" fmla="*/ 352 w 508"/>
                <a:gd name="T47" fmla="*/ 1 h 110"/>
                <a:gd name="T48" fmla="*/ 356 w 508"/>
                <a:gd name="T49" fmla="*/ 0 h 110"/>
                <a:gd name="T50" fmla="*/ 360 w 508"/>
                <a:gd name="T51" fmla="*/ 0 h 110"/>
                <a:gd name="T52" fmla="*/ 364 w 508"/>
                <a:gd name="T53" fmla="*/ 1 h 110"/>
                <a:gd name="T54" fmla="*/ 367 w 508"/>
                <a:gd name="T55" fmla="*/ 2 h 110"/>
                <a:gd name="T56" fmla="*/ 371 w 508"/>
                <a:gd name="T57" fmla="*/ 5 h 110"/>
                <a:gd name="T58" fmla="*/ 373 w 508"/>
                <a:gd name="T59" fmla="*/ 7 h 110"/>
                <a:gd name="T60" fmla="*/ 376 w 508"/>
                <a:gd name="T61" fmla="*/ 10 h 110"/>
                <a:gd name="T62" fmla="*/ 383 w 508"/>
                <a:gd name="T63" fmla="*/ 15 h 110"/>
                <a:gd name="T64" fmla="*/ 393 w 508"/>
                <a:gd name="T65" fmla="*/ 22 h 110"/>
                <a:gd name="T66" fmla="*/ 408 w 508"/>
                <a:gd name="T67" fmla="*/ 29 h 110"/>
                <a:gd name="T68" fmla="*/ 427 w 508"/>
                <a:gd name="T69" fmla="*/ 37 h 110"/>
                <a:gd name="T70" fmla="*/ 449 w 508"/>
                <a:gd name="T71" fmla="*/ 44 h 110"/>
                <a:gd name="T72" fmla="*/ 463 w 508"/>
                <a:gd name="T73" fmla="*/ 46 h 110"/>
                <a:gd name="T74" fmla="*/ 478 w 508"/>
                <a:gd name="T75" fmla="*/ 49 h 110"/>
                <a:gd name="T76" fmla="*/ 492 w 508"/>
                <a:gd name="T77" fmla="*/ 50 h 110"/>
                <a:gd name="T78" fmla="*/ 508 w 508"/>
                <a:gd name="T79" fmla="*/ 50 h 110"/>
                <a:gd name="T80" fmla="*/ 508 w 508"/>
                <a:gd name="T81" fmla="*/ 97 h 110"/>
                <a:gd name="T82" fmla="*/ 480 w 508"/>
                <a:gd name="T83" fmla="*/ 95 h 110"/>
                <a:gd name="T84" fmla="*/ 454 w 508"/>
                <a:gd name="T85" fmla="*/ 92 h 110"/>
                <a:gd name="T86" fmla="*/ 431 w 508"/>
                <a:gd name="T87" fmla="*/ 87 h 110"/>
                <a:gd name="T88" fmla="*/ 411 w 508"/>
                <a:gd name="T89" fmla="*/ 81 h 110"/>
                <a:gd name="T90" fmla="*/ 393 w 508"/>
                <a:gd name="T91" fmla="*/ 73 h 110"/>
                <a:gd name="T92" fmla="*/ 378 w 508"/>
                <a:gd name="T93" fmla="*/ 65 h 110"/>
                <a:gd name="T94" fmla="*/ 365 w 508"/>
                <a:gd name="T95" fmla="*/ 57 h 110"/>
                <a:gd name="T96" fmla="*/ 355 w 508"/>
                <a:gd name="T97" fmla="*/ 51 h 110"/>
                <a:gd name="T98" fmla="*/ 340 w 508"/>
                <a:gd name="T99" fmla="*/ 59 h 110"/>
                <a:gd name="T100" fmla="*/ 321 w 508"/>
                <a:gd name="T101" fmla="*/ 68 h 110"/>
                <a:gd name="T102" fmla="*/ 297 w 508"/>
                <a:gd name="T103" fmla="*/ 78 h 110"/>
                <a:gd name="T104" fmla="*/ 269 w 508"/>
                <a:gd name="T105" fmla="*/ 88 h 110"/>
                <a:gd name="T106" fmla="*/ 236 w 508"/>
                <a:gd name="T107" fmla="*/ 97 h 110"/>
                <a:gd name="T108" fmla="*/ 200 w 508"/>
                <a:gd name="T109" fmla="*/ 104 h 110"/>
                <a:gd name="T110" fmla="*/ 182 w 508"/>
                <a:gd name="T111" fmla="*/ 107 h 110"/>
                <a:gd name="T112" fmla="*/ 162 w 508"/>
                <a:gd name="T113" fmla="*/ 109 h 110"/>
                <a:gd name="T114" fmla="*/ 142 w 508"/>
                <a:gd name="T115" fmla="*/ 110 h 110"/>
                <a:gd name="T116" fmla="*/ 119 w 508"/>
                <a:gd name="T11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110">
                  <a:moveTo>
                    <a:pt x="119" y="110"/>
                  </a:moveTo>
                  <a:lnTo>
                    <a:pt x="91" y="110"/>
                  </a:lnTo>
                  <a:lnTo>
                    <a:pt x="62" y="108"/>
                  </a:lnTo>
                  <a:lnTo>
                    <a:pt x="31" y="103"/>
                  </a:lnTo>
                  <a:lnTo>
                    <a:pt x="0" y="95"/>
                  </a:lnTo>
                  <a:lnTo>
                    <a:pt x="12" y="51"/>
                  </a:lnTo>
                  <a:lnTo>
                    <a:pt x="29" y="55"/>
                  </a:lnTo>
                  <a:lnTo>
                    <a:pt x="46" y="59"/>
                  </a:lnTo>
                  <a:lnTo>
                    <a:pt x="63" y="61"/>
                  </a:lnTo>
                  <a:lnTo>
                    <a:pt x="79" y="62"/>
                  </a:lnTo>
                  <a:lnTo>
                    <a:pt x="112" y="65"/>
                  </a:lnTo>
                  <a:lnTo>
                    <a:pt x="143" y="64"/>
                  </a:lnTo>
                  <a:lnTo>
                    <a:pt x="171" y="61"/>
                  </a:lnTo>
                  <a:lnTo>
                    <a:pt x="199" y="57"/>
                  </a:lnTo>
                  <a:lnTo>
                    <a:pt x="225" y="51"/>
                  </a:lnTo>
                  <a:lnTo>
                    <a:pt x="248" y="45"/>
                  </a:lnTo>
                  <a:lnTo>
                    <a:pt x="269" y="39"/>
                  </a:lnTo>
                  <a:lnTo>
                    <a:pt x="287" y="32"/>
                  </a:lnTo>
                  <a:lnTo>
                    <a:pt x="305" y="24"/>
                  </a:lnTo>
                  <a:lnTo>
                    <a:pt x="318" y="18"/>
                  </a:lnTo>
                  <a:lnTo>
                    <a:pt x="338" y="8"/>
                  </a:lnTo>
                  <a:lnTo>
                    <a:pt x="345" y="3"/>
                  </a:lnTo>
                  <a:lnTo>
                    <a:pt x="348" y="2"/>
                  </a:lnTo>
                  <a:lnTo>
                    <a:pt x="352" y="1"/>
                  </a:lnTo>
                  <a:lnTo>
                    <a:pt x="356" y="0"/>
                  </a:lnTo>
                  <a:lnTo>
                    <a:pt x="360" y="0"/>
                  </a:lnTo>
                  <a:lnTo>
                    <a:pt x="364" y="1"/>
                  </a:lnTo>
                  <a:lnTo>
                    <a:pt x="367" y="2"/>
                  </a:lnTo>
                  <a:lnTo>
                    <a:pt x="371" y="5"/>
                  </a:lnTo>
                  <a:lnTo>
                    <a:pt x="373" y="7"/>
                  </a:lnTo>
                  <a:lnTo>
                    <a:pt x="376" y="10"/>
                  </a:lnTo>
                  <a:lnTo>
                    <a:pt x="383" y="15"/>
                  </a:lnTo>
                  <a:lnTo>
                    <a:pt x="393" y="22"/>
                  </a:lnTo>
                  <a:lnTo>
                    <a:pt x="408" y="29"/>
                  </a:lnTo>
                  <a:lnTo>
                    <a:pt x="427" y="37"/>
                  </a:lnTo>
                  <a:lnTo>
                    <a:pt x="449" y="44"/>
                  </a:lnTo>
                  <a:lnTo>
                    <a:pt x="463" y="46"/>
                  </a:lnTo>
                  <a:lnTo>
                    <a:pt x="478" y="49"/>
                  </a:lnTo>
                  <a:lnTo>
                    <a:pt x="492" y="50"/>
                  </a:lnTo>
                  <a:lnTo>
                    <a:pt x="508" y="50"/>
                  </a:lnTo>
                  <a:lnTo>
                    <a:pt x="508" y="97"/>
                  </a:lnTo>
                  <a:lnTo>
                    <a:pt x="480" y="95"/>
                  </a:lnTo>
                  <a:lnTo>
                    <a:pt x="454" y="92"/>
                  </a:lnTo>
                  <a:lnTo>
                    <a:pt x="431" y="87"/>
                  </a:lnTo>
                  <a:lnTo>
                    <a:pt x="411" y="81"/>
                  </a:lnTo>
                  <a:lnTo>
                    <a:pt x="393" y="73"/>
                  </a:lnTo>
                  <a:lnTo>
                    <a:pt x="378" y="65"/>
                  </a:lnTo>
                  <a:lnTo>
                    <a:pt x="365" y="57"/>
                  </a:lnTo>
                  <a:lnTo>
                    <a:pt x="355" y="51"/>
                  </a:lnTo>
                  <a:lnTo>
                    <a:pt x="340" y="59"/>
                  </a:lnTo>
                  <a:lnTo>
                    <a:pt x="321" y="68"/>
                  </a:lnTo>
                  <a:lnTo>
                    <a:pt x="297" y="78"/>
                  </a:lnTo>
                  <a:lnTo>
                    <a:pt x="269" y="88"/>
                  </a:lnTo>
                  <a:lnTo>
                    <a:pt x="236" y="97"/>
                  </a:lnTo>
                  <a:lnTo>
                    <a:pt x="200" y="104"/>
                  </a:lnTo>
                  <a:lnTo>
                    <a:pt x="182" y="107"/>
                  </a:lnTo>
                  <a:lnTo>
                    <a:pt x="162" y="109"/>
                  </a:lnTo>
                  <a:lnTo>
                    <a:pt x="142" y="110"/>
                  </a:lnTo>
                  <a:lnTo>
                    <a:pt x="119" y="11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9">
              <a:extLst>
                <a:ext uri="{FF2B5EF4-FFF2-40B4-BE49-F238E27FC236}">
                  <a16:creationId xmlns:a16="http://schemas.microsoft.com/office/drawing/2014/main" id="{7DFCEA64-496E-4824-A87C-4DB63E1D1986}"/>
                </a:ext>
              </a:extLst>
            </p:cNvPr>
            <p:cNvSpPr>
              <a:spLocks/>
            </p:cNvSpPr>
            <p:nvPr/>
          </p:nvSpPr>
          <p:spPr bwMode="auto">
            <a:xfrm>
              <a:off x="8139113" y="4946650"/>
              <a:ext cx="177800" cy="128588"/>
            </a:xfrm>
            <a:custGeom>
              <a:avLst/>
              <a:gdLst>
                <a:gd name="T0" fmla="*/ 154 w 446"/>
                <a:gd name="T1" fmla="*/ 325 h 325"/>
                <a:gd name="T2" fmla="*/ 0 w 446"/>
                <a:gd name="T3" fmla="*/ 171 h 325"/>
                <a:gd name="T4" fmla="*/ 32 w 446"/>
                <a:gd name="T5" fmla="*/ 138 h 325"/>
                <a:gd name="T6" fmla="*/ 154 w 446"/>
                <a:gd name="T7" fmla="*/ 260 h 325"/>
                <a:gd name="T8" fmla="*/ 414 w 446"/>
                <a:gd name="T9" fmla="*/ 0 h 325"/>
                <a:gd name="T10" fmla="*/ 446 w 446"/>
                <a:gd name="T11" fmla="*/ 32 h 325"/>
                <a:gd name="T12" fmla="*/ 154 w 446"/>
                <a:gd name="T13" fmla="*/ 325 h 325"/>
              </a:gdLst>
              <a:ahLst/>
              <a:cxnLst>
                <a:cxn ang="0">
                  <a:pos x="T0" y="T1"/>
                </a:cxn>
                <a:cxn ang="0">
                  <a:pos x="T2" y="T3"/>
                </a:cxn>
                <a:cxn ang="0">
                  <a:pos x="T4" y="T5"/>
                </a:cxn>
                <a:cxn ang="0">
                  <a:pos x="T6" y="T7"/>
                </a:cxn>
                <a:cxn ang="0">
                  <a:pos x="T8" y="T9"/>
                </a:cxn>
                <a:cxn ang="0">
                  <a:pos x="T10" y="T11"/>
                </a:cxn>
                <a:cxn ang="0">
                  <a:pos x="T12" y="T13"/>
                </a:cxn>
              </a:cxnLst>
              <a:rect l="0" t="0" r="r" b="b"/>
              <a:pathLst>
                <a:path w="446" h="325">
                  <a:moveTo>
                    <a:pt x="154" y="325"/>
                  </a:moveTo>
                  <a:lnTo>
                    <a:pt x="0" y="171"/>
                  </a:lnTo>
                  <a:lnTo>
                    <a:pt x="32" y="138"/>
                  </a:lnTo>
                  <a:lnTo>
                    <a:pt x="154" y="260"/>
                  </a:lnTo>
                  <a:lnTo>
                    <a:pt x="414" y="0"/>
                  </a:lnTo>
                  <a:lnTo>
                    <a:pt x="446" y="32"/>
                  </a:lnTo>
                  <a:lnTo>
                    <a:pt x="154" y="325"/>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70">
              <a:extLst>
                <a:ext uri="{FF2B5EF4-FFF2-40B4-BE49-F238E27FC236}">
                  <a16:creationId xmlns:a16="http://schemas.microsoft.com/office/drawing/2014/main" id="{94DF4EE6-DF83-4C5E-895C-2D4CDAAAF9B9}"/>
                </a:ext>
              </a:extLst>
            </p:cNvPr>
            <p:cNvSpPr>
              <a:spLocks noEditPoints="1"/>
            </p:cNvSpPr>
            <p:nvPr/>
          </p:nvSpPr>
          <p:spPr bwMode="auto">
            <a:xfrm>
              <a:off x="8099426" y="4938713"/>
              <a:ext cx="184150" cy="182563"/>
            </a:xfrm>
            <a:custGeom>
              <a:avLst/>
              <a:gdLst>
                <a:gd name="T0" fmla="*/ 193 w 461"/>
                <a:gd name="T1" fmla="*/ 50 h 461"/>
                <a:gd name="T2" fmla="*/ 142 w 461"/>
                <a:gd name="T3" fmla="*/ 69 h 461"/>
                <a:gd name="T4" fmla="*/ 100 w 461"/>
                <a:gd name="T5" fmla="*/ 101 h 461"/>
                <a:gd name="T6" fmla="*/ 68 w 461"/>
                <a:gd name="T7" fmla="*/ 142 h 461"/>
                <a:gd name="T8" fmla="*/ 50 w 461"/>
                <a:gd name="T9" fmla="*/ 194 h 461"/>
                <a:gd name="T10" fmla="*/ 47 w 461"/>
                <a:gd name="T11" fmla="*/ 249 h 461"/>
                <a:gd name="T12" fmla="*/ 61 w 461"/>
                <a:gd name="T13" fmla="*/ 302 h 461"/>
                <a:gd name="T14" fmla="*/ 88 w 461"/>
                <a:gd name="T15" fmla="*/ 348 h 461"/>
                <a:gd name="T16" fmla="*/ 127 w 461"/>
                <a:gd name="T17" fmla="*/ 384 h 461"/>
                <a:gd name="T18" fmla="*/ 175 w 461"/>
                <a:gd name="T19" fmla="*/ 406 h 461"/>
                <a:gd name="T20" fmla="*/ 230 w 461"/>
                <a:gd name="T21" fmla="*/ 415 h 461"/>
                <a:gd name="T22" fmla="*/ 285 w 461"/>
                <a:gd name="T23" fmla="*/ 406 h 461"/>
                <a:gd name="T24" fmla="*/ 333 w 461"/>
                <a:gd name="T25" fmla="*/ 384 h 461"/>
                <a:gd name="T26" fmla="*/ 372 w 461"/>
                <a:gd name="T27" fmla="*/ 348 h 461"/>
                <a:gd name="T28" fmla="*/ 399 w 461"/>
                <a:gd name="T29" fmla="*/ 302 h 461"/>
                <a:gd name="T30" fmla="*/ 414 w 461"/>
                <a:gd name="T31" fmla="*/ 249 h 461"/>
                <a:gd name="T32" fmla="*/ 410 w 461"/>
                <a:gd name="T33" fmla="*/ 194 h 461"/>
                <a:gd name="T34" fmla="*/ 392 w 461"/>
                <a:gd name="T35" fmla="*/ 142 h 461"/>
                <a:gd name="T36" fmla="*/ 360 w 461"/>
                <a:gd name="T37" fmla="*/ 101 h 461"/>
                <a:gd name="T38" fmla="*/ 318 w 461"/>
                <a:gd name="T39" fmla="*/ 69 h 461"/>
                <a:gd name="T40" fmla="*/ 267 w 461"/>
                <a:gd name="T41" fmla="*/ 50 h 461"/>
                <a:gd name="T42" fmla="*/ 230 w 461"/>
                <a:gd name="T43" fmla="*/ 461 h 461"/>
                <a:gd name="T44" fmla="*/ 161 w 461"/>
                <a:gd name="T45" fmla="*/ 450 h 461"/>
                <a:gd name="T46" fmla="*/ 101 w 461"/>
                <a:gd name="T47" fmla="*/ 422 h 461"/>
                <a:gd name="T48" fmla="*/ 52 w 461"/>
                <a:gd name="T49" fmla="*/ 377 h 461"/>
                <a:gd name="T50" fmla="*/ 18 w 461"/>
                <a:gd name="T51" fmla="*/ 320 h 461"/>
                <a:gd name="T52" fmla="*/ 1 w 461"/>
                <a:gd name="T53" fmla="*/ 254 h 461"/>
                <a:gd name="T54" fmla="*/ 4 w 461"/>
                <a:gd name="T55" fmla="*/ 184 h 461"/>
                <a:gd name="T56" fmla="*/ 28 w 461"/>
                <a:gd name="T57" fmla="*/ 121 h 461"/>
                <a:gd name="T58" fmla="*/ 67 w 461"/>
                <a:gd name="T59" fmla="*/ 68 h 461"/>
                <a:gd name="T60" fmla="*/ 121 w 461"/>
                <a:gd name="T61" fmla="*/ 28 h 461"/>
                <a:gd name="T62" fmla="*/ 183 w 461"/>
                <a:gd name="T63" fmla="*/ 5 h 461"/>
                <a:gd name="T64" fmla="*/ 253 w 461"/>
                <a:gd name="T65" fmla="*/ 1 h 461"/>
                <a:gd name="T66" fmla="*/ 320 w 461"/>
                <a:gd name="T67" fmla="*/ 18 h 461"/>
                <a:gd name="T68" fmla="*/ 376 w 461"/>
                <a:gd name="T69" fmla="*/ 53 h 461"/>
                <a:gd name="T70" fmla="*/ 421 w 461"/>
                <a:gd name="T71" fmla="*/ 102 h 461"/>
                <a:gd name="T72" fmla="*/ 450 w 461"/>
                <a:gd name="T73" fmla="*/ 162 h 461"/>
                <a:gd name="T74" fmla="*/ 461 w 461"/>
                <a:gd name="T75" fmla="*/ 231 h 461"/>
                <a:gd name="T76" fmla="*/ 450 w 461"/>
                <a:gd name="T77" fmla="*/ 299 h 461"/>
                <a:gd name="T78" fmla="*/ 421 w 461"/>
                <a:gd name="T79" fmla="*/ 359 h 461"/>
                <a:gd name="T80" fmla="*/ 376 w 461"/>
                <a:gd name="T81" fmla="*/ 409 h 461"/>
                <a:gd name="T82" fmla="*/ 320 w 461"/>
                <a:gd name="T83" fmla="*/ 443 h 461"/>
                <a:gd name="T84" fmla="*/ 253 w 461"/>
                <a:gd name="T85" fmla="*/ 46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1" h="461">
                  <a:moveTo>
                    <a:pt x="230" y="47"/>
                  </a:moveTo>
                  <a:lnTo>
                    <a:pt x="212" y="48"/>
                  </a:lnTo>
                  <a:lnTo>
                    <a:pt x="193" y="50"/>
                  </a:lnTo>
                  <a:lnTo>
                    <a:pt x="175" y="55"/>
                  </a:lnTo>
                  <a:lnTo>
                    <a:pt x="159" y="61"/>
                  </a:lnTo>
                  <a:lnTo>
                    <a:pt x="142" y="69"/>
                  </a:lnTo>
                  <a:lnTo>
                    <a:pt x="127" y="77"/>
                  </a:lnTo>
                  <a:lnTo>
                    <a:pt x="114" y="88"/>
                  </a:lnTo>
                  <a:lnTo>
                    <a:pt x="100" y="101"/>
                  </a:lnTo>
                  <a:lnTo>
                    <a:pt x="88" y="113"/>
                  </a:lnTo>
                  <a:lnTo>
                    <a:pt x="77" y="128"/>
                  </a:lnTo>
                  <a:lnTo>
                    <a:pt x="68" y="142"/>
                  </a:lnTo>
                  <a:lnTo>
                    <a:pt x="61" y="160"/>
                  </a:lnTo>
                  <a:lnTo>
                    <a:pt x="55" y="175"/>
                  </a:lnTo>
                  <a:lnTo>
                    <a:pt x="50" y="194"/>
                  </a:lnTo>
                  <a:lnTo>
                    <a:pt x="47" y="212"/>
                  </a:lnTo>
                  <a:lnTo>
                    <a:pt x="46" y="231"/>
                  </a:lnTo>
                  <a:lnTo>
                    <a:pt x="47" y="249"/>
                  </a:lnTo>
                  <a:lnTo>
                    <a:pt x="50" y="267"/>
                  </a:lnTo>
                  <a:lnTo>
                    <a:pt x="55" y="286"/>
                  </a:lnTo>
                  <a:lnTo>
                    <a:pt x="61" y="302"/>
                  </a:lnTo>
                  <a:lnTo>
                    <a:pt x="68" y="319"/>
                  </a:lnTo>
                  <a:lnTo>
                    <a:pt x="77" y="334"/>
                  </a:lnTo>
                  <a:lnTo>
                    <a:pt x="88" y="348"/>
                  </a:lnTo>
                  <a:lnTo>
                    <a:pt x="100" y="361"/>
                  </a:lnTo>
                  <a:lnTo>
                    <a:pt x="114" y="373"/>
                  </a:lnTo>
                  <a:lnTo>
                    <a:pt x="127" y="384"/>
                  </a:lnTo>
                  <a:lnTo>
                    <a:pt x="142" y="393"/>
                  </a:lnTo>
                  <a:lnTo>
                    <a:pt x="159" y="400"/>
                  </a:lnTo>
                  <a:lnTo>
                    <a:pt x="175" y="406"/>
                  </a:lnTo>
                  <a:lnTo>
                    <a:pt x="193" y="411"/>
                  </a:lnTo>
                  <a:lnTo>
                    <a:pt x="212" y="413"/>
                  </a:lnTo>
                  <a:lnTo>
                    <a:pt x="230" y="415"/>
                  </a:lnTo>
                  <a:lnTo>
                    <a:pt x="248" y="413"/>
                  </a:lnTo>
                  <a:lnTo>
                    <a:pt x="267" y="411"/>
                  </a:lnTo>
                  <a:lnTo>
                    <a:pt x="285" y="406"/>
                  </a:lnTo>
                  <a:lnTo>
                    <a:pt x="301" y="400"/>
                  </a:lnTo>
                  <a:lnTo>
                    <a:pt x="318" y="393"/>
                  </a:lnTo>
                  <a:lnTo>
                    <a:pt x="333" y="384"/>
                  </a:lnTo>
                  <a:lnTo>
                    <a:pt x="348" y="373"/>
                  </a:lnTo>
                  <a:lnTo>
                    <a:pt x="360" y="361"/>
                  </a:lnTo>
                  <a:lnTo>
                    <a:pt x="372" y="348"/>
                  </a:lnTo>
                  <a:lnTo>
                    <a:pt x="383" y="334"/>
                  </a:lnTo>
                  <a:lnTo>
                    <a:pt x="392" y="319"/>
                  </a:lnTo>
                  <a:lnTo>
                    <a:pt x="399" y="302"/>
                  </a:lnTo>
                  <a:lnTo>
                    <a:pt x="407" y="286"/>
                  </a:lnTo>
                  <a:lnTo>
                    <a:pt x="410" y="267"/>
                  </a:lnTo>
                  <a:lnTo>
                    <a:pt x="414" y="249"/>
                  </a:lnTo>
                  <a:lnTo>
                    <a:pt x="414" y="231"/>
                  </a:lnTo>
                  <a:lnTo>
                    <a:pt x="414" y="212"/>
                  </a:lnTo>
                  <a:lnTo>
                    <a:pt x="410" y="194"/>
                  </a:lnTo>
                  <a:lnTo>
                    <a:pt x="407" y="175"/>
                  </a:lnTo>
                  <a:lnTo>
                    <a:pt x="399" y="160"/>
                  </a:lnTo>
                  <a:lnTo>
                    <a:pt x="392" y="142"/>
                  </a:lnTo>
                  <a:lnTo>
                    <a:pt x="383" y="128"/>
                  </a:lnTo>
                  <a:lnTo>
                    <a:pt x="372" y="113"/>
                  </a:lnTo>
                  <a:lnTo>
                    <a:pt x="360" y="101"/>
                  </a:lnTo>
                  <a:lnTo>
                    <a:pt x="348" y="88"/>
                  </a:lnTo>
                  <a:lnTo>
                    <a:pt x="333" y="77"/>
                  </a:lnTo>
                  <a:lnTo>
                    <a:pt x="318" y="69"/>
                  </a:lnTo>
                  <a:lnTo>
                    <a:pt x="301" y="61"/>
                  </a:lnTo>
                  <a:lnTo>
                    <a:pt x="285" y="55"/>
                  </a:lnTo>
                  <a:lnTo>
                    <a:pt x="267" y="50"/>
                  </a:lnTo>
                  <a:lnTo>
                    <a:pt x="248" y="48"/>
                  </a:lnTo>
                  <a:lnTo>
                    <a:pt x="230" y="47"/>
                  </a:lnTo>
                  <a:close/>
                  <a:moveTo>
                    <a:pt x="230" y="461"/>
                  </a:moveTo>
                  <a:lnTo>
                    <a:pt x="207" y="460"/>
                  </a:lnTo>
                  <a:lnTo>
                    <a:pt x="183" y="456"/>
                  </a:lnTo>
                  <a:lnTo>
                    <a:pt x="161" y="450"/>
                  </a:lnTo>
                  <a:lnTo>
                    <a:pt x="141" y="443"/>
                  </a:lnTo>
                  <a:lnTo>
                    <a:pt x="121" y="433"/>
                  </a:lnTo>
                  <a:lnTo>
                    <a:pt x="101" y="422"/>
                  </a:lnTo>
                  <a:lnTo>
                    <a:pt x="84" y="409"/>
                  </a:lnTo>
                  <a:lnTo>
                    <a:pt x="67" y="394"/>
                  </a:lnTo>
                  <a:lnTo>
                    <a:pt x="52" y="377"/>
                  </a:lnTo>
                  <a:lnTo>
                    <a:pt x="39" y="359"/>
                  </a:lnTo>
                  <a:lnTo>
                    <a:pt x="28" y="340"/>
                  </a:lnTo>
                  <a:lnTo>
                    <a:pt x="18" y="320"/>
                  </a:lnTo>
                  <a:lnTo>
                    <a:pt x="11" y="299"/>
                  </a:lnTo>
                  <a:lnTo>
                    <a:pt x="4" y="277"/>
                  </a:lnTo>
                  <a:lnTo>
                    <a:pt x="1" y="254"/>
                  </a:lnTo>
                  <a:lnTo>
                    <a:pt x="0" y="231"/>
                  </a:lnTo>
                  <a:lnTo>
                    <a:pt x="1" y="207"/>
                  </a:lnTo>
                  <a:lnTo>
                    <a:pt x="4" y="184"/>
                  </a:lnTo>
                  <a:lnTo>
                    <a:pt x="11" y="162"/>
                  </a:lnTo>
                  <a:lnTo>
                    <a:pt x="18" y="141"/>
                  </a:lnTo>
                  <a:lnTo>
                    <a:pt x="28" y="121"/>
                  </a:lnTo>
                  <a:lnTo>
                    <a:pt x="39" y="102"/>
                  </a:lnTo>
                  <a:lnTo>
                    <a:pt x="52" y="85"/>
                  </a:lnTo>
                  <a:lnTo>
                    <a:pt x="67" y="68"/>
                  </a:lnTo>
                  <a:lnTo>
                    <a:pt x="84" y="53"/>
                  </a:lnTo>
                  <a:lnTo>
                    <a:pt x="101" y="39"/>
                  </a:lnTo>
                  <a:lnTo>
                    <a:pt x="121" y="28"/>
                  </a:lnTo>
                  <a:lnTo>
                    <a:pt x="141" y="18"/>
                  </a:lnTo>
                  <a:lnTo>
                    <a:pt x="161" y="11"/>
                  </a:lnTo>
                  <a:lnTo>
                    <a:pt x="183" y="5"/>
                  </a:lnTo>
                  <a:lnTo>
                    <a:pt x="207" y="1"/>
                  </a:lnTo>
                  <a:lnTo>
                    <a:pt x="230" y="0"/>
                  </a:lnTo>
                  <a:lnTo>
                    <a:pt x="253" y="1"/>
                  </a:lnTo>
                  <a:lnTo>
                    <a:pt x="277" y="5"/>
                  </a:lnTo>
                  <a:lnTo>
                    <a:pt x="299" y="11"/>
                  </a:lnTo>
                  <a:lnTo>
                    <a:pt x="320" y="18"/>
                  </a:lnTo>
                  <a:lnTo>
                    <a:pt x="339" y="28"/>
                  </a:lnTo>
                  <a:lnTo>
                    <a:pt x="359" y="39"/>
                  </a:lnTo>
                  <a:lnTo>
                    <a:pt x="376" y="53"/>
                  </a:lnTo>
                  <a:lnTo>
                    <a:pt x="393" y="68"/>
                  </a:lnTo>
                  <a:lnTo>
                    <a:pt x="408" y="85"/>
                  </a:lnTo>
                  <a:lnTo>
                    <a:pt x="421" y="102"/>
                  </a:lnTo>
                  <a:lnTo>
                    <a:pt x="432" y="121"/>
                  </a:lnTo>
                  <a:lnTo>
                    <a:pt x="442" y="141"/>
                  </a:lnTo>
                  <a:lnTo>
                    <a:pt x="450" y="162"/>
                  </a:lnTo>
                  <a:lnTo>
                    <a:pt x="456" y="184"/>
                  </a:lnTo>
                  <a:lnTo>
                    <a:pt x="459" y="207"/>
                  </a:lnTo>
                  <a:lnTo>
                    <a:pt x="461" y="231"/>
                  </a:lnTo>
                  <a:lnTo>
                    <a:pt x="459" y="254"/>
                  </a:lnTo>
                  <a:lnTo>
                    <a:pt x="456" y="277"/>
                  </a:lnTo>
                  <a:lnTo>
                    <a:pt x="450" y="299"/>
                  </a:lnTo>
                  <a:lnTo>
                    <a:pt x="442" y="320"/>
                  </a:lnTo>
                  <a:lnTo>
                    <a:pt x="432" y="340"/>
                  </a:lnTo>
                  <a:lnTo>
                    <a:pt x="421" y="359"/>
                  </a:lnTo>
                  <a:lnTo>
                    <a:pt x="408" y="377"/>
                  </a:lnTo>
                  <a:lnTo>
                    <a:pt x="393" y="394"/>
                  </a:lnTo>
                  <a:lnTo>
                    <a:pt x="376" y="409"/>
                  </a:lnTo>
                  <a:lnTo>
                    <a:pt x="359" y="422"/>
                  </a:lnTo>
                  <a:lnTo>
                    <a:pt x="339" y="433"/>
                  </a:lnTo>
                  <a:lnTo>
                    <a:pt x="320" y="443"/>
                  </a:lnTo>
                  <a:lnTo>
                    <a:pt x="299" y="450"/>
                  </a:lnTo>
                  <a:lnTo>
                    <a:pt x="277" y="456"/>
                  </a:lnTo>
                  <a:lnTo>
                    <a:pt x="253" y="460"/>
                  </a:lnTo>
                  <a:lnTo>
                    <a:pt x="230" y="46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5" name="Freeform 36">
            <a:extLst>
              <a:ext uri="{FF2B5EF4-FFF2-40B4-BE49-F238E27FC236}">
                <a16:creationId xmlns:a16="http://schemas.microsoft.com/office/drawing/2014/main" id="{E513B8A4-665B-4558-8391-946E2DF29AAC}"/>
              </a:ext>
            </a:extLst>
          </p:cNvPr>
          <p:cNvSpPr>
            <a:spLocks noChangeAspect="1" noEditPoints="1"/>
          </p:cNvSpPr>
          <p:nvPr/>
        </p:nvSpPr>
        <p:spPr bwMode="auto">
          <a:xfrm>
            <a:off x="4418066" y="5417577"/>
            <a:ext cx="349846" cy="285619"/>
          </a:xfrm>
          <a:custGeom>
            <a:avLst/>
            <a:gdLst>
              <a:gd name="T0" fmla="*/ 1020 w 2314"/>
              <a:gd name="T1" fmla="*/ 1561 h 1888"/>
              <a:gd name="T2" fmla="*/ 1259 w 2314"/>
              <a:gd name="T3" fmla="*/ 1808 h 1888"/>
              <a:gd name="T4" fmla="*/ 685 w 2314"/>
              <a:gd name="T5" fmla="*/ 1644 h 1888"/>
              <a:gd name="T6" fmla="*/ 751 w 2314"/>
              <a:gd name="T7" fmla="*/ 1710 h 1888"/>
              <a:gd name="T8" fmla="*/ 560 w 2314"/>
              <a:gd name="T9" fmla="*/ 1156 h 1888"/>
              <a:gd name="T10" fmla="*/ 507 w 2314"/>
              <a:gd name="T11" fmla="*/ 1463 h 1888"/>
              <a:gd name="T12" fmla="*/ 687 w 2314"/>
              <a:gd name="T13" fmla="*/ 1283 h 1888"/>
              <a:gd name="T14" fmla="*/ 743 w 2314"/>
              <a:gd name="T15" fmla="*/ 1339 h 1888"/>
              <a:gd name="T16" fmla="*/ 2303 w 2314"/>
              <a:gd name="T17" fmla="*/ 432 h 1888"/>
              <a:gd name="T18" fmla="*/ 2267 w 2314"/>
              <a:gd name="T19" fmla="*/ 421 h 1888"/>
              <a:gd name="T20" fmla="*/ 1902 w 2314"/>
              <a:gd name="T21" fmla="*/ 778 h 1888"/>
              <a:gd name="T22" fmla="*/ 1730 w 2314"/>
              <a:gd name="T23" fmla="*/ 1092 h 1888"/>
              <a:gd name="T24" fmla="*/ 1268 w 2314"/>
              <a:gd name="T25" fmla="*/ 649 h 1888"/>
              <a:gd name="T26" fmla="*/ 1034 w 2314"/>
              <a:gd name="T27" fmla="*/ 660 h 1888"/>
              <a:gd name="T28" fmla="*/ 1496 w 2314"/>
              <a:gd name="T29" fmla="*/ 355 h 1888"/>
              <a:gd name="T30" fmla="*/ 1797 w 2314"/>
              <a:gd name="T31" fmla="*/ 63 h 1888"/>
              <a:gd name="T32" fmla="*/ 1800 w 2314"/>
              <a:gd name="T33" fmla="*/ 26 h 1888"/>
              <a:gd name="T34" fmla="*/ 1771 w 2314"/>
              <a:gd name="T35" fmla="*/ 1 h 1888"/>
              <a:gd name="T36" fmla="*/ 1736 w 2314"/>
              <a:gd name="T37" fmla="*/ 12 h 1888"/>
              <a:gd name="T38" fmla="*/ 1116 w 2314"/>
              <a:gd name="T39" fmla="*/ 282 h 1888"/>
              <a:gd name="T40" fmla="*/ 531 w 2314"/>
              <a:gd name="T41" fmla="*/ 130 h 1888"/>
              <a:gd name="T42" fmla="*/ 494 w 2314"/>
              <a:gd name="T43" fmla="*/ 126 h 1888"/>
              <a:gd name="T44" fmla="*/ 470 w 2314"/>
              <a:gd name="T45" fmla="*/ 155 h 1888"/>
              <a:gd name="T46" fmla="*/ 481 w 2314"/>
              <a:gd name="T47" fmla="*/ 191 h 1888"/>
              <a:gd name="T48" fmla="*/ 726 w 2314"/>
              <a:gd name="T49" fmla="*/ 420 h 1888"/>
              <a:gd name="T50" fmla="*/ 603 w 2314"/>
              <a:gd name="T51" fmla="*/ 804 h 1888"/>
              <a:gd name="T52" fmla="*/ 614 w 2314"/>
              <a:gd name="T53" fmla="*/ 839 h 1888"/>
              <a:gd name="T54" fmla="*/ 791 w 2314"/>
              <a:gd name="T55" fmla="*/ 999 h 1888"/>
              <a:gd name="T56" fmla="*/ 1079 w 2314"/>
              <a:gd name="T57" fmla="*/ 729 h 1888"/>
              <a:gd name="T58" fmla="*/ 1434 w 2314"/>
              <a:gd name="T59" fmla="*/ 1174 h 1888"/>
              <a:gd name="T60" fmla="*/ 1398 w 2314"/>
              <a:gd name="T61" fmla="*/ 1171 h 1888"/>
              <a:gd name="T62" fmla="*/ 1373 w 2314"/>
              <a:gd name="T63" fmla="*/ 1200 h 1888"/>
              <a:gd name="T64" fmla="*/ 1384 w 2314"/>
              <a:gd name="T65" fmla="*/ 1236 h 1888"/>
              <a:gd name="T66" fmla="*/ 1230 w 2314"/>
              <a:gd name="T67" fmla="*/ 1327 h 1888"/>
              <a:gd name="T68" fmla="*/ 1192 w 2314"/>
              <a:gd name="T69" fmla="*/ 1332 h 1888"/>
              <a:gd name="T70" fmla="*/ 1174 w 2314"/>
              <a:gd name="T71" fmla="*/ 1365 h 1888"/>
              <a:gd name="T72" fmla="*/ 1441 w 2314"/>
              <a:gd name="T73" fmla="*/ 1649 h 1888"/>
              <a:gd name="T74" fmla="*/ 1314 w 2314"/>
              <a:gd name="T75" fmla="*/ 1751 h 1888"/>
              <a:gd name="T76" fmla="*/ 1058 w 2314"/>
              <a:gd name="T77" fmla="*/ 1512 h 1888"/>
              <a:gd name="T78" fmla="*/ 1029 w 2314"/>
              <a:gd name="T79" fmla="*/ 1524 h 1888"/>
              <a:gd name="T80" fmla="*/ 1018 w 2314"/>
              <a:gd name="T81" fmla="*/ 1500 h 1888"/>
              <a:gd name="T82" fmla="*/ 499 w 2314"/>
              <a:gd name="T83" fmla="*/ 998 h 1888"/>
              <a:gd name="T84" fmla="*/ 361 w 2314"/>
              <a:gd name="T85" fmla="*/ 1119 h 1888"/>
              <a:gd name="T86" fmla="*/ 350 w 2314"/>
              <a:gd name="T87" fmla="*/ 860 h 1888"/>
              <a:gd name="T88" fmla="*/ 40 w 2314"/>
              <a:gd name="T89" fmla="*/ 565 h 1888"/>
              <a:gd name="T90" fmla="*/ 7 w 2314"/>
              <a:gd name="T91" fmla="*/ 583 h 1888"/>
              <a:gd name="T92" fmla="*/ 2 w 2314"/>
              <a:gd name="T93" fmla="*/ 620 h 1888"/>
              <a:gd name="T94" fmla="*/ 244 w 2314"/>
              <a:gd name="T95" fmla="*/ 1237 h 1888"/>
              <a:gd name="T96" fmla="*/ 227 w 2314"/>
              <a:gd name="T97" fmla="*/ 1255 h 1888"/>
              <a:gd name="T98" fmla="*/ 224 w 2314"/>
              <a:gd name="T99" fmla="*/ 1292 h 1888"/>
              <a:gd name="T100" fmla="*/ 736 w 2314"/>
              <a:gd name="T101" fmla="*/ 1804 h 1888"/>
              <a:gd name="T102" fmla="*/ 773 w 2314"/>
              <a:gd name="T103" fmla="*/ 1800 h 1888"/>
              <a:gd name="T104" fmla="*/ 1016 w 2314"/>
              <a:gd name="T105" fmla="*/ 1886 h 1888"/>
              <a:gd name="T106" fmla="*/ 1299 w 2314"/>
              <a:gd name="T107" fmla="*/ 1887 h 1888"/>
              <a:gd name="T108" fmla="*/ 1704 w 2314"/>
              <a:gd name="T109" fmla="*/ 1499 h 1888"/>
              <a:gd name="T110" fmla="*/ 1892 w 2314"/>
              <a:gd name="T111" fmla="*/ 1311 h 1888"/>
              <a:gd name="T112" fmla="*/ 1903 w 2314"/>
              <a:gd name="T113" fmla="*/ 1274 h 1888"/>
              <a:gd name="T114" fmla="*/ 1963 w 2314"/>
              <a:gd name="T115" fmla="*/ 973 h 1888"/>
              <a:gd name="T116" fmla="*/ 1975 w 2314"/>
              <a:gd name="T117" fmla="*/ 816 h 1888"/>
              <a:gd name="T118" fmla="*/ 2314 w 2314"/>
              <a:gd name="T119" fmla="*/ 46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4" h="1888">
                <a:moveTo>
                  <a:pt x="906" y="1668"/>
                </a:moveTo>
                <a:lnTo>
                  <a:pt x="1018" y="1557"/>
                </a:lnTo>
                <a:lnTo>
                  <a:pt x="1018" y="1556"/>
                </a:lnTo>
                <a:lnTo>
                  <a:pt x="1019" y="1554"/>
                </a:lnTo>
                <a:lnTo>
                  <a:pt x="1020" y="1561"/>
                </a:lnTo>
                <a:lnTo>
                  <a:pt x="1023" y="1568"/>
                </a:lnTo>
                <a:lnTo>
                  <a:pt x="1026" y="1574"/>
                </a:lnTo>
                <a:lnTo>
                  <a:pt x="1030" y="1580"/>
                </a:lnTo>
                <a:lnTo>
                  <a:pt x="1258" y="1807"/>
                </a:lnTo>
                <a:lnTo>
                  <a:pt x="1259" y="1808"/>
                </a:lnTo>
                <a:lnTo>
                  <a:pt x="1259" y="1808"/>
                </a:lnTo>
                <a:lnTo>
                  <a:pt x="1047" y="1809"/>
                </a:lnTo>
                <a:lnTo>
                  <a:pt x="906" y="1668"/>
                </a:lnTo>
                <a:close/>
                <a:moveTo>
                  <a:pt x="751" y="1710"/>
                </a:moveTo>
                <a:lnTo>
                  <a:pt x="685" y="1644"/>
                </a:lnTo>
                <a:lnTo>
                  <a:pt x="686" y="1644"/>
                </a:lnTo>
                <a:lnTo>
                  <a:pt x="687" y="1643"/>
                </a:lnTo>
                <a:lnTo>
                  <a:pt x="867" y="1463"/>
                </a:lnTo>
                <a:lnTo>
                  <a:pt x="933" y="1529"/>
                </a:lnTo>
                <a:lnTo>
                  <a:pt x="751" y="1710"/>
                </a:lnTo>
                <a:close/>
                <a:moveTo>
                  <a:pt x="350" y="1243"/>
                </a:moveTo>
                <a:lnTo>
                  <a:pt x="350" y="1243"/>
                </a:lnTo>
                <a:lnTo>
                  <a:pt x="350" y="1243"/>
                </a:lnTo>
                <a:lnTo>
                  <a:pt x="499" y="1095"/>
                </a:lnTo>
                <a:lnTo>
                  <a:pt x="560" y="1156"/>
                </a:lnTo>
                <a:lnTo>
                  <a:pt x="378" y="1337"/>
                </a:lnTo>
                <a:lnTo>
                  <a:pt x="318" y="1276"/>
                </a:lnTo>
                <a:lnTo>
                  <a:pt x="350" y="1243"/>
                </a:lnTo>
                <a:close/>
                <a:moveTo>
                  <a:pt x="687" y="1283"/>
                </a:moveTo>
                <a:lnTo>
                  <a:pt x="507" y="1463"/>
                </a:lnTo>
                <a:lnTo>
                  <a:pt x="506" y="1464"/>
                </a:lnTo>
                <a:lnTo>
                  <a:pt x="506" y="1464"/>
                </a:lnTo>
                <a:lnTo>
                  <a:pt x="435" y="1395"/>
                </a:lnTo>
                <a:lnTo>
                  <a:pt x="616" y="1212"/>
                </a:lnTo>
                <a:lnTo>
                  <a:pt x="687" y="1283"/>
                </a:lnTo>
                <a:close/>
                <a:moveTo>
                  <a:pt x="629" y="1588"/>
                </a:moveTo>
                <a:lnTo>
                  <a:pt x="562" y="1521"/>
                </a:lnTo>
                <a:lnTo>
                  <a:pt x="563" y="1520"/>
                </a:lnTo>
                <a:lnTo>
                  <a:pt x="563" y="1520"/>
                </a:lnTo>
                <a:lnTo>
                  <a:pt x="743" y="1339"/>
                </a:lnTo>
                <a:lnTo>
                  <a:pt x="810" y="1406"/>
                </a:lnTo>
                <a:lnTo>
                  <a:pt x="630" y="1586"/>
                </a:lnTo>
                <a:lnTo>
                  <a:pt x="630" y="1587"/>
                </a:lnTo>
                <a:lnTo>
                  <a:pt x="629" y="1588"/>
                </a:lnTo>
                <a:close/>
                <a:moveTo>
                  <a:pt x="2303" y="432"/>
                </a:moveTo>
                <a:lnTo>
                  <a:pt x="2296" y="426"/>
                </a:lnTo>
                <a:lnTo>
                  <a:pt x="2289" y="423"/>
                </a:lnTo>
                <a:lnTo>
                  <a:pt x="2282" y="421"/>
                </a:lnTo>
                <a:lnTo>
                  <a:pt x="2274" y="420"/>
                </a:lnTo>
                <a:lnTo>
                  <a:pt x="2267" y="421"/>
                </a:lnTo>
                <a:lnTo>
                  <a:pt x="2259" y="423"/>
                </a:lnTo>
                <a:lnTo>
                  <a:pt x="2253" y="426"/>
                </a:lnTo>
                <a:lnTo>
                  <a:pt x="2246" y="432"/>
                </a:lnTo>
                <a:lnTo>
                  <a:pt x="1907" y="771"/>
                </a:lnTo>
                <a:lnTo>
                  <a:pt x="1902" y="778"/>
                </a:lnTo>
                <a:lnTo>
                  <a:pt x="1898" y="785"/>
                </a:lnTo>
                <a:lnTo>
                  <a:pt x="1896" y="791"/>
                </a:lnTo>
                <a:lnTo>
                  <a:pt x="1894" y="799"/>
                </a:lnTo>
                <a:lnTo>
                  <a:pt x="1894" y="928"/>
                </a:lnTo>
                <a:lnTo>
                  <a:pt x="1730" y="1092"/>
                </a:lnTo>
                <a:lnTo>
                  <a:pt x="1296" y="660"/>
                </a:lnTo>
                <a:lnTo>
                  <a:pt x="1290" y="656"/>
                </a:lnTo>
                <a:lnTo>
                  <a:pt x="1282" y="652"/>
                </a:lnTo>
                <a:lnTo>
                  <a:pt x="1276" y="650"/>
                </a:lnTo>
                <a:lnTo>
                  <a:pt x="1268" y="649"/>
                </a:lnTo>
                <a:lnTo>
                  <a:pt x="1062" y="649"/>
                </a:lnTo>
                <a:lnTo>
                  <a:pt x="1054" y="650"/>
                </a:lnTo>
                <a:lnTo>
                  <a:pt x="1046" y="652"/>
                </a:lnTo>
                <a:lnTo>
                  <a:pt x="1039" y="656"/>
                </a:lnTo>
                <a:lnTo>
                  <a:pt x="1034" y="660"/>
                </a:lnTo>
                <a:lnTo>
                  <a:pt x="791" y="903"/>
                </a:lnTo>
                <a:lnTo>
                  <a:pt x="699" y="811"/>
                </a:lnTo>
                <a:lnTo>
                  <a:pt x="1155" y="355"/>
                </a:lnTo>
                <a:lnTo>
                  <a:pt x="1488" y="355"/>
                </a:lnTo>
                <a:lnTo>
                  <a:pt x="1496" y="355"/>
                </a:lnTo>
                <a:lnTo>
                  <a:pt x="1504" y="352"/>
                </a:lnTo>
                <a:lnTo>
                  <a:pt x="1511" y="348"/>
                </a:lnTo>
                <a:lnTo>
                  <a:pt x="1517" y="343"/>
                </a:lnTo>
                <a:lnTo>
                  <a:pt x="1791" y="68"/>
                </a:lnTo>
                <a:lnTo>
                  <a:pt x="1797" y="63"/>
                </a:lnTo>
                <a:lnTo>
                  <a:pt x="1800" y="56"/>
                </a:lnTo>
                <a:lnTo>
                  <a:pt x="1803" y="48"/>
                </a:lnTo>
                <a:lnTo>
                  <a:pt x="1804" y="40"/>
                </a:lnTo>
                <a:lnTo>
                  <a:pt x="1803" y="32"/>
                </a:lnTo>
                <a:lnTo>
                  <a:pt x="1800" y="26"/>
                </a:lnTo>
                <a:lnTo>
                  <a:pt x="1797" y="19"/>
                </a:lnTo>
                <a:lnTo>
                  <a:pt x="1791" y="12"/>
                </a:lnTo>
                <a:lnTo>
                  <a:pt x="1786" y="7"/>
                </a:lnTo>
                <a:lnTo>
                  <a:pt x="1778" y="3"/>
                </a:lnTo>
                <a:lnTo>
                  <a:pt x="1771" y="1"/>
                </a:lnTo>
                <a:lnTo>
                  <a:pt x="1763" y="0"/>
                </a:lnTo>
                <a:lnTo>
                  <a:pt x="1756" y="1"/>
                </a:lnTo>
                <a:lnTo>
                  <a:pt x="1748" y="3"/>
                </a:lnTo>
                <a:lnTo>
                  <a:pt x="1741" y="7"/>
                </a:lnTo>
                <a:lnTo>
                  <a:pt x="1736" y="12"/>
                </a:lnTo>
                <a:lnTo>
                  <a:pt x="1473" y="275"/>
                </a:lnTo>
                <a:lnTo>
                  <a:pt x="1138" y="275"/>
                </a:lnTo>
                <a:lnTo>
                  <a:pt x="1130" y="276"/>
                </a:lnTo>
                <a:lnTo>
                  <a:pt x="1122" y="279"/>
                </a:lnTo>
                <a:lnTo>
                  <a:pt x="1116" y="282"/>
                </a:lnTo>
                <a:lnTo>
                  <a:pt x="1110" y="286"/>
                </a:lnTo>
                <a:lnTo>
                  <a:pt x="1056" y="340"/>
                </a:lnTo>
                <a:lnTo>
                  <a:pt x="743" y="340"/>
                </a:lnTo>
                <a:lnTo>
                  <a:pt x="537" y="135"/>
                </a:lnTo>
                <a:lnTo>
                  <a:pt x="531" y="130"/>
                </a:lnTo>
                <a:lnTo>
                  <a:pt x="525" y="126"/>
                </a:lnTo>
                <a:lnTo>
                  <a:pt x="517" y="124"/>
                </a:lnTo>
                <a:lnTo>
                  <a:pt x="509" y="123"/>
                </a:lnTo>
                <a:lnTo>
                  <a:pt x="501" y="124"/>
                </a:lnTo>
                <a:lnTo>
                  <a:pt x="494" y="126"/>
                </a:lnTo>
                <a:lnTo>
                  <a:pt x="487" y="130"/>
                </a:lnTo>
                <a:lnTo>
                  <a:pt x="481" y="135"/>
                </a:lnTo>
                <a:lnTo>
                  <a:pt x="475" y="141"/>
                </a:lnTo>
                <a:lnTo>
                  <a:pt x="472" y="148"/>
                </a:lnTo>
                <a:lnTo>
                  <a:pt x="470" y="155"/>
                </a:lnTo>
                <a:lnTo>
                  <a:pt x="469" y="163"/>
                </a:lnTo>
                <a:lnTo>
                  <a:pt x="470" y="171"/>
                </a:lnTo>
                <a:lnTo>
                  <a:pt x="472" y="178"/>
                </a:lnTo>
                <a:lnTo>
                  <a:pt x="475" y="186"/>
                </a:lnTo>
                <a:lnTo>
                  <a:pt x="481" y="191"/>
                </a:lnTo>
                <a:lnTo>
                  <a:pt x="698" y="408"/>
                </a:lnTo>
                <a:lnTo>
                  <a:pt x="704" y="413"/>
                </a:lnTo>
                <a:lnTo>
                  <a:pt x="710" y="417"/>
                </a:lnTo>
                <a:lnTo>
                  <a:pt x="718" y="420"/>
                </a:lnTo>
                <a:lnTo>
                  <a:pt x="726" y="420"/>
                </a:lnTo>
                <a:lnTo>
                  <a:pt x="977" y="420"/>
                </a:lnTo>
                <a:lnTo>
                  <a:pt x="614" y="782"/>
                </a:lnTo>
                <a:lnTo>
                  <a:pt x="609" y="789"/>
                </a:lnTo>
                <a:lnTo>
                  <a:pt x="605" y="796"/>
                </a:lnTo>
                <a:lnTo>
                  <a:pt x="603" y="804"/>
                </a:lnTo>
                <a:lnTo>
                  <a:pt x="602" y="811"/>
                </a:lnTo>
                <a:lnTo>
                  <a:pt x="603" y="818"/>
                </a:lnTo>
                <a:lnTo>
                  <a:pt x="605" y="826"/>
                </a:lnTo>
                <a:lnTo>
                  <a:pt x="609" y="833"/>
                </a:lnTo>
                <a:lnTo>
                  <a:pt x="614" y="839"/>
                </a:lnTo>
                <a:lnTo>
                  <a:pt x="763" y="988"/>
                </a:lnTo>
                <a:lnTo>
                  <a:pt x="769" y="993"/>
                </a:lnTo>
                <a:lnTo>
                  <a:pt x="775" y="997"/>
                </a:lnTo>
                <a:lnTo>
                  <a:pt x="783" y="999"/>
                </a:lnTo>
                <a:lnTo>
                  <a:pt x="791" y="999"/>
                </a:lnTo>
                <a:lnTo>
                  <a:pt x="799" y="999"/>
                </a:lnTo>
                <a:lnTo>
                  <a:pt x="807" y="997"/>
                </a:lnTo>
                <a:lnTo>
                  <a:pt x="813" y="993"/>
                </a:lnTo>
                <a:lnTo>
                  <a:pt x="819" y="988"/>
                </a:lnTo>
                <a:lnTo>
                  <a:pt x="1079" y="729"/>
                </a:lnTo>
                <a:lnTo>
                  <a:pt x="1251" y="729"/>
                </a:lnTo>
                <a:lnTo>
                  <a:pt x="1807" y="1283"/>
                </a:lnTo>
                <a:lnTo>
                  <a:pt x="1675" y="1415"/>
                </a:lnTo>
                <a:lnTo>
                  <a:pt x="1441" y="1180"/>
                </a:lnTo>
                <a:lnTo>
                  <a:pt x="1434" y="1174"/>
                </a:lnTo>
                <a:lnTo>
                  <a:pt x="1428" y="1171"/>
                </a:lnTo>
                <a:lnTo>
                  <a:pt x="1420" y="1168"/>
                </a:lnTo>
                <a:lnTo>
                  <a:pt x="1412" y="1167"/>
                </a:lnTo>
                <a:lnTo>
                  <a:pt x="1405" y="1168"/>
                </a:lnTo>
                <a:lnTo>
                  <a:pt x="1398" y="1171"/>
                </a:lnTo>
                <a:lnTo>
                  <a:pt x="1391" y="1174"/>
                </a:lnTo>
                <a:lnTo>
                  <a:pt x="1384" y="1180"/>
                </a:lnTo>
                <a:lnTo>
                  <a:pt x="1380" y="1185"/>
                </a:lnTo>
                <a:lnTo>
                  <a:pt x="1375" y="1193"/>
                </a:lnTo>
                <a:lnTo>
                  <a:pt x="1373" y="1200"/>
                </a:lnTo>
                <a:lnTo>
                  <a:pt x="1373" y="1208"/>
                </a:lnTo>
                <a:lnTo>
                  <a:pt x="1373" y="1215"/>
                </a:lnTo>
                <a:lnTo>
                  <a:pt x="1375" y="1222"/>
                </a:lnTo>
                <a:lnTo>
                  <a:pt x="1380" y="1230"/>
                </a:lnTo>
                <a:lnTo>
                  <a:pt x="1384" y="1236"/>
                </a:lnTo>
                <a:lnTo>
                  <a:pt x="1619" y="1471"/>
                </a:lnTo>
                <a:lnTo>
                  <a:pt x="1498" y="1593"/>
                </a:lnTo>
                <a:lnTo>
                  <a:pt x="1242" y="1336"/>
                </a:lnTo>
                <a:lnTo>
                  <a:pt x="1236" y="1332"/>
                </a:lnTo>
                <a:lnTo>
                  <a:pt x="1230" y="1327"/>
                </a:lnTo>
                <a:lnTo>
                  <a:pt x="1222" y="1326"/>
                </a:lnTo>
                <a:lnTo>
                  <a:pt x="1214" y="1325"/>
                </a:lnTo>
                <a:lnTo>
                  <a:pt x="1206" y="1326"/>
                </a:lnTo>
                <a:lnTo>
                  <a:pt x="1199" y="1327"/>
                </a:lnTo>
                <a:lnTo>
                  <a:pt x="1192" y="1332"/>
                </a:lnTo>
                <a:lnTo>
                  <a:pt x="1186" y="1336"/>
                </a:lnTo>
                <a:lnTo>
                  <a:pt x="1180" y="1343"/>
                </a:lnTo>
                <a:lnTo>
                  <a:pt x="1177" y="1350"/>
                </a:lnTo>
                <a:lnTo>
                  <a:pt x="1175" y="1358"/>
                </a:lnTo>
                <a:lnTo>
                  <a:pt x="1174" y="1365"/>
                </a:lnTo>
                <a:lnTo>
                  <a:pt x="1175" y="1372"/>
                </a:lnTo>
                <a:lnTo>
                  <a:pt x="1177" y="1380"/>
                </a:lnTo>
                <a:lnTo>
                  <a:pt x="1180" y="1387"/>
                </a:lnTo>
                <a:lnTo>
                  <a:pt x="1186" y="1393"/>
                </a:lnTo>
                <a:lnTo>
                  <a:pt x="1441" y="1649"/>
                </a:lnTo>
                <a:lnTo>
                  <a:pt x="1324" y="1766"/>
                </a:lnTo>
                <a:lnTo>
                  <a:pt x="1321" y="1762"/>
                </a:lnTo>
                <a:lnTo>
                  <a:pt x="1320" y="1758"/>
                </a:lnTo>
                <a:lnTo>
                  <a:pt x="1317" y="1754"/>
                </a:lnTo>
                <a:lnTo>
                  <a:pt x="1314" y="1751"/>
                </a:lnTo>
                <a:lnTo>
                  <a:pt x="1088" y="1523"/>
                </a:lnTo>
                <a:lnTo>
                  <a:pt x="1081" y="1518"/>
                </a:lnTo>
                <a:lnTo>
                  <a:pt x="1074" y="1514"/>
                </a:lnTo>
                <a:lnTo>
                  <a:pt x="1066" y="1512"/>
                </a:lnTo>
                <a:lnTo>
                  <a:pt x="1058" y="1512"/>
                </a:lnTo>
                <a:lnTo>
                  <a:pt x="1052" y="1512"/>
                </a:lnTo>
                <a:lnTo>
                  <a:pt x="1044" y="1514"/>
                </a:lnTo>
                <a:lnTo>
                  <a:pt x="1037" y="1518"/>
                </a:lnTo>
                <a:lnTo>
                  <a:pt x="1030" y="1523"/>
                </a:lnTo>
                <a:lnTo>
                  <a:pt x="1029" y="1524"/>
                </a:lnTo>
                <a:lnTo>
                  <a:pt x="1029" y="1526"/>
                </a:lnTo>
                <a:lnTo>
                  <a:pt x="1028" y="1519"/>
                </a:lnTo>
                <a:lnTo>
                  <a:pt x="1026" y="1512"/>
                </a:lnTo>
                <a:lnTo>
                  <a:pt x="1023" y="1505"/>
                </a:lnTo>
                <a:lnTo>
                  <a:pt x="1018" y="1500"/>
                </a:lnTo>
                <a:lnTo>
                  <a:pt x="527" y="1010"/>
                </a:lnTo>
                <a:lnTo>
                  <a:pt x="521" y="1005"/>
                </a:lnTo>
                <a:lnTo>
                  <a:pt x="515" y="1001"/>
                </a:lnTo>
                <a:lnTo>
                  <a:pt x="507" y="998"/>
                </a:lnTo>
                <a:lnTo>
                  <a:pt x="499" y="998"/>
                </a:lnTo>
                <a:lnTo>
                  <a:pt x="491" y="998"/>
                </a:lnTo>
                <a:lnTo>
                  <a:pt x="483" y="1001"/>
                </a:lnTo>
                <a:lnTo>
                  <a:pt x="477" y="1005"/>
                </a:lnTo>
                <a:lnTo>
                  <a:pt x="471" y="1010"/>
                </a:lnTo>
                <a:lnTo>
                  <a:pt x="361" y="1119"/>
                </a:lnTo>
                <a:lnTo>
                  <a:pt x="361" y="888"/>
                </a:lnTo>
                <a:lnTo>
                  <a:pt x="361" y="880"/>
                </a:lnTo>
                <a:lnTo>
                  <a:pt x="359" y="872"/>
                </a:lnTo>
                <a:lnTo>
                  <a:pt x="355" y="865"/>
                </a:lnTo>
                <a:lnTo>
                  <a:pt x="350" y="860"/>
                </a:lnTo>
                <a:lnTo>
                  <a:pt x="68" y="576"/>
                </a:lnTo>
                <a:lnTo>
                  <a:pt x="61" y="572"/>
                </a:lnTo>
                <a:lnTo>
                  <a:pt x="55" y="568"/>
                </a:lnTo>
                <a:lnTo>
                  <a:pt x="47" y="566"/>
                </a:lnTo>
                <a:lnTo>
                  <a:pt x="40" y="565"/>
                </a:lnTo>
                <a:lnTo>
                  <a:pt x="32" y="566"/>
                </a:lnTo>
                <a:lnTo>
                  <a:pt x="24" y="568"/>
                </a:lnTo>
                <a:lnTo>
                  <a:pt x="18" y="572"/>
                </a:lnTo>
                <a:lnTo>
                  <a:pt x="11" y="576"/>
                </a:lnTo>
                <a:lnTo>
                  <a:pt x="7" y="583"/>
                </a:lnTo>
                <a:lnTo>
                  <a:pt x="2" y="590"/>
                </a:lnTo>
                <a:lnTo>
                  <a:pt x="0" y="598"/>
                </a:lnTo>
                <a:lnTo>
                  <a:pt x="0" y="605"/>
                </a:lnTo>
                <a:lnTo>
                  <a:pt x="0" y="612"/>
                </a:lnTo>
                <a:lnTo>
                  <a:pt x="2" y="620"/>
                </a:lnTo>
                <a:lnTo>
                  <a:pt x="7" y="627"/>
                </a:lnTo>
                <a:lnTo>
                  <a:pt x="11" y="633"/>
                </a:lnTo>
                <a:lnTo>
                  <a:pt x="282" y="904"/>
                </a:lnTo>
                <a:lnTo>
                  <a:pt x="282" y="1199"/>
                </a:lnTo>
                <a:lnTo>
                  <a:pt x="244" y="1237"/>
                </a:lnTo>
                <a:lnTo>
                  <a:pt x="242" y="1240"/>
                </a:lnTo>
                <a:lnTo>
                  <a:pt x="238" y="1243"/>
                </a:lnTo>
                <a:lnTo>
                  <a:pt x="236" y="1246"/>
                </a:lnTo>
                <a:lnTo>
                  <a:pt x="233" y="1248"/>
                </a:lnTo>
                <a:lnTo>
                  <a:pt x="227" y="1255"/>
                </a:lnTo>
                <a:lnTo>
                  <a:pt x="224" y="1261"/>
                </a:lnTo>
                <a:lnTo>
                  <a:pt x="221" y="1269"/>
                </a:lnTo>
                <a:lnTo>
                  <a:pt x="220" y="1276"/>
                </a:lnTo>
                <a:lnTo>
                  <a:pt x="221" y="1284"/>
                </a:lnTo>
                <a:lnTo>
                  <a:pt x="224" y="1292"/>
                </a:lnTo>
                <a:lnTo>
                  <a:pt x="227" y="1298"/>
                </a:lnTo>
                <a:lnTo>
                  <a:pt x="233" y="1305"/>
                </a:lnTo>
                <a:lnTo>
                  <a:pt x="723" y="1795"/>
                </a:lnTo>
                <a:lnTo>
                  <a:pt x="729" y="1800"/>
                </a:lnTo>
                <a:lnTo>
                  <a:pt x="736" y="1804"/>
                </a:lnTo>
                <a:lnTo>
                  <a:pt x="743" y="1807"/>
                </a:lnTo>
                <a:lnTo>
                  <a:pt x="751" y="1807"/>
                </a:lnTo>
                <a:lnTo>
                  <a:pt x="759" y="1807"/>
                </a:lnTo>
                <a:lnTo>
                  <a:pt x="766" y="1804"/>
                </a:lnTo>
                <a:lnTo>
                  <a:pt x="773" y="1800"/>
                </a:lnTo>
                <a:lnTo>
                  <a:pt x="780" y="1795"/>
                </a:lnTo>
                <a:lnTo>
                  <a:pt x="850" y="1724"/>
                </a:lnTo>
                <a:lnTo>
                  <a:pt x="1003" y="1877"/>
                </a:lnTo>
                <a:lnTo>
                  <a:pt x="1009" y="1882"/>
                </a:lnTo>
                <a:lnTo>
                  <a:pt x="1016" y="1886"/>
                </a:lnTo>
                <a:lnTo>
                  <a:pt x="1024" y="1888"/>
                </a:lnTo>
                <a:lnTo>
                  <a:pt x="1032" y="1888"/>
                </a:lnTo>
                <a:lnTo>
                  <a:pt x="1032" y="1888"/>
                </a:lnTo>
                <a:lnTo>
                  <a:pt x="1032" y="1888"/>
                </a:lnTo>
                <a:lnTo>
                  <a:pt x="1299" y="1887"/>
                </a:lnTo>
                <a:lnTo>
                  <a:pt x="1307" y="1887"/>
                </a:lnTo>
                <a:lnTo>
                  <a:pt x="1315" y="1885"/>
                </a:lnTo>
                <a:lnTo>
                  <a:pt x="1321" y="1880"/>
                </a:lnTo>
                <a:lnTo>
                  <a:pt x="1327" y="1876"/>
                </a:lnTo>
                <a:lnTo>
                  <a:pt x="1704" y="1499"/>
                </a:lnTo>
                <a:lnTo>
                  <a:pt x="1704" y="1499"/>
                </a:lnTo>
                <a:lnTo>
                  <a:pt x="1704" y="1499"/>
                </a:lnTo>
                <a:lnTo>
                  <a:pt x="1704" y="1499"/>
                </a:lnTo>
                <a:lnTo>
                  <a:pt x="1704" y="1499"/>
                </a:lnTo>
                <a:lnTo>
                  <a:pt x="1892" y="1311"/>
                </a:lnTo>
                <a:lnTo>
                  <a:pt x="1898" y="1304"/>
                </a:lnTo>
                <a:lnTo>
                  <a:pt x="1901" y="1297"/>
                </a:lnTo>
                <a:lnTo>
                  <a:pt x="1903" y="1290"/>
                </a:lnTo>
                <a:lnTo>
                  <a:pt x="1904" y="1283"/>
                </a:lnTo>
                <a:lnTo>
                  <a:pt x="1903" y="1274"/>
                </a:lnTo>
                <a:lnTo>
                  <a:pt x="1901" y="1267"/>
                </a:lnTo>
                <a:lnTo>
                  <a:pt x="1898" y="1260"/>
                </a:lnTo>
                <a:lnTo>
                  <a:pt x="1892" y="1254"/>
                </a:lnTo>
                <a:lnTo>
                  <a:pt x="1787" y="1149"/>
                </a:lnTo>
                <a:lnTo>
                  <a:pt x="1963" y="973"/>
                </a:lnTo>
                <a:lnTo>
                  <a:pt x="1968" y="967"/>
                </a:lnTo>
                <a:lnTo>
                  <a:pt x="1972" y="960"/>
                </a:lnTo>
                <a:lnTo>
                  <a:pt x="1974" y="952"/>
                </a:lnTo>
                <a:lnTo>
                  <a:pt x="1975" y="945"/>
                </a:lnTo>
                <a:lnTo>
                  <a:pt x="1975" y="816"/>
                </a:lnTo>
                <a:lnTo>
                  <a:pt x="2303" y="488"/>
                </a:lnTo>
                <a:lnTo>
                  <a:pt x="2307" y="482"/>
                </a:lnTo>
                <a:lnTo>
                  <a:pt x="2312" y="476"/>
                </a:lnTo>
                <a:lnTo>
                  <a:pt x="2314" y="468"/>
                </a:lnTo>
                <a:lnTo>
                  <a:pt x="2314" y="460"/>
                </a:lnTo>
                <a:lnTo>
                  <a:pt x="2314" y="452"/>
                </a:lnTo>
                <a:lnTo>
                  <a:pt x="2312" y="445"/>
                </a:lnTo>
                <a:lnTo>
                  <a:pt x="2307" y="438"/>
                </a:lnTo>
                <a:lnTo>
                  <a:pt x="2303" y="43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42" name="Group 26">
            <a:extLst>
              <a:ext uri="{FF2B5EF4-FFF2-40B4-BE49-F238E27FC236}">
                <a16:creationId xmlns:a16="http://schemas.microsoft.com/office/drawing/2014/main" id="{63EC5D4B-4F0E-4387-A394-FE4C20AB5499}"/>
              </a:ext>
            </a:extLst>
          </p:cNvPr>
          <p:cNvGrpSpPr>
            <a:grpSpLocks noChangeAspect="1"/>
          </p:cNvGrpSpPr>
          <p:nvPr/>
        </p:nvGrpSpPr>
        <p:grpSpPr>
          <a:xfrm>
            <a:off x="4490959" y="4879041"/>
            <a:ext cx="204060" cy="285619"/>
            <a:chOff x="1701800" y="887413"/>
            <a:chExt cx="989013" cy="1384300"/>
          </a:xfrm>
          <a:solidFill>
            <a:schemeClr val="bg1"/>
          </a:solidFill>
          <a:effectLst/>
        </p:grpSpPr>
        <p:sp>
          <p:nvSpPr>
            <p:cNvPr id="943" name="Freeform 5">
              <a:extLst>
                <a:ext uri="{FF2B5EF4-FFF2-40B4-BE49-F238E27FC236}">
                  <a16:creationId xmlns:a16="http://schemas.microsoft.com/office/drawing/2014/main" id="{ABA9BC4A-37BB-4E5F-A323-2D5DE2A3DC3E}"/>
                </a:ext>
              </a:extLst>
            </p:cNvPr>
            <p:cNvSpPr>
              <a:spLocks/>
            </p:cNvSpPr>
            <p:nvPr/>
          </p:nvSpPr>
          <p:spPr bwMode="auto">
            <a:xfrm>
              <a:off x="2155825" y="1263650"/>
              <a:ext cx="393700" cy="361950"/>
            </a:xfrm>
            <a:custGeom>
              <a:avLst/>
              <a:gdLst>
                <a:gd name="T0" fmla="*/ 314 w 338"/>
                <a:gd name="T1" fmla="*/ 246 h 311"/>
                <a:gd name="T2" fmla="*/ 71 w 338"/>
                <a:gd name="T3" fmla="*/ 246 h 311"/>
                <a:gd name="T4" fmla="*/ 65 w 338"/>
                <a:gd name="T5" fmla="*/ 237 h 311"/>
                <a:gd name="T6" fmla="*/ 65 w 338"/>
                <a:gd name="T7" fmla="*/ 24 h 311"/>
                <a:gd name="T8" fmla="*/ 41 w 338"/>
                <a:gd name="T9" fmla="*/ 0 h 311"/>
                <a:gd name="T10" fmla="*/ 17 w 338"/>
                <a:gd name="T11" fmla="*/ 24 h 311"/>
                <a:gd name="T12" fmla="*/ 17 w 338"/>
                <a:gd name="T13" fmla="*/ 237 h 311"/>
                <a:gd name="T14" fmla="*/ 0 w 338"/>
                <a:gd name="T15" fmla="*/ 270 h 311"/>
                <a:gd name="T16" fmla="*/ 40 w 338"/>
                <a:gd name="T17" fmla="*/ 311 h 311"/>
                <a:gd name="T18" fmla="*/ 74 w 338"/>
                <a:gd name="T19" fmla="*/ 294 h 311"/>
                <a:gd name="T20" fmla="*/ 314 w 338"/>
                <a:gd name="T21" fmla="*/ 294 h 311"/>
                <a:gd name="T22" fmla="*/ 338 w 338"/>
                <a:gd name="T23" fmla="*/ 270 h 311"/>
                <a:gd name="T24" fmla="*/ 314 w 338"/>
                <a:gd name="T25" fmla="*/ 24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8" h="311">
                  <a:moveTo>
                    <a:pt x="314" y="246"/>
                  </a:moveTo>
                  <a:cubicBezTo>
                    <a:pt x="71" y="246"/>
                    <a:pt x="71" y="246"/>
                    <a:pt x="71" y="246"/>
                  </a:cubicBezTo>
                  <a:cubicBezTo>
                    <a:pt x="69" y="242"/>
                    <a:pt x="65" y="239"/>
                    <a:pt x="65" y="237"/>
                  </a:cubicBezTo>
                  <a:cubicBezTo>
                    <a:pt x="65" y="24"/>
                    <a:pt x="65" y="24"/>
                    <a:pt x="65" y="24"/>
                  </a:cubicBezTo>
                  <a:cubicBezTo>
                    <a:pt x="65" y="11"/>
                    <a:pt x="54" y="0"/>
                    <a:pt x="41" y="0"/>
                  </a:cubicBezTo>
                  <a:cubicBezTo>
                    <a:pt x="28" y="0"/>
                    <a:pt x="17" y="11"/>
                    <a:pt x="17" y="24"/>
                  </a:cubicBezTo>
                  <a:cubicBezTo>
                    <a:pt x="17" y="237"/>
                    <a:pt x="17" y="237"/>
                    <a:pt x="17" y="237"/>
                  </a:cubicBezTo>
                  <a:cubicBezTo>
                    <a:pt x="5" y="245"/>
                    <a:pt x="0" y="257"/>
                    <a:pt x="0" y="270"/>
                  </a:cubicBezTo>
                  <a:cubicBezTo>
                    <a:pt x="0" y="292"/>
                    <a:pt x="18" y="311"/>
                    <a:pt x="40" y="311"/>
                  </a:cubicBezTo>
                  <a:cubicBezTo>
                    <a:pt x="54" y="311"/>
                    <a:pt x="66" y="302"/>
                    <a:pt x="74" y="294"/>
                  </a:cubicBezTo>
                  <a:cubicBezTo>
                    <a:pt x="314" y="294"/>
                    <a:pt x="314" y="294"/>
                    <a:pt x="314" y="294"/>
                  </a:cubicBezTo>
                  <a:cubicBezTo>
                    <a:pt x="327" y="294"/>
                    <a:pt x="338" y="283"/>
                    <a:pt x="338" y="270"/>
                  </a:cubicBezTo>
                  <a:cubicBezTo>
                    <a:pt x="338" y="257"/>
                    <a:pt x="327" y="246"/>
                    <a:pt x="314"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6">
              <a:extLst>
                <a:ext uri="{FF2B5EF4-FFF2-40B4-BE49-F238E27FC236}">
                  <a16:creationId xmlns:a16="http://schemas.microsoft.com/office/drawing/2014/main" id="{61F9C606-79C7-4E93-9005-068197E920EA}"/>
                </a:ext>
              </a:extLst>
            </p:cNvPr>
            <p:cNvSpPr>
              <a:spLocks noEditPoints="1"/>
            </p:cNvSpPr>
            <p:nvPr/>
          </p:nvSpPr>
          <p:spPr bwMode="auto">
            <a:xfrm>
              <a:off x="1701800" y="887413"/>
              <a:ext cx="989013" cy="1384300"/>
            </a:xfrm>
            <a:custGeom>
              <a:avLst/>
              <a:gdLst>
                <a:gd name="T0" fmla="*/ 848 w 848"/>
                <a:gd name="T1" fmla="*/ 597 h 1188"/>
                <a:gd name="T2" fmla="*/ 678 w 848"/>
                <a:gd name="T3" fmla="*/ 258 h 1188"/>
                <a:gd name="T4" fmla="*/ 678 w 848"/>
                <a:gd name="T5" fmla="*/ 258 h 1188"/>
                <a:gd name="T6" fmla="*/ 678 w 848"/>
                <a:gd name="T7" fmla="*/ 24 h 1188"/>
                <a:gd name="T8" fmla="*/ 655 w 848"/>
                <a:gd name="T9" fmla="*/ 0 h 1188"/>
                <a:gd name="T10" fmla="*/ 202 w 848"/>
                <a:gd name="T11" fmla="*/ 0 h 1188"/>
                <a:gd name="T12" fmla="*/ 178 w 848"/>
                <a:gd name="T13" fmla="*/ 24 h 1188"/>
                <a:gd name="T14" fmla="*/ 178 w 848"/>
                <a:gd name="T15" fmla="*/ 251 h 1188"/>
                <a:gd name="T16" fmla="*/ 0 w 848"/>
                <a:gd name="T17" fmla="*/ 597 h 1188"/>
                <a:gd name="T18" fmla="*/ 178 w 848"/>
                <a:gd name="T19" fmla="*/ 942 h 1188"/>
                <a:gd name="T20" fmla="*/ 178 w 848"/>
                <a:gd name="T21" fmla="*/ 1162 h 1188"/>
                <a:gd name="T22" fmla="*/ 202 w 848"/>
                <a:gd name="T23" fmla="*/ 1188 h 1188"/>
                <a:gd name="T24" fmla="*/ 655 w 848"/>
                <a:gd name="T25" fmla="*/ 1188 h 1188"/>
                <a:gd name="T26" fmla="*/ 678 w 848"/>
                <a:gd name="T27" fmla="*/ 1162 h 1188"/>
                <a:gd name="T28" fmla="*/ 678 w 848"/>
                <a:gd name="T29" fmla="*/ 935 h 1188"/>
                <a:gd name="T30" fmla="*/ 848 w 848"/>
                <a:gd name="T31" fmla="*/ 597 h 1188"/>
                <a:gd name="T32" fmla="*/ 226 w 848"/>
                <a:gd name="T33" fmla="*/ 48 h 1188"/>
                <a:gd name="T34" fmla="*/ 630 w 848"/>
                <a:gd name="T35" fmla="*/ 48 h 1188"/>
                <a:gd name="T36" fmla="*/ 630 w 848"/>
                <a:gd name="T37" fmla="*/ 227 h 1188"/>
                <a:gd name="T38" fmla="*/ 423 w 848"/>
                <a:gd name="T39" fmla="*/ 172 h 1188"/>
                <a:gd name="T40" fmla="*/ 226 w 848"/>
                <a:gd name="T41" fmla="*/ 222 h 1188"/>
                <a:gd name="T42" fmla="*/ 226 w 848"/>
                <a:gd name="T43" fmla="*/ 48 h 1188"/>
                <a:gd name="T44" fmla="*/ 630 w 848"/>
                <a:gd name="T45" fmla="*/ 1140 h 1188"/>
                <a:gd name="T46" fmla="*/ 226 w 848"/>
                <a:gd name="T47" fmla="*/ 1140 h 1188"/>
                <a:gd name="T48" fmla="*/ 226 w 848"/>
                <a:gd name="T49" fmla="*/ 972 h 1188"/>
                <a:gd name="T50" fmla="*/ 423 w 848"/>
                <a:gd name="T51" fmla="*/ 1021 h 1188"/>
                <a:gd name="T52" fmla="*/ 630 w 848"/>
                <a:gd name="T53" fmla="*/ 967 h 1188"/>
                <a:gd name="T54" fmla="*/ 630 w 848"/>
                <a:gd name="T55" fmla="*/ 1140 h 1188"/>
                <a:gd name="T56" fmla="*/ 424 w 848"/>
                <a:gd name="T57" fmla="*/ 973 h 1188"/>
                <a:gd name="T58" fmla="*/ 48 w 848"/>
                <a:gd name="T59" fmla="*/ 597 h 1188"/>
                <a:gd name="T60" fmla="*/ 424 w 848"/>
                <a:gd name="T61" fmla="*/ 220 h 1188"/>
                <a:gd name="T62" fmla="*/ 801 w 848"/>
                <a:gd name="T63" fmla="*/ 597 h 1188"/>
                <a:gd name="T64" fmla="*/ 424 w 848"/>
                <a:gd name="T65" fmla="*/ 97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8" h="1188">
                  <a:moveTo>
                    <a:pt x="848" y="597"/>
                  </a:moveTo>
                  <a:cubicBezTo>
                    <a:pt x="848" y="458"/>
                    <a:pt x="781" y="335"/>
                    <a:pt x="678" y="258"/>
                  </a:cubicBezTo>
                  <a:cubicBezTo>
                    <a:pt x="678" y="258"/>
                    <a:pt x="678" y="258"/>
                    <a:pt x="678" y="258"/>
                  </a:cubicBezTo>
                  <a:cubicBezTo>
                    <a:pt x="678" y="24"/>
                    <a:pt x="678" y="24"/>
                    <a:pt x="678" y="24"/>
                  </a:cubicBezTo>
                  <a:cubicBezTo>
                    <a:pt x="678" y="11"/>
                    <a:pt x="668" y="0"/>
                    <a:pt x="655" y="0"/>
                  </a:cubicBezTo>
                  <a:cubicBezTo>
                    <a:pt x="202" y="0"/>
                    <a:pt x="202" y="0"/>
                    <a:pt x="202" y="0"/>
                  </a:cubicBezTo>
                  <a:cubicBezTo>
                    <a:pt x="189" y="0"/>
                    <a:pt x="178" y="11"/>
                    <a:pt x="178" y="24"/>
                  </a:cubicBezTo>
                  <a:cubicBezTo>
                    <a:pt x="178" y="251"/>
                    <a:pt x="178" y="251"/>
                    <a:pt x="178" y="251"/>
                  </a:cubicBezTo>
                  <a:cubicBezTo>
                    <a:pt x="70" y="328"/>
                    <a:pt x="0" y="454"/>
                    <a:pt x="0" y="597"/>
                  </a:cubicBezTo>
                  <a:cubicBezTo>
                    <a:pt x="0" y="739"/>
                    <a:pt x="70" y="865"/>
                    <a:pt x="178" y="942"/>
                  </a:cubicBezTo>
                  <a:cubicBezTo>
                    <a:pt x="178" y="1162"/>
                    <a:pt x="178" y="1162"/>
                    <a:pt x="178" y="1162"/>
                  </a:cubicBezTo>
                  <a:cubicBezTo>
                    <a:pt x="178" y="1176"/>
                    <a:pt x="189" y="1188"/>
                    <a:pt x="202" y="1188"/>
                  </a:cubicBezTo>
                  <a:cubicBezTo>
                    <a:pt x="655" y="1188"/>
                    <a:pt x="655" y="1188"/>
                    <a:pt x="655" y="1188"/>
                  </a:cubicBezTo>
                  <a:cubicBezTo>
                    <a:pt x="668" y="1188"/>
                    <a:pt x="678" y="1176"/>
                    <a:pt x="678" y="1162"/>
                  </a:cubicBezTo>
                  <a:cubicBezTo>
                    <a:pt x="678" y="935"/>
                    <a:pt x="678" y="935"/>
                    <a:pt x="678" y="935"/>
                  </a:cubicBezTo>
                  <a:cubicBezTo>
                    <a:pt x="782" y="858"/>
                    <a:pt x="848" y="735"/>
                    <a:pt x="848" y="597"/>
                  </a:cubicBezTo>
                  <a:close/>
                  <a:moveTo>
                    <a:pt x="226" y="48"/>
                  </a:moveTo>
                  <a:cubicBezTo>
                    <a:pt x="630" y="48"/>
                    <a:pt x="630" y="48"/>
                    <a:pt x="630" y="48"/>
                  </a:cubicBezTo>
                  <a:cubicBezTo>
                    <a:pt x="630" y="227"/>
                    <a:pt x="630" y="227"/>
                    <a:pt x="630" y="227"/>
                  </a:cubicBezTo>
                  <a:cubicBezTo>
                    <a:pt x="570" y="192"/>
                    <a:pt x="499" y="172"/>
                    <a:pt x="423" y="172"/>
                  </a:cubicBezTo>
                  <a:cubicBezTo>
                    <a:pt x="352" y="172"/>
                    <a:pt x="286" y="190"/>
                    <a:pt x="226" y="222"/>
                  </a:cubicBezTo>
                  <a:lnTo>
                    <a:pt x="226" y="48"/>
                  </a:lnTo>
                  <a:close/>
                  <a:moveTo>
                    <a:pt x="630" y="1140"/>
                  </a:moveTo>
                  <a:cubicBezTo>
                    <a:pt x="226" y="1140"/>
                    <a:pt x="226" y="1140"/>
                    <a:pt x="226" y="1140"/>
                  </a:cubicBezTo>
                  <a:cubicBezTo>
                    <a:pt x="226" y="972"/>
                    <a:pt x="226" y="972"/>
                    <a:pt x="226" y="972"/>
                  </a:cubicBezTo>
                  <a:cubicBezTo>
                    <a:pt x="286" y="1003"/>
                    <a:pt x="352" y="1021"/>
                    <a:pt x="423" y="1021"/>
                  </a:cubicBezTo>
                  <a:cubicBezTo>
                    <a:pt x="499" y="1021"/>
                    <a:pt x="570" y="1001"/>
                    <a:pt x="630" y="967"/>
                  </a:cubicBezTo>
                  <a:lnTo>
                    <a:pt x="630" y="1140"/>
                  </a:lnTo>
                  <a:close/>
                  <a:moveTo>
                    <a:pt x="424" y="973"/>
                  </a:moveTo>
                  <a:cubicBezTo>
                    <a:pt x="216" y="973"/>
                    <a:pt x="48" y="804"/>
                    <a:pt x="48" y="597"/>
                  </a:cubicBezTo>
                  <a:cubicBezTo>
                    <a:pt x="48" y="389"/>
                    <a:pt x="216" y="220"/>
                    <a:pt x="424" y="220"/>
                  </a:cubicBezTo>
                  <a:cubicBezTo>
                    <a:pt x="632" y="220"/>
                    <a:pt x="801" y="389"/>
                    <a:pt x="801" y="597"/>
                  </a:cubicBezTo>
                  <a:cubicBezTo>
                    <a:pt x="801" y="804"/>
                    <a:pt x="632" y="973"/>
                    <a:pt x="424" y="9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8" name="Group 27">
            <a:extLst>
              <a:ext uri="{FF2B5EF4-FFF2-40B4-BE49-F238E27FC236}">
                <a16:creationId xmlns:a16="http://schemas.microsoft.com/office/drawing/2014/main" id="{348C31B0-018F-4766-ADA3-1C381C932987}"/>
              </a:ext>
            </a:extLst>
          </p:cNvPr>
          <p:cNvGrpSpPr>
            <a:grpSpLocks noChangeAspect="1"/>
          </p:cNvGrpSpPr>
          <p:nvPr/>
        </p:nvGrpSpPr>
        <p:grpSpPr>
          <a:xfrm>
            <a:off x="4450180" y="3801969"/>
            <a:ext cx="285619" cy="285619"/>
            <a:chOff x="9882188" y="4217988"/>
            <a:chExt cx="285750" cy="285750"/>
          </a:xfrm>
          <a:solidFill>
            <a:schemeClr val="bg1"/>
          </a:solidFill>
          <a:effectLst/>
        </p:grpSpPr>
        <p:sp>
          <p:nvSpPr>
            <p:cNvPr id="929" name="Freeform 309">
              <a:extLst>
                <a:ext uri="{FF2B5EF4-FFF2-40B4-BE49-F238E27FC236}">
                  <a16:creationId xmlns:a16="http://schemas.microsoft.com/office/drawing/2014/main" id="{79A714B4-0142-4593-A02C-E9EFA8D747EF}"/>
                </a:ext>
              </a:extLst>
            </p:cNvPr>
            <p:cNvSpPr>
              <a:spLocks noEditPoints="1"/>
            </p:cNvSpPr>
            <p:nvPr/>
          </p:nvSpPr>
          <p:spPr bwMode="auto">
            <a:xfrm>
              <a:off x="10034588" y="4217988"/>
              <a:ext cx="133350" cy="133350"/>
            </a:xfrm>
            <a:custGeom>
              <a:avLst/>
              <a:gdLst>
                <a:gd name="T0" fmla="*/ 30 w 421"/>
                <a:gd name="T1" fmla="*/ 30 h 421"/>
                <a:gd name="T2" fmla="*/ 66 w 421"/>
                <a:gd name="T3" fmla="*/ 33 h 421"/>
                <a:gd name="T4" fmla="*/ 102 w 421"/>
                <a:gd name="T5" fmla="*/ 40 h 421"/>
                <a:gd name="T6" fmla="*/ 136 w 421"/>
                <a:gd name="T7" fmla="*/ 49 h 421"/>
                <a:gd name="T8" fmla="*/ 168 w 421"/>
                <a:gd name="T9" fmla="*/ 62 h 421"/>
                <a:gd name="T10" fmla="*/ 199 w 421"/>
                <a:gd name="T11" fmla="*/ 78 h 421"/>
                <a:gd name="T12" fmla="*/ 228 w 421"/>
                <a:gd name="T13" fmla="*/ 97 h 421"/>
                <a:gd name="T14" fmla="*/ 256 w 421"/>
                <a:gd name="T15" fmla="*/ 117 h 421"/>
                <a:gd name="T16" fmla="*/ 281 w 421"/>
                <a:gd name="T17" fmla="*/ 140 h 421"/>
                <a:gd name="T18" fmla="*/ 304 w 421"/>
                <a:gd name="T19" fmla="*/ 165 h 421"/>
                <a:gd name="T20" fmla="*/ 325 w 421"/>
                <a:gd name="T21" fmla="*/ 193 h 421"/>
                <a:gd name="T22" fmla="*/ 344 w 421"/>
                <a:gd name="T23" fmla="*/ 222 h 421"/>
                <a:gd name="T24" fmla="*/ 359 w 421"/>
                <a:gd name="T25" fmla="*/ 253 h 421"/>
                <a:gd name="T26" fmla="*/ 372 w 421"/>
                <a:gd name="T27" fmla="*/ 285 h 421"/>
                <a:gd name="T28" fmla="*/ 381 w 421"/>
                <a:gd name="T29" fmla="*/ 319 h 421"/>
                <a:gd name="T30" fmla="*/ 388 w 421"/>
                <a:gd name="T31" fmla="*/ 355 h 421"/>
                <a:gd name="T32" fmla="*/ 391 w 421"/>
                <a:gd name="T33" fmla="*/ 391 h 421"/>
                <a:gd name="T34" fmla="*/ 15 w 421"/>
                <a:gd name="T35" fmla="*/ 0 h 421"/>
                <a:gd name="T36" fmla="*/ 10 w 421"/>
                <a:gd name="T37" fmla="*/ 1 h 421"/>
                <a:gd name="T38" fmla="*/ 5 w 421"/>
                <a:gd name="T39" fmla="*/ 4 h 421"/>
                <a:gd name="T40" fmla="*/ 2 w 421"/>
                <a:gd name="T41" fmla="*/ 9 h 421"/>
                <a:gd name="T42" fmla="*/ 0 w 421"/>
                <a:gd name="T43" fmla="*/ 15 h 421"/>
                <a:gd name="T44" fmla="*/ 1 w 421"/>
                <a:gd name="T45" fmla="*/ 408 h 421"/>
                <a:gd name="T46" fmla="*/ 3 w 421"/>
                <a:gd name="T47" fmla="*/ 414 h 421"/>
                <a:gd name="T48" fmla="*/ 7 w 421"/>
                <a:gd name="T49" fmla="*/ 418 h 421"/>
                <a:gd name="T50" fmla="*/ 13 w 421"/>
                <a:gd name="T51" fmla="*/ 420 h 421"/>
                <a:gd name="T52" fmla="*/ 406 w 421"/>
                <a:gd name="T53" fmla="*/ 421 h 421"/>
                <a:gd name="T54" fmla="*/ 412 w 421"/>
                <a:gd name="T55" fmla="*/ 420 h 421"/>
                <a:gd name="T56" fmla="*/ 417 w 421"/>
                <a:gd name="T57" fmla="*/ 417 h 421"/>
                <a:gd name="T58" fmla="*/ 420 w 421"/>
                <a:gd name="T59" fmla="*/ 411 h 421"/>
                <a:gd name="T60" fmla="*/ 421 w 421"/>
                <a:gd name="T61" fmla="*/ 406 h 421"/>
                <a:gd name="T62" fmla="*/ 419 w 421"/>
                <a:gd name="T63" fmla="*/ 364 h 421"/>
                <a:gd name="T64" fmla="*/ 413 w 421"/>
                <a:gd name="T65" fmla="*/ 324 h 421"/>
                <a:gd name="T66" fmla="*/ 403 w 421"/>
                <a:gd name="T67" fmla="*/ 285 h 421"/>
                <a:gd name="T68" fmla="*/ 390 w 421"/>
                <a:gd name="T69" fmla="*/ 248 h 421"/>
                <a:gd name="T70" fmla="*/ 373 w 421"/>
                <a:gd name="T71" fmla="*/ 212 h 421"/>
                <a:gd name="T72" fmla="*/ 352 w 421"/>
                <a:gd name="T73" fmla="*/ 179 h 421"/>
                <a:gd name="T74" fmla="*/ 329 w 421"/>
                <a:gd name="T75" fmla="*/ 148 h 421"/>
                <a:gd name="T76" fmla="*/ 302 w 421"/>
                <a:gd name="T77" fmla="*/ 119 h 421"/>
                <a:gd name="T78" fmla="*/ 273 w 421"/>
                <a:gd name="T79" fmla="*/ 92 h 421"/>
                <a:gd name="T80" fmla="*/ 242 w 421"/>
                <a:gd name="T81" fmla="*/ 69 h 421"/>
                <a:gd name="T82" fmla="*/ 209 w 421"/>
                <a:gd name="T83" fmla="*/ 48 h 421"/>
                <a:gd name="T84" fmla="*/ 174 w 421"/>
                <a:gd name="T85" fmla="*/ 31 h 421"/>
                <a:gd name="T86" fmla="*/ 136 w 421"/>
                <a:gd name="T87" fmla="*/ 18 h 421"/>
                <a:gd name="T88" fmla="*/ 97 w 421"/>
                <a:gd name="T89" fmla="*/ 8 h 421"/>
                <a:gd name="T90" fmla="*/ 57 w 421"/>
                <a:gd name="T91" fmla="*/ 2 h 421"/>
                <a:gd name="T92" fmla="*/ 15 w 421"/>
                <a:gd name="T93"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1" h="421">
                  <a:moveTo>
                    <a:pt x="30" y="390"/>
                  </a:moveTo>
                  <a:lnTo>
                    <a:pt x="30" y="30"/>
                  </a:lnTo>
                  <a:lnTo>
                    <a:pt x="48" y="31"/>
                  </a:lnTo>
                  <a:lnTo>
                    <a:pt x="66" y="33"/>
                  </a:lnTo>
                  <a:lnTo>
                    <a:pt x="85" y="37"/>
                  </a:lnTo>
                  <a:lnTo>
                    <a:pt x="102" y="40"/>
                  </a:lnTo>
                  <a:lnTo>
                    <a:pt x="119" y="44"/>
                  </a:lnTo>
                  <a:lnTo>
                    <a:pt x="136" y="49"/>
                  </a:lnTo>
                  <a:lnTo>
                    <a:pt x="152" y="56"/>
                  </a:lnTo>
                  <a:lnTo>
                    <a:pt x="168" y="62"/>
                  </a:lnTo>
                  <a:lnTo>
                    <a:pt x="184" y="70"/>
                  </a:lnTo>
                  <a:lnTo>
                    <a:pt x="199" y="78"/>
                  </a:lnTo>
                  <a:lnTo>
                    <a:pt x="214" y="87"/>
                  </a:lnTo>
                  <a:lnTo>
                    <a:pt x="228" y="97"/>
                  </a:lnTo>
                  <a:lnTo>
                    <a:pt x="242" y="106"/>
                  </a:lnTo>
                  <a:lnTo>
                    <a:pt x="256" y="117"/>
                  </a:lnTo>
                  <a:lnTo>
                    <a:pt x="269" y="129"/>
                  </a:lnTo>
                  <a:lnTo>
                    <a:pt x="281" y="140"/>
                  </a:lnTo>
                  <a:lnTo>
                    <a:pt x="293" y="152"/>
                  </a:lnTo>
                  <a:lnTo>
                    <a:pt x="304" y="165"/>
                  </a:lnTo>
                  <a:lnTo>
                    <a:pt x="315" y="179"/>
                  </a:lnTo>
                  <a:lnTo>
                    <a:pt x="325" y="193"/>
                  </a:lnTo>
                  <a:lnTo>
                    <a:pt x="334" y="207"/>
                  </a:lnTo>
                  <a:lnTo>
                    <a:pt x="344" y="222"/>
                  </a:lnTo>
                  <a:lnTo>
                    <a:pt x="351" y="237"/>
                  </a:lnTo>
                  <a:lnTo>
                    <a:pt x="359" y="253"/>
                  </a:lnTo>
                  <a:lnTo>
                    <a:pt x="365" y="269"/>
                  </a:lnTo>
                  <a:lnTo>
                    <a:pt x="372" y="285"/>
                  </a:lnTo>
                  <a:lnTo>
                    <a:pt x="377" y="302"/>
                  </a:lnTo>
                  <a:lnTo>
                    <a:pt x="381" y="319"/>
                  </a:lnTo>
                  <a:lnTo>
                    <a:pt x="385" y="337"/>
                  </a:lnTo>
                  <a:lnTo>
                    <a:pt x="388" y="355"/>
                  </a:lnTo>
                  <a:lnTo>
                    <a:pt x="390" y="373"/>
                  </a:lnTo>
                  <a:lnTo>
                    <a:pt x="391" y="391"/>
                  </a:lnTo>
                  <a:lnTo>
                    <a:pt x="30" y="390"/>
                  </a:lnTo>
                  <a:close/>
                  <a:moveTo>
                    <a:pt x="15" y="0"/>
                  </a:moveTo>
                  <a:lnTo>
                    <a:pt x="13" y="0"/>
                  </a:lnTo>
                  <a:lnTo>
                    <a:pt x="10" y="1"/>
                  </a:lnTo>
                  <a:lnTo>
                    <a:pt x="7" y="2"/>
                  </a:lnTo>
                  <a:lnTo>
                    <a:pt x="5" y="4"/>
                  </a:lnTo>
                  <a:lnTo>
                    <a:pt x="3" y="7"/>
                  </a:lnTo>
                  <a:lnTo>
                    <a:pt x="2" y="9"/>
                  </a:lnTo>
                  <a:lnTo>
                    <a:pt x="1" y="12"/>
                  </a:lnTo>
                  <a:lnTo>
                    <a:pt x="0" y="15"/>
                  </a:lnTo>
                  <a:lnTo>
                    <a:pt x="0" y="406"/>
                  </a:lnTo>
                  <a:lnTo>
                    <a:pt x="1" y="408"/>
                  </a:lnTo>
                  <a:lnTo>
                    <a:pt x="2" y="411"/>
                  </a:lnTo>
                  <a:lnTo>
                    <a:pt x="3" y="414"/>
                  </a:lnTo>
                  <a:lnTo>
                    <a:pt x="5" y="417"/>
                  </a:lnTo>
                  <a:lnTo>
                    <a:pt x="7" y="418"/>
                  </a:lnTo>
                  <a:lnTo>
                    <a:pt x="10" y="420"/>
                  </a:lnTo>
                  <a:lnTo>
                    <a:pt x="13" y="420"/>
                  </a:lnTo>
                  <a:lnTo>
                    <a:pt x="15" y="421"/>
                  </a:lnTo>
                  <a:lnTo>
                    <a:pt x="406" y="421"/>
                  </a:lnTo>
                  <a:lnTo>
                    <a:pt x="409" y="420"/>
                  </a:lnTo>
                  <a:lnTo>
                    <a:pt x="412" y="420"/>
                  </a:lnTo>
                  <a:lnTo>
                    <a:pt x="415" y="418"/>
                  </a:lnTo>
                  <a:lnTo>
                    <a:pt x="417" y="417"/>
                  </a:lnTo>
                  <a:lnTo>
                    <a:pt x="419" y="414"/>
                  </a:lnTo>
                  <a:lnTo>
                    <a:pt x="420" y="411"/>
                  </a:lnTo>
                  <a:lnTo>
                    <a:pt x="421" y="408"/>
                  </a:lnTo>
                  <a:lnTo>
                    <a:pt x="421" y="406"/>
                  </a:lnTo>
                  <a:lnTo>
                    <a:pt x="421" y="385"/>
                  </a:lnTo>
                  <a:lnTo>
                    <a:pt x="419" y="364"/>
                  </a:lnTo>
                  <a:lnTo>
                    <a:pt x="417" y="344"/>
                  </a:lnTo>
                  <a:lnTo>
                    <a:pt x="413" y="324"/>
                  </a:lnTo>
                  <a:lnTo>
                    <a:pt x="408" y="304"/>
                  </a:lnTo>
                  <a:lnTo>
                    <a:pt x="403" y="285"/>
                  </a:lnTo>
                  <a:lnTo>
                    <a:pt x="396" y="266"/>
                  </a:lnTo>
                  <a:lnTo>
                    <a:pt x="390" y="248"/>
                  </a:lnTo>
                  <a:lnTo>
                    <a:pt x="381" y="229"/>
                  </a:lnTo>
                  <a:lnTo>
                    <a:pt x="373" y="212"/>
                  </a:lnTo>
                  <a:lnTo>
                    <a:pt x="362" y="195"/>
                  </a:lnTo>
                  <a:lnTo>
                    <a:pt x="352" y="179"/>
                  </a:lnTo>
                  <a:lnTo>
                    <a:pt x="341" y="163"/>
                  </a:lnTo>
                  <a:lnTo>
                    <a:pt x="329" y="148"/>
                  </a:lnTo>
                  <a:lnTo>
                    <a:pt x="316" y="133"/>
                  </a:lnTo>
                  <a:lnTo>
                    <a:pt x="302" y="119"/>
                  </a:lnTo>
                  <a:lnTo>
                    <a:pt x="288" y="105"/>
                  </a:lnTo>
                  <a:lnTo>
                    <a:pt x="273" y="92"/>
                  </a:lnTo>
                  <a:lnTo>
                    <a:pt x="258" y="80"/>
                  </a:lnTo>
                  <a:lnTo>
                    <a:pt x="242" y="69"/>
                  </a:lnTo>
                  <a:lnTo>
                    <a:pt x="226" y="59"/>
                  </a:lnTo>
                  <a:lnTo>
                    <a:pt x="209" y="48"/>
                  </a:lnTo>
                  <a:lnTo>
                    <a:pt x="192" y="40"/>
                  </a:lnTo>
                  <a:lnTo>
                    <a:pt x="174" y="31"/>
                  </a:lnTo>
                  <a:lnTo>
                    <a:pt x="155" y="25"/>
                  </a:lnTo>
                  <a:lnTo>
                    <a:pt x="136" y="18"/>
                  </a:lnTo>
                  <a:lnTo>
                    <a:pt x="117" y="13"/>
                  </a:lnTo>
                  <a:lnTo>
                    <a:pt x="97" y="8"/>
                  </a:lnTo>
                  <a:lnTo>
                    <a:pt x="77" y="4"/>
                  </a:lnTo>
                  <a:lnTo>
                    <a:pt x="57" y="2"/>
                  </a:lnTo>
                  <a:lnTo>
                    <a:pt x="36"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930" name="Freeform 310">
              <a:extLst>
                <a:ext uri="{FF2B5EF4-FFF2-40B4-BE49-F238E27FC236}">
                  <a16:creationId xmlns:a16="http://schemas.microsoft.com/office/drawing/2014/main" id="{5506ACFA-3299-4999-A674-B961F666A872}"/>
                </a:ext>
              </a:extLst>
            </p:cNvPr>
            <p:cNvSpPr>
              <a:spLocks noEditPoints="1"/>
            </p:cNvSpPr>
            <p:nvPr/>
          </p:nvSpPr>
          <p:spPr bwMode="auto">
            <a:xfrm>
              <a:off x="9882188" y="4246563"/>
              <a:ext cx="257175" cy="257175"/>
            </a:xfrm>
            <a:custGeom>
              <a:avLst/>
              <a:gdLst>
                <a:gd name="T0" fmla="*/ 349 w 812"/>
                <a:gd name="T1" fmla="*/ 778 h 812"/>
                <a:gd name="T2" fmla="*/ 277 w 812"/>
                <a:gd name="T3" fmla="*/ 759 h 812"/>
                <a:gd name="T4" fmla="*/ 211 w 812"/>
                <a:gd name="T5" fmla="*/ 727 h 812"/>
                <a:gd name="T6" fmla="*/ 153 w 812"/>
                <a:gd name="T7" fmla="*/ 684 h 812"/>
                <a:gd name="T8" fmla="*/ 105 w 812"/>
                <a:gd name="T9" fmla="*/ 631 h 812"/>
                <a:gd name="T10" fmla="*/ 67 w 812"/>
                <a:gd name="T11" fmla="*/ 569 h 812"/>
                <a:gd name="T12" fmla="*/ 42 w 812"/>
                <a:gd name="T13" fmla="*/ 499 h 812"/>
                <a:gd name="T14" fmla="*/ 31 w 812"/>
                <a:gd name="T15" fmla="*/ 425 h 812"/>
                <a:gd name="T16" fmla="*/ 34 w 812"/>
                <a:gd name="T17" fmla="*/ 350 h 812"/>
                <a:gd name="T18" fmla="*/ 52 w 812"/>
                <a:gd name="T19" fmla="*/ 280 h 812"/>
                <a:gd name="T20" fmla="*/ 82 w 812"/>
                <a:gd name="T21" fmla="*/ 215 h 812"/>
                <a:gd name="T22" fmla="*/ 124 w 812"/>
                <a:gd name="T23" fmla="*/ 159 h 812"/>
                <a:gd name="T24" fmla="*/ 175 w 812"/>
                <a:gd name="T25" fmla="*/ 109 h 812"/>
                <a:gd name="T26" fmla="*/ 235 w 812"/>
                <a:gd name="T27" fmla="*/ 72 h 812"/>
                <a:gd name="T28" fmla="*/ 301 w 812"/>
                <a:gd name="T29" fmla="*/ 45 h 812"/>
                <a:gd name="T30" fmla="*/ 373 w 812"/>
                <a:gd name="T31" fmla="*/ 31 h 812"/>
                <a:gd name="T32" fmla="*/ 392 w 812"/>
                <a:gd name="T33" fmla="*/ 411 h 812"/>
                <a:gd name="T34" fmla="*/ 401 w 812"/>
                <a:gd name="T35" fmla="*/ 420 h 812"/>
                <a:gd name="T36" fmla="*/ 781 w 812"/>
                <a:gd name="T37" fmla="*/ 439 h 812"/>
                <a:gd name="T38" fmla="*/ 767 w 812"/>
                <a:gd name="T39" fmla="*/ 511 h 812"/>
                <a:gd name="T40" fmla="*/ 740 w 812"/>
                <a:gd name="T41" fmla="*/ 578 h 812"/>
                <a:gd name="T42" fmla="*/ 703 w 812"/>
                <a:gd name="T43" fmla="*/ 637 h 812"/>
                <a:gd name="T44" fmla="*/ 653 w 812"/>
                <a:gd name="T45" fmla="*/ 688 h 812"/>
                <a:gd name="T46" fmla="*/ 597 w 812"/>
                <a:gd name="T47" fmla="*/ 730 h 812"/>
                <a:gd name="T48" fmla="*/ 532 w 812"/>
                <a:gd name="T49" fmla="*/ 760 h 812"/>
                <a:gd name="T50" fmla="*/ 462 w 812"/>
                <a:gd name="T51" fmla="*/ 778 h 812"/>
                <a:gd name="T52" fmla="*/ 797 w 812"/>
                <a:gd name="T53" fmla="*/ 391 h 812"/>
                <a:gd name="T54" fmla="*/ 420 w 812"/>
                <a:gd name="T55" fmla="*/ 9 h 812"/>
                <a:gd name="T56" fmla="*/ 412 w 812"/>
                <a:gd name="T57" fmla="*/ 1 h 812"/>
                <a:gd name="T58" fmla="*/ 365 w 812"/>
                <a:gd name="T59" fmla="*/ 2 h 812"/>
                <a:gd name="T60" fmla="*/ 286 w 812"/>
                <a:gd name="T61" fmla="*/ 18 h 812"/>
                <a:gd name="T62" fmla="*/ 213 w 812"/>
                <a:gd name="T63" fmla="*/ 49 h 812"/>
                <a:gd name="T64" fmla="*/ 148 w 812"/>
                <a:gd name="T65" fmla="*/ 92 h 812"/>
                <a:gd name="T66" fmla="*/ 93 w 812"/>
                <a:gd name="T67" fmla="*/ 148 h 812"/>
                <a:gd name="T68" fmla="*/ 49 w 812"/>
                <a:gd name="T69" fmla="*/ 212 h 812"/>
                <a:gd name="T70" fmla="*/ 18 w 812"/>
                <a:gd name="T71" fmla="*/ 285 h 812"/>
                <a:gd name="T72" fmla="*/ 2 w 812"/>
                <a:gd name="T73" fmla="*/ 364 h 812"/>
                <a:gd name="T74" fmla="*/ 2 w 812"/>
                <a:gd name="T75" fmla="*/ 448 h 812"/>
                <a:gd name="T76" fmla="*/ 18 w 812"/>
                <a:gd name="T77" fmla="*/ 526 h 812"/>
                <a:gd name="T78" fmla="*/ 49 w 812"/>
                <a:gd name="T79" fmla="*/ 599 h 812"/>
                <a:gd name="T80" fmla="*/ 93 w 812"/>
                <a:gd name="T81" fmla="*/ 664 h 812"/>
                <a:gd name="T82" fmla="*/ 148 w 812"/>
                <a:gd name="T83" fmla="*/ 719 h 812"/>
                <a:gd name="T84" fmla="*/ 213 w 812"/>
                <a:gd name="T85" fmla="*/ 763 h 812"/>
                <a:gd name="T86" fmla="*/ 286 w 812"/>
                <a:gd name="T87" fmla="*/ 794 h 812"/>
                <a:gd name="T88" fmla="*/ 365 w 812"/>
                <a:gd name="T89" fmla="*/ 810 h 812"/>
                <a:gd name="T90" fmla="*/ 448 w 812"/>
                <a:gd name="T91" fmla="*/ 810 h 812"/>
                <a:gd name="T92" fmla="*/ 527 w 812"/>
                <a:gd name="T93" fmla="*/ 794 h 812"/>
                <a:gd name="T94" fmla="*/ 600 w 812"/>
                <a:gd name="T95" fmla="*/ 763 h 812"/>
                <a:gd name="T96" fmla="*/ 664 w 812"/>
                <a:gd name="T97" fmla="*/ 719 h 812"/>
                <a:gd name="T98" fmla="*/ 720 w 812"/>
                <a:gd name="T99" fmla="*/ 664 h 812"/>
                <a:gd name="T100" fmla="*/ 763 w 812"/>
                <a:gd name="T101" fmla="*/ 599 h 812"/>
                <a:gd name="T102" fmla="*/ 794 w 812"/>
                <a:gd name="T103" fmla="*/ 526 h 812"/>
                <a:gd name="T104" fmla="*/ 810 w 812"/>
                <a:gd name="T105" fmla="*/ 448 h 812"/>
                <a:gd name="T106" fmla="*/ 811 w 812"/>
                <a:gd name="T107" fmla="*/ 400 h 812"/>
                <a:gd name="T108" fmla="*/ 803 w 812"/>
                <a:gd name="T109" fmla="*/ 392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2" h="812">
                  <a:moveTo>
                    <a:pt x="406" y="782"/>
                  </a:moveTo>
                  <a:lnTo>
                    <a:pt x="387" y="781"/>
                  </a:lnTo>
                  <a:lnTo>
                    <a:pt x="367" y="780"/>
                  </a:lnTo>
                  <a:lnTo>
                    <a:pt x="349" y="778"/>
                  </a:lnTo>
                  <a:lnTo>
                    <a:pt x="331" y="775"/>
                  </a:lnTo>
                  <a:lnTo>
                    <a:pt x="313" y="770"/>
                  </a:lnTo>
                  <a:lnTo>
                    <a:pt x="295" y="765"/>
                  </a:lnTo>
                  <a:lnTo>
                    <a:pt x="277" y="759"/>
                  </a:lnTo>
                  <a:lnTo>
                    <a:pt x="260" y="752"/>
                  </a:lnTo>
                  <a:lnTo>
                    <a:pt x="243" y="745"/>
                  </a:lnTo>
                  <a:lnTo>
                    <a:pt x="227" y="736"/>
                  </a:lnTo>
                  <a:lnTo>
                    <a:pt x="211" y="727"/>
                  </a:lnTo>
                  <a:lnTo>
                    <a:pt x="196" y="718"/>
                  </a:lnTo>
                  <a:lnTo>
                    <a:pt x="181" y="707"/>
                  </a:lnTo>
                  <a:lnTo>
                    <a:pt x="167" y="695"/>
                  </a:lnTo>
                  <a:lnTo>
                    <a:pt x="153" y="684"/>
                  </a:lnTo>
                  <a:lnTo>
                    <a:pt x="140" y="672"/>
                  </a:lnTo>
                  <a:lnTo>
                    <a:pt x="129" y="659"/>
                  </a:lnTo>
                  <a:lnTo>
                    <a:pt x="117" y="645"/>
                  </a:lnTo>
                  <a:lnTo>
                    <a:pt x="105" y="631"/>
                  </a:lnTo>
                  <a:lnTo>
                    <a:pt x="94" y="616"/>
                  </a:lnTo>
                  <a:lnTo>
                    <a:pt x="85" y="601"/>
                  </a:lnTo>
                  <a:lnTo>
                    <a:pt x="76" y="585"/>
                  </a:lnTo>
                  <a:lnTo>
                    <a:pt x="67" y="569"/>
                  </a:lnTo>
                  <a:lnTo>
                    <a:pt x="60" y="552"/>
                  </a:lnTo>
                  <a:lnTo>
                    <a:pt x="54" y="535"/>
                  </a:lnTo>
                  <a:lnTo>
                    <a:pt x="47" y="518"/>
                  </a:lnTo>
                  <a:lnTo>
                    <a:pt x="42" y="499"/>
                  </a:lnTo>
                  <a:lnTo>
                    <a:pt x="37" y="481"/>
                  </a:lnTo>
                  <a:lnTo>
                    <a:pt x="34" y="463"/>
                  </a:lnTo>
                  <a:lnTo>
                    <a:pt x="32" y="445"/>
                  </a:lnTo>
                  <a:lnTo>
                    <a:pt x="31" y="425"/>
                  </a:lnTo>
                  <a:lnTo>
                    <a:pt x="30" y="406"/>
                  </a:lnTo>
                  <a:lnTo>
                    <a:pt x="31" y="387"/>
                  </a:lnTo>
                  <a:lnTo>
                    <a:pt x="32" y="369"/>
                  </a:lnTo>
                  <a:lnTo>
                    <a:pt x="34" y="350"/>
                  </a:lnTo>
                  <a:lnTo>
                    <a:pt x="37" y="332"/>
                  </a:lnTo>
                  <a:lnTo>
                    <a:pt x="42" y="314"/>
                  </a:lnTo>
                  <a:lnTo>
                    <a:pt x="46" y="297"/>
                  </a:lnTo>
                  <a:lnTo>
                    <a:pt x="52" y="280"/>
                  </a:lnTo>
                  <a:lnTo>
                    <a:pt x="59" y="263"/>
                  </a:lnTo>
                  <a:lnTo>
                    <a:pt x="65" y="247"/>
                  </a:lnTo>
                  <a:lnTo>
                    <a:pt x="74" y="230"/>
                  </a:lnTo>
                  <a:lnTo>
                    <a:pt x="82" y="215"/>
                  </a:lnTo>
                  <a:lnTo>
                    <a:pt x="92" y="200"/>
                  </a:lnTo>
                  <a:lnTo>
                    <a:pt x="102" y="185"/>
                  </a:lnTo>
                  <a:lnTo>
                    <a:pt x="112" y="172"/>
                  </a:lnTo>
                  <a:lnTo>
                    <a:pt x="124" y="159"/>
                  </a:lnTo>
                  <a:lnTo>
                    <a:pt x="136" y="145"/>
                  </a:lnTo>
                  <a:lnTo>
                    <a:pt x="148" y="133"/>
                  </a:lnTo>
                  <a:lnTo>
                    <a:pt x="162" y="121"/>
                  </a:lnTo>
                  <a:lnTo>
                    <a:pt x="175" y="109"/>
                  </a:lnTo>
                  <a:lnTo>
                    <a:pt x="189" y="100"/>
                  </a:lnTo>
                  <a:lnTo>
                    <a:pt x="204" y="89"/>
                  </a:lnTo>
                  <a:lnTo>
                    <a:pt x="219" y="80"/>
                  </a:lnTo>
                  <a:lnTo>
                    <a:pt x="235" y="72"/>
                  </a:lnTo>
                  <a:lnTo>
                    <a:pt x="251" y="64"/>
                  </a:lnTo>
                  <a:lnTo>
                    <a:pt x="267" y="57"/>
                  </a:lnTo>
                  <a:lnTo>
                    <a:pt x="284" y="50"/>
                  </a:lnTo>
                  <a:lnTo>
                    <a:pt x="301" y="45"/>
                  </a:lnTo>
                  <a:lnTo>
                    <a:pt x="318" y="41"/>
                  </a:lnTo>
                  <a:lnTo>
                    <a:pt x="336" y="37"/>
                  </a:lnTo>
                  <a:lnTo>
                    <a:pt x="355" y="33"/>
                  </a:lnTo>
                  <a:lnTo>
                    <a:pt x="373" y="31"/>
                  </a:lnTo>
                  <a:lnTo>
                    <a:pt x="391" y="30"/>
                  </a:lnTo>
                  <a:lnTo>
                    <a:pt x="391" y="406"/>
                  </a:lnTo>
                  <a:lnTo>
                    <a:pt x="391" y="409"/>
                  </a:lnTo>
                  <a:lnTo>
                    <a:pt x="392" y="411"/>
                  </a:lnTo>
                  <a:lnTo>
                    <a:pt x="394" y="415"/>
                  </a:lnTo>
                  <a:lnTo>
                    <a:pt x="395" y="417"/>
                  </a:lnTo>
                  <a:lnTo>
                    <a:pt x="397" y="418"/>
                  </a:lnTo>
                  <a:lnTo>
                    <a:pt x="401" y="420"/>
                  </a:lnTo>
                  <a:lnTo>
                    <a:pt x="403" y="421"/>
                  </a:lnTo>
                  <a:lnTo>
                    <a:pt x="406" y="421"/>
                  </a:lnTo>
                  <a:lnTo>
                    <a:pt x="782" y="421"/>
                  </a:lnTo>
                  <a:lnTo>
                    <a:pt x="781" y="439"/>
                  </a:lnTo>
                  <a:lnTo>
                    <a:pt x="779" y="458"/>
                  </a:lnTo>
                  <a:lnTo>
                    <a:pt x="776" y="476"/>
                  </a:lnTo>
                  <a:lnTo>
                    <a:pt x="771" y="494"/>
                  </a:lnTo>
                  <a:lnTo>
                    <a:pt x="767" y="511"/>
                  </a:lnTo>
                  <a:lnTo>
                    <a:pt x="762" y="528"/>
                  </a:lnTo>
                  <a:lnTo>
                    <a:pt x="755" y="545"/>
                  </a:lnTo>
                  <a:lnTo>
                    <a:pt x="748" y="561"/>
                  </a:lnTo>
                  <a:lnTo>
                    <a:pt x="740" y="578"/>
                  </a:lnTo>
                  <a:lnTo>
                    <a:pt x="732" y="594"/>
                  </a:lnTo>
                  <a:lnTo>
                    <a:pt x="723" y="609"/>
                  </a:lnTo>
                  <a:lnTo>
                    <a:pt x="712" y="624"/>
                  </a:lnTo>
                  <a:lnTo>
                    <a:pt x="703" y="637"/>
                  </a:lnTo>
                  <a:lnTo>
                    <a:pt x="691" y="650"/>
                  </a:lnTo>
                  <a:lnTo>
                    <a:pt x="679" y="664"/>
                  </a:lnTo>
                  <a:lnTo>
                    <a:pt x="667" y="676"/>
                  </a:lnTo>
                  <a:lnTo>
                    <a:pt x="653" y="688"/>
                  </a:lnTo>
                  <a:lnTo>
                    <a:pt x="641" y="700"/>
                  </a:lnTo>
                  <a:lnTo>
                    <a:pt x="627" y="710"/>
                  </a:lnTo>
                  <a:lnTo>
                    <a:pt x="612" y="720"/>
                  </a:lnTo>
                  <a:lnTo>
                    <a:pt x="597" y="730"/>
                  </a:lnTo>
                  <a:lnTo>
                    <a:pt x="582" y="738"/>
                  </a:lnTo>
                  <a:lnTo>
                    <a:pt x="566" y="747"/>
                  </a:lnTo>
                  <a:lnTo>
                    <a:pt x="550" y="753"/>
                  </a:lnTo>
                  <a:lnTo>
                    <a:pt x="532" y="760"/>
                  </a:lnTo>
                  <a:lnTo>
                    <a:pt x="515" y="766"/>
                  </a:lnTo>
                  <a:lnTo>
                    <a:pt x="498" y="770"/>
                  </a:lnTo>
                  <a:lnTo>
                    <a:pt x="480" y="775"/>
                  </a:lnTo>
                  <a:lnTo>
                    <a:pt x="462" y="778"/>
                  </a:lnTo>
                  <a:lnTo>
                    <a:pt x="443" y="780"/>
                  </a:lnTo>
                  <a:lnTo>
                    <a:pt x="425" y="781"/>
                  </a:lnTo>
                  <a:lnTo>
                    <a:pt x="406" y="782"/>
                  </a:lnTo>
                  <a:close/>
                  <a:moveTo>
                    <a:pt x="797" y="391"/>
                  </a:moveTo>
                  <a:lnTo>
                    <a:pt x="421" y="391"/>
                  </a:lnTo>
                  <a:lnTo>
                    <a:pt x="421" y="15"/>
                  </a:lnTo>
                  <a:lnTo>
                    <a:pt x="421" y="12"/>
                  </a:lnTo>
                  <a:lnTo>
                    <a:pt x="420" y="9"/>
                  </a:lnTo>
                  <a:lnTo>
                    <a:pt x="419" y="7"/>
                  </a:lnTo>
                  <a:lnTo>
                    <a:pt x="417" y="4"/>
                  </a:lnTo>
                  <a:lnTo>
                    <a:pt x="415" y="2"/>
                  </a:lnTo>
                  <a:lnTo>
                    <a:pt x="412" y="1"/>
                  </a:lnTo>
                  <a:lnTo>
                    <a:pt x="409" y="0"/>
                  </a:lnTo>
                  <a:lnTo>
                    <a:pt x="406" y="0"/>
                  </a:lnTo>
                  <a:lnTo>
                    <a:pt x="386" y="0"/>
                  </a:lnTo>
                  <a:lnTo>
                    <a:pt x="365" y="2"/>
                  </a:lnTo>
                  <a:lnTo>
                    <a:pt x="345" y="4"/>
                  </a:lnTo>
                  <a:lnTo>
                    <a:pt x="325" y="9"/>
                  </a:lnTo>
                  <a:lnTo>
                    <a:pt x="305" y="13"/>
                  </a:lnTo>
                  <a:lnTo>
                    <a:pt x="286" y="18"/>
                  </a:lnTo>
                  <a:lnTo>
                    <a:pt x="267" y="25"/>
                  </a:lnTo>
                  <a:lnTo>
                    <a:pt x="249" y="32"/>
                  </a:lnTo>
                  <a:lnTo>
                    <a:pt x="230" y="40"/>
                  </a:lnTo>
                  <a:lnTo>
                    <a:pt x="213" y="49"/>
                  </a:lnTo>
                  <a:lnTo>
                    <a:pt x="196" y="59"/>
                  </a:lnTo>
                  <a:lnTo>
                    <a:pt x="179" y="70"/>
                  </a:lnTo>
                  <a:lnTo>
                    <a:pt x="164" y="80"/>
                  </a:lnTo>
                  <a:lnTo>
                    <a:pt x="148" y="92"/>
                  </a:lnTo>
                  <a:lnTo>
                    <a:pt x="134" y="105"/>
                  </a:lnTo>
                  <a:lnTo>
                    <a:pt x="119" y="119"/>
                  </a:lnTo>
                  <a:lnTo>
                    <a:pt x="106" y="133"/>
                  </a:lnTo>
                  <a:lnTo>
                    <a:pt x="93" y="148"/>
                  </a:lnTo>
                  <a:lnTo>
                    <a:pt x="81" y="163"/>
                  </a:lnTo>
                  <a:lnTo>
                    <a:pt x="70" y="179"/>
                  </a:lnTo>
                  <a:lnTo>
                    <a:pt x="59" y="195"/>
                  </a:lnTo>
                  <a:lnTo>
                    <a:pt x="49" y="212"/>
                  </a:lnTo>
                  <a:lnTo>
                    <a:pt x="41" y="230"/>
                  </a:lnTo>
                  <a:lnTo>
                    <a:pt x="32" y="248"/>
                  </a:lnTo>
                  <a:lnTo>
                    <a:pt x="25" y="267"/>
                  </a:lnTo>
                  <a:lnTo>
                    <a:pt x="18" y="285"/>
                  </a:lnTo>
                  <a:lnTo>
                    <a:pt x="13" y="304"/>
                  </a:lnTo>
                  <a:lnTo>
                    <a:pt x="9" y="325"/>
                  </a:lnTo>
                  <a:lnTo>
                    <a:pt x="5" y="344"/>
                  </a:lnTo>
                  <a:lnTo>
                    <a:pt x="2" y="364"/>
                  </a:lnTo>
                  <a:lnTo>
                    <a:pt x="1" y="385"/>
                  </a:lnTo>
                  <a:lnTo>
                    <a:pt x="0" y="406"/>
                  </a:lnTo>
                  <a:lnTo>
                    <a:pt x="1" y="426"/>
                  </a:lnTo>
                  <a:lnTo>
                    <a:pt x="2" y="448"/>
                  </a:lnTo>
                  <a:lnTo>
                    <a:pt x="5" y="467"/>
                  </a:lnTo>
                  <a:lnTo>
                    <a:pt x="9" y="488"/>
                  </a:lnTo>
                  <a:lnTo>
                    <a:pt x="13" y="507"/>
                  </a:lnTo>
                  <a:lnTo>
                    <a:pt x="18" y="526"/>
                  </a:lnTo>
                  <a:lnTo>
                    <a:pt x="25" y="545"/>
                  </a:lnTo>
                  <a:lnTo>
                    <a:pt x="32" y="564"/>
                  </a:lnTo>
                  <a:lnTo>
                    <a:pt x="41" y="582"/>
                  </a:lnTo>
                  <a:lnTo>
                    <a:pt x="49" y="599"/>
                  </a:lnTo>
                  <a:lnTo>
                    <a:pt x="59" y="616"/>
                  </a:lnTo>
                  <a:lnTo>
                    <a:pt x="70" y="633"/>
                  </a:lnTo>
                  <a:lnTo>
                    <a:pt x="81" y="648"/>
                  </a:lnTo>
                  <a:lnTo>
                    <a:pt x="93" y="664"/>
                  </a:lnTo>
                  <a:lnTo>
                    <a:pt x="106" y="678"/>
                  </a:lnTo>
                  <a:lnTo>
                    <a:pt x="119" y="693"/>
                  </a:lnTo>
                  <a:lnTo>
                    <a:pt x="134" y="706"/>
                  </a:lnTo>
                  <a:lnTo>
                    <a:pt x="148" y="719"/>
                  </a:lnTo>
                  <a:lnTo>
                    <a:pt x="164" y="731"/>
                  </a:lnTo>
                  <a:lnTo>
                    <a:pt x="179" y="742"/>
                  </a:lnTo>
                  <a:lnTo>
                    <a:pt x="196" y="753"/>
                  </a:lnTo>
                  <a:lnTo>
                    <a:pt x="213" y="763"/>
                  </a:lnTo>
                  <a:lnTo>
                    <a:pt x="230" y="771"/>
                  </a:lnTo>
                  <a:lnTo>
                    <a:pt x="249" y="780"/>
                  </a:lnTo>
                  <a:lnTo>
                    <a:pt x="267" y="787"/>
                  </a:lnTo>
                  <a:lnTo>
                    <a:pt x="286" y="794"/>
                  </a:lnTo>
                  <a:lnTo>
                    <a:pt x="305" y="799"/>
                  </a:lnTo>
                  <a:lnTo>
                    <a:pt x="325" y="804"/>
                  </a:lnTo>
                  <a:lnTo>
                    <a:pt x="345" y="807"/>
                  </a:lnTo>
                  <a:lnTo>
                    <a:pt x="365" y="810"/>
                  </a:lnTo>
                  <a:lnTo>
                    <a:pt x="386" y="811"/>
                  </a:lnTo>
                  <a:lnTo>
                    <a:pt x="406" y="812"/>
                  </a:lnTo>
                  <a:lnTo>
                    <a:pt x="427" y="811"/>
                  </a:lnTo>
                  <a:lnTo>
                    <a:pt x="448" y="810"/>
                  </a:lnTo>
                  <a:lnTo>
                    <a:pt x="468" y="807"/>
                  </a:lnTo>
                  <a:lnTo>
                    <a:pt x="488" y="804"/>
                  </a:lnTo>
                  <a:lnTo>
                    <a:pt x="508" y="799"/>
                  </a:lnTo>
                  <a:lnTo>
                    <a:pt x="527" y="794"/>
                  </a:lnTo>
                  <a:lnTo>
                    <a:pt x="545" y="787"/>
                  </a:lnTo>
                  <a:lnTo>
                    <a:pt x="565" y="780"/>
                  </a:lnTo>
                  <a:lnTo>
                    <a:pt x="582" y="771"/>
                  </a:lnTo>
                  <a:lnTo>
                    <a:pt x="600" y="763"/>
                  </a:lnTo>
                  <a:lnTo>
                    <a:pt x="617" y="753"/>
                  </a:lnTo>
                  <a:lnTo>
                    <a:pt x="633" y="742"/>
                  </a:lnTo>
                  <a:lnTo>
                    <a:pt x="649" y="731"/>
                  </a:lnTo>
                  <a:lnTo>
                    <a:pt x="664" y="719"/>
                  </a:lnTo>
                  <a:lnTo>
                    <a:pt x="679" y="706"/>
                  </a:lnTo>
                  <a:lnTo>
                    <a:pt x="693" y="693"/>
                  </a:lnTo>
                  <a:lnTo>
                    <a:pt x="707" y="678"/>
                  </a:lnTo>
                  <a:lnTo>
                    <a:pt x="720" y="664"/>
                  </a:lnTo>
                  <a:lnTo>
                    <a:pt x="732" y="648"/>
                  </a:lnTo>
                  <a:lnTo>
                    <a:pt x="742" y="633"/>
                  </a:lnTo>
                  <a:lnTo>
                    <a:pt x="753" y="616"/>
                  </a:lnTo>
                  <a:lnTo>
                    <a:pt x="763" y="599"/>
                  </a:lnTo>
                  <a:lnTo>
                    <a:pt x="772" y="582"/>
                  </a:lnTo>
                  <a:lnTo>
                    <a:pt x="780" y="564"/>
                  </a:lnTo>
                  <a:lnTo>
                    <a:pt x="787" y="545"/>
                  </a:lnTo>
                  <a:lnTo>
                    <a:pt x="794" y="526"/>
                  </a:lnTo>
                  <a:lnTo>
                    <a:pt x="799" y="507"/>
                  </a:lnTo>
                  <a:lnTo>
                    <a:pt x="803" y="488"/>
                  </a:lnTo>
                  <a:lnTo>
                    <a:pt x="808" y="467"/>
                  </a:lnTo>
                  <a:lnTo>
                    <a:pt x="810" y="448"/>
                  </a:lnTo>
                  <a:lnTo>
                    <a:pt x="812" y="426"/>
                  </a:lnTo>
                  <a:lnTo>
                    <a:pt x="812" y="406"/>
                  </a:lnTo>
                  <a:lnTo>
                    <a:pt x="812" y="403"/>
                  </a:lnTo>
                  <a:lnTo>
                    <a:pt x="811" y="400"/>
                  </a:lnTo>
                  <a:lnTo>
                    <a:pt x="810" y="398"/>
                  </a:lnTo>
                  <a:lnTo>
                    <a:pt x="808" y="395"/>
                  </a:lnTo>
                  <a:lnTo>
                    <a:pt x="806" y="393"/>
                  </a:lnTo>
                  <a:lnTo>
                    <a:pt x="803" y="392"/>
                  </a:lnTo>
                  <a:lnTo>
                    <a:pt x="800" y="391"/>
                  </a:lnTo>
                  <a:lnTo>
                    <a:pt x="797" y="391"/>
                  </a:lnTo>
                  <a:lnTo>
                    <a:pt x="797"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1159" name="Group 17">
            <a:extLst>
              <a:ext uri="{FF2B5EF4-FFF2-40B4-BE49-F238E27FC236}">
                <a16:creationId xmlns:a16="http://schemas.microsoft.com/office/drawing/2014/main" id="{99D7CEBB-97C7-4C45-B020-5D947EFFD1F4}"/>
              </a:ext>
            </a:extLst>
          </p:cNvPr>
          <p:cNvGrpSpPr>
            <a:grpSpLocks noChangeAspect="1"/>
          </p:cNvGrpSpPr>
          <p:nvPr/>
        </p:nvGrpSpPr>
        <p:grpSpPr>
          <a:xfrm>
            <a:off x="4450180" y="5956111"/>
            <a:ext cx="285619" cy="285619"/>
            <a:chOff x="8162079" y="2506555"/>
            <a:chExt cx="288323" cy="287091"/>
          </a:xfrm>
          <a:solidFill>
            <a:schemeClr val="bg1"/>
          </a:solidFill>
          <a:effectLst/>
        </p:grpSpPr>
        <p:sp>
          <p:nvSpPr>
            <p:cNvPr id="1218" name="Freeform 325">
              <a:extLst>
                <a:ext uri="{FF2B5EF4-FFF2-40B4-BE49-F238E27FC236}">
                  <a16:creationId xmlns:a16="http://schemas.microsoft.com/office/drawing/2014/main" id="{93F54B6E-B4AB-46A0-A373-8EF3F71A138A}"/>
                </a:ext>
              </a:extLst>
            </p:cNvPr>
            <p:cNvSpPr>
              <a:spLocks noEditPoints="1"/>
            </p:cNvSpPr>
            <p:nvPr/>
          </p:nvSpPr>
          <p:spPr bwMode="auto">
            <a:xfrm>
              <a:off x="8162079" y="2506555"/>
              <a:ext cx="288323" cy="287091"/>
            </a:xfrm>
            <a:custGeom>
              <a:avLst/>
              <a:gdLst>
                <a:gd name="T0" fmla="*/ 379 w 932"/>
                <a:gd name="T1" fmla="*/ 892 h 932"/>
                <a:gd name="T2" fmla="*/ 278 w 932"/>
                <a:gd name="T3" fmla="*/ 858 h 932"/>
                <a:gd name="T4" fmla="*/ 190 w 932"/>
                <a:gd name="T5" fmla="*/ 802 h 932"/>
                <a:gd name="T6" fmla="*/ 118 w 932"/>
                <a:gd name="T7" fmla="*/ 727 h 932"/>
                <a:gd name="T8" fmla="*/ 65 w 932"/>
                <a:gd name="T9" fmla="*/ 636 h 932"/>
                <a:gd name="T10" fmla="*/ 35 w 932"/>
                <a:gd name="T11" fmla="*/ 532 h 932"/>
                <a:gd name="T12" fmla="*/ 33 w 932"/>
                <a:gd name="T13" fmla="*/ 421 h 932"/>
                <a:gd name="T14" fmla="*/ 58 w 932"/>
                <a:gd name="T15" fmla="*/ 317 h 932"/>
                <a:gd name="T16" fmla="*/ 105 w 932"/>
                <a:gd name="T17" fmla="*/ 224 h 932"/>
                <a:gd name="T18" fmla="*/ 173 w 932"/>
                <a:gd name="T19" fmla="*/ 145 h 932"/>
                <a:gd name="T20" fmla="*/ 259 w 932"/>
                <a:gd name="T21" fmla="*/ 84 h 932"/>
                <a:gd name="T22" fmla="*/ 358 w 932"/>
                <a:gd name="T23" fmla="*/ 45 h 932"/>
                <a:gd name="T24" fmla="*/ 466 w 932"/>
                <a:gd name="T25" fmla="*/ 31 h 932"/>
                <a:gd name="T26" fmla="*/ 574 w 932"/>
                <a:gd name="T27" fmla="*/ 45 h 932"/>
                <a:gd name="T28" fmla="*/ 673 w 932"/>
                <a:gd name="T29" fmla="*/ 84 h 932"/>
                <a:gd name="T30" fmla="*/ 759 w 932"/>
                <a:gd name="T31" fmla="*/ 145 h 932"/>
                <a:gd name="T32" fmla="*/ 826 w 932"/>
                <a:gd name="T33" fmla="*/ 224 h 932"/>
                <a:gd name="T34" fmla="*/ 874 w 932"/>
                <a:gd name="T35" fmla="*/ 317 h 932"/>
                <a:gd name="T36" fmla="*/ 899 w 932"/>
                <a:gd name="T37" fmla="*/ 421 h 932"/>
                <a:gd name="T38" fmla="*/ 896 w 932"/>
                <a:gd name="T39" fmla="*/ 532 h 932"/>
                <a:gd name="T40" fmla="*/ 866 w 932"/>
                <a:gd name="T41" fmla="*/ 636 h 932"/>
                <a:gd name="T42" fmla="*/ 814 w 932"/>
                <a:gd name="T43" fmla="*/ 727 h 932"/>
                <a:gd name="T44" fmla="*/ 743 w 932"/>
                <a:gd name="T45" fmla="*/ 802 h 932"/>
                <a:gd name="T46" fmla="*/ 654 w 932"/>
                <a:gd name="T47" fmla="*/ 858 h 932"/>
                <a:gd name="T48" fmla="*/ 553 w 932"/>
                <a:gd name="T49" fmla="*/ 892 h 932"/>
                <a:gd name="T50" fmla="*/ 466 w 932"/>
                <a:gd name="T51" fmla="*/ 0 h 932"/>
                <a:gd name="T52" fmla="*/ 350 w 932"/>
                <a:gd name="T53" fmla="*/ 15 h 932"/>
                <a:gd name="T54" fmla="*/ 244 w 932"/>
                <a:gd name="T55" fmla="*/ 56 h 932"/>
                <a:gd name="T56" fmla="*/ 152 w 932"/>
                <a:gd name="T57" fmla="*/ 121 h 932"/>
                <a:gd name="T58" fmla="*/ 80 w 932"/>
                <a:gd name="T59" fmla="*/ 206 h 932"/>
                <a:gd name="T60" fmla="*/ 28 w 932"/>
                <a:gd name="T61" fmla="*/ 306 h 932"/>
                <a:gd name="T62" fmla="*/ 2 w 932"/>
                <a:gd name="T63" fmla="*/ 419 h 932"/>
                <a:gd name="T64" fmla="*/ 5 w 932"/>
                <a:gd name="T65" fmla="*/ 537 h 932"/>
                <a:gd name="T66" fmla="*/ 37 w 932"/>
                <a:gd name="T67" fmla="*/ 648 h 932"/>
                <a:gd name="T68" fmla="*/ 92 w 932"/>
                <a:gd name="T69" fmla="*/ 745 h 932"/>
                <a:gd name="T70" fmla="*/ 170 w 932"/>
                <a:gd name="T71" fmla="*/ 826 h 932"/>
                <a:gd name="T72" fmla="*/ 264 w 932"/>
                <a:gd name="T73" fmla="*/ 887 h 932"/>
                <a:gd name="T74" fmla="*/ 372 w 932"/>
                <a:gd name="T75" fmla="*/ 924 h 932"/>
                <a:gd name="T76" fmla="*/ 490 w 932"/>
                <a:gd name="T77" fmla="*/ 932 h 932"/>
                <a:gd name="T78" fmla="*/ 604 w 932"/>
                <a:gd name="T79" fmla="*/ 911 h 932"/>
                <a:gd name="T80" fmla="*/ 708 w 932"/>
                <a:gd name="T81" fmla="*/ 865 h 932"/>
                <a:gd name="T82" fmla="*/ 795 w 932"/>
                <a:gd name="T83" fmla="*/ 796 h 932"/>
                <a:gd name="T84" fmla="*/ 864 w 932"/>
                <a:gd name="T85" fmla="*/ 708 h 932"/>
                <a:gd name="T86" fmla="*/ 911 w 932"/>
                <a:gd name="T87" fmla="*/ 605 h 932"/>
                <a:gd name="T88" fmla="*/ 932 w 932"/>
                <a:gd name="T89" fmla="*/ 490 h 932"/>
                <a:gd name="T90" fmla="*/ 923 w 932"/>
                <a:gd name="T91" fmla="*/ 372 h 932"/>
                <a:gd name="T92" fmla="*/ 886 w 932"/>
                <a:gd name="T93" fmla="*/ 265 h 932"/>
                <a:gd name="T94" fmla="*/ 825 w 932"/>
                <a:gd name="T95" fmla="*/ 170 h 932"/>
                <a:gd name="T96" fmla="*/ 744 w 932"/>
                <a:gd name="T97" fmla="*/ 92 h 932"/>
                <a:gd name="T98" fmla="*/ 648 w 932"/>
                <a:gd name="T99" fmla="*/ 37 h 932"/>
                <a:gd name="T100" fmla="*/ 536 w 932"/>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2" h="932">
                  <a:moveTo>
                    <a:pt x="466" y="901"/>
                  </a:moveTo>
                  <a:lnTo>
                    <a:pt x="443" y="901"/>
                  </a:lnTo>
                  <a:lnTo>
                    <a:pt x="422" y="899"/>
                  </a:lnTo>
                  <a:lnTo>
                    <a:pt x="400" y="897"/>
                  </a:lnTo>
                  <a:lnTo>
                    <a:pt x="379" y="892"/>
                  </a:lnTo>
                  <a:lnTo>
                    <a:pt x="358" y="888"/>
                  </a:lnTo>
                  <a:lnTo>
                    <a:pt x="337" y="881"/>
                  </a:lnTo>
                  <a:lnTo>
                    <a:pt x="317" y="875"/>
                  </a:lnTo>
                  <a:lnTo>
                    <a:pt x="297" y="867"/>
                  </a:lnTo>
                  <a:lnTo>
                    <a:pt x="278" y="858"/>
                  </a:lnTo>
                  <a:lnTo>
                    <a:pt x="259" y="849"/>
                  </a:lnTo>
                  <a:lnTo>
                    <a:pt x="241" y="838"/>
                  </a:lnTo>
                  <a:lnTo>
                    <a:pt x="223" y="827"/>
                  </a:lnTo>
                  <a:lnTo>
                    <a:pt x="205" y="815"/>
                  </a:lnTo>
                  <a:lnTo>
                    <a:pt x="190" y="802"/>
                  </a:lnTo>
                  <a:lnTo>
                    <a:pt x="173" y="788"/>
                  </a:lnTo>
                  <a:lnTo>
                    <a:pt x="159" y="774"/>
                  </a:lnTo>
                  <a:lnTo>
                    <a:pt x="144" y="759"/>
                  </a:lnTo>
                  <a:lnTo>
                    <a:pt x="130" y="742"/>
                  </a:lnTo>
                  <a:lnTo>
                    <a:pt x="118" y="727"/>
                  </a:lnTo>
                  <a:lnTo>
                    <a:pt x="105" y="709"/>
                  </a:lnTo>
                  <a:lnTo>
                    <a:pt x="94" y="691"/>
                  </a:lnTo>
                  <a:lnTo>
                    <a:pt x="83" y="674"/>
                  </a:lnTo>
                  <a:lnTo>
                    <a:pt x="74" y="655"/>
                  </a:lnTo>
                  <a:lnTo>
                    <a:pt x="65" y="636"/>
                  </a:lnTo>
                  <a:lnTo>
                    <a:pt x="58" y="616"/>
                  </a:lnTo>
                  <a:lnTo>
                    <a:pt x="50" y="596"/>
                  </a:lnTo>
                  <a:lnTo>
                    <a:pt x="44" y="575"/>
                  </a:lnTo>
                  <a:lnTo>
                    <a:pt x="40" y="554"/>
                  </a:lnTo>
                  <a:lnTo>
                    <a:pt x="35" y="532"/>
                  </a:lnTo>
                  <a:lnTo>
                    <a:pt x="33" y="510"/>
                  </a:lnTo>
                  <a:lnTo>
                    <a:pt x="31" y="489"/>
                  </a:lnTo>
                  <a:lnTo>
                    <a:pt x="31" y="466"/>
                  </a:lnTo>
                  <a:lnTo>
                    <a:pt x="31" y="444"/>
                  </a:lnTo>
                  <a:lnTo>
                    <a:pt x="33" y="421"/>
                  </a:lnTo>
                  <a:lnTo>
                    <a:pt x="35" y="400"/>
                  </a:lnTo>
                  <a:lnTo>
                    <a:pt x="40" y="379"/>
                  </a:lnTo>
                  <a:lnTo>
                    <a:pt x="44" y="358"/>
                  </a:lnTo>
                  <a:lnTo>
                    <a:pt x="50" y="337"/>
                  </a:lnTo>
                  <a:lnTo>
                    <a:pt x="58" y="317"/>
                  </a:lnTo>
                  <a:lnTo>
                    <a:pt x="65" y="297"/>
                  </a:lnTo>
                  <a:lnTo>
                    <a:pt x="74" y="278"/>
                  </a:lnTo>
                  <a:lnTo>
                    <a:pt x="83" y="259"/>
                  </a:lnTo>
                  <a:lnTo>
                    <a:pt x="94" y="240"/>
                  </a:lnTo>
                  <a:lnTo>
                    <a:pt x="105" y="224"/>
                  </a:lnTo>
                  <a:lnTo>
                    <a:pt x="118" y="206"/>
                  </a:lnTo>
                  <a:lnTo>
                    <a:pt x="130" y="189"/>
                  </a:lnTo>
                  <a:lnTo>
                    <a:pt x="144" y="174"/>
                  </a:lnTo>
                  <a:lnTo>
                    <a:pt x="159" y="159"/>
                  </a:lnTo>
                  <a:lnTo>
                    <a:pt x="173" y="145"/>
                  </a:lnTo>
                  <a:lnTo>
                    <a:pt x="190" y="130"/>
                  </a:lnTo>
                  <a:lnTo>
                    <a:pt x="205" y="118"/>
                  </a:lnTo>
                  <a:lnTo>
                    <a:pt x="223" y="106"/>
                  </a:lnTo>
                  <a:lnTo>
                    <a:pt x="241" y="95"/>
                  </a:lnTo>
                  <a:lnTo>
                    <a:pt x="259" y="84"/>
                  </a:lnTo>
                  <a:lnTo>
                    <a:pt x="278" y="74"/>
                  </a:lnTo>
                  <a:lnTo>
                    <a:pt x="297" y="66"/>
                  </a:lnTo>
                  <a:lnTo>
                    <a:pt x="317" y="58"/>
                  </a:lnTo>
                  <a:lnTo>
                    <a:pt x="337" y="50"/>
                  </a:lnTo>
                  <a:lnTo>
                    <a:pt x="358" y="45"/>
                  </a:lnTo>
                  <a:lnTo>
                    <a:pt x="379" y="40"/>
                  </a:lnTo>
                  <a:lnTo>
                    <a:pt x="400" y="36"/>
                  </a:lnTo>
                  <a:lnTo>
                    <a:pt x="422" y="34"/>
                  </a:lnTo>
                  <a:lnTo>
                    <a:pt x="443" y="31"/>
                  </a:lnTo>
                  <a:lnTo>
                    <a:pt x="466" y="31"/>
                  </a:lnTo>
                  <a:lnTo>
                    <a:pt x="489" y="31"/>
                  </a:lnTo>
                  <a:lnTo>
                    <a:pt x="511" y="34"/>
                  </a:lnTo>
                  <a:lnTo>
                    <a:pt x="532" y="36"/>
                  </a:lnTo>
                  <a:lnTo>
                    <a:pt x="553" y="40"/>
                  </a:lnTo>
                  <a:lnTo>
                    <a:pt x="574" y="45"/>
                  </a:lnTo>
                  <a:lnTo>
                    <a:pt x="595" y="50"/>
                  </a:lnTo>
                  <a:lnTo>
                    <a:pt x="615" y="58"/>
                  </a:lnTo>
                  <a:lnTo>
                    <a:pt x="635" y="66"/>
                  </a:lnTo>
                  <a:lnTo>
                    <a:pt x="654" y="74"/>
                  </a:lnTo>
                  <a:lnTo>
                    <a:pt x="673" y="84"/>
                  </a:lnTo>
                  <a:lnTo>
                    <a:pt x="691" y="95"/>
                  </a:lnTo>
                  <a:lnTo>
                    <a:pt x="709" y="106"/>
                  </a:lnTo>
                  <a:lnTo>
                    <a:pt x="726" y="118"/>
                  </a:lnTo>
                  <a:lnTo>
                    <a:pt x="743" y="130"/>
                  </a:lnTo>
                  <a:lnTo>
                    <a:pt x="759" y="145"/>
                  </a:lnTo>
                  <a:lnTo>
                    <a:pt x="773" y="159"/>
                  </a:lnTo>
                  <a:lnTo>
                    <a:pt x="788" y="174"/>
                  </a:lnTo>
                  <a:lnTo>
                    <a:pt x="802" y="189"/>
                  </a:lnTo>
                  <a:lnTo>
                    <a:pt x="814" y="206"/>
                  </a:lnTo>
                  <a:lnTo>
                    <a:pt x="826" y="224"/>
                  </a:lnTo>
                  <a:lnTo>
                    <a:pt x="838" y="240"/>
                  </a:lnTo>
                  <a:lnTo>
                    <a:pt x="849" y="259"/>
                  </a:lnTo>
                  <a:lnTo>
                    <a:pt x="859" y="278"/>
                  </a:lnTo>
                  <a:lnTo>
                    <a:pt x="866" y="297"/>
                  </a:lnTo>
                  <a:lnTo>
                    <a:pt x="874" y="317"/>
                  </a:lnTo>
                  <a:lnTo>
                    <a:pt x="882" y="337"/>
                  </a:lnTo>
                  <a:lnTo>
                    <a:pt x="888" y="358"/>
                  </a:lnTo>
                  <a:lnTo>
                    <a:pt x="892" y="379"/>
                  </a:lnTo>
                  <a:lnTo>
                    <a:pt x="896" y="400"/>
                  </a:lnTo>
                  <a:lnTo>
                    <a:pt x="899" y="421"/>
                  </a:lnTo>
                  <a:lnTo>
                    <a:pt x="901" y="444"/>
                  </a:lnTo>
                  <a:lnTo>
                    <a:pt x="901" y="466"/>
                  </a:lnTo>
                  <a:lnTo>
                    <a:pt x="901" y="489"/>
                  </a:lnTo>
                  <a:lnTo>
                    <a:pt x="899" y="510"/>
                  </a:lnTo>
                  <a:lnTo>
                    <a:pt x="896" y="532"/>
                  </a:lnTo>
                  <a:lnTo>
                    <a:pt x="892" y="554"/>
                  </a:lnTo>
                  <a:lnTo>
                    <a:pt x="888" y="575"/>
                  </a:lnTo>
                  <a:lnTo>
                    <a:pt x="882" y="596"/>
                  </a:lnTo>
                  <a:lnTo>
                    <a:pt x="874" y="616"/>
                  </a:lnTo>
                  <a:lnTo>
                    <a:pt x="866" y="636"/>
                  </a:lnTo>
                  <a:lnTo>
                    <a:pt x="859" y="655"/>
                  </a:lnTo>
                  <a:lnTo>
                    <a:pt x="849" y="674"/>
                  </a:lnTo>
                  <a:lnTo>
                    <a:pt x="838" y="691"/>
                  </a:lnTo>
                  <a:lnTo>
                    <a:pt x="826" y="709"/>
                  </a:lnTo>
                  <a:lnTo>
                    <a:pt x="814" y="727"/>
                  </a:lnTo>
                  <a:lnTo>
                    <a:pt x="802" y="742"/>
                  </a:lnTo>
                  <a:lnTo>
                    <a:pt x="788" y="759"/>
                  </a:lnTo>
                  <a:lnTo>
                    <a:pt x="773" y="774"/>
                  </a:lnTo>
                  <a:lnTo>
                    <a:pt x="759" y="788"/>
                  </a:lnTo>
                  <a:lnTo>
                    <a:pt x="743" y="802"/>
                  </a:lnTo>
                  <a:lnTo>
                    <a:pt x="726" y="815"/>
                  </a:lnTo>
                  <a:lnTo>
                    <a:pt x="709" y="827"/>
                  </a:lnTo>
                  <a:lnTo>
                    <a:pt x="691" y="838"/>
                  </a:lnTo>
                  <a:lnTo>
                    <a:pt x="673" y="849"/>
                  </a:lnTo>
                  <a:lnTo>
                    <a:pt x="654" y="858"/>
                  </a:lnTo>
                  <a:lnTo>
                    <a:pt x="635" y="867"/>
                  </a:lnTo>
                  <a:lnTo>
                    <a:pt x="615" y="875"/>
                  </a:lnTo>
                  <a:lnTo>
                    <a:pt x="595" y="881"/>
                  </a:lnTo>
                  <a:lnTo>
                    <a:pt x="574" y="888"/>
                  </a:lnTo>
                  <a:lnTo>
                    <a:pt x="553" y="892"/>
                  </a:lnTo>
                  <a:lnTo>
                    <a:pt x="532" y="897"/>
                  </a:lnTo>
                  <a:lnTo>
                    <a:pt x="511" y="899"/>
                  </a:lnTo>
                  <a:lnTo>
                    <a:pt x="489" y="901"/>
                  </a:lnTo>
                  <a:lnTo>
                    <a:pt x="466" y="901"/>
                  </a:lnTo>
                  <a:close/>
                  <a:moveTo>
                    <a:pt x="466" y="0"/>
                  </a:moveTo>
                  <a:lnTo>
                    <a:pt x="442" y="0"/>
                  </a:lnTo>
                  <a:lnTo>
                    <a:pt x="419" y="2"/>
                  </a:lnTo>
                  <a:lnTo>
                    <a:pt x="395" y="6"/>
                  </a:lnTo>
                  <a:lnTo>
                    <a:pt x="372" y="9"/>
                  </a:lnTo>
                  <a:lnTo>
                    <a:pt x="350" y="15"/>
                  </a:lnTo>
                  <a:lnTo>
                    <a:pt x="328" y="21"/>
                  </a:lnTo>
                  <a:lnTo>
                    <a:pt x="305" y="28"/>
                  </a:lnTo>
                  <a:lnTo>
                    <a:pt x="284" y="37"/>
                  </a:lnTo>
                  <a:lnTo>
                    <a:pt x="264" y="46"/>
                  </a:lnTo>
                  <a:lnTo>
                    <a:pt x="244" y="56"/>
                  </a:lnTo>
                  <a:lnTo>
                    <a:pt x="224" y="68"/>
                  </a:lnTo>
                  <a:lnTo>
                    <a:pt x="205" y="79"/>
                  </a:lnTo>
                  <a:lnTo>
                    <a:pt x="188" y="92"/>
                  </a:lnTo>
                  <a:lnTo>
                    <a:pt x="170" y="107"/>
                  </a:lnTo>
                  <a:lnTo>
                    <a:pt x="152" y="121"/>
                  </a:lnTo>
                  <a:lnTo>
                    <a:pt x="137" y="137"/>
                  </a:lnTo>
                  <a:lnTo>
                    <a:pt x="121" y="152"/>
                  </a:lnTo>
                  <a:lnTo>
                    <a:pt x="107" y="170"/>
                  </a:lnTo>
                  <a:lnTo>
                    <a:pt x="92" y="187"/>
                  </a:lnTo>
                  <a:lnTo>
                    <a:pt x="80" y="206"/>
                  </a:lnTo>
                  <a:lnTo>
                    <a:pt x="68" y="225"/>
                  </a:lnTo>
                  <a:lnTo>
                    <a:pt x="57" y="245"/>
                  </a:lnTo>
                  <a:lnTo>
                    <a:pt x="45" y="265"/>
                  </a:lnTo>
                  <a:lnTo>
                    <a:pt x="37" y="285"/>
                  </a:lnTo>
                  <a:lnTo>
                    <a:pt x="28" y="306"/>
                  </a:lnTo>
                  <a:lnTo>
                    <a:pt x="21" y="328"/>
                  </a:lnTo>
                  <a:lnTo>
                    <a:pt x="14" y="350"/>
                  </a:lnTo>
                  <a:lnTo>
                    <a:pt x="9" y="372"/>
                  </a:lnTo>
                  <a:lnTo>
                    <a:pt x="5" y="396"/>
                  </a:lnTo>
                  <a:lnTo>
                    <a:pt x="2" y="419"/>
                  </a:lnTo>
                  <a:lnTo>
                    <a:pt x="0" y="442"/>
                  </a:lnTo>
                  <a:lnTo>
                    <a:pt x="0" y="466"/>
                  </a:lnTo>
                  <a:lnTo>
                    <a:pt x="0" y="490"/>
                  </a:lnTo>
                  <a:lnTo>
                    <a:pt x="2" y="514"/>
                  </a:lnTo>
                  <a:lnTo>
                    <a:pt x="5" y="537"/>
                  </a:lnTo>
                  <a:lnTo>
                    <a:pt x="9" y="560"/>
                  </a:lnTo>
                  <a:lnTo>
                    <a:pt x="14" y="582"/>
                  </a:lnTo>
                  <a:lnTo>
                    <a:pt x="21" y="605"/>
                  </a:lnTo>
                  <a:lnTo>
                    <a:pt x="28" y="627"/>
                  </a:lnTo>
                  <a:lnTo>
                    <a:pt x="37" y="648"/>
                  </a:lnTo>
                  <a:lnTo>
                    <a:pt x="45" y="668"/>
                  </a:lnTo>
                  <a:lnTo>
                    <a:pt x="57" y="688"/>
                  </a:lnTo>
                  <a:lnTo>
                    <a:pt x="68" y="708"/>
                  </a:lnTo>
                  <a:lnTo>
                    <a:pt x="80" y="727"/>
                  </a:lnTo>
                  <a:lnTo>
                    <a:pt x="92" y="745"/>
                  </a:lnTo>
                  <a:lnTo>
                    <a:pt x="107" y="762"/>
                  </a:lnTo>
                  <a:lnTo>
                    <a:pt x="121" y="779"/>
                  </a:lnTo>
                  <a:lnTo>
                    <a:pt x="137" y="796"/>
                  </a:lnTo>
                  <a:lnTo>
                    <a:pt x="152" y="811"/>
                  </a:lnTo>
                  <a:lnTo>
                    <a:pt x="170" y="826"/>
                  </a:lnTo>
                  <a:lnTo>
                    <a:pt x="188" y="840"/>
                  </a:lnTo>
                  <a:lnTo>
                    <a:pt x="205" y="852"/>
                  </a:lnTo>
                  <a:lnTo>
                    <a:pt x="224" y="865"/>
                  </a:lnTo>
                  <a:lnTo>
                    <a:pt x="244" y="876"/>
                  </a:lnTo>
                  <a:lnTo>
                    <a:pt x="264" y="887"/>
                  </a:lnTo>
                  <a:lnTo>
                    <a:pt x="284" y="896"/>
                  </a:lnTo>
                  <a:lnTo>
                    <a:pt x="305" y="905"/>
                  </a:lnTo>
                  <a:lnTo>
                    <a:pt x="328" y="911"/>
                  </a:lnTo>
                  <a:lnTo>
                    <a:pt x="350" y="918"/>
                  </a:lnTo>
                  <a:lnTo>
                    <a:pt x="372" y="924"/>
                  </a:lnTo>
                  <a:lnTo>
                    <a:pt x="395" y="927"/>
                  </a:lnTo>
                  <a:lnTo>
                    <a:pt x="419" y="930"/>
                  </a:lnTo>
                  <a:lnTo>
                    <a:pt x="442" y="932"/>
                  </a:lnTo>
                  <a:lnTo>
                    <a:pt x="466" y="932"/>
                  </a:lnTo>
                  <a:lnTo>
                    <a:pt x="490" y="932"/>
                  </a:lnTo>
                  <a:lnTo>
                    <a:pt x="513" y="930"/>
                  </a:lnTo>
                  <a:lnTo>
                    <a:pt x="536" y="927"/>
                  </a:lnTo>
                  <a:lnTo>
                    <a:pt x="560" y="924"/>
                  </a:lnTo>
                  <a:lnTo>
                    <a:pt x="582" y="918"/>
                  </a:lnTo>
                  <a:lnTo>
                    <a:pt x="604" y="911"/>
                  </a:lnTo>
                  <a:lnTo>
                    <a:pt x="626" y="905"/>
                  </a:lnTo>
                  <a:lnTo>
                    <a:pt x="648" y="896"/>
                  </a:lnTo>
                  <a:lnTo>
                    <a:pt x="668" y="887"/>
                  </a:lnTo>
                  <a:lnTo>
                    <a:pt x="688" y="876"/>
                  </a:lnTo>
                  <a:lnTo>
                    <a:pt x="708" y="865"/>
                  </a:lnTo>
                  <a:lnTo>
                    <a:pt x="726" y="852"/>
                  </a:lnTo>
                  <a:lnTo>
                    <a:pt x="744" y="840"/>
                  </a:lnTo>
                  <a:lnTo>
                    <a:pt x="762" y="826"/>
                  </a:lnTo>
                  <a:lnTo>
                    <a:pt x="780" y="811"/>
                  </a:lnTo>
                  <a:lnTo>
                    <a:pt x="795" y="796"/>
                  </a:lnTo>
                  <a:lnTo>
                    <a:pt x="811" y="779"/>
                  </a:lnTo>
                  <a:lnTo>
                    <a:pt x="825" y="762"/>
                  </a:lnTo>
                  <a:lnTo>
                    <a:pt x="840" y="745"/>
                  </a:lnTo>
                  <a:lnTo>
                    <a:pt x="852" y="727"/>
                  </a:lnTo>
                  <a:lnTo>
                    <a:pt x="864" y="708"/>
                  </a:lnTo>
                  <a:lnTo>
                    <a:pt x="875" y="688"/>
                  </a:lnTo>
                  <a:lnTo>
                    <a:pt x="886" y="668"/>
                  </a:lnTo>
                  <a:lnTo>
                    <a:pt x="895" y="648"/>
                  </a:lnTo>
                  <a:lnTo>
                    <a:pt x="904" y="627"/>
                  </a:lnTo>
                  <a:lnTo>
                    <a:pt x="911" y="605"/>
                  </a:lnTo>
                  <a:lnTo>
                    <a:pt x="918" y="582"/>
                  </a:lnTo>
                  <a:lnTo>
                    <a:pt x="923" y="560"/>
                  </a:lnTo>
                  <a:lnTo>
                    <a:pt x="926" y="537"/>
                  </a:lnTo>
                  <a:lnTo>
                    <a:pt x="930" y="514"/>
                  </a:lnTo>
                  <a:lnTo>
                    <a:pt x="932" y="490"/>
                  </a:lnTo>
                  <a:lnTo>
                    <a:pt x="932" y="466"/>
                  </a:lnTo>
                  <a:lnTo>
                    <a:pt x="932" y="442"/>
                  </a:lnTo>
                  <a:lnTo>
                    <a:pt x="930" y="419"/>
                  </a:lnTo>
                  <a:lnTo>
                    <a:pt x="926" y="396"/>
                  </a:lnTo>
                  <a:lnTo>
                    <a:pt x="923" y="372"/>
                  </a:lnTo>
                  <a:lnTo>
                    <a:pt x="918" y="350"/>
                  </a:lnTo>
                  <a:lnTo>
                    <a:pt x="911" y="328"/>
                  </a:lnTo>
                  <a:lnTo>
                    <a:pt x="904" y="306"/>
                  </a:lnTo>
                  <a:lnTo>
                    <a:pt x="895" y="285"/>
                  </a:lnTo>
                  <a:lnTo>
                    <a:pt x="886" y="265"/>
                  </a:lnTo>
                  <a:lnTo>
                    <a:pt x="875" y="245"/>
                  </a:lnTo>
                  <a:lnTo>
                    <a:pt x="864" y="225"/>
                  </a:lnTo>
                  <a:lnTo>
                    <a:pt x="852" y="206"/>
                  </a:lnTo>
                  <a:lnTo>
                    <a:pt x="840" y="187"/>
                  </a:lnTo>
                  <a:lnTo>
                    <a:pt x="825" y="170"/>
                  </a:lnTo>
                  <a:lnTo>
                    <a:pt x="811" y="152"/>
                  </a:lnTo>
                  <a:lnTo>
                    <a:pt x="795" y="137"/>
                  </a:lnTo>
                  <a:lnTo>
                    <a:pt x="780" y="121"/>
                  </a:lnTo>
                  <a:lnTo>
                    <a:pt x="762" y="107"/>
                  </a:lnTo>
                  <a:lnTo>
                    <a:pt x="744" y="92"/>
                  </a:lnTo>
                  <a:lnTo>
                    <a:pt x="726" y="80"/>
                  </a:lnTo>
                  <a:lnTo>
                    <a:pt x="708" y="68"/>
                  </a:lnTo>
                  <a:lnTo>
                    <a:pt x="688" y="56"/>
                  </a:lnTo>
                  <a:lnTo>
                    <a:pt x="668" y="46"/>
                  </a:lnTo>
                  <a:lnTo>
                    <a:pt x="648" y="37"/>
                  </a:lnTo>
                  <a:lnTo>
                    <a:pt x="626" y="28"/>
                  </a:lnTo>
                  <a:lnTo>
                    <a:pt x="604" y="21"/>
                  </a:lnTo>
                  <a:lnTo>
                    <a:pt x="582" y="15"/>
                  </a:lnTo>
                  <a:lnTo>
                    <a:pt x="560" y="9"/>
                  </a:lnTo>
                  <a:lnTo>
                    <a:pt x="536" y="6"/>
                  </a:lnTo>
                  <a:lnTo>
                    <a:pt x="513" y="2"/>
                  </a:lnTo>
                  <a:lnTo>
                    <a:pt x="490"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9" name="Freeform 326">
              <a:extLst>
                <a:ext uri="{FF2B5EF4-FFF2-40B4-BE49-F238E27FC236}">
                  <a16:creationId xmlns:a16="http://schemas.microsoft.com/office/drawing/2014/main" id="{C77D89F0-1D8B-4F7D-A197-325AE1585CC1}"/>
                </a:ext>
              </a:extLst>
            </p:cNvPr>
            <p:cNvSpPr>
              <a:spLocks noEditPoints="1"/>
            </p:cNvSpPr>
            <p:nvPr/>
          </p:nvSpPr>
          <p:spPr bwMode="auto">
            <a:xfrm>
              <a:off x="8248329" y="2591573"/>
              <a:ext cx="115822" cy="115822"/>
            </a:xfrm>
            <a:custGeom>
              <a:avLst/>
              <a:gdLst>
                <a:gd name="T0" fmla="*/ 341 w 372"/>
                <a:gd name="T1" fmla="*/ 342 h 373"/>
                <a:gd name="T2" fmla="*/ 31 w 372"/>
                <a:gd name="T3" fmla="*/ 342 h 373"/>
                <a:gd name="T4" fmla="*/ 31 w 372"/>
                <a:gd name="T5" fmla="*/ 32 h 373"/>
                <a:gd name="T6" fmla="*/ 341 w 372"/>
                <a:gd name="T7" fmla="*/ 32 h 373"/>
                <a:gd name="T8" fmla="*/ 341 w 372"/>
                <a:gd name="T9" fmla="*/ 342 h 373"/>
                <a:gd name="T10" fmla="*/ 356 w 372"/>
                <a:gd name="T11" fmla="*/ 0 h 373"/>
                <a:gd name="T12" fmla="*/ 15 w 372"/>
                <a:gd name="T13" fmla="*/ 0 h 373"/>
                <a:gd name="T14" fmla="*/ 12 w 372"/>
                <a:gd name="T15" fmla="*/ 1 h 373"/>
                <a:gd name="T16" fmla="*/ 9 w 372"/>
                <a:gd name="T17" fmla="*/ 2 h 373"/>
                <a:gd name="T18" fmla="*/ 7 w 372"/>
                <a:gd name="T19" fmla="*/ 3 h 373"/>
                <a:gd name="T20" fmla="*/ 4 w 372"/>
                <a:gd name="T21" fmla="*/ 6 h 373"/>
                <a:gd name="T22" fmla="*/ 2 w 372"/>
                <a:gd name="T23" fmla="*/ 8 h 373"/>
                <a:gd name="T24" fmla="*/ 1 w 372"/>
                <a:gd name="T25" fmla="*/ 10 h 373"/>
                <a:gd name="T26" fmla="*/ 0 w 372"/>
                <a:gd name="T27" fmla="*/ 13 h 373"/>
                <a:gd name="T28" fmla="*/ 0 w 372"/>
                <a:gd name="T29" fmla="*/ 17 h 373"/>
                <a:gd name="T30" fmla="*/ 0 w 372"/>
                <a:gd name="T31" fmla="*/ 358 h 373"/>
                <a:gd name="T32" fmla="*/ 0 w 372"/>
                <a:gd name="T33" fmla="*/ 361 h 373"/>
                <a:gd name="T34" fmla="*/ 1 w 372"/>
                <a:gd name="T35" fmla="*/ 365 h 373"/>
                <a:gd name="T36" fmla="*/ 2 w 372"/>
                <a:gd name="T37" fmla="*/ 367 h 373"/>
                <a:gd name="T38" fmla="*/ 4 w 372"/>
                <a:gd name="T39" fmla="*/ 369 h 373"/>
                <a:gd name="T40" fmla="*/ 7 w 372"/>
                <a:gd name="T41" fmla="*/ 371 h 373"/>
                <a:gd name="T42" fmla="*/ 9 w 372"/>
                <a:gd name="T43" fmla="*/ 372 h 373"/>
                <a:gd name="T44" fmla="*/ 12 w 372"/>
                <a:gd name="T45" fmla="*/ 373 h 373"/>
                <a:gd name="T46" fmla="*/ 15 w 372"/>
                <a:gd name="T47" fmla="*/ 373 h 373"/>
                <a:gd name="T48" fmla="*/ 356 w 372"/>
                <a:gd name="T49" fmla="*/ 373 h 373"/>
                <a:gd name="T50" fmla="*/ 360 w 372"/>
                <a:gd name="T51" fmla="*/ 373 h 373"/>
                <a:gd name="T52" fmla="*/ 363 w 372"/>
                <a:gd name="T53" fmla="*/ 372 h 373"/>
                <a:gd name="T54" fmla="*/ 365 w 372"/>
                <a:gd name="T55" fmla="*/ 371 h 373"/>
                <a:gd name="T56" fmla="*/ 368 w 372"/>
                <a:gd name="T57" fmla="*/ 369 h 373"/>
                <a:gd name="T58" fmla="*/ 370 w 372"/>
                <a:gd name="T59" fmla="*/ 367 h 373"/>
                <a:gd name="T60" fmla="*/ 371 w 372"/>
                <a:gd name="T61" fmla="*/ 365 h 373"/>
                <a:gd name="T62" fmla="*/ 372 w 372"/>
                <a:gd name="T63" fmla="*/ 361 h 373"/>
                <a:gd name="T64" fmla="*/ 372 w 372"/>
                <a:gd name="T65" fmla="*/ 358 h 373"/>
                <a:gd name="T66" fmla="*/ 372 w 372"/>
                <a:gd name="T67" fmla="*/ 17 h 373"/>
                <a:gd name="T68" fmla="*/ 372 w 372"/>
                <a:gd name="T69" fmla="*/ 13 h 373"/>
                <a:gd name="T70" fmla="*/ 371 w 372"/>
                <a:gd name="T71" fmla="*/ 10 h 373"/>
                <a:gd name="T72" fmla="*/ 370 w 372"/>
                <a:gd name="T73" fmla="*/ 8 h 373"/>
                <a:gd name="T74" fmla="*/ 368 w 372"/>
                <a:gd name="T75" fmla="*/ 6 h 373"/>
                <a:gd name="T76" fmla="*/ 365 w 372"/>
                <a:gd name="T77" fmla="*/ 3 h 373"/>
                <a:gd name="T78" fmla="*/ 363 w 372"/>
                <a:gd name="T79" fmla="*/ 2 h 373"/>
                <a:gd name="T80" fmla="*/ 360 w 372"/>
                <a:gd name="T81" fmla="*/ 1 h 373"/>
                <a:gd name="T82" fmla="*/ 356 w 372"/>
                <a:gd name="T8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2" h="373">
                  <a:moveTo>
                    <a:pt x="341" y="342"/>
                  </a:moveTo>
                  <a:lnTo>
                    <a:pt x="31" y="342"/>
                  </a:lnTo>
                  <a:lnTo>
                    <a:pt x="31" y="32"/>
                  </a:lnTo>
                  <a:lnTo>
                    <a:pt x="341" y="32"/>
                  </a:lnTo>
                  <a:lnTo>
                    <a:pt x="341" y="342"/>
                  </a:lnTo>
                  <a:close/>
                  <a:moveTo>
                    <a:pt x="356" y="0"/>
                  </a:moveTo>
                  <a:lnTo>
                    <a:pt x="15" y="0"/>
                  </a:lnTo>
                  <a:lnTo>
                    <a:pt x="12" y="1"/>
                  </a:lnTo>
                  <a:lnTo>
                    <a:pt x="9" y="2"/>
                  </a:lnTo>
                  <a:lnTo>
                    <a:pt x="7" y="3"/>
                  </a:lnTo>
                  <a:lnTo>
                    <a:pt x="4" y="6"/>
                  </a:lnTo>
                  <a:lnTo>
                    <a:pt x="2" y="8"/>
                  </a:lnTo>
                  <a:lnTo>
                    <a:pt x="1" y="10"/>
                  </a:lnTo>
                  <a:lnTo>
                    <a:pt x="0" y="13"/>
                  </a:lnTo>
                  <a:lnTo>
                    <a:pt x="0" y="17"/>
                  </a:lnTo>
                  <a:lnTo>
                    <a:pt x="0" y="358"/>
                  </a:lnTo>
                  <a:lnTo>
                    <a:pt x="0" y="361"/>
                  </a:lnTo>
                  <a:lnTo>
                    <a:pt x="1" y="365"/>
                  </a:lnTo>
                  <a:lnTo>
                    <a:pt x="2" y="367"/>
                  </a:lnTo>
                  <a:lnTo>
                    <a:pt x="4" y="369"/>
                  </a:lnTo>
                  <a:lnTo>
                    <a:pt x="7" y="371"/>
                  </a:lnTo>
                  <a:lnTo>
                    <a:pt x="9" y="372"/>
                  </a:lnTo>
                  <a:lnTo>
                    <a:pt x="12" y="373"/>
                  </a:lnTo>
                  <a:lnTo>
                    <a:pt x="15" y="373"/>
                  </a:lnTo>
                  <a:lnTo>
                    <a:pt x="356" y="373"/>
                  </a:lnTo>
                  <a:lnTo>
                    <a:pt x="360" y="373"/>
                  </a:lnTo>
                  <a:lnTo>
                    <a:pt x="363" y="372"/>
                  </a:lnTo>
                  <a:lnTo>
                    <a:pt x="365" y="371"/>
                  </a:lnTo>
                  <a:lnTo>
                    <a:pt x="368" y="369"/>
                  </a:lnTo>
                  <a:lnTo>
                    <a:pt x="370" y="367"/>
                  </a:lnTo>
                  <a:lnTo>
                    <a:pt x="371" y="365"/>
                  </a:lnTo>
                  <a:lnTo>
                    <a:pt x="372" y="361"/>
                  </a:lnTo>
                  <a:lnTo>
                    <a:pt x="372" y="358"/>
                  </a:lnTo>
                  <a:lnTo>
                    <a:pt x="372" y="17"/>
                  </a:lnTo>
                  <a:lnTo>
                    <a:pt x="372" y="13"/>
                  </a:lnTo>
                  <a:lnTo>
                    <a:pt x="371" y="10"/>
                  </a:lnTo>
                  <a:lnTo>
                    <a:pt x="370" y="8"/>
                  </a:lnTo>
                  <a:lnTo>
                    <a:pt x="368" y="6"/>
                  </a:lnTo>
                  <a:lnTo>
                    <a:pt x="365" y="3"/>
                  </a:lnTo>
                  <a:lnTo>
                    <a:pt x="363" y="2"/>
                  </a:lnTo>
                  <a:lnTo>
                    <a:pt x="360"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31" name="Group 26">
            <a:extLst>
              <a:ext uri="{FF2B5EF4-FFF2-40B4-BE49-F238E27FC236}">
                <a16:creationId xmlns:a16="http://schemas.microsoft.com/office/drawing/2014/main" id="{99E78AE3-62C2-47B1-A1DE-0C2918824EE0}"/>
              </a:ext>
            </a:extLst>
          </p:cNvPr>
          <p:cNvGrpSpPr>
            <a:grpSpLocks noChangeAspect="1"/>
          </p:cNvGrpSpPr>
          <p:nvPr/>
        </p:nvGrpSpPr>
        <p:grpSpPr>
          <a:xfrm>
            <a:off x="4049239" y="2186361"/>
            <a:ext cx="258673" cy="285619"/>
            <a:chOff x="4346576" y="5194300"/>
            <a:chExt cx="457200" cy="504826"/>
          </a:xfrm>
          <a:solidFill>
            <a:schemeClr val="bg1"/>
          </a:solidFill>
          <a:effectLst/>
        </p:grpSpPr>
        <p:sp>
          <p:nvSpPr>
            <p:cNvPr id="532" name="Freeform 109">
              <a:extLst>
                <a:ext uri="{FF2B5EF4-FFF2-40B4-BE49-F238E27FC236}">
                  <a16:creationId xmlns:a16="http://schemas.microsoft.com/office/drawing/2014/main" id="{E08DD48B-B0A2-4212-AE85-2C140D72EC16}"/>
                </a:ext>
              </a:extLst>
            </p:cNvPr>
            <p:cNvSpPr>
              <a:spLocks noEditPoints="1"/>
            </p:cNvSpPr>
            <p:nvPr/>
          </p:nvSpPr>
          <p:spPr bwMode="auto">
            <a:xfrm>
              <a:off x="4500563" y="5292725"/>
              <a:ext cx="146050" cy="158750"/>
            </a:xfrm>
            <a:custGeom>
              <a:avLst/>
              <a:gdLst>
                <a:gd name="T0" fmla="*/ 155 w 366"/>
                <a:gd name="T1" fmla="*/ 49 h 398"/>
                <a:gd name="T2" fmla="*/ 117 w 366"/>
                <a:gd name="T3" fmla="*/ 65 h 398"/>
                <a:gd name="T4" fmla="*/ 87 w 366"/>
                <a:gd name="T5" fmla="*/ 90 h 398"/>
                <a:gd name="T6" fmla="*/ 63 w 366"/>
                <a:gd name="T7" fmla="*/ 126 h 398"/>
                <a:gd name="T8" fmla="*/ 49 w 366"/>
                <a:gd name="T9" fmla="*/ 168 h 398"/>
                <a:gd name="T10" fmla="*/ 47 w 366"/>
                <a:gd name="T11" fmla="*/ 214 h 398"/>
                <a:gd name="T12" fmla="*/ 57 w 366"/>
                <a:gd name="T13" fmla="*/ 258 h 398"/>
                <a:gd name="T14" fmla="*/ 78 w 366"/>
                <a:gd name="T15" fmla="*/ 296 h 398"/>
                <a:gd name="T16" fmla="*/ 106 w 366"/>
                <a:gd name="T17" fmla="*/ 326 h 398"/>
                <a:gd name="T18" fmla="*/ 143 w 366"/>
                <a:gd name="T19" fmla="*/ 344 h 398"/>
                <a:gd name="T20" fmla="*/ 184 w 366"/>
                <a:gd name="T21" fmla="*/ 352 h 398"/>
                <a:gd name="T22" fmla="*/ 224 w 366"/>
                <a:gd name="T23" fmla="*/ 344 h 398"/>
                <a:gd name="T24" fmla="*/ 260 w 366"/>
                <a:gd name="T25" fmla="*/ 326 h 398"/>
                <a:gd name="T26" fmla="*/ 289 w 366"/>
                <a:gd name="T27" fmla="*/ 296 h 398"/>
                <a:gd name="T28" fmla="*/ 310 w 366"/>
                <a:gd name="T29" fmla="*/ 258 h 398"/>
                <a:gd name="T30" fmla="*/ 320 w 366"/>
                <a:gd name="T31" fmla="*/ 214 h 398"/>
                <a:gd name="T32" fmla="*/ 317 w 366"/>
                <a:gd name="T33" fmla="*/ 168 h 398"/>
                <a:gd name="T34" fmla="*/ 304 w 366"/>
                <a:gd name="T35" fmla="*/ 126 h 398"/>
                <a:gd name="T36" fmla="*/ 280 w 366"/>
                <a:gd name="T37" fmla="*/ 90 h 398"/>
                <a:gd name="T38" fmla="*/ 249 w 366"/>
                <a:gd name="T39" fmla="*/ 65 h 398"/>
                <a:gd name="T40" fmla="*/ 210 w 366"/>
                <a:gd name="T41" fmla="*/ 49 h 398"/>
                <a:gd name="T42" fmla="*/ 184 w 366"/>
                <a:gd name="T43" fmla="*/ 398 h 398"/>
                <a:gd name="T44" fmla="*/ 128 w 366"/>
                <a:gd name="T45" fmla="*/ 388 h 398"/>
                <a:gd name="T46" fmla="*/ 80 w 366"/>
                <a:gd name="T47" fmla="*/ 364 h 398"/>
                <a:gd name="T48" fmla="*/ 42 w 366"/>
                <a:gd name="T49" fmla="*/ 325 h 398"/>
                <a:gd name="T50" fmla="*/ 14 w 366"/>
                <a:gd name="T51" fmla="*/ 276 h 398"/>
                <a:gd name="T52" fmla="*/ 1 w 366"/>
                <a:gd name="T53" fmla="*/ 219 h 398"/>
                <a:gd name="T54" fmla="*/ 3 w 366"/>
                <a:gd name="T55" fmla="*/ 159 h 398"/>
                <a:gd name="T56" fmla="*/ 22 w 366"/>
                <a:gd name="T57" fmla="*/ 104 h 398"/>
                <a:gd name="T58" fmla="*/ 53 w 366"/>
                <a:gd name="T59" fmla="*/ 58 h 398"/>
                <a:gd name="T60" fmla="*/ 96 w 366"/>
                <a:gd name="T61" fmla="*/ 24 h 398"/>
                <a:gd name="T62" fmla="*/ 147 w 366"/>
                <a:gd name="T63" fmla="*/ 3 h 398"/>
                <a:gd name="T64" fmla="*/ 202 w 366"/>
                <a:gd name="T65" fmla="*/ 1 h 398"/>
                <a:gd name="T66" fmla="*/ 255 w 366"/>
                <a:gd name="T67" fmla="*/ 15 h 398"/>
                <a:gd name="T68" fmla="*/ 300 w 366"/>
                <a:gd name="T69" fmla="*/ 45 h 398"/>
                <a:gd name="T70" fmla="*/ 334 w 366"/>
                <a:gd name="T71" fmla="*/ 88 h 398"/>
                <a:gd name="T72" fmla="*/ 358 w 366"/>
                <a:gd name="T73" fmla="*/ 139 h 398"/>
                <a:gd name="T74" fmla="*/ 366 w 366"/>
                <a:gd name="T75" fmla="*/ 198 h 398"/>
                <a:gd name="T76" fmla="*/ 358 w 366"/>
                <a:gd name="T77" fmla="*/ 258 h 398"/>
                <a:gd name="T78" fmla="*/ 334 w 366"/>
                <a:gd name="T79" fmla="*/ 310 h 398"/>
                <a:gd name="T80" fmla="*/ 300 w 366"/>
                <a:gd name="T81" fmla="*/ 352 h 398"/>
                <a:gd name="T82" fmla="*/ 255 w 366"/>
                <a:gd name="T83" fmla="*/ 382 h 398"/>
                <a:gd name="T84" fmla="*/ 202 w 366"/>
                <a:gd name="T85"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8">
                  <a:moveTo>
                    <a:pt x="184" y="46"/>
                  </a:moveTo>
                  <a:lnTo>
                    <a:pt x="169" y="46"/>
                  </a:lnTo>
                  <a:lnTo>
                    <a:pt x="155" y="49"/>
                  </a:lnTo>
                  <a:lnTo>
                    <a:pt x="143" y="52"/>
                  </a:lnTo>
                  <a:lnTo>
                    <a:pt x="130" y="57"/>
                  </a:lnTo>
                  <a:lnTo>
                    <a:pt x="117" y="65"/>
                  </a:lnTo>
                  <a:lnTo>
                    <a:pt x="106" y="72"/>
                  </a:lnTo>
                  <a:lnTo>
                    <a:pt x="96" y="80"/>
                  </a:lnTo>
                  <a:lnTo>
                    <a:pt x="87" y="90"/>
                  </a:lnTo>
                  <a:lnTo>
                    <a:pt x="78" y="101"/>
                  </a:lnTo>
                  <a:lnTo>
                    <a:pt x="69" y="114"/>
                  </a:lnTo>
                  <a:lnTo>
                    <a:pt x="63" y="126"/>
                  </a:lnTo>
                  <a:lnTo>
                    <a:pt x="57" y="139"/>
                  </a:lnTo>
                  <a:lnTo>
                    <a:pt x="52" y="153"/>
                  </a:lnTo>
                  <a:lnTo>
                    <a:pt x="49" y="168"/>
                  </a:lnTo>
                  <a:lnTo>
                    <a:pt x="47" y="184"/>
                  </a:lnTo>
                  <a:lnTo>
                    <a:pt x="46" y="198"/>
                  </a:lnTo>
                  <a:lnTo>
                    <a:pt x="47" y="214"/>
                  </a:lnTo>
                  <a:lnTo>
                    <a:pt x="49" y="229"/>
                  </a:lnTo>
                  <a:lnTo>
                    <a:pt x="52" y="244"/>
                  </a:lnTo>
                  <a:lnTo>
                    <a:pt x="57" y="258"/>
                  </a:lnTo>
                  <a:lnTo>
                    <a:pt x="63" y="272"/>
                  </a:lnTo>
                  <a:lnTo>
                    <a:pt x="69" y="284"/>
                  </a:lnTo>
                  <a:lnTo>
                    <a:pt x="78" y="296"/>
                  </a:lnTo>
                  <a:lnTo>
                    <a:pt x="87" y="306"/>
                  </a:lnTo>
                  <a:lnTo>
                    <a:pt x="96" y="316"/>
                  </a:lnTo>
                  <a:lnTo>
                    <a:pt x="106" y="326"/>
                  </a:lnTo>
                  <a:lnTo>
                    <a:pt x="117" y="333"/>
                  </a:lnTo>
                  <a:lnTo>
                    <a:pt x="130" y="339"/>
                  </a:lnTo>
                  <a:lnTo>
                    <a:pt x="143" y="344"/>
                  </a:lnTo>
                  <a:lnTo>
                    <a:pt x="155" y="348"/>
                  </a:lnTo>
                  <a:lnTo>
                    <a:pt x="169" y="350"/>
                  </a:lnTo>
                  <a:lnTo>
                    <a:pt x="184" y="352"/>
                  </a:lnTo>
                  <a:lnTo>
                    <a:pt x="197" y="350"/>
                  </a:lnTo>
                  <a:lnTo>
                    <a:pt x="210" y="348"/>
                  </a:lnTo>
                  <a:lnTo>
                    <a:pt x="224" y="344"/>
                  </a:lnTo>
                  <a:lnTo>
                    <a:pt x="236" y="339"/>
                  </a:lnTo>
                  <a:lnTo>
                    <a:pt x="249" y="333"/>
                  </a:lnTo>
                  <a:lnTo>
                    <a:pt x="260" y="326"/>
                  </a:lnTo>
                  <a:lnTo>
                    <a:pt x="271" y="316"/>
                  </a:lnTo>
                  <a:lnTo>
                    <a:pt x="280" y="306"/>
                  </a:lnTo>
                  <a:lnTo>
                    <a:pt x="289" y="296"/>
                  </a:lnTo>
                  <a:lnTo>
                    <a:pt x="296" y="284"/>
                  </a:lnTo>
                  <a:lnTo>
                    <a:pt x="304" y="272"/>
                  </a:lnTo>
                  <a:lnTo>
                    <a:pt x="310" y="258"/>
                  </a:lnTo>
                  <a:lnTo>
                    <a:pt x="314" y="244"/>
                  </a:lnTo>
                  <a:lnTo>
                    <a:pt x="317" y="229"/>
                  </a:lnTo>
                  <a:lnTo>
                    <a:pt x="320" y="214"/>
                  </a:lnTo>
                  <a:lnTo>
                    <a:pt x="320" y="198"/>
                  </a:lnTo>
                  <a:lnTo>
                    <a:pt x="320" y="184"/>
                  </a:lnTo>
                  <a:lnTo>
                    <a:pt x="317" y="168"/>
                  </a:lnTo>
                  <a:lnTo>
                    <a:pt x="314" y="153"/>
                  </a:lnTo>
                  <a:lnTo>
                    <a:pt x="310" y="139"/>
                  </a:lnTo>
                  <a:lnTo>
                    <a:pt x="304" y="126"/>
                  </a:lnTo>
                  <a:lnTo>
                    <a:pt x="296" y="114"/>
                  </a:lnTo>
                  <a:lnTo>
                    <a:pt x="289" y="101"/>
                  </a:lnTo>
                  <a:lnTo>
                    <a:pt x="280" y="90"/>
                  </a:lnTo>
                  <a:lnTo>
                    <a:pt x="271" y="80"/>
                  </a:lnTo>
                  <a:lnTo>
                    <a:pt x="260" y="72"/>
                  </a:lnTo>
                  <a:lnTo>
                    <a:pt x="249" y="65"/>
                  </a:lnTo>
                  <a:lnTo>
                    <a:pt x="236" y="57"/>
                  </a:lnTo>
                  <a:lnTo>
                    <a:pt x="224" y="52"/>
                  </a:lnTo>
                  <a:lnTo>
                    <a:pt x="210" y="49"/>
                  </a:lnTo>
                  <a:lnTo>
                    <a:pt x="197" y="46"/>
                  </a:lnTo>
                  <a:lnTo>
                    <a:pt x="184" y="46"/>
                  </a:lnTo>
                  <a:close/>
                  <a:moveTo>
                    <a:pt x="184" y="398"/>
                  </a:moveTo>
                  <a:lnTo>
                    <a:pt x="164" y="397"/>
                  </a:lnTo>
                  <a:lnTo>
                    <a:pt x="147" y="393"/>
                  </a:lnTo>
                  <a:lnTo>
                    <a:pt x="128" y="388"/>
                  </a:lnTo>
                  <a:lnTo>
                    <a:pt x="112" y="382"/>
                  </a:lnTo>
                  <a:lnTo>
                    <a:pt x="96" y="374"/>
                  </a:lnTo>
                  <a:lnTo>
                    <a:pt x="80" y="364"/>
                  </a:lnTo>
                  <a:lnTo>
                    <a:pt x="67" y="352"/>
                  </a:lnTo>
                  <a:lnTo>
                    <a:pt x="53" y="339"/>
                  </a:lnTo>
                  <a:lnTo>
                    <a:pt x="42" y="325"/>
                  </a:lnTo>
                  <a:lnTo>
                    <a:pt x="31" y="310"/>
                  </a:lnTo>
                  <a:lnTo>
                    <a:pt x="22" y="294"/>
                  </a:lnTo>
                  <a:lnTo>
                    <a:pt x="14" y="276"/>
                  </a:lnTo>
                  <a:lnTo>
                    <a:pt x="8" y="258"/>
                  </a:lnTo>
                  <a:lnTo>
                    <a:pt x="3" y="239"/>
                  </a:lnTo>
                  <a:lnTo>
                    <a:pt x="1" y="219"/>
                  </a:lnTo>
                  <a:lnTo>
                    <a:pt x="0" y="198"/>
                  </a:lnTo>
                  <a:lnTo>
                    <a:pt x="1" y="179"/>
                  </a:lnTo>
                  <a:lnTo>
                    <a:pt x="3" y="159"/>
                  </a:lnTo>
                  <a:lnTo>
                    <a:pt x="8" y="139"/>
                  </a:lnTo>
                  <a:lnTo>
                    <a:pt x="14" y="121"/>
                  </a:lnTo>
                  <a:lnTo>
                    <a:pt x="22" y="104"/>
                  </a:lnTo>
                  <a:lnTo>
                    <a:pt x="31" y="88"/>
                  </a:lnTo>
                  <a:lnTo>
                    <a:pt x="42" y="72"/>
                  </a:lnTo>
                  <a:lnTo>
                    <a:pt x="53" y="58"/>
                  </a:lnTo>
                  <a:lnTo>
                    <a:pt x="67" y="45"/>
                  </a:lnTo>
                  <a:lnTo>
                    <a:pt x="80" y="34"/>
                  </a:lnTo>
                  <a:lnTo>
                    <a:pt x="96" y="24"/>
                  </a:lnTo>
                  <a:lnTo>
                    <a:pt x="112" y="15"/>
                  </a:lnTo>
                  <a:lnTo>
                    <a:pt x="128" y="8"/>
                  </a:lnTo>
                  <a:lnTo>
                    <a:pt x="147" y="3"/>
                  </a:lnTo>
                  <a:lnTo>
                    <a:pt x="164" y="1"/>
                  </a:lnTo>
                  <a:lnTo>
                    <a:pt x="184" y="0"/>
                  </a:lnTo>
                  <a:lnTo>
                    <a:pt x="202" y="1"/>
                  </a:lnTo>
                  <a:lnTo>
                    <a:pt x="220" y="3"/>
                  </a:lnTo>
                  <a:lnTo>
                    <a:pt x="237" y="8"/>
                  </a:lnTo>
                  <a:lnTo>
                    <a:pt x="255" y="15"/>
                  </a:lnTo>
                  <a:lnTo>
                    <a:pt x="271" y="24"/>
                  </a:lnTo>
                  <a:lnTo>
                    <a:pt x="285" y="34"/>
                  </a:lnTo>
                  <a:lnTo>
                    <a:pt x="300" y="45"/>
                  </a:lnTo>
                  <a:lnTo>
                    <a:pt x="312" y="58"/>
                  </a:lnTo>
                  <a:lnTo>
                    <a:pt x="325" y="72"/>
                  </a:lnTo>
                  <a:lnTo>
                    <a:pt x="334" y="88"/>
                  </a:lnTo>
                  <a:lnTo>
                    <a:pt x="344" y="104"/>
                  </a:lnTo>
                  <a:lnTo>
                    <a:pt x="352" y="121"/>
                  </a:lnTo>
                  <a:lnTo>
                    <a:pt x="358" y="139"/>
                  </a:lnTo>
                  <a:lnTo>
                    <a:pt x="363" y="159"/>
                  </a:lnTo>
                  <a:lnTo>
                    <a:pt x="365" y="179"/>
                  </a:lnTo>
                  <a:lnTo>
                    <a:pt x="366" y="198"/>
                  </a:lnTo>
                  <a:lnTo>
                    <a:pt x="365" y="219"/>
                  </a:lnTo>
                  <a:lnTo>
                    <a:pt x="363" y="239"/>
                  </a:lnTo>
                  <a:lnTo>
                    <a:pt x="358" y="258"/>
                  </a:lnTo>
                  <a:lnTo>
                    <a:pt x="352" y="276"/>
                  </a:lnTo>
                  <a:lnTo>
                    <a:pt x="344" y="294"/>
                  </a:lnTo>
                  <a:lnTo>
                    <a:pt x="334" y="310"/>
                  </a:lnTo>
                  <a:lnTo>
                    <a:pt x="325" y="325"/>
                  </a:lnTo>
                  <a:lnTo>
                    <a:pt x="312" y="339"/>
                  </a:lnTo>
                  <a:lnTo>
                    <a:pt x="300" y="352"/>
                  </a:lnTo>
                  <a:lnTo>
                    <a:pt x="285" y="364"/>
                  </a:lnTo>
                  <a:lnTo>
                    <a:pt x="271" y="374"/>
                  </a:lnTo>
                  <a:lnTo>
                    <a:pt x="255" y="382"/>
                  </a:lnTo>
                  <a:lnTo>
                    <a:pt x="237" y="388"/>
                  </a:lnTo>
                  <a:lnTo>
                    <a:pt x="220" y="393"/>
                  </a:lnTo>
                  <a:lnTo>
                    <a:pt x="202" y="397"/>
                  </a:lnTo>
                  <a:lnTo>
                    <a:pt x="184"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3" name="Freeform 110">
              <a:extLst>
                <a:ext uri="{FF2B5EF4-FFF2-40B4-BE49-F238E27FC236}">
                  <a16:creationId xmlns:a16="http://schemas.microsoft.com/office/drawing/2014/main" id="{3F8109B1-7353-4220-B4F9-E5A8EFA28130}"/>
                </a:ext>
              </a:extLst>
            </p:cNvPr>
            <p:cNvSpPr>
              <a:spLocks/>
            </p:cNvSpPr>
            <p:nvPr/>
          </p:nvSpPr>
          <p:spPr bwMode="auto">
            <a:xfrm>
              <a:off x="4449763" y="5435600"/>
              <a:ext cx="246063" cy="155575"/>
            </a:xfrm>
            <a:custGeom>
              <a:avLst/>
              <a:gdLst>
                <a:gd name="T0" fmla="*/ 0 w 622"/>
                <a:gd name="T1" fmla="*/ 394 h 394"/>
                <a:gd name="T2" fmla="*/ 1 w 622"/>
                <a:gd name="T3" fmla="*/ 193 h 394"/>
                <a:gd name="T4" fmla="*/ 6 w 622"/>
                <a:gd name="T5" fmla="*/ 164 h 394"/>
                <a:gd name="T6" fmla="*/ 16 w 622"/>
                <a:gd name="T7" fmla="*/ 140 h 394"/>
                <a:gd name="T8" fmla="*/ 31 w 622"/>
                <a:gd name="T9" fmla="*/ 122 h 394"/>
                <a:gd name="T10" fmla="*/ 49 w 622"/>
                <a:gd name="T11" fmla="*/ 107 h 394"/>
                <a:gd name="T12" fmla="*/ 70 w 622"/>
                <a:gd name="T13" fmla="*/ 95 h 394"/>
                <a:gd name="T14" fmla="*/ 105 w 622"/>
                <a:gd name="T15" fmla="*/ 83 h 394"/>
                <a:gd name="T16" fmla="*/ 142 w 622"/>
                <a:gd name="T17" fmla="*/ 72 h 394"/>
                <a:gd name="T18" fmla="*/ 164 w 622"/>
                <a:gd name="T19" fmla="*/ 64 h 394"/>
                <a:gd name="T20" fmla="*/ 184 w 622"/>
                <a:gd name="T21" fmla="*/ 57 h 394"/>
                <a:gd name="T22" fmla="*/ 199 w 622"/>
                <a:gd name="T23" fmla="*/ 50 h 394"/>
                <a:gd name="T24" fmla="*/ 212 w 622"/>
                <a:gd name="T25" fmla="*/ 37 h 394"/>
                <a:gd name="T26" fmla="*/ 222 w 622"/>
                <a:gd name="T27" fmla="*/ 19 h 394"/>
                <a:gd name="T28" fmla="*/ 224 w 622"/>
                <a:gd name="T29" fmla="*/ 7 h 394"/>
                <a:gd name="T30" fmla="*/ 270 w 622"/>
                <a:gd name="T31" fmla="*/ 0 h 394"/>
                <a:gd name="T32" fmla="*/ 267 w 622"/>
                <a:gd name="T33" fmla="*/ 25 h 394"/>
                <a:gd name="T34" fmla="*/ 256 w 622"/>
                <a:gd name="T35" fmla="*/ 54 h 394"/>
                <a:gd name="T36" fmla="*/ 245 w 622"/>
                <a:gd name="T37" fmla="*/ 69 h 394"/>
                <a:gd name="T38" fmla="*/ 232 w 622"/>
                <a:gd name="T39" fmla="*/ 83 h 394"/>
                <a:gd name="T40" fmla="*/ 213 w 622"/>
                <a:gd name="T41" fmla="*/ 95 h 394"/>
                <a:gd name="T42" fmla="*/ 190 w 622"/>
                <a:gd name="T43" fmla="*/ 105 h 394"/>
                <a:gd name="T44" fmla="*/ 167 w 622"/>
                <a:gd name="T45" fmla="*/ 112 h 394"/>
                <a:gd name="T46" fmla="*/ 145 w 622"/>
                <a:gd name="T47" fmla="*/ 118 h 394"/>
                <a:gd name="T48" fmla="*/ 98 w 622"/>
                <a:gd name="T49" fmla="*/ 134 h 394"/>
                <a:gd name="T50" fmla="*/ 81 w 622"/>
                <a:gd name="T51" fmla="*/ 142 h 394"/>
                <a:gd name="T52" fmla="*/ 67 w 622"/>
                <a:gd name="T53" fmla="*/ 150 h 394"/>
                <a:gd name="T54" fmla="*/ 58 w 622"/>
                <a:gd name="T55" fmla="*/ 161 h 394"/>
                <a:gd name="T56" fmla="*/ 51 w 622"/>
                <a:gd name="T57" fmla="*/ 173 h 394"/>
                <a:gd name="T58" fmla="*/ 48 w 622"/>
                <a:gd name="T59" fmla="*/ 191 h 394"/>
                <a:gd name="T60" fmla="*/ 47 w 622"/>
                <a:gd name="T61" fmla="*/ 210 h 394"/>
                <a:gd name="T62" fmla="*/ 576 w 622"/>
                <a:gd name="T63" fmla="*/ 348 h 394"/>
                <a:gd name="T64" fmla="*/ 575 w 622"/>
                <a:gd name="T65" fmla="*/ 200 h 394"/>
                <a:gd name="T66" fmla="*/ 573 w 622"/>
                <a:gd name="T67" fmla="*/ 182 h 394"/>
                <a:gd name="T68" fmla="*/ 568 w 622"/>
                <a:gd name="T69" fmla="*/ 167 h 394"/>
                <a:gd name="T70" fmla="*/ 560 w 622"/>
                <a:gd name="T71" fmla="*/ 155 h 394"/>
                <a:gd name="T72" fmla="*/ 548 w 622"/>
                <a:gd name="T73" fmla="*/ 145 h 394"/>
                <a:gd name="T74" fmla="*/ 534 w 622"/>
                <a:gd name="T75" fmla="*/ 138 h 394"/>
                <a:gd name="T76" fmla="*/ 503 w 622"/>
                <a:gd name="T77" fmla="*/ 127 h 394"/>
                <a:gd name="T78" fmla="*/ 466 w 622"/>
                <a:gd name="T79" fmla="*/ 116 h 394"/>
                <a:gd name="T80" fmla="*/ 444 w 622"/>
                <a:gd name="T81" fmla="*/ 108 h 394"/>
                <a:gd name="T82" fmla="*/ 419 w 622"/>
                <a:gd name="T83" fmla="*/ 100 h 394"/>
                <a:gd name="T84" fmla="*/ 400 w 622"/>
                <a:gd name="T85" fmla="*/ 89 h 394"/>
                <a:gd name="T86" fmla="*/ 383 w 622"/>
                <a:gd name="T87" fmla="*/ 75 h 394"/>
                <a:gd name="T88" fmla="*/ 370 w 622"/>
                <a:gd name="T89" fmla="*/ 62 h 394"/>
                <a:gd name="T90" fmla="*/ 359 w 622"/>
                <a:gd name="T91" fmla="*/ 40 h 394"/>
                <a:gd name="T92" fmla="*/ 352 w 622"/>
                <a:gd name="T93" fmla="*/ 12 h 394"/>
                <a:gd name="T94" fmla="*/ 399 w 622"/>
                <a:gd name="T95" fmla="*/ 4 h 394"/>
                <a:gd name="T96" fmla="*/ 399 w 622"/>
                <a:gd name="T97" fmla="*/ 13 h 394"/>
                <a:gd name="T98" fmla="*/ 403 w 622"/>
                <a:gd name="T99" fmla="*/ 27 h 394"/>
                <a:gd name="T100" fmla="*/ 418 w 622"/>
                <a:gd name="T101" fmla="*/ 46 h 394"/>
                <a:gd name="T102" fmla="*/ 430 w 622"/>
                <a:gd name="T103" fmla="*/ 54 h 394"/>
                <a:gd name="T104" fmla="*/ 446 w 622"/>
                <a:gd name="T105" fmla="*/ 61 h 394"/>
                <a:gd name="T106" fmla="*/ 469 w 622"/>
                <a:gd name="T107" fmla="*/ 68 h 394"/>
                <a:gd name="T108" fmla="*/ 491 w 622"/>
                <a:gd name="T109" fmla="*/ 74 h 394"/>
                <a:gd name="T110" fmla="*/ 541 w 622"/>
                <a:gd name="T111" fmla="*/ 91 h 394"/>
                <a:gd name="T112" fmla="*/ 563 w 622"/>
                <a:gd name="T113" fmla="*/ 101 h 394"/>
                <a:gd name="T114" fmla="*/ 583 w 622"/>
                <a:gd name="T115" fmla="*/ 113 h 394"/>
                <a:gd name="T116" fmla="*/ 599 w 622"/>
                <a:gd name="T117" fmla="*/ 130 h 394"/>
                <a:gd name="T118" fmla="*/ 612 w 622"/>
                <a:gd name="T119" fmla="*/ 151 h 394"/>
                <a:gd name="T120" fmla="*/ 619 w 622"/>
                <a:gd name="T121" fmla="*/ 177 h 394"/>
                <a:gd name="T122" fmla="*/ 622 w 622"/>
                <a:gd name="T123"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4">
                  <a:moveTo>
                    <a:pt x="622" y="394"/>
                  </a:moveTo>
                  <a:lnTo>
                    <a:pt x="0" y="394"/>
                  </a:lnTo>
                  <a:lnTo>
                    <a:pt x="0" y="210"/>
                  </a:lnTo>
                  <a:lnTo>
                    <a:pt x="1" y="193"/>
                  </a:lnTo>
                  <a:lnTo>
                    <a:pt x="2" y="177"/>
                  </a:lnTo>
                  <a:lnTo>
                    <a:pt x="6" y="164"/>
                  </a:lnTo>
                  <a:lnTo>
                    <a:pt x="11" y="151"/>
                  </a:lnTo>
                  <a:lnTo>
                    <a:pt x="16" y="140"/>
                  </a:lnTo>
                  <a:lnTo>
                    <a:pt x="23" y="130"/>
                  </a:lnTo>
                  <a:lnTo>
                    <a:pt x="31" y="122"/>
                  </a:lnTo>
                  <a:lnTo>
                    <a:pt x="39" y="113"/>
                  </a:lnTo>
                  <a:lnTo>
                    <a:pt x="49" y="107"/>
                  </a:lnTo>
                  <a:lnTo>
                    <a:pt x="59" y="101"/>
                  </a:lnTo>
                  <a:lnTo>
                    <a:pt x="70" y="95"/>
                  </a:lnTo>
                  <a:lnTo>
                    <a:pt x="82" y="91"/>
                  </a:lnTo>
                  <a:lnTo>
                    <a:pt x="105" y="83"/>
                  </a:lnTo>
                  <a:lnTo>
                    <a:pt x="132" y="74"/>
                  </a:lnTo>
                  <a:lnTo>
                    <a:pt x="142" y="72"/>
                  </a:lnTo>
                  <a:lnTo>
                    <a:pt x="153" y="68"/>
                  </a:lnTo>
                  <a:lnTo>
                    <a:pt x="164" y="64"/>
                  </a:lnTo>
                  <a:lnTo>
                    <a:pt x="175" y="61"/>
                  </a:lnTo>
                  <a:lnTo>
                    <a:pt x="184" y="57"/>
                  </a:lnTo>
                  <a:lnTo>
                    <a:pt x="191" y="54"/>
                  </a:lnTo>
                  <a:lnTo>
                    <a:pt x="199" y="50"/>
                  </a:lnTo>
                  <a:lnTo>
                    <a:pt x="204" y="46"/>
                  </a:lnTo>
                  <a:lnTo>
                    <a:pt x="212" y="37"/>
                  </a:lnTo>
                  <a:lnTo>
                    <a:pt x="218" y="27"/>
                  </a:lnTo>
                  <a:lnTo>
                    <a:pt x="222" y="19"/>
                  </a:lnTo>
                  <a:lnTo>
                    <a:pt x="223" y="13"/>
                  </a:lnTo>
                  <a:lnTo>
                    <a:pt x="224" y="7"/>
                  </a:lnTo>
                  <a:lnTo>
                    <a:pt x="224" y="4"/>
                  </a:lnTo>
                  <a:lnTo>
                    <a:pt x="270" y="0"/>
                  </a:lnTo>
                  <a:lnTo>
                    <a:pt x="270" y="12"/>
                  </a:lnTo>
                  <a:lnTo>
                    <a:pt x="267" y="25"/>
                  </a:lnTo>
                  <a:lnTo>
                    <a:pt x="264" y="40"/>
                  </a:lnTo>
                  <a:lnTo>
                    <a:pt x="256" y="54"/>
                  </a:lnTo>
                  <a:lnTo>
                    <a:pt x="251" y="62"/>
                  </a:lnTo>
                  <a:lnTo>
                    <a:pt x="245" y="69"/>
                  </a:lnTo>
                  <a:lnTo>
                    <a:pt x="239" y="75"/>
                  </a:lnTo>
                  <a:lnTo>
                    <a:pt x="232" y="83"/>
                  </a:lnTo>
                  <a:lnTo>
                    <a:pt x="223" y="89"/>
                  </a:lnTo>
                  <a:lnTo>
                    <a:pt x="213" y="95"/>
                  </a:lnTo>
                  <a:lnTo>
                    <a:pt x="202" y="100"/>
                  </a:lnTo>
                  <a:lnTo>
                    <a:pt x="190" y="105"/>
                  </a:lnTo>
                  <a:lnTo>
                    <a:pt x="179" y="108"/>
                  </a:lnTo>
                  <a:lnTo>
                    <a:pt x="167" y="112"/>
                  </a:lnTo>
                  <a:lnTo>
                    <a:pt x="156" y="116"/>
                  </a:lnTo>
                  <a:lnTo>
                    <a:pt x="145" y="118"/>
                  </a:lnTo>
                  <a:lnTo>
                    <a:pt x="119" y="127"/>
                  </a:lnTo>
                  <a:lnTo>
                    <a:pt x="98" y="134"/>
                  </a:lnTo>
                  <a:lnTo>
                    <a:pt x="88" y="138"/>
                  </a:lnTo>
                  <a:lnTo>
                    <a:pt x="81" y="142"/>
                  </a:lnTo>
                  <a:lnTo>
                    <a:pt x="74" y="145"/>
                  </a:lnTo>
                  <a:lnTo>
                    <a:pt x="67" y="150"/>
                  </a:lnTo>
                  <a:lnTo>
                    <a:pt x="63" y="155"/>
                  </a:lnTo>
                  <a:lnTo>
                    <a:pt x="58" y="161"/>
                  </a:lnTo>
                  <a:lnTo>
                    <a:pt x="54" y="167"/>
                  </a:lnTo>
                  <a:lnTo>
                    <a:pt x="51" y="173"/>
                  </a:lnTo>
                  <a:lnTo>
                    <a:pt x="49" y="182"/>
                  </a:lnTo>
                  <a:lnTo>
                    <a:pt x="48" y="191"/>
                  </a:lnTo>
                  <a:lnTo>
                    <a:pt x="47" y="200"/>
                  </a:lnTo>
                  <a:lnTo>
                    <a:pt x="47" y="210"/>
                  </a:lnTo>
                  <a:lnTo>
                    <a:pt x="47" y="348"/>
                  </a:lnTo>
                  <a:lnTo>
                    <a:pt x="576" y="348"/>
                  </a:lnTo>
                  <a:lnTo>
                    <a:pt x="576" y="210"/>
                  </a:lnTo>
                  <a:lnTo>
                    <a:pt x="575" y="200"/>
                  </a:lnTo>
                  <a:lnTo>
                    <a:pt x="575" y="191"/>
                  </a:lnTo>
                  <a:lnTo>
                    <a:pt x="573" y="182"/>
                  </a:lnTo>
                  <a:lnTo>
                    <a:pt x="572" y="173"/>
                  </a:lnTo>
                  <a:lnTo>
                    <a:pt x="568" y="167"/>
                  </a:lnTo>
                  <a:lnTo>
                    <a:pt x="564" y="161"/>
                  </a:lnTo>
                  <a:lnTo>
                    <a:pt x="560" y="155"/>
                  </a:lnTo>
                  <a:lnTo>
                    <a:pt x="554" y="150"/>
                  </a:lnTo>
                  <a:lnTo>
                    <a:pt x="548" y="145"/>
                  </a:lnTo>
                  <a:lnTo>
                    <a:pt x="541" y="142"/>
                  </a:lnTo>
                  <a:lnTo>
                    <a:pt x="534" y="138"/>
                  </a:lnTo>
                  <a:lnTo>
                    <a:pt x="524" y="134"/>
                  </a:lnTo>
                  <a:lnTo>
                    <a:pt x="503" y="127"/>
                  </a:lnTo>
                  <a:lnTo>
                    <a:pt x="477" y="118"/>
                  </a:lnTo>
                  <a:lnTo>
                    <a:pt x="466" y="116"/>
                  </a:lnTo>
                  <a:lnTo>
                    <a:pt x="455" y="112"/>
                  </a:lnTo>
                  <a:lnTo>
                    <a:pt x="444" y="108"/>
                  </a:lnTo>
                  <a:lnTo>
                    <a:pt x="432" y="105"/>
                  </a:lnTo>
                  <a:lnTo>
                    <a:pt x="419" y="100"/>
                  </a:lnTo>
                  <a:lnTo>
                    <a:pt x="410" y="95"/>
                  </a:lnTo>
                  <a:lnTo>
                    <a:pt x="400" y="89"/>
                  </a:lnTo>
                  <a:lnTo>
                    <a:pt x="391" y="83"/>
                  </a:lnTo>
                  <a:lnTo>
                    <a:pt x="383" y="75"/>
                  </a:lnTo>
                  <a:lnTo>
                    <a:pt x="377" y="69"/>
                  </a:lnTo>
                  <a:lnTo>
                    <a:pt x="370" y="62"/>
                  </a:lnTo>
                  <a:lnTo>
                    <a:pt x="367" y="54"/>
                  </a:lnTo>
                  <a:lnTo>
                    <a:pt x="359" y="40"/>
                  </a:lnTo>
                  <a:lnTo>
                    <a:pt x="354" y="25"/>
                  </a:lnTo>
                  <a:lnTo>
                    <a:pt x="352" y="12"/>
                  </a:lnTo>
                  <a:lnTo>
                    <a:pt x="352" y="0"/>
                  </a:lnTo>
                  <a:lnTo>
                    <a:pt x="399" y="4"/>
                  </a:lnTo>
                  <a:lnTo>
                    <a:pt x="399" y="7"/>
                  </a:lnTo>
                  <a:lnTo>
                    <a:pt x="399" y="13"/>
                  </a:lnTo>
                  <a:lnTo>
                    <a:pt x="401" y="19"/>
                  </a:lnTo>
                  <a:lnTo>
                    <a:pt x="403" y="27"/>
                  </a:lnTo>
                  <a:lnTo>
                    <a:pt x="410" y="37"/>
                  </a:lnTo>
                  <a:lnTo>
                    <a:pt x="418" y="46"/>
                  </a:lnTo>
                  <a:lnTo>
                    <a:pt x="424" y="50"/>
                  </a:lnTo>
                  <a:lnTo>
                    <a:pt x="430" y="54"/>
                  </a:lnTo>
                  <a:lnTo>
                    <a:pt x="438" y="57"/>
                  </a:lnTo>
                  <a:lnTo>
                    <a:pt x="446" y="61"/>
                  </a:lnTo>
                  <a:lnTo>
                    <a:pt x="457" y="64"/>
                  </a:lnTo>
                  <a:lnTo>
                    <a:pt x="469" y="68"/>
                  </a:lnTo>
                  <a:lnTo>
                    <a:pt x="480" y="72"/>
                  </a:lnTo>
                  <a:lnTo>
                    <a:pt x="491" y="74"/>
                  </a:lnTo>
                  <a:lnTo>
                    <a:pt x="516" y="83"/>
                  </a:lnTo>
                  <a:lnTo>
                    <a:pt x="541" y="91"/>
                  </a:lnTo>
                  <a:lnTo>
                    <a:pt x="552" y="95"/>
                  </a:lnTo>
                  <a:lnTo>
                    <a:pt x="563" y="101"/>
                  </a:lnTo>
                  <a:lnTo>
                    <a:pt x="573" y="107"/>
                  </a:lnTo>
                  <a:lnTo>
                    <a:pt x="583" y="113"/>
                  </a:lnTo>
                  <a:lnTo>
                    <a:pt x="591" y="122"/>
                  </a:lnTo>
                  <a:lnTo>
                    <a:pt x="599" y="130"/>
                  </a:lnTo>
                  <a:lnTo>
                    <a:pt x="606" y="140"/>
                  </a:lnTo>
                  <a:lnTo>
                    <a:pt x="612" y="151"/>
                  </a:lnTo>
                  <a:lnTo>
                    <a:pt x="616" y="164"/>
                  </a:lnTo>
                  <a:lnTo>
                    <a:pt x="619" y="177"/>
                  </a:lnTo>
                  <a:lnTo>
                    <a:pt x="622" y="193"/>
                  </a:lnTo>
                  <a:lnTo>
                    <a:pt x="622" y="210"/>
                  </a:lnTo>
                  <a:lnTo>
                    <a:pt x="622"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4" name="Freeform 111">
              <a:extLst>
                <a:ext uri="{FF2B5EF4-FFF2-40B4-BE49-F238E27FC236}">
                  <a16:creationId xmlns:a16="http://schemas.microsoft.com/office/drawing/2014/main" id="{F9E26865-F701-417A-B138-4DC5C5C41B08}"/>
                </a:ext>
              </a:extLst>
            </p:cNvPr>
            <p:cNvSpPr>
              <a:spLocks/>
            </p:cNvSpPr>
            <p:nvPr/>
          </p:nvSpPr>
          <p:spPr bwMode="auto">
            <a:xfrm>
              <a:off x="4506913" y="5330825"/>
              <a:ext cx="130175" cy="34925"/>
            </a:xfrm>
            <a:custGeom>
              <a:avLst/>
              <a:gdLst>
                <a:gd name="T0" fmla="*/ 78 w 325"/>
                <a:gd name="T1" fmla="*/ 87 h 87"/>
                <a:gd name="T2" fmla="*/ 59 w 325"/>
                <a:gd name="T3" fmla="*/ 87 h 87"/>
                <a:gd name="T4" fmla="*/ 40 w 325"/>
                <a:gd name="T5" fmla="*/ 85 h 87"/>
                <a:gd name="T6" fmla="*/ 20 w 325"/>
                <a:gd name="T7" fmla="*/ 82 h 87"/>
                <a:gd name="T8" fmla="*/ 0 w 325"/>
                <a:gd name="T9" fmla="*/ 77 h 87"/>
                <a:gd name="T10" fmla="*/ 11 w 325"/>
                <a:gd name="T11" fmla="*/ 33 h 87"/>
                <a:gd name="T12" fmla="*/ 32 w 325"/>
                <a:gd name="T13" fmla="*/ 38 h 87"/>
                <a:gd name="T14" fmla="*/ 53 w 325"/>
                <a:gd name="T15" fmla="*/ 41 h 87"/>
                <a:gd name="T16" fmla="*/ 74 w 325"/>
                <a:gd name="T17" fmla="*/ 42 h 87"/>
                <a:gd name="T18" fmla="*/ 92 w 325"/>
                <a:gd name="T19" fmla="*/ 41 h 87"/>
                <a:gd name="T20" fmla="*/ 110 w 325"/>
                <a:gd name="T21" fmla="*/ 39 h 87"/>
                <a:gd name="T22" fmla="*/ 126 w 325"/>
                <a:gd name="T23" fmla="*/ 37 h 87"/>
                <a:gd name="T24" fmla="*/ 142 w 325"/>
                <a:gd name="T25" fmla="*/ 33 h 87"/>
                <a:gd name="T26" fmla="*/ 157 w 325"/>
                <a:gd name="T27" fmla="*/ 30 h 87"/>
                <a:gd name="T28" fmla="*/ 181 w 325"/>
                <a:gd name="T29" fmla="*/ 21 h 87"/>
                <a:gd name="T30" fmla="*/ 200 w 325"/>
                <a:gd name="T31" fmla="*/ 14 h 87"/>
                <a:gd name="T32" fmla="*/ 212 w 325"/>
                <a:gd name="T33" fmla="*/ 8 h 87"/>
                <a:gd name="T34" fmla="*/ 216 w 325"/>
                <a:gd name="T35" fmla="*/ 4 h 87"/>
                <a:gd name="T36" fmla="*/ 219 w 325"/>
                <a:gd name="T37" fmla="*/ 3 h 87"/>
                <a:gd name="T38" fmla="*/ 223 w 325"/>
                <a:gd name="T39" fmla="*/ 1 h 87"/>
                <a:gd name="T40" fmla="*/ 228 w 325"/>
                <a:gd name="T41" fmla="*/ 0 h 87"/>
                <a:gd name="T42" fmla="*/ 232 w 325"/>
                <a:gd name="T43" fmla="*/ 0 h 87"/>
                <a:gd name="T44" fmla="*/ 235 w 325"/>
                <a:gd name="T45" fmla="*/ 1 h 87"/>
                <a:gd name="T46" fmla="*/ 239 w 325"/>
                <a:gd name="T47" fmla="*/ 3 h 87"/>
                <a:gd name="T48" fmla="*/ 243 w 325"/>
                <a:gd name="T49" fmla="*/ 5 h 87"/>
                <a:gd name="T50" fmla="*/ 245 w 325"/>
                <a:gd name="T51" fmla="*/ 8 h 87"/>
                <a:gd name="T52" fmla="*/ 251 w 325"/>
                <a:gd name="T53" fmla="*/ 11 h 87"/>
                <a:gd name="T54" fmla="*/ 266 w 325"/>
                <a:gd name="T55" fmla="*/ 20 h 87"/>
                <a:gd name="T56" fmla="*/ 277 w 325"/>
                <a:gd name="T57" fmla="*/ 25 h 87"/>
                <a:gd name="T58" fmla="*/ 291 w 325"/>
                <a:gd name="T59" fmla="*/ 28 h 87"/>
                <a:gd name="T60" fmla="*/ 307 w 325"/>
                <a:gd name="T61" fmla="*/ 32 h 87"/>
                <a:gd name="T62" fmla="*/ 325 w 325"/>
                <a:gd name="T63" fmla="*/ 32 h 87"/>
                <a:gd name="T64" fmla="*/ 325 w 325"/>
                <a:gd name="T65" fmla="*/ 79 h 87"/>
                <a:gd name="T66" fmla="*/ 308 w 325"/>
                <a:gd name="T67" fmla="*/ 77 h 87"/>
                <a:gd name="T68" fmla="*/ 292 w 325"/>
                <a:gd name="T69" fmla="*/ 76 h 87"/>
                <a:gd name="T70" fmla="*/ 278 w 325"/>
                <a:gd name="T71" fmla="*/ 73 h 87"/>
                <a:gd name="T72" fmla="*/ 265 w 325"/>
                <a:gd name="T73" fmla="*/ 69 h 87"/>
                <a:gd name="T74" fmla="*/ 254 w 325"/>
                <a:gd name="T75" fmla="*/ 65 h 87"/>
                <a:gd name="T76" fmla="*/ 243 w 325"/>
                <a:gd name="T77" fmla="*/ 60 h 87"/>
                <a:gd name="T78" fmla="*/ 234 w 325"/>
                <a:gd name="T79" fmla="*/ 55 h 87"/>
                <a:gd name="T80" fmla="*/ 227 w 325"/>
                <a:gd name="T81" fmla="*/ 52 h 87"/>
                <a:gd name="T82" fmla="*/ 217 w 325"/>
                <a:gd name="T83" fmla="*/ 57 h 87"/>
                <a:gd name="T84" fmla="*/ 204 w 325"/>
                <a:gd name="T85" fmla="*/ 63 h 87"/>
                <a:gd name="T86" fmla="*/ 188 w 325"/>
                <a:gd name="T87" fmla="*/ 69 h 87"/>
                <a:gd name="T88" fmla="*/ 170 w 325"/>
                <a:gd name="T89" fmla="*/ 74 h 87"/>
                <a:gd name="T90" fmla="*/ 150 w 325"/>
                <a:gd name="T91" fmla="*/ 80 h 87"/>
                <a:gd name="T92" fmla="*/ 127 w 325"/>
                <a:gd name="T93" fmla="*/ 84 h 87"/>
                <a:gd name="T94" fmla="*/ 103 w 325"/>
                <a:gd name="T95" fmla="*/ 86 h 87"/>
                <a:gd name="T96" fmla="*/ 78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8" y="87"/>
                  </a:moveTo>
                  <a:lnTo>
                    <a:pt x="59" y="87"/>
                  </a:lnTo>
                  <a:lnTo>
                    <a:pt x="40" y="85"/>
                  </a:lnTo>
                  <a:lnTo>
                    <a:pt x="20" y="82"/>
                  </a:lnTo>
                  <a:lnTo>
                    <a:pt x="0" y="77"/>
                  </a:lnTo>
                  <a:lnTo>
                    <a:pt x="11" y="33"/>
                  </a:lnTo>
                  <a:lnTo>
                    <a:pt x="32" y="38"/>
                  </a:lnTo>
                  <a:lnTo>
                    <a:pt x="53" y="41"/>
                  </a:lnTo>
                  <a:lnTo>
                    <a:pt x="74" y="42"/>
                  </a:lnTo>
                  <a:lnTo>
                    <a:pt x="92" y="41"/>
                  </a:lnTo>
                  <a:lnTo>
                    <a:pt x="110" y="39"/>
                  </a:lnTo>
                  <a:lnTo>
                    <a:pt x="126" y="37"/>
                  </a:lnTo>
                  <a:lnTo>
                    <a:pt x="142" y="33"/>
                  </a:lnTo>
                  <a:lnTo>
                    <a:pt x="157" y="30"/>
                  </a:lnTo>
                  <a:lnTo>
                    <a:pt x="181" y="21"/>
                  </a:lnTo>
                  <a:lnTo>
                    <a:pt x="200" y="14"/>
                  </a:lnTo>
                  <a:lnTo>
                    <a:pt x="212" y="8"/>
                  </a:lnTo>
                  <a:lnTo>
                    <a:pt x="216" y="4"/>
                  </a:lnTo>
                  <a:lnTo>
                    <a:pt x="219" y="3"/>
                  </a:lnTo>
                  <a:lnTo>
                    <a:pt x="223" y="1"/>
                  </a:lnTo>
                  <a:lnTo>
                    <a:pt x="228" y="0"/>
                  </a:lnTo>
                  <a:lnTo>
                    <a:pt x="232" y="0"/>
                  </a:lnTo>
                  <a:lnTo>
                    <a:pt x="235" y="1"/>
                  </a:lnTo>
                  <a:lnTo>
                    <a:pt x="239" y="3"/>
                  </a:lnTo>
                  <a:lnTo>
                    <a:pt x="243" y="5"/>
                  </a:lnTo>
                  <a:lnTo>
                    <a:pt x="245" y="8"/>
                  </a:lnTo>
                  <a:lnTo>
                    <a:pt x="251" y="11"/>
                  </a:lnTo>
                  <a:lnTo>
                    <a:pt x="266" y="20"/>
                  </a:lnTo>
                  <a:lnTo>
                    <a:pt x="277" y="25"/>
                  </a:lnTo>
                  <a:lnTo>
                    <a:pt x="291" y="28"/>
                  </a:lnTo>
                  <a:lnTo>
                    <a:pt x="307" y="32"/>
                  </a:lnTo>
                  <a:lnTo>
                    <a:pt x="325" y="32"/>
                  </a:lnTo>
                  <a:lnTo>
                    <a:pt x="325" y="79"/>
                  </a:lnTo>
                  <a:lnTo>
                    <a:pt x="308" y="77"/>
                  </a:lnTo>
                  <a:lnTo>
                    <a:pt x="292" y="76"/>
                  </a:lnTo>
                  <a:lnTo>
                    <a:pt x="278" y="73"/>
                  </a:lnTo>
                  <a:lnTo>
                    <a:pt x="265" y="69"/>
                  </a:lnTo>
                  <a:lnTo>
                    <a:pt x="254" y="65"/>
                  </a:lnTo>
                  <a:lnTo>
                    <a:pt x="243" y="60"/>
                  </a:lnTo>
                  <a:lnTo>
                    <a:pt x="234" y="55"/>
                  </a:lnTo>
                  <a:lnTo>
                    <a:pt x="227" y="52"/>
                  </a:lnTo>
                  <a:lnTo>
                    <a:pt x="217" y="57"/>
                  </a:lnTo>
                  <a:lnTo>
                    <a:pt x="204" y="63"/>
                  </a:lnTo>
                  <a:lnTo>
                    <a:pt x="188" y="69"/>
                  </a:lnTo>
                  <a:lnTo>
                    <a:pt x="170" y="74"/>
                  </a:lnTo>
                  <a:lnTo>
                    <a:pt x="150" y="80"/>
                  </a:lnTo>
                  <a:lnTo>
                    <a:pt x="127" y="84"/>
                  </a:lnTo>
                  <a:lnTo>
                    <a:pt x="103" y="86"/>
                  </a:lnTo>
                  <a:lnTo>
                    <a:pt x="78"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5" name="Freeform 173">
              <a:extLst>
                <a:ext uri="{FF2B5EF4-FFF2-40B4-BE49-F238E27FC236}">
                  <a16:creationId xmlns:a16="http://schemas.microsoft.com/office/drawing/2014/main" id="{B3720F0F-96B6-451F-B61E-269F06811910}"/>
                </a:ext>
              </a:extLst>
            </p:cNvPr>
            <p:cNvSpPr>
              <a:spLocks/>
            </p:cNvSpPr>
            <p:nvPr/>
          </p:nvSpPr>
          <p:spPr bwMode="auto">
            <a:xfrm>
              <a:off x="4346576" y="5219700"/>
              <a:ext cx="215900" cy="455613"/>
            </a:xfrm>
            <a:custGeom>
              <a:avLst/>
              <a:gdLst>
                <a:gd name="T0" fmla="*/ 520 w 546"/>
                <a:gd name="T1" fmla="*/ 1147 h 1147"/>
                <a:gd name="T2" fmla="*/ 439 w 546"/>
                <a:gd name="T3" fmla="*/ 1132 h 1147"/>
                <a:gd name="T4" fmla="*/ 363 w 546"/>
                <a:gd name="T5" fmla="*/ 1109 h 1147"/>
                <a:gd name="T6" fmla="*/ 290 w 546"/>
                <a:gd name="T7" fmla="*/ 1075 h 1147"/>
                <a:gd name="T8" fmla="*/ 225 w 546"/>
                <a:gd name="T9" fmla="*/ 1032 h 1147"/>
                <a:gd name="T10" fmla="*/ 167 w 546"/>
                <a:gd name="T11" fmla="*/ 980 h 1147"/>
                <a:gd name="T12" fmla="*/ 116 w 546"/>
                <a:gd name="T13" fmla="*/ 922 h 1147"/>
                <a:gd name="T14" fmla="*/ 73 w 546"/>
                <a:gd name="T15" fmla="*/ 856 h 1147"/>
                <a:gd name="T16" fmla="*/ 40 w 546"/>
                <a:gd name="T17" fmla="*/ 785 h 1147"/>
                <a:gd name="T18" fmla="*/ 16 w 546"/>
                <a:gd name="T19" fmla="*/ 709 h 1147"/>
                <a:gd name="T20" fmla="*/ 3 w 546"/>
                <a:gd name="T21" fmla="*/ 628 h 1147"/>
                <a:gd name="T22" fmla="*/ 1 w 546"/>
                <a:gd name="T23" fmla="*/ 546 h 1147"/>
                <a:gd name="T24" fmla="*/ 11 w 546"/>
                <a:gd name="T25" fmla="*/ 465 h 1147"/>
                <a:gd name="T26" fmla="*/ 30 w 546"/>
                <a:gd name="T27" fmla="*/ 388 h 1147"/>
                <a:gd name="T28" fmla="*/ 61 w 546"/>
                <a:gd name="T29" fmla="*/ 316 h 1147"/>
                <a:gd name="T30" fmla="*/ 100 w 546"/>
                <a:gd name="T31" fmla="*/ 248 h 1147"/>
                <a:gd name="T32" fmla="*/ 148 w 546"/>
                <a:gd name="T33" fmla="*/ 187 h 1147"/>
                <a:gd name="T34" fmla="*/ 205 w 546"/>
                <a:gd name="T35" fmla="*/ 133 h 1147"/>
                <a:gd name="T36" fmla="*/ 267 w 546"/>
                <a:gd name="T37" fmla="*/ 87 h 1147"/>
                <a:gd name="T38" fmla="*/ 336 w 546"/>
                <a:gd name="T39" fmla="*/ 49 h 1147"/>
                <a:gd name="T40" fmla="*/ 411 w 546"/>
                <a:gd name="T41" fmla="*/ 21 h 1147"/>
                <a:gd name="T42" fmla="*/ 490 w 546"/>
                <a:gd name="T43" fmla="*/ 4 h 1147"/>
                <a:gd name="T44" fmla="*/ 527 w 546"/>
                <a:gd name="T45" fmla="*/ 2 h 1147"/>
                <a:gd name="T46" fmla="*/ 537 w 546"/>
                <a:gd name="T47" fmla="*/ 9 h 1147"/>
                <a:gd name="T48" fmla="*/ 543 w 546"/>
                <a:gd name="T49" fmla="*/ 21 h 1147"/>
                <a:gd name="T50" fmla="*/ 541 w 546"/>
                <a:gd name="T51" fmla="*/ 35 h 1147"/>
                <a:gd name="T52" fmla="*/ 531 w 546"/>
                <a:gd name="T53" fmla="*/ 43 h 1147"/>
                <a:gd name="T54" fmla="*/ 496 w 546"/>
                <a:gd name="T55" fmla="*/ 49 h 1147"/>
                <a:gd name="T56" fmla="*/ 424 w 546"/>
                <a:gd name="T57" fmla="*/ 65 h 1147"/>
                <a:gd name="T58" fmla="*/ 355 w 546"/>
                <a:gd name="T59" fmla="*/ 91 h 1147"/>
                <a:gd name="T60" fmla="*/ 292 w 546"/>
                <a:gd name="T61" fmla="*/ 125 h 1147"/>
                <a:gd name="T62" fmla="*/ 234 w 546"/>
                <a:gd name="T63" fmla="*/ 168 h 1147"/>
                <a:gd name="T64" fmla="*/ 182 w 546"/>
                <a:gd name="T65" fmla="*/ 217 h 1147"/>
                <a:gd name="T66" fmla="*/ 138 w 546"/>
                <a:gd name="T67" fmla="*/ 274 h 1147"/>
                <a:gd name="T68" fmla="*/ 102 w 546"/>
                <a:gd name="T69" fmla="*/ 335 h 1147"/>
                <a:gd name="T70" fmla="*/ 75 w 546"/>
                <a:gd name="T71" fmla="*/ 403 h 1147"/>
                <a:gd name="T72" fmla="*/ 56 w 546"/>
                <a:gd name="T73" fmla="*/ 474 h 1147"/>
                <a:gd name="T74" fmla="*/ 46 w 546"/>
                <a:gd name="T75" fmla="*/ 547 h 1147"/>
                <a:gd name="T76" fmla="*/ 49 w 546"/>
                <a:gd name="T77" fmla="*/ 625 h 1147"/>
                <a:gd name="T78" fmla="*/ 61 w 546"/>
                <a:gd name="T79" fmla="*/ 698 h 1147"/>
                <a:gd name="T80" fmla="*/ 83 w 546"/>
                <a:gd name="T81" fmla="*/ 768 h 1147"/>
                <a:gd name="T82" fmla="*/ 114 w 546"/>
                <a:gd name="T83" fmla="*/ 833 h 1147"/>
                <a:gd name="T84" fmla="*/ 153 w 546"/>
                <a:gd name="T85" fmla="*/ 893 h 1147"/>
                <a:gd name="T86" fmla="*/ 200 w 546"/>
                <a:gd name="T87" fmla="*/ 947 h 1147"/>
                <a:gd name="T88" fmla="*/ 254 w 546"/>
                <a:gd name="T89" fmla="*/ 995 h 1147"/>
                <a:gd name="T90" fmla="*/ 314 w 546"/>
                <a:gd name="T91" fmla="*/ 1034 h 1147"/>
                <a:gd name="T92" fmla="*/ 379 w 546"/>
                <a:gd name="T93" fmla="*/ 1066 h 1147"/>
                <a:gd name="T94" fmla="*/ 450 w 546"/>
                <a:gd name="T95" fmla="*/ 1088 h 1147"/>
                <a:gd name="T96" fmla="*/ 525 w 546"/>
                <a:gd name="T97" fmla="*/ 1101 h 1147"/>
                <a:gd name="T98" fmla="*/ 537 w 546"/>
                <a:gd name="T99" fmla="*/ 1106 h 1147"/>
                <a:gd name="T100" fmla="*/ 544 w 546"/>
                <a:gd name="T101" fmla="*/ 1117 h 1147"/>
                <a:gd name="T102" fmla="*/ 544 w 546"/>
                <a:gd name="T103" fmla="*/ 1130 h 1147"/>
                <a:gd name="T104" fmla="*/ 538 w 546"/>
                <a:gd name="T105" fmla="*/ 1141 h 1147"/>
                <a:gd name="T106" fmla="*/ 527 w 546"/>
                <a:gd name="T107" fmla="*/ 1146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7">
                  <a:moveTo>
                    <a:pt x="522" y="1147"/>
                  </a:moveTo>
                  <a:lnTo>
                    <a:pt x="521" y="1147"/>
                  </a:lnTo>
                  <a:lnTo>
                    <a:pt x="520" y="1147"/>
                  </a:lnTo>
                  <a:lnTo>
                    <a:pt x="493" y="1144"/>
                  </a:lnTo>
                  <a:lnTo>
                    <a:pt x="466" y="1139"/>
                  </a:lnTo>
                  <a:lnTo>
                    <a:pt x="439" y="1132"/>
                  </a:lnTo>
                  <a:lnTo>
                    <a:pt x="413" y="1126"/>
                  </a:lnTo>
                  <a:lnTo>
                    <a:pt x="387" y="1118"/>
                  </a:lnTo>
                  <a:lnTo>
                    <a:pt x="363" y="1109"/>
                  </a:lnTo>
                  <a:lnTo>
                    <a:pt x="338" y="1098"/>
                  </a:lnTo>
                  <a:lnTo>
                    <a:pt x="314" y="1087"/>
                  </a:lnTo>
                  <a:lnTo>
                    <a:pt x="290" y="1075"/>
                  </a:lnTo>
                  <a:lnTo>
                    <a:pt x="268" y="1061"/>
                  </a:lnTo>
                  <a:lnTo>
                    <a:pt x="246" y="1047"/>
                  </a:lnTo>
                  <a:lnTo>
                    <a:pt x="225" y="1032"/>
                  </a:lnTo>
                  <a:lnTo>
                    <a:pt x="206" y="1015"/>
                  </a:lnTo>
                  <a:lnTo>
                    <a:pt x="186" y="998"/>
                  </a:lnTo>
                  <a:lnTo>
                    <a:pt x="167" y="980"/>
                  </a:lnTo>
                  <a:lnTo>
                    <a:pt x="149" y="961"/>
                  </a:lnTo>
                  <a:lnTo>
                    <a:pt x="132" y="941"/>
                  </a:lnTo>
                  <a:lnTo>
                    <a:pt x="116" y="922"/>
                  </a:lnTo>
                  <a:lnTo>
                    <a:pt x="100" y="901"/>
                  </a:lnTo>
                  <a:lnTo>
                    <a:pt x="87" y="879"/>
                  </a:lnTo>
                  <a:lnTo>
                    <a:pt x="73" y="856"/>
                  </a:lnTo>
                  <a:lnTo>
                    <a:pt x="61" y="833"/>
                  </a:lnTo>
                  <a:lnTo>
                    <a:pt x="50" y="809"/>
                  </a:lnTo>
                  <a:lnTo>
                    <a:pt x="40" y="785"/>
                  </a:lnTo>
                  <a:lnTo>
                    <a:pt x="30" y="760"/>
                  </a:lnTo>
                  <a:lnTo>
                    <a:pt x="23" y="735"/>
                  </a:lnTo>
                  <a:lnTo>
                    <a:pt x="16" y="709"/>
                  </a:lnTo>
                  <a:lnTo>
                    <a:pt x="11" y="682"/>
                  </a:lnTo>
                  <a:lnTo>
                    <a:pt x="6" y="655"/>
                  </a:lnTo>
                  <a:lnTo>
                    <a:pt x="3" y="628"/>
                  </a:lnTo>
                  <a:lnTo>
                    <a:pt x="1" y="601"/>
                  </a:lnTo>
                  <a:lnTo>
                    <a:pt x="0" y="573"/>
                  </a:lnTo>
                  <a:lnTo>
                    <a:pt x="1" y="546"/>
                  </a:lnTo>
                  <a:lnTo>
                    <a:pt x="3" y="518"/>
                  </a:lnTo>
                  <a:lnTo>
                    <a:pt x="6" y="491"/>
                  </a:lnTo>
                  <a:lnTo>
                    <a:pt x="11" y="465"/>
                  </a:lnTo>
                  <a:lnTo>
                    <a:pt x="16" y="438"/>
                  </a:lnTo>
                  <a:lnTo>
                    <a:pt x="23" y="412"/>
                  </a:lnTo>
                  <a:lnTo>
                    <a:pt x="30" y="388"/>
                  </a:lnTo>
                  <a:lnTo>
                    <a:pt x="40" y="363"/>
                  </a:lnTo>
                  <a:lnTo>
                    <a:pt x="50" y="339"/>
                  </a:lnTo>
                  <a:lnTo>
                    <a:pt x="61" y="316"/>
                  </a:lnTo>
                  <a:lnTo>
                    <a:pt x="73" y="292"/>
                  </a:lnTo>
                  <a:lnTo>
                    <a:pt x="86" y="270"/>
                  </a:lnTo>
                  <a:lnTo>
                    <a:pt x="100" y="248"/>
                  </a:lnTo>
                  <a:lnTo>
                    <a:pt x="115" y="227"/>
                  </a:lnTo>
                  <a:lnTo>
                    <a:pt x="131" y="206"/>
                  </a:lnTo>
                  <a:lnTo>
                    <a:pt x="148" y="187"/>
                  </a:lnTo>
                  <a:lnTo>
                    <a:pt x="167" y="168"/>
                  </a:lnTo>
                  <a:lnTo>
                    <a:pt x="185" y="150"/>
                  </a:lnTo>
                  <a:lnTo>
                    <a:pt x="205" y="133"/>
                  </a:lnTo>
                  <a:lnTo>
                    <a:pt x="224" y="117"/>
                  </a:lnTo>
                  <a:lnTo>
                    <a:pt x="245" y="101"/>
                  </a:lnTo>
                  <a:lnTo>
                    <a:pt x="267" y="87"/>
                  </a:lnTo>
                  <a:lnTo>
                    <a:pt x="289" y="74"/>
                  </a:lnTo>
                  <a:lnTo>
                    <a:pt x="312" y="60"/>
                  </a:lnTo>
                  <a:lnTo>
                    <a:pt x="336" y="49"/>
                  </a:lnTo>
                  <a:lnTo>
                    <a:pt x="360" y="40"/>
                  </a:lnTo>
                  <a:lnTo>
                    <a:pt x="385" y="30"/>
                  </a:lnTo>
                  <a:lnTo>
                    <a:pt x="411" y="21"/>
                  </a:lnTo>
                  <a:lnTo>
                    <a:pt x="436" y="14"/>
                  </a:lnTo>
                  <a:lnTo>
                    <a:pt x="463" y="9"/>
                  </a:lnTo>
                  <a:lnTo>
                    <a:pt x="490" y="4"/>
                  </a:lnTo>
                  <a:lnTo>
                    <a:pt x="517" y="0"/>
                  </a:lnTo>
                  <a:lnTo>
                    <a:pt x="522" y="0"/>
                  </a:lnTo>
                  <a:lnTo>
                    <a:pt x="527" y="2"/>
                  </a:lnTo>
                  <a:lnTo>
                    <a:pt x="531" y="3"/>
                  </a:lnTo>
                  <a:lnTo>
                    <a:pt x="534" y="5"/>
                  </a:lnTo>
                  <a:lnTo>
                    <a:pt x="537" y="9"/>
                  </a:lnTo>
                  <a:lnTo>
                    <a:pt x="539" y="13"/>
                  </a:lnTo>
                  <a:lnTo>
                    <a:pt x="542" y="16"/>
                  </a:lnTo>
                  <a:lnTo>
                    <a:pt x="543" y="21"/>
                  </a:lnTo>
                  <a:lnTo>
                    <a:pt x="543" y="26"/>
                  </a:lnTo>
                  <a:lnTo>
                    <a:pt x="542" y="30"/>
                  </a:lnTo>
                  <a:lnTo>
                    <a:pt x="541" y="35"/>
                  </a:lnTo>
                  <a:lnTo>
                    <a:pt x="538" y="38"/>
                  </a:lnTo>
                  <a:lnTo>
                    <a:pt x="534" y="41"/>
                  </a:lnTo>
                  <a:lnTo>
                    <a:pt x="531" y="43"/>
                  </a:lnTo>
                  <a:lnTo>
                    <a:pt x="527" y="46"/>
                  </a:lnTo>
                  <a:lnTo>
                    <a:pt x="522" y="46"/>
                  </a:lnTo>
                  <a:lnTo>
                    <a:pt x="496" y="49"/>
                  </a:lnTo>
                  <a:lnTo>
                    <a:pt x="472" y="54"/>
                  </a:lnTo>
                  <a:lnTo>
                    <a:pt x="447" y="59"/>
                  </a:lnTo>
                  <a:lnTo>
                    <a:pt x="424" y="65"/>
                  </a:lnTo>
                  <a:lnTo>
                    <a:pt x="401" y="73"/>
                  </a:lnTo>
                  <a:lnTo>
                    <a:pt x="377" y="81"/>
                  </a:lnTo>
                  <a:lnTo>
                    <a:pt x="355" y="91"/>
                  </a:lnTo>
                  <a:lnTo>
                    <a:pt x="333" y="102"/>
                  </a:lnTo>
                  <a:lnTo>
                    <a:pt x="312" y="113"/>
                  </a:lnTo>
                  <a:lnTo>
                    <a:pt x="292" y="125"/>
                  </a:lnTo>
                  <a:lnTo>
                    <a:pt x="272" y="139"/>
                  </a:lnTo>
                  <a:lnTo>
                    <a:pt x="252" y="154"/>
                  </a:lnTo>
                  <a:lnTo>
                    <a:pt x="234" y="168"/>
                  </a:lnTo>
                  <a:lnTo>
                    <a:pt x="216" y="184"/>
                  </a:lnTo>
                  <a:lnTo>
                    <a:pt x="198" y="200"/>
                  </a:lnTo>
                  <a:lnTo>
                    <a:pt x="182" y="217"/>
                  </a:lnTo>
                  <a:lnTo>
                    <a:pt x="167" y="236"/>
                  </a:lnTo>
                  <a:lnTo>
                    <a:pt x="152" y="254"/>
                  </a:lnTo>
                  <a:lnTo>
                    <a:pt x="138" y="274"/>
                  </a:lnTo>
                  <a:lnTo>
                    <a:pt x="125" y="293"/>
                  </a:lnTo>
                  <a:lnTo>
                    <a:pt x="114" y="314"/>
                  </a:lnTo>
                  <a:lnTo>
                    <a:pt x="102" y="335"/>
                  </a:lnTo>
                  <a:lnTo>
                    <a:pt x="92" y="357"/>
                  </a:lnTo>
                  <a:lnTo>
                    <a:pt x="83" y="379"/>
                  </a:lnTo>
                  <a:lnTo>
                    <a:pt x="75" y="403"/>
                  </a:lnTo>
                  <a:lnTo>
                    <a:pt x="67" y="426"/>
                  </a:lnTo>
                  <a:lnTo>
                    <a:pt x="61" y="449"/>
                  </a:lnTo>
                  <a:lnTo>
                    <a:pt x="56" y="474"/>
                  </a:lnTo>
                  <a:lnTo>
                    <a:pt x="51" y="498"/>
                  </a:lnTo>
                  <a:lnTo>
                    <a:pt x="49" y="523"/>
                  </a:lnTo>
                  <a:lnTo>
                    <a:pt x="46" y="547"/>
                  </a:lnTo>
                  <a:lnTo>
                    <a:pt x="46" y="573"/>
                  </a:lnTo>
                  <a:lnTo>
                    <a:pt x="46" y="599"/>
                  </a:lnTo>
                  <a:lnTo>
                    <a:pt x="49" y="625"/>
                  </a:lnTo>
                  <a:lnTo>
                    <a:pt x="51" y="649"/>
                  </a:lnTo>
                  <a:lnTo>
                    <a:pt x="56" y="674"/>
                  </a:lnTo>
                  <a:lnTo>
                    <a:pt x="61" y="698"/>
                  </a:lnTo>
                  <a:lnTo>
                    <a:pt x="67" y="722"/>
                  </a:lnTo>
                  <a:lnTo>
                    <a:pt x="75" y="745"/>
                  </a:lnTo>
                  <a:lnTo>
                    <a:pt x="83" y="768"/>
                  </a:lnTo>
                  <a:lnTo>
                    <a:pt x="92" y="790"/>
                  </a:lnTo>
                  <a:lnTo>
                    <a:pt x="103" y="812"/>
                  </a:lnTo>
                  <a:lnTo>
                    <a:pt x="114" y="833"/>
                  </a:lnTo>
                  <a:lnTo>
                    <a:pt x="126" y="854"/>
                  </a:lnTo>
                  <a:lnTo>
                    <a:pt x="138" y="874"/>
                  </a:lnTo>
                  <a:lnTo>
                    <a:pt x="153" y="893"/>
                  </a:lnTo>
                  <a:lnTo>
                    <a:pt x="168" y="912"/>
                  </a:lnTo>
                  <a:lnTo>
                    <a:pt x="184" y="930"/>
                  </a:lnTo>
                  <a:lnTo>
                    <a:pt x="200" y="947"/>
                  </a:lnTo>
                  <a:lnTo>
                    <a:pt x="217" y="964"/>
                  </a:lnTo>
                  <a:lnTo>
                    <a:pt x="235" y="980"/>
                  </a:lnTo>
                  <a:lnTo>
                    <a:pt x="254" y="995"/>
                  </a:lnTo>
                  <a:lnTo>
                    <a:pt x="273" y="1009"/>
                  </a:lnTo>
                  <a:lnTo>
                    <a:pt x="293" y="1022"/>
                  </a:lnTo>
                  <a:lnTo>
                    <a:pt x="314" y="1034"/>
                  </a:lnTo>
                  <a:lnTo>
                    <a:pt x="335" y="1045"/>
                  </a:lnTo>
                  <a:lnTo>
                    <a:pt x="357" y="1056"/>
                  </a:lnTo>
                  <a:lnTo>
                    <a:pt x="379" y="1066"/>
                  </a:lnTo>
                  <a:lnTo>
                    <a:pt x="402" y="1075"/>
                  </a:lnTo>
                  <a:lnTo>
                    <a:pt x="425" y="1082"/>
                  </a:lnTo>
                  <a:lnTo>
                    <a:pt x="450" y="1088"/>
                  </a:lnTo>
                  <a:lnTo>
                    <a:pt x="474" y="1093"/>
                  </a:lnTo>
                  <a:lnTo>
                    <a:pt x="499" y="1098"/>
                  </a:lnTo>
                  <a:lnTo>
                    <a:pt x="525" y="1101"/>
                  </a:lnTo>
                  <a:lnTo>
                    <a:pt x="530" y="1102"/>
                  </a:lnTo>
                  <a:lnTo>
                    <a:pt x="533" y="1103"/>
                  </a:lnTo>
                  <a:lnTo>
                    <a:pt x="537" y="1106"/>
                  </a:lnTo>
                  <a:lnTo>
                    <a:pt x="541" y="1109"/>
                  </a:lnTo>
                  <a:lnTo>
                    <a:pt x="543" y="1113"/>
                  </a:lnTo>
                  <a:lnTo>
                    <a:pt x="544" y="1117"/>
                  </a:lnTo>
                  <a:lnTo>
                    <a:pt x="546" y="1121"/>
                  </a:lnTo>
                  <a:lnTo>
                    <a:pt x="546" y="1126"/>
                  </a:lnTo>
                  <a:lnTo>
                    <a:pt x="544" y="1130"/>
                  </a:lnTo>
                  <a:lnTo>
                    <a:pt x="543" y="1134"/>
                  </a:lnTo>
                  <a:lnTo>
                    <a:pt x="541" y="1137"/>
                  </a:lnTo>
                  <a:lnTo>
                    <a:pt x="538" y="1141"/>
                  </a:lnTo>
                  <a:lnTo>
                    <a:pt x="534" y="1144"/>
                  </a:lnTo>
                  <a:lnTo>
                    <a:pt x="531" y="1145"/>
                  </a:lnTo>
                  <a:lnTo>
                    <a:pt x="527" y="1146"/>
                  </a:lnTo>
                  <a:lnTo>
                    <a:pt x="522"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6" name="Freeform 174">
              <a:extLst>
                <a:ext uri="{FF2B5EF4-FFF2-40B4-BE49-F238E27FC236}">
                  <a16:creationId xmlns:a16="http://schemas.microsoft.com/office/drawing/2014/main" id="{78DF2834-D4CE-439E-9402-7620EFEF3A46}"/>
                </a:ext>
              </a:extLst>
            </p:cNvPr>
            <p:cNvSpPr>
              <a:spLocks/>
            </p:cNvSpPr>
            <p:nvPr/>
          </p:nvSpPr>
          <p:spPr bwMode="auto">
            <a:xfrm>
              <a:off x="4522788" y="5194300"/>
              <a:ext cx="47625" cy="74613"/>
            </a:xfrm>
            <a:custGeom>
              <a:avLst/>
              <a:gdLst>
                <a:gd name="T0" fmla="*/ 23 w 120"/>
                <a:gd name="T1" fmla="*/ 191 h 191"/>
                <a:gd name="T2" fmla="*/ 18 w 120"/>
                <a:gd name="T3" fmla="*/ 191 h 191"/>
                <a:gd name="T4" fmla="*/ 15 w 120"/>
                <a:gd name="T5" fmla="*/ 190 h 191"/>
                <a:gd name="T6" fmla="*/ 11 w 120"/>
                <a:gd name="T7" fmla="*/ 188 h 191"/>
                <a:gd name="T8" fmla="*/ 7 w 120"/>
                <a:gd name="T9" fmla="*/ 185 h 191"/>
                <a:gd name="T10" fmla="*/ 4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4 w 120"/>
                <a:gd name="T23" fmla="*/ 156 h 191"/>
                <a:gd name="T24" fmla="*/ 7 w 120"/>
                <a:gd name="T25" fmla="*/ 152 h 191"/>
                <a:gd name="T26" fmla="*/ 64 w 120"/>
                <a:gd name="T27" fmla="*/ 96 h 191"/>
                <a:gd name="T28" fmla="*/ 9 w 120"/>
                <a:gd name="T29" fmla="*/ 39 h 191"/>
                <a:gd name="T30" fmla="*/ 5 w 120"/>
                <a:gd name="T31" fmla="*/ 36 h 191"/>
                <a:gd name="T32" fmla="*/ 4 w 120"/>
                <a:gd name="T33" fmla="*/ 32 h 191"/>
                <a:gd name="T34" fmla="*/ 2 w 120"/>
                <a:gd name="T35" fmla="*/ 28 h 191"/>
                <a:gd name="T36" fmla="*/ 1 w 120"/>
                <a:gd name="T37" fmla="*/ 23 h 191"/>
                <a:gd name="T38" fmla="*/ 2 w 120"/>
                <a:gd name="T39" fmla="*/ 18 h 191"/>
                <a:gd name="T40" fmla="*/ 4 w 120"/>
                <a:gd name="T41" fmla="*/ 15 h 191"/>
                <a:gd name="T42" fmla="*/ 5 w 120"/>
                <a:gd name="T43" fmla="*/ 11 h 191"/>
                <a:gd name="T44" fmla="*/ 9 w 120"/>
                <a:gd name="T45" fmla="*/ 7 h 191"/>
                <a:gd name="T46" fmla="*/ 12 w 120"/>
                <a:gd name="T47" fmla="*/ 4 h 191"/>
                <a:gd name="T48" fmla="*/ 16 w 120"/>
                <a:gd name="T49" fmla="*/ 2 h 191"/>
                <a:gd name="T50" fmla="*/ 20 w 120"/>
                <a:gd name="T51" fmla="*/ 1 h 191"/>
                <a:gd name="T52" fmla="*/ 24 w 120"/>
                <a:gd name="T53" fmla="*/ 0 h 191"/>
                <a:gd name="T54" fmla="*/ 29 w 120"/>
                <a:gd name="T55" fmla="*/ 1 h 191"/>
                <a:gd name="T56" fmla="*/ 33 w 120"/>
                <a:gd name="T57" fmla="*/ 2 h 191"/>
                <a:gd name="T58" fmla="*/ 37 w 120"/>
                <a:gd name="T59" fmla="*/ 4 h 191"/>
                <a:gd name="T60" fmla="*/ 40 w 120"/>
                <a:gd name="T61" fmla="*/ 7 h 191"/>
                <a:gd name="T62" fmla="*/ 113 w 120"/>
                <a:gd name="T63" fmla="*/ 79 h 191"/>
                <a:gd name="T64" fmla="*/ 115 w 120"/>
                <a:gd name="T65" fmla="*/ 82 h 191"/>
                <a:gd name="T66" fmla="*/ 118 w 120"/>
                <a:gd name="T67" fmla="*/ 87 h 191"/>
                <a:gd name="T68" fmla="*/ 119 w 120"/>
                <a:gd name="T69" fmla="*/ 91 h 191"/>
                <a:gd name="T70" fmla="*/ 120 w 120"/>
                <a:gd name="T71" fmla="*/ 96 h 191"/>
                <a:gd name="T72" fmla="*/ 119 w 120"/>
                <a:gd name="T73" fmla="*/ 99 h 191"/>
                <a:gd name="T74" fmla="*/ 118 w 120"/>
                <a:gd name="T75" fmla="*/ 104 h 191"/>
                <a:gd name="T76" fmla="*/ 115 w 120"/>
                <a:gd name="T77" fmla="*/ 108 h 191"/>
                <a:gd name="T78" fmla="*/ 113 w 120"/>
                <a:gd name="T79" fmla="*/ 112 h 191"/>
                <a:gd name="T80" fmla="*/ 39 w 120"/>
                <a:gd name="T81" fmla="*/ 185 h 191"/>
                <a:gd name="T82" fmla="*/ 36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8" y="191"/>
                  </a:lnTo>
                  <a:lnTo>
                    <a:pt x="15" y="190"/>
                  </a:lnTo>
                  <a:lnTo>
                    <a:pt x="11" y="188"/>
                  </a:lnTo>
                  <a:lnTo>
                    <a:pt x="7" y="185"/>
                  </a:lnTo>
                  <a:lnTo>
                    <a:pt x="4" y="182"/>
                  </a:lnTo>
                  <a:lnTo>
                    <a:pt x="2" y="178"/>
                  </a:lnTo>
                  <a:lnTo>
                    <a:pt x="1" y="173"/>
                  </a:lnTo>
                  <a:lnTo>
                    <a:pt x="0" y="168"/>
                  </a:lnTo>
                  <a:lnTo>
                    <a:pt x="1" y="164"/>
                  </a:lnTo>
                  <a:lnTo>
                    <a:pt x="2" y="160"/>
                  </a:lnTo>
                  <a:lnTo>
                    <a:pt x="4" y="156"/>
                  </a:lnTo>
                  <a:lnTo>
                    <a:pt x="7" y="152"/>
                  </a:lnTo>
                  <a:lnTo>
                    <a:pt x="64" y="96"/>
                  </a:lnTo>
                  <a:lnTo>
                    <a:pt x="9" y="39"/>
                  </a:lnTo>
                  <a:lnTo>
                    <a:pt x="5" y="36"/>
                  </a:lnTo>
                  <a:lnTo>
                    <a:pt x="4" y="32"/>
                  </a:lnTo>
                  <a:lnTo>
                    <a:pt x="2" y="28"/>
                  </a:lnTo>
                  <a:lnTo>
                    <a:pt x="1" y="23"/>
                  </a:lnTo>
                  <a:lnTo>
                    <a:pt x="2" y="18"/>
                  </a:lnTo>
                  <a:lnTo>
                    <a:pt x="4" y="15"/>
                  </a:lnTo>
                  <a:lnTo>
                    <a:pt x="5" y="11"/>
                  </a:lnTo>
                  <a:lnTo>
                    <a:pt x="9" y="7"/>
                  </a:lnTo>
                  <a:lnTo>
                    <a:pt x="12" y="4"/>
                  </a:lnTo>
                  <a:lnTo>
                    <a:pt x="16" y="2"/>
                  </a:lnTo>
                  <a:lnTo>
                    <a:pt x="20" y="1"/>
                  </a:lnTo>
                  <a:lnTo>
                    <a:pt x="24" y="0"/>
                  </a:lnTo>
                  <a:lnTo>
                    <a:pt x="29" y="1"/>
                  </a:lnTo>
                  <a:lnTo>
                    <a:pt x="33" y="2"/>
                  </a:lnTo>
                  <a:lnTo>
                    <a:pt x="37" y="4"/>
                  </a:lnTo>
                  <a:lnTo>
                    <a:pt x="40" y="7"/>
                  </a:lnTo>
                  <a:lnTo>
                    <a:pt x="113" y="79"/>
                  </a:lnTo>
                  <a:lnTo>
                    <a:pt x="115" y="82"/>
                  </a:lnTo>
                  <a:lnTo>
                    <a:pt x="118" y="87"/>
                  </a:lnTo>
                  <a:lnTo>
                    <a:pt x="119" y="91"/>
                  </a:lnTo>
                  <a:lnTo>
                    <a:pt x="120" y="96"/>
                  </a:lnTo>
                  <a:lnTo>
                    <a:pt x="119" y="99"/>
                  </a:lnTo>
                  <a:lnTo>
                    <a:pt x="118" y="104"/>
                  </a:lnTo>
                  <a:lnTo>
                    <a:pt x="115" y="108"/>
                  </a:lnTo>
                  <a:lnTo>
                    <a:pt x="113" y="112"/>
                  </a:lnTo>
                  <a:lnTo>
                    <a:pt x="39" y="185"/>
                  </a:lnTo>
                  <a:lnTo>
                    <a:pt x="36"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7" name="Freeform 175">
              <a:extLst>
                <a:ext uri="{FF2B5EF4-FFF2-40B4-BE49-F238E27FC236}">
                  <a16:creationId xmlns:a16="http://schemas.microsoft.com/office/drawing/2014/main" id="{0D455184-CE2C-4F04-B214-9967EF8436DD}"/>
                </a:ext>
              </a:extLst>
            </p:cNvPr>
            <p:cNvSpPr>
              <a:spLocks/>
            </p:cNvSpPr>
            <p:nvPr/>
          </p:nvSpPr>
          <p:spPr bwMode="auto">
            <a:xfrm>
              <a:off x="4586288" y="5218113"/>
              <a:ext cx="217488" cy="455613"/>
            </a:xfrm>
            <a:custGeom>
              <a:avLst/>
              <a:gdLst>
                <a:gd name="T0" fmla="*/ 17 w 546"/>
                <a:gd name="T1" fmla="*/ 1144 h 1146"/>
                <a:gd name="T2" fmla="*/ 7 w 546"/>
                <a:gd name="T3" fmla="*/ 1137 h 1146"/>
                <a:gd name="T4" fmla="*/ 2 w 546"/>
                <a:gd name="T5" fmla="*/ 1125 h 1146"/>
                <a:gd name="T6" fmla="*/ 6 w 546"/>
                <a:gd name="T7" fmla="*/ 1112 h 1146"/>
                <a:gd name="T8" fmla="*/ 15 w 546"/>
                <a:gd name="T9" fmla="*/ 1103 h 1146"/>
                <a:gd name="T10" fmla="*/ 49 w 546"/>
                <a:gd name="T11" fmla="*/ 1096 h 1146"/>
                <a:gd name="T12" fmla="*/ 121 w 546"/>
                <a:gd name="T13" fmla="*/ 1081 h 1146"/>
                <a:gd name="T14" fmla="*/ 190 w 546"/>
                <a:gd name="T15" fmla="*/ 1055 h 1146"/>
                <a:gd name="T16" fmla="*/ 254 w 546"/>
                <a:gd name="T17" fmla="*/ 1020 h 1146"/>
                <a:gd name="T18" fmla="*/ 311 w 546"/>
                <a:gd name="T19" fmla="*/ 979 h 1146"/>
                <a:gd name="T20" fmla="*/ 363 w 546"/>
                <a:gd name="T21" fmla="*/ 928 h 1146"/>
                <a:gd name="T22" fmla="*/ 407 w 546"/>
                <a:gd name="T23" fmla="*/ 872 h 1146"/>
                <a:gd name="T24" fmla="*/ 444 w 546"/>
                <a:gd name="T25" fmla="*/ 811 h 1146"/>
                <a:gd name="T26" fmla="*/ 471 w 546"/>
                <a:gd name="T27" fmla="*/ 743 h 1146"/>
                <a:gd name="T28" fmla="*/ 489 w 546"/>
                <a:gd name="T29" fmla="*/ 673 h 1146"/>
                <a:gd name="T30" fmla="*/ 499 w 546"/>
                <a:gd name="T31" fmla="*/ 598 h 1146"/>
                <a:gd name="T32" fmla="*/ 497 w 546"/>
                <a:gd name="T33" fmla="*/ 522 h 1146"/>
                <a:gd name="T34" fmla="*/ 484 w 546"/>
                <a:gd name="T35" fmla="*/ 449 h 1146"/>
                <a:gd name="T36" fmla="*/ 462 w 546"/>
                <a:gd name="T37" fmla="*/ 379 h 1146"/>
                <a:gd name="T38" fmla="*/ 432 w 546"/>
                <a:gd name="T39" fmla="*/ 313 h 1146"/>
                <a:gd name="T40" fmla="*/ 392 w 546"/>
                <a:gd name="T41" fmla="*/ 253 h 1146"/>
                <a:gd name="T42" fmla="*/ 346 w 546"/>
                <a:gd name="T43" fmla="*/ 199 h 1146"/>
                <a:gd name="T44" fmla="*/ 292 w 546"/>
                <a:gd name="T45" fmla="*/ 152 h 1146"/>
                <a:gd name="T46" fmla="*/ 232 w 546"/>
                <a:gd name="T47" fmla="*/ 111 h 1146"/>
                <a:gd name="T48" fmla="*/ 167 w 546"/>
                <a:gd name="T49" fmla="*/ 81 h 1146"/>
                <a:gd name="T50" fmla="*/ 96 w 546"/>
                <a:gd name="T51" fmla="*/ 57 h 1146"/>
                <a:gd name="T52" fmla="*/ 21 w 546"/>
                <a:gd name="T53" fmla="*/ 45 h 1146"/>
                <a:gd name="T54" fmla="*/ 8 w 546"/>
                <a:gd name="T55" fmla="*/ 40 h 1146"/>
                <a:gd name="T56" fmla="*/ 1 w 546"/>
                <a:gd name="T57" fmla="*/ 29 h 1146"/>
                <a:gd name="T58" fmla="*/ 1 w 546"/>
                <a:gd name="T59" fmla="*/ 16 h 1146"/>
                <a:gd name="T60" fmla="*/ 8 w 546"/>
                <a:gd name="T61" fmla="*/ 5 h 1146"/>
                <a:gd name="T62" fmla="*/ 21 w 546"/>
                <a:gd name="T63" fmla="*/ 0 h 1146"/>
                <a:gd name="T64" fmla="*/ 80 w 546"/>
                <a:gd name="T65" fmla="*/ 7 h 1146"/>
                <a:gd name="T66" fmla="*/ 158 w 546"/>
                <a:gd name="T67" fmla="*/ 28 h 1146"/>
                <a:gd name="T68" fmla="*/ 232 w 546"/>
                <a:gd name="T69" fmla="*/ 59 h 1146"/>
                <a:gd name="T70" fmla="*/ 299 w 546"/>
                <a:gd name="T71" fmla="*/ 99 h 1146"/>
                <a:gd name="T72" fmla="*/ 359 w 546"/>
                <a:gd name="T73" fmla="*/ 148 h 1146"/>
                <a:gd name="T74" fmla="*/ 413 w 546"/>
                <a:gd name="T75" fmla="*/ 205 h 1146"/>
                <a:gd name="T76" fmla="*/ 459 w 546"/>
                <a:gd name="T77" fmla="*/ 268 h 1146"/>
                <a:gd name="T78" fmla="*/ 495 w 546"/>
                <a:gd name="T79" fmla="*/ 337 h 1146"/>
                <a:gd name="T80" fmla="*/ 522 w 546"/>
                <a:gd name="T81" fmla="*/ 412 h 1146"/>
                <a:gd name="T82" fmla="*/ 540 w 546"/>
                <a:gd name="T83" fmla="*/ 490 h 1146"/>
                <a:gd name="T84" fmla="*/ 546 w 546"/>
                <a:gd name="T85" fmla="*/ 573 h 1146"/>
                <a:gd name="T86" fmla="*/ 540 w 546"/>
                <a:gd name="T87" fmla="*/ 655 h 1146"/>
                <a:gd name="T88" fmla="*/ 522 w 546"/>
                <a:gd name="T89" fmla="*/ 733 h 1146"/>
                <a:gd name="T90" fmla="*/ 495 w 546"/>
                <a:gd name="T91" fmla="*/ 807 h 1146"/>
                <a:gd name="T92" fmla="*/ 460 w 546"/>
                <a:gd name="T93" fmla="*/ 877 h 1146"/>
                <a:gd name="T94" fmla="*/ 414 w 546"/>
                <a:gd name="T95" fmla="*/ 939 h 1146"/>
                <a:gd name="T96" fmla="*/ 360 w 546"/>
                <a:gd name="T97" fmla="*/ 996 h 1146"/>
                <a:gd name="T98" fmla="*/ 300 w 546"/>
                <a:gd name="T99" fmla="*/ 1045 h 1146"/>
                <a:gd name="T100" fmla="*/ 233 w 546"/>
                <a:gd name="T101" fmla="*/ 1085 h 1146"/>
                <a:gd name="T102" fmla="*/ 161 w 546"/>
                <a:gd name="T103" fmla="*/ 1116 h 1146"/>
                <a:gd name="T104" fmla="*/ 82 w 546"/>
                <a:gd name="T105" fmla="*/ 1138 h 1146"/>
                <a:gd name="T106" fmla="*/ 27 w 546"/>
                <a:gd name="T107" fmla="*/ 1146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6">
                  <a:moveTo>
                    <a:pt x="26" y="1146"/>
                  </a:moveTo>
                  <a:lnTo>
                    <a:pt x="22" y="1146"/>
                  </a:lnTo>
                  <a:lnTo>
                    <a:pt x="17" y="1144"/>
                  </a:lnTo>
                  <a:lnTo>
                    <a:pt x="13" y="1143"/>
                  </a:lnTo>
                  <a:lnTo>
                    <a:pt x="11" y="1141"/>
                  </a:lnTo>
                  <a:lnTo>
                    <a:pt x="7" y="1137"/>
                  </a:lnTo>
                  <a:lnTo>
                    <a:pt x="5" y="1133"/>
                  </a:lnTo>
                  <a:lnTo>
                    <a:pt x="4" y="1130"/>
                  </a:lnTo>
                  <a:lnTo>
                    <a:pt x="2" y="1125"/>
                  </a:lnTo>
                  <a:lnTo>
                    <a:pt x="2" y="1121"/>
                  </a:lnTo>
                  <a:lnTo>
                    <a:pt x="4" y="1116"/>
                  </a:lnTo>
                  <a:lnTo>
                    <a:pt x="6" y="1112"/>
                  </a:lnTo>
                  <a:lnTo>
                    <a:pt x="8" y="1109"/>
                  </a:lnTo>
                  <a:lnTo>
                    <a:pt x="11" y="1105"/>
                  </a:lnTo>
                  <a:lnTo>
                    <a:pt x="15" y="1103"/>
                  </a:lnTo>
                  <a:lnTo>
                    <a:pt x="19" y="1101"/>
                  </a:lnTo>
                  <a:lnTo>
                    <a:pt x="23" y="1100"/>
                  </a:lnTo>
                  <a:lnTo>
                    <a:pt x="49" y="1096"/>
                  </a:lnTo>
                  <a:lnTo>
                    <a:pt x="73" y="1093"/>
                  </a:lnTo>
                  <a:lnTo>
                    <a:pt x="98" y="1087"/>
                  </a:lnTo>
                  <a:lnTo>
                    <a:pt x="121" y="1081"/>
                  </a:lnTo>
                  <a:lnTo>
                    <a:pt x="145" y="1073"/>
                  </a:lnTo>
                  <a:lnTo>
                    <a:pt x="168" y="1065"/>
                  </a:lnTo>
                  <a:lnTo>
                    <a:pt x="190" y="1055"/>
                  </a:lnTo>
                  <a:lnTo>
                    <a:pt x="212" y="1045"/>
                  </a:lnTo>
                  <a:lnTo>
                    <a:pt x="233" y="1033"/>
                  </a:lnTo>
                  <a:lnTo>
                    <a:pt x="254" y="1020"/>
                  </a:lnTo>
                  <a:lnTo>
                    <a:pt x="273" y="1007"/>
                  </a:lnTo>
                  <a:lnTo>
                    <a:pt x="293" y="993"/>
                  </a:lnTo>
                  <a:lnTo>
                    <a:pt x="311" y="979"/>
                  </a:lnTo>
                  <a:lnTo>
                    <a:pt x="330" y="963"/>
                  </a:lnTo>
                  <a:lnTo>
                    <a:pt x="347" y="946"/>
                  </a:lnTo>
                  <a:lnTo>
                    <a:pt x="363" y="928"/>
                  </a:lnTo>
                  <a:lnTo>
                    <a:pt x="379" y="910"/>
                  </a:lnTo>
                  <a:lnTo>
                    <a:pt x="394" y="892"/>
                  </a:lnTo>
                  <a:lnTo>
                    <a:pt x="407" y="872"/>
                  </a:lnTo>
                  <a:lnTo>
                    <a:pt x="421" y="852"/>
                  </a:lnTo>
                  <a:lnTo>
                    <a:pt x="432" y="832"/>
                  </a:lnTo>
                  <a:lnTo>
                    <a:pt x="444" y="811"/>
                  </a:lnTo>
                  <a:lnTo>
                    <a:pt x="454" y="789"/>
                  </a:lnTo>
                  <a:lnTo>
                    <a:pt x="463" y="766"/>
                  </a:lnTo>
                  <a:lnTo>
                    <a:pt x="471" y="743"/>
                  </a:lnTo>
                  <a:lnTo>
                    <a:pt x="478" y="721"/>
                  </a:lnTo>
                  <a:lnTo>
                    <a:pt x="484" y="697"/>
                  </a:lnTo>
                  <a:lnTo>
                    <a:pt x="489" y="673"/>
                  </a:lnTo>
                  <a:lnTo>
                    <a:pt x="494" y="649"/>
                  </a:lnTo>
                  <a:lnTo>
                    <a:pt x="497" y="623"/>
                  </a:lnTo>
                  <a:lnTo>
                    <a:pt x="499" y="598"/>
                  </a:lnTo>
                  <a:lnTo>
                    <a:pt x="499" y="573"/>
                  </a:lnTo>
                  <a:lnTo>
                    <a:pt x="499" y="547"/>
                  </a:lnTo>
                  <a:lnTo>
                    <a:pt x="497" y="522"/>
                  </a:lnTo>
                  <a:lnTo>
                    <a:pt x="494" y="497"/>
                  </a:lnTo>
                  <a:lnTo>
                    <a:pt x="489" y="472"/>
                  </a:lnTo>
                  <a:lnTo>
                    <a:pt x="484" y="449"/>
                  </a:lnTo>
                  <a:lnTo>
                    <a:pt x="478" y="424"/>
                  </a:lnTo>
                  <a:lnTo>
                    <a:pt x="471" y="401"/>
                  </a:lnTo>
                  <a:lnTo>
                    <a:pt x="462" y="379"/>
                  </a:lnTo>
                  <a:lnTo>
                    <a:pt x="454" y="356"/>
                  </a:lnTo>
                  <a:lnTo>
                    <a:pt x="443" y="335"/>
                  </a:lnTo>
                  <a:lnTo>
                    <a:pt x="432" y="313"/>
                  </a:lnTo>
                  <a:lnTo>
                    <a:pt x="419" y="292"/>
                  </a:lnTo>
                  <a:lnTo>
                    <a:pt x="407" y="272"/>
                  </a:lnTo>
                  <a:lnTo>
                    <a:pt x="392" y="253"/>
                  </a:lnTo>
                  <a:lnTo>
                    <a:pt x="378" y="234"/>
                  </a:lnTo>
                  <a:lnTo>
                    <a:pt x="362" y="216"/>
                  </a:lnTo>
                  <a:lnTo>
                    <a:pt x="346" y="199"/>
                  </a:lnTo>
                  <a:lnTo>
                    <a:pt x="329" y="183"/>
                  </a:lnTo>
                  <a:lnTo>
                    <a:pt x="310" y="167"/>
                  </a:lnTo>
                  <a:lnTo>
                    <a:pt x="292" y="152"/>
                  </a:lnTo>
                  <a:lnTo>
                    <a:pt x="272" y="137"/>
                  </a:lnTo>
                  <a:lnTo>
                    <a:pt x="253" y="124"/>
                  </a:lnTo>
                  <a:lnTo>
                    <a:pt x="232" y="111"/>
                  </a:lnTo>
                  <a:lnTo>
                    <a:pt x="211" y="100"/>
                  </a:lnTo>
                  <a:lnTo>
                    <a:pt x="189" y="89"/>
                  </a:lnTo>
                  <a:lnTo>
                    <a:pt x="167" y="81"/>
                  </a:lnTo>
                  <a:lnTo>
                    <a:pt x="143" y="72"/>
                  </a:lnTo>
                  <a:lnTo>
                    <a:pt x="120" y="65"/>
                  </a:lnTo>
                  <a:lnTo>
                    <a:pt x="96" y="57"/>
                  </a:lnTo>
                  <a:lnTo>
                    <a:pt x="71" y="53"/>
                  </a:lnTo>
                  <a:lnTo>
                    <a:pt x="46" y="49"/>
                  </a:lnTo>
                  <a:lnTo>
                    <a:pt x="21" y="45"/>
                  </a:lnTo>
                  <a:lnTo>
                    <a:pt x="16" y="44"/>
                  </a:lnTo>
                  <a:lnTo>
                    <a:pt x="12" y="43"/>
                  </a:lnTo>
                  <a:lnTo>
                    <a:pt x="8" y="40"/>
                  </a:lnTo>
                  <a:lnTo>
                    <a:pt x="5" y="37"/>
                  </a:lnTo>
                  <a:lnTo>
                    <a:pt x="2" y="33"/>
                  </a:lnTo>
                  <a:lnTo>
                    <a:pt x="1" y="29"/>
                  </a:lnTo>
                  <a:lnTo>
                    <a:pt x="0" y="24"/>
                  </a:lnTo>
                  <a:lnTo>
                    <a:pt x="0" y="21"/>
                  </a:lnTo>
                  <a:lnTo>
                    <a:pt x="1" y="16"/>
                  </a:lnTo>
                  <a:lnTo>
                    <a:pt x="2" y="12"/>
                  </a:lnTo>
                  <a:lnTo>
                    <a:pt x="5" y="8"/>
                  </a:lnTo>
                  <a:lnTo>
                    <a:pt x="8" y="5"/>
                  </a:lnTo>
                  <a:lnTo>
                    <a:pt x="12" y="2"/>
                  </a:lnTo>
                  <a:lnTo>
                    <a:pt x="16" y="1"/>
                  </a:lnTo>
                  <a:lnTo>
                    <a:pt x="21" y="0"/>
                  </a:lnTo>
                  <a:lnTo>
                    <a:pt x="26" y="0"/>
                  </a:lnTo>
                  <a:lnTo>
                    <a:pt x="53" y="2"/>
                  </a:lnTo>
                  <a:lnTo>
                    <a:pt x="80" y="7"/>
                  </a:lnTo>
                  <a:lnTo>
                    <a:pt x="107" y="13"/>
                  </a:lnTo>
                  <a:lnTo>
                    <a:pt x="132" y="21"/>
                  </a:lnTo>
                  <a:lnTo>
                    <a:pt x="158" y="28"/>
                  </a:lnTo>
                  <a:lnTo>
                    <a:pt x="184" y="38"/>
                  </a:lnTo>
                  <a:lnTo>
                    <a:pt x="207" y="48"/>
                  </a:lnTo>
                  <a:lnTo>
                    <a:pt x="232" y="59"/>
                  </a:lnTo>
                  <a:lnTo>
                    <a:pt x="255" y="72"/>
                  </a:lnTo>
                  <a:lnTo>
                    <a:pt x="277" y="84"/>
                  </a:lnTo>
                  <a:lnTo>
                    <a:pt x="299" y="99"/>
                  </a:lnTo>
                  <a:lnTo>
                    <a:pt x="320" y="115"/>
                  </a:lnTo>
                  <a:lnTo>
                    <a:pt x="341" y="131"/>
                  </a:lnTo>
                  <a:lnTo>
                    <a:pt x="359" y="148"/>
                  </a:lnTo>
                  <a:lnTo>
                    <a:pt x="379" y="167"/>
                  </a:lnTo>
                  <a:lnTo>
                    <a:pt x="396" y="185"/>
                  </a:lnTo>
                  <a:lnTo>
                    <a:pt x="413" y="205"/>
                  </a:lnTo>
                  <a:lnTo>
                    <a:pt x="429" y="226"/>
                  </a:lnTo>
                  <a:lnTo>
                    <a:pt x="445" y="246"/>
                  </a:lnTo>
                  <a:lnTo>
                    <a:pt x="459" y="268"/>
                  </a:lnTo>
                  <a:lnTo>
                    <a:pt x="472" y="291"/>
                  </a:lnTo>
                  <a:lnTo>
                    <a:pt x="484" y="314"/>
                  </a:lnTo>
                  <a:lnTo>
                    <a:pt x="495" y="337"/>
                  </a:lnTo>
                  <a:lnTo>
                    <a:pt x="505" y="362"/>
                  </a:lnTo>
                  <a:lnTo>
                    <a:pt x="515" y="386"/>
                  </a:lnTo>
                  <a:lnTo>
                    <a:pt x="522" y="412"/>
                  </a:lnTo>
                  <a:lnTo>
                    <a:pt x="530" y="438"/>
                  </a:lnTo>
                  <a:lnTo>
                    <a:pt x="535" y="464"/>
                  </a:lnTo>
                  <a:lnTo>
                    <a:pt x="540" y="490"/>
                  </a:lnTo>
                  <a:lnTo>
                    <a:pt x="542" y="517"/>
                  </a:lnTo>
                  <a:lnTo>
                    <a:pt x="544" y="544"/>
                  </a:lnTo>
                  <a:lnTo>
                    <a:pt x="546" y="573"/>
                  </a:lnTo>
                  <a:lnTo>
                    <a:pt x="544" y="601"/>
                  </a:lnTo>
                  <a:lnTo>
                    <a:pt x="542" y="628"/>
                  </a:lnTo>
                  <a:lnTo>
                    <a:pt x="540" y="655"/>
                  </a:lnTo>
                  <a:lnTo>
                    <a:pt x="535" y="682"/>
                  </a:lnTo>
                  <a:lnTo>
                    <a:pt x="530" y="708"/>
                  </a:lnTo>
                  <a:lnTo>
                    <a:pt x="522" y="733"/>
                  </a:lnTo>
                  <a:lnTo>
                    <a:pt x="515" y="759"/>
                  </a:lnTo>
                  <a:lnTo>
                    <a:pt x="506" y="784"/>
                  </a:lnTo>
                  <a:lnTo>
                    <a:pt x="495" y="807"/>
                  </a:lnTo>
                  <a:lnTo>
                    <a:pt x="484" y="832"/>
                  </a:lnTo>
                  <a:lnTo>
                    <a:pt x="472" y="855"/>
                  </a:lnTo>
                  <a:lnTo>
                    <a:pt x="460" y="877"/>
                  </a:lnTo>
                  <a:lnTo>
                    <a:pt x="445" y="899"/>
                  </a:lnTo>
                  <a:lnTo>
                    <a:pt x="430" y="920"/>
                  </a:lnTo>
                  <a:lnTo>
                    <a:pt x="414" y="939"/>
                  </a:lnTo>
                  <a:lnTo>
                    <a:pt x="397" y="959"/>
                  </a:lnTo>
                  <a:lnTo>
                    <a:pt x="379" y="979"/>
                  </a:lnTo>
                  <a:lnTo>
                    <a:pt x="360" y="996"/>
                  </a:lnTo>
                  <a:lnTo>
                    <a:pt x="341" y="1013"/>
                  </a:lnTo>
                  <a:lnTo>
                    <a:pt x="321" y="1030"/>
                  </a:lnTo>
                  <a:lnTo>
                    <a:pt x="300" y="1045"/>
                  </a:lnTo>
                  <a:lnTo>
                    <a:pt x="278" y="1060"/>
                  </a:lnTo>
                  <a:lnTo>
                    <a:pt x="256" y="1073"/>
                  </a:lnTo>
                  <a:lnTo>
                    <a:pt x="233" y="1085"/>
                  </a:lnTo>
                  <a:lnTo>
                    <a:pt x="210" y="1096"/>
                  </a:lnTo>
                  <a:lnTo>
                    <a:pt x="185" y="1108"/>
                  </a:lnTo>
                  <a:lnTo>
                    <a:pt x="161" y="1116"/>
                  </a:lnTo>
                  <a:lnTo>
                    <a:pt x="135" y="1125"/>
                  </a:lnTo>
                  <a:lnTo>
                    <a:pt x="109" y="1132"/>
                  </a:lnTo>
                  <a:lnTo>
                    <a:pt x="82" y="1138"/>
                  </a:lnTo>
                  <a:lnTo>
                    <a:pt x="55" y="1142"/>
                  </a:lnTo>
                  <a:lnTo>
                    <a:pt x="28" y="1146"/>
                  </a:lnTo>
                  <a:lnTo>
                    <a:pt x="27" y="1146"/>
                  </a:lnTo>
                  <a:lnTo>
                    <a:pt x="26" y="1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38" name="Freeform 176">
              <a:extLst>
                <a:ext uri="{FF2B5EF4-FFF2-40B4-BE49-F238E27FC236}">
                  <a16:creationId xmlns:a16="http://schemas.microsoft.com/office/drawing/2014/main" id="{EF861FF8-AD74-47D8-A8CA-DDF7AF1C2E7C}"/>
                </a:ext>
              </a:extLst>
            </p:cNvPr>
            <p:cNvSpPr>
              <a:spLocks/>
            </p:cNvSpPr>
            <p:nvPr/>
          </p:nvSpPr>
          <p:spPr bwMode="auto">
            <a:xfrm>
              <a:off x="4579938" y="5624513"/>
              <a:ext cx="47625" cy="74613"/>
            </a:xfrm>
            <a:custGeom>
              <a:avLst/>
              <a:gdLst>
                <a:gd name="T0" fmla="*/ 95 w 119"/>
                <a:gd name="T1" fmla="*/ 192 h 192"/>
                <a:gd name="T2" fmla="*/ 90 w 119"/>
                <a:gd name="T3" fmla="*/ 192 h 192"/>
                <a:gd name="T4" fmla="*/ 86 w 119"/>
                <a:gd name="T5" fmla="*/ 191 h 192"/>
                <a:gd name="T6" fmla="*/ 83 w 119"/>
                <a:gd name="T7" fmla="*/ 188 h 192"/>
                <a:gd name="T8" fmla="*/ 79 w 119"/>
                <a:gd name="T9" fmla="*/ 186 h 192"/>
                <a:gd name="T10" fmla="*/ 7 w 119"/>
                <a:gd name="T11" fmla="*/ 113 h 192"/>
                <a:gd name="T12" fmla="*/ 4 w 119"/>
                <a:gd name="T13" fmla="*/ 110 h 192"/>
                <a:gd name="T14" fmla="*/ 2 w 119"/>
                <a:gd name="T15" fmla="*/ 106 h 192"/>
                <a:gd name="T16" fmla="*/ 0 w 119"/>
                <a:gd name="T17" fmla="*/ 101 h 192"/>
                <a:gd name="T18" fmla="*/ 0 w 119"/>
                <a:gd name="T19" fmla="*/ 97 h 192"/>
                <a:gd name="T20" fmla="*/ 0 w 119"/>
                <a:gd name="T21" fmla="*/ 92 h 192"/>
                <a:gd name="T22" fmla="*/ 2 w 119"/>
                <a:gd name="T23" fmla="*/ 89 h 192"/>
                <a:gd name="T24" fmla="*/ 4 w 119"/>
                <a:gd name="T25" fmla="*/ 84 h 192"/>
                <a:gd name="T26" fmla="*/ 7 w 119"/>
                <a:gd name="T27" fmla="*/ 80 h 192"/>
                <a:gd name="T28" fmla="*/ 80 w 119"/>
                <a:gd name="T29" fmla="*/ 8 h 192"/>
                <a:gd name="T30" fmla="*/ 84 w 119"/>
                <a:gd name="T31" fmla="*/ 4 h 192"/>
                <a:gd name="T32" fmla="*/ 88 w 119"/>
                <a:gd name="T33" fmla="*/ 2 h 192"/>
                <a:gd name="T34" fmla="*/ 92 w 119"/>
                <a:gd name="T35" fmla="*/ 0 h 192"/>
                <a:gd name="T36" fmla="*/ 96 w 119"/>
                <a:gd name="T37" fmla="*/ 0 h 192"/>
                <a:gd name="T38" fmla="*/ 101 w 119"/>
                <a:gd name="T39" fmla="*/ 0 h 192"/>
                <a:gd name="T40" fmla="*/ 105 w 119"/>
                <a:gd name="T41" fmla="*/ 2 h 192"/>
                <a:gd name="T42" fmla="*/ 108 w 119"/>
                <a:gd name="T43" fmla="*/ 4 h 192"/>
                <a:gd name="T44" fmla="*/ 112 w 119"/>
                <a:gd name="T45" fmla="*/ 8 h 192"/>
                <a:gd name="T46" fmla="*/ 116 w 119"/>
                <a:gd name="T47" fmla="*/ 11 h 192"/>
                <a:gd name="T48" fmla="*/ 118 w 119"/>
                <a:gd name="T49" fmla="*/ 15 h 192"/>
                <a:gd name="T50" fmla="*/ 119 w 119"/>
                <a:gd name="T51" fmla="*/ 19 h 192"/>
                <a:gd name="T52" fmla="*/ 119 w 119"/>
                <a:gd name="T53" fmla="*/ 24 h 192"/>
                <a:gd name="T54" fmla="*/ 119 w 119"/>
                <a:gd name="T55" fmla="*/ 27 h 192"/>
                <a:gd name="T56" fmla="*/ 118 w 119"/>
                <a:gd name="T57" fmla="*/ 32 h 192"/>
                <a:gd name="T58" fmla="*/ 116 w 119"/>
                <a:gd name="T59" fmla="*/ 36 h 192"/>
                <a:gd name="T60" fmla="*/ 112 w 119"/>
                <a:gd name="T61" fmla="*/ 40 h 192"/>
                <a:gd name="T62" fmla="*/ 56 w 119"/>
                <a:gd name="T63" fmla="*/ 97 h 192"/>
                <a:gd name="T64" fmla="*/ 111 w 119"/>
                <a:gd name="T65" fmla="*/ 153 h 192"/>
                <a:gd name="T66" fmla="*/ 115 w 119"/>
                <a:gd name="T67" fmla="*/ 156 h 192"/>
                <a:gd name="T68" fmla="*/ 116 w 119"/>
                <a:gd name="T69" fmla="*/ 160 h 192"/>
                <a:gd name="T70" fmla="*/ 117 w 119"/>
                <a:gd name="T71" fmla="*/ 165 h 192"/>
                <a:gd name="T72" fmla="*/ 118 w 119"/>
                <a:gd name="T73" fmla="*/ 168 h 192"/>
                <a:gd name="T74" fmla="*/ 117 w 119"/>
                <a:gd name="T75" fmla="*/ 173 h 192"/>
                <a:gd name="T76" fmla="*/ 116 w 119"/>
                <a:gd name="T77" fmla="*/ 177 h 192"/>
                <a:gd name="T78" fmla="*/ 115 w 119"/>
                <a:gd name="T79" fmla="*/ 182 h 192"/>
                <a:gd name="T80" fmla="*/ 111 w 119"/>
                <a:gd name="T81" fmla="*/ 186 h 192"/>
                <a:gd name="T82" fmla="*/ 107 w 119"/>
                <a:gd name="T83" fmla="*/ 188 h 192"/>
                <a:gd name="T84" fmla="*/ 103 w 119"/>
                <a:gd name="T85" fmla="*/ 191 h 192"/>
                <a:gd name="T86" fmla="*/ 100 w 119"/>
                <a:gd name="T87" fmla="*/ 192 h 192"/>
                <a:gd name="T88" fmla="*/ 95 w 119"/>
                <a:gd name="T8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92">
                  <a:moveTo>
                    <a:pt x="95" y="192"/>
                  </a:moveTo>
                  <a:lnTo>
                    <a:pt x="90" y="192"/>
                  </a:lnTo>
                  <a:lnTo>
                    <a:pt x="86" y="191"/>
                  </a:lnTo>
                  <a:lnTo>
                    <a:pt x="83" y="188"/>
                  </a:lnTo>
                  <a:lnTo>
                    <a:pt x="79" y="186"/>
                  </a:lnTo>
                  <a:lnTo>
                    <a:pt x="7" y="113"/>
                  </a:lnTo>
                  <a:lnTo>
                    <a:pt x="4" y="110"/>
                  </a:lnTo>
                  <a:lnTo>
                    <a:pt x="2" y="106"/>
                  </a:lnTo>
                  <a:lnTo>
                    <a:pt x="0" y="101"/>
                  </a:lnTo>
                  <a:lnTo>
                    <a:pt x="0" y="97"/>
                  </a:lnTo>
                  <a:lnTo>
                    <a:pt x="0" y="92"/>
                  </a:lnTo>
                  <a:lnTo>
                    <a:pt x="2" y="89"/>
                  </a:lnTo>
                  <a:lnTo>
                    <a:pt x="4" y="84"/>
                  </a:lnTo>
                  <a:lnTo>
                    <a:pt x="7" y="80"/>
                  </a:lnTo>
                  <a:lnTo>
                    <a:pt x="80" y="8"/>
                  </a:lnTo>
                  <a:lnTo>
                    <a:pt x="84" y="4"/>
                  </a:lnTo>
                  <a:lnTo>
                    <a:pt x="88" y="2"/>
                  </a:lnTo>
                  <a:lnTo>
                    <a:pt x="92" y="0"/>
                  </a:lnTo>
                  <a:lnTo>
                    <a:pt x="96" y="0"/>
                  </a:lnTo>
                  <a:lnTo>
                    <a:pt x="101" y="0"/>
                  </a:lnTo>
                  <a:lnTo>
                    <a:pt x="105" y="2"/>
                  </a:lnTo>
                  <a:lnTo>
                    <a:pt x="108" y="4"/>
                  </a:lnTo>
                  <a:lnTo>
                    <a:pt x="112" y="8"/>
                  </a:lnTo>
                  <a:lnTo>
                    <a:pt x="116" y="11"/>
                  </a:lnTo>
                  <a:lnTo>
                    <a:pt x="118" y="15"/>
                  </a:lnTo>
                  <a:lnTo>
                    <a:pt x="119" y="19"/>
                  </a:lnTo>
                  <a:lnTo>
                    <a:pt x="119" y="24"/>
                  </a:lnTo>
                  <a:lnTo>
                    <a:pt x="119" y="27"/>
                  </a:lnTo>
                  <a:lnTo>
                    <a:pt x="118" y="32"/>
                  </a:lnTo>
                  <a:lnTo>
                    <a:pt x="116" y="36"/>
                  </a:lnTo>
                  <a:lnTo>
                    <a:pt x="112" y="40"/>
                  </a:lnTo>
                  <a:lnTo>
                    <a:pt x="56" y="97"/>
                  </a:lnTo>
                  <a:lnTo>
                    <a:pt x="111" y="153"/>
                  </a:lnTo>
                  <a:lnTo>
                    <a:pt x="115" y="156"/>
                  </a:lnTo>
                  <a:lnTo>
                    <a:pt x="116" y="160"/>
                  </a:lnTo>
                  <a:lnTo>
                    <a:pt x="117" y="165"/>
                  </a:lnTo>
                  <a:lnTo>
                    <a:pt x="118" y="168"/>
                  </a:lnTo>
                  <a:lnTo>
                    <a:pt x="117" y="173"/>
                  </a:lnTo>
                  <a:lnTo>
                    <a:pt x="116" y="177"/>
                  </a:lnTo>
                  <a:lnTo>
                    <a:pt x="115" y="182"/>
                  </a:lnTo>
                  <a:lnTo>
                    <a:pt x="111" y="186"/>
                  </a:lnTo>
                  <a:lnTo>
                    <a:pt x="107" y="188"/>
                  </a:lnTo>
                  <a:lnTo>
                    <a:pt x="103" y="191"/>
                  </a:lnTo>
                  <a:lnTo>
                    <a:pt x="100" y="192"/>
                  </a:lnTo>
                  <a:lnTo>
                    <a:pt x="9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70" name="Group 50">
            <a:extLst>
              <a:ext uri="{FF2B5EF4-FFF2-40B4-BE49-F238E27FC236}">
                <a16:creationId xmlns:a16="http://schemas.microsoft.com/office/drawing/2014/main" id="{859B53FC-C285-4023-8B4C-E7DCB83BCAE7}"/>
              </a:ext>
            </a:extLst>
          </p:cNvPr>
          <p:cNvGrpSpPr>
            <a:grpSpLocks noChangeAspect="1"/>
          </p:cNvGrpSpPr>
          <p:nvPr/>
        </p:nvGrpSpPr>
        <p:grpSpPr>
          <a:xfrm>
            <a:off x="4049239" y="2724897"/>
            <a:ext cx="285619" cy="285619"/>
            <a:chOff x="8408988" y="4614863"/>
            <a:chExt cx="511175" cy="511175"/>
          </a:xfrm>
          <a:solidFill>
            <a:schemeClr val="bg1"/>
          </a:solidFill>
          <a:effectLst/>
        </p:grpSpPr>
        <p:sp>
          <p:nvSpPr>
            <p:cNvPr id="671" name="Freeform 123">
              <a:extLst>
                <a:ext uri="{FF2B5EF4-FFF2-40B4-BE49-F238E27FC236}">
                  <a16:creationId xmlns:a16="http://schemas.microsoft.com/office/drawing/2014/main" id="{3B2EBA59-9B81-469D-8E0E-56D7D39B61E6}"/>
                </a:ext>
              </a:extLst>
            </p:cNvPr>
            <p:cNvSpPr>
              <a:spLocks noEditPoints="1"/>
            </p:cNvSpPr>
            <p:nvPr/>
          </p:nvSpPr>
          <p:spPr bwMode="auto">
            <a:xfrm>
              <a:off x="8551863" y="4614863"/>
              <a:ext cx="217488" cy="238125"/>
            </a:xfrm>
            <a:custGeom>
              <a:avLst/>
              <a:gdLst>
                <a:gd name="T0" fmla="*/ 239 w 548"/>
                <a:gd name="T1" fmla="*/ 49 h 598"/>
                <a:gd name="T2" fmla="*/ 165 w 548"/>
                <a:gd name="T3" fmla="*/ 77 h 598"/>
                <a:gd name="T4" fmla="*/ 98 w 548"/>
                <a:gd name="T5" fmla="*/ 138 h 598"/>
                <a:gd name="T6" fmla="*/ 56 w 548"/>
                <a:gd name="T7" fmla="*/ 224 h 598"/>
                <a:gd name="T8" fmla="*/ 48 w 548"/>
                <a:gd name="T9" fmla="*/ 325 h 598"/>
                <a:gd name="T10" fmla="*/ 74 w 548"/>
                <a:gd name="T11" fmla="*/ 420 h 598"/>
                <a:gd name="T12" fmla="*/ 129 w 548"/>
                <a:gd name="T13" fmla="*/ 495 h 598"/>
                <a:gd name="T14" fmla="*/ 206 w 548"/>
                <a:gd name="T15" fmla="*/ 540 h 598"/>
                <a:gd name="T16" fmla="*/ 262 w 548"/>
                <a:gd name="T17" fmla="*/ 552 h 598"/>
                <a:gd name="T18" fmla="*/ 309 w 548"/>
                <a:gd name="T19" fmla="*/ 549 h 598"/>
                <a:gd name="T20" fmla="*/ 383 w 548"/>
                <a:gd name="T21" fmla="*/ 522 h 598"/>
                <a:gd name="T22" fmla="*/ 450 w 548"/>
                <a:gd name="T23" fmla="*/ 460 h 598"/>
                <a:gd name="T24" fmla="*/ 492 w 548"/>
                <a:gd name="T25" fmla="*/ 375 h 598"/>
                <a:gd name="T26" fmla="*/ 502 w 548"/>
                <a:gd name="T27" fmla="*/ 273 h 598"/>
                <a:gd name="T28" fmla="*/ 475 w 548"/>
                <a:gd name="T29" fmla="*/ 179 h 598"/>
                <a:gd name="T30" fmla="*/ 419 w 548"/>
                <a:gd name="T31" fmla="*/ 104 h 598"/>
                <a:gd name="T32" fmla="*/ 342 w 548"/>
                <a:gd name="T33" fmla="*/ 57 h 598"/>
                <a:gd name="T34" fmla="*/ 286 w 548"/>
                <a:gd name="T35" fmla="*/ 46 h 598"/>
                <a:gd name="T36" fmla="*/ 246 w 548"/>
                <a:gd name="T37" fmla="*/ 597 h 598"/>
                <a:gd name="T38" fmla="*/ 192 w 548"/>
                <a:gd name="T39" fmla="*/ 585 h 598"/>
                <a:gd name="T40" fmla="*/ 143 w 548"/>
                <a:gd name="T41" fmla="*/ 563 h 598"/>
                <a:gd name="T42" fmla="*/ 100 w 548"/>
                <a:gd name="T43" fmla="*/ 529 h 598"/>
                <a:gd name="T44" fmla="*/ 62 w 548"/>
                <a:gd name="T45" fmla="*/ 489 h 598"/>
                <a:gd name="T46" fmla="*/ 33 w 548"/>
                <a:gd name="T47" fmla="*/ 441 h 598"/>
                <a:gd name="T48" fmla="*/ 12 w 548"/>
                <a:gd name="T49" fmla="*/ 388 h 598"/>
                <a:gd name="T50" fmla="*/ 1 w 548"/>
                <a:gd name="T51" fmla="*/ 330 h 598"/>
                <a:gd name="T52" fmla="*/ 1 w 548"/>
                <a:gd name="T53" fmla="*/ 268 h 598"/>
                <a:gd name="T54" fmla="*/ 12 w 548"/>
                <a:gd name="T55" fmla="*/ 211 h 598"/>
                <a:gd name="T56" fmla="*/ 33 w 548"/>
                <a:gd name="T57" fmla="*/ 157 h 598"/>
                <a:gd name="T58" fmla="*/ 62 w 548"/>
                <a:gd name="T59" fmla="*/ 109 h 598"/>
                <a:gd name="T60" fmla="*/ 100 w 548"/>
                <a:gd name="T61" fmla="*/ 68 h 598"/>
                <a:gd name="T62" fmla="*/ 143 w 548"/>
                <a:gd name="T63" fmla="*/ 35 h 598"/>
                <a:gd name="T64" fmla="*/ 192 w 548"/>
                <a:gd name="T65" fmla="*/ 13 h 598"/>
                <a:gd name="T66" fmla="*/ 246 w 548"/>
                <a:gd name="T67" fmla="*/ 1 h 598"/>
                <a:gd name="T68" fmla="*/ 303 w 548"/>
                <a:gd name="T69" fmla="*/ 1 h 598"/>
                <a:gd name="T70" fmla="*/ 356 w 548"/>
                <a:gd name="T71" fmla="*/ 13 h 598"/>
                <a:gd name="T72" fmla="*/ 405 w 548"/>
                <a:gd name="T73" fmla="*/ 35 h 598"/>
                <a:gd name="T74" fmla="*/ 449 w 548"/>
                <a:gd name="T75" fmla="*/ 68 h 598"/>
                <a:gd name="T76" fmla="*/ 486 w 548"/>
                <a:gd name="T77" fmla="*/ 109 h 598"/>
                <a:gd name="T78" fmla="*/ 515 w 548"/>
                <a:gd name="T79" fmla="*/ 157 h 598"/>
                <a:gd name="T80" fmla="*/ 536 w 548"/>
                <a:gd name="T81" fmla="*/ 211 h 598"/>
                <a:gd name="T82" fmla="*/ 547 w 548"/>
                <a:gd name="T83" fmla="*/ 268 h 598"/>
                <a:gd name="T84" fmla="*/ 547 w 548"/>
                <a:gd name="T85" fmla="*/ 330 h 598"/>
                <a:gd name="T86" fmla="*/ 536 w 548"/>
                <a:gd name="T87" fmla="*/ 388 h 598"/>
                <a:gd name="T88" fmla="*/ 515 w 548"/>
                <a:gd name="T89" fmla="*/ 441 h 598"/>
                <a:gd name="T90" fmla="*/ 486 w 548"/>
                <a:gd name="T91" fmla="*/ 489 h 598"/>
                <a:gd name="T92" fmla="*/ 449 w 548"/>
                <a:gd name="T93" fmla="*/ 529 h 598"/>
                <a:gd name="T94" fmla="*/ 405 w 548"/>
                <a:gd name="T95" fmla="*/ 563 h 598"/>
                <a:gd name="T96" fmla="*/ 356 w 548"/>
                <a:gd name="T97" fmla="*/ 585 h 598"/>
                <a:gd name="T98" fmla="*/ 303 w 548"/>
                <a:gd name="T99" fmla="*/ 597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8" h="598">
                  <a:moveTo>
                    <a:pt x="275" y="46"/>
                  </a:moveTo>
                  <a:lnTo>
                    <a:pt x="262" y="46"/>
                  </a:lnTo>
                  <a:lnTo>
                    <a:pt x="251" y="47"/>
                  </a:lnTo>
                  <a:lnTo>
                    <a:pt x="239" y="49"/>
                  </a:lnTo>
                  <a:lnTo>
                    <a:pt x="228" y="51"/>
                  </a:lnTo>
                  <a:lnTo>
                    <a:pt x="206" y="57"/>
                  </a:lnTo>
                  <a:lnTo>
                    <a:pt x="185" y="66"/>
                  </a:lnTo>
                  <a:lnTo>
                    <a:pt x="165" y="77"/>
                  </a:lnTo>
                  <a:lnTo>
                    <a:pt x="147" y="89"/>
                  </a:lnTo>
                  <a:lnTo>
                    <a:pt x="129" y="104"/>
                  </a:lnTo>
                  <a:lnTo>
                    <a:pt x="113" y="120"/>
                  </a:lnTo>
                  <a:lnTo>
                    <a:pt x="98" y="138"/>
                  </a:lnTo>
                  <a:lnTo>
                    <a:pt x="85" y="158"/>
                  </a:lnTo>
                  <a:lnTo>
                    <a:pt x="74" y="179"/>
                  </a:lnTo>
                  <a:lnTo>
                    <a:pt x="64" y="201"/>
                  </a:lnTo>
                  <a:lnTo>
                    <a:pt x="56" y="224"/>
                  </a:lnTo>
                  <a:lnTo>
                    <a:pt x="50" y="249"/>
                  </a:lnTo>
                  <a:lnTo>
                    <a:pt x="48" y="273"/>
                  </a:lnTo>
                  <a:lnTo>
                    <a:pt x="47" y="299"/>
                  </a:lnTo>
                  <a:lnTo>
                    <a:pt x="48" y="325"/>
                  </a:lnTo>
                  <a:lnTo>
                    <a:pt x="50" y="350"/>
                  </a:lnTo>
                  <a:lnTo>
                    <a:pt x="56" y="375"/>
                  </a:lnTo>
                  <a:lnTo>
                    <a:pt x="64" y="397"/>
                  </a:lnTo>
                  <a:lnTo>
                    <a:pt x="74" y="420"/>
                  </a:lnTo>
                  <a:lnTo>
                    <a:pt x="85" y="441"/>
                  </a:lnTo>
                  <a:lnTo>
                    <a:pt x="98" y="460"/>
                  </a:lnTo>
                  <a:lnTo>
                    <a:pt x="113" y="478"/>
                  </a:lnTo>
                  <a:lnTo>
                    <a:pt x="129" y="495"/>
                  </a:lnTo>
                  <a:lnTo>
                    <a:pt x="147" y="509"/>
                  </a:lnTo>
                  <a:lnTo>
                    <a:pt x="165" y="522"/>
                  </a:lnTo>
                  <a:lnTo>
                    <a:pt x="185" y="532"/>
                  </a:lnTo>
                  <a:lnTo>
                    <a:pt x="206" y="540"/>
                  </a:lnTo>
                  <a:lnTo>
                    <a:pt x="228" y="548"/>
                  </a:lnTo>
                  <a:lnTo>
                    <a:pt x="239" y="549"/>
                  </a:lnTo>
                  <a:lnTo>
                    <a:pt x="251" y="552"/>
                  </a:lnTo>
                  <a:lnTo>
                    <a:pt x="262" y="552"/>
                  </a:lnTo>
                  <a:lnTo>
                    <a:pt x="275" y="553"/>
                  </a:lnTo>
                  <a:lnTo>
                    <a:pt x="286" y="552"/>
                  </a:lnTo>
                  <a:lnTo>
                    <a:pt x="298" y="552"/>
                  </a:lnTo>
                  <a:lnTo>
                    <a:pt x="309" y="549"/>
                  </a:lnTo>
                  <a:lnTo>
                    <a:pt x="320" y="548"/>
                  </a:lnTo>
                  <a:lnTo>
                    <a:pt x="342" y="540"/>
                  </a:lnTo>
                  <a:lnTo>
                    <a:pt x="363" y="532"/>
                  </a:lnTo>
                  <a:lnTo>
                    <a:pt x="383" y="522"/>
                  </a:lnTo>
                  <a:lnTo>
                    <a:pt x="402" y="509"/>
                  </a:lnTo>
                  <a:lnTo>
                    <a:pt x="419" y="495"/>
                  </a:lnTo>
                  <a:lnTo>
                    <a:pt x="435" y="478"/>
                  </a:lnTo>
                  <a:lnTo>
                    <a:pt x="450" y="460"/>
                  </a:lnTo>
                  <a:lnTo>
                    <a:pt x="464" y="441"/>
                  </a:lnTo>
                  <a:lnTo>
                    <a:pt x="475" y="420"/>
                  </a:lnTo>
                  <a:lnTo>
                    <a:pt x="484" y="397"/>
                  </a:lnTo>
                  <a:lnTo>
                    <a:pt x="492" y="375"/>
                  </a:lnTo>
                  <a:lnTo>
                    <a:pt x="498" y="350"/>
                  </a:lnTo>
                  <a:lnTo>
                    <a:pt x="502" y="325"/>
                  </a:lnTo>
                  <a:lnTo>
                    <a:pt x="503" y="299"/>
                  </a:lnTo>
                  <a:lnTo>
                    <a:pt x="502" y="273"/>
                  </a:lnTo>
                  <a:lnTo>
                    <a:pt x="498" y="249"/>
                  </a:lnTo>
                  <a:lnTo>
                    <a:pt x="492" y="224"/>
                  </a:lnTo>
                  <a:lnTo>
                    <a:pt x="484" y="201"/>
                  </a:lnTo>
                  <a:lnTo>
                    <a:pt x="475" y="179"/>
                  </a:lnTo>
                  <a:lnTo>
                    <a:pt x="464" y="158"/>
                  </a:lnTo>
                  <a:lnTo>
                    <a:pt x="450" y="138"/>
                  </a:lnTo>
                  <a:lnTo>
                    <a:pt x="435" y="120"/>
                  </a:lnTo>
                  <a:lnTo>
                    <a:pt x="419" y="104"/>
                  </a:lnTo>
                  <a:lnTo>
                    <a:pt x="402" y="89"/>
                  </a:lnTo>
                  <a:lnTo>
                    <a:pt x="383" y="77"/>
                  </a:lnTo>
                  <a:lnTo>
                    <a:pt x="363" y="66"/>
                  </a:lnTo>
                  <a:lnTo>
                    <a:pt x="342" y="57"/>
                  </a:lnTo>
                  <a:lnTo>
                    <a:pt x="320" y="51"/>
                  </a:lnTo>
                  <a:lnTo>
                    <a:pt x="309" y="49"/>
                  </a:lnTo>
                  <a:lnTo>
                    <a:pt x="298" y="47"/>
                  </a:lnTo>
                  <a:lnTo>
                    <a:pt x="286" y="46"/>
                  </a:lnTo>
                  <a:lnTo>
                    <a:pt x="275" y="46"/>
                  </a:lnTo>
                  <a:close/>
                  <a:moveTo>
                    <a:pt x="275" y="598"/>
                  </a:moveTo>
                  <a:lnTo>
                    <a:pt x="260" y="598"/>
                  </a:lnTo>
                  <a:lnTo>
                    <a:pt x="246" y="597"/>
                  </a:lnTo>
                  <a:lnTo>
                    <a:pt x="233" y="594"/>
                  </a:lnTo>
                  <a:lnTo>
                    <a:pt x="219" y="592"/>
                  </a:lnTo>
                  <a:lnTo>
                    <a:pt x="206" y="590"/>
                  </a:lnTo>
                  <a:lnTo>
                    <a:pt x="192" y="585"/>
                  </a:lnTo>
                  <a:lnTo>
                    <a:pt x="180" y="580"/>
                  </a:lnTo>
                  <a:lnTo>
                    <a:pt x="168" y="575"/>
                  </a:lnTo>
                  <a:lnTo>
                    <a:pt x="156" y="569"/>
                  </a:lnTo>
                  <a:lnTo>
                    <a:pt x="143" y="563"/>
                  </a:lnTo>
                  <a:lnTo>
                    <a:pt x="132" y="555"/>
                  </a:lnTo>
                  <a:lnTo>
                    <a:pt x="121" y="548"/>
                  </a:lnTo>
                  <a:lnTo>
                    <a:pt x="110" y="539"/>
                  </a:lnTo>
                  <a:lnTo>
                    <a:pt x="100" y="529"/>
                  </a:lnTo>
                  <a:lnTo>
                    <a:pt x="89" y="521"/>
                  </a:lnTo>
                  <a:lnTo>
                    <a:pt x="81" y="511"/>
                  </a:lnTo>
                  <a:lnTo>
                    <a:pt x="71" y="500"/>
                  </a:lnTo>
                  <a:lnTo>
                    <a:pt x="62" y="489"/>
                  </a:lnTo>
                  <a:lnTo>
                    <a:pt x="55" y="478"/>
                  </a:lnTo>
                  <a:lnTo>
                    <a:pt x="47" y="467"/>
                  </a:lnTo>
                  <a:lnTo>
                    <a:pt x="40" y="455"/>
                  </a:lnTo>
                  <a:lnTo>
                    <a:pt x="33" y="441"/>
                  </a:lnTo>
                  <a:lnTo>
                    <a:pt x="27" y="429"/>
                  </a:lnTo>
                  <a:lnTo>
                    <a:pt x="22" y="415"/>
                  </a:lnTo>
                  <a:lnTo>
                    <a:pt x="17" y="402"/>
                  </a:lnTo>
                  <a:lnTo>
                    <a:pt x="12" y="388"/>
                  </a:lnTo>
                  <a:lnTo>
                    <a:pt x="9" y="374"/>
                  </a:lnTo>
                  <a:lnTo>
                    <a:pt x="6" y="359"/>
                  </a:lnTo>
                  <a:lnTo>
                    <a:pt x="4" y="344"/>
                  </a:lnTo>
                  <a:lnTo>
                    <a:pt x="1" y="330"/>
                  </a:lnTo>
                  <a:lnTo>
                    <a:pt x="0" y="315"/>
                  </a:lnTo>
                  <a:lnTo>
                    <a:pt x="0" y="299"/>
                  </a:lnTo>
                  <a:lnTo>
                    <a:pt x="0" y="284"/>
                  </a:lnTo>
                  <a:lnTo>
                    <a:pt x="1" y="268"/>
                  </a:lnTo>
                  <a:lnTo>
                    <a:pt x="4" y="253"/>
                  </a:lnTo>
                  <a:lnTo>
                    <a:pt x="6" y="239"/>
                  </a:lnTo>
                  <a:lnTo>
                    <a:pt x="9" y="224"/>
                  </a:lnTo>
                  <a:lnTo>
                    <a:pt x="12" y="211"/>
                  </a:lnTo>
                  <a:lnTo>
                    <a:pt x="17" y="196"/>
                  </a:lnTo>
                  <a:lnTo>
                    <a:pt x="22" y="182"/>
                  </a:lnTo>
                  <a:lnTo>
                    <a:pt x="27" y="169"/>
                  </a:lnTo>
                  <a:lnTo>
                    <a:pt x="33" y="157"/>
                  </a:lnTo>
                  <a:lnTo>
                    <a:pt x="40" y="144"/>
                  </a:lnTo>
                  <a:lnTo>
                    <a:pt x="47" y="132"/>
                  </a:lnTo>
                  <a:lnTo>
                    <a:pt x="55" y="120"/>
                  </a:lnTo>
                  <a:lnTo>
                    <a:pt x="62" y="109"/>
                  </a:lnTo>
                  <a:lnTo>
                    <a:pt x="71" y="98"/>
                  </a:lnTo>
                  <a:lnTo>
                    <a:pt x="81" y="88"/>
                  </a:lnTo>
                  <a:lnTo>
                    <a:pt x="89" y="77"/>
                  </a:lnTo>
                  <a:lnTo>
                    <a:pt x="100" y="68"/>
                  </a:lnTo>
                  <a:lnTo>
                    <a:pt x="110" y="60"/>
                  </a:lnTo>
                  <a:lnTo>
                    <a:pt x="121" y="51"/>
                  </a:lnTo>
                  <a:lnTo>
                    <a:pt x="132" y="42"/>
                  </a:lnTo>
                  <a:lnTo>
                    <a:pt x="143" y="35"/>
                  </a:lnTo>
                  <a:lnTo>
                    <a:pt x="156" y="29"/>
                  </a:lnTo>
                  <a:lnTo>
                    <a:pt x="168" y="23"/>
                  </a:lnTo>
                  <a:lnTo>
                    <a:pt x="180" y="18"/>
                  </a:lnTo>
                  <a:lnTo>
                    <a:pt x="192" y="13"/>
                  </a:lnTo>
                  <a:lnTo>
                    <a:pt x="206" y="9"/>
                  </a:lnTo>
                  <a:lnTo>
                    <a:pt x="219" y="6"/>
                  </a:lnTo>
                  <a:lnTo>
                    <a:pt x="233" y="3"/>
                  </a:lnTo>
                  <a:lnTo>
                    <a:pt x="246" y="1"/>
                  </a:lnTo>
                  <a:lnTo>
                    <a:pt x="260" y="0"/>
                  </a:lnTo>
                  <a:lnTo>
                    <a:pt x="275" y="0"/>
                  </a:lnTo>
                  <a:lnTo>
                    <a:pt x="288" y="0"/>
                  </a:lnTo>
                  <a:lnTo>
                    <a:pt x="303" y="1"/>
                  </a:lnTo>
                  <a:lnTo>
                    <a:pt x="316" y="3"/>
                  </a:lnTo>
                  <a:lnTo>
                    <a:pt x="330" y="6"/>
                  </a:lnTo>
                  <a:lnTo>
                    <a:pt x="343" y="9"/>
                  </a:lnTo>
                  <a:lnTo>
                    <a:pt x="356" y="13"/>
                  </a:lnTo>
                  <a:lnTo>
                    <a:pt x="369" y="18"/>
                  </a:lnTo>
                  <a:lnTo>
                    <a:pt x="381" y="23"/>
                  </a:lnTo>
                  <a:lnTo>
                    <a:pt x="394" y="29"/>
                  </a:lnTo>
                  <a:lnTo>
                    <a:pt x="405" y="35"/>
                  </a:lnTo>
                  <a:lnTo>
                    <a:pt x="417" y="42"/>
                  </a:lnTo>
                  <a:lnTo>
                    <a:pt x="428" y="51"/>
                  </a:lnTo>
                  <a:lnTo>
                    <a:pt x="439" y="60"/>
                  </a:lnTo>
                  <a:lnTo>
                    <a:pt x="449" y="68"/>
                  </a:lnTo>
                  <a:lnTo>
                    <a:pt x="459" y="77"/>
                  </a:lnTo>
                  <a:lnTo>
                    <a:pt x="468" y="88"/>
                  </a:lnTo>
                  <a:lnTo>
                    <a:pt x="477" y="98"/>
                  </a:lnTo>
                  <a:lnTo>
                    <a:pt x="486" y="109"/>
                  </a:lnTo>
                  <a:lnTo>
                    <a:pt x="494" y="120"/>
                  </a:lnTo>
                  <a:lnTo>
                    <a:pt x="502" y="132"/>
                  </a:lnTo>
                  <a:lnTo>
                    <a:pt x="509" y="144"/>
                  </a:lnTo>
                  <a:lnTo>
                    <a:pt x="515" y="157"/>
                  </a:lnTo>
                  <a:lnTo>
                    <a:pt x="521" y="169"/>
                  </a:lnTo>
                  <a:lnTo>
                    <a:pt x="527" y="182"/>
                  </a:lnTo>
                  <a:lnTo>
                    <a:pt x="532" y="196"/>
                  </a:lnTo>
                  <a:lnTo>
                    <a:pt x="536" y="211"/>
                  </a:lnTo>
                  <a:lnTo>
                    <a:pt x="540" y="224"/>
                  </a:lnTo>
                  <a:lnTo>
                    <a:pt x="543" y="239"/>
                  </a:lnTo>
                  <a:lnTo>
                    <a:pt x="546" y="253"/>
                  </a:lnTo>
                  <a:lnTo>
                    <a:pt x="547" y="268"/>
                  </a:lnTo>
                  <a:lnTo>
                    <a:pt x="548" y="284"/>
                  </a:lnTo>
                  <a:lnTo>
                    <a:pt x="548" y="299"/>
                  </a:lnTo>
                  <a:lnTo>
                    <a:pt x="548" y="315"/>
                  </a:lnTo>
                  <a:lnTo>
                    <a:pt x="547" y="330"/>
                  </a:lnTo>
                  <a:lnTo>
                    <a:pt x="546" y="344"/>
                  </a:lnTo>
                  <a:lnTo>
                    <a:pt x="543" y="359"/>
                  </a:lnTo>
                  <a:lnTo>
                    <a:pt x="540" y="374"/>
                  </a:lnTo>
                  <a:lnTo>
                    <a:pt x="536" y="388"/>
                  </a:lnTo>
                  <a:lnTo>
                    <a:pt x="532" y="402"/>
                  </a:lnTo>
                  <a:lnTo>
                    <a:pt x="527" y="415"/>
                  </a:lnTo>
                  <a:lnTo>
                    <a:pt x="521" y="429"/>
                  </a:lnTo>
                  <a:lnTo>
                    <a:pt x="515" y="441"/>
                  </a:lnTo>
                  <a:lnTo>
                    <a:pt x="509" y="455"/>
                  </a:lnTo>
                  <a:lnTo>
                    <a:pt x="502" y="467"/>
                  </a:lnTo>
                  <a:lnTo>
                    <a:pt x="494" y="478"/>
                  </a:lnTo>
                  <a:lnTo>
                    <a:pt x="486" y="489"/>
                  </a:lnTo>
                  <a:lnTo>
                    <a:pt x="477" y="500"/>
                  </a:lnTo>
                  <a:lnTo>
                    <a:pt x="468" y="511"/>
                  </a:lnTo>
                  <a:lnTo>
                    <a:pt x="459" y="521"/>
                  </a:lnTo>
                  <a:lnTo>
                    <a:pt x="449" y="529"/>
                  </a:lnTo>
                  <a:lnTo>
                    <a:pt x="439" y="539"/>
                  </a:lnTo>
                  <a:lnTo>
                    <a:pt x="428" y="548"/>
                  </a:lnTo>
                  <a:lnTo>
                    <a:pt x="417" y="555"/>
                  </a:lnTo>
                  <a:lnTo>
                    <a:pt x="405" y="563"/>
                  </a:lnTo>
                  <a:lnTo>
                    <a:pt x="394" y="569"/>
                  </a:lnTo>
                  <a:lnTo>
                    <a:pt x="381" y="575"/>
                  </a:lnTo>
                  <a:lnTo>
                    <a:pt x="369" y="580"/>
                  </a:lnTo>
                  <a:lnTo>
                    <a:pt x="356" y="585"/>
                  </a:lnTo>
                  <a:lnTo>
                    <a:pt x="343" y="590"/>
                  </a:lnTo>
                  <a:lnTo>
                    <a:pt x="330" y="592"/>
                  </a:lnTo>
                  <a:lnTo>
                    <a:pt x="316" y="594"/>
                  </a:lnTo>
                  <a:lnTo>
                    <a:pt x="303" y="597"/>
                  </a:lnTo>
                  <a:lnTo>
                    <a:pt x="288" y="598"/>
                  </a:lnTo>
                  <a:lnTo>
                    <a:pt x="275"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Freeform 124">
              <a:extLst>
                <a:ext uri="{FF2B5EF4-FFF2-40B4-BE49-F238E27FC236}">
                  <a16:creationId xmlns:a16="http://schemas.microsoft.com/office/drawing/2014/main" id="{2CFA5259-BC58-4F42-8B88-70DD35C76957}"/>
                </a:ext>
              </a:extLst>
            </p:cNvPr>
            <p:cNvSpPr>
              <a:spLocks/>
            </p:cNvSpPr>
            <p:nvPr/>
          </p:nvSpPr>
          <p:spPr bwMode="auto">
            <a:xfrm>
              <a:off x="8691563" y="4833938"/>
              <a:ext cx="158750" cy="192088"/>
            </a:xfrm>
            <a:custGeom>
              <a:avLst/>
              <a:gdLst>
                <a:gd name="T0" fmla="*/ 352 w 397"/>
                <a:gd name="T1" fmla="*/ 486 h 486"/>
                <a:gd name="T2" fmla="*/ 351 w 397"/>
                <a:gd name="T3" fmla="*/ 308 h 486"/>
                <a:gd name="T4" fmla="*/ 346 w 397"/>
                <a:gd name="T5" fmla="*/ 275 h 486"/>
                <a:gd name="T6" fmla="*/ 336 w 397"/>
                <a:gd name="T7" fmla="*/ 249 h 486"/>
                <a:gd name="T8" fmla="*/ 320 w 397"/>
                <a:gd name="T9" fmla="*/ 228 h 486"/>
                <a:gd name="T10" fmla="*/ 299 w 397"/>
                <a:gd name="T11" fmla="*/ 213 h 486"/>
                <a:gd name="T12" fmla="*/ 273 w 397"/>
                <a:gd name="T13" fmla="*/ 199 h 486"/>
                <a:gd name="T14" fmla="*/ 226 w 397"/>
                <a:gd name="T15" fmla="*/ 182 h 486"/>
                <a:gd name="T16" fmla="*/ 170 w 397"/>
                <a:gd name="T17" fmla="*/ 165 h 486"/>
                <a:gd name="T18" fmla="*/ 135 w 397"/>
                <a:gd name="T19" fmla="*/ 154 h 486"/>
                <a:gd name="T20" fmla="*/ 99 w 397"/>
                <a:gd name="T21" fmla="*/ 141 h 486"/>
                <a:gd name="T22" fmla="*/ 69 w 397"/>
                <a:gd name="T23" fmla="*/ 125 h 486"/>
                <a:gd name="T24" fmla="*/ 45 w 397"/>
                <a:gd name="T25" fmla="*/ 107 h 486"/>
                <a:gd name="T26" fmla="*/ 27 w 397"/>
                <a:gd name="T27" fmla="*/ 86 h 486"/>
                <a:gd name="T28" fmla="*/ 15 w 397"/>
                <a:gd name="T29" fmla="*/ 65 h 486"/>
                <a:gd name="T30" fmla="*/ 6 w 397"/>
                <a:gd name="T31" fmla="*/ 44 h 486"/>
                <a:gd name="T32" fmla="*/ 1 w 397"/>
                <a:gd name="T33" fmla="*/ 25 h 486"/>
                <a:gd name="T34" fmla="*/ 0 w 397"/>
                <a:gd name="T35" fmla="*/ 8 h 486"/>
                <a:gd name="T36" fmla="*/ 45 w 397"/>
                <a:gd name="T37" fmla="*/ 3 h 486"/>
                <a:gd name="T38" fmla="*/ 47 w 397"/>
                <a:gd name="T39" fmla="*/ 16 h 486"/>
                <a:gd name="T40" fmla="*/ 55 w 397"/>
                <a:gd name="T41" fmla="*/ 43 h 486"/>
                <a:gd name="T42" fmla="*/ 65 w 397"/>
                <a:gd name="T43" fmla="*/ 60 h 486"/>
                <a:gd name="T44" fmla="*/ 81 w 397"/>
                <a:gd name="T45" fmla="*/ 76 h 486"/>
                <a:gd name="T46" fmla="*/ 102 w 397"/>
                <a:gd name="T47" fmla="*/ 91 h 486"/>
                <a:gd name="T48" fmla="*/ 131 w 397"/>
                <a:gd name="T49" fmla="*/ 105 h 486"/>
                <a:gd name="T50" fmla="*/ 167 w 397"/>
                <a:gd name="T51" fmla="*/ 116 h 486"/>
                <a:gd name="T52" fmla="*/ 200 w 397"/>
                <a:gd name="T53" fmla="*/ 125 h 486"/>
                <a:gd name="T54" fmla="*/ 277 w 397"/>
                <a:gd name="T55" fmla="*/ 151 h 486"/>
                <a:gd name="T56" fmla="*/ 311 w 397"/>
                <a:gd name="T57" fmla="*/ 166 h 486"/>
                <a:gd name="T58" fmla="*/ 340 w 397"/>
                <a:gd name="T59" fmla="*/ 184 h 486"/>
                <a:gd name="T60" fmla="*/ 364 w 397"/>
                <a:gd name="T61" fmla="*/ 209 h 486"/>
                <a:gd name="T62" fmla="*/ 383 w 397"/>
                <a:gd name="T63" fmla="*/ 240 h 486"/>
                <a:gd name="T64" fmla="*/ 394 w 397"/>
                <a:gd name="T65" fmla="*/ 279 h 486"/>
                <a:gd name="T66" fmla="*/ 397 w 397"/>
                <a:gd name="T67" fmla="*/ 32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7" h="486">
                  <a:moveTo>
                    <a:pt x="397" y="486"/>
                  </a:moveTo>
                  <a:lnTo>
                    <a:pt x="352" y="486"/>
                  </a:lnTo>
                  <a:lnTo>
                    <a:pt x="352" y="327"/>
                  </a:lnTo>
                  <a:lnTo>
                    <a:pt x="351" y="308"/>
                  </a:lnTo>
                  <a:lnTo>
                    <a:pt x="349" y="290"/>
                  </a:lnTo>
                  <a:lnTo>
                    <a:pt x="346" y="275"/>
                  </a:lnTo>
                  <a:lnTo>
                    <a:pt x="341" y="262"/>
                  </a:lnTo>
                  <a:lnTo>
                    <a:pt x="336" y="249"/>
                  </a:lnTo>
                  <a:lnTo>
                    <a:pt x="329" y="238"/>
                  </a:lnTo>
                  <a:lnTo>
                    <a:pt x="320" y="228"/>
                  </a:lnTo>
                  <a:lnTo>
                    <a:pt x="310" y="220"/>
                  </a:lnTo>
                  <a:lnTo>
                    <a:pt x="299" y="213"/>
                  </a:lnTo>
                  <a:lnTo>
                    <a:pt x="287" y="205"/>
                  </a:lnTo>
                  <a:lnTo>
                    <a:pt x="273" y="199"/>
                  </a:lnTo>
                  <a:lnTo>
                    <a:pt x="259" y="193"/>
                  </a:lnTo>
                  <a:lnTo>
                    <a:pt x="226" y="182"/>
                  </a:lnTo>
                  <a:lnTo>
                    <a:pt x="186" y="170"/>
                  </a:lnTo>
                  <a:lnTo>
                    <a:pt x="170" y="165"/>
                  </a:lnTo>
                  <a:lnTo>
                    <a:pt x="153" y="160"/>
                  </a:lnTo>
                  <a:lnTo>
                    <a:pt x="135" y="154"/>
                  </a:lnTo>
                  <a:lnTo>
                    <a:pt x="116" y="148"/>
                  </a:lnTo>
                  <a:lnTo>
                    <a:pt x="99" y="141"/>
                  </a:lnTo>
                  <a:lnTo>
                    <a:pt x="83" y="134"/>
                  </a:lnTo>
                  <a:lnTo>
                    <a:pt x="69" y="125"/>
                  </a:lnTo>
                  <a:lnTo>
                    <a:pt x="56" y="116"/>
                  </a:lnTo>
                  <a:lnTo>
                    <a:pt x="45" y="107"/>
                  </a:lnTo>
                  <a:lnTo>
                    <a:pt x="35" y="96"/>
                  </a:lnTo>
                  <a:lnTo>
                    <a:pt x="27" y="86"/>
                  </a:lnTo>
                  <a:lnTo>
                    <a:pt x="21" y="75"/>
                  </a:lnTo>
                  <a:lnTo>
                    <a:pt x="15" y="65"/>
                  </a:lnTo>
                  <a:lnTo>
                    <a:pt x="10" y="54"/>
                  </a:lnTo>
                  <a:lnTo>
                    <a:pt x="6" y="44"/>
                  </a:lnTo>
                  <a:lnTo>
                    <a:pt x="4" y="35"/>
                  </a:lnTo>
                  <a:lnTo>
                    <a:pt x="1" y="25"/>
                  </a:lnTo>
                  <a:lnTo>
                    <a:pt x="0" y="15"/>
                  </a:lnTo>
                  <a:lnTo>
                    <a:pt x="0" y="8"/>
                  </a:lnTo>
                  <a:lnTo>
                    <a:pt x="0" y="0"/>
                  </a:lnTo>
                  <a:lnTo>
                    <a:pt x="45" y="3"/>
                  </a:lnTo>
                  <a:lnTo>
                    <a:pt x="45" y="8"/>
                  </a:lnTo>
                  <a:lnTo>
                    <a:pt x="47" y="16"/>
                  </a:lnTo>
                  <a:lnTo>
                    <a:pt x="50" y="29"/>
                  </a:lnTo>
                  <a:lnTo>
                    <a:pt x="55" y="43"/>
                  </a:lnTo>
                  <a:lnTo>
                    <a:pt x="60" y="52"/>
                  </a:lnTo>
                  <a:lnTo>
                    <a:pt x="65" y="60"/>
                  </a:lnTo>
                  <a:lnTo>
                    <a:pt x="72" y="68"/>
                  </a:lnTo>
                  <a:lnTo>
                    <a:pt x="81" y="76"/>
                  </a:lnTo>
                  <a:lnTo>
                    <a:pt x="91" y="84"/>
                  </a:lnTo>
                  <a:lnTo>
                    <a:pt x="102" y="91"/>
                  </a:lnTo>
                  <a:lnTo>
                    <a:pt x="115" y="98"/>
                  </a:lnTo>
                  <a:lnTo>
                    <a:pt x="131" y="105"/>
                  </a:lnTo>
                  <a:lnTo>
                    <a:pt x="148" y="109"/>
                  </a:lnTo>
                  <a:lnTo>
                    <a:pt x="167" y="116"/>
                  </a:lnTo>
                  <a:lnTo>
                    <a:pt x="184" y="121"/>
                  </a:lnTo>
                  <a:lnTo>
                    <a:pt x="200" y="125"/>
                  </a:lnTo>
                  <a:lnTo>
                    <a:pt x="240" y="138"/>
                  </a:lnTo>
                  <a:lnTo>
                    <a:pt x="277" y="151"/>
                  </a:lnTo>
                  <a:lnTo>
                    <a:pt x="294" y="157"/>
                  </a:lnTo>
                  <a:lnTo>
                    <a:pt x="311" y="166"/>
                  </a:lnTo>
                  <a:lnTo>
                    <a:pt x="326" y="174"/>
                  </a:lnTo>
                  <a:lnTo>
                    <a:pt x="340" y="184"/>
                  </a:lnTo>
                  <a:lnTo>
                    <a:pt x="353" y="197"/>
                  </a:lnTo>
                  <a:lnTo>
                    <a:pt x="364" y="209"/>
                  </a:lnTo>
                  <a:lnTo>
                    <a:pt x="374" y="224"/>
                  </a:lnTo>
                  <a:lnTo>
                    <a:pt x="383" y="240"/>
                  </a:lnTo>
                  <a:lnTo>
                    <a:pt x="389" y="258"/>
                  </a:lnTo>
                  <a:lnTo>
                    <a:pt x="394" y="279"/>
                  </a:lnTo>
                  <a:lnTo>
                    <a:pt x="397" y="302"/>
                  </a:lnTo>
                  <a:lnTo>
                    <a:pt x="397" y="327"/>
                  </a:lnTo>
                  <a:lnTo>
                    <a:pt x="397"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Freeform 125">
              <a:extLst>
                <a:ext uri="{FF2B5EF4-FFF2-40B4-BE49-F238E27FC236}">
                  <a16:creationId xmlns:a16="http://schemas.microsoft.com/office/drawing/2014/main" id="{52D278BB-7BA7-4C6B-86F3-1B3696D57752}"/>
                </a:ext>
              </a:extLst>
            </p:cNvPr>
            <p:cNvSpPr>
              <a:spLocks/>
            </p:cNvSpPr>
            <p:nvPr/>
          </p:nvSpPr>
          <p:spPr bwMode="auto">
            <a:xfrm>
              <a:off x="8472488" y="4833938"/>
              <a:ext cx="158750" cy="192088"/>
            </a:xfrm>
            <a:custGeom>
              <a:avLst/>
              <a:gdLst>
                <a:gd name="T0" fmla="*/ 0 w 398"/>
                <a:gd name="T1" fmla="*/ 486 h 486"/>
                <a:gd name="T2" fmla="*/ 1 w 398"/>
                <a:gd name="T3" fmla="*/ 302 h 486"/>
                <a:gd name="T4" fmla="*/ 8 w 398"/>
                <a:gd name="T5" fmla="*/ 258 h 486"/>
                <a:gd name="T6" fmla="*/ 23 w 398"/>
                <a:gd name="T7" fmla="*/ 224 h 486"/>
                <a:gd name="T8" fmla="*/ 45 w 398"/>
                <a:gd name="T9" fmla="*/ 197 h 486"/>
                <a:gd name="T10" fmla="*/ 71 w 398"/>
                <a:gd name="T11" fmla="*/ 174 h 486"/>
                <a:gd name="T12" fmla="*/ 103 w 398"/>
                <a:gd name="T13" fmla="*/ 157 h 486"/>
                <a:gd name="T14" fmla="*/ 158 w 398"/>
                <a:gd name="T15" fmla="*/ 138 h 486"/>
                <a:gd name="T16" fmla="*/ 214 w 398"/>
                <a:gd name="T17" fmla="*/ 121 h 486"/>
                <a:gd name="T18" fmla="*/ 249 w 398"/>
                <a:gd name="T19" fmla="*/ 109 h 486"/>
                <a:gd name="T20" fmla="*/ 282 w 398"/>
                <a:gd name="T21" fmla="*/ 98 h 486"/>
                <a:gd name="T22" fmla="*/ 308 w 398"/>
                <a:gd name="T23" fmla="*/ 84 h 486"/>
                <a:gd name="T24" fmla="*/ 326 w 398"/>
                <a:gd name="T25" fmla="*/ 68 h 486"/>
                <a:gd name="T26" fmla="*/ 338 w 398"/>
                <a:gd name="T27" fmla="*/ 52 h 486"/>
                <a:gd name="T28" fmla="*/ 348 w 398"/>
                <a:gd name="T29" fmla="*/ 29 h 486"/>
                <a:gd name="T30" fmla="*/ 352 w 398"/>
                <a:gd name="T31" fmla="*/ 6 h 486"/>
                <a:gd name="T32" fmla="*/ 398 w 398"/>
                <a:gd name="T33" fmla="*/ 0 h 486"/>
                <a:gd name="T34" fmla="*/ 397 w 398"/>
                <a:gd name="T35" fmla="*/ 15 h 486"/>
                <a:gd name="T36" fmla="*/ 395 w 398"/>
                <a:gd name="T37" fmla="*/ 35 h 486"/>
                <a:gd name="T38" fmla="*/ 387 w 398"/>
                <a:gd name="T39" fmla="*/ 54 h 486"/>
                <a:gd name="T40" fmla="*/ 378 w 398"/>
                <a:gd name="T41" fmla="*/ 75 h 486"/>
                <a:gd name="T42" fmla="*/ 362 w 398"/>
                <a:gd name="T43" fmla="*/ 96 h 486"/>
                <a:gd name="T44" fmla="*/ 341 w 398"/>
                <a:gd name="T45" fmla="*/ 116 h 486"/>
                <a:gd name="T46" fmla="*/ 315 w 398"/>
                <a:gd name="T47" fmla="*/ 134 h 486"/>
                <a:gd name="T48" fmla="*/ 282 w 398"/>
                <a:gd name="T49" fmla="*/ 148 h 486"/>
                <a:gd name="T50" fmla="*/ 245 w 398"/>
                <a:gd name="T51" fmla="*/ 160 h 486"/>
                <a:gd name="T52" fmla="*/ 211 w 398"/>
                <a:gd name="T53" fmla="*/ 170 h 486"/>
                <a:gd name="T54" fmla="*/ 138 w 398"/>
                <a:gd name="T55" fmla="*/ 193 h 486"/>
                <a:gd name="T56" fmla="*/ 110 w 398"/>
                <a:gd name="T57" fmla="*/ 205 h 486"/>
                <a:gd name="T58" fmla="*/ 87 w 398"/>
                <a:gd name="T59" fmla="*/ 220 h 486"/>
                <a:gd name="T60" fmla="*/ 70 w 398"/>
                <a:gd name="T61" fmla="*/ 238 h 486"/>
                <a:gd name="T62" fmla="*/ 56 w 398"/>
                <a:gd name="T63" fmla="*/ 262 h 486"/>
                <a:gd name="T64" fmla="*/ 49 w 398"/>
                <a:gd name="T65" fmla="*/ 290 h 486"/>
                <a:gd name="T66" fmla="*/ 46 w 398"/>
                <a:gd name="T67" fmla="*/ 327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8" h="486">
                  <a:moveTo>
                    <a:pt x="46" y="486"/>
                  </a:moveTo>
                  <a:lnTo>
                    <a:pt x="0" y="486"/>
                  </a:lnTo>
                  <a:lnTo>
                    <a:pt x="0" y="327"/>
                  </a:lnTo>
                  <a:lnTo>
                    <a:pt x="1" y="302"/>
                  </a:lnTo>
                  <a:lnTo>
                    <a:pt x="3" y="279"/>
                  </a:lnTo>
                  <a:lnTo>
                    <a:pt x="8" y="258"/>
                  </a:lnTo>
                  <a:lnTo>
                    <a:pt x="16" y="240"/>
                  </a:lnTo>
                  <a:lnTo>
                    <a:pt x="23" y="224"/>
                  </a:lnTo>
                  <a:lnTo>
                    <a:pt x="33" y="209"/>
                  </a:lnTo>
                  <a:lnTo>
                    <a:pt x="45" y="197"/>
                  </a:lnTo>
                  <a:lnTo>
                    <a:pt x="57" y="184"/>
                  </a:lnTo>
                  <a:lnTo>
                    <a:pt x="71" y="174"/>
                  </a:lnTo>
                  <a:lnTo>
                    <a:pt x="87" y="166"/>
                  </a:lnTo>
                  <a:lnTo>
                    <a:pt x="103" y="157"/>
                  </a:lnTo>
                  <a:lnTo>
                    <a:pt x="120" y="151"/>
                  </a:lnTo>
                  <a:lnTo>
                    <a:pt x="158" y="138"/>
                  </a:lnTo>
                  <a:lnTo>
                    <a:pt x="197" y="125"/>
                  </a:lnTo>
                  <a:lnTo>
                    <a:pt x="214" y="121"/>
                  </a:lnTo>
                  <a:lnTo>
                    <a:pt x="232" y="116"/>
                  </a:lnTo>
                  <a:lnTo>
                    <a:pt x="249" y="109"/>
                  </a:lnTo>
                  <a:lnTo>
                    <a:pt x="267" y="105"/>
                  </a:lnTo>
                  <a:lnTo>
                    <a:pt x="282" y="98"/>
                  </a:lnTo>
                  <a:lnTo>
                    <a:pt x="295" y="91"/>
                  </a:lnTo>
                  <a:lnTo>
                    <a:pt x="308" y="84"/>
                  </a:lnTo>
                  <a:lnTo>
                    <a:pt x="317" y="76"/>
                  </a:lnTo>
                  <a:lnTo>
                    <a:pt x="326" y="68"/>
                  </a:lnTo>
                  <a:lnTo>
                    <a:pt x="332" y="60"/>
                  </a:lnTo>
                  <a:lnTo>
                    <a:pt x="338" y="52"/>
                  </a:lnTo>
                  <a:lnTo>
                    <a:pt x="342" y="43"/>
                  </a:lnTo>
                  <a:lnTo>
                    <a:pt x="348" y="29"/>
                  </a:lnTo>
                  <a:lnTo>
                    <a:pt x="351" y="16"/>
                  </a:lnTo>
                  <a:lnTo>
                    <a:pt x="352" y="6"/>
                  </a:lnTo>
                  <a:lnTo>
                    <a:pt x="352" y="3"/>
                  </a:lnTo>
                  <a:lnTo>
                    <a:pt x="398" y="0"/>
                  </a:lnTo>
                  <a:lnTo>
                    <a:pt x="398" y="8"/>
                  </a:lnTo>
                  <a:lnTo>
                    <a:pt x="397" y="15"/>
                  </a:lnTo>
                  <a:lnTo>
                    <a:pt x="396" y="25"/>
                  </a:lnTo>
                  <a:lnTo>
                    <a:pt x="395" y="35"/>
                  </a:lnTo>
                  <a:lnTo>
                    <a:pt x="392" y="44"/>
                  </a:lnTo>
                  <a:lnTo>
                    <a:pt x="387" y="54"/>
                  </a:lnTo>
                  <a:lnTo>
                    <a:pt x="384" y="65"/>
                  </a:lnTo>
                  <a:lnTo>
                    <a:pt x="378" y="75"/>
                  </a:lnTo>
                  <a:lnTo>
                    <a:pt x="370" y="86"/>
                  </a:lnTo>
                  <a:lnTo>
                    <a:pt x="362" y="96"/>
                  </a:lnTo>
                  <a:lnTo>
                    <a:pt x="352" y="107"/>
                  </a:lnTo>
                  <a:lnTo>
                    <a:pt x="341" y="116"/>
                  </a:lnTo>
                  <a:lnTo>
                    <a:pt x="328" y="125"/>
                  </a:lnTo>
                  <a:lnTo>
                    <a:pt x="315" y="134"/>
                  </a:lnTo>
                  <a:lnTo>
                    <a:pt x="299" y="141"/>
                  </a:lnTo>
                  <a:lnTo>
                    <a:pt x="282" y="148"/>
                  </a:lnTo>
                  <a:lnTo>
                    <a:pt x="263" y="154"/>
                  </a:lnTo>
                  <a:lnTo>
                    <a:pt x="245" y="160"/>
                  </a:lnTo>
                  <a:lnTo>
                    <a:pt x="228" y="165"/>
                  </a:lnTo>
                  <a:lnTo>
                    <a:pt x="211" y="170"/>
                  </a:lnTo>
                  <a:lnTo>
                    <a:pt x="173" y="182"/>
                  </a:lnTo>
                  <a:lnTo>
                    <a:pt x="138" y="193"/>
                  </a:lnTo>
                  <a:lnTo>
                    <a:pt x="124" y="199"/>
                  </a:lnTo>
                  <a:lnTo>
                    <a:pt x="110" y="205"/>
                  </a:lnTo>
                  <a:lnTo>
                    <a:pt x="98" y="213"/>
                  </a:lnTo>
                  <a:lnTo>
                    <a:pt x="87" y="220"/>
                  </a:lnTo>
                  <a:lnTo>
                    <a:pt x="77" y="228"/>
                  </a:lnTo>
                  <a:lnTo>
                    <a:pt x="70" y="238"/>
                  </a:lnTo>
                  <a:lnTo>
                    <a:pt x="62" y="249"/>
                  </a:lnTo>
                  <a:lnTo>
                    <a:pt x="56" y="262"/>
                  </a:lnTo>
                  <a:lnTo>
                    <a:pt x="51" y="275"/>
                  </a:lnTo>
                  <a:lnTo>
                    <a:pt x="49" y="290"/>
                  </a:lnTo>
                  <a:lnTo>
                    <a:pt x="46" y="308"/>
                  </a:lnTo>
                  <a:lnTo>
                    <a:pt x="46" y="327"/>
                  </a:lnTo>
                  <a:lnTo>
                    <a:pt x="4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Freeform 126">
              <a:extLst>
                <a:ext uri="{FF2B5EF4-FFF2-40B4-BE49-F238E27FC236}">
                  <a16:creationId xmlns:a16="http://schemas.microsoft.com/office/drawing/2014/main" id="{9ED6FE0B-A4E6-4AB4-8274-8D0ED37A1745}"/>
                </a:ext>
              </a:extLst>
            </p:cNvPr>
            <p:cNvSpPr>
              <a:spLocks/>
            </p:cNvSpPr>
            <p:nvPr/>
          </p:nvSpPr>
          <p:spPr bwMode="auto">
            <a:xfrm>
              <a:off x="8559801" y="4675188"/>
              <a:ext cx="201613" cy="42863"/>
            </a:xfrm>
            <a:custGeom>
              <a:avLst/>
              <a:gdLst>
                <a:gd name="T0" fmla="*/ 120 w 509"/>
                <a:gd name="T1" fmla="*/ 111 h 111"/>
                <a:gd name="T2" fmla="*/ 92 w 509"/>
                <a:gd name="T3" fmla="*/ 110 h 111"/>
                <a:gd name="T4" fmla="*/ 63 w 509"/>
                <a:gd name="T5" fmla="*/ 107 h 111"/>
                <a:gd name="T6" fmla="*/ 32 w 509"/>
                <a:gd name="T7" fmla="*/ 102 h 111"/>
                <a:gd name="T8" fmla="*/ 0 w 509"/>
                <a:gd name="T9" fmla="*/ 96 h 111"/>
                <a:gd name="T10" fmla="*/ 11 w 509"/>
                <a:gd name="T11" fmla="*/ 51 h 111"/>
                <a:gd name="T12" fmla="*/ 30 w 509"/>
                <a:gd name="T13" fmla="*/ 56 h 111"/>
                <a:gd name="T14" fmla="*/ 47 w 509"/>
                <a:gd name="T15" fmla="*/ 58 h 111"/>
                <a:gd name="T16" fmla="*/ 64 w 509"/>
                <a:gd name="T17" fmla="*/ 61 h 111"/>
                <a:gd name="T18" fmla="*/ 80 w 509"/>
                <a:gd name="T19" fmla="*/ 63 h 111"/>
                <a:gd name="T20" fmla="*/ 112 w 509"/>
                <a:gd name="T21" fmla="*/ 64 h 111"/>
                <a:gd name="T22" fmla="*/ 142 w 509"/>
                <a:gd name="T23" fmla="*/ 64 h 111"/>
                <a:gd name="T24" fmla="*/ 172 w 509"/>
                <a:gd name="T25" fmla="*/ 62 h 111"/>
                <a:gd name="T26" fmla="*/ 200 w 509"/>
                <a:gd name="T27" fmla="*/ 57 h 111"/>
                <a:gd name="T28" fmla="*/ 225 w 509"/>
                <a:gd name="T29" fmla="*/ 52 h 111"/>
                <a:gd name="T30" fmla="*/ 248 w 509"/>
                <a:gd name="T31" fmla="*/ 46 h 111"/>
                <a:gd name="T32" fmla="*/ 270 w 509"/>
                <a:gd name="T33" fmla="*/ 38 h 111"/>
                <a:gd name="T34" fmla="*/ 288 w 509"/>
                <a:gd name="T35" fmla="*/ 32 h 111"/>
                <a:gd name="T36" fmla="*/ 305 w 509"/>
                <a:gd name="T37" fmla="*/ 25 h 111"/>
                <a:gd name="T38" fmla="*/ 319 w 509"/>
                <a:gd name="T39" fmla="*/ 19 h 111"/>
                <a:gd name="T40" fmla="*/ 339 w 509"/>
                <a:gd name="T41" fmla="*/ 8 h 111"/>
                <a:gd name="T42" fmla="*/ 345 w 509"/>
                <a:gd name="T43" fmla="*/ 4 h 111"/>
                <a:gd name="T44" fmla="*/ 348 w 509"/>
                <a:gd name="T45" fmla="*/ 2 h 111"/>
                <a:gd name="T46" fmla="*/ 352 w 509"/>
                <a:gd name="T47" fmla="*/ 0 h 111"/>
                <a:gd name="T48" fmla="*/ 356 w 509"/>
                <a:gd name="T49" fmla="*/ 0 h 111"/>
                <a:gd name="T50" fmla="*/ 361 w 509"/>
                <a:gd name="T51" fmla="*/ 0 h 111"/>
                <a:gd name="T52" fmla="*/ 364 w 509"/>
                <a:gd name="T53" fmla="*/ 2 h 111"/>
                <a:gd name="T54" fmla="*/ 368 w 509"/>
                <a:gd name="T55" fmla="*/ 3 h 111"/>
                <a:gd name="T56" fmla="*/ 370 w 509"/>
                <a:gd name="T57" fmla="*/ 4 h 111"/>
                <a:gd name="T58" fmla="*/ 374 w 509"/>
                <a:gd name="T59" fmla="*/ 7 h 111"/>
                <a:gd name="T60" fmla="*/ 377 w 509"/>
                <a:gd name="T61" fmla="*/ 9 h 111"/>
                <a:gd name="T62" fmla="*/ 384 w 509"/>
                <a:gd name="T63" fmla="*/ 15 h 111"/>
                <a:gd name="T64" fmla="*/ 394 w 509"/>
                <a:gd name="T65" fmla="*/ 21 h 111"/>
                <a:gd name="T66" fmla="*/ 409 w 509"/>
                <a:gd name="T67" fmla="*/ 30 h 111"/>
                <a:gd name="T68" fmla="*/ 428 w 509"/>
                <a:gd name="T69" fmla="*/ 37 h 111"/>
                <a:gd name="T70" fmla="*/ 450 w 509"/>
                <a:gd name="T71" fmla="*/ 45 h 111"/>
                <a:gd name="T72" fmla="*/ 464 w 509"/>
                <a:gd name="T73" fmla="*/ 47 h 111"/>
                <a:gd name="T74" fmla="*/ 477 w 509"/>
                <a:gd name="T75" fmla="*/ 48 h 111"/>
                <a:gd name="T76" fmla="*/ 493 w 509"/>
                <a:gd name="T77" fmla="*/ 49 h 111"/>
                <a:gd name="T78" fmla="*/ 509 w 509"/>
                <a:gd name="T79" fmla="*/ 51 h 111"/>
                <a:gd name="T80" fmla="*/ 509 w 509"/>
                <a:gd name="T81" fmla="*/ 96 h 111"/>
                <a:gd name="T82" fmla="*/ 481 w 509"/>
                <a:gd name="T83" fmla="*/ 95 h 111"/>
                <a:gd name="T84" fmla="*/ 455 w 509"/>
                <a:gd name="T85" fmla="*/ 92 h 111"/>
                <a:gd name="T86" fmla="*/ 432 w 509"/>
                <a:gd name="T87" fmla="*/ 86 h 111"/>
                <a:gd name="T88" fmla="*/ 411 w 509"/>
                <a:gd name="T89" fmla="*/ 80 h 111"/>
                <a:gd name="T90" fmla="*/ 394 w 509"/>
                <a:gd name="T91" fmla="*/ 73 h 111"/>
                <a:gd name="T92" fmla="*/ 378 w 509"/>
                <a:gd name="T93" fmla="*/ 65 h 111"/>
                <a:gd name="T94" fmla="*/ 366 w 509"/>
                <a:gd name="T95" fmla="*/ 58 h 111"/>
                <a:gd name="T96" fmla="*/ 356 w 509"/>
                <a:gd name="T97" fmla="*/ 52 h 111"/>
                <a:gd name="T98" fmla="*/ 341 w 509"/>
                <a:gd name="T99" fmla="*/ 59 h 111"/>
                <a:gd name="T100" fmla="*/ 321 w 509"/>
                <a:gd name="T101" fmla="*/ 68 h 111"/>
                <a:gd name="T102" fmla="*/ 297 w 509"/>
                <a:gd name="T103" fmla="*/ 79 h 111"/>
                <a:gd name="T104" fmla="*/ 269 w 509"/>
                <a:gd name="T105" fmla="*/ 88 h 111"/>
                <a:gd name="T106" fmla="*/ 237 w 509"/>
                <a:gd name="T107" fmla="*/ 97 h 111"/>
                <a:gd name="T108" fmla="*/ 201 w 509"/>
                <a:gd name="T109" fmla="*/ 105 h 111"/>
                <a:gd name="T110" fmla="*/ 183 w 509"/>
                <a:gd name="T111" fmla="*/ 107 h 111"/>
                <a:gd name="T112" fmla="*/ 162 w 509"/>
                <a:gd name="T113" fmla="*/ 110 h 111"/>
                <a:gd name="T114" fmla="*/ 142 w 509"/>
                <a:gd name="T115" fmla="*/ 111 h 111"/>
                <a:gd name="T116" fmla="*/ 120 w 509"/>
                <a:gd name="T1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9" h="111">
                  <a:moveTo>
                    <a:pt x="120" y="111"/>
                  </a:moveTo>
                  <a:lnTo>
                    <a:pt x="92" y="110"/>
                  </a:lnTo>
                  <a:lnTo>
                    <a:pt x="63" y="107"/>
                  </a:lnTo>
                  <a:lnTo>
                    <a:pt x="32" y="102"/>
                  </a:lnTo>
                  <a:lnTo>
                    <a:pt x="0" y="96"/>
                  </a:lnTo>
                  <a:lnTo>
                    <a:pt x="11" y="51"/>
                  </a:lnTo>
                  <a:lnTo>
                    <a:pt x="30" y="56"/>
                  </a:lnTo>
                  <a:lnTo>
                    <a:pt x="47" y="58"/>
                  </a:lnTo>
                  <a:lnTo>
                    <a:pt x="64" y="61"/>
                  </a:lnTo>
                  <a:lnTo>
                    <a:pt x="80" y="63"/>
                  </a:lnTo>
                  <a:lnTo>
                    <a:pt x="112" y="64"/>
                  </a:lnTo>
                  <a:lnTo>
                    <a:pt x="142" y="64"/>
                  </a:lnTo>
                  <a:lnTo>
                    <a:pt x="172" y="62"/>
                  </a:lnTo>
                  <a:lnTo>
                    <a:pt x="200" y="57"/>
                  </a:lnTo>
                  <a:lnTo>
                    <a:pt x="225" y="52"/>
                  </a:lnTo>
                  <a:lnTo>
                    <a:pt x="248" y="46"/>
                  </a:lnTo>
                  <a:lnTo>
                    <a:pt x="270" y="38"/>
                  </a:lnTo>
                  <a:lnTo>
                    <a:pt x="288" y="32"/>
                  </a:lnTo>
                  <a:lnTo>
                    <a:pt x="305" y="25"/>
                  </a:lnTo>
                  <a:lnTo>
                    <a:pt x="319" y="19"/>
                  </a:lnTo>
                  <a:lnTo>
                    <a:pt x="339" y="8"/>
                  </a:lnTo>
                  <a:lnTo>
                    <a:pt x="345" y="4"/>
                  </a:lnTo>
                  <a:lnTo>
                    <a:pt x="348" y="2"/>
                  </a:lnTo>
                  <a:lnTo>
                    <a:pt x="352" y="0"/>
                  </a:lnTo>
                  <a:lnTo>
                    <a:pt x="356" y="0"/>
                  </a:lnTo>
                  <a:lnTo>
                    <a:pt x="361" y="0"/>
                  </a:lnTo>
                  <a:lnTo>
                    <a:pt x="364" y="2"/>
                  </a:lnTo>
                  <a:lnTo>
                    <a:pt x="368" y="3"/>
                  </a:lnTo>
                  <a:lnTo>
                    <a:pt x="370" y="4"/>
                  </a:lnTo>
                  <a:lnTo>
                    <a:pt x="374" y="7"/>
                  </a:lnTo>
                  <a:lnTo>
                    <a:pt x="377" y="9"/>
                  </a:lnTo>
                  <a:lnTo>
                    <a:pt x="384" y="15"/>
                  </a:lnTo>
                  <a:lnTo>
                    <a:pt x="394" y="21"/>
                  </a:lnTo>
                  <a:lnTo>
                    <a:pt x="409" y="30"/>
                  </a:lnTo>
                  <a:lnTo>
                    <a:pt x="428" y="37"/>
                  </a:lnTo>
                  <a:lnTo>
                    <a:pt x="450" y="45"/>
                  </a:lnTo>
                  <a:lnTo>
                    <a:pt x="464" y="47"/>
                  </a:lnTo>
                  <a:lnTo>
                    <a:pt x="477" y="48"/>
                  </a:lnTo>
                  <a:lnTo>
                    <a:pt x="493" y="49"/>
                  </a:lnTo>
                  <a:lnTo>
                    <a:pt x="509" y="51"/>
                  </a:lnTo>
                  <a:lnTo>
                    <a:pt x="509" y="96"/>
                  </a:lnTo>
                  <a:lnTo>
                    <a:pt x="481" y="95"/>
                  </a:lnTo>
                  <a:lnTo>
                    <a:pt x="455" y="92"/>
                  </a:lnTo>
                  <a:lnTo>
                    <a:pt x="432" y="86"/>
                  </a:lnTo>
                  <a:lnTo>
                    <a:pt x="411" y="80"/>
                  </a:lnTo>
                  <a:lnTo>
                    <a:pt x="394" y="73"/>
                  </a:lnTo>
                  <a:lnTo>
                    <a:pt x="378" y="65"/>
                  </a:lnTo>
                  <a:lnTo>
                    <a:pt x="366" y="58"/>
                  </a:lnTo>
                  <a:lnTo>
                    <a:pt x="356" y="52"/>
                  </a:lnTo>
                  <a:lnTo>
                    <a:pt x="341" y="59"/>
                  </a:lnTo>
                  <a:lnTo>
                    <a:pt x="321" y="68"/>
                  </a:lnTo>
                  <a:lnTo>
                    <a:pt x="297" y="79"/>
                  </a:lnTo>
                  <a:lnTo>
                    <a:pt x="269" y="88"/>
                  </a:lnTo>
                  <a:lnTo>
                    <a:pt x="237" y="97"/>
                  </a:lnTo>
                  <a:lnTo>
                    <a:pt x="201" y="105"/>
                  </a:lnTo>
                  <a:lnTo>
                    <a:pt x="183" y="107"/>
                  </a:lnTo>
                  <a:lnTo>
                    <a:pt x="162" y="110"/>
                  </a:lnTo>
                  <a:lnTo>
                    <a:pt x="142" y="111"/>
                  </a:lnTo>
                  <a:lnTo>
                    <a:pt x="12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Freeform 171">
              <a:extLst>
                <a:ext uri="{FF2B5EF4-FFF2-40B4-BE49-F238E27FC236}">
                  <a16:creationId xmlns:a16="http://schemas.microsoft.com/office/drawing/2014/main" id="{8276A5E2-EF6F-48EE-9A1E-104183B8BF85}"/>
                </a:ext>
              </a:extLst>
            </p:cNvPr>
            <p:cNvSpPr>
              <a:spLocks/>
            </p:cNvSpPr>
            <p:nvPr/>
          </p:nvSpPr>
          <p:spPr bwMode="auto">
            <a:xfrm>
              <a:off x="8408988" y="4999038"/>
              <a:ext cx="511175" cy="73025"/>
            </a:xfrm>
            <a:custGeom>
              <a:avLst/>
              <a:gdLst>
                <a:gd name="T0" fmla="*/ 1265 w 1290"/>
                <a:gd name="T1" fmla="*/ 183 h 184"/>
                <a:gd name="T2" fmla="*/ 1218 w 1290"/>
                <a:gd name="T3" fmla="*/ 172 h 184"/>
                <a:gd name="T4" fmla="*/ 1158 w 1290"/>
                <a:gd name="T5" fmla="*/ 143 h 184"/>
                <a:gd name="T6" fmla="*/ 1101 w 1290"/>
                <a:gd name="T7" fmla="*/ 106 h 184"/>
                <a:gd name="T8" fmla="*/ 1035 w 1290"/>
                <a:gd name="T9" fmla="*/ 69 h 184"/>
                <a:gd name="T10" fmla="*/ 997 w 1290"/>
                <a:gd name="T11" fmla="*/ 56 h 184"/>
                <a:gd name="T12" fmla="*/ 954 w 1290"/>
                <a:gd name="T13" fmla="*/ 48 h 184"/>
                <a:gd name="T14" fmla="*/ 905 w 1290"/>
                <a:gd name="T15" fmla="*/ 47 h 184"/>
                <a:gd name="T16" fmla="*/ 860 w 1290"/>
                <a:gd name="T17" fmla="*/ 52 h 184"/>
                <a:gd name="T18" fmla="*/ 778 w 1290"/>
                <a:gd name="T19" fmla="*/ 76 h 184"/>
                <a:gd name="T20" fmla="*/ 702 w 1290"/>
                <a:gd name="T21" fmla="*/ 113 h 184"/>
                <a:gd name="T22" fmla="*/ 619 w 1290"/>
                <a:gd name="T23" fmla="*/ 151 h 184"/>
                <a:gd name="T24" fmla="*/ 530 w 1290"/>
                <a:gd name="T25" fmla="*/ 178 h 184"/>
                <a:gd name="T26" fmla="*/ 478 w 1290"/>
                <a:gd name="T27" fmla="*/ 184 h 184"/>
                <a:gd name="T28" fmla="*/ 427 w 1290"/>
                <a:gd name="T29" fmla="*/ 183 h 184"/>
                <a:gd name="T30" fmla="*/ 368 w 1290"/>
                <a:gd name="T31" fmla="*/ 172 h 184"/>
                <a:gd name="T32" fmla="*/ 292 w 1290"/>
                <a:gd name="T33" fmla="*/ 143 h 184"/>
                <a:gd name="T34" fmla="*/ 222 w 1290"/>
                <a:gd name="T35" fmla="*/ 105 h 184"/>
                <a:gd name="T36" fmla="*/ 142 w 1290"/>
                <a:gd name="T37" fmla="*/ 69 h 184"/>
                <a:gd name="T38" fmla="*/ 96 w 1290"/>
                <a:gd name="T39" fmla="*/ 56 h 184"/>
                <a:gd name="T40" fmla="*/ 41 w 1290"/>
                <a:gd name="T41" fmla="*/ 48 h 184"/>
                <a:gd name="T42" fmla="*/ 0 w 1290"/>
                <a:gd name="T43" fmla="*/ 0 h 184"/>
                <a:gd name="T44" fmla="*/ 66 w 1290"/>
                <a:gd name="T45" fmla="*/ 4 h 184"/>
                <a:gd name="T46" fmla="*/ 124 w 1290"/>
                <a:gd name="T47" fmla="*/ 15 h 184"/>
                <a:gd name="T48" fmla="*/ 188 w 1290"/>
                <a:gd name="T49" fmla="*/ 37 h 184"/>
                <a:gd name="T50" fmla="*/ 269 w 1290"/>
                <a:gd name="T51" fmla="*/ 78 h 184"/>
                <a:gd name="T52" fmla="*/ 334 w 1290"/>
                <a:gd name="T53" fmla="*/ 111 h 184"/>
                <a:gd name="T54" fmla="*/ 405 w 1290"/>
                <a:gd name="T55" fmla="*/ 134 h 184"/>
                <a:gd name="T56" fmla="*/ 445 w 1290"/>
                <a:gd name="T57" fmla="*/ 138 h 184"/>
                <a:gd name="T58" fmla="*/ 492 w 1290"/>
                <a:gd name="T59" fmla="*/ 137 h 184"/>
                <a:gd name="T60" fmla="*/ 550 w 1290"/>
                <a:gd name="T61" fmla="*/ 127 h 184"/>
                <a:gd name="T62" fmla="*/ 629 w 1290"/>
                <a:gd name="T63" fmla="*/ 96 h 184"/>
                <a:gd name="T64" fmla="*/ 707 w 1290"/>
                <a:gd name="T65" fmla="*/ 58 h 184"/>
                <a:gd name="T66" fmla="*/ 791 w 1290"/>
                <a:gd name="T67" fmla="*/ 22 h 184"/>
                <a:gd name="T68" fmla="*/ 868 w 1290"/>
                <a:gd name="T69" fmla="*/ 4 h 184"/>
                <a:gd name="T70" fmla="*/ 921 w 1290"/>
                <a:gd name="T71" fmla="*/ 0 h 184"/>
                <a:gd name="T72" fmla="*/ 976 w 1290"/>
                <a:gd name="T73" fmla="*/ 4 h 184"/>
                <a:gd name="T74" fmla="*/ 1024 w 1290"/>
                <a:gd name="T75" fmla="*/ 15 h 184"/>
                <a:gd name="T76" fmla="*/ 1078 w 1290"/>
                <a:gd name="T77" fmla="*/ 38 h 184"/>
                <a:gd name="T78" fmla="*/ 1147 w 1290"/>
                <a:gd name="T79" fmla="*/ 80 h 184"/>
                <a:gd name="T80" fmla="*/ 1197 w 1290"/>
                <a:gd name="T81" fmla="*/ 112 h 184"/>
                <a:gd name="T82" fmla="*/ 1250 w 1290"/>
                <a:gd name="T83" fmla="*/ 134 h 184"/>
                <a:gd name="T84" fmla="*/ 1290 w 1290"/>
                <a:gd name="T8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0" h="184">
                  <a:moveTo>
                    <a:pt x="1290" y="184"/>
                  </a:moveTo>
                  <a:lnTo>
                    <a:pt x="1277" y="184"/>
                  </a:lnTo>
                  <a:lnTo>
                    <a:pt x="1265" y="183"/>
                  </a:lnTo>
                  <a:lnTo>
                    <a:pt x="1252" y="181"/>
                  </a:lnTo>
                  <a:lnTo>
                    <a:pt x="1240" y="178"/>
                  </a:lnTo>
                  <a:lnTo>
                    <a:pt x="1218" y="172"/>
                  </a:lnTo>
                  <a:lnTo>
                    <a:pt x="1197" y="164"/>
                  </a:lnTo>
                  <a:lnTo>
                    <a:pt x="1176" y="154"/>
                  </a:lnTo>
                  <a:lnTo>
                    <a:pt x="1158" y="143"/>
                  </a:lnTo>
                  <a:lnTo>
                    <a:pt x="1140" y="130"/>
                  </a:lnTo>
                  <a:lnTo>
                    <a:pt x="1121" y="119"/>
                  </a:lnTo>
                  <a:lnTo>
                    <a:pt x="1101" y="106"/>
                  </a:lnTo>
                  <a:lnTo>
                    <a:pt x="1081" y="92"/>
                  </a:lnTo>
                  <a:lnTo>
                    <a:pt x="1059" y="80"/>
                  </a:lnTo>
                  <a:lnTo>
                    <a:pt x="1035" y="69"/>
                  </a:lnTo>
                  <a:lnTo>
                    <a:pt x="1023" y="64"/>
                  </a:lnTo>
                  <a:lnTo>
                    <a:pt x="1011" y="59"/>
                  </a:lnTo>
                  <a:lnTo>
                    <a:pt x="997" y="56"/>
                  </a:lnTo>
                  <a:lnTo>
                    <a:pt x="984" y="53"/>
                  </a:lnTo>
                  <a:lnTo>
                    <a:pt x="969" y="49"/>
                  </a:lnTo>
                  <a:lnTo>
                    <a:pt x="954" y="48"/>
                  </a:lnTo>
                  <a:lnTo>
                    <a:pt x="938" y="47"/>
                  </a:lnTo>
                  <a:lnTo>
                    <a:pt x="921" y="46"/>
                  </a:lnTo>
                  <a:lnTo>
                    <a:pt x="905" y="47"/>
                  </a:lnTo>
                  <a:lnTo>
                    <a:pt x="889" y="48"/>
                  </a:lnTo>
                  <a:lnTo>
                    <a:pt x="875" y="49"/>
                  </a:lnTo>
                  <a:lnTo>
                    <a:pt x="860" y="52"/>
                  </a:lnTo>
                  <a:lnTo>
                    <a:pt x="832" y="58"/>
                  </a:lnTo>
                  <a:lnTo>
                    <a:pt x="805" y="67"/>
                  </a:lnTo>
                  <a:lnTo>
                    <a:pt x="778" y="76"/>
                  </a:lnTo>
                  <a:lnTo>
                    <a:pt x="752" y="87"/>
                  </a:lnTo>
                  <a:lnTo>
                    <a:pt x="726" y="100"/>
                  </a:lnTo>
                  <a:lnTo>
                    <a:pt x="702" y="113"/>
                  </a:lnTo>
                  <a:lnTo>
                    <a:pt x="675" y="125"/>
                  </a:lnTo>
                  <a:lnTo>
                    <a:pt x="648" y="139"/>
                  </a:lnTo>
                  <a:lnTo>
                    <a:pt x="619" y="151"/>
                  </a:lnTo>
                  <a:lnTo>
                    <a:pt x="591" y="162"/>
                  </a:lnTo>
                  <a:lnTo>
                    <a:pt x="561" y="171"/>
                  </a:lnTo>
                  <a:lnTo>
                    <a:pt x="530" y="178"/>
                  </a:lnTo>
                  <a:lnTo>
                    <a:pt x="513" y="181"/>
                  </a:lnTo>
                  <a:lnTo>
                    <a:pt x="496" y="183"/>
                  </a:lnTo>
                  <a:lnTo>
                    <a:pt x="478" y="184"/>
                  </a:lnTo>
                  <a:lnTo>
                    <a:pt x="460" y="184"/>
                  </a:lnTo>
                  <a:lnTo>
                    <a:pt x="443" y="184"/>
                  </a:lnTo>
                  <a:lnTo>
                    <a:pt x="427" y="183"/>
                  </a:lnTo>
                  <a:lnTo>
                    <a:pt x="411" y="181"/>
                  </a:lnTo>
                  <a:lnTo>
                    <a:pt x="396" y="178"/>
                  </a:lnTo>
                  <a:lnTo>
                    <a:pt x="368" y="172"/>
                  </a:lnTo>
                  <a:lnTo>
                    <a:pt x="341" y="164"/>
                  </a:lnTo>
                  <a:lnTo>
                    <a:pt x="317" y="154"/>
                  </a:lnTo>
                  <a:lnTo>
                    <a:pt x="292" y="143"/>
                  </a:lnTo>
                  <a:lnTo>
                    <a:pt x="269" y="130"/>
                  </a:lnTo>
                  <a:lnTo>
                    <a:pt x="247" y="118"/>
                  </a:lnTo>
                  <a:lnTo>
                    <a:pt x="222" y="105"/>
                  </a:lnTo>
                  <a:lnTo>
                    <a:pt x="198" y="92"/>
                  </a:lnTo>
                  <a:lnTo>
                    <a:pt x="171" y="80"/>
                  </a:lnTo>
                  <a:lnTo>
                    <a:pt x="142" y="69"/>
                  </a:lnTo>
                  <a:lnTo>
                    <a:pt x="128" y="64"/>
                  </a:lnTo>
                  <a:lnTo>
                    <a:pt x="112" y="59"/>
                  </a:lnTo>
                  <a:lnTo>
                    <a:pt x="96" y="56"/>
                  </a:lnTo>
                  <a:lnTo>
                    <a:pt x="79" y="53"/>
                  </a:lnTo>
                  <a:lnTo>
                    <a:pt x="60" y="49"/>
                  </a:lnTo>
                  <a:lnTo>
                    <a:pt x="41" y="48"/>
                  </a:lnTo>
                  <a:lnTo>
                    <a:pt x="21" y="47"/>
                  </a:lnTo>
                  <a:lnTo>
                    <a:pt x="0" y="46"/>
                  </a:lnTo>
                  <a:lnTo>
                    <a:pt x="0" y="0"/>
                  </a:lnTo>
                  <a:lnTo>
                    <a:pt x="23" y="0"/>
                  </a:lnTo>
                  <a:lnTo>
                    <a:pt x="45" y="2"/>
                  </a:lnTo>
                  <a:lnTo>
                    <a:pt x="66" y="4"/>
                  </a:lnTo>
                  <a:lnTo>
                    <a:pt x="86" y="8"/>
                  </a:lnTo>
                  <a:lnTo>
                    <a:pt x="106" y="11"/>
                  </a:lnTo>
                  <a:lnTo>
                    <a:pt x="124" y="15"/>
                  </a:lnTo>
                  <a:lnTo>
                    <a:pt x="141" y="20"/>
                  </a:lnTo>
                  <a:lnTo>
                    <a:pt x="157" y="25"/>
                  </a:lnTo>
                  <a:lnTo>
                    <a:pt x="188" y="37"/>
                  </a:lnTo>
                  <a:lnTo>
                    <a:pt x="217" y="51"/>
                  </a:lnTo>
                  <a:lnTo>
                    <a:pt x="244" y="64"/>
                  </a:lnTo>
                  <a:lnTo>
                    <a:pt x="269" y="78"/>
                  </a:lnTo>
                  <a:lnTo>
                    <a:pt x="291" y="90"/>
                  </a:lnTo>
                  <a:lnTo>
                    <a:pt x="313" y="101"/>
                  </a:lnTo>
                  <a:lnTo>
                    <a:pt x="334" y="111"/>
                  </a:lnTo>
                  <a:lnTo>
                    <a:pt x="357" y="121"/>
                  </a:lnTo>
                  <a:lnTo>
                    <a:pt x="380" y="128"/>
                  </a:lnTo>
                  <a:lnTo>
                    <a:pt x="405" y="134"/>
                  </a:lnTo>
                  <a:lnTo>
                    <a:pt x="418" y="135"/>
                  </a:lnTo>
                  <a:lnTo>
                    <a:pt x="432" y="138"/>
                  </a:lnTo>
                  <a:lnTo>
                    <a:pt x="445" y="138"/>
                  </a:lnTo>
                  <a:lnTo>
                    <a:pt x="460" y="139"/>
                  </a:lnTo>
                  <a:lnTo>
                    <a:pt x="476" y="138"/>
                  </a:lnTo>
                  <a:lnTo>
                    <a:pt x="492" y="137"/>
                  </a:lnTo>
                  <a:lnTo>
                    <a:pt x="507" y="135"/>
                  </a:lnTo>
                  <a:lnTo>
                    <a:pt x="521" y="133"/>
                  </a:lnTo>
                  <a:lnTo>
                    <a:pt x="550" y="127"/>
                  </a:lnTo>
                  <a:lnTo>
                    <a:pt x="578" y="118"/>
                  </a:lnTo>
                  <a:lnTo>
                    <a:pt x="604" y="108"/>
                  </a:lnTo>
                  <a:lnTo>
                    <a:pt x="629" y="96"/>
                  </a:lnTo>
                  <a:lnTo>
                    <a:pt x="655" y="85"/>
                  </a:lnTo>
                  <a:lnTo>
                    <a:pt x="681" y="72"/>
                  </a:lnTo>
                  <a:lnTo>
                    <a:pt x="707" y="58"/>
                  </a:lnTo>
                  <a:lnTo>
                    <a:pt x="734" y="46"/>
                  </a:lnTo>
                  <a:lnTo>
                    <a:pt x="762" y="33"/>
                  </a:lnTo>
                  <a:lnTo>
                    <a:pt x="791" y="22"/>
                  </a:lnTo>
                  <a:lnTo>
                    <a:pt x="821" y="14"/>
                  </a:lnTo>
                  <a:lnTo>
                    <a:pt x="853" y="7"/>
                  </a:lnTo>
                  <a:lnTo>
                    <a:pt x="868" y="4"/>
                  </a:lnTo>
                  <a:lnTo>
                    <a:pt x="886" y="2"/>
                  </a:lnTo>
                  <a:lnTo>
                    <a:pt x="903" y="0"/>
                  </a:lnTo>
                  <a:lnTo>
                    <a:pt x="921" y="0"/>
                  </a:lnTo>
                  <a:lnTo>
                    <a:pt x="941" y="0"/>
                  </a:lnTo>
                  <a:lnTo>
                    <a:pt x="959" y="2"/>
                  </a:lnTo>
                  <a:lnTo>
                    <a:pt x="976" y="4"/>
                  </a:lnTo>
                  <a:lnTo>
                    <a:pt x="994" y="8"/>
                  </a:lnTo>
                  <a:lnTo>
                    <a:pt x="1010" y="11"/>
                  </a:lnTo>
                  <a:lnTo>
                    <a:pt x="1024" y="15"/>
                  </a:lnTo>
                  <a:lnTo>
                    <a:pt x="1039" y="21"/>
                  </a:lnTo>
                  <a:lnTo>
                    <a:pt x="1052" y="26"/>
                  </a:lnTo>
                  <a:lnTo>
                    <a:pt x="1078" y="38"/>
                  </a:lnTo>
                  <a:lnTo>
                    <a:pt x="1103" y="52"/>
                  </a:lnTo>
                  <a:lnTo>
                    <a:pt x="1125" y="67"/>
                  </a:lnTo>
                  <a:lnTo>
                    <a:pt x="1147" y="80"/>
                  </a:lnTo>
                  <a:lnTo>
                    <a:pt x="1164" y="92"/>
                  </a:lnTo>
                  <a:lnTo>
                    <a:pt x="1180" y="102"/>
                  </a:lnTo>
                  <a:lnTo>
                    <a:pt x="1197" y="112"/>
                  </a:lnTo>
                  <a:lnTo>
                    <a:pt x="1214" y="121"/>
                  </a:lnTo>
                  <a:lnTo>
                    <a:pt x="1232" y="128"/>
                  </a:lnTo>
                  <a:lnTo>
                    <a:pt x="1250" y="134"/>
                  </a:lnTo>
                  <a:lnTo>
                    <a:pt x="1270" y="138"/>
                  </a:lnTo>
                  <a:lnTo>
                    <a:pt x="1290" y="139"/>
                  </a:lnTo>
                  <a:lnTo>
                    <a:pt x="129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72">
              <a:extLst>
                <a:ext uri="{FF2B5EF4-FFF2-40B4-BE49-F238E27FC236}">
                  <a16:creationId xmlns:a16="http://schemas.microsoft.com/office/drawing/2014/main" id="{581B1539-4180-499F-AB71-7908FA87E85B}"/>
                </a:ext>
              </a:extLst>
            </p:cNvPr>
            <p:cNvSpPr>
              <a:spLocks/>
            </p:cNvSpPr>
            <p:nvPr/>
          </p:nvSpPr>
          <p:spPr bwMode="auto">
            <a:xfrm>
              <a:off x="8408988" y="5053013"/>
              <a:ext cx="511175" cy="73025"/>
            </a:xfrm>
            <a:custGeom>
              <a:avLst/>
              <a:gdLst>
                <a:gd name="T0" fmla="*/ 1265 w 1290"/>
                <a:gd name="T1" fmla="*/ 183 h 184"/>
                <a:gd name="T2" fmla="*/ 1218 w 1290"/>
                <a:gd name="T3" fmla="*/ 172 h 184"/>
                <a:gd name="T4" fmla="*/ 1158 w 1290"/>
                <a:gd name="T5" fmla="*/ 142 h 184"/>
                <a:gd name="T6" fmla="*/ 1101 w 1290"/>
                <a:gd name="T7" fmla="*/ 104 h 184"/>
                <a:gd name="T8" fmla="*/ 1035 w 1290"/>
                <a:gd name="T9" fmla="*/ 69 h 184"/>
                <a:gd name="T10" fmla="*/ 997 w 1290"/>
                <a:gd name="T11" fmla="*/ 55 h 184"/>
                <a:gd name="T12" fmla="*/ 954 w 1290"/>
                <a:gd name="T13" fmla="*/ 47 h 184"/>
                <a:gd name="T14" fmla="*/ 905 w 1290"/>
                <a:gd name="T15" fmla="*/ 45 h 184"/>
                <a:gd name="T16" fmla="*/ 860 w 1290"/>
                <a:gd name="T17" fmla="*/ 52 h 184"/>
                <a:gd name="T18" fmla="*/ 778 w 1290"/>
                <a:gd name="T19" fmla="*/ 76 h 184"/>
                <a:gd name="T20" fmla="*/ 702 w 1290"/>
                <a:gd name="T21" fmla="*/ 112 h 184"/>
                <a:gd name="T22" fmla="*/ 619 w 1290"/>
                <a:gd name="T23" fmla="*/ 151 h 184"/>
                <a:gd name="T24" fmla="*/ 530 w 1290"/>
                <a:gd name="T25" fmla="*/ 178 h 184"/>
                <a:gd name="T26" fmla="*/ 478 w 1290"/>
                <a:gd name="T27" fmla="*/ 183 h 184"/>
                <a:gd name="T28" fmla="*/ 427 w 1290"/>
                <a:gd name="T29" fmla="*/ 183 h 184"/>
                <a:gd name="T30" fmla="*/ 368 w 1290"/>
                <a:gd name="T31" fmla="*/ 172 h 184"/>
                <a:gd name="T32" fmla="*/ 292 w 1290"/>
                <a:gd name="T33" fmla="*/ 141 h 184"/>
                <a:gd name="T34" fmla="*/ 222 w 1290"/>
                <a:gd name="T35" fmla="*/ 104 h 184"/>
                <a:gd name="T36" fmla="*/ 142 w 1290"/>
                <a:gd name="T37" fmla="*/ 69 h 184"/>
                <a:gd name="T38" fmla="*/ 96 w 1290"/>
                <a:gd name="T39" fmla="*/ 55 h 184"/>
                <a:gd name="T40" fmla="*/ 41 w 1290"/>
                <a:gd name="T41" fmla="*/ 47 h 184"/>
                <a:gd name="T42" fmla="*/ 0 w 1290"/>
                <a:gd name="T43" fmla="*/ 0 h 184"/>
                <a:gd name="T44" fmla="*/ 66 w 1290"/>
                <a:gd name="T45" fmla="*/ 4 h 184"/>
                <a:gd name="T46" fmla="*/ 124 w 1290"/>
                <a:gd name="T47" fmla="*/ 15 h 184"/>
                <a:gd name="T48" fmla="*/ 188 w 1290"/>
                <a:gd name="T49" fmla="*/ 37 h 184"/>
                <a:gd name="T50" fmla="*/ 269 w 1290"/>
                <a:gd name="T51" fmla="*/ 77 h 184"/>
                <a:gd name="T52" fmla="*/ 334 w 1290"/>
                <a:gd name="T53" fmla="*/ 110 h 184"/>
                <a:gd name="T54" fmla="*/ 405 w 1290"/>
                <a:gd name="T55" fmla="*/ 132 h 184"/>
                <a:gd name="T56" fmla="*/ 445 w 1290"/>
                <a:gd name="T57" fmla="*/ 137 h 184"/>
                <a:gd name="T58" fmla="*/ 492 w 1290"/>
                <a:gd name="T59" fmla="*/ 136 h 184"/>
                <a:gd name="T60" fmla="*/ 550 w 1290"/>
                <a:gd name="T61" fmla="*/ 125 h 184"/>
                <a:gd name="T62" fmla="*/ 629 w 1290"/>
                <a:gd name="T63" fmla="*/ 96 h 184"/>
                <a:gd name="T64" fmla="*/ 707 w 1290"/>
                <a:gd name="T65" fmla="*/ 58 h 184"/>
                <a:gd name="T66" fmla="*/ 791 w 1290"/>
                <a:gd name="T67" fmla="*/ 22 h 184"/>
                <a:gd name="T68" fmla="*/ 868 w 1290"/>
                <a:gd name="T69" fmla="*/ 2 h 184"/>
                <a:gd name="T70" fmla="*/ 921 w 1290"/>
                <a:gd name="T71" fmla="*/ 0 h 184"/>
                <a:gd name="T72" fmla="*/ 976 w 1290"/>
                <a:gd name="T73" fmla="*/ 4 h 184"/>
                <a:gd name="T74" fmla="*/ 1024 w 1290"/>
                <a:gd name="T75" fmla="*/ 15 h 184"/>
                <a:gd name="T76" fmla="*/ 1078 w 1290"/>
                <a:gd name="T77" fmla="*/ 38 h 184"/>
                <a:gd name="T78" fmla="*/ 1147 w 1290"/>
                <a:gd name="T79" fmla="*/ 80 h 184"/>
                <a:gd name="T80" fmla="*/ 1197 w 1290"/>
                <a:gd name="T81" fmla="*/ 112 h 184"/>
                <a:gd name="T82" fmla="*/ 1250 w 1290"/>
                <a:gd name="T83" fmla="*/ 132 h 184"/>
                <a:gd name="T84" fmla="*/ 1290 w 1290"/>
                <a:gd name="T8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0" h="184">
                  <a:moveTo>
                    <a:pt x="1290" y="184"/>
                  </a:moveTo>
                  <a:lnTo>
                    <a:pt x="1277" y="183"/>
                  </a:lnTo>
                  <a:lnTo>
                    <a:pt x="1265" y="183"/>
                  </a:lnTo>
                  <a:lnTo>
                    <a:pt x="1252" y="180"/>
                  </a:lnTo>
                  <a:lnTo>
                    <a:pt x="1240" y="178"/>
                  </a:lnTo>
                  <a:lnTo>
                    <a:pt x="1218" y="172"/>
                  </a:lnTo>
                  <a:lnTo>
                    <a:pt x="1197" y="163"/>
                  </a:lnTo>
                  <a:lnTo>
                    <a:pt x="1176" y="153"/>
                  </a:lnTo>
                  <a:lnTo>
                    <a:pt x="1158" y="142"/>
                  </a:lnTo>
                  <a:lnTo>
                    <a:pt x="1140" y="130"/>
                  </a:lnTo>
                  <a:lnTo>
                    <a:pt x="1121" y="118"/>
                  </a:lnTo>
                  <a:lnTo>
                    <a:pt x="1101" y="104"/>
                  </a:lnTo>
                  <a:lnTo>
                    <a:pt x="1081" y="92"/>
                  </a:lnTo>
                  <a:lnTo>
                    <a:pt x="1059" y="80"/>
                  </a:lnTo>
                  <a:lnTo>
                    <a:pt x="1035" y="69"/>
                  </a:lnTo>
                  <a:lnTo>
                    <a:pt x="1023" y="64"/>
                  </a:lnTo>
                  <a:lnTo>
                    <a:pt x="1011" y="59"/>
                  </a:lnTo>
                  <a:lnTo>
                    <a:pt x="997" y="55"/>
                  </a:lnTo>
                  <a:lnTo>
                    <a:pt x="984" y="52"/>
                  </a:lnTo>
                  <a:lnTo>
                    <a:pt x="969" y="49"/>
                  </a:lnTo>
                  <a:lnTo>
                    <a:pt x="954" y="47"/>
                  </a:lnTo>
                  <a:lnTo>
                    <a:pt x="938" y="45"/>
                  </a:lnTo>
                  <a:lnTo>
                    <a:pt x="921" y="45"/>
                  </a:lnTo>
                  <a:lnTo>
                    <a:pt x="905" y="45"/>
                  </a:lnTo>
                  <a:lnTo>
                    <a:pt x="889" y="47"/>
                  </a:lnTo>
                  <a:lnTo>
                    <a:pt x="875" y="49"/>
                  </a:lnTo>
                  <a:lnTo>
                    <a:pt x="860" y="52"/>
                  </a:lnTo>
                  <a:lnTo>
                    <a:pt x="832" y="58"/>
                  </a:lnTo>
                  <a:lnTo>
                    <a:pt x="805" y="66"/>
                  </a:lnTo>
                  <a:lnTo>
                    <a:pt x="778" y="76"/>
                  </a:lnTo>
                  <a:lnTo>
                    <a:pt x="752" y="87"/>
                  </a:lnTo>
                  <a:lnTo>
                    <a:pt x="726" y="99"/>
                  </a:lnTo>
                  <a:lnTo>
                    <a:pt x="702" y="112"/>
                  </a:lnTo>
                  <a:lnTo>
                    <a:pt x="675" y="125"/>
                  </a:lnTo>
                  <a:lnTo>
                    <a:pt x="648" y="139"/>
                  </a:lnTo>
                  <a:lnTo>
                    <a:pt x="619" y="151"/>
                  </a:lnTo>
                  <a:lnTo>
                    <a:pt x="591" y="161"/>
                  </a:lnTo>
                  <a:lnTo>
                    <a:pt x="561" y="170"/>
                  </a:lnTo>
                  <a:lnTo>
                    <a:pt x="530" y="178"/>
                  </a:lnTo>
                  <a:lnTo>
                    <a:pt x="513" y="180"/>
                  </a:lnTo>
                  <a:lnTo>
                    <a:pt x="496" y="182"/>
                  </a:lnTo>
                  <a:lnTo>
                    <a:pt x="478" y="183"/>
                  </a:lnTo>
                  <a:lnTo>
                    <a:pt x="460" y="184"/>
                  </a:lnTo>
                  <a:lnTo>
                    <a:pt x="443" y="183"/>
                  </a:lnTo>
                  <a:lnTo>
                    <a:pt x="427" y="183"/>
                  </a:lnTo>
                  <a:lnTo>
                    <a:pt x="411" y="180"/>
                  </a:lnTo>
                  <a:lnTo>
                    <a:pt x="396" y="178"/>
                  </a:lnTo>
                  <a:lnTo>
                    <a:pt x="368" y="172"/>
                  </a:lnTo>
                  <a:lnTo>
                    <a:pt x="341" y="163"/>
                  </a:lnTo>
                  <a:lnTo>
                    <a:pt x="317" y="153"/>
                  </a:lnTo>
                  <a:lnTo>
                    <a:pt x="292" y="141"/>
                  </a:lnTo>
                  <a:lnTo>
                    <a:pt x="269" y="130"/>
                  </a:lnTo>
                  <a:lnTo>
                    <a:pt x="247" y="118"/>
                  </a:lnTo>
                  <a:lnTo>
                    <a:pt x="222" y="104"/>
                  </a:lnTo>
                  <a:lnTo>
                    <a:pt x="198" y="91"/>
                  </a:lnTo>
                  <a:lnTo>
                    <a:pt x="171" y="80"/>
                  </a:lnTo>
                  <a:lnTo>
                    <a:pt x="142" y="69"/>
                  </a:lnTo>
                  <a:lnTo>
                    <a:pt x="128" y="64"/>
                  </a:lnTo>
                  <a:lnTo>
                    <a:pt x="112" y="59"/>
                  </a:lnTo>
                  <a:lnTo>
                    <a:pt x="96" y="55"/>
                  </a:lnTo>
                  <a:lnTo>
                    <a:pt x="79" y="52"/>
                  </a:lnTo>
                  <a:lnTo>
                    <a:pt x="60" y="49"/>
                  </a:lnTo>
                  <a:lnTo>
                    <a:pt x="41" y="47"/>
                  </a:lnTo>
                  <a:lnTo>
                    <a:pt x="21" y="45"/>
                  </a:lnTo>
                  <a:lnTo>
                    <a:pt x="0" y="45"/>
                  </a:lnTo>
                  <a:lnTo>
                    <a:pt x="0" y="0"/>
                  </a:lnTo>
                  <a:lnTo>
                    <a:pt x="23" y="0"/>
                  </a:lnTo>
                  <a:lnTo>
                    <a:pt x="45" y="1"/>
                  </a:lnTo>
                  <a:lnTo>
                    <a:pt x="66" y="4"/>
                  </a:lnTo>
                  <a:lnTo>
                    <a:pt x="86" y="6"/>
                  </a:lnTo>
                  <a:lnTo>
                    <a:pt x="106" y="10"/>
                  </a:lnTo>
                  <a:lnTo>
                    <a:pt x="124" y="15"/>
                  </a:lnTo>
                  <a:lnTo>
                    <a:pt x="141" y="20"/>
                  </a:lnTo>
                  <a:lnTo>
                    <a:pt x="157" y="25"/>
                  </a:lnTo>
                  <a:lnTo>
                    <a:pt x="188" y="37"/>
                  </a:lnTo>
                  <a:lnTo>
                    <a:pt x="217" y="49"/>
                  </a:lnTo>
                  <a:lnTo>
                    <a:pt x="244" y="64"/>
                  </a:lnTo>
                  <a:lnTo>
                    <a:pt x="269" y="77"/>
                  </a:lnTo>
                  <a:lnTo>
                    <a:pt x="291" y="90"/>
                  </a:lnTo>
                  <a:lnTo>
                    <a:pt x="313" y="101"/>
                  </a:lnTo>
                  <a:lnTo>
                    <a:pt x="334" y="110"/>
                  </a:lnTo>
                  <a:lnTo>
                    <a:pt x="357" y="119"/>
                  </a:lnTo>
                  <a:lnTo>
                    <a:pt x="380" y="128"/>
                  </a:lnTo>
                  <a:lnTo>
                    <a:pt x="405" y="132"/>
                  </a:lnTo>
                  <a:lnTo>
                    <a:pt x="418" y="135"/>
                  </a:lnTo>
                  <a:lnTo>
                    <a:pt x="432" y="136"/>
                  </a:lnTo>
                  <a:lnTo>
                    <a:pt x="445" y="137"/>
                  </a:lnTo>
                  <a:lnTo>
                    <a:pt x="460" y="137"/>
                  </a:lnTo>
                  <a:lnTo>
                    <a:pt x="476" y="137"/>
                  </a:lnTo>
                  <a:lnTo>
                    <a:pt x="492" y="136"/>
                  </a:lnTo>
                  <a:lnTo>
                    <a:pt x="507" y="135"/>
                  </a:lnTo>
                  <a:lnTo>
                    <a:pt x="521" y="132"/>
                  </a:lnTo>
                  <a:lnTo>
                    <a:pt x="550" y="125"/>
                  </a:lnTo>
                  <a:lnTo>
                    <a:pt x="578" y="118"/>
                  </a:lnTo>
                  <a:lnTo>
                    <a:pt x="604" y="107"/>
                  </a:lnTo>
                  <a:lnTo>
                    <a:pt x="629" y="96"/>
                  </a:lnTo>
                  <a:lnTo>
                    <a:pt x="655" y="83"/>
                  </a:lnTo>
                  <a:lnTo>
                    <a:pt x="681" y="71"/>
                  </a:lnTo>
                  <a:lnTo>
                    <a:pt x="707" y="58"/>
                  </a:lnTo>
                  <a:lnTo>
                    <a:pt x="734" y="45"/>
                  </a:lnTo>
                  <a:lnTo>
                    <a:pt x="762" y="33"/>
                  </a:lnTo>
                  <a:lnTo>
                    <a:pt x="791" y="22"/>
                  </a:lnTo>
                  <a:lnTo>
                    <a:pt x="821" y="12"/>
                  </a:lnTo>
                  <a:lnTo>
                    <a:pt x="853" y="6"/>
                  </a:lnTo>
                  <a:lnTo>
                    <a:pt x="868" y="2"/>
                  </a:lnTo>
                  <a:lnTo>
                    <a:pt x="886" y="1"/>
                  </a:lnTo>
                  <a:lnTo>
                    <a:pt x="903" y="0"/>
                  </a:lnTo>
                  <a:lnTo>
                    <a:pt x="921" y="0"/>
                  </a:lnTo>
                  <a:lnTo>
                    <a:pt x="941" y="0"/>
                  </a:lnTo>
                  <a:lnTo>
                    <a:pt x="959" y="1"/>
                  </a:lnTo>
                  <a:lnTo>
                    <a:pt x="976" y="4"/>
                  </a:lnTo>
                  <a:lnTo>
                    <a:pt x="994" y="6"/>
                  </a:lnTo>
                  <a:lnTo>
                    <a:pt x="1010" y="11"/>
                  </a:lnTo>
                  <a:lnTo>
                    <a:pt x="1024" y="15"/>
                  </a:lnTo>
                  <a:lnTo>
                    <a:pt x="1039" y="20"/>
                  </a:lnTo>
                  <a:lnTo>
                    <a:pt x="1052" y="26"/>
                  </a:lnTo>
                  <a:lnTo>
                    <a:pt x="1078" y="38"/>
                  </a:lnTo>
                  <a:lnTo>
                    <a:pt x="1103" y="52"/>
                  </a:lnTo>
                  <a:lnTo>
                    <a:pt x="1125" y="65"/>
                  </a:lnTo>
                  <a:lnTo>
                    <a:pt x="1147" y="80"/>
                  </a:lnTo>
                  <a:lnTo>
                    <a:pt x="1164" y="91"/>
                  </a:lnTo>
                  <a:lnTo>
                    <a:pt x="1180" y="102"/>
                  </a:lnTo>
                  <a:lnTo>
                    <a:pt x="1197" y="112"/>
                  </a:lnTo>
                  <a:lnTo>
                    <a:pt x="1214" y="120"/>
                  </a:lnTo>
                  <a:lnTo>
                    <a:pt x="1232" y="128"/>
                  </a:lnTo>
                  <a:lnTo>
                    <a:pt x="1250" y="132"/>
                  </a:lnTo>
                  <a:lnTo>
                    <a:pt x="1270" y="136"/>
                  </a:lnTo>
                  <a:lnTo>
                    <a:pt x="1290" y="137"/>
                  </a:lnTo>
                  <a:lnTo>
                    <a:pt x="129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87">
            <a:extLst>
              <a:ext uri="{FF2B5EF4-FFF2-40B4-BE49-F238E27FC236}">
                <a16:creationId xmlns:a16="http://schemas.microsoft.com/office/drawing/2014/main" id="{2E6CF62F-9323-466C-9C83-BE3711DB2861}"/>
              </a:ext>
            </a:extLst>
          </p:cNvPr>
          <p:cNvGrpSpPr>
            <a:grpSpLocks noChangeAspect="1"/>
          </p:cNvGrpSpPr>
          <p:nvPr/>
        </p:nvGrpSpPr>
        <p:grpSpPr>
          <a:xfrm>
            <a:off x="4049239" y="5417577"/>
            <a:ext cx="276047" cy="285619"/>
            <a:chOff x="7620000" y="1919288"/>
            <a:chExt cx="274638" cy="284162"/>
          </a:xfrm>
          <a:solidFill>
            <a:schemeClr val="bg1"/>
          </a:solidFill>
          <a:effectLst/>
        </p:grpSpPr>
        <p:sp>
          <p:nvSpPr>
            <p:cNvPr id="585" name="Freeform 310">
              <a:extLst>
                <a:ext uri="{FF2B5EF4-FFF2-40B4-BE49-F238E27FC236}">
                  <a16:creationId xmlns:a16="http://schemas.microsoft.com/office/drawing/2014/main" id="{C14BAB29-C2DE-4E71-9F4A-4C6A8E9CF63B}"/>
                </a:ext>
              </a:extLst>
            </p:cNvPr>
            <p:cNvSpPr>
              <a:spLocks noEditPoints="1"/>
            </p:cNvSpPr>
            <p:nvPr/>
          </p:nvSpPr>
          <p:spPr bwMode="auto">
            <a:xfrm>
              <a:off x="7662863" y="2014538"/>
              <a:ext cx="190500" cy="188912"/>
            </a:xfrm>
            <a:custGeom>
              <a:avLst/>
              <a:gdLst>
                <a:gd name="T0" fmla="*/ 245 w 599"/>
                <a:gd name="T1" fmla="*/ 563 h 599"/>
                <a:gd name="T2" fmla="*/ 183 w 599"/>
                <a:gd name="T3" fmla="*/ 542 h 599"/>
                <a:gd name="T4" fmla="*/ 128 w 599"/>
                <a:gd name="T5" fmla="*/ 507 h 599"/>
                <a:gd name="T6" fmla="*/ 83 w 599"/>
                <a:gd name="T7" fmla="*/ 460 h 599"/>
                <a:gd name="T8" fmla="*/ 51 w 599"/>
                <a:gd name="T9" fmla="*/ 404 h 599"/>
                <a:gd name="T10" fmla="*/ 33 w 599"/>
                <a:gd name="T11" fmla="*/ 340 h 599"/>
                <a:gd name="T12" fmla="*/ 32 w 599"/>
                <a:gd name="T13" fmla="*/ 272 h 599"/>
                <a:gd name="T14" fmla="*/ 47 w 599"/>
                <a:gd name="T15" fmla="*/ 207 h 599"/>
                <a:gd name="T16" fmla="*/ 76 w 599"/>
                <a:gd name="T17" fmla="*/ 149 h 599"/>
                <a:gd name="T18" fmla="*/ 118 w 599"/>
                <a:gd name="T19" fmla="*/ 101 h 599"/>
                <a:gd name="T20" fmla="*/ 171 w 599"/>
                <a:gd name="T21" fmla="*/ 63 h 599"/>
                <a:gd name="T22" fmla="*/ 232 w 599"/>
                <a:gd name="T23" fmla="*/ 38 h 599"/>
                <a:gd name="T24" fmla="*/ 299 w 599"/>
                <a:gd name="T25" fmla="*/ 30 h 599"/>
                <a:gd name="T26" fmla="*/ 367 w 599"/>
                <a:gd name="T27" fmla="*/ 38 h 599"/>
                <a:gd name="T28" fmla="*/ 428 w 599"/>
                <a:gd name="T29" fmla="*/ 63 h 599"/>
                <a:gd name="T30" fmla="*/ 480 w 599"/>
                <a:gd name="T31" fmla="*/ 101 h 599"/>
                <a:gd name="T32" fmla="*/ 523 w 599"/>
                <a:gd name="T33" fmla="*/ 149 h 599"/>
                <a:gd name="T34" fmla="*/ 552 w 599"/>
                <a:gd name="T35" fmla="*/ 207 h 599"/>
                <a:gd name="T36" fmla="*/ 567 w 599"/>
                <a:gd name="T37" fmla="*/ 272 h 599"/>
                <a:gd name="T38" fmla="*/ 565 w 599"/>
                <a:gd name="T39" fmla="*/ 340 h 599"/>
                <a:gd name="T40" fmla="*/ 547 w 599"/>
                <a:gd name="T41" fmla="*/ 404 h 599"/>
                <a:gd name="T42" fmla="*/ 515 w 599"/>
                <a:gd name="T43" fmla="*/ 460 h 599"/>
                <a:gd name="T44" fmla="*/ 470 w 599"/>
                <a:gd name="T45" fmla="*/ 507 h 599"/>
                <a:gd name="T46" fmla="*/ 416 w 599"/>
                <a:gd name="T47" fmla="*/ 542 h 599"/>
                <a:gd name="T48" fmla="*/ 354 w 599"/>
                <a:gd name="T49" fmla="*/ 563 h 599"/>
                <a:gd name="T50" fmla="*/ 299 w 599"/>
                <a:gd name="T51" fmla="*/ 0 h 599"/>
                <a:gd name="T52" fmla="*/ 224 w 599"/>
                <a:gd name="T53" fmla="*/ 10 h 599"/>
                <a:gd name="T54" fmla="*/ 157 w 599"/>
                <a:gd name="T55" fmla="*/ 36 h 599"/>
                <a:gd name="T56" fmla="*/ 98 w 599"/>
                <a:gd name="T57" fmla="*/ 78 h 599"/>
                <a:gd name="T58" fmla="*/ 51 w 599"/>
                <a:gd name="T59" fmla="*/ 133 h 599"/>
                <a:gd name="T60" fmla="*/ 18 w 599"/>
                <a:gd name="T61" fmla="*/ 197 h 599"/>
                <a:gd name="T62" fmla="*/ 2 w 599"/>
                <a:gd name="T63" fmla="*/ 268 h 599"/>
                <a:gd name="T64" fmla="*/ 4 w 599"/>
                <a:gd name="T65" fmla="*/ 344 h 599"/>
                <a:gd name="T66" fmla="*/ 23 w 599"/>
                <a:gd name="T67" fmla="*/ 416 h 599"/>
                <a:gd name="T68" fmla="*/ 60 w 599"/>
                <a:gd name="T69" fmla="*/ 478 h 599"/>
                <a:gd name="T70" fmla="*/ 109 w 599"/>
                <a:gd name="T71" fmla="*/ 530 h 599"/>
                <a:gd name="T72" fmla="*/ 170 w 599"/>
                <a:gd name="T73" fmla="*/ 569 h 599"/>
                <a:gd name="T74" fmla="*/ 239 w 599"/>
                <a:gd name="T75" fmla="*/ 592 h 599"/>
                <a:gd name="T76" fmla="*/ 314 w 599"/>
                <a:gd name="T77" fmla="*/ 598 h 599"/>
                <a:gd name="T78" fmla="*/ 388 w 599"/>
                <a:gd name="T79" fmla="*/ 585 h 599"/>
                <a:gd name="T80" fmla="*/ 454 w 599"/>
                <a:gd name="T81" fmla="*/ 555 h 599"/>
                <a:gd name="T82" fmla="*/ 511 w 599"/>
                <a:gd name="T83" fmla="*/ 511 h 599"/>
                <a:gd name="T84" fmla="*/ 555 w 599"/>
                <a:gd name="T85" fmla="*/ 455 h 599"/>
                <a:gd name="T86" fmla="*/ 585 w 599"/>
                <a:gd name="T87" fmla="*/ 388 h 599"/>
                <a:gd name="T88" fmla="*/ 598 w 599"/>
                <a:gd name="T89" fmla="*/ 314 h 599"/>
                <a:gd name="T90" fmla="*/ 592 w 599"/>
                <a:gd name="T91" fmla="*/ 240 h 599"/>
                <a:gd name="T92" fmla="*/ 569 w 599"/>
                <a:gd name="T93" fmla="*/ 170 h 599"/>
                <a:gd name="T94" fmla="*/ 530 w 599"/>
                <a:gd name="T95" fmla="*/ 109 h 599"/>
                <a:gd name="T96" fmla="*/ 478 w 599"/>
                <a:gd name="T97" fmla="*/ 60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8"/>
                  </a:lnTo>
                  <a:lnTo>
                    <a:pt x="271" y="567"/>
                  </a:lnTo>
                  <a:lnTo>
                    <a:pt x="259" y="566"/>
                  </a:lnTo>
                  <a:lnTo>
                    <a:pt x="245" y="563"/>
                  </a:lnTo>
                  <a:lnTo>
                    <a:pt x="232" y="560"/>
                  </a:lnTo>
                  <a:lnTo>
                    <a:pt x="219" y="556"/>
                  </a:lnTo>
                  <a:lnTo>
                    <a:pt x="207" y="552"/>
                  </a:lnTo>
                  <a:lnTo>
                    <a:pt x="194" y="548"/>
                  </a:lnTo>
                  <a:lnTo>
                    <a:pt x="183" y="542"/>
                  </a:lnTo>
                  <a:lnTo>
                    <a:pt x="171" y="536"/>
                  </a:lnTo>
                  <a:lnTo>
                    <a:pt x="160" y="529"/>
                  </a:lnTo>
                  <a:lnTo>
                    <a:pt x="148" y="523"/>
                  </a:lnTo>
                  <a:lnTo>
                    <a:pt x="139" y="515"/>
                  </a:lnTo>
                  <a:lnTo>
                    <a:pt x="128" y="507"/>
                  </a:lnTo>
                  <a:lnTo>
                    <a:pt x="118" y="498"/>
                  </a:lnTo>
                  <a:lnTo>
                    <a:pt x="109" y="490"/>
                  </a:lnTo>
                  <a:lnTo>
                    <a:pt x="100" y="480"/>
                  </a:lnTo>
                  <a:lnTo>
                    <a:pt x="92" y="471"/>
                  </a:lnTo>
                  <a:lnTo>
                    <a:pt x="83" y="460"/>
                  </a:lnTo>
                  <a:lnTo>
                    <a:pt x="76" y="450"/>
                  </a:lnTo>
                  <a:lnTo>
                    <a:pt x="69" y="438"/>
                  </a:lnTo>
                  <a:lnTo>
                    <a:pt x="63" y="428"/>
                  </a:lnTo>
                  <a:lnTo>
                    <a:pt x="56" y="416"/>
                  </a:lnTo>
                  <a:lnTo>
                    <a:pt x="51" y="404"/>
                  </a:lnTo>
                  <a:lnTo>
                    <a:pt x="47" y="391"/>
                  </a:lnTo>
                  <a:lnTo>
                    <a:pt x="43" y="380"/>
                  </a:lnTo>
                  <a:lnTo>
                    <a:pt x="38" y="367"/>
                  </a:lnTo>
                  <a:lnTo>
                    <a:pt x="35" y="354"/>
                  </a:lnTo>
                  <a:lnTo>
                    <a:pt x="33" y="340"/>
                  </a:lnTo>
                  <a:lnTo>
                    <a:pt x="32" y="327"/>
                  </a:lnTo>
                  <a:lnTo>
                    <a:pt x="31" y="313"/>
                  </a:lnTo>
                  <a:lnTo>
                    <a:pt x="30" y="299"/>
                  </a:lnTo>
                  <a:lnTo>
                    <a:pt x="31" y="286"/>
                  </a:lnTo>
                  <a:lnTo>
                    <a:pt x="32" y="272"/>
                  </a:lnTo>
                  <a:lnTo>
                    <a:pt x="33" y="259"/>
                  </a:lnTo>
                  <a:lnTo>
                    <a:pt x="35" y="245"/>
                  </a:lnTo>
                  <a:lnTo>
                    <a:pt x="38" y="232"/>
                  </a:lnTo>
                  <a:lnTo>
                    <a:pt x="43" y="219"/>
                  </a:lnTo>
                  <a:lnTo>
                    <a:pt x="47" y="207"/>
                  </a:lnTo>
                  <a:lnTo>
                    <a:pt x="51" y="195"/>
                  </a:lnTo>
                  <a:lnTo>
                    <a:pt x="56" y="183"/>
                  </a:lnTo>
                  <a:lnTo>
                    <a:pt x="63" y="171"/>
                  </a:lnTo>
                  <a:lnTo>
                    <a:pt x="69" y="160"/>
                  </a:lnTo>
                  <a:lnTo>
                    <a:pt x="76" y="149"/>
                  </a:lnTo>
                  <a:lnTo>
                    <a:pt x="83" y="138"/>
                  </a:lnTo>
                  <a:lnTo>
                    <a:pt x="92" y="128"/>
                  </a:lnTo>
                  <a:lnTo>
                    <a:pt x="100" y="119"/>
                  </a:lnTo>
                  <a:lnTo>
                    <a:pt x="109" y="109"/>
                  </a:lnTo>
                  <a:lnTo>
                    <a:pt x="118" y="101"/>
                  </a:lnTo>
                  <a:lnTo>
                    <a:pt x="128" y="92"/>
                  </a:lnTo>
                  <a:lnTo>
                    <a:pt x="139" y="83"/>
                  </a:lnTo>
                  <a:lnTo>
                    <a:pt x="148" y="76"/>
                  </a:lnTo>
                  <a:lnTo>
                    <a:pt x="160" y="70"/>
                  </a:lnTo>
                  <a:lnTo>
                    <a:pt x="171" y="63"/>
                  </a:lnTo>
                  <a:lnTo>
                    <a:pt x="183" y="57"/>
                  </a:lnTo>
                  <a:lnTo>
                    <a:pt x="194" y="51"/>
                  </a:lnTo>
                  <a:lnTo>
                    <a:pt x="207" y="47"/>
                  </a:lnTo>
                  <a:lnTo>
                    <a:pt x="219" y="43"/>
                  </a:lnTo>
                  <a:lnTo>
                    <a:pt x="232" y="38"/>
                  </a:lnTo>
                  <a:lnTo>
                    <a:pt x="245" y="35"/>
                  </a:lnTo>
                  <a:lnTo>
                    <a:pt x="259" y="33"/>
                  </a:lnTo>
                  <a:lnTo>
                    <a:pt x="271" y="32"/>
                  </a:lnTo>
                  <a:lnTo>
                    <a:pt x="285" y="31"/>
                  </a:lnTo>
                  <a:lnTo>
                    <a:pt x="299" y="30"/>
                  </a:lnTo>
                  <a:lnTo>
                    <a:pt x="313" y="31"/>
                  </a:lnTo>
                  <a:lnTo>
                    <a:pt x="327" y="32"/>
                  </a:lnTo>
                  <a:lnTo>
                    <a:pt x="340" y="33"/>
                  </a:lnTo>
                  <a:lnTo>
                    <a:pt x="354" y="35"/>
                  </a:lnTo>
                  <a:lnTo>
                    <a:pt x="367" y="38"/>
                  </a:lnTo>
                  <a:lnTo>
                    <a:pt x="379" y="43"/>
                  </a:lnTo>
                  <a:lnTo>
                    <a:pt x="391" y="47"/>
                  </a:lnTo>
                  <a:lnTo>
                    <a:pt x="404" y="51"/>
                  </a:lnTo>
                  <a:lnTo>
                    <a:pt x="416" y="57"/>
                  </a:lnTo>
                  <a:lnTo>
                    <a:pt x="428" y="63"/>
                  </a:lnTo>
                  <a:lnTo>
                    <a:pt x="438" y="70"/>
                  </a:lnTo>
                  <a:lnTo>
                    <a:pt x="450" y="76"/>
                  </a:lnTo>
                  <a:lnTo>
                    <a:pt x="460" y="83"/>
                  </a:lnTo>
                  <a:lnTo>
                    <a:pt x="470" y="92"/>
                  </a:lnTo>
                  <a:lnTo>
                    <a:pt x="480" y="101"/>
                  </a:lnTo>
                  <a:lnTo>
                    <a:pt x="490" y="109"/>
                  </a:lnTo>
                  <a:lnTo>
                    <a:pt x="498" y="119"/>
                  </a:lnTo>
                  <a:lnTo>
                    <a:pt x="507" y="128"/>
                  </a:lnTo>
                  <a:lnTo>
                    <a:pt x="515" y="138"/>
                  </a:lnTo>
                  <a:lnTo>
                    <a:pt x="523" y="149"/>
                  </a:lnTo>
                  <a:lnTo>
                    <a:pt x="529" y="160"/>
                  </a:lnTo>
                  <a:lnTo>
                    <a:pt x="536" y="171"/>
                  </a:lnTo>
                  <a:lnTo>
                    <a:pt x="542" y="183"/>
                  </a:lnTo>
                  <a:lnTo>
                    <a:pt x="547" y="195"/>
                  </a:lnTo>
                  <a:lnTo>
                    <a:pt x="552" y="207"/>
                  </a:lnTo>
                  <a:lnTo>
                    <a:pt x="556" y="219"/>
                  </a:lnTo>
                  <a:lnTo>
                    <a:pt x="560" y="232"/>
                  </a:lnTo>
                  <a:lnTo>
                    <a:pt x="563" y="245"/>
                  </a:lnTo>
                  <a:lnTo>
                    <a:pt x="565" y="259"/>
                  </a:lnTo>
                  <a:lnTo>
                    <a:pt x="567" y="272"/>
                  </a:lnTo>
                  <a:lnTo>
                    <a:pt x="568" y="286"/>
                  </a:lnTo>
                  <a:lnTo>
                    <a:pt x="569" y="299"/>
                  </a:lnTo>
                  <a:lnTo>
                    <a:pt x="568" y="313"/>
                  </a:lnTo>
                  <a:lnTo>
                    <a:pt x="567" y="327"/>
                  </a:lnTo>
                  <a:lnTo>
                    <a:pt x="565" y="340"/>
                  </a:lnTo>
                  <a:lnTo>
                    <a:pt x="563" y="354"/>
                  </a:lnTo>
                  <a:lnTo>
                    <a:pt x="560" y="367"/>
                  </a:lnTo>
                  <a:lnTo>
                    <a:pt x="556" y="380"/>
                  </a:lnTo>
                  <a:lnTo>
                    <a:pt x="552" y="391"/>
                  </a:lnTo>
                  <a:lnTo>
                    <a:pt x="547" y="404"/>
                  </a:lnTo>
                  <a:lnTo>
                    <a:pt x="542" y="416"/>
                  </a:lnTo>
                  <a:lnTo>
                    <a:pt x="536" y="428"/>
                  </a:lnTo>
                  <a:lnTo>
                    <a:pt x="529" y="438"/>
                  </a:lnTo>
                  <a:lnTo>
                    <a:pt x="523" y="450"/>
                  </a:lnTo>
                  <a:lnTo>
                    <a:pt x="515" y="460"/>
                  </a:lnTo>
                  <a:lnTo>
                    <a:pt x="507" y="471"/>
                  </a:lnTo>
                  <a:lnTo>
                    <a:pt x="498" y="480"/>
                  </a:lnTo>
                  <a:lnTo>
                    <a:pt x="490" y="490"/>
                  </a:lnTo>
                  <a:lnTo>
                    <a:pt x="480" y="498"/>
                  </a:lnTo>
                  <a:lnTo>
                    <a:pt x="470" y="507"/>
                  </a:lnTo>
                  <a:lnTo>
                    <a:pt x="460" y="515"/>
                  </a:lnTo>
                  <a:lnTo>
                    <a:pt x="450" y="523"/>
                  </a:lnTo>
                  <a:lnTo>
                    <a:pt x="438" y="529"/>
                  </a:lnTo>
                  <a:lnTo>
                    <a:pt x="428" y="536"/>
                  </a:lnTo>
                  <a:lnTo>
                    <a:pt x="416" y="542"/>
                  </a:lnTo>
                  <a:lnTo>
                    <a:pt x="404" y="548"/>
                  </a:lnTo>
                  <a:lnTo>
                    <a:pt x="391" y="552"/>
                  </a:lnTo>
                  <a:lnTo>
                    <a:pt x="379" y="556"/>
                  </a:lnTo>
                  <a:lnTo>
                    <a:pt x="367" y="560"/>
                  </a:lnTo>
                  <a:lnTo>
                    <a:pt x="354" y="563"/>
                  </a:lnTo>
                  <a:lnTo>
                    <a:pt x="340" y="566"/>
                  </a:lnTo>
                  <a:lnTo>
                    <a:pt x="327" y="567"/>
                  </a:lnTo>
                  <a:lnTo>
                    <a:pt x="313" y="568"/>
                  </a:lnTo>
                  <a:lnTo>
                    <a:pt x="299" y="569"/>
                  </a:lnTo>
                  <a:close/>
                  <a:moveTo>
                    <a:pt x="299" y="0"/>
                  </a:moveTo>
                  <a:lnTo>
                    <a:pt x="284" y="1"/>
                  </a:lnTo>
                  <a:lnTo>
                    <a:pt x="268" y="2"/>
                  </a:lnTo>
                  <a:lnTo>
                    <a:pt x="253" y="4"/>
                  </a:lnTo>
                  <a:lnTo>
                    <a:pt x="239" y="6"/>
                  </a:lnTo>
                  <a:lnTo>
                    <a:pt x="224" y="10"/>
                  </a:lnTo>
                  <a:lnTo>
                    <a:pt x="210" y="14"/>
                  </a:lnTo>
                  <a:lnTo>
                    <a:pt x="197" y="18"/>
                  </a:lnTo>
                  <a:lnTo>
                    <a:pt x="183" y="24"/>
                  </a:lnTo>
                  <a:lnTo>
                    <a:pt x="170" y="30"/>
                  </a:lnTo>
                  <a:lnTo>
                    <a:pt x="157" y="36"/>
                  </a:lnTo>
                  <a:lnTo>
                    <a:pt x="144" y="44"/>
                  </a:lnTo>
                  <a:lnTo>
                    <a:pt x="132" y="51"/>
                  </a:lnTo>
                  <a:lnTo>
                    <a:pt x="121" y="60"/>
                  </a:lnTo>
                  <a:lnTo>
                    <a:pt x="109" y="68"/>
                  </a:lnTo>
                  <a:lnTo>
                    <a:pt x="98" y="78"/>
                  </a:lnTo>
                  <a:lnTo>
                    <a:pt x="87" y="88"/>
                  </a:lnTo>
                  <a:lnTo>
                    <a:pt x="78" y="98"/>
                  </a:lnTo>
                  <a:lnTo>
                    <a:pt x="68" y="109"/>
                  </a:lnTo>
                  <a:lnTo>
                    <a:pt x="60" y="121"/>
                  </a:lnTo>
                  <a:lnTo>
                    <a:pt x="51" y="133"/>
                  </a:lnTo>
                  <a:lnTo>
                    <a:pt x="44" y="144"/>
                  </a:lnTo>
                  <a:lnTo>
                    <a:pt x="36" y="157"/>
                  </a:lnTo>
                  <a:lnTo>
                    <a:pt x="30" y="170"/>
                  </a:lnTo>
                  <a:lnTo>
                    <a:pt x="23" y="183"/>
                  </a:lnTo>
                  <a:lnTo>
                    <a:pt x="18" y="197"/>
                  </a:lnTo>
                  <a:lnTo>
                    <a:pt x="14" y="211"/>
                  </a:lnTo>
                  <a:lnTo>
                    <a:pt x="9" y="225"/>
                  </a:lnTo>
                  <a:lnTo>
                    <a:pt x="6" y="240"/>
                  </a:lnTo>
                  <a:lnTo>
                    <a:pt x="4" y="253"/>
                  </a:lnTo>
                  <a:lnTo>
                    <a:pt x="2" y="268"/>
                  </a:lnTo>
                  <a:lnTo>
                    <a:pt x="1" y="284"/>
                  </a:lnTo>
                  <a:lnTo>
                    <a:pt x="0" y="299"/>
                  </a:lnTo>
                  <a:lnTo>
                    <a:pt x="1" y="314"/>
                  </a:lnTo>
                  <a:lnTo>
                    <a:pt x="2" y="330"/>
                  </a:lnTo>
                  <a:lnTo>
                    <a:pt x="4" y="344"/>
                  </a:lnTo>
                  <a:lnTo>
                    <a:pt x="6" y="359"/>
                  </a:lnTo>
                  <a:lnTo>
                    <a:pt x="9" y="374"/>
                  </a:lnTo>
                  <a:lnTo>
                    <a:pt x="14" y="388"/>
                  </a:lnTo>
                  <a:lnTo>
                    <a:pt x="18" y="402"/>
                  </a:lnTo>
                  <a:lnTo>
                    <a:pt x="23" y="416"/>
                  </a:lnTo>
                  <a:lnTo>
                    <a:pt x="30" y="429"/>
                  </a:lnTo>
                  <a:lnTo>
                    <a:pt x="36" y="442"/>
                  </a:lnTo>
                  <a:lnTo>
                    <a:pt x="44" y="455"/>
                  </a:lnTo>
                  <a:lnTo>
                    <a:pt x="51" y="466"/>
                  </a:lnTo>
                  <a:lnTo>
                    <a:pt x="60" y="478"/>
                  </a:lnTo>
                  <a:lnTo>
                    <a:pt x="68" y="490"/>
                  </a:lnTo>
                  <a:lnTo>
                    <a:pt x="78" y="501"/>
                  </a:lnTo>
                  <a:lnTo>
                    <a:pt x="87" y="511"/>
                  </a:lnTo>
                  <a:lnTo>
                    <a:pt x="98" y="521"/>
                  </a:lnTo>
                  <a:lnTo>
                    <a:pt x="109" y="530"/>
                  </a:lnTo>
                  <a:lnTo>
                    <a:pt x="121" y="539"/>
                  </a:lnTo>
                  <a:lnTo>
                    <a:pt x="132" y="548"/>
                  </a:lnTo>
                  <a:lnTo>
                    <a:pt x="144" y="555"/>
                  </a:lnTo>
                  <a:lnTo>
                    <a:pt x="157" y="563"/>
                  </a:lnTo>
                  <a:lnTo>
                    <a:pt x="170" y="569"/>
                  </a:lnTo>
                  <a:lnTo>
                    <a:pt x="183" y="575"/>
                  </a:lnTo>
                  <a:lnTo>
                    <a:pt x="197" y="581"/>
                  </a:lnTo>
                  <a:lnTo>
                    <a:pt x="210" y="585"/>
                  </a:lnTo>
                  <a:lnTo>
                    <a:pt x="224" y="589"/>
                  </a:lnTo>
                  <a:lnTo>
                    <a:pt x="239" y="592"/>
                  </a:lnTo>
                  <a:lnTo>
                    <a:pt x="253" y="595"/>
                  </a:lnTo>
                  <a:lnTo>
                    <a:pt x="268" y="597"/>
                  </a:lnTo>
                  <a:lnTo>
                    <a:pt x="284" y="598"/>
                  </a:lnTo>
                  <a:lnTo>
                    <a:pt x="299" y="599"/>
                  </a:lnTo>
                  <a:lnTo>
                    <a:pt x="314" y="598"/>
                  </a:lnTo>
                  <a:lnTo>
                    <a:pt x="330" y="597"/>
                  </a:lnTo>
                  <a:lnTo>
                    <a:pt x="345" y="595"/>
                  </a:lnTo>
                  <a:lnTo>
                    <a:pt x="359" y="592"/>
                  </a:lnTo>
                  <a:lnTo>
                    <a:pt x="374" y="589"/>
                  </a:lnTo>
                  <a:lnTo>
                    <a:pt x="388" y="585"/>
                  </a:lnTo>
                  <a:lnTo>
                    <a:pt x="402" y="581"/>
                  </a:lnTo>
                  <a:lnTo>
                    <a:pt x="416" y="575"/>
                  </a:lnTo>
                  <a:lnTo>
                    <a:pt x="429" y="569"/>
                  </a:lnTo>
                  <a:lnTo>
                    <a:pt x="441" y="563"/>
                  </a:lnTo>
                  <a:lnTo>
                    <a:pt x="454" y="555"/>
                  </a:lnTo>
                  <a:lnTo>
                    <a:pt x="466" y="548"/>
                  </a:lnTo>
                  <a:lnTo>
                    <a:pt x="478" y="539"/>
                  </a:lnTo>
                  <a:lnTo>
                    <a:pt x="490" y="530"/>
                  </a:lnTo>
                  <a:lnTo>
                    <a:pt x="500" y="521"/>
                  </a:lnTo>
                  <a:lnTo>
                    <a:pt x="511" y="511"/>
                  </a:lnTo>
                  <a:lnTo>
                    <a:pt x="521" y="501"/>
                  </a:lnTo>
                  <a:lnTo>
                    <a:pt x="530" y="490"/>
                  </a:lnTo>
                  <a:lnTo>
                    <a:pt x="539" y="478"/>
                  </a:lnTo>
                  <a:lnTo>
                    <a:pt x="547" y="466"/>
                  </a:lnTo>
                  <a:lnTo>
                    <a:pt x="555" y="455"/>
                  </a:lnTo>
                  <a:lnTo>
                    <a:pt x="562" y="442"/>
                  </a:lnTo>
                  <a:lnTo>
                    <a:pt x="569" y="429"/>
                  </a:lnTo>
                  <a:lnTo>
                    <a:pt x="575" y="416"/>
                  </a:lnTo>
                  <a:lnTo>
                    <a:pt x="580" y="402"/>
                  </a:lnTo>
                  <a:lnTo>
                    <a:pt x="585" y="388"/>
                  </a:lnTo>
                  <a:lnTo>
                    <a:pt x="589" y="374"/>
                  </a:lnTo>
                  <a:lnTo>
                    <a:pt x="592" y="359"/>
                  </a:lnTo>
                  <a:lnTo>
                    <a:pt x="594" y="345"/>
                  </a:lnTo>
                  <a:lnTo>
                    <a:pt x="596" y="330"/>
                  </a:lnTo>
                  <a:lnTo>
                    <a:pt x="598" y="314"/>
                  </a:lnTo>
                  <a:lnTo>
                    <a:pt x="599" y="299"/>
                  </a:lnTo>
                  <a:lnTo>
                    <a:pt x="598" y="284"/>
                  </a:lnTo>
                  <a:lnTo>
                    <a:pt x="596" y="268"/>
                  </a:lnTo>
                  <a:lnTo>
                    <a:pt x="594" y="253"/>
                  </a:lnTo>
                  <a:lnTo>
                    <a:pt x="592" y="240"/>
                  </a:lnTo>
                  <a:lnTo>
                    <a:pt x="589" y="225"/>
                  </a:lnTo>
                  <a:lnTo>
                    <a:pt x="585" y="211"/>
                  </a:lnTo>
                  <a:lnTo>
                    <a:pt x="580" y="197"/>
                  </a:lnTo>
                  <a:lnTo>
                    <a:pt x="575" y="183"/>
                  </a:lnTo>
                  <a:lnTo>
                    <a:pt x="569" y="170"/>
                  </a:lnTo>
                  <a:lnTo>
                    <a:pt x="562" y="157"/>
                  </a:lnTo>
                  <a:lnTo>
                    <a:pt x="555" y="144"/>
                  </a:lnTo>
                  <a:lnTo>
                    <a:pt x="547" y="133"/>
                  </a:lnTo>
                  <a:lnTo>
                    <a:pt x="539" y="121"/>
                  </a:lnTo>
                  <a:lnTo>
                    <a:pt x="530" y="109"/>
                  </a:lnTo>
                  <a:lnTo>
                    <a:pt x="521" y="98"/>
                  </a:lnTo>
                  <a:lnTo>
                    <a:pt x="511" y="88"/>
                  </a:lnTo>
                  <a:lnTo>
                    <a:pt x="500" y="78"/>
                  </a:lnTo>
                  <a:lnTo>
                    <a:pt x="490" y="68"/>
                  </a:lnTo>
                  <a:lnTo>
                    <a:pt x="478" y="60"/>
                  </a:lnTo>
                  <a:lnTo>
                    <a:pt x="466" y="51"/>
                  </a:lnTo>
                  <a:lnTo>
                    <a:pt x="454" y="44"/>
                  </a:lnTo>
                  <a:lnTo>
                    <a:pt x="441" y="36"/>
                  </a:lnTo>
                  <a:lnTo>
                    <a:pt x="429" y="30"/>
                  </a:lnTo>
                  <a:lnTo>
                    <a:pt x="416" y="24"/>
                  </a:lnTo>
                  <a:lnTo>
                    <a:pt x="402" y="18"/>
                  </a:lnTo>
                  <a:lnTo>
                    <a:pt x="388" y="14"/>
                  </a:lnTo>
                  <a:lnTo>
                    <a:pt x="374" y="10"/>
                  </a:lnTo>
                  <a:lnTo>
                    <a:pt x="359" y="6"/>
                  </a:lnTo>
                  <a:lnTo>
                    <a:pt x="345" y="4"/>
                  </a:lnTo>
                  <a:lnTo>
                    <a:pt x="330" y="2"/>
                  </a:lnTo>
                  <a:lnTo>
                    <a:pt x="314" y="1"/>
                  </a:lnTo>
                  <a:lnTo>
                    <a:pt x="29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6" name="Freeform 311">
              <a:extLst>
                <a:ext uri="{FF2B5EF4-FFF2-40B4-BE49-F238E27FC236}">
                  <a16:creationId xmlns:a16="http://schemas.microsoft.com/office/drawing/2014/main" id="{D09A66E0-C6FB-4B84-8F75-59C30BF485D3}"/>
                </a:ext>
              </a:extLst>
            </p:cNvPr>
            <p:cNvSpPr>
              <a:spLocks noEditPoints="1"/>
            </p:cNvSpPr>
            <p:nvPr/>
          </p:nvSpPr>
          <p:spPr bwMode="auto">
            <a:xfrm>
              <a:off x="7700963" y="2052638"/>
              <a:ext cx="114300" cy="112712"/>
            </a:xfrm>
            <a:custGeom>
              <a:avLst/>
              <a:gdLst>
                <a:gd name="T0" fmla="*/ 241 w 359"/>
                <a:gd name="T1" fmla="*/ 200 h 358"/>
                <a:gd name="T2" fmla="*/ 239 w 359"/>
                <a:gd name="T3" fmla="*/ 208 h 358"/>
                <a:gd name="T4" fmla="*/ 271 w 359"/>
                <a:gd name="T5" fmla="*/ 308 h 358"/>
                <a:gd name="T6" fmla="*/ 183 w 359"/>
                <a:gd name="T7" fmla="*/ 253 h 358"/>
                <a:gd name="T8" fmla="*/ 175 w 359"/>
                <a:gd name="T9" fmla="*/ 253 h 358"/>
                <a:gd name="T10" fmla="*/ 87 w 359"/>
                <a:gd name="T11" fmla="*/ 308 h 358"/>
                <a:gd name="T12" fmla="*/ 119 w 359"/>
                <a:gd name="T13" fmla="*/ 208 h 358"/>
                <a:gd name="T14" fmla="*/ 117 w 359"/>
                <a:gd name="T15" fmla="*/ 200 h 358"/>
                <a:gd name="T16" fmla="*/ 56 w 359"/>
                <a:gd name="T17" fmla="*/ 148 h 358"/>
                <a:gd name="T18" fmla="*/ 124 w 359"/>
                <a:gd name="T19" fmla="*/ 147 h 358"/>
                <a:gd name="T20" fmla="*/ 130 w 359"/>
                <a:gd name="T21" fmla="*/ 143 h 358"/>
                <a:gd name="T22" fmla="*/ 179 w 359"/>
                <a:gd name="T23" fmla="*/ 47 h 358"/>
                <a:gd name="T24" fmla="*/ 228 w 359"/>
                <a:gd name="T25" fmla="*/ 143 h 358"/>
                <a:gd name="T26" fmla="*/ 235 w 359"/>
                <a:gd name="T27" fmla="*/ 147 h 358"/>
                <a:gd name="T28" fmla="*/ 302 w 359"/>
                <a:gd name="T29" fmla="*/ 148 h 358"/>
                <a:gd name="T30" fmla="*/ 344 w 359"/>
                <a:gd name="T31" fmla="*/ 119 h 358"/>
                <a:gd name="T32" fmla="*/ 193 w 359"/>
                <a:gd name="T33" fmla="*/ 7 h 358"/>
                <a:gd name="T34" fmla="*/ 187 w 359"/>
                <a:gd name="T35" fmla="*/ 2 h 358"/>
                <a:gd name="T36" fmla="*/ 179 w 359"/>
                <a:gd name="T37" fmla="*/ 0 h 358"/>
                <a:gd name="T38" fmla="*/ 172 w 359"/>
                <a:gd name="T39" fmla="*/ 2 h 358"/>
                <a:gd name="T40" fmla="*/ 165 w 359"/>
                <a:gd name="T41" fmla="*/ 7 h 358"/>
                <a:gd name="T42" fmla="*/ 15 w 359"/>
                <a:gd name="T43" fmla="*/ 119 h 358"/>
                <a:gd name="T44" fmla="*/ 6 w 359"/>
                <a:gd name="T45" fmla="*/ 122 h 358"/>
                <a:gd name="T46" fmla="*/ 1 w 359"/>
                <a:gd name="T47" fmla="*/ 128 h 358"/>
                <a:gd name="T48" fmla="*/ 1 w 359"/>
                <a:gd name="T49" fmla="*/ 138 h 358"/>
                <a:gd name="T50" fmla="*/ 5 w 359"/>
                <a:gd name="T51" fmla="*/ 145 h 358"/>
                <a:gd name="T52" fmla="*/ 46 w 359"/>
                <a:gd name="T53" fmla="*/ 338 h 358"/>
                <a:gd name="T54" fmla="*/ 46 w 359"/>
                <a:gd name="T55" fmla="*/ 347 h 358"/>
                <a:gd name="T56" fmla="*/ 51 w 359"/>
                <a:gd name="T57" fmla="*/ 355 h 358"/>
                <a:gd name="T58" fmla="*/ 58 w 359"/>
                <a:gd name="T59" fmla="*/ 358 h 358"/>
                <a:gd name="T60" fmla="*/ 68 w 359"/>
                <a:gd name="T61" fmla="*/ 356 h 358"/>
                <a:gd name="T62" fmla="*/ 290 w 359"/>
                <a:gd name="T63" fmla="*/ 356 h 358"/>
                <a:gd name="T64" fmla="*/ 299 w 359"/>
                <a:gd name="T65" fmla="*/ 358 h 358"/>
                <a:gd name="T66" fmla="*/ 308 w 359"/>
                <a:gd name="T67" fmla="*/ 355 h 358"/>
                <a:gd name="T68" fmla="*/ 313 w 359"/>
                <a:gd name="T69" fmla="*/ 347 h 358"/>
                <a:gd name="T70" fmla="*/ 313 w 359"/>
                <a:gd name="T71" fmla="*/ 338 h 358"/>
                <a:gd name="T72" fmla="*/ 354 w 359"/>
                <a:gd name="T73" fmla="*/ 145 h 358"/>
                <a:gd name="T74" fmla="*/ 358 w 359"/>
                <a:gd name="T75" fmla="*/ 138 h 358"/>
                <a:gd name="T76" fmla="*/ 358 w 359"/>
                <a:gd name="T77" fmla="*/ 128 h 358"/>
                <a:gd name="T78" fmla="*/ 352 w 359"/>
                <a:gd name="T79" fmla="*/ 122 h 358"/>
                <a:gd name="T80" fmla="*/ 344 w 359"/>
                <a:gd name="T81" fmla="*/ 11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9" h="358">
                  <a:moveTo>
                    <a:pt x="244" y="197"/>
                  </a:moveTo>
                  <a:lnTo>
                    <a:pt x="241" y="200"/>
                  </a:lnTo>
                  <a:lnTo>
                    <a:pt x="239" y="204"/>
                  </a:lnTo>
                  <a:lnTo>
                    <a:pt x="239" y="208"/>
                  </a:lnTo>
                  <a:lnTo>
                    <a:pt x="240" y="213"/>
                  </a:lnTo>
                  <a:lnTo>
                    <a:pt x="271" y="308"/>
                  </a:lnTo>
                  <a:lnTo>
                    <a:pt x="187" y="255"/>
                  </a:lnTo>
                  <a:lnTo>
                    <a:pt x="183" y="253"/>
                  </a:lnTo>
                  <a:lnTo>
                    <a:pt x="179" y="253"/>
                  </a:lnTo>
                  <a:lnTo>
                    <a:pt x="175" y="253"/>
                  </a:lnTo>
                  <a:lnTo>
                    <a:pt x="172" y="255"/>
                  </a:lnTo>
                  <a:lnTo>
                    <a:pt x="87" y="308"/>
                  </a:lnTo>
                  <a:lnTo>
                    <a:pt x="118" y="213"/>
                  </a:lnTo>
                  <a:lnTo>
                    <a:pt x="119" y="208"/>
                  </a:lnTo>
                  <a:lnTo>
                    <a:pt x="119" y="204"/>
                  </a:lnTo>
                  <a:lnTo>
                    <a:pt x="117" y="200"/>
                  </a:lnTo>
                  <a:lnTo>
                    <a:pt x="114" y="197"/>
                  </a:lnTo>
                  <a:lnTo>
                    <a:pt x="56" y="148"/>
                  </a:lnTo>
                  <a:lnTo>
                    <a:pt x="119" y="148"/>
                  </a:lnTo>
                  <a:lnTo>
                    <a:pt x="124" y="147"/>
                  </a:lnTo>
                  <a:lnTo>
                    <a:pt x="127" y="146"/>
                  </a:lnTo>
                  <a:lnTo>
                    <a:pt x="130" y="143"/>
                  </a:lnTo>
                  <a:lnTo>
                    <a:pt x="133" y="140"/>
                  </a:lnTo>
                  <a:lnTo>
                    <a:pt x="179" y="47"/>
                  </a:lnTo>
                  <a:lnTo>
                    <a:pt x="225" y="140"/>
                  </a:lnTo>
                  <a:lnTo>
                    <a:pt x="228" y="143"/>
                  </a:lnTo>
                  <a:lnTo>
                    <a:pt x="232" y="146"/>
                  </a:lnTo>
                  <a:lnTo>
                    <a:pt x="235" y="147"/>
                  </a:lnTo>
                  <a:lnTo>
                    <a:pt x="239" y="148"/>
                  </a:lnTo>
                  <a:lnTo>
                    <a:pt x="302" y="148"/>
                  </a:lnTo>
                  <a:lnTo>
                    <a:pt x="244" y="197"/>
                  </a:lnTo>
                  <a:close/>
                  <a:moveTo>
                    <a:pt x="344" y="119"/>
                  </a:moveTo>
                  <a:lnTo>
                    <a:pt x="249" y="119"/>
                  </a:lnTo>
                  <a:lnTo>
                    <a:pt x="193" y="7"/>
                  </a:lnTo>
                  <a:lnTo>
                    <a:pt x="190" y="4"/>
                  </a:lnTo>
                  <a:lnTo>
                    <a:pt x="187" y="2"/>
                  </a:lnTo>
                  <a:lnTo>
                    <a:pt x="183" y="0"/>
                  </a:lnTo>
                  <a:lnTo>
                    <a:pt x="179" y="0"/>
                  </a:lnTo>
                  <a:lnTo>
                    <a:pt x="175" y="0"/>
                  </a:lnTo>
                  <a:lnTo>
                    <a:pt x="172" y="2"/>
                  </a:lnTo>
                  <a:lnTo>
                    <a:pt x="168" y="4"/>
                  </a:lnTo>
                  <a:lnTo>
                    <a:pt x="165" y="7"/>
                  </a:lnTo>
                  <a:lnTo>
                    <a:pt x="110" y="119"/>
                  </a:lnTo>
                  <a:lnTo>
                    <a:pt x="15" y="119"/>
                  </a:lnTo>
                  <a:lnTo>
                    <a:pt x="10" y="120"/>
                  </a:lnTo>
                  <a:lnTo>
                    <a:pt x="6" y="122"/>
                  </a:lnTo>
                  <a:lnTo>
                    <a:pt x="3" y="124"/>
                  </a:lnTo>
                  <a:lnTo>
                    <a:pt x="1" y="128"/>
                  </a:lnTo>
                  <a:lnTo>
                    <a:pt x="0" y="132"/>
                  </a:lnTo>
                  <a:lnTo>
                    <a:pt x="1" y="138"/>
                  </a:lnTo>
                  <a:lnTo>
                    <a:pt x="2" y="142"/>
                  </a:lnTo>
                  <a:lnTo>
                    <a:pt x="5" y="145"/>
                  </a:lnTo>
                  <a:lnTo>
                    <a:pt x="87" y="214"/>
                  </a:lnTo>
                  <a:lnTo>
                    <a:pt x="46" y="338"/>
                  </a:lnTo>
                  <a:lnTo>
                    <a:pt x="44" y="343"/>
                  </a:lnTo>
                  <a:lnTo>
                    <a:pt x="46" y="347"/>
                  </a:lnTo>
                  <a:lnTo>
                    <a:pt x="48" y="352"/>
                  </a:lnTo>
                  <a:lnTo>
                    <a:pt x="51" y="355"/>
                  </a:lnTo>
                  <a:lnTo>
                    <a:pt x="54" y="357"/>
                  </a:lnTo>
                  <a:lnTo>
                    <a:pt x="58" y="358"/>
                  </a:lnTo>
                  <a:lnTo>
                    <a:pt x="64" y="357"/>
                  </a:lnTo>
                  <a:lnTo>
                    <a:pt x="68" y="356"/>
                  </a:lnTo>
                  <a:lnTo>
                    <a:pt x="179" y="285"/>
                  </a:lnTo>
                  <a:lnTo>
                    <a:pt x="290" y="356"/>
                  </a:lnTo>
                  <a:lnTo>
                    <a:pt x="295" y="357"/>
                  </a:lnTo>
                  <a:lnTo>
                    <a:pt x="299" y="358"/>
                  </a:lnTo>
                  <a:lnTo>
                    <a:pt x="303" y="357"/>
                  </a:lnTo>
                  <a:lnTo>
                    <a:pt x="308" y="355"/>
                  </a:lnTo>
                  <a:lnTo>
                    <a:pt x="311" y="352"/>
                  </a:lnTo>
                  <a:lnTo>
                    <a:pt x="313" y="347"/>
                  </a:lnTo>
                  <a:lnTo>
                    <a:pt x="314" y="343"/>
                  </a:lnTo>
                  <a:lnTo>
                    <a:pt x="313" y="338"/>
                  </a:lnTo>
                  <a:lnTo>
                    <a:pt x="271" y="214"/>
                  </a:lnTo>
                  <a:lnTo>
                    <a:pt x="354" y="145"/>
                  </a:lnTo>
                  <a:lnTo>
                    <a:pt x="357" y="141"/>
                  </a:lnTo>
                  <a:lnTo>
                    <a:pt x="358" y="138"/>
                  </a:lnTo>
                  <a:lnTo>
                    <a:pt x="359" y="132"/>
                  </a:lnTo>
                  <a:lnTo>
                    <a:pt x="358" y="128"/>
                  </a:lnTo>
                  <a:lnTo>
                    <a:pt x="356" y="124"/>
                  </a:lnTo>
                  <a:lnTo>
                    <a:pt x="352" y="122"/>
                  </a:lnTo>
                  <a:lnTo>
                    <a:pt x="348" y="120"/>
                  </a:lnTo>
                  <a:lnTo>
                    <a:pt x="344" y="119"/>
                  </a:lnTo>
                  <a:lnTo>
                    <a:pt x="344" y="1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7" name="Freeform 312">
              <a:extLst>
                <a:ext uri="{FF2B5EF4-FFF2-40B4-BE49-F238E27FC236}">
                  <a16:creationId xmlns:a16="http://schemas.microsoft.com/office/drawing/2014/main" id="{C5887D61-E9B6-40D7-AD68-543A313E9861}"/>
                </a:ext>
              </a:extLst>
            </p:cNvPr>
            <p:cNvSpPr>
              <a:spLocks/>
            </p:cNvSpPr>
            <p:nvPr/>
          </p:nvSpPr>
          <p:spPr bwMode="auto">
            <a:xfrm>
              <a:off x="7791450" y="1919288"/>
              <a:ext cx="103188" cy="109537"/>
            </a:xfrm>
            <a:custGeom>
              <a:avLst/>
              <a:gdLst>
                <a:gd name="T0" fmla="*/ 324 w 328"/>
                <a:gd name="T1" fmla="*/ 3 h 343"/>
                <a:gd name="T2" fmla="*/ 318 w 328"/>
                <a:gd name="T3" fmla="*/ 0 h 343"/>
                <a:gd name="T4" fmla="*/ 210 w 328"/>
                <a:gd name="T5" fmla="*/ 0 h 343"/>
                <a:gd name="T6" fmla="*/ 114 w 328"/>
                <a:gd name="T7" fmla="*/ 0 h 343"/>
                <a:gd name="T8" fmla="*/ 108 w 328"/>
                <a:gd name="T9" fmla="*/ 4 h 343"/>
                <a:gd name="T10" fmla="*/ 1 w 328"/>
                <a:gd name="T11" fmla="*/ 233 h 343"/>
                <a:gd name="T12" fmla="*/ 0 w 328"/>
                <a:gd name="T13" fmla="*/ 238 h 343"/>
                <a:gd name="T14" fmla="*/ 1 w 328"/>
                <a:gd name="T15" fmla="*/ 243 h 343"/>
                <a:gd name="T16" fmla="*/ 3 w 328"/>
                <a:gd name="T17" fmla="*/ 249 h 343"/>
                <a:gd name="T18" fmla="*/ 9 w 328"/>
                <a:gd name="T19" fmla="*/ 252 h 343"/>
                <a:gd name="T20" fmla="*/ 14 w 328"/>
                <a:gd name="T21" fmla="*/ 253 h 343"/>
                <a:gd name="T22" fmla="*/ 20 w 328"/>
                <a:gd name="T23" fmla="*/ 253 h 343"/>
                <a:gd name="T24" fmla="*/ 25 w 328"/>
                <a:gd name="T25" fmla="*/ 250 h 343"/>
                <a:gd name="T26" fmla="*/ 29 w 328"/>
                <a:gd name="T27" fmla="*/ 245 h 343"/>
                <a:gd name="T28" fmla="*/ 186 w 328"/>
                <a:gd name="T29" fmla="*/ 30 h 343"/>
                <a:gd name="T30" fmla="*/ 75 w 328"/>
                <a:gd name="T31" fmla="*/ 280 h 343"/>
                <a:gd name="T32" fmla="*/ 75 w 328"/>
                <a:gd name="T33" fmla="*/ 286 h 343"/>
                <a:gd name="T34" fmla="*/ 77 w 328"/>
                <a:gd name="T35" fmla="*/ 292 h 343"/>
                <a:gd name="T36" fmla="*/ 81 w 328"/>
                <a:gd name="T37" fmla="*/ 296 h 343"/>
                <a:gd name="T38" fmla="*/ 87 w 328"/>
                <a:gd name="T39" fmla="*/ 298 h 343"/>
                <a:gd name="T40" fmla="*/ 90 w 328"/>
                <a:gd name="T41" fmla="*/ 298 h 343"/>
                <a:gd name="T42" fmla="*/ 92 w 328"/>
                <a:gd name="T43" fmla="*/ 298 h 343"/>
                <a:gd name="T44" fmla="*/ 95 w 328"/>
                <a:gd name="T45" fmla="*/ 297 h 343"/>
                <a:gd name="T46" fmla="*/ 97 w 328"/>
                <a:gd name="T47" fmla="*/ 296 h 343"/>
                <a:gd name="T48" fmla="*/ 99 w 328"/>
                <a:gd name="T49" fmla="*/ 295 h 343"/>
                <a:gd name="T50" fmla="*/ 102 w 328"/>
                <a:gd name="T51" fmla="*/ 292 h 343"/>
                <a:gd name="T52" fmla="*/ 219 w 328"/>
                <a:gd name="T53" fmla="*/ 30 h 343"/>
                <a:gd name="T54" fmla="*/ 151 w 328"/>
                <a:gd name="T55" fmla="*/ 322 h 343"/>
                <a:gd name="T56" fmla="*/ 150 w 328"/>
                <a:gd name="T57" fmla="*/ 328 h 343"/>
                <a:gd name="T58" fmla="*/ 150 w 328"/>
                <a:gd name="T59" fmla="*/ 333 h 343"/>
                <a:gd name="T60" fmla="*/ 153 w 328"/>
                <a:gd name="T61" fmla="*/ 339 h 343"/>
                <a:gd name="T62" fmla="*/ 158 w 328"/>
                <a:gd name="T63" fmla="*/ 342 h 343"/>
                <a:gd name="T64" fmla="*/ 165 w 328"/>
                <a:gd name="T65" fmla="*/ 343 h 343"/>
                <a:gd name="T66" fmla="*/ 172 w 328"/>
                <a:gd name="T67" fmla="*/ 341 h 343"/>
                <a:gd name="T68" fmla="*/ 178 w 328"/>
                <a:gd name="T69" fmla="*/ 334 h 343"/>
                <a:gd name="T70" fmla="*/ 328 w 328"/>
                <a:gd name="T71" fmla="*/ 17 h 343"/>
                <a:gd name="T72" fmla="*/ 328 w 328"/>
                <a:gd name="T73" fmla="*/ 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8" h="343">
                  <a:moveTo>
                    <a:pt x="326" y="6"/>
                  </a:moveTo>
                  <a:lnTo>
                    <a:pt x="324" y="3"/>
                  </a:lnTo>
                  <a:lnTo>
                    <a:pt x="321" y="1"/>
                  </a:lnTo>
                  <a:lnTo>
                    <a:pt x="318" y="0"/>
                  </a:lnTo>
                  <a:lnTo>
                    <a:pt x="313" y="0"/>
                  </a:lnTo>
                  <a:lnTo>
                    <a:pt x="210" y="0"/>
                  </a:lnTo>
                  <a:lnTo>
                    <a:pt x="119" y="0"/>
                  </a:lnTo>
                  <a:lnTo>
                    <a:pt x="114" y="0"/>
                  </a:lnTo>
                  <a:lnTo>
                    <a:pt x="111" y="2"/>
                  </a:lnTo>
                  <a:lnTo>
                    <a:pt x="108" y="4"/>
                  </a:lnTo>
                  <a:lnTo>
                    <a:pt x="106" y="8"/>
                  </a:lnTo>
                  <a:lnTo>
                    <a:pt x="1" y="233"/>
                  </a:lnTo>
                  <a:lnTo>
                    <a:pt x="0" y="235"/>
                  </a:lnTo>
                  <a:lnTo>
                    <a:pt x="0" y="238"/>
                  </a:lnTo>
                  <a:lnTo>
                    <a:pt x="0" y="241"/>
                  </a:lnTo>
                  <a:lnTo>
                    <a:pt x="1" y="243"/>
                  </a:lnTo>
                  <a:lnTo>
                    <a:pt x="2" y="247"/>
                  </a:lnTo>
                  <a:lnTo>
                    <a:pt x="3" y="249"/>
                  </a:lnTo>
                  <a:lnTo>
                    <a:pt x="6" y="251"/>
                  </a:lnTo>
                  <a:lnTo>
                    <a:pt x="9" y="252"/>
                  </a:lnTo>
                  <a:lnTo>
                    <a:pt x="12" y="253"/>
                  </a:lnTo>
                  <a:lnTo>
                    <a:pt x="14" y="253"/>
                  </a:lnTo>
                  <a:lnTo>
                    <a:pt x="17" y="253"/>
                  </a:lnTo>
                  <a:lnTo>
                    <a:pt x="20" y="253"/>
                  </a:lnTo>
                  <a:lnTo>
                    <a:pt x="22" y="251"/>
                  </a:lnTo>
                  <a:lnTo>
                    <a:pt x="25" y="250"/>
                  </a:lnTo>
                  <a:lnTo>
                    <a:pt x="27" y="248"/>
                  </a:lnTo>
                  <a:lnTo>
                    <a:pt x="29" y="245"/>
                  </a:lnTo>
                  <a:lnTo>
                    <a:pt x="128" y="30"/>
                  </a:lnTo>
                  <a:lnTo>
                    <a:pt x="186" y="30"/>
                  </a:lnTo>
                  <a:lnTo>
                    <a:pt x="76" y="278"/>
                  </a:lnTo>
                  <a:lnTo>
                    <a:pt x="75" y="280"/>
                  </a:lnTo>
                  <a:lnTo>
                    <a:pt x="75" y="283"/>
                  </a:lnTo>
                  <a:lnTo>
                    <a:pt x="75" y="286"/>
                  </a:lnTo>
                  <a:lnTo>
                    <a:pt x="76" y="288"/>
                  </a:lnTo>
                  <a:lnTo>
                    <a:pt x="77" y="292"/>
                  </a:lnTo>
                  <a:lnTo>
                    <a:pt x="79" y="294"/>
                  </a:lnTo>
                  <a:lnTo>
                    <a:pt x="81" y="296"/>
                  </a:lnTo>
                  <a:lnTo>
                    <a:pt x="83" y="297"/>
                  </a:lnTo>
                  <a:lnTo>
                    <a:pt x="87" y="298"/>
                  </a:lnTo>
                  <a:lnTo>
                    <a:pt x="90" y="298"/>
                  </a:lnTo>
                  <a:lnTo>
                    <a:pt x="90" y="298"/>
                  </a:lnTo>
                  <a:lnTo>
                    <a:pt x="90" y="298"/>
                  </a:lnTo>
                  <a:lnTo>
                    <a:pt x="92" y="298"/>
                  </a:lnTo>
                  <a:lnTo>
                    <a:pt x="94" y="298"/>
                  </a:lnTo>
                  <a:lnTo>
                    <a:pt x="95" y="297"/>
                  </a:lnTo>
                  <a:lnTo>
                    <a:pt x="95" y="297"/>
                  </a:lnTo>
                  <a:lnTo>
                    <a:pt x="97" y="296"/>
                  </a:lnTo>
                  <a:lnTo>
                    <a:pt x="99" y="295"/>
                  </a:lnTo>
                  <a:lnTo>
                    <a:pt x="99" y="295"/>
                  </a:lnTo>
                  <a:lnTo>
                    <a:pt x="101" y="294"/>
                  </a:lnTo>
                  <a:lnTo>
                    <a:pt x="102" y="292"/>
                  </a:lnTo>
                  <a:lnTo>
                    <a:pt x="104" y="289"/>
                  </a:lnTo>
                  <a:lnTo>
                    <a:pt x="219" y="30"/>
                  </a:lnTo>
                  <a:lnTo>
                    <a:pt x="290" y="30"/>
                  </a:lnTo>
                  <a:lnTo>
                    <a:pt x="151" y="322"/>
                  </a:lnTo>
                  <a:lnTo>
                    <a:pt x="150" y="325"/>
                  </a:lnTo>
                  <a:lnTo>
                    <a:pt x="150" y="328"/>
                  </a:lnTo>
                  <a:lnTo>
                    <a:pt x="150" y="330"/>
                  </a:lnTo>
                  <a:lnTo>
                    <a:pt x="150" y="333"/>
                  </a:lnTo>
                  <a:lnTo>
                    <a:pt x="152" y="335"/>
                  </a:lnTo>
                  <a:lnTo>
                    <a:pt x="153" y="339"/>
                  </a:lnTo>
                  <a:lnTo>
                    <a:pt x="155" y="340"/>
                  </a:lnTo>
                  <a:lnTo>
                    <a:pt x="158" y="342"/>
                  </a:lnTo>
                  <a:lnTo>
                    <a:pt x="161" y="343"/>
                  </a:lnTo>
                  <a:lnTo>
                    <a:pt x="165" y="343"/>
                  </a:lnTo>
                  <a:lnTo>
                    <a:pt x="168" y="343"/>
                  </a:lnTo>
                  <a:lnTo>
                    <a:pt x="172" y="341"/>
                  </a:lnTo>
                  <a:lnTo>
                    <a:pt x="175" y="339"/>
                  </a:lnTo>
                  <a:lnTo>
                    <a:pt x="178" y="334"/>
                  </a:lnTo>
                  <a:lnTo>
                    <a:pt x="327" y="21"/>
                  </a:lnTo>
                  <a:lnTo>
                    <a:pt x="328" y="17"/>
                  </a:lnTo>
                  <a:lnTo>
                    <a:pt x="328" y="14"/>
                  </a:lnTo>
                  <a:lnTo>
                    <a:pt x="328" y="9"/>
                  </a:lnTo>
                  <a:lnTo>
                    <a:pt x="326"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88" name="Freeform 313">
              <a:extLst>
                <a:ext uri="{FF2B5EF4-FFF2-40B4-BE49-F238E27FC236}">
                  <a16:creationId xmlns:a16="http://schemas.microsoft.com/office/drawing/2014/main" id="{982EAF8A-1672-4C34-9827-6E84E4A825BF}"/>
                </a:ext>
              </a:extLst>
            </p:cNvPr>
            <p:cNvSpPr>
              <a:spLocks/>
            </p:cNvSpPr>
            <p:nvPr/>
          </p:nvSpPr>
          <p:spPr bwMode="auto">
            <a:xfrm>
              <a:off x="7620000" y="1919288"/>
              <a:ext cx="104775" cy="109537"/>
            </a:xfrm>
            <a:custGeom>
              <a:avLst/>
              <a:gdLst>
                <a:gd name="T0" fmla="*/ 167 w 328"/>
                <a:gd name="T1" fmla="*/ 343 h 343"/>
                <a:gd name="T2" fmla="*/ 173 w 328"/>
                <a:gd name="T3" fmla="*/ 340 h 343"/>
                <a:gd name="T4" fmla="*/ 177 w 328"/>
                <a:gd name="T5" fmla="*/ 335 h 343"/>
                <a:gd name="T6" fmla="*/ 179 w 328"/>
                <a:gd name="T7" fmla="*/ 330 h 343"/>
                <a:gd name="T8" fmla="*/ 179 w 328"/>
                <a:gd name="T9" fmla="*/ 325 h 343"/>
                <a:gd name="T10" fmla="*/ 39 w 328"/>
                <a:gd name="T11" fmla="*/ 30 h 343"/>
                <a:gd name="T12" fmla="*/ 225 w 328"/>
                <a:gd name="T13" fmla="*/ 289 h 343"/>
                <a:gd name="T14" fmla="*/ 228 w 328"/>
                <a:gd name="T15" fmla="*/ 294 h 343"/>
                <a:gd name="T16" fmla="*/ 229 w 328"/>
                <a:gd name="T17" fmla="*/ 295 h 343"/>
                <a:gd name="T18" fmla="*/ 232 w 328"/>
                <a:gd name="T19" fmla="*/ 297 h 343"/>
                <a:gd name="T20" fmla="*/ 234 w 328"/>
                <a:gd name="T21" fmla="*/ 298 h 343"/>
                <a:gd name="T22" fmla="*/ 239 w 328"/>
                <a:gd name="T23" fmla="*/ 298 h 343"/>
                <a:gd name="T24" fmla="*/ 239 w 328"/>
                <a:gd name="T25" fmla="*/ 298 h 343"/>
                <a:gd name="T26" fmla="*/ 245 w 328"/>
                <a:gd name="T27" fmla="*/ 297 h 343"/>
                <a:gd name="T28" fmla="*/ 249 w 328"/>
                <a:gd name="T29" fmla="*/ 294 h 343"/>
                <a:gd name="T30" fmla="*/ 252 w 328"/>
                <a:gd name="T31" fmla="*/ 288 h 343"/>
                <a:gd name="T32" fmla="*/ 254 w 328"/>
                <a:gd name="T33" fmla="*/ 283 h 343"/>
                <a:gd name="T34" fmla="*/ 252 w 328"/>
                <a:gd name="T35" fmla="*/ 278 h 343"/>
                <a:gd name="T36" fmla="*/ 199 w 328"/>
                <a:gd name="T37" fmla="*/ 30 h 343"/>
                <a:gd name="T38" fmla="*/ 302 w 328"/>
                <a:gd name="T39" fmla="*/ 248 h 343"/>
                <a:gd name="T40" fmla="*/ 306 w 328"/>
                <a:gd name="T41" fmla="*/ 251 h 343"/>
                <a:gd name="T42" fmla="*/ 311 w 328"/>
                <a:gd name="T43" fmla="*/ 253 h 343"/>
                <a:gd name="T44" fmla="*/ 317 w 328"/>
                <a:gd name="T45" fmla="*/ 253 h 343"/>
                <a:gd name="T46" fmla="*/ 323 w 328"/>
                <a:gd name="T47" fmla="*/ 251 h 343"/>
                <a:gd name="T48" fmla="*/ 326 w 328"/>
                <a:gd name="T49" fmla="*/ 247 h 343"/>
                <a:gd name="T50" fmla="*/ 328 w 328"/>
                <a:gd name="T51" fmla="*/ 241 h 343"/>
                <a:gd name="T52" fmla="*/ 328 w 328"/>
                <a:gd name="T53" fmla="*/ 235 h 343"/>
                <a:gd name="T54" fmla="*/ 223 w 328"/>
                <a:gd name="T55" fmla="*/ 8 h 343"/>
                <a:gd name="T56" fmla="*/ 217 w 328"/>
                <a:gd name="T57" fmla="*/ 2 h 343"/>
                <a:gd name="T58" fmla="*/ 209 w 328"/>
                <a:gd name="T59" fmla="*/ 0 h 343"/>
                <a:gd name="T60" fmla="*/ 15 w 328"/>
                <a:gd name="T61" fmla="*/ 0 h 343"/>
                <a:gd name="T62" fmla="*/ 8 w 328"/>
                <a:gd name="T63" fmla="*/ 1 h 343"/>
                <a:gd name="T64" fmla="*/ 2 w 328"/>
                <a:gd name="T65" fmla="*/ 6 h 343"/>
                <a:gd name="T66" fmla="*/ 0 w 328"/>
                <a:gd name="T67" fmla="*/ 14 h 343"/>
                <a:gd name="T68" fmla="*/ 1 w 328"/>
                <a:gd name="T69" fmla="*/ 21 h 343"/>
                <a:gd name="T70" fmla="*/ 153 w 328"/>
                <a:gd name="T71" fmla="*/ 339 h 343"/>
                <a:gd name="T72" fmla="*/ 161 w 328"/>
                <a:gd name="T73" fmla="*/ 343 h 343"/>
                <a:gd name="T74" fmla="*/ 164 w 328"/>
                <a:gd name="T75"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43">
                  <a:moveTo>
                    <a:pt x="164" y="343"/>
                  </a:moveTo>
                  <a:lnTo>
                    <a:pt x="167" y="343"/>
                  </a:lnTo>
                  <a:lnTo>
                    <a:pt x="170" y="342"/>
                  </a:lnTo>
                  <a:lnTo>
                    <a:pt x="173" y="340"/>
                  </a:lnTo>
                  <a:lnTo>
                    <a:pt x="175" y="339"/>
                  </a:lnTo>
                  <a:lnTo>
                    <a:pt x="177" y="335"/>
                  </a:lnTo>
                  <a:lnTo>
                    <a:pt x="179" y="333"/>
                  </a:lnTo>
                  <a:lnTo>
                    <a:pt x="179" y="330"/>
                  </a:lnTo>
                  <a:lnTo>
                    <a:pt x="179" y="328"/>
                  </a:lnTo>
                  <a:lnTo>
                    <a:pt x="179" y="325"/>
                  </a:lnTo>
                  <a:lnTo>
                    <a:pt x="178" y="322"/>
                  </a:lnTo>
                  <a:lnTo>
                    <a:pt x="39" y="30"/>
                  </a:lnTo>
                  <a:lnTo>
                    <a:pt x="109" y="30"/>
                  </a:lnTo>
                  <a:lnTo>
                    <a:pt x="225" y="289"/>
                  </a:lnTo>
                  <a:lnTo>
                    <a:pt x="227" y="292"/>
                  </a:lnTo>
                  <a:lnTo>
                    <a:pt x="228" y="294"/>
                  </a:lnTo>
                  <a:lnTo>
                    <a:pt x="229" y="295"/>
                  </a:lnTo>
                  <a:lnTo>
                    <a:pt x="229" y="295"/>
                  </a:lnTo>
                  <a:lnTo>
                    <a:pt x="231" y="296"/>
                  </a:lnTo>
                  <a:lnTo>
                    <a:pt x="232" y="297"/>
                  </a:lnTo>
                  <a:lnTo>
                    <a:pt x="233" y="297"/>
                  </a:lnTo>
                  <a:lnTo>
                    <a:pt x="234" y="298"/>
                  </a:lnTo>
                  <a:lnTo>
                    <a:pt x="236" y="298"/>
                  </a:lnTo>
                  <a:lnTo>
                    <a:pt x="239" y="298"/>
                  </a:lnTo>
                  <a:lnTo>
                    <a:pt x="239" y="298"/>
                  </a:lnTo>
                  <a:lnTo>
                    <a:pt x="239" y="298"/>
                  </a:lnTo>
                  <a:lnTo>
                    <a:pt x="242" y="298"/>
                  </a:lnTo>
                  <a:lnTo>
                    <a:pt x="245" y="297"/>
                  </a:lnTo>
                  <a:lnTo>
                    <a:pt x="247" y="296"/>
                  </a:lnTo>
                  <a:lnTo>
                    <a:pt x="249" y="294"/>
                  </a:lnTo>
                  <a:lnTo>
                    <a:pt x="251" y="292"/>
                  </a:lnTo>
                  <a:lnTo>
                    <a:pt x="252" y="288"/>
                  </a:lnTo>
                  <a:lnTo>
                    <a:pt x="254" y="286"/>
                  </a:lnTo>
                  <a:lnTo>
                    <a:pt x="254" y="283"/>
                  </a:lnTo>
                  <a:lnTo>
                    <a:pt x="254" y="280"/>
                  </a:lnTo>
                  <a:lnTo>
                    <a:pt x="252" y="278"/>
                  </a:lnTo>
                  <a:lnTo>
                    <a:pt x="142" y="30"/>
                  </a:lnTo>
                  <a:lnTo>
                    <a:pt x="199" y="30"/>
                  </a:lnTo>
                  <a:lnTo>
                    <a:pt x="300" y="245"/>
                  </a:lnTo>
                  <a:lnTo>
                    <a:pt x="302" y="248"/>
                  </a:lnTo>
                  <a:lnTo>
                    <a:pt x="304" y="250"/>
                  </a:lnTo>
                  <a:lnTo>
                    <a:pt x="306" y="251"/>
                  </a:lnTo>
                  <a:lnTo>
                    <a:pt x="308" y="252"/>
                  </a:lnTo>
                  <a:lnTo>
                    <a:pt x="311" y="253"/>
                  </a:lnTo>
                  <a:lnTo>
                    <a:pt x="314" y="253"/>
                  </a:lnTo>
                  <a:lnTo>
                    <a:pt x="317" y="253"/>
                  </a:lnTo>
                  <a:lnTo>
                    <a:pt x="320" y="252"/>
                  </a:lnTo>
                  <a:lnTo>
                    <a:pt x="323" y="251"/>
                  </a:lnTo>
                  <a:lnTo>
                    <a:pt x="325" y="249"/>
                  </a:lnTo>
                  <a:lnTo>
                    <a:pt x="326" y="247"/>
                  </a:lnTo>
                  <a:lnTo>
                    <a:pt x="327" y="243"/>
                  </a:lnTo>
                  <a:lnTo>
                    <a:pt x="328" y="241"/>
                  </a:lnTo>
                  <a:lnTo>
                    <a:pt x="328" y="238"/>
                  </a:lnTo>
                  <a:lnTo>
                    <a:pt x="328" y="235"/>
                  </a:lnTo>
                  <a:lnTo>
                    <a:pt x="327" y="233"/>
                  </a:lnTo>
                  <a:lnTo>
                    <a:pt x="223" y="8"/>
                  </a:lnTo>
                  <a:lnTo>
                    <a:pt x="220" y="4"/>
                  </a:lnTo>
                  <a:lnTo>
                    <a:pt x="217" y="2"/>
                  </a:lnTo>
                  <a:lnTo>
                    <a:pt x="213" y="0"/>
                  </a:lnTo>
                  <a:lnTo>
                    <a:pt x="209" y="0"/>
                  </a:lnTo>
                  <a:lnTo>
                    <a:pt x="119" y="0"/>
                  </a:lnTo>
                  <a:lnTo>
                    <a:pt x="15" y="0"/>
                  </a:lnTo>
                  <a:lnTo>
                    <a:pt x="11" y="0"/>
                  </a:lnTo>
                  <a:lnTo>
                    <a:pt x="8" y="1"/>
                  </a:lnTo>
                  <a:lnTo>
                    <a:pt x="4" y="3"/>
                  </a:lnTo>
                  <a:lnTo>
                    <a:pt x="2" y="6"/>
                  </a:lnTo>
                  <a:lnTo>
                    <a:pt x="0" y="9"/>
                  </a:lnTo>
                  <a:lnTo>
                    <a:pt x="0" y="14"/>
                  </a:lnTo>
                  <a:lnTo>
                    <a:pt x="0" y="17"/>
                  </a:lnTo>
                  <a:lnTo>
                    <a:pt x="1" y="21"/>
                  </a:lnTo>
                  <a:lnTo>
                    <a:pt x="151" y="334"/>
                  </a:lnTo>
                  <a:lnTo>
                    <a:pt x="153" y="339"/>
                  </a:lnTo>
                  <a:lnTo>
                    <a:pt x="156" y="341"/>
                  </a:lnTo>
                  <a:lnTo>
                    <a:pt x="161" y="343"/>
                  </a:lnTo>
                  <a:lnTo>
                    <a:pt x="164" y="343"/>
                  </a:lnTo>
                  <a:lnTo>
                    <a:pt x="164" y="3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949" name="Group 26">
            <a:extLst>
              <a:ext uri="{FF2B5EF4-FFF2-40B4-BE49-F238E27FC236}">
                <a16:creationId xmlns:a16="http://schemas.microsoft.com/office/drawing/2014/main" id="{9D9C20FB-740B-4034-8EE7-658081493E70}"/>
              </a:ext>
            </a:extLst>
          </p:cNvPr>
          <p:cNvGrpSpPr>
            <a:grpSpLocks noChangeAspect="1"/>
          </p:cNvGrpSpPr>
          <p:nvPr/>
        </p:nvGrpSpPr>
        <p:grpSpPr>
          <a:xfrm>
            <a:off x="4049239" y="3263433"/>
            <a:ext cx="285619" cy="285619"/>
            <a:chOff x="6777037" y="2907505"/>
            <a:chExt cx="258763" cy="258763"/>
          </a:xfrm>
          <a:solidFill>
            <a:schemeClr val="bg1"/>
          </a:solidFill>
        </p:grpSpPr>
        <p:grpSp>
          <p:nvGrpSpPr>
            <p:cNvPr id="950" name="Group 53">
              <a:extLst>
                <a:ext uri="{FF2B5EF4-FFF2-40B4-BE49-F238E27FC236}">
                  <a16:creationId xmlns:a16="http://schemas.microsoft.com/office/drawing/2014/main" id="{96DFF3B4-B849-407A-A47B-5E666E6B9FDF}"/>
                </a:ext>
              </a:extLst>
            </p:cNvPr>
            <p:cNvGrpSpPr/>
            <p:nvPr/>
          </p:nvGrpSpPr>
          <p:grpSpPr>
            <a:xfrm>
              <a:off x="6777037" y="2907505"/>
              <a:ext cx="258763" cy="258763"/>
              <a:chOff x="11045825" y="2247900"/>
              <a:chExt cx="258763" cy="258763"/>
            </a:xfrm>
            <a:grpFill/>
          </p:grpSpPr>
          <p:sp>
            <p:nvSpPr>
              <p:cNvPr id="954" name="Freeform 207">
                <a:extLst>
                  <a:ext uri="{FF2B5EF4-FFF2-40B4-BE49-F238E27FC236}">
                    <a16:creationId xmlns:a16="http://schemas.microsoft.com/office/drawing/2014/main" id="{8AF6218F-B77A-4BA5-A1AA-059A86567C9A}"/>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5" name="Freeform 208">
                <a:extLst>
                  <a:ext uri="{FF2B5EF4-FFF2-40B4-BE49-F238E27FC236}">
                    <a16:creationId xmlns:a16="http://schemas.microsoft.com/office/drawing/2014/main" id="{2B2BAFAA-3860-4D67-A28D-8EAF8B509C43}"/>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6" name="Freeform 209">
                <a:extLst>
                  <a:ext uri="{FF2B5EF4-FFF2-40B4-BE49-F238E27FC236}">
                    <a16:creationId xmlns:a16="http://schemas.microsoft.com/office/drawing/2014/main" id="{EA749520-1AE6-4CF6-957E-D4DCF8520A9E}"/>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7" name="Freeform 210">
                <a:extLst>
                  <a:ext uri="{FF2B5EF4-FFF2-40B4-BE49-F238E27FC236}">
                    <a16:creationId xmlns:a16="http://schemas.microsoft.com/office/drawing/2014/main" id="{A5501570-974E-4586-8F8D-38E8928351C2}"/>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8" name="Freeform 211">
                <a:extLst>
                  <a:ext uri="{FF2B5EF4-FFF2-40B4-BE49-F238E27FC236}">
                    <a16:creationId xmlns:a16="http://schemas.microsoft.com/office/drawing/2014/main" id="{56906EF9-9A30-4912-A343-18EC0DE56999}"/>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9" name="Freeform 212">
                <a:extLst>
                  <a:ext uri="{FF2B5EF4-FFF2-40B4-BE49-F238E27FC236}">
                    <a16:creationId xmlns:a16="http://schemas.microsoft.com/office/drawing/2014/main" id="{B70532CC-0721-4FE1-938A-687756864F66}"/>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0" name="Freeform 213">
                <a:extLst>
                  <a:ext uri="{FF2B5EF4-FFF2-40B4-BE49-F238E27FC236}">
                    <a16:creationId xmlns:a16="http://schemas.microsoft.com/office/drawing/2014/main" id="{B14B7B0B-E233-4E43-8BA7-DE3B954A1EBF}"/>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1" name="Freeform 214">
                <a:extLst>
                  <a:ext uri="{FF2B5EF4-FFF2-40B4-BE49-F238E27FC236}">
                    <a16:creationId xmlns:a16="http://schemas.microsoft.com/office/drawing/2014/main" id="{4598DCF4-F7D3-4201-BC3C-7B59B65C52D0}"/>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51" name="Group 25">
              <a:extLst>
                <a:ext uri="{FF2B5EF4-FFF2-40B4-BE49-F238E27FC236}">
                  <a16:creationId xmlns:a16="http://schemas.microsoft.com/office/drawing/2014/main" id="{AFC80343-A80D-4E47-A0D5-3ACD75EFFFB8}"/>
                </a:ext>
              </a:extLst>
            </p:cNvPr>
            <p:cNvGrpSpPr/>
            <p:nvPr/>
          </p:nvGrpSpPr>
          <p:grpSpPr>
            <a:xfrm>
              <a:off x="6853236" y="2977258"/>
              <a:ext cx="106364" cy="109126"/>
              <a:chOff x="6960229" y="3672598"/>
              <a:chExt cx="115094" cy="118084"/>
            </a:xfrm>
            <a:grpFill/>
          </p:grpSpPr>
          <p:sp>
            <p:nvSpPr>
              <p:cNvPr id="952" name="Freeform 62">
                <a:extLst>
                  <a:ext uri="{FF2B5EF4-FFF2-40B4-BE49-F238E27FC236}">
                    <a16:creationId xmlns:a16="http://schemas.microsoft.com/office/drawing/2014/main" id="{E1423251-6804-4574-8A93-8B15E0B5DAFA}"/>
                  </a:ext>
                </a:extLst>
              </p:cNvPr>
              <p:cNvSpPr>
                <a:spLocks noEditPoints="1"/>
              </p:cNvSpPr>
              <p:nvPr/>
            </p:nvSpPr>
            <p:spPr bwMode="auto">
              <a:xfrm>
                <a:off x="6994607" y="3708471"/>
                <a:ext cx="46337" cy="44842"/>
              </a:xfrm>
              <a:custGeom>
                <a:avLst/>
                <a:gdLst>
                  <a:gd name="T0" fmla="*/ 54 w 122"/>
                  <a:gd name="T1" fmla="*/ 96 h 121"/>
                  <a:gd name="T2" fmla="*/ 41 w 122"/>
                  <a:gd name="T3" fmla="*/ 90 h 121"/>
                  <a:gd name="T4" fmla="*/ 31 w 122"/>
                  <a:gd name="T5" fmla="*/ 81 h 121"/>
                  <a:gd name="T6" fmla="*/ 26 w 122"/>
                  <a:gd name="T7" fmla="*/ 68 h 121"/>
                  <a:gd name="T8" fmla="*/ 26 w 122"/>
                  <a:gd name="T9" fmla="*/ 54 h 121"/>
                  <a:gd name="T10" fmla="*/ 31 w 122"/>
                  <a:gd name="T11" fmla="*/ 41 h 121"/>
                  <a:gd name="T12" fmla="*/ 41 w 122"/>
                  <a:gd name="T13" fmla="*/ 31 h 121"/>
                  <a:gd name="T14" fmla="*/ 54 w 122"/>
                  <a:gd name="T15" fmla="*/ 26 h 121"/>
                  <a:gd name="T16" fmla="*/ 68 w 122"/>
                  <a:gd name="T17" fmla="*/ 26 h 121"/>
                  <a:gd name="T18" fmla="*/ 81 w 122"/>
                  <a:gd name="T19" fmla="*/ 31 h 121"/>
                  <a:gd name="T20" fmla="*/ 90 w 122"/>
                  <a:gd name="T21" fmla="*/ 41 h 121"/>
                  <a:gd name="T22" fmla="*/ 96 w 122"/>
                  <a:gd name="T23" fmla="*/ 54 h 121"/>
                  <a:gd name="T24" fmla="*/ 96 w 122"/>
                  <a:gd name="T25" fmla="*/ 68 h 121"/>
                  <a:gd name="T26" fmla="*/ 90 w 122"/>
                  <a:gd name="T27" fmla="*/ 81 h 121"/>
                  <a:gd name="T28" fmla="*/ 81 w 122"/>
                  <a:gd name="T29" fmla="*/ 90 h 121"/>
                  <a:gd name="T30" fmla="*/ 68 w 122"/>
                  <a:gd name="T31" fmla="*/ 96 h 121"/>
                  <a:gd name="T32" fmla="*/ 61 w 122"/>
                  <a:gd name="T33" fmla="*/ 0 h 121"/>
                  <a:gd name="T34" fmla="*/ 49 w 122"/>
                  <a:gd name="T35" fmla="*/ 1 h 121"/>
                  <a:gd name="T36" fmla="*/ 38 w 122"/>
                  <a:gd name="T37" fmla="*/ 4 h 121"/>
                  <a:gd name="T38" fmla="*/ 27 w 122"/>
                  <a:gd name="T39" fmla="*/ 11 h 121"/>
                  <a:gd name="T40" fmla="*/ 19 w 122"/>
                  <a:gd name="T41" fmla="*/ 18 h 121"/>
                  <a:gd name="T42" fmla="*/ 11 w 122"/>
                  <a:gd name="T43" fmla="*/ 27 h 121"/>
                  <a:gd name="T44" fmla="*/ 5 w 122"/>
                  <a:gd name="T45" fmla="*/ 38 h 121"/>
                  <a:gd name="T46" fmla="*/ 1 w 122"/>
                  <a:gd name="T47" fmla="*/ 48 h 121"/>
                  <a:gd name="T48" fmla="*/ 0 w 122"/>
                  <a:gd name="T49" fmla="*/ 61 h 121"/>
                  <a:gd name="T50" fmla="*/ 1 w 122"/>
                  <a:gd name="T51" fmla="*/ 73 h 121"/>
                  <a:gd name="T52" fmla="*/ 5 w 122"/>
                  <a:gd name="T53" fmla="*/ 85 h 121"/>
                  <a:gd name="T54" fmla="*/ 11 w 122"/>
                  <a:gd name="T55" fmla="*/ 96 h 121"/>
                  <a:gd name="T56" fmla="*/ 19 w 122"/>
                  <a:gd name="T57" fmla="*/ 104 h 121"/>
                  <a:gd name="T58" fmla="*/ 27 w 122"/>
                  <a:gd name="T59" fmla="*/ 112 h 121"/>
                  <a:gd name="T60" fmla="*/ 38 w 122"/>
                  <a:gd name="T61" fmla="*/ 117 h 121"/>
                  <a:gd name="T62" fmla="*/ 49 w 122"/>
                  <a:gd name="T63" fmla="*/ 120 h 121"/>
                  <a:gd name="T64" fmla="*/ 61 w 122"/>
                  <a:gd name="T65" fmla="*/ 121 h 121"/>
                  <a:gd name="T66" fmla="*/ 73 w 122"/>
                  <a:gd name="T67" fmla="*/ 120 h 121"/>
                  <a:gd name="T68" fmla="*/ 85 w 122"/>
                  <a:gd name="T69" fmla="*/ 117 h 121"/>
                  <a:gd name="T70" fmla="*/ 95 w 122"/>
                  <a:gd name="T71" fmla="*/ 112 h 121"/>
                  <a:gd name="T72" fmla="*/ 104 w 122"/>
                  <a:gd name="T73" fmla="*/ 104 h 121"/>
                  <a:gd name="T74" fmla="*/ 112 w 122"/>
                  <a:gd name="T75" fmla="*/ 96 h 121"/>
                  <a:gd name="T76" fmla="*/ 117 w 122"/>
                  <a:gd name="T77" fmla="*/ 85 h 121"/>
                  <a:gd name="T78" fmla="*/ 121 w 122"/>
                  <a:gd name="T79" fmla="*/ 73 h 121"/>
                  <a:gd name="T80" fmla="*/ 122 w 122"/>
                  <a:gd name="T81" fmla="*/ 61 h 121"/>
                  <a:gd name="T82" fmla="*/ 121 w 122"/>
                  <a:gd name="T83" fmla="*/ 48 h 121"/>
                  <a:gd name="T84" fmla="*/ 117 w 122"/>
                  <a:gd name="T85" fmla="*/ 38 h 121"/>
                  <a:gd name="T86" fmla="*/ 112 w 122"/>
                  <a:gd name="T87" fmla="*/ 27 h 121"/>
                  <a:gd name="T88" fmla="*/ 104 w 122"/>
                  <a:gd name="T89" fmla="*/ 18 h 121"/>
                  <a:gd name="T90" fmla="*/ 95 w 122"/>
                  <a:gd name="T91" fmla="*/ 11 h 121"/>
                  <a:gd name="T92" fmla="*/ 85 w 122"/>
                  <a:gd name="T93" fmla="*/ 4 h 121"/>
                  <a:gd name="T94" fmla="*/ 73 w 122"/>
                  <a:gd name="T95" fmla="*/ 1 h 121"/>
                  <a:gd name="T96" fmla="*/ 61 w 122"/>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1">
                    <a:moveTo>
                      <a:pt x="61" y="97"/>
                    </a:moveTo>
                    <a:lnTo>
                      <a:pt x="54" y="96"/>
                    </a:lnTo>
                    <a:lnTo>
                      <a:pt x="47" y="93"/>
                    </a:lnTo>
                    <a:lnTo>
                      <a:pt x="41" y="90"/>
                    </a:lnTo>
                    <a:lnTo>
                      <a:pt x="36" y="86"/>
                    </a:lnTo>
                    <a:lnTo>
                      <a:pt x="31" y="81"/>
                    </a:lnTo>
                    <a:lnTo>
                      <a:pt x="28" y="75"/>
                    </a:lnTo>
                    <a:lnTo>
                      <a:pt x="26" y="68"/>
                    </a:lnTo>
                    <a:lnTo>
                      <a:pt x="26" y="61"/>
                    </a:lnTo>
                    <a:lnTo>
                      <a:pt x="26" y="54"/>
                    </a:lnTo>
                    <a:lnTo>
                      <a:pt x="28" y="47"/>
                    </a:lnTo>
                    <a:lnTo>
                      <a:pt x="31" y="41"/>
                    </a:lnTo>
                    <a:lnTo>
                      <a:pt x="36" y="35"/>
                    </a:lnTo>
                    <a:lnTo>
                      <a:pt x="41" y="31"/>
                    </a:lnTo>
                    <a:lnTo>
                      <a:pt x="47" y="28"/>
                    </a:lnTo>
                    <a:lnTo>
                      <a:pt x="54" y="26"/>
                    </a:lnTo>
                    <a:lnTo>
                      <a:pt x="61" y="25"/>
                    </a:lnTo>
                    <a:lnTo>
                      <a:pt x="68" y="26"/>
                    </a:lnTo>
                    <a:lnTo>
                      <a:pt x="75" y="28"/>
                    </a:lnTo>
                    <a:lnTo>
                      <a:pt x="81" y="31"/>
                    </a:lnTo>
                    <a:lnTo>
                      <a:pt x="86" y="35"/>
                    </a:lnTo>
                    <a:lnTo>
                      <a:pt x="90" y="41"/>
                    </a:lnTo>
                    <a:lnTo>
                      <a:pt x="94" y="47"/>
                    </a:lnTo>
                    <a:lnTo>
                      <a:pt x="96" y="54"/>
                    </a:lnTo>
                    <a:lnTo>
                      <a:pt x="97" y="61"/>
                    </a:lnTo>
                    <a:lnTo>
                      <a:pt x="96" y="68"/>
                    </a:lnTo>
                    <a:lnTo>
                      <a:pt x="94" y="75"/>
                    </a:lnTo>
                    <a:lnTo>
                      <a:pt x="90" y="81"/>
                    </a:lnTo>
                    <a:lnTo>
                      <a:pt x="86" y="86"/>
                    </a:lnTo>
                    <a:lnTo>
                      <a:pt x="81" y="90"/>
                    </a:lnTo>
                    <a:lnTo>
                      <a:pt x="75" y="93"/>
                    </a:lnTo>
                    <a:lnTo>
                      <a:pt x="68" y="96"/>
                    </a:lnTo>
                    <a:lnTo>
                      <a:pt x="61" y="97"/>
                    </a:lnTo>
                    <a:close/>
                    <a:moveTo>
                      <a:pt x="61" y="0"/>
                    </a:moveTo>
                    <a:lnTo>
                      <a:pt x="55" y="0"/>
                    </a:lnTo>
                    <a:lnTo>
                      <a:pt x="49" y="1"/>
                    </a:lnTo>
                    <a:lnTo>
                      <a:pt x="43" y="2"/>
                    </a:lnTo>
                    <a:lnTo>
                      <a:pt x="38" y="4"/>
                    </a:lnTo>
                    <a:lnTo>
                      <a:pt x="32" y="8"/>
                    </a:lnTo>
                    <a:lnTo>
                      <a:pt x="27" y="11"/>
                    </a:lnTo>
                    <a:lnTo>
                      <a:pt x="23" y="14"/>
                    </a:lnTo>
                    <a:lnTo>
                      <a:pt x="19" y="18"/>
                    </a:lnTo>
                    <a:lnTo>
                      <a:pt x="14" y="23"/>
                    </a:lnTo>
                    <a:lnTo>
                      <a:pt x="11" y="27"/>
                    </a:lnTo>
                    <a:lnTo>
                      <a:pt x="8" y="32"/>
                    </a:lnTo>
                    <a:lnTo>
                      <a:pt x="5" y="38"/>
                    </a:lnTo>
                    <a:lnTo>
                      <a:pt x="3" y="43"/>
                    </a:lnTo>
                    <a:lnTo>
                      <a:pt x="1" y="48"/>
                    </a:lnTo>
                    <a:lnTo>
                      <a:pt x="0" y="55"/>
                    </a:lnTo>
                    <a:lnTo>
                      <a:pt x="0" y="61"/>
                    </a:lnTo>
                    <a:lnTo>
                      <a:pt x="0" y="67"/>
                    </a:lnTo>
                    <a:lnTo>
                      <a:pt x="1" y="73"/>
                    </a:lnTo>
                    <a:lnTo>
                      <a:pt x="3" y="79"/>
                    </a:lnTo>
                    <a:lnTo>
                      <a:pt x="5" y="85"/>
                    </a:lnTo>
                    <a:lnTo>
                      <a:pt x="8" y="90"/>
                    </a:lnTo>
                    <a:lnTo>
                      <a:pt x="11" y="96"/>
                    </a:lnTo>
                    <a:lnTo>
                      <a:pt x="14" y="100"/>
                    </a:lnTo>
                    <a:lnTo>
                      <a:pt x="19" y="104"/>
                    </a:lnTo>
                    <a:lnTo>
                      <a:pt x="23" y="108"/>
                    </a:lnTo>
                    <a:lnTo>
                      <a:pt x="27" y="112"/>
                    </a:lnTo>
                    <a:lnTo>
                      <a:pt x="32" y="115"/>
                    </a:lnTo>
                    <a:lnTo>
                      <a:pt x="38" y="117"/>
                    </a:lnTo>
                    <a:lnTo>
                      <a:pt x="43" y="119"/>
                    </a:lnTo>
                    <a:lnTo>
                      <a:pt x="49" y="120"/>
                    </a:lnTo>
                    <a:lnTo>
                      <a:pt x="55" y="121"/>
                    </a:lnTo>
                    <a:lnTo>
                      <a:pt x="61" y="121"/>
                    </a:lnTo>
                    <a:lnTo>
                      <a:pt x="68" y="121"/>
                    </a:lnTo>
                    <a:lnTo>
                      <a:pt x="73" y="120"/>
                    </a:lnTo>
                    <a:lnTo>
                      <a:pt x="80" y="119"/>
                    </a:lnTo>
                    <a:lnTo>
                      <a:pt x="85" y="117"/>
                    </a:lnTo>
                    <a:lnTo>
                      <a:pt x="90" y="115"/>
                    </a:lnTo>
                    <a:lnTo>
                      <a:pt x="95" y="112"/>
                    </a:lnTo>
                    <a:lnTo>
                      <a:pt x="100" y="108"/>
                    </a:lnTo>
                    <a:lnTo>
                      <a:pt x="104" y="104"/>
                    </a:lnTo>
                    <a:lnTo>
                      <a:pt x="108" y="100"/>
                    </a:lnTo>
                    <a:lnTo>
                      <a:pt x="112" y="96"/>
                    </a:lnTo>
                    <a:lnTo>
                      <a:pt x="115" y="90"/>
                    </a:lnTo>
                    <a:lnTo>
                      <a:pt x="117" y="85"/>
                    </a:lnTo>
                    <a:lnTo>
                      <a:pt x="119" y="79"/>
                    </a:lnTo>
                    <a:lnTo>
                      <a:pt x="121" y="73"/>
                    </a:lnTo>
                    <a:lnTo>
                      <a:pt x="122" y="67"/>
                    </a:lnTo>
                    <a:lnTo>
                      <a:pt x="122" y="61"/>
                    </a:lnTo>
                    <a:lnTo>
                      <a:pt x="122" y="55"/>
                    </a:lnTo>
                    <a:lnTo>
                      <a:pt x="121" y="48"/>
                    </a:lnTo>
                    <a:lnTo>
                      <a:pt x="119" y="43"/>
                    </a:lnTo>
                    <a:lnTo>
                      <a:pt x="117" y="38"/>
                    </a:lnTo>
                    <a:lnTo>
                      <a:pt x="115" y="32"/>
                    </a:lnTo>
                    <a:lnTo>
                      <a:pt x="112" y="27"/>
                    </a:lnTo>
                    <a:lnTo>
                      <a:pt x="108" y="23"/>
                    </a:lnTo>
                    <a:lnTo>
                      <a:pt x="104" y="18"/>
                    </a:lnTo>
                    <a:lnTo>
                      <a:pt x="100" y="14"/>
                    </a:lnTo>
                    <a:lnTo>
                      <a:pt x="95" y="11"/>
                    </a:lnTo>
                    <a:lnTo>
                      <a:pt x="90" y="8"/>
                    </a:lnTo>
                    <a:lnTo>
                      <a:pt x="85" y="4"/>
                    </a:lnTo>
                    <a:lnTo>
                      <a:pt x="80" y="2"/>
                    </a:lnTo>
                    <a:lnTo>
                      <a:pt x="73" y="1"/>
                    </a:lnTo>
                    <a:lnTo>
                      <a:pt x="68"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3" name="Freeform 64">
                <a:extLst>
                  <a:ext uri="{FF2B5EF4-FFF2-40B4-BE49-F238E27FC236}">
                    <a16:creationId xmlns:a16="http://schemas.microsoft.com/office/drawing/2014/main" id="{2AE22C67-5994-4A06-A478-F7A3E2B1635E}"/>
                  </a:ext>
                </a:extLst>
              </p:cNvPr>
              <p:cNvSpPr>
                <a:spLocks noEditPoints="1"/>
              </p:cNvSpPr>
              <p:nvPr/>
            </p:nvSpPr>
            <p:spPr bwMode="auto">
              <a:xfrm>
                <a:off x="6960229" y="3672598"/>
                <a:ext cx="115094" cy="118084"/>
              </a:xfrm>
              <a:custGeom>
                <a:avLst/>
                <a:gdLst>
                  <a:gd name="T0" fmla="*/ 235 w 308"/>
                  <a:gd name="T1" fmla="*/ 227 h 315"/>
                  <a:gd name="T2" fmla="*/ 223 w 308"/>
                  <a:gd name="T3" fmla="*/ 229 h 315"/>
                  <a:gd name="T4" fmla="*/ 195 w 308"/>
                  <a:gd name="T5" fmla="*/ 248 h 315"/>
                  <a:gd name="T6" fmla="*/ 178 w 308"/>
                  <a:gd name="T7" fmla="*/ 257 h 315"/>
                  <a:gd name="T8" fmla="*/ 176 w 308"/>
                  <a:gd name="T9" fmla="*/ 289 h 315"/>
                  <a:gd name="T10" fmla="*/ 136 w 308"/>
                  <a:gd name="T11" fmla="*/ 260 h 315"/>
                  <a:gd name="T12" fmla="*/ 129 w 308"/>
                  <a:gd name="T13" fmla="*/ 253 h 315"/>
                  <a:gd name="T14" fmla="*/ 95 w 308"/>
                  <a:gd name="T15" fmla="*/ 237 h 315"/>
                  <a:gd name="T16" fmla="*/ 79 w 308"/>
                  <a:gd name="T17" fmla="*/ 226 h 315"/>
                  <a:gd name="T18" fmla="*/ 50 w 308"/>
                  <a:gd name="T19" fmla="*/ 240 h 315"/>
                  <a:gd name="T20" fmla="*/ 55 w 308"/>
                  <a:gd name="T21" fmla="*/ 192 h 315"/>
                  <a:gd name="T22" fmla="*/ 58 w 308"/>
                  <a:gd name="T23" fmla="*/ 180 h 315"/>
                  <a:gd name="T24" fmla="*/ 56 w 308"/>
                  <a:gd name="T25" fmla="*/ 145 h 315"/>
                  <a:gd name="T26" fmla="*/ 57 w 308"/>
                  <a:gd name="T27" fmla="*/ 126 h 315"/>
                  <a:gd name="T28" fmla="*/ 31 w 308"/>
                  <a:gd name="T29" fmla="*/ 108 h 315"/>
                  <a:gd name="T30" fmla="*/ 76 w 308"/>
                  <a:gd name="T31" fmla="*/ 87 h 315"/>
                  <a:gd name="T32" fmla="*/ 87 w 308"/>
                  <a:gd name="T33" fmla="*/ 84 h 315"/>
                  <a:gd name="T34" fmla="*/ 117 w 308"/>
                  <a:gd name="T35" fmla="*/ 66 h 315"/>
                  <a:gd name="T36" fmla="*/ 135 w 308"/>
                  <a:gd name="T37" fmla="*/ 57 h 315"/>
                  <a:gd name="T38" fmla="*/ 137 w 308"/>
                  <a:gd name="T39" fmla="*/ 25 h 315"/>
                  <a:gd name="T40" fmla="*/ 176 w 308"/>
                  <a:gd name="T41" fmla="*/ 53 h 315"/>
                  <a:gd name="T42" fmla="*/ 185 w 308"/>
                  <a:gd name="T43" fmla="*/ 62 h 315"/>
                  <a:gd name="T44" fmla="*/ 215 w 308"/>
                  <a:gd name="T45" fmla="*/ 77 h 315"/>
                  <a:gd name="T46" fmla="*/ 231 w 308"/>
                  <a:gd name="T47" fmla="*/ 88 h 315"/>
                  <a:gd name="T48" fmla="*/ 259 w 308"/>
                  <a:gd name="T49" fmla="*/ 76 h 315"/>
                  <a:gd name="T50" fmla="*/ 254 w 308"/>
                  <a:gd name="T51" fmla="*/ 123 h 315"/>
                  <a:gd name="T52" fmla="*/ 251 w 308"/>
                  <a:gd name="T53" fmla="*/ 134 h 315"/>
                  <a:gd name="T54" fmla="*/ 253 w 308"/>
                  <a:gd name="T55" fmla="*/ 169 h 315"/>
                  <a:gd name="T56" fmla="*/ 252 w 308"/>
                  <a:gd name="T57" fmla="*/ 188 h 315"/>
                  <a:gd name="T58" fmla="*/ 278 w 308"/>
                  <a:gd name="T59" fmla="*/ 207 h 315"/>
                  <a:gd name="T60" fmla="*/ 278 w 308"/>
                  <a:gd name="T61" fmla="*/ 178 h 315"/>
                  <a:gd name="T62" fmla="*/ 279 w 308"/>
                  <a:gd name="T63" fmla="*/ 148 h 315"/>
                  <a:gd name="T64" fmla="*/ 304 w 308"/>
                  <a:gd name="T65" fmla="*/ 123 h 315"/>
                  <a:gd name="T66" fmla="*/ 308 w 308"/>
                  <a:gd name="T67" fmla="*/ 116 h 315"/>
                  <a:gd name="T68" fmla="*/ 275 w 308"/>
                  <a:gd name="T69" fmla="*/ 51 h 315"/>
                  <a:gd name="T70" fmla="*/ 269 w 308"/>
                  <a:gd name="T71" fmla="*/ 46 h 315"/>
                  <a:gd name="T72" fmla="*/ 256 w 308"/>
                  <a:gd name="T73" fmla="*/ 46 h 315"/>
                  <a:gd name="T74" fmla="*/ 218 w 308"/>
                  <a:gd name="T75" fmla="*/ 49 h 315"/>
                  <a:gd name="T76" fmla="*/ 202 w 308"/>
                  <a:gd name="T77" fmla="*/ 13 h 315"/>
                  <a:gd name="T78" fmla="*/ 193 w 308"/>
                  <a:gd name="T79" fmla="*/ 2 h 315"/>
                  <a:gd name="T80" fmla="*/ 119 w 308"/>
                  <a:gd name="T81" fmla="*/ 2 h 315"/>
                  <a:gd name="T82" fmla="*/ 112 w 308"/>
                  <a:gd name="T83" fmla="*/ 13 h 315"/>
                  <a:gd name="T84" fmla="*/ 93 w 308"/>
                  <a:gd name="T85" fmla="*/ 50 h 315"/>
                  <a:gd name="T86" fmla="*/ 52 w 308"/>
                  <a:gd name="T87" fmla="*/ 46 h 315"/>
                  <a:gd name="T88" fmla="*/ 37 w 308"/>
                  <a:gd name="T89" fmla="*/ 47 h 315"/>
                  <a:gd name="T90" fmla="*/ 1 w 308"/>
                  <a:gd name="T91" fmla="*/ 111 h 315"/>
                  <a:gd name="T92" fmla="*/ 3 w 308"/>
                  <a:gd name="T93" fmla="*/ 121 h 315"/>
                  <a:gd name="T94" fmla="*/ 31 w 308"/>
                  <a:gd name="T95" fmla="*/ 138 h 315"/>
                  <a:gd name="T96" fmla="*/ 30 w 308"/>
                  <a:gd name="T97" fmla="*/ 167 h 315"/>
                  <a:gd name="T98" fmla="*/ 4 w 308"/>
                  <a:gd name="T99" fmla="*/ 193 h 315"/>
                  <a:gd name="T100" fmla="*/ 1 w 308"/>
                  <a:gd name="T101" fmla="*/ 199 h 315"/>
                  <a:gd name="T102" fmla="*/ 34 w 308"/>
                  <a:gd name="T103" fmla="*/ 263 h 315"/>
                  <a:gd name="T104" fmla="*/ 46 w 308"/>
                  <a:gd name="T105" fmla="*/ 270 h 315"/>
                  <a:gd name="T106" fmla="*/ 85 w 308"/>
                  <a:gd name="T107" fmla="*/ 259 h 315"/>
                  <a:gd name="T108" fmla="*/ 112 w 308"/>
                  <a:gd name="T109" fmla="*/ 274 h 315"/>
                  <a:gd name="T110" fmla="*/ 116 w 308"/>
                  <a:gd name="T111" fmla="*/ 311 h 315"/>
                  <a:gd name="T112" fmla="*/ 189 w 308"/>
                  <a:gd name="T113" fmla="*/ 315 h 315"/>
                  <a:gd name="T114" fmla="*/ 201 w 308"/>
                  <a:gd name="T115" fmla="*/ 306 h 315"/>
                  <a:gd name="T116" fmla="*/ 210 w 308"/>
                  <a:gd name="T117" fmla="*/ 270 h 315"/>
                  <a:gd name="T118" fmla="*/ 234 w 308"/>
                  <a:gd name="T119" fmla="*/ 255 h 315"/>
                  <a:gd name="T120" fmla="*/ 267 w 308"/>
                  <a:gd name="T121" fmla="*/ 270 h 315"/>
                  <a:gd name="T122" fmla="*/ 307 w 308"/>
                  <a:gd name="T123" fmla="*/ 208 h 315"/>
                  <a:gd name="T124" fmla="*/ 306 w 308"/>
                  <a:gd name="T125" fmla="*/ 19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315">
                    <a:moveTo>
                      <a:pt x="260" y="240"/>
                    </a:moveTo>
                    <a:lnTo>
                      <a:pt x="239" y="228"/>
                    </a:lnTo>
                    <a:lnTo>
                      <a:pt x="235" y="227"/>
                    </a:lnTo>
                    <a:lnTo>
                      <a:pt x="231" y="226"/>
                    </a:lnTo>
                    <a:lnTo>
                      <a:pt x="227" y="227"/>
                    </a:lnTo>
                    <a:lnTo>
                      <a:pt x="223" y="229"/>
                    </a:lnTo>
                    <a:lnTo>
                      <a:pt x="215" y="237"/>
                    </a:lnTo>
                    <a:lnTo>
                      <a:pt x="205" y="243"/>
                    </a:lnTo>
                    <a:lnTo>
                      <a:pt x="195" y="248"/>
                    </a:lnTo>
                    <a:lnTo>
                      <a:pt x="185" y="253"/>
                    </a:lnTo>
                    <a:lnTo>
                      <a:pt x="181" y="255"/>
                    </a:lnTo>
                    <a:lnTo>
                      <a:pt x="178" y="257"/>
                    </a:lnTo>
                    <a:lnTo>
                      <a:pt x="177" y="260"/>
                    </a:lnTo>
                    <a:lnTo>
                      <a:pt x="176" y="265"/>
                    </a:lnTo>
                    <a:lnTo>
                      <a:pt x="176" y="289"/>
                    </a:lnTo>
                    <a:lnTo>
                      <a:pt x="137" y="289"/>
                    </a:lnTo>
                    <a:lnTo>
                      <a:pt x="137" y="265"/>
                    </a:lnTo>
                    <a:lnTo>
                      <a:pt x="136" y="260"/>
                    </a:lnTo>
                    <a:lnTo>
                      <a:pt x="135" y="257"/>
                    </a:lnTo>
                    <a:lnTo>
                      <a:pt x="132" y="255"/>
                    </a:lnTo>
                    <a:lnTo>
                      <a:pt x="129" y="253"/>
                    </a:lnTo>
                    <a:lnTo>
                      <a:pt x="117" y="248"/>
                    </a:lnTo>
                    <a:lnTo>
                      <a:pt x="105" y="243"/>
                    </a:lnTo>
                    <a:lnTo>
                      <a:pt x="95" y="237"/>
                    </a:lnTo>
                    <a:lnTo>
                      <a:pt x="87" y="229"/>
                    </a:lnTo>
                    <a:lnTo>
                      <a:pt x="84" y="227"/>
                    </a:lnTo>
                    <a:lnTo>
                      <a:pt x="79" y="226"/>
                    </a:lnTo>
                    <a:lnTo>
                      <a:pt x="76" y="227"/>
                    </a:lnTo>
                    <a:lnTo>
                      <a:pt x="72" y="228"/>
                    </a:lnTo>
                    <a:lnTo>
                      <a:pt x="50" y="240"/>
                    </a:lnTo>
                    <a:lnTo>
                      <a:pt x="30" y="207"/>
                    </a:lnTo>
                    <a:lnTo>
                      <a:pt x="51" y="194"/>
                    </a:lnTo>
                    <a:lnTo>
                      <a:pt x="55" y="192"/>
                    </a:lnTo>
                    <a:lnTo>
                      <a:pt x="57" y="188"/>
                    </a:lnTo>
                    <a:lnTo>
                      <a:pt x="58" y="184"/>
                    </a:lnTo>
                    <a:lnTo>
                      <a:pt x="58" y="180"/>
                    </a:lnTo>
                    <a:lnTo>
                      <a:pt x="56" y="168"/>
                    </a:lnTo>
                    <a:lnTo>
                      <a:pt x="55" y="157"/>
                    </a:lnTo>
                    <a:lnTo>
                      <a:pt x="56" y="145"/>
                    </a:lnTo>
                    <a:lnTo>
                      <a:pt x="58" y="134"/>
                    </a:lnTo>
                    <a:lnTo>
                      <a:pt x="58" y="130"/>
                    </a:lnTo>
                    <a:lnTo>
                      <a:pt x="57" y="126"/>
                    </a:lnTo>
                    <a:lnTo>
                      <a:pt x="55" y="123"/>
                    </a:lnTo>
                    <a:lnTo>
                      <a:pt x="51" y="120"/>
                    </a:lnTo>
                    <a:lnTo>
                      <a:pt x="31" y="108"/>
                    </a:lnTo>
                    <a:lnTo>
                      <a:pt x="50" y="73"/>
                    </a:lnTo>
                    <a:lnTo>
                      <a:pt x="72" y="86"/>
                    </a:lnTo>
                    <a:lnTo>
                      <a:pt x="76" y="87"/>
                    </a:lnTo>
                    <a:lnTo>
                      <a:pt x="79" y="87"/>
                    </a:lnTo>
                    <a:lnTo>
                      <a:pt x="84" y="86"/>
                    </a:lnTo>
                    <a:lnTo>
                      <a:pt x="87" y="84"/>
                    </a:lnTo>
                    <a:lnTo>
                      <a:pt x="95" y="78"/>
                    </a:lnTo>
                    <a:lnTo>
                      <a:pt x="105" y="71"/>
                    </a:lnTo>
                    <a:lnTo>
                      <a:pt x="117" y="66"/>
                    </a:lnTo>
                    <a:lnTo>
                      <a:pt x="129" y="62"/>
                    </a:lnTo>
                    <a:lnTo>
                      <a:pt x="132" y="59"/>
                    </a:lnTo>
                    <a:lnTo>
                      <a:pt x="135" y="57"/>
                    </a:lnTo>
                    <a:lnTo>
                      <a:pt x="136" y="53"/>
                    </a:lnTo>
                    <a:lnTo>
                      <a:pt x="137" y="50"/>
                    </a:lnTo>
                    <a:lnTo>
                      <a:pt x="137" y="25"/>
                    </a:lnTo>
                    <a:lnTo>
                      <a:pt x="176" y="25"/>
                    </a:lnTo>
                    <a:lnTo>
                      <a:pt x="176" y="50"/>
                    </a:lnTo>
                    <a:lnTo>
                      <a:pt x="176" y="53"/>
                    </a:lnTo>
                    <a:lnTo>
                      <a:pt x="178" y="57"/>
                    </a:lnTo>
                    <a:lnTo>
                      <a:pt x="181" y="59"/>
                    </a:lnTo>
                    <a:lnTo>
                      <a:pt x="185" y="62"/>
                    </a:lnTo>
                    <a:lnTo>
                      <a:pt x="195" y="66"/>
                    </a:lnTo>
                    <a:lnTo>
                      <a:pt x="205" y="71"/>
                    </a:lnTo>
                    <a:lnTo>
                      <a:pt x="215" y="77"/>
                    </a:lnTo>
                    <a:lnTo>
                      <a:pt x="223" y="84"/>
                    </a:lnTo>
                    <a:lnTo>
                      <a:pt x="227" y="87"/>
                    </a:lnTo>
                    <a:lnTo>
                      <a:pt x="231" y="88"/>
                    </a:lnTo>
                    <a:lnTo>
                      <a:pt x="235" y="88"/>
                    </a:lnTo>
                    <a:lnTo>
                      <a:pt x="239" y="86"/>
                    </a:lnTo>
                    <a:lnTo>
                      <a:pt x="259" y="76"/>
                    </a:lnTo>
                    <a:lnTo>
                      <a:pt x="278" y="108"/>
                    </a:lnTo>
                    <a:lnTo>
                      <a:pt x="258" y="120"/>
                    </a:lnTo>
                    <a:lnTo>
                      <a:pt x="254" y="123"/>
                    </a:lnTo>
                    <a:lnTo>
                      <a:pt x="252" y="126"/>
                    </a:lnTo>
                    <a:lnTo>
                      <a:pt x="251" y="130"/>
                    </a:lnTo>
                    <a:lnTo>
                      <a:pt x="251" y="134"/>
                    </a:lnTo>
                    <a:lnTo>
                      <a:pt x="253" y="145"/>
                    </a:lnTo>
                    <a:lnTo>
                      <a:pt x="254" y="157"/>
                    </a:lnTo>
                    <a:lnTo>
                      <a:pt x="253" y="169"/>
                    </a:lnTo>
                    <a:lnTo>
                      <a:pt x="251" y="180"/>
                    </a:lnTo>
                    <a:lnTo>
                      <a:pt x="251" y="184"/>
                    </a:lnTo>
                    <a:lnTo>
                      <a:pt x="252" y="188"/>
                    </a:lnTo>
                    <a:lnTo>
                      <a:pt x="254" y="192"/>
                    </a:lnTo>
                    <a:lnTo>
                      <a:pt x="258" y="194"/>
                    </a:lnTo>
                    <a:lnTo>
                      <a:pt x="278" y="207"/>
                    </a:lnTo>
                    <a:lnTo>
                      <a:pt x="260" y="240"/>
                    </a:lnTo>
                    <a:close/>
                    <a:moveTo>
                      <a:pt x="302" y="192"/>
                    </a:moveTo>
                    <a:lnTo>
                      <a:pt x="278" y="178"/>
                    </a:lnTo>
                    <a:lnTo>
                      <a:pt x="279" y="167"/>
                    </a:lnTo>
                    <a:lnTo>
                      <a:pt x="279" y="157"/>
                    </a:lnTo>
                    <a:lnTo>
                      <a:pt x="279" y="148"/>
                    </a:lnTo>
                    <a:lnTo>
                      <a:pt x="278" y="138"/>
                    </a:lnTo>
                    <a:lnTo>
                      <a:pt x="302" y="124"/>
                    </a:lnTo>
                    <a:lnTo>
                      <a:pt x="304" y="123"/>
                    </a:lnTo>
                    <a:lnTo>
                      <a:pt x="306" y="121"/>
                    </a:lnTo>
                    <a:lnTo>
                      <a:pt x="307" y="119"/>
                    </a:lnTo>
                    <a:lnTo>
                      <a:pt x="308" y="116"/>
                    </a:lnTo>
                    <a:lnTo>
                      <a:pt x="308" y="111"/>
                    </a:lnTo>
                    <a:lnTo>
                      <a:pt x="306" y="106"/>
                    </a:lnTo>
                    <a:lnTo>
                      <a:pt x="275" y="51"/>
                    </a:lnTo>
                    <a:lnTo>
                      <a:pt x="273" y="49"/>
                    </a:lnTo>
                    <a:lnTo>
                      <a:pt x="271" y="47"/>
                    </a:lnTo>
                    <a:lnTo>
                      <a:pt x="269" y="46"/>
                    </a:lnTo>
                    <a:lnTo>
                      <a:pt x="266" y="44"/>
                    </a:lnTo>
                    <a:lnTo>
                      <a:pt x="262" y="44"/>
                    </a:lnTo>
                    <a:lnTo>
                      <a:pt x="256" y="46"/>
                    </a:lnTo>
                    <a:lnTo>
                      <a:pt x="234" y="59"/>
                    </a:lnTo>
                    <a:lnTo>
                      <a:pt x="226" y="54"/>
                    </a:lnTo>
                    <a:lnTo>
                      <a:pt x="218" y="49"/>
                    </a:lnTo>
                    <a:lnTo>
                      <a:pt x="210" y="44"/>
                    </a:lnTo>
                    <a:lnTo>
                      <a:pt x="202" y="41"/>
                    </a:lnTo>
                    <a:lnTo>
                      <a:pt x="202" y="13"/>
                    </a:lnTo>
                    <a:lnTo>
                      <a:pt x="201" y="8"/>
                    </a:lnTo>
                    <a:lnTo>
                      <a:pt x="197" y="4"/>
                    </a:lnTo>
                    <a:lnTo>
                      <a:pt x="193" y="2"/>
                    </a:lnTo>
                    <a:lnTo>
                      <a:pt x="189" y="0"/>
                    </a:lnTo>
                    <a:lnTo>
                      <a:pt x="124" y="0"/>
                    </a:lnTo>
                    <a:lnTo>
                      <a:pt x="119" y="2"/>
                    </a:lnTo>
                    <a:lnTo>
                      <a:pt x="116" y="4"/>
                    </a:lnTo>
                    <a:lnTo>
                      <a:pt x="113" y="8"/>
                    </a:lnTo>
                    <a:lnTo>
                      <a:pt x="112" y="13"/>
                    </a:lnTo>
                    <a:lnTo>
                      <a:pt x="112" y="41"/>
                    </a:lnTo>
                    <a:lnTo>
                      <a:pt x="102" y="44"/>
                    </a:lnTo>
                    <a:lnTo>
                      <a:pt x="93" y="50"/>
                    </a:lnTo>
                    <a:lnTo>
                      <a:pt x="85" y="54"/>
                    </a:lnTo>
                    <a:lnTo>
                      <a:pt x="77" y="59"/>
                    </a:lnTo>
                    <a:lnTo>
                      <a:pt x="52" y="46"/>
                    </a:lnTo>
                    <a:lnTo>
                      <a:pt x="47" y="44"/>
                    </a:lnTo>
                    <a:lnTo>
                      <a:pt x="43" y="44"/>
                    </a:lnTo>
                    <a:lnTo>
                      <a:pt x="37" y="47"/>
                    </a:lnTo>
                    <a:lnTo>
                      <a:pt x="34" y="51"/>
                    </a:lnTo>
                    <a:lnTo>
                      <a:pt x="2" y="106"/>
                    </a:lnTo>
                    <a:lnTo>
                      <a:pt x="1" y="111"/>
                    </a:lnTo>
                    <a:lnTo>
                      <a:pt x="1" y="116"/>
                    </a:lnTo>
                    <a:lnTo>
                      <a:pt x="2" y="119"/>
                    </a:lnTo>
                    <a:lnTo>
                      <a:pt x="3" y="121"/>
                    </a:lnTo>
                    <a:lnTo>
                      <a:pt x="5" y="123"/>
                    </a:lnTo>
                    <a:lnTo>
                      <a:pt x="7" y="124"/>
                    </a:lnTo>
                    <a:lnTo>
                      <a:pt x="31" y="138"/>
                    </a:lnTo>
                    <a:lnTo>
                      <a:pt x="30" y="148"/>
                    </a:lnTo>
                    <a:lnTo>
                      <a:pt x="29" y="157"/>
                    </a:lnTo>
                    <a:lnTo>
                      <a:pt x="30" y="167"/>
                    </a:lnTo>
                    <a:lnTo>
                      <a:pt x="31" y="178"/>
                    </a:lnTo>
                    <a:lnTo>
                      <a:pt x="6" y="192"/>
                    </a:lnTo>
                    <a:lnTo>
                      <a:pt x="4" y="193"/>
                    </a:lnTo>
                    <a:lnTo>
                      <a:pt x="3" y="194"/>
                    </a:lnTo>
                    <a:lnTo>
                      <a:pt x="2" y="196"/>
                    </a:lnTo>
                    <a:lnTo>
                      <a:pt x="1" y="199"/>
                    </a:lnTo>
                    <a:lnTo>
                      <a:pt x="0" y="203"/>
                    </a:lnTo>
                    <a:lnTo>
                      <a:pt x="2" y="208"/>
                    </a:lnTo>
                    <a:lnTo>
                      <a:pt x="34" y="263"/>
                    </a:lnTo>
                    <a:lnTo>
                      <a:pt x="37" y="268"/>
                    </a:lnTo>
                    <a:lnTo>
                      <a:pt x="42" y="270"/>
                    </a:lnTo>
                    <a:lnTo>
                      <a:pt x="46" y="270"/>
                    </a:lnTo>
                    <a:lnTo>
                      <a:pt x="51" y="269"/>
                    </a:lnTo>
                    <a:lnTo>
                      <a:pt x="77" y="254"/>
                    </a:lnTo>
                    <a:lnTo>
                      <a:pt x="85" y="259"/>
                    </a:lnTo>
                    <a:lnTo>
                      <a:pt x="93" y="266"/>
                    </a:lnTo>
                    <a:lnTo>
                      <a:pt x="102" y="270"/>
                    </a:lnTo>
                    <a:lnTo>
                      <a:pt x="112" y="274"/>
                    </a:lnTo>
                    <a:lnTo>
                      <a:pt x="112" y="302"/>
                    </a:lnTo>
                    <a:lnTo>
                      <a:pt x="113" y="306"/>
                    </a:lnTo>
                    <a:lnTo>
                      <a:pt x="116" y="311"/>
                    </a:lnTo>
                    <a:lnTo>
                      <a:pt x="119" y="314"/>
                    </a:lnTo>
                    <a:lnTo>
                      <a:pt x="124" y="315"/>
                    </a:lnTo>
                    <a:lnTo>
                      <a:pt x="189" y="315"/>
                    </a:lnTo>
                    <a:lnTo>
                      <a:pt x="193" y="314"/>
                    </a:lnTo>
                    <a:lnTo>
                      <a:pt x="197" y="311"/>
                    </a:lnTo>
                    <a:lnTo>
                      <a:pt x="201" y="306"/>
                    </a:lnTo>
                    <a:lnTo>
                      <a:pt x="202" y="302"/>
                    </a:lnTo>
                    <a:lnTo>
                      <a:pt x="202" y="274"/>
                    </a:lnTo>
                    <a:lnTo>
                      <a:pt x="210" y="270"/>
                    </a:lnTo>
                    <a:lnTo>
                      <a:pt x="218" y="266"/>
                    </a:lnTo>
                    <a:lnTo>
                      <a:pt x="226" y="260"/>
                    </a:lnTo>
                    <a:lnTo>
                      <a:pt x="234" y="255"/>
                    </a:lnTo>
                    <a:lnTo>
                      <a:pt x="258" y="268"/>
                    </a:lnTo>
                    <a:lnTo>
                      <a:pt x="262" y="270"/>
                    </a:lnTo>
                    <a:lnTo>
                      <a:pt x="267" y="270"/>
                    </a:lnTo>
                    <a:lnTo>
                      <a:pt x="271" y="268"/>
                    </a:lnTo>
                    <a:lnTo>
                      <a:pt x="275" y="263"/>
                    </a:lnTo>
                    <a:lnTo>
                      <a:pt x="307" y="208"/>
                    </a:lnTo>
                    <a:lnTo>
                      <a:pt x="308" y="202"/>
                    </a:lnTo>
                    <a:lnTo>
                      <a:pt x="308" y="198"/>
                    </a:lnTo>
                    <a:lnTo>
                      <a:pt x="306" y="194"/>
                    </a:lnTo>
                    <a:lnTo>
                      <a:pt x="30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920" name="Group 44">
            <a:extLst>
              <a:ext uri="{FF2B5EF4-FFF2-40B4-BE49-F238E27FC236}">
                <a16:creationId xmlns:a16="http://schemas.microsoft.com/office/drawing/2014/main" id="{162EB8CB-C0DC-4784-9A16-9ED7BA942E87}"/>
              </a:ext>
            </a:extLst>
          </p:cNvPr>
          <p:cNvGrpSpPr>
            <a:grpSpLocks noChangeAspect="1"/>
          </p:cNvGrpSpPr>
          <p:nvPr/>
        </p:nvGrpSpPr>
        <p:grpSpPr>
          <a:xfrm>
            <a:off x="4049239" y="4879041"/>
            <a:ext cx="285619" cy="285619"/>
            <a:chOff x="1455738" y="2714625"/>
            <a:chExt cx="285750" cy="285750"/>
          </a:xfrm>
          <a:solidFill>
            <a:schemeClr val="bg1"/>
          </a:solidFill>
          <a:effectLst/>
        </p:grpSpPr>
        <p:sp>
          <p:nvSpPr>
            <p:cNvPr id="921" name="Freeform 83">
              <a:extLst>
                <a:ext uri="{FF2B5EF4-FFF2-40B4-BE49-F238E27FC236}">
                  <a16:creationId xmlns:a16="http://schemas.microsoft.com/office/drawing/2014/main" id="{F63B5825-0B44-42D7-A88C-A19D2BE03650}"/>
                </a:ext>
              </a:extLst>
            </p:cNvPr>
            <p:cNvSpPr>
              <a:spLocks/>
            </p:cNvSpPr>
            <p:nvPr/>
          </p:nvSpPr>
          <p:spPr bwMode="auto">
            <a:xfrm>
              <a:off x="1655763" y="2867025"/>
              <a:ext cx="38100" cy="57150"/>
            </a:xfrm>
            <a:custGeom>
              <a:avLst/>
              <a:gdLst>
                <a:gd name="T0" fmla="*/ 105 w 120"/>
                <a:gd name="T1" fmla="*/ 150 h 180"/>
                <a:gd name="T2" fmla="*/ 30 w 120"/>
                <a:gd name="T3" fmla="*/ 150 h 180"/>
                <a:gd name="T4" fmla="*/ 30 w 120"/>
                <a:gd name="T5" fmla="*/ 15 h 180"/>
                <a:gd name="T6" fmla="*/ 30 w 120"/>
                <a:gd name="T7" fmla="*/ 11 h 180"/>
                <a:gd name="T8" fmla="*/ 29 w 120"/>
                <a:gd name="T9" fmla="*/ 8 h 180"/>
                <a:gd name="T10" fmla="*/ 27 w 120"/>
                <a:gd name="T11" fmla="*/ 6 h 180"/>
                <a:gd name="T12" fmla="*/ 25 w 120"/>
                <a:gd name="T13" fmla="*/ 4 h 180"/>
                <a:gd name="T14" fmla="*/ 23 w 120"/>
                <a:gd name="T15" fmla="*/ 2 h 180"/>
                <a:gd name="T16" fmla="*/ 20 w 120"/>
                <a:gd name="T17" fmla="*/ 1 h 180"/>
                <a:gd name="T18" fmla="*/ 18 w 120"/>
                <a:gd name="T19" fmla="*/ 0 h 180"/>
                <a:gd name="T20" fmla="*/ 15 w 120"/>
                <a:gd name="T21" fmla="*/ 0 h 180"/>
                <a:gd name="T22" fmla="*/ 12 w 120"/>
                <a:gd name="T23" fmla="*/ 0 h 180"/>
                <a:gd name="T24" fmla="*/ 8 w 120"/>
                <a:gd name="T25" fmla="*/ 1 h 180"/>
                <a:gd name="T26" fmla="*/ 6 w 120"/>
                <a:gd name="T27" fmla="*/ 2 h 180"/>
                <a:gd name="T28" fmla="*/ 4 w 120"/>
                <a:gd name="T29" fmla="*/ 4 h 180"/>
                <a:gd name="T30" fmla="*/ 2 w 120"/>
                <a:gd name="T31" fmla="*/ 6 h 180"/>
                <a:gd name="T32" fmla="*/ 1 w 120"/>
                <a:gd name="T33" fmla="*/ 8 h 180"/>
                <a:gd name="T34" fmla="*/ 0 w 120"/>
                <a:gd name="T35" fmla="*/ 11 h 180"/>
                <a:gd name="T36" fmla="*/ 0 w 120"/>
                <a:gd name="T37" fmla="*/ 15 h 180"/>
                <a:gd name="T38" fmla="*/ 0 w 120"/>
                <a:gd name="T39" fmla="*/ 180 h 180"/>
                <a:gd name="T40" fmla="*/ 105 w 120"/>
                <a:gd name="T41" fmla="*/ 180 h 180"/>
                <a:gd name="T42" fmla="*/ 108 w 120"/>
                <a:gd name="T43" fmla="*/ 180 h 180"/>
                <a:gd name="T44" fmla="*/ 110 w 120"/>
                <a:gd name="T45" fmla="*/ 179 h 180"/>
                <a:gd name="T46" fmla="*/ 113 w 120"/>
                <a:gd name="T47" fmla="*/ 177 h 180"/>
                <a:gd name="T48" fmla="*/ 116 w 120"/>
                <a:gd name="T49" fmla="*/ 175 h 180"/>
                <a:gd name="T50" fmla="*/ 118 w 120"/>
                <a:gd name="T51" fmla="*/ 173 h 180"/>
                <a:gd name="T52" fmla="*/ 119 w 120"/>
                <a:gd name="T53" fmla="*/ 170 h 180"/>
                <a:gd name="T54" fmla="*/ 120 w 120"/>
                <a:gd name="T55" fmla="*/ 168 h 180"/>
                <a:gd name="T56" fmla="*/ 120 w 120"/>
                <a:gd name="T57" fmla="*/ 165 h 180"/>
                <a:gd name="T58" fmla="*/ 120 w 120"/>
                <a:gd name="T59" fmla="*/ 161 h 180"/>
                <a:gd name="T60" fmla="*/ 119 w 120"/>
                <a:gd name="T61" fmla="*/ 159 h 180"/>
                <a:gd name="T62" fmla="*/ 118 w 120"/>
                <a:gd name="T63" fmla="*/ 156 h 180"/>
                <a:gd name="T64" fmla="*/ 116 w 120"/>
                <a:gd name="T65" fmla="*/ 154 h 180"/>
                <a:gd name="T66" fmla="*/ 113 w 120"/>
                <a:gd name="T67" fmla="*/ 152 h 180"/>
                <a:gd name="T68" fmla="*/ 110 w 120"/>
                <a:gd name="T69" fmla="*/ 151 h 180"/>
                <a:gd name="T70" fmla="*/ 108 w 120"/>
                <a:gd name="T71" fmla="*/ 150 h 180"/>
                <a:gd name="T72" fmla="*/ 105 w 120"/>
                <a:gd name="T73" fmla="*/ 150 h 180"/>
                <a:gd name="T74" fmla="*/ 105 w 120"/>
                <a:gd name="T75" fmla="*/ 15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80">
                  <a:moveTo>
                    <a:pt x="105" y="150"/>
                  </a:moveTo>
                  <a:lnTo>
                    <a:pt x="30" y="150"/>
                  </a:lnTo>
                  <a:lnTo>
                    <a:pt x="30" y="15"/>
                  </a:lnTo>
                  <a:lnTo>
                    <a:pt x="30" y="11"/>
                  </a:lnTo>
                  <a:lnTo>
                    <a:pt x="29" y="8"/>
                  </a:lnTo>
                  <a:lnTo>
                    <a:pt x="27" y="6"/>
                  </a:lnTo>
                  <a:lnTo>
                    <a:pt x="25" y="4"/>
                  </a:lnTo>
                  <a:lnTo>
                    <a:pt x="23" y="2"/>
                  </a:lnTo>
                  <a:lnTo>
                    <a:pt x="20" y="1"/>
                  </a:lnTo>
                  <a:lnTo>
                    <a:pt x="18" y="0"/>
                  </a:lnTo>
                  <a:lnTo>
                    <a:pt x="15" y="0"/>
                  </a:lnTo>
                  <a:lnTo>
                    <a:pt x="12" y="0"/>
                  </a:lnTo>
                  <a:lnTo>
                    <a:pt x="8" y="1"/>
                  </a:lnTo>
                  <a:lnTo>
                    <a:pt x="6" y="2"/>
                  </a:lnTo>
                  <a:lnTo>
                    <a:pt x="4" y="4"/>
                  </a:lnTo>
                  <a:lnTo>
                    <a:pt x="2" y="6"/>
                  </a:lnTo>
                  <a:lnTo>
                    <a:pt x="1" y="8"/>
                  </a:lnTo>
                  <a:lnTo>
                    <a:pt x="0" y="11"/>
                  </a:lnTo>
                  <a:lnTo>
                    <a:pt x="0" y="15"/>
                  </a:lnTo>
                  <a:lnTo>
                    <a:pt x="0" y="180"/>
                  </a:lnTo>
                  <a:lnTo>
                    <a:pt x="105" y="180"/>
                  </a:lnTo>
                  <a:lnTo>
                    <a:pt x="108" y="180"/>
                  </a:lnTo>
                  <a:lnTo>
                    <a:pt x="110" y="179"/>
                  </a:lnTo>
                  <a:lnTo>
                    <a:pt x="113" y="177"/>
                  </a:lnTo>
                  <a:lnTo>
                    <a:pt x="116" y="175"/>
                  </a:lnTo>
                  <a:lnTo>
                    <a:pt x="118" y="173"/>
                  </a:lnTo>
                  <a:lnTo>
                    <a:pt x="119" y="170"/>
                  </a:lnTo>
                  <a:lnTo>
                    <a:pt x="120" y="168"/>
                  </a:lnTo>
                  <a:lnTo>
                    <a:pt x="120" y="165"/>
                  </a:lnTo>
                  <a:lnTo>
                    <a:pt x="120" y="161"/>
                  </a:lnTo>
                  <a:lnTo>
                    <a:pt x="119" y="159"/>
                  </a:lnTo>
                  <a:lnTo>
                    <a:pt x="118" y="156"/>
                  </a:lnTo>
                  <a:lnTo>
                    <a:pt x="116" y="154"/>
                  </a:lnTo>
                  <a:lnTo>
                    <a:pt x="113" y="152"/>
                  </a:lnTo>
                  <a:lnTo>
                    <a:pt x="110" y="151"/>
                  </a:lnTo>
                  <a:lnTo>
                    <a:pt x="108" y="150"/>
                  </a:lnTo>
                  <a:lnTo>
                    <a:pt x="105" y="150"/>
                  </a:lnTo>
                  <a:lnTo>
                    <a:pt x="10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2" name="Freeform 84">
              <a:extLst>
                <a:ext uri="{FF2B5EF4-FFF2-40B4-BE49-F238E27FC236}">
                  <a16:creationId xmlns:a16="http://schemas.microsoft.com/office/drawing/2014/main" id="{9176CC3E-20AE-4554-83D1-09C51E1C261E}"/>
                </a:ext>
              </a:extLst>
            </p:cNvPr>
            <p:cNvSpPr>
              <a:spLocks noEditPoints="1"/>
            </p:cNvSpPr>
            <p:nvPr/>
          </p:nvSpPr>
          <p:spPr bwMode="auto">
            <a:xfrm>
              <a:off x="1579563" y="2838450"/>
              <a:ext cx="161925" cy="161925"/>
            </a:xfrm>
            <a:custGeom>
              <a:avLst/>
              <a:gdLst>
                <a:gd name="T0" fmla="*/ 222 w 512"/>
                <a:gd name="T1" fmla="*/ 477 h 510"/>
                <a:gd name="T2" fmla="*/ 180 w 512"/>
                <a:gd name="T3" fmla="*/ 467 h 510"/>
                <a:gd name="T4" fmla="*/ 113 w 512"/>
                <a:gd name="T5" fmla="*/ 428 h 510"/>
                <a:gd name="T6" fmla="*/ 58 w 512"/>
                <a:gd name="T7" fmla="*/ 362 h 510"/>
                <a:gd name="T8" fmla="*/ 38 w 512"/>
                <a:gd name="T9" fmla="*/ 311 h 510"/>
                <a:gd name="T10" fmla="*/ 32 w 512"/>
                <a:gd name="T11" fmla="*/ 266 h 510"/>
                <a:gd name="T12" fmla="*/ 34 w 512"/>
                <a:gd name="T13" fmla="*/ 220 h 510"/>
                <a:gd name="T14" fmla="*/ 44 w 512"/>
                <a:gd name="T15" fmla="*/ 177 h 510"/>
                <a:gd name="T16" fmla="*/ 83 w 512"/>
                <a:gd name="T17" fmla="*/ 111 h 510"/>
                <a:gd name="T18" fmla="*/ 150 w 512"/>
                <a:gd name="T19" fmla="*/ 56 h 510"/>
                <a:gd name="T20" fmla="*/ 200 w 512"/>
                <a:gd name="T21" fmla="*/ 36 h 510"/>
                <a:gd name="T22" fmla="*/ 245 w 512"/>
                <a:gd name="T23" fmla="*/ 30 h 510"/>
                <a:gd name="T24" fmla="*/ 291 w 512"/>
                <a:gd name="T25" fmla="*/ 32 h 510"/>
                <a:gd name="T26" fmla="*/ 334 w 512"/>
                <a:gd name="T27" fmla="*/ 42 h 510"/>
                <a:gd name="T28" fmla="*/ 400 w 512"/>
                <a:gd name="T29" fmla="*/ 81 h 510"/>
                <a:gd name="T30" fmla="*/ 455 w 512"/>
                <a:gd name="T31" fmla="*/ 147 h 510"/>
                <a:gd name="T32" fmla="*/ 474 w 512"/>
                <a:gd name="T33" fmla="*/ 199 h 510"/>
                <a:gd name="T34" fmla="*/ 482 w 512"/>
                <a:gd name="T35" fmla="*/ 243 h 510"/>
                <a:gd name="T36" fmla="*/ 480 w 512"/>
                <a:gd name="T37" fmla="*/ 289 h 510"/>
                <a:gd name="T38" fmla="*/ 468 w 512"/>
                <a:gd name="T39" fmla="*/ 332 h 510"/>
                <a:gd name="T40" fmla="*/ 431 w 512"/>
                <a:gd name="T41" fmla="*/ 398 h 510"/>
                <a:gd name="T42" fmla="*/ 364 w 512"/>
                <a:gd name="T43" fmla="*/ 453 h 510"/>
                <a:gd name="T44" fmla="*/ 313 w 512"/>
                <a:gd name="T45" fmla="*/ 473 h 510"/>
                <a:gd name="T46" fmla="*/ 269 w 512"/>
                <a:gd name="T47" fmla="*/ 480 h 510"/>
                <a:gd name="T48" fmla="*/ 230 w 512"/>
                <a:gd name="T49" fmla="*/ 1 h 510"/>
                <a:gd name="T50" fmla="*/ 181 w 512"/>
                <a:gd name="T51" fmla="*/ 10 h 510"/>
                <a:gd name="T52" fmla="*/ 135 w 512"/>
                <a:gd name="T53" fmla="*/ 30 h 510"/>
                <a:gd name="T54" fmla="*/ 94 w 512"/>
                <a:gd name="T55" fmla="*/ 57 h 510"/>
                <a:gd name="T56" fmla="*/ 59 w 512"/>
                <a:gd name="T57" fmla="*/ 92 h 510"/>
                <a:gd name="T58" fmla="*/ 32 w 512"/>
                <a:gd name="T59" fmla="*/ 132 h 510"/>
                <a:gd name="T60" fmla="*/ 12 w 512"/>
                <a:gd name="T61" fmla="*/ 179 h 510"/>
                <a:gd name="T62" fmla="*/ 3 w 512"/>
                <a:gd name="T63" fmla="*/ 229 h 510"/>
                <a:gd name="T64" fmla="*/ 3 w 512"/>
                <a:gd name="T65" fmla="*/ 280 h 510"/>
                <a:gd name="T66" fmla="*/ 12 w 512"/>
                <a:gd name="T67" fmla="*/ 331 h 510"/>
                <a:gd name="T68" fmla="*/ 32 w 512"/>
                <a:gd name="T69" fmla="*/ 376 h 510"/>
                <a:gd name="T70" fmla="*/ 59 w 512"/>
                <a:gd name="T71" fmla="*/ 416 h 510"/>
                <a:gd name="T72" fmla="*/ 94 w 512"/>
                <a:gd name="T73" fmla="*/ 452 h 510"/>
                <a:gd name="T74" fmla="*/ 135 w 512"/>
                <a:gd name="T75" fmla="*/ 480 h 510"/>
                <a:gd name="T76" fmla="*/ 181 w 512"/>
                <a:gd name="T77" fmla="*/ 499 h 510"/>
                <a:gd name="T78" fmla="*/ 230 w 512"/>
                <a:gd name="T79" fmla="*/ 509 h 510"/>
                <a:gd name="T80" fmla="*/ 283 w 512"/>
                <a:gd name="T81" fmla="*/ 509 h 510"/>
                <a:gd name="T82" fmla="*/ 333 w 512"/>
                <a:gd name="T83" fmla="*/ 499 h 510"/>
                <a:gd name="T84" fmla="*/ 378 w 512"/>
                <a:gd name="T85" fmla="*/ 480 h 510"/>
                <a:gd name="T86" fmla="*/ 419 w 512"/>
                <a:gd name="T87" fmla="*/ 452 h 510"/>
                <a:gd name="T88" fmla="*/ 454 w 512"/>
                <a:gd name="T89" fmla="*/ 417 h 510"/>
                <a:gd name="T90" fmla="*/ 481 w 512"/>
                <a:gd name="T91" fmla="*/ 376 h 510"/>
                <a:gd name="T92" fmla="*/ 500 w 512"/>
                <a:gd name="T93" fmla="*/ 331 h 510"/>
                <a:gd name="T94" fmla="*/ 511 w 512"/>
                <a:gd name="T95" fmla="*/ 280 h 510"/>
                <a:gd name="T96" fmla="*/ 511 w 512"/>
                <a:gd name="T97" fmla="*/ 229 h 510"/>
                <a:gd name="T98" fmla="*/ 500 w 512"/>
                <a:gd name="T99" fmla="*/ 179 h 510"/>
                <a:gd name="T100" fmla="*/ 481 w 512"/>
                <a:gd name="T101" fmla="*/ 132 h 510"/>
                <a:gd name="T102" fmla="*/ 454 w 512"/>
                <a:gd name="T103" fmla="*/ 92 h 510"/>
                <a:gd name="T104" fmla="*/ 419 w 512"/>
                <a:gd name="T105" fmla="*/ 57 h 510"/>
                <a:gd name="T106" fmla="*/ 378 w 512"/>
                <a:gd name="T107" fmla="*/ 30 h 510"/>
                <a:gd name="T108" fmla="*/ 333 w 512"/>
                <a:gd name="T109" fmla="*/ 10 h 510"/>
                <a:gd name="T110" fmla="*/ 283 w 512"/>
                <a:gd name="T111" fmla="*/ 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0">
                  <a:moveTo>
                    <a:pt x="257" y="480"/>
                  </a:moveTo>
                  <a:lnTo>
                    <a:pt x="245" y="480"/>
                  </a:lnTo>
                  <a:lnTo>
                    <a:pt x="233" y="479"/>
                  </a:lnTo>
                  <a:lnTo>
                    <a:pt x="222" y="477"/>
                  </a:lnTo>
                  <a:lnTo>
                    <a:pt x="211" y="475"/>
                  </a:lnTo>
                  <a:lnTo>
                    <a:pt x="200" y="473"/>
                  </a:lnTo>
                  <a:lnTo>
                    <a:pt x="189" y="470"/>
                  </a:lnTo>
                  <a:lnTo>
                    <a:pt x="180" y="467"/>
                  </a:lnTo>
                  <a:lnTo>
                    <a:pt x="169" y="462"/>
                  </a:lnTo>
                  <a:lnTo>
                    <a:pt x="150" y="453"/>
                  </a:lnTo>
                  <a:lnTo>
                    <a:pt x="130" y="441"/>
                  </a:lnTo>
                  <a:lnTo>
                    <a:pt x="113" y="428"/>
                  </a:lnTo>
                  <a:lnTo>
                    <a:pt x="97" y="414"/>
                  </a:lnTo>
                  <a:lnTo>
                    <a:pt x="83" y="398"/>
                  </a:lnTo>
                  <a:lnTo>
                    <a:pt x="69" y="381"/>
                  </a:lnTo>
                  <a:lnTo>
                    <a:pt x="58" y="362"/>
                  </a:lnTo>
                  <a:lnTo>
                    <a:pt x="49" y="342"/>
                  </a:lnTo>
                  <a:lnTo>
                    <a:pt x="44" y="332"/>
                  </a:lnTo>
                  <a:lnTo>
                    <a:pt x="41" y="321"/>
                  </a:lnTo>
                  <a:lnTo>
                    <a:pt x="38" y="311"/>
                  </a:lnTo>
                  <a:lnTo>
                    <a:pt x="36" y="300"/>
                  </a:lnTo>
                  <a:lnTo>
                    <a:pt x="34" y="289"/>
                  </a:lnTo>
                  <a:lnTo>
                    <a:pt x="33" y="277"/>
                  </a:lnTo>
                  <a:lnTo>
                    <a:pt x="32" y="266"/>
                  </a:lnTo>
                  <a:lnTo>
                    <a:pt x="30" y="255"/>
                  </a:lnTo>
                  <a:lnTo>
                    <a:pt x="32" y="243"/>
                  </a:lnTo>
                  <a:lnTo>
                    <a:pt x="33" y="232"/>
                  </a:lnTo>
                  <a:lnTo>
                    <a:pt x="34" y="220"/>
                  </a:lnTo>
                  <a:lnTo>
                    <a:pt x="36" y="210"/>
                  </a:lnTo>
                  <a:lnTo>
                    <a:pt x="38" y="198"/>
                  </a:lnTo>
                  <a:lnTo>
                    <a:pt x="41" y="188"/>
                  </a:lnTo>
                  <a:lnTo>
                    <a:pt x="44" y="177"/>
                  </a:lnTo>
                  <a:lnTo>
                    <a:pt x="49" y="167"/>
                  </a:lnTo>
                  <a:lnTo>
                    <a:pt x="58" y="147"/>
                  </a:lnTo>
                  <a:lnTo>
                    <a:pt x="69" y="128"/>
                  </a:lnTo>
                  <a:lnTo>
                    <a:pt x="83" y="111"/>
                  </a:lnTo>
                  <a:lnTo>
                    <a:pt x="97" y="95"/>
                  </a:lnTo>
                  <a:lnTo>
                    <a:pt x="113" y="81"/>
                  </a:lnTo>
                  <a:lnTo>
                    <a:pt x="130" y="68"/>
                  </a:lnTo>
                  <a:lnTo>
                    <a:pt x="150" y="56"/>
                  </a:lnTo>
                  <a:lnTo>
                    <a:pt x="169" y="47"/>
                  </a:lnTo>
                  <a:lnTo>
                    <a:pt x="180" y="42"/>
                  </a:lnTo>
                  <a:lnTo>
                    <a:pt x="189" y="39"/>
                  </a:lnTo>
                  <a:lnTo>
                    <a:pt x="200" y="36"/>
                  </a:lnTo>
                  <a:lnTo>
                    <a:pt x="211" y="34"/>
                  </a:lnTo>
                  <a:lnTo>
                    <a:pt x="222" y="32"/>
                  </a:lnTo>
                  <a:lnTo>
                    <a:pt x="233" y="31"/>
                  </a:lnTo>
                  <a:lnTo>
                    <a:pt x="245" y="30"/>
                  </a:lnTo>
                  <a:lnTo>
                    <a:pt x="257" y="30"/>
                  </a:lnTo>
                  <a:lnTo>
                    <a:pt x="269" y="30"/>
                  </a:lnTo>
                  <a:lnTo>
                    <a:pt x="279" y="31"/>
                  </a:lnTo>
                  <a:lnTo>
                    <a:pt x="291" y="32"/>
                  </a:lnTo>
                  <a:lnTo>
                    <a:pt x="302" y="34"/>
                  </a:lnTo>
                  <a:lnTo>
                    <a:pt x="313" y="36"/>
                  </a:lnTo>
                  <a:lnTo>
                    <a:pt x="323" y="39"/>
                  </a:lnTo>
                  <a:lnTo>
                    <a:pt x="334" y="42"/>
                  </a:lnTo>
                  <a:lnTo>
                    <a:pt x="345" y="47"/>
                  </a:lnTo>
                  <a:lnTo>
                    <a:pt x="364" y="56"/>
                  </a:lnTo>
                  <a:lnTo>
                    <a:pt x="382" y="68"/>
                  </a:lnTo>
                  <a:lnTo>
                    <a:pt x="400" y="81"/>
                  </a:lnTo>
                  <a:lnTo>
                    <a:pt x="415" y="95"/>
                  </a:lnTo>
                  <a:lnTo>
                    <a:pt x="431" y="111"/>
                  </a:lnTo>
                  <a:lnTo>
                    <a:pt x="443" y="129"/>
                  </a:lnTo>
                  <a:lnTo>
                    <a:pt x="455" y="147"/>
                  </a:lnTo>
                  <a:lnTo>
                    <a:pt x="465" y="167"/>
                  </a:lnTo>
                  <a:lnTo>
                    <a:pt x="468" y="177"/>
                  </a:lnTo>
                  <a:lnTo>
                    <a:pt x="472" y="188"/>
                  </a:lnTo>
                  <a:lnTo>
                    <a:pt x="474" y="199"/>
                  </a:lnTo>
                  <a:lnTo>
                    <a:pt x="478" y="210"/>
                  </a:lnTo>
                  <a:lnTo>
                    <a:pt x="480" y="220"/>
                  </a:lnTo>
                  <a:lnTo>
                    <a:pt x="481" y="232"/>
                  </a:lnTo>
                  <a:lnTo>
                    <a:pt x="482" y="243"/>
                  </a:lnTo>
                  <a:lnTo>
                    <a:pt x="482" y="255"/>
                  </a:lnTo>
                  <a:lnTo>
                    <a:pt x="482" y="266"/>
                  </a:lnTo>
                  <a:lnTo>
                    <a:pt x="481" y="277"/>
                  </a:lnTo>
                  <a:lnTo>
                    <a:pt x="480" y="289"/>
                  </a:lnTo>
                  <a:lnTo>
                    <a:pt x="478" y="300"/>
                  </a:lnTo>
                  <a:lnTo>
                    <a:pt x="474" y="310"/>
                  </a:lnTo>
                  <a:lnTo>
                    <a:pt x="472" y="321"/>
                  </a:lnTo>
                  <a:lnTo>
                    <a:pt x="468" y="332"/>
                  </a:lnTo>
                  <a:lnTo>
                    <a:pt x="465" y="342"/>
                  </a:lnTo>
                  <a:lnTo>
                    <a:pt x="455" y="362"/>
                  </a:lnTo>
                  <a:lnTo>
                    <a:pt x="443" y="380"/>
                  </a:lnTo>
                  <a:lnTo>
                    <a:pt x="431" y="398"/>
                  </a:lnTo>
                  <a:lnTo>
                    <a:pt x="415" y="414"/>
                  </a:lnTo>
                  <a:lnTo>
                    <a:pt x="399" y="428"/>
                  </a:lnTo>
                  <a:lnTo>
                    <a:pt x="382" y="441"/>
                  </a:lnTo>
                  <a:lnTo>
                    <a:pt x="364" y="453"/>
                  </a:lnTo>
                  <a:lnTo>
                    <a:pt x="345" y="462"/>
                  </a:lnTo>
                  <a:lnTo>
                    <a:pt x="334" y="467"/>
                  </a:lnTo>
                  <a:lnTo>
                    <a:pt x="323" y="470"/>
                  </a:lnTo>
                  <a:lnTo>
                    <a:pt x="313" y="473"/>
                  </a:lnTo>
                  <a:lnTo>
                    <a:pt x="302" y="475"/>
                  </a:lnTo>
                  <a:lnTo>
                    <a:pt x="291" y="477"/>
                  </a:lnTo>
                  <a:lnTo>
                    <a:pt x="279" y="479"/>
                  </a:lnTo>
                  <a:lnTo>
                    <a:pt x="269" y="480"/>
                  </a:lnTo>
                  <a:lnTo>
                    <a:pt x="257" y="480"/>
                  </a:lnTo>
                  <a:close/>
                  <a:moveTo>
                    <a:pt x="257" y="0"/>
                  </a:moveTo>
                  <a:lnTo>
                    <a:pt x="244" y="0"/>
                  </a:lnTo>
                  <a:lnTo>
                    <a:pt x="230" y="1"/>
                  </a:lnTo>
                  <a:lnTo>
                    <a:pt x="218" y="2"/>
                  </a:lnTo>
                  <a:lnTo>
                    <a:pt x="205" y="4"/>
                  </a:lnTo>
                  <a:lnTo>
                    <a:pt x="192" y="7"/>
                  </a:lnTo>
                  <a:lnTo>
                    <a:pt x="181" y="10"/>
                  </a:lnTo>
                  <a:lnTo>
                    <a:pt x="169" y="15"/>
                  </a:lnTo>
                  <a:lnTo>
                    <a:pt x="157" y="19"/>
                  </a:lnTo>
                  <a:lnTo>
                    <a:pt x="146" y="24"/>
                  </a:lnTo>
                  <a:lnTo>
                    <a:pt x="135" y="30"/>
                  </a:lnTo>
                  <a:lnTo>
                    <a:pt x="124" y="36"/>
                  </a:lnTo>
                  <a:lnTo>
                    <a:pt x="114" y="42"/>
                  </a:lnTo>
                  <a:lnTo>
                    <a:pt x="103" y="50"/>
                  </a:lnTo>
                  <a:lnTo>
                    <a:pt x="94" y="57"/>
                  </a:lnTo>
                  <a:lnTo>
                    <a:pt x="85" y="66"/>
                  </a:lnTo>
                  <a:lnTo>
                    <a:pt x="76" y="74"/>
                  </a:lnTo>
                  <a:lnTo>
                    <a:pt x="67" y="83"/>
                  </a:lnTo>
                  <a:lnTo>
                    <a:pt x="59" y="92"/>
                  </a:lnTo>
                  <a:lnTo>
                    <a:pt x="52" y="101"/>
                  </a:lnTo>
                  <a:lnTo>
                    <a:pt x="44" y="112"/>
                  </a:lnTo>
                  <a:lnTo>
                    <a:pt x="38" y="122"/>
                  </a:lnTo>
                  <a:lnTo>
                    <a:pt x="32" y="132"/>
                  </a:lnTo>
                  <a:lnTo>
                    <a:pt x="26" y="144"/>
                  </a:lnTo>
                  <a:lnTo>
                    <a:pt x="21" y="155"/>
                  </a:lnTo>
                  <a:lnTo>
                    <a:pt x="17" y="167"/>
                  </a:lnTo>
                  <a:lnTo>
                    <a:pt x="12" y="179"/>
                  </a:lnTo>
                  <a:lnTo>
                    <a:pt x="9" y="190"/>
                  </a:lnTo>
                  <a:lnTo>
                    <a:pt x="6" y="203"/>
                  </a:lnTo>
                  <a:lnTo>
                    <a:pt x="4" y="216"/>
                  </a:lnTo>
                  <a:lnTo>
                    <a:pt x="3" y="229"/>
                  </a:lnTo>
                  <a:lnTo>
                    <a:pt x="2" y="242"/>
                  </a:lnTo>
                  <a:lnTo>
                    <a:pt x="0" y="255"/>
                  </a:lnTo>
                  <a:lnTo>
                    <a:pt x="2" y="267"/>
                  </a:lnTo>
                  <a:lnTo>
                    <a:pt x="3" y="280"/>
                  </a:lnTo>
                  <a:lnTo>
                    <a:pt x="4" y="293"/>
                  </a:lnTo>
                  <a:lnTo>
                    <a:pt x="6" y="306"/>
                  </a:lnTo>
                  <a:lnTo>
                    <a:pt x="9" y="318"/>
                  </a:lnTo>
                  <a:lnTo>
                    <a:pt x="12" y="331"/>
                  </a:lnTo>
                  <a:lnTo>
                    <a:pt x="17" y="342"/>
                  </a:lnTo>
                  <a:lnTo>
                    <a:pt x="21" y="354"/>
                  </a:lnTo>
                  <a:lnTo>
                    <a:pt x="26" y="365"/>
                  </a:lnTo>
                  <a:lnTo>
                    <a:pt x="32" y="376"/>
                  </a:lnTo>
                  <a:lnTo>
                    <a:pt x="38" y="386"/>
                  </a:lnTo>
                  <a:lnTo>
                    <a:pt x="44" y="397"/>
                  </a:lnTo>
                  <a:lnTo>
                    <a:pt x="52" y="407"/>
                  </a:lnTo>
                  <a:lnTo>
                    <a:pt x="59" y="416"/>
                  </a:lnTo>
                  <a:lnTo>
                    <a:pt x="67" y="426"/>
                  </a:lnTo>
                  <a:lnTo>
                    <a:pt x="76" y="435"/>
                  </a:lnTo>
                  <a:lnTo>
                    <a:pt x="85" y="443"/>
                  </a:lnTo>
                  <a:lnTo>
                    <a:pt x="94" y="452"/>
                  </a:lnTo>
                  <a:lnTo>
                    <a:pt x="103" y="459"/>
                  </a:lnTo>
                  <a:lnTo>
                    <a:pt x="114" y="467"/>
                  </a:lnTo>
                  <a:lnTo>
                    <a:pt x="124" y="473"/>
                  </a:lnTo>
                  <a:lnTo>
                    <a:pt x="135" y="480"/>
                  </a:lnTo>
                  <a:lnTo>
                    <a:pt x="146" y="485"/>
                  </a:lnTo>
                  <a:lnTo>
                    <a:pt x="157" y="490"/>
                  </a:lnTo>
                  <a:lnTo>
                    <a:pt x="169" y="495"/>
                  </a:lnTo>
                  <a:lnTo>
                    <a:pt x="181" y="499"/>
                  </a:lnTo>
                  <a:lnTo>
                    <a:pt x="192" y="502"/>
                  </a:lnTo>
                  <a:lnTo>
                    <a:pt x="205" y="505"/>
                  </a:lnTo>
                  <a:lnTo>
                    <a:pt x="218" y="507"/>
                  </a:lnTo>
                  <a:lnTo>
                    <a:pt x="230" y="509"/>
                  </a:lnTo>
                  <a:lnTo>
                    <a:pt x="244" y="510"/>
                  </a:lnTo>
                  <a:lnTo>
                    <a:pt x="257" y="510"/>
                  </a:lnTo>
                  <a:lnTo>
                    <a:pt x="270" y="510"/>
                  </a:lnTo>
                  <a:lnTo>
                    <a:pt x="283" y="509"/>
                  </a:lnTo>
                  <a:lnTo>
                    <a:pt x="295" y="507"/>
                  </a:lnTo>
                  <a:lnTo>
                    <a:pt x="308" y="505"/>
                  </a:lnTo>
                  <a:lnTo>
                    <a:pt x="320" y="502"/>
                  </a:lnTo>
                  <a:lnTo>
                    <a:pt x="333" y="499"/>
                  </a:lnTo>
                  <a:lnTo>
                    <a:pt x="345" y="495"/>
                  </a:lnTo>
                  <a:lnTo>
                    <a:pt x="355" y="490"/>
                  </a:lnTo>
                  <a:lnTo>
                    <a:pt x="367" y="485"/>
                  </a:lnTo>
                  <a:lnTo>
                    <a:pt x="378" y="480"/>
                  </a:lnTo>
                  <a:lnTo>
                    <a:pt x="389" y="473"/>
                  </a:lnTo>
                  <a:lnTo>
                    <a:pt x="399" y="467"/>
                  </a:lnTo>
                  <a:lnTo>
                    <a:pt x="409" y="459"/>
                  </a:lnTo>
                  <a:lnTo>
                    <a:pt x="419" y="452"/>
                  </a:lnTo>
                  <a:lnTo>
                    <a:pt x="428" y="443"/>
                  </a:lnTo>
                  <a:lnTo>
                    <a:pt x="437" y="435"/>
                  </a:lnTo>
                  <a:lnTo>
                    <a:pt x="446" y="426"/>
                  </a:lnTo>
                  <a:lnTo>
                    <a:pt x="454" y="417"/>
                  </a:lnTo>
                  <a:lnTo>
                    <a:pt x="462" y="407"/>
                  </a:lnTo>
                  <a:lnTo>
                    <a:pt x="468" y="397"/>
                  </a:lnTo>
                  <a:lnTo>
                    <a:pt x="476" y="386"/>
                  </a:lnTo>
                  <a:lnTo>
                    <a:pt x="481" y="376"/>
                  </a:lnTo>
                  <a:lnTo>
                    <a:pt x="487" y="365"/>
                  </a:lnTo>
                  <a:lnTo>
                    <a:pt x="492" y="354"/>
                  </a:lnTo>
                  <a:lnTo>
                    <a:pt x="497" y="342"/>
                  </a:lnTo>
                  <a:lnTo>
                    <a:pt x="500" y="331"/>
                  </a:lnTo>
                  <a:lnTo>
                    <a:pt x="505" y="318"/>
                  </a:lnTo>
                  <a:lnTo>
                    <a:pt x="507" y="306"/>
                  </a:lnTo>
                  <a:lnTo>
                    <a:pt x="509" y="293"/>
                  </a:lnTo>
                  <a:lnTo>
                    <a:pt x="511" y="280"/>
                  </a:lnTo>
                  <a:lnTo>
                    <a:pt x="512" y="267"/>
                  </a:lnTo>
                  <a:lnTo>
                    <a:pt x="512" y="255"/>
                  </a:lnTo>
                  <a:lnTo>
                    <a:pt x="512" y="242"/>
                  </a:lnTo>
                  <a:lnTo>
                    <a:pt x="511" y="229"/>
                  </a:lnTo>
                  <a:lnTo>
                    <a:pt x="509" y="216"/>
                  </a:lnTo>
                  <a:lnTo>
                    <a:pt x="507" y="203"/>
                  </a:lnTo>
                  <a:lnTo>
                    <a:pt x="505" y="190"/>
                  </a:lnTo>
                  <a:lnTo>
                    <a:pt x="500" y="179"/>
                  </a:lnTo>
                  <a:lnTo>
                    <a:pt x="497" y="167"/>
                  </a:lnTo>
                  <a:lnTo>
                    <a:pt x="492" y="155"/>
                  </a:lnTo>
                  <a:lnTo>
                    <a:pt x="487" y="144"/>
                  </a:lnTo>
                  <a:lnTo>
                    <a:pt x="481" y="132"/>
                  </a:lnTo>
                  <a:lnTo>
                    <a:pt x="476" y="122"/>
                  </a:lnTo>
                  <a:lnTo>
                    <a:pt x="468" y="112"/>
                  </a:lnTo>
                  <a:lnTo>
                    <a:pt x="462" y="101"/>
                  </a:lnTo>
                  <a:lnTo>
                    <a:pt x="454" y="92"/>
                  </a:lnTo>
                  <a:lnTo>
                    <a:pt x="446" y="83"/>
                  </a:lnTo>
                  <a:lnTo>
                    <a:pt x="437" y="74"/>
                  </a:lnTo>
                  <a:lnTo>
                    <a:pt x="428" y="66"/>
                  </a:lnTo>
                  <a:lnTo>
                    <a:pt x="419" y="57"/>
                  </a:lnTo>
                  <a:lnTo>
                    <a:pt x="409" y="50"/>
                  </a:lnTo>
                  <a:lnTo>
                    <a:pt x="399" y="42"/>
                  </a:lnTo>
                  <a:lnTo>
                    <a:pt x="389" y="36"/>
                  </a:lnTo>
                  <a:lnTo>
                    <a:pt x="378" y="30"/>
                  </a:lnTo>
                  <a:lnTo>
                    <a:pt x="367" y="24"/>
                  </a:lnTo>
                  <a:lnTo>
                    <a:pt x="355" y="19"/>
                  </a:lnTo>
                  <a:lnTo>
                    <a:pt x="345" y="15"/>
                  </a:lnTo>
                  <a:lnTo>
                    <a:pt x="333" y="10"/>
                  </a:lnTo>
                  <a:lnTo>
                    <a:pt x="320" y="7"/>
                  </a:lnTo>
                  <a:lnTo>
                    <a:pt x="308" y="4"/>
                  </a:lnTo>
                  <a:lnTo>
                    <a:pt x="295" y="2"/>
                  </a:lnTo>
                  <a:lnTo>
                    <a:pt x="283" y="1"/>
                  </a:lnTo>
                  <a:lnTo>
                    <a:pt x="270"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3" name="Freeform 85">
              <a:extLst>
                <a:ext uri="{FF2B5EF4-FFF2-40B4-BE49-F238E27FC236}">
                  <a16:creationId xmlns:a16="http://schemas.microsoft.com/office/drawing/2014/main" id="{FA357FD9-82ED-44AD-8039-87A79D7A7529}"/>
                </a:ext>
              </a:extLst>
            </p:cNvPr>
            <p:cNvSpPr>
              <a:spLocks noEditPoints="1"/>
            </p:cNvSpPr>
            <p:nvPr/>
          </p:nvSpPr>
          <p:spPr bwMode="auto">
            <a:xfrm>
              <a:off x="1455738" y="2714625"/>
              <a:ext cx="238125" cy="246063"/>
            </a:xfrm>
            <a:custGeom>
              <a:avLst/>
              <a:gdLst>
                <a:gd name="T0" fmla="*/ 548 w 752"/>
                <a:gd name="T1" fmla="*/ 49 h 775"/>
                <a:gd name="T2" fmla="*/ 683 w 752"/>
                <a:gd name="T3" fmla="*/ 105 h 775"/>
                <a:gd name="T4" fmla="*/ 719 w 752"/>
                <a:gd name="T5" fmla="*/ 147 h 775"/>
                <a:gd name="T6" fmla="*/ 719 w 752"/>
                <a:gd name="T7" fmla="*/ 184 h 775"/>
                <a:gd name="T8" fmla="*/ 683 w 752"/>
                <a:gd name="T9" fmla="*/ 227 h 775"/>
                <a:gd name="T10" fmla="*/ 548 w 752"/>
                <a:gd name="T11" fmla="*/ 282 h 775"/>
                <a:gd name="T12" fmla="*/ 338 w 752"/>
                <a:gd name="T13" fmla="*/ 300 h 775"/>
                <a:gd name="T14" fmla="*/ 149 w 752"/>
                <a:gd name="T15" fmla="*/ 267 h 775"/>
                <a:gd name="T16" fmla="*/ 49 w 752"/>
                <a:gd name="T17" fmla="*/ 208 h 775"/>
                <a:gd name="T18" fmla="*/ 30 w 752"/>
                <a:gd name="T19" fmla="*/ 172 h 775"/>
                <a:gd name="T20" fmla="*/ 40 w 752"/>
                <a:gd name="T21" fmla="*/ 135 h 775"/>
                <a:gd name="T22" fmla="*/ 104 w 752"/>
                <a:gd name="T23" fmla="*/ 84 h 775"/>
                <a:gd name="T24" fmla="*/ 267 w 752"/>
                <a:gd name="T25" fmla="*/ 38 h 775"/>
                <a:gd name="T26" fmla="*/ 433 w 752"/>
                <a:gd name="T27" fmla="*/ 329 h 775"/>
                <a:gd name="T28" fmla="*/ 587 w 752"/>
                <a:gd name="T29" fmla="*/ 304 h 775"/>
                <a:gd name="T30" fmla="*/ 697 w 752"/>
                <a:gd name="T31" fmla="*/ 253 h 775"/>
                <a:gd name="T32" fmla="*/ 724 w 752"/>
                <a:gd name="T33" fmla="*/ 324 h 775"/>
                <a:gd name="T34" fmla="*/ 740 w 752"/>
                <a:gd name="T35" fmla="*/ 331 h 775"/>
                <a:gd name="T36" fmla="*/ 752 w 752"/>
                <a:gd name="T37" fmla="*/ 319 h 775"/>
                <a:gd name="T38" fmla="*/ 744 w 752"/>
                <a:gd name="T39" fmla="*/ 132 h 775"/>
                <a:gd name="T40" fmla="*/ 707 w 752"/>
                <a:gd name="T41" fmla="*/ 86 h 775"/>
                <a:gd name="T42" fmla="*/ 588 w 752"/>
                <a:gd name="T43" fmla="*/ 28 h 775"/>
                <a:gd name="T44" fmla="*/ 375 w 752"/>
                <a:gd name="T45" fmla="*/ 0 h 775"/>
                <a:gd name="T46" fmla="*/ 164 w 752"/>
                <a:gd name="T47" fmla="*/ 28 h 775"/>
                <a:gd name="T48" fmla="*/ 45 w 752"/>
                <a:gd name="T49" fmla="*/ 86 h 775"/>
                <a:gd name="T50" fmla="*/ 8 w 752"/>
                <a:gd name="T51" fmla="*/ 132 h 775"/>
                <a:gd name="T52" fmla="*/ 0 w 752"/>
                <a:gd name="T53" fmla="*/ 623 h 775"/>
                <a:gd name="T54" fmla="*/ 15 w 752"/>
                <a:gd name="T55" fmla="*/ 664 h 775"/>
                <a:gd name="T56" fmla="*/ 93 w 752"/>
                <a:gd name="T57" fmla="*/ 727 h 775"/>
                <a:gd name="T58" fmla="*/ 241 w 752"/>
                <a:gd name="T59" fmla="*/ 771 h 775"/>
                <a:gd name="T60" fmla="*/ 285 w 752"/>
                <a:gd name="T61" fmla="*/ 768 h 775"/>
                <a:gd name="T62" fmla="*/ 282 w 752"/>
                <a:gd name="T63" fmla="*/ 749 h 775"/>
                <a:gd name="T64" fmla="*/ 200 w 752"/>
                <a:gd name="T65" fmla="*/ 732 h 775"/>
                <a:gd name="T66" fmla="*/ 84 w 752"/>
                <a:gd name="T67" fmla="*/ 687 h 775"/>
                <a:gd name="T68" fmla="*/ 32 w 752"/>
                <a:gd name="T69" fmla="*/ 633 h 775"/>
                <a:gd name="T70" fmla="*/ 47 w 752"/>
                <a:gd name="T71" fmla="*/ 548 h 775"/>
                <a:gd name="T72" fmla="*/ 118 w 752"/>
                <a:gd name="T73" fmla="*/ 588 h 775"/>
                <a:gd name="T74" fmla="*/ 255 w 752"/>
                <a:gd name="T75" fmla="*/ 623 h 775"/>
                <a:gd name="T76" fmla="*/ 272 w 752"/>
                <a:gd name="T77" fmla="*/ 610 h 775"/>
                <a:gd name="T78" fmla="*/ 265 w 752"/>
                <a:gd name="T79" fmla="*/ 595 h 775"/>
                <a:gd name="T80" fmla="*/ 166 w 752"/>
                <a:gd name="T81" fmla="*/ 573 h 775"/>
                <a:gd name="T82" fmla="*/ 67 w 752"/>
                <a:gd name="T83" fmla="*/ 526 h 775"/>
                <a:gd name="T84" fmla="*/ 30 w 752"/>
                <a:gd name="T85" fmla="*/ 467 h 775"/>
                <a:gd name="T86" fmla="*/ 88 w 752"/>
                <a:gd name="T87" fmla="*/ 424 h 775"/>
                <a:gd name="T88" fmla="*/ 191 w 752"/>
                <a:gd name="T89" fmla="*/ 460 h 775"/>
                <a:gd name="T90" fmla="*/ 300 w 752"/>
                <a:gd name="T91" fmla="*/ 478 h 775"/>
                <a:gd name="T92" fmla="*/ 316 w 752"/>
                <a:gd name="T93" fmla="*/ 461 h 775"/>
                <a:gd name="T94" fmla="*/ 306 w 752"/>
                <a:gd name="T95" fmla="*/ 448 h 775"/>
                <a:gd name="T96" fmla="*/ 171 w 752"/>
                <a:gd name="T97" fmla="*/ 424 h 775"/>
                <a:gd name="T98" fmla="*/ 62 w 752"/>
                <a:gd name="T99" fmla="*/ 371 h 775"/>
                <a:gd name="T100" fmla="*/ 30 w 752"/>
                <a:gd name="T101" fmla="*/ 322 h 775"/>
                <a:gd name="T102" fmla="*/ 86 w 752"/>
                <a:gd name="T103" fmla="*/ 272 h 775"/>
                <a:gd name="T104" fmla="*/ 212 w 752"/>
                <a:gd name="T105" fmla="*/ 316 h 775"/>
                <a:gd name="T106" fmla="*/ 375 w 752"/>
                <a:gd name="T107" fmla="*/ 33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2" h="775">
                  <a:moveTo>
                    <a:pt x="375" y="30"/>
                  </a:moveTo>
                  <a:lnTo>
                    <a:pt x="414" y="32"/>
                  </a:lnTo>
                  <a:lnTo>
                    <a:pt x="451" y="34"/>
                  </a:lnTo>
                  <a:lnTo>
                    <a:pt x="485" y="38"/>
                  </a:lnTo>
                  <a:lnTo>
                    <a:pt x="517" y="42"/>
                  </a:lnTo>
                  <a:lnTo>
                    <a:pt x="548" y="49"/>
                  </a:lnTo>
                  <a:lnTo>
                    <a:pt x="576" y="56"/>
                  </a:lnTo>
                  <a:lnTo>
                    <a:pt x="603" y="65"/>
                  </a:lnTo>
                  <a:lnTo>
                    <a:pt x="626" y="73"/>
                  </a:lnTo>
                  <a:lnTo>
                    <a:pt x="648" y="84"/>
                  </a:lnTo>
                  <a:lnTo>
                    <a:pt x="667" y="95"/>
                  </a:lnTo>
                  <a:lnTo>
                    <a:pt x="683" y="105"/>
                  </a:lnTo>
                  <a:lnTo>
                    <a:pt x="697" y="117"/>
                  </a:lnTo>
                  <a:lnTo>
                    <a:pt x="703" y="123"/>
                  </a:lnTo>
                  <a:lnTo>
                    <a:pt x="708" y="129"/>
                  </a:lnTo>
                  <a:lnTo>
                    <a:pt x="712" y="135"/>
                  </a:lnTo>
                  <a:lnTo>
                    <a:pt x="715" y="141"/>
                  </a:lnTo>
                  <a:lnTo>
                    <a:pt x="719" y="147"/>
                  </a:lnTo>
                  <a:lnTo>
                    <a:pt x="720" y="154"/>
                  </a:lnTo>
                  <a:lnTo>
                    <a:pt x="722" y="160"/>
                  </a:lnTo>
                  <a:lnTo>
                    <a:pt x="722" y="165"/>
                  </a:lnTo>
                  <a:lnTo>
                    <a:pt x="722" y="172"/>
                  </a:lnTo>
                  <a:lnTo>
                    <a:pt x="720" y="178"/>
                  </a:lnTo>
                  <a:lnTo>
                    <a:pt x="719" y="184"/>
                  </a:lnTo>
                  <a:lnTo>
                    <a:pt x="715" y="190"/>
                  </a:lnTo>
                  <a:lnTo>
                    <a:pt x="712" y="197"/>
                  </a:lnTo>
                  <a:lnTo>
                    <a:pt x="708" y="203"/>
                  </a:lnTo>
                  <a:lnTo>
                    <a:pt x="703" y="208"/>
                  </a:lnTo>
                  <a:lnTo>
                    <a:pt x="697" y="215"/>
                  </a:lnTo>
                  <a:lnTo>
                    <a:pt x="683" y="227"/>
                  </a:lnTo>
                  <a:lnTo>
                    <a:pt x="667" y="237"/>
                  </a:lnTo>
                  <a:lnTo>
                    <a:pt x="648" y="248"/>
                  </a:lnTo>
                  <a:lnTo>
                    <a:pt x="626" y="258"/>
                  </a:lnTo>
                  <a:lnTo>
                    <a:pt x="603" y="267"/>
                  </a:lnTo>
                  <a:lnTo>
                    <a:pt x="576" y="276"/>
                  </a:lnTo>
                  <a:lnTo>
                    <a:pt x="548" y="282"/>
                  </a:lnTo>
                  <a:lnTo>
                    <a:pt x="517" y="289"/>
                  </a:lnTo>
                  <a:lnTo>
                    <a:pt x="485" y="294"/>
                  </a:lnTo>
                  <a:lnTo>
                    <a:pt x="451" y="298"/>
                  </a:lnTo>
                  <a:lnTo>
                    <a:pt x="414" y="300"/>
                  </a:lnTo>
                  <a:lnTo>
                    <a:pt x="375" y="302"/>
                  </a:lnTo>
                  <a:lnTo>
                    <a:pt x="338" y="300"/>
                  </a:lnTo>
                  <a:lnTo>
                    <a:pt x="301" y="298"/>
                  </a:lnTo>
                  <a:lnTo>
                    <a:pt x="267" y="294"/>
                  </a:lnTo>
                  <a:lnTo>
                    <a:pt x="235" y="289"/>
                  </a:lnTo>
                  <a:lnTo>
                    <a:pt x="204" y="282"/>
                  </a:lnTo>
                  <a:lnTo>
                    <a:pt x="176" y="276"/>
                  </a:lnTo>
                  <a:lnTo>
                    <a:pt x="149" y="267"/>
                  </a:lnTo>
                  <a:lnTo>
                    <a:pt x="126" y="258"/>
                  </a:lnTo>
                  <a:lnTo>
                    <a:pt x="104" y="248"/>
                  </a:lnTo>
                  <a:lnTo>
                    <a:pt x="85" y="237"/>
                  </a:lnTo>
                  <a:lnTo>
                    <a:pt x="69" y="227"/>
                  </a:lnTo>
                  <a:lnTo>
                    <a:pt x="55" y="215"/>
                  </a:lnTo>
                  <a:lnTo>
                    <a:pt x="49" y="208"/>
                  </a:lnTo>
                  <a:lnTo>
                    <a:pt x="44" y="203"/>
                  </a:lnTo>
                  <a:lnTo>
                    <a:pt x="40" y="197"/>
                  </a:lnTo>
                  <a:lnTo>
                    <a:pt x="37" y="190"/>
                  </a:lnTo>
                  <a:lnTo>
                    <a:pt x="33" y="184"/>
                  </a:lnTo>
                  <a:lnTo>
                    <a:pt x="31" y="178"/>
                  </a:lnTo>
                  <a:lnTo>
                    <a:pt x="30" y="172"/>
                  </a:lnTo>
                  <a:lnTo>
                    <a:pt x="30" y="165"/>
                  </a:lnTo>
                  <a:lnTo>
                    <a:pt x="30" y="160"/>
                  </a:lnTo>
                  <a:lnTo>
                    <a:pt x="31" y="154"/>
                  </a:lnTo>
                  <a:lnTo>
                    <a:pt x="33" y="147"/>
                  </a:lnTo>
                  <a:lnTo>
                    <a:pt x="37" y="141"/>
                  </a:lnTo>
                  <a:lnTo>
                    <a:pt x="40" y="135"/>
                  </a:lnTo>
                  <a:lnTo>
                    <a:pt x="44" y="129"/>
                  </a:lnTo>
                  <a:lnTo>
                    <a:pt x="49" y="123"/>
                  </a:lnTo>
                  <a:lnTo>
                    <a:pt x="55" y="117"/>
                  </a:lnTo>
                  <a:lnTo>
                    <a:pt x="69" y="105"/>
                  </a:lnTo>
                  <a:lnTo>
                    <a:pt x="85" y="95"/>
                  </a:lnTo>
                  <a:lnTo>
                    <a:pt x="104" y="84"/>
                  </a:lnTo>
                  <a:lnTo>
                    <a:pt x="126" y="73"/>
                  </a:lnTo>
                  <a:lnTo>
                    <a:pt x="149" y="65"/>
                  </a:lnTo>
                  <a:lnTo>
                    <a:pt x="176" y="56"/>
                  </a:lnTo>
                  <a:lnTo>
                    <a:pt x="204" y="49"/>
                  </a:lnTo>
                  <a:lnTo>
                    <a:pt x="235" y="42"/>
                  </a:lnTo>
                  <a:lnTo>
                    <a:pt x="267" y="38"/>
                  </a:lnTo>
                  <a:lnTo>
                    <a:pt x="301" y="34"/>
                  </a:lnTo>
                  <a:lnTo>
                    <a:pt x="338" y="32"/>
                  </a:lnTo>
                  <a:lnTo>
                    <a:pt x="375" y="30"/>
                  </a:lnTo>
                  <a:close/>
                  <a:moveTo>
                    <a:pt x="375" y="332"/>
                  </a:moveTo>
                  <a:lnTo>
                    <a:pt x="405" y="331"/>
                  </a:lnTo>
                  <a:lnTo>
                    <a:pt x="433" y="329"/>
                  </a:lnTo>
                  <a:lnTo>
                    <a:pt x="461" y="327"/>
                  </a:lnTo>
                  <a:lnTo>
                    <a:pt x="488" y="324"/>
                  </a:lnTo>
                  <a:lnTo>
                    <a:pt x="515" y="320"/>
                  </a:lnTo>
                  <a:lnTo>
                    <a:pt x="540" y="316"/>
                  </a:lnTo>
                  <a:lnTo>
                    <a:pt x="563" y="310"/>
                  </a:lnTo>
                  <a:lnTo>
                    <a:pt x="587" y="304"/>
                  </a:lnTo>
                  <a:lnTo>
                    <a:pt x="608" y="296"/>
                  </a:lnTo>
                  <a:lnTo>
                    <a:pt x="629" y="289"/>
                  </a:lnTo>
                  <a:lnTo>
                    <a:pt x="648" y="281"/>
                  </a:lnTo>
                  <a:lnTo>
                    <a:pt x="666" y="272"/>
                  </a:lnTo>
                  <a:lnTo>
                    <a:pt x="682" y="263"/>
                  </a:lnTo>
                  <a:lnTo>
                    <a:pt x="697" y="253"/>
                  </a:lnTo>
                  <a:lnTo>
                    <a:pt x="710" y="243"/>
                  </a:lnTo>
                  <a:lnTo>
                    <a:pt x="722" y="232"/>
                  </a:lnTo>
                  <a:lnTo>
                    <a:pt x="722" y="317"/>
                  </a:lnTo>
                  <a:lnTo>
                    <a:pt x="722" y="319"/>
                  </a:lnTo>
                  <a:lnTo>
                    <a:pt x="723" y="322"/>
                  </a:lnTo>
                  <a:lnTo>
                    <a:pt x="724" y="324"/>
                  </a:lnTo>
                  <a:lnTo>
                    <a:pt x="726" y="326"/>
                  </a:lnTo>
                  <a:lnTo>
                    <a:pt x="728" y="328"/>
                  </a:lnTo>
                  <a:lnTo>
                    <a:pt x="730" y="329"/>
                  </a:lnTo>
                  <a:lnTo>
                    <a:pt x="734" y="331"/>
                  </a:lnTo>
                  <a:lnTo>
                    <a:pt x="737" y="332"/>
                  </a:lnTo>
                  <a:lnTo>
                    <a:pt x="740" y="331"/>
                  </a:lnTo>
                  <a:lnTo>
                    <a:pt x="742" y="329"/>
                  </a:lnTo>
                  <a:lnTo>
                    <a:pt x="745" y="328"/>
                  </a:lnTo>
                  <a:lnTo>
                    <a:pt x="748" y="326"/>
                  </a:lnTo>
                  <a:lnTo>
                    <a:pt x="750" y="324"/>
                  </a:lnTo>
                  <a:lnTo>
                    <a:pt x="751" y="322"/>
                  </a:lnTo>
                  <a:lnTo>
                    <a:pt x="752" y="319"/>
                  </a:lnTo>
                  <a:lnTo>
                    <a:pt x="752" y="317"/>
                  </a:lnTo>
                  <a:lnTo>
                    <a:pt x="752" y="165"/>
                  </a:lnTo>
                  <a:lnTo>
                    <a:pt x="751" y="157"/>
                  </a:lnTo>
                  <a:lnTo>
                    <a:pt x="750" y="148"/>
                  </a:lnTo>
                  <a:lnTo>
                    <a:pt x="748" y="140"/>
                  </a:lnTo>
                  <a:lnTo>
                    <a:pt x="744" y="132"/>
                  </a:lnTo>
                  <a:lnTo>
                    <a:pt x="740" y="124"/>
                  </a:lnTo>
                  <a:lnTo>
                    <a:pt x="735" y="116"/>
                  </a:lnTo>
                  <a:lnTo>
                    <a:pt x="729" y="109"/>
                  </a:lnTo>
                  <a:lnTo>
                    <a:pt x="723" y="101"/>
                  </a:lnTo>
                  <a:lnTo>
                    <a:pt x="715" y="94"/>
                  </a:lnTo>
                  <a:lnTo>
                    <a:pt x="707" y="86"/>
                  </a:lnTo>
                  <a:lnTo>
                    <a:pt x="698" y="80"/>
                  </a:lnTo>
                  <a:lnTo>
                    <a:pt x="689" y="72"/>
                  </a:lnTo>
                  <a:lnTo>
                    <a:pt x="667" y="60"/>
                  </a:lnTo>
                  <a:lnTo>
                    <a:pt x="642" y="49"/>
                  </a:lnTo>
                  <a:lnTo>
                    <a:pt x="617" y="38"/>
                  </a:lnTo>
                  <a:lnTo>
                    <a:pt x="588" y="28"/>
                  </a:lnTo>
                  <a:lnTo>
                    <a:pt x="557" y="20"/>
                  </a:lnTo>
                  <a:lnTo>
                    <a:pt x="523" y="13"/>
                  </a:lnTo>
                  <a:lnTo>
                    <a:pt x="489" y="8"/>
                  </a:lnTo>
                  <a:lnTo>
                    <a:pt x="453" y="4"/>
                  </a:lnTo>
                  <a:lnTo>
                    <a:pt x="415" y="2"/>
                  </a:lnTo>
                  <a:lnTo>
                    <a:pt x="375" y="0"/>
                  </a:lnTo>
                  <a:lnTo>
                    <a:pt x="337" y="2"/>
                  </a:lnTo>
                  <a:lnTo>
                    <a:pt x="299" y="4"/>
                  </a:lnTo>
                  <a:lnTo>
                    <a:pt x="263" y="8"/>
                  </a:lnTo>
                  <a:lnTo>
                    <a:pt x="228" y="13"/>
                  </a:lnTo>
                  <a:lnTo>
                    <a:pt x="195" y="20"/>
                  </a:lnTo>
                  <a:lnTo>
                    <a:pt x="164" y="28"/>
                  </a:lnTo>
                  <a:lnTo>
                    <a:pt x="135" y="38"/>
                  </a:lnTo>
                  <a:lnTo>
                    <a:pt x="108" y="49"/>
                  </a:lnTo>
                  <a:lnTo>
                    <a:pt x="85" y="60"/>
                  </a:lnTo>
                  <a:lnTo>
                    <a:pt x="63" y="72"/>
                  </a:lnTo>
                  <a:lnTo>
                    <a:pt x="54" y="80"/>
                  </a:lnTo>
                  <a:lnTo>
                    <a:pt x="45" y="86"/>
                  </a:lnTo>
                  <a:lnTo>
                    <a:pt x="37" y="94"/>
                  </a:lnTo>
                  <a:lnTo>
                    <a:pt x="29" y="101"/>
                  </a:lnTo>
                  <a:lnTo>
                    <a:pt x="23" y="109"/>
                  </a:lnTo>
                  <a:lnTo>
                    <a:pt x="16" y="116"/>
                  </a:lnTo>
                  <a:lnTo>
                    <a:pt x="12" y="124"/>
                  </a:lnTo>
                  <a:lnTo>
                    <a:pt x="8" y="132"/>
                  </a:lnTo>
                  <a:lnTo>
                    <a:pt x="4" y="141"/>
                  </a:lnTo>
                  <a:lnTo>
                    <a:pt x="2" y="148"/>
                  </a:lnTo>
                  <a:lnTo>
                    <a:pt x="0" y="157"/>
                  </a:lnTo>
                  <a:lnTo>
                    <a:pt x="0" y="165"/>
                  </a:lnTo>
                  <a:lnTo>
                    <a:pt x="0" y="617"/>
                  </a:lnTo>
                  <a:lnTo>
                    <a:pt x="0" y="623"/>
                  </a:lnTo>
                  <a:lnTo>
                    <a:pt x="1" y="631"/>
                  </a:lnTo>
                  <a:lnTo>
                    <a:pt x="2" y="637"/>
                  </a:lnTo>
                  <a:lnTo>
                    <a:pt x="4" y="644"/>
                  </a:lnTo>
                  <a:lnTo>
                    <a:pt x="8" y="651"/>
                  </a:lnTo>
                  <a:lnTo>
                    <a:pt x="11" y="657"/>
                  </a:lnTo>
                  <a:lnTo>
                    <a:pt x="15" y="664"/>
                  </a:lnTo>
                  <a:lnTo>
                    <a:pt x="19" y="670"/>
                  </a:lnTo>
                  <a:lnTo>
                    <a:pt x="30" y="682"/>
                  </a:lnTo>
                  <a:lnTo>
                    <a:pt x="43" y="695"/>
                  </a:lnTo>
                  <a:lnTo>
                    <a:pt x="58" y="706"/>
                  </a:lnTo>
                  <a:lnTo>
                    <a:pt x="74" y="716"/>
                  </a:lnTo>
                  <a:lnTo>
                    <a:pt x="93" y="727"/>
                  </a:lnTo>
                  <a:lnTo>
                    <a:pt x="114" y="736"/>
                  </a:lnTo>
                  <a:lnTo>
                    <a:pt x="136" y="745"/>
                  </a:lnTo>
                  <a:lnTo>
                    <a:pt x="160" y="753"/>
                  </a:lnTo>
                  <a:lnTo>
                    <a:pt x="186" y="760"/>
                  </a:lnTo>
                  <a:lnTo>
                    <a:pt x="212" y="766"/>
                  </a:lnTo>
                  <a:lnTo>
                    <a:pt x="241" y="771"/>
                  </a:lnTo>
                  <a:lnTo>
                    <a:pt x="270" y="775"/>
                  </a:lnTo>
                  <a:lnTo>
                    <a:pt x="271" y="775"/>
                  </a:lnTo>
                  <a:lnTo>
                    <a:pt x="272" y="775"/>
                  </a:lnTo>
                  <a:lnTo>
                    <a:pt x="278" y="774"/>
                  </a:lnTo>
                  <a:lnTo>
                    <a:pt x="282" y="772"/>
                  </a:lnTo>
                  <a:lnTo>
                    <a:pt x="285" y="768"/>
                  </a:lnTo>
                  <a:lnTo>
                    <a:pt x="287" y="762"/>
                  </a:lnTo>
                  <a:lnTo>
                    <a:pt x="287" y="759"/>
                  </a:lnTo>
                  <a:lnTo>
                    <a:pt x="286" y="756"/>
                  </a:lnTo>
                  <a:lnTo>
                    <a:pt x="285" y="754"/>
                  </a:lnTo>
                  <a:lnTo>
                    <a:pt x="284" y="752"/>
                  </a:lnTo>
                  <a:lnTo>
                    <a:pt x="282" y="749"/>
                  </a:lnTo>
                  <a:lnTo>
                    <a:pt x="280" y="747"/>
                  </a:lnTo>
                  <a:lnTo>
                    <a:pt x="278" y="746"/>
                  </a:lnTo>
                  <a:lnTo>
                    <a:pt x="275" y="745"/>
                  </a:lnTo>
                  <a:lnTo>
                    <a:pt x="248" y="742"/>
                  </a:lnTo>
                  <a:lnTo>
                    <a:pt x="223" y="738"/>
                  </a:lnTo>
                  <a:lnTo>
                    <a:pt x="200" y="732"/>
                  </a:lnTo>
                  <a:lnTo>
                    <a:pt x="176" y="726"/>
                  </a:lnTo>
                  <a:lnTo>
                    <a:pt x="154" y="719"/>
                  </a:lnTo>
                  <a:lnTo>
                    <a:pt x="135" y="712"/>
                  </a:lnTo>
                  <a:lnTo>
                    <a:pt x="116" y="704"/>
                  </a:lnTo>
                  <a:lnTo>
                    <a:pt x="99" y="696"/>
                  </a:lnTo>
                  <a:lnTo>
                    <a:pt x="84" y="687"/>
                  </a:lnTo>
                  <a:lnTo>
                    <a:pt x="70" y="678"/>
                  </a:lnTo>
                  <a:lnTo>
                    <a:pt x="58" y="668"/>
                  </a:lnTo>
                  <a:lnTo>
                    <a:pt x="48" y="658"/>
                  </a:lnTo>
                  <a:lnTo>
                    <a:pt x="41" y="648"/>
                  </a:lnTo>
                  <a:lnTo>
                    <a:pt x="34" y="638"/>
                  </a:lnTo>
                  <a:lnTo>
                    <a:pt x="32" y="633"/>
                  </a:lnTo>
                  <a:lnTo>
                    <a:pt x="31" y="627"/>
                  </a:lnTo>
                  <a:lnTo>
                    <a:pt x="30" y="622"/>
                  </a:lnTo>
                  <a:lnTo>
                    <a:pt x="30" y="617"/>
                  </a:lnTo>
                  <a:lnTo>
                    <a:pt x="30" y="532"/>
                  </a:lnTo>
                  <a:lnTo>
                    <a:pt x="38" y="541"/>
                  </a:lnTo>
                  <a:lnTo>
                    <a:pt x="47" y="548"/>
                  </a:lnTo>
                  <a:lnTo>
                    <a:pt x="57" y="556"/>
                  </a:lnTo>
                  <a:lnTo>
                    <a:pt x="68" y="562"/>
                  </a:lnTo>
                  <a:lnTo>
                    <a:pt x="79" y="569"/>
                  </a:lnTo>
                  <a:lnTo>
                    <a:pt x="91" y="576"/>
                  </a:lnTo>
                  <a:lnTo>
                    <a:pt x="104" y="582"/>
                  </a:lnTo>
                  <a:lnTo>
                    <a:pt x="118" y="588"/>
                  </a:lnTo>
                  <a:lnTo>
                    <a:pt x="133" y="593"/>
                  </a:lnTo>
                  <a:lnTo>
                    <a:pt x="148" y="598"/>
                  </a:lnTo>
                  <a:lnTo>
                    <a:pt x="164" y="604"/>
                  </a:lnTo>
                  <a:lnTo>
                    <a:pt x="181" y="608"/>
                  </a:lnTo>
                  <a:lnTo>
                    <a:pt x="217" y="617"/>
                  </a:lnTo>
                  <a:lnTo>
                    <a:pt x="255" y="623"/>
                  </a:lnTo>
                  <a:lnTo>
                    <a:pt x="256" y="623"/>
                  </a:lnTo>
                  <a:lnTo>
                    <a:pt x="257" y="623"/>
                  </a:lnTo>
                  <a:lnTo>
                    <a:pt x="263" y="622"/>
                  </a:lnTo>
                  <a:lnTo>
                    <a:pt x="267" y="620"/>
                  </a:lnTo>
                  <a:lnTo>
                    <a:pt x="270" y="616"/>
                  </a:lnTo>
                  <a:lnTo>
                    <a:pt x="272" y="610"/>
                  </a:lnTo>
                  <a:lnTo>
                    <a:pt x="272" y="607"/>
                  </a:lnTo>
                  <a:lnTo>
                    <a:pt x="271" y="604"/>
                  </a:lnTo>
                  <a:lnTo>
                    <a:pt x="271" y="602"/>
                  </a:lnTo>
                  <a:lnTo>
                    <a:pt x="269" y="599"/>
                  </a:lnTo>
                  <a:lnTo>
                    <a:pt x="267" y="597"/>
                  </a:lnTo>
                  <a:lnTo>
                    <a:pt x="265" y="595"/>
                  </a:lnTo>
                  <a:lnTo>
                    <a:pt x="263" y="594"/>
                  </a:lnTo>
                  <a:lnTo>
                    <a:pt x="260" y="593"/>
                  </a:lnTo>
                  <a:lnTo>
                    <a:pt x="235" y="589"/>
                  </a:lnTo>
                  <a:lnTo>
                    <a:pt x="211" y="584"/>
                  </a:lnTo>
                  <a:lnTo>
                    <a:pt x="188" y="579"/>
                  </a:lnTo>
                  <a:lnTo>
                    <a:pt x="166" y="573"/>
                  </a:lnTo>
                  <a:lnTo>
                    <a:pt x="146" y="566"/>
                  </a:lnTo>
                  <a:lnTo>
                    <a:pt x="128" y="559"/>
                  </a:lnTo>
                  <a:lnTo>
                    <a:pt x="111" y="551"/>
                  </a:lnTo>
                  <a:lnTo>
                    <a:pt x="94" y="543"/>
                  </a:lnTo>
                  <a:lnTo>
                    <a:pt x="79" y="534"/>
                  </a:lnTo>
                  <a:lnTo>
                    <a:pt x="67" y="526"/>
                  </a:lnTo>
                  <a:lnTo>
                    <a:pt x="56" y="516"/>
                  </a:lnTo>
                  <a:lnTo>
                    <a:pt x="47" y="506"/>
                  </a:lnTo>
                  <a:lnTo>
                    <a:pt x="40" y="497"/>
                  </a:lnTo>
                  <a:lnTo>
                    <a:pt x="34" y="487"/>
                  </a:lnTo>
                  <a:lnTo>
                    <a:pt x="31" y="476"/>
                  </a:lnTo>
                  <a:lnTo>
                    <a:pt x="30" y="467"/>
                  </a:lnTo>
                  <a:lnTo>
                    <a:pt x="30" y="382"/>
                  </a:lnTo>
                  <a:lnTo>
                    <a:pt x="40" y="391"/>
                  </a:lnTo>
                  <a:lnTo>
                    <a:pt x="49" y="399"/>
                  </a:lnTo>
                  <a:lnTo>
                    <a:pt x="61" y="408"/>
                  </a:lnTo>
                  <a:lnTo>
                    <a:pt x="74" y="415"/>
                  </a:lnTo>
                  <a:lnTo>
                    <a:pt x="88" y="424"/>
                  </a:lnTo>
                  <a:lnTo>
                    <a:pt x="103" y="430"/>
                  </a:lnTo>
                  <a:lnTo>
                    <a:pt x="119" y="438"/>
                  </a:lnTo>
                  <a:lnTo>
                    <a:pt x="135" y="444"/>
                  </a:lnTo>
                  <a:lnTo>
                    <a:pt x="153" y="451"/>
                  </a:lnTo>
                  <a:lnTo>
                    <a:pt x="172" y="456"/>
                  </a:lnTo>
                  <a:lnTo>
                    <a:pt x="191" y="460"/>
                  </a:lnTo>
                  <a:lnTo>
                    <a:pt x="211" y="466"/>
                  </a:lnTo>
                  <a:lnTo>
                    <a:pt x="233" y="469"/>
                  </a:lnTo>
                  <a:lnTo>
                    <a:pt x="254" y="473"/>
                  </a:lnTo>
                  <a:lnTo>
                    <a:pt x="277" y="475"/>
                  </a:lnTo>
                  <a:lnTo>
                    <a:pt x="300" y="478"/>
                  </a:lnTo>
                  <a:lnTo>
                    <a:pt x="300" y="478"/>
                  </a:lnTo>
                  <a:lnTo>
                    <a:pt x="301" y="478"/>
                  </a:lnTo>
                  <a:lnTo>
                    <a:pt x="307" y="477"/>
                  </a:lnTo>
                  <a:lnTo>
                    <a:pt x="311" y="474"/>
                  </a:lnTo>
                  <a:lnTo>
                    <a:pt x="314" y="470"/>
                  </a:lnTo>
                  <a:lnTo>
                    <a:pt x="316" y="464"/>
                  </a:lnTo>
                  <a:lnTo>
                    <a:pt x="316" y="461"/>
                  </a:lnTo>
                  <a:lnTo>
                    <a:pt x="315" y="458"/>
                  </a:lnTo>
                  <a:lnTo>
                    <a:pt x="314" y="456"/>
                  </a:lnTo>
                  <a:lnTo>
                    <a:pt x="313" y="454"/>
                  </a:lnTo>
                  <a:lnTo>
                    <a:pt x="311" y="452"/>
                  </a:lnTo>
                  <a:lnTo>
                    <a:pt x="308" y="449"/>
                  </a:lnTo>
                  <a:lnTo>
                    <a:pt x="306" y="448"/>
                  </a:lnTo>
                  <a:lnTo>
                    <a:pt x="302" y="448"/>
                  </a:lnTo>
                  <a:lnTo>
                    <a:pt x="274" y="445"/>
                  </a:lnTo>
                  <a:lnTo>
                    <a:pt x="247" y="441"/>
                  </a:lnTo>
                  <a:lnTo>
                    <a:pt x="220" y="437"/>
                  </a:lnTo>
                  <a:lnTo>
                    <a:pt x="194" y="430"/>
                  </a:lnTo>
                  <a:lnTo>
                    <a:pt x="171" y="424"/>
                  </a:lnTo>
                  <a:lnTo>
                    <a:pt x="148" y="416"/>
                  </a:lnTo>
                  <a:lnTo>
                    <a:pt x="128" y="409"/>
                  </a:lnTo>
                  <a:lnTo>
                    <a:pt x="108" y="400"/>
                  </a:lnTo>
                  <a:lnTo>
                    <a:pt x="90" y="391"/>
                  </a:lnTo>
                  <a:lnTo>
                    <a:pt x="75" y="381"/>
                  </a:lnTo>
                  <a:lnTo>
                    <a:pt x="62" y="371"/>
                  </a:lnTo>
                  <a:lnTo>
                    <a:pt x="50" y="361"/>
                  </a:lnTo>
                  <a:lnTo>
                    <a:pt x="42" y="350"/>
                  </a:lnTo>
                  <a:lnTo>
                    <a:pt x="35" y="339"/>
                  </a:lnTo>
                  <a:lnTo>
                    <a:pt x="33" y="334"/>
                  </a:lnTo>
                  <a:lnTo>
                    <a:pt x="31" y="327"/>
                  </a:lnTo>
                  <a:lnTo>
                    <a:pt x="30" y="322"/>
                  </a:lnTo>
                  <a:lnTo>
                    <a:pt x="30" y="317"/>
                  </a:lnTo>
                  <a:lnTo>
                    <a:pt x="30" y="232"/>
                  </a:lnTo>
                  <a:lnTo>
                    <a:pt x="42" y="243"/>
                  </a:lnTo>
                  <a:lnTo>
                    <a:pt x="55" y="252"/>
                  </a:lnTo>
                  <a:lnTo>
                    <a:pt x="70" y="263"/>
                  </a:lnTo>
                  <a:lnTo>
                    <a:pt x="86" y="272"/>
                  </a:lnTo>
                  <a:lnTo>
                    <a:pt x="104" y="281"/>
                  </a:lnTo>
                  <a:lnTo>
                    <a:pt x="123" y="289"/>
                  </a:lnTo>
                  <a:lnTo>
                    <a:pt x="144" y="296"/>
                  </a:lnTo>
                  <a:lnTo>
                    <a:pt x="165" y="304"/>
                  </a:lnTo>
                  <a:lnTo>
                    <a:pt x="188" y="310"/>
                  </a:lnTo>
                  <a:lnTo>
                    <a:pt x="212" y="316"/>
                  </a:lnTo>
                  <a:lnTo>
                    <a:pt x="237" y="320"/>
                  </a:lnTo>
                  <a:lnTo>
                    <a:pt x="264" y="324"/>
                  </a:lnTo>
                  <a:lnTo>
                    <a:pt x="291" y="327"/>
                  </a:lnTo>
                  <a:lnTo>
                    <a:pt x="319" y="329"/>
                  </a:lnTo>
                  <a:lnTo>
                    <a:pt x="346" y="331"/>
                  </a:lnTo>
                  <a:lnTo>
                    <a:pt x="375"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grpSp>
        <p:nvGrpSpPr>
          <p:cNvPr id="808" name="Group 35">
            <a:extLst>
              <a:ext uri="{FF2B5EF4-FFF2-40B4-BE49-F238E27FC236}">
                <a16:creationId xmlns:a16="http://schemas.microsoft.com/office/drawing/2014/main" id="{849DA77D-D415-4992-B249-945974A295D0}"/>
              </a:ext>
            </a:extLst>
          </p:cNvPr>
          <p:cNvGrpSpPr>
            <a:grpSpLocks noChangeAspect="1"/>
          </p:cNvGrpSpPr>
          <p:nvPr/>
        </p:nvGrpSpPr>
        <p:grpSpPr>
          <a:xfrm>
            <a:off x="4049239" y="3801969"/>
            <a:ext cx="284963" cy="285619"/>
            <a:chOff x="885825" y="4441826"/>
            <a:chExt cx="690563" cy="692150"/>
          </a:xfrm>
          <a:solidFill>
            <a:schemeClr val="bg1"/>
          </a:solidFill>
          <a:effectLst/>
        </p:grpSpPr>
        <p:sp>
          <p:nvSpPr>
            <p:cNvPr id="809" name="Freeform 207">
              <a:extLst>
                <a:ext uri="{FF2B5EF4-FFF2-40B4-BE49-F238E27FC236}">
                  <a16:creationId xmlns:a16="http://schemas.microsoft.com/office/drawing/2014/main" id="{9D1C0020-40B1-4556-887D-2D6A5ADA97F1}"/>
                </a:ext>
              </a:extLst>
            </p:cNvPr>
            <p:cNvSpPr>
              <a:spLocks noEditPoints="1"/>
            </p:cNvSpPr>
            <p:nvPr/>
          </p:nvSpPr>
          <p:spPr bwMode="auto">
            <a:xfrm>
              <a:off x="885825" y="4441826"/>
              <a:ext cx="690563" cy="692150"/>
            </a:xfrm>
            <a:custGeom>
              <a:avLst/>
              <a:gdLst>
                <a:gd name="T0" fmla="*/ 533 w 1306"/>
                <a:gd name="T1" fmla="*/ 65 h 1306"/>
                <a:gd name="T2" fmla="*/ 393 w 1306"/>
                <a:gd name="T3" fmla="*/ 111 h 1306"/>
                <a:gd name="T4" fmla="*/ 271 w 1306"/>
                <a:gd name="T5" fmla="*/ 190 h 1306"/>
                <a:gd name="T6" fmla="*/ 172 w 1306"/>
                <a:gd name="T7" fmla="*/ 294 h 1306"/>
                <a:gd name="T8" fmla="*/ 100 w 1306"/>
                <a:gd name="T9" fmla="*/ 419 h 1306"/>
                <a:gd name="T10" fmla="*/ 59 w 1306"/>
                <a:gd name="T11" fmla="*/ 562 h 1306"/>
                <a:gd name="T12" fmla="*/ 55 w 1306"/>
                <a:gd name="T13" fmla="*/ 714 h 1306"/>
                <a:gd name="T14" fmla="*/ 90 w 1306"/>
                <a:gd name="T15" fmla="*/ 860 h 1306"/>
                <a:gd name="T16" fmla="*/ 156 w 1306"/>
                <a:gd name="T17" fmla="*/ 989 h 1306"/>
                <a:gd name="T18" fmla="*/ 249 w 1306"/>
                <a:gd name="T19" fmla="*/ 1097 h 1306"/>
                <a:gd name="T20" fmla="*/ 367 w 1306"/>
                <a:gd name="T21" fmla="*/ 1181 h 1306"/>
                <a:gd name="T22" fmla="*/ 503 w 1306"/>
                <a:gd name="T23" fmla="*/ 1236 h 1306"/>
                <a:gd name="T24" fmla="*/ 654 w 1306"/>
                <a:gd name="T25" fmla="*/ 1254 h 1306"/>
                <a:gd name="T26" fmla="*/ 804 w 1306"/>
                <a:gd name="T27" fmla="*/ 1236 h 1306"/>
                <a:gd name="T28" fmla="*/ 939 w 1306"/>
                <a:gd name="T29" fmla="*/ 1181 h 1306"/>
                <a:gd name="T30" fmla="*/ 1057 w 1306"/>
                <a:gd name="T31" fmla="*/ 1097 h 1306"/>
                <a:gd name="T32" fmla="*/ 1151 w 1306"/>
                <a:gd name="T33" fmla="*/ 989 h 1306"/>
                <a:gd name="T34" fmla="*/ 1217 w 1306"/>
                <a:gd name="T35" fmla="*/ 860 h 1306"/>
                <a:gd name="T36" fmla="*/ 1252 w 1306"/>
                <a:gd name="T37" fmla="*/ 714 h 1306"/>
                <a:gd name="T38" fmla="*/ 1247 w 1306"/>
                <a:gd name="T39" fmla="*/ 562 h 1306"/>
                <a:gd name="T40" fmla="*/ 1207 w 1306"/>
                <a:gd name="T41" fmla="*/ 419 h 1306"/>
                <a:gd name="T42" fmla="*/ 1135 w 1306"/>
                <a:gd name="T43" fmla="*/ 294 h 1306"/>
                <a:gd name="T44" fmla="*/ 1036 w 1306"/>
                <a:gd name="T45" fmla="*/ 190 h 1306"/>
                <a:gd name="T46" fmla="*/ 913 w 1306"/>
                <a:gd name="T47" fmla="*/ 111 h 1306"/>
                <a:gd name="T48" fmla="*/ 775 w 1306"/>
                <a:gd name="T49" fmla="*/ 65 h 1306"/>
                <a:gd name="T50" fmla="*/ 654 w 1306"/>
                <a:gd name="T51" fmla="*/ 1306 h 1306"/>
                <a:gd name="T52" fmla="*/ 490 w 1306"/>
                <a:gd name="T53" fmla="*/ 1286 h 1306"/>
                <a:gd name="T54" fmla="*/ 343 w 1306"/>
                <a:gd name="T55" fmla="*/ 1227 h 1306"/>
                <a:gd name="T56" fmla="*/ 215 w 1306"/>
                <a:gd name="T57" fmla="*/ 1136 h 1306"/>
                <a:gd name="T58" fmla="*/ 113 w 1306"/>
                <a:gd name="T59" fmla="*/ 1018 h 1306"/>
                <a:gd name="T60" fmla="*/ 41 w 1306"/>
                <a:gd name="T61" fmla="*/ 877 h 1306"/>
                <a:gd name="T62" fmla="*/ 3 w 1306"/>
                <a:gd name="T63" fmla="*/ 720 h 1306"/>
                <a:gd name="T64" fmla="*/ 7 w 1306"/>
                <a:gd name="T65" fmla="*/ 555 h 1306"/>
                <a:gd name="T66" fmla="*/ 52 w 1306"/>
                <a:gd name="T67" fmla="*/ 399 h 1306"/>
                <a:gd name="T68" fmla="*/ 130 w 1306"/>
                <a:gd name="T69" fmla="*/ 262 h 1306"/>
                <a:gd name="T70" fmla="*/ 238 w 1306"/>
                <a:gd name="T71" fmla="*/ 150 h 1306"/>
                <a:gd name="T72" fmla="*/ 370 w 1306"/>
                <a:gd name="T73" fmla="*/ 65 h 1306"/>
                <a:gd name="T74" fmla="*/ 522 w 1306"/>
                <a:gd name="T75" fmla="*/ 13 h 1306"/>
                <a:gd name="T76" fmla="*/ 687 w 1306"/>
                <a:gd name="T77" fmla="*/ 2 h 1306"/>
                <a:gd name="T78" fmla="*/ 847 w 1306"/>
                <a:gd name="T79" fmla="*/ 29 h 1306"/>
                <a:gd name="T80" fmla="*/ 992 w 1306"/>
                <a:gd name="T81" fmla="*/ 95 h 1306"/>
                <a:gd name="T82" fmla="*/ 1115 w 1306"/>
                <a:gd name="T83" fmla="*/ 192 h 1306"/>
                <a:gd name="T84" fmla="*/ 1211 w 1306"/>
                <a:gd name="T85" fmla="*/ 314 h 1306"/>
                <a:gd name="T86" fmla="*/ 1278 w 1306"/>
                <a:gd name="T87" fmla="*/ 460 h 1306"/>
                <a:gd name="T88" fmla="*/ 1305 w 1306"/>
                <a:gd name="T89" fmla="*/ 619 h 1306"/>
                <a:gd name="T90" fmla="*/ 1293 w 1306"/>
                <a:gd name="T91" fmla="*/ 785 h 1306"/>
                <a:gd name="T92" fmla="*/ 1242 w 1306"/>
                <a:gd name="T93" fmla="*/ 936 h 1306"/>
                <a:gd name="T94" fmla="*/ 1157 w 1306"/>
                <a:gd name="T95" fmla="*/ 1069 h 1306"/>
                <a:gd name="T96" fmla="*/ 1044 w 1306"/>
                <a:gd name="T97" fmla="*/ 1177 h 1306"/>
                <a:gd name="T98" fmla="*/ 907 w 1306"/>
                <a:gd name="T99" fmla="*/ 1254 h 1306"/>
                <a:gd name="T100" fmla="*/ 753 w 1306"/>
                <a:gd name="T101" fmla="*/ 1299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6" h="1306">
                  <a:moveTo>
                    <a:pt x="654" y="52"/>
                  </a:moveTo>
                  <a:lnTo>
                    <a:pt x="622" y="53"/>
                  </a:lnTo>
                  <a:lnTo>
                    <a:pt x="592" y="55"/>
                  </a:lnTo>
                  <a:lnTo>
                    <a:pt x="562" y="59"/>
                  </a:lnTo>
                  <a:lnTo>
                    <a:pt x="533" y="65"/>
                  </a:lnTo>
                  <a:lnTo>
                    <a:pt x="503" y="71"/>
                  </a:lnTo>
                  <a:lnTo>
                    <a:pt x="475" y="79"/>
                  </a:lnTo>
                  <a:lnTo>
                    <a:pt x="447" y="89"/>
                  </a:lnTo>
                  <a:lnTo>
                    <a:pt x="419" y="100"/>
                  </a:lnTo>
                  <a:lnTo>
                    <a:pt x="393" y="111"/>
                  </a:lnTo>
                  <a:lnTo>
                    <a:pt x="367" y="125"/>
                  </a:lnTo>
                  <a:lnTo>
                    <a:pt x="342" y="140"/>
                  </a:lnTo>
                  <a:lnTo>
                    <a:pt x="317" y="156"/>
                  </a:lnTo>
                  <a:lnTo>
                    <a:pt x="294" y="172"/>
                  </a:lnTo>
                  <a:lnTo>
                    <a:pt x="271" y="190"/>
                  </a:lnTo>
                  <a:lnTo>
                    <a:pt x="249" y="209"/>
                  </a:lnTo>
                  <a:lnTo>
                    <a:pt x="229" y="229"/>
                  </a:lnTo>
                  <a:lnTo>
                    <a:pt x="209" y="249"/>
                  </a:lnTo>
                  <a:lnTo>
                    <a:pt x="190" y="271"/>
                  </a:lnTo>
                  <a:lnTo>
                    <a:pt x="172" y="294"/>
                  </a:lnTo>
                  <a:lnTo>
                    <a:pt x="156" y="317"/>
                  </a:lnTo>
                  <a:lnTo>
                    <a:pt x="140" y="341"/>
                  </a:lnTo>
                  <a:lnTo>
                    <a:pt x="126" y="367"/>
                  </a:lnTo>
                  <a:lnTo>
                    <a:pt x="113" y="393"/>
                  </a:lnTo>
                  <a:lnTo>
                    <a:pt x="100" y="419"/>
                  </a:lnTo>
                  <a:lnTo>
                    <a:pt x="90" y="447"/>
                  </a:lnTo>
                  <a:lnTo>
                    <a:pt x="79" y="475"/>
                  </a:lnTo>
                  <a:lnTo>
                    <a:pt x="71" y="503"/>
                  </a:lnTo>
                  <a:lnTo>
                    <a:pt x="65" y="532"/>
                  </a:lnTo>
                  <a:lnTo>
                    <a:pt x="59" y="562"/>
                  </a:lnTo>
                  <a:lnTo>
                    <a:pt x="55" y="592"/>
                  </a:lnTo>
                  <a:lnTo>
                    <a:pt x="54" y="622"/>
                  </a:lnTo>
                  <a:lnTo>
                    <a:pt x="52" y="652"/>
                  </a:lnTo>
                  <a:lnTo>
                    <a:pt x="54" y="684"/>
                  </a:lnTo>
                  <a:lnTo>
                    <a:pt x="55" y="714"/>
                  </a:lnTo>
                  <a:lnTo>
                    <a:pt x="59" y="745"/>
                  </a:lnTo>
                  <a:lnTo>
                    <a:pt x="65" y="773"/>
                  </a:lnTo>
                  <a:lnTo>
                    <a:pt x="71" y="804"/>
                  </a:lnTo>
                  <a:lnTo>
                    <a:pt x="79" y="831"/>
                  </a:lnTo>
                  <a:lnTo>
                    <a:pt x="90" y="860"/>
                  </a:lnTo>
                  <a:lnTo>
                    <a:pt x="100" y="887"/>
                  </a:lnTo>
                  <a:lnTo>
                    <a:pt x="113" y="913"/>
                  </a:lnTo>
                  <a:lnTo>
                    <a:pt x="126" y="939"/>
                  </a:lnTo>
                  <a:lnTo>
                    <a:pt x="140" y="965"/>
                  </a:lnTo>
                  <a:lnTo>
                    <a:pt x="156" y="989"/>
                  </a:lnTo>
                  <a:lnTo>
                    <a:pt x="172" y="1012"/>
                  </a:lnTo>
                  <a:lnTo>
                    <a:pt x="190" y="1035"/>
                  </a:lnTo>
                  <a:lnTo>
                    <a:pt x="209" y="1057"/>
                  </a:lnTo>
                  <a:lnTo>
                    <a:pt x="229" y="1077"/>
                  </a:lnTo>
                  <a:lnTo>
                    <a:pt x="249" y="1097"/>
                  </a:lnTo>
                  <a:lnTo>
                    <a:pt x="271" y="1116"/>
                  </a:lnTo>
                  <a:lnTo>
                    <a:pt x="294" y="1135"/>
                  </a:lnTo>
                  <a:lnTo>
                    <a:pt x="317" y="1151"/>
                  </a:lnTo>
                  <a:lnTo>
                    <a:pt x="342" y="1167"/>
                  </a:lnTo>
                  <a:lnTo>
                    <a:pt x="367" y="1181"/>
                  </a:lnTo>
                  <a:lnTo>
                    <a:pt x="393" y="1194"/>
                  </a:lnTo>
                  <a:lnTo>
                    <a:pt x="419" y="1207"/>
                  </a:lnTo>
                  <a:lnTo>
                    <a:pt x="447" y="1217"/>
                  </a:lnTo>
                  <a:lnTo>
                    <a:pt x="475" y="1227"/>
                  </a:lnTo>
                  <a:lnTo>
                    <a:pt x="503" y="1236"/>
                  </a:lnTo>
                  <a:lnTo>
                    <a:pt x="533" y="1241"/>
                  </a:lnTo>
                  <a:lnTo>
                    <a:pt x="562" y="1247"/>
                  </a:lnTo>
                  <a:lnTo>
                    <a:pt x="592" y="1251"/>
                  </a:lnTo>
                  <a:lnTo>
                    <a:pt x="622" y="1253"/>
                  </a:lnTo>
                  <a:lnTo>
                    <a:pt x="654" y="1254"/>
                  </a:lnTo>
                  <a:lnTo>
                    <a:pt x="684" y="1253"/>
                  </a:lnTo>
                  <a:lnTo>
                    <a:pt x="715" y="1251"/>
                  </a:lnTo>
                  <a:lnTo>
                    <a:pt x="745" y="1247"/>
                  </a:lnTo>
                  <a:lnTo>
                    <a:pt x="775" y="1241"/>
                  </a:lnTo>
                  <a:lnTo>
                    <a:pt x="804" y="1236"/>
                  </a:lnTo>
                  <a:lnTo>
                    <a:pt x="831" y="1227"/>
                  </a:lnTo>
                  <a:lnTo>
                    <a:pt x="860" y="1217"/>
                  </a:lnTo>
                  <a:lnTo>
                    <a:pt x="887" y="1207"/>
                  </a:lnTo>
                  <a:lnTo>
                    <a:pt x="913" y="1194"/>
                  </a:lnTo>
                  <a:lnTo>
                    <a:pt x="939" y="1181"/>
                  </a:lnTo>
                  <a:lnTo>
                    <a:pt x="965" y="1167"/>
                  </a:lnTo>
                  <a:lnTo>
                    <a:pt x="990" y="1151"/>
                  </a:lnTo>
                  <a:lnTo>
                    <a:pt x="1013" y="1135"/>
                  </a:lnTo>
                  <a:lnTo>
                    <a:pt x="1036" y="1116"/>
                  </a:lnTo>
                  <a:lnTo>
                    <a:pt x="1057" y="1097"/>
                  </a:lnTo>
                  <a:lnTo>
                    <a:pt x="1077" y="1077"/>
                  </a:lnTo>
                  <a:lnTo>
                    <a:pt x="1098" y="1057"/>
                  </a:lnTo>
                  <a:lnTo>
                    <a:pt x="1116" y="1035"/>
                  </a:lnTo>
                  <a:lnTo>
                    <a:pt x="1135" y="1012"/>
                  </a:lnTo>
                  <a:lnTo>
                    <a:pt x="1151" y="989"/>
                  </a:lnTo>
                  <a:lnTo>
                    <a:pt x="1167" y="965"/>
                  </a:lnTo>
                  <a:lnTo>
                    <a:pt x="1181" y="939"/>
                  </a:lnTo>
                  <a:lnTo>
                    <a:pt x="1195" y="913"/>
                  </a:lnTo>
                  <a:lnTo>
                    <a:pt x="1207" y="887"/>
                  </a:lnTo>
                  <a:lnTo>
                    <a:pt x="1217" y="860"/>
                  </a:lnTo>
                  <a:lnTo>
                    <a:pt x="1227" y="831"/>
                  </a:lnTo>
                  <a:lnTo>
                    <a:pt x="1236" y="804"/>
                  </a:lnTo>
                  <a:lnTo>
                    <a:pt x="1242" y="773"/>
                  </a:lnTo>
                  <a:lnTo>
                    <a:pt x="1247" y="745"/>
                  </a:lnTo>
                  <a:lnTo>
                    <a:pt x="1252" y="714"/>
                  </a:lnTo>
                  <a:lnTo>
                    <a:pt x="1253" y="684"/>
                  </a:lnTo>
                  <a:lnTo>
                    <a:pt x="1255" y="652"/>
                  </a:lnTo>
                  <a:lnTo>
                    <a:pt x="1253" y="622"/>
                  </a:lnTo>
                  <a:lnTo>
                    <a:pt x="1252" y="592"/>
                  </a:lnTo>
                  <a:lnTo>
                    <a:pt x="1247" y="562"/>
                  </a:lnTo>
                  <a:lnTo>
                    <a:pt x="1242" y="532"/>
                  </a:lnTo>
                  <a:lnTo>
                    <a:pt x="1236" y="503"/>
                  </a:lnTo>
                  <a:lnTo>
                    <a:pt x="1227" y="475"/>
                  </a:lnTo>
                  <a:lnTo>
                    <a:pt x="1217" y="447"/>
                  </a:lnTo>
                  <a:lnTo>
                    <a:pt x="1207" y="419"/>
                  </a:lnTo>
                  <a:lnTo>
                    <a:pt x="1195" y="393"/>
                  </a:lnTo>
                  <a:lnTo>
                    <a:pt x="1181" y="367"/>
                  </a:lnTo>
                  <a:lnTo>
                    <a:pt x="1167" y="341"/>
                  </a:lnTo>
                  <a:lnTo>
                    <a:pt x="1151" y="317"/>
                  </a:lnTo>
                  <a:lnTo>
                    <a:pt x="1135" y="294"/>
                  </a:lnTo>
                  <a:lnTo>
                    <a:pt x="1116" y="271"/>
                  </a:lnTo>
                  <a:lnTo>
                    <a:pt x="1098" y="249"/>
                  </a:lnTo>
                  <a:lnTo>
                    <a:pt x="1077" y="229"/>
                  </a:lnTo>
                  <a:lnTo>
                    <a:pt x="1057" y="209"/>
                  </a:lnTo>
                  <a:lnTo>
                    <a:pt x="1036" y="190"/>
                  </a:lnTo>
                  <a:lnTo>
                    <a:pt x="1013" y="172"/>
                  </a:lnTo>
                  <a:lnTo>
                    <a:pt x="990" y="156"/>
                  </a:lnTo>
                  <a:lnTo>
                    <a:pt x="965" y="140"/>
                  </a:lnTo>
                  <a:lnTo>
                    <a:pt x="939" y="125"/>
                  </a:lnTo>
                  <a:lnTo>
                    <a:pt x="913" y="111"/>
                  </a:lnTo>
                  <a:lnTo>
                    <a:pt x="887" y="100"/>
                  </a:lnTo>
                  <a:lnTo>
                    <a:pt x="860" y="89"/>
                  </a:lnTo>
                  <a:lnTo>
                    <a:pt x="831" y="79"/>
                  </a:lnTo>
                  <a:lnTo>
                    <a:pt x="804" y="71"/>
                  </a:lnTo>
                  <a:lnTo>
                    <a:pt x="775" y="65"/>
                  </a:lnTo>
                  <a:lnTo>
                    <a:pt x="745" y="59"/>
                  </a:lnTo>
                  <a:lnTo>
                    <a:pt x="715" y="55"/>
                  </a:lnTo>
                  <a:lnTo>
                    <a:pt x="684" y="53"/>
                  </a:lnTo>
                  <a:lnTo>
                    <a:pt x="654" y="52"/>
                  </a:lnTo>
                  <a:close/>
                  <a:moveTo>
                    <a:pt x="654" y="1306"/>
                  </a:moveTo>
                  <a:lnTo>
                    <a:pt x="619" y="1305"/>
                  </a:lnTo>
                  <a:lnTo>
                    <a:pt x="586" y="1303"/>
                  </a:lnTo>
                  <a:lnTo>
                    <a:pt x="555" y="1299"/>
                  </a:lnTo>
                  <a:lnTo>
                    <a:pt x="522" y="1293"/>
                  </a:lnTo>
                  <a:lnTo>
                    <a:pt x="490" y="1286"/>
                  </a:lnTo>
                  <a:lnTo>
                    <a:pt x="460" y="1277"/>
                  </a:lnTo>
                  <a:lnTo>
                    <a:pt x="429" y="1266"/>
                  </a:lnTo>
                  <a:lnTo>
                    <a:pt x="399" y="1254"/>
                  </a:lnTo>
                  <a:lnTo>
                    <a:pt x="370" y="1241"/>
                  </a:lnTo>
                  <a:lnTo>
                    <a:pt x="343" y="1227"/>
                  </a:lnTo>
                  <a:lnTo>
                    <a:pt x="316" y="1211"/>
                  </a:lnTo>
                  <a:lnTo>
                    <a:pt x="288" y="1194"/>
                  </a:lnTo>
                  <a:lnTo>
                    <a:pt x="262" y="1177"/>
                  </a:lnTo>
                  <a:lnTo>
                    <a:pt x="238" y="1156"/>
                  </a:lnTo>
                  <a:lnTo>
                    <a:pt x="215" y="1136"/>
                  </a:lnTo>
                  <a:lnTo>
                    <a:pt x="192" y="1115"/>
                  </a:lnTo>
                  <a:lnTo>
                    <a:pt x="170" y="1092"/>
                  </a:lnTo>
                  <a:lnTo>
                    <a:pt x="150" y="1069"/>
                  </a:lnTo>
                  <a:lnTo>
                    <a:pt x="130" y="1044"/>
                  </a:lnTo>
                  <a:lnTo>
                    <a:pt x="113" y="1018"/>
                  </a:lnTo>
                  <a:lnTo>
                    <a:pt x="95" y="991"/>
                  </a:lnTo>
                  <a:lnTo>
                    <a:pt x="79" y="963"/>
                  </a:lnTo>
                  <a:lnTo>
                    <a:pt x="65" y="936"/>
                  </a:lnTo>
                  <a:lnTo>
                    <a:pt x="52" y="907"/>
                  </a:lnTo>
                  <a:lnTo>
                    <a:pt x="41" y="877"/>
                  </a:lnTo>
                  <a:lnTo>
                    <a:pt x="29" y="847"/>
                  </a:lnTo>
                  <a:lnTo>
                    <a:pt x="20" y="817"/>
                  </a:lnTo>
                  <a:lnTo>
                    <a:pt x="13" y="785"/>
                  </a:lnTo>
                  <a:lnTo>
                    <a:pt x="7" y="752"/>
                  </a:lnTo>
                  <a:lnTo>
                    <a:pt x="3" y="720"/>
                  </a:lnTo>
                  <a:lnTo>
                    <a:pt x="2" y="687"/>
                  </a:lnTo>
                  <a:lnTo>
                    <a:pt x="0" y="652"/>
                  </a:lnTo>
                  <a:lnTo>
                    <a:pt x="2" y="619"/>
                  </a:lnTo>
                  <a:lnTo>
                    <a:pt x="3" y="586"/>
                  </a:lnTo>
                  <a:lnTo>
                    <a:pt x="7" y="555"/>
                  </a:lnTo>
                  <a:lnTo>
                    <a:pt x="13" y="521"/>
                  </a:lnTo>
                  <a:lnTo>
                    <a:pt x="20" y="490"/>
                  </a:lnTo>
                  <a:lnTo>
                    <a:pt x="29" y="460"/>
                  </a:lnTo>
                  <a:lnTo>
                    <a:pt x="41" y="429"/>
                  </a:lnTo>
                  <a:lnTo>
                    <a:pt x="52" y="399"/>
                  </a:lnTo>
                  <a:lnTo>
                    <a:pt x="65" y="370"/>
                  </a:lnTo>
                  <a:lnTo>
                    <a:pt x="79" y="341"/>
                  </a:lnTo>
                  <a:lnTo>
                    <a:pt x="95" y="314"/>
                  </a:lnTo>
                  <a:lnTo>
                    <a:pt x="113" y="288"/>
                  </a:lnTo>
                  <a:lnTo>
                    <a:pt x="130" y="262"/>
                  </a:lnTo>
                  <a:lnTo>
                    <a:pt x="150" y="238"/>
                  </a:lnTo>
                  <a:lnTo>
                    <a:pt x="170" y="215"/>
                  </a:lnTo>
                  <a:lnTo>
                    <a:pt x="192" y="192"/>
                  </a:lnTo>
                  <a:lnTo>
                    <a:pt x="215" y="170"/>
                  </a:lnTo>
                  <a:lnTo>
                    <a:pt x="238" y="150"/>
                  </a:lnTo>
                  <a:lnTo>
                    <a:pt x="262" y="130"/>
                  </a:lnTo>
                  <a:lnTo>
                    <a:pt x="288" y="112"/>
                  </a:lnTo>
                  <a:lnTo>
                    <a:pt x="316" y="95"/>
                  </a:lnTo>
                  <a:lnTo>
                    <a:pt x="343" y="79"/>
                  </a:lnTo>
                  <a:lnTo>
                    <a:pt x="370" y="65"/>
                  </a:lnTo>
                  <a:lnTo>
                    <a:pt x="399" y="52"/>
                  </a:lnTo>
                  <a:lnTo>
                    <a:pt x="429" y="40"/>
                  </a:lnTo>
                  <a:lnTo>
                    <a:pt x="460" y="29"/>
                  </a:lnTo>
                  <a:lnTo>
                    <a:pt x="490" y="20"/>
                  </a:lnTo>
                  <a:lnTo>
                    <a:pt x="522" y="13"/>
                  </a:lnTo>
                  <a:lnTo>
                    <a:pt x="555" y="7"/>
                  </a:lnTo>
                  <a:lnTo>
                    <a:pt x="586" y="3"/>
                  </a:lnTo>
                  <a:lnTo>
                    <a:pt x="619" y="2"/>
                  </a:lnTo>
                  <a:lnTo>
                    <a:pt x="654" y="0"/>
                  </a:lnTo>
                  <a:lnTo>
                    <a:pt x="687" y="2"/>
                  </a:lnTo>
                  <a:lnTo>
                    <a:pt x="720" y="3"/>
                  </a:lnTo>
                  <a:lnTo>
                    <a:pt x="753" y="7"/>
                  </a:lnTo>
                  <a:lnTo>
                    <a:pt x="785" y="13"/>
                  </a:lnTo>
                  <a:lnTo>
                    <a:pt x="817" y="20"/>
                  </a:lnTo>
                  <a:lnTo>
                    <a:pt x="847" y="29"/>
                  </a:lnTo>
                  <a:lnTo>
                    <a:pt x="877" y="40"/>
                  </a:lnTo>
                  <a:lnTo>
                    <a:pt x="907" y="52"/>
                  </a:lnTo>
                  <a:lnTo>
                    <a:pt x="936" y="65"/>
                  </a:lnTo>
                  <a:lnTo>
                    <a:pt x="965" y="79"/>
                  </a:lnTo>
                  <a:lnTo>
                    <a:pt x="992" y="95"/>
                  </a:lnTo>
                  <a:lnTo>
                    <a:pt x="1018" y="112"/>
                  </a:lnTo>
                  <a:lnTo>
                    <a:pt x="1044" y="130"/>
                  </a:lnTo>
                  <a:lnTo>
                    <a:pt x="1069" y="150"/>
                  </a:lnTo>
                  <a:lnTo>
                    <a:pt x="1092" y="170"/>
                  </a:lnTo>
                  <a:lnTo>
                    <a:pt x="1115" y="192"/>
                  </a:lnTo>
                  <a:lnTo>
                    <a:pt x="1136" y="215"/>
                  </a:lnTo>
                  <a:lnTo>
                    <a:pt x="1157" y="238"/>
                  </a:lnTo>
                  <a:lnTo>
                    <a:pt x="1177" y="262"/>
                  </a:lnTo>
                  <a:lnTo>
                    <a:pt x="1194" y="288"/>
                  </a:lnTo>
                  <a:lnTo>
                    <a:pt x="1211" y="314"/>
                  </a:lnTo>
                  <a:lnTo>
                    <a:pt x="1227" y="341"/>
                  </a:lnTo>
                  <a:lnTo>
                    <a:pt x="1242" y="370"/>
                  </a:lnTo>
                  <a:lnTo>
                    <a:pt x="1255" y="399"/>
                  </a:lnTo>
                  <a:lnTo>
                    <a:pt x="1266" y="429"/>
                  </a:lnTo>
                  <a:lnTo>
                    <a:pt x="1278" y="460"/>
                  </a:lnTo>
                  <a:lnTo>
                    <a:pt x="1286" y="490"/>
                  </a:lnTo>
                  <a:lnTo>
                    <a:pt x="1293" y="521"/>
                  </a:lnTo>
                  <a:lnTo>
                    <a:pt x="1299" y="555"/>
                  </a:lnTo>
                  <a:lnTo>
                    <a:pt x="1303" y="586"/>
                  </a:lnTo>
                  <a:lnTo>
                    <a:pt x="1305" y="619"/>
                  </a:lnTo>
                  <a:lnTo>
                    <a:pt x="1306" y="652"/>
                  </a:lnTo>
                  <a:lnTo>
                    <a:pt x="1305" y="687"/>
                  </a:lnTo>
                  <a:lnTo>
                    <a:pt x="1303" y="720"/>
                  </a:lnTo>
                  <a:lnTo>
                    <a:pt x="1299" y="752"/>
                  </a:lnTo>
                  <a:lnTo>
                    <a:pt x="1293" y="785"/>
                  </a:lnTo>
                  <a:lnTo>
                    <a:pt x="1286" y="817"/>
                  </a:lnTo>
                  <a:lnTo>
                    <a:pt x="1278" y="847"/>
                  </a:lnTo>
                  <a:lnTo>
                    <a:pt x="1266" y="877"/>
                  </a:lnTo>
                  <a:lnTo>
                    <a:pt x="1255" y="907"/>
                  </a:lnTo>
                  <a:lnTo>
                    <a:pt x="1242" y="936"/>
                  </a:lnTo>
                  <a:lnTo>
                    <a:pt x="1227" y="963"/>
                  </a:lnTo>
                  <a:lnTo>
                    <a:pt x="1211" y="991"/>
                  </a:lnTo>
                  <a:lnTo>
                    <a:pt x="1194" y="1018"/>
                  </a:lnTo>
                  <a:lnTo>
                    <a:pt x="1177" y="1044"/>
                  </a:lnTo>
                  <a:lnTo>
                    <a:pt x="1157" y="1069"/>
                  </a:lnTo>
                  <a:lnTo>
                    <a:pt x="1136" y="1092"/>
                  </a:lnTo>
                  <a:lnTo>
                    <a:pt x="1115" y="1115"/>
                  </a:lnTo>
                  <a:lnTo>
                    <a:pt x="1092" y="1136"/>
                  </a:lnTo>
                  <a:lnTo>
                    <a:pt x="1069" y="1156"/>
                  </a:lnTo>
                  <a:lnTo>
                    <a:pt x="1044" y="1177"/>
                  </a:lnTo>
                  <a:lnTo>
                    <a:pt x="1018" y="1194"/>
                  </a:lnTo>
                  <a:lnTo>
                    <a:pt x="992" y="1211"/>
                  </a:lnTo>
                  <a:lnTo>
                    <a:pt x="965" y="1227"/>
                  </a:lnTo>
                  <a:lnTo>
                    <a:pt x="936" y="1241"/>
                  </a:lnTo>
                  <a:lnTo>
                    <a:pt x="907" y="1254"/>
                  </a:lnTo>
                  <a:lnTo>
                    <a:pt x="877" y="1266"/>
                  </a:lnTo>
                  <a:lnTo>
                    <a:pt x="847" y="1277"/>
                  </a:lnTo>
                  <a:lnTo>
                    <a:pt x="817" y="1286"/>
                  </a:lnTo>
                  <a:lnTo>
                    <a:pt x="785" y="1293"/>
                  </a:lnTo>
                  <a:lnTo>
                    <a:pt x="753" y="1299"/>
                  </a:lnTo>
                  <a:lnTo>
                    <a:pt x="720" y="1303"/>
                  </a:lnTo>
                  <a:lnTo>
                    <a:pt x="687" y="1305"/>
                  </a:lnTo>
                  <a:lnTo>
                    <a:pt x="654"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208">
              <a:extLst>
                <a:ext uri="{FF2B5EF4-FFF2-40B4-BE49-F238E27FC236}">
                  <a16:creationId xmlns:a16="http://schemas.microsoft.com/office/drawing/2014/main" id="{5EF07AEA-8AC2-4B97-9B31-244675D9D5D2}"/>
                </a:ext>
              </a:extLst>
            </p:cNvPr>
            <p:cNvSpPr>
              <a:spLocks/>
            </p:cNvSpPr>
            <p:nvPr/>
          </p:nvSpPr>
          <p:spPr bwMode="auto">
            <a:xfrm>
              <a:off x="985838" y="4456113"/>
              <a:ext cx="258763" cy="576263"/>
            </a:xfrm>
            <a:custGeom>
              <a:avLst/>
              <a:gdLst>
                <a:gd name="T0" fmla="*/ 38 w 490"/>
                <a:gd name="T1" fmla="*/ 1090 h 1090"/>
                <a:gd name="T2" fmla="*/ 0 w 490"/>
                <a:gd name="T3" fmla="*/ 1053 h 1090"/>
                <a:gd name="T4" fmla="*/ 437 w 490"/>
                <a:gd name="T5" fmla="*/ 616 h 1090"/>
                <a:gd name="T6" fmla="*/ 437 w 490"/>
                <a:gd name="T7" fmla="*/ 0 h 1090"/>
                <a:gd name="T8" fmla="*/ 490 w 490"/>
                <a:gd name="T9" fmla="*/ 0 h 1090"/>
                <a:gd name="T10" fmla="*/ 490 w 490"/>
                <a:gd name="T11" fmla="*/ 638 h 1090"/>
                <a:gd name="T12" fmla="*/ 38 w 490"/>
                <a:gd name="T13" fmla="*/ 1090 h 1090"/>
              </a:gdLst>
              <a:ahLst/>
              <a:cxnLst>
                <a:cxn ang="0">
                  <a:pos x="T0" y="T1"/>
                </a:cxn>
                <a:cxn ang="0">
                  <a:pos x="T2" y="T3"/>
                </a:cxn>
                <a:cxn ang="0">
                  <a:pos x="T4" y="T5"/>
                </a:cxn>
                <a:cxn ang="0">
                  <a:pos x="T6" y="T7"/>
                </a:cxn>
                <a:cxn ang="0">
                  <a:pos x="T8" y="T9"/>
                </a:cxn>
                <a:cxn ang="0">
                  <a:pos x="T10" y="T11"/>
                </a:cxn>
                <a:cxn ang="0">
                  <a:pos x="T12" y="T13"/>
                </a:cxn>
              </a:cxnLst>
              <a:rect l="0" t="0" r="r" b="b"/>
              <a:pathLst>
                <a:path w="490" h="1090">
                  <a:moveTo>
                    <a:pt x="38" y="1090"/>
                  </a:moveTo>
                  <a:lnTo>
                    <a:pt x="0" y="1053"/>
                  </a:lnTo>
                  <a:lnTo>
                    <a:pt x="437" y="616"/>
                  </a:lnTo>
                  <a:lnTo>
                    <a:pt x="437" y="0"/>
                  </a:lnTo>
                  <a:lnTo>
                    <a:pt x="490" y="0"/>
                  </a:lnTo>
                  <a:lnTo>
                    <a:pt x="490" y="638"/>
                  </a:lnTo>
                  <a:lnTo>
                    <a:pt x="38" y="10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Rectangle 209">
              <a:extLst>
                <a:ext uri="{FF2B5EF4-FFF2-40B4-BE49-F238E27FC236}">
                  <a16:creationId xmlns:a16="http://schemas.microsoft.com/office/drawing/2014/main" id="{7C260885-B893-4020-85D6-C8D167F25723}"/>
                </a:ext>
              </a:extLst>
            </p:cNvPr>
            <p:cNvSpPr>
              <a:spLocks noChangeArrowheads="1"/>
            </p:cNvSpPr>
            <p:nvPr/>
          </p:nvSpPr>
          <p:spPr bwMode="auto">
            <a:xfrm>
              <a:off x="898525" y="4773613"/>
              <a:ext cx="3333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0" name="Group 20">
            <a:extLst>
              <a:ext uri="{FF2B5EF4-FFF2-40B4-BE49-F238E27FC236}">
                <a16:creationId xmlns:a16="http://schemas.microsoft.com/office/drawing/2014/main" id="{A0BDCACA-F43C-4BD9-BB5C-54BB6E988949}"/>
              </a:ext>
            </a:extLst>
          </p:cNvPr>
          <p:cNvGrpSpPr>
            <a:grpSpLocks noChangeAspect="1"/>
          </p:cNvGrpSpPr>
          <p:nvPr/>
        </p:nvGrpSpPr>
        <p:grpSpPr>
          <a:xfrm>
            <a:off x="4049239" y="5956111"/>
            <a:ext cx="285619" cy="285619"/>
            <a:chOff x="9311674" y="2506555"/>
            <a:chExt cx="287091" cy="287091"/>
          </a:xfrm>
          <a:solidFill>
            <a:schemeClr val="bg1"/>
          </a:solidFill>
          <a:effectLst/>
        </p:grpSpPr>
        <p:sp>
          <p:nvSpPr>
            <p:cNvPr id="1216" name="Freeform 327">
              <a:extLst>
                <a:ext uri="{FF2B5EF4-FFF2-40B4-BE49-F238E27FC236}">
                  <a16:creationId xmlns:a16="http://schemas.microsoft.com/office/drawing/2014/main" id="{4352BA36-CBC0-434A-B931-B4D747F275A1}"/>
                </a:ext>
              </a:extLst>
            </p:cNvPr>
            <p:cNvSpPr>
              <a:spLocks noEditPoints="1"/>
            </p:cNvSpPr>
            <p:nvPr/>
          </p:nvSpPr>
          <p:spPr bwMode="auto">
            <a:xfrm>
              <a:off x="9311674" y="2506555"/>
              <a:ext cx="287091" cy="287091"/>
            </a:xfrm>
            <a:custGeom>
              <a:avLst/>
              <a:gdLst>
                <a:gd name="T0" fmla="*/ 378 w 932"/>
                <a:gd name="T1" fmla="*/ 892 h 932"/>
                <a:gd name="T2" fmla="*/ 277 w 932"/>
                <a:gd name="T3" fmla="*/ 858 h 932"/>
                <a:gd name="T4" fmla="*/ 189 w 932"/>
                <a:gd name="T5" fmla="*/ 802 h 932"/>
                <a:gd name="T6" fmla="*/ 117 w 932"/>
                <a:gd name="T7" fmla="*/ 727 h 932"/>
                <a:gd name="T8" fmla="*/ 65 w 932"/>
                <a:gd name="T9" fmla="*/ 636 h 932"/>
                <a:gd name="T10" fmla="*/ 36 w 932"/>
                <a:gd name="T11" fmla="*/ 532 h 932"/>
                <a:gd name="T12" fmla="*/ 33 w 932"/>
                <a:gd name="T13" fmla="*/ 421 h 932"/>
                <a:gd name="T14" fmla="*/ 57 w 932"/>
                <a:gd name="T15" fmla="*/ 317 h 932"/>
                <a:gd name="T16" fmla="*/ 105 w 932"/>
                <a:gd name="T17" fmla="*/ 224 h 932"/>
                <a:gd name="T18" fmla="*/ 174 w 932"/>
                <a:gd name="T19" fmla="*/ 145 h 932"/>
                <a:gd name="T20" fmla="*/ 258 w 932"/>
                <a:gd name="T21" fmla="*/ 84 h 932"/>
                <a:gd name="T22" fmla="*/ 357 w 932"/>
                <a:gd name="T23" fmla="*/ 45 h 932"/>
                <a:gd name="T24" fmla="*/ 466 w 932"/>
                <a:gd name="T25" fmla="*/ 31 h 932"/>
                <a:gd name="T26" fmla="*/ 575 w 932"/>
                <a:gd name="T27" fmla="*/ 45 h 932"/>
                <a:gd name="T28" fmla="*/ 673 w 932"/>
                <a:gd name="T29" fmla="*/ 84 h 932"/>
                <a:gd name="T30" fmla="*/ 758 w 932"/>
                <a:gd name="T31" fmla="*/ 145 h 932"/>
                <a:gd name="T32" fmla="*/ 826 w 932"/>
                <a:gd name="T33" fmla="*/ 224 h 932"/>
                <a:gd name="T34" fmla="*/ 875 w 932"/>
                <a:gd name="T35" fmla="*/ 317 h 932"/>
                <a:gd name="T36" fmla="*/ 898 w 932"/>
                <a:gd name="T37" fmla="*/ 421 h 932"/>
                <a:gd name="T38" fmla="*/ 896 w 932"/>
                <a:gd name="T39" fmla="*/ 532 h 932"/>
                <a:gd name="T40" fmla="*/ 867 w 932"/>
                <a:gd name="T41" fmla="*/ 636 h 932"/>
                <a:gd name="T42" fmla="*/ 815 w 932"/>
                <a:gd name="T43" fmla="*/ 727 h 932"/>
                <a:gd name="T44" fmla="*/ 743 w 932"/>
                <a:gd name="T45" fmla="*/ 802 h 932"/>
                <a:gd name="T46" fmla="*/ 654 w 932"/>
                <a:gd name="T47" fmla="*/ 858 h 932"/>
                <a:gd name="T48" fmla="*/ 554 w 932"/>
                <a:gd name="T49" fmla="*/ 892 h 932"/>
                <a:gd name="T50" fmla="*/ 466 w 932"/>
                <a:gd name="T51" fmla="*/ 0 h 932"/>
                <a:gd name="T52" fmla="*/ 349 w 932"/>
                <a:gd name="T53" fmla="*/ 15 h 932"/>
                <a:gd name="T54" fmla="*/ 244 w 932"/>
                <a:gd name="T55" fmla="*/ 56 h 932"/>
                <a:gd name="T56" fmla="*/ 153 w 932"/>
                <a:gd name="T57" fmla="*/ 121 h 932"/>
                <a:gd name="T58" fmla="*/ 79 w 932"/>
                <a:gd name="T59" fmla="*/ 206 h 932"/>
                <a:gd name="T60" fmla="*/ 28 w 932"/>
                <a:gd name="T61" fmla="*/ 306 h 932"/>
                <a:gd name="T62" fmla="*/ 2 w 932"/>
                <a:gd name="T63" fmla="*/ 419 h 932"/>
                <a:gd name="T64" fmla="*/ 5 w 932"/>
                <a:gd name="T65" fmla="*/ 537 h 932"/>
                <a:gd name="T66" fmla="*/ 36 w 932"/>
                <a:gd name="T67" fmla="*/ 648 h 932"/>
                <a:gd name="T68" fmla="*/ 93 w 932"/>
                <a:gd name="T69" fmla="*/ 745 h 932"/>
                <a:gd name="T70" fmla="*/ 169 w 932"/>
                <a:gd name="T71" fmla="*/ 826 h 932"/>
                <a:gd name="T72" fmla="*/ 264 w 932"/>
                <a:gd name="T73" fmla="*/ 887 h 932"/>
                <a:gd name="T74" fmla="*/ 372 w 932"/>
                <a:gd name="T75" fmla="*/ 924 h 932"/>
                <a:gd name="T76" fmla="*/ 489 w 932"/>
                <a:gd name="T77" fmla="*/ 932 h 932"/>
                <a:gd name="T78" fmla="*/ 604 w 932"/>
                <a:gd name="T79" fmla="*/ 911 h 932"/>
                <a:gd name="T80" fmla="*/ 707 w 932"/>
                <a:gd name="T81" fmla="*/ 865 h 932"/>
                <a:gd name="T82" fmla="*/ 795 w 932"/>
                <a:gd name="T83" fmla="*/ 796 h 932"/>
                <a:gd name="T84" fmla="*/ 865 w 932"/>
                <a:gd name="T85" fmla="*/ 708 h 932"/>
                <a:gd name="T86" fmla="*/ 912 w 932"/>
                <a:gd name="T87" fmla="*/ 605 h 932"/>
                <a:gd name="T88" fmla="*/ 932 w 932"/>
                <a:gd name="T89" fmla="*/ 490 h 932"/>
                <a:gd name="T90" fmla="*/ 923 w 932"/>
                <a:gd name="T91" fmla="*/ 372 h 932"/>
                <a:gd name="T92" fmla="*/ 886 w 932"/>
                <a:gd name="T93" fmla="*/ 265 h 932"/>
                <a:gd name="T94" fmla="*/ 825 w 932"/>
                <a:gd name="T95" fmla="*/ 170 h 932"/>
                <a:gd name="T96" fmla="*/ 745 w 932"/>
                <a:gd name="T97" fmla="*/ 92 h 932"/>
                <a:gd name="T98" fmla="*/ 647 w 932"/>
                <a:gd name="T99" fmla="*/ 37 h 932"/>
                <a:gd name="T100" fmla="*/ 537 w 932"/>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2" h="932">
                  <a:moveTo>
                    <a:pt x="466" y="901"/>
                  </a:moveTo>
                  <a:lnTo>
                    <a:pt x="444" y="901"/>
                  </a:lnTo>
                  <a:lnTo>
                    <a:pt x="422" y="899"/>
                  </a:lnTo>
                  <a:lnTo>
                    <a:pt x="399" y="897"/>
                  </a:lnTo>
                  <a:lnTo>
                    <a:pt x="378" y="892"/>
                  </a:lnTo>
                  <a:lnTo>
                    <a:pt x="357" y="888"/>
                  </a:lnTo>
                  <a:lnTo>
                    <a:pt x="336" y="881"/>
                  </a:lnTo>
                  <a:lnTo>
                    <a:pt x="316" y="875"/>
                  </a:lnTo>
                  <a:lnTo>
                    <a:pt x="296" y="867"/>
                  </a:lnTo>
                  <a:lnTo>
                    <a:pt x="277" y="858"/>
                  </a:lnTo>
                  <a:lnTo>
                    <a:pt x="258" y="849"/>
                  </a:lnTo>
                  <a:lnTo>
                    <a:pt x="241" y="838"/>
                  </a:lnTo>
                  <a:lnTo>
                    <a:pt x="223" y="827"/>
                  </a:lnTo>
                  <a:lnTo>
                    <a:pt x="206" y="815"/>
                  </a:lnTo>
                  <a:lnTo>
                    <a:pt x="189" y="802"/>
                  </a:lnTo>
                  <a:lnTo>
                    <a:pt x="174" y="788"/>
                  </a:lnTo>
                  <a:lnTo>
                    <a:pt x="158" y="774"/>
                  </a:lnTo>
                  <a:lnTo>
                    <a:pt x="144" y="759"/>
                  </a:lnTo>
                  <a:lnTo>
                    <a:pt x="131" y="742"/>
                  </a:lnTo>
                  <a:lnTo>
                    <a:pt x="117" y="727"/>
                  </a:lnTo>
                  <a:lnTo>
                    <a:pt x="105" y="709"/>
                  </a:lnTo>
                  <a:lnTo>
                    <a:pt x="94" y="691"/>
                  </a:lnTo>
                  <a:lnTo>
                    <a:pt x="83" y="674"/>
                  </a:lnTo>
                  <a:lnTo>
                    <a:pt x="74" y="655"/>
                  </a:lnTo>
                  <a:lnTo>
                    <a:pt x="65" y="636"/>
                  </a:lnTo>
                  <a:lnTo>
                    <a:pt x="57" y="616"/>
                  </a:lnTo>
                  <a:lnTo>
                    <a:pt x="51" y="596"/>
                  </a:lnTo>
                  <a:lnTo>
                    <a:pt x="44" y="575"/>
                  </a:lnTo>
                  <a:lnTo>
                    <a:pt x="40" y="554"/>
                  </a:lnTo>
                  <a:lnTo>
                    <a:pt x="36" y="532"/>
                  </a:lnTo>
                  <a:lnTo>
                    <a:pt x="33" y="510"/>
                  </a:lnTo>
                  <a:lnTo>
                    <a:pt x="32" y="489"/>
                  </a:lnTo>
                  <a:lnTo>
                    <a:pt x="31" y="466"/>
                  </a:lnTo>
                  <a:lnTo>
                    <a:pt x="32" y="444"/>
                  </a:lnTo>
                  <a:lnTo>
                    <a:pt x="33" y="421"/>
                  </a:lnTo>
                  <a:lnTo>
                    <a:pt x="36" y="400"/>
                  </a:lnTo>
                  <a:lnTo>
                    <a:pt x="40" y="379"/>
                  </a:lnTo>
                  <a:lnTo>
                    <a:pt x="44" y="358"/>
                  </a:lnTo>
                  <a:lnTo>
                    <a:pt x="51" y="337"/>
                  </a:lnTo>
                  <a:lnTo>
                    <a:pt x="57" y="317"/>
                  </a:lnTo>
                  <a:lnTo>
                    <a:pt x="65" y="297"/>
                  </a:lnTo>
                  <a:lnTo>
                    <a:pt x="74" y="278"/>
                  </a:lnTo>
                  <a:lnTo>
                    <a:pt x="83" y="259"/>
                  </a:lnTo>
                  <a:lnTo>
                    <a:pt x="94" y="240"/>
                  </a:lnTo>
                  <a:lnTo>
                    <a:pt x="105" y="224"/>
                  </a:lnTo>
                  <a:lnTo>
                    <a:pt x="117" y="206"/>
                  </a:lnTo>
                  <a:lnTo>
                    <a:pt x="131" y="189"/>
                  </a:lnTo>
                  <a:lnTo>
                    <a:pt x="144" y="174"/>
                  </a:lnTo>
                  <a:lnTo>
                    <a:pt x="158" y="159"/>
                  </a:lnTo>
                  <a:lnTo>
                    <a:pt x="174" y="145"/>
                  </a:lnTo>
                  <a:lnTo>
                    <a:pt x="189" y="130"/>
                  </a:lnTo>
                  <a:lnTo>
                    <a:pt x="206" y="118"/>
                  </a:lnTo>
                  <a:lnTo>
                    <a:pt x="223" y="106"/>
                  </a:lnTo>
                  <a:lnTo>
                    <a:pt x="241" y="95"/>
                  </a:lnTo>
                  <a:lnTo>
                    <a:pt x="258" y="84"/>
                  </a:lnTo>
                  <a:lnTo>
                    <a:pt x="277" y="74"/>
                  </a:lnTo>
                  <a:lnTo>
                    <a:pt x="296" y="66"/>
                  </a:lnTo>
                  <a:lnTo>
                    <a:pt x="316" y="58"/>
                  </a:lnTo>
                  <a:lnTo>
                    <a:pt x="336" y="50"/>
                  </a:lnTo>
                  <a:lnTo>
                    <a:pt x="357" y="45"/>
                  </a:lnTo>
                  <a:lnTo>
                    <a:pt x="378" y="40"/>
                  </a:lnTo>
                  <a:lnTo>
                    <a:pt x="399" y="36"/>
                  </a:lnTo>
                  <a:lnTo>
                    <a:pt x="422" y="34"/>
                  </a:lnTo>
                  <a:lnTo>
                    <a:pt x="444" y="31"/>
                  </a:lnTo>
                  <a:lnTo>
                    <a:pt x="466" y="31"/>
                  </a:lnTo>
                  <a:lnTo>
                    <a:pt x="488" y="31"/>
                  </a:lnTo>
                  <a:lnTo>
                    <a:pt x="511" y="34"/>
                  </a:lnTo>
                  <a:lnTo>
                    <a:pt x="532" y="36"/>
                  </a:lnTo>
                  <a:lnTo>
                    <a:pt x="554" y="40"/>
                  </a:lnTo>
                  <a:lnTo>
                    <a:pt x="575" y="45"/>
                  </a:lnTo>
                  <a:lnTo>
                    <a:pt x="595" y="50"/>
                  </a:lnTo>
                  <a:lnTo>
                    <a:pt x="615" y="58"/>
                  </a:lnTo>
                  <a:lnTo>
                    <a:pt x="635" y="66"/>
                  </a:lnTo>
                  <a:lnTo>
                    <a:pt x="654" y="74"/>
                  </a:lnTo>
                  <a:lnTo>
                    <a:pt x="673" y="84"/>
                  </a:lnTo>
                  <a:lnTo>
                    <a:pt x="692" y="95"/>
                  </a:lnTo>
                  <a:lnTo>
                    <a:pt x="709" y="106"/>
                  </a:lnTo>
                  <a:lnTo>
                    <a:pt x="726" y="118"/>
                  </a:lnTo>
                  <a:lnTo>
                    <a:pt x="743" y="130"/>
                  </a:lnTo>
                  <a:lnTo>
                    <a:pt x="758" y="145"/>
                  </a:lnTo>
                  <a:lnTo>
                    <a:pt x="774" y="159"/>
                  </a:lnTo>
                  <a:lnTo>
                    <a:pt x="788" y="174"/>
                  </a:lnTo>
                  <a:lnTo>
                    <a:pt x="802" y="189"/>
                  </a:lnTo>
                  <a:lnTo>
                    <a:pt x="815" y="206"/>
                  </a:lnTo>
                  <a:lnTo>
                    <a:pt x="826" y="224"/>
                  </a:lnTo>
                  <a:lnTo>
                    <a:pt x="838" y="240"/>
                  </a:lnTo>
                  <a:lnTo>
                    <a:pt x="848" y="259"/>
                  </a:lnTo>
                  <a:lnTo>
                    <a:pt x="858" y="278"/>
                  </a:lnTo>
                  <a:lnTo>
                    <a:pt x="867" y="297"/>
                  </a:lnTo>
                  <a:lnTo>
                    <a:pt x="875" y="317"/>
                  </a:lnTo>
                  <a:lnTo>
                    <a:pt x="882" y="337"/>
                  </a:lnTo>
                  <a:lnTo>
                    <a:pt x="887" y="358"/>
                  </a:lnTo>
                  <a:lnTo>
                    <a:pt x="892" y="379"/>
                  </a:lnTo>
                  <a:lnTo>
                    <a:pt x="896" y="400"/>
                  </a:lnTo>
                  <a:lnTo>
                    <a:pt x="898" y="421"/>
                  </a:lnTo>
                  <a:lnTo>
                    <a:pt x="901" y="444"/>
                  </a:lnTo>
                  <a:lnTo>
                    <a:pt x="901" y="466"/>
                  </a:lnTo>
                  <a:lnTo>
                    <a:pt x="901" y="489"/>
                  </a:lnTo>
                  <a:lnTo>
                    <a:pt x="898" y="510"/>
                  </a:lnTo>
                  <a:lnTo>
                    <a:pt x="896" y="532"/>
                  </a:lnTo>
                  <a:lnTo>
                    <a:pt x="892" y="554"/>
                  </a:lnTo>
                  <a:lnTo>
                    <a:pt x="887" y="575"/>
                  </a:lnTo>
                  <a:lnTo>
                    <a:pt x="882" y="596"/>
                  </a:lnTo>
                  <a:lnTo>
                    <a:pt x="875" y="616"/>
                  </a:lnTo>
                  <a:lnTo>
                    <a:pt x="867" y="636"/>
                  </a:lnTo>
                  <a:lnTo>
                    <a:pt x="858" y="655"/>
                  </a:lnTo>
                  <a:lnTo>
                    <a:pt x="848" y="674"/>
                  </a:lnTo>
                  <a:lnTo>
                    <a:pt x="838" y="691"/>
                  </a:lnTo>
                  <a:lnTo>
                    <a:pt x="826" y="709"/>
                  </a:lnTo>
                  <a:lnTo>
                    <a:pt x="815" y="727"/>
                  </a:lnTo>
                  <a:lnTo>
                    <a:pt x="802" y="742"/>
                  </a:lnTo>
                  <a:lnTo>
                    <a:pt x="788" y="759"/>
                  </a:lnTo>
                  <a:lnTo>
                    <a:pt x="774" y="774"/>
                  </a:lnTo>
                  <a:lnTo>
                    <a:pt x="758" y="788"/>
                  </a:lnTo>
                  <a:lnTo>
                    <a:pt x="743" y="802"/>
                  </a:lnTo>
                  <a:lnTo>
                    <a:pt x="726" y="815"/>
                  </a:lnTo>
                  <a:lnTo>
                    <a:pt x="709" y="827"/>
                  </a:lnTo>
                  <a:lnTo>
                    <a:pt x="692" y="838"/>
                  </a:lnTo>
                  <a:lnTo>
                    <a:pt x="673" y="849"/>
                  </a:lnTo>
                  <a:lnTo>
                    <a:pt x="654" y="858"/>
                  </a:lnTo>
                  <a:lnTo>
                    <a:pt x="635" y="867"/>
                  </a:lnTo>
                  <a:lnTo>
                    <a:pt x="615" y="875"/>
                  </a:lnTo>
                  <a:lnTo>
                    <a:pt x="595" y="881"/>
                  </a:lnTo>
                  <a:lnTo>
                    <a:pt x="575" y="888"/>
                  </a:lnTo>
                  <a:lnTo>
                    <a:pt x="554" y="892"/>
                  </a:lnTo>
                  <a:lnTo>
                    <a:pt x="532" y="897"/>
                  </a:lnTo>
                  <a:lnTo>
                    <a:pt x="511" y="899"/>
                  </a:lnTo>
                  <a:lnTo>
                    <a:pt x="488" y="901"/>
                  </a:lnTo>
                  <a:lnTo>
                    <a:pt x="466" y="901"/>
                  </a:lnTo>
                  <a:close/>
                  <a:moveTo>
                    <a:pt x="466" y="0"/>
                  </a:moveTo>
                  <a:lnTo>
                    <a:pt x="442" y="0"/>
                  </a:lnTo>
                  <a:lnTo>
                    <a:pt x="418" y="2"/>
                  </a:lnTo>
                  <a:lnTo>
                    <a:pt x="395" y="6"/>
                  </a:lnTo>
                  <a:lnTo>
                    <a:pt x="372" y="9"/>
                  </a:lnTo>
                  <a:lnTo>
                    <a:pt x="349" y="15"/>
                  </a:lnTo>
                  <a:lnTo>
                    <a:pt x="327" y="21"/>
                  </a:lnTo>
                  <a:lnTo>
                    <a:pt x="306" y="28"/>
                  </a:lnTo>
                  <a:lnTo>
                    <a:pt x="285" y="37"/>
                  </a:lnTo>
                  <a:lnTo>
                    <a:pt x="264" y="46"/>
                  </a:lnTo>
                  <a:lnTo>
                    <a:pt x="244" y="56"/>
                  </a:lnTo>
                  <a:lnTo>
                    <a:pt x="224" y="68"/>
                  </a:lnTo>
                  <a:lnTo>
                    <a:pt x="205" y="79"/>
                  </a:lnTo>
                  <a:lnTo>
                    <a:pt x="187" y="92"/>
                  </a:lnTo>
                  <a:lnTo>
                    <a:pt x="169" y="107"/>
                  </a:lnTo>
                  <a:lnTo>
                    <a:pt x="153" y="121"/>
                  </a:lnTo>
                  <a:lnTo>
                    <a:pt x="136" y="137"/>
                  </a:lnTo>
                  <a:lnTo>
                    <a:pt x="121" y="152"/>
                  </a:lnTo>
                  <a:lnTo>
                    <a:pt x="106" y="170"/>
                  </a:lnTo>
                  <a:lnTo>
                    <a:pt x="93" y="187"/>
                  </a:lnTo>
                  <a:lnTo>
                    <a:pt x="79" y="206"/>
                  </a:lnTo>
                  <a:lnTo>
                    <a:pt x="67" y="225"/>
                  </a:lnTo>
                  <a:lnTo>
                    <a:pt x="56" y="245"/>
                  </a:lnTo>
                  <a:lnTo>
                    <a:pt x="46" y="265"/>
                  </a:lnTo>
                  <a:lnTo>
                    <a:pt x="36" y="285"/>
                  </a:lnTo>
                  <a:lnTo>
                    <a:pt x="28" y="306"/>
                  </a:lnTo>
                  <a:lnTo>
                    <a:pt x="21" y="328"/>
                  </a:lnTo>
                  <a:lnTo>
                    <a:pt x="14" y="350"/>
                  </a:lnTo>
                  <a:lnTo>
                    <a:pt x="10" y="372"/>
                  </a:lnTo>
                  <a:lnTo>
                    <a:pt x="5" y="396"/>
                  </a:lnTo>
                  <a:lnTo>
                    <a:pt x="2" y="419"/>
                  </a:lnTo>
                  <a:lnTo>
                    <a:pt x="1" y="442"/>
                  </a:lnTo>
                  <a:lnTo>
                    <a:pt x="0" y="466"/>
                  </a:lnTo>
                  <a:lnTo>
                    <a:pt x="1" y="490"/>
                  </a:lnTo>
                  <a:lnTo>
                    <a:pt x="2" y="514"/>
                  </a:lnTo>
                  <a:lnTo>
                    <a:pt x="5" y="537"/>
                  </a:lnTo>
                  <a:lnTo>
                    <a:pt x="10" y="560"/>
                  </a:lnTo>
                  <a:lnTo>
                    <a:pt x="14" y="582"/>
                  </a:lnTo>
                  <a:lnTo>
                    <a:pt x="21" y="605"/>
                  </a:lnTo>
                  <a:lnTo>
                    <a:pt x="28" y="627"/>
                  </a:lnTo>
                  <a:lnTo>
                    <a:pt x="36" y="648"/>
                  </a:lnTo>
                  <a:lnTo>
                    <a:pt x="46" y="668"/>
                  </a:lnTo>
                  <a:lnTo>
                    <a:pt x="56" y="688"/>
                  </a:lnTo>
                  <a:lnTo>
                    <a:pt x="67" y="708"/>
                  </a:lnTo>
                  <a:lnTo>
                    <a:pt x="79" y="727"/>
                  </a:lnTo>
                  <a:lnTo>
                    <a:pt x="93" y="745"/>
                  </a:lnTo>
                  <a:lnTo>
                    <a:pt x="106" y="762"/>
                  </a:lnTo>
                  <a:lnTo>
                    <a:pt x="121" y="779"/>
                  </a:lnTo>
                  <a:lnTo>
                    <a:pt x="136" y="796"/>
                  </a:lnTo>
                  <a:lnTo>
                    <a:pt x="153" y="811"/>
                  </a:lnTo>
                  <a:lnTo>
                    <a:pt x="169" y="826"/>
                  </a:lnTo>
                  <a:lnTo>
                    <a:pt x="187" y="840"/>
                  </a:lnTo>
                  <a:lnTo>
                    <a:pt x="205" y="852"/>
                  </a:lnTo>
                  <a:lnTo>
                    <a:pt x="224" y="865"/>
                  </a:lnTo>
                  <a:lnTo>
                    <a:pt x="244" y="876"/>
                  </a:lnTo>
                  <a:lnTo>
                    <a:pt x="264" y="887"/>
                  </a:lnTo>
                  <a:lnTo>
                    <a:pt x="285" y="896"/>
                  </a:lnTo>
                  <a:lnTo>
                    <a:pt x="306" y="905"/>
                  </a:lnTo>
                  <a:lnTo>
                    <a:pt x="327" y="911"/>
                  </a:lnTo>
                  <a:lnTo>
                    <a:pt x="349" y="918"/>
                  </a:lnTo>
                  <a:lnTo>
                    <a:pt x="372" y="924"/>
                  </a:lnTo>
                  <a:lnTo>
                    <a:pt x="395" y="927"/>
                  </a:lnTo>
                  <a:lnTo>
                    <a:pt x="418" y="930"/>
                  </a:lnTo>
                  <a:lnTo>
                    <a:pt x="442" y="932"/>
                  </a:lnTo>
                  <a:lnTo>
                    <a:pt x="466" y="932"/>
                  </a:lnTo>
                  <a:lnTo>
                    <a:pt x="489" y="932"/>
                  </a:lnTo>
                  <a:lnTo>
                    <a:pt x="514" y="930"/>
                  </a:lnTo>
                  <a:lnTo>
                    <a:pt x="537" y="927"/>
                  </a:lnTo>
                  <a:lnTo>
                    <a:pt x="559" y="924"/>
                  </a:lnTo>
                  <a:lnTo>
                    <a:pt x="583" y="918"/>
                  </a:lnTo>
                  <a:lnTo>
                    <a:pt x="604" y="911"/>
                  </a:lnTo>
                  <a:lnTo>
                    <a:pt x="626" y="905"/>
                  </a:lnTo>
                  <a:lnTo>
                    <a:pt x="647" y="896"/>
                  </a:lnTo>
                  <a:lnTo>
                    <a:pt x="668" y="887"/>
                  </a:lnTo>
                  <a:lnTo>
                    <a:pt x="688" y="876"/>
                  </a:lnTo>
                  <a:lnTo>
                    <a:pt x="707" y="865"/>
                  </a:lnTo>
                  <a:lnTo>
                    <a:pt x="726" y="852"/>
                  </a:lnTo>
                  <a:lnTo>
                    <a:pt x="745" y="840"/>
                  </a:lnTo>
                  <a:lnTo>
                    <a:pt x="763" y="826"/>
                  </a:lnTo>
                  <a:lnTo>
                    <a:pt x="779" y="811"/>
                  </a:lnTo>
                  <a:lnTo>
                    <a:pt x="795" y="796"/>
                  </a:lnTo>
                  <a:lnTo>
                    <a:pt x="811" y="779"/>
                  </a:lnTo>
                  <a:lnTo>
                    <a:pt x="825" y="762"/>
                  </a:lnTo>
                  <a:lnTo>
                    <a:pt x="839" y="745"/>
                  </a:lnTo>
                  <a:lnTo>
                    <a:pt x="853" y="727"/>
                  </a:lnTo>
                  <a:lnTo>
                    <a:pt x="865" y="708"/>
                  </a:lnTo>
                  <a:lnTo>
                    <a:pt x="876" y="688"/>
                  </a:lnTo>
                  <a:lnTo>
                    <a:pt x="886" y="668"/>
                  </a:lnTo>
                  <a:lnTo>
                    <a:pt x="895" y="648"/>
                  </a:lnTo>
                  <a:lnTo>
                    <a:pt x="904" y="627"/>
                  </a:lnTo>
                  <a:lnTo>
                    <a:pt x="912" y="605"/>
                  </a:lnTo>
                  <a:lnTo>
                    <a:pt x="917" y="582"/>
                  </a:lnTo>
                  <a:lnTo>
                    <a:pt x="923" y="560"/>
                  </a:lnTo>
                  <a:lnTo>
                    <a:pt x="927" y="537"/>
                  </a:lnTo>
                  <a:lnTo>
                    <a:pt x="929" y="514"/>
                  </a:lnTo>
                  <a:lnTo>
                    <a:pt x="932" y="490"/>
                  </a:lnTo>
                  <a:lnTo>
                    <a:pt x="932" y="466"/>
                  </a:lnTo>
                  <a:lnTo>
                    <a:pt x="932" y="442"/>
                  </a:lnTo>
                  <a:lnTo>
                    <a:pt x="929" y="419"/>
                  </a:lnTo>
                  <a:lnTo>
                    <a:pt x="927" y="396"/>
                  </a:lnTo>
                  <a:lnTo>
                    <a:pt x="923" y="372"/>
                  </a:lnTo>
                  <a:lnTo>
                    <a:pt x="917" y="350"/>
                  </a:lnTo>
                  <a:lnTo>
                    <a:pt x="912" y="328"/>
                  </a:lnTo>
                  <a:lnTo>
                    <a:pt x="904" y="306"/>
                  </a:lnTo>
                  <a:lnTo>
                    <a:pt x="895" y="285"/>
                  </a:lnTo>
                  <a:lnTo>
                    <a:pt x="886" y="265"/>
                  </a:lnTo>
                  <a:lnTo>
                    <a:pt x="876" y="245"/>
                  </a:lnTo>
                  <a:lnTo>
                    <a:pt x="865" y="225"/>
                  </a:lnTo>
                  <a:lnTo>
                    <a:pt x="853" y="206"/>
                  </a:lnTo>
                  <a:lnTo>
                    <a:pt x="839" y="187"/>
                  </a:lnTo>
                  <a:lnTo>
                    <a:pt x="825" y="170"/>
                  </a:lnTo>
                  <a:lnTo>
                    <a:pt x="811" y="152"/>
                  </a:lnTo>
                  <a:lnTo>
                    <a:pt x="795" y="137"/>
                  </a:lnTo>
                  <a:lnTo>
                    <a:pt x="779" y="121"/>
                  </a:lnTo>
                  <a:lnTo>
                    <a:pt x="763" y="107"/>
                  </a:lnTo>
                  <a:lnTo>
                    <a:pt x="745" y="92"/>
                  </a:lnTo>
                  <a:lnTo>
                    <a:pt x="726" y="80"/>
                  </a:lnTo>
                  <a:lnTo>
                    <a:pt x="707" y="68"/>
                  </a:lnTo>
                  <a:lnTo>
                    <a:pt x="688" y="56"/>
                  </a:lnTo>
                  <a:lnTo>
                    <a:pt x="668" y="46"/>
                  </a:lnTo>
                  <a:lnTo>
                    <a:pt x="647" y="37"/>
                  </a:lnTo>
                  <a:lnTo>
                    <a:pt x="626" y="28"/>
                  </a:lnTo>
                  <a:lnTo>
                    <a:pt x="604" y="21"/>
                  </a:lnTo>
                  <a:lnTo>
                    <a:pt x="583" y="15"/>
                  </a:lnTo>
                  <a:lnTo>
                    <a:pt x="559" y="9"/>
                  </a:lnTo>
                  <a:lnTo>
                    <a:pt x="537" y="6"/>
                  </a:lnTo>
                  <a:lnTo>
                    <a:pt x="514" y="2"/>
                  </a:lnTo>
                  <a:lnTo>
                    <a:pt x="489"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7" name="Freeform 328">
              <a:extLst>
                <a:ext uri="{FF2B5EF4-FFF2-40B4-BE49-F238E27FC236}">
                  <a16:creationId xmlns:a16="http://schemas.microsoft.com/office/drawing/2014/main" id="{AA611B13-D1AB-400C-92B8-B70BDE984421}"/>
                </a:ext>
              </a:extLst>
            </p:cNvPr>
            <p:cNvSpPr>
              <a:spLocks noEditPoints="1"/>
            </p:cNvSpPr>
            <p:nvPr/>
          </p:nvSpPr>
          <p:spPr bwMode="auto">
            <a:xfrm>
              <a:off x="9407782" y="2590341"/>
              <a:ext cx="118286" cy="118286"/>
            </a:xfrm>
            <a:custGeom>
              <a:avLst/>
              <a:gdLst>
                <a:gd name="T0" fmla="*/ 31 w 384"/>
                <a:gd name="T1" fmla="*/ 342 h 383"/>
                <a:gd name="T2" fmla="*/ 31 w 384"/>
                <a:gd name="T3" fmla="*/ 40 h 383"/>
                <a:gd name="T4" fmla="*/ 334 w 384"/>
                <a:gd name="T5" fmla="*/ 191 h 383"/>
                <a:gd name="T6" fmla="*/ 31 w 384"/>
                <a:gd name="T7" fmla="*/ 342 h 383"/>
                <a:gd name="T8" fmla="*/ 375 w 384"/>
                <a:gd name="T9" fmla="*/ 177 h 383"/>
                <a:gd name="T10" fmla="*/ 23 w 384"/>
                <a:gd name="T11" fmla="*/ 1 h 383"/>
                <a:gd name="T12" fmla="*/ 19 w 384"/>
                <a:gd name="T13" fmla="*/ 0 h 383"/>
                <a:gd name="T14" fmla="*/ 15 w 384"/>
                <a:gd name="T15" fmla="*/ 0 h 383"/>
                <a:gd name="T16" fmla="*/ 11 w 384"/>
                <a:gd name="T17" fmla="*/ 0 h 383"/>
                <a:gd name="T18" fmla="*/ 8 w 384"/>
                <a:gd name="T19" fmla="*/ 2 h 383"/>
                <a:gd name="T20" fmla="*/ 4 w 384"/>
                <a:gd name="T21" fmla="*/ 4 h 383"/>
                <a:gd name="T22" fmla="*/ 2 w 384"/>
                <a:gd name="T23" fmla="*/ 7 h 383"/>
                <a:gd name="T24" fmla="*/ 1 w 384"/>
                <a:gd name="T25" fmla="*/ 11 h 383"/>
                <a:gd name="T26" fmla="*/ 0 w 384"/>
                <a:gd name="T27" fmla="*/ 15 h 383"/>
                <a:gd name="T28" fmla="*/ 0 w 384"/>
                <a:gd name="T29" fmla="*/ 367 h 383"/>
                <a:gd name="T30" fmla="*/ 1 w 384"/>
                <a:gd name="T31" fmla="*/ 372 h 383"/>
                <a:gd name="T32" fmla="*/ 2 w 384"/>
                <a:gd name="T33" fmla="*/ 375 h 383"/>
                <a:gd name="T34" fmla="*/ 4 w 384"/>
                <a:gd name="T35" fmla="*/ 379 h 383"/>
                <a:gd name="T36" fmla="*/ 8 w 384"/>
                <a:gd name="T37" fmla="*/ 381 h 383"/>
                <a:gd name="T38" fmla="*/ 12 w 384"/>
                <a:gd name="T39" fmla="*/ 383 h 383"/>
                <a:gd name="T40" fmla="*/ 15 w 384"/>
                <a:gd name="T41" fmla="*/ 383 h 383"/>
                <a:gd name="T42" fmla="*/ 20 w 384"/>
                <a:gd name="T43" fmla="*/ 383 h 383"/>
                <a:gd name="T44" fmla="*/ 23 w 384"/>
                <a:gd name="T45" fmla="*/ 382 h 383"/>
                <a:gd name="T46" fmla="*/ 375 w 384"/>
                <a:gd name="T47" fmla="*/ 205 h 383"/>
                <a:gd name="T48" fmla="*/ 379 w 384"/>
                <a:gd name="T49" fmla="*/ 203 h 383"/>
                <a:gd name="T50" fmla="*/ 382 w 384"/>
                <a:gd name="T51" fmla="*/ 200 h 383"/>
                <a:gd name="T52" fmla="*/ 383 w 384"/>
                <a:gd name="T53" fmla="*/ 195 h 383"/>
                <a:gd name="T54" fmla="*/ 384 w 384"/>
                <a:gd name="T55" fmla="*/ 191 h 383"/>
                <a:gd name="T56" fmla="*/ 383 w 384"/>
                <a:gd name="T57" fmla="*/ 187 h 383"/>
                <a:gd name="T58" fmla="*/ 382 w 384"/>
                <a:gd name="T59" fmla="*/ 183 h 383"/>
                <a:gd name="T60" fmla="*/ 379 w 384"/>
                <a:gd name="T61" fmla="*/ 180 h 383"/>
                <a:gd name="T62" fmla="*/ 375 w 384"/>
                <a:gd name="T63" fmla="*/ 17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4" h="383">
                  <a:moveTo>
                    <a:pt x="31" y="342"/>
                  </a:moveTo>
                  <a:lnTo>
                    <a:pt x="31" y="40"/>
                  </a:lnTo>
                  <a:lnTo>
                    <a:pt x="334" y="191"/>
                  </a:lnTo>
                  <a:lnTo>
                    <a:pt x="31" y="342"/>
                  </a:lnTo>
                  <a:close/>
                  <a:moveTo>
                    <a:pt x="375" y="177"/>
                  </a:moveTo>
                  <a:lnTo>
                    <a:pt x="23" y="1"/>
                  </a:lnTo>
                  <a:lnTo>
                    <a:pt x="19" y="0"/>
                  </a:lnTo>
                  <a:lnTo>
                    <a:pt x="15" y="0"/>
                  </a:lnTo>
                  <a:lnTo>
                    <a:pt x="11" y="0"/>
                  </a:lnTo>
                  <a:lnTo>
                    <a:pt x="8" y="2"/>
                  </a:lnTo>
                  <a:lnTo>
                    <a:pt x="4" y="4"/>
                  </a:lnTo>
                  <a:lnTo>
                    <a:pt x="2" y="7"/>
                  </a:lnTo>
                  <a:lnTo>
                    <a:pt x="1" y="11"/>
                  </a:lnTo>
                  <a:lnTo>
                    <a:pt x="0" y="15"/>
                  </a:lnTo>
                  <a:lnTo>
                    <a:pt x="0" y="367"/>
                  </a:lnTo>
                  <a:lnTo>
                    <a:pt x="1" y="372"/>
                  </a:lnTo>
                  <a:lnTo>
                    <a:pt x="2" y="375"/>
                  </a:lnTo>
                  <a:lnTo>
                    <a:pt x="4" y="379"/>
                  </a:lnTo>
                  <a:lnTo>
                    <a:pt x="8" y="381"/>
                  </a:lnTo>
                  <a:lnTo>
                    <a:pt x="12" y="383"/>
                  </a:lnTo>
                  <a:lnTo>
                    <a:pt x="15" y="383"/>
                  </a:lnTo>
                  <a:lnTo>
                    <a:pt x="20" y="383"/>
                  </a:lnTo>
                  <a:lnTo>
                    <a:pt x="23" y="382"/>
                  </a:lnTo>
                  <a:lnTo>
                    <a:pt x="375" y="205"/>
                  </a:lnTo>
                  <a:lnTo>
                    <a:pt x="379" y="203"/>
                  </a:lnTo>
                  <a:lnTo>
                    <a:pt x="382" y="200"/>
                  </a:lnTo>
                  <a:lnTo>
                    <a:pt x="383" y="195"/>
                  </a:lnTo>
                  <a:lnTo>
                    <a:pt x="384" y="191"/>
                  </a:lnTo>
                  <a:lnTo>
                    <a:pt x="383" y="187"/>
                  </a:lnTo>
                  <a:lnTo>
                    <a:pt x="382" y="183"/>
                  </a:lnTo>
                  <a:lnTo>
                    <a:pt x="379" y="180"/>
                  </a:lnTo>
                  <a:lnTo>
                    <a:pt x="375"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61" name="Group 122">
            <a:extLst>
              <a:ext uri="{FF2B5EF4-FFF2-40B4-BE49-F238E27FC236}">
                <a16:creationId xmlns:a16="http://schemas.microsoft.com/office/drawing/2014/main" id="{2F8107FC-15A8-4998-B192-0A649DECFAEF}"/>
              </a:ext>
            </a:extLst>
          </p:cNvPr>
          <p:cNvGrpSpPr>
            <a:grpSpLocks noChangeAspect="1"/>
          </p:cNvGrpSpPr>
          <p:nvPr/>
        </p:nvGrpSpPr>
        <p:grpSpPr>
          <a:xfrm>
            <a:off x="5360346" y="2186361"/>
            <a:ext cx="321321" cy="285619"/>
            <a:chOff x="307975" y="3641725"/>
            <a:chExt cx="285750" cy="279400"/>
          </a:xfrm>
          <a:solidFill>
            <a:schemeClr val="bg1"/>
          </a:solidFill>
          <a:effectLst/>
        </p:grpSpPr>
        <p:sp>
          <p:nvSpPr>
            <p:cNvPr id="562" name="Freeform 213">
              <a:extLst>
                <a:ext uri="{FF2B5EF4-FFF2-40B4-BE49-F238E27FC236}">
                  <a16:creationId xmlns:a16="http://schemas.microsoft.com/office/drawing/2014/main" id="{77747751-12AA-4DA7-8746-3E9843953B91}"/>
                </a:ext>
              </a:extLst>
            </p:cNvPr>
            <p:cNvSpPr>
              <a:spLocks noEditPoints="1"/>
            </p:cNvSpPr>
            <p:nvPr/>
          </p:nvSpPr>
          <p:spPr bwMode="auto">
            <a:xfrm>
              <a:off x="307975" y="3641725"/>
              <a:ext cx="285750" cy="279400"/>
            </a:xfrm>
            <a:custGeom>
              <a:avLst/>
              <a:gdLst>
                <a:gd name="T0" fmla="*/ 803 w 902"/>
                <a:gd name="T1" fmla="*/ 688 h 881"/>
                <a:gd name="T2" fmla="*/ 869 w 902"/>
                <a:gd name="T3" fmla="*/ 850 h 881"/>
                <a:gd name="T4" fmla="*/ 222 w 902"/>
                <a:gd name="T5" fmla="*/ 643 h 881"/>
                <a:gd name="T6" fmla="*/ 82 w 902"/>
                <a:gd name="T7" fmla="*/ 710 h 881"/>
                <a:gd name="T8" fmla="*/ 370 w 902"/>
                <a:gd name="T9" fmla="*/ 439 h 881"/>
                <a:gd name="T10" fmla="*/ 355 w 902"/>
                <a:gd name="T11" fmla="*/ 413 h 881"/>
                <a:gd name="T12" fmla="*/ 329 w 902"/>
                <a:gd name="T13" fmla="*/ 318 h 881"/>
                <a:gd name="T14" fmla="*/ 351 w 902"/>
                <a:gd name="T15" fmla="*/ 216 h 881"/>
                <a:gd name="T16" fmla="*/ 327 w 902"/>
                <a:gd name="T17" fmla="*/ 211 h 881"/>
                <a:gd name="T18" fmla="*/ 305 w 902"/>
                <a:gd name="T19" fmla="*/ 267 h 881"/>
                <a:gd name="T20" fmla="*/ 270 w 902"/>
                <a:gd name="T21" fmla="*/ 287 h 881"/>
                <a:gd name="T22" fmla="*/ 274 w 902"/>
                <a:gd name="T23" fmla="*/ 311 h 881"/>
                <a:gd name="T24" fmla="*/ 317 w 902"/>
                <a:gd name="T25" fmla="*/ 412 h 881"/>
                <a:gd name="T26" fmla="*/ 251 w 902"/>
                <a:gd name="T27" fmla="*/ 471 h 881"/>
                <a:gd name="T28" fmla="*/ 185 w 902"/>
                <a:gd name="T29" fmla="*/ 427 h 881"/>
                <a:gd name="T30" fmla="*/ 228 w 902"/>
                <a:gd name="T31" fmla="*/ 267 h 881"/>
                <a:gd name="T32" fmla="*/ 293 w 902"/>
                <a:gd name="T33" fmla="*/ 52 h 881"/>
                <a:gd name="T34" fmla="*/ 365 w 902"/>
                <a:gd name="T35" fmla="*/ 32 h 881"/>
                <a:gd name="T36" fmla="*/ 459 w 902"/>
                <a:gd name="T37" fmla="*/ 67 h 881"/>
                <a:gd name="T38" fmla="*/ 572 w 902"/>
                <a:gd name="T39" fmla="*/ 31 h 881"/>
                <a:gd name="T40" fmla="*/ 641 w 902"/>
                <a:gd name="T41" fmla="*/ 107 h 881"/>
                <a:gd name="T42" fmla="*/ 693 w 902"/>
                <a:gd name="T43" fmla="*/ 374 h 881"/>
                <a:gd name="T44" fmla="*/ 714 w 902"/>
                <a:gd name="T45" fmla="*/ 455 h 881"/>
                <a:gd name="T46" fmla="*/ 603 w 902"/>
                <a:gd name="T47" fmla="*/ 462 h 881"/>
                <a:gd name="T48" fmla="*/ 601 w 902"/>
                <a:gd name="T49" fmla="*/ 353 h 881"/>
                <a:gd name="T50" fmla="*/ 635 w 902"/>
                <a:gd name="T51" fmla="*/ 303 h 881"/>
                <a:gd name="T52" fmla="*/ 622 w 902"/>
                <a:gd name="T53" fmla="*/ 283 h 881"/>
                <a:gd name="T54" fmla="*/ 584 w 902"/>
                <a:gd name="T55" fmla="*/ 242 h 881"/>
                <a:gd name="T56" fmla="*/ 565 w 902"/>
                <a:gd name="T57" fmla="*/ 207 h 881"/>
                <a:gd name="T58" fmla="*/ 554 w 902"/>
                <a:gd name="T59" fmla="*/ 249 h 881"/>
                <a:gd name="T60" fmla="*/ 567 w 902"/>
                <a:gd name="T61" fmla="*/ 372 h 881"/>
                <a:gd name="T62" fmla="*/ 535 w 902"/>
                <a:gd name="T63" fmla="*/ 418 h 881"/>
                <a:gd name="T64" fmla="*/ 541 w 902"/>
                <a:gd name="T65" fmla="*/ 444 h 881"/>
                <a:gd name="T66" fmla="*/ 588 w 902"/>
                <a:gd name="T67" fmla="*/ 624 h 881"/>
                <a:gd name="T68" fmla="*/ 295 w 902"/>
                <a:gd name="T69" fmla="*/ 632 h 881"/>
                <a:gd name="T70" fmla="*/ 358 w 902"/>
                <a:gd name="T71" fmla="*/ 562 h 881"/>
                <a:gd name="T72" fmla="*/ 658 w 902"/>
                <a:gd name="T73" fmla="*/ 611 h 881"/>
                <a:gd name="T74" fmla="*/ 575 w 902"/>
                <a:gd name="T75" fmla="*/ 566 h 881"/>
                <a:gd name="T76" fmla="*/ 629 w 902"/>
                <a:gd name="T77" fmla="*/ 504 h 881"/>
                <a:gd name="T78" fmla="*/ 717 w 902"/>
                <a:gd name="T79" fmla="*/ 488 h 881"/>
                <a:gd name="T80" fmla="*/ 769 w 902"/>
                <a:gd name="T81" fmla="*/ 431 h 881"/>
                <a:gd name="T82" fmla="*/ 735 w 902"/>
                <a:gd name="T83" fmla="*/ 401 h 881"/>
                <a:gd name="T84" fmla="*/ 689 w 902"/>
                <a:gd name="T85" fmla="*/ 173 h 881"/>
                <a:gd name="T86" fmla="*/ 624 w 902"/>
                <a:gd name="T87" fmla="*/ 25 h 881"/>
                <a:gd name="T88" fmla="*/ 534 w 902"/>
                <a:gd name="T89" fmla="*/ 2 h 881"/>
                <a:gd name="T90" fmla="*/ 394 w 902"/>
                <a:gd name="T91" fmla="*/ 9 h 881"/>
                <a:gd name="T92" fmla="*/ 291 w 902"/>
                <a:gd name="T93" fmla="*/ 14 h 881"/>
                <a:gd name="T94" fmla="*/ 223 w 902"/>
                <a:gd name="T95" fmla="*/ 128 h 881"/>
                <a:gd name="T96" fmla="*/ 173 w 902"/>
                <a:gd name="T97" fmla="*/ 386 h 881"/>
                <a:gd name="T98" fmla="*/ 134 w 902"/>
                <a:gd name="T99" fmla="*/ 424 h 881"/>
                <a:gd name="T100" fmla="*/ 182 w 902"/>
                <a:gd name="T101" fmla="*/ 481 h 881"/>
                <a:gd name="T102" fmla="*/ 293 w 902"/>
                <a:gd name="T103" fmla="*/ 493 h 881"/>
                <a:gd name="T104" fmla="*/ 319 w 902"/>
                <a:gd name="T105" fmla="*/ 581 h 881"/>
                <a:gd name="T106" fmla="*/ 186 w 902"/>
                <a:gd name="T107" fmla="*/ 618 h 881"/>
                <a:gd name="T108" fmla="*/ 62 w 902"/>
                <a:gd name="T109" fmla="*/ 687 h 881"/>
                <a:gd name="T110" fmla="*/ 0 w 902"/>
                <a:gd name="T111" fmla="*/ 867 h 881"/>
                <a:gd name="T112" fmla="*/ 893 w 902"/>
                <a:gd name="T113" fmla="*/ 879 h 881"/>
                <a:gd name="T114" fmla="*/ 881 w 902"/>
                <a:gd name="T115" fmla="*/ 775 h 881"/>
                <a:gd name="T116" fmla="*/ 802 w 902"/>
                <a:gd name="T117" fmla="*/ 645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881">
                  <a:moveTo>
                    <a:pt x="555" y="850"/>
                  </a:moveTo>
                  <a:lnTo>
                    <a:pt x="698" y="645"/>
                  </a:lnTo>
                  <a:lnTo>
                    <a:pt x="721" y="649"/>
                  </a:lnTo>
                  <a:lnTo>
                    <a:pt x="745" y="653"/>
                  </a:lnTo>
                  <a:lnTo>
                    <a:pt x="756" y="656"/>
                  </a:lnTo>
                  <a:lnTo>
                    <a:pt x="765" y="659"/>
                  </a:lnTo>
                  <a:lnTo>
                    <a:pt x="775" y="665"/>
                  </a:lnTo>
                  <a:lnTo>
                    <a:pt x="783" y="670"/>
                  </a:lnTo>
                  <a:lnTo>
                    <a:pt x="793" y="679"/>
                  </a:lnTo>
                  <a:lnTo>
                    <a:pt x="803" y="688"/>
                  </a:lnTo>
                  <a:lnTo>
                    <a:pt x="811" y="699"/>
                  </a:lnTo>
                  <a:lnTo>
                    <a:pt x="819" y="710"/>
                  </a:lnTo>
                  <a:lnTo>
                    <a:pt x="826" y="723"/>
                  </a:lnTo>
                  <a:lnTo>
                    <a:pt x="833" y="734"/>
                  </a:lnTo>
                  <a:lnTo>
                    <a:pt x="839" y="748"/>
                  </a:lnTo>
                  <a:lnTo>
                    <a:pt x="845" y="761"/>
                  </a:lnTo>
                  <a:lnTo>
                    <a:pt x="853" y="787"/>
                  </a:lnTo>
                  <a:lnTo>
                    <a:pt x="861" y="812"/>
                  </a:lnTo>
                  <a:lnTo>
                    <a:pt x="866" y="833"/>
                  </a:lnTo>
                  <a:lnTo>
                    <a:pt x="869" y="850"/>
                  </a:lnTo>
                  <a:lnTo>
                    <a:pt x="555" y="850"/>
                  </a:lnTo>
                  <a:close/>
                  <a:moveTo>
                    <a:pt x="119" y="670"/>
                  </a:moveTo>
                  <a:lnTo>
                    <a:pt x="128" y="664"/>
                  </a:lnTo>
                  <a:lnTo>
                    <a:pt x="140" y="658"/>
                  </a:lnTo>
                  <a:lnTo>
                    <a:pt x="152" y="654"/>
                  </a:lnTo>
                  <a:lnTo>
                    <a:pt x="165" y="651"/>
                  </a:lnTo>
                  <a:lnTo>
                    <a:pt x="193" y="647"/>
                  </a:lnTo>
                  <a:lnTo>
                    <a:pt x="221" y="643"/>
                  </a:lnTo>
                  <a:lnTo>
                    <a:pt x="221" y="643"/>
                  </a:lnTo>
                  <a:lnTo>
                    <a:pt x="222" y="643"/>
                  </a:lnTo>
                  <a:lnTo>
                    <a:pt x="365" y="850"/>
                  </a:lnTo>
                  <a:lnTo>
                    <a:pt x="32" y="850"/>
                  </a:lnTo>
                  <a:lnTo>
                    <a:pt x="36" y="833"/>
                  </a:lnTo>
                  <a:lnTo>
                    <a:pt x="41" y="812"/>
                  </a:lnTo>
                  <a:lnTo>
                    <a:pt x="48" y="787"/>
                  </a:lnTo>
                  <a:lnTo>
                    <a:pt x="58" y="761"/>
                  </a:lnTo>
                  <a:lnTo>
                    <a:pt x="63" y="748"/>
                  </a:lnTo>
                  <a:lnTo>
                    <a:pt x="68" y="734"/>
                  </a:lnTo>
                  <a:lnTo>
                    <a:pt x="76" y="723"/>
                  </a:lnTo>
                  <a:lnTo>
                    <a:pt x="82" y="710"/>
                  </a:lnTo>
                  <a:lnTo>
                    <a:pt x="91" y="699"/>
                  </a:lnTo>
                  <a:lnTo>
                    <a:pt x="99" y="688"/>
                  </a:lnTo>
                  <a:lnTo>
                    <a:pt x="108" y="679"/>
                  </a:lnTo>
                  <a:lnTo>
                    <a:pt x="119" y="670"/>
                  </a:lnTo>
                  <a:close/>
                  <a:moveTo>
                    <a:pt x="361" y="535"/>
                  </a:moveTo>
                  <a:lnTo>
                    <a:pt x="361" y="447"/>
                  </a:lnTo>
                  <a:lnTo>
                    <a:pt x="363" y="445"/>
                  </a:lnTo>
                  <a:lnTo>
                    <a:pt x="365" y="444"/>
                  </a:lnTo>
                  <a:lnTo>
                    <a:pt x="367" y="442"/>
                  </a:lnTo>
                  <a:lnTo>
                    <a:pt x="370" y="439"/>
                  </a:lnTo>
                  <a:lnTo>
                    <a:pt x="371" y="435"/>
                  </a:lnTo>
                  <a:lnTo>
                    <a:pt x="371" y="433"/>
                  </a:lnTo>
                  <a:lnTo>
                    <a:pt x="371" y="430"/>
                  </a:lnTo>
                  <a:lnTo>
                    <a:pt x="370" y="427"/>
                  </a:lnTo>
                  <a:lnTo>
                    <a:pt x="368" y="425"/>
                  </a:lnTo>
                  <a:lnTo>
                    <a:pt x="366" y="422"/>
                  </a:lnTo>
                  <a:lnTo>
                    <a:pt x="364" y="420"/>
                  </a:lnTo>
                  <a:lnTo>
                    <a:pt x="362" y="419"/>
                  </a:lnTo>
                  <a:lnTo>
                    <a:pt x="360" y="417"/>
                  </a:lnTo>
                  <a:lnTo>
                    <a:pt x="355" y="413"/>
                  </a:lnTo>
                  <a:lnTo>
                    <a:pt x="351" y="410"/>
                  </a:lnTo>
                  <a:lnTo>
                    <a:pt x="348" y="405"/>
                  </a:lnTo>
                  <a:lnTo>
                    <a:pt x="345" y="400"/>
                  </a:lnTo>
                  <a:lnTo>
                    <a:pt x="342" y="392"/>
                  </a:lnTo>
                  <a:lnTo>
                    <a:pt x="338" y="384"/>
                  </a:lnTo>
                  <a:lnTo>
                    <a:pt x="335" y="374"/>
                  </a:lnTo>
                  <a:lnTo>
                    <a:pt x="332" y="363"/>
                  </a:lnTo>
                  <a:lnTo>
                    <a:pt x="331" y="351"/>
                  </a:lnTo>
                  <a:lnTo>
                    <a:pt x="330" y="336"/>
                  </a:lnTo>
                  <a:lnTo>
                    <a:pt x="329" y="318"/>
                  </a:lnTo>
                  <a:lnTo>
                    <a:pt x="330" y="300"/>
                  </a:lnTo>
                  <a:lnTo>
                    <a:pt x="333" y="280"/>
                  </a:lnTo>
                  <a:lnTo>
                    <a:pt x="337" y="271"/>
                  </a:lnTo>
                  <a:lnTo>
                    <a:pt x="341" y="264"/>
                  </a:lnTo>
                  <a:lnTo>
                    <a:pt x="345" y="256"/>
                  </a:lnTo>
                  <a:lnTo>
                    <a:pt x="347" y="249"/>
                  </a:lnTo>
                  <a:lnTo>
                    <a:pt x="350" y="234"/>
                  </a:lnTo>
                  <a:lnTo>
                    <a:pt x="352" y="222"/>
                  </a:lnTo>
                  <a:lnTo>
                    <a:pt x="351" y="219"/>
                  </a:lnTo>
                  <a:lnTo>
                    <a:pt x="351" y="216"/>
                  </a:lnTo>
                  <a:lnTo>
                    <a:pt x="349" y="213"/>
                  </a:lnTo>
                  <a:lnTo>
                    <a:pt x="348" y="211"/>
                  </a:lnTo>
                  <a:lnTo>
                    <a:pt x="345" y="209"/>
                  </a:lnTo>
                  <a:lnTo>
                    <a:pt x="343" y="208"/>
                  </a:lnTo>
                  <a:lnTo>
                    <a:pt x="340" y="207"/>
                  </a:lnTo>
                  <a:lnTo>
                    <a:pt x="337" y="207"/>
                  </a:lnTo>
                  <a:lnTo>
                    <a:pt x="334" y="207"/>
                  </a:lnTo>
                  <a:lnTo>
                    <a:pt x="331" y="208"/>
                  </a:lnTo>
                  <a:lnTo>
                    <a:pt x="329" y="209"/>
                  </a:lnTo>
                  <a:lnTo>
                    <a:pt x="327" y="211"/>
                  </a:lnTo>
                  <a:lnTo>
                    <a:pt x="325" y="213"/>
                  </a:lnTo>
                  <a:lnTo>
                    <a:pt x="323" y="216"/>
                  </a:lnTo>
                  <a:lnTo>
                    <a:pt x="322" y="219"/>
                  </a:lnTo>
                  <a:lnTo>
                    <a:pt x="322" y="222"/>
                  </a:lnTo>
                  <a:lnTo>
                    <a:pt x="321" y="231"/>
                  </a:lnTo>
                  <a:lnTo>
                    <a:pt x="317" y="242"/>
                  </a:lnTo>
                  <a:lnTo>
                    <a:pt x="313" y="255"/>
                  </a:lnTo>
                  <a:lnTo>
                    <a:pt x="305" y="267"/>
                  </a:lnTo>
                  <a:lnTo>
                    <a:pt x="305" y="267"/>
                  </a:lnTo>
                  <a:lnTo>
                    <a:pt x="305" y="267"/>
                  </a:lnTo>
                  <a:lnTo>
                    <a:pt x="300" y="273"/>
                  </a:lnTo>
                  <a:lnTo>
                    <a:pt x="293" y="278"/>
                  </a:lnTo>
                  <a:lnTo>
                    <a:pt x="290" y="280"/>
                  </a:lnTo>
                  <a:lnTo>
                    <a:pt x="287" y="281"/>
                  </a:lnTo>
                  <a:lnTo>
                    <a:pt x="284" y="282"/>
                  </a:lnTo>
                  <a:lnTo>
                    <a:pt x="281" y="283"/>
                  </a:lnTo>
                  <a:lnTo>
                    <a:pt x="277" y="283"/>
                  </a:lnTo>
                  <a:lnTo>
                    <a:pt x="274" y="284"/>
                  </a:lnTo>
                  <a:lnTo>
                    <a:pt x="272" y="285"/>
                  </a:lnTo>
                  <a:lnTo>
                    <a:pt x="270" y="287"/>
                  </a:lnTo>
                  <a:lnTo>
                    <a:pt x="268" y="290"/>
                  </a:lnTo>
                  <a:lnTo>
                    <a:pt x="267" y="292"/>
                  </a:lnTo>
                  <a:lnTo>
                    <a:pt x="266" y="295"/>
                  </a:lnTo>
                  <a:lnTo>
                    <a:pt x="266" y="298"/>
                  </a:lnTo>
                  <a:lnTo>
                    <a:pt x="266" y="300"/>
                  </a:lnTo>
                  <a:lnTo>
                    <a:pt x="267" y="303"/>
                  </a:lnTo>
                  <a:lnTo>
                    <a:pt x="268" y="306"/>
                  </a:lnTo>
                  <a:lnTo>
                    <a:pt x="270" y="308"/>
                  </a:lnTo>
                  <a:lnTo>
                    <a:pt x="272" y="310"/>
                  </a:lnTo>
                  <a:lnTo>
                    <a:pt x="274" y="311"/>
                  </a:lnTo>
                  <a:lnTo>
                    <a:pt x="277" y="312"/>
                  </a:lnTo>
                  <a:lnTo>
                    <a:pt x="281" y="313"/>
                  </a:lnTo>
                  <a:lnTo>
                    <a:pt x="290" y="312"/>
                  </a:lnTo>
                  <a:lnTo>
                    <a:pt x="300" y="309"/>
                  </a:lnTo>
                  <a:lnTo>
                    <a:pt x="299" y="332"/>
                  </a:lnTo>
                  <a:lnTo>
                    <a:pt x="301" y="353"/>
                  </a:lnTo>
                  <a:lnTo>
                    <a:pt x="303" y="371"/>
                  </a:lnTo>
                  <a:lnTo>
                    <a:pt x="306" y="386"/>
                  </a:lnTo>
                  <a:lnTo>
                    <a:pt x="312" y="400"/>
                  </a:lnTo>
                  <a:lnTo>
                    <a:pt x="317" y="412"/>
                  </a:lnTo>
                  <a:lnTo>
                    <a:pt x="322" y="420"/>
                  </a:lnTo>
                  <a:lnTo>
                    <a:pt x="328" y="429"/>
                  </a:lnTo>
                  <a:lnTo>
                    <a:pt x="322" y="436"/>
                  </a:lnTo>
                  <a:lnTo>
                    <a:pt x="316" y="444"/>
                  </a:lnTo>
                  <a:lnTo>
                    <a:pt x="308" y="451"/>
                  </a:lnTo>
                  <a:lnTo>
                    <a:pt x="299" y="458"/>
                  </a:lnTo>
                  <a:lnTo>
                    <a:pt x="288" y="463"/>
                  </a:lnTo>
                  <a:lnTo>
                    <a:pt x="276" y="467"/>
                  </a:lnTo>
                  <a:lnTo>
                    <a:pt x="264" y="471"/>
                  </a:lnTo>
                  <a:lnTo>
                    <a:pt x="251" y="471"/>
                  </a:lnTo>
                  <a:lnTo>
                    <a:pt x="243" y="471"/>
                  </a:lnTo>
                  <a:lnTo>
                    <a:pt x="234" y="470"/>
                  </a:lnTo>
                  <a:lnTo>
                    <a:pt x="225" y="467"/>
                  </a:lnTo>
                  <a:lnTo>
                    <a:pt x="215" y="464"/>
                  </a:lnTo>
                  <a:lnTo>
                    <a:pt x="206" y="460"/>
                  </a:lnTo>
                  <a:lnTo>
                    <a:pt x="195" y="455"/>
                  </a:lnTo>
                  <a:lnTo>
                    <a:pt x="184" y="447"/>
                  </a:lnTo>
                  <a:lnTo>
                    <a:pt x="173" y="437"/>
                  </a:lnTo>
                  <a:lnTo>
                    <a:pt x="180" y="432"/>
                  </a:lnTo>
                  <a:lnTo>
                    <a:pt x="185" y="427"/>
                  </a:lnTo>
                  <a:lnTo>
                    <a:pt x="190" y="419"/>
                  </a:lnTo>
                  <a:lnTo>
                    <a:pt x="195" y="412"/>
                  </a:lnTo>
                  <a:lnTo>
                    <a:pt x="199" y="403"/>
                  </a:lnTo>
                  <a:lnTo>
                    <a:pt x="202" y="394"/>
                  </a:lnTo>
                  <a:lnTo>
                    <a:pt x="206" y="384"/>
                  </a:lnTo>
                  <a:lnTo>
                    <a:pt x="209" y="373"/>
                  </a:lnTo>
                  <a:lnTo>
                    <a:pt x="214" y="350"/>
                  </a:lnTo>
                  <a:lnTo>
                    <a:pt x="219" y="323"/>
                  </a:lnTo>
                  <a:lnTo>
                    <a:pt x="224" y="296"/>
                  </a:lnTo>
                  <a:lnTo>
                    <a:pt x="228" y="267"/>
                  </a:lnTo>
                  <a:lnTo>
                    <a:pt x="233" y="225"/>
                  </a:lnTo>
                  <a:lnTo>
                    <a:pt x="241" y="183"/>
                  </a:lnTo>
                  <a:lnTo>
                    <a:pt x="245" y="163"/>
                  </a:lnTo>
                  <a:lnTo>
                    <a:pt x="249" y="143"/>
                  </a:lnTo>
                  <a:lnTo>
                    <a:pt x="255" y="124"/>
                  </a:lnTo>
                  <a:lnTo>
                    <a:pt x="261" y="107"/>
                  </a:lnTo>
                  <a:lnTo>
                    <a:pt x="268" y="90"/>
                  </a:lnTo>
                  <a:lnTo>
                    <a:pt x="275" y="75"/>
                  </a:lnTo>
                  <a:lnTo>
                    <a:pt x="284" y="62"/>
                  </a:lnTo>
                  <a:lnTo>
                    <a:pt x="293" y="52"/>
                  </a:lnTo>
                  <a:lnTo>
                    <a:pt x="299" y="46"/>
                  </a:lnTo>
                  <a:lnTo>
                    <a:pt x="304" y="42"/>
                  </a:lnTo>
                  <a:lnTo>
                    <a:pt x="310" y="39"/>
                  </a:lnTo>
                  <a:lnTo>
                    <a:pt x="316" y="35"/>
                  </a:lnTo>
                  <a:lnTo>
                    <a:pt x="322" y="33"/>
                  </a:lnTo>
                  <a:lnTo>
                    <a:pt x="329" y="31"/>
                  </a:lnTo>
                  <a:lnTo>
                    <a:pt x="336" y="30"/>
                  </a:lnTo>
                  <a:lnTo>
                    <a:pt x="344" y="30"/>
                  </a:lnTo>
                  <a:lnTo>
                    <a:pt x="355" y="30"/>
                  </a:lnTo>
                  <a:lnTo>
                    <a:pt x="365" y="32"/>
                  </a:lnTo>
                  <a:lnTo>
                    <a:pt x="377" y="35"/>
                  </a:lnTo>
                  <a:lnTo>
                    <a:pt x="389" y="39"/>
                  </a:lnTo>
                  <a:lnTo>
                    <a:pt x="402" y="44"/>
                  </a:lnTo>
                  <a:lnTo>
                    <a:pt x="415" y="50"/>
                  </a:lnTo>
                  <a:lnTo>
                    <a:pt x="429" y="58"/>
                  </a:lnTo>
                  <a:lnTo>
                    <a:pt x="442" y="67"/>
                  </a:lnTo>
                  <a:lnTo>
                    <a:pt x="447" y="69"/>
                  </a:lnTo>
                  <a:lnTo>
                    <a:pt x="451" y="69"/>
                  </a:lnTo>
                  <a:lnTo>
                    <a:pt x="455" y="69"/>
                  </a:lnTo>
                  <a:lnTo>
                    <a:pt x="459" y="67"/>
                  </a:lnTo>
                  <a:lnTo>
                    <a:pt x="472" y="58"/>
                  </a:lnTo>
                  <a:lnTo>
                    <a:pt x="486" y="50"/>
                  </a:lnTo>
                  <a:lnTo>
                    <a:pt x="500" y="44"/>
                  </a:lnTo>
                  <a:lnTo>
                    <a:pt x="512" y="39"/>
                  </a:lnTo>
                  <a:lnTo>
                    <a:pt x="525" y="35"/>
                  </a:lnTo>
                  <a:lnTo>
                    <a:pt x="536" y="32"/>
                  </a:lnTo>
                  <a:lnTo>
                    <a:pt x="548" y="30"/>
                  </a:lnTo>
                  <a:lnTo>
                    <a:pt x="557" y="30"/>
                  </a:lnTo>
                  <a:lnTo>
                    <a:pt x="565" y="30"/>
                  </a:lnTo>
                  <a:lnTo>
                    <a:pt x="572" y="31"/>
                  </a:lnTo>
                  <a:lnTo>
                    <a:pt x="579" y="33"/>
                  </a:lnTo>
                  <a:lnTo>
                    <a:pt x="585" y="35"/>
                  </a:lnTo>
                  <a:lnTo>
                    <a:pt x="591" y="39"/>
                  </a:lnTo>
                  <a:lnTo>
                    <a:pt x="598" y="42"/>
                  </a:lnTo>
                  <a:lnTo>
                    <a:pt x="603" y="46"/>
                  </a:lnTo>
                  <a:lnTo>
                    <a:pt x="609" y="52"/>
                  </a:lnTo>
                  <a:lnTo>
                    <a:pt x="618" y="62"/>
                  </a:lnTo>
                  <a:lnTo>
                    <a:pt x="627" y="75"/>
                  </a:lnTo>
                  <a:lnTo>
                    <a:pt x="634" y="90"/>
                  </a:lnTo>
                  <a:lnTo>
                    <a:pt x="641" y="107"/>
                  </a:lnTo>
                  <a:lnTo>
                    <a:pt x="647" y="124"/>
                  </a:lnTo>
                  <a:lnTo>
                    <a:pt x="652" y="143"/>
                  </a:lnTo>
                  <a:lnTo>
                    <a:pt x="657" y="163"/>
                  </a:lnTo>
                  <a:lnTo>
                    <a:pt x="660" y="183"/>
                  </a:lnTo>
                  <a:lnTo>
                    <a:pt x="668" y="225"/>
                  </a:lnTo>
                  <a:lnTo>
                    <a:pt x="674" y="267"/>
                  </a:lnTo>
                  <a:lnTo>
                    <a:pt x="678" y="296"/>
                  </a:lnTo>
                  <a:lnTo>
                    <a:pt x="683" y="324"/>
                  </a:lnTo>
                  <a:lnTo>
                    <a:pt x="687" y="351"/>
                  </a:lnTo>
                  <a:lnTo>
                    <a:pt x="693" y="374"/>
                  </a:lnTo>
                  <a:lnTo>
                    <a:pt x="697" y="386"/>
                  </a:lnTo>
                  <a:lnTo>
                    <a:pt x="700" y="396"/>
                  </a:lnTo>
                  <a:lnTo>
                    <a:pt x="704" y="405"/>
                  </a:lnTo>
                  <a:lnTo>
                    <a:pt x="708" y="414"/>
                  </a:lnTo>
                  <a:lnTo>
                    <a:pt x="713" y="421"/>
                  </a:lnTo>
                  <a:lnTo>
                    <a:pt x="718" y="429"/>
                  </a:lnTo>
                  <a:lnTo>
                    <a:pt x="723" y="434"/>
                  </a:lnTo>
                  <a:lnTo>
                    <a:pt x="730" y="439"/>
                  </a:lnTo>
                  <a:lnTo>
                    <a:pt x="722" y="447"/>
                  </a:lnTo>
                  <a:lnTo>
                    <a:pt x="714" y="455"/>
                  </a:lnTo>
                  <a:lnTo>
                    <a:pt x="704" y="461"/>
                  </a:lnTo>
                  <a:lnTo>
                    <a:pt x="694" y="466"/>
                  </a:lnTo>
                  <a:lnTo>
                    <a:pt x="685" y="471"/>
                  </a:lnTo>
                  <a:lnTo>
                    <a:pt x="674" y="474"/>
                  </a:lnTo>
                  <a:lnTo>
                    <a:pt x="663" y="475"/>
                  </a:lnTo>
                  <a:lnTo>
                    <a:pt x="653" y="476"/>
                  </a:lnTo>
                  <a:lnTo>
                    <a:pt x="639" y="475"/>
                  </a:lnTo>
                  <a:lnTo>
                    <a:pt x="626" y="473"/>
                  </a:lnTo>
                  <a:lnTo>
                    <a:pt x="614" y="469"/>
                  </a:lnTo>
                  <a:lnTo>
                    <a:pt x="603" y="462"/>
                  </a:lnTo>
                  <a:lnTo>
                    <a:pt x="594" y="456"/>
                  </a:lnTo>
                  <a:lnTo>
                    <a:pt x="585" y="447"/>
                  </a:lnTo>
                  <a:lnTo>
                    <a:pt x="579" y="437"/>
                  </a:lnTo>
                  <a:lnTo>
                    <a:pt x="573" y="427"/>
                  </a:lnTo>
                  <a:lnTo>
                    <a:pt x="579" y="419"/>
                  </a:lnTo>
                  <a:lnTo>
                    <a:pt x="585" y="411"/>
                  </a:lnTo>
                  <a:lnTo>
                    <a:pt x="590" y="399"/>
                  </a:lnTo>
                  <a:lnTo>
                    <a:pt x="595" y="386"/>
                  </a:lnTo>
                  <a:lnTo>
                    <a:pt x="598" y="371"/>
                  </a:lnTo>
                  <a:lnTo>
                    <a:pt x="601" y="353"/>
                  </a:lnTo>
                  <a:lnTo>
                    <a:pt x="602" y="332"/>
                  </a:lnTo>
                  <a:lnTo>
                    <a:pt x="602" y="309"/>
                  </a:lnTo>
                  <a:lnTo>
                    <a:pt x="611" y="312"/>
                  </a:lnTo>
                  <a:lnTo>
                    <a:pt x="622" y="313"/>
                  </a:lnTo>
                  <a:lnTo>
                    <a:pt x="625" y="312"/>
                  </a:lnTo>
                  <a:lnTo>
                    <a:pt x="627" y="311"/>
                  </a:lnTo>
                  <a:lnTo>
                    <a:pt x="630" y="310"/>
                  </a:lnTo>
                  <a:lnTo>
                    <a:pt x="632" y="308"/>
                  </a:lnTo>
                  <a:lnTo>
                    <a:pt x="634" y="306"/>
                  </a:lnTo>
                  <a:lnTo>
                    <a:pt x="635" y="303"/>
                  </a:lnTo>
                  <a:lnTo>
                    <a:pt x="637" y="300"/>
                  </a:lnTo>
                  <a:lnTo>
                    <a:pt x="637" y="298"/>
                  </a:lnTo>
                  <a:lnTo>
                    <a:pt x="637" y="295"/>
                  </a:lnTo>
                  <a:lnTo>
                    <a:pt x="635" y="292"/>
                  </a:lnTo>
                  <a:lnTo>
                    <a:pt x="634" y="290"/>
                  </a:lnTo>
                  <a:lnTo>
                    <a:pt x="632" y="287"/>
                  </a:lnTo>
                  <a:lnTo>
                    <a:pt x="630" y="285"/>
                  </a:lnTo>
                  <a:lnTo>
                    <a:pt x="627" y="284"/>
                  </a:lnTo>
                  <a:lnTo>
                    <a:pt x="625" y="283"/>
                  </a:lnTo>
                  <a:lnTo>
                    <a:pt x="622" y="283"/>
                  </a:lnTo>
                  <a:lnTo>
                    <a:pt x="618" y="282"/>
                  </a:lnTo>
                  <a:lnTo>
                    <a:pt x="614" y="281"/>
                  </a:lnTo>
                  <a:lnTo>
                    <a:pt x="611" y="280"/>
                  </a:lnTo>
                  <a:lnTo>
                    <a:pt x="608" y="278"/>
                  </a:lnTo>
                  <a:lnTo>
                    <a:pt x="602" y="273"/>
                  </a:lnTo>
                  <a:lnTo>
                    <a:pt x="597" y="267"/>
                  </a:lnTo>
                  <a:lnTo>
                    <a:pt x="597" y="267"/>
                  </a:lnTo>
                  <a:lnTo>
                    <a:pt x="597" y="267"/>
                  </a:lnTo>
                  <a:lnTo>
                    <a:pt x="589" y="255"/>
                  </a:lnTo>
                  <a:lnTo>
                    <a:pt x="584" y="242"/>
                  </a:lnTo>
                  <a:lnTo>
                    <a:pt x="581" y="231"/>
                  </a:lnTo>
                  <a:lnTo>
                    <a:pt x="580" y="222"/>
                  </a:lnTo>
                  <a:lnTo>
                    <a:pt x="580" y="219"/>
                  </a:lnTo>
                  <a:lnTo>
                    <a:pt x="579" y="216"/>
                  </a:lnTo>
                  <a:lnTo>
                    <a:pt x="576" y="213"/>
                  </a:lnTo>
                  <a:lnTo>
                    <a:pt x="575" y="211"/>
                  </a:lnTo>
                  <a:lnTo>
                    <a:pt x="573" y="209"/>
                  </a:lnTo>
                  <a:lnTo>
                    <a:pt x="570" y="208"/>
                  </a:lnTo>
                  <a:lnTo>
                    <a:pt x="568" y="207"/>
                  </a:lnTo>
                  <a:lnTo>
                    <a:pt x="565" y="207"/>
                  </a:lnTo>
                  <a:lnTo>
                    <a:pt x="561" y="207"/>
                  </a:lnTo>
                  <a:lnTo>
                    <a:pt x="558" y="208"/>
                  </a:lnTo>
                  <a:lnTo>
                    <a:pt x="556" y="209"/>
                  </a:lnTo>
                  <a:lnTo>
                    <a:pt x="554" y="211"/>
                  </a:lnTo>
                  <a:lnTo>
                    <a:pt x="552" y="213"/>
                  </a:lnTo>
                  <a:lnTo>
                    <a:pt x="551" y="216"/>
                  </a:lnTo>
                  <a:lnTo>
                    <a:pt x="550" y="219"/>
                  </a:lnTo>
                  <a:lnTo>
                    <a:pt x="550" y="222"/>
                  </a:lnTo>
                  <a:lnTo>
                    <a:pt x="551" y="234"/>
                  </a:lnTo>
                  <a:lnTo>
                    <a:pt x="554" y="249"/>
                  </a:lnTo>
                  <a:lnTo>
                    <a:pt x="557" y="256"/>
                  </a:lnTo>
                  <a:lnTo>
                    <a:pt x="560" y="264"/>
                  </a:lnTo>
                  <a:lnTo>
                    <a:pt x="565" y="271"/>
                  </a:lnTo>
                  <a:lnTo>
                    <a:pt x="569" y="279"/>
                  </a:lnTo>
                  <a:lnTo>
                    <a:pt x="571" y="299"/>
                  </a:lnTo>
                  <a:lnTo>
                    <a:pt x="572" y="317"/>
                  </a:lnTo>
                  <a:lnTo>
                    <a:pt x="572" y="335"/>
                  </a:lnTo>
                  <a:lnTo>
                    <a:pt x="571" y="348"/>
                  </a:lnTo>
                  <a:lnTo>
                    <a:pt x="569" y="361"/>
                  </a:lnTo>
                  <a:lnTo>
                    <a:pt x="567" y="372"/>
                  </a:lnTo>
                  <a:lnTo>
                    <a:pt x="564" y="382"/>
                  </a:lnTo>
                  <a:lnTo>
                    <a:pt x="560" y="390"/>
                  </a:lnTo>
                  <a:lnTo>
                    <a:pt x="557" y="397"/>
                  </a:lnTo>
                  <a:lnTo>
                    <a:pt x="554" y="402"/>
                  </a:lnTo>
                  <a:lnTo>
                    <a:pt x="551" y="406"/>
                  </a:lnTo>
                  <a:lnTo>
                    <a:pt x="548" y="410"/>
                  </a:lnTo>
                  <a:lnTo>
                    <a:pt x="542" y="414"/>
                  </a:lnTo>
                  <a:lnTo>
                    <a:pt x="540" y="416"/>
                  </a:lnTo>
                  <a:lnTo>
                    <a:pt x="538" y="417"/>
                  </a:lnTo>
                  <a:lnTo>
                    <a:pt x="535" y="418"/>
                  </a:lnTo>
                  <a:lnTo>
                    <a:pt x="534" y="420"/>
                  </a:lnTo>
                  <a:lnTo>
                    <a:pt x="531" y="424"/>
                  </a:lnTo>
                  <a:lnTo>
                    <a:pt x="531" y="426"/>
                  </a:lnTo>
                  <a:lnTo>
                    <a:pt x="530" y="429"/>
                  </a:lnTo>
                  <a:lnTo>
                    <a:pt x="530" y="432"/>
                  </a:lnTo>
                  <a:lnTo>
                    <a:pt x="531" y="434"/>
                  </a:lnTo>
                  <a:lnTo>
                    <a:pt x="533" y="437"/>
                  </a:lnTo>
                  <a:lnTo>
                    <a:pt x="536" y="441"/>
                  </a:lnTo>
                  <a:lnTo>
                    <a:pt x="538" y="443"/>
                  </a:lnTo>
                  <a:lnTo>
                    <a:pt x="541" y="444"/>
                  </a:lnTo>
                  <a:lnTo>
                    <a:pt x="541" y="535"/>
                  </a:lnTo>
                  <a:lnTo>
                    <a:pt x="542" y="550"/>
                  </a:lnTo>
                  <a:lnTo>
                    <a:pt x="543" y="564"/>
                  </a:lnTo>
                  <a:lnTo>
                    <a:pt x="548" y="577"/>
                  </a:lnTo>
                  <a:lnTo>
                    <a:pt x="552" y="588"/>
                  </a:lnTo>
                  <a:lnTo>
                    <a:pt x="557" y="597"/>
                  </a:lnTo>
                  <a:lnTo>
                    <a:pt x="564" y="606"/>
                  </a:lnTo>
                  <a:lnTo>
                    <a:pt x="571" y="613"/>
                  </a:lnTo>
                  <a:lnTo>
                    <a:pt x="580" y="619"/>
                  </a:lnTo>
                  <a:lnTo>
                    <a:pt x="588" y="624"/>
                  </a:lnTo>
                  <a:lnTo>
                    <a:pt x="598" y="628"/>
                  </a:lnTo>
                  <a:lnTo>
                    <a:pt x="609" y="633"/>
                  </a:lnTo>
                  <a:lnTo>
                    <a:pt x="619" y="635"/>
                  </a:lnTo>
                  <a:lnTo>
                    <a:pt x="641" y="639"/>
                  </a:lnTo>
                  <a:lnTo>
                    <a:pt x="663" y="642"/>
                  </a:lnTo>
                  <a:lnTo>
                    <a:pt x="519" y="850"/>
                  </a:lnTo>
                  <a:lnTo>
                    <a:pt x="402" y="850"/>
                  </a:lnTo>
                  <a:lnTo>
                    <a:pt x="256" y="640"/>
                  </a:lnTo>
                  <a:lnTo>
                    <a:pt x="275" y="637"/>
                  </a:lnTo>
                  <a:lnTo>
                    <a:pt x="295" y="632"/>
                  </a:lnTo>
                  <a:lnTo>
                    <a:pt x="304" y="628"/>
                  </a:lnTo>
                  <a:lnTo>
                    <a:pt x="313" y="624"/>
                  </a:lnTo>
                  <a:lnTo>
                    <a:pt x="321" y="620"/>
                  </a:lnTo>
                  <a:lnTo>
                    <a:pt x="329" y="614"/>
                  </a:lnTo>
                  <a:lnTo>
                    <a:pt x="335" y="608"/>
                  </a:lnTo>
                  <a:lnTo>
                    <a:pt x="342" y="600"/>
                  </a:lnTo>
                  <a:lnTo>
                    <a:pt x="347" y="593"/>
                  </a:lnTo>
                  <a:lnTo>
                    <a:pt x="351" y="583"/>
                  </a:lnTo>
                  <a:lnTo>
                    <a:pt x="356" y="574"/>
                  </a:lnTo>
                  <a:lnTo>
                    <a:pt x="358" y="562"/>
                  </a:lnTo>
                  <a:lnTo>
                    <a:pt x="360" y="549"/>
                  </a:lnTo>
                  <a:lnTo>
                    <a:pt x="361" y="535"/>
                  </a:lnTo>
                  <a:close/>
                  <a:moveTo>
                    <a:pt x="802" y="645"/>
                  </a:moveTo>
                  <a:lnTo>
                    <a:pt x="789" y="638"/>
                  </a:lnTo>
                  <a:lnTo>
                    <a:pt x="775" y="632"/>
                  </a:lnTo>
                  <a:lnTo>
                    <a:pt x="761" y="626"/>
                  </a:lnTo>
                  <a:lnTo>
                    <a:pt x="746" y="622"/>
                  </a:lnTo>
                  <a:lnTo>
                    <a:pt x="715" y="618"/>
                  </a:lnTo>
                  <a:lnTo>
                    <a:pt x="684" y="614"/>
                  </a:lnTo>
                  <a:lnTo>
                    <a:pt x="658" y="611"/>
                  </a:lnTo>
                  <a:lnTo>
                    <a:pt x="635" y="608"/>
                  </a:lnTo>
                  <a:lnTo>
                    <a:pt x="626" y="606"/>
                  </a:lnTo>
                  <a:lnTo>
                    <a:pt x="616" y="604"/>
                  </a:lnTo>
                  <a:lnTo>
                    <a:pt x="608" y="600"/>
                  </a:lnTo>
                  <a:lnTo>
                    <a:pt x="600" y="596"/>
                  </a:lnTo>
                  <a:lnTo>
                    <a:pt x="594" y="592"/>
                  </a:lnTo>
                  <a:lnTo>
                    <a:pt x="588" y="586"/>
                  </a:lnTo>
                  <a:lnTo>
                    <a:pt x="583" y="581"/>
                  </a:lnTo>
                  <a:lnTo>
                    <a:pt x="579" y="574"/>
                  </a:lnTo>
                  <a:lnTo>
                    <a:pt x="575" y="566"/>
                  </a:lnTo>
                  <a:lnTo>
                    <a:pt x="573" y="556"/>
                  </a:lnTo>
                  <a:lnTo>
                    <a:pt x="571" y="547"/>
                  </a:lnTo>
                  <a:lnTo>
                    <a:pt x="571" y="535"/>
                  </a:lnTo>
                  <a:lnTo>
                    <a:pt x="571" y="476"/>
                  </a:lnTo>
                  <a:lnTo>
                    <a:pt x="580" y="482"/>
                  </a:lnTo>
                  <a:lnTo>
                    <a:pt x="588" y="488"/>
                  </a:lnTo>
                  <a:lnTo>
                    <a:pt x="598" y="493"/>
                  </a:lnTo>
                  <a:lnTo>
                    <a:pt x="608" y="498"/>
                  </a:lnTo>
                  <a:lnTo>
                    <a:pt x="618" y="502"/>
                  </a:lnTo>
                  <a:lnTo>
                    <a:pt x="629" y="504"/>
                  </a:lnTo>
                  <a:lnTo>
                    <a:pt x="641" y="505"/>
                  </a:lnTo>
                  <a:lnTo>
                    <a:pt x="653" y="506"/>
                  </a:lnTo>
                  <a:lnTo>
                    <a:pt x="661" y="506"/>
                  </a:lnTo>
                  <a:lnTo>
                    <a:pt x="670" y="505"/>
                  </a:lnTo>
                  <a:lnTo>
                    <a:pt x="678" y="504"/>
                  </a:lnTo>
                  <a:lnTo>
                    <a:pt x="686" y="502"/>
                  </a:lnTo>
                  <a:lnTo>
                    <a:pt x="694" y="499"/>
                  </a:lnTo>
                  <a:lnTo>
                    <a:pt x="702" y="496"/>
                  </a:lnTo>
                  <a:lnTo>
                    <a:pt x="711" y="492"/>
                  </a:lnTo>
                  <a:lnTo>
                    <a:pt x="717" y="488"/>
                  </a:lnTo>
                  <a:lnTo>
                    <a:pt x="724" y="484"/>
                  </a:lnTo>
                  <a:lnTo>
                    <a:pt x="732" y="478"/>
                  </a:lnTo>
                  <a:lnTo>
                    <a:pt x="738" y="473"/>
                  </a:lnTo>
                  <a:lnTo>
                    <a:pt x="745" y="467"/>
                  </a:lnTo>
                  <a:lnTo>
                    <a:pt x="751" y="460"/>
                  </a:lnTo>
                  <a:lnTo>
                    <a:pt x="757" y="454"/>
                  </a:lnTo>
                  <a:lnTo>
                    <a:pt x="762" y="446"/>
                  </a:lnTo>
                  <a:lnTo>
                    <a:pt x="767" y="439"/>
                  </a:lnTo>
                  <a:lnTo>
                    <a:pt x="768" y="434"/>
                  </a:lnTo>
                  <a:lnTo>
                    <a:pt x="769" y="431"/>
                  </a:lnTo>
                  <a:lnTo>
                    <a:pt x="768" y="427"/>
                  </a:lnTo>
                  <a:lnTo>
                    <a:pt x="767" y="424"/>
                  </a:lnTo>
                  <a:lnTo>
                    <a:pt x="765" y="419"/>
                  </a:lnTo>
                  <a:lnTo>
                    <a:pt x="762" y="417"/>
                  </a:lnTo>
                  <a:lnTo>
                    <a:pt x="758" y="416"/>
                  </a:lnTo>
                  <a:lnTo>
                    <a:pt x="754" y="415"/>
                  </a:lnTo>
                  <a:lnTo>
                    <a:pt x="749" y="414"/>
                  </a:lnTo>
                  <a:lnTo>
                    <a:pt x="744" y="412"/>
                  </a:lnTo>
                  <a:lnTo>
                    <a:pt x="739" y="407"/>
                  </a:lnTo>
                  <a:lnTo>
                    <a:pt x="735" y="401"/>
                  </a:lnTo>
                  <a:lnTo>
                    <a:pt x="732" y="395"/>
                  </a:lnTo>
                  <a:lnTo>
                    <a:pt x="728" y="386"/>
                  </a:lnTo>
                  <a:lnTo>
                    <a:pt x="724" y="376"/>
                  </a:lnTo>
                  <a:lnTo>
                    <a:pt x="722" y="366"/>
                  </a:lnTo>
                  <a:lnTo>
                    <a:pt x="716" y="342"/>
                  </a:lnTo>
                  <a:lnTo>
                    <a:pt x="712" y="316"/>
                  </a:lnTo>
                  <a:lnTo>
                    <a:pt x="707" y="290"/>
                  </a:lnTo>
                  <a:lnTo>
                    <a:pt x="704" y="263"/>
                  </a:lnTo>
                  <a:lnTo>
                    <a:pt x="697" y="218"/>
                  </a:lnTo>
                  <a:lnTo>
                    <a:pt x="689" y="173"/>
                  </a:lnTo>
                  <a:lnTo>
                    <a:pt x="685" y="150"/>
                  </a:lnTo>
                  <a:lnTo>
                    <a:pt x="678" y="128"/>
                  </a:lnTo>
                  <a:lnTo>
                    <a:pt x="673" y="107"/>
                  </a:lnTo>
                  <a:lnTo>
                    <a:pt x="665" y="87"/>
                  </a:lnTo>
                  <a:lnTo>
                    <a:pt x="657" y="69"/>
                  </a:lnTo>
                  <a:lnTo>
                    <a:pt x="647" y="53"/>
                  </a:lnTo>
                  <a:lnTo>
                    <a:pt x="642" y="44"/>
                  </a:lnTo>
                  <a:lnTo>
                    <a:pt x="637" y="38"/>
                  </a:lnTo>
                  <a:lnTo>
                    <a:pt x="630" y="30"/>
                  </a:lnTo>
                  <a:lnTo>
                    <a:pt x="624" y="25"/>
                  </a:lnTo>
                  <a:lnTo>
                    <a:pt x="617" y="19"/>
                  </a:lnTo>
                  <a:lnTo>
                    <a:pt x="610" y="14"/>
                  </a:lnTo>
                  <a:lnTo>
                    <a:pt x="602" y="10"/>
                  </a:lnTo>
                  <a:lnTo>
                    <a:pt x="595" y="6"/>
                  </a:lnTo>
                  <a:lnTo>
                    <a:pt x="586" y="3"/>
                  </a:lnTo>
                  <a:lnTo>
                    <a:pt x="576" y="1"/>
                  </a:lnTo>
                  <a:lnTo>
                    <a:pt x="568" y="0"/>
                  </a:lnTo>
                  <a:lnTo>
                    <a:pt x="557" y="0"/>
                  </a:lnTo>
                  <a:lnTo>
                    <a:pt x="545" y="0"/>
                  </a:lnTo>
                  <a:lnTo>
                    <a:pt x="534" y="2"/>
                  </a:lnTo>
                  <a:lnTo>
                    <a:pt x="521" y="4"/>
                  </a:lnTo>
                  <a:lnTo>
                    <a:pt x="508" y="9"/>
                  </a:lnTo>
                  <a:lnTo>
                    <a:pt x="494" y="14"/>
                  </a:lnTo>
                  <a:lnTo>
                    <a:pt x="480" y="20"/>
                  </a:lnTo>
                  <a:lnTo>
                    <a:pt x="466" y="28"/>
                  </a:lnTo>
                  <a:lnTo>
                    <a:pt x="451" y="36"/>
                  </a:lnTo>
                  <a:lnTo>
                    <a:pt x="436" y="28"/>
                  </a:lnTo>
                  <a:lnTo>
                    <a:pt x="421" y="20"/>
                  </a:lnTo>
                  <a:lnTo>
                    <a:pt x="407" y="14"/>
                  </a:lnTo>
                  <a:lnTo>
                    <a:pt x="394" y="9"/>
                  </a:lnTo>
                  <a:lnTo>
                    <a:pt x="380" y="5"/>
                  </a:lnTo>
                  <a:lnTo>
                    <a:pt x="368" y="2"/>
                  </a:lnTo>
                  <a:lnTo>
                    <a:pt x="356" y="0"/>
                  </a:lnTo>
                  <a:lnTo>
                    <a:pt x="344" y="0"/>
                  </a:lnTo>
                  <a:lnTo>
                    <a:pt x="334" y="0"/>
                  </a:lnTo>
                  <a:lnTo>
                    <a:pt x="325" y="1"/>
                  </a:lnTo>
                  <a:lnTo>
                    <a:pt x="316" y="3"/>
                  </a:lnTo>
                  <a:lnTo>
                    <a:pt x="307" y="6"/>
                  </a:lnTo>
                  <a:lnTo>
                    <a:pt x="299" y="10"/>
                  </a:lnTo>
                  <a:lnTo>
                    <a:pt x="291" y="14"/>
                  </a:lnTo>
                  <a:lnTo>
                    <a:pt x="285" y="19"/>
                  </a:lnTo>
                  <a:lnTo>
                    <a:pt x="277" y="25"/>
                  </a:lnTo>
                  <a:lnTo>
                    <a:pt x="271" y="30"/>
                  </a:lnTo>
                  <a:lnTo>
                    <a:pt x="266" y="38"/>
                  </a:lnTo>
                  <a:lnTo>
                    <a:pt x="259" y="44"/>
                  </a:lnTo>
                  <a:lnTo>
                    <a:pt x="255" y="53"/>
                  </a:lnTo>
                  <a:lnTo>
                    <a:pt x="245" y="69"/>
                  </a:lnTo>
                  <a:lnTo>
                    <a:pt x="237" y="87"/>
                  </a:lnTo>
                  <a:lnTo>
                    <a:pt x="229" y="107"/>
                  </a:lnTo>
                  <a:lnTo>
                    <a:pt x="223" y="128"/>
                  </a:lnTo>
                  <a:lnTo>
                    <a:pt x="217" y="150"/>
                  </a:lnTo>
                  <a:lnTo>
                    <a:pt x="212" y="173"/>
                  </a:lnTo>
                  <a:lnTo>
                    <a:pt x="204" y="218"/>
                  </a:lnTo>
                  <a:lnTo>
                    <a:pt x="198" y="263"/>
                  </a:lnTo>
                  <a:lnTo>
                    <a:pt x="194" y="290"/>
                  </a:lnTo>
                  <a:lnTo>
                    <a:pt x="189" y="316"/>
                  </a:lnTo>
                  <a:lnTo>
                    <a:pt x="185" y="342"/>
                  </a:lnTo>
                  <a:lnTo>
                    <a:pt x="180" y="366"/>
                  </a:lnTo>
                  <a:lnTo>
                    <a:pt x="177" y="376"/>
                  </a:lnTo>
                  <a:lnTo>
                    <a:pt x="173" y="386"/>
                  </a:lnTo>
                  <a:lnTo>
                    <a:pt x="170" y="395"/>
                  </a:lnTo>
                  <a:lnTo>
                    <a:pt x="166" y="402"/>
                  </a:lnTo>
                  <a:lnTo>
                    <a:pt x="162" y="407"/>
                  </a:lnTo>
                  <a:lnTo>
                    <a:pt x="157" y="412"/>
                  </a:lnTo>
                  <a:lnTo>
                    <a:pt x="153" y="415"/>
                  </a:lnTo>
                  <a:lnTo>
                    <a:pt x="148" y="415"/>
                  </a:lnTo>
                  <a:lnTo>
                    <a:pt x="143" y="416"/>
                  </a:lnTo>
                  <a:lnTo>
                    <a:pt x="139" y="418"/>
                  </a:lnTo>
                  <a:lnTo>
                    <a:pt x="136" y="420"/>
                  </a:lnTo>
                  <a:lnTo>
                    <a:pt x="134" y="424"/>
                  </a:lnTo>
                  <a:lnTo>
                    <a:pt x="133" y="428"/>
                  </a:lnTo>
                  <a:lnTo>
                    <a:pt x="133" y="432"/>
                  </a:lnTo>
                  <a:lnTo>
                    <a:pt x="134" y="436"/>
                  </a:lnTo>
                  <a:lnTo>
                    <a:pt x="136" y="440"/>
                  </a:lnTo>
                  <a:lnTo>
                    <a:pt x="143" y="449"/>
                  </a:lnTo>
                  <a:lnTo>
                    <a:pt x="151" y="457"/>
                  </a:lnTo>
                  <a:lnTo>
                    <a:pt x="158" y="464"/>
                  </a:lnTo>
                  <a:lnTo>
                    <a:pt x="167" y="471"/>
                  </a:lnTo>
                  <a:lnTo>
                    <a:pt x="174" y="476"/>
                  </a:lnTo>
                  <a:lnTo>
                    <a:pt x="182" y="481"/>
                  </a:lnTo>
                  <a:lnTo>
                    <a:pt x="189" y="486"/>
                  </a:lnTo>
                  <a:lnTo>
                    <a:pt x="197" y="490"/>
                  </a:lnTo>
                  <a:lnTo>
                    <a:pt x="212" y="495"/>
                  </a:lnTo>
                  <a:lnTo>
                    <a:pt x="226" y="499"/>
                  </a:lnTo>
                  <a:lnTo>
                    <a:pt x="239" y="501"/>
                  </a:lnTo>
                  <a:lnTo>
                    <a:pt x="251" y="501"/>
                  </a:lnTo>
                  <a:lnTo>
                    <a:pt x="261" y="501"/>
                  </a:lnTo>
                  <a:lnTo>
                    <a:pt x="273" y="500"/>
                  </a:lnTo>
                  <a:lnTo>
                    <a:pt x="284" y="496"/>
                  </a:lnTo>
                  <a:lnTo>
                    <a:pt x="293" y="493"/>
                  </a:lnTo>
                  <a:lnTo>
                    <a:pt x="304" y="489"/>
                  </a:lnTo>
                  <a:lnTo>
                    <a:pt x="314" y="485"/>
                  </a:lnTo>
                  <a:lnTo>
                    <a:pt x="322" y="478"/>
                  </a:lnTo>
                  <a:lnTo>
                    <a:pt x="331" y="473"/>
                  </a:lnTo>
                  <a:lnTo>
                    <a:pt x="331" y="535"/>
                  </a:lnTo>
                  <a:lnTo>
                    <a:pt x="330" y="547"/>
                  </a:lnTo>
                  <a:lnTo>
                    <a:pt x="329" y="556"/>
                  </a:lnTo>
                  <a:lnTo>
                    <a:pt x="327" y="566"/>
                  </a:lnTo>
                  <a:lnTo>
                    <a:pt x="323" y="574"/>
                  </a:lnTo>
                  <a:lnTo>
                    <a:pt x="319" y="581"/>
                  </a:lnTo>
                  <a:lnTo>
                    <a:pt x="314" y="586"/>
                  </a:lnTo>
                  <a:lnTo>
                    <a:pt x="307" y="592"/>
                  </a:lnTo>
                  <a:lnTo>
                    <a:pt x="301" y="596"/>
                  </a:lnTo>
                  <a:lnTo>
                    <a:pt x="293" y="600"/>
                  </a:lnTo>
                  <a:lnTo>
                    <a:pt x="285" y="604"/>
                  </a:lnTo>
                  <a:lnTo>
                    <a:pt x="275" y="606"/>
                  </a:lnTo>
                  <a:lnTo>
                    <a:pt x="266" y="608"/>
                  </a:lnTo>
                  <a:lnTo>
                    <a:pt x="243" y="611"/>
                  </a:lnTo>
                  <a:lnTo>
                    <a:pt x="217" y="614"/>
                  </a:lnTo>
                  <a:lnTo>
                    <a:pt x="186" y="618"/>
                  </a:lnTo>
                  <a:lnTo>
                    <a:pt x="155" y="622"/>
                  </a:lnTo>
                  <a:lnTo>
                    <a:pt x="140" y="626"/>
                  </a:lnTo>
                  <a:lnTo>
                    <a:pt x="126" y="632"/>
                  </a:lnTo>
                  <a:lnTo>
                    <a:pt x="113" y="638"/>
                  </a:lnTo>
                  <a:lnTo>
                    <a:pt x="100" y="645"/>
                  </a:lnTo>
                  <a:lnTo>
                    <a:pt x="93" y="652"/>
                  </a:lnTo>
                  <a:lnTo>
                    <a:pt x="86" y="658"/>
                  </a:lnTo>
                  <a:lnTo>
                    <a:pt x="79" y="665"/>
                  </a:lnTo>
                  <a:lnTo>
                    <a:pt x="74" y="672"/>
                  </a:lnTo>
                  <a:lnTo>
                    <a:pt x="62" y="687"/>
                  </a:lnTo>
                  <a:lnTo>
                    <a:pt x="51" y="704"/>
                  </a:lnTo>
                  <a:lnTo>
                    <a:pt x="41" y="722"/>
                  </a:lnTo>
                  <a:lnTo>
                    <a:pt x="34" y="740"/>
                  </a:lnTo>
                  <a:lnTo>
                    <a:pt x="26" y="757"/>
                  </a:lnTo>
                  <a:lnTo>
                    <a:pt x="20" y="775"/>
                  </a:lnTo>
                  <a:lnTo>
                    <a:pt x="10" y="808"/>
                  </a:lnTo>
                  <a:lnTo>
                    <a:pt x="5" y="835"/>
                  </a:lnTo>
                  <a:lnTo>
                    <a:pt x="1" y="856"/>
                  </a:lnTo>
                  <a:lnTo>
                    <a:pt x="0" y="864"/>
                  </a:lnTo>
                  <a:lnTo>
                    <a:pt x="0" y="867"/>
                  </a:lnTo>
                  <a:lnTo>
                    <a:pt x="1" y="871"/>
                  </a:lnTo>
                  <a:lnTo>
                    <a:pt x="2" y="873"/>
                  </a:lnTo>
                  <a:lnTo>
                    <a:pt x="3" y="876"/>
                  </a:lnTo>
                  <a:lnTo>
                    <a:pt x="6" y="878"/>
                  </a:lnTo>
                  <a:lnTo>
                    <a:pt x="8" y="879"/>
                  </a:lnTo>
                  <a:lnTo>
                    <a:pt x="11" y="880"/>
                  </a:lnTo>
                  <a:lnTo>
                    <a:pt x="15" y="881"/>
                  </a:lnTo>
                  <a:lnTo>
                    <a:pt x="887" y="880"/>
                  </a:lnTo>
                  <a:lnTo>
                    <a:pt x="891" y="880"/>
                  </a:lnTo>
                  <a:lnTo>
                    <a:pt x="893" y="879"/>
                  </a:lnTo>
                  <a:lnTo>
                    <a:pt x="896" y="878"/>
                  </a:lnTo>
                  <a:lnTo>
                    <a:pt x="898" y="876"/>
                  </a:lnTo>
                  <a:lnTo>
                    <a:pt x="900" y="873"/>
                  </a:lnTo>
                  <a:lnTo>
                    <a:pt x="901" y="871"/>
                  </a:lnTo>
                  <a:lnTo>
                    <a:pt x="902" y="867"/>
                  </a:lnTo>
                  <a:lnTo>
                    <a:pt x="901" y="864"/>
                  </a:lnTo>
                  <a:lnTo>
                    <a:pt x="900" y="856"/>
                  </a:lnTo>
                  <a:lnTo>
                    <a:pt x="897" y="835"/>
                  </a:lnTo>
                  <a:lnTo>
                    <a:pt x="891" y="808"/>
                  </a:lnTo>
                  <a:lnTo>
                    <a:pt x="881" y="775"/>
                  </a:lnTo>
                  <a:lnTo>
                    <a:pt x="875" y="757"/>
                  </a:lnTo>
                  <a:lnTo>
                    <a:pt x="868" y="740"/>
                  </a:lnTo>
                  <a:lnTo>
                    <a:pt x="860" y="722"/>
                  </a:lnTo>
                  <a:lnTo>
                    <a:pt x="851" y="704"/>
                  </a:lnTo>
                  <a:lnTo>
                    <a:pt x="840" y="687"/>
                  </a:lnTo>
                  <a:lnTo>
                    <a:pt x="828" y="672"/>
                  </a:lnTo>
                  <a:lnTo>
                    <a:pt x="822" y="665"/>
                  </a:lnTo>
                  <a:lnTo>
                    <a:pt x="816" y="658"/>
                  </a:lnTo>
                  <a:lnTo>
                    <a:pt x="808" y="652"/>
                  </a:lnTo>
                  <a:lnTo>
                    <a:pt x="802" y="6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214">
              <a:extLst>
                <a:ext uri="{FF2B5EF4-FFF2-40B4-BE49-F238E27FC236}">
                  <a16:creationId xmlns:a16="http://schemas.microsoft.com/office/drawing/2014/main" id="{4FCF4C96-F166-4FB2-8EDE-D5F7207E0FDD}"/>
                </a:ext>
              </a:extLst>
            </p:cNvPr>
            <p:cNvSpPr>
              <a:spLocks noEditPoints="1"/>
            </p:cNvSpPr>
            <p:nvPr/>
          </p:nvSpPr>
          <p:spPr bwMode="auto">
            <a:xfrm>
              <a:off x="415925" y="3833813"/>
              <a:ext cx="22225" cy="22225"/>
            </a:xfrm>
            <a:custGeom>
              <a:avLst/>
              <a:gdLst>
                <a:gd name="T0" fmla="*/ 34 w 68"/>
                <a:gd name="T1" fmla="*/ 30 h 68"/>
                <a:gd name="T2" fmla="*/ 35 w 68"/>
                <a:gd name="T3" fmla="*/ 31 h 68"/>
                <a:gd name="T4" fmla="*/ 37 w 68"/>
                <a:gd name="T5" fmla="*/ 31 h 68"/>
                <a:gd name="T6" fmla="*/ 37 w 68"/>
                <a:gd name="T7" fmla="*/ 33 h 68"/>
                <a:gd name="T8" fmla="*/ 38 w 68"/>
                <a:gd name="T9" fmla="*/ 34 h 68"/>
                <a:gd name="T10" fmla="*/ 37 w 68"/>
                <a:gd name="T11" fmla="*/ 35 h 68"/>
                <a:gd name="T12" fmla="*/ 37 w 68"/>
                <a:gd name="T13" fmla="*/ 36 h 68"/>
                <a:gd name="T14" fmla="*/ 35 w 68"/>
                <a:gd name="T15" fmla="*/ 37 h 68"/>
                <a:gd name="T16" fmla="*/ 34 w 68"/>
                <a:gd name="T17" fmla="*/ 37 h 68"/>
                <a:gd name="T18" fmla="*/ 33 w 68"/>
                <a:gd name="T19" fmla="*/ 37 h 68"/>
                <a:gd name="T20" fmla="*/ 31 w 68"/>
                <a:gd name="T21" fmla="*/ 36 h 68"/>
                <a:gd name="T22" fmla="*/ 31 w 68"/>
                <a:gd name="T23" fmla="*/ 35 h 68"/>
                <a:gd name="T24" fmla="*/ 30 w 68"/>
                <a:gd name="T25" fmla="*/ 34 h 68"/>
                <a:gd name="T26" fmla="*/ 31 w 68"/>
                <a:gd name="T27" fmla="*/ 33 h 68"/>
                <a:gd name="T28" fmla="*/ 31 w 68"/>
                <a:gd name="T29" fmla="*/ 31 h 68"/>
                <a:gd name="T30" fmla="*/ 33 w 68"/>
                <a:gd name="T31" fmla="*/ 31 h 68"/>
                <a:gd name="T32" fmla="*/ 34 w 68"/>
                <a:gd name="T33" fmla="*/ 30 h 68"/>
                <a:gd name="T34" fmla="*/ 34 w 68"/>
                <a:gd name="T35" fmla="*/ 68 h 68"/>
                <a:gd name="T36" fmla="*/ 40 w 68"/>
                <a:gd name="T37" fmla="*/ 67 h 68"/>
                <a:gd name="T38" fmla="*/ 47 w 68"/>
                <a:gd name="T39" fmla="*/ 65 h 68"/>
                <a:gd name="T40" fmla="*/ 53 w 68"/>
                <a:gd name="T41" fmla="*/ 62 h 68"/>
                <a:gd name="T42" fmla="*/ 58 w 68"/>
                <a:gd name="T43" fmla="*/ 58 h 68"/>
                <a:gd name="T44" fmla="*/ 62 w 68"/>
                <a:gd name="T45" fmla="*/ 53 h 68"/>
                <a:gd name="T46" fmla="*/ 65 w 68"/>
                <a:gd name="T47" fmla="*/ 47 h 68"/>
                <a:gd name="T48" fmla="*/ 67 w 68"/>
                <a:gd name="T49" fmla="*/ 40 h 68"/>
                <a:gd name="T50" fmla="*/ 68 w 68"/>
                <a:gd name="T51" fmla="*/ 34 h 68"/>
                <a:gd name="T52" fmla="*/ 67 w 68"/>
                <a:gd name="T53" fmla="*/ 28 h 68"/>
                <a:gd name="T54" fmla="*/ 65 w 68"/>
                <a:gd name="T55" fmla="*/ 21 h 68"/>
                <a:gd name="T56" fmla="*/ 62 w 68"/>
                <a:gd name="T57" fmla="*/ 15 h 68"/>
                <a:gd name="T58" fmla="*/ 58 w 68"/>
                <a:gd name="T59" fmla="*/ 10 h 68"/>
                <a:gd name="T60" fmla="*/ 53 w 68"/>
                <a:gd name="T61" fmla="*/ 6 h 68"/>
                <a:gd name="T62" fmla="*/ 47 w 68"/>
                <a:gd name="T63" fmla="*/ 3 h 68"/>
                <a:gd name="T64" fmla="*/ 40 w 68"/>
                <a:gd name="T65" fmla="*/ 1 h 68"/>
                <a:gd name="T66" fmla="*/ 34 w 68"/>
                <a:gd name="T67" fmla="*/ 0 h 68"/>
                <a:gd name="T68" fmla="*/ 27 w 68"/>
                <a:gd name="T69" fmla="*/ 1 h 68"/>
                <a:gd name="T70" fmla="*/ 21 w 68"/>
                <a:gd name="T71" fmla="*/ 3 h 68"/>
                <a:gd name="T72" fmla="*/ 15 w 68"/>
                <a:gd name="T73" fmla="*/ 6 h 68"/>
                <a:gd name="T74" fmla="*/ 10 w 68"/>
                <a:gd name="T75" fmla="*/ 10 h 68"/>
                <a:gd name="T76" fmla="*/ 6 w 68"/>
                <a:gd name="T77" fmla="*/ 15 h 68"/>
                <a:gd name="T78" fmla="*/ 3 w 68"/>
                <a:gd name="T79" fmla="*/ 21 h 68"/>
                <a:gd name="T80" fmla="*/ 1 w 68"/>
                <a:gd name="T81" fmla="*/ 28 h 68"/>
                <a:gd name="T82" fmla="*/ 0 w 68"/>
                <a:gd name="T83" fmla="*/ 34 h 68"/>
                <a:gd name="T84" fmla="*/ 1 w 68"/>
                <a:gd name="T85" fmla="*/ 40 h 68"/>
                <a:gd name="T86" fmla="*/ 3 w 68"/>
                <a:gd name="T87" fmla="*/ 47 h 68"/>
                <a:gd name="T88" fmla="*/ 6 w 68"/>
                <a:gd name="T89" fmla="*/ 53 h 68"/>
                <a:gd name="T90" fmla="*/ 10 w 68"/>
                <a:gd name="T91" fmla="*/ 58 h 68"/>
                <a:gd name="T92" fmla="*/ 15 w 68"/>
                <a:gd name="T93" fmla="*/ 62 h 68"/>
                <a:gd name="T94" fmla="*/ 21 w 68"/>
                <a:gd name="T95" fmla="*/ 65 h 68"/>
                <a:gd name="T96" fmla="*/ 27 w 68"/>
                <a:gd name="T97" fmla="*/ 67 h 68"/>
                <a:gd name="T98" fmla="*/ 34 w 68"/>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 h="68">
                  <a:moveTo>
                    <a:pt x="34" y="30"/>
                  </a:moveTo>
                  <a:lnTo>
                    <a:pt x="35" y="31"/>
                  </a:lnTo>
                  <a:lnTo>
                    <a:pt x="37" y="31"/>
                  </a:lnTo>
                  <a:lnTo>
                    <a:pt x="37" y="33"/>
                  </a:lnTo>
                  <a:lnTo>
                    <a:pt x="38" y="34"/>
                  </a:lnTo>
                  <a:lnTo>
                    <a:pt x="37" y="35"/>
                  </a:lnTo>
                  <a:lnTo>
                    <a:pt x="37" y="36"/>
                  </a:lnTo>
                  <a:lnTo>
                    <a:pt x="35" y="37"/>
                  </a:lnTo>
                  <a:lnTo>
                    <a:pt x="34" y="37"/>
                  </a:lnTo>
                  <a:lnTo>
                    <a:pt x="33" y="37"/>
                  </a:lnTo>
                  <a:lnTo>
                    <a:pt x="31" y="36"/>
                  </a:lnTo>
                  <a:lnTo>
                    <a:pt x="31" y="35"/>
                  </a:lnTo>
                  <a:lnTo>
                    <a:pt x="30" y="34"/>
                  </a:lnTo>
                  <a:lnTo>
                    <a:pt x="31" y="33"/>
                  </a:lnTo>
                  <a:lnTo>
                    <a:pt x="31" y="31"/>
                  </a:lnTo>
                  <a:lnTo>
                    <a:pt x="33" y="31"/>
                  </a:lnTo>
                  <a:lnTo>
                    <a:pt x="34" y="30"/>
                  </a:lnTo>
                  <a:close/>
                  <a:moveTo>
                    <a:pt x="34" y="68"/>
                  </a:moveTo>
                  <a:lnTo>
                    <a:pt x="40" y="67"/>
                  </a:lnTo>
                  <a:lnTo>
                    <a:pt x="47" y="65"/>
                  </a:lnTo>
                  <a:lnTo>
                    <a:pt x="53" y="62"/>
                  </a:lnTo>
                  <a:lnTo>
                    <a:pt x="58" y="58"/>
                  </a:lnTo>
                  <a:lnTo>
                    <a:pt x="62" y="53"/>
                  </a:lnTo>
                  <a:lnTo>
                    <a:pt x="65" y="47"/>
                  </a:lnTo>
                  <a:lnTo>
                    <a:pt x="67" y="40"/>
                  </a:lnTo>
                  <a:lnTo>
                    <a:pt x="68" y="34"/>
                  </a:lnTo>
                  <a:lnTo>
                    <a:pt x="67" y="28"/>
                  </a:lnTo>
                  <a:lnTo>
                    <a:pt x="65" y="21"/>
                  </a:lnTo>
                  <a:lnTo>
                    <a:pt x="62" y="15"/>
                  </a:lnTo>
                  <a:lnTo>
                    <a:pt x="58" y="10"/>
                  </a:lnTo>
                  <a:lnTo>
                    <a:pt x="53" y="6"/>
                  </a:lnTo>
                  <a:lnTo>
                    <a:pt x="47" y="3"/>
                  </a:lnTo>
                  <a:lnTo>
                    <a:pt x="40" y="1"/>
                  </a:lnTo>
                  <a:lnTo>
                    <a:pt x="34" y="0"/>
                  </a:lnTo>
                  <a:lnTo>
                    <a:pt x="27" y="1"/>
                  </a:lnTo>
                  <a:lnTo>
                    <a:pt x="21" y="3"/>
                  </a:lnTo>
                  <a:lnTo>
                    <a:pt x="15" y="6"/>
                  </a:lnTo>
                  <a:lnTo>
                    <a:pt x="10" y="10"/>
                  </a:lnTo>
                  <a:lnTo>
                    <a:pt x="6" y="15"/>
                  </a:lnTo>
                  <a:lnTo>
                    <a:pt x="3" y="21"/>
                  </a:lnTo>
                  <a:lnTo>
                    <a:pt x="1" y="28"/>
                  </a:lnTo>
                  <a:lnTo>
                    <a:pt x="0" y="34"/>
                  </a:lnTo>
                  <a:lnTo>
                    <a:pt x="1" y="40"/>
                  </a:lnTo>
                  <a:lnTo>
                    <a:pt x="3" y="47"/>
                  </a:lnTo>
                  <a:lnTo>
                    <a:pt x="6" y="53"/>
                  </a:lnTo>
                  <a:lnTo>
                    <a:pt x="10" y="58"/>
                  </a:lnTo>
                  <a:lnTo>
                    <a:pt x="15" y="62"/>
                  </a:lnTo>
                  <a:lnTo>
                    <a:pt x="21" y="65"/>
                  </a:lnTo>
                  <a:lnTo>
                    <a:pt x="27" y="67"/>
                  </a:lnTo>
                  <a:lnTo>
                    <a:pt x="3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215">
              <a:extLst>
                <a:ext uri="{FF2B5EF4-FFF2-40B4-BE49-F238E27FC236}">
                  <a16:creationId xmlns:a16="http://schemas.microsoft.com/office/drawing/2014/main" id="{6D3940BC-FA9B-4995-9ABF-F14825C5CF37}"/>
                </a:ext>
              </a:extLst>
            </p:cNvPr>
            <p:cNvSpPr>
              <a:spLocks noEditPoints="1"/>
            </p:cNvSpPr>
            <p:nvPr/>
          </p:nvSpPr>
          <p:spPr bwMode="auto">
            <a:xfrm>
              <a:off x="465138" y="3833813"/>
              <a:ext cx="20638" cy="22225"/>
            </a:xfrm>
            <a:custGeom>
              <a:avLst/>
              <a:gdLst>
                <a:gd name="T0" fmla="*/ 33 w 67"/>
                <a:gd name="T1" fmla="*/ 30 h 68"/>
                <a:gd name="T2" fmla="*/ 35 w 67"/>
                <a:gd name="T3" fmla="*/ 31 h 68"/>
                <a:gd name="T4" fmla="*/ 36 w 67"/>
                <a:gd name="T5" fmla="*/ 31 h 68"/>
                <a:gd name="T6" fmla="*/ 37 w 67"/>
                <a:gd name="T7" fmla="*/ 33 h 68"/>
                <a:gd name="T8" fmla="*/ 37 w 67"/>
                <a:gd name="T9" fmla="*/ 34 h 68"/>
                <a:gd name="T10" fmla="*/ 37 w 67"/>
                <a:gd name="T11" fmla="*/ 35 h 68"/>
                <a:gd name="T12" fmla="*/ 36 w 67"/>
                <a:gd name="T13" fmla="*/ 36 h 68"/>
                <a:gd name="T14" fmla="*/ 35 w 67"/>
                <a:gd name="T15" fmla="*/ 37 h 68"/>
                <a:gd name="T16" fmla="*/ 33 w 67"/>
                <a:gd name="T17" fmla="*/ 37 h 68"/>
                <a:gd name="T18" fmla="*/ 32 w 67"/>
                <a:gd name="T19" fmla="*/ 37 h 68"/>
                <a:gd name="T20" fmla="*/ 31 w 67"/>
                <a:gd name="T21" fmla="*/ 36 h 68"/>
                <a:gd name="T22" fmla="*/ 30 w 67"/>
                <a:gd name="T23" fmla="*/ 35 h 68"/>
                <a:gd name="T24" fmla="*/ 30 w 67"/>
                <a:gd name="T25" fmla="*/ 34 h 68"/>
                <a:gd name="T26" fmla="*/ 30 w 67"/>
                <a:gd name="T27" fmla="*/ 33 h 68"/>
                <a:gd name="T28" fmla="*/ 31 w 67"/>
                <a:gd name="T29" fmla="*/ 31 h 68"/>
                <a:gd name="T30" fmla="*/ 32 w 67"/>
                <a:gd name="T31" fmla="*/ 31 h 68"/>
                <a:gd name="T32" fmla="*/ 33 w 67"/>
                <a:gd name="T33" fmla="*/ 30 h 68"/>
                <a:gd name="T34" fmla="*/ 33 w 67"/>
                <a:gd name="T35" fmla="*/ 68 h 68"/>
                <a:gd name="T36" fmla="*/ 41 w 67"/>
                <a:gd name="T37" fmla="*/ 67 h 68"/>
                <a:gd name="T38" fmla="*/ 47 w 67"/>
                <a:gd name="T39" fmla="*/ 65 h 68"/>
                <a:gd name="T40" fmla="*/ 52 w 67"/>
                <a:gd name="T41" fmla="*/ 62 h 68"/>
                <a:gd name="T42" fmla="*/ 58 w 67"/>
                <a:gd name="T43" fmla="*/ 58 h 68"/>
                <a:gd name="T44" fmla="*/ 62 w 67"/>
                <a:gd name="T45" fmla="*/ 53 h 68"/>
                <a:gd name="T46" fmla="*/ 65 w 67"/>
                <a:gd name="T47" fmla="*/ 47 h 68"/>
                <a:gd name="T48" fmla="*/ 67 w 67"/>
                <a:gd name="T49" fmla="*/ 40 h 68"/>
                <a:gd name="T50" fmla="*/ 67 w 67"/>
                <a:gd name="T51" fmla="*/ 34 h 68"/>
                <a:gd name="T52" fmla="*/ 67 w 67"/>
                <a:gd name="T53" fmla="*/ 28 h 68"/>
                <a:gd name="T54" fmla="*/ 65 w 67"/>
                <a:gd name="T55" fmla="*/ 21 h 68"/>
                <a:gd name="T56" fmla="*/ 62 w 67"/>
                <a:gd name="T57" fmla="*/ 15 h 68"/>
                <a:gd name="T58" fmla="*/ 58 w 67"/>
                <a:gd name="T59" fmla="*/ 10 h 68"/>
                <a:gd name="T60" fmla="*/ 52 w 67"/>
                <a:gd name="T61" fmla="*/ 6 h 68"/>
                <a:gd name="T62" fmla="*/ 47 w 67"/>
                <a:gd name="T63" fmla="*/ 3 h 68"/>
                <a:gd name="T64" fmla="*/ 41 w 67"/>
                <a:gd name="T65" fmla="*/ 1 h 68"/>
                <a:gd name="T66" fmla="*/ 33 w 67"/>
                <a:gd name="T67" fmla="*/ 0 h 68"/>
                <a:gd name="T68" fmla="*/ 27 w 67"/>
                <a:gd name="T69" fmla="*/ 1 h 68"/>
                <a:gd name="T70" fmla="*/ 20 w 67"/>
                <a:gd name="T71" fmla="*/ 3 h 68"/>
                <a:gd name="T72" fmla="*/ 15 w 67"/>
                <a:gd name="T73" fmla="*/ 6 h 68"/>
                <a:gd name="T74" fmla="*/ 10 w 67"/>
                <a:gd name="T75" fmla="*/ 10 h 68"/>
                <a:gd name="T76" fmla="*/ 5 w 67"/>
                <a:gd name="T77" fmla="*/ 15 h 68"/>
                <a:gd name="T78" fmla="*/ 2 w 67"/>
                <a:gd name="T79" fmla="*/ 21 h 68"/>
                <a:gd name="T80" fmla="*/ 0 w 67"/>
                <a:gd name="T81" fmla="*/ 28 h 68"/>
                <a:gd name="T82" fmla="*/ 0 w 67"/>
                <a:gd name="T83" fmla="*/ 34 h 68"/>
                <a:gd name="T84" fmla="*/ 0 w 67"/>
                <a:gd name="T85" fmla="*/ 40 h 68"/>
                <a:gd name="T86" fmla="*/ 2 w 67"/>
                <a:gd name="T87" fmla="*/ 47 h 68"/>
                <a:gd name="T88" fmla="*/ 5 w 67"/>
                <a:gd name="T89" fmla="*/ 53 h 68"/>
                <a:gd name="T90" fmla="*/ 10 w 67"/>
                <a:gd name="T91" fmla="*/ 58 h 68"/>
                <a:gd name="T92" fmla="*/ 15 w 67"/>
                <a:gd name="T93" fmla="*/ 62 h 68"/>
                <a:gd name="T94" fmla="*/ 20 w 67"/>
                <a:gd name="T95" fmla="*/ 65 h 68"/>
                <a:gd name="T96" fmla="*/ 27 w 67"/>
                <a:gd name="T97" fmla="*/ 67 h 68"/>
                <a:gd name="T98" fmla="*/ 33 w 67"/>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68">
                  <a:moveTo>
                    <a:pt x="33" y="30"/>
                  </a:moveTo>
                  <a:lnTo>
                    <a:pt x="35" y="31"/>
                  </a:lnTo>
                  <a:lnTo>
                    <a:pt x="36" y="31"/>
                  </a:lnTo>
                  <a:lnTo>
                    <a:pt x="37" y="33"/>
                  </a:lnTo>
                  <a:lnTo>
                    <a:pt x="37" y="34"/>
                  </a:lnTo>
                  <a:lnTo>
                    <a:pt x="37" y="35"/>
                  </a:lnTo>
                  <a:lnTo>
                    <a:pt x="36" y="36"/>
                  </a:lnTo>
                  <a:lnTo>
                    <a:pt x="35" y="37"/>
                  </a:lnTo>
                  <a:lnTo>
                    <a:pt x="33" y="37"/>
                  </a:lnTo>
                  <a:lnTo>
                    <a:pt x="32" y="37"/>
                  </a:lnTo>
                  <a:lnTo>
                    <a:pt x="31" y="36"/>
                  </a:lnTo>
                  <a:lnTo>
                    <a:pt x="30" y="35"/>
                  </a:lnTo>
                  <a:lnTo>
                    <a:pt x="30" y="34"/>
                  </a:lnTo>
                  <a:lnTo>
                    <a:pt x="30" y="33"/>
                  </a:lnTo>
                  <a:lnTo>
                    <a:pt x="31" y="31"/>
                  </a:lnTo>
                  <a:lnTo>
                    <a:pt x="32" y="31"/>
                  </a:lnTo>
                  <a:lnTo>
                    <a:pt x="33" y="30"/>
                  </a:lnTo>
                  <a:close/>
                  <a:moveTo>
                    <a:pt x="33" y="68"/>
                  </a:moveTo>
                  <a:lnTo>
                    <a:pt x="41" y="67"/>
                  </a:lnTo>
                  <a:lnTo>
                    <a:pt x="47" y="65"/>
                  </a:lnTo>
                  <a:lnTo>
                    <a:pt x="52" y="62"/>
                  </a:lnTo>
                  <a:lnTo>
                    <a:pt x="58" y="58"/>
                  </a:lnTo>
                  <a:lnTo>
                    <a:pt x="62" y="53"/>
                  </a:lnTo>
                  <a:lnTo>
                    <a:pt x="65" y="47"/>
                  </a:lnTo>
                  <a:lnTo>
                    <a:pt x="67" y="40"/>
                  </a:lnTo>
                  <a:lnTo>
                    <a:pt x="67" y="34"/>
                  </a:lnTo>
                  <a:lnTo>
                    <a:pt x="67" y="28"/>
                  </a:lnTo>
                  <a:lnTo>
                    <a:pt x="65" y="21"/>
                  </a:lnTo>
                  <a:lnTo>
                    <a:pt x="62" y="15"/>
                  </a:lnTo>
                  <a:lnTo>
                    <a:pt x="58" y="10"/>
                  </a:lnTo>
                  <a:lnTo>
                    <a:pt x="52" y="6"/>
                  </a:lnTo>
                  <a:lnTo>
                    <a:pt x="47" y="3"/>
                  </a:lnTo>
                  <a:lnTo>
                    <a:pt x="41" y="1"/>
                  </a:lnTo>
                  <a:lnTo>
                    <a:pt x="33" y="0"/>
                  </a:lnTo>
                  <a:lnTo>
                    <a:pt x="27" y="1"/>
                  </a:lnTo>
                  <a:lnTo>
                    <a:pt x="20" y="3"/>
                  </a:lnTo>
                  <a:lnTo>
                    <a:pt x="15" y="6"/>
                  </a:lnTo>
                  <a:lnTo>
                    <a:pt x="10" y="10"/>
                  </a:lnTo>
                  <a:lnTo>
                    <a:pt x="5" y="15"/>
                  </a:lnTo>
                  <a:lnTo>
                    <a:pt x="2" y="21"/>
                  </a:lnTo>
                  <a:lnTo>
                    <a:pt x="0" y="28"/>
                  </a:lnTo>
                  <a:lnTo>
                    <a:pt x="0" y="34"/>
                  </a:lnTo>
                  <a:lnTo>
                    <a:pt x="0" y="40"/>
                  </a:lnTo>
                  <a:lnTo>
                    <a:pt x="2" y="47"/>
                  </a:lnTo>
                  <a:lnTo>
                    <a:pt x="5" y="53"/>
                  </a:lnTo>
                  <a:lnTo>
                    <a:pt x="10" y="58"/>
                  </a:lnTo>
                  <a:lnTo>
                    <a:pt x="15" y="62"/>
                  </a:lnTo>
                  <a:lnTo>
                    <a:pt x="20" y="65"/>
                  </a:lnTo>
                  <a:lnTo>
                    <a:pt x="27" y="67"/>
                  </a:lnTo>
                  <a:lnTo>
                    <a:pt x="33"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216">
              <a:extLst>
                <a:ext uri="{FF2B5EF4-FFF2-40B4-BE49-F238E27FC236}">
                  <a16:creationId xmlns:a16="http://schemas.microsoft.com/office/drawing/2014/main" id="{AB74FF25-4671-4A68-86F6-571A99B4ED3E}"/>
                </a:ext>
              </a:extLst>
            </p:cNvPr>
            <p:cNvSpPr>
              <a:spLocks noEditPoints="1"/>
            </p:cNvSpPr>
            <p:nvPr/>
          </p:nvSpPr>
          <p:spPr bwMode="auto">
            <a:xfrm>
              <a:off x="439738" y="3840163"/>
              <a:ext cx="22225" cy="20638"/>
            </a:xfrm>
            <a:custGeom>
              <a:avLst/>
              <a:gdLst>
                <a:gd name="T0" fmla="*/ 34 w 67"/>
                <a:gd name="T1" fmla="*/ 30 h 68"/>
                <a:gd name="T2" fmla="*/ 35 w 67"/>
                <a:gd name="T3" fmla="*/ 30 h 68"/>
                <a:gd name="T4" fmla="*/ 36 w 67"/>
                <a:gd name="T5" fmla="*/ 31 h 68"/>
                <a:gd name="T6" fmla="*/ 37 w 67"/>
                <a:gd name="T7" fmla="*/ 32 h 68"/>
                <a:gd name="T8" fmla="*/ 37 w 67"/>
                <a:gd name="T9" fmla="*/ 34 h 68"/>
                <a:gd name="T10" fmla="*/ 37 w 67"/>
                <a:gd name="T11" fmla="*/ 35 h 68"/>
                <a:gd name="T12" fmla="*/ 36 w 67"/>
                <a:gd name="T13" fmla="*/ 36 h 68"/>
                <a:gd name="T14" fmla="*/ 35 w 67"/>
                <a:gd name="T15" fmla="*/ 36 h 68"/>
                <a:gd name="T16" fmla="*/ 34 w 67"/>
                <a:gd name="T17" fmla="*/ 38 h 68"/>
                <a:gd name="T18" fmla="*/ 32 w 67"/>
                <a:gd name="T19" fmla="*/ 36 h 68"/>
                <a:gd name="T20" fmla="*/ 31 w 67"/>
                <a:gd name="T21" fmla="*/ 36 h 68"/>
                <a:gd name="T22" fmla="*/ 30 w 67"/>
                <a:gd name="T23" fmla="*/ 35 h 68"/>
                <a:gd name="T24" fmla="*/ 30 w 67"/>
                <a:gd name="T25" fmla="*/ 34 h 68"/>
                <a:gd name="T26" fmla="*/ 30 w 67"/>
                <a:gd name="T27" fmla="*/ 32 h 68"/>
                <a:gd name="T28" fmla="*/ 31 w 67"/>
                <a:gd name="T29" fmla="*/ 31 h 68"/>
                <a:gd name="T30" fmla="*/ 32 w 67"/>
                <a:gd name="T31" fmla="*/ 30 h 68"/>
                <a:gd name="T32" fmla="*/ 34 w 67"/>
                <a:gd name="T33" fmla="*/ 30 h 68"/>
                <a:gd name="T34" fmla="*/ 34 w 67"/>
                <a:gd name="T35" fmla="*/ 68 h 68"/>
                <a:gd name="T36" fmla="*/ 40 w 67"/>
                <a:gd name="T37" fmla="*/ 68 h 68"/>
                <a:gd name="T38" fmla="*/ 47 w 67"/>
                <a:gd name="T39" fmla="*/ 65 h 68"/>
                <a:gd name="T40" fmla="*/ 52 w 67"/>
                <a:gd name="T41" fmla="*/ 62 h 68"/>
                <a:gd name="T42" fmla="*/ 58 w 67"/>
                <a:gd name="T43" fmla="*/ 58 h 68"/>
                <a:gd name="T44" fmla="*/ 62 w 67"/>
                <a:gd name="T45" fmla="*/ 53 h 68"/>
                <a:gd name="T46" fmla="*/ 65 w 67"/>
                <a:gd name="T47" fmla="*/ 47 h 68"/>
                <a:gd name="T48" fmla="*/ 67 w 67"/>
                <a:gd name="T49" fmla="*/ 41 h 68"/>
                <a:gd name="T50" fmla="*/ 67 w 67"/>
                <a:gd name="T51" fmla="*/ 34 h 68"/>
                <a:gd name="T52" fmla="*/ 67 w 67"/>
                <a:gd name="T53" fmla="*/ 27 h 68"/>
                <a:gd name="T54" fmla="*/ 65 w 67"/>
                <a:gd name="T55" fmla="*/ 20 h 68"/>
                <a:gd name="T56" fmla="*/ 62 w 67"/>
                <a:gd name="T57" fmla="*/ 15 h 68"/>
                <a:gd name="T58" fmla="*/ 58 w 67"/>
                <a:gd name="T59" fmla="*/ 10 h 68"/>
                <a:gd name="T60" fmla="*/ 52 w 67"/>
                <a:gd name="T61" fmla="*/ 5 h 68"/>
                <a:gd name="T62" fmla="*/ 47 w 67"/>
                <a:gd name="T63" fmla="*/ 2 h 68"/>
                <a:gd name="T64" fmla="*/ 40 w 67"/>
                <a:gd name="T65" fmla="*/ 1 h 68"/>
                <a:gd name="T66" fmla="*/ 34 w 67"/>
                <a:gd name="T67" fmla="*/ 0 h 68"/>
                <a:gd name="T68" fmla="*/ 27 w 67"/>
                <a:gd name="T69" fmla="*/ 1 h 68"/>
                <a:gd name="T70" fmla="*/ 20 w 67"/>
                <a:gd name="T71" fmla="*/ 2 h 68"/>
                <a:gd name="T72" fmla="*/ 15 w 67"/>
                <a:gd name="T73" fmla="*/ 5 h 68"/>
                <a:gd name="T74" fmla="*/ 9 w 67"/>
                <a:gd name="T75" fmla="*/ 10 h 68"/>
                <a:gd name="T76" fmla="*/ 5 w 67"/>
                <a:gd name="T77" fmla="*/ 15 h 68"/>
                <a:gd name="T78" fmla="*/ 3 w 67"/>
                <a:gd name="T79" fmla="*/ 20 h 68"/>
                <a:gd name="T80" fmla="*/ 1 w 67"/>
                <a:gd name="T81" fmla="*/ 27 h 68"/>
                <a:gd name="T82" fmla="*/ 0 w 67"/>
                <a:gd name="T83" fmla="*/ 34 h 68"/>
                <a:gd name="T84" fmla="*/ 1 w 67"/>
                <a:gd name="T85" fmla="*/ 41 h 68"/>
                <a:gd name="T86" fmla="*/ 3 w 67"/>
                <a:gd name="T87" fmla="*/ 47 h 68"/>
                <a:gd name="T88" fmla="*/ 5 w 67"/>
                <a:gd name="T89" fmla="*/ 53 h 68"/>
                <a:gd name="T90" fmla="*/ 9 w 67"/>
                <a:gd name="T91" fmla="*/ 58 h 68"/>
                <a:gd name="T92" fmla="*/ 15 w 67"/>
                <a:gd name="T93" fmla="*/ 62 h 68"/>
                <a:gd name="T94" fmla="*/ 20 w 67"/>
                <a:gd name="T95" fmla="*/ 65 h 68"/>
                <a:gd name="T96" fmla="*/ 27 w 67"/>
                <a:gd name="T97" fmla="*/ 68 h 68"/>
                <a:gd name="T98" fmla="*/ 34 w 67"/>
                <a:gd name="T9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68">
                  <a:moveTo>
                    <a:pt x="34" y="30"/>
                  </a:moveTo>
                  <a:lnTo>
                    <a:pt x="35" y="30"/>
                  </a:lnTo>
                  <a:lnTo>
                    <a:pt x="36" y="31"/>
                  </a:lnTo>
                  <a:lnTo>
                    <a:pt x="37" y="32"/>
                  </a:lnTo>
                  <a:lnTo>
                    <a:pt x="37" y="34"/>
                  </a:lnTo>
                  <a:lnTo>
                    <a:pt x="37" y="35"/>
                  </a:lnTo>
                  <a:lnTo>
                    <a:pt x="36" y="36"/>
                  </a:lnTo>
                  <a:lnTo>
                    <a:pt x="35" y="36"/>
                  </a:lnTo>
                  <a:lnTo>
                    <a:pt x="34" y="38"/>
                  </a:lnTo>
                  <a:lnTo>
                    <a:pt x="32" y="36"/>
                  </a:lnTo>
                  <a:lnTo>
                    <a:pt x="31" y="36"/>
                  </a:lnTo>
                  <a:lnTo>
                    <a:pt x="30" y="35"/>
                  </a:lnTo>
                  <a:lnTo>
                    <a:pt x="30" y="34"/>
                  </a:lnTo>
                  <a:lnTo>
                    <a:pt x="30" y="32"/>
                  </a:lnTo>
                  <a:lnTo>
                    <a:pt x="31" y="31"/>
                  </a:lnTo>
                  <a:lnTo>
                    <a:pt x="32" y="30"/>
                  </a:lnTo>
                  <a:lnTo>
                    <a:pt x="34" y="30"/>
                  </a:lnTo>
                  <a:close/>
                  <a:moveTo>
                    <a:pt x="34" y="68"/>
                  </a:moveTo>
                  <a:lnTo>
                    <a:pt x="40" y="68"/>
                  </a:lnTo>
                  <a:lnTo>
                    <a:pt x="47" y="65"/>
                  </a:lnTo>
                  <a:lnTo>
                    <a:pt x="52" y="62"/>
                  </a:lnTo>
                  <a:lnTo>
                    <a:pt x="58" y="58"/>
                  </a:lnTo>
                  <a:lnTo>
                    <a:pt x="62" y="53"/>
                  </a:lnTo>
                  <a:lnTo>
                    <a:pt x="65" y="47"/>
                  </a:lnTo>
                  <a:lnTo>
                    <a:pt x="67" y="41"/>
                  </a:lnTo>
                  <a:lnTo>
                    <a:pt x="67" y="34"/>
                  </a:lnTo>
                  <a:lnTo>
                    <a:pt x="67" y="27"/>
                  </a:lnTo>
                  <a:lnTo>
                    <a:pt x="65" y="20"/>
                  </a:lnTo>
                  <a:lnTo>
                    <a:pt x="62" y="15"/>
                  </a:lnTo>
                  <a:lnTo>
                    <a:pt x="58" y="10"/>
                  </a:lnTo>
                  <a:lnTo>
                    <a:pt x="52" y="5"/>
                  </a:lnTo>
                  <a:lnTo>
                    <a:pt x="47" y="2"/>
                  </a:lnTo>
                  <a:lnTo>
                    <a:pt x="40" y="1"/>
                  </a:lnTo>
                  <a:lnTo>
                    <a:pt x="34" y="0"/>
                  </a:lnTo>
                  <a:lnTo>
                    <a:pt x="27" y="1"/>
                  </a:lnTo>
                  <a:lnTo>
                    <a:pt x="20" y="2"/>
                  </a:lnTo>
                  <a:lnTo>
                    <a:pt x="15" y="5"/>
                  </a:lnTo>
                  <a:lnTo>
                    <a:pt x="9" y="10"/>
                  </a:lnTo>
                  <a:lnTo>
                    <a:pt x="5" y="15"/>
                  </a:lnTo>
                  <a:lnTo>
                    <a:pt x="3" y="20"/>
                  </a:lnTo>
                  <a:lnTo>
                    <a:pt x="1" y="27"/>
                  </a:lnTo>
                  <a:lnTo>
                    <a:pt x="0" y="34"/>
                  </a:lnTo>
                  <a:lnTo>
                    <a:pt x="1" y="41"/>
                  </a:lnTo>
                  <a:lnTo>
                    <a:pt x="3" y="47"/>
                  </a:lnTo>
                  <a:lnTo>
                    <a:pt x="5" y="53"/>
                  </a:lnTo>
                  <a:lnTo>
                    <a:pt x="9" y="58"/>
                  </a:lnTo>
                  <a:lnTo>
                    <a:pt x="15" y="62"/>
                  </a:lnTo>
                  <a:lnTo>
                    <a:pt x="20" y="65"/>
                  </a:lnTo>
                  <a:lnTo>
                    <a:pt x="27" y="68"/>
                  </a:lnTo>
                  <a:lnTo>
                    <a:pt x="3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5" name="Group 29">
            <a:extLst>
              <a:ext uri="{FF2B5EF4-FFF2-40B4-BE49-F238E27FC236}">
                <a16:creationId xmlns:a16="http://schemas.microsoft.com/office/drawing/2014/main" id="{107197D3-598C-4551-A0EA-83B94D7B5D6F}"/>
              </a:ext>
            </a:extLst>
          </p:cNvPr>
          <p:cNvGrpSpPr>
            <a:grpSpLocks noChangeAspect="1"/>
          </p:cNvGrpSpPr>
          <p:nvPr/>
        </p:nvGrpSpPr>
        <p:grpSpPr>
          <a:xfrm>
            <a:off x="5377391" y="2724897"/>
            <a:ext cx="287230" cy="285619"/>
            <a:chOff x="5468938" y="1920875"/>
            <a:chExt cx="282575" cy="280988"/>
          </a:xfrm>
          <a:solidFill>
            <a:schemeClr val="bg1"/>
          </a:solidFill>
          <a:effectLst/>
        </p:grpSpPr>
        <p:sp>
          <p:nvSpPr>
            <p:cNvPr id="696" name="Freeform 30">
              <a:extLst>
                <a:ext uri="{FF2B5EF4-FFF2-40B4-BE49-F238E27FC236}">
                  <a16:creationId xmlns:a16="http://schemas.microsoft.com/office/drawing/2014/main" id="{CCA26580-4825-4007-8B1E-18ABED91C7D7}"/>
                </a:ext>
              </a:extLst>
            </p:cNvPr>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7" name="Freeform 31">
              <a:extLst>
                <a:ext uri="{FF2B5EF4-FFF2-40B4-BE49-F238E27FC236}">
                  <a16:creationId xmlns:a16="http://schemas.microsoft.com/office/drawing/2014/main" id="{8CA3AAA2-EB13-4444-9475-28B56E3E1A02}"/>
                </a:ext>
              </a:extLst>
            </p:cNvPr>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8" name="Freeform 32">
              <a:extLst>
                <a:ext uri="{FF2B5EF4-FFF2-40B4-BE49-F238E27FC236}">
                  <a16:creationId xmlns:a16="http://schemas.microsoft.com/office/drawing/2014/main" id="{C893FA99-9ACC-4B5C-8012-DCE0EC406B6C}"/>
                </a:ext>
              </a:extLst>
            </p:cNvPr>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99" name="Freeform 33">
              <a:extLst>
                <a:ext uri="{FF2B5EF4-FFF2-40B4-BE49-F238E27FC236}">
                  <a16:creationId xmlns:a16="http://schemas.microsoft.com/office/drawing/2014/main" id="{C04C8ABE-8DEE-42DE-8B6E-B68B8163F0FE}"/>
                </a:ext>
              </a:extLst>
            </p:cNvPr>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0" name="Freeform 34">
              <a:extLst>
                <a:ext uri="{FF2B5EF4-FFF2-40B4-BE49-F238E27FC236}">
                  <a16:creationId xmlns:a16="http://schemas.microsoft.com/office/drawing/2014/main" id="{0EEC299B-4467-4B4D-B7AF-0BF7F1586C77}"/>
                </a:ext>
              </a:extLst>
            </p:cNvPr>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624" name="Freeform 25">
            <a:extLst>
              <a:ext uri="{FF2B5EF4-FFF2-40B4-BE49-F238E27FC236}">
                <a16:creationId xmlns:a16="http://schemas.microsoft.com/office/drawing/2014/main" id="{5A23C554-BA96-460A-B681-F6FF5D72F8B1}"/>
              </a:ext>
            </a:extLst>
          </p:cNvPr>
          <p:cNvSpPr>
            <a:spLocks noChangeAspect="1" noEditPoints="1"/>
          </p:cNvSpPr>
          <p:nvPr/>
        </p:nvSpPr>
        <p:spPr bwMode="auto">
          <a:xfrm>
            <a:off x="5406591" y="5417577"/>
            <a:ext cx="228830" cy="285619"/>
          </a:xfrm>
          <a:custGeom>
            <a:avLst/>
            <a:gdLst>
              <a:gd name="T0" fmla="*/ 636 w 681"/>
              <a:gd name="T1" fmla="*/ 604 h 853"/>
              <a:gd name="T2" fmla="*/ 192 w 681"/>
              <a:gd name="T3" fmla="*/ 761 h 853"/>
              <a:gd name="T4" fmla="*/ 61 w 681"/>
              <a:gd name="T5" fmla="*/ 524 h 853"/>
              <a:gd name="T6" fmla="*/ 35 w 681"/>
              <a:gd name="T7" fmla="*/ 475 h 853"/>
              <a:gd name="T8" fmla="*/ 31 w 681"/>
              <a:gd name="T9" fmla="*/ 448 h 853"/>
              <a:gd name="T10" fmla="*/ 51 w 681"/>
              <a:gd name="T11" fmla="*/ 432 h 853"/>
              <a:gd name="T12" fmla="*/ 76 w 681"/>
              <a:gd name="T13" fmla="*/ 437 h 853"/>
              <a:gd name="T14" fmla="*/ 183 w 681"/>
              <a:gd name="T15" fmla="*/ 533 h 853"/>
              <a:gd name="T16" fmla="*/ 193 w 681"/>
              <a:gd name="T17" fmla="*/ 76 h 853"/>
              <a:gd name="T18" fmla="*/ 214 w 681"/>
              <a:gd name="T19" fmla="*/ 39 h 853"/>
              <a:gd name="T20" fmla="*/ 256 w 681"/>
              <a:gd name="T21" fmla="*/ 34 h 853"/>
              <a:gd name="T22" fmla="*/ 284 w 681"/>
              <a:gd name="T23" fmla="*/ 67 h 853"/>
              <a:gd name="T24" fmla="*/ 285 w 681"/>
              <a:gd name="T25" fmla="*/ 353 h 853"/>
              <a:gd name="T26" fmla="*/ 293 w 681"/>
              <a:gd name="T27" fmla="*/ 364 h 853"/>
              <a:gd name="T28" fmla="*/ 308 w 681"/>
              <a:gd name="T29" fmla="*/ 363 h 853"/>
              <a:gd name="T30" fmla="*/ 315 w 681"/>
              <a:gd name="T31" fmla="*/ 350 h 853"/>
              <a:gd name="T32" fmla="*/ 400 w 681"/>
              <a:gd name="T33" fmla="*/ 249 h 853"/>
              <a:gd name="T34" fmla="*/ 406 w 681"/>
              <a:gd name="T35" fmla="*/ 353 h 853"/>
              <a:gd name="T36" fmla="*/ 416 w 681"/>
              <a:gd name="T37" fmla="*/ 364 h 853"/>
              <a:gd name="T38" fmla="*/ 430 w 681"/>
              <a:gd name="T39" fmla="*/ 363 h 853"/>
              <a:gd name="T40" fmla="*/ 437 w 681"/>
              <a:gd name="T41" fmla="*/ 350 h 853"/>
              <a:gd name="T42" fmla="*/ 513 w 681"/>
              <a:gd name="T43" fmla="*/ 281 h 853"/>
              <a:gd name="T44" fmla="*/ 528 w 681"/>
              <a:gd name="T45" fmla="*/ 305 h 853"/>
              <a:gd name="T46" fmla="*/ 533 w 681"/>
              <a:gd name="T47" fmla="*/ 394 h 853"/>
              <a:gd name="T48" fmla="*/ 547 w 681"/>
              <a:gd name="T49" fmla="*/ 399 h 853"/>
              <a:gd name="T50" fmla="*/ 557 w 681"/>
              <a:gd name="T51" fmla="*/ 390 h 853"/>
              <a:gd name="T52" fmla="*/ 599 w 681"/>
              <a:gd name="T53" fmla="*/ 321 h 853"/>
              <a:gd name="T54" fmla="*/ 644 w 681"/>
              <a:gd name="T55" fmla="*/ 349 h 853"/>
              <a:gd name="T56" fmla="*/ 649 w 681"/>
              <a:gd name="T57" fmla="*/ 503 h 853"/>
              <a:gd name="T58" fmla="*/ 540 w 681"/>
              <a:gd name="T59" fmla="*/ 264 h 853"/>
              <a:gd name="T60" fmla="*/ 497 w 681"/>
              <a:gd name="T61" fmla="*/ 244 h 853"/>
              <a:gd name="T62" fmla="*/ 410 w 681"/>
              <a:gd name="T63" fmla="*/ 220 h 853"/>
              <a:gd name="T64" fmla="*/ 315 w 681"/>
              <a:gd name="T65" fmla="*/ 213 h 853"/>
              <a:gd name="T66" fmla="*/ 308 w 681"/>
              <a:gd name="T67" fmla="*/ 47 h 853"/>
              <a:gd name="T68" fmla="*/ 286 w 681"/>
              <a:gd name="T69" fmla="*/ 18 h 853"/>
              <a:gd name="T70" fmla="*/ 254 w 681"/>
              <a:gd name="T71" fmla="*/ 2 h 853"/>
              <a:gd name="T72" fmla="*/ 216 w 681"/>
              <a:gd name="T73" fmla="*/ 4 h 853"/>
              <a:gd name="T74" fmla="*/ 185 w 681"/>
              <a:gd name="T75" fmla="*/ 23 h 853"/>
              <a:gd name="T76" fmla="*/ 166 w 681"/>
              <a:gd name="T77" fmla="*/ 54 h 853"/>
              <a:gd name="T78" fmla="*/ 96 w 681"/>
              <a:gd name="T79" fmla="*/ 416 h 853"/>
              <a:gd name="T80" fmla="*/ 66 w 681"/>
              <a:gd name="T81" fmla="*/ 402 h 853"/>
              <a:gd name="T82" fmla="*/ 23 w 681"/>
              <a:gd name="T83" fmla="*/ 410 h 853"/>
              <a:gd name="T84" fmla="*/ 1 w 681"/>
              <a:gd name="T85" fmla="*/ 444 h 853"/>
              <a:gd name="T86" fmla="*/ 12 w 681"/>
              <a:gd name="T87" fmla="*/ 495 h 853"/>
              <a:gd name="T88" fmla="*/ 126 w 681"/>
              <a:gd name="T89" fmla="*/ 708 h 853"/>
              <a:gd name="T90" fmla="*/ 211 w 681"/>
              <a:gd name="T91" fmla="*/ 847 h 853"/>
              <a:gd name="T92" fmla="*/ 573 w 681"/>
              <a:gd name="T93" fmla="*/ 853 h 853"/>
              <a:gd name="T94" fmla="*/ 664 w 681"/>
              <a:gd name="T95" fmla="*/ 614 h 853"/>
              <a:gd name="T96" fmla="*/ 681 w 681"/>
              <a:gd name="T97" fmla="*/ 366 h 853"/>
              <a:gd name="T98" fmla="*/ 668 w 681"/>
              <a:gd name="T99" fmla="*/ 330 h 853"/>
              <a:gd name="T100" fmla="*/ 636 w 681"/>
              <a:gd name="T101" fmla="*/ 303 h 853"/>
              <a:gd name="T102" fmla="*/ 597 w 681"/>
              <a:gd name="T103" fmla="*/ 29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1" h="853">
                <a:moveTo>
                  <a:pt x="649" y="503"/>
                </a:moveTo>
                <a:lnTo>
                  <a:pt x="649" y="528"/>
                </a:lnTo>
                <a:lnTo>
                  <a:pt x="646" y="554"/>
                </a:lnTo>
                <a:lnTo>
                  <a:pt x="642" y="580"/>
                </a:lnTo>
                <a:lnTo>
                  <a:pt x="636" y="604"/>
                </a:lnTo>
                <a:lnTo>
                  <a:pt x="563" y="823"/>
                </a:lnTo>
                <a:lnTo>
                  <a:pt x="231" y="823"/>
                </a:lnTo>
                <a:lnTo>
                  <a:pt x="219" y="805"/>
                </a:lnTo>
                <a:lnTo>
                  <a:pt x="205" y="785"/>
                </a:lnTo>
                <a:lnTo>
                  <a:pt x="192" y="761"/>
                </a:lnTo>
                <a:lnTo>
                  <a:pt x="177" y="735"/>
                </a:lnTo>
                <a:lnTo>
                  <a:pt x="144" y="679"/>
                </a:lnTo>
                <a:lnTo>
                  <a:pt x="113" y="622"/>
                </a:lnTo>
                <a:lnTo>
                  <a:pt x="84" y="568"/>
                </a:lnTo>
                <a:lnTo>
                  <a:pt x="61" y="524"/>
                </a:lnTo>
                <a:lnTo>
                  <a:pt x="45" y="493"/>
                </a:lnTo>
                <a:lnTo>
                  <a:pt x="39" y="481"/>
                </a:lnTo>
                <a:lnTo>
                  <a:pt x="38" y="480"/>
                </a:lnTo>
                <a:lnTo>
                  <a:pt x="37" y="479"/>
                </a:lnTo>
                <a:lnTo>
                  <a:pt x="35" y="475"/>
                </a:lnTo>
                <a:lnTo>
                  <a:pt x="33" y="469"/>
                </a:lnTo>
                <a:lnTo>
                  <a:pt x="31" y="464"/>
                </a:lnTo>
                <a:lnTo>
                  <a:pt x="30" y="459"/>
                </a:lnTo>
                <a:lnTo>
                  <a:pt x="30" y="453"/>
                </a:lnTo>
                <a:lnTo>
                  <a:pt x="31" y="448"/>
                </a:lnTo>
                <a:lnTo>
                  <a:pt x="33" y="444"/>
                </a:lnTo>
                <a:lnTo>
                  <a:pt x="36" y="439"/>
                </a:lnTo>
                <a:lnTo>
                  <a:pt x="40" y="436"/>
                </a:lnTo>
                <a:lnTo>
                  <a:pt x="46" y="433"/>
                </a:lnTo>
                <a:lnTo>
                  <a:pt x="51" y="432"/>
                </a:lnTo>
                <a:lnTo>
                  <a:pt x="56" y="431"/>
                </a:lnTo>
                <a:lnTo>
                  <a:pt x="62" y="432"/>
                </a:lnTo>
                <a:lnTo>
                  <a:pt x="66" y="433"/>
                </a:lnTo>
                <a:lnTo>
                  <a:pt x="71" y="435"/>
                </a:lnTo>
                <a:lnTo>
                  <a:pt x="76" y="437"/>
                </a:lnTo>
                <a:lnTo>
                  <a:pt x="167" y="529"/>
                </a:lnTo>
                <a:lnTo>
                  <a:pt x="170" y="531"/>
                </a:lnTo>
                <a:lnTo>
                  <a:pt x="174" y="534"/>
                </a:lnTo>
                <a:lnTo>
                  <a:pt x="179" y="534"/>
                </a:lnTo>
                <a:lnTo>
                  <a:pt x="183" y="533"/>
                </a:lnTo>
                <a:lnTo>
                  <a:pt x="187" y="529"/>
                </a:lnTo>
                <a:lnTo>
                  <a:pt x="190" y="526"/>
                </a:lnTo>
                <a:lnTo>
                  <a:pt x="193" y="523"/>
                </a:lnTo>
                <a:lnTo>
                  <a:pt x="193" y="519"/>
                </a:lnTo>
                <a:lnTo>
                  <a:pt x="193" y="76"/>
                </a:lnTo>
                <a:lnTo>
                  <a:pt x="194" y="67"/>
                </a:lnTo>
                <a:lnTo>
                  <a:pt x="197" y="60"/>
                </a:lnTo>
                <a:lnTo>
                  <a:pt x="201" y="51"/>
                </a:lnTo>
                <a:lnTo>
                  <a:pt x="207" y="45"/>
                </a:lnTo>
                <a:lnTo>
                  <a:pt x="214" y="39"/>
                </a:lnTo>
                <a:lnTo>
                  <a:pt x="222" y="34"/>
                </a:lnTo>
                <a:lnTo>
                  <a:pt x="230" y="32"/>
                </a:lnTo>
                <a:lnTo>
                  <a:pt x="239" y="31"/>
                </a:lnTo>
                <a:lnTo>
                  <a:pt x="247" y="32"/>
                </a:lnTo>
                <a:lnTo>
                  <a:pt x="256" y="34"/>
                </a:lnTo>
                <a:lnTo>
                  <a:pt x="263" y="39"/>
                </a:lnTo>
                <a:lnTo>
                  <a:pt x="270" y="45"/>
                </a:lnTo>
                <a:lnTo>
                  <a:pt x="276" y="51"/>
                </a:lnTo>
                <a:lnTo>
                  <a:pt x="281" y="60"/>
                </a:lnTo>
                <a:lnTo>
                  <a:pt x="284" y="67"/>
                </a:lnTo>
                <a:lnTo>
                  <a:pt x="284" y="77"/>
                </a:lnTo>
                <a:lnTo>
                  <a:pt x="284" y="213"/>
                </a:lnTo>
                <a:lnTo>
                  <a:pt x="284" y="229"/>
                </a:lnTo>
                <a:lnTo>
                  <a:pt x="284" y="350"/>
                </a:lnTo>
                <a:lnTo>
                  <a:pt x="285" y="353"/>
                </a:lnTo>
                <a:lnTo>
                  <a:pt x="286" y="357"/>
                </a:lnTo>
                <a:lnTo>
                  <a:pt x="287" y="359"/>
                </a:lnTo>
                <a:lnTo>
                  <a:pt x="289" y="361"/>
                </a:lnTo>
                <a:lnTo>
                  <a:pt x="291" y="363"/>
                </a:lnTo>
                <a:lnTo>
                  <a:pt x="293" y="364"/>
                </a:lnTo>
                <a:lnTo>
                  <a:pt x="297" y="365"/>
                </a:lnTo>
                <a:lnTo>
                  <a:pt x="300" y="366"/>
                </a:lnTo>
                <a:lnTo>
                  <a:pt x="303" y="365"/>
                </a:lnTo>
                <a:lnTo>
                  <a:pt x="305" y="364"/>
                </a:lnTo>
                <a:lnTo>
                  <a:pt x="308" y="363"/>
                </a:lnTo>
                <a:lnTo>
                  <a:pt x="311" y="361"/>
                </a:lnTo>
                <a:lnTo>
                  <a:pt x="312" y="359"/>
                </a:lnTo>
                <a:lnTo>
                  <a:pt x="314" y="357"/>
                </a:lnTo>
                <a:lnTo>
                  <a:pt x="315" y="353"/>
                </a:lnTo>
                <a:lnTo>
                  <a:pt x="315" y="350"/>
                </a:lnTo>
                <a:lnTo>
                  <a:pt x="315" y="244"/>
                </a:lnTo>
                <a:lnTo>
                  <a:pt x="376" y="244"/>
                </a:lnTo>
                <a:lnTo>
                  <a:pt x="386" y="245"/>
                </a:lnTo>
                <a:lnTo>
                  <a:pt x="395" y="247"/>
                </a:lnTo>
                <a:lnTo>
                  <a:pt x="400" y="249"/>
                </a:lnTo>
                <a:lnTo>
                  <a:pt x="403" y="253"/>
                </a:lnTo>
                <a:lnTo>
                  <a:pt x="405" y="256"/>
                </a:lnTo>
                <a:lnTo>
                  <a:pt x="406" y="259"/>
                </a:lnTo>
                <a:lnTo>
                  <a:pt x="406" y="350"/>
                </a:lnTo>
                <a:lnTo>
                  <a:pt x="406" y="353"/>
                </a:lnTo>
                <a:lnTo>
                  <a:pt x="407" y="357"/>
                </a:lnTo>
                <a:lnTo>
                  <a:pt x="409" y="359"/>
                </a:lnTo>
                <a:lnTo>
                  <a:pt x="410" y="361"/>
                </a:lnTo>
                <a:lnTo>
                  <a:pt x="412" y="363"/>
                </a:lnTo>
                <a:lnTo>
                  <a:pt x="416" y="364"/>
                </a:lnTo>
                <a:lnTo>
                  <a:pt x="418" y="365"/>
                </a:lnTo>
                <a:lnTo>
                  <a:pt x="421" y="366"/>
                </a:lnTo>
                <a:lnTo>
                  <a:pt x="424" y="365"/>
                </a:lnTo>
                <a:lnTo>
                  <a:pt x="427" y="364"/>
                </a:lnTo>
                <a:lnTo>
                  <a:pt x="430" y="363"/>
                </a:lnTo>
                <a:lnTo>
                  <a:pt x="432" y="361"/>
                </a:lnTo>
                <a:lnTo>
                  <a:pt x="434" y="359"/>
                </a:lnTo>
                <a:lnTo>
                  <a:pt x="435" y="357"/>
                </a:lnTo>
                <a:lnTo>
                  <a:pt x="436" y="353"/>
                </a:lnTo>
                <a:lnTo>
                  <a:pt x="437" y="350"/>
                </a:lnTo>
                <a:lnTo>
                  <a:pt x="437" y="274"/>
                </a:lnTo>
                <a:lnTo>
                  <a:pt x="497" y="274"/>
                </a:lnTo>
                <a:lnTo>
                  <a:pt x="503" y="275"/>
                </a:lnTo>
                <a:lnTo>
                  <a:pt x="508" y="277"/>
                </a:lnTo>
                <a:lnTo>
                  <a:pt x="513" y="281"/>
                </a:lnTo>
                <a:lnTo>
                  <a:pt x="518" y="285"/>
                </a:lnTo>
                <a:lnTo>
                  <a:pt x="522" y="289"/>
                </a:lnTo>
                <a:lnTo>
                  <a:pt x="525" y="294"/>
                </a:lnTo>
                <a:lnTo>
                  <a:pt x="527" y="300"/>
                </a:lnTo>
                <a:lnTo>
                  <a:pt x="528" y="305"/>
                </a:lnTo>
                <a:lnTo>
                  <a:pt x="528" y="383"/>
                </a:lnTo>
                <a:lnTo>
                  <a:pt x="528" y="387"/>
                </a:lnTo>
                <a:lnTo>
                  <a:pt x="529" y="390"/>
                </a:lnTo>
                <a:lnTo>
                  <a:pt x="530" y="392"/>
                </a:lnTo>
                <a:lnTo>
                  <a:pt x="533" y="394"/>
                </a:lnTo>
                <a:lnTo>
                  <a:pt x="535" y="396"/>
                </a:lnTo>
                <a:lnTo>
                  <a:pt x="537" y="397"/>
                </a:lnTo>
                <a:lnTo>
                  <a:pt x="540" y="399"/>
                </a:lnTo>
                <a:lnTo>
                  <a:pt x="543" y="399"/>
                </a:lnTo>
                <a:lnTo>
                  <a:pt x="547" y="399"/>
                </a:lnTo>
                <a:lnTo>
                  <a:pt x="550" y="397"/>
                </a:lnTo>
                <a:lnTo>
                  <a:pt x="552" y="396"/>
                </a:lnTo>
                <a:lnTo>
                  <a:pt x="554" y="394"/>
                </a:lnTo>
                <a:lnTo>
                  <a:pt x="556" y="392"/>
                </a:lnTo>
                <a:lnTo>
                  <a:pt x="557" y="390"/>
                </a:lnTo>
                <a:lnTo>
                  <a:pt x="558" y="387"/>
                </a:lnTo>
                <a:lnTo>
                  <a:pt x="558" y="383"/>
                </a:lnTo>
                <a:lnTo>
                  <a:pt x="558" y="320"/>
                </a:lnTo>
                <a:lnTo>
                  <a:pt x="589" y="320"/>
                </a:lnTo>
                <a:lnTo>
                  <a:pt x="599" y="321"/>
                </a:lnTo>
                <a:lnTo>
                  <a:pt x="609" y="325"/>
                </a:lnTo>
                <a:lnTo>
                  <a:pt x="619" y="329"/>
                </a:lnTo>
                <a:lnTo>
                  <a:pt x="629" y="335"/>
                </a:lnTo>
                <a:lnTo>
                  <a:pt x="638" y="342"/>
                </a:lnTo>
                <a:lnTo>
                  <a:pt x="644" y="349"/>
                </a:lnTo>
                <a:lnTo>
                  <a:pt x="646" y="353"/>
                </a:lnTo>
                <a:lnTo>
                  <a:pt x="648" y="358"/>
                </a:lnTo>
                <a:lnTo>
                  <a:pt x="649" y="362"/>
                </a:lnTo>
                <a:lnTo>
                  <a:pt x="649" y="366"/>
                </a:lnTo>
                <a:lnTo>
                  <a:pt x="649" y="503"/>
                </a:lnTo>
                <a:close/>
                <a:moveTo>
                  <a:pt x="589" y="289"/>
                </a:moveTo>
                <a:lnTo>
                  <a:pt x="556" y="289"/>
                </a:lnTo>
                <a:lnTo>
                  <a:pt x="552" y="281"/>
                </a:lnTo>
                <a:lnTo>
                  <a:pt x="547" y="272"/>
                </a:lnTo>
                <a:lnTo>
                  <a:pt x="540" y="264"/>
                </a:lnTo>
                <a:lnTo>
                  <a:pt x="533" y="258"/>
                </a:lnTo>
                <a:lnTo>
                  <a:pt x="525" y="252"/>
                </a:lnTo>
                <a:lnTo>
                  <a:pt x="515" y="247"/>
                </a:lnTo>
                <a:lnTo>
                  <a:pt x="507" y="245"/>
                </a:lnTo>
                <a:lnTo>
                  <a:pt x="497" y="244"/>
                </a:lnTo>
                <a:lnTo>
                  <a:pt x="434" y="244"/>
                </a:lnTo>
                <a:lnTo>
                  <a:pt x="430" y="237"/>
                </a:lnTo>
                <a:lnTo>
                  <a:pt x="424" y="230"/>
                </a:lnTo>
                <a:lnTo>
                  <a:pt x="418" y="225"/>
                </a:lnTo>
                <a:lnTo>
                  <a:pt x="410" y="220"/>
                </a:lnTo>
                <a:lnTo>
                  <a:pt x="403" y="217"/>
                </a:lnTo>
                <a:lnTo>
                  <a:pt x="394" y="215"/>
                </a:lnTo>
                <a:lnTo>
                  <a:pt x="385" y="214"/>
                </a:lnTo>
                <a:lnTo>
                  <a:pt x="376" y="213"/>
                </a:lnTo>
                <a:lnTo>
                  <a:pt x="315" y="213"/>
                </a:lnTo>
                <a:lnTo>
                  <a:pt x="315" y="76"/>
                </a:lnTo>
                <a:lnTo>
                  <a:pt x="314" y="68"/>
                </a:lnTo>
                <a:lnTo>
                  <a:pt x="313" y="62"/>
                </a:lnTo>
                <a:lnTo>
                  <a:pt x="312" y="54"/>
                </a:lnTo>
                <a:lnTo>
                  <a:pt x="308" y="47"/>
                </a:lnTo>
                <a:lnTo>
                  <a:pt x="305" y="40"/>
                </a:lnTo>
                <a:lnTo>
                  <a:pt x="301" y="34"/>
                </a:lnTo>
                <a:lnTo>
                  <a:pt x="297" y="29"/>
                </a:lnTo>
                <a:lnTo>
                  <a:pt x="292" y="23"/>
                </a:lnTo>
                <a:lnTo>
                  <a:pt x="286" y="18"/>
                </a:lnTo>
                <a:lnTo>
                  <a:pt x="281" y="14"/>
                </a:lnTo>
                <a:lnTo>
                  <a:pt x="274" y="9"/>
                </a:lnTo>
                <a:lnTo>
                  <a:pt x="268" y="6"/>
                </a:lnTo>
                <a:lnTo>
                  <a:pt x="260" y="4"/>
                </a:lnTo>
                <a:lnTo>
                  <a:pt x="254" y="2"/>
                </a:lnTo>
                <a:lnTo>
                  <a:pt x="246" y="1"/>
                </a:lnTo>
                <a:lnTo>
                  <a:pt x="239" y="0"/>
                </a:lnTo>
                <a:lnTo>
                  <a:pt x="231" y="1"/>
                </a:lnTo>
                <a:lnTo>
                  <a:pt x="224" y="2"/>
                </a:lnTo>
                <a:lnTo>
                  <a:pt x="216" y="4"/>
                </a:lnTo>
                <a:lnTo>
                  <a:pt x="210" y="6"/>
                </a:lnTo>
                <a:lnTo>
                  <a:pt x="203" y="9"/>
                </a:lnTo>
                <a:lnTo>
                  <a:pt x="197" y="14"/>
                </a:lnTo>
                <a:lnTo>
                  <a:pt x="190" y="18"/>
                </a:lnTo>
                <a:lnTo>
                  <a:pt x="185" y="23"/>
                </a:lnTo>
                <a:lnTo>
                  <a:pt x="180" y="29"/>
                </a:lnTo>
                <a:lnTo>
                  <a:pt x="175" y="34"/>
                </a:lnTo>
                <a:lnTo>
                  <a:pt x="172" y="40"/>
                </a:lnTo>
                <a:lnTo>
                  <a:pt x="169" y="47"/>
                </a:lnTo>
                <a:lnTo>
                  <a:pt x="166" y="54"/>
                </a:lnTo>
                <a:lnTo>
                  <a:pt x="164" y="62"/>
                </a:lnTo>
                <a:lnTo>
                  <a:pt x="163" y="68"/>
                </a:lnTo>
                <a:lnTo>
                  <a:pt x="163" y="77"/>
                </a:lnTo>
                <a:lnTo>
                  <a:pt x="163" y="481"/>
                </a:lnTo>
                <a:lnTo>
                  <a:pt x="96" y="416"/>
                </a:lnTo>
                <a:lnTo>
                  <a:pt x="92" y="411"/>
                </a:lnTo>
                <a:lnTo>
                  <a:pt x="86" y="408"/>
                </a:lnTo>
                <a:lnTo>
                  <a:pt x="81" y="406"/>
                </a:lnTo>
                <a:lnTo>
                  <a:pt x="77" y="404"/>
                </a:lnTo>
                <a:lnTo>
                  <a:pt x="66" y="402"/>
                </a:lnTo>
                <a:lnTo>
                  <a:pt x="54" y="401"/>
                </a:lnTo>
                <a:lnTo>
                  <a:pt x="44" y="402"/>
                </a:lnTo>
                <a:lnTo>
                  <a:pt x="33" y="405"/>
                </a:lnTo>
                <a:lnTo>
                  <a:pt x="28" y="408"/>
                </a:lnTo>
                <a:lnTo>
                  <a:pt x="23" y="410"/>
                </a:lnTo>
                <a:lnTo>
                  <a:pt x="19" y="414"/>
                </a:lnTo>
                <a:lnTo>
                  <a:pt x="15" y="418"/>
                </a:lnTo>
                <a:lnTo>
                  <a:pt x="8" y="425"/>
                </a:lnTo>
                <a:lnTo>
                  <a:pt x="3" y="434"/>
                </a:lnTo>
                <a:lnTo>
                  <a:pt x="1" y="444"/>
                </a:lnTo>
                <a:lnTo>
                  <a:pt x="0" y="454"/>
                </a:lnTo>
                <a:lnTo>
                  <a:pt x="0" y="464"/>
                </a:lnTo>
                <a:lnTo>
                  <a:pt x="2" y="475"/>
                </a:lnTo>
                <a:lnTo>
                  <a:pt x="6" y="485"/>
                </a:lnTo>
                <a:lnTo>
                  <a:pt x="12" y="495"/>
                </a:lnTo>
                <a:lnTo>
                  <a:pt x="21" y="513"/>
                </a:lnTo>
                <a:lnTo>
                  <a:pt x="39" y="549"/>
                </a:lnTo>
                <a:lnTo>
                  <a:pt x="65" y="596"/>
                </a:lnTo>
                <a:lnTo>
                  <a:pt x="94" y="651"/>
                </a:lnTo>
                <a:lnTo>
                  <a:pt x="126" y="708"/>
                </a:lnTo>
                <a:lnTo>
                  <a:pt x="157" y="763"/>
                </a:lnTo>
                <a:lnTo>
                  <a:pt x="172" y="789"/>
                </a:lnTo>
                <a:lnTo>
                  <a:pt x="187" y="811"/>
                </a:lnTo>
                <a:lnTo>
                  <a:pt x="200" y="831"/>
                </a:lnTo>
                <a:lnTo>
                  <a:pt x="211" y="847"/>
                </a:lnTo>
                <a:lnTo>
                  <a:pt x="214" y="850"/>
                </a:lnTo>
                <a:lnTo>
                  <a:pt x="216" y="852"/>
                </a:lnTo>
                <a:lnTo>
                  <a:pt x="219" y="853"/>
                </a:lnTo>
                <a:lnTo>
                  <a:pt x="224" y="853"/>
                </a:lnTo>
                <a:lnTo>
                  <a:pt x="573" y="853"/>
                </a:lnTo>
                <a:lnTo>
                  <a:pt x="579" y="852"/>
                </a:lnTo>
                <a:lnTo>
                  <a:pt x="583" y="850"/>
                </a:lnTo>
                <a:lnTo>
                  <a:pt x="586" y="847"/>
                </a:lnTo>
                <a:lnTo>
                  <a:pt x="588" y="842"/>
                </a:lnTo>
                <a:lnTo>
                  <a:pt x="664" y="614"/>
                </a:lnTo>
                <a:lnTo>
                  <a:pt x="672" y="586"/>
                </a:lnTo>
                <a:lnTo>
                  <a:pt x="676" y="558"/>
                </a:lnTo>
                <a:lnTo>
                  <a:pt x="680" y="530"/>
                </a:lnTo>
                <a:lnTo>
                  <a:pt x="681" y="503"/>
                </a:lnTo>
                <a:lnTo>
                  <a:pt x="681" y="366"/>
                </a:lnTo>
                <a:lnTo>
                  <a:pt x="680" y="358"/>
                </a:lnTo>
                <a:lnTo>
                  <a:pt x="678" y="351"/>
                </a:lnTo>
                <a:lnTo>
                  <a:pt x="675" y="344"/>
                </a:lnTo>
                <a:lnTo>
                  <a:pt x="672" y="336"/>
                </a:lnTo>
                <a:lnTo>
                  <a:pt x="668" y="330"/>
                </a:lnTo>
                <a:lnTo>
                  <a:pt x="662" y="323"/>
                </a:lnTo>
                <a:lnTo>
                  <a:pt x="656" y="318"/>
                </a:lnTo>
                <a:lnTo>
                  <a:pt x="649" y="313"/>
                </a:lnTo>
                <a:lnTo>
                  <a:pt x="643" y="307"/>
                </a:lnTo>
                <a:lnTo>
                  <a:pt x="636" y="303"/>
                </a:lnTo>
                <a:lnTo>
                  <a:pt x="628" y="299"/>
                </a:lnTo>
                <a:lnTo>
                  <a:pt x="621" y="296"/>
                </a:lnTo>
                <a:lnTo>
                  <a:pt x="612" y="293"/>
                </a:lnTo>
                <a:lnTo>
                  <a:pt x="604" y="291"/>
                </a:lnTo>
                <a:lnTo>
                  <a:pt x="597" y="290"/>
                </a:lnTo>
                <a:lnTo>
                  <a:pt x="589" y="289"/>
                </a:lnTo>
                <a:lnTo>
                  <a:pt x="589" y="28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934" name="Freeform 7">
            <a:extLst>
              <a:ext uri="{FF2B5EF4-FFF2-40B4-BE49-F238E27FC236}">
                <a16:creationId xmlns:a16="http://schemas.microsoft.com/office/drawing/2014/main" id="{F59BC2B6-6EB8-4E3D-A721-33E9FBB01BB8}"/>
              </a:ext>
            </a:extLst>
          </p:cNvPr>
          <p:cNvSpPr>
            <a:spLocks noChangeAspect="1" noEditPoints="1"/>
          </p:cNvSpPr>
          <p:nvPr/>
        </p:nvSpPr>
        <p:spPr bwMode="auto">
          <a:xfrm>
            <a:off x="5390623" y="4879041"/>
            <a:ext cx="260766" cy="285619"/>
          </a:xfrm>
          <a:custGeom>
            <a:avLst/>
            <a:gdLst>
              <a:gd name="T0" fmla="*/ 1041 w 1044"/>
              <a:gd name="T1" fmla="*/ 1015 h 1143"/>
              <a:gd name="T2" fmla="*/ 1044 w 1044"/>
              <a:gd name="T3" fmla="*/ 1006 h 1143"/>
              <a:gd name="T4" fmla="*/ 1044 w 1044"/>
              <a:gd name="T5" fmla="*/ 577 h 1143"/>
              <a:gd name="T6" fmla="*/ 1044 w 1044"/>
              <a:gd name="T7" fmla="*/ 154 h 1143"/>
              <a:gd name="T8" fmla="*/ 956 w 1044"/>
              <a:gd name="T9" fmla="*/ 120 h 1143"/>
              <a:gd name="T10" fmla="*/ 716 w 1044"/>
              <a:gd name="T11" fmla="*/ 131 h 1143"/>
              <a:gd name="T12" fmla="*/ 322 w 1044"/>
              <a:gd name="T13" fmla="*/ 0 h 1143"/>
              <a:gd name="T14" fmla="*/ 137 w 1044"/>
              <a:gd name="T15" fmla="*/ 131 h 1143"/>
              <a:gd name="T16" fmla="*/ 130 w 1044"/>
              <a:gd name="T17" fmla="*/ 131 h 1143"/>
              <a:gd name="T18" fmla="*/ 124 w 1044"/>
              <a:gd name="T19" fmla="*/ 134 h 1143"/>
              <a:gd name="T20" fmla="*/ 7 w 1044"/>
              <a:gd name="T21" fmla="*/ 250 h 1143"/>
              <a:gd name="T22" fmla="*/ 24 w 1044"/>
              <a:gd name="T23" fmla="*/ 1143 h 1143"/>
              <a:gd name="T24" fmla="*/ 1036 w 1044"/>
              <a:gd name="T25" fmla="*/ 1023 h 1143"/>
              <a:gd name="T26" fmla="*/ 996 w 1044"/>
              <a:gd name="T27" fmla="*/ 983 h 1143"/>
              <a:gd name="T28" fmla="*/ 996 w 1044"/>
              <a:gd name="T29" fmla="*/ 803 h 1143"/>
              <a:gd name="T30" fmla="*/ 592 w 1044"/>
              <a:gd name="T31" fmla="*/ 803 h 1143"/>
              <a:gd name="T32" fmla="*/ 592 w 1044"/>
              <a:gd name="T33" fmla="*/ 983 h 1143"/>
              <a:gd name="T34" fmla="*/ 340 w 1044"/>
              <a:gd name="T35" fmla="*/ 983 h 1143"/>
              <a:gd name="T36" fmla="*/ 160 w 1044"/>
              <a:gd name="T37" fmla="*/ 575 h 1143"/>
              <a:gd name="T38" fmla="*/ 160 w 1044"/>
              <a:gd name="T39" fmla="*/ 755 h 1143"/>
              <a:gd name="T40" fmla="*/ 340 w 1044"/>
              <a:gd name="T41" fmla="*/ 343 h 1143"/>
              <a:gd name="T42" fmla="*/ 160 w 1044"/>
              <a:gd name="T43" fmla="*/ 343 h 1143"/>
              <a:gd name="T44" fmla="*/ 592 w 1044"/>
              <a:gd name="T45" fmla="*/ 343 h 1143"/>
              <a:gd name="T46" fmla="*/ 768 w 1044"/>
              <a:gd name="T47" fmla="*/ 755 h 1143"/>
              <a:gd name="T48" fmla="*/ 768 w 1044"/>
              <a:gd name="T49" fmla="*/ 575 h 1143"/>
              <a:gd name="T50" fmla="*/ 544 w 1044"/>
              <a:gd name="T51" fmla="*/ 575 h 1143"/>
              <a:gd name="T52" fmla="*/ 388 w 1044"/>
              <a:gd name="T53" fmla="*/ 575 h 1143"/>
              <a:gd name="T54" fmla="*/ 388 w 1044"/>
              <a:gd name="T55" fmla="*/ 343 h 1143"/>
              <a:gd name="T56" fmla="*/ 388 w 1044"/>
              <a:gd name="T57" fmla="*/ 803 h 1143"/>
              <a:gd name="T58" fmla="*/ 388 w 1044"/>
              <a:gd name="T59" fmla="*/ 983 h 1143"/>
              <a:gd name="T60" fmla="*/ 816 w 1044"/>
              <a:gd name="T61" fmla="*/ 755 h 1143"/>
              <a:gd name="T62" fmla="*/ 996 w 1044"/>
              <a:gd name="T63" fmla="*/ 755 h 1143"/>
              <a:gd name="T64" fmla="*/ 996 w 1044"/>
              <a:gd name="T65" fmla="*/ 343 h 1143"/>
              <a:gd name="T66" fmla="*/ 763 w 1044"/>
              <a:gd name="T67" fmla="*/ 120 h 1143"/>
              <a:gd name="T68" fmla="*/ 907 w 1044"/>
              <a:gd name="T69" fmla="*/ 131 h 1143"/>
              <a:gd name="T70" fmla="*/ 879 w 1044"/>
              <a:gd name="T71" fmla="*/ 179 h 1143"/>
              <a:gd name="T72" fmla="*/ 836 w 1044"/>
              <a:gd name="T73" fmla="*/ 241 h 1143"/>
              <a:gd name="T74" fmla="*/ 996 w 1044"/>
              <a:gd name="T75" fmla="*/ 295 h 1143"/>
              <a:gd name="T76" fmla="*/ 590 w 1044"/>
              <a:gd name="T77" fmla="*/ 295 h 1143"/>
              <a:gd name="T78" fmla="*/ 340 w 1044"/>
              <a:gd name="T79" fmla="*/ 295 h 1143"/>
              <a:gd name="T80" fmla="*/ 365 w 1044"/>
              <a:gd name="T81" fmla="*/ 179 h 1143"/>
              <a:gd name="T82" fmla="*/ 322 w 1044"/>
              <a:gd name="T83" fmla="*/ 241 h 1143"/>
              <a:gd name="T84" fmla="*/ 249 w 1044"/>
              <a:gd name="T85" fmla="*/ 120 h 1143"/>
              <a:gd name="T86" fmla="*/ 394 w 1044"/>
              <a:gd name="T87" fmla="*/ 131 h 1143"/>
              <a:gd name="T88" fmla="*/ 896 w 1044"/>
              <a:gd name="T89" fmla="*/ 1095 h 1143"/>
              <a:gd name="T90" fmla="*/ 112 w 1044"/>
              <a:gd name="T91" fmla="*/ 211 h 1143"/>
              <a:gd name="T92" fmla="*/ 112 w 1044"/>
              <a:gd name="T93" fmla="*/ 577 h 1143"/>
              <a:gd name="T94" fmla="*/ 112 w 1044"/>
              <a:gd name="T95" fmla="*/ 1006 h 1143"/>
              <a:gd name="T96" fmla="*/ 340 w 1044"/>
              <a:gd name="T97" fmla="*/ 1031 h 1143"/>
              <a:gd name="T98" fmla="*/ 590 w 1044"/>
              <a:gd name="T99" fmla="*/ 1031 h 1143"/>
              <a:gd name="T100" fmla="*/ 962 w 1044"/>
              <a:gd name="T101" fmla="*/ 1031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1143">
                <a:moveTo>
                  <a:pt x="1039" y="1019"/>
                </a:moveTo>
                <a:cubicBezTo>
                  <a:pt x="1040" y="1019"/>
                  <a:pt x="1040" y="1018"/>
                  <a:pt x="1040" y="1017"/>
                </a:cubicBezTo>
                <a:cubicBezTo>
                  <a:pt x="1041" y="1017"/>
                  <a:pt x="1041" y="1016"/>
                  <a:pt x="1041" y="1015"/>
                </a:cubicBezTo>
                <a:cubicBezTo>
                  <a:pt x="1042" y="1014"/>
                  <a:pt x="1042" y="1014"/>
                  <a:pt x="1042" y="1013"/>
                </a:cubicBezTo>
                <a:cubicBezTo>
                  <a:pt x="1042" y="1012"/>
                  <a:pt x="1043" y="1011"/>
                  <a:pt x="1043" y="1011"/>
                </a:cubicBezTo>
                <a:cubicBezTo>
                  <a:pt x="1043" y="1009"/>
                  <a:pt x="1044" y="1008"/>
                  <a:pt x="1044" y="1006"/>
                </a:cubicBezTo>
                <a:cubicBezTo>
                  <a:pt x="1044" y="803"/>
                  <a:pt x="1044" y="803"/>
                  <a:pt x="1044" y="803"/>
                </a:cubicBezTo>
                <a:cubicBezTo>
                  <a:pt x="1044" y="780"/>
                  <a:pt x="1044" y="780"/>
                  <a:pt x="1044" y="780"/>
                </a:cubicBezTo>
                <a:cubicBezTo>
                  <a:pt x="1044" y="577"/>
                  <a:pt x="1044" y="577"/>
                  <a:pt x="1044" y="577"/>
                </a:cubicBezTo>
                <a:cubicBezTo>
                  <a:pt x="1044" y="529"/>
                  <a:pt x="1044" y="529"/>
                  <a:pt x="1044" y="529"/>
                </a:cubicBezTo>
                <a:cubicBezTo>
                  <a:pt x="1044" y="297"/>
                  <a:pt x="1044" y="297"/>
                  <a:pt x="1044" y="297"/>
                </a:cubicBezTo>
                <a:cubicBezTo>
                  <a:pt x="1044" y="154"/>
                  <a:pt x="1044" y="154"/>
                  <a:pt x="1044" y="154"/>
                </a:cubicBezTo>
                <a:cubicBezTo>
                  <a:pt x="1044" y="140"/>
                  <a:pt x="1033" y="131"/>
                  <a:pt x="1019" y="131"/>
                </a:cubicBezTo>
                <a:cubicBezTo>
                  <a:pt x="955" y="131"/>
                  <a:pt x="955" y="131"/>
                  <a:pt x="955" y="131"/>
                </a:cubicBezTo>
                <a:cubicBezTo>
                  <a:pt x="956" y="127"/>
                  <a:pt x="956" y="124"/>
                  <a:pt x="956" y="120"/>
                </a:cubicBezTo>
                <a:cubicBezTo>
                  <a:pt x="956" y="54"/>
                  <a:pt x="902" y="0"/>
                  <a:pt x="836" y="0"/>
                </a:cubicBezTo>
                <a:cubicBezTo>
                  <a:pt x="769" y="0"/>
                  <a:pt x="716" y="54"/>
                  <a:pt x="716" y="120"/>
                </a:cubicBezTo>
                <a:cubicBezTo>
                  <a:pt x="716" y="124"/>
                  <a:pt x="716" y="127"/>
                  <a:pt x="716" y="131"/>
                </a:cubicBezTo>
                <a:cubicBezTo>
                  <a:pt x="442" y="131"/>
                  <a:pt x="442" y="131"/>
                  <a:pt x="442" y="131"/>
                </a:cubicBezTo>
                <a:cubicBezTo>
                  <a:pt x="442" y="127"/>
                  <a:pt x="442" y="124"/>
                  <a:pt x="442" y="120"/>
                </a:cubicBezTo>
                <a:cubicBezTo>
                  <a:pt x="442" y="54"/>
                  <a:pt x="388" y="0"/>
                  <a:pt x="322" y="0"/>
                </a:cubicBezTo>
                <a:cubicBezTo>
                  <a:pt x="256" y="0"/>
                  <a:pt x="202" y="54"/>
                  <a:pt x="202" y="120"/>
                </a:cubicBezTo>
                <a:cubicBezTo>
                  <a:pt x="202" y="124"/>
                  <a:pt x="202" y="127"/>
                  <a:pt x="202" y="131"/>
                </a:cubicBezTo>
                <a:cubicBezTo>
                  <a:pt x="137" y="131"/>
                  <a:pt x="137" y="131"/>
                  <a:pt x="137" y="131"/>
                </a:cubicBezTo>
                <a:cubicBezTo>
                  <a:pt x="137" y="131"/>
                  <a:pt x="137" y="130"/>
                  <a:pt x="137" y="130"/>
                </a:cubicBezTo>
                <a:cubicBezTo>
                  <a:pt x="135" y="130"/>
                  <a:pt x="134" y="130"/>
                  <a:pt x="132" y="131"/>
                </a:cubicBezTo>
                <a:cubicBezTo>
                  <a:pt x="132" y="131"/>
                  <a:pt x="131" y="131"/>
                  <a:pt x="130" y="131"/>
                </a:cubicBezTo>
                <a:cubicBezTo>
                  <a:pt x="130" y="131"/>
                  <a:pt x="129" y="131"/>
                  <a:pt x="128" y="132"/>
                </a:cubicBezTo>
                <a:cubicBezTo>
                  <a:pt x="127" y="132"/>
                  <a:pt x="126" y="132"/>
                  <a:pt x="126" y="133"/>
                </a:cubicBezTo>
                <a:cubicBezTo>
                  <a:pt x="125" y="133"/>
                  <a:pt x="124" y="133"/>
                  <a:pt x="124" y="134"/>
                </a:cubicBezTo>
                <a:cubicBezTo>
                  <a:pt x="123" y="135"/>
                  <a:pt x="122" y="136"/>
                  <a:pt x="121" y="137"/>
                </a:cubicBezTo>
                <a:cubicBezTo>
                  <a:pt x="120" y="137"/>
                  <a:pt x="120" y="137"/>
                  <a:pt x="120" y="137"/>
                </a:cubicBezTo>
                <a:cubicBezTo>
                  <a:pt x="7" y="250"/>
                  <a:pt x="7" y="250"/>
                  <a:pt x="7" y="250"/>
                </a:cubicBezTo>
                <a:cubicBezTo>
                  <a:pt x="3" y="255"/>
                  <a:pt x="0" y="261"/>
                  <a:pt x="0" y="267"/>
                </a:cubicBezTo>
                <a:cubicBezTo>
                  <a:pt x="0" y="1119"/>
                  <a:pt x="0" y="1119"/>
                  <a:pt x="0" y="1119"/>
                </a:cubicBezTo>
                <a:cubicBezTo>
                  <a:pt x="0" y="1133"/>
                  <a:pt x="11" y="1143"/>
                  <a:pt x="24" y="1143"/>
                </a:cubicBezTo>
                <a:cubicBezTo>
                  <a:pt x="906" y="1143"/>
                  <a:pt x="906" y="1143"/>
                  <a:pt x="906" y="1143"/>
                </a:cubicBezTo>
                <a:cubicBezTo>
                  <a:pt x="912" y="1143"/>
                  <a:pt x="919" y="1141"/>
                  <a:pt x="923" y="1136"/>
                </a:cubicBezTo>
                <a:cubicBezTo>
                  <a:pt x="1036" y="1023"/>
                  <a:pt x="1036" y="1023"/>
                  <a:pt x="1036" y="1023"/>
                </a:cubicBezTo>
                <a:cubicBezTo>
                  <a:pt x="1036" y="1023"/>
                  <a:pt x="1036" y="1023"/>
                  <a:pt x="1036" y="1023"/>
                </a:cubicBezTo>
                <a:cubicBezTo>
                  <a:pt x="1037" y="1022"/>
                  <a:pt x="1038" y="1021"/>
                  <a:pt x="1039" y="1019"/>
                </a:cubicBezTo>
                <a:close/>
                <a:moveTo>
                  <a:pt x="996" y="983"/>
                </a:moveTo>
                <a:cubicBezTo>
                  <a:pt x="816" y="983"/>
                  <a:pt x="816" y="983"/>
                  <a:pt x="816" y="983"/>
                </a:cubicBezTo>
                <a:cubicBezTo>
                  <a:pt x="816" y="803"/>
                  <a:pt x="816" y="803"/>
                  <a:pt x="816" y="803"/>
                </a:cubicBezTo>
                <a:cubicBezTo>
                  <a:pt x="996" y="803"/>
                  <a:pt x="996" y="803"/>
                  <a:pt x="996" y="803"/>
                </a:cubicBezTo>
                <a:lnTo>
                  <a:pt x="996" y="983"/>
                </a:lnTo>
                <a:close/>
                <a:moveTo>
                  <a:pt x="592" y="983"/>
                </a:moveTo>
                <a:cubicBezTo>
                  <a:pt x="592" y="803"/>
                  <a:pt x="592" y="803"/>
                  <a:pt x="592" y="803"/>
                </a:cubicBezTo>
                <a:cubicBezTo>
                  <a:pt x="768" y="803"/>
                  <a:pt x="768" y="803"/>
                  <a:pt x="768" y="803"/>
                </a:cubicBezTo>
                <a:cubicBezTo>
                  <a:pt x="768" y="983"/>
                  <a:pt x="768" y="983"/>
                  <a:pt x="768" y="983"/>
                </a:cubicBezTo>
                <a:lnTo>
                  <a:pt x="592" y="983"/>
                </a:lnTo>
                <a:close/>
                <a:moveTo>
                  <a:pt x="160" y="803"/>
                </a:moveTo>
                <a:cubicBezTo>
                  <a:pt x="340" y="803"/>
                  <a:pt x="340" y="803"/>
                  <a:pt x="340" y="803"/>
                </a:cubicBezTo>
                <a:cubicBezTo>
                  <a:pt x="340" y="983"/>
                  <a:pt x="340" y="983"/>
                  <a:pt x="340" y="983"/>
                </a:cubicBezTo>
                <a:cubicBezTo>
                  <a:pt x="160" y="983"/>
                  <a:pt x="160" y="983"/>
                  <a:pt x="160" y="983"/>
                </a:cubicBezTo>
                <a:lnTo>
                  <a:pt x="160" y="803"/>
                </a:lnTo>
                <a:close/>
                <a:moveTo>
                  <a:pt x="160" y="575"/>
                </a:moveTo>
                <a:cubicBezTo>
                  <a:pt x="340" y="575"/>
                  <a:pt x="340" y="575"/>
                  <a:pt x="340" y="575"/>
                </a:cubicBezTo>
                <a:cubicBezTo>
                  <a:pt x="340" y="755"/>
                  <a:pt x="340" y="755"/>
                  <a:pt x="340" y="755"/>
                </a:cubicBezTo>
                <a:cubicBezTo>
                  <a:pt x="160" y="755"/>
                  <a:pt x="160" y="755"/>
                  <a:pt x="160" y="755"/>
                </a:cubicBezTo>
                <a:lnTo>
                  <a:pt x="160" y="575"/>
                </a:lnTo>
                <a:close/>
                <a:moveTo>
                  <a:pt x="160" y="343"/>
                </a:moveTo>
                <a:cubicBezTo>
                  <a:pt x="340" y="343"/>
                  <a:pt x="340" y="343"/>
                  <a:pt x="340" y="343"/>
                </a:cubicBezTo>
                <a:cubicBezTo>
                  <a:pt x="340" y="531"/>
                  <a:pt x="340" y="531"/>
                  <a:pt x="340" y="531"/>
                </a:cubicBezTo>
                <a:cubicBezTo>
                  <a:pt x="160" y="531"/>
                  <a:pt x="160" y="531"/>
                  <a:pt x="160" y="531"/>
                </a:cubicBezTo>
                <a:lnTo>
                  <a:pt x="160" y="343"/>
                </a:lnTo>
                <a:close/>
                <a:moveTo>
                  <a:pt x="768" y="531"/>
                </a:moveTo>
                <a:cubicBezTo>
                  <a:pt x="592" y="531"/>
                  <a:pt x="592" y="531"/>
                  <a:pt x="592" y="531"/>
                </a:cubicBezTo>
                <a:cubicBezTo>
                  <a:pt x="592" y="343"/>
                  <a:pt x="592" y="343"/>
                  <a:pt x="592" y="343"/>
                </a:cubicBezTo>
                <a:cubicBezTo>
                  <a:pt x="768" y="343"/>
                  <a:pt x="768" y="343"/>
                  <a:pt x="768" y="343"/>
                </a:cubicBezTo>
                <a:lnTo>
                  <a:pt x="768" y="531"/>
                </a:lnTo>
                <a:close/>
                <a:moveTo>
                  <a:pt x="768" y="755"/>
                </a:moveTo>
                <a:cubicBezTo>
                  <a:pt x="592" y="755"/>
                  <a:pt x="592" y="755"/>
                  <a:pt x="592" y="755"/>
                </a:cubicBezTo>
                <a:cubicBezTo>
                  <a:pt x="592" y="575"/>
                  <a:pt x="592" y="575"/>
                  <a:pt x="592" y="575"/>
                </a:cubicBezTo>
                <a:cubicBezTo>
                  <a:pt x="768" y="575"/>
                  <a:pt x="768" y="575"/>
                  <a:pt x="768" y="575"/>
                </a:cubicBezTo>
                <a:lnTo>
                  <a:pt x="768" y="755"/>
                </a:lnTo>
                <a:close/>
                <a:moveTo>
                  <a:pt x="388" y="575"/>
                </a:moveTo>
                <a:cubicBezTo>
                  <a:pt x="544" y="575"/>
                  <a:pt x="544" y="575"/>
                  <a:pt x="544" y="575"/>
                </a:cubicBezTo>
                <a:cubicBezTo>
                  <a:pt x="544" y="755"/>
                  <a:pt x="544" y="755"/>
                  <a:pt x="544" y="755"/>
                </a:cubicBezTo>
                <a:cubicBezTo>
                  <a:pt x="388" y="755"/>
                  <a:pt x="388" y="755"/>
                  <a:pt x="388" y="755"/>
                </a:cubicBezTo>
                <a:lnTo>
                  <a:pt x="388" y="575"/>
                </a:lnTo>
                <a:close/>
                <a:moveTo>
                  <a:pt x="544" y="531"/>
                </a:moveTo>
                <a:cubicBezTo>
                  <a:pt x="388" y="531"/>
                  <a:pt x="388" y="531"/>
                  <a:pt x="388" y="531"/>
                </a:cubicBezTo>
                <a:cubicBezTo>
                  <a:pt x="388" y="343"/>
                  <a:pt x="388" y="343"/>
                  <a:pt x="388" y="343"/>
                </a:cubicBezTo>
                <a:cubicBezTo>
                  <a:pt x="544" y="343"/>
                  <a:pt x="544" y="343"/>
                  <a:pt x="544" y="343"/>
                </a:cubicBezTo>
                <a:lnTo>
                  <a:pt x="544" y="531"/>
                </a:lnTo>
                <a:close/>
                <a:moveTo>
                  <a:pt x="388" y="803"/>
                </a:moveTo>
                <a:cubicBezTo>
                  <a:pt x="544" y="803"/>
                  <a:pt x="544" y="803"/>
                  <a:pt x="544" y="803"/>
                </a:cubicBezTo>
                <a:cubicBezTo>
                  <a:pt x="544" y="983"/>
                  <a:pt x="544" y="983"/>
                  <a:pt x="544" y="983"/>
                </a:cubicBezTo>
                <a:cubicBezTo>
                  <a:pt x="388" y="983"/>
                  <a:pt x="388" y="983"/>
                  <a:pt x="388" y="983"/>
                </a:cubicBezTo>
                <a:lnTo>
                  <a:pt x="388" y="803"/>
                </a:lnTo>
                <a:close/>
                <a:moveTo>
                  <a:pt x="996" y="755"/>
                </a:moveTo>
                <a:cubicBezTo>
                  <a:pt x="816" y="755"/>
                  <a:pt x="816" y="755"/>
                  <a:pt x="816" y="755"/>
                </a:cubicBezTo>
                <a:cubicBezTo>
                  <a:pt x="816" y="575"/>
                  <a:pt x="816" y="575"/>
                  <a:pt x="816" y="575"/>
                </a:cubicBezTo>
                <a:cubicBezTo>
                  <a:pt x="996" y="575"/>
                  <a:pt x="996" y="575"/>
                  <a:pt x="996" y="575"/>
                </a:cubicBezTo>
                <a:lnTo>
                  <a:pt x="996" y="755"/>
                </a:lnTo>
                <a:close/>
                <a:moveTo>
                  <a:pt x="816" y="531"/>
                </a:moveTo>
                <a:cubicBezTo>
                  <a:pt x="816" y="343"/>
                  <a:pt x="816" y="343"/>
                  <a:pt x="816" y="343"/>
                </a:cubicBezTo>
                <a:cubicBezTo>
                  <a:pt x="996" y="343"/>
                  <a:pt x="996" y="343"/>
                  <a:pt x="996" y="343"/>
                </a:cubicBezTo>
                <a:cubicBezTo>
                  <a:pt x="996" y="531"/>
                  <a:pt x="996" y="531"/>
                  <a:pt x="996" y="531"/>
                </a:cubicBezTo>
                <a:lnTo>
                  <a:pt x="816" y="531"/>
                </a:lnTo>
                <a:close/>
                <a:moveTo>
                  <a:pt x="763" y="120"/>
                </a:moveTo>
                <a:cubicBezTo>
                  <a:pt x="763" y="80"/>
                  <a:pt x="796" y="47"/>
                  <a:pt x="836" y="47"/>
                </a:cubicBezTo>
                <a:cubicBezTo>
                  <a:pt x="876" y="47"/>
                  <a:pt x="908" y="80"/>
                  <a:pt x="908" y="120"/>
                </a:cubicBezTo>
                <a:cubicBezTo>
                  <a:pt x="908" y="124"/>
                  <a:pt x="908" y="127"/>
                  <a:pt x="907" y="131"/>
                </a:cubicBezTo>
                <a:cubicBezTo>
                  <a:pt x="764" y="131"/>
                  <a:pt x="764" y="131"/>
                  <a:pt x="764" y="131"/>
                </a:cubicBezTo>
                <a:cubicBezTo>
                  <a:pt x="764" y="127"/>
                  <a:pt x="763" y="124"/>
                  <a:pt x="763" y="120"/>
                </a:cubicBezTo>
                <a:close/>
                <a:moveTo>
                  <a:pt x="879" y="179"/>
                </a:moveTo>
                <a:cubicBezTo>
                  <a:pt x="867" y="187"/>
                  <a:pt x="852" y="193"/>
                  <a:pt x="836" y="193"/>
                </a:cubicBezTo>
                <a:cubicBezTo>
                  <a:pt x="823" y="193"/>
                  <a:pt x="812" y="203"/>
                  <a:pt x="812" y="216"/>
                </a:cubicBezTo>
                <a:cubicBezTo>
                  <a:pt x="812" y="229"/>
                  <a:pt x="823" y="241"/>
                  <a:pt x="836" y="241"/>
                </a:cubicBezTo>
                <a:cubicBezTo>
                  <a:pt x="881" y="241"/>
                  <a:pt x="921" y="215"/>
                  <a:pt x="941" y="179"/>
                </a:cubicBezTo>
                <a:cubicBezTo>
                  <a:pt x="996" y="179"/>
                  <a:pt x="996" y="179"/>
                  <a:pt x="996" y="179"/>
                </a:cubicBezTo>
                <a:cubicBezTo>
                  <a:pt x="996" y="295"/>
                  <a:pt x="996" y="295"/>
                  <a:pt x="996" y="295"/>
                </a:cubicBezTo>
                <a:cubicBezTo>
                  <a:pt x="817" y="295"/>
                  <a:pt x="817" y="295"/>
                  <a:pt x="817" y="295"/>
                </a:cubicBezTo>
                <a:cubicBezTo>
                  <a:pt x="769" y="295"/>
                  <a:pt x="769" y="295"/>
                  <a:pt x="769" y="295"/>
                </a:cubicBezTo>
                <a:cubicBezTo>
                  <a:pt x="590" y="295"/>
                  <a:pt x="590" y="295"/>
                  <a:pt x="590" y="295"/>
                </a:cubicBezTo>
                <a:cubicBezTo>
                  <a:pt x="542" y="295"/>
                  <a:pt x="542" y="295"/>
                  <a:pt x="542" y="295"/>
                </a:cubicBezTo>
                <a:cubicBezTo>
                  <a:pt x="387" y="295"/>
                  <a:pt x="387" y="295"/>
                  <a:pt x="387" y="295"/>
                </a:cubicBezTo>
                <a:cubicBezTo>
                  <a:pt x="340" y="295"/>
                  <a:pt x="340" y="295"/>
                  <a:pt x="340" y="295"/>
                </a:cubicBezTo>
                <a:cubicBezTo>
                  <a:pt x="160" y="295"/>
                  <a:pt x="160" y="295"/>
                  <a:pt x="160" y="295"/>
                </a:cubicBezTo>
                <a:cubicBezTo>
                  <a:pt x="160" y="179"/>
                  <a:pt x="160" y="179"/>
                  <a:pt x="160" y="179"/>
                </a:cubicBezTo>
                <a:cubicBezTo>
                  <a:pt x="365" y="179"/>
                  <a:pt x="365" y="179"/>
                  <a:pt x="365" y="179"/>
                </a:cubicBezTo>
                <a:cubicBezTo>
                  <a:pt x="353" y="187"/>
                  <a:pt x="338" y="193"/>
                  <a:pt x="322" y="193"/>
                </a:cubicBezTo>
                <a:cubicBezTo>
                  <a:pt x="309" y="193"/>
                  <a:pt x="298" y="203"/>
                  <a:pt x="298" y="216"/>
                </a:cubicBezTo>
                <a:cubicBezTo>
                  <a:pt x="298" y="229"/>
                  <a:pt x="309" y="241"/>
                  <a:pt x="322" y="241"/>
                </a:cubicBezTo>
                <a:cubicBezTo>
                  <a:pt x="367" y="241"/>
                  <a:pt x="407" y="215"/>
                  <a:pt x="427" y="179"/>
                </a:cubicBezTo>
                <a:lnTo>
                  <a:pt x="879" y="179"/>
                </a:lnTo>
                <a:close/>
                <a:moveTo>
                  <a:pt x="249" y="120"/>
                </a:moveTo>
                <a:cubicBezTo>
                  <a:pt x="249" y="80"/>
                  <a:pt x="282" y="47"/>
                  <a:pt x="322" y="47"/>
                </a:cubicBezTo>
                <a:cubicBezTo>
                  <a:pt x="362" y="47"/>
                  <a:pt x="394" y="80"/>
                  <a:pt x="394" y="120"/>
                </a:cubicBezTo>
                <a:cubicBezTo>
                  <a:pt x="394" y="124"/>
                  <a:pt x="394" y="127"/>
                  <a:pt x="394" y="131"/>
                </a:cubicBezTo>
                <a:cubicBezTo>
                  <a:pt x="250" y="131"/>
                  <a:pt x="250" y="131"/>
                  <a:pt x="250" y="131"/>
                </a:cubicBezTo>
                <a:cubicBezTo>
                  <a:pt x="250" y="127"/>
                  <a:pt x="249" y="124"/>
                  <a:pt x="249" y="120"/>
                </a:cubicBezTo>
                <a:close/>
                <a:moveTo>
                  <a:pt x="896" y="1095"/>
                </a:moveTo>
                <a:cubicBezTo>
                  <a:pt x="48" y="1095"/>
                  <a:pt x="48" y="1095"/>
                  <a:pt x="48" y="1095"/>
                </a:cubicBezTo>
                <a:cubicBezTo>
                  <a:pt x="48" y="277"/>
                  <a:pt x="48" y="277"/>
                  <a:pt x="48" y="277"/>
                </a:cubicBezTo>
                <a:cubicBezTo>
                  <a:pt x="112" y="211"/>
                  <a:pt x="112" y="211"/>
                  <a:pt x="112" y="211"/>
                </a:cubicBezTo>
                <a:cubicBezTo>
                  <a:pt x="112" y="297"/>
                  <a:pt x="112" y="297"/>
                  <a:pt x="112" y="297"/>
                </a:cubicBezTo>
                <a:cubicBezTo>
                  <a:pt x="112" y="529"/>
                  <a:pt x="112" y="529"/>
                  <a:pt x="112" y="529"/>
                </a:cubicBezTo>
                <a:cubicBezTo>
                  <a:pt x="112" y="577"/>
                  <a:pt x="112" y="577"/>
                  <a:pt x="112" y="577"/>
                </a:cubicBezTo>
                <a:cubicBezTo>
                  <a:pt x="112" y="756"/>
                  <a:pt x="112" y="756"/>
                  <a:pt x="112" y="756"/>
                </a:cubicBezTo>
                <a:cubicBezTo>
                  <a:pt x="112" y="803"/>
                  <a:pt x="112" y="803"/>
                  <a:pt x="112" y="803"/>
                </a:cubicBezTo>
                <a:cubicBezTo>
                  <a:pt x="112" y="1006"/>
                  <a:pt x="112" y="1006"/>
                  <a:pt x="112" y="1006"/>
                </a:cubicBezTo>
                <a:cubicBezTo>
                  <a:pt x="112" y="1031"/>
                  <a:pt x="112" y="1031"/>
                  <a:pt x="112" y="1031"/>
                </a:cubicBezTo>
                <a:cubicBezTo>
                  <a:pt x="137" y="1031"/>
                  <a:pt x="137" y="1031"/>
                  <a:pt x="137" y="1031"/>
                </a:cubicBezTo>
                <a:cubicBezTo>
                  <a:pt x="340" y="1031"/>
                  <a:pt x="340" y="1031"/>
                  <a:pt x="340" y="1031"/>
                </a:cubicBezTo>
                <a:cubicBezTo>
                  <a:pt x="387" y="1031"/>
                  <a:pt x="387" y="1031"/>
                  <a:pt x="387" y="1031"/>
                </a:cubicBezTo>
                <a:cubicBezTo>
                  <a:pt x="542" y="1031"/>
                  <a:pt x="542" y="1031"/>
                  <a:pt x="542" y="1031"/>
                </a:cubicBezTo>
                <a:cubicBezTo>
                  <a:pt x="590" y="1031"/>
                  <a:pt x="590" y="1031"/>
                  <a:pt x="590" y="1031"/>
                </a:cubicBezTo>
                <a:cubicBezTo>
                  <a:pt x="793" y="1031"/>
                  <a:pt x="793" y="1031"/>
                  <a:pt x="793" y="1031"/>
                </a:cubicBezTo>
                <a:cubicBezTo>
                  <a:pt x="817" y="1031"/>
                  <a:pt x="817" y="1031"/>
                  <a:pt x="817" y="1031"/>
                </a:cubicBezTo>
                <a:cubicBezTo>
                  <a:pt x="962" y="1031"/>
                  <a:pt x="962" y="1031"/>
                  <a:pt x="962" y="1031"/>
                </a:cubicBezTo>
                <a:lnTo>
                  <a:pt x="896" y="109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992" name="Group 12">
            <a:extLst>
              <a:ext uri="{FF2B5EF4-FFF2-40B4-BE49-F238E27FC236}">
                <a16:creationId xmlns:a16="http://schemas.microsoft.com/office/drawing/2014/main" id="{917DDEBC-94BF-4022-A278-B43134945E9B}"/>
              </a:ext>
            </a:extLst>
          </p:cNvPr>
          <p:cNvGrpSpPr>
            <a:grpSpLocks noChangeAspect="1"/>
          </p:cNvGrpSpPr>
          <p:nvPr/>
        </p:nvGrpSpPr>
        <p:grpSpPr>
          <a:xfrm>
            <a:off x="5331429" y="3832895"/>
            <a:ext cx="297046" cy="223767"/>
            <a:chOff x="7718425" y="5818188"/>
            <a:chExt cx="360363" cy="271463"/>
          </a:xfrm>
          <a:solidFill>
            <a:schemeClr val="bg1"/>
          </a:solidFill>
          <a:effectLst/>
        </p:grpSpPr>
        <p:sp>
          <p:nvSpPr>
            <p:cNvPr id="993" name="Freeform 1148">
              <a:extLst>
                <a:ext uri="{FF2B5EF4-FFF2-40B4-BE49-F238E27FC236}">
                  <a16:creationId xmlns:a16="http://schemas.microsoft.com/office/drawing/2014/main" id="{F3F654E4-F85A-4552-A4F0-0113405795E6}"/>
                </a:ext>
              </a:extLst>
            </p:cNvPr>
            <p:cNvSpPr>
              <a:spLocks noEditPoints="1"/>
            </p:cNvSpPr>
            <p:nvPr/>
          </p:nvSpPr>
          <p:spPr bwMode="auto">
            <a:xfrm>
              <a:off x="7718425" y="5818188"/>
              <a:ext cx="360363" cy="271463"/>
            </a:xfrm>
            <a:custGeom>
              <a:avLst/>
              <a:gdLst>
                <a:gd name="T0" fmla="*/ 94 w 96"/>
                <a:gd name="T1" fmla="*/ 72 h 72"/>
                <a:gd name="T2" fmla="*/ 2 w 96"/>
                <a:gd name="T3" fmla="*/ 72 h 72"/>
                <a:gd name="T4" fmla="*/ 0 w 96"/>
                <a:gd name="T5" fmla="*/ 70 h 72"/>
                <a:gd name="T6" fmla="*/ 0 w 96"/>
                <a:gd name="T7" fmla="*/ 2 h 72"/>
                <a:gd name="T8" fmla="*/ 2 w 96"/>
                <a:gd name="T9" fmla="*/ 0 h 72"/>
                <a:gd name="T10" fmla="*/ 94 w 96"/>
                <a:gd name="T11" fmla="*/ 0 h 72"/>
                <a:gd name="T12" fmla="*/ 96 w 96"/>
                <a:gd name="T13" fmla="*/ 2 h 72"/>
                <a:gd name="T14" fmla="*/ 96 w 96"/>
                <a:gd name="T15" fmla="*/ 70 h 72"/>
                <a:gd name="T16" fmla="*/ 94 w 96"/>
                <a:gd name="T17" fmla="*/ 72 h 72"/>
                <a:gd name="T18" fmla="*/ 4 w 96"/>
                <a:gd name="T19" fmla="*/ 68 h 72"/>
                <a:gd name="T20" fmla="*/ 92 w 96"/>
                <a:gd name="T21" fmla="*/ 68 h 72"/>
                <a:gd name="T22" fmla="*/ 92 w 96"/>
                <a:gd name="T23" fmla="*/ 4 h 72"/>
                <a:gd name="T24" fmla="*/ 4 w 96"/>
                <a:gd name="T25" fmla="*/ 4 h 72"/>
                <a:gd name="T26" fmla="*/ 4 w 96"/>
                <a:gd name="T27"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94" y="72"/>
                  </a:moveTo>
                  <a:cubicBezTo>
                    <a:pt x="2" y="72"/>
                    <a:pt x="2" y="72"/>
                    <a:pt x="2" y="72"/>
                  </a:cubicBezTo>
                  <a:cubicBezTo>
                    <a:pt x="1" y="72"/>
                    <a:pt x="0" y="71"/>
                    <a:pt x="0" y="70"/>
                  </a:cubicBezTo>
                  <a:cubicBezTo>
                    <a:pt x="0" y="2"/>
                    <a:pt x="0" y="2"/>
                    <a:pt x="0" y="2"/>
                  </a:cubicBezTo>
                  <a:cubicBezTo>
                    <a:pt x="0" y="1"/>
                    <a:pt x="1" y="0"/>
                    <a:pt x="2" y="0"/>
                  </a:cubicBezTo>
                  <a:cubicBezTo>
                    <a:pt x="94" y="0"/>
                    <a:pt x="94" y="0"/>
                    <a:pt x="94" y="0"/>
                  </a:cubicBezTo>
                  <a:cubicBezTo>
                    <a:pt x="95" y="0"/>
                    <a:pt x="96" y="1"/>
                    <a:pt x="96" y="2"/>
                  </a:cubicBezTo>
                  <a:cubicBezTo>
                    <a:pt x="96" y="70"/>
                    <a:pt x="96" y="70"/>
                    <a:pt x="96" y="70"/>
                  </a:cubicBezTo>
                  <a:cubicBezTo>
                    <a:pt x="96" y="71"/>
                    <a:pt x="95" y="72"/>
                    <a:pt x="94" y="72"/>
                  </a:cubicBezTo>
                  <a:close/>
                  <a:moveTo>
                    <a:pt x="4" y="68"/>
                  </a:moveTo>
                  <a:cubicBezTo>
                    <a:pt x="92" y="68"/>
                    <a:pt x="92" y="68"/>
                    <a:pt x="92" y="68"/>
                  </a:cubicBezTo>
                  <a:cubicBezTo>
                    <a:pt x="92" y="4"/>
                    <a:pt x="92" y="4"/>
                    <a:pt x="92" y="4"/>
                  </a:cubicBezTo>
                  <a:cubicBezTo>
                    <a:pt x="4" y="4"/>
                    <a:pt x="4" y="4"/>
                    <a:pt x="4" y="4"/>
                  </a:cubicBezTo>
                  <a:lnTo>
                    <a:pt x="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4" name="Freeform 1149">
              <a:extLst>
                <a:ext uri="{FF2B5EF4-FFF2-40B4-BE49-F238E27FC236}">
                  <a16:creationId xmlns:a16="http://schemas.microsoft.com/office/drawing/2014/main" id="{8EBE5C33-9C90-47CA-816A-F7629712F4BD}"/>
                </a:ext>
              </a:extLst>
            </p:cNvPr>
            <p:cNvSpPr>
              <a:spLocks noEditPoints="1"/>
            </p:cNvSpPr>
            <p:nvPr/>
          </p:nvSpPr>
          <p:spPr bwMode="auto">
            <a:xfrm>
              <a:off x="7748588" y="5848350"/>
              <a:ext cx="301625" cy="211138"/>
            </a:xfrm>
            <a:custGeom>
              <a:avLst/>
              <a:gdLst>
                <a:gd name="T0" fmla="*/ 78 w 80"/>
                <a:gd name="T1" fmla="*/ 56 h 56"/>
                <a:gd name="T2" fmla="*/ 2 w 80"/>
                <a:gd name="T3" fmla="*/ 56 h 56"/>
                <a:gd name="T4" fmla="*/ 0 w 80"/>
                <a:gd name="T5" fmla="*/ 54 h 56"/>
                <a:gd name="T6" fmla="*/ 0 w 80"/>
                <a:gd name="T7" fmla="*/ 2 h 56"/>
                <a:gd name="T8" fmla="*/ 2 w 80"/>
                <a:gd name="T9" fmla="*/ 0 h 56"/>
                <a:gd name="T10" fmla="*/ 78 w 80"/>
                <a:gd name="T11" fmla="*/ 0 h 56"/>
                <a:gd name="T12" fmla="*/ 80 w 80"/>
                <a:gd name="T13" fmla="*/ 2 h 56"/>
                <a:gd name="T14" fmla="*/ 80 w 80"/>
                <a:gd name="T15" fmla="*/ 54 h 56"/>
                <a:gd name="T16" fmla="*/ 78 w 80"/>
                <a:gd name="T17" fmla="*/ 56 h 56"/>
                <a:gd name="T18" fmla="*/ 4 w 80"/>
                <a:gd name="T19" fmla="*/ 52 h 56"/>
                <a:gd name="T20" fmla="*/ 76 w 80"/>
                <a:gd name="T21" fmla="*/ 52 h 56"/>
                <a:gd name="T22" fmla="*/ 76 w 80"/>
                <a:gd name="T23" fmla="*/ 4 h 56"/>
                <a:gd name="T24" fmla="*/ 4 w 80"/>
                <a:gd name="T25" fmla="*/ 4 h 56"/>
                <a:gd name="T26" fmla="*/ 4 w 80"/>
                <a:gd name="T2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56">
                  <a:moveTo>
                    <a:pt x="78" y="56"/>
                  </a:moveTo>
                  <a:cubicBezTo>
                    <a:pt x="2" y="56"/>
                    <a:pt x="2" y="56"/>
                    <a:pt x="2" y="56"/>
                  </a:cubicBezTo>
                  <a:cubicBezTo>
                    <a:pt x="1" y="56"/>
                    <a:pt x="0" y="55"/>
                    <a:pt x="0" y="54"/>
                  </a:cubicBezTo>
                  <a:cubicBezTo>
                    <a:pt x="0" y="2"/>
                    <a:pt x="0" y="2"/>
                    <a:pt x="0" y="2"/>
                  </a:cubicBezTo>
                  <a:cubicBezTo>
                    <a:pt x="0" y="1"/>
                    <a:pt x="1" y="0"/>
                    <a:pt x="2" y="0"/>
                  </a:cubicBezTo>
                  <a:cubicBezTo>
                    <a:pt x="78" y="0"/>
                    <a:pt x="78" y="0"/>
                    <a:pt x="78" y="0"/>
                  </a:cubicBezTo>
                  <a:cubicBezTo>
                    <a:pt x="79" y="0"/>
                    <a:pt x="80" y="1"/>
                    <a:pt x="80" y="2"/>
                  </a:cubicBezTo>
                  <a:cubicBezTo>
                    <a:pt x="80" y="54"/>
                    <a:pt x="80" y="54"/>
                    <a:pt x="80" y="54"/>
                  </a:cubicBezTo>
                  <a:cubicBezTo>
                    <a:pt x="80" y="55"/>
                    <a:pt x="79" y="56"/>
                    <a:pt x="78" y="56"/>
                  </a:cubicBezTo>
                  <a:close/>
                  <a:moveTo>
                    <a:pt x="4" y="52"/>
                  </a:moveTo>
                  <a:cubicBezTo>
                    <a:pt x="76" y="52"/>
                    <a:pt x="76" y="52"/>
                    <a:pt x="76" y="52"/>
                  </a:cubicBezTo>
                  <a:cubicBezTo>
                    <a:pt x="76" y="4"/>
                    <a:pt x="76" y="4"/>
                    <a:pt x="76" y="4"/>
                  </a:cubicBezTo>
                  <a:cubicBezTo>
                    <a:pt x="4" y="4"/>
                    <a:pt x="4" y="4"/>
                    <a:pt x="4" y="4"/>
                  </a:cubicBezTo>
                  <a:lnTo>
                    <a:pt x="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5" name="Freeform 1150">
              <a:extLst>
                <a:ext uri="{FF2B5EF4-FFF2-40B4-BE49-F238E27FC236}">
                  <a16:creationId xmlns:a16="http://schemas.microsoft.com/office/drawing/2014/main" id="{68EDBE8F-17B7-4DF4-8556-2D528F5EA9EE}"/>
                </a:ext>
              </a:extLst>
            </p:cNvPr>
            <p:cNvSpPr>
              <a:spLocks/>
            </p:cNvSpPr>
            <p:nvPr/>
          </p:nvSpPr>
          <p:spPr bwMode="auto">
            <a:xfrm>
              <a:off x="7794625" y="5983288"/>
              <a:ext cx="14288"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6" name="Freeform 1151">
              <a:extLst>
                <a:ext uri="{FF2B5EF4-FFF2-40B4-BE49-F238E27FC236}">
                  <a16:creationId xmlns:a16="http://schemas.microsoft.com/office/drawing/2014/main" id="{5B1443C3-9CCE-4F0A-B7AC-1B6FA9D76E91}"/>
                </a:ext>
              </a:extLst>
            </p:cNvPr>
            <p:cNvSpPr>
              <a:spLocks/>
            </p:cNvSpPr>
            <p:nvPr/>
          </p:nvSpPr>
          <p:spPr bwMode="auto">
            <a:xfrm>
              <a:off x="7824788" y="5938838"/>
              <a:ext cx="14288" cy="90488"/>
            </a:xfrm>
            <a:custGeom>
              <a:avLst/>
              <a:gdLst>
                <a:gd name="T0" fmla="*/ 2 w 4"/>
                <a:gd name="T1" fmla="*/ 24 h 24"/>
                <a:gd name="T2" fmla="*/ 0 w 4"/>
                <a:gd name="T3" fmla="*/ 22 h 24"/>
                <a:gd name="T4" fmla="*/ 0 w 4"/>
                <a:gd name="T5" fmla="*/ 2 h 24"/>
                <a:gd name="T6" fmla="*/ 2 w 4"/>
                <a:gd name="T7" fmla="*/ 0 h 24"/>
                <a:gd name="T8" fmla="*/ 4 w 4"/>
                <a:gd name="T9" fmla="*/ 2 h 24"/>
                <a:gd name="T10" fmla="*/ 4 w 4"/>
                <a:gd name="T11" fmla="*/ 22 h 24"/>
                <a:gd name="T12" fmla="*/ 2 w 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 h="24">
                  <a:moveTo>
                    <a:pt x="2" y="24"/>
                  </a:moveTo>
                  <a:cubicBezTo>
                    <a:pt x="1" y="24"/>
                    <a:pt x="0" y="23"/>
                    <a:pt x="0" y="22"/>
                  </a:cubicBezTo>
                  <a:cubicBezTo>
                    <a:pt x="0" y="2"/>
                    <a:pt x="0" y="2"/>
                    <a:pt x="0" y="2"/>
                  </a:cubicBezTo>
                  <a:cubicBezTo>
                    <a:pt x="0" y="1"/>
                    <a:pt x="1" y="0"/>
                    <a:pt x="2" y="0"/>
                  </a:cubicBezTo>
                  <a:cubicBezTo>
                    <a:pt x="3" y="0"/>
                    <a:pt x="4" y="1"/>
                    <a:pt x="4" y="2"/>
                  </a:cubicBezTo>
                  <a:cubicBezTo>
                    <a:pt x="4" y="22"/>
                    <a:pt x="4" y="22"/>
                    <a:pt x="4" y="22"/>
                  </a:cubicBezTo>
                  <a:cubicBezTo>
                    <a:pt x="4" y="23"/>
                    <a:pt x="3" y="24"/>
                    <a:pt x="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7" name="Freeform 1152">
              <a:extLst>
                <a:ext uri="{FF2B5EF4-FFF2-40B4-BE49-F238E27FC236}">
                  <a16:creationId xmlns:a16="http://schemas.microsoft.com/office/drawing/2014/main" id="{EAC31EE6-F81D-4240-8135-CBA18130DC6A}"/>
                </a:ext>
              </a:extLst>
            </p:cNvPr>
            <p:cNvSpPr>
              <a:spLocks/>
            </p:cNvSpPr>
            <p:nvPr/>
          </p:nvSpPr>
          <p:spPr bwMode="auto">
            <a:xfrm>
              <a:off x="7853363" y="5969000"/>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8" name="Freeform 1153">
              <a:extLst>
                <a:ext uri="{FF2B5EF4-FFF2-40B4-BE49-F238E27FC236}">
                  <a16:creationId xmlns:a16="http://schemas.microsoft.com/office/drawing/2014/main" id="{AFD46888-5F2D-4C38-AE88-339854DFA617}"/>
                </a:ext>
              </a:extLst>
            </p:cNvPr>
            <p:cNvSpPr>
              <a:spLocks/>
            </p:cNvSpPr>
            <p:nvPr/>
          </p:nvSpPr>
          <p:spPr bwMode="auto">
            <a:xfrm>
              <a:off x="7883525" y="59832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999" name="Freeform 1154">
              <a:extLst>
                <a:ext uri="{FF2B5EF4-FFF2-40B4-BE49-F238E27FC236}">
                  <a16:creationId xmlns:a16="http://schemas.microsoft.com/office/drawing/2014/main" id="{6B98F0B5-6078-4BB4-948E-09F97384C4A4}"/>
                </a:ext>
              </a:extLst>
            </p:cNvPr>
            <p:cNvSpPr>
              <a:spLocks/>
            </p:cNvSpPr>
            <p:nvPr/>
          </p:nvSpPr>
          <p:spPr bwMode="auto">
            <a:xfrm>
              <a:off x="7974013" y="5908675"/>
              <a:ext cx="15875" cy="120650"/>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0" name="Freeform 1155">
              <a:extLst>
                <a:ext uri="{FF2B5EF4-FFF2-40B4-BE49-F238E27FC236}">
                  <a16:creationId xmlns:a16="http://schemas.microsoft.com/office/drawing/2014/main" id="{7C7A3888-36E7-4DBB-BC57-A6CCAAF22329}"/>
                </a:ext>
              </a:extLst>
            </p:cNvPr>
            <p:cNvSpPr>
              <a:spLocks/>
            </p:cNvSpPr>
            <p:nvPr/>
          </p:nvSpPr>
          <p:spPr bwMode="auto">
            <a:xfrm>
              <a:off x="7943850" y="5946775"/>
              <a:ext cx="15875" cy="82550"/>
            </a:xfrm>
            <a:custGeom>
              <a:avLst/>
              <a:gdLst>
                <a:gd name="T0" fmla="*/ 2 w 4"/>
                <a:gd name="T1" fmla="*/ 22 h 22"/>
                <a:gd name="T2" fmla="*/ 0 w 4"/>
                <a:gd name="T3" fmla="*/ 20 h 22"/>
                <a:gd name="T4" fmla="*/ 0 w 4"/>
                <a:gd name="T5" fmla="*/ 2 h 22"/>
                <a:gd name="T6" fmla="*/ 2 w 4"/>
                <a:gd name="T7" fmla="*/ 0 h 22"/>
                <a:gd name="T8" fmla="*/ 4 w 4"/>
                <a:gd name="T9" fmla="*/ 2 h 22"/>
                <a:gd name="T10" fmla="*/ 4 w 4"/>
                <a:gd name="T11" fmla="*/ 20 h 22"/>
                <a:gd name="T12" fmla="*/ 2 w 4"/>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4" h="22">
                  <a:moveTo>
                    <a:pt x="2" y="22"/>
                  </a:moveTo>
                  <a:cubicBezTo>
                    <a:pt x="1" y="22"/>
                    <a:pt x="0" y="21"/>
                    <a:pt x="0" y="20"/>
                  </a:cubicBezTo>
                  <a:cubicBezTo>
                    <a:pt x="0" y="2"/>
                    <a:pt x="0" y="2"/>
                    <a:pt x="0" y="2"/>
                  </a:cubicBezTo>
                  <a:cubicBezTo>
                    <a:pt x="0" y="1"/>
                    <a:pt x="1" y="0"/>
                    <a:pt x="2" y="0"/>
                  </a:cubicBezTo>
                  <a:cubicBezTo>
                    <a:pt x="3" y="0"/>
                    <a:pt x="4" y="1"/>
                    <a:pt x="4" y="2"/>
                  </a:cubicBezTo>
                  <a:cubicBezTo>
                    <a:pt x="4" y="20"/>
                    <a:pt x="4" y="20"/>
                    <a:pt x="4" y="20"/>
                  </a:cubicBezTo>
                  <a:cubicBezTo>
                    <a:pt x="4" y="21"/>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1" name="Freeform 1156">
              <a:extLst>
                <a:ext uri="{FF2B5EF4-FFF2-40B4-BE49-F238E27FC236}">
                  <a16:creationId xmlns:a16="http://schemas.microsoft.com/office/drawing/2014/main" id="{78E7CBC3-B1EB-43E0-A3A3-35F0B55180E4}"/>
                </a:ext>
              </a:extLst>
            </p:cNvPr>
            <p:cNvSpPr>
              <a:spLocks/>
            </p:cNvSpPr>
            <p:nvPr/>
          </p:nvSpPr>
          <p:spPr bwMode="auto">
            <a:xfrm>
              <a:off x="7913688" y="5878513"/>
              <a:ext cx="15875" cy="150813"/>
            </a:xfrm>
            <a:custGeom>
              <a:avLst/>
              <a:gdLst>
                <a:gd name="T0" fmla="*/ 2 w 4"/>
                <a:gd name="T1" fmla="*/ 40 h 40"/>
                <a:gd name="T2" fmla="*/ 0 w 4"/>
                <a:gd name="T3" fmla="*/ 38 h 40"/>
                <a:gd name="T4" fmla="*/ 0 w 4"/>
                <a:gd name="T5" fmla="*/ 2 h 40"/>
                <a:gd name="T6" fmla="*/ 2 w 4"/>
                <a:gd name="T7" fmla="*/ 0 h 40"/>
                <a:gd name="T8" fmla="*/ 4 w 4"/>
                <a:gd name="T9" fmla="*/ 2 h 40"/>
                <a:gd name="T10" fmla="*/ 4 w 4"/>
                <a:gd name="T11" fmla="*/ 38 h 40"/>
                <a:gd name="T12" fmla="*/ 2 w 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4" h="40">
                  <a:moveTo>
                    <a:pt x="2" y="40"/>
                  </a:moveTo>
                  <a:cubicBezTo>
                    <a:pt x="1" y="40"/>
                    <a:pt x="0" y="39"/>
                    <a:pt x="0" y="38"/>
                  </a:cubicBezTo>
                  <a:cubicBezTo>
                    <a:pt x="0" y="2"/>
                    <a:pt x="0" y="2"/>
                    <a:pt x="0" y="2"/>
                  </a:cubicBezTo>
                  <a:cubicBezTo>
                    <a:pt x="0" y="1"/>
                    <a:pt x="1" y="0"/>
                    <a:pt x="2" y="0"/>
                  </a:cubicBezTo>
                  <a:cubicBezTo>
                    <a:pt x="3" y="0"/>
                    <a:pt x="4" y="1"/>
                    <a:pt x="4" y="2"/>
                  </a:cubicBezTo>
                  <a:cubicBezTo>
                    <a:pt x="4" y="38"/>
                    <a:pt x="4" y="38"/>
                    <a:pt x="4" y="38"/>
                  </a:cubicBezTo>
                  <a:cubicBezTo>
                    <a:pt x="4" y="39"/>
                    <a:pt x="3" y="40"/>
                    <a:pt x="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162" name="Group 18">
            <a:extLst>
              <a:ext uri="{FF2B5EF4-FFF2-40B4-BE49-F238E27FC236}">
                <a16:creationId xmlns:a16="http://schemas.microsoft.com/office/drawing/2014/main" id="{669C6EC4-B717-4DF7-9B23-D9153045B99F}"/>
              </a:ext>
            </a:extLst>
          </p:cNvPr>
          <p:cNvGrpSpPr>
            <a:grpSpLocks noChangeAspect="1"/>
          </p:cNvGrpSpPr>
          <p:nvPr/>
        </p:nvGrpSpPr>
        <p:grpSpPr>
          <a:xfrm>
            <a:off x="5377936" y="5956111"/>
            <a:ext cx="286141" cy="285619"/>
            <a:chOff x="1769427" y="5419470"/>
            <a:chExt cx="504248" cy="503328"/>
          </a:xfrm>
          <a:solidFill>
            <a:schemeClr val="bg1"/>
          </a:solidFill>
          <a:effectLst/>
        </p:grpSpPr>
        <p:sp>
          <p:nvSpPr>
            <p:cNvPr id="1210" name="Freeform 7">
              <a:extLst>
                <a:ext uri="{FF2B5EF4-FFF2-40B4-BE49-F238E27FC236}">
                  <a16:creationId xmlns:a16="http://schemas.microsoft.com/office/drawing/2014/main" id="{A7275A89-E176-458A-868D-745DCB43F444}"/>
                </a:ext>
              </a:extLst>
            </p:cNvPr>
            <p:cNvSpPr>
              <a:spLocks noEditPoints="1"/>
            </p:cNvSpPr>
            <p:nvPr/>
          </p:nvSpPr>
          <p:spPr bwMode="auto">
            <a:xfrm>
              <a:off x="1769427" y="5419470"/>
              <a:ext cx="504248" cy="503328"/>
            </a:xfrm>
            <a:custGeom>
              <a:avLst/>
              <a:gdLst>
                <a:gd name="T0" fmla="*/ 669 w 1642"/>
                <a:gd name="T1" fmla="*/ 76 h 1641"/>
                <a:gd name="T2" fmla="*/ 491 w 1642"/>
                <a:gd name="T3" fmla="*/ 135 h 1641"/>
                <a:gd name="T4" fmla="*/ 337 w 1642"/>
                <a:gd name="T5" fmla="*/ 235 h 1641"/>
                <a:gd name="T6" fmla="*/ 212 w 1642"/>
                <a:gd name="T7" fmla="*/ 366 h 1641"/>
                <a:gd name="T8" fmla="*/ 121 w 1642"/>
                <a:gd name="T9" fmla="*/ 525 h 1641"/>
                <a:gd name="T10" fmla="*/ 70 w 1642"/>
                <a:gd name="T11" fmla="*/ 705 h 1641"/>
                <a:gd name="T12" fmla="*/ 65 w 1642"/>
                <a:gd name="T13" fmla="*/ 898 h 1641"/>
                <a:gd name="T14" fmla="*/ 107 w 1642"/>
                <a:gd name="T15" fmla="*/ 1081 h 1641"/>
                <a:gd name="T16" fmla="*/ 191 w 1642"/>
                <a:gd name="T17" fmla="*/ 1245 h 1641"/>
                <a:gd name="T18" fmla="*/ 310 w 1642"/>
                <a:gd name="T19" fmla="*/ 1383 h 1641"/>
                <a:gd name="T20" fmla="*/ 460 w 1642"/>
                <a:gd name="T21" fmla="*/ 1488 h 1641"/>
                <a:gd name="T22" fmla="*/ 631 w 1642"/>
                <a:gd name="T23" fmla="*/ 1556 h 1641"/>
                <a:gd name="T24" fmla="*/ 821 w 1642"/>
                <a:gd name="T25" fmla="*/ 1581 h 1641"/>
                <a:gd name="T26" fmla="*/ 1011 w 1642"/>
                <a:gd name="T27" fmla="*/ 1556 h 1641"/>
                <a:gd name="T28" fmla="*/ 1183 w 1642"/>
                <a:gd name="T29" fmla="*/ 1488 h 1641"/>
                <a:gd name="T30" fmla="*/ 1331 w 1642"/>
                <a:gd name="T31" fmla="*/ 1383 h 1641"/>
                <a:gd name="T32" fmla="*/ 1451 w 1642"/>
                <a:gd name="T33" fmla="*/ 1245 h 1641"/>
                <a:gd name="T34" fmla="*/ 1534 w 1642"/>
                <a:gd name="T35" fmla="*/ 1081 h 1641"/>
                <a:gd name="T36" fmla="*/ 1577 w 1642"/>
                <a:gd name="T37" fmla="*/ 898 h 1641"/>
                <a:gd name="T38" fmla="*/ 1571 w 1642"/>
                <a:gd name="T39" fmla="*/ 705 h 1641"/>
                <a:gd name="T40" fmla="*/ 1521 w 1642"/>
                <a:gd name="T41" fmla="*/ 525 h 1641"/>
                <a:gd name="T42" fmla="*/ 1430 w 1642"/>
                <a:gd name="T43" fmla="*/ 366 h 1641"/>
                <a:gd name="T44" fmla="*/ 1304 w 1642"/>
                <a:gd name="T45" fmla="*/ 235 h 1641"/>
                <a:gd name="T46" fmla="*/ 1150 w 1642"/>
                <a:gd name="T47" fmla="*/ 135 h 1641"/>
                <a:gd name="T48" fmla="*/ 974 w 1642"/>
                <a:gd name="T49" fmla="*/ 76 h 1641"/>
                <a:gd name="T50" fmla="*/ 821 w 1642"/>
                <a:gd name="T51" fmla="*/ 1641 h 1641"/>
                <a:gd name="T52" fmla="*/ 617 w 1642"/>
                <a:gd name="T53" fmla="*/ 1615 h 1641"/>
                <a:gd name="T54" fmla="*/ 430 w 1642"/>
                <a:gd name="T55" fmla="*/ 1542 h 1641"/>
                <a:gd name="T56" fmla="*/ 270 w 1642"/>
                <a:gd name="T57" fmla="*/ 1428 h 1641"/>
                <a:gd name="T58" fmla="*/ 140 w 1642"/>
                <a:gd name="T59" fmla="*/ 1278 h 1641"/>
                <a:gd name="T60" fmla="*/ 51 w 1642"/>
                <a:gd name="T61" fmla="*/ 1103 h 1641"/>
                <a:gd name="T62" fmla="*/ 5 w 1642"/>
                <a:gd name="T63" fmla="*/ 904 h 1641"/>
                <a:gd name="T64" fmla="*/ 11 w 1642"/>
                <a:gd name="T65" fmla="*/ 695 h 1641"/>
                <a:gd name="T66" fmla="*/ 65 w 1642"/>
                <a:gd name="T67" fmla="*/ 501 h 1641"/>
                <a:gd name="T68" fmla="*/ 163 w 1642"/>
                <a:gd name="T69" fmla="*/ 330 h 1641"/>
                <a:gd name="T70" fmla="*/ 300 w 1642"/>
                <a:gd name="T71" fmla="*/ 187 h 1641"/>
                <a:gd name="T72" fmla="*/ 466 w 1642"/>
                <a:gd name="T73" fmla="*/ 81 h 1641"/>
                <a:gd name="T74" fmla="*/ 656 w 1642"/>
                <a:gd name="T75" fmla="*/ 17 h 1641"/>
                <a:gd name="T76" fmla="*/ 863 w 1642"/>
                <a:gd name="T77" fmla="*/ 1 h 1641"/>
                <a:gd name="T78" fmla="*/ 1065 w 1642"/>
                <a:gd name="T79" fmla="*/ 37 h 1641"/>
                <a:gd name="T80" fmla="*/ 1246 w 1642"/>
                <a:gd name="T81" fmla="*/ 119 h 1641"/>
                <a:gd name="T82" fmla="*/ 1402 w 1642"/>
                <a:gd name="T83" fmla="*/ 240 h 1641"/>
                <a:gd name="T84" fmla="*/ 1523 w 1642"/>
                <a:gd name="T85" fmla="*/ 396 h 1641"/>
                <a:gd name="T86" fmla="*/ 1605 w 1642"/>
                <a:gd name="T87" fmla="*/ 577 h 1641"/>
                <a:gd name="T88" fmla="*/ 1641 w 1642"/>
                <a:gd name="T89" fmla="*/ 779 h 1641"/>
                <a:gd name="T90" fmla="*/ 1625 w 1642"/>
                <a:gd name="T91" fmla="*/ 986 h 1641"/>
                <a:gd name="T92" fmla="*/ 1560 w 1642"/>
                <a:gd name="T93" fmla="*/ 1176 h 1641"/>
                <a:gd name="T94" fmla="*/ 1453 w 1642"/>
                <a:gd name="T95" fmla="*/ 1342 h 1641"/>
                <a:gd name="T96" fmla="*/ 1312 w 1642"/>
                <a:gd name="T97" fmla="*/ 1478 h 1641"/>
                <a:gd name="T98" fmla="*/ 1139 w 1642"/>
                <a:gd name="T99" fmla="*/ 1576 h 1641"/>
                <a:gd name="T100" fmla="*/ 947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9" y="76"/>
                  </a:lnTo>
                  <a:lnTo>
                    <a:pt x="631" y="85"/>
                  </a:lnTo>
                  <a:lnTo>
                    <a:pt x="595" y="95"/>
                  </a:lnTo>
                  <a:lnTo>
                    <a:pt x="561" y="107"/>
                  </a:lnTo>
                  <a:lnTo>
                    <a:pt x="526" y="121"/>
                  </a:lnTo>
                  <a:lnTo>
                    <a:pt x="491" y="135"/>
                  </a:lnTo>
                  <a:lnTo>
                    <a:pt x="460" y="153"/>
                  </a:lnTo>
                  <a:lnTo>
                    <a:pt x="427" y="171"/>
                  </a:lnTo>
                  <a:lnTo>
                    <a:pt x="396" y="190"/>
                  </a:lnTo>
                  <a:lnTo>
                    <a:pt x="366" y="212"/>
                  </a:lnTo>
                  <a:lnTo>
                    <a:pt x="337" y="235"/>
                  </a:lnTo>
                  <a:lnTo>
                    <a:pt x="310" y="258"/>
                  </a:lnTo>
                  <a:lnTo>
                    <a:pt x="284" y="284"/>
                  </a:lnTo>
                  <a:lnTo>
                    <a:pt x="258" y="309"/>
                  </a:lnTo>
                  <a:lnTo>
                    <a:pt x="235" y="337"/>
                  </a:lnTo>
                  <a:lnTo>
                    <a:pt x="212" y="366"/>
                  </a:lnTo>
                  <a:lnTo>
                    <a:pt x="191" y="396"/>
                  </a:lnTo>
                  <a:lnTo>
                    <a:pt x="172" y="428"/>
                  </a:lnTo>
                  <a:lnTo>
                    <a:pt x="153" y="459"/>
                  </a:lnTo>
                  <a:lnTo>
                    <a:pt x="136" y="491"/>
                  </a:lnTo>
                  <a:lnTo>
                    <a:pt x="121" y="525"/>
                  </a:lnTo>
                  <a:lnTo>
                    <a:pt x="107" y="560"/>
                  </a:lnTo>
                  <a:lnTo>
                    <a:pt x="95" y="595"/>
                  </a:lnTo>
                  <a:lnTo>
                    <a:pt x="85" y="630"/>
                  </a:lnTo>
                  <a:lnTo>
                    <a:pt x="77" y="668"/>
                  </a:lnTo>
                  <a:lnTo>
                    <a:pt x="70" y="705"/>
                  </a:lnTo>
                  <a:lnTo>
                    <a:pt x="65" y="743"/>
                  </a:lnTo>
                  <a:lnTo>
                    <a:pt x="62" y="782"/>
                  </a:lnTo>
                  <a:lnTo>
                    <a:pt x="61" y="821"/>
                  </a:lnTo>
                  <a:lnTo>
                    <a:pt x="62" y="859"/>
                  </a:lnTo>
                  <a:lnTo>
                    <a:pt x="65" y="898"/>
                  </a:lnTo>
                  <a:lnTo>
                    <a:pt x="70" y="936"/>
                  </a:lnTo>
                  <a:lnTo>
                    <a:pt x="77" y="973"/>
                  </a:lnTo>
                  <a:lnTo>
                    <a:pt x="85" y="1011"/>
                  </a:lnTo>
                  <a:lnTo>
                    <a:pt x="95" y="1046"/>
                  </a:lnTo>
                  <a:lnTo>
                    <a:pt x="107" y="1081"/>
                  </a:lnTo>
                  <a:lnTo>
                    <a:pt x="121" y="1116"/>
                  </a:lnTo>
                  <a:lnTo>
                    <a:pt x="136" y="1150"/>
                  </a:lnTo>
                  <a:lnTo>
                    <a:pt x="153" y="1182"/>
                  </a:lnTo>
                  <a:lnTo>
                    <a:pt x="172" y="1213"/>
                  </a:lnTo>
                  <a:lnTo>
                    <a:pt x="191" y="1245"/>
                  </a:lnTo>
                  <a:lnTo>
                    <a:pt x="212" y="1275"/>
                  </a:lnTo>
                  <a:lnTo>
                    <a:pt x="235" y="1304"/>
                  </a:lnTo>
                  <a:lnTo>
                    <a:pt x="258" y="1332"/>
                  </a:lnTo>
                  <a:lnTo>
                    <a:pt x="284" y="1357"/>
                  </a:lnTo>
                  <a:lnTo>
                    <a:pt x="310" y="1383"/>
                  </a:lnTo>
                  <a:lnTo>
                    <a:pt x="337" y="1406"/>
                  </a:lnTo>
                  <a:lnTo>
                    <a:pt x="366" y="1429"/>
                  </a:lnTo>
                  <a:lnTo>
                    <a:pt x="396" y="1451"/>
                  </a:lnTo>
                  <a:lnTo>
                    <a:pt x="427" y="1470"/>
                  </a:lnTo>
                  <a:lnTo>
                    <a:pt x="460" y="1488"/>
                  </a:lnTo>
                  <a:lnTo>
                    <a:pt x="491" y="1506"/>
                  </a:lnTo>
                  <a:lnTo>
                    <a:pt x="526" y="1520"/>
                  </a:lnTo>
                  <a:lnTo>
                    <a:pt x="561" y="1534"/>
                  </a:lnTo>
                  <a:lnTo>
                    <a:pt x="595" y="1546"/>
                  </a:lnTo>
                  <a:lnTo>
                    <a:pt x="631" y="1556"/>
                  </a:lnTo>
                  <a:lnTo>
                    <a:pt x="669" y="1565"/>
                  </a:lnTo>
                  <a:lnTo>
                    <a:pt x="706" y="1572"/>
                  </a:lnTo>
                  <a:lnTo>
                    <a:pt x="743" y="1576"/>
                  </a:lnTo>
                  <a:lnTo>
                    <a:pt x="782" y="1579"/>
                  </a:lnTo>
                  <a:lnTo>
                    <a:pt x="821" y="1581"/>
                  </a:lnTo>
                  <a:lnTo>
                    <a:pt x="860" y="1579"/>
                  </a:lnTo>
                  <a:lnTo>
                    <a:pt x="899" y="1576"/>
                  </a:lnTo>
                  <a:lnTo>
                    <a:pt x="936" y="1572"/>
                  </a:lnTo>
                  <a:lnTo>
                    <a:pt x="974" y="1565"/>
                  </a:lnTo>
                  <a:lnTo>
                    <a:pt x="1011" y="1556"/>
                  </a:lnTo>
                  <a:lnTo>
                    <a:pt x="1047" y="1546"/>
                  </a:lnTo>
                  <a:lnTo>
                    <a:pt x="1082" y="1534"/>
                  </a:lnTo>
                  <a:lnTo>
                    <a:pt x="1116" y="1520"/>
                  </a:lnTo>
                  <a:lnTo>
                    <a:pt x="1150" y="1506"/>
                  </a:lnTo>
                  <a:lnTo>
                    <a:pt x="1183" y="1488"/>
                  </a:lnTo>
                  <a:lnTo>
                    <a:pt x="1214" y="1470"/>
                  </a:lnTo>
                  <a:lnTo>
                    <a:pt x="1246" y="1451"/>
                  </a:lnTo>
                  <a:lnTo>
                    <a:pt x="1275" y="1429"/>
                  </a:lnTo>
                  <a:lnTo>
                    <a:pt x="1304" y="1406"/>
                  </a:lnTo>
                  <a:lnTo>
                    <a:pt x="1331" y="1383"/>
                  </a:lnTo>
                  <a:lnTo>
                    <a:pt x="1358" y="1357"/>
                  </a:lnTo>
                  <a:lnTo>
                    <a:pt x="1383" y="1332"/>
                  </a:lnTo>
                  <a:lnTo>
                    <a:pt x="1407" y="1304"/>
                  </a:lnTo>
                  <a:lnTo>
                    <a:pt x="1430" y="1275"/>
                  </a:lnTo>
                  <a:lnTo>
                    <a:pt x="1451" y="1245"/>
                  </a:lnTo>
                  <a:lnTo>
                    <a:pt x="1471" y="1213"/>
                  </a:lnTo>
                  <a:lnTo>
                    <a:pt x="1489" y="1182"/>
                  </a:lnTo>
                  <a:lnTo>
                    <a:pt x="1505" y="1150"/>
                  </a:lnTo>
                  <a:lnTo>
                    <a:pt x="1521" y="1116"/>
                  </a:lnTo>
                  <a:lnTo>
                    <a:pt x="1534" y="1081"/>
                  </a:lnTo>
                  <a:lnTo>
                    <a:pt x="1547" y="1046"/>
                  </a:lnTo>
                  <a:lnTo>
                    <a:pt x="1557" y="1011"/>
                  </a:lnTo>
                  <a:lnTo>
                    <a:pt x="1566" y="973"/>
                  </a:lnTo>
                  <a:lnTo>
                    <a:pt x="1571" y="936"/>
                  </a:lnTo>
                  <a:lnTo>
                    <a:pt x="1577" y="898"/>
                  </a:lnTo>
                  <a:lnTo>
                    <a:pt x="1580" y="859"/>
                  </a:lnTo>
                  <a:lnTo>
                    <a:pt x="1582" y="821"/>
                  </a:lnTo>
                  <a:lnTo>
                    <a:pt x="1580" y="782"/>
                  </a:lnTo>
                  <a:lnTo>
                    <a:pt x="1577" y="743"/>
                  </a:lnTo>
                  <a:lnTo>
                    <a:pt x="1571" y="705"/>
                  </a:lnTo>
                  <a:lnTo>
                    <a:pt x="1566" y="668"/>
                  </a:lnTo>
                  <a:lnTo>
                    <a:pt x="1557" y="630"/>
                  </a:lnTo>
                  <a:lnTo>
                    <a:pt x="1547" y="595"/>
                  </a:lnTo>
                  <a:lnTo>
                    <a:pt x="1534" y="560"/>
                  </a:lnTo>
                  <a:lnTo>
                    <a:pt x="1521" y="525"/>
                  </a:lnTo>
                  <a:lnTo>
                    <a:pt x="1505" y="491"/>
                  </a:lnTo>
                  <a:lnTo>
                    <a:pt x="1489" y="459"/>
                  </a:lnTo>
                  <a:lnTo>
                    <a:pt x="1471" y="428"/>
                  </a:lnTo>
                  <a:lnTo>
                    <a:pt x="1451" y="396"/>
                  </a:lnTo>
                  <a:lnTo>
                    <a:pt x="1430" y="366"/>
                  </a:lnTo>
                  <a:lnTo>
                    <a:pt x="1407" y="337"/>
                  </a:lnTo>
                  <a:lnTo>
                    <a:pt x="1383" y="309"/>
                  </a:lnTo>
                  <a:lnTo>
                    <a:pt x="1358" y="284"/>
                  </a:lnTo>
                  <a:lnTo>
                    <a:pt x="1331" y="258"/>
                  </a:lnTo>
                  <a:lnTo>
                    <a:pt x="1304" y="235"/>
                  </a:lnTo>
                  <a:lnTo>
                    <a:pt x="1275" y="212"/>
                  </a:lnTo>
                  <a:lnTo>
                    <a:pt x="1246" y="190"/>
                  </a:lnTo>
                  <a:lnTo>
                    <a:pt x="1214" y="171"/>
                  </a:lnTo>
                  <a:lnTo>
                    <a:pt x="1183" y="153"/>
                  </a:lnTo>
                  <a:lnTo>
                    <a:pt x="1150" y="135"/>
                  </a:lnTo>
                  <a:lnTo>
                    <a:pt x="1116" y="121"/>
                  </a:lnTo>
                  <a:lnTo>
                    <a:pt x="1082" y="107"/>
                  </a:lnTo>
                  <a:lnTo>
                    <a:pt x="1047" y="95"/>
                  </a:lnTo>
                  <a:lnTo>
                    <a:pt x="1011" y="85"/>
                  </a:lnTo>
                  <a:lnTo>
                    <a:pt x="974" y="76"/>
                  </a:lnTo>
                  <a:lnTo>
                    <a:pt x="936" y="69"/>
                  </a:lnTo>
                  <a:lnTo>
                    <a:pt x="899" y="65"/>
                  </a:lnTo>
                  <a:lnTo>
                    <a:pt x="860" y="62"/>
                  </a:lnTo>
                  <a:lnTo>
                    <a:pt x="821" y="60"/>
                  </a:lnTo>
                  <a:close/>
                  <a:moveTo>
                    <a:pt x="821" y="1641"/>
                  </a:moveTo>
                  <a:lnTo>
                    <a:pt x="779" y="1640"/>
                  </a:lnTo>
                  <a:lnTo>
                    <a:pt x="738" y="1637"/>
                  </a:lnTo>
                  <a:lnTo>
                    <a:pt x="696" y="1631"/>
                  </a:lnTo>
                  <a:lnTo>
                    <a:pt x="656" y="1624"/>
                  </a:lnTo>
                  <a:lnTo>
                    <a:pt x="617" y="1615"/>
                  </a:lnTo>
                  <a:lnTo>
                    <a:pt x="578" y="1604"/>
                  </a:lnTo>
                  <a:lnTo>
                    <a:pt x="539" y="1591"/>
                  </a:lnTo>
                  <a:lnTo>
                    <a:pt x="502" y="1576"/>
                  </a:lnTo>
                  <a:lnTo>
                    <a:pt x="466" y="1560"/>
                  </a:lnTo>
                  <a:lnTo>
                    <a:pt x="430" y="1542"/>
                  </a:lnTo>
                  <a:lnTo>
                    <a:pt x="396" y="1522"/>
                  </a:lnTo>
                  <a:lnTo>
                    <a:pt x="362" y="1501"/>
                  </a:lnTo>
                  <a:lnTo>
                    <a:pt x="330" y="1478"/>
                  </a:lnTo>
                  <a:lnTo>
                    <a:pt x="300" y="1454"/>
                  </a:lnTo>
                  <a:lnTo>
                    <a:pt x="270" y="1428"/>
                  </a:lnTo>
                  <a:lnTo>
                    <a:pt x="241" y="1401"/>
                  </a:lnTo>
                  <a:lnTo>
                    <a:pt x="214" y="1372"/>
                  </a:lnTo>
                  <a:lnTo>
                    <a:pt x="188" y="1342"/>
                  </a:lnTo>
                  <a:lnTo>
                    <a:pt x="163" y="1311"/>
                  </a:lnTo>
                  <a:lnTo>
                    <a:pt x="140" y="1278"/>
                  </a:lnTo>
                  <a:lnTo>
                    <a:pt x="120" y="1245"/>
                  </a:lnTo>
                  <a:lnTo>
                    <a:pt x="100" y="1211"/>
                  </a:lnTo>
                  <a:lnTo>
                    <a:pt x="81" y="1176"/>
                  </a:lnTo>
                  <a:lnTo>
                    <a:pt x="65" y="1140"/>
                  </a:lnTo>
                  <a:lnTo>
                    <a:pt x="51" y="1103"/>
                  </a:lnTo>
                  <a:lnTo>
                    <a:pt x="38" y="1064"/>
                  </a:lnTo>
                  <a:lnTo>
                    <a:pt x="26" y="1025"/>
                  </a:lnTo>
                  <a:lnTo>
                    <a:pt x="18" y="986"/>
                  </a:lnTo>
                  <a:lnTo>
                    <a:pt x="11" y="946"/>
                  </a:lnTo>
                  <a:lnTo>
                    <a:pt x="5" y="904"/>
                  </a:lnTo>
                  <a:lnTo>
                    <a:pt x="2" y="862"/>
                  </a:lnTo>
                  <a:lnTo>
                    <a:pt x="0" y="821"/>
                  </a:lnTo>
                  <a:lnTo>
                    <a:pt x="2" y="779"/>
                  </a:lnTo>
                  <a:lnTo>
                    <a:pt x="5" y="737"/>
                  </a:lnTo>
                  <a:lnTo>
                    <a:pt x="11" y="695"/>
                  </a:lnTo>
                  <a:lnTo>
                    <a:pt x="18" y="655"/>
                  </a:lnTo>
                  <a:lnTo>
                    <a:pt x="26" y="616"/>
                  </a:lnTo>
                  <a:lnTo>
                    <a:pt x="38" y="577"/>
                  </a:lnTo>
                  <a:lnTo>
                    <a:pt x="51" y="538"/>
                  </a:lnTo>
                  <a:lnTo>
                    <a:pt x="65" y="501"/>
                  </a:lnTo>
                  <a:lnTo>
                    <a:pt x="81" y="465"/>
                  </a:lnTo>
                  <a:lnTo>
                    <a:pt x="100" y="430"/>
                  </a:lnTo>
                  <a:lnTo>
                    <a:pt x="120" y="396"/>
                  </a:lnTo>
                  <a:lnTo>
                    <a:pt x="140" y="363"/>
                  </a:lnTo>
                  <a:lnTo>
                    <a:pt x="163" y="330"/>
                  </a:lnTo>
                  <a:lnTo>
                    <a:pt x="188" y="299"/>
                  </a:lnTo>
                  <a:lnTo>
                    <a:pt x="214" y="269"/>
                  </a:lnTo>
                  <a:lnTo>
                    <a:pt x="241" y="240"/>
                  </a:lnTo>
                  <a:lnTo>
                    <a:pt x="270" y="213"/>
                  </a:lnTo>
                  <a:lnTo>
                    <a:pt x="300" y="187"/>
                  </a:lnTo>
                  <a:lnTo>
                    <a:pt x="330" y="163"/>
                  </a:lnTo>
                  <a:lnTo>
                    <a:pt x="362" y="140"/>
                  </a:lnTo>
                  <a:lnTo>
                    <a:pt x="396" y="119"/>
                  </a:lnTo>
                  <a:lnTo>
                    <a:pt x="430" y="99"/>
                  </a:lnTo>
                  <a:lnTo>
                    <a:pt x="466" y="81"/>
                  </a:lnTo>
                  <a:lnTo>
                    <a:pt x="502" y="65"/>
                  </a:lnTo>
                  <a:lnTo>
                    <a:pt x="539" y="50"/>
                  </a:lnTo>
                  <a:lnTo>
                    <a:pt x="578" y="37"/>
                  </a:lnTo>
                  <a:lnTo>
                    <a:pt x="617" y="26"/>
                  </a:lnTo>
                  <a:lnTo>
                    <a:pt x="656" y="17"/>
                  </a:lnTo>
                  <a:lnTo>
                    <a:pt x="696" y="10"/>
                  </a:lnTo>
                  <a:lnTo>
                    <a:pt x="738" y="4"/>
                  </a:lnTo>
                  <a:lnTo>
                    <a:pt x="779" y="1"/>
                  </a:lnTo>
                  <a:lnTo>
                    <a:pt x="821" y="0"/>
                  </a:lnTo>
                  <a:lnTo>
                    <a:pt x="863" y="1"/>
                  </a:lnTo>
                  <a:lnTo>
                    <a:pt x="905" y="4"/>
                  </a:lnTo>
                  <a:lnTo>
                    <a:pt x="947" y="10"/>
                  </a:lnTo>
                  <a:lnTo>
                    <a:pt x="987" y="17"/>
                  </a:lnTo>
                  <a:lnTo>
                    <a:pt x="1026" y="26"/>
                  </a:lnTo>
                  <a:lnTo>
                    <a:pt x="1065" y="37"/>
                  </a:lnTo>
                  <a:lnTo>
                    <a:pt x="1103" y="50"/>
                  </a:lnTo>
                  <a:lnTo>
                    <a:pt x="1139" y="65"/>
                  </a:lnTo>
                  <a:lnTo>
                    <a:pt x="1177" y="81"/>
                  </a:lnTo>
                  <a:lnTo>
                    <a:pt x="1211" y="99"/>
                  </a:lnTo>
                  <a:lnTo>
                    <a:pt x="1246" y="119"/>
                  </a:lnTo>
                  <a:lnTo>
                    <a:pt x="1279" y="140"/>
                  </a:lnTo>
                  <a:lnTo>
                    <a:pt x="1312" y="163"/>
                  </a:lnTo>
                  <a:lnTo>
                    <a:pt x="1343" y="187"/>
                  </a:lnTo>
                  <a:lnTo>
                    <a:pt x="1373" y="213"/>
                  </a:lnTo>
                  <a:lnTo>
                    <a:pt x="1402" y="240"/>
                  </a:lnTo>
                  <a:lnTo>
                    <a:pt x="1429" y="269"/>
                  </a:lnTo>
                  <a:lnTo>
                    <a:pt x="1453" y="299"/>
                  </a:lnTo>
                  <a:lnTo>
                    <a:pt x="1478" y="330"/>
                  </a:lnTo>
                  <a:lnTo>
                    <a:pt x="1501" y="363"/>
                  </a:lnTo>
                  <a:lnTo>
                    <a:pt x="1523" y="396"/>
                  </a:lnTo>
                  <a:lnTo>
                    <a:pt x="1543" y="430"/>
                  </a:lnTo>
                  <a:lnTo>
                    <a:pt x="1560" y="465"/>
                  </a:lnTo>
                  <a:lnTo>
                    <a:pt x="1577" y="501"/>
                  </a:lnTo>
                  <a:lnTo>
                    <a:pt x="1592" y="538"/>
                  </a:lnTo>
                  <a:lnTo>
                    <a:pt x="1605" y="577"/>
                  </a:lnTo>
                  <a:lnTo>
                    <a:pt x="1616" y="616"/>
                  </a:lnTo>
                  <a:lnTo>
                    <a:pt x="1625" y="655"/>
                  </a:lnTo>
                  <a:lnTo>
                    <a:pt x="1632" y="695"/>
                  </a:lnTo>
                  <a:lnTo>
                    <a:pt x="1638" y="737"/>
                  </a:lnTo>
                  <a:lnTo>
                    <a:pt x="1641" y="779"/>
                  </a:lnTo>
                  <a:lnTo>
                    <a:pt x="1642" y="821"/>
                  </a:lnTo>
                  <a:lnTo>
                    <a:pt x="1641" y="862"/>
                  </a:lnTo>
                  <a:lnTo>
                    <a:pt x="1638" y="904"/>
                  </a:lnTo>
                  <a:lnTo>
                    <a:pt x="1632" y="946"/>
                  </a:lnTo>
                  <a:lnTo>
                    <a:pt x="1625" y="986"/>
                  </a:lnTo>
                  <a:lnTo>
                    <a:pt x="1616" y="1025"/>
                  </a:lnTo>
                  <a:lnTo>
                    <a:pt x="1605" y="1064"/>
                  </a:lnTo>
                  <a:lnTo>
                    <a:pt x="1592" y="1103"/>
                  </a:lnTo>
                  <a:lnTo>
                    <a:pt x="1577" y="1140"/>
                  </a:lnTo>
                  <a:lnTo>
                    <a:pt x="1560" y="1176"/>
                  </a:lnTo>
                  <a:lnTo>
                    <a:pt x="1543" y="1211"/>
                  </a:lnTo>
                  <a:lnTo>
                    <a:pt x="1523" y="1245"/>
                  </a:lnTo>
                  <a:lnTo>
                    <a:pt x="1501" y="1278"/>
                  </a:lnTo>
                  <a:lnTo>
                    <a:pt x="1478" y="1311"/>
                  </a:lnTo>
                  <a:lnTo>
                    <a:pt x="1453" y="1342"/>
                  </a:lnTo>
                  <a:lnTo>
                    <a:pt x="1429" y="1372"/>
                  </a:lnTo>
                  <a:lnTo>
                    <a:pt x="1402" y="1401"/>
                  </a:lnTo>
                  <a:lnTo>
                    <a:pt x="1373" y="1428"/>
                  </a:lnTo>
                  <a:lnTo>
                    <a:pt x="1343" y="1454"/>
                  </a:lnTo>
                  <a:lnTo>
                    <a:pt x="1312" y="1478"/>
                  </a:lnTo>
                  <a:lnTo>
                    <a:pt x="1279" y="1501"/>
                  </a:lnTo>
                  <a:lnTo>
                    <a:pt x="1246" y="1522"/>
                  </a:lnTo>
                  <a:lnTo>
                    <a:pt x="1211" y="1542"/>
                  </a:lnTo>
                  <a:lnTo>
                    <a:pt x="1177" y="1560"/>
                  </a:lnTo>
                  <a:lnTo>
                    <a:pt x="1139" y="1576"/>
                  </a:lnTo>
                  <a:lnTo>
                    <a:pt x="1103" y="1591"/>
                  </a:lnTo>
                  <a:lnTo>
                    <a:pt x="1065" y="1604"/>
                  </a:lnTo>
                  <a:lnTo>
                    <a:pt x="1026" y="1615"/>
                  </a:lnTo>
                  <a:lnTo>
                    <a:pt x="987" y="1624"/>
                  </a:lnTo>
                  <a:lnTo>
                    <a:pt x="947" y="1631"/>
                  </a:lnTo>
                  <a:lnTo>
                    <a:pt x="905" y="1637"/>
                  </a:lnTo>
                  <a:lnTo>
                    <a:pt x="863"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1" name="Freeform 8">
              <a:extLst>
                <a:ext uri="{FF2B5EF4-FFF2-40B4-BE49-F238E27FC236}">
                  <a16:creationId xmlns:a16="http://schemas.microsoft.com/office/drawing/2014/main" id="{784356EE-E58C-404E-B938-1CAA5543EAF2}"/>
                </a:ext>
              </a:extLst>
            </p:cNvPr>
            <p:cNvSpPr>
              <a:spLocks noEditPoints="1"/>
            </p:cNvSpPr>
            <p:nvPr/>
          </p:nvSpPr>
          <p:spPr bwMode="auto">
            <a:xfrm>
              <a:off x="1919413" y="5550133"/>
              <a:ext cx="223599" cy="261326"/>
            </a:xfrm>
            <a:custGeom>
              <a:avLst/>
              <a:gdLst>
                <a:gd name="T0" fmla="*/ 61 w 729"/>
                <a:gd name="T1" fmla="*/ 84 h 851"/>
                <a:gd name="T2" fmla="*/ 61 w 729"/>
                <a:gd name="T3" fmla="*/ 767 h 851"/>
                <a:gd name="T4" fmla="*/ 640 w 729"/>
                <a:gd name="T5" fmla="*/ 425 h 851"/>
                <a:gd name="T6" fmla="*/ 61 w 729"/>
                <a:gd name="T7" fmla="*/ 84 h 851"/>
                <a:gd name="T8" fmla="*/ 30 w 729"/>
                <a:gd name="T9" fmla="*/ 851 h 851"/>
                <a:gd name="T10" fmla="*/ 22 w 729"/>
                <a:gd name="T11" fmla="*/ 849 h 851"/>
                <a:gd name="T12" fmla="*/ 15 w 729"/>
                <a:gd name="T13" fmla="*/ 846 h 851"/>
                <a:gd name="T14" fmla="*/ 9 w 729"/>
                <a:gd name="T15" fmla="*/ 842 h 851"/>
                <a:gd name="T16" fmla="*/ 4 w 729"/>
                <a:gd name="T17" fmla="*/ 835 h 851"/>
                <a:gd name="T18" fmla="*/ 0 w 729"/>
                <a:gd name="T19" fmla="*/ 828 h 851"/>
                <a:gd name="T20" fmla="*/ 0 w 729"/>
                <a:gd name="T21" fmla="*/ 821 h 851"/>
                <a:gd name="T22" fmla="*/ 0 w 729"/>
                <a:gd name="T23" fmla="*/ 30 h 851"/>
                <a:gd name="T24" fmla="*/ 0 w 729"/>
                <a:gd name="T25" fmla="*/ 22 h 851"/>
                <a:gd name="T26" fmla="*/ 4 w 729"/>
                <a:gd name="T27" fmla="*/ 14 h 851"/>
                <a:gd name="T28" fmla="*/ 9 w 729"/>
                <a:gd name="T29" fmla="*/ 9 h 851"/>
                <a:gd name="T30" fmla="*/ 15 w 729"/>
                <a:gd name="T31" fmla="*/ 3 h 851"/>
                <a:gd name="T32" fmla="*/ 22 w 729"/>
                <a:gd name="T33" fmla="*/ 0 h 851"/>
                <a:gd name="T34" fmla="*/ 30 w 729"/>
                <a:gd name="T35" fmla="*/ 0 h 851"/>
                <a:gd name="T36" fmla="*/ 38 w 729"/>
                <a:gd name="T37" fmla="*/ 0 h 851"/>
                <a:gd name="T38" fmla="*/ 45 w 729"/>
                <a:gd name="T39" fmla="*/ 3 h 851"/>
                <a:gd name="T40" fmla="*/ 714 w 729"/>
                <a:gd name="T41" fmla="*/ 397 h 851"/>
                <a:gd name="T42" fmla="*/ 720 w 729"/>
                <a:gd name="T43" fmla="*/ 403 h 851"/>
                <a:gd name="T44" fmla="*/ 724 w 729"/>
                <a:gd name="T45" fmla="*/ 409 h 851"/>
                <a:gd name="T46" fmla="*/ 729 w 729"/>
                <a:gd name="T47" fmla="*/ 416 h 851"/>
                <a:gd name="T48" fmla="*/ 729 w 729"/>
                <a:gd name="T49" fmla="*/ 423 h 851"/>
                <a:gd name="T50" fmla="*/ 729 w 729"/>
                <a:gd name="T51" fmla="*/ 432 h 851"/>
                <a:gd name="T52" fmla="*/ 724 w 729"/>
                <a:gd name="T53" fmla="*/ 439 h 851"/>
                <a:gd name="T54" fmla="*/ 720 w 729"/>
                <a:gd name="T55" fmla="*/ 445 h 851"/>
                <a:gd name="T56" fmla="*/ 714 w 729"/>
                <a:gd name="T57" fmla="*/ 451 h 851"/>
                <a:gd name="T58" fmla="*/ 46 w 729"/>
                <a:gd name="T59" fmla="*/ 846 h 851"/>
                <a:gd name="T60" fmla="*/ 38 w 729"/>
                <a:gd name="T61" fmla="*/ 849 h 851"/>
                <a:gd name="T62" fmla="*/ 30 w 729"/>
                <a:gd name="T63"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9" h="851">
                  <a:moveTo>
                    <a:pt x="61" y="84"/>
                  </a:moveTo>
                  <a:lnTo>
                    <a:pt x="61" y="767"/>
                  </a:lnTo>
                  <a:lnTo>
                    <a:pt x="640" y="425"/>
                  </a:lnTo>
                  <a:lnTo>
                    <a:pt x="61" y="84"/>
                  </a:lnTo>
                  <a:close/>
                  <a:moveTo>
                    <a:pt x="30" y="851"/>
                  </a:moveTo>
                  <a:lnTo>
                    <a:pt x="22" y="849"/>
                  </a:lnTo>
                  <a:lnTo>
                    <a:pt x="15" y="846"/>
                  </a:lnTo>
                  <a:lnTo>
                    <a:pt x="9" y="842"/>
                  </a:lnTo>
                  <a:lnTo>
                    <a:pt x="4" y="835"/>
                  </a:lnTo>
                  <a:lnTo>
                    <a:pt x="0" y="828"/>
                  </a:lnTo>
                  <a:lnTo>
                    <a:pt x="0" y="821"/>
                  </a:lnTo>
                  <a:lnTo>
                    <a:pt x="0" y="30"/>
                  </a:lnTo>
                  <a:lnTo>
                    <a:pt x="0" y="22"/>
                  </a:lnTo>
                  <a:lnTo>
                    <a:pt x="4" y="14"/>
                  </a:lnTo>
                  <a:lnTo>
                    <a:pt x="9" y="9"/>
                  </a:lnTo>
                  <a:lnTo>
                    <a:pt x="15" y="3"/>
                  </a:lnTo>
                  <a:lnTo>
                    <a:pt x="22" y="0"/>
                  </a:lnTo>
                  <a:lnTo>
                    <a:pt x="30" y="0"/>
                  </a:lnTo>
                  <a:lnTo>
                    <a:pt x="38" y="0"/>
                  </a:lnTo>
                  <a:lnTo>
                    <a:pt x="45" y="3"/>
                  </a:lnTo>
                  <a:lnTo>
                    <a:pt x="714" y="397"/>
                  </a:lnTo>
                  <a:lnTo>
                    <a:pt x="720" y="403"/>
                  </a:lnTo>
                  <a:lnTo>
                    <a:pt x="724" y="409"/>
                  </a:lnTo>
                  <a:lnTo>
                    <a:pt x="729" y="416"/>
                  </a:lnTo>
                  <a:lnTo>
                    <a:pt x="729" y="423"/>
                  </a:lnTo>
                  <a:lnTo>
                    <a:pt x="729" y="432"/>
                  </a:lnTo>
                  <a:lnTo>
                    <a:pt x="724" y="439"/>
                  </a:lnTo>
                  <a:lnTo>
                    <a:pt x="720" y="445"/>
                  </a:lnTo>
                  <a:lnTo>
                    <a:pt x="714" y="451"/>
                  </a:lnTo>
                  <a:lnTo>
                    <a:pt x="46" y="846"/>
                  </a:lnTo>
                  <a:lnTo>
                    <a:pt x="38"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2" name="Freeform 29">
              <a:extLst>
                <a:ext uri="{FF2B5EF4-FFF2-40B4-BE49-F238E27FC236}">
                  <a16:creationId xmlns:a16="http://schemas.microsoft.com/office/drawing/2014/main" id="{19B03462-C30D-4723-B651-D00CAB44C465}"/>
                </a:ext>
              </a:extLst>
            </p:cNvPr>
            <p:cNvSpPr>
              <a:spLocks/>
            </p:cNvSpPr>
            <p:nvPr/>
          </p:nvSpPr>
          <p:spPr bwMode="auto">
            <a:xfrm>
              <a:off x="2123688" y="5550133"/>
              <a:ext cx="19323" cy="261326"/>
            </a:xfrm>
            <a:custGeom>
              <a:avLst/>
              <a:gdLst>
                <a:gd name="T0" fmla="*/ 31 w 61"/>
                <a:gd name="T1" fmla="*/ 851 h 851"/>
                <a:gd name="T2" fmla="*/ 25 w 61"/>
                <a:gd name="T3" fmla="*/ 849 h 851"/>
                <a:gd name="T4" fmla="*/ 19 w 61"/>
                <a:gd name="T5" fmla="*/ 848 h 851"/>
                <a:gd name="T6" fmla="*/ 13 w 61"/>
                <a:gd name="T7" fmla="*/ 845 h 851"/>
                <a:gd name="T8" fmla="*/ 9 w 61"/>
                <a:gd name="T9" fmla="*/ 841 h 851"/>
                <a:gd name="T10" fmla="*/ 6 w 61"/>
                <a:gd name="T11" fmla="*/ 836 h 851"/>
                <a:gd name="T12" fmla="*/ 3 w 61"/>
                <a:gd name="T13" fmla="*/ 832 h 851"/>
                <a:gd name="T14" fmla="*/ 0 w 61"/>
                <a:gd name="T15" fmla="*/ 826 h 851"/>
                <a:gd name="T16" fmla="*/ 0 w 61"/>
                <a:gd name="T17" fmla="*/ 821 h 851"/>
                <a:gd name="T18" fmla="*/ 0 w 61"/>
                <a:gd name="T19" fmla="*/ 30 h 851"/>
                <a:gd name="T20" fmla="*/ 0 w 61"/>
                <a:gd name="T21" fmla="*/ 23 h 851"/>
                <a:gd name="T22" fmla="*/ 3 w 61"/>
                <a:gd name="T23" fmla="*/ 17 h 851"/>
                <a:gd name="T24" fmla="*/ 6 w 61"/>
                <a:gd name="T25" fmla="*/ 13 h 851"/>
                <a:gd name="T26" fmla="*/ 9 w 61"/>
                <a:gd name="T27" fmla="*/ 9 h 851"/>
                <a:gd name="T28" fmla="*/ 13 w 61"/>
                <a:gd name="T29" fmla="*/ 4 h 851"/>
                <a:gd name="T30" fmla="*/ 19 w 61"/>
                <a:gd name="T31" fmla="*/ 2 h 851"/>
                <a:gd name="T32" fmla="*/ 25 w 61"/>
                <a:gd name="T33" fmla="*/ 0 h 851"/>
                <a:gd name="T34" fmla="*/ 31 w 61"/>
                <a:gd name="T35" fmla="*/ 0 h 851"/>
                <a:gd name="T36" fmla="*/ 36 w 61"/>
                <a:gd name="T37" fmla="*/ 0 h 851"/>
                <a:gd name="T38" fmla="*/ 42 w 61"/>
                <a:gd name="T39" fmla="*/ 2 h 851"/>
                <a:gd name="T40" fmla="*/ 48 w 61"/>
                <a:gd name="T41" fmla="*/ 4 h 851"/>
                <a:gd name="T42" fmla="*/ 52 w 61"/>
                <a:gd name="T43" fmla="*/ 9 h 851"/>
                <a:gd name="T44" fmla="*/ 56 w 61"/>
                <a:gd name="T45" fmla="*/ 13 h 851"/>
                <a:gd name="T46" fmla="*/ 59 w 61"/>
                <a:gd name="T47" fmla="*/ 17 h 851"/>
                <a:gd name="T48" fmla="*/ 61 w 61"/>
                <a:gd name="T49" fmla="*/ 23 h 851"/>
                <a:gd name="T50" fmla="*/ 61 w 61"/>
                <a:gd name="T51" fmla="*/ 30 h 851"/>
                <a:gd name="T52" fmla="*/ 61 w 61"/>
                <a:gd name="T53" fmla="*/ 821 h 851"/>
                <a:gd name="T54" fmla="*/ 61 w 61"/>
                <a:gd name="T55" fmla="*/ 826 h 851"/>
                <a:gd name="T56" fmla="*/ 59 w 61"/>
                <a:gd name="T57" fmla="*/ 832 h 851"/>
                <a:gd name="T58" fmla="*/ 56 w 61"/>
                <a:gd name="T59" fmla="*/ 836 h 851"/>
                <a:gd name="T60" fmla="*/ 52 w 61"/>
                <a:gd name="T61" fmla="*/ 841 h 851"/>
                <a:gd name="T62" fmla="*/ 48 w 61"/>
                <a:gd name="T63" fmla="*/ 845 h 851"/>
                <a:gd name="T64" fmla="*/ 42 w 61"/>
                <a:gd name="T65" fmla="*/ 848 h 851"/>
                <a:gd name="T66" fmla="*/ 36 w 61"/>
                <a:gd name="T67" fmla="*/ 849 h 851"/>
                <a:gd name="T68" fmla="*/ 31 w 61"/>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851">
                  <a:moveTo>
                    <a:pt x="31" y="851"/>
                  </a:moveTo>
                  <a:lnTo>
                    <a:pt x="25" y="849"/>
                  </a:lnTo>
                  <a:lnTo>
                    <a:pt x="19" y="848"/>
                  </a:lnTo>
                  <a:lnTo>
                    <a:pt x="13" y="845"/>
                  </a:lnTo>
                  <a:lnTo>
                    <a:pt x="9" y="841"/>
                  </a:lnTo>
                  <a:lnTo>
                    <a:pt x="6" y="836"/>
                  </a:lnTo>
                  <a:lnTo>
                    <a:pt x="3" y="832"/>
                  </a:lnTo>
                  <a:lnTo>
                    <a:pt x="0" y="826"/>
                  </a:lnTo>
                  <a:lnTo>
                    <a:pt x="0" y="821"/>
                  </a:lnTo>
                  <a:lnTo>
                    <a:pt x="0" y="30"/>
                  </a:lnTo>
                  <a:lnTo>
                    <a:pt x="0" y="23"/>
                  </a:lnTo>
                  <a:lnTo>
                    <a:pt x="3" y="17"/>
                  </a:lnTo>
                  <a:lnTo>
                    <a:pt x="6" y="13"/>
                  </a:lnTo>
                  <a:lnTo>
                    <a:pt x="9" y="9"/>
                  </a:lnTo>
                  <a:lnTo>
                    <a:pt x="13" y="4"/>
                  </a:lnTo>
                  <a:lnTo>
                    <a:pt x="19" y="2"/>
                  </a:lnTo>
                  <a:lnTo>
                    <a:pt x="25" y="0"/>
                  </a:lnTo>
                  <a:lnTo>
                    <a:pt x="31" y="0"/>
                  </a:lnTo>
                  <a:lnTo>
                    <a:pt x="36" y="0"/>
                  </a:lnTo>
                  <a:lnTo>
                    <a:pt x="42" y="2"/>
                  </a:lnTo>
                  <a:lnTo>
                    <a:pt x="48" y="4"/>
                  </a:lnTo>
                  <a:lnTo>
                    <a:pt x="52" y="9"/>
                  </a:lnTo>
                  <a:lnTo>
                    <a:pt x="56" y="13"/>
                  </a:lnTo>
                  <a:lnTo>
                    <a:pt x="59" y="17"/>
                  </a:lnTo>
                  <a:lnTo>
                    <a:pt x="61" y="23"/>
                  </a:lnTo>
                  <a:lnTo>
                    <a:pt x="61" y="30"/>
                  </a:lnTo>
                  <a:lnTo>
                    <a:pt x="61" y="821"/>
                  </a:lnTo>
                  <a:lnTo>
                    <a:pt x="61" y="826"/>
                  </a:lnTo>
                  <a:lnTo>
                    <a:pt x="59" y="832"/>
                  </a:lnTo>
                  <a:lnTo>
                    <a:pt x="56" y="836"/>
                  </a:lnTo>
                  <a:lnTo>
                    <a:pt x="52" y="841"/>
                  </a:lnTo>
                  <a:lnTo>
                    <a:pt x="48" y="845"/>
                  </a:lnTo>
                  <a:lnTo>
                    <a:pt x="42" y="848"/>
                  </a:lnTo>
                  <a:lnTo>
                    <a:pt x="36" y="849"/>
                  </a:lnTo>
                  <a:lnTo>
                    <a:pt x="31"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sp>
        <p:nvSpPr>
          <p:cNvPr id="530" name="Freeform 27">
            <a:extLst>
              <a:ext uri="{FF2B5EF4-FFF2-40B4-BE49-F238E27FC236}">
                <a16:creationId xmlns:a16="http://schemas.microsoft.com/office/drawing/2014/main" id="{EDFCEFE1-2330-4267-A2AD-F4137386DFB4}"/>
              </a:ext>
            </a:extLst>
          </p:cNvPr>
          <p:cNvSpPr>
            <a:spLocks noChangeAspect="1" noEditPoints="1"/>
          </p:cNvSpPr>
          <p:nvPr/>
        </p:nvSpPr>
        <p:spPr bwMode="auto">
          <a:xfrm>
            <a:off x="4894722" y="2217578"/>
            <a:ext cx="311734" cy="223185"/>
          </a:xfrm>
          <a:custGeom>
            <a:avLst/>
            <a:gdLst>
              <a:gd name="T0" fmla="*/ 1691 w 2320"/>
              <a:gd name="T1" fmla="*/ 264 h 1507"/>
              <a:gd name="T2" fmla="*/ 1995 w 2320"/>
              <a:gd name="T3" fmla="*/ 315 h 1507"/>
              <a:gd name="T4" fmla="*/ 1971 w 2320"/>
              <a:gd name="T5" fmla="*/ 504 h 1507"/>
              <a:gd name="T6" fmla="*/ 1813 w 2320"/>
              <a:gd name="T7" fmla="*/ 609 h 1507"/>
              <a:gd name="T8" fmla="*/ 1658 w 2320"/>
              <a:gd name="T9" fmla="*/ 573 h 1507"/>
              <a:gd name="T10" fmla="*/ 1557 w 2320"/>
              <a:gd name="T11" fmla="*/ 437 h 1507"/>
              <a:gd name="T12" fmla="*/ 1880 w 2320"/>
              <a:gd name="T13" fmla="*/ 105 h 1507"/>
              <a:gd name="T14" fmla="*/ 1875 w 2320"/>
              <a:gd name="T15" fmla="*/ 234 h 1507"/>
              <a:gd name="T16" fmla="*/ 1624 w 2320"/>
              <a:gd name="T17" fmla="*/ 191 h 1507"/>
              <a:gd name="T18" fmla="*/ 1688 w 2320"/>
              <a:gd name="T19" fmla="*/ 101 h 1507"/>
              <a:gd name="T20" fmla="*/ 94 w 2320"/>
              <a:gd name="T21" fmla="*/ 909 h 1507"/>
              <a:gd name="T22" fmla="*/ 345 w 2320"/>
              <a:gd name="T23" fmla="*/ 795 h 1507"/>
              <a:gd name="T24" fmla="*/ 479 w 2320"/>
              <a:gd name="T25" fmla="*/ 685 h 1507"/>
              <a:gd name="T26" fmla="*/ 670 w 2320"/>
              <a:gd name="T27" fmla="*/ 755 h 1507"/>
              <a:gd name="T28" fmla="*/ 926 w 2320"/>
              <a:gd name="T29" fmla="*/ 858 h 1507"/>
              <a:gd name="T30" fmla="*/ 302 w 2320"/>
              <a:gd name="T31" fmla="*/ 346 h 1507"/>
              <a:gd name="T32" fmla="*/ 513 w 2320"/>
              <a:gd name="T33" fmla="*/ 305 h 1507"/>
              <a:gd name="T34" fmla="*/ 774 w 2320"/>
              <a:gd name="T35" fmla="*/ 300 h 1507"/>
              <a:gd name="T36" fmla="*/ 749 w 2320"/>
              <a:gd name="T37" fmla="*/ 472 h 1507"/>
              <a:gd name="T38" fmla="*/ 633 w 2320"/>
              <a:gd name="T39" fmla="*/ 590 h 1507"/>
              <a:gd name="T40" fmla="*/ 469 w 2320"/>
              <a:gd name="T41" fmla="*/ 599 h 1507"/>
              <a:gd name="T42" fmla="*/ 343 w 2320"/>
              <a:gd name="T43" fmla="*/ 494 h 1507"/>
              <a:gd name="T44" fmla="*/ 556 w 2320"/>
              <a:gd name="T45" fmla="*/ 81 h 1507"/>
              <a:gd name="T46" fmla="*/ 737 w 2320"/>
              <a:gd name="T47" fmla="*/ 198 h 1507"/>
              <a:gd name="T48" fmla="*/ 561 w 2320"/>
              <a:gd name="T49" fmla="*/ 206 h 1507"/>
              <a:gd name="T50" fmla="*/ 373 w 2320"/>
              <a:gd name="T51" fmla="*/ 158 h 1507"/>
              <a:gd name="T52" fmla="*/ 2054 w 2320"/>
              <a:gd name="T53" fmla="*/ 737 h 1507"/>
              <a:gd name="T54" fmla="*/ 1969 w 2320"/>
              <a:gd name="T55" fmla="*/ 624 h 1507"/>
              <a:gd name="T56" fmla="*/ 2097 w 2320"/>
              <a:gd name="T57" fmla="*/ 346 h 1507"/>
              <a:gd name="T58" fmla="*/ 2025 w 2320"/>
              <a:gd name="T59" fmla="*/ 127 h 1507"/>
              <a:gd name="T60" fmla="*/ 1845 w 2320"/>
              <a:gd name="T61" fmla="*/ 7 h 1507"/>
              <a:gd name="T62" fmla="*/ 1629 w 2320"/>
              <a:gd name="T63" fmla="*/ 43 h 1507"/>
              <a:gd name="T64" fmla="*/ 1488 w 2320"/>
              <a:gd name="T65" fmla="*/ 212 h 1507"/>
              <a:gd name="T66" fmla="*/ 1489 w 2320"/>
              <a:gd name="T67" fmla="*/ 483 h 1507"/>
              <a:gd name="T68" fmla="*/ 1605 w 2320"/>
              <a:gd name="T69" fmla="*/ 687 h 1507"/>
              <a:gd name="T70" fmla="*/ 1343 w 2320"/>
              <a:gd name="T71" fmla="*/ 794 h 1507"/>
              <a:gd name="T72" fmla="*/ 1246 w 2320"/>
              <a:gd name="T73" fmla="*/ 927 h 1507"/>
              <a:gd name="T74" fmla="*/ 1066 w 2320"/>
              <a:gd name="T75" fmla="*/ 892 h 1507"/>
              <a:gd name="T76" fmla="*/ 896 w 2320"/>
              <a:gd name="T77" fmla="*/ 761 h 1507"/>
              <a:gd name="T78" fmla="*/ 696 w 2320"/>
              <a:gd name="T79" fmla="*/ 657 h 1507"/>
              <a:gd name="T80" fmla="*/ 851 w 2320"/>
              <a:gd name="T81" fmla="*/ 416 h 1507"/>
              <a:gd name="T82" fmla="*/ 812 w 2320"/>
              <a:gd name="T83" fmla="*/ 167 h 1507"/>
              <a:gd name="T84" fmla="*/ 649 w 2320"/>
              <a:gd name="T85" fmla="*/ 21 h 1507"/>
              <a:gd name="T86" fmla="*/ 431 w 2320"/>
              <a:gd name="T87" fmla="*/ 21 h 1507"/>
              <a:gd name="T88" fmla="*/ 269 w 2320"/>
              <a:gd name="T89" fmla="*/ 167 h 1507"/>
              <a:gd name="T90" fmla="*/ 230 w 2320"/>
              <a:gd name="T91" fmla="*/ 416 h 1507"/>
              <a:gd name="T92" fmla="*/ 383 w 2320"/>
              <a:gd name="T93" fmla="*/ 657 h 1507"/>
              <a:gd name="T94" fmla="*/ 184 w 2320"/>
              <a:gd name="T95" fmla="*/ 761 h 1507"/>
              <a:gd name="T96" fmla="*/ 15 w 2320"/>
              <a:gd name="T97" fmla="*/ 892 h 1507"/>
              <a:gd name="T98" fmla="*/ 1638 w 2320"/>
              <a:gd name="T99" fmla="*/ 1445 h 1507"/>
              <a:gd name="T100" fmla="*/ 1693 w 2320"/>
              <a:gd name="T101" fmla="*/ 1500 h 1507"/>
              <a:gd name="T102" fmla="*/ 1679 w 2320"/>
              <a:gd name="T103" fmla="*/ 959 h 1507"/>
              <a:gd name="T104" fmla="*/ 1814 w 2320"/>
              <a:gd name="T105" fmla="*/ 1199 h 1507"/>
              <a:gd name="T106" fmla="*/ 1410 w 2320"/>
              <a:gd name="T107" fmla="*/ 851 h 1507"/>
              <a:gd name="T108" fmla="*/ 1659 w 2320"/>
              <a:gd name="T109" fmla="*/ 747 h 1507"/>
              <a:gd name="T110" fmla="*/ 1860 w 2320"/>
              <a:gd name="T111" fmla="*/ 680 h 1507"/>
              <a:gd name="T112" fmla="*/ 1990 w 2320"/>
              <a:gd name="T113" fmla="*/ 800 h 1507"/>
              <a:gd name="T114" fmla="*/ 2232 w 2320"/>
              <a:gd name="T115" fmla="*/ 921 h 1507"/>
              <a:gd name="T116" fmla="*/ 2025 w 2320"/>
              <a:gd name="T117" fmla="*/ 1239 h 1507"/>
              <a:gd name="T118" fmla="*/ 2313 w 2320"/>
              <a:gd name="T119" fmla="*/ 1262 h 1507"/>
              <a:gd name="T120" fmla="*/ 2292 w 2320"/>
              <a:gd name="T121" fmla="*/ 862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0" h="1507">
                <a:moveTo>
                  <a:pt x="1542" y="346"/>
                </a:moveTo>
                <a:lnTo>
                  <a:pt x="1542" y="334"/>
                </a:lnTo>
                <a:lnTo>
                  <a:pt x="1544" y="322"/>
                </a:lnTo>
                <a:lnTo>
                  <a:pt x="1545" y="311"/>
                </a:lnTo>
                <a:lnTo>
                  <a:pt x="1547" y="300"/>
                </a:lnTo>
                <a:lnTo>
                  <a:pt x="1568" y="296"/>
                </a:lnTo>
                <a:lnTo>
                  <a:pt x="1587" y="291"/>
                </a:lnTo>
                <a:lnTo>
                  <a:pt x="1606" y="287"/>
                </a:lnTo>
                <a:lnTo>
                  <a:pt x="1622" y="280"/>
                </a:lnTo>
                <a:lnTo>
                  <a:pt x="1638" y="274"/>
                </a:lnTo>
                <a:lnTo>
                  <a:pt x="1651" y="268"/>
                </a:lnTo>
                <a:lnTo>
                  <a:pt x="1662" y="261"/>
                </a:lnTo>
                <a:lnTo>
                  <a:pt x="1672" y="255"/>
                </a:lnTo>
                <a:lnTo>
                  <a:pt x="1691" y="264"/>
                </a:lnTo>
                <a:lnTo>
                  <a:pt x="1714" y="274"/>
                </a:lnTo>
                <a:lnTo>
                  <a:pt x="1740" y="284"/>
                </a:lnTo>
                <a:lnTo>
                  <a:pt x="1772" y="294"/>
                </a:lnTo>
                <a:lnTo>
                  <a:pt x="1789" y="300"/>
                </a:lnTo>
                <a:lnTo>
                  <a:pt x="1807" y="305"/>
                </a:lnTo>
                <a:lnTo>
                  <a:pt x="1826" y="308"/>
                </a:lnTo>
                <a:lnTo>
                  <a:pt x="1846" y="311"/>
                </a:lnTo>
                <a:lnTo>
                  <a:pt x="1866" y="315"/>
                </a:lnTo>
                <a:lnTo>
                  <a:pt x="1887" y="317"/>
                </a:lnTo>
                <a:lnTo>
                  <a:pt x="1909" y="318"/>
                </a:lnTo>
                <a:lnTo>
                  <a:pt x="1932" y="318"/>
                </a:lnTo>
                <a:lnTo>
                  <a:pt x="1952" y="318"/>
                </a:lnTo>
                <a:lnTo>
                  <a:pt x="1973" y="317"/>
                </a:lnTo>
                <a:lnTo>
                  <a:pt x="1995" y="315"/>
                </a:lnTo>
                <a:lnTo>
                  <a:pt x="2016" y="311"/>
                </a:lnTo>
                <a:lnTo>
                  <a:pt x="2017" y="320"/>
                </a:lnTo>
                <a:lnTo>
                  <a:pt x="2017" y="328"/>
                </a:lnTo>
                <a:lnTo>
                  <a:pt x="2018" y="337"/>
                </a:lnTo>
                <a:lnTo>
                  <a:pt x="2018" y="346"/>
                </a:lnTo>
                <a:lnTo>
                  <a:pt x="2017" y="365"/>
                </a:lnTo>
                <a:lnTo>
                  <a:pt x="2016" y="385"/>
                </a:lnTo>
                <a:lnTo>
                  <a:pt x="2012" y="403"/>
                </a:lnTo>
                <a:lnTo>
                  <a:pt x="2008" y="422"/>
                </a:lnTo>
                <a:lnTo>
                  <a:pt x="2002" y="440"/>
                </a:lnTo>
                <a:lnTo>
                  <a:pt x="1996" y="457"/>
                </a:lnTo>
                <a:lnTo>
                  <a:pt x="1989" y="474"/>
                </a:lnTo>
                <a:lnTo>
                  <a:pt x="1980" y="489"/>
                </a:lnTo>
                <a:lnTo>
                  <a:pt x="1971" y="504"/>
                </a:lnTo>
                <a:lnTo>
                  <a:pt x="1961" y="518"/>
                </a:lnTo>
                <a:lnTo>
                  <a:pt x="1950" y="532"/>
                </a:lnTo>
                <a:lnTo>
                  <a:pt x="1937" y="544"/>
                </a:lnTo>
                <a:lnTo>
                  <a:pt x="1925" y="556"/>
                </a:lnTo>
                <a:lnTo>
                  <a:pt x="1912" y="566"/>
                </a:lnTo>
                <a:lnTo>
                  <a:pt x="1897" y="577"/>
                </a:lnTo>
                <a:lnTo>
                  <a:pt x="1883" y="585"/>
                </a:lnTo>
                <a:lnTo>
                  <a:pt x="1878" y="587"/>
                </a:lnTo>
                <a:lnTo>
                  <a:pt x="1873" y="589"/>
                </a:lnTo>
                <a:lnTo>
                  <a:pt x="1869" y="591"/>
                </a:lnTo>
                <a:lnTo>
                  <a:pt x="1865" y="593"/>
                </a:lnTo>
                <a:lnTo>
                  <a:pt x="1845" y="601"/>
                </a:lnTo>
                <a:lnTo>
                  <a:pt x="1824" y="607"/>
                </a:lnTo>
                <a:lnTo>
                  <a:pt x="1813" y="609"/>
                </a:lnTo>
                <a:lnTo>
                  <a:pt x="1802" y="610"/>
                </a:lnTo>
                <a:lnTo>
                  <a:pt x="1792" y="611"/>
                </a:lnTo>
                <a:lnTo>
                  <a:pt x="1781" y="611"/>
                </a:lnTo>
                <a:lnTo>
                  <a:pt x="1768" y="611"/>
                </a:lnTo>
                <a:lnTo>
                  <a:pt x="1756" y="610"/>
                </a:lnTo>
                <a:lnTo>
                  <a:pt x="1744" y="608"/>
                </a:lnTo>
                <a:lnTo>
                  <a:pt x="1733" y="606"/>
                </a:lnTo>
                <a:lnTo>
                  <a:pt x="1721" y="603"/>
                </a:lnTo>
                <a:lnTo>
                  <a:pt x="1709" y="599"/>
                </a:lnTo>
                <a:lnTo>
                  <a:pt x="1699" y="596"/>
                </a:lnTo>
                <a:lnTo>
                  <a:pt x="1688" y="590"/>
                </a:lnTo>
                <a:lnTo>
                  <a:pt x="1678" y="585"/>
                </a:lnTo>
                <a:lnTo>
                  <a:pt x="1667" y="579"/>
                </a:lnTo>
                <a:lnTo>
                  <a:pt x="1658" y="573"/>
                </a:lnTo>
                <a:lnTo>
                  <a:pt x="1648" y="566"/>
                </a:lnTo>
                <a:lnTo>
                  <a:pt x="1639" y="559"/>
                </a:lnTo>
                <a:lnTo>
                  <a:pt x="1630" y="551"/>
                </a:lnTo>
                <a:lnTo>
                  <a:pt x="1621" y="542"/>
                </a:lnTo>
                <a:lnTo>
                  <a:pt x="1612" y="534"/>
                </a:lnTo>
                <a:lnTo>
                  <a:pt x="1604" y="524"/>
                </a:lnTo>
                <a:lnTo>
                  <a:pt x="1597" y="515"/>
                </a:lnTo>
                <a:lnTo>
                  <a:pt x="1589" y="505"/>
                </a:lnTo>
                <a:lnTo>
                  <a:pt x="1583" y="494"/>
                </a:lnTo>
                <a:lnTo>
                  <a:pt x="1577" y="484"/>
                </a:lnTo>
                <a:lnTo>
                  <a:pt x="1572" y="472"/>
                </a:lnTo>
                <a:lnTo>
                  <a:pt x="1566" y="461"/>
                </a:lnTo>
                <a:lnTo>
                  <a:pt x="1561" y="449"/>
                </a:lnTo>
                <a:lnTo>
                  <a:pt x="1557" y="437"/>
                </a:lnTo>
                <a:lnTo>
                  <a:pt x="1554" y="424"/>
                </a:lnTo>
                <a:lnTo>
                  <a:pt x="1550" y="412"/>
                </a:lnTo>
                <a:lnTo>
                  <a:pt x="1547" y="400"/>
                </a:lnTo>
                <a:lnTo>
                  <a:pt x="1546" y="386"/>
                </a:lnTo>
                <a:lnTo>
                  <a:pt x="1544" y="373"/>
                </a:lnTo>
                <a:lnTo>
                  <a:pt x="1542" y="359"/>
                </a:lnTo>
                <a:lnTo>
                  <a:pt x="1542" y="346"/>
                </a:lnTo>
                <a:close/>
                <a:moveTo>
                  <a:pt x="1781" y="81"/>
                </a:moveTo>
                <a:lnTo>
                  <a:pt x="1798" y="81"/>
                </a:lnTo>
                <a:lnTo>
                  <a:pt x="1815" y="83"/>
                </a:lnTo>
                <a:lnTo>
                  <a:pt x="1832" y="86"/>
                </a:lnTo>
                <a:lnTo>
                  <a:pt x="1849" y="92"/>
                </a:lnTo>
                <a:lnTo>
                  <a:pt x="1865" y="97"/>
                </a:lnTo>
                <a:lnTo>
                  <a:pt x="1880" y="105"/>
                </a:lnTo>
                <a:lnTo>
                  <a:pt x="1895" y="113"/>
                </a:lnTo>
                <a:lnTo>
                  <a:pt x="1909" y="123"/>
                </a:lnTo>
                <a:lnTo>
                  <a:pt x="1923" y="133"/>
                </a:lnTo>
                <a:lnTo>
                  <a:pt x="1935" y="146"/>
                </a:lnTo>
                <a:lnTo>
                  <a:pt x="1948" y="158"/>
                </a:lnTo>
                <a:lnTo>
                  <a:pt x="1959" y="171"/>
                </a:lnTo>
                <a:lnTo>
                  <a:pt x="1970" y="186"/>
                </a:lnTo>
                <a:lnTo>
                  <a:pt x="1979" y="200"/>
                </a:lnTo>
                <a:lnTo>
                  <a:pt x="1988" y="217"/>
                </a:lnTo>
                <a:lnTo>
                  <a:pt x="1996" y="233"/>
                </a:lnTo>
                <a:lnTo>
                  <a:pt x="1963" y="236"/>
                </a:lnTo>
                <a:lnTo>
                  <a:pt x="1932" y="237"/>
                </a:lnTo>
                <a:lnTo>
                  <a:pt x="1903" y="236"/>
                </a:lnTo>
                <a:lnTo>
                  <a:pt x="1875" y="234"/>
                </a:lnTo>
                <a:lnTo>
                  <a:pt x="1848" y="230"/>
                </a:lnTo>
                <a:lnTo>
                  <a:pt x="1823" y="225"/>
                </a:lnTo>
                <a:lnTo>
                  <a:pt x="1800" y="219"/>
                </a:lnTo>
                <a:lnTo>
                  <a:pt x="1779" y="213"/>
                </a:lnTo>
                <a:lnTo>
                  <a:pt x="1760" y="206"/>
                </a:lnTo>
                <a:lnTo>
                  <a:pt x="1742" y="199"/>
                </a:lnTo>
                <a:lnTo>
                  <a:pt x="1727" y="193"/>
                </a:lnTo>
                <a:lnTo>
                  <a:pt x="1715" y="187"/>
                </a:lnTo>
                <a:lnTo>
                  <a:pt x="1698" y="177"/>
                </a:lnTo>
                <a:lnTo>
                  <a:pt x="1691" y="174"/>
                </a:lnTo>
                <a:lnTo>
                  <a:pt x="1664" y="157"/>
                </a:lnTo>
                <a:lnTo>
                  <a:pt x="1641" y="178"/>
                </a:lnTo>
                <a:lnTo>
                  <a:pt x="1636" y="183"/>
                </a:lnTo>
                <a:lnTo>
                  <a:pt x="1624" y="191"/>
                </a:lnTo>
                <a:lnTo>
                  <a:pt x="1614" y="196"/>
                </a:lnTo>
                <a:lnTo>
                  <a:pt x="1603" y="202"/>
                </a:lnTo>
                <a:lnTo>
                  <a:pt x="1591" y="207"/>
                </a:lnTo>
                <a:lnTo>
                  <a:pt x="1575" y="212"/>
                </a:lnTo>
                <a:lnTo>
                  <a:pt x="1584" y="198"/>
                </a:lnTo>
                <a:lnTo>
                  <a:pt x="1593" y="184"/>
                </a:lnTo>
                <a:lnTo>
                  <a:pt x="1602" y="170"/>
                </a:lnTo>
                <a:lnTo>
                  <a:pt x="1613" y="158"/>
                </a:lnTo>
                <a:lnTo>
                  <a:pt x="1623" y="147"/>
                </a:lnTo>
                <a:lnTo>
                  <a:pt x="1635" y="136"/>
                </a:lnTo>
                <a:lnTo>
                  <a:pt x="1648" y="125"/>
                </a:lnTo>
                <a:lnTo>
                  <a:pt x="1660" y="116"/>
                </a:lnTo>
                <a:lnTo>
                  <a:pt x="1673" y="109"/>
                </a:lnTo>
                <a:lnTo>
                  <a:pt x="1688" y="101"/>
                </a:lnTo>
                <a:lnTo>
                  <a:pt x="1702" y="95"/>
                </a:lnTo>
                <a:lnTo>
                  <a:pt x="1717" y="90"/>
                </a:lnTo>
                <a:lnTo>
                  <a:pt x="1733" y="86"/>
                </a:lnTo>
                <a:lnTo>
                  <a:pt x="1748" y="83"/>
                </a:lnTo>
                <a:lnTo>
                  <a:pt x="1764" y="81"/>
                </a:lnTo>
                <a:lnTo>
                  <a:pt x="1781" y="81"/>
                </a:lnTo>
                <a:close/>
                <a:moveTo>
                  <a:pt x="620" y="1199"/>
                </a:moveTo>
                <a:lnTo>
                  <a:pt x="80" y="1199"/>
                </a:lnTo>
                <a:lnTo>
                  <a:pt x="80" y="985"/>
                </a:lnTo>
                <a:lnTo>
                  <a:pt x="81" y="966"/>
                </a:lnTo>
                <a:lnTo>
                  <a:pt x="82" y="949"/>
                </a:lnTo>
                <a:lnTo>
                  <a:pt x="85" y="935"/>
                </a:lnTo>
                <a:lnTo>
                  <a:pt x="89" y="921"/>
                </a:lnTo>
                <a:lnTo>
                  <a:pt x="94" y="909"/>
                </a:lnTo>
                <a:lnTo>
                  <a:pt x="100" y="898"/>
                </a:lnTo>
                <a:lnTo>
                  <a:pt x="108" y="889"/>
                </a:lnTo>
                <a:lnTo>
                  <a:pt x="117" y="880"/>
                </a:lnTo>
                <a:lnTo>
                  <a:pt x="128" y="872"/>
                </a:lnTo>
                <a:lnTo>
                  <a:pt x="140" y="864"/>
                </a:lnTo>
                <a:lnTo>
                  <a:pt x="155" y="858"/>
                </a:lnTo>
                <a:lnTo>
                  <a:pt x="170" y="851"/>
                </a:lnTo>
                <a:lnTo>
                  <a:pt x="207" y="838"/>
                </a:lnTo>
                <a:lnTo>
                  <a:pt x="252" y="825"/>
                </a:lnTo>
                <a:lnTo>
                  <a:pt x="271" y="819"/>
                </a:lnTo>
                <a:lnTo>
                  <a:pt x="290" y="814"/>
                </a:lnTo>
                <a:lnTo>
                  <a:pt x="310" y="807"/>
                </a:lnTo>
                <a:lnTo>
                  <a:pt x="330" y="800"/>
                </a:lnTo>
                <a:lnTo>
                  <a:pt x="345" y="795"/>
                </a:lnTo>
                <a:lnTo>
                  <a:pt x="357" y="789"/>
                </a:lnTo>
                <a:lnTo>
                  <a:pt x="370" y="784"/>
                </a:lnTo>
                <a:lnTo>
                  <a:pt x="381" y="777"/>
                </a:lnTo>
                <a:lnTo>
                  <a:pt x="392" y="770"/>
                </a:lnTo>
                <a:lnTo>
                  <a:pt x="401" y="762"/>
                </a:lnTo>
                <a:lnTo>
                  <a:pt x="410" y="755"/>
                </a:lnTo>
                <a:lnTo>
                  <a:pt x="419" y="747"/>
                </a:lnTo>
                <a:lnTo>
                  <a:pt x="426" y="739"/>
                </a:lnTo>
                <a:lnTo>
                  <a:pt x="432" y="731"/>
                </a:lnTo>
                <a:lnTo>
                  <a:pt x="439" y="722"/>
                </a:lnTo>
                <a:lnTo>
                  <a:pt x="443" y="713"/>
                </a:lnTo>
                <a:lnTo>
                  <a:pt x="452" y="696"/>
                </a:lnTo>
                <a:lnTo>
                  <a:pt x="459" y="680"/>
                </a:lnTo>
                <a:lnTo>
                  <a:pt x="479" y="685"/>
                </a:lnTo>
                <a:lnTo>
                  <a:pt x="499" y="688"/>
                </a:lnTo>
                <a:lnTo>
                  <a:pt x="520" y="691"/>
                </a:lnTo>
                <a:lnTo>
                  <a:pt x="540" y="692"/>
                </a:lnTo>
                <a:lnTo>
                  <a:pt x="561" y="691"/>
                </a:lnTo>
                <a:lnTo>
                  <a:pt x="581" y="688"/>
                </a:lnTo>
                <a:lnTo>
                  <a:pt x="601" y="685"/>
                </a:lnTo>
                <a:lnTo>
                  <a:pt x="620" y="680"/>
                </a:lnTo>
                <a:lnTo>
                  <a:pt x="627" y="696"/>
                </a:lnTo>
                <a:lnTo>
                  <a:pt x="636" y="713"/>
                </a:lnTo>
                <a:lnTo>
                  <a:pt x="642" y="722"/>
                </a:lnTo>
                <a:lnTo>
                  <a:pt x="648" y="731"/>
                </a:lnTo>
                <a:lnTo>
                  <a:pt x="655" y="739"/>
                </a:lnTo>
                <a:lnTo>
                  <a:pt x="662" y="747"/>
                </a:lnTo>
                <a:lnTo>
                  <a:pt x="670" y="755"/>
                </a:lnTo>
                <a:lnTo>
                  <a:pt x="678" y="762"/>
                </a:lnTo>
                <a:lnTo>
                  <a:pt x="689" y="770"/>
                </a:lnTo>
                <a:lnTo>
                  <a:pt x="699" y="777"/>
                </a:lnTo>
                <a:lnTo>
                  <a:pt x="710" y="784"/>
                </a:lnTo>
                <a:lnTo>
                  <a:pt x="722" y="789"/>
                </a:lnTo>
                <a:lnTo>
                  <a:pt x="736" y="795"/>
                </a:lnTo>
                <a:lnTo>
                  <a:pt x="750" y="800"/>
                </a:lnTo>
                <a:lnTo>
                  <a:pt x="770" y="807"/>
                </a:lnTo>
                <a:lnTo>
                  <a:pt x="790" y="814"/>
                </a:lnTo>
                <a:lnTo>
                  <a:pt x="809" y="819"/>
                </a:lnTo>
                <a:lnTo>
                  <a:pt x="828" y="825"/>
                </a:lnTo>
                <a:lnTo>
                  <a:pt x="873" y="838"/>
                </a:lnTo>
                <a:lnTo>
                  <a:pt x="910" y="851"/>
                </a:lnTo>
                <a:lnTo>
                  <a:pt x="926" y="858"/>
                </a:lnTo>
                <a:lnTo>
                  <a:pt x="940" y="864"/>
                </a:lnTo>
                <a:lnTo>
                  <a:pt x="953" y="872"/>
                </a:lnTo>
                <a:lnTo>
                  <a:pt x="963" y="880"/>
                </a:lnTo>
                <a:lnTo>
                  <a:pt x="973" y="889"/>
                </a:lnTo>
                <a:lnTo>
                  <a:pt x="980" y="898"/>
                </a:lnTo>
                <a:lnTo>
                  <a:pt x="986" y="909"/>
                </a:lnTo>
                <a:lnTo>
                  <a:pt x="992" y="921"/>
                </a:lnTo>
                <a:lnTo>
                  <a:pt x="995" y="935"/>
                </a:lnTo>
                <a:lnTo>
                  <a:pt x="997" y="949"/>
                </a:lnTo>
                <a:lnTo>
                  <a:pt x="1000" y="966"/>
                </a:lnTo>
                <a:lnTo>
                  <a:pt x="1000" y="985"/>
                </a:lnTo>
                <a:lnTo>
                  <a:pt x="1000" y="1199"/>
                </a:lnTo>
                <a:lnTo>
                  <a:pt x="620" y="1199"/>
                </a:lnTo>
                <a:close/>
                <a:moveTo>
                  <a:pt x="302" y="346"/>
                </a:moveTo>
                <a:lnTo>
                  <a:pt x="302" y="337"/>
                </a:lnTo>
                <a:lnTo>
                  <a:pt x="304" y="328"/>
                </a:lnTo>
                <a:lnTo>
                  <a:pt x="304" y="320"/>
                </a:lnTo>
                <a:lnTo>
                  <a:pt x="305" y="311"/>
                </a:lnTo>
                <a:lnTo>
                  <a:pt x="326" y="315"/>
                </a:lnTo>
                <a:lnTo>
                  <a:pt x="347" y="317"/>
                </a:lnTo>
                <a:lnTo>
                  <a:pt x="368" y="318"/>
                </a:lnTo>
                <a:lnTo>
                  <a:pt x="389" y="318"/>
                </a:lnTo>
                <a:lnTo>
                  <a:pt x="411" y="318"/>
                </a:lnTo>
                <a:lnTo>
                  <a:pt x="433" y="317"/>
                </a:lnTo>
                <a:lnTo>
                  <a:pt x="455" y="315"/>
                </a:lnTo>
                <a:lnTo>
                  <a:pt x="475" y="311"/>
                </a:lnTo>
                <a:lnTo>
                  <a:pt x="495" y="308"/>
                </a:lnTo>
                <a:lnTo>
                  <a:pt x="513" y="305"/>
                </a:lnTo>
                <a:lnTo>
                  <a:pt x="531" y="300"/>
                </a:lnTo>
                <a:lnTo>
                  <a:pt x="549" y="294"/>
                </a:lnTo>
                <a:lnTo>
                  <a:pt x="580" y="284"/>
                </a:lnTo>
                <a:lnTo>
                  <a:pt x="607" y="274"/>
                </a:lnTo>
                <a:lnTo>
                  <a:pt x="629" y="264"/>
                </a:lnTo>
                <a:lnTo>
                  <a:pt x="648" y="255"/>
                </a:lnTo>
                <a:lnTo>
                  <a:pt x="658" y="261"/>
                </a:lnTo>
                <a:lnTo>
                  <a:pt x="670" y="268"/>
                </a:lnTo>
                <a:lnTo>
                  <a:pt x="683" y="274"/>
                </a:lnTo>
                <a:lnTo>
                  <a:pt x="697" y="280"/>
                </a:lnTo>
                <a:lnTo>
                  <a:pt x="714" y="287"/>
                </a:lnTo>
                <a:lnTo>
                  <a:pt x="733" y="291"/>
                </a:lnTo>
                <a:lnTo>
                  <a:pt x="752" y="296"/>
                </a:lnTo>
                <a:lnTo>
                  <a:pt x="774" y="300"/>
                </a:lnTo>
                <a:lnTo>
                  <a:pt x="776" y="311"/>
                </a:lnTo>
                <a:lnTo>
                  <a:pt x="777" y="322"/>
                </a:lnTo>
                <a:lnTo>
                  <a:pt x="778" y="334"/>
                </a:lnTo>
                <a:lnTo>
                  <a:pt x="778" y="346"/>
                </a:lnTo>
                <a:lnTo>
                  <a:pt x="777" y="359"/>
                </a:lnTo>
                <a:lnTo>
                  <a:pt x="777" y="373"/>
                </a:lnTo>
                <a:lnTo>
                  <a:pt x="775" y="386"/>
                </a:lnTo>
                <a:lnTo>
                  <a:pt x="772" y="400"/>
                </a:lnTo>
                <a:lnTo>
                  <a:pt x="770" y="412"/>
                </a:lnTo>
                <a:lnTo>
                  <a:pt x="767" y="424"/>
                </a:lnTo>
                <a:lnTo>
                  <a:pt x="764" y="437"/>
                </a:lnTo>
                <a:lnTo>
                  <a:pt x="759" y="449"/>
                </a:lnTo>
                <a:lnTo>
                  <a:pt x="755" y="461"/>
                </a:lnTo>
                <a:lnTo>
                  <a:pt x="749" y="472"/>
                </a:lnTo>
                <a:lnTo>
                  <a:pt x="743" y="484"/>
                </a:lnTo>
                <a:lnTo>
                  <a:pt x="737" y="494"/>
                </a:lnTo>
                <a:lnTo>
                  <a:pt x="731" y="505"/>
                </a:lnTo>
                <a:lnTo>
                  <a:pt x="723" y="515"/>
                </a:lnTo>
                <a:lnTo>
                  <a:pt x="717" y="524"/>
                </a:lnTo>
                <a:lnTo>
                  <a:pt x="708" y="534"/>
                </a:lnTo>
                <a:lnTo>
                  <a:pt x="700" y="542"/>
                </a:lnTo>
                <a:lnTo>
                  <a:pt x="691" y="551"/>
                </a:lnTo>
                <a:lnTo>
                  <a:pt x="682" y="559"/>
                </a:lnTo>
                <a:lnTo>
                  <a:pt x="673" y="566"/>
                </a:lnTo>
                <a:lnTo>
                  <a:pt x="663" y="573"/>
                </a:lnTo>
                <a:lnTo>
                  <a:pt x="654" y="579"/>
                </a:lnTo>
                <a:lnTo>
                  <a:pt x="643" y="585"/>
                </a:lnTo>
                <a:lnTo>
                  <a:pt x="633" y="590"/>
                </a:lnTo>
                <a:lnTo>
                  <a:pt x="621" y="596"/>
                </a:lnTo>
                <a:lnTo>
                  <a:pt x="610" y="599"/>
                </a:lnTo>
                <a:lnTo>
                  <a:pt x="599" y="603"/>
                </a:lnTo>
                <a:lnTo>
                  <a:pt x="588" y="606"/>
                </a:lnTo>
                <a:lnTo>
                  <a:pt x="577" y="608"/>
                </a:lnTo>
                <a:lnTo>
                  <a:pt x="564" y="610"/>
                </a:lnTo>
                <a:lnTo>
                  <a:pt x="552" y="611"/>
                </a:lnTo>
                <a:lnTo>
                  <a:pt x="540" y="611"/>
                </a:lnTo>
                <a:lnTo>
                  <a:pt x="527" y="611"/>
                </a:lnTo>
                <a:lnTo>
                  <a:pt x="516" y="610"/>
                </a:lnTo>
                <a:lnTo>
                  <a:pt x="504" y="608"/>
                </a:lnTo>
                <a:lnTo>
                  <a:pt x="493" y="606"/>
                </a:lnTo>
                <a:lnTo>
                  <a:pt x="480" y="603"/>
                </a:lnTo>
                <a:lnTo>
                  <a:pt x="469" y="599"/>
                </a:lnTo>
                <a:lnTo>
                  <a:pt x="458" y="596"/>
                </a:lnTo>
                <a:lnTo>
                  <a:pt x="448" y="590"/>
                </a:lnTo>
                <a:lnTo>
                  <a:pt x="437" y="585"/>
                </a:lnTo>
                <a:lnTo>
                  <a:pt x="427" y="579"/>
                </a:lnTo>
                <a:lnTo>
                  <a:pt x="417" y="573"/>
                </a:lnTo>
                <a:lnTo>
                  <a:pt x="408" y="566"/>
                </a:lnTo>
                <a:lnTo>
                  <a:pt x="398" y="559"/>
                </a:lnTo>
                <a:lnTo>
                  <a:pt x="389" y="551"/>
                </a:lnTo>
                <a:lnTo>
                  <a:pt x="381" y="542"/>
                </a:lnTo>
                <a:lnTo>
                  <a:pt x="372" y="534"/>
                </a:lnTo>
                <a:lnTo>
                  <a:pt x="364" y="524"/>
                </a:lnTo>
                <a:lnTo>
                  <a:pt x="357" y="515"/>
                </a:lnTo>
                <a:lnTo>
                  <a:pt x="349" y="505"/>
                </a:lnTo>
                <a:lnTo>
                  <a:pt x="343" y="494"/>
                </a:lnTo>
                <a:lnTo>
                  <a:pt x="337" y="484"/>
                </a:lnTo>
                <a:lnTo>
                  <a:pt x="332" y="472"/>
                </a:lnTo>
                <a:lnTo>
                  <a:pt x="326" y="461"/>
                </a:lnTo>
                <a:lnTo>
                  <a:pt x="321" y="449"/>
                </a:lnTo>
                <a:lnTo>
                  <a:pt x="317" y="437"/>
                </a:lnTo>
                <a:lnTo>
                  <a:pt x="314" y="424"/>
                </a:lnTo>
                <a:lnTo>
                  <a:pt x="310" y="412"/>
                </a:lnTo>
                <a:lnTo>
                  <a:pt x="307" y="400"/>
                </a:lnTo>
                <a:lnTo>
                  <a:pt x="305" y="386"/>
                </a:lnTo>
                <a:lnTo>
                  <a:pt x="304" y="373"/>
                </a:lnTo>
                <a:lnTo>
                  <a:pt x="302" y="359"/>
                </a:lnTo>
                <a:lnTo>
                  <a:pt x="302" y="346"/>
                </a:lnTo>
                <a:close/>
                <a:moveTo>
                  <a:pt x="540" y="81"/>
                </a:moveTo>
                <a:lnTo>
                  <a:pt x="556" y="81"/>
                </a:lnTo>
                <a:lnTo>
                  <a:pt x="572" y="83"/>
                </a:lnTo>
                <a:lnTo>
                  <a:pt x="588" y="86"/>
                </a:lnTo>
                <a:lnTo>
                  <a:pt x="603" y="90"/>
                </a:lnTo>
                <a:lnTo>
                  <a:pt x="618" y="95"/>
                </a:lnTo>
                <a:lnTo>
                  <a:pt x="633" y="101"/>
                </a:lnTo>
                <a:lnTo>
                  <a:pt x="646" y="109"/>
                </a:lnTo>
                <a:lnTo>
                  <a:pt x="659" y="116"/>
                </a:lnTo>
                <a:lnTo>
                  <a:pt x="673" y="125"/>
                </a:lnTo>
                <a:lnTo>
                  <a:pt x="685" y="136"/>
                </a:lnTo>
                <a:lnTo>
                  <a:pt x="697" y="147"/>
                </a:lnTo>
                <a:lnTo>
                  <a:pt x="708" y="158"/>
                </a:lnTo>
                <a:lnTo>
                  <a:pt x="719" y="170"/>
                </a:lnTo>
                <a:lnTo>
                  <a:pt x="728" y="184"/>
                </a:lnTo>
                <a:lnTo>
                  <a:pt x="737" y="198"/>
                </a:lnTo>
                <a:lnTo>
                  <a:pt x="746" y="212"/>
                </a:lnTo>
                <a:lnTo>
                  <a:pt x="730" y="207"/>
                </a:lnTo>
                <a:lnTo>
                  <a:pt x="717" y="202"/>
                </a:lnTo>
                <a:lnTo>
                  <a:pt x="706" y="196"/>
                </a:lnTo>
                <a:lnTo>
                  <a:pt x="696" y="191"/>
                </a:lnTo>
                <a:lnTo>
                  <a:pt x="684" y="183"/>
                </a:lnTo>
                <a:lnTo>
                  <a:pt x="680" y="179"/>
                </a:lnTo>
                <a:lnTo>
                  <a:pt x="656" y="156"/>
                </a:lnTo>
                <a:lnTo>
                  <a:pt x="629" y="174"/>
                </a:lnTo>
                <a:lnTo>
                  <a:pt x="623" y="177"/>
                </a:lnTo>
                <a:lnTo>
                  <a:pt x="606" y="187"/>
                </a:lnTo>
                <a:lnTo>
                  <a:pt x="593" y="193"/>
                </a:lnTo>
                <a:lnTo>
                  <a:pt x="579" y="199"/>
                </a:lnTo>
                <a:lnTo>
                  <a:pt x="561" y="206"/>
                </a:lnTo>
                <a:lnTo>
                  <a:pt x="542" y="213"/>
                </a:lnTo>
                <a:lnTo>
                  <a:pt x="521" y="219"/>
                </a:lnTo>
                <a:lnTo>
                  <a:pt x="497" y="225"/>
                </a:lnTo>
                <a:lnTo>
                  <a:pt x="473" y="230"/>
                </a:lnTo>
                <a:lnTo>
                  <a:pt x="446" y="234"/>
                </a:lnTo>
                <a:lnTo>
                  <a:pt x="418" y="236"/>
                </a:lnTo>
                <a:lnTo>
                  <a:pt x="389" y="237"/>
                </a:lnTo>
                <a:lnTo>
                  <a:pt x="357" y="236"/>
                </a:lnTo>
                <a:lnTo>
                  <a:pt x="325" y="233"/>
                </a:lnTo>
                <a:lnTo>
                  <a:pt x="333" y="217"/>
                </a:lnTo>
                <a:lnTo>
                  <a:pt x="342" y="200"/>
                </a:lnTo>
                <a:lnTo>
                  <a:pt x="351" y="186"/>
                </a:lnTo>
                <a:lnTo>
                  <a:pt x="362" y="171"/>
                </a:lnTo>
                <a:lnTo>
                  <a:pt x="373" y="158"/>
                </a:lnTo>
                <a:lnTo>
                  <a:pt x="385" y="146"/>
                </a:lnTo>
                <a:lnTo>
                  <a:pt x="398" y="133"/>
                </a:lnTo>
                <a:lnTo>
                  <a:pt x="411" y="123"/>
                </a:lnTo>
                <a:lnTo>
                  <a:pt x="426" y="113"/>
                </a:lnTo>
                <a:lnTo>
                  <a:pt x="440" y="105"/>
                </a:lnTo>
                <a:lnTo>
                  <a:pt x="456" y="97"/>
                </a:lnTo>
                <a:lnTo>
                  <a:pt x="471" y="92"/>
                </a:lnTo>
                <a:lnTo>
                  <a:pt x="488" y="86"/>
                </a:lnTo>
                <a:lnTo>
                  <a:pt x="505" y="83"/>
                </a:lnTo>
                <a:lnTo>
                  <a:pt x="523" y="81"/>
                </a:lnTo>
                <a:lnTo>
                  <a:pt x="540" y="81"/>
                </a:lnTo>
                <a:close/>
                <a:moveTo>
                  <a:pt x="2091" y="748"/>
                </a:moveTo>
                <a:lnTo>
                  <a:pt x="2073" y="742"/>
                </a:lnTo>
                <a:lnTo>
                  <a:pt x="2054" y="737"/>
                </a:lnTo>
                <a:lnTo>
                  <a:pt x="2035" y="731"/>
                </a:lnTo>
                <a:lnTo>
                  <a:pt x="2015" y="724"/>
                </a:lnTo>
                <a:lnTo>
                  <a:pt x="2005" y="721"/>
                </a:lnTo>
                <a:lnTo>
                  <a:pt x="1996" y="716"/>
                </a:lnTo>
                <a:lnTo>
                  <a:pt x="1987" y="712"/>
                </a:lnTo>
                <a:lnTo>
                  <a:pt x="1979" y="708"/>
                </a:lnTo>
                <a:lnTo>
                  <a:pt x="1967" y="697"/>
                </a:lnTo>
                <a:lnTo>
                  <a:pt x="1955" y="687"/>
                </a:lnTo>
                <a:lnTo>
                  <a:pt x="1948" y="677"/>
                </a:lnTo>
                <a:lnTo>
                  <a:pt x="1941" y="667"/>
                </a:lnTo>
                <a:lnTo>
                  <a:pt x="1937" y="657"/>
                </a:lnTo>
                <a:lnTo>
                  <a:pt x="1934" y="648"/>
                </a:lnTo>
                <a:lnTo>
                  <a:pt x="1952" y="636"/>
                </a:lnTo>
                <a:lnTo>
                  <a:pt x="1969" y="624"/>
                </a:lnTo>
                <a:lnTo>
                  <a:pt x="1986" y="609"/>
                </a:lnTo>
                <a:lnTo>
                  <a:pt x="2001" y="594"/>
                </a:lnTo>
                <a:lnTo>
                  <a:pt x="2016" y="578"/>
                </a:lnTo>
                <a:lnTo>
                  <a:pt x="2029" y="561"/>
                </a:lnTo>
                <a:lnTo>
                  <a:pt x="2042" y="542"/>
                </a:lnTo>
                <a:lnTo>
                  <a:pt x="2053" y="523"/>
                </a:lnTo>
                <a:lnTo>
                  <a:pt x="2063" y="504"/>
                </a:lnTo>
                <a:lnTo>
                  <a:pt x="2072" y="483"/>
                </a:lnTo>
                <a:lnTo>
                  <a:pt x="2080" y="461"/>
                </a:lnTo>
                <a:lnTo>
                  <a:pt x="2086" y="440"/>
                </a:lnTo>
                <a:lnTo>
                  <a:pt x="2091" y="416"/>
                </a:lnTo>
                <a:lnTo>
                  <a:pt x="2095" y="394"/>
                </a:lnTo>
                <a:lnTo>
                  <a:pt x="2097" y="369"/>
                </a:lnTo>
                <a:lnTo>
                  <a:pt x="2097" y="346"/>
                </a:lnTo>
                <a:lnTo>
                  <a:pt x="2097" y="328"/>
                </a:lnTo>
                <a:lnTo>
                  <a:pt x="2096" y="310"/>
                </a:lnTo>
                <a:lnTo>
                  <a:pt x="2094" y="293"/>
                </a:lnTo>
                <a:lnTo>
                  <a:pt x="2092" y="277"/>
                </a:lnTo>
                <a:lnTo>
                  <a:pt x="2087" y="260"/>
                </a:lnTo>
                <a:lnTo>
                  <a:pt x="2084" y="243"/>
                </a:lnTo>
                <a:lnTo>
                  <a:pt x="2078" y="227"/>
                </a:lnTo>
                <a:lnTo>
                  <a:pt x="2073" y="212"/>
                </a:lnTo>
                <a:lnTo>
                  <a:pt x="2066" y="196"/>
                </a:lnTo>
                <a:lnTo>
                  <a:pt x="2059" y="181"/>
                </a:lnTo>
                <a:lnTo>
                  <a:pt x="2052" y="167"/>
                </a:lnTo>
                <a:lnTo>
                  <a:pt x="2044" y="152"/>
                </a:lnTo>
                <a:lnTo>
                  <a:pt x="2035" y="139"/>
                </a:lnTo>
                <a:lnTo>
                  <a:pt x="2025" y="127"/>
                </a:lnTo>
                <a:lnTo>
                  <a:pt x="2016" y="113"/>
                </a:lnTo>
                <a:lnTo>
                  <a:pt x="2005" y="102"/>
                </a:lnTo>
                <a:lnTo>
                  <a:pt x="1993" y="90"/>
                </a:lnTo>
                <a:lnTo>
                  <a:pt x="1982" y="80"/>
                </a:lnTo>
                <a:lnTo>
                  <a:pt x="1970" y="69"/>
                </a:lnTo>
                <a:lnTo>
                  <a:pt x="1958" y="59"/>
                </a:lnTo>
                <a:lnTo>
                  <a:pt x="1945" y="50"/>
                </a:lnTo>
                <a:lnTo>
                  <a:pt x="1932" y="43"/>
                </a:lnTo>
                <a:lnTo>
                  <a:pt x="1918" y="35"/>
                </a:lnTo>
                <a:lnTo>
                  <a:pt x="1904" y="28"/>
                </a:lnTo>
                <a:lnTo>
                  <a:pt x="1889" y="21"/>
                </a:lnTo>
                <a:lnTo>
                  <a:pt x="1875" y="16"/>
                </a:lnTo>
                <a:lnTo>
                  <a:pt x="1859" y="11"/>
                </a:lnTo>
                <a:lnTo>
                  <a:pt x="1845" y="7"/>
                </a:lnTo>
                <a:lnTo>
                  <a:pt x="1829" y="5"/>
                </a:lnTo>
                <a:lnTo>
                  <a:pt x="1813" y="2"/>
                </a:lnTo>
                <a:lnTo>
                  <a:pt x="1796" y="1"/>
                </a:lnTo>
                <a:lnTo>
                  <a:pt x="1781" y="0"/>
                </a:lnTo>
                <a:lnTo>
                  <a:pt x="1764" y="1"/>
                </a:lnTo>
                <a:lnTo>
                  <a:pt x="1748" y="2"/>
                </a:lnTo>
                <a:lnTo>
                  <a:pt x="1732" y="5"/>
                </a:lnTo>
                <a:lnTo>
                  <a:pt x="1716" y="7"/>
                </a:lnTo>
                <a:lnTo>
                  <a:pt x="1701" y="11"/>
                </a:lnTo>
                <a:lnTo>
                  <a:pt x="1686" y="16"/>
                </a:lnTo>
                <a:lnTo>
                  <a:pt x="1671" y="21"/>
                </a:lnTo>
                <a:lnTo>
                  <a:pt x="1657" y="28"/>
                </a:lnTo>
                <a:lnTo>
                  <a:pt x="1643" y="35"/>
                </a:lnTo>
                <a:lnTo>
                  <a:pt x="1629" y="43"/>
                </a:lnTo>
                <a:lnTo>
                  <a:pt x="1615" y="50"/>
                </a:lnTo>
                <a:lnTo>
                  <a:pt x="1603" y="59"/>
                </a:lnTo>
                <a:lnTo>
                  <a:pt x="1591" y="69"/>
                </a:lnTo>
                <a:lnTo>
                  <a:pt x="1578" y="80"/>
                </a:lnTo>
                <a:lnTo>
                  <a:pt x="1567" y="90"/>
                </a:lnTo>
                <a:lnTo>
                  <a:pt x="1556" y="102"/>
                </a:lnTo>
                <a:lnTo>
                  <a:pt x="1546" y="113"/>
                </a:lnTo>
                <a:lnTo>
                  <a:pt x="1536" y="127"/>
                </a:lnTo>
                <a:lnTo>
                  <a:pt x="1526" y="139"/>
                </a:lnTo>
                <a:lnTo>
                  <a:pt x="1517" y="152"/>
                </a:lnTo>
                <a:lnTo>
                  <a:pt x="1509" y="167"/>
                </a:lnTo>
                <a:lnTo>
                  <a:pt x="1501" y="181"/>
                </a:lnTo>
                <a:lnTo>
                  <a:pt x="1494" y="196"/>
                </a:lnTo>
                <a:lnTo>
                  <a:pt x="1488" y="212"/>
                </a:lnTo>
                <a:lnTo>
                  <a:pt x="1482" y="227"/>
                </a:lnTo>
                <a:lnTo>
                  <a:pt x="1476" y="243"/>
                </a:lnTo>
                <a:lnTo>
                  <a:pt x="1473" y="260"/>
                </a:lnTo>
                <a:lnTo>
                  <a:pt x="1469" y="277"/>
                </a:lnTo>
                <a:lnTo>
                  <a:pt x="1466" y="293"/>
                </a:lnTo>
                <a:lnTo>
                  <a:pt x="1464" y="310"/>
                </a:lnTo>
                <a:lnTo>
                  <a:pt x="1463" y="328"/>
                </a:lnTo>
                <a:lnTo>
                  <a:pt x="1463" y="346"/>
                </a:lnTo>
                <a:lnTo>
                  <a:pt x="1463" y="369"/>
                </a:lnTo>
                <a:lnTo>
                  <a:pt x="1465" y="394"/>
                </a:lnTo>
                <a:lnTo>
                  <a:pt x="1470" y="416"/>
                </a:lnTo>
                <a:lnTo>
                  <a:pt x="1474" y="440"/>
                </a:lnTo>
                <a:lnTo>
                  <a:pt x="1481" y="461"/>
                </a:lnTo>
                <a:lnTo>
                  <a:pt x="1489" y="483"/>
                </a:lnTo>
                <a:lnTo>
                  <a:pt x="1498" y="504"/>
                </a:lnTo>
                <a:lnTo>
                  <a:pt x="1508" y="523"/>
                </a:lnTo>
                <a:lnTo>
                  <a:pt x="1519" y="542"/>
                </a:lnTo>
                <a:lnTo>
                  <a:pt x="1531" y="561"/>
                </a:lnTo>
                <a:lnTo>
                  <a:pt x="1545" y="578"/>
                </a:lnTo>
                <a:lnTo>
                  <a:pt x="1559" y="594"/>
                </a:lnTo>
                <a:lnTo>
                  <a:pt x="1575" y="609"/>
                </a:lnTo>
                <a:lnTo>
                  <a:pt x="1592" y="624"/>
                </a:lnTo>
                <a:lnTo>
                  <a:pt x="1608" y="636"/>
                </a:lnTo>
                <a:lnTo>
                  <a:pt x="1626" y="648"/>
                </a:lnTo>
                <a:lnTo>
                  <a:pt x="1623" y="657"/>
                </a:lnTo>
                <a:lnTo>
                  <a:pt x="1620" y="667"/>
                </a:lnTo>
                <a:lnTo>
                  <a:pt x="1613" y="677"/>
                </a:lnTo>
                <a:lnTo>
                  <a:pt x="1605" y="687"/>
                </a:lnTo>
                <a:lnTo>
                  <a:pt x="1594" y="697"/>
                </a:lnTo>
                <a:lnTo>
                  <a:pt x="1582" y="708"/>
                </a:lnTo>
                <a:lnTo>
                  <a:pt x="1574" y="712"/>
                </a:lnTo>
                <a:lnTo>
                  <a:pt x="1565" y="716"/>
                </a:lnTo>
                <a:lnTo>
                  <a:pt x="1556" y="721"/>
                </a:lnTo>
                <a:lnTo>
                  <a:pt x="1546" y="724"/>
                </a:lnTo>
                <a:lnTo>
                  <a:pt x="1526" y="731"/>
                </a:lnTo>
                <a:lnTo>
                  <a:pt x="1507" y="737"/>
                </a:lnTo>
                <a:lnTo>
                  <a:pt x="1488" y="742"/>
                </a:lnTo>
                <a:lnTo>
                  <a:pt x="1470" y="748"/>
                </a:lnTo>
                <a:lnTo>
                  <a:pt x="1425" y="761"/>
                </a:lnTo>
                <a:lnTo>
                  <a:pt x="1382" y="777"/>
                </a:lnTo>
                <a:lnTo>
                  <a:pt x="1362" y="785"/>
                </a:lnTo>
                <a:lnTo>
                  <a:pt x="1343" y="794"/>
                </a:lnTo>
                <a:lnTo>
                  <a:pt x="1325" y="805"/>
                </a:lnTo>
                <a:lnTo>
                  <a:pt x="1309" y="816"/>
                </a:lnTo>
                <a:lnTo>
                  <a:pt x="1302" y="823"/>
                </a:lnTo>
                <a:lnTo>
                  <a:pt x="1294" y="830"/>
                </a:lnTo>
                <a:lnTo>
                  <a:pt x="1287" y="837"/>
                </a:lnTo>
                <a:lnTo>
                  <a:pt x="1281" y="845"/>
                </a:lnTo>
                <a:lnTo>
                  <a:pt x="1275" y="853"/>
                </a:lnTo>
                <a:lnTo>
                  <a:pt x="1269" y="862"/>
                </a:lnTo>
                <a:lnTo>
                  <a:pt x="1264" y="871"/>
                </a:lnTo>
                <a:lnTo>
                  <a:pt x="1259" y="881"/>
                </a:lnTo>
                <a:lnTo>
                  <a:pt x="1255" y="892"/>
                </a:lnTo>
                <a:lnTo>
                  <a:pt x="1251" y="903"/>
                </a:lnTo>
                <a:lnTo>
                  <a:pt x="1248" y="915"/>
                </a:lnTo>
                <a:lnTo>
                  <a:pt x="1246" y="927"/>
                </a:lnTo>
                <a:lnTo>
                  <a:pt x="1244" y="940"/>
                </a:lnTo>
                <a:lnTo>
                  <a:pt x="1241" y="955"/>
                </a:lnTo>
                <a:lnTo>
                  <a:pt x="1240" y="969"/>
                </a:lnTo>
                <a:lnTo>
                  <a:pt x="1240" y="985"/>
                </a:lnTo>
                <a:lnTo>
                  <a:pt x="1240" y="1199"/>
                </a:lnTo>
                <a:lnTo>
                  <a:pt x="1080" y="1199"/>
                </a:lnTo>
                <a:lnTo>
                  <a:pt x="1080" y="985"/>
                </a:lnTo>
                <a:lnTo>
                  <a:pt x="1079" y="969"/>
                </a:lnTo>
                <a:lnTo>
                  <a:pt x="1079" y="955"/>
                </a:lnTo>
                <a:lnTo>
                  <a:pt x="1077" y="940"/>
                </a:lnTo>
                <a:lnTo>
                  <a:pt x="1075" y="927"/>
                </a:lnTo>
                <a:lnTo>
                  <a:pt x="1072" y="915"/>
                </a:lnTo>
                <a:lnTo>
                  <a:pt x="1069" y="903"/>
                </a:lnTo>
                <a:lnTo>
                  <a:pt x="1066" y="892"/>
                </a:lnTo>
                <a:lnTo>
                  <a:pt x="1061" y="881"/>
                </a:lnTo>
                <a:lnTo>
                  <a:pt x="1057" y="871"/>
                </a:lnTo>
                <a:lnTo>
                  <a:pt x="1051" y="862"/>
                </a:lnTo>
                <a:lnTo>
                  <a:pt x="1046" y="853"/>
                </a:lnTo>
                <a:lnTo>
                  <a:pt x="1040" y="845"/>
                </a:lnTo>
                <a:lnTo>
                  <a:pt x="1033" y="837"/>
                </a:lnTo>
                <a:lnTo>
                  <a:pt x="1027" y="830"/>
                </a:lnTo>
                <a:lnTo>
                  <a:pt x="1019" y="823"/>
                </a:lnTo>
                <a:lnTo>
                  <a:pt x="1012" y="816"/>
                </a:lnTo>
                <a:lnTo>
                  <a:pt x="995" y="805"/>
                </a:lnTo>
                <a:lnTo>
                  <a:pt x="977" y="794"/>
                </a:lnTo>
                <a:lnTo>
                  <a:pt x="958" y="785"/>
                </a:lnTo>
                <a:lnTo>
                  <a:pt x="938" y="777"/>
                </a:lnTo>
                <a:lnTo>
                  <a:pt x="896" y="761"/>
                </a:lnTo>
                <a:lnTo>
                  <a:pt x="851" y="748"/>
                </a:lnTo>
                <a:lnTo>
                  <a:pt x="833" y="742"/>
                </a:lnTo>
                <a:lnTo>
                  <a:pt x="814" y="737"/>
                </a:lnTo>
                <a:lnTo>
                  <a:pt x="795" y="731"/>
                </a:lnTo>
                <a:lnTo>
                  <a:pt x="775" y="724"/>
                </a:lnTo>
                <a:lnTo>
                  <a:pt x="765" y="721"/>
                </a:lnTo>
                <a:lnTo>
                  <a:pt x="756" y="716"/>
                </a:lnTo>
                <a:lnTo>
                  <a:pt x="747" y="712"/>
                </a:lnTo>
                <a:lnTo>
                  <a:pt x="739" y="708"/>
                </a:lnTo>
                <a:lnTo>
                  <a:pt x="725" y="697"/>
                </a:lnTo>
                <a:lnTo>
                  <a:pt x="715" y="687"/>
                </a:lnTo>
                <a:lnTo>
                  <a:pt x="708" y="677"/>
                </a:lnTo>
                <a:lnTo>
                  <a:pt x="701" y="667"/>
                </a:lnTo>
                <a:lnTo>
                  <a:pt x="696" y="657"/>
                </a:lnTo>
                <a:lnTo>
                  <a:pt x="694" y="648"/>
                </a:lnTo>
                <a:lnTo>
                  <a:pt x="712" y="636"/>
                </a:lnTo>
                <a:lnTo>
                  <a:pt x="729" y="624"/>
                </a:lnTo>
                <a:lnTo>
                  <a:pt x="746" y="609"/>
                </a:lnTo>
                <a:lnTo>
                  <a:pt x="761" y="594"/>
                </a:lnTo>
                <a:lnTo>
                  <a:pt x="775" y="578"/>
                </a:lnTo>
                <a:lnTo>
                  <a:pt x="789" y="561"/>
                </a:lnTo>
                <a:lnTo>
                  <a:pt x="802" y="542"/>
                </a:lnTo>
                <a:lnTo>
                  <a:pt x="813" y="523"/>
                </a:lnTo>
                <a:lnTo>
                  <a:pt x="823" y="504"/>
                </a:lnTo>
                <a:lnTo>
                  <a:pt x="832" y="483"/>
                </a:lnTo>
                <a:lnTo>
                  <a:pt x="840" y="461"/>
                </a:lnTo>
                <a:lnTo>
                  <a:pt x="846" y="440"/>
                </a:lnTo>
                <a:lnTo>
                  <a:pt x="851" y="416"/>
                </a:lnTo>
                <a:lnTo>
                  <a:pt x="855" y="394"/>
                </a:lnTo>
                <a:lnTo>
                  <a:pt x="858" y="369"/>
                </a:lnTo>
                <a:lnTo>
                  <a:pt x="858" y="346"/>
                </a:lnTo>
                <a:lnTo>
                  <a:pt x="858" y="328"/>
                </a:lnTo>
                <a:lnTo>
                  <a:pt x="856" y="310"/>
                </a:lnTo>
                <a:lnTo>
                  <a:pt x="854" y="293"/>
                </a:lnTo>
                <a:lnTo>
                  <a:pt x="851" y="277"/>
                </a:lnTo>
                <a:lnTo>
                  <a:pt x="847" y="260"/>
                </a:lnTo>
                <a:lnTo>
                  <a:pt x="843" y="243"/>
                </a:lnTo>
                <a:lnTo>
                  <a:pt x="838" y="227"/>
                </a:lnTo>
                <a:lnTo>
                  <a:pt x="833" y="212"/>
                </a:lnTo>
                <a:lnTo>
                  <a:pt x="826" y="196"/>
                </a:lnTo>
                <a:lnTo>
                  <a:pt x="819" y="181"/>
                </a:lnTo>
                <a:lnTo>
                  <a:pt x="812" y="167"/>
                </a:lnTo>
                <a:lnTo>
                  <a:pt x="804" y="152"/>
                </a:lnTo>
                <a:lnTo>
                  <a:pt x="795" y="139"/>
                </a:lnTo>
                <a:lnTo>
                  <a:pt x="785" y="127"/>
                </a:lnTo>
                <a:lnTo>
                  <a:pt x="775" y="113"/>
                </a:lnTo>
                <a:lnTo>
                  <a:pt x="765" y="102"/>
                </a:lnTo>
                <a:lnTo>
                  <a:pt x="753" y="90"/>
                </a:lnTo>
                <a:lnTo>
                  <a:pt x="742" y="80"/>
                </a:lnTo>
                <a:lnTo>
                  <a:pt x="730" y="69"/>
                </a:lnTo>
                <a:lnTo>
                  <a:pt x="718" y="59"/>
                </a:lnTo>
                <a:lnTo>
                  <a:pt x="704" y="50"/>
                </a:lnTo>
                <a:lnTo>
                  <a:pt x="692" y="43"/>
                </a:lnTo>
                <a:lnTo>
                  <a:pt x="677" y="35"/>
                </a:lnTo>
                <a:lnTo>
                  <a:pt x="664" y="28"/>
                </a:lnTo>
                <a:lnTo>
                  <a:pt x="649" y="21"/>
                </a:lnTo>
                <a:lnTo>
                  <a:pt x="635" y="16"/>
                </a:lnTo>
                <a:lnTo>
                  <a:pt x="619" y="11"/>
                </a:lnTo>
                <a:lnTo>
                  <a:pt x="605" y="7"/>
                </a:lnTo>
                <a:lnTo>
                  <a:pt x="589" y="5"/>
                </a:lnTo>
                <a:lnTo>
                  <a:pt x="572" y="2"/>
                </a:lnTo>
                <a:lnTo>
                  <a:pt x="556" y="1"/>
                </a:lnTo>
                <a:lnTo>
                  <a:pt x="540" y="0"/>
                </a:lnTo>
                <a:lnTo>
                  <a:pt x="524" y="1"/>
                </a:lnTo>
                <a:lnTo>
                  <a:pt x="507" y="2"/>
                </a:lnTo>
                <a:lnTo>
                  <a:pt x="492" y="5"/>
                </a:lnTo>
                <a:lnTo>
                  <a:pt x="476" y="7"/>
                </a:lnTo>
                <a:lnTo>
                  <a:pt x="461" y="11"/>
                </a:lnTo>
                <a:lnTo>
                  <a:pt x="446" y="16"/>
                </a:lnTo>
                <a:lnTo>
                  <a:pt x="431" y="21"/>
                </a:lnTo>
                <a:lnTo>
                  <a:pt x="417" y="28"/>
                </a:lnTo>
                <a:lnTo>
                  <a:pt x="402" y="35"/>
                </a:lnTo>
                <a:lnTo>
                  <a:pt x="389" y="43"/>
                </a:lnTo>
                <a:lnTo>
                  <a:pt x="375" y="50"/>
                </a:lnTo>
                <a:lnTo>
                  <a:pt x="363" y="59"/>
                </a:lnTo>
                <a:lnTo>
                  <a:pt x="351" y="69"/>
                </a:lnTo>
                <a:lnTo>
                  <a:pt x="338" y="80"/>
                </a:lnTo>
                <a:lnTo>
                  <a:pt x="327" y="90"/>
                </a:lnTo>
                <a:lnTo>
                  <a:pt x="316" y="102"/>
                </a:lnTo>
                <a:lnTo>
                  <a:pt x="305" y="113"/>
                </a:lnTo>
                <a:lnTo>
                  <a:pt x="295" y="127"/>
                </a:lnTo>
                <a:lnTo>
                  <a:pt x="286" y="139"/>
                </a:lnTo>
                <a:lnTo>
                  <a:pt x="277" y="152"/>
                </a:lnTo>
                <a:lnTo>
                  <a:pt x="269" y="167"/>
                </a:lnTo>
                <a:lnTo>
                  <a:pt x="261" y="181"/>
                </a:lnTo>
                <a:lnTo>
                  <a:pt x="254" y="196"/>
                </a:lnTo>
                <a:lnTo>
                  <a:pt x="248" y="212"/>
                </a:lnTo>
                <a:lnTo>
                  <a:pt x="242" y="227"/>
                </a:lnTo>
                <a:lnTo>
                  <a:pt x="236" y="243"/>
                </a:lnTo>
                <a:lnTo>
                  <a:pt x="232" y="260"/>
                </a:lnTo>
                <a:lnTo>
                  <a:pt x="229" y="277"/>
                </a:lnTo>
                <a:lnTo>
                  <a:pt x="226" y="293"/>
                </a:lnTo>
                <a:lnTo>
                  <a:pt x="224" y="310"/>
                </a:lnTo>
                <a:lnTo>
                  <a:pt x="223" y="328"/>
                </a:lnTo>
                <a:lnTo>
                  <a:pt x="223" y="346"/>
                </a:lnTo>
                <a:lnTo>
                  <a:pt x="223" y="369"/>
                </a:lnTo>
                <a:lnTo>
                  <a:pt x="225" y="394"/>
                </a:lnTo>
                <a:lnTo>
                  <a:pt x="230" y="416"/>
                </a:lnTo>
                <a:lnTo>
                  <a:pt x="234" y="440"/>
                </a:lnTo>
                <a:lnTo>
                  <a:pt x="241" y="461"/>
                </a:lnTo>
                <a:lnTo>
                  <a:pt x="249" y="483"/>
                </a:lnTo>
                <a:lnTo>
                  <a:pt x="258" y="504"/>
                </a:lnTo>
                <a:lnTo>
                  <a:pt x="268" y="523"/>
                </a:lnTo>
                <a:lnTo>
                  <a:pt x="279" y="542"/>
                </a:lnTo>
                <a:lnTo>
                  <a:pt x="291" y="561"/>
                </a:lnTo>
                <a:lnTo>
                  <a:pt x="305" y="578"/>
                </a:lnTo>
                <a:lnTo>
                  <a:pt x="319" y="594"/>
                </a:lnTo>
                <a:lnTo>
                  <a:pt x="335" y="609"/>
                </a:lnTo>
                <a:lnTo>
                  <a:pt x="352" y="624"/>
                </a:lnTo>
                <a:lnTo>
                  <a:pt x="368" y="636"/>
                </a:lnTo>
                <a:lnTo>
                  <a:pt x="386" y="648"/>
                </a:lnTo>
                <a:lnTo>
                  <a:pt x="383" y="657"/>
                </a:lnTo>
                <a:lnTo>
                  <a:pt x="379" y="667"/>
                </a:lnTo>
                <a:lnTo>
                  <a:pt x="373" y="677"/>
                </a:lnTo>
                <a:lnTo>
                  <a:pt x="365" y="687"/>
                </a:lnTo>
                <a:lnTo>
                  <a:pt x="354" y="697"/>
                </a:lnTo>
                <a:lnTo>
                  <a:pt x="341" y="708"/>
                </a:lnTo>
                <a:lnTo>
                  <a:pt x="334" y="712"/>
                </a:lnTo>
                <a:lnTo>
                  <a:pt x="325" y="716"/>
                </a:lnTo>
                <a:lnTo>
                  <a:pt x="316" y="721"/>
                </a:lnTo>
                <a:lnTo>
                  <a:pt x="306" y="724"/>
                </a:lnTo>
                <a:lnTo>
                  <a:pt x="286" y="731"/>
                </a:lnTo>
                <a:lnTo>
                  <a:pt x="267" y="737"/>
                </a:lnTo>
                <a:lnTo>
                  <a:pt x="248" y="742"/>
                </a:lnTo>
                <a:lnTo>
                  <a:pt x="230" y="748"/>
                </a:lnTo>
                <a:lnTo>
                  <a:pt x="184" y="761"/>
                </a:lnTo>
                <a:lnTo>
                  <a:pt x="141" y="777"/>
                </a:lnTo>
                <a:lnTo>
                  <a:pt x="122" y="785"/>
                </a:lnTo>
                <a:lnTo>
                  <a:pt x="103" y="794"/>
                </a:lnTo>
                <a:lnTo>
                  <a:pt x="85" y="805"/>
                </a:lnTo>
                <a:lnTo>
                  <a:pt x="69" y="816"/>
                </a:lnTo>
                <a:lnTo>
                  <a:pt x="61" y="823"/>
                </a:lnTo>
                <a:lnTo>
                  <a:pt x="54" y="830"/>
                </a:lnTo>
                <a:lnTo>
                  <a:pt x="47" y="837"/>
                </a:lnTo>
                <a:lnTo>
                  <a:pt x="41" y="845"/>
                </a:lnTo>
                <a:lnTo>
                  <a:pt x="34" y="853"/>
                </a:lnTo>
                <a:lnTo>
                  <a:pt x="28" y="862"/>
                </a:lnTo>
                <a:lnTo>
                  <a:pt x="24" y="871"/>
                </a:lnTo>
                <a:lnTo>
                  <a:pt x="19" y="881"/>
                </a:lnTo>
                <a:lnTo>
                  <a:pt x="15" y="892"/>
                </a:lnTo>
                <a:lnTo>
                  <a:pt x="11" y="903"/>
                </a:lnTo>
                <a:lnTo>
                  <a:pt x="8" y="915"/>
                </a:lnTo>
                <a:lnTo>
                  <a:pt x="5" y="927"/>
                </a:lnTo>
                <a:lnTo>
                  <a:pt x="3" y="940"/>
                </a:lnTo>
                <a:lnTo>
                  <a:pt x="1" y="955"/>
                </a:lnTo>
                <a:lnTo>
                  <a:pt x="0" y="969"/>
                </a:lnTo>
                <a:lnTo>
                  <a:pt x="0" y="985"/>
                </a:lnTo>
                <a:lnTo>
                  <a:pt x="0" y="1280"/>
                </a:lnTo>
                <a:lnTo>
                  <a:pt x="620" y="1280"/>
                </a:lnTo>
                <a:lnTo>
                  <a:pt x="1080" y="1280"/>
                </a:lnTo>
                <a:lnTo>
                  <a:pt x="1240" y="1280"/>
                </a:lnTo>
                <a:lnTo>
                  <a:pt x="1803" y="1280"/>
                </a:lnTo>
                <a:lnTo>
                  <a:pt x="1643" y="1438"/>
                </a:lnTo>
                <a:lnTo>
                  <a:pt x="1638" y="1445"/>
                </a:lnTo>
                <a:lnTo>
                  <a:pt x="1634" y="1452"/>
                </a:lnTo>
                <a:lnTo>
                  <a:pt x="1632" y="1460"/>
                </a:lnTo>
                <a:lnTo>
                  <a:pt x="1631" y="1468"/>
                </a:lnTo>
                <a:lnTo>
                  <a:pt x="1632" y="1474"/>
                </a:lnTo>
                <a:lnTo>
                  <a:pt x="1634" y="1482"/>
                </a:lnTo>
                <a:lnTo>
                  <a:pt x="1638" y="1489"/>
                </a:lnTo>
                <a:lnTo>
                  <a:pt x="1643" y="1496"/>
                </a:lnTo>
                <a:lnTo>
                  <a:pt x="1650" y="1500"/>
                </a:lnTo>
                <a:lnTo>
                  <a:pt x="1657" y="1505"/>
                </a:lnTo>
                <a:lnTo>
                  <a:pt x="1663" y="1507"/>
                </a:lnTo>
                <a:lnTo>
                  <a:pt x="1671" y="1507"/>
                </a:lnTo>
                <a:lnTo>
                  <a:pt x="1679" y="1507"/>
                </a:lnTo>
                <a:lnTo>
                  <a:pt x="1687" y="1505"/>
                </a:lnTo>
                <a:lnTo>
                  <a:pt x="1693" y="1500"/>
                </a:lnTo>
                <a:lnTo>
                  <a:pt x="1699" y="1496"/>
                </a:lnTo>
                <a:lnTo>
                  <a:pt x="1934" y="1262"/>
                </a:lnTo>
                <a:lnTo>
                  <a:pt x="1939" y="1255"/>
                </a:lnTo>
                <a:lnTo>
                  <a:pt x="1942" y="1248"/>
                </a:lnTo>
                <a:lnTo>
                  <a:pt x="1944" y="1241"/>
                </a:lnTo>
                <a:lnTo>
                  <a:pt x="1945" y="1234"/>
                </a:lnTo>
                <a:lnTo>
                  <a:pt x="1944" y="1226"/>
                </a:lnTo>
                <a:lnTo>
                  <a:pt x="1942" y="1218"/>
                </a:lnTo>
                <a:lnTo>
                  <a:pt x="1939" y="1211"/>
                </a:lnTo>
                <a:lnTo>
                  <a:pt x="1934" y="1205"/>
                </a:lnTo>
                <a:lnTo>
                  <a:pt x="1699" y="971"/>
                </a:lnTo>
                <a:lnTo>
                  <a:pt x="1693" y="966"/>
                </a:lnTo>
                <a:lnTo>
                  <a:pt x="1687" y="962"/>
                </a:lnTo>
                <a:lnTo>
                  <a:pt x="1679" y="959"/>
                </a:lnTo>
                <a:lnTo>
                  <a:pt x="1671" y="959"/>
                </a:lnTo>
                <a:lnTo>
                  <a:pt x="1663" y="959"/>
                </a:lnTo>
                <a:lnTo>
                  <a:pt x="1657" y="962"/>
                </a:lnTo>
                <a:lnTo>
                  <a:pt x="1650" y="966"/>
                </a:lnTo>
                <a:lnTo>
                  <a:pt x="1643" y="971"/>
                </a:lnTo>
                <a:lnTo>
                  <a:pt x="1638" y="977"/>
                </a:lnTo>
                <a:lnTo>
                  <a:pt x="1634" y="984"/>
                </a:lnTo>
                <a:lnTo>
                  <a:pt x="1632" y="992"/>
                </a:lnTo>
                <a:lnTo>
                  <a:pt x="1631" y="1000"/>
                </a:lnTo>
                <a:lnTo>
                  <a:pt x="1632" y="1006"/>
                </a:lnTo>
                <a:lnTo>
                  <a:pt x="1634" y="1014"/>
                </a:lnTo>
                <a:lnTo>
                  <a:pt x="1638" y="1021"/>
                </a:lnTo>
                <a:lnTo>
                  <a:pt x="1643" y="1028"/>
                </a:lnTo>
                <a:lnTo>
                  <a:pt x="1814" y="1199"/>
                </a:lnTo>
                <a:lnTo>
                  <a:pt x="1321" y="1199"/>
                </a:lnTo>
                <a:lnTo>
                  <a:pt x="1321" y="985"/>
                </a:lnTo>
                <a:lnTo>
                  <a:pt x="1321" y="966"/>
                </a:lnTo>
                <a:lnTo>
                  <a:pt x="1322" y="949"/>
                </a:lnTo>
                <a:lnTo>
                  <a:pt x="1325" y="935"/>
                </a:lnTo>
                <a:lnTo>
                  <a:pt x="1329" y="921"/>
                </a:lnTo>
                <a:lnTo>
                  <a:pt x="1334" y="909"/>
                </a:lnTo>
                <a:lnTo>
                  <a:pt x="1340" y="898"/>
                </a:lnTo>
                <a:lnTo>
                  <a:pt x="1348" y="889"/>
                </a:lnTo>
                <a:lnTo>
                  <a:pt x="1358" y="880"/>
                </a:lnTo>
                <a:lnTo>
                  <a:pt x="1368" y="872"/>
                </a:lnTo>
                <a:lnTo>
                  <a:pt x="1380" y="864"/>
                </a:lnTo>
                <a:lnTo>
                  <a:pt x="1395" y="858"/>
                </a:lnTo>
                <a:lnTo>
                  <a:pt x="1410" y="851"/>
                </a:lnTo>
                <a:lnTo>
                  <a:pt x="1447" y="838"/>
                </a:lnTo>
                <a:lnTo>
                  <a:pt x="1492" y="825"/>
                </a:lnTo>
                <a:lnTo>
                  <a:pt x="1511" y="819"/>
                </a:lnTo>
                <a:lnTo>
                  <a:pt x="1530" y="814"/>
                </a:lnTo>
                <a:lnTo>
                  <a:pt x="1550" y="807"/>
                </a:lnTo>
                <a:lnTo>
                  <a:pt x="1570" y="800"/>
                </a:lnTo>
                <a:lnTo>
                  <a:pt x="1585" y="795"/>
                </a:lnTo>
                <a:lnTo>
                  <a:pt x="1598" y="789"/>
                </a:lnTo>
                <a:lnTo>
                  <a:pt x="1610" y="784"/>
                </a:lnTo>
                <a:lnTo>
                  <a:pt x="1622" y="777"/>
                </a:lnTo>
                <a:lnTo>
                  <a:pt x="1632" y="770"/>
                </a:lnTo>
                <a:lnTo>
                  <a:pt x="1642" y="762"/>
                </a:lnTo>
                <a:lnTo>
                  <a:pt x="1650" y="755"/>
                </a:lnTo>
                <a:lnTo>
                  <a:pt x="1659" y="747"/>
                </a:lnTo>
                <a:lnTo>
                  <a:pt x="1666" y="739"/>
                </a:lnTo>
                <a:lnTo>
                  <a:pt x="1672" y="731"/>
                </a:lnTo>
                <a:lnTo>
                  <a:pt x="1679" y="722"/>
                </a:lnTo>
                <a:lnTo>
                  <a:pt x="1685" y="713"/>
                </a:lnTo>
                <a:lnTo>
                  <a:pt x="1693" y="696"/>
                </a:lnTo>
                <a:lnTo>
                  <a:pt x="1700" y="680"/>
                </a:lnTo>
                <a:lnTo>
                  <a:pt x="1719" y="685"/>
                </a:lnTo>
                <a:lnTo>
                  <a:pt x="1739" y="688"/>
                </a:lnTo>
                <a:lnTo>
                  <a:pt x="1760" y="691"/>
                </a:lnTo>
                <a:lnTo>
                  <a:pt x="1781" y="692"/>
                </a:lnTo>
                <a:lnTo>
                  <a:pt x="1801" y="691"/>
                </a:lnTo>
                <a:lnTo>
                  <a:pt x="1821" y="688"/>
                </a:lnTo>
                <a:lnTo>
                  <a:pt x="1841" y="685"/>
                </a:lnTo>
                <a:lnTo>
                  <a:pt x="1860" y="680"/>
                </a:lnTo>
                <a:lnTo>
                  <a:pt x="1868" y="696"/>
                </a:lnTo>
                <a:lnTo>
                  <a:pt x="1877" y="713"/>
                </a:lnTo>
                <a:lnTo>
                  <a:pt x="1881" y="722"/>
                </a:lnTo>
                <a:lnTo>
                  <a:pt x="1888" y="731"/>
                </a:lnTo>
                <a:lnTo>
                  <a:pt x="1895" y="739"/>
                </a:lnTo>
                <a:lnTo>
                  <a:pt x="1902" y="747"/>
                </a:lnTo>
                <a:lnTo>
                  <a:pt x="1911" y="755"/>
                </a:lnTo>
                <a:lnTo>
                  <a:pt x="1920" y="762"/>
                </a:lnTo>
                <a:lnTo>
                  <a:pt x="1928" y="770"/>
                </a:lnTo>
                <a:lnTo>
                  <a:pt x="1940" y="777"/>
                </a:lnTo>
                <a:lnTo>
                  <a:pt x="1951" y="784"/>
                </a:lnTo>
                <a:lnTo>
                  <a:pt x="1963" y="789"/>
                </a:lnTo>
                <a:lnTo>
                  <a:pt x="1975" y="795"/>
                </a:lnTo>
                <a:lnTo>
                  <a:pt x="1990" y="800"/>
                </a:lnTo>
                <a:lnTo>
                  <a:pt x="2010" y="807"/>
                </a:lnTo>
                <a:lnTo>
                  <a:pt x="2030" y="814"/>
                </a:lnTo>
                <a:lnTo>
                  <a:pt x="2049" y="819"/>
                </a:lnTo>
                <a:lnTo>
                  <a:pt x="2068" y="825"/>
                </a:lnTo>
                <a:lnTo>
                  <a:pt x="2113" y="838"/>
                </a:lnTo>
                <a:lnTo>
                  <a:pt x="2150" y="851"/>
                </a:lnTo>
                <a:lnTo>
                  <a:pt x="2166" y="858"/>
                </a:lnTo>
                <a:lnTo>
                  <a:pt x="2180" y="864"/>
                </a:lnTo>
                <a:lnTo>
                  <a:pt x="2193" y="872"/>
                </a:lnTo>
                <a:lnTo>
                  <a:pt x="2203" y="880"/>
                </a:lnTo>
                <a:lnTo>
                  <a:pt x="2213" y="889"/>
                </a:lnTo>
                <a:lnTo>
                  <a:pt x="2221" y="898"/>
                </a:lnTo>
                <a:lnTo>
                  <a:pt x="2226" y="909"/>
                </a:lnTo>
                <a:lnTo>
                  <a:pt x="2232" y="921"/>
                </a:lnTo>
                <a:lnTo>
                  <a:pt x="2235" y="935"/>
                </a:lnTo>
                <a:lnTo>
                  <a:pt x="2238" y="949"/>
                </a:lnTo>
                <a:lnTo>
                  <a:pt x="2240" y="966"/>
                </a:lnTo>
                <a:lnTo>
                  <a:pt x="2240" y="985"/>
                </a:lnTo>
                <a:lnTo>
                  <a:pt x="2240" y="1199"/>
                </a:lnTo>
                <a:lnTo>
                  <a:pt x="2065" y="1199"/>
                </a:lnTo>
                <a:lnTo>
                  <a:pt x="2057" y="1200"/>
                </a:lnTo>
                <a:lnTo>
                  <a:pt x="2049" y="1202"/>
                </a:lnTo>
                <a:lnTo>
                  <a:pt x="2043" y="1206"/>
                </a:lnTo>
                <a:lnTo>
                  <a:pt x="2037" y="1211"/>
                </a:lnTo>
                <a:lnTo>
                  <a:pt x="2033" y="1217"/>
                </a:lnTo>
                <a:lnTo>
                  <a:pt x="2028" y="1224"/>
                </a:lnTo>
                <a:lnTo>
                  <a:pt x="2026" y="1231"/>
                </a:lnTo>
                <a:lnTo>
                  <a:pt x="2025" y="1239"/>
                </a:lnTo>
                <a:lnTo>
                  <a:pt x="2026" y="1247"/>
                </a:lnTo>
                <a:lnTo>
                  <a:pt x="2028" y="1255"/>
                </a:lnTo>
                <a:lnTo>
                  <a:pt x="2033" y="1262"/>
                </a:lnTo>
                <a:lnTo>
                  <a:pt x="2037" y="1267"/>
                </a:lnTo>
                <a:lnTo>
                  <a:pt x="2043" y="1272"/>
                </a:lnTo>
                <a:lnTo>
                  <a:pt x="2049" y="1276"/>
                </a:lnTo>
                <a:lnTo>
                  <a:pt x="2057" y="1278"/>
                </a:lnTo>
                <a:lnTo>
                  <a:pt x="2065" y="1280"/>
                </a:lnTo>
                <a:lnTo>
                  <a:pt x="2280" y="1280"/>
                </a:lnTo>
                <a:lnTo>
                  <a:pt x="2288" y="1278"/>
                </a:lnTo>
                <a:lnTo>
                  <a:pt x="2296" y="1276"/>
                </a:lnTo>
                <a:lnTo>
                  <a:pt x="2302" y="1272"/>
                </a:lnTo>
                <a:lnTo>
                  <a:pt x="2308" y="1267"/>
                </a:lnTo>
                <a:lnTo>
                  <a:pt x="2313" y="1262"/>
                </a:lnTo>
                <a:lnTo>
                  <a:pt x="2317" y="1255"/>
                </a:lnTo>
                <a:lnTo>
                  <a:pt x="2319" y="1247"/>
                </a:lnTo>
                <a:lnTo>
                  <a:pt x="2320" y="1239"/>
                </a:lnTo>
                <a:lnTo>
                  <a:pt x="2320" y="985"/>
                </a:lnTo>
                <a:lnTo>
                  <a:pt x="2320" y="969"/>
                </a:lnTo>
                <a:lnTo>
                  <a:pt x="2319" y="955"/>
                </a:lnTo>
                <a:lnTo>
                  <a:pt x="2317" y="940"/>
                </a:lnTo>
                <a:lnTo>
                  <a:pt x="2316" y="927"/>
                </a:lnTo>
                <a:lnTo>
                  <a:pt x="2312" y="915"/>
                </a:lnTo>
                <a:lnTo>
                  <a:pt x="2309" y="903"/>
                </a:lnTo>
                <a:lnTo>
                  <a:pt x="2306" y="892"/>
                </a:lnTo>
                <a:lnTo>
                  <a:pt x="2301" y="881"/>
                </a:lnTo>
                <a:lnTo>
                  <a:pt x="2297" y="871"/>
                </a:lnTo>
                <a:lnTo>
                  <a:pt x="2292" y="862"/>
                </a:lnTo>
                <a:lnTo>
                  <a:pt x="2287" y="853"/>
                </a:lnTo>
                <a:lnTo>
                  <a:pt x="2280" y="845"/>
                </a:lnTo>
                <a:lnTo>
                  <a:pt x="2273" y="837"/>
                </a:lnTo>
                <a:lnTo>
                  <a:pt x="2266" y="830"/>
                </a:lnTo>
                <a:lnTo>
                  <a:pt x="2260" y="823"/>
                </a:lnTo>
                <a:lnTo>
                  <a:pt x="2252" y="816"/>
                </a:lnTo>
                <a:lnTo>
                  <a:pt x="2235" y="805"/>
                </a:lnTo>
                <a:lnTo>
                  <a:pt x="2217" y="794"/>
                </a:lnTo>
                <a:lnTo>
                  <a:pt x="2198" y="785"/>
                </a:lnTo>
                <a:lnTo>
                  <a:pt x="2179" y="777"/>
                </a:lnTo>
                <a:lnTo>
                  <a:pt x="2137" y="761"/>
                </a:lnTo>
                <a:lnTo>
                  <a:pt x="2091" y="74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684" name="Group 93">
            <a:extLst>
              <a:ext uri="{FF2B5EF4-FFF2-40B4-BE49-F238E27FC236}">
                <a16:creationId xmlns:a16="http://schemas.microsoft.com/office/drawing/2014/main" id="{2476D0E0-9C3C-4C63-8C05-8112B7513DF9}"/>
              </a:ext>
            </a:extLst>
          </p:cNvPr>
          <p:cNvGrpSpPr>
            <a:grpSpLocks noChangeAspect="1"/>
          </p:cNvGrpSpPr>
          <p:nvPr/>
        </p:nvGrpSpPr>
        <p:grpSpPr>
          <a:xfrm>
            <a:off x="4931581" y="2724897"/>
            <a:ext cx="238016" cy="285619"/>
            <a:chOff x="2628900" y="2489200"/>
            <a:chExt cx="238125" cy="285750"/>
          </a:xfrm>
          <a:solidFill>
            <a:schemeClr val="bg1"/>
          </a:solidFill>
          <a:effectLst/>
        </p:grpSpPr>
        <p:sp>
          <p:nvSpPr>
            <p:cNvPr id="685" name="Freeform 17">
              <a:extLst>
                <a:ext uri="{FF2B5EF4-FFF2-40B4-BE49-F238E27FC236}">
                  <a16:creationId xmlns:a16="http://schemas.microsoft.com/office/drawing/2014/main" id="{872789C8-8847-46DF-AEAB-DF78C6A3F45D}"/>
                </a:ext>
              </a:extLst>
            </p:cNvPr>
            <p:cNvSpPr>
              <a:spLocks/>
            </p:cNvSpPr>
            <p:nvPr/>
          </p:nvSpPr>
          <p:spPr bwMode="auto">
            <a:xfrm>
              <a:off x="2676525" y="2593975"/>
              <a:ext cx="142875" cy="61913"/>
            </a:xfrm>
            <a:custGeom>
              <a:avLst/>
              <a:gdLst>
                <a:gd name="T0" fmla="*/ 55 w 451"/>
                <a:gd name="T1" fmla="*/ 193 h 195"/>
                <a:gd name="T2" fmla="*/ 58 w 451"/>
                <a:gd name="T3" fmla="*/ 189 h 195"/>
                <a:gd name="T4" fmla="*/ 60 w 451"/>
                <a:gd name="T5" fmla="*/ 183 h 195"/>
                <a:gd name="T6" fmla="*/ 60 w 451"/>
                <a:gd name="T7" fmla="*/ 177 h 195"/>
                <a:gd name="T8" fmla="*/ 53 w 451"/>
                <a:gd name="T9" fmla="*/ 158 h 195"/>
                <a:gd name="T10" fmla="*/ 43 w 451"/>
                <a:gd name="T11" fmla="*/ 122 h 195"/>
                <a:gd name="T12" fmla="*/ 35 w 451"/>
                <a:gd name="T13" fmla="*/ 85 h 195"/>
                <a:gd name="T14" fmla="*/ 32 w 451"/>
                <a:gd name="T15" fmla="*/ 47 h 195"/>
                <a:gd name="T16" fmla="*/ 421 w 451"/>
                <a:gd name="T17" fmla="*/ 30 h 195"/>
                <a:gd name="T18" fmla="*/ 418 w 451"/>
                <a:gd name="T19" fmla="*/ 66 h 195"/>
                <a:gd name="T20" fmla="*/ 413 w 451"/>
                <a:gd name="T21" fmla="*/ 103 h 195"/>
                <a:gd name="T22" fmla="*/ 404 w 451"/>
                <a:gd name="T23" fmla="*/ 141 h 195"/>
                <a:gd name="T24" fmla="*/ 392 w 451"/>
                <a:gd name="T25" fmla="*/ 175 h 195"/>
                <a:gd name="T26" fmla="*/ 391 w 451"/>
                <a:gd name="T27" fmla="*/ 180 h 195"/>
                <a:gd name="T28" fmla="*/ 392 w 451"/>
                <a:gd name="T29" fmla="*/ 186 h 195"/>
                <a:gd name="T30" fmla="*/ 395 w 451"/>
                <a:gd name="T31" fmla="*/ 191 h 195"/>
                <a:gd name="T32" fmla="*/ 401 w 451"/>
                <a:gd name="T33" fmla="*/ 194 h 195"/>
                <a:gd name="T34" fmla="*/ 406 w 451"/>
                <a:gd name="T35" fmla="*/ 195 h 195"/>
                <a:gd name="T36" fmla="*/ 415 w 451"/>
                <a:gd name="T37" fmla="*/ 193 h 195"/>
                <a:gd name="T38" fmla="*/ 420 w 451"/>
                <a:gd name="T39" fmla="*/ 187 h 195"/>
                <a:gd name="T40" fmla="*/ 435 w 451"/>
                <a:gd name="T41" fmla="*/ 144 h 195"/>
                <a:gd name="T42" fmla="*/ 445 w 451"/>
                <a:gd name="T43" fmla="*/ 98 h 195"/>
                <a:gd name="T44" fmla="*/ 450 w 451"/>
                <a:gd name="T45" fmla="*/ 54 h 195"/>
                <a:gd name="T46" fmla="*/ 451 w 451"/>
                <a:gd name="T47" fmla="*/ 15 h 195"/>
                <a:gd name="T48" fmla="*/ 450 w 451"/>
                <a:gd name="T49" fmla="*/ 10 h 195"/>
                <a:gd name="T50" fmla="*/ 447 w 451"/>
                <a:gd name="T51" fmla="*/ 4 h 195"/>
                <a:gd name="T52" fmla="*/ 443 w 451"/>
                <a:gd name="T53" fmla="*/ 1 h 195"/>
                <a:gd name="T54" fmla="*/ 436 w 451"/>
                <a:gd name="T55" fmla="*/ 0 h 195"/>
                <a:gd name="T56" fmla="*/ 13 w 451"/>
                <a:gd name="T57" fmla="*/ 0 h 195"/>
                <a:gd name="T58" fmla="*/ 7 w 451"/>
                <a:gd name="T59" fmla="*/ 2 h 195"/>
                <a:gd name="T60" fmla="*/ 3 w 451"/>
                <a:gd name="T61" fmla="*/ 7 h 195"/>
                <a:gd name="T62" fmla="*/ 1 w 451"/>
                <a:gd name="T63" fmla="*/ 12 h 195"/>
                <a:gd name="T64" fmla="*/ 1 w 451"/>
                <a:gd name="T65" fmla="*/ 33 h 195"/>
                <a:gd name="T66" fmla="*/ 4 w 451"/>
                <a:gd name="T67" fmla="*/ 75 h 195"/>
                <a:gd name="T68" fmla="*/ 12 w 451"/>
                <a:gd name="T69" fmla="*/ 120 h 195"/>
                <a:gd name="T70" fmla="*/ 23 w 451"/>
                <a:gd name="T71" fmla="*/ 165 h 195"/>
                <a:gd name="T72" fmla="*/ 33 w 451"/>
                <a:gd name="T73" fmla="*/ 189 h 195"/>
                <a:gd name="T74" fmla="*/ 37 w 451"/>
                <a:gd name="T75" fmla="*/ 193 h 195"/>
                <a:gd name="T76" fmla="*/ 43 w 451"/>
                <a:gd name="T77" fmla="*/ 195 h 195"/>
                <a:gd name="T78" fmla="*/ 48 w 451"/>
                <a:gd name="T7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195">
                  <a:moveTo>
                    <a:pt x="51" y="194"/>
                  </a:moveTo>
                  <a:lnTo>
                    <a:pt x="55" y="193"/>
                  </a:lnTo>
                  <a:lnTo>
                    <a:pt x="57" y="191"/>
                  </a:lnTo>
                  <a:lnTo>
                    <a:pt x="58" y="189"/>
                  </a:lnTo>
                  <a:lnTo>
                    <a:pt x="60" y="186"/>
                  </a:lnTo>
                  <a:lnTo>
                    <a:pt x="60" y="183"/>
                  </a:lnTo>
                  <a:lnTo>
                    <a:pt x="61" y="180"/>
                  </a:lnTo>
                  <a:lnTo>
                    <a:pt x="60" y="177"/>
                  </a:lnTo>
                  <a:lnTo>
                    <a:pt x="59" y="175"/>
                  </a:lnTo>
                  <a:lnTo>
                    <a:pt x="53" y="158"/>
                  </a:lnTo>
                  <a:lnTo>
                    <a:pt x="47" y="141"/>
                  </a:lnTo>
                  <a:lnTo>
                    <a:pt x="43" y="122"/>
                  </a:lnTo>
                  <a:lnTo>
                    <a:pt x="38" y="103"/>
                  </a:lnTo>
                  <a:lnTo>
                    <a:pt x="35" y="85"/>
                  </a:lnTo>
                  <a:lnTo>
                    <a:pt x="33" y="66"/>
                  </a:lnTo>
                  <a:lnTo>
                    <a:pt x="32" y="47"/>
                  </a:lnTo>
                  <a:lnTo>
                    <a:pt x="31" y="30"/>
                  </a:lnTo>
                  <a:lnTo>
                    <a:pt x="421" y="30"/>
                  </a:lnTo>
                  <a:lnTo>
                    <a:pt x="420" y="47"/>
                  </a:lnTo>
                  <a:lnTo>
                    <a:pt x="418" y="66"/>
                  </a:lnTo>
                  <a:lnTo>
                    <a:pt x="416" y="85"/>
                  </a:lnTo>
                  <a:lnTo>
                    <a:pt x="413" y="103"/>
                  </a:lnTo>
                  <a:lnTo>
                    <a:pt x="409" y="122"/>
                  </a:lnTo>
                  <a:lnTo>
                    <a:pt x="404" y="141"/>
                  </a:lnTo>
                  <a:lnTo>
                    <a:pt x="399" y="158"/>
                  </a:lnTo>
                  <a:lnTo>
                    <a:pt x="392" y="175"/>
                  </a:lnTo>
                  <a:lnTo>
                    <a:pt x="391" y="177"/>
                  </a:lnTo>
                  <a:lnTo>
                    <a:pt x="391" y="180"/>
                  </a:lnTo>
                  <a:lnTo>
                    <a:pt x="391" y="183"/>
                  </a:lnTo>
                  <a:lnTo>
                    <a:pt x="392" y="186"/>
                  </a:lnTo>
                  <a:lnTo>
                    <a:pt x="393" y="189"/>
                  </a:lnTo>
                  <a:lnTo>
                    <a:pt x="395" y="191"/>
                  </a:lnTo>
                  <a:lnTo>
                    <a:pt x="398" y="193"/>
                  </a:lnTo>
                  <a:lnTo>
                    <a:pt x="401" y="194"/>
                  </a:lnTo>
                  <a:lnTo>
                    <a:pt x="403" y="195"/>
                  </a:lnTo>
                  <a:lnTo>
                    <a:pt x="406" y="195"/>
                  </a:lnTo>
                  <a:lnTo>
                    <a:pt x="411" y="195"/>
                  </a:lnTo>
                  <a:lnTo>
                    <a:pt x="415" y="193"/>
                  </a:lnTo>
                  <a:lnTo>
                    <a:pt x="418" y="190"/>
                  </a:lnTo>
                  <a:lnTo>
                    <a:pt x="420" y="187"/>
                  </a:lnTo>
                  <a:lnTo>
                    <a:pt x="429" y="165"/>
                  </a:lnTo>
                  <a:lnTo>
                    <a:pt x="435" y="144"/>
                  </a:lnTo>
                  <a:lnTo>
                    <a:pt x="441" y="120"/>
                  </a:lnTo>
                  <a:lnTo>
                    <a:pt x="445" y="98"/>
                  </a:lnTo>
                  <a:lnTo>
                    <a:pt x="448" y="75"/>
                  </a:lnTo>
                  <a:lnTo>
                    <a:pt x="450" y="54"/>
                  </a:lnTo>
                  <a:lnTo>
                    <a:pt x="451" y="33"/>
                  </a:lnTo>
                  <a:lnTo>
                    <a:pt x="451" y="15"/>
                  </a:lnTo>
                  <a:lnTo>
                    <a:pt x="451" y="12"/>
                  </a:lnTo>
                  <a:lnTo>
                    <a:pt x="450" y="10"/>
                  </a:lnTo>
                  <a:lnTo>
                    <a:pt x="449" y="7"/>
                  </a:lnTo>
                  <a:lnTo>
                    <a:pt x="447" y="4"/>
                  </a:lnTo>
                  <a:lnTo>
                    <a:pt x="445" y="2"/>
                  </a:lnTo>
                  <a:lnTo>
                    <a:pt x="443" y="1"/>
                  </a:lnTo>
                  <a:lnTo>
                    <a:pt x="439" y="0"/>
                  </a:lnTo>
                  <a:lnTo>
                    <a:pt x="436" y="0"/>
                  </a:lnTo>
                  <a:lnTo>
                    <a:pt x="15" y="0"/>
                  </a:lnTo>
                  <a:lnTo>
                    <a:pt x="13" y="0"/>
                  </a:lnTo>
                  <a:lnTo>
                    <a:pt x="10" y="1"/>
                  </a:lnTo>
                  <a:lnTo>
                    <a:pt x="7" y="2"/>
                  </a:lnTo>
                  <a:lnTo>
                    <a:pt x="5" y="4"/>
                  </a:lnTo>
                  <a:lnTo>
                    <a:pt x="3" y="7"/>
                  </a:lnTo>
                  <a:lnTo>
                    <a:pt x="2" y="10"/>
                  </a:lnTo>
                  <a:lnTo>
                    <a:pt x="1" y="12"/>
                  </a:lnTo>
                  <a:lnTo>
                    <a:pt x="0" y="15"/>
                  </a:lnTo>
                  <a:lnTo>
                    <a:pt x="1" y="33"/>
                  </a:lnTo>
                  <a:lnTo>
                    <a:pt x="2" y="54"/>
                  </a:lnTo>
                  <a:lnTo>
                    <a:pt x="4" y="75"/>
                  </a:lnTo>
                  <a:lnTo>
                    <a:pt x="7" y="98"/>
                  </a:lnTo>
                  <a:lnTo>
                    <a:pt x="12" y="120"/>
                  </a:lnTo>
                  <a:lnTo>
                    <a:pt x="17" y="144"/>
                  </a:lnTo>
                  <a:lnTo>
                    <a:pt x="23" y="165"/>
                  </a:lnTo>
                  <a:lnTo>
                    <a:pt x="32" y="187"/>
                  </a:lnTo>
                  <a:lnTo>
                    <a:pt x="33" y="189"/>
                  </a:lnTo>
                  <a:lnTo>
                    <a:pt x="35" y="191"/>
                  </a:lnTo>
                  <a:lnTo>
                    <a:pt x="37" y="193"/>
                  </a:lnTo>
                  <a:lnTo>
                    <a:pt x="40" y="194"/>
                  </a:lnTo>
                  <a:lnTo>
                    <a:pt x="43" y="195"/>
                  </a:lnTo>
                  <a:lnTo>
                    <a:pt x="46" y="195"/>
                  </a:lnTo>
                  <a:lnTo>
                    <a:pt x="48" y="195"/>
                  </a:lnTo>
                  <a:lnTo>
                    <a:pt x="51"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6" name="Freeform 18">
              <a:extLst>
                <a:ext uri="{FF2B5EF4-FFF2-40B4-BE49-F238E27FC236}">
                  <a16:creationId xmlns:a16="http://schemas.microsoft.com/office/drawing/2014/main" id="{CC186976-59EA-445F-AB09-475301C3176E}"/>
                </a:ext>
              </a:extLst>
            </p:cNvPr>
            <p:cNvSpPr>
              <a:spLocks noEditPoints="1"/>
            </p:cNvSpPr>
            <p:nvPr/>
          </p:nvSpPr>
          <p:spPr bwMode="auto">
            <a:xfrm>
              <a:off x="2628900" y="2670175"/>
              <a:ext cx="238125" cy="104775"/>
            </a:xfrm>
            <a:custGeom>
              <a:avLst/>
              <a:gdLst>
                <a:gd name="T0" fmla="*/ 453 w 750"/>
                <a:gd name="T1" fmla="*/ 302 h 332"/>
                <a:gd name="T2" fmla="*/ 299 w 750"/>
                <a:gd name="T3" fmla="*/ 302 h 332"/>
                <a:gd name="T4" fmla="*/ 260 w 750"/>
                <a:gd name="T5" fmla="*/ 30 h 332"/>
                <a:gd name="T6" fmla="*/ 491 w 750"/>
                <a:gd name="T7" fmla="*/ 30 h 332"/>
                <a:gd name="T8" fmla="*/ 453 w 750"/>
                <a:gd name="T9" fmla="*/ 302 h 332"/>
                <a:gd name="T10" fmla="*/ 735 w 750"/>
                <a:gd name="T11" fmla="*/ 0 h 332"/>
                <a:gd name="T12" fmla="*/ 525 w 750"/>
                <a:gd name="T13" fmla="*/ 0 h 332"/>
                <a:gd name="T14" fmla="*/ 225 w 750"/>
                <a:gd name="T15" fmla="*/ 0 h 332"/>
                <a:gd name="T16" fmla="*/ 15 w 750"/>
                <a:gd name="T17" fmla="*/ 0 h 332"/>
                <a:gd name="T18" fmla="*/ 12 w 750"/>
                <a:gd name="T19" fmla="*/ 1 h 332"/>
                <a:gd name="T20" fmla="*/ 9 w 750"/>
                <a:gd name="T21" fmla="*/ 1 h 332"/>
                <a:gd name="T22" fmla="*/ 6 w 750"/>
                <a:gd name="T23" fmla="*/ 3 h 332"/>
                <a:gd name="T24" fmla="*/ 4 w 750"/>
                <a:gd name="T25" fmla="*/ 5 h 332"/>
                <a:gd name="T26" fmla="*/ 3 w 750"/>
                <a:gd name="T27" fmla="*/ 8 h 332"/>
                <a:gd name="T28" fmla="*/ 1 w 750"/>
                <a:gd name="T29" fmla="*/ 10 h 332"/>
                <a:gd name="T30" fmla="*/ 0 w 750"/>
                <a:gd name="T31" fmla="*/ 13 h 332"/>
                <a:gd name="T32" fmla="*/ 0 w 750"/>
                <a:gd name="T33" fmla="*/ 15 h 332"/>
                <a:gd name="T34" fmla="*/ 0 w 750"/>
                <a:gd name="T35" fmla="*/ 19 h 332"/>
                <a:gd name="T36" fmla="*/ 1 w 750"/>
                <a:gd name="T37" fmla="*/ 22 h 332"/>
                <a:gd name="T38" fmla="*/ 3 w 750"/>
                <a:gd name="T39" fmla="*/ 24 h 332"/>
                <a:gd name="T40" fmla="*/ 4 w 750"/>
                <a:gd name="T41" fmla="*/ 26 h 332"/>
                <a:gd name="T42" fmla="*/ 6 w 750"/>
                <a:gd name="T43" fmla="*/ 28 h 332"/>
                <a:gd name="T44" fmla="*/ 9 w 750"/>
                <a:gd name="T45" fmla="*/ 29 h 332"/>
                <a:gd name="T46" fmla="*/ 12 w 750"/>
                <a:gd name="T47" fmla="*/ 30 h 332"/>
                <a:gd name="T48" fmla="*/ 15 w 750"/>
                <a:gd name="T49" fmla="*/ 30 h 332"/>
                <a:gd name="T50" fmla="*/ 229 w 750"/>
                <a:gd name="T51" fmla="*/ 30 h 332"/>
                <a:gd name="T52" fmla="*/ 273 w 750"/>
                <a:gd name="T53" fmla="*/ 332 h 332"/>
                <a:gd name="T54" fmla="*/ 479 w 750"/>
                <a:gd name="T55" fmla="*/ 332 h 332"/>
                <a:gd name="T56" fmla="*/ 521 w 750"/>
                <a:gd name="T57" fmla="*/ 30 h 332"/>
                <a:gd name="T58" fmla="*/ 735 w 750"/>
                <a:gd name="T59" fmla="*/ 30 h 332"/>
                <a:gd name="T60" fmla="*/ 738 w 750"/>
                <a:gd name="T61" fmla="*/ 30 h 332"/>
                <a:gd name="T62" fmla="*/ 742 w 750"/>
                <a:gd name="T63" fmla="*/ 29 h 332"/>
                <a:gd name="T64" fmla="*/ 744 w 750"/>
                <a:gd name="T65" fmla="*/ 28 h 332"/>
                <a:gd name="T66" fmla="*/ 746 w 750"/>
                <a:gd name="T67" fmla="*/ 26 h 332"/>
                <a:gd name="T68" fmla="*/ 748 w 750"/>
                <a:gd name="T69" fmla="*/ 24 h 332"/>
                <a:gd name="T70" fmla="*/ 749 w 750"/>
                <a:gd name="T71" fmla="*/ 22 h 332"/>
                <a:gd name="T72" fmla="*/ 750 w 750"/>
                <a:gd name="T73" fmla="*/ 19 h 332"/>
                <a:gd name="T74" fmla="*/ 750 w 750"/>
                <a:gd name="T75" fmla="*/ 15 h 332"/>
                <a:gd name="T76" fmla="*/ 750 w 750"/>
                <a:gd name="T77" fmla="*/ 13 h 332"/>
                <a:gd name="T78" fmla="*/ 749 w 750"/>
                <a:gd name="T79" fmla="*/ 10 h 332"/>
                <a:gd name="T80" fmla="*/ 748 w 750"/>
                <a:gd name="T81" fmla="*/ 8 h 332"/>
                <a:gd name="T82" fmla="*/ 746 w 750"/>
                <a:gd name="T83" fmla="*/ 5 h 332"/>
                <a:gd name="T84" fmla="*/ 744 w 750"/>
                <a:gd name="T85" fmla="*/ 3 h 332"/>
                <a:gd name="T86" fmla="*/ 742 w 750"/>
                <a:gd name="T87" fmla="*/ 1 h 332"/>
                <a:gd name="T88" fmla="*/ 738 w 750"/>
                <a:gd name="T89" fmla="*/ 1 h 332"/>
                <a:gd name="T90" fmla="*/ 735 w 750"/>
                <a:gd name="T9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332">
                  <a:moveTo>
                    <a:pt x="453" y="302"/>
                  </a:moveTo>
                  <a:lnTo>
                    <a:pt x="299" y="302"/>
                  </a:lnTo>
                  <a:lnTo>
                    <a:pt x="260" y="30"/>
                  </a:lnTo>
                  <a:lnTo>
                    <a:pt x="491" y="30"/>
                  </a:lnTo>
                  <a:lnTo>
                    <a:pt x="453" y="302"/>
                  </a:lnTo>
                  <a:close/>
                  <a:moveTo>
                    <a:pt x="735" y="0"/>
                  </a:moveTo>
                  <a:lnTo>
                    <a:pt x="525" y="0"/>
                  </a:lnTo>
                  <a:lnTo>
                    <a:pt x="225" y="0"/>
                  </a:lnTo>
                  <a:lnTo>
                    <a:pt x="15" y="0"/>
                  </a:lnTo>
                  <a:lnTo>
                    <a:pt x="12" y="1"/>
                  </a:lnTo>
                  <a:lnTo>
                    <a:pt x="9" y="1"/>
                  </a:lnTo>
                  <a:lnTo>
                    <a:pt x="6" y="3"/>
                  </a:lnTo>
                  <a:lnTo>
                    <a:pt x="4" y="5"/>
                  </a:lnTo>
                  <a:lnTo>
                    <a:pt x="3" y="8"/>
                  </a:lnTo>
                  <a:lnTo>
                    <a:pt x="1" y="10"/>
                  </a:lnTo>
                  <a:lnTo>
                    <a:pt x="0" y="13"/>
                  </a:lnTo>
                  <a:lnTo>
                    <a:pt x="0" y="15"/>
                  </a:lnTo>
                  <a:lnTo>
                    <a:pt x="0" y="19"/>
                  </a:lnTo>
                  <a:lnTo>
                    <a:pt x="1" y="22"/>
                  </a:lnTo>
                  <a:lnTo>
                    <a:pt x="3" y="24"/>
                  </a:lnTo>
                  <a:lnTo>
                    <a:pt x="4" y="26"/>
                  </a:lnTo>
                  <a:lnTo>
                    <a:pt x="6" y="28"/>
                  </a:lnTo>
                  <a:lnTo>
                    <a:pt x="9" y="29"/>
                  </a:lnTo>
                  <a:lnTo>
                    <a:pt x="12" y="30"/>
                  </a:lnTo>
                  <a:lnTo>
                    <a:pt x="15" y="30"/>
                  </a:lnTo>
                  <a:lnTo>
                    <a:pt x="229" y="30"/>
                  </a:lnTo>
                  <a:lnTo>
                    <a:pt x="273" y="332"/>
                  </a:lnTo>
                  <a:lnTo>
                    <a:pt x="479" y="332"/>
                  </a:lnTo>
                  <a:lnTo>
                    <a:pt x="521" y="30"/>
                  </a:lnTo>
                  <a:lnTo>
                    <a:pt x="735" y="30"/>
                  </a:lnTo>
                  <a:lnTo>
                    <a:pt x="738" y="30"/>
                  </a:lnTo>
                  <a:lnTo>
                    <a:pt x="742" y="29"/>
                  </a:lnTo>
                  <a:lnTo>
                    <a:pt x="744" y="28"/>
                  </a:lnTo>
                  <a:lnTo>
                    <a:pt x="746" y="26"/>
                  </a:lnTo>
                  <a:lnTo>
                    <a:pt x="748" y="24"/>
                  </a:lnTo>
                  <a:lnTo>
                    <a:pt x="749" y="22"/>
                  </a:lnTo>
                  <a:lnTo>
                    <a:pt x="750" y="19"/>
                  </a:lnTo>
                  <a:lnTo>
                    <a:pt x="750" y="15"/>
                  </a:lnTo>
                  <a:lnTo>
                    <a:pt x="750" y="13"/>
                  </a:lnTo>
                  <a:lnTo>
                    <a:pt x="749" y="10"/>
                  </a:lnTo>
                  <a:lnTo>
                    <a:pt x="748" y="8"/>
                  </a:lnTo>
                  <a:lnTo>
                    <a:pt x="746" y="5"/>
                  </a:lnTo>
                  <a:lnTo>
                    <a:pt x="744" y="3"/>
                  </a:lnTo>
                  <a:lnTo>
                    <a:pt x="742" y="1"/>
                  </a:lnTo>
                  <a:lnTo>
                    <a:pt x="738" y="1"/>
                  </a:lnTo>
                  <a:lnTo>
                    <a:pt x="7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7" name="Freeform 19">
              <a:extLst>
                <a:ext uri="{FF2B5EF4-FFF2-40B4-BE49-F238E27FC236}">
                  <a16:creationId xmlns:a16="http://schemas.microsoft.com/office/drawing/2014/main" id="{45140474-18AC-443C-AE76-4B630EA1AA2E}"/>
                </a:ext>
              </a:extLst>
            </p:cNvPr>
            <p:cNvSpPr>
              <a:spLocks noEditPoints="1"/>
            </p:cNvSpPr>
            <p:nvPr/>
          </p:nvSpPr>
          <p:spPr bwMode="auto">
            <a:xfrm>
              <a:off x="2700338" y="2489200"/>
              <a:ext cx="95250" cy="95250"/>
            </a:xfrm>
            <a:custGeom>
              <a:avLst/>
              <a:gdLst>
                <a:gd name="T0" fmla="*/ 174 w 300"/>
                <a:gd name="T1" fmla="*/ 33 h 301"/>
                <a:gd name="T2" fmla="*/ 207 w 300"/>
                <a:gd name="T3" fmla="*/ 45 h 301"/>
                <a:gd name="T4" fmla="*/ 235 w 300"/>
                <a:gd name="T5" fmla="*/ 65 h 301"/>
                <a:gd name="T6" fmla="*/ 255 w 300"/>
                <a:gd name="T7" fmla="*/ 93 h 301"/>
                <a:gd name="T8" fmla="*/ 268 w 300"/>
                <a:gd name="T9" fmla="*/ 126 h 301"/>
                <a:gd name="T10" fmla="*/ 269 w 300"/>
                <a:gd name="T11" fmla="*/ 163 h 301"/>
                <a:gd name="T12" fmla="*/ 261 w 300"/>
                <a:gd name="T13" fmla="*/ 197 h 301"/>
                <a:gd name="T14" fmla="*/ 242 w 300"/>
                <a:gd name="T15" fmla="*/ 227 h 301"/>
                <a:gd name="T16" fmla="*/ 218 w 300"/>
                <a:gd name="T17" fmla="*/ 251 h 301"/>
                <a:gd name="T18" fmla="*/ 185 w 300"/>
                <a:gd name="T19" fmla="*/ 266 h 301"/>
                <a:gd name="T20" fmla="*/ 150 w 300"/>
                <a:gd name="T21" fmla="*/ 271 h 301"/>
                <a:gd name="T22" fmla="*/ 115 w 300"/>
                <a:gd name="T23" fmla="*/ 266 h 301"/>
                <a:gd name="T24" fmla="*/ 83 w 300"/>
                <a:gd name="T25" fmla="*/ 251 h 301"/>
                <a:gd name="T26" fmla="*/ 57 w 300"/>
                <a:gd name="T27" fmla="*/ 227 h 301"/>
                <a:gd name="T28" fmla="*/ 39 w 300"/>
                <a:gd name="T29" fmla="*/ 197 h 301"/>
                <a:gd name="T30" fmla="*/ 30 w 300"/>
                <a:gd name="T31" fmla="*/ 163 h 301"/>
                <a:gd name="T32" fmla="*/ 32 w 300"/>
                <a:gd name="T33" fmla="*/ 126 h 301"/>
                <a:gd name="T34" fmla="*/ 44 w 300"/>
                <a:gd name="T35" fmla="*/ 93 h 301"/>
                <a:gd name="T36" fmla="*/ 65 w 300"/>
                <a:gd name="T37" fmla="*/ 65 h 301"/>
                <a:gd name="T38" fmla="*/ 92 w 300"/>
                <a:gd name="T39" fmla="*/ 45 h 301"/>
                <a:gd name="T40" fmla="*/ 125 w 300"/>
                <a:gd name="T41" fmla="*/ 33 h 301"/>
                <a:gd name="T42" fmla="*/ 150 w 300"/>
                <a:gd name="T43" fmla="*/ 301 h 301"/>
                <a:gd name="T44" fmla="*/ 195 w 300"/>
                <a:gd name="T45" fmla="*/ 295 h 301"/>
                <a:gd name="T46" fmla="*/ 234 w 300"/>
                <a:gd name="T47" fmla="*/ 275 h 301"/>
                <a:gd name="T48" fmla="*/ 266 w 300"/>
                <a:gd name="T49" fmla="*/ 246 h 301"/>
                <a:gd name="T50" fmla="*/ 288 w 300"/>
                <a:gd name="T51" fmla="*/ 209 h 301"/>
                <a:gd name="T52" fmla="*/ 299 w 300"/>
                <a:gd name="T53" fmla="*/ 166 h 301"/>
                <a:gd name="T54" fmla="*/ 297 w 300"/>
                <a:gd name="T55" fmla="*/ 120 h 301"/>
                <a:gd name="T56" fmla="*/ 282 w 300"/>
                <a:gd name="T57" fmla="*/ 79 h 301"/>
                <a:gd name="T58" fmla="*/ 256 w 300"/>
                <a:gd name="T59" fmla="*/ 44 h 301"/>
                <a:gd name="T60" fmla="*/ 222 w 300"/>
                <a:gd name="T61" fmla="*/ 18 h 301"/>
                <a:gd name="T62" fmla="*/ 180 w 300"/>
                <a:gd name="T63" fmla="*/ 3 h 301"/>
                <a:gd name="T64" fmla="*/ 135 w 300"/>
                <a:gd name="T65" fmla="*/ 1 h 301"/>
                <a:gd name="T66" fmla="*/ 91 w 300"/>
                <a:gd name="T67" fmla="*/ 12 h 301"/>
                <a:gd name="T68" fmla="*/ 55 w 300"/>
                <a:gd name="T69" fmla="*/ 34 h 301"/>
                <a:gd name="T70" fmla="*/ 26 w 300"/>
                <a:gd name="T71" fmla="*/ 66 h 301"/>
                <a:gd name="T72" fmla="*/ 6 w 300"/>
                <a:gd name="T73" fmla="*/ 106 h 301"/>
                <a:gd name="T74" fmla="*/ 0 w 300"/>
                <a:gd name="T75" fmla="*/ 151 h 301"/>
                <a:gd name="T76" fmla="*/ 6 w 300"/>
                <a:gd name="T77" fmla="*/ 195 h 301"/>
                <a:gd name="T78" fmla="*/ 26 w 300"/>
                <a:gd name="T79" fmla="*/ 235 h 301"/>
                <a:gd name="T80" fmla="*/ 55 w 300"/>
                <a:gd name="T81" fmla="*/ 267 h 301"/>
                <a:gd name="T82" fmla="*/ 91 w 300"/>
                <a:gd name="T83" fmla="*/ 289 h 301"/>
                <a:gd name="T84" fmla="*/ 135 w 300"/>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0" h="301">
                  <a:moveTo>
                    <a:pt x="150" y="30"/>
                  </a:moveTo>
                  <a:lnTo>
                    <a:pt x="162" y="31"/>
                  </a:lnTo>
                  <a:lnTo>
                    <a:pt x="174" y="33"/>
                  </a:lnTo>
                  <a:lnTo>
                    <a:pt x="185" y="35"/>
                  </a:lnTo>
                  <a:lnTo>
                    <a:pt x="196" y="40"/>
                  </a:lnTo>
                  <a:lnTo>
                    <a:pt x="207" y="45"/>
                  </a:lnTo>
                  <a:lnTo>
                    <a:pt x="218" y="51"/>
                  </a:lnTo>
                  <a:lnTo>
                    <a:pt x="226" y="58"/>
                  </a:lnTo>
                  <a:lnTo>
                    <a:pt x="235" y="65"/>
                  </a:lnTo>
                  <a:lnTo>
                    <a:pt x="242" y="74"/>
                  </a:lnTo>
                  <a:lnTo>
                    <a:pt x="250" y="83"/>
                  </a:lnTo>
                  <a:lnTo>
                    <a:pt x="255" y="93"/>
                  </a:lnTo>
                  <a:lnTo>
                    <a:pt x="261" y="104"/>
                  </a:lnTo>
                  <a:lnTo>
                    <a:pt x="265" y="115"/>
                  </a:lnTo>
                  <a:lnTo>
                    <a:pt x="268" y="126"/>
                  </a:lnTo>
                  <a:lnTo>
                    <a:pt x="269" y="138"/>
                  </a:lnTo>
                  <a:lnTo>
                    <a:pt x="270" y="151"/>
                  </a:lnTo>
                  <a:lnTo>
                    <a:pt x="269" y="163"/>
                  </a:lnTo>
                  <a:lnTo>
                    <a:pt x="268" y="175"/>
                  </a:lnTo>
                  <a:lnTo>
                    <a:pt x="265" y="186"/>
                  </a:lnTo>
                  <a:lnTo>
                    <a:pt x="261" y="197"/>
                  </a:lnTo>
                  <a:lnTo>
                    <a:pt x="255" y="208"/>
                  </a:lnTo>
                  <a:lnTo>
                    <a:pt x="250" y="217"/>
                  </a:lnTo>
                  <a:lnTo>
                    <a:pt x="242" y="227"/>
                  </a:lnTo>
                  <a:lnTo>
                    <a:pt x="235" y="236"/>
                  </a:lnTo>
                  <a:lnTo>
                    <a:pt x="226" y="243"/>
                  </a:lnTo>
                  <a:lnTo>
                    <a:pt x="218" y="251"/>
                  </a:lnTo>
                  <a:lnTo>
                    <a:pt x="207" y="256"/>
                  </a:lnTo>
                  <a:lnTo>
                    <a:pt x="196" y="261"/>
                  </a:lnTo>
                  <a:lnTo>
                    <a:pt x="185" y="266"/>
                  </a:lnTo>
                  <a:lnTo>
                    <a:pt x="174" y="269"/>
                  </a:lnTo>
                  <a:lnTo>
                    <a:pt x="162" y="270"/>
                  </a:lnTo>
                  <a:lnTo>
                    <a:pt x="150" y="271"/>
                  </a:lnTo>
                  <a:lnTo>
                    <a:pt x="137" y="270"/>
                  </a:lnTo>
                  <a:lnTo>
                    <a:pt x="125" y="269"/>
                  </a:lnTo>
                  <a:lnTo>
                    <a:pt x="115" y="266"/>
                  </a:lnTo>
                  <a:lnTo>
                    <a:pt x="103" y="261"/>
                  </a:lnTo>
                  <a:lnTo>
                    <a:pt x="92" y="256"/>
                  </a:lnTo>
                  <a:lnTo>
                    <a:pt x="83" y="251"/>
                  </a:lnTo>
                  <a:lnTo>
                    <a:pt x="74" y="243"/>
                  </a:lnTo>
                  <a:lnTo>
                    <a:pt x="65" y="236"/>
                  </a:lnTo>
                  <a:lnTo>
                    <a:pt x="57" y="227"/>
                  </a:lnTo>
                  <a:lnTo>
                    <a:pt x="50" y="217"/>
                  </a:lnTo>
                  <a:lnTo>
                    <a:pt x="44" y="208"/>
                  </a:lnTo>
                  <a:lnTo>
                    <a:pt x="39" y="197"/>
                  </a:lnTo>
                  <a:lnTo>
                    <a:pt x="35" y="186"/>
                  </a:lnTo>
                  <a:lnTo>
                    <a:pt x="32" y="175"/>
                  </a:lnTo>
                  <a:lnTo>
                    <a:pt x="30" y="163"/>
                  </a:lnTo>
                  <a:lnTo>
                    <a:pt x="30" y="151"/>
                  </a:lnTo>
                  <a:lnTo>
                    <a:pt x="30" y="138"/>
                  </a:lnTo>
                  <a:lnTo>
                    <a:pt x="32" y="126"/>
                  </a:lnTo>
                  <a:lnTo>
                    <a:pt x="35" y="115"/>
                  </a:lnTo>
                  <a:lnTo>
                    <a:pt x="39" y="104"/>
                  </a:lnTo>
                  <a:lnTo>
                    <a:pt x="44" y="93"/>
                  </a:lnTo>
                  <a:lnTo>
                    <a:pt x="50" y="83"/>
                  </a:lnTo>
                  <a:lnTo>
                    <a:pt x="57" y="74"/>
                  </a:lnTo>
                  <a:lnTo>
                    <a:pt x="65" y="65"/>
                  </a:lnTo>
                  <a:lnTo>
                    <a:pt x="74" y="58"/>
                  </a:lnTo>
                  <a:lnTo>
                    <a:pt x="83" y="51"/>
                  </a:lnTo>
                  <a:lnTo>
                    <a:pt x="92" y="45"/>
                  </a:lnTo>
                  <a:lnTo>
                    <a:pt x="103" y="40"/>
                  </a:lnTo>
                  <a:lnTo>
                    <a:pt x="115" y="35"/>
                  </a:lnTo>
                  <a:lnTo>
                    <a:pt x="125" y="33"/>
                  </a:lnTo>
                  <a:lnTo>
                    <a:pt x="137" y="31"/>
                  </a:lnTo>
                  <a:lnTo>
                    <a:pt x="150" y="30"/>
                  </a:lnTo>
                  <a:close/>
                  <a:moveTo>
                    <a:pt x="150" y="301"/>
                  </a:moveTo>
                  <a:lnTo>
                    <a:pt x="165" y="300"/>
                  </a:lnTo>
                  <a:lnTo>
                    <a:pt x="180" y="298"/>
                  </a:lnTo>
                  <a:lnTo>
                    <a:pt x="195" y="295"/>
                  </a:lnTo>
                  <a:lnTo>
                    <a:pt x="208" y="289"/>
                  </a:lnTo>
                  <a:lnTo>
                    <a:pt x="222" y="283"/>
                  </a:lnTo>
                  <a:lnTo>
                    <a:pt x="234" y="275"/>
                  </a:lnTo>
                  <a:lnTo>
                    <a:pt x="246" y="267"/>
                  </a:lnTo>
                  <a:lnTo>
                    <a:pt x="256" y="257"/>
                  </a:lnTo>
                  <a:lnTo>
                    <a:pt x="266" y="246"/>
                  </a:lnTo>
                  <a:lnTo>
                    <a:pt x="274" y="235"/>
                  </a:lnTo>
                  <a:lnTo>
                    <a:pt x="282" y="222"/>
                  </a:lnTo>
                  <a:lnTo>
                    <a:pt x="288" y="209"/>
                  </a:lnTo>
                  <a:lnTo>
                    <a:pt x="294" y="195"/>
                  </a:lnTo>
                  <a:lnTo>
                    <a:pt x="297" y="181"/>
                  </a:lnTo>
                  <a:lnTo>
                    <a:pt x="299" y="166"/>
                  </a:lnTo>
                  <a:lnTo>
                    <a:pt x="300" y="151"/>
                  </a:lnTo>
                  <a:lnTo>
                    <a:pt x="299" y="135"/>
                  </a:lnTo>
                  <a:lnTo>
                    <a:pt x="297" y="120"/>
                  </a:lnTo>
                  <a:lnTo>
                    <a:pt x="294" y="106"/>
                  </a:lnTo>
                  <a:lnTo>
                    <a:pt x="288" y="92"/>
                  </a:lnTo>
                  <a:lnTo>
                    <a:pt x="282" y="79"/>
                  </a:lnTo>
                  <a:lnTo>
                    <a:pt x="274" y="66"/>
                  </a:lnTo>
                  <a:lnTo>
                    <a:pt x="266" y="55"/>
                  </a:lnTo>
                  <a:lnTo>
                    <a:pt x="256" y="44"/>
                  </a:lnTo>
                  <a:lnTo>
                    <a:pt x="246" y="34"/>
                  </a:lnTo>
                  <a:lnTo>
                    <a:pt x="234" y="26"/>
                  </a:lnTo>
                  <a:lnTo>
                    <a:pt x="222" y="18"/>
                  </a:lnTo>
                  <a:lnTo>
                    <a:pt x="208" y="12"/>
                  </a:lnTo>
                  <a:lnTo>
                    <a:pt x="195" y="7"/>
                  </a:lnTo>
                  <a:lnTo>
                    <a:pt x="180" y="3"/>
                  </a:lnTo>
                  <a:lnTo>
                    <a:pt x="165" y="1"/>
                  </a:lnTo>
                  <a:lnTo>
                    <a:pt x="150" y="0"/>
                  </a:lnTo>
                  <a:lnTo>
                    <a:pt x="135" y="1"/>
                  </a:lnTo>
                  <a:lnTo>
                    <a:pt x="120" y="3"/>
                  </a:lnTo>
                  <a:lnTo>
                    <a:pt x="105" y="7"/>
                  </a:lnTo>
                  <a:lnTo>
                    <a:pt x="91" y="12"/>
                  </a:lnTo>
                  <a:lnTo>
                    <a:pt x="78" y="18"/>
                  </a:lnTo>
                  <a:lnTo>
                    <a:pt x="65" y="26"/>
                  </a:lnTo>
                  <a:lnTo>
                    <a:pt x="55" y="34"/>
                  </a:lnTo>
                  <a:lnTo>
                    <a:pt x="44" y="44"/>
                  </a:lnTo>
                  <a:lnTo>
                    <a:pt x="34" y="55"/>
                  </a:lnTo>
                  <a:lnTo>
                    <a:pt x="26" y="66"/>
                  </a:lnTo>
                  <a:lnTo>
                    <a:pt x="18" y="79"/>
                  </a:lnTo>
                  <a:lnTo>
                    <a:pt x="12" y="92"/>
                  </a:lnTo>
                  <a:lnTo>
                    <a:pt x="6" y="106"/>
                  </a:lnTo>
                  <a:lnTo>
                    <a:pt x="2" y="120"/>
                  </a:lnTo>
                  <a:lnTo>
                    <a:pt x="0" y="135"/>
                  </a:lnTo>
                  <a:lnTo>
                    <a:pt x="0" y="151"/>
                  </a:lnTo>
                  <a:lnTo>
                    <a:pt x="0" y="166"/>
                  </a:lnTo>
                  <a:lnTo>
                    <a:pt x="2" y="181"/>
                  </a:lnTo>
                  <a:lnTo>
                    <a:pt x="6" y="195"/>
                  </a:lnTo>
                  <a:lnTo>
                    <a:pt x="12" y="209"/>
                  </a:lnTo>
                  <a:lnTo>
                    <a:pt x="18" y="222"/>
                  </a:lnTo>
                  <a:lnTo>
                    <a:pt x="26" y="235"/>
                  </a:lnTo>
                  <a:lnTo>
                    <a:pt x="34" y="246"/>
                  </a:lnTo>
                  <a:lnTo>
                    <a:pt x="44" y="257"/>
                  </a:lnTo>
                  <a:lnTo>
                    <a:pt x="55" y="267"/>
                  </a:lnTo>
                  <a:lnTo>
                    <a:pt x="65" y="275"/>
                  </a:lnTo>
                  <a:lnTo>
                    <a:pt x="78" y="283"/>
                  </a:lnTo>
                  <a:lnTo>
                    <a:pt x="91" y="289"/>
                  </a:lnTo>
                  <a:lnTo>
                    <a:pt x="105"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8" name="Freeform 20">
              <a:extLst>
                <a:ext uri="{FF2B5EF4-FFF2-40B4-BE49-F238E27FC236}">
                  <a16:creationId xmlns:a16="http://schemas.microsoft.com/office/drawing/2014/main" id="{877672E8-6427-4EDD-A449-A238ABAE3235}"/>
                </a:ext>
              </a:extLst>
            </p:cNvPr>
            <p:cNvSpPr>
              <a:spLocks/>
            </p:cNvSpPr>
            <p:nvPr/>
          </p:nvSpPr>
          <p:spPr bwMode="auto">
            <a:xfrm>
              <a:off x="2738438" y="2608263"/>
              <a:ext cx="19050" cy="41275"/>
            </a:xfrm>
            <a:custGeom>
              <a:avLst/>
              <a:gdLst>
                <a:gd name="T0" fmla="*/ 0 w 62"/>
                <a:gd name="T1" fmla="*/ 133 h 133"/>
                <a:gd name="T2" fmla="*/ 62 w 62"/>
                <a:gd name="T3" fmla="*/ 133 h 133"/>
                <a:gd name="T4" fmla="*/ 50 w 62"/>
                <a:gd name="T5" fmla="*/ 0 h 133"/>
                <a:gd name="T6" fmla="*/ 13 w 62"/>
                <a:gd name="T7" fmla="*/ 0 h 133"/>
                <a:gd name="T8" fmla="*/ 0 w 62"/>
                <a:gd name="T9" fmla="*/ 133 h 133"/>
              </a:gdLst>
              <a:ahLst/>
              <a:cxnLst>
                <a:cxn ang="0">
                  <a:pos x="T0" y="T1"/>
                </a:cxn>
                <a:cxn ang="0">
                  <a:pos x="T2" y="T3"/>
                </a:cxn>
                <a:cxn ang="0">
                  <a:pos x="T4" y="T5"/>
                </a:cxn>
                <a:cxn ang="0">
                  <a:pos x="T6" y="T7"/>
                </a:cxn>
                <a:cxn ang="0">
                  <a:pos x="T8" y="T9"/>
                </a:cxn>
              </a:cxnLst>
              <a:rect l="0" t="0" r="r" b="b"/>
              <a:pathLst>
                <a:path w="62" h="133">
                  <a:moveTo>
                    <a:pt x="0" y="133"/>
                  </a:moveTo>
                  <a:lnTo>
                    <a:pt x="62" y="133"/>
                  </a:lnTo>
                  <a:lnTo>
                    <a:pt x="50" y="0"/>
                  </a:lnTo>
                  <a:lnTo>
                    <a:pt x="13" y="0"/>
                  </a:lnTo>
                  <a:lnTo>
                    <a:pt x="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15" name="Freeform 22">
            <a:extLst>
              <a:ext uri="{FF2B5EF4-FFF2-40B4-BE49-F238E27FC236}">
                <a16:creationId xmlns:a16="http://schemas.microsoft.com/office/drawing/2014/main" id="{4A2D8EA6-F338-4B9E-AE80-D1F1B8C524E9}"/>
              </a:ext>
            </a:extLst>
          </p:cNvPr>
          <p:cNvSpPr>
            <a:spLocks noChangeAspect="1" noEditPoints="1"/>
          </p:cNvSpPr>
          <p:nvPr/>
        </p:nvSpPr>
        <p:spPr bwMode="auto">
          <a:xfrm>
            <a:off x="4896158" y="5417577"/>
            <a:ext cx="308861" cy="285619"/>
          </a:xfrm>
          <a:custGeom>
            <a:avLst/>
            <a:gdLst>
              <a:gd name="T0" fmla="*/ 466 w 505"/>
              <a:gd name="T1" fmla="*/ 0 h 467"/>
              <a:gd name="T2" fmla="*/ 93 w 505"/>
              <a:gd name="T3" fmla="*/ 0 h 467"/>
              <a:gd name="T4" fmla="*/ 39 w 505"/>
              <a:gd name="T5" fmla="*/ 0 h 467"/>
              <a:gd name="T6" fmla="*/ 30 w 505"/>
              <a:gd name="T7" fmla="*/ 1 h 467"/>
              <a:gd name="T8" fmla="*/ 12 w 505"/>
              <a:gd name="T9" fmla="*/ 12 h 467"/>
              <a:gd name="T10" fmla="*/ 2 w 505"/>
              <a:gd name="T11" fmla="*/ 30 h 467"/>
              <a:gd name="T12" fmla="*/ 2 w 505"/>
              <a:gd name="T13" fmla="*/ 45 h 467"/>
              <a:gd name="T14" fmla="*/ 12 w 505"/>
              <a:gd name="T15" fmla="*/ 64 h 467"/>
              <a:gd name="T16" fmla="*/ 93 w 505"/>
              <a:gd name="T17" fmla="*/ 140 h 467"/>
              <a:gd name="T18" fmla="*/ 100 w 505"/>
              <a:gd name="T19" fmla="*/ 186 h 467"/>
              <a:gd name="T20" fmla="*/ 119 w 505"/>
              <a:gd name="T21" fmla="*/ 227 h 467"/>
              <a:gd name="T22" fmla="*/ 147 w 505"/>
              <a:gd name="T23" fmla="*/ 259 h 467"/>
              <a:gd name="T24" fmla="*/ 185 w 505"/>
              <a:gd name="T25" fmla="*/ 284 h 467"/>
              <a:gd name="T26" fmla="*/ 229 w 505"/>
              <a:gd name="T27" fmla="*/ 298 h 467"/>
              <a:gd name="T28" fmla="*/ 168 w 505"/>
              <a:gd name="T29" fmla="*/ 448 h 467"/>
              <a:gd name="T30" fmla="*/ 337 w 505"/>
              <a:gd name="T31" fmla="*/ 448 h 467"/>
              <a:gd name="T32" fmla="*/ 262 w 505"/>
              <a:gd name="T33" fmla="*/ 299 h 467"/>
              <a:gd name="T34" fmla="*/ 307 w 505"/>
              <a:gd name="T35" fmla="*/ 289 h 467"/>
              <a:gd name="T36" fmla="*/ 345 w 505"/>
              <a:gd name="T37" fmla="*/ 269 h 467"/>
              <a:gd name="T38" fmla="*/ 378 w 505"/>
              <a:gd name="T39" fmla="*/ 238 h 467"/>
              <a:gd name="T40" fmla="*/ 400 w 505"/>
              <a:gd name="T41" fmla="*/ 199 h 467"/>
              <a:gd name="T42" fmla="*/ 412 w 505"/>
              <a:gd name="T43" fmla="*/ 155 h 467"/>
              <a:gd name="T44" fmla="*/ 494 w 505"/>
              <a:gd name="T45" fmla="*/ 64 h 467"/>
              <a:gd name="T46" fmla="*/ 501 w 505"/>
              <a:gd name="T47" fmla="*/ 52 h 467"/>
              <a:gd name="T48" fmla="*/ 505 w 505"/>
              <a:gd name="T49" fmla="*/ 37 h 467"/>
              <a:gd name="T50" fmla="*/ 498 w 505"/>
              <a:gd name="T51" fmla="*/ 17 h 467"/>
              <a:gd name="T52" fmla="*/ 483 w 505"/>
              <a:gd name="T53" fmla="*/ 3 h 467"/>
              <a:gd name="T54" fmla="*/ 467 w 505"/>
              <a:gd name="T55" fmla="*/ 0 h 467"/>
              <a:gd name="T56" fmla="*/ 24 w 505"/>
              <a:gd name="T57" fmla="*/ 50 h 467"/>
              <a:gd name="T58" fmla="*/ 19 w 505"/>
              <a:gd name="T59" fmla="*/ 37 h 467"/>
              <a:gd name="T60" fmla="*/ 30 w 505"/>
              <a:gd name="T61" fmla="*/ 20 h 467"/>
              <a:gd name="T62" fmla="*/ 39 w 505"/>
              <a:gd name="T63" fmla="*/ 18 h 467"/>
              <a:gd name="T64" fmla="*/ 93 w 505"/>
              <a:gd name="T65" fmla="*/ 18 h 467"/>
              <a:gd name="T66" fmla="*/ 393 w 505"/>
              <a:gd name="T67" fmla="*/ 140 h 467"/>
              <a:gd name="T68" fmla="*/ 386 w 505"/>
              <a:gd name="T69" fmla="*/ 183 h 467"/>
              <a:gd name="T70" fmla="*/ 369 w 505"/>
              <a:gd name="T71" fmla="*/ 218 h 467"/>
              <a:gd name="T72" fmla="*/ 342 w 505"/>
              <a:gd name="T73" fmla="*/ 249 h 467"/>
              <a:gd name="T74" fmla="*/ 307 w 505"/>
              <a:gd name="T75" fmla="*/ 269 h 467"/>
              <a:gd name="T76" fmla="*/ 268 w 505"/>
              <a:gd name="T77" fmla="*/ 279 h 467"/>
              <a:gd name="T78" fmla="*/ 239 w 505"/>
              <a:gd name="T79" fmla="*/ 279 h 467"/>
              <a:gd name="T80" fmla="*/ 198 w 505"/>
              <a:gd name="T81" fmla="*/ 269 h 467"/>
              <a:gd name="T82" fmla="*/ 164 w 505"/>
              <a:gd name="T83" fmla="*/ 249 h 467"/>
              <a:gd name="T84" fmla="*/ 135 w 505"/>
              <a:gd name="T85" fmla="*/ 218 h 467"/>
              <a:gd name="T86" fmla="*/ 119 w 505"/>
              <a:gd name="T87" fmla="*/ 183 h 467"/>
              <a:gd name="T88" fmla="*/ 112 w 505"/>
              <a:gd name="T89" fmla="*/ 140 h 467"/>
              <a:gd name="T90" fmla="*/ 393 w 505"/>
              <a:gd name="T91" fmla="*/ 140 h 467"/>
              <a:gd name="T92" fmla="*/ 412 w 505"/>
              <a:gd name="T93" fmla="*/ 18 h 467"/>
              <a:gd name="T94" fmla="*/ 467 w 505"/>
              <a:gd name="T95" fmla="*/ 18 h 467"/>
              <a:gd name="T96" fmla="*/ 469 w 505"/>
              <a:gd name="T97" fmla="*/ 18 h 467"/>
              <a:gd name="T98" fmla="*/ 484 w 505"/>
              <a:gd name="T99" fmla="*/ 30 h 467"/>
              <a:gd name="T100" fmla="*/ 484 w 505"/>
              <a:gd name="T101" fmla="*/ 4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5" h="467">
                <a:moveTo>
                  <a:pt x="467" y="0"/>
                </a:moveTo>
                <a:lnTo>
                  <a:pt x="467" y="0"/>
                </a:lnTo>
                <a:lnTo>
                  <a:pt x="466" y="0"/>
                </a:lnTo>
                <a:lnTo>
                  <a:pt x="412" y="0"/>
                </a:lnTo>
                <a:lnTo>
                  <a:pt x="412" y="0"/>
                </a:lnTo>
                <a:lnTo>
                  <a:pt x="93" y="0"/>
                </a:lnTo>
                <a:lnTo>
                  <a:pt x="93" y="0"/>
                </a:lnTo>
                <a:lnTo>
                  <a:pt x="39" y="0"/>
                </a:lnTo>
                <a:lnTo>
                  <a:pt x="39" y="0"/>
                </a:lnTo>
                <a:lnTo>
                  <a:pt x="37" y="0"/>
                </a:lnTo>
                <a:lnTo>
                  <a:pt x="37" y="0"/>
                </a:lnTo>
                <a:lnTo>
                  <a:pt x="30" y="1"/>
                </a:lnTo>
                <a:lnTo>
                  <a:pt x="24" y="3"/>
                </a:lnTo>
                <a:lnTo>
                  <a:pt x="17" y="6"/>
                </a:lnTo>
                <a:lnTo>
                  <a:pt x="12" y="12"/>
                </a:lnTo>
                <a:lnTo>
                  <a:pt x="7" y="17"/>
                </a:lnTo>
                <a:lnTo>
                  <a:pt x="3" y="23"/>
                </a:lnTo>
                <a:lnTo>
                  <a:pt x="2" y="30"/>
                </a:lnTo>
                <a:lnTo>
                  <a:pt x="0" y="37"/>
                </a:lnTo>
                <a:lnTo>
                  <a:pt x="0" y="37"/>
                </a:lnTo>
                <a:lnTo>
                  <a:pt x="2" y="45"/>
                </a:lnTo>
                <a:lnTo>
                  <a:pt x="3" y="52"/>
                </a:lnTo>
                <a:lnTo>
                  <a:pt x="7" y="59"/>
                </a:lnTo>
                <a:lnTo>
                  <a:pt x="12" y="64"/>
                </a:lnTo>
                <a:lnTo>
                  <a:pt x="93" y="147"/>
                </a:lnTo>
                <a:lnTo>
                  <a:pt x="93" y="140"/>
                </a:lnTo>
                <a:lnTo>
                  <a:pt x="93" y="140"/>
                </a:lnTo>
                <a:lnTo>
                  <a:pt x="95" y="155"/>
                </a:lnTo>
                <a:lnTo>
                  <a:pt x="97" y="171"/>
                </a:lnTo>
                <a:lnTo>
                  <a:pt x="100" y="186"/>
                </a:lnTo>
                <a:lnTo>
                  <a:pt x="105" y="199"/>
                </a:lnTo>
                <a:lnTo>
                  <a:pt x="112" y="213"/>
                </a:lnTo>
                <a:lnTo>
                  <a:pt x="119" y="227"/>
                </a:lnTo>
                <a:lnTo>
                  <a:pt x="127" y="238"/>
                </a:lnTo>
                <a:lnTo>
                  <a:pt x="137" y="249"/>
                </a:lnTo>
                <a:lnTo>
                  <a:pt x="147" y="259"/>
                </a:lnTo>
                <a:lnTo>
                  <a:pt x="159" y="269"/>
                </a:lnTo>
                <a:lnTo>
                  <a:pt x="171" y="277"/>
                </a:lnTo>
                <a:lnTo>
                  <a:pt x="185" y="284"/>
                </a:lnTo>
                <a:lnTo>
                  <a:pt x="198" y="289"/>
                </a:lnTo>
                <a:lnTo>
                  <a:pt x="213" y="294"/>
                </a:lnTo>
                <a:lnTo>
                  <a:pt x="229" y="298"/>
                </a:lnTo>
                <a:lnTo>
                  <a:pt x="244" y="299"/>
                </a:lnTo>
                <a:lnTo>
                  <a:pt x="244" y="448"/>
                </a:lnTo>
                <a:lnTo>
                  <a:pt x="168" y="448"/>
                </a:lnTo>
                <a:lnTo>
                  <a:pt x="168" y="467"/>
                </a:lnTo>
                <a:lnTo>
                  <a:pt x="337" y="467"/>
                </a:lnTo>
                <a:lnTo>
                  <a:pt x="337" y="448"/>
                </a:lnTo>
                <a:lnTo>
                  <a:pt x="262" y="448"/>
                </a:lnTo>
                <a:lnTo>
                  <a:pt x="262" y="299"/>
                </a:lnTo>
                <a:lnTo>
                  <a:pt x="262" y="299"/>
                </a:lnTo>
                <a:lnTo>
                  <a:pt x="278" y="298"/>
                </a:lnTo>
                <a:lnTo>
                  <a:pt x="293" y="294"/>
                </a:lnTo>
                <a:lnTo>
                  <a:pt x="307" y="289"/>
                </a:lnTo>
                <a:lnTo>
                  <a:pt x="320" y="284"/>
                </a:lnTo>
                <a:lnTo>
                  <a:pt x="334" y="277"/>
                </a:lnTo>
                <a:lnTo>
                  <a:pt x="345" y="269"/>
                </a:lnTo>
                <a:lnTo>
                  <a:pt x="357" y="259"/>
                </a:lnTo>
                <a:lnTo>
                  <a:pt x="367" y="249"/>
                </a:lnTo>
                <a:lnTo>
                  <a:pt x="378" y="238"/>
                </a:lnTo>
                <a:lnTo>
                  <a:pt x="386" y="227"/>
                </a:lnTo>
                <a:lnTo>
                  <a:pt x="393" y="213"/>
                </a:lnTo>
                <a:lnTo>
                  <a:pt x="400" y="199"/>
                </a:lnTo>
                <a:lnTo>
                  <a:pt x="405" y="186"/>
                </a:lnTo>
                <a:lnTo>
                  <a:pt x="408" y="171"/>
                </a:lnTo>
                <a:lnTo>
                  <a:pt x="412" y="155"/>
                </a:lnTo>
                <a:lnTo>
                  <a:pt x="412" y="140"/>
                </a:lnTo>
                <a:lnTo>
                  <a:pt x="412" y="147"/>
                </a:lnTo>
                <a:lnTo>
                  <a:pt x="494" y="64"/>
                </a:lnTo>
                <a:lnTo>
                  <a:pt x="494" y="64"/>
                </a:lnTo>
                <a:lnTo>
                  <a:pt x="498" y="59"/>
                </a:lnTo>
                <a:lnTo>
                  <a:pt x="501" y="52"/>
                </a:lnTo>
                <a:lnTo>
                  <a:pt x="505" y="45"/>
                </a:lnTo>
                <a:lnTo>
                  <a:pt x="505" y="37"/>
                </a:lnTo>
                <a:lnTo>
                  <a:pt x="505" y="37"/>
                </a:lnTo>
                <a:lnTo>
                  <a:pt x="505" y="30"/>
                </a:lnTo>
                <a:lnTo>
                  <a:pt x="503" y="23"/>
                </a:lnTo>
                <a:lnTo>
                  <a:pt x="498" y="17"/>
                </a:lnTo>
                <a:lnTo>
                  <a:pt x="494" y="12"/>
                </a:lnTo>
                <a:lnTo>
                  <a:pt x="489" y="6"/>
                </a:lnTo>
                <a:lnTo>
                  <a:pt x="483" y="3"/>
                </a:lnTo>
                <a:lnTo>
                  <a:pt x="476" y="1"/>
                </a:lnTo>
                <a:lnTo>
                  <a:pt x="467" y="0"/>
                </a:lnTo>
                <a:lnTo>
                  <a:pt x="467" y="0"/>
                </a:lnTo>
                <a:close/>
                <a:moveTo>
                  <a:pt x="93" y="120"/>
                </a:moveTo>
                <a:lnTo>
                  <a:pt x="24" y="50"/>
                </a:lnTo>
                <a:lnTo>
                  <a:pt x="24" y="50"/>
                </a:lnTo>
                <a:lnTo>
                  <a:pt x="20" y="44"/>
                </a:lnTo>
                <a:lnTo>
                  <a:pt x="19" y="37"/>
                </a:lnTo>
                <a:lnTo>
                  <a:pt x="19" y="37"/>
                </a:lnTo>
                <a:lnTo>
                  <a:pt x="20" y="30"/>
                </a:lnTo>
                <a:lnTo>
                  <a:pt x="24" y="25"/>
                </a:lnTo>
                <a:lnTo>
                  <a:pt x="30" y="20"/>
                </a:lnTo>
                <a:lnTo>
                  <a:pt x="37" y="18"/>
                </a:lnTo>
                <a:lnTo>
                  <a:pt x="37" y="18"/>
                </a:lnTo>
                <a:lnTo>
                  <a:pt x="39" y="18"/>
                </a:lnTo>
                <a:lnTo>
                  <a:pt x="39" y="18"/>
                </a:lnTo>
                <a:lnTo>
                  <a:pt x="39" y="18"/>
                </a:lnTo>
                <a:lnTo>
                  <a:pt x="93" y="18"/>
                </a:lnTo>
                <a:lnTo>
                  <a:pt x="93" y="120"/>
                </a:lnTo>
                <a:close/>
                <a:moveTo>
                  <a:pt x="393" y="140"/>
                </a:moveTo>
                <a:lnTo>
                  <a:pt x="393" y="140"/>
                </a:lnTo>
                <a:lnTo>
                  <a:pt x="393" y="154"/>
                </a:lnTo>
                <a:lnTo>
                  <a:pt x="389" y="169"/>
                </a:lnTo>
                <a:lnTo>
                  <a:pt x="386" y="183"/>
                </a:lnTo>
                <a:lnTo>
                  <a:pt x="381" y="194"/>
                </a:lnTo>
                <a:lnTo>
                  <a:pt x="376" y="206"/>
                </a:lnTo>
                <a:lnTo>
                  <a:pt x="369" y="218"/>
                </a:lnTo>
                <a:lnTo>
                  <a:pt x="361" y="230"/>
                </a:lnTo>
                <a:lnTo>
                  <a:pt x="352" y="238"/>
                </a:lnTo>
                <a:lnTo>
                  <a:pt x="342" y="249"/>
                </a:lnTo>
                <a:lnTo>
                  <a:pt x="330" y="257"/>
                </a:lnTo>
                <a:lnTo>
                  <a:pt x="320" y="264"/>
                </a:lnTo>
                <a:lnTo>
                  <a:pt x="307" y="269"/>
                </a:lnTo>
                <a:lnTo>
                  <a:pt x="295" y="274"/>
                </a:lnTo>
                <a:lnTo>
                  <a:pt x="281" y="277"/>
                </a:lnTo>
                <a:lnTo>
                  <a:pt x="268" y="279"/>
                </a:lnTo>
                <a:lnTo>
                  <a:pt x="252" y="281"/>
                </a:lnTo>
                <a:lnTo>
                  <a:pt x="252" y="281"/>
                </a:lnTo>
                <a:lnTo>
                  <a:pt x="239" y="279"/>
                </a:lnTo>
                <a:lnTo>
                  <a:pt x="224" y="277"/>
                </a:lnTo>
                <a:lnTo>
                  <a:pt x="212" y="274"/>
                </a:lnTo>
                <a:lnTo>
                  <a:pt x="198" y="269"/>
                </a:lnTo>
                <a:lnTo>
                  <a:pt x="186" y="264"/>
                </a:lnTo>
                <a:lnTo>
                  <a:pt x="174" y="257"/>
                </a:lnTo>
                <a:lnTo>
                  <a:pt x="164" y="249"/>
                </a:lnTo>
                <a:lnTo>
                  <a:pt x="154" y="238"/>
                </a:lnTo>
                <a:lnTo>
                  <a:pt x="144" y="230"/>
                </a:lnTo>
                <a:lnTo>
                  <a:pt x="135" y="218"/>
                </a:lnTo>
                <a:lnTo>
                  <a:pt x="129" y="206"/>
                </a:lnTo>
                <a:lnTo>
                  <a:pt x="124" y="194"/>
                </a:lnTo>
                <a:lnTo>
                  <a:pt x="119" y="183"/>
                </a:lnTo>
                <a:lnTo>
                  <a:pt x="115" y="169"/>
                </a:lnTo>
                <a:lnTo>
                  <a:pt x="113" y="154"/>
                </a:lnTo>
                <a:lnTo>
                  <a:pt x="112" y="140"/>
                </a:lnTo>
                <a:lnTo>
                  <a:pt x="112" y="18"/>
                </a:lnTo>
                <a:lnTo>
                  <a:pt x="393" y="18"/>
                </a:lnTo>
                <a:lnTo>
                  <a:pt x="393" y="140"/>
                </a:lnTo>
                <a:close/>
                <a:moveTo>
                  <a:pt x="481" y="50"/>
                </a:moveTo>
                <a:lnTo>
                  <a:pt x="412" y="120"/>
                </a:lnTo>
                <a:lnTo>
                  <a:pt x="412" y="18"/>
                </a:lnTo>
                <a:lnTo>
                  <a:pt x="466" y="18"/>
                </a:lnTo>
                <a:lnTo>
                  <a:pt x="466" y="18"/>
                </a:lnTo>
                <a:lnTo>
                  <a:pt x="467" y="18"/>
                </a:lnTo>
                <a:lnTo>
                  <a:pt x="467" y="18"/>
                </a:lnTo>
                <a:lnTo>
                  <a:pt x="469" y="18"/>
                </a:lnTo>
                <a:lnTo>
                  <a:pt x="469" y="18"/>
                </a:lnTo>
                <a:lnTo>
                  <a:pt x="476" y="20"/>
                </a:lnTo>
                <a:lnTo>
                  <a:pt x="481" y="25"/>
                </a:lnTo>
                <a:lnTo>
                  <a:pt x="484" y="30"/>
                </a:lnTo>
                <a:lnTo>
                  <a:pt x="486" y="37"/>
                </a:lnTo>
                <a:lnTo>
                  <a:pt x="486" y="37"/>
                </a:lnTo>
                <a:lnTo>
                  <a:pt x="484" y="44"/>
                </a:lnTo>
                <a:lnTo>
                  <a:pt x="481" y="50"/>
                </a:lnTo>
                <a:lnTo>
                  <a:pt x="481" y="5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35" name="Group 25">
            <a:extLst>
              <a:ext uri="{FF2B5EF4-FFF2-40B4-BE49-F238E27FC236}">
                <a16:creationId xmlns:a16="http://schemas.microsoft.com/office/drawing/2014/main" id="{E7EA5409-8142-4B53-ABF1-580BD7BA7338}"/>
              </a:ext>
            </a:extLst>
          </p:cNvPr>
          <p:cNvGrpSpPr>
            <a:grpSpLocks noChangeAspect="1"/>
          </p:cNvGrpSpPr>
          <p:nvPr/>
        </p:nvGrpSpPr>
        <p:grpSpPr>
          <a:xfrm>
            <a:off x="4906521" y="4879041"/>
            <a:ext cx="288136" cy="285619"/>
            <a:chOff x="3368675" y="1055688"/>
            <a:chExt cx="1090613" cy="1081088"/>
          </a:xfrm>
          <a:solidFill>
            <a:schemeClr val="bg1"/>
          </a:solidFill>
          <a:effectLst/>
        </p:grpSpPr>
        <p:sp>
          <p:nvSpPr>
            <p:cNvPr id="936" name="Freeform 6">
              <a:extLst>
                <a:ext uri="{FF2B5EF4-FFF2-40B4-BE49-F238E27FC236}">
                  <a16:creationId xmlns:a16="http://schemas.microsoft.com/office/drawing/2014/main" id="{FD523134-2071-4F62-9E9F-3A04033F025C}"/>
                </a:ext>
              </a:extLst>
            </p:cNvPr>
            <p:cNvSpPr>
              <a:spLocks noEditPoints="1"/>
            </p:cNvSpPr>
            <p:nvPr/>
          </p:nvSpPr>
          <p:spPr bwMode="auto">
            <a:xfrm>
              <a:off x="3368675" y="1055688"/>
              <a:ext cx="1090613" cy="1081088"/>
            </a:xfrm>
            <a:custGeom>
              <a:avLst/>
              <a:gdLst>
                <a:gd name="T0" fmla="*/ 936 w 936"/>
                <a:gd name="T1" fmla="*/ 24 h 928"/>
                <a:gd name="T2" fmla="*/ 912 w 936"/>
                <a:gd name="T3" fmla="*/ 0 h 928"/>
                <a:gd name="T4" fmla="*/ 24 w 936"/>
                <a:gd name="T5" fmla="*/ 0 h 928"/>
                <a:gd name="T6" fmla="*/ 0 w 936"/>
                <a:gd name="T7" fmla="*/ 24 h 928"/>
                <a:gd name="T8" fmla="*/ 0 w 936"/>
                <a:gd name="T9" fmla="*/ 904 h 928"/>
                <a:gd name="T10" fmla="*/ 24 w 936"/>
                <a:gd name="T11" fmla="*/ 928 h 928"/>
                <a:gd name="T12" fmla="*/ 912 w 936"/>
                <a:gd name="T13" fmla="*/ 928 h 928"/>
                <a:gd name="T14" fmla="*/ 936 w 936"/>
                <a:gd name="T15" fmla="*/ 904 h 928"/>
                <a:gd name="T16" fmla="*/ 936 w 936"/>
                <a:gd name="T17" fmla="*/ 24 h 928"/>
                <a:gd name="T18" fmla="*/ 888 w 936"/>
                <a:gd name="T19" fmla="*/ 48 h 928"/>
                <a:gd name="T20" fmla="*/ 888 w 936"/>
                <a:gd name="T21" fmla="*/ 340 h 928"/>
                <a:gd name="T22" fmla="*/ 48 w 936"/>
                <a:gd name="T23" fmla="*/ 340 h 928"/>
                <a:gd name="T24" fmla="*/ 48 w 936"/>
                <a:gd name="T25" fmla="*/ 48 h 928"/>
                <a:gd name="T26" fmla="*/ 888 w 936"/>
                <a:gd name="T27" fmla="*/ 48 h 928"/>
                <a:gd name="T28" fmla="*/ 48 w 936"/>
                <a:gd name="T29" fmla="*/ 880 h 928"/>
                <a:gd name="T30" fmla="*/ 48 w 936"/>
                <a:gd name="T31" fmla="*/ 388 h 928"/>
                <a:gd name="T32" fmla="*/ 888 w 936"/>
                <a:gd name="T33" fmla="*/ 388 h 928"/>
                <a:gd name="T34" fmla="*/ 888 w 936"/>
                <a:gd name="T35" fmla="*/ 880 h 928"/>
                <a:gd name="T36" fmla="*/ 48 w 936"/>
                <a:gd name="T37" fmla="*/ 88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6" h="928">
                  <a:moveTo>
                    <a:pt x="936" y="24"/>
                  </a:moveTo>
                  <a:cubicBezTo>
                    <a:pt x="936" y="11"/>
                    <a:pt x="925" y="0"/>
                    <a:pt x="912" y="0"/>
                  </a:cubicBezTo>
                  <a:cubicBezTo>
                    <a:pt x="24" y="0"/>
                    <a:pt x="24" y="0"/>
                    <a:pt x="24" y="0"/>
                  </a:cubicBezTo>
                  <a:cubicBezTo>
                    <a:pt x="11" y="0"/>
                    <a:pt x="0" y="11"/>
                    <a:pt x="0" y="24"/>
                  </a:cubicBezTo>
                  <a:cubicBezTo>
                    <a:pt x="0" y="904"/>
                    <a:pt x="0" y="904"/>
                    <a:pt x="0" y="904"/>
                  </a:cubicBezTo>
                  <a:cubicBezTo>
                    <a:pt x="0" y="917"/>
                    <a:pt x="11" y="928"/>
                    <a:pt x="24" y="928"/>
                  </a:cubicBezTo>
                  <a:cubicBezTo>
                    <a:pt x="912" y="928"/>
                    <a:pt x="912" y="928"/>
                    <a:pt x="912" y="928"/>
                  </a:cubicBezTo>
                  <a:cubicBezTo>
                    <a:pt x="925" y="928"/>
                    <a:pt x="936" y="917"/>
                    <a:pt x="936" y="904"/>
                  </a:cubicBezTo>
                  <a:lnTo>
                    <a:pt x="936" y="24"/>
                  </a:lnTo>
                  <a:close/>
                  <a:moveTo>
                    <a:pt x="888" y="48"/>
                  </a:moveTo>
                  <a:cubicBezTo>
                    <a:pt x="888" y="340"/>
                    <a:pt x="888" y="340"/>
                    <a:pt x="888" y="340"/>
                  </a:cubicBezTo>
                  <a:cubicBezTo>
                    <a:pt x="48" y="340"/>
                    <a:pt x="48" y="340"/>
                    <a:pt x="48" y="340"/>
                  </a:cubicBezTo>
                  <a:cubicBezTo>
                    <a:pt x="48" y="48"/>
                    <a:pt x="48" y="48"/>
                    <a:pt x="48" y="48"/>
                  </a:cubicBezTo>
                  <a:lnTo>
                    <a:pt x="888" y="48"/>
                  </a:lnTo>
                  <a:close/>
                  <a:moveTo>
                    <a:pt x="48" y="880"/>
                  </a:moveTo>
                  <a:cubicBezTo>
                    <a:pt x="48" y="388"/>
                    <a:pt x="48" y="388"/>
                    <a:pt x="48" y="388"/>
                  </a:cubicBezTo>
                  <a:cubicBezTo>
                    <a:pt x="888" y="388"/>
                    <a:pt x="888" y="388"/>
                    <a:pt x="888" y="388"/>
                  </a:cubicBezTo>
                  <a:cubicBezTo>
                    <a:pt x="888" y="880"/>
                    <a:pt x="888" y="880"/>
                    <a:pt x="888" y="880"/>
                  </a:cubicBezTo>
                  <a:lnTo>
                    <a:pt x="48"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17">
              <a:extLst>
                <a:ext uri="{FF2B5EF4-FFF2-40B4-BE49-F238E27FC236}">
                  <a16:creationId xmlns:a16="http://schemas.microsoft.com/office/drawing/2014/main" id="{B2317A57-FBA4-4ED7-9F53-79AFD02EE3ED}"/>
                </a:ext>
              </a:extLst>
            </p:cNvPr>
            <p:cNvSpPr>
              <a:spLocks/>
            </p:cNvSpPr>
            <p:nvPr/>
          </p:nvSpPr>
          <p:spPr bwMode="auto">
            <a:xfrm>
              <a:off x="3495675" y="1192213"/>
              <a:ext cx="130175" cy="171450"/>
            </a:xfrm>
            <a:custGeom>
              <a:avLst/>
              <a:gdLst>
                <a:gd name="T0" fmla="*/ 0 w 82"/>
                <a:gd name="T1" fmla="*/ 0 h 108"/>
                <a:gd name="T2" fmla="*/ 82 w 82"/>
                <a:gd name="T3" fmla="*/ 0 h 108"/>
                <a:gd name="T4" fmla="*/ 82 w 82"/>
                <a:gd name="T5" fmla="*/ 23 h 108"/>
                <a:gd name="T6" fmla="*/ 34 w 82"/>
                <a:gd name="T7" fmla="*/ 23 h 108"/>
                <a:gd name="T8" fmla="*/ 34 w 82"/>
                <a:gd name="T9" fmla="*/ 42 h 108"/>
                <a:gd name="T10" fmla="*/ 76 w 82"/>
                <a:gd name="T11" fmla="*/ 42 h 108"/>
                <a:gd name="T12" fmla="*/ 76 w 82"/>
                <a:gd name="T13" fmla="*/ 64 h 108"/>
                <a:gd name="T14" fmla="*/ 34 w 82"/>
                <a:gd name="T15" fmla="*/ 64 h 108"/>
                <a:gd name="T16" fmla="*/ 34 w 82"/>
                <a:gd name="T17" fmla="*/ 108 h 108"/>
                <a:gd name="T18" fmla="*/ 0 w 82"/>
                <a:gd name="T19" fmla="*/ 108 h 108"/>
                <a:gd name="T20" fmla="*/ 0 w 82"/>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08">
                  <a:moveTo>
                    <a:pt x="0" y="0"/>
                  </a:moveTo>
                  <a:lnTo>
                    <a:pt x="82" y="0"/>
                  </a:lnTo>
                  <a:lnTo>
                    <a:pt x="82" y="23"/>
                  </a:lnTo>
                  <a:lnTo>
                    <a:pt x="34" y="23"/>
                  </a:lnTo>
                  <a:lnTo>
                    <a:pt x="34" y="42"/>
                  </a:lnTo>
                  <a:lnTo>
                    <a:pt x="76" y="42"/>
                  </a:lnTo>
                  <a:lnTo>
                    <a:pt x="76" y="64"/>
                  </a:lnTo>
                  <a:lnTo>
                    <a:pt x="34" y="64"/>
                  </a:lnTo>
                  <a:lnTo>
                    <a:pt x="34" y="108"/>
                  </a:lnTo>
                  <a:lnTo>
                    <a:pt x="0" y="10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8">
              <a:extLst>
                <a:ext uri="{FF2B5EF4-FFF2-40B4-BE49-F238E27FC236}">
                  <a16:creationId xmlns:a16="http://schemas.microsoft.com/office/drawing/2014/main" id="{6AAA4A6C-BE0F-405C-B0C6-2F4051844E21}"/>
                </a:ext>
              </a:extLst>
            </p:cNvPr>
            <p:cNvSpPr>
              <a:spLocks noEditPoints="1"/>
            </p:cNvSpPr>
            <p:nvPr/>
          </p:nvSpPr>
          <p:spPr bwMode="auto">
            <a:xfrm>
              <a:off x="3656013" y="1192213"/>
              <a:ext cx="169863" cy="171450"/>
            </a:xfrm>
            <a:custGeom>
              <a:avLst/>
              <a:gdLst>
                <a:gd name="T0" fmla="*/ 0 w 145"/>
                <a:gd name="T1" fmla="*/ 148 h 148"/>
                <a:gd name="T2" fmla="*/ 0 w 145"/>
                <a:gd name="T3" fmla="*/ 0 h 148"/>
                <a:gd name="T4" fmla="*/ 76 w 145"/>
                <a:gd name="T5" fmla="*/ 0 h 148"/>
                <a:gd name="T6" fmla="*/ 108 w 145"/>
                <a:gd name="T7" fmla="*/ 4 h 148"/>
                <a:gd name="T8" fmla="*/ 126 w 145"/>
                <a:gd name="T9" fmla="*/ 17 h 148"/>
                <a:gd name="T10" fmla="*/ 133 w 145"/>
                <a:gd name="T11" fmla="*/ 41 h 148"/>
                <a:gd name="T12" fmla="*/ 127 w 145"/>
                <a:gd name="T13" fmla="*/ 62 h 148"/>
                <a:gd name="T14" fmla="*/ 113 w 145"/>
                <a:gd name="T15" fmla="*/ 77 h 148"/>
                <a:gd name="T16" fmla="*/ 97 w 145"/>
                <a:gd name="T17" fmla="*/ 82 h 148"/>
                <a:gd name="T18" fmla="*/ 109 w 145"/>
                <a:gd name="T19" fmla="*/ 88 h 148"/>
                <a:gd name="T20" fmla="*/ 116 w 145"/>
                <a:gd name="T21" fmla="*/ 96 h 148"/>
                <a:gd name="T22" fmla="*/ 123 w 145"/>
                <a:gd name="T23" fmla="*/ 105 h 148"/>
                <a:gd name="T24" fmla="*/ 145 w 145"/>
                <a:gd name="T25" fmla="*/ 148 h 148"/>
                <a:gd name="T26" fmla="*/ 93 w 145"/>
                <a:gd name="T27" fmla="*/ 148 h 148"/>
                <a:gd name="T28" fmla="*/ 69 w 145"/>
                <a:gd name="T29" fmla="*/ 102 h 148"/>
                <a:gd name="T30" fmla="*/ 61 w 145"/>
                <a:gd name="T31" fmla="*/ 91 h 148"/>
                <a:gd name="T32" fmla="*/ 49 w 145"/>
                <a:gd name="T33" fmla="*/ 88 h 148"/>
                <a:gd name="T34" fmla="*/ 45 w 145"/>
                <a:gd name="T35" fmla="*/ 88 h 148"/>
                <a:gd name="T36" fmla="*/ 45 w 145"/>
                <a:gd name="T37" fmla="*/ 148 h 148"/>
                <a:gd name="T38" fmla="*/ 0 w 145"/>
                <a:gd name="T39" fmla="*/ 148 h 148"/>
                <a:gd name="T40" fmla="*/ 45 w 145"/>
                <a:gd name="T41" fmla="*/ 60 h 148"/>
                <a:gd name="T42" fmla="*/ 65 w 145"/>
                <a:gd name="T43" fmla="*/ 60 h 148"/>
                <a:gd name="T44" fmla="*/ 77 w 145"/>
                <a:gd name="T45" fmla="*/ 58 h 148"/>
                <a:gd name="T46" fmla="*/ 84 w 145"/>
                <a:gd name="T47" fmla="*/ 53 h 148"/>
                <a:gd name="T48" fmla="*/ 87 w 145"/>
                <a:gd name="T49" fmla="*/ 45 h 148"/>
                <a:gd name="T50" fmla="*/ 82 w 145"/>
                <a:gd name="T51" fmla="*/ 34 h 148"/>
                <a:gd name="T52" fmla="*/ 65 w 145"/>
                <a:gd name="T53" fmla="*/ 30 h 148"/>
                <a:gd name="T54" fmla="*/ 45 w 145"/>
                <a:gd name="T55" fmla="*/ 30 h 148"/>
                <a:gd name="T56" fmla="*/ 45 w 145"/>
                <a:gd name="T57"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5" h="148">
                  <a:moveTo>
                    <a:pt x="0" y="148"/>
                  </a:moveTo>
                  <a:cubicBezTo>
                    <a:pt x="0" y="0"/>
                    <a:pt x="0" y="0"/>
                    <a:pt x="0" y="0"/>
                  </a:cubicBezTo>
                  <a:cubicBezTo>
                    <a:pt x="76" y="0"/>
                    <a:pt x="76" y="0"/>
                    <a:pt x="76" y="0"/>
                  </a:cubicBezTo>
                  <a:cubicBezTo>
                    <a:pt x="90" y="0"/>
                    <a:pt x="100" y="1"/>
                    <a:pt x="108" y="4"/>
                  </a:cubicBezTo>
                  <a:cubicBezTo>
                    <a:pt x="115" y="6"/>
                    <a:pt x="121" y="11"/>
                    <a:pt x="126" y="17"/>
                  </a:cubicBezTo>
                  <a:cubicBezTo>
                    <a:pt x="130" y="24"/>
                    <a:pt x="133" y="32"/>
                    <a:pt x="133" y="41"/>
                  </a:cubicBezTo>
                  <a:cubicBezTo>
                    <a:pt x="133" y="49"/>
                    <a:pt x="131" y="56"/>
                    <a:pt x="127" y="62"/>
                  </a:cubicBezTo>
                  <a:cubicBezTo>
                    <a:pt x="124" y="68"/>
                    <a:pt x="119" y="73"/>
                    <a:pt x="113" y="77"/>
                  </a:cubicBezTo>
                  <a:cubicBezTo>
                    <a:pt x="109" y="79"/>
                    <a:pt x="104" y="81"/>
                    <a:pt x="97" y="82"/>
                  </a:cubicBezTo>
                  <a:cubicBezTo>
                    <a:pt x="102" y="84"/>
                    <a:pt x="106" y="86"/>
                    <a:pt x="109" y="88"/>
                  </a:cubicBezTo>
                  <a:cubicBezTo>
                    <a:pt x="111" y="89"/>
                    <a:pt x="113" y="92"/>
                    <a:pt x="116" y="96"/>
                  </a:cubicBezTo>
                  <a:cubicBezTo>
                    <a:pt x="119" y="100"/>
                    <a:pt x="122" y="103"/>
                    <a:pt x="123" y="105"/>
                  </a:cubicBezTo>
                  <a:cubicBezTo>
                    <a:pt x="145" y="148"/>
                    <a:pt x="145" y="148"/>
                    <a:pt x="145" y="148"/>
                  </a:cubicBezTo>
                  <a:cubicBezTo>
                    <a:pt x="93" y="148"/>
                    <a:pt x="93" y="148"/>
                    <a:pt x="93" y="148"/>
                  </a:cubicBezTo>
                  <a:cubicBezTo>
                    <a:pt x="69" y="102"/>
                    <a:pt x="69" y="102"/>
                    <a:pt x="69" y="102"/>
                  </a:cubicBezTo>
                  <a:cubicBezTo>
                    <a:pt x="66" y="97"/>
                    <a:pt x="63" y="93"/>
                    <a:pt x="61" y="91"/>
                  </a:cubicBezTo>
                  <a:cubicBezTo>
                    <a:pt x="57" y="89"/>
                    <a:pt x="54" y="88"/>
                    <a:pt x="49" y="88"/>
                  </a:cubicBezTo>
                  <a:cubicBezTo>
                    <a:pt x="45" y="88"/>
                    <a:pt x="45" y="88"/>
                    <a:pt x="45" y="88"/>
                  </a:cubicBezTo>
                  <a:cubicBezTo>
                    <a:pt x="45" y="148"/>
                    <a:pt x="45" y="148"/>
                    <a:pt x="45" y="148"/>
                  </a:cubicBezTo>
                  <a:lnTo>
                    <a:pt x="0" y="148"/>
                  </a:lnTo>
                  <a:close/>
                  <a:moveTo>
                    <a:pt x="45" y="60"/>
                  </a:moveTo>
                  <a:cubicBezTo>
                    <a:pt x="65" y="60"/>
                    <a:pt x="65" y="60"/>
                    <a:pt x="65" y="60"/>
                  </a:cubicBezTo>
                  <a:cubicBezTo>
                    <a:pt x="67" y="60"/>
                    <a:pt x="71" y="59"/>
                    <a:pt x="77" y="58"/>
                  </a:cubicBezTo>
                  <a:cubicBezTo>
                    <a:pt x="80" y="57"/>
                    <a:pt x="82" y="56"/>
                    <a:pt x="84" y="53"/>
                  </a:cubicBezTo>
                  <a:cubicBezTo>
                    <a:pt x="86" y="51"/>
                    <a:pt x="87" y="48"/>
                    <a:pt x="87" y="45"/>
                  </a:cubicBezTo>
                  <a:cubicBezTo>
                    <a:pt x="87" y="40"/>
                    <a:pt x="85" y="36"/>
                    <a:pt x="82" y="34"/>
                  </a:cubicBezTo>
                  <a:cubicBezTo>
                    <a:pt x="79" y="31"/>
                    <a:pt x="74" y="30"/>
                    <a:pt x="65" y="30"/>
                  </a:cubicBezTo>
                  <a:cubicBezTo>
                    <a:pt x="45" y="30"/>
                    <a:pt x="45" y="30"/>
                    <a:pt x="45" y="30"/>
                  </a:cubicBezTo>
                  <a:lnTo>
                    <a:pt x="4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Rectangle 19">
              <a:extLst>
                <a:ext uri="{FF2B5EF4-FFF2-40B4-BE49-F238E27FC236}">
                  <a16:creationId xmlns:a16="http://schemas.microsoft.com/office/drawing/2014/main" id="{6BF96677-EC8E-472A-8FD4-4D2A4814D7C9}"/>
                </a:ext>
              </a:extLst>
            </p:cNvPr>
            <p:cNvSpPr>
              <a:spLocks noChangeArrowheads="1"/>
            </p:cNvSpPr>
            <p:nvPr/>
          </p:nvSpPr>
          <p:spPr bwMode="auto">
            <a:xfrm>
              <a:off x="3843338" y="1192213"/>
              <a:ext cx="53975" cy="171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20">
              <a:extLst>
                <a:ext uri="{FF2B5EF4-FFF2-40B4-BE49-F238E27FC236}">
                  <a16:creationId xmlns:a16="http://schemas.microsoft.com/office/drawing/2014/main" id="{2B875027-4EEA-479A-948D-D51BD54D4B31}"/>
                </a:ext>
              </a:extLst>
            </p:cNvPr>
            <p:cNvSpPr>
              <a:spLocks/>
            </p:cNvSpPr>
            <p:nvPr/>
          </p:nvSpPr>
          <p:spPr bwMode="auto">
            <a:xfrm>
              <a:off x="3624263" y="1630363"/>
              <a:ext cx="271463" cy="328613"/>
            </a:xfrm>
            <a:custGeom>
              <a:avLst/>
              <a:gdLst>
                <a:gd name="T0" fmla="*/ 232 w 232"/>
                <a:gd name="T1" fmla="*/ 283 h 283"/>
                <a:gd name="T2" fmla="*/ 0 w 232"/>
                <a:gd name="T3" fmla="*/ 283 h 283"/>
                <a:gd name="T4" fmla="*/ 24 w 232"/>
                <a:gd name="T5" fmla="*/ 218 h 283"/>
                <a:gd name="T6" fmla="*/ 100 w 232"/>
                <a:gd name="T7" fmla="*/ 147 h 283"/>
                <a:gd name="T8" fmla="*/ 144 w 232"/>
                <a:gd name="T9" fmla="*/ 109 h 283"/>
                <a:gd name="T10" fmla="*/ 153 w 232"/>
                <a:gd name="T11" fmla="*/ 84 h 283"/>
                <a:gd name="T12" fmla="*/ 144 w 232"/>
                <a:gd name="T13" fmla="*/ 62 h 283"/>
                <a:gd name="T14" fmla="*/ 120 w 232"/>
                <a:gd name="T15" fmla="*/ 53 h 283"/>
                <a:gd name="T16" fmla="*/ 96 w 232"/>
                <a:gd name="T17" fmla="*/ 62 h 283"/>
                <a:gd name="T18" fmla="*/ 83 w 232"/>
                <a:gd name="T19" fmla="*/ 95 h 283"/>
                <a:gd name="T20" fmla="*/ 6 w 232"/>
                <a:gd name="T21" fmla="*/ 89 h 283"/>
                <a:gd name="T22" fmla="*/ 22 w 232"/>
                <a:gd name="T23" fmla="*/ 38 h 283"/>
                <a:gd name="T24" fmla="*/ 57 w 232"/>
                <a:gd name="T25" fmla="*/ 10 h 283"/>
                <a:gd name="T26" fmla="*/ 118 w 232"/>
                <a:gd name="T27" fmla="*/ 0 h 283"/>
                <a:gd name="T28" fmla="*/ 181 w 232"/>
                <a:gd name="T29" fmla="*/ 9 h 283"/>
                <a:gd name="T30" fmla="*/ 217 w 232"/>
                <a:gd name="T31" fmla="*/ 38 h 283"/>
                <a:gd name="T32" fmla="*/ 230 w 232"/>
                <a:gd name="T33" fmla="*/ 81 h 283"/>
                <a:gd name="T34" fmla="*/ 215 w 232"/>
                <a:gd name="T35" fmla="*/ 130 h 283"/>
                <a:gd name="T36" fmla="*/ 161 w 232"/>
                <a:gd name="T37" fmla="*/ 181 h 283"/>
                <a:gd name="T38" fmla="*/ 130 w 232"/>
                <a:gd name="T39" fmla="*/ 203 h 283"/>
                <a:gd name="T40" fmla="*/ 111 w 232"/>
                <a:gd name="T41" fmla="*/ 220 h 283"/>
                <a:gd name="T42" fmla="*/ 232 w 232"/>
                <a:gd name="T43" fmla="*/ 220 h 283"/>
                <a:gd name="T44" fmla="*/ 232 w 232"/>
                <a:gd name="T45"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2" h="283">
                  <a:moveTo>
                    <a:pt x="232" y="283"/>
                  </a:moveTo>
                  <a:cubicBezTo>
                    <a:pt x="0" y="283"/>
                    <a:pt x="0" y="283"/>
                    <a:pt x="0" y="283"/>
                  </a:cubicBezTo>
                  <a:cubicBezTo>
                    <a:pt x="3" y="260"/>
                    <a:pt x="11" y="239"/>
                    <a:pt x="24" y="218"/>
                  </a:cubicBezTo>
                  <a:cubicBezTo>
                    <a:pt x="38" y="198"/>
                    <a:pt x="63" y="174"/>
                    <a:pt x="100" y="147"/>
                  </a:cubicBezTo>
                  <a:cubicBezTo>
                    <a:pt x="123" y="130"/>
                    <a:pt x="137" y="117"/>
                    <a:pt x="144" y="109"/>
                  </a:cubicBezTo>
                  <a:cubicBezTo>
                    <a:pt x="150" y="100"/>
                    <a:pt x="153" y="92"/>
                    <a:pt x="153" y="84"/>
                  </a:cubicBezTo>
                  <a:cubicBezTo>
                    <a:pt x="153" y="75"/>
                    <a:pt x="150" y="68"/>
                    <a:pt x="144" y="62"/>
                  </a:cubicBezTo>
                  <a:cubicBezTo>
                    <a:pt x="137" y="56"/>
                    <a:pt x="130" y="53"/>
                    <a:pt x="120" y="53"/>
                  </a:cubicBezTo>
                  <a:cubicBezTo>
                    <a:pt x="110" y="53"/>
                    <a:pt x="102" y="56"/>
                    <a:pt x="96" y="62"/>
                  </a:cubicBezTo>
                  <a:cubicBezTo>
                    <a:pt x="90" y="68"/>
                    <a:pt x="85" y="79"/>
                    <a:pt x="83" y="95"/>
                  </a:cubicBezTo>
                  <a:cubicBezTo>
                    <a:pt x="6" y="89"/>
                    <a:pt x="6" y="89"/>
                    <a:pt x="6" y="89"/>
                  </a:cubicBezTo>
                  <a:cubicBezTo>
                    <a:pt x="9" y="67"/>
                    <a:pt x="14" y="50"/>
                    <a:pt x="22" y="38"/>
                  </a:cubicBezTo>
                  <a:cubicBezTo>
                    <a:pt x="31" y="26"/>
                    <a:pt x="42" y="16"/>
                    <a:pt x="57" y="10"/>
                  </a:cubicBezTo>
                  <a:cubicBezTo>
                    <a:pt x="71" y="3"/>
                    <a:pt x="92" y="0"/>
                    <a:pt x="118" y="0"/>
                  </a:cubicBezTo>
                  <a:cubicBezTo>
                    <a:pt x="145" y="0"/>
                    <a:pt x="166" y="3"/>
                    <a:pt x="181" y="9"/>
                  </a:cubicBezTo>
                  <a:cubicBezTo>
                    <a:pt x="197" y="15"/>
                    <a:pt x="209" y="25"/>
                    <a:pt x="217" y="38"/>
                  </a:cubicBezTo>
                  <a:cubicBezTo>
                    <a:pt x="226" y="51"/>
                    <a:pt x="230" y="65"/>
                    <a:pt x="230" y="81"/>
                  </a:cubicBezTo>
                  <a:cubicBezTo>
                    <a:pt x="230" y="98"/>
                    <a:pt x="225" y="114"/>
                    <a:pt x="215" y="130"/>
                  </a:cubicBezTo>
                  <a:cubicBezTo>
                    <a:pt x="205" y="145"/>
                    <a:pt x="187" y="162"/>
                    <a:pt x="161" y="181"/>
                  </a:cubicBezTo>
                  <a:cubicBezTo>
                    <a:pt x="145" y="191"/>
                    <a:pt x="135" y="199"/>
                    <a:pt x="130" y="203"/>
                  </a:cubicBezTo>
                  <a:cubicBezTo>
                    <a:pt x="125" y="207"/>
                    <a:pt x="118" y="213"/>
                    <a:pt x="111" y="220"/>
                  </a:cubicBezTo>
                  <a:cubicBezTo>
                    <a:pt x="232" y="220"/>
                    <a:pt x="232" y="220"/>
                    <a:pt x="232" y="220"/>
                  </a:cubicBezTo>
                  <a:lnTo>
                    <a:pt x="232"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21">
              <a:extLst>
                <a:ext uri="{FF2B5EF4-FFF2-40B4-BE49-F238E27FC236}">
                  <a16:creationId xmlns:a16="http://schemas.microsoft.com/office/drawing/2014/main" id="{0FD1B418-514B-407A-A467-439069E682E5}"/>
                </a:ext>
              </a:extLst>
            </p:cNvPr>
            <p:cNvSpPr>
              <a:spLocks/>
            </p:cNvSpPr>
            <p:nvPr/>
          </p:nvSpPr>
          <p:spPr bwMode="auto">
            <a:xfrm>
              <a:off x="3935413" y="1635125"/>
              <a:ext cx="263525" cy="323850"/>
            </a:xfrm>
            <a:custGeom>
              <a:avLst/>
              <a:gdLst>
                <a:gd name="T0" fmla="*/ 0 w 226"/>
                <a:gd name="T1" fmla="*/ 0 h 278"/>
                <a:gd name="T2" fmla="*/ 226 w 226"/>
                <a:gd name="T3" fmla="*/ 0 h 278"/>
                <a:gd name="T4" fmla="*/ 226 w 226"/>
                <a:gd name="T5" fmla="*/ 52 h 278"/>
                <a:gd name="T6" fmla="*/ 177 w 226"/>
                <a:gd name="T7" fmla="*/ 109 h 278"/>
                <a:gd name="T8" fmla="*/ 139 w 226"/>
                <a:gd name="T9" fmla="*/ 193 h 278"/>
                <a:gd name="T10" fmla="*/ 124 w 226"/>
                <a:gd name="T11" fmla="*/ 278 h 278"/>
                <a:gd name="T12" fmla="*/ 47 w 226"/>
                <a:gd name="T13" fmla="*/ 278 h 278"/>
                <a:gd name="T14" fmla="*/ 76 w 226"/>
                <a:gd name="T15" fmla="*/ 164 h 278"/>
                <a:gd name="T16" fmla="*/ 138 w 226"/>
                <a:gd name="T17" fmla="*/ 65 h 278"/>
                <a:gd name="T18" fmla="*/ 0 w 226"/>
                <a:gd name="T19" fmla="*/ 65 h 278"/>
                <a:gd name="T20" fmla="*/ 0 w 226"/>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278">
                  <a:moveTo>
                    <a:pt x="0" y="0"/>
                  </a:moveTo>
                  <a:cubicBezTo>
                    <a:pt x="226" y="0"/>
                    <a:pt x="226" y="0"/>
                    <a:pt x="226" y="0"/>
                  </a:cubicBezTo>
                  <a:cubicBezTo>
                    <a:pt x="226" y="52"/>
                    <a:pt x="226" y="52"/>
                    <a:pt x="226" y="52"/>
                  </a:cubicBezTo>
                  <a:cubicBezTo>
                    <a:pt x="207" y="70"/>
                    <a:pt x="190" y="89"/>
                    <a:pt x="177" y="109"/>
                  </a:cubicBezTo>
                  <a:cubicBezTo>
                    <a:pt x="161" y="135"/>
                    <a:pt x="149" y="162"/>
                    <a:pt x="139" y="193"/>
                  </a:cubicBezTo>
                  <a:cubicBezTo>
                    <a:pt x="132" y="217"/>
                    <a:pt x="127" y="245"/>
                    <a:pt x="124" y="278"/>
                  </a:cubicBezTo>
                  <a:cubicBezTo>
                    <a:pt x="47" y="278"/>
                    <a:pt x="47" y="278"/>
                    <a:pt x="47" y="278"/>
                  </a:cubicBezTo>
                  <a:cubicBezTo>
                    <a:pt x="53" y="233"/>
                    <a:pt x="63" y="195"/>
                    <a:pt x="76" y="164"/>
                  </a:cubicBezTo>
                  <a:cubicBezTo>
                    <a:pt x="89" y="133"/>
                    <a:pt x="110" y="100"/>
                    <a:pt x="138" y="65"/>
                  </a:cubicBezTo>
                  <a:cubicBezTo>
                    <a:pt x="0" y="65"/>
                    <a:pt x="0" y="65"/>
                    <a:pt x="0" y="65"/>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9" name="Group 60">
            <a:extLst>
              <a:ext uri="{FF2B5EF4-FFF2-40B4-BE49-F238E27FC236}">
                <a16:creationId xmlns:a16="http://schemas.microsoft.com/office/drawing/2014/main" id="{06039E3D-A615-489B-9486-73E4D9FBBFAD}"/>
              </a:ext>
            </a:extLst>
          </p:cNvPr>
          <p:cNvGrpSpPr>
            <a:grpSpLocks noChangeAspect="1"/>
          </p:cNvGrpSpPr>
          <p:nvPr/>
        </p:nvGrpSpPr>
        <p:grpSpPr>
          <a:xfrm>
            <a:off x="4907779" y="3801969"/>
            <a:ext cx="285619" cy="285619"/>
            <a:chOff x="1258888" y="2181225"/>
            <a:chExt cx="371476" cy="371476"/>
          </a:xfrm>
          <a:solidFill>
            <a:schemeClr val="bg1"/>
          </a:solidFill>
        </p:grpSpPr>
        <p:sp>
          <p:nvSpPr>
            <p:cNvPr id="980" name="Freeform 70">
              <a:extLst>
                <a:ext uri="{FF2B5EF4-FFF2-40B4-BE49-F238E27FC236}">
                  <a16:creationId xmlns:a16="http://schemas.microsoft.com/office/drawing/2014/main" id="{60DD6ED5-BDA2-4980-869D-F1B44801B300}"/>
                </a:ext>
              </a:extLst>
            </p:cNvPr>
            <p:cNvSpPr>
              <a:spLocks noEditPoints="1"/>
            </p:cNvSpPr>
            <p:nvPr/>
          </p:nvSpPr>
          <p:spPr bwMode="auto">
            <a:xfrm>
              <a:off x="1460501" y="2181225"/>
              <a:ext cx="169863" cy="169863"/>
            </a:xfrm>
            <a:custGeom>
              <a:avLst/>
              <a:gdLst>
                <a:gd name="T0" fmla="*/ 42 w 44"/>
                <a:gd name="T1" fmla="*/ 44 h 44"/>
                <a:gd name="T2" fmla="*/ 2 w 44"/>
                <a:gd name="T3" fmla="*/ 44 h 44"/>
                <a:gd name="T4" fmla="*/ 0 w 44"/>
                <a:gd name="T5" fmla="*/ 42 h 44"/>
                <a:gd name="T6" fmla="*/ 0 w 44"/>
                <a:gd name="T7" fmla="*/ 2 h 44"/>
                <a:gd name="T8" fmla="*/ 2 w 44"/>
                <a:gd name="T9" fmla="*/ 0 h 44"/>
                <a:gd name="T10" fmla="*/ 44 w 44"/>
                <a:gd name="T11" fmla="*/ 42 h 44"/>
                <a:gd name="T12" fmla="*/ 42 w 44"/>
                <a:gd name="T13" fmla="*/ 44 h 44"/>
                <a:gd name="T14" fmla="*/ 4 w 44"/>
                <a:gd name="T15" fmla="*/ 40 h 44"/>
                <a:gd name="T16" fmla="*/ 40 w 44"/>
                <a:gd name="T17" fmla="*/ 40 h 44"/>
                <a:gd name="T18" fmla="*/ 4 w 44"/>
                <a:gd name="T19" fmla="*/ 4 h 44"/>
                <a:gd name="T20" fmla="*/ 4 w 44"/>
                <a:gd name="T2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42" y="44"/>
                  </a:moveTo>
                  <a:cubicBezTo>
                    <a:pt x="2" y="44"/>
                    <a:pt x="2" y="44"/>
                    <a:pt x="2" y="44"/>
                  </a:cubicBezTo>
                  <a:cubicBezTo>
                    <a:pt x="1" y="44"/>
                    <a:pt x="0" y="43"/>
                    <a:pt x="0" y="42"/>
                  </a:cubicBezTo>
                  <a:cubicBezTo>
                    <a:pt x="0" y="2"/>
                    <a:pt x="0" y="2"/>
                    <a:pt x="0" y="2"/>
                  </a:cubicBezTo>
                  <a:cubicBezTo>
                    <a:pt x="0" y="1"/>
                    <a:pt x="1" y="0"/>
                    <a:pt x="2" y="0"/>
                  </a:cubicBezTo>
                  <a:cubicBezTo>
                    <a:pt x="25" y="0"/>
                    <a:pt x="44" y="19"/>
                    <a:pt x="44" y="42"/>
                  </a:cubicBezTo>
                  <a:cubicBezTo>
                    <a:pt x="44" y="43"/>
                    <a:pt x="43" y="44"/>
                    <a:pt x="42" y="44"/>
                  </a:cubicBezTo>
                  <a:close/>
                  <a:moveTo>
                    <a:pt x="4" y="40"/>
                  </a:moveTo>
                  <a:cubicBezTo>
                    <a:pt x="40" y="40"/>
                    <a:pt x="40" y="40"/>
                    <a:pt x="40" y="40"/>
                  </a:cubicBezTo>
                  <a:cubicBezTo>
                    <a:pt x="39" y="21"/>
                    <a:pt x="23" y="5"/>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1" name="Freeform 71">
              <a:extLst>
                <a:ext uri="{FF2B5EF4-FFF2-40B4-BE49-F238E27FC236}">
                  <a16:creationId xmlns:a16="http://schemas.microsoft.com/office/drawing/2014/main" id="{15DA65AC-3AF9-41DD-8D38-FF274B3BC4DC}"/>
                </a:ext>
              </a:extLst>
            </p:cNvPr>
            <p:cNvSpPr>
              <a:spLocks noEditPoints="1"/>
            </p:cNvSpPr>
            <p:nvPr/>
          </p:nvSpPr>
          <p:spPr bwMode="auto">
            <a:xfrm>
              <a:off x="1460501" y="2366963"/>
              <a:ext cx="169863" cy="123825"/>
            </a:xfrm>
            <a:custGeom>
              <a:avLst/>
              <a:gdLst>
                <a:gd name="T0" fmla="*/ 30 w 44"/>
                <a:gd name="T1" fmla="*/ 32 h 32"/>
                <a:gd name="T2" fmla="*/ 29 w 44"/>
                <a:gd name="T3" fmla="*/ 32 h 32"/>
                <a:gd name="T4" fmla="*/ 1 w 44"/>
                <a:gd name="T5" fmla="*/ 3 h 32"/>
                <a:gd name="T6" fmla="*/ 0 w 44"/>
                <a:gd name="T7" fmla="*/ 1 h 32"/>
                <a:gd name="T8" fmla="*/ 2 w 44"/>
                <a:gd name="T9" fmla="*/ 0 h 32"/>
                <a:gd name="T10" fmla="*/ 42 w 44"/>
                <a:gd name="T11" fmla="*/ 0 h 32"/>
                <a:gd name="T12" fmla="*/ 44 w 44"/>
                <a:gd name="T13" fmla="*/ 2 h 32"/>
                <a:gd name="T14" fmla="*/ 32 w 44"/>
                <a:gd name="T15" fmla="*/ 32 h 32"/>
                <a:gd name="T16" fmla="*/ 30 w 44"/>
                <a:gd name="T17" fmla="*/ 32 h 32"/>
                <a:gd name="T18" fmla="*/ 7 w 44"/>
                <a:gd name="T19" fmla="*/ 4 h 32"/>
                <a:gd name="T20" fmla="*/ 30 w 44"/>
                <a:gd name="T21" fmla="*/ 27 h 32"/>
                <a:gd name="T22" fmla="*/ 40 w 44"/>
                <a:gd name="T23" fmla="*/ 4 h 32"/>
                <a:gd name="T24" fmla="*/ 7 w 44"/>
                <a:gd name="T2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2">
                  <a:moveTo>
                    <a:pt x="30" y="32"/>
                  </a:moveTo>
                  <a:cubicBezTo>
                    <a:pt x="30" y="32"/>
                    <a:pt x="29" y="32"/>
                    <a:pt x="29" y="32"/>
                  </a:cubicBezTo>
                  <a:cubicBezTo>
                    <a:pt x="1" y="3"/>
                    <a:pt x="1" y="3"/>
                    <a:pt x="1" y="3"/>
                  </a:cubicBezTo>
                  <a:cubicBezTo>
                    <a:pt x="0" y="3"/>
                    <a:pt x="0" y="2"/>
                    <a:pt x="0" y="1"/>
                  </a:cubicBezTo>
                  <a:cubicBezTo>
                    <a:pt x="0" y="0"/>
                    <a:pt x="1" y="0"/>
                    <a:pt x="2" y="0"/>
                  </a:cubicBezTo>
                  <a:cubicBezTo>
                    <a:pt x="42" y="0"/>
                    <a:pt x="42" y="0"/>
                    <a:pt x="42" y="0"/>
                  </a:cubicBezTo>
                  <a:cubicBezTo>
                    <a:pt x="43" y="0"/>
                    <a:pt x="44" y="1"/>
                    <a:pt x="44" y="2"/>
                  </a:cubicBezTo>
                  <a:cubicBezTo>
                    <a:pt x="44" y="13"/>
                    <a:pt x="40" y="24"/>
                    <a:pt x="32" y="32"/>
                  </a:cubicBezTo>
                  <a:cubicBezTo>
                    <a:pt x="31" y="32"/>
                    <a:pt x="31" y="32"/>
                    <a:pt x="30" y="32"/>
                  </a:cubicBezTo>
                  <a:close/>
                  <a:moveTo>
                    <a:pt x="7" y="4"/>
                  </a:moveTo>
                  <a:cubicBezTo>
                    <a:pt x="30" y="27"/>
                    <a:pt x="30" y="27"/>
                    <a:pt x="30" y="27"/>
                  </a:cubicBezTo>
                  <a:cubicBezTo>
                    <a:pt x="36" y="21"/>
                    <a:pt x="39" y="13"/>
                    <a:pt x="40" y="4"/>
                  </a:cubicBez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2" name="Freeform 72">
              <a:extLst>
                <a:ext uri="{FF2B5EF4-FFF2-40B4-BE49-F238E27FC236}">
                  <a16:creationId xmlns:a16="http://schemas.microsoft.com/office/drawing/2014/main" id="{99FE3E53-8B3E-4640-8769-ED5835EEE271}"/>
                </a:ext>
              </a:extLst>
            </p:cNvPr>
            <p:cNvSpPr>
              <a:spLocks noEditPoints="1"/>
            </p:cNvSpPr>
            <p:nvPr/>
          </p:nvSpPr>
          <p:spPr bwMode="auto">
            <a:xfrm>
              <a:off x="1258888" y="2227263"/>
              <a:ext cx="279400" cy="325438"/>
            </a:xfrm>
            <a:custGeom>
              <a:avLst/>
              <a:gdLst>
                <a:gd name="T0" fmla="*/ 42 w 72"/>
                <a:gd name="T1" fmla="*/ 84 h 84"/>
                <a:gd name="T2" fmla="*/ 42 w 72"/>
                <a:gd name="T3" fmla="*/ 84 h 84"/>
                <a:gd name="T4" fmla="*/ 0 w 72"/>
                <a:gd name="T5" fmla="*/ 42 h 84"/>
                <a:gd name="T6" fmla="*/ 42 w 72"/>
                <a:gd name="T7" fmla="*/ 0 h 84"/>
                <a:gd name="T8" fmla="*/ 44 w 72"/>
                <a:gd name="T9" fmla="*/ 2 h 84"/>
                <a:gd name="T10" fmla="*/ 44 w 72"/>
                <a:gd name="T11" fmla="*/ 41 h 84"/>
                <a:gd name="T12" fmla="*/ 72 w 72"/>
                <a:gd name="T13" fmla="*/ 69 h 84"/>
                <a:gd name="T14" fmla="*/ 72 w 72"/>
                <a:gd name="T15" fmla="*/ 72 h 84"/>
                <a:gd name="T16" fmla="*/ 42 w 72"/>
                <a:gd name="T17" fmla="*/ 84 h 84"/>
                <a:gd name="T18" fmla="*/ 40 w 72"/>
                <a:gd name="T19" fmla="*/ 4 h 84"/>
                <a:gd name="T20" fmla="*/ 4 w 72"/>
                <a:gd name="T21" fmla="*/ 42 h 84"/>
                <a:gd name="T22" fmla="*/ 42 w 72"/>
                <a:gd name="T23" fmla="*/ 80 h 84"/>
                <a:gd name="T24" fmla="*/ 67 w 72"/>
                <a:gd name="T25" fmla="*/ 70 h 84"/>
                <a:gd name="T26" fmla="*/ 41 w 72"/>
                <a:gd name="T27" fmla="*/ 43 h 84"/>
                <a:gd name="T28" fmla="*/ 40 w 72"/>
                <a:gd name="T29" fmla="*/ 42 h 84"/>
                <a:gd name="T30" fmla="*/ 40 w 72"/>
                <a:gd name="T31"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4">
                  <a:moveTo>
                    <a:pt x="42" y="84"/>
                  </a:moveTo>
                  <a:cubicBezTo>
                    <a:pt x="42" y="84"/>
                    <a:pt x="42" y="84"/>
                    <a:pt x="42" y="84"/>
                  </a:cubicBezTo>
                  <a:cubicBezTo>
                    <a:pt x="22" y="84"/>
                    <a:pt x="0" y="68"/>
                    <a:pt x="0" y="42"/>
                  </a:cubicBezTo>
                  <a:cubicBezTo>
                    <a:pt x="0" y="19"/>
                    <a:pt x="19" y="0"/>
                    <a:pt x="42" y="0"/>
                  </a:cubicBezTo>
                  <a:cubicBezTo>
                    <a:pt x="43" y="0"/>
                    <a:pt x="44" y="1"/>
                    <a:pt x="44" y="2"/>
                  </a:cubicBezTo>
                  <a:cubicBezTo>
                    <a:pt x="44" y="41"/>
                    <a:pt x="44" y="41"/>
                    <a:pt x="44" y="41"/>
                  </a:cubicBezTo>
                  <a:cubicBezTo>
                    <a:pt x="72" y="69"/>
                    <a:pt x="72" y="69"/>
                    <a:pt x="72" y="69"/>
                  </a:cubicBezTo>
                  <a:cubicBezTo>
                    <a:pt x="72" y="70"/>
                    <a:pt x="72" y="71"/>
                    <a:pt x="72" y="72"/>
                  </a:cubicBezTo>
                  <a:cubicBezTo>
                    <a:pt x="64" y="80"/>
                    <a:pt x="53" y="84"/>
                    <a:pt x="42" y="84"/>
                  </a:cubicBezTo>
                  <a:close/>
                  <a:moveTo>
                    <a:pt x="40" y="4"/>
                  </a:moveTo>
                  <a:cubicBezTo>
                    <a:pt x="20" y="5"/>
                    <a:pt x="4" y="22"/>
                    <a:pt x="4" y="42"/>
                  </a:cubicBezTo>
                  <a:cubicBezTo>
                    <a:pt x="4" y="66"/>
                    <a:pt x="23" y="80"/>
                    <a:pt x="42" y="80"/>
                  </a:cubicBezTo>
                  <a:cubicBezTo>
                    <a:pt x="52" y="80"/>
                    <a:pt x="60" y="77"/>
                    <a:pt x="67" y="70"/>
                  </a:cubicBezTo>
                  <a:cubicBezTo>
                    <a:pt x="41" y="43"/>
                    <a:pt x="41" y="43"/>
                    <a:pt x="41" y="43"/>
                  </a:cubicBezTo>
                  <a:cubicBezTo>
                    <a:pt x="40" y="43"/>
                    <a:pt x="40" y="43"/>
                    <a:pt x="40" y="42"/>
                  </a:cubicBezTo>
                  <a:lnTo>
                    <a:pt x="4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63" name="Group 22">
            <a:extLst>
              <a:ext uri="{FF2B5EF4-FFF2-40B4-BE49-F238E27FC236}">
                <a16:creationId xmlns:a16="http://schemas.microsoft.com/office/drawing/2014/main" id="{A25C038F-AB5B-4F02-A985-5FE5277F02A7}"/>
              </a:ext>
            </a:extLst>
          </p:cNvPr>
          <p:cNvGrpSpPr>
            <a:grpSpLocks noChangeAspect="1"/>
          </p:cNvGrpSpPr>
          <p:nvPr/>
        </p:nvGrpSpPr>
        <p:grpSpPr>
          <a:xfrm>
            <a:off x="4907779" y="5956111"/>
            <a:ext cx="285619" cy="285619"/>
            <a:chOff x="2366611" y="5419470"/>
            <a:chExt cx="503328" cy="503328"/>
          </a:xfrm>
          <a:solidFill>
            <a:schemeClr val="bg1"/>
          </a:solidFill>
          <a:effectLst/>
        </p:grpSpPr>
        <p:sp>
          <p:nvSpPr>
            <p:cNvPr id="1207" name="Freeform 9">
              <a:extLst>
                <a:ext uri="{FF2B5EF4-FFF2-40B4-BE49-F238E27FC236}">
                  <a16:creationId xmlns:a16="http://schemas.microsoft.com/office/drawing/2014/main" id="{DEC88E72-5564-458C-977B-06752A8DF9D5}"/>
                </a:ext>
              </a:extLst>
            </p:cNvPr>
            <p:cNvSpPr>
              <a:spLocks noEditPoints="1"/>
            </p:cNvSpPr>
            <p:nvPr/>
          </p:nvSpPr>
          <p:spPr bwMode="auto">
            <a:xfrm>
              <a:off x="2366611" y="5419470"/>
              <a:ext cx="503328" cy="503328"/>
            </a:xfrm>
            <a:custGeom>
              <a:avLst/>
              <a:gdLst>
                <a:gd name="T0" fmla="*/ 668 w 1641"/>
                <a:gd name="T1" fmla="*/ 76 h 1641"/>
                <a:gd name="T2" fmla="*/ 491 w 1641"/>
                <a:gd name="T3" fmla="*/ 135 h 1641"/>
                <a:gd name="T4" fmla="*/ 337 w 1641"/>
                <a:gd name="T5" fmla="*/ 235 h 1641"/>
                <a:gd name="T6" fmla="*/ 212 w 1641"/>
                <a:gd name="T7" fmla="*/ 366 h 1641"/>
                <a:gd name="T8" fmla="*/ 121 w 1641"/>
                <a:gd name="T9" fmla="*/ 525 h 1641"/>
                <a:gd name="T10" fmla="*/ 69 w 1641"/>
                <a:gd name="T11" fmla="*/ 705 h 1641"/>
                <a:gd name="T12" fmla="*/ 65 w 1641"/>
                <a:gd name="T13" fmla="*/ 898 h 1641"/>
                <a:gd name="T14" fmla="*/ 106 w 1641"/>
                <a:gd name="T15" fmla="*/ 1081 h 1641"/>
                <a:gd name="T16" fmla="*/ 190 w 1641"/>
                <a:gd name="T17" fmla="*/ 1245 h 1641"/>
                <a:gd name="T18" fmla="*/ 309 w 1641"/>
                <a:gd name="T19" fmla="*/ 1383 h 1641"/>
                <a:gd name="T20" fmla="*/ 458 w 1641"/>
                <a:gd name="T21" fmla="*/ 1488 h 1641"/>
                <a:gd name="T22" fmla="*/ 631 w 1641"/>
                <a:gd name="T23" fmla="*/ 1556 h 1641"/>
                <a:gd name="T24" fmla="*/ 821 w 1641"/>
                <a:gd name="T25" fmla="*/ 1581 h 1641"/>
                <a:gd name="T26" fmla="*/ 1009 w 1641"/>
                <a:gd name="T27" fmla="*/ 1556 h 1641"/>
                <a:gd name="T28" fmla="*/ 1182 w 1641"/>
                <a:gd name="T29" fmla="*/ 1488 h 1641"/>
                <a:gd name="T30" fmla="*/ 1330 w 1641"/>
                <a:gd name="T31" fmla="*/ 1383 h 1641"/>
                <a:gd name="T32" fmla="*/ 1450 w 1641"/>
                <a:gd name="T33" fmla="*/ 1245 h 1641"/>
                <a:gd name="T34" fmla="*/ 1533 w 1641"/>
                <a:gd name="T35" fmla="*/ 1081 h 1641"/>
                <a:gd name="T36" fmla="*/ 1577 w 1641"/>
                <a:gd name="T37" fmla="*/ 898 h 1641"/>
                <a:gd name="T38" fmla="*/ 1571 w 1641"/>
                <a:gd name="T39" fmla="*/ 705 h 1641"/>
                <a:gd name="T40" fmla="*/ 1521 w 1641"/>
                <a:gd name="T41" fmla="*/ 525 h 1641"/>
                <a:gd name="T42" fmla="*/ 1428 w 1641"/>
                <a:gd name="T43" fmla="*/ 366 h 1641"/>
                <a:gd name="T44" fmla="*/ 1303 w 1641"/>
                <a:gd name="T45" fmla="*/ 235 h 1641"/>
                <a:gd name="T46" fmla="*/ 1149 w 1641"/>
                <a:gd name="T47" fmla="*/ 135 h 1641"/>
                <a:gd name="T48" fmla="*/ 973 w 1641"/>
                <a:gd name="T49" fmla="*/ 76 h 1641"/>
                <a:gd name="T50" fmla="*/ 821 w 1641"/>
                <a:gd name="T51" fmla="*/ 1641 h 1641"/>
                <a:gd name="T52" fmla="*/ 616 w 1641"/>
                <a:gd name="T53" fmla="*/ 1615 h 1641"/>
                <a:gd name="T54" fmla="*/ 429 w 1641"/>
                <a:gd name="T55" fmla="*/ 1542 h 1641"/>
                <a:gd name="T56" fmla="*/ 269 w 1641"/>
                <a:gd name="T57" fmla="*/ 1428 h 1641"/>
                <a:gd name="T58" fmla="*/ 140 w 1641"/>
                <a:gd name="T59" fmla="*/ 1278 h 1641"/>
                <a:gd name="T60" fmla="*/ 49 w 1641"/>
                <a:gd name="T61" fmla="*/ 1103 h 1641"/>
                <a:gd name="T62" fmla="*/ 4 w 1641"/>
                <a:gd name="T63" fmla="*/ 904 h 1641"/>
                <a:gd name="T64" fmla="*/ 9 w 1641"/>
                <a:gd name="T65" fmla="*/ 695 h 1641"/>
                <a:gd name="T66" fmla="*/ 65 w 1641"/>
                <a:gd name="T67" fmla="*/ 501 h 1641"/>
                <a:gd name="T68" fmla="*/ 163 w 1641"/>
                <a:gd name="T69" fmla="*/ 330 h 1641"/>
                <a:gd name="T70" fmla="*/ 298 w 1641"/>
                <a:gd name="T71" fmla="*/ 187 h 1641"/>
                <a:gd name="T72" fmla="*/ 465 w 1641"/>
                <a:gd name="T73" fmla="*/ 81 h 1641"/>
                <a:gd name="T74" fmla="*/ 655 w 1641"/>
                <a:gd name="T75" fmla="*/ 17 h 1641"/>
                <a:gd name="T76" fmla="*/ 862 w 1641"/>
                <a:gd name="T77" fmla="*/ 1 h 1641"/>
                <a:gd name="T78" fmla="*/ 1064 w 1641"/>
                <a:gd name="T79" fmla="*/ 37 h 1641"/>
                <a:gd name="T80" fmla="*/ 1245 w 1641"/>
                <a:gd name="T81" fmla="*/ 119 h 1641"/>
                <a:gd name="T82" fmla="*/ 1401 w 1641"/>
                <a:gd name="T83" fmla="*/ 240 h 1641"/>
                <a:gd name="T84" fmla="*/ 1522 w 1641"/>
                <a:gd name="T85" fmla="*/ 396 h 1641"/>
                <a:gd name="T86" fmla="*/ 1604 w 1641"/>
                <a:gd name="T87" fmla="*/ 577 h 1641"/>
                <a:gd name="T88" fmla="*/ 1640 w 1641"/>
                <a:gd name="T89" fmla="*/ 779 h 1641"/>
                <a:gd name="T90" fmla="*/ 1624 w 1641"/>
                <a:gd name="T91" fmla="*/ 986 h 1641"/>
                <a:gd name="T92" fmla="*/ 1559 w 1641"/>
                <a:gd name="T93" fmla="*/ 1176 h 1641"/>
                <a:gd name="T94" fmla="*/ 1453 w 1641"/>
                <a:gd name="T95" fmla="*/ 1342 h 1641"/>
                <a:gd name="T96" fmla="*/ 1312 w 1641"/>
                <a:gd name="T97" fmla="*/ 1478 h 1641"/>
                <a:gd name="T98" fmla="*/ 1139 w 1641"/>
                <a:gd name="T99" fmla="*/ 1576 h 1641"/>
                <a:gd name="T100" fmla="*/ 945 w 1641"/>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1" h="1641">
                  <a:moveTo>
                    <a:pt x="821" y="60"/>
                  </a:moveTo>
                  <a:lnTo>
                    <a:pt x="782" y="62"/>
                  </a:lnTo>
                  <a:lnTo>
                    <a:pt x="743" y="65"/>
                  </a:lnTo>
                  <a:lnTo>
                    <a:pt x="705" y="69"/>
                  </a:lnTo>
                  <a:lnTo>
                    <a:pt x="668" y="76"/>
                  </a:lnTo>
                  <a:lnTo>
                    <a:pt x="631" y="85"/>
                  </a:lnTo>
                  <a:lnTo>
                    <a:pt x="595" y="95"/>
                  </a:lnTo>
                  <a:lnTo>
                    <a:pt x="560" y="107"/>
                  </a:lnTo>
                  <a:lnTo>
                    <a:pt x="525" y="121"/>
                  </a:lnTo>
                  <a:lnTo>
                    <a:pt x="491" y="135"/>
                  </a:lnTo>
                  <a:lnTo>
                    <a:pt x="458" y="153"/>
                  </a:lnTo>
                  <a:lnTo>
                    <a:pt x="426" y="171"/>
                  </a:lnTo>
                  <a:lnTo>
                    <a:pt x="396" y="190"/>
                  </a:lnTo>
                  <a:lnTo>
                    <a:pt x="366" y="212"/>
                  </a:lnTo>
                  <a:lnTo>
                    <a:pt x="337" y="235"/>
                  </a:lnTo>
                  <a:lnTo>
                    <a:pt x="309" y="258"/>
                  </a:lnTo>
                  <a:lnTo>
                    <a:pt x="284" y="284"/>
                  </a:lnTo>
                  <a:lnTo>
                    <a:pt x="258" y="309"/>
                  </a:lnTo>
                  <a:lnTo>
                    <a:pt x="235" y="337"/>
                  </a:lnTo>
                  <a:lnTo>
                    <a:pt x="212" y="366"/>
                  </a:lnTo>
                  <a:lnTo>
                    <a:pt x="190" y="396"/>
                  </a:lnTo>
                  <a:lnTo>
                    <a:pt x="171" y="428"/>
                  </a:lnTo>
                  <a:lnTo>
                    <a:pt x="153" y="459"/>
                  </a:lnTo>
                  <a:lnTo>
                    <a:pt x="135" y="491"/>
                  </a:lnTo>
                  <a:lnTo>
                    <a:pt x="121" y="525"/>
                  </a:lnTo>
                  <a:lnTo>
                    <a:pt x="106" y="560"/>
                  </a:lnTo>
                  <a:lnTo>
                    <a:pt x="95" y="595"/>
                  </a:lnTo>
                  <a:lnTo>
                    <a:pt x="85" y="630"/>
                  </a:lnTo>
                  <a:lnTo>
                    <a:pt x="76" y="668"/>
                  </a:lnTo>
                  <a:lnTo>
                    <a:pt x="69" y="705"/>
                  </a:lnTo>
                  <a:lnTo>
                    <a:pt x="65" y="743"/>
                  </a:lnTo>
                  <a:lnTo>
                    <a:pt x="62" y="782"/>
                  </a:lnTo>
                  <a:lnTo>
                    <a:pt x="60" y="821"/>
                  </a:lnTo>
                  <a:lnTo>
                    <a:pt x="62" y="859"/>
                  </a:lnTo>
                  <a:lnTo>
                    <a:pt x="65" y="898"/>
                  </a:lnTo>
                  <a:lnTo>
                    <a:pt x="69" y="936"/>
                  </a:lnTo>
                  <a:lnTo>
                    <a:pt x="76" y="973"/>
                  </a:lnTo>
                  <a:lnTo>
                    <a:pt x="85" y="1011"/>
                  </a:lnTo>
                  <a:lnTo>
                    <a:pt x="95" y="1046"/>
                  </a:lnTo>
                  <a:lnTo>
                    <a:pt x="106" y="1081"/>
                  </a:lnTo>
                  <a:lnTo>
                    <a:pt x="121" y="1116"/>
                  </a:lnTo>
                  <a:lnTo>
                    <a:pt x="135" y="1150"/>
                  </a:lnTo>
                  <a:lnTo>
                    <a:pt x="153" y="1182"/>
                  </a:lnTo>
                  <a:lnTo>
                    <a:pt x="171" y="1213"/>
                  </a:lnTo>
                  <a:lnTo>
                    <a:pt x="190" y="1245"/>
                  </a:lnTo>
                  <a:lnTo>
                    <a:pt x="212" y="1275"/>
                  </a:lnTo>
                  <a:lnTo>
                    <a:pt x="235" y="1304"/>
                  </a:lnTo>
                  <a:lnTo>
                    <a:pt x="258" y="1332"/>
                  </a:lnTo>
                  <a:lnTo>
                    <a:pt x="284" y="1357"/>
                  </a:lnTo>
                  <a:lnTo>
                    <a:pt x="309" y="1383"/>
                  </a:lnTo>
                  <a:lnTo>
                    <a:pt x="337" y="1406"/>
                  </a:lnTo>
                  <a:lnTo>
                    <a:pt x="366" y="1429"/>
                  </a:lnTo>
                  <a:lnTo>
                    <a:pt x="396" y="1451"/>
                  </a:lnTo>
                  <a:lnTo>
                    <a:pt x="426" y="1470"/>
                  </a:lnTo>
                  <a:lnTo>
                    <a:pt x="458" y="1488"/>
                  </a:lnTo>
                  <a:lnTo>
                    <a:pt x="491" y="1506"/>
                  </a:lnTo>
                  <a:lnTo>
                    <a:pt x="525" y="1520"/>
                  </a:lnTo>
                  <a:lnTo>
                    <a:pt x="560" y="1534"/>
                  </a:lnTo>
                  <a:lnTo>
                    <a:pt x="595" y="1546"/>
                  </a:lnTo>
                  <a:lnTo>
                    <a:pt x="631" y="1556"/>
                  </a:lnTo>
                  <a:lnTo>
                    <a:pt x="668" y="1565"/>
                  </a:lnTo>
                  <a:lnTo>
                    <a:pt x="705" y="1572"/>
                  </a:lnTo>
                  <a:lnTo>
                    <a:pt x="743" y="1576"/>
                  </a:lnTo>
                  <a:lnTo>
                    <a:pt x="782" y="1579"/>
                  </a:lnTo>
                  <a:lnTo>
                    <a:pt x="821" y="1581"/>
                  </a:lnTo>
                  <a:lnTo>
                    <a:pt x="860" y="1579"/>
                  </a:lnTo>
                  <a:lnTo>
                    <a:pt x="898" y="1576"/>
                  </a:lnTo>
                  <a:lnTo>
                    <a:pt x="936" y="1572"/>
                  </a:lnTo>
                  <a:lnTo>
                    <a:pt x="973" y="1565"/>
                  </a:lnTo>
                  <a:lnTo>
                    <a:pt x="1009" y="1556"/>
                  </a:lnTo>
                  <a:lnTo>
                    <a:pt x="1047" y="1546"/>
                  </a:lnTo>
                  <a:lnTo>
                    <a:pt x="1081" y="1534"/>
                  </a:lnTo>
                  <a:lnTo>
                    <a:pt x="1116" y="1520"/>
                  </a:lnTo>
                  <a:lnTo>
                    <a:pt x="1149" y="1506"/>
                  </a:lnTo>
                  <a:lnTo>
                    <a:pt x="1182" y="1488"/>
                  </a:lnTo>
                  <a:lnTo>
                    <a:pt x="1214" y="1470"/>
                  </a:lnTo>
                  <a:lnTo>
                    <a:pt x="1245" y="1451"/>
                  </a:lnTo>
                  <a:lnTo>
                    <a:pt x="1274" y="1429"/>
                  </a:lnTo>
                  <a:lnTo>
                    <a:pt x="1303" y="1406"/>
                  </a:lnTo>
                  <a:lnTo>
                    <a:pt x="1330" y="1383"/>
                  </a:lnTo>
                  <a:lnTo>
                    <a:pt x="1358" y="1357"/>
                  </a:lnTo>
                  <a:lnTo>
                    <a:pt x="1382" y="1332"/>
                  </a:lnTo>
                  <a:lnTo>
                    <a:pt x="1407" y="1304"/>
                  </a:lnTo>
                  <a:lnTo>
                    <a:pt x="1428" y="1275"/>
                  </a:lnTo>
                  <a:lnTo>
                    <a:pt x="1450" y="1245"/>
                  </a:lnTo>
                  <a:lnTo>
                    <a:pt x="1470" y="1213"/>
                  </a:lnTo>
                  <a:lnTo>
                    <a:pt x="1489" y="1182"/>
                  </a:lnTo>
                  <a:lnTo>
                    <a:pt x="1505" y="1150"/>
                  </a:lnTo>
                  <a:lnTo>
                    <a:pt x="1521" y="1116"/>
                  </a:lnTo>
                  <a:lnTo>
                    <a:pt x="1533" y="1081"/>
                  </a:lnTo>
                  <a:lnTo>
                    <a:pt x="1546" y="1046"/>
                  </a:lnTo>
                  <a:lnTo>
                    <a:pt x="1557" y="1011"/>
                  </a:lnTo>
                  <a:lnTo>
                    <a:pt x="1565" y="973"/>
                  </a:lnTo>
                  <a:lnTo>
                    <a:pt x="1571" y="936"/>
                  </a:lnTo>
                  <a:lnTo>
                    <a:pt x="1577" y="898"/>
                  </a:lnTo>
                  <a:lnTo>
                    <a:pt x="1580" y="859"/>
                  </a:lnTo>
                  <a:lnTo>
                    <a:pt x="1580" y="821"/>
                  </a:lnTo>
                  <a:lnTo>
                    <a:pt x="1580" y="782"/>
                  </a:lnTo>
                  <a:lnTo>
                    <a:pt x="1577" y="743"/>
                  </a:lnTo>
                  <a:lnTo>
                    <a:pt x="1571" y="705"/>
                  </a:lnTo>
                  <a:lnTo>
                    <a:pt x="1565" y="668"/>
                  </a:lnTo>
                  <a:lnTo>
                    <a:pt x="1557" y="630"/>
                  </a:lnTo>
                  <a:lnTo>
                    <a:pt x="1546" y="595"/>
                  </a:lnTo>
                  <a:lnTo>
                    <a:pt x="1533" y="560"/>
                  </a:lnTo>
                  <a:lnTo>
                    <a:pt x="1521" y="525"/>
                  </a:lnTo>
                  <a:lnTo>
                    <a:pt x="1505" y="491"/>
                  </a:lnTo>
                  <a:lnTo>
                    <a:pt x="1489" y="459"/>
                  </a:lnTo>
                  <a:lnTo>
                    <a:pt x="1470" y="428"/>
                  </a:lnTo>
                  <a:lnTo>
                    <a:pt x="1450" y="396"/>
                  </a:lnTo>
                  <a:lnTo>
                    <a:pt x="1428" y="366"/>
                  </a:lnTo>
                  <a:lnTo>
                    <a:pt x="1407" y="337"/>
                  </a:lnTo>
                  <a:lnTo>
                    <a:pt x="1382" y="309"/>
                  </a:lnTo>
                  <a:lnTo>
                    <a:pt x="1358" y="284"/>
                  </a:lnTo>
                  <a:lnTo>
                    <a:pt x="1330" y="258"/>
                  </a:lnTo>
                  <a:lnTo>
                    <a:pt x="1303" y="235"/>
                  </a:lnTo>
                  <a:lnTo>
                    <a:pt x="1274" y="212"/>
                  </a:lnTo>
                  <a:lnTo>
                    <a:pt x="1245" y="190"/>
                  </a:lnTo>
                  <a:lnTo>
                    <a:pt x="1214" y="171"/>
                  </a:lnTo>
                  <a:lnTo>
                    <a:pt x="1182" y="153"/>
                  </a:lnTo>
                  <a:lnTo>
                    <a:pt x="1149" y="135"/>
                  </a:lnTo>
                  <a:lnTo>
                    <a:pt x="1116" y="121"/>
                  </a:lnTo>
                  <a:lnTo>
                    <a:pt x="1081" y="107"/>
                  </a:lnTo>
                  <a:lnTo>
                    <a:pt x="1047" y="95"/>
                  </a:lnTo>
                  <a:lnTo>
                    <a:pt x="1009" y="85"/>
                  </a:lnTo>
                  <a:lnTo>
                    <a:pt x="973" y="76"/>
                  </a:lnTo>
                  <a:lnTo>
                    <a:pt x="936" y="69"/>
                  </a:lnTo>
                  <a:lnTo>
                    <a:pt x="898" y="65"/>
                  </a:lnTo>
                  <a:lnTo>
                    <a:pt x="860" y="62"/>
                  </a:lnTo>
                  <a:lnTo>
                    <a:pt x="821" y="60"/>
                  </a:lnTo>
                  <a:close/>
                  <a:moveTo>
                    <a:pt x="821" y="1641"/>
                  </a:moveTo>
                  <a:lnTo>
                    <a:pt x="777" y="1640"/>
                  </a:lnTo>
                  <a:lnTo>
                    <a:pt x="737" y="1637"/>
                  </a:lnTo>
                  <a:lnTo>
                    <a:pt x="695" y="1631"/>
                  </a:lnTo>
                  <a:lnTo>
                    <a:pt x="655" y="1624"/>
                  </a:lnTo>
                  <a:lnTo>
                    <a:pt x="616" y="1615"/>
                  </a:lnTo>
                  <a:lnTo>
                    <a:pt x="576" y="1604"/>
                  </a:lnTo>
                  <a:lnTo>
                    <a:pt x="538" y="1591"/>
                  </a:lnTo>
                  <a:lnTo>
                    <a:pt x="501" y="1576"/>
                  </a:lnTo>
                  <a:lnTo>
                    <a:pt x="465" y="1560"/>
                  </a:lnTo>
                  <a:lnTo>
                    <a:pt x="429" y="1542"/>
                  </a:lnTo>
                  <a:lnTo>
                    <a:pt x="394" y="1522"/>
                  </a:lnTo>
                  <a:lnTo>
                    <a:pt x="361" y="1501"/>
                  </a:lnTo>
                  <a:lnTo>
                    <a:pt x="330" y="1478"/>
                  </a:lnTo>
                  <a:lnTo>
                    <a:pt x="298" y="1454"/>
                  </a:lnTo>
                  <a:lnTo>
                    <a:pt x="269" y="1428"/>
                  </a:lnTo>
                  <a:lnTo>
                    <a:pt x="240" y="1401"/>
                  </a:lnTo>
                  <a:lnTo>
                    <a:pt x="213" y="1372"/>
                  </a:lnTo>
                  <a:lnTo>
                    <a:pt x="187" y="1342"/>
                  </a:lnTo>
                  <a:lnTo>
                    <a:pt x="163" y="1311"/>
                  </a:lnTo>
                  <a:lnTo>
                    <a:pt x="140" y="1278"/>
                  </a:lnTo>
                  <a:lnTo>
                    <a:pt x="118" y="1245"/>
                  </a:lnTo>
                  <a:lnTo>
                    <a:pt x="99" y="1211"/>
                  </a:lnTo>
                  <a:lnTo>
                    <a:pt x="81" y="1176"/>
                  </a:lnTo>
                  <a:lnTo>
                    <a:pt x="65" y="1140"/>
                  </a:lnTo>
                  <a:lnTo>
                    <a:pt x="49" y="1103"/>
                  </a:lnTo>
                  <a:lnTo>
                    <a:pt x="37" y="1064"/>
                  </a:lnTo>
                  <a:lnTo>
                    <a:pt x="26" y="1025"/>
                  </a:lnTo>
                  <a:lnTo>
                    <a:pt x="16" y="986"/>
                  </a:lnTo>
                  <a:lnTo>
                    <a:pt x="9" y="946"/>
                  </a:lnTo>
                  <a:lnTo>
                    <a:pt x="4" y="904"/>
                  </a:lnTo>
                  <a:lnTo>
                    <a:pt x="1" y="862"/>
                  </a:lnTo>
                  <a:lnTo>
                    <a:pt x="0" y="821"/>
                  </a:lnTo>
                  <a:lnTo>
                    <a:pt x="1" y="779"/>
                  </a:lnTo>
                  <a:lnTo>
                    <a:pt x="4" y="737"/>
                  </a:lnTo>
                  <a:lnTo>
                    <a:pt x="9" y="695"/>
                  </a:lnTo>
                  <a:lnTo>
                    <a:pt x="16" y="655"/>
                  </a:lnTo>
                  <a:lnTo>
                    <a:pt x="26" y="616"/>
                  </a:lnTo>
                  <a:lnTo>
                    <a:pt x="37" y="577"/>
                  </a:lnTo>
                  <a:lnTo>
                    <a:pt x="49" y="538"/>
                  </a:lnTo>
                  <a:lnTo>
                    <a:pt x="65" y="501"/>
                  </a:lnTo>
                  <a:lnTo>
                    <a:pt x="81" y="465"/>
                  </a:lnTo>
                  <a:lnTo>
                    <a:pt x="99" y="430"/>
                  </a:lnTo>
                  <a:lnTo>
                    <a:pt x="118" y="396"/>
                  </a:lnTo>
                  <a:lnTo>
                    <a:pt x="140" y="363"/>
                  </a:lnTo>
                  <a:lnTo>
                    <a:pt x="163" y="330"/>
                  </a:lnTo>
                  <a:lnTo>
                    <a:pt x="187" y="299"/>
                  </a:lnTo>
                  <a:lnTo>
                    <a:pt x="213" y="269"/>
                  </a:lnTo>
                  <a:lnTo>
                    <a:pt x="240" y="240"/>
                  </a:lnTo>
                  <a:lnTo>
                    <a:pt x="269" y="213"/>
                  </a:lnTo>
                  <a:lnTo>
                    <a:pt x="298" y="187"/>
                  </a:lnTo>
                  <a:lnTo>
                    <a:pt x="330" y="163"/>
                  </a:lnTo>
                  <a:lnTo>
                    <a:pt x="361" y="140"/>
                  </a:lnTo>
                  <a:lnTo>
                    <a:pt x="394" y="119"/>
                  </a:lnTo>
                  <a:lnTo>
                    <a:pt x="429" y="99"/>
                  </a:lnTo>
                  <a:lnTo>
                    <a:pt x="465" y="81"/>
                  </a:lnTo>
                  <a:lnTo>
                    <a:pt x="501" y="65"/>
                  </a:lnTo>
                  <a:lnTo>
                    <a:pt x="538" y="50"/>
                  </a:lnTo>
                  <a:lnTo>
                    <a:pt x="576" y="37"/>
                  </a:lnTo>
                  <a:lnTo>
                    <a:pt x="616" y="26"/>
                  </a:lnTo>
                  <a:lnTo>
                    <a:pt x="655" y="17"/>
                  </a:lnTo>
                  <a:lnTo>
                    <a:pt x="695" y="10"/>
                  </a:lnTo>
                  <a:lnTo>
                    <a:pt x="737" y="4"/>
                  </a:lnTo>
                  <a:lnTo>
                    <a:pt x="777" y="1"/>
                  </a:lnTo>
                  <a:lnTo>
                    <a:pt x="821" y="0"/>
                  </a:lnTo>
                  <a:lnTo>
                    <a:pt x="862" y="1"/>
                  </a:lnTo>
                  <a:lnTo>
                    <a:pt x="904" y="4"/>
                  </a:lnTo>
                  <a:lnTo>
                    <a:pt x="945" y="10"/>
                  </a:lnTo>
                  <a:lnTo>
                    <a:pt x="985" y="17"/>
                  </a:lnTo>
                  <a:lnTo>
                    <a:pt x="1025" y="26"/>
                  </a:lnTo>
                  <a:lnTo>
                    <a:pt x="1064" y="37"/>
                  </a:lnTo>
                  <a:lnTo>
                    <a:pt x="1103" y="50"/>
                  </a:lnTo>
                  <a:lnTo>
                    <a:pt x="1139" y="65"/>
                  </a:lnTo>
                  <a:lnTo>
                    <a:pt x="1176" y="81"/>
                  </a:lnTo>
                  <a:lnTo>
                    <a:pt x="1211" y="99"/>
                  </a:lnTo>
                  <a:lnTo>
                    <a:pt x="1245" y="119"/>
                  </a:lnTo>
                  <a:lnTo>
                    <a:pt x="1279" y="140"/>
                  </a:lnTo>
                  <a:lnTo>
                    <a:pt x="1312" y="163"/>
                  </a:lnTo>
                  <a:lnTo>
                    <a:pt x="1342" y="187"/>
                  </a:lnTo>
                  <a:lnTo>
                    <a:pt x="1372" y="213"/>
                  </a:lnTo>
                  <a:lnTo>
                    <a:pt x="1401" y="240"/>
                  </a:lnTo>
                  <a:lnTo>
                    <a:pt x="1427" y="269"/>
                  </a:lnTo>
                  <a:lnTo>
                    <a:pt x="1453" y="299"/>
                  </a:lnTo>
                  <a:lnTo>
                    <a:pt x="1477" y="330"/>
                  </a:lnTo>
                  <a:lnTo>
                    <a:pt x="1500" y="363"/>
                  </a:lnTo>
                  <a:lnTo>
                    <a:pt x="1522" y="396"/>
                  </a:lnTo>
                  <a:lnTo>
                    <a:pt x="1542" y="430"/>
                  </a:lnTo>
                  <a:lnTo>
                    <a:pt x="1559" y="465"/>
                  </a:lnTo>
                  <a:lnTo>
                    <a:pt x="1577" y="501"/>
                  </a:lnTo>
                  <a:lnTo>
                    <a:pt x="1591" y="538"/>
                  </a:lnTo>
                  <a:lnTo>
                    <a:pt x="1604" y="577"/>
                  </a:lnTo>
                  <a:lnTo>
                    <a:pt x="1616" y="616"/>
                  </a:lnTo>
                  <a:lnTo>
                    <a:pt x="1624" y="655"/>
                  </a:lnTo>
                  <a:lnTo>
                    <a:pt x="1631" y="695"/>
                  </a:lnTo>
                  <a:lnTo>
                    <a:pt x="1637" y="737"/>
                  </a:lnTo>
                  <a:lnTo>
                    <a:pt x="1640" y="779"/>
                  </a:lnTo>
                  <a:lnTo>
                    <a:pt x="1641" y="821"/>
                  </a:lnTo>
                  <a:lnTo>
                    <a:pt x="1640" y="862"/>
                  </a:lnTo>
                  <a:lnTo>
                    <a:pt x="1637" y="904"/>
                  </a:lnTo>
                  <a:lnTo>
                    <a:pt x="1631" y="946"/>
                  </a:lnTo>
                  <a:lnTo>
                    <a:pt x="1624" y="986"/>
                  </a:lnTo>
                  <a:lnTo>
                    <a:pt x="1616" y="1025"/>
                  </a:lnTo>
                  <a:lnTo>
                    <a:pt x="1604" y="1064"/>
                  </a:lnTo>
                  <a:lnTo>
                    <a:pt x="1591" y="1103"/>
                  </a:lnTo>
                  <a:lnTo>
                    <a:pt x="1577" y="1140"/>
                  </a:lnTo>
                  <a:lnTo>
                    <a:pt x="1559" y="1176"/>
                  </a:lnTo>
                  <a:lnTo>
                    <a:pt x="1542" y="1211"/>
                  </a:lnTo>
                  <a:lnTo>
                    <a:pt x="1522" y="1245"/>
                  </a:lnTo>
                  <a:lnTo>
                    <a:pt x="1500" y="1278"/>
                  </a:lnTo>
                  <a:lnTo>
                    <a:pt x="1477" y="1311"/>
                  </a:lnTo>
                  <a:lnTo>
                    <a:pt x="1453" y="1342"/>
                  </a:lnTo>
                  <a:lnTo>
                    <a:pt x="1427" y="1372"/>
                  </a:lnTo>
                  <a:lnTo>
                    <a:pt x="1401" y="1401"/>
                  </a:lnTo>
                  <a:lnTo>
                    <a:pt x="1372" y="1428"/>
                  </a:lnTo>
                  <a:lnTo>
                    <a:pt x="1342" y="1454"/>
                  </a:lnTo>
                  <a:lnTo>
                    <a:pt x="1312" y="1478"/>
                  </a:lnTo>
                  <a:lnTo>
                    <a:pt x="1279" y="1501"/>
                  </a:lnTo>
                  <a:lnTo>
                    <a:pt x="1245" y="1522"/>
                  </a:lnTo>
                  <a:lnTo>
                    <a:pt x="1211" y="1542"/>
                  </a:lnTo>
                  <a:lnTo>
                    <a:pt x="1176" y="1560"/>
                  </a:lnTo>
                  <a:lnTo>
                    <a:pt x="1139" y="1576"/>
                  </a:lnTo>
                  <a:lnTo>
                    <a:pt x="1103" y="1591"/>
                  </a:lnTo>
                  <a:lnTo>
                    <a:pt x="1064" y="1604"/>
                  </a:lnTo>
                  <a:lnTo>
                    <a:pt x="1025" y="1615"/>
                  </a:lnTo>
                  <a:lnTo>
                    <a:pt x="985" y="1624"/>
                  </a:lnTo>
                  <a:lnTo>
                    <a:pt x="945" y="1631"/>
                  </a:lnTo>
                  <a:lnTo>
                    <a:pt x="904" y="1637"/>
                  </a:lnTo>
                  <a:lnTo>
                    <a:pt x="862"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8" name="Freeform 30">
              <a:extLst>
                <a:ext uri="{FF2B5EF4-FFF2-40B4-BE49-F238E27FC236}">
                  <a16:creationId xmlns:a16="http://schemas.microsoft.com/office/drawing/2014/main" id="{514E7A39-C388-44AF-9AD9-5119CFE87681}"/>
                </a:ext>
              </a:extLst>
            </p:cNvPr>
            <p:cNvSpPr>
              <a:spLocks/>
            </p:cNvSpPr>
            <p:nvPr/>
          </p:nvSpPr>
          <p:spPr bwMode="auto">
            <a:xfrm>
              <a:off x="2534080" y="5550133"/>
              <a:ext cx="19323" cy="261326"/>
            </a:xfrm>
            <a:custGeom>
              <a:avLst/>
              <a:gdLst>
                <a:gd name="T0" fmla="*/ 30 w 61"/>
                <a:gd name="T1" fmla="*/ 851 h 851"/>
                <a:gd name="T2" fmla="*/ 25 w 61"/>
                <a:gd name="T3" fmla="*/ 849 h 851"/>
                <a:gd name="T4" fmla="*/ 19 w 61"/>
                <a:gd name="T5" fmla="*/ 848 h 851"/>
                <a:gd name="T6" fmla="*/ 13 w 61"/>
                <a:gd name="T7" fmla="*/ 845 h 851"/>
                <a:gd name="T8" fmla="*/ 9 w 61"/>
                <a:gd name="T9" fmla="*/ 841 h 851"/>
                <a:gd name="T10" fmla="*/ 4 w 61"/>
                <a:gd name="T11" fmla="*/ 836 h 851"/>
                <a:gd name="T12" fmla="*/ 2 w 61"/>
                <a:gd name="T13" fmla="*/ 832 h 851"/>
                <a:gd name="T14" fmla="*/ 0 w 61"/>
                <a:gd name="T15" fmla="*/ 826 h 851"/>
                <a:gd name="T16" fmla="*/ 0 w 61"/>
                <a:gd name="T17" fmla="*/ 821 h 851"/>
                <a:gd name="T18" fmla="*/ 0 w 61"/>
                <a:gd name="T19" fmla="*/ 30 h 851"/>
                <a:gd name="T20" fmla="*/ 0 w 61"/>
                <a:gd name="T21" fmla="*/ 23 h 851"/>
                <a:gd name="T22" fmla="*/ 2 w 61"/>
                <a:gd name="T23" fmla="*/ 17 h 851"/>
                <a:gd name="T24" fmla="*/ 4 w 61"/>
                <a:gd name="T25" fmla="*/ 13 h 851"/>
                <a:gd name="T26" fmla="*/ 9 w 61"/>
                <a:gd name="T27" fmla="*/ 9 h 851"/>
                <a:gd name="T28" fmla="*/ 13 w 61"/>
                <a:gd name="T29" fmla="*/ 4 h 851"/>
                <a:gd name="T30" fmla="*/ 19 w 61"/>
                <a:gd name="T31" fmla="*/ 2 h 851"/>
                <a:gd name="T32" fmla="*/ 25 w 61"/>
                <a:gd name="T33" fmla="*/ 0 h 851"/>
                <a:gd name="T34" fmla="*/ 30 w 61"/>
                <a:gd name="T35" fmla="*/ 0 h 851"/>
                <a:gd name="T36" fmla="*/ 36 w 61"/>
                <a:gd name="T37" fmla="*/ 0 h 851"/>
                <a:gd name="T38" fmla="*/ 42 w 61"/>
                <a:gd name="T39" fmla="*/ 2 h 851"/>
                <a:gd name="T40" fmla="*/ 48 w 61"/>
                <a:gd name="T41" fmla="*/ 4 h 851"/>
                <a:gd name="T42" fmla="*/ 52 w 61"/>
                <a:gd name="T43" fmla="*/ 9 h 851"/>
                <a:gd name="T44" fmla="*/ 55 w 61"/>
                <a:gd name="T45" fmla="*/ 13 h 851"/>
                <a:gd name="T46" fmla="*/ 58 w 61"/>
                <a:gd name="T47" fmla="*/ 17 h 851"/>
                <a:gd name="T48" fmla="*/ 61 w 61"/>
                <a:gd name="T49" fmla="*/ 23 h 851"/>
                <a:gd name="T50" fmla="*/ 61 w 61"/>
                <a:gd name="T51" fmla="*/ 30 h 851"/>
                <a:gd name="T52" fmla="*/ 61 w 61"/>
                <a:gd name="T53" fmla="*/ 821 h 851"/>
                <a:gd name="T54" fmla="*/ 61 w 61"/>
                <a:gd name="T55" fmla="*/ 826 h 851"/>
                <a:gd name="T56" fmla="*/ 58 w 61"/>
                <a:gd name="T57" fmla="*/ 832 h 851"/>
                <a:gd name="T58" fmla="*/ 55 w 61"/>
                <a:gd name="T59" fmla="*/ 836 h 851"/>
                <a:gd name="T60" fmla="*/ 52 w 61"/>
                <a:gd name="T61" fmla="*/ 841 h 851"/>
                <a:gd name="T62" fmla="*/ 48 w 61"/>
                <a:gd name="T63" fmla="*/ 845 h 851"/>
                <a:gd name="T64" fmla="*/ 42 w 61"/>
                <a:gd name="T65" fmla="*/ 848 h 851"/>
                <a:gd name="T66" fmla="*/ 36 w 61"/>
                <a:gd name="T67" fmla="*/ 849 h 851"/>
                <a:gd name="T68" fmla="*/ 30 w 61"/>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851">
                  <a:moveTo>
                    <a:pt x="30" y="851"/>
                  </a:moveTo>
                  <a:lnTo>
                    <a:pt x="25" y="849"/>
                  </a:lnTo>
                  <a:lnTo>
                    <a:pt x="19" y="848"/>
                  </a:lnTo>
                  <a:lnTo>
                    <a:pt x="13" y="845"/>
                  </a:lnTo>
                  <a:lnTo>
                    <a:pt x="9" y="841"/>
                  </a:lnTo>
                  <a:lnTo>
                    <a:pt x="4" y="836"/>
                  </a:lnTo>
                  <a:lnTo>
                    <a:pt x="2" y="832"/>
                  </a:lnTo>
                  <a:lnTo>
                    <a:pt x="0" y="826"/>
                  </a:lnTo>
                  <a:lnTo>
                    <a:pt x="0" y="821"/>
                  </a:lnTo>
                  <a:lnTo>
                    <a:pt x="0" y="30"/>
                  </a:lnTo>
                  <a:lnTo>
                    <a:pt x="0" y="23"/>
                  </a:lnTo>
                  <a:lnTo>
                    <a:pt x="2" y="17"/>
                  </a:lnTo>
                  <a:lnTo>
                    <a:pt x="4" y="13"/>
                  </a:lnTo>
                  <a:lnTo>
                    <a:pt x="9" y="9"/>
                  </a:lnTo>
                  <a:lnTo>
                    <a:pt x="13" y="4"/>
                  </a:lnTo>
                  <a:lnTo>
                    <a:pt x="19" y="2"/>
                  </a:lnTo>
                  <a:lnTo>
                    <a:pt x="25" y="0"/>
                  </a:lnTo>
                  <a:lnTo>
                    <a:pt x="30" y="0"/>
                  </a:lnTo>
                  <a:lnTo>
                    <a:pt x="36" y="0"/>
                  </a:lnTo>
                  <a:lnTo>
                    <a:pt x="42" y="2"/>
                  </a:lnTo>
                  <a:lnTo>
                    <a:pt x="48" y="4"/>
                  </a:lnTo>
                  <a:lnTo>
                    <a:pt x="52" y="9"/>
                  </a:lnTo>
                  <a:lnTo>
                    <a:pt x="55" y="13"/>
                  </a:lnTo>
                  <a:lnTo>
                    <a:pt x="58" y="17"/>
                  </a:lnTo>
                  <a:lnTo>
                    <a:pt x="61" y="23"/>
                  </a:lnTo>
                  <a:lnTo>
                    <a:pt x="61" y="30"/>
                  </a:lnTo>
                  <a:lnTo>
                    <a:pt x="61" y="821"/>
                  </a:lnTo>
                  <a:lnTo>
                    <a:pt x="61" y="826"/>
                  </a:lnTo>
                  <a:lnTo>
                    <a:pt x="58" y="832"/>
                  </a:lnTo>
                  <a:lnTo>
                    <a:pt x="55" y="836"/>
                  </a:lnTo>
                  <a:lnTo>
                    <a:pt x="52" y="841"/>
                  </a:lnTo>
                  <a:lnTo>
                    <a:pt x="48" y="845"/>
                  </a:lnTo>
                  <a:lnTo>
                    <a:pt x="42" y="848"/>
                  </a:lnTo>
                  <a:lnTo>
                    <a:pt x="36"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9" name="Freeform 31">
              <a:extLst>
                <a:ext uri="{FF2B5EF4-FFF2-40B4-BE49-F238E27FC236}">
                  <a16:creationId xmlns:a16="http://schemas.microsoft.com/office/drawing/2014/main" id="{F219006C-AD46-4281-8709-27C196E379DF}"/>
                </a:ext>
              </a:extLst>
            </p:cNvPr>
            <p:cNvSpPr>
              <a:spLocks/>
            </p:cNvSpPr>
            <p:nvPr/>
          </p:nvSpPr>
          <p:spPr bwMode="auto">
            <a:xfrm>
              <a:off x="2684066" y="5550133"/>
              <a:ext cx="18403" cy="261326"/>
            </a:xfrm>
            <a:custGeom>
              <a:avLst/>
              <a:gdLst>
                <a:gd name="T0" fmla="*/ 30 w 60"/>
                <a:gd name="T1" fmla="*/ 851 h 851"/>
                <a:gd name="T2" fmla="*/ 23 w 60"/>
                <a:gd name="T3" fmla="*/ 849 h 851"/>
                <a:gd name="T4" fmla="*/ 17 w 60"/>
                <a:gd name="T5" fmla="*/ 848 h 851"/>
                <a:gd name="T6" fmla="*/ 13 w 60"/>
                <a:gd name="T7" fmla="*/ 845 h 851"/>
                <a:gd name="T8" fmla="*/ 8 w 60"/>
                <a:gd name="T9" fmla="*/ 841 h 851"/>
                <a:gd name="T10" fmla="*/ 4 w 60"/>
                <a:gd name="T11" fmla="*/ 836 h 851"/>
                <a:gd name="T12" fmla="*/ 1 w 60"/>
                <a:gd name="T13" fmla="*/ 832 h 851"/>
                <a:gd name="T14" fmla="*/ 0 w 60"/>
                <a:gd name="T15" fmla="*/ 826 h 851"/>
                <a:gd name="T16" fmla="*/ 0 w 60"/>
                <a:gd name="T17" fmla="*/ 821 h 851"/>
                <a:gd name="T18" fmla="*/ 0 w 60"/>
                <a:gd name="T19" fmla="*/ 30 h 851"/>
                <a:gd name="T20" fmla="*/ 0 w 60"/>
                <a:gd name="T21" fmla="*/ 23 h 851"/>
                <a:gd name="T22" fmla="*/ 1 w 60"/>
                <a:gd name="T23" fmla="*/ 17 h 851"/>
                <a:gd name="T24" fmla="*/ 4 w 60"/>
                <a:gd name="T25" fmla="*/ 13 h 851"/>
                <a:gd name="T26" fmla="*/ 8 w 60"/>
                <a:gd name="T27" fmla="*/ 9 h 851"/>
                <a:gd name="T28" fmla="*/ 13 w 60"/>
                <a:gd name="T29" fmla="*/ 4 h 851"/>
                <a:gd name="T30" fmla="*/ 17 w 60"/>
                <a:gd name="T31" fmla="*/ 2 h 851"/>
                <a:gd name="T32" fmla="*/ 23 w 60"/>
                <a:gd name="T33" fmla="*/ 0 h 851"/>
                <a:gd name="T34" fmla="*/ 30 w 60"/>
                <a:gd name="T35" fmla="*/ 0 h 851"/>
                <a:gd name="T36" fmla="*/ 36 w 60"/>
                <a:gd name="T37" fmla="*/ 0 h 851"/>
                <a:gd name="T38" fmla="*/ 42 w 60"/>
                <a:gd name="T39" fmla="*/ 2 h 851"/>
                <a:gd name="T40" fmla="*/ 46 w 60"/>
                <a:gd name="T41" fmla="*/ 4 h 851"/>
                <a:gd name="T42" fmla="*/ 52 w 60"/>
                <a:gd name="T43" fmla="*/ 9 h 851"/>
                <a:gd name="T44" fmla="*/ 55 w 60"/>
                <a:gd name="T45" fmla="*/ 13 h 851"/>
                <a:gd name="T46" fmla="*/ 57 w 60"/>
                <a:gd name="T47" fmla="*/ 17 h 851"/>
                <a:gd name="T48" fmla="*/ 59 w 60"/>
                <a:gd name="T49" fmla="*/ 23 h 851"/>
                <a:gd name="T50" fmla="*/ 60 w 60"/>
                <a:gd name="T51" fmla="*/ 30 h 851"/>
                <a:gd name="T52" fmla="*/ 60 w 60"/>
                <a:gd name="T53" fmla="*/ 821 h 851"/>
                <a:gd name="T54" fmla="*/ 59 w 60"/>
                <a:gd name="T55" fmla="*/ 826 h 851"/>
                <a:gd name="T56" fmla="*/ 57 w 60"/>
                <a:gd name="T57" fmla="*/ 832 h 851"/>
                <a:gd name="T58" fmla="*/ 55 w 60"/>
                <a:gd name="T59" fmla="*/ 836 h 851"/>
                <a:gd name="T60" fmla="*/ 52 w 60"/>
                <a:gd name="T61" fmla="*/ 841 h 851"/>
                <a:gd name="T62" fmla="*/ 46 w 60"/>
                <a:gd name="T63" fmla="*/ 845 h 851"/>
                <a:gd name="T64" fmla="*/ 42 w 60"/>
                <a:gd name="T65" fmla="*/ 848 h 851"/>
                <a:gd name="T66" fmla="*/ 36 w 60"/>
                <a:gd name="T67" fmla="*/ 849 h 851"/>
                <a:gd name="T68" fmla="*/ 30 w 60"/>
                <a:gd name="T6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851">
                  <a:moveTo>
                    <a:pt x="30" y="851"/>
                  </a:moveTo>
                  <a:lnTo>
                    <a:pt x="23" y="849"/>
                  </a:lnTo>
                  <a:lnTo>
                    <a:pt x="17" y="848"/>
                  </a:lnTo>
                  <a:lnTo>
                    <a:pt x="13" y="845"/>
                  </a:lnTo>
                  <a:lnTo>
                    <a:pt x="8" y="841"/>
                  </a:lnTo>
                  <a:lnTo>
                    <a:pt x="4" y="836"/>
                  </a:lnTo>
                  <a:lnTo>
                    <a:pt x="1" y="832"/>
                  </a:lnTo>
                  <a:lnTo>
                    <a:pt x="0" y="826"/>
                  </a:lnTo>
                  <a:lnTo>
                    <a:pt x="0" y="821"/>
                  </a:lnTo>
                  <a:lnTo>
                    <a:pt x="0" y="30"/>
                  </a:lnTo>
                  <a:lnTo>
                    <a:pt x="0" y="23"/>
                  </a:lnTo>
                  <a:lnTo>
                    <a:pt x="1" y="17"/>
                  </a:lnTo>
                  <a:lnTo>
                    <a:pt x="4" y="13"/>
                  </a:lnTo>
                  <a:lnTo>
                    <a:pt x="8" y="9"/>
                  </a:lnTo>
                  <a:lnTo>
                    <a:pt x="13" y="4"/>
                  </a:lnTo>
                  <a:lnTo>
                    <a:pt x="17" y="2"/>
                  </a:lnTo>
                  <a:lnTo>
                    <a:pt x="23" y="0"/>
                  </a:lnTo>
                  <a:lnTo>
                    <a:pt x="30" y="0"/>
                  </a:lnTo>
                  <a:lnTo>
                    <a:pt x="36" y="0"/>
                  </a:lnTo>
                  <a:lnTo>
                    <a:pt x="42" y="2"/>
                  </a:lnTo>
                  <a:lnTo>
                    <a:pt x="46" y="4"/>
                  </a:lnTo>
                  <a:lnTo>
                    <a:pt x="52" y="9"/>
                  </a:lnTo>
                  <a:lnTo>
                    <a:pt x="55" y="13"/>
                  </a:lnTo>
                  <a:lnTo>
                    <a:pt x="57" y="17"/>
                  </a:lnTo>
                  <a:lnTo>
                    <a:pt x="59" y="23"/>
                  </a:lnTo>
                  <a:lnTo>
                    <a:pt x="60" y="30"/>
                  </a:lnTo>
                  <a:lnTo>
                    <a:pt x="60" y="821"/>
                  </a:lnTo>
                  <a:lnTo>
                    <a:pt x="59" y="826"/>
                  </a:lnTo>
                  <a:lnTo>
                    <a:pt x="57" y="832"/>
                  </a:lnTo>
                  <a:lnTo>
                    <a:pt x="55" y="836"/>
                  </a:lnTo>
                  <a:lnTo>
                    <a:pt x="52" y="841"/>
                  </a:lnTo>
                  <a:lnTo>
                    <a:pt x="46" y="845"/>
                  </a:lnTo>
                  <a:lnTo>
                    <a:pt x="42" y="848"/>
                  </a:lnTo>
                  <a:lnTo>
                    <a:pt x="36" y="849"/>
                  </a:lnTo>
                  <a:lnTo>
                    <a:pt x="30" y="85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72" name="Group 156">
            <a:extLst>
              <a:ext uri="{FF2B5EF4-FFF2-40B4-BE49-F238E27FC236}">
                <a16:creationId xmlns:a16="http://schemas.microsoft.com/office/drawing/2014/main" id="{46C3A5CE-3196-4504-8FF6-712099DEA3F1}"/>
              </a:ext>
            </a:extLst>
          </p:cNvPr>
          <p:cNvGrpSpPr>
            <a:grpSpLocks noChangeAspect="1"/>
          </p:cNvGrpSpPr>
          <p:nvPr/>
        </p:nvGrpSpPr>
        <p:grpSpPr>
          <a:xfrm>
            <a:off x="6635243" y="2186361"/>
            <a:ext cx="290459" cy="285619"/>
            <a:chOff x="2600325" y="3640138"/>
            <a:chExt cx="285750" cy="280988"/>
          </a:xfrm>
          <a:solidFill>
            <a:schemeClr val="bg1"/>
          </a:solidFill>
          <a:effectLst/>
        </p:grpSpPr>
        <p:sp>
          <p:nvSpPr>
            <p:cNvPr id="573" name="Freeform 172">
              <a:extLst>
                <a:ext uri="{FF2B5EF4-FFF2-40B4-BE49-F238E27FC236}">
                  <a16:creationId xmlns:a16="http://schemas.microsoft.com/office/drawing/2014/main" id="{4AACC4D6-BAC2-4FC9-A2EC-4AA5875CF85E}"/>
                </a:ext>
              </a:extLst>
            </p:cNvPr>
            <p:cNvSpPr>
              <a:spLocks noEditPoints="1"/>
            </p:cNvSpPr>
            <p:nvPr/>
          </p:nvSpPr>
          <p:spPr bwMode="auto">
            <a:xfrm>
              <a:off x="2600325" y="3640138"/>
              <a:ext cx="285750" cy="280988"/>
            </a:xfrm>
            <a:custGeom>
              <a:avLst/>
              <a:gdLst>
                <a:gd name="T0" fmla="*/ 579 w 902"/>
                <a:gd name="T1" fmla="*/ 756 h 883"/>
                <a:gd name="T2" fmla="*/ 704 w 902"/>
                <a:gd name="T3" fmla="*/ 640 h 883"/>
                <a:gd name="T4" fmla="*/ 869 w 902"/>
                <a:gd name="T5" fmla="*/ 780 h 883"/>
                <a:gd name="T6" fmla="*/ 78 w 902"/>
                <a:gd name="T7" fmla="*/ 712 h 883"/>
                <a:gd name="T8" fmla="*/ 228 w 902"/>
                <a:gd name="T9" fmla="*/ 691 h 883"/>
                <a:gd name="T10" fmla="*/ 420 w 902"/>
                <a:gd name="T11" fmla="*/ 825 h 883"/>
                <a:gd name="T12" fmla="*/ 378 w 902"/>
                <a:gd name="T13" fmla="*/ 586 h 883"/>
                <a:gd name="T14" fmla="*/ 566 w 902"/>
                <a:gd name="T15" fmla="*/ 581 h 883"/>
                <a:gd name="T16" fmla="*/ 658 w 902"/>
                <a:gd name="T17" fmla="*/ 663 h 883"/>
                <a:gd name="T18" fmla="*/ 461 w 902"/>
                <a:gd name="T19" fmla="*/ 805 h 883"/>
                <a:gd name="T20" fmla="*/ 257 w 902"/>
                <a:gd name="T21" fmla="*/ 676 h 883"/>
                <a:gd name="T22" fmla="*/ 276 w 902"/>
                <a:gd name="T23" fmla="*/ 410 h 883"/>
                <a:gd name="T24" fmla="*/ 234 w 902"/>
                <a:gd name="T25" fmla="*/ 369 h 883"/>
                <a:gd name="T26" fmla="*/ 261 w 902"/>
                <a:gd name="T27" fmla="*/ 315 h 883"/>
                <a:gd name="T28" fmla="*/ 399 w 902"/>
                <a:gd name="T29" fmla="*/ 220 h 883"/>
                <a:gd name="T30" fmla="*/ 485 w 902"/>
                <a:gd name="T31" fmla="*/ 211 h 883"/>
                <a:gd name="T32" fmla="*/ 631 w 902"/>
                <a:gd name="T33" fmla="*/ 312 h 883"/>
                <a:gd name="T34" fmla="*/ 668 w 902"/>
                <a:gd name="T35" fmla="*/ 357 h 883"/>
                <a:gd name="T36" fmla="*/ 631 w 902"/>
                <a:gd name="T37" fmla="*/ 402 h 883"/>
                <a:gd name="T38" fmla="*/ 544 w 902"/>
                <a:gd name="T39" fmla="*/ 537 h 883"/>
                <a:gd name="T40" fmla="*/ 358 w 902"/>
                <a:gd name="T41" fmla="*/ 537 h 883"/>
                <a:gd name="T42" fmla="*/ 156 w 902"/>
                <a:gd name="T43" fmla="*/ 514 h 883"/>
                <a:gd name="T44" fmla="*/ 62 w 902"/>
                <a:gd name="T45" fmla="*/ 472 h 883"/>
                <a:gd name="T46" fmla="*/ 150 w 902"/>
                <a:gd name="T47" fmla="*/ 302 h 883"/>
                <a:gd name="T48" fmla="*/ 237 w 902"/>
                <a:gd name="T49" fmla="*/ 66 h 883"/>
                <a:gd name="T50" fmla="*/ 357 w 902"/>
                <a:gd name="T51" fmla="*/ 34 h 883"/>
                <a:gd name="T52" fmla="*/ 522 w 902"/>
                <a:gd name="T53" fmla="*/ 41 h 883"/>
                <a:gd name="T54" fmla="*/ 643 w 902"/>
                <a:gd name="T55" fmla="*/ 48 h 883"/>
                <a:gd name="T56" fmla="*/ 736 w 902"/>
                <a:gd name="T57" fmla="*/ 234 h 883"/>
                <a:gd name="T58" fmla="*/ 834 w 902"/>
                <a:gd name="T59" fmla="*/ 460 h 883"/>
                <a:gd name="T60" fmla="*/ 768 w 902"/>
                <a:gd name="T61" fmla="*/ 513 h 883"/>
                <a:gd name="T62" fmla="*/ 662 w 902"/>
                <a:gd name="T63" fmla="*/ 467 h 883"/>
                <a:gd name="T64" fmla="*/ 669 w 902"/>
                <a:gd name="T65" fmla="*/ 420 h 883"/>
                <a:gd name="T66" fmla="*/ 681 w 902"/>
                <a:gd name="T67" fmla="*/ 303 h 883"/>
                <a:gd name="T68" fmla="*/ 583 w 902"/>
                <a:gd name="T69" fmla="*/ 207 h 883"/>
                <a:gd name="T70" fmla="*/ 474 w 902"/>
                <a:gd name="T71" fmla="*/ 154 h 883"/>
                <a:gd name="T72" fmla="*/ 429 w 902"/>
                <a:gd name="T73" fmla="*/ 154 h 883"/>
                <a:gd name="T74" fmla="*/ 319 w 902"/>
                <a:gd name="T75" fmla="*/ 207 h 883"/>
                <a:gd name="T76" fmla="*/ 211 w 902"/>
                <a:gd name="T77" fmla="*/ 319 h 883"/>
                <a:gd name="T78" fmla="*/ 243 w 902"/>
                <a:gd name="T79" fmla="*/ 425 h 883"/>
                <a:gd name="T80" fmla="*/ 219 w 902"/>
                <a:gd name="T81" fmla="*/ 490 h 883"/>
                <a:gd name="T82" fmla="*/ 634 w 902"/>
                <a:gd name="T83" fmla="*/ 578 h 883"/>
                <a:gd name="T84" fmla="*/ 649 w 902"/>
                <a:gd name="T85" fmla="*/ 499 h 883"/>
                <a:gd name="T86" fmla="*/ 790 w 902"/>
                <a:gd name="T87" fmla="*/ 540 h 883"/>
                <a:gd name="T88" fmla="*/ 883 w 902"/>
                <a:gd name="T89" fmla="*/ 450 h 883"/>
                <a:gd name="T90" fmla="*/ 820 w 902"/>
                <a:gd name="T91" fmla="*/ 406 h 883"/>
                <a:gd name="T92" fmla="*/ 744 w 902"/>
                <a:gd name="T93" fmla="*/ 150 h 883"/>
                <a:gd name="T94" fmla="*/ 625 w 902"/>
                <a:gd name="T95" fmla="*/ 6 h 883"/>
                <a:gd name="T96" fmla="*/ 480 w 902"/>
                <a:gd name="T97" fmla="*/ 23 h 883"/>
                <a:gd name="T98" fmla="*/ 319 w 902"/>
                <a:gd name="T99" fmla="*/ 0 h 883"/>
                <a:gd name="T100" fmla="*/ 187 w 902"/>
                <a:gd name="T101" fmla="*/ 82 h 883"/>
                <a:gd name="T102" fmla="*/ 104 w 902"/>
                <a:gd name="T103" fmla="*/ 358 h 883"/>
                <a:gd name="T104" fmla="*/ 26 w 902"/>
                <a:gd name="T105" fmla="*/ 438 h 883"/>
                <a:gd name="T106" fmla="*/ 60 w 902"/>
                <a:gd name="T107" fmla="*/ 513 h 883"/>
                <a:gd name="T108" fmla="*/ 177 w 902"/>
                <a:gd name="T109" fmla="*/ 541 h 883"/>
                <a:gd name="T110" fmla="*/ 295 w 902"/>
                <a:gd name="T111" fmla="*/ 518 h 883"/>
                <a:gd name="T112" fmla="*/ 204 w 902"/>
                <a:gd name="T113" fmla="*/ 603 h 883"/>
                <a:gd name="T114" fmla="*/ 16 w 902"/>
                <a:gd name="T115" fmla="*/ 743 h 883"/>
                <a:gd name="T116" fmla="*/ 878 w 902"/>
                <a:gd name="T117" fmla="*/ 726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883">
                  <a:moveTo>
                    <a:pt x="872" y="853"/>
                  </a:moveTo>
                  <a:lnTo>
                    <a:pt x="468" y="853"/>
                  </a:lnTo>
                  <a:lnTo>
                    <a:pt x="470" y="847"/>
                  </a:lnTo>
                  <a:lnTo>
                    <a:pt x="474" y="839"/>
                  </a:lnTo>
                  <a:lnTo>
                    <a:pt x="477" y="833"/>
                  </a:lnTo>
                  <a:lnTo>
                    <a:pt x="482" y="825"/>
                  </a:lnTo>
                  <a:lnTo>
                    <a:pt x="494" y="812"/>
                  </a:lnTo>
                  <a:lnTo>
                    <a:pt x="508" y="801"/>
                  </a:lnTo>
                  <a:lnTo>
                    <a:pt x="523" y="789"/>
                  </a:lnTo>
                  <a:lnTo>
                    <a:pt x="541" y="778"/>
                  </a:lnTo>
                  <a:lnTo>
                    <a:pt x="559" y="767"/>
                  </a:lnTo>
                  <a:lnTo>
                    <a:pt x="579" y="756"/>
                  </a:lnTo>
                  <a:lnTo>
                    <a:pt x="599" y="744"/>
                  </a:lnTo>
                  <a:lnTo>
                    <a:pt x="619" y="732"/>
                  </a:lnTo>
                  <a:lnTo>
                    <a:pt x="640" y="719"/>
                  </a:lnTo>
                  <a:lnTo>
                    <a:pt x="657" y="705"/>
                  </a:lnTo>
                  <a:lnTo>
                    <a:pt x="666" y="699"/>
                  </a:lnTo>
                  <a:lnTo>
                    <a:pt x="673" y="691"/>
                  </a:lnTo>
                  <a:lnTo>
                    <a:pt x="681" y="683"/>
                  </a:lnTo>
                  <a:lnTo>
                    <a:pt x="687" y="675"/>
                  </a:lnTo>
                  <a:lnTo>
                    <a:pt x="692" y="667"/>
                  </a:lnTo>
                  <a:lnTo>
                    <a:pt x="698" y="658"/>
                  </a:lnTo>
                  <a:lnTo>
                    <a:pt x="701" y="650"/>
                  </a:lnTo>
                  <a:lnTo>
                    <a:pt x="704" y="640"/>
                  </a:lnTo>
                  <a:lnTo>
                    <a:pt x="738" y="656"/>
                  </a:lnTo>
                  <a:lnTo>
                    <a:pt x="771" y="673"/>
                  </a:lnTo>
                  <a:lnTo>
                    <a:pt x="786" y="682"/>
                  </a:lnTo>
                  <a:lnTo>
                    <a:pt x="800" y="691"/>
                  </a:lnTo>
                  <a:lnTo>
                    <a:pt x="812" y="701"/>
                  </a:lnTo>
                  <a:lnTo>
                    <a:pt x="824" y="711"/>
                  </a:lnTo>
                  <a:lnTo>
                    <a:pt x="835" y="720"/>
                  </a:lnTo>
                  <a:lnTo>
                    <a:pt x="845" y="731"/>
                  </a:lnTo>
                  <a:lnTo>
                    <a:pt x="852" y="743"/>
                  </a:lnTo>
                  <a:lnTo>
                    <a:pt x="860" y="755"/>
                  </a:lnTo>
                  <a:lnTo>
                    <a:pt x="865" y="767"/>
                  </a:lnTo>
                  <a:lnTo>
                    <a:pt x="869" y="780"/>
                  </a:lnTo>
                  <a:lnTo>
                    <a:pt x="871" y="794"/>
                  </a:lnTo>
                  <a:lnTo>
                    <a:pt x="872" y="808"/>
                  </a:lnTo>
                  <a:lnTo>
                    <a:pt x="872" y="853"/>
                  </a:lnTo>
                  <a:close/>
                  <a:moveTo>
                    <a:pt x="31" y="812"/>
                  </a:moveTo>
                  <a:lnTo>
                    <a:pt x="32" y="797"/>
                  </a:lnTo>
                  <a:lnTo>
                    <a:pt x="34" y="784"/>
                  </a:lnTo>
                  <a:lnTo>
                    <a:pt x="38" y="770"/>
                  </a:lnTo>
                  <a:lnTo>
                    <a:pt x="44" y="757"/>
                  </a:lnTo>
                  <a:lnTo>
                    <a:pt x="50" y="745"/>
                  </a:lnTo>
                  <a:lnTo>
                    <a:pt x="59" y="733"/>
                  </a:lnTo>
                  <a:lnTo>
                    <a:pt x="67" y="722"/>
                  </a:lnTo>
                  <a:lnTo>
                    <a:pt x="78" y="712"/>
                  </a:lnTo>
                  <a:lnTo>
                    <a:pt x="90" y="701"/>
                  </a:lnTo>
                  <a:lnTo>
                    <a:pt x="103" y="691"/>
                  </a:lnTo>
                  <a:lnTo>
                    <a:pt x="117" y="683"/>
                  </a:lnTo>
                  <a:lnTo>
                    <a:pt x="132" y="673"/>
                  </a:lnTo>
                  <a:lnTo>
                    <a:pt x="163" y="656"/>
                  </a:lnTo>
                  <a:lnTo>
                    <a:pt x="198" y="640"/>
                  </a:lnTo>
                  <a:lnTo>
                    <a:pt x="201" y="650"/>
                  </a:lnTo>
                  <a:lnTo>
                    <a:pt x="204" y="658"/>
                  </a:lnTo>
                  <a:lnTo>
                    <a:pt x="210" y="667"/>
                  </a:lnTo>
                  <a:lnTo>
                    <a:pt x="215" y="675"/>
                  </a:lnTo>
                  <a:lnTo>
                    <a:pt x="222" y="684"/>
                  </a:lnTo>
                  <a:lnTo>
                    <a:pt x="228" y="691"/>
                  </a:lnTo>
                  <a:lnTo>
                    <a:pt x="237" y="699"/>
                  </a:lnTo>
                  <a:lnTo>
                    <a:pt x="244" y="705"/>
                  </a:lnTo>
                  <a:lnTo>
                    <a:pt x="262" y="719"/>
                  </a:lnTo>
                  <a:lnTo>
                    <a:pt x="282" y="732"/>
                  </a:lnTo>
                  <a:lnTo>
                    <a:pt x="302" y="744"/>
                  </a:lnTo>
                  <a:lnTo>
                    <a:pt x="323" y="756"/>
                  </a:lnTo>
                  <a:lnTo>
                    <a:pt x="343" y="767"/>
                  </a:lnTo>
                  <a:lnTo>
                    <a:pt x="361" y="778"/>
                  </a:lnTo>
                  <a:lnTo>
                    <a:pt x="378" y="789"/>
                  </a:lnTo>
                  <a:lnTo>
                    <a:pt x="394" y="801"/>
                  </a:lnTo>
                  <a:lnTo>
                    <a:pt x="408" y="814"/>
                  </a:lnTo>
                  <a:lnTo>
                    <a:pt x="420" y="825"/>
                  </a:lnTo>
                  <a:lnTo>
                    <a:pt x="424" y="833"/>
                  </a:lnTo>
                  <a:lnTo>
                    <a:pt x="429" y="839"/>
                  </a:lnTo>
                  <a:lnTo>
                    <a:pt x="432" y="847"/>
                  </a:lnTo>
                  <a:lnTo>
                    <a:pt x="434" y="853"/>
                  </a:lnTo>
                  <a:lnTo>
                    <a:pt x="30" y="853"/>
                  </a:lnTo>
                  <a:lnTo>
                    <a:pt x="31" y="812"/>
                  </a:lnTo>
                  <a:close/>
                  <a:moveTo>
                    <a:pt x="281" y="604"/>
                  </a:moveTo>
                  <a:lnTo>
                    <a:pt x="299" y="597"/>
                  </a:lnTo>
                  <a:lnTo>
                    <a:pt x="318" y="588"/>
                  </a:lnTo>
                  <a:lnTo>
                    <a:pt x="336" y="581"/>
                  </a:lnTo>
                  <a:lnTo>
                    <a:pt x="356" y="572"/>
                  </a:lnTo>
                  <a:lnTo>
                    <a:pt x="378" y="586"/>
                  </a:lnTo>
                  <a:lnTo>
                    <a:pt x="401" y="598"/>
                  </a:lnTo>
                  <a:lnTo>
                    <a:pt x="423" y="609"/>
                  </a:lnTo>
                  <a:lnTo>
                    <a:pt x="446" y="617"/>
                  </a:lnTo>
                  <a:lnTo>
                    <a:pt x="449" y="617"/>
                  </a:lnTo>
                  <a:lnTo>
                    <a:pt x="451" y="618"/>
                  </a:lnTo>
                  <a:lnTo>
                    <a:pt x="453" y="617"/>
                  </a:lnTo>
                  <a:lnTo>
                    <a:pt x="455" y="617"/>
                  </a:lnTo>
                  <a:lnTo>
                    <a:pt x="478" y="609"/>
                  </a:lnTo>
                  <a:lnTo>
                    <a:pt x="501" y="598"/>
                  </a:lnTo>
                  <a:lnTo>
                    <a:pt x="524" y="586"/>
                  </a:lnTo>
                  <a:lnTo>
                    <a:pt x="547" y="572"/>
                  </a:lnTo>
                  <a:lnTo>
                    <a:pt x="566" y="581"/>
                  </a:lnTo>
                  <a:lnTo>
                    <a:pt x="585" y="589"/>
                  </a:lnTo>
                  <a:lnTo>
                    <a:pt x="604" y="597"/>
                  </a:lnTo>
                  <a:lnTo>
                    <a:pt x="624" y="606"/>
                  </a:lnTo>
                  <a:lnTo>
                    <a:pt x="637" y="611"/>
                  </a:lnTo>
                  <a:lnTo>
                    <a:pt x="649" y="616"/>
                  </a:lnTo>
                  <a:lnTo>
                    <a:pt x="662" y="622"/>
                  </a:lnTo>
                  <a:lnTo>
                    <a:pt x="675" y="627"/>
                  </a:lnTo>
                  <a:lnTo>
                    <a:pt x="674" y="635"/>
                  </a:lnTo>
                  <a:lnTo>
                    <a:pt x="671" y="642"/>
                  </a:lnTo>
                  <a:lnTo>
                    <a:pt x="668" y="650"/>
                  </a:lnTo>
                  <a:lnTo>
                    <a:pt x="663" y="657"/>
                  </a:lnTo>
                  <a:lnTo>
                    <a:pt x="658" y="663"/>
                  </a:lnTo>
                  <a:lnTo>
                    <a:pt x="652" y="670"/>
                  </a:lnTo>
                  <a:lnTo>
                    <a:pt x="645" y="676"/>
                  </a:lnTo>
                  <a:lnTo>
                    <a:pt x="638" y="683"/>
                  </a:lnTo>
                  <a:lnTo>
                    <a:pt x="622" y="696"/>
                  </a:lnTo>
                  <a:lnTo>
                    <a:pt x="603" y="706"/>
                  </a:lnTo>
                  <a:lnTo>
                    <a:pt x="584" y="718"/>
                  </a:lnTo>
                  <a:lnTo>
                    <a:pt x="564" y="730"/>
                  </a:lnTo>
                  <a:lnTo>
                    <a:pt x="530" y="749"/>
                  </a:lnTo>
                  <a:lnTo>
                    <a:pt x="499" y="770"/>
                  </a:lnTo>
                  <a:lnTo>
                    <a:pt x="485" y="780"/>
                  </a:lnTo>
                  <a:lnTo>
                    <a:pt x="471" y="792"/>
                  </a:lnTo>
                  <a:lnTo>
                    <a:pt x="461" y="805"/>
                  </a:lnTo>
                  <a:lnTo>
                    <a:pt x="451" y="818"/>
                  </a:lnTo>
                  <a:lnTo>
                    <a:pt x="441" y="805"/>
                  </a:lnTo>
                  <a:lnTo>
                    <a:pt x="430" y="792"/>
                  </a:lnTo>
                  <a:lnTo>
                    <a:pt x="417" y="780"/>
                  </a:lnTo>
                  <a:lnTo>
                    <a:pt x="403" y="770"/>
                  </a:lnTo>
                  <a:lnTo>
                    <a:pt x="372" y="749"/>
                  </a:lnTo>
                  <a:lnTo>
                    <a:pt x="338" y="730"/>
                  </a:lnTo>
                  <a:lnTo>
                    <a:pt x="318" y="718"/>
                  </a:lnTo>
                  <a:lnTo>
                    <a:pt x="299" y="707"/>
                  </a:lnTo>
                  <a:lnTo>
                    <a:pt x="281" y="696"/>
                  </a:lnTo>
                  <a:lnTo>
                    <a:pt x="265" y="683"/>
                  </a:lnTo>
                  <a:lnTo>
                    <a:pt x="257" y="676"/>
                  </a:lnTo>
                  <a:lnTo>
                    <a:pt x="251" y="670"/>
                  </a:lnTo>
                  <a:lnTo>
                    <a:pt x="244" y="663"/>
                  </a:lnTo>
                  <a:lnTo>
                    <a:pt x="239" y="657"/>
                  </a:lnTo>
                  <a:lnTo>
                    <a:pt x="234" y="650"/>
                  </a:lnTo>
                  <a:lnTo>
                    <a:pt x="230" y="642"/>
                  </a:lnTo>
                  <a:lnTo>
                    <a:pt x="228" y="635"/>
                  </a:lnTo>
                  <a:lnTo>
                    <a:pt x="226" y="627"/>
                  </a:lnTo>
                  <a:lnTo>
                    <a:pt x="240" y="622"/>
                  </a:lnTo>
                  <a:lnTo>
                    <a:pt x="253" y="616"/>
                  </a:lnTo>
                  <a:lnTo>
                    <a:pt x="267" y="610"/>
                  </a:lnTo>
                  <a:lnTo>
                    <a:pt x="281" y="604"/>
                  </a:lnTo>
                  <a:close/>
                  <a:moveTo>
                    <a:pt x="276" y="410"/>
                  </a:moveTo>
                  <a:lnTo>
                    <a:pt x="274" y="406"/>
                  </a:lnTo>
                  <a:lnTo>
                    <a:pt x="271" y="402"/>
                  </a:lnTo>
                  <a:lnTo>
                    <a:pt x="267" y="400"/>
                  </a:lnTo>
                  <a:lnTo>
                    <a:pt x="261" y="399"/>
                  </a:lnTo>
                  <a:lnTo>
                    <a:pt x="257" y="398"/>
                  </a:lnTo>
                  <a:lnTo>
                    <a:pt x="254" y="398"/>
                  </a:lnTo>
                  <a:lnTo>
                    <a:pt x="251" y="395"/>
                  </a:lnTo>
                  <a:lnTo>
                    <a:pt x="247" y="394"/>
                  </a:lnTo>
                  <a:lnTo>
                    <a:pt x="243" y="389"/>
                  </a:lnTo>
                  <a:lnTo>
                    <a:pt x="239" y="383"/>
                  </a:lnTo>
                  <a:lnTo>
                    <a:pt x="237" y="376"/>
                  </a:lnTo>
                  <a:lnTo>
                    <a:pt x="234" y="369"/>
                  </a:lnTo>
                  <a:lnTo>
                    <a:pt x="233" y="362"/>
                  </a:lnTo>
                  <a:lnTo>
                    <a:pt x="233" y="357"/>
                  </a:lnTo>
                  <a:lnTo>
                    <a:pt x="233" y="350"/>
                  </a:lnTo>
                  <a:lnTo>
                    <a:pt x="234" y="344"/>
                  </a:lnTo>
                  <a:lnTo>
                    <a:pt x="237" y="336"/>
                  </a:lnTo>
                  <a:lnTo>
                    <a:pt x="239" y="330"/>
                  </a:lnTo>
                  <a:lnTo>
                    <a:pt x="243" y="325"/>
                  </a:lnTo>
                  <a:lnTo>
                    <a:pt x="247" y="319"/>
                  </a:lnTo>
                  <a:lnTo>
                    <a:pt x="251" y="317"/>
                  </a:lnTo>
                  <a:lnTo>
                    <a:pt x="254" y="316"/>
                  </a:lnTo>
                  <a:lnTo>
                    <a:pt x="257" y="315"/>
                  </a:lnTo>
                  <a:lnTo>
                    <a:pt x="261" y="315"/>
                  </a:lnTo>
                  <a:lnTo>
                    <a:pt x="267" y="314"/>
                  </a:lnTo>
                  <a:lnTo>
                    <a:pt x="271" y="312"/>
                  </a:lnTo>
                  <a:lnTo>
                    <a:pt x="274" y="308"/>
                  </a:lnTo>
                  <a:lnTo>
                    <a:pt x="276" y="303"/>
                  </a:lnTo>
                  <a:lnTo>
                    <a:pt x="292" y="239"/>
                  </a:lnTo>
                  <a:lnTo>
                    <a:pt x="313" y="238"/>
                  </a:lnTo>
                  <a:lnTo>
                    <a:pt x="331" y="237"/>
                  </a:lnTo>
                  <a:lnTo>
                    <a:pt x="347" y="234"/>
                  </a:lnTo>
                  <a:lnTo>
                    <a:pt x="362" y="231"/>
                  </a:lnTo>
                  <a:lnTo>
                    <a:pt x="376" y="228"/>
                  </a:lnTo>
                  <a:lnTo>
                    <a:pt x="388" y="224"/>
                  </a:lnTo>
                  <a:lnTo>
                    <a:pt x="399" y="220"/>
                  </a:lnTo>
                  <a:lnTo>
                    <a:pt x="408" y="215"/>
                  </a:lnTo>
                  <a:lnTo>
                    <a:pt x="417" y="211"/>
                  </a:lnTo>
                  <a:lnTo>
                    <a:pt x="423" y="206"/>
                  </a:lnTo>
                  <a:lnTo>
                    <a:pt x="430" y="200"/>
                  </a:lnTo>
                  <a:lnTo>
                    <a:pt x="435" y="195"/>
                  </a:lnTo>
                  <a:lnTo>
                    <a:pt x="445" y="185"/>
                  </a:lnTo>
                  <a:lnTo>
                    <a:pt x="451" y="175"/>
                  </a:lnTo>
                  <a:lnTo>
                    <a:pt x="458" y="185"/>
                  </a:lnTo>
                  <a:lnTo>
                    <a:pt x="466" y="195"/>
                  </a:lnTo>
                  <a:lnTo>
                    <a:pt x="471" y="200"/>
                  </a:lnTo>
                  <a:lnTo>
                    <a:pt x="478" y="206"/>
                  </a:lnTo>
                  <a:lnTo>
                    <a:pt x="485" y="211"/>
                  </a:lnTo>
                  <a:lnTo>
                    <a:pt x="494" y="215"/>
                  </a:lnTo>
                  <a:lnTo>
                    <a:pt x="503" y="220"/>
                  </a:lnTo>
                  <a:lnTo>
                    <a:pt x="513" y="224"/>
                  </a:lnTo>
                  <a:lnTo>
                    <a:pt x="526" y="228"/>
                  </a:lnTo>
                  <a:lnTo>
                    <a:pt x="539" y="231"/>
                  </a:lnTo>
                  <a:lnTo>
                    <a:pt x="554" y="234"/>
                  </a:lnTo>
                  <a:lnTo>
                    <a:pt x="571" y="237"/>
                  </a:lnTo>
                  <a:lnTo>
                    <a:pt x="589" y="238"/>
                  </a:lnTo>
                  <a:lnTo>
                    <a:pt x="610" y="239"/>
                  </a:lnTo>
                  <a:lnTo>
                    <a:pt x="626" y="303"/>
                  </a:lnTo>
                  <a:lnTo>
                    <a:pt x="628" y="308"/>
                  </a:lnTo>
                  <a:lnTo>
                    <a:pt x="631" y="312"/>
                  </a:lnTo>
                  <a:lnTo>
                    <a:pt x="635" y="314"/>
                  </a:lnTo>
                  <a:lnTo>
                    <a:pt x="641" y="315"/>
                  </a:lnTo>
                  <a:lnTo>
                    <a:pt x="644" y="315"/>
                  </a:lnTo>
                  <a:lnTo>
                    <a:pt x="648" y="316"/>
                  </a:lnTo>
                  <a:lnTo>
                    <a:pt x="652" y="317"/>
                  </a:lnTo>
                  <a:lnTo>
                    <a:pt x="654" y="319"/>
                  </a:lnTo>
                  <a:lnTo>
                    <a:pt x="659" y="324"/>
                  </a:lnTo>
                  <a:lnTo>
                    <a:pt x="662" y="330"/>
                  </a:lnTo>
                  <a:lnTo>
                    <a:pt x="666" y="336"/>
                  </a:lnTo>
                  <a:lnTo>
                    <a:pt x="667" y="344"/>
                  </a:lnTo>
                  <a:lnTo>
                    <a:pt x="668" y="350"/>
                  </a:lnTo>
                  <a:lnTo>
                    <a:pt x="668" y="357"/>
                  </a:lnTo>
                  <a:lnTo>
                    <a:pt x="668" y="362"/>
                  </a:lnTo>
                  <a:lnTo>
                    <a:pt x="667" y="369"/>
                  </a:lnTo>
                  <a:lnTo>
                    <a:pt x="666" y="376"/>
                  </a:lnTo>
                  <a:lnTo>
                    <a:pt x="662" y="383"/>
                  </a:lnTo>
                  <a:lnTo>
                    <a:pt x="659" y="389"/>
                  </a:lnTo>
                  <a:lnTo>
                    <a:pt x="654" y="394"/>
                  </a:lnTo>
                  <a:lnTo>
                    <a:pt x="652" y="395"/>
                  </a:lnTo>
                  <a:lnTo>
                    <a:pt x="648" y="398"/>
                  </a:lnTo>
                  <a:lnTo>
                    <a:pt x="644" y="398"/>
                  </a:lnTo>
                  <a:lnTo>
                    <a:pt x="641" y="399"/>
                  </a:lnTo>
                  <a:lnTo>
                    <a:pt x="635" y="400"/>
                  </a:lnTo>
                  <a:lnTo>
                    <a:pt x="631" y="402"/>
                  </a:lnTo>
                  <a:lnTo>
                    <a:pt x="628" y="406"/>
                  </a:lnTo>
                  <a:lnTo>
                    <a:pt x="626" y="412"/>
                  </a:lnTo>
                  <a:lnTo>
                    <a:pt x="624" y="421"/>
                  </a:lnTo>
                  <a:lnTo>
                    <a:pt x="620" y="432"/>
                  </a:lnTo>
                  <a:lnTo>
                    <a:pt x="618" y="442"/>
                  </a:lnTo>
                  <a:lnTo>
                    <a:pt x="614" y="450"/>
                  </a:lnTo>
                  <a:lnTo>
                    <a:pt x="605" y="468"/>
                  </a:lnTo>
                  <a:lnTo>
                    <a:pt x="596" y="484"/>
                  </a:lnTo>
                  <a:lnTo>
                    <a:pt x="584" y="499"/>
                  </a:lnTo>
                  <a:lnTo>
                    <a:pt x="571" y="513"/>
                  </a:lnTo>
                  <a:lnTo>
                    <a:pt x="558" y="525"/>
                  </a:lnTo>
                  <a:lnTo>
                    <a:pt x="544" y="537"/>
                  </a:lnTo>
                  <a:lnTo>
                    <a:pt x="530" y="547"/>
                  </a:lnTo>
                  <a:lnTo>
                    <a:pt x="516" y="555"/>
                  </a:lnTo>
                  <a:lnTo>
                    <a:pt x="503" y="564"/>
                  </a:lnTo>
                  <a:lnTo>
                    <a:pt x="491" y="570"/>
                  </a:lnTo>
                  <a:lnTo>
                    <a:pt x="467" y="581"/>
                  </a:lnTo>
                  <a:lnTo>
                    <a:pt x="451" y="587"/>
                  </a:lnTo>
                  <a:lnTo>
                    <a:pt x="434" y="581"/>
                  </a:lnTo>
                  <a:lnTo>
                    <a:pt x="411" y="570"/>
                  </a:lnTo>
                  <a:lnTo>
                    <a:pt x="399" y="564"/>
                  </a:lnTo>
                  <a:lnTo>
                    <a:pt x="386" y="555"/>
                  </a:lnTo>
                  <a:lnTo>
                    <a:pt x="372" y="547"/>
                  </a:lnTo>
                  <a:lnTo>
                    <a:pt x="358" y="537"/>
                  </a:lnTo>
                  <a:lnTo>
                    <a:pt x="344" y="525"/>
                  </a:lnTo>
                  <a:lnTo>
                    <a:pt x="331" y="513"/>
                  </a:lnTo>
                  <a:lnTo>
                    <a:pt x="318" y="499"/>
                  </a:lnTo>
                  <a:lnTo>
                    <a:pt x="306" y="484"/>
                  </a:lnTo>
                  <a:lnTo>
                    <a:pt x="297" y="468"/>
                  </a:lnTo>
                  <a:lnTo>
                    <a:pt x="288" y="450"/>
                  </a:lnTo>
                  <a:lnTo>
                    <a:pt x="284" y="442"/>
                  </a:lnTo>
                  <a:lnTo>
                    <a:pt x="281" y="432"/>
                  </a:lnTo>
                  <a:lnTo>
                    <a:pt x="278" y="421"/>
                  </a:lnTo>
                  <a:lnTo>
                    <a:pt x="276" y="410"/>
                  </a:lnTo>
                  <a:close/>
                  <a:moveTo>
                    <a:pt x="170" y="512"/>
                  </a:moveTo>
                  <a:lnTo>
                    <a:pt x="156" y="514"/>
                  </a:lnTo>
                  <a:lnTo>
                    <a:pt x="141" y="514"/>
                  </a:lnTo>
                  <a:lnTo>
                    <a:pt x="133" y="513"/>
                  </a:lnTo>
                  <a:lnTo>
                    <a:pt x="125" y="512"/>
                  </a:lnTo>
                  <a:lnTo>
                    <a:pt x="118" y="510"/>
                  </a:lnTo>
                  <a:lnTo>
                    <a:pt x="110" y="508"/>
                  </a:lnTo>
                  <a:lnTo>
                    <a:pt x="103" y="505"/>
                  </a:lnTo>
                  <a:lnTo>
                    <a:pt x="95" y="502"/>
                  </a:lnTo>
                  <a:lnTo>
                    <a:pt x="89" y="497"/>
                  </a:lnTo>
                  <a:lnTo>
                    <a:pt x="81" y="492"/>
                  </a:lnTo>
                  <a:lnTo>
                    <a:pt x="75" y="485"/>
                  </a:lnTo>
                  <a:lnTo>
                    <a:pt x="68" y="479"/>
                  </a:lnTo>
                  <a:lnTo>
                    <a:pt x="62" y="472"/>
                  </a:lnTo>
                  <a:lnTo>
                    <a:pt x="57" y="463"/>
                  </a:lnTo>
                  <a:lnTo>
                    <a:pt x="67" y="460"/>
                  </a:lnTo>
                  <a:lnTo>
                    <a:pt x="77" y="453"/>
                  </a:lnTo>
                  <a:lnTo>
                    <a:pt x="87" y="447"/>
                  </a:lnTo>
                  <a:lnTo>
                    <a:pt x="95" y="438"/>
                  </a:lnTo>
                  <a:lnTo>
                    <a:pt x="103" y="429"/>
                  </a:lnTo>
                  <a:lnTo>
                    <a:pt x="109" y="418"/>
                  </a:lnTo>
                  <a:lnTo>
                    <a:pt x="115" y="406"/>
                  </a:lnTo>
                  <a:lnTo>
                    <a:pt x="122" y="393"/>
                  </a:lnTo>
                  <a:lnTo>
                    <a:pt x="133" y="365"/>
                  </a:lnTo>
                  <a:lnTo>
                    <a:pt x="141" y="335"/>
                  </a:lnTo>
                  <a:lnTo>
                    <a:pt x="150" y="302"/>
                  </a:lnTo>
                  <a:lnTo>
                    <a:pt x="157" y="269"/>
                  </a:lnTo>
                  <a:lnTo>
                    <a:pt x="166" y="234"/>
                  </a:lnTo>
                  <a:lnTo>
                    <a:pt x="174" y="199"/>
                  </a:lnTo>
                  <a:lnTo>
                    <a:pt x="180" y="181"/>
                  </a:lnTo>
                  <a:lnTo>
                    <a:pt x="185" y="165"/>
                  </a:lnTo>
                  <a:lnTo>
                    <a:pt x="191" y="148"/>
                  </a:lnTo>
                  <a:lnTo>
                    <a:pt x="197" y="132"/>
                  </a:lnTo>
                  <a:lnTo>
                    <a:pt x="203" y="117"/>
                  </a:lnTo>
                  <a:lnTo>
                    <a:pt x="211" y="103"/>
                  </a:lnTo>
                  <a:lnTo>
                    <a:pt x="218" y="89"/>
                  </a:lnTo>
                  <a:lnTo>
                    <a:pt x="227" y="77"/>
                  </a:lnTo>
                  <a:lnTo>
                    <a:pt x="237" y="66"/>
                  </a:lnTo>
                  <a:lnTo>
                    <a:pt x="247" y="56"/>
                  </a:lnTo>
                  <a:lnTo>
                    <a:pt x="258" y="48"/>
                  </a:lnTo>
                  <a:lnTo>
                    <a:pt x="271" y="41"/>
                  </a:lnTo>
                  <a:lnTo>
                    <a:pt x="278" y="37"/>
                  </a:lnTo>
                  <a:lnTo>
                    <a:pt x="287" y="35"/>
                  </a:lnTo>
                  <a:lnTo>
                    <a:pt x="296" y="33"/>
                  </a:lnTo>
                  <a:lnTo>
                    <a:pt x="305" y="31"/>
                  </a:lnTo>
                  <a:lnTo>
                    <a:pt x="315" y="31"/>
                  </a:lnTo>
                  <a:lnTo>
                    <a:pt x="325" y="31"/>
                  </a:lnTo>
                  <a:lnTo>
                    <a:pt x="334" y="31"/>
                  </a:lnTo>
                  <a:lnTo>
                    <a:pt x="345" y="32"/>
                  </a:lnTo>
                  <a:lnTo>
                    <a:pt x="357" y="34"/>
                  </a:lnTo>
                  <a:lnTo>
                    <a:pt x="367" y="37"/>
                  </a:lnTo>
                  <a:lnTo>
                    <a:pt x="379" y="41"/>
                  </a:lnTo>
                  <a:lnTo>
                    <a:pt x="391" y="44"/>
                  </a:lnTo>
                  <a:lnTo>
                    <a:pt x="417" y="55"/>
                  </a:lnTo>
                  <a:lnTo>
                    <a:pt x="445" y="66"/>
                  </a:lnTo>
                  <a:lnTo>
                    <a:pt x="448" y="67"/>
                  </a:lnTo>
                  <a:lnTo>
                    <a:pt x="451" y="68"/>
                  </a:lnTo>
                  <a:lnTo>
                    <a:pt x="454" y="67"/>
                  </a:lnTo>
                  <a:lnTo>
                    <a:pt x="458" y="66"/>
                  </a:lnTo>
                  <a:lnTo>
                    <a:pt x="484" y="53"/>
                  </a:lnTo>
                  <a:lnTo>
                    <a:pt x="510" y="44"/>
                  </a:lnTo>
                  <a:lnTo>
                    <a:pt x="522" y="41"/>
                  </a:lnTo>
                  <a:lnTo>
                    <a:pt x="534" y="36"/>
                  </a:lnTo>
                  <a:lnTo>
                    <a:pt x="545" y="34"/>
                  </a:lnTo>
                  <a:lnTo>
                    <a:pt x="556" y="32"/>
                  </a:lnTo>
                  <a:lnTo>
                    <a:pt x="567" y="31"/>
                  </a:lnTo>
                  <a:lnTo>
                    <a:pt x="578" y="31"/>
                  </a:lnTo>
                  <a:lnTo>
                    <a:pt x="587" y="31"/>
                  </a:lnTo>
                  <a:lnTo>
                    <a:pt x="597" y="31"/>
                  </a:lnTo>
                  <a:lnTo>
                    <a:pt x="605" y="33"/>
                  </a:lnTo>
                  <a:lnTo>
                    <a:pt x="615" y="35"/>
                  </a:lnTo>
                  <a:lnTo>
                    <a:pt x="623" y="37"/>
                  </a:lnTo>
                  <a:lnTo>
                    <a:pt x="631" y="41"/>
                  </a:lnTo>
                  <a:lnTo>
                    <a:pt x="643" y="48"/>
                  </a:lnTo>
                  <a:lnTo>
                    <a:pt x="655" y="56"/>
                  </a:lnTo>
                  <a:lnTo>
                    <a:pt x="664" y="66"/>
                  </a:lnTo>
                  <a:lnTo>
                    <a:pt x="674" y="77"/>
                  </a:lnTo>
                  <a:lnTo>
                    <a:pt x="683" y="89"/>
                  </a:lnTo>
                  <a:lnTo>
                    <a:pt x="691" y="103"/>
                  </a:lnTo>
                  <a:lnTo>
                    <a:pt x="699" y="117"/>
                  </a:lnTo>
                  <a:lnTo>
                    <a:pt x="705" y="132"/>
                  </a:lnTo>
                  <a:lnTo>
                    <a:pt x="712" y="148"/>
                  </a:lnTo>
                  <a:lnTo>
                    <a:pt x="717" y="165"/>
                  </a:lnTo>
                  <a:lnTo>
                    <a:pt x="722" y="181"/>
                  </a:lnTo>
                  <a:lnTo>
                    <a:pt x="727" y="199"/>
                  </a:lnTo>
                  <a:lnTo>
                    <a:pt x="736" y="234"/>
                  </a:lnTo>
                  <a:lnTo>
                    <a:pt x="744" y="269"/>
                  </a:lnTo>
                  <a:lnTo>
                    <a:pt x="752" y="302"/>
                  </a:lnTo>
                  <a:lnTo>
                    <a:pt x="760" y="335"/>
                  </a:lnTo>
                  <a:lnTo>
                    <a:pt x="770" y="365"/>
                  </a:lnTo>
                  <a:lnTo>
                    <a:pt x="780" y="393"/>
                  </a:lnTo>
                  <a:lnTo>
                    <a:pt x="786" y="406"/>
                  </a:lnTo>
                  <a:lnTo>
                    <a:pt x="792" y="418"/>
                  </a:lnTo>
                  <a:lnTo>
                    <a:pt x="800" y="429"/>
                  </a:lnTo>
                  <a:lnTo>
                    <a:pt x="807" y="438"/>
                  </a:lnTo>
                  <a:lnTo>
                    <a:pt x="816" y="447"/>
                  </a:lnTo>
                  <a:lnTo>
                    <a:pt x="824" y="453"/>
                  </a:lnTo>
                  <a:lnTo>
                    <a:pt x="834" y="460"/>
                  </a:lnTo>
                  <a:lnTo>
                    <a:pt x="845" y="463"/>
                  </a:lnTo>
                  <a:lnTo>
                    <a:pt x="839" y="472"/>
                  </a:lnTo>
                  <a:lnTo>
                    <a:pt x="834" y="479"/>
                  </a:lnTo>
                  <a:lnTo>
                    <a:pt x="827" y="485"/>
                  </a:lnTo>
                  <a:lnTo>
                    <a:pt x="821" y="492"/>
                  </a:lnTo>
                  <a:lnTo>
                    <a:pt x="813" y="497"/>
                  </a:lnTo>
                  <a:lnTo>
                    <a:pt x="806" y="502"/>
                  </a:lnTo>
                  <a:lnTo>
                    <a:pt x="800" y="505"/>
                  </a:lnTo>
                  <a:lnTo>
                    <a:pt x="792" y="508"/>
                  </a:lnTo>
                  <a:lnTo>
                    <a:pt x="785" y="510"/>
                  </a:lnTo>
                  <a:lnTo>
                    <a:pt x="776" y="512"/>
                  </a:lnTo>
                  <a:lnTo>
                    <a:pt x="768" y="513"/>
                  </a:lnTo>
                  <a:lnTo>
                    <a:pt x="761" y="514"/>
                  </a:lnTo>
                  <a:lnTo>
                    <a:pt x="746" y="514"/>
                  </a:lnTo>
                  <a:lnTo>
                    <a:pt x="732" y="512"/>
                  </a:lnTo>
                  <a:lnTo>
                    <a:pt x="717" y="508"/>
                  </a:lnTo>
                  <a:lnTo>
                    <a:pt x="702" y="502"/>
                  </a:lnTo>
                  <a:lnTo>
                    <a:pt x="696" y="498"/>
                  </a:lnTo>
                  <a:lnTo>
                    <a:pt x="689" y="494"/>
                  </a:lnTo>
                  <a:lnTo>
                    <a:pt x="683" y="490"/>
                  </a:lnTo>
                  <a:lnTo>
                    <a:pt x="677" y="484"/>
                  </a:lnTo>
                  <a:lnTo>
                    <a:pt x="672" y="479"/>
                  </a:lnTo>
                  <a:lnTo>
                    <a:pt x="667" y="474"/>
                  </a:lnTo>
                  <a:lnTo>
                    <a:pt x="662" y="467"/>
                  </a:lnTo>
                  <a:lnTo>
                    <a:pt x="659" y="461"/>
                  </a:lnTo>
                  <a:lnTo>
                    <a:pt x="656" y="454"/>
                  </a:lnTo>
                  <a:lnTo>
                    <a:pt x="654" y="447"/>
                  </a:lnTo>
                  <a:lnTo>
                    <a:pt x="653" y="440"/>
                  </a:lnTo>
                  <a:lnTo>
                    <a:pt x="652" y="432"/>
                  </a:lnTo>
                  <a:lnTo>
                    <a:pt x="652" y="432"/>
                  </a:lnTo>
                  <a:lnTo>
                    <a:pt x="652" y="432"/>
                  </a:lnTo>
                  <a:lnTo>
                    <a:pt x="653" y="430"/>
                  </a:lnTo>
                  <a:lnTo>
                    <a:pt x="653" y="427"/>
                  </a:lnTo>
                  <a:lnTo>
                    <a:pt x="659" y="425"/>
                  </a:lnTo>
                  <a:lnTo>
                    <a:pt x="663" y="423"/>
                  </a:lnTo>
                  <a:lnTo>
                    <a:pt x="669" y="420"/>
                  </a:lnTo>
                  <a:lnTo>
                    <a:pt x="673" y="417"/>
                  </a:lnTo>
                  <a:lnTo>
                    <a:pt x="681" y="409"/>
                  </a:lnTo>
                  <a:lnTo>
                    <a:pt x="687" y="401"/>
                  </a:lnTo>
                  <a:lnTo>
                    <a:pt x="691" y="391"/>
                  </a:lnTo>
                  <a:lnTo>
                    <a:pt x="696" y="379"/>
                  </a:lnTo>
                  <a:lnTo>
                    <a:pt x="698" y="369"/>
                  </a:lnTo>
                  <a:lnTo>
                    <a:pt x="699" y="357"/>
                  </a:lnTo>
                  <a:lnTo>
                    <a:pt x="698" y="345"/>
                  </a:lnTo>
                  <a:lnTo>
                    <a:pt x="696" y="333"/>
                  </a:lnTo>
                  <a:lnTo>
                    <a:pt x="691" y="323"/>
                  </a:lnTo>
                  <a:lnTo>
                    <a:pt x="687" y="312"/>
                  </a:lnTo>
                  <a:lnTo>
                    <a:pt x="681" y="303"/>
                  </a:lnTo>
                  <a:lnTo>
                    <a:pt x="672" y="296"/>
                  </a:lnTo>
                  <a:lnTo>
                    <a:pt x="668" y="293"/>
                  </a:lnTo>
                  <a:lnTo>
                    <a:pt x="663" y="289"/>
                  </a:lnTo>
                  <a:lnTo>
                    <a:pt x="658" y="287"/>
                  </a:lnTo>
                  <a:lnTo>
                    <a:pt x="653" y="286"/>
                  </a:lnTo>
                  <a:lnTo>
                    <a:pt x="637" y="220"/>
                  </a:lnTo>
                  <a:lnTo>
                    <a:pt x="634" y="215"/>
                  </a:lnTo>
                  <a:lnTo>
                    <a:pt x="631" y="212"/>
                  </a:lnTo>
                  <a:lnTo>
                    <a:pt x="627" y="210"/>
                  </a:lnTo>
                  <a:lnTo>
                    <a:pt x="622" y="209"/>
                  </a:lnTo>
                  <a:lnTo>
                    <a:pt x="601" y="208"/>
                  </a:lnTo>
                  <a:lnTo>
                    <a:pt x="583" y="207"/>
                  </a:lnTo>
                  <a:lnTo>
                    <a:pt x="566" y="206"/>
                  </a:lnTo>
                  <a:lnTo>
                    <a:pt x="552" y="204"/>
                  </a:lnTo>
                  <a:lnTo>
                    <a:pt x="539" y="200"/>
                  </a:lnTo>
                  <a:lnTo>
                    <a:pt x="527" y="197"/>
                  </a:lnTo>
                  <a:lnTo>
                    <a:pt x="518" y="194"/>
                  </a:lnTo>
                  <a:lnTo>
                    <a:pt x="509" y="190"/>
                  </a:lnTo>
                  <a:lnTo>
                    <a:pt x="501" y="185"/>
                  </a:lnTo>
                  <a:lnTo>
                    <a:pt x="495" y="181"/>
                  </a:lnTo>
                  <a:lnTo>
                    <a:pt x="491" y="177"/>
                  </a:lnTo>
                  <a:lnTo>
                    <a:pt x="485" y="171"/>
                  </a:lnTo>
                  <a:lnTo>
                    <a:pt x="479" y="163"/>
                  </a:lnTo>
                  <a:lnTo>
                    <a:pt x="474" y="154"/>
                  </a:lnTo>
                  <a:lnTo>
                    <a:pt x="468" y="145"/>
                  </a:lnTo>
                  <a:lnTo>
                    <a:pt x="462" y="137"/>
                  </a:lnTo>
                  <a:lnTo>
                    <a:pt x="460" y="135"/>
                  </a:lnTo>
                  <a:lnTo>
                    <a:pt x="456" y="134"/>
                  </a:lnTo>
                  <a:lnTo>
                    <a:pt x="454" y="133"/>
                  </a:lnTo>
                  <a:lnTo>
                    <a:pt x="451" y="133"/>
                  </a:lnTo>
                  <a:lnTo>
                    <a:pt x="448" y="133"/>
                  </a:lnTo>
                  <a:lnTo>
                    <a:pt x="446" y="134"/>
                  </a:lnTo>
                  <a:lnTo>
                    <a:pt x="443" y="135"/>
                  </a:lnTo>
                  <a:lnTo>
                    <a:pt x="440" y="137"/>
                  </a:lnTo>
                  <a:lnTo>
                    <a:pt x="434" y="145"/>
                  </a:lnTo>
                  <a:lnTo>
                    <a:pt x="429" y="154"/>
                  </a:lnTo>
                  <a:lnTo>
                    <a:pt x="423" y="163"/>
                  </a:lnTo>
                  <a:lnTo>
                    <a:pt x="416" y="171"/>
                  </a:lnTo>
                  <a:lnTo>
                    <a:pt x="411" y="177"/>
                  </a:lnTo>
                  <a:lnTo>
                    <a:pt x="406" y="181"/>
                  </a:lnTo>
                  <a:lnTo>
                    <a:pt x="400" y="185"/>
                  </a:lnTo>
                  <a:lnTo>
                    <a:pt x="393" y="190"/>
                  </a:lnTo>
                  <a:lnTo>
                    <a:pt x="385" y="194"/>
                  </a:lnTo>
                  <a:lnTo>
                    <a:pt x="374" y="197"/>
                  </a:lnTo>
                  <a:lnTo>
                    <a:pt x="363" y="200"/>
                  </a:lnTo>
                  <a:lnTo>
                    <a:pt x="350" y="204"/>
                  </a:lnTo>
                  <a:lnTo>
                    <a:pt x="335" y="206"/>
                  </a:lnTo>
                  <a:lnTo>
                    <a:pt x="319" y="207"/>
                  </a:lnTo>
                  <a:lnTo>
                    <a:pt x="301" y="208"/>
                  </a:lnTo>
                  <a:lnTo>
                    <a:pt x="281" y="209"/>
                  </a:lnTo>
                  <a:lnTo>
                    <a:pt x="275" y="210"/>
                  </a:lnTo>
                  <a:lnTo>
                    <a:pt x="271" y="212"/>
                  </a:lnTo>
                  <a:lnTo>
                    <a:pt x="268" y="215"/>
                  </a:lnTo>
                  <a:lnTo>
                    <a:pt x="266" y="220"/>
                  </a:lnTo>
                  <a:lnTo>
                    <a:pt x="250" y="286"/>
                  </a:lnTo>
                  <a:lnTo>
                    <a:pt x="240" y="289"/>
                  </a:lnTo>
                  <a:lnTo>
                    <a:pt x="231" y="294"/>
                  </a:lnTo>
                  <a:lnTo>
                    <a:pt x="224" y="301"/>
                  </a:lnTo>
                  <a:lnTo>
                    <a:pt x="216" y="309"/>
                  </a:lnTo>
                  <a:lnTo>
                    <a:pt x="211" y="319"/>
                  </a:lnTo>
                  <a:lnTo>
                    <a:pt x="207" y="331"/>
                  </a:lnTo>
                  <a:lnTo>
                    <a:pt x="204" y="343"/>
                  </a:lnTo>
                  <a:lnTo>
                    <a:pt x="203" y="357"/>
                  </a:lnTo>
                  <a:lnTo>
                    <a:pt x="204" y="369"/>
                  </a:lnTo>
                  <a:lnTo>
                    <a:pt x="207" y="379"/>
                  </a:lnTo>
                  <a:lnTo>
                    <a:pt x="210" y="391"/>
                  </a:lnTo>
                  <a:lnTo>
                    <a:pt x="215" y="401"/>
                  </a:lnTo>
                  <a:lnTo>
                    <a:pt x="222" y="409"/>
                  </a:lnTo>
                  <a:lnTo>
                    <a:pt x="229" y="417"/>
                  </a:lnTo>
                  <a:lnTo>
                    <a:pt x="233" y="420"/>
                  </a:lnTo>
                  <a:lnTo>
                    <a:pt x="238" y="423"/>
                  </a:lnTo>
                  <a:lnTo>
                    <a:pt x="243" y="425"/>
                  </a:lnTo>
                  <a:lnTo>
                    <a:pt x="248" y="427"/>
                  </a:lnTo>
                  <a:lnTo>
                    <a:pt x="250" y="430"/>
                  </a:lnTo>
                  <a:lnTo>
                    <a:pt x="251" y="433"/>
                  </a:lnTo>
                  <a:lnTo>
                    <a:pt x="250" y="440"/>
                  </a:lnTo>
                  <a:lnTo>
                    <a:pt x="248" y="448"/>
                  </a:lnTo>
                  <a:lnTo>
                    <a:pt x="246" y="455"/>
                  </a:lnTo>
                  <a:lnTo>
                    <a:pt x="243" y="462"/>
                  </a:lnTo>
                  <a:lnTo>
                    <a:pt x="240" y="468"/>
                  </a:lnTo>
                  <a:lnTo>
                    <a:pt x="236" y="474"/>
                  </a:lnTo>
                  <a:lnTo>
                    <a:pt x="230" y="480"/>
                  </a:lnTo>
                  <a:lnTo>
                    <a:pt x="225" y="485"/>
                  </a:lnTo>
                  <a:lnTo>
                    <a:pt x="219" y="490"/>
                  </a:lnTo>
                  <a:lnTo>
                    <a:pt x="213" y="494"/>
                  </a:lnTo>
                  <a:lnTo>
                    <a:pt x="207" y="498"/>
                  </a:lnTo>
                  <a:lnTo>
                    <a:pt x="199" y="502"/>
                  </a:lnTo>
                  <a:lnTo>
                    <a:pt x="185" y="508"/>
                  </a:lnTo>
                  <a:lnTo>
                    <a:pt x="170" y="512"/>
                  </a:lnTo>
                  <a:close/>
                  <a:moveTo>
                    <a:pt x="698" y="603"/>
                  </a:moveTo>
                  <a:lnTo>
                    <a:pt x="698" y="603"/>
                  </a:lnTo>
                  <a:lnTo>
                    <a:pt x="697" y="603"/>
                  </a:lnTo>
                  <a:lnTo>
                    <a:pt x="682" y="597"/>
                  </a:lnTo>
                  <a:lnTo>
                    <a:pt x="667" y="591"/>
                  </a:lnTo>
                  <a:lnTo>
                    <a:pt x="651" y="584"/>
                  </a:lnTo>
                  <a:lnTo>
                    <a:pt x="634" y="578"/>
                  </a:lnTo>
                  <a:lnTo>
                    <a:pt x="619" y="571"/>
                  </a:lnTo>
                  <a:lnTo>
                    <a:pt x="604" y="565"/>
                  </a:lnTo>
                  <a:lnTo>
                    <a:pt x="589" y="558"/>
                  </a:lnTo>
                  <a:lnTo>
                    <a:pt x="573" y="552"/>
                  </a:lnTo>
                  <a:lnTo>
                    <a:pt x="592" y="536"/>
                  </a:lnTo>
                  <a:lnTo>
                    <a:pt x="608" y="518"/>
                  </a:lnTo>
                  <a:lnTo>
                    <a:pt x="615" y="508"/>
                  </a:lnTo>
                  <a:lnTo>
                    <a:pt x="622" y="498"/>
                  </a:lnTo>
                  <a:lnTo>
                    <a:pt x="628" y="489"/>
                  </a:lnTo>
                  <a:lnTo>
                    <a:pt x="634" y="478"/>
                  </a:lnTo>
                  <a:lnTo>
                    <a:pt x="641" y="490"/>
                  </a:lnTo>
                  <a:lnTo>
                    <a:pt x="649" y="499"/>
                  </a:lnTo>
                  <a:lnTo>
                    <a:pt x="660" y="509"/>
                  </a:lnTo>
                  <a:lnTo>
                    <a:pt x="671" y="518"/>
                  </a:lnTo>
                  <a:lnTo>
                    <a:pt x="683" y="526"/>
                  </a:lnTo>
                  <a:lnTo>
                    <a:pt x="697" y="533"/>
                  </a:lnTo>
                  <a:lnTo>
                    <a:pt x="711" y="538"/>
                  </a:lnTo>
                  <a:lnTo>
                    <a:pt x="726" y="541"/>
                  </a:lnTo>
                  <a:lnTo>
                    <a:pt x="736" y="543"/>
                  </a:lnTo>
                  <a:lnTo>
                    <a:pt x="746" y="544"/>
                  </a:lnTo>
                  <a:lnTo>
                    <a:pt x="757" y="544"/>
                  </a:lnTo>
                  <a:lnTo>
                    <a:pt x="767" y="544"/>
                  </a:lnTo>
                  <a:lnTo>
                    <a:pt x="779" y="542"/>
                  </a:lnTo>
                  <a:lnTo>
                    <a:pt x="790" y="540"/>
                  </a:lnTo>
                  <a:lnTo>
                    <a:pt x="801" y="537"/>
                  </a:lnTo>
                  <a:lnTo>
                    <a:pt x="811" y="533"/>
                  </a:lnTo>
                  <a:lnTo>
                    <a:pt x="822" y="527"/>
                  </a:lnTo>
                  <a:lnTo>
                    <a:pt x="832" y="522"/>
                  </a:lnTo>
                  <a:lnTo>
                    <a:pt x="841" y="514"/>
                  </a:lnTo>
                  <a:lnTo>
                    <a:pt x="851" y="505"/>
                  </a:lnTo>
                  <a:lnTo>
                    <a:pt x="860" y="495"/>
                  </a:lnTo>
                  <a:lnTo>
                    <a:pt x="868" y="484"/>
                  </a:lnTo>
                  <a:lnTo>
                    <a:pt x="876" y="472"/>
                  </a:lnTo>
                  <a:lnTo>
                    <a:pt x="882" y="458"/>
                  </a:lnTo>
                  <a:lnTo>
                    <a:pt x="883" y="453"/>
                  </a:lnTo>
                  <a:lnTo>
                    <a:pt x="883" y="450"/>
                  </a:lnTo>
                  <a:lnTo>
                    <a:pt x="882" y="447"/>
                  </a:lnTo>
                  <a:lnTo>
                    <a:pt x="881" y="443"/>
                  </a:lnTo>
                  <a:lnTo>
                    <a:pt x="878" y="440"/>
                  </a:lnTo>
                  <a:lnTo>
                    <a:pt x="876" y="438"/>
                  </a:lnTo>
                  <a:lnTo>
                    <a:pt x="871" y="437"/>
                  </a:lnTo>
                  <a:lnTo>
                    <a:pt x="868" y="436"/>
                  </a:lnTo>
                  <a:lnTo>
                    <a:pt x="859" y="435"/>
                  </a:lnTo>
                  <a:lnTo>
                    <a:pt x="849" y="433"/>
                  </a:lnTo>
                  <a:lnTo>
                    <a:pt x="841" y="429"/>
                  </a:lnTo>
                  <a:lnTo>
                    <a:pt x="834" y="422"/>
                  </a:lnTo>
                  <a:lnTo>
                    <a:pt x="826" y="415"/>
                  </a:lnTo>
                  <a:lnTo>
                    <a:pt x="820" y="406"/>
                  </a:lnTo>
                  <a:lnTo>
                    <a:pt x="813" y="395"/>
                  </a:lnTo>
                  <a:lnTo>
                    <a:pt x="808" y="384"/>
                  </a:lnTo>
                  <a:lnTo>
                    <a:pt x="804" y="372"/>
                  </a:lnTo>
                  <a:lnTo>
                    <a:pt x="798" y="358"/>
                  </a:lnTo>
                  <a:lnTo>
                    <a:pt x="794" y="344"/>
                  </a:lnTo>
                  <a:lnTo>
                    <a:pt x="790" y="329"/>
                  </a:lnTo>
                  <a:lnTo>
                    <a:pt x="781" y="297"/>
                  </a:lnTo>
                  <a:lnTo>
                    <a:pt x="774" y="261"/>
                  </a:lnTo>
                  <a:lnTo>
                    <a:pt x="764" y="225"/>
                  </a:lnTo>
                  <a:lnTo>
                    <a:pt x="755" y="186"/>
                  </a:lnTo>
                  <a:lnTo>
                    <a:pt x="749" y="168"/>
                  </a:lnTo>
                  <a:lnTo>
                    <a:pt x="744" y="150"/>
                  </a:lnTo>
                  <a:lnTo>
                    <a:pt x="737" y="133"/>
                  </a:lnTo>
                  <a:lnTo>
                    <a:pt x="731" y="115"/>
                  </a:lnTo>
                  <a:lnTo>
                    <a:pt x="722" y="98"/>
                  </a:lnTo>
                  <a:lnTo>
                    <a:pt x="715" y="82"/>
                  </a:lnTo>
                  <a:lnTo>
                    <a:pt x="705" y="68"/>
                  </a:lnTo>
                  <a:lnTo>
                    <a:pt x="696" y="55"/>
                  </a:lnTo>
                  <a:lnTo>
                    <a:pt x="684" y="43"/>
                  </a:lnTo>
                  <a:lnTo>
                    <a:pt x="672" y="31"/>
                  </a:lnTo>
                  <a:lnTo>
                    <a:pt x="659" y="21"/>
                  </a:lnTo>
                  <a:lnTo>
                    <a:pt x="644" y="14"/>
                  </a:lnTo>
                  <a:lnTo>
                    <a:pt x="634" y="9"/>
                  </a:lnTo>
                  <a:lnTo>
                    <a:pt x="625" y="6"/>
                  </a:lnTo>
                  <a:lnTo>
                    <a:pt x="615" y="4"/>
                  </a:lnTo>
                  <a:lnTo>
                    <a:pt x="604" y="2"/>
                  </a:lnTo>
                  <a:lnTo>
                    <a:pt x="594" y="1"/>
                  </a:lnTo>
                  <a:lnTo>
                    <a:pt x="582" y="0"/>
                  </a:lnTo>
                  <a:lnTo>
                    <a:pt x="571" y="1"/>
                  </a:lnTo>
                  <a:lnTo>
                    <a:pt x="558" y="2"/>
                  </a:lnTo>
                  <a:lnTo>
                    <a:pt x="547" y="3"/>
                  </a:lnTo>
                  <a:lnTo>
                    <a:pt x="534" y="6"/>
                  </a:lnTo>
                  <a:lnTo>
                    <a:pt x="521" y="9"/>
                  </a:lnTo>
                  <a:lnTo>
                    <a:pt x="508" y="13"/>
                  </a:lnTo>
                  <a:lnTo>
                    <a:pt x="494" y="18"/>
                  </a:lnTo>
                  <a:lnTo>
                    <a:pt x="480" y="23"/>
                  </a:lnTo>
                  <a:lnTo>
                    <a:pt x="466" y="30"/>
                  </a:lnTo>
                  <a:lnTo>
                    <a:pt x="451" y="36"/>
                  </a:lnTo>
                  <a:lnTo>
                    <a:pt x="436" y="30"/>
                  </a:lnTo>
                  <a:lnTo>
                    <a:pt x="422" y="23"/>
                  </a:lnTo>
                  <a:lnTo>
                    <a:pt x="407" y="18"/>
                  </a:lnTo>
                  <a:lnTo>
                    <a:pt x="394" y="13"/>
                  </a:lnTo>
                  <a:lnTo>
                    <a:pt x="380" y="9"/>
                  </a:lnTo>
                  <a:lnTo>
                    <a:pt x="367" y="6"/>
                  </a:lnTo>
                  <a:lnTo>
                    <a:pt x="356" y="3"/>
                  </a:lnTo>
                  <a:lnTo>
                    <a:pt x="343" y="2"/>
                  </a:lnTo>
                  <a:lnTo>
                    <a:pt x="331" y="1"/>
                  </a:lnTo>
                  <a:lnTo>
                    <a:pt x="319" y="0"/>
                  </a:lnTo>
                  <a:lnTo>
                    <a:pt x="308" y="1"/>
                  </a:lnTo>
                  <a:lnTo>
                    <a:pt x="298" y="2"/>
                  </a:lnTo>
                  <a:lnTo>
                    <a:pt x="287" y="4"/>
                  </a:lnTo>
                  <a:lnTo>
                    <a:pt x="277" y="6"/>
                  </a:lnTo>
                  <a:lnTo>
                    <a:pt x="268" y="9"/>
                  </a:lnTo>
                  <a:lnTo>
                    <a:pt x="258" y="14"/>
                  </a:lnTo>
                  <a:lnTo>
                    <a:pt x="243" y="21"/>
                  </a:lnTo>
                  <a:lnTo>
                    <a:pt x="230" y="31"/>
                  </a:lnTo>
                  <a:lnTo>
                    <a:pt x="217" y="43"/>
                  </a:lnTo>
                  <a:lnTo>
                    <a:pt x="207" y="55"/>
                  </a:lnTo>
                  <a:lnTo>
                    <a:pt x="197" y="68"/>
                  </a:lnTo>
                  <a:lnTo>
                    <a:pt x="187" y="82"/>
                  </a:lnTo>
                  <a:lnTo>
                    <a:pt x="179" y="98"/>
                  </a:lnTo>
                  <a:lnTo>
                    <a:pt x="171" y="115"/>
                  </a:lnTo>
                  <a:lnTo>
                    <a:pt x="165" y="133"/>
                  </a:lnTo>
                  <a:lnTo>
                    <a:pt x="158" y="150"/>
                  </a:lnTo>
                  <a:lnTo>
                    <a:pt x="152" y="168"/>
                  </a:lnTo>
                  <a:lnTo>
                    <a:pt x="147" y="186"/>
                  </a:lnTo>
                  <a:lnTo>
                    <a:pt x="137" y="225"/>
                  </a:lnTo>
                  <a:lnTo>
                    <a:pt x="128" y="261"/>
                  </a:lnTo>
                  <a:lnTo>
                    <a:pt x="121" y="297"/>
                  </a:lnTo>
                  <a:lnTo>
                    <a:pt x="112" y="329"/>
                  </a:lnTo>
                  <a:lnTo>
                    <a:pt x="108" y="344"/>
                  </a:lnTo>
                  <a:lnTo>
                    <a:pt x="104" y="358"/>
                  </a:lnTo>
                  <a:lnTo>
                    <a:pt x="98" y="372"/>
                  </a:lnTo>
                  <a:lnTo>
                    <a:pt x="93" y="384"/>
                  </a:lnTo>
                  <a:lnTo>
                    <a:pt x="88" y="395"/>
                  </a:lnTo>
                  <a:lnTo>
                    <a:pt x="82" y="406"/>
                  </a:lnTo>
                  <a:lnTo>
                    <a:pt x="76" y="415"/>
                  </a:lnTo>
                  <a:lnTo>
                    <a:pt x="68" y="422"/>
                  </a:lnTo>
                  <a:lnTo>
                    <a:pt x="61" y="429"/>
                  </a:lnTo>
                  <a:lnTo>
                    <a:pt x="52" y="433"/>
                  </a:lnTo>
                  <a:lnTo>
                    <a:pt x="44" y="435"/>
                  </a:lnTo>
                  <a:lnTo>
                    <a:pt x="34" y="436"/>
                  </a:lnTo>
                  <a:lnTo>
                    <a:pt x="30" y="436"/>
                  </a:lnTo>
                  <a:lnTo>
                    <a:pt x="26" y="438"/>
                  </a:lnTo>
                  <a:lnTo>
                    <a:pt x="23" y="440"/>
                  </a:lnTo>
                  <a:lnTo>
                    <a:pt x="21" y="443"/>
                  </a:lnTo>
                  <a:lnTo>
                    <a:pt x="19" y="446"/>
                  </a:lnTo>
                  <a:lnTo>
                    <a:pt x="19" y="450"/>
                  </a:lnTo>
                  <a:lnTo>
                    <a:pt x="19" y="453"/>
                  </a:lnTo>
                  <a:lnTo>
                    <a:pt x="20" y="458"/>
                  </a:lnTo>
                  <a:lnTo>
                    <a:pt x="25" y="469"/>
                  </a:lnTo>
                  <a:lnTo>
                    <a:pt x="32" y="479"/>
                  </a:lnTo>
                  <a:lnTo>
                    <a:pt x="38" y="490"/>
                  </a:lnTo>
                  <a:lnTo>
                    <a:pt x="45" y="498"/>
                  </a:lnTo>
                  <a:lnTo>
                    <a:pt x="52" y="506"/>
                  </a:lnTo>
                  <a:lnTo>
                    <a:pt x="60" y="513"/>
                  </a:lnTo>
                  <a:lnTo>
                    <a:pt x="67" y="520"/>
                  </a:lnTo>
                  <a:lnTo>
                    <a:pt x="76" y="525"/>
                  </a:lnTo>
                  <a:lnTo>
                    <a:pt x="84" y="529"/>
                  </a:lnTo>
                  <a:lnTo>
                    <a:pt x="93" y="534"/>
                  </a:lnTo>
                  <a:lnTo>
                    <a:pt x="102" y="537"/>
                  </a:lnTo>
                  <a:lnTo>
                    <a:pt x="110" y="540"/>
                  </a:lnTo>
                  <a:lnTo>
                    <a:pt x="120" y="542"/>
                  </a:lnTo>
                  <a:lnTo>
                    <a:pt x="128" y="543"/>
                  </a:lnTo>
                  <a:lnTo>
                    <a:pt x="137" y="544"/>
                  </a:lnTo>
                  <a:lnTo>
                    <a:pt x="147" y="544"/>
                  </a:lnTo>
                  <a:lnTo>
                    <a:pt x="162" y="543"/>
                  </a:lnTo>
                  <a:lnTo>
                    <a:pt x="177" y="541"/>
                  </a:lnTo>
                  <a:lnTo>
                    <a:pt x="192" y="538"/>
                  </a:lnTo>
                  <a:lnTo>
                    <a:pt x="206" y="533"/>
                  </a:lnTo>
                  <a:lnTo>
                    <a:pt x="218" y="526"/>
                  </a:lnTo>
                  <a:lnTo>
                    <a:pt x="231" y="519"/>
                  </a:lnTo>
                  <a:lnTo>
                    <a:pt x="242" y="510"/>
                  </a:lnTo>
                  <a:lnTo>
                    <a:pt x="252" y="501"/>
                  </a:lnTo>
                  <a:lnTo>
                    <a:pt x="260" y="490"/>
                  </a:lnTo>
                  <a:lnTo>
                    <a:pt x="268" y="479"/>
                  </a:lnTo>
                  <a:lnTo>
                    <a:pt x="274" y="489"/>
                  </a:lnTo>
                  <a:lnTo>
                    <a:pt x="281" y="499"/>
                  </a:lnTo>
                  <a:lnTo>
                    <a:pt x="287" y="509"/>
                  </a:lnTo>
                  <a:lnTo>
                    <a:pt x="295" y="518"/>
                  </a:lnTo>
                  <a:lnTo>
                    <a:pt x="311" y="536"/>
                  </a:lnTo>
                  <a:lnTo>
                    <a:pt x="328" y="552"/>
                  </a:lnTo>
                  <a:lnTo>
                    <a:pt x="313" y="558"/>
                  </a:lnTo>
                  <a:lnTo>
                    <a:pt x="299" y="564"/>
                  </a:lnTo>
                  <a:lnTo>
                    <a:pt x="284" y="570"/>
                  </a:lnTo>
                  <a:lnTo>
                    <a:pt x="269" y="577"/>
                  </a:lnTo>
                  <a:lnTo>
                    <a:pt x="253" y="583"/>
                  </a:lnTo>
                  <a:lnTo>
                    <a:pt x="237" y="591"/>
                  </a:lnTo>
                  <a:lnTo>
                    <a:pt x="221" y="597"/>
                  </a:lnTo>
                  <a:lnTo>
                    <a:pt x="204" y="603"/>
                  </a:lnTo>
                  <a:lnTo>
                    <a:pt x="204" y="603"/>
                  </a:lnTo>
                  <a:lnTo>
                    <a:pt x="204" y="603"/>
                  </a:lnTo>
                  <a:lnTo>
                    <a:pt x="183" y="613"/>
                  </a:lnTo>
                  <a:lnTo>
                    <a:pt x="163" y="623"/>
                  </a:lnTo>
                  <a:lnTo>
                    <a:pt x="142" y="632"/>
                  </a:lnTo>
                  <a:lnTo>
                    <a:pt x="124" y="643"/>
                  </a:lnTo>
                  <a:lnTo>
                    <a:pt x="106" y="653"/>
                  </a:lnTo>
                  <a:lnTo>
                    <a:pt x="89" y="665"/>
                  </a:lnTo>
                  <a:lnTo>
                    <a:pt x="74" y="675"/>
                  </a:lnTo>
                  <a:lnTo>
                    <a:pt x="59" y="687"/>
                  </a:lnTo>
                  <a:lnTo>
                    <a:pt x="46" y="700"/>
                  </a:lnTo>
                  <a:lnTo>
                    <a:pt x="34" y="713"/>
                  </a:lnTo>
                  <a:lnTo>
                    <a:pt x="24" y="728"/>
                  </a:lnTo>
                  <a:lnTo>
                    <a:pt x="16" y="743"/>
                  </a:lnTo>
                  <a:lnTo>
                    <a:pt x="9" y="758"/>
                  </a:lnTo>
                  <a:lnTo>
                    <a:pt x="5" y="775"/>
                  </a:lnTo>
                  <a:lnTo>
                    <a:pt x="2" y="793"/>
                  </a:lnTo>
                  <a:lnTo>
                    <a:pt x="1" y="812"/>
                  </a:lnTo>
                  <a:lnTo>
                    <a:pt x="0" y="883"/>
                  </a:lnTo>
                  <a:lnTo>
                    <a:pt x="902" y="883"/>
                  </a:lnTo>
                  <a:lnTo>
                    <a:pt x="902" y="808"/>
                  </a:lnTo>
                  <a:lnTo>
                    <a:pt x="901" y="790"/>
                  </a:lnTo>
                  <a:lnTo>
                    <a:pt x="898" y="773"/>
                  </a:lnTo>
                  <a:lnTo>
                    <a:pt x="893" y="756"/>
                  </a:lnTo>
                  <a:lnTo>
                    <a:pt x="886" y="741"/>
                  </a:lnTo>
                  <a:lnTo>
                    <a:pt x="878" y="726"/>
                  </a:lnTo>
                  <a:lnTo>
                    <a:pt x="868" y="712"/>
                  </a:lnTo>
                  <a:lnTo>
                    <a:pt x="856" y="699"/>
                  </a:lnTo>
                  <a:lnTo>
                    <a:pt x="842" y="686"/>
                  </a:lnTo>
                  <a:lnTo>
                    <a:pt x="828" y="674"/>
                  </a:lnTo>
                  <a:lnTo>
                    <a:pt x="812" y="663"/>
                  </a:lnTo>
                  <a:lnTo>
                    <a:pt x="796" y="653"/>
                  </a:lnTo>
                  <a:lnTo>
                    <a:pt x="778" y="642"/>
                  </a:lnTo>
                  <a:lnTo>
                    <a:pt x="739" y="623"/>
                  </a:lnTo>
                  <a:lnTo>
                    <a:pt x="698" y="6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173">
              <a:extLst>
                <a:ext uri="{FF2B5EF4-FFF2-40B4-BE49-F238E27FC236}">
                  <a16:creationId xmlns:a16="http://schemas.microsoft.com/office/drawing/2014/main" id="{EE0116E4-EC60-400C-A2E3-3215F6CD7FAC}"/>
                </a:ext>
              </a:extLst>
            </p:cNvPr>
            <p:cNvSpPr>
              <a:spLocks/>
            </p:cNvSpPr>
            <p:nvPr/>
          </p:nvSpPr>
          <p:spPr bwMode="auto">
            <a:xfrm>
              <a:off x="2701925" y="3730625"/>
              <a:ext cx="33338" cy="15875"/>
            </a:xfrm>
            <a:custGeom>
              <a:avLst/>
              <a:gdLst>
                <a:gd name="T0" fmla="*/ 30 w 105"/>
                <a:gd name="T1" fmla="*/ 32 h 48"/>
                <a:gd name="T2" fmla="*/ 38 w 105"/>
                <a:gd name="T3" fmla="*/ 30 h 48"/>
                <a:gd name="T4" fmla="*/ 53 w 105"/>
                <a:gd name="T5" fmla="*/ 30 h 48"/>
                <a:gd name="T6" fmla="*/ 69 w 105"/>
                <a:gd name="T7" fmla="*/ 30 h 48"/>
                <a:gd name="T8" fmla="*/ 75 w 105"/>
                <a:gd name="T9" fmla="*/ 31 h 48"/>
                <a:gd name="T10" fmla="*/ 77 w 105"/>
                <a:gd name="T11" fmla="*/ 36 h 48"/>
                <a:gd name="T12" fmla="*/ 79 w 105"/>
                <a:gd name="T13" fmla="*/ 42 h 48"/>
                <a:gd name="T14" fmla="*/ 83 w 105"/>
                <a:gd name="T15" fmla="*/ 46 h 48"/>
                <a:gd name="T16" fmla="*/ 88 w 105"/>
                <a:gd name="T17" fmla="*/ 48 h 48"/>
                <a:gd name="T18" fmla="*/ 94 w 105"/>
                <a:gd name="T19" fmla="*/ 48 h 48"/>
                <a:gd name="T20" fmla="*/ 99 w 105"/>
                <a:gd name="T21" fmla="*/ 46 h 48"/>
                <a:gd name="T22" fmla="*/ 103 w 105"/>
                <a:gd name="T23" fmla="*/ 42 h 48"/>
                <a:gd name="T24" fmla="*/ 105 w 105"/>
                <a:gd name="T25" fmla="*/ 36 h 48"/>
                <a:gd name="T26" fmla="*/ 105 w 105"/>
                <a:gd name="T27" fmla="*/ 27 h 48"/>
                <a:gd name="T28" fmla="*/ 101 w 105"/>
                <a:gd name="T29" fmla="*/ 14 h 48"/>
                <a:gd name="T30" fmla="*/ 93 w 105"/>
                <a:gd name="T31" fmla="*/ 6 h 48"/>
                <a:gd name="T32" fmla="*/ 84 w 105"/>
                <a:gd name="T33" fmla="*/ 2 h 48"/>
                <a:gd name="T34" fmla="*/ 69 w 105"/>
                <a:gd name="T35" fmla="*/ 0 h 48"/>
                <a:gd name="T36" fmla="*/ 53 w 105"/>
                <a:gd name="T37" fmla="*/ 0 h 48"/>
                <a:gd name="T38" fmla="*/ 37 w 105"/>
                <a:gd name="T39" fmla="*/ 0 h 48"/>
                <a:gd name="T40" fmla="*/ 22 w 105"/>
                <a:gd name="T41" fmla="*/ 2 h 48"/>
                <a:gd name="T42" fmla="*/ 13 w 105"/>
                <a:gd name="T43" fmla="*/ 6 h 48"/>
                <a:gd name="T44" fmla="*/ 5 w 105"/>
                <a:gd name="T45" fmla="*/ 14 h 48"/>
                <a:gd name="T46" fmla="*/ 0 w 105"/>
                <a:gd name="T47" fmla="*/ 27 h 48"/>
                <a:gd name="T48" fmla="*/ 0 w 105"/>
                <a:gd name="T49" fmla="*/ 36 h 48"/>
                <a:gd name="T50" fmla="*/ 3 w 105"/>
                <a:gd name="T51" fmla="*/ 42 h 48"/>
                <a:gd name="T52" fmla="*/ 7 w 105"/>
                <a:gd name="T53" fmla="*/ 46 h 48"/>
                <a:gd name="T54" fmla="*/ 12 w 105"/>
                <a:gd name="T55" fmla="*/ 48 h 48"/>
                <a:gd name="T56" fmla="*/ 19 w 105"/>
                <a:gd name="T57" fmla="*/ 48 h 48"/>
                <a:gd name="T58" fmla="*/ 24 w 105"/>
                <a:gd name="T59" fmla="*/ 46 h 48"/>
                <a:gd name="T60" fmla="*/ 27 w 105"/>
                <a:gd name="T61" fmla="*/ 42 h 48"/>
                <a:gd name="T62" fmla="*/ 29 w 105"/>
                <a:gd name="T6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8">
                  <a:moveTo>
                    <a:pt x="30" y="33"/>
                  </a:moveTo>
                  <a:lnTo>
                    <a:pt x="30" y="32"/>
                  </a:lnTo>
                  <a:lnTo>
                    <a:pt x="30" y="31"/>
                  </a:lnTo>
                  <a:lnTo>
                    <a:pt x="38" y="30"/>
                  </a:lnTo>
                  <a:lnTo>
                    <a:pt x="48" y="30"/>
                  </a:lnTo>
                  <a:lnTo>
                    <a:pt x="53" y="30"/>
                  </a:lnTo>
                  <a:lnTo>
                    <a:pt x="58" y="30"/>
                  </a:lnTo>
                  <a:lnTo>
                    <a:pt x="69" y="30"/>
                  </a:lnTo>
                  <a:lnTo>
                    <a:pt x="75" y="30"/>
                  </a:lnTo>
                  <a:lnTo>
                    <a:pt x="75" y="31"/>
                  </a:lnTo>
                  <a:lnTo>
                    <a:pt x="75" y="33"/>
                  </a:lnTo>
                  <a:lnTo>
                    <a:pt x="77" y="36"/>
                  </a:lnTo>
                  <a:lnTo>
                    <a:pt x="78" y="40"/>
                  </a:lnTo>
                  <a:lnTo>
                    <a:pt x="79" y="42"/>
                  </a:lnTo>
                  <a:lnTo>
                    <a:pt x="81" y="44"/>
                  </a:lnTo>
                  <a:lnTo>
                    <a:pt x="83" y="46"/>
                  </a:lnTo>
                  <a:lnTo>
                    <a:pt x="85" y="47"/>
                  </a:lnTo>
                  <a:lnTo>
                    <a:pt x="88" y="48"/>
                  </a:lnTo>
                  <a:lnTo>
                    <a:pt x="90" y="48"/>
                  </a:lnTo>
                  <a:lnTo>
                    <a:pt x="94" y="48"/>
                  </a:lnTo>
                  <a:lnTo>
                    <a:pt x="97" y="47"/>
                  </a:lnTo>
                  <a:lnTo>
                    <a:pt x="99" y="46"/>
                  </a:lnTo>
                  <a:lnTo>
                    <a:pt x="101" y="44"/>
                  </a:lnTo>
                  <a:lnTo>
                    <a:pt x="103" y="42"/>
                  </a:lnTo>
                  <a:lnTo>
                    <a:pt x="104" y="40"/>
                  </a:lnTo>
                  <a:lnTo>
                    <a:pt x="105" y="36"/>
                  </a:lnTo>
                  <a:lnTo>
                    <a:pt x="105" y="33"/>
                  </a:lnTo>
                  <a:lnTo>
                    <a:pt x="105" y="27"/>
                  </a:lnTo>
                  <a:lnTo>
                    <a:pt x="103" y="20"/>
                  </a:lnTo>
                  <a:lnTo>
                    <a:pt x="101" y="14"/>
                  </a:lnTo>
                  <a:lnTo>
                    <a:pt x="97" y="10"/>
                  </a:lnTo>
                  <a:lnTo>
                    <a:pt x="93" y="6"/>
                  </a:lnTo>
                  <a:lnTo>
                    <a:pt x="88" y="3"/>
                  </a:lnTo>
                  <a:lnTo>
                    <a:pt x="84" y="2"/>
                  </a:lnTo>
                  <a:lnTo>
                    <a:pt x="79" y="1"/>
                  </a:lnTo>
                  <a:lnTo>
                    <a:pt x="69" y="0"/>
                  </a:lnTo>
                  <a:lnTo>
                    <a:pt x="58" y="0"/>
                  </a:lnTo>
                  <a:lnTo>
                    <a:pt x="53" y="0"/>
                  </a:lnTo>
                  <a:lnTo>
                    <a:pt x="49" y="0"/>
                  </a:lnTo>
                  <a:lnTo>
                    <a:pt x="37" y="0"/>
                  </a:lnTo>
                  <a:lnTo>
                    <a:pt x="27" y="1"/>
                  </a:lnTo>
                  <a:lnTo>
                    <a:pt x="22" y="2"/>
                  </a:lnTo>
                  <a:lnTo>
                    <a:pt x="18" y="3"/>
                  </a:lnTo>
                  <a:lnTo>
                    <a:pt x="13" y="6"/>
                  </a:lnTo>
                  <a:lnTo>
                    <a:pt x="9" y="10"/>
                  </a:lnTo>
                  <a:lnTo>
                    <a:pt x="5" y="14"/>
                  </a:lnTo>
                  <a:lnTo>
                    <a:pt x="3" y="20"/>
                  </a:lnTo>
                  <a:lnTo>
                    <a:pt x="0" y="27"/>
                  </a:lnTo>
                  <a:lnTo>
                    <a:pt x="0" y="33"/>
                  </a:lnTo>
                  <a:lnTo>
                    <a:pt x="0" y="36"/>
                  </a:lnTo>
                  <a:lnTo>
                    <a:pt x="1" y="40"/>
                  </a:lnTo>
                  <a:lnTo>
                    <a:pt x="3" y="42"/>
                  </a:lnTo>
                  <a:lnTo>
                    <a:pt x="5" y="44"/>
                  </a:lnTo>
                  <a:lnTo>
                    <a:pt x="7" y="46"/>
                  </a:lnTo>
                  <a:lnTo>
                    <a:pt x="9" y="47"/>
                  </a:lnTo>
                  <a:lnTo>
                    <a:pt x="12" y="48"/>
                  </a:lnTo>
                  <a:lnTo>
                    <a:pt x="15" y="48"/>
                  </a:lnTo>
                  <a:lnTo>
                    <a:pt x="19" y="48"/>
                  </a:lnTo>
                  <a:lnTo>
                    <a:pt x="21" y="47"/>
                  </a:lnTo>
                  <a:lnTo>
                    <a:pt x="24" y="46"/>
                  </a:lnTo>
                  <a:lnTo>
                    <a:pt x="26" y="44"/>
                  </a:lnTo>
                  <a:lnTo>
                    <a:pt x="27" y="42"/>
                  </a:lnTo>
                  <a:lnTo>
                    <a:pt x="29" y="40"/>
                  </a:lnTo>
                  <a:lnTo>
                    <a:pt x="29" y="36"/>
                  </a:ln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174">
              <a:extLst>
                <a:ext uri="{FF2B5EF4-FFF2-40B4-BE49-F238E27FC236}">
                  <a16:creationId xmlns:a16="http://schemas.microsoft.com/office/drawing/2014/main" id="{B3A08B08-638D-4057-A307-39058C297C25}"/>
                </a:ext>
              </a:extLst>
            </p:cNvPr>
            <p:cNvSpPr>
              <a:spLocks/>
            </p:cNvSpPr>
            <p:nvPr/>
          </p:nvSpPr>
          <p:spPr bwMode="auto">
            <a:xfrm>
              <a:off x="2751138" y="3730625"/>
              <a:ext cx="33338" cy="15875"/>
            </a:xfrm>
            <a:custGeom>
              <a:avLst/>
              <a:gdLst>
                <a:gd name="T0" fmla="*/ 18 w 106"/>
                <a:gd name="T1" fmla="*/ 48 h 48"/>
                <a:gd name="T2" fmla="*/ 23 w 106"/>
                <a:gd name="T3" fmla="*/ 46 h 48"/>
                <a:gd name="T4" fmla="*/ 27 w 106"/>
                <a:gd name="T5" fmla="*/ 42 h 48"/>
                <a:gd name="T6" fmla="*/ 30 w 106"/>
                <a:gd name="T7" fmla="*/ 36 h 48"/>
                <a:gd name="T8" fmla="*/ 30 w 106"/>
                <a:gd name="T9" fmla="*/ 32 h 48"/>
                <a:gd name="T10" fmla="*/ 37 w 106"/>
                <a:gd name="T11" fmla="*/ 30 h 48"/>
                <a:gd name="T12" fmla="*/ 53 w 106"/>
                <a:gd name="T13" fmla="*/ 30 h 48"/>
                <a:gd name="T14" fmla="*/ 68 w 106"/>
                <a:gd name="T15" fmla="*/ 30 h 48"/>
                <a:gd name="T16" fmla="*/ 76 w 106"/>
                <a:gd name="T17" fmla="*/ 31 h 48"/>
                <a:gd name="T18" fmla="*/ 76 w 106"/>
                <a:gd name="T19" fmla="*/ 36 h 48"/>
                <a:gd name="T20" fmla="*/ 78 w 106"/>
                <a:gd name="T21" fmla="*/ 42 h 48"/>
                <a:gd name="T22" fmla="*/ 82 w 106"/>
                <a:gd name="T23" fmla="*/ 46 h 48"/>
                <a:gd name="T24" fmla="*/ 88 w 106"/>
                <a:gd name="T25" fmla="*/ 48 h 48"/>
                <a:gd name="T26" fmla="*/ 94 w 106"/>
                <a:gd name="T27" fmla="*/ 48 h 48"/>
                <a:gd name="T28" fmla="*/ 99 w 106"/>
                <a:gd name="T29" fmla="*/ 46 h 48"/>
                <a:gd name="T30" fmla="*/ 104 w 106"/>
                <a:gd name="T31" fmla="*/ 42 h 48"/>
                <a:gd name="T32" fmla="*/ 106 w 106"/>
                <a:gd name="T33" fmla="*/ 36 h 48"/>
                <a:gd name="T34" fmla="*/ 105 w 106"/>
                <a:gd name="T35" fmla="*/ 27 h 48"/>
                <a:gd name="T36" fmla="*/ 100 w 106"/>
                <a:gd name="T37" fmla="*/ 14 h 48"/>
                <a:gd name="T38" fmla="*/ 93 w 106"/>
                <a:gd name="T39" fmla="*/ 6 h 48"/>
                <a:gd name="T40" fmla="*/ 83 w 106"/>
                <a:gd name="T41" fmla="*/ 2 h 48"/>
                <a:gd name="T42" fmla="*/ 68 w 106"/>
                <a:gd name="T43" fmla="*/ 0 h 48"/>
                <a:gd name="T44" fmla="*/ 53 w 106"/>
                <a:gd name="T45" fmla="*/ 0 h 48"/>
                <a:gd name="T46" fmla="*/ 37 w 106"/>
                <a:gd name="T47" fmla="*/ 0 h 48"/>
                <a:gd name="T48" fmla="*/ 22 w 106"/>
                <a:gd name="T49" fmla="*/ 2 h 48"/>
                <a:gd name="T50" fmla="*/ 12 w 106"/>
                <a:gd name="T51" fmla="*/ 6 h 48"/>
                <a:gd name="T52" fmla="*/ 5 w 106"/>
                <a:gd name="T53" fmla="*/ 14 h 48"/>
                <a:gd name="T54" fmla="*/ 1 w 106"/>
                <a:gd name="T55" fmla="*/ 27 h 48"/>
                <a:gd name="T56" fmla="*/ 0 w 106"/>
                <a:gd name="T57" fmla="*/ 36 h 48"/>
                <a:gd name="T58" fmla="*/ 3 w 106"/>
                <a:gd name="T59" fmla="*/ 42 h 48"/>
                <a:gd name="T60" fmla="*/ 6 w 106"/>
                <a:gd name="T61" fmla="*/ 46 h 48"/>
                <a:gd name="T62" fmla="*/ 11 w 106"/>
                <a:gd name="T6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8">
                  <a:moveTo>
                    <a:pt x="15" y="48"/>
                  </a:moveTo>
                  <a:lnTo>
                    <a:pt x="18" y="48"/>
                  </a:lnTo>
                  <a:lnTo>
                    <a:pt x="21" y="47"/>
                  </a:lnTo>
                  <a:lnTo>
                    <a:pt x="23" y="46"/>
                  </a:lnTo>
                  <a:lnTo>
                    <a:pt x="25" y="44"/>
                  </a:lnTo>
                  <a:lnTo>
                    <a:pt x="27" y="42"/>
                  </a:lnTo>
                  <a:lnTo>
                    <a:pt x="29" y="40"/>
                  </a:lnTo>
                  <a:lnTo>
                    <a:pt x="30" y="36"/>
                  </a:lnTo>
                  <a:lnTo>
                    <a:pt x="30" y="33"/>
                  </a:lnTo>
                  <a:lnTo>
                    <a:pt x="30" y="32"/>
                  </a:lnTo>
                  <a:lnTo>
                    <a:pt x="30" y="31"/>
                  </a:lnTo>
                  <a:lnTo>
                    <a:pt x="37" y="30"/>
                  </a:lnTo>
                  <a:lnTo>
                    <a:pt x="48" y="30"/>
                  </a:lnTo>
                  <a:lnTo>
                    <a:pt x="53" y="30"/>
                  </a:lnTo>
                  <a:lnTo>
                    <a:pt x="57" y="30"/>
                  </a:lnTo>
                  <a:lnTo>
                    <a:pt x="68" y="30"/>
                  </a:lnTo>
                  <a:lnTo>
                    <a:pt x="76" y="30"/>
                  </a:lnTo>
                  <a:lnTo>
                    <a:pt x="76" y="31"/>
                  </a:lnTo>
                  <a:lnTo>
                    <a:pt x="76" y="33"/>
                  </a:lnTo>
                  <a:lnTo>
                    <a:pt x="76" y="36"/>
                  </a:lnTo>
                  <a:lnTo>
                    <a:pt x="77" y="40"/>
                  </a:lnTo>
                  <a:lnTo>
                    <a:pt x="78" y="42"/>
                  </a:lnTo>
                  <a:lnTo>
                    <a:pt x="80" y="44"/>
                  </a:lnTo>
                  <a:lnTo>
                    <a:pt x="82" y="46"/>
                  </a:lnTo>
                  <a:lnTo>
                    <a:pt x="84" y="47"/>
                  </a:lnTo>
                  <a:lnTo>
                    <a:pt x="88" y="48"/>
                  </a:lnTo>
                  <a:lnTo>
                    <a:pt x="91" y="48"/>
                  </a:lnTo>
                  <a:lnTo>
                    <a:pt x="94" y="48"/>
                  </a:lnTo>
                  <a:lnTo>
                    <a:pt x="96" y="47"/>
                  </a:lnTo>
                  <a:lnTo>
                    <a:pt x="99" y="46"/>
                  </a:lnTo>
                  <a:lnTo>
                    <a:pt x="101" y="44"/>
                  </a:lnTo>
                  <a:lnTo>
                    <a:pt x="104" y="42"/>
                  </a:lnTo>
                  <a:lnTo>
                    <a:pt x="105" y="40"/>
                  </a:lnTo>
                  <a:lnTo>
                    <a:pt x="106" y="36"/>
                  </a:lnTo>
                  <a:lnTo>
                    <a:pt x="106" y="33"/>
                  </a:lnTo>
                  <a:lnTo>
                    <a:pt x="105" y="27"/>
                  </a:lnTo>
                  <a:lnTo>
                    <a:pt x="104" y="20"/>
                  </a:lnTo>
                  <a:lnTo>
                    <a:pt x="100" y="14"/>
                  </a:lnTo>
                  <a:lnTo>
                    <a:pt x="97" y="10"/>
                  </a:lnTo>
                  <a:lnTo>
                    <a:pt x="93" y="6"/>
                  </a:lnTo>
                  <a:lnTo>
                    <a:pt x="89" y="3"/>
                  </a:lnTo>
                  <a:lnTo>
                    <a:pt x="83" y="2"/>
                  </a:lnTo>
                  <a:lnTo>
                    <a:pt x="79" y="1"/>
                  </a:lnTo>
                  <a:lnTo>
                    <a:pt x="68" y="0"/>
                  </a:lnTo>
                  <a:lnTo>
                    <a:pt x="57" y="0"/>
                  </a:lnTo>
                  <a:lnTo>
                    <a:pt x="53" y="0"/>
                  </a:lnTo>
                  <a:lnTo>
                    <a:pt x="48" y="0"/>
                  </a:lnTo>
                  <a:lnTo>
                    <a:pt x="37" y="0"/>
                  </a:lnTo>
                  <a:lnTo>
                    <a:pt x="26" y="1"/>
                  </a:lnTo>
                  <a:lnTo>
                    <a:pt x="22" y="2"/>
                  </a:lnTo>
                  <a:lnTo>
                    <a:pt x="17" y="3"/>
                  </a:lnTo>
                  <a:lnTo>
                    <a:pt x="12" y="6"/>
                  </a:lnTo>
                  <a:lnTo>
                    <a:pt x="8" y="10"/>
                  </a:lnTo>
                  <a:lnTo>
                    <a:pt x="5" y="14"/>
                  </a:lnTo>
                  <a:lnTo>
                    <a:pt x="2" y="20"/>
                  </a:lnTo>
                  <a:lnTo>
                    <a:pt x="1" y="27"/>
                  </a:lnTo>
                  <a:lnTo>
                    <a:pt x="0" y="33"/>
                  </a:lnTo>
                  <a:lnTo>
                    <a:pt x="0" y="36"/>
                  </a:lnTo>
                  <a:lnTo>
                    <a:pt x="1" y="40"/>
                  </a:lnTo>
                  <a:lnTo>
                    <a:pt x="3" y="42"/>
                  </a:lnTo>
                  <a:lnTo>
                    <a:pt x="4" y="44"/>
                  </a:lnTo>
                  <a:lnTo>
                    <a:pt x="6" y="46"/>
                  </a:lnTo>
                  <a:lnTo>
                    <a:pt x="9" y="47"/>
                  </a:lnTo>
                  <a:lnTo>
                    <a:pt x="11" y="48"/>
                  </a:lnTo>
                  <a:lnTo>
                    <a:pt x="15"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9" name="Group 9">
            <a:extLst>
              <a:ext uri="{FF2B5EF4-FFF2-40B4-BE49-F238E27FC236}">
                <a16:creationId xmlns:a16="http://schemas.microsoft.com/office/drawing/2014/main" id="{617B3C31-75E0-4F89-B603-B250E3CCD9DF}"/>
              </a:ext>
            </a:extLst>
          </p:cNvPr>
          <p:cNvGrpSpPr>
            <a:grpSpLocks noChangeAspect="1"/>
          </p:cNvGrpSpPr>
          <p:nvPr/>
        </p:nvGrpSpPr>
        <p:grpSpPr>
          <a:xfrm>
            <a:off x="6634417" y="2724897"/>
            <a:ext cx="292111" cy="285619"/>
            <a:chOff x="881063" y="3641725"/>
            <a:chExt cx="285750" cy="279400"/>
          </a:xfrm>
          <a:solidFill>
            <a:schemeClr val="bg1"/>
          </a:solidFill>
          <a:effectLst/>
        </p:grpSpPr>
        <p:sp>
          <p:nvSpPr>
            <p:cNvPr id="730" name="Freeform 102">
              <a:extLst>
                <a:ext uri="{FF2B5EF4-FFF2-40B4-BE49-F238E27FC236}">
                  <a16:creationId xmlns:a16="http://schemas.microsoft.com/office/drawing/2014/main" id="{48E16B96-2DAA-4A4E-BCF8-3E2F382A0785}"/>
                </a:ext>
              </a:extLst>
            </p:cNvPr>
            <p:cNvSpPr>
              <a:spLocks noEditPoints="1"/>
            </p:cNvSpPr>
            <p:nvPr/>
          </p:nvSpPr>
          <p:spPr bwMode="auto">
            <a:xfrm>
              <a:off x="881063" y="3641725"/>
              <a:ext cx="285750" cy="279400"/>
            </a:xfrm>
            <a:custGeom>
              <a:avLst/>
              <a:gdLst>
                <a:gd name="T0" fmla="*/ 770 w 903"/>
                <a:gd name="T1" fmla="*/ 681 h 883"/>
                <a:gd name="T2" fmla="*/ 828 w 903"/>
                <a:gd name="T3" fmla="*/ 724 h 883"/>
                <a:gd name="T4" fmla="*/ 851 w 903"/>
                <a:gd name="T5" fmla="*/ 777 h 883"/>
                <a:gd name="T6" fmla="*/ 417 w 903"/>
                <a:gd name="T7" fmla="*/ 852 h 883"/>
                <a:gd name="T8" fmla="*/ 68 w 903"/>
                <a:gd name="T9" fmla="*/ 739 h 883"/>
                <a:gd name="T10" fmla="*/ 110 w 903"/>
                <a:gd name="T11" fmla="*/ 695 h 883"/>
                <a:gd name="T12" fmla="*/ 269 w 903"/>
                <a:gd name="T13" fmla="*/ 626 h 883"/>
                <a:gd name="T14" fmla="*/ 57 w 903"/>
                <a:gd name="T15" fmla="*/ 766 h 883"/>
                <a:gd name="T16" fmla="*/ 298 w 903"/>
                <a:gd name="T17" fmla="*/ 615 h 883"/>
                <a:gd name="T18" fmla="*/ 314 w 903"/>
                <a:gd name="T19" fmla="*/ 350 h 883"/>
                <a:gd name="T20" fmla="*/ 294 w 903"/>
                <a:gd name="T21" fmla="*/ 317 h 883"/>
                <a:gd name="T22" fmla="*/ 298 w 903"/>
                <a:gd name="T23" fmla="*/ 295 h 883"/>
                <a:gd name="T24" fmla="*/ 312 w 903"/>
                <a:gd name="T25" fmla="*/ 288 h 883"/>
                <a:gd name="T26" fmla="*/ 588 w 903"/>
                <a:gd name="T27" fmla="*/ 280 h 883"/>
                <a:gd name="T28" fmla="*/ 597 w 903"/>
                <a:gd name="T29" fmla="*/ 294 h 883"/>
                <a:gd name="T30" fmla="*/ 609 w 903"/>
                <a:gd name="T31" fmla="*/ 300 h 883"/>
                <a:gd name="T32" fmla="*/ 601 w 903"/>
                <a:gd name="T33" fmla="*/ 341 h 883"/>
                <a:gd name="T34" fmla="*/ 587 w 903"/>
                <a:gd name="T35" fmla="*/ 380 h 883"/>
                <a:gd name="T36" fmla="*/ 546 w 903"/>
                <a:gd name="T37" fmla="*/ 466 h 883"/>
                <a:gd name="T38" fmla="*/ 452 w 903"/>
                <a:gd name="T39" fmla="*/ 606 h 883"/>
                <a:gd name="T40" fmla="*/ 357 w 903"/>
                <a:gd name="T41" fmla="*/ 466 h 883"/>
                <a:gd name="T42" fmla="*/ 316 w 903"/>
                <a:gd name="T43" fmla="*/ 379 h 883"/>
                <a:gd name="T44" fmla="*/ 422 w 903"/>
                <a:gd name="T45" fmla="*/ 65 h 883"/>
                <a:gd name="T46" fmla="*/ 508 w 903"/>
                <a:gd name="T47" fmla="*/ 55 h 883"/>
                <a:gd name="T48" fmla="*/ 413 w 903"/>
                <a:gd name="T49" fmla="*/ 675 h 883"/>
                <a:gd name="T50" fmla="*/ 390 w 903"/>
                <a:gd name="T51" fmla="*/ 696 h 883"/>
                <a:gd name="T52" fmla="*/ 513 w 903"/>
                <a:gd name="T53" fmla="*/ 695 h 883"/>
                <a:gd name="T54" fmla="*/ 480 w 903"/>
                <a:gd name="T55" fmla="*/ 626 h 883"/>
                <a:gd name="T56" fmla="*/ 864 w 903"/>
                <a:gd name="T57" fmla="*/ 730 h 883"/>
                <a:gd name="T58" fmla="*/ 817 w 903"/>
                <a:gd name="T59" fmla="*/ 673 h 883"/>
                <a:gd name="T60" fmla="*/ 633 w 903"/>
                <a:gd name="T61" fmla="*/ 594 h 883"/>
                <a:gd name="T62" fmla="*/ 577 w 903"/>
                <a:gd name="T63" fmla="*/ 476 h 883"/>
                <a:gd name="T64" fmla="*/ 613 w 903"/>
                <a:gd name="T65" fmla="*/ 399 h 883"/>
                <a:gd name="T66" fmla="*/ 632 w 903"/>
                <a:gd name="T67" fmla="*/ 348 h 883"/>
                <a:gd name="T68" fmla="*/ 640 w 903"/>
                <a:gd name="T69" fmla="*/ 301 h 883"/>
                <a:gd name="T70" fmla="*/ 622 w 903"/>
                <a:gd name="T71" fmla="*/ 270 h 883"/>
                <a:gd name="T72" fmla="*/ 707 w 903"/>
                <a:gd name="T73" fmla="*/ 249 h 883"/>
                <a:gd name="T74" fmla="*/ 713 w 903"/>
                <a:gd name="T75" fmla="*/ 234 h 883"/>
                <a:gd name="T76" fmla="*/ 701 w 903"/>
                <a:gd name="T77" fmla="*/ 222 h 883"/>
                <a:gd name="T78" fmla="*/ 554 w 903"/>
                <a:gd name="T79" fmla="*/ 2 h 883"/>
                <a:gd name="T80" fmla="*/ 492 w 903"/>
                <a:gd name="T81" fmla="*/ 29 h 883"/>
                <a:gd name="T82" fmla="*/ 430 w 903"/>
                <a:gd name="T83" fmla="*/ 36 h 883"/>
                <a:gd name="T84" fmla="*/ 355 w 903"/>
                <a:gd name="T85" fmla="*/ 0 h 883"/>
                <a:gd name="T86" fmla="*/ 265 w 903"/>
                <a:gd name="T87" fmla="*/ 221 h 883"/>
                <a:gd name="T88" fmla="*/ 192 w 903"/>
                <a:gd name="T89" fmla="*/ 228 h 883"/>
                <a:gd name="T90" fmla="*/ 192 w 903"/>
                <a:gd name="T91" fmla="*/ 244 h 883"/>
                <a:gd name="T92" fmla="*/ 276 w 903"/>
                <a:gd name="T93" fmla="*/ 251 h 883"/>
                <a:gd name="T94" fmla="*/ 284 w 903"/>
                <a:gd name="T95" fmla="*/ 268 h 883"/>
                <a:gd name="T96" fmla="*/ 265 w 903"/>
                <a:gd name="T97" fmla="*/ 294 h 883"/>
                <a:gd name="T98" fmla="*/ 268 w 903"/>
                <a:gd name="T99" fmla="*/ 341 h 883"/>
                <a:gd name="T100" fmla="*/ 287 w 903"/>
                <a:gd name="T101" fmla="*/ 388 h 883"/>
                <a:gd name="T102" fmla="*/ 320 w 903"/>
                <a:gd name="T103" fmla="*/ 467 h 883"/>
                <a:gd name="T104" fmla="*/ 285 w 903"/>
                <a:gd name="T105" fmla="*/ 588 h 883"/>
                <a:gd name="T106" fmla="*/ 100 w 903"/>
                <a:gd name="T107" fmla="*/ 665 h 883"/>
                <a:gd name="T108" fmla="*/ 43 w 903"/>
                <a:gd name="T109" fmla="*/ 719 h 883"/>
                <a:gd name="T110" fmla="*/ 4 w 903"/>
                <a:gd name="T111" fmla="*/ 848 h 883"/>
                <a:gd name="T112" fmla="*/ 7 w 903"/>
                <a:gd name="T113" fmla="*/ 879 h 883"/>
                <a:gd name="T114" fmla="*/ 888 w 903"/>
                <a:gd name="T115" fmla="*/ 882 h 883"/>
                <a:gd name="T116" fmla="*/ 902 w 903"/>
                <a:gd name="T117" fmla="*/ 874 h 883"/>
                <a:gd name="T118" fmla="*/ 886 w 903"/>
                <a:gd name="T119" fmla="*/ 784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3" h="883">
                  <a:moveTo>
                    <a:pt x="566" y="852"/>
                  </a:moveTo>
                  <a:lnTo>
                    <a:pt x="636" y="627"/>
                  </a:lnTo>
                  <a:lnTo>
                    <a:pt x="673" y="641"/>
                  </a:lnTo>
                  <a:lnTo>
                    <a:pt x="709" y="654"/>
                  </a:lnTo>
                  <a:lnTo>
                    <a:pt x="741" y="668"/>
                  </a:lnTo>
                  <a:lnTo>
                    <a:pt x="770" y="681"/>
                  </a:lnTo>
                  <a:lnTo>
                    <a:pt x="783" y="688"/>
                  </a:lnTo>
                  <a:lnTo>
                    <a:pt x="795" y="695"/>
                  </a:lnTo>
                  <a:lnTo>
                    <a:pt x="805" y="702"/>
                  </a:lnTo>
                  <a:lnTo>
                    <a:pt x="814" y="709"/>
                  </a:lnTo>
                  <a:lnTo>
                    <a:pt x="821" y="716"/>
                  </a:lnTo>
                  <a:lnTo>
                    <a:pt x="828" y="724"/>
                  </a:lnTo>
                  <a:lnTo>
                    <a:pt x="832" y="731"/>
                  </a:lnTo>
                  <a:lnTo>
                    <a:pt x="835" y="739"/>
                  </a:lnTo>
                  <a:lnTo>
                    <a:pt x="835" y="741"/>
                  </a:lnTo>
                  <a:lnTo>
                    <a:pt x="836" y="742"/>
                  </a:lnTo>
                  <a:lnTo>
                    <a:pt x="845" y="760"/>
                  </a:lnTo>
                  <a:lnTo>
                    <a:pt x="851" y="777"/>
                  </a:lnTo>
                  <a:lnTo>
                    <a:pt x="858" y="793"/>
                  </a:lnTo>
                  <a:lnTo>
                    <a:pt x="862" y="808"/>
                  </a:lnTo>
                  <a:lnTo>
                    <a:pt x="869" y="833"/>
                  </a:lnTo>
                  <a:lnTo>
                    <a:pt x="872" y="852"/>
                  </a:lnTo>
                  <a:lnTo>
                    <a:pt x="566" y="852"/>
                  </a:lnTo>
                  <a:close/>
                  <a:moveTo>
                    <a:pt x="417" y="852"/>
                  </a:moveTo>
                  <a:lnTo>
                    <a:pt x="452" y="773"/>
                  </a:lnTo>
                  <a:lnTo>
                    <a:pt x="486" y="852"/>
                  </a:lnTo>
                  <a:lnTo>
                    <a:pt x="417" y="852"/>
                  </a:lnTo>
                  <a:close/>
                  <a:moveTo>
                    <a:pt x="67" y="742"/>
                  </a:moveTo>
                  <a:lnTo>
                    <a:pt x="68" y="741"/>
                  </a:lnTo>
                  <a:lnTo>
                    <a:pt x="68" y="739"/>
                  </a:lnTo>
                  <a:lnTo>
                    <a:pt x="71" y="731"/>
                  </a:lnTo>
                  <a:lnTo>
                    <a:pt x="75" y="724"/>
                  </a:lnTo>
                  <a:lnTo>
                    <a:pt x="82" y="716"/>
                  </a:lnTo>
                  <a:lnTo>
                    <a:pt x="89" y="709"/>
                  </a:lnTo>
                  <a:lnTo>
                    <a:pt x="99" y="701"/>
                  </a:lnTo>
                  <a:lnTo>
                    <a:pt x="110" y="695"/>
                  </a:lnTo>
                  <a:lnTo>
                    <a:pt x="121" y="687"/>
                  </a:lnTo>
                  <a:lnTo>
                    <a:pt x="134" y="681"/>
                  </a:lnTo>
                  <a:lnTo>
                    <a:pt x="163" y="667"/>
                  </a:lnTo>
                  <a:lnTo>
                    <a:pt x="196" y="654"/>
                  </a:lnTo>
                  <a:lnTo>
                    <a:pt x="232" y="640"/>
                  </a:lnTo>
                  <a:lnTo>
                    <a:pt x="269" y="626"/>
                  </a:lnTo>
                  <a:lnTo>
                    <a:pt x="337" y="852"/>
                  </a:lnTo>
                  <a:lnTo>
                    <a:pt x="34" y="852"/>
                  </a:lnTo>
                  <a:lnTo>
                    <a:pt x="40" y="826"/>
                  </a:lnTo>
                  <a:lnTo>
                    <a:pt x="48" y="796"/>
                  </a:lnTo>
                  <a:lnTo>
                    <a:pt x="53" y="780"/>
                  </a:lnTo>
                  <a:lnTo>
                    <a:pt x="57" y="766"/>
                  </a:lnTo>
                  <a:lnTo>
                    <a:pt x="62" y="753"/>
                  </a:lnTo>
                  <a:lnTo>
                    <a:pt x="67" y="742"/>
                  </a:lnTo>
                  <a:close/>
                  <a:moveTo>
                    <a:pt x="346" y="598"/>
                  </a:moveTo>
                  <a:lnTo>
                    <a:pt x="423" y="627"/>
                  </a:lnTo>
                  <a:lnTo>
                    <a:pt x="326" y="713"/>
                  </a:lnTo>
                  <a:lnTo>
                    <a:pt x="298" y="615"/>
                  </a:lnTo>
                  <a:lnTo>
                    <a:pt x="310" y="611"/>
                  </a:lnTo>
                  <a:lnTo>
                    <a:pt x="322" y="607"/>
                  </a:lnTo>
                  <a:lnTo>
                    <a:pt x="334" y="602"/>
                  </a:lnTo>
                  <a:lnTo>
                    <a:pt x="346" y="598"/>
                  </a:lnTo>
                  <a:close/>
                  <a:moveTo>
                    <a:pt x="315" y="356"/>
                  </a:moveTo>
                  <a:lnTo>
                    <a:pt x="314" y="350"/>
                  </a:lnTo>
                  <a:lnTo>
                    <a:pt x="311" y="346"/>
                  </a:lnTo>
                  <a:lnTo>
                    <a:pt x="308" y="343"/>
                  </a:lnTo>
                  <a:lnTo>
                    <a:pt x="302" y="341"/>
                  </a:lnTo>
                  <a:lnTo>
                    <a:pt x="298" y="334"/>
                  </a:lnTo>
                  <a:lnTo>
                    <a:pt x="295" y="323"/>
                  </a:lnTo>
                  <a:lnTo>
                    <a:pt x="294" y="317"/>
                  </a:lnTo>
                  <a:lnTo>
                    <a:pt x="293" y="311"/>
                  </a:lnTo>
                  <a:lnTo>
                    <a:pt x="293" y="304"/>
                  </a:lnTo>
                  <a:lnTo>
                    <a:pt x="294" y="300"/>
                  </a:lnTo>
                  <a:lnTo>
                    <a:pt x="295" y="297"/>
                  </a:lnTo>
                  <a:lnTo>
                    <a:pt x="297" y="296"/>
                  </a:lnTo>
                  <a:lnTo>
                    <a:pt x="298" y="295"/>
                  </a:lnTo>
                  <a:lnTo>
                    <a:pt x="300" y="295"/>
                  </a:lnTo>
                  <a:lnTo>
                    <a:pt x="302" y="295"/>
                  </a:lnTo>
                  <a:lnTo>
                    <a:pt x="306" y="294"/>
                  </a:lnTo>
                  <a:lnTo>
                    <a:pt x="308" y="293"/>
                  </a:lnTo>
                  <a:lnTo>
                    <a:pt x="310" y="290"/>
                  </a:lnTo>
                  <a:lnTo>
                    <a:pt x="312" y="288"/>
                  </a:lnTo>
                  <a:lnTo>
                    <a:pt x="313" y="286"/>
                  </a:lnTo>
                  <a:lnTo>
                    <a:pt x="314" y="283"/>
                  </a:lnTo>
                  <a:lnTo>
                    <a:pt x="315" y="280"/>
                  </a:lnTo>
                  <a:lnTo>
                    <a:pt x="315" y="251"/>
                  </a:lnTo>
                  <a:lnTo>
                    <a:pt x="588" y="251"/>
                  </a:lnTo>
                  <a:lnTo>
                    <a:pt x="588" y="280"/>
                  </a:lnTo>
                  <a:lnTo>
                    <a:pt x="589" y="283"/>
                  </a:lnTo>
                  <a:lnTo>
                    <a:pt x="590" y="286"/>
                  </a:lnTo>
                  <a:lnTo>
                    <a:pt x="591" y="288"/>
                  </a:lnTo>
                  <a:lnTo>
                    <a:pt x="593" y="290"/>
                  </a:lnTo>
                  <a:lnTo>
                    <a:pt x="595" y="293"/>
                  </a:lnTo>
                  <a:lnTo>
                    <a:pt x="597" y="294"/>
                  </a:lnTo>
                  <a:lnTo>
                    <a:pt x="601" y="295"/>
                  </a:lnTo>
                  <a:lnTo>
                    <a:pt x="603" y="295"/>
                  </a:lnTo>
                  <a:lnTo>
                    <a:pt x="605" y="295"/>
                  </a:lnTo>
                  <a:lnTo>
                    <a:pt x="606" y="296"/>
                  </a:lnTo>
                  <a:lnTo>
                    <a:pt x="608" y="297"/>
                  </a:lnTo>
                  <a:lnTo>
                    <a:pt x="609" y="300"/>
                  </a:lnTo>
                  <a:lnTo>
                    <a:pt x="610" y="304"/>
                  </a:lnTo>
                  <a:lnTo>
                    <a:pt x="610" y="311"/>
                  </a:lnTo>
                  <a:lnTo>
                    <a:pt x="609" y="317"/>
                  </a:lnTo>
                  <a:lnTo>
                    <a:pt x="608" y="323"/>
                  </a:lnTo>
                  <a:lnTo>
                    <a:pt x="605" y="334"/>
                  </a:lnTo>
                  <a:lnTo>
                    <a:pt x="601" y="341"/>
                  </a:lnTo>
                  <a:lnTo>
                    <a:pt x="595" y="343"/>
                  </a:lnTo>
                  <a:lnTo>
                    <a:pt x="592" y="346"/>
                  </a:lnTo>
                  <a:lnTo>
                    <a:pt x="589" y="350"/>
                  </a:lnTo>
                  <a:lnTo>
                    <a:pt x="588" y="356"/>
                  </a:lnTo>
                  <a:lnTo>
                    <a:pt x="588" y="368"/>
                  </a:lnTo>
                  <a:lnTo>
                    <a:pt x="587" y="380"/>
                  </a:lnTo>
                  <a:lnTo>
                    <a:pt x="584" y="391"/>
                  </a:lnTo>
                  <a:lnTo>
                    <a:pt x="581" y="402"/>
                  </a:lnTo>
                  <a:lnTo>
                    <a:pt x="575" y="420"/>
                  </a:lnTo>
                  <a:lnTo>
                    <a:pt x="567" y="436"/>
                  </a:lnTo>
                  <a:lnTo>
                    <a:pt x="553" y="458"/>
                  </a:lnTo>
                  <a:lnTo>
                    <a:pt x="546" y="466"/>
                  </a:lnTo>
                  <a:lnTo>
                    <a:pt x="545" y="468"/>
                  </a:lnTo>
                  <a:lnTo>
                    <a:pt x="543" y="471"/>
                  </a:lnTo>
                  <a:lnTo>
                    <a:pt x="542" y="474"/>
                  </a:lnTo>
                  <a:lnTo>
                    <a:pt x="542" y="477"/>
                  </a:lnTo>
                  <a:lnTo>
                    <a:pt x="542" y="571"/>
                  </a:lnTo>
                  <a:lnTo>
                    <a:pt x="452" y="606"/>
                  </a:lnTo>
                  <a:lnTo>
                    <a:pt x="361" y="571"/>
                  </a:lnTo>
                  <a:lnTo>
                    <a:pt x="361" y="477"/>
                  </a:lnTo>
                  <a:lnTo>
                    <a:pt x="361" y="474"/>
                  </a:lnTo>
                  <a:lnTo>
                    <a:pt x="360" y="471"/>
                  </a:lnTo>
                  <a:lnTo>
                    <a:pt x="358" y="468"/>
                  </a:lnTo>
                  <a:lnTo>
                    <a:pt x="357" y="466"/>
                  </a:lnTo>
                  <a:lnTo>
                    <a:pt x="350" y="458"/>
                  </a:lnTo>
                  <a:lnTo>
                    <a:pt x="336" y="436"/>
                  </a:lnTo>
                  <a:lnTo>
                    <a:pt x="328" y="420"/>
                  </a:lnTo>
                  <a:lnTo>
                    <a:pt x="322" y="402"/>
                  </a:lnTo>
                  <a:lnTo>
                    <a:pt x="319" y="391"/>
                  </a:lnTo>
                  <a:lnTo>
                    <a:pt x="316" y="379"/>
                  </a:lnTo>
                  <a:lnTo>
                    <a:pt x="315" y="368"/>
                  </a:lnTo>
                  <a:lnTo>
                    <a:pt x="315" y="356"/>
                  </a:lnTo>
                  <a:close/>
                  <a:moveTo>
                    <a:pt x="365" y="36"/>
                  </a:moveTo>
                  <a:lnTo>
                    <a:pt x="395" y="55"/>
                  </a:lnTo>
                  <a:lnTo>
                    <a:pt x="408" y="61"/>
                  </a:lnTo>
                  <a:lnTo>
                    <a:pt x="422" y="65"/>
                  </a:lnTo>
                  <a:lnTo>
                    <a:pt x="437" y="69"/>
                  </a:lnTo>
                  <a:lnTo>
                    <a:pt x="452" y="70"/>
                  </a:lnTo>
                  <a:lnTo>
                    <a:pt x="467" y="69"/>
                  </a:lnTo>
                  <a:lnTo>
                    <a:pt x="482" y="65"/>
                  </a:lnTo>
                  <a:lnTo>
                    <a:pt x="495" y="61"/>
                  </a:lnTo>
                  <a:lnTo>
                    <a:pt x="508" y="55"/>
                  </a:lnTo>
                  <a:lnTo>
                    <a:pt x="538" y="36"/>
                  </a:lnTo>
                  <a:lnTo>
                    <a:pt x="606" y="221"/>
                  </a:lnTo>
                  <a:lnTo>
                    <a:pt x="297" y="221"/>
                  </a:lnTo>
                  <a:lnTo>
                    <a:pt x="365" y="36"/>
                  </a:lnTo>
                  <a:close/>
                  <a:moveTo>
                    <a:pt x="452" y="714"/>
                  </a:moveTo>
                  <a:lnTo>
                    <a:pt x="413" y="675"/>
                  </a:lnTo>
                  <a:lnTo>
                    <a:pt x="452" y="641"/>
                  </a:lnTo>
                  <a:lnTo>
                    <a:pt x="490" y="675"/>
                  </a:lnTo>
                  <a:lnTo>
                    <a:pt x="452" y="714"/>
                  </a:lnTo>
                  <a:close/>
                  <a:moveTo>
                    <a:pt x="368" y="852"/>
                  </a:moveTo>
                  <a:lnTo>
                    <a:pt x="336" y="745"/>
                  </a:lnTo>
                  <a:lnTo>
                    <a:pt x="390" y="696"/>
                  </a:lnTo>
                  <a:lnTo>
                    <a:pt x="433" y="739"/>
                  </a:lnTo>
                  <a:lnTo>
                    <a:pt x="385" y="852"/>
                  </a:lnTo>
                  <a:lnTo>
                    <a:pt x="368" y="852"/>
                  </a:lnTo>
                  <a:close/>
                  <a:moveTo>
                    <a:pt x="518" y="852"/>
                  </a:moveTo>
                  <a:lnTo>
                    <a:pt x="470" y="739"/>
                  </a:lnTo>
                  <a:lnTo>
                    <a:pt x="513" y="695"/>
                  </a:lnTo>
                  <a:lnTo>
                    <a:pt x="568" y="744"/>
                  </a:lnTo>
                  <a:lnTo>
                    <a:pt x="535" y="852"/>
                  </a:lnTo>
                  <a:lnTo>
                    <a:pt x="518" y="852"/>
                  </a:lnTo>
                  <a:close/>
                  <a:moveTo>
                    <a:pt x="608" y="616"/>
                  </a:moveTo>
                  <a:lnTo>
                    <a:pt x="578" y="712"/>
                  </a:lnTo>
                  <a:lnTo>
                    <a:pt x="480" y="626"/>
                  </a:lnTo>
                  <a:lnTo>
                    <a:pt x="557" y="598"/>
                  </a:lnTo>
                  <a:lnTo>
                    <a:pt x="569" y="602"/>
                  </a:lnTo>
                  <a:lnTo>
                    <a:pt x="582" y="608"/>
                  </a:lnTo>
                  <a:lnTo>
                    <a:pt x="595" y="612"/>
                  </a:lnTo>
                  <a:lnTo>
                    <a:pt x="608" y="616"/>
                  </a:lnTo>
                  <a:close/>
                  <a:moveTo>
                    <a:pt x="864" y="730"/>
                  </a:moveTo>
                  <a:lnTo>
                    <a:pt x="860" y="719"/>
                  </a:lnTo>
                  <a:lnTo>
                    <a:pt x="855" y="709"/>
                  </a:lnTo>
                  <a:lnTo>
                    <a:pt x="847" y="699"/>
                  </a:lnTo>
                  <a:lnTo>
                    <a:pt x="839" y="690"/>
                  </a:lnTo>
                  <a:lnTo>
                    <a:pt x="828" y="682"/>
                  </a:lnTo>
                  <a:lnTo>
                    <a:pt x="817" y="673"/>
                  </a:lnTo>
                  <a:lnTo>
                    <a:pt x="803" y="665"/>
                  </a:lnTo>
                  <a:lnTo>
                    <a:pt x="789" y="657"/>
                  </a:lnTo>
                  <a:lnTo>
                    <a:pt x="756" y="641"/>
                  </a:lnTo>
                  <a:lnTo>
                    <a:pt x="720" y="626"/>
                  </a:lnTo>
                  <a:lnTo>
                    <a:pt x="678" y="610"/>
                  </a:lnTo>
                  <a:lnTo>
                    <a:pt x="633" y="594"/>
                  </a:lnTo>
                  <a:lnTo>
                    <a:pt x="618" y="588"/>
                  </a:lnTo>
                  <a:lnTo>
                    <a:pt x="603" y="583"/>
                  </a:lnTo>
                  <a:lnTo>
                    <a:pt x="588" y="578"/>
                  </a:lnTo>
                  <a:lnTo>
                    <a:pt x="572" y="571"/>
                  </a:lnTo>
                  <a:lnTo>
                    <a:pt x="572" y="482"/>
                  </a:lnTo>
                  <a:lnTo>
                    <a:pt x="577" y="476"/>
                  </a:lnTo>
                  <a:lnTo>
                    <a:pt x="583" y="467"/>
                  </a:lnTo>
                  <a:lnTo>
                    <a:pt x="591" y="456"/>
                  </a:lnTo>
                  <a:lnTo>
                    <a:pt x="598" y="443"/>
                  </a:lnTo>
                  <a:lnTo>
                    <a:pt x="605" y="427"/>
                  </a:lnTo>
                  <a:lnTo>
                    <a:pt x="611" y="408"/>
                  </a:lnTo>
                  <a:lnTo>
                    <a:pt x="613" y="399"/>
                  </a:lnTo>
                  <a:lnTo>
                    <a:pt x="616" y="388"/>
                  </a:lnTo>
                  <a:lnTo>
                    <a:pt x="617" y="377"/>
                  </a:lnTo>
                  <a:lnTo>
                    <a:pt x="618" y="365"/>
                  </a:lnTo>
                  <a:lnTo>
                    <a:pt x="623" y="361"/>
                  </a:lnTo>
                  <a:lnTo>
                    <a:pt x="627" y="355"/>
                  </a:lnTo>
                  <a:lnTo>
                    <a:pt x="632" y="348"/>
                  </a:lnTo>
                  <a:lnTo>
                    <a:pt x="635" y="341"/>
                  </a:lnTo>
                  <a:lnTo>
                    <a:pt x="637" y="332"/>
                  </a:lnTo>
                  <a:lnTo>
                    <a:pt x="639" y="325"/>
                  </a:lnTo>
                  <a:lnTo>
                    <a:pt x="640" y="316"/>
                  </a:lnTo>
                  <a:lnTo>
                    <a:pt x="640" y="309"/>
                  </a:lnTo>
                  <a:lnTo>
                    <a:pt x="640" y="301"/>
                  </a:lnTo>
                  <a:lnTo>
                    <a:pt x="638" y="294"/>
                  </a:lnTo>
                  <a:lnTo>
                    <a:pt x="636" y="286"/>
                  </a:lnTo>
                  <a:lnTo>
                    <a:pt x="633" y="281"/>
                  </a:lnTo>
                  <a:lnTo>
                    <a:pt x="630" y="277"/>
                  </a:lnTo>
                  <a:lnTo>
                    <a:pt x="626" y="273"/>
                  </a:lnTo>
                  <a:lnTo>
                    <a:pt x="622" y="270"/>
                  </a:lnTo>
                  <a:lnTo>
                    <a:pt x="619" y="268"/>
                  </a:lnTo>
                  <a:lnTo>
                    <a:pt x="619" y="251"/>
                  </a:lnTo>
                  <a:lnTo>
                    <a:pt x="698" y="251"/>
                  </a:lnTo>
                  <a:lnTo>
                    <a:pt x="701" y="251"/>
                  </a:lnTo>
                  <a:lnTo>
                    <a:pt x="703" y="250"/>
                  </a:lnTo>
                  <a:lnTo>
                    <a:pt x="707" y="249"/>
                  </a:lnTo>
                  <a:lnTo>
                    <a:pt x="709" y="246"/>
                  </a:lnTo>
                  <a:lnTo>
                    <a:pt x="711" y="244"/>
                  </a:lnTo>
                  <a:lnTo>
                    <a:pt x="712" y="242"/>
                  </a:lnTo>
                  <a:lnTo>
                    <a:pt x="713" y="239"/>
                  </a:lnTo>
                  <a:lnTo>
                    <a:pt x="713" y="236"/>
                  </a:lnTo>
                  <a:lnTo>
                    <a:pt x="713" y="234"/>
                  </a:lnTo>
                  <a:lnTo>
                    <a:pt x="712" y="230"/>
                  </a:lnTo>
                  <a:lnTo>
                    <a:pt x="711" y="227"/>
                  </a:lnTo>
                  <a:lnTo>
                    <a:pt x="709" y="225"/>
                  </a:lnTo>
                  <a:lnTo>
                    <a:pt x="707" y="224"/>
                  </a:lnTo>
                  <a:lnTo>
                    <a:pt x="703" y="222"/>
                  </a:lnTo>
                  <a:lnTo>
                    <a:pt x="701" y="222"/>
                  </a:lnTo>
                  <a:lnTo>
                    <a:pt x="698" y="221"/>
                  </a:lnTo>
                  <a:lnTo>
                    <a:pt x="638" y="221"/>
                  </a:lnTo>
                  <a:lnTo>
                    <a:pt x="561" y="10"/>
                  </a:lnTo>
                  <a:lnTo>
                    <a:pt x="559" y="6"/>
                  </a:lnTo>
                  <a:lnTo>
                    <a:pt x="557" y="4"/>
                  </a:lnTo>
                  <a:lnTo>
                    <a:pt x="554" y="2"/>
                  </a:lnTo>
                  <a:lnTo>
                    <a:pt x="551" y="0"/>
                  </a:lnTo>
                  <a:lnTo>
                    <a:pt x="548" y="0"/>
                  </a:lnTo>
                  <a:lnTo>
                    <a:pt x="545" y="0"/>
                  </a:lnTo>
                  <a:lnTo>
                    <a:pt x="542" y="0"/>
                  </a:lnTo>
                  <a:lnTo>
                    <a:pt x="538" y="2"/>
                  </a:lnTo>
                  <a:lnTo>
                    <a:pt x="492" y="29"/>
                  </a:lnTo>
                  <a:lnTo>
                    <a:pt x="484" y="33"/>
                  </a:lnTo>
                  <a:lnTo>
                    <a:pt x="473" y="36"/>
                  </a:lnTo>
                  <a:lnTo>
                    <a:pt x="462" y="38"/>
                  </a:lnTo>
                  <a:lnTo>
                    <a:pt x="452" y="40"/>
                  </a:lnTo>
                  <a:lnTo>
                    <a:pt x="441" y="38"/>
                  </a:lnTo>
                  <a:lnTo>
                    <a:pt x="430" y="36"/>
                  </a:lnTo>
                  <a:lnTo>
                    <a:pt x="419" y="33"/>
                  </a:lnTo>
                  <a:lnTo>
                    <a:pt x="411" y="29"/>
                  </a:lnTo>
                  <a:lnTo>
                    <a:pt x="365" y="2"/>
                  </a:lnTo>
                  <a:lnTo>
                    <a:pt x="361" y="0"/>
                  </a:lnTo>
                  <a:lnTo>
                    <a:pt x="358" y="0"/>
                  </a:lnTo>
                  <a:lnTo>
                    <a:pt x="355" y="0"/>
                  </a:lnTo>
                  <a:lnTo>
                    <a:pt x="352" y="0"/>
                  </a:lnTo>
                  <a:lnTo>
                    <a:pt x="349" y="2"/>
                  </a:lnTo>
                  <a:lnTo>
                    <a:pt x="346" y="4"/>
                  </a:lnTo>
                  <a:lnTo>
                    <a:pt x="344" y="6"/>
                  </a:lnTo>
                  <a:lnTo>
                    <a:pt x="342" y="10"/>
                  </a:lnTo>
                  <a:lnTo>
                    <a:pt x="265" y="221"/>
                  </a:lnTo>
                  <a:lnTo>
                    <a:pt x="205" y="221"/>
                  </a:lnTo>
                  <a:lnTo>
                    <a:pt x="202" y="222"/>
                  </a:lnTo>
                  <a:lnTo>
                    <a:pt x="200" y="222"/>
                  </a:lnTo>
                  <a:lnTo>
                    <a:pt x="196" y="224"/>
                  </a:lnTo>
                  <a:lnTo>
                    <a:pt x="194" y="225"/>
                  </a:lnTo>
                  <a:lnTo>
                    <a:pt x="192" y="228"/>
                  </a:lnTo>
                  <a:lnTo>
                    <a:pt x="191" y="230"/>
                  </a:lnTo>
                  <a:lnTo>
                    <a:pt x="190" y="234"/>
                  </a:lnTo>
                  <a:lnTo>
                    <a:pt x="190" y="236"/>
                  </a:lnTo>
                  <a:lnTo>
                    <a:pt x="190" y="239"/>
                  </a:lnTo>
                  <a:lnTo>
                    <a:pt x="191" y="242"/>
                  </a:lnTo>
                  <a:lnTo>
                    <a:pt x="192" y="244"/>
                  </a:lnTo>
                  <a:lnTo>
                    <a:pt x="194" y="246"/>
                  </a:lnTo>
                  <a:lnTo>
                    <a:pt x="196" y="249"/>
                  </a:lnTo>
                  <a:lnTo>
                    <a:pt x="200" y="250"/>
                  </a:lnTo>
                  <a:lnTo>
                    <a:pt x="202" y="251"/>
                  </a:lnTo>
                  <a:lnTo>
                    <a:pt x="205" y="251"/>
                  </a:lnTo>
                  <a:lnTo>
                    <a:pt x="276" y="251"/>
                  </a:lnTo>
                  <a:lnTo>
                    <a:pt x="276" y="251"/>
                  </a:lnTo>
                  <a:lnTo>
                    <a:pt x="276" y="251"/>
                  </a:lnTo>
                  <a:lnTo>
                    <a:pt x="276" y="251"/>
                  </a:lnTo>
                  <a:lnTo>
                    <a:pt x="276" y="251"/>
                  </a:lnTo>
                  <a:lnTo>
                    <a:pt x="284" y="251"/>
                  </a:lnTo>
                  <a:lnTo>
                    <a:pt x="284" y="268"/>
                  </a:lnTo>
                  <a:lnTo>
                    <a:pt x="281" y="270"/>
                  </a:lnTo>
                  <a:lnTo>
                    <a:pt x="277" y="273"/>
                  </a:lnTo>
                  <a:lnTo>
                    <a:pt x="274" y="277"/>
                  </a:lnTo>
                  <a:lnTo>
                    <a:pt x="270" y="281"/>
                  </a:lnTo>
                  <a:lnTo>
                    <a:pt x="267" y="286"/>
                  </a:lnTo>
                  <a:lnTo>
                    <a:pt x="265" y="294"/>
                  </a:lnTo>
                  <a:lnTo>
                    <a:pt x="263" y="301"/>
                  </a:lnTo>
                  <a:lnTo>
                    <a:pt x="263" y="309"/>
                  </a:lnTo>
                  <a:lnTo>
                    <a:pt x="263" y="316"/>
                  </a:lnTo>
                  <a:lnTo>
                    <a:pt x="264" y="325"/>
                  </a:lnTo>
                  <a:lnTo>
                    <a:pt x="266" y="332"/>
                  </a:lnTo>
                  <a:lnTo>
                    <a:pt x="268" y="341"/>
                  </a:lnTo>
                  <a:lnTo>
                    <a:pt x="271" y="348"/>
                  </a:lnTo>
                  <a:lnTo>
                    <a:pt x="276" y="355"/>
                  </a:lnTo>
                  <a:lnTo>
                    <a:pt x="280" y="361"/>
                  </a:lnTo>
                  <a:lnTo>
                    <a:pt x="285" y="365"/>
                  </a:lnTo>
                  <a:lnTo>
                    <a:pt x="286" y="377"/>
                  </a:lnTo>
                  <a:lnTo>
                    <a:pt x="287" y="388"/>
                  </a:lnTo>
                  <a:lnTo>
                    <a:pt x="290" y="399"/>
                  </a:lnTo>
                  <a:lnTo>
                    <a:pt x="292" y="408"/>
                  </a:lnTo>
                  <a:lnTo>
                    <a:pt x="298" y="427"/>
                  </a:lnTo>
                  <a:lnTo>
                    <a:pt x="305" y="443"/>
                  </a:lnTo>
                  <a:lnTo>
                    <a:pt x="312" y="456"/>
                  </a:lnTo>
                  <a:lnTo>
                    <a:pt x="320" y="467"/>
                  </a:lnTo>
                  <a:lnTo>
                    <a:pt x="326" y="476"/>
                  </a:lnTo>
                  <a:lnTo>
                    <a:pt x="331" y="482"/>
                  </a:lnTo>
                  <a:lnTo>
                    <a:pt x="331" y="571"/>
                  </a:lnTo>
                  <a:lnTo>
                    <a:pt x="315" y="578"/>
                  </a:lnTo>
                  <a:lnTo>
                    <a:pt x="300" y="583"/>
                  </a:lnTo>
                  <a:lnTo>
                    <a:pt x="285" y="588"/>
                  </a:lnTo>
                  <a:lnTo>
                    <a:pt x="270" y="594"/>
                  </a:lnTo>
                  <a:lnTo>
                    <a:pt x="225" y="610"/>
                  </a:lnTo>
                  <a:lnTo>
                    <a:pt x="183" y="626"/>
                  </a:lnTo>
                  <a:lnTo>
                    <a:pt x="147" y="641"/>
                  </a:lnTo>
                  <a:lnTo>
                    <a:pt x="114" y="657"/>
                  </a:lnTo>
                  <a:lnTo>
                    <a:pt x="100" y="665"/>
                  </a:lnTo>
                  <a:lnTo>
                    <a:pt x="86" y="673"/>
                  </a:lnTo>
                  <a:lnTo>
                    <a:pt x="75" y="682"/>
                  </a:lnTo>
                  <a:lnTo>
                    <a:pt x="64" y="690"/>
                  </a:lnTo>
                  <a:lnTo>
                    <a:pt x="56" y="699"/>
                  </a:lnTo>
                  <a:lnTo>
                    <a:pt x="48" y="709"/>
                  </a:lnTo>
                  <a:lnTo>
                    <a:pt x="43" y="719"/>
                  </a:lnTo>
                  <a:lnTo>
                    <a:pt x="39" y="730"/>
                  </a:lnTo>
                  <a:lnTo>
                    <a:pt x="32" y="747"/>
                  </a:lnTo>
                  <a:lnTo>
                    <a:pt x="25" y="768"/>
                  </a:lnTo>
                  <a:lnTo>
                    <a:pt x="18" y="789"/>
                  </a:lnTo>
                  <a:lnTo>
                    <a:pt x="13" y="810"/>
                  </a:lnTo>
                  <a:lnTo>
                    <a:pt x="4" y="848"/>
                  </a:lnTo>
                  <a:lnTo>
                    <a:pt x="0" y="865"/>
                  </a:lnTo>
                  <a:lnTo>
                    <a:pt x="0" y="868"/>
                  </a:lnTo>
                  <a:lnTo>
                    <a:pt x="1" y="872"/>
                  </a:lnTo>
                  <a:lnTo>
                    <a:pt x="2" y="875"/>
                  </a:lnTo>
                  <a:lnTo>
                    <a:pt x="3" y="877"/>
                  </a:lnTo>
                  <a:lnTo>
                    <a:pt x="7" y="879"/>
                  </a:lnTo>
                  <a:lnTo>
                    <a:pt x="9" y="881"/>
                  </a:lnTo>
                  <a:lnTo>
                    <a:pt x="12" y="882"/>
                  </a:lnTo>
                  <a:lnTo>
                    <a:pt x="15" y="883"/>
                  </a:lnTo>
                  <a:lnTo>
                    <a:pt x="395" y="882"/>
                  </a:lnTo>
                  <a:lnTo>
                    <a:pt x="508" y="882"/>
                  </a:lnTo>
                  <a:lnTo>
                    <a:pt x="888" y="882"/>
                  </a:lnTo>
                  <a:lnTo>
                    <a:pt x="891" y="882"/>
                  </a:lnTo>
                  <a:lnTo>
                    <a:pt x="893" y="881"/>
                  </a:lnTo>
                  <a:lnTo>
                    <a:pt x="896" y="880"/>
                  </a:lnTo>
                  <a:lnTo>
                    <a:pt x="899" y="878"/>
                  </a:lnTo>
                  <a:lnTo>
                    <a:pt x="900" y="876"/>
                  </a:lnTo>
                  <a:lnTo>
                    <a:pt x="902" y="874"/>
                  </a:lnTo>
                  <a:lnTo>
                    <a:pt x="903" y="870"/>
                  </a:lnTo>
                  <a:lnTo>
                    <a:pt x="903" y="867"/>
                  </a:lnTo>
                  <a:lnTo>
                    <a:pt x="902" y="857"/>
                  </a:lnTo>
                  <a:lnTo>
                    <a:pt x="898" y="826"/>
                  </a:lnTo>
                  <a:lnTo>
                    <a:pt x="893" y="807"/>
                  </a:lnTo>
                  <a:lnTo>
                    <a:pt x="886" y="784"/>
                  </a:lnTo>
                  <a:lnTo>
                    <a:pt x="876" y="758"/>
                  </a:lnTo>
                  <a:lnTo>
                    <a:pt x="864"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Rectangle 103">
              <a:extLst>
                <a:ext uri="{FF2B5EF4-FFF2-40B4-BE49-F238E27FC236}">
                  <a16:creationId xmlns:a16="http://schemas.microsoft.com/office/drawing/2014/main" id="{16516BAB-CE6F-44BD-9F64-A224E232258A}"/>
                </a:ext>
              </a:extLst>
            </p:cNvPr>
            <p:cNvSpPr>
              <a:spLocks noChangeArrowheads="1"/>
            </p:cNvSpPr>
            <p:nvPr/>
          </p:nvSpPr>
          <p:spPr bwMode="auto">
            <a:xfrm>
              <a:off x="1096963" y="3883025"/>
              <a:ext cx="3016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5" name="Group 44">
            <a:extLst>
              <a:ext uri="{FF2B5EF4-FFF2-40B4-BE49-F238E27FC236}">
                <a16:creationId xmlns:a16="http://schemas.microsoft.com/office/drawing/2014/main" id="{BE8EF13C-9412-4C9A-877A-B37D8E0F65BC}"/>
              </a:ext>
            </a:extLst>
          </p:cNvPr>
          <p:cNvGrpSpPr>
            <a:grpSpLocks noChangeAspect="1"/>
          </p:cNvGrpSpPr>
          <p:nvPr/>
        </p:nvGrpSpPr>
        <p:grpSpPr>
          <a:xfrm>
            <a:off x="1467791" y="4340505"/>
            <a:ext cx="307721" cy="285619"/>
            <a:chOff x="3746500" y="2522538"/>
            <a:chExt cx="287338" cy="266700"/>
          </a:xfrm>
          <a:solidFill>
            <a:schemeClr val="bg1"/>
          </a:solidFill>
        </p:grpSpPr>
        <p:sp>
          <p:nvSpPr>
            <p:cNvPr id="946" name="Freeform 125">
              <a:extLst>
                <a:ext uri="{FF2B5EF4-FFF2-40B4-BE49-F238E27FC236}">
                  <a16:creationId xmlns:a16="http://schemas.microsoft.com/office/drawing/2014/main" id="{2A12DF5F-294E-4665-BC65-52A268BC8A83}"/>
                </a:ext>
              </a:extLst>
            </p:cNvPr>
            <p:cNvSpPr>
              <a:spLocks noEditPoints="1"/>
            </p:cNvSpPr>
            <p:nvPr/>
          </p:nvSpPr>
          <p:spPr bwMode="auto">
            <a:xfrm>
              <a:off x="3746500" y="2522538"/>
              <a:ext cx="287338" cy="266700"/>
            </a:xfrm>
            <a:custGeom>
              <a:avLst/>
              <a:gdLst>
                <a:gd name="T0" fmla="*/ 375 w 901"/>
                <a:gd name="T1" fmla="*/ 705 h 841"/>
                <a:gd name="T2" fmla="*/ 297 w 901"/>
                <a:gd name="T3" fmla="*/ 688 h 841"/>
                <a:gd name="T4" fmla="*/ 161 w 901"/>
                <a:gd name="T5" fmla="*/ 620 h 841"/>
                <a:gd name="T6" fmla="*/ 114 w 901"/>
                <a:gd name="T7" fmla="*/ 573 h 841"/>
                <a:gd name="T8" fmla="*/ 62 w 901"/>
                <a:gd name="T9" fmla="*/ 500 h 841"/>
                <a:gd name="T10" fmla="*/ 35 w 901"/>
                <a:gd name="T11" fmla="*/ 420 h 841"/>
                <a:gd name="T12" fmla="*/ 32 w 901"/>
                <a:gd name="T13" fmla="*/ 335 h 841"/>
                <a:gd name="T14" fmla="*/ 56 w 901"/>
                <a:gd name="T15" fmla="*/ 253 h 841"/>
                <a:gd name="T16" fmla="*/ 102 w 901"/>
                <a:gd name="T17" fmla="*/ 179 h 841"/>
                <a:gd name="T18" fmla="*/ 168 w 901"/>
                <a:gd name="T19" fmla="*/ 117 h 841"/>
                <a:gd name="T20" fmla="*/ 251 w 901"/>
                <a:gd name="T21" fmla="*/ 70 h 841"/>
                <a:gd name="T22" fmla="*/ 346 w 901"/>
                <a:gd name="T23" fmla="*/ 40 h 841"/>
                <a:gd name="T24" fmla="*/ 451 w 901"/>
                <a:gd name="T25" fmla="*/ 30 h 841"/>
                <a:gd name="T26" fmla="*/ 556 w 901"/>
                <a:gd name="T27" fmla="*/ 40 h 841"/>
                <a:gd name="T28" fmla="*/ 651 w 901"/>
                <a:gd name="T29" fmla="*/ 70 h 841"/>
                <a:gd name="T30" fmla="*/ 733 w 901"/>
                <a:gd name="T31" fmla="*/ 117 h 841"/>
                <a:gd name="T32" fmla="*/ 800 w 901"/>
                <a:gd name="T33" fmla="*/ 179 h 841"/>
                <a:gd name="T34" fmla="*/ 846 w 901"/>
                <a:gd name="T35" fmla="*/ 253 h 841"/>
                <a:gd name="T36" fmla="*/ 869 w 901"/>
                <a:gd name="T37" fmla="*/ 335 h 841"/>
                <a:gd name="T38" fmla="*/ 866 w 901"/>
                <a:gd name="T39" fmla="*/ 421 h 841"/>
                <a:gd name="T40" fmla="*/ 838 w 901"/>
                <a:gd name="T41" fmla="*/ 502 h 841"/>
                <a:gd name="T42" fmla="*/ 788 w 901"/>
                <a:gd name="T43" fmla="*/ 573 h 841"/>
                <a:gd name="T44" fmla="*/ 718 w 901"/>
                <a:gd name="T45" fmla="*/ 632 h 841"/>
                <a:gd name="T46" fmla="*/ 633 w 901"/>
                <a:gd name="T47" fmla="*/ 676 h 841"/>
                <a:gd name="T48" fmla="*/ 535 w 901"/>
                <a:gd name="T49" fmla="*/ 703 h 841"/>
                <a:gd name="T50" fmla="*/ 451 w 901"/>
                <a:gd name="T51" fmla="*/ 710 h 841"/>
                <a:gd name="T52" fmla="*/ 360 w 901"/>
                <a:gd name="T53" fmla="*/ 7 h 841"/>
                <a:gd name="T54" fmla="*/ 256 w 901"/>
                <a:gd name="T55" fmla="*/ 36 h 841"/>
                <a:gd name="T56" fmla="*/ 164 w 901"/>
                <a:gd name="T57" fmla="*/ 84 h 841"/>
                <a:gd name="T58" fmla="*/ 90 w 901"/>
                <a:gd name="T59" fmla="*/ 148 h 841"/>
                <a:gd name="T60" fmla="*/ 36 w 901"/>
                <a:gd name="T61" fmla="*/ 225 h 841"/>
                <a:gd name="T62" fmla="*/ 6 w 901"/>
                <a:gd name="T63" fmla="*/ 313 h 841"/>
                <a:gd name="T64" fmla="*/ 2 w 901"/>
                <a:gd name="T65" fmla="*/ 406 h 841"/>
                <a:gd name="T66" fmla="*/ 25 w 901"/>
                <a:gd name="T67" fmla="*/ 493 h 841"/>
                <a:gd name="T68" fmla="*/ 73 w 901"/>
                <a:gd name="T69" fmla="*/ 571 h 841"/>
                <a:gd name="T70" fmla="*/ 31 w 901"/>
                <a:gd name="T71" fmla="*/ 818 h 841"/>
                <a:gd name="T72" fmla="*/ 37 w 901"/>
                <a:gd name="T73" fmla="*/ 838 h 841"/>
                <a:gd name="T74" fmla="*/ 52 w 901"/>
                <a:gd name="T75" fmla="*/ 839 h 841"/>
                <a:gd name="T76" fmla="*/ 374 w 901"/>
                <a:gd name="T77" fmla="*/ 735 h 841"/>
                <a:gd name="T78" fmla="*/ 474 w 901"/>
                <a:gd name="T79" fmla="*/ 739 h 841"/>
                <a:gd name="T80" fmla="*/ 585 w 901"/>
                <a:gd name="T81" fmla="*/ 723 h 841"/>
                <a:gd name="T82" fmla="*/ 684 w 901"/>
                <a:gd name="T83" fmla="*/ 687 h 841"/>
                <a:gd name="T84" fmla="*/ 770 w 901"/>
                <a:gd name="T85" fmla="*/ 631 h 841"/>
                <a:gd name="T86" fmla="*/ 836 w 901"/>
                <a:gd name="T87" fmla="*/ 561 h 841"/>
                <a:gd name="T88" fmla="*/ 881 w 901"/>
                <a:gd name="T89" fmla="*/ 480 h 841"/>
                <a:gd name="T90" fmla="*/ 900 w 901"/>
                <a:gd name="T91" fmla="*/ 389 h 841"/>
                <a:gd name="T92" fmla="*/ 892 w 901"/>
                <a:gd name="T93" fmla="*/ 295 h 841"/>
                <a:gd name="T94" fmla="*/ 856 w 901"/>
                <a:gd name="T95" fmla="*/ 209 h 841"/>
                <a:gd name="T96" fmla="*/ 799 w 901"/>
                <a:gd name="T97" fmla="*/ 134 h 841"/>
                <a:gd name="T98" fmla="*/ 720 w 901"/>
                <a:gd name="T99" fmla="*/ 73 h 841"/>
                <a:gd name="T100" fmla="*/ 626 w 901"/>
                <a:gd name="T101" fmla="*/ 29 h 841"/>
                <a:gd name="T102" fmla="*/ 519 w 901"/>
                <a:gd name="T103" fmla="*/ 4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1" h="841">
                  <a:moveTo>
                    <a:pt x="451" y="710"/>
                  </a:moveTo>
                  <a:lnTo>
                    <a:pt x="432" y="709"/>
                  </a:lnTo>
                  <a:lnTo>
                    <a:pt x="412" y="709"/>
                  </a:lnTo>
                  <a:lnTo>
                    <a:pt x="394" y="707"/>
                  </a:lnTo>
                  <a:lnTo>
                    <a:pt x="375" y="705"/>
                  </a:lnTo>
                  <a:lnTo>
                    <a:pt x="357" y="702"/>
                  </a:lnTo>
                  <a:lnTo>
                    <a:pt x="338" y="697"/>
                  </a:lnTo>
                  <a:lnTo>
                    <a:pt x="320" y="693"/>
                  </a:lnTo>
                  <a:lnTo>
                    <a:pt x="302" y="689"/>
                  </a:lnTo>
                  <a:lnTo>
                    <a:pt x="297" y="688"/>
                  </a:lnTo>
                  <a:lnTo>
                    <a:pt x="291" y="689"/>
                  </a:lnTo>
                  <a:lnTo>
                    <a:pt x="78" y="793"/>
                  </a:lnTo>
                  <a:lnTo>
                    <a:pt x="160" y="630"/>
                  </a:lnTo>
                  <a:lnTo>
                    <a:pt x="161" y="626"/>
                  </a:lnTo>
                  <a:lnTo>
                    <a:pt x="161" y="620"/>
                  </a:lnTo>
                  <a:lnTo>
                    <a:pt x="159" y="616"/>
                  </a:lnTo>
                  <a:lnTo>
                    <a:pt x="156" y="612"/>
                  </a:lnTo>
                  <a:lnTo>
                    <a:pt x="141" y="599"/>
                  </a:lnTo>
                  <a:lnTo>
                    <a:pt x="127" y="586"/>
                  </a:lnTo>
                  <a:lnTo>
                    <a:pt x="114" y="573"/>
                  </a:lnTo>
                  <a:lnTo>
                    <a:pt x="102" y="559"/>
                  </a:lnTo>
                  <a:lnTo>
                    <a:pt x="90" y="545"/>
                  </a:lnTo>
                  <a:lnTo>
                    <a:pt x="81" y="532"/>
                  </a:lnTo>
                  <a:lnTo>
                    <a:pt x="71" y="517"/>
                  </a:lnTo>
                  <a:lnTo>
                    <a:pt x="62" y="500"/>
                  </a:lnTo>
                  <a:lnTo>
                    <a:pt x="55" y="485"/>
                  </a:lnTo>
                  <a:lnTo>
                    <a:pt x="49" y="469"/>
                  </a:lnTo>
                  <a:lnTo>
                    <a:pt x="43" y="453"/>
                  </a:lnTo>
                  <a:lnTo>
                    <a:pt x="39" y="437"/>
                  </a:lnTo>
                  <a:lnTo>
                    <a:pt x="35" y="420"/>
                  </a:lnTo>
                  <a:lnTo>
                    <a:pt x="32" y="404"/>
                  </a:lnTo>
                  <a:lnTo>
                    <a:pt x="30" y="387"/>
                  </a:lnTo>
                  <a:lnTo>
                    <a:pt x="30" y="370"/>
                  </a:lnTo>
                  <a:lnTo>
                    <a:pt x="30" y="352"/>
                  </a:lnTo>
                  <a:lnTo>
                    <a:pt x="32" y="335"/>
                  </a:lnTo>
                  <a:lnTo>
                    <a:pt x="35" y="317"/>
                  </a:lnTo>
                  <a:lnTo>
                    <a:pt x="39" y="301"/>
                  </a:lnTo>
                  <a:lnTo>
                    <a:pt x="43" y="284"/>
                  </a:lnTo>
                  <a:lnTo>
                    <a:pt x="50" y="268"/>
                  </a:lnTo>
                  <a:lnTo>
                    <a:pt x="56" y="253"/>
                  </a:lnTo>
                  <a:lnTo>
                    <a:pt x="63" y="237"/>
                  </a:lnTo>
                  <a:lnTo>
                    <a:pt x="72" y="222"/>
                  </a:lnTo>
                  <a:lnTo>
                    <a:pt x="81" y="207"/>
                  </a:lnTo>
                  <a:lnTo>
                    <a:pt x="91" y="193"/>
                  </a:lnTo>
                  <a:lnTo>
                    <a:pt x="102" y="179"/>
                  </a:lnTo>
                  <a:lnTo>
                    <a:pt x="114" y="167"/>
                  </a:lnTo>
                  <a:lnTo>
                    <a:pt x="127" y="154"/>
                  </a:lnTo>
                  <a:lnTo>
                    <a:pt x="139" y="141"/>
                  </a:lnTo>
                  <a:lnTo>
                    <a:pt x="153" y="129"/>
                  </a:lnTo>
                  <a:lnTo>
                    <a:pt x="168" y="117"/>
                  </a:lnTo>
                  <a:lnTo>
                    <a:pt x="183" y="107"/>
                  </a:lnTo>
                  <a:lnTo>
                    <a:pt x="199" y="97"/>
                  </a:lnTo>
                  <a:lnTo>
                    <a:pt x="215" y="87"/>
                  </a:lnTo>
                  <a:lnTo>
                    <a:pt x="233" y="79"/>
                  </a:lnTo>
                  <a:lnTo>
                    <a:pt x="251" y="70"/>
                  </a:lnTo>
                  <a:lnTo>
                    <a:pt x="269" y="63"/>
                  </a:lnTo>
                  <a:lnTo>
                    <a:pt x="287" y="56"/>
                  </a:lnTo>
                  <a:lnTo>
                    <a:pt x="306" y="50"/>
                  </a:lnTo>
                  <a:lnTo>
                    <a:pt x="326" y="45"/>
                  </a:lnTo>
                  <a:lnTo>
                    <a:pt x="346" y="40"/>
                  </a:lnTo>
                  <a:lnTo>
                    <a:pt x="366" y="36"/>
                  </a:lnTo>
                  <a:lnTo>
                    <a:pt x="387" y="33"/>
                  </a:lnTo>
                  <a:lnTo>
                    <a:pt x="408" y="31"/>
                  </a:lnTo>
                  <a:lnTo>
                    <a:pt x="429" y="30"/>
                  </a:lnTo>
                  <a:lnTo>
                    <a:pt x="451" y="30"/>
                  </a:lnTo>
                  <a:lnTo>
                    <a:pt x="472" y="30"/>
                  </a:lnTo>
                  <a:lnTo>
                    <a:pt x="494" y="31"/>
                  </a:lnTo>
                  <a:lnTo>
                    <a:pt x="515" y="33"/>
                  </a:lnTo>
                  <a:lnTo>
                    <a:pt x="535" y="36"/>
                  </a:lnTo>
                  <a:lnTo>
                    <a:pt x="556" y="40"/>
                  </a:lnTo>
                  <a:lnTo>
                    <a:pt x="576" y="45"/>
                  </a:lnTo>
                  <a:lnTo>
                    <a:pt x="595" y="50"/>
                  </a:lnTo>
                  <a:lnTo>
                    <a:pt x="615" y="56"/>
                  </a:lnTo>
                  <a:lnTo>
                    <a:pt x="633" y="63"/>
                  </a:lnTo>
                  <a:lnTo>
                    <a:pt x="651" y="70"/>
                  </a:lnTo>
                  <a:lnTo>
                    <a:pt x="669" y="79"/>
                  </a:lnTo>
                  <a:lnTo>
                    <a:pt x="685" y="87"/>
                  </a:lnTo>
                  <a:lnTo>
                    <a:pt x="702" y="97"/>
                  </a:lnTo>
                  <a:lnTo>
                    <a:pt x="718" y="107"/>
                  </a:lnTo>
                  <a:lnTo>
                    <a:pt x="733" y="117"/>
                  </a:lnTo>
                  <a:lnTo>
                    <a:pt x="748" y="129"/>
                  </a:lnTo>
                  <a:lnTo>
                    <a:pt x="762" y="141"/>
                  </a:lnTo>
                  <a:lnTo>
                    <a:pt x="775" y="154"/>
                  </a:lnTo>
                  <a:lnTo>
                    <a:pt x="788" y="167"/>
                  </a:lnTo>
                  <a:lnTo>
                    <a:pt x="800" y="179"/>
                  </a:lnTo>
                  <a:lnTo>
                    <a:pt x="810" y="193"/>
                  </a:lnTo>
                  <a:lnTo>
                    <a:pt x="820" y="207"/>
                  </a:lnTo>
                  <a:lnTo>
                    <a:pt x="830" y="222"/>
                  </a:lnTo>
                  <a:lnTo>
                    <a:pt x="838" y="237"/>
                  </a:lnTo>
                  <a:lnTo>
                    <a:pt x="846" y="253"/>
                  </a:lnTo>
                  <a:lnTo>
                    <a:pt x="852" y="268"/>
                  </a:lnTo>
                  <a:lnTo>
                    <a:pt x="858" y="284"/>
                  </a:lnTo>
                  <a:lnTo>
                    <a:pt x="863" y="301"/>
                  </a:lnTo>
                  <a:lnTo>
                    <a:pt x="866" y="317"/>
                  </a:lnTo>
                  <a:lnTo>
                    <a:pt x="869" y="335"/>
                  </a:lnTo>
                  <a:lnTo>
                    <a:pt x="870" y="352"/>
                  </a:lnTo>
                  <a:lnTo>
                    <a:pt x="871" y="370"/>
                  </a:lnTo>
                  <a:lnTo>
                    <a:pt x="870" y="387"/>
                  </a:lnTo>
                  <a:lnTo>
                    <a:pt x="869" y="404"/>
                  </a:lnTo>
                  <a:lnTo>
                    <a:pt x="866" y="421"/>
                  </a:lnTo>
                  <a:lnTo>
                    <a:pt x="863" y="438"/>
                  </a:lnTo>
                  <a:lnTo>
                    <a:pt x="858" y="454"/>
                  </a:lnTo>
                  <a:lnTo>
                    <a:pt x="852" y="471"/>
                  </a:lnTo>
                  <a:lnTo>
                    <a:pt x="846" y="487"/>
                  </a:lnTo>
                  <a:lnTo>
                    <a:pt x="838" y="502"/>
                  </a:lnTo>
                  <a:lnTo>
                    <a:pt x="830" y="518"/>
                  </a:lnTo>
                  <a:lnTo>
                    <a:pt x="820" y="532"/>
                  </a:lnTo>
                  <a:lnTo>
                    <a:pt x="810" y="546"/>
                  </a:lnTo>
                  <a:lnTo>
                    <a:pt x="800" y="559"/>
                  </a:lnTo>
                  <a:lnTo>
                    <a:pt x="788" y="573"/>
                  </a:lnTo>
                  <a:lnTo>
                    <a:pt x="775" y="586"/>
                  </a:lnTo>
                  <a:lnTo>
                    <a:pt x="762" y="599"/>
                  </a:lnTo>
                  <a:lnTo>
                    <a:pt x="748" y="611"/>
                  </a:lnTo>
                  <a:lnTo>
                    <a:pt x="733" y="621"/>
                  </a:lnTo>
                  <a:lnTo>
                    <a:pt x="718" y="632"/>
                  </a:lnTo>
                  <a:lnTo>
                    <a:pt x="702" y="643"/>
                  </a:lnTo>
                  <a:lnTo>
                    <a:pt x="685" y="651"/>
                  </a:lnTo>
                  <a:lnTo>
                    <a:pt x="669" y="661"/>
                  </a:lnTo>
                  <a:lnTo>
                    <a:pt x="651" y="668"/>
                  </a:lnTo>
                  <a:lnTo>
                    <a:pt x="633" y="676"/>
                  </a:lnTo>
                  <a:lnTo>
                    <a:pt x="615" y="683"/>
                  </a:lnTo>
                  <a:lnTo>
                    <a:pt x="595" y="690"/>
                  </a:lnTo>
                  <a:lnTo>
                    <a:pt x="576" y="695"/>
                  </a:lnTo>
                  <a:lnTo>
                    <a:pt x="556" y="700"/>
                  </a:lnTo>
                  <a:lnTo>
                    <a:pt x="535" y="703"/>
                  </a:lnTo>
                  <a:lnTo>
                    <a:pt x="515" y="706"/>
                  </a:lnTo>
                  <a:lnTo>
                    <a:pt x="494" y="708"/>
                  </a:lnTo>
                  <a:lnTo>
                    <a:pt x="472" y="709"/>
                  </a:lnTo>
                  <a:lnTo>
                    <a:pt x="451" y="710"/>
                  </a:lnTo>
                  <a:lnTo>
                    <a:pt x="451" y="710"/>
                  </a:lnTo>
                  <a:close/>
                  <a:moveTo>
                    <a:pt x="451" y="0"/>
                  </a:moveTo>
                  <a:lnTo>
                    <a:pt x="427" y="0"/>
                  </a:lnTo>
                  <a:lnTo>
                    <a:pt x="405" y="1"/>
                  </a:lnTo>
                  <a:lnTo>
                    <a:pt x="382" y="4"/>
                  </a:lnTo>
                  <a:lnTo>
                    <a:pt x="360" y="7"/>
                  </a:lnTo>
                  <a:lnTo>
                    <a:pt x="338" y="11"/>
                  </a:lnTo>
                  <a:lnTo>
                    <a:pt x="317" y="16"/>
                  </a:lnTo>
                  <a:lnTo>
                    <a:pt x="296" y="22"/>
                  </a:lnTo>
                  <a:lnTo>
                    <a:pt x="275" y="29"/>
                  </a:lnTo>
                  <a:lnTo>
                    <a:pt x="256" y="36"/>
                  </a:lnTo>
                  <a:lnTo>
                    <a:pt x="236" y="45"/>
                  </a:lnTo>
                  <a:lnTo>
                    <a:pt x="218" y="53"/>
                  </a:lnTo>
                  <a:lnTo>
                    <a:pt x="199" y="63"/>
                  </a:lnTo>
                  <a:lnTo>
                    <a:pt x="181" y="73"/>
                  </a:lnTo>
                  <a:lnTo>
                    <a:pt x="164" y="84"/>
                  </a:lnTo>
                  <a:lnTo>
                    <a:pt x="148" y="96"/>
                  </a:lnTo>
                  <a:lnTo>
                    <a:pt x="132" y="108"/>
                  </a:lnTo>
                  <a:lnTo>
                    <a:pt x="117" y="121"/>
                  </a:lnTo>
                  <a:lnTo>
                    <a:pt x="103" y="134"/>
                  </a:lnTo>
                  <a:lnTo>
                    <a:pt x="90" y="148"/>
                  </a:lnTo>
                  <a:lnTo>
                    <a:pt x="77" y="162"/>
                  </a:lnTo>
                  <a:lnTo>
                    <a:pt x="66" y="177"/>
                  </a:lnTo>
                  <a:lnTo>
                    <a:pt x="55" y="193"/>
                  </a:lnTo>
                  <a:lnTo>
                    <a:pt x="44" y="209"/>
                  </a:lnTo>
                  <a:lnTo>
                    <a:pt x="36" y="225"/>
                  </a:lnTo>
                  <a:lnTo>
                    <a:pt x="27" y="243"/>
                  </a:lnTo>
                  <a:lnTo>
                    <a:pt x="21" y="260"/>
                  </a:lnTo>
                  <a:lnTo>
                    <a:pt x="14" y="277"/>
                  </a:lnTo>
                  <a:lnTo>
                    <a:pt x="9" y="295"/>
                  </a:lnTo>
                  <a:lnTo>
                    <a:pt x="6" y="313"/>
                  </a:lnTo>
                  <a:lnTo>
                    <a:pt x="2" y="331"/>
                  </a:lnTo>
                  <a:lnTo>
                    <a:pt x="0" y="351"/>
                  </a:lnTo>
                  <a:lnTo>
                    <a:pt x="0" y="370"/>
                  </a:lnTo>
                  <a:lnTo>
                    <a:pt x="0" y="388"/>
                  </a:lnTo>
                  <a:lnTo>
                    <a:pt x="2" y="406"/>
                  </a:lnTo>
                  <a:lnTo>
                    <a:pt x="5" y="423"/>
                  </a:lnTo>
                  <a:lnTo>
                    <a:pt x="9" y="442"/>
                  </a:lnTo>
                  <a:lnTo>
                    <a:pt x="13" y="459"/>
                  </a:lnTo>
                  <a:lnTo>
                    <a:pt x="19" y="476"/>
                  </a:lnTo>
                  <a:lnTo>
                    <a:pt x="25" y="493"/>
                  </a:lnTo>
                  <a:lnTo>
                    <a:pt x="32" y="509"/>
                  </a:lnTo>
                  <a:lnTo>
                    <a:pt x="41" y="525"/>
                  </a:lnTo>
                  <a:lnTo>
                    <a:pt x="51" y="541"/>
                  </a:lnTo>
                  <a:lnTo>
                    <a:pt x="61" y="556"/>
                  </a:lnTo>
                  <a:lnTo>
                    <a:pt x="73" y="571"/>
                  </a:lnTo>
                  <a:lnTo>
                    <a:pt x="85" y="586"/>
                  </a:lnTo>
                  <a:lnTo>
                    <a:pt x="98" y="600"/>
                  </a:lnTo>
                  <a:lnTo>
                    <a:pt x="113" y="614"/>
                  </a:lnTo>
                  <a:lnTo>
                    <a:pt x="127" y="628"/>
                  </a:lnTo>
                  <a:lnTo>
                    <a:pt x="31" y="818"/>
                  </a:lnTo>
                  <a:lnTo>
                    <a:pt x="30" y="824"/>
                  </a:lnTo>
                  <a:lnTo>
                    <a:pt x="30" y="828"/>
                  </a:lnTo>
                  <a:lnTo>
                    <a:pt x="31" y="832"/>
                  </a:lnTo>
                  <a:lnTo>
                    <a:pt x="35" y="835"/>
                  </a:lnTo>
                  <a:lnTo>
                    <a:pt x="37" y="838"/>
                  </a:lnTo>
                  <a:lnTo>
                    <a:pt x="40" y="840"/>
                  </a:lnTo>
                  <a:lnTo>
                    <a:pt x="42" y="840"/>
                  </a:lnTo>
                  <a:lnTo>
                    <a:pt x="45" y="841"/>
                  </a:lnTo>
                  <a:lnTo>
                    <a:pt x="49" y="840"/>
                  </a:lnTo>
                  <a:lnTo>
                    <a:pt x="52" y="839"/>
                  </a:lnTo>
                  <a:lnTo>
                    <a:pt x="300" y="719"/>
                  </a:lnTo>
                  <a:lnTo>
                    <a:pt x="318" y="724"/>
                  </a:lnTo>
                  <a:lnTo>
                    <a:pt x="336" y="728"/>
                  </a:lnTo>
                  <a:lnTo>
                    <a:pt x="355" y="732"/>
                  </a:lnTo>
                  <a:lnTo>
                    <a:pt x="374" y="735"/>
                  </a:lnTo>
                  <a:lnTo>
                    <a:pt x="393" y="737"/>
                  </a:lnTo>
                  <a:lnTo>
                    <a:pt x="412" y="739"/>
                  </a:lnTo>
                  <a:lnTo>
                    <a:pt x="432" y="740"/>
                  </a:lnTo>
                  <a:lnTo>
                    <a:pt x="451" y="740"/>
                  </a:lnTo>
                  <a:lnTo>
                    <a:pt x="474" y="739"/>
                  </a:lnTo>
                  <a:lnTo>
                    <a:pt x="497" y="738"/>
                  </a:lnTo>
                  <a:lnTo>
                    <a:pt x="519" y="736"/>
                  </a:lnTo>
                  <a:lnTo>
                    <a:pt x="542" y="733"/>
                  </a:lnTo>
                  <a:lnTo>
                    <a:pt x="563" y="728"/>
                  </a:lnTo>
                  <a:lnTo>
                    <a:pt x="585" y="723"/>
                  </a:lnTo>
                  <a:lnTo>
                    <a:pt x="606" y="718"/>
                  </a:lnTo>
                  <a:lnTo>
                    <a:pt x="626" y="711"/>
                  </a:lnTo>
                  <a:lnTo>
                    <a:pt x="646" y="704"/>
                  </a:lnTo>
                  <a:lnTo>
                    <a:pt x="665" y="695"/>
                  </a:lnTo>
                  <a:lnTo>
                    <a:pt x="684" y="687"/>
                  </a:lnTo>
                  <a:lnTo>
                    <a:pt x="702" y="677"/>
                  </a:lnTo>
                  <a:lnTo>
                    <a:pt x="720" y="666"/>
                  </a:lnTo>
                  <a:lnTo>
                    <a:pt x="738" y="656"/>
                  </a:lnTo>
                  <a:lnTo>
                    <a:pt x="754" y="644"/>
                  </a:lnTo>
                  <a:lnTo>
                    <a:pt x="770" y="631"/>
                  </a:lnTo>
                  <a:lnTo>
                    <a:pt x="784" y="618"/>
                  </a:lnTo>
                  <a:lnTo>
                    <a:pt x="799" y="605"/>
                  </a:lnTo>
                  <a:lnTo>
                    <a:pt x="811" y="591"/>
                  </a:lnTo>
                  <a:lnTo>
                    <a:pt x="824" y="576"/>
                  </a:lnTo>
                  <a:lnTo>
                    <a:pt x="836" y="561"/>
                  </a:lnTo>
                  <a:lnTo>
                    <a:pt x="847" y="546"/>
                  </a:lnTo>
                  <a:lnTo>
                    <a:pt x="856" y="530"/>
                  </a:lnTo>
                  <a:lnTo>
                    <a:pt x="866" y="513"/>
                  </a:lnTo>
                  <a:lnTo>
                    <a:pt x="873" y="497"/>
                  </a:lnTo>
                  <a:lnTo>
                    <a:pt x="881" y="480"/>
                  </a:lnTo>
                  <a:lnTo>
                    <a:pt x="887" y="462"/>
                  </a:lnTo>
                  <a:lnTo>
                    <a:pt x="892" y="444"/>
                  </a:lnTo>
                  <a:lnTo>
                    <a:pt x="896" y="426"/>
                  </a:lnTo>
                  <a:lnTo>
                    <a:pt x="899" y="407"/>
                  </a:lnTo>
                  <a:lnTo>
                    <a:pt x="900" y="389"/>
                  </a:lnTo>
                  <a:lnTo>
                    <a:pt x="901" y="370"/>
                  </a:lnTo>
                  <a:lnTo>
                    <a:pt x="900" y="351"/>
                  </a:lnTo>
                  <a:lnTo>
                    <a:pt x="899" y="331"/>
                  </a:lnTo>
                  <a:lnTo>
                    <a:pt x="896" y="313"/>
                  </a:lnTo>
                  <a:lnTo>
                    <a:pt x="892" y="295"/>
                  </a:lnTo>
                  <a:lnTo>
                    <a:pt x="887" y="277"/>
                  </a:lnTo>
                  <a:lnTo>
                    <a:pt x="881" y="260"/>
                  </a:lnTo>
                  <a:lnTo>
                    <a:pt x="873" y="243"/>
                  </a:lnTo>
                  <a:lnTo>
                    <a:pt x="866" y="225"/>
                  </a:lnTo>
                  <a:lnTo>
                    <a:pt x="856" y="209"/>
                  </a:lnTo>
                  <a:lnTo>
                    <a:pt x="847" y="193"/>
                  </a:lnTo>
                  <a:lnTo>
                    <a:pt x="836" y="177"/>
                  </a:lnTo>
                  <a:lnTo>
                    <a:pt x="824" y="162"/>
                  </a:lnTo>
                  <a:lnTo>
                    <a:pt x="811" y="148"/>
                  </a:lnTo>
                  <a:lnTo>
                    <a:pt x="799" y="134"/>
                  </a:lnTo>
                  <a:lnTo>
                    <a:pt x="784" y="121"/>
                  </a:lnTo>
                  <a:lnTo>
                    <a:pt x="770" y="108"/>
                  </a:lnTo>
                  <a:lnTo>
                    <a:pt x="754" y="96"/>
                  </a:lnTo>
                  <a:lnTo>
                    <a:pt x="738" y="84"/>
                  </a:lnTo>
                  <a:lnTo>
                    <a:pt x="720" y="73"/>
                  </a:lnTo>
                  <a:lnTo>
                    <a:pt x="702" y="63"/>
                  </a:lnTo>
                  <a:lnTo>
                    <a:pt x="684" y="53"/>
                  </a:lnTo>
                  <a:lnTo>
                    <a:pt x="665" y="45"/>
                  </a:lnTo>
                  <a:lnTo>
                    <a:pt x="646" y="36"/>
                  </a:lnTo>
                  <a:lnTo>
                    <a:pt x="626" y="29"/>
                  </a:lnTo>
                  <a:lnTo>
                    <a:pt x="606" y="22"/>
                  </a:lnTo>
                  <a:lnTo>
                    <a:pt x="585" y="16"/>
                  </a:lnTo>
                  <a:lnTo>
                    <a:pt x="563" y="11"/>
                  </a:lnTo>
                  <a:lnTo>
                    <a:pt x="542" y="7"/>
                  </a:lnTo>
                  <a:lnTo>
                    <a:pt x="519" y="4"/>
                  </a:lnTo>
                  <a:lnTo>
                    <a:pt x="497" y="2"/>
                  </a:lnTo>
                  <a:lnTo>
                    <a:pt x="474" y="0"/>
                  </a:lnTo>
                  <a:lnTo>
                    <a:pt x="451" y="0"/>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7" name="Freeform 126">
              <a:extLst>
                <a:ext uri="{FF2B5EF4-FFF2-40B4-BE49-F238E27FC236}">
                  <a16:creationId xmlns:a16="http://schemas.microsoft.com/office/drawing/2014/main" id="{5D7CACDB-E75E-48BA-A31B-D96E2146779F}"/>
                </a:ext>
              </a:extLst>
            </p:cNvPr>
            <p:cNvSpPr>
              <a:spLocks/>
            </p:cNvSpPr>
            <p:nvPr/>
          </p:nvSpPr>
          <p:spPr bwMode="auto">
            <a:xfrm>
              <a:off x="3886200" y="2684463"/>
              <a:ext cx="19050" cy="19050"/>
            </a:xfrm>
            <a:custGeom>
              <a:avLst/>
              <a:gdLst>
                <a:gd name="T0" fmla="*/ 30 w 60"/>
                <a:gd name="T1" fmla="*/ 0 h 60"/>
                <a:gd name="T2" fmla="*/ 23 w 60"/>
                <a:gd name="T3" fmla="*/ 0 h 60"/>
                <a:gd name="T4" fmla="*/ 18 w 60"/>
                <a:gd name="T5" fmla="*/ 2 h 60"/>
                <a:gd name="T6" fmla="*/ 13 w 60"/>
                <a:gd name="T7" fmla="*/ 5 h 60"/>
                <a:gd name="T8" fmla="*/ 8 w 60"/>
                <a:gd name="T9" fmla="*/ 9 h 60"/>
                <a:gd name="T10" fmla="*/ 5 w 60"/>
                <a:gd name="T11" fmla="*/ 13 h 60"/>
                <a:gd name="T12" fmla="*/ 2 w 60"/>
                <a:gd name="T13" fmla="*/ 18 h 60"/>
                <a:gd name="T14" fmla="*/ 0 w 60"/>
                <a:gd name="T15" fmla="*/ 24 h 60"/>
                <a:gd name="T16" fmla="*/ 0 w 60"/>
                <a:gd name="T17" fmla="*/ 30 h 60"/>
                <a:gd name="T18" fmla="*/ 0 w 60"/>
                <a:gd name="T19" fmla="*/ 36 h 60"/>
                <a:gd name="T20" fmla="*/ 2 w 60"/>
                <a:gd name="T21" fmla="*/ 42 h 60"/>
                <a:gd name="T22" fmla="*/ 5 w 60"/>
                <a:gd name="T23" fmla="*/ 47 h 60"/>
                <a:gd name="T24" fmla="*/ 8 w 60"/>
                <a:gd name="T25" fmla="*/ 51 h 60"/>
                <a:gd name="T26" fmla="*/ 13 w 60"/>
                <a:gd name="T27" fmla="*/ 55 h 60"/>
                <a:gd name="T28" fmla="*/ 18 w 60"/>
                <a:gd name="T29" fmla="*/ 58 h 60"/>
                <a:gd name="T30" fmla="*/ 23 w 60"/>
                <a:gd name="T31" fmla="*/ 59 h 60"/>
                <a:gd name="T32" fmla="*/ 30 w 60"/>
                <a:gd name="T33" fmla="*/ 60 h 60"/>
                <a:gd name="T34" fmla="*/ 36 w 60"/>
                <a:gd name="T35" fmla="*/ 59 h 60"/>
                <a:gd name="T36" fmla="*/ 42 w 60"/>
                <a:gd name="T37" fmla="*/ 58 h 60"/>
                <a:gd name="T38" fmla="*/ 47 w 60"/>
                <a:gd name="T39" fmla="*/ 55 h 60"/>
                <a:gd name="T40" fmla="*/ 51 w 60"/>
                <a:gd name="T41" fmla="*/ 51 h 60"/>
                <a:gd name="T42" fmla="*/ 54 w 60"/>
                <a:gd name="T43" fmla="*/ 47 h 60"/>
                <a:gd name="T44" fmla="*/ 58 w 60"/>
                <a:gd name="T45" fmla="*/ 42 h 60"/>
                <a:gd name="T46" fmla="*/ 59 w 60"/>
                <a:gd name="T47" fmla="*/ 36 h 60"/>
                <a:gd name="T48" fmla="*/ 60 w 60"/>
                <a:gd name="T49" fmla="*/ 30 h 60"/>
                <a:gd name="T50" fmla="*/ 59 w 60"/>
                <a:gd name="T51" fmla="*/ 24 h 60"/>
                <a:gd name="T52" fmla="*/ 58 w 60"/>
                <a:gd name="T53" fmla="*/ 18 h 60"/>
                <a:gd name="T54" fmla="*/ 54 w 60"/>
                <a:gd name="T55" fmla="*/ 13 h 60"/>
                <a:gd name="T56" fmla="*/ 51 w 60"/>
                <a:gd name="T57" fmla="*/ 9 h 60"/>
                <a:gd name="T58" fmla="*/ 47 w 60"/>
                <a:gd name="T59" fmla="*/ 5 h 60"/>
                <a:gd name="T60" fmla="*/ 42 w 60"/>
                <a:gd name="T61" fmla="*/ 2 h 60"/>
                <a:gd name="T62" fmla="*/ 36 w 60"/>
                <a:gd name="T63" fmla="*/ 0 h 60"/>
                <a:gd name="T64" fmla="*/ 30 w 60"/>
                <a:gd name="T65" fmla="*/ 0 h 60"/>
                <a:gd name="T66" fmla="*/ 30 w 60"/>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30" y="0"/>
                  </a:moveTo>
                  <a:lnTo>
                    <a:pt x="23" y="0"/>
                  </a:lnTo>
                  <a:lnTo>
                    <a:pt x="18" y="2"/>
                  </a:lnTo>
                  <a:lnTo>
                    <a:pt x="13" y="5"/>
                  </a:lnTo>
                  <a:lnTo>
                    <a:pt x="8" y="9"/>
                  </a:lnTo>
                  <a:lnTo>
                    <a:pt x="5" y="13"/>
                  </a:lnTo>
                  <a:lnTo>
                    <a:pt x="2" y="18"/>
                  </a:lnTo>
                  <a:lnTo>
                    <a:pt x="0" y="24"/>
                  </a:lnTo>
                  <a:lnTo>
                    <a:pt x="0" y="30"/>
                  </a:lnTo>
                  <a:lnTo>
                    <a:pt x="0" y="36"/>
                  </a:lnTo>
                  <a:lnTo>
                    <a:pt x="2" y="42"/>
                  </a:lnTo>
                  <a:lnTo>
                    <a:pt x="5" y="47"/>
                  </a:lnTo>
                  <a:lnTo>
                    <a:pt x="8" y="51"/>
                  </a:lnTo>
                  <a:lnTo>
                    <a:pt x="13" y="55"/>
                  </a:lnTo>
                  <a:lnTo>
                    <a:pt x="18" y="58"/>
                  </a:lnTo>
                  <a:lnTo>
                    <a:pt x="23" y="59"/>
                  </a:lnTo>
                  <a:lnTo>
                    <a:pt x="30" y="60"/>
                  </a:lnTo>
                  <a:lnTo>
                    <a:pt x="36" y="59"/>
                  </a:lnTo>
                  <a:lnTo>
                    <a:pt x="42" y="58"/>
                  </a:lnTo>
                  <a:lnTo>
                    <a:pt x="47" y="55"/>
                  </a:lnTo>
                  <a:lnTo>
                    <a:pt x="51" y="51"/>
                  </a:lnTo>
                  <a:lnTo>
                    <a:pt x="54" y="47"/>
                  </a:lnTo>
                  <a:lnTo>
                    <a:pt x="58" y="42"/>
                  </a:lnTo>
                  <a:lnTo>
                    <a:pt x="59" y="36"/>
                  </a:lnTo>
                  <a:lnTo>
                    <a:pt x="60" y="30"/>
                  </a:lnTo>
                  <a:lnTo>
                    <a:pt x="59" y="24"/>
                  </a:lnTo>
                  <a:lnTo>
                    <a:pt x="58" y="18"/>
                  </a:lnTo>
                  <a:lnTo>
                    <a:pt x="54" y="13"/>
                  </a:lnTo>
                  <a:lnTo>
                    <a:pt x="51" y="9"/>
                  </a:lnTo>
                  <a:lnTo>
                    <a:pt x="47" y="5"/>
                  </a:lnTo>
                  <a:lnTo>
                    <a:pt x="42"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8" name="Freeform 127">
              <a:extLst>
                <a:ext uri="{FF2B5EF4-FFF2-40B4-BE49-F238E27FC236}">
                  <a16:creationId xmlns:a16="http://schemas.microsoft.com/office/drawing/2014/main" id="{731EDCCA-811B-4492-9F45-34EAA06E8B53}"/>
                </a:ext>
              </a:extLst>
            </p:cNvPr>
            <p:cNvSpPr>
              <a:spLocks/>
            </p:cNvSpPr>
            <p:nvPr/>
          </p:nvSpPr>
          <p:spPr bwMode="auto">
            <a:xfrm>
              <a:off x="3856038" y="2576513"/>
              <a:ext cx="80963" cy="98425"/>
            </a:xfrm>
            <a:custGeom>
              <a:avLst/>
              <a:gdLst>
                <a:gd name="T0" fmla="*/ 102 w 257"/>
                <a:gd name="T1" fmla="*/ 3 h 308"/>
                <a:gd name="T2" fmla="*/ 67 w 257"/>
                <a:gd name="T3" fmla="*/ 16 h 308"/>
                <a:gd name="T4" fmla="*/ 38 w 257"/>
                <a:gd name="T5" fmla="*/ 38 h 308"/>
                <a:gd name="T6" fmla="*/ 16 w 257"/>
                <a:gd name="T7" fmla="*/ 68 h 308"/>
                <a:gd name="T8" fmla="*/ 3 w 257"/>
                <a:gd name="T9" fmla="*/ 105 h 308"/>
                <a:gd name="T10" fmla="*/ 1 w 257"/>
                <a:gd name="T11" fmla="*/ 134 h 308"/>
                <a:gd name="T12" fmla="*/ 5 w 257"/>
                <a:gd name="T13" fmla="*/ 141 h 308"/>
                <a:gd name="T14" fmla="*/ 12 w 257"/>
                <a:gd name="T15" fmla="*/ 145 h 308"/>
                <a:gd name="T16" fmla="*/ 21 w 257"/>
                <a:gd name="T17" fmla="*/ 144 h 308"/>
                <a:gd name="T18" fmla="*/ 27 w 257"/>
                <a:gd name="T19" fmla="*/ 139 h 308"/>
                <a:gd name="T20" fmla="*/ 30 w 257"/>
                <a:gd name="T21" fmla="*/ 132 h 308"/>
                <a:gd name="T22" fmla="*/ 35 w 257"/>
                <a:gd name="T23" fmla="*/ 102 h 308"/>
                <a:gd name="T24" fmla="*/ 47 w 257"/>
                <a:gd name="T25" fmla="*/ 75 h 308"/>
                <a:gd name="T26" fmla="*/ 66 w 257"/>
                <a:gd name="T27" fmla="*/ 53 h 308"/>
                <a:gd name="T28" fmla="*/ 91 w 257"/>
                <a:gd name="T29" fmla="*/ 38 h 308"/>
                <a:gd name="T30" fmla="*/ 118 w 257"/>
                <a:gd name="T31" fmla="*/ 31 h 308"/>
                <a:gd name="T32" fmla="*/ 148 w 257"/>
                <a:gd name="T33" fmla="*/ 32 h 308"/>
                <a:gd name="T34" fmla="*/ 176 w 257"/>
                <a:gd name="T35" fmla="*/ 42 h 308"/>
                <a:gd name="T36" fmla="*/ 199 w 257"/>
                <a:gd name="T37" fmla="*/ 59 h 308"/>
                <a:gd name="T38" fmla="*/ 216 w 257"/>
                <a:gd name="T39" fmla="*/ 81 h 308"/>
                <a:gd name="T40" fmla="*/ 225 w 257"/>
                <a:gd name="T41" fmla="*/ 108 h 308"/>
                <a:gd name="T42" fmla="*/ 226 w 257"/>
                <a:gd name="T43" fmla="*/ 137 h 308"/>
                <a:gd name="T44" fmla="*/ 219 w 257"/>
                <a:gd name="T45" fmla="*/ 164 h 308"/>
                <a:gd name="T46" fmla="*/ 204 w 257"/>
                <a:gd name="T47" fmla="*/ 186 h 308"/>
                <a:gd name="T48" fmla="*/ 183 w 257"/>
                <a:gd name="T49" fmla="*/ 203 h 308"/>
                <a:gd name="T50" fmla="*/ 156 w 257"/>
                <a:gd name="T51" fmla="*/ 214 h 308"/>
                <a:gd name="T52" fmla="*/ 125 w 257"/>
                <a:gd name="T53" fmla="*/ 218 h 308"/>
                <a:gd name="T54" fmla="*/ 116 w 257"/>
                <a:gd name="T55" fmla="*/ 220 h 308"/>
                <a:gd name="T56" fmla="*/ 111 w 257"/>
                <a:gd name="T57" fmla="*/ 227 h 308"/>
                <a:gd name="T58" fmla="*/ 110 w 257"/>
                <a:gd name="T59" fmla="*/ 293 h 308"/>
                <a:gd name="T60" fmla="*/ 112 w 257"/>
                <a:gd name="T61" fmla="*/ 302 h 308"/>
                <a:gd name="T62" fmla="*/ 119 w 257"/>
                <a:gd name="T63" fmla="*/ 307 h 308"/>
                <a:gd name="T64" fmla="*/ 128 w 257"/>
                <a:gd name="T65" fmla="*/ 308 h 308"/>
                <a:gd name="T66" fmla="*/ 136 w 257"/>
                <a:gd name="T67" fmla="*/ 304 h 308"/>
                <a:gd name="T68" fmla="*/ 140 w 257"/>
                <a:gd name="T69" fmla="*/ 296 h 308"/>
                <a:gd name="T70" fmla="*/ 153 w 257"/>
                <a:gd name="T71" fmla="*/ 245 h 308"/>
                <a:gd name="T72" fmla="*/ 187 w 257"/>
                <a:gd name="T73" fmla="*/ 234 h 308"/>
                <a:gd name="T74" fmla="*/ 216 w 257"/>
                <a:gd name="T75" fmla="*/ 216 h 308"/>
                <a:gd name="T76" fmla="*/ 238 w 257"/>
                <a:gd name="T77" fmla="*/ 191 h 308"/>
                <a:gd name="T78" fmla="*/ 252 w 257"/>
                <a:gd name="T79" fmla="*/ 162 h 308"/>
                <a:gd name="T80" fmla="*/ 257 w 257"/>
                <a:gd name="T81" fmla="*/ 127 h 308"/>
                <a:gd name="T82" fmla="*/ 251 w 257"/>
                <a:gd name="T83" fmla="*/ 90 h 308"/>
                <a:gd name="T84" fmla="*/ 235 w 257"/>
                <a:gd name="T85" fmla="*/ 57 h 308"/>
                <a:gd name="T86" fmla="*/ 210 w 257"/>
                <a:gd name="T87" fmla="*/ 29 h 308"/>
                <a:gd name="T88" fmla="*/ 178 w 257"/>
                <a:gd name="T89" fmla="*/ 11 h 308"/>
                <a:gd name="T90" fmla="*/ 142 w 257"/>
                <a:gd name="T91" fmla="*/ 1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308">
                  <a:moveTo>
                    <a:pt x="129" y="0"/>
                  </a:moveTo>
                  <a:lnTo>
                    <a:pt x="115" y="1"/>
                  </a:lnTo>
                  <a:lnTo>
                    <a:pt x="102" y="3"/>
                  </a:lnTo>
                  <a:lnTo>
                    <a:pt x="91" y="6"/>
                  </a:lnTo>
                  <a:lnTo>
                    <a:pt x="79" y="11"/>
                  </a:lnTo>
                  <a:lnTo>
                    <a:pt x="67" y="16"/>
                  </a:lnTo>
                  <a:lnTo>
                    <a:pt x="56" y="22"/>
                  </a:lnTo>
                  <a:lnTo>
                    <a:pt x="47" y="30"/>
                  </a:lnTo>
                  <a:lnTo>
                    <a:pt x="38" y="38"/>
                  </a:lnTo>
                  <a:lnTo>
                    <a:pt x="30" y="48"/>
                  </a:lnTo>
                  <a:lnTo>
                    <a:pt x="22" y="58"/>
                  </a:lnTo>
                  <a:lnTo>
                    <a:pt x="16" y="68"/>
                  </a:lnTo>
                  <a:lnTo>
                    <a:pt x="10" y="80"/>
                  </a:lnTo>
                  <a:lnTo>
                    <a:pt x="6" y="92"/>
                  </a:lnTo>
                  <a:lnTo>
                    <a:pt x="3" y="105"/>
                  </a:lnTo>
                  <a:lnTo>
                    <a:pt x="1" y="118"/>
                  </a:lnTo>
                  <a:lnTo>
                    <a:pt x="0" y="132"/>
                  </a:lnTo>
                  <a:lnTo>
                    <a:pt x="1" y="134"/>
                  </a:lnTo>
                  <a:lnTo>
                    <a:pt x="2" y="137"/>
                  </a:lnTo>
                  <a:lnTo>
                    <a:pt x="3" y="139"/>
                  </a:lnTo>
                  <a:lnTo>
                    <a:pt x="5" y="141"/>
                  </a:lnTo>
                  <a:lnTo>
                    <a:pt x="7" y="143"/>
                  </a:lnTo>
                  <a:lnTo>
                    <a:pt x="9" y="144"/>
                  </a:lnTo>
                  <a:lnTo>
                    <a:pt x="12" y="145"/>
                  </a:lnTo>
                  <a:lnTo>
                    <a:pt x="15" y="147"/>
                  </a:lnTo>
                  <a:lnTo>
                    <a:pt x="18" y="145"/>
                  </a:lnTo>
                  <a:lnTo>
                    <a:pt x="21" y="144"/>
                  </a:lnTo>
                  <a:lnTo>
                    <a:pt x="23" y="143"/>
                  </a:lnTo>
                  <a:lnTo>
                    <a:pt x="25" y="141"/>
                  </a:lnTo>
                  <a:lnTo>
                    <a:pt x="27" y="139"/>
                  </a:lnTo>
                  <a:lnTo>
                    <a:pt x="29" y="137"/>
                  </a:lnTo>
                  <a:lnTo>
                    <a:pt x="30" y="134"/>
                  </a:lnTo>
                  <a:lnTo>
                    <a:pt x="30" y="132"/>
                  </a:lnTo>
                  <a:lnTo>
                    <a:pt x="31" y="121"/>
                  </a:lnTo>
                  <a:lnTo>
                    <a:pt x="32" y="111"/>
                  </a:lnTo>
                  <a:lnTo>
                    <a:pt x="35" y="102"/>
                  </a:lnTo>
                  <a:lnTo>
                    <a:pt x="38" y="92"/>
                  </a:lnTo>
                  <a:lnTo>
                    <a:pt x="42" y="83"/>
                  </a:lnTo>
                  <a:lnTo>
                    <a:pt x="47" y="75"/>
                  </a:lnTo>
                  <a:lnTo>
                    <a:pt x="53" y="67"/>
                  </a:lnTo>
                  <a:lnTo>
                    <a:pt x="60" y="60"/>
                  </a:lnTo>
                  <a:lnTo>
                    <a:pt x="66" y="53"/>
                  </a:lnTo>
                  <a:lnTo>
                    <a:pt x="75" y="48"/>
                  </a:lnTo>
                  <a:lnTo>
                    <a:pt x="82" y="43"/>
                  </a:lnTo>
                  <a:lnTo>
                    <a:pt x="91" y="38"/>
                  </a:lnTo>
                  <a:lnTo>
                    <a:pt x="100" y="35"/>
                  </a:lnTo>
                  <a:lnTo>
                    <a:pt x="109" y="32"/>
                  </a:lnTo>
                  <a:lnTo>
                    <a:pt x="118" y="31"/>
                  </a:lnTo>
                  <a:lnTo>
                    <a:pt x="129" y="30"/>
                  </a:lnTo>
                  <a:lnTo>
                    <a:pt x="139" y="31"/>
                  </a:lnTo>
                  <a:lnTo>
                    <a:pt x="148" y="32"/>
                  </a:lnTo>
                  <a:lnTo>
                    <a:pt x="158" y="34"/>
                  </a:lnTo>
                  <a:lnTo>
                    <a:pt x="167" y="37"/>
                  </a:lnTo>
                  <a:lnTo>
                    <a:pt x="176" y="42"/>
                  </a:lnTo>
                  <a:lnTo>
                    <a:pt x="184" y="47"/>
                  </a:lnTo>
                  <a:lnTo>
                    <a:pt x="191" y="52"/>
                  </a:lnTo>
                  <a:lnTo>
                    <a:pt x="199" y="59"/>
                  </a:lnTo>
                  <a:lnTo>
                    <a:pt x="205" y="65"/>
                  </a:lnTo>
                  <a:lnTo>
                    <a:pt x="210" y="73"/>
                  </a:lnTo>
                  <a:lnTo>
                    <a:pt x="216" y="81"/>
                  </a:lnTo>
                  <a:lnTo>
                    <a:pt x="220" y="90"/>
                  </a:lnTo>
                  <a:lnTo>
                    <a:pt x="223" y="98"/>
                  </a:lnTo>
                  <a:lnTo>
                    <a:pt x="225" y="108"/>
                  </a:lnTo>
                  <a:lnTo>
                    <a:pt x="226" y="118"/>
                  </a:lnTo>
                  <a:lnTo>
                    <a:pt x="228" y="127"/>
                  </a:lnTo>
                  <a:lnTo>
                    <a:pt x="226" y="137"/>
                  </a:lnTo>
                  <a:lnTo>
                    <a:pt x="225" y="147"/>
                  </a:lnTo>
                  <a:lnTo>
                    <a:pt x="223" y="155"/>
                  </a:lnTo>
                  <a:lnTo>
                    <a:pt x="219" y="164"/>
                  </a:lnTo>
                  <a:lnTo>
                    <a:pt x="216" y="171"/>
                  </a:lnTo>
                  <a:lnTo>
                    <a:pt x="210" y="179"/>
                  </a:lnTo>
                  <a:lnTo>
                    <a:pt x="204" y="186"/>
                  </a:lnTo>
                  <a:lnTo>
                    <a:pt x="198" y="191"/>
                  </a:lnTo>
                  <a:lnTo>
                    <a:pt x="191" y="198"/>
                  </a:lnTo>
                  <a:lnTo>
                    <a:pt x="183" y="203"/>
                  </a:lnTo>
                  <a:lnTo>
                    <a:pt x="174" y="208"/>
                  </a:lnTo>
                  <a:lnTo>
                    <a:pt x="165" y="211"/>
                  </a:lnTo>
                  <a:lnTo>
                    <a:pt x="156" y="214"/>
                  </a:lnTo>
                  <a:lnTo>
                    <a:pt x="146" y="216"/>
                  </a:lnTo>
                  <a:lnTo>
                    <a:pt x="136" y="217"/>
                  </a:lnTo>
                  <a:lnTo>
                    <a:pt x="125" y="218"/>
                  </a:lnTo>
                  <a:lnTo>
                    <a:pt x="122" y="218"/>
                  </a:lnTo>
                  <a:lnTo>
                    <a:pt x="119" y="219"/>
                  </a:lnTo>
                  <a:lnTo>
                    <a:pt x="116" y="220"/>
                  </a:lnTo>
                  <a:lnTo>
                    <a:pt x="114" y="223"/>
                  </a:lnTo>
                  <a:lnTo>
                    <a:pt x="112" y="225"/>
                  </a:lnTo>
                  <a:lnTo>
                    <a:pt x="111" y="227"/>
                  </a:lnTo>
                  <a:lnTo>
                    <a:pt x="110" y="230"/>
                  </a:lnTo>
                  <a:lnTo>
                    <a:pt x="110" y="233"/>
                  </a:lnTo>
                  <a:lnTo>
                    <a:pt x="110" y="293"/>
                  </a:lnTo>
                  <a:lnTo>
                    <a:pt x="110" y="296"/>
                  </a:lnTo>
                  <a:lnTo>
                    <a:pt x="111" y="299"/>
                  </a:lnTo>
                  <a:lnTo>
                    <a:pt x="112" y="302"/>
                  </a:lnTo>
                  <a:lnTo>
                    <a:pt x="114" y="304"/>
                  </a:lnTo>
                  <a:lnTo>
                    <a:pt x="116" y="305"/>
                  </a:lnTo>
                  <a:lnTo>
                    <a:pt x="119" y="307"/>
                  </a:lnTo>
                  <a:lnTo>
                    <a:pt x="122" y="308"/>
                  </a:lnTo>
                  <a:lnTo>
                    <a:pt x="125" y="308"/>
                  </a:lnTo>
                  <a:lnTo>
                    <a:pt x="128" y="308"/>
                  </a:lnTo>
                  <a:lnTo>
                    <a:pt x="130" y="307"/>
                  </a:lnTo>
                  <a:lnTo>
                    <a:pt x="133" y="305"/>
                  </a:lnTo>
                  <a:lnTo>
                    <a:pt x="136" y="304"/>
                  </a:lnTo>
                  <a:lnTo>
                    <a:pt x="138" y="302"/>
                  </a:lnTo>
                  <a:lnTo>
                    <a:pt x="139" y="299"/>
                  </a:lnTo>
                  <a:lnTo>
                    <a:pt x="140" y="296"/>
                  </a:lnTo>
                  <a:lnTo>
                    <a:pt x="140" y="293"/>
                  </a:lnTo>
                  <a:lnTo>
                    <a:pt x="140" y="247"/>
                  </a:lnTo>
                  <a:lnTo>
                    <a:pt x="153" y="245"/>
                  </a:lnTo>
                  <a:lnTo>
                    <a:pt x="164" y="243"/>
                  </a:lnTo>
                  <a:lnTo>
                    <a:pt x="175" y="239"/>
                  </a:lnTo>
                  <a:lnTo>
                    <a:pt x="187" y="234"/>
                  </a:lnTo>
                  <a:lnTo>
                    <a:pt x="196" y="229"/>
                  </a:lnTo>
                  <a:lnTo>
                    <a:pt x="206" y="223"/>
                  </a:lnTo>
                  <a:lnTo>
                    <a:pt x="216" y="216"/>
                  </a:lnTo>
                  <a:lnTo>
                    <a:pt x="223" y="209"/>
                  </a:lnTo>
                  <a:lnTo>
                    <a:pt x="231" y="200"/>
                  </a:lnTo>
                  <a:lnTo>
                    <a:pt x="238" y="191"/>
                  </a:lnTo>
                  <a:lnTo>
                    <a:pt x="244" y="182"/>
                  </a:lnTo>
                  <a:lnTo>
                    <a:pt x="248" y="172"/>
                  </a:lnTo>
                  <a:lnTo>
                    <a:pt x="252" y="162"/>
                  </a:lnTo>
                  <a:lnTo>
                    <a:pt x="255" y="151"/>
                  </a:lnTo>
                  <a:lnTo>
                    <a:pt x="256" y="139"/>
                  </a:lnTo>
                  <a:lnTo>
                    <a:pt x="257" y="127"/>
                  </a:lnTo>
                  <a:lnTo>
                    <a:pt x="256" y="114"/>
                  </a:lnTo>
                  <a:lnTo>
                    <a:pt x="254" y="102"/>
                  </a:lnTo>
                  <a:lnTo>
                    <a:pt x="251" y="90"/>
                  </a:lnTo>
                  <a:lnTo>
                    <a:pt x="247" y="78"/>
                  </a:lnTo>
                  <a:lnTo>
                    <a:pt x="241" y="67"/>
                  </a:lnTo>
                  <a:lnTo>
                    <a:pt x="235" y="57"/>
                  </a:lnTo>
                  <a:lnTo>
                    <a:pt x="228" y="47"/>
                  </a:lnTo>
                  <a:lnTo>
                    <a:pt x="220" y="37"/>
                  </a:lnTo>
                  <a:lnTo>
                    <a:pt x="210" y="29"/>
                  </a:lnTo>
                  <a:lnTo>
                    <a:pt x="201" y="22"/>
                  </a:lnTo>
                  <a:lnTo>
                    <a:pt x="190" y="16"/>
                  </a:lnTo>
                  <a:lnTo>
                    <a:pt x="178" y="11"/>
                  </a:lnTo>
                  <a:lnTo>
                    <a:pt x="167" y="6"/>
                  </a:lnTo>
                  <a:lnTo>
                    <a:pt x="155" y="3"/>
                  </a:lnTo>
                  <a:lnTo>
                    <a:pt x="142" y="1"/>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22" name="Gruppieren 721">
            <a:extLst>
              <a:ext uri="{FF2B5EF4-FFF2-40B4-BE49-F238E27FC236}">
                <a16:creationId xmlns:a16="http://schemas.microsoft.com/office/drawing/2014/main" id="{E1826CBF-FBD0-4DCD-BAFF-E3B9968EEA21}"/>
              </a:ext>
            </a:extLst>
          </p:cNvPr>
          <p:cNvGrpSpPr>
            <a:grpSpLocks noChangeAspect="1"/>
          </p:cNvGrpSpPr>
          <p:nvPr/>
        </p:nvGrpSpPr>
        <p:grpSpPr>
          <a:xfrm>
            <a:off x="6638885" y="5458859"/>
            <a:ext cx="283177" cy="203054"/>
            <a:chOff x="7858458" y="5559749"/>
            <a:chExt cx="504770" cy="361950"/>
          </a:xfrm>
          <a:solidFill>
            <a:schemeClr val="bg1"/>
          </a:solidFill>
        </p:grpSpPr>
        <p:grpSp>
          <p:nvGrpSpPr>
            <p:cNvPr id="723" name="Group 11">
              <a:extLst>
                <a:ext uri="{FF2B5EF4-FFF2-40B4-BE49-F238E27FC236}">
                  <a16:creationId xmlns:a16="http://schemas.microsoft.com/office/drawing/2014/main" id="{E3A34193-6DCB-455D-BB6C-224A45607E3D}"/>
                </a:ext>
              </a:extLst>
            </p:cNvPr>
            <p:cNvGrpSpPr/>
            <p:nvPr/>
          </p:nvGrpSpPr>
          <p:grpSpPr>
            <a:xfrm>
              <a:off x="7931244" y="5561874"/>
              <a:ext cx="356209" cy="350784"/>
              <a:chOff x="1079500" y="2990850"/>
              <a:chExt cx="938213" cy="923926"/>
            </a:xfrm>
            <a:grpFill/>
            <a:effectLst/>
          </p:grpSpPr>
          <p:sp>
            <p:nvSpPr>
              <p:cNvPr id="726" name="Freeform 12">
                <a:extLst>
                  <a:ext uri="{FF2B5EF4-FFF2-40B4-BE49-F238E27FC236}">
                    <a16:creationId xmlns:a16="http://schemas.microsoft.com/office/drawing/2014/main" id="{BE43253F-14ED-468E-864A-AB0920759F9D}"/>
                  </a:ext>
                </a:extLst>
              </p:cNvPr>
              <p:cNvSpPr>
                <a:spLocks/>
              </p:cNvSpPr>
              <p:nvPr/>
            </p:nvSpPr>
            <p:spPr bwMode="auto">
              <a:xfrm>
                <a:off x="1344613" y="2990850"/>
                <a:ext cx="407988" cy="422275"/>
              </a:xfrm>
              <a:custGeom>
                <a:avLst/>
                <a:gdLst>
                  <a:gd name="T0" fmla="*/ 88 w 104"/>
                  <a:gd name="T1" fmla="*/ 108 h 108"/>
                  <a:gd name="T2" fmla="*/ 91 w 104"/>
                  <a:gd name="T3" fmla="*/ 107 h 108"/>
                  <a:gd name="T4" fmla="*/ 92 w 104"/>
                  <a:gd name="T5" fmla="*/ 102 h 108"/>
                  <a:gd name="T6" fmla="*/ 77 w 104"/>
                  <a:gd name="T7" fmla="*/ 69 h 108"/>
                  <a:gd name="T8" fmla="*/ 103 w 104"/>
                  <a:gd name="T9" fmla="*/ 47 h 108"/>
                  <a:gd name="T10" fmla="*/ 104 w 104"/>
                  <a:gd name="T11" fmla="*/ 43 h 108"/>
                  <a:gd name="T12" fmla="*/ 100 w 104"/>
                  <a:gd name="T13" fmla="*/ 40 h 108"/>
                  <a:gd name="T14" fmla="*/ 67 w 104"/>
                  <a:gd name="T15" fmla="*/ 40 h 108"/>
                  <a:gd name="T16" fmla="*/ 56 w 104"/>
                  <a:gd name="T17" fmla="*/ 3 h 108"/>
                  <a:gd name="T18" fmla="*/ 52 w 104"/>
                  <a:gd name="T19" fmla="*/ 0 h 108"/>
                  <a:gd name="T20" fmla="*/ 48 w 104"/>
                  <a:gd name="T21" fmla="*/ 3 h 108"/>
                  <a:gd name="T22" fmla="*/ 37 w 104"/>
                  <a:gd name="T23" fmla="*/ 40 h 108"/>
                  <a:gd name="T24" fmla="*/ 4 w 104"/>
                  <a:gd name="T25" fmla="*/ 40 h 108"/>
                  <a:gd name="T26" fmla="*/ 0 w 104"/>
                  <a:gd name="T27" fmla="*/ 43 h 108"/>
                  <a:gd name="T28" fmla="*/ 1 w 104"/>
                  <a:gd name="T29" fmla="*/ 47 h 108"/>
                  <a:gd name="T30" fmla="*/ 27 w 104"/>
                  <a:gd name="T31" fmla="*/ 69 h 108"/>
                  <a:gd name="T32" fmla="*/ 12 w 104"/>
                  <a:gd name="T33" fmla="*/ 102 h 108"/>
                  <a:gd name="T34" fmla="*/ 13 w 104"/>
                  <a:gd name="T35" fmla="*/ 107 h 108"/>
                  <a:gd name="T36" fmla="*/ 18 w 104"/>
                  <a:gd name="T37" fmla="*/ 107 h 108"/>
                  <a:gd name="T38" fmla="*/ 52 w 104"/>
                  <a:gd name="T39" fmla="*/ 85 h 108"/>
                  <a:gd name="T40" fmla="*/ 86 w 104"/>
                  <a:gd name="T41" fmla="*/ 107 h 108"/>
                  <a:gd name="T42" fmla="*/ 88 w 104"/>
                  <a:gd name="T4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88" y="108"/>
                    </a:move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ubicBezTo>
                      <a:pt x="103" y="41"/>
                      <a:pt x="102" y="40"/>
                      <a:pt x="100" y="40"/>
                    </a:cubicBez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13">
                <a:extLst>
                  <a:ext uri="{FF2B5EF4-FFF2-40B4-BE49-F238E27FC236}">
                    <a16:creationId xmlns:a16="http://schemas.microsoft.com/office/drawing/2014/main" id="{51930204-BFF8-43B6-A433-007CD7342FD1}"/>
                  </a:ext>
                </a:extLst>
              </p:cNvPr>
              <p:cNvSpPr>
                <a:spLocks/>
              </p:cNvSpPr>
              <p:nvPr/>
            </p:nvSpPr>
            <p:spPr bwMode="auto">
              <a:xfrm>
                <a:off x="1611313" y="3490913"/>
                <a:ext cx="406400" cy="423863"/>
              </a:xfrm>
              <a:custGeom>
                <a:avLst/>
                <a:gdLst>
                  <a:gd name="T0" fmla="*/ 104 w 104"/>
                  <a:gd name="T1" fmla="*/ 43 h 108"/>
                  <a:gd name="T2" fmla="*/ 100 w 104"/>
                  <a:gd name="T3" fmla="*/ 40 h 108"/>
                  <a:gd name="T4" fmla="*/ 67 w 104"/>
                  <a:gd name="T5" fmla="*/ 40 h 108"/>
                  <a:gd name="T6" fmla="*/ 56 w 104"/>
                  <a:gd name="T7" fmla="*/ 3 h 108"/>
                  <a:gd name="T8" fmla="*/ 52 w 104"/>
                  <a:gd name="T9" fmla="*/ 0 h 108"/>
                  <a:gd name="T10" fmla="*/ 48 w 104"/>
                  <a:gd name="T11" fmla="*/ 3 h 108"/>
                  <a:gd name="T12" fmla="*/ 37 w 104"/>
                  <a:gd name="T13" fmla="*/ 40 h 108"/>
                  <a:gd name="T14" fmla="*/ 4 w 104"/>
                  <a:gd name="T15" fmla="*/ 40 h 108"/>
                  <a:gd name="T16" fmla="*/ 0 w 104"/>
                  <a:gd name="T17" fmla="*/ 43 h 108"/>
                  <a:gd name="T18" fmla="*/ 1 w 104"/>
                  <a:gd name="T19" fmla="*/ 47 h 108"/>
                  <a:gd name="T20" fmla="*/ 27 w 104"/>
                  <a:gd name="T21" fmla="*/ 69 h 108"/>
                  <a:gd name="T22" fmla="*/ 12 w 104"/>
                  <a:gd name="T23" fmla="*/ 102 h 108"/>
                  <a:gd name="T24" fmla="*/ 13 w 104"/>
                  <a:gd name="T25" fmla="*/ 107 h 108"/>
                  <a:gd name="T26" fmla="*/ 18 w 104"/>
                  <a:gd name="T27" fmla="*/ 107 h 108"/>
                  <a:gd name="T28" fmla="*/ 52 w 104"/>
                  <a:gd name="T29" fmla="*/ 85 h 108"/>
                  <a:gd name="T30" fmla="*/ 86 w 104"/>
                  <a:gd name="T31" fmla="*/ 107 h 108"/>
                  <a:gd name="T32" fmla="*/ 88 w 104"/>
                  <a:gd name="T33" fmla="*/ 108 h 108"/>
                  <a:gd name="T34" fmla="*/ 91 w 104"/>
                  <a:gd name="T35" fmla="*/ 107 h 108"/>
                  <a:gd name="T36" fmla="*/ 92 w 104"/>
                  <a:gd name="T37" fmla="*/ 102 h 108"/>
                  <a:gd name="T38" fmla="*/ 77 w 104"/>
                  <a:gd name="T39" fmla="*/ 69 h 108"/>
                  <a:gd name="T40" fmla="*/ 103 w 104"/>
                  <a:gd name="T41" fmla="*/ 47 h 108"/>
                  <a:gd name="T42" fmla="*/ 104 w 104"/>
                  <a:gd name="T43" fmla="*/ 4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104" y="43"/>
                    </a:moveTo>
                    <a:cubicBezTo>
                      <a:pt x="103" y="41"/>
                      <a:pt x="102" y="40"/>
                      <a:pt x="100" y="40"/>
                    </a:cubicBez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14">
                <a:extLst>
                  <a:ext uri="{FF2B5EF4-FFF2-40B4-BE49-F238E27FC236}">
                    <a16:creationId xmlns:a16="http://schemas.microsoft.com/office/drawing/2014/main" id="{C08DD7D2-F7F6-424D-9FA0-51A36ADC3821}"/>
                  </a:ext>
                </a:extLst>
              </p:cNvPr>
              <p:cNvSpPr>
                <a:spLocks/>
              </p:cNvSpPr>
              <p:nvPr/>
            </p:nvSpPr>
            <p:spPr bwMode="auto">
              <a:xfrm>
                <a:off x="1079500" y="3490913"/>
                <a:ext cx="406400" cy="423863"/>
              </a:xfrm>
              <a:custGeom>
                <a:avLst/>
                <a:gdLst>
                  <a:gd name="T0" fmla="*/ 100 w 104"/>
                  <a:gd name="T1" fmla="*/ 40 h 108"/>
                  <a:gd name="T2" fmla="*/ 67 w 104"/>
                  <a:gd name="T3" fmla="*/ 40 h 108"/>
                  <a:gd name="T4" fmla="*/ 56 w 104"/>
                  <a:gd name="T5" fmla="*/ 3 h 108"/>
                  <a:gd name="T6" fmla="*/ 52 w 104"/>
                  <a:gd name="T7" fmla="*/ 0 h 108"/>
                  <a:gd name="T8" fmla="*/ 48 w 104"/>
                  <a:gd name="T9" fmla="*/ 3 h 108"/>
                  <a:gd name="T10" fmla="*/ 37 w 104"/>
                  <a:gd name="T11" fmla="*/ 40 h 108"/>
                  <a:gd name="T12" fmla="*/ 4 w 104"/>
                  <a:gd name="T13" fmla="*/ 40 h 108"/>
                  <a:gd name="T14" fmla="*/ 0 w 104"/>
                  <a:gd name="T15" fmla="*/ 43 h 108"/>
                  <a:gd name="T16" fmla="*/ 1 w 104"/>
                  <a:gd name="T17" fmla="*/ 47 h 108"/>
                  <a:gd name="T18" fmla="*/ 27 w 104"/>
                  <a:gd name="T19" fmla="*/ 69 h 108"/>
                  <a:gd name="T20" fmla="*/ 12 w 104"/>
                  <a:gd name="T21" fmla="*/ 102 h 108"/>
                  <a:gd name="T22" fmla="*/ 13 w 104"/>
                  <a:gd name="T23" fmla="*/ 107 h 108"/>
                  <a:gd name="T24" fmla="*/ 18 w 104"/>
                  <a:gd name="T25" fmla="*/ 107 h 108"/>
                  <a:gd name="T26" fmla="*/ 52 w 104"/>
                  <a:gd name="T27" fmla="*/ 85 h 108"/>
                  <a:gd name="T28" fmla="*/ 86 w 104"/>
                  <a:gd name="T29" fmla="*/ 107 h 108"/>
                  <a:gd name="T30" fmla="*/ 88 w 104"/>
                  <a:gd name="T31" fmla="*/ 108 h 108"/>
                  <a:gd name="T32" fmla="*/ 91 w 104"/>
                  <a:gd name="T33" fmla="*/ 107 h 108"/>
                  <a:gd name="T34" fmla="*/ 92 w 104"/>
                  <a:gd name="T35" fmla="*/ 102 h 108"/>
                  <a:gd name="T36" fmla="*/ 77 w 104"/>
                  <a:gd name="T37" fmla="*/ 69 h 108"/>
                  <a:gd name="T38" fmla="*/ 103 w 104"/>
                  <a:gd name="T39" fmla="*/ 47 h 108"/>
                  <a:gd name="T40" fmla="*/ 104 w 104"/>
                  <a:gd name="T41" fmla="*/ 43 h 108"/>
                  <a:gd name="T42" fmla="*/ 100 w 104"/>
                  <a:gd name="T43" fmla="*/ 4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8">
                    <a:moveTo>
                      <a:pt x="100" y="40"/>
                    </a:moveTo>
                    <a:cubicBezTo>
                      <a:pt x="67" y="40"/>
                      <a:pt x="67" y="40"/>
                      <a:pt x="67" y="40"/>
                    </a:cubicBezTo>
                    <a:cubicBezTo>
                      <a:pt x="56" y="3"/>
                      <a:pt x="56" y="3"/>
                      <a:pt x="56" y="3"/>
                    </a:cubicBezTo>
                    <a:cubicBezTo>
                      <a:pt x="55" y="1"/>
                      <a:pt x="54" y="0"/>
                      <a:pt x="52" y="0"/>
                    </a:cubicBezTo>
                    <a:cubicBezTo>
                      <a:pt x="50" y="0"/>
                      <a:pt x="49" y="1"/>
                      <a:pt x="48" y="3"/>
                    </a:cubicBezTo>
                    <a:cubicBezTo>
                      <a:pt x="37" y="40"/>
                      <a:pt x="37" y="40"/>
                      <a:pt x="37" y="40"/>
                    </a:cubicBezTo>
                    <a:cubicBezTo>
                      <a:pt x="4" y="40"/>
                      <a:pt x="4" y="40"/>
                      <a:pt x="4" y="40"/>
                    </a:cubicBezTo>
                    <a:cubicBezTo>
                      <a:pt x="2" y="40"/>
                      <a:pt x="1" y="41"/>
                      <a:pt x="0" y="43"/>
                    </a:cubicBezTo>
                    <a:cubicBezTo>
                      <a:pt x="0" y="44"/>
                      <a:pt x="0" y="46"/>
                      <a:pt x="1" y="47"/>
                    </a:cubicBezTo>
                    <a:cubicBezTo>
                      <a:pt x="27" y="69"/>
                      <a:pt x="27" y="69"/>
                      <a:pt x="27" y="69"/>
                    </a:cubicBezTo>
                    <a:cubicBezTo>
                      <a:pt x="12" y="102"/>
                      <a:pt x="12" y="102"/>
                      <a:pt x="12" y="102"/>
                    </a:cubicBezTo>
                    <a:cubicBezTo>
                      <a:pt x="12" y="104"/>
                      <a:pt x="12" y="106"/>
                      <a:pt x="13" y="107"/>
                    </a:cubicBezTo>
                    <a:cubicBezTo>
                      <a:pt x="15" y="108"/>
                      <a:pt x="17" y="108"/>
                      <a:pt x="18" y="107"/>
                    </a:cubicBezTo>
                    <a:cubicBezTo>
                      <a:pt x="52" y="85"/>
                      <a:pt x="52" y="85"/>
                      <a:pt x="52" y="85"/>
                    </a:cubicBezTo>
                    <a:cubicBezTo>
                      <a:pt x="86" y="107"/>
                      <a:pt x="86" y="107"/>
                      <a:pt x="86" y="107"/>
                    </a:cubicBezTo>
                    <a:cubicBezTo>
                      <a:pt x="86" y="108"/>
                      <a:pt x="87" y="108"/>
                      <a:pt x="88" y="108"/>
                    </a:cubicBezTo>
                    <a:cubicBezTo>
                      <a:pt x="89" y="108"/>
                      <a:pt x="90" y="108"/>
                      <a:pt x="91" y="107"/>
                    </a:cubicBezTo>
                    <a:cubicBezTo>
                      <a:pt x="92" y="106"/>
                      <a:pt x="92" y="104"/>
                      <a:pt x="92" y="102"/>
                    </a:cubicBezTo>
                    <a:cubicBezTo>
                      <a:pt x="77" y="69"/>
                      <a:pt x="77" y="69"/>
                      <a:pt x="77" y="69"/>
                    </a:cubicBezTo>
                    <a:cubicBezTo>
                      <a:pt x="103" y="47"/>
                      <a:pt x="103" y="47"/>
                      <a:pt x="103" y="47"/>
                    </a:cubicBezTo>
                    <a:cubicBezTo>
                      <a:pt x="104" y="46"/>
                      <a:pt x="104" y="44"/>
                      <a:pt x="104" y="43"/>
                    </a:cubicBezTo>
                    <a:cubicBezTo>
                      <a:pt x="103" y="41"/>
                      <a:pt x="102" y="40"/>
                      <a:pt x="10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1">
              <a:extLst>
                <a:ext uri="{FF2B5EF4-FFF2-40B4-BE49-F238E27FC236}">
                  <a16:creationId xmlns:a16="http://schemas.microsoft.com/office/drawing/2014/main" id="{2C0102AA-8348-4B94-AAB1-1A946B38BD66}"/>
                </a:ext>
              </a:extLst>
            </p:cNvPr>
            <p:cNvSpPr>
              <a:spLocks/>
            </p:cNvSpPr>
            <p:nvPr/>
          </p:nvSpPr>
          <p:spPr bwMode="auto">
            <a:xfrm>
              <a:off x="7858458" y="5559749"/>
              <a:ext cx="123371" cy="361950"/>
            </a:xfrm>
            <a:custGeom>
              <a:avLst/>
              <a:gdLst>
                <a:gd name="T0" fmla="*/ 75 w 82"/>
                <a:gd name="T1" fmla="*/ 1 h 241"/>
                <a:gd name="T2" fmla="*/ 65 w 82"/>
                <a:gd name="T3" fmla="*/ 7 h 241"/>
                <a:gd name="T4" fmla="*/ 1 w 82"/>
                <a:gd name="T5" fmla="*/ 231 h 241"/>
                <a:gd name="T6" fmla="*/ 7 w 82"/>
                <a:gd name="T7" fmla="*/ 241 h 241"/>
                <a:gd name="T8" fmla="*/ 9 w 82"/>
                <a:gd name="T9" fmla="*/ 241 h 241"/>
                <a:gd name="T10" fmla="*/ 17 w 82"/>
                <a:gd name="T11" fmla="*/ 235 h 241"/>
                <a:gd name="T12" fmla="*/ 81 w 82"/>
                <a:gd name="T13" fmla="*/ 11 h 241"/>
                <a:gd name="T14" fmla="*/ 75 w 82"/>
                <a:gd name="T15" fmla="*/ 1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1">
                  <a:moveTo>
                    <a:pt x="75" y="1"/>
                  </a:moveTo>
                  <a:cubicBezTo>
                    <a:pt x="71" y="0"/>
                    <a:pt x="67" y="3"/>
                    <a:pt x="65" y="7"/>
                  </a:cubicBezTo>
                  <a:cubicBezTo>
                    <a:pt x="1" y="231"/>
                    <a:pt x="1" y="231"/>
                    <a:pt x="1" y="231"/>
                  </a:cubicBezTo>
                  <a:cubicBezTo>
                    <a:pt x="0" y="235"/>
                    <a:pt x="3" y="239"/>
                    <a:pt x="7" y="241"/>
                  </a:cubicBezTo>
                  <a:cubicBezTo>
                    <a:pt x="8" y="241"/>
                    <a:pt x="8" y="241"/>
                    <a:pt x="9" y="241"/>
                  </a:cubicBezTo>
                  <a:cubicBezTo>
                    <a:pt x="12" y="241"/>
                    <a:pt x="16" y="239"/>
                    <a:pt x="17" y="235"/>
                  </a:cubicBezTo>
                  <a:cubicBezTo>
                    <a:pt x="81" y="11"/>
                    <a:pt x="81" y="11"/>
                    <a:pt x="81" y="11"/>
                  </a:cubicBezTo>
                  <a:cubicBezTo>
                    <a:pt x="82" y="7"/>
                    <a:pt x="79" y="3"/>
                    <a:pt x="75" y="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p>
          </p:txBody>
        </p:sp>
        <p:sp>
          <p:nvSpPr>
            <p:cNvPr id="725" name="Freeform 12">
              <a:extLst>
                <a:ext uri="{FF2B5EF4-FFF2-40B4-BE49-F238E27FC236}">
                  <a16:creationId xmlns:a16="http://schemas.microsoft.com/office/drawing/2014/main" id="{2CD370EA-0E5F-4E78-A135-378FB4B892B4}"/>
                </a:ext>
              </a:extLst>
            </p:cNvPr>
            <p:cNvSpPr>
              <a:spLocks/>
            </p:cNvSpPr>
            <p:nvPr/>
          </p:nvSpPr>
          <p:spPr bwMode="auto">
            <a:xfrm>
              <a:off x="8234414" y="5559749"/>
              <a:ext cx="128814" cy="361950"/>
            </a:xfrm>
            <a:custGeom>
              <a:avLst/>
              <a:gdLst>
                <a:gd name="T0" fmla="*/ 85 w 86"/>
                <a:gd name="T1" fmla="*/ 231 h 241"/>
                <a:gd name="T2" fmla="*/ 17 w 86"/>
                <a:gd name="T3" fmla="*/ 7 h 241"/>
                <a:gd name="T4" fmla="*/ 7 w 86"/>
                <a:gd name="T5" fmla="*/ 1 h 241"/>
                <a:gd name="T6" fmla="*/ 1 w 86"/>
                <a:gd name="T7" fmla="*/ 11 h 241"/>
                <a:gd name="T8" fmla="*/ 69 w 86"/>
                <a:gd name="T9" fmla="*/ 235 h 241"/>
                <a:gd name="T10" fmla="*/ 77 w 86"/>
                <a:gd name="T11" fmla="*/ 241 h 241"/>
                <a:gd name="T12" fmla="*/ 79 w 86"/>
                <a:gd name="T13" fmla="*/ 241 h 241"/>
                <a:gd name="T14" fmla="*/ 85 w 86"/>
                <a:gd name="T15" fmla="*/ 231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241">
                  <a:moveTo>
                    <a:pt x="85" y="231"/>
                  </a:moveTo>
                  <a:cubicBezTo>
                    <a:pt x="17" y="7"/>
                    <a:pt x="17" y="7"/>
                    <a:pt x="17" y="7"/>
                  </a:cubicBezTo>
                  <a:cubicBezTo>
                    <a:pt x="15" y="2"/>
                    <a:pt x="11" y="0"/>
                    <a:pt x="7" y="1"/>
                  </a:cubicBezTo>
                  <a:cubicBezTo>
                    <a:pt x="2" y="3"/>
                    <a:pt x="0" y="7"/>
                    <a:pt x="1" y="11"/>
                  </a:cubicBezTo>
                  <a:cubicBezTo>
                    <a:pt x="69" y="235"/>
                    <a:pt x="69" y="235"/>
                    <a:pt x="69" y="235"/>
                  </a:cubicBezTo>
                  <a:cubicBezTo>
                    <a:pt x="70" y="239"/>
                    <a:pt x="74" y="241"/>
                    <a:pt x="77" y="241"/>
                  </a:cubicBezTo>
                  <a:cubicBezTo>
                    <a:pt x="78" y="241"/>
                    <a:pt x="79" y="241"/>
                    <a:pt x="79" y="241"/>
                  </a:cubicBezTo>
                  <a:cubicBezTo>
                    <a:pt x="84" y="239"/>
                    <a:pt x="86" y="235"/>
                    <a:pt x="85" y="231"/>
                  </a:cubicBez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p>
          </p:txBody>
        </p:sp>
      </p:grpSp>
      <p:grpSp>
        <p:nvGrpSpPr>
          <p:cNvPr id="1133" name="Gruppieren 1132">
            <a:extLst>
              <a:ext uri="{FF2B5EF4-FFF2-40B4-BE49-F238E27FC236}">
                <a16:creationId xmlns:a16="http://schemas.microsoft.com/office/drawing/2014/main" id="{A9AB4756-6D0B-4467-B7AE-F130A5DBB25A}"/>
              </a:ext>
            </a:extLst>
          </p:cNvPr>
          <p:cNvGrpSpPr>
            <a:grpSpLocks noChangeAspect="1"/>
          </p:cNvGrpSpPr>
          <p:nvPr/>
        </p:nvGrpSpPr>
        <p:grpSpPr>
          <a:xfrm flipH="1">
            <a:off x="6637663" y="4916643"/>
            <a:ext cx="285619" cy="210414"/>
            <a:chOff x="1484313" y="25400"/>
            <a:chExt cx="9218613" cy="6791326"/>
          </a:xfrm>
          <a:noFill/>
        </p:grpSpPr>
        <p:sp>
          <p:nvSpPr>
            <p:cNvPr id="1134" name="Freeform 5">
              <a:extLst>
                <a:ext uri="{FF2B5EF4-FFF2-40B4-BE49-F238E27FC236}">
                  <a16:creationId xmlns:a16="http://schemas.microsoft.com/office/drawing/2014/main" id="{428F0DD7-0D52-4A38-A8BB-2864A386A669}"/>
                </a:ext>
              </a:extLst>
            </p:cNvPr>
            <p:cNvSpPr>
              <a:spLocks/>
            </p:cNvSpPr>
            <p:nvPr/>
          </p:nvSpPr>
          <p:spPr bwMode="auto">
            <a:xfrm>
              <a:off x="1484313" y="33338"/>
              <a:ext cx="9218613" cy="6769100"/>
            </a:xfrm>
            <a:custGeom>
              <a:avLst/>
              <a:gdLst>
                <a:gd name="T0" fmla="*/ 4528 w 5807"/>
                <a:gd name="T1" fmla="*/ 0 h 4264"/>
                <a:gd name="T2" fmla="*/ 1252 w 5807"/>
                <a:gd name="T3" fmla="*/ 0 h 4264"/>
                <a:gd name="T4" fmla="*/ 0 w 5807"/>
                <a:gd name="T5" fmla="*/ 1193 h 4264"/>
                <a:gd name="T6" fmla="*/ 2850 w 5807"/>
                <a:gd name="T7" fmla="*/ 4264 h 4264"/>
                <a:gd name="T8" fmla="*/ 5807 w 5807"/>
                <a:gd name="T9" fmla="*/ 1216 h 4264"/>
                <a:gd name="T10" fmla="*/ 4528 w 5807"/>
                <a:gd name="T11" fmla="*/ 0 h 4264"/>
                <a:gd name="T12" fmla="*/ 4528 w 5807"/>
                <a:gd name="T13" fmla="*/ 0 h 4264"/>
              </a:gdLst>
              <a:ahLst/>
              <a:cxnLst>
                <a:cxn ang="0">
                  <a:pos x="T0" y="T1"/>
                </a:cxn>
                <a:cxn ang="0">
                  <a:pos x="T2" y="T3"/>
                </a:cxn>
                <a:cxn ang="0">
                  <a:pos x="T4" y="T5"/>
                </a:cxn>
                <a:cxn ang="0">
                  <a:pos x="T6" y="T7"/>
                </a:cxn>
                <a:cxn ang="0">
                  <a:pos x="T8" y="T9"/>
                </a:cxn>
                <a:cxn ang="0">
                  <a:pos x="T10" y="T11"/>
                </a:cxn>
                <a:cxn ang="0">
                  <a:pos x="T12" y="T13"/>
                </a:cxn>
              </a:cxnLst>
              <a:rect l="0" t="0" r="r" b="b"/>
              <a:pathLst>
                <a:path w="5807" h="4264">
                  <a:moveTo>
                    <a:pt x="4528" y="0"/>
                  </a:moveTo>
                  <a:lnTo>
                    <a:pt x="1252" y="0"/>
                  </a:lnTo>
                  <a:lnTo>
                    <a:pt x="0" y="1193"/>
                  </a:lnTo>
                  <a:lnTo>
                    <a:pt x="2850" y="4264"/>
                  </a:lnTo>
                  <a:lnTo>
                    <a:pt x="5807" y="1216"/>
                  </a:lnTo>
                  <a:lnTo>
                    <a:pt x="4528" y="0"/>
                  </a:lnTo>
                  <a:lnTo>
                    <a:pt x="4528" y="0"/>
                  </a:lnTo>
                  <a:close/>
                </a:path>
              </a:pathLst>
            </a:cu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5" name="Line 6">
              <a:extLst>
                <a:ext uri="{FF2B5EF4-FFF2-40B4-BE49-F238E27FC236}">
                  <a16:creationId xmlns:a16="http://schemas.microsoft.com/office/drawing/2014/main" id="{D7F9A8D5-1512-4B70-8BC7-6D12DB57CE32}"/>
                </a:ext>
              </a:extLst>
            </p:cNvPr>
            <p:cNvSpPr>
              <a:spLocks noChangeShapeType="1"/>
            </p:cNvSpPr>
            <p:nvPr/>
          </p:nvSpPr>
          <p:spPr bwMode="auto">
            <a:xfrm>
              <a:off x="1484313" y="1949450"/>
              <a:ext cx="9174163" cy="3016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6" name="Line 7">
              <a:extLst>
                <a:ext uri="{FF2B5EF4-FFF2-40B4-BE49-F238E27FC236}">
                  <a16:creationId xmlns:a16="http://schemas.microsoft.com/office/drawing/2014/main" id="{4F82E206-CEE9-462C-81CF-0724DD9B4699}"/>
                </a:ext>
              </a:extLst>
            </p:cNvPr>
            <p:cNvSpPr>
              <a:spLocks noChangeShapeType="1"/>
            </p:cNvSpPr>
            <p:nvPr/>
          </p:nvSpPr>
          <p:spPr bwMode="auto">
            <a:xfrm>
              <a:off x="3449638" y="69850"/>
              <a:ext cx="1225550" cy="190976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7" name="Line 8">
              <a:extLst>
                <a:ext uri="{FF2B5EF4-FFF2-40B4-BE49-F238E27FC236}">
                  <a16:creationId xmlns:a16="http://schemas.microsoft.com/office/drawing/2014/main" id="{B2361F08-2BCE-408B-ADDD-F1A3D757743C}"/>
                </a:ext>
              </a:extLst>
            </p:cNvPr>
            <p:cNvSpPr>
              <a:spLocks noChangeShapeType="1"/>
            </p:cNvSpPr>
            <p:nvPr/>
          </p:nvSpPr>
          <p:spPr bwMode="auto">
            <a:xfrm flipV="1">
              <a:off x="4602163" y="85725"/>
              <a:ext cx="1417638" cy="1893888"/>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8" name="Line 9">
              <a:extLst>
                <a:ext uri="{FF2B5EF4-FFF2-40B4-BE49-F238E27FC236}">
                  <a16:creationId xmlns:a16="http://schemas.microsoft.com/office/drawing/2014/main" id="{669635D0-C97D-408E-A9C1-E06E74550946}"/>
                </a:ext>
              </a:extLst>
            </p:cNvPr>
            <p:cNvSpPr>
              <a:spLocks noChangeShapeType="1"/>
            </p:cNvSpPr>
            <p:nvPr/>
          </p:nvSpPr>
          <p:spPr bwMode="auto">
            <a:xfrm>
              <a:off x="5991226" y="69850"/>
              <a:ext cx="1417638" cy="1879600"/>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39" name="Line 10">
              <a:extLst>
                <a:ext uri="{FF2B5EF4-FFF2-40B4-BE49-F238E27FC236}">
                  <a16:creationId xmlns:a16="http://schemas.microsoft.com/office/drawing/2014/main" id="{8DDC4481-404E-4738-968C-EEF49D2F686D}"/>
                </a:ext>
              </a:extLst>
            </p:cNvPr>
            <p:cNvSpPr>
              <a:spLocks noChangeShapeType="1"/>
            </p:cNvSpPr>
            <p:nvPr/>
          </p:nvSpPr>
          <p:spPr bwMode="auto">
            <a:xfrm flipV="1">
              <a:off x="7439026" y="25400"/>
              <a:ext cx="1255713" cy="1968500"/>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0" name="Line 11">
              <a:extLst>
                <a:ext uri="{FF2B5EF4-FFF2-40B4-BE49-F238E27FC236}">
                  <a16:creationId xmlns:a16="http://schemas.microsoft.com/office/drawing/2014/main" id="{932E0950-9D1E-4E0C-A926-7D1684E6CC56}"/>
                </a:ext>
              </a:extLst>
            </p:cNvPr>
            <p:cNvSpPr>
              <a:spLocks noChangeShapeType="1"/>
            </p:cNvSpPr>
            <p:nvPr/>
          </p:nvSpPr>
          <p:spPr bwMode="auto">
            <a:xfrm>
              <a:off x="6019801" y="114300"/>
              <a:ext cx="0" cy="186531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1" name="Line 12">
              <a:extLst>
                <a:ext uri="{FF2B5EF4-FFF2-40B4-BE49-F238E27FC236}">
                  <a16:creationId xmlns:a16="http://schemas.microsoft.com/office/drawing/2014/main" id="{EA7A509F-C8DE-427E-B52B-0459B2EF46E1}"/>
                </a:ext>
              </a:extLst>
            </p:cNvPr>
            <p:cNvSpPr>
              <a:spLocks noChangeShapeType="1"/>
            </p:cNvSpPr>
            <p:nvPr/>
          </p:nvSpPr>
          <p:spPr bwMode="auto">
            <a:xfrm>
              <a:off x="6019801" y="1935163"/>
              <a:ext cx="0" cy="488156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2" name="Line 13">
              <a:extLst>
                <a:ext uri="{FF2B5EF4-FFF2-40B4-BE49-F238E27FC236}">
                  <a16:creationId xmlns:a16="http://schemas.microsoft.com/office/drawing/2014/main" id="{169D7A31-B8F2-42EA-89F7-398C3C1ABF1C}"/>
                </a:ext>
              </a:extLst>
            </p:cNvPr>
            <p:cNvSpPr>
              <a:spLocks noChangeShapeType="1"/>
            </p:cNvSpPr>
            <p:nvPr/>
          </p:nvSpPr>
          <p:spPr bwMode="auto">
            <a:xfrm>
              <a:off x="4632326" y="1949450"/>
              <a:ext cx="1358900" cy="4794250"/>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3" name="Line 14">
              <a:extLst>
                <a:ext uri="{FF2B5EF4-FFF2-40B4-BE49-F238E27FC236}">
                  <a16:creationId xmlns:a16="http://schemas.microsoft.com/office/drawing/2014/main" id="{4703D4D2-6AF4-4B48-9F8B-70A824E61247}"/>
                </a:ext>
              </a:extLst>
            </p:cNvPr>
            <p:cNvSpPr>
              <a:spLocks noChangeShapeType="1"/>
            </p:cNvSpPr>
            <p:nvPr/>
          </p:nvSpPr>
          <p:spPr bwMode="auto">
            <a:xfrm flipH="1">
              <a:off x="6049963" y="1963738"/>
              <a:ext cx="1389063" cy="4794250"/>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4" name="Line 15">
              <a:extLst>
                <a:ext uri="{FF2B5EF4-FFF2-40B4-BE49-F238E27FC236}">
                  <a16:creationId xmlns:a16="http://schemas.microsoft.com/office/drawing/2014/main" id="{4A9DC3BF-A9C1-4DDE-9A73-9E6F8C7BE8FF}"/>
                </a:ext>
              </a:extLst>
            </p:cNvPr>
            <p:cNvSpPr>
              <a:spLocks noChangeShapeType="1"/>
            </p:cNvSpPr>
            <p:nvPr/>
          </p:nvSpPr>
          <p:spPr bwMode="auto">
            <a:xfrm>
              <a:off x="8683626" y="80963"/>
              <a:ext cx="509588" cy="187166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5" name="Line 16">
              <a:extLst>
                <a:ext uri="{FF2B5EF4-FFF2-40B4-BE49-F238E27FC236}">
                  <a16:creationId xmlns:a16="http://schemas.microsoft.com/office/drawing/2014/main" id="{9F6E95B2-F8CB-4A00-BA7A-F502F46A7E54}"/>
                </a:ext>
              </a:extLst>
            </p:cNvPr>
            <p:cNvSpPr>
              <a:spLocks noChangeShapeType="1"/>
            </p:cNvSpPr>
            <p:nvPr/>
          </p:nvSpPr>
          <p:spPr bwMode="auto">
            <a:xfrm flipH="1">
              <a:off x="2903538" y="36513"/>
              <a:ext cx="560388" cy="1887538"/>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6" name="Line 17">
              <a:extLst>
                <a:ext uri="{FF2B5EF4-FFF2-40B4-BE49-F238E27FC236}">
                  <a16:creationId xmlns:a16="http://schemas.microsoft.com/office/drawing/2014/main" id="{D930EB77-2E26-41ED-A556-CEF9FC3FDF31}"/>
                </a:ext>
              </a:extLst>
            </p:cNvPr>
            <p:cNvSpPr>
              <a:spLocks noChangeShapeType="1"/>
            </p:cNvSpPr>
            <p:nvPr/>
          </p:nvSpPr>
          <p:spPr bwMode="auto">
            <a:xfrm>
              <a:off x="2887663" y="1919288"/>
              <a:ext cx="3117850" cy="4824413"/>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147" name="Line 18">
              <a:extLst>
                <a:ext uri="{FF2B5EF4-FFF2-40B4-BE49-F238E27FC236}">
                  <a16:creationId xmlns:a16="http://schemas.microsoft.com/office/drawing/2014/main" id="{D0228162-0EEB-4E89-B809-D90F8CED8963}"/>
                </a:ext>
              </a:extLst>
            </p:cNvPr>
            <p:cNvSpPr>
              <a:spLocks noChangeShapeType="1"/>
            </p:cNvSpPr>
            <p:nvPr/>
          </p:nvSpPr>
          <p:spPr bwMode="auto">
            <a:xfrm flipH="1">
              <a:off x="6005513" y="1935163"/>
              <a:ext cx="3221038" cy="4852988"/>
            </a:xfrm>
            <a:prstGeom prst="line">
              <a:avLst/>
            </a:prstGeom>
            <a:grp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06" name="Group 45">
            <a:extLst>
              <a:ext uri="{FF2B5EF4-FFF2-40B4-BE49-F238E27FC236}">
                <a16:creationId xmlns:a16="http://schemas.microsoft.com/office/drawing/2014/main" id="{10851A35-D0CF-4FB8-94B5-B80C43539A56}"/>
              </a:ext>
            </a:extLst>
          </p:cNvPr>
          <p:cNvGrpSpPr>
            <a:grpSpLocks noChangeAspect="1"/>
          </p:cNvGrpSpPr>
          <p:nvPr/>
        </p:nvGrpSpPr>
        <p:grpSpPr>
          <a:xfrm>
            <a:off x="6184729" y="3801969"/>
            <a:ext cx="289427" cy="285619"/>
            <a:chOff x="5554663" y="3609975"/>
            <a:chExt cx="361950" cy="357188"/>
          </a:xfrm>
          <a:solidFill>
            <a:schemeClr val="bg1"/>
          </a:solidFill>
          <a:effectLst/>
        </p:grpSpPr>
        <p:sp>
          <p:nvSpPr>
            <p:cNvPr id="1007" name="Freeform 1764">
              <a:extLst>
                <a:ext uri="{FF2B5EF4-FFF2-40B4-BE49-F238E27FC236}">
                  <a16:creationId xmlns:a16="http://schemas.microsoft.com/office/drawing/2014/main" id="{98BDFE2D-D8EE-4523-91FB-5916F0C5D5B1}"/>
                </a:ext>
              </a:extLst>
            </p:cNvPr>
            <p:cNvSpPr>
              <a:spLocks/>
            </p:cNvSpPr>
            <p:nvPr/>
          </p:nvSpPr>
          <p:spPr bwMode="auto">
            <a:xfrm>
              <a:off x="5554663" y="3613150"/>
              <a:ext cx="354013" cy="354013"/>
            </a:xfrm>
            <a:custGeom>
              <a:avLst/>
              <a:gdLst>
                <a:gd name="T0" fmla="*/ 92 w 94"/>
                <a:gd name="T1" fmla="*/ 94 h 94"/>
                <a:gd name="T2" fmla="*/ 2 w 94"/>
                <a:gd name="T3" fmla="*/ 94 h 94"/>
                <a:gd name="T4" fmla="*/ 0 w 94"/>
                <a:gd name="T5" fmla="*/ 92 h 94"/>
                <a:gd name="T6" fmla="*/ 0 w 94"/>
                <a:gd name="T7" fmla="*/ 2 h 94"/>
                <a:gd name="T8" fmla="*/ 2 w 94"/>
                <a:gd name="T9" fmla="*/ 0 h 94"/>
                <a:gd name="T10" fmla="*/ 4 w 94"/>
                <a:gd name="T11" fmla="*/ 2 h 94"/>
                <a:gd name="T12" fmla="*/ 4 w 94"/>
                <a:gd name="T13" fmla="*/ 90 h 94"/>
                <a:gd name="T14" fmla="*/ 92 w 94"/>
                <a:gd name="T15" fmla="*/ 90 h 94"/>
                <a:gd name="T16" fmla="*/ 94 w 94"/>
                <a:gd name="T17" fmla="*/ 92 h 94"/>
                <a:gd name="T18" fmla="*/ 92 w 94"/>
                <a:gd name="T1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92" y="94"/>
                  </a:moveTo>
                  <a:cubicBezTo>
                    <a:pt x="2" y="94"/>
                    <a:pt x="2" y="94"/>
                    <a:pt x="2" y="94"/>
                  </a:cubicBezTo>
                  <a:cubicBezTo>
                    <a:pt x="1" y="94"/>
                    <a:pt x="0" y="93"/>
                    <a:pt x="0" y="92"/>
                  </a:cubicBezTo>
                  <a:cubicBezTo>
                    <a:pt x="0" y="2"/>
                    <a:pt x="0" y="2"/>
                    <a:pt x="0" y="2"/>
                  </a:cubicBezTo>
                  <a:cubicBezTo>
                    <a:pt x="0" y="1"/>
                    <a:pt x="1" y="0"/>
                    <a:pt x="2" y="0"/>
                  </a:cubicBezTo>
                  <a:cubicBezTo>
                    <a:pt x="3" y="0"/>
                    <a:pt x="4" y="1"/>
                    <a:pt x="4" y="2"/>
                  </a:cubicBezTo>
                  <a:cubicBezTo>
                    <a:pt x="4" y="90"/>
                    <a:pt x="4" y="90"/>
                    <a:pt x="4" y="90"/>
                  </a:cubicBezTo>
                  <a:cubicBezTo>
                    <a:pt x="92" y="90"/>
                    <a:pt x="92" y="90"/>
                    <a:pt x="92" y="90"/>
                  </a:cubicBezTo>
                  <a:cubicBezTo>
                    <a:pt x="93" y="90"/>
                    <a:pt x="94" y="91"/>
                    <a:pt x="94" y="92"/>
                  </a:cubicBezTo>
                  <a:cubicBezTo>
                    <a:pt x="94" y="93"/>
                    <a:pt x="93" y="94"/>
                    <a:pt x="92"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8" name="Freeform 1765">
              <a:extLst>
                <a:ext uri="{FF2B5EF4-FFF2-40B4-BE49-F238E27FC236}">
                  <a16:creationId xmlns:a16="http://schemas.microsoft.com/office/drawing/2014/main" id="{D7B54E3D-F65E-43FE-900A-A536076BF306}"/>
                </a:ext>
              </a:extLst>
            </p:cNvPr>
            <p:cNvSpPr>
              <a:spLocks noEditPoints="1"/>
            </p:cNvSpPr>
            <p:nvPr/>
          </p:nvSpPr>
          <p:spPr bwMode="auto">
            <a:xfrm>
              <a:off x="5653088" y="3684588"/>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09" name="Freeform 1766">
              <a:extLst>
                <a:ext uri="{FF2B5EF4-FFF2-40B4-BE49-F238E27FC236}">
                  <a16:creationId xmlns:a16="http://schemas.microsoft.com/office/drawing/2014/main" id="{518CE9E9-322B-46F2-9030-65E46D1B9DD3}"/>
                </a:ext>
              </a:extLst>
            </p:cNvPr>
            <p:cNvSpPr>
              <a:spLocks noEditPoints="1"/>
            </p:cNvSpPr>
            <p:nvPr/>
          </p:nvSpPr>
          <p:spPr bwMode="auto">
            <a:xfrm>
              <a:off x="564197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0" name="Freeform 1767">
              <a:extLst>
                <a:ext uri="{FF2B5EF4-FFF2-40B4-BE49-F238E27FC236}">
                  <a16:creationId xmlns:a16="http://schemas.microsoft.com/office/drawing/2014/main" id="{EB19A230-E4E5-46EB-A688-85BAEC56A604}"/>
                </a:ext>
              </a:extLst>
            </p:cNvPr>
            <p:cNvSpPr>
              <a:spLocks noEditPoints="1"/>
            </p:cNvSpPr>
            <p:nvPr/>
          </p:nvSpPr>
          <p:spPr bwMode="auto">
            <a:xfrm>
              <a:off x="5765800" y="371792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1" name="Freeform 1768">
              <a:extLst>
                <a:ext uri="{FF2B5EF4-FFF2-40B4-BE49-F238E27FC236}">
                  <a16:creationId xmlns:a16="http://schemas.microsoft.com/office/drawing/2014/main" id="{5EC21AA5-3674-4283-A907-94A0D72712F9}"/>
                </a:ext>
              </a:extLst>
            </p:cNvPr>
            <p:cNvSpPr>
              <a:spLocks noEditPoints="1"/>
            </p:cNvSpPr>
            <p:nvPr/>
          </p:nvSpPr>
          <p:spPr bwMode="auto">
            <a:xfrm>
              <a:off x="5749925" y="3824288"/>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0"/>
                    <a:pt x="6" y="12"/>
                    <a:pt x="8" y="12"/>
                  </a:cubicBezTo>
                  <a:cubicBezTo>
                    <a:pt x="11" y="12"/>
                    <a:pt x="12" y="10"/>
                    <a:pt x="12" y="8"/>
                  </a:cubicBezTo>
                  <a:cubicBezTo>
                    <a:pt x="12" y="6"/>
                    <a:pt x="11"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2" name="Freeform 1769">
              <a:extLst>
                <a:ext uri="{FF2B5EF4-FFF2-40B4-BE49-F238E27FC236}">
                  <a16:creationId xmlns:a16="http://schemas.microsoft.com/office/drawing/2014/main" id="{8862A5BB-118B-4879-9A61-E0A7AF63AFEA}"/>
                </a:ext>
              </a:extLst>
            </p:cNvPr>
            <p:cNvSpPr>
              <a:spLocks noEditPoints="1"/>
            </p:cNvSpPr>
            <p:nvPr/>
          </p:nvSpPr>
          <p:spPr bwMode="auto">
            <a:xfrm>
              <a:off x="5856288" y="3763963"/>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3" name="Freeform 1770">
              <a:extLst>
                <a:ext uri="{FF2B5EF4-FFF2-40B4-BE49-F238E27FC236}">
                  <a16:creationId xmlns:a16="http://schemas.microsoft.com/office/drawing/2014/main" id="{242F0D93-D9F4-4E50-81E9-21B6B91E0806}"/>
                </a:ext>
              </a:extLst>
            </p:cNvPr>
            <p:cNvSpPr>
              <a:spLocks noEditPoints="1"/>
            </p:cNvSpPr>
            <p:nvPr/>
          </p:nvSpPr>
          <p:spPr bwMode="auto">
            <a:xfrm>
              <a:off x="5856288" y="36099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4" name="Freeform 1771">
              <a:extLst>
                <a:ext uri="{FF2B5EF4-FFF2-40B4-BE49-F238E27FC236}">
                  <a16:creationId xmlns:a16="http://schemas.microsoft.com/office/drawing/2014/main" id="{EFCEA4AE-1CD8-420A-8A1D-F49E28A2840A}"/>
                </a:ext>
              </a:extLst>
            </p:cNvPr>
            <p:cNvSpPr>
              <a:spLocks/>
            </p:cNvSpPr>
            <p:nvPr/>
          </p:nvSpPr>
          <p:spPr bwMode="auto">
            <a:xfrm>
              <a:off x="5803900" y="3646488"/>
              <a:ext cx="74613" cy="95250"/>
            </a:xfrm>
            <a:custGeom>
              <a:avLst/>
              <a:gdLst>
                <a:gd name="T0" fmla="*/ 2 w 20"/>
                <a:gd name="T1" fmla="*/ 25 h 25"/>
                <a:gd name="T2" fmla="*/ 1 w 20"/>
                <a:gd name="T3" fmla="*/ 24 h 25"/>
                <a:gd name="T4" fmla="*/ 1 w 20"/>
                <a:gd name="T5" fmla="*/ 21 h 25"/>
                <a:gd name="T6" fmla="*/ 16 w 20"/>
                <a:gd name="T7" fmla="*/ 1 h 25"/>
                <a:gd name="T8" fmla="*/ 19 w 20"/>
                <a:gd name="T9" fmla="*/ 1 h 25"/>
                <a:gd name="T10" fmla="*/ 20 w 20"/>
                <a:gd name="T11" fmla="*/ 4 h 25"/>
                <a:gd name="T12" fmla="*/ 4 w 20"/>
                <a:gd name="T13" fmla="*/ 24 h 25"/>
                <a:gd name="T14" fmla="*/ 2 w 2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2" y="25"/>
                  </a:moveTo>
                  <a:cubicBezTo>
                    <a:pt x="2" y="25"/>
                    <a:pt x="1" y="24"/>
                    <a:pt x="1" y="24"/>
                  </a:cubicBezTo>
                  <a:cubicBezTo>
                    <a:pt x="0" y="23"/>
                    <a:pt x="0" y="22"/>
                    <a:pt x="1" y="21"/>
                  </a:cubicBezTo>
                  <a:cubicBezTo>
                    <a:pt x="16" y="1"/>
                    <a:pt x="16" y="1"/>
                    <a:pt x="16" y="1"/>
                  </a:cubicBezTo>
                  <a:cubicBezTo>
                    <a:pt x="17" y="0"/>
                    <a:pt x="18" y="0"/>
                    <a:pt x="19" y="1"/>
                  </a:cubicBezTo>
                  <a:cubicBezTo>
                    <a:pt x="20" y="2"/>
                    <a:pt x="20" y="3"/>
                    <a:pt x="20" y="4"/>
                  </a:cubicBezTo>
                  <a:cubicBezTo>
                    <a:pt x="4" y="24"/>
                    <a:pt x="4" y="24"/>
                    <a:pt x="4" y="24"/>
                  </a:cubicBezTo>
                  <a:cubicBezTo>
                    <a:pt x="3" y="24"/>
                    <a:pt x="3" y="25"/>
                    <a:pt x="2"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5" name="Freeform 1772">
              <a:extLst>
                <a:ext uri="{FF2B5EF4-FFF2-40B4-BE49-F238E27FC236}">
                  <a16:creationId xmlns:a16="http://schemas.microsoft.com/office/drawing/2014/main" id="{AC225189-1C5D-4FE7-BDB5-ABE9D4BC2119}"/>
                </a:ext>
              </a:extLst>
            </p:cNvPr>
            <p:cNvSpPr>
              <a:spLocks/>
            </p:cNvSpPr>
            <p:nvPr/>
          </p:nvSpPr>
          <p:spPr bwMode="auto">
            <a:xfrm>
              <a:off x="5694363" y="3711575"/>
              <a:ext cx="90488" cy="41275"/>
            </a:xfrm>
            <a:custGeom>
              <a:avLst/>
              <a:gdLst>
                <a:gd name="T0" fmla="*/ 22 w 24"/>
                <a:gd name="T1" fmla="*/ 11 h 11"/>
                <a:gd name="T2" fmla="*/ 21 w 24"/>
                <a:gd name="T3" fmla="*/ 11 h 11"/>
                <a:gd name="T4" fmla="*/ 2 w 24"/>
                <a:gd name="T5" fmla="*/ 4 h 11"/>
                <a:gd name="T6" fmla="*/ 1 w 24"/>
                <a:gd name="T7" fmla="*/ 2 h 11"/>
                <a:gd name="T8" fmla="*/ 3 w 24"/>
                <a:gd name="T9" fmla="*/ 1 h 11"/>
                <a:gd name="T10" fmla="*/ 22 w 24"/>
                <a:gd name="T11" fmla="*/ 7 h 11"/>
                <a:gd name="T12" fmla="*/ 24 w 24"/>
                <a:gd name="T13" fmla="*/ 9 h 11"/>
                <a:gd name="T14" fmla="*/ 22 w 24"/>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1">
                  <a:moveTo>
                    <a:pt x="22" y="11"/>
                  </a:moveTo>
                  <a:cubicBezTo>
                    <a:pt x="21" y="11"/>
                    <a:pt x="21" y="11"/>
                    <a:pt x="21" y="11"/>
                  </a:cubicBezTo>
                  <a:cubicBezTo>
                    <a:pt x="2" y="4"/>
                    <a:pt x="2" y="4"/>
                    <a:pt x="2" y="4"/>
                  </a:cubicBezTo>
                  <a:cubicBezTo>
                    <a:pt x="1" y="4"/>
                    <a:pt x="0" y="3"/>
                    <a:pt x="1" y="2"/>
                  </a:cubicBezTo>
                  <a:cubicBezTo>
                    <a:pt x="1" y="1"/>
                    <a:pt x="2" y="0"/>
                    <a:pt x="3" y="1"/>
                  </a:cubicBezTo>
                  <a:cubicBezTo>
                    <a:pt x="22" y="7"/>
                    <a:pt x="22" y="7"/>
                    <a:pt x="22" y="7"/>
                  </a:cubicBezTo>
                  <a:cubicBezTo>
                    <a:pt x="23" y="7"/>
                    <a:pt x="24" y="8"/>
                    <a:pt x="24" y="9"/>
                  </a:cubicBezTo>
                  <a:cubicBezTo>
                    <a:pt x="23" y="10"/>
                    <a:pt x="23" y="11"/>
                    <a:pt x="2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6" name="Freeform 1773">
              <a:extLst>
                <a:ext uri="{FF2B5EF4-FFF2-40B4-BE49-F238E27FC236}">
                  <a16:creationId xmlns:a16="http://schemas.microsoft.com/office/drawing/2014/main" id="{29846F2F-C902-402B-A754-6C89908DA916}"/>
                </a:ext>
              </a:extLst>
            </p:cNvPr>
            <p:cNvSpPr>
              <a:spLocks/>
            </p:cNvSpPr>
            <p:nvPr/>
          </p:nvSpPr>
          <p:spPr bwMode="auto">
            <a:xfrm>
              <a:off x="5554663" y="3717925"/>
              <a:ext cx="117475" cy="76200"/>
            </a:xfrm>
            <a:custGeom>
              <a:avLst/>
              <a:gdLst>
                <a:gd name="T0" fmla="*/ 2 w 31"/>
                <a:gd name="T1" fmla="*/ 20 h 20"/>
                <a:gd name="T2" fmla="*/ 0 w 31"/>
                <a:gd name="T3" fmla="*/ 19 h 20"/>
                <a:gd name="T4" fmla="*/ 1 w 31"/>
                <a:gd name="T5" fmla="*/ 16 h 20"/>
                <a:gd name="T6" fmla="*/ 28 w 31"/>
                <a:gd name="T7" fmla="*/ 0 h 20"/>
                <a:gd name="T8" fmla="*/ 31 w 31"/>
                <a:gd name="T9" fmla="*/ 1 h 20"/>
                <a:gd name="T10" fmla="*/ 30 w 31"/>
                <a:gd name="T11" fmla="*/ 4 h 20"/>
                <a:gd name="T12" fmla="*/ 3 w 31"/>
                <a:gd name="T13" fmla="*/ 20 h 20"/>
                <a:gd name="T14" fmla="*/ 2 w 3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2" y="20"/>
                  </a:moveTo>
                  <a:cubicBezTo>
                    <a:pt x="1" y="20"/>
                    <a:pt x="1" y="20"/>
                    <a:pt x="0" y="19"/>
                  </a:cubicBezTo>
                  <a:cubicBezTo>
                    <a:pt x="0" y="18"/>
                    <a:pt x="0" y="17"/>
                    <a:pt x="1" y="16"/>
                  </a:cubicBezTo>
                  <a:cubicBezTo>
                    <a:pt x="28" y="0"/>
                    <a:pt x="28" y="0"/>
                    <a:pt x="28" y="0"/>
                  </a:cubicBezTo>
                  <a:cubicBezTo>
                    <a:pt x="29" y="0"/>
                    <a:pt x="30" y="0"/>
                    <a:pt x="31" y="1"/>
                  </a:cubicBezTo>
                  <a:cubicBezTo>
                    <a:pt x="31" y="2"/>
                    <a:pt x="31" y="3"/>
                    <a:pt x="30" y="4"/>
                  </a:cubicBezTo>
                  <a:cubicBezTo>
                    <a:pt x="3" y="20"/>
                    <a:pt x="3" y="20"/>
                    <a:pt x="3" y="20"/>
                  </a:cubicBezTo>
                  <a:cubicBezTo>
                    <a:pt x="3" y="20"/>
                    <a:pt x="2"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7" name="Freeform 1774">
              <a:extLst>
                <a:ext uri="{FF2B5EF4-FFF2-40B4-BE49-F238E27FC236}">
                  <a16:creationId xmlns:a16="http://schemas.microsoft.com/office/drawing/2014/main" id="{BDBA08A4-1E9F-4AAA-947D-75DBA7463DBC}"/>
                </a:ext>
              </a:extLst>
            </p:cNvPr>
            <p:cNvSpPr>
              <a:spLocks/>
            </p:cNvSpPr>
            <p:nvPr/>
          </p:nvSpPr>
          <p:spPr bwMode="auto">
            <a:xfrm>
              <a:off x="5791200" y="3797300"/>
              <a:ext cx="82550" cy="52388"/>
            </a:xfrm>
            <a:custGeom>
              <a:avLst/>
              <a:gdLst>
                <a:gd name="T0" fmla="*/ 3 w 22"/>
                <a:gd name="T1" fmla="*/ 14 h 14"/>
                <a:gd name="T2" fmla="*/ 1 w 22"/>
                <a:gd name="T3" fmla="*/ 13 h 14"/>
                <a:gd name="T4" fmla="*/ 2 w 22"/>
                <a:gd name="T5" fmla="*/ 11 h 14"/>
                <a:gd name="T6" fmla="*/ 19 w 22"/>
                <a:gd name="T7" fmla="*/ 1 h 14"/>
                <a:gd name="T8" fmla="*/ 22 w 22"/>
                <a:gd name="T9" fmla="*/ 1 h 14"/>
                <a:gd name="T10" fmla="*/ 21 w 22"/>
                <a:gd name="T11" fmla="*/ 4 h 14"/>
                <a:gd name="T12" fmla="*/ 4 w 22"/>
                <a:gd name="T13" fmla="*/ 14 h 14"/>
                <a:gd name="T14" fmla="*/ 3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3" y="14"/>
                  </a:moveTo>
                  <a:cubicBezTo>
                    <a:pt x="2" y="14"/>
                    <a:pt x="1" y="14"/>
                    <a:pt x="1" y="13"/>
                  </a:cubicBezTo>
                  <a:cubicBezTo>
                    <a:pt x="0" y="12"/>
                    <a:pt x="1" y="11"/>
                    <a:pt x="2" y="11"/>
                  </a:cubicBezTo>
                  <a:cubicBezTo>
                    <a:pt x="19" y="1"/>
                    <a:pt x="19" y="1"/>
                    <a:pt x="19" y="1"/>
                  </a:cubicBezTo>
                  <a:cubicBezTo>
                    <a:pt x="20" y="0"/>
                    <a:pt x="21" y="0"/>
                    <a:pt x="22" y="1"/>
                  </a:cubicBezTo>
                  <a:cubicBezTo>
                    <a:pt x="22" y="2"/>
                    <a:pt x="22" y="3"/>
                    <a:pt x="21" y="4"/>
                  </a:cubicBezTo>
                  <a:cubicBezTo>
                    <a:pt x="4" y="14"/>
                    <a:pt x="4" y="14"/>
                    <a:pt x="4" y="14"/>
                  </a:cubicBezTo>
                  <a:cubicBezTo>
                    <a:pt x="3" y="14"/>
                    <a:pt x="3" y="14"/>
                    <a:pt x="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8" name="Freeform 1775">
              <a:extLst>
                <a:ext uri="{FF2B5EF4-FFF2-40B4-BE49-F238E27FC236}">
                  <a16:creationId xmlns:a16="http://schemas.microsoft.com/office/drawing/2014/main" id="{BEE607C5-8775-4E42-B88A-35C0F86E0FE8}"/>
                </a:ext>
              </a:extLst>
            </p:cNvPr>
            <p:cNvSpPr>
              <a:spLocks/>
            </p:cNvSpPr>
            <p:nvPr/>
          </p:nvSpPr>
          <p:spPr bwMode="auto">
            <a:xfrm>
              <a:off x="5686425" y="3846513"/>
              <a:ext cx="79375" cy="14288"/>
            </a:xfrm>
            <a:custGeom>
              <a:avLst/>
              <a:gdLst>
                <a:gd name="T0" fmla="*/ 19 w 21"/>
                <a:gd name="T1" fmla="*/ 4 h 4"/>
                <a:gd name="T2" fmla="*/ 2 w 21"/>
                <a:gd name="T3" fmla="*/ 4 h 4"/>
                <a:gd name="T4" fmla="*/ 0 w 21"/>
                <a:gd name="T5" fmla="*/ 2 h 4"/>
                <a:gd name="T6" fmla="*/ 2 w 21"/>
                <a:gd name="T7" fmla="*/ 0 h 4"/>
                <a:gd name="T8" fmla="*/ 19 w 21"/>
                <a:gd name="T9" fmla="*/ 0 h 4"/>
                <a:gd name="T10" fmla="*/ 21 w 21"/>
                <a:gd name="T11" fmla="*/ 2 h 4"/>
                <a:gd name="T12" fmla="*/ 19 w 2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1" h="4">
                  <a:moveTo>
                    <a:pt x="19" y="4"/>
                  </a:moveTo>
                  <a:cubicBezTo>
                    <a:pt x="2" y="4"/>
                    <a:pt x="2" y="4"/>
                    <a:pt x="2" y="4"/>
                  </a:cubicBezTo>
                  <a:cubicBezTo>
                    <a:pt x="1" y="4"/>
                    <a:pt x="0" y="3"/>
                    <a:pt x="0" y="2"/>
                  </a:cubicBezTo>
                  <a:cubicBezTo>
                    <a:pt x="0" y="1"/>
                    <a:pt x="1" y="0"/>
                    <a:pt x="2" y="0"/>
                  </a:cubicBezTo>
                  <a:cubicBezTo>
                    <a:pt x="19" y="0"/>
                    <a:pt x="19" y="0"/>
                    <a:pt x="19" y="0"/>
                  </a:cubicBezTo>
                  <a:cubicBezTo>
                    <a:pt x="21" y="0"/>
                    <a:pt x="21" y="1"/>
                    <a:pt x="21" y="2"/>
                  </a:cubicBezTo>
                  <a:cubicBezTo>
                    <a:pt x="21" y="3"/>
                    <a:pt x="21"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019" name="Freeform 1776">
              <a:extLst>
                <a:ext uri="{FF2B5EF4-FFF2-40B4-BE49-F238E27FC236}">
                  <a16:creationId xmlns:a16="http://schemas.microsoft.com/office/drawing/2014/main" id="{0F4AB9C2-0237-4ABE-9BDE-098D042E8CF7}"/>
                </a:ext>
              </a:extLst>
            </p:cNvPr>
            <p:cNvSpPr>
              <a:spLocks/>
            </p:cNvSpPr>
            <p:nvPr/>
          </p:nvSpPr>
          <p:spPr bwMode="auto">
            <a:xfrm>
              <a:off x="5554663" y="3857625"/>
              <a:ext cx="106363" cy="71438"/>
            </a:xfrm>
            <a:custGeom>
              <a:avLst/>
              <a:gdLst>
                <a:gd name="T0" fmla="*/ 3 w 28"/>
                <a:gd name="T1" fmla="*/ 19 h 19"/>
                <a:gd name="T2" fmla="*/ 1 w 28"/>
                <a:gd name="T3" fmla="*/ 19 h 19"/>
                <a:gd name="T4" fmla="*/ 2 w 28"/>
                <a:gd name="T5" fmla="*/ 16 h 19"/>
                <a:gd name="T6" fmla="*/ 25 w 28"/>
                <a:gd name="T7" fmla="*/ 1 h 19"/>
                <a:gd name="T8" fmla="*/ 27 w 28"/>
                <a:gd name="T9" fmla="*/ 1 h 19"/>
                <a:gd name="T10" fmla="*/ 27 w 28"/>
                <a:gd name="T11" fmla="*/ 4 h 19"/>
                <a:gd name="T12" fmla="*/ 4 w 28"/>
                <a:gd name="T13" fmla="*/ 19 h 19"/>
                <a:gd name="T14" fmla="*/ 3 w 2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9">
                  <a:moveTo>
                    <a:pt x="3" y="19"/>
                  </a:moveTo>
                  <a:cubicBezTo>
                    <a:pt x="2" y="19"/>
                    <a:pt x="1" y="19"/>
                    <a:pt x="1" y="19"/>
                  </a:cubicBezTo>
                  <a:cubicBezTo>
                    <a:pt x="0" y="18"/>
                    <a:pt x="1" y="16"/>
                    <a:pt x="2" y="16"/>
                  </a:cubicBezTo>
                  <a:cubicBezTo>
                    <a:pt x="25" y="1"/>
                    <a:pt x="25" y="1"/>
                    <a:pt x="25" y="1"/>
                  </a:cubicBezTo>
                  <a:cubicBezTo>
                    <a:pt x="26" y="0"/>
                    <a:pt x="27" y="0"/>
                    <a:pt x="27" y="1"/>
                  </a:cubicBezTo>
                  <a:cubicBezTo>
                    <a:pt x="28" y="2"/>
                    <a:pt x="28" y="3"/>
                    <a:pt x="27" y="4"/>
                  </a:cubicBezTo>
                  <a:cubicBezTo>
                    <a:pt x="4" y="19"/>
                    <a:pt x="4" y="19"/>
                    <a:pt x="4" y="19"/>
                  </a:cubicBezTo>
                  <a:cubicBezTo>
                    <a:pt x="3" y="19"/>
                    <a:pt x="3" y="19"/>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164" name="Group 44">
            <a:extLst>
              <a:ext uri="{FF2B5EF4-FFF2-40B4-BE49-F238E27FC236}">
                <a16:creationId xmlns:a16="http://schemas.microsoft.com/office/drawing/2014/main" id="{8A3419FE-9B95-4F07-BDB8-D89F34C1029D}"/>
              </a:ext>
            </a:extLst>
          </p:cNvPr>
          <p:cNvGrpSpPr>
            <a:grpSpLocks noChangeAspect="1"/>
          </p:cNvGrpSpPr>
          <p:nvPr/>
        </p:nvGrpSpPr>
        <p:grpSpPr>
          <a:xfrm>
            <a:off x="6637663" y="5956111"/>
            <a:ext cx="285619" cy="285619"/>
            <a:chOff x="7736664" y="5419470"/>
            <a:chExt cx="503328" cy="503328"/>
          </a:xfrm>
          <a:solidFill>
            <a:schemeClr val="bg1"/>
          </a:solidFill>
          <a:effectLst/>
        </p:grpSpPr>
        <p:sp>
          <p:nvSpPr>
            <p:cNvPr id="1204" name="Freeform 27">
              <a:extLst>
                <a:ext uri="{FF2B5EF4-FFF2-40B4-BE49-F238E27FC236}">
                  <a16:creationId xmlns:a16="http://schemas.microsoft.com/office/drawing/2014/main" id="{884F5929-2636-44EC-AF67-B35AD9DC1F09}"/>
                </a:ext>
              </a:extLst>
            </p:cNvPr>
            <p:cNvSpPr>
              <a:spLocks noEditPoints="1"/>
            </p:cNvSpPr>
            <p:nvPr/>
          </p:nvSpPr>
          <p:spPr bwMode="auto">
            <a:xfrm>
              <a:off x="7736664" y="5419470"/>
              <a:ext cx="503328" cy="503328"/>
            </a:xfrm>
            <a:custGeom>
              <a:avLst/>
              <a:gdLst>
                <a:gd name="T0" fmla="*/ 669 w 1642"/>
                <a:gd name="T1" fmla="*/ 76 h 1641"/>
                <a:gd name="T2" fmla="*/ 491 w 1642"/>
                <a:gd name="T3" fmla="*/ 135 h 1641"/>
                <a:gd name="T4" fmla="*/ 339 w 1642"/>
                <a:gd name="T5" fmla="*/ 235 h 1641"/>
                <a:gd name="T6" fmla="*/ 212 w 1642"/>
                <a:gd name="T7" fmla="*/ 366 h 1641"/>
                <a:gd name="T8" fmla="*/ 121 w 1642"/>
                <a:gd name="T9" fmla="*/ 525 h 1641"/>
                <a:gd name="T10" fmla="*/ 70 w 1642"/>
                <a:gd name="T11" fmla="*/ 705 h 1641"/>
                <a:gd name="T12" fmla="*/ 65 w 1642"/>
                <a:gd name="T13" fmla="*/ 898 h 1641"/>
                <a:gd name="T14" fmla="*/ 107 w 1642"/>
                <a:gd name="T15" fmla="*/ 1081 h 1641"/>
                <a:gd name="T16" fmla="*/ 192 w 1642"/>
                <a:gd name="T17" fmla="*/ 1245 h 1641"/>
                <a:gd name="T18" fmla="*/ 310 w 1642"/>
                <a:gd name="T19" fmla="*/ 1383 h 1641"/>
                <a:gd name="T20" fmla="*/ 460 w 1642"/>
                <a:gd name="T21" fmla="*/ 1488 h 1641"/>
                <a:gd name="T22" fmla="*/ 631 w 1642"/>
                <a:gd name="T23" fmla="*/ 1556 h 1641"/>
                <a:gd name="T24" fmla="*/ 821 w 1642"/>
                <a:gd name="T25" fmla="*/ 1581 h 1641"/>
                <a:gd name="T26" fmla="*/ 1011 w 1642"/>
                <a:gd name="T27" fmla="*/ 1556 h 1641"/>
                <a:gd name="T28" fmla="*/ 1183 w 1642"/>
                <a:gd name="T29" fmla="*/ 1488 h 1641"/>
                <a:gd name="T30" fmla="*/ 1332 w 1642"/>
                <a:gd name="T31" fmla="*/ 1383 h 1641"/>
                <a:gd name="T32" fmla="*/ 1452 w 1642"/>
                <a:gd name="T33" fmla="*/ 1245 h 1641"/>
                <a:gd name="T34" fmla="*/ 1535 w 1642"/>
                <a:gd name="T35" fmla="*/ 1081 h 1641"/>
                <a:gd name="T36" fmla="*/ 1577 w 1642"/>
                <a:gd name="T37" fmla="*/ 898 h 1641"/>
                <a:gd name="T38" fmla="*/ 1573 w 1642"/>
                <a:gd name="T39" fmla="*/ 705 h 1641"/>
                <a:gd name="T40" fmla="*/ 1521 w 1642"/>
                <a:gd name="T41" fmla="*/ 525 h 1641"/>
                <a:gd name="T42" fmla="*/ 1430 w 1642"/>
                <a:gd name="T43" fmla="*/ 366 h 1641"/>
                <a:gd name="T44" fmla="*/ 1305 w 1642"/>
                <a:gd name="T45" fmla="*/ 235 h 1641"/>
                <a:gd name="T46" fmla="*/ 1151 w 1642"/>
                <a:gd name="T47" fmla="*/ 135 h 1641"/>
                <a:gd name="T48" fmla="*/ 974 w 1642"/>
                <a:gd name="T49" fmla="*/ 76 h 1641"/>
                <a:gd name="T50" fmla="*/ 821 w 1642"/>
                <a:gd name="T51" fmla="*/ 1641 h 1641"/>
                <a:gd name="T52" fmla="*/ 617 w 1642"/>
                <a:gd name="T53" fmla="*/ 1615 h 1641"/>
                <a:gd name="T54" fmla="*/ 431 w 1642"/>
                <a:gd name="T55" fmla="*/ 1542 h 1641"/>
                <a:gd name="T56" fmla="*/ 270 w 1642"/>
                <a:gd name="T57" fmla="*/ 1428 h 1641"/>
                <a:gd name="T58" fmla="*/ 142 w 1642"/>
                <a:gd name="T59" fmla="*/ 1278 h 1641"/>
                <a:gd name="T60" fmla="*/ 51 w 1642"/>
                <a:gd name="T61" fmla="*/ 1103 h 1641"/>
                <a:gd name="T62" fmla="*/ 5 w 1642"/>
                <a:gd name="T63" fmla="*/ 904 h 1641"/>
                <a:gd name="T64" fmla="*/ 10 w 1642"/>
                <a:gd name="T65" fmla="*/ 695 h 1641"/>
                <a:gd name="T66" fmla="*/ 65 w 1642"/>
                <a:gd name="T67" fmla="*/ 501 h 1641"/>
                <a:gd name="T68" fmla="*/ 165 w 1642"/>
                <a:gd name="T69" fmla="*/ 330 h 1641"/>
                <a:gd name="T70" fmla="*/ 300 w 1642"/>
                <a:gd name="T71" fmla="*/ 187 h 1641"/>
                <a:gd name="T72" fmla="*/ 466 w 1642"/>
                <a:gd name="T73" fmla="*/ 81 h 1641"/>
                <a:gd name="T74" fmla="*/ 656 w 1642"/>
                <a:gd name="T75" fmla="*/ 17 h 1641"/>
                <a:gd name="T76" fmla="*/ 863 w 1642"/>
                <a:gd name="T77" fmla="*/ 1 h 1641"/>
                <a:gd name="T78" fmla="*/ 1065 w 1642"/>
                <a:gd name="T79" fmla="*/ 37 h 1641"/>
                <a:gd name="T80" fmla="*/ 1246 w 1642"/>
                <a:gd name="T81" fmla="*/ 119 h 1641"/>
                <a:gd name="T82" fmla="*/ 1402 w 1642"/>
                <a:gd name="T83" fmla="*/ 240 h 1641"/>
                <a:gd name="T84" fmla="*/ 1522 w 1642"/>
                <a:gd name="T85" fmla="*/ 396 h 1641"/>
                <a:gd name="T86" fmla="*/ 1605 w 1642"/>
                <a:gd name="T87" fmla="*/ 577 h 1641"/>
                <a:gd name="T88" fmla="*/ 1641 w 1642"/>
                <a:gd name="T89" fmla="*/ 779 h 1641"/>
                <a:gd name="T90" fmla="*/ 1625 w 1642"/>
                <a:gd name="T91" fmla="*/ 986 h 1641"/>
                <a:gd name="T92" fmla="*/ 1561 w 1642"/>
                <a:gd name="T93" fmla="*/ 1176 h 1641"/>
                <a:gd name="T94" fmla="*/ 1455 w 1642"/>
                <a:gd name="T95" fmla="*/ 1342 h 1641"/>
                <a:gd name="T96" fmla="*/ 1312 w 1642"/>
                <a:gd name="T97" fmla="*/ 1478 h 1641"/>
                <a:gd name="T98" fmla="*/ 1141 w 1642"/>
                <a:gd name="T99" fmla="*/ 1576 h 1641"/>
                <a:gd name="T100" fmla="*/ 946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9" y="76"/>
                  </a:lnTo>
                  <a:lnTo>
                    <a:pt x="631" y="85"/>
                  </a:lnTo>
                  <a:lnTo>
                    <a:pt x="595" y="95"/>
                  </a:lnTo>
                  <a:lnTo>
                    <a:pt x="561" y="107"/>
                  </a:lnTo>
                  <a:lnTo>
                    <a:pt x="526" y="121"/>
                  </a:lnTo>
                  <a:lnTo>
                    <a:pt x="491" y="135"/>
                  </a:lnTo>
                  <a:lnTo>
                    <a:pt x="460" y="153"/>
                  </a:lnTo>
                  <a:lnTo>
                    <a:pt x="428" y="171"/>
                  </a:lnTo>
                  <a:lnTo>
                    <a:pt x="396" y="190"/>
                  </a:lnTo>
                  <a:lnTo>
                    <a:pt x="368" y="212"/>
                  </a:lnTo>
                  <a:lnTo>
                    <a:pt x="339" y="235"/>
                  </a:lnTo>
                  <a:lnTo>
                    <a:pt x="310" y="258"/>
                  </a:lnTo>
                  <a:lnTo>
                    <a:pt x="284" y="284"/>
                  </a:lnTo>
                  <a:lnTo>
                    <a:pt x="260" y="309"/>
                  </a:lnTo>
                  <a:lnTo>
                    <a:pt x="235" y="337"/>
                  </a:lnTo>
                  <a:lnTo>
                    <a:pt x="212" y="366"/>
                  </a:lnTo>
                  <a:lnTo>
                    <a:pt x="192" y="396"/>
                  </a:lnTo>
                  <a:lnTo>
                    <a:pt x="172" y="428"/>
                  </a:lnTo>
                  <a:lnTo>
                    <a:pt x="153" y="459"/>
                  </a:lnTo>
                  <a:lnTo>
                    <a:pt x="136" y="491"/>
                  </a:lnTo>
                  <a:lnTo>
                    <a:pt x="121" y="525"/>
                  </a:lnTo>
                  <a:lnTo>
                    <a:pt x="107" y="560"/>
                  </a:lnTo>
                  <a:lnTo>
                    <a:pt x="95" y="595"/>
                  </a:lnTo>
                  <a:lnTo>
                    <a:pt x="85" y="630"/>
                  </a:lnTo>
                  <a:lnTo>
                    <a:pt x="77" y="668"/>
                  </a:lnTo>
                  <a:lnTo>
                    <a:pt x="70" y="705"/>
                  </a:lnTo>
                  <a:lnTo>
                    <a:pt x="65" y="743"/>
                  </a:lnTo>
                  <a:lnTo>
                    <a:pt x="62" y="782"/>
                  </a:lnTo>
                  <a:lnTo>
                    <a:pt x="61" y="821"/>
                  </a:lnTo>
                  <a:lnTo>
                    <a:pt x="62" y="859"/>
                  </a:lnTo>
                  <a:lnTo>
                    <a:pt x="65" y="898"/>
                  </a:lnTo>
                  <a:lnTo>
                    <a:pt x="70" y="936"/>
                  </a:lnTo>
                  <a:lnTo>
                    <a:pt x="77" y="973"/>
                  </a:lnTo>
                  <a:lnTo>
                    <a:pt x="85" y="1011"/>
                  </a:lnTo>
                  <a:lnTo>
                    <a:pt x="95" y="1046"/>
                  </a:lnTo>
                  <a:lnTo>
                    <a:pt x="107" y="1081"/>
                  </a:lnTo>
                  <a:lnTo>
                    <a:pt x="121" y="1116"/>
                  </a:lnTo>
                  <a:lnTo>
                    <a:pt x="136" y="1150"/>
                  </a:lnTo>
                  <a:lnTo>
                    <a:pt x="153" y="1182"/>
                  </a:lnTo>
                  <a:lnTo>
                    <a:pt x="172" y="1213"/>
                  </a:lnTo>
                  <a:lnTo>
                    <a:pt x="192" y="1245"/>
                  </a:lnTo>
                  <a:lnTo>
                    <a:pt x="212" y="1275"/>
                  </a:lnTo>
                  <a:lnTo>
                    <a:pt x="235" y="1304"/>
                  </a:lnTo>
                  <a:lnTo>
                    <a:pt x="260" y="1332"/>
                  </a:lnTo>
                  <a:lnTo>
                    <a:pt x="284" y="1357"/>
                  </a:lnTo>
                  <a:lnTo>
                    <a:pt x="310" y="1383"/>
                  </a:lnTo>
                  <a:lnTo>
                    <a:pt x="339" y="1406"/>
                  </a:lnTo>
                  <a:lnTo>
                    <a:pt x="368" y="1429"/>
                  </a:lnTo>
                  <a:lnTo>
                    <a:pt x="396" y="1451"/>
                  </a:lnTo>
                  <a:lnTo>
                    <a:pt x="428" y="1470"/>
                  </a:lnTo>
                  <a:lnTo>
                    <a:pt x="460" y="1488"/>
                  </a:lnTo>
                  <a:lnTo>
                    <a:pt x="493" y="1506"/>
                  </a:lnTo>
                  <a:lnTo>
                    <a:pt x="526" y="1520"/>
                  </a:lnTo>
                  <a:lnTo>
                    <a:pt x="561" y="1534"/>
                  </a:lnTo>
                  <a:lnTo>
                    <a:pt x="595" y="1546"/>
                  </a:lnTo>
                  <a:lnTo>
                    <a:pt x="631" y="1556"/>
                  </a:lnTo>
                  <a:lnTo>
                    <a:pt x="669" y="1565"/>
                  </a:lnTo>
                  <a:lnTo>
                    <a:pt x="706" y="1572"/>
                  </a:lnTo>
                  <a:lnTo>
                    <a:pt x="743" y="1576"/>
                  </a:lnTo>
                  <a:lnTo>
                    <a:pt x="782" y="1579"/>
                  </a:lnTo>
                  <a:lnTo>
                    <a:pt x="821" y="1581"/>
                  </a:lnTo>
                  <a:lnTo>
                    <a:pt x="860" y="1579"/>
                  </a:lnTo>
                  <a:lnTo>
                    <a:pt x="899" y="1576"/>
                  </a:lnTo>
                  <a:lnTo>
                    <a:pt x="936" y="1572"/>
                  </a:lnTo>
                  <a:lnTo>
                    <a:pt x="974" y="1565"/>
                  </a:lnTo>
                  <a:lnTo>
                    <a:pt x="1011" y="1556"/>
                  </a:lnTo>
                  <a:lnTo>
                    <a:pt x="1047" y="1546"/>
                  </a:lnTo>
                  <a:lnTo>
                    <a:pt x="1082" y="1534"/>
                  </a:lnTo>
                  <a:lnTo>
                    <a:pt x="1116" y="1520"/>
                  </a:lnTo>
                  <a:lnTo>
                    <a:pt x="1151" y="1506"/>
                  </a:lnTo>
                  <a:lnTo>
                    <a:pt x="1183" y="1488"/>
                  </a:lnTo>
                  <a:lnTo>
                    <a:pt x="1216" y="1470"/>
                  </a:lnTo>
                  <a:lnTo>
                    <a:pt x="1246" y="1451"/>
                  </a:lnTo>
                  <a:lnTo>
                    <a:pt x="1276" y="1429"/>
                  </a:lnTo>
                  <a:lnTo>
                    <a:pt x="1305" y="1406"/>
                  </a:lnTo>
                  <a:lnTo>
                    <a:pt x="1332" y="1383"/>
                  </a:lnTo>
                  <a:lnTo>
                    <a:pt x="1358" y="1357"/>
                  </a:lnTo>
                  <a:lnTo>
                    <a:pt x="1384" y="1332"/>
                  </a:lnTo>
                  <a:lnTo>
                    <a:pt x="1407" y="1304"/>
                  </a:lnTo>
                  <a:lnTo>
                    <a:pt x="1430" y="1275"/>
                  </a:lnTo>
                  <a:lnTo>
                    <a:pt x="1452" y="1245"/>
                  </a:lnTo>
                  <a:lnTo>
                    <a:pt x="1471" y="1213"/>
                  </a:lnTo>
                  <a:lnTo>
                    <a:pt x="1489" y="1182"/>
                  </a:lnTo>
                  <a:lnTo>
                    <a:pt x="1507" y="1150"/>
                  </a:lnTo>
                  <a:lnTo>
                    <a:pt x="1521" y="1116"/>
                  </a:lnTo>
                  <a:lnTo>
                    <a:pt x="1535" y="1081"/>
                  </a:lnTo>
                  <a:lnTo>
                    <a:pt x="1547" y="1046"/>
                  </a:lnTo>
                  <a:lnTo>
                    <a:pt x="1557" y="1011"/>
                  </a:lnTo>
                  <a:lnTo>
                    <a:pt x="1566" y="973"/>
                  </a:lnTo>
                  <a:lnTo>
                    <a:pt x="1573" y="936"/>
                  </a:lnTo>
                  <a:lnTo>
                    <a:pt x="1577" y="898"/>
                  </a:lnTo>
                  <a:lnTo>
                    <a:pt x="1580" y="859"/>
                  </a:lnTo>
                  <a:lnTo>
                    <a:pt x="1582" y="821"/>
                  </a:lnTo>
                  <a:lnTo>
                    <a:pt x="1580" y="782"/>
                  </a:lnTo>
                  <a:lnTo>
                    <a:pt x="1577" y="743"/>
                  </a:lnTo>
                  <a:lnTo>
                    <a:pt x="1573" y="705"/>
                  </a:lnTo>
                  <a:lnTo>
                    <a:pt x="1566" y="668"/>
                  </a:lnTo>
                  <a:lnTo>
                    <a:pt x="1557" y="630"/>
                  </a:lnTo>
                  <a:lnTo>
                    <a:pt x="1547" y="595"/>
                  </a:lnTo>
                  <a:lnTo>
                    <a:pt x="1535" y="560"/>
                  </a:lnTo>
                  <a:lnTo>
                    <a:pt x="1521" y="525"/>
                  </a:lnTo>
                  <a:lnTo>
                    <a:pt x="1507" y="491"/>
                  </a:lnTo>
                  <a:lnTo>
                    <a:pt x="1489" y="459"/>
                  </a:lnTo>
                  <a:lnTo>
                    <a:pt x="1471" y="428"/>
                  </a:lnTo>
                  <a:lnTo>
                    <a:pt x="1452" y="396"/>
                  </a:lnTo>
                  <a:lnTo>
                    <a:pt x="1430" y="366"/>
                  </a:lnTo>
                  <a:lnTo>
                    <a:pt x="1407" y="337"/>
                  </a:lnTo>
                  <a:lnTo>
                    <a:pt x="1384" y="309"/>
                  </a:lnTo>
                  <a:lnTo>
                    <a:pt x="1358" y="284"/>
                  </a:lnTo>
                  <a:lnTo>
                    <a:pt x="1332" y="258"/>
                  </a:lnTo>
                  <a:lnTo>
                    <a:pt x="1305" y="235"/>
                  </a:lnTo>
                  <a:lnTo>
                    <a:pt x="1276" y="212"/>
                  </a:lnTo>
                  <a:lnTo>
                    <a:pt x="1246" y="190"/>
                  </a:lnTo>
                  <a:lnTo>
                    <a:pt x="1216" y="171"/>
                  </a:lnTo>
                  <a:lnTo>
                    <a:pt x="1183" y="153"/>
                  </a:lnTo>
                  <a:lnTo>
                    <a:pt x="1151" y="135"/>
                  </a:lnTo>
                  <a:lnTo>
                    <a:pt x="1116" y="121"/>
                  </a:lnTo>
                  <a:lnTo>
                    <a:pt x="1082" y="107"/>
                  </a:lnTo>
                  <a:lnTo>
                    <a:pt x="1047" y="95"/>
                  </a:lnTo>
                  <a:lnTo>
                    <a:pt x="1011" y="85"/>
                  </a:lnTo>
                  <a:lnTo>
                    <a:pt x="974" y="76"/>
                  </a:lnTo>
                  <a:lnTo>
                    <a:pt x="936" y="69"/>
                  </a:lnTo>
                  <a:lnTo>
                    <a:pt x="899" y="65"/>
                  </a:lnTo>
                  <a:lnTo>
                    <a:pt x="860" y="62"/>
                  </a:lnTo>
                  <a:lnTo>
                    <a:pt x="821" y="60"/>
                  </a:lnTo>
                  <a:close/>
                  <a:moveTo>
                    <a:pt x="821" y="1641"/>
                  </a:moveTo>
                  <a:lnTo>
                    <a:pt x="779" y="1640"/>
                  </a:lnTo>
                  <a:lnTo>
                    <a:pt x="738" y="1637"/>
                  </a:lnTo>
                  <a:lnTo>
                    <a:pt x="696" y="1631"/>
                  </a:lnTo>
                  <a:lnTo>
                    <a:pt x="656" y="1624"/>
                  </a:lnTo>
                  <a:lnTo>
                    <a:pt x="617" y="1615"/>
                  </a:lnTo>
                  <a:lnTo>
                    <a:pt x="578" y="1604"/>
                  </a:lnTo>
                  <a:lnTo>
                    <a:pt x="539" y="1591"/>
                  </a:lnTo>
                  <a:lnTo>
                    <a:pt x="502" y="1576"/>
                  </a:lnTo>
                  <a:lnTo>
                    <a:pt x="466" y="1560"/>
                  </a:lnTo>
                  <a:lnTo>
                    <a:pt x="431" y="1542"/>
                  </a:lnTo>
                  <a:lnTo>
                    <a:pt x="396" y="1522"/>
                  </a:lnTo>
                  <a:lnTo>
                    <a:pt x="363" y="1501"/>
                  </a:lnTo>
                  <a:lnTo>
                    <a:pt x="330" y="1478"/>
                  </a:lnTo>
                  <a:lnTo>
                    <a:pt x="300" y="1454"/>
                  </a:lnTo>
                  <a:lnTo>
                    <a:pt x="270" y="1428"/>
                  </a:lnTo>
                  <a:lnTo>
                    <a:pt x="241" y="1401"/>
                  </a:lnTo>
                  <a:lnTo>
                    <a:pt x="214" y="1372"/>
                  </a:lnTo>
                  <a:lnTo>
                    <a:pt x="188" y="1342"/>
                  </a:lnTo>
                  <a:lnTo>
                    <a:pt x="165" y="1311"/>
                  </a:lnTo>
                  <a:lnTo>
                    <a:pt x="142" y="1278"/>
                  </a:lnTo>
                  <a:lnTo>
                    <a:pt x="120" y="1245"/>
                  </a:lnTo>
                  <a:lnTo>
                    <a:pt x="100" y="1211"/>
                  </a:lnTo>
                  <a:lnTo>
                    <a:pt x="81" y="1176"/>
                  </a:lnTo>
                  <a:lnTo>
                    <a:pt x="65" y="1140"/>
                  </a:lnTo>
                  <a:lnTo>
                    <a:pt x="51" y="1103"/>
                  </a:lnTo>
                  <a:lnTo>
                    <a:pt x="38" y="1064"/>
                  </a:lnTo>
                  <a:lnTo>
                    <a:pt x="26" y="1025"/>
                  </a:lnTo>
                  <a:lnTo>
                    <a:pt x="18" y="986"/>
                  </a:lnTo>
                  <a:lnTo>
                    <a:pt x="10" y="946"/>
                  </a:lnTo>
                  <a:lnTo>
                    <a:pt x="5" y="904"/>
                  </a:lnTo>
                  <a:lnTo>
                    <a:pt x="2" y="862"/>
                  </a:lnTo>
                  <a:lnTo>
                    <a:pt x="0" y="821"/>
                  </a:lnTo>
                  <a:lnTo>
                    <a:pt x="2" y="779"/>
                  </a:lnTo>
                  <a:lnTo>
                    <a:pt x="5" y="737"/>
                  </a:lnTo>
                  <a:lnTo>
                    <a:pt x="10" y="695"/>
                  </a:lnTo>
                  <a:lnTo>
                    <a:pt x="18" y="655"/>
                  </a:lnTo>
                  <a:lnTo>
                    <a:pt x="26" y="616"/>
                  </a:lnTo>
                  <a:lnTo>
                    <a:pt x="38" y="577"/>
                  </a:lnTo>
                  <a:lnTo>
                    <a:pt x="51" y="538"/>
                  </a:lnTo>
                  <a:lnTo>
                    <a:pt x="65" y="501"/>
                  </a:lnTo>
                  <a:lnTo>
                    <a:pt x="81" y="465"/>
                  </a:lnTo>
                  <a:lnTo>
                    <a:pt x="100" y="430"/>
                  </a:lnTo>
                  <a:lnTo>
                    <a:pt x="120" y="396"/>
                  </a:lnTo>
                  <a:lnTo>
                    <a:pt x="142" y="363"/>
                  </a:lnTo>
                  <a:lnTo>
                    <a:pt x="165" y="330"/>
                  </a:lnTo>
                  <a:lnTo>
                    <a:pt x="188" y="299"/>
                  </a:lnTo>
                  <a:lnTo>
                    <a:pt x="214" y="269"/>
                  </a:lnTo>
                  <a:lnTo>
                    <a:pt x="241" y="240"/>
                  </a:lnTo>
                  <a:lnTo>
                    <a:pt x="270" y="213"/>
                  </a:lnTo>
                  <a:lnTo>
                    <a:pt x="300" y="187"/>
                  </a:lnTo>
                  <a:lnTo>
                    <a:pt x="330" y="163"/>
                  </a:lnTo>
                  <a:lnTo>
                    <a:pt x="363" y="140"/>
                  </a:lnTo>
                  <a:lnTo>
                    <a:pt x="396" y="119"/>
                  </a:lnTo>
                  <a:lnTo>
                    <a:pt x="431" y="99"/>
                  </a:lnTo>
                  <a:lnTo>
                    <a:pt x="466" y="81"/>
                  </a:lnTo>
                  <a:lnTo>
                    <a:pt x="502" y="65"/>
                  </a:lnTo>
                  <a:lnTo>
                    <a:pt x="539" y="50"/>
                  </a:lnTo>
                  <a:lnTo>
                    <a:pt x="578" y="37"/>
                  </a:lnTo>
                  <a:lnTo>
                    <a:pt x="617" y="26"/>
                  </a:lnTo>
                  <a:lnTo>
                    <a:pt x="656" y="17"/>
                  </a:lnTo>
                  <a:lnTo>
                    <a:pt x="696" y="10"/>
                  </a:lnTo>
                  <a:lnTo>
                    <a:pt x="738" y="4"/>
                  </a:lnTo>
                  <a:lnTo>
                    <a:pt x="779" y="1"/>
                  </a:lnTo>
                  <a:lnTo>
                    <a:pt x="821" y="0"/>
                  </a:lnTo>
                  <a:lnTo>
                    <a:pt x="863" y="1"/>
                  </a:lnTo>
                  <a:lnTo>
                    <a:pt x="905" y="4"/>
                  </a:lnTo>
                  <a:lnTo>
                    <a:pt x="946" y="10"/>
                  </a:lnTo>
                  <a:lnTo>
                    <a:pt x="987" y="17"/>
                  </a:lnTo>
                  <a:lnTo>
                    <a:pt x="1026" y="26"/>
                  </a:lnTo>
                  <a:lnTo>
                    <a:pt x="1065" y="37"/>
                  </a:lnTo>
                  <a:lnTo>
                    <a:pt x="1103" y="50"/>
                  </a:lnTo>
                  <a:lnTo>
                    <a:pt x="1141" y="65"/>
                  </a:lnTo>
                  <a:lnTo>
                    <a:pt x="1177" y="81"/>
                  </a:lnTo>
                  <a:lnTo>
                    <a:pt x="1213" y="99"/>
                  </a:lnTo>
                  <a:lnTo>
                    <a:pt x="1246" y="119"/>
                  </a:lnTo>
                  <a:lnTo>
                    <a:pt x="1281" y="140"/>
                  </a:lnTo>
                  <a:lnTo>
                    <a:pt x="1312" y="163"/>
                  </a:lnTo>
                  <a:lnTo>
                    <a:pt x="1342" y="187"/>
                  </a:lnTo>
                  <a:lnTo>
                    <a:pt x="1373" y="213"/>
                  </a:lnTo>
                  <a:lnTo>
                    <a:pt x="1402" y="240"/>
                  </a:lnTo>
                  <a:lnTo>
                    <a:pt x="1429" y="269"/>
                  </a:lnTo>
                  <a:lnTo>
                    <a:pt x="1455" y="299"/>
                  </a:lnTo>
                  <a:lnTo>
                    <a:pt x="1479" y="330"/>
                  </a:lnTo>
                  <a:lnTo>
                    <a:pt x="1502" y="363"/>
                  </a:lnTo>
                  <a:lnTo>
                    <a:pt x="1522" y="396"/>
                  </a:lnTo>
                  <a:lnTo>
                    <a:pt x="1543" y="430"/>
                  </a:lnTo>
                  <a:lnTo>
                    <a:pt x="1561" y="465"/>
                  </a:lnTo>
                  <a:lnTo>
                    <a:pt x="1577" y="501"/>
                  </a:lnTo>
                  <a:lnTo>
                    <a:pt x="1592" y="538"/>
                  </a:lnTo>
                  <a:lnTo>
                    <a:pt x="1605" y="577"/>
                  </a:lnTo>
                  <a:lnTo>
                    <a:pt x="1616" y="616"/>
                  </a:lnTo>
                  <a:lnTo>
                    <a:pt x="1625" y="655"/>
                  </a:lnTo>
                  <a:lnTo>
                    <a:pt x="1632" y="695"/>
                  </a:lnTo>
                  <a:lnTo>
                    <a:pt x="1638" y="737"/>
                  </a:lnTo>
                  <a:lnTo>
                    <a:pt x="1641" y="779"/>
                  </a:lnTo>
                  <a:lnTo>
                    <a:pt x="1642" y="821"/>
                  </a:lnTo>
                  <a:lnTo>
                    <a:pt x="1641" y="862"/>
                  </a:lnTo>
                  <a:lnTo>
                    <a:pt x="1638" y="904"/>
                  </a:lnTo>
                  <a:lnTo>
                    <a:pt x="1632" y="946"/>
                  </a:lnTo>
                  <a:lnTo>
                    <a:pt x="1625" y="986"/>
                  </a:lnTo>
                  <a:lnTo>
                    <a:pt x="1616" y="1025"/>
                  </a:lnTo>
                  <a:lnTo>
                    <a:pt x="1605" y="1064"/>
                  </a:lnTo>
                  <a:lnTo>
                    <a:pt x="1592" y="1103"/>
                  </a:lnTo>
                  <a:lnTo>
                    <a:pt x="1577" y="1140"/>
                  </a:lnTo>
                  <a:lnTo>
                    <a:pt x="1561" y="1176"/>
                  </a:lnTo>
                  <a:lnTo>
                    <a:pt x="1543" y="1211"/>
                  </a:lnTo>
                  <a:lnTo>
                    <a:pt x="1522" y="1245"/>
                  </a:lnTo>
                  <a:lnTo>
                    <a:pt x="1502" y="1278"/>
                  </a:lnTo>
                  <a:lnTo>
                    <a:pt x="1479" y="1311"/>
                  </a:lnTo>
                  <a:lnTo>
                    <a:pt x="1455" y="1342"/>
                  </a:lnTo>
                  <a:lnTo>
                    <a:pt x="1429" y="1372"/>
                  </a:lnTo>
                  <a:lnTo>
                    <a:pt x="1402" y="1401"/>
                  </a:lnTo>
                  <a:lnTo>
                    <a:pt x="1373" y="1428"/>
                  </a:lnTo>
                  <a:lnTo>
                    <a:pt x="1342" y="1454"/>
                  </a:lnTo>
                  <a:lnTo>
                    <a:pt x="1312" y="1478"/>
                  </a:lnTo>
                  <a:lnTo>
                    <a:pt x="1281" y="1501"/>
                  </a:lnTo>
                  <a:lnTo>
                    <a:pt x="1246" y="1522"/>
                  </a:lnTo>
                  <a:lnTo>
                    <a:pt x="1213" y="1542"/>
                  </a:lnTo>
                  <a:lnTo>
                    <a:pt x="1177" y="1560"/>
                  </a:lnTo>
                  <a:lnTo>
                    <a:pt x="1141" y="1576"/>
                  </a:lnTo>
                  <a:lnTo>
                    <a:pt x="1103" y="1591"/>
                  </a:lnTo>
                  <a:lnTo>
                    <a:pt x="1065" y="1604"/>
                  </a:lnTo>
                  <a:lnTo>
                    <a:pt x="1026" y="1615"/>
                  </a:lnTo>
                  <a:lnTo>
                    <a:pt x="987" y="1624"/>
                  </a:lnTo>
                  <a:lnTo>
                    <a:pt x="946" y="1631"/>
                  </a:lnTo>
                  <a:lnTo>
                    <a:pt x="905" y="1637"/>
                  </a:lnTo>
                  <a:lnTo>
                    <a:pt x="863" y="1640"/>
                  </a:lnTo>
                  <a:lnTo>
                    <a:pt x="821" y="164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5" name="Freeform 28">
              <a:extLst>
                <a:ext uri="{FF2B5EF4-FFF2-40B4-BE49-F238E27FC236}">
                  <a16:creationId xmlns:a16="http://schemas.microsoft.com/office/drawing/2014/main" id="{2E6BEAB1-9A7F-4D32-A7B8-43BEC53CD910}"/>
                </a:ext>
              </a:extLst>
            </p:cNvPr>
            <p:cNvSpPr>
              <a:spLocks/>
            </p:cNvSpPr>
            <p:nvPr/>
          </p:nvSpPr>
          <p:spPr bwMode="auto">
            <a:xfrm>
              <a:off x="7848004" y="5543692"/>
              <a:ext cx="280649" cy="267767"/>
            </a:xfrm>
            <a:custGeom>
              <a:avLst/>
              <a:gdLst>
                <a:gd name="T0" fmla="*/ 387 w 913"/>
                <a:gd name="T1" fmla="*/ 867 h 873"/>
                <a:gd name="T2" fmla="*/ 299 w 913"/>
                <a:gd name="T3" fmla="*/ 844 h 873"/>
                <a:gd name="T4" fmla="*/ 220 w 913"/>
                <a:gd name="T5" fmla="*/ 807 h 873"/>
                <a:gd name="T6" fmla="*/ 149 w 913"/>
                <a:gd name="T7" fmla="*/ 753 h 873"/>
                <a:gd name="T8" fmla="*/ 90 w 913"/>
                <a:gd name="T9" fmla="*/ 689 h 873"/>
                <a:gd name="T10" fmla="*/ 46 w 913"/>
                <a:gd name="T11" fmla="*/ 614 h 873"/>
                <a:gd name="T12" fmla="*/ 14 w 913"/>
                <a:gd name="T13" fmla="*/ 530 h 873"/>
                <a:gd name="T14" fmla="*/ 1 w 913"/>
                <a:gd name="T15" fmla="*/ 440 h 873"/>
                <a:gd name="T16" fmla="*/ 11 w 913"/>
                <a:gd name="T17" fmla="*/ 319 h 873"/>
                <a:gd name="T18" fmla="*/ 56 w 913"/>
                <a:gd name="T19" fmla="*/ 199 h 873"/>
                <a:gd name="T20" fmla="*/ 132 w 913"/>
                <a:gd name="T21" fmla="*/ 95 h 873"/>
                <a:gd name="T22" fmla="*/ 234 w 913"/>
                <a:gd name="T23" fmla="*/ 18 h 873"/>
                <a:gd name="T24" fmla="*/ 282 w 913"/>
                <a:gd name="T25" fmla="*/ 0 h 873"/>
                <a:gd name="T26" fmla="*/ 302 w 913"/>
                <a:gd name="T27" fmla="*/ 12 h 873"/>
                <a:gd name="T28" fmla="*/ 308 w 913"/>
                <a:gd name="T29" fmla="*/ 35 h 873"/>
                <a:gd name="T30" fmla="*/ 295 w 913"/>
                <a:gd name="T31" fmla="*/ 55 h 873"/>
                <a:gd name="T32" fmla="*/ 217 w 913"/>
                <a:gd name="T33" fmla="*/ 101 h 873"/>
                <a:gd name="T34" fmla="*/ 139 w 913"/>
                <a:gd name="T35" fmla="*/ 180 h 873"/>
                <a:gd name="T36" fmla="*/ 86 w 913"/>
                <a:gd name="T37" fmla="*/ 278 h 873"/>
                <a:gd name="T38" fmla="*/ 62 w 913"/>
                <a:gd name="T39" fmla="*/ 388 h 873"/>
                <a:gd name="T40" fmla="*/ 66 w 913"/>
                <a:gd name="T41" fmla="*/ 477 h 873"/>
                <a:gd name="T42" fmla="*/ 85 w 913"/>
                <a:gd name="T43" fmla="*/ 552 h 873"/>
                <a:gd name="T44" fmla="*/ 118 w 913"/>
                <a:gd name="T45" fmla="*/ 621 h 873"/>
                <a:gd name="T46" fmla="*/ 164 w 913"/>
                <a:gd name="T47" fmla="*/ 681 h 873"/>
                <a:gd name="T48" fmla="*/ 220 w 913"/>
                <a:gd name="T49" fmla="*/ 733 h 873"/>
                <a:gd name="T50" fmla="*/ 285 w 913"/>
                <a:gd name="T51" fmla="*/ 772 h 873"/>
                <a:gd name="T52" fmla="*/ 358 w 913"/>
                <a:gd name="T53" fmla="*/ 799 h 873"/>
                <a:gd name="T54" fmla="*/ 436 w 913"/>
                <a:gd name="T55" fmla="*/ 811 h 873"/>
                <a:gd name="T56" fmla="*/ 517 w 913"/>
                <a:gd name="T57" fmla="*/ 807 h 873"/>
                <a:gd name="T58" fmla="*/ 592 w 913"/>
                <a:gd name="T59" fmla="*/ 788 h 873"/>
                <a:gd name="T60" fmla="*/ 661 w 913"/>
                <a:gd name="T61" fmla="*/ 755 h 873"/>
                <a:gd name="T62" fmla="*/ 721 w 913"/>
                <a:gd name="T63" fmla="*/ 709 h 873"/>
                <a:gd name="T64" fmla="*/ 773 w 913"/>
                <a:gd name="T65" fmla="*/ 653 h 873"/>
                <a:gd name="T66" fmla="*/ 812 w 913"/>
                <a:gd name="T67" fmla="*/ 588 h 873"/>
                <a:gd name="T68" fmla="*/ 839 w 913"/>
                <a:gd name="T69" fmla="*/ 516 h 873"/>
                <a:gd name="T70" fmla="*/ 851 w 913"/>
                <a:gd name="T71" fmla="*/ 437 h 873"/>
                <a:gd name="T72" fmla="*/ 842 w 913"/>
                <a:gd name="T73" fmla="*/ 333 h 873"/>
                <a:gd name="T74" fmla="*/ 806 w 913"/>
                <a:gd name="T75" fmla="*/ 231 h 873"/>
                <a:gd name="T76" fmla="*/ 743 w 913"/>
                <a:gd name="T77" fmla="*/ 143 h 873"/>
                <a:gd name="T78" fmla="*/ 655 w 913"/>
                <a:gd name="T79" fmla="*/ 75 h 873"/>
                <a:gd name="T80" fmla="*/ 617 w 913"/>
                <a:gd name="T81" fmla="*/ 49 h 873"/>
                <a:gd name="T82" fmla="*/ 615 w 913"/>
                <a:gd name="T83" fmla="*/ 26 h 873"/>
                <a:gd name="T84" fmla="*/ 629 w 913"/>
                <a:gd name="T85" fmla="*/ 8 h 873"/>
                <a:gd name="T86" fmla="*/ 652 w 913"/>
                <a:gd name="T87" fmla="*/ 5 h 873"/>
                <a:gd name="T88" fmla="*/ 738 w 913"/>
                <a:gd name="T89" fmla="*/ 58 h 873"/>
                <a:gd name="T90" fmla="*/ 826 w 913"/>
                <a:gd name="T91" fmla="*/ 149 h 873"/>
                <a:gd name="T92" fmla="*/ 885 w 913"/>
                <a:gd name="T93" fmla="*/ 260 h 873"/>
                <a:gd name="T94" fmla="*/ 911 w 913"/>
                <a:gd name="T95" fmla="*/ 383 h 873"/>
                <a:gd name="T96" fmla="*/ 907 w 913"/>
                <a:gd name="T97" fmla="*/ 486 h 873"/>
                <a:gd name="T98" fmla="*/ 884 w 913"/>
                <a:gd name="T99" fmla="*/ 573 h 873"/>
                <a:gd name="T100" fmla="*/ 846 w 913"/>
                <a:gd name="T101" fmla="*/ 653 h 873"/>
                <a:gd name="T102" fmla="*/ 793 w 913"/>
                <a:gd name="T103" fmla="*/ 723 h 873"/>
                <a:gd name="T104" fmla="*/ 728 w 913"/>
                <a:gd name="T105" fmla="*/ 782 h 873"/>
                <a:gd name="T106" fmla="*/ 653 w 913"/>
                <a:gd name="T107" fmla="*/ 827 h 873"/>
                <a:gd name="T108" fmla="*/ 570 w 913"/>
                <a:gd name="T109" fmla="*/ 858 h 873"/>
                <a:gd name="T110" fmla="*/ 479 w 913"/>
                <a:gd name="T111" fmla="*/ 871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3" h="873">
                  <a:moveTo>
                    <a:pt x="456" y="873"/>
                  </a:moveTo>
                  <a:lnTo>
                    <a:pt x="433" y="871"/>
                  </a:lnTo>
                  <a:lnTo>
                    <a:pt x="410" y="870"/>
                  </a:lnTo>
                  <a:lnTo>
                    <a:pt x="387" y="867"/>
                  </a:lnTo>
                  <a:lnTo>
                    <a:pt x="364" y="863"/>
                  </a:lnTo>
                  <a:lnTo>
                    <a:pt x="342" y="858"/>
                  </a:lnTo>
                  <a:lnTo>
                    <a:pt x="321" y="851"/>
                  </a:lnTo>
                  <a:lnTo>
                    <a:pt x="299" y="844"/>
                  </a:lnTo>
                  <a:lnTo>
                    <a:pt x="279" y="837"/>
                  </a:lnTo>
                  <a:lnTo>
                    <a:pt x="259" y="827"/>
                  </a:lnTo>
                  <a:lnTo>
                    <a:pt x="239" y="817"/>
                  </a:lnTo>
                  <a:lnTo>
                    <a:pt x="220" y="807"/>
                  </a:lnTo>
                  <a:lnTo>
                    <a:pt x="201" y="795"/>
                  </a:lnTo>
                  <a:lnTo>
                    <a:pt x="184" y="782"/>
                  </a:lnTo>
                  <a:lnTo>
                    <a:pt x="167" y="768"/>
                  </a:lnTo>
                  <a:lnTo>
                    <a:pt x="149" y="753"/>
                  </a:lnTo>
                  <a:lnTo>
                    <a:pt x="134" y="739"/>
                  </a:lnTo>
                  <a:lnTo>
                    <a:pt x="119" y="723"/>
                  </a:lnTo>
                  <a:lnTo>
                    <a:pt x="105" y="706"/>
                  </a:lnTo>
                  <a:lnTo>
                    <a:pt x="90" y="689"/>
                  </a:lnTo>
                  <a:lnTo>
                    <a:pt x="79" y="671"/>
                  </a:lnTo>
                  <a:lnTo>
                    <a:pt x="66" y="653"/>
                  </a:lnTo>
                  <a:lnTo>
                    <a:pt x="56" y="634"/>
                  </a:lnTo>
                  <a:lnTo>
                    <a:pt x="46" y="614"/>
                  </a:lnTo>
                  <a:lnTo>
                    <a:pt x="36" y="594"/>
                  </a:lnTo>
                  <a:lnTo>
                    <a:pt x="29" y="573"/>
                  </a:lnTo>
                  <a:lnTo>
                    <a:pt x="21" y="552"/>
                  </a:lnTo>
                  <a:lnTo>
                    <a:pt x="14" y="530"/>
                  </a:lnTo>
                  <a:lnTo>
                    <a:pt x="10" y="509"/>
                  </a:lnTo>
                  <a:lnTo>
                    <a:pt x="5" y="486"/>
                  </a:lnTo>
                  <a:lnTo>
                    <a:pt x="3" y="463"/>
                  </a:lnTo>
                  <a:lnTo>
                    <a:pt x="1" y="440"/>
                  </a:lnTo>
                  <a:lnTo>
                    <a:pt x="0" y="417"/>
                  </a:lnTo>
                  <a:lnTo>
                    <a:pt x="1" y="383"/>
                  </a:lnTo>
                  <a:lnTo>
                    <a:pt x="5" y="352"/>
                  </a:lnTo>
                  <a:lnTo>
                    <a:pt x="11" y="319"/>
                  </a:lnTo>
                  <a:lnTo>
                    <a:pt x="18" y="288"/>
                  </a:lnTo>
                  <a:lnTo>
                    <a:pt x="30" y="257"/>
                  </a:lnTo>
                  <a:lnTo>
                    <a:pt x="41" y="228"/>
                  </a:lnTo>
                  <a:lnTo>
                    <a:pt x="56" y="199"/>
                  </a:lnTo>
                  <a:lnTo>
                    <a:pt x="72" y="172"/>
                  </a:lnTo>
                  <a:lnTo>
                    <a:pt x="90" y="144"/>
                  </a:lnTo>
                  <a:lnTo>
                    <a:pt x="111" y="120"/>
                  </a:lnTo>
                  <a:lnTo>
                    <a:pt x="132" y="95"/>
                  </a:lnTo>
                  <a:lnTo>
                    <a:pt x="155" y="74"/>
                  </a:lnTo>
                  <a:lnTo>
                    <a:pt x="181" y="54"/>
                  </a:lnTo>
                  <a:lnTo>
                    <a:pt x="207" y="35"/>
                  </a:lnTo>
                  <a:lnTo>
                    <a:pt x="234" y="18"/>
                  </a:lnTo>
                  <a:lnTo>
                    <a:pt x="265" y="3"/>
                  </a:lnTo>
                  <a:lnTo>
                    <a:pt x="270" y="0"/>
                  </a:lnTo>
                  <a:lnTo>
                    <a:pt x="276" y="0"/>
                  </a:lnTo>
                  <a:lnTo>
                    <a:pt x="282" y="0"/>
                  </a:lnTo>
                  <a:lnTo>
                    <a:pt x="288" y="2"/>
                  </a:lnTo>
                  <a:lnTo>
                    <a:pt x="293" y="5"/>
                  </a:lnTo>
                  <a:lnTo>
                    <a:pt x="298" y="8"/>
                  </a:lnTo>
                  <a:lnTo>
                    <a:pt x="302" y="12"/>
                  </a:lnTo>
                  <a:lnTo>
                    <a:pt x="305" y="18"/>
                  </a:lnTo>
                  <a:lnTo>
                    <a:pt x="306" y="24"/>
                  </a:lnTo>
                  <a:lnTo>
                    <a:pt x="308" y="29"/>
                  </a:lnTo>
                  <a:lnTo>
                    <a:pt x="308" y="35"/>
                  </a:lnTo>
                  <a:lnTo>
                    <a:pt x="306" y="41"/>
                  </a:lnTo>
                  <a:lnTo>
                    <a:pt x="304" y="47"/>
                  </a:lnTo>
                  <a:lnTo>
                    <a:pt x="299" y="51"/>
                  </a:lnTo>
                  <a:lnTo>
                    <a:pt x="295" y="55"/>
                  </a:lnTo>
                  <a:lnTo>
                    <a:pt x="291" y="58"/>
                  </a:lnTo>
                  <a:lnTo>
                    <a:pt x="265" y="71"/>
                  </a:lnTo>
                  <a:lnTo>
                    <a:pt x="240" y="85"/>
                  </a:lnTo>
                  <a:lnTo>
                    <a:pt x="217" y="101"/>
                  </a:lnTo>
                  <a:lnTo>
                    <a:pt x="196" y="120"/>
                  </a:lnTo>
                  <a:lnTo>
                    <a:pt x="175" y="139"/>
                  </a:lnTo>
                  <a:lnTo>
                    <a:pt x="157" y="159"/>
                  </a:lnTo>
                  <a:lnTo>
                    <a:pt x="139" y="180"/>
                  </a:lnTo>
                  <a:lnTo>
                    <a:pt x="124" y="203"/>
                  </a:lnTo>
                  <a:lnTo>
                    <a:pt x="109" y="228"/>
                  </a:lnTo>
                  <a:lnTo>
                    <a:pt x="98" y="252"/>
                  </a:lnTo>
                  <a:lnTo>
                    <a:pt x="86" y="278"/>
                  </a:lnTo>
                  <a:lnTo>
                    <a:pt x="77" y="304"/>
                  </a:lnTo>
                  <a:lnTo>
                    <a:pt x="70" y="332"/>
                  </a:lnTo>
                  <a:lnTo>
                    <a:pt x="66" y="360"/>
                  </a:lnTo>
                  <a:lnTo>
                    <a:pt x="62" y="388"/>
                  </a:lnTo>
                  <a:lnTo>
                    <a:pt x="62" y="417"/>
                  </a:lnTo>
                  <a:lnTo>
                    <a:pt x="62" y="437"/>
                  </a:lnTo>
                  <a:lnTo>
                    <a:pt x="63" y="457"/>
                  </a:lnTo>
                  <a:lnTo>
                    <a:pt x="66" y="477"/>
                  </a:lnTo>
                  <a:lnTo>
                    <a:pt x="69" y="496"/>
                  </a:lnTo>
                  <a:lnTo>
                    <a:pt x="73" y="516"/>
                  </a:lnTo>
                  <a:lnTo>
                    <a:pt x="79" y="535"/>
                  </a:lnTo>
                  <a:lnTo>
                    <a:pt x="85" y="552"/>
                  </a:lnTo>
                  <a:lnTo>
                    <a:pt x="92" y="571"/>
                  </a:lnTo>
                  <a:lnTo>
                    <a:pt x="101" y="588"/>
                  </a:lnTo>
                  <a:lnTo>
                    <a:pt x="109" y="605"/>
                  </a:lnTo>
                  <a:lnTo>
                    <a:pt x="118" y="621"/>
                  </a:lnTo>
                  <a:lnTo>
                    <a:pt x="129" y="637"/>
                  </a:lnTo>
                  <a:lnTo>
                    <a:pt x="139" y="653"/>
                  </a:lnTo>
                  <a:lnTo>
                    <a:pt x="151" y="667"/>
                  </a:lnTo>
                  <a:lnTo>
                    <a:pt x="164" y="681"/>
                  </a:lnTo>
                  <a:lnTo>
                    <a:pt x="177" y="696"/>
                  </a:lnTo>
                  <a:lnTo>
                    <a:pt x="191" y="709"/>
                  </a:lnTo>
                  <a:lnTo>
                    <a:pt x="206" y="722"/>
                  </a:lnTo>
                  <a:lnTo>
                    <a:pt x="220" y="733"/>
                  </a:lnTo>
                  <a:lnTo>
                    <a:pt x="236" y="745"/>
                  </a:lnTo>
                  <a:lnTo>
                    <a:pt x="252" y="755"/>
                  </a:lnTo>
                  <a:lnTo>
                    <a:pt x="268" y="763"/>
                  </a:lnTo>
                  <a:lnTo>
                    <a:pt x="285" y="772"/>
                  </a:lnTo>
                  <a:lnTo>
                    <a:pt x="302" y="781"/>
                  </a:lnTo>
                  <a:lnTo>
                    <a:pt x="321" y="788"/>
                  </a:lnTo>
                  <a:lnTo>
                    <a:pt x="340" y="794"/>
                  </a:lnTo>
                  <a:lnTo>
                    <a:pt x="358" y="799"/>
                  </a:lnTo>
                  <a:lnTo>
                    <a:pt x="377" y="804"/>
                  </a:lnTo>
                  <a:lnTo>
                    <a:pt x="396" y="807"/>
                  </a:lnTo>
                  <a:lnTo>
                    <a:pt x="416" y="809"/>
                  </a:lnTo>
                  <a:lnTo>
                    <a:pt x="436" y="811"/>
                  </a:lnTo>
                  <a:lnTo>
                    <a:pt x="456" y="811"/>
                  </a:lnTo>
                  <a:lnTo>
                    <a:pt x="476" y="811"/>
                  </a:lnTo>
                  <a:lnTo>
                    <a:pt x="497" y="809"/>
                  </a:lnTo>
                  <a:lnTo>
                    <a:pt x="517" y="807"/>
                  </a:lnTo>
                  <a:lnTo>
                    <a:pt x="535" y="804"/>
                  </a:lnTo>
                  <a:lnTo>
                    <a:pt x="556" y="799"/>
                  </a:lnTo>
                  <a:lnTo>
                    <a:pt x="574" y="794"/>
                  </a:lnTo>
                  <a:lnTo>
                    <a:pt x="592" y="788"/>
                  </a:lnTo>
                  <a:lnTo>
                    <a:pt x="610" y="781"/>
                  </a:lnTo>
                  <a:lnTo>
                    <a:pt x="628" y="772"/>
                  </a:lnTo>
                  <a:lnTo>
                    <a:pt x="645" y="763"/>
                  </a:lnTo>
                  <a:lnTo>
                    <a:pt x="661" y="755"/>
                  </a:lnTo>
                  <a:lnTo>
                    <a:pt x="677" y="745"/>
                  </a:lnTo>
                  <a:lnTo>
                    <a:pt x="692" y="733"/>
                  </a:lnTo>
                  <a:lnTo>
                    <a:pt x="708" y="722"/>
                  </a:lnTo>
                  <a:lnTo>
                    <a:pt x="721" y="709"/>
                  </a:lnTo>
                  <a:lnTo>
                    <a:pt x="736" y="696"/>
                  </a:lnTo>
                  <a:lnTo>
                    <a:pt x="749" y="681"/>
                  </a:lnTo>
                  <a:lnTo>
                    <a:pt x="761" y="667"/>
                  </a:lnTo>
                  <a:lnTo>
                    <a:pt x="773" y="653"/>
                  </a:lnTo>
                  <a:lnTo>
                    <a:pt x="785" y="637"/>
                  </a:lnTo>
                  <a:lnTo>
                    <a:pt x="795" y="621"/>
                  </a:lnTo>
                  <a:lnTo>
                    <a:pt x="803" y="605"/>
                  </a:lnTo>
                  <a:lnTo>
                    <a:pt x="812" y="588"/>
                  </a:lnTo>
                  <a:lnTo>
                    <a:pt x="821" y="571"/>
                  </a:lnTo>
                  <a:lnTo>
                    <a:pt x="828" y="552"/>
                  </a:lnTo>
                  <a:lnTo>
                    <a:pt x="833" y="535"/>
                  </a:lnTo>
                  <a:lnTo>
                    <a:pt x="839" y="516"/>
                  </a:lnTo>
                  <a:lnTo>
                    <a:pt x="844" y="496"/>
                  </a:lnTo>
                  <a:lnTo>
                    <a:pt x="846" y="477"/>
                  </a:lnTo>
                  <a:lnTo>
                    <a:pt x="849" y="457"/>
                  </a:lnTo>
                  <a:lnTo>
                    <a:pt x="851" y="437"/>
                  </a:lnTo>
                  <a:lnTo>
                    <a:pt x="851" y="417"/>
                  </a:lnTo>
                  <a:lnTo>
                    <a:pt x="851" y="388"/>
                  </a:lnTo>
                  <a:lnTo>
                    <a:pt x="848" y="360"/>
                  </a:lnTo>
                  <a:lnTo>
                    <a:pt x="842" y="333"/>
                  </a:lnTo>
                  <a:lnTo>
                    <a:pt x="836" y="307"/>
                  </a:lnTo>
                  <a:lnTo>
                    <a:pt x="828" y="280"/>
                  </a:lnTo>
                  <a:lnTo>
                    <a:pt x="818" y="255"/>
                  </a:lnTo>
                  <a:lnTo>
                    <a:pt x="806" y="231"/>
                  </a:lnTo>
                  <a:lnTo>
                    <a:pt x="792" y="208"/>
                  </a:lnTo>
                  <a:lnTo>
                    <a:pt x="777" y="185"/>
                  </a:lnTo>
                  <a:lnTo>
                    <a:pt x="760" y="163"/>
                  </a:lnTo>
                  <a:lnTo>
                    <a:pt x="743" y="143"/>
                  </a:lnTo>
                  <a:lnTo>
                    <a:pt x="723" y="124"/>
                  </a:lnTo>
                  <a:lnTo>
                    <a:pt x="701" y="107"/>
                  </a:lnTo>
                  <a:lnTo>
                    <a:pt x="679" y="90"/>
                  </a:lnTo>
                  <a:lnTo>
                    <a:pt x="655" y="75"/>
                  </a:lnTo>
                  <a:lnTo>
                    <a:pt x="630" y="62"/>
                  </a:lnTo>
                  <a:lnTo>
                    <a:pt x="625" y="58"/>
                  </a:lnTo>
                  <a:lnTo>
                    <a:pt x="620" y="54"/>
                  </a:lnTo>
                  <a:lnTo>
                    <a:pt x="617" y="49"/>
                  </a:lnTo>
                  <a:lnTo>
                    <a:pt x="615" y="44"/>
                  </a:lnTo>
                  <a:lnTo>
                    <a:pt x="613" y="38"/>
                  </a:lnTo>
                  <a:lnTo>
                    <a:pt x="613" y="32"/>
                  </a:lnTo>
                  <a:lnTo>
                    <a:pt x="615" y="26"/>
                  </a:lnTo>
                  <a:lnTo>
                    <a:pt x="616" y="21"/>
                  </a:lnTo>
                  <a:lnTo>
                    <a:pt x="620" y="16"/>
                  </a:lnTo>
                  <a:lnTo>
                    <a:pt x="623" y="12"/>
                  </a:lnTo>
                  <a:lnTo>
                    <a:pt x="629" y="8"/>
                  </a:lnTo>
                  <a:lnTo>
                    <a:pt x="633" y="6"/>
                  </a:lnTo>
                  <a:lnTo>
                    <a:pt x="639" y="5"/>
                  </a:lnTo>
                  <a:lnTo>
                    <a:pt x="645" y="3"/>
                  </a:lnTo>
                  <a:lnTo>
                    <a:pt x="652" y="5"/>
                  </a:lnTo>
                  <a:lnTo>
                    <a:pt x="658" y="8"/>
                  </a:lnTo>
                  <a:lnTo>
                    <a:pt x="687" y="22"/>
                  </a:lnTo>
                  <a:lnTo>
                    <a:pt x="714" y="39"/>
                  </a:lnTo>
                  <a:lnTo>
                    <a:pt x="738" y="58"/>
                  </a:lnTo>
                  <a:lnTo>
                    <a:pt x="763" y="80"/>
                  </a:lnTo>
                  <a:lnTo>
                    <a:pt x="786" y="101"/>
                  </a:lnTo>
                  <a:lnTo>
                    <a:pt x="808" y="124"/>
                  </a:lnTo>
                  <a:lnTo>
                    <a:pt x="826" y="149"/>
                  </a:lnTo>
                  <a:lnTo>
                    <a:pt x="844" y="175"/>
                  </a:lnTo>
                  <a:lnTo>
                    <a:pt x="859" y="202"/>
                  </a:lnTo>
                  <a:lnTo>
                    <a:pt x="872" y="231"/>
                  </a:lnTo>
                  <a:lnTo>
                    <a:pt x="885" y="260"/>
                  </a:lnTo>
                  <a:lnTo>
                    <a:pt x="894" y="290"/>
                  </a:lnTo>
                  <a:lnTo>
                    <a:pt x="903" y="320"/>
                  </a:lnTo>
                  <a:lnTo>
                    <a:pt x="908" y="352"/>
                  </a:lnTo>
                  <a:lnTo>
                    <a:pt x="911" y="383"/>
                  </a:lnTo>
                  <a:lnTo>
                    <a:pt x="913" y="417"/>
                  </a:lnTo>
                  <a:lnTo>
                    <a:pt x="911" y="440"/>
                  </a:lnTo>
                  <a:lnTo>
                    <a:pt x="910" y="463"/>
                  </a:lnTo>
                  <a:lnTo>
                    <a:pt x="907" y="486"/>
                  </a:lnTo>
                  <a:lnTo>
                    <a:pt x="903" y="509"/>
                  </a:lnTo>
                  <a:lnTo>
                    <a:pt x="898" y="530"/>
                  </a:lnTo>
                  <a:lnTo>
                    <a:pt x="891" y="552"/>
                  </a:lnTo>
                  <a:lnTo>
                    <a:pt x="884" y="573"/>
                  </a:lnTo>
                  <a:lnTo>
                    <a:pt x="877" y="594"/>
                  </a:lnTo>
                  <a:lnTo>
                    <a:pt x="867" y="614"/>
                  </a:lnTo>
                  <a:lnTo>
                    <a:pt x="857" y="634"/>
                  </a:lnTo>
                  <a:lnTo>
                    <a:pt x="846" y="653"/>
                  </a:lnTo>
                  <a:lnTo>
                    <a:pt x="835" y="671"/>
                  </a:lnTo>
                  <a:lnTo>
                    <a:pt x="822" y="689"/>
                  </a:lnTo>
                  <a:lnTo>
                    <a:pt x="808" y="706"/>
                  </a:lnTo>
                  <a:lnTo>
                    <a:pt x="793" y="723"/>
                  </a:lnTo>
                  <a:lnTo>
                    <a:pt x="779" y="739"/>
                  </a:lnTo>
                  <a:lnTo>
                    <a:pt x="763" y="753"/>
                  </a:lnTo>
                  <a:lnTo>
                    <a:pt x="746" y="768"/>
                  </a:lnTo>
                  <a:lnTo>
                    <a:pt x="728" y="782"/>
                  </a:lnTo>
                  <a:lnTo>
                    <a:pt x="711" y="795"/>
                  </a:lnTo>
                  <a:lnTo>
                    <a:pt x="692" y="807"/>
                  </a:lnTo>
                  <a:lnTo>
                    <a:pt x="674" y="817"/>
                  </a:lnTo>
                  <a:lnTo>
                    <a:pt x="653" y="827"/>
                  </a:lnTo>
                  <a:lnTo>
                    <a:pt x="633" y="837"/>
                  </a:lnTo>
                  <a:lnTo>
                    <a:pt x="613" y="844"/>
                  </a:lnTo>
                  <a:lnTo>
                    <a:pt x="592" y="851"/>
                  </a:lnTo>
                  <a:lnTo>
                    <a:pt x="570" y="858"/>
                  </a:lnTo>
                  <a:lnTo>
                    <a:pt x="548" y="863"/>
                  </a:lnTo>
                  <a:lnTo>
                    <a:pt x="525" y="867"/>
                  </a:lnTo>
                  <a:lnTo>
                    <a:pt x="502" y="870"/>
                  </a:lnTo>
                  <a:lnTo>
                    <a:pt x="479" y="871"/>
                  </a:lnTo>
                  <a:lnTo>
                    <a:pt x="456" y="873"/>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06" name="Freeform 47">
              <a:extLst>
                <a:ext uri="{FF2B5EF4-FFF2-40B4-BE49-F238E27FC236}">
                  <a16:creationId xmlns:a16="http://schemas.microsoft.com/office/drawing/2014/main" id="{81AA3617-DE4B-48C1-9696-554FD2B08A8D}"/>
                </a:ext>
              </a:extLst>
            </p:cNvPr>
            <p:cNvSpPr>
              <a:spLocks/>
            </p:cNvSpPr>
            <p:nvPr/>
          </p:nvSpPr>
          <p:spPr bwMode="auto">
            <a:xfrm>
              <a:off x="7978667" y="5474680"/>
              <a:ext cx="18403" cy="206116"/>
            </a:xfrm>
            <a:custGeom>
              <a:avLst/>
              <a:gdLst>
                <a:gd name="T0" fmla="*/ 30 w 60"/>
                <a:gd name="T1" fmla="*/ 671 h 671"/>
                <a:gd name="T2" fmla="*/ 24 w 60"/>
                <a:gd name="T3" fmla="*/ 671 h 671"/>
                <a:gd name="T4" fmla="*/ 19 w 60"/>
                <a:gd name="T5" fmla="*/ 668 h 671"/>
                <a:gd name="T6" fmla="*/ 13 w 60"/>
                <a:gd name="T7" fmla="*/ 666 h 671"/>
                <a:gd name="T8" fmla="*/ 9 w 60"/>
                <a:gd name="T9" fmla="*/ 662 h 671"/>
                <a:gd name="T10" fmla="*/ 6 w 60"/>
                <a:gd name="T11" fmla="*/ 658 h 671"/>
                <a:gd name="T12" fmla="*/ 3 w 60"/>
                <a:gd name="T13" fmla="*/ 652 h 671"/>
                <a:gd name="T14" fmla="*/ 0 w 60"/>
                <a:gd name="T15" fmla="*/ 646 h 671"/>
                <a:gd name="T16" fmla="*/ 0 w 60"/>
                <a:gd name="T17" fmla="*/ 641 h 671"/>
                <a:gd name="T18" fmla="*/ 0 w 60"/>
                <a:gd name="T19" fmla="*/ 30 h 671"/>
                <a:gd name="T20" fmla="*/ 0 w 60"/>
                <a:gd name="T21" fmla="*/ 24 h 671"/>
                <a:gd name="T22" fmla="*/ 3 w 60"/>
                <a:gd name="T23" fmla="*/ 19 h 671"/>
                <a:gd name="T24" fmla="*/ 6 w 60"/>
                <a:gd name="T25" fmla="*/ 13 h 671"/>
                <a:gd name="T26" fmla="*/ 9 w 60"/>
                <a:gd name="T27" fmla="*/ 9 h 671"/>
                <a:gd name="T28" fmla="*/ 13 w 60"/>
                <a:gd name="T29" fmla="*/ 6 h 671"/>
                <a:gd name="T30" fmla="*/ 19 w 60"/>
                <a:gd name="T31" fmla="*/ 3 h 671"/>
                <a:gd name="T32" fmla="*/ 24 w 60"/>
                <a:gd name="T33" fmla="*/ 0 h 671"/>
                <a:gd name="T34" fmla="*/ 30 w 60"/>
                <a:gd name="T35" fmla="*/ 0 h 671"/>
                <a:gd name="T36" fmla="*/ 36 w 60"/>
                <a:gd name="T37" fmla="*/ 0 h 671"/>
                <a:gd name="T38" fmla="*/ 42 w 60"/>
                <a:gd name="T39" fmla="*/ 3 h 671"/>
                <a:gd name="T40" fmla="*/ 47 w 60"/>
                <a:gd name="T41" fmla="*/ 6 h 671"/>
                <a:gd name="T42" fmla="*/ 52 w 60"/>
                <a:gd name="T43" fmla="*/ 9 h 671"/>
                <a:gd name="T44" fmla="*/ 56 w 60"/>
                <a:gd name="T45" fmla="*/ 13 h 671"/>
                <a:gd name="T46" fmla="*/ 59 w 60"/>
                <a:gd name="T47" fmla="*/ 19 h 671"/>
                <a:gd name="T48" fmla="*/ 60 w 60"/>
                <a:gd name="T49" fmla="*/ 24 h 671"/>
                <a:gd name="T50" fmla="*/ 60 w 60"/>
                <a:gd name="T51" fmla="*/ 30 h 671"/>
                <a:gd name="T52" fmla="*/ 60 w 60"/>
                <a:gd name="T53" fmla="*/ 641 h 671"/>
                <a:gd name="T54" fmla="*/ 60 w 60"/>
                <a:gd name="T55" fmla="*/ 646 h 671"/>
                <a:gd name="T56" fmla="*/ 59 w 60"/>
                <a:gd name="T57" fmla="*/ 652 h 671"/>
                <a:gd name="T58" fmla="*/ 56 w 60"/>
                <a:gd name="T59" fmla="*/ 658 h 671"/>
                <a:gd name="T60" fmla="*/ 52 w 60"/>
                <a:gd name="T61" fmla="*/ 662 h 671"/>
                <a:gd name="T62" fmla="*/ 47 w 60"/>
                <a:gd name="T63" fmla="*/ 666 h 671"/>
                <a:gd name="T64" fmla="*/ 42 w 60"/>
                <a:gd name="T65" fmla="*/ 668 h 671"/>
                <a:gd name="T66" fmla="*/ 36 w 60"/>
                <a:gd name="T67" fmla="*/ 671 h 671"/>
                <a:gd name="T68" fmla="*/ 30 w 60"/>
                <a:gd name="T6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71">
                  <a:moveTo>
                    <a:pt x="30" y="671"/>
                  </a:moveTo>
                  <a:lnTo>
                    <a:pt x="24" y="671"/>
                  </a:lnTo>
                  <a:lnTo>
                    <a:pt x="19" y="668"/>
                  </a:lnTo>
                  <a:lnTo>
                    <a:pt x="13" y="666"/>
                  </a:lnTo>
                  <a:lnTo>
                    <a:pt x="9" y="662"/>
                  </a:lnTo>
                  <a:lnTo>
                    <a:pt x="6" y="658"/>
                  </a:lnTo>
                  <a:lnTo>
                    <a:pt x="3" y="652"/>
                  </a:lnTo>
                  <a:lnTo>
                    <a:pt x="0" y="646"/>
                  </a:lnTo>
                  <a:lnTo>
                    <a:pt x="0" y="641"/>
                  </a:lnTo>
                  <a:lnTo>
                    <a:pt x="0" y="30"/>
                  </a:lnTo>
                  <a:lnTo>
                    <a:pt x="0" y="24"/>
                  </a:lnTo>
                  <a:lnTo>
                    <a:pt x="3" y="19"/>
                  </a:lnTo>
                  <a:lnTo>
                    <a:pt x="6" y="13"/>
                  </a:lnTo>
                  <a:lnTo>
                    <a:pt x="9" y="9"/>
                  </a:lnTo>
                  <a:lnTo>
                    <a:pt x="13" y="6"/>
                  </a:lnTo>
                  <a:lnTo>
                    <a:pt x="19" y="3"/>
                  </a:lnTo>
                  <a:lnTo>
                    <a:pt x="24" y="0"/>
                  </a:lnTo>
                  <a:lnTo>
                    <a:pt x="30" y="0"/>
                  </a:lnTo>
                  <a:lnTo>
                    <a:pt x="36" y="0"/>
                  </a:lnTo>
                  <a:lnTo>
                    <a:pt x="42" y="3"/>
                  </a:lnTo>
                  <a:lnTo>
                    <a:pt x="47" y="6"/>
                  </a:lnTo>
                  <a:lnTo>
                    <a:pt x="52" y="9"/>
                  </a:lnTo>
                  <a:lnTo>
                    <a:pt x="56" y="13"/>
                  </a:lnTo>
                  <a:lnTo>
                    <a:pt x="59" y="19"/>
                  </a:lnTo>
                  <a:lnTo>
                    <a:pt x="60" y="24"/>
                  </a:lnTo>
                  <a:lnTo>
                    <a:pt x="60" y="30"/>
                  </a:lnTo>
                  <a:lnTo>
                    <a:pt x="60" y="641"/>
                  </a:lnTo>
                  <a:lnTo>
                    <a:pt x="60" y="646"/>
                  </a:lnTo>
                  <a:lnTo>
                    <a:pt x="59" y="652"/>
                  </a:lnTo>
                  <a:lnTo>
                    <a:pt x="56" y="658"/>
                  </a:lnTo>
                  <a:lnTo>
                    <a:pt x="52" y="662"/>
                  </a:lnTo>
                  <a:lnTo>
                    <a:pt x="47" y="666"/>
                  </a:lnTo>
                  <a:lnTo>
                    <a:pt x="42" y="668"/>
                  </a:lnTo>
                  <a:lnTo>
                    <a:pt x="36" y="671"/>
                  </a:lnTo>
                  <a:lnTo>
                    <a:pt x="30" y="671"/>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576" name="Group 160">
            <a:extLst>
              <a:ext uri="{FF2B5EF4-FFF2-40B4-BE49-F238E27FC236}">
                <a16:creationId xmlns:a16="http://schemas.microsoft.com/office/drawing/2014/main" id="{C305CE6F-6029-4DBE-AE4F-DF20802F4196}"/>
              </a:ext>
            </a:extLst>
          </p:cNvPr>
          <p:cNvGrpSpPr>
            <a:grpSpLocks noChangeAspect="1"/>
          </p:cNvGrpSpPr>
          <p:nvPr/>
        </p:nvGrpSpPr>
        <p:grpSpPr>
          <a:xfrm>
            <a:off x="6186633" y="2186361"/>
            <a:ext cx="285619" cy="285619"/>
            <a:chOff x="4319588" y="3635375"/>
            <a:chExt cx="285750" cy="285750"/>
          </a:xfrm>
          <a:solidFill>
            <a:schemeClr val="bg1"/>
          </a:solidFill>
          <a:effectLst/>
        </p:grpSpPr>
        <p:sp>
          <p:nvSpPr>
            <p:cNvPr id="577" name="Freeform 199">
              <a:extLst>
                <a:ext uri="{FF2B5EF4-FFF2-40B4-BE49-F238E27FC236}">
                  <a16:creationId xmlns:a16="http://schemas.microsoft.com/office/drawing/2014/main" id="{FA775287-C6AE-4740-896F-C5698E38E67D}"/>
                </a:ext>
              </a:extLst>
            </p:cNvPr>
            <p:cNvSpPr>
              <a:spLocks/>
            </p:cNvSpPr>
            <p:nvPr/>
          </p:nvSpPr>
          <p:spPr bwMode="auto">
            <a:xfrm>
              <a:off x="4403725" y="3676650"/>
              <a:ext cx="117475" cy="33338"/>
            </a:xfrm>
            <a:custGeom>
              <a:avLst/>
              <a:gdLst>
                <a:gd name="T0" fmla="*/ 372 w 372"/>
                <a:gd name="T1" fmla="*/ 87 h 105"/>
                <a:gd name="T2" fmla="*/ 369 w 372"/>
                <a:gd name="T3" fmla="*/ 82 h 105"/>
                <a:gd name="T4" fmla="*/ 366 w 372"/>
                <a:gd name="T5" fmla="*/ 78 h 105"/>
                <a:gd name="T6" fmla="*/ 360 w 372"/>
                <a:gd name="T7" fmla="*/ 76 h 105"/>
                <a:gd name="T8" fmla="*/ 337 w 372"/>
                <a:gd name="T9" fmla="*/ 75 h 105"/>
                <a:gd name="T10" fmla="*/ 301 w 372"/>
                <a:gd name="T11" fmla="*/ 71 h 105"/>
                <a:gd name="T12" fmla="*/ 275 w 372"/>
                <a:gd name="T13" fmla="*/ 67 h 105"/>
                <a:gd name="T14" fmla="*/ 253 w 372"/>
                <a:gd name="T15" fmla="*/ 60 h 105"/>
                <a:gd name="T16" fmla="*/ 237 w 372"/>
                <a:gd name="T17" fmla="*/ 52 h 105"/>
                <a:gd name="T18" fmla="*/ 225 w 372"/>
                <a:gd name="T19" fmla="*/ 42 h 105"/>
                <a:gd name="T20" fmla="*/ 215 w 372"/>
                <a:gd name="T21" fmla="*/ 28 h 105"/>
                <a:gd name="T22" fmla="*/ 203 w 372"/>
                <a:gd name="T23" fmla="*/ 11 h 105"/>
                <a:gd name="T24" fmla="*/ 194 w 372"/>
                <a:gd name="T25" fmla="*/ 2 h 105"/>
                <a:gd name="T26" fmla="*/ 189 w 372"/>
                <a:gd name="T27" fmla="*/ 0 h 105"/>
                <a:gd name="T28" fmla="*/ 183 w 372"/>
                <a:gd name="T29" fmla="*/ 0 h 105"/>
                <a:gd name="T30" fmla="*/ 178 w 372"/>
                <a:gd name="T31" fmla="*/ 2 h 105"/>
                <a:gd name="T32" fmla="*/ 169 w 372"/>
                <a:gd name="T33" fmla="*/ 11 h 105"/>
                <a:gd name="T34" fmla="*/ 159 w 372"/>
                <a:gd name="T35" fmla="*/ 28 h 105"/>
                <a:gd name="T36" fmla="*/ 147 w 372"/>
                <a:gd name="T37" fmla="*/ 42 h 105"/>
                <a:gd name="T38" fmla="*/ 135 w 372"/>
                <a:gd name="T39" fmla="*/ 51 h 105"/>
                <a:gd name="T40" fmla="*/ 119 w 372"/>
                <a:gd name="T41" fmla="*/ 60 h 105"/>
                <a:gd name="T42" fmla="*/ 99 w 372"/>
                <a:gd name="T43" fmla="*/ 67 h 105"/>
                <a:gd name="T44" fmla="*/ 71 w 372"/>
                <a:gd name="T45" fmla="*/ 71 h 105"/>
                <a:gd name="T46" fmla="*/ 37 w 372"/>
                <a:gd name="T47" fmla="*/ 75 h 105"/>
                <a:gd name="T48" fmla="*/ 13 w 372"/>
                <a:gd name="T49" fmla="*/ 76 h 105"/>
                <a:gd name="T50" fmla="*/ 8 w 372"/>
                <a:gd name="T51" fmla="*/ 78 h 105"/>
                <a:gd name="T52" fmla="*/ 3 w 372"/>
                <a:gd name="T53" fmla="*/ 82 h 105"/>
                <a:gd name="T54" fmla="*/ 1 w 372"/>
                <a:gd name="T55" fmla="*/ 87 h 105"/>
                <a:gd name="T56" fmla="*/ 1 w 372"/>
                <a:gd name="T57" fmla="*/ 93 h 105"/>
                <a:gd name="T58" fmla="*/ 3 w 372"/>
                <a:gd name="T59" fmla="*/ 98 h 105"/>
                <a:gd name="T60" fmla="*/ 8 w 372"/>
                <a:gd name="T61" fmla="*/ 102 h 105"/>
                <a:gd name="T62" fmla="*/ 13 w 372"/>
                <a:gd name="T63" fmla="*/ 105 h 105"/>
                <a:gd name="T64" fmla="*/ 38 w 372"/>
                <a:gd name="T65" fmla="*/ 105 h 105"/>
                <a:gd name="T66" fmla="*/ 76 w 372"/>
                <a:gd name="T67" fmla="*/ 101 h 105"/>
                <a:gd name="T68" fmla="*/ 106 w 372"/>
                <a:gd name="T69" fmla="*/ 96 h 105"/>
                <a:gd name="T70" fmla="*/ 131 w 372"/>
                <a:gd name="T71" fmla="*/ 87 h 105"/>
                <a:gd name="T72" fmla="*/ 150 w 372"/>
                <a:gd name="T73" fmla="*/ 78 h 105"/>
                <a:gd name="T74" fmla="*/ 164 w 372"/>
                <a:gd name="T75" fmla="*/ 67 h 105"/>
                <a:gd name="T76" fmla="*/ 179 w 372"/>
                <a:gd name="T77" fmla="*/ 51 h 105"/>
                <a:gd name="T78" fmla="*/ 193 w 372"/>
                <a:gd name="T79" fmla="*/ 51 h 105"/>
                <a:gd name="T80" fmla="*/ 208 w 372"/>
                <a:gd name="T81" fmla="*/ 67 h 105"/>
                <a:gd name="T82" fmla="*/ 222 w 372"/>
                <a:gd name="T83" fmla="*/ 78 h 105"/>
                <a:gd name="T84" fmla="*/ 241 w 372"/>
                <a:gd name="T85" fmla="*/ 87 h 105"/>
                <a:gd name="T86" fmla="*/ 266 w 372"/>
                <a:gd name="T87" fmla="*/ 96 h 105"/>
                <a:gd name="T88" fmla="*/ 297 w 372"/>
                <a:gd name="T89" fmla="*/ 101 h 105"/>
                <a:gd name="T90" fmla="*/ 335 w 372"/>
                <a:gd name="T91" fmla="*/ 105 h 105"/>
                <a:gd name="T92" fmla="*/ 360 w 372"/>
                <a:gd name="T93" fmla="*/ 105 h 105"/>
                <a:gd name="T94" fmla="*/ 366 w 372"/>
                <a:gd name="T95" fmla="*/ 102 h 105"/>
                <a:gd name="T96" fmla="*/ 369 w 372"/>
                <a:gd name="T97" fmla="*/ 98 h 105"/>
                <a:gd name="T98" fmla="*/ 372 w 372"/>
                <a:gd name="T99"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105">
                  <a:moveTo>
                    <a:pt x="372" y="90"/>
                  </a:moveTo>
                  <a:lnTo>
                    <a:pt x="372" y="87"/>
                  </a:lnTo>
                  <a:lnTo>
                    <a:pt x="371" y="84"/>
                  </a:lnTo>
                  <a:lnTo>
                    <a:pt x="369" y="82"/>
                  </a:lnTo>
                  <a:lnTo>
                    <a:pt x="368" y="80"/>
                  </a:lnTo>
                  <a:lnTo>
                    <a:pt x="366" y="78"/>
                  </a:lnTo>
                  <a:lnTo>
                    <a:pt x="362" y="77"/>
                  </a:lnTo>
                  <a:lnTo>
                    <a:pt x="360" y="76"/>
                  </a:lnTo>
                  <a:lnTo>
                    <a:pt x="357" y="75"/>
                  </a:lnTo>
                  <a:lnTo>
                    <a:pt x="337" y="75"/>
                  </a:lnTo>
                  <a:lnTo>
                    <a:pt x="317" y="74"/>
                  </a:lnTo>
                  <a:lnTo>
                    <a:pt x="301" y="71"/>
                  </a:lnTo>
                  <a:lnTo>
                    <a:pt x="287" y="69"/>
                  </a:lnTo>
                  <a:lnTo>
                    <a:pt x="275" y="67"/>
                  </a:lnTo>
                  <a:lnTo>
                    <a:pt x="263" y="64"/>
                  </a:lnTo>
                  <a:lnTo>
                    <a:pt x="253" y="60"/>
                  </a:lnTo>
                  <a:lnTo>
                    <a:pt x="245" y="55"/>
                  </a:lnTo>
                  <a:lnTo>
                    <a:pt x="237" y="52"/>
                  </a:lnTo>
                  <a:lnTo>
                    <a:pt x="231" y="47"/>
                  </a:lnTo>
                  <a:lnTo>
                    <a:pt x="225" y="42"/>
                  </a:lnTo>
                  <a:lnTo>
                    <a:pt x="221" y="38"/>
                  </a:lnTo>
                  <a:lnTo>
                    <a:pt x="215" y="28"/>
                  </a:lnTo>
                  <a:lnTo>
                    <a:pt x="209" y="20"/>
                  </a:lnTo>
                  <a:lnTo>
                    <a:pt x="203" y="11"/>
                  </a:lnTo>
                  <a:lnTo>
                    <a:pt x="197" y="4"/>
                  </a:lnTo>
                  <a:lnTo>
                    <a:pt x="194" y="2"/>
                  </a:lnTo>
                  <a:lnTo>
                    <a:pt x="192" y="1"/>
                  </a:lnTo>
                  <a:lnTo>
                    <a:pt x="189" y="0"/>
                  </a:lnTo>
                  <a:lnTo>
                    <a:pt x="187" y="0"/>
                  </a:lnTo>
                  <a:lnTo>
                    <a:pt x="183" y="0"/>
                  </a:lnTo>
                  <a:lnTo>
                    <a:pt x="180" y="1"/>
                  </a:lnTo>
                  <a:lnTo>
                    <a:pt x="178" y="2"/>
                  </a:lnTo>
                  <a:lnTo>
                    <a:pt x="176" y="4"/>
                  </a:lnTo>
                  <a:lnTo>
                    <a:pt x="169" y="11"/>
                  </a:lnTo>
                  <a:lnTo>
                    <a:pt x="164" y="20"/>
                  </a:lnTo>
                  <a:lnTo>
                    <a:pt x="159" y="28"/>
                  </a:lnTo>
                  <a:lnTo>
                    <a:pt x="151" y="38"/>
                  </a:lnTo>
                  <a:lnTo>
                    <a:pt x="147" y="42"/>
                  </a:lnTo>
                  <a:lnTo>
                    <a:pt x="142" y="47"/>
                  </a:lnTo>
                  <a:lnTo>
                    <a:pt x="135" y="51"/>
                  </a:lnTo>
                  <a:lnTo>
                    <a:pt x="128" y="55"/>
                  </a:lnTo>
                  <a:lnTo>
                    <a:pt x="119" y="60"/>
                  </a:lnTo>
                  <a:lnTo>
                    <a:pt x="109" y="64"/>
                  </a:lnTo>
                  <a:lnTo>
                    <a:pt x="99" y="67"/>
                  </a:lnTo>
                  <a:lnTo>
                    <a:pt x="86" y="69"/>
                  </a:lnTo>
                  <a:lnTo>
                    <a:pt x="71" y="71"/>
                  </a:lnTo>
                  <a:lnTo>
                    <a:pt x="55" y="74"/>
                  </a:lnTo>
                  <a:lnTo>
                    <a:pt x="37" y="75"/>
                  </a:lnTo>
                  <a:lnTo>
                    <a:pt x="15" y="75"/>
                  </a:lnTo>
                  <a:lnTo>
                    <a:pt x="13" y="76"/>
                  </a:lnTo>
                  <a:lnTo>
                    <a:pt x="10" y="77"/>
                  </a:lnTo>
                  <a:lnTo>
                    <a:pt x="8" y="78"/>
                  </a:lnTo>
                  <a:lnTo>
                    <a:pt x="5" y="80"/>
                  </a:lnTo>
                  <a:lnTo>
                    <a:pt x="3" y="82"/>
                  </a:lnTo>
                  <a:lnTo>
                    <a:pt x="2" y="84"/>
                  </a:lnTo>
                  <a:lnTo>
                    <a:pt x="1" y="87"/>
                  </a:lnTo>
                  <a:lnTo>
                    <a:pt x="0" y="90"/>
                  </a:lnTo>
                  <a:lnTo>
                    <a:pt x="1" y="93"/>
                  </a:lnTo>
                  <a:lnTo>
                    <a:pt x="2" y="96"/>
                  </a:lnTo>
                  <a:lnTo>
                    <a:pt x="3" y="98"/>
                  </a:lnTo>
                  <a:lnTo>
                    <a:pt x="5" y="100"/>
                  </a:lnTo>
                  <a:lnTo>
                    <a:pt x="8" y="102"/>
                  </a:lnTo>
                  <a:lnTo>
                    <a:pt x="10" y="104"/>
                  </a:lnTo>
                  <a:lnTo>
                    <a:pt x="13" y="105"/>
                  </a:lnTo>
                  <a:lnTo>
                    <a:pt x="15" y="105"/>
                  </a:lnTo>
                  <a:lnTo>
                    <a:pt x="38" y="105"/>
                  </a:lnTo>
                  <a:lnTo>
                    <a:pt x="58" y="104"/>
                  </a:lnTo>
                  <a:lnTo>
                    <a:pt x="76" y="101"/>
                  </a:lnTo>
                  <a:lnTo>
                    <a:pt x="92" y="99"/>
                  </a:lnTo>
                  <a:lnTo>
                    <a:pt x="106" y="96"/>
                  </a:lnTo>
                  <a:lnTo>
                    <a:pt x="119" y="92"/>
                  </a:lnTo>
                  <a:lnTo>
                    <a:pt x="131" y="87"/>
                  </a:lnTo>
                  <a:lnTo>
                    <a:pt x="142" y="83"/>
                  </a:lnTo>
                  <a:lnTo>
                    <a:pt x="150" y="78"/>
                  </a:lnTo>
                  <a:lnTo>
                    <a:pt x="158" y="72"/>
                  </a:lnTo>
                  <a:lnTo>
                    <a:pt x="164" y="67"/>
                  </a:lnTo>
                  <a:lnTo>
                    <a:pt x="171" y="62"/>
                  </a:lnTo>
                  <a:lnTo>
                    <a:pt x="179" y="51"/>
                  </a:lnTo>
                  <a:lnTo>
                    <a:pt x="187" y="41"/>
                  </a:lnTo>
                  <a:lnTo>
                    <a:pt x="193" y="51"/>
                  </a:lnTo>
                  <a:lnTo>
                    <a:pt x="203" y="62"/>
                  </a:lnTo>
                  <a:lnTo>
                    <a:pt x="208" y="67"/>
                  </a:lnTo>
                  <a:lnTo>
                    <a:pt x="215" y="72"/>
                  </a:lnTo>
                  <a:lnTo>
                    <a:pt x="222" y="78"/>
                  </a:lnTo>
                  <a:lnTo>
                    <a:pt x="232" y="83"/>
                  </a:lnTo>
                  <a:lnTo>
                    <a:pt x="241" y="87"/>
                  </a:lnTo>
                  <a:lnTo>
                    <a:pt x="253" y="92"/>
                  </a:lnTo>
                  <a:lnTo>
                    <a:pt x="266" y="96"/>
                  </a:lnTo>
                  <a:lnTo>
                    <a:pt x="280" y="99"/>
                  </a:lnTo>
                  <a:lnTo>
                    <a:pt x="297" y="101"/>
                  </a:lnTo>
                  <a:lnTo>
                    <a:pt x="315" y="104"/>
                  </a:lnTo>
                  <a:lnTo>
                    <a:pt x="335" y="105"/>
                  </a:lnTo>
                  <a:lnTo>
                    <a:pt x="357" y="105"/>
                  </a:lnTo>
                  <a:lnTo>
                    <a:pt x="360" y="105"/>
                  </a:lnTo>
                  <a:lnTo>
                    <a:pt x="362" y="104"/>
                  </a:lnTo>
                  <a:lnTo>
                    <a:pt x="366" y="102"/>
                  </a:lnTo>
                  <a:lnTo>
                    <a:pt x="368" y="100"/>
                  </a:lnTo>
                  <a:lnTo>
                    <a:pt x="369" y="98"/>
                  </a:lnTo>
                  <a:lnTo>
                    <a:pt x="371" y="96"/>
                  </a:lnTo>
                  <a:lnTo>
                    <a:pt x="372" y="93"/>
                  </a:lnTo>
                  <a:lnTo>
                    <a:pt x="37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200">
              <a:extLst>
                <a:ext uri="{FF2B5EF4-FFF2-40B4-BE49-F238E27FC236}">
                  <a16:creationId xmlns:a16="http://schemas.microsoft.com/office/drawing/2014/main" id="{F2272EAF-799D-4CFE-A9BB-856B04279E0D}"/>
                </a:ext>
              </a:extLst>
            </p:cNvPr>
            <p:cNvSpPr>
              <a:spLocks noEditPoints="1"/>
            </p:cNvSpPr>
            <p:nvPr/>
          </p:nvSpPr>
          <p:spPr bwMode="auto">
            <a:xfrm>
              <a:off x="4319588" y="3635375"/>
              <a:ext cx="285750" cy="285750"/>
            </a:xfrm>
            <a:custGeom>
              <a:avLst/>
              <a:gdLst>
                <a:gd name="T0" fmla="*/ 37 w 902"/>
                <a:gd name="T1" fmla="*/ 751 h 901"/>
                <a:gd name="T2" fmla="*/ 74 w 902"/>
                <a:gd name="T3" fmla="*/ 691 h 901"/>
                <a:gd name="T4" fmla="*/ 365 w 902"/>
                <a:gd name="T5" fmla="*/ 607 h 901"/>
                <a:gd name="T6" fmla="*/ 452 w 902"/>
                <a:gd name="T7" fmla="*/ 636 h 901"/>
                <a:gd name="T8" fmla="*/ 540 w 902"/>
                <a:gd name="T9" fmla="*/ 607 h 901"/>
                <a:gd name="T10" fmla="*/ 828 w 902"/>
                <a:gd name="T11" fmla="*/ 691 h 901"/>
                <a:gd name="T12" fmla="*/ 865 w 902"/>
                <a:gd name="T13" fmla="*/ 751 h 901"/>
                <a:gd name="T14" fmla="*/ 751 w 902"/>
                <a:gd name="T15" fmla="*/ 354 h 901"/>
                <a:gd name="T16" fmla="*/ 707 w 902"/>
                <a:gd name="T17" fmla="*/ 391 h 901"/>
                <a:gd name="T18" fmla="*/ 738 w 902"/>
                <a:gd name="T19" fmla="*/ 314 h 901"/>
                <a:gd name="T20" fmla="*/ 555 w 902"/>
                <a:gd name="T21" fmla="*/ 568 h 901"/>
                <a:gd name="T22" fmla="*/ 546 w 902"/>
                <a:gd name="T23" fmla="*/ 569 h 901"/>
                <a:gd name="T24" fmla="*/ 504 w 902"/>
                <a:gd name="T25" fmla="*/ 592 h 901"/>
                <a:gd name="T26" fmla="*/ 432 w 902"/>
                <a:gd name="T27" fmla="*/ 604 h 901"/>
                <a:gd name="T28" fmla="*/ 360 w 902"/>
                <a:gd name="T29" fmla="*/ 570 h 901"/>
                <a:gd name="T30" fmla="*/ 291 w 902"/>
                <a:gd name="T31" fmla="*/ 493 h 901"/>
                <a:gd name="T32" fmla="*/ 277 w 902"/>
                <a:gd name="T33" fmla="*/ 417 h 901"/>
                <a:gd name="T34" fmla="*/ 226 w 902"/>
                <a:gd name="T35" fmla="*/ 390 h 901"/>
                <a:gd name="T36" fmla="*/ 222 w 902"/>
                <a:gd name="T37" fmla="*/ 343 h 901"/>
                <a:gd name="T38" fmla="*/ 222 w 902"/>
                <a:gd name="T39" fmla="*/ 167 h 901"/>
                <a:gd name="T40" fmla="*/ 266 w 902"/>
                <a:gd name="T41" fmla="*/ 86 h 901"/>
                <a:gd name="T42" fmla="*/ 336 w 902"/>
                <a:gd name="T43" fmla="*/ 46 h 901"/>
                <a:gd name="T44" fmla="*/ 434 w 902"/>
                <a:gd name="T45" fmla="*/ 30 h 901"/>
                <a:gd name="T46" fmla="*/ 541 w 902"/>
                <a:gd name="T47" fmla="*/ 38 h 901"/>
                <a:gd name="T48" fmla="*/ 619 w 902"/>
                <a:gd name="T49" fmla="*/ 73 h 901"/>
                <a:gd name="T50" fmla="*/ 667 w 902"/>
                <a:gd name="T51" fmla="*/ 128 h 901"/>
                <a:gd name="T52" fmla="*/ 662 w 902"/>
                <a:gd name="T53" fmla="*/ 282 h 901"/>
                <a:gd name="T54" fmla="*/ 663 w 902"/>
                <a:gd name="T55" fmla="*/ 411 h 901"/>
                <a:gd name="T56" fmla="*/ 707 w 902"/>
                <a:gd name="T57" fmla="*/ 421 h 901"/>
                <a:gd name="T58" fmla="*/ 714 w 902"/>
                <a:gd name="T59" fmla="*/ 461 h 901"/>
                <a:gd name="T60" fmla="*/ 667 w 902"/>
                <a:gd name="T61" fmla="*/ 481 h 901"/>
                <a:gd name="T62" fmla="*/ 437 w 902"/>
                <a:gd name="T63" fmla="*/ 466 h 901"/>
                <a:gd name="T64" fmla="*/ 407 w 902"/>
                <a:gd name="T65" fmla="*/ 490 h 901"/>
                <a:gd name="T66" fmla="*/ 425 w 902"/>
                <a:gd name="T67" fmla="*/ 524 h 901"/>
                <a:gd name="T68" fmla="*/ 537 w 902"/>
                <a:gd name="T69" fmla="*/ 511 h 901"/>
                <a:gd name="T70" fmla="*/ 713 w 902"/>
                <a:gd name="T71" fmla="*/ 499 h 901"/>
                <a:gd name="T72" fmla="*/ 749 w 902"/>
                <a:gd name="T73" fmla="*/ 460 h 901"/>
                <a:gd name="T74" fmla="*/ 769 w 902"/>
                <a:gd name="T75" fmla="*/ 386 h 901"/>
                <a:gd name="T76" fmla="*/ 781 w 902"/>
                <a:gd name="T77" fmla="*/ 331 h 901"/>
                <a:gd name="T78" fmla="*/ 754 w 902"/>
                <a:gd name="T79" fmla="*/ 288 h 901"/>
                <a:gd name="T80" fmla="*/ 707 w 902"/>
                <a:gd name="T81" fmla="*/ 270 h 901"/>
                <a:gd name="T82" fmla="*/ 710 w 902"/>
                <a:gd name="T83" fmla="*/ 160 h 901"/>
                <a:gd name="T84" fmla="*/ 676 w 902"/>
                <a:gd name="T85" fmla="*/ 85 h 901"/>
                <a:gd name="T86" fmla="*/ 605 w 902"/>
                <a:gd name="T87" fmla="*/ 29 h 901"/>
                <a:gd name="T88" fmla="*/ 504 w 902"/>
                <a:gd name="T89" fmla="*/ 2 h 901"/>
                <a:gd name="T90" fmla="*/ 383 w 902"/>
                <a:gd name="T91" fmla="*/ 4 h 901"/>
                <a:gd name="T92" fmla="*/ 285 w 902"/>
                <a:gd name="T93" fmla="*/ 35 h 901"/>
                <a:gd name="T94" fmla="*/ 219 w 902"/>
                <a:gd name="T95" fmla="*/ 96 h 901"/>
                <a:gd name="T96" fmla="*/ 190 w 902"/>
                <a:gd name="T97" fmla="*/ 179 h 901"/>
                <a:gd name="T98" fmla="*/ 193 w 902"/>
                <a:gd name="T99" fmla="*/ 332 h 901"/>
                <a:gd name="T100" fmla="*/ 200 w 902"/>
                <a:gd name="T101" fmla="*/ 405 h 901"/>
                <a:gd name="T102" fmla="*/ 248 w 902"/>
                <a:gd name="T103" fmla="*/ 455 h 901"/>
                <a:gd name="T104" fmla="*/ 294 w 902"/>
                <a:gd name="T105" fmla="*/ 550 h 901"/>
                <a:gd name="T106" fmla="*/ 63 w 902"/>
                <a:gd name="T107" fmla="*/ 661 h 901"/>
                <a:gd name="T108" fmla="*/ 12 w 902"/>
                <a:gd name="T109" fmla="*/ 730 h 901"/>
                <a:gd name="T110" fmla="*/ 902 w 902"/>
                <a:gd name="T111" fmla="*/ 901 h 901"/>
                <a:gd name="T112" fmla="*/ 885 w 902"/>
                <a:gd name="T113" fmla="*/ 719 h 901"/>
                <a:gd name="T114" fmla="*/ 828 w 902"/>
                <a:gd name="T115" fmla="*/ 65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1">
                  <a:moveTo>
                    <a:pt x="872" y="871"/>
                  </a:moveTo>
                  <a:lnTo>
                    <a:pt x="30" y="871"/>
                  </a:lnTo>
                  <a:lnTo>
                    <a:pt x="30" y="792"/>
                  </a:lnTo>
                  <a:lnTo>
                    <a:pt x="30" y="781"/>
                  </a:lnTo>
                  <a:lnTo>
                    <a:pt x="31" y="770"/>
                  </a:lnTo>
                  <a:lnTo>
                    <a:pt x="33" y="761"/>
                  </a:lnTo>
                  <a:lnTo>
                    <a:pt x="37" y="751"/>
                  </a:lnTo>
                  <a:lnTo>
                    <a:pt x="40" y="741"/>
                  </a:lnTo>
                  <a:lnTo>
                    <a:pt x="44" y="732"/>
                  </a:lnTo>
                  <a:lnTo>
                    <a:pt x="48" y="723"/>
                  </a:lnTo>
                  <a:lnTo>
                    <a:pt x="55" y="715"/>
                  </a:lnTo>
                  <a:lnTo>
                    <a:pt x="60" y="706"/>
                  </a:lnTo>
                  <a:lnTo>
                    <a:pt x="67" y="699"/>
                  </a:lnTo>
                  <a:lnTo>
                    <a:pt x="74" y="691"/>
                  </a:lnTo>
                  <a:lnTo>
                    <a:pt x="82" y="685"/>
                  </a:lnTo>
                  <a:lnTo>
                    <a:pt x="90" y="678"/>
                  </a:lnTo>
                  <a:lnTo>
                    <a:pt x="99" y="673"/>
                  </a:lnTo>
                  <a:lnTo>
                    <a:pt x="109" y="669"/>
                  </a:lnTo>
                  <a:lnTo>
                    <a:pt x="117" y="664"/>
                  </a:lnTo>
                  <a:lnTo>
                    <a:pt x="351" y="599"/>
                  </a:lnTo>
                  <a:lnTo>
                    <a:pt x="365" y="607"/>
                  </a:lnTo>
                  <a:lnTo>
                    <a:pt x="379" y="615"/>
                  </a:lnTo>
                  <a:lnTo>
                    <a:pt x="393" y="621"/>
                  </a:lnTo>
                  <a:lnTo>
                    <a:pt x="406" y="627"/>
                  </a:lnTo>
                  <a:lnTo>
                    <a:pt x="418" y="631"/>
                  </a:lnTo>
                  <a:lnTo>
                    <a:pt x="430" y="634"/>
                  </a:lnTo>
                  <a:lnTo>
                    <a:pt x="441" y="635"/>
                  </a:lnTo>
                  <a:lnTo>
                    <a:pt x="452" y="636"/>
                  </a:lnTo>
                  <a:lnTo>
                    <a:pt x="461" y="635"/>
                  </a:lnTo>
                  <a:lnTo>
                    <a:pt x="472" y="634"/>
                  </a:lnTo>
                  <a:lnTo>
                    <a:pt x="484" y="631"/>
                  </a:lnTo>
                  <a:lnTo>
                    <a:pt x="497" y="627"/>
                  </a:lnTo>
                  <a:lnTo>
                    <a:pt x="511" y="622"/>
                  </a:lnTo>
                  <a:lnTo>
                    <a:pt x="525" y="615"/>
                  </a:lnTo>
                  <a:lnTo>
                    <a:pt x="540" y="607"/>
                  </a:lnTo>
                  <a:lnTo>
                    <a:pt x="553" y="599"/>
                  </a:lnTo>
                  <a:lnTo>
                    <a:pt x="784" y="664"/>
                  </a:lnTo>
                  <a:lnTo>
                    <a:pt x="794" y="669"/>
                  </a:lnTo>
                  <a:lnTo>
                    <a:pt x="802" y="673"/>
                  </a:lnTo>
                  <a:lnTo>
                    <a:pt x="812" y="678"/>
                  </a:lnTo>
                  <a:lnTo>
                    <a:pt x="819" y="685"/>
                  </a:lnTo>
                  <a:lnTo>
                    <a:pt x="828" y="691"/>
                  </a:lnTo>
                  <a:lnTo>
                    <a:pt x="835" y="699"/>
                  </a:lnTo>
                  <a:lnTo>
                    <a:pt x="842" y="706"/>
                  </a:lnTo>
                  <a:lnTo>
                    <a:pt x="848" y="715"/>
                  </a:lnTo>
                  <a:lnTo>
                    <a:pt x="854" y="723"/>
                  </a:lnTo>
                  <a:lnTo>
                    <a:pt x="858" y="732"/>
                  </a:lnTo>
                  <a:lnTo>
                    <a:pt x="862" y="741"/>
                  </a:lnTo>
                  <a:lnTo>
                    <a:pt x="865" y="751"/>
                  </a:lnTo>
                  <a:lnTo>
                    <a:pt x="869" y="761"/>
                  </a:lnTo>
                  <a:lnTo>
                    <a:pt x="871" y="770"/>
                  </a:lnTo>
                  <a:lnTo>
                    <a:pt x="872" y="781"/>
                  </a:lnTo>
                  <a:lnTo>
                    <a:pt x="872" y="792"/>
                  </a:lnTo>
                  <a:lnTo>
                    <a:pt x="872" y="871"/>
                  </a:lnTo>
                  <a:close/>
                  <a:moveTo>
                    <a:pt x="752" y="345"/>
                  </a:moveTo>
                  <a:lnTo>
                    <a:pt x="751" y="354"/>
                  </a:lnTo>
                  <a:lnTo>
                    <a:pt x="749" y="362"/>
                  </a:lnTo>
                  <a:lnTo>
                    <a:pt x="744" y="369"/>
                  </a:lnTo>
                  <a:lnTo>
                    <a:pt x="738" y="377"/>
                  </a:lnTo>
                  <a:lnTo>
                    <a:pt x="731" y="382"/>
                  </a:lnTo>
                  <a:lnTo>
                    <a:pt x="724" y="387"/>
                  </a:lnTo>
                  <a:lnTo>
                    <a:pt x="715" y="390"/>
                  </a:lnTo>
                  <a:lnTo>
                    <a:pt x="707" y="391"/>
                  </a:lnTo>
                  <a:lnTo>
                    <a:pt x="692" y="391"/>
                  </a:lnTo>
                  <a:lnTo>
                    <a:pt x="692" y="300"/>
                  </a:lnTo>
                  <a:lnTo>
                    <a:pt x="707" y="300"/>
                  </a:lnTo>
                  <a:lnTo>
                    <a:pt x="715" y="301"/>
                  </a:lnTo>
                  <a:lnTo>
                    <a:pt x="724" y="304"/>
                  </a:lnTo>
                  <a:lnTo>
                    <a:pt x="731" y="308"/>
                  </a:lnTo>
                  <a:lnTo>
                    <a:pt x="738" y="314"/>
                  </a:lnTo>
                  <a:lnTo>
                    <a:pt x="744" y="321"/>
                  </a:lnTo>
                  <a:lnTo>
                    <a:pt x="749" y="329"/>
                  </a:lnTo>
                  <a:lnTo>
                    <a:pt x="751" y="336"/>
                  </a:lnTo>
                  <a:lnTo>
                    <a:pt x="752" y="345"/>
                  </a:lnTo>
                  <a:close/>
                  <a:moveTo>
                    <a:pt x="793" y="635"/>
                  </a:moveTo>
                  <a:lnTo>
                    <a:pt x="556" y="568"/>
                  </a:lnTo>
                  <a:lnTo>
                    <a:pt x="555" y="568"/>
                  </a:lnTo>
                  <a:lnTo>
                    <a:pt x="555" y="568"/>
                  </a:lnTo>
                  <a:lnTo>
                    <a:pt x="552" y="568"/>
                  </a:lnTo>
                  <a:lnTo>
                    <a:pt x="551" y="568"/>
                  </a:lnTo>
                  <a:lnTo>
                    <a:pt x="550" y="568"/>
                  </a:lnTo>
                  <a:lnTo>
                    <a:pt x="549" y="568"/>
                  </a:lnTo>
                  <a:lnTo>
                    <a:pt x="547" y="568"/>
                  </a:lnTo>
                  <a:lnTo>
                    <a:pt x="546" y="569"/>
                  </a:lnTo>
                  <a:lnTo>
                    <a:pt x="545" y="569"/>
                  </a:lnTo>
                  <a:lnTo>
                    <a:pt x="543" y="570"/>
                  </a:lnTo>
                  <a:lnTo>
                    <a:pt x="543" y="570"/>
                  </a:lnTo>
                  <a:lnTo>
                    <a:pt x="543" y="570"/>
                  </a:lnTo>
                  <a:lnTo>
                    <a:pt x="530" y="579"/>
                  </a:lnTo>
                  <a:lnTo>
                    <a:pt x="517" y="586"/>
                  </a:lnTo>
                  <a:lnTo>
                    <a:pt x="504" y="592"/>
                  </a:lnTo>
                  <a:lnTo>
                    <a:pt x="492" y="597"/>
                  </a:lnTo>
                  <a:lnTo>
                    <a:pt x="481" y="601"/>
                  </a:lnTo>
                  <a:lnTo>
                    <a:pt x="469" y="604"/>
                  </a:lnTo>
                  <a:lnTo>
                    <a:pt x="459" y="605"/>
                  </a:lnTo>
                  <a:lnTo>
                    <a:pt x="452" y="606"/>
                  </a:lnTo>
                  <a:lnTo>
                    <a:pt x="443" y="605"/>
                  </a:lnTo>
                  <a:lnTo>
                    <a:pt x="432" y="604"/>
                  </a:lnTo>
                  <a:lnTo>
                    <a:pt x="422" y="601"/>
                  </a:lnTo>
                  <a:lnTo>
                    <a:pt x="411" y="597"/>
                  </a:lnTo>
                  <a:lnTo>
                    <a:pt x="399" y="591"/>
                  </a:lnTo>
                  <a:lnTo>
                    <a:pt x="386" y="586"/>
                  </a:lnTo>
                  <a:lnTo>
                    <a:pt x="374" y="579"/>
                  </a:lnTo>
                  <a:lnTo>
                    <a:pt x="362" y="570"/>
                  </a:lnTo>
                  <a:lnTo>
                    <a:pt x="360" y="570"/>
                  </a:lnTo>
                  <a:lnTo>
                    <a:pt x="359" y="569"/>
                  </a:lnTo>
                  <a:lnTo>
                    <a:pt x="343" y="557"/>
                  </a:lnTo>
                  <a:lnTo>
                    <a:pt x="328" y="543"/>
                  </a:lnTo>
                  <a:lnTo>
                    <a:pt x="314" y="528"/>
                  </a:lnTo>
                  <a:lnTo>
                    <a:pt x="302" y="511"/>
                  </a:lnTo>
                  <a:lnTo>
                    <a:pt x="296" y="502"/>
                  </a:lnTo>
                  <a:lnTo>
                    <a:pt x="291" y="493"/>
                  </a:lnTo>
                  <a:lnTo>
                    <a:pt x="288" y="483"/>
                  </a:lnTo>
                  <a:lnTo>
                    <a:pt x="283" y="473"/>
                  </a:lnTo>
                  <a:lnTo>
                    <a:pt x="280" y="464"/>
                  </a:lnTo>
                  <a:lnTo>
                    <a:pt x="278" y="453"/>
                  </a:lnTo>
                  <a:lnTo>
                    <a:pt x="277" y="442"/>
                  </a:lnTo>
                  <a:lnTo>
                    <a:pt x="277" y="432"/>
                  </a:lnTo>
                  <a:lnTo>
                    <a:pt x="277" y="417"/>
                  </a:lnTo>
                  <a:lnTo>
                    <a:pt x="262" y="417"/>
                  </a:lnTo>
                  <a:lnTo>
                    <a:pt x="253" y="416"/>
                  </a:lnTo>
                  <a:lnTo>
                    <a:pt x="246" y="412"/>
                  </a:lnTo>
                  <a:lnTo>
                    <a:pt x="240" y="408"/>
                  </a:lnTo>
                  <a:lnTo>
                    <a:pt x="234" y="403"/>
                  </a:lnTo>
                  <a:lnTo>
                    <a:pt x="230" y="396"/>
                  </a:lnTo>
                  <a:lnTo>
                    <a:pt x="226" y="390"/>
                  </a:lnTo>
                  <a:lnTo>
                    <a:pt x="223" y="382"/>
                  </a:lnTo>
                  <a:lnTo>
                    <a:pt x="221" y="376"/>
                  </a:lnTo>
                  <a:lnTo>
                    <a:pt x="220" y="368"/>
                  </a:lnTo>
                  <a:lnTo>
                    <a:pt x="219" y="361"/>
                  </a:lnTo>
                  <a:lnTo>
                    <a:pt x="219" y="354"/>
                  </a:lnTo>
                  <a:lnTo>
                    <a:pt x="220" y="348"/>
                  </a:lnTo>
                  <a:lnTo>
                    <a:pt x="222" y="343"/>
                  </a:lnTo>
                  <a:lnTo>
                    <a:pt x="224" y="337"/>
                  </a:lnTo>
                  <a:lnTo>
                    <a:pt x="226" y="334"/>
                  </a:lnTo>
                  <a:lnTo>
                    <a:pt x="231" y="331"/>
                  </a:lnTo>
                  <a:lnTo>
                    <a:pt x="240" y="327"/>
                  </a:lnTo>
                  <a:lnTo>
                    <a:pt x="220" y="202"/>
                  </a:lnTo>
                  <a:lnTo>
                    <a:pt x="219" y="193"/>
                  </a:lnTo>
                  <a:lnTo>
                    <a:pt x="222" y="167"/>
                  </a:lnTo>
                  <a:lnTo>
                    <a:pt x="226" y="150"/>
                  </a:lnTo>
                  <a:lnTo>
                    <a:pt x="234" y="131"/>
                  </a:lnTo>
                  <a:lnTo>
                    <a:pt x="238" y="122"/>
                  </a:lnTo>
                  <a:lnTo>
                    <a:pt x="244" y="113"/>
                  </a:lnTo>
                  <a:lnTo>
                    <a:pt x="250" y="104"/>
                  </a:lnTo>
                  <a:lnTo>
                    <a:pt x="259" y="94"/>
                  </a:lnTo>
                  <a:lnTo>
                    <a:pt x="266" y="86"/>
                  </a:lnTo>
                  <a:lnTo>
                    <a:pt x="274" y="79"/>
                  </a:lnTo>
                  <a:lnTo>
                    <a:pt x="283" y="73"/>
                  </a:lnTo>
                  <a:lnTo>
                    <a:pt x="292" y="66"/>
                  </a:lnTo>
                  <a:lnTo>
                    <a:pt x="303" y="61"/>
                  </a:lnTo>
                  <a:lnTo>
                    <a:pt x="313" y="55"/>
                  </a:lnTo>
                  <a:lnTo>
                    <a:pt x="324" y="50"/>
                  </a:lnTo>
                  <a:lnTo>
                    <a:pt x="336" y="46"/>
                  </a:lnTo>
                  <a:lnTo>
                    <a:pt x="349" y="42"/>
                  </a:lnTo>
                  <a:lnTo>
                    <a:pt x="362" y="38"/>
                  </a:lnTo>
                  <a:lnTo>
                    <a:pt x="374" y="36"/>
                  </a:lnTo>
                  <a:lnTo>
                    <a:pt x="388" y="34"/>
                  </a:lnTo>
                  <a:lnTo>
                    <a:pt x="403" y="32"/>
                  </a:lnTo>
                  <a:lnTo>
                    <a:pt x="418" y="31"/>
                  </a:lnTo>
                  <a:lnTo>
                    <a:pt x="434" y="30"/>
                  </a:lnTo>
                  <a:lnTo>
                    <a:pt x="452" y="30"/>
                  </a:lnTo>
                  <a:lnTo>
                    <a:pt x="468" y="30"/>
                  </a:lnTo>
                  <a:lnTo>
                    <a:pt x="484" y="31"/>
                  </a:lnTo>
                  <a:lnTo>
                    <a:pt x="499" y="32"/>
                  </a:lnTo>
                  <a:lnTo>
                    <a:pt x="514" y="34"/>
                  </a:lnTo>
                  <a:lnTo>
                    <a:pt x="528" y="36"/>
                  </a:lnTo>
                  <a:lnTo>
                    <a:pt x="541" y="38"/>
                  </a:lnTo>
                  <a:lnTo>
                    <a:pt x="553" y="41"/>
                  </a:lnTo>
                  <a:lnTo>
                    <a:pt x="566" y="46"/>
                  </a:lnTo>
                  <a:lnTo>
                    <a:pt x="578" y="50"/>
                  </a:lnTo>
                  <a:lnTo>
                    <a:pt x="589" y="54"/>
                  </a:lnTo>
                  <a:lnTo>
                    <a:pt x="600" y="60"/>
                  </a:lnTo>
                  <a:lnTo>
                    <a:pt x="610" y="66"/>
                  </a:lnTo>
                  <a:lnTo>
                    <a:pt x="619" y="73"/>
                  </a:lnTo>
                  <a:lnTo>
                    <a:pt x="629" y="79"/>
                  </a:lnTo>
                  <a:lnTo>
                    <a:pt x="636" y="86"/>
                  </a:lnTo>
                  <a:lnTo>
                    <a:pt x="644" y="94"/>
                  </a:lnTo>
                  <a:lnTo>
                    <a:pt x="651" y="103"/>
                  </a:lnTo>
                  <a:lnTo>
                    <a:pt x="657" y="111"/>
                  </a:lnTo>
                  <a:lnTo>
                    <a:pt x="663" y="120"/>
                  </a:lnTo>
                  <a:lnTo>
                    <a:pt x="667" y="128"/>
                  </a:lnTo>
                  <a:lnTo>
                    <a:pt x="675" y="145"/>
                  </a:lnTo>
                  <a:lnTo>
                    <a:pt x="679" y="161"/>
                  </a:lnTo>
                  <a:lnTo>
                    <a:pt x="681" y="175"/>
                  </a:lnTo>
                  <a:lnTo>
                    <a:pt x="683" y="188"/>
                  </a:lnTo>
                  <a:lnTo>
                    <a:pt x="683" y="197"/>
                  </a:lnTo>
                  <a:lnTo>
                    <a:pt x="683" y="201"/>
                  </a:lnTo>
                  <a:lnTo>
                    <a:pt x="662" y="282"/>
                  </a:lnTo>
                  <a:lnTo>
                    <a:pt x="662" y="283"/>
                  </a:lnTo>
                  <a:lnTo>
                    <a:pt x="662" y="284"/>
                  </a:lnTo>
                  <a:lnTo>
                    <a:pt x="662" y="284"/>
                  </a:lnTo>
                  <a:lnTo>
                    <a:pt x="662" y="285"/>
                  </a:lnTo>
                  <a:lnTo>
                    <a:pt x="662" y="406"/>
                  </a:lnTo>
                  <a:lnTo>
                    <a:pt x="662" y="408"/>
                  </a:lnTo>
                  <a:lnTo>
                    <a:pt x="663" y="411"/>
                  </a:lnTo>
                  <a:lnTo>
                    <a:pt x="664" y="413"/>
                  </a:lnTo>
                  <a:lnTo>
                    <a:pt x="666" y="417"/>
                  </a:lnTo>
                  <a:lnTo>
                    <a:pt x="668" y="418"/>
                  </a:lnTo>
                  <a:lnTo>
                    <a:pt x="671" y="420"/>
                  </a:lnTo>
                  <a:lnTo>
                    <a:pt x="674" y="420"/>
                  </a:lnTo>
                  <a:lnTo>
                    <a:pt x="677" y="421"/>
                  </a:lnTo>
                  <a:lnTo>
                    <a:pt x="707" y="421"/>
                  </a:lnTo>
                  <a:lnTo>
                    <a:pt x="714" y="420"/>
                  </a:lnTo>
                  <a:lnTo>
                    <a:pt x="722" y="419"/>
                  </a:lnTo>
                  <a:lnTo>
                    <a:pt x="722" y="436"/>
                  </a:lnTo>
                  <a:lnTo>
                    <a:pt x="722" y="443"/>
                  </a:lnTo>
                  <a:lnTo>
                    <a:pt x="720" y="450"/>
                  </a:lnTo>
                  <a:lnTo>
                    <a:pt x="718" y="455"/>
                  </a:lnTo>
                  <a:lnTo>
                    <a:pt x="714" y="461"/>
                  </a:lnTo>
                  <a:lnTo>
                    <a:pt x="710" y="465"/>
                  </a:lnTo>
                  <a:lnTo>
                    <a:pt x="706" y="468"/>
                  </a:lnTo>
                  <a:lnTo>
                    <a:pt x="701" y="471"/>
                  </a:lnTo>
                  <a:lnTo>
                    <a:pt x="696" y="473"/>
                  </a:lnTo>
                  <a:lnTo>
                    <a:pt x="685" y="478"/>
                  </a:lnTo>
                  <a:lnTo>
                    <a:pt x="676" y="480"/>
                  </a:lnTo>
                  <a:lnTo>
                    <a:pt x="667" y="481"/>
                  </a:lnTo>
                  <a:lnTo>
                    <a:pt x="660" y="481"/>
                  </a:lnTo>
                  <a:lnTo>
                    <a:pt x="537" y="481"/>
                  </a:lnTo>
                  <a:lnTo>
                    <a:pt x="533" y="475"/>
                  </a:lnTo>
                  <a:lnTo>
                    <a:pt x="527" y="470"/>
                  </a:lnTo>
                  <a:lnTo>
                    <a:pt x="519" y="467"/>
                  </a:lnTo>
                  <a:lnTo>
                    <a:pt x="512" y="466"/>
                  </a:lnTo>
                  <a:lnTo>
                    <a:pt x="437" y="466"/>
                  </a:lnTo>
                  <a:lnTo>
                    <a:pt x="430" y="466"/>
                  </a:lnTo>
                  <a:lnTo>
                    <a:pt x="425" y="468"/>
                  </a:lnTo>
                  <a:lnTo>
                    <a:pt x="419" y="471"/>
                  </a:lnTo>
                  <a:lnTo>
                    <a:pt x="415" y="475"/>
                  </a:lnTo>
                  <a:lnTo>
                    <a:pt x="411" y="479"/>
                  </a:lnTo>
                  <a:lnTo>
                    <a:pt x="409" y="484"/>
                  </a:lnTo>
                  <a:lnTo>
                    <a:pt x="407" y="490"/>
                  </a:lnTo>
                  <a:lnTo>
                    <a:pt x="407" y="496"/>
                  </a:lnTo>
                  <a:lnTo>
                    <a:pt x="407" y="501"/>
                  </a:lnTo>
                  <a:lnTo>
                    <a:pt x="409" y="508"/>
                  </a:lnTo>
                  <a:lnTo>
                    <a:pt x="411" y="512"/>
                  </a:lnTo>
                  <a:lnTo>
                    <a:pt x="415" y="517"/>
                  </a:lnTo>
                  <a:lnTo>
                    <a:pt x="419" y="521"/>
                  </a:lnTo>
                  <a:lnTo>
                    <a:pt x="425" y="524"/>
                  </a:lnTo>
                  <a:lnTo>
                    <a:pt x="430" y="525"/>
                  </a:lnTo>
                  <a:lnTo>
                    <a:pt x="437" y="526"/>
                  </a:lnTo>
                  <a:lnTo>
                    <a:pt x="512" y="526"/>
                  </a:lnTo>
                  <a:lnTo>
                    <a:pt x="519" y="525"/>
                  </a:lnTo>
                  <a:lnTo>
                    <a:pt x="527" y="522"/>
                  </a:lnTo>
                  <a:lnTo>
                    <a:pt x="533" y="516"/>
                  </a:lnTo>
                  <a:lnTo>
                    <a:pt x="537" y="511"/>
                  </a:lnTo>
                  <a:lnTo>
                    <a:pt x="660" y="511"/>
                  </a:lnTo>
                  <a:lnTo>
                    <a:pt x="670" y="510"/>
                  </a:lnTo>
                  <a:lnTo>
                    <a:pt x="680" y="509"/>
                  </a:lnTo>
                  <a:lnTo>
                    <a:pt x="690" y="508"/>
                  </a:lnTo>
                  <a:lnTo>
                    <a:pt x="698" y="506"/>
                  </a:lnTo>
                  <a:lnTo>
                    <a:pt x="706" y="502"/>
                  </a:lnTo>
                  <a:lnTo>
                    <a:pt x="713" y="499"/>
                  </a:lnTo>
                  <a:lnTo>
                    <a:pt x="721" y="495"/>
                  </a:lnTo>
                  <a:lnTo>
                    <a:pt x="727" y="491"/>
                  </a:lnTo>
                  <a:lnTo>
                    <a:pt x="733" y="485"/>
                  </a:lnTo>
                  <a:lnTo>
                    <a:pt x="738" y="480"/>
                  </a:lnTo>
                  <a:lnTo>
                    <a:pt x="742" y="473"/>
                  </a:lnTo>
                  <a:lnTo>
                    <a:pt x="745" y="467"/>
                  </a:lnTo>
                  <a:lnTo>
                    <a:pt x="749" y="460"/>
                  </a:lnTo>
                  <a:lnTo>
                    <a:pt x="751" y="452"/>
                  </a:lnTo>
                  <a:lnTo>
                    <a:pt x="752" y="443"/>
                  </a:lnTo>
                  <a:lnTo>
                    <a:pt x="752" y="436"/>
                  </a:lnTo>
                  <a:lnTo>
                    <a:pt x="752" y="404"/>
                  </a:lnTo>
                  <a:lnTo>
                    <a:pt x="758" y="398"/>
                  </a:lnTo>
                  <a:lnTo>
                    <a:pt x="765" y="392"/>
                  </a:lnTo>
                  <a:lnTo>
                    <a:pt x="769" y="386"/>
                  </a:lnTo>
                  <a:lnTo>
                    <a:pt x="773" y="378"/>
                  </a:lnTo>
                  <a:lnTo>
                    <a:pt x="778" y="371"/>
                  </a:lnTo>
                  <a:lnTo>
                    <a:pt x="780" y="362"/>
                  </a:lnTo>
                  <a:lnTo>
                    <a:pt x="782" y="354"/>
                  </a:lnTo>
                  <a:lnTo>
                    <a:pt x="782" y="346"/>
                  </a:lnTo>
                  <a:lnTo>
                    <a:pt x="782" y="338"/>
                  </a:lnTo>
                  <a:lnTo>
                    <a:pt x="781" y="331"/>
                  </a:lnTo>
                  <a:lnTo>
                    <a:pt x="779" y="323"/>
                  </a:lnTo>
                  <a:lnTo>
                    <a:pt x="776" y="317"/>
                  </a:lnTo>
                  <a:lnTo>
                    <a:pt x="772" y="311"/>
                  </a:lnTo>
                  <a:lnTo>
                    <a:pt x="769" y="304"/>
                  </a:lnTo>
                  <a:lnTo>
                    <a:pt x="765" y="298"/>
                  </a:lnTo>
                  <a:lnTo>
                    <a:pt x="759" y="292"/>
                  </a:lnTo>
                  <a:lnTo>
                    <a:pt x="754" y="288"/>
                  </a:lnTo>
                  <a:lnTo>
                    <a:pt x="749" y="284"/>
                  </a:lnTo>
                  <a:lnTo>
                    <a:pt x="742" y="279"/>
                  </a:lnTo>
                  <a:lnTo>
                    <a:pt x="736" y="276"/>
                  </a:lnTo>
                  <a:lnTo>
                    <a:pt x="728" y="274"/>
                  </a:lnTo>
                  <a:lnTo>
                    <a:pt x="722" y="272"/>
                  </a:lnTo>
                  <a:lnTo>
                    <a:pt x="714" y="271"/>
                  </a:lnTo>
                  <a:lnTo>
                    <a:pt x="707" y="270"/>
                  </a:lnTo>
                  <a:lnTo>
                    <a:pt x="696" y="270"/>
                  </a:lnTo>
                  <a:lnTo>
                    <a:pt x="712" y="208"/>
                  </a:lnTo>
                  <a:lnTo>
                    <a:pt x="713" y="205"/>
                  </a:lnTo>
                  <a:lnTo>
                    <a:pt x="713" y="201"/>
                  </a:lnTo>
                  <a:lnTo>
                    <a:pt x="713" y="192"/>
                  </a:lnTo>
                  <a:lnTo>
                    <a:pt x="712" y="178"/>
                  </a:lnTo>
                  <a:lnTo>
                    <a:pt x="710" y="160"/>
                  </a:lnTo>
                  <a:lnTo>
                    <a:pt x="708" y="151"/>
                  </a:lnTo>
                  <a:lnTo>
                    <a:pt x="705" y="140"/>
                  </a:lnTo>
                  <a:lnTo>
                    <a:pt x="700" y="129"/>
                  </a:lnTo>
                  <a:lnTo>
                    <a:pt x="696" y="119"/>
                  </a:lnTo>
                  <a:lnTo>
                    <a:pt x="691" y="108"/>
                  </a:lnTo>
                  <a:lnTo>
                    <a:pt x="683" y="96"/>
                  </a:lnTo>
                  <a:lnTo>
                    <a:pt x="676" y="85"/>
                  </a:lnTo>
                  <a:lnTo>
                    <a:pt x="666" y="74"/>
                  </a:lnTo>
                  <a:lnTo>
                    <a:pt x="657" y="65"/>
                  </a:lnTo>
                  <a:lnTo>
                    <a:pt x="649" y="56"/>
                  </a:lnTo>
                  <a:lnTo>
                    <a:pt x="638" y="49"/>
                  </a:lnTo>
                  <a:lnTo>
                    <a:pt x="627" y="41"/>
                  </a:lnTo>
                  <a:lnTo>
                    <a:pt x="617" y="35"/>
                  </a:lnTo>
                  <a:lnTo>
                    <a:pt x="605" y="29"/>
                  </a:lnTo>
                  <a:lnTo>
                    <a:pt x="592" y="23"/>
                  </a:lnTo>
                  <a:lnTo>
                    <a:pt x="579" y="18"/>
                  </a:lnTo>
                  <a:lnTo>
                    <a:pt x="565" y="14"/>
                  </a:lnTo>
                  <a:lnTo>
                    <a:pt x="550" y="10"/>
                  </a:lnTo>
                  <a:lnTo>
                    <a:pt x="535" y="7"/>
                  </a:lnTo>
                  <a:lnTo>
                    <a:pt x="520" y="4"/>
                  </a:lnTo>
                  <a:lnTo>
                    <a:pt x="504" y="2"/>
                  </a:lnTo>
                  <a:lnTo>
                    <a:pt x="487" y="1"/>
                  </a:lnTo>
                  <a:lnTo>
                    <a:pt x="469" y="0"/>
                  </a:lnTo>
                  <a:lnTo>
                    <a:pt x="452" y="0"/>
                  </a:lnTo>
                  <a:lnTo>
                    <a:pt x="433" y="0"/>
                  </a:lnTo>
                  <a:lnTo>
                    <a:pt x="415" y="1"/>
                  </a:lnTo>
                  <a:lnTo>
                    <a:pt x="399" y="2"/>
                  </a:lnTo>
                  <a:lnTo>
                    <a:pt x="383" y="4"/>
                  </a:lnTo>
                  <a:lnTo>
                    <a:pt x="367" y="7"/>
                  </a:lnTo>
                  <a:lnTo>
                    <a:pt x="352" y="10"/>
                  </a:lnTo>
                  <a:lnTo>
                    <a:pt x="337" y="14"/>
                  </a:lnTo>
                  <a:lnTo>
                    <a:pt x="324" y="18"/>
                  </a:lnTo>
                  <a:lnTo>
                    <a:pt x="310" y="23"/>
                  </a:lnTo>
                  <a:lnTo>
                    <a:pt x="298" y="29"/>
                  </a:lnTo>
                  <a:lnTo>
                    <a:pt x="285" y="35"/>
                  </a:lnTo>
                  <a:lnTo>
                    <a:pt x="275" y="41"/>
                  </a:lnTo>
                  <a:lnTo>
                    <a:pt x="264" y="49"/>
                  </a:lnTo>
                  <a:lnTo>
                    <a:pt x="254" y="56"/>
                  </a:lnTo>
                  <a:lnTo>
                    <a:pt x="245" y="65"/>
                  </a:lnTo>
                  <a:lnTo>
                    <a:pt x="236" y="74"/>
                  </a:lnTo>
                  <a:lnTo>
                    <a:pt x="226" y="85"/>
                  </a:lnTo>
                  <a:lnTo>
                    <a:pt x="219" y="96"/>
                  </a:lnTo>
                  <a:lnTo>
                    <a:pt x="213" y="108"/>
                  </a:lnTo>
                  <a:lnTo>
                    <a:pt x="206" y="119"/>
                  </a:lnTo>
                  <a:lnTo>
                    <a:pt x="202" y="129"/>
                  </a:lnTo>
                  <a:lnTo>
                    <a:pt x="198" y="141"/>
                  </a:lnTo>
                  <a:lnTo>
                    <a:pt x="195" y="151"/>
                  </a:lnTo>
                  <a:lnTo>
                    <a:pt x="193" y="160"/>
                  </a:lnTo>
                  <a:lnTo>
                    <a:pt x="190" y="179"/>
                  </a:lnTo>
                  <a:lnTo>
                    <a:pt x="189" y="193"/>
                  </a:lnTo>
                  <a:lnTo>
                    <a:pt x="190" y="202"/>
                  </a:lnTo>
                  <a:lnTo>
                    <a:pt x="190" y="207"/>
                  </a:lnTo>
                  <a:lnTo>
                    <a:pt x="207" y="311"/>
                  </a:lnTo>
                  <a:lnTo>
                    <a:pt x="202" y="317"/>
                  </a:lnTo>
                  <a:lnTo>
                    <a:pt x="196" y="324"/>
                  </a:lnTo>
                  <a:lnTo>
                    <a:pt x="193" y="332"/>
                  </a:lnTo>
                  <a:lnTo>
                    <a:pt x="191" y="342"/>
                  </a:lnTo>
                  <a:lnTo>
                    <a:pt x="189" y="350"/>
                  </a:lnTo>
                  <a:lnTo>
                    <a:pt x="189" y="361"/>
                  </a:lnTo>
                  <a:lnTo>
                    <a:pt x="190" y="372"/>
                  </a:lnTo>
                  <a:lnTo>
                    <a:pt x="192" y="382"/>
                  </a:lnTo>
                  <a:lnTo>
                    <a:pt x="195" y="394"/>
                  </a:lnTo>
                  <a:lnTo>
                    <a:pt x="200" y="405"/>
                  </a:lnTo>
                  <a:lnTo>
                    <a:pt x="206" y="416"/>
                  </a:lnTo>
                  <a:lnTo>
                    <a:pt x="213" y="424"/>
                  </a:lnTo>
                  <a:lnTo>
                    <a:pt x="220" y="432"/>
                  </a:lnTo>
                  <a:lnTo>
                    <a:pt x="229" y="437"/>
                  </a:lnTo>
                  <a:lnTo>
                    <a:pt x="237" y="442"/>
                  </a:lnTo>
                  <a:lnTo>
                    <a:pt x="247" y="446"/>
                  </a:lnTo>
                  <a:lnTo>
                    <a:pt x="248" y="455"/>
                  </a:lnTo>
                  <a:lnTo>
                    <a:pt x="250" y="465"/>
                  </a:lnTo>
                  <a:lnTo>
                    <a:pt x="252" y="475"/>
                  </a:lnTo>
                  <a:lnTo>
                    <a:pt x="255" y="483"/>
                  </a:lnTo>
                  <a:lnTo>
                    <a:pt x="262" y="501"/>
                  </a:lnTo>
                  <a:lnTo>
                    <a:pt x="271" y="519"/>
                  </a:lnTo>
                  <a:lnTo>
                    <a:pt x="282" y="535"/>
                  </a:lnTo>
                  <a:lnTo>
                    <a:pt x="294" y="550"/>
                  </a:lnTo>
                  <a:lnTo>
                    <a:pt x="307" y="564"/>
                  </a:lnTo>
                  <a:lnTo>
                    <a:pt x="321" y="576"/>
                  </a:lnTo>
                  <a:lnTo>
                    <a:pt x="109" y="635"/>
                  </a:lnTo>
                  <a:lnTo>
                    <a:pt x="97" y="641"/>
                  </a:lnTo>
                  <a:lnTo>
                    <a:pt x="85" y="646"/>
                  </a:lnTo>
                  <a:lnTo>
                    <a:pt x="74" y="654"/>
                  </a:lnTo>
                  <a:lnTo>
                    <a:pt x="63" y="661"/>
                  </a:lnTo>
                  <a:lnTo>
                    <a:pt x="55" y="669"/>
                  </a:lnTo>
                  <a:lnTo>
                    <a:pt x="45" y="677"/>
                  </a:lnTo>
                  <a:lnTo>
                    <a:pt x="38" y="687"/>
                  </a:lnTo>
                  <a:lnTo>
                    <a:pt x="30" y="698"/>
                  </a:lnTo>
                  <a:lnTo>
                    <a:pt x="23" y="707"/>
                  </a:lnTo>
                  <a:lnTo>
                    <a:pt x="17" y="719"/>
                  </a:lnTo>
                  <a:lnTo>
                    <a:pt x="12" y="730"/>
                  </a:lnTo>
                  <a:lnTo>
                    <a:pt x="8" y="741"/>
                  </a:lnTo>
                  <a:lnTo>
                    <a:pt x="5" y="754"/>
                  </a:lnTo>
                  <a:lnTo>
                    <a:pt x="2" y="766"/>
                  </a:lnTo>
                  <a:lnTo>
                    <a:pt x="0" y="779"/>
                  </a:lnTo>
                  <a:lnTo>
                    <a:pt x="0" y="792"/>
                  </a:lnTo>
                  <a:lnTo>
                    <a:pt x="0" y="901"/>
                  </a:lnTo>
                  <a:lnTo>
                    <a:pt x="902" y="901"/>
                  </a:lnTo>
                  <a:lnTo>
                    <a:pt x="902" y="792"/>
                  </a:lnTo>
                  <a:lnTo>
                    <a:pt x="902" y="779"/>
                  </a:lnTo>
                  <a:lnTo>
                    <a:pt x="901" y="766"/>
                  </a:lnTo>
                  <a:lnTo>
                    <a:pt x="898" y="754"/>
                  </a:lnTo>
                  <a:lnTo>
                    <a:pt x="894" y="741"/>
                  </a:lnTo>
                  <a:lnTo>
                    <a:pt x="890" y="730"/>
                  </a:lnTo>
                  <a:lnTo>
                    <a:pt x="885" y="719"/>
                  </a:lnTo>
                  <a:lnTo>
                    <a:pt x="879" y="707"/>
                  </a:lnTo>
                  <a:lnTo>
                    <a:pt x="872" y="698"/>
                  </a:lnTo>
                  <a:lnTo>
                    <a:pt x="864" y="687"/>
                  </a:lnTo>
                  <a:lnTo>
                    <a:pt x="857" y="677"/>
                  </a:lnTo>
                  <a:lnTo>
                    <a:pt x="847" y="669"/>
                  </a:lnTo>
                  <a:lnTo>
                    <a:pt x="838" y="661"/>
                  </a:lnTo>
                  <a:lnTo>
                    <a:pt x="828" y="654"/>
                  </a:lnTo>
                  <a:lnTo>
                    <a:pt x="816" y="646"/>
                  </a:lnTo>
                  <a:lnTo>
                    <a:pt x="805" y="641"/>
                  </a:lnTo>
                  <a:lnTo>
                    <a:pt x="79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201">
              <a:extLst>
                <a:ext uri="{FF2B5EF4-FFF2-40B4-BE49-F238E27FC236}">
                  <a16:creationId xmlns:a16="http://schemas.microsoft.com/office/drawing/2014/main" id="{D9EFF8BC-58A2-4C87-A569-71AC2849FF76}"/>
                </a:ext>
              </a:extLst>
            </p:cNvPr>
            <p:cNvSpPr>
              <a:spLocks/>
            </p:cNvSpPr>
            <p:nvPr/>
          </p:nvSpPr>
          <p:spPr bwMode="auto">
            <a:xfrm>
              <a:off x="4421188" y="3730625"/>
              <a:ext cx="33338" cy="15875"/>
            </a:xfrm>
            <a:custGeom>
              <a:avLst/>
              <a:gdLst>
                <a:gd name="T0" fmla="*/ 18 w 106"/>
                <a:gd name="T1" fmla="*/ 48 h 49"/>
                <a:gd name="T2" fmla="*/ 23 w 106"/>
                <a:gd name="T3" fmla="*/ 46 h 49"/>
                <a:gd name="T4" fmla="*/ 28 w 106"/>
                <a:gd name="T5" fmla="*/ 42 h 49"/>
                <a:gd name="T6" fmla="*/ 30 w 106"/>
                <a:gd name="T7" fmla="*/ 36 h 49"/>
                <a:gd name="T8" fmla="*/ 31 w 106"/>
                <a:gd name="T9" fmla="*/ 32 h 49"/>
                <a:gd name="T10" fmla="*/ 38 w 106"/>
                <a:gd name="T11" fmla="*/ 30 h 49"/>
                <a:gd name="T12" fmla="*/ 54 w 106"/>
                <a:gd name="T13" fmla="*/ 30 h 49"/>
                <a:gd name="T14" fmla="*/ 69 w 106"/>
                <a:gd name="T15" fmla="*/ 30 h 49"/>
                <a:gd name="T16" fmla="*/ 76 w 106"/>
                <a:gd name="T17" fmla="*/ 31 h 49"/>
                <a:gd name="T18" fmla="*/ 77 w 106"/>
                <a:gd name="T19" fmla="*/ 36 h 49"/>
                <a:gd name="T20" fmla="*/ 79 w 106"/>
                <a:gd name="T21" fmla="*/ 42 h 49"/>
                <a:gd name="T22" fmla="*/ 82 w 106"/>
                <a:gd name="T23" fmla="*/ 46 h 49"/>
                <a:gd name="T24" fmla="*/ 88 w 106"/>
                <a:gd name="T25" fmla="*/ 48 h 49"/>
                <a:gd name="T26" fmla="*/ 94 w 106"/>
                <a:gd name="T27" fmla="*/ 48 h 49"/>
                <a:gd name="T28" fmla="*/ 100 w 106"/>
                <a:gd name="T29" fmla="*/ 46 h 49"/>
                <a:gd name="T30" fmla="*/ 104 w 106"/>
                <a:gd name="T31" fmla="*/ 42 h 49"/>
                <a:gd name="T32" fmla="*/ 106 w 106"/>
                <a:gd name="T33" fmla="*/ 36 h 49"/>
                <a:gd name="T34" fmla="*/ 106 w 106"/>
                <a:gd name="T35" fmla="*/ 27 h 49"/>
                <a:gd name="T36" fmla="*/ 102 w 106"/>
                <a:gd name="T37" fmla="*/ 14 h 49"/>
                <a:gd name="T38" fmla="*/ 93 w 106"/>
                <a:gd name="T39" fmla="*/ 6 h 49"/>
                <a:gd name="T40" fmla="*/ 85 w 106"/>
                <a:gd name="T41" fmla="*/ 2 h 49"/>
                <a:gd name="T42" fmla="*/ 69 w 106"/>
                <a:gd name="T43" fmla="*/ 0 h 49"/>
                <a:gd name="T44" fmla="*/ 54 w 106"/>
                <a:gd name="T45" fmla="*/ 0 h 49"/>
                <a:gd name="T46" fmla="*/ 37 w 106"/>
                <a:gd name="T47" fmla="*/ 0 h 49"/>
                <a:gd name="T48" fmla="*/ 22 w 106"/>
                <a:gd name="T49" fmla="*/ 2 h 49"/>
                <a:gd name="T50" fmla="*/ 14 w 106"/>
                <a:gd name="T51" fmla="*/ 6 h 49"/>
                <a:gd name="T52" fmla="*/ 5 w 106"/>
                <a:gd name="T53" fmla="*/ 14 h 49"/>
                <a:gd name="T54" fmla="*/ 1 w 106"/>
                <a:gd name="T55" fmla="*/ 27 h 49"/>
                <a:gd name="T56" fmla="*/ 1 w 106"/>
                <a:gd name="T57" fmla="*/ 36 h 49"/>
                <a:gd name="T58" fmla="*/ 3 w 106"/>
                <a:gd name="T59" fmla="*/ 42 h 49"/>
                <a:gd name="T60" fmla="*/ 7 w 106"/>
                <a:gd name="T61" fmla="*/ 46 h 49"/>
                <a:gd name="T62" fmla="*/ 13 w 106"/>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16" y="48"/>
                  </a:moveTo>
                  <a:lnTo>
                    <a:pt x="18" y="48"/>
                  </a:lnTo>
                  <a:lnTo>
                    <a:pt x="21" y="47"/>
                  </a:lnTo>
                  <a:lnTo>
                    <a:pt x="23" y="46"/>
                  </a:lnTo>
                  <a:lnTo>
                    <a:pt x="26" y="44"/>
                  </a:lnTo>
                  <a:lnTo>
                    <a:pt x="28" y="42"/>
                  </a:lnTo>
                  <a:lnTo>
                    <a:pt x="29" y="40"/>
                  </a:lnTo>
                  <a:lnTo>
                    <a:pt x="30" y="36"/>
                  </a:lnTo>
                  <a:lnTo>
                    <a:pt x="31" y="34"/>
                  </a:lnTo>
                  <a:lnTo>
                    <a:pt x="31" y="32"/>
                  </a:lnTo>
                  <a:lnTo>
                    <a:pt x="31" y="31"/>
                  </a:lnTo>
                  <a:lnTo>
                    <a:pt x="38" y="30"/>
                  </a:lnTo>
                  <a:lnTo>
                    <a:pt x="48" y="30"/>
                  </a:lnTo>
                  <a:lnTo>
                    <a:pt x="54" y="30"/>
                  </a:lnTo>
                  <a:lnTo>
                    <a:pt x="59" y="30"/>
                  </a:lnTo>
                  <a:lnTo>
                    <a:pt x="69" y="30"/>
                  </a:lnTo>
                  <a:lnTo>
                    <a:pt x="76" y="30"/>
                  </a:lnTo>
                  <a:lnTo>
                    <a:pt x="76" y="31"/>
                  </a:lnTo>
                  <a:lnTo>
                    <a:pt x="76" y="34"/>
                  </a:lnTo>
                  <a:lnTo>
                    <a:pt x="77" y="36"/>
                  </a:lnTo>
                  <a:lnTo>
                    <a:pt x="77" y="40"/>
                  </a:lnTo>
                  <a:lnTo>
                    <a:pt x="79" y="42"/>
                  </a:lnTo>
                  <a:lnTo>
                    <a:pt x="80" y="44"/>
                  </a:lnTo>
                  <a:lnTo>
                    <a:pt x="82" y="46"/>
                  </a:lnTo>
                  <a:lnTo>
                    <a:pt x="86" y="47"/>
                  </a:lnTo>
                  <a:lnTo>
                    <a:pt x="88" y="48"/>
                  </a:lnTo>
                  <a:lnTo>
                    <a:pt x="91" y="49"/>
                  </a:lnTo>
                  <a:lnTo>
                    <a:pt x="94" y="48"/>
                  </a:lnTo>
                  <a:lnTo>
                    <a:pt x="97" y="47"/>
                  </a:lnTo>
                  <a:lnTo>
                    <a:pt x="100" y="46"/>
                  </a:lnTo>
                  <a:lnTo>
                    <a:pt x="102" y="44"/>
                  </a:lnTo>
                  <a:lnTo>
                    <a:pt x="104" y="42"/>
                  </a:lnTo>
                  <a:lnTo>
                    <a:pt x="105" y="40"/>
                  </a:lnTo>
                  <a:lnTo>
                    <a:pt x="106" y="36"/>
                  </a:lnTo>
                  <a:lnTo>
                    <a:pt x="106" y="34"/>
                  </a:lnTo>
                  <a:lnTo>
                    <a:pt x="106" y="27"/>
                  </a:lnTo>
                  <a:lnTo>
                    <a:pt x="104" y="20"/>
                  </a:lnTo>
                  <a:lnTo>
                    <a:pt x="102" y="14"/>
                  </a:lnTo>
                  <a:lnTo>
                    <a:pt x="97" y="10"/>
                  </a:lnTo>
                  <a:lnTo>
                    <a:pt x="93" y="6"/>
                  </a:lnTo>
                  <a:lnTo>
                    <a:pt x="89" y="4"/>
                  </a:lnTo>
                  <a:lnTo>
                    <a:pt x="85" y="2"/>
                  </a:lnTo>
                  <a:lnTo>
                    <a:pt x="79" y="1"/>
                  </a:lnTo>
                  <a:lnTo>
                    <a:pt x="69" y="0"/>
                  </a:lnTo>
                  <a:lnTo>
                    <a:pt x="58" y="0"/>
                  </a:lnTo>
                  <a:lnTo>
                    <a:pt x="54" y="0"/>
                  </a:lnTo>
                  <a:lnTo>
                    <a:pt x="48" y="0"/>
                  </a:lnTo>
                  <a:lnTo>
                    <a:pt x="37" y="0"/>
                  </a:lnTo>
                  <a:lnTo>
                    <a:pt x="28" y="1"/>
                  </a:lnTo>
                  <a:lnTo>
                    <a:pt x="22" y="2"/>
                  </a:lnTo>
                  <a:lnTo>
                    <a:pt x="18" y="4"/>
                  </a:lnTo>
                  <a:lnTo>
                    <a:pt x="14" y="6"/>
                  </a:lnTo>
                  <a:lnTo>
                    <a:pt x="10" y="10"/>
                  </a:lnTo>
                  <a:lnTo>
                    <a:pt x="5" y="14"/>
                  </a:lnTo>
                  <a:lnTo>
                    <a:pt x="3" y="20"/>
                  </a:lnTo>
                  <a:lnTo>
                    <a:pt x="1" y="27"/>
                  </a:lnTo>
                  <a:lnTo>
                    <a:pt x="0" y="34"/>
                  </a:lnTo>
                  <a:lnTo>
                    <a:pt x="1" y="36"/>
                  </a:lnTo>
                  <a:lnTo>
                    <a:pt x="2" y="40"/>
                  </a:lnTo>
                  <a:lnTo>
                    <a:pt x="3" y="42"/>
                  </a:lnTo>
                  <a:lnTo>
                    <a:pt x="5" y="44"/>
                  </a:lnTo>
                  <a:lnTo>
                    <a:pt x="7" y="46"/>
                  </a:lnTo>
                  <a:lnTo>
                    <a:pt x="10" y="47"/>
                  </a:lnTo>
                  <a:lnTo>
                    <a:pt x="13" y="48"/>
                  </a:ln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202">
              <a:extLst>
                <a:ext uri="{FF2B5EF4-FFF2-40B4-BE49-F238E27FC236}">
                  <a16:creationId xmlns:a16="http://schemas.microsoft.com/office/drawing/2014/main" id="{BC1CA53C-F155-438D-8696-DB9BC956C736}"/>
                </a:ext>
              </a:extLst>
            </p:cNvPr>
            <p:cNvSpPr>
              <a:spLocks/>
            </p:cNvSpPr>
            <p:nvPr/>
          </p:nvSpPr>
          <p:spPr bwMode="auto">
            <a:xfrm>
              <a:off x="4468813" y="3730625"/>
              <a:ext cx="34925" cy="15875"/>
            </a:xfrm>
            <a:custGeom>
              <a:avLst/>
              <a:gdLst>
                <a:gd name="T0" fmla="*/ 53 w 106"/>
                <a:gd name="T1" fmla="*/ 0 h 49"/>
                <a:gd name="T2" fmla="*/ 38 w 106"/>
                <a:gd name="T3" fmla="*/ 0 h 49"/>
                <a:gd name="T4" fmla="*/ 22 w 106"/>
                <a:gd name="T5" fmla="*/ 2 h 49"/>
                <a:gd name="T6" fmla="*/ 13 w 106"/>
                <a:gd name="T7" fmla="*/ 6 h 49"/>
                <a:gd name="T8" fmla="*/ 6 w 106"/>
                <a:gd name="T9" fmla="*/ 14 h 49"/>
                <a:gd name="T10" fmla="*/ 1 w 106"/>
                <a:gd name="T11" fmla="*/ 27 h 49"/>
                <a:gd name="T12" fmla="*/ 0 w 106"/>
                <a:gd name="T13" fmla="*/ 36 h 49"/>
                <a:gd name="T14" fmla="*/ 2 w 106"/>
                <a:gd name="T15" fmla="*/ 42 h 49"/>
                <a:gd name="T16" fmla="*/ 7 w 106"/>
                <a:gd name="T17" fmla="*/ 46 h 49"/>
                <a:gd name="T18" fmla="*/ 12 w 106"/>
                <a:gd name="T19" fmla="*/ 48 h 49"/>
                <a:gd name="T20" fmla="*/ 18 w 106"/>
                <a:gd name="T21" fmla="*/ 48 h 49"/>
                <a:gd name="T22" fmla="*/ 24 w 106"/>
                <a:gd name="T23" fmla="*/ 46 h 49"/>
                <a:gd name="T24" fmla="*/ 28 w 106"/>
                <a:gd name="T25" fmla="*/ 42 h 49"/>
                <a:gd name="T26" fmla="*/ 30 w 106"/>
                <a:gd name="T27" fmla="*/ 36 h 49"/>
                <a:gd name="T28" fmla="*/ 30 w 106"/>
                <a:gd name="T29" fmla="*/ 32 h 49"/>
                <a:gd name="T30" fmla="*/ 38 w 106"/>
                <a:gd name="T31" fmla="*/ 30 h 49"/>
                <a:gd name="T32" fmla="*/ 53 w 106"/>
                <a:gd name="T33" fmla="*/ 30 h 49"/>
                <a:gd name="T34" fmla="*/ 69 w 106"/>
                <a:gd name="T35" fmla="*/ 30 h 49"/>
                <a:gd name="T36" fmla="*/ 76 w 106"/>
                <a:gd name="T37" fmla="*/ 31 h 49"/>
                <a:gd name="T38" fmla="*/ 76 w 106"/>
                <a:gd name="T39" fmla="*/ 36 h 49"/>
                <a:gd name="T40" fmla="*/ 78 w 106"/>
                <a:gd name="T41" fmla="*/ 42 h 49"/>
                <a:gd name="T42" fmla="*/ 83 w 106"/>
                <a:gd name="T43" fmla="*/ 46 h 49"/>
                <a:gd name="T44" fmla="*/ 88 w 106"/>
                <a:gd name="T45" fmla="*/ 48 h 49"/>
                <a:gd name="T46" fmla="*/ 94 w 106"/>
                <a:gd name="T47" fmla="*/ 48 h 49"/>
                <a:gd name="T48" fmla="*/ 100 w 106"/>
                <a:gd name="T49" fmla="*/ 46 h 49"/>
                <a:gd name="T50" fmla="*/ 103 w 106"/>
                <a:gd name="T51" fmla="*/ 42 h 49"/>
                <a:gd name="T52" fmla="*/ 105 w 106"/>
                <a:gd name="T53" fmla="*/ 36 h 49"/>
                <a:gd name="T54" fmla="*/ 105 w 106"/>
                <a:gd name="T55" fmla="*/ 27 h 49"/>
                <a:gd name="T56" fmla="*/ 101 w 106"/>
                <a:gd name="T57" fmla="*/ 14 h 49"/>
                <a:gd name="T58" fmla="*/ 93 w 106"/>
                <a:gd name="T59" fmla="*/ 6 h 49"/>
                <a:gd name="T60" fmla="*/ 84 w 106"/>
                <a:gd name="T61" fmla="*/ 2 h 49"/>
                <a:gd name="T62" fmla="*/ 69 w 106"/>
                <a:gd name="T6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58" y="0"/>
                  </a:moveTo>
                  <a:lnTo>
                    <a:pt x="53" y="0"/>
                  </a:lnTo>
                  <a:lnTo>
                    <a:pt x="48" y="0"/>
                  </a:lnTo>
                  <a:lnTo>
                    <a:pt x="38" y="0"/>
                  </a:lnTo>
                  <a:lnTo>
                    <a:pt x="27" y="1"/>
                  </a:lnTo>
                  <a:lnTo>
                    <a:pt x="22" y="2"/>
                  </a:lnTo>
                  <a:lnTo>
                    <a:pt x="17" y="4"/>
                  </a:lnTo>
                  <a:lnTo>
                    <a:pt x="13" y="6"/>
                  </a:lnTo>
                  <a:lnTo>
                    <a:pt x="9" y="10"/>
                  </a:lnTo>
                  <a:lnTo>
                    <a:pt x="6" y="14"/>
                  </a:lnTo>
                  <a:lnTo>
                    <a:pt x="2" y="20"/>
                  </a:lnTo>
                  <a:lnTo>
                    <a:pt x="1" y="27"/>
                  </a:lnTo>
                  <a:lnTo>
                    <a:pt x="0" y="34"/>
                  </a:lnTo>
                  <a:lnTo>
                    <a:pt x="0" y="36"/>
                  </a:lnTo>
                  <a:lnTo>
                    <a:pt x="1" y="40"/>
                  </a:lnTo>
                  <a:lnTo>
                    <a:pt x="2" y="42"/>
                  </a:lnTo>
                  <a:lnTo>
                    <a:pt x="4" y="44"/>
                  </a:lnTo>
                  <a:lnTo>
                    <a:pt x="7" y="46"/>
                  </a:lnTo>
                  <a:lnTo>
                    <a:pt x="10" y="47"/>
                  </a:lnTo>
                  <a:lnTo>
                    <a:pt x="12" y="48"/>
                  </a:lnTo>
                  <a:lnTo>
                    <a:pt x="15" y="49"/>
                  </a:lnTo>
                  <a:lnTo>
                    <a:pt x="18" y="48"/>
                  </a:lnTo>
                  <a:lnTo>
                    <a:pt x="21" y="47"/>
                  </a:lnTo>
                  <a:lnTo>
                    <a:pt x="24" y="46"/>
                  </a:lnTo>
                  <a:lnTo>
                    <a:pt x="26" y="44"/>
                  </a:lnTo>
                  <a:lnTo>
                    <a:pt x="28" y="42"/>
                  </a:lnTo>
                  <a:lnTo>
                    <a:pt x="29" y="40"/>
                  </a:lnTo>
                  <a:lnTo>
                    <a:pt x="30" y="36"/>
                  </a:lnTo>
                  <a:lnTo>
                    <a:pt x="30" y="34"/>
                  </a:lnTo>
                  <a:lnTo>
                    <a:pt x="30" y="32"/>
                  </a:lnTo>
                  <a:lnTo>
                    <a:pt x="30" y="31"/>
                  </a:lnTo>
                  <a:lnTo>
                    <a:pt x="38" y="30"/>
                  </a:lnTo>
                  <a:lnTo>
                    <a:pt x="48" y="30"/>
                  </a:lnTo>
                  <a:lnTo>
                    <a:pt x="53" y="30"/>
                  </a:lnTo>
                  <a:lnTo>
                    <a:pt x="58" y="30"/>
                  </a:lnTo>
                  <a:lnTo>
                    <a:pt x="69" y="30"/>
                  </a:lnTo>
                  <a:lnTo>
                    <a:pt x="75" y="30"/>
                  </a:lnTo>
                  <a:lnTo>
                    <a:pt x="76" y="31"/>
                  </a:lnTo>
                  <a:lnTo>
                    <a:pt x="76" y="34"/>
                  </a:lnTo>
                  <a:lnTo>
                    <a:pt x="76" y="36"/>
                  </a:lnTo>
                  <a:lnTo>
                    <a:pt x="77" y="40"/>
                  </a:lnTo>
                  <a:lnTo>
                    <a:pt x="78" y="42"/>
                  </a:lnTo>
                  <a:lnTo>
                    <a:pt x="81" y="44"/>
                  </a:lnTo>
                  <a:lnTo>
                    <a:pt x="83" y="46"/>
                  </a:lnTo>
                  <a:lnTo>
                    <a:pt x="85" y="47"/>
                  </a:lnTo>
                  <a:lnTo>
                    <a:pt x="88" y="48"/>
                  </a:lnTo>
                  <a:lnTo>
                    <a:pt x="91" y="49"/>
                  </a:lnTo>
                  <a:lnTo>
                    <a:pt x="94" y="48"/>
                  </a:lnTo>
                  <a:lnTo>
                    <a:pt x="97" y="47"/>
                  </a:lnTo>
                  <a:lnTo>
                    <a:pt x="100" y="46"/>
                  </a:lnTo>
                  <a:lnTo>
                    <a:pt x="102" y="44"/>
                  </a:lnTo>
                  <a:lnTo>
                    <a:pt x="103" y="42"/>
                  </a:lnTo>
                  <a:lnTo>
                    <a:pt x="105" y="40"/>
                  </a:lnTo>
                  <a:lnTo>
                    <a:pt x="105" y="36"/>
                  </a:lnTo>
                  <a:lnTo>
                    <a:pt x="106" y="34"/>
                  </a:lnTo>
                  <a:lnTo>
                    <a:pt x="105" y="27"/>
                  </a:lnTo>
                  <a:lnTo>
                    <a:pt x="104" y="20"/>
                  </a:lnTo>
                  <a:lnTo>
                    <a:pt x="101" y="14"/>
                  </a:lnTo>
                  <a:lnTo>
                    <a:pt x="97" y="10"/>
                  </a:lnTo>
                  <a:lnTo>
                    <a:pt x="93" y="6"/>
                  </a:lnTo>
                  <a:lnTo>
                    <a:pt x="89" y="3"/>
                  </a:lnTo>
                  <a:lnTo>
                    <a:pt x="84" y="2"/>
                  </a:lnTo>
                  <a:lnTo>
                    <a:pt x="79" y="1"/>
                  </a:lnTo>
                  <a:lnTo>
                    <a:pt x="69"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9" name="Group 20">
            <a:extLst>
              <a:ext uri="{FF2B5EF4-FFF2-40B4-BE49-F238E27FC236}">
                <a16:creationId xmlns:a16="http://schemas.microsoft.com/office/drawing/2014/main" id="{D3224717-05B0-49D1-A897-C8A176E3F00F}"/>
              </a:ext>
            </a:extLst>
          </p:cNvPr>
          <p:cNvGrpSpPr>
            <a:grpSpLocks noChangeAspect="1"/>
          </p:cNvGrpSpPr>
          <p:nvPr/>
        </p:nvGrpSpPr>
        <p:grpSpPr>
          <a:xfrm>
            <a:off x="6186633" y="2724897"/>
            <a:ext cx="285619" cy="285619"/>
            <a:chOff x="4319588" y="1916113"/>
            <a:chExt cx="285750" cy="285750"/>
          </a:xfrm>
          <a:solidFill>
            <a:schemeClr val="bg1"/>
          </a:solidFill>
          <a:effectLst/>
        </p:grpSpPr>
        <p:sp>
          <p:nvSpPr>
            <p:cNvPr id="710" name="Freeform 7">
              <a:extLst>
                <a:ext uri="{FF2B5EF4-FFF2-40B4-BE49-F238E27FC236}">
                  <a16:creationId xmlns:a16="http://schemas.microsoft.com/office/drawing/2014/main" id="{164A5FAB-B486-47F3-8B8D-EB2F6B606BDA}"/>
                </a:ext>
              </a:extLst>
            </p:cNvPr>
            <p:cNvSpPr>
              <a:spLocks noEditPoints="1"/>
            </p:cNvSpPr>
            <p:nvPr/>
          </p:nvSpPr>
          <p:spPr bwMode="auto">
            <a:xfrm>
              <a:off x="4529138" y="2011363"/>
              <a:ext cx="57150" cy="57150"/>
            </a:xfrm>
            <a:custGeom>
              <a:avLst/>
              <a:gdLst>
                <a:gd name="T0" fmla="*/ 102 w 180"/>
                <a:gd name="T1" fmla="*/ 31 h 180"/>
                <a:gd name="T2" fmla="*/ 119 w 180"/>
                <a:gd name="T3" fmla="*/ 36 h 180"/>
                <a:gd name="T4" fmla="*/ 133 w 180"/>
                <a:gd name="T5" fmla="*/ 47 h 180"/>
                <a:gd name="T6" fmla="*/ 142 w 180"/>
                <a:gd name="T7" fmla="*/ 61 h 180"/>
                <a:gd name="T8" fmla="*/ 149 w 180"/>
                <a:gd name="T9" fmla="*/ 77 h 180"/>
                <a:gd name="T10" fmla="*/ 150 w 180"/>
                <a:gd name="T11" fmla="*/ 95 h 180"/>
                <a:gd name="T12" fmla="*/ 146 w 180"/>
                <a:gd name="T13" fmla="*/ 113 h 180"/>
                <a:gd name="T14" fmla="*/ 136 w 180"/>
                <a:gd name="T15" fmla="*/ 127 h 180"/>
                <a:gd name="T16" fmla="*/ 124 w 180"/>
                <a:gd name="T17" fmla="*/ 139 h 180"/>
                <a:gd name="T18" fmla="*/ 108 w 180"/>
                <a:gd name="T19" fmla="*/ 147 h 180"/>
                <a:gd name="T20" fmla="*/ 90 w 180"/>
                <a:gd name="T21" fmla="*/ 150 h 180"/>
                <a:gd name="T22" fmla="*/ 73 w 180"/>
                <a:gd name="T23" fmla="*/ 147 h 180"/>
                <a:gd name="T24" fmla="*/ 57 w 180"/>
                <a:gd name="T25" fmla="*/ 139 h 180"/>
                <a:gd name="T26" fmla="*/ 44 w 180"/>
                <a:gd name="T27" fmla="*/ 127 h 180"/>
                <a:gd name="T28" fmla="*/ 34 w 180"/>
                <a:gd name="T29" fmla="*/ 113 h 180"/>
                <a:gd name="T30" fmla="*/ 30 w 180"/>
                <a:gd name="T31" fmla="*/ 96 h 180"/>
                <a:gd name="T32" fmla="*/ 31 w 180"/>
                <a:gd name="T33" fmla="*/ 77 h 180"/>
                <a:gd name="T34" fmla="*/ 37 w 180"/>
                <a:gd name="T35" fmla="*/ 61 h 180"/>
                <a:gd name="T36" fmla="*/ 48 w 180"/>
                <a:gd name="T37" fmla="*/ 47 h 180"/>
                <a:gd name="T38" fmla="*/ 61 w 180"/>
                <a:gd name="T39" fmla="*/ 36 h 180"/>
                <a:gd name="T40" fmla="*/ 78 w 180"/>
                <a:gd name="T41" fmla="*/ 31 h 180"/>
                <a:gd name="T42" fmla="*/ 90 w 180"/>
                <a:gd name="T43" fmla="*/ 180 h 180"/>
                <a:gd name="T44" fmla="*/ 117 w 180"/>
                <a:gd name="T45" fmla="*/ 176 h 180"/>
                <a:gd name="T46" fmla="*/ 140 w 180"/>
                <a:gd name="T47" fmla="*/ 165 h 180"/>
                <a:gd name="T48" fmla="*/ 160 w 180"/>
                <a:gd name="T49" fmla="*/ 147 h 180"/>
                <a:gd name="T50" fmla="*/ 173 w 180"/>
                <a:gd name="T51" fmla="*/ 125 h 180"/>
                <a:gd name="T52" fmla="*/ 180 w 180"/>
                <a:gd name="T53" fmla="*/ 98 h 180"/>
                <a:gd name="T54" fmla="*/ 179 w 180"/>
                <a:gd name="T55" fmla="*/ 72 h 180"/>
                <a:gd name="T56" fmla="*/ 169 w 180"/>
                <a:gd name="T57" fmla="*/ 47 h 180"/>
                <a:gd name="T58" fmla="*/ 154 w 180"/>
                <a:gd name="T59" fmla="*/ 25 h 180"/>
                <a:gd name="T60" fmla="*/ 133 w 180"/>
                <a:gd name="T61" fmla="*/ 10 h 180"/>
                <a:gd name="T62" fmla="*/ 108 w 180"/>
                <a:gd name="T63" fmla="*/ 1 h 180"/>
                <a:gd name="T64" fmla="*/ 81 w 180"/>
                <a:gd name="T65" fmla="*/ 0 h 180"/>
                <a:gd name="T66" fmla="*/ 54 w 180"/>
                <a:gd name="T67" fmla="*/ 6 h 180"/>
                <a:gd name="T68" fmla="*/ 33 w 180"/>
                <a:gd name="T69" fmla="*/ 20 h 180"/>
                <a:gd name="T70" fmla="*/ 15 w 180"/>
                <a:gd name="T71" fmla="*/ 39 h 180"/>
                <a:gd name="T72" fmla="*/ 4 w 180"/>
                <a:gd name="T73" fmla="*/ 63 h 180"/>
                <a:gd name="T74" fmla="*/ 0 w 180"/>
                <a:gd name="T75" fmla="*/ 90 h 180"/>
                <a:gd name="T76" fmla="*/ 4 w 180"/>
                <a:gd name="T77" fmla="*/ 117 h 180"/>
                <a:gd name="T78" fmla="*/ 15 w 180"/>
                <a:gd name="T79" fmla="*/ 140 h 180"/>
                <a:gd name="T80" fmla="*/ 33 w 180"/>
                <a:gd name="T81" fmla="*/ 160 h 180"/>
                <a:gd name="T82" fmla="*/ 54 w 180"/>
                <a:gd name="T83" fmla="*/ 172 h 180"/>
                <a:gd name="T84" fmla="*/ 81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6" y="30"/>
                  </a:lnTo>
                  <a:lnTo>
                    <a:pt x="102" y="31"/>
                  </a:lnTo>
                  <a:lnTo>
                    <a:pt x="108" y="32"/>
                  </a:lnTo>
                  <a:lnTo>
                    <a:pt x="113" y="34"/>
                  </a:lnTo>
                  <a:lnTo>
                    <a:pt x="119" y="36"/>
                  </a:lnTo>
                  <a:lnTo>
                    <a:pt x="124" y="39"/>
                  </a:lnTo>
                  <a:lnTo>
                    <a:pt x="128" y="43"/>
                  </a:lnTo>
                  <a:lnTo>
                    <a:pt x="133" y="47"/>
                  </a:lnTo>
                  <a:lnTo>
                    <a:pt x="136" y="51"/>
                  </a:lnTo>
                  <a:lnTo>
                    <a:pt x="140" y="56"/>
                  </a:lnTo>
                  <a:lnTo>
                    <a:pt x="142" y="61"/>
                  </a:lnTo>
                  <a:lnTo>
                    <a:pt x="146" y="66"/>
                  </a:lnTo>
                  <a:lnTo>
                    <a:pt x="148" y="72"/>
                  </a:lnTo>
                  <a:lnTo>
                    <a:pt x="149" y="77"/>
                  </a:lnTo>
                  <a:lnTo>
                    <a:pt x="150" y="83"/>
                  </a:lnTo>
                  <a:lnTo>
                    <a:pt x="150" y="90"/>
                  </a:lnTo>
                  <a:lnTo>
                    <a:pt x="150" y="95"/>
                  </a:lnTo>
                  <a:lnTo>
                    <a:pt x="149" y="102"/>
                  </a:lnTo>
                  <a:lnTo>
                    <a:pt x="148" y="107"/>
                  </a:lnTo>
                  <a:lnTo>
                    <a:pt x="146" y="113"/>
                  </a:lnTo>
                  <a:lnTo>
                    <a:pt x="142" y="118"/>
                  </a:lnTo>
                  <a:lnTo>
                    <a:pt x="140" y="123"/>
                  </a:lnTo>
                  <a:lnTo>
                    <a:pt x="136" y="127"/>
                  </a:lnTo>
                  <a:lnTo>
                    <a:pt x="133" y="132"/>
                  </a:lnTo>
                  <a:lnTo>
                    <a:pt x="128" y="136"/>
                  </a:lnTo>
                  <a:lnTo>
                    <a:pt x="124" y="139"/>
                  </a:lnTo>
                  <a:lnTo>
                    <a:pt x="119" y="142"/>
                  </a:lnTo>
                  <a:lnTo>
                    <a:pt x="113" y="144"/>
                  </a:lnTo>
                  <a:lnTo>
                    <a:pt x="108" y="147"/>
                  </a:lnTo>
                  <a:lnTo>
                    <a:pt x="102" y="149"/>
                  </a:lnTo>
                  <a:lnTo>
                    <a:pt x="96" y="150"/>
                  </a:lnTo>
                  <a:lnTo>
                    <a:pt x="90" y="150"/>
                  </a:lnTo>
                  <a:lnTo>
                    <a:pt x="83" y="150"/>
                  </a:lnTo>
                  <a:lnTo>
                    <a:pt x="78" y="149"/>
                  </a:lnTo>
                  <a:lnTo>
                    <a:pt x="73" y="147"/>
                  </a:lnTo>
                  <a:lnTo>
                    <a:pt x="66" y="144"/>
                  </a:lnTo>
                  <a:lnTo>
                    <a:pt x="61" y="142"/>
                  </a:lnTo>
                  <a:lnTo>
                    <a:pt x="57" y="139"/>
                  </a:lnTo>
                  <a:lnTo>
                    <a:pt x="52" y="136"/>
                  </a:lnTo>
                  <a:lnTo>
                    <a:pt x="48" y="132"/>
                  </a:lnTo>
                  <a:lnTo>
                    <a:pt x="44" y="127"/>
                  </a:lnTo>
                  <a:lnTo>
                    <a:pt x="41" y="123"/>
                  </a:lnTo>
                  <a:lnTo>
                    <a:pt x="37" y="118"/>
                  </a:lnTo>
                  <a:lnTo>
                    <a:pt x="34" y="113"/>
                  </a:lnTo>
                  <a:lnTo>
                    <a:pt x="33" y="107"/>
                  </a:lnTo>
                  <a:lnTo>
                    <a:pt x="31" y="102"/>
                  </a:lnTo>
                  <a:lnTo>
                    <a:pt x="30" y="96"/>
                  </a:lnTo>
                  <a:lnTo>
                    <a:pt x="30" y="90"/>
                  </a:lnTo>
                  <a:lnTo>
                    <a:pt x="30" y="83"/>
                  </a:lnTo>
                  <a:lnTo>
                    <a:pt x="31" y="77"/>
                  </a:lnTo>
                  <a:lnTo>
                    <a:pt x="33" y="72"/>
                  </a:lnTo>
                  <a:lnTo>
                    <a:pt x="34" y="66"/>
                  </a:lnTo>
                  <a:lnTo>
                    <a:pt x="37" y="61"/>
                  </a:lnTo>
                  <a:lnTo>
                    <a:pt x="41" y="56"/>
                  </a:lnTo>
                  <a:lnTo>
                    <a:pt x="44" y="51"/>
                  </a:lnTo>
                  <a:lnTo>
                    <a:pt x="48" y="47"/>
                  </a:lnTo>
                  <a:lnTo>
                    <a:pt x="52" y="43"/>
                  </a:lnTo>
                  <a:lnTo>
                    <a:pt x="57" y="39"/>
                  </a:lnTo>
                  <a:lnTo>
                    <a:pt x="61" y="36"/>
                  </a:lnTo>
                  <a:lnTo>
                    <a:pt x="66" y="34"/>
                  </a:lnTo>
                  <a:lnTo>
                    <a:pt x="73" y="32"/>
                  </a:lnTo>
                  <a:lnTo>
                    <a:pt x="78" y="31"/>
                  </a:lnTo>
                  <a:lnTo>
                    <a:pt x="83" y="30"/>
                  </a:lnTo>
                  <a:lnTo>
                    <a:pt x="90" y="30"/>
                  </a:lnTo>
                  <a:close/>
                  <a:moveTo>
                    <a:pt x="90" y="180"/>
                  </a:moveTo>
                  <a:lnTo>
                    <a:pt x="99" y="180"/>
                  </a:lnTo>
                  <a:lnTo>
                    <a:pt x="108" y="178"/>
                  </a:lnTo>
                  <a:lnTo>
                    <a:pt x="117" y="176"/>
                  </a:lnTo>
                  <a:lnTo>
                    <a:pt x="125" y="172"/>
                  </a:lnTo>
                  <a:lnTo>
                    <a:pt x="133" y="169"/>
                  </a:lnTo>
                  <a:lnTo>
                    <a:pt x="140" y="165"/>
                  </a:lnTo>
                  <a:lnTo>
                    <a:pt x="148" y="160"/>
                  </a:lnTo>
                  <a:lnTo>
                    <a:pt x="154" y="153"/>
                  </a:lnTo>
                  <a:lnTo>
                    <a:pt x="160" y="147"/>
                  </a:lnTo>
                  <a:lnTo>
                    <a:pt x="165" y="140"/>
                  </a:lnTo>
                  <a:lnTo>
                    <a:pt x="169" y="133"/>
                  </a:lnTo>
                  <a:lnTo>
                    <a:pt x="173" y="125"/>
                  </a:lnTo>
                  <a:lnTo>
                    <a:pt x="177" y="117"/>
                  </a:lnTo>
                  <a:lnTo>
                    <a:pt x="179" y="108"/>
                  </a:lnTo>
                  <a:lnTo>
                    <a:pt x="180" y="98"/>
                  </a:lnTo>
                  <a:lnTo>
                    <a:pt x="180" y="90"/>
                  </a:lnTo>
                  <a:lnTo>
                    <a:pt x="180" y="80"/>
                  </a:lnTo>
                  <a:lnTo>
                    <a:pt x="179" y="72"/>
                  </a:lnTo>
                  <a:lnTo>
                    <a:pt x="177" y="63"/>
                  </a:lnTo>
                  <a:lnTo>
                    <a:pt x="173" y="54"/>
                  </a:lnTo>
                  <a:lnTo>
                    <a:pt x="169" y="47"/>
                  </a:lnTo>
                  <a:lnTo>
                    <a:pt x="165" y="39"/>
                  </a:lnTo>
                  <a:lnTo>
                    <a:pt x="160" y="32"/>
                  </a:lnTo>
                  <a:lnTo>
                    <a:pt x="154" y="25"/>
                  </a:lnTo>
                  <a:lnTo>
                    <a:pt x="148" y="20"/>
                  </a:lnTo>
                  <a:lnTo>
                    <a:pt x="140" y="15"/>
                  </a:lnTo>
                  <a:lnTo>
                    <a:pt x="133" y="10"/>
                  </a:lnTo>
                  <a:lnTo>
                    <a:pt x="125" y="6"/>
                  </a:lnTo>
                  <a:lnTo>
                    <a:pt x="117" y="3"/>
                  </a:lnTo>
                  <a:lnTo>
                    <a:pt x="108" y="1"/>
                  </a:lnTo>
                  <a:lnTo>
                    <a:pt x="99" y="0"/>
                  </a:lnTo>
                  <a:lnTo>
                    <a:pt x="90" y="0"/>
                  </a:lnTo>
                  <a:lnTo>
                    <a:pt x="81" y="0"/>
                  </a:lnTo>
                  <a:lnTo>
                    <a:pt x="72" y="1"/>
                  </a:lnTo>
                  <a:lnTo>
                    <a:pt x="63" y="3"/>
                  </a:lnTo>
                  <a:lnTo>
                    <a:pt x="54" y="6"/>
                  </a:lnTo>
                  <a:lnTo>
                    <a:pt x="47" y="10"/>
                  </a:lnTo>
                  <a:lnTo>
                    <a:pt x="39" y="15"/>
                  </a:lnTo>
                  <a:lnTo>
                    <a:pt x="33" y="20"/>
                  </a:lnTo>
                  <a:lnTo>
                    <a:pt x="27" y="25"/>
                  </a:lnTo>
                  <a:lnTo>
                    <a:pt x="20" y="32"/>
                  </a:lnTo>
                  <a:lnTo>
                    <a:pt x="15" y="39"/>
                  </a:lnTo>
                  <a:lnTo>
                    <a:pt x="10" y="47"/>
                  </a:lnTo>
                  <a:lnTo>
                    <a:pt x="7" y="54"/>
                  </a:lnTo>
                  <a:lnTo>
                    <a:pt x="4" y="63"/>
                  </a:lnTo>
                  <a:lnTo>
                    <a:pt x="2" y="72"/>
                  </a:lnTo>
                  <a:lnTo>
                    <a:pt x="0" y="80"/>
                  </a:lnTo>
                  <a:lnTo>
                    <a:pt x="0" y="90"/>
                  </a:lnTo>
                  <a:lnTo>
                    <a:pt x="0" y="98"/>
                  </a:lnTo>
                  <a:lnTo>
                    <a:pt x="2" y="108"/>
                  </a:lnTo>
                  <a:lnTo>
                    <a:pt x="4" y="117"/>
                  </a:lnTo>
                  <a:lnTo>
                    <a:pt x="7" y="125"/>
                  </a:lnTo>
                  <a:lnTo>
                    <a:pt x="10" y="133"/>
                  </a:lnTo>
                  <a:lnTo>
                    <a:pt x="15" y="140"/>
                  </a:lnTo>
                  <a:lnTo>
                    <a:pt x="20" y="147"/>
                  </a:lnTo>
                  <a:lnTo>
                    <a:pt x="27" y="153"/>
                  </a:lnTo>
                  <a:lnTo>
                    <a:pt x="33" y="160"/>
                  </a:lnTo>
                  <a:lnTo>
                    <a:pt x="39" y="165"/>
                  </a:lnTo>
                  <a:lnTo>
                    <a:pt x="47" y="169"/>
                  </a:lnTo>
                  <a:lnTo>
                    <a:pt x="54" y="172"/>
                  </a:lnTo>
                  <a:lnTo>
                    <a:pt x="63" y="176"/>
                  </a:lnTo>
                  <a:lnTo>
                    <a:pt x="72" y="178"/>
                  </a:lnTo>
                  <a:lnTo>
                    <a:pt x="81"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1" name="Freeform 8">
              <a:extLst>
                <a:ext uri="{FF2B5EF4-FFF2-40B4-BE49-F238E27FC236}">
                  <a16:creationId xmlns:a16="http://schemas.microsoft.com/office/drawing/2014/main" id="{41C79D28-2A3E-46AD-9FAE-9ED7D50ECEE3}"/>
                </a:ext>
              </a:extLst>
            </p:cNvPr>
            <p:cNvSpPr>
              <a:spLocks noEditPoints="1"/>
            </p:cNvSpPr>
            <p:nvPr/>
          </p:nvSpPr>
          <p:spPr bwMode="auto">
            <a:xfrm>
              <a:off x="4511675" y="2078038"/>
              <a:ext cx="93663" cy="123825"/>
            </a:xfrm>
            <a:custGeom>
              <a:avLst/>
              <a:gdLst>
                <a:gd name="T0" fmla="*/ 175 w 295"/>
                <a:gd name="T1" fmla="*/ 210 h 391"/>
                <a:gd name="T2" fmla="*/ 115 w 295"/>
                <a:gd name="T3" fmla="*/ 361 h 391"/>
                <a:gd name="T4" fmla="*/ 103 w 295"/>
                <a:gd name="T5" fmla="*/ 208 h 391"/>
                <a:gd name="T6" fmla="*/ 84 w 295"/>
                <a:gd name="T7" fmla="*/ 200 h 391"/>
                <a:gd name="T8" fmla="*/ 68 w 295"/>
                <a:gd name="T9" fmla="*/ 189 h 391"/>
                <a:gd name="T10" fmla="*/ 55 w 295"/>
                <a:gd name="T11" fmla="*/ 173 h 391"/>
                <a:gd name="T12" fmla="*/ 45 w 295"/>
                <a:gd name="T13" fmla="*/ 151 h 391"/>
                <a:gd name="T14" fmla="*/ 39 w 295"/>
                <a:gd name="T15" fmla="*/ 126 h 391"/>
                <a:gd name="T16" fmla="*/ 33 w 295"/>
                <a:gd name="T17" fmla="*/ 99 h 391"/>
                <a:gd name="T18" fmla="*/ 30 w 295"/>
                <a:gd name="T19" fmla="*/ 30 h 391"/>
                <a:gd name="T20" fmla="*/ 264 w 295"/>
                <a:gd name="T21" fmla="*/ 65 h 391"/>
                <a:gd name="T22" fmla="*/ 260 w 295"/>
                <a:gd name="T23" fmla="*/ 112 h 391"/>
                <a:gd name="T24" fmla="*/ 253 w 295"/>
                <a:gd name="T25" fmla="*/ 139 h 391"/>
                <a:gd name="T26" fmla="*/ 245 w 295"/>
                <a:gd name="T27" fmla="*/ 162 h 391"/>
                <a:gd name="T28" fmla="*/ 233 w 295"/>
                <a:gd name="T29" fmla="*/ 181 h 391"/>
                <a:gd name="T30" fmla="*/ 218 w 295"/>
                <a:gd name="T31" fmla="*/ 195 h 391"/>
                <a:gd name="T32" fmla="*/ 198 w 295"/>
                <a:gd name="T33" fmla="*/ 205 h 391"/>
                <a:gd name="T34" fmla="*/ 0 w 295"/>
                <a:gd name="T35" fmla="*/ 0 h 391"/>
                <a:gd name="T36" fmla="*/ 0 w 295"/>
                <a:gd name="T37" fmla="*/ 49 h 391"/>
                <a:gd name="T38" fmla="*/ 3 w 295"/>
                <a:gd name="T39" fmla="*/ 102 h 391"/>
                <a:gd name="T40" fmla="*/ 9 w 295"/>
                <a:gd name="T41" fmla="*/ 134 h 391"/>
                <a:gd name="T42" fmla="*/ 18 w 295"/>
                <a:gd name="T43" fmla="*/ 164 h 391"/>
                <a:gd name="T44" fmla="*/ 30 w 295"/>
                <a:gd name="T45" fmla="*/ 190 h 391"/>
                <a:gd name="T46" fmla="*/ 48 w 295"/>
                <a:gd name="T47" fmla="*/ 211 h 391"/>
                <a:gd name="T48" fmla="*/ 64 w 295"/>
                <a:gd name="T49" fmla="*/ 224 h 391"/>
                <a:gd name="T50" fmla="*/ 77 w 295"/>
                <a:gd name="T51" fmla="*/ 230 h 391"/>
                <a:gd name="T52" fmla="*/ 85 w 295"/>
                <a:gd name="T53" fmla="*/ 391 h 391"/>
                <a:gd name="T54" fmla="*/ 205 w 295"/>
                <a:gd name="T55" fmla="*/ 234 h 391"/>
                <a:gd name="T56" fmla="*/ 220 w 295"/>
                <a:gd name="T57" fmla="*/ 228 h 391"/>
                <a:gd name="T58" fmla="*/ 233 w 295"/>
                <a:gd name="T59" fmla="*/ 221 h 391"/>
                <a:gd name="T60" fmla="*/ 254 w 295"/>
                <a:gd name="T61" fmla="*/ 201 h 391"/>
                <a:gd name="T62" fmla="*/ 270 w 295"/>
                <a:gd name="T63" fmla="*/ 178 h 391"/>
                <a:gd name="T64" fmla="*/ 281 w 295"/>
                <a:gd name="T65" fmla="*/ 149 h 391"/>
                <a:gd name="T66" fmla="*/ 289 w 295"/>
                <a:gd name="T67" fmla="*/ 118 h 391"/>
                <a:gd name="T68" fmla="*/ 293 w 295"/>
                <a:gd name="T69" fmla="*/ 85 h 391"/>
                <a:gd name="T70" fmla="*/ 295 w 295"/>
                <a:gd name="T71" fmla="*/ 15 h 391"/>
                <a:gd name="T72" fmla="*/ 0 w 295"/>
                <a:gd name="T7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5" h="391">
                  <a:moveTo>
                    <a:pt x="187" y="208"/>
                  </a:moveTo>
                  <a:lnTo>
                    <a:pt x="175" y="210"/>
                  </a:lnTo>
                  <a:lnTo>
                    <a:pt x="175" y="361"/>
                  </a:lnTo>
                  <a:lnTo>
                    <a:pt x="115" y="361"/>
                  </a:lnTo>
                  <a:lnTo>
                    <a:pt x="115" y="210"/>
                  </a:lnTo>
                  <a:lnTo>
                    <a:pt x="103" y="208"/>
                  </a:lnTo>
                  <a:lnTo>
                    <a:pt x="92" y="205"/>
                  </a:lnTo>
                  <a:lnTo>
                    <a:pt x="84" y="200"/>
                  </a:lnTo>
                  <a:lnTo>
                    <a:pt x="75" y="195"/>
                  </a:lnTo>
                  <a:lnTo>
                    <a:pt x="68" y="189"/>
                  </a:lnTo>
                  <a:lnTo>
                    <a:pt x="61" y="181"/>
                  </a:lnTo>
                  <a:lnTo>
                    <a:pt x="55" y="173"/>
                  </a:lnTo>
                  <a:lnTo>
                    <a:pt x="49" y="162"/>
                  </a:lnTo>
                  <a:lnTo>
                    <a:pt x="45" y="151"/>
                  </a:lnTo>
                  <a:lnTo>
                    <a:pt x="42" y="139"/>
                  </a:lnTo>
                  <a:lnTo>
                    <a:pt x="39" y="126"/>
                  </a:lnTo>
                  <a:lnTo>
                    <a:pt x="35" y="112"/>
                  </a:lnTo>
                  <a:lnTo>
                    <a:pt x="33" y="99"/>
                  </a:lnTo>
                  <a:lnTo>
                    <a:pt x="31" y="66"/>
                  </a:lnTo>
                  <a:lnTo>
                    <a:pt x="30" y="30"/>
                  </a:lnTo>
                  <a:lnTo>
                    <a:pt x="265" y="30"/>
                  </a:lnTo>
                  <a:lnTo>
                    <a:pt x="264" y="65"/>
                  </a:lnTo>
                  <a:lnTo>
                    <a:pt x="262" y="99"/>
                  </a:lnTo>
                  <a:lnTo>
                    <a:pt x="260" y="112"/>
                  </a:lnTo>
                  <a:lnTo>
                    <a:pt x="256" y="126"/>
                  </a:lnTo>
                  <a:lnTo>
                    <a:pt x="253" y="139"/>
                  </a:lnTo>
                  <a:lnTo>
                    <a:pt x="249" y="151"/>
                  </a:lnTo>
                  <a:lnTo>
                    <a:pt x="245" y="162"/>
                  </a:lnTo>
                  <a:lnTo>
                    <a:pt x="239" y="173"/>
                  </a:lnTo>
                  <a:lnTo>
                    <a:pt x="233" y="181"/>
                  </a:lnTo>
                  <a:lnTo>
                    <a:pt x="225" y="189"/>
                  </a:lnTo>
                  <a:lnTo>
                    <a:pt x="218" y="195"/>
                  </a:lnTo>
                  <a:lnTo>
                    <a:pt x="208" y="200"/>
                  </a:lnTo>
                  <a:lnTo>
                    <a:pt x="198" y="205"/>
                  </a:lnTo>
                  <a:lnTo>
                    <a:pt x="187" y="208"/>
                  </a:lnTo>
                  <a:close/>
                  <a:moveTo>
                    <a:pt x="0" y="0"/>
                  </a:moveTo>
                  <a:lnTo>
                    <a:pt x="0" y="15"/>
                  </a:lnTo>
                  <a:lnTo>
                    <a:pt x="0" y="49"/>
                  </a:lnTo>
                  <a:lnTo>
                    <a:pt x="2" y="85"/>
                  </a:lnTo>
                  <a:lnTo>
                    <a:pt x="3" y="102"/>
                  </a:lnTo>
                  <a:lnTo>
                    <a:pt x="7" y="118"/>
                  </a:lnTo>
                  <a:lnTo>
                    <a:pt x="9" y="134"/>
                  </a:lnTo>
                  <a:lnTo>
                    <a:pt x="13" y="149"/>
                  </a:lnTo>
                  <a:lnTo>
                    <a:pt x="18" y="164"/>
                  </a:lnTo>
                  <a:lnTo>
                    <a:pt x="24" y="177"/>
                  </a:lnTo>
                  <a:lnTo>
                    <a:pt x="30" y="190"/>
                  </a:lnTo>
                  <a:lnTo>
                    <a:pt x="39" y="201"/>
                  </a:lnTo>
                  <a:lnTo>
                    <a:pt x="48" y="211"/>
                  </a:lnTo>
                  <a:lnTo>
                    <a:pt x="59" y="221"/>
                  </a:lnTo>
                  <a:lnTo>
                    <a:pt x="64" y="224"/>
                  </a:lnTo>
                  <a:lnTo>
                    <a:pt x="71" y="228"/>
                  </a:lnTo>
                  <a:lnTo>
                    <a:pt x="77" y="230"/>
                  </a:lnTo>
                  <a:lnTo>
                    <a:pt x="85" y="234"/>
                  </a:lnTo>
                  <a:lnTo>
                    <a:pt x="85" y="391"/>
                  </a:lnTo>
                  <a:lnTo>
                    <a:pt x="205" y="391"/>
                  </a:lnTo>
                  <a:lnTo>
                    <a:pt x="205" y="234"/>
                  </a:lnTo>
                  <a:lnTo>
                    <a:pt x="212" y="231"/>
                  </a:lnTo>
                  <a:lnTo>
                    <a:pt x="220" y="228"/>
                  </a:lnTo>
                  <a:lnTo>
                    <a:pt x="226" y="225"/>
                  </a:lnTo>
                  <a:lnTo>
                    <a:pt x="233" y="221"/>
                  </a:lnTo>
                  <a:lnTo>
                    <a:pt x="245" y="212"/>
                  </a:lnTo>
                  <a:lnTo>
                    <a:pt x="254" y="201"/>
                  </a:lnTo>
                  <a:lnTo>
                    <a:pt x="263" y="191"/>
                  </a:lnTo>
                  <a:lnTo>
                    <a:pt x="270" y="178"/>
                  </a:lnTo>
                  <a:lnTo>
                    <a:pt x="277" y="164"/>
                  </a:lnTo>
                  <a:lnTo>
                    <a:pt x="281" y="149"/>
                  </a:lnTo>
                  <a:lnTo>
                    <a:pt x="285" y="134"/>
                  </a:lnTo>
                  <a:lnTo>
                    <a:pt x="289" y="118"/>
                  </a:lnTo>
                  <a:lnTo>
                    <a:pt x="292" y="102"/>
                  </a:lnTo>
                  <a:lnTo>
                    <a:pt x="293" y="85"/>
                  </a:lnTo>
                  <a:lnTo>
                    <a:pt x="295" y="50"/>
                  </a:lnTo>
                  <a:lnTo>
                    <a:pt x="295" y="15"/>
                  </a:lnTo>
                  <a:lnTo>
                    <a:pt x="29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2" name="Freeform 9">
              <a:extLst>
                <a:ext uri="{FF2B5EF4-FFF2-40B4-BE49-F238E27FC236}">
                  <a16:creationId xmlns:a16="http://schemas.microsoft.com/office/drawing/2014/main" id="{D45A3292-3ABF-4EC8-A0CD-927BB908E3C8}"/>
                </a:ext>
              </a:extLst>
            </p:cNvPr>
            <p:cNvSpPr>
              <a:spLocks noEditPoints="1"/>
            </p:cNvSpPr>
            <p:nvPr/>
          </p:nvSpPr>
          <p:spPr bwMode="auto">
            <a:xfrm>
              <a:off x="4433888" y="1916113"/>
              <a:ext cx="57150" cy="57150"/>
            </a:xfrm>
            <a:custGeom>
              <a:avLst/>
              <a:gdLst>
                <a:gd name="T0" fmla="*/ 103 w 182"/>
                <a:gd name="T1" fmla="*/ 31 h 180"/>
                <a:gd name="T2" fmla="*/ 120 w 182"/>
                <a:gd name="T3" fmla="*/ 37 h 180"/>
                <a:gd name="T4" fmla="*/ 133 w 182"/>
                <a:gd name="T5" fmla="*/ 48 h 180"/>
                <a:gd name="T6" fmla="*/ 144 w 182"/>
                <a:gd name="T7" fmla="*/ 61 h 180"/>
                <a:gd name="T8" fmla="*/ 151 w 182"/>
                <a:gd name="T9" fmla="*/ 78 h 180"/>
                <a:gd name="T10" fmla="*/ 151 w 182"/>
                <a:gd name="T11" fmla="*/ 96 h 180"/>
                <a:gd name="T12" fmla="*/ 146 w 182"/>
                <a:gd name="T13" fmla="*/ 113 h 180"/>
                <a:gd name="T14" fmla="*/ 138 w 182"/>
                <a:gd name="T15" fmla="*/ 128 h 180"/>
                <a:gd name="T16" fmla="*/ 125 w 182"/>
                <a:gd name="T17" fmla="*/ 140 h 180"/>
                <a:gd name="T18" fmla="*/ 109 w 182"/>
                <a:gd name="T19" fmla="*/ 147 h 180"/>
                <a:gd name="T20" fmla="*/ 92 w 182"/>
                <a:gd name="T21" fmla="*/ 150 h 180"/>
                <a:gd name="T22" fmla="*/ 73 w 182"/>
                <a:gd name="T23" fmla="*/ 147 h 180"/>
                <a:gd name="T24" fmla="*/ 57 w 182"/>
                <a:gd name="T25" fmla="*/ 140 h 180"/>
                <a:gd name="T26" fmla="*/ 44 w 182"/>
                <a:gd name="T27" fmla="*/ 128 h 180"/>
                <a:gd name="T28" fmla="*/ 36 w 182"/>
                <a:gd name="T29" fmla="*/ 113 h 180"/>
                <a:gd name="T30" fmla="*/ 32 w 182"/>
                <a:gd name="T31" fmla="*/ 96 h 180"/>
                <a:gd name="T32" fmla="*/ 33 w 182"/>
                <a:gd name="T33" fmla="*/ 78 h 180"/>
                <a:gd name="T34" fmla="*/ 38 w 182"/>
                <a:gd name="T35" fmla="*/ 61 h 180"/>
                <a:gd name="T36" fmla="*/ 49 w 182"/>
                <a:gd name="T37" fmla="*/ 48 h 180"/>
                <a:gd name="T38" fmla="*/ 63 w 182"/>
                <a:gd name="T39" fmla="*/ 37 h 180"/>
                <a:gd name="T40" fmla="*/ 79 w 182"/>
                <a:gd name="T41" fmla="*/ 31 h 180"/>
                <a:gd name="T42" fmla="*/ 92 w 182"/>
                <a:gd name="T43" fmla="*/ 180 h 180"/>
                <a:gd name="T44" fmla="*/ 118 w 182"/>
                <a:gd name="T45" fmla="*/ 176 h 180"/>
                <a:gd name="T46" fmla="*/ 142 w 182"/>
                <a:gd name="T47" fmla="*/ 165 h 180"/>
                <a:gd name="T48" fmla="*/ 161 w 182"/>
                <a:gd name="T49" fmla="*/ 147 h 180"/>
                <a:gd name="T50" fmla="*/ 174 w 182"/>
                <a:gd name="T51" fmla="*/ 125 h 180"/>
                <a:gd name="T52" fmla="*/ 181 w 182"/>
                <a:gd name="T53" fmla="*/ 99 h 180"/>
                <a:gd name="T54" fmla="*/ 180 w 182"/>
                <a:gd name="T55" fmla="*/ 71 h 180"/>
                <a:gd name="T56" fmla="*/ 171 w 182"/>
                <a:gd name="T57" fmla="*/ 47 h 180"/>
                <a:gd name="T58" fmla="*/ 155 w 182"/>
                <a:gd name="T59" fmla="*/ 26 h 180"/>
                <a:gd name="T60" fmla="*/ 135 w 182"/>
                <a:gd name="T61" fmla="*/ 10 h 180"/>
                <a:gd name="T62" fmla="*/ 110 w 182"/>
                <a:gd name="T63" fmla="*/ 2 h 180"/>
                <a:gd name="T64" fmla="*/ 82 w 182"/>
                <a:gd name="T65" fmla="*/ 1 h 180"/>
                <a:gd name="T66" fmla="*/ 56 w 182"/>
                <a:gd name="T67" fmla="*/ 7 h 180"/>
                <a:gd name="T68" fmla="*/ 34 w 182"/>
                <a:gd name="T69" fmla="*/ 20 h 180"/>
                <a:gd name="T70" fmla="*/ 17 w 182"/>
                <a:gd name="T71" fmla="*/ 39 h 180"/>
                <a:gd name="T72" fmla="*/ 5 w 182"/>
                <a:gd name="T73" fmla="*/ 63 h 180"/>
                <a:gd name="T74" fmla="*/ 0 w 182"/>
                <a:gd name="T75" fmla="*/ 90 h 180"/>
                <a:gd name="T76" fmla="*/ 5 w 182"/>
                <a:gd name="T77" fmla="*/ 116 h 180"/>
                <a:gd name="T78" fmla="*/ 17 w 182"/>
                <a:gd name="T79" fmla="*/ 140 h 180"/>
                <a:gd name="T80" fmla="*/ 34 w 182"/>
                <a:gd name="T81" fmla="*/ 159 h 180"/>
                <a:gd name="T82" fmla="*/ 56 w 182"/>
                <a:gd name="T83" fmla="*/ 173 h 180"/>
                <a:gd name="T84" fmla="*/ 82 w 182"/>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 h="180">
                  <a:moveTo>
                    <a:pt x="92" y="30"/>
                  </a:moveTo>
                  <a:lnTo>
                    <a:pt x="97" y="30"/>
                  </a:lnTo>
                  <a:lnTo>
                    <a:pt x="103" y="31"/>
                  </a:lnTo>
                  <a:lnTo>
                    <a:pt x="109" y="33"/>
                  </a:lnTo>
                  <a:lnTo>
                    <a:pt x="114" y="35"/>
                  </a:lnTo>
                  <a:lnTo>
                    <a:pt x="120" y="37"/>
                  </a:lnTo>
                  <a:lnTo>
                    <a:pt x="125" y="40"/>
                  </a:lnTo>
                  <a:lnTo>
                    <a:pt x="129" y="43"/>
                  </a:lnTo>
                  <a:lnTo>
                    <a:pt x="133" y="48"/>
                  </a:lnTo>
                  <a:lnTo>
                    <a:pt x="138" y="52"/>
                  </a:lnTo>
                  <a:lnTo>
                    <a:pt x="141" y="56"/>
                  </a:lnTo>
                  <a:lnTo>
                    <a:pt x="144" y="61"/>
                  </a:lnTo>
                  <a:lnTo>
                    <a:pt x="146" y="66"/>
                  </a:lnTo>
                  <a:lnTo>
                    <a:pt x="148" y="72"/>
                  </a:lnTo>
                  <a:lnTo>
                    <a:pt x="151" y="78"/>
                  </a:lnTo>
                  <a:lnTo>
                    <a:pt x="151" y="84"/>
                  </a:lnTo>
                  <a:lnTo>
                    <a:pt x="152" y="90"/>
                  </a:lnTo>
                  <a:lnTo>
                    <a:pt x="151" y="96"/>
                  </a:lnTo>
                  <a:lnTo>
                    <a:pt x="151" y="102"/>
                  </a:lnTo>
                  <a:lnTo>
                    <a:pt x="148" y="108"/>
                  </a:lnTo>
                  <a:lnTo>
                    <a:pt x="146" y="113"/>
                  </a:lnTo>
                  <a:lnTo>
                    <a:pt x="144" y="119"/>
                  </a:lnTo>
                  <a:lnTo>
                    <a:pt x="141" y="124"/>
                  </a:lnTo>
                  <a:lnTo>
                    <a:pt x="138" y="128"/>
                  </a:lnTo>
                  <a:lnTo>
                    <a:pt x="133" y="132"/>
                  </a:lnTo>
                  <a:lnTo>
                    <a:pt x="129" y="136"/>
                  </a:lnTo>
                  <a:lnTo>
                    <a:pt x="125" y="140"/>
                  </a:lnTo>
                  <a:lnTo>
                    <a:pt x="120" y="143"/>
                  </a:lnTo>
                  <a:lnTo>
                    <a:pt x="114" y="145"/>
                  </a:lnTo>
                  <a:lnTo>
                    <a:pt x="109" y="147"/>
                  </a:lnTo>
                  <a:lnTo>
                    <a:pt x="103" y="149"/>
                  </a:lnTo>
                  <a:lnTo>
                    <a:pt x="97" y="150"/>
                  </a:lnTo>
                  <a:lnTo>
                    <a:pt x="92" y="150"/>
                  </a:lnTo>
                  <a:lnTo>
                    <a:pt x="85" y="150"/>
                  </a:lnTo>
                  <a:lnTo>
                    <a:pt x="79" y="149"/>
                  </a:lnTo>
                  <a:lnTo>
                    <a:pt x="73" y="147"/>
                  </a:lnTo>
                  <a:lnTo>
                    <a:pt x="68" y="145"/>
                  </a:lnTo>
                  <a:lnTo>
                    <a:pt x="63" y="143"/>
                  </a:lnTo>
                  <a:lnTo>
                    <a:pt x="57" y="140"/>
                  </a:lnTo>
                  <a:lnTo>
                    <a:pt x="53" y="136"/>
                  </a:lnTo>
                  <a:lnTo>
                    <a:pt x="49" y="132"/>
                  </a:lnTo>
                  <a:lnTo>
                    <a:pt x="44" y="128"/>
                  </a:lnTo>
                  <a:lnTo>
                    <a:pt x="41" y="124"/>
                  </a:lnTo>
                  <a:lnTo>
                    <a:pt x="38" y="119"/>
                  </a:lnTo>
                  <a:lnTo>
                    <a:pt x="36" y="113"/>
                  </a:lnTo>
                  <a:lnTo>
                    <a:pt x="34" y="108"/>
                  </a:lnTo>
                  <a:lnTo>
                    <a:pt x="33" y="102"/>
                  </a:lnTo>
                  <a:lnTo>
                    <a:pt x="32" y="96"/>
                  </a:lnTo>
                  <a:lnTo>
                    <a:pt x="32" y="90"/>
                  </a:lnTo>
                  <a:lnTo>
                    <a:pt x="32" y="84"/>
                  </a:lnTo>
                  <a:lnTo>
                    <a:pt x="33" y="78"/>
                  </a:lnTo>
                  <a:lnTo>
                    <a:pt x="34" y="72"/>
                  </a:lnTo>
                  <a:lnTo>
                    <a:pt x="36" y="66"/>
                  </a:lnTo>
                  <a:lnTo>
                    <a:pt x="38" y="61"/>
                  </a:lnTo>
                  <a:lnTo>
                    <a:pt x="41" y="56"/>
                  </a:lnTo>
                  <a:lnTo>
                    <a:pt x="44" y="52"/>
                  </a:lnTo>
                  <a:lnTo>
                    <a:pt x="49" y="48"/>
                  </a:lnTo>
                  <a:lnTo>
                    <a:pt x="53" y="43"/>
                  </a:lnTo>
                  <a:lnTo>
                    <a:pt x="57" y="40"/>
                  </a:lnTo>
                  <a:lnTo>
                    <a:pt x="63" y="37"/>
                  </a:lnTo>
                  <a:lnTo>
                    <a:pt x="68" y="35"/>
                  </a:lnTo>
                  <a:lnTo>
                    <a:pt x="73" y="33"/>
                  </a:lnTo>
                  <a:lnTo>
                    <a:pt x="79" y="31"/>
                  </a:lnTo>
                  <a:lnTo>
                    <a:pt x="85" y="30"/>
                  </a:lnTo>
                  <a:lnTo>
                    <a:pt x="92" y="30"/>
                  </a:lnTo>
                  <a:close/>
                  <a:moveTo>
                    <a:pt x="92" y="180"/>
                  </a:moveTo>
                  <a:lnTo>
                    <a:pt x="100" y="180"/>
                  </a:lnTo>
                  <a:lnTo>
                    <a:pt x="110" y="179"/>
                  </a:lnTo>
                  <a:lnTo>
                    <a:pt x="118" y="176"/>
                  </a:lnTo>
                  <a:lnTo>
                    <a:pt x="126" y="173"/>
                  </a:lnTo>
                  <a:lnTo>
                    <a:pt x="135" y="169"/>
                  </a:lnTo>
                  <a:lnTo>
                    <a:pt x="142" y="165"/>
                  </a:lnTo>
                  <a:lnTo>
                    <a:pt x="148" y="159"/>
                  </a:lnTo>
                  <a:lnTo>
                    <a:pt x="155" y="154"/>
                  </a:lnTo>
                  <a:lnTo>
                    <a:pt x="161" y="147"/>
                  </a:lnTo>
                  <a:lnTo>
                    <a:pt x="166" y="140"/>
                  </a:lnTo>
                  <a:lnTo>
                    <a:pt x="171" y="132"/>
                  </a:lnTo>
                  <a:lnTo>
                    <a:pt x="174" y="125"/>
                  </a:lnTo>
                  <a:lnTo>
                    <a:pt x="177" y="116"/>
                  </a:lnTo>
                  <a:lnTo>
                    <a:pt x="180" y="108"/>
                  </a:lnTo>
                  <a:lnTo>
                    <a:pt x="181" y="99"/>
                  </a:lnTo>
                  <a:lnTo>
                    <a:pt x="182" y="90"/>
                  </a:lnTo>
                  <a:lnTo>
                    <a:pt x="181" y="81"/>
                  </a:lnTo>
                  <a:lnTo>
                    <a:pt x="180" y="71"/>
                  </a:lnTo>
                  <a:lnTo>
                    <a:pt x="177" y="63"/>
                  </a:lnTo>
                  <a:lnTo>
                    <a:pt x="174" y="54"/>
                  </a:lnTo>
                  <a:lnTo>
                    <a:pt x="171" y="47"/>
                  </a:lnTo>
                  <a:lnTo>
                    <a:pt x="166" y="39"/>
                  </a:lnTo>
                  <a:lnTo>
                    <a:pt x="161" y="33"/>
                  </a:lnTo>
                  <a:lnTo>
                    <a:pt x="155" y="26"/>
                  </a:lnTo>
                  <a:lnTo>
                    <a:pt x="148" y="20"/>
                  </a:lnTo>
                  <a:lnTo>
                    <a:pt x="142" y="15"/>
                  </a:lnTo>
                  <a:lnTo>
                    <a:pt x="135" y="10"/>
                  </a:lnTo>
                  <a:lnTo>
                    <a:pt x="126" y="7"/>
                  </a:lnTo>
                  <a:lnTo>
                    <a:pt x="118" y="4"/>
                  </a:lnTo>
                  <a:lnTo>
                    <a:pt x="110" y="2"/>
                  </a:lnTo>
                  <a:lnTo>
                    <a:pt x="100" y="1"/>
                  </a:lnTo>
                  <a:lnTo>
                    <a:pt x="92" y="0"/>
                  </a:lnTo>
                  <a:lnTo>
                    <a:pt x="82" y="1"/>
                  </a:lnTo>
                  <a:lnTo>
                    <a:pt x="73" y="2"/>
                  </a:lnTo>
                  <a:lnTo>
                    <a:pt x="65" y="4"/>
                  </a:lnTo>
                  <a:lnTo>
                    <a:pt x="56" y="7"/>
                  </a:lnTo>
                  <a:lnTo>
                    <a:pt x="49" y="10"/>
                  </a:lnTo>
                  <a:lnTo>
                    <a:pt x="41" y="15"/>
                  </a:lnTo>
                  <a:lnTo>
                    <a:pt x="34" y="20"/>
                  </a:lnTo>
                  <a:lnTo>
                    <a:pt x="27" y="26"/>
                  </a:lnTo>
                  <a:lnTo>
                    <a:pt x="22" y="33"/>
                  </a:lnTo>
                  <a:lnTo>
                    <a:pt x="17" y="39"/>
                  </a:lnTo>
                  <a:lnTo>
                    <a:pt x="12" y="47"/>
                  </a:lnTo>
                  <a:lnTo>
                    <a:pt x="8" y="55"/>
                  </a:lnTo>
                  <a:lnTo>
                    <a:pt x="5" y="63"/>
                  </a:lnTo>
                  <a:lnTo>
                    <a:pt x="3" y="71"/>
                  </a:lnTo>
                  <a:lnTo>
                    <a:pt x="2" y="81"/>
                  </a:lnTo>
                  <a:lnTo>
                    <a:pt x="0" y="90"/>
                  </a:lnTo>
                  <a:lnTo>
                    <a:pt x="2" y="99"/>
                  </a:lnTo>
                  <a:lnTo>
                    <a:pt x="3" y="108"/>
                  </a:lnTo>
                  <a:lnTo>
                    <a:pt x="5" y="116"/>
                  </a:lnTo>
                  <a:lnTo>
                    <a:pt x="8" y="125"/>
                  </a:lnTo>
                  <a:lnTo>
                    <a:pt x="12" y="132"/>
                  </a:lnTo>
                  <a:lnTo>
                    <a:pt x="17" y="140"/>
                  </a:lnTo>
                  <a:lnTo>
                    <a:pt x="22" y="147"/>
                  </a:lnTo>
                  <a:lnTo>
                    <a:pt x="27" y="154"/>
                  </a:lnTo>
                  <a:lnTo>
                    <a:pt x="34" y="159"/>
                  </a:lnTo>
                  <a:lnTo>
                    <a:pt x="41" y="165"/>
                  </a:lnTo>
                  <a:lnTo>
                    <a:pt x="49" y="169"/>
                  </a:lnTo>
                  <a:lnTo>
                    <a:pt x="56" y="173"/>
                  </a:lnTo>
                  <a:lnTo>
                    <a:pt x="65" y="176"/>
                  </a:lnTo>
                  <a:lnTo>
                    <a:pt x="73" y="179"/>
                  </a:lnTo>
                  <a:lnTo>
                    <a:pt x="82" y="180"/>
                  </a:lnTo>
                  <a:lnTo>
                    <a:pt x="9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3" name="Freeform 10">
              <a:extLst>
                <a:ext uri="{FF2B5EF4-FFF2-40B4-BE49-F238E27FC236}">
                  <a16:creationId xmlns:a16="http://schemas.microsoft.com/office/drawing/2014/main" id="{422659C9-2B1F-4A92-B9C0-135EB806023D}"/>
                </a:ext>
              </a:extLst>
            </p:cNvPr>
            <p:cNvSpPr>
              <a:spLocks noEditPoints="1"/>
            </p:cNvSpPr>
            <p:nvPr/>
          </p:nvSpPr>
          <p:spPr bwMode="auto">
            <a:xfrm>
              <a:off x="4416425" y="1982788"/>
              <a:ext cx="93663" cy="123825"/>
            </a:xfrm>
            <a:custGeom>
              <a:avLst/>
              <a:gdLst>
                <a:gd name="T0" fmla="*/ 265 w 296"/>
                <a:gd name="T1" fmla="*/ 67 h 391"/>
                <a:gd name="T2" fmla="*/ 259 w 296"/>
                <a:gd name="T3" fmla="*/ 114 h 391"/>
                <a:gd name="T4" fmla="*/ 253 w 296"/>
                <a:gd name="T5" fmla="*/ 142 h 391"/>
                <a:gd name="T6" fmla="*/ 244 w 296"/>
                <a:gd name="T7" fmla="*/ 165 h 391"/>
                <a:gd name="T8" fmla="*/ 232 w 296"/>
                <a:gd name="T9" fmla="*/ 184 h 391"/>
                <a:gd name="T10" fmla="*/ 217 w 296"/>
                <a:gd name="T11" fmla="*/ 198 h 391"/>
                <a:gd name="T12" fmla="*/ 198 w 296"/>
                <a:gd name="T13" fmla="*/ 208 h 391"/>
                <a:gd name="T14" fmla="*/ 176 w 296"/>
                <a:gd name="T15" fmla="*/ 213 h 391"/>
                <a:gd name="T16" fmla="*/ 116 w 296"/>
                <a:gd name="T17" fmla="*/ 361 h 391"/>
                <a:gd name="T18" fmla="*/ 104 w 296"/>
                <a:gd name="T19" fmla="*/ 211 h 391"/>
                <a:gd name="T20" fmla="*/ 83 w 296"/>
                <a:gd name="T21" fmla="*/ 203 h 391"/>
                <a:gd name="T22" fmla="*/ 67 w 296"/>
                <a:gd name="T23" fmla="*/ 192 h 391"/>
                <a:gd name="T24" fmla="*/ 56 w 296"/>
                <a:gd name="T25" fmla="*/ 174 h 391"/>
                <a:gd name="T26" fmla="*/ 46 w 296"/>
                <a:gd name="T27" fmla="*/ 153 h 391"/>
                <a:gd name="T28" fmla="*/ 38 w 296"/>
                <a:gd name="T29" fmla="*/ 127 h 391"/>
                <a:gd name="T30" fmla="*/ 34 w 296"/>
                <a:gd name="T31" fmla="*/ 98 h 391"/>
                <a:gd name="T32" fmla="*/ 30 w 296"/>
                <a:gd name="T33" fmla="*/ 31 h 391"/>
                <a:gd name="T34" fmla="*/ 0 w 296"/>
                <a:gd name="T35" fmla="*/ 15 h 391"/>
                <a:gd name="T36" fmla="*/ 2 w 296"/>
                <a:gd name="T37" fmla="*/ 85 h 391"/>
                <a:gd name="T38" fmla="*/ 6 w 296"/>
                <a:gd name="T39" fmla="*/ 120 h 391"/>
                <a:gd name="T40" fmla="*/ 14 w 296"/>
                <a:gd name="T41" fmla="*/ 152 h 391"/>
                <a:gd name="T42" fmla="*/ 23 w 296"/>
                <a:gd name="T43" fmla="*/ 180 h 391"/>
                <a:gd name="T44" fmla="*/ 38 w 296"/>
                <a:gd name="T45" fmla="*/ 204 h 391"/>
                <a:gd name="T46" fmla="*/ 59 w 296"/>
                <a:gd name="T47" fmla="*/ 224 h 391"/>
                <a:gd name="T48" fmla="*/ 72 w 296"/>
                <a:gd name="T49" fmla="*/ 231 h 391"/>
                <a:gd name="T50" fmla="*/ 86 w 296"/>
                <a:gd name="T51" fmla="*/ 237 h 391"/>
                <a:gd name="T52" fmla="*/ 206 w 296"/>
                <a:gd name="T53" fmla="*/ 391 h 391"/>
                <a:gd name="T54" fmla="*/ 213 w 296"/>
                <a:gd name="T55" fmla="*/ 234 h 391"/>
                <a:gd name="T56" fmla="*/ 227 w 296"/>
                <a:gd name="T57" fmla="*/ 228 h 391"/>
                <a:gd name="T58" fmla="*/ 244 w 296"/>
                <a:gd name="T59" fmla="*/ 215 h 391"/>
                <a:gd name="T60" fmla="*/ 264 w 296"/>
                <a:gd name="T61" fmla="*/ 193 h 391"/>
                <a:gd name="T62" fmla="*/ 276 w 296"/>
                <a:gd name="T63" fmla="*/ 167 h 391"/>
                <a:gd name="T64" fmla="*/ 286 w 296"/>
                <a:gd name="T65" fmla="*/ 136 h 391"/>
                <a:gd name="T66" fmla="*/ 291 w 296"/>
                <a:gd name="T67" fmla="*/ 104 h 391"/>
                <a:gd name="T68" fmla="*/ 295 w 296"/>
                <a:gd name="T69" fmla="*/ 51 h 391"/>
                <a:gd name="T70" fmla="*/ 296 w 296"/>
                <a:gd name="T71" fmla="*/ 0 h 391"/>
                <a:gd name="T72" fmla="*/ 0 w 296"/>
                <a:gd name="T73" fmla="*/ 1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6" h="391">
                  <a:moveTo>
                    <a:pt x="266" y="30"/>
                  </a:moveTo>
                  <a:lnTo>
                    <a:pt x="265" y="67"/>
                  </a:lnTo>
                  <a:lnTo>
                    <a:pt x="261" y="99"/>
                  </a:lnTo>
                  <a:lnTo>
                    <a:pt x="259" y="114"/>
                  </a:lnTo>
                  <a:lnTo>
                    <a:pt x="256" y="128"/>
                  </a:lnTo>
                  <a:lnTo>
                    <a:pt x="253" y="142"/>
                  </a:lnTo>
                  <a:lnTo>
                    <a:pt x="250" y="154"/>
                  </a:lnTo>
                  <a:lnTo>
                    <a:pt x="244" y="165"/>
                  </a:lnTo>
                  <a:lnTo>
                    <a:pt x="239" y="175"/>
                  </a:lnTo>
                  <a:lnTo>
                    <a:pt x="232" y="184"/>
                  </a:lnTo>
                  <a:lnTo>
                    <a:pt x="226" y="192"/>
                  </a:lnTo>
                  <a:lnTo>
                    <a:pt x="217" y="198"/>
                  </a:lnTo>
                  <a:lnTo>
                    <a:pt x="209" y="203"/>
                  </a:lnTo>
                  <a:lnTo>
                    <a:pt x="198" y="208"/>
                  </a:lnTo>
                  <a:lnTo>
                    <a:pt x="187" y="211"/>
                  </a:lnTo>
                  <a:lnTo>
                    <a:pt x="176" y="213"/>
                  </a:lnTo>
                  <a:lnTo>
                    <a:pt x="176" y="361"/>
                  </a:lnTo>
                  <a:lnTo>
                    <a:pt x="116" y="361"/>
                  </a:lnTo>
                  <a:lnTo>
                    <a:pt x="116" y="214"/>
                  </a:lnTo>
                  <a:lnTo>
                    <a:pt x="104" y="211"/>
                  </a:lnTo>
                  <a:lnTo>
                    <a:pt x="93" y="208"/>
                  </a:lnTo>
                  <a:lnTo>
                    <a:pt x="83" y="203"/>
                  </a:lnTo>
                  <a:lnTo>
                    <a:pt x="75" y="198"/>
                  </a:lnTo>
                  <a:lnTo>
                    <a:pt x="67" y="192"/>
                  </a:lnTo>
                  <a:lnTo>
                    <a:pt x="61" y="183"/>
                  </a:lnTo>
                  <a:lnTo>
                    <a:pt x="56" y="174"/>
                  </a:lnTo>
                  <a:lnTo>
                    <a:pt x="50" y="164"/>
                  </a:lnTo>
                  <a:lnTo>
                    <a:pt x="46" y="153"/>
                  </a:lnTo>
                  <a:lnTo>
                    <a:pt x="42" y="141"/>
                  </a:lnTo>
                  <a:lnTo>
                    <a:pt x="38" y="127"/>
                  </a:lnTo>
                  <a:lnTo>
                    <a:pt x="36" y="113"/>
                  </a:lnTo>
                  <a:lnTo>
                    <a:pt x="34" y="98"/>
                  </a:lnTo>
                  <a:lnTo>
                    <a:pt x="31" y="66"/>
                  </a:lnTo>
                  <a:lnTo>
                    <a:pt x="30" y="31"/>
                  </a:lnTo>
                  <a:lnTo>
                    <a:pt x="266" y="30"/>
                  </a:lnTo>
                  <a:close/>
                  <a:moveTo>
                    <a:pt x="0" y="15"/>
                  </a:moveTo>
                  <a:lnTo>
                    <a:pt x="1" y="50"/>
                  </a:lnTo>
                  <a:lnTo>
                    <a:pt x="2" y="85"/>
                  </a:lnTo>
                  <a:lnTo>
                    <a:pt x="4" y="103"/>
                  </a:lnTo>
                  <a:lnTo>
                    <a:pt x="6" y="120"/>
                  </a:lnTo>
                  <a:lnTo>
                    <a:pt x="9" y="136"/>
                  </a:lnTo>
                  <a:lnTo>
                    <a:pt x="14" y="152"/>
                  </a:lnTo>
                  <a:lnTo>
                    <a:pt x="18" y="166"/>
                  </a:lnTo>
                  <a:lnTo>
                    <a:pt x="23" y="180"/>
                  </a:lnTo>
                  <a:lnTo>
                    <a:pt x="31" y="193"/>
                  </a:lnTo>
                  <a:lnTo>
                    <a:pt x="38" y="204"/>
                  </a:lnTo>
                  <a:lnTo>
                    <a:pt x="48" y="215"/>
                  </a:lnTo>
                  <a:lnTo>
                    <a:pt x="59" y="224"/>
                  </a:lnTo>
                  <a:lnTo>
                    <a:pt x="65" y="228"/>
                  </a:lnTo>
                  <a:lnTo>
                    <a:pt x="72" y="231"/>
                  </a:lnTo>
                  <a:lnTo>
                    <a:pt x="78" y="234"/>
                  </a:lnTo>
                  <a:lnTo>
                    <a:pt x="86" y="237"/>
                  </a:lnTo>
                  <a:lnTo>
                    <a:pt x="86" y="391"/>
                  </a:lnTo>
                  <a:lnTo>
                    <a:pt x="206" y="391"/>
                  </a:lnTo>
                  <a:lnTo>
                    <a:pt x="206" y="238"/>
                  </a:lnTo>
                  <a:lnTo>
                    <a:pt x="213" y="234"/>
                  </a:lnTo>
                  <a:lnTo>
                    <a:pt x="220" y="231"/>
                  </a:lnTo>
                  <a:lnTo>
                    <a:pt x="227" y="228"/>
                  </a:lnTo>
                  <a:lnTo>
                    <a:pt x="234" y="224"/>
                  </a:lnTo>
                  <a:lnTo>
                    <a:pt x="244" y="215"/>
                  </a:lnTo>
                  <a:lnTo>
                    <a:pt x="255" y="204"/>
                  </a:lnTo>
                  <a:lnTo>
                    <a:pt x="264" y="193"/>
                  </a:lnTo>
                  <a:lnTo>
                    <a:pt x="270" y="181"/>
                  </a:lnTo>
                  <a:lnTo>
                    <a:pt x="276" y="167"/>
                  </a:lnTo>
                  <a:lnTo>
                    <a:pt x="282" y="152"/>
                  </a:lnTo>
                  <a:lnTo>
                    <a:pt x="286" y="136"/>
                  </a:lnTo>
                  <a:lnTo>
                    <a:pt x="289" y="120"/>
                  </a:lnTo>
                  <a:lnTo>
                    <a:pt x="291" y="104"/>
                  </a:lnTo>
                  <a:lnTo>
                    <a:pt x="294" y="85"/>
                  </a:lnTo>
                  <a:lnTo>
                    <a:pt x="295" y="51"/>
                  </a:lnTo>
                  <a:lnTo>
                    <a:pt x="296" y="15"/>
                  </a:lnTo>
                  <a:lnTo>
                    <a:pt x="296" y="0"/>
                  </a:lnTo>
                  <a:lnTo>
                    <a:pt x="0"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4" name="Freeform 11">
              <a:extLst>
                <a:ext uri="{FF2B5EF4-FFF2-40B4-BE49-F238E27FC236}">
                  <a16:creationId xmlns:a16="http://schemas.microsoft.com/office/drawing/2014/main" id="{40AA6943-1093-459A-B661-DA69501D0A60}"/>
                </a:ext>
              </a:extLst>
            </p:cNvPr>
            <p:cNvSpPr>
              <a:spLocks noEditPoints="1"/>
            </p:cNvSpPr>
            <p:nvPr/>
          </p:nvSpPr>
          <p:spPr bwMode="auto">
            <a:xfrm>
              <a:off x="4338638" y="2011363"/>
              <a:ext cx="57150" cy="57150"/>
            </a:xfrm>
            <a:custGeom>
              <a:avLst/>
              <a:gdLst>
                <a:gd name="T0" fmla="*/ 102 w 180"/>
                <a:gd name="T1" fmla="*/ 31 h 180"/>
                <a:gd name="T2" fmla="*/ 119 w 180"/>
                <a:gd name="T3" fmla="*/ 36 h 180"/>
                <a:gd name="T4" fmla="*/ 133 w 180"/>
                <a:gd name="T5" fmla="*/ 47 h 180"/>
                <a:gd name="T6" fmla="*/ 143 w 180"/>
                <a:gd name="T7" fmla="*/ 61 h 180"/>
                <a:gd name="T8" fmla="*/ 149 w 180"/>
                <a:gd name="T9" fmla="*/ 77 h 180"/>
                <a:gd name="T10" fmla="*/ 150 w 180"/>
                <a:gd name="T11" fmla="*/ 95 h 180"/>
                <a:gd name="T12" fmla="*/ 146 w 180"/>
                <a:gd name="T13" fmla="*/ 113 h 180"/>
                <a:gd name="T14" fmla="*/ 136 w 180"/>
                <a:gd name="T15" fmla="*/ 127 h 180"/>
                <a:gd name="T16" fmla="*/ 124 w 180"/>
                <a:gd name="T17" fmla="*/ 139 h 180"/>
                <a:gd name="T18" fmla="*/ 109 w 180"/>
                <a:gd name="T19" fmla="*/ 147 h 180"/>
                <a:gd name="T20" fmla="*/ 90 w 180"/>
                <a:gd name="T21" fmla="*/ 150 h 180"/>
                <a:gd name="T22" fmla="*/ 72 w 180"/>
                <a:gd name="T23" fmla="*/ 147 h 180"/>
                <a:gd name="T24" fmla="*/ 57 w 180"/>
                <a:gd name="T25" fmla="*/ 139 h 180"/>
                <a:gd name="T26" fmla="*/ 44 w 180"/>
                <a:gd name="T27" fmla="*/ 127 h 180"/>
                <a:gd name="T28" fmla="*/ 35 w 180"/>
                <a:gd name="T29" fmla="*/ 113 h 180"/>
                <a:gd name="T30" fmla="*/ 30 w 180"/>
                <a:gd name="T31" fmla="*/ 96 h 180"/>
                <a:gd name="T32" fmla="*/ 31 w 180"/>
                <a:gd name="T33" fmla="*/ 77 h 180"/>
                <a:gd name="T34" fmla="*/ 38 w 180"/>
                <a:gd name="T35" fmla="*/ 61 h 180"/>
                <a:gd name="T36" fmla="*/ 47 w 180"/>
                <a:gd name="T37" fmla="*/ 47 h 180"/>
                <a:gd name="T38" fmla="*/ 61 w 180"/>
                <a:gd name="T39" fmla="*/ 36 h 180"/>
                <a:gd name="T40" fmla="*/ 79 w 180"/>
                <a:gd name="T41" fmla="*/ 31 h 180"/>
                <a:gd name="T42" fmla="*/ 90 w 180"/>
                <a:gd name="T43" fmla="*/ 180 h 180"/>
                <a:gd name="T44" fmla="*/ 117 w 180"/>
                <a:gd name="T45" fmla="*/ 176 h 180"/>
                <a:gd name="T46" fmla="*/ 141 w 180"/>
                <a:gd name="T47" fmla="*/ 165 h 180"/>
                <a:gd name="T48" fmla="*/ 160 w 180"/>
                <a:gd name="T49" fmla="*/ 147 h 180"/>
                <a:gd name="T50" fmla="*/ 174 w 180"/>
                <a:gd name="T51" fmla="*/ 125 h 180"/>
                <a:gd name="T52" fmla="*/ 180 w 180"/>
                <a:gd name="T53" fmla="*/ 98 h 180"/>
                <a:gd name="T54" fmla="*/ 179 w 180"/>
                <a:gd name="T55" fmla="*/ 72 h 180"/>
                <a:gd name="T56" fmla="*/ 170 w 180"/>
                <a:gd name="T57" fmla="*/ 47 h 180"/>
                <a:gd name="T58" fmla="*/ 155 w 180"/>
                <a:gd name="T59" fmla="*/ 25 h 180"/>
                <a:gd name="T60" fmla="*/ 133 w 180"/>
                <a:gd name="T61" fmla="*/ 10 h 180"/>
                <a:gd name="T62" fmla="*/ 109 w 180"/>
                <a:gd name="T63" fmla="*/ 1 h 180"/>
                <a:gd name="T64" fmla="*/ 82 w 180"/>
                <a:gd name="T65" fmla="*/ 0 h 180"/>
                <a:gd name="T66" fmla="*/ 55 w 180"/>
                <a:gd name="T67" fmla="*/ 6 h 180"/>
                <a:gd name="T68" fmla="*/ 34 w 180"/>
                <a:gd name="T69" fmla="*/ 20 h 180"/>
                <a:gd name="T70" fmla="*/ 15 w 180"/>
                <a:gd name="T71" fmla="*/ 39 h 180"/>
                <a:gd name="T72" fmla="*/ 5 w 180"/>
                <a:gd name="T73" fmla="*/ 63 h 180"/>
                <a:gd name="T74" fmla="*/ 0 w 180"/>
                <a:gd name="T75" fmla="*/ 90 h 180"/>
                <a:gd name="T76" fmla="*/ 5 w 180"/>
                <a:gd name="T77" fmla="*/ 117 h 180"/>
                <a:gd name="T78" fmla="*/ 15 w 180"/>
                <a:gd name="T79" fmla="*/ 140 h 180"/>
                <a:gd name="T80" fmla="*/ 34 w 180"/>
                <a:gd name="T81" fmla="*/ 160 h 180"/>
                <a:gd name="T82" fmla="*/ 55 w 180"/>
                <a:gd name="T83" fmla="*/ 172 h 180"/>
                <a:gd name="T84" fmla="*/ 82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7" y="30"/>
                  </a:lnTo>
                  <a:lnTo>
                    <a:pt x="102" y="31"/>
                  </a:lnTo>
                  <a:lnTo>
                    <a:pt x="109" y="32"/>
                  </a:lnTo>
                  <a:lnTo>
                    <a:pt x="114" y="34"/>
                  </a:lnTo>
                  <a:lnTo>
                    <a:pt x="119" y="36"/>
                  </a:lnTo>
                  <a:lnTo>
                    <a:pt x="124" y="39"/>
                  </a:lnTo>
                  <a:lnTo>
                    <a:pt x="129" y="43"/>
                  </a:lnTo>
                  <a:lnTo>
                    <a:pt x="133" y="47"/>
                  </a:lnTo>
                  <a:lnTo>
                    <a:pt x="136" y="51"/>
                  </a:lnTo>
                  <a:lnTo>
                    <a:pt x="141" y="56"/>
                  </a:lnTo>
                  <a:lnTo>
                    <a:pt x="143" y="61"/>
                  </a:lnTo>
                  <a:lnTo>
                    <a:pt x="146" y="66"/>
                  </a:lnTo>
                  <a:lnTo>
                    <a:pt x="148" y="72"/>
                  </a:lnTo>
                  <a:lnTo>
                    <a:pt x="149" y="77"/>
                  </a:lnTo>
                  <a:lnTo>
                    <a:pt x="150" y="83"/>
                  </a:lnTo>
                  <a:lnTo>
                    <a:pt x="150" y="90"/>
                  </a:lnTo>
                  <a:lnTo>
                    <a:pt x="150" y="95"/>
                  </a:lnTo>
                  <a:lnTo>
                    <a:pt x="149" y="102"/>
                  </a:lnTo>
                  <a:lnTo>
                    <a:pt x="148" y="107"/>
                  </a:lnTo>
                  <a:lnTo>
                    <a:pt x="146" y="113"/>
                  </a:lnTo>
                  <a:lnTo>
                    <a:pt x="143" y="118"/>
                  </a:lnTo>
                  <a:lnTo>
                    <a:pt x="141" y="123"/>
                  </a:lnTo>
                  <a:lnTo>
                    <a:pt x="136" y="127"/>
                  </a:lnTo>
                  <a:lnTo>
                    <a:pt x="133" y="132"/>
                  </a:lnTo>
                  <a:lnTo>
                    <a:pt x="129" y="136"/>
                  </a:lnTo>
                  <a:lnTo>
                    <a:pt x="124" y="139"/>
                  </a:lnTo>
                  <a:lnTo>
                    <a:pt x="119" y="142"/>
                  </a:lnTo>
                  <a:lnTo>
                    <a:pt x="114" y="144"/>
                  </a:lnTo>
                  <a:lnTo>
                    <a:pt x="109" y="147"/>
                  </a:lnTo>
                  <a:lnTo>
                    <a:pt x="102" y="149"/>
                  </a:lnTo>
                  <a:lnTo>
                    <a:pt x="97" y="150"/>
                  </a:lnTo>
                  <a:lnTo>
                    <a:pt x="90" y="150"/>
                  </a:lnTo>
                  <a:lnTo>
                    <a:pt x="84" y="150"/>
                  </a:lnTo>
                  <a:lnTo>
                    <a:pt x="79" y="149"/>
                  </a:lnTo>
                  <a:lnTo>
                    <a:pt x="72" y="147"/>
                  </a:lnTo>
                  <a:lnTo>
                    <a:pt x="67" y="144"/>
                  </a:lnTo>
                  <a:lnTo>
                    <a:pt x="61" y="142"/>
                  </a:lnTo>
                  <a:lnTo>
                    <a:pt x="57" y="139"/>
                  </a:lnTo>
                  <a:lnTo>
                    <a:pt x="52" y="136"/>
                  </a:lnTo>
                  <a:lnTo>
                    <a:pt x="47" y="132"/>
                  </a:lnTo>
                  <a:lnTo>
                    <a:pt x="44" y="127"/>
                  </a:lnTo>
                  <a:lnTo>
                    <a:pt x="41" y="123"/>
                  </a:lnTo>
                  <a:lnTo>
                    <a:pt x="38" y="118"/>
                  </a:lnTo>
                  <a:lnTo>
                    <a:pt x="35" y="113"/>
                  </a:lnTo>
                  <a:lnTo>
                    <a:pt x="34" y="107"/>
                  </a:lnTo>
                  <a:lnTo>
                    <a:pt x="31" y="102"/>
                  </a:lnTo>
                  <a:lnTo>
                    <a:pt x="30" y="96"/>
                  </a:lnTo>
                  <a:lnTo>
                    <a:pt x="30" y="90"/>
                  </a:lnTo>
                  <a:lnTo>
                    <a:pt x="30" y="83"/>
                  </a:lnTo>
                  <a:lnTo>
                    <a:pt x="31" y="77"/>
                  </a:lnTo>
                  <a:lnTo>
                    <a:pt x="34" y="72"/>
                  </a:lnTo>
                  <a:lnTo>
                    <a:pt x="35" y="66"/>
                  </a:lnTo>
                  <a:lnTo>
                    <a:pt x="38" y="61"/>
                  </a:lnTo>
                  <a:lnTo>
                    <a:pt x="41" y="56"/>
                  </a:lnTo>
                  <a:lnTo>
                    <a:pt x="44" y="51"/>
                  </a:lnTo>
                  <a:lnTo>
                    <a:pt x="47" y="47"/>
                  </a:lnTo>
                  <a:lnTo>
                    <a:pt x="52" y="43"/>
                  </a:lnTo>
                  <a:lnTo>
                    <a:pt x="57" y="39"/>
                  </a:lnTo>
                  <a:lnTo>
                    <a:pt x="61" y="36"/>
                  </a:lnTo>
                  <a:lnTo>
                    <a:pt x="67" y="34"/>
                  </a:lnTo>
                  <a:lnTo>
                    <a:pt x="72" y="32"/>
                  </a:lnTo>
                  <a:lnTo>
                    <a:pt x="79" y="31"/>
                  </a:lnTo>
                  <a:lnTo>
                    <a:pt x="84" y="30"/>
                  </a:lnTo>
                  <a:lnTo>
                    <a:pt x="90" y="30"/>
                  </a:lnTo>
                  <a:close/>
                  <a:moveTo>
                    <a:pt x="90" y="180"/>
                  </a:moveTo>
                  <a:lnTo>
                    <a:pt x="100" y="180"/>
                  </a:lnTo>
                  <a:lnTo>
                    <a:pt x="109" y="178"/>
                  </a:lnTo>
                  <a:lnTo>
                    <a:pt x="117" y="176"/>
                  </a:lnTo>
                  <a:lnTo>
                    <a:pt x="126" y="172"/>
                  </a:lnTo>
                  <a:lnTo>
                    <a:pt x="133" y="169"/>
                  </a:lnTo>
                  <a:lnTo>
                    <a:pt x="141" y="165"/>
                  </a:lnTo>
                  <a:lnTo>
                    <a:pt x="148" y="160"/>
                  </a:lnTo>
                  <a:lnTo>
                    <a:pt x="155" y="153"/>
                  </a:lnTo>
                  <a:lnTo>
                    <a:pt x="160" y="147"/>
                  </a:lnTo>
                  <a:lnTo>
                    <a:pt x="165" y="140"/>
                  </a:lnTo>
                  <a:lnTo>
                    <a:pt x="170" y="133"/>
                  </a:lnTo>
                  <a:lnTo>
                    <a:pt x="174" y="125"/>
                  </a:lnTo>
                  <a:lnTo>
                    <a:pt x="176" y="117"/>
                  </a:lnTo>
                  <a:lnTo>
                    <a:pt x="179" y="108"/>
                  </a:lnTo>
                  <a:lnTo>
                    <a:pt x="180" y="98"/>
                  </a:lnTo>
                  <a:lnTo>
                    <a:pt x="180" y="90"/>
                  </a:lnTo>
                  <a:lnTo>
                    <a:pt x="180" y="80"/>
                  </a:lnTo>
                  <a:lnTo>
                    <a:pt x="179" y="72"/>
                  </a:lnTo>
                  <a:lnTo>
                    <a:pt x="176" y="63"/>
                  </a:lnTo>
                  <a:lnTo>
                    <a:pt x="174" y="54"/>
                  </a:lnTo>
                  <a:lnTo>
                    <a:pt x="170" y="47"/>
                  </a:lnTo>
                  <a:lnTo>
                    <a:pt x="165" y="39"/>
                  </a:lnTo>
                  <a:lnTo>
                    <a:pt x="160" y="32"/>
                  </a:lnTo>
                  <a:lnTo>
                    <a:pt x="155" y="25"/>
                  </a:lnTo>
                  <a:lnTo>
                    <a:pt x="148" y="20"/>
                  </a:lnTo>
                  <a:lnTo>
                    <a:pt x="141" y="15"/>
                  </a:lnTo>
                  <a:lnTo>
                    <a:pt x="133" y="10"/>
                  </a:lnTo>
                  <a:lnTo>
                    <a:pt x="126" y="6"/>
                  </a:lnTo>
                  <a:lnTo>
                    <a:pt x="117" y="3"/>
                  </a:lnTo>
                  <a:lnTo>
                    <a:pt x="109" y="1"/>
                  </a:lnTo>
                  <a:lnTo>
                    <a:pt x="100" y="0"/>
                  </a:lnTo>
                  <a:lnTo>
                    <a:pt x="90" y="0"/>
                  </a:lnTo>
                  <a:lnTo>
                    <a:pt x="82" y="0"/>
                  </a:lnTo>
                  <a:lnTo>
                    <a:pt x="72" y="1"/>
                  </a:lnTo>
                  <a:lnTo>
                    <a:pt x="64" y="3"/>
                  </a:lnTo>
                  <a:lnTo>
                    <a:pt x="55" y="6"/>
                  </a:lnTo>
                  <a:lnTo>
                    <a:pt x="47" y="10"/>
                  </a:lnTo>
                  <a:lnTo>
                    <a:pt x="40" y="15"/>
                  </a:lnTo>
                  <a:lnTo>
                    <a:pt x="34" y="20"/>
                  </a:lnTo>
                  <a:lnTo>
                    <a:pt x="27" y="25"/>
                  </a:lnTo>
                  <a:lnTo>
                    <a:pt x="21" y="32"/>
                  </a:lnTo>
                  <a:lnTo>
                    <a:pt x="15" y="39"/>
                  </a:lnTo>
                  <a:lnTo>
                    <a:pt x="11" y="47"/>
                  </a:lnTo>
                  <a:lnTo>
                    <a:pt x="8" y="54"/>
                  </a:lnTo>
                  <a:lnTo>
                    <a:pt x="5" y="63"/>
                  </a:lnTo>
                  <a:lnTo>
                    <a:pt x="2" y="72"/>
                  </a:lnTo>
                  <a:lnTo>
                    <a:pt x="0" y="80"/>
                  </a:lnTo>
                  <a:lnTo>
                    <a:pt x="0" y="90"/>
                  </a:lnTo>
                  <a:lnTo>
                    <a:pt x="0" y="98"/>
                  </a:lnTo>
                  <a:lnTo>
                    <a:pt x="2" y="108"/>
                  </a:lnTo>
                  <a:lnTo>
                    <a:pt x="5" y="117"/>
                  </a:lnTo>
                  <a:lnTo>
                    <a:pt x="8" y="125"/>
                  </a:lnTo>
                  <a:lnTo>
                    <a:pt x="11" y="133"/>
                  </a:lnTo>
                  <a:lnTo>
                    <a:pt x="15" y="140"/>
                  </a:lnTo>
                  <a:lnTo>
                    <a:pt x="21" y="147"/>
                  </a:lnTo>
                  <a:lnTo>
                    <a:pt x="27" y="153"/>
                  </a:lnTo>
                  <a:lnTo>
                    <a:pt x="34" y="160"/>
                  </a:lnTo>
                  <a:lnTo>
                    <a:pt x="40" y="165"/>
                  </a:lnTo>
                  <a:lnTo>
                    <a:pt x="47" y="169"/>
                  </a:lnTo>
                  <a:lnTo>
                    <a:pt x="55" y="172"/>
                  </a:lnTo>
                  <a:lnTo>
                    <a:pt x="64" y="176"/>
                  </a:lnTo>
                  <a:lnTo>
                    <a:pt x="72" y="178"/>
                  </a:lnTo>
                  <a:lnTo>
                    <a:pt x="82"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15" name="Freeform 12">
              <a:extLst>
                <a:ext uri="{FF2B5EF4-FFF2-40B4-BE49-F238E27FC236}">
                  <a16:creationId xmlns:a16="http://schemas.microsoft.com/office/drawing/2014/main" id="{1BBEC5FD-0125-462A-9B0A-6947DCB65DB7}"/>
                </a:ext>
              </a:extLst>
            </p:cNvPr>
            <p:cNvSpPr>
              <a:spLocks noEditPoints="1"/>
            </p:cNvSpPr>
            <p:nvPr/>
          </p:nvSpPr>
          <p:spPr bwMode="auto">
            <a:xfrm>
              <a:off x="4319588" y="2078038"/>
              <a:ext cx="93663" cy="123825"/>
            </a:xfrm>
            <a:custGeom>
              <a:avLst/>
              <a:gdLst>
                <a:gd name="T0" fmla="*/ 265 w 295"/>
                <a:gd name="T1" fmla="*/ 64 h 391"/>
                <a:gd name="T2" fmla="*/ 261 w 295"/>
                <a:gd name="T3" fmla="*/ 111 h 391"/>
                <a:gd name="T4" fmla="*/ 256 w 295"/>
                <a:gd name="T5" fmla="*/ 138 h 391"/>
                <a:gd name="T6" fmla="*/ 249 w 295"/>
                <a:gd name="T7" fmla="*/ 162 h 391"/>
                <a:gd name="T8" fmla="*/ 238 w 295"/>
                <a:gd name="T9" fmla="*/ 182 h 391"/>
                <a:gd name="T10" fmla="*/ 223 w 295"/>
                <a:gd name="T11" fmla="*/ 197 h 391"/>
                <a:gd name="T12" fmla="*/ 204 w 295"/>
                <a:gd name="T13" fmla="*/ 208 h 391"/>
                <a:gd name="T14" fmla="*/ 180 w 295"/>
                <a:gd name="T15" fmla="*/ 213 h 391"/>
                <a:gd name="T16" fmla="*/ 120 w 295"/>
                <a:gd name="T17" fmla="*/ 361 h 391"/>
                <a:gd name="T18" fmla="*/ 109 w 295"/>
                <a:gd name="T19" fmla="*/ 211 h 391"/>
                <a:gd name="T20" fmla="*/ 90 w 295"/>
                <a:gd name="T21" fmla="*/ 205 h 391"/>
                <a:gd name="T22" fmla="*/ 74 w 295"/>
                <a:gd name="T23" fmla="*/ 194 h 391"/>
                <a:gd name="T24" fmla="*/ 61 w 295"/>
                <a:gd name="T25" fmla="*/ 178 h 391"/>
                <a:gd name="T26" fmla="*/ 51 w 295"/>
                <a:gd name="T27" fmla="*/ 159 h 391"/>
                <a:gd name="T28" fmla="*/ 42 w 295"/>
                <a:gd name="T29" fmla="*/ 134 h 391"/>
                <a:gd name="T30" fmla="*/ 36 w 295"/>
                <a:gd name="T31" fmla="*/ 104 h 391"/>
                <a:gd name="T32" fmla="*/ 32 w 295"/>
                <a:gd name="T33" fmla="*/ 70 h 391"/>
                <a:gd name="T34" fmla="*/ 30 w 295"/>
                <a:gd name="T35" fmla="*/ 30 h 391"/>
                <a:gd name="T36" fmla="*/ 0 w 295"/>
                <a:gd name="T37" fmla="*/ 15 h 391"/>
                <a:gd name="T38" fmla="*/ 3 w 295"/>
                <a:gd name="T39" fmla="*/ 84 h 391"/>
                <a:gd name="T40" fmla="*/ 8 w 295"/>
                <a:gd name="T41" fmla="*/ 118 h 391"/>
                <a:gd name="T42" fmla="*/ 15 w 295"/>
                <a:gd name="T43" fmla="*/ 150 h 391"/>
                <a:gd name="T44" fmla="*/ 27 w 295"/>
                <a:gd name="T45" fmla="*/ 179 h 391"/>
                <a:gd name="T46" fmla="*/ 42 w 295"/>
                <a:gd name="T47" fmla="*/ 204 h 391"/>
                <a:gd name="T48" fmla="*/ 63 w 295"/>
                <a:gd name="T49" fmla="*/ 223 h 391"/>
                <a:gd name="T50" fmla="*/ 76 w 295"/>
                <a:gd name="T51" fmla="*/ 230 h 391"/>
                <a:gd name="T52" fmla="*/ 90 w 295"/>
                <a:gd name="T53" fmla="*/ 237 h 391"/>
                <a:gd name="T54" fmla="*/ 210 w 295"/>
                <a:gd name="T55" fmla="*/ 391 h 391"/>
                <a:gd name="T56" fmla="*/ 218 w 295"/>
                <a:gd name="T57" fmla="*/ 235 h 391"/>
                <a:gd name="T58" fmla="*/ 232 w 295"/>
                <a:gd name="T59" fmla="*/ 227 h 391"/>
                <a:gd name="T60" fmla="*/ 245 w 295"/>
                <a:gd name="T61" fmla="*/ 219 h 391"/>
                <a:gd name="T62" fmla="*/ 255 w 295"/>
                <a:gd name="T63" fmla="*/ 209 h 391"/>
                <a:gd name="T64" fmla="*/ 268 w 295"/>
                <a:gd name="T65" fmla="*/ 191 h 391"/>
                <a:gd name="T66" fmla="*/ 280 w 295"/>
                <a:gd name="T67" fmla="*/ 164 h 391"/>
                <a:gd name="T68" fmla="*/ 289 w 295"/>
                <a:gd name="T69" fmla="*/ 133 h 391"/>
                <a:gd name="T70" fmla="*/ 293 w 295"/>
                <a:gd name="T71" fmla="*/ 100 h 391"/>
                <a:gd name="T72" fmla="*/ 295 w 295"/>
                <a:gd name="T73" fmla="*/ 48 h 391"/>
                <a:gd name="T74" fmla="*/ 295 w 295"/>
                <a:gd name="T75" fmla="*/ 0 h 391"/>
                <a:gd name="T76" fmla="*/ 0 w 295"/>
                <a:gd name="T77" fmla="*/ 15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391">
                  <a:moveTo>
                    <a:pt x="265" y="30"/>
                  </a:moveTo>
                  <a:lnTo>
                    <a:pt x="265" y="64"/>
                  </a:lnTo>
                  <a:lnTo>
                    <a:pt x="263" y="96"/>
                  </a:lnTo>
                  <a:lnTo>
                    <a:pt x="261" y="111"/>
                  </a:lnTo>
                  <a:lnTo>
                    <a:pt x="259" y="125"/>
                  </a:lnTo>
                  <a:lnTo>
                    <a:pt x="256" y="138"/>
                  </a:lnTo>
                  <a:lnTo>
                    <a:pt x="253" y="151"/>
                  </a:lnTo>
                  <a:lnTo>
                    <a:pt x="249" y="162"/>
                  </a:lnTo>
                  <a:lnTo>
                    <a:pt x="244" y="173"/>
                  </a:lnTo>
                  <a:lnTo>
                    <a:pt x="238" y="182"/>
                  </a:lnTo>
                  <a:lnTo>
                    <a:pt x="231" y="190"/>
                  </a:lnTo>
                  <a:lnTo>
                    <a:pt x="223" y="197"/>
                  </a:lnTo>
                  <a:lnTo>
                    <a:pt x="214" y="203"/>
                  </a:lnTo>
                  <a:lnTo>
                    <a:pt x="204" y="208"/>
                  </a:lnTo>
                  <a:lnTo>
                    <a:pt x="192" y="211"/>
                  </a:lnTo>
                  <a:lnTo>
                    <a:pt x="180" y="213"/>
                  </a:lnTo>
                  <a:lnTo>
                    <a:pt x="180" y="361"/>
                  </a:lnTo>
                  <a:lnTo>
                    <a:pt x="120" y="361"/>
                  </a:lnTo>
                  <a:lnTo>
                    <a:pt x="120" y="213"/>
                  </a:lnTo>
                  <a:lnTo>
                    <a:pt x="109" y="211"/>
                  </a:lnTo>
                  <a:lnTo>
                    <a:pt x="99" y="208"/>
                  </a:lnTo>
                  <a:lnTo>
                    <a:pt x="90" y="205"/>
                  </a:lnTo>
                  <a:lnTo>
                    <a:pt x="82" y="199"/>
                  </a:lnTo>
                  <a:lnTo>
                    <a:pt x="74" y="194"/>
                  </a:lnTo>
                  <a:lnTo>
                    <a:pt x="68" y="186"/>
                  </a:lnTo>
                  <a:lnTo>
                    <a:pt x="61" y="178"/>
                  </a:lnTo>
                  <a:lnTo>
                    <a:pt x="56" y="169"/>
                  </a:lnTo>
                  <a:lnTo>
                    <a:pt x="51" y="159"/>
                  </a:lnTo>
                  <a:lnTo>
                    <a:pt x="46" y="147"/>
                  </a:lnTo>
                  <a:lnTo>
                    <a:pt x="42" y="134"/>
                  </a:lnTo>
                  <a:lnTo>
                    <a:pt x="39" y="120"/>
                  </a:lnTo>
                  <a:lnTo>
                    <a:pt x="36" y="104"/>
                  </a:lnTo>
                  <a:lnTo>
                    <a:pt x="33" y="88"/>
                  </a:lnTo>
                  <a:lnTo>
                    <a:pt x="32" y="70"/>
                  </a:lnTo>
                  <a:lnTo>
                    <a:pt x="31" y="50"/>
                  </a:lnTo>
                  <a:lnTo>
                    <a:pt x="30" y="30"/>
                  </a:lnTo>
                  <a:lnTo>
                    <a:pt x="265" y="30"/>
                  </a:lnTo>
                  <a:close/>
                  <a:moveTo>
                    <a:pt x="0" y="15"/>
                  </a:moveTo>
                  <a:lnTo>
                    <a:pt x="0" y="49"/>
                  </a:lnTo>
                  <a:lnTo>
                    <a:pt x="3" y="84"/>
                  </a:lnTo>
                  <a:lnTo>
                    <a:pt x="5" y="101"/>
                  </a:lnTo>
                  <a:lnTo>
                    <a:pt x="8" y="118"/>
                  </a:lnTo>
                  <a:lnTo>
                    <a:pt x="11" y="134"/>
                  </a:lnTo>
                  <a:lnTo>
                    <a:pt x="15" y="150"/>
                  </a:lnTo>
                  <a:lnTo>
                    <a:pt x="21" y="164"/>
                  </a:lnTo>
                  <a:lnTo>
                    <a:pt x="27" y="179"/>
                  </a:lnTo>
                  <a:lnTo>
                    <a:pt x="35" y="192"/>
                  </a:lnTo>
                  <a:lnTo>
                    <a:pt x="42" y="204"/>
                  </a:lnTo>
                  <a:lnTo>
                    <a:pt x="53" y="214"/>
                  </a:lnTo>
                  <a:lnTo>
                    <a:pt x="63" y="223"/>
                  </a:lnTo>
                  <a:lnTo>
                    <a:pt x="70" y="227"/>
                  </a:lnTo>
                  <a:lnTo>
                    <a:pt x="76" y="230"/>
                  </a:lnTo>
                  <a:lnTo>
                    <a:pt x="83" y="234"/>
                  </a:lnTo>
                  <a:lnTo>
                    <a:pt x="90" y="237"/>
                  </a:lnTo>
                  <a:lnTo>
                    <a:pt x="90" y="391"/>
                  </a:lnTo>
                  <a:lnTo>
                    <a:pt x="210" y="391"/>
                  </a:lnTo>
                  <a:lnTo>
                    <a:pt x="210" y="237"/>
                  </a:lnTo>
                  <a:lnTo>
                    <a:pt x="218" y="235"/>
                  </a:lnTo>
                  <a:lnTo>
                    <a:pt x="225" y="231"/>
                  </a:lnTo>
                  <a:lnTo>
                    <a:pt x="232" y="227"/>
                  </a:lnTo>
                  <a:lnTo>
                    <a:pt x="238" y="223"/>
                  </a:lnTo>
                  <a:lnTo>
                    <a:pt x="245" y="219"/>
                  </a:lnTo>
                  <a:lnTo>
                    <a:pt x="250" y="214"/>
                  </a:lnTo>
                  <a:lnTo>
                    <a:pt x="255" y="209"/>
                  </a:lnTo>
                  <a:lnTo>
                    <a:pt x="260" y="204"/>
                  </a:lnTo>
                  <a:lnTo>
                    <a:pt x="268" y="191"/>
                  </a:lnTo>
                  <a:lnTo>
                    <a:pt x="275" y="178"/>
                  </a:lnTo>
                  <a:lnTo>
                    <a:pt x="280" y="164"/>
                  </a:lnTo>
                  <a:lnTo>
                    <a:pt x="285" y="149"/>
                  </a:lnTo>
                  <a:lnTo>
                    <a:pt x="289" y="133"/>
                  </a:lnTo>
                  <a:lnTo>
                    <a:pt x="291" y="117"/>
                  </a:lnTo>
                  <a:lnTo>
                    <a:pt x="293" y="100"/>
                  </a:lnTo>
                  <a:lnTo>
                    <a:pt x="294" y="82"/>
                  </a:lnTo>
                  <a:lnTo>
                    <a:pt x="295" y="48"/>
                  </a:lnTo>
                  <a:lnTo>
                    <a:pt x="295" y="15"/>
                  </a:lnTo>
                  <a:lnTo>
                    <a:pt x="295" y="0"/>
                  </a:lnTo>
                  <a:lnTo>
                    <a:pt x="0"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16" name="Group 84">
            <a:extLst>
              <a:ext uri="{FF2B5EF4-FFF2-40B4-BE49-F238E27FC236}">
                <a16:creationId xmlns:a16="http://schemas.microsoft.com/office/drawing/2014/main" id="{C57DA60C-497D-4F3A-B137-CD3648EA7C13}"/>
              </a:ext>
            </a:extLst>
          </p:cNvPr>
          <p:cNvGrpSpPr>
            <a:grpSpLocks noChangeAspect="1"/>
          </p:cNvGrpSpPr>
          <p:nvPr/>
        </p:nvGrpSpPr>
        <p:grpSpPr>
          <a:xfrm>
            <a:off x="6187854" y="5441791"/>
            <a:ext cx="283177" cy="237190"/>
            <a:chOff x="7875588" y="1130300"/>
            <a:chExt cx="371476" cy="311150"/>
          </a:xfrm>
          <a:solidFill>
            <a:schemeClr val="bg1"/>
          </a:solidFill>
          <a:effectLst/>
        </p:grpSpPr>
        <p:sp>
          <p:nvSpPr>
            <p:cNvPr id="717" name="Freeform 85">
              <a:extLst>
                <a:ext uri="{FF2B5EF4-FFF2-40B4-BE49-F238E27FC236}">
                  <a16:creationId xmlns:a16="http://schemas.microsoft.com/office/drawing/2014/main" id="{FD0F7E17-4D39-4B5B-9A01-6DC7E461219D}"/>
                </a:ext>
              </a:extLst>
            </p:cNvPr>
            <p:cNvSpPr>
              <a:spLocks noEditPoints="1"/>
            </p:cNvSpPr>
            <p:nvPr/>
          </p:nvSpPr>
          <p:spPr bwMode="auto">
            <a:xfrm>
              <a:off x="7875588" y="1171575"/>
              <a:ext cx="61913" cy="635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1"/>
                    <a:pt x="6" y="12"/>
                    <a:pt x="8" y="12"/>
                  </a:cubicBezTo>
                  <a:cubicBezTo>
                    <a:pt x="10" y="12"/>
                    <a:pt x="12" y="11"/>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8" name="Freeform 86">
              <a:extLst>
                <a:ext uri="{FF2B5EF4-FFF2-40B4-BE49-F238E27FC236}">
                  <a16:creationId xmlns:a16="http://schemas.microsoft.com/office/drawing/2014/main" id="{F76CD3B4-180A-4342-B709-2ED46A8A2521}"/>
                </a:ext>
              </a:extLst>
            </p:cNvPr>
            <p:cNvSpPr>
              <a:spLocks noEditPoints="1"/>
            </p:cNvSpPr>
            <p:nvPr/>
          </p:nvSpPr>
          <p:spPr bwMode="auto">
            <a:xfrm>
              <a:off x="8185151" y="11763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5"/>
                    <a:pt x="4" y="8"/>
                  </a:cubicBezTo>
                  <a:cubicBezTo>
                    <a:pt x="4" y="10"/>
                    <a:pt x="6" y="12"/>
                    <a:pt x="8" y="12"/>
                  </a:cubicBezTo>
                  <a:cubicBezTo>
                    <a:pt x="10" y="12"/>
                    <a:pt x="12" y="10"/>
                    <a:pt x="12" y="8"/>
                  </a:cubicBezTo>
                  <a:cubicBezTo>
                    <a:pt x="12" y="5"/>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9" name="Freeform 87">
              <a:extLst>
                <a:ext uri="{FF2B5EF4-FFF2-40B4-BE49-F238E27FC236}">
                  <a16:creationId xmlns:a16="http://schemas.microsoft.com/office/drawing/2014/main" id="{3E2C64A8-4CDC-4ADF-84E5-0DA65096F1CB}"/>
                </a:ext>
              </a:extLst>
            </p:cNvPr>
            <p:cNvSpPr>
              <a:spLocks/>
            </p:cNvSpPr>
            <p:nvPr/>
          </p:nvSpPr>
          <p:spPr bwMode="auto">
            <a:xfrm>
              <a:off x="7929563" y="1425575"/>
              <a:ext cx="263525" cy="15875"/>
            </a:xfrm>
            <a:custGeom>
              <a:avLst/>
              <a:gdLst>
                <a:gd name="T0" fmla="*/ 66 w 68"/>
                <a:gd name="T1" fmla="*/ 4 h 4"/>
                <a:gd name="T2" fmla="*/ 2 w 68"/>
                <a:gd name="T3" fmla="*/ 4 h 4"/>
                <a:gd name="T4" fmla="*/ 0 w 68"/>
                <a:gd name="T5" fmla="*/ 2 h 4"/>
                <a:gd name="T6" fmla="*/ 2 w 68"/>
                <a:gd name="T7" fmla="*/ 0 h 4"/>
                <a:gd name="T8" fmla="*/ 66 w 68"/>
                <a:gd name="T9" fmla="*/ 0 h 4"/>
                <a:gd name="T10" fmla="*/ 68 w 68"/>
                <a:gd name="T11" fmla="*/ 2 h 4"/>
                <a:gd name="T12" fmla="*/ 66 w 6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8" h="4">
                  <a:moveTo>
                    <a:pt x="66" y="4"/>
                  </a:moveTo>
                  <a:cubicBezTo>
                    <a:pt x="2" y="4"/>
                    <a:pt x="2" y="4"/>
                    <a:pt x="2" y="4"/>
                  </a:cubicBezTo>
                  <a:cubicBezTo>
                    <a:pt x="1" y="4"/>
                    <a:pt x="0" y="3"/>
                    <a:pt x="0" y="2"/>
                  </a:cubicBezTo>
                  <a:cubicBezTo>
                    <a:pt x="0" y="1"/>
                    <a:pt x="1" y="0"/>
                    <a:pt x="2" y="0"/>
                  </a:cubicBezTo>
                  <a:cubicBezTo>
                    <a:pt x="66" y="0"/>
                    <a:pt x="66" y="0"/>
                    <a:pt x="66" y="0"/>
                  </a:cubicBezTo>
                  <a:cubicBezTo>
                    <a:pt x="67" y="0"/>
                    <a:pt x="68" y="1"/>
                    <a:pt x="68" y="2"/>
                  </a:cubicBezTo>
                  <a:cubicBezTo>
                    <a:pt x="68" y="3"/>
                    <a:pt x="67" y="4"/>
                    <a:pt x="6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0" name="Freeform 88">
              <a:extLst>
                <a:ext uri="{FF2B5EF4-FFF2-40B4-BE49-F238E27FC236}">
                  <a16:creationId xmlns:a16="http://schemas.microsoft.com/office/drawing/2014/main" id="{254B6BF0-435A-4FA5-A3BA-010922E94EEF}"/>
                </a:ext>
              </a:extLst>
            </p:cNvPr>
            <p:cNvSpPr>
              <a:spLocks noEditPoints="1"/>
            </p:cNvSpPr>
            <p:nvPr/>
          </p:nvSpPr>
          <p:spPr bwMode="auto">
            <a:xfrm>
              <a:off x="7899401" y="1192213"/>
              <a:ext cx="323850" cy="217488"/>
            </a:xfrm>
            <a:custGeom>
              <a:avLst/>
              <a:gdLst>
                <a:gd name="T0" fmla="*/ 74 w 84"/>
                <a:gd name="T1" fmla="*/ 56 h 56"/>
                <a:gd name="T2" fmla="*/ 10 w 84"/>
                <a:gd name="T3" fmla="*/ 56 h 56"/>
                <a:gd name="T4" fmla="*/ 8 w 84"/>
                <a:gd name="T5" fmla="*/ 54 h 56"/>
                <a:gd name="T6" fmla="*/ 0 w 84"/>
                <a:gd name="T7" fmla="*/ 10 h 56"/>
                <a:gd name="T8" fmla="*/ 1 w 84"/>
                <a:gd name="T9" fmla="*/ 7 h 56"/>
                <a:gd name="T10" fmla="*/ 4 w 84"/>
                <a:gd name="T11" fmla="*/ 9 h 56"/>
                <a:gd name="T12" fmla="*/ 22 w 84"/>
                <a:gd name="T13" fmla="*/ 28 h 56"/>
                <a:gd name="T14" fmla="*/ 40 w 84"/>
                <a:gd name="T15" fmla="*/ 2 h 56"/>
                <a:gd name="T16" fmla="*/ 42 w 84"/>
                <a:gd name="T17" fmla="*/ 0 h 56"/>
                <a:gd name="T18" fmla="*/ 44 w 84"/>
                <a:gd name="T19" fmla="*/ 2 h 56"/>
                <a:gd name="T20" fmla="*/ 62 w 84"/>
                <a:gd name="T21" fmla="*/ 28 h 56"/>
                <a:gd name="T22" fmla="*/ 80 w 84"/>
                <a:gd name="T23" fmla="*/ 9 h 56"/>
                <a:gd name="T24" fmla="*/ 83 w 84"/>
                <a:gd name="T25" fmla="*/ 8 h 56"/>
                <a:gd name="T26" fmla="*/ 84 w 84"/>
                <a:gd name="T27" fmla="*/ 10 h 56"/>
                <a:gd name="T28" fmla="*/ 76 w 84"/>
                <a:gd name="T29" fmla="*/ 54 h 56"/>
                <a:gd name="T30" fmla="*/ 74 w 84"/>
                <a:gd name="T31" fmla="*/ 56 h 56"/>
                <a:gd name="T32" fmla="*/ 12 w 84"/>
                <a:gd name="T33" fmla="*/ 52 h 56"/>
                <a:gd name="T34" fmla="*/ 72 w 84"/>
                <a:gd name="T35" fmla="*/ 52 h 56"/>
                <a:gd name="T36" fmla="*/ 77 w 84"/>
                <a:gd name="T37" fmla="*/ 24 h 56"/>
                <a:gd name="T38" fmla="*/ 62 w 84"/>
                <a:gd name="T39" fmla="*/ 32 h 56"/>
                <a:gd name="T40" fmla="*/ 42 w 84"/>
                <a:gd name="T41" fmla="*/ 11 h 56"/>
                <a:gd name="T42" fmla="*/ 22 w 84"/>
                <a:gd name="T43" fmla="*/ 32 h 56"/>
                <a:gd name="T44" fmla="*/ 7 w 84"/>
                <a:gd name="T45" fmla="*/ 24 h 56"/>
                <a:gd name="T46" fmla="*/ 12 w 84"/>
                <a:gd name="T47"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56">
                  <a:moveTo>
                    <a:pt x="74" y="56"/>
                  </a:moveTo>
                  <a:cubicBezTo>
                    <a:pt x="10" y="56"/>
                    <a:pt x="10" y="56"/>
                    <a:pt x="10" y="56"/>
                  </a:cubicBezTo>
                  <a:cubicBezTo>
                    <a:pt x="9" y="56"/>
                    <a:pt x="8" y="55"/>
                    <a:pt x="8" y="54"/>
                  </a:cubicBezTo>
                  <a:cubicBezTo>
                    <a:pt x="0" y="10"/>
                    <a:pt x="0" y="10"/>
                    <a:pt x="0" y="10"/>
                  </a:cubicBezTo>
                  <a:cubicBezTo>
                    <a:pt x="0" y="9"/>
                    <a:pt x="0" y="8"/>
                    <a:pt x="1" y="7"/>
                  </a:cubicBezTo>
                  <a:cubicBezTo>
                    <a:pt x="2" y="7"/>
                    <a:pt x="4" y="8"/>
                    <a:pt x="4" y="9"/>
                  </a:cubicBezTo>
                  <a:cubicBezTo>
                    <a:pt x="4" y="9"/>
                    <a:pt x="8" y="28"/>
                    <a:pt x="22" y="28"/>
                  </a:cubicBezTo>
                  <a:cubicBezTo>
                    <a:pt x="36" y="28"/>
                    <a:pt x="40" y="2"/>
                    <a:pt x="40" y="2"/>
                  </a:cubicBezTo>
                  <a:cubicBezTo>
                    <a:pt x="40" y="1"/>
                    <a:pt x="41" y="0"/>
                    <a:pt x="42" y="0"/>
                  </a:cubicBezTo>
                  <a:cubicBezTo>
                    <a:pt x="43" y="0"/>
                    <a:pt x="44" y="1"/>
                    <a:pt x="44" y="2"/>
                  </a:cubicBezTo>
                  <a:cubicBezTo>
                    <a:pt x="44" y="2"/>
                    <a:pt x="48" y="28"/>
                    <a:pt x="62" y="28"/>
                  </a:cubicBezTo>
                  <a:cubicBezTo>
                    <a:pt x="76" y="28"/>
                    <a:pt x="80" y="9"/>
                    <a:pt x="80" y="9"/>
                  </a:cubicBezTo>
                  <a:cubicBezTo>
                    <a:pt x="80" y="8"/>
                    <a:pt x="82" y="7"/>
                    <a:pt x="83" y="8"/>
                  </a:cubicBezTo>
                  <a:cubicBezTo>
                    <a:pt x="84" y="8"/>
                    <a:pt x="84" y="9"/>
                    <a:pt x="84" y="10"/>
                  </a:cubicBezTo>
                  <a:cubicBezTo>
                    <a:pt x="76" y="54"/>
                    <a:pt x="76" y="54"/>
                    <a:pt x="76" y="54"/>
                  </a:cubicBezTo>
                  <a:cubicBezTo>
                    <a:pt x="76" y="55"/>
                    <a:pt x="75" y="56"/>
                    <a:pt x="74" y="56"/>
                  </a:cubicBezTo>
                  <a:close/>
                  <a:moveTo>
                    <a:pt x="12" y="52"/>
                  </a:moveTo>
                  <a:cubicBezTo>
                    <a:pt x="72" y="52"/>
                    <a:pt x="72" y="52"/>
                    <a:pt x="72" y="52"/>
                  </a:cubicBezTo>
                  <a:cubicBezTo>
                    <a:pt x="77" y="24"/>
                    <a:pt x="77" y="24"/>
                    <a:pt x="77" y="24"/>
                  </a:cubicBezTo>
                  <a:cubicBezTo>
                    <a:pt x="74" y="28"/>
                    <a:pt x="69" y="32"/>
                    <a:pt x="62" y="32"/>
                  </a:cubicBezTo>
                  <a:cubicBezTo>
                    <a:pt x="50" y="32"/>
                    <a:pt x="45" y="20"/>
                    <a:pt x="42" y="11"/>
                  </a:cubicBezTo>
                  <a:cubicBezTo>
                    <a:pt x="39" y="20"/>
                    <a:pt x="34" y="32"/>
                    <a:pt x="22" y="32"/>
                  </a:cubicBezTo>
                  <a:cubicBezTo>
                    <a:pt x="15" y="32"/>
                    <a:pt x="10" y="28"/>
                    <a:pt x="7" y="24"/>
                  </a:cubicBezTo>
                  <a:lnTo>
                    <a:pt x="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1" name="Freeform 89">
              <a:extLst>
                <a:ext uri="{FF2B5EF4-FFF2-40B4-BE49-F238E27FC236}">
                  <a16:creationId xmlns:a16="http://schemas.microsoft.com/office/drawing/2014/main" id="{D18345A2-9442-477E-96A6-3C9C7899F44B}"/>
                </a:ext>
              </a:extLst>
            </p:cNvPr>
            <p:cNvSpPr>
              <a:spLocks noEditPoints="1"/>
            </p:cNvSpPr>
            <p:nvPr/>
          </p:nvSpPr>
          <p:spPr bwMode="auto">
            <a:xfrm>
              <a:off x="8023226"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15" name="Group 31">
            <a:extLst>
              <a:ext uri="{FF2B5EF4-FFF2-40B4-BE49-F238E27FC236}">
                <a16:creationId xmlns:a16="http://schemas.microsoft.com/office/drawing/2014/main" id="{96B097B4-2B1A-42B2-94E7-DA466D601CD1}"/>
              </a:ext>
            </a:extLst>
          </p:cNvPr>
          <p:cNvGrpSpPr>
            <a:grpSpLocks noChangeAspect="1"/>
          </p:cNvGrpSpPr>
          <p:nvPr/>
        </p:nvGrpSpPr>
        <p:grpSpPr>
          <a:xfrm>
            <a:off x="6186633" y="4879041"/>
            <a:ext cx="285619" cy="285619"/>
            <a:chOff x="2617143" y="4783732"/>
            <a:chExt cx="285493" cy="285493"/>
          </a:xfrm>
          <a:solidFill>
            <a:schemeClr val="bg1"/>
          </a:solidFill>
          <a:effectLst/>
        </p:grpSpPr>
        <p:sp>
          <p:nvSpPr>
            <p:cNvPr id="1116" name="Freeform 32">
              <a:extLst>
                <a:ext uri="{FF2B5EF4-FFF2-40B4-BE49-F238E27FC236}">
                  <a16:creationId xmlns:a16="http://schemas.microsoft.com/office/drawing/2014/main" id="{225DA289-0E9C-43A0-92E8-A7AB186EB502}"/>
                </a:ext>
              </a:extLst>
            </p:cNvPr>
            <p:cNvSpPr>
              <a:spLocks noEditPoints="1"/>
            </p:cNvSpPr>
            <p:nvPr/>
          </p:nvSpPr>
          <p:spPr bwMode="auto">
            <a:xfrm>
              <a:off x="2617143" y="4783732"/>
              <a:ext cx="285493" cy="285493"/>
            </a:xfrm>
            <a:custGeom>
              <a:avLst/>
              <a:gdLst>
                <a:gd name="T0" fmla="*/ 25 w 763"/>
                <a:gd name="T1" fmla="*/ 255 h 764"/>
                <a:gd name="T2" fmla="*/ 738 w 763"/>
                <a:gd name="T3" fmla="*/ 739 h 764"/>
                <a:gd name="T4" fmla="*/ 127 w 763"/>
                <a:gd name="T5" fmla="*/ 76 h 764"/>
                <a:gd name="T6" fmla="*/ 127 w 763"/>
                <a:gd name="T7" fmla="*/ 145 h 764"/>
                <a:gd name="T8" fmla="*/ 135 w 763"/>
                <a:gd name="T9" fmla="*/ 152 h 764"/>
                <a:gd name="T10" fmla="*/ 241 w 763"/>
                <a:gd name="T11" fmla="*/ 153 h 764"/>
                <a:gd name="T12" fmla="*/ 251 w 763"/>
                <a:gd name="T13" fmla="*/ 149 h 764"/>
                <a:gd name="T14" fmla="*/ 254 w 763"/>
                <a:gd name="T15" fmla="*/ 140 h 764"/>
                <a:gd name="T16" fmla="*/ 508 w 763"/>
                <a:gd name="T17" fmla="*/ 76 h 764"/>
                <a:gd name="T18" fmla="*/ 510 w 763"/>
                <a:gd name="T19" fmla="*/ 145 h 764"/>
                <a:gd name="T20" fmla="*/ 517 w 763"/>
                <a:gd name="T21" fmla="*/ 152 h 764"/>
                <a:gd name="T22" fmla="*/ 623 w 763"/>
                <a:gd name="T23" fmla="*/ 153 h 764"/>
                <a:gd name="T24" fmla="*/ 632 w 763"/>
                <a:gd name="T25" fmla="*/ 149 h 764"/>
                <a:gd name="T26" fmla="*/ 636 w 763"/>
                <a:gd name="T27" fmla="*/ 140 h 764"/>
                <a:gd name="T28" fmla="*/ 738 w 763"/>
                <a:gd name="T29" fmla="*/ 76 h 764"/>
                <a:gd name="T30" fmla="*/ 25 w 763"/>
                <a:gd name="T31" fmla="*/ 229 h 764"/>
                <a:gd name="T32" fmla="*/ 127 w 763"/>
                <a:gd name="T33" fmla="*/ 76 h 764"/>
                <a:gd name="T34" fmla="*/ 228 w 763"/>
                <a:gd name="T35" fmla="*/ 25 h 764"/>
                <a:gd name="T36" fmla="*/ 152 w 763"/>
                <a:gd name="T37" fmla="*/ 127 h 764"/>
                <a:gd name="T38" fmla="*/ 534 w 763"/>
                <a:gd name="T39" fmla="*/ 25 h 764"/>
                <a:gd name="T40" fmla="*/ 610 w 763"/>
                <a:gd name="T41" fmla="*/ 127 h 764"/>
                <a:gd name="T42" fmla="*/ 534 w 763"/>
                <a:gd name="T43" fmla="*/ 25 h 764"/>
                <a:gd name="T44" fmla="*/ 636 w 763"/>
                <a:gd name="T45" fmla="*/ 51 h 764"/>
                <a:gd name="T46" fmla="*/ 635 w 763"/>
                <a:gd name="T47" fmla="*/ 8 h 764"/>
                <a:gd name="T48" fmla="*/ 629 w 763"/>
                <a:gd name="T49" fmla="*/ 1 h 764"/>
                <a:gd name="T50" fmla="*/ 521 w 763"/>
                <a:gd name="T51" fmla="*/ 0 h 764"/>
                <a:gd name="T52" fmla="*/ 513 w 763"/>
                <a:gd name="T53" fmla="*/ 3 h 764"/>
                <a:gd name="T54" fmla="*/ 508 w 763"/>
                <a:gd name="T55" fmla="*/ 13 h 764"/>
                <a:gd name="T56" fmla="*/ 254 w 763"/>
                <a:gd name="T57" fmla="*/ 51 h 764"/>
                <a:gd name="T58" fmla="*/ 253 w 763"/>
                <a:gd name="T59" fmla="*/ 8 h 764"/>
                <a:gd name="T60" fmla="*/ 246 w 763"/>
                <a:gd name="T61" fmla="*/ 1 h 764"/>
                <a:gd name="T62" fmla="*/ 139 w 763"/>
                <a:gd name="T63" fmla="*/ 0 h 764"/>
                <a:gd name="T64" fmla="*/ 131 w 763"/>
                <a:gd name="T65" fmla="*/ 3 h 764"/>
                <a:gd name="T66" fmla="*/ 127 w 763"/>
                <a:gd name="T67" fmla="*/ 13 h 764"/>
                <a:gd name="T68" fmla="*/ 12 w 763"/>
                <a:gd name="T69" fmla="*/ 51 h 764"/>
                <a:gd name="T70" fmla="*/ 3 w 763"/>
                <a:gd name="T71" fmla="*/ 55 h 764"/>
                <a:gd name="T72" fmla="*/ 0 w 763"/>
                <a:gd name="T73" fmla="*/ 64 h 764"/>
                <a:gd name="T74" fmla="*/ 1 w 763"/>
                <a:gd name="T75" fmla="*/ 756 h 764"/>
                <a:gd name="T76" fmla="*/ 7 w 763"/>
                <a:gd name="T77" fmla="*/ 763 h 764"/>
                <a:gd name="T78" fmla="*/ 751 w 763"/>
                <a:gd name="T79" fmla="*/ 764 h 764"/>
                <a:gd name="T80" fmla="*/ 760 w 763"/>
                <a:gd name="T81" fmla="*/ 760 h 764"/>
                <a:gd name="T82" fmla="*/ 763 w 763"/>
                <a:gd name="T83" fmla="*/ 751 h 764"/>
                <a:gd name="T84" fmla="*/ 763 w 763"/>
                <a:gd name="T85" fmla="*/ 59 h 764"/>
                <a:gd name="T86" fmla="*/ 755 w 763"/>
                <a:gd name="T87" fmla="*/ 52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3" h="764">
                  <a:moveTo>
                    <a:pt x="25" y="739"/>
                  </a:moveTo>
                  <a:lnTo>
                    <a:pt x="25" y="255"/>
                  </a:lnTo>
                  <a:lnTo>
                    <a:pt x="738" y="255"/>
                  </a:lnTo>
                  <a:lnTo>
                    <a:pt x="738" y="739"/>
                  </a:lnTo>
                  <a:lnTo>
                    <a:pt x="25" y="739"/>
                  </a:lnTo>
                  <a:close/>
                  <a:moveTo>
                    <a:pt x="127" y="76"/>
                  </a:moveTo>
                  <a:lnTo>
                    <a:pt x="127" y="140"/>
                  </a:lnTo>
                  <a:lnTo>
                    <a:pt x="127" y="145"/>
                  </a:lnTo>
                  <a:lnTo>
                    <a:pt x="131" y="149"/>
                  </a:lnTo>
                  <a:lnTo>
                    <a:pt x="135" y="152"/>
                  </a:lnTo>
                  <a:lnTo>
                    <a:pt x="139" y="153"/>
                  </a:lnTo>
                  <a:lnTo>
                    <a:pt x="241" y="153"/>
                  </a:lnTo>
                  <a:lnTo>
                    <a:pt x="246" y="152"/>
                  </a:lnTo>
                  <a:lnTo>
                    <a:pt x="251" y="149"/>
                  </a:lnTo>
                  <a:lnTo>
                    <a:pt x="253" y="145"/>
                  </a:lnTo>
                  <a:lnTo>
                    <a:pt x="254" y="140"/>
                  </a:lnTo>
                  <a:lnTo>
                    <a:pt x="254" y="76"/>
                  </a:lnTo>
                  <a:lnTo>
                    <a:pt x="508" y="76"/>
                  </a:lnTo>
                  <a:lnTo>
                    <a:pt x="508" y="140"/>
                  </a:lnTo>
                  <a:lnTo>
                    <a:pt x="510" y="145"/>
                  </a:lnTo>
                  <a:lnTo>
                    <a:pt x="513" y="149"/>
                  </a:lnTo>
                  <a:lnTo>
                    <a:pt x="517" y="152"/>
                  </a:lnTo>
                  <a:lnTo>
                    <a:pt x="521" y="153"/>
                  </a:lnTo>
                  <a:lnTo>
                    <a:pt x="623" y="153"/>
                  </a:lnTo>
                  <a:lnTo>
                    <a:pt x="629" y="152"/>
                  </a:lnTo>
                  <a:lnTo>
                    <a:pt x="632" y="149"/>
                  </a:lnTo>
                  <a:lnTo>
                    <a:pt x="635" y="145"/>
                  </a:lnTo>
                  <a:lnTo>
                    <a:pt x="636" y="140"/>
                  </a:lnTo>
                  <a:lnTo>
                    <a:pt x="636" y="76"/>
                  </a:lnTo>
                  <a:lnTo>
                    <a:pt x="738" y="76"/>
                  </a:lnTo>
                  <a:lnTo>
                    <a:pt x="738" y="229"/>
                  </a:lnTo>
                  <a:lnTo>
                    <a:pt x="25" y="229"/>
                  </a:lnTo>
                  <a:lnTo>
                    <a:pt x="25" y="76"/>
                  </a:lnTo>
                  <a:lnTo>
                    <a:pt x="127" y="76"/>
                  </a:lnTo>
                  <a:close/>
                  <a:moveTo>
                    <a:pt x="152" y="25"/>
                  </a:moveTo>
                  <a:lnTo>
                    <a:pt x="228" y="25"/>
                  </a:lnTo>
                  <a:lnTo>
                    <a:pt x="228" y="127"/>
                  </a:lnTo>
                  <a:lnTo>
                    <a:pt x="152" y="127"/>
                  </a:lnTo>
                  <a:lnTo>
                    <a:pt x="152" y="25"/>
                  </a:lnTo>
                  <a:close/>
                  <a:moveTo>
                    <a:pt x="534" y="25"/>
                  </a:moveTo>
                  <a:lnTo>
                    <a:pt x="610" y="25"/>
                  </a:lnTo>
                  <a:lnTo>
                    <a:pt x="610" y="127"/>
                  </a:lnTo>
                  <a:lnTo>
                    <a:pt x="534" y="127"/>
                  </a:lnTo>
                  <a:lnTo>
                    <a:pt x="534" y="25"/>
                  </a:lnTo>
                  <a:close/>
                  <a:moveTo>
                    <a:pt x="751" y="51"/>
                  </a:moveTo>
                  <a:lnTo>
                    <a:pt x="636" y="51"/>
                  </a:lnTo>
                  <a:lnTo>
                    <a:pt x="636" y="13"/>
                  </a:lnTo>
                  <a:lnTo>
                    <a:pt x="635" y="8"/>
                  </a:lnTo>
                  <a:lnTo>
                    <a:pt x="632" y="3"/>
                  </a:lnTo>
                  <a:lnTo>
                    <a:pt x="629" y="1"/>
                  </a:lnTo>
                  <a:lnTo>
                    <a:pt x="623" y="0"/>
                  </a:lnTo>
                  <a:lnTo>
                    <a:pt x="521" y="0"/>
                  </a:lnTo>
                  <a:lnTo>
                    <a:pt x="517" y="1"/>
                  </a:lnTo>
                  <a:lnTo>
                    <a:pt x="513" y="3"/>
                  </a:lnTo>
                  <a:lnTo>
                    <a:pt x="510" y="8"/>
                  </a:lnTo>
                  <a:lnTo>
                    <a:pt x="508" y="13"/>
                  </a:lnTo>
                  <a:lnTo>
                    <a:pt x="508" y="51"/>
                  </a:lnTo>
                  <a:lnTo>
                    <a:pt x="254" y="51"/>
                  </a:lnTo>
                  <a:lnTo>
                    <a:pt x="254" y="13"/>
                  </a:lnTo>
                  <a:lnTo>
                    <a:pt x="253" y="8"/>
                  </a:lnTo>
                  <a:lnTo>
                    <a:pt x="251" y="3"/>
                  </a:lnTo>
                  <a:lnTo>
                    <a:pt x="246" y="1"/>
                  </a:lnTo>
                  <a:lnTo>
                    <a:pt x="241" y="0"/>
                  </a:lnTo>
                  <a:lnTo>
                    <a:pt x="139" y="0"/>
                  </a:lnTo>
                  <a:lnTo>
                    <a:pt x="135" y="1"/>
                  </a:lnTo>
                  <a:lnTo>
                    <a:pt x="131" y="3"/>
                  </a:lnTo>
                  <a:lnTo>
                    <a:pt x="127" y="8"/>
                  </a:lnTo>
                  <a:lnTo>
                    <a:pt x="127" y="13"/>
                  </a:lnTo>
                  <a:lnTo>
                    <a:pt x="127" y="51"/>
                  </a:lnTo>
                  <a:lnTo>
                    <a:pt x="12" y="51"/>
                  </a:lnTo>
                  <a:lnTo>
                    <a:pt x="7" y="52"/>
                  </a:lnTo>
                  <a:lnTo>
                    <a:pt x="3" y="55"/>
                  </a:lnTo>
                  <a:lnTo>
                    <a:pt x="1" y="59"/>
                  </a:lnTo>
                  <a:lnTo>
                    <a:pt x="0" y="64"/>
                  </a:lnTo>
                  <a:lnTo>
                    <a:pt x="0" y="751"/>
                  </a:lnTo>
                  <a:lnTo>
                    <a:pt x="1" y="756"/>
                  </a:lnTo>
                  <a:lnTo>
                    <a:pt x="3" y="760"/>
                  </a:lnTo>
                  <a:lnTo>
                    <a:pt x="7" y="763"/>
                  </a:lnTo>
                  <a:lnTo>
                    <a:pt x="12" y="764"/>
                  </a:lnTo>
                  <a:lnTo>
                    <a:pt x="751" y="764"/>
                  </a:lnTo>
                  <a:lnTo>
                    <a:pt x="755" y="763"/>
                  </a:lnTo>
                  <a:lnTo>
                    <a:pt x="760" y="760"/>
                  </a:lnTo>
                  <a:lnTo>
                    <a:pt x="763" y="756"/>
                  </a:lnTo>
                  <a:lnTo>
                    <a:pt x="763" y="751"/>
                  </a:lnTo>
                  <a:lnTo>
                    <a:pt x="763" y="64"/>
                  </a:lnTo>
                  <a:lnTo>
                    <a:pt x="763" y="59"/>
                  </a:lnTo>
                  <a:lnTo>
                    <a:pt x="760" y="55"/>
                  </a:lnTo>
                  <a:lnTo>
                    <a:pt x="755" y="52"/>
                  </a:lnTo>
                  <a:lnTo>
                    <a:pt x="75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17" name="Freeform 33">
              <a:extLst>
                <a:ext uri="{FF2B5EF4-FFF2-40B4-BE49-F238E27FC236}">
                  <a16:creationId xmlns:a16="http://schemas.microsoft.com/office/drawing/2014/main" id="{586E8FF4-AB6F-46C6-8658-B11E570E0B38}"/>
                </a:ext>
              </a:extLst>
            </p:cNvPr>
            <p:cNvSpPr>
              <a:spLocks noEditPoints="1"/>
            </p:cNvSpPr>
            <p:nvPr/>
          </p:nvSpPr>
          <p:spPr bwMode="auto">
            <a:xfrm>
              <a:off x="2641058" y="4891352"/>
              <a:ext cx="237662" cy="153957"/>
            </a:xfrm>
            <a:custGeom>
              <a:avLst/>
              <a:gdLst>
                <a:gd name="T0" fmla="*/ 318 w 636"/>
                <a:gd name="T1" fmla="*/ 92 h 411"/>
                <a:gd name="T2" fmla="*/ 470 w 636"/>
                <a:gd name="T3" fmla="*/ 322 h 411"/>
                <a:gd name="T4" fmla="*/ 470 w 636"/>
                <a:gd name="T5" fmla="*/ 220 h 411"/>
                <a:gd name="T6" fmla="*/ 140 w 636"/>
                <a:gd name="T7" fmla="*/ 220 h 411"/>
                <a:gd name="T8" fmla="*/ 140 w 636"/>
                <a:gd name="T9" fmla="*/ 322 h 411"/>
                <a:gd name="T10" fmla="*/ 292 w 636"/>
                <a:gd name="T11" fmla="*/ 194 h 411"/>
                <a:gd name="T12" fmla="*/ 623 w 636"/>
                <a:gd name="T13" fmla="*/ 92 h 411"/>
                <a:gd name="T14" fmla="*/ 634 w 636"/>
                <a:gd name="T15" fmla="*/ 85 h 411"/>
                <a:gd name="T16" fmla="*/ 631 w 636"/>
                <a:gd name="T17" fmla="*/ 71 h 411"/>
                <a:gd name="T18" fmla="*/ 496 w 636"/>
                <a:gd name="T19" fmla="*/ 68 h 411"/>
                <a:gd name="T20" fmla="*/ 492 w 636"/>
                <a:gd name="T21" fmla="*/ 4 h 411"/>
                <a:gd name="T22" fmla="*/ 478 w 636"/>
                <a:gd name="T23" fmla="*/ 1 h 411"/>
                <a:gd name="T24" fmla="*/ 470 w 636"/>
                <a:gd name="T25" fmla="*/ 13 h 411"/>
                <a:gd name="T26" fmla="*/ 318 w 636"/>
                <a:gd name="T27" fmla="*/ 13 h 411"/>
                <a:gd name="T28" fmla="*/ 309 w 636"/>
                <a:gd name="T29" fmla="*/ 1 h 411"/>
                <a:gd name="T30" fmla="*/ 295 w 636"/>
                <a:gd name="T31" fmla="*/ 4 h 411"/>
                <a:gd name="T32" fmla="*/ 292 w 636"/>
                <a:gd name="T33" fmla="*/ 68 h 411"/>
                <a:gd name="T34" fmla="*/ 138 w 636"/>
                <a:gd name="T35" fmla="*/ 8 h 411"/>
                <a:gd name="T36" fmla="*/ 127 w 636"/>
                <a:gd name="T37" fmla="*/ 0 h 411"/>
                <a:gd name="T38" fmla="*/ 115 w 636"/>
                <a:gd name="T39" fmla="*/ 8 h 411"/>
                <a:gd name="T40" fmla="*/ 13 w 636"/>
                <a:gd name="T41" fmla="*/ 68 h 411"/>
                <a:gd name="T42" fmla="*/ 1 w 636"/>
                <a:gd name="T43" fmla="*/ 75 h 411"/>
                <a:gd name="T44" fmla="*/ 3 w 636"/>
                <a:gd name="T45" fmla="*/ 89 h 411"/>
                <a:gd name="T46" fmla="*/ 114 w 636"/>
                <a:gd name="T47" fmla="*/ 92 h 411"/>
                <a:gd name="T48" fmla="*/ 7 w 636"/>
                <a:gd name="T49" fmla="*/ 195 h 411"/>
                <a:gd name="T50" fmla="*/ 0 w 636"/>
                <a:gd name="T51" fmla="*/ 207 h 411"/>
                <a:gd name="T52" fmla="*/ 7 w 636"/>
                <a:gd name="T53" fmla="*/ 219 h 411"/>
                <a:gd name="T54" fmla="*/ 114 w 636"/>
                <a:gd name="T55" fmla="*/ 322 h 411"/>
                <a:gd name="T56" fmla="*/ 3 w 636"/>
                <a:gd name="T57" fmla="*/ 326 h 411"/>
                <a:gd name="T58" fmla="*/ 1 w 636"/>
                <a:gd name="T59" fmla="*/ 340 h 411"/>
                <a:gd name="T60" fmla="*/ 13 w 636"/>
                <a:gd name="T61" fmla="*/ 348 h 411"/>
                <a:gd name="T62" fmla="*/ 115 w 636"/>
                <a:gd name="T63" fmla="*/ 403 h 411"/>
                <a:gd name="T64" fmla="*/ 127 w 636"/>
                <a:gd name="T65" fmla="*/ 411 h 411"/>
                <a:gd name="T66" fmla="*/ 138 w 636"/>
                <a:gd name="T67" fmla="*/ 403 h 411"/>
                <a:gd name="T68" fmla="*/ 292 w 636"/>
                <a:gd name="T69" fmla="*/ 348 h 411"/>
                <a:gd name="T70" fmla="*/ 295 w 636"/>
                <a:gd name="T71" fmla="*/ 407 h 411"/>
                <a:gd name="T72" fmla="*/ 309 w 636"/>
                <a:gd name="T73" fmla="*/ 410 h 411"/>
                <a:gd name="T74" fmla="*/ 318 w 636"/>
                <a:gd name="T75" fmla="*/ 398 h 411"/>
                <a:gd name="T76" fmla="*/ 470 w 636"/>
                <a:gd name="T77" fmla="*/ 398 h 411"/>
                <a:gd name="T78" fmla="*/ 478 w 636"/>
                <a:gd name="T79" fmla="*/ 410 h 411"/>
                <a:gd name="T80" fmla="*/ 492 w 636"/>
                <a:gd name="T81" fmla="*/ 407 h 411"/>
                <a:gd name="T82" fmla="*/ 496 w 636"/>
                <a:gd name="T83" fmla="*/ 348 h 411"/>
                <a:gd name="T84" fmla="*/ 631 w 636"/>
                <a:gd name="T85" fmla="*/ 344 h 411"/>
                <a:gd name="T86" fmla="*/ 634 w 636"/>
                <a:gd name="T87" fmla="*/ 330 h 411"/>
                <a:gd name="T88" fmla="*/ 623 w 636"/>
                <a:gd name="T89" fmla="*/ 322 h 411"/>
                <a:gd name="T90" fmla="*/ 623 w 636"/>
                <a:gd name="T91" fmla="*/ 220 h 411"/>
                <a:gd name="T92" fmla="*/ 634 w 636"/>
                <a:gd name="T93" fmla="*/ 213 h 411"/>
                <a:gd name="T94" fmla="*/ 631 w 636"/>
                <a:gd name="T95" fmla="*/ 199 h 411"/>
                <a:gd name="T96" fmla="*/ 496 w 636"/>
                <a:gd name="T97" fmla="*/ 19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6" h="411">
                  <a:moveTo>
                    <a:pt x="470" y="194"/>
                  </a:moveTo>
                  <a:lnTo>
                    <a:pt x="318" y="194"/>
                  </a:lnTo>
                  <a:lnTo>
                    <a:pt x="318" y="92"/>
                  </a:lnTo>
                  <a:lnTo>
                    <a:pt x="470" y="92"/>
                  </a:lnTo>
                  <a:lnTo>
                    <a:pt x="470" y="194"/>
                  </a:lnTo>
                  <a:close/>
                  <a:moveTo>
                    <a:pt x="470" y="322"/>
                  </a:moveTo>
                  <a:lnTo>
                    <a:pt x="318" y="322"/>
                  </a:lnTo>
                  <a:lnTo>
                    <a:pt x="318" y="220"/>
                  </a:lnTo>
                  <a:lnTo>
                    <a:pt x="470" y="220"/>
                  </a:lnTo>
                  <a:lnTo>
                    <a:pt x="470" y="322"/>
                  </a:lnTo>
                  <a:close/>
                  <a:moveTo>
                    <a:pt x="140" y="322"/>
                  </a:moveTo>
                  <a:lnTo>
                    <a:pt x="140" y="220"/>
                  </a:lnTo>
                  <a:lnTo>
                    <a:pt x="292" y="220"/>
                  </a:lnTo>
                  <a:lnTo>
                    <a:pt x="292" y="322"/>
                  </a:lnTo>
                  <a:lnTo>
                    <a:pt x="140" y="322"/>
                  </a:lnTo>
                  <a:close/>
                  <a:moveTo>
                    <a:pt x="140" y="92"/>
                  </a:moveTo>
                  <a:lnTo>
                    <a:pt x="292" y="92"/>
                  </a:lnTo>
                  <a:lnTo>
                    <a:pt x="292" y="194"/>
                  </a:lnTo>
                  <a:lnTo>
                    <a:pt x="140" y="194"/>
                  </a:lnTo>
                  <a:lnTo>
                    <a:pt x="140" y="92"/>
                  </a:lnTo>
                  <a:close/>
                  <a:moveTo>
                    <a:pt x="623" y="92"/>
                  </a:moveTo>
                  <a:lnTo>
                    <a:pt x="627" y="92"/>
                  </a:lnTo>
                  <a:lnTo>
                    <a:pt x="631" y="89"/>
                  </a:lnTo>
                  <a:lnTo>
                    <a:pt x="634" y="85"/>
                  </a:lnTo>
                  <a:lnTo>
                    <a:pt x="636" y="81"/>
                  </a:lnTo>
                  <a:lnTo>
                    <a:pt x="634" y="75"/>
                  </a:lnTo>
                  <a:lnTo>
                    <a:pt x="631" y="71"/>
                  </a:lnTo>
                  <a:lnTo>
                    <a:pt x="627" y="69"/>
                  </a:lnTo>
                  <a:lnTo>
                    <a:pt x="623" y="68"/>
                  </a:lnTo>
                  <a:lnTo>
                    <a:pt x="496" y="68"/>
                  </a:lnTo>
                  <a:lnTo>
                    <a:pt x="496" y="13"/>
                  </a:lnTo>
                  <a:lnTo>
                    <a:pt x="495" y="8"/>
                  </a:lnTo>
                  <a:lnTo>
                    <a:pt x="492" y="4"/>
                  </a:lnTo>
                  <a:lnTo>
                    <a:pt x="487" y="1"/>
                  </a:lnTo>
                  <a:lnTo>
                    <a:pt x="483" y="0"/>
                  </a:lnTo>
                  <a:lnTo>
                    <a:pt x="478" y="1"/>
                  </a:lnTo>
                  <a:lnTo>
                    <a:pt x="473" y="4"/>
                  </a:lnTo>
                  <a:lnTo>
                    <a:pt x="471" y="8"/>
                  </a:lnTo>
                  <a:lnTo>
                    <a:pt x="470" y="13"/>
                  </a:lnTo>
                  <a:lnTo>
                    <a:pt x="470" y="68"/>
                  </a:lnTo>
                  <a:lnTo>
                    <a:pt x="318" y="68"/>
                  </a:lnTo>
                  <a:lnTo>
                    <a:pt x="318" y="13"/>
                  </a:lnTo>
                  <a:lnTo>
                    <a:pt x="317" y="8"/>
                  </a:lnTo>
                  <a:lnTo>
                    <a:pt x="313" y="4"/>
                  </a:lnTo>
                  <a:lnTo>
                    <a:pt x="309" y="1"/>
                  </a:lnTo>
                  <a:lnTo>
                    <a:pt x="305" y="0"/>
                  </a:lnTo>
                  <a:lnTo>
                    <a:pt x="299" y="1"/>
                  </a:lnTo>
                  <a:lnTo>
                    <a:pt x="295" y="4"/>
                  </a:lnTo>
                  <a:lnTo>
                    <a:pt x="293" y="8"/>
                  </a:lnTo>
                  <a:lnTo>
                    <a:pt x="292" y="13"/>
                  </a:lnTo>
                  <a:lnTo>
                    <a:pt x="292" y="68"/>
                  </a:lnTo>
                  <a:lnTo>
                    <a:pt x="140" y="68"/>
                  </a:lnTo>
                  <a:lnTo>
                    <a:pt x="140" y="13"/>
                  </a:lnTo>
                  <a:lnTo>
                    <a:pt x="138" y="8"/>
                  </a:lnTo>
                  <a:lnTo>
                    <a:pt x="135" y="4"/>
                  </a:lnTo>
                  <a:lnTo>
                    <a:pt x="131" y="1"/>
                  </a:lnTo>
                  <a:lnTo>
                    <a:pt x="127" y="0"/>
                  </a:lnTo>
                  <a:lnTo>
                    <a:pt x="121" y="1"/>
                  </a:lnTo>
                  <a:lnTo>
                    <a:pt x="117" y="4"/>
                  </a:lnTo>
                  <a:lnTo>
                    <a:pt x="115" y="8"/>
                  </a:lnTo>
                  <a:lnTo>
                    <a:pt x="114" y="13"/>
                  </a:lnTo>
                  <a:lnTo>
                    <a:pt x="114" y="68"/>
                  </a:lnTo>
                  <a:lnTo>
                    <a:pt x="13" y="68"/>
                  </a:lnTo>
                  <a:lnTo>
                    <a:pt x="7" y="69"/>
                  </a:lnTo>
                  <a:lnTo>
                    <a:pt x="3" y="71"/>
                  </a:lnTo>
                  <a:lnTo>
                    <a:pt x="1" y="75"/>
                  </a:lnTo>
                  <a:lnTo>
                    <a:pt x="0" y="81"/>
                  </a:lnTo>
                  <a:lnTo>
                    <a:pt x="1" y="85"/>
                  </a:lnTo>
                  <a:lnTo>
                    <a:pt x="3" y="89"/>
                  </a:lnTo>
                  <a:lnTo>
                    <a:pt x="7" y="92"/>
                  </a:lnTo>
                  <a:lnTo>
                    <a:pt x="13" y="92"/>
                  </a:lnTo>
                  <a:lnTo>
                    <a:pt x="114" y="92"/>
                  </a:lnTo>
                  <a:lnTo>
                    <a:pt x="114" y="194"/>
                  </a:lnTo>
                  <a:lnTo>
                    <a:pt x="13" y="194"/>
                  </a:lnTo>
                  <a:lnTo>
                    <a:pt x="7" y="195"/>
                  </a:lnTo>
                  <a:lnTo>
                    <a:pt x="3" y="199"/>
                  </a:lnTo>
                  <a:lnTo>
                    <a:pt x="1" y="203"/>
                  </a:lnTo>
                  <a:lnTo>
                    <a:pt x="0" y="207"/>
                  </a:lnTo>
                  <a:lnTo>
                    <a:pt x="1" y="213"/>
                  </a:lnTo>
                  <a:lnTo>
                    <a:pt x="3" y="217"/>
                  </a:lnTo>
                  <a:lnTo>
                    <a:pt x="7" y="219"/>
                  </a:lnTo>
                  <a:lnTo>
                    <a:pt x="13" y="220"/>
                  </a:lnTo>
                  <a:lnTo>
                    <a:pt x="114" y="220"/>
                  </a:lnTo>
                  <a:lnTo>
                    <a:pt x="114" y="322"/>
                  </a:lnTo>
                  <a:lnTo>
                    <a:pt x="13" y="322"/>
                  </a:lnTo>
                  <a:lnTo>
                    <a:pt x="7" y="323"/>
                  </a:lnTo>
                  <a:lnTo>
                    <a:pt x="3" y="326"/>
                  </a:lnTo>
                  <a:lnTo>
                    <a:pt x="1" y="330"/>
                  </a:lnTo>
                  <a:lnTo>
                    <a:pt x="0" y="335"/>
                  </a:lnTo>
                  <a:lnTo>
                    <a:pt x="1" y="340"/>
                  </a:lnTo>
                  <a:lnTo>
                    <a:pt x="3" y="344"/>
                  </a:lnTo>
                  <a:lnTo>
                    <a:pt x="7" y="347"/>
                  </a:lnTo>
                  <a:lnTo>
                    <a:pt x="13" y="348"/>
                  </a:lnTo>
                  <a:lnTo>
                    <a:pt x="114" y="348"/>
                  </a:lnTo>
                  <a:lnTo>
                    <a:pt x="114" y="398"/>
                  </a:lnTo>
                  <a:lnTo>
                    <a:pt x="115" y="403"/>
                  </a:lnTo>
                  <a:lnTo>
                    <a:pt x="117" y="407"/>
                  </a:lnTo>
                  <a:lnTo>
                    <a:pt x="121" y="410"/>
                  </a:lnTo>
                  <a:lnTo>
                    <a:pt x="127" y="411"/>
                  </a:lnTo>
                  <a:lnTo>
                    <a:pt x="131" y="410"/>
                  </a:lnTo>
                  <a:lnTo>
                    <a:pt x="135" y="407"/>
                  </a:lnTo>
                  <a:lnTo>
                    <a:pt x="138" y="403"/>
                  </a:lnTo>
                  <a:lnTo>
                    <a:pt x="140" y="398"/>
                  </a:lnTo>
                  <a:lnTo>
                    <a:pt x="140" y="348"/>
                  </a:lnTo>
                  <a:lnTo>
                    <a:pt x="292" y="348"/>
                  </a:lnTo>
                  <a:lnTo>
                    <a:pt x="292" y="398"/>
                  </a:lnTo>
                  <a:lnTo>
                    <a:pt x="293" y="403"/>
                  </a:lnTo>
                  <a:lnTo>
                    <a:pt x="295" y="407"/>
                  </a:lnTo>
                  <a:lnTo>
                    <a:pt x="299" y="410"/>
                  </a:lnTo>
                  <a:lnTo>
                    <a:pt x="305" y="411"/>
                  </a:lnTo>
                  <a:lnTo>
                    <a:pt x="309" y="410"/>
                  </a:lnTo>
                  <a:lnTo>
                    <a:pt x="313" y="407"/>
                  </a:lnTo>
                  <a:lnTo>
                    <a:pt x="317" y="403"/>
                  </a:lnTo>
                  <a:lnTo>
                    <a:pt x="318" y="398"/>
                  </a:lnTo>
                  <a:lnTo>
                    <a:pt x="318" y="348"/>
                  </a:lnTo>
                  <a:lnTo>
                    <a:pt x="470" y="348"/>
                  </a:lnTo>
                  <a:lnTo>
                    <a:pt x="470" y="398"/>
                  </a:lnTo>
                  <a:lnTo>
                    <a:pt x="471" y="403"/>
                  </a:lnTo>
                  <a:lnTo>
                    <a:pt x="473" y="407"/>
                  </a:lnTo>
                  <a:lnTo>
                    <a:pt x="478" y="410"/>
                  </a:lnTo>
                  <a:lnTo>
                    <a:pt x="483" y="411"/>
                  </a:lnTo>
                  <a:lnTo>
                    <a:pt x="487" y="410"/>
                  </a:lnTo>
                  <a:lnTo>
                    <a:pt x="492" y="407"/>
                  </a:lnTo>
                  <a:lnTo>
                    <a:pt x="495" y="403"/>
                  </a:lnTo>
                  <a:lnTo>
                    <a:pt x="496" y="398"/>
                  </a:lnTo>
                  <a:lnTo>
                    <a:pt x="496" y="348"/>
                  </a:lnTo>
                  <a:lnTo>
                    <a:pt x="623" y="348"/>
                  </a:lnTo>
                  <a:lnTo>
                    <a:pt x="627" y="347"/>
                  </a:lnTo>
                  <a:lnTo>
                    <a:pt x="631" y="344"/>
                  </a:lnTo>
                  <a:lnTo>
                    <a:pt x="634" y="340"/>
                  </a:lnTo>
                  <a:lnTo>
                    <a:pt x="636" y="335"/>
                  </a:lnTo>
                  <a:lnTo>
                    <a:pt x="634" y="330"/>
                  </a:lnTo>
                  <a:lnTo>
                    <a:pt x="631" y="326"/>
                  </a:lnTo>
                  <a:lnTo>
                    <a:pt x="627" y="323"/>
                  </a:lnTo>
                  <a:lnTo>
                    <a:pt x="623" y="322"/>
                  </a:lnTo>
                  <a:lnTo>
                    <a:pt x="496" y="322"/>
                  </a:lnTo>
                  <a:lnTo>
                    <a:pt x="496" y="220"/>
                  </a:lnTo>
                  <a:lnTo>
                    <a:pt x="623" y="220"/>
                  </a:lnTo>
                  <a:lnTo>
                    <a:pt x="627" y="219"/>
                  </a:lnTo>
                  <a:lnTo>
                    <a:pt x="631" y="217"/>
                  </a:lnTo>
                  <a:lnTo>
                    <a:pt x="634" y="213"/>
                  </a:lnTo>
                  <a:lnTo>
                    <a:pt x="636" y="207"/>
                  </a:lnTo>
                  <a:lnTo>
                    <a:pt x="634" y="203"/>
                  </a:lnTo>
                  <a:lnTo>
                    <a:pt x="631" y="199"/>
                  </a:lnTo>
                  <a:lnTo>
                    <a:pt x="627" y="195"/>
                  </a:lnTo>
                  <a:lnTo>
                    <a:pt x="623" y="194"/>
                  </a:lnTo>
                  <a:lnTo>
                    <a:pt x="496" y="194"/>
                  </a:lnTo>
                  <a:lnTo>
                    <a:pt x="496" y="92"/>
                  </a:lnTo>
                  <a:lnTo>
                    <a:pt x="623"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65" name="Group 96">
            <a:extLst>
              <a:ext uri="{FF2B5EF4-FFF2-40B4-BE49-F238E27FC236}">
                <a16:creationId xmlns:a16="http://schemas.microsoft.com/office/drawing/2014/main" id="{EE739EFF-D618-4C68-834C-DCB4C678AC4C}"/>
              </a:ext>
            </a:extLst>
          </p:cNvPr>
          <p:cNvGrpSpPr>
            <a:grpSpLocks noChangeAspect="1"/>
          </p:cNvGrpSpPr>
          <p:nvPr/>
        </p:nvGrpSpPr>
        <p:grpSpPr>
          <a:xfrm>
            <a:off x="6186633" y="5956111"/>
            <a:ext cx="285619" cy="285619"/>
            <a:chOff x="4156322" y="5419470"/>
            <a:chExt cx="503328" cy="503328"/>
          </a:xfrm>
          <a:solidFill>
            <a:schemeClr val="bg1"/>
          </a:solidFill>
          <a:effectLst/>
        </p:grpSpPr>
        <p:sp>
          <p:nvSpPr>
            <p:cNvPr id="1201" name="Freeform 13">
              <a:extLst>
                <a:ext uri="{FF2B5EF4-FFF2-40B4-BE49-F238E27FC236}">
                  <a16:creationId xmlns:a16="http://schemas.microsoft.com/office/drawing/2014/main" id="{FD6CAC68-B360-4BFE-BB46-2C6DD6795DD9}"/>
                </a:ext>
              </a:extLst>
            </p:cNvPr>
            <p:cNvSpPr>
              <a:spLocks noEditPoints="1"/>
            </p:cNvSpPr>
            <p:nvPr/>
          </p:nvSpPr>
          <p:spPr bwMode="auto">
            <a:xfrm>
              <a:off x="4156322" y="5419470"/>
              <a:ext cx="503328" cy="503328"/>
            </a:xfrm>
            <a:custGeom>
              <a:avLst/>
              <a:gdLst>
                <a:gd name="T0" fmla="*/ 667 w 1640"/>
                <a:gd name="T1" fmla="*/ 76 h 1641"/>
                <a:gd name="T2" fmla="*/ 491 w 1640"/>
                <a:gd name="T3" fmla="*/ 135 h 1641"/>
                <a:gd name="T4" fmla="*/ 337 w 1640"/>
                <a:gd name="T5" fmla="*/ 235 h 1641"/>
                <a:gd name="T6" fmla="*/ 212 w 1640"/>
                <a:gd name="T7" fmla="*/ 366 h 1641"/>
                <a:gd name="T8" fmla="*/ 120 w 1640"/>
                <a:gd name="T9" fmla="*/ 525 h 1641"/>
                <a:gd name="T10" fmla="*/ 69 w 1640"/>
                <a:gd name="T11" fmla="*/ 705 h 1641"/>
                <a:gd name="T12" fmla="*/ 65 w 1640"/>
                <a:gd name="T13" fmla="*/ 898 h 1641"/>
                <a:gd name="T14" fmla="*/ 107 w 1640"/>
                <a:gd name="T15" fmla="*/ 1081 h 1641"/>
                <a:gd name="T16" fmla="*/ 190 w 1640"/>
                <a:gd name="T17" fmla="*/ 1245 h 1641"/>
                <a:gd name="T18" fmla="*/ 310 w 1640"/>
                <a:gd name="T19" fmla="*/ 1383 h 1641"/>
                <a:gd name="T20" fmla="*/ 458 w 1640"/>
                <a:gd name="T21" fmla="*/ 1488 h 1641"/>
                <a:gd name="T22" fmla="*/ 631 w 1640"/>
                <a:gd name="T23" fmla="*/ 1556 h 1641"/>
                <a:gd name="T24" fmla="*/ 821 w 1640"/>
                <a:gd name="T25" fmla="*/ 1581 h 1641"/>
                <a:gd name="T26" fmla="*/ 1010 w 1640"/>
                <a:gd name="T27" fmla="*/ 1556 h 1641"/>
                <a:gd name="T28" fmla="*/ 1182 w 1640"/>
                <a:gd name="T29" fmla="*/ 1488 h 1641"/>
                <a:gd name="T30" fmla="*/ 1331 w 1640"/>
                <a:gd name="T31" fmla="*/ 1383 h 1641"/>
                <a:gd name="T32" fmla="*/ 1450 w 1640"/>
                <a:gd name="T33" fmla="*/ 1245 h 1641"/>
                <a:gd name="T34" fmla="*/ 1534 w 1640"/>
                <a:gd name="T35" fmla="*/ 1081 h 1641"/>
                <a:gd name="T36" fmla="*/ 1577 w 1640"/>
                <a:gd name="T37" fmla="*/ 898 h 1641"/>
                <a:gd name="T38" fmla="*/ 1571 w 1640"/>
                <a:gd name="T39" fmla="*/ 705 h 1641"/>
                <a:gd name="T40" fmla="*/ 1521 w 1640"/>
                <a:gd name="T41" fmla="*/ 525 h 1641"/>
                <a:gd name="T42" fmla="*/ 1429 w 1640"/>
                <a:gd name="T43" fmla="*/ 366 h 1641"/>
                <a:gd name="T44" fmla="*/ 1303 w 1640"/>
                <a:gd name="T45" fmla="*/ 235 h 1641"/>
                <a:gd name="T46" fmla="*/ 1149 w 1640"/>
                <a:gd name="T47" fmla="*/ 135 h 1641"/>
                <a:gd name="T48" fmla="*/ 974 w 1640"/>
                <a:gd name="T49" fmla="*/ 76 h 1641"/>
                <a:gd name="T50" fmla="*/ 821 w 1640"/>
                <a:gd name="T51" fmla="*/ 1641 h 1641"/>
                <a:gd name="T52" fmla="*/ 615 w 1640"/>
                <a:gd name="T53" fmla="*/ 1615 h 1641"/>
                <a:gd name="T54" fmla="*/ 429 w 1640"/>
                <a:gd name="T55" fmla="*/ 1542 h 1641"/>
                <a:gd name="T56" fmla="*/ 269 w 1640"/>
                <a:gd name="T57" fmla="*/ 1428 h 1641"/>
                <a:gd name="T58" fmla="*/ 140 w 1640"/>
                <a:gd name="T59" fmla="*/ 1278 h 1641"/>
                <a:gd name="T60" fmla="*/ 49 w 1640"/>
                <a:gd name="T61" fmla="*/ 1103 h 1641"/>
                <a:gd name="T62" fmla="*/ 5 w 1640"/>
                <a:gd name="T63" fmla="*/ 904 h 1641"/>
                <a:gd name="T64" fmla="*/ 9 w 1640"/>
                <a:gd name="T65" fmla="*/ 695 h 1641"/>
                <a:gd name="T66" fmla="*/ 64 w 1640"/>
                <a:gd name="T67" fmla="*/ 501 h 1641"/>
                <a:gd name="T68" fmla="*/ 163 w 1640"/>
                <a:gd name="T69" fmla="*/ 330 h 1641"/>
                <a:gd name="T70" fmla="*/ 298 w 1640"/>
                <a:gd name="T71" fmla="*/ 187 h 1641"/>
                <a:gd name="T72" fmla="*/ 465 w 1640"/>
                <a:gd name="T73" fmla="*/ 81 h 1641"/>
                <a:gd name="T74" fmla="*/ 655 w 1640"/>
                <a:gd name="T75" fmla="*/ 17 h 1641"/>
                <a:gd name="T76" fmla="*/ 863 w 1640"/>
                <a:gd name="T77" fmla="*/ 1 h 1641"/>
                <a:gd name="T78" fmla="*/ 1064 w 1640"/>
                <a:gd name="T79" fmla="*/ 37 h 1641"/>
                <a:gd name="T80" fmla="*/ 1246 w 1640"/>
                <a:gd name="T81" fmla="*/ 119 h 1641"/>
                <a:gd name="T82" fmla="*/ 1400 w 1640"/>
                <a:gd name="T83" fmla="*/ 240 h 1641"/>
                <a:gd name="T84" fmla="*/ 1522 w 1640"/>
                <a:gd name="T85" fmla="*/ 396 h 1641"/>
                <a:gd name="T86" fmla="*/ 1604 w 1640"/>
                <a:gd name="T87" fmla="*/ 577 h 1641"/>
                <a:gd name="T88" fmla="*/ 1640 w 1640"/>
                <a:gd name="T89" fmla="*/ 779 h 1641"/>
                <a:gd name="T90" fmla="*/ 1625 w 1640"/>
                <a:gd name="T91" fmla="*/ 986 h 1641"/>
                <a:gd name="T92" fmla="*/ 1560 w 1640"/>
                <a:gd name="T93" fmla="*/ 1176 h 1641"/>
                <a:gd name="T94" fmla="*/ 1453 w 1640"/>
                <a:gd name="T95" fmla="*/ 1342 h 1641"/>
                <a:gd name="T96" fmla="*/ 1311 w 1640"/>
                <a:gd name="T97" fmla="*/ 1478 h 1641"/>
                <a:gd name="T98" fmla="*/ 1139 w 1640"/>
                <a:gd name="T99" fmla="*/ 1576 h 1641"/>
                <a:gd name="T100" fmla="*/ 945 w 1640"/>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0" h="1641">
                  <a:moveTo>
                    <a:pt x="821" y="60"/>
                  </a:moveTo>
                  <a:lnTo>
                    <a:pt x="781" y="62"/>
                  </a:lnTo>
                  <a:lnTo>
                    <a:pt x="743" y="65"/>
                  </a:lnTo>
                  <a:lnTo>
                    <a:pt x="704" y="69"/>
                  </a:lnTo>
                  <a:lnTo>
                    <a:pt x="667" y="76"/>
                  </a:lnTo>
                  <a:lnTo>
                    <a:pt x="631" y="85"/>
                  </a:lnTo>
                  <a:lnTo>
                    <a:pt x="595" y="95"/>
                  </a:lnTo>
                  <a:lnTo>
                    <a:pt x="559" y="107"/>
                  </a:lnTo>
                  <a:lnTo>
                    <a:pt x="524" y="121"/>
                  </a:lnTo>
                  <a:lnTo>
                    <a:pt x="491" y="135"/>
                  </a:lnTo>
                  <a:lnTo>
                    <a:pt x="458" y="153"/>
                  </a:lnTo>
                  <a:lnTo>
                    <a:pt x="426" y="171"/>
                  </a:lnTo>
                  <a:lnTo>
                    <a:pt x="396" y="190"/>
                  </a:lnTo>
                  <a:lnTo>
                    <a:pt x="366" y="212"/>
                  </a:lnTo>
                  <a:lnTo>
                    <a:pt x="337" y="235"/>
                  </a:lnTo>
                  <a:lnTo>
                    <a:pt x="310" y="258"/>
                  </a:lnTo>
                  <a:lnTo>
                    <a:pt x="284" y="284"/>
                  </a:lnTo>
                  <a:lnTo>
                    <a:pt x="258" y="309"/>
                  </a:lnTo>
                  <a:lnTo>
                    <a:pt x="233" y="337"/>
                  </a:lnTo>
                  <a:lnTo>
                    <a:pt x="212" y="366"/>
                  </a:lnTo>
                  <a:lnTo>
                    <a:pt x="190" y="396"/>
                  </a:lnTo>
                  <a:lnTo>
                    <a:pt x="170" y="428"/>
                  </a:lnTo>
                  <a:lnTo>
                    <a:pt x="153" y="459"/>
                  </a:lnTo>
                  <a:lnTo>
                    <a:pt x="136" y="491"/>
                  </a:lnTo>
                  <a:lnTo>
                    <a:pt x="120" y="525"/>
                  </a:lnTo>
                  <a:lnTo>
                    <a:pt x="107" y="560"/>
                  </a:lnTo>
                  <a:lnTo>
                    <a:pt x="95" y="595"/>
                  </a:lnTo>
                  <a:lnTo>
                    <a:pt x="84" y="630"/>
                  </a:lnTo>
                  <a:lnTo>
                    <a:pt x="77" y="668"/>
                  </a:lnTo>
                  <a:lnTo>
                    <a:pt x="69" y="705"/>
                  </a:lnTo>
                  <a:lnTo>
                    <a:pt x="65" y="743"/>
                  </a:lnTo>
                  <a:lnTo>
                    <a:pt x="62" y="782"/>
                  </a:lnTo>
                  <a:lnTo>
                    <a:pt x="61" y="821"/>
                  </a:lnTo>
                  <a:lnTo>
                    <a:pt x="62" y="859"/>
                  </a:lnTo>
                  <a:lnTo>
                    <a:pt x="65" y="898"/>
                  </a:lnTo>
                  <a:lnTo>
                    <a:pt x="69" y="936"/>
                  </a:lnTo>
                  <a:lnTo>
                    <a:pt x="77" y="973"/>
                  </a:lnTo>
                  <a:lnTo>
                    <a:pt x="84" y="1011"/>
                  </a:lnTo>
                  <a:lnTo>
                    <a:pt x="95" y="1046"/>
                  </a:lnTo>
                  <a:lnTo>
                    <a:pt x="107" y="1081"/>
                  </a:lnTo>
                  <a:lnTo>
                    <a:pt x="120" y="1116"/>
                  </a:lnTo>
                  <a:lnTo>
                    <a:pt x="136" y="1150"/>
                  </a:lnTo>
                  <a:lnTo>
                    <a:pt x="153" y="1182"/>
                  </a:lnTo>
                  <a:lnTo>
                    <a:pt x="170" y="1213"/>
                  </a:lnTo>
                  <a:lnTo>
                    <a:pt x="190" y="1245"/>
                  </a:lnTo>
                  <a:lnTo>
                    <a:pt x="212" y="1275"/>
                  </a:lnTo>
                  <a:lnTo>
                    <a:pt x="233" y="1304"/>
                  </a:lnTo>
                  <a:lnTo>
                    <a:pt x="258" y="1332"/>
                  </a:lnTo>
                  <a:lnTo>
                    <a:pt x="284" y="1357"/>
                  </a:lnTo>
                  <a:lnTo>
                    <a:pt x="310" y="1383"/>
                  </a:lnTo>
                  <a:lnTo>
                    <a:pt x="337" y="1406"/>
                  </a:lnTo>
                  <a:lnTo>
                    <a:pt x="366" y="1429"/>
                  </a:lnTo>
                  <a:lnTo>
                    <a:pt x="396" y="1451"/>
                  </a:lnTo>
                  <a:lnTo>
                    <a:pt x="426" y="1470"/>
                  </a:lnTo>
                  <a:lnTo>
                    <a:pt x="458" y="1488"/>
                  </a:lnTo>
                  <a:lnTo>
                    <a:pt x="491" y="1506"/>
                  </a:lnTo>
                  <a:lnTo>
                    <a:pt x="524" y="1520"/>
                  </a:lnTo>
                  <a:lnTo>
                    <a:pt x="559" y="1534"/>
                  </a:lnTo>
                  <a:lnTo>
                    <a:pt x="595" y="1546"/>
                  </a:lnTo>
                  <a:lnTo>
                    <a:pt x="631" y="1556"/>
                  </a:lnTo>
                  <a:lnTo>
                    <a:pt x="667" y="1565"/>
                  </a:lnTo>
                  <a:lnTo>
                    <a:pt x="704" y="1572"/>
                  </a:lnTo>
                  <a:lnTo>
                    <a:pt x="743" y="1576"/>
                  </a:lnTo>
                  <a:lnTo>
                    <a:pt x="781" y="1579"/>
                  </a:lnTo>
                  <a:lnTo>
                    <a:pt x="821" y="1581"/>
                  </a:lnTo>
                  <a:lnTo>
                    <a:pt x="860" y="1579"/>
                  </a:lnTo>
                  <a:lnTo>
                    <a:pt x="897" y="1576"/>
                  </a:lnTo>
                  <a:lnTo>
                    <a:pt x="936" y="1572"/>
                  </a:lnTo>
                  <a:lnTo>
                    <a:pt x="974" y="1565"/>
                  </a:lnTo>
                  <a:lnTo>
                    <a:pt x="1010" y="1556"/>
                  </a:lnTo>
                  <a:lnTo>
                    <a:pt x="1046" y="1546"/>
                  </a:lnTo>
                  <a:lnTo>
                    <a:pt x="1082" y="1534"/>
                  </a:lnTo>
                  <a:lnTo>
                    <a:pt x="1116" y="1520"/>
                  </a:lnTo>
                  <a:lnTo>
                    <a:pt x="1149" y="1506"/>
                  </a:lnTo>
                  <a:lnTo>
                    <a:pt x="1182" y="1488"/>
                  </a:lnTo>
                  <a:lnTo>
                    <a:pt x="1214" y="1470"/>
                  </a:lnTo>
                  <a:lnTo>
                    <a:pt x="1244" y="1451"/>
                  </a:lnTo>
                  <a:lnTo>
                    <a:pt x="1275" y="1429"/>
                  </a:lnTo>
                  <a:lnTo>
                    <a:pt x="1303" y="1406"/>
                  </a:lnTo>
                  <a:lnTo>
                    <a:pt x="1331" y="1383"/>
                  </a:lnTo>
                  <a:lnTo>
                    <a:pt x="1358" y="1357"/>
                  </a:lnTo>
                  <a:lnTo>
                    <a:pt x="1383" y="1332"/>
                  </a:lnTo>
                  <a:lnTo>
                    <a:pt x="1407" y="1304"/>
                  </a:lnTo>
                  <a:lnTo>
                    <a:pt x="1429" y="1275"/>
                  </a:lnTo>
                  <a:lnTo>
                    <a:pt x="1450" y="1245"/>
                  </a:lnTo>
                  <a:lnTo>
                    <a:pt x="1470" y="1213"/>
                  </a:lnTo>
                  <a:lnTo>
                    <a:pt x="1488" y="1182"/>
                  </a:lnTo>
                  <a:lnTo>
                    <a:pt x="1505" y="1150"/>
                  </a:lnTo>
                  <a:lnTo>
                    <a:pt x="1521" y="1116"/>
                  </a:lnTo>
                  <a:lnTo>
                    <a:pt x="1534" y="1081"/>
                  </a:lnTo>
                  <a:lnTo>
                    <a:pt x="1545" y="1046"/>
                  </a:lnTo>
                  <a:lnTo>
                    <a:pt x="1557" y="1011"/>
                  </a:lnTo>
                  <a:lnTo>
                    <a:pt x="1564" y="973"/>
                  </a:lnTo>
                  <a:lnTo>
                    <a:pt x="1571" y="936"/>
                  </a:lnTo>
                  <a:lnTo>
                    <a:pt x="1577" y="898"/>
                  </a:lnTo>
                  <a:lnTo>
                    <a:pt x="1580" y="859"/>
                  </a:lnTo>
                  <a:lnTo>
                    <a:pt x="1580" y="821"/>
                  </a:lnTo>
                  <a:lnTo>
                    <a:pt x="1580" y="782"/>
                  </a:lnTo>
                  <a:lnTo>
                    <a:pt x="1577" y="743"/>
                  </a:lnTo>
                  <a:lnTo>
                    <a:pt x="1571" y="705"/>
                  </a:lnTo>
                  <a:lnTo>
                    <a:pt x="1565" y="668"/>
                  </a:lnTo>
                  <a:lnTo>
                    <a:pt x="1557" y="630"/>
                  </a:lnTo>
                  <a:lnTo>
                    <a:pt x="1545" y="595"/>
                  </a:lnTo>
                  <a:lnTo>
                    <a:pt x="1534" y="560"/>
                  </a:lnTo>
                  <a:lnTo>
                    <a:pt x="1521" y="525"/>
                  </a:lnTo>
                  <a:lnTo>
                    <a:pt x="1505" y="491"/>
                  </a:lnTo>
                  <a:lnTo>
                    <a:pt x="1488" y="459"/>
                  </a:lnTo>
                  <a:lnTo>
                    <a:pt x="1470" y="428"/>
                  </a:lnTo>
                  <a:lnTo>
                    <a:pt x="1450" y="396"/>
                  </a:lnTo>
                  <a:lnTo>
                    <a:pt x="1429" y="366"/>
                  </a:lnTo>
                  <a:lnTo>
                    <a:pt x="1407" y="337"/>
                  </a:lnTo>
                  <a:lnTo>
                    <a:pt x="1383" y="309"/>
                  </a:lnTo>
                  <a:lnTo>
                    <a:pt x="1358" y="284"/>
                  </a:lnTo>
                  <a:lnTo>
                    <a:pt x="1331" y="258"/>
                  </a:lnTo>
                  <a:lnTo>
                    <a:pt x="1303" y="235"/>
                  </a:lnTo>
                  <a:lnTo>
                    <a:pt x="1275" y="212"/>
                  </a:lnTo>
                  <a:lnTo>
                    <a:pt x="1244" y="190"/>
                  </a:lnTo>
                  <a:lnTo>
                    <a:pt x="1214" y="171"/>
                  </a:lnTo>
                  <a:lnTo>
                    <a:pt x="1182" y="153"/>
                  </a:lnTo>
                  <a:lnTo>
                    <a:pt x="1149" y="135"/>
                  </a:lnTo>
                  <a:lnTo>
                    <a:pt x="1116" y="121"/>
                  </a:lnTo>
                  <a:lnTo>
                    <a:pt x="1082" y="107"/>
                  </a:lnTo>
                  <a:lnTo>
                    <a:pt x="1046" y="95"/>
                  </a:lnTo>
                  <a:lnTo>
                    <a:pt x="1010" y="85"/>
                  </a:lnTo>
                  <a:lnTo>
                    <a:pt x="974" y="76"/>
                  </a:lnTo>
                  <a:lnTo>
                    <a:pt x="936" y="69"/>
                  </a:lnTo>
                  <a:lnTo>
                    <a:pt x="897" y="65"/>
                  </a:lnTo>
                  <a:lnTo>
                    <a:pt x="860" y="62"/>
                  </a:lnTo>
                  <a:lnTo>
                    <a:pt x="821" y="60"/>
                  </a:lnTo>
                  <a:close/>
                  <a:moveTo>
                    <a:pt x="821" y="1641"/>
                  </a:moveTo>
                  <a:lnTo>
                    <a:pt x="778" y="1640"/>
                  </a:lnTo>
                  <a:lnTo>
                    <a:pt x="736" y="1637"/>
                  </a:lnTo>
                  <a:lnTo>
                    <a:pt x="696" y="1631"/>
                  </a:lnTo>
                  <a:lnTo>
                    <a:pt x="655" y="1624"/>
                  </a:lnTo>
                  <a:lnTo>
                    <a:pt x="615" y="1615"/>
                  </a:lnTo>
                  <a:lnTo>
                    <a:pt x="576" y="1604"/>
                  </a:lnTo>
                  <a:lnTo>
                    <a:pt x="539" y="1591"/>
                  </a:lnTo>
                  <a:lnTo>
                    <a:pt x="501" y="1576"/>
                  </a:lnTo>
                  <a:lnTo>
                    <a:pt x="465" y="1560"/>
                  </a:lnTo>
                  <a:lnTo>
                    <a:pt x="429" y="1542"/>
                  </a:lnTo>
                  <a:lnTo>
                    <a:pt x="395" y="1522"/>
                  </a:lnTo>
                  <a:lnTo>
                    <a:pt x="362" y="1501"/>
                  </a:lnTo>
                  <a:lnTo>
                    <a:pt x="330" y="1478"/>
                  </a:lnTo>
                  <a:lnTo>
                    <a:pt x="298" y="1454"/>
                  </a:lnTo>
                  <a:lnTo>
                    <a:pt x="269" y="1428"/>
                  </a:lnTo>
                  <a:lnTo>
                    <a:pt x="241" y="1401"/>
                  </a:lnTo>
                  <a:lnTo>
                    <a:pt x="213" y="1372"/>
                  </a:lnTo>
                  <a:lnTo>
                    <a:pt x="187" y="1342"/>
                  </a:lnTo>
                  <a:lnTo>
                    <a:pt x="163" y="1311"/>
                  </a:lnTo>
                  <a:lnTo>
                    <a:pt x="140" y="1278"/>
                  </a:lnTo>
                  <a:lnTo>
                    <a:pt x="118" y="1245"/>
                  </a:lnTo>
                  <a:lnTo>
                    <a:pt x="100" y="1211"/>
                  </a:lnTo>
                  <a:lnTo>
                    <a:pt x="81" y="1176"/>
                  </a:lnTo>
                  <a:lnTo>
                    <a:pt x="64" y="1140"/>
                  </a:lnTo>
                  <a:lnTo>
                    <a:pt x="49" y="1103"/>
                  </a:lnTo>
                  <a:lnTo>
                    <a:pt x="36" y="1064"/>
                  </a:lnTo>
                  <a:lnTo>
                    <a:pt x="26" y="1025"/>
                  </a:lnTo>
                  <a:lnTo>
                    <a:pt x="16" y="986"/>
                  </a:lnTo>
                  <a:lnTo>
                    <a:pt x="9" y="946"/>
                  </a:lnTo>
                  <a:lnTo>
                    <a:pt x="5" y="904"/>
                  </a:lnTo>
                  <a:lnTo>
                    <a:pt x="0" y="862"/>
                  </a:lnTo>
                  <a:lnTo>
                    <a:pt x="0" y="821"/>
                  </a:lnTo>
                  <a:lnTo>
                    <a:pt x="0" y="779"/>
                  </a:lnTo>
                  <a:lnTo>
                    <a:pt x="5" y="737"/>
                  </a:lnTo>
                  <a:lnTo>
                    <a:pt x="9" y="695"/>
                  </a:lnTo>
                  <a:lnTo>
                    <a:pt x="16" y="655"/>
                  </a:lnTo>
                  <a:lnTo>
                    <a:pt x="26" y="616"/>
                  </a:lnTo>
                  <a:lnTo>
                    <a:pt x="36" y="577"/>
                  </a:lnTo>
                  <a:lnTo>
                    <a:pt x="49" y="538"/>
                  </a:lnTo>
                  <a:lnTo>
                    <a:pt x="64" y="501"/>
                  </a:lnTo>
                  <a:lnTo>
                    <a:pt x="81" y="465"/>
                  </a:lnTo>
                  <a:lnTo>
                    <a:pt x="100" y="430"/>
                  </a:lnTo>
                  <a:lnTo>
                    <a:pt x="118" y="396"/>
                  </a:lnTo>
                  <a:lnTo>
                    <a:pt x="140" y="363"/>
                  </a:lnTo>
                  <a:lnTo>
                    <a:pt x="163" y="330"/>
                  </a:lnTo>
                  <a:lnTo>
                    <a:pt x="187" y="299"/>
                  </a:lnTo>
                  <a:lnTo>
                    <a:pt x="213" y="269"/>
                  </a:lnTo>
                  <a:lnTo>
                    <a:pt x="241" y="240"/>
                  </a:lnTo>
                  <a:lnTo>
                    <a:pt x="269" y="213"/>
                  </a:lnTo>
                  <a:lnTo>
                    <a:pt x="298" y="187"/>
                  </a:lnTo>
                  <a:lnTo>
                    <a:pt x="330" y="163"/>
                  </a:lnTo>
                  <a:lnTo>
                    <a:pt x="362" y="140"/>
                  </a:lnTo>
                  <a:lnTo>
                    <a:pt x="395" y="119"/>
                  </a:lnTo>
                  <a:lnTo>
                    <a:pt x="429" y="99"/>
                  </a:lnTo>
                  <a:lnTo>
                    <a:pt x="465" y="81"/>
                  </a:lnTo>
                  <a:lnTo>
                    <a:pt x="501" y="65"/>
                  </a:lnTo>
                  <a:lnTo>
                    <a:pt x="539" y="50"/>
                  </a:lnTo>
                  <a:lnTo>
                    <a:pt x="576" y="37"/>
                  </a:lnTo>
                  <a:lnTo>
                    <a:pt x="615" y="26"/>
                  </a:lnTo>
                  <a:lnTo>
                    <a:pt x="655" y="17"/>
                  </a:lnTo>
                  <a:lnTo>
                    <a:pt x="696" y="10"/>
                  </a:lnTo>
                  <a:lnTo>
                    <a:pt x="736" y="4"/>
                  </a:lnTo>
                  <a:lnTo>
                    <a:pt x="778" y="1"/>
                  </a:lnTo>
                  <a:lnTo>
                    <a:pt x="821" y="0"/>
                  </a:lnTo>
                  <a:lnTo>
                    <a:pt x="863" y="1"/>
                  </a:lnTo>
                  <a:lnTo>
                    <a:pt x="905" y="4"/>
                  </a:lnTo>
                  <a:lnTo>
                    <a:pt x="945" y="10"/>
                  </a:lnTo>
                  <a:lnTo>
                    <a:pt x="985" y="17"/>
                  </a:lnTo>
                  <a:lnTo>
                    <a:pt x="1025" y="26"/>
                  </a:lnTo>
                  <a:lnTo>
                    <a:pt x="1064" y="37"/>
                  </a:lnTo>
                  <a:lnTo>
                    <a:pt x="1102" y="50"/>
                  </a:lnTo>
                  <a:lnTo>
                    <a:pt x="1139" y="65"/>
                  </a:lnTo>
                  <a:lnTo>
                    <a:pt x="1175" y="81"/>
                  </a:lnTo>
                  <a:lnTo>
                    <a:pt x="1211" y="99"/>
                  </a:lnTo>
                  <a:lnTo>
                    <a:pt x="1246" y="119"/>
                  </a:lnTo>
                  <a:lnTo>
                    <a:pt x="1279" y="140"/>
                  </a:lnTo>
                  <a:lnTo>
                    <a:pt x="1311" y="163"/>
                  </a:lnTo>
                  <a:lnTo>
                    <a:pt x="1342" y="187"/>
                  </a:lnTo>
                  <a:lnTo>
                    <a:pt x="1373" y="213"/>
                  </a:lnTo>
                  <a:lnTo>
                    <a:pt x="1400" y="240"/>
                  </a:lnTo>
                  <a:lnTo>
                    <a:pt x="1427" y="269"/>
                  </a:lnTo>
                  <a:lnTo>
                    <a:pt x="1453" y="299"/>
                  </a:lnTo>
                  <a:lnTo>
                    <a:pt x="1478" y="330"/>
                  </a:lnTo>
                  <a:lnTo>
                    <a:pt x="1501" y="363"/>
                  </a:lnTo>
                  <a:lnTo>
                    <a:pt x="1522" y="396"/>
                  </a:lnTo>
                  <a:lnTo>
                    <a:pt x="1542" y="430"/>
                  </a:lnTo>
                  <a:lnTo>
                    <a:pt x="1560" y="465"/>
                  </a:lnTo>
                  <a:lnTo>
                    <a:pt x="1577" y="501"/>
                  </a:lnTo>
                  <a:lnTo>
                    <a:pt x="1591" y="538"/>
                  </a:lnTo>
                  <a:lnTo>
                    <a:pt x="1604" y="577"/>
                  </a:lnTo>
                  <a:lnTo>
                    <a:pt x="1614" y="616"/>
                  </a:lnTo>
                  <a:lnTo>
                    <a:pt x="1625" y="655"/>
                  </a:lnTo>
                  <a:lnTo>
                    <a:pt x="1632" y="695"/>
                  </a:lnTo>
                  <a:lnTo>
                    <a:pt x="1637" y="737"/>
                  </a:lnTo>
                  <a:lnTo>
                    <a:pt x="1640" y="779"/>
                  </a:lnTo>
                  <a:lnTo>
                    <a:pt x="1640" y="821"/>
                  </a:lnTo>
                  <a:lnTo>
                    <a:pt x="1640" y="862"/>
                  </a:lnTo>
                  <a:lnTo>
                    <a:pt x="1637" y="904"/>
                  </a:lnTo>
                  <a:lnTo>
                    <a:pt x="1632" y="946"/>
                  </a:lnTo>
                  <a:lnTo>
                    <a:pt x="1625" y="986"/>
                  </a:lnTo>
                  <a:lnTo>
                    <a:pt x="1614" y="1025"/>
                  </a:lnTo>
                  <a:lnTo>
                    <a:pt x="1604" y="1064"/>
                  </a:lnTo>
                  <a:lnTo>
                    <a:pt x="1591" y="1103"/>
                  </a:lnTo>
                  <a:lnTo>
                    <a:pt x="1577" y="1140"/>
                  </a:lnTo>
                  <a:lnTo>
                    <a:pt x="1560" y="1176"/>
                  </a:lnTo>
                  <a:lnTo>
                    <a:pt x="1542" y="1211"/>
                  </a:lnTo>
                  <a:lnTo>
                    <a:pt x="1522" y="1245"/>
                  </a:lnTo>
                  <a:lnTo>
                    <a:pt x="1501" y="1278"/>
                  </a:lnTo>
                  <a:lnTo>
                    <a:pt x="1478" y="1311"/>
                  </a:lnTo>
                  <a:lnTo>
                    <a:pt x="1453" y="1342"/>
                  </a:lnTo>
                  <a:lnTo>
                    <a:pt x="1427" y="1372"/>
                  </a:lnTo>
                  <a:lnTo>
                    <a:pt x="1400" y="1401"/>
                  </a:lnTo>
                  <a:lnTo>
                    <a:pt x="1373" y="1428"/>
                  </a:lnTo>
                  <a:lnTo>
                    <a:pt x="1342" y="1454"/>
                  </a:lnTo>
                  <a:lnTo>
                    <a:pt x="1311" y="1478"/>
                  </a:lnTo>
                  <a:lnTo>
                    <a:pt x="1279" y="1501"/>
                  </a:lnTo>
                  <a:lnTo>
                    <a:pt x="1246" y="1522"/>
                  </a:lnTo>
                  <a:lnTo>
                    <a:pt x="1211" y="1542"/>
                  </a:lnTo>
                  <a:lnTo>
                    <a:pt x="1175" y="1560"/>
                  </a:lnTo>
                  <a:lnTo>
                    <a:pt x="1139" y="1576"/>
                  </a:lnTo>
                  <a:lnTo>
                    <a:pt x="1102" y="1591"/>
                  </a:lnTo>
                  <a:lnTo>
                    <a:pt x="1064" y="1604"/>
                  </a:lnTo>
                  <a:lnTo>
                    <a:pt x="1025" y="1615"/>
                  </a:lnTo>
                  <a:lnTo>
                    <a:pt x="985" y="1624"/>
                  </a:lnTo>
                  <a:lnTo>
                    <a:pt x="945" y="1631"/>
                  </a:lnTo>
                  <a:lnTo>
                    <a:pt x="905" y="1637"/>
                  </a:lnTo>
                  <a:lnTo>
                    <a:pt x="863" y="1640"/>
                  </a:lnTo>
                  <a:lnTo>
                    <a:pt x="821"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2" name="Freeform 14">
              <a:extLst>
                <a:ext uri="{FF2B5EF4-FFF2-40B4-BE49-F238E27FC236}">
                  <a16:creationId xmlns:a16="http://schemas.microsoft.com/office/drawing/2014/main" id="{DA0886CD-0F3C-47B5-AF2B-C1483969994B}"/>
                </a:ext>
              </a:extLst>
            </p:cNvPr>
            <p:cNvSpPr>
              <a:spLocks noEditPoints="1"/>
            </p:cNvSpPr>
            <p:nvPr/>
          </p:nvSpPr>
          <p:spPr bwMode="auto">
            <a:xfrm>
              <a:off x="4250178" y="5568536"/>
              <a:ext cx="185872" cy="223599"/>
            </a:xfrm>
            <a:custGeom>
              <a:avLst/>
              <a:gdLst>
                <a:gd name="T0" fmla="*/ 61 w 608"/>
                <a:gd name="T1" fmla="*/ 83 h 728"/>
                <a:gd name="T2" fmla="*/ 61 w 608"/>
                <a:gd name="T3" fmla="*/ 643 h 728"/>
                <a:gd name="T4" fmla="*/ 518 w 608"/>
                <a:gd name="T5" fmla="*/ 352 h 728"/>
                <a:gd name="T6" fmla="*/ 61 w 608"/>
                <a:gd name="T7" fmla="*/ 83 h 728"/>
                <a:gd name="T8" fmla="*/ 30 w 608"/>
                <a:gd name="T9" fmla="*/ 728 h 728"/>
                <a:gd name="T10" fmla="*/ 23 w 608"/>
                <a:gd name="T11" fmla="*/ 728 h 728"/>
                <a:gd name="T12" fmla="*/ 16 w 608"/>
                <a:gd name="T13" fmla="*/ 725 h 728"/>
                <a:gd name="T14" fmla="*/ 9 w 608"/>
                <a:gd name="T15" fmla="*/ 719 h 728"/>
                <a:gd name="T16" fmla="*/ 4 w 608"/>
                <a:gd name="T17" fmla="*/ 714 h 728"/>
                <a:gd name="T18" fmla="*/ 0 w 608"/>
                <a:gd name="T19" fmla="*/ 706 h 728"/>
                <a:gd name="T20" fmla="*/ 0 w 608"/>
                <a:gd name="T21" fmla="*/ 698 h 728"/>
                <a:gd name="T22" fmla="*/ 0 w 608"/>
                <a:gd name="T23" fmla="*/ 30 h 728"/>
                <a:gd name="T24" fmla="*/ 0 w 608"/>
                <a:gd name="T25" fmla="*/ 21 h 728"/>
                <a:gd name="T26" fmla="*/ 4 w 608"/>
                <a:gd name="T27" fmla="*/ 14 h 728"/>
                <a:gd name="T28" fmla="*/ 9 w 608"/>
                <a:gd name="T29" fmla="*/ 8 h 728"/>
                <a:gd name="T30" fmla="*/ 14 w 608"/>
                <a:gd name="T31" fmla="*/ 4 h 728"/>
                <a:gd name="T32" fmla="*/ 22 w 608"/>
                <a:gd name="T33" fmla="*/ 0 h 728"/>
                <a:gd name="T34" fmla="*/ 30 w 608"/>
                <a:gd name="T35" fmla="*/ 0 h 728"/>
                <a:gd name="T36" fmla="*/ 37 w 608"/>
                <a:gd name="T37" fmla="*/ 1 h 728"/>
                <a:gd name="T38" fmla="*/ 46 w 608"/>
                <a:gd name="T39" fmla="*/ 4 h 728"/>
                <a:gd name="T40" fmla="*/ 592 w 608"/>
                <a:gd name="T41" fmla="*/ 325 h 728"/>
                <a:gd name="T42" fmla="*/ 599 w 608"/>
                <a:gd name="T43" fmla="*/ 331 h 728"/>
                <a:gd name="T44" fmla="*/ 603 w 608"/>
                <a:gd name="T45" fmla="*/ 336 h 728"/>
                <a:gd name="T46" fmla="*/ 606 w 608"/>
                <a:gd name="T47" fmla="*/ 344 h 728"/>
                <a:gd name="T48" fmla="*/ 608 w 608"/>
                <a:gd name="T49" fmla="*/ 351 h 728"/>
                <a:gd name="T50" fmla="*/ 606 w 608"/>
                <a:gd name="T51" fmla="*/ 359 h 728"/>
                <a:gd name="T52" fmla="*/ 603 w 608"/>
                <a:gd name="T53" fmla="*/ 367 h 728"/>
                <a:gd name="T54" fmla="*/ 599 w 608"/>
                <a:gd name="T55" fmla="*/ 372 h 728"/>
                <a:gd name="T56" fmla="*/ 593 w 608"/>
                <a:gd name="T57" fmla="*/ 377 h 728"/>
                <a:gd name="T58" fmla="*/ 46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18" y="352"/>
                  </a:lnTo>
                  <a:lnTo>
                    <a:pt x="61" y="83"/>
                  </a:lnTo>
                  <a:close/>
                  <a:moveTo>
                    <a:pt x="30" y="728"/>
                  </a:moveTo>
                  <a:lnTo>
                    <a:pt x="23" y="728"/>
                  </a:lnTo>
                  <a:lnTo>
                    <a:pt x="16" y="725"/>
                  </a:lnTo>
                  <a:lnTo>
                    <a:pt x="9" y="719"/>
                  </a:lnTo>
                  <a:lnTo>
                    <a:pt x="4" y="714"/>
                  </a:lnTo>
                  <a:lnTo>
                    <a:pt x="0" y="706"/>
                  </a:lnTo>
                  <a:lnTo>
                    <a:pt x="0" y="698"/>
                  </a:lnTo>
                  <a:lnTo>
                    <a:pt x="0" y="30"/>
                  </a:lnTo>
                  <a:lnTo>
                    <a:pt x="0" y="21"/>
                  </a:lnTo>
                  <a:lnTo>
                    <a:pt x="4" y="14"/>
                  </a:lnTo>
                  <a:lnTo>
                    <a:pt x="9" y="8"/>
                  </a:lnTo>
                  <a:lnTo>
                    <a:pt x="14" y="4"/>
                  </a:lnTo>
                  <a:lnTo>
                    <a:pt x="22" y="0"/>
                  </a:lnTo>
                  <a:lnTo>
                    <a:pt x="30" y="0"/>
                  </a:lnTo>
                  <a:lnTo>
                    <a:pt x="37" y="1"/>
                  </a:lnTo>
                  <a:lnTo>
                    <a:pt x="46" y="4"/>
                  </a:lnTo>
                  <a:lnTo>
                    <a:pt x="592" y="325"/>
                  </a:lnTo>
                  <a:lnTo>
                    <a:pt x="599" y="331"/>
                  </a:lnTo>
                  <a:lnTo>
                    <a:pt x="603" y="336"/>
                  </a:lnTo>
                  <a:lnTo>
                    <a:pt x="606" y="344"/>
                  </a:lnTo>
                  <a:lnTo>
                    <a:pt x="608" y="351"/>
                  </a:lnTo>
                  <a:lnTo>
                    <a:pt x="606" y="359"/>
                  </a:lnTo>
                  <a:lnTo>
                    <a:pt x="603" y="367"/>
                  </a:lnTo>
                  <a:lnTo>
                    <a:pt x="599" y="372"/>
                  </a:lnTo>
                  <a:lnTo>
                    <a:pt x="593" y="377"/>
                  </a:lnTo>
                  <a:lnTo>
                    <a:pt x="46"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3" name="Freeform 15">
              <a:extLst>
                <a:ext uri="{FF2B5EF4-FFF2-40B4-BE49-F238E27FC236}">
                  <a16:creationId xmlns:a16="http://schemas.microsoft.com/office/drawing/2014/main" id="{B904F3CD-0160-4A62-8E10-04C321BA2A1B}"/>
                </a:ext>
              </a:extLst>
            </p:cNvPr>
            <p:cNvSpPr>
              <a:spLocks noEditPoints="1"/>
            </p:cNvSpPr>
            <p:nvPr/>
          </p:nvSpPr>
          <p:spPr bwMode="auto">
            <a:xfrm>
              <a:off x="4417647" y="5568536"/>
              <a:ext cx="186792" cy="223599"/>
            </a:xfrm>
            <a:custGeom>
              <a:avLst/>
              <a:gdLst>
                <a:gd name="T0" fmla="*/ 61 w 608"/>
                <a:gd name="T1" fmla="*/ 83 h 728"/>
                <a:gd name="T2" fmla="*/ 61 w 608"/>
                <a:gd name="T3" fmla="*/ 643 h 728"/>
                <a:gd name="T4" fmla="*/ 519 w 608"/>
                <a:gd name="T5" fmla="*/ 352 h 728"/>
                <a:gd name="T6" fmla="*/ 61 w 608"/>
                <a:gd name="T7" fmla="*/ 83 h 728"/>
                <a:gd name="T8" fmla="*/ 30 w 608"/>
                <a:gd name="T9" fmla="*/ 728 h 728"/>
                <a:gd name="T10" fmla="*/ 23 w 608"/>
                <a:gd name="T11" fmla="*/ 728 h 728"/>
                <a:gd name="T12" fmla="*/ 16 w 608"/>
                <a:gd name="T13" fmla="*/ 725 h 728"/>
                <a:gd name="T14" fmla="*/ 9 w 608"/>
                <a:gd name="T15" fmla="*/ 719 h 728"/>
                <a:gd name="T16" fmla="*/ 5 w 608"/>
                <a:gd name="T17" fmla="*/ 714 h 728"/>
                <a:gd name="T18" fmla="*/ 0 w 608"/>
                <a:gd name="T19" fmla="*/ 706 h 728"/>
                <a:gd name="T20" fmla="*/ 0 w 608"/>
                <a:gd name="T21" fmla="*/ 698 h 728"/>
                <a:gd name="T22" fmla="*/ 0 w 608"/>
                <a:gd name="T23" fmla="*/ 30 h 728"/>
                <a:gd name="T24" fmla="*/ 0 w 608"/>
                <a:gd name="T25" fmla="*/ 21 h 728"/>
                <a:gd name="T26" fmla="*/ 3 w 608"/>
                <a:gd name="T27" fmla="*/ 14 h 728"/>
                <a:gd name="T28" fmla="*/ 9 w 608"/>
                <a:gd name="T29" fmla="*/ 8 h 728"/>
                <a:gd name="T30" fmla="*/ 15 w 608"/>
                <a:gd name="T31" fmla="*/ 4 h 728"/>
                <a:gd name="T32" fmla="*/ 22 w 608"/>
                <a:gd name="T33" fmla="*/ 0 h 728"/>
                <a:gd name="T34" fmla="*/ 30 w 608"/>
                <a:gd name="T35" fmla="*/ 0 h 728"/>
                <a:gd name="T36" fmla="*/ 38 w 608"/>
                <a:gd name="T37" fmla="*/ 1 h 728"/>
                <a:gd name="T38" fmla="*/ 45 w 608"/>
                <a:gd name="T39" fmla="*/ 4 h 728"/>
                <a:gd name="T40" fmla="*/ 592 w 608"/>
                <a:gd name="T41" fmla="*/ 325 h 728"/>
                <a:gd name="T42" fmla="*/ 599 w 608"/>
                <a:gd name="T43" fmla="*/ 331 h 728"/>
                <a:gd name="T44" fmla="*/ 604 w 608"/>
                <a:gd name="T45" fmla="*/ 336 h 728"/>
                <a:gd name="T46" fmla="*/ 606 w 608"/>
                <a:gd name="T47" fmla="*/ 344 h 728"/>
                <a:gd name="T48" fmla="*/ 608 w 608"/>
                <a:gd name="T49" fmla="*/ 351 h 728"/>
                <a:gd name="T50" fmla="*/ 606 w 608"/>
                <a:gd name="T51" fmla="*/ 359 h 728"/>
                <a:gd name="T52" fmla="*/ 604 w 608"/>
                <a:gd name="T53" fmla="*/ 367 h 728"/>
                <a:gd name="T54" fmla="*/ 599 w 608"/>
                <a:gd name="T55" fmla="*/ 372 h 728"/>
                <a:gd name="T56" fmla="*/ 594 w 608"/>
                <a:gd name="T57" fmla="*/ 377 h 728"/>
                <a:gd name="T58" fmla="*/ 46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19" y="352"/>
                  </a:lnTo>
                  <a:lnTo>
                    <a:pt x="61" y="83"/>
                  </a:lnTo>
                  <a:close/>
                  <a:moveTo>
                    <a:pt x="30" y="728"/>
                  </a:moveTo>
                  <a:lnTo>
                    <a:pt x="23" y="728"/>
                  </a:lnTo>
                  <a:lnTo>
                    <a:pt x="16" y="725"/>
                  </a:lnTo>
                  <a:lnTo>
                    <a:pt x="9" y="719"/>
                  </a:lnTo>
                  <a:lnTo>
                    <a:pt x="5" y="714"/>
                  </a:lnTo>
                  <a:lnTo>
                    <a:pt x="0" y="706"/>
                  </a:lnTo>
                  <a:lnTo>
                    <a:pt x="0" y="698"/>
                  </a:lnTo>
                  <a:lnTo>
                    <a:pt x="0" y="30"/>
                  </a:lnTo>
                  <a:lnTo>
                    <a:pt x="0" y="21"/>
                  </a:lnTo>
                  <a:lnTo>
                    <a:pt x="3" y="14"/>
                  </a:lnTo>
                  <a:lnTo>
                    <a:pt x="9" y="8"/>
                  </a:lnTo>
                  <a:lnTo>
                    <a:pt x="15" y="4"/>
                  </a:lnTo>
                  <a:lnTo>
                    <a:pt x="22" y="0"/>
                  </a:lnTo>
                  <a:lnTo>
                    <a:pt x="30" y="0"/>
                  </a:lnTo>
                  <a:lnTo>
                    <a:pt x="38" y="1"/>
                  </a:lnTo>
                  <a:lnTo>
                    <a:pt x="45" y="4"/>
                  </a:lnTo>
                  <a:lnTo>
                    <a:pt x="592" y="325"/>
                  </a:lnTo>
                  <a:lnTo>
                    <a:pt x="599" y="331"/>
                  </a:lnTo>
                  <a:lnTo>
                    <a:pt x="604" y="336"/>
                  </a:lnTo>
                  <a:lnTo>
                    <a:pt x="606" y="344"/>
                  </a:lnTo>
                  <a:lnTo>
                    <a:pt x="608" y="351"/>
                  </a:lnTo>
                  <a:lnTo>
                    <a:pt x="606" y="359"/>
                  </a:lnTo>
                  <a:lnTo>
                    <a:pt x="604" y="367"/>
                  </a:lnTo>
                  <a:lnTo>
                    <a:pt x="599" y="372"/>
                  </a:lnTo>
                  <a:lnTo>
                    <a:pt x="594" y="377"/>
                  </a:lnTo>
                  <a:lnTo>
                    <a:pt x="46"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566" name="Freeform 86">
            <a:extLst>
              <a:ext uri="{FF2B5EF4-FFF2-40B4-BE49-F238E27FC236}">
                <a16:creationId xmlns:a16="http://schemas.microsoft.com/office/drawing/2014/main" id="{86BE7E44-A87A-4F15-B3F0-74B235C4D620}"/>
              </a:ext>
            </a:extLst>
          </p:cNvPr>
          <p:cNvSpPr>
            <a:spLocks noChangeAspect="1" noEditPoints="1"/>
          </p:cNvSpPr>
          <p:nvPr/>
        </p:nvSpPr>
        <p:spPr bwMode="auto">
          <a:xfrm>
            <a:off x="5791954" y="2186361"/>
            <a:ext cx="285619" cy="285619"/>
          </a:xfrm>
          <a:custGeom>
            <a:avLst/>
            <a:gdLst>
              <a:gd name="T0" fmla="*/ 502 w 902"/>
              <a:gd name="T1" fmla="*/ 753 h 902"/>
              <a:gd name="T2" fmla="*/ 525 w 902"/>
              <a:gd name="T3" fmla="*/ 687 h 902"/>
              <a:gd name="T4" fmla="*/ 695 w 902"/>
              <a:gd name="T5" fmla="*/ 751 h 902"/>
              <a:gd name="T6" fmla="*/ 750 w 902"/>
              <a:gd name="T7" fmla="*/ 665 h 902"/>
              <a:gd name="T8" fmla="*/ 849 w 902"/>
              <a:gd name="T9" fmla="*/ 739 h 902"/>
              <a:gd name="T10" fmla="*/ 553 w 902"/>
              <a:gd name="T11" fmla="*/ 871 h 902"/>
              <a:gd name="T12" fmla="*/ 424 w 902"/>
              <a:gd name="T13" fmla="*/ 768 h 902"/>
              <a:gd name="T14" fmla="*/ 472 w 902"/>
              <a:gd name="T15" fmla="*/ 763 h 902"/>
              <a:gd name="T16" fmla="*/ 451 w 902"/>
              <a:gd name="T17" fmla="*/ 871 h 902"/>
              <a:gd name="T18" fmla="*/ 183 w 902"/>
              <a:gd name="T19" fmla="*/ 655 h 902"/>
              <a:gd name="T20" fmla="*/ 211 w 902"/>
              <a:gd name="T21" fmla="*/ 757 h 902"/>
              <a:gd name="T22" fmla="*/ 379 w 902"/>
              <a:gd name="T23" fmla="*/ 696 h 902"/>
              <a:gd name="T24" fmla="*/ 392 w 902"/>
              <a:gd name="T25" fmla="*/ 761 h 902"/>
              <a:gd name="T26" fmla="*/ 32 w 902"/>
              <a:gd name="T27" fmla="*/ 857 h 902"/>
              <a:gd name="T28" fmla="*/ 68 w 902"/>
              <a:gd name="T29" fmla="*/ 722 h 902"/>
              <a:gd name="T30" fmla="*/ 359 w 902"/>
              <a:gd name="T31" fmla="*/ 614 h 902"/>
              <a:gd name="T32" fmla="*/ 287 w 902"/>
              <a:gd name="T33" fmla="*/ 621 h 902"/>
              <a:gd name="T34" fmla="*/ 313 w 902"/>
              <a:gd name="T35" fmla="*/ 344 h 902"/>
              <a:gd name="T36" fmla="*/ 296 w 902"/>
              <a:gd name="T37" fmla="*/ 290 h 902"/>
              <a:gd name="T38" fmla="*/ 317 w 902"/>
              <a:gd name="T39" fmla="*/ 259 h 902"/>
              <a:gd name="T40" fmla="*/ 293 w 902"/>
              <a:gd name="T41" fmla="*/ 121 h 902"/>
              <a:gd name="T42" fmla="*/ 328 w 902"/>
              <a:gd name="T43" fmla="*/ 85 h 902"/>
              <a:gd name="T44" fmla="*/ 363 w 902"/>
              <a:gd name="T45" fmla="*/ 60 h 902"/>
              <a:gd name="T46" fmla="*/ 487 w 902"/>
              <a:gd name="T47" fmla="*/ 30 h 902"/>
              <a:gd name="T48" fmla="*/ 604 w 902"/>
              <a:gd name="T49" fmla="*/ 60 h 902"/>
              <a:gd name="T50" fmla="*/ 629 w 902"/>
              <a:gd name="T51" fmla="*/ 126 h 902"/>
              <a:gd name="T52" fmla="*/ 590 w 902"/>
              <a:gd name="T53" fmla="*/ 263 h 902"/>
              <a:gd name="T54" fmla="*/ 611 w 902"/>
              <a:gd name="T55" fmla="*/ 297 h 902"/>
              <a:gd name="T56" fmla="*/ 590 w 902"/>
              <a:gd name="T57" fmla="*/ 348 h 902"/>
              <a:gd name="T58" fmla="*/ 569 w 902"/>
              <a:gd name="T59" fmla="*/ 428 h 902"/>
              <a:gd name="T60" fmla="*/ 541 w 902"/>
              <a:gd name="T61" fmla="*/ 556 h 902"/>
              <a:gd name="T62" fmla="*/ 407 w 902"/>
              <a:gd name="T63" fmla="*/ 598 h 902"/>
              <a:gd name="T64" fmla="*/ 358 w 902"/>
              <a:gd name="T65" fmla="*/ 456 h 902"/>
              <a:gd name="T66" fmla="*/ 316 w 902"/>
              <a:gd name="T67" fmla="*/ 353 h 902"/>
              <a:gd name="T68" fmla="*/ 406 w 902"/>
              <a:gd name="T69" fmla="*/ 676 h 902"/>
              <a:gd name="T70" fmla="*/ 476 w 902"/>
              <a:gd name="T71" fmla="*/ 714 h 902"/>
              <a:gd name="T72" fmla="*/ 527 w 902"/>
              <a:gd name="T73" fmla="*/ 621 h 902"/>
              <a:gd name="T74" fmla="*/ 571 w 902"/>
              <a:gd name="T75" fmla="*/ 586 h 902"/>
              <a:gd name="T76" fmla="*/ 628 w 902"/>
              <a:gd name="T77" fmla="*/ 640 h 902"/>
              <a:gd name="T78" fmla="*/ 741 w 902"/>
              <a:gd name="T79" fmla="*/ 629 h 902"/>
              <a:gd name="T80" fmla="*/ 593 w 902"/>
              <a:gd name="T81" fmla="*/ 551 h 902"/>
              <a:gd name="T82" fmla="*/ 599 w 902"/>
              <a:gd name="T83" fmla="*/ 436 h 902"/>
              <a:gd name="T84" fmla="*/ 635 w 902"/>
              <a:gd name="T85" fmla="*/ 339 h 902"/>
              <a:gd name="T86" fmla="*/ 623 w 902"/>
              <a:gd name="T87" fmla="*/ 253 h 902"/>
              <a:gd name="T88" fmla="*/ 660 w 902"/>
              <a:gd name="T89" fmla="*/ 116 h 902"/>
              <a:gd name="T90" fmla="*/ 617 w 902"/>
              <a:gd name="T91" fmla="*/ 32 h 902"/>
              <a:gd name="T92" fmla="*/ 501 w 902"/>
              <a:gd name="T93" fmla="*/ 0 h 902"/>
              <a:gd name="T94" fmla="*/ 371 w 902"/>
              <a:gd name="T95" fmla="*/ 19 h 902"/>
              <a:gd name="T96" fmla="*/ 306 w 902"/>
              <a:gd name="T97" fmla="*/ 60 h 902"/>
              <a:gd name="T98" fmla="*/ 263 w 902"/>
              <a:gd name="T99" fmla="*/ 119 h 902"/>
              <a:gd name="T100" fmla="*/ 284 w 902"/>
              <a:gd name="T101" fmla="*/ 248 h 902"/>
              <a:gd name="T102" fmla="*/ 268 w 902"/>
              <a:gd name="T103" fmla="*/ 329 h 902"/>
              <a:gd name="T104" fmla="*/ 298 w 902"/>
              <a:gd name="T105" fmla="*/ 421 h 902"/>
              <a:gd name="T106" fmla="*/ 313 w 902"/>
              <a:gd name="T107" fmla="*/ 551 h 902"/>
              <a:gd name="T108" fmla="*/ 168 w 902"/>
              <a:gd name="T109" fmla="*/ 628 h 902"/>
              <a:gd name="T110" fmla="*/ 36 w 902"/>
              <a:gd name="T111" fmla="*/ 718 h 902"/>
              <a:gd name="T112" fmla="*/ 0 w 902"/>
              <a:gd name="T113" fmla="*/ 886 h 902"/>
              <a:gd name="T114" fmla="*/ 351 w 902"/>
              <a:gd name="T115" fmla="*/ 901 h 902"/>
              <a:gd name="T116" fmla="*/ 901 w 902"/>
              <a:gd name="T117" fmla="*/ 893 h 902"/>
              <a:gd name="T118" fmla="*/ 891 w 902"/>
              <a:gd name="T119" fmla="*/ 77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553" y="871"/>
                </a:moveTo>
                <a:lnTo>
                  <a:pt x="550" y="858"/>
                </a:lnTo>
                <a:lnTo>
                  <a:pt x="545" y="842"/>
                </a:lnTo>
                <a:lnTo>
                  <a:pt x="539" y="824"/>
                </a:lnTo>
                <a:lnTo>
                  <a:pt x="533" y="806"/>
                </a:lnTo>
                <a:lnTo>
                  <a:pt x="524" y="788"/>
                </a:lnTo>
                <a:lnTo>
                  <a:pt x="514" y="769"/>
                </a:lnTo>
                <a:lnTo>
                  <a:pt x="509" y="761"/>
                </a:lnTo>
                <a:lnTo>
                  <a:pt x="502" y="753"/>
                </a:lnTo>
                <a:lnTo>
                  <a:pt x="497" y="746"/>
                </a:lnTo>
                <a:lnTo>
                  <a:pt x="491" y="739"/>
                </a:lnTo>
                <a:lnTo>
                  <a:pt x="498" y="734"/>
                </a:lnTo>
                <a:lnTo>
                  <a:pt x="505" y="728"/>
                </a:lnTo>
                <a:lnTo>
                  <a:pt x="511" y="721"/>
                </a:lnTo>
                <a:lnTo>
                  <a:pt x="516" y="713"/>
                </a:lnTo>
                <a:lnTo>
                  <a:pt x="521" y="705"/>
                </a:lnTo>
                <a:lnTo>
                  <a:pt x="523" y="696"/>
                </a:lnTo>
                <a:lnTo>
                  <a:pt x="525" y="687"/>
                </a:lnTo>
                <a:lnTo>
                  <a:pt x="526" y="678"/>
                </a:lnTo>
                <a:lnTo>
                  <a:pt x="673" y="765"/>
                </a:lnTo>
                <a:lnTo>
                  <a:pt x="676" y="766"/>
                </a:lnTo>
                <a:lnTo>
                  <a:pt x="680" y="767"/>
                </a:lnTo>
                <a:lnTo>
                  <a:pt x="685" y="766"/>
                </a:lnTo>
                <a:lnTo>
                  <a:pt x="690" y="764"/>
                </a:lnTo>
                <a:lnTo>
                  <a:pt x="693" y="760"/>
                </a:lnTo>
                <a:lnTo>
                  <a:pt x="694" y="757"/>
                </a:lnTo>
                <a:lnTo>
                  <a:pt x="695" y="751"/>
                </a:lnTo>
                <a:lnTo>
                  <a:pt x="694" y="747"/>
                </a:lnTo>
                <a:lnTo>
                  <a:pt x="656" y="630"/>
                </a:lnTo>
                <a:lnTo>
                  <a:pt x="656" y="629"/>
                </a:lnTo>
                <a:lnTo>
                  <a:pt x="655" y="628"/>
                </a:lnTo>
                <a:lnTo>
                  <a:pt x="663" y="631"/>
                </a:lnTo>
                <a:lnTo>
                  <a:pt x="671" y="634"/>
                </a:lnTo>
                <a:lnTo>
                  <a:pt x="698" y="645"/>
                </a:lnTo>
                <a:lnTo>
                  <a:pt x="724" y="655"/>
                </a:lnTo>
                <a:lnTo>
                  <a:pt x="750" y="665"/>
                </a:lnTo>
                <a:lnTo>
                  <a:pt x="774" y="676"/>
                </a:lnTo>
                <a:lnTo>
                  <a:pt x="796" y="688"/>
                </a:lnTo>
                <a:lnTo>
                  <a:pt x="814" y="699"/>
                </a:lnTo>
                <a:lnTo>
                  <a:pt x="822" y="705"/>
                </a:lnTo>
                <a:lnTo>
                  <a:pt x="828" y="710"/>
                </a:lnTo>
                <a:lnTo>
                  <a:pt x="835" y="716"/>
                </a:lnTo>
                <a:lnTo>
                  <a:pt x="839" y="722"/>
                </a:lnTo>
                <a:lnTo>
                  <a:pt x="845" y="731"/>
                </a:lnTo>
                <a:lnTo>
                  <a:pt x="849" y="739"/>
                </a:lnTo>
                <a:lnTo>
                  <a:pt x="852" y="748"/>
                </a:lnTo>
                <a:lnTo>
                  <a:pt x="856" y="759"/>
                </a:lnTo>
                <a:lnTo>
                  <a:pt x="862" y="779"/>
                </a:lnTo>
                <a:lnTo>
                  <a:pt x="866" y="800"/>
                </a:lnTo>
                <a:lnTo>
                  <a:pt x="869" y="821"/>
                </a:lnTo>
                <a:lnTo>
                  <a:pt x="870" y="840"/>
                </a:lnTo>
                <a:lnTo>
                  <a:pt x="871" y="857"/>
                </a:lnTo>
                <a:lnTo>
                  <a:pt x="872" y="871"/>
                </a:lnTo>
                <a:lnTo>
                  <a:pt x="553" y="871"/>
                </a:lnTo>
                <a:close/>
                <a:moveTo>
                  <a:pt x="451" y="871"/>
                </a:moveTo>
                <a:lnTo>
                  <a:pt x="372" y="871"/>
                </a:lnTo>
                <a:lnTo>
                  <a:pt x="379" y="851"/>
                </a:lnTo>
                <a:lnTo>
                  <a:pt x="389" y="829"/>
                </a:lnTo>
                <a:lnTo>
                  <a:pt x="397" y="809"/>
                </a:lnTo>
                <a:lnTo>
                  <a:pt x="408" y="791"/>
                </a:lnTo>
                <a:lnTo>
                  <a:pt x="413" y="782"/>
                </a:lnTo>
                <a:lnTo>
                  <a:pt x="419" y="775"/>
                </a:lnTo>
                <a:lnTo>
                  <a:pt x="424" y="768"/>
                </a:lnTo>
                <a:lnTo>
                  <a:pt x="430" y="763"/>
                </a:lnTo>
                <a:lnTo>
                  <a:pt x="435" y="758"/>
                </a:lnTo>
                <a:lnTo>
                  <a:pt x="440" y="754"/>
                </a:lnTo>
                <a:lnTo>
                  <a:pt x="446" y="752"/>
                </a:lnTo>
                <a:lnTo>
                  <a:pt x="451" y="751"/>
                </a:lnTo>
                <a:lnTo>
                  <a:pt x="456" y="752"/>
                </a:lnTo>
                <a:lnTo>
                  <a:pt x="462" y="754"/>
                </a:lnTo>
                <a:lnTo>
                  <a:pt x="467" y="758"/>
                </a:lnTo>
                <a:lnTo>
                  <a:pt x="472" y="763"/>
                </a:lnTo>
                <a:lnTo>
                  <a:pt x="477" y="768"/>
                </a:lnTo>
                <a:lnTo>
                  <a:pt x="482" y="775"/>
                </a:lnTo>
                <a:lnTo>
                  <a:pt x="486" y="782"/>
                </a:lnTo>
                <a:lnTo>
                  <a:pt x="492" y="791"/>
                </a:lnTo>
                <a:lnTo>
                  <a:pt x="500" y="809"/>
                </a:lnTo>
                <a:lnTo>
                  <a:pt x="509" y="829"/>
                </a:lnTo>
                <a:lnTo>
                  <a:pt x="516" y="851"/>
                </a:lnTo>
                <a:lnTo>
                  <a:pt x="522" y="871"/>
                </a:lnTo>
                <a:lnTo>
                  <a:pt x="451" y="871"/>
                </a:lnTo>
                <a:close/>
                <a:moveTo>
                  <a:pt x="68" y="722"/>
                </a:moveTo>
                <a:lnTo>
                  <a:pt x="73" y="716"/>
                </a:lnTo>
                <a:lnTo>
                  <a:pt x="78" y="710"/>
                </a:lnTo>
                <a:lnTo>
                  <a:pt x="85" y="704"/>
                </a:lnTo>
                <a:lnTo>
                  <a:pt x="93" y="699"/>
                </a:lnTo>
                <a:lnTo>
                  <a:pt x="112" y="687"/>
                </a:lnTo>
                <a:lnTo>
                  <a:pt x="134" y="676"/>
                </a:lnTo>
                <a:lnTo>
                  <a:pt x="157" y="665"/>
                </a:lnTo>
                <a:lnTo>
                  <a:pt x="183" y="655"/>
                </a:lnTo>
                <a:lnTo>
                  <a:pt x="210" y="644"/>
                </a:lnTo>
                <a:lnTo>
                  <a:pt x="237" y="633"/>
                </a:lnTo>
                <a:lnTo>
                  <a:pt x="244" y="631"/>
                </a:lnTo>
                <a:lnTo>
                  <a:pt x="252" y="628"/>
                </a:lnTo>
                <a:lnTo>
                  <a:pt x="251" y="629"/>
                </a:lnTo>
                <a:lnTo>
                  <a:pt x="251" y="630"/>
                </a:lnTo>
                <a:lnTo>
                  <a:pt x="211" y="747"/>
                </a:lnTo>
                <a:lnTo>
                  <a:pt x="210" y="751"/>
                </a:lnTo>
                <a:lnTo>
                  <a:pt x="211" y="757"/>
                </a:lnTo>
                <a:lnTo>
                  <a:pt x="213" y="760"/>
                </a:lnTo>
                <a:lnTo>
                  <a:pt x="216" y="764"/>
                </a:lnTo>
                <a:lnTo>
                  <a:pt x="221" y="766"/>
                </a:lnTo>
                <a:lnTo>
                  <a:pt x="225" y="767"/>
                </a:lnTo>
                <a:lnTo>
                  <a:pt x="229" y="766"/>
                </a:lnTo>
                <a:lnTo>
                  <a:pt x="233" y="765"/>
                </a:lnTo>
                <a:lnTo>
                  <a:pt x="376" y="678"/>
                </a:lnTo>
                <a:lnTo>
                  <a:pt x="377" y="688"/>
                </a:lnTo>
                <a:lnTo>
                  <a:pt x="379" y="696"/>
                </a:lnTo>
                <a:lnTo>
                  <a:pt x="382" y="705"/>
                </a:lnTo>
                <a:lnTo>
                  <a:pt x="387" y="713"/>
                </a:lnTo>
                <a:lnTo>
                  <a:pt x="392" y="720"/>
                </a:lnTo>
                <a:lnTo>
                  <a:pt x="397" y="728"/>
                </a:lnTo>
                <a:lnTo>
                  <a:pt x="404" y="734"/>
                </a:lnTo>
                <a:lnTo>
                  <a:pt x="411" y="739"/>
                </a:lnTo>
                <a:lnTo>
                  <a:pt x="405" y="746"/>
                </a:lnTo>
                <a:lnTo>
                  <a:pt x="398" y="752"/>
                </a:lnTo>
                <a:lnTo>
                  <a:pt x="392" y="761"/>
                </a:lnTo>
                <a:lnTo>
                  <a:pt x="387" y="769"/>
                </a:lnTo>
                <a:lnTo>
                  <a:pt x="376" y="788"/>
                </a:lnTo>
                <a:lnTo>
                  <a:pt x="366" y="806"/>
                </a:lnTo>
                <a:lnTo>
                  <a:pt x="358" y="825"/>
                </a:lnTo>
                <a:lnTo>
                  <a:pt x="350" y="842"/>
                </a:lnTo>
                <a:lnTo>
                  <a:pt x="345" y="858"/>
                </a:lnTo>
                <a:lnTo>
                  <a:pt x="341" y="871"/>
                </a:lnTo>
                <a:lnTo>
                  <a:pt x="31" y="871"/>
                </a:lnTo>
                <a:lnTo>
                  <a:pt x="32" y="857"/>
                </a:lnTo>
                <a:lnTo>
                  <a:pt x="34" y="840"/>
                </a:lnTo>
                <a:lnTo>
                  <a:pt x="36" y="821"/>
                </a:lnTo>
                <a:lnTo>
                  <a:pt x="40" y="800"/>
                </a:lnTo>
                <a:lnTo>
                  <a:pt x="45" y="779"/>
                </a:lnTo>
                <a:lnTo>
                  <a:pt x="51" y="759"/>
                </a:lnTo>
                <a:lnTo>
                  <a:pt x="54" y="748"/>
                </a:lnTo>
                <a:lnTo>
                  <a:pt x="59" y="739"/>
                </a:lnTo>
                <a:lnTo>
                  <a:pt x="63" y="731"/>
                </a:lnTo>
                <a:lnTo>
                  <a:pt x="68" y="722"/>
                </a:lnTo>
                <a:close/>
                <a:moveTo>
                  <a:pt x="331" y="574"/>
                </a:moveTo>
                <a:lnTo>
                  <a:pt x="331" y="586"/>
                </a:lnTo>
                <a:lnTo>
                  <a:pt x="331" y="589"/>
                </a:lnTo>
                <a:lnTo>
                  <a:pt x="332" y="591"/>
                </a:lnTo>
                <a:lnTo>
                  <a:pt x="333" y="595"/>
                </a:lnTo>
                <a:lnTo>
                  <a:pt x="335" y="597"/>
                </a:lnTo>
                <a:lnTo>
                  <a:pt x="343" y="603"/>
                </a:lnTo>
                <a:lnTo>
                  <a:pt x="350" y="609"/>
                </a:lnTo>
                <a:lnTo>
                  <a:pt x="359" y="614"/>
                </a:lnTo>
                <a:lnTo>
                  <a:pt x="367" y="618"/>
                </a:lnTo>
                <a:lnTo>
                  <a:pt x="376" y="621"/>
                </a:lnTo>
                <a:lnTo>
                  <a:pt x="385" y="625"/>
                </a:lnTo>
                <a:lnTo>
                  <a:pt x="393" y="627"/>
                </a:lnTo>
                <a:lnTo>
                  <a:pt x="402" y="628"/>
                </a:lnTo>
                <a:lnTo>
                  <a:pt x="253" y="718"/>
                </a:lnTo>
                <a:lnTo>
                  <a:pt x="278" y="640"/>
                </a:lnTo>
                <a:lnTo>
                  <a:pt x="283" y="631"/>
                </a:lnTo>
                <a:lnTo>
                  <a:pt x="287" y="621"/>
                </a:lnTo>
                <a:lnTo>
                  <a:pt x="292" y="613"/>
                </a:lnTo>
                <a:lnTo>
                  <a:pt x="300" y="604"/>
                </a:lnTo>
                <a:lnTo>
                  <a:pt x="307" y="596"/>
                </a:lnTo>
                <a:lnTo>
                  <a:pt x="315" y="588"/>
                </a:lnTo>
                <a:lnTo>
                  <a:pt x="322" y="581"/>
                </a:lnTo>
                <a:lnTo>
                  <a:pt x="331" y="574"/>
                </a:lnTo>
                <a:close/>
                <a:moveTo>
                  <a:pt x="316" y="353"/>
                </a:moveTo>
                <a:lnTo>
                  <a:pt x="315" y="348"/>
                </a:lnTo>
                <a:lnTo>
                  <a:pt x="313" y="344"/>
                </a:lnTo>
                <a:lnTo>
                  <a:pt x="308" y="341"/>
                </a:lnTo>
                <a:lnTo>
                  <a:pt x="303" y="338"/>
                </a:lnTo>
                <a:lnTo>
                  <a:pt x="300" y="333"/>
                </a:lnTo>
                <a:lnTo>
                  <a:pt x="297" y="323"/>
                </a:lnTo>
                <a:lnTo>
                  <a:pt x="296" y="318"/>
                </a:lnTo>
                <a:lnTo>
                  <a:pt x="294" y="312"/>
                </a:lnTo>
                <a:lnTo>
                  <a:pt x="294" y="305"/>
                </a:lnTo>
                <a:lnTo>
                  <a:pt x="294" y="298"/>
                </a:lnTo>
                <a:lnTo>
                  <a:pt x="296" y="290"/>
                </a:lnTo>
                <a:lnTo>
                  <a:pt x="299" y="284"/>
                </a:lnTo>
                <a:lnTo>
                  <a:pt x="300" y="280"/>
                </a:lnTo>
                <a:lnTo>
                  <a:pt x="302" y="277"/>
                </a:lnTo>
                <a:lnTo>
                  <a:pt x="305" y="274"/>
                </a:lnTo>
                <a:lnTo>
                  <a:pt x="308" y="272"/>
                </a:lnTo>
                <a:lnTo>
                  <a:pt x="312" y="270"/>
                </a:lnTo>
                <a:lnTo>
                  <a:pt x="315" y="267"/>
                </a:lnTo>
                <a:lnTo>
                  <a:pt x="316" y="263"/>
                </a:lnTo>
                <a:lnTo>
                  <a:pt x="317" y="259"/>
                </a:lnTo>
                <a:lnTo>
                  <a:pt x="316" y="250"/>
                </a:lnTo>
                <a:lnTo>
                  <a:pt x="311" y="234"/>
                </a:lnTo>
                <a:lnTo>
                  <a:pt x="307" y="222"/>
                </a:lnTo>
                <a:lnTo>
                  <a:pt x="302" y="204"/>
                </a:lnTo>
                <a:lnTo>
                  <a:pt x="298" y="186"/>
                </a:lnTo>
                <a:lnTo>
                  <a:pt x="294" y="167"/>
                </a:lnTo>
                <a:lnTo>
                  <a:pt x="292" y="148"/>
                </a:lnTo>
                <a:lnTo>
                  <a:pt x="292" y="129"/>
                </a:lnTo>
                <a:lnTo>
                  <a:pt x="293" y="121"/>
                </a:lnTo>
                <a:lnTo>
                  <a:pt x="296" y="112"/>
                </a:lnTo>
                <a:lnTo>
                  <a:pt x="298" y="106"/>
                </a:lnTo>
                <a:lnTo>
                  <a:pt x="302" y="99"/>
                </a:lnTo>
                <a:lnTo>
                  <a:pt x="305" y="96"/>
                </a:lnTo>
                <a:lnTo>
                  <a:pt x="308" y="93"/>
                </a:lnTo>
                <a:lnTo>
                  <a:pt x="313" y="90"/>
                </a:lnTo>
                <a:lnTo>
                  <a:pt x="317" y="88"/>
                </a:lnTo>
                <a:lnTo>
                  <a:pt x="322" y="86"/>
                </a:lnTo>
                <a:lnTo>
                  <a:pt x="328" y="85"/>
                </a:lnTo>
                <a:lnTo>
                  <a:pt x="333" y="84"/>
                </a:lnTo>
                <a:lnTo>
                  <a:pt x="340" y="84"/>
                </a:lnTo>
                <a:lnTo>
                  <a:pt x="345" y="83"/>
                </a:lnTo>
                <a:lnTo>
                  <a:pt x="349" y="81"/>
                </a:lnTo>
                <a:lnTo>
                  <a:pt x="352" y="78"/>
                </a:lnTo>
                <a:lnTo>
                  <a:pt x="355" y="73"/>
                </a:lnTo>
                <a:lnTo>
                  <a:pt x="356" y="68"/>
                </a:lnTo>
                <a:lnTo>
                  <a:pt x="359" y="64"/>
                </a:lnTo>
                <a:lnTo>
                  <a:pt x="363" y="60"/>
                </a:lnTo>
                <a:lnTo>
                  <a:pt x="368" y="55"/>
                </a:lnTo>
                <a:lnTo>
                  <a:pt x="374" y="51"/>
                </a:lnTo>
                <a:lnTo>
                  <a:pt x="381" y="48"/>
                </a:lnTo>
                <a:lnTo>
                  <a:pt x="389" y="44"/>
                </a:lnTo>
                <a:lnTo>
                  <a:pt x="397" y="41"/>
                </a:lnTo>
                <a:lnTo>
                  <a:pt x="417" y="36"/>
                </a:lnTo>
                <a:lnTo>
                  <a:pt x="439" y="32"/>
                </a:lnTo>
                <a:lnTo>
                  <a:pt x="463" y="30"/>
                </a:lnTo>
                <a:lnTo>
                  <a:pt x="487" y="30"/>
                </a:lnTo>
                <a:lnTo>
                  <a:pt x="511" y="31"/>
                </a:lnTo>
                <a:lnTo>
                  <a:pt x="535" y="34"/>
                </a:lnTo>
                <a:lnTo>
                  <a:pt x="546" y="36"/>
                </a:lnTo>
                <a:lnTo>
                  <a:pt x="557" y="39"/>
                </a:lnTo>
                <a:lnTo>
                  <a:pt x="568" y="42"/>
                </a:lnTo>
                <a:lnTo>
                  <a:pt x="579" y="46"/>
                </a:lnTo>
                <a:lnTo>
                  <a:pt x="588" y="50"/>
                </a:lnTo>
                <a:lnTo>
                  <a:pt x="597" y="54"/>
                </a:lnTo>
                <a:lnTo>
                  <a:pt x="604" y="60"/>
                </a:lnTo>
                <a:lnTo>
                  <a:pt x="612" y="65"/>
                </a:lnTo>
                <a:lnTo>
                  <a:pt x="617" y="70"/>
                </a:lnTo>
                <a:lnTo>
                  <a:pt x="623" y="77"/>
                </a:lnTo>
                <a:lnTo>
                  <a:pt x="626" y="84"/>
                </a:lnTo>
                <a:lnTo>
                  <a:pt x="628" y="91"/>
                </a:lnTo>
                <a:lnTo>
                  <a:pt x="629" y="99"/>
                </a:lnTo>
                <a:lnTo>
                  <a:pt x="630" y="108"/>
                </a:lnTo>
                <a:lnTo>
                  <a:pt x="630" y="118"/>
                </a:lnTo>
                <a:lnTo>
                  <a:pt x="629" y="126"/>
                </a:lnTo>
                <a:lnTo>
                  <a:pt x="626" y="145"/>
                </a:lnTo>
                <a:lnTo>
                  <a:pt x="622" y="165"/>
                </a:lnTo>
                <a:lnTo>
                  <a:pt x="611" y="200"/>
                </a:lnTo>
                <a:lnTo>
                  <a:pt x="599" y="230"/>
                </a:lnTo>
                <a:lnTo>
                  <a:pt x="595" y="241"/>
                </a:lnTo>
                <a:lnTo>
                  <a:pt x="591" y="249"/>
                </a:lnTo>
                <a:lnTo>
                  <a:pt x="590" y="255"/>
                </a:lnTo>
                <a:lnTo>
                  <a:pt x="589" y="259"/>
                </a:lnTo>
                <a:lnTo>
                  <a:pt x="590" y="263"/>
                </a:lnTo>
                <a:lnTo>
                  <a:pt x="591" y="267"/>
                </a:lnTo>
                <a:lnTo>
                  <a:pt x="595" y="270"/>
                </a:lnTo>
                <a:lnTo>
                  <a:pt x="598" y="272"/>
                </a:lnTo>
                <a:lnTo>
                  <a:pt x="601" y="274"/>
                </a:lnTo>
                <a:lnTo>
                  <a:pt x="604" y="277"/>
                </a:lnTo>
                <a:lnTo>
                  <a:pt x="606" y="279"/>
                </a:lnTo>
                <a:lnTo>
                  <a:pt x="608" y="283"/>
                </a:lnTo>
                <a:lnTo>
                  <a:pt x="610" y="290"/>
                </a:lnTo>
                <a:lnTo>
                  <a:pt x="611" y="297"/>
                </a:lnTo>
                <a:lnTo>
                  <a:pt x="612" y="304"/>
                </a:lnTo>
                <a:lnTo>
                  <a:pt x="611" y="311"/>
                </a:lnTo>
                <a:lnTo>
                  <a:pt x="610" y="318"/>
                </a:lnTo>
                <a:lnTo>
                  <a:pt x="609" y="323"/>
                </a:lnTo>
                <a:lnTo>
                  <a:pt x="605" y="333"/>
                </a:lnTo>
                <a:lnTo>
                  <a:pt x="601" y="338"/>
                </a:lnTo>
                <a:lnTo>
                  <a:pt x="597" y="341"/>
                </a:lnTo>
                <a:lnTo>
                  <a:pt x="593" y="344"/>
                </a:lnTo>
                <a:lnTo>
                  <a:pt x="590" y="348"/>
                </a:lnTo>
                <a:lnTo>
                  <a:pt x="589" y="353"/>
                </a:lnTo>
                <a:lnTo>
                  <a:pt x="588" y="366"/>
                </a:lnTo>
                <a:lnTo>
                  <a:pt x="587" y="377"/>
                </a:lnTo>
                <a:lnTo>
                  <a:pt x="585" y="388"/>
                </a:lnTo>
                <a:lnTo>
                  <a:pt x="583" y="397"/>
                </a:lnTo>
                <a:lnTo>
                  <a:pt x="580" y="406"/>
                </a:lnTo>
                <a:lnTo>
                  <a:pt x="576" y="415"/>
                </a:lnTo>
                <a:lnTo>
                  <a:pt x="573" y="422"/>
                </a:lnTo>
                <a:lnTo>
                  <a:pt x="569" y="428"/>
                </a:lnTo>
                <a:lnTo>
                  <a:pt x="561" y="439"/>
                </a:lnTo>
                <a:lnTo>
                  <a:pt x="555" y="447"/>
                </a:lnTo>
                <a:lnTo>
                  <a:pt x="550" y="452"/>
                </a:lnTo>
                <a:lnTo>
                  <a:pt x="548" y="454"/>
                </a:lnTo>
                <a:lnTo>
                  <a:pt x="545" y="456"/>
                </a:lnTo>
                <a:lnTo>
                  <a:pt x="543" y="458"/>
                </a:lnTo>
                <a:lnTo>
                  <a:pt x="542" y="463"/>
                </a:lnTo>
                <a:lnTo>
                  <a:pt x="541" y="466"/>
                </a:lnTo>
                <a:lnTo>
                  <a:pt x="541" y="556"/>
                </a:lnTo>
                <a:lnTo>
                  <a:pt x="541" y="580"/>
                </a:lnTo>
                <a:lnTo>
                  <a:pt x="531" y="586"/>
                </a:lnTo>
                <a:lnTo>
                  <a:pt x="520" y="591"/>
                </a:lnTo>
                <a:lnTo>
                  <a:pt x="508" y="596"/>
                </a:lnTo>
                <a:lnTo>
                  <a:pt x="496" y="598"/>
                </a:lnTo>
                <a:lnTo>
                  <a:pt x="472" y="601"/>
                </a:lnTo>
                <a:lnTo>
                  <a:pt x="451" y="601"/>
                </a:lnTo>
                <a:lnTo>
                  <a:pt x="431" y="601"/>
                </a:lnTo>
                <a:lnTo>
                  <a:pt x="407" y="598"/>
                </a:lnTo>
                <a:lnTo>
                  <a:pt x="394" y="596"/>
                </a:lnTo>
                <a:lnTo>
                  <a:pt x="382" y="591"/>
                </a:lnTo>
                <a:lnTo>
                  <a:pt x="372" y="586"/>
                </a:lnTo>
                <a:lnTo>
                  <a:pt x="361" y="580"/>
                </a:lnTo>
                <a:lnTo>
                  <a:pt x="361" y="556"/>
                </a:lnTo>
                <a:lnTo>
                  <a:pt x="361" y="466"/>
                </a:lnTo>
                <a:lnTo>
                  <a:pt x="361" y="463"/>
                </a:lnTo>
                <a:lnTo>
                  <a:pt x="360" y="460"/>
                </a:lnTo>
                <a:lnTo>
                  <a:pt x="358" y="456"/>
                </a:lnTo>
                <a:lnTo>
                  <a:pt x="356" y="454"/>
                </a:lnTo>
                <a:lnTo>
                  <a:pt x="349" y="448"/>
                </a:lnTo>
                <a:lnTo>
                  <a:pt x="335" y="430"/>
                </a:lnTo>
                <a:lnTo>
                  <a:pt x="328" y="416"/>
                </a:lnTo>
                <a:lnTo>
                  <a:pt x="322" y="397"/>
                </a:lnTo>
                <a:lnTo>
                  <a:pt x="319" y="388"/>
                </a:lnTo>
                <a:lnTo>
                  <a:pt x="317" y="377"/>
                </a:lnTo>
                <a:lnTo>
                  <a:pt x="316" y="366"/>
                </a:lnTo>
                <a:lnTo>
                  <a:pt x="316" y="353"/>
                </a:lnTo>
                <a:close/>
                <a:moveTo>
                  <a:pt x="451" y="721"/>
                </a:moveTo>
                <a:lnTo>
                  <a:pt x="442" y="720"/>
                </a:lnTo>
                <a:lnTo>
                  <a:pt x="435" y="718"/>
                </a:lnTo>
                <a:lnTo>
                  <a:pt x="426" y="714"/>
                </a:lnTo>
                <a:lnTo>
                  <a:pt x="420" y="707"/>
                </a:lnTo>
                <a:lnTo>
                  <a:pt x="415" y="701"/>
                </a:lnTo>
                <a:lnTo>
                  <a:pt x="410" y="693"/>
                </a:lnTo>
                <a:lnTo>
                  <a:pt x="407" y="685"/>
                </a:lnTo>
                <a:lnTo>
                  <a:pt x="406" y="676"/>
                </a:lnTo>
                <a:lnTo>
                  <a:pt x="406" y="661"/>
                </a:lnTo>
                <a:lnTo>
                  <a:pt x="451" y="633"/>
                </a:lnTo>
                <a:lnTo>
                  <a:pt x="496" y="660"/>
                </a:lnTo>
                <a:lnTo>
                  <a:pt x="496" y="676"/>
                </a:lnTo>
                <a:lnTo>
                  <a:pt x="495" y="685"/>
                </a:lnTo>
                <a:lnTo>
                  <a:pt x="493" y="693"/>
                </a:lnTo>
                <a:lnTo>
                  <a:pt x="489" y="701"/>
                </a:lnTo>
                <a:lnTo>
                  <a:pt x="482" y="707"/>
                </a:lnTo>
                <a:lnTo>
                  <a:pt x="476" y="714"/>
                </a:lnTo>
                <a:lnTo>
                  <a:pt x="468" y="718"/>
                </a:lnTo>
                <a:lnTo>
                  <a:pt x="460" y="720"/>
                </a:lnTo>
                <a:lnTo>
                  <a:pt x="451" y="721"/>
                </a:lnTo>
                <a:close/>
                <a:moveTo>
                  <a:pt x="628" y="640"/>
                </a:moveTo>
                <a:lnTo>
                  <a:pt x="654" y="718"/>
                </a:lnTo>
                <a:lnTo>
                  <a:pt x="500" y="628"/>
                </a:lnTo>
                <a:lnTo>
                  <a:pt x="510" y="626"/>
                </a:lnTo>
                <a:lnTo>
                  <a:pt x="519" y="624"/>
                </a:lnTo>
                <a:lnTo>
                  <a:pt x="527" y="621"/>
                </a:lnTo>
                <a:lnTo>
                  <a:pt x="536" y="618"/>
                </a:lnTo>
                <a:lnTo>
                  <a:pt x="544" y="614"/>
                </a:lnTo>
                <a:lnTo>
                  <a:pt x="552" y="609"/>
                </a:lnTo>
                <a:lnTo>
                  <a:pt x="560" y="603"/>
                </a:lnTo>
                <a:lnTo>
                  <a:pt x="567" y="597"/>
                </a:lnTo>
                <a:lnTo>
                  <a:pt x="569" y="595"/>
                </a:lnTo>
                <a:lnTo>
                  <a:pt x="570" y="591"/>
                </a:lnTo>
                <a:lnTo>
                  <a:pt x="571" y="589"/>
                </a:lnTo>
                <a:lnTo>
                  <a:pt x="571" y="586"/>
                </a:lnTo>
                <a:lnTo>
                  <a:pt x="571" y="573"/>
                </a:lnTo>
                <a:lnTo>
                  <a:pt x="581" y="580"/>
                </a:lnTo>
                <a:lnTo>
                  <a:pt x="589" y="586"/>
                </a:lnTo>
                <a:lnTo>
                  <a:pt x="597" y="595"/>
                </a:lnTo>
                <a:lnTo>
                  <a:pt x="605" y="603"/>
                </a:lnTo>
                <a:lnTo>
                  <a:pt x="613" y="612"/>
                </a:lnTo>
                <a:lnTo>
                  <a:pt x="618" y="621"/>
                </a:lnTo>
                <a:lnTo>
                  <a:pt x="624" y="631"/>
                </a:lnTo>
                <a:lnTo>
                  <a:pt x="628" y="640"/>
                </a:lnTo>
                <a:close/>
                <a:moveTo>
                  <a:pt x="865" y="705"/>
                </a:moveTo>
                <a:lnTo>
                  <a:pt x="858" y="699"/>
                </a:lnTo>
                <a:lnTo>
                  <a:pt x="852" y="691"/>
                </a:lnTo>
                <a:lnTo>
                  <a:pt x="845" y="684"/>
                </a:lnTo>
                <a:lnTo>
                  <a:pt x="836" y="677"/>
                </a:lnTo>
                <a:lnTo>
                  <a:pt x="816" y="664"/>
                </a:lnTo>
                <a:lnTo>
                  <a:pt x="793" y="653"/>
                </a:lnTo>
                <a:lnTo>
                  <a:pt x="767" y="641"/>
                </a:lnTo>
                <a:lnTo>
                  <a:pt x="741" y="629"/>
                </a:lnTo>
                <a:lnTo>
                  <a:pt x="712" y="617"/>
                </a:lnTo>
                <a:lnTo>
                  <a:pt x="682" y="606"/>
                </a:lnTo>
                <a:lnTo>
                  <a:pt x="669" y="601"/>
                </a:lnTo>
                <a:lnTo>
                  <a:pt x="656" y="597"/>
                </a:lnTo>
                <a:lnTo>
                  <a:pt x="643" y="591"/>
                </a:lnTo>
                <a:lnTo>
                  <a:pt x="630" y="586"/>
                </a:lnTo>
                <a:lnTo>
                  <a:pt x="618" y="573"/>
                </a:lnTo>
                <a:lnTo>
                  <a:pt x="605" y="561"/>
                </a:lnTo>
                <a:lnTo>
                  <a:pt x="593" y="551"/>
                </a:lnTo>
                <a:lnTo>
                  <a:pt x="579" y="543"/>
                </a:lnTo>
                <a:lnTo>
                  <a:pt x="575" y="542"/>
                </a:lnTo>
                <a:lnTo>
                  <a:pt x="572" y="541"/>
                </a:lnTo>
                <a:lnTo>
                  <a:pt x="571" y="541"/>
                </a:lnTo>
                <a:lnTo>
                  <a:pt x="571" y="472"/>
                </a:lnTo>
                <a:lnTo>
                  <a:pt x="578" y="467"/>
                </a:lnTo>
                <a:lnTo>
                  <a:pt x="584" y="458"/>
                </a:lnTo>
                <a:lnTo>
                  <a:pt x="591" y="449"/>
                </a:lnTo>
                <a:lnTo>
                  <a:pt x="599" y="436"/>
                </a:lnTo>
                <a:lnTo>
                  <a:pt x="606" y="421"/>
                </a:lnTo>
                <a:lnTo>
                  <a:pt x="612" y="404"/>
                </a:lnTo>
                <a:lnTo>
                  <a:pt x="615" y="395"/>
                </a:lnTo>
                <a:lnTo>
                  <a:pt x="616" y="384"/>
                </a:lnTo>
                <a:lnTo>
                  <a:pt x="618" y="375"/>
                </a:lnTo>
                <a:lnTo>
                  <a:pt x="619" y="363"/>
                </a:lnTo>
                <a:lnTo>
                  <a:pt x="625" y="358"/>
                </a:lnTo>
                <a:lnTo>
                  <a:pt x="630" y="349"/>
                </a:lnTo>
                <a:lnTo>
                  <a:pt x="635" y="339"/>
                </a:lnTo>
                <a:lnTo>
                  <a:pt x="639" y="328"/>
                </a:lnTo>
                <a:lnTo>
                  <a:pt x="641" y="318"/>
                </a:lnTo>
                <a:lnTo>
                  <a:pt x="642" y="308"/>
                </a:lnTo>
                <a:lnTo>
                  <a:pt x="642" y="298"/>
                </a:lnTo>
                <a:lnTo>
                  <a:pt x="641" y="288"/>
                </a:lnTo>
                <a:lnTo>
                  <a:pt x="638" y="278"/>
                </a:lnTo>
                <a:lnTo>
                  <a:pt x="634" y="269"/>
                </a:lnTo>
                <a:lnTo>
                  <a:pt x="629" y="260"/>
                </a:lnTo>
                <a:lnTo>
                  <a:pt x="623" y="253"/>
                </a:lnTo>
                <a:lnTo>
                  <a:pt x="625" y="247"/>
                </a:lnTo>
                <a:lnTo>
                  <a:pt x="627" y="242"/>
                </a:lnTo>
                <a:lnTo>
                  <a:pt x="632" y="227"/>
                </a:lnTo>
                <a:lnTo>
                  <a:pt x="639" y="209"/>
                </a:lnTo>
                <a:lnTo>
                  <a:pt x="646" y="189"/>
                </a:lnTo>
                <a:lnTo>
                  <a:pt x="652" y="169"/>
                </a:lnTo>
                <a:lnTo>
                  <a:pt x="657" y="148"/>
                </a:lnTo>
                <a:lnTo>
                  <a:pt x="659" y="126"/>
                </a:lnTo>
                <a:lnTo>
                  <a:pt x="660" y="116"/>
                </a:lnTo>
                <a:lnTo>
                  <a:pt x="660" y="106"/>
                </a:lnTo>
                <a:lnTo>
                  <a:pt x="659" y="95"/>
                </a:lnTo>
                <a:lnTo>
                  <a:pt x="658" y="85"/>
                </a:lnTo>
                <a:lnTo>
                  <a:pt x="655" y="75"/>
                </a:lnTo>
                <a:lnTo>
                  <a:pt x="649" y="64"/>
                </a:lnTo>
                <a:lnTo>
                  <a:pt x="644" y="55"/>
                </a:lnTo>
                <a:lnTo>
                  <a:pt x="637" y="47"/>
                </a:lnTo>
                <a:lnTo>
                  <a:pt x="627" y="39"/>
                </a:lnTo>
                <a:lnTo>
                  <a:pt x="617" y="32"/>
                </a:lnTo>
                <a:lnTo>
                  <a:pt x="606" y="25"/>
                </a:lnTo>
                <a:lnTo>
                  <a:pt x="595" y="20"/>
                </a:lnTo>
                <a:lnTo>
                  <a:pt x="583" y="16"/>
                </a:lnTo>
                <a:lnTo>
                  <a:pt x="570" y="11"/>
                </a:lnTo>
                <a:lnTo>
                  <a:pt x="556" y="8"/>
                </a:lnTo>
                <a:lnTo>
                  <a:pt x="543" y="5"/>
                </a:lnTo>
                <a:lnTo>
                  <a:pt x="529" y="3"/>
                </a:lnTo>
                <a:lnTo>
                  <a:pt x="515" y="1"/>
                </a:lnTo>
                <a:lnTo>
                  <a:pt x="501" y="0"/>
                </a:lnTo>
                <a:lnTo>
                  <a:pt x="489" y="0"/>
                </a:lnTo>
                <a:lnTo>
                  <a:pt x="463" y="0"/>
                </a:lnTo>
                <a:lnTo>
                  <a:pt x="438" y="2"/>
                </a:lnTo>
                <a:lnTo>
                  <a:pt x="426" y="4"/>
                </a:lnTo>
                <a:lnTo>
                  <a:pt x="415" y="6"/>
                </a:lnTo>
                <a:lnTo>
                  <a:pt x="403" y="8"/>
                </a:lnTo>
                <a:lnTo>
                  <a:pt x="391" y="11"/>
                </a:lnTo>
                <a:lnTo>
                  <a:pt x="381" y="15"/>
                </a:lnTo>
                <a:lnTo>
                  <a:pt x="371" y="19"/>
                </a:lnTo>
                <a:lnTo>
                  <a:pt x="362" y="24"/>
                </a:lnTo>
                <a:lnTo>
                  <a:pt x="353" y="29"/>
                </a:lnTo>
                <a:lnTo>
                  <a:pt x="346" y="35"/>
                </a:lnTo>
                <a:lnTo>
                  <a:pt x="340" y="40"/>
                </a:lnTo>
                <a:lnTo>
                  <a:pt x="334" y="48"/>
                </a:lnTo>
                <a:lnTo>
                  <a:pt x="329" y="54"/>
                </a:lnTo>
                <a:lnTo>
                  <a:pt x="321" y="55"/>
                </a:lnTo>
                <a:lnTo>
                  <a:pt x="314" y="57"/>
                </a:lnTo>
                <a:lnTo>
                  <a:pt x="306" y="60"/>
                </a:lnTo>
                <a:lnTo>
                  <a:pt x="300" y="63"/>
                </a:lnTo>
                <a:lnTo>
                  <a:pt x="293" y="66"/>
                </a:lnTo>
                <a:lnTo>
                  <a:pt x="288" y="70"/>
                </a:lnTo>
                <a:lnTo>
                  <a:pt x="283" y="76"/>
                </a:lnTo>
                <a:lnTo>
                  <a:pt x="277" y="81"/>
                </a:lnTo>
                <a:lnTo>
                  <a:pt x="272" y="90"/>
                </a:lnTo>
                <a:lnTo>
                  <a:pt x="269" y="99"/>
                </a:lnTo>
                <a:lnTo>
                  <a:pt x="266" y="109"/>
                </a:lnTo>
                <a:lnTo>
                  <a:pt x="263" y="119"/>
                </a:lnTo>
                <a:lnTo>
                  <a:pt x="262" y="129"/>
                </a:lnTo>
                <a:lnTo>
                  <a:pt x="262" y="140"/>
                </a:lnTo>
                <a:lnTo>
                  <a:pt x="262" y="152"/>
                </a:lnTo>
                <a:lnTo>
                  <a:pt x="263" y="163"/>
                </a:lnTo>
                <a:lnTo>
                  <a:pt x="267" y="185"/>
                </a:lnTo>
                <a:lnTo>
                  <a:pt x="272" y="207"/>
                </a:lnTo>
                <a:lnTo>
                  <a:pt x="277" y="226"/>
                </a:lnTo>
                <a:lnTo>
                  <a:pt x="283" y="244"/>
                </a:lnTo>
                <a:lnTo>
                  <a:pt x="284" y="248"/>
                </a:lnTo>
                <a:lnTo>
                  <a:pt x="285" y="253"/>
                </a:lnTo>
                <a:lnTo>
                  <a:pt x="278" y="259"/>
                </a:lnTo>
                <a:lnTo>
                  <a:pt x="273" y="268"/>
                </a:lnTo>
                <a:lnTo>
                  <a:pt x="269" y="277"/>
                </a:lnTo>
                <a:lnTo>
                  <a:pt x="267" y="287"/>
                </a:lnTo>
                <a:lnTo>
                  <a:pt x="264" y="298"/>
                </a:lnTo>
                <a:lnTo>
                  <a:pt x="264" y="308"/>
                </a:lnTo>
                <a:lnTo>
                  <a:pt x="266" y="319"/>
                </a:lnTo>
                <a:lnTo>
                  <a:pt x="268" y="329"/>
                </a:lnTo>
                <a:lnTo>
                  <a:pt x="271" y="341"/>
                </a:lnTo>
                <a:lnTo>
                  <a:pt x="275" y="350"/>
                </a:lnTo>
                <a:lnTo>
                  <a:pt x="281" y="358"/>
                </a:lnTo>
                <a:lnTo>
                  <a:pt x="286" y="363"/>
                </a:lnTo>
                <a:lnTo>
                  <a:pt x="287" y="375"/>
                </a:lnTo>
                <a:lnTo>
                  <a:pt x="288" y="384"/>
                </a:lnTo>
                <a:lnTo>
                  <a:pt x="290" y="395"/>
                </a:lnTo>
                <a:lnTo>
                  <a:pt x="292" y="404"/>
                </a:lnTo>
                <a:lnTo>
                  <a:pt x="298" y="421"/>
                </a:lnTo>
                <a:lnTo>
                  <a:pt x="305" y="436"/>
                </a:lnTo>
                <a:lnTo>
                  <a:pt x="312" y="448"/>
                </a:lnTo>
                <a:lnTo>
                  <a:pt x="319" y="458"/>
                </a:lnTo>
                <a:lnTo>
                  <a:pt x="326" y="466"/>
                </a:lnTo>
                <a:lnTo>
                  <a:pt x="331" y="472"/>
                </a:lnTo>
                <a:lnTo>
                  <a:pt x="331" y="542"/>
                </a:lnTo>
                <a:lnTo>
                  <a:pt x="329" y="542"/>
                </a:lnTo>
                <a:lnTo>
                  <a:pt x="327" y="543"/>
                </a:lnTo>
                <a:lnTo>
                  <a:pt x="313" y="551"/>
                </a:lnTo>
                <a:lnTo>
                  <a:pt x="300" y="561"/>
                </a:lnTo>
                <a:lnTo>
                  <a:pt x="287" y="573"/>
                </a:lnTo>
                <a:lnTo>
                  <a:pt x="275" y="586"/>
                </a:lnTo>
                <a:lnTo>
                  <a:pt x="263" y="591"/>
                </a:lnTo>
                <a:lnTo>
                  <a:pt x="251" y="596"/>
                </a:lnTo>
                <a:lnTo>
                  <a:pt x="239" y="601"/>
                </a:lnTo>
                <a:lnTo>
                  <a:pt x="226" y="605"/>
                </a:lnTo>
                <a:lnTo>
                  <a:pt x="197" y="617"/>
                </a:lnTo>
                <a:lnTo>
                  <a:pt x="168" y="628"/>
                </a:lnTo>
                <a:lnTo>
                  <a:pt x="140" y="640"/>
                </a:lnTo>
                <a:lnTo>
                  <a:pt x="114" y="651"/>
                </a:lnTo>
                <a:lnTo>
                  <a:pt x="92" y="664"/>
                </a:lnTo>
                <a:lnTo>
                  <a:pt x="71" y="677"/>
                </a:lnTo>
                <a:lnTo>
                  <a:pt x="63" y="684"/>
                </a:lnTo>
                <a:lnTo>
                  <a:pt x="55" y="691"/>
                </a:lnTo>
                <a:lnTo>
                  <a:pt x="49" y="699"/>
                </a:lnTo>
                <a:lnTo>
                  <a:pt x="43" y="705"/>
                </a:lnTo>
                <a:lnTo>
                  <a:pt x="36" y="718"/>
                </a:lnTo>
                <a:lnTo>
                  <a:pt x="30" y="731"/>
                </a:lnTo>
                <a:lnTo>
                  <a:pt x="24" y="744"/>
                </a:lnTo>
                <a:lnTo>
                  <a:pt x="19" y="759"/>
                </a:lnTo>
                <a:lnTo>
                  <a:pt x="11" y="788"/>
                </a:lnTo>
                <a:lnTo>
                  <a:pt x="6" y="817"/>
                </a:lnTo>
                <a:lnTo>
                  <a:pt x="3" y="843"/>
                </a:lnTo>
                <a:lnTo>
                  <a:pt x="1" y="865"/>
                </a:lnTo>
                <a:lnTo>
                  <a:pt x="1" y="880"/>
                </a:lnTo>
                <a:lnTo>
                  <a:pt x="0" y="886"/>
                </a:lnTo>
                <a:lnTo>
                  <a:pt x="1" y="889"/>
                </a:lnTo>
                <a:lnTo>
                  <a:pt x="1" y="893"/>
                </a:lnTo>
                <a:lnTo>
                  <a:pt x="3" y="895"/>
                </a:lnTo>
                <a:lnTo>
                  <a:pt x="4" y="897"/>
                </a:lnTo>
                <a:lnTo>
                  <a:pt x="7" y="899"/>
                </a:lnTo>
                <a:lnTo>
                  <a:pt x="9" y="900"/>
                </a:lnTo>
                <a:lnTo>
                  <a:pt x="12" y="901"/>
                </a:lnTo>
                <a:lnTo>
                  <a:pt x="15" y="902"/>
                </a:lnTo>
                <a:lnTo>
                  <a:pt x="351" y="901"/>
                </a:lnTo>
                <a:lnTo>
                  <a:pt x="451" y="901"/>
                </a:lnTo>
                <a:lnTo>
                  <a:pt x="541" y="901"/>
                </a:lnTo>
                <a:lnTo>
                  <a:pt x="887" y="901"/>
                </a:lnTo>
                <a:lnTo>
                  <a:pt x="891" y="901"/>
                </a:lnTo>
                <a:lnTo>
                  <a:pt x="893" y="900"/>
                </a:lnTo>
                <a:lnTo>
                  <a:pt x="896" y="899"/>
                </a:lnTo>
                <a:lnTo>
                  <a:pt x="898" y="897"/>
                </a:lnTo>
                <a:lnTo>
                  <a:pt x="900" y="895"/>
                </a:lnTo>
                <a:lnTo>
                  <a:pt x="901" y="893"/>
                </a:lnTo>
                <a:lnTo>
                  <a:pt x="902" y="891"/>
                </a:lnTo>
                <a:lnTo>
                  <a:pt x="902" y="887"/>
                </a:lnTo>
                <a:lnTo>
                  <a:pt x="902" y="880"/>
                </a:lnTo>
                <a:lnTo>
                  <a:pt x="902" y="865"/>
                </a:lnTo>
                <a:lnTo>
                  <a:pt x="901" y="843"/>
                </a:lnTo>
                <a:lnTo>
                  <a:pt x="898" y="817"/>
                </a:lnTo>
                <a:lnTo>
                  <a:pt x="897" y="803"/>
                </a:lnTo>
                <a:lnTo>
                  <a:pt x="894" y="788"/>
                </a:lnTo>
                <a:lnTo>
                  <a:pt x="891" y="774"/>
                </a:lnTo>
                <a:lnTo>
                  <a:pt x="887" y="759"/>
                </a:lnTo>
                <a:lnTo>
                  <a:pt x="883" y="745"/>
                </a:lnTo>
                <a:lnTo>
                  <a:pt x="878" y="731"/>
                </a:lnTo>
                <a:lnTo>
                  <a:pt x="871" y="718"/>
                </a:lnTo>
                <a:lnTo>
                  <a:pt x="865" y="70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704" name="Group 57">
            <a:extLst>
              <a:ext uri="{FF2B5EF4-FFF2-40B4-BE49-F238E27FC236}">
                <a16:creationId xmlns:a16="http://schemas.microsoft.com/office/drawing/2014/main" id="{A9D4E058-BAB0-4719-8D75-30DAFE19DDC7}"/>
              </a:ext>
            </a:extLst>
          </p:cNvPr>
          <p:cNvGrpSpPr>
            <a:grpSpLocks noChangeAspect="1"/>
          </p:cNvGrpSpPr>
          <p:nvPr/>
        </p:nvGrpSpPr>
        <p:grpSpPr>
          <a:xfrm>
            <a:off x="5806157" y="2724897"/>
            <a:ext cx="257214" cy="285619"/>
            <a:chOff x="7586663" y="792163"/>
            <a:chExt cx="258763" cy="287338"/>
          </a:xfrm>
          <a:solidFill>
            <a:schemeClr val="bg1"/>
          </a:solidFill>
          <a:effectLst/>
        </p:grpSpPr>
        <p:sp>
          <p:nvSpPr>
            <p:cNvPr id="705" name="Freeform 231">
              <a:extLst>
                <a:ext uri="{FF2B5EF4-FFF2-40B4-BE49-F238E27FC236}">
                  <a16:creationId xmlns:a16="http://schemas.microsoft.com/office/drawing/2014/main" id="{C8BD857F-A3AC-46AD-99FF-0D2CDEA4ED3B}"/>
                </a:ext>
              </a:extLst>
            </p:cNvPr>
            <p:cNvSpPr>
              <a:spLocks noEditPoints="1"/>
            </p:cNvSpPr>
            <p:nvPr/>
          </p:nvSpPr>
          <p:spPr bwMode="auto">
            <a:xfrm>
              <a:off x="7586663" y="792163"/>
              <a:ext cx="258763" cy="287338"/>
            </a:xfrm>
            <a:custGeom>
              <a:avLst/>
              <a:gdLst>
                <a:gd name="T0" fmla="*/ 778 w 815"/>
                <a:gd name="T1" fmla="*/ 515 h 905"/>
                <a:gd name="T2" fmla="*/ 747 w 815"/>
                <a:gd name="T3" fmla="*/ 596 h 905"/>
                <a:gd name="T4" fmla="*/ 699 w 815"/>
                <a:gd name="T5" fmla="*/ 668 h 905"/>
                <a:gd name="T6" fmla="*/ 640 w 815"/>
                <a:gd name="T7" fmla="*/ 734 h 905"/>
                <a:gd name="T8" fmla="*/ 574 w 815"/>
                <a:gd name="T9" fmla="*/ 789 h 905"/>
                <a:gd name="T10" fmla="*/ 469 w 815"/>
                <a:gd name="T11" fmla="*/ 855 h 905"/>
                <a:gd name="T12" fmla="*/ 415 w 815"/>
                <a:gd name="T13" fmla="*/ 874 h 905"/>
                <a:gd name="T14" fmla="*/ 382 w 815"/>
                <a:gd name="T15" fmla="*/ 870 h 905"/>
                <a:gd name="T16" fmla="*/ 288 w 815"/>
                <a:gd name="T17" fmla="*/ 823 h 905"/>
                <a:gd name="T18" fmla="*/ 208 w 815"/>
                <a:gd name="T19" fmla="*/ 763 h 905"/>
                <a:gd name="T20" fmla="*/ 146 w 815"/>
                <a:gd name="T21" fmla="*/ 703 h 905"/>
                <a:gd name="T22" fmla="*/ 91 w 815"/>
                <a:gd name="T23" fmla="*/ 633 h 905"/>
                <a:gd name="T24" fmla="*/ 51 w 815"/>
                <a:gd name="T25" fmla="*/ 556 h 905"/>
                <a:gd name="T26" fmla="*/ 32 w 815"/>
                <a:gd name="T27" fmla="*/ 474 h 905"/>
                <a:gd name="T28" fmla="*/ 63 w 815"/>
                <a:gd name="T29" fmla="*/ 59 h 905"/>
                <a:gd name="T30" fmla="*/ 146 w 815"/>
                <a:gd name="T31" fmla="*/ 81 h 905"/>
                <a:gd name="T32" fmla="*/ 300 w 815"/>
                <a:gd name="T33" fmla="*/ 99 h 905"/>
                <a:gd name="T34" fmla="*/ 514 w 815"/>
                <a:gd name="T35" fmla="*/ 99 h 905"/>
                <a:gd name="T36" fmla="*/ 670 w 815"/>
                <a:gd name="T37" fmla="*/ 81 h 905"/>
                <a:gd name="T38" fmla="*/ 753 w 815"/>
                <a:gd name="T39" fmla="*/ 59 h 905"/>
                <a:gd name="T40" fmla="*/ 806 w 815"/>
                <a:gd name="T41" fmla="*/ 1 h 905"/>
                <a:gd name="T42" fmla="*/ 790 w 815"/>
                <a:gd name="T43" fmla="*/ 5 h 905"/>
                <a:gd name="T44" fmla="*/ 739 w 815"/>
                <a:gd name="T45" fmla="*/ 31 h 905"/>
                <a:gd name="T46" fmla="*/ 654 w 815"/>
                <a:gd name="T47" fmla="*/ 53 h 905"/>
                <a:gd name="T48" fmla="*/ 540 w 815"/>
                <a:gd name="T49" fmla="*/ 67 h 905"/>
                <a:gd name="T50" fmla="*/ 407 w 815"/>
                <a:gd name="T51" fmla="*/ 72 h 905"/>
                <a:gd name="T52" fmla="*/ 275 w 815"/>
                <a:gd name="T53" fmla="*/ 68 h 905"/>
                <a:gd name="T54" fmla="*/ 161 w 815"/>
                <a:gd name="T55" fmla="*/ 54 h 905"/>
                <a:gd name="T56" fmla="*/ 76 w 815"/>
                <a:gd name="T57" fmla="*/ 33 h 905"/>
                <a:gd name="T58" fmla="*/ 26 w 815"/>
                <a:gd name="T59" fmla="*/ 5 h 905"/>
                <a:gd name="T60" fmla="*/ 10 w 815"/>
                <a:gd name="T61" fmla="*/ 1 h 905"/>
                <a:gd name="T62" fmla="*/ 0 w 815"/>
                <a:gd name="T63" fmla="*/ 15 h 905"/>
                <a:gd name="T64" fmla="*/ 9 w 815"/>
                <a:gd name="T65" fmla="*/ 523 h 905"/>
                <a:gd name="T66" fmla="*/ 41 w 815"/>
                <a:gd name="T67" fmla="*/ 610 h 905"/>
                <a:gd name="T68" fmla="*/ 93 w 815"/>
                <a:gd name="T69" fmla="*/ 689 h 905"/>
                <a:gd name="T70" fmla="*/ 157 w 815"/>
                <a:gd name="T71" fmla="*/ 758 h 905"/>
                <a:gd name="T72" fmla="*/ 225 w 815"/>
                <a:gd name="T73" fmla="*/ 816 h 905"/>
                <a:gd name="T74" fmla="*/ 294 w 815"/>
                <a:gd name="T75" fmla="*/ 861 h 905"/>
                <a:gd name="T76" fmla="*/ 354 w 815"/>
                <a:gd name="T77" fmla="*/ 891 h 905"/>
                <a:gd name="T78" fmla="*/ 400 w 815"/>
                <a:gd name="T79" fmla="*/ 904 h 905"/>
                <a:gd name="T80" fmla="*/ 437 w 815"/>
                <a:gd name="T81" fmla="*/ 900 h 905"/>
                <a:gd name="T82" fmla="*/ 491 w 815"/>
                <a:gd name="T83" fmla="*/ 878 h 905"/>
                <a:gd name="T84" fmla="*/ 556 w 815"/>
                <a:gd name="T85" fmla="*/ 841 h 905"/>
                <a:gd name="T86" fmla="*/ 625 w 815"/>
                <a:gd name="T87" fmla="*/ 789 h 905"/>
                <a:gd name="T88" fmla="*/ 692 w 815"/>
                <a:gd name="T89" fmla="*/ 725 h 905"/>
                <a:gd name="T90" fmla="*/ 751 w 815"/>
                <a:gd name="T91" fmla="*/ 650 h 905"/>
                <a:gd name="T92" fmla="*/ 794 w 815"/>
                <a:gd name="T93" fmla="*/ 567 h 905"/>
                <a:gd name="T94" fmla="*/ 814 w 815"/>
                <a:gd name="T95" fmla="*/ 476 h 905"/>
                <a:gd name="T96" fmla="*/ 813 w 815"/>
                <a:gd name="T97" fmla="*/ 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15" h="905">
                  <a:moveTo>
                    <a:pt x="785" y="452"/>
                  </a:moveTo>
                  <a:lnTo>
                    <a:pt x="784" y="474"/>
                  </a:lnTo>
                  <a:lnTo>
                    <a:pt x="782" y="495"/>
                  </a:lnTo>
                  <a:lnTo>
                    <a:pt x="778" y="515"/>
                  </a:lnTo>
                  <a:lnTo>
                    <a:pt x="771" y="536"/>
                  </a:lnTo>
                  <a:lnTo>
                    <a:pt x="765" y="556"/>
                  </a:lnTo>
                  <a:lnTo>
                    <a:pt x="756" y="576"/>
                  </a:lnTo>
                  <a:lnTo>
                    <a:pt x="747" y="596"/>
                  </a:lnTo>
                  <a:lnTo>
                    <a:pt x="736" y="615"/>
                  </a:lnTo>
                  <a:lnTo>
                    <a:pt x="724" y="633"/>
                  </a:lnTo>
                  <a:lnTo>
                    <a:pt x="712" y="651"/>
                  </a:lnTo>
                  <a:lnTo>
                    <a:pt x="699" y="668"/>
                  </a:lnTo>
                  <a:lnTo>
                    <a:pt x="685" y="686"/>
                  </a:lnTo>
                  <a:lnTo>
                    <a:pt x="670" y="703"/>
                  </a:lnTo>
                  <a:lnTo>
                    <a:pt x="655" y="719"/>
                  </a:lnTo>
                  <a:lnTo>
                    <a:pt x="640" y="734"/>
                  </a:lnTo>
                  <a:lnTo>
                    <a:pt x="624" y="749"/>
                  </a:lnTo>
                  <a:lnTo>
                    <a:pt x="607" y="763"/>
                  </a:lnTo>
                  <a:lnTo>
                    <a:pt x="591" y="777"/>
                  </a:lnTo>
                  <a:lnTo>
                    <a:pt x="574" y="789"/>
                  </a:lnTo>
                  <a:lnTo>
                    <a:pt x="558" y="801"/>
                  </a:lnTo>
                  <a:lnTo>
                    <a:pt x="527" y="823"/>
                  </a:lnTo>
                  <a:lnTo>
                    <a:pt x="497" y="841"/>
                  </a:lnTo>
                  <a:lnTo>
                    <a:pt x="469" y="855"/>
                  </a:lnTo>
                  <a:lnTo>
                    <a:pt x="445" y="865"/>
                  </a:lnTo>
                  <a:lnTo>
                    <a:pt x="434" y="870"/>
                  </a:lnTo>
                  <a:lnTo>
                    <a:pt x="423" y="873"/>
                  </a:lnTo>
                  <a:lnTo>
                    <a:pt x="415" y="874"/>
                  </a:lnTo>
                  <a:lnTo>
                    <a:pt x="407" y="875"/>
                  </a:lnTo>
                  <a:lnTo>
                    <a:pt x="401" y="874"/>
                  </a:lnTo>
                  <a:lnTo>
                    <a:pt x="392" y="873"/>
                  </a:lnTo>
                  <a:lnTo>
                    <a:pt x="382" y="870"/>
                  </a:lnTo>
                  <a:lnTo>
                    <a:pt x="371" y="865"/>
                  </a:lnTo>
                  <a:lnTo>
                    <a:pt x="346" y="855"/>
                  </a:lnTo>
                  <a:lnTo>
                    <a:pt x="318" y="841"/>
                  </a:lnTo>
                  <a:lnTo>
                    <a:pt x="288" y="823"/>
                  </a:lnTo>
                  <a:lnTo>
                    <a:pt x="257" y="801"/>
                  </a:lnTo>
                  <a:lnTo>
                    <a:pt x="241" y="789"/>
                  </a:lnTo>
                  <a:lnTo>
                    <a:pt x="224" y="777"/>
                  </a:lnTo>
                  <a:lnTo>
                    <a:pt x="208" y="763"/>
                  </a:lnTo>
                  <a:lnTo>
                    <a:pt x="192" y="749"/>
                  </a:lnTo>
                  <a:lnTo>
                    <a:pt x="176" y="734"/>
                  </a:lnTo>
                  <a:lnTo>
                    <a:pt x="161" y="719"/>
                  </a:lnTo>
                  <a:lnTo>
                    <a:pt x="146" y="703"/>
                  </a:lnTo>
                  <a:lnTo>
                    <a:pt x="131" y="686"/>
                  </a:lnTo>
                  <a:lnTo>
                    <a:pt x="117" y="668"/>
                  </a:lnTo>
                  <a:lnTo>
                    <a:pt x="103" y="651"/>
                  </a:lnTo>
                  <a:lnTo>
                    <a:pt x="91" y="633"/>
                  </a:lnTo>
                  <a:lnTo>
                    <a:pt x="80" y="615"/>
                  </a:lnTo>
                  <a:lnTo>
                    <a:pt x="69" y="596"/>
                  </a:lnTo>
                  <a:lnTo>
                    <a:pt x="59" y="576"/>
                  </a:lnTo>
                  <a:lnTo>
                    <a:pt x="51" y="556"/>
                  </a:lnTo>
                  <a:lnTo>
                    <a:pt x="44" y="536"/>
                  </a:lnTo>
                  <a:lnTo>
                    <a:pt x="38" y="515"/>
                  </a:lnTo>
                  <a:lnTo>
                    <a:pt x="34" y="495"/>
                  </a:lnTo>
                  <a:lnTo>
                    <a:pt x="32" y="474"/>
                  </a:lnTo>
                  <a:lnTo>
                    <a:pt x="30" y="452"/>
                  </a:lnTo>
                  <a:lnTo>
                    <a:pt x="30" y="45"/>
                  </a:lnTo>
                  <a:lnTo>
                    <a:pt x="45" y="53"/>
                  </a:lnTo>
                  <a:lnTo>
                    <a:pt x="63" y="59"/>
                  </a:lnTo>
                  <a:lnTo>
                    <a:pt x="82" y="66"/>
                  </a:lnTo>
                  <a:lnTo>
                    <a:pt x="102" y="71"/>
                  </a:lnTo>
                  <a:lnTo>
                    <a:pt x="124" y="76"/>
                  </a:lnTo>
                  <a:lnTo>
                    <a:pt x="146" y="81"/>
                  </a:lnTo>
                  <a:lnTo>
                    <a:pt x="171" y="85"/>
                  </a:lnTo>
                  <a:lnTo>
                    <a:pt x="195" y="89"/>
                  </a:lnTo>
                  <a:lnTo>
                    <a:pt x="247" y="95"/>
                  </a:lnTo>
                  <a:lnTo>
                    <a:pt x="300" y="99"/>
                  </a:lnTo>
                  <a:lnTo>
                    <a:pt x="355" y="102"/>
                  </a:lnTo>
                  <a:lnTo>
                    <a:pt x="407" y="102"/>
                  </a:lnTo>
                  <a:lnTo>
                    <a:pt x="461" y="102"/>
                  </a:lnTo>
                  <a:lnTo>
                    <a:pt x="514" y="99"/>
                  </a:lnTo>
                  <a:lnTo>
                    <a:pt x="568" y="95"/>
                  </a:lnTo>
                  <a:lnTo>
                    <a:pt x="620" y="89"/>
                  </a:lnTo>
                  <a:lnTo>
                    <a:pt x="645" y="85"/>
                  </a:lnTo>
                  <a:lnTo>
                    <a:pt x="670" y="81"/>
                  </a:lnTo>
                  <a:lnTo>
                    <a:pt x="692" y="76"/>
                  </a:lnTo>
                  <a:lnTo>
                    <a:pt x="713" y="71"/>
                  </a:lnTo>
                  <a:lnTo>
                    <a:pt x="734" y="66"/>
                  </a:lnTo>
                  <a:lnTo>
                    <a:pt x="753" y="59"/>
                  </a:lnTo>
                  <a:lnTo>
                    <a:pt x="770" y="53"/>
                  </a:lnTo>
                  <a:lnTo>
                    <a:pt x="785" y="45"/>
                  </a:lnTo>
                  <a:lnTo>
                    <a:pt x="785" y="452"/>
                  </a:lnTo>
                  <a:close/>
                  <a:moveTo>
                    <a:pt x="806" y="1"/>
                  </a:moveTo>
                  <a:lnTo>
                    <a:pt x="801" y="0"/>
                  </a:lnTo>
                  <a:lnTo>
                    <a:pt x="797" y="0"/>
                  </a:lnTo>
                  <a:lnTo>
                    <a:pt x="793" y="1"/>
                  </a:lnTo>
                  <a:lnTo>
                    <a:pt x="790" y="5"/>
                  </a:lnTo>
                  <a:lnTo>
                    <a:pt x="781" y="11"/>
                  </a:lnTo>
                  <a:lnTo>
                    <a:pt x="769" y="19"/>
                  </a:lnTo>
                  <a:lnTo>
                    <a:pt x="755" y="25"/>
                  </a:lnTo>
                  <a:lnTo>
                    <a:pt x="739" y="31"/>
                  </a:lnTo>
                  <a:lnTo>
                    <a:pt x="721" y="38"/>
                  </a:lnTo>
                  <a:lnTo>
                    <a:pt x="701" y="43"/>
                  </a:lnTo>
                  <a:lnTo>
                    <a:pt x="677" y="49"/>
                  </a:lnTo>
                  <a:lnTo>
                    <a:pt x="654" y="53"/>
                  </a:lnTo>
                  <a:lnTo>
                    <a:pt x="627" y="57"/>
                  </a:lnTo>
                  <a:lnTo>
                    <a:pt x="600" y="61"/>
                  </a:lnTo>
                  <a:lnTo>
                    <a:pt x="570" y="65"/>
                  </a:lnTo>
                  <a:lnTo>
                    <a:pt x="540" y="67"/>
                  </a:lnTo>
                  <a:lnTo>
                    <a:pt x="508" y="69"/>
                  </a:lnTo>
                  <a:lnTo>
                    <a:pt x="476" y="71"/>
                  </a:lnTo>
                  <a:lnTo>
                    <a:pt x="442" y="72"/>
                  </a:lnTo>
                  <a:lnTo>
                    <a:pt x="407" y="72"/>
                  </a:lnTo>
                  <a:lnTo>
                    <a:pt x="373" y="72"/>
                  </a:lnTo>
                  <a:lnTo>
                    <a:pt x="339" y="71"/>
                  </a:lnTo>
                  <a:lnTo>
                    <a:pt x="306" y="70"/>
                  </a:lnTo>
                  <a:lnTo>
                    <a:pt x="275" y="68"/>
                  </a:lnTo>
                  <a:lnTo>
                    <a:pt x="243" y="65"/>
                  </a:lnTo>
                  <a:lnTo>
                    <a:pt x="215" y="61"/>
                  </a:lnTo>
                  <a:lnTo>
                    <a:pt x="188" y="58"/>
                  </a:lnTo>
                  <a:lnTo>
                    <a:pt x="161" y="54"/>
                  </a:lnTo>
                  <a:lnTo>
                    <a:pt x="137" y="49"/>
                  </a:lnTo>
                  <a:lnTo>
                    <a:pt x="115" y="43"/>
                  </a:lnTo>
                  <a:lnTo>
                    <a:pt x="95" y="38"/>
                  </a:lnTo>
                  <a:lnTo>
                    <a:pt x="76" y="33"/>
                  </a:lnTo>
                  <a:lnTo>
                    <a:pt x="60" y="26"/>
                  </a:lnTo>
                  <a:lnTo>
                    <a:pt x="46" y="19"/>
                  </a:lnTo>
                  <a:lnTo>
                    <a:pt x="35" y="12"/>
                  </a:lnTo>
                  <a:lnTo>
                    <a:pt x="26" y="5"/>
                  </a:lnTo>
                  <a:lnTo>
                    <a:pt x="23" y="1"/>
                  </a:lnTo>
                  <a:lnTo>
                    <a:pt x="19" y="0"/>
                  </a:lnTo>
                  <a:lnTo>
                    <a:pt x="14" y="0"/>
                  </a:lnTo>
                  <a:lnTo>
                    <a:pt x="10" y="1"/>
                  </a:lnTo>
                  <a:lnTo>
                    <a:pt x="6" y="4"/>
                  </a:lnTo>
                  <a:lnTo>
                    <a:pt x="3" y="7"/>
                  </a:lnTo>
                  <a:lnTo>
                    <a:pt x="2" y="11"/>
                  </a:lnTo>
                  <a:lnTo>
                    <a:pt x="0" y="15"/>
                  </a:lnTo>
                  <a:lnTo>
                    <a:pt x="0" y="452"/>
                  </a:lnTo>
                  <a:lnTo>
                    <a:pt x="2" y="476"/>
                  </a:lnTo>
                  <a:lnTo>
                    <a:pt x="5" y="499"/>
                  </a:lnTo>
                  <a:lnTo>
                    <a:pt x="9" y="523"/>
                  </a:lnTo>
                  <a:lnTo>
                    <a:pt x="14" y="545"/>
                  </a:lnTo>
                  <a:lnTo>
                    <a:pt x="22" y="567"/>
                  </a:lnTo>
                  <a:lnTo>
                    <a:pt x="32" y="589"/>
                  </a:lnTo>
                  <a:lnTo>
                    <a:pt x="41" y="610"/>
                  </a:lnTo>
                  <a:lnTo>
                    <a:pt x="53" y="631"/>
                  </a:lnTo>
                  <a:lnTo>
                    <a:pt x="65" y="650"/>
                  </a:lnTo>
                  <a:lnTo>
                    <a:pt x="79" y="671"/>
                  </a:lnTo>
                  <a:lnTo>
                    <a:pt x="93" y="689"/>
                  </a:lnTo>
                  <a:lnTo>
                    <a:pt x="108" y="707"/>
                  </a:lnTo>
                  <a:lnTo>
                    <a:pt x="124" y="725"/>
                  </a:lnTo>
                  <a:lnTo>
                    <a:pt x="140" y="742"/>
                  </a:lnTo>
                  <a:lnTo>
                    <a:pt x="157" y="758"/>
                  </a:lnTo>
                  <a:lnTo>
                    <a:pt x="173" y="774"/>
                  </a:lnTo>
                  <a:lnTo>
                    <a:pt x="191" y="789"/>
                  </a:lnTo>
                  <a:lnTo>
                    <a:pt x="208" y="803"/>
                  </a:lnTo>
                  <a:lnTo>
                    <a:pt x="225" y="816"/>
                  </a:lnTo>
                  <a:lnTo>
                    <a:pt x="242" y="829"/>
                  </a:lnTo>
                  <a:lnTo>
                    <a:pt x="260" y="841"/>
                  </a:lnTo>
                  <a:lnTo>
                    <a:pt x="277" y="852"/>
                  </a:lnTo>
                  <a:lnTo>
                    <a:pt x="294" y="861"/>
                  </a:lnTo>
                  <a:lnTo>
                    <a:pt x="310" y="870"/>
                  </a:lnTo>
                  <a:lnTo>
                    <a:pt x="325" y="878"/>
                  </a:lnTo>
                  <a:lnTo>
                    <a:pt x="340" y="885"/>
                  </a:lnTo>
                  <a:lnTo>
                    <a:pt x="354" y="891"/>
                  </a:lnTo>
                  <a:lnTo>
                    <a:pt x="367" y="895"/>
                  </a:lnTo>
                  <a:lnTo>
                    <a:pt x="378" y="900"/>
                  </a:lnTo>
                  <a:lnTo>
                    <a:pt x="390" y="903"/>
                  </a:lnTo>
                  <a:lnTo>
                    <a:pt x="400" y="904"/>
                  </a:lnTo>
                  <a:lnTo>
                    <a:pt x="407" y="905"/>
                  </a:lnTo>
                  <a:lnTo>
                    <a:pt x="416" y="904"/>
                  </a:lnTo>
                  <a:lnTo>
                    <a:pt x="425" y="903"/>
                  </a:lnTo>
                  <a:lnTo>
                    <a:pt x="437" y="900"/>
                  </a:lnTo>
                  <a:lnTo>
                    <a:pt x="449" y="895"/>
                  </a:lnTo>
                  <a:lnTo>
                    <a:pt x="462" y="891"/>
                  </a:lnTo>
                  <a:lnTo>
                    <a:pt x="476" y="885"/>
                  </a:lnTo>
                  <a:lnTo>
                    <a:pt x="491" y="878"/>
                  </a:lnTo>
                  <a:lnTo>
                    <a:pt x="506" y="870"/>
                  </a:lnTo>
                  <a:lnTo>
                    <a:pt x="522" y="861"/>
                  </a:lnTo>
                  <a:lnTo>
                    <a:pt x="539" y="852"/>
                  </a:lnTo>
                  <a:lnTo>
                    <a:pt x="556" y="841"/>
                  </a:lnTo>
                  <a:lnTo>
                    <a:pt x="573" y="829"/>
                  </a:lnTo>
                  <a:lnTo>
                    <a:pt x="590" y="816"/>
                  </a:lnTo>
                  <a:lnTo>
                    <a:pt x="607" y="803"/>
                  </a:lnTo>
                  <a:lnTo>
                    <a:pt x="625" y="789"/>
                  </a:lnTo>
                  <a:lnTo>
                    <a:pt x="643" y="774"/>
                  </a:lnTo>
                  <a:lnTo>
                    <a:pt x="659" y="758"/>
                  </a:lnTo>
                  <a:lnTo>
                    <a:pt x="676" y="742"/>
                  </a:lnTo>
                  <a:lnTo>
                    <a:pt x="692" y="725"/>
                  </a:lnTo>
                  <a:lnTo>
                    <a:pt x="708" y="707"/>
                  </a:lnTo>
                  <a:lnTo>
                    <a:pt x="723" y="689"/>
                  </a:lnTo>
                  <a:lnTo>
                    <a:pt x="737" y="671"/>
                  </a:lnTo>
                  <a:lnTo>
                    <a:pt x="751" y="650"/>
                  </a:lnTo>
                  <a:lnTo>
                    <a:pt x="763" y="631"/>
                  </a:lnTo>
                  <a:lnTo>
                    <a:pt x="775" y="610"/>
                  </a:lnTo>
                  <a:lnTo>
                    <a:pt x="784" y="589"/>
                  </a:lnTo>
                  <a:lnTo>
                    <a:pt x="794" y="567"/>
                  </a:lnTo>
                  <a:lnTo>
                    <a:pt x="801" y="545"/>
                  </a:lnTo>
                  <a:lnTo>
                    <a:pt x="807" y="523"/>
                  </a:lnTo>
                  <a:lnTo>
                    <a:pt x="811" y="499"/>
                  </a:lnTo>
                  <a:lnTo>
                    <a:pt x="814" y="476"/>
                  </a:lnTo>
                  <a:lnTo>
                    <a:pt x="815" y="452"/>
                  </a:lnTo>
                  <a:lnTo>
                    <a:pt x="815" y="15"/>
                  </a:lnTo>
                  <a:lnTo>
                    <a:pt x="814" y="11"/>
                  </a:lnTo>
                  <a:lnTo>
                    <a:pt x="813" y="7"/>
                  </a:lnTo>
                  <a:lnTo>
                    <a:pt x="810" y="4"/>
                  </a:lnTo>
                  <a:lnTo>
                    <a:pt x="806"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6" name="Freeform 232">
              <a:extLst>
                <a:ext uri="{FF2B5EF4-FFF2-40B4-BE49-F238E27FC236}">
                  <a16:creationId xmlns:a16="http://schemas.microsoft.com/office/drawing/2014/main" id="{FC798CBA-D264-44F4-AC3E-760F50B96075}"/>
                </a:ext>
              </a:extLst>
            </p:cNvPr>
            <p:cNvSpPr>
              <a:spLocks/>
            </p:cNvSpPr>
            <p:nvPr/>
          </p:nvSpPr>
          <p:spPr bwMode="auto">
            <a:xfrm>
              <a:off x="7662863" y="954088"/>
              <a:ext cx="104775" cy="58738"/>
            </a:xfrm>
            <a:custGeom>
              <a:avLst/>
              <a:gdLst>
                <a:gd name="T0" fmla="*/ 0 w 331"/>
                <a:gd name="T1" fmla="*/ 169 h 182"/>
                <a:gd name="T2" fmla="*/ 3 w 331"/>
                <a:gd name="T3" fmla="*/ 176 h 182"/>
                <a:gd name="T4" fmla="*/ 7 w 331"/>
                <a:gd name="T5" fmla="*/ 179 h 182"/>
                <a:gd name="T6" fmla="*/ 12 w 331"/>
                <a:gd name="T7" fmla="*/ 181 h 182"/>
                <a:gd name="T8" fmla="*/ 18 w 331"/>
                <a:gd name="T9" fmla="*/ 181 h 182"/>
                <a:gd name="T10" fmla="*/ 23 w 331"/>
                <a:gd name="T11" fmla="*/ 179 h 182"/>
                <a:gd name="T12" fmla="*/ 27 w 331"/>
                <a:gd name="T13" fmla="*/ 176 h 182"/>
                <a:gd name="T14" fmla="*/ 29 w 331"/>
                <a:gd name="T15" fmla="*/ 169 h 182"/>
                <a:gd name="T16" fmla="*/ 30 w 331"/>
                <a:gd name="T17" fmla="*/ 153 h 182"/>
                <a:gd name="T18" fmla="*/ 36 w 331"/>
                <a:gd name="T19" fmla="*/ 127 h 182"/>
                <a:gd name="T20" fmla="*/ 46 w 331"/>
                <a:gd name="T21" fmla="*/ 102 h 182"/>
                <a:gd name="T22" fmla="*/ 61 w 331"/>
                <a:gd name="T23" fmla="*/ 80 h 182"/>
                <a:gd name="T24" fmla="*/ 80 w 331"/>
                <a:gd name="T25" fmla="*/ 62 h 182"/>
                <a:gd name="T26" fmla="*/ 101 w 331"/>
                <a:gd name="T27" fmla="*/ 47 h 182"/>
                <a:gd name="T28" fmla="*/ 126 w 331"/>
                <a:gd name="T29" fmla="*/ 37 h 182"/>
                <a:gd name="T30" fmla="*/ 152 w 331"/>
                <a:gd name="T31" fmla="*/ 31 h 182"/>
                <a:gd name="T32" fmla="*/ 179 w 331"/>
                <a:gd name="T33" fmla="*/ 31 h 182"/>
                <a:gd name="T34" fmla="*/ 206 w 331"/>
                <a:gd name="T35" fmla="*/ 37 h 182"/>
                <a:gd name="T36" fmla="*/ 231 w 331"/>
                <a:gd name="T37" fmla="*/ 47 h 182"/>
                <a:gd name="T38" fmla="*/ 252 w 331"/>
                <a:gd name="T39" fmla="*/ 62 h 182"/>
                <a:gd name="T40" fmla="*/ 270 w 331"/>
                <a:gd name="T41" fmla="*/ 80 h 182"/>
                <a:gd name="T42" fmla="*/ 285 w 331"/>
                <a:gd name="T43" fmla="*/ 102 h 182"/>
                <a:gd name="T44" fmla="*/ 296 w 331"/>
                <a:gd name="T45" fmla="*/ 127 h 182"/>
                <a:gd name="T46" fmla="*/ 301 w 331"/>
                <a:gd name="T47" fmla="*/ 153 h 182"/>
                <a:gd name="T48" fmla="*/ 302 w 331"/>
                <a:gd name="T49" fmla="*/ 169 h 182"/>
                <a:gd name="T50" fmla="*/ 304 w 331"/>
                <a:gd name="T51" fmla="*/ 176 h 182"/>
                <a:gd name="T52" fmla="*/ 309 w 331"/>
                <a:gd name="T53" fmla="*/ 179 h 182"/>
                <a:gd name="T54" fmla="*/ 314 w 331"/>
                <a:gd name="T55" fmla="*/ 181 h 182"/>
                <a:gd name="T56" fmla="*/ 319 w 331"/>
                <a:gd name="T57" fmla="*/ 181 h 182"/>
                <a:gd name="T58" fmla="*/ 325 w 331"/>
                <a:gd name="T59" fmla="*/ 179 h 182"/>
                <a:gd name="T60" fmla="*/ 329 w 331"/>
                <a:gd name="T61" fmla="*/ 176 h 182"/>
                <a:gd name="T62" fmla="*/ 331 w 331"/>
                <a:gd name="T63" fmla="*/ 169 h 182"/>
                <a:gd name="T64" fmla="*/ 331 w 331"/>
                <a:gd name="T65" fmla="*/ 150 h 182"/>
                <a:gd name="T66" fmla="*/ 324 w 331"/>
                <a:gd name="T67" fmla="*/ 118 h 182"/>
                <a:gd name="T68" fmla="*/ 312 w 331"/>
                <a:gd name="T69" fmla="*/ 88 h 182"/>
                <a:gd name="T70" fmla="*/ 294 w 331"/>
                <a:gd name="T71" fmla="*/ 61 h 182"/>
                <a:gd name="T72" fmla="*/ 271 w 331"/>
                <a:gd name="T73" fmla="*/ 39 h 182"/>
                <a:gd name="T74" fmla="*/ 245 w 331"/>
                <a:gd name="T75" fmla="*/ 21 h 182"/>
                <a:gd name="T76" fmla="*/ 216 w 331"/>
                <a:gd name="T77" fmla="*/ 9 h 182"/>
                <a:gd name="T78" fmla="*/ 182 w 331"/>
                <a:gd name="T79" fmla="*/ 1 h 182"/>
                <a:gd name="T80" fmla="*/ 149 w 331"/>
                <a:gd name="T81" fmla="*/ 1 h 182"/>
                <a:gd name="T82" fmla="*/ 116 w 331"/>
                <a:gd name="T83" fmla="*/ 9 h 182"/>
                <a:gd name="T84" fmla="*/ 87 w 331"/>
                <a:gd name="T85" fmla="*/ 21 h 182"/>
                <a:gd name="T86" fmla="*/ 60 w 331"/>
                <a:gd name="T87" fmla="*/ 39 h 182"/>
                <a:gd name="T88" fmla="*/ 38 w 331"/>
                <a:gd name="T89" fmla="*/ 61 h 182"/>
                <a:gd name="T90" fmla="*/ 20 w 331"/>
                <a:gd name="T91" fmla="*/ 88 h 182"/>
                <a:gd name="T92" fmla="*/ 8 w 331"/>
                <a:gd name="T93" fmla="*/ 118 h 182"/>
                <a:gd name="T94" fmla="*/ 0 w 331"/>
                <a:gd name="T95" fmla="*/ 15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182">
                  <a:moveTo>
                    <a:pt x="0" y="166"/>
                  </a:moveTo>
                  <a:lnTo>
                    <a:pt x="0" y="169"/>
                  </a:lnTo>
                  <a:lnTo>
                    <a:pt x="1" y="173"/>
                  </a:lnTo>
                  <a:lnTo>
                    <a:pt x="3" y="176"/>
                  </a:lnTo>
                  <a:lnTo>
                    <a:pt x="5" y="178"/>
                  </a:lnTo>
                  <a:lnTo>
                    <a:pt x="7" y="179"/>
                  </a:lnTo>
                  <a:lnTo>
                    <a:pt x="9" y="181"/>
                  </a:lnTo>
                  <a:lnTo>
                    <a:pt x="12" y="181"/>
                  </a:lnTo>
                  <a:lnTo>
                    <a:pt x="15" y="182"/>
                  </a:lnTo>
                  <a:lnTo>
                    <a:pt x="18" y="181"/>
                  </a:lnTo>
                  <a:lnTo>
                    <a:pt x="21" y="181"/>
                  </a:lnTo>
                  <a:lnTo>
                    <a:pt x="23" y="179"/>
                  </a:lnTo>
                  <a:lnTo>
                    <a:pt x="26" y="178"/>
                  </a:lnTo>
                  <a:lnTo>
                    <a:pt x="27" y="176"/>
                  </a:lnTo>
                  <a:lnTo>
                    <a:pt x="29" y="173"/>
                  </a:lnTo>
                  <a:lnTo>
                    <a:pt x="29" y="169"/>
                  </a:lnTo>
                  <a:lnTo>
                    <a:pt x="30" y="166"/>
                  </a:lnTo>
                  <a:lnTo>
                    <a:pt x="30" y="153"/>
                  </a:lnTo>
                  <a:lnTo>
                    <a:pt x="33" y="139"/>
                  </a:lnTo>
                  <a:lnTo>
                    <a:pt x="36" y="127"/>
                  </a:lnTo>
                  <a:lnTo>
                    <a:pt x="41" y="115"/>
                  </a:lnTo>
                  <a:lnTo>
                    <a:pt x="46" y="102"/>
                  </a:lnTo>
                  <a:lnTo>
                    <a:pt x="53" y="91"/>
                  </a:lnTo>
                  <a:lnTo>
                    <a:pt x="61" y="80"/>
                  </a:lnTo>
                  <a:lnTo>
                    <a:pt x="70" y="71"/>
                  </a:lnTo>
                  <a:lnTo>
                    <a:pt x="80" y="62"/>
                  </a:lnTo>
                  <a:lnTo>
                    <a:pt x="90" y="55"/>
                  </a:lnTo>
                  <a:lnTo>
                    <a:pt x="101" y="47"/>
                  </a:lnTo>
                  <a:lnTo>
                    <a:pt x="113" y="42"/>
                  </a:lnTo>
                  <a:lnTo>
                    <a:pt x="126" y="37"/>
                  </a:lnTo>
                  <a:lnTo>
                    <a:pt x="139" y="33"/>
                  </a:lnTo>
                  <a:lnTo>
                    <a:pt x="152" y="31"/>
                  </a:lnTo>
                  <a:lnTo>
                    <a:pt x="165" y="31"/>
                  </a:lnTo>
                  <a:lnTo>
                    <a:pt x="179" y="31"/>
                  </a:lnTo>
                  <a:lnTo>
                    <a:pt x="193" y="33"/>
                  </a:lnTo>
                  <a:lnTo>
                    <a:pt x="206" y="37"/>
                  </a:lnTo>
                  <a:lnTo>
                    <a:pt x="219" y="42"/>
                  </a:lnTo>
                  <a:lnTo>
                    <a:pt x="231" y="47"/>
                  </a:lnTo>
                  <a:lnTo>
                    <a:pt x="241" y="55"/>
                  </a:lnTo>
                  <a:lnTo>
                    <a:pt x="252" y="62"/>
                  </a:lnTo>
                  <a:lnTo>
                    <a:pt x="262" y="71"/>
                  </a:lnTo>
                  <a:lnTo>
                    <a:pt x="270" y="80"/>
                  </a:lnTo>
                  <a:lnTo>
                    <a:pt x="279" y="91"/>
                  </a:lnTo>
                  <a:lnTo>
                    <a:pt x="285" y="102"/>
                  </a:lnTo>
                  <a:lnTo>
                    <a:pt x="291" y="115"/>
                  </a:lnTo>
                  <a:lnTo>
                    <a:pt x="296" y="127"/>
                  </a:lnTo>
                  <a:lnTo>
                    <a:pt x="299" y="139"/>
                  </a:lnTo>
                  <a:lnTo>
                    <a:pt x="301" y="153"/>
                  </a:lnTo>
                  <a:lnTo>
                    <a:pt x="301" y="166"/>
                  </a:lnTo>
                  <a:lnTo>
                    <a:pt x="302" y="169"/>
                  </a:lnTo>
                  <a:lnTo>
                    <a:pt x="302" y="173"/>
                  </a:lnTo>
                  <a:lnTo>
                    <a:pt x="304" y="176"/>
                  </a:lnTo>
                  <a:lnTo>
                    <a:pt x="306" y="178"/>
                  </a:lnTo>
                  <a:lnTo>
                    <a:pt x="309" y="179"/>
                  </a:lnTo>
                  <a:lnTo>
                    <a:pt x="311" y="181"/>
                  </a:lnTo>
                  <a:lnTo>
                    <a:pt x="314" y="181"/>
                  </a:lnTo>
                  <a:lnTo>
                    <a:pt x="316" y="182"/>
                  </a:lnTo>
                  <a:lnTo>
                    <a:pt x="319" y="181"/>
                  </a:lnTo>
                  <a:lnTo>
                    <a:pt x="323" y="181"/>
                  </a:lnTo>
                  <a:lnTo>
                    <a:pt x="325" y="179"/>
                  </a:lnTo>
                  <a:lnTo>
                    <a:pt x="327" y="178"/>
                  </a:lnTo>
                  <a:lnTo>
                    <a:pt x="329" y="176"/>
                  </a:lnTo>
                  <a:lnTo>
                    <a:pt x="330" y="173"/>
                  </a:lnTo>
                  <a:lnTo>
                    <a:pt x="331" y="169"/>
                  </a:lnTo>
                  <a:lnTo>
                    <a:pt x="331" y="166"/>
                  </a:lnTo>
                  <a:lnTo>
                    <a:pt x="331" y="150"/>
                  </a:lnTo>
                  <a:lnTo>
                    <a:pt x="328" y="134"/>
                  </a:lnTo>
                  <a:lnTo>
                    <a:pt x="324" y="118"/>
                  </a:lnTo>
                  <a:lnTo>
                    <a:pt x="318" y="103"/>
                  </a:lnTo>
                  <a:lnTo>
                    <a:pt x="312" y="88"/>
                  </a:lnTo>
                  <a:lnTo>
                    <a:pt x="303" y="74"/>
                  </a:lnTo>
                  <a:lnTo>
                    <a:pt x="294" y="61"/>
                  </a:lnTo>
                  <a:lnTo>
                    <a:pt x="283" y="49"/>
                  </a:lnTo>
                  <a:lnTo>
                    <a:pt x="271" y="39"/>
                  </a:lnTo>
                  <a:lnTo>
                    <a:pt x="258" y="29"/>
                  </a:lnTo>
                  <a:lnTo>
                    <a:pt x="245" y="21"/>
                  </a:lnTo>
                  <a:lnTo>
                    <a:pt x="231" y="14"/>
                  </a:lnTo>
                  <a:lnTo>
                    <a:pt x="216" y="9"/>
                  </a:lnTo>
                  <a:lnTo>
                    <a:pt x="200" y="4"/>
                  </a:lnTo>
                  <a:lnTo>
                    <a:pt x="182" y="1"/>
                  </a:lnTo>
                  <a:lnTo>
                    <a:pt x="165" y="0"/>
                  </a:lnTo>
                  <a:lnTo>
                    <a:pt x="149" y="1"/>
                  </a:lnTo>
                  <a:lnTo>
                    <a:pt x="132" y="4"/>
                  </a:lnTo>
                  <a:lnTo>
                    <a:pt x="116" y="9"/>
                  </a:lnTo>
                  <a:lnTo>
                    <a:pt x="101" y="14"/>
                  </a:lnTo>
                  <a:lnTo>
                    <a:pt x="87" y="21"/>
                  </a:lnTo>
                  <a:lnTo>
                    <a:pt x="73" y="29"/>
                  </a:lnTo>
                  <a:lnTo>
                    <a:pt x="60" y="39"/>
                  </a:lnTo>
                  <a:lnTo>
                    <a:pt x="49" y="49"/>
                  </a:lnTo>
                  <a:lnTo>
                    <a:pt x="38" y="61"/>
                  </a:lnTo>
                  <a:lnTo>
                    <a:pt x="28" y="74"/>
                  </a:lnTo>
                  <a:lnTo>
                    <a:pt x="20" y="88"/>
                  </a:lnTo>
                  <a:lnTo>
                    <a:pt x="13" y="103"/>
                  </a:lnTo>
                  <a:lnTo>
                    <a:pt x="8" y="118"/>
                  </a:lnTo>
                  <a:lnTo>
                    <a:pt x="4" y="134"/>
                  </a:lnTo>
                  <a:lnTo>
                    <a:pt x="0" y="150"/>
                  </a:lnTo>
                  <a:lnTo>
                    <a:pt x="0"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7" name="Freeform 233">
              <a:extLst>
                <a:ext uri="{FF2B5EF4-FFF2-40B4-BE49-F238E27FC236}">
                  <a16:creationId xmlns:a16="http://schemas.microsoft.com/office/drawing/2014/main" id="{C7AB37E5-7108-46E8-BC90-1FD08D592B6A}"/>
                </a:ext>
              </a:extLst>
            </p:cNvPr>
            <p:cNvSpPr>
              <a:spLocks/>
            </p:cNvSpPr>
            <p:nvPr/>
          </p:nvSpPr>
          <p:spPr bwMode="auto">
            <a:xfrm>
              <a:off x="7624763" y="873125"/>
              <a:ext cx="57150" cy="33338"/>
            </a:xfrm>
            <a:custGeom>
              <a:avLst/>
              <a:gdLst>
                <a:gd name="T0" fmla="*/ 181 w 181"/>
                <a:gd name="T1" fmla="*/ 12 h 106"/>
                <a:gd name="T2" fmla="*/ 178 w 181"/>
                <a:gd name="T3" fmla="*/ 8 h 106"/>
                <a:gd name="T4" fmla="*/ 175 w 181"/>
                <a:gd name="T5" fmla="*/ 4 h 106"/>
                <a:gd name="T6" fmla="*/ 170 w 181"/>
                <a:gd name="T7" fmla="*/ 0 h 106"/>
                <a:gd name="T8" fmla="*/ 163 w 181"/>
                <a:gd name="T9" fmla="*/ 0 h 106"/>
                <a:gd name="T10" fmla="*/ 158 w 181"/>
                <a:gd name="T11" fmla="*/ 4 h 106"/>
                <a:gd name="T12" fmla="*/ 154 w 181"/>
                <a:gd name="T13" fmla="*/ 8 h 106"/>
                <a:gd name="T14" fmla="*/ 151 w 181"/>
                <a:gd name="T15" fmla="*/ 12 h 106"/>
                <a:gd name="T16" fmla="*/ 150 w 181"/>
                <a:gd name="T17" fmla="*/ 22 h 106"/>
                <a:gd name="T18" fmla="*/ 148 w 181"/>
                <a:gd name="T19" fmla="*/ 33 h 106"/>
                <a:gd name="T20" fmla="*/ 144 w 181"/>
                <a:gd name="T21" fmla="*/ 44 h 106"/>
                <a:gd name="T22" fmla="*/ 137 w 181"/>
                <a:gd name="T23" fmla="*/ 54 h 106"/>
                <a:gd name="T24" fmla="*/ 129 w 181"/>
                <a:gd name="T25" fmla="*/ 62 h 106"/>
                <a:gd name="T26" fmla="*/ 119 w 181"/>
                <a:gd name="T27" fmla="*/ 69 h 106"/>
                <a:gd name="T28" fmla="*/ 109 w 181"/>
                <a:gd name="T29" fmla="*/ 73 h 106"/>
                <a:gd name="T30" fmla="*/ 97 w 181"/>
                <a:gd name="T31" fmla="*/ 75 h 106"/>
                <a:gd name="T32" fmla="*/ 85 w 181"/>
                <a:gd name="T33" fmla="*/ 75 h 106"/>
                <a:gd name="T34" fmla="*/ 73 w 181"/>
                <a:gd name="T35" fmla="*/ 73 h 106"/>
                <a:gd name="T36" fmla="*/ 61 w 181"/>
                <a:gd name="T37" fmla="*/ 69 h 106"/>
                <a:gd name="T38" fmla="*/ 52 w 181"/>
                <a:gd name="T39" fmla="*/ 62 h 106"/>
                <a:gd name="T40" fmla="*/ 44 w 181"/>
                <a:gd name="T41" fmla="*/ 54 h 106"/>
                <a:gd name="T42" fmla="*/ 38 w 181"/>
                <a:gd name="T43" fmla="*/ 44 h 106"/>
                <a:gd name="T44" fmla="*/ 34 w 181"/>
                <a:gd name="T45" fmla="*/ 33 h 106"/>
                <a:gd name="T46" fmla="*/ 30 w 181"/>
                <a:gd name="T47" fmla="*/ 22 h 106"/>
                <a:gd name="T48" fmla="*/ 30 w 181"/>
                <a:gd name="T49" fmla="*/ 12 h 106"/>
                <a:gd name="T50" fmla="*/ 28 w 181"/>
                <a:gd name="T51" fmla="*/ 8 h 106"/>
                <a:gd name="T52" fmla="*/ 24 w 181"/>
                <a:gd name="T53" fmla="*/ 4 h 106"/>
                <a:gd name="T54" fmla="*/ 19 w 181"/>
                <a:gd name="T55" fmla="*/ 0 h 106"/>
                <a:gd name="T56" fmla="*/ 12 w 181"/>
                <a:gd name="T57" fmla="*/ 0 h 106"/>
                <a:gd name="T58" fmla="*/ 7 w 181"/>
                <a:gd name="T59" fmla="*/ 4 h 106"/>
                <a:gd name="T60" fmla="*/ 3 w 181"/>
                <a:gd name="T61" fmla="*/ 8 h 106"/>
                <a:gd name="T62" fmla="*/ 0 w 181"/>
                <a:gd name="T63" fmla="*/ 12 h 106"/>
                <a:gd name="T64" fmla="*/ 0 w 181"/>
                <a:gd name="T65" fmla="*/ 25 h 106"/>
                <a:gd name="T66" fmla="*/ 5 w 181"/>
                <a:gd name="T67" fmla="*/ 42 h 106"/>
                <a:gd name="T68" fmla="*/ 11 w 181"/>
                <a:gd name="T69" fmla="*/ 58 h 106"/>
                <a:gd name="T70" fmla="*/ 21 w 181"/>
                <a:gd name="T71" fmla="*/ 73 h 106"/>
                <a:gd name="T72" fmla="*/ 34 w 181"/>
                <a:gd name="T73" fmla="*/ 85 h 106"/>
                <a:gd name="T74" fmla="*/ 48 w 181"/>
                <a:gd name="T75" fmla="*/ 95 h 106"/>
                <a:gd name="T76" fmla="*/ 64 w 181"/>
                <a:gd name="T77" fmla="*/ 102 h 106"/>
                <a:gd name="T78" fmla="*/ 82 w 181"/>
                <a:gd name="T79" fmla="*/ 105 h 106"/>
                <a:gd name="T80" fmla="*/ 100 w 181"/>
                <a:gd name="T81" fmla="*/ 105 h 106"/>
                <a:gd name="T82" fmla="*/ 117 w 181"/>
                <a:gd name="T83" fmla="*/ 102 h 106"/>
                <a:gd name="T84" fmla="*/ 134 w 181"/>
                <a:gd name="T85" fmla="*/ 95 h 106"/>
                <a:gd name="T86" fmla="*/ 148 w 181"/>
                <a:gd name="T87" fmla="*/ 85 h 106"/>
                <a:gd name="T88" fmla="*/ 161 w 181"/>
                <a:gd name="T89" fmla="*/ 73 h 106"/>
                <a:gd name="T90" fmla="*/ 171 w 181"/>
                <a:gd name="T91" fmla="*/ 58 h 106"/>
                <a:gd name="T92" fmla="*/ 177 w 181"/>
                <a:gd name="T93" fmla="*/ 42 h 106"/>
                <a:gd name="T94" fmla="*/ 180 w 181"/>
                <a:gd name="T95" fmla="*/ 2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6">
                  <a:moveTo>
                    <a:pt x="181" y="15"/>
                  </a:moveTo>
                  <a:lnTo>
                    <a:pt x="181" y="12"/>
                  </a:lnTo>
                  <a:lnTo>
                    <a:pt x="180" y="10"/>
                  </a:lnTo>
                  <a:lnTo>
                    <a:pt x="178" y="8"/>
                  </a:lnTo>
                  <a:lnTo>
                    <a:pt x="177" y="5"/>
                  </a:lnTo>
                  <a:lnTo>
                    <a:pt x="175" y="4"/>
                  </a:lnTo>
                  <a:lnTo>
                    <a:pt x="172" y="1"/>
                  </a:lnTo>
                  <a:lnTo>
                    <a:pt x="170" y="0"/>
                  </a:lnTo>
                  <a:lnTo>
                    <a:pt x="166" y="0"/>
                  </a:lnTo>
                  <a:lnTo>
                    <a:pt x="163" y="0"/>
                  </a:lnTo>
                  <a:lnTo>
                    <a:pt x="160" y="1"/>
                  </a:lnTo>
                  <a:lnTo>
                    <a:pt x="158" y="4"/>
                  </a:lnTo>
                  <a:lnTo>
                    <a:pt x="156" y="5"/>
                  </a:lnTo>
                  <a:lnTo>
                    <a:pt x="154" y="8"/>
                  </a:lnTo>
                  <a:lnTo>
                    <a:pt x="152" y="10"/>
                  </a:lnTo>
                  <a:lnTo>
                    <a:pt x="151" y="12"/>
                  </a:lnTo>
                  <a:lnTo>
                    <a:pt x="151" y="15"/>
                  </a:lnTo>
                  <a:lnTo>
                    <a:pt x="150" y="22"/>
                  </a:lnTo>
                  <a:lnTo>
                    <a:pt x="150" y="27"/>
                  </a:lnTo>
                  <a:lnTo>
                    <a:pt x="148" y="33"/>
                  </a:lnTo>
                  <a:lnTo>
                    <a:pt x="146" y="39"/>
                  </a:lnTo>
                  <a:lnTo>
                    <a:pt x="144" y="44"/>
                  </a:lnTo>
                  <a:lnTo>
                    <a:pt x="141" y="50"/>
                  </a:lnTo>
                  <a:lnTo>
                    <a:pt x="137" y="54"/>
                  </a:lnTo>
                  <a:lnTo>
                    <a:pt x="133" y="58"/>
                  </a:lnTo>
                  <a:lnTo>
                    <a:pt x="129" y="62"/>
                  </a:lnTo>
                  <a:lnTo>
                    <a:pt x="125" y="66"/>
                  </a:lnTo>
                  <a:lnTo>
                    <a:pt x="119" y="69"/>
                  </a:lnTo>
                  <a:lnTo>
                    <a:pt x="114" y="71"/>
                  </a:lnTo>
                  <a:lnTo>
                    <a:pt x="109" y="73"/>
                  </a:lnTo>
                  <a:lnTo>
                    <a:pt x="103" y="74"/>
                  </a:lnTo>
                  <a:lnTo>
                    <a:pt x="97" y="75"/>
                  </a:lnTo>
                  <a:lnTo>
                    <a:pt x="90" y="75"/>
                  </a:lnTo>
                  <a:lnTo>
                    <a:pt x="85" y="75"/>
                  </a:lnTo>
                  <a:lnTo>
                    <a:pt x="79" y="74"/>
                  </a:lnTo>
                  <a:lnTo>
                    <a:pt x="73" y="73"/>
                  </a:lnTo>
                  <a:lnTo>
                    <a:pt x="67" y="71"/>
                  </a:lnTo>
                  <a:lnTo>
                    <a:pt x="61" y="69"/>
                  </a:lnTo>
                  <a:lnTo>
                    <a:pt x="57" y="66"/>
                  </a:lnTo>
                  <a:lnTo>
                    <a:pt x="52" y="62"/>
                  </a:lnTo>
                  <a:lnTo>
                    <a:pt x="48" y="58"/>
                  </a:lnTo>
                  <a:lnTo>
                    <a:pt x="44" y="54"/>
                  </a:lnTo>
                  <a:lnTo>
                    <a:pt x="41" y="50"/>
                  </a:lnTo>
                  <a:lnTo>
                    <a:pt x="38" y="44"/>
                  </a:lnTo>
                  <a:lnTo>
                    <a:pt x="35" y="39"/>
                  </a:lnTo>
                  <a:lnTo>
                    <a:pt x="34" y="33"/>
                  </a:lnTo>
                  <a:lnTo>
                    <a:pt x="31" y="27"/>
                  </a:lnTo>
                  <a:lnTo>
                    <a:pt x="30" y="22"/>
                  </a:lnTo>
                  <a:lnTo>
                    <a:pt x="30" y="15"/>
                  </a:lnTo>
                  <a:lnTo>
                    <a:pt x="30" y="12"/>
                  </a:lnTo>
                  <a:lnTo>
                    <a:pt x="29" y="10"/>
                  </a:lnTo>
                  <a:lnTo>
                    <a:pt x="28" y="8"/>
                  </a:lnTo>
                  <a:lnTo>
                    <a:pt x="26" y="5"/>
                  </a:lnTo>
                  <a:lnTo>
                    <a:pt x="24" y="4"/>
                  </a:lnTo>
                  <a:lnTo>
                    <a:pt x="21" y="1"/>
                  </a:lnTo>
                  <a:lnTo>
                    <a:pt x="19" y="0"/>
                  </a:lnTo>
                  <a:lnTo>
                    <a:pt x="15" y="0"/>
                  </a:lnTo>
                  <a:lnTo>
                    <a:pt x="12" y="0"/>
                  </a:lnTo>
                  <a:lnTo>
                    <a:pt x="9" y="1"/>
                  </a:lnTo>
                  <a:lnTo>
                    <a:pt x="7" y="4"/>
                  </a:lnTo>
                  <a:lnTo>
                    <a:pt x="5" y="5"/>
                  </a:lnTo>
                  <a:lnTo>
                    <a:pt x="3" y="8"/>
                  </a:lnTo>
                  <a:lnTo>
                    <a:pt x="2" y="10"/>
                  </a:lnTo>
                  <a:lnTo>
                    <a:pt x="0" y="12"/>
                  </a:lnTo>
                  <a:lnTo>
                    <a:pt x="0" y="15"/>
                  </a:lnTo>
                  <a:lnTo>
                    <a:pt x="0" y="25"/>
                  </a:lnTo>
                  <a:lnTo>
                    <a:pt x="3" y="33"/>
                  </a:lnTo>
                  <a:lnTo>
                    <a:pt x="5" y="42"/>
                  </a:lnTo>
                  <a:lnTo>
                    <a:pt x="7" y="51"/>
                  </a:lnTo>
                  <a:lnTo>
                    <a:pt x="11" y="58"/>
                  </a:lnTo>
                  <a:lnTo>
                    <a:pt x="15" y="66"/>
                  </a:lnTo>
                  <a:lnTo>
                    <a:pt x="21" y="73"/>
                  </a:lnTo>
                  <a:lnTo>
                    <a:pt x="27" y="80"/>
                  </a:lnTo>
                  <a:lnTo>
                    <a:pt x="34" y="85"/>
                  </a:lnTo>
                  <a:lnTo>
                    <a:pt x="40" y="90"/>
                  </a:lnTo>
                  <a:lnTo>
                    <a:pt x="48" y="95"/>
                  </a:lnTo>
                  <a:lnTo>
                    <a:pt x="55" y="99"/>
                  </a:lnTo>
                  <a:lnTo>
                    <a:pt x="64" y="102"/>
                  </a:lnTo>
                  <a:lnTo>
                    <a:pt x="72" y="104"/>
                  </a:lnTo>
                  <a:lnTo>
                    <a:pt x="82" y="105"/>
                  </a:lnTo>
                  <a:lnTo>
                    <a:pt x="90" y="106"/>
                  </a:lnTo>
                  <a:lnTo>
                    <a:pt x="100" y="105"/>
                  </a:lnTo>
                  <a:lnTo>
                    <a:pt x="109" y="104"/>
                  </a:lnTo>
                  <a:lnTo>
                    <a:pt x="117" y="102"/>
                  </a:lnTo>
                  <a:lnTo>
                    <a:pt x="126" y="99"/>
                  </a:lnTo>
                  <a:lnTo>
                    <a:pt x="134" y="95"/>
                  </a:lnTo>
                  <a:lnTo>
                    <a:pt x="142" y="90"/>
                  </a:lnTo>
                  <a:lnTo>
                    <a:pt x="148" y="85"/>
                  </a:lnTo>
                  <a:lnTo>
                    <a:pt x="155" y="80"/>
                  </a:lnTo>
                  <a:lnTo>
                    <a:pt x="161" y="73"/>
                  </a:lnTo>
                  <a:lnTo>
                    <a:pt x="165" y="66"/>
                  </a:lnTo>
                  <a:lnTo>
                    <a:pt x="171" y="58"/>
                  </a:lnTo>
                  <a:lnTo>
                    <a:pt x="174" y="51"/>
                  </a:lnTo>
                  <a:lnTo>
                    <a:pt x="177" y="42"/>
                  </a:lnTo>
                  <a:lnTo>
                    <a:pt x="179" y="33"/>
                  </a:lnTo>
                  <a:lnTo>
                    <a:pt x="180" y="25"/>
                  </a:lnTo>
                  <a:lnTo>
                    <a:pt x="18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08" name="Freeform 234">
              <a:extLst>
                <a:ext uri="{FF2B5EF4-FFF2-40B4-BE49-F238E27FC236}">
                  <a16:creationId xmlns:a16="http://schemas.microsoft.com/office/drawing/2014/main" id="{C13415CC-C898-404B-B2C8-50079545C410}"/>
                </a:ext>
              </a:extLst>
            </p:cNvPr>
            <p:cNvSpPr>
              <a:spLocks/>
            </p:cNvSpPr>
            <p:nvPr/>
          </p:nvSpPr>
          <p:spPr bwMode="auto">
            <a:xfrm>
              <a:off x="7748588" y="873125"/>
              <a:ext cx="58738" cy="33338"/>
            </a:xfrm>
            <a:custGeom>
              <a:avLst/>
              <a:gdLst>
                <a:gd name="T0" fmla="*/ 100 w 181"/>
                <a:gd name="T1" fmla="*/ 105 h 106"/>
                <a:gd name="T2" fmla="*/ 118 w 181"/>
                <a:gd name="T3" fmla="*/ 102 h 106"/>
                <a:gd name="T4" fmla="*/ 134 w 181"/>
                <a:gd name="T5" fmla="*/ 95 h 106"/>
                <a:gd name="T6" fmla="*/ 148 w 181"/>
                <a:gd name="T7" fmla="*/ 85 h 106"/>
                <a:gd name="T8" fmla="*/ 161 w 181"/>
                <a:gd name="T9" fmla="*/ 73 h 106"/>
                <a:gd name="T10" fmla="*/ 171 w 181"/>
                <a:gd name="T11" fmla="*/ 58 h 106"/>
                <a:gd name="T12" fmla="*/ 177 w 181"/>
                <a:gd name="T13" fmla="*/ 42 h 106"/>
                <a:gd name="T14" fmla="*/ 181 w 181"/>
                <a:gd name="T15" fmla="*/ 25 h 106"/>
                <a:gd name="T16" fmla="*/ 181 w 181"/>
                <a:gd name="T17" fmla="*/ 12 h 106"/>
                <a:gd name="T18" fmla="*/ 179 w 181"/>
                <a:gd name="T19" fmla="*/ 8 h 106"/>
                <a:gd name="T20" fmla="*/ 175 w 181"/>
                <a:gd name="T21" fmla="*/ 4 h 106"/>
                <a:gd name="T22" fmla="*/ 169 w 181"/>
                <a:gd name="T23" fmla="*/ 0 h 106"/>
                <a:gd name="T24" fmla="*/ 163 w 181"/>
                <a:gd name="T25" fmla="*/ 0 h 106"/>
                <a:gd name="T26" fmla="*/ 158 w 181"/>
                <a:gd name="T27" fmla="*/ 4 h 106"/>
                <a:gd name="T28" fmla="*/ 153 w 181"/>
                <a:gd name="T29" fmla="*/ 8 h 106"/>
                <a:gd name="T30" fmla="*/ 151 w 181"/>
                <a:gd name="T31" fmla="*/ 12 h 106"/>
                <a:gd name="T32" fmla="*/ 151 w 181"/>
                <a:gd name="T33" fmla="*/ 22 h 106"/>
                <a:gd name="T34" fmla="*/ 148 w 181"/>
                <a:gd name="T35" fmla="*/ 33 h 106"/>
                <a:gd name="T36" fmla="*/ 144 w 181"/>
                <a:gd name="T37" fmla="*/ 44 h 106"/>
                <a:gd name="T38" fmla="*/ 137 w 181"/>
                <a:gd name="T39" fmla="*/ 54 h 106"/>
                <a:gd name="T40" fmla="*/ 130 w 181"/>
                <a:gd name="T41" fmla="*/ 62 h 106"/>
                <a:gd name="T42" fmla="*/ 120 w 181"/>
                <a:gd name="T43" fmla="*/ 69 h 106"/>
                <a:gd name="T44" fmla="*/ 108 w 181"/>
                <a:gd name="T45" fmla="*/ 73 h 106"/>
                <a:gd name="T46" fmla="*/ 97 w 181"/>
                <a:gd name="T47" fmla="*/ 75 h 106"/>
                <a:gd name="T48" fmla="*/ 85 w 181"/>
                <a:gd name="T49" fmla="*/ 75 h 106"/>
                <a:gd name="T50" fmla="*/ 73 w 181"/>
                <a:gd name="T51" fmla="*/ 73 h 106"/>
                <a:gd name="T52" fmla="*/ 62 w 181"/>
                <a:gd name="T53" fmla="*/ 69 h 106"/>
                <a:gd name="T54" fmla="*/ 53 w 181"/>
                <a:gd name="T55" fmla="*/ 62 h 106"/>
                <a:gd name="T56" fmla="*/ 44 w 181"/>
                <a:gd name="T57" fmla="*/ 54 h 106"/>
                <a:gd name="T58" fmla="*/ 38 w 181"/>
                <a:gd name="T59" fmla="*/ 44 h 106"/>
                <a:gd name="T60" fmla="*/ 33 w 181"/>
                <a:gd name="T61" fmla="*/ 33 h 106"/>
                <a:gd name="T62" fmla="*/ 31 w 181"/>
                <a:gd name="T63" fmla="*/ 22 h 106"/>
                <a:gd name="T64" fmla="*/ 30 w 181"/>
                <a:gd name="T65" fmla="*/ 12 h 106"/>
                <a:gd name="T66" fmla="*/ 28 w 181"/>
                <a:gd name="T67" fmla="*/ 8 h 106"/>
                <a:gd name="T68" fmla="*/ 24 w 181"/>
                <a:gd name="T69" fmla="*/ 4 h 106"/>
                <a:gd name="T70" fmla="*/ 18 w 181"/>
                <a:gd name="T71" fmla="*/ 0 h 106"/>
                <a:gd name="T72" fmla="*/ 12 w 181"/>
                <a:gd name="T73" fmla="*/ 0 h 106"/>
                <a:gd name="T74" fmla="*/ 7 w 181"/>
                <a:gd name="T75" fmla="*/ 4 h 106"/>
                <a:gd name="T76" fmla="*/ 3 w 181"/>
                <a:gd name="T77" fmla="*/ 8 h 106"/>
                <a:gd name="T78" fmla="*/ 0 w 181"/>
                <a:gd name="T79" fmla="*/ 12 h 106"/>
                <a:gd name="T80" fmla="*/ 1 w 181"/>
                <a:gd name="T81" fmla="*/ 25 h 106"/>
                <a:gd name="T82" fmla="*/ 5 w 181"/>
                <a:gd name="T83" fmla="*/ 42 h 106"/>
                <a:gd name="T84" fmla="*/ 11 w 181"/>
                <a:gd name="T85" fmla="*/ 58 h 106"/>
                <a:gd name="T86" fmla="*/ 21 w 181"/>
                <a:gd name="T87" fmla="*/ 73 h 106"/>
                <a:gd name="T88" fmla="*/ 33 w 181"/>
                <a:gd name="T89" fmla="*/ 85 h 106"/>
                <a:gd name="T90" fmla="*/ 47 w 181"/>
                <a:gd name="T91" fmla="*/ 95 h 106"/>
                <a:gd name="T92" fmla="*/ 65 w 181"/>
                <a:gd name="T93" fmla="*/ 102 h 106"/>
                <a:gd name="T94" fmla="*/ 82 w 181"/>
                <a:gd name="T95"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6">
                  <a:moveTo>
                    <a:pt x="91" y="106"/>
                  </a:moveTo>
                  <a:lnTo>
                    <a:pt x="100" y="105"/>
                  </a:lnTo>
                  <a:lnTo>
                    <a:pt x="109" y="104"/>
                  </a:lnTo>
                  <a:lnTo>
                    <a:pt x="118" y="102"/>
                  </a:lnTo>
                  <a:lnTo>
                    <a:pt x="127" y="99"/>
                  </a:lnTo>
                  <a:lnTo>
                    <a:pt x="134" y="95"/>
                  </a:lnTo>
                  <a:lnTo>
                    <a:pt x="142" y="90"/>
                  </a:lnTo>
                  <a:lnTo>
                    <a:pt x="148" y="85"/>
                  </a:lnTo>
                  <a:lnTo>
                    <a:pt x="154" y="80"/>
                  </a:lnTo>
                  <a:lnTo>
                    <a:pt x="161" y="73"/>
                  </a:lnTo>
                  <a:lnTo>
                    <a:pt x="166" y="66"/>
                  </a:lnTo>
                  <a:lnTo>
                    <a:pt x="171" y="58"/>
                  </a:lnTo>
                  <a:lnTo>
                    <a:pt x="175" y="51"/>
                  </a:lnTo>
                  <a:lnTo>
                    <a:pt x="177" y="42"/>
                  </a:lnTo>
                  <a:lnTo>
                    <a:pt x="179" y="33"/>
                  </a:lnTo>
                  <a:lnTo>
                    <a:pt x="181" y="25"/>
                  </a:lnTo>
                  <a:lnTo>
                    <a:pt x="181" y="15"/>
                  </a:lnTo>
                  <a:lnTo>
                    <a:pt x="181" y="12"/>
                  </a:lnTo>
                  <a:lnTo>
                    <a:pt x="180" y="10"/>
                  </a:lnTo>
                  <a:lnTo>
                    <a:pt x="179" y="8"/>
                  </a:lnTo>
                  <a:lnTo>
                    <a:pt x="177" y="5"/>
                  </a:lnTo>
                  <a:lnTo>
                    <a:pt x="175" y="4"/>
                  </a:lnTo>
                  <a:lnTo>
                    <a:pt x="173" y="1"/>
                  </a:lnTo>
                  <a:lnTo>
                    <a:pt x="169" y="0"/>
                  </a:lnTo>
                  <a:lnTo>
                    <a:pt x="166" y="0"/>
                  </a:lnTo>
                  <a:lnTo>
                    <a:pt x="163" y="0"/>
                  </a:lnTo>
                  <a:lnTo>
                    <a:pt x="161" y="1"/>
                  </a:lnTo>
                  <a:lnTo>
                    <a:pt x="158" y="4"/>
                  </a:lnTo>
                  <a:lnTo>
                    <a:pt x="156" y="5"/>
                  </a:lnTo>
                  <a:lnTo>
                    <a:pt x="153" y="8"/>
                  </a:lnTo>
                  <a:lnTo>
                    <a:pt x="152" y="10"/>
                  </a:lnTo>
                  <a:lnTo>
                    <a:pt x="151" y="12"/>
                  </a:lnTo>
                  <a:lnTo>
                    <a:pt x="151" y="15"/>
                  </a:lnTo>
                  <a:lnTo>
                    <a:pt x="151" y="22"/>
                  </a:lnTo>
                  <a:lnTo>
                    <a:pt x="150" y="27"/>
                  </a:lnTo>
                  <a:lnTo>
                    <a:pt x="148" y="33"/>
                  </a:lnTo>
                  <a:lnTo>
                    <a:pt x="147" y="39"/>
                  </a:lnTo>
                  <a:lnTo>
                    <a:pt x="144" y="44"/>
                  </a:lnTo>
                  <a:lnTo>
                    <a:pt x="141" y="50"/>
                  </a:lnTo>
                  <a:lnTo>
                    <a:pt x="137" y="54"/>
                  </a:lnTo>
                  <a:lnTo>
                    <a:pt x="134" y="58"/>
                  </a:lnTo>
                  <a:lnTo>
                    <a:pt x="130" y="62"/>
                  </a:lnTo>
                  <a:lnTo>
                    <a:pt x="124" y="66"/>
                  </a:lnTo>
                  <a:lnTo>
                    <a:pt x="120" y="69"/>
                  </a:lnTo>
                  <a:lnTo>
                    <a:pt x="115" y="71"/>
                  </a:lnTo>
                  <a:lnTo>
                    <a:pt x="108" y="73"/>
                  </a:lnTo>
                  <a:lnTo>
                    <a:pt x="103" y="74"/>
                  </a:lnTo>
                  <a:lnTo>
                    <a:pt x="97" y="75"/>
                  </a:lnTo>
                  <a:lnTo>
                    <a:pt x="91" y="75"/>
                  </a:lnTo>
                  <a:lnTo>
                    <a:pt x="85" y="75"/>
                  </a:lnTo>
                  <a:lnTo>
                    <a:pt x="78" y="74"/>
                  </a:lnTo>
                  <a:lnTo>
                    <a:pt x="73" y="73"/>
                  </a:lnTo>
                  <a:lnTo>
                    <a:pt x="68" y="71"/>
                  </a:lnTo>
                  <a:lnTo>
                    <a:pt x="62" y="69"/>
                  </a:lnTo>
                  <a:lnTo>
                    <a:pt x="57" y="66"/>
                  </a:lnTo>
                  <a:lnTo>
                    <a:pt x="53" y="62"/>
                  </a:lnTo>
                  <a:lnTo>
                    <a:pt x="48" y="58"/>
                  </a:lnTo>
                  <a:lnTo>
                    <a:pt x="44" y="54"/>
                  </a:lnTo>
                  <a:lnTo>
                    <a:pt x="41" y="50"/>
                  </a:lnTo>
                  <a:lnTo>
                    <a:pt x="38" y="44"/>
                  </a:lnTo>
                  <a:lnTo>
                    <a:pt x="36" y="39"/>
                  </a:lnTo>
                  <a:lnTo>
                    <a:pt x="33" y="33"/>
                  </a:lnTo>
                  <a:lnTo>
                    <a:pt x="31" y="27"/>
                  </a:lnTo>
                  <a:lnTo>
                    <a:pt x="31" y="22"/>
                  </a:lnTo>
                  <a:lnTo>
                    <a:pt x="30" y="15"/>
                  </a:lnTo>
                  <a:lnTo>
                    <a:pt x="30" y="12"/>
                  </a:lnTo>
                  <a:lnTo>
                    <a:pt x="29" y="10"/>
                  </a:lnTo>
                  <a:lnTo>
                    <a:pt x="28" y="8"/>
                  </a:lnTo>
                  <a:lnTo>
                    <a:pt x="26" y="5"/>
                  </a:lnTo>
                  <a:lnTo>
                    <a:pt x="24" y="4"/>
                  </a:lnTo>
                  <a:lnTo>
                    <a:pt x="22" y="1"/>
                  </a:lnTo>
                  <a:lnTo>
                    <a:pt x="18" y="0"/>
                  </a:lnTo>
                  <a:lnTo>
                    <a:pt x="15" y="0"/>
                  </a:lnTo>
                  <a:lnTo>
                    <a:pt x="12" y="0"/>
                  </a:lnTo>
                  <a:lnTo>
                    <a:pt x="10" y="1"/>
                  </a:lnTo>
                  <a:lnTo>
                    <a:pt x="7" y="4"/>
                  </a:lnTo>
                  <a:lnTo>
                    <a:pt x="5" y="5"/>
                  </a:lnTo>
                  <a:lnTo>
                    <a:pt x="3" y="8"/>
                  </a:lnTo>
                  <a:lnTo>
                    <a:pt x="1" y="10"/>
                  </a:lnTo>
                  <a:lnTo>
                    <a:pt x="0" y="12"/>
                  </a:lnTo>
                  <a:lnTo>
                    <a:pt x="0" y="15"/>
                  </a:lnTo>
                  <a:lnTo>
                    <a:pt x="1" y="25"/>
                  </a:lnTo>
                  <a:lnTo>
                    <a:pt x="2" y="33"/>
                  </a:lnTo>
                  <a:lnTo>
                    <a:pt x="5" y="42"/>
                  </a:lnTo>
                  <a:lnTo>
                    <a:pt x="8" y="51"/>
                  </a:lnTo>
                  <a:lnTo>
                    <a:pt x="11" y="58"/>
                  </a:lnTo>
                  <a:lnTo>
                    <a:pt x="16" y="66"/>
                  </a:lnTo>
                  <a:lnTo>
                    <a:pt x="21" y="73"/>
                  </a:lnTo>
                  <a:lnTo>
                    <a:pt x="27" y="80"/>
                  </a:lnTo>
                  <a:lnTo>
                    <a:pt x="33" y="85"/>
                  </a:lnTo>
                  <a:lnTo>
                    <a:pt x="40" y="90"/>
                  </a:lnTo>
                  <a:lnTo>
                    <a:pt x="47" y="95"/>
                  </a:lnTo>
                  <a:lnTo>
                    <a:pt x="56" y="99"/>
                  </a:lnTo>
                  <a:lnTo>
                    <a:pt x="65" y="102"/>
                  </a:lnTo>
                  <a:lnTo>
                    <a:pt x="73" y="104"/>
                  </a:lnTo>
                  <a:lnTo>
                    <a:pt x="82" y="105"/>
                  </a:lnTo>
                  <a:lnTo>
                    <a:pt x="9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01" name="Group 17">
            <a:extLst>
              <a:ext uri="{FF2B5EF4-FFF2-40B4-BE49-F238E27FC236}">
                <a16:creationId xmlns:a16="http://schemas.microsoft.com/office/drawing/2014/main" id="{79089FE0-DCE9-440B-9AA0-BDE954AEC3BA}"/>
              </a:ext>
            </a:extLst>
          </p:cNvPr>
          <p:cNvGrpSpPr>
            <a:grpSpLocks noChangeAspect="1"/>
          </p:cNvGrpSpPr>
          <p:nvPr/>
        </p:nvGrpSpPr>
        <p:grpSpPr>
          <a:xfrm>
            <a:off x="5791954" y="5417577"/>
            <a:ext cx="285620" cy="285619"/>
            <a:chOff x="8755063" y="3059113"/>
            <a:chExt cx="284163" cy="284162"/>
          </a:xfrm>
          <a:solidFill>
            <a:schemeClr val="bg1"/>
          </a:solidFill>
          <a:effectLst/>
        </p:grpSpPr>
        <p:sp>
          <p:nvSpPr>
            <p:cNvPr id="702" name="Freeform 303">
              <a:extLst>
                <a:ext uri="{FF2B5EF4-FFF2-40B4-BE49-F238E27FC236}">
                  <a16:creationId xmlns:a16="http://schemas.microsoft.com/office/drawing/2014/main" id="{92CB235C-3927-44BB-895D-0579C80CFD80}"/>
                </a:ext>
              </a:extLst>
            </p:cNvPr>
            <p:cNvSpPr>
              <a:spLocks noEditPoints="1"/>
            </p:cNvSpPr>
            <p:nvPr/>
          </p:nvSpPr>
          <p:spPr bwMode="auto">
            <a:xfrm>
              <a:off x="8829675" y="3136900"/>
              <a:ext cx="133350" cy="130175"/>
            </a:xfrm>
            <a:custGeom>
              <a:avLst/>
              <a:gdLst>
                <a:gd name="T0" fmla="*/ 272 w 419"/>
                <a:gd name="T1" fmla="*/ 240 h 412"/>
                <a:gd name="T2" fmla="*/ 269 w 419"/>
                <a:gd name="T3" fmla="*/ 249 h 412"/>
                <a:gd name="T4" fmla="*/ 309 w 419"/>
                <a:gd name="T5" fmla="*/ 351 h 412"/>
                <a:gd name="T6" fmla="*/ 214 w 419"/>
                <a:gd name="T7" fmla="*/ 278 h 412"/>
                <a:gd name="T8" fmla="*/ 205 w 419"/>
                <a:gd name="T9" fmla="*/ 278 h 412"/>
                <a:gd name="T10" fmla="*/ 109 w 419"/>
                <a:gd name="T11" fmla="*/ 351 h 412"/>
                <a:gd name="T12" fmla="*/ 149 w 419"/>
                <a:gd name="T13" fmla="*/ 249 h 412"/>
                <a:gd name="T14" fmla="*/ 147 w 419"/>
                <a:gd name="T15" fmla="*/ 240 h 412"/>
                <a:gd name="T16" fmla="*/ 59 w 419"/>
                <a:gd name="T17" fmla="*/ 174 h 412"/>
                <a:gd name="T18" fmla="*/ 153 w 419"/>
                <a:gd name="T19" fmla="*/ 173 h 412"/>
                <a:gd name="T20" fmla="*/ 161 w 419"/>
                <a:gd name="T21" fmla="*/ 169 h 412"/>
                <a:gd name="T22" fmla="*/ 209 w 419"/>
                <a:gd name="T23" fmla="*/ 54 h 412"/>
                <a:gd name="T24" fmla="*/ 257 w 419"/>
                <a:gd name="T25" fmla="*/ 168 h 412"/>
                <a:gd name="T26" fmla="*/ 265 w 419"/>
                <a:gd name="T27" fmla="*/ 173 h 412"/>
                <a:gd name="T28" fmla="*/ 359 w 419"/>
                <a:gd name="T29" fmla="*/ 174 h 412"/>
                <a:gd name="T30" fmla="*/ 404 w 419"/>
                <a:gd name="T31" fmla="*/ 144 h 412"/>
                <a:gd name="T32" fmla="*/ 223 w 419"/>
                <a:gd name="T33" fmla="*/ 9 h 412"/>
                <a:gd name="T34" fmla="*/ 218 w 419"/>
                <a:gd name="T35" fmla="*/ 3 h 412"/>
                <a:gd name="T36" fmla="*/ 209 w 419"/>
                <a:gd name="T37" fmla="*/ 0 h 412"/>
                <a:gd name="T38" fmla="*/ 209 w 419"/>
                <a:gd name="T39" fmla="*/ 0 h 412"/>
                <a:gd name="T40" fmla="*/ 201 w 419"/>
                <a:gd name="T41" fmla="*/ 3 h 412"/>
                <a:gd name="T42" fmla="*/ 196 w 419"/>
                <a:gd name="T43" fmla="*/ 9 h 412"/>
                <a:gd name="T44" fmla="*/ 14 w 419"/>
                <a:gd name="T45" fmla="*/ 144 h 412"/>
                <a:gd name="T46" fmla="*/ 6 w 419"/>
                <a:gd name="T47" fmla="*/ 146 h 412"/>
                <a:gd name="T48" fmla="*/ 0 w 419"/>
                <a:gd name="T49" fmla="*/ 154 h 412"/>
                <a:gd name="T50" fmla="*/ 0 w 419"/>
                <a:gd name="T51" fmla="*/ 163 h 412"/>
                <a:gd name="T52" fmla="*/ 6 w 419"/>
                <a:gd name="T53" fmla="*/ 171 h 412"/>
                <a:gd name="T54" fmla="*/ 60 w 419"/>
                <a:gd name="T55" fmla="*/ 392 h 412"/>
                <a:gd name="T56" fmla="*/ 60 w 419"/>
                <a:gd name="T57" fmla="*/ 402 h 412"/>
                <a:gd name="T58" fmla="*/ 66 w 419"/>
                <a:gd name="T59" fmla="*/ 410 h 412"/>
                <a:gd name="T60" fmla="*/ 74 w 419"/>
                <a:gd name="T61" fmla="*/ 412 h 412"/>
                <a:gd name="T62" fmla="*/ 84 w 419"/>
                <a:gd name="T63" fmla="*/ 409 h 412"/>
                <a:gd name="T64" fmla="*/ 334 w 419"/>
                <a:gd name="T65" fmla="*/ 409 h 412"/>
                <a:gd name="T66" fmla="*/ 344 w 419"/>
                <a:gd name="T67" fmla="*/ 412 h 412"/>
                <a:gd name="T68" fmla="*/ 352 w 419"/>
                <a:gd name="T69" fmla="*/ 410 h 412"/>
                <a:gd name="T70" fmla="*/ 359 w 419"/>
                <a:gd name="T71" fmla="*/ 402 h 412"/>
                <a:gd name="T72" fmla="*/ 358 w 419"/>
                <a:gd name="T73" fmla="*/ 392 h 412"/>
                <a:gd name="T74" fmla="*/ 412 w 419"/>
                <a:gd name="T75" fmla="*/ 171 h 412"/>
                <a:gd name="T76" fmla="*/ 417 w 419"/>
                <a:gd name="T77" fmla="*/ 163 h 412"/>
                <a:gd name="T78" fmla="*/ 417 w 419"/>
                <a:gd name="T79" fmla="*/ 154 h 412"/>
                <a:gd name="T80" fmla="*/ 412 w 419"/>
                <a:gd name="T81" fmla="*/ 146 h 412"/>
                <a:gd name="T82" fmla="*/ 404 w 419"/>
                <a:gd name="T83" fmla="*/ 144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9" h="412">
                  <a:moveTo>
                    <a:pt x="275" y="236"/>
                  </a:moveTo>
                  <a:lnTo>
                    <a:pt x="272" y="240"/>
                  </a:lnTo>
                  <a:lnTo>
                    <a:pt x="270" y="245"/>
                  </a:lnTo>
                  <a:lnTo>
                    <a:pt x="269" y="249"/>
                  </a:lnTo>
                  <a:lnTo>
                    <a:pt x="270" y="254"/>
                  </a:lnTo>
                  <a:lnTo>
                    <a:pt x="309" y="351"/>
                  </a:lnTo>
                  <a:lnTo>
                    <a:pt x="219" y="280"/>
                  </a:lnTo>
                  <a:lnTo>
                    <a:pt x="214" y="278"/>
                  </a:lnTo>
                  <a:lnTo>
                    <a:pt x="209" y="277"/>
                  </a:lnTo>
                  <a:lnTo>
                    <a:pt x="205" y="278"/>
                  </a:lnTo>
                  <a:lnTo>
                    <a:pt x="200" y="280"/>
                  </a:lnTo>
                  <a:lnTo>
                    <a:pt x="109" y="351"/>
                  </a:lnTo>
                  <a:lnTo>
                    <a:pt x="148" y="254"/>
                  </a:lnTo>
                  <a:lnTo>
                    <a:pt x="149" y="249"/>
                  </a:lnTo>
                  <a:lnTo>
                    <a:pt x="149" y="245"/>
                  </a:lnTo>
                  <a:lnTo>
                    <a:pt x="147" y="240"/>
                  </a:lnTo>
                  <a:lnTo>
                    <a:pt x="144" y="236"/>
                  </a:lnTo>
                  <a:lnTo>
                    <a:pt x="59" y="174"/>
                  </a:lnTo>
                  <a:lnTo>
                    <a:pt x="149" y="174"/>
                  </a:lnTo>
                  <a:lnTo>
                    <a:pt x="153" y="173"/>
                  </a:lnTo>
                  <a:lnTo>
                    <a:pt x="158" y="171"/>
                  </a:lnTo>
                  <a:lnTo>
                    <a:pt x="161" y="169"/>
                  </a:lnTo>
                  <a:lnTo>
                    <a:pt x="163" y="164"/>
                  </a:lnTo>
                  <a:lnTo>
                    <a:pt x="209" y="54"/>
                  </a:lnTo>
                  <a:lnTo>
                    <a:pt x="255" y="164"/>
                  </a:lnTo>
                  <a:lnTo>
                    <a:pt x="257" y="168"/>
                  </a:lnTo>
                  <a:lnTo>
                    <a:pt x="260" y="171"/>
                  </a:lnTo>
                  <a:lnTo>
                    <a:pt x="265" y="173"/>
                  </a:lnTo>
                  <a:lnTo>
                    <a:pt x="269" y="174"/>
                  </a:lnTo>
                  <a:lnTo>
                    <a:pt x="359" y="174"/>
                  </a:lnTo>
                  <a:lnTo>
                    <a:pt x="275" y="236"/>
                  </a:lnTo>
                  <a:close/>
                  <a:moveTo>
                    <a:pt x="404" y="144"/>
                  </a:moveTo>
                  <a:lnTo>
                    <a:pt x="278" y="144"/>
                  </a:lnTo>
                  <a:lnTo>
                    <a:pt x="223" y="9"/>
                  </a:lnTo>
                  <a:lnTo>
                    <a:pt x="221" y="5"/>
                  </a:lnTo>
                  <a:lnTo>
                    <a:pt x="218" y="3"/>
                  </a:lnTo>
                  <a:lnTo>
                    <a:pt x="214" y="1"/>
                  </a:lnTo>
                  <a:lnTo>
                    <a:pt x="209" y="0"/>
                  </a:lnTo>
                  <a:lnTo>
                    <a:pt x="209" y="0"/>
                  </a:lnTo>
                  <a:lnTo>
                    <a:pt x="209" y="0"/>
                  </a:lnTo>
                  <a:lnTo>
                    <a:pt x="205" y="1"/>
                  </a:lnTo>
                  <a:lnTo>
                    <a:pt x="201" y="3"/>
                  </a:lnTo>
                  <a:lnTo>
                    <a:pt x="198" y="5"/>
                  </a:lnTo>
                  <a:lnTo>
                    <a:pt x="196" y="9"/>
                  </a:lnTo>
                  <a:lnTo>
                    <a:pt x="139" y="144"/>
                  </a:lnTo>
                  <a:lnTo>
                    <a:pt x="14" y="144"/>
                  </a:lnTo>
                  <a:lnTo>
                    <a:pt x="10" y="144"/>
                  </a:lnTo>
                  <a:lnTo>
                    <a:pt x="6" y="146"/>
                  </a:lnTo>
                  <a:lnTo>
                    <a:pt x="3" y="149"/>
                  </a:lnTo>
                  <a:lnTo>
                    <a:pt x="0" y="154"/>
                  </a:lnTo>
                  <a:lnTo>
                    <a:pt x="0" y="158"/>
                  </a:lnTo>
                  <a:lnTo>
                    <a:pt x="0" y="163"/>
                  </a:lnTo>
                  <a:lnTo>
                    <a:pt x="3" y="168"/>
                  </a:lnTo>
                  <a:lnTo>
                    <a:pt x="6" y="171"/>
                  </a:lnTo>
                  <a:lnTo>
                    <a:pt x="116" y="253"/>
                  </a:lnTo>
                  <a:lnTo>
                    <a:pt x="60" y="392"/>
                  </a:lnTo>
                  <a:lnTo>
                    <a:pt x="59" y="397"/>
                  </a:lnTo>
                  <a:lnTo>
                    <a:pt x="60" y="402"/>
                  </a:lnTo>
                  <a:lnTo>
                    <a:pt x="62" y="406"/>
                  </a:lnTo>
                  <a:lnTo>
                    <a:pt x="66" y="410"/>
                  </a:lnTo>
                  <a:lnTo>
                    <a:pt x="70" y="412"/>
                  </a:lnTo>
                  <a:lnTo>
                    <a:pt x="74" y="412"/>
                  </a:lnTo>
                  <a:lnTo>
                    <a:pt x="80" y="412"/>
                  </a:lnTo>
                  <a:lnTo>
                    <a:pt x="84" y="409"/>
                  </a:lnTo>
                  <a:lnTo>
                    <a:pt x="209" y="311"/>
                  </a:lnTo>
                  <a:lnTo>
                    <a:pt x="334" y="409"/>
                  </a:lnTo>
                  <a:lnTo>
                    <a:pt x="338" y="411"/>
                  </a:lnTo>
                  <a:lnTo>
                    <a:pt x="344" y="412"/>
                  </a:lnTo>
                  <a:lnTo>
                    <a:pt x="348" y="412"/>
                  </a:lnTo>
                  <a:lnTo>
                    <a:pt x="352" y="410"/>
                  </a:lnTo>
                  <a:lnTo>
                    <a:pt x="357" y="406"/>
                  </a:lnTo>
                  <a:lnTo>
                    <a:pt x="359" y="402"/>
                  </a:lnTo>
                  <a:lnTo>
                    <a:pt x="359" y="397"/>
                  </a:lnTo>
                  <a:lnTo>
                    <a:pt x="358" y="392"/>
                  </a:lnTo>
                  <a:lnTo>
                    <a:pt x="302" y="253"/>
                  </a:lnTo>
                  <a:lnTo>
                    <a:pt x="412" y="171"/>
                  </a:lnTo>
                  <a:lnTo>
                    <a:pt x="415" y="168"/>
                  </a:lnTo>
                  <a:lnTo>
                    <a:pt x="417" y="163"/>
                  </a:lnTo>
                  <a:lnTo>
                    <a:pt x="419" y="159"/>
                  </a:lnTo>
                  <a:lnTo>
                    <a:pt x="417" y="154"/>
                  </a:lnTo>
                  <a:lnTo>
                    <a:pt x="415" y="149"/>
                  </a:lnTo>
                  <a:lnTo>
                    <a:pt x="412" y="146"/>
                  </a:lnTo>
                  <a:lnTo>
                    <a:pt x="408" y="144"/>
                  </a:lnTo>
                  <a:lnTo>
                    <a:pt x="404" y="144"/>
                  </a:lnTo>
                  <a:lnTo>
                    <a:pt x="40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304">
              <a:extLst>
                <a:ext uri="{FF2B5EF4-FFF2-40B4-BE49-F238E27FC236}">
                  <a16:creationId xmlns:a16="http://schemas.microsoft.com/office/drawing/2014/main" id="{08B214EA-9CCB-472A-A3C0-CFD19F27F8C7}"/>
                </a:ext>
              </a:extLst>
            </p:cNvPr>
            <p:cNvSpPr>
              <a:spLocks noEditPoints="1"/>
            </p:cNvSpPr>
            <p:nvPr/>
          </p:nvSpPr>
          <p:spPr bwMode="auto">
            <a:xfrm>
              <a:off x="8755063" y="3059113"/>
              <a:ext cx="284163" cy="284162"/>
            </a:xfrm>
            <a:custGeom>
              <a:avLst/>
              <a:gdLst>
                <a:gd name="T0" fmla="*/ 785 w 897"/>
                <a:gd name="T1" fmla="*/ 525 h 897"/>
                <a:gd name="T2" fmla="*/ 730 w 897"/>
                <a:gd name="T3" fmla="*/ 642 h 897"/>
                <a:gd name="T4" fmla="*/ 638 w 897"/>
                <a:gd name="T5" fmla="*/ 732 h 897"/>
                <a:gd name="T6" fmla="*/ 520 w 897"/>
                <a:gd name="T7" fmla="*/ 784 h 897"/>
                <a:gd name="T8" fmla="*/ 390 w 897"/>
                <a:gd name="T9" fmla="*/ 789 h 897"/>
                <a:gd name="T10" fmla="*/ 375 w 897"/>
                <a:gd name="T11" fmla="*/ 784 h 897"/>
                <a:gd name="T12" fmla="*/ 259 w 897"/>
                <a:gd name="T13" fmla="*/ 732 h 897"/>
                <a:gd name="T14" fmla="*/ 166 w 897"/>
                <a:gd name="T15" fmla="*/ 642 h 897"/>
                <a:gd name="T16" fmla="*/ 111 w 897"/>
                <a:gd name="T17" fmla="*/ 525 h 897"/>
                <a:gd name="T18" fmla="*/ 38 w 897"/>
                <a:gd name="T19" fmla="*/ 448 h 897"/>
                <a:gd name="T20" fmla="*/ 111 w 897"/>
                <a:gd name="T21" fmla="*/ 372 h 897"/>
                <a:gd name="T22" fmla="*/ 166 w 897"/>
                <a:gd name="T23" fmla="*/ 254 h 897"/>
                <a:gd name="T24" fmla="*/ 259 w 897"/>
                <a:gd name="T25" fmla="*/ 164 h 897"/>
                <a:gd name="T26" fmla="*/ 376 w 897"/>
                <a:gd name="T27" fmla="*/ 113 h 897"/>
                <a:gd name="T28" fmla="*/ 507 w 897"/>
                <a:gd name="T29" fmla="*/ 108 h 897"/>
                <a:gd name="T30" fmla="*/ 605 w 897"/>
                <a:gd name="T31" fmla="*/ 69 h 897"/>
                <a:gd name="T32" fmla="*/ 648 w 897"/>
                <a:gd name="T33" fmla="*/ 167 h 897"/>
                <a:gd name="T34" fmla="*/ 736 w 897"/>
                <a:gd name="T35" fmla="*/ 262 h 897"/>
                <a:gd name="T36" fmla="*/ 784 w 897"/>
                <a:gd name="T37" fmla="*/ 382 h 897"/>
                <a:gd name="T38" fmla="*/ 897 w 897"/>
                <a:gd name="T39" fmla="*/ 448 h 897"/>
                <a:gd name="T40" fmla="*/ 817 w 897"/>
                <a:gd name="T41" fmla="*/ 375 h 897"/>
                <a:gd name="T42" fmla="*/ 863 w 897"/>
                <a:gd name="T43" fmla="*/ 277 h 897"/>
                <a:gd name="T44" fmla="*/ 761 w 897"/>
                <a:gd name="T45" fmla="*/ 239 h 897"/>
                <a:gd name="T46" fmla="*/ 766 w 897"/>
                <a:gd name="T47" fmla="*/ 131 h 897"/>
                <a:gd name="T48" fmla="*/ 658 w 897"/>
                <a:gd name="T49" fmla="*/ 136 h 897"/>
                <a:gd name="T50" fmla="*/ 620 w 897"/>
                <a:gd name="T51" fmla="*/ 34 h 897"/>
                <a:gd name="T52" fmla="*/ 522 w 897"/>
                <a:gd name="T53" fmla="*/ 80 h 897"/>
                <a:gd name="T54" fmla="*/ 448 w 897"/>
                <a:gd name="T55" fmla="*/ 0 h 897"/>
                <a:gd name="T56" fmla="*/ 375 w 897"/>
                <a:gd name="T57" fmla="*/ 80 h 897"/>
                <a:gd name="T58" fmla="*/ 277 w 897"/>
                <a:gd name="T59" fmla="*/ 34 h 897"/>
                <a:gd name="T60" fmla="*/ 239 w 897"/>
                <a:gd name="T61" fmla="*/ 136 h 897"/>
                <a:gd name="T62" fmla="*/ 131 w 897"/>
                <a:gd name="T63" fmla="*/ 131 h 897"/>
                <a:gd name="T64" fmla="*/ 136 w 897"/>
                <a:gd name="T65" fmla="*/ 239 h 897"/>
                <a:gd name="T66" fmla="*/ 34 w 897"/>
                <a:gd name="T67" fmla="*/ 277 h 897"/>
                <a:gd name="T68" fmla="*/ 79 w 897"/>
                <a:gd name="T69" fmla="*/ 375 h 897"/>
                <a:gd name="T70" fmla="*/ 0 w 897"/>
                <a:gd name="T71" fmla="*/ 449 h 897"/>
                <a:gd name="T72" fmla="*/ 79 w 897"/>
                <a:gd name="T73" fmla="*/ 522 h 897"/>
                <a:gd name="T74" fmla="*/ 34 w 897"/>
                <a:gd name="T75" fmla="*/ 620 h 897"/>
                <a:gd name="T76" fmla="*/ 136 w 897"/>
                <a:gd name="T77" fmla="*/ 657 h 897"/>
                <a:gd name="T78" fmla="*/ 131 w 897"/>
                <a:gd name="T79" fmla="*/ 765 h 897"/>
                <a:gd name="T80" fmla="*/ 239 w 897"/>
                <a:gd name="T81" fmla="*/ 761 h 897"/>
                <a:gd name="T82" fmla="*/ 277 w 897"/>
                <a:gd name="T83" fmla="*/ 863 h 897"/>
                <a:gd name="T84" fmla="*/ 375 w 897"/>
                <a:gd name="T85" fmla="*/ 817 h 897"/>
                <a:gd name="T86" fmla="*/ 448 w 897"/>
                <a:gd name="T87" fmla="*/ 897 h 897"/>
                <a:gd name="T88" fmla="*/ 522 w 897"/>
                <a:gd name="T89" fmla="*/ 817 h 897"/>
                <a:gd name="T90" fmla="*/ 620 w 897"/>
                <a:gd name="T91" fmla="*/ 863 h 897"/>
                <a:gd name="T92" fmla="*/ 658 w 897"/>
                <a:gd name="T93" fmla="*/ 761 h 897"/>
                <a:gd name="T94" fmla="*/ 766 w 897"/>
                <a:gd name="T95" fmla="*/ 765 h 897"/>
                <a:gd name="T96" fmla="*/ 761 w 897"/>
                <a:gd name="T97" fmla="*/ 657 h 897"/>
                <a:gd name="T98" fmla="*/ 863 w 897"/>
                <a:gd name="T99" fmla="*/ 620 h 897"/>
                <a:gd name="T100" fmla="*/ 817 w 897"/>
                <a:gd name="T101" fmla="*/ 522 h 897"/>
                <a:gd name="T102" fmla="*/ 897 w 897"/>
                <a:gd name="T103" fmla="*/ 4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7" h="897">
                  <a:moveTo>
                    <a:pt x="789" y="507"/>
                  </a:moveTo>
                  <a:lnTo>
                    <a:pt x="785" y="511"/>
                  </a:lnTo>
                  <a:lnTo>
                    <a:pt x="784" y="515"/>
                  </a:lnTo>
                  <a:lnTo>
                    <a:pt x="784" y="521"/>
                  </a:lnTo>
                  <a:lnTo>
                    <a:pt x="785" y="525"/>
                  </a:lnTo>
                  <a:lnTo>
                    <a:pt x="828" y="605"/>
                  </a:lnTo>
                  <a:lnTo>
                    <a:pt x="741" y="633"/>
                  </a:lnTo>
                  <a:lnTo>
                    <a:pt x="736" y="635"/>
                  </a:lnTo>
                  <a:lnTo>
                    <a:pt x="732" y="638"/>
                  </a:lnTo>
                  <a:lnTo>
                    <a:pt x="730" y="642"/>
                  </a:lnTo>
                  <a:lnTo>
                    <a:pt x="730" y="648"/>
                  </a:lnTo>
                  <a:lnTo>
                    <a:pt x="738" y="739"/>
                  </a:lnTo>
                  <a:lnTo>
                    <a:pt x="648" y="730"/>
                  </a:lnTo>
                  <a:lnTo>
                    <a:pt x="643" y="730"/>
                  </a:lnTo>
                  <a:lnTo>
                    <a:pt x="638" y="732"/>
                  </a:lnTo>
                  <a:lnTo>
                    <a:pt x="634" y="737"/>
                  </a:lnTo>
                  <a:lnTo>
                    <a:pt x="632" y="741"/>
                  </a:lnTo>
                  <a:lnTo>
                    <a:pt x="605" y="827"/>
                  </a:lnTo>
                  <a:lnTo>
                    <a:pt x="525" y="785"/>
                  </a:lnTo>
                  <a:lnTo>
                    <a:pt x="520" y="784"/>
                  </a:lnTo>
                  <a:lnTo>
                    <a:pt x="515" y="784"/>
                  </a:lnTo>
                  <a:lnTo>
                    <a:pt x="510" y="786"/>
                  </a:lnTo>
                  <a:lnTo>
                    <a:pt x="507" y="789"/>
                  </a:lnTo>
                  <a:lnTo>
                    <a:pt x="448" y="858"/>
                  </a:lnTo>
                  <a:lnTo>
                    <a:pt x="390" y="789"/>
                  </a:lnTo>
                  <a:lnTo>
                    <a:pt x="388" y="787"/>
                  </a:lnTo>
                  <a:lnTo>
                    <a:pt x="385" y="785"/>
                  </a:lnTo>
                  <a:lnTo>
                    <a:pt x="382" y="784"/>
                  </a:lnTo>
                  <a:lnTo>
                    <a:pt x="378" y="784"/>
                  </a:lnTo>
                  <a:lnTo>
                    <a:pt x="375" y="784"/>
                  </a:lnTo>
                  <a:lnTo>
                    <a:pt x="372" y="785"/>
                  </a:lnTo>
                  <a:lnTo>
                    <a:pt x="291" y="827"/>
                  </a:lnTo>
                  <a:lnTo>
                    <a:pt x="264" y="741"/>
                  </a:lnTo>
                  <a:lnTo>
                    <a:pt x="262" y="737"/>
                  </a:lnTo>
                  <a:lnTo>
                    <a:pt x="259" y="732"/>
                  </a:lnTo>
                  <a:lnTo>
                    <a:pt x="253" y="731"/>
                  </a:lnTo>
                  <a:lnTo>
                    <a:pt x="249" y="730"/>
                  </a:lnTo>
                  <a:lnTo>
                    <a:pt x="158" y="739"/>
                  </a:lnTo>
                  <a:lnTo>
                    <a:pt x="167" y="648"/>
                  </a:lnTo>
                  <a:lnTo>
                    <a:pt x="166" y="642"/>
                  </a:lnTo>
                  <a:lnTo>
                    <a:pt x="163" y="638"/>
                  </a:lnTo>
                  <a:lnTo>
                    <a:pt x="160" y="635"/>
                  </a:lnTo>
                  <a:lnTo>
                    <a:pt x="156" y="633"/>
                  </a:lnTo>
                  <a:lnTo>
                    <a:pt x="69" y="605"/>
                  </a:lnTo>
                  <a:lnTo>
                    <a:pt x="111" y="525"/>
                  </a:lnTo>
                  <a:lnTo>
                    <a:pt x="113" y="521"/>
                  </a:lnTo>
                  <a:lnTo>
                    <a:pt x="113" y="515"/>
                  </a:lnTo>
                  <a:lnTo>
                    <a:pt x="111" y="511"/>
                  </a:lnTo>
                  <a:lnTo>
                    <a:pt x="108" y="507"/>
                  </a:lnTo>
                  <a:lnTo>
                    <a:pt x="38" y="448"/>
                  </a:lnTo>
                  <a:lnTo>
                    <a:pt x="108" y="390"/>
                  </a:lnTo>
                  <a:lnTo>
                    <a:pt x="111" y="386"/>
                  </a:lnTo>
                  <a:lnTo>
                    <a:pt x="113" y="382"/>
                  </a:lnTo>
                  <a:lnTo>
                    <a:pt x="113" y="377"/>
                  </a:lnTo>
                  <a:lnTo>
                    <a:pt x="111" y="372"/>
                  </a:lnTo>
                  <a:lnTo>
                    <a:pt x="69" y="292"/>
                  </a:lnTo>
                  <a:lnTo>
                    <a:pt x="156" y="264"/>
                  </a:lnTo>
                  <a:lnTo>
                    <a:pt x="160" y="262"/>
                  </a:lnTo>
                  <a:lnTo>
                    <a:pt x="163" y="259"/>
                  </a:lnTo>
                  <a:lnTo>
                    <a:pt x="166" y="254"/>
                  </a:lnTo>
                  <a:lnTo>
                    <a:pt x="167" y="249"/>
                  </a:lnTo>
                  <a:lnTo>
                    <a:pt x="158" y="158"/>
                  </a:lnTo>
                  <a:lnTo>
                    <a:pt x="249" y="167"/>
                  </a:lnTo>
                  <a:lnTo>
                    <a:pt x="253" y="167"/>
                  </a:lnTo>
                  <a:lnTo>
                    <a:pt x="259" y="164"/>
                  </a:lnTo>
                  <a:lnTo>
                    <a:pt x="262" y="160"/>
                  </a:lnTo>
                  <a:lnTo>
                    <a:pt x="264" y="156"/>
                  </a:lnTo>
                  <a:lnTo>
                    <a:pt x="291" y="69"/>
                  </a:lnTo>
                  <a:lnTo>
                    <a:pt x="372" y="112"/>
                  </a:lnTo>
                  <a:lnTo>
                    <a:pt x="376" y="113"/>
                  </a:lnTo>
                  <a:lnTo>
                    <a:pt x="382" y="113"/>
                  </a:lnTo>
                  <a:lnTo>
                    <a:pt x="386" y="111"/>
                  </a:lnTo>
                  <a:lnTo>
                    <a:pt x="390" y="108"/>
                  </a:lnTo>
                  <a:lnTo>
                    <a:pt x="448" y="38"/>
                  </a:lnTo>
                  <a:lnTo>
                    <a:pt x="507" y="108"/>
                  </a:lnTo>
                  <a:lnTo>
                    <a:pt x="510" y="111"/>
                  </a:lnTo>
                  <a:lnTo>
                    <a:pt x="515" y="113"/>
                  </a:lnTo>
                  <a:lnTo>
                    <a:pt x="520" y="113"/>
                  </a:lnTo>
                  <a:lnTo>
                    <a:pt x="525" y="112"/>
                  </a:lnTo>
                  <a:lnTo>
                    <a:pt x="605" y="69"/>
                  </a:lnTo>
                  <a:lnTo>
                    <a:pt x="632" y="156"/>
                  </a:lnTo>
                  <a:lnTo>
                    <a:pt x="634" y="160"/>
                  </a:lnTo>
                  <a:lnTo>
                    <a:pt x="638" y="164"/>
                  </a:lnTo>
                  <a:lnTo>
                    <a:pt x="643" y="167"/>
                  </a:lnTo>
                  <a:lnTo>
                    <a:pt x="648" y="167"/>
                  </a:lnTo>
                  <a:lnTo>
                    <a:pt x="738" y="158"/>
                  </a:lnTo>
                  <a:lnTo>
                    <a:pt x="730" y="249"/>
                  </a:lnTo>
                  <a:lnTo>
                    <a:pt x="730" y="254"/>
                  </a:lnTo>
                  <a:lnTo>
                    <a:pt x="732" y="259"/>
                  </a:lnTo>
                  <a:lnTo>
                    <a:pt x="736" y="262"/>
                  </a:lnTo>
                  <a:lnTo>
                    <a:pt x="741" y="264"/>
                  </a:lnTo>
                  <a:lnTo>
                    <a:pt x="828" y="292"/>
                  </a:lnTo>
                  <a:lnTo>
                    <a:pt x="785" y="372"/>
                  </a:lnTo>
                  <a:lnTo>
                    <a:pt x="784" y="376"/>
                  </a:lnTo>
                  <a:lnTo>
                    <a:pt x="784" y="382"/>
                  </a:lnTo>
                  <a:lnTo>
                    <a:pt x="785" y="387"/>
                  </a:lnTo>
                  <a:lnTo>
                    <a:pt x="789" y="390"/>
                  </a:lnTo>
                  <a:lnTo>
                    <a:pt x="859" y="448"/>
                  </a:lnTo>
                  <a:lnTo>
                    <a:pt x="789" y="507"/>
                  </a:lnTo>
                  <a:close/>
                  <a:moveTo>
                    <a:pt x="897" y="448"/>
                  </a:moveTo>
                  <a:lnTo>
                    <a:pt x="896" y="445"/>
                  </a:lnTo>
                  <a:lnTo>
                    <a:pt x="895" y="442"/>
                  </a:lnTo>
                  <a:lnTo>
                    <a:pt x="894" y="439"/>
                  </a:lnTo>
                  <a:lnTo>
                    <a:pt x="892" y="437"/>
                  </a:lnTo>
                  <a:lnTo>
                    <a:pt x="817" y="375"/>
                  </a:lnTo>
                  <a:lnTo>
                    <a:pt x="862" y="290"/>
                  </a:lnTo>
                  <a:lnTo>
                    <a:pt x="863" y="286"/>
                  </a:lnTo>
                  <a:lnTo>
                    <a:pt x="864" y="283"/>
                  </a:lnTo>
                  <a:lnTo>
                    <a:pt x="864" y="280"/>
                  </a:lnTo>
                  <a:lnTo>
                    <a:pt x="863" y="277"/>
                  </a:lnTo>
                  <a:lnTo>
                    <a:pt x="861" y="273"/>
                  </a:lnTo>
                  <a:lnTo>
                    <a:pt x="859" y="271"/>
                  </a:lnTo>
                  <a:lnTo>
                    <a:pt x="856" y="269"/>
                  </a:lnTo>
                  <a:lnTo>
                    <a:pt x="853" y="268"/>
                  </a:lnTo>
                  <a:lnTo>
                    <a:pt x="761" y="239"/>
                  </a:lnTo>
                  <a:lnTo>
                    <a:pt x="770" y="143"/>
                  </a:lnTo>
                  <a:lnTo>
                    <a:pt x="770" y="140"/>
                  </a:lnTo>
                  <a:lnTo>
                    <a:pt x="769" y="137"/>
                  </a:lnTo>
                  <a:lnTo>
                    <a:pt x="768" y="133"/>
                  </a:lnTo>
                  <a:lnTo>
                    <a:pt x="766" y="131"/>
                  </a:lnTo>
                  <a:lnTo>
                    <a:pt x="762" y="129"/>
                  </a:lnTo>
                  <a:lnTo>
                    <a:pt x="760" y="128"/>
                  </a:lnTo>
                  <a:lnTo>
                    <a:pt x="757" y="127"/>
                  </a:lnTo>
                  <a:lnTo>
                    <a:pt x="754" y="127"/>
                  </a:lnTo>
                  <a:lnTo>
                    <a:pt x="658" y="136"/>
                  </a:lnTo>
                  <a:lnTo>
                    <a:pt x="629" y="44"/>
                  </a:lnTo>
                  <a:lnTo>
                    <a:pt x="627" y="40"/>
                  </a:lnTo>
                  <a:lnTo>
                    <a:pt x="625" y="38"/>
                  </a:lnTo>
                  <a:lnTo>
                    <a:pt x="622" y="36"/>
                  </a:lnTo>
                  <a:lnTo>
                    <a:pt x="620" y="34"/>
                  </a:lnTo>
                  <a:lnTo>
                    <a:pt x="617" y="33"/>
                  </a:lnTo>
                  <a:lnTo>
                    <a:pt x="614" y="33"/>
                  </a:lnTo>
                  <a:lnTo>
                    <a:pt x="610" y="33"/>
                  </a:lnTo>
                  <a:lnTo>
                    <a:pt x="607" y="35"/>
                  </a:lnTo>
                  <a:lnTo>
                    <a:pt x="522" y="80"/>
                  </a:lnTo>
                  <a:lnTo>
                    <a:pt x="460" y="5"/>
                  </a:lnTo>
                  <a:lnTo>
                    <a:pt x="458" y="3"/>
                  </a:lnTo>
                  <a:lnTo>
                    <a:pt x="454" y="2"/>
                  </a:lnTo>
                  <a:lnTo>
                    <a:pt x="451" y="1"/>
                  </a:lnTo>
                  <a:lnTo>
                    <a:pt x="448" y="0"/>
                  </a:lnTo>
                  <a:lnTo>
                    <a:pt x="445" y="1"/>
                  </a:lnTo>
                  <a:lnTo>
                    <a:pt x="442" y="2"/>
                  </a:lnTo>
                  <a:lnTo>
                    <a:pt x="439" y="3"/>
                  </a:lnTo>
                  <a:lnTo>
                    <a:pt x="436" y="5"/>
                  </a:lnTo>
                  <a:lnTo>
                    <a:pt x="375" y="80"/>
                  </a:lnTo>
                  <a:lnTo>
                    <a:pt x="290" y="35"/>
                  </a:lnTo>
                  <a:lnTo>
                    <a:pt x="286" y="33"/>
                  </a:lnTo>
                  <a:lnTo>
                    <a:pt x="283" y="33"/>
                  </a:lnTo>
                  <a:lnTo>
                    <a:pt x="280" y="33"/>
                  </a:lnTo>
                  <a:lnTo>
                    <a:pt x="277" y="34"/>
                  </a:lnTo>
                  <a:lnTo>
                    <a:pt x="274" y="36"/>
                  </a:lnTo>
                  <a:lnTo>
                    <a:pt x="271" y="38"/>
                  </a:lnTo>
                  <a:lnTo>
                    <a:pt x="269" y="40"/>
                  </a:lnTo>
                  <a:lnTo>
                    <a:pt x="268" y="44"/>
                  </a:lnTo>
                  <a:lnTo>
                    <a:pt x="239" y="136"/>
                  </a:lnTo>
                  <a:lnTo>
                    <a:pt x="143" y="127"/>
                  </a:lnTo>
                  <a:lnTo>
                    <a:pt x="140" y="127"/>
                  </a:lnTo>
                  <a:lnTo>
                    <a:pt x="137" y="128"/>
                  </a:lnTo>
                  <a:lnTo>
                    <a:pt x="134" y="129"/>
                  </a:lnTo>
                  <a:lnTo>
                    <a:pt x="131" y="131"/>
                  </a:lnTo>
                  <a:lnTo>
                    <a:pt x="129" y="133"/>
                  </a:lnTo>
                  <a:lnTo>
                    <a:pt x="127" y="137"/>
                  </a:lnTo>
                  <a:lnTo>
                    <a:pt x="127" y="140"/>
                  </a:lnTo>
                  <a:lnTo>
                    <a:pt x="127" y="143"/>
                  </a:lnTo>
                  <a:lnTo>
                    <a:pt x="136" y="239"/>
                  </a:lnTo>
                  <a:lnTo>
                    <a:pt x="44" y="268"/>
                  </a:lnTo>
                  <a:lnTo>
                    <a:pt x="41" y="269"/>
                  </a:lnTo>
                  <a:lnTo>
                    <a:pt x="37" y="271"/>
                  </a:lnTo>
                  <a:lnTo>
                    <a:pt x="35" y="273"/>
                  </a:lnTo>
                  <a:lnTo>
                    <a:pt x="34" y="277"/>
                  </a:lnTo>
                  <a:lnTo>
                    <a:pt x="33" y="280"/>
                  </a:lnTo>
                  <a:lnTo>
                    <a:pt x="33" y="283"/>
                  </a:lnTo>
                  <a:lnTo>
                    <a:pt x="33" y="286"/>
                  </a:lnTo>
                  <a:lnTo>
                    <a:pt x="34" y="290"/>
                  </a:lnTo>
                  <a:lnTo>
                    <a:pt x="79" y="375"/>
                  </a:lnTo>
                  <a:lnTo>
                    <a:pt x="5" y="437"/>
                  </a:lnTo>
                  <a:lnTo>
                    <a:pt x="3" y="439"/>
                  </a:lnTo>
                  <a:lnTo>
                    <a:pt x="1" y="442"/>
                  </a:lnTo>
                  <a:lnTo>
                    <a:pt x="0" y="445"/>
                  </a:lnTo>
                  <a:lnTo>
                    <a:pt x="0" y="449"/>
                  </a:lnTo>
                  <a:lnTo>
                    <a:pt x="0" y="452"/>
                  </a:lnTo>
                  <a:lnTo>
                    <a:pt x="1" y="454"/>
                  </a:lnTo>
                  <a:lnTo>
                    <a:pt x="3" y="457"/>
                  </a:lnTo>
                  <a:lnTo>
                    <a:pt x="5" y="460"/>
                  </a:lnTo>
                  <a:lnTo>
                    <a:pt x="79" y="522"/>
                  </a:lnTo>
                  <a:lnTo>
                    <a:pt x="34" y="607"/>
                  </a:lnTo>
                  <a:lnTo>
                    <a:pt x="33" y="610"/>
                  </a:lnTo>
                  <a:lnTo>
                    <a:pt x="33" y="614"/>
                  </a:lnTo>
                  <a:lnTo>
                    <a:pt x="33" y="617"/>
                  </a:lnTo>
                  <a:lnTo>
                    <a:pt x="34" y="620"/>
                  </a:lnTo>
                  <a:lnTo>
                    <a:pt x="35" y="623"/>
                  </a:lnTo>
                  <a:lnTo>
                    <a:pt x="37" y="625"/>
                  </a:lnTo>
                  <a:lnTo>
                    <a:pt x="41" y="627"/>
                  </a:lnTo>
                  <a:lnTo>
                    <a:pt x="44" y="629"/>
                  </a:lnTo>
                  <a:lnTo>
                    <a:pt x="136" y="657"/>
                  </a:lnTo>
                  <a:lnTo>
                    <a:pt x="127" y="754"/>
                  </a:lnTo>
                  <a:lnTo>
                    <a:pt x="127" y="757"/>
                  </a:lnTo>
                  <a:lnTo>
                    <a:pt x="127" y="760"/>
                  </a:lnTo>
                  <a:lnTo>
                    <a:pt x="129" y="763"/>
                  </a:lnTo>
                  <a:lnTo>
                    <a:pt x="131" y="765"/>
                  </a:lnTo>
                  <a:lnTo>
                    <a:pt x="134" y="768"/>
                  </a:lnTo>
                  <a:lnTo>
                    <a:pt x="137" y="769"/>
                  </a:lnTo>
                  <a:lnTo>
                    <a:pt x="140" y="770"/>
                  </a:lnTo>
                  <a:lnTo>
                    <a:pt x="143" y="770"/>
                  </a:lnTo>
                  <a:lnTo>
                    <a:pt x="239" y="761"/>
                  </a:lnTo>
                  <a:lnTo>
                    <a:pt x="268" y="853"/>
                  </a:lnTo>
                  <a:lnTo>
                    <a:pt x="269" y="856"/>
                  </a:lnTo>
                  <a:lnTo>
                    <a:pt x="271" y="860"/>
                  </a:lnTo>
                  <a:lnTo>
                    <a:pt x="274" y="862"/>
                  </a:lnTo>
                  <a:lnTo>
                    <a:pt x="277" y="863"/>
                  </a:lnTo>
                  <a:lnTo>
                    <a:pt x="280" y="864"/>
                  </a:lnTo>
                  <a:lnTo>
                    <a:pt x="283" y="864"/>
                  </a:lnTo>
                  <a:lnTo>
                    <a:pt x="286" y="864"/>
                  </a:lnTo>
                  <a:lnTo>
                    <a:pt x="290" y="863"/>
                  </a:lnTo>
                  <a:lnTo>
                    <a:pt x="375" y="817"/>
                  </a:lnTo>
                  <a:lnTo>
                    <a:pt x="436" y="892"/>
                  </a:lnTo>
                  <a:lnTo>
                    <a:pt x="439" y="894"/>
                  </a:lnTo>
                  <a:lnTo>
                    <a:pt x="442" y="896"/>
                  </a:lnTo>
                  <a:lnTo>
                    <a:pt x="445" y="897"/>
                  </a:lnTo>
                  <a:lnTo>
                    <a:pt x="448" y="897"/>
                  </a:lnTo>
                  <a:lnTo>
                    <a:pt x="451" y="897"/>
                  </a:lnTo>
                  <a:lnTo>
                    <a:pt x="454" y="896"/>
                  </a:lnTo>
                  <a:lnTo>
                    <a:pt x="458" y="894"/>
                  </a:lnTo>
                  <a:lnTo>
                    <a:pt x="460" y="892"/>
                  </a:lnTo>
                  <a:lnTo>
                    <a:pt x="522" y="817"/>
                  </a:lnTo>
                  <a:lnTo>
                    <a:pt x="607" y="863"/>
                  </a:lnTo>
                  <a:lnTo>
                    <a:pt x="610" y="864"/>
                  </a:lnTo>
                  <a:lnTo>
                    <a:pt x="614" y="864"/>
                  </a:lnTo>
                  <a:lnTo>
                    <a:pt x="617" y="864"/>
                  </a:lnTo>
                  <a:lnTo>
                    <a:pt x="620" y="863"/>
                  </a:lnTo>
                  <a:lnTo>
                    <a:pt x="622" y="862"/>
                  </a:lnTo>
                  <a:lnTo>
                    <a:pt x="625" y="860"/>
                  </a:lnTo>
                  <a:lnTo>
                    <a:pt x="627" y="856"/>
                  </a:lnTo>
                  <a:lnTo>
                    <a:pt x="629" y="853"/>
                  </a:lnTo>
                  <a:lnTo>
                    <a:pt x="658" y="761"/>
                  </a:lnTo>
                  <a:lnTo>
                    <a:pt x="754" y="770"/>
                  </a:lnTo>
                  <a:lnTo>
                    <a:pt x="757" y="770"/>
                  </a:lnTo>
                  <a:lnTo>
                    <a:pt x="760" y="769"/>
                  </a:lnTo>
                  <a:lnTo>
                    <a:pt x="762" y="768"/>
                  </a:lnTo>
                  <a:lnTo>
                    <a:pt x="766" y="765"/>
                  </a:lnTo>
                  <a:lnTo>
                    <a:pt x="768" y="763"/>
                  </a:lnTo>
                  <a:lnTo>
                    <a:pt x="769" y="760"/>
                  </a:lnTo>
                  <a:lnTo>
                    <a:pt x="770" y="757"/>
                  </a:lnTo>
                  <a:lnTo>
                    <a:pt x="770" y="754"/>
                  </a:lnTo>
                  <a:lnTo>
                    <a:pt x="761" y="657"/>
                  </a:lnTo>
                  <a:lnTo>
                    <a:pt x="853" y="629"/>
                  </a:lnTo>
                  <a:lnTo>
                    <a:pt x="856" y="627"/>
                  </a:lnTo>
                  <a:lnTo>
                    <a:pt x="859" y="625"/>
                  </a:lnTo>
                  <a:lnTo>
                    <a:pt x="861" y="623"/>
                  </a:lnTo>
                  <a:lnTo>
                    <a:pt x="863" y="620"/>
                  </a:lnTo>
                  <a:lnTo>
                    <a:pt x="864" y="617"/>
                  </a:lnTo>
                  <a:lnTo>
                    <a:pt x="864" y="614"/>
                  </a:lnTo>
                  <a:lnTo>
                    <a:pt x="863" y="610"/>
                  </a:lnTo>
                  <a:lnTo>
                    <a:pt x="862" y="607"/>
                  </a:lnTo>
                  <a:lnTo>
                    <a:pt x="817" y="522"/>
                  </a:lnTo>
                  <a:lnTo>
                    <a:pt x="892" y="460"/>
                  </a:lnTo>
                  <a:lnTo>
                    <a:pt x="894" y="457"/>
                  </a:lnTo>
                  <a:lnTo>
                    <a:pt x="895" y="454"/>
                  </a:lnTo>
                  <a:lnTo>
                    <a:pt x="896" y="452"/>
                  </a:lnTo>
                  <a:lnTo>
                    <a:pt x="897" y="449"/>
                  </a:lnTo>
                  <a:lnTo>
                    <a:pt x="897"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0" name="Group 31">
            <a:extLst>
              <a:ext uri="{FF2B5EF4-FFF2-40B4-BE49-F238E27FC236}">
                <a16:creationId xmlns:a16="http://schemas.microsoft.com/office/drawing/2014/main" id="{01594949-8CC6-48B0-8273-E74BF2DA116A}"/>
              </a:ext>
            </a:extLst>
          </p:cNvPr>
          <p:cNvGrpSpPr>
            <a:grpSpLocks noChangeAspect="1"/>
          </p:cNvGrpSpPr>
          <p:nvPr/>
        </p:nvGrpSpPr>
        <p:grpSpPr>
          <a:xfrm>
            <a:off x="5791954" y="4879041"/>
            <a:ext cx="285619" cy="285619"/>
            <a:chOff x="3973513" y="4452938"/>
            <a:chExt cx="303213" cy="303213"/>
          </a:xfrm>
          <a:solidFill>
            <a:schemeClr val="bg1"/>
          </a:solidFill>
          <a:effectLst/>
        </p:grpSpPr>
        <p:sp>
          <p:nvSpPr>
            <p:cNvPr id="1021" name="Freeform 142">
              <a:extLst>
                <a:ext uri="{FF2B5EF4-FFF2-40B4-BE49-F238E27FC236}">
                  <a16:creationId xmlns:a16="http://schemas.microsoft.com/office/drawing/2014/main" id="{D94D3E13-9A26-4698-806A-1CF6808689AB}"/>
                </a:ext>
              </a:extLst>
            </p:cNvPr>
            <p:cNvSpPr>
              <a:spLocks/>
            </p:cNvSpPr>
            <p:nvPr/>
          </p:nvSpPr>
          <p:spPr bwMode="auto">
            <a:xfrm>
              <a:off x="4114801" y="4573588"/>
              <a:ext cx="47625" cy="80963"/>
            </a:xfrm>
            <a:custGeom>
              <a:avLst/>
              <a:gdLst>
                <a:gd name="T0" fmla="*/ 25 w 119"/>
                <a:gd name="T1" fmla="*/ 88 h 203"/>
                <a:gd name="T2" fmla="*/ 25 w 119"/>
                <a:gd name="T3" fmla="*/ 13 h 203"/>
                <a:gd name="T4" fmla="*/ 24 w 119"/>
                <a:gd name="T5" fmla="*/ 8 h 203"/>
                <a:gd name="T6" fmla="*/ 21 w 119"/>
                <a:gd name="T7" fmla="*/ 4 h 203"/>
                <a:gd name="T8" fmla="*/ 18 w 119"/>
                <a:gd name="T9" fmla="*/ 1 h 203"/>
                <a:gd name="T10" fmla="*/ 12 w 119"/>
                <a:gd name="T11" fmla="*/ 0 h 203"/>
                <a:gd name="T12" fmla="*/ 7 w 119"/>
                <a:gd name="T13" fmla="*/ 1 h 203"/>
                <a:gd name="T14" fmla="*/ 4 w 119"/>
                <a:gd name="T15" fmla="*/ 4 h 203"/>
                <a:gd name="T16" fmla="*/ 1 w 119"/>
                <a:gd name="T17" fmla="*/ 8 h 203"/>
                <a:gd name="T18" fmla="*/ 0 w 119"/>
                <a:gd name="T19" fmla="*/ 13 h 203"/>
                <a:gd name="T20" fmla="*/ 0 w 119"/>
                <a:gd name="T21" fmla="*/ 94 h 203"/>
                <a:gd name="T22" fmla="*/ 1 w 119"/>
                <a:gd name="T23" fmla="*/ 98 h 203"/>
                <a:gd name="T24" fmla="*/ 4 w 119"/>
                <a:gd name="T25" fmla="*/ 102 h 203"/>
                <a:gd name="T26" fmla="*/ 96 w 119"/>
                <a:gd name="T27" fmla="*/ 199 h 203"/>
                <a:gd name="T28" fmla="*/ 101 w 119"/>
                <a:gd name="T29" fmla="*/ 202 h 203"/>
                <a:gd name="T30" fmla="*/ 106 w 119"/>
                <a:gd name="T31" fmla="*/ 203 h 203"/>
                <a:gd name="T32" fmla="*/ 110 w 119"/>
                <a:gd name="T33" fmla="*/ 202 h 203"/>
                <a:gd name="T34" fmla="*/ 114 w 119"/>
                <a:gd name="T35" fmla="*/ 199 h 203"/>
                <a:gd name="T36" fmla="*/ 118 w 119"/>
                <a:gd name="T37" fmla="*/ 195 h 203"/>
                <a:gd name="T38" fmla="*/ 119 w 119"/>
                <a:gd name="T39" fmla="*/ 190 h 203"/>
                <a:gd name="T40" fmla="*/ 118 w 119"/>
                <a:gd name="T41" fmla="*/ 186 h 203"/>
                <a:gd name="T42" fmla="*/ 114 w 119"/>
                <a:gd name="T43" fmla="*/ 182 h 203"/>
                <a:gd name="T44" fmla="*/ 25 w 119"/>
                <a:gd name="T45" fmla="*/ 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25" y="88"/>
                  </a:moveTo>
                  <a:lnTo>
                    <a:pt x="25" y="13"/>
                  </a:lnTo>
                  <a:lnTo>
                    <a:pt x="24" y="8"/>
                  </a:lnTo>
                  <a:lnTo>
                    <a:pt x="21" y="4"/>
                  </a:lnTo>
                  <a:lnTo>
                    <a:pt x="18" y="1"/>
                  </a:lnTo>
                  <a:lnTo>
                    <a:pt x="12" y="0"/>
                  </a:lnTo>
                  <a:lnTo>
                    <a:pt x="7" y="1"/>
                  </a:lnTo>
                  <a:lnTo>
                    <a:pt x="4" y="4"/>
                  </a:lnTo>
                  <a:lnTo>
                    <a:pt x="1" y="8"/>
                  </a:lnTo>
                  <a:lnTo>
                    <a:pt x="0" y="13"/>
                  </a:lnTo>
                  <a:lnTo>
                    <a:pt x="0" y="94"/>
                  </a:lnTo>
                  <a:lnTo>
                    <a:pt x="1" y="98"/>
                  </a:lnTo>
                  <a:lnTo>
                    <a:pt x="4" y="102"/>
                  </a:lnTo>
                  <a:lnTo>
                    <a:pt x="96" y="199"/>
                  </a:lnTo>
                  <a:lnTo>
                    <a:pt x="101" y="202"/>
                  </a:lnTo>
                  <a:lnTo>
                    <a:pt x="106" y="203"/>
                  </a:lnTo>
                  <a:lnTo>
                    <a:pt x="110" y="202"/>
                  </a:lnTo>
                  <a:lnTo>
                    <a:pt x="114" y="199"/>
                  </a:lnTo>
                  <a:lnTo>
                    <a:pt x="118" y="195"/>
                  </a:lnTo>
                  <a:lnTo>
                    <a:pt x="119" y="190"/>
                  </a:lnTo>
                  <a:lnTo>
                    <a:pt x="118" y="186"/>
                  </a:lnTo>
                  <a:lnTo>
                    <a:pt x="114" y="182"/>
                  </a:lnTo>
                  <a:lnTo>
                    <a:pt x="25" y="88"/>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2" name="Freeform 143">
              <a:extLst>
                <a:ext uri="{FF2B5EF4-FFF2-40B4-BE49-F238E27FC236}">
                  <a16:creationId xmlns:a16="http://schemas.microsoft.com/office/drawing/2014/main" id="{9B48C6FB-6871-40DB-9670-ECC5CC67326E}"/>
                </a:ext>
              </a:extLst>
            </p:cNvPr>
            <p:cNvSpPr>
              <a:spLocks noEditPoints="1"/>
            </p:cNvSpPr>
            <p:nvPr/>
          </p:nvSpPr>
          <p:spPr bwMode="auto">
            <a:xfrm>
              <a:off x="3973513" y="4452938"/>
              <a:ext cx="303213" cy="303213"/>
            </a:xfrm>
            <a:custGeom>
              <a:avLst/>
              <a:gdLst>
                <a:gd name="T0" fmla="*/ 733 w 765"/>
                <a:gd name="T1" fmla="*/ 141 h 764"/>
                <a:gd name="T2" fmla="*/ 566 w 765"/>
                <a:gd name="T3" fmla="*/ 254 h 764"/>
                <a:gd name="T4" fmla="*/ 510 w 765"/>
                <a:gd name="T5" fmla="*/ 199 h 764"/>
                <a:gd name="T6" fmla="*/ 670 w 765"/>
                <a:gd name="T7" fmla="*/ 203 h 764"/>
                <a:gd name="T8" fmla="*/ 347 w 765"/>
                <a:gd name="T9" fmla="*/ 610 h 764"/>
                <a:gd name="T10" fmla="*/ 286 w 765"/>
                <a:gd name="T11" fmla="*/ 594 h 764"/>
                <a:gd name="T12" fmla="*/ 217 w 765"/>
                <a:gd name="T13" fmla="*/ 548 h 764"/>
                <a:gd name="T14" fmla="*/ 170 w 765"/>
                <a:gd name="T15" fmla="*/ 479 h 764"/>
                <a:gd name="T16" fmla="*/ 154 w 765"/>
                <a:gd name="T17" fmla="*/ 417 h 764"/>
                <a:gd name="T18" fmla="*/ 154 w 765"/>
                <a:gd name="T19" fmla="*/ 373 h 764"/>
                <a:gd name="T20" fmla="*/ 170 w 765"/>
                <a:gd name="T21" fmla="*/ 311 h 764"/>
                <a:gd name="T22" fmla="*/ 217 w 765"/>
                <a:gd name="T23" fmla="*/ 242 h 764"/>
                <a:gd name="T24" fmla="*/ 286 w 765"/>
                <a:gd name="T25" fmla="*/ 196 h 764"/>
                <a:gd name="T26" fmla="*/ 347 w 765"/>
                <a:gd name="T27" fmla="*/ 180 h 764"/>
                <a:gd name="T28" fmla="*/ 392 w 765"/>
                <a:gd name="T29" fmla="*/ 180 h 764"/>
                <a:gd name="T30" fmla="*/ 453 w 765"/>
                <a:gd name="T31" fmla="*/ 196 h 764"/>
                <a:gd name="T32" fmla="*/ 523 w 765"/>
                <a:gd name="T33" fmla="*/ 242 h 764"/>
                <a:gd name="T34" fmla="*/ 569 w 765"/>
                <a:gd name="T35" fmla="*/ 311 h 764"/>
                <a:gd name="T36" fmla="*/ 585 w 765"/>
                <a:gd name="T37" fmla="*/ 373 h 764"/>
                <a:gd name="T38" fmla="*/ 585 w 765"/>
                <a:gd name="T39" fmla="*/ 417 h 764"/>
                <a:gd name="T40" fmla="*/ 569 w 765"/>
                <a:gd name="T41" fmla="*/ 479 h 764"/>
                <a:gd name="T42" fmla="*/ 523 w 765"/>
                <a:gd name="T43" fmla="*/ 548 h 764"/>
                <a:gd name="T44" fmla="*/ 453 w 765"/>
                <a:gd name="T45" fmla="*/ 594 h 764"/>
                <a:gd name="T46" fmla="*/ 392 w 765"/>
                <a:gd name="T47" fmla="*/ 610 h 764"/>
                <a:gd name="T48" fmla="*/ 26 w 765"/>
                <a:gd name="T49" fmla="*/ 738 h 764"/>
                <a:gd name="T50" fmla="*/ 173 w 765"/>
                <a:gd name="T51" fmla="*/ 536 h 764"/>
                <a:gd name="T52" fmla="*/ 229 w 765"/>
                <a:gd name="T53" fmla="*/ 591 h 764"/>
                <a:gd name="T54" fmla="*/ 624 w 765"/>
                <a:gd name="T55" fmla="*/ 31 h 764"/>
                <a:gd name="T56" fmla="*/ 624 w 765"/>
                <a:gd name="T57" fmla="*/ 31 h 764"/>
                <a:gd name="T58" fmla="*/ 634 w 765"/>
                <a:gd name="T59" fmla="*/ 3 h 764"/>
                <a:gd name="T60" fmla="*/ 624 w 765"/>
                <a:gd name="T61" fmla="*/ 0 h 764"/>
                <a:gd name="T62" fmla="*/ 451 w 765"/>
                <a:gd name="T63" fmla="*/ 168 h 764"/>
                <a:gd name="T64" fmla="*/ 369 w 765"/>
                <a:gd name="T65" fmla="*/ 153 h 764"/>
                <a:gd name="T66" fmla="*/ 321 w 765"/>
                <a:gd name="T67" fmla="*/ 158 h 764"/>
                <a:gd name="T68" fmla="*/ 275 w 765"/>
                <a:gd name="T69" fmla="*/ 172 h 764"/>
                <a:gd name="T70" fmla="*/ 234 w 765"/>
                <a:gd name="T71" fmla="*/ 195 h 764"/>
                <a:gd name="T72" fmla="*/ 199 w 765"/>
                <a:gd name="T73" fmla="*/ 224 h 764"/>
                <a:gd name="T74" fmla="*/ 169 w 765"/>
                <a:gd name="T75" fmla="*/ 260 h 764"/>
                <a:gd name="T76" fmla="*/ 146 w 765"/>
                <a:gd name="T77" fmla="*/ 301 h 764"/>
                <a:gd name="T78" fmla="*/ 132 w 765"/>
                <a:gd name="T79" fmla="*/ 346 h 764"/>
                <a:gd name="T80" fmla="*/ 128 w 765"/>
                <a:gd name="T81" fmla="*/ 394 h 764"/>
                <a:gd name="T82" fmla="*/ 142 w 765"/>
                <a:gd name="T83" fmla="*/ 477 h 764"/>
                <a:gd name="T84" fmla="*/ 0 w 765"/>
                <a:gd name="T85" fmla="*/ 751 h 764"/>
                <a:gd name="T86" fmla="*/ 13 w 765"/>
                <a:gd name="T87" fmla="*/ 764 h 764"/>
                <a:gd name="T88" fmla="*/ 288 w 765"/>
                <a:gd name="T89" fmla="*/ 623 h 764"/>
                <a:gd name="T90" fmla="*/ 369 w 765"/>
                <a:gd name="T91" fmla="*/ 637 h 764"/>
                <a:gd name="T92" fmla="*/ 418 w 765"/>
                <a:gd name="T93" fmla="*/ 632 h 764"/>
                <a:gd name="T94" fmla="*/ 464 w 765"/>
                <a:gd name="T95" fmla="*/ 618 h 764"/>
                <a:gd name="T96" fmla="*/ 505 w 765"/>
                <a:gd name="T97" fmla="*/ 595 h 764"/>
                <a:gd name="T98" fmla="*/ 540 w 765"/>
                <a:gd name="T99" fmla="*/ 566 h 764"/>
                <a:gd name="T100" fmla="*/ 570 w 765"/>
                <a:gd name="T101" fmla="*/ 530 h 764"/>
                <a:gd name="T102" fmla="*/ 593 w 765"/>
                <a:gd name="T103" fmla="*/ 489 h 764"/>
                <a:gd name="T104" fmla="*/ 607 w 765"/>
                <a:gd name="T105" fmla="*/ 444 h 764"/>
                <a:gd name="T106" fmla="*/ 611 w 765"/>
                <a:gd name="T107" fmla="*/ 394 h 764"/>
                <a:gd name="T108" fmla="*/ 597 w 765"/>
                <a:gd name="T109" fmla="*/ 313 h 764"/>
                <a:gd name="T110" fmla="*/ 760 w 765"/>
                <a:gd name="T111" fmla="*/ 151 h 764"/>
                <a:gd name="T112" fmla="*/ 765 w 765"/>
                <a:gd name="T113" fmla="*/ 1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764">
                  <a:moveTo>
                    <a:pt x="688" y="186"/>
                  </a:moveTo>
                  <a:lnTo>
                    <a:pt x="642" y="140"/>
                  </a:lnTo>
                  <a:lnTo>
                    <a:pt x="687" y="96"/>
                  </a:lnTo>
                  <a:lnTo>
                    <a:pt x="733" y="141"/>
                  </a:lnTo>
                  <a:lnTo>
                    <a:pt x="688" y="186"/>
                  </a:lnTo>
                  <a:close/>
                  <a:moveTo>
                    <a:pt x="586" y="288"/>
                  </a:moveTo>
                  <a:lnTo>
                    <a:pt x="577" y="271"/>
                  </a:lnTo>
                  <a:lnTo>
                    <a:pt x="566" y="254"/>
                  </a:lnTo>
                  <a:lnTo>
                    <a:pt x="554" y="239"/>
                  </a:lnTo>
                  <a:lnTo>
                    <a:pt x="540" y="225"/>
                  </a:lnTo>
                  <a:lnTo>
                    <a:pt x="526" y="211"/>
                  </a:lnTo>
                  <a:lnTo>
                    <a:pt x="510" y="199"/>
                  </a:lnTo>
                  <a:lnTo>
                    <a:pt x="494" y="188"/>
                  </a:lnTo>
                  <a:lnTo>
                    <a:pt x="477" y="178"/>
                  </a:lnTo>
                  <a:lnTo>
                    <a:pt x="561" y="96"/>
                  </a:lnTo>
                  <a:lnTo>
                    <a:pt x="670" y="203"/>
                  </a:lnTo>
                  <a:lnTo>
                    <a:pt x="586" y="288"/>
                  </a:lnTo>
                  <a:close/>
                  <a:moveTo>
                    <a:pt x="369" y="611"/>
                  </a:moveTo>
                  <a:lnTo>
                    <a:pt x="359" y="611"/>
                  </a:lnTo>
                  <a:lnTo>
                    <a:pt x="347" y="610"/>
                  </a:lnTo>
                  <a:lnTo>
                    <a:pt x="336" y="609"/>
                  </a:lnTo>
                  <a:lnTo>
                    <a:pt x="325" y="607"/>
                  </a:lnTo>
                  <a:lnTo>
                    <a:pt x="305" y="602"/>
                  </a:lnTo>
                  <a:lnTo>
                    <a:pt x="286" y="594"/>
                  </a:lnTo>
                  <a:lnTo>
                    <a:pt x="266" y="585"/>
                  </a:lnTo>
                  <a:lnTo>
                    <a:pt x="248" y="574"/>
                  </a:lnTo>
                  <a:lnTo>
                    <a:pt x="232" y="562"/>
                  </a:lnTo>
                  <a:lnTo>
                    <a:pt x="217" y="548"/>
                  </a:lnTo>
                  <a:lnTo>
                    <a:pt x="203" y="533"/>
                  </a:lnTo>
                  <a:lnTo>
                    <a:pt x="190" y="516"/>
                  </a:lnTo>
                  <a:lnTo>
                    <a:pt x="179" y="497"/>
                  </a:lnTo>
                  <a:lnTo>
                    <a:pt x="170" y="479"/>
                  </a:lnTo>
                  <a:lnTo>
                    <a:pt x="163" y="459"/>
                  </a:lnTo>
                  <a:lnTo>
                    <a:pt x="158" y="438"/>
                  </a:lnTo>
                  <a:lnTo>
                    <a:pt x="156" y="428"/>
                  </a:lnTo>
                  <a:lnTo>
                    <a:pt x="154" y="417"/>
                  </a:lnTo>
                  <a:lnTo>
                    <a:pt x="154" y="406"/>
                  </a:lnTo>
                  <a:lnTo>
                    <a:pt x="153" y="394"/>
                  </a:lnTo>
                  <a:lnTo>
                    <a:pt x="154" y="384"/>
                  </a:lnTo>
                  <a:lnTo>
                    <a:pt x="154" y="373"/>
                  </a:lnTo>
                  <a:lnTo>
                    <a:pt x="156" y="362"/>
                  </a:lnTo>
                  <a:lnTo>
                    <a:pt x="158" y="351"/>
                  </a:lnTo>
                  <a:lnTo>
                    <a:pt x="163" y="331"/>
                  </a:lnTo>
                  <a:lnTo>
                    <a:pt x="170" y="311"/>
                  </a:lnTo>
                  <a:lnTo>
                    <a:pt x="179" y="292"/>
                  </a:lnTo>
                  <a:lnTo>
                    <a:pt x="190" y="274"/>
                  </a:lnTo>
                  <a:lnTo>
                    <a:pt x="203" y="257"/>
                  </a:lnTo>
                  <a:lnTo>
                    <a:pt x="217" y="242"/>
                  </a:lnTo>
                  <a:lnTo>
                    <a:pt x="232" y="228"/>
                  </a:lnTo>
                  <a:lnTo>
                    <a:pt x="248" y="215"/>
                  </a:lnTo>
                  <a:lnTo>
                    <a:pt x="266" y="204"/>
                  </a:lnTo>
                  <a:lnTo>
                    <a:pt x="286" y="196"/>
                  </a:lnTo>
                  <a:lnTo>
                    <a:pt x="305" y="188"/>
                  </a:lnTo>
                  <a:lnTo>
                    <a:pt x="325" y="183"/>
                  </a:lnTo>
                  <a:lnTo>
                    <a:pt x="336" y="181"/>
                  </a:lnTo>
                  <a:lnTo>
                    <a:pt x="347" y="180"/>
                  </a:lnTo>
                  <a:lnTo>
                    <a:pt x="359" y="178"/>
                  </a:lnTo>
                  <a:lnTo>
                    <a:pt x="369" y="178"/>
                  </a:lnTo>
                  <a:lnTo>
                    <a:pt x="380" y="178"/>
                  </a:lnTo>
                  <a:lnTo>
                    <a:pt x="392" y="180"/>
                  </a:lnTo>
                  <a:lnTo>
                    <a:pt x="403" y="181"/>
                  </a:lnTo>
                  <a:lnTo>
                    <a:pt x="413" y="183"/>
                  </a:lnTo>
                  <a:lnTo>
                    <a:pt x="434" y="188"/>
                  </a:lnTo>
                  <a:lnTo>
                    <a:pt x="453" y="196"/>
                  </a:lnTo>
                  <a:lnTo>
                    <a:pt x="473" y="204"/>
                  </a:lnTo>
                  <a:lnTo>
                    <a:pt x="491" y="215"/>
                  </a:lnTo>
                  <a:lnTo>
                    <a:pt x="507" y="228"/>
                  </a:lnTo>
                  <a:lnTo>
                    <a:pt x="523" y="242"/>
                  </a:lnTo>
                  <a:lnTo>
                    <a:pt x="537" y="257"/>
                  </a:lnTo>
                  <a:lnTo>
                    <a:pt x="549" y="274"/>
                  </a:lnTo>
                  <a:lnTo>
                    <a:pt x="560" y="292"/>
                  </a:lnTo>
                  <a:lnTo>
                    <a:pt x="569" y="311"/>
                  </a:lnTo>
                  <a:lnTo>
                    <a:pt x="577" y="331"/>
                  </a:lnTo>
                  <a:lnTo>
                    <a:pt x="582" y="351"/>
                  </a:lnTo>
                  <a:lnTo>
                    <a:pt x="583" y="362"/>
                  </a:lnTo>
                  <a:lnTo>
                    <a:pt x="585" y="373"/>
                  </a:lnTo>
                  <a:lnTo>
                    <a:pt x="585" y="384"/>
                  </a:lnTo>
                  <a:lnTo>
                    <a:pt x="586" y="394"/>
                  </a:lnTo>
                  <a:lnTo>
                    <a:pt x="585" y="406"/>
                  </a:lnTo>
                  <a:lnTo>
                    <a:pt x="585" y="417"/>
                  </a:lnTo>
                  <a:lnTo>
                    <a:pt x="583" y="428"/>
                  </a:lnTo>
                  <a:lnTo>
                    <a:pt x="582" y="438"/>
                  </a:lnTo>
                  <a:lnTo>
                    <a:pt x="577" y="459"/>
                  </a:lnTo>
                  <a:lnTo>
                    <a:pt x="569" y="479"/>
                  </a:lnTo>
                  <a:lnTo>
                    <a:pt x="560" y="497"/>
                  </a:lnTo>
                  <a:lnTo>
                    <a:pt x="549" y="516"/>
                  </a:lnTo>
                  <a:lnTo>
                    <a:pt x="537" y="533"/>
                  </a:lnTo>
                  <a:lnTo>
                    <a:pt x="523" y="548"/>
                  </a:lnTo>
                  <a:lnTo>
                    <a:pt x="507" y="562"/>
                  </a:lnTo>
                  <a:lnTo>
                    <a:pt x="491" y="574"/>
                  </a:lnTo>
                  <a:lnTo>
                    <a:pt x="473" y="585"/>
                  </a:lnTo>
                  <a:lnTo>
                    <a:pt x="453" y="594"/>
                  </a:lnTo>
                  <a:lnTo>
                    <a:pt x="434" y="602"/>
                  </a:lnTo>
                  <a:lnTo>
                    <a:pt x="413" y="607"/>
                  </a:lnTo>
                  <a:lnTo>
                    <a:pt x="403" y="609"/>
                  </a:lnTo>
                  <a:lnTo>
                    <a:pt x="392" y="610"/>
                  </a:lnTo>
                  <a:lnTo>
                    <a:pt x="380" y="611"/>
                  </a:lnTo>
                  <a:lnTo>
                    <a:pt x="369" y="611"/>
                  </a:lnTo>
                  <a:close/>
                  <a:moveTo>
                    <a:pt x="136" y="738"/>
                  </a:moveTo>
                  <a:lnTo>
                    <a:pt x="26" y="738"/>
                  </a:lnTo>
                  <a:lnTo>
                    <a:pt x="26" y="628"/>
                  </a:lnTo>
                  <a:lnTo>
                    <a:pt x="153" y="503"/>
                  </a:lnTo>
                  <a:lnTo>
                    <a:pt x="162" y="520"/>
                  </a:lnTo>
                  <a:lnTo>
                    <a:pt x="173" y="536"/>
                  </a:lnTo>
                  <a:lnTo>
                    <a:pt x="186" y="552"/>
                  </a:lnTo>
                  <a:lnTo>
                    <a:pt x="199" y="566"/>
                  </a:lnTo>
                  <a:lnTo>
                    <a:pt x="213" y="579"/>
                  </a:lnTo>
                  <a:lnTo>
                    <a:pt x="229" y="591"/>
                  </a:lnTo>
                  <a:lnTo>
                    <a:pt x="245" y="602"/>
                  </a:lnTo>
                  <a:lnTo>
                    <a:pt x="262" y="611"/>
                  </a:lnTo>
                  <a:lnTo>
                    <a:pt x="136" y="738"/>
                  </a:lnTo>
                  <a:close/>
                  <a:moveTo>
                    <a:pt x="624" y="31"/>
                  </a:moveTo>
                  <a:lnTo>
                    <a:pt x="670" y="78"/>
                  </a:lnTo>
                  <a:lnTo>
                    <a:pt x="624" y="122"/>
                  </a:lnTo>
                  <a:lnTo>
                    <a:pt x="579" y="76"/>
                  </a:lnTo>
                  <a:lnTo>
                    <a:pt x="624" y="31"/>
                  </a:lnTo>
                  <a:close/>
                  <a:moveTo>
                    <a:pt x="765" y="141"/>
                  </a:moveTo>
                  <a:lnTo>
                    <a:pt x="764" y="137"/>
                  </a:lnTo>
                  <a:lnTo>
                    <a:pt x="760" y="132"/>
                  </a:lnTo>
                  <a:lnTo>
                    <a:pt x="634" y="3"/>
                  </a:lnTo>
                  <a:lnTo>
                    <a:pt x="629" y="1"/>
                  </a:lnTo>
                  <a:lnTo>
                    <a:pt x="624" y="0"/>
                  </a:lnTo>
                  <a:lnTo>
                    <a:pt x="624" y="0"/>
                  </a:lnTo>
                  <a:lnTo>
                    <a:pt x="624" y="0"/>
                  </a:lnTo>
                  <a:lnTo>
                    <a:pt x="620" y="1"/>
                  </a:lnTo>
                  <a:lnTo>
                    <a:pt x="615" y="3"/>
                  </a:lnTo>
                  <a:lnTo>
                    <a:pt x="552" y="67"/>
                  </a:lnTo>
                  <a:lnTo>
                    <a:pt x="451" y="168"/>
                  </a:lnTo>
                  <a:lnTo>
                    <a:pt x="432" y="161"/>
                  </a:lnTo>
                  <a:lnTo>
                    <a:pt x="411" y="157"/>
                  </a:lnTo>
                  <a:lnTo>
                    <a:pt x="391" y="154"/>
                  </a:lnTo>
                  <a:lnTo>
                    <a:pt x="369" y="153"/>
                  </a:lnTo>
                  <a:lnTo>
                    <a:pt x="357" y="153"/>
                  </a:lnTo>
                  <a:lnTo>
                    <a:pt x="345" y="154"/>
                  </a:lnTo>
                  <a:lnTo>
                    <a:pt x="333" y="156"/>
                  </a:lnTo>
                  <a:lnTo>
                    <a:pt x="321" y="158"/>
                  </a:lnTo>
                  <a:lnTo>
                    <a:pt x="309" y="160"/>
                  </a:lnTo>
                  <a:lnTo>
                    <a:pt x="298" y="163"/>
                  </a:lnTo>
                  <a:lnTo>
                    <a:pt x="287" y="168"/>
                  </a:lnTo>
                  <a:lnTo>
                    <a:pt x="275" y="172"/>
                  </a:lnTo>
                  <a:lnTo>
                    <a:pt x="264" y="176"/>
                  </a:lnTo>
                  <a:lnTo>
                    <a:pt x="255" y="182"/>
                  </a:lnTo>
                  <a:lnTo>
                    <a:pt x="244" y="188"/>
                  </a:lnTo>
                  <a:lnTo>
                    <a:pt x="234" y="195"/>
                  </a:lnTo>
                  <a:lnTo>
                    <a:pt x="225" y="201"/>
                  </a:lnTo>
                  <a:lnTo>
                    <a:pt x="216" y="209"/>
                  </a:lnTo>
                  <a:lnTo>
                    <a:pt x="207" y="216"/>
                  </a:lnTo>
                  <a:lnTo>
                    <a:pt x="199" y="224"/>
                  </a:lnTo>
                  <a:lnTo>
                    <a:pt x="190" y="232"/>
                  </a:lnTo>
                  <a:lnTo>
                    <a:pt x="183" y="241"/>
                  </a:lnTo>
                  <a:lnTo>
                    <a:pt x="176" y="250"/>
                  </a:lnTo>
                  <a:lnTo>
                    <a:pt x="169" y="260"/>
                  </a:lnTo>
                  <a:lnTo>
                    <a:pt x="162" y="270"/>
                  </a:lnTo>
                  <a:lnTo>
                    <a:pt x="157" y="279"/>
                  </a:lnTo>
                  <a:lnTo>
                    <a:pt x="152" y="290"/>
                  </a:lnTo>
                  <a:lnTo>
                    <a:pt x="146" y="301"/>
                  </a:lnTo>
                  <a:lnTo>
                    <a:pt x="142" y="312"/>
                  </a:lnTo>
                  <a:lnTo>
                    <a:pt x="139" y="323"/>
                  </a:lnTo>
                  <a:lnTo>
                    <a:pt x="135" y="334"/>
                  </a:lnTo>
                  <a:lnTo>
                    <a:pt x="132" y="346"/>
                  </a:lnTo>
                  <a:lnTo>
                    <a:pt x="130" y="358"/>
                  </a:lnTo>
                  <a:lnTo>
                    <a:pt x="129" y="370"/>
                  </a:lnTo>
                  <a:lnTo>
                    <a:pt x="128" y="383"/>
                  </a:lnTo>
                  <a:lnTo>
                    <a:pt x="128" y="394"/>
                  </a:lnTo>
                  <a:lnTo>
                    <a:pt x="129" y="416"/>
                  </a:lnTo>
                  <a:lnTo>
                    <a:pt x="131" y="437"/>
                  </a:lnTo>
                  <a:lnTo>
                    <a:pt x="136" y="458"/>
                  </a:lnTo>
                  <a:lnTo>
                    <a:pt x="142" y="477"/>
                  </a:lnTo>
                  <a:lnTo>
                    <a:pt x="4" y="613"/>
                  </a:lnTo>
                  <a:lnTo>
                    <a:pt x="1" y="619"/>
                  </a:lnTo>
                  <a:lnTo>
                    <a:pt x="0" y="624"/>
                  </a:lnTo>
                  <a:lnTo>
                    <a:pt x="0" y="751"/>
                  </a:lnTo>
                  <a:lnTo>
                    <a:pt x="1" y="756"/>
                  </a:lnTo>
                  <a:lnTo>
                    <a:pt x="4" y="760"/>
                  </a:lnTo>
                  <a:lnTo>
                    <a:pt x="8" y="763"/>
                  </a:lnTo>
                  <a:lnTo>
                    <a:pt x="13" y="764"/>
                  </a:lnTo>
                  <a:lnTo>
                    <a:pt x="142" y="764"/>
                  </a:lnTo>
                  <a:lnTo>
                    <a:pt x="146" y="763"/>
                  </a:lnTo>
                  <a:lnTo>
                    <a:pt x="150" y="760"/>
                  </a:lnTo>
                  <a:lnTo>
                    <a:pt x="288" y="623"/>
                  </a:lnTo>
                  <a:lnTo>
                    <a:pt x="307" y="628"/>
                  </a:lnTo>
                  <a:lnTo>
                    <a:pt x="328" y="633"/>
                  </a:lnTo>
                  <a:lnTo>
                    <a:pt x="348" y="636"/>
                  </a:lnTo>
                  <a:lnTo>
                    <a:pt x="369" y="637"/>
                  </a:lnTo>
                  <a:lnTo>
                    <a:pt x="382" y="636"/>
                  </a:lnTo>
                  <a:lnTo>
                    <a:pt x="394" y="635"/>
                  </a:lnTo>
                  <a:lnTo>
                    <a:pt x="406" y="634"/>
                  </a:lnTo>
                  <a:lnTo>
                    <a:pt x="418" y="632"/>
                  </a:lnTo>
                  <a:lnTo>
                    <a:pt x="430" y="628"/>
                  </a:lnTo>
                  <a:lnTo>
                    <a:pt x="441" y="625"/>
                  </a:lnTo>
                  <a:lnTo>
                    <a:pt x="452" y="622"/>
                  </a:lnTo>
                  <a:lnTo>
                    <a:pt x="464" y="618"/>
                  </a:lnTo>
                  <a:lnTo>
                    <a:pt x="475" y="612"/>
                  </a:lnTo>
                  <a:lnTo>
                    <a:pt x="484" y="607"/>
                  </a:lnTo>
                  <a:lnTo>
                    <a:pt x="495" y="602"/>
                  </a:lnTo>
                  <a:lnTo>
                    <a:pt x="505" y="595"/>
                  </a:lnTo>
                  <a:lnTo>
                    <a:pt x="514" y="589"/>
                  </a:lnTo>
                  <a:lnTo>
                    <a:pt x="523" y="581"/>
                  </a:lnTo>
                  <a:lnTo>
                    <a:pt x="532" y="574"/>
                  </a:lnTo>
                  <a:lnTo>
                    <a:pt x="540" y="566"/>
                  </a:lnTo>
                  <a:lnTo>
                    <a:pt x="549" y="558"/>
                  </a:lnTo>
                  <a:lnTo>
                    <a:pt x="556" y="549"/>
                  </a:lnTo>
                  <a:lnTo>
                    <a:pt x="564" y="539"/>
                  </a:lnTo>
                  <a:lnTo>
                    <a:pt x="570" y="530"/>
                  </a:lnTo>
                  <a:lnTo>
                    <a:pt x="577" y="520"/>
                  </a:lnTo>
                  <a:lnTo>
                    <a:pt x="582" y="510"/>
                  </a:lnTo>
                  <a:lnTo>
                    <a:pt x="587" y="500"/>
                  </a:lnTo>
                  <a:lnTo>
                    <a:pt x="593" y="489"/>
                  </a:lnTo>
                  <a:lnTo>
                    <a:pt x="597" y="478"/>
                  </a:lnTo>
                  <a:lnTo>
                    <a:pt x="600" y="466"/>
                  </a:lnTo>
                  <a:lnTo>
                    <a:pt x="604" y="456"/>
                  </a:lnTo>
                  <a:lnTo>
                    <a:pt x="607" y="444"/>
                  </a:lnTo>
                  <a:lnTo>
                    <a:pt x="609" y="432"/>
                  </a:lnTo>
                  <a:lnTo>
                    <a:pt x="610" y="419"/>
                  </a:lnTo>
                  <a:lnTo>
                    <a:pt x="611" y="407"/>
                  </a:lnTo>
                  <a:lnTo>
                    <a:pt x="611" y="394"/>
                  </a:lnTo>
                  <a:lnTo>
                    <a:pt x="610" y="374"/>
                  </a:lnTo>
                  <a:lnTo>
                    <a:pt x="608" y="352"/>
                  </a:lnTo>
                  <a:lnTo>
                    <a:pt x="604" y="333"/>
                  </a:lnTo>
                  <a:lnTo>
                    <a:pt x="597" y="313"/>
                  </a:lnTo>
                  <a:lnTo>
                    <a:pt x="697" y="213"/>
                  </a:lnTo>
                  <a:lnTo>
                    <a:pt x="697" y="213"/>
                  </a:lnTo>
                  <a:lnTo>
                    <a:pt x="697" y="213"/>
                  </a:lnTo>
                  <a:lnTo>
                    <a:pt x="760" y="151"/>
                  </a:lnTo>
                  <a:lnTo>
                    <a:pt x="762" y="148"/>
                  </a:lnTo>
                  <a:lnTo>
                    <a:pt x="764" y="146"/>
                  </a:lnTo>
                  <a:lnTo>
                    <a:pt x="764" y="144"/>
                  </a:lnTo>
                  <a:lnTo>
                    <a:pt x="765" y="14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23" name="Freeform 144">
              <a:extLst>
                <a:ext uri="{FF2B5EF4-FFF2-40B4-BE49-F238E27FC236}">
                  <a16:creationId xmlns:a16="http://schemas.microsoft.com/office/drawing/2014/main" id="{B8CAC928-44AE-4770-9B0C-2C2A07BEC735}"/>
                </a:ext>
              </a:extLst>
            </p:cNvPr>
            <p:cNvSpPr>
              <a:spLocks/>
            </p:cNvSpPr>
            <p:nvPr/>
          </p:nvSpPr>
          <p:spPr bwMode="auto">
            <a:xfrm>
              <a:off x="4010026" y="4706938"/>
              <a:ext cx="12700" cy="12700"/>
            </a:xfrm>
            <a:custGeom>
              <a:avLst/>
              <a:gdLst>
                <a:gd name="T0" fmla="*/ 16 w 32"/>
                <a:gd name="T1" fmla="*/ 0 h 32"/>
                <a:gd name="T2" fmla="*/ 12 w 32"/>
                <a:gd name="T3" fmla="*/ 0 h 32"/>
                <a:gd name="T4" fmla="*/ 9 w 32"/>
                <a:gd name="T5" fmla="*/ 1 h 32"/>
                <a:gd name="T6" fmla="*/ 6 w 32"/>
                <a:gd name="T7" fmla="*/ 3 h 32"/>
                <a:gd name="T8" fmla="*/ 4 w 32"/>
                <a:gd name="T9" fmla="*/ 5 h 32"/>
                <a:gd name="T10" fmla="*/ 2 w 32"/>
                <a:gd name="T11" fmla="*/ 8 h 32"/>
                <a:gd name="T12" fmla="*/ 1 w 32"/>
                <a:gd name="T13" fmla="*/ 10 h 32"/>
                <a:gd name="T14" fmla="*/ 0 w 32"/>
                <a:gd name="T15" fmla="*/ 13 h 32"/>
                <a:gd name="T16" fmla="*/ 0 w 32"/>
                <a:gd name="T17" fmla="*/ 16 h 32"/>
                <a:gd name="T18" fmla="*/ 0 w 32"/>
                <a:gd name="T19" fmla="*/ 19 h 32"/>
                <a:gd name="T20" fmla="*/ 1 w 32"/>
                <a:gd name="T21" fmla="*/ 23 h 32"/>
                <a:gd name="T22" fmla="*/ 2 w 32"/>
                <a:gd name="T23" fmla="*/ 26 h 32"/>
                <a:gd name="T24" fmla="*/ 4 w 32"/>
                <a:gd name="T25" fmla="*/ 28 h 32"/>
                <a:gd name="T26" fmla="*/ 6 w 32"/>
                <a:gd name="T27" fmla="*/ 29 h 32"/>
                <a:gd name="T28" fmla="*/ 9 w 32"/>
                <a:gd name="T29" fmla="*/ 31 h 32"/>
                <a:gd name="T30" fmla="*/ 12 w 32"/>
                <a:gd name="T31" fmla="*/ 31 h 32"/>
                <a:gd name="T32" fmla="*/ 16 w 32"/>
                <a:gd name="T33" fmla="*/ 32 h 32"/>
                <a:gd name="T34" fmla="*/ 19 w 32"/>
                <a:gd name="T35" fmla="*/ 31 h 32"/>
                <a:gd name="T36" fmla="*/ 22 w 32"/>
                <a:gd name="T37" fmla="*/ 31 h 32"/>
                <a:gd name="T38" fmla="*/ 24 w 32"/>
                <a:gd name="T39" fmla="*/ 29 h 32"/>
                <a:gd name="T40" fmla="*/ 26 w 32"/>
                <a:gd name="T41" fmla="*/ 28 h 32"/>
                <a:gd name="T42" fmla="*/ 29 w 32"/>
                <a:gd name="T43" fmla="*/ 26 h 32"/>
                <a:gd name="T44" fmla="*/ 30 w 32"/>
                <a:gd name="T45" fmla="*/ 23 h 32"/>
                <a:gd name="T46" fmla="*/ 31 w 32"/>
                <a:gd name="T47" fmla="*/ 19 h 32"/>
                <a:gd name="T48" fmla="*/ 32 w 32"/>
                <a:gd name="T49" fmla="*/ 16 h 32"/>
                <a:gd name="T50" fmla="*/ 31 w 32"/>
                <a:gd name="T51" fmla="*/ 13 h 32"/>
                <a:gd name="T52" fmla="*/ 30 w 32"/>
                <a:gd name="T53" fmla="*/ 10 h 32"/>
                <a:gd name="T54" fmla="*/ 29 w 32"/>
                <a:gd name="T55" fmla="*/ 8 h 32"/>
                <a:gd name="T56" fmla="*/ 26 w 32"/>
                <a:gd name="T57" fmla="*/ 5 h 32"/>
                <a:gd name="T58" fmla="*/ 24 w 32"/>
                <a:gd name="T59" fmla="*/ 3 h 32"/>
                <a:gd name="T60" fmla="*/ 22 w 32"/>
                <a:gd name="T61" fmla="*/ 1 h 32"/>
                <a:gd name="T62" fmla="*/ 19 w 32"/>
                <a:gd name="T63" fmla="*/ 0 h 32"/>
                <a:gd name="T64" fmla="*/ 16 w 32"/>
                <a:gd name="T6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2">
                  <a:moveTo>
                    <a:pt x="16" y="0"/>
                  </a:moveTo>
                  <a:lnTo>
                    <a:pt x="12" y="0"/>
                  </a:lnTo>
                  <a:lnTo>
                    <a:pt x="9" y="1"/>
                  </a:lnTo>
                  <a:lnTo>
                    <a:pt x="6" y="3"/>
                  </a:lnTo>
                  <a:lnTo>
                    <a:pt x="4" y="5"/>
                  </a:lnTo>
                  <a:lnTo>
                    <a:pt x="2" y="8"/>
                  </a:lnTo>
                  <a:lnTo>
                    <a:pt x="1" y="10"/>
                  </a:lnTo>
                  <a:lnTo>
                    <a:pt x="0" y="13"/>
                  </a:lnTo>
                  <a:lnTo>
                    <a:pt x="0" y="16"/>
                  </a:lnTo>
                  <a:lnTo>
                    <a:pt x="0" y="19"/>
                  </a:lnTo>
                  <a:lnTo>
                    <a:pt x="1" y="23"/>
                  </a:lnTo>
                  <a:lnTo>
                    <a:pt x="2" y="26"/>
                  </a:lnTo>
                  <a:lnTo>
                    <a:pt x="4" y="28"/>
                  </a:lnTo>
                  <a:lnTo>
                    <a:pt x="6" y="29"/>
                  </a:lnTo>
                  <a:lnTo>
                    <a:pt x="9" y="31"/>
                  </a:lnTo>
                  <a:lnTo>
                    <a:pt x="12" y="31"/>
                  </a:lnTo>
                  <a:lnTo>
                    <a:pt x="16" y="32"/>
                  </a:lnTo>
                  <a:lnTo>
                    <a:pt x="19" y="31"/>
                  </a:lnTo>
                  <a:lnTo>
                    <a:pt x="22" y="31"/>
                  </a:lnTo>
                  <a:lnTo>
                    <a:pt x="24" y="29"/>
                  </a:lnTo>
                  <a:lnTo>
                    <a:pt x="26" y="28"/>
                  </a:lnTo>
                  <a:lnTo>
                    <a:pt x="29" y="26"/>
                  </a:lnTo>
                  <a:lnTo>
                    <a:pt x="30" y="23"/>
                  </a:lnTo>
                  <a:lnTo>
                    <a:pt x="31" y="19"/>
                  </a:lnTo>
                  <a:lnTo>
                    <a:pt x="32" y="16"/>
                  </a:lnTo>
                  <a:lnTo>
                    <a:pt x="31" y="13"/>
                  </a:lnTo>
                  <a:lnTo>
                    <a:pt x="30" y="10"/>
                  </a:lnTo>
                  <a:lnTo>
                    <a:pt x="29" y="8"/>
                  </a:lnTo>
                  <a:lnTo>
                    <a:pt x="26" y="5"/>
                  </a:lnTo>
                  <a:lnTo>
                    <a:pt x="24" y="3"/>
                  </a:lnTo>
                  <a:lnTo>
                    <a:pt x="22" y="1"/>
                  </a:lnTo>
                  <a:lnTo>
                    <a:pt x="19" y="0"/>
                  </a:lnTo>
                  <a:lnTo>
                    <a:pt x="16"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4" name="Freeform 145">
              <a:extLst>
                <a:ext uri="{FF2B5EF4-FFF2-40B4-BE49-F238E27FC236}">
                  <a16:creationId xmlns:a16="http://schemas.microsoft.com/office/drawing/2014/main" id="{5F334065-1401-44F4-ABB9-2421AE826DCA}"/>
                </a:ext>
              </a:extLst>
            </p:cNvPr>
            <p:cNvSpPr>
              <a:spLocks/>
            </p:cNvSpPr>
            <p:nvPr/>
          </p:nvSpPr>
          <p:spPr bwMode="auto">
            <a:xfrm>
              <a:off x="4029076" y="4686301"/>
              <a:ext cx="14288" cy="14288"/>
            </a:xfrm>
            <a:custGeom>
              <a:avLst/>
              <a:gdLst>
                <a:gd name="T0" fmla="*/ 16 w 32"/>
                <a:gd name="T1" fmla="*/ 0 h 33"/>
                <a:gd name="T2" fmla="*/ 13 w 32"/>
                <a:gd name="T3" fmla="*/ 0 h 33"/>
                <a:gd name="T4" fmla="*/ 10 w 32"/>
                <a:gd name="T5" fmla="*/ 1 h 33"/>
                <a:gd name="T6" fmla="*/ 6 w 32"/>
                <a:gd name="T7" fmla="*/ 3 h 33"/>
                <a:gd name="T8" fmla="*/ 4 w 32"/>
                <a:gd name="T9" fmla="*/ 4 h 33"/>
                <a:gd name="T10" fmla="*/ 2 w 32"/>
                <a:gd name="T11" fmla="*/ 7 h 33"/>
                <a:gd name="T12" fmla="*/ 1 w 32"/>
                <a:gd name="T13" fmla="*/ 9 h 33"/>
                <a:gd name="T14" fmla="*/ 0 w 32"/>
                <a:gd name="T15" fmla="*/ 13 h 33"/>
                <a:gd name="T16" fmla="*/ 0 w 32"/>
                <a:gd name="T17" fmla="*/ 16 h 33"/>
                <a:gd name="T18" fmla="*/ 0 w 32"/>
                <a:gd name="T19" fmla="*/ 19 h 33"/>
                <a:gd name="T20" fmla="*/ 1 w 32"/>
                <a:gd name="T21" fmla="*/ 22 h 33"/>
                <a:gd name="T22" fmla="*/ 2 w 32"/>
                <a:gd name="T23" fmla="*/ 26 h 33"/>
                <a:gd name="T24" fmla="*/ 4 w 32"/>
                <a:gd name="T25" fmla="*/ 28 h 33"/>
                <a:gd name="T26" fmla="*/ 6 w 32"/>
                <a:gd name="T27" fmla="*/ 30 h 33"/>
                <a:gd name="T28" fmla="*/ 10 w 32"/>
                <a:gd name="T29" fmla="*/ 31 h 33"/>
                <a:gd name="T30" fmla="*/ 13 w 32"/>
                <a:gd name="T31" fmla="*/ 32 h 33"/>
                <a:gd name="T32" fmla="*/ 16 w 32"/>
                <a:gd name="T33" fmla="*/ 33 h 33"/>
                <a:gd name="T34" fmla="*/ 19 w 32"/>
                <a:gd name="T35" fmla="*/ 32 h 33"/>
                <a:gd name="T36" fmla="*/ 21 w 32"/>
                <a:gd name="T37" fmla="*/ 31 h 33"/>
                <a:gd name="T38" fmla="*/ 25 w 32"/>
                <a:gd name="T39" fmla="*/ 30 h 33"/>
                <a:gd name="T40" fmla="*/ 27 w 32"/>
                <a:gd name="T41" fmla="*/ 28 h 33"/>
                <a:gd name="T42" fmla="*/ 29 w 32"/>
                <a:gd name="T43" fmla="*/ 26 h 33"/>
                <a:gd name="T44" fmla="*/ 30 w 32"/>
                <a:gd name="T45" fmla="*/ 22 h 33"/>
                <a:gd name="T46" fmla="*/ 31 w 32"/>
                <a:gd name="T47" fmla="*/ 19 h 33"/>
                <a:gd name="T48" fmla="*/ 32 w 32"/>
                <a:gd name="T49" fmla="*/ 16 h 33"/>
                <a:gd name="T50" fmla="*/ 31 w 32"/>
                <a:gd name="T51" fmla="*/ 13 h 33"/>
                <a:gd name="T52" fmla="*/ 30 w 32"/>
                <a:gd name="T53" fmla="*/ 9 h 33"/>
                <a:gd name="T54" fmla="*/ 29 w 32"/>
                <a:gd name="T55" fmla="*/ 7 h 33"/>
                <a:gd name="T56" fmla="*/ 27 w 32"/>
                <a:gd name="T57" fmla="*/ 4 h 33"/>
                <a:gd name="T58" fmla="*/ 25 w 32"/>
                <a:gd name="T59" fmla="*/ 3 h 33"/>
                <a:gd name="T60" fmla="*/ 21 w 32"/>
                <a:gd name="T61" fmla="*/ 1 h 33"/>
                <a:gd name="T62" fmla="*/ 19 w 32"/>
                <a:gd name="T63" fmla="*/ 0 h 33"/>
                <a:gd name="T64" fmla="*/ 16 w 32"/>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3">
                  <a:moveTo>
                    <a:pt x="16" y="0"/>
                  </a:moveTo>
                  <a:lnTo>
                    <a:pt x="13" y="0"/>
                  </a:lnTo>
                  <a:lnTo>
                    <a:pt x="10" y="1"/>
                  </a:lnTo>
                  <a:lnTo>
                    <a:pt x="6" y="3"/>
                  </a:lnTo>
                  <a:lnTo>
                    <a:pt x="4" y="4"/>
                  </a:lnTo>
                  <a:lnTo>
                    <a:pt x="2" y="7"/>
                  </a:lnTo>
                  <a:lnTo>
                    <a:pt x="1" y="9"/>
                  </a:lnTo>
                  <a:lnTo>
                    <a:pt x="0" y="13"/>
                  </a:lnTo>
                  <a:lnTo>
                    <a:pt x="0" y="16"/>
                  </a:lnTo>
                  <a:lnTo>
                    <a:pt x="0" y="19"/>
                  </a:lnTo>
                  <a:lnTo>
                    <a:pt x="1" y="22"/>
                  </a:lnTo>
                  <a:lnTo>
                    <a:pt x="2" y="26"/>
                  </a:lnTo>
                  <a:lnTo>
                    <a:pt x="4" y="28"/>
                  </a:lnTo>
                  <a:lnTo>
                    <a:pt x="6" y="30"/>
                  </a:lnTo>
                  <a:lnTo>
                    <a:pt x="10" y="31"/>
                  </a:lnTo>
                  <a:lnTo>
                    <a:pt x="13" y="32"/>
                  </a:lnTo>
                  <a:lnTo>
                    <a:pt x="16" y="33"/>
                  </a:lnTo>
                  <a:lnTo>
                    <a:pt x="19" y="32"/>
                  </a:lnTo>
                  <a:lnTo>
                    <a:pt x="21" y="31"/>
                  </a:lnTo>
                  <a:lnTo>
                    <a:pt x="25" y="30"/>
                  </a:lnTo>
                  <a:lnTo>
                    <a:pt x="27" y="28"/>
                  </a:lnTo>
                  <a:lnTo>
                    <a:pt x="29" y="26"/>
                  </a:lnTo>
                  <a:lnTo>
                    <a:pt x="30" y="22"/>
                  </a:lnTo>
                  <a:lnTo>
                    <a:pt x="31" y="19"/>
                  </a:lnTo>
                  <a:lnTo>
                    <a:pt x="32" y="16"/>
                  </a:lnTo>
                  <a:lnTo>
                    <a:pt x="31" y="13"/>
                  </a:lnTo>
                  <a:lnTo>
                    <a:pt x="30" y="9"/>
                  </a:lnTo>
                  <a:lnTo>
                    <a:pt x="29" y="7"/>
                  </a:lnTo>
                  <a:lnTo>
                    <a:pt x="27" y="4"/>
                  </a:lnTo>
                  <a:lnTo>
                    <a:pt x="25" y="3"/>
                  </a:lnTo>
                  <a:lnTo>
                    <a:pt x="21" y="1"/>
                  </a:lnTo>
                  <a:lnTo>
                    <a:pt x="19" y="0"/>
                  </a:lnTo>
                  <a:lnTo>
                    <a:pt x="16"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66" name="Group 102">
            <a:extLst>
              <a:ext uri="{FF2B5EF4-FFF2-40B4-BE49-F238E27FC236}">
                <a16:creationId xmlns:a16="http://schemas.microsoft.com/office/drawing/2014/main" id="{7042B60C-CDF4-447C-AF35-59B1C48AA9C2}"/>
              </a:ext>
            </a:extLst>
          </p:cNvPr>
          <p:cNvGrpSpPr>
            <a:grpSpLocks noChangeAspect="1"/>
          </p:cNvGrpSpPr>
          <p:nvPr/>
        </p:nvGrpSpPr>
        <p:grpSpPr>
          <a:xfrm>
            <a:off x="5791954" y="5956111"/>
            <a:ext cx="285619" cy="285619"/>
            <a:chOff x="4753506" y="5419470"/>
            <a:chExt cx="503328" cy="503328"/>
          </a:xfrm>
          <a:solidFill>
            <a:schemeClr val="bg1"/>
          </a:solidFill>
          <a:effectLst/>
        </p:grpSpPr>
        <p:sp>
          <p:nvSpPr>
            <p:cNvPr id="1198" name="Freeform 16">
              <a:extLst>
                <a:ext uri="{FF2B5EF4-FFF2-40B4-BE49-F238E27FC236}">
                  <a16:creationId xmlns:a16="http://schemas.microsoft.com/office/drawing/2014/main" id="{9FDBBCC7-FDFD-4595-AEF5-A74007CDE1D8}"/>
                </a:ext>
              </a:extLst>
            </p:cNvPr>
            <p:cNvSpPr>
              <a:spLocks noEditPoints="1"/>
            </p:cNvSpPr>
            <p:nvPr/>
          </p:nvSpPr>
          <p:spPr bwMode="auto">
            <a:xfrm>
              <a:off x="4977105" y="5568536"/>
              <a:ext cx="185872" cy="223599"/>
            </a:xfrm>
            <a:custGeom>
              <a:avLst/>
              <a:gdLst>
                <a:gd name="T0" fmla="*/ 90 w 608"/>
                <a:gd name="T1" fmla="*/ 352 h 728"/>
                <a:gd name="T2" fmla="*/ 547 w 608"/>
                <a:gd name="T3" fmla="*/ 643 h 728"/>
                <a:gd name="T4" fmla="*/ 547 w 608"/>
                <a:gd name="T5" fmla="*/ 83 h 728"/>
                <a:gd name="T6" fmla="*/ 90 w 608"/>
                <a:gd name="T7" fmla="*/ 352 h 728"/>
                <a:gd name="T8" fmla="*/ 578 w 608"/>
                <a:gd name="T9" fmla="*/ 728 h 728"/>
                <a:gd name="T10" fmla="*/ 569 w 608"/>
                <a:gd name="T11" fmla="*/ 728 h 728"/>
                <a:gd name="T12" fmla="*/ 562 w 608"/>
                <a:gd name="T13" fmla="*/ 724 h 728"/>
                <a:gd name="T14" fmla="*/ 15 w 608"/>
                <a:gd name="T15" fmla="*/ 377 h 728"/>
                <a:gd name="T16" fmla="*/ 9 w 608"/>
                <a:gd name="T17" fmla="*/ 372 h 728"/>
                <a:gd name="T18" fmla="*/ 5 w 608"/>
                <a:gd name="T19" fmla="*/ 367 h 728"/>
                <a:gd name="T20" fmla="*/ 2 w 608"/>
                <a:gd name="T21" fmla="*/ 359 h 728"/>
                <a:gd name="T22" fmla="*/ 0 w 608"/>
                <a:gd name="T23" fmla="*/ 351 h 728"/>
                <a:gd name="T24" fmla="*/ 2 w 608"/>
                <a:gd name="T25" fmla="*/ 344 h 728"/>
                <a:gd name="T26" fmla="*/ 5 w 608"/>
                <a:gd name="T27" fmla="*/ 336 h 728"/>
                <a:gd name="T28" fmla="*/ 9 w 608"/>
                <a:gd name="T29" fmla="*/ 331 h 728"/>
                <a:gd name="T30" fmla="*/ 16 w 608"/>
                <a:gd name="T31" fmla="*/ 325 h 728"/>
                <a:gd name="T32" fmla="*/ 562 w 608"/>
                <a:gd name="T33" fmla="*/ 4 h 728"/>
                <a:gd name="T34" fmla="*/ 571 w 608"/>
                <a:gd name="T35" fmla="*/ 1 h 728"/>
                <a:gd name="T36" fmla="*/ 578 w 608"/>
                <a:gd name="T37" fmla="*/ 0 h 728"/>
                <a:gd name="T38" fmla="*/ 586 w 608"/>
                <a:gd name="T39" fmla="*/ 0 h 728"/>
                <a:gd name="T40" fmla="*/ 594 w 608"/>
                <a:gd name="T41" fmla="*/ 4 h 728"/>
                <a:gd name="T42" fmla="*/ 599 w 608"/>
                <a:gd name="T43" fmla="*/ 8 h 728"/>
                <a:gd name="T44" fmla="*/ 604 w 608"/>
                <a:gd name="T45" fmla="*/ 14 h 728"/>
                <a:gd name="T46" fmla="*/ 608 w 608"/>
                <a:gd name="T47" fmla="*/ 21 h 728"/>
                <a:gd name="T48" fmla="*/ 608 w 608"/>
                <a:gd name="T49" fmla="*/ 30 h 728"/>
                <a:gd name="T50" fmla="*/ 608 w 608"/>
                <a:gd name="T51" fmla="*/ 698 h 728"/>
                <a:gd name="T52" fmla="*/ 608 w 608"/>
                <a:gd name="T53" fmla="*/ 706 h 728"/>
                <a:gd name="T54" fmla="*/ 604 w 608"/>
                <a:gd name="T55" fmla="*/ 714 h 728"/>
                <a:gd name="T56" fmla="*/ 599 w 608"/>
                <a:gd name="T57" fmla="*/ 719 h 728"/>
                <a:gd name="T58" fmla="*/ 592 w 608"/>
                <a:gd name="T59" fmla="*/ 725 h 728"/>
                <a:gd name="T60" fmla="*/ 585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90" y="352"/>
                  </a:moveTo>
                  <a:lnTo>
                    <a:pt x="547" y="643"/>
                  </a:lnTo>
                  <a:lnTo>
                    <a:pt x="547" y="83"/>
                  </a:lnTo>
                  <a:lnTo>
                    <a:pt x="90" y="352"/>
                  </a:lnTo>
                  <a:close/>
                  <a:moveTo>
                    <a:pt x="578" y="728"/>
                  </a:moveTo>
                  <a:lnTo>
                    <a:pt x="569" y="728"/>
                  </a:lnTo>
                  <a:lnTo>
                    <a:pt x="562" y="724"/>
                  </a:lnTo>
                  <a:lnTo>
                    <a:pt x="15" y="377"/>
                  </a:lnTo>
                  <a:lnTo>
                    <a:pt x="9" y="372"/>
                  </a:lnTo>
                  <a:lnTo>
                    <a:pt x="5" y="367"/>
                  </a:lnTo>
                  <a:lnTo>
                    <a:pt x="2" y="359"/>
                  </a:lnTo>
                  <a:lnTo>
                    <a:pt x="0" y="351"/>
                  </a:lnTo>
                  <a:lnTo>
                    <a:pt x="2" y="344"/>
                  </a:lnTo>
                  <a:lnTo>
                    <a:pt x="5" y="336"/>
                  </a:lnTo>
                  <a:lnTo>
                    <a:pt x="9" y="331"/>
                  </a:lnTo>
                  <a:lnTo>
                    <a:pt x="16" y="325"/>
                  </a:lnTo>
                  <a:lnTo>
                    <a:pt x="562" y="4"/>
                  </a:lnTo>
                  <a:lnTo>
                    <a:pt x="571" y="1"/>
                  </a:lnTo>
                  <a:lnTo>
                    <a:pt x="578" y="0"/>
                  </a:lnTo>
                  <a:lnTo>
                    <a:pt x="586" y="0"/>
                  </a:lnTo>
                  <a:lnTo>
                    <a:pt x="594" y="4"/>
                  </a:lnTo>
                  <a:lnTo>
                    <a:pt x="599" y="8"/>
                  </a:lnTo>
                  <a:lnTo>
                    <a:pt x="604" y="14"/>
                  </a:lnTo>
                  <a:lnTo>
                    <a:pt x="608" y="21"/>
                  </a:lnTo>
                  <a:lnTo>
                    <a:pt x="608" y="30"/>
                  </a:lnTo>
                  <a:lnTo>
                    <a:pt x="608" y="698"/>
                  </a:lnTo>
                  <a:lnTo>
                    <a:pt x="608" y="706"/>
                  </a:lnTo>
                  <a:lnTo>
                    <a:pt x="604" y="714"/>
                  </a:lnTo>
                  <a:lnTo>
                    <a:pt x="599" y="719"/>
                  </a:lnTo>
                  <a:lnTo>
                    <a:pt x="592" y="725"/>
                  </a:lnTo>
                  <a:lnTo>
                    <a:pt x="585"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9" name="Freeform 17">
              <a:extLst>
                <a:ext uri="{FF2B5EF4-FFF2-40B4-BE49-F238E27FC236}">
                  <a16:creationId xmlns:a16="http://schemas.microsoft.com/office/drawing/2014/main" id="{221B116C-685D-43D7-8F70-7246AAEAF7E1}"/>
                </a:ext>
              </a:extLst>
            </p:cNvPr>
            <p:cNvSpPr>
              <a:spLocks noEditPoints="1"/>
            </p:cNvSpPr>
            <p:nvPr/>
          </p:nvSpPr>
          <p:spPr bwMode="auto">
            <a:xfrm>
              <a:off x="4808715" y="5568536"/>
              <a:ext cx="186792" cy="223599"/>
            </a:xfrm>
            <a:custGeom>
              <a:avLst/>
              <a:gdLst>
                <a:gd name="T0" fmla="*/ 89 w 608"/>
                <a:gd name="T1" fmla="*/ 352 h 728"/>
                <a:gd name="T2" fmla="*/ 547 w 608"/>
                <a:gd name="T3" fmla="*/ 643 h 728"/>
                <a:gd name="T4" fmla="*/ 547 w 608"/>
                <a:gd name="T5" fmla="*/ 83 h 728"/>
                <a:gd name="T6" fmla="*/ 89 w 608"/>
                <a:gd name="T7" fmla="*/ 352 h 728"/>
                <a:gd name="T8" fmla="*/ 578 w 608"/>
                <a:gd name="T9" fmla="*/ 728 h 728"/>
                <a:gd name="T10" fmla="*/ 569 w 608"/>
                <a:gd name="T11" fmla="*/ 728 h 728"/>
                <a:gd name="T12" fmla="*/ 562 w 608"/>
                <a:gd name="T13" fmla="*/ 724 h 728"/>
                <a:gd name="T14" fmla="*/ 14 w 608"/>
                <a:gd name="T15" fmla="*/ 377 h 728"/>
                <a:gd name="T16" fmla="*/ 9 w 608"/>
                <a:gd name="T17" fmla="*/ 372 h 728"/>
                <a:gd name="T18" fmla="*/ 4 w 608"/>
                <a:gd name="T19" fmla="*/ 367 h 728"/>
                <a:gd name="T20" fmla="*/ 2 w 608"/>
                <a:gd name="T21" fmla="*/ 359 h 728"/>
                <a:gd name="T22" fmla="*/ 0 w 608"/>
                <a:gd name="T23" fmla="*/ 351 h 728"/>
                <a:gd name="T24" fmla="*/ 2 w 608"/>
                <a:gd name="T25" fmla="*/ 344 h 728"/>
                <a:gd name="T26" fmla="*/ 4 w 608"/>
                <a:gd name="T27" fmla="*/ 336 h 728"/>
                <a:gd name="T28" fmla="*/ 9 w 608"/>
                <a:gd name="T29" fmla="*/ 331 h 728"/>
                <a:gd name="T30" fmla="*/ 16 w 608"/>
                <a:gd name="T31" fmla="*/ 325 h 728"/>
                <a:gd name="T32" fmla="*/ 563 w 608"/>
                <a:gd name="T33" fmla="*/ 4 h 728"/>
                <a:gd name="T34" fmla="*/ 570 w 608"/>
                <a:gd name="T35" fmla="*/ 1 h 728"/>
                <a:gd name="T36" fmla="*/ 578 w 608"/>
                <a:gd name="T37" fmla="*/ 0 h 728"/>
                <a:gd name="T38" fmla="*/ 586 w 608"/>
                <a:gd name="T39" fmla="*/ 0 h 728"/>
                <a:gd name="T40" fmla="*/ 593 w 608"/>
                <a:gd name="T41" fmla="*/ 4 h 728"/>
                <a:gd name="T42" fmla="*/ 599 w 608"/>
                <a:gd name="T43" fmla="*/ 8 h 728"/>
                <a:gd name="T44" fmla="*/ 605 w 608"/>
                <a:gd name="T45" fmla="*/ 14 h 728"/>
                <a:gd name="T46" fmla="*/ 608 w 608"/>
                <a:gd name="T47" fmla="*/ 21 h 728"/>
                <a:gd name="T48" fmla="*/ 608 w 608"/>
                <a:gd name="T49" fmla="*/ 30 h 728"/>
                <a:gd name="T50" fmla="*/ 608 w 608"/>
                <a:gd name="T51" fmla="*/ 698 h 728"/>
                <a:gd name="T52" fmla="*/ 608 w 608"/>
                <a:gd name="T53" fmla="*/ 706 h 728"/>
                <a:gd name="T54" fmla="*/ 603 w 608"/>
                <a:gd name="T55" fmla="*/ 714 h 728"/>
                <a:gd name="T56" fmla="*/ 599 w 608"/>
                <a:gd name="T57" fmla="*/ 719 h 728"/>
                <a:gd name="T58" fmla="*/ 592 w 608"/>
                <a:gd name="T59" fmla="*/ 725 h 728"/>
                <a:gd name="T60" fmla="*/ 585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89" y="352"/>
                  </a:moveTo>
                  <a:lnTo>
                    <a:pt x="547" y="643"/>
                  </a:lnTo>
                  <a:lnTo>
                    <a:pt x="547" y="83"/>
                  </a:lnTo>
                  <a:lnTo>
                    <a:pt x="89" y="352"/>
                  </a:lnTo>
                  <a:close/>
                  <a:moveTo>
                    <a:pt x="578" y="728"/>
                  </a:moveTo>
                  <a:lnTo>
                    <a:pt x="569" y="728"/>
                  </a:lnTo>
                  <a:lnTo>
                    <a:pt x="562" y="724"/>
                  </a:lnTo>
                  <a:lnTo>
                    <a:pt x="14" y="377"/>
                  </a:lnTo>
                  <a:lnTo>
                    <a:pt x="9" y="372"/>
                  </a:lnTo>
                  <a:lnTo>
                    <a:pt x="4" y="367"/>
                  </a:lnTo>
                  <a:lnTo>
                    <a:pt x="2" y="359"/>
                  </a:lnTo>
                  <a:lnTo>
                    <a:pt x="0" y="351"/>
                  </a:lnTo>
                  <a:lnTo>
                    <a:pt x="2" y="344"/>
                  </a:lnTo>
                  <a:lnTo>
                    <a:pt x="4" y="336"/>
                  </a:lnTo>
                  <a:lnTo>
                    <a:pt x="9" y="331"/>
                  </a:lnTo>
                  <a:lnTo>
                    <a:pt x="16" y="325"/>
                  </a:lnTo>
                  <a:lnTo>
                    <a:pt x="563" y="4"/>
                  </a:lnTo>
                  <a:lnTo>
                    <a:pt x="570" y="1"/>
                  </a:lnTo>
                  <a:lnTo>
                    <a:pt x="578" y="0"/>
                  </a:lnTo>
                  <a:lnTo>
                    <a:pt x="586" y="0"/>
                  </a:lnTo>
                  <a:lnTo>
                    <a:pt x="593" y="4"/>
                  </a:lnTo>
                  <a:lnTo>
                    <a:pt x="599" y="8"/>
                  </a:lnTo>
                  <a:lnTo>
                    <a:pt x="605" y="14"/>
                  </a:lnTo>
                  <a:lnTo>
                    <a:pt x="608" y="21"/>
                  </a:lnTo>
                  <a:lnTo>
                    <a:pt x="608" y="30"/>
                  </a:lnTo>
                  <a:lnTo>
                    <a:pt x="608" y="698"/>
                  </a:lnTo>
                  <a:lnTo>
                    <a:pt x="608" y="706"/>
                  </a:lnTo>
                  <a:lnTo>
                    <a:pt x="603" y="714"/>
                  </a:lnTo>
                  <a:lnTo>
                    <a:pt x="599" y="719"/>
                  </a:lnTo>
                  <a:lnTo>
                    <a:pt x="592" y="725"/>
                  </a:lnTo>
                  <a:lnTo>
                    <a:pt x="585"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200" name="Freeform 18">
              <a:extLst>
                <a:ext uri="{FF2B5EF4-FFF2-40B4-BE49-F238E27FC236}">
                  <a16:creationId xmlns:a16="http://schemas.microsoft.com/office/drawing/2014/main" id="{16ADC0C5-5E45-4A86-8095-5EDF8C0C2D81}"/>
                </a:ext>
              </a:extLst>
            </p:cNvPr>
            <p:cNvSpPr>
              <a:spLocks noEditPoints="1"/>
            </p:cNvSpPr>
            <p:nvPr/>
          </p:nvSpPr>
          <p:spPr bwMode="auto">
            <a:xfrm>
              <a:off x="4753506" y="5419470"/>
              <a:ext cx="503328" cy="503328"/>
            </a:xfrm>
            <a:custGeom>
              <a:avLst/>
              <a:gdLst>
                <a:gd name="T0" fmla="*/ 666 w 1640"/>
                <a:gd name="T1" fmla="*/ 76 h 1641"/>
                <a:gd name="T2" fmla="*/ 491 w 1640"/>
                <a:gd name="T3" fmla="*/ 135 h 1641"/>
                <a:gd name="T4" fmla="*/ 337 w 1640"/>
                <a:gd name="T5" fmla="*/ 235 h 1641"/>
                <a:gd name="T6" fmla="*/ 211 w 1640"/>
                <a:gd name="T7" fmla="*/ 366 h 1641"/>
                <a:gd name="T8" fmla="*/ 119 w 1640"/>
                <a:gd name="T9" fmla="*/ 525 h 1641"/>
                <a:gd name="T10" fmla="*/ 69 w 1640"/>
                <a:gd name="T11" fmla="*/ 705 h 1641"/>
                <a:gd name="T12" fmla="*/ 63 w 1640"/>
                <a:gd name="T13" fmla="*/ 898 h 1641"/>
                <a:gd name="T14" fmla="*/ 106 w 1640"/>
                <a:gd name="T15" fmla="*/ 1081 h 1641"/>
                <a:gd name="T16" fmla="*/ 190 w 1640"/>
                <a:gd name="T17" fmla="*/ 1245 h 1641"/>
                <a:gd name="T18" fmla="*/ 309 w 1640"/>
                <a:gd name="T19" fmla="*/ 1383 h 1641"/>
                <a:gd name="T20" fmla="*/ 458 w 1640"/>
                <a:gd name="T21" fmla="*/ 1488 h 1641"/>
                <a:gd name="T22" fmla="*/ 630 w 1640"/>
                <a:gd name="T23" fmla="*/ 1556 h 1641"/>
                <a:gd name="T24" fmla="*/ 819 w 1640"/>
                <a:gd name="T25" fmla="*/ 1581 h 1641"/>
                <a:gd name="T26" fmla="*/ 1009 w 1640"/>
                <a:gd name="T27" fmla="*/ 1556 h 1641"/>
                <a:gd name="T28" fmla="*/ 1182 w 1640"/>
                <a:gd name="T29" fmla="*/ 1488 h 1641"/>
                <a:gd name="T30" fmla="*/ 1330 w 1640"/>
                <a:gd name="T31" fmla="*/ 1383 h 1641"/>
                <a:gd name="T32" fmla="*/ 1450 w 1640"/>
                <a:gd name="T33" fmla="*/ 1245 h 1641"/>
                <a:gd name="T34" fmla="*/ 1533 w 1640"/>
                <a:gd name="T35" fmla="*/ 1081 h 1641"/>
                <a:gd name="T36" fmla="*/ 1575 w 1640"/>
                <a:gd name="T37" fmla="*/ 898 h 1641"/>
                <a:gd name="T38" fmla="*/ 1571 w 1640"/>
                <a:gd name="T39" fmla="*/ 705 h 1641"/>
                <a:gd name="T40" fmla="*/ 1520 w 1640"/>
                <a:gd name="T41" fmla="*/ 525 h 1641"/>
                <a:gd name="T42" fmla="*/ 1428 w 1640"/>
                <a:gd name="T43" fmla="*/ 366 h 1641"/>
                <a:gd name="T44" fmla="*/ 1303 w 1640"/>
                <a:gd name="T45" fmla="*/ 235 h 1641"/>
                <a:gd name="T46" fmla="*/ 1149 w 1640"/>
                <a:gd name="T47" fmla="*/ 135 h 1641"/>
                <a:gd name="T48" fmla="*/ 973 w 1640"/>
                <a:gd name="T49" fmla="*/ 76 h 1641"/>
                <a:gd name="T50" fmla="*/ 819 w 1640"/>
                <a:gd name="T51" fmla="*/ 1641 h 1641"/>
                <a:gd name="T52" fmla="*/ 615 w 1640"/>
                <a:gd name="T53" fmla="*/ 1615 h 1641"/>
                <a:gd name="T54" fmla="*/ 429 w 1640"/>
                <a:gd name="T55" fmla="*/ 1542 h 1641"/>
                <a:gd name="T56" fmla="*/ 267 w 1640"/>
                <a:gd name="T57" fmla="*/ 1428 h 1641"/>
                <a:gd name="T58" fmla="*/ 139 w 1640"/>
                <a:gd name="T59" fmla="*/ 1278 h 1641"/>
                <a:gd name="T60" fmla="*/ 49 w 1640"/>
                <a:gd name="T61" fmla="*/ 1103 h 1641"/>
                <a:gd name="T62" fmla="*/ 3 w 1640"/>
                <a:gd name="T63" fmla="*/ 904 h 1641"/>
                <a:gd name="T64" fmla="*/ 8 w 1640"/>
                <a:gd name="T65" fmla="*/ 695 h 1641"/>
                <a:gd name="T66" fmla="*/ 63 w 1640"/>
                <a:gd name="T67" fmla="*/ 501 h 1641"/>
                <a:gd name="T68" fmla="*/ 162 w 1640"/>
                <a:gd name="T69" fmla="*/ 330 h 1641"/>
                <a:gd name="T70" fmla="*/ 298 w 1640"/>
                <a:gd name="T71" fmla="*/ 187 h 1641"/>
                <a:gd name="T72" fmla="*/ 465 w 1640"/>
                <a:gd name="T73" fmla="*/ 81 h 1641"/>
                <a:gd name="T74" fmla="*/ 655 w 1640"/>
                <a:gd name="T75" fmla="*/ 17 h 1641"/>
                <a:gd name="T76" fmla="*/ 862 w 1640"/>
                <a:gd name="T77" fmla="*/ 1 h 1641"/>
                <a:gd name="T78" fmla="*/ 1064 w 1640"/>
                <a:gd name="T79" fmla="*/ 37 h 1641"/>
                <a:gd name="T80" fmla="*/ 1245 w 1640"/>
                <a:gd name="T81" fmla="*/ 119 h 1641"/>
                <a:gd name="T82" fmla="*/ 1399 w 1640"/>
                <a:gd name="T83" fmla="*/ 240 h 1641"/>
                <a:gd name="T84" fmla="*/ 1522 w 1640"/>
                <a:gd name="T85" fmla="*/ 396 h 1641"/>
                <a:gd name="T86" fmla="*/ 1604 w 1640"/>
                <a:gd name="T87" fmla="*/ 577 h 1641"/>
                <a:gd name="T88" fmla="*/ 1640 w 1640"/>
                <a:gd name="T89" fmla="*/ 779 h 1641"/>
                <a:gd name="T90" fmla="*/ 1624 w 1640"/>
                <a:gd name="T91" fmla="*/ 986 h 1641"/>
                <a:gd name="T92" fmla="*/ 1559 w 1640"/>
                <a:gd name="T93" fmla="*/ 1176 h 1641"/>
                <a:gd name="T94" fmla="*/ 1453 w 1640"/>
                <a:gd name="T95" fmla="*/ 1342 h 1641"/>
                <a:gd name="T96" fmla="*/ 1310 w 1640"/>
                <a:gd name="T97" fmla="*/ 1478 h 1641"/>
                <a:gd name="T98" fmla="*/ 1139 w 1640"/>
                <a:gd name="T99" fmla="*/ 1576 h 1641"/>
                <a:gd name="T100" fmla="*/ 944 w 1640"/>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0" h="1641">
                  <a:moveTo>
                    <a:pt x="819" y="60"/>
                  </a:moveTo>
                  <a:lnTo>
                    <a:pt x="780" y="62"/>
                  </a:lnTo>
                  <a:lnTo>
                    <a:pt x="743" y="65"/>
                  </a:lnTo>
                  <a:lnTo>
                    <a:pt x="704" y="69"/>
                  </a:lnTo>
                  <a:lnTo>
                    <a:pt x="666" y="76"/>
                  </a:lnTo>
                  <a:lnTo>
                    <a:pt x="630" y="85"/>
                  </a:lnTo>
                  <a:lnTo>
                    <a:pt x="594" y="95"/>
                  </a:lnTo>
                  <a:lnTo>
                    <a:pt x="558" y="107"/>
                  </a:lnTo>
                  <a:lnTo>
                    <a:pt x="524" y="121"/>
                  </a:lnTo>
                  <a:lnTo>
                    <a:pt x="491" y="135"/>
                  </a:lnTo>
                  <a:lnTo>
                    <a:pt x="458" y="153"/>
                  </a:lnTo>
                  <a:lnTo>
                    <a:pt x="426" y="171"/>
                  </a:lnTo>
                  <a:lnTo>
                    <a:pt x="396" y="190"/>
                  </a:lnTo>
                  <a:lnTo>
                    <a:pt x="365" y="212"/>
                  </a:lnTo>
                  <a:lnTo>
                    <a:pt x="337" y="235"/>
                  </a:lnTo>
                  <a:lnTo>
                    <a:pt x="309" y="258"/>
                  </a:lnTo>
                  <a:lnTo>
                    <a:pt x="282" y="284"/>
                  </a:lnTo>
                  <a:lnTo>
                    <a:pt x="257" y="309"/>
                  </a:lnTo>
                  <a:lnTo>
                    <a:pt x="233" y="337"/>
                  </a:lnTo>
                  <a:lnTo>
                    <a:pt x="211" y="366"/>
                  </a:lnTo>
                  <a:lnTo>
                    <a:pt x="190" y="396"/>
                  </a:lnTo>
                  <a:lnTo>
                    <a:pt x="170" y="428"/>
                  </a:lnTo>
                  <a:lnTo>
                    <a:pt x="152" y="459"/>
                  </a:lnTo>
                  <a:lnTo>
                    <a:pt x="135" y="491"/>
                  </a:lnTo>
                  <a:lnTo>
                    <a:pt x="119" y="525"/>
                  </a:lnTo>
                  <a:lnTo>
                    <a:pt x="106" y="560"/>
                  </a:lnTo>
                  <a:lnTo>
                    <a:pt x="95" y="595"/>
                  </a:lnTo>
                  <a:lnTo>
                    <a:pt x="83" y="630"/>
                  </a:lnTo>
                  <a:lnTo>
                    <a:pt x="75" y="668"/>
                  </a:lnTo>
                  <a:lnTo>
                    <a:pt x="69" y="705"/>
                  </a:lnTo>
                  <a:lnTo>
                    <a:pt x="63" y="743"/>
                  </a:lnTo>
                  <a:lnTo>
                    <a:pt x="60" y="782"/>
                  </a:lnTo>
                  <a:lnTo>
                    <a:pt x="60" y="821"/>
                  </a:lnTo>
                  <a:lnTo>
                    <a:pt x="60" y="859"/>
                  </a:lnTo>
                  <a:lnTo>
                    <a:pt x="63" y="898"/>
                  </a:lnTo>
                  <a:lnTo>
                    <a:pt x="69" y="936"/>
                  </a:lnTo>
                  <a:lnTo>
                    <a:pt x="75" y="973"/>
                  </a:lnTo>
                  <a:lnTo>
                    <a:pt x="83" y="1011"/>
                  </a:lnTo>
                  <a:lnTo>
                    <a:pt x="95" y="1046"/>
                  </a:lnTo>
                  <a:lnTo>
                    <a:pt x="106" y="1081"/>
                  </a:lnTo>
                  <a:lnTo>
                    <a:pt x="119" y="1116"/>
                  </a:lnTo>
                  <a:lnTo>
                    <a:pt x="135" y="1150"/>
                  </a:lnTo>
                  <a:lnTo>
                    <a:pt x="152" y="1182"/>
                  </a:lnTo>
                  <a:lnTo>
                    <a:pt x="170" y="1213"/>
                  </a:lnTo>
                  <a:lnTo>
                    <a:pt x="190" y="1245"/>
                  </a:lnTo>
                  <a:lnTo>
                    <a:pt x="211" y="1275"/>
                  </a:lnTo>
                  <a:lnTo>
                    <a:pt x="233" y="1304"/>
                  </a:lnTo>
                  <a:lnTo>
                    <a:pt x="257" y="1332"/>
                  </a:lnTo>
                  <a:lnTo>
                    <a:pt x="282" y="1357"/>
                  </a:lnTo>
                  <a:lnTo>
                    <a:pt x="309" y="1383"/>
                  </a:lnTo>
                  <a:lnTo>
                    <a:pt x="337" y="1406"/>
                  </a:lnTo>
                  <a:lnTo>
                    <a:pt x="365" y="1429"/>
                  </a:lnTo>
                  <a:lnTo>
                    <a:pt x="396" y="1451"/>
                  </a:lnTo>
                  <a:lnTo>
                    <a:pt x="426" y="1470"/>
                  </a:lnTo>
                  <a:lnTo>
                    <a:pt x="458" y="1488"/>
                  </a:lnTo>
                  <a:lnTo>
                    <a:pt x="491" y="1506"/>
                  </a:lnTo>
                  <a:lnTo>
                    <a:pt x="524" y="1520"/>
                  </a:lnTo>
                  <a:lnTo>
                    <a:pt x="558" y="1534"/>
                  </a:lnTo>
                  <a:lnTo>
                    <a:pt x="594" y="1546"/>
                  </a:lnTo>
                  <a:lnTo>
                    <a:pt x="630" y="1556"/>
                  </a:lnTo>
                  <a:lnTo>
                    <a:pt x="666" y="1565"/>
                  </a:lnTo>
                  <a:lnTo>
                    <a:pt x="704" y="1572"/>
                  </a:lnTo>
                  <a:lnTo>
                    <a:pt x="743" y="1576"/>
                  </a:lnTo>
                  <a:lnTo>
                    <a:pt x="780" y="1579"/>
                  </a:lnTo>
                  <a:lnTo>
                    <a:pt x="819" y="1581"/>
                  </a:lnTo>
                  <a:lnTo>
                    <a:pt x="859" y="1579"/>
                  </a:lnTo>
                  <a:lnTo>
                    <a:pt x="897" y="1576"/>
                  </a:lnTo>
                  <a:lnTo>
                    <a:pt x="936" y="1572"/>
                  </a:lnTo>
                  <a:lnTo>
                    <a:pt x="973" y="1565"/>
                  </a:lnTo>
                  <a:lnTo>
                    <a:pt x="1009" y="1556"/>
                  </a:lnTo>
                  <a:lnTo>
                    <a:pt x="1045" y="1546"/>
                  </a:lnTo>
                  <a:lnTo>
                    <a:pt x="1081" y="1534"/>
                  </a:lnTo>
                  <a:lnTo>
                    <a:pt x="1116" y="1520"/>
                  </a:lnTo>
                  <a:lnTo>
                    <a:pt x="1149" y="1506"/>
                  </a:lnTo>
                  <a:lnTo>
                    <a:pt x="1182" y="1488"/>
                  </a:lnTo>
                  <a:lnTo>
                    <a:pt x="1214" y="1470"/>
                  </a:lnTo>
                  <a:lnTo>
                    <a:pt x="1244" y="1451"/>
                  </a:lnTo>
                  <a:lnTo>
                    <a:pt x="1274" y="1429"/>
                  </a:lnTo>
                  <a:lnTo>
                    <a:pt x="1303" y="1406"/>
                  </a:lnTo>
                  <a:lnTo>
                    <a:pt x="1330" y="1383"/>
                  </a:lnTo>
                  <a:lnTo>
                    <a:pt x="1356" y="1357"/>
                  </a:lnTo>
                  <a:lnTo>
                    <a:pt x="1382" y="1332"/>
                  </a:lnTo>
                  <a:lnTo>
                    <a:pt x="1407" y="1304"/>
                  </a:lnTo>
                  <a:lnTo>
                    <a:pt x="1428" y="1275"/>
                  </a:lnTo>
                  <a:lnTo>
                    <a:pt x="1450" y="1245"/>
                  </a:lnTo>
                  <a:lnTo>
                    <a:pt x="1470" y="1213"/>
                  </a:lnTo>
                  <a:lnTo>
                    <a:pt x="1487" y="1182"/>
                  </a:lnTo>
                  <a:lnTo>
                    <a:pt x="1504" y="1150"/>
                  </a:lnTo>
                  <a:lnTo>
                    <a:pt x="1520" y="1116"/>
                  </a:lnTo>
                  <a:lnTo>
                    <a:pt x="1533" y="1081"/>
                  </a:lnTo>
                  <a:lnTo>
                    <a:pt x="1545" y="1046"/>
                  </a:lnTo>
                  <a:lnTo>
                    <a:pt x="1556" y="1011"/>
                  </a:lnTo>
                  <a:lnTo>
                    <a:pt x="1563" y="973"/>
                  </a:lnTo>
                  <a:lnTo>
                    <a:pt x="1571" y="936"/>
                  </a:lnTo>
                  <a:lnTo>
                    <a:pt x="1575" y="898"/>
                  </a:lnTo>
                  <a:lnTo>
                    <a:pt x="1578" y="859"/>
                  </a:lnTo>
                  <a:lnTo>
                    <a:pt x="1579" y="821"/>
                  </a:lnTo>
                  <a:lnTo>
                    <a:pt x="1578" y="782"/>
                  </a:lnTo>
                  <a:lnTo>
                    <a:pt x="1575" y="743"/>
                  </a:lnTo>
                  <a:lnTo>
                    <a:pt x="1571" y="705"/>
                  </a:lnTo>
                  <a:lnTo>
                    <a:pt x="1563" y="668"/>
                  </a:lnTo>
                  <a:lnTo>
                    <a:pt x="1556" y="630"/>
                  </a:lnTo>
                  <a:lnTo>
                    <a:pt x="1545" y="595"/>
                  </a:lnTo>
                  <a:lnTo>
                    <a:pt x="1533" y="560"/>
                  </a:lnTo>
                  <a:lnTo>
                    <a:pt x="1520" y="525"/>
                  </a:lnTo>
                  <a:lnTo>
                    <a:pt x="1504" y="491"/>
                  </a:lnTo>
                  <a:lnTo>
                    <a:pt x="1487" y="459"/>
                  </a:lnTo>
                  <a:lnTo>
                    <a:pt x="1470" y="428"/>
                  </a:lnTo>
                  <a:lnTo>
                    <a:pt x="1450" y="396"/>
                  </a:lnTo>
                  <a:lnTo>
                    <a:pt x="1428" y="366"/>
                  </a:lnTo>
                  <a:lnTo>
                    <a:pt x="1407" y="337"/>
                  </a:lnTo>
                  <a:lnTo>
                    <a:pt x="1382" y="309"/>
                  </a:lnTo>
                  <a:lnTo>
                    <a:pt x="1356" y="284"/>
                  </a:lnTo>
                  <a:lnTo>
                    <a:pt x="1330" y="258"/>
                  </a:lnTo>
                  <a:lnTo>
                    <a:pt x="1303" y="235"/>
                  </a:lnTo>
                  <a:lnTo>
                    <a:pt x="1274" y="212"/>
                  </a:lnTo>
                  <a:lnTo>
                    <a:pt x="1244" y="190"/>
                  </a:lnTo>
                  <a:lnTo>
                    <a:pt x="1214" y="171"/>
                  </a:lnTo>
                  <a:lnTo>
                    <a:pt x="1182" y="153"/>
                  </a:lnTo>
                  <a:lnTo>
                    <a:pt x="1149" y="135"/>
                  </a:lnTo>
                  <a:lnTo>
                    <a:pt x="1116" y="121"/>
                  </a:lnTo>
                  <a:lnTo>
                    <a:pt x="1081" y="107"/>
                  </a:lnTo>
                  <a:lnTo>
                    <a:pt x="1045" y="95"/>
                  </a:lnTo>
                  <a:lnTo>
                    <a:pt x="1009" y="85"/>
                  </a:lnTo>
                  <a:lnTo>
                    <a:pt x="973" y="76"/>
                  </a:lnTo>
                  <a:lnTo>
                    <a:pt x="936" y="69"/>
                  </a:lnTo>
                  <a:lnTo>
                    <a:pt x="897" y="65"/>
                  </a:lnTo>
                  <a:lnTo>
                    <a:pt x="859" y="62"/>
                  </a:lnTo>
                  <a:lnTo>
                    <a:pt x="819" y="60"/>
                  </a:lnTo>
                  <a:close/>
                  <a:moveTo>
                    <a:pt x="819" y="1641"/>
                  </a:moveTo>
                  <a:lnTo>
                    <a:pt x="777" y="1640"/>
                  </a:lnTo>
                  <a:lnTo>
                    <a:pt x="735" y="1637"/>
                  </a:lnTo>
                  <a:lnTo>
                    <a:pt x="695" y="1631"/>
                  </a:lnTo>
                  <a:lnTo>
                    <a:pt x="655" y="1624"/>
                  </a:lnTo>
                  <a:lnTo>
                    <a:pt x="615" y="1615"/>
                  </a:lnTo>
                  <a:lnTo>
                    <a:pt x="576" y="1604"/>
                  </a:lnTo>
                  <a:lnTo>
                    <a:pt x="538" y="1591"/>
                  </a:lnTo>
                  <a:lnTo>
                    <a:pt x="501" y="1576"/>
                  </a:lnTo>
                  <a:lnTo>
                    <a:pt x="465" y="1560"/>
                  </a:lnTo>
                  <a:lnTo>
                    <a:pt x="429" y="1542"/>
                  </a:lnTo>
                  <a:lnTo>
                    <a:pt x="394" y="1522"/>
                  </a:lnTo>
                  <a:lnTo>
                    <a:pt x="361" y="1501"/>
                  </a:lnTo>
                  <a:lnTo>
                    <a:pt x="329" y="1478"/>
                  </a:lnTo>
                  <a:lnTo>
                    <a:pt x="298" y="1454"/>
                  </a:lnTo>
                  <a:lnTo>
                    <a:pt x="267" y="1428"/>
                  </a:lnTo>
                  <a:lnTo>
                    <a:pt x="240" y="1401"/>
                  </a:lnTo>
                  <a:lnTo>
                    <a:pt x="213" y="1372"/>
                  </a:lnTo>
                  <a:lnTo>
                    <a:pt x="187" y="1342"/>
                  </a:lnTo>
                  <a:lnTo>
                    <a:pt x="162" y="1311"/>
                  </a:lnTo>
                  <a:lnTo>
                    <a:pt x="139" y="1278"/>
                  </a:lnTo>
                  <a:lnTo>
                    <a:pt x="118" y="1245"/>
                  </a:lnTo>
                  <a:lnTo>
                    <a:pt x="98" y="1211"/>
                  </a:lnTo>
                  <a:lnTo>
                    <a:pt x="80" y="1176"/>
                  </a:lnTo>
                  <a:lnTo>
                    <a:pt x="63" y="1140"/>
                  </a:lnTo>
                  <a:lnTo>
                    <a:pt x="49" y="1103"/>
                  </a:lnTo>
                  <a:lnTo>
                    <a:pt x="36" y="1064"/>
                  </a:lnTo>
                  <a:lnTo>
                    <a:pt x="26" y="1025"/>
                  </a:lnTo>
                  <a:lnTo>
                    <a:pt x="15" y="986"/>
                  </a:lnTo>
                  <a:lnTo>
                    <a:pt x="8" y="946"/>
                  </a:lnTo>
                  <a:lnTo>
                    <a:pt x="3" y="904"/>
                  </a:lnTo>
                  <a:lnTo>
                    <a:pt x="0" y="862"/>
                  </a:lnTo>
                  <a:lnTo>
                    <a:pt x="0" y="821"/>
                  </a:lnTo>
                  <a:lnTo>
                    <a:pt x="0" y="779"/>
                  </a:lnTo>
                  <a:lnTo>
                    <a:pt x="3" y="737"/>
                  </a:lnTo>
                  <a:lnTo>
                    <a:pt x="8" y="695"/>
                  </a:lnTo>
                  <a:lnTo>
                    <a:pt x="15" y="655"/>
                  </a:lnTo>
                  <a:lnTo>
                    <a:pt x="26" y="616"/>
                  </a:lnTo>
                  <a:lnTo>
                    <a:pt x="36" y="577"/>
                  </a:lnTo>
                  <a:lnTo>
                    <a:pt x="49" y="538"/>
                  </a:lnTo>
                  <a:lnTo>
                    <a:pt x="63" y="501"/>
                  </a:lnTo>
                  <a:lnTo>
                    <a:pt x="80" y="465"/>
                  </a:lnTo>
                  <a:lnTo>
                    <a:pt x="98" y="430"/>
                  </a:lnTo>
                  <a:lnTo>
                    <a:pt x="118" y="396"/>
                  </a:lnTo>
                  <a:lnTo>
                    <a:pt x="139" y="363"/>
                  </a:lnTo>
                  <a:lnTo>
                    <a:pt x="162" y="330"/>
                  </a:lnTo>
                  <a:lnTo>
                    <a:pt x="187" y="299"/>
                  </a:lnTo>
                  <a:lnTo>
                    <a:pt x="213" y="269"/>
                  </a:lnTo>
                  <a:lnTo>
                    <a:pt x="240" y="240"/>
                  </a:lnTo>
                  <a:lnTo>
                    <a:pt x="267" y="213"/>
                  </a:lnTo>
                  <a:lnTo>
                    <a:pt x="298" y="187"/>
                  </a:lnTo>
                  <a:lnTo>
                    <a:pt x="329" y="163"/>
                  </a:lnTo>
                  <a:lnTo>
                    <a:pt x="361" y="140"/>
                  </a:lnTo>
                  <a:lnTo>
                    <a:pt x="394" y="119"/>
                  </a:lnTo>
                  <a:lnTo>
                    <a:pt x="429" y="99"/>
                  </a:lnTo>
                  <a:lnTo>
                    <a:pt x="465" y="81"/>
                  </a:lnTo>
                  <a:lnTo>
                    <a:pt x="501" y="65"/>
                  </a:lnTo>
                  <a:lnTo>
                    <a:pt x="538" y="50"/>
                  </a:lnTo>
                  <a:lnTo>
                    <a:pt x="576" y="37"/>
                  </a:lnTo>
                  <a:lnTo>
                    <a:pt x="615" y="26"/>
                  </a:lnTo>
                  <a:lnTo>
                    <a:pt x="655" y="17"/>
                  </a:lnTo>
                  <a:lnTo>
                    <a:pt x="695" y="10"/>
                  </a:lnTo>
                  <a:lnTo>
                    <a:pt x="735" y="4"/>
                  </a:lnTo>
                  <a:lnTo>
                    <a:pt x="777" y="1"/>
                  </a:lnTo>
                  <a:lnTo>
                    <a:pt x="819" y="0"/>
                  </a:lnTo>
                  <a:lnTo>
                    <a:pt x="862" y="1"/>
                  </a:lnTo>
                  <a:lnTo>
                    <a:pt x="904" y="4"/>
                  </a:lnTo>
                  <a:lnTo>
                    <a:pt x="944" y="10"/>
                  </a:lnTo>
                  <a:lnTo>
                    <a:pt x="985" y="17"/>
                  </a:lnTo>
                  <a:lnTo>
                    <a:pt x="1025" y="26"/>
                  </a:lnTo>
                  <a:lnTo>
                    <a:pt x="1064" y="37"/>
                  </a:lnTo>
                  <a:lnTo>
                    <a:pt x="1101" y="50"/>
                  </a:lnTo>
                  <a:lnTo>
                    <a:pt x="1139" y="65"/>
                  </a:lnTo>
                  <a:lnTo>
                    <a:pt x="1175" y="81"/>
                  </a:lnTo>
                  <a:lnTo>
                    <a:pt x="1211" y="99"/>
                  </a:lnTo>
                  <a:lnTo>
                    <a:pt x="1245" y="119"/>
                  </a:lnTo>
                  <a:lnTo>
                    <a:pt x="1278" y="140"/>
                  </a:lnTo>
                  <a:lnTo>
                    <a:pt x="1310" y="163"/>
                  </a:lnTo>
                  <a:lnTo>
                    <a:pt x="1342" y="187"/>
                  </a:lnTo>
                  <a:lnTo>
                    <a:pt x="1371" y="213"/>
                  </a:lnTo>
                  <a:lnTo>
                    <a:pt x="1399" y="240"/>
                  </a:lnTo>
                  <a:lnTo>
                    <a:pt x="1427" y="269"/>
                  </a:lnTo>
                  <a:lnTo>
                    <a:pt x="1453" y="299"/>
                  </a:lnTo>
                  <a:lnTo>
                    <a:pt x="1477" y="330"/>
                  </a:lnTo>
                  <a:lnTo>
                    <a:pt x="1500" y="363"/>
                  </a:lnTo>
                  <a:lnTo>
                    <a:pt x="1522" y="396"/>
                  </a:lnTo>
                  <a:lnTo>
                    <a:pt x="1540" y="430"/>
                  </a:lnTo>
                  <a:lnTo>
                    <a:pt x="1559" y="465"/>
                  </a:lnTo>
                  <a:lnTo>
                    <a:pt x="1576" y="501"/>
                  </a:lnTo>
                  <a:lnTo>
                    <a:pt x="1591" y="538"/>
                  </a:lnTo>
                  <a:lnTo>
                    <a:pt x="1604" y="577"/>
                  </a:lnTo>
                  <a:lnTo>
                    <a:pt x="1614" y="616"/>
                  </a:lnTo>
                  <a:lnTo>
                    <a:pt x="1624" y="655"/>
                  </a:lnTo>
                  <a:lnTo>
                    <a:pt x="1631" y="695"/>
                  </a:lnTo>
                  <a:lnTo>
                    <a:pt x="1635" y="737"/>
                  </a:lnTo>
                  <a:lnTo>
                    <a:pt x="1640" y="779"/>
                  </a:lnTo>
                  <a:lnTo>
                    <a:pt x="1640" y="821"/>
                  </a:lnTo>
                  <a:lnTo>
                    <a:pt x="1640" y="862"/>
                  </a:lnTo>
                  <a:lnTo>
                    <a:pt x="1635" y="904"/>
                  </a:lnTo>
                  <a:lnTo>
                    <a:pt x="1631" y="946"/>
                  </a:lnTo>
                  <a:lnTo>
                    <a:pt x="1624" y="986"/>
                  </a:lnTo>
                  <a:lnTo>
                    <a:pt x="1614" y="1025"/>
                  </a:lnTo>
                  <a:lnTo>
                    <a:pt x="1604" y="1064"/>
                  </a:lnTo>
                  <a:lnTo>
                    <a:pt x="1591" y="1103"/>
                  </a:lnTo>
                  <a:lnTo>
                    <a:pt x="1576" y="1140"/>
                  </a:lnTo>
                  <a:lnTo>
                    <a:pt x="1559" y="1176"/>
                  </a:lnTo>
                  <a:lnTo>
                    <a:pt x="1540" y="1211"/>
                  </a:lnTo>
                  <a:lnTo>
                    <a:pt x="1522" y="1245"/>
                  </a:lnTo>
                  <a:lnTo>
                    <a:pt x="1500" y="1278"/>
                  </a:lnTo>
                  <a:lnTo>
                    <a:pt x="1477" y="1311"/>
                  </a:lnTo>
                  <a:lnTo>
                    <a:pt x="1453" y="1342"/>
                  </a:lnTo>
                  <a:lnTo>
                    <a:pt x="1427" y="1372"/>
                  </a:lnTo>
                  <a:lnTo>
                    <a:pt x="1399" y="1401"/>
                  </a:lnTo>
                  <a:lnTo>
                    <a:pt x="1371" y="1428"/>
                  </a:lnTo>
                  <a:lnTo>
                    <a:pt x="1342" y="1454"/>
                  </a:lnTo>
                  <a:lnTo>
                    <a:pt x="1310" y="1478"/>
                  </a:lnTo>
                  <a:lnTo>
                    <a:pt x="1278" y="1501"/>
                  </a:lnTo>
                  <a:lnTo>
                    <a:pt x="1245" y="1522"/>
                  </a:lnTo>
                  <a:lnTo>
                    <a:pt x="1211" y="1542"/>
                  </a:lnTo>
                  <a:lnTo>
                    <a:pt x="1175" y="1560"/>
                  </a:lnTo>
                  <a:lnTo>
                    <a:pt x="1139" y="1576"/>
                  </a:lnTo>
                  <a:lnTo>
                    <a:pt x="1101" y="1591"/>
                  </a:lnTo>
                  <a:lnTo>
                    <a:pt x="1064" y="1604"/>
                  </a:lnTo>
                  <a:lnTo>
                    <a:pt x="1025" y="1615"/>
                  </a:lnTo>
                  <a:lnTo>
                    <a:pt x="985" y="1624"/>
                  </a:lnTo>
                  <a:lnTo>
                    <a:pt x="944" y="1631"/>
                  </a:lnTo>
                  <a:lnTo>
                    <a:pt x="904" y="1637"/>
                  </a:lnTo>
                  <a:lnTo>
                    <a:pt x="862" y="1640"/>
                  </a:lnTo>
                  <a:lnTo>
                    <a:pt x="819"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67" name="Group 151">
            <a:extLst>
              <a:ext uri="{FF2B5EF4-FFF2-40B4-BE49-F238E27FC236}">
                <a16:creationId xmlns:a16="http://schemas.microsoft.com/office/drawing/2014/main" id="{B8A7B585-1249-49F3-AEE9-6831483C13E5}"/>
              </a:ext>
            </a:extLst>
          </p:cNvPr>
          <p:cNvGrpSpPr>
            <a:grpSpLocks noChangeAspect="1"/>
          </p:cNvGrpSpPr>
          <p:nvPr/>
        </p:nvGrpSpPr>
        <p:grpSpPr>
          <a:xfrm>
            <a:off x="7069561" y="2186361"/>
            <a:ext cx="287207" cy="285619"/>
            <a:chOff x="5464175" y="3635375"/>
            <a:chExt cx="287338" cy="285750"/>
          </a:xfrm>
          <a:solidFill>
            <a:schemeClr val="bg1"/>
          </a:solidFill>
          <a:effectLst/>
        </p:grpSpPr>
        <p:sp>
          <p:nvSpPr>
            <p:cNvPr id="568" name="Freeform 144">
              <a:extLst>
                <a:ext uri="{FF2B5EF4-FFF2-40B4-BE49-F238E27FC236}">
                  <a16:creationId xmlns:a16="http://schemas.microsoft.com/office/drawing/2014/main" id="{3FB2D04D-8A53-4F78-8961-827C19221993}"/>
                </a:ext>
              </a:extLst>
            </p:cNvPr>
            <p:cNvSpPr>
              <a:spLocks noEditPoints="1"/>
            </p:cNvSpPr>
            <p:nvPr/>
          </p:nvSpPr>
          <p:spPr bwMode="auto">
            <a:xfrm>
              <a:off x="5464175" y="3635375"/>
              <a:ext cx="287338" cy="285750"/>
            </a:xfrm>
            <a:custGeom>
              <a:avLst/>
              <a:gdLst>
                <a:gd name="T0" fmla="*/ 506 w 903"/>
                <a:gd name="T1" fmla="*/ 693 h 901"/>
                <a:gd name="T2" fmla="*/ 551 w 903"/>
                <a:gd name="T3" fmla="*/ 600 h 901"/>
                <a:gd name="T4" fmla="*/ 842 w 903"/>
                <a:gd name="T5" fmla="*/ 707 h 901"/>
                <a:gd name="T6" fmla="*/ 873 w 903"/>
                <a:gd name="T7" fmla="*/ 785 h 901"/>
                <a:gd name="T8" fmla="*/ 31 w 903"/>
                <a:gd name="T9" fmla="*/ 785 h 901"/>
                <a:gd name="T10" fmla="*/ 61 w 903"/>
                <a:gd name="T11" fmla="*/ 707 h 901"/>
                <a:gd name="T12" fmla="*/ 353 w 903"/>
                <a:gd name="T13" fmla="*/ 600 h 901"/>
                <a:gd name="T14" fmla="*/ 397 w 903"/>
                <a:gd name="T15" fmla="*/ 693 h 901"/>
                <a:gd name="T16" fmla="*/ 30 w 903"/>
                <a:gd name="T17" fmla="*/ 796 h 901"/>
                <a:gd name="T18" fmla="*/ 423 w 903"/>
                <a:gd name="T19" fmla="*/ 671 h 901"/>
                <a:gd name="T20" fmla="*/ 482 w 903"/>
                <a:gd name="T21" fmla="*/ 671 h 901"/>
                <a:gd name="T22" fmla="*/ 277 w 903"/>
                <a:gd name="T23" fmla="*/ 432 h 901"/>
                <a:gd name="T24" fmla="*/ 262 w 903"/>
                <a:gd name="T25" fmla="*/ 417 h 901"/>
                <a:gd name="T26" fmla="*/ 236 w 903"/>
                <a:gd name="T27" fmla="*/ 388 h 901"/>
                <a:gd name="T28" fmla="*/ 249 w 903"/>
                <a:gd name="T29" fmla="*/ 337 h 901"/>
                <a:gd name="T30" fmla="*/ 277 w 903"/>
                <a:gd name="T31" fmla="*/ 321 h 901"/>
                <a:gd name="T32" fmla="*/ 400 w 903"/>
                <a:gd name="T33" fmla="*/ 219 h 901"/>
                <a:gd name="T34" fmla="*/ 458 w 903"/>
                <a:gd name="T35" fmla="*/ 184 h 901"/>
                <a:gd name="T36" fmla="*/ 527 w 903"/>
                <a:gd name="T37" fmla="*/ 227 h 901"/>
                <a:gd name="T38" fmla="*/ 632 w 903"/>
                <a:gd name="T39" fmla="*/ 330 h 901"/>
                <a:gd name="T40" fmla="*/ 664 w 903"/>
                <a:gd name="T41" fmla="*/ 348 h 901"/>
                <a:gd name="T42" fmla="*/ 664 w 903"/>
                <a:gd name="T43" fmla="*/ 402 h 901"/>
                <a:gd name="T44" fmla="*/ 636 w 903"/>
                <a:gd name="T45" fmla="*/ 418 h 901"/>
                <a:gd name="T46" fmla="*/ 624 w 903"/>
                <a:gd name="T47" fmla="*/ 453 h 901"/>
                <a:gd name="T48" fmla="*/ 588 w 903"/>
                <a:gd name="T49" fmla="*/ 528 h 901"/>
                <a:gd name="T50" fmla="*/ 516 w 903"/>
                <a:gd name="T51" fmla="*/ 586 h 901"/>
                <a:gd name="T52" fmla="*/ 433 w 903"/>
                <a:gd name="T53" fmla="*/ 604 h 901"/>
                <a:gd name="T54" fmla="*/ 362 w 903"/>
                <a:gd name="T55" fmla="*/ 570 h 901"/>
                <a:gd name="T56" fmla="*/ 292 w 903"/>
                <a:gd name="T57" fmla="*/ 494 h 901"/>
                <a:gd name="T58" fmla="*/ 266 w 903"/>
                <a:gd name="T59" fmla="*/ 86 h 901"/>
                <a:gd name="T60" fmla="*/ 349 w 903"/>
                <a:gd name="T61" fmla="*/ 42 h 901"/>
                <a:gd name="T62" fmla="*/ 468 w 903"/>
                <a:gd name="T63" fmla="*/ 30 h 901"/>
                <a:gd name="T64" fmla="*/ 578 w 903"/>
                <a:gd name="T65" fmla="*/ 50 h 901"/>
                <a:gd name="T66" fmla="*/ 652 w 903"/>
                <a:gd name="T67" fmla="*/ 104 h 901"/>
                <a:gd name="T68" fmla="*/ 668 w 903"/>
                <a:gd name="T69" fmla="*/ 311 h 901"/>
                <a:gd name="T70" fmla="*/ 602 w 903"/>
                <a:gd name="T71" fmla="*/ 208 h 901"/>
                <a:gd name="T72" fmla="*/ 503 w 903"/>
                <a:gd name="T73" fmla="*/ 185 h 901"/>
                <a:gd name="T74" fmla="*/ 460 w 903"/>
                <a:gd name="T75" fmla="*/ 135 h 901"/>
                <a:gd name="T76" fmla="*/ 434 w 903"/>
                <a:gd name="T77" fmla="*/ 144 h 901"/>
                <a:gd name="T78" fmla="*/ 385 w 903"/>
                <a:gd name="T79" fmla="*/ 193 h 901"/>
                <a:gd name="T80" fmla="*/ 276 w 903"/>
                <a:gd name="T81" fmla="*/ 209 h 901"/>
                <a:gd name="T82" fmla="*/ 220 w 903"/>
                <a:gd name="T83" fmla="*/ 193 h 901"/>
                <a:gd name="T84" fmla="*/ 794 w 903"/>
                <a:gd name="T85" fmla="*/ 635 h 901"/>
                <a:gd name="T86" fmla="*/ 651 w 903"/>
                <a:gd name="T87" fmla="*/ 475 h 901"/>
                <a:gd name="T88" fmla="*/ 682 w 903"/>
                <a:gd name="T89" fmla="*/ 427 h 901"/>
                <a:gd name="T90" fmla="*/ 696 w 903"/>
                <a:gd name="T91" fmla="*/ 352 h 901"/>
                <a:gd name="T92" fmla="*/ 705 w 903"/>
                <a:gd name="T93" fmla="*/ 140 h 901"/>
                <a:gd name="T94" fmla="*/ 649 w 903"/>
                <a:gd name="T95" fmla="*/ 56 h 901"/>
                <a:gd name="T96" fmla="*/ 551 w 903"/>
                <a:gd name="T97" fmla="*/ 10 h 901"/>
                <a:gd name="T98" fmla="*/ 416 w 903"/>
                <a:gd name="T99" fmla="*/ 1 h 901"/>
                <a:gd name="T100" fmla="*/ 298 w 903"/>
                <a:gd name="T101" fmla="*/ 29 h 901"/>
                <a:gd name="T102" fmla="*/ 219 w 903"/>
                <a:gd name="T103" fmla="*/ 96 h 901"/>
                <a:gd name="T104" fmla="*/ 190 w 903"/>
                <a:gd name="T105" fmla="*/ 193 h 901"/>
                <a:gd name="T106" fmla="*/ 205 w 903"/>
                <a:gd name="T107" fmla="*/ 387 h 901"/>
                <a:gd name="T108" fmla="*/ 243 w 903"/>
                <a:gd name="T109" fmla="*/ 443 h 901"/>
                <a:gd name="T110" fmla="*/ 283 w 903"/>
                <a:gd name="T111" fmla="*/ 536 h 901"/>
                <a:gd name="T112" fmla="*/ 65 w 903"/>
                <a:gd name="T113" fmla="*/ 661 h 901"/>
                <a:gd name="T114" fmla="*/ 9 w 903"/>
                <a:gd name="T115" fmla="*/ 745 h 901"/>
                <a:gd name="T116" fmla="*/ 903 w 903"/>
                <a:gd name="T117" fmla="*/ 901 h 901"/>
                <a:gd name="T118" fmla="*/ 879 w 903"/>
                <a:gd name="T119" fmla="*/ 709 h 901"/>
                <a:gd name="T120" fmla="*/ 805 w 903"/>
                <a:gd name="T121" fmla="*/ 64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1">
                  <a:moveTo>
                    <a:pt x="873" y="871"/>
                  </a:moveTo>
                  <a:lnTo>
                    <a:pt x="574" y="871"/>
                  </a:lnTo>
                  <a:lnTo>
                    <a:pt x="476" y="726"/>
                  </a:lnTo>
                  <a:lnTo>
                    <a:pt x="485" y="722"/>
                  </a:lnTo>
                  <a:lnTo>
                    <a:pt x="491" y="717"/>
                  </a:lnTo>
                  <a:lnTo>
                    <a:pt x="498" y="710"/>
                  </a:lnTo>
                  <a:lnTo>
                    <a:pt x="503" y="702"/>
                  </a:lnTo>
                  <a:lnTo>
                    <a:pt x="506" y="693"/>
                  </a:lnTo>
                  <a:lnTo>
                    <a:pt x="510" y="684"/>
                  </a:lnTo>
                  <a:lnTo>
                    <a:pt x="512" y="673"/>
                  </a:lnTo>
                  <a:lnTo>
                    <a:pt x="512" y="661"/>
                  </a:lnTo>
                  <a:lnTo>
                    <a:pt x="512" y="620"/>
                  </a:lnTo>
                  <a:lnTo>
                    <a:pt x="521" y="616"/>
                  </a:lnTo>
                  <a:lnTo>
                    <a:pt x="531" y="611"/>
                  </a:lnTo>
                  <a:lnTo>
                    <a:pt x="542" y="605"/>
                  </a:lnTo>
                  <a:lnTo>
                    <a:pt x="551" y="600"/>
                  </a:lnTo>
                  <a:lnTo>
                    <a:pt x="784" y="664"/>
                  </a:lnTo>
                  <a:lnTo>
                    <a:pt x="794" y="669"/>
                  </a:lnTo>
                  <a:lnTo>
                    <a:pt x="803" y="673"/>
                  </a:lnTo>
                  <a:lnTo>
                    <a:pt x="812" y="678"/>
                  </a:lnTo>
                  <a:lnTo>
                    <a:pt x="820" y="685"/>
                  </a:lnTo>
                  <a:lnTo>
                    <a:pt x="828" y="691"/>
                  </a:lnTo>
                  <a:lnTo>
                    <a:pt x="835" y="699"/>
                  </a:lnTo>
                  <a:lnTo>
                    <a:pt x="842" y="707"/>
                  </a:lnTo>
                  <a:lnTo>
                    <a:pt x="848" y="716"/>
                  </a:lnTo>
                  <a:lnTo>
                    <a:pt x="854" y="724"/>
                  </a:lnTo>
                  <a:lnTo>
                    <a:pt x="859" y="734"/>
                  </a:lnTo>
                  <a:lnTo>
                    <a:pt x="863" y="744"/>
                  </a:lnTo>
                  <a:lnTo>
                    <a:pt x="867" y="754"/>
                  </a:lnTo>
                  <a:lnTo>
                    <a:pt x="869" y="764"/>
                  </a:lnTo>
                  <a:lnTo>
                    <a:pt x="871" y="775"/>
                  </a:lnTo>
                  <a:lnTo>
                    <a:pt x="873" y="785"/>
                  </a:lnTo>
                  <a:lnTo>
                    <a:pt x="873" y="796"/>
                  </a:lnTo>
                  <a:lnTo>
                    <a:pt x="873" y="871"/>
                  </a:lnTo>
                  <a:close/>
                  <a:moveTo>
                    <a:pt x="366" y="871"/>
                  </a:moveTo>
                  <a:lnTo>
                    <a:pt x="452" y="744"/>
                  </a:lnTo>
                  <a:lnTo>
                    <a:pt x="537" y="871"/>
                  </a:lnTo>
                  <a:lnTo>
                    <a:pt x="366" y="871"/>
                  </a:lnTo>
                  <a:close/>
                  <a:moveTo>
                    <a:pt x="30" y="796"/>
                  </a:moveTo>
                  <a:lnTo>
                    <a:pt x="31" y="785"/>
                  </a:lnTo>
                  <a:lnTo>
                    <a:pt x="32" y="775"/>
                  </a:lnTo>
                  <a:lnTo>
                    <a:pt x="35" y="764"/>
                  </a:lnTo>
                  <a:lnTo>
                    <a:pt x="37" y="754"/>
                  </a:lnTo>
                  <a:lnTo>
                    <a:pt x="41" y="744"/>
                  </a:lnTo>
                  <a:lnTo>
                    <a:pt x="45" y="734"/>
                  </a:lnTo>
                  <a:lnTo>
                    <a:pt x="50" y="724"/>
                  </a:lnTo>
                  <a:lnTo>
                    <a:pt x="55" y="716"/>
                  </a:lnTo>
                  <a:lnTo>
                    <a:pt x="61" y="707"/>
                  </a:lnTo>
                  <a:lnTo>
                    <a:pt x="68" y="700"/>
                  </a:lnTo>
                  <a:lnTo>
                    <a:pt x="75" y="692"/>
                  </a:lnTo>
                  <a:lnTo>
                    <a:pt x="83" y="685"/>
                  </a:lnTo>
                  <a:lnTo>
                    <a:pt x="91" y="678"/>
                  </a:lnTo>
                  <a:lnTo>
                    <a:pt x="100" y="673"/>
                  </a:lnTo>
                  <a:lnTo>
                    <a:pt x="109" y="669"/>
                  </a:lnTo>
                  <a:lnTo>
                    <a:pt x="118" y="664"/>
                  </a:lnTo>
                  <a:lnTo>
                    <a:pt x="353" y="600"/>
                  </a:lnTo>
                  <a:lnTo>
                    <a:pt x="363" y="606"/>
                  </a:lnTo>
                  <a:lnTo>
                    <a:pt x="372" y="612"/>
                  </a:lnTo>
                  <a:lnTo>
                    <a:pt x="382" y="616"/>
                  </a:lnTo>
                  <a:lnTo>
                    <a:pt x="392" y="620"/>
                  </a:lnTo>
                  <a:lnTo>
                    <a:pt x="392" y="661"/>
                  </a:lnTo>
                  <a:lnTo>
                    <a:pt x="393" y="673"/>
                  </a:lnTo>
                  <a:lnTo>
                    <a:pt x="394" y="684"/>
                  </a:lnTo>
                  <a:lnTo>
                    <a:pt x="397" y="693"/>
                  </a:lnTo>
                  <a:lnTo>
                    <a:pt x="401" y="702"/>
                  </a:lnTo>
                  <a:lnTo>
                    <a:pt x="406" y="710"/>
                  </a:lnTo>
                  <a:lnTo>
                    <a:pt x="412" y="717"/>
                  </a:lnTo>
                  <a:lnTo>
                    <a:pt x="419" y="722"/>
                  </a:lnTo>
                  <a:lnTo>
                    <a:pt x="427" y="726"/>
                  </a:lnTo>
                  <a:lnTo>
                    <a:pt x="330" y="871"/>
                  </a:lnTo>
                  <a:lnTo>
                    <a:pt x="30" y="871"/>
                  </a:lnTo>
                  <a:lnTo>
                    <a:pt x="30" y="796"/>
                  </a:lnTo>
                  <a:close/>
                  <a:moveTo>
                    <a:pt x="452" y="701"/>
                  </a:moveTo>
                  <a:lnTo>
                    <a:pt x="445" y="701"/>
                  </a:lnTo>
                  <a:lnTo>
                    <a:pt x="439" y="699"/>
                  </a:lnTo>
                  <a:lnTo>
                    <a:pt x="433" y="695"/>
                  </a:lnTo>
                  <a:lnTo>
                    <a:pt x="429" y="691"/>
                  </a:lnTo>
                  <a:lnTo>
                    <a:pt x="426" y="686"/>
                  </a:lnTo>
                  <a:lnTo>
                    <a:pt x="424" y="678"/>
                  </a:lnTo>
                  <a:lnTo>
                    <a:pt x="423" y="671"/>
                  </a:lnTo>
                  <a:lnTo>
                    <a:pt x="422" y="661"/>
                  </a:lnTo>
                  <a:lnTo>
                    <a:pt x="422" y="631"/>
                  </a:lnTo>
                  <a:lnTo>
                    <a:pt x="438" y="635"/>
                  </a:lnTo>
                  <a:lnTo>
                    <a:pt x="452" y="636"/>
                  </a:lnTo>
                  <a:lnTo>
                    <a:pt x="466" y="635"/>
                  </a:lnTo>
                  <a:lnTo>
                    <a:pt x="482" y="631"/>
                  </a:lnTo>
                  <a:lnTo>
                    <a:pt x="482" y="661"/>
                  </a:lnTo>
                  <a:lnTo>
                    <a:pt x="482" y="671"/>
                  </a:lnTo>
                  <a:lnTo>
                    <a:pt x="479" y="678"/>
                  </a:lnTo>
                  <a:lnTo>
                    <a:pt x="477" y="686"/>
                  </a:lnTo>
                  <a:lnTo>
                    <a:pt x="474" y="691"/>
                  </a:lnTo>
                  <a:lnTo>
                    <a:pt x="470" y="695"/>
                  </a:lnTo>
                  <a:lnTo>
                    <a:pt x="464" y="699"/>
                  </a:lnTo>
                  <a:lnTo>
                    <a:pt x="459" y="701"/>
                  </a:lnTo>
                  <a:lnTo>
                    <a:pt x="452" y="701"/>
                  </a:lnTo>
                  <a:close/>
                  <a:moveTo>
                    <a:pt x="277" y="432"/>
                  </a:moveTo>
                  <a:lnTo>
                    <a:pt x="277" y="428"/>
                  </a:lnTo>
                  <a:lnTo>
                    <a:pt x="276" y="426"/>
                  </a:lnTo>
                  <a:lnTo>
                    <a:pt x="275" y="423"/>
                  </a:lnTo>
                  <a:lnTo>
                    <a:pt x="273" y="421"/>
                  </a:lnTo>
                  <a:lnTo>
                    <a:pt x="270" y="419"/>
                  </a:lnTo>
                  <a:lnTo>
                    <a:pt x="268" y="418"/>
                  </a:lnTo>
                  <a:lnTo>
                    <a:pt x="265" y="417"/>
                  </a:lnTo>
                  <a:lnTo>
                    <a:pt x="262" y="417"/>
                  </a:lnTo>
                  <a:lnTo>
                    <a:pt x="259" y="417"/>
                  </a:lnTo>
                  <a:lnTo>
                    <a:pt x="254" y="416"/>
                  </a:lnTo>
                  <a:lnTo>
                    <a:pt x="251" y="415"/>
                  </a:lnTo>
                  <a:lnTo>
                    <a:pt x="249" y="412"/>
                  </a:lnTo>
                  <a:lnTo>
                    <a:pt x="244" y="407"/>
                  </a:lnTo>
                  <a:lnTo>
                    <a:pt x="240" y="402"/>
                  </a:lnTo>
                  <a:lnTo>
                    <a:pt x="237" y="394"/>
                  </a:lnTo>
                  <a:lnTo>
                    <a:pt x="236" y="388"/>
                  </a:lnTo>
                  <a:lnTo>
                    <a:pt x="235" y="380"/>
                  </a:lnTo>
                  <a:lnTo>
                    <a:pt x="234" y="375"/>
                  </a:lnTo>
                  <a:lnTo>
                    <a:pt x="235" y="368"/>
                  </a:lnTo>
                  <a:lnTo>
                    <a:pt x="236" y="362"/>
                  </a:lnTo>
                  <a:lnTo>
                    <a:pt x="237" y="356"/>
                  </a:lnTo>
                  <a:lnTo>
                    <a:pt x="240" y="348"/>
                  </a:lnTo>
                  <a:lnTo>
                    <a:pt x="244" y="343"/>
                  </a:lnTo>
                  <a:lnTo>
                    <a:pt x="249" y="337"/>
                  </a:lnTo>
                  <a:lnTo>
                    <a:pt x="251" y="335"/>
                  </a:lnTo>
                  <a:lnTo>
                    <a:pt x="254" y="334"/>
                  </a:lnTo>
                  <a:lnTo>
                    <a:pt x="259" y="333"/>
                  </a:lnTo>
                  <a:lnTo>
                    <a:pt x="262" y="333"/>
                  </a:lnTo>
                  <a:lnTo>
                    <a:pt x="267" y="332"/>
                  </a:lnTo>
                  <a:lnTo>
                    <a:pt x="271" y="330"/>
                  </a:lnTo>
                  <a:lnTo>
                    <a:pt x="275" y="326"/>
                  </a:lnTo>
                  <a:lnTo>
                    <a:pt x="277" y="321"/>
                  </a:lnTo>
                  <a:lnTo>
                    <a:pt x="293" y="238"/>
                  </a:lnTo>
                  <a:lnTo>
                    <a:pt x="313" y="238"/>
                  </a:lnTo>
                  <a:lnTo>
                    <a:pt x="333" y="235"/>
                  </a:lnTo>
                  <a:lnTo>
                    <a:pt x="349" y="233"/>
                  </a:lnTo>
                  <a:lnTo>
                    <a:pt x="364" y="230"/>
                  </a:lnTo>
                  <a:lnTo>
                    <a:pt x="378" y="227"/>
                  </a:lnTo>
                  <a:lnTo>
                    <a:pt x="389" y="224"/>
                  </a:lnTo>
                  <a:lnTo>
                    <a:pt x="400" y="219"/>
                  </a:lnTo>
                  <a:lnTo>
                    <a:pt x="409" y="215"/>
                  </a:lnTo>
                  <a:lnTo>
                    <a:pt x="417" y="210"/>
                  </a:lnTo>
                  <a:lnTo>
                    <a:pt x="425" y="204"/>
                  </a:lnTo>
                  <a:lnTo>
                    <a:pt x="431" y="200"/>
                  </a:lnTo>
                  <a:lnTo>
                    <a:pt x="437" y="195"/>
                  </a:lnTo>
                  <a:lnTo>
                    <a:pt x="445" y="184"/>
                  </a:lnTo>
                  <a:lnTo>
                    <a:pt x="452" y="174"/>
                  </a:lnTo>
                  <a:lnTo>
                    <a:pt x="458" y="184"/>
                  </a:lnTo>
                  <a:lnTo>
                    <a:pt x="468" y="195"/>
                  </a:lnTo>
                  <a:lnTo>
                    <a:pt x="473" y="200"/>
                  </a:lnTo>
                  <a:lnTo>
                    <a:pt x="478" y="204"/>
                  </a:lnTo>
                  <a:lnTo>
                    <a:pt x="486" y="210"/>
                  </a:lnTo>
                  <a:lnTo>
                    <a:pt x="494" y="215"/>
                  </a:lnTo>
                  <a:lnTo>
                    <a:pt x="504" y="219"/>
                  </a:lnTo>
                  <a:lnTo>
                    <a:pt x="515" y="224"/>
                  </a:lnTo>
                  <a:lnTo>
                    <a:pt x="527" y="227"/>
                  </a:lnTo>
                  <a:lnTo>
                    <a:pt x="540" y="230"/>
                  </a:lnTo>
                  <a:lnTo>
                    <a:pt x="555" y="233"/>
                  </a:lnTo>
                  <a:lnTo>
                    <a:pt x="572" y="235"/>
                  </a:lnTo>
                  <a:lnTo>
                    <a:pt x="590" y="238"/>
                  </a:lnTo>
                  <a:lnTo>
                    <a:pt x="610" y="238"/>
                  </a:lnTo>
                  <a:lnTo>
                    <a:pt x="626" y="321"/>
                  </a:lnTo>
                  <a:lnTo>
                    <a:pt x="629" y="326"/>
                  </a:lnTo>
                  <a:lnTo>
                    <a:pt x="632" y="330"/>
                  </a:lnTo>
                  <a:lnTo>
                    <a:pt x="636" y="332"/>
                  </a:lnTo>
                  <a:lnTo>
                    <a:pt x="641" y="333"/>
                  </a:lnTo>
                  <a:lnTo>
                    <a:pt x="646" y="333"/>
                  </a:lnTo>
                  <a:lnTo>
                    <a:pt x="649" y="334"/>
                  </a:lnTo>
                  <a:lnTo>
                    <a:pt x="652" y="335"/>
                  </a:lnTo>
                  <a:lnTo>
                    <a:pt x="655" y="337"/>
                  </a:lnTo>
                  <a:lnTo>
                    <a:pt x="660" y="343"/>
                  </a:lnTo>
                  <a:lnTo>
                    <a:pt x="664" y="348"/>
                  </a:lnTo>
                  <a:lnTo>
                    <a:pt x="666" y="356"/>
                  </a:lnTo>
                  <a:lnTo>
                    <a:pt x="668" y="362"/>
                  </a:lnTo>
                  <a:lnTo>
                    <a:pt x="668" y="368"/>
                  </a:lnTo>
                  <a:lnTo>
                    <a:pt x="669" y="375"/>
                  </a:lnTo>
                  <a:lnTo>
                    <a:pt x="668" y="380"/>
                  </a:lnTo>
                  <a:lnTo>
                    <a:pt x="668" y="388"/>
                  </a:lnTo>
                  <a:lnTo>
                    <a:pt x="666" y="394"/>
                  </a:lnTo>
                  <a:lnTo>
                    <a:pt x="664" y="402"/>
                  </a:lnTo>
                  <a:lnTo>
                    <a:pt x="660" y="407"/>
                  </a:lnTo>
                  <a:lnTo>
                    <a:pt x="655" y="412"/>
                  </a:lnTo>
                  <a:lnTo>
                    <a:pt x="652" y="415"/>
                  </a:lnTo>
                  <a:lnTo>
                    <a:pt x="649" y="416"/>
                  </a:lnTo>
                  <a:lnTo>
                    <a:pt x="646" y="417"/>
                  </a:lnTo>
                  <a:lnTo>
                    <a:pt x="641" y="417"/>
                  </a:lnTo>
                  <a:lnTo>
                    <a:pt x="638" y="417"/>
                  </a:lnTo>
                  <a:lnTo>
                    <a:pt x="636" y="418"/>
                  </a:lnTo>
                  <a:lnTo>
                    <a:pt x="633" y="419"/>
                  </a:lnTo>
                  <a:lnTo>
                    <a:pt x="631" y="421"/>
                  </a:lnTo>
                  <a:lnTo>
                    <a:pt x="629" y="423"/>
                  </a:lnTo>
                  <a:lnTo>
                    <a:pt x="627" y="426"/>
                  </a:lnTo>
                  <a:lnTo>
                    <a:pt x="626" y="428"/>
                  </a:lnTo>
                  <a:lnTo>
                    <a:pt x="626" y="432"/>
                  </a:lnTo>
                  <a:lnTo>
                    <a:pt x="626" y="442"/>
                  </a:lnTo>
                  <a:lnTo>
                    <a:pt x="624" y="453"/>
                  </a:lnTo>
                  <a:lnTo>
                    <a:pt x="622" y="464"/>
                  </a:lnTo>
                  <a:lnTo>
                    <a:pt x="620" y="475"/>
                  </a:lnTo>
                  <a:lnTo>
                    <a:pt x="616" y="484"/>
                  </a:lnTo>
                  <a:lnTo>
                    <a:pt x="611" y="494"/>
                  </a:lnTo>
                  <a:lnTo>
                    <a:pt x="606" y="502"/>
                  </a:lnTo>
                  <a:lnTo>
                    <a:pt x="601" y="512"/>
                  </a:lnTo>
                  <a:lnTo>
                    <a:pt x="595" y="521"/>
                  </a:lnTo>
                  <a:lnTo>
                    <a:pt x="588" y="528"/>
                  </a:lnTo>
                  <a:lnTo>
                    <a:pt x="581" y="537"/>
                  </a:lnTo>
                  <a:lnTo>
                    <a:pt x="574" y="544"/>
                  </a:lnTo>
                  <a:lnTo>
                    <a:pt x="559" y="558"/>
                  </a:lnTo>
                  <a:lnTo>
                    <a:pt x="543" y="570"/>
                  </a:lnTo>
                  <a:lnTo>
                    <a:pt x="542" y="571"/>
                  </a:lnTo>
                  <a:lnTo>
                    <a:pt x="541" y="571"/>
                  </a:lnTo>
                  <a:lnTo>
                    <a:pt x="528" y="580"/>
                  </a:lnTo>
                  <a:lnTo>
                    <a:pt x="516" y="586"/>
                  </a:lnTo>
                  <a:lnTo>
                    <a:pt x="503" y="592"/>
                  </a:lnTo>
                  <a:lnTo>
                    <a:pt x="491" y="597"/>
                  </a:lnTo>
                  <a:lnTo>
                    <a:pt x="481" y="601"/>
                  </a:lnTo>
                  <a:lnTo>
                    <a:pt x="470" y="604"/>
                  </a:lnTo>
                  <a:lnTo>
                    <a:pt x="460" y="605"/>
                  </a:lnTo>
                  <a:lnTo>
                    <a:pt x="452" y="606"/>
                  </a:lnTo>
                  <a:lnTo>
                    <a:pt x="443" y="605"/>
                  </a:lnTo>
                  <a:lnTo>
                    <a:pt x="433" y="604"/>
                  </a:lnTo>
                  <a:lnTo>
                    <a:pt x="424" y="601"/>
                  </a:lnTo>
                  <a:lnTo>
                    <a:pt x="412" y="597"/>
                  </a:lnTo>
                  <a:lnTo>
                    <a:pt x="400" y="592"/>
                  </a:lnTo>
                  <a:lnTo>
                    <a:pt x="388" y="586"/>
                  </a:lnTo>
                  <a:lnTo>
                    <a:pt x="377" y="580"/>
                  </a:lnTo>
                  <a:lnTo>
                    <a:pt x="364" y="572"/>
                  </a:lnTo>
                  <a:lnTo>
                    <a:pt x="363" y="571"/>
                  </a:lnTo>
                  <a:lnTo>
                    <a:pt x="362" y="570"/>
                  </a:lnTo>
                  <a:lnTo>
                    <a:pt x="345" y="558"/>
                  </a:lnTo>
                  <a:lnTo>
                    <a:pt x="330" y="544"/>
                  </a:lnTo>
                  <a:lnTo>
                    <a:pt x="323" y="537"/>
                  </a:lnTo>
                  <a:lnTo>
                    <a:pt x="315" y="529"/>
                  </a:lnTo>
                  <a:lnTo>
                    <a:pt x="309" y="521"/>
                  </a:lnTo>
                  <a:lnTo>
                    <a:pt x="303" y="512"/>
                  </a:lnTo>
                  <a:lnTo>
                    <a:pt x="297" y="503"/>
                  </a:lnTo>
                  <a:lnTo>
                    <a:pt x="292" y="494"/>
                  </a:lnTo>
                  <a:lnTo>
                    <a:pt x="288" y="484"/>
                  </a:lnTo>
                  <a:lnTo>
                    <a:pt x="284" y="475"/>
                  </a:lnTo>
                  <a:lnTo>
                    <a:pt x="281" y="464"/>
                  </a:lnTo>
                  <a:lnTo>
                    <a:pt x="279" y="453"/>
                  </a:lnTo>
                  <a:lnTo>
                    <a:pt x="278" y="442"/>
                  </a:lnTo>
                  <a:lnTo>
                    <a:pt x="277" y="432"/>
                  </a:lnTo>
                  <a:close/>
                  <a:moveTo>
                    <a:pt x="259" y="94"/>
                  </a:moveTo>
                  <a:lnTo>
                    <a:pt x="266" y="86"/>
                  </a:lnTo>
                  <a:lnTo>
                    <a:pt x="275" y="79"/>
                  </a:lnTo>
                  <a:lnTo>
                    <a:pt x="283" y="73"/>
                  </a:lnTo>
                  <a:lnTo>
                    <a:pt x="293" y="66"/>
                  </a:lnTo>
                  <a:lnTo>
                    <a:pt x="303" y="61"/>
                  </a:lnTo>
                  <a:lnTo>
                    <a:pt x="313" y="55"/>
                  </a:lnTo>
                  <a:lnTo>
                    <a:pt x="325" y="50"/>
                  </a:lnTo>
                  <a:lnTo>
                    <a:pt x="337" y="46"/>
                  </a:lnTo>
                  <a:lnTo>
                    <a:pt x="349" y="42"/>
                  </a:lnTo>
                  <a:lnTo>
                    <a:pt x="362" y="38"/>
                  </a:lnTo>
                  <a:lnTo>
                    <a:pt x="375" y="36"/>
                  </a:lnTo>
                  <a:lnTo>
                    <a:pt x="389" y="34"/>
                  </a:lnTo>
                  <a:lnTo>
                    <a:pt x="404" y="32"/>
                  </a:lnTo>
                  <a:lnTo>
                    <a:pt x="419" y="31"/>
                  </a:lnTo>
                  <a:lnTo>
                    <a:pt x="436" y="30"/>
                  </a:lnTo>
                  <a:lnTo>
                    <a:pt x="452" y="30"/>
                  </a:lnTo>
                  <a:lnTo>
                    <a:pt x="468" y="30"/>
                  </a:lnTo>
                  <a:lnTo>
                    <a:pt x="484" y="31"/>
                  </a:lnTo>
                  <a:lnTo>
                    <a:pt x="499" y="32"/>
                  </a:lnTo>
                  <a:lnTo>
                    <a:pt x="514" y="34"/>
                  </a:lnTo>
                  <a:lnTo>
                    <a:pt x="528" y="36"/>
                  </a:lnTo>
                  <a:lnTo>
                    <a:pt x="542" y="38"/>
                  </a:lnTo>
                  <a:lnTo>
                    <a:pt x="555" y="41"/>
                  </a:lnTo>
                  <a:lnTo>
                    <a:pt x="566" y="46"/>
                  </a:lnTo>
                  <a:lnTo>
                    <a:pt x="578" y="50"/>
                  </a:lnTo>
                  <a:lnTo>
                    <a:pt x="590" y="54"/>
                  </a:lnTo>
                  <a:lnTo>
                    <a:pt x="601" y="60"/>
                  </a:lnTo>
                  <a:lnTo>
                    <a:pt x="610" y="66"/>
                  </a:lnTo>
                  <a:lnTo>
                    <a:pt x="620" y="73"/>
                  </a:lnTo>
                  <a:lnTo>
                    <a:pt x="629" y="79"/>
                  </a:lnTo>
                  <a:lnTo>
                    <a:pt x="637" y="86"/>
                  </a:lnTo>
                  <a:lnTo>
                    <a:pt x="645" y="94"/>
                  </a:lnTo>
                  <a:lnTo>
                    <a:pt x="652" y="104"/>
                  </a:lnTo>
                  <a:lnTo>
                    <a:pt x="659" y="112"/>
                  </a:lnTo>
                  <a:lnTo>
                    <a:pt x="664" y="122"/>
                  </a:lnTo>
                  <a:lnTo>
                    <a:pt x="669" y="131"/>
                  </a:lnTo>
                  <a:lnTo>
                    <a:pt x="676" y="150"/>
                  </a:lnTo>
                  <a:lnTo>
                    <a:pt x="680" y="166"/>
                  </a:lnTo>
                  <a:lnTo>
                    <a:pt x="683" y="192"/>
                  </a:lnTo>
                  <a:lnTo>
                    <a:pt x="683" y="202"/>
                  </a:lnTo>
                  <a:lnTo>
                    <a:pt x="668" y="311"/>
                  </a:lnTo>
                  <a:lnTo>
                    <a:pt x="662" y="307"/>
                  </a:lnTo>
                  <a:lnTo>
                    <a:pt x="654" y="304"/>
                  </a:lnTo>
                  <a:lnTo>
                    <a:pt x="637" y="220"/>
                  </a:lnTo>
                  <a:lnTo>
                    <a:pt x="635" y="215"/>
                  </a:lnTo>
                  <a:lnTo>
                    <a:pt x="632" y="212"/>
                  </a:lnTo>
                  <a:lnTo>
                    <a:pt x="627" y="209"/>
                  </a:lnTo>
                  <a:lnTo>
                    <a:pt x="622" y="208"/>
                  </a:lnTo>
                  <a:lnTo>
                    <a:pt x="602" y="208"/>
                  </a:lnTo>
                  <a:lnTo>
                    <a:pt x="583" y="207"/>
                  </a:lnTo>
                  <a:lnTo>
                    <a:pt x="567" y="204"/>
                  </a:lnTo>
                  <a:lnTo>
                    <a:pt x="552" y="202"/>
                  </a:lnTo>
                  <a:lnTo>
                    <a:pt x="540" y="200"/>
                  </a:lnTo>
                  <a:lnTo>
                    <a:pt x="529" y="197"/>
                  </a:lnTo>
                  <a:lnTo>
                    <a:pt x="518" y="193"/>
                  </a:lnTo>
                  <a:lnTo>
                    <a:pt x="510" y="188"/>
                  </a:lnTo>
                  <a:lnTo>
                    <a:pt x="503" y="185"/>
                  </a:lnTo>
                  <a:lnTo>
                    <a:pt x="497" y="180"/>
                  </a:lnTo>
                  <a:lnTo>
                    <a:pt x="491" y="175"/>
                  </a:lnTo>
                  <a:lnTo>
                    <a:pt x="487" y="171"/>
                  </a:lnTo>
                  <a:lnTo>
                    <a:pt x="479" y="161"/>
                  </a:lnTo>
                  <a:lnTo>
                    <a:pt x="474" y="153"/>
                  </a:lnTo>
                  <a:lnTo>
                    <a:pt x="469" y="144"/>
                  </a:lnTo>
                  <a:lnTo>
                    <a:pt x="462" y="137"/>
                  </a:lnTo>
                  <a:lnTo>
                    <a:pt x="460" y="135"/>
                  </a:lnTo>
                  <a:lnTo>
                    <a:pt x="458" y="134"/>
                  </a:lnTo>
                  <a:lnTo>
                    <a:pt x="455" y="133"/>
                  </a:lnTo>
                  <a:lnTo>
                    <a:pt x="452" y="133"/>
                  </a:lnTo>
                  <a:lnTo>
                    <a:pt x="448" y="133"/>
                  </a:lnTo>
                  <a:lnTo>
                    <a:pt x="446" y="134"/>
                  </a:lnTo>
                  <a:lnTo>
                    <a:pt x="443" y="135"/>
                  </a:lnTo>
                  <a:lnTo>
                    <a:pt x="441" y="137"/>
                  </a:lnTo>
                  <a:lnTo>
                    <a:pt x="434" y="144"/>
                  </a:lnTo>
                  <a:lnTo>
                    <a:pt x="429" y="153"/>
                  </a:lnTo>
                  <a:lnTo>
                    <a:pt x="424" y="161"/>
                  </a:lnTo>
                  <a:lnTo>
                    <a:pt x="417" y="171"/>
                  </a:lnTo>
                  <a:lnTo>
                    <a:pt x="412" y="175"/>
                  </a:lnTo>
                  <a:lnTo>
                    <a:pt x="408" y="180"/>
                  </a:lnTo>
                  <a:lnTo>
                    <a:pt x="401" y="184"/>
                  </a:lnTo>
                  <a:lnTo>
                    <a:pt x="394" y="188"/>
                  </a:lnTo>
                  <a:lnTo>
                    <a:pt x="385" y="193"/>
                  </a:lnTo>
                  <a:lnTo>
                    <a:pt x="375" y="197"/>
                  </a:lnTo>
                  <a:lnTo>
                    <a:pt x="364" y="200"/>
                  </a:lnTo>
                  <a:lnTo>
                    <a:pt x="351" y="202"/>
                  </a:lnTo>
                  <a:lnTo>
                    <a:pt x="337" y="204"/>
                  </a:lnTo>
                  <a:lnTo>
                    <a:pt x="320" y="207"/>
                  </a:lnTo>
                  <a:lnTo>
                    <a:pt x="302" y="208"/>
                  </a:lnTo>
                  <a:lnTo>
                    <a:pt x="281" y="208"/>
                  </a:lnTo>
                  <a:lnTo>
                    <a:pt x="276" y="209"/>
                  </a:lnTo>
                  <a:lnTo>
                    <a:pt x="271" y="212"/>
                  </a:lnTo>
                  <a:lnTo>
                    <a:pt x="268" y="215"/>
                  </a:lnTo>
                  <a:lnTo>
                    <a:pt x="266" y="220"/>
                  </a:lnTo>
                  <a:lnTo>
                    <a:pt x="250" y="304"/>
                  </a:lnTo>
                  <a:lnTo>
                    <a:pt x="241" y="307"/>
                  </a:lnTo>
                  <a:lnTo>
                    <a:pt x="235" y="311"/>
                  </a:lnTo>
                  <a:lnTo>
                    <a:pt x="220" y="202"/>
                  </a:lnTo>
                  <a:lnTo>
                    <a:pt x="220" y="193"/>
                  </a:lnTo>
                  <a:lnTo>
                    <a:pt x="223" y="167"/>
                  </a:lnTo>
                  <a:lnTo>
                    <a:pt x="228" y="150"/>
                  </a:lnTo>
                  <a:lnTo>
                    <a:pt x="234" y="131"/>
                  </a:lnTo>
                  <a:lnTo>
                    <a:pt x="239" y="122"/>
                  </a:lnTo>
                  <a:lnTo>
                    <a:pt x="245" y="113"/>
                  </a:lnTo>
                  <a:lnTo>
                    <a:pt x="251" y="104"/>
                  </a:lnTo>
                  <a:lnTo>
                    <a:pt x="259" y="94"/>
                  </a:lnTo>
                  <a:close/>
                  <a:moveTo>
                    <a:pt x="794" y="635"/>
                  </a:moveTo>
                  <a:lnTo>
                    <a:pt x="581" y="576"/>
                  </a:lnTo>
                  <a:lnTo>
                    <a:pt x="595" y="564"/>
                  </a:lnTo>
                  <a:lnTo>
                    <a:pt x="609" y="550"/>
                  </a:lnTo>
                  <a:lnTo>
                    <a:pt x="621" y="535"/>
                  </a:lnTo>
                  <a:lnTo>
                    <a:pt x="632" y="519"/>
                  </a:lnTo>
                  <a:lnTo>
                    <a:pt x="640" y="501"/>
                  </a:lnTo>
                  <a:lnTo>
                    <a:pt x="648" y="484"/>
                  </a:lnTo>
                  <a:lnTo>
                    <a:pt x="651" y="475"/>
                  </a:lnTo>
                  <a:lnTo>
                    <a:pt x="653" y="465"/>
                  </a:lnTo>
                  <a:lnTo>
                    <a:pt x="654" y="455"/>
                  </a:lnTo>
                  <a:lnTo>
                    <a:pt x="656" y="445"/>
                  </a:lnTo>
                  <a:lnTo>
                    <a:pt x="661" y="443"/>
                  </a:lnTo>
                  <a:lnTo>
                    <a:pt x="666" y="440"/>
                  </a:lnTo>
                  <a:lnTo>
                    <a:pt x="670" y="438"/>
                  </a:lnTo>
                  <a:lnTo>
                    <a:pt x="675" y="435"/>
                  </a:lnTo>
                  <a:lnTo>
                    <a:pt x="682" y="427"/>
                  </a:lnTo>
                  <a:lnTo>
                    <a:pt x="689" y="419"/>
                  </a:lnTo>
                  <a:lnTo>
                    <a:pt x="693" y="408"/>
                  </a:lnTo>
                  <a:lnTo>
                    <a:pt x="696" y="397"/>
                  </a:lnTo>
                  <a:lnTo>
                    <a:pt x="698" y="387"/>
                  </a:lnTo>
                  <a:lnTo>
                    <a:pt x="699" y="375"/>
                  </a:lnTo>
                  <a:lnTo>
                    <a:pt x="699" y="367"/>
                  </a:lnTo>
                  <a:lnTo>
                    <a:pt x="698" y="360"/>
                  </a:lnTo>
                  <a:lnTo>
                    <a:pt x="696" y="352"/>
                  </a:lnTo>
                  <a:lnTo>
                    <a:pt x="694" y="345"/>
                  </a:lnTo>
                  <a:lnTo>
                    <a:pt x="713" y="205"/>
                  </a:lnTo>
                  <a:lnTo>
                    <a:pt x="713" y="201"/>
                  </a:lnTo>
                  <a:lnTo>
                    <a:pt x="713" y="192"/>
                  </a:lnTo>
                  <a:lnTo>
                    <a:pt x="713" y="178"/>
                  </a:lnTo>
                  <a:lnTo>
                    <a:pt x="710" y="160"/>
                  </a:lnTo>
                  <a:lnTo>
                    <a:pt x="708" y="151"/>
                  </a:lnTo>
                  <a:lnTo>
                    <a:pt x="705" y="140"/>
                  </a:lnTo>
                  <a:lnTo>
                    <a:pt x="701" y="129"/>
                  </a:lnTo>
                  <a:lnTo>
                    <a:pt x="697" y="119"/>
                  </a:lnTo>
                  <a:lnTo>
                    <a:pt x="691" y="108"/>
                  </a:lnTo>
                  <a:lnTo>
                    <a:pt x="684" y="96"/>
                  </a:lnTo>
                  <a:lnTo>
                    <a:pt x="677" y="85"/>
                  </a:lnTo>
                  <a:lnTo>
                    <a:pt x="667" y="74"/>
                  </a:lnTo>
                  <a:lnTo>
                    <a:pt x="659" y="65"/>
                  </a:lnTo>
                  <a:lnTo>
                    <a:pt x="649" y="56"/>
                  </a:lnTo>
                  <a:lnTo>
                    <a:pt x="639" y="49"/>
                  </a:lnTo>
                  <a:lnTo>
                    <a:pt x="629" y="41"/>
                  </a:lnTo>
                  <a:lnTo>
                    <a:pt x="617" y="35"/>
                  </a:lnTo>
                  <a:lnTo>
                    <a:pt x="605" y="29"/>
                  </a:lnTo>
                  <a:lnTo>
                    <a:pt x="593" y="23"/>
                  </a:lnTo>
                  <a:lnTo>
                    <a:pt x="579" y="18"/>
                  </a:lnTo>
                  <a:lnTo>
                    <a:pt x="565" y="14"/>
                  </a:lnTo>
                  <a:lnTo>
                    <a:pt x="551" y="10"/>
                  </a:lnTo>
                  <a:lnTo>
                    <a:pt x="536" y="7"/>
                  </a:lnTo>
                  <a:lnTo>
                    <a:pt x="520" y="4"/>
                  </a:lnTo>
                  <a:lnTo>
                    <a:pt x="504" y="2"/>
                  </a:lnTo>
                  <a:lnTo>
                    <a:pt x="487" y="1"/>
                  </a:lnTo>
                  <a:lnTo>
                    <a:pt x="470" y="0"/>
                  </a:lnTo>
                  <a:lnTo>
                    <a:pt x="452" y="0"/>
                  </a:lnTo>
                  <a:lnTo>
                    <a:pt x="433" y="0"/>
                  </a:lnTo>
                  <a:lnTo>
                    <a:pt x="416" y="1"/>
                  </a:lnTo>
                  <a:lnTo>
                    <a:pt x="399" y="2"/>
                  </a:lnTo>
                  <a:lnTo>
                    <a:pt x="383" y="4"/>
                  </a:lnTo>
                  <a:lnTo>
                    <a:pt x="367" y="7"/>
                  </a:lnTo>
                  <a:lnTo>
                    <a:pt x="352" y="10"/>
                  </a:lnTo>
                  <a:lnTo>
                    <a:pt x="338" y="14"/>
                  </a:lnTo>
                  <a:lnTo>
                    <a:pt x="324" y="18"/>
                  </a:lnTo>
                  <a:lnTo>
                    <a:pt x="311" y="23"/>
                  </a:lnTo>
                  <a:lnTo>
                    <a:pt x="298" y="29"/>
                  </a:lnTo>
                  <a:lnTo>
                    <a:pt x="286" y="35"/>
                  </a:lnTo>
                  <a:lnTo>
                    <a:pt x="275" y="41"/>
                  </a:lnTo>
                  <a:lnTo>
                    <a:pt x="265" y="49"/>
                  </a:lnTo>
                  <a:lnTo>
                    <a:pt x="254" y="56"/>
                  </a:lnTo>
                  <a:lnTo>
                    <a:pt x="245" y="65"/>
                  </a:lnTo>
                  <a:lnTo>
                    <a:pt x="236" y="74"/>
                  </a:lnTo>
                  <a:lnTo>
                    <a:pt x="228" y="85"/>
                  </a:lnTo>
                  <a:lnTo>
                    <a:pt x="219" y="96"/>
                  </a:lnTo>
                  <a:lnTo>
                    <a:pt x="213" y="108"/>
                  </a:lnTo>
                  <a:lnTo>
                    <a:pt x="207" y="119"/>
                  </a:lnTo>
                  <a:lnTo>
                    <a:pt x="202" y="129"/>
                  </a:lnTo>
                  <a:lnTo>
                    <a:pt x="199" y="140"/>
                  </a:lnTo>
                  <a:lnTo>
                    <a:pt x="195" y="151"/>
                  </a:lnTo>
                  <a:lnTo>
                    <a:pt x="193" y="160"/>
                  </a:lnTo>
                  <a:lnTo>
                    <a:pt x="191" y="179"/>
                  </a:lnTo>
                  <a:lnTo>
                    <a:pt x="190" y="193"/>
                  </a:lnTo>
                  <a:lnTo>
                    <a:pt x="190" y="202"/>
                  </a:lnTo>
                  <a:lnTo>
                    <a:pt x="190" y="207"/>
                  </a:lnTo>
                  <a:lnTo>
                    <a:pt x="209" y="345"/>
                  </a:lnTo>
                  <a:lnTo>
                    <a:pt x="207" y="352"/>
                  </a:lnTo>
                  <a:lnTo>
                    <a:pt x="206" y="360"/>
                  </a:lnTo>
                  <a:lnTo>
                    <a:pt x="205" y="367"/>
                  </a:lnTo>
                  <a:lnTo>
                    <a:pt x="204" y="375"/>
                  </a:lnTo>
                  <a:lnTo>
                    <a:pt x="205" y="387"/>
                  </a:lnTo>
                  <a:lnTo>
                    <a:pt x="207" y="397"/>
                  </a:lnTo>
                  <a:lnTo>
                    <a:pt x="210" y="408"/>
                  </a:lnTo>
                  <a:lnTo>
                    <a:pt x="216" y="419"/>
                  </a:lnTo>
                  <a:lnTo>
                    <a:pt x="221" y="427"/>
                  </a:lnTo>
                  <a:lnTo>
                    <a:pt x="229" y="435"/>
                  </a:lnTo>
                  <a:lnTo>
                    <a:pt x="233" y="438"/>
                  </a:lnTo>
                  <a:lnTo>
                    <a:pt x="237" y="440"/>
                  </a:lnTo>
                  <a:lnTo>
                    <a:pt x="243" y="443"/>
                  </a:lnTo>
                  <a:lnTo>
                    <a:pt x="248" y="445"/>
                  </a:lnTo>
                  <a:lnTo>
                    <a:pt x="249" y="455"/>
                  </a:lnTo>
                  <a:lnTo>
                    <a:pt x="251" y="465"/>
                  </a:lnTo>
                  <a:lnTo>
                    <a:pt x="253" y="475"/>
                  </a:lnTo>
                  <a:lnTo>
                    <a:pt x="255" y="484"/>
                  </a:lnTo>
                  <a:lnTo>
                    <a:pt x="263" y="502"/>
                  </a:lnTo>
                  <a:lnTo>
                    <a:pt x="273" y="520"/>
                  </a:lnTo>
                  <a:lnTo>
                    <a:pt x="283" y="536"/>
                  </a:lnTo>
                  <a:lnTo>
                    <a:pt x="295" y="551"/>
                  </a:lnTo>
                  <a:lnTo>
                    <a:pt x="308" y="565"/>
                  </a:lnTo>
                  <a:lnTo>
                    <a:pt x="323" y="577"/>
                  </a:lnTo>
                  <a:lnTo>
                    <a:pt x="109" y="635"/>
                  </a:lnTo>
                  <a:lnTo>
                    <a:pt x="97" y="641"/>
                  </a:lnTo>
                  <a:lnTo>
                    <a:pt x="86" y="646"/>
                  </a:lnTo>
                  <a:lnTo>
                    <a:pt x="75" y="654"/>
                  </a:lnTo>
                  <a:lnTo>
                    <a:pt x="65" y="661"/>
                  </a:lnTo>
                  <a:lnTo>
                    <a:pt x="56" y="670"/>
                  </a:lnTo>
                  <a:lnTo>
                    <a:pt x="46" y="678"/>
                  </a:lnTo>
                  <a:lnTo>
                    <a:pt x="39" y="688"/>
                  </a:lnTo>
                  <a:lnTo>
                    <a:pt x="31" y="699"/>
                  </a:lnTo>
                  <a:lnTo>
                    <a:pt x="24" y="709"/>
                  </a:lnTo>
                  <a:lnTo>
                    <a:pt x="18" y="721"/>
                  </a:lnTo>
                  <a:lnTo>
                    <a:pt x="13" y="733"/>
                  </a:lnTo>
                  <a:lnTo>
                    <a:pt x="9" y="745"/>
                  </a:lnTo>
                  <a:lnTo>
                    <a:pt x="6" y="758"/>
                  </a:lnTo>
                  <a:lnTo>
                    <a:pt x="2" y="770"/>
                  </a:lnTo>
                  <a:lnTo>
                    <a:pt x="1" y="783"/>
                  </a:lnTo>
                  <a:lnTo>
                    <a:pt x="0" y="796"/>
                  </a:lnTo>
                  <a:lnTo>
                    <a:pt x="0" y="901"/>
                  </a:lnTo>
                  <a:lnTo>
                    <a:pt x="338" y="901"/>
                  </a:lnTo>
                  <a:lnTo>
                    <a:pt x="565" y="901"/>
                  </a:lnTo>
                  <a:lnTo>
                    <a:pt x="903" y="901"/>
                  </a:lnTo>
                  <a:lnTo>
                    <a:pt x="903" y="796"/>
                  </a:lnTo>
                  <a:lnTo>
                    <a:pt x="903" y="783"/>
                  </a:lnTo>
                  <a:lnTo>
                    <a:pt x="901" y="770"/>
                  </a:lnTo>
                  <a:lnTo>
                    <a:pt x="899" y="758"/>
                  </a:lnTo>
                  <a:lnTo>
                    <a:pt x="895" y="745"/>
                  </a:lnTo>
                  <a:lnTo>
                    <a:pt x="891" y="733"/>
                  </a:lnTo>
                  <a:lnTo>
                    <a:pt x="886" y="721"/>
                  </a:lnTo>
                  <a:lnTo>
                    <a:pt x="879" y="709"/>
                  </a:lnTo>
                  <a:lnTo>
                    <a:pt x="873" y="699"/>
                  </a:lnTo>
                  <a:lnTo>
                    <a:pt x="865" y="688"/>
                  </a:lnTo>
                  <a:lnTo>
                    <a:pt x="857" y="678"/>
                  </a:lnTo>
                  <a:lnTo>
                    <a:pt x="847" y="670"/>
                  </a:lnTo>
                  <a:lnTo>
                    <a:pt x="838" y="661"/>
                  </a:lnTo>
                  <a:lnTo>
                    <a:pt x="828" y="654"/>
                  </a:lnTo>
                  <a:lnTo>
                    <a:pt x="817" y="646"/>
                  </a:lnTo>
                  <a:lnTo>
                    <a:pt x="805" y="641"/>
                  </a:lnTo>
                  <a:lnTo>
                    <a:pt x="794"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45">
              <a:extLst>
                <a:ext uri="{FF2B5EF4-FFF2-40B4-BE49-F238E27FC236}">
                  <a16:creationId xmlns:a16="http://schemas.microsoft.com/office/drawing/2014/main" id="{429C6E97-894E-4E4B-9E64-FF63BC13D4FD}"/>
                </a:ext>
              </a:extLst>
            </p:cNvPr>
            <p:cNvSpPr>
              <a:spLocks/>
            </p:cNvSpPr>
            <p:nvPr/>
          </p:nvSpPr>
          <p:spPr bwMode="auto">
            <a:xfrm>
              <a:off x="5567363" y="3736975"/>
              <a:ext cx="33338" cy="15875"/>
            </a:xfrm>
            <a:custGeom>
              <a:avLst/>
              <a:gdLst>
                <a:gd name="T0" fmla="*/ 30 w 106"/>
                <a:gd name="T1" fmla="*/ 31 h 49"/>
                <a:gd name="T2" fmla="*/ 37 w 106"/>
                <a:gd name="T3" fmla="*/ 30 h 49"/>
                <a:gd name="T4" fmla="*/ 52 w 106"/>
                <a:gd name="T5" fmla="*/ 30 h 49"/>
                <a:gd name="T6" fmla="*/ 69 w 106"/>
                <a:gd name="T7" fmla="*/ 30 h 49"/>
                <a:gd name="T8" fmla="*/ 76 w 106"/>
                <a:gd name="T9" fmla="*/ 31 h 49"/>
                <a:gd name="T10" fmla="*/ 76 w 106"/>
                <a:gd name="T11" fmla="*/ 37 h 49"/>
                <a:gd name="T12" fmla="*/ 78 w 106"/>
                <a:gd name="T13" fmla="*/ 42 h 49"/>
                <a:gd name="T14" fmla="*/ 83 w 106"/>
                <a:gd name="T15" fmla="*/ 46 h 49"/>
                <a:gd name="T16" fmla="*/ 88 w 106"/>
                <a:gd name="T17" fmla="*/ 49 h 49"/>
                <a:gd name="T18" fmla="*/ 94 w 106"/>
                <a:gd name="T19" fmla="*/ 49 h 49"/>
                <a:gd name="T20" fmla="*/ 100 w 106"/>
                <a:gd name="T21" fmla="*/ 46 h 49"/>
                <a:gd name="T22" fmla="*/ 103 w 106"/>
                <a:gd name="T23" fmla="*/ 42 h 49"/>
                <a:gd name="T24" fmla="*/ 106 w 106"/>
                <a:gd name="T25" fmla="*/ 37 h 49"/>
                <a:gd name="T26" fmla="*/ 105 w 106"/>
                <a:gd name="T27" fmla="*/ 27 h 49"/>
                <a:gd name="T28" fmla="*/ 101 w 106"/>
                <a:gd name="T29" fmla="*/ 14 h 49"/>
                <a:gd name="T30" fmla="*/ 93 w 106"/>
                <a:gd name="T31" fmla="*/ 7 h 49"/>
                <a:gd name="T32" fmla="*/ 84 w 106"/>
                <a:gd name="T33" fmla="*/ 2 h 49"/>
                <a:gd name="T34" fmla="*/ 69 w 106"/>
                <a:gd name="T35" fmla="*/ 0 h 49"/>
                <a:gd name="T36" fmla="*/ 52 w 106"/>
                <a:gd name="T37" fmla="*/ 0 h 49"/>
                <a:gd name="T38" fmla="*/ 37 w 106"/>
                <a:gd name="T39" fmla="*/ 0 h 49"/>
                <a:gd name="T40" fmla="*/ 22 w 106"/>
                <a:gd name="T41" fmla="*/ 2 h 49"/>
                <a:gd name="T42" fmla="*/ 13 w 106"/>
                <a:gd name="T43" fmla="*/ 7 h 49"/>
                <a:gd name="T44" fmla="*/ 5 w 106"/>
                <a:gd name="T45" fmla="*/ 14 h 49"/>
                <a:gd name="T46" fmla="*/ 0 w 106"/>
                <a:gd name="T47" fmla="*/ 27 h 49"/>
                <a:gd name="T48" fmla="*/ 0 w 106"/>
                <a:gd name="T49" fmla="*/ 37 h 49"/>
                <a:gd name="T50" fmla="*/ 2 w 106"/>
                <a:gd name="T51" fmla="*/ 42 h 49"/>
                <a:gd name="T52" fmla="*/ 6 w 106"/>
                <a:gd name="T53" fmla="*/ 46 h 49"/>
                <a:gd name="T54" fmla="*/ 12 w 106"/>
                <a:gd name="T55" fmla="*/ 49 h 49"/>
                <a:gd name="T56" fmla="*/ 18 w 106"/>
                <a:gd name="T57" fmla="*/ 49 h 49"/>
                <a:gd name="T58" fmla="*/ 24 w 106"/>
                <a:gd name="T59" fmla="*/ 46 h 49"/>
                <a:gd name="T60" fmla="*/ 28 w 106"/>
                <a:gd name="T61" fmla="*/ 42 h 49"/>
                <a:gd name="T62" fmla="*/ 30 w 106"/>
                <a:gd name="T63"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30" y="34"/>
                  </a:moveTo>
                  <a:lnTo>
                    <a:pt x="30" y="31"/>
                  </a:lnTo>
                  <a:lnTo>
                    <a:pt x="30" y="31"/>
                  </a:lnTo>
                  <a:lnTo>
                    <a:pt x="37" y="30"/>
                  </a:lnTo>
                  <a:lnTo>
                    <a:pt x="48" y="30"/>
                  </a:lnTo>
                  <a:lnTo>
                    <a:pt x="52" y="30"/>
                  </a:lnTo>
                  <a:lnTo>
                    <a:pt x="58" y="29"/>
                  </a:lnTo>
                  <a:lnTo>
                    <a:pt x="69" y="30"/>
                  </a:lnTo>
                  <a:lnTo>
                    <a:pt x="75" y="30"/>
                  </a:lnTo>
                  <a:lnTo>
                    <a:pt x="76" y="31"/>
                  </a:lnTo>
                  <a:lnTo>
                    <a:pt x="76" y="34"/>
                  </a:lnTo>
                  <a:lnTo>
                    <a:pt x="76" y="37"/>
                  </a:lnTo>
                  <a:lnTo>
                    <a:pt x="77" y="40"/>
                  </a:lnTo>
                  <a:lnTo>
                    <a:pt x="78" y="42"/>
                  </a:lnTo>
                  <a:lnTo>
                    <a:pt x="80" y="44"/>
                  </a:lnTo>
                  <a:lnTo>
                    <a:pt x="83" y="46"/>
                  </a:lnTo>
                  <a:lnTo>
                    <a:pt x="85" y="47"/>
                  </a:lnTo>
                  <a:lnTo>
                    <a:pt x="88" y="49"/>
                  </a:lnTo>
                  <a:lnTo>
                    <a:pt x="91" y="49"/>
                  </a:lnTo>
                  <a:lnTo>
                    <a:pt x="94" y="49"/>
                  </a:lnTo>
                  <a:lnTo>
                    <a:pt x="96" y="47"/>
                  </a:lnTo>
                  <a:lnTo>
                    <a:pt x="100" y="46"/>
                  </a:lnTo>
                  <a:lnTo>
                    <a:pt x="102" y="44"/>
                  </a:lnTo>
                  <a:lnTo>
                    <a:pt x="103" y="42"/>
                  </a:lnTo>
                  <a:lnTo>
                    <a:pt x="105" y="40"/>
                  </a:lnTo>
                  <a:lnTo>
                    <a:pt x="106" y="37"/>
                  </a:lnTo>
                  <a:lnTo>
                    <a:pt x="106" y="34"/>
                  </a:lnTo>
                  <a:lnTo>
                    <a:pt x="105" y="27"/>
                  </a:lnTo>
                  <a:lnTo>
                    <a:pt x="104" y="20"/>
                  </a:lnTo>
                  <a:lnTo>
                    <a:pt x="101" y="14"/>
                  </a:lnTo>
                  <a:lnTo>
                    <a:pt x="98" y="10"/>
                  </a:lnTo>
                  <a:lnTo>
                    <a:pt x="93" y="7"/>
                  </a:lnTo>
                  <a:lnTo>
                    <a:pt x="89" y="4"/>
                  </a:lnTo>
                  <a:lnTo>
                    <a:pt x="84" y="2"/>
                  </a:lnTo>
                  <a:lnTo>
                    <a:pt x="79" y="1"/>
                  </a:lnTo>
                  <a:lnTo>
                    <a:pt x="69" y="0"/>
                  </a:lnTo>
                  <a:lnTo>
                    <a:pt x="58" y="0"/>
                  </a:lnTo>
                  <a:lnTo>
                    <a:pt x="52" y="0"/>
                  </a:lnTo>
                  <a:lnTo>
                    <a:pt x="48" y="0"/>
                  </a:lnTo>
                  <a:lnTo>
                    <a:pt x="37" y="0"/>
                  </a:lnTo>
                  <a:lnTo>
                    <a:pt x="27" y="1"/>
                  </a:lnTo>
                  <a:lnTo>
                    <a:pt x="22" y="2"/>
                  </a:lnTo>
                  <a:lnTo>
                    <a:pt x="17" y="4"/>
                  </a:lnTo>
                  <a:lnTo>
                    <a:pt x="13" y="7"/>
                  </a:lnTo>
                  <a:lnTo>
                    <a:pt x="9" y="10"/>
                  </a:lnTo>
                  <a:lnTo>
                    <a:pt x="5" y="14"/>
                  </a:lnTo>
                  <a:lnTo>
                    <a:pt x="2" y="20"/>
                  </a:lnTo>
                  <a:lnTo>
                    <a:pt x="0" y="27"/>
                  </a:lnTo>
                  <a:lnTo>
                    <a:pt x="0" y="34"/>
                  </a:lnTo>
                  <a:lnTo>
                    <a:pt x="0" y="37"/>
                  </a:lnTo>
                  <a:lnTo>
                    <a:pt x="1" y="40"/>
                  </a:lnTo>
                  <a:lnTo>
                    <a:pt x="2" y="42"/>
                  </a:lnTo>
                  <a:lnTo>
                    <a:pt x="4" y="44"/>
                  </a:lnTo>
                  <a:lnTo>
                    <a:pt x="6" y="46"/>
                  </a:lnTo>
                  <a:lnTo>
                    <a:pt x="10" y="47"/>
                  </a:lnTo>
                  <a:lnTo>
                    <a:pt x="12" y="49"/>
                  </a:lnTo>
                  <a:lnTo>
                    <a:pt x="15" y="49"/>
                  </a:lnTo>
                  <a:lnTo>
                    <a:pt x="18" y="49"/>
                  </a:lnTo>
                  <a:lnTo>
                    <a:pt x="21" y="47"/>
                  </a:lnTo>
                  <a:lnTo>
                    <a:pt x="24" y="46"/>
                  </a:lnTo>
                  <a:lnTo>
                    <a:pt x="26" y="44"/>
                  </a:lnTo>
                  <a:lnTo>
                    <a:pt x="28" y="42"/>
                  </a:lnTo>
                  <a:lnTo>
                    <a:pt x="29" y="40"/>
                  </a:lnTo>
                  <a:lnTo>
                    <a:pt x="30" y="37"/>
                  </a:lnTo>
                  <a:lnTo>
                    <a:pt x="3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46">
              <a:extLst>
                <a:ext uri="{FF2B5EF4-FFF2-40B4-BE49-F238E27FC236}">
                  <a16:creationId xmlns:a16="http://schemas.microsoft.com/office/drawing/2014/main" id="{9427BC51-4F47-45A4-AC93-CF7AAF2BABB5}"/>
                </a:ext>
              </a:extLst>
            </p:cNvPr>
            <p:cNvSpPr>
              <a:spLocks/>
            </p:cNvSpPr>
            <p:nvPr/>
          </p:nvSpPr>
          <p:spPr bwMode="auto">
            <a:xfrm>
              <a:off x="5614988" y="3736975"/>
              <a:ext cx="33338" cy="15875"/>
            </a:xfrm>
            <a:custGeom>
              <a:avLst/>
              <a:gdLst>
                <a:gd name="T0" fmla="*/ 17 w 105"/>
                <a:gd name="T1" fmla="*/ 49 h 49"/>
                <a:gd name="T2" fmla="*/ 23 w 105"/>
                <a:gd name="T3" fmla="*/ 46 h 49"/>
                <a:gd name="T4" fmla="*/ 27 w 105"/>
                <a:gd name="T5" fmla="*/ 42 h 49"/>
                <a:gd name="T6" fmla="*/ 29 w 105"/>
                <a:gd name="T7" fmla="*/ 37 h 49"/>
                <a:gd name="T8" fmla="*/ 30 w 105"/>
                <a:gd name="T9" fmla="*/ 31 h 49"/>
                <a:gd name="T10" fmla="*/ 38 w 105"/>
                <a:gd name="T11" fmla="*/ 30 h 49"/>
                <a:gd name="T12" fmla="*/ 53 w 105"/>
                <a:gd name="T13" fmla="*/ 30 h 49"/>
                <a:gd name="T14" fmla="*/ 68 w 105"/>
                <a:gd name="T15" fmla="*/ 30 h 49"/>
                <a:gd name="T16" fmla="*/ 75 w 105"/>
                <a:gd name="T17" fmla="*/ 31 h 49"/>
                <a:gd name="T18" fmla="*/ 75 w 105"/>
                <a:gd name="T19" fmla="*/ 37 h 49"/>
                <a:gd name="T20" fmla="*/ 78 w 105"/>
                <a:gd name="T21" fmla="*/ 42 h 49"/>
                <a:gd name="T22" fmla="*/ 82 w 105"/>
                <a:gd name="T23" fmla="*/ 46 h 49"/>
                <a:gd name="T24" fmla="*/ 87 w 105"/>
                <a:gd name="T25" fmla="*/ 49 h 49"/>
                <a:gd name="T26" fmla="*/ 93 w 105"/>
                <a:gd name="T27" fmla="*/ 49 h 49"/>
                <a:gd name="T28" fmla="*/ 99 w 105"/>
                <a:gd name="T29" fmla="*/ 46 h 49"/>
                <a:gd name="T30" fmla="*/ 103 w 105"/>
                <a:gd name="T31" fmla="*/ 42 h 49"/>
                <a:gd name="T32" fmla="*/ 105 w 105"/>
                <a:gd name="T33" fmla="*/ 37 h 49"/>
                <a:gd name="T34" fmla="*/ 105 w 105"/>
                <a:gd name="T35" fmla="*/ 27 h 49"/>
                <a:gd name="T36" fmla="*/ 101 w 105"/>
                <a:gd name="T37" fmla="*/ 14 h 49"/>
                <a:gd name="T38" fmla="*/ 92 w 105"/>
                <a:gd name="T39" fmla="*/ 7 h 49"/>
                <a:gd name="T40" fmla="*/ 84 w 105"/>
                <a:gd name="T41" fmla="*/ 2 h 49"/>
                <a:gd name="T42" fmla="*/ 69 w 105"/>
                <a:gd name="T43" fmla="*/ 0 h 49"/>
                <a:gd name="T44" fmla="*/ 53 w 105"/>
                <a:gd name="T45" fmla="*/ 0 h 49"/>
                <a:gd name="T46" fmla="*/ 37 w 105"/>
                <a:gd name="T47" fmla="*/ 0 h 49"/>
                <a:gd name="T48" fmla="*/ 22 w 105"/>
                <a:gd name="T49" fmla="*/ 2 h 49"/>
                <a:gd name="T50" fmla="*/ 13 w 105"/>
                <a:gd name="T51" fmla="*/ 7 h 49"/>
                <a:gd name="T52" fmla="*/ 4 w 105"/>
                <a:gd name="T53" fmla="*/ 14 h 49"/>
                <a:gd name="T54" fmla="*/ 0 w 105"/>
                <a:gd name="T55" fmla="*/ 27 h 49"/>
                <a:gd name="T56" fmla="*/ 0 w 105"/>
                <a:gd name="T57" fmla="*/ 37 h 49"/>
                <a:gd name="T58" fmla="*/ 2 w 105"/>
                <a:gd name="T59" fmla="*/ 42 h 49"/>
                <a:gd name="T60" fmla="*/ 7 w 105"/>
                <a:gd name="T61" fmla="*/ 46 h 49"/>
                <a:gd name="T62" fmla="*/ 12 w 105"/>
                <a:gd name="T6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9">
                  <a:moveTo>
                    <a:pt x="15" y="49"/>
                  </a:moveTo>
                  <a:lnTo>
                    <a:pt x="17" y="49"/>
                  </a:lnTo>
                  <a:lnTo>
                    <a:pt x="21" y="47"/>
                  </a:lnTo>
                  <a:lnTo>
                    <a:pt x="23" y="46"/>
                  </a:lnTo>
                  <a:lnTo>
                    <a:pt x="25" y="44"/>
                  </a:lnTo>
                  <a:lnTo>
                    <a:pt x="27" y="42"/>
                  </a:lnTo>
                  <a:lnTo>
                    <a:pt x="28" y="40"/>
                  </a:lnTo>
                  <a:lnTo>
                    <a:pt x="29" y="37"/>
                  </a:lnTo>
                  <a:lnTo>
                    <a:pt x="30" y="34"/>
                  </a:lnTo>
                  <a:lnTo>
                    <a:pt x="30" y="31"/>
                  </a:lnTo>
                  <a:lnTo>
                    <a:pt x="30" y="31"/>
                  </a:lnTo>
                  <a:lnTo>
                    <a:pt x="38" y="30"/>
                  </a:lnTo>
                  <a:lnTo>
                    <a:pt x="47" y="30"/>
                  </a:lnTo>
                  <a:lnTo>
                    <a:pt x="53" y="30"/>
                  </a:lnTo>
                  <a:lnTo>
                    <a:pt x="58" y="29"/>
                  </a:lnTo>
                  <a:lnTo>
                    <a:pt x="68" y="30"/>
                  </a:lnTo>
                  <a:lnTo>
                    <a:pt x="75" y="30"/>
                  </a:lnTo>
                  <a:lnTo>
                    <a:pt x="75" y="31"/>
                  </a:lnTo>
                  <a:lnTo>
                    <a:pt x="75" y="34"/>
                  </a:lnTo>
                  <a:lnTo>
                    <a:pt x="75" y="37"/>
                  </a:lnTo>
                  <a:lnTo>
                    <a:pt x="76" y="40"/>
                  </a:lnTo>
                  <a:lnTo>
                    <a:pt x="78" y="42"/>
                  </a:lnTo>
                  <a:lnTo>
                    <a:pt x="80" y="44"/>
                  </a:lnTo>
                  <a:lnTo>
                    <a:pt x="82" y="46"/>
                  </a:lnTo>
                  <a:lnTo>
                    <a:pt x="85" y="47"/>
                  </a:lnTo>
                  <a:lnTo>
                    <a:pt x="87" y="49"/>
                  </a:lnTo>
                  <a:lnTo>
                    <a:pt x="90" y="49"/>
                  </a:lnTo>
                  <a:lnTo>
                    <a:pt x="93" y="49"/>
                  </a:lnTo>
                  <a:lnTo>
                    <a:pt x="97" y="47"/>
                  </a:lnTo>
                  <a:lnTo>
                    <a:pt x="99" y="46"/>
                  </a:lnTo>
                  <a:lnTo>
                    <a:pt x="101" y="44"/>
                  </a:lnTo>
                  <a:lnTo>
                    <a:pt x="103" y="42"/>
                  </a:lnTo>
                  <a:lnTo>
                    <a:pt x="104" y="40"/>
                  </a:lnTo>
                  <a:lnTo>
                    <a:pt x="105" y="37"/>
                  </a:lnTo>
                  <a:lnTo>
                    <a:pt x="105" y="34"/>
                  </a:lnTo>
                  <a:lnTo>
                    <a:pt x="105" y="27"/>
                  </a:lnTo>
                  <a:lnTo>
                    <a:pt x="103" y="20"/>
                  </a:lnTo>
                  <a:lnTo>
                    <a:pt x="101" y="14"/>
                  </a:lnTo>
                  <a:lnTo>
                    <a:pt x="97" y="10"/>
                  </a:lnTo>
                  <a:lnTo>
                    <a:pt x="92" y="7"/>
                  </a:lnTo>
                  <a:lnTo>
                    <a:pt x="88" y="4"/>
                  </a:lnTo>
                  <a:lnTo>
                    <a:pt x="84" y="2"/>
                  </a:lnTo>
                  <a:lnTo>
                    <a:pt x="78" y="1"/>
                  </a:lnTo>
                  <a:lnTo>
                    <a:pt x="69" y="0"/>
                  </a:lnTo>
                  <a:lnTo>
                    <a:pt x="58" y="0"/>
                  </a:lnTo>
                  <a:lnTo>
                    <a:pt x="53" y="0"/>
                  </a:lnTo>
                  <a:lnTo>
                    <a:pt x="47" y="0"/>
                  </a:lnTo>
                  <a:lnTo>
                    <a:pt x="37" y="0"/>
                  </a:lnTo>
                  <a:lnTo>
                    <a:pt x="27" y="1"/>
                  </a:lnTo>
                  <a:lnTo>
                    <a:pt x="22" y="2"/>
                  </a:lnTo>
                  <a:lnTo>
                    <a:pt x="17" y="4"/>
                  </a:lnTo>
                  <a:lnTo>
                    <a:pt x="13" y="7"/>
                  </a:lnTo>
                  <a:lnTo>
                    <a:pt x="9" y="10"/>
                  </a:lnTo>
                  <a:lnTo>
                    <a:pt x="4" y="14"/>
                  </a:lnTo>
                  <a:lnTo>
                    <a:pt x="2" y="20"/>
                  </a:lnTo>
                  <a:lnTo>
                    <a:pt x="0" y="27"/>
                  </a:lnTo>
                  <a:lnTo>
                    <a:pt x="0" y="34"/>
                  </a:lnTo>
                  <a:lnTo>
                    <a:pt x="0" y="37"/>
                  </a:lnTo>
                  <a:lnTo>
                    <a:pt x="1" y="40"/>
                  </a:lnTo>
                  <a:lnTo>
                    <a:pt x="2" y="42"/>
                  </a:lnTo>
                  <a:lnTo>
                    <a:pt x="4" y="44"/>
                  </a:lnTo>
                  <a:lnTo>
                    <a:pt x="7" y="46"/>
                  </a:lnTo>
                  <a:lnTo>
                    <a:pt x="9" y="47"/>
                  </a:lnTo>
                  <a:lnTo>
                    <a:pt x="12" y="49"/>
                  </a:lnTo>
                  <a:lnTo>
                    <a:pt x="1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Rectangle 147">
              <a:extLst>
                <a:ext uri="{FF2B5EF4-FFF2-40B4-BE49-F238E27FC236}">
                  <a16:creationId xmlns:a16="http://schemas.microsoft.com/office/drawing/2014/main" id="{7F757D83-B370-4000-B58E-1E8EE2D34786}"/>
                </a:ext>
              </a:extLst>
            </p:cNvPr>
            <p:cNvSpPr>
              <a:spLocks noChangeArrowheads="1"/>
            </p:cNvSpPr>
            <p:nvPr/>
          </p:nvSpPr>
          <p:spPr bwMode="auto">
            <a:xfrm>
              <a:off x="5675313" y="3873500"/>
              <a:ext cx="38100"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5" name="Group 156">
            <a:extLst>
              <a:ext uri="{FF2B5EF4-FFF2-40B4-BE49-F238E27FC236}">
                <a16:creationId xmlns:a16="http://schemas.microsoft.com/office/drawing/2014/main" id="{474281AC-73EB-45EE-B523-A83A461010FE}"/>
              </a:ext>
            </a:extLst>
          </p:cNvPr>
          <p:cNvGrpSpPr>
            <a:grpSpLocks noChangeAspect="1"/>
          </p:cNvGrpSpPr>
          <p:nvPr/>
        </p:nvGrpSpPr>
        <p:grpSpPr>
          <a:xfrm>
            <a:off x="7070355" y="2724897"/>
            <a:ext cx="285619" cy="285619"/>
            <a:chOff x="9386888" y="1023938"/>
            <a:chExt cx="371475" cy="371475"/>
          </a:xfrm>
          <a:solidFill>
            <a:schemeClr val="bg1"/>
          </a:solidFill>
        </p:grpSpPr>
        <p:sp>
          <p:nvSpPr>
            <p:cNvPr id="1026" name="Freeform 21">
              <a:extLst>
                <a:ext uri="{FF2B5EF4-FFF2-40B4-BE49-F238E27FC236}">
                  <a16:creationId xmlns:a16="http://schemas.microsoft.com/office/drawing/2014/main" id="{A5116F3C-A9B7-46F6-9B3C-45B0890B3D19}"/>
                </a:ext>
              </a:extLst>
            </p:cNvPr>
            <p:cNvSpPr>
              <a:spLocks/>
            </p:cNvSpPr>
            <p:nvPr/>
          </p:nvSpPr>
          <p:spPr bwMode="auto">
            <a:xfrm>
              <a:off x="9542463" y="1023938"/>
              <a:ext cx="215900" cy="247650"/>
            </a:xfrm>
            <a:custGeom>
              <a:avLst/>
              <a:gdLst>
                <a:gd name="T0" fmla="*/ 22 w 56"/>
                <a:gd name="T1" fmla="*/ 64 h 64"/>
                <a:gd name="T2" fmla="*/ 21 w 56"/>
                <a:gd name="T3" fmla="*/ 64 h 64"/>
                <a:gd name="T4" fmla="*/ 20 w 56"/>
                <a:gd name="T5" fmla="*/ 62 h 64"/>
                <a:gd name="T6" fmla="*/ 20 w 56"/>
                <a:gd name="T7" fmla="*/ 59 h 64"/>
                <a:gd name="T8" fmla="*/ 20 w 56"/>
                <a:gd name="T9" fmla="*/ 51 h 64"/>
                <a:gd name="T10" fmla="*/ 15 w 56"/>
                <a:gd name="T11" fmla="*/ 50 h 64"/>
                <a:gd name="T12" fmla="*/ 17 w 56"/>
                <a:gd name="T13" fmla="*/ 46 h 64"/>
                <a:gd name="T14" fmla="*/ 22 w 56"/>
                <a:gd name="T15" fmla="*/ 48 h 64"/>
                <a:gd name="T16" fmla="*/ 24 w 56"/>
                <a:gd name="T17" fmla="*/ 50 h 64"/>
                <a:gd name="T18" fmla="*/ 24 w 56"/>
                <a:gd name="T19" fmla="*/ 58 h 64"/>
                <a:gd name="T20" fmla="*/ 31 w 56"/>
                <a:gd name="T21" fmla="*/ 52 h 64"/>
                <a:gd name="T22" fmla="*/ 37 w 56"/>
                <a:gd name="T23" fmla="*/ 47 h 64"/>
                <a:gd name="T24" fmla="*/ 37 w 56"/>
                <a:gd name="T25" fmla="*/ 46 h 64"/>
                <a:gd name="T26" fmla="*/ 52 w 56"/>
                <a:gd name="T27" fmla="*/ 26 h 64"/>
                <a:gd name="T28" fmla="*/ 28 w 56"/>
                <a:gd name="T29" fmla="*/ 4 h 64"/>
                <a:gd name="T30" fmla="*/ 4 w 56"/>
                <a:gd name="T31" fmla="*/ 26 h 64"/>
                <a:gd name="T32" fmla="*/ 0 w 56"/>
                <a:gd name="T33" fmla="*/ 26 h 64"/>
                <a:gd name="T34" fmla="*/ 28 w 56"/>
                <a:gd name="T35" fmla="*/ 0 h 64"/>
                <a:gd name="T36" fmla="*/ 56 w 56"/>
                <a:gd name="T37" fmla="*/ 26 h 64"/>
                <a:gd name="T38" fmla="*/ 39 w 56"/>
                <a:gd name="T39" fmla="*/ 50 h 64"/>
                <a:gd name="T40" fmla="*/ 33 w 56"/>
                <a:gd name="T41" fmla="*/ 55 h 64"/>
                <a:gd name="T42" fmla="*/ 23 w 56"/>
                <a:gd name="T43" fmla="*/ 63 h 64"/>
                <a:gd name="T44" fmla="*/ 22 w 56"/>
                <a:gd name="T4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64">
                  <a:moveTo>
                    <a:pt x="22" y="64"/>
                  </a:moveTo>
                  <a:cubicBezTo>
                    <a:pt x="22" y="64"/>
                    <a:pt x="21" y="64"/>
                    <a:pt x="21" y="64"/>
                  </a:cubicBezTo>
                  <a:cubicBezTo>
                    <a:pt x="20" y="64"/>
                    <a:pt x="20" y="63"/>
                    <a:pt x="20" y="62"/>
                  </a:cubicBezTo>
                  <a:cubicBezTo>
                    <a:pt x="20" y="59"/>
                    <a:pt x="20" y="59"/>
                    <a:pt x="20" y="59"/>
                  </a:cubicBezTo>
                  <a:cubicBezTo>
                    <a:pt x="20" y="57"/>
                    <a:pt x="20" y="54"/>
                    <a:pt x="20" y="51"/>
                  </a:cubicBezTo>
                  <a:cubicBezTo>
                    <a:pt x="18" y="51"/>
                    <a:pt x="17" y="51"/>
                    <a:pt x="15" y="50"/>
                  </a:cubicBezTo>
                  <a:cubicBezTo>
                    <a:pt x="17" y="46"/>
                    <a:pt x="17" y="46"/>
                    <a:pt x="17" y="46"/>
                  </a:cubicBezTo>
                  <a:cubicBezTo>
                    <a:pt x="18" y="47"/>
                    <a:pt x="20" y="47"/>
                    <a:pt x="22" y="48"/>
                  </a:cubicBezTo>
                  <a:cubicBezTo>
                    <a:pt x="23" y="48"/>
                    <a:pt x="24" y="49"/>
                    <a:pt x="24" y="50"/>
                  </a:cubicBezTo>
                  <a:cubicBezTo>
                    <a:pt x="24" y="51"/>
                    <a:pt x="24" y="55"/>
                    <a:pt x="24" y="58"/>
                  </a:cubicBezTo>
                  <a:cubicBezTo>
                    <a:pt x="26" y="56"/>
                    <a:pt x="28" y="54"/>
                    <a:pt x="31" y="52"/>
                  </a:cubicBezTo>
                  <a:cubicBezTo>
                    <a:pt x="33" y="50"/>
                    <a:pt x="36" y="47"/>
                    <a:pt x="37" y="47"/>
                  </a:cubicBezTo>
                  <a:cubicBezTo>
                    <a:pt x="37" y="47"/>
                    <a:pt x="37" y="46"/>
                    <a:pt x="37" y="46"/>
                  </a:cubicBezTo>
                  <a:cubicBezTo>
                    <a:pt x="46" y="43"/>
                    <a:pt x="52" y="35"/>
                    <a:pt x="52" y="26"/>
                  </a:cubicBezTo>
                  <a:cubicBezTo>
                    <a:pt x="52" y="14"/>
                    <a:pt x="41" y="4"/>
                    <a:pt x="28" y="4"/>
                  </a:cubicBezTo>
                  <a:cubicBezTo>
                    <a:pt x="15" y="4"/>
                    <a:pt x="4" y="14"/>
                    <a:pt x="4" y="26"/>
                  </a:cubicBezTo>
                  <a:cubicBezTo>
                    <a:pt x="0" y="26"/>
                    <a:pt x="0" y="26"/>
                    <a:pt x="0" y="26"/>
                  </a:cubicBezTo>
                  <a:cubicBezTo>
                    <a:pt x="0" y="12"/>
                    <a:pt x="13" y="0"/>
                    <a:pt x="28" y="0"/>
                  </a:cubicBezTo>
                  <a:cubicBezTo>
                    <a:pt x="43" y="0"/>
                    <a:pt x="56" y="12"/>
                    <a:pt x="56" y="26"/>
                  </a:cubicBezTo>
                  <a:cubicBezTo>
                    <a:pt x="56" y="36"/>
                    <a:pt x="49" y="46"/>
                    <a:pt x="39" y="50"/>
                  </a:cubicBezTo>
                  <a:cubicBezTo>
                    <a:pt x="38" y="51"/>
                    <a:pt x="36" y="53"/>
                    <a:pt x="33" y="55"/>
                  </a:cubicBezTo>
                  <a:cubicBezTo>
                    <a:pt x="29" y="58"/>
                    <a:pt x="25" y="62"/>
                    <a:pt x="23" y="63"/>
                  </a:cubicBezTo>
                  <a:cubicBezTo>
                    <a:pt x="23" y="64"/>
                    <a:pt x="23" y="64"/>
                    <a:pt x="2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7" name="Freeform 22">
              <a:extLst>
                <a:ext uri="{FF2B5EF4-FFF2-40B4-BE49-F238E27FC236}">
                  <a16:creationId xmlns:a16="http://schemas.microsoft.com/office/drawing/2014/main" id="{EC6446FE-5963-42C4-85BB-CB9E437F11B5}"/>
                </a:ext>
              </a:extLst>
            </p:cNvPr>
            <p:cNvSpPr>
              <a:spLocks/>
            </p:cNvSpPr>
            <p:nvPr/>
          </p:nvSpPr>
          <p:spPr bwMode="auto">
            <a:xfrm>
              <a:off x="9680576" y="1117601"/>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8" name="Freeform 23">
              <a:extLst>
                <a:ext uri="{FF2B5EF4-FFF2-40B4-BE49-F238E27FC236}">
                  <a16:creationId xmlns:a16="http://schemas.microsoft.com/office/drawing/2014/main" id="{952E2600-9348-4310-9AF6-AF90ACCF380D}"/>
                </a:ext>
              </a:extLst>
            </p:cNvPr>
            <p:cNvSpPr>
              <a:spLocks/>
            </p:cNvSpPr>
            <p:nvPr/>
          </p:nvSpPr>
          <p:spPr bwMode="auto">
            <a:xfrm>
              <a:off x="9642476" y="1117601"/>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9" name="Freeform 24">
              <a:extLst>
                <a:ext uri="{FF2B5EF4-FFF2-40B4-BE49-F238E27FC236}">
                  <a16:creationId xmlns:a16="http://schemas.microsoft.com/office/drawing/2014/main" id="{0143B9AB-CFE1-45B4-961E-D82A0C842C70}"/>
                </a:ext>
              </a:extLst>
            </p:cNvPr>
            <p:cNvSpPr>
              <a:spLocks/>
            </p:cNvSpPr>
            <p:nvPr/>
          </p:nvSpPr>
          <p:spPr bwMode="auto">
            <a:xfrm>
              <a:off x="9604376" y="1117601"/>
              <a:ext cx="14288" cy="14288"/>
            </a:xfrm>
            <a:custGeom>
              <a:avLst/>
              <a:gdLst>
                <a:gd name="T0" fmla="*/ 9 w 9"/>
                <a:gd name="T1" fmla="*/ 0 h 9"/>
                <a:gd name="T2" fmla="*/ 0 w 9"/>
                <a:gd name="T3" fmla="*/ 0 h 9"/>
                <a:gd name="T4" fmla="*/ 0 w 9"/>
                <a:gd name="T5" fmla="*/ 9 h 9"/>
                <a:gd name="T6" fmla="*/ 9 w 9"/>
                <a:gd name="T7" fmla="*/ 9 h 9"/>
                <a:gd name="T8" fmla="*/ 9 w 9"/>
                <a:gd name="T9" fmla="*/ 0 h 9"/>
                <a:gd name="T10" fmla="*/ 9 w 9"/>
                <a:gd name="T11" fmla="*/ 0 h 9"/>
              </a:gdLst>
              <a:ahLst/>
              <a:cxnLst>
                <a:cxn ang="0">
                  <a:pos x="T0" y="T1"/>
                </a:cxn>
                <a:cxn ang="0">
                  <a:pos x="T2" y="T3"/>
                </a:cxn>
                <a:cxn ang="0">
                  <a:pos x="T4" y="T5"/>
                </a:cxn>
                <a:cxn ang="0">
                  <a:pos x="T6" y="T7"/>
                </a:cxn>
                <a:cxn ang="0">
                  <a:pos x="T8" y="T9"/>
                </a:cxn>
                <a:cxn ang="0">
                  <a:pos x="T10" y="T11"/>
                </a:cxn>
              </a:cxnLst>
              <a:rect l="0" t="0" r="r" b="b"/>
              <a:pathLst>
                <a:path w="9" h="9">
                  <a:moveTo>
                    <a:pt x="9" y="0"/>
                  </a:moveTo>
                  <a:lnTo>
                    <a:pt x="0" y="0"/>
                  </a:lnTo>
                  <a:lnTo>
                    <a:pt x="0" y="9"/>
                  </a:lnTo>
                  <a:lnTo>
                    <a:pt x="9" y="9"/>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0" name="Freeform 25">
              <a:extLst>
                <a:ext uri="{FF2B5EF4-FFF2-40B4-BE49-F238E27FC236}">
                  <a16:creationId xmlns:a16="http://schemas.microsoft.com/office/drawing/2014/main" id="{07AC4BFD-0163-4966-B82F-26DEB0F3933A}"/>
                </a:ext>
              </a:extLst>
            </p:cNvPr>
            <p:cNvSpPr>
              <a:spLocks noEditPoints="1"/>
            </p:cNvSpPr>
            <p:nvPr/>
          </p:nvSpPr>
          <p:spPr bwMode="auto">
            <a:xfrm>
              <a:off x="9386888" y="1131888"/>
              <a:ext cx="247650" cy="263525"/>
            </a:xfrm>
            <a:custGeom>
              <a:avLst/>
              <a:gdLst>
                <a:gd name="T0" fmla="*/ 62 w 64"/>
                <a:gd name="T1" fmla="*/ 68 h 68"/>
                <a:gd name="T2" fmla="*/ 2 w 64"/>
                <a:gd name="T3" fmla="*/ 68 h 68"/>
                <a:gd name="T4" fmla="*/ 0 w 64"/>
                <a:gd name="T5" fmla="*/ 66 h 68"/>
                <a:gd name="T6" fmla="*/ 0 w 64"/>
                <a:gd name="T7" fmla="*/ 56 h 68"/>
                <a:gd name="T8" fmla="*/ 22 w 64"/>
                <a:gd name="T9" fmla="*/ 43 h 68"/>
                <a:gd name="T10" fmla="*/ 22 w 64"/>
                <a:gd name="T11" fmla="*/ 37 h 68"/>
                <a:gd name="T12" fmla="*/ 18 w 64"/>
                <a:gd name="T13" fmla="*/ 27 h 68"/>
                <a:gd name="T14" fmla="*/ 15 w 64"/>
                <a:gd name="T15" fmla="*/ 21 h 68"/>
                <a:gd name="T16" fmla="*/ 16 w 64"/>
                <a:gd name="T17" fmla="*/ 18 h 68"/>
                <a:gd name="T18" fmla="*/ 17 w 64"/>
                <a:gd name="T19" fmla="*/ 17 h 68"/>
                <a:gd name="T20" fmla="*/ 16 w 64"/>
                <a:gd name="T21" fmla="*/ 8 h 68"/>
                <a:gd name="T22" fmla="*/ 21 w 64"/>
                <a:gd name="T23" fmla="*/ 6 h 68"/>
                <a:gd name="T24" fmla="*/ 34 w 64"/>
                <a:gd name="T25" fmla="*/ 0 h 68"/>
                <a:gd name="T26" fmla="*/ 48 w 64"/>
                <a:gd name="T27" fmla="*/ 8 h 68"/>
                <a:gd name="T28" fmla="*/ 47 w 64"/>
                <a:gd name="T29" fmla="*/ 17 h 68"/>
                <a:gd name="T30" fmla="*/ 48 w 64"/>
                <a:gd name="T31" fmla="*/ 18 h 68"/>
                <a:gd name="T32" fmla="*/ 49 w 64"/>
                <a:gd name="T33" fmla="*/ 21 h 68"/>
                <a:gd name="T34" fmla="*/ 46 w 64"/>
                <a:gd name="T35" fmla="*/ 27 h 68"/>
                <a:gd name="T36" fmla="*/ 42 w 64"/>
                <a:gd name="T37" fmla="*/ 37 h 68"/>
                <a:gd name="T38" fmla="*/ 42 w 64"/>
                <a:gd name="T39" fmla="*/ 43 h 68"/>
                <a:gd name="T40" fmla="*/ 64 w 64"/>
                <a:gd name="T41" fmla="*/ 56 h 68"/>
                <a:gd name="T42" fmla="*/ 64 w 64"/>
                <a:gd name="T43" fmla="*/ 66 h 68"/>
                <a:gd name="T44" fmla="*/ 62 w 64"/>
                <a:gd name="T45" fmla="*/ 68 h 68"/>
                <a:gd name="T46" fmla="*/ 4 w 64"/>
                <a:gd name="T47" fmla="*/ 64 h 68"/>
                <a:gd name="T48" fmla="*/ 60 w 64"/>
                <a:gd name="T49" fmla="*/ 64 h 68"/>
                <a:gd name="T50" fmla="*/ 60 w 64"/>
                <a:gd name="T51" fmla="*/ 56 h 68"/>
                <a:gd name="T52" fmla="*/ 39 w 64"/>
                <a:gd name="T53" fmla="*/ 46 h 68"/>
                <a:gd name="T54" fmla="*/ 38 w 64"/>
                <a:gd name="T55" fmla="*/ 44 h 68"/>
                <a:gd name="T56" fmla="*/ 38 w 64"/>
                <a:gd name="T57" fmla="*/ 36 h 68"/>
                <a:gd name="T58" fmla="*/ 39 w 64"/>
                <a:gd name="T59" fmla="*/ 34 h 68"/>
                <a:gd name="T60" fmla="*/ 39 w 64"/>
                <a:gd name="T61" fmla="*/ 34 h 68"/>
                <a:gd name="T62" fmla="*/ 42 w 64"/>
                <a:gd name="T63" fmla="*/ 26 h 68"/>
                <a:gd name="T64" fmla="*/ 44 w 64"/>
                <a:gd name="T65" fmla="*/ 24 h 68"/>
                <a:gd name="T66" fmla="*/ 45 w 64"/>
                <a:gd name="T67" fmla="*/ 21 h 68"/>
                <a:gd name="T68" fmla="*/ 44 w 64"/>
                <a:gd name="T69" fmla="*/ 20 h 68"/>
                <a:gd name="T70" fmla="*/ 42 w 64"/>
                <a:gd name="T71" fmla="*/ 18 h 68"/>
                <a:gd name="T72" fmla="*/ 43 w 64"/>
                <a:gd name="T73" fmla="*/ 16 h 68"/>
                <a:gd name="T74" fmla="*/ 44 w 64"/>
                <a:gd name="T75" fmla="*/ 8 h 68"/>
                <a:gd name="T76" fmla="*/ 34 w 64"/>
                <a:gd name="T77" fmla="*/ 4 h 68"/>
                <a:gd name="T78" fmla="*/ 24 w 64"/>
                <a:gd name="T79" fmla="*/ 8 h 68"/>
                <a:gd name="T80" fmla="*/ 22 w 64"/>
                <a:gd name="T81" fmla="*/ 10 h 68"/>
                <a:gd name="T82" fmla="*/ 20 w 64"/>
                <a:gd name="T83" fmla="*/ 10 h 68"/>
                <a:gd name="T84" fmla="*/ 21 w 64"/>
                <a:gd name="T85" fmla="*/ 16 h 68"/>
                <a:gd name="T86" fmla="*/ 22 w 64"/>
                <a:gd name="T87" fmla="*/ 18 h 68"/>
                <a:gd name="T88" fmla="*/ 20 w 64"/>
                <a:gd name="T89" fmla="*/ 20 h 68"/>
                <a:gd name="T90" fmla="*/ 20 w 64"/>
                <a:gd name="T91" fmla="*/ 20 h 68"/>
                <a:gd name="T92" fmla="*/ 20 w 64"/>
                <a:gd name="T93" fmla="*/ 24 h 68"/>
                <a:gd name="T94" fmla="*/ 22 w 64"/>
                <a:gd name="T95" fmla="*/ 26 h 68"/>
                <a:gd name="T96" fmla="*/ 25 w 64"/>
                <a:gd name="T97" fmla="*/ 34 h 68"/>
                <a:gd name="T98" fmla="*/ 26 w 64"/>
                <a:gd name="T99" fmla="*/ 36 h 68"/>
                <a:gd name="T100" fmla="*/ 26 w 64"/>
                <a:gd name="T101" fmla="*/ 44 h 68"/>
                <a:gd name="T102" fmla="*/ 25 w 64"/>
                <a:gd name="T103" fmla="*/ 46 h 68"/>
                <a:gd name="T104" fmla="*/ 4 w 64"/>
                <a:gd name="T105" fmla="*/ 56 h 68"/>
                <a:gd name="T106" fmla="*/ 4 w 64"/>
                <a:gd name="T10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68">
                  <a:moveTo>
                    <a:pt x="62" y="68"/>
                  </a:moveTo>
                  <a:cubicBezTo>
                    <a:pt x="2" y="68"/>
                    <a:pt x="2" y="68"/>
                    <a:pt x="2" y="68"/>
                  </a:cubicBezTo>
                  <a:cubicBezTo>
                    <a:pt x="1" y="68"/>
                    <a:pt x="0" y="67"/>
                    <a:pt x="0" y="66"/>
                  </a:cubicBezTo>
                  <a:cubicBezTo>
                    <a:pt x="0" y="56"/>
                    <a:pt x="0" y="56"/>
                    <a:pt x="0" y="56"/>
                  </a:cubicBezTo>
                  <a:cubicBezTo>
                    <a:pt x="0" y="52"/>
                    <a:pt x="14" y="46"/>
                    <a:pt x="22" y="43"/>
                  </a:cubicBezTo>
                  <a:cubicBezTo>
                    <a:pt x="22" y="37"/>
                    <a:pt x="22" y="37"/>
                    <a:pt x="22" y="37"/>
                  </a:cubicBezTo>
                  <a:cubicBezTo>
                    <a:pt x="21" y="36"/>
                    <a:pt x="18" y="33"/>
                    <a:pt x="18" y="27"/>
                  </a:cubicBezTo>
                  <a:cubicBezTo>
                    <a:pt x="16" y="26"/>
                    <a:pt x="15" y="24"/>
                    <a:pt x="15" y="21"/>
                  </a:cubicBezTo>
                  <a:cubicBezTo>
                    <a:pt x="15" y="20"/>
                    <a:pt x="16" y="19"/>
                    <a:pt x="16" y="18"/>
                  </a:cubicBezTo>
                  <a:cubicBezTo>
                    <a:pt x="17" y="18"/>
                    <a:pt x="17" y="17"/>
                    <a:pt x="17" y="17"/>
                  </a:cubicBezTo>
                  <a:cubicBezTo>
                    <a:pt x="16" y="14"/>
                    <a:pt x="15" y="10"/>
                    <a:pt x="16" y="8"/>
                  </a:cubicBezTo>
                  <a:cubicBezTo>
                    <a:pt x="17" y="7"/>
                    <a:pt x="18" y="6"/>
                    <a:pt x="21" y="6"/>
                  </a:cubicBezTo>
                  <a:cubicBezTo>
                    <a:pt x="23" y="2"/>
                    <a:pt x="29" y="0"/>
                    <a:pt x="34" y="0"/>
                  </a:cubicBezTo>
                  <a:cubicBezTo>
                    <a:pt x="40" y="0"/>
                    <a:pt x="47" y="2"/>
                    <a:pt x="48" y="8"/>
                  </a:cubicBezTo>
                  <a:cubicBezTo>
                    <a:pt x="49" y="11"/>
                    <a:pt x="48" y="15"/>
                    <a:pt x="47" y="17"/>
                  </a:cubicBezTo>
                  <a:cubicBezTo>
                    <a:pt x="47" y="17"/>
                    <a:pt x="47" y="18"/>
                    <a:pt x="48" y="18"/>
                  </a:cubicBezTo>
                  <a:cubicBezTo>
                    <a:pt x="48" y="19"/>
                    <a:pt x="49" y="20"/>
                    <a:pt x="49" y="21"/>
                  </a:cubicBezTo>
                  <a:cubicBezTo>
                    <a:pt x="49" y="24"/>
                    <a:pt x="48" y="26"/>
                    <a:pt x="46" y="27"/>
                  </a:cubicBezTo>
                  <a:cubicBezTo>
                    <a:pt x="46" y="33"/>
                    <a:pt x="43" y="36"/>
                    <a:pt x="42" y="37"/>
                  </a:cubicBezTo>
                  <a:cubicBezTo>
                    <a:pt x="42" y="43"/>
                    <a:pt x="42" y="43"/>
                    <a:pt x="42" y="43"/>
                  </a:cubicBezTo>
                  <a:cubicBezTo>
                    <a:pt x="50" y="46"/>
                    <a:pt x="64" y="52"/>
                    <a:pt x="64" y="56"/>
                  </a:cubicBezTo>
                  <a:cubicBezTo>
                    <a:pt x="64" y="66"/>
                    <a:pt x="64" y="66"/>
                    <a:pt x="64" y="66"/>
                  </a:cubicBezTo>
                  <a:cubicBezTo>
                    <a:pt x="64" y="67"/>
                    <a:pt x="63" y="68"/>
                    <a:pt x="62" y="68"/>
                  </a:cubicBezTo>
                  <a:close/>
                  <a:moveTo>
                    <a:pt x="4" y="64"/>
                  </a:moveTo>
                  <a:cubicBezTo>
                    <a:pt x="60" y="64"/>
                    <a:pt x="60" y="64"/>
                    <a:pt x="60" y="64"/>
                  </a:cubicBezTo>
                  <a:cubicBezTo>
                    <a:pt x="60" y="56"/>
                    <a:pt x="60" y="56"/>
                    <a:pt x="60" y="56"/>
                  </a:cubicBezTo>
                  <a:cubicBezTo>
                    <a:pt x="58" y="55"/>
                    <a:pt x="50" y="50"/>
                    <a:pt x="39" y="46"/>
                  </a:cubicBezTo>
                  <a:cubicBezTo>
                    <a:pt x="38" y="46"/>
                    <a:pt x="38" y="45"/>
                    <a:pt x="38" y="44"/>
                  </a:cubicBezTo>
                  <a:cubicBezTo>
                    <a:pt x="38" y="36"/>
                    <a:pt x="38" y="36"/>
                    <a:pt x="38" y="36"/>
                  </a:cubicBezTo>
                  <a:cubicBezTo>
                    <a:pt x="38" y="35"/>
                    <a:pt x="39" y="34"/>
                    <a:pt x="39" y="34"/>
                  </a:cubicBezTo>
                  <a:cubicBezTo>
                    <a:pt x="39" y="34"/>
                    <a:pt x="39" y="34"/>
                    <a:pt x="39" y="34"/>
                  </a:cubicBezTo>
                  <a:cubicBezTo>
                    <a:pt x="39" y="34"/>
                    <a:pt x="42" y="33"/>
                    <a:pt x="42" y="26"/>
                  </a:cubicBezTo>
                  <a:cubicBezTo>
                    <a:pt x="42" y="25"/>
                    <a:pt x="43" y="24"/>
                    <a:pt x="44" y="24"/>
                  </a:cubicBezTo>
                  <a:cubicBezTo>
                    <a:pt x="44" y="24"/>
                    <a:pt x="45" y="23"/>
                    <a:pt x="45" y="21"/>
                  </a:cubicBezTo>
                  <a:cubicBezTo>
                    <a:pt x="45" y="20"/>
                    <a:pt x="44" y="20"/>
                    <a:pt x="44" y="20"/>
                  </a:cubicBezTo>
                  <a:cubicBezTo>
                    <a:pt x="43" y="20"/>
                    <a:pt x="42" y="19"/>
                    <a:pt x="42" y="18"/>
                  </a:cubicBezTo>
                  <a:cubicBezTo>
                    <a:pt x="42" y="17"/>
                    <a:pt x="42" y="17"/>
                    <a:pt x="43" y="16"/>
                  </a:cubicBezTo>
                  <a:cubicBezTo>
                    <a:pt x="44" y="14"/>
                    <a:pt x="45" y="11"/>
                    <a:pt x="44" y="8"/>
                  </a:cubicBezTo>
                  <a:cubicBezTo>
                    <a:pt x="43" y="6"/>
                    <a:pt x="39" y="4"/>
                    <a:pt x="34" y="4"/>
                  </a:cubicBezTo>
                  <a:cubicBezTo>
                    <a:pt x="29" y="4"/>
                    <a:pt x="25" y="6"/>
                    <a:pt x="24" y="8"/>
                  </a:cubicBezTo>
                  <a:cubicBezTo>
                    <a:pt x="24" y="10"/>
                    <a:pt x="23" y="10"/>
                    <a:pt x="22" y="10"/>
                  </a:cubicBezTo>
                  <a:cubicBezTo>
                    <a:pt x="20" y="10"/>
                    <a:pt x="20" y="10"/>
                    <a:pt x="20" y="10"/>
                  </a:cubicBezTo>
                  <a:cubicBezTo>
                    <a:pt x="19" y="10"/>
                    <a:pt x="20" y="12"/>
                    <a:pt x="21" y="16"/>
                  </a:cubicBezTo>
                  <a:cubicBezTo>
                    <a:pt x="22" y="17"/>
                    <a:pt x="22" y="17"/>
                    <a:pt x="22" y="18"/>
                  </a:cubicBezTo>
                  <a:cubicBezTo>
                    <a:pt x="22" y="19"/>
                    <a:pt x="21" y="20"/>
                    <a:pt x="20" y="20"/>
                  </a:cubicBezTo>
                  <a:cubicBezTo>
                    <a:pt x="20" y="20"/>
                    <a:pt x="20" y="20"/>
                    <a:pt x="20" y="20"/>
                  </a:cubicBezTo>
                  <a:cubicBezTo>
                    <a:pt x="19" y="22"/>
                    <a:pt x="20" y="24"/>
                    <a:pt x="20" y="24"/>
                  </a:cubicBezTo>
                  <a:cubicBezTo>
                    <a:pt x="21" y="24"/>
                    <a:pt x="22" y="25"/>
                    <a:pt x="22" y="26"/>
                  </a:cubicBezTo>
                  <a:cubicBezTo>
                    <a:pt x="22" y="33"/>
                    <a:pt x="25" y="34"/>
                    <a:pt x="25" y="34"/>
                  </a:cubicBezTo>
                  <a:cubicBezTo>
                    <a:pt x="25" y="34"/>
                    <a:pt x="26" y="35"/>
                    <a:pt x="26" y="36"/>
                  </a:cubicBezTo>
                  <a:cubicBezTo>
                    <a:pt x="26" y="44"/>
                    <a:pt x="26" y="44"/>
                    <a:pt x="26" y="44"/>
                  </a:cubicBezTo>
                  <a:cubicBezTo>
                    <a:pt x="26" y="45"/>
                    <a:pt x="26" y="46"/>
                    <a:pt x="25" y="46"/>
                  </a:cubicBezTo>
                  <a:cubicBezTo>
                    <a:pt x="14" y="50"/>
                    <a:pt x="6" y="55"/>
                    <a:pt x="4" y="56"/>
                  </a:cubicBezTo>
                  <a:lnTo>
                    <a:pt x="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39" name="Group 93">
            <a:extLst>
              <a:ext uri="{FF2B5EF4-FFF2-40B4-BE49-F238E27FC236}">
                <a16:creationId xmlns:a16="http://schemas.microsoft.com/office/drawing/2014/main" id="{3627D5FC-1AA2-4561-93C1-A23A40B654F3}"/>
              </a:ext>
            </a:extLst>
          </p:cNvPr>
          <p:cNvGrpSpPr>
            <a:grpSpLocks noChangeAspect="1"/>
          </p:cNvGrpSpPr>
          <p:nvPr/>
        </p:nvGrpSpPr>
        <p:grpSpPr>
          <a:xfrm>
            <a:off x="7061003" y="5417577"/>
            <a:ext cx="304323" cy="285619"/>
            <a:chOff x="7615238" y="1366838"/>
            <a:chExt cx="284163" cy="266699"/>
          </a:xfrm>
          <a:solidFill>
            <a:schemeClr val="bg1"/>
          </a:solidFill>
          <a:effectLst/>
        </p:grpSpPr>
        <p:sp>
          <p:nvSpPr>
            <p:cNvPr id="740" name="Freeform 319">
              <a:extLst>
                <a:ext uri="{FF2B5EF4-FFF2-40B4-BE49-F238E27FC236}">
                  <a16:creationId xmlns:a16="http://schemas.microsoft.com/office/drawing/2014/main" id="{49AB8199-F420-40BB-9A02-95D75D4CD9A1}"/>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320">
              <a:extLst>
                <a:ext uri="{FF2B5EF4-FFF2-40B4-BE49-F238E27FC236}">
                  <a16:creationId xmlns:a16="http://schemas.microsoft.com/office/drawing/2014/main" id="{08FB3A23-D043-4408-925C-FB19B0C972EF}"/>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321">
              <a:extLst>
                <a:ext uri="{FF2B5EF4-FFF2-40B4-BE49-F238E27FC236}">
                  <a16:creationId xmlns:a16="http://schemas.microsoft.com/office/drawing/2014/main" id="{998FBA2A-B9E6-4C91-AD81-31A052961B7D}"/>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4" name="Group 32">
            <a:extLst>
              <a:ext uri="{FF2B5EF4-FFF2-40B4-BE49-F238E27FC236}">
                <a16:creationId xmlns:a16="http://schemas.microsoft.com/office/drawing/2014/main" id="{0890646F-1FD6-45EA-9A01-CF41085E49B9}"/>
              </a:ext>
            </a:extLst>
          </p:cNvPr>
          <p:cNvGrpSpPr>
            <a:grpSpLocks noChangeAspect="1"/>
          </p:cNvGrpSpPr>
          <p:nvPr/>
        </p:nvGrpSpPr>
        <p:grpSpPr>
          <a:xfrm>
            <a:off x="7070355" y="4879041"/>
            <a:ext cx="285619" cy="285619"/>
            <a:chOff x="4319588" y="1954213"/>
            <a:chExt cx="276225" cy="276225"/>
          </a:xfrm>
          <a:solidFill>
            <a:schemeClr val="bg1"/>
          </a:solidFill>
          <a:effectLst/>
        </p:grpSpPr>
        <p:sp>
          <p:nvSpPr>
            <p:cNvPr id="1085" name="Freeform 140">
              <a:extLst>
                <a:ext uri="{FF2B5EF4-FFF2-40B4-BE49-F238E27FC236}">
                  <a16:creationId xmlns:a16="http://schemas.microsoft.com/office/drawing/2014/main" id="{966A5288-A0E0-4ABD-AE1A-D7B187D4B038}"/>
                </a:ext>
              </a:extLst>
            </p:cNvPr>
            <p:cNvSpPr>
              <a:spLocks noEditPoints="1"/>
            </p:cNvSpPr>
            <p:nvPr/>
          </p:nvSpPr>
          <p:spPr bwMode="auto">
            <a:xfrm>
              <a:off x="4319588" y="1954213"/>
              <a:ext cx="276225" cy="276225"/>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41">
              <a:extLst>
                <a:ext uri="{FF2B5EF4-FFF2-40B4-BE49-F238E27FC236}">
                  <a16:creationId xmlns:a16="http://schemas.microsoft.com/office/drawing/2014/main" id="{3FCF41D8-65DF-4456-A505-27DC842A435F}"/>
                </a:ext>
              </a:extLst>
            </p:cNvPr>
            <p:cNvSpPr>
              <a:spLocks/>
            </p:cNvSpPr>
            <p:nvPr/>
          </p:nvSpPr>
          <p:spPr bwMode="auto">
            <a:xfrm>
              <a:off x="4400550" y="2035175"/>
              <a:ext cx="114300" cy="114300"/>
            </a:xfrm>
            <a:custGeom>
              <a:avLst/>
              <a:gdLst>
                <a:gd name="T0" fmla="*/ 5 w 361"/>
                <a:gd name="T1" fmla="*/ 335 h 361"/>
                <a:gd name="T2" fmla="*/ 1 w 361"/>
                <a:gd name="T3" fmla="*/ 341 h 361"/>
                <a:gd name="T4" fmla="*/ 0 w 361"/>
                <a:gd name="T5" fmla="*/ 346 h 361"/>
                <a:gd name="T6" fmla="*/ 1 w 361"/>
                <a:gd name="T7" fmla="*/ 351 h 361"/>
                <a:gd name="T8" fmla="*/ 5 w 361"/>
                <a:gd name="T9" fmla="*/ 357 h 361"/>
                <a:gd name="T10" fmla="*/ 10 w 361"/>
                <a:gd name="T11" fmla="*/ 360 h 361"/>
                <a:gd name="T12" fmla="*/ 15 w 361"/>
                <a:gd name="T13" fmla="*/ 361 h 361"/>
                <a:gd name="T14" fmla="*/ 21 w 361"/>
                <a:gd name="T15" fmla="*/ 360 h 361"/>
                <a:gd name="T16" fmla="*/ 26 w 361"/>
                <a:gd name="T17" fmla="*/ 357 h 361"/>
                <a:gd name="T18" fmla="*/ 336 w 361"/>
                <a:gd name="T19" fmla="*/ 357 h 361"/>
                <a:gd name="T20" fmla="*/ 340 w 361"/>
                <a:gd name="T21" fmla="*/ 360 h 361"/>
                <a:gd name="T22" fmla="*/ 346 w 361"/>
                <a:gd name="T23" fmla="*/ 361 h 361"/>
                <a:gd name="T24" fmla="*/ 352 w 361"/>
                <a:gd name="T25" fmla="*/ 360 h 361"/>
                <a:gd name="T26" fmla="*/ 357 w 361"/>
                <a:gd name="T27" fmla="*/ 357 h 361"/>
                <a:gd name="T28" fmla="*/ 360 w 361"/>
                <a:gd name="T29" fmla="*/ 353 h 361"/>
                <a:gd name="T30" fmla="*/ 361 w 361"/>
                <a:gd name="T31" fmla="*/ 347 h 361"/>
                <a:gd name="T32" fmla="*/ 360 w 361"/>
                <a:gd name="T33" fmla="*/ 341 h 361"/>
                <a:gd name="T34" fmla="*/ 357 w 361"/>
                <a:gd name="T35" fmla="*/ 335 h 361"/>
                <a:gd name="T36" fmla="*/ 357 w 361"/>
                <a:gd name="T37" fmla="*/ 25 h 361"/>
                <a:gd name="T38" fmla="*/ 360 w 361"/>
                <a:gd name="T39" fmla="*/ 21 h 361"/>
                <a:gd name="T40" fmla="*/ 361 w 361"/>
                <a:gd name="T41" fmla="*/ 16 h 361"/>
                <a:gd name="T42" fmla="*/ 360 w 361"/>
                <a:gd name="T43" fmla="*/ 9 h 361"/>
                <a:gd name="T44" fmla="*/ 357 w 361"/>
                <a:gd name="T45" fmla="*/ 5 h 361"/>
                <a:gd name="T46" fmla="*/ 352 w 361"/>
                <a:gd name="T47" fmla="*/ 1 h 361"/>
                <a:gd name="T48" fmla="*/ 346 w 361"/>
                <a:gd name="T49" fmla="*/ 0 h 361"/>
                <a:gd name="T50" fmla="*/ 340 w 361"/>
                <a:gd name="T51" fmla="*/ 1 h 361"/>
                <a:gd name="T52" fmla="*/ 336 w 361"/>
                <a:gd name="T53" fmla="*/ 5 h 361"/>
                <a:gd name="T54" fmla="*/ 26 w 361"/>
                <a:gd name="T55" fmla="*/ 5 h 361"/>
                <a:gd name="T56" fmla="*/ 20 w 361"/>
                <a:gd name="T57" fmla="*/ 1 h 361"/>
                <a:gd name="T58" fmla="*/ 15 w 361"/>
                <a:gd name="T59" fmla="*/ 0 h 361"/>
                <a:gd name="T60" fmla="*/ 10 w 361"/>
                <a:gd name="T61" fmla="*/ 1 h 361"/>
                <a:gd name="T62" fmla="*/ 4 w 361"/>
                <a:gd name="T63" fmla="*/ 5 h 361"/>
                <a:gd name="T64" fmla="*/ 1 w 361"/>
                <a:gd name="T65" fmla="*/ 9 h 361"/>
                <a:gd name="T66" fmla="*/ 0 w 361"/>
                <a:gd name="T67" fmla="*/ 16 h 361"/>
                <a:gd name="T68" fmla="*/ 1 w 361"/>
                <a:gd name="T69" fmla="*/ 21 h 361"/>
                <a:gd name="T70" fmla="*/ 4 w 361"/>
                <a:gd name="T71" fmla="*/ 2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61">
                  <a:moveTo>
                    <a:pt x="159" y="181"/>
                  </a:moveTo>
                  <a:lnTo>
                    <a:pt x="5" y="335"/>
                  </a:lnTo>
                  <a:lnTo>
                    <a:pt x="3" y="339"/>
                  </a:lnTo>
                  <a:lnTo>
                    <a:pt x="1" y="341"/>
                  </a:lnTo>
                  <a:lnTo>
                    <a:pt x="1" y="344"/>
                  </a:lnTo>
                  <a:lnTo>
                    <a:pt x="0" y="346"/>
                  </a:lnTo>
                  <a:lnTo>
                    <a:pt x="1" y="349"/>
                  </a:lnTo>
                  <a:lnTo>
                    <a:pt x="1" y="351"/>
                  </a:lnTo>
                  <a:lnTo>
                    <a:pt x="3" y="355"/>
                  </a:lnTo>
                  <a:lnTo>
                    <a:pt x="5" y="357"/>
                  </a:lnTo>
                  <a:lnTo>
                    <a:pt x="8" y="359"/>
                  </a:lnTo>
                  <a:lnTo>
                    <a:pt x="10" y="360"/>
                  </a:lnTo>
                  <a:lnTo>
                    <a:pt x="13" y="361"/>
                  </a:lnTo>
                  <a:lnTo>
                    <a:pt x="15" y="361"/>
                  </a:lnTo>
                  <a:lnTo>
                    <a:pt x="18" y="361"/>
                  </a:lnTo>
                  <a:lnTo>
                    <a:pt x="21" y="360"/>
                  </a:lnTo>
                  <a:lnTo>
                    <a:pt x="24" y="359"/>
                  </a:lnTo>
                  <a:lnTo>
                    <a:pt x="26" y="357"/>
                  </a:lnTo>
                  <a:lnTo>
                    <a:pt x="180" y="203"/>
                  </a:lnTo>
                  <a:lnTo>
                    <a:pt x="336" y="357"/>
                  </a:lnTo>
                  <a:lnTo>
                    <a:pt x="338" y="359"/>
                  </a:lnTo>
                  <a:lnTo>
                    <a:pt x="340" y="360"/>
                  </a:lnTo>
                  <a:lnTo>
                    <a:pt x="343" y="361"/>
                  </a:lnTo>
                  <a:lnTo>
                    <a:pt x="346" y="361"/>
                  </a:lnTo>
                  <a:lnTo>
                    <a:pt x="349" y="361"/>
                  </a:lnTo>
                  <a:lnTo>
                    <a:pt x="352" y="360"/>
                  </a:lnTo>
                  <a:lnTo>
                    <a:pt x="354" y="359"/>
                  </a:lnTo>
                  <a:lnTo>
                    <a:pt x="357" y="357"/>
                  </a:lnTo>
                  <a:lnTo>
                    <a:pt x="358" y="355"/>
                  </a:lnTo>
                  <a:lnTo>
                    <a:pt x="360" y="353"/>
                  </a:lnTo>
                  <a:lnTo>
                    <a:pt x="360" y="349"/>
                  </a:lnTo>
                  <a:lnTo>
                    <a:pt x="361" y="347"/>
                  </a:lnTo>
                  <a:lnTo>
                    <a:pt x="360" y="344"/>
                  </a:lnTo>
                  <a:lnTo>
                    <a:pt x="360" y="341"/>
                  </a:lnTo>
                  <a:lnTo>
                    <a:pt x="358" y="339"/>
                  </a:lnTo>
                  <a:lnTo>
                    <a:pt x="357" y="335"/>
                  </a:lnTo>
                  <a:lnTo>
                    <a:pt x="202" y="181"/>
                  </a:lnTo>
                  <a:lnTo>
                    <a:pt x="357" y="25"/>
                  </a:lnTo>
                  <a:lnTo>
                    <a:pt x="358" y="23"/>
                  </a:lnTo>
                  <a:lnTo>
                    <a:pt x="360" y="21"/>
                  </a:lnTo>
                  <a:lnTo>
                    <a:pt x="360" y="19"/>
                  </a:lnTo>
                  <a:lnTo>
                    <a:pt x="361" y="16"/>
                  </a:lnTo>
                  <a:lnTo>
                    <a:pt x="360" y="13"/>
                  </a:lnTo>
                  <a:lnTo>
                    <a:pt x="360" y="9"/>
                  </a:lnTo>
                  <a:lnTo>
                    <a:pt x="358" y="7"/>
                  </a:lnTo>
                  <a:lnTo>
                    <a:pt x="357" y="5"/>
                  </a:lnTo>
                  <a:lnTo>
                    <a:pt x="354" y="3"/>
                  </a:lnTo>
                  <a:lnTo>
                    <a:pt x="352" y="1"/>
                  </a:lnTo>
                  <a:lnTo>
                    <a:pt x="349" y="1"/>
                  </a:lnTo>
                  <a:lnTo>
                    <a:pt x="346" y="0"/>
                  </a:lnTo>
                  <a:lnTo>
                    <a:pt x="343" y="1"/>
                  </a:lnTo>
                  <a:lnTo>
                    <a:pt x="340" y="1"/>
                  </a:lnTo>
                  <a:lnTo>
                    <a:pt x="338" y="3"/>
                  </a:lnTo>
                  <a:lnTo>
                    <a:pt x="336" y="5"/>
                  </a:lnTo>
                  <a:lnTo>
                    <a:pt x="180" y="159"/>
                  </a:lnTo>
                  <a:lnTo>
                    <a:pt x="26" y="5"/>
                  </a:lnTo>
                  <a:lnTo>
                    <a:pt x="24" y="3"/>
                  </a:lnTo>
                  <a:lnTo>
                    <a:pt x="20" y="1"/>
                  </a:lnTo>
                  <a:lnTo>
                    <a:pt x="18" y="1"/>
                  </a:lnTo>
                  <a:lnTo>
                    <a:pt x="15" y="0"/>
                  </a:lnTo>
                  <a:lnTo>
                    <a:pt x="12" y="1"/>
                  </a:lnTo>
                  <a:lnTo>
                    <a:pt x="10" y="1"/>
                  </a:lnTo>
                  <a:lnTo>
                    <a:pt x="6" y="3"/>
                  </a:lnTo>
                  <a:lnTo>
                    <a:pt x="4" y="5"/>
                  </a:lnTo>
                  <a:lnTo>
                    <a:pt x="2" y="7"/>
                  </a:lnTo>
                  <a:lnTo>
                    <a:pt x="1" y="9"/>
                  </a:lnTo>
                  <a:lnTo>
                    <a:pt x="0" y="13"/>
                  </a:lnTo>
                  <a:lnTo>
                    <a:pt x="0" y="16"/>
                  </a:lnTo>
                  <a:lnTo>
                    <a:pt x="0" y="19"/>
                  </a:lnTo>
                  <a:lnTo>
                    <a:pt x="1" y="21"/>
                  </a:lnTo>
                  <a:lnTo>
                    <a:pt x="2" y="23"/>
                  </a:lnTo>
                  <a:lnTo>
                    <a:pt x="4" y="25"/>
                  </a:lnTo>
                  <a:lnTo>
                    <a:pt x="15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8" name="Gruppieren 1147">
            <a:extLst>
              <a:ext uri="{FF2B5EF4-FFF2-40B4-BE49-F238E27FC236}">
                <a16:creationId xmlns:a16="http://schemas.microsoft.com/office/drawing/2014/main" id="{090128AB-014F-4149-BE3E-F2EEE54A5D64}"/>
              </a:ext>
            </a:extLst>
          </p:cNvPr>
          <p:cNvGrpSpPr>
            <a:grpSpLocks noChangeAspect="1"/>
          </p:cNvGrpSpPr>
          <p:nvPr/>
        </p:nvGrpSpPr>
        <p:grpSpPr>
          <a:xfrm>
            <a:off x="5791954" y="3801969"/>
            <a:ext cx="285620" cy="285619"/>
            <a:chOff x="8413750" y="3436938"/>
            <a:chExt cx="360363" cy="360362"/>
          </a:xfrm>
          <a:solidFill>
            <a:schemeClr val="bg1"/>
          </a:solidFill>
        </p:grpSpPr>
        <p:sp>
          <p:nvSpPr>
            <p:cNvPr id="1149" name="Freeform 5">
              <a:extLst>
                <a:ext uri="{FF2B5EF4-FFF2-40B4-BE49-F238E27FC236}">
                  <a16:creationId xmlns:a16="http://schemas.microsoft.com/office/drawing/2014/main" id="{3BE9C88B-1AFF-49D2-B14C-7D5352EC55A7}"/>
                </a:ext>
              </a:extLst>
            </p:cNvPr>
            <p:cNvSpPr>
              <a:spLocks noEditPoints="1"/>
            </p:cNvSpPr>
            <p:nvPr/>
          </p:nvSpPr>
          <p:spPr bwMode="auto">
            <a:xfrm>
              <a:off x="8413750" y="3436938"/>
              <a:ext cx="360363" cy="360362"/>
            </a:xfrm>
            <a:custGeom>
              <a:avLst/>
              <a:gdLst>
                <a:gd name="T0" fmla="*/ 1936 w 2048"/>
                <a:gd name="T1" fmla="*/ 0 h 2048"/>
                <a:gd name="T2" fmla="*/ 112 w 2048"/>
                <a:gd name="T3" fmla="*/ 0 h 2048"/>
                <a:gd name="T4" fmla="*/ 0 w 2048"/>
                <a:gd name="T5" fmla="*/ 112 h 2048"/>
                <a:gd name="T6" fmla="*/ 0 w 2048"/>
                <a:gd name="T7" fmla="*/ 1936 h 2048"/>
                <a:gd name="T8" fmla="*/ 112 w 2048"/>
                <a:gd name="T9" fmla="*/ 2048 h 2048"/>
                <a:gd name="T10" fmla="*/ 1936 w 2048"/>
                <a:gd name="T11" fmla="*/ 2048 h 2048"/>
                <a:gd name="T12" fmla="*/ 2048 w 2048"/>
                <a:gd name="T13" fmla="*/ 1936 h 2048"/>
                <a:gd name="T14" fmla="*/ 2048 w 2048"/>
                <a:gd name="T15" fmla="*/ 112 h 2048"/>
                <a:gd name="T16" fmla="*/ 1936 w 2048"/>
                <a:gd name="T17" fmla="*/ 0 h 2048"/>
                <a:gd name="T18" fmla="*/ 1977 w 2048"/>
                <a:gd name="T19" fmla="*/ 1936 h 2048"/>
                <a:gd name="T20" fmla="*/ 1936 w 2048"/>
                <a:gd name="T21" fmla="*/ 1977 h 2048"/>
                <a:gd name="T22" fmla="*/ 112 w 2048"/>
                <a:gd name="T23" fmla="*/ 1977 h 2048"/>
                <a:gd name="T24" fmla="*/ 71 w 2048"/>
                <a:gd name="T25" fmla="*/ 1936 h 2048"/>
                <a:gd name="T26" fmla="*/ 71 w 2048"/>
                <a:gd name="T27" fmla="*/ 112 h 2048"/>
                <a:gd name="T28" fmla="*/ 112 w 2048"/>
                <a:gd name="T29" fmla="*/ 71 h 2048"/>
                <a:gd name="T30" fmla="*/ 1936 w 2048"/>
                <a:gd name="T31" fmla="*/ 71 h 2048"/>
                <a:gd name="T32" fmla="*/ 1977 w 2048"/>
                <a:gd name="T33" fmla="*/ 112 h 2048"/>
                <a:gd name="T34" fmla="*/ 1977 w 2048"/>
                <a:gd name="T35" fmla="*/ 193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2048">
                  <a:moveTo>
                    <a:pt x="1936" y="0"/>
                  </a:moveTo>
                  <a:cubicBezTo>
                    <a:pt x="112" y="0"/>
                    <a:pt x="112" y="0"/>
                    <a:pt x="112" y="0"/>
                  </a:cubicBezTo>
                  <a:cubicBezTo>
                    <a:pt x="50" y="0"/>
                    <a:pt x="0" y="50"/>
                    <a:pt x="0" y="112"/>
                  </a:cubicBezTo>
                  <a:cubicBezTo>
                    <a:pt x="0" y="1936"/>
                    <a:pt x="0" y="1936"/>
                    <a:pt x="0" y="1936"/>
                  </a:cubicBezTo>
                  <a:cubicBezTo>
                    <a:pt x="0" y="1998"/>
                    <a:pt x="50" y="2048"/>
                    <a:pt x="112" y="2048"/>
                  </a:cubicBezTo>
                  <a:cubicBezTo>
                    <a:pt x="1936" y="2048"/>
                    <a:pt x="1936" y="2048"/>
                    <a:pt x="1936" y="2048"/>
                  </a:cubicBezTo>
                  <a:cubicBezTo>
                    <a:pt x="1998" y="2048"/>
                    <a:pt x="2048" y="1998"/>
                    <a:pt x="2048" y="1936"/>
                  </a:cubicBezTo>
                  <a:cubicBezTo>
                    <a:pt x="2048" y="112"/>
                    <a:pt x="2048" y="112"/>
                    <a:pt x="2048" y="112"/>
                  </a:cubicBezTo>
                  <a:cubicBezTo>
                    <a:pt x="2048" y="50"/>
                    <a:pt x="1998" y="0"/>
                    <a:pt x="1936" y="0"/>
                  </a:cubicBezTo>
                  <a:close/>
                  <a:moveTo>
                    <a:pt x="1977" y="1936"/>
                  </a:moveTo>
                  <a:cubicBezTo>
                    <a:pt x="1977" y="1959"/>
                    <a:pt x="1959" y="1977"/>
                    <a:pt x="1936" y="1977"/>
                  </a:cubicBezTo>
                  <a:cubicBezTo>
                    <a:pt x="112" y="1977"/>
                    <a:pt x="112" y="1977"/>
                    <a:pt x="112" y="1977"/>
                  </a:cubicBezTo>
                  <a:cubicBezTo>
                    <a:pt x="89" y="1977"/>
                    <a:pt x="71" y="1959"/>
                    <a:pt x="71" y="1936"/>
                  </a:cubicBezTo>
                  <a:cubicBezTo>
                    <a:pt x="71" y="112"/>
                    <a:pt x="71" y="112"/>
                    <a:pt x="71" y="112"/>
                  </a:cubicBezTo>
                  <a:cubicBezTo>
                    <a:pt x="71" y="89"/>
                    <a:pt x="89" y="71"/>
                    <a:pt x="112" y="71"/>
                  </a:cubicBezTo>
                  <a:cubicBezTo>
                    <a:pt x="1936" y="71"/>
                    <a:pt x="1936" y="71"/>
                    <a:pt x="1936" y="71"/>
                  </a:cubicBezTo>
                  <a:cubicBezTo>
                    <a:pt x="1959" y="71"/>
                    <a:pt x="1977" y="89"/>
                    <a:pt x="1977" y="112"/>
                  </a:cubicBezTo>
                  <a:cubicBezTo>
                    <a:pt x="1977" y="1936"/>
                    <a:pt x="1977" y="1936"/>
                    <a:pt x="1977" y="1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6">
              <a:extLst>
                <a:ext uri="{FF2B5EF4-FFF2-40B4-BE49-F238E27FC236}">
                  <a16:creationId xmlns:a16="http://schemas.microsoft.com/office/drawing/2014/main" id="{0B869CB4-830F-4F01-A39C-B2552052D345}"/>
                </a:ext>
              </a:extLst>
            </p:cNvPr>
            <p:cNvSpPr>
              <a:spLocks/>
            </p:cNvSpPr>
            <p:nvPr/>
          </p:nvSpPr>
          <p:spPr bwMode="auto">
            <a:xfrm>
              <a:off x="8550275" y="3476625"/>
              <a:ext cx="184150" cy="203200"/>
            </a:xfrm>
            <a:custGeom>
              <a:avLst/>
              <a:gdLst>
                <a:gd name="T0" fmla="*/ 1036 w 1049"/>
                <a:gd name="T1" fmla="*/ 13 h 1153"/>
                <a:gd name="T2" fmla="*/ 1001 w 1049"/>
                <a:gd name="T3" fmla="*/ 4 h 1153"/>
                <a:gd name="T4" fmla="*/ 507 w 1049"/>
                <a:gd name="T5" fmla="*/ 156 h 1153"/>
                <a:gd name="T6" fmla="*/ 483 w 1049"/>
                <a:gd name="T7" fmla="*/ 181 h 1153"/>
                <a:gd name="T8" fmla="*/ 492 w 1049"/>
                <a:gd name="T9" fmla="*/ 215 h 1153"/>
                <a:gd name="T10" fmla="*/ 584 w 1049"/>
                <a:gd name="T11" fmla="*/ 307 h 1153"/>
                <a:gd name="T12" fmla="*/ 545 w 1049"/>
                <a:gd name="T13" fmla="*/ 346 h 1153"/>
                <a:gd name="T14" fmla="*/ 545 w 1049"/>
                <a:gd name="T15" fmla="*/ 396 h 1153"/>
                <a:gd name="T16" fmla="*/ 595 w 1049"/>
                <a:gd name="T17" fmla="*/ 396 h 1153"/>
                <a:gd name="T18" fmla="*/ 660 w 1049"/>
                <a:gd name="T19" fmla="*/ 332 h 1153"/>
                <a:gd name="T20" fmla="*/ 670 w 1049"/>
                <a:gd name="T21" fmla="*/ 307 h 1153"/>
                <a:gd name="T22" fmla="*/ 660 w 1049"/>
                <a:gd name="T23" fmla="*/ 282 h 1153"/>
                <a:gd name="T24" fmla="*/ 584 w 1049"/>
                <a:gd name="T25" fmla="*/ 206 h 1153"/>
                <a:gd name="T26" fmla="*/ 957 w 1049"/>
                <a:gd name="T27" fmla="*/ 92 h 1153"/>
                <a:gd name="T28" fmla="*/ 843 w 1049"/>
                <a:gd name="T29" fmla="*/ 465 h 1153"/>
                <a:gd name="T30" fmla="*/ 767 w 1049"/>
                <a:gd name="T31" fmla="*/ 389 h 1153"/>
                <a:gd name="T32" fmla="*/ 717 w 1049"/>
                <a:gd name="T33" fmla="*/ 389 h 1153"/>
                <a:gd name="T34" fmla="*/ 13 w 1049"/>
                <a:gd name="T35" fmla="*/ 1093 h 1153"/>
                <a:gd name="T36" fmla="*/ 13 w 1049"/>
                <a:gd name="T37" fmla="*/ 1143 h 1153"/>
                <a:gd name="T38" fmla="*/ 39 w 1049"/>
                <a:gd name="T39" fmla="*/ 1153 h 1153"/>
                <a:gd name="T40" fmla="*/ 64 w 1049"/>
                <a:gd name="T41" fmla="*/ 1143 h 1153"/>
                <a:gd name="T42" fmla="*/ 742 w 1049"/>
                <a:gd name="T43" fmla="*/ 465 h 1153"/>
                <a:gd name="T44" fmla="*/ 834 w 1049"/>
                <a:gd name="T45" fmla="*/ 557 h 1153"/>
                <a:gd name="T46" fmla="*/ 868 w 1049"/>
                <a:gd name="T47" fmla="*/ 566 h 1153"/>
                <a:gd name="T48" fmla="*/ 893 w 1049"/>
                <a:gd name="T49" fmla="*/ 542 h 1153"/>
                <a:gd name="T50" fmla="*/ 1045 w 1049"/>
                <a:gd name="T51" fmla="*/ 48 h 1153"/>
                <a:gd name="T52" fmla="*/ 1036 w 1049"/>
                <a:gd name="T53" fmla="*/ 1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49" h="1153">
                  <a:moveTo>
                    <a:pt x="1036" y="13"/>
                  </a:moveTo>
                  <a:cubicBezTo>
                    <a:pt x="1027" y="3"/>
                    <a:pt x="1013" y="0"/>
                    <a:pt x="1001" y="4"/>
                  </a:cubicBezTo>
                  <a:cubicBezTo>
                    <a:pt x="507" y="156"/>
                    <a:pt x="507" y="156"/>
                    <a:pt x="507" y="156"/>
                  </a:cubicBezTo>
                  <a:cubicBezTo>
                    <a:pt x="495" y="159"/>
                    <a:pt x="486" y="169"/>
                    <a:pt x="483" y="181"/>
                  </a:cubicBezTo>
                  <a:cubicBezTo>
                    <a:pt x="480" y="193"/>
                    <a:pt x="483" y="206"/>
                    <a:pt x="492" y="215"/>
                  </a:cubicBezTo>
                  <a:cubicBezTo>
                    <a:pt x="584" y="307"/>
                    <a:pt x="584" y="307"/>
                    <a:pt x="584" y="307"/>
                  </a:cubicBezTo>
                  <a:cubicBezTo>
                    <a:pt x="545" y="346"/>
                    <a:pt x="545" y="346"/>
                    <a:pt x="545" y="346"/>
                  </a:cubicBezTo>
                  <a:cubicBezTo>
                    <a:pt x="531" y="360"/>
                    <a:pt x="531" y="383"/>
                    <a:pt x="545" y="396"/>
                  </a:cubicBezTo>
                  <a:cubicBezTo>
                    <a:pt x="559" y="410"/>
                    <a:pt x="582" y="410"/>
                    <a:pt x="595" y="396"/>
                  </a:cubicBezTo>
                  <a:cubicBezTo>
                    <a:pt x="660" y="332"/>
                    <a:pt x="660" y="332"/>
                    <a:pt x="660" y="332"/>
                  </a:cubicBezTo>
                  <a:cubicBezTo>
                    <a:pt x="666" y="326"/>
                    <a:pt x="670" y="317"/>
                    <a:pt x="670" y="307"/>
                  </a:cubicBezTo>
                  <a:cubicBezTo>
                    <a:pt x="670" y="298"/>
                    <a:pt x="666" y="289"/>
                    <a:pt x="660" y="282"/>
                  </a:cubicBezTo>
                  <a:cubicBezTo>
                    <a:pt x="584" y="206"/>
                    <a:pt x="584" y="206"/>
                    <a:pt x="584" y="206"/>
                  </a:cubicBezTo>
                  <a:cubicBezTo>
                    <a:pt x="957" y="92"/>
                    <a:pt x="957" y="92"/>
                    <a:pt x="957" y="92"/>
                  </a:cubicBezTo>
                  <a:cubicBezTo>
                    <a:pt x="843" y="465"/>
                    <a:pt x="843" y="465"/>
                    <a:pt x="843" y="465"/>
                  </a:cubicBezTo>
                  <a:cubicBezTo>
                    <a:pt x="767" y="389"/>
                    <a:pt x="767" y="389"/>
                    <a:pt x="767" y="389"/>
                  </a:cubicBezTo>
                  <a:cubicBezTo>
                    <a:pt x="753" y="375"/>
                    <a:pt x="731" y="375"/>
                    <a:pt x="717" y="389"/>
                  </a:cubicBezTo>
                  <a:cubicBezTo>
                    <a:pt x="13" y="1093"/>
                    <a:pt x="13" y="1093"/>
                    <a:pt x="13" y="1093"/>
                  </a:cubicBezTo>
                  <a:cubicBezTo>
                    <a:pt x="0" y="1107"/>
                    <a:pt x="0" y="1129"/>
                    <a:pt x="13" y="1143"/>
                  </a:cubicBezTo>
                  <a:cubicBezTo>
                    <a:pt x="20" y="1150"/>
                    <a:pt x="30" y="1153"/>
                    <a:pt x="39" y="1153"/>
                  </a:cubicBezTo>
                  <a:cubicBezTo>
                    <a:pt x="48" y="1153"/>
                    <a:pt x="57" y="1150"/>
                    <a:pt x="64" y="1143"/>
                  </a:cubicBezTo>
                  <a:cubicBezTo>
                    <a:pt x="742" y="465"/>
                    <a:pt x="742" y="465"/>
                    <a:pt x="742" y="465"/>
                  </a:cubicBezTo>
                  <a:cubicBezTo>
                    <a:pt x="834" y="557"/>
                    <a:pt x="834" y="557"/>
                    <a:pt x="834" y="557"/>
                  </a:cubicBezTo>
                  <a:cubicBezTo>
                    <a:pt x="843" y="566"/>
                    <a:pt x="856" y="570"/>
                    <a:pt x="868" y="566"/>
                  </a:cubicBezTo>
                  <a:cubicBezTo>
                    <a:pt x="880" y="563"/>
                    <a:pt x="890" y="554"/>
                    <a:pt x="893" y="542"/>
                  </a:cubicBezTo>
                  <a:cubicBezTo>
                    <a:pt x="1045" y="48"/>
                    <a:pt x="1045" y="48"/>
                    <a:pt x="1045" y="48"/>
                  </a:cubicBezTo>
                  <a:cubicBezTo>
                    <a:pt x="1049" y="36"/>
                    <a:pt x="1046" y="22"/>
                    <a:pt x="103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7">
              <a:extLst>
                <a:ext uri="{FF2B5EF4-FFF2-40B4-BE49-F238E27FC236}">
                  <a16:creationId xmlns:a16="http://schemas.microsoft.com/office/drawing/2014/main" id="{4F321BBC-0DD3-4A6A-93EE-3C3ADE3B4FFA}"/>
                </a:ext>
              </a:extLst>
            </p:cNvPr>
            <p:cNvSpPr>
              <a:spLocks/>
            </p:cNvSpPr>
            <p:nvPr/>
          </p:nvSpPr>
          <p:spPr bwMode="auto">
            <a:xfrm>
              <a:off x="8453438" y="3552825"/>
              <a:ext cx="185738" cy="204787"/>
            </a:xfrm>
            <a:custGeom>
              <a:avLst/>
              <a:gdLst>
                <a:gd name="T0" fmla="*/ 282 w 1053"/>
                <a:gd name="T1" fmla="*/ 772 h 1159"/>
                <a:gd name="T2" fmla="*/ 332 w 1053"/>
                <a:gd name="T3" fmla="*/ 772 h 1159"/>
                <a:gd name="T4" fmla="*/ 1039 w 1053"/>
                <a:gd name="T5" fmla="*/ 65 h 1159"/>
                <a:gd name="T6" fmla="*/ 1039 w 1053"/>
                <a:gd name="T7" fmla="*/ 14 h 1159"/>
                <a:gd name="T8" fmla="*/ 989 w 1053"/>
                <a:gd name="T9" fmla="*/ 14 h 1159"/>
                <a:gd name="T10" fmla="*/ 307 w 1053"/>
                <a:gd name="T11" fmla="*/ 696 h 1159"/>
                <a:gd name="T12" fmla="*/ 215 w 1053"/>
                <a:gd name="T13" fmla="*/ 604 h 1159"/>
                <a:gd name="T14" fmla="*/ 181 w 1053"/>
                <a:gd name="T15" fmla="*/ 595 h 1159"/>
                <a:gd name="T16" fmla="*/ 156 w 1053"/>
                <a:gd name="T17" fmla="*/ 619 h 1159"/>
                <a:gd name="T18" fmla="*/ 4 w 1053"/>
                <a:gd name="T19" fmla="*/ 1113 h 1159"/>
                <a:gd name="T20" fmla="*/ 13 w 1053"/>
                <a:gd name="T21" fmla="*/ 1148 h 1159"/>
                <a:gd name="T22" fmla="*/ 38 w 1053"/>
                <a:gd name="T23" fmla="*/ 1159 h 1159"/>
                <a:gd name="T24" fmla="*/ 48 w 1053"/>
                <a:gd name="T25" fmla="*/ 1157 h 1159"/>
                <a:gd name="T26" fmla="*/ 542 w 1053"/>
                <a:gd name="T27" fmla="*/ 1005 h 1159"/>
                <a:gd name="T28" fmla="*/ 566 w 1053"/>
                <a:gd name="T29" fmla="*/ 980 h 1159"/>
                <a:gd name="T30" fmla="*/ 557 w 1053"/>
                <a:gd name="T31" fmla="*/ 946 h 1159"/>
                <a:gd name="T32" fmla="*/ 465 w 1053"/>
                <a:gd name="T33" fmla="*/ 854 h 1159"/>
                <a:gd name="T34" fmla="*/ 508 w 1053"/>
                <a:gd name="T35" fmla="*/ 811 h 1159"/>
                <a:gd name="T36" fmla="*/ 508 w 1053"/>
                <a:gd name="T37" fmla="*/ 761 h 1159"/>
                <a:gd name="T38" fmla="*/ 457 w 1053"/>
                <a:gd name="T39" fmla="*/ 761 h 1159"/>
                <a:gd name="T40" fmla="*/ 389 w 1053"/>
                <a:gd name="T41" fmla="*/ 829 h 1159"/>
                <a:gd name="T42" fmla="*/ 389 w 1053"/>
                <a:gd name="T43" fmla="*/ 879 h 1159"/>
                <a:gd name="T44" fmla="*/ 465 w 1053"/>
                <a:gd name="T45" fmla="*/ 955 h 1159"/>
                <a:gd name="T46" fmla="*/ 92 w 1053"/>
                <a:gd name="T47" fmla="*/ 1069 h 1159"/>
                <a:gd name="T48" fmla="*/ 206 w 1053"/>
                <a:gd name="T49" fmla="*/ 696 h 1159"/>
                <a:gd name="T50" fmla="*/ 282 w 1053"/>
                <a:gd name="T51" fmla="*/ 772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3" h="1159">
                  <a:moveTo>
                    <a:pt x="282" y="772"/>
                  </a:moveTo>
                  <a:cubicBezTo>
                    <a:pt x="296" y="786"/>
                    <a:pt x="318" y="786"/>
                    <a:pt x="332" y="772"/>
                  </a:cubicBezTo>
                  <a:cubicBezTo>
                    <a:pt x="1039" y="65"/>
                    <a:pt x="1039" y="65"/>
                    <a:pt x="1039" y="65"/>
                  </a:cubicBezTo>
                  <a:cubicBezTo>
                    <a:pt x="1053" y="51"/>
                    <a:pt x="1053" y="28"/>
                    <a:pt x="1039" y="14"/>
                  </a:cubicBezTo>
                  <a:cubicBezTo>
                    <a:pt x="1025" y="0"/>
                    <a:pt x="1003" y="0"/>
                    <a:pt x="989" y="14"/>
                  </a:cubicBezTo>
                  <a:cubicBezTo>
                    <a:pt x="307" y="696"/>
                    <a:pt x="307" y="696"/>
                    <a:pt x="307" y="696"/>
                  </a:cubicBezTo>
                  <a:cubicBezTo>
                    <a:pt x="215" y="604"/>
                    <a:pt x="215" y="604"/>
                    <a:pt x="215" y="604"/>
                  </a:cubicBezTo>
                  <a:cubicBezTo>
                    <a:pt x="206" y="595"/>
                    <a:pt x="193" y="591"/>
                    <a:pt x="181" y="595"/>
                  </a:cubicBezTo>
                  <a:cubicBezTo>
                    <a:pt x="169" y="598"/>
                    <a:pt x="159" y="607"/>
                    <a:pt x="156" y="619"/>
                  </a:cubicBezTo>
                  <a:cubicBezTo>
                    <a:pt x="4" y="1113"/>
                    <a:pt x="4" y="1113"/>
                    <a:pt x="4" y="1113"/>
                  </a:cubicBezTo>
                  <a:cubicBezTo>
                    <a:pt x="0" y="1125"/>
                    <a:pt x="3" y="1139"/>
                    <a:pt x="13" y="1148"/>
                  </a:cubicBezTo>
                  <a:cubicBezTo>
                    <a:pt x="19" y="1155"/>
                    <a:pt x="28" y="1159"/>
                    <a:pt x="38" y="1159"/>
                  </a:cubicBezTo>
                  <a:cubicBezTo>
                    <a:pt x="41" y="1159"/>
                    <a:pt x="45" y="1158"/>
                    <a:pt x="48" y="1157"/>
                  </a:cubicBezTo>
                  <a:cubicBezTo>
                    <a:pt x="542" y="1005"/>
                    <a:pt x="542" y="1005"/>
                    <a:pt x="542" y="1005"/>
                  </a:cubicBezTo>
                  <a:cubicBezTo>
                    <a:pt x="554" y="1002"/>
                    <a:pt x="563" y="992"/>
                    <a:pt x="566" y="980"/>
                  </a:cubicBezTo>
                  <a:cubicBezTo>
                    <a:pt x="570" y="968"/>
                    <a:pt x="566" y="955"/>
                    <a:pt x="557" y="946"/>
                  </a:cubicBezTo>
                  <a:cubicBezTo>
                    <a:pt x="465" y="854"/>
                    <a:pt x="465" y="854"/>
                    <a:pt x="465" y="854"/>
                  </a:cubicBezTo>
                  <a:cubicBezTo>
                    <a:pt x="508" y="811"/>
                    <a:pt x="508" y="811"/>
                    <a:pt x="508" y="811"/>
                  </a:cubicBezTo>
                  <a:cubicBezTo>
                    <a:pt x="521" y="797"/>
                    <a:pt x="521" y="775"/>
                    <a:pt x="508" y="761"/>
                  </a:cubicBezTo>
                  <a:cubicBezTo>
                    <a:pt x="494" y="747"/>
                    <a:pt x="471" y="747"/>
                    <a:pt x="457" y="761"/>
                  </a:cubicBezTo>
                  <a:cubicBezTo>
                    <a:pt x="389" y="829"/>
                    <a:pt x="389" y="829"/>
                    <a:pt x="389" y="829"/>
                  </a:cubicBezTo>
                  <a:cubicBezTo>
                    <a:pt x="375" y="843"/>
                    <a:pt x="375" y="865"/>
                    <a:pt x="389" y="879"/>
                  </a:cubicBezTo>
                  <a:cubicBezTo>
                    <a:pt x="465" y="955"/>
                    <a:pt x="465" y="955"/>
                    <a:pt x="465" y="955"/>
                  </a:cubicBezTo>
                  <a:cubicBezTo>
                    <a:pt x="92" y="1069"/>
                    <a:pt x="92" y="1069"/>
                    <a:pt x="92" y="1069"/>
                  </a:cubicBezTo>
                  <a:cubicBezTo>
                    <a:pt x="206" y="696"/>
                    <a:pt x="206" y="696"/>
                    <a:pt x="206" y="696"/>
                  </a:cubicBezTo>
                  <a:lnTo>
                    <a:pt x="282" y="7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7" name="Group 114">
            <a:extLst>
              <a:ext uri="{FF2B5EF4-FFF2-40B4-BE49-F238E27FC236}">
                <a16:creationId xmlns:a16="http://schemas.microsoft.com/office/drawing/2014/main" id="{91AC1399-FC7B-4075-92ED-358B58997E35}"/>
              </a:ext>
            </a:extLst>
          </p:cNvPr>
          <p:cNvGrpSpPr>
            <a:grpSpLocks noChangeAspect="1"/>
          </p:cNvGrpSpPr>
          <p:nvPr/>
        </p:nvGrpSpPr>
        <p:grpSpPr>
          <a:xfrm>
            <a:off x="7070355" y="5956111"/>
            <a:ext cx="285619" cy="285619"/>
            <a:chOff x="5349769" y="5419470"/>
            <a:chExt cx="503328" cy="503328"/>
          </a:xfrm>
          <a:solidFill>
            <a:schemeClr val="bg1"/>
          </a:solidFill>
          <a:effectLst/>
        </p:grpSpPr>
        <p:sp>
          <p:nvSpPr>
            <p:cNvPr id="1194" name="Freeform 19">
              <a:extLst>
                <a:ext uri="{FF2B5EF4-FFF2-40B4-BE49-F238E27FC236}">
                  <a16:creationId xmlns:a16="http://schemas.microsoft.com/office/drawing/2014/main" id="{354CE9CC-9AE9-47DF-A767-F9C9B52021CD}"/>
                </a:ext>
              </a:extLst>
            </p:cNvPr>
            <p:cNvSpPr>
              <a:spLocks noEditPoints="1"/>
            </p:cNvSpPr>
            <p:nvPr/>
          </p:nvSpPr>
          <p:spPr bwMode="auto">
            <a:xfrm>
              <a:off x="5349769" y="5419470"/>
              <a:ext cx="503328" cy="503328"/>
            </a:xfrm>
            <a:custGeom>
              <a:avLst/>
              <a:gdLst>
                <a:gd name="T0" fmla="*/ 668 w 1641"/>
                <a:gd name="T1" fmla="*/ 76 h 1641"/>
                <a:gd name="T2" fmla="*/ 492 w 1641"/>
                <a:gd name="T3" fmla="*/ 135 h 1641"/>
                <a:gd name="T4" fmla="*/ 338 w 1641"/>
                <a:gd name="T5" fmla="*/ 235 h 1641"/>
                <a:gd name="T6" fmla="*/ 213 w 1641"/>
                <a:gd name="T7" fmla="*/ 366 h 1641"/>
                <a:gd name="T8" fmla="*/ 121 w 1641"/>
                <a:gd name="T9" fmla="*/ 525 h 1641"/>
                <a:gd name="T10" fmla="*/ 70 w 1641"/>
                <a:gd name="T11" fmla="*/ 705 h 1641"/>
                <a:gd name="T12" fmla="*/ 64 w 1641"/>
                <a:gd name="T13" fmla="*/ 898 h 1641"/>
                <a:gd name="T14" fmla="*/ 108 w 1641"/>
                <a:gd name="T15" fmla="*/ 1081 h 1641"/>
                <a:gd name="T16" fmla="*/ 191 w 1641"/>
                <a:gd name="T17" fmla="*/ 1245 h 1641"/>
                <a:gd name="T18" fmla="*/ 311 w 1641"/>
                <a:gd name="T19" fmla="*/ 1383 h 1641"/>
                <a:gd name="T20" fmla="*/ 459 w 1641"/>
                <a:gd name="T21" fmla="*/ 1488 h 1641"/>
                <a:gd name="T22" fmla="*/ 632 w 1641"/>
                <a:gd name="T23" fmla="*/ 1556 h 1641"/>
                <a:gd name="T24" fmla="*/ 820 w 1641"/>
                <a:gd name="T25" fmla="*/ 1581 h 1641"/>
                <a:gd name="T26" fmla="*/ 1011 w 1641"/>
                <a:gd name="T27" fmla="*/ 1556 h 1641"/>
                <a:gd name="T28" fmla="*/ 1183 w 1641"/>
                <a:gd name="T29" fmla="*/ 1488 h 1641"/>
                <a:gd name="T30" fmla="*/ 1332 w 1641"/>
                <a:gd name="T31" fmla="*/ 1383 h 1641"/>
                <a:gd name="T32" fmla="*/ 1451 w 1641"/>
                <a:gd name="T33" fmla="*/ 1245 h 1641"/>
                <a:gd name="T34" fmla="*/ 1535 w 1641"/>
                <a:gd name="T35" fmla="*/ 1081 h 1641"/>
                <a:gd name="T36" fmla="*/ 1576 w 1641"/>
                <a:gd name="T37" fmla="*/ 898 h 1641"/>
                <a:gd name="T38" fmla="*/ 1572 w 1641"/>
                <a:gd name="T39" fmla="*/ 705 h 1641"/>
                <a:gd name="T40" fmla="*/ 1522 w 1641"/>
                <a:gd name="T41" fmla="*/ 525 h 1641"/>
                <a:gd name="T42" fmla="*/ 1430 w 1641"/>
                <a:gd name="T43" fmla="*/ 366 h 1641"/>
                <a:gd name="T44" fmla="*/ 1304 w 1641"/>
                <a:gd name="T45" fmla="*/ 235 h 1641"/>
                <a:gd name="T46" fmla="*/ 1150 w 1641"/>
                <a:gd name="T47" fmla="*/ 135 h 1641"/>
                <a:gd name="T48" fmla="*/ 975 w 1641"/>
                <a:gd name="T49" fmla="*/ 76 h 1641"/>
                <a:gd name="T50" fmla="*/ 820 w 1641"/>
                <a:gd name="T51" fmla="*/ 1641 h 1641"/>
                <a:gd name="T52" fmla="*/ 616 w 1641"/>
                <a:gd name="T53" fmla="*/ 1615 h 1641"/>
                <a:gd name="T54" fmla="*/ 430 w 1641"/>
                <a:gd name="T55" fmla="*/ 1542 h 1641"/>
                <a:gd name="T56" fmla="*/ 269 w 1641"/>
                <a:gd name="T57" fmla="*/ 1428 h 1641"/>
                <a:gd name="T58" fmla="*/ 141 w 1641"/>
                <a:gd name="T59" fmla="*/ 1278 h 1641"/>
                <a:gd name="T60" fmla="*/ 50 w 1641"/>
                <a:gd name="T61" fmla="*/ 1103 h 1641"/>
                <a:gd name="T62" fmla="*/ 4 w 1641"/>
                <a:gd name="T63" fmla="*/ 904 h 1641"/>
                <a:gd name="T64" fmla="*/ 10 w 1641"/>
                <a:gd name="T65" fmla="*/ 695 h 1641"/>
                <a:gd name="T66" fmla="*/ 64 w 1641"/>
                <a:gd name="T67" fmla="*/ 501 h 1641"/>
                <a:gd name="T68" fmla="*/ 164 w 1641"/>
                <a:gd name="T69" fmla="*/ 330 h 1641"/>
                <a:gd name="T70" fmla="*/ 299 w 1641"/>
                <a:gd name="T71" fmla="*/ 187 h 1641"/>
                <a:gd name="T72" fmla="*/ 466 w 1641"/>
                <a:gd name="T73" fmla="*/ 81 h 1641"/>
                <a:gd name="T74" fmla="*/ 656 w 1641"/>
                <a:gd name="T75" fmla="*/ 17 h 1641"/>
                <a:gd name="T76" fmla="*/ 864 w 1641"/>
                <a:gd name="T77" fmla="*/ 1 h 1641"/>
                <a:gd name="T78" fmla="*/ 1065 w 1641"/>
                <a:gd name="T79" fmla="*/ 37 h 1641"/>
                <a:gd name="T80" fmla="*/ 1247 w 1641"/>
                <a:gd name="T81" fmla="*/ 119 h 1641"/>
                <a:gd name="T82" fmla="*/ 1401 w 1641"/>
                <a:gd name="T83" fmla="*/ 240 h 1641"/>
                <a:gd name="T84" fmla="*/ 1523 w 1641"/>
                <a:gd name="T85" fmla="*/ 396 h 1641"/>
                <a:gd name="T86" fmla="*/ 1605 w 1641"/>
                <a:gd name="T87" fmla="*/ 577 h 1641"/>
                <a:gd name="T88" fmla="*/ 1641 w 1641"/>
                <a:gd name="T89" fmla="*/ 779 h 1641"/>
                <a:gd name="T90" fmla="*/ 1625 w 1641"/>
                <a:gd name="T91" fmla="*/ 986 h 1641"/>
                <a:gd name="T92" fmla="*/ 1561 w 1641"/>
                <a:gd name="T93" fmla="*/ 1176 h 1641"/>
                <a:gd name="T94" fmla="*/ 1454 w 1641"/>
                <a:gd name="T95" fmla="*/ 1342 h 1641"/>
                <a:gd name="T96" fmla="*/ 1311 w 1641"/>
                <a:gd name="T97" fmla="*/ 1478 h 1641"/>
                <a:gd name="T98" fmla="*/ 1140 w 1641"/>
                <a:gd name="T99" fmla="*/ 1576 h 1641"/>
                <a:gd name="T100" fmla="*/ 946 w 1641"/>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1" h="1641">
                  <a:moveTo>
                    <a:pt x="820" y="60"/>
                  </a:moveTo>
                  <a:lnTo>
                    <a:pt x="782" y="62"/>
                  </a:lnTo>
                  <a:lnTo>
                    <a:pt x="744" y="65"/>
                  </a:lnTo>
                  <a:lnTo>
                    <a:pt x="705" y="69"/>
                  </a:lnTo>
                  <a:lnTo>
                    <a:pt x="668" y="76"/>
                  </a:lnTo>
                  <a:lnTo>
                    <a:pt x="632" y="85"/>
                  </a:lnTo>
                  <a:lnTo>
                    <a:pt x="596" y="95"/>
                  </a:lnTo>
                  <a:lnTo>
                    <a:pt x="560" y="107"/>
                  </a:lnTo>
                  <a:lnTo>
                    <a:pt x="525" y="121"/>
                  </a:lnTo>
                  <a:lnTo>
                    <a:pt x="492" y="135"/>
                  </a:lnTo>
                  <a:lnTo>
                    <a:pt x="459" y="153"/>
                  </a:lnTo>
                  <a:lnTo>
                    <a:pt x="427" y="171"/>
                  </a:lnTo>
                  <a:lnTo>
                    <a:pt x="397" y="190"/>
                  </a:lnTo>
                  <a:lnTo>
                    <a:pt x="367" y="212"/>
                  </a:lnTo>
                  <a:lnTo>
                    <a:pt x="338" y="235"/>
                  </a:lnTo>
                  <a:lnTo>
                    <a:pt x="311" y="258"/>
                  </a:lnTo>
                  <a:lnTo>
                    <a:pt x="283" y="284"/>
                  </a:lnTo>
                  <a:lnTo>
                    <a:pt x="259" y="309"/>
                  </a:lnTo>
                  <a:lnTo>
                    <a:pt x="234" y="337"/>
                  </a:lnTo>
                  <a:lnTo>
                    <a:pt x="213" y="366"/>
                  </a:lnTo>
                  <a:lnTo>
                    <a:pt x="191" y="396"/>
                  </a:lnTo>
                  <a:lnTo>
                    <a:pt x="171" y="428"/>
                  </a:lnTo>
                  <a:lnTo>
                    <a:pt x="152" y="459"/>
                  </a:lnTo>
                  <a:lnTo>
                    <a:pt x="136" y="491"/>
                  </a:lnTo>
                  <a:lnTo>
                    <a:pt x="121" y="525"/>
                  </a:lnTo>
                  <a:lnTo>
                    <a:pt x="108" y="560"/>
                  </a:lnTo>
                  <a:lnTo>
                    <a:pt x="95" y="595"/>
                  </a:lnTo>
                  <a:lnTo>
                    <a:pt x="85" y="630"/>
                  </a:lnTo>
                  <a:lnTo>
                    <a:pt x="76" y="668"/>
                  </a:lnTo>
                  <a:lnTo>
                    <a:pt x="70" y="705"/>
                  </a:lnTo>
                  <a:lnTo>
                    <a:pt x="64" y="743"/>
                  </a:lnTo>
                  <a:lnTo>
                    <a:pt x="62" y="782"/>
                  </a:lnTo>
                  <a:lnTo>
                    <a:pt x="62" y="821"/>
                  </a:lnTo>
                  <a:lnTo>
                    <a:pt x="62" y="859"/>
                  </a:lnTo>
                  <a:lnTo>
                    <a:pt x="64" y="898"/>
                  </a:lnTo>
                  <a:lnTo>
                    <a:pt x="70" y="936"/>
                  </a:lnTo>
                  <a:lnTo>
                    <a:pt x="76" y="973"/>
                  </a:lnTo>
                  <a:lnTo>
                    <a:pt x="85" y="1011"/>
                  </a:lnTo>
                  <a:lnTo>
                    <a:pt x="95" y="1046"/>
                  </a:lnTo>
                  <a:lnTo>
                    <a:pt x="108" y="1081"/>
                  </a:lnTo>
                  <a:lnTo>
                    <a:pt x="121" y="1116"/>
                  </a:lnTo>
                  <a:lnTo>
                    <a:pt x="136" y="1150"/>
                  </a:lnTo>
                  <a:lnTo>
                    <a:pt x="152" y="1182"/>
                  </a:lnTo>
                  <a:lnTo>
                    <a:pt x="171" y="1213"/>
                  </a:lnTo>
                  <a:lnTo>
                    <a:pt x="191" y="1245"/>
                  </a:lnTo>
                  <a:lnTo>
                    <a:pt x="213" y="1275"/>
                  </a:lnTo>
                  <a:lnTo>
                    <a:pt x="234" y="1304"/>
                  </a:lnTo>
                  <a:lnTo>
                    <a:pt x="259" y="1332"/>
                  </a:lnTo>
                  <a:lnTo>
                    <a:pt x="283" y="1357"/>
                  </a:lnTo>
                  <a:lnTo>
                    <a:pt x="311" y="1383"/>
                  </a:lnTo>
                  <a:lnTo>
                    <a:pt x="338" y="1406"/>
                  </a:lnTo>
                  <a:lnTo>
                    <a:pt x="367" y="1429"/>
                  </a:lnTo>
                  <a:lnTo>
                    <a:pt x="397" y="1451"/>
                  </a:lnTo>
                  <a:lnTo>
                    <a:pt x="427" y="1470"/>
                  </a:lnTo>
                  <a:lnTo>
                    <a:pt x="459" y="1488"/>
                  </a:lnTo>
                  <a:lnTo>
                    <a:pt x="492" y="1506"/>
                  </a:lnTo>
                  <a:lnTo>
                    <a:pt x="525" y="1520"/>
                  </a:lnTo>
                  <a:lnTo>
                    <a:pt x="560" y="1534"/>
                  </a:lnTo>
                  <a:lnTo>
                    <a:pt x="596" y="1546"/>
                  </a:lnTo>
                  <a:lnTo>
                    <a:pt x="632" y="1556"/>
                  </a:lnTo>
                  <a:lnTo>
                    <a:pt x="668" y="1565"/>
                  </a:lnTo>
                  <a:lnTo>
                    <a:pt x="705" y="1572"/>
                  </a:lnTo>
                  <a:lnTo>
                    <a:pt x="744" y="1576"/>
                  </a:lnTo>
                  <a:lnTo>
                    <a:pt x="782" y="1579"/>
                  </a:lnTo>
                  <a:lnTo>
                    <a:pt x="820" y="1581"/>
                  </a:lnTo>
                  <a:lnTo>
                    <a:pt x="861" y="1579"/>
                  </a:lnTo>
                  <a:lnTo>
                    <a:pt x="898" y="1576"/>
                  </a:lnTo>
                  <a:lnTo>
                    <a:pt x="937" y="1572"/>
                  </a:lnTo>
                  <a:lnTo>
                    <a:pt x="975" y="1565"/>
                  </a:lnTo>
                  <a:lnTo>
                    <a:pt x="1011" y="1556"/>
                  </a:lnTo>
                  <a:lnTo>
                    <a:pt x="1047" y="1546"/>
                  </a:lnTo>
                  <a:lnTo>
                    <a:pt x="1083" y="1534"/>
                  </a:lnTo>
                  <a:lnTo>
                    <a:pt x="1117" y="1520"/>
                  </a:lnTo>
                  <a:lnTo>
                    <a:pt x="1150" y="1506"/>
                  </a:lnTo>
                  <a:lnTo>
                    <a:pt x="1183" y="1488"/>
                  </a:lnTo>
                  <a:lnTo>
                    <a:pt x="1215" y="1470"/>
                  </a:lnTo>
                  <a:lnTo>
                    <a:pt x="1245" y="1451"/>
                  </a:lnTo>
                  <a:lnTo>
                    <a:pt x="1275" y="1429"/>
                  </a:lnTo>
                  <a:lnTo>
                    <a:pt x="1304" y="1406"/>
                  </a:lnTo>
                  <a:lnTo>
                    <a:pt x="1332" y="1383"/>
                  </a:lnTo>
                  <a:lnTo>
                    <a:pt x="1358" y="1357"/>
                  </a:lnTo>
                  <a:lnTo>
                    <a:pt x="1383" y="1332"/>
                  </a:lnTo>
                  <a:lnTo>
                    <a:pt x="1407" y="1304"/>
                  </a:lnTo>
                  <a:lnTo>
                    <a:pt x="1430" y="1275"/>
                  </a:lnTo>
                  <a:lnTo>
                    <a:pt x="1451" y="1245"/>
                  </a:lnTo>
                  <a:lnTo>
                    <a:pt x="1471" y="1213"/>
                  </a:lnTo>
                  <a:lnTo>
                    <a:pt x="1489" y="1182"/>
                  </a:lnTo>
                  <a:lnTo>
                    <a:pt x="1506" y="1150"/>
                  </a:lnTo>
                  <a:lnTo>
                    <a:pt x="1522" y="1116"/>
                  </a:lnTo>
                  <a:lnTo>
                    <a:pt x="1535" y="1081"/>
                  </a:lnTo>
                  <a:lnTo>
                    <a:pt x="1546" y="1046"/>
                  </a:lnTo>
                  <a:lnTo>
                    <a:pt x="1556" y="1011"/>
                  </a:lnTo>
                  <a:lnTo>
                    <a:pt x="1565" y="973"/>
                  </a:lnTo>
                  <a:lnTo>
                    <a:pt x="1572" y="936"/>
                  </a:lnTo>
                  <a:lnTo>
                    <a:pt x="1576" y="898"/>
                  </a:lnTo>
                  <a:lnTo>
                    <a:pt x="1579" y="859"/>
                  </a:lnTo>
                  <a:lnTo>
                    <a:pt x="1581" y="821"/>
                  </a:lnTo>
                  <a:lnTo>
                    <a:pt x="1579" y="782"/>
                  </a:lnTo>
                  <a:lnTo>
                    <a:pt x="1576" y="743"/>
                  </a:lnTo>
                  <a:lnTo>
                    <a:pt x="1572" y="705"/>
                  </a:lnTo>
                  <a:lnTo>
                    <a:pt x="1565" y="668"/>
                  </a:lnTo>
                  <a:lnTo>
                    <a:pt x="1556" y="630"/>
                  </a:lnTo>
                  <a:lnTo>
                    <a:pt x="1546" y="595"/>
                  </a:lnTo>
                  <a:lnTo>
                    <a:pt x="1535" y="560"/>
                  </a:lnTo>
                  <a:lnTo>
                    <a:pt x="1522" y="525"/>
                  </a:lnTo>
                  <a:lnTo>
                    <a:pt x="1506" y="491"/>
                  </a:lnTo>
                  <a:lnTo>
                    <a:pt x="1489" y="459"/>
                  </a:lnTo>
                  <a:lnTo>
                    <a:pt x="1471" y="428"/>
                  </a:lnTo>
                  <a:lnTo>
                    <a:pt x="1451" y="396"/>
                  </a:lnTo>
                  <a:lnTo>
                    <a:pt x="1430" y="366"/>
                  </a:lnTo>
                  <a:lnTo>
                    <a:pt x="1407" y="337"/>
                  </a:lnTo>
                  <a:lnTo>
                    <a:pt x="1383" y="309"/>
                  </a:lnTo>
                  <a:lnTo>
                    <a:pt x="1358" y="284"/>
                  </a:lnTo>
                  <a:lnTo>
                    <a:pt x="1332" y="258"/>
                  </a:lnTo>
                  <a:lnTo>
                    <a:pt x="1304" y="235"/>
                  </a:lnTo>
                  <a:lnTo>
                    <a:pt x="1275" y="212"/>
                  </a:lnTo>
                  <a:lnTo>
                    <a:pt x="1245" y="190"/>
                  </a:lnTo>
                  <a:lnTo>
                    <a:pt x="1215" y="171"/>
                  </a:lnTo>
                  <a:lnTo>
                    <a:pt x="1183" y="153"/>
                  </a:lnTo>
                  <a:lnTo>
                    <a:pt x="1150" y="135"/>
                  </a:lnTo>
                  <a:lnTo>
                    <a:pt x="1117" y="121"/>
                  </a:lnTo>
                  <a:lnTo>
                    <a:pt x="1083" y="107"/>
                  </a:lnTo>
                  <a:lnTo>
                    <a:pt x="1047" y="95"/>
                  </a:lnTo>
                  <a:lnTo>
                    <a:pt x="1011" y="85"/>
                  </a:lnTo>
                  <a:lnTo>
                    <a:pt x="975" y="76"/>
                  </a:lnTo>
                  <a:lnTo>
                    <a:pt x="937" y="69"/>
                  </a:lnTo>
                  <a:lnTo>
                    <a:pt x="898" y="65"/>
                  </a:lnTo>
                  <a:lnTo>
                    <a:pt x="861" y="62"/>
                  </a:lnTo>
                  <a:lnTo>
                    <a:pt x="820" y="60"/>
                  </a:lnTo>
                  <a:close/>
                  <a:moveTo>
                    <a:pt x="820" y="1641"/>
                  </a:moveTo>
                  <a:lnTo>
                    <a:pt x="779" y="1640"/>
                  </a:lnTo>
                  <a:lnTo>
                    <a:pt x="737" y="1637"/>
                  </a:lnTo>
                  <a:lnTo>
                    <a:pt x="697" y="1631"/>
                  </a:lnTo>
                  <a:lnTo>
                    <a:pt x="656" y="1624"/>
                  </a:lnTo>
                  <a:lnTo>
                    <a:pt x="616" y="1615"/>
                  </a:lnTo>
                  <a:lnTo>
                    <a:pt x="577" y="1604"/>
                  </a:lnTo>
                  <a:lnTo>
                    <a:pt x="540" y="1591"/>
                  </a:lnTo>
                  <a:lnTo>
                    <a:pt x="502" y="1576"/>
                  </a:lnTo>
                  <a:lnTo>
                    <a:pt x="466" y="1560"/>
                  </a:lnTo>
                  <a:lnTo>
                    <a:pt x="430" y="1542"/>
                  </a:lnTo>
                  <a:lnTo>
                    <a:pt x="396" y="1522"/>
                  </a:lnTo>
                  <a:lnTo>
                    <a:pt x="363" y="1501"/>
                  </a:lnTo>
                  <a:lnTo>
                    <a:pt x="331" y="1478"/>
                  </a:lnTo>
                  <a:lnTo>
                    <a:pt x="299" y="1454"/>
                  </a:lnTo>
                  <a:lnTo>
                    <a:pt x="269" y="1428"/>
                  </a:lnTo>
                  <a:lnTo>
                    <a:pt x="242" y="1401"/>
                  </a:lnTo>
                  <a:lnTo>
                    <a:pt x="214" y="1372"/>
                  </a:lnTo>
                  <a:lnTo>
                    <a:pt x="188" y="1342"/>
                  </a:lnTo>
                  <a:lnTo>
                    <a:pt x="164" y="1311"/>
                  </a:lnTo>
                  <a:lnTo>
                    <a:pt x="141" y="1278"/>
                  </a:lnTo>
                  <a:lnTo>
                    <a:pt x="119" y="1245"/>
                  </a:lnTo>
                  <a:lnTo>
                    <a:pt x="99" y="1211"/>
                  </a:lnTo>
                  <a:lnTo>
                    <a:pt x="82" y="1176"/>
                  </a:lnTo>
                  <a:lnTo>
                    <a:pt x="64" y="1140"/>
                  </a:lnTo>
                  <a:lnTo>
                    <a:pt x="50" y="1103"/>
                  </a:lnTo>
                  <a:lnTo>
                    <a:pt x="37" y="1064"/>
                  </a:lnTo>
                  <a:lnTo>
                    <a:pt x="26" y="1025"/>
                  </a:lnTo>
                  <a:lnTo>
                    <a:pt x="17" y="986"/>
                  </a:lnTo>
                  <a:lnTo>
                    <a:pt x="10" y="946"/>
                  </a:lnTo>
                  <a:lnTo>
                    <a:pt x="4" y="904"/>
                  </a:lnTo>
                  <a:lnTo>
                    <a:pt x="1" y="862"/>
                  </a:lnTo>
                  <a:lnTo>
                    <a:pt x="0" y="821"/>
                  </a:lnTo>
                  <a:lnTo>
                    <a:pt x="1" y="779"/>
                  </a:lnTo>
                  <a:lnTo>
                    <a:pt x="4" y="737"/>
                  </a:lnTo>
                  <a:lnTo>
                    <a:pt x="10" y="695"/>
                  </a:lnTo>
                  <a:lnTo>
                    <a:pt x="17" y="655"/>
                  </a:lnTo>
                  <a:lnTo>
                    <a:pt x="26" y="616"/>
                  </a:lnTo>
                  <a:lnTo>
                    <a:pt x="37" y="577"/>
                  </a:lnTo>
                  <a:lnTo>
                    <a:pt x="50" y="538"/>
                  </a:lnTo>
                  <a:lnTo>
                    <a:pt x="64" y="501"/>
                  </a:lnTo>
                  <a:lnTo>
                    <a:pt x="82" y="465"/>
                  </a:lnTo>
                  <a:lnTo>
                    <a:pt x="99" y="430"/>
                  </a:lnTo>
                  <a:lnTo>
                    <a:pt x="119" y="396"/>
                  </a:lnTo>
                  <a:lnTo>
                    <a:pt x="141" y="363"/>
                  </a:lnTo>
                  <a:lnTo>
                    <a:pt x="164" y="330"/>
                  </a:lnTo>
                  <a:lnTo>
                    <a:pt x="188" y="299"/>
                  </a:lnTo>
                  <a:lnTo>
                    <a:pt x="214" y="269"/>
                  </a:lnTo>
                  <a:lnTo>
                    <a:pt x="242" y="240"/>
                  </a:lnTo>
                  <a:lnTo>
                    <a:pt x="269" y="213"/>
                  </a:lnTo>
                  <a:lnTo>
                    <a:pt x="299" y="187"/>
                  </a:lnTo>
                  <a:lnTo>
                    <a:pt x="331" y="163"/>
                  </a:lnTo>
                  <a:lnTo>
                    <a:pt x="363" y="140"/>
                  </a:lnTo>
                  <a:lnTo>
                    <a:pt x="396" y="119"/>
                  </a:lnTo>
                  <a:lnTo>
                    <a:pt x="430" y="99"/>
                  </a:lnTo>
                  <a:lnTo>
                    <a:pt x="466" y="81"/>
                  </a:lnTo>
                  <a:lnTo>
                    <a:pt x="502" y="65"/>
                  </a:lnTo>
                  <a:lnTo>
                    <a:pt x="540" y="50"/>
                  </a:lnTo>
                  <a:lnTo>
                    <a:pt x="577" y="37"/>
                  </a:lnTo>
                  <a:lnTo>
                    <a:pt x="616" y="26"/>
                  </a:lnTo>
                  <a:lnTo>
                    <a:pt x="656" y="17"/>
                  </a:lnTo>
                  <a:lnTo>
                    <a:pt x="697" y="10"/>
                  </a:lnTo>
                  <a:lnTo>
                    <a:pt x="737" y="4"/>
                  </a:lnTo>
                  <a:lnTo>
                    <a:pt x="779" y="1"/>
                  </a:lnTo>
                  <a:lnTo>
                    <a:pt x="820" y="0"/>
                  </a:lnTo>
                  <a:lnTo>
                    <a:pt x="864" y="1"/>
                  </a:lnTo>
                  <a:lnTo>
                    <a:pt x="905" y="4"/>
                  </a:lnTo>
                  <a:lnTo>
                    <a:pt x="946" y="10"/>
                  </a:lnTo>
                  <a:lnTo>
                    <a:pt x="986" y="17"/>
                  </a:lnTo>
                  <a:lnTo>
                    <a:pt x="1026" y="26"/>
                  </a:lnTo>
                  <a:lnTo>
                    <a:pt x="1065" y="37"/>
                  </a:lnTo>
                  <a:lnTo>
                    <a:pt x="1103" y="50"/>
                  </a:lnTo>
                  <a:lnTo>
                    <a:pt x="1140" y="65"/>
                  </a:lnTo>
                  <a:lnTo>
                    <a:pt x="1176" y="81"/>
                  </a:lnTo>
                  <a:lnTo>
                    <a:pt x="1212" y="99"/>
                  </a:lnTo>
                  <a:lnTo>
                    <a:pt x="1247" y="119"/>
                  </a:lnTo>
                  <a:lnTo>
                    <a:pt x="1280" y="140"/>
                  </a:lnTo>
                  <a:lnTo>
                    <a:pt x="1311" y="163"/>
                  </a:lnTo>
                  <a:lnTo>
                    <a:pt x="1343" y="187"/>
                  </a:lnTo>
                  <a:lnTo>
                    <a:pt x="1372" y="213"/>
                  </a:lnTo>
                  <a:lnTo>
                    <a:pt x="1401" y="240"/>
                  </a:lnTo>
                  <a:lnTo>
                    <a:pt x="1428" y="269"/>
                  </a:lnTo>
                  <a:lnTo>
                    <a:pt x="1454" y="299"/>
                  </a:lnTo>
                  <a:lnTo>
                    <a:pt x="1479" y="330"/>
                  </a:lnTo>
                  <a:lnTo>
                    <a:pt x="1502" y="363"/>
                  </a:lnTo>
                  <a:lnTo>
                    <a:pt x="1523" y="396"/>
                  </a:lnTo>
                  <a:lnTo>
                    <a:pt x="1542" y="430"/>
                  </a:lnTo>
                  <a:lnTo>
                    <a:pt x="1561" y="465"/>
                  </a:lnTo>
                  <a:lnTo>
                    <a:pt x="1576" y="501"/>
                  </a:lnTo>
                  <a:lnTo>
                    <a:pt x="1592" y="538"/>
                  </a:lnTo>
                  <a:lnTo>
                    <a:pt x="1605" y="577"/>
                  </a:lnTo>
                  <a:lnTo>
                    <a:pt x="1615" y="616"/>
                  </a:lnTo>
                  <a:lnTo>
                    <a:pt x="1625" y="655"/>
                  </a:lnTo>
                  <a:lnTo>
                    <a:pt x="1633" y="695"/>
                  </a:lnTo>
                  <a:lnTo>
                    <a:pt x="1637" y="737"/>
                  </a:lnTo>
                  <a:lnTo>
                    <a:pt x="1641" y="779"/>
                  </a:lnTo>
                  <a:lnTo>
                    <a:pt x="1641" y="821"/>
                  </a:lnTo>
                  <a:lnTo>
                    <a:pt x="1641" y="862"/>
                  </a:lnTo>
                  <a:lnTo>
                    <a:pt x="1637" y="904"/>
                  </a:lnTo>
                  <a:lnTo>
                    <a:pt x="1633" y="946"/>
                  </a:lnTo>
                  <a:lnTo>
                    <a:pt x="1625" y="986"/>
                  </a:lnTo>
                  <a:lnTo>
                    <a:pt x="1615" y="1025"/>
                  </a:lnTo>
                  <a:lnTo>
                    <a:pt x="1605" y="1064"/>
                  </a:lnTo>
                  <a:lnTo>
                    <a:pt x="1592" y="1103"/>
                  </a:lnTo>
                  <a:lnTo>
                    <a:pt x="1576" y="1140"/>
                  </a:lnTo>
                  <a:lnTo>
                    <a:pt x="1561" y="1176"/>
                  </a:lnTo>
                  <a:lnTo>
                    <a:pt x="1542" y="1211"/>
                  </a:lnTo>
                  <a:lnTo>
                    <a:pt x="1523" y="1245"/>
                  </a:lnTo>
                  <a:lnTo>
                    <a:pt x="1502" y="1278"/>
                  </a:lnTo>
                  <a:lnTo>
                    <a:pt x="1479" y="1311"/>
                  </a:lnTo>
                  <a:lnTo>
                    <a:pt x="1454" y="1342"/>
                  </a:lnTo>
                  <a:lnTo>
                    <a:pt x="1428" y="1372"/>
                  </a:lnTo>
                  <a:lnTo>
                    <a:pt x="1401" y="1401"/>
                  </a:lnTo>
                  <a:lnTo>
                    <a:pt x="1372" y="1428"/>
                  </a:lnTo>
                  <a:lnTo>
                    <a:pt x="1343" y="1454"/>
                  </a:lnTo>
                  <a:lnTo>
                    <a:pt x="1311" y="1478"/>
                  </a:lnTo>
                  <a:lnTo>
                    <a:pt x="1280" y="1501"/>
                  </a:lnTo>
                  <a:lnTo>
                    <a:pt x="1247" y="1522"/>
                  </a:lnTo>
                  <a:lnTo>
                    <a:pt x="1212" y="1542"/>
                  </a:lnTo>
                  <a:lnTo>
                    <a:pt x="1176" y="1560"/>
                  </a:lnTo>
                  <a:lnTo>
                    <a:pt x="1140" y="1576"/>
                  </a:lnTo>
                  <a:lnTo>
                    <a:pt x="1103" y="1591"/>
                  </a:lnTo>
                  <a:lnTo>
                    <a:pt x="1065" y="1604"/>
                  </a:lnTo>
                  <a:lnTo>
                    <a:pt x="1026" y="1615"/>
                  </a:lnTo>
                  <a:lnTo>
                    <a:pt x="986" y="1624"/>
                  </a:lnTo>
                  <a:lnTo>
                    <a:pt x="946" y="1631"/>
                  </a:lnTo>
                  <a:lnTo>
                    <a:pt x="905" y="1637"/>
                  </a:lnTo>
                  <a:lnTo>
                    <a:pt x="864" y="1640"/>
                  </a:lnTo>
                  <a:lnTo>
                    <a:pt x="820"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5" name="Freeform 20">
              <a:extLst>
                <a:ext uri="{FF2B5EF4-FFF2-40B4-BE49-F238E27FC236}">
                  <a16:creationId xmlns:a16="http://schemas.microsoft.com/office/drawing/2014/main" id="{F32B364E-2B04-4604-9E16-2B7FA9A48148}"/>
                </a:ext>
              </a:extLst>
            </p:cNvPr>
            <p:cNvSpPr>
              <a:spLocks noEditPoints="1"/>
            </p:cNvSpPr>
            <p:nvPr/>
          </p:nvSpPr>
          <p:spPr bwMode="auto">
            <a:xfrm>
              <a:off x="5424302" y="5568536"/>
              <a:ext cx="186792" cy="223599"/>
            </a:xfrm>
            <a:custGeom>
              <a:avLst/>
              <a:gdLst>
                <a:gd name="T0" fmla="*/ 62 w 608"/>
                <a:gd name="T1" fmla="*/ 83 h 728"/>
                <a:gd name="T2" fmla="*/ 62 w 608"/>
                <a:gd name="T3" fmla="*/ 643 h 728"/>
                <a:gd name="T4" fmla="*/ 520 w 608"/>
                <a:gd name="T5" fmla="*/ 352 h 728"/>
                <a:gd name="T6" fmla="*/ 62 w 608"/>
                <a:gd name="T7" fmla="*/ 83 h 728"/>
                <a:gd name="T8" fmla="*/ 30 w 608"/>
                <a:gd name="T9" fmla="*/ 728 h 728"/>
                <a:gd name="T10" fmla="*/ 23 w 608"/>
                <a:gd name="T11" fmla="*/ 728 h 728"/>
                <a:gd name="T12" fmla="*/ 16 w 608"/>
                <a:gd name="T13" fmla="*/ 725 h 728"/>
                <a:gd name="T14" fmla="*/ 10 w 608"/>
                <a:gd name="T15" fmla="*/ 719 h 728"/>
                <a:gd name="T16" fmla="*/ 4 w 608"/>
                <a:gd name="T17" fmla="*/ 714 h 728"/>
                <a:gd name="T18" fmla="*/ 1 w 608"/>
                <a:gd name="T19" fmla="*/ 706 h 728"/>
                <a:gd name="T20" fmla="*/ 0 w 608"/>
                <a:gd name="T21" fmla="*/ 698 h 728"/>
                <a:gd name="T22" fmla="*/ 0 w 608"/>
                <a:gd name="T23" fmla="*/ 30 h 728"/>
                <a:gd name="T24" fmla="*/ 1 w 608"/>
                <a:gd name="T25" fmla="*/ 21 h 728"/>
                <a:gd name="T26" fmla="*/ 4 w 608"/>
                <a:gd name="T27" fmla="*/ 14 h 728"/>
                <a:gd name="T28" fmla="*/ 10 w 608"/>
                <a:gd name="T29" fmla="*/ 8 h 728"/>
                <a:gd name="T30" fmla="*/ 16 w 608"/>
                <a:gd name="T31" fmla="*/ 4 h 728"/>
                <a:gd name="T32" fmla="*/ 23 w 608"/>
                <a:gd name="T33" fmla="*/ 0 h 728"/>
                <a:gd name="T34" fmla="*/ 32 w 608"/>
                <a:gd name="T35" fmla="*/ 0 h 728"/>
                <a:gd name="T36" fmla="*/ 39 w 608"/>
                <a:gd name="T37" fmla="*/ 1 h 728"/>
                <a:gd name="T38" fmla="*/ 46 w 608"/>
                <a:gd name="T39" fmla="*/ 4 h 728"/>
                <a:gd name="T40" fmla="*/ 593 w 608"/>
                <a:gd name="T41" fmla="*/ 325 h 728"/>
                <a:gd name="T42" fmla="*/ 599 w 608"/>
                <a:gd name="T43" fmla="*/ 331 h 728"/>
                <a:gd name="T44" fmla="*/ 605 w 608"/>
                <a:gd name="T45" fmla="*/ 336 h 728"/>
                <a:gd name="T46" fmla="*/ 608 w 608"/>
                <a:gd name="T47" fmla="*/ 344 h 728"/>
                <a:gd name="T48" fmla="*/ 608 w 608"/>
                <a:gd name="T49" fmla="*/ 351 h 728"/>
                <a:gd name="T50" fmla="*/ 608 w 608"/>
                <a:gd name="T51" fmla="*/ 359 h 728"/>
                <a:gd name="T52" fmla="*/ 605 w 608"/>
                <a:gd name="T53" fmla="*/ 367 h 728"/>
                <a:gd name="T54" fmla="*/ 600 w 608"/>
                <a:gd name="T55" fmla="*/ 372 h 728"/>
                <a:gd name="T56" fmla="*/ 595 w 608"/>
                <a:gd name="T57" fmla="*/ 377 h 728"/>
                <a:gd name="T58" fmla="*/ 48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2" y="83"/>
                  </a:moveTo>
                  <a:lnTo>
                    <a:pt x="62" y="643"/>
                  </a:lnTo>
                  <a:lnTo>
                    <a:pt x="520" y="352"/>
                  </a:lnTo>
                  <a:lnTo>
                    <a:pt x="62" y="83"/>
                  </a:lnTo>
                  <a:close/>
                  <a:moveTo>
                    <a:pt x="30" y="728"/>
                  </a:moveTo>
                  <a:lnTo>
                    <a:pt x="23" y="728"/>
                  </a:lnTo>
                  <a:lnTo>
                    <a:pt x="16" y="725"/>
                  </a:lnTo>
                  <a:lnTo>
                    <a:pt x="10" y="719"/>
                  </a:lnTo>
                  <a:lnTo>
                    <a:pt x="4" y="714"/>
                  </a:lnTo>
                  <a:lnTo>
                    <a:pt x="1" y="706"/>
                  </a:lnTo>
                  <a:lnTo>
                    <a:pt x="0" y="698"/>
                  </a:lnTo>
                  <a:lnTo>
                    <a:pt x="0" y="30"/>
                  </a:lnTo>
                  <a:lnTo>
                    <a:pt x="1" y="21"/>
                  </a:lnTo>
                  <a:lnTo>
                    <a:pt x="4" y="14"/>
                  </a:lnTo>
                  <a:lnTo>
                    <a:pt x="10" y="8"/>
                  </a:lnTo>
                  <a:lnTo>
                    <a:pt x="16" y="4"/>
                  </a:lnTo>
                  <a:lnTo>
                    <a:pt x="23" y="0"/>
                  </a:lnTo>
                  <a:lnTo>
                    <a:pt x="32" y="0"/>
                  </a:lnTo>
                  <a:lnTo>
                    <a:pt x="39" y="1"/>
                  </a:lnTo>
                  <a:lnTo>
                    <a:pt x="46" y="4"/>
                  </a:lnTo>
                  <a:lnTo>
                    <a:pt x="593" y="325"/>
                  </a:lnTo>
                  <a:lnTo>
                    <a:pt x="599" y="331"/>
                  </a:lnTo>
                  <a:lnTo>
                    <a:pt x="605" y="336"/>
                  </a:lnTo>
                  <a:lnTo>
                    <a:pt x="608" y="344"/>
                  </a:lnTo>
                  <a:lnTo>
                    <a:pt x="608" y="351"/>
                  </a:lnTo>
                  <a:lnTo>
                    <a:pt x="608" y="359"/>
                  </a:lnTo>
                  <a:lnTo>
                    <a:pt x="605" y="367"/>
                  </a:lnTo>
                  <a:lnTo>
                    <a:pt x="600" y="372"/>
                  </a:lnTo>
                  <a:lnTo>
                    <a:pt x="595" y="377"/>
                  </a:lnTo>
                  <a:lnTo>
                    <a:pt x="48"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6" name="Freeform 21">
              <a:extLst>
                <a:ext uri="{FF2B5EF4-FFF2-40B4-BE49-F238E27FC236}">
                  <a16:creationId xmlns:a16="http://schemas.microsoft.com/office/drawing/2014/main" id="{F2975339-2087-4220-8A48-292BED8CE6E0}"/>
                </a:ext>
              </a:extLst>
            </p:cNvPr>
            <p:cNvSpPr>
              <a:spLocks noEditPoints="1"/>
            </p:cNvSpPr>
            <p:nvPr/>
          </p:nvSpPr>
          <p:spPr bwMode="auto">
            <a:xfrm>
              <a:off x="5591771" y="5568536"/>
              <a:ext cx="186792" cy="223599"/>
            </a:xfrm>
            <a:custGeom>
              <a:avLst/>
              <a:gdLst>
                <a:gd name="T0" fmla="*/ 61 w 608"/>
                <a:gd name="T1" fmla="*/ 83 h 728"/>
                <a:gd name="T2" fmla="*/ 61 w 608"/>
                <a:gd name="T3" fmla="*/ 643 h 728"/>
                <a:gd name="T4" fmla="*/ 520 w 608"/>
                <a:gd name="T5" fmla="*/ 352 h 728"/>
                <a:gd name="T6" fmla="*/ 61 w 608"/>
                <a:gd name="T7" fmla="*/ 83 h 728"/>
                <a:gd name="T8" fmla="*/ 30 w 608"/>
                <a:gd name="T9" fmla="*/ 728 h 728"/>
                <a:gd name="T10" fmla="*/ 23 w 608"/>
                <a:gd name="T11" fmla="*/ 728 h 728"/>
                <a:gd name="T12" fmla="*/ 16 w 608"/>
                <a:gd name="T13" fmla="*/ 725 h 728"/>
                <a:gd name="T14" fmla="*/ 10 w 608"/>
                <a:gd name="T15" fmla="*/ 719 h 728"/>
                <a:gd name="T16" fmla="*/ 5 w 608"/>
                <a:gd name="T17" fmla="*/ 714 h 728"/>
                <a:gd name="T18" fmla="*/ 2 w 608"/>
                <a:gd name="T19" fmla="*/ 706 h 728"/>
                <a:gd name="T20" fmla="*/ 0 w 608"/>
                <a:gd name="T21" fmla="*/ 698 h 728"/>
                <a:gd name="T22" fmla="*/ 0 w 608"/>
                <a:gd name="T23" fmla="*/ 30 h 728"/>
                <a:gd name="T24" fmla="*/ 2 w 608"/>
                <a:gd name="T25" fmla="*/ 21 h 728"/>
                <a:gd name="T26" fmla="*/ 5 w 608"/>
                <a:gd name="T27" fmla="*/ 14 h 728"/>
                <a:gd name="T28" fmla="*/ 9 w 608"/>
                <a:gd name="T29" fmla="*/ 8 h 728"/>
                <a:gd name="T30" fmla="*/ 16 w 608"/>
                <a:gd name="T31" fmla="*/ 4 h 728"/>
                <a:gd name="T32" fmla="*/ 23 w 608"/>
                <a:gd name="T33" fmla="*/ 0 h 728"/>
                <a:gd name="T34" fmla="*/ 32 w 608"/>
                <a:gd name="T35" fmla="*/ 0 h 728"/>
                <a:gd name="T36" fmla="*/ 39 w 608"/>
                <a:gd name="T37" fmla="*/ 1 h 728"/>
                <a:gd name="T38" fmla="*/ 46 w 608"/>
                <a:gd name="T39" fmla="*/ 4 h 728"/>
                <a:gd name="T40" fmla="*/ 593 w 608"/>
                <a:gd name="T41" fmla="*/ 325 h 728"/>
                <a:gd name="T42" fmla="*/ 599 w 608"/>
                <a:gd name="T43" fmla="*/ 331 h 728"/>
                <a:gd name="T44" fmla="*/ 605 w 608"/>
                <a:gd name="T45" fmla="*/ 336 h 728"/>
                <a:gd name="T46" fmla="*/ 608 w 608"/>
                <a:gd name="T47" fmla="*/ 344 h 728"/>
                <a:gd name="T48" fmla="*/ 608 w 608"/>
                <a:gd name="T49" fmla="*/ 351 h 728"/>
                <a:gd name="T50" fmla="*/ 608 w 608"/>
                <a:gd name="T51" fmla="*/ 359 h 728"/>
                <a:gd name="T52" fmla="*/ 605 w 608"/>
                <a:gd name="T53" fmla="*/ 367 h 728"/>
                <a:gd name="T54" fmla="*/ 601 w 608"/>
                <a:gd name="T55" fmla="*/ 372 h 728"/>
                <a:gd name="T56" fmla="*/ 595 w 608"/>
                <a:gd name="T57" fmla="*/ 377 h 728"/>
                <a:gd name="T58" fmla="*/ 48 w 608"/>
                <a:gd name="T59" fmla="*/ 724 h 728"/>
                <a:gd name="T60" fmla="*/ 39 w 608"/>
                <a:gd name="T61" fmla="*/ 728 h 728"/>
                <a:gd name="T62" fmla="*/ 30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61" y="83"/>
                  </a:moveTo>
                  <a:lnTo>
                    <a:pt x="61" y="643"/>
                  </a:lnTo>
                  <a:lnTo>
                    <a:pt x="520" y="352"/>
                  </a:lnTo>
                  <a:lnTo>
                    <a:pt x="61" y="83"/>
                  </a:lnTo>
                  <a:close/>
                  <a:moveTo>
                    <a:pt x="30" y="728"/>
                  </a:moveTo>
                  <a:lnTo>
                    <a:pt x="23" y="728"/>
                  </a:lnTo>
                  <a:lnTo>
                    <a:pt x="16" y="725"/>
                  </a:lnTo>
                  <a:lnTo>
                    <a:pt x="10" y="719"/>
                  </a:lnTo>
                  <a:lnTo>
                    <a:pt x="5" y="714"/>
                  </a:lnTo>
                  <a:lnTo>
                    <a:pt x="2" y="706"/>
                  </a:lnTo>
                  <a:lnTo>
                    <a:pt x="0" y="698"/>
                  </a:lnTo>
                  <a:lnTo>
                    <a:pt x="0" y="30"/>
                  </a:lnTo>
                  <a:lnTo>
                    <a:pt x="2" y="21"/>
                  </a:lnTo>
                  <a:lnTo>
                    <a:pt x="5" y="14"/>
                  </a:lnTo>
                  <a:lnTo>
                    <a:pt x="9" y="8"/>
                  </a:lnTo>
                  <a:lnTo>
                    <a:pt x="16" y="4"/>
                  </a:lnTo>
                  <a:lnTo>
                    <a:pt x="23" y="0"/>
                  </a:lnTo>
                  <a:lnTo>
                    <a:pt x="32" y="0"/>
                  </a:lnTo>
                  <a:lnTo>
                    <a:pt x="39" y="1"/>
                  </a:lnTo>
                  <a:lnTo>
                    <a:pt x="46" y="4"/>
                  </a:lnTo>
                  <a:lnTo>
                    <a:pt x="593" y="325"/>
                  </a:lnTo>
                  <a:lnTo>
                    <a:pt x="599" y="331"/>
                  </a:lnTo>
                  <a:lnTo>
                    <a:pt x="605" y="336"/>
                  </a:lnTo>
                  <a:lnTo>
                    <a:pt x="608" y="344"/>
                  </a:lnTo>
                  <a:lnTo>
                    <a:pt x="608" y="351"/>
                  </a:lnTo>
                  <a:lnTo>
                    <a:pt x="608" y="359"/>
                  </a:lnTo>
                  <a:lnTo>
                    <a:pt x="605" y="367"/>
                  </a:lnTo>
                  <a:lnTo>
                    <a:pt x="601" y="372"/>
                  </a:lnTo>
                  <a:lnTo>
                    <a:pt x="595" y="377"/>
                  </a:lnTo>
                  <a:lnTo>
                    <a:pt x="48" y="724"/>
                  </a:lnTo>
                  <a:lnTo>
                    <a:pt x="39" y="728"/>
                  </a:lnTo>
                  <a:lnTo>
                    <a:pt x="30"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7" name="Freeform 33">
              <a:extLst>
                <a:ext uri="{FF2B5EF4-FFF2-40B4-BE49-F238E27FC236}">
                  <a16:creationId xmlns:a16="http://schemas.microsoft.com/office/drawing/2014/main" id="{81E3945D-2E6E-43A4-A893-6CFE8837F144}"/>
                </a:ext>
              </a:extLst>
            </p:cNvPr>
            <p:cNvSpPr>
              <a:spLocks/>
            </p:cNvSpPr>
            <p:nvPr/>
          </p:nvSpPr>
          <p:spPr bwMode="auto">
            <a:xfrm>
              <a:off x="5760161" y="5568536"/>
              <a:ext cx="18403" cy="223599"/>
            </a:xfrm>
            <a:custGeom>
              <a:avLst/>
              <a:gdLst>
                <a:gd name="T0" fmla="*/ 31 w 61"/>
                <a:gd name="T1" fmla="*/ 728 h 728"/>
                <a:gd name="T2" fmla="*/ 25 w 61"/>
                <a:gd name="T3" fmla="*/ 728 h 728"/>
                <a:gd name="T4" fmla="*/ 19 w 61"/>
                <a:gd name="T5" fmla="*/ 726 h 728"/>
                <a:gd name="T6" fmla="*/ 15 w 61"/>
                <a:gd name="T7" fmla="*/ 724 h 728"/>
                <a:gd name="T8" fmla="*/ 9 w 61"/>
                <a:gd name="T9" fmla="*/ 719 h 728"/>
                <a:gd name="T10" fmla="*/ 6 w 61"/>
                <a:gd name="T11" fmla="*/ 715 h 728"/>
                <a:gd name="T12" fmla="*/ 3 w 61"/>
                <a:gd name="T13" fmla="*/ 711 h 728"/>
                <a:gd name="T14" fmla="*/ 2 w 61"/>
                <a:gd name="T15" fmla="*/ 705 h 728"/>
                <a:gd name="T16" fmla="*/ 0 w 61"/>
                <a:gd name="T17" fmla="*/ 698 h 728"/>
                <a:gd name="T18" fmla="*/ 0 w 61"/>
                <a:gd name="T19" fmla="*/ 30 h 728"/>
                <a:gd name="T20" fmla="*/ 2 w 61"/>
                <a:gd name="T21" fmla="*/ 24 h 728"/>
                <a:gd name="T22" fmla="*/ 3 w 61"/>
                <a:gd name="T23" fmla="*/ 18 h 728"/>
                <a:gd name="T24" fmla="*/ 6 w 61"/>
                <a:gd name="T25" fmla="*/ 12 h 728"/>
                <a:gd name="T26" fmla="*/ 9 w 61"/>
                <a:gd name="T27" fmla="*/ 8 h 728"/>
                <a:gd name="T28" fmla="*/ 15 w 61"/>
                <a:gd name="T29" fmla="*/ 4 h 728"/>
                <a:gd name="T30" fmla="*/ 19 w 61"/>
                <a:gd name="T31" fmla="*/ 1 h 728"/>
                <a:gd name="T32" fmla="*/ 25 w 61"/>
                <a:gd name="T33" fmla="*/ 0 h 728"/>
                <a:gd name="T34" fmla="*/ 31 w 61"/>
                <a:gd name="T35" fmla="*/ 0 h 728"/>
                <a:gd name="T36" fmla="*/ 38 w 61"/>
                <a:gd name="T37" fmla="*/ 0 h 728"/>
                <a:gd name="T38" fmla="*/ 44 w 61"/>
                <a:gd name="T39" fmla="*/ 1 h 728"/>
                <a:gd name="T40" fmla="*/ 48 w 61"/>
                <a:gd name="T41" fmla="*/ 4 h 728"/>
                <a:gd name="T42" fmla="*/ 52 w 61"/>
                <a:gd name="T43" fmla="*/ 8 h 728"/>
                <a:gd name="T44" fmla="*/ 57 w 61"/>
                <a:gd name="T45" fmla="*/ 12 h 728"/>
                <a:gd name="T46" fmla="*/ 59 w 61"/>
                <a:gd name="T47" fmla="*/ 18 h 728"/>
                <a:gd name="T48" fmla="*/ 61 w 61"/>
                <a:gd name="T49" fmla="*/ 24 h 728"/>
                <a:gd name="T50" fmla="*/ 61 w 61"/>
                <a:gd name="T51" fmla="*/ 30 h 728"/>
                <a:gd name="T52" fmla="*/ 61 w 61"/>
                <a:gd name="T53" fmla="*/ 698 h 728"/>
                <a:gd name="T54" fmla="*/ 61 w 61"/>
                <a:gd name="T55" fmla="*/ 705 h 728"/>
                <a:gd name="T56" fmla="*/ 59 w 61"/>
                <a:gd name="T57" fmla="*/ 711 h 728"/>
                <a:gd name="T58" fmla="*/ 57 w 61"/>
                <a:gd name="T59" fmla="*/ 715 h 728"/>
                <a:gd name="T60" fmla="*/ 52 w 61"/>
                <a:gd name="T61" fmla="*/ 719 h 728"/>
                <a:gd name="T62" fmla="*/ 48 w 61"/>
                <a:gd name="T63" fmla="*/ 724 h 728"/>
                <a:gd name="T64" fmla="*/ 44 w 61"/>
                <a:gd name="T65" fmla="*/ 726 h 728"/>
                <a:gd name="T66" fmla="*/ 38 w 61"/>
                <a:gd name="T67" fmla="*/ 728 h 728"/>
                <a:gd name="T68" fmla="*/ 31 w 61"/>
                <a:gd name="T6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728">
                  <a:moveTo>
                    <a:pt x="31" y="728"/>
                  </a:moveTo>
                  <a:lnTo>
                    <a:pt x="25" y="728"/>
                  </a:lnTo>
                  <a:lnTo>
                    <a:pt x="19" y="726"/>
                  </a:lnTo>
                  <a:lnTo>
                    <a:pt x="15" y="724"/>
                  </a:lnTo>
                  <a:lnTo>
                    <a:pt x="9" y="719"/>
                  </a:lnTo>
                  <a:lnTo>
                    <a:pt x="6" y="715"/>
                  </a:lnTo>
                  <a:lnTo>
                    <a:pt x="3" y="711"/>
                  </a:lnTo>
                  <a:lnTo>
                    <a:pt x="2" y="705"/>
                  </a:lnTo>
                  <a:lnTo>
                    <a:pt x="0" y="698"/>
                  </a:lnTo>
                  <a:lnTo>
                    <a:pt x="0" y="30"/>
                  </a:lnTo>
                  <a:lnTo>
                    <a:pt x="2" y="24"/>
                  </a:lnTo>
                  <a:lnTo>
                    <a:pt x="3" y="18"/>
                  </a:lnTo>
                  <a:lnTo>
                    <a:pt x="6" y="12"/>
                  </a:lnTo>
                  <a:lnTo>
                    <a:pt x="9" y="8"/>
                  </a:lnTo>
                  <a:lnTo>
                    <a:pt x="15" y="4"/>
                  </a:lnTo>
                  <a:lnTo>
                    <a:pt x="19" y="1"/>
                  </a:lnTo>
                  <a:lnTo>
                    <a:pt x="25" y="0"/>
                  </a:lnTo>
                  <a:lnTo>
                    <a:pt x="31" y="0"/>
                  </a:lnTo>
                  <a:lnTo>
                    <a:pt x="38" y="0"/>
                  </a:lnTo>
                  <a:lnTo>
                    <a:pt x="44" y="1"/>
                  </a:lnTo>
                  <a:lnTo>
                    <a:pt x="48" y="4"/>
                  </a:lnTo>
                  <a:lnTo>
                    <a:pt x="52" y="8"/>
                  </a:lnTo>
                  <a:lnTo>
                    <a:pt x="57" y="12"/>
                  </a:lnTo>
                  <a:lnTo>
                    <a:pt x="59" y="18"/>
                  </a:lnTo>
                  <a:lnTo>
                    <a:pt x="61" y="24"/>
                  </a:lnTo>
                  <a:lnTo>
                    <a:pt x="61" y="30"/>
                  </a:lnTo>
                  <a:lnTo>
                    <a:pt x="61" y="698"/>
                  </a:lnTo>
                  <a:lnTo>
                    <a:pt x="61" y="705"/>
                  </a:lnTo>
                  <a:lnTo>
                    <a:pt x="59" y="711"/>
                  </a:lnTo>
                  <a:lnTo>
                    <a:pt x="57" y="715"/>
                  </a:lnTo>
                  <a:lnTo>
                    <a:pt x="52" y="719"/>
                  </a:lnTo>
                  <a:lnTo>
                    <a:pt x="48" y="724"/>
                  </a:lnTo>
                  <a:lnTo>
                    <a:pt x="44" y="726"/>
                  </a:lnTo>
                  <a:lnTo>
                    <a:pt x="38" y="728"/>
                  </a:lnTo>
                  <a:lnTo>
                    <a:pt x="31"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89" name="Group 24">
            <a:extLst>
              <a:ext uri="{FF2B5EF4-FFF2-40B4-BE49-F238E27FC236}">
                <a16:creationId xmlns:a16="http://schemas.microsoft.com/office/drawing/2014/main" id="{1F3FAA08-CCD4-49A8-B75F-A1CD0B5174AA}"/>
              </a:ext>
            </a:extLst>
          </p:cNvPr>
          <p:cNvGrpSpPr>
            <a:grpSpLocks noChangeAspect="1"/>
          </p:cNvGrpSpPr>
          <p:nvPr/>
        </p:nvGrpSpPr>
        <p:grpSpPr>
          <a:xfrm>
            <a:off x="7543430" y="2186361"/>
            <a:ext cx="142555" cy="285619"/>
            <a:chOff x="1323975" y="1652588"/>
            <a:chExt cx="446088" cy="893763"/>
          </a:xfrm>
          <a:solidFill>
            <a:schemeClr val="bg1"/>
          </a:solidFill>
          <a:effectLst/>
        </p:grpSpPr>
        <p:sp>
          <p:nvSpPr>
            <p:cNvPr id="590" name="Freeform 7">
              <a:extLst>
                <a:ext uri="{FF2B5EF4-FFF2-40B4-BE49-F238E27FC236}">
                  <a16:creationId xmlns:a16="http://schemas.microsoft.com/office/drawing/2014/main" id="{7612E7C4-696D-4F3D-BB93-AB81412A2382}"/>
                </a:ext>
              </a:extLst>
            </p:cNvPr>
            <p:cNvSpPr>
              <a:spLocks noEditPoints="1"/>
            </p:cNvSpPr>
            <p:nvPr/>
          </p:nvSpPr>
          <p:spPr bwMode="auto">
            <a:xfrm>
              <a:off x="1400175" y="1652588"/>
              <a:ext cx="293688" cy="296863"/>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10 h 78"/>
                <a:gd name="T12" fmla="*/ 9 w 78"/>
                <a:gd name="T13" fmla="*/ 39 h 78"/>
                <a:gd name="T14" fmla="*/ 39 w 78"/>
                <a:gd name="T15" fmla="*/ 69 h 78"/>
                <a:gd name="T16" fmla="*/ 68 w 78"/>
                <a:gd name="T17" fmla="*/ 39 h 78"/>
                <a:gd name="T18" fmla="*/ 39 w 78"/>
                <a:gd name="T19"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7" y="78"/>
                    <a:pt x="0" y="61"/>
                    <a:pt x="0" y="39"/>
                  </a:cubicBezTo>
                  <a:cubicBezTo>
                    <a:pt x="0" y="18"/>
                    <a:pt x="17" y="0"/>
                    <a:pt x="39" y="0"/>
                  </a:cubicBezTo>
                  <a:cubicBezTo>
                    <a:pt x="60" y="0"/>
                    <a:pt x="78" y="18"/>
                    <a:pt x="78" y="39"/>
                  </a:cubicBezTo>
                  <a:cubicBezTo>
                    <a:pt x="78" y="61"/>
                    <a:pt x="60" y="78"/>
                    <a:pt x="39" y="78"/>
                  </a:cubicBezTo>
                  <a:close/>
                  <a:moveTo>
                    <a:pt x="39" y="10"/>
                  </a:moveTo>
                  <a:cubicBezTo>
                    <a:pt x="23" y="10"/>
                    <a:pt x="9" y="23"/>
                    <a:pt x="9" y="39"/>
                  </a:cubicBezTo>
                  <a:cubicBezTo>
                    <a:pt x="9" y="55"/>
                    <a:pt x="23" y="69"/>
                    <a:pt x="39" y="69"/>
                  </a:cubicBezTo>
                  <a:cubicBezTo>
                    <a:pt x="55" y="69"/>
                    <a:pt x="68" y="55"/>
                    <a:pt x="68" y="39"/>
                  </a:cubicBezTo>
                  <a:cubicBezTo>
                    <a:pt x="68" y="23"/>
                    <a:pt x="55" y="10"/>
                    <a:pt x="3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8">
              <a:extLst>
                <a:ext uri="{FF2B5EF4-FFF2-40B4-BE49-F238E27FC236}">
                  <a16:creationId xmlns:a16="http://schemas.microsoft.com/office/drawing/2014/main" id="{45B93E05-CD7B-401D-BC5E-FFA8781AC30F}"/>
                </a:ext>
              </a:extLst>
            </p:cNvPr>
            <p:cNvSpPr>
              <a:spLocks noEditPoints="1"/>
            </p:cNvSpPr>
            <p:nvPr/>
          </p:nvSpPr>
          <p:spPr bwMode="auto">
            <a:xfrm>
              <a:off x="1323975" y="1968501"/>
              <a:ext cx="446088" cy="577850"/>
            </a:xfrm>
            <a:custGeom>
              <a:avLst/>
              <a:gdLst>
                <a:gd name="T0" fmla="*/ 78 w 118"/>
                <a:gd name="T1" fmla="*/ 152 h 152"/>
                <a:gd name="T2" fmla="*/ 39 w 118"/>
                <a:gd name="T3" fmla="*/ 152 h 152"/>
                <a:gd name="T4" fmla="*/ 34 w 118"/>
                <a:gd name="T5" fmla="*/ 147 h 152"/>
                <a:gd name="T6" fmla="*/ 34 w 118"/>
                <a:gd name="T7" fmla="*/ 103 h 152"/>
                <a:gd name="T8" fmla="*/ 5 w 118"/>
                <a:gd name="T9" fmla="*/ 103 h 152"/>
                <a:gd name="T10" fmla="*/ 0 w 118"/>
                <a:gd name="T11" fmla="*/ 98 h 152"/>
                <a:gd name="T12" fmla="*/ 59 w 118"/>
                <a:gd name="T13" fmla="*/ 0 h 152"/>
                <a:gd name="T14" fmla="*/ 118 w 118"/>
                <a:gd name="T15" fmla="*/ 98 h 152"/>
                <a:gd name="T16" fmla="*/ 113 w 118"/>
                <a:gd name="T17" fmla="*/ 103 h 152"/>
                <a:gd name="T18" fmla="*/ 83 w 118"/>
                <a:gd name="T19" fmla="*/ 103 h 152"/>
                <a:gd name="T20" fmla="*/ 83 w 118"/>
                <a:gd name="T21" fmla="*/ 147 h 152"/>
                <a:gd name="T22" fmla="*/ 78 w 118"/>
                <a:gd name="T23" fmla="*/ 152 h 152"/>
                <a:gd name="T24" fmla="*/ 44 w 118"/>
                <a:gd name="T25" fmla="*/ 142 h 152"/>
                <a:gd name="T26" fmla="*/ 73 w 118"/>
                <a:gd name="T27" fmla="*/ 142 h 152"/>
                <a:gd name="T28" fmla="*/ 73 w 118"/>
                <a:gd name="T29" fmla="*/ 98 h 152"/>
                <a:gd name="T30" fmla="*/ 78 w 118"/>
                <a:gd name="T31" fmla="*/ 93 h 152"/>
                <a:gd name="T32" fmla="*/ 108 w 118"/>
                <a:gd name="T33" fmla="*/ 93 h 152"/>
                <a:gd name="T34" fmla="*/ 59 w 118"/>
                <a:gd name="T35" fmla="*/ 10 h 152"/>
                <a:gd name="T36" fmla="*/ 10 w 118"/>
                <a:gd name="T37" fmla="*/ 93 h 152"/>
                <a:gd name="T38" fmla="*/ 39 w 118"/>
                <a:gd name="T39" fmla="*/ 93 h 152"/>
                <a:gd name="T40" fmla="*/ 44 w 118"/>
                <a:gd name="T41" fmla="*/ 98 h 152"/>
                <a:gd name="T42" fmla="*/ 44 w 118"/>
                <a:gd name="T43"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52">
                  <a:moveTo>
                    <a:pt x="78" y="152"/>
                  </a:moveTo>
                  <a:cubicBezTo>
                    <a:pt x="39" y="152"/>
                    <a:pt x="39" y="152"/>
                    <a:pt x="39" y="152"/>
                  </a:cubicBezTo>
                  <a:cubicBezTo>
                    <a:pt x="36" y="152"/>
                    <a:pt x="34" y="150"/>
                    <a:pt x="34" y="147"/>
                  </a:cubicBezTo>
                  <a:cubicBezTo>
                    <a:pt x="34" y="103"/>
                    <a:pt x="34" y="103"/>
                    <a:pt x="34" y="103"/>
                  </a:cubicBezTo>
                  <a:cubicBezTo>
                    <a:pt x="5" y="103"/>
                    <a:pt x="5" y="103"/>
                    <a:pt x="5" y="103"/>
                  </a:cubicBezTo>
                  <a:cubicBezTo>
                    <a:pt x="2" y="103"/>
                    <a:pt x="0" y="101"/>
                    <a:pt x="0" y="98"/>
                  </a:cubicBezTo>
                  <a:cubicBezTo>
                    <a:pt x="0" y="45"/>
                    <a:pt x="27" y="0"/>
                    <a:pt x="59" y="0"/>
                  </a:cubicBezTo>
                  <a:cubicBezTo>
                    <a:pt x="91" y="0"/>
                    <a:pt x="118" y="45"/>
                    <a:pt x="118" y="98"/>
                  </a:cubicBezTo>
                  <a:cubicBezTo>
                    <a:pt x="118" y="101"/>
                    <a:pt x="115" y="103"/>
                    <a:pt x="113" y="103"/>
                  </a:cubicBezTo>
                  <a:cubicBezTo>
                    <a:pt x="83" y="103"/>
                    <a:pt x="83" y="103"/>
                    <a:pt x="83" y="103"/>
                  </a:cubicBezTo>
                  <a:cubicBezTo>
                    <a:pt x="83" y="147"/>
                    <a:pt x="83" y="147"/>
                    <a:pt x="83" y="147"/>
                  </a:cubicBezTo>
                  <a:cubicBezTo>
                    <a:pt x="83" y="150"/>
                    <a:pt x="81" y="152"/>
                    <a:pt x="78" y="152"/>
                  </a:cubicBezTo>
                  <a:close/>
                  <a:moveTo>
                    <a:pt x="44" y="142"/>
                  </a:moveTo>
                  <a:cubicBezTo>
                    <a:pt x="73" y="142"/>
                    <a:pt x="73" y="142"/>
                    <a:pt x="73" y="142"/>
                  </a:cubicBezTo>
                  <a:cubicBezTo>
                    <a:pt x="73" y="98"/>
                    <a:pt x="73" y="98"/>
                    <a:pt x="73" y="98"/>
                  </a:cubicBezTo>
                  <a:cubicBezTo>
                    <a:pt x="73" y="96"/>
                    <a:pt x="76" y="93"/>
                    <a:pt x="78" y="93"/>
                  </a:cubicBezTo>
                  <a:cubicBezTo>
                    <a:pt x="108" y="93"/>
                    <a:pt x="108" y="93"/>
                    <a:pt x="108" y="93"/>
                  </a:cubicBezTo>
                  <a:cubicBezTo>
                    <a:pt x="106" y="48"/>
                    <a:pt x="84" y="10"/>
                    <a:pt x="59" y="10"/>
                  </a:cubicBezTo>
                  <a:cubicBezTo>
                    <a:pt x="34" y="10"/>
                    <a:pt x="11" y="48"/>
                    <a:pt x="10" y="93"/>
                  </a:cubicBezTo>
                  <a:cubicBezTo>
                    <a:pt x="39" y="93"/>
                    <a:pt x="39" y="93"/>
                    <a:pt x="39" y="93"/>
                  </a:cubicBezTo>
                  <a:cubicBezTo>
                    <a:pt x="42" y="93"/>
                    <a:pt x="44" y="96"/>
                    <a:pt x="44" y="98"/>
                  </a:cubicBezTo>
                  <a:lnTo>
                    <a:pt x="44"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99" name="Group 37">
            <a:extLst>
              <a:ext uri="{FF2B5EF4-FFF2-40B4-BE49-F238E27FC236}">
                <a16:creationId xmlns:a16="http://schemas.microsoft.com/office/drawing/2014/main" id="{57381697-A74D-4F37-A4F4-C7760F5EB137}"/>
              </a:ext>
            </a:extLst>
          </p:cNvPr>
          <p:cNvGrpSpPr>
            <a:grpSpLocks noChangeAspect="1"/>
          </p:cNvGrpSpPr>
          <p:nvPr/>
        </p:nvGrpSpPr>
        <p:grpSpPr>
          <a:xfrm>
            <a:off x="7471899" y="2724897"/>
            <a:ext cx="285619" cy="285619"/>
            <a:chOff x="307975" y="4208463"/>
            <a:chExt cx="285750" cy="285750"/>
          </a:xfrm>
          <a:solidFill>
            <a:schemeClr val="bg1"/>
          </a:solidFill>
          <a:effectLst/>
        </p:grpSpPr>
        <p:sp>
          <p:nvSpPr>
            <p:cNvPr id="800" name="Freeform 156">
              <a:extLst>
                <a:ext uri="{FF2B5EF4-FFF2-40B4-BE49-F238E27FC236}">
                  <a16:creationId xmlns:a16="http://schemas.microsoft.com/office/drawing/2014/main" id="{BC6953C7-3FE2-4D58-892F-2355F9960AEC}"/>
                </a:ext>
              </a:extLst>
            </p:cNvPr>
            <p:cNvSpPr>
              <a:spLocks noEditPoints="1"/>
            </p:cNvSpPr>
            <p:nvPr/>
          </p:nvSpPr>
          <p:spPr bwMode="auto">
            <a:xfrm>
              <a:off x="307975" y="4208463"/>
              <a:ext cx="285750" cy="285750"/>
            </a:xfrm>
            <a:custGeom>
              <a:avLst/>
              <a:gdLst>
                <a:gd name="T0" fmla="*/ 36 w 902"/>
                <a:gd name="T1" fmla="*/ 751 h 903"/>
                <a:gd name="T2" fmla="*/ 74 w 902"/>
                <a:gd name="T3" fmla="*/ 691 h 903"/>
                <a:gd name="T4" fmla="*/ 451 w 902"/>
                <a:gd name="T5" fmla="*/ 833 h 903"/>
                <a:gd name="T6" fmla="*/ 827 w 902"/>
                <a:gd name="T7" fmla="*/ 691 h 903"/>
                <a:gd name="T8" fmla="*/ 866 w 902"/>
                <a:gd name="T9" fmla="*/ 751 h 903"/>
                <a:gd name="T10" fmla="*/ 461 w 902"/>
                <a:gd name="T11" fmla="*/ 637 h 903"/>
                <a:gd name="T12" fmla="*/ 550 w 902"/>
                <a:gd name="T13" fmla="*/ 600 h 903"/>
                <a:gd name="T14" fmla="*/ 392 w 902"/>
                <a:gd name="T15" fmla="*/ 622 h 903"/>
                <a:gd name="T16" fmla="*/ 276 w 902"/>
                <a:gd name="T17" fmla="*/ 429 h 903"/>
                <a:gd name="T18" fmla="*/ 261 w 902"/>
                <a:gd name="T19" fmla="*/ 417 h 903"/>
                <a:gd name="T20" fmla="*/ 234 w 902"/>
                <a:gd name="T21" fmla="*/ 394 h 903"/>
                <a:gd name="T22" fmla="*/ 238 w 902"/>
                <a:gd name="T23" fmla="*/ 341 h 903"/>
                <a:gd name="T24" fmla="*/ 263 w 902"/>
                <a:gd name="T25" fmla="*/ 328 h 903"/>
                <a:gd name="T26" fmla="*/ 283 w 902"/>
                <a:gd name="T27" fmla="*/ 263 h 903"/>
                <a:gd name="T28" fmla="*/ 418 w 902"/>
                <a:gd name="T29" fmla="*/ 300 h 903"/>
                <a:gd name="T30" fmla="*/ 539 w 902"/>
                <a:gd name="T31" fmla="*/ 292 h 903"/>
                <a:gd name="T32" fmla="*/ 631 w 902"/>
                <a:gd name="T33" fmla="*/ 319 h 903"/>
                <a:gd name="T34" fmla="*/ 646 w 902"/>
                <a:gd name="T35" fmla="*/ 331 h 903"/>
                <a:gd name="T36" fmla="*/ 671 w 902"/>
                <a:gd name="T37" fmla="*/ 361 h 903"/>
                <a:gd name="T38" fmla="*/ 654 w 902"/>
                <a:gd name="T39" fmla="*/ 413 h 903"/>
                <a:gd name="T40" fmla="*/ 632 w 902"/>
                <a:gd name="T41" fmla="*/ 420 h 903"/>
                <a:gd name="T42" fmla="*/ 624 w 902"/>
                <a:gd name="T43" fmla="*/ 455 h 903"/>
                <a:gd name="T44" fmla="*/ 594 w 902"/>
                <a:gd name="T45" fmla="*/ 521 h 903"/>
                <a:gd name="T46" fmla="*/ 537 w 902"/>
                <a:gd name="T47" fmla="*/ 574 h 903"/>
                <a:gd name="T48" fmla="*/ 459 w 902"/>
                <a:gd name="T49" fmla="*/ 607 h 903"/>
                <a:gd name="T50" fmla="*/ 387 w 902"/>
                <a:gd name="T51" fmla="*/ 586 h 903"/>
                <a:gd name="T52" fmla="*/ 321 w 902"/>
                <a:gd name="T53" fmla="*/ 537 h 903"/>
                <a:gd name="T54" fmla="*/ 283 w 902"/>
                <a:gd name="T55" fmla="*/ 475 h 903"/>
                <a:gd name="T56" fmla="*/ 451 w 902"/>
                <a:gd name="T57" fmla="*/ 182 h 903"/>
                <a:gd name="T58" fmla="*/ 595 w 902"/>
                <a:gd name="T59" fmla="*/ 241 h 903"/>
                <a:gd name="T60" fmla="*/ 487 w 902"/>
                <a:gd name="T61" fmla="*/ 269 h 903"/>
                <a:gd name="T62" fmla="*/ 365 w 902"/>
                <a:gd name="T63" fmla="*/ 262 h 903"/>
                <a:gd name="T64" fmla="*/ 270 w 902"/>
                <a:gd name="T65" fmla="*/ 219 h 903"/>
                <a:gd name="T66" fmla="*/ 451 w 902"/>
                <a:gd name="T67" fmla="*/ 30 h 903"/>
                <a:gd name="T68" fmla="*/ 656 w 902"/>
                <a:gd name="T69" fmla="*/ 598 h 903"/>
                <a:gd name="T70" fmla="*/ 640 w 902"/>
                <a:gd name="T71" fmla="*/ 503 h 903"/>
                <a:gd name="T72" fmla="*/ 665 w 902"/>
                <a:gd name="T73" fmla="*/ 441 h 903"/>
                <a:gd name="T74" fmla="*/ 701 w 902"/>
                <a:gd name="T75" fmla="*/ 382 h 903"/>
                <a:gd name="T76" fmla="*/ 676 w 902"/>
                <a:gd name="T77" fmla="*/ 311 h 903"/>
                <a:gd name="T78" fmla="*/ 898 w 902"/>
                <a:gd name="T79" fmla="*/ 101 h 903"/>
                <a:gd name="T80" fmla="*/ 453 w 902"/>
                <a:gd name="T81" fmla="*/ 0 h 903"/>
                <a:gd name="T82" fmla="*/ 0 w 902"/>
                <a:gd name="T83" fmla="*/ 91 h 903"/>
                <a:gd name="T84" fmla="*/ 45 w 902"/>
                <a:gd name="T85" fmla="*/ 494 h 903"/>
                <a:gd name="T86" fmla="*/ 56 w 902"/>
                <a:gd name="T87" fmla="*/ 511 h 903"/>
                <a:gd name="T88" fmla="*/ 179 w 902"/>
                <a:gd name="T89" fmla="*/ 503 h 903"/>
                <a:gd name="T90" fmla="*/ 240 w 902"/>
                <a:gd name="T91" fmla="*/ 226 h 903"/>
                <a:gd name="T92" fmla="*/ 203 w 902"/>
                <a:gd name="T93" fmla="*/ 345 h 903"/>
                <a:gd name="T94" fmla="*/ 218 w 902"/>
                <a:gd name="T95" fmla="*/ 427 h 903"/>
                <a:gd name="T96" fmla="*/ 249 w 902"/>
                <a:gd name="T97" fmla="*/ 465 h 903"/>
                <a:gd name="T98" fmla="*/ 307 w 902"/>
                <a:gd name="T99" fmla="*/ 565 h 903"/>
                <a:gd name="T100" fmla="*/ 54 w 902"/>
                <a:gd name="T101" fmla="*/ 670 h 903"/>
                <a:gd name="T102" fmla="*/ 7 w 902"/>
                <a:gd name="T103" fmla="*/ 743 h 903"/>
                <a:gd name="T104" fmla="*/ 902 w 902"/>
                <a:gd name="T105" fmla="*/ 792 h 903"/>
                <a:gd name="T106" fmla="*/ 879 w 902"/>
                <a:gd name="T107" fmla="*/ 709 h 903"/>
                <a:gd name="T108" fmla="*/ 817 w 902"/>
                <a:gd name="T109" fmla="*/ 64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2" h="903">
                  <a:moveTo>
                    <a:pt x="872" y="873"/>
                  </a:moveTo>
                  <a:lnTo>
                    <a:pt x="30" y="873"/>
                  </a:lnTo>
                  <a:lnTo>
                    <a:pt x="30" y="792"/>
                  </a:lnTo>
                  <a:lnTo>
                    <a:pt x="30" y="782"/>
                  </a:lnTo>
                  <a:lnTo>
                    <a:pt x="32" y="772"/>
                  </a:lnTo>
                  <a:lnTo>
                    <a:pt x="33" y="761"/>
                  </a:lnTo>
                  <a:lnTo>
                    <a:pt x="36" y="751"/>
                  </a:lnTo>
                  <a:lnTo>
                    <a:pt x="39" y="742"/>
                  </a:lnTo>
                  <a:lnTo>
                    <a:pt x="44" y="732"/>
                  </a:lnTo>
                  <a:lnTo>
                    <a:pt x="49" y="724"/>
                  </a:lnTo>
                  <a:lnTo>
                    <a:pt x="54" y="715"/>
                  </a:lnTo>
                  <a:lnTo>
                    <a:pt x="60" y="706"/>
                  </a:lnTo>
                  <a:lnTo>
                    <a:pt x="66" y="699"/>
                  </a:lnTo>
                  <a:lnTo>
                    <a:pt x="74" y="691"/>
                  </a:lnTo>
                  <a:lnTo>
                    <a:pt x="81" y="685"/>
                  </a:lnTo>
                  <a:lnTo>
                    <a:pt x="90" y="680"/>
                  </a:lnTo>
                  <a:lnTo>
                    <a:pt x="98" y="673"/>
                  </a:lnTo>
                  <a:lnTo>
                    <a:pt x="108" y="669"/>
                  </a:lnTo>
                  <a:lnTo>
                    <a:pt x="118" y="665"/>
                  </a:lnTo>
                  <a:lnTo>
                    <a:pt x="246" y="629"/>
                  </a:lnTo>
                  <a:lnTo>
                    <a:pt x="451" y="833"/>
                  </a:lnTo>
                  <a:lnTo>
                    <a:pt x="656" y="629"/>
                  </a:lnTo>
                  <a:lnTo>
                    <a:pt x="783" y="665"/>
                  </a:lnTo>
                  <a:lnTo>
                    <a:pt x="793" y="669"/>
                  </a:lnTo>
                  <a:lnTo>
                    <a:pt x="803" y="673"/>
                  </a:lnTo>
                  <a:lnTo>
                    <a:pt x="811" y="679"/>
                  </a:lnTo>
                  <a:lnTo>
                    <a:pt x="820" y="685"/>
                  </a:lnTo>
                  <a:lnTo>
                    <a:pt x="827" y="691"/>
                  </a:lnTo>
                  <a:lnTo>
                    <a:pt x="835" y="699"/>
                  </a:lnTo>
                  <a:lnTo>
                    <a:pt x="841" y="706"/>
                  </a:lnTo>
                  <a:lnTo>
                    <a:pt x="848" y="715"/>
                  </a:lnTo>
                  <a:lnTo>
                    <a:pt x="853" y="724"/>
                  </a:lnTo>
                  <a:lnTo>
                    <a:pt x="857" y="732"/>
                  </a:lnTo>
                  <a:lnTo>
                    <a:pt x="862" y="742"/>
                  </a:lnTo>
                  <a:lnTo>
                    <a:pt x="866" y="751"/>
                  </a:lnTo>
                  <a:lnTo>
                    <a:pt x="868" y="761"/>
                  </a:lnTo>
                  <a:lnTo>
                    <a:pt x="870" y="772"/>
                  </a:lnTo>
                  <a:lnTo>
                    <a:pt x="871" y="782"/>
                  </a:lnTo>
                  <a:lnTo>
                    <a:pt x="872" y="792"/>
                  </a:lnTo>
                  <a:lnTo>
                    <a:pt x="872" y="873"/>
                  </a:lnTo>
                  <a:close/>
                  <a:moveTo>
                    <a:pt x="451" y="637"/>
                  </a:moveTo>
                  <a:lnTo>
                    <a:pt x="461" y="637"/>
                  </a:lnTo>
                  <a:lnTo>
                    <a:pt x="471" y="635"/>
                  </a:lnTo>
                  <a:lnTo>
                    <a:pt x="483" y="631"/>
                  </a:lnTo>
                  <a:lnTo>
                    <a:pt x="496" y="627"/>
                  </a:lnTo>
                  <a:lnTo>
                    <a:pt x="509" y="622"/>
                  </a:lnTo>
                  <a:lnTo>
                    <a:pt x="523" y="616"/>
                  </a:lnTo>
                  <a:lnTo>
                    <a:pt x="536" y="609"/>
                  </a:lnTo>
                  <a:lnTo>
                    <a:pt x="550" y="600"/>
                  </a:lnTo>
                  <a:lnTo>
                    <a:pt x="622" y="620"/>
                  </a:lnTo>
                  <a:lnTo>
                    <a:pt x="451" y="790"/>
                  </a:lnTo>
                  <a:lnTo>
                    <a:pt x="279" y="620"/>
                  </a:lnTo>
                  <a:lnTo>
                    <a:pt x="351" y="600"/>
                  </a:lnTo>
                  <a:lnTo>
                    <a:pt x="365" y="609"/>
                  </a:lnTo>
                  <a:lnTo>
                    <a:pt x="379" y="615"/>
                  </a:lnTo>
                  <a:lnTo>
                    <a:pt x="392" y="622"/>
                  </a:lnTo>
                  <a:lnTo>
                    <a:pt x="406" y="627"/>
                  </a:lnTo>
                  <a:lnTo>
                    <a:pt x="418" y="631"/>
                  </a:lnTo>
                  <a:lnTo>
                    <a:pt x="430" y="635"/>
                  </a:lnTo>
                  <a:lnTo>
                    <a:pt x="441" y="637"/>
                  </a:lnTo>
                  <a:lnTo>
                    <a:pt x="451" y="637"/>
                  </a:lnTo>
                  <a:close/>
                  <a:moveTo>
                    <a:pt x="276" y="432"/>
                  </a:moveTo>
                  <a:lnTo>
                    <a:pt x="276" y="429"/>
                  </a:lnTo>
                  <a:lnTo>
                    <a:pt x="275" y="427"/>
                  </a:lnTo>
                  <a:lnTo>
                    <a:pt x="274" y="423"/>
                  </a:lnTo>
                  <a:lnTo>
                    <a:pt x="272" y="421"/>
                  </a:lnTo>
                  <a:lnTo>
                    <a:pt x="270" y="420"/>
                  </a:lnTo>
                  <a:lnTo>
                    <a:pt x="267" y="418"/>
                  </a:lnTo>
                  <a:lnTo>
                    <a:pt x="264" y="418"/>
                  </a:lnTo>
                  <a:lnTo>
                    <a:pt x="261" y="417"/>
                  </a:lnTo>
                  <a:lnTo>
                    <a:pt x="257" y="417"/>
                  </a:lnTo>
                  <a:lnTo>
                    <a:pt x="254" y="416"/>
                  </a:lnTo>
                  <a:lnTo>
                    <a:pt x="251" y="415"/>
                  </a:lnTo>
                  <a:lnTo>
                    <a:pt x="248" y="413"/>
                  </a:lnTo>
                  <a:lnTo>
                    <a:pt x="243" y="408"/>
                  </a:lnTo>
                  <a:lnTo>
                    <a:pt x="239" y="402"/>
                  </a:lnTo>
                  <a:lnTo>
                    <a:pt x="234" y="394"/>
                  </a:lnTo>
                  <a:lnTo>
                    <a:pt x="232" y="387"/>
                  </a:lnTo>
                  <a:lnTo>
                    <a:pt x="231" y="378"/>
                  </a:lnTo>
                  <a:lnTo>
                    <a:pt x="230" y="370"/>
                  </a:lnTo>
                  <a:lnTo>
                    <a:pt x="231" y="361"/>
                  </a:lnTo>
                  <a:lnTo>
                    <a:pt x="232" y="354"/>
                  </a:lnTo>
                  <a:lnTo>
                    <a:pt x="234" y="346"/>
                  </a:lnTo>
                  <a:lnTo>
                    <a:pt x="238" y="341"/>
                  </a:lnTo>
                  <a:lnTo>
                    <a:pt x="241" y="337"/>
                  </a:lnTo>
                  <a:lnTo>
                    <a:pt x="245" y="333"/>
                  </a:lnTo>
                  <a:lnTo>
                    <a:pt x="249" y="331"/>
                  </a:lnTo>
                  <a:lnTo>
                    <a:pt x="255" y="331"/>
                  </a:lnTo>
                  <a:lnTo>
                    <a:pt x="258" y="330"/>
                  </a:lnTo>
                  <a:lnTo>
                    <a:pt x="261" y="330"/>
                  </a:lnTo>
                  <a:lnTo>
                    <a:pt x="263" y="328"/>
                  </a:lnTo>
                  <a:lnTo>
                    <a:pt x="266" y="327"/>
                  </a:lnTo>
                  <a:lnTo>
                    <a:pt x="268" y="325"/>
                  </a:lnTo>
                  <a:lnTo>
                    <a:pt x="269" y="322"/>
                  </a:lnTo>
                  <a:lnTo>
                    <a:pt x="270" y="319"/>
                  </a:lnTo>
                  <a:lnTo>
                    <a:pt x="270" y="316"/>
                  </a:lnTo>
                  <a:lnTo>
                    <a:pt x="270" y="255"/>
                  </a:lnTo>
                  <a:lnTo>
                    <a:pt x="283" y="263"/>
                  </a:lnTo>
                  <a:lnTo>
                    <a:pt x="299" y="270"/>
                  </a:lnTo>
                  <a:lnTo>
                    <a:pt x="317" y="278"/>
                  </a:lnTo>
                  <a:lnTo>
                    <a:pt x="338" y="285"/>
                  </a:lnTo>
                  <a:lnTo>
                    <a:pt x="362" y="292"/>
                  </a:lnTo>
                  <a:lnTo>
                    <a:pt x="389" y="297"/>
                  </a:lnTo>
                  <a:lnTo>
                    <a:pt x="403" y="298"/>
                  </a:lnTo>
                  <a:lnTo>
                    <a:pt x="418" y="300"/>
                  </a:lnTo>
                  <a:lnTo>
                    <a:pt x="434" y="300"/>
                  </a:lnTo>
                  <a:lnTo>
                    <a:pt x="451" y="301"/>
                  </a:lnTo>
                  <a:lnTo>
                    <a:pt x="467" y="300"/>
                  </a:lnTo>
                  <a:lnTo>
                    <a:pt x="483" y="300"/>
                  </a:lnTo>
                  <a:lnTo>
                    <a:pt x="498" y="298"/>
                  </a:lnTo>
                  <a:lnTo>
                    <a:pt x="513" y="297"/>
                  </a:lnTo>
                  <a:lnTo>
                    <a:pt x="539" y="292"/>
                  </a:lnTo>
                  <a:lnTo>
                    <a:pt x="564" y="285"/>
                  </a:lnTo>
                  <a:lnTo>
                    <a:pt x="584" y="278"/>
                  </a:lnTo>
                  <a:lnTo>
                    <a:pt x="602" y="270"/>
                  </a:lnTo>
                  <a:lnTo>
                    <a:pt x="618" y="263"/>
                  </a:lnTo>
                  <a:lnTo>
                    <a:pt x="631" y="255"/>
                  </a:lnTo>
                  <a:lnTo>
                    <a:pt x="631" y="316"/>
                  </a:lnTo>
                  <a:lnTo>
                    <a:pt x="631" y="319"/>
                  </a:lnTo>
                  <a:lnTo>
                    <a:pt x="632" y="322"/>
                  </a:lnTo>
                  <a:lnTo>
                    <a:pt x="633" y="325"/>
                  </a:lnTo>
                  <a:lnTo>
                    <a:pt x="635" y="327"/>
                  </a:lnTo>
                  <a:lnTo>
                    <a:pt x="638" y="328"/>
                  </a:lnTo>
                  <a:lnTo>
                    <a:pt x="641" y="330"/>
                  </a:lnTo>
                  <a:lnTo>
                    <a:pt x="643" y="330"/>
                  </a:lnTo>
                  <a:lnTo>
                    <a:pt x="646" y="331"/>
                  </a:lnTo>
                  <a:lnTo>
                    <a:pt x="652" y="331"/>
                  </a:lnTo>
                  <a:lnTo>
                    <a:pt x="656" y="333"/>
                  </a:lnTo>
                  <a:lnTo>
                    <a:pt x="660" y="337"/>
                  </a:lnTo>
                  <a:lnTo>
                    <a:pt x="663" y="341"/>
                  </a:lnTo>
                  <a:lnTo>
                    <a:pt x="667" y="346"/>
                  </a:lnTo>
                  <a:lnTo>
                    <a:pt x="669" y="354"/>
                  </a:lnTo>
                  <a:lnTo>
                    <a:pt x="671" y="361"/>
                  </a:lnTo>
                  <a:lnTo>
                    <a:pt x="671" y="370"/>
                  </a:lnTo>
                  <a:lnTo>
                    <a:pt x="671" y="378"/>
                  </a:lnTo>
                  <a:lnTo>
                    <a:pt x="669" y="387"/>
                  </a:lnTo>
                  <a:lnTo>
                    <a:pt x="667" y="394"/>
                  </a:lnTo>
                  <a:lnTo>
                    <a:pt x="663" y="402"/>
                  </a:lnTo>
                  <a:lnTo>
                    <a:pt x="659" y="408"/>
                  </a:lnTo>
                  <a:lnTo>
                    <a:pt x="654" y="413"/>
                  </a:lnTo>
                  <a:lnTo>
                    <a:pt x="650" y="415"/>
                  </a:lnTo>
                  <a:lnTo>
                    <a:pt x="647" y="416"/>
                  </a:lnTo>
                  <a:lnTo>
                    <a:pt x="644" y="417"/>
                  </a:lnTo>
                  <a:lnTo>
                    <a:pt x="641" y="417"/>
                  </a:lnTo>
                  <a:lnTo>
                    <a:pt x="638" y="418"/>
                  </a:lnTo>
                  <a:lnTo>
                    <a:pt x="634" y="418"/>
                  </a:lnTo>
                  <a:lnTo>
                    <a:pt x="632" y="420"/>
                  </a:lnTo>
                  <a:lnTo>
                    <a:pt x="630" y="421"/>
                  </a:lnTo>
                  <a:lnTo>
                    <a:pt x="628" y="423"/>
                  </a:lnTo>
                  <a:lnTo>
                    <a:pt x="627" y="427"/>
                  </a:lnTo>
                  <a:lnTo>
                    <a:pt x="626" y="429"/>
                  </a:lnTo>
                  <a:lnTo>
                    <a:pt x="626" y="432"/>
                  </a:lnTo>
                  <a:lnTo>
                    <a:pt x="625" y="444"/>
                  </a:lnTo>
                  <a:lnTo>
                    <a:pt x="624" y="455"/>
                  </a:lnTo>
                  <a:lnTo>
                    <a:pt x="622" y="464"/>
                  </a:lnTo>
                  <a:lnTo>
                    <a:pt x="618" y="475"/>
                  </a:lnTo>
                  <a:lnTo>
                    <a:pt x="615" y="485"/>
                  </a:lnTo>
                  <a:lnTo>
                    <a:pt x="611" y="494"/>
                  </a:lnTo>
                  <a:lnTo>
                    <a:pt x="605" y="503"/>
                  </a:lnTo>
                  <a:lnTo>
                    <a:pt x="600" y="512"/>
                  </a:lnTo>
                  <a:lnTo>
                    <a:pt x="594" y="521"/>
                  </a:lnTo>
                  <a:lnTo>
                    <a:pt x="587" y="528"/>
                  </a:lnTo>
                  <a:lnTo>
                    <a:pt x="581" y="536"/>
                  </a:lnTo>
                  <a:lnTo>
                    <a:pt x="573" y="544"/>
                  </a:lnTo>
                  <a:lnTo>
                    <a:pt x="558" y="557"/>
                  </a:lnTo>
                  <a:lnTo>
                    <a:pt x="542" y="570"/>
                  </a:lnTo>
                  <a:lnTo>
                    <a:pt x="539" y="571"/>
                  </a:lnTo>
                  <a:lnTo>
                    <a:pt x="537" y="574"/>
                  </a:lnTo>
                  <a:lnTo>
                    <a:pt x="524" y="581"/>
                  </a:lnTo>
                  <a:lnTo>
                    <a:pt x="512" y="587"/>
                  </a:lnTo>
                  <a:lnTo>
                    <a:pt x="500" y="594"/>
                  </a:lnTo>
                  <a:lnTo>
                    <a:pt x="490" y="598"/>
                  </a:lnTo>
                  <a:lnTo>
                    <a:pt x="479" y="602"/>
                  </a:lnTo>
                  <a:lnTo>
                    <a:pt x="468" y="605"/>
                  </a:lnTo>
                  <a:lnTo>
                    <a:pt x="459" y="607"/>
                  </a:lnTo>
                  <a:lnTo>
                    <a:pt x="451" y="607"/>
                  </a:lnTo>
                  <a:lnTo>
                    <a:pt x="442" y="607"/>
                  </a:lnTo>
                  <a:lnTo>
                    <a:pt x="433" y="605"/>
                  </a:lnTo>
                  <a:lnTo>
                    <a:pt x="422" y="601"/>
                  </a:lnTo>
                  <a:lnTo>
                    <a:pt x="410" y="598"/>
                  </a:lnTo>
                  <a:lnTo>
                    <a:pt x="399" y="593"/>
                  </a:lnTo>
                  <a:lnTo>
                    <a:pt x="387" y="586"/>
                  </a:lnTo>
                  <a:lnTo>
                    <a:pt x="375" y="580"/>
                  </a:lnTo>
                  <a:lnTo>
                    <a:pt x="362" y="571"/>
                  </a:lnTo>
                  <a:lnTo>
                    <a:pt x="361" y="571"/>
                  </a:lnTo>
                  <a:lnTo>
                    <a:pt x="360" y="570"/>
                  </a:lnTo>
                  <a:lnTo>
                    <a:pt x="344" y="559"/>
                  </a:lnTo>
                  <a:lnTo>
                    <a:pt x="329" y="545"/>
                  </a:lnTo>
                  <a:lnTo>
                    <a:pt x="321" y="537"/>
                  </a:lnTo>
                  <a:lnTo>
                    <a:pt x="314" y="530"/>
                  </a:lnTo>
                  <a:lnTo>
                    <a:pt x="307" y="521"/>
                  </a:lnTo>
                  <a:lnTo>
                    <a:pt x="302" y="512"/>
                  </a:lnTo>
                  <a:lnTo>
                    <a:pt x="297" y="504"/>
                  </a:lnTo>
                  <a:lnTo>
                    <a:pt x="291" y="494"/>
                  </a:lnTo>
                  <a:lnTo>
                    <a:pt x="287" y="485"/>
                  </a:lnTo>
                  <a:lnTo>
                    <a:pt x="283" y="475"/>
                  </a:lnTo>
                  <a:lnTo>
                    <a:pt x="281" y="464"/>
                  </a:lnTo>
                  <a:lnTo>
                    <a:pt x="278" y="455"/>
                  </a:lnTo>
                  <a:lnTo>
                    <a:pt x="276" y="444"/>
                  </a:lnTo>
                  <a:lnTo>
                    <a:pt x="276" y="432"/>
                  </a:lnTo>
                  <a:close/>
                  <a:moveTo>
                    <a:pt x="448" y="181"/>
                  </a:moveTo>
                  <a:lnTo>
                    <a:pt x="450" y="182"/>
                  </a:lnTo>
                  <a:lnTo>
                    <a:pt x="451" y="182"/>
                  </a:lnTo>
                  <a:lnTo>
                    <a:pt x="452" y="182"/>
                  </a:lnTo>
                  <a:lnTo>
                    <a:pt x="453" y="181"/>
                  </a:lnTo>
                  <a:lnTo>
                    <a:pt x="631" y="151"/>
                  </a:lnTo>
                  <a:lnTo>
                    <a:pt x="631" y="219"/>
                  </a:lnTo>
                  <a:lnTo>
                    <a:pt x="623" y="224"/>
                  </a:lnTo>
                  <a:lnTo>
                    <a:pt x="611" y="233"/>
                  </a:lnTo>
                  <a:lnTo>
                    <a:pt x="595" y="241"/>
                  </a:lnTo>
                  <a:lnTo>
                    <a:pt x="574" y="250"/>
                  </a:lnTo>
                  <a:lnTo>
                    <a:pt x="563" y="254"/>
                  </a:lnTo>
                  <a:lnTo>
                    <a:pt x="550" y="257"/>
                  </a:lnTo>
                  <a:lnTo>
                    <a:pt x="536" y="262"/>
                  </a:lnTo>
                  <a:lnTo>
                    <a:pt x="521" y="265"/>
                  </a:lnTo>
                  <a:lnTo>
                    <a:pt x="505" y="267"/>
                  </a:lnTo>
                  <a:lnTo>
                    <a:pt x="487" y="269"/>
                  </a:lnTo>
                  <a:lnTo>
                    <a:pt x="470" y="270"/>
                  </a:lnTo>
                  <a:lnTo>
                    <a:pt x="451" y="271"/>
                  </a:lnTo>
                  <a:lnTo>
                    <a:pt x="432" y="270"/>
                  </a:lnTo>
                  <a:lnTo>
                    <a:pt x="414" y="269"/>
                  </a:lnTo>
                  <a:lnTo>
                    <a:pt x="396" y="267"/>
                  </a:lnTo>
                  <a:lnTo>
                    <a:pt x="380" y="265"/>
                  </a:lnTo>
                  <a:lnTo>
                    <a:pt x="365" y="262"/>
                  </a:lnTo>
                  <a:lnTo>
                    <a:pt x="351" y="257"/>
                  </a:lnTo>
                  <a:lnTo>
                    <a:pt x="340" y="254"/>
                  </a:lnTo>
                  <a:lnTo>
                    <a:pt x="328" y="250"/>
                  </a:lnTo>
                  <a:lnTo>
                    <a:pt x="307" y="241"/>
                  </a:lnTo>
                  <a:lnTo>
                    <a:pt x="290" y="233"/>
                  </a:lnTo>
                  <a:lnTo>
                    <a:pt x="278" y="224"/>
                  </a:lnTo>
                  <a:lnTo>
                    <a:pt x="270" y="219"/>
                  </a:lnTo>
                  <a:lnTo>
                    <a:pt x="270" y="151"/>
                  </a:lnTo>
                  <a:lnTo>
                    <a:pt x="448" y="181"/>
                  </a:lnTo>
                  <a:close/>
                  <a:moveTo>
                    <a:pt x="451" y="30"/>
                  </a:moveTo>
                  <a:lnTo>
                    <a:pt x="800" y="91"/>
                  </a:lnTo>
                  <a:lnTo>
                    <a:pt x="451" y="151"/>
                  </a:lnTo>
                  <a:lnTo>
                    <a:pt x="103" y="91"/>
                  </a:lnTo>
                  <a:lnTo>
                    <a:pt x="451" y="30"/>
                  </a:lnTo>
                  <a:close/>
                  <a:moveTo>
                    <a:pt x="78" y="481"/>
                  </a:moveTo>
                  <a:lnTo>
                    <a:pt x="107" y="315"/>
                  </a:lnTo>
                  <a:lnTo>
                    <a:pt x="147" y="481"/>
                  </a:lnTo>
                  <a:lnTo>
                    <a:pt x="78" y="481"/>
                  </a:lnTo>
                  <a:close/>
                  <a:moveTo>
                    <a:pt x="792" y="636"/>
                  </a:moveTo>
                  <a:lnTo>
                    <a:pt x="657" y="599"/>
                  </a:lnTo>
                  <a:lnTo>
                    <a:pt x="656" y="598"/>
                  </a:lnTo>
                  <a:lnTo>
                    <a:pt x="655" y="598"/>
                  </a:lnTo>
                  <a:lnTo>
                    <a:pt x="581" y="578"/>
                  </a:lnTo>
                  <a:lnTo>
                    <a:pt x="595" y="565"/>
                  </a:lnTo>
                  <a:lnTo>
                    <a:pt x="608" y="551"/>
                  </a:lnTo>
                  <a:lnTo>
                    <a:pt x="619" y="536"/>
                  </a:lnTo>
                  <a:lnTo>
                    <a:pt x="630" y="520"/>
                  </a:lnTo>
                  <a:lnTo>
                    <a:pt x="640" y="503"/>
                  </a:lnTo>
                  <a:lnTo>
                    <a:pt x="647" y="485"/>
                  </a:lnTo>
                  <a:lnTo>
                    <a:pt x="649" y="475"/>
                  </a:lnTo>
                  <a:lnTo>
                    <a:pt x="652" y="465"/>
                  </a:lnTo>
                  <a:lnTo>
                    <a:pt x="654" y="456"/>
                  </a:lnTo>
                  <a:lnTo>
                    <a:pt x="655" y="445"/>
                  </a:lnTo>
                  <a:lnTo>
                    <a:pt x="660" y="444"/>
                  </a:lnTo>
                  <a:lnTo>
                    <a:pt x="665" y="441"/>
                  </a:lnTo>
                  <a:lnTo>
                    <a:pt x="671" y="438"/>
                  </a:lnTo>
                  <a:lnTo>
                    <a:pt x="675" y="434"/>
                  </a:lnTo>
                  <a:lnTo>
                    <a:pt x="683" y="427"/>
                  </a:lnTo>
                  <a:lnTo>
                    <a:pt x="689" y="417"/>
                  </a:lnTo>
                  <a:lnTo>
                    <a:pt x="694" y="405"/>
                  </a:lnTo>
                  <a:lnTo>
                    <a:pt x="698" y="394"/>
                  </a:lnTo>
                  <a:lnTo>
                    <a:pt x="701" y="382"/>
                  </a:lnTo>
                  <a:lnTo>
                    <a:pt x="701" y="370"/>
                  </a:lnTo>
                  <a:lnTo>
                    <a:pt x="701" y="357"/>
                  </a:lnTo>
                  <a:lnTo>
                    <a:pt x="698" y="345"/>
                  </a:lnTo>
                  <a:lnTo>
                    <a:pt x="694" y="333"/>
                  </a:lnTo>
                  <a:lnTo>
                    <a:pt x="689" y="324"/>
                  </a:lnTo>
                  <a:lnTo>
                    <a:pt x="684" y="317"/>
                  </a:lnTo>
                  <a:lnTo>
                    <a:pt x="676" y="311"/>
                  </a:lnTo>
                  <a:lnTo>
                    <a:pt x="670" y="307"/>
                  </a:lnTo>
                  <a:lnTo>
                    <a:pt x="661" y="303"/>
                  </a:lnTo>
                  <a:lnTo>
                    <a:pt x="661" y="226"/>
                  </a:lnTo>
                  <a:lnTo>
                    <a:pt x="661" y="146"/>
                  </a:lnTo>
                  <a:lnTo>
                    <a:pt x="890" y="106"/>
                  </a:lnTo>
                  <a:lnTo>
                    <a:pt x="895" y="104"/>
                  </a:lnTo>
                  <a:lnTo>
                    <a:pt x="898" y="101"/>
                  </a:lnTo>
                  <a:lnTo>
                    <a:pt x="901" y="96"/>
                  </a:lnTo>
                  <a:lnTo>
                    <a:pt x="902" y="91"/>
                  </a:lnTo>
                  <a:lnTo>
                    <a:pt x="901" y="86"/>
                  </a:lnTo>
                  <a:lnTo>
                    <a:pt x="898" y="81"/>
                  </a:lnTo>
                  <a:lnTo>
                    <a:pt x="895" y="78"/>
                  </a:lnTo>
                  <a:lnTo>
                    <a:pt x="890" y="76"/>
                  </a:lnTo>
                  <a:lnTo>
                    <a:pt x="453" y="0"/>
                  </a:lnTo>
                  <a:lnTo>
                    <a:pt x="451" y="0"/>
                  </a:lnTo>
                  <a:lnTo>
                    <a:pt x="448" y="0"/>
                  </a:lnTo>
                  <a:lnTo>
                    <a:pt x="13" y="76"/>
                  </a:lnTo>
                  <a:lnTo>
                    <a:pt x="7" y="78"/>
                  </a:lnTo>
                  <a:lnTo>
                    <a:pt x="3" y="81"/>
                  </a:lnTo>
                  <a:lnTo>
                    <a:pt x="1" y="86"/>
                  </a:lnTo>
                  <a:lnTo>
                    <a:pt x="0" y="91"/>
                  </a:lnTo>
                  <a:lnTo>
                    <a:pt x="1" y="96"/>
                  </a:lnTo>
                  <a:lnTo>
                    <a:pt x="3" y="101"/>
                  </a:lnTo>
                  <a:lnTo>
                    <a:pt x="7" y="104"/>
                  </a:lnTo>
                  <a:lnTo>
                    <a:pt x="13" y="106"/>
                  </a:lnTo>
                  <a:lnTo>
                    <a:pt x="90" y="119"/>
                  </a:lnTo>
                  <a:lnTo>
                    <a:pt x="90" y="239"/>
                  </a:lnTo>
                  <a:lnTo>
                    <a:pt x="45" y="494"/>
                  </a:lnTo>
                  <a:lnTo>
                    <a:pt x="45" y="497"/>
                  </a:lnTo>
                  <a:lnTo>
                    <a:pt x="45" y="501"/>
                  </a:lnTo>
                  <a:lnTo>
                    <a:pt x="47" y="503"/>
                  </a:lnTo>
                  <a:lnTo>
                    <a:pt x="48" y="506"/>
                  </a:lnTo>
                  <a:lnTo>
                    <a:pt x="51" y="508"/>
                  </a:lnTo>
                  <a:lnTo>
                    <a:pt x="53" y="510"/>
                  </a:lnTo>
                  <a:lnTo>
                    <a:pt x="56" y="511"/>
                  </a:lnTo>
                  <a:lnTo>
                    <a:pt x="60" y="511"/>
                  </a:lnTo>
                  <a:lnTo>
                    <a:pt x="165" y="511"/>
                  </a:lnTo>
                  <a:lnTo>
                    <a:pt x="168" y="511"/>
                  </a:lnTo>
                  <a:lnTo>
                    <a:pt x="171" y="510"/>
                  </a:lnTo>
                  <a:lnTo>
                    <a:pt x="174" y="508"/>
                  </a:lnTo>
                  <a:lnTo>
                    <a:pt x="177" y="506"/>
                  </a:lnTo>
                  <a:lnTo>
                    <a:pt x="179" y="503"/>
                  </a:lnTo>
                  <a:lnTo>
                    <a:pt x="180" y="500"/>
                  </a:lnTo>
                  <a:lnTo>
                    <a:pt x="180" y="496"/>
                  </a:lnTo>
                  <a:lnTo>
                    <a:pt x="180" y="493"/>
                  </a:lnTo>
                  <a:lnTo>
                    <a:pt x="120" y="239"/>
                  </a:lnTo>
                  <a:lnTo>
                    <a:pt x="120" y="124"/>
                  </a:lnTo>
                  <a:lnTo>
                    <a:pt x="240" y="146"/>
                  </a:lnTo>
                  <a:lnTo>
                    <a:pt x="240" y="226"/>
                  </a:lnTo>
                  <a:lnTo>
                    <a:pt x="240" y="303"/>
                  </a:lnTo>
                  <a:lnTo>
                    <a:pt x="232" y="307"/>
                  </a:lnTo>
                  <a:lnTo>
                    <a:pt x="225" y="311"/>
                  </a:lnTo>
                  <a:lnTo>
                    <a:pt x="218" y="317"/>
                  </a:lnTo>
                  <a:lnTo>
                    <a:pt x="213" y="324"/>
                  </a:lnTo>
                  <a:lnTo>
                    <a:pt x="208" y="333"/>
                  </a:lnTo>
                  <a:lnTo>
                    <a:pt x="203" y="345"/>
                  </a:lnTo>
                  <a:lnTo>
                    <a:pt x="201" y="357"/>
                  </a:lnTo>
                  <a:lnTo>
                    <a:pt x="200" y="370"/>
                  </a:lnTo>
                  <a:lnTo>
                    <a:pt x="201" y="382"/>
                  </a:lnTo>
                  <a:lnTo>
                    <a:pt x="203" y="394"/>
                  </a:lnTo>
                  <a:lnTo>
                    <a:pt x="207" y="405"/>
                  </a:lnTo>
                  <a:lnTo>
                    <a:pt x="212" y="417"/>
                  </a:lnTo>
                  <a:lnTo>
                    <a:pt x="218" y="427"/>
                  </a:lnTo>
                  <a:lnTo>
                    <a:pt x="227" y="434"/>
                  </a:lnTo>
                  <a:lnTo>
                    <a:pt x="231" y="438"/>
                  </a:lnTo>
                  <a:lnTo>
                    <a:pt x="236" y="441"/>
                  </a:lnTo>
                  <a:lnTo>
                    <a:pt x="241" y="444"/>
                  </a:lnTo>
                  <a:lnTo>
                    <a:pt x="246" y="445"/>
                  </a:lnTo>
                  <a:lnTo>
                    <a:pt x="247" y="456"/>
                  </a:lnTo>
                  <a:lnTo>
                    <a:pt x="249" y="465"/>
                  </a:lnTo>
                  <a:lnTo>
                    <a:pt x="252" y="475"/>
                  </a:lnTo>
                  <a:lnTo>
                    <a:pt x="255" y="485"/>
                  </a:lnTo>
                  <a:lnTo>
                    <a:pt x="262" y="503"/>
                  </a:lnTo>
                  <a:lnTo>
                    <a:pt x="271" y="520"/>
                  </a:lnTo>
                  <a:lnTo>
                    <a:pt x="282" y="536"/>
                  </a:lnTo>
                  <a:lnTo>
                    <a:pt x="293" y="551"/>
                  </a:lnTo>
                  <a:lnTo>
                    <a:pt x="307" y="565"/>
                  </a:lnTo>
                  <a:lnTo>
                    <a:pt x="321" y="578"/>
                  </a:lnTo>
                  <a:lnTo>
                    <a:pt x="108" y="637"/>
                  </a:lnTo>
                  <a:lnTo>
                    <a:pt x="96" y="641"/>
                  </a:lnTo>
                  <a:lnTo>
                    <a:pt x="84" y="647"/>
                  </a:lnTo>
                  <a:lnTo>
                    <a:pt x="74" y="654"/>
                  </a:lnTo>
                  <a:lnTo>
                    <a:pt x="64" y="661"/>
                  </a:lnTo>
                  <a:lnTo>
                    <a:pt x="54" y="670"/>
                  </a:lnTo>
                  <a:lnTo>
                    <a:pt x="45" y="679"/>
                  </a:lnTo>
                  <a:lnTo>
                    <a:pt x="37" y="688"/>
                  </a:lnTo>
                  <a:lnTo>
                    <a:pt x="30" y="698"/>
                  </a:lnTo>
                  <a:lnTo>
                    <a:pt x="22" y="709"/>
                  </a:lnTo>
                  <a:lnTo>
                    <a:pt x="17" y="719"/>
                  </a:lnTo>
                  <a:lnTo>
                    <a:pt x="11" y="731"/>
                  </a:lnTo>
                  <a:lnTo>
                    <a:pt x="7" y="743"/>
                  </a:lnTo>
                  <a:lnTo>
                    <a:pt x="4" y="755"/>
                  </a:lnTo>
                  <a:lnTo>
                    <a:pt x="2" y="767"/>
                  </a:lnTo>
                  <a:lnTo>
                    <a:pt x="0" y="779"/>
                  </a:lnTo>
                  <a:lnTo>
                    <a:pt x="0" y="792"/>
                  </a:lnTo>
                  <a:lnTo>
                    <a:pt x="0" y="903"/>
                  </a:lnTo>
                  <a:lnTo>
                    <a:pt x="902" y="903"/>
                  </a:lnTo>
                  <a:lnTo>
                    <a:pt x="902" y="792"/>
                  </a:lnTo>
                  <a:lnTo>
                    <a:pt x="901" y="779"/>
                  </a:lnTo>
                  <a:lnTo>
                    <a:pt x="900" y="767"/>
                  </a:lnTo>
                  <a:lnTo>
                    <a:pt x="897" y="755"/>
                  </a:lnTo>
                  <a:lnTo>
                    <a:pt x="894" y="742"/>
                  </a:lnTo>
                  <a:lnTo>
                    <a:pt x="890" y="730"/>
                  </a:lnTo>
                  <a:lnTo>
                    <a:pt x="884" y="719"/>
                  </a:lnTo>
                  <a:lnTo>
                    <a:pt x="879" y="709"/>
                  </a:lnTo>
                  <a:lnTo>
                    <a:pt x="872" y="698"/>
                  </a:lnTo>
                  <a:lnTo>
                    <a:pt x="865" y="687"/>
                  </a:lnTo>
                  <a:lnTo>
                    <a:pt x="856" y="679"/>
                  </a:lnTo>
                  <a:lnTo>
                    <a:pt x="847" y="669"/>
                  </a:lnTo>
                  <a:lnTo>
                    <a:pt x="837" y="661"/>
                  </a:lnTo>
                  <a:lnTo>
                    <a:pt x="827" y="654"/>
                  </a:lnTo>
                  <a:lnTo>
                    <a:pt x="817" y="647"/>
                  </a:lnTo>
                  <a:lnTo>
                    <a:pt x="805" y="641"/>
                  </a:lnTo>
                  <a:lnTo>
                    <a:pt x="792" y="6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801" name="Freeform 157">
              <a:extLst>
                <a:ext uri="{FF2B5EF4-FFF2-40B4-BE49-F238E27FC236}">
                  <a16:creationId xmlns:a16="http://schemas.microsoft.com/office/drawing/2014/main" id="{8DF22B95-6E2B-4D6D-BB1D-27FE4FEF1E2D}"/>
                </a:ext>
              </a:extLst>
            </p:cNvPr>
            <p:cNvSpPr>
              <a:spLocks/>
            </p:cNvSpPr>
            <p:nvPr/>
          </p:nvSpPr>
          <p:spPr bwMode="auto">
            <a:xfrm>
              <a:off x="409575" y="4310063"/>
              <a:ext cx="33338" cy="15875"/>
            </a:xfrm>
            <a:custGeom>
              <a:avLst/>
              <a:gdLst>
                <a:gd name="T0" fmla="*/ 30 w 105"/>
                <a:gd name="T1" fmla="*/ 32 h 49"/>
                <a:gd name="T2" fmla="*/ 38 w 105"/>
                <a:gd name="T3" fmla="*/ 30 h 49"/>
                <a:gd name="T4" fmla="*/ 53 w 105"/>
                <a:gd name="T5" fmla="*/ 30 h 49"/>
                <a:gd name="T6" fmla="*/ 68 w 105"/>
                <a:gd name="T7" fmla="*/ 30 h 49"/>
                <a:gd name="T8" fmla="*/ 75 w 105"/>
                <a:gd name="T9" fmla="*/ 31 h 49"/>
                <a:gd name="T10" fmla="*/ 77 w 105"/>
                <a:gd name="T11" fmla="*/ 36 h 49"/>
                <a:gd name="T12" fmla="*/ 79 w 105"/>
                <a:gd name="T13" fmla="*/ 41 h 49"/>
                <a:gd name="T14" fmla="*/ 83 w 105"/>
                <a:gd name="T15" fmla="*/ 46 h 49"/>
                <a:gd name="T16" fmla="*/ 88 w 105"/>
                <a:gd name="T17" fmla="*/ 48 h 49"/>
                <a:gd name="T18" fmla="*/ 94 w 105"/>
                <a:gd name="T19" fmla="*/ 48 h 49"/>
                <a:gd name="T20" fmla="*/ 99 w 105"/>
                <a:gd name="T21" fmla="*/ 46 h 49"/>
                <a:gd name="T22" fmla="*/ 103 w 105"/>
                <a:gd name="T23" fmla="*/ 41 h 49"/>
                <a:gd name="T24" fmla="*/ 105 w 105"/>
                <a:gd name="T25" fmla="*/ 36 h 49"/>
                <a:gd name="T26" fmla="*/ 105 w 105"/>
                <a:gd name="T27" fmla="*/ 26 h 49"/>
                <a:gd name="T28" fmla="*/ 101 w 105"/>
                <a:gd name="T29" fmla="*/ 15 h 49"/>
                <a:gd name="T30" fmla="*/ 93 w 105"/>
                <a:gd name="T31" fmla="*/ 6 h 49"/>
                <a:gd name="T32" fmla="*/ 84 w 105"/>
                <a:gd name="T33" fmla="*/ 2 h 49"/>
                <a:gd name="T34" fmla="*/ 69 w 105"/>
                <a:gd name="T35" fmla="*/ 0 h 49"/>
                <a:gd name="T36" fmla="*/ 53 w 105"/>
                <a:gd name="T37" fmla="*/ 0 h 49"/>
                <a:gd name="T38" fmla="*/ 37 w 105"/>
                <a:gd name="T39" fmla="*/ 0 h 49"/>
                <a:gd name="T40" fmla="*/ 22 w 105"/>
                <a:gd name="T41" fmla="*/ 2 h 49"/>
                <a:gd name="T42" fmla="*/ 13 w 105"/>
                <a:gd name="T43" fmla="*/ 6 h 49"/>
                <a:gd name="T44" fmla="*/ 5 w 105"/>
                <a:gd name="T45" fmla="*/ 14 h 49"/>
                <a:gd name="T46" fmla="*/ 0 w 105"/>
                <a:gd name="T47" fmla="*/ 26 h 49"/>
                <a:gd name="T48" fmla="*/ 0 w 105"/>
                <a:gd name="T49" fmla="*/ 36 h 49"/>
                <a:gd name="T50" fmla="*/ 3 w 105"/>
                <a:gd name="T51" fmla="*/ 41 h 49"/>
                <a:gd name="T52" fmla="*/ 7 w 105"/>
                <a:gd name="T53" fmla="*/ 46 h 49"/>
                <a:gd name="T54" fmla="*/ 12 w 105"/>
                <a:gd name="T55" fmla="*/ 48 h 49"/>
                <a:gd name="T56" fmla="*/ 18 w 105"/>
                <a:gd name="T57" fmla="*/ 48 h 49"/>
                <a:gd name="T58" fmla="*/ 23 w 105"/>
                <a:gd name="T59" fmla="*/ 46 h 49"/>
                <a:gd name="T60" fmla="*/ 27 w 105"/>
                <a:gd name="T61" fmla="*/ 41 h 49"/>
                <a:gd name="T62" fmla="*/ 29 w 105"/>
                <a:gd name="T63"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 h="49">
                  <a:moveTo>
                    <a:pt x="30" y="34"/>
                  </a:moveTo>
                  <a:lnTo>
                    <a:pt x="30" y="32"/>
                  </a:lnTo>
                  <a:lnTo>
                    <a:pt x="30" y="31"/>
                  </a:lnTo>
                  <a:lnTo>
                    <a:pt x="38" y="30"/>
                  </a:lnTo>
                  <a:lnTo>
                    <a:pt x="48" y="30"/>
                  </a:lnTo>
                  <a:lnTo>
                    <a:pt x="53" y="30"/>
                  </a:lnTo>
                  <a:lnTo>
                    <a:pt x="58" y="30"/>
                  </a:lnTo>
                  <a:lnTo>
                    <a:pt x="68" y="30"/>
                  </a:lnTo>
                  <a:lnTo>
                    <a:pt x="75" y="30"/>
                  </a:lnTo>
                  <a:lnTo>
                    <a:pt x="75" y="31"/>
                  </a:lnTo>
                  <a:lnTo>
                    <a:pt x="75" y="34"/>
                  </a:lnTo>
                  <a:lnTo>
                    <a:pt x="77" y="36"/>
                  </a:lnTo>
                  <a:lnTo>
                    <a:pt x="77" y="39"/>
                  </a:lnTo>
                  <a:lnTo>
                    <a:pt x="79" y="41"/>
                  </a:lnTo>
                  <a:lnTo>
                    <a:pt x="80" y="44"/>
                  </a:lnTo>
                  <a:lnTo>
                    <a:pt x="83" y="46"/>
                  </a:lnTo>
                  <a:lnTo>
                    <a:pt x="85" y="48"/>
                  </a:lnTo>
                  <a:lnTo>
                    <a:pt x="88" y="48"/>
                  </a:lnTo>
                  <a:lnTo>
                    <a:pt x="90" y="49"/>
                  </a:lnTo>
                  <a:lnTo>
                    <a:pt x="94" y="48"/>
                  </a:lnTo>
                  <a:lnTo>
                    <a:pt x="97" y="47"/>
                  </a:lnTo>
                  <a:lnTo>
                    <a:pt x="99" y="46"/>
                  </a:lnTo>
                  <a:lnTo>
                    <a:pt x="101" y="44"/>
                  </a:lnTo>
                  <a:lnTo>
                    <a:pt x="103" y="41"/>
                  </a:lnTo>
                  <a:lnTo>
                    <a:pt x="104" y="39"/>
                  </a:lnTo>
                  <a:lnTo>
                    <a:pt x="105" y="36"/>
                  </a:lnTo>
                  <a:lnTo>
                    <a:pt x="105" y="34"/>
                  </a:lnTo>
                  <a:lnTo>
                    <a:pt x="105" y="26"/>
                  </a:lnTo>
                  <a:lnTo>
                    <a:pt x="103" y="20"/>
                  </a:lnTo>
                  <a:lnTo>
                    <a:pt x="101" y="15"/>
                  </a:lnTo>
                  <a:lnTo>
                    <a:pt x="97" y="9"/>
                  </a:lnTo>
                  <a:lnTo>
                    <a:pt x="93" y="6"/>
                  </a:lnTo>
                  <a:lnTo>
                    <a:pt x="88" y="4"/>
                  </a:lnTo>
                  <a:lnTo>
                    <a:pt x="84" y="2"/>
                  </a:lnTo>
                  <a:lnTo>
                    <a:pt x="79" y="1"/>
                  </a:lnTo>
                  <a:lnTo>
                    <a:pt x="69" y="0"/>
                  </a:lnTo>
                  <a:lnTo>
                    <a:pt x="58" y="0"/>
                  </a:lnTo>
                  <a:lnTo>
                    <a:pt x="53" y="0"/>
                  </a:lnTo>
                  <a:lnTo>
                    <a:pt x="48" y="0"/>
                  </a:lnTo>
                  <a:lnTo>
                    <a:pt x="37" y="0"/>
                  </a:lnTo>
                  <a:lnTo>
                    <a:pt x="27" y="1"/>
                  </a:lnTo>
                  <a:lnTo>
                    <a:pt x="22" y="2"/>
                  </a:lnTo>
                  <a:lnTo>
                    <a:pt x="18" y="4"/>
                  </a:lnTo>
                  <a:lnTo>
                    <a:pt x="13" y="6"/>
                  </a:lnTo>
                  <a:lnTo>
                    <a:pt x="9" y="9"/>
                  </a:lnTo>
                  <a:lnTo>
                    <a:pt x="5" y="14"/>
                  </a:lnTo>
                  <a:lnTo>
                    <a:pt x="3" y="20"/>
                  </a:lnTo>
                  <a:lnTo>
                    <a:pt x="0" y="26"/>
                  </a:lnTo>
                  <a:lnTo>
                    <a:pt x="0" y="34"/>
                  </a:lnTo>
                  <a:lnTo>
                    <a:pt x="0" y="36"/>
                  </a:lnTo>
                  <a:lnTo>
                    <a:pt x="1" y="39"/>
                  </a:lnTo>
                  <a:lnTo>
                    <a:pt x="3" y="41"/>
                  </a:lnTo>
                  <a:lnTo>
                    <a:pt x="5" y="44"/>
                  </a:lnTo>
                  <a:lnTo>
                    <a:pt x="7" y="46"/>
                  </a:lnTo>
                  <a:lnTo>
                    <a:pt x="9" y="48"/>
                  </a:lnTo>
                  <a:lnTo>
                    <a:pt x="12" y="48"/>
                  </a:lnTo>
                  <a:lnTo>
                    <a:pt x="15" y="49"/>
                  </a:lnTo>
                  <a:lnTo>
                    <a:pt x="18" y="48"/>
                  </a:lnTo>
                  <a:lnTo>
                    <a:pt x="21" y="47"/>
                  </a:lnTo>
                  <a:lnTo>
                    <a:pt x="23" y="46"/>
                  </a:lnTo>
                  <a:lnTo>
                    <a:pt x="26" y="44"/>
                  </a:lnTo>
                  <a:lnTo>
                    <a:pt x="27" y="41"/>
                  </a:lnTo>
                  <a:lnTo>
                    <a:pt x="29" y="39"/>
                  </a:lnTo>
                  <a:lnTo>
                    <a:pt x="29" y="36"/>
                  </a:lnTo>
                  <a:lnTo>
                    <a:pt x="3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802" name="Freeform 158">
              <a:extLst>
                <a:ext uri="{FF2B5EF4-FFF2-40B4-BE49-F238E27FC236}">
                  <a16:creationId xmlns:a16="http://schemas.microsoft.com/office/drawing/2014/main" id="{B92DF5FD-ABA0-4EE0-8203-23713945ED27}"/>
                </a:ext>
              </a:extLst>
            </p:cNvPr>
            <p:cNvSpPr>
              <a:spLocks/>
            </p:cNvSpPr>
            <p:nvPr/>
          </p:nvSpPr>
          <p:spPr bwMode="auto">
            <a:xfrm>
              <a:off x="458788" y="4310063"/>
              <a:ext cx="33338" cy="15875"/>
            </a:xfrm>
            <a:custGeom>
              <a:avLst/>
              <a:gdLst>
                <a:gd name="T0" fmla="*/ 18 w 106"/>
                <a:gd name="T1" fmla="*/ 48 h 49"/>
                <a:gd name="T2" fmla="*/ 23 w 106"/>
                <a:gd name="T3" fmla="*/ 46 h 49"/>
                <a:gd name="T4" fmla="*/ 27 w 106"/>
                <a:gd name="T5" fmla="*/ 41 h 49"/>
                <a:gd name="T6" fmla="*/ 30 w 106"/>
                <a:gd name="T7" fmla="*/ 36 h 49"/>
                <a:gd name="T8" fmla="*/ 30 w 106"/>
                <a:gd name="T9" fmla="*/ 32 h 49"/>
                <a:gd name="T10" fmla="*/ 37 w 106"/>
                <a:gd name="T11" fmla="*/ 30 h 49"/>
                <a:gd name="T12" fmla="*/ 52 w 106"/>
                <a:gd name="T13" fmla="*/ 30 h 49"/>
                <a:gd name="T14" fmla="*/ 68 w 106"/>
                <a:gd name="T15" fmla="*/ 30 h 49"/>
                <a:gd name="T16" fmla="*/ 76 w 106"/>
                <a:gd name="T17" fmla="*/ 31 h 49"/>
                <a:gd name="T18" fmla="*/ 76 w 106"/>
                <a:gd name="T19" fmla="*/ 36 h 49"/>
                <a:gd name="T20" fmla="*/ 78 w 106"/>
                <a:gd name="T21" fmla="*/ 41 h 49"/>
                <a:gd name="T22" fmla="*/ 82 w 106"/>
                <a:gd name="T23" fmla="*/ 46 h 49"/>
                <a:gd name="T24" fmla="*/ 87 w 106"/>
                <a:gd name="T25" fmla="*/ 48 h 49"/>
                <a:gd name="T26" fmla="*/ 94 w 106"/>
                <a:gd name="T27" fmla="*/ 48 h 49"/>
                <a:gd name="T28" fmla="*/ 99 w 106"/>
                <a:gd name="T29" fmla="*/ 46 h 49"/>
                <a:gd name="T30" fmla="*/ 102 w 106"/>
                <a:gd name="T31" fmla="*/ 41 h 49"/>
                <a:gd name="T32" fmla="*/ 106 w 106"/>
                <a:gd name="T33" fmla="*/ 36 h 49"/>
                <a:gd name="T34" fmla="*/ 105 w 106"/>
                <a:gd name="T35" fmla="*/ 26 h 49"/>
                <a:gd name="T36" fmla="*/ 100 w 106"/>
                <a:gd name="T37" fmla="*/ 15 h 49"/>
                <a:gd name="T38" fmla="*/ 93 w 106"/>
                <a:gd name="T39" fmla="*/ 6 h 49"/>
                <a:gd name="T40" fmla="*/ 83 w 106"/>
                <a:gd name="T41" fmla="*/ 2 h 49"/>
                <a:gd name="T42" fmla="*/ 68 w 106"/>
                <a:gd name="T43" fmla="*/ 0 h 49"/>
                <a:gd name="T44" fmla="*/ 52 w 106"/>
                <a:gd name="T45" fmla="*/ 0 h 49"/>
                <a:gd name="T46" fmla="*/ 37 w 106"/>
                <a:gd name="T47" fmla="*/ 0 h 49"/>
                <a:gd name="T48" fmla="*/ 22 w 106"/>
                <a:gd name="T49" fmla="*/ 2 h 49"/>
                <a:gd name="T50" fmla="*/ 12 w 106"/>
                <a:gd name="T51" fmla="*/ 6 h 49"/>
                <a:gd name="T52" fmla="*/ 5 w 106"/>
                <a:gd name="T53" fmla="*/ 14 h 49"/>
                <a:gd name="T54" fmla="*/ 1 w 106"/>
                <a:gd name="T55" fmla="*/ 26 h 49"/>
                <a:gd name="T56" fmla="*/ 0 w 106"/>
                <a:gd name="T57" fmla="*/ 36 h 49"/>
                <a:gd name="T58" fmla="*/ 2 w 106"/>
                <a:gd name="T59" fmla="*/ 41 h 49"/>
                <a:gd name="T60" fmla="*/ 6 w 106"/>
                <a:gd name="T61" fmla="*/ 46 h 49"/>
                <a:gd name="T62" fmla="*/ 11 w 106"/>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15" y="49"/>
                  </a:moveTo>
                  <a:lnTo>
                    <a:pt x="18" y="48"/>
                  </a:lnTo>
                  <a:lnTo>
                    <a:pt x="21" y="47"/>
                  </a:lnTo>
                  <a:lnTo>
                    <a:pt x="23" y="46"/>
                  </a:lnTo>
                  <a:lnTo>
                    <a:pt x="25" y="44"/>
                  </a:lnTo>
                  <a:lnTo>
                    <a:pt x="27" y="41"/>
                  </a:lnTo>
                  <a:lnTo>
                    <a:pt x="29" y="39"/>
                  </a:lnTo>
                  <a:lnTo>
                    <a:pt x="30" y="36"/>
                  </a:lnTo>
                  <a:lnTo>
                    <a:pt x="30" y="34"/>
                  </a:lnTo>
                  <a:lnTo>
                    <a:pt x="30" y="32"/>
                  </a:lnTo>
                  <a:lnTo>
                    <a:pt x="30" y="31"/>
                  </a:lnTo>
                  <a:lnTo>
                    <a:pt x="37" y="30"/>
                  </a:lnTo>
                  <a:lnTo>
                    <a:pt x="48" y="30"/>
                  </a:lnTo>
                  <a:lnTo>
                    <a:pt x="52" y="30"/>
                  </a:lnTo>
                  <a:lnTo>
                    <a:pt x="57" y="30"/>
                  </a:lnTo>
                  <a:lnTo>
                    <a:pt x="68" y="30"/>
                  </a:lnTo>
                  <a:lnTo>
                    <a:pt x="75" y="30"/>
                  </a:lnTo>
                  <a:lnTo>
                    <a:pt x="76" y="31"/>
                  </a:lnTo>
                  <a:lnTo>
                    <a:pt x="76" y="34"/>
                  </a:lnTo>
                  <a:lnTo>
                    <a:pt x="76" y="36"/>
                  </a:lnTo>
                  <a:lnTo>
                    <a:pt x="77" y="39"/>
                  </a:lnTo>
                  <a:lnTo>
                    <a:pt x="78" y="41"/>
                  </a:lnTo>
                  <a:lnTo>
                    <a:pt x="80" y="44"/>
                  </a:lnTo>
                  <a:lnTo>
                    <a:pt x="82" y="46"/>
                  </a:lnTo>
                  <a:lnTo>
                    <a:pt x="84" y="48"/>
                  </a:lnTo>
                  <a:lnTo>
                    <a:pt x="87" y="48"/>
                  </a:lnTo>
                  <a:lnTo>
                    <a:pt x="91" y="49"/>
                  </a:lnTo>
                  <a:lnTo>
                    <a:pt x="94" y="48"/>
                  </a:lnTo>
                  <a:lnTo>
                    <a:pt x="96" y="47"/>
                  </a:lnTo>
                  <a:lnTo>
                    <a:pt x="99" y="46"/>
                  </a:lnTo>
                  <a:lnTo>
                    <a:pt x="101" y="44"/>
                  </a:lnTo>
                  <a:lnTo>
                    <a:pt x="102" y="41"/>
                  </a:lnTo>
                  <a:lnTo>
                    <a:pt x="105" y="39"/>
                  </a:lnTo>
                  <a:lnTo>
                    <a:pt x="106" y="36"/>
                  </a:lnTo>
                  <a:lnTo>
                    <a:pt x="106" y="34"/>
                  </a:lnTo>
                  <a:lnTo>
                    <a:pt x="105" y="26"/>
                  </a:lnTo>
                  <a:lnTo>
                    <a:pt x="104" y="20"/>
                  </a:lnTo>
                  <a:lnTo>
                    <a:pt x="100" y="15"/>
                  </a:lnTo>
                  <a:lnTo>
                    <a:pt x="97" y="9"/>
                  </a:lnTo>
                  <a:lnTo>
                    <a:pt x="93" y="6"/>
                  </a:lnTo>
                  <a:lnTo>
                    <a:pt x="89" y="4"/>
                  </a:lnTo>
                  <a:lnTo>
                    <a:pt x="83" y="2"/>
                  </a:lnTo>
                  <a:lnTo>
                    <a:pt x="79" y="1"/>
                  </a:lnTo>
                  <a:lnTo>
                    <a:pt x="68" y="0"/>
                  </a:lnTo>
                  <a:lnTo>
                    <a:pt x="57" y="0"/>
                  </a:lnTo>
                  <a:lnTo>
                    <a:pt x="52" y="0"/>
                  </a:lnTo>
                  <a:lnTo>
                    <a:pt x="48" y="0"/>
                  </a:lnTo>
                  <a:lnTo>
                    <a:pt x="37" y="0"/>
                  </a:lnTo>
                  <a:lnTo>
                    <a:pt x="26" y="1"/>
                  </a:lnTo>
                  <a:lnTo>
                    <a:pt x="22" y="2"/>
                  </a:lnTo>
                  <a:lnTo>
                    <a:pt x="17" y="4"/>
                  </a:lnTo>
                  <a:lnTo>
                    <a:pt x="12" y="6"/>
                  </a:lnTo>
                  <a:lnTo>
                    <a:pt x="8" y="9"/>
                  </a:lnTo>
                  <a:lnTo>
                    <a:pt x="5" y="14"/>
                  </a:lnTo>
                  <a:lnTo>
                    <a:pt x="2" y="20"/>
                  </a:lnTo>
                  <a:lnTo>
                    <a:pt x="1" y="26"/>
                  </a:lnTo>
                  <a:lnTo>
                    <a:pt x="0" y="34"/>
                  </a:lnTo>
                  <a:lnTo>
                    <a:pt x="0" y="36"/>
                  </a:lnTo>
                  <a:lnTo>
                    <a:pt x="1" y="39"/>
                  </a:lnTo>
                  <a:lnTo>
                    <a:pt x="2" y="41"/>
                  </a:lnTo>
                  <a:lnTo>
                    <a:pt x="4" y="44"/>
                  </a:lnTo>
                  <a:lnTo>
                    <a:pt x="6" y="46"/>
                  </a:lnTo>
                  <a:lnTo>
                    <a:pt x="9" y="47"/>
                  </a:lnTo>
                  <a:lnTo>
                    <a:pt x="11" y="48"/>
                  </a:lnTo>
                  <a:lnTo>
                    <a:pt x="15"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803" name="Freeform 54">
            <a:extLst>
              <a:ext uri="{FF2B5EF4-FFF2-40B4-BE49-F238E27FC236}">
                <a16:creationId xmlns:a16="http://schemas.microsoft.com/office/drawing/2014/main" id="{CE1C6A50-0D26-4892-88DE-BAD929E123CA}"/>
              </a:ext>
            </a:extLst>
          </p:cNvPr>
          <p:cNvSpPr>
            <a:spLocks noChangeAspect="1" noEditPoints="1"/>
          </p:cNvSpPr>
          <p:nvPr/>
        </p:nvSpPr>
        <p:spPr bwMode="auto">
          <a:xfrm>
            <a:off x="2711058" y="4340505"/>
            <a:ext cx="336021" cy="285619"/>
          </a:xfrm>
          <a:custGeom>
            <a:avLst/>
            <a:gdLst>
              <a:gd name="T0" fmla="*/ 346 w 901"/>
              <a:gd name="T1" fmla="*/ 717 h 766"/>
              <a:gd name="T2" fmla="*/ 332 w 901"/>
              <a:gd name="T3" fmla="*/ 585 h 766"/>
              <a:gd name="T4" fmla="*/ 245 w 901"/>
              <a:gd name="T5" fmla="*/ 578 h 766"/>
              <a:gd name="T6" fmla="*/ 183 w 901"/>
              <a:gd name="T7" fmla="*/ 556 h 766"/>
              <a:gd name="T8" fmla="*/ 128 w 901"/>
              <a:gd name="T9" fmla="*/ 521 h 766"/>
              <a:gd name="T10" fmla="*/ 83 w 901"/>
              <a:gd name="T11" fmla="*/ 475 h 766"/>
              <a:gd name="T12" fmla="*/ 51 w 901"/>
              <a:gd name="T13" fmla="*/ 418 h 766"/>
              <a:gd name="T14" fmla="*/ 33 w 901"/>
              <a:gd name="T15" fmla="*/ 355 h 766"/>
              <a:gd name="T16" fmla="*/ 32 w 901"/>
              <a:gd name="T17" fmla="*/ 285 h 766"/>
              <a:gd name="T18" fmla="*/ 47 w 901"/>
              <a:gd name="T19" fmla="*/ 218 h 766"/>
              <a:gd name="T20" fmla="*/ 78 w 901"/>
              <a:gd name="T21" fmla="*/ 157 h 766"/>
              <a:gd name="T22" fmla="*/ 121 w 901"/>
              <a:gd name="T23" fmla="*/ 106 h 766"/>
              <a:gd name="T24" fmla="*/ 174 w 901"/>
              <a:gd name="T25" fmla="*/ 65 h 766"/>
              <a:gd name="T26" fmla="*/ 235 w 901"/>
              <a:gd name="T27" fmla="*/ 39 h 766"/>
              <a:gd name="T28" fmla="*/ 301 w 901"/>
              <a:gd name="T29" fmla="*/ 30 h 766"/>
              <a:gd name="T30" fmla="*/ 654 w 901"/>
              <a:gd name="T31" fmla="*/ 36 h 766"/>
              <a:gd name="T32" fmla="*/ 716 w 901"/>
              <a:gd name="T33" fmla="*/ 59 h 766"/>
              <a:gd name="T34" fmla="*/ 770 w 901"/>
              <a:gd name="T35" fmla="*/ 96 h 766"/>
              <a:gd name="T36" fmla="*/ 816 w 901"/>
              <a:gd name="T37" fmla="*/ 146 h 766"/>
              <a:gd name="T38" fmla="*/ 850 w 901"/>
              <a:gd name="T39" fmla="*/ 205 h 766"/>
              <a:gd name="T40" fmla="*/ 868 w 901"/>
              <a:gd name="T41" fmla="*/ 271 h 766"/>
              <a:gd name="T42" fmla="*/ 870 w 901"/>
              <a:gd name="T43" fmla="*/ 341 h 766"/>
              <a:gd name="T44" fmla="*/ 855 w 901"/>
              <a:gd name="T45" fmla="*/ 406 h 766"/>
              <a:gd name="T46" fmla="*/ 825 w 901"/>
              <a:gd name="T47" fmla="*/ 464 h 766"/>
              <a:gd name="T48" fmla="*/ 782 w 901"/>
              <a:gd name="T49" fmla="*/ 513 h 766"/>
              <a:gd name="T50" fmla="*/ 729 w 901"/>
              <a:gd name="T51" fmla="*/ 552 h 766"/>
              <a:gd name="T52" fmla="*/ 668 w 901"/>
              <a:gd name="T53" fmla="*/ 576 h 766"/>
              <a:gd name="T54" fmla="*/ 601 w 901"/>
              <a:gd name="T55" fmla="*/ 585 h 766"/>
              <a:gd name="T56" fmla="*/ 271 w 901"/>
              <a:gd name="T57" fmla="*/ 2 h 766"/>
              <a:gd name="T58" fmla="*/ 200 w 901"/>
              <a:gd name="T59" fmla="*/ 19 h 766"/>
              <a:gd name="T60" fmla="*/ 136 w 901"/>
              <a:gd name="T61" fmla="*/ 55 h 766"/>
              <a:gd name="T62" fmla="*/ 80 w 901"/>
              <a:gd name="T63" fmla="*/ 105 h 766"/>
              <a:gd name="T64" fmla="*/ 37 w 901"/>
              <a:gd name="T65" fmla="*/ 167 h 766"/>
              <a:gd name="T66" fmla="*/ 11 w 901"/>
              <a:gd name="T67" fmla="*/ 237 h 766"/>
              <a:gd name="T68" fmla="*/ 0 w 901"/>
              <a:gd name="T69" fmla="*/ 313 h 766"/>
              <a:gd name="T70" fmla="*/ 10 w 901"/>
              <a:gd name="T71" fmla="*/ 388 h 766"/>
              <a:gd name="T72" fmla="*/ 36 w 901"/>
              <a:gd name="T73" fmla="*/ 456 h 766"/>
              <a:gd name="T74" fmla="*/ 78 w 901"/>
              <a:gd name="T75" fmla="*/ 514 h 766"/>
              <a:gd name="T76" fmla="*/ 132 w 901"/>
              <a:gd name="T77" fmla="*/ 561 h 766"/>
              <a:gd name="T78" fmla="*/ 196 w 901"/>
              <a:gd name="T79" fmla="*/ 595 h 766"/>
              <a:gd name="T80" fmla="*/ 267 w 901"/>
              <a:gd name="T81" fmla="*/ 611 h 766"/>
              <a:gd name="T82" fmla="*/ 316 w 901"/>
              <a:gd name="T83" fmla="*/ 614 h 766"/>
              <a:gd name="T84" fmla="*/ 324 w 901"/>
              <a:gd name="T85" fmla="*/ 764 h 766"/>
              <a:gd name="T86" fmla="*/ 502 w 901"/>
              <a:gd name="T87" fmla="*/ 615 h 766"/>
              <a:gd name="T88" fmla="*/ 660 w 901"/>
              <a:gd name="T89" fmla="*/ 610 h 766"/>
              <a:gd name="T90" fmla="*/ 730 w 901"/>
              <a:gd name="T91" fmla="*/ 585 h 766"/>
              <a:gd name="T92" fmla="*/ 791 w 901"/>
              <a:gd name="T93" fmla="*/ 545 h 766"/>
              <a:gd name="T94" fmla="*/ 841 w 901"/>
              <a:gd name="T95" fmla="*/ 493 h 766"/>
              <a:gd name="T96" fmla="*/ 877 w 901"/>
              <a:gd name="T97" fmla="*/ 430 h 766"/>
              <a:gd name="T98" fmla="*/ 898 w 901"/>
              <a:gd name="T99" fmla="*/ 359 h 766"/>
              <a:gd name="T100" fmla="*/ 900 w 901"/>
              <a:gd name="T101" fmla="*/ 282 h 766"/>
              <a:gd name="T102" fmla="*/ 883 w 901"/>
              <a:gd name="T103" fmla="*/ 208 h 766"/>
              <a:gd name="T104" fmla="*/ 849 w 901"/>
              <a:gd name="T105" fmla="*/ 141 h 766"/>
              <a:gd name="T106" fmla="*/ 800 w 901"/>
              <a:gd name="T107" fmla="*/ 83 h 766"/>
              <a:gd name="T108" fmla="*/ 742 w 901"/>
              <a:gd name="T109" fmla="*/ 39 h 766"/>
              <a:gd name="T110" fmla="*/ 674 w 901"/>
              <a:gd name="T111" fmla="*/ 10 h 766"/>
              <a:gd name="T112" fmla="*/ 601 w 901"/>
              <a:gd name="T113"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1" h="766">
                <a:moveTo>
                  <a:pt x="601" y="585"/>
                </a:moveTo>
                <a:lnTo>
                  <a:pt x="496" y="585"/>
                </a:lnTo>
                <a:lnTo>
                  <a:pt x="490" y="586"/>
                </a:lnTo>
                <a:lnTo>
                  <a:pt x="486" y="589"/>
                </a:lnTo>
                <a:lnTo>
                  <a:pt x="346" y="717"/>
                </a:lnTo>
                <a:lnTo>
                  <a:pt x="346" y="600"/>
                </a:lnTo>
                <a:lnTo>
                  <a:pt x="345" y="595"/>
                </a:lnTo>
                <a:lnTo>
                  <a:pt x="341" y="590"/>
                </a:lnTo>
                <a:lnTo>
                  <a:pt x="337" y="587"/>
                </a:lnTo>
                <a:lnTo>
                  <a:pt x="332" y="585"/>
                </a:lnTo>
                <a:lnTo>
                  <a:pt x="300" y="583"/>
                </a:lnTo>
                <a:lnTo>
                  <a:pt x="286" y="582"/>
                </a:lnTo>
                <a:lnTo>
                  <a:pt x="272" y="581"/>
                </a:lnTo>
                <a:lnTo>
                  <a:pt x="259" y="580"/>
                </a:lnTo>
                <a:lnTo>
                  <a:pt x="245" y="578"/>
                </a:lnTo>
                <a:lnTo>
                  <a:pt x="232" y="574"/>
                </a:lnTo>
                <a:lnTo>
                  <a:pt x="219" y="570"/>
                </a:lnTo>
                <a:lnTo>
                  <a:pt x="207" y="566"/>
                </a:lnTo>
                <a:lnTo>
                  <a:pt x="195" y="561"/>
                </a:lnTo>
                <a:lnTo>
                  <a:pt x="183" y="556"/>
                </a:lnTo>
                <a:lnTo>
                  <a:pt x="171" y="550"/>
                </a:lnTo>
                <a:lnTo>
                  <a:pt x="160" y="543"/>
                </a:lnTo>
                <a:lnTo>
                  <a:pt x="149" y="537"/>
                </a:lnTo>
                <a:lnTo>
                  <a:pt x="138" y="529"/>
                </a:lnTo>
                <a:lnTo>
                  <a:pt x="128" y="521"/>
                </a:lnTo>
                <a:lnTo>
                  <a:pt x="119" y="512"/>
                </a:lnTo>
                <a:lnTo>
                  <a:pt x="109" y="504"/>
                </a:lnTo>
                <a:lnTo>
                  <a:pt x="101" y="494"/>
                </a:lnTo>
                <a:lnTo>
                  <a:pt x="92" y="484"/>
                </a:lnTo>
                <a:lnTo>
                  <a:pt x="83" y="475"/>
                </a:lnTo>
                <a:lnTo>
                  <a:pt x="76" y="464"/>
                </a:lnTo>
                <a:lnTo>
                  <a:pt x="70" y="453"/>
                </a:lnTo>
                <a:lnTo>
                  <a:pt x="63" y="442"/>
                </a:lnTo>
                <a:lnTo>
                  <a:pt x="57" y="430"/>
                </a:lnTo>
                <a:lnTo>
                  <a:pt x="51" y="418"/>
                </a:lnTo>
                <a:lnTo>
                  <a:pt x="47" y="406"/>
                </a:lnTo>
                <a:lnTo>
                  <a:pt x="43" y="393"/>
                </a:lnTo>
                <a:lnTo>
                  <a:pt x="39" y="381"/>
                </a:lnTo>
                <a:lnTo>
                  <a:pt x="36" y="368"/>
                </a:lnTo>
                <a:lnTo>
                  <a:pt x="33" y="355"/>
                </a:lnTo>
                <a:lnTo>
                  <a:pt x="32" y="341"/>
                </a:lnTo>
                <a:lnTo>
                  <a:pt x="31" y="327"/>
                </a:lnTo>
                <a:lnTo>
                  <a:pt x="30" y="313"/>
                </a:lnTo>
                <a:lnTo>
                  <a:pt x="31" y="299"/>
                </a:lnTo>
                <a:lnTo>
                  <a:pt x="32" y="285"/>
                </a:lnTo>
                <a:lnTo>
                  <a:pt x="33" y="271"/>
                </a:lnTo>
                <a:lnTo>
                  <a:pt x="36" y="258"/>
                </a:lnTo>
                <a:lnTo>
                  <a:pt x="40" y="245"/>
                </a:lnTo>
                <a:lnTo>
                  <a:pt x="43" y="231"/>
                </a:lnTo>
                <a:lnTo>
                  <a:pt x="47" y="218"/>
                </a:lnTo>
                <a:lnTo>
                  <a:pt x="52" y="205"/>
                </a:lnTo>
                <a:lnTo>
                  <a:pt x="58" y="193"/>
                </a:lnTo>
                <a:lnTo>
                  <a:pt x="64" y="181"/>
                </a:lnTo>
                <a:lnTo>
                  <a:pt x="71" y="169"/>
                </a:lnTo>
                <a:lnTo>
                  <a:pt x="78" y="157"/>
                </a:lnTo>
                <a:lnTo>
                  <a:pt x="86" y="146"/>
                </a:lnTo>
                <a:lnTo>
                  <a:pt x="94" y="136"/>
                </a:lnTo>
                <a:lnTo>
                  <a:pt x="103" y="125"/>
                </a:lnTo>
                <a:lnTo>
                  <a:pt x="111" y="115"/>
                </a:lnTo>
                <a:lnTo>
                  <a:pt x="121" y="106"/>
                </a:lnTo>
                <a:lnTo>
                  <a:pt x="131" y="96"/>
                </a:lnTo>
                <a:lnTo>
                  <a:pt x="141" y="87"/>
                </a:lnTo>
                <a:lnTo>
                  <a:pt x="152" y="80"/>
                </a:lnTo>
                <a:lnTo>
                  <a:pt x="163" y="72"/>
                </a:lnTo>
                <a:lnTo>
                  <a:pt x="174" y="65"/>
                </a:lnTo>
                <a:lnTo>
                  <a:pt x="186" y="59"/>
                </a:lnTo>
                <a:lnTo>
                  <a:pt x="198" y="53"/>
                </a:lnTo>
                <a:lnTo>
                  <a:pt x="210" y="48"/>
                </a:lnTo>
                <a:lnTo>
                  <a:pt x="223" y="42"/>
                </a:lnTo>
                <a:lnTo>
                  <a:pt x="235" y="39"/>
                </a:lnTo>
                <a:lnTo>
                  <a:pt x="248" y="36"/>
                </a:lnTo>
                <a:lnTo>
                  <a:pt x="261" y="33"/>
                </a:lnTo>
                <a:lnTo>
                  <a:pt x="274" y="31"/>
                </a:lnTo>
                <a:lnTo>
                  <a:pt x="287" y="30"/>
                </a:lnTo>
                <a:lnTo>
                  <a:pt x="301" y="30"/>
                </a:lnTo>
                <a:lnTo>
                  <a:pt x="601" y="30"/>
                </a:lnTo>
                <a:lnTo>
                  <a:pt x="614" y="30"/>
                </a:lnTo>
                <a:lnTo>
                  <a:pt x="628" y="31"/>
                </a:lnTo>
                <a:lnTo>
                  <a:pt x="641" y="33"/>
                </a:lnTo>
                <a:lnTo>
                  <a:pt x="654" y="36"/>
                </a:lnTo>
                <a:lnTo>
                  <a:pt x="667" y="39"/>
                </a:lnTo>
                <a:lnTo>
                  <a:pt x="679" y="42"/>
                </a:lnTo>
                <a:lnTo>
                  <a:pt x="692" y="48"/>
                </a:lnTo>
                <a:lnTo>
                  <a:pt x="704" y="53"/>
                </a:lnTo>
                <a:lnTo>
                  <a:pt x="716" y="59"/>
                </a:lnTo>
                <a:lnTo>
                  <a:pt x="728" y="65"/>
                </a:lnTo>
                <a:lnTo>
                  <a:pt x="739" y="72"/>
                </a:lnTo>
                <a:lnTo>
                  <a:pt x="750" y="80"/>
                </a:lnTo>
                <a:lnTo>
                  <a:pt x="761" y="87"/>
                </a:lnTo>
                <a:lnTo>
                  <a:pt x="770" y="96"/>
                </a:lnTo>
                <a:lnTo>
                  <a:pt x="781" y="106"/>
                </a:lnTo>
                <a:lnTo>
                  <a:pt x="791" y="115"/>
                </a:lnTo>
                <a:lnTo>
                  <a:pt x="799" y="125"/>
                </a:lnTo>
                <a:lnTo>
                  <a:pt x="808" y="136"/>
                </a:lnTo>
                <a:lnTo>
                  <a:pt x="816" y="146"/>
                </a:lnTo>
                <a:lnTo>
                  <a:pt x="824" y="157"/>
                </a:lnTo>
                <a:lnTo>
                  <a:pt x="831" y="169"/>
                </a:lnTo>
                <a:lnTo>
                  <a:pt x="838" y="181"/>
                </a:lnTo>
                <a:lnTo>
                  <a:pt x="844" y="193"/>
                </a:lnTo>
                <a:lnTo>
                  <a:pt x="850" y="205"/>
                </a:lnTo>
                <a:lnTo>
                  <a:pt x="854" y="218"/>
                </a:lnTo>
                <a:lnTo>
                  <a:pt x="859" y="231"/>
                </a:lnTo>
                <a:lnTo>
                  <a:pt x="862" y="245"/>
                </a:lnTo>
                <a:lnTo>
                  <a:pt x="866" y="258"/>
                </a:lnTo>
                <a:lnTo>
                  <a:pt x="868" y="271"/>
                </a:lnTo>
                <a:lnTo>
                  <a:pt x="870" y="285"/>
                </a:lnTo>
                <a:lnTo>
                  <a:pt x="871" y="299"/>
                </a:lnTo>
                <a:lnTo>
                  <a:pt x="871" y="313"/>
                </a:lnTo>
                <a:lnTo>
                  <a:pt x="871" y="327"/>
                </a:lnTo>
                <a:lnTo>
                  <a:pt x="870" y="341"/>
                </a:lnTo>
                <a:lnTo>
                  <a:pt x="868" y="355"/>
                </a:lnTo>
                <a:lnTo>
                  <a:pt x="866" y="368"/>
                </a:lnTo>
                <a:lnTo>
                  <a:pt x="862" y="381"/>
                </a:lnTo>
                <a:lnTo>
                  <a:pt x="859" y="393"/>
                </a:lnTo>
                <a:lnTo>
                  <a:pt x="855" y="406"/>
                </a:lnTo>
                <a:lnTo>
                  <a:pt x="850" y="418"/>
                </a:lnTo>
                <a:lnTo>
                  <a:pt x="844" y="430"/>
                </a:lnTo>
                <a:lnTo>
                  <a:pt x="838" y="442"/>
                </a:lnTo>
                <a:lnTo>
                  <a:pt x="831" y="453"/>
                </a:lnTo>
                <a:lnTo>
                  <a:pt x="825" y="464"/>
                </a:lnTo>
                <a:lnTo>
                  <a:pt x="816" y="475"/>
                </a:lnTo>
                <a:lnTo>
                  <a:pt x="809" y="485"/>
                </a:lnTo>
                <a:lnTo>
                  <a:pt x="800" y="495"/>
                </a:lnTo>
                <a:lnTo>
                  <a:pt x="791" y="505"/>
                </a:lnTo>
                <a:lnTo>
                  <a:pt x="782" y="513"/>
                </a:lnTo>
                <a:lnTo>
                  <a:pt x="771" y="523"/>
                </a:lnTo>
                <a:lnTo>
                  <a:pt x="762" y="530"/>
                </a:lnTo>
                <a:lnTo>
                  <a:pt x="751" y="538"/>
                </a:lnTo>
                <a:lnTo>
                  <a:pt x="740" y="545"/>
                </a:lnTo>
                <a:lnTo>
                  <a:pt x="729" y="552"/>
                </a:lnTo>
                <a:lnTo>
                  <a:pt x="717" y="558"/>
                </a:lnTo>
                <a:lnTo>
                  <a:pt x="705" y="564"/>
                </a:lnTo>
                <a:lnTo>
                  <a:pt x="693" y="569"/>
                </a:lnTo>
                <a:lnTo>
                  <a:pt x="681" y="573"/>
                </a:lnTo>
                <a:lnTo>
                  <a:pt x="668" y="576"/>
                </a:lnTo>
                <a:lnTo>
                  <a:pt x="655" y="580"/>
                </a:lnTo>
                <a:lnTo>
                  <a:pt x="642" y="582"/>
                </a:lnTo>
                <a:lnTo>
                  <a:pt x="628" y="584"/>
                </a:lnTo>
                <a:lnTo>
                  <a:pt x="615" y="585"/>
                </a:lnTo>
                <a:lnTo>
                  <a:pt x="601" y="585"/>
                </a:lnTo>
                <a:lnTo>
                  <a:pt x="601" y="585"/>
                </a:lnTo>
                <a:close/>
                <a:moveTo>
                  <a:pt x="601" y="0"/>
                </a:moveTo>
                <a:lnTo>
                  <a:pt x="301" y="0"/>
                </a:lnTo>
                <a:lnTo>
                  <a:pt x="286" y="0"/>
                </a:lnTo>
                <a:lnTo>
                  <a:pt x="271" y="2"/>
                </a:lnTo>
                <a:lnTo>
                  <a:pt x="257" y="3"/>
                </a:lnTo>
                <a:lnTo>
                  <a:pt x="242" y="6"/>
                </a:lnTo>
                <a:lnTo>
                  <a:pt x="228" y="10"/>
                </a:lnTo>
                <a:lnTo>
                  <a:pt x="214" y="15"/>
                </a:lnTo>
                <a:lnTo>
                  <a:pt x="200" y="19"/>
                </a:lnTo>
                <a:lnTo>
                  <a:pt x="186" y="25"/>
                </a:lnTo>
                <a:lnTo>
                  <a:pt x="173" y="32"/>
                </a:lnTo>
                <a:lnTo>
                  <a:pt x="160" y="39"/>
                </a:lnTo>
                <a:lnTo>
                  <a:pt x="148" y="47"/>
                </a:lnTo>
                <a:lnTo>
                  <a:pt x="136" y="55"/>
                </a:lnTo>
                <a:lnTo>
                  <a:pt x="123" y="64"/>
                </a:lnTo>
                <a:lnTo>
                  <a:pt x="112" y="73"/>
                </a:lnTo>
                <a:lnTo>
                  <a:pt x="102" y="83"/>
                </a:lnTo>
                <a:lnTo>
                  <a:pt x="91" y="94"/>
                </a:lnTo>
                <a:lnTo>
                  <a:pt x="80" y="105"/>
                </a:lnTo>
                <a:lnTo>
                  <a:pt x="71" y="116"/>
                </a:lnTo>
                <a:lnTo>
                  <a:pt x="62" y="128"/>
                </a:lnTo>
                <a:lnTo>
                  <a:pt x="53" y="141"/>
                </a:lnTo>
                <a:lnTo>
                  <a:pt x="45" y="154"/>
                </a:lnTo>
                <a:lnTo>
                  <a:pt x="37" y="167"/>
                </a:lnTo>
                <a:lnTo>
                  <a:pt x="31" y="181"/>
                </a:lnTo>
                <a:lnTo>
                  <a:pt x="25" y="194"/>
                </a:lnTo>
                <a:lnTo>
                  <a:pt x="19" y="208"/>
                </a:lnTo>
                <a:lnTo>
                  <a:pt x="14" y="222"/>
                </a:lnTo>
                <a:lnTo>
                  <a:pt x="11" y="237"/>
                </a:lnTo>
                <a:lnTo>
                  <a:pt x="6" y="252"/>
                </a:lnTo>
                <a:lnTo>
                  <a:pt x="4" y="267"/>
                </a:lnTo>
                <a:lnTo>
                  <a:pt x="2" y="282"/>
                </a:lnTo>
                <a:lnTo>
                  <a:pt x="1" y="298"/>
                </a:lnTo>
                <a:lnTo>
                  <a:pt x="0" y="313"/>
                </a:lnTo>
                <a:lnTo>
                  <a:pt x="1" y="329"/>
                </a:lnTo>
                <a:lnTo>
                  <a:pt x="2" y="344"/>
                </a:lnTo>
                <a:lnTo>
                  <a:pt x="4" y="359"/>
                </a:lnTo>
                <a:lnTo>
                  <a:pt x="6" y="374"/>
                </a:lnTo>
                <a:lnTo>
                  <a:pt x="10" y="388"/>
                </a:lnTo>
                <a:lnTo>
                  <a:pt x="14" y="402"/>
                </a:lnTo>
                <a:lnTo>
                  <a:pt x="18" y="416"/>
                </a:lnTo>
                <a:lnTo>
                  <a:pt x="24" y="430"/>
                </a:lnTo>
                <a:lnTo>
                  <a:pt x="30" y="443"/>
                </a:lnTo>
                <a:lnTo>
                  <a:pt x="36" y="456"/>
                </a:lnTo>
                <a:lnTo>
                  <a:pt x="44" y="468"/>
                </a:lnTo>
                <a:lnTo>
                  <a:pt x="51" y="481"/>
                </a:lnTo>
                <a:lnTo>
                  <a:pt x="60" y="492"/>
                </a:lnTo>
                <a:lnTo>
                  <a:pt x="68" y="504"/>
                </a:lnTo>
                <a:lnTo>
                  <a:pt x="78" y="514"/>
                </a:lnTo>
                <a:lnTo>
                  <a:pt x="88" y="525"/>
                </a:lnTo>
                <a:lnTo>
                  <a:pt x="98" y="535"/>
                </a:lnTo>
                <a:lnTo>
                  <a:pt x="109" y="544"/>
                </a:lnTo>
                <a:lnTo>
                  <a:pt x="120" y="553"/>
                </a:lnTo>
                <a:lnTo>
                  <a:pt x="132" y="561"/>
                </a:lnTo>
                <a:lnTo>
                  <a:pt x="144" y="569"/>
                </a:lnTo>
                <a:lnTo>
                  <a:pt x="156" y="576"/>
                </a:lnTo>
                <a:lnTo>
                  <a:pt x="169" y="583"/>
                </a:lnTo>
                <a:lnTo>
                  <a:pt x="183" y="589"/>
                </a:lnTo>
                <a:lnTo>
                  <a:pt x="196" y="595"/>
                </a:lnTo>
                <a:lnTo>
                  <a:pt x="210" y="599"/>
                </a:lnTo>
                <a:lnTo>
                  <a:pt x="224" y="603"/>
                </a:lnTo>
                <a:lnTo>
                  <a:pt x="239" y="606"/>
                </a:lnTo>
                <a:lnTo>
                  <a:pt x="253" y="610"/>
                </a:lnTo>
                <a:lnTo>
                  <a:pt x="267" y="611"/>
                </a:lnTo>
                <a:lnTo>
                  <a:pt x="282" y="613"/>
                </a:lnTo>
                <a:lnTo>
                  <a:pt x="299" y="613"/>
                </a:lnTo>
                <a:lnTo>
                  <a:pt x="299" y="613"/>
                </a:lnTo>
                <a:lnTo>
                  <a:pt x="299" y="613"/>
                </a:lnTo>
                <a:lnTo>
                  <a:pt x="316" y="614"/>
                </a:lnTo>
                <a:lnTo>
                  <a:pt x="316" y="751"/>
                </a:lnTo>
                <a:lnTo>
                  <a:pt x="317" y="755"/>
                </a:lnTo>
                <a:lnTo>
                  <a:pt x="318" y="758"/>
                </a:lnTo>
                <a:lnTo>
                  <a:pt x="321" y="762"/>
                </a:lnTo>
                <a:lnTo>
                  <a:pt x="324" y="764"/>
                </a:lnTo>
                <a:lnTo>
                  <a:pt x="327" y="765"/>
                </a:lnTo>
                <a:lnTo>
                  <a:pt x="331" y="766"/>
                </a:lnTo>
                <a:lnTo>
                  <a:pt x="336" y="765"/>
                </a:lnTo>
                <a:lnTo>
                  <a:pt x="341" y="762"/>
                </a:lnTo>
                <a:lnTo>
                  <a:pt x="502" y="615"/>
                </a:lnTo>
                <a:lnTo>
                  <a:pt x="601" y="615"/>
                </a:lnTo>
                <a:lnTo>
                  <a:pt x="616" y="615"/>
                </a:lnTo>
                <a:lnTo>
                  <a:pt x="631" y="614"/>
                </a:lnTo>
                <a:lnTo>
                  <a:pt x="646" y="612"/>
                </a:lnTo>
                <a:lnTo>
                  <a:pt x="660" y="610"/>
                </a:lnTo>
                <a:lnTo>
                  <a:pt x="675" y="605"/>
                </a:lnTo>
                <a:lnTo>
                  <a:pt x="689" y="601"/>
                </a:lnTo>
                <a:lnTo>
                  <a:pt x="703" y="597"/>
                </a:lnTo>
                <a:lnTo>
                  <a:pt x="717" y="591"/>
                </a:lnTo>
                <a:lnTo>
                  <a:pt x="730" y="585"/>
                </a:lnTo>
                <a:lnTo>
                  <a:pt x="743" y="579"/>
                </a:lnTo>
                <a:lnTo>
                  <a:pt x="755" y="571"/>
                </a:lnTo>
                <a:lnTo>
                  <a:pt x="767" y="563"/>
                </a:lnTo>
                <a:lnTo>
                  <a:pt x="779" y="555"/>
                </a:lnTo>
                <a:lnTo>
                  <a:pt x="791" y="545"/>
                </a:lnTo>
                <a:lnTo>
                  <a:pt x="801" y="536"/>
                </a:lnTo>
                <a:lnTo>
                  <a:pt x="812" y="526"/>
                </a:lnTo>
                <a:lnTo>
                  <a:pt x="823" y="515"/>
                </a:lnTo>
                <a:lnTo>
                  <a:pt x="831" y="505"/>
                </a:lnTo>
                <a:lnTo>
                  <a:pt x="841" y="493"/>
                </a:lnTo>
                <a:lnTo>
                  <a:pt x="850" y="481"/>
                </a:lnTo>
                <a:lnTo>
                  <a:pt x="857" y="468"/>
                </a:lnTo>
                <a:lnTo>
                  <a:pt x="865" y="457"/>
                </a:lnTo>
                <a:lnTo>
                  <a:pt x="871" y="443"/>
                </a:lnTo>
                <a:lnTo>
                  <a:pt x="877" y="430"/>
                </a:lnTo>
                <a:lnTo>
                  <a:pt x="883" y="416"/>
                </a:lnTo>
                <a:lnTo>
                  <a:pt x="888" y="402"/>
                </a:lnTo>
                <a:lnTo>
                  <a:pt x="891" y="388"/>
                </a:lnTo>
                <a:lnTo>
                  <a:pt x="896" y="373"/>
                </a:lnTo>
                <a:lnTo>
                  <a:pt x="898" y="359"/>
                </a:lnTo>
                <a:lnTo>
                  <a:pt x="900" y="344"/>
                </a:lnTo>
                <a:lnTo>
                  <a:pt x="901" y="329"/>
                </a:lnTo>
                <a:lnTo>
                  <a:pt x="901" y="313"/>
                </a:lnTo>
                <a:lnTo>
                  <a:pt x="901" y="298"/>
                </a:lnTo>
                <a:lnTo>
                  <a:pt x="900" y="282"/>
                </a:lnTo>
                <a:lnTo>
                  <a:pt x="898" y="267"/>
                </a:lnTo>
                <a:lnTo>
                  <a:pt x="896" y="252"/>
                </a:lnTo>
                <a:lnTo>
                  <a:pt x="891" y="237"/>
                </a:lnTo>
                <a:lnTo>
                  <a:pt x="887" y="222"/>
                </a:lnTo>
                <a:lnTo>
                  <a:pt x="883" y="208"/>
                </a:lnTo>
                <a:lnTo>
                  <a:pt x="877" y="194"/>
                </a:lnTo>
                <a:lnTo>
                  <a:pt x="871" y="181"/>
                </a:lnTo>
                <a:lnTo>
                  <a:pt x="863" y="167"/>
                </a:lnTo>
                <a:lnTo>
                  <a:pt x="857" y="154"/>
                </a:lnTo>
                <a:lnTo>
                  <a:pt x="849" y="141"/>
                </a:lnTo>
                <a:lnTo>
                  <a:pt x="840" y="128"/>
                </a:lnTo>
                <a:lnTo>
                  <a:pt x="831" y="116"/>
                </a:lnTo>
                <a:lnTo>
                  <a:pt x="822" y="105"/>
                </a:lnTo>
                <a:lnTo>
                  <a:pt x="811" y="94"/>
                </a:lnTo>
                <a:lnTo>
                  <a:pt x="800" y="83"/>
                </a:lnTo>
                <a:lnTo>
                  <a:pt x="790" y="73"/>
                </a:lnTo>
                <a:lnTo>
                  <a:pt x="778" y="64"/>
                </a:lnTo>
                <a:lnTo>
                  <a:pt x="766" y="55"/>
                </a:lnTo>
                <a:lnTo>
                  <a:pt x="754" y="47"/>
                </a:lnTo>
                <a:lnTo>
                  <a:pt x="742" y="39"/>
                </a:lnTo>
                <a:lnTo>
                  <a:pt x="729" y="32"/>
                </a:lnTo>
                <a:lnTo>
                  <a:pt x="716" y="25"/>
                </a:lnTo>
                <a:lnTo>
                  <a:pt x="702" y="19"/>
                </a:lnTo>
                <a:lnTo>
                  <a:pt x="688" y="15"/>
                </a:lnTo>
                <a:lnTo>
                  <a:pt x="674" y="10"/>
                </a:lnTo>
                <a:lnTo>
                  <a:pt x="660" y="6"/>
                </a:lnTo>
                <a:lnTo>
                  <a:pt x="645" y="4"/>
                </a:lnTo>
                <a:lnTo>
                  <a:pt x="631" y="2"/>
                </a:lnTo>
                <a:lnTo>
                  <a:pt x="616" y="0"/>
                </a:lnTo>
                <a:lnTo>
                  <a:pt x="601" y="0"/>
                </a:lnTo>
                <a:lnTo>
                  <a:pt x="601"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812" name="Group 109">
            <a:extLst>
              <a:ext uri="{FF2B5EF4-FFF2-40B4-BE49-F238E27FC236}">
                <a16:creationId xmlns:a16="http://schemas.microsoft.com/office/drawing/2014/main" id="{7E00AB9D-8194-432D-B1EA-6CA4DF5AA094}"/>
              </a:ext>
            </a:extLst>
          </p:cNvPr>
          <p:cNvGrpSpPr>
            <a:grpSpLocks noChangeAspect="1"/>
          </p:cNvGrpSpPr>
          <p:nvPr/>
        </p:nvGrpSpPr>
        <p:grpSpPr>
          <a:xfrm>
            <a:off x="7471899" y="5417577"/>
            <a:ext cx="285619" cy="285619"/>
            <a:chOff x="0" y="3556001"/>
            <a:chExt cx="692150" cy="692150"/>
          </a:xfrm>
          <a:solidFill>
            <a:schemeClr val="bg1"/>
          </a:solidFill>
          <a:effectLst/>
        </p:grpSpPr>
        <p:sp>
          <p:nvSpPr>
            <p:cNvPr id="813" name="Freeform 152">
              <a:extLst>
                <a:ext uri="{FF2B5EF4-FFF2-40B4-BE49-F238E27FC236}">
                  <a16:creationId xmlns:a16="http://schemas.microsoft.com/office/drawing/2014/main" id="{1FAE346E-133E-4F01-A576-6EAECC986B43}"/>
                </a:ext>
              </a:extLst>
            </p:cNvPr>
            <p:cNvSpPr>
              <a:spLocks noEditPoints="1"/>
            </p:cNvSpPr>
            <p:nvPr/>
          </p:nvSpPr>
          <p:spPr bwMode="auto">
            <a:xfrm>
              <a:off x="0" y="3556001"/>
              <a:ext cx="692150" cy="692150"/>
            </a:xfrm>
            <a:custGeom>
              <a:avLst/>
              <a:gdLst>
                <a:gd name="T0" fmla="*/ 557 w 1309"/>
                <a:gd name="T1" fmla="*/ 1155 h 1309"/>
                <a:gd name="T2" fmla="*/ 744 w 1309"/>
                <a:gd name="T3" fmla="*/ 1158 h 1309"/>
                <a:gd name="T4" fmla="*/ 926 w 1309"/>
                <a:gd name="T5" fmla="*/ 1092 h 1309"/>
                <a:gd name="T6" fmla="*/ 946 w 1309"/>
                <a:gd name="T7" fmla="*/ 1075 h 1309"/>
                <a:gd name="T8" fmla="*/ 1077 w 1309"/>
                <a:gd name="T9" fmla="*/ 941 h 1309"/>
                <a:gd name="T10" fmla="*/ 1158 w 1309"/>
                <a:gd name="T11" fmla="*/ 768 h 1309"/>
                <a:gd name="T12" fmla="*/ 1246 w 1309"/>
                <a:gd name="T13" fmla="*/ 654 h 1309"/>
                <a:gd name="T14" fmla="*/ 1159 w 1309"/>
                <a:gd name="T15" fmla="*/ 542 h 1309"/>
                <a:gd name="T16" fmla="*/ 1083 w 1309"/>
                <a:gd name="T17" fmla="*/ 373 h 1309"/>
                <a:gd name="T18" fmla="*/ 959 w 1309"/>
                <a:gd name="T19" fmla="*/ 237 h 1309"/>
                <a:gd name="T20" fmla="*/ 929 w 1309"/>
                <a:gd name="T21" fmla="*/ 221 h 1309"/>
                <a:gd name="T22" fmla="*/ 762 w 1309"/>
                <a:gd name="T23" fmla="*/ 153 h 1309"/>
                <a:gd name="T24" fmla="*/ 575 w 1309"/>
                <a:gd name="T25" fmla="*/ 143 h 1309"/>
                <a:gd name="T26" fmla="*/ 533 w 1309"/>
                <a:gd name="T27" fmla="*/ 152 h 1309"/>
                <a:gd name="T28" fmla="*/ 370 w 1309"/>
                <a:gd name="T29" fmla="*/ 228 h 1309"/>
                <a:gd name="T30" fmla="*/ 236 w 1309"/>
                <a:gd name="T31" fmla="*/ 350 h 1309"/>
                <a:gd name="T32" fmla="*/ 219 w 1309"/>
                <a:gd name="T33" fmla="*/ 384 h 1309"/>
                <a:gd name="T34" fmla="*/ 153 w 1309"/>
                <a:gd name="T35" fmla="*/ 555 h 1309"/>
                <a:gd name="T36" fmla="*/ 150 w 1309"/>
                <a:gd name="T37" fmla="*/ 743 h 1309"/>
                <a:gd name="T38" fmla="*/ 213 w 1309"/>
                <a:gd name="T39" fmla="*/ 919 h 1309"/>
                <a:gd name="T40" fmla="*/ 235 w 1309"/>
                <a:gd name="T41" fmla="*/ 948 h 1309"/>
                <a:gd name="T42" fmla="*/ 369 w 1309"/>
                <a:gd name="T43" fmla="*/ 1078 h 1309"/>
                <a:gd name="T44" fmla="*/ 428 w 1309"/>
                <a:gd name="T45" fmla="*/ 1201 h 1309"/>
                <a:gd name="T46" fmla="*/ 649 w 1309"/>
                <a:gd name="T47" fmla="*/ 1309 h 1309"/>
                <a:gd name="T48" fmla="*/ 423 w 1309"/>
                <a:gd name="T49" fmla="*/ 1259 h 1309"/>
                <a:gd name="T50" fmla="*/ 399 w 1309"/>
                <a:gd name="T51" fmla="*/ 1256 h 1309"/>
                <a:gd name="T52" fmla="*/ 210 w 1309"/>
                <a:gd name="T53" fmla="*/ 1125 h 1309"/>
                <a:gd name="T54" fmla="*/ 189 w 1309"/>
                <a:gd name="T55" fmla="*/ 1114 h 1309"/>
                <a:gd name="T56" fmla="*/ 60 w 1309"/>
                <a:gd name="T57" fmla="*/ 911 h 1309"/>
                <a:gd name="T58" fmla="*/ 45 w 1309"/>
                <a:gd name="T59" fmla="*/ 892 h 1309"/>
                <a:gd name="T60" fmla="*/ 7 w 1309"/>
                <a:gd name="T61" fmla="*/ 673 h 1309"/>
                <a:gd name="T62" fmla="*/ 0 w 1309"/>
                <a:gd name="T63" fmla="*/ 650 h 1309"/>
                <a:gd name="T64" fmla="*/ 48 w 1309"/>
                <a:gd name="T65" fmla="*/ 431 h 1309"/>
                <a:gd name="T66" fmla="*/ 50 w 1309"/>
                <a:gd name="T67" fmla="*/ 405 h 1309"/>
                <a:gd name="T68" fmla="*/ 184 w 1309"/>
                <a:gd name="T69" fmla="*/ 343 h 1309"/>
                <a:gd name="T70" fmla="*/ 189 w 1309"/>
                <a:gd name="T71" fmla="*/ 196 h 1309"/>
                <a:gd name="T72" fmla="*/ 210 w 1309"/>
                <a:gd name="T73" fmla="*/ 185 h 1309"/>
                <a:gd name="T74" fmla="*/ 399 w 1309"/>
                <a:gd name="T75" fmla="*/ 52 h 1309"/>
                <a:gd name="T76" fmla="*/ 423 w 1309"/>
                <a:gd name="T77" fmla="*/ 49 h 1309"/>
                <a:gd name="T78" fmla="*/ 649 w 1309"/>
                <a:gd name="T79" fmla="*/ 0 h 1309"/>
                <a:gd name="T80" fmla="*/ 672 w 1309"/>
                <a:gd name="T81" fmla="*/ 8 h 1309"/>
                <a:gd name="T82" fmla="*/ 901 w 1309"/>
                <a:gd name="T83" fmla="*/ 49 h 1309"/>
                <a:gd name="T84" fmla="*/ 920 w 1309"/>
                <a:gd name="T85" fmla="*/ 64 h 1309"/>
                <a:gd name="T86" fmla="*/ 1113 w 1309"/>
                <a:gd name="T87" fmla="*/ 189 h 1309"/>
                <a:gd name="T88" fmla="*/ 1125 w 1309"/>
                <a:gd name="T89" fmla="*/ 211 h 1309"/>
                <a:gd name="T90" fmla="*/ 1254 w 1309"/>
                <a:gd name="T91" fmla="*/ 401 h 1309"/>
                <a:gd name="T92" fmla="*/ 1264 w 1309"/>
                <a:gd name="T93" fmla="*/ 424 h 1309"/>
                <a:gd name="T94" fmla="*/ 1305 w 1309"/>
                <a:gd name="T95" fmla="*/ 640 h 1309"/>
                <a:gd name="T96" fmla="*/ 1308 w 1309"/>
                <a:gd name="T97" fmla="*/ 664 h 1309"/>
                <a:gd name="T98" fmla="*/ 1263 w 1309"/>
                <a:gd name="T99" fmla="*/ 885 h 1309"/>
                <a:gd name="T100" fmla="*/ 1257 w 1309"/>
                <a:gd name="T101" fmla="*/ 908 h 1309"/>
                <a:gd name="T102" fmla="*/ 1125 w 1309"/>
                <a:gd name="T103" fmla="*/ 1105 h 1309"/>
                <a:gd name="T104" fmla="*/ 1109 w 1309"/>
                <a:gd name="T105" fmla="*/ 1124 h 1309"/>
                <a:gd name="T106" fmla="*/ 917 w 1309"/>
                <a:gd name="T107" fmla="*/ 1250 h 1309"/>
                <a:gd name="T108" fmla="*/ 896 w 1309"/>
                <a:gd name="T109" fmla="*/ 1262 h 1309"/>
                <a:gd name="T110" fmla="*/ 670 w 1309"/>
                <a:gd name="T111" fmla="*/ 1305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9" h="1309">
                  <a:moveTo>
                    <a:pt x="547" y="1154"/>
                  </a:moveTo>
                  <a:lnTo>
                    <a:pt x="550" y="1154"/>
                  </a:lnTo>
                  <a:lnTo>
                    <a:pt x="552" y="1154"/>
                  </a:lnTo>
                  <a:lnTo>
                    <a:pt x="554" y="1155"/>
                  </a:lnTo>
                  <a:lnTo>
                    <a:pt x="557" y="1155"/>
                  </a:lnTo>
                  <a:lnTo>
                    <a:pt x="564" y="1158"/>
                  </a:lnTo>
                  <a:lnTo>
                    <a:pt x="570" y="1163"/>
                  </a:lnTo>
                  <a:lnTo>
                    <a:pt x="655" y="1246"/>
                  </a:lnTo>
                  <a:lnTo>
                    <a:pt x="739" y="1163"/>
                  </a:lnTo>
                  <a:lnTo>
                    <a:pt x="744" y="1158"/>
                  </a:lnTo>
                  <a:lnTo>
                    <a:pt x="752" y="1155"/>
                  </a:lnTo>
                  <a:lnTo>
                    <a:pt x="762" y="1154"/>
                  </a:lnTo>
                  <a:lnTo>
                    <a:pt x="772" y="1155"/>
                  </a:lnTo>
                  <a:lnTo>
                    <a:pt x="881" y="1201"/>
                  </a:lnTo>
                  <a:lnTo>
                    <a:pt x="926" y="1092"/>
                  </a:lnTo>
                  <a:lnTo>
                    <a:pt x="930" y="1085"/>
                  </a:lnTo>
                  <a:lnTo>
                    <a:pt x="936" y="1080"/>
                  </a:lnTo>
                  <a:lnTo>
                    <a:pt x="937" y="1079"/>
                  </a:lnTo>
                  <a:lnTo>
                    <a:pt x="939" y="1079"/>
                  </a:lnTo>
                  <a:lnTo>
                    <a:pt x="946" y="1075"/>
                  </a:lnTo>
                  <a:lnTo>
                    <a:pt x="955" y="1073"/>
                  </a:lnTo>
                  <a:lnTo>
                    <a:pt x="1073" y="1073"/>
                  </a:lnTo>
                  <a:lnTo>
                    <a:pt x="1073" y="955"/>
                  </a:lnTo>
                  <a:lnTo>
                    <a:pt x="1074" y="948"/>
                  </a:lnTo>
                  <a:lnTo>
                    <a:pt x="1077" y="941"/>
                  </a:lnTo>
                  <a:lnTo>
                    <a:pt x="1083" y="934"/>
                  </a:lnTo>
                  <a:lnTo>
                    <a:pt x="1089" y="926"/>
                  </a:lnTo>
                  <a:lnTo>
                    <a:pt x="1096" y="922"/>
                  </a:lnTo>
                  <a:lnTo>
                    <a:pt x="1204" y="876"/>
                  </a:lnTo>
                  <a:lnTo>
                    <a:pt x="1158" y="768"/>
                  </a:lnTo>
                  <a:lnTo>
                    <a:pt x="1156" y="761"/>
                  </a:lnTo>
                  <a:lnTo>
                    <a:pt x="1156" y="754"/>
                  </a:lnTo>
                  <a:lnTo>
                    <a:pt x="1159" y="745"/>
                  </a:lnTo>
                  <a:lnTo>
                    <a:pt x="1164" y="738"/>
                  </a:lnTo>
                  <a:lnTo>
                    <a:pt x="1246" y="654"/>
                  </a:lnTo>
                  <a:lnTo>
                    <a:pt x="1165" y="574"/>
                  </a:lnTo>
                  <a:lnTo>
                    <a:pt x="1159" y="566"/>
                  </a:lnTo>
                  <a:lnTo>
                    <a:pt x="1158" y="559"/>
                  </a:lnTo>
                  <a:lnTo>
                    <a:pt x="1156" y="551"/>
                  </a:lnTo>
                  <a:lnTo>
                    <a:pt x="1159" y="542"/>
                  </a:lnTo>
                  <a:lnTo>
                    <a:pt x="1204" y="437"/>
                  </a:lnTo>
                  <a:lnTo>
                    <a:pt x="1099" y="391"/>
                  </a:lnTo>
                  <a:lnTo>
                    <a:pt x="1093" y="386"/>
                  </a:lnTo>
                  <a:lnTo>
                    <a:pt x="1087" y="381"/>
                  </a:lnTo>
                  <a:lnTo>
                    <a:pt x="1083" y="373"/>
                  </a:lnTo>
                  <a:lnTo>
                    <a:pt x="1077" y="366"/>
                  </a:lnTo>
                  <a:lnTo>
                    <a:pt x="1074" y="359"/>
                  </a:lnTo>
                  <a:lnTo>
                    <a:pt x="1073" y="350"/>
                  </a:lnTo>
                  <a:lnTo>
                    <a:pt x="1073" y="237"/>
                  </a:lnTo>
                  <a:lnTo>
                    <a:pt x="959" y="237"/>
                  </a:lnTo>
                  <a:lnTo>
                    <a:pt x="952" y="235"/>
                  </a:lnTo>
                  <a:lnTo>
                    <a:pt x="945" y="232"/>
                  </a:lnTo>
                  <a:lnTo>
                    <a:pt x="939" y="228"/>
                  </a:lnTo>
                  <a:lnTo>
                    <a:pt x="935" y="225"/>
                  </a:lnTo>
                  <a:lnTo>
                    <a:pt x="929" y="221"/>
                  </a:lnTo>
                  <a:lnTo>
                    <a:pt x="926" y="214"/>
                  </a:lnTo>
                  <a:lnTo>
                    <a:pt x="881" y="108"/>
                  </a:lnTo>
                  <a:lnTo>
                    <a:pt x="776" y="152"/>
                  </a:lnTo>
                  <a:lnTo>
                    <a:pt x="769" y="153"/>
                  </a:lnTo>
                  <a:lnTo>
                    <a:pt x="762" y="153"/>
                  </a:lnTo>
                  <a:lnTo>
                    <a:pt x="750" y="150"/>
                  </a:lnTo>
                  <a:lnTo>
                    <a:pt x="742" y="149"/>
                  </a:lnTo>
                  <a:lnTo>
                    <a:pt x="734" y="143"/>
                  </a:lnTo>
                  <a:lnTo>
                    <a:pt x="655" y="64"/>
                  </a:lnTo>
                  <a:lnTo>
                    <a:pt x="575" y="143"/>
                  </a:lnTo>
                  <a:lnTo>
                    <a:pt x="567" y="149"/>
                  </a:lnTo>
                  <a:lnTo>
                    <a:pt x="560" y="150"/>
                  </a:lnTo>
                  <a:lnTo>
                    <a:pt x="549" y="153"/>
                  </a:lnTo>
                  <a:lnTo>
                    <a:pt x="540" y="153"/>
                  </a:lnTo>
                  <a:lnTo>
                    <a:pt x="533" y="152"/>
                  </a:lnTo>
                  <a:lnTo>
                    <a:pt x="428" y="108"/>
                  </a:lnTo>
                  <a:lnTo>
                    <a:pt x="384" y="214"/>
                  </a:lnTo>
                  <a:lnTo>
                    <a:pt x="380" y="221"/>
                  </a:lnTo>
                  <a:lnTo>
                    <a:pt x="374" y="225"/>
                  </a:lnTo>
                  <a:lnTo>
                    <a:pt x="370" y="228"/>
                  </a:lnTo>
                  <a:lnTo>
                    <a:pt x="366" y="232"/>
                  </a:lnTo>
                  <a:lnTo>
                    <a:pt x="359" y="235"/>
                  </a:lnTo>
                  <a:lnTo>
                    <a:pt x="350" y="237"/>
                  </a:lnTo>
                  <a:lnTo>
                    <a:pt x="236" y="237"/>
                  </a:lnTo>
                  <a:lnTo>
                    <a:pt x="236" y="350"/>
                  </a:lnTo>
                  <a:lnTo>
                    <a:pt x="235" y="359"/>
                  </a:lnTo>
                  <a:lnTo>
                    <a:pt x="232" y="366"/>
                  </a:lnTo>
                  <a:lnTo>
                    <a:pt x="228" y="372"/>
                  </a:lnTo>
                  <a:lnTo>
                    <a:pt x="225" y="376"/>
                  </a:lnTo>
                  <a:lnTo>
                    <a:pt x="219" y="384"/>
                  </a:lnTo>
                  <a:lnTo>
                    <a:pt x="212" y="389"/>
                  </a:lnTo>
                  <a:lnTo>
                    <a:pt x="105" y="434"/>
                  </a:lnTo>
                  <a:lnTo>
                    <a:pt x="151" y="540"/>
                  </a:lnTo>
                  <a:lnTo>
                    <a:pt x="153" y="548"/>
                  </a:lnTo>
                  <a:lnTo>
                    <a:pt x="153" y="555"/>
                  </a:lnTo>
                  <a:lnTo>
                    <a:pt x="150" y="565"/>
                  </a:lnTo>
                  <a:lnTo>
                    <a:pt x="145" y="574"/>
                  </a:lnTo>
                  <a:lnTo>
                    <a:pt x="63" y="654"/>
                  </a:lnTo>
                  <a:lnTo>
                    <a:pt x="145" y="738"/>
                  </a:lnTo>
                  <a:lnTo>
                    <a:pt x="150" y="743"/>
                  </a:lnTo>
                  <a:lnTo>
                    <a:pt x="153" y="751"/>
                  </a:lnTo>
                  <a:lnTo>
                    <a:pt x="153" y="759"/>
                  </a:lnTo>
                  <a:lnTo>
                    <a:pt x="151" y="767"/>
                  </a:lnTo>
                  <a:lnTo>
                    <a:pt x="105" y="873"/>
                  </a:lnTo>
                  <a:lnTo>
                    <a:pt x="213" y="919"/>
                  </a:lnTo>
                  <a:lnTo>
                    <a:pt x="219" y="923"/>
                  </a:lnTo>
                  <a:lnTo>
                    <a:pt x="225" y="929"/>
                  </a:lnTo>
                  <a:lnTo>
                    <a:pt x="229" y="936"/>
                  </a:lnTo>
                  <a:lnTo>
                    <a:pt x="232" y="941"/>
                  </a:lnTo>
                  <a:lnTo>
                    <a:pt x="235" y="948"/>
                  </a:lnTo>
                  <a:lnTo>
                    <a:pt x="236" y="955"/>
                  </a:lnTo>
                  <a:lnTo>
                    <a:pt x="236" y="1073"/>
                  </a:lnTo>
                  <a:lnTo>
                    <a:pt x="354" y="1073"/>
                  </a:lnTo>
                  <a:lnTo>
                    <a:pt x="361" y="1075"/>
                  </a:lnTo>
                  <a:lnTo>
                    <a:pt x="369" y="1078"/>
                  </a:lnTo>
                  <a:lnTo>
                    <a:pt x="370" y="1079"/>
                  </a:lnTo>
                  <a:lnTo>
                    <a:pt x="373" y="1080"/>
                  </a:lnTo>
                  <a:lnTo>
                    <a:pt x="379" y="1085"/>
                  </a:lnTo>
                  <a:lnTo>
                    <a:pt x="383" y="1092"/>
                  </a:lnTo>
                  <a:lnTo>
                    <a:pt x="428" y="1201"/>
                  </a:lnTo>
                  <a:lnTo>
                    <a:pt x="537" y="1155"/>
                  </a:lnTo>
                  <a:lnTo>
                    <a:pt x="541" y="1154"/>
                  </a:lnTo>
                  <a:lnTo>
                    <a:pt x="547" y="1154"/>
                  </a:lnTo>
                  <a:close/>
                  <a:moveTo>
                    <a:pt x="655" y="1309"/>
                  </a:moveTo>
                  <a:lnTo>
                    <a:pt x="649" y="1309"/>
                  </a:lnTo>
                  <a:lnTo>
                    <a:pt x="645" y="1308"/>
                  </a:lnTo>
                  <a:lnTo>
                    <a:pt x="641" y="1305"/>
                  </a:lnTo>
                  <a:lnTo>
                    <a:pt x="636" y="1302"/>
                  </a:lnTo>
                  <a:lnTo>
                    <a:pt x="544" y="1210"/>
                  </a:lnTo>
                  <a:lnTo>
                    <a:pt x="423" y="1259"/>
                  </a:lnTo>
                  <a:lnTo>
                    <a:pt x="419" y="1260"/>
                  </a:lnTo>
                  <a:lnTo>
                    <a:pt x="413" y="1262"/>
                  </a:lnTo>
                  <a:lnTo>
                    <a:pt x="409" y="1260"/>
                  </a:lnTo>
                  <a:lnTo>
                    <a:pt x="403" y="1259"/>
                  </a:lnTo>
                  <a:lnTo>
                    <a:pt x="399" y="1256"/>
                  </a:lnTo>
                  <a:lnTo>
                    <a:pt x="395" y="1253"/>
                  </a:lnTo>
                  <a:lnTo>
                    <a:pt x="392" y="1249"/>
                  </a:lnTo>
                  <a:lnTo>
                    <a:pt x="389" y="1245"/>
                  </a:lnTo>
                  <a:lnTo>
                    <a:pt x="340" y="1125"/>
                  </a:lnTo>
                  <a:lnTo>
                    <a:pt x="210" y="1125"/>
                  </a:lnTo>
                  <a:lnTo>
                    <a:pt x="204" y="1125"/>
                  </a:lnTo>
                  <a:lnTo>
                    <a:pt x="200" y="1124"/>
                  </a:lnTo>
                  <a:lnTo>
                    <a:pt x="196" y="1121"/>
                  </a:lnTo>
                  <a:lnTo>
                    <a:pt x="192" y="1118"/>
                  </a:lnTo>
                  <a:lnTo>
                    <a:pt x="189" y="1114"/>
                  </a:lnTo>
                  <a:lnTo>
                    <a:pt x="186" y="1109"/>
                  </a:lnTo>
                  <a:lnTo>
                    <a:pt x="184" y="1105"/>
                  </a:lnTo>
                  <a:lnTo>
                    <a:pt x="184" y="1099"/>
                  </a:lnTo>
                  <a:lnTo>
                    <a:pt x="184" y="964"/>
                  </a:lnTo>
                  <a:lnTo>
                    <a:pt x="60" y="911"/>
                  </a:lnTo>
                  <a:lnTo>
                    <a:pt x="56" y="908"/>
                  </a:lnTo>
                  <a:lnTo>
                    <a:pt x="52" y="905"/>
                  </a:lnTo>
                  <a:lnTo>
                    <a:pt x="49" y="900"/>
                  </a:lnTo>
                  <a:lnTo>
                    <a:pt x="46" y="896"/>
                  </a:lnTo>
                  <a:lnTo>
                    <a:pt x="45" y="892"/>
                  </a:lnTo>
                  <a:lnTo>
                    <a:pt x="45" y="886"/>
                  </a:lnTo>
                  <a:lnTo>
                    <a:pt x="45" y="882"/>
                  </a:lnTo>
                  <a:lnTo>
                    <a:pt x="46" y="876"/>
                  </a:lnTo>
                  <a:lnTo>
                    <a:pt x="96" y="762"/>
                  </a:lnTo>
                  <a:lnTo>
                    <a:pt x="7" y="673"/>
                  </a:lnTo>
                  <a:lnTo>
                    <a:pt x="4" y="669"/>
                  </a:lnTo>
                  <a:lnTo>
                    <a:pt x="1" y="664"/>
                  </a:lnTo>
                  <a:lnTo>
                    <a:pt x="0" y="660"/>
                  </a:lnTo>
                  <a:lnTo>
                    <a:pt x="0" y="654"/>
                  </a:lnTo>
                  <a:lnTo>
                    <a:pt x="0" y="650"/>
                  </a:lnTo>
                  <a:lnTo>
                    <a:pt x="1" y="646"/>
                  </a:lnTo>
                  <a:lnTo>
                    <a:pt x="4" y="640"/>
                  </a:lnTo>
                  <a:lnTo>
                    <a:pt x="7" y="637"/>
                  </a:lnTo>
                  <a:lnTo>
                    <a:pt x="96" y="546"/>
                  </a:lnTo>
                  <a:lnTo>
                    <a:pt x="48" y="431"/>
                  </a:lnTo>
                  <a:lnTo>
                    <a:pt x="46" y="425"/>
                  </a:lnTo>
                  <a:lnTo>
                    <a:pt x="46" y="421"/>
                  </a:lnTo>
                  <a:lnTo>
                    <a:pt x="46" y="415"/>
                  </a:lnTo>
                  <a:lnTo>
                    <a:pt x="48" y="411"/>
                  </a:lnTo>
                  <a:lnTo>
                    <a:pt x="50" y="405"/>
                  </a:lnTo>
                  <a:lnTo>
                    <a:pt x="53" y="402"/>
                  </a:lnTo>
                  <a:lnTo>
                    <a:pt x="56" y="398"/>
                  </a:lnTo>
                  <a:lnTo>
                    <a:pt x="62" y="396"/>
                  </a:lnTo>
                  <a:lnTo>
                    <a:pt x="183" y="345"/>
                  </a:lnTo>
                  <a:lnTo>
                    <a:pt x="184" y="343"/>
                  </a:lnTo>
                  <a:lnTo>
                    <a:pt x="184" y="343"/>
                  </a:lnTo>
                  <a:lnTo>
                    <a:pt x="184" y="211"/>
                  </a:lnTo>
                  <a:lnTo>
                    <a:pt x="184" y="205"/>
                  </a:lnTo>
                  <a:lnTo>
                    <a:pt x="186" y="201"/>
                  </a:lnTo>
                  <a:lnTo>
                    <a:pt x="189" y="196"/>
                  </a:lnTo>
                  <a:lnTo>
                    <a:pt x="192" y="192"/>
                  </a:lnTo>
                  <a:lnTo>
                    <a:pt x="196" y="189"/>
                  </a:lnTo>
                  <a:lnTo>
                    <a:pt x="200" y="186"/>
                  </a:lnTo>
                  <a:lnTo>
                    <a:pt x="204" y="185"/>
                  </a:lnTo>
                  <a:lnTo>
                    <a:pt x="210" y="185"/>
                  </a:lnTo>
                  <a:lnTo>
                    <a:pt x="340" y="185"/>
                  </a:lnTo>
                  <a:lnTo>
                    <a:pt x="390" y="64"/>
                  </a:lnTo>
                  <a:lnTo>
                    <a:pt x="392" y="60"/>
                  </a:lnTo>
                  <a:lnTo>
                    <a:pt x="396" y="55"/>
                  </a:lnTo>
                  <a:lnTo>
                    <a:pt x="399" y="52"/>
                  </a:lnTo>
                  <a:lnTo>
                    <a:pt x="403" y="49"/>
                  </a:lnTo>
                  <a:lnTo>
                    <a:pt x="409" y="48"/>
                  </a:lnTo>
                  <a:lnTo>
                    <a:pt x="413" y="48"/>
                  </a:lnTo>
                  <a:lnTo>
                    <a:pt x="419" y="48"/>
                  </a:lnTo>
                  <a:lnTo>
                    <a:pt x="423" y="49"/>
                  </a:lnTo>
                  <a:lnTo>
                    <a:pt x="544" y="100"/>
                  </a:lnTo>
                  <a:lnTo>
                    <a:pt x="636" y="8"/>
                  </a:lnTo>
                  <a:lnTo>
                    <a:pt x="641" y="5"/>
                  </a:lnTo>
                  <a:lnTo>
                    <a:pt x="645" y="2"/>
                  </a:lnTo>
                  <a:lnTo>
                    <a:pt x="649" y="0"/>
                  </a:lnTo>
                  <a:lnTo>
                    <a:pt x="655" y="0"/>
                  </a:lnTo>
                  <a:lnTo>
                    <a:pt x="660" y="0"/>
                  </a:lnTo>
                  <a:lnTo>
                    <a:pt x="664" y="2"/>
                  </a:lnTo>
                  <a:lnTo>
                    <a:pt x="670" y="5"/>
                  </a:lnTo>
                  <a:lnTo>
                    <a:pt x="672" y="8"/>
                  </a:lnTo>
                  <a:lnTo>
                    <a:pt x="766" y="100"/>
                  </a:lnTo>
                  <a:lnTo>
                    <a:pt x="886" y="51"/>
                  </a:lnTo>
                  <a:lnTo>
                    <a:pt x="891" y="48"/>
                  </a:lnTo>
                  <a:lnTo>
                    <a:pt x="896" y="48"/>
                  </a:lnTo>
                  <a:lnTo>
                    <a:pt x="901" y="49"/>
                  </a:lnTo>
                  <a:lnTo>
                    <a:pt x="906" y="51"/>
                  </a:lnTo>
                  <a:lnTo>
                    <a:pt x="910" y="52"/>
                  </a:lnTo>
                  <a:lnTo>
                    <a:pt x="914" y="55"/>
                  </a:lnTo>
                  <a:lnTo>
                    <a:pt x="917" y="60"/>
                  </a:lnTo>
                  <a:lnTo>
                    <a:pt x="920" y="64"/>
                  </a:lnTo>
                  <a:lnTo>
                    <a:pt x="969" y="185"/>
                  </a:lnTo>
                  <a:lnTo>
                    <a:pt x="1099" y="185"/>
                  </a:lnTo>
                  <a:lnTo>
                    <a:pt x="1104" y="185"/>
                  </a:lnTo>
                  <a:lnTo>
                    <a:pt x="1109" y="186"/>
                  </a:lnTo>
                  <a:lnTo>
                    <a:pt x="1113" y="189"/>
                  </a:lnTo>
                  <a:lnTo>
                    <a:pt x="1117" y="192"/>
                  </a:lnTo>
                  <a:lnTo>
                    <a:pt x="1120" y="196"/>
                  </a:lnTo>
                  <a:lnTo>
                    <a:pt x="1123" y="201"/>
                  </a:lnTo>
                  <a:lnTo>
                    <a:pt x="1125" y="205"/>
                  </a:lnTo>
                  <a:lnTo>
                    <a:pt x="1125" y="211"/>
                  </a:lnTo>
                  <a:lnTo>
                    <a:pt x="1125" y="343"/>
                  </a:lnTo>
                  <a:lnTo>
                    <a:pt x="1126" y="345"/>
                  </a:lnTo>
                  <a:lnTo>
                    <a:pt x="1128" y="346"/>
                  </a:lnTo>
                  <a:lnTo>
                    <a:pt x="1248" y="399"/>
                  </a:lnTo>
                  <a:lnTo>
                    <a:pt x="1254" y="401"/>
                  </a:lnTo>
                  <a:lnTo>
                    <a:pt x="1257" y="405"/>
                  </a:lnTo>
                  <a:lnTo>
                    <a:pt x="1261" y="408"/>
                  </a:lnTo>
                  <a:lnTo>
                    <a:pt x="1263" y="414"/>
                  </a:lnTo>
                  <a:lnTo>
                    <a:pt x="1264" y="418"/>
                  </a:lnTo>
                  <a:lnTo>
                    <a:pt x="1264" y="424"/>
                  </a:lnTo>
                  <a:lnTo>
                    <a:pt x="1264" y="428"/>
                  </a:lnTo>
                  <a:lnTo>
                    <a:pt x="1263" y="432"/>
                  </a:lnTo>
                  <a:lnTo>
                    <a:pt x="1214" y="548"/>
                  </a:lnTo>
                  <a:lnTo>
                    <a:pt x="1302" y="637"/>
                  </a:lnTo>
                  <a:lnTo>
                    <a:pt x="1305" y="640"/>
                  </a:lnTo>
                  <a:lnTo>
                    <a:pt x="1308" y="646"/>
                  </a:lnTo>
                  <a:lnTo>
                    <a:pt x="1309" y="650"/>
                  </a:lnTo>
                  <a:lnTo>
                    <a:pt x="1309" y="654"/>
                  </a:lnTo>
                  <a:lnTo>
                    <a:pt x="1309" y="660"/>
                  </a:lnTo>
                  <a:lnTo>
                    <a:pt x="1308" y="664"/>
                  </a:lnTo>
                  <a:lnTo>
                    <a:pt x="1305" y="669"/>
                  </a:lnTo>
                  <a:lnTo>
                    <a:pt x="1302" y="673"/>
                  </a:lnTo>
                  <a:lnTo>
                    <a:pt x="1212" y="762"/>
                  </a:lnTo>
                  <a:lnTo>
                    <a:pt x="1261" y="879"/>
                  </a:lnTo>
                  <a:lnTo>
                    <a:pt x="1263" y="885"/>
                  </a:lnTo>
                  <a:lnTo>
                    <a:pt x="1264" y="889"/>
                  </a:lnTo>
                  <a:lnTo>
                    <a:pt x="1263" y="895"/>
                  </a:lnTo>
                  <a:lnTo>
                    <a:pt x="1261" y="899"/>
                  </a:lnTo>
                  <a:lnTo>
                    <a:pt x="1260" y="903"/>
                  </a:lnTo>
                  <a:lnTo>
                    <a:pt x="1257" y="908"/>
                  </a:lnTo>
                  <a:lnTo>
                    <a:pt x="1253" y="911"/>
                  </a:lnTo>
                  <a:lnTo>
                    <a:pt x="1248" y="913"/>
                  </a:lnTo>
                  <a:lnTo>
                    <a:pt x="1125" y="965"/>
                  </a:lnTo>
                  <a:lnTo>
                    <a:pt x="1125" y="1099"/>
                  </a:lnTo>
                  <a:lnTo>
                    <a:pt x="1125" y="1105"/>
                  </a:lnTo>
                  <a:lnTo>
                    <a:pt x="1123" y="1109"/>
                  </a:lnTo>
                  <a:lnTo>
                    <a:pt x="1120" y="1114"/>
                  </a:lnTo>
                  <a:lnTo>
                    <a:pt x="1117" y="1118"/>
                  </a:lnTo>
                  <a:lnTo>
                    <a:pt x="1113" y="1121"/>
                  </a:lnTo>
                  <a:lnTo>
                    <a:pt x="1109" y="1124"/>
                  </a:lnTo>
                  <a:lnTo>
                    <a:pt x="1104" y="1125"/>
                  </a:lnTo>
                  <a:lnTo>
                    <a:pt x="1099" y="1125"/>
                  </a:lnTo>
                  <a:lnTo>
                    <a:pt x="969" y="1125"/>
                  </a:lnTo>
                  <a:lnTo>
                    <a:pt x="920" y="1245"/>
                  </a:lnTo>
                  <a:lnTo>
                    <a:pt x="917" y="1250"/>
                  </a:lnTo>
                  <a:lnTo>
                    <a:pt x="914" y="1253"/>
                  </a:lnTo>
                  <a:lnTo>
                    <a:pt x="910" y="1258"/>
                  </a:lnTo>
                  <a:lnTo>
                    <a:pt x="906" y="1259"/>
                  </a:lnTo>
                  <a:lnTo>
                    <a:pt x="900" y="1260"/>
                  </a:lnTo>
                  <a:lnTo>
                    <a:pt x="896" y="1262"/>
                  </a:lnTo>
                  <a:lnTo>
                    <a:pt x="890" y="1260"/>
                  </a:lnTo>
                  <a:lnTo>
                    <a:pt x="886" y="1259"/>
                  </a:lnTo>
                  <a:lnTo>
                    <a:pt x="765" y="1210"/>
                  </a:lnTo>
                  <a:lnTo>
                    <a:pt x="672" y="1302"/>
                  </a:lnTo>
                  <a:lnTo>
                    <a:pt x="670" y="1305"/>
                  </a:lnTo>
                  <a:lnTo>
                    <a:pt x="664" y="1308"/>
                  </a:lnTo>
                  <a:lnTo>
                    <a:pt x="660" y="1309"/>
                  </a:lnTo>
                  <a:lnTo>
                    <a:pt x="655" y="1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153">
              <a:extLst>
                <a:ext uri="{FF2B5EF4-FFF2-40B4-BE49-F238E27FC236}">
                  <a16:creationId xmlns:a16="http://schemas.microsoft.com/office/drawing/2014/main" id="{683CFF44-D051-422F-BA15-38A5D572C6E8}"/>
                </a:ext>
              </a:extLst>
            </p:cNvPr>
            <p:cNvSpPr>
              <a:spLocks noEditPoints="1"/>
            </p:cNvSpPr>
            <p:nvPr/>
          </p:nvSpPr>
          <p:spPr bwMode="auto">
            <a:xfrm>
              <a:off x="111125" y="3665538"/>
              <a:ext cx="471488" cy="471488"/>
            </a:xfrm>
            <a:custGeom>
              <a:avLst/>
              <a:gdLst>
                <a:gd name="T0" fmla="*/ 367 w 891"/>
                <a:gd name="T1" fmla="*/ 60 h 891"/>
                <a:gd name="T2" fmla="*/ 275 w 891"/>
                <a:gd name="T3" fmla="*/ 91 h 891"/>
                <a:gd name="T4" fmla="*/ 196 w 891"/>
                <a:gd name="T5" fmla="*/ 142 h 891"/>
                <a:gd name="T6" fmla="*/ 131 w 891"/>
                <a:gd name="T7" fmla="*/ 210 h 891"/>
                <a:gd name="T8" fmla="*/ 83 w 891"/>
                <a:gd name="T9" fmla="*/ 292 h 891"/>
                <a:gd name="T10" fmla="*/ 56 w 891"/>
                <a:gd name="T11" fmla="*/ 386 h 891"/>
                <a:gd name="T12" fmla="*/ 55 w 891"/>
                <a:gd name="T13" fmla="*/ 485 h 891"/>
                <a:gd name="T14" fmla="*/ 76 w 891"/>
                <a:gd name="T15" fmla="*/ 580 h 891"/>
                <a:gd name="T16" fmla="*/ 119 w 891"/>
                <a:gd name="T17" fmla="*/ 665 h 891"/>
                <a:gd name="T18" fmla="*/ 181 w 891"/>
                <a:gd name="T19" fmla="*/ 737 h 891"/>
                <a:gd name="T20" fmla="*/ 258 w 891"/>
                <a:gd name="T21" fmla="*/ 792 h 891"/>
                <a:gd name="T22" fmla="*/ 347 w 891"/>
                <a:gd name="T23" fmla="*/ 826 h 891"/>
                <a:gd name="T24" fmla="*/ 446 w 891"/>
                <a:gd name="T25" fmla="*/ 839 h 891"/>
                <a:gd name="T26" fmla="*/ 544 w 891"/>
                <a:gd name="T27" fmla="*/ 826 h 891"/>
                <a:gd name="T28" fmla="*/ 633 w 891"/>
                <a:gd name="T29" fmla="*/ 792 h 891"/>
                <a:gd name="T30" fmla="*/ 710 w 891"/>
                <a:gd name="T31" fmla="*/ 737 h 891"/>
                <a:gd name="T32" fmla="*/ 772 w 891"/>
                <a:gd name="T33" fmla="*/ 665 h 891"/>
                <a:gd name="T34" fmla="*/ 815 w 891"/>
                <a:gd name="T35" fmla="*/ 580 h 891"/>
                <a:gd name="T36" fmla="*/ 838 w 891"/>
                <a:gd name="T37" fmla="*/ 485 h 891"/>
                <a:gd name="T38" fmla="*/ 835 w 891"/>
                <a:gd name="T39" fmla="*/ 386 h 891"/>
                <a:gd name="T40" fmla="*/ 808 w 891"/>
                <a:gd name="T41" fmla="*/ 292 h 891"/>
                <a:gd name="T42" fmla="*/ 762 w 891"/>
                <a:gd name="T43" fmla="*/ 210 h 891"/>
                <a:gd name="T44" fmla="*/ 695 w 891"/>
                <a:gd name="T45" fmla="*/ 142 h 891"/>
                <a:gd name="T46" fmla="*/ 616 w 891"/>
                <a:gd name="T47" fmla="*/ 91 h 891"/>
                <a:gd name="T48" fmla="*/ 525 w 891"/>
                <a:gd name="T49" fmla="*/ 60 h 891"/>
                <a:gd name="T50" fmla="*/ 446 w 891"/>
                <a:gd name="T51" fmla="*/ 891 h 891"/>
                <a:gd name="T52" fmla="*/ 334 w 891"/>
                <a:gd name="T53" fmla="*/ 877 h 891"/>
                <a:gd name="T54" fmla="*/ 233 w 891"/>
                <a:gd name="T55" fmla="*/ 838 h 891"/>
                <a:gd name="T56" fmla="*/ 147 w 891"/>
                <a:gd name="T57" fmla="*/ 775 h 891"/>
                <a:gd name="T58" fmla="*/ 76 w 891"/>
                <a:gd name="T59" fmla="*/ 694 h 891"/>
                <a:gd name="T60" fmla="*/ 27 w 891"/>
                <a:gd name="T61" fmla="*/ 599 h 891"/>
                <a:gd name="T62" fmla="*/ 3 w 891"/>
                <a:gd name="T63" fmla="*/ 491 h 891"/>
                <a:gd name="T64" fmla="*/ 6 w 891"/>
                <a:gd name="T65" fmla="*/ 377 h 891"/>
                <a:gd name="T66" fmla="*/ 34 w 891"/>
                <a:gd name="T67" fmla="*/ 272 h 891"/>
                <a:gd name="T68" fmla="*/ 89 w 891"/>
                <a:gd name="T69" fmla="*/ 178 h 891"/>
                <a:gd name="T70" fmla="*/ 163 w 891"/>
                <a:gd name="T71" fmla="*/ 102 h 891"/>
                <a:gd name="T72" fmla="*/ 253 w 891"/>
                <a:gd name="T73" fmla="*/ 43 h 891"/>
                <a:gd name="T74" fmla="*/ 355 w 891"/>
                <a:gd name="T75" fmla="*/ 8 h 891"/>
                <a:gd name="T76" fmla="*/ 469 w 891"/>
                <a:gd name="T77" fmla="*/ 0 h 891"/>
                <a:gd name="T78" fmla="*/ 579 w 891"/>
                <a:gd name="T79" fmla="*/ 20 h 891"/>
                <a:gd name="T80" fmla="*/ 677 w 891"/>
                <a:gd name="T81" fmla="*/ 65 h 891"/>
                <a:gd name="T82" fmla="*/ 760 w 891"/>
                <a:gd name="T83" fmla="*/ 131 h 891"/>
                <a:gd name="T84" fmla="*/ 826 w 891"/>
                <a:gd name="T85" fmla="*/ 214 h 891"/>
                <a:gd name="T86" fmla="*/ 871 w 891"/>
                <a:gd name="T87" fmla="*/ 312 h 891"/>
                <a:gd name="T88" fmla="*/ 891 w 891"/>
                <a:gd name="T89" fmla="*/ 422 h 891"/>
                <a:gd name="T90" fmla="*/ 883 w 891"/>
                <a:gd name="T91" fmla="*/ 535 h 891"/>
                <a:gd name="T92" fmla="*/ 848 w 891"/>
                <a:gd name="T93" fmla="*/ 638 h 891"/>
                <a:gd name="T94" fmla="*/ 789 w 891"/>
                <a:gd name="T95" fmla="*/ 728 h 891"/>
                <a:gd name="T96" fmla="*/ 713 w 891"/>
                <a:gd name="T97" fmla="*/ 802 h 891"/>
                <a:gd name="T98" fmla="*/ 619 w 891"/>
                <a:gd name="T99" fmla="*/ 857 h 891"/>
                <a:gd name="T100" fmla="*/ 514 w 891"/>
                <a:gd name="T101" fmla="*/ 885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1" h="891">
                  <a:moveTo>
                    <a:pt x="446" y="52"/>
                  </a:moveTo>
                  <a:lnTo>
                    <a:pt x="426" y="52"/>
                  </a:lnTo>
                  <a:lnTo>
                    <a:pt x="406" y="55"/>
                  </a:lnTo>
                  <a:lnTo>
                    <a:pt x="386" y="56"/>
                  </a:lnTo>
                  <a:lnTo>
                    <a:pt x="367" y="60"/>
                  </a:lnTo>
                  <a:lnTo>
                    <a:pt x="347" y="65"/>
                  </a:lnTo>
                  <a:lnTo>
                    <a:pt x="328" y="69"/>
                  </a:lnTo>
                  <a:lnTo>
                    <a:pt x="311" y="76"/>
                  </a:lnTo>
                  <a:lnTo>
                    <a:pt x="292" y="83"/>
                  </a:lnTo>
                  <a:lnTo>
                    <a:pt x="275" y="91"/>
                  </a:lnTo>
                  <a:lnTo>
                    <a:pt x="258" y="99"/>
                  </a:lnTo>
                  <a:lnTo>
                    <a:pt x="242" y="109"/>
                  </a:lnTo>
                  <a:lnTo>
                    <a:pt x="226" y="119"/>
                  </a:lnTo>
                  <a:lnTo>
                    <a:pt x="210" y="129"/>
                  </a:lnTo>
                  <a:lnTo>
                    <a:pt x="196" y="142"/>
                  </a:lnTo>
                  <a:lnTo>
                    <a:pt x="181" y="154"/>
                  </a:lnTo>
                  <a:lnTo>
                    <a:pt x="167" y="167"/>
                  </a:lnTo>
                  <a:lnTo>
                    <a:pt x="154" y="181"/>
                  </a:lnTo>
                  <a:lnTo>
                    <a:pt x="142" y="196"/>
                  </a:lnTo>
                  <a:lnTo>
                    <a:pt x="131" y="210"/>
                  </a:lnTo>
                  <a:lnTo>
                    <a:pt x="119" y="226"/>
                  </a:lnTo>
                  <a:lnTo>
                    <a:pt x="109" y="242"/>
                  </a:lnTo>
                  <a:lnTo>
                    <a:pt x="99" y="258"/>
                  </a:lnTo>
                  <a:lnTo>
                    <a:pt x="91" y="275"/>
                  </a:lnTo>
                  <a:lnTo>
                    <a:pt x="83" y="292"/>
                  </a:lnTo>
                  <a:lnTo>
                    <a:pt x="76" y="311"/>
                  </a:lnTo>
                  <a:lnTo>
                    <a:pt x="70" y="328"/>
                  </a:lnTo>
                  <a:lnTo>
                    <a:pt x="65" y="347"/>
                  </a:lnTo>
                  <a:lnTo>
                    <a:pt x="60" y="366"/>
                  </a:lnTo>
                  <a:lnTo>
                    <a:pt x="56" y="386"/>
                  </a:lnTo>
                  <a:lnTo>
                    <a:pt x="55" y="404"/>
                  </a:lnTo>
                  <a:lnTo>
                    <a:pt x="53" y="425"/>
                  </a:lnTo>
                  <a:lnTo>
                    <a:pt x="52" y="445"/>
                  </a:lnTo>
                  <a:lnTo>
                    <a:pt x="53" y="465"/>
                  </a:lnTo>
                  <a:lnTo>
                    <a:pt x="55" y="485"/>
                  </a:lnTo>
                  <a:lnTo>
                    <a:pt x="56" y="505"/>
                  </a:lnTo>
                  <a:lnTo>
                    <a:pt x="60" y="524"/>
                  </a:lnTo>
                  <a:lnTo>
                    <a:pt x="65" y="544"/>
                  </a:lnTo>
                  <a:lnTo>
                    <a:pt x="70" y="563"/>
                  </a:lnTo>
                  <a:lnTo>
                    <a:pt x="76" y="580"/>
                  </a:lnTo>
                  <a:lnTo>
                    <a:pt x="83" y="599"/>
                  </a:lnTo>
                  <a:lnTo>
                    <a:pt x="91" y="616"/>
                  </a:lnTo>
                  <a:lnTo>
                    <a:pt x="99" y="633"/>
                  </a:lnTo>
                  <a:lnTo>
                    <a:pt x="109" y="649"/>
                  </a:lnTo>
                  <a:lnTo>
                    <a:pt x="119" y="665"/>
                  </a:lnTo>
                  <a:lnTo>
                    <a:pt x="131" y="681"/>
                  </a:lnTo>
                  <a:lnTo>
                    <a:pt x="142" y="695"/>
                  </a:lnTo>
                  <a:lnTo>
                    <a:pt x="154" y="710"/>
                  </a:lnTo>
                  <a:lnTo>
                    <a:pt x="167" y="724"/>
                  </a:lnTo>
                  <a:lnTo>
                    <a:pt x="181" y="737"/>
                  </a:lnTo>
                  <a:lnTo>
                    <a:pt x="196" y="749"/>
                  </a:lnTo>
                  <a:lnTo>
                    <a:pt x="210" y="760"/>
                  </a:lnTo>
                  <a:lnTo>
                    <a:pt x="226" y="772"/>
                  </a:lnTo>
                  <a:lnTo>
                    <a:pt x="242" y="782"/>
                  </a:lnTo>
                  <a:lnTo>
                    <a:pt x="258" y="792"/>
                  </a:lnTo>
                  <a:lnTo>
                    <a:pt x="275" y="800"/>
                  </a:lnTo>
                  <a:lnTo>
                    <a:pt x="292" y="808"/>
                  </a:lnTo>
                  <a:lnTo>
                    <a:pt x="311" y="815"/>
                  </a:lnTo>
                  <a:lnTo>
                    <a:pt x="328" y="821"/>
                  </a:lnTo>
                  <a:lnTo>
                    <a:pt x="347" y="826"/>
                  </a:lnTo>
                  <a:lnTo>
                    <a:pt x="367" y="831"/>
                  </a:lnTo>
                  <a:lnTo>
                    <a:pt x="386" y="835"/>
                  </a:lnTo>
                  <a:lnTo>
                    <a:pt x="406" y="836"/>
                  </a:lnTo>
                  <a:lnTo>
                    <a:pt x="426" y="838"/>
                  </a:lnTo>
                  <a:lnTo>
                    <a:pt x="446" y="839"/>
                  </a:lnTo>
                  <a:lnTo>
                    <a:pt x="466" y="838"/>
                  </a:lnTo>
                  <a:lnTo>
                    <a:pt x="487" y="836"/>
                  </a:lnTo>
                  <a:lnTo>
                    <a:pt x="505" y="835"/>
                  </a:lnTo>
                  <a:lnTo>
                    <a:pt x="525" y="831"/>
                  </a:lnTo>
                  <a:lnTo>
                    <a:pt x="544" y="826"/>
                  </a:lnTo>
                  <a:lnTo>
                    <a:pt x="563" y="821"/>
                  </a:lnTo>
                  <a:lnTo>
                    <a:pt x="580" y="815"/>
                  </a:lnTo>
                  <a:lnTo>
                    <a:pt x="599" y="808"/>
                  </a:lnTo>
                  <a:lnTo>
                    <a:pt x="616" y="800"/>
                  </a:lnTo>
                  <a:lnTo>
                    <a:pt x="633" y="792"/>
                  </a:lnTo>
                  <a:lnTo>
                    <a:pt x="649" y="782"/>
                  </a:lnTo>
                  <a:lnTo>
                    <a:pt x="665" y="772"/>
                  </a:lnTo>
                  <a:lnTo>
                    <a:pt x="681" y="760"/>
                  </a:lnTo>
                  <a:lnTo>
                    <a:pt x="695" y="749"/>
                  </a:lnTo>
                  <a:lnTo>
                    <a:pt x="710" y="737"/>
                  </a:lnTo>
                  <a:lnTo>
                    <a:pt x="724" y="724"/>
                  </a:lnTo>
                  <a:lnTo>
                    <a:pt x="737" y="710"/>
                  </a:lnTo>
                  <a:lnTo>
                    <a:pt x="749" y="695"/>
                  </a:lnTo>
                  <a:lnTo>
                    <a:pt x="762" y="681"/>
                  </a:lnTo>
                  <a:lnTo>
                    <a:pt x="772" y="665"/>
                  </a:lnTo>
                  <a:lnTo>
                    <a:pt x="782" y="649"/>
                  </a:lnTo>
                  <a:lnTo>
                    <a:pt x="792" y="633"/>
                  </a:lnTo>
                  <a:lnTo>
                    <a:pt x="800" y="616"/>
                  </a:lnTo>
                  <a:lnTo>
                    <a:pt x="808" y="599"/>
                  </a:lnTo>
                  <a:lnTo>
                    <a:pt x="815" y="580"/>
                  </a:lnTo>
                  <a:lnTo>
                    <a:pt x="822" y="563"/>
                  </a:lnTo>
                  <a:lnTo>
                    <a:pt x="826" y="544"/>
                  </a:lnTo>
                  <a:lnTo>
                    <a:pt x="831" y="524"/>
                  </a:lnTo>
                  <a:lnTo>
                    <a:pt x="835" y="505"/>
                  </a:lnTo>
                  <a:lnTo>
                    <a:pt x="838" y="485"/>
                  </a:lnTo>
                  <a:lnTo>
                    <a:pt x="839" y="465"/>
                  </a:lnTo>
                  <a:lnTo>
                    <a:pt x="839" y="445"/>
                  </a:lnTo>
                  <a:lnTo>
                    <a:pt x="839" y="425"/>
                  </a:lnTo>
                  <a:lnTo>
                    <a:pt x="838" y="404"/>
                  </a:lnTo>
                  <a:lnTo>
                    <a:pt x="835" y="386"/>
                  </a:lnTo>
                  <a:lnTo>
                    <a:pt x="831" y="366"/>
                  </a:lnTo>
                  <a:lnTo>
                    <a:pt x="826" y="347"/>
                  </a:lnTo>
                  <a:lnTo>
                    <a:pt x="822" y="328"/>
                  </a:lnTo>
                  <a:lnTo>
                    <a:pt x="815" y="311"/>
                  </a:lnTo>
                  <a:lnTo>
                    <a:pt x="808" y="292"/>
                  </a:lnTo>
                  <a:lnTo>
                    <a:pt x="800" y="275"/>
                  </a:lnTo>
                  <a:lnTo>
                    <a:pt x="792" y="258"/>
                  </a:lnTo>
                  <a:lnTo>
                    <a:pt x="782" y="242"/>
                  </a:lnTo>
                  <a:lnTo>
                    <a:pt x="772" y="226"/>
                  </a:lnTo>
                  <a:lnTo>
                    <a:pt x="762" y="210"/>
                  </a:lnTo>
                  <a:lnTo>
                    <a:pt x="749" y="196"/>
                  </a:lnTo>
                  <a:lnTo>
                    <a:pt x="737" y="181"/>
                  </a:lnTo>
                  <a:lnTo>
                    <a:pt x="724" y="167"/>
                  </a:lnTo>
                  <a:lnTo>
                    <a:pt x="710" y="154"/>
                  </a:lnTo>
                  <a:lnTo>
                    <a:pt x="695" y="142"/>
                  </a:lnTo>
                  <a:lnTo>
                    <a:pt x="681" y="129"/>
                  </a:lnTo>
                  <a:lnTo>
                    <a:pt x="665" y="119"/>
                  </a:lnTo>
                  <a:lnTo>
                    <a:pt x="649" y="109"/>
                  </a:lnTo>
                  <a:lnTo>
                    <a:pt x="633" y="99"/>
                  </a:lnTo>
                  <a:lnTo>
                    <a:pt x="616" y="91"/>
                  </a:lnTo>
                  <a:lnTo>
                    <a:pt x="599" y="83"/>
                  </a:lnTo>
                  <a:lnTo>
                    <a:pt x="580" y="76"/>
                  </a:lnTo>
                  <a:lnTo>
                    <a:pt x="563" y="69"/>
                  </a:lnTo>
                  <a:lnTo>
                    <a:pt x="544" y="65"/>
                  </a:lnTo>
                  <a:lnTo>
                    <a:pt x="525" y="60"/>
                  </a:lnTo>
                  <a:lnTo>
                    <a:pt x="505" y="56"/>
                  </a:lnTo>
                  <a:lnTo>
                    <a:pt x="487" y="55"/>
                  </a:lnTo>
                  <a:lnTo>
                    <a:pt x="466" y="52"/>
                  </a:lnTo>
                  <a:lnTo>
                    <a:pt x="446" y="52"/>
                  </a:lnTo>
                  <a:close/>
                  <a:moveTo>
                    <a:pt x="446" y="891"/>
                  </a:moveTo>
                  <a:lnTo>
                    <a:pt x="423" y="891"/>
                  </a:lnTo>
                  <a:lnTo>
                    <a:pt x="400" y="888"/>
                  </a:lnTo>
                  <a:lnTo>
                    <a:pt x="379" y="885"/>
                  </a:lnTo>
                  <a:lnTo>
                    <a:pt x="355" y="883"/>
                  </a:lnTo>
                  <a:lnTo>
                    <a:pt x="334" y="877"/>
                  </a:lnTo>
                  <a:lnTo>
                    <a:pt x="314" y="871"/>
                  </a:lnTo>
                  <a:lnTo>
                    <a:pt x="292" y="864"/>
                  </a:lnTo>
                  <a:lnTo>
                    <a:pt x="272" y="857"/>
                  </a:lnTo>
                  <a:lnTo>
                    <a:pt x="253" y="847"/>
                  </a:lnTo>
                  <a:lnTo>
                    <a:pt x="233" y="838"/>
                  </a:lnTo>
                  <a:lnTo>
                    <a:pt x="214" y="826"/>
                  </a:lnTo>
                  <a:lnTo>
                    <a:pt x="197" y="815"/>
                  </a:lnTo>
                  <a:lnTo>
                    <a:pt x="180" y="802"/>
                  </a:lnTo>
                  <a:lnTo>
                    <a:pt x="163" y="789"/>
                  </a:lnTo>
                  <a:lnTo>
                    <a:pt x="147" y="775"/>
                  </a:lnTo>
                  <a:lnTo>
                    <a:pt x="131" y="760"/>
                  </a:lnTo>
                  <a:lnTo>
                    <a:pt x="116" y="744"/>
                  </a:lnTo>
                  <a:lnTo>
                    <a:pt x="102" y="728"/>
                  </a:lnTo>
                  <a:lnTo>
                    <a:pt x="89" y="713"/>
                  </a:lnTo>
                  <a:lnTo>
                    <a:pt x="76" y="694"/>
                  </a:lnTo>
                  <a:lnTo>
                    <a:pt x="65" y="677"/>
                  </a:lnTo>
                  <a:lnTo>
                    <a:pt x="53" y="658"/>
                  </a:lnTo>
                  <a:lnTo>
                    <a:pt x="44" y="638"/>
                  </a:lnTo>
                  <a:lnTo>
                    <a:pt x="34" y="619"/>
                  </a:lnTo>
                  <a:lnTo>
                    <a:pt x="27" y="599"/>
                  </a:lnTo>
                  <a:lnTo>
                    <a:pt x="20" y="577"/>
                  </a:lnTo>
                  <a:lnTo>
                    <a:pt x="14" y="557"/>
                  </a:lnTo>
                  <a:lnTo>
                    <a:pt x="8" y="535"/>
                  </a:lnTo>
                  <a:lnTo>
                    <a:pt x="6" y="512"/>
                  </a:lnTo>
                  <a:lnTo>
                    <a:pt x="3" y="491"/>
                  </a:lnTo>
                  <a:lnTo>
                    <a:pt x="0" y="468"/>
                  </a:lnTo>
                  <a:lnTo>
                    <a:pt x="0" y="445"/>
                  </a:lnTo>
                  <a:lnTo>
                    <a:pt x="0" y="422"/>
                  </a:lnTo>
                  <a:lnTo>
                    <a:pt x="3" y="400"/>
                  </a:lnTo>
                  <a:lnTo>
                    <a:pt x="6" y="377"/>
                  </a:lnTo>
                  <a:lnTo>
                    <a:pt x="8" y="356"/>
                  </a:lnTo>
                  <a:lnTo>
                    <a:pt x="14" y="334"/>
                  </a:lnTo>
                  <a:lnTo>
                    <a:pt x="20" y="312"/>
                  </a:lnTo>
                  <a:lnTo>
                    <a:pt x="27" y="292"/>
                  </a:lnTo>
                  <a:lnTo>
                    <a:pt x="34" y="272"/>
                  </a:lnTo>
                  <a:lnTo>
                    <a:pt x="44" y="252"/>
                  </a:lnTo>
                  <a:lnTo>
                    <a:pt x="53" y="233"/>
                  </a:lnTo>
                  <a:lnTo>
                    <a:pt x="65" y="214"/>
                  </a:lnTo>
                  <a:lnTo>
                    <a:pt x="76" y="196"/>
                  </a:lnTo>
                  <a:lnTo>
                    <a:pt x="89" y="178"/>
                  </a:lnTo>
                  <a:lnTo>
                    <a:pt x="102" y="163"/>
                  </a:lnTo>
                  <a:lnTo>
                    <a:pt x="116" y="145"/>
                  </a:lnTo>
                  <a:lnTo>
                    <a:pt x="131" y="131"/>
                  </a:lnTo>
                  <a:lnTo>
                    <a:pt x="147" y="115"/>
                  </a:lnTo>
                  <a:lnTo>
                    <a:pt x="163" y="102"/>
                  </a:lnTo>
                  <a:lnTo>
                    <a:pt x="180" y="88"/>
                  </a:lnTo>
                  <a:lnTo>
                    <a:pt x="197" y="76"/>
                  </a:lnTo>
                  <a:lnTo>
                    <a:pt x="214" y="65"/>
                  </a:lnTo>
                  <a:lnTo>
                    <a:pt x="233" y="53"/>
                  </a:lnTo>
                  <a:lnTo>
                    <a:pt x="253" y="43"/>
                  </a:lnTo>
                  <a:lnTo>
                    <a:pt x="272" y="34"/>
                  </a:lnTo>
                  <a:lnTo>
                    <a:pt x="292" y="27"/>
                  </a:lnTo>
                  <a:lnTo>
                    <a:pt x="314" y="20"/>
                  </a:lnTo>
                  <a:lnTo>
                    <a:pt x="334" y="14"/>
                  </a:lnTo>
                  <a:lnTo>
                    <a:pt x="355" y="8"/>
                  </a:lnTo>
                  <a:lnTo>
                    <a:pt x="379" y="4"/>
                  </a:lnTo>
                  <a:lnTo>
                    <a:pt x="400" y="1"/>
                  </a:lnTo>
                  <a:lnTo>
                    <a:pt x="423" y="0"/>
                  </a:lnTo>
                  <a:lnTo>
                    <a:pt x="446" y="0"/>
                  </a:lnTo>
                  <a:lnTo>
                    <a:pt x="469" y="0"/>
                  </a:lnTo>
                  <a:lnTo>
                    <a:pt x="491" y="1"/>
                  </a:lnTo>
                  <a:lnTo>
                    <a:pt x="514" y="4"/>
                  </a:lnTo>
                  <a:lnTo>
                    <a:pt x="535" y="8"/>
                  </a:lnTo>
                  <a:lnTo>
                    <a:pt x="557" y="14"/>
                  </a:lnTo>
                  <a:lnTo>
                    <a:pt x="579" y="20"/>
                  </a:lnTo>
                  <a:lnTo>
                    <a:pt x="599" y="27"/>
                  </a:lnTo>
                  <a:lnTo>
                    <a:pt x="619" y="34"/>
                  </a:lnTo>
                  <a:lnTo>
                    <a:pt x="639" y="43"/>
                  </a:lnTo>
                  <a:lnTo>
                    <a:pt x="658" y="53"/>
                  </a:lnTo>
                  <a:lnTo>
                    <a:pt x="677" y="65"/>
                  </a:lnTo>
                  <a:lnTo>
                    <a:pt x="695" y="76"/>
                  </a:lnTo>
                  <a:lnTo>
                    <a:pt x="713" y="88"/>
                  </a:lnTo>
                  <a:lnTo>
                    <a:pt x="728" y="102"/>
                  </a:lnTo>
                  <a:lnTo>
                    <a:pt x="746" y="115"/>
                  </a:lnTo>
                  <a:lnTo>
                    <a:pt x="760" y="131"/>
                  </a:lnTo>
                  <a:lnTo>
                    <a:pt x="776" y="145"/>
                  </a:lnTo>
                  <a:lnTo>
                    <a:pt x="789" y="163"/>
                  </a:lnTo>
                  <a:lnTo>
                    <a:pt x="803" y="178"/>
                  </a:lnTo>
                  <a:lnTo>
                    <a:pt x="815" y="196"/>
                  </a:lnTo>
                  <a:lnTo>
                    <a:pt x="826" y="214"/>
                  </a:lnTo>
                  <a:lnTo>
                    <a:pt x="838" y="233"/>
                  </a:lnTo>
                  <a:lnTo>
                    <a:pt x="848" y="252"/>
                  </a:lnTo>
                  <a:lnTo>
                    <a:pt x="857" y="272"/>
                  </a:lnTo>
                  <a:lnTo>
                    <a:pt x="864" y="292"/>
                  </a:lnTo>
                  <a:lnTo>
                    <a:pt x="871" y="312"/>
                  </a:lnTo>
                  <a:lnTo>
                    <a:pt x="877" y="334"/>
                  </a:lnTo>
                  <a:lnTo>
                    <a:pt x="883" y="356"/>
                  </a:lnTo>
                  <a:lnTo>
                    <a:pt x="887" y="377"/>
                  </a:lnTo>
                  <a:lnTo>
                    <a:pt x="890" y="400"/>
                  </a:lnTo>
                  <a:lnTo>
                    <a:pt x="891" y="422"/>
                  </a:lnTo>
                  <a:lnTo>
                    <a:pt x="891" y="445"/>
                  </a:lnTo>
                  <a:lnTo>
                    <a:pt x="891" y="468"/>
                  </a:lnTo>
                  <a:lnTo>
                    <a:pt x="890" y="491"/>
                  </a:lnTo>
                  <a:lnTo>
                    <a:pt x="887" y="512"/>
                  </a:lnTo>
                  <a:lnTo>
                    <a:pt x="883" y="535"/>
                  </a:lnTo>
                  <a:lnTo>
                    <a:pt x="877" y="557"/>
                  </a:lnTo>
                  <a:lnTo>
                    <a:pt x="871" y="577"/>
                  </a:lnTo>
                  <a:lnTo>
                    <a:pt x="864" y="599"/>
                  </a:lnTo>
                  <a:lnTo>
                    <a:pt x="857" y="619"/>
                  </a:lnTo>
                  <a:lnTo>
                    <a:pt x="848" y="638"/>
                  </a:lnTo>
                  <a:lnTo>
                    <a:pt x="838" y="658"/>
                  </a:lnTo>
                  <a:lnTo>
                    <a:pt x="826" y="677"/>
                  </a:lnTo>
                  <a:lnTo>
                    <a:pt x="815" y="694"/>
                  </a:lnTo>
                  <a:lnTo>
                    <a:pt x="803" y="713"/>
                  </a:lnTo>
                  <a:lnTo>
                    <a:pt x="789" y="728"/>
                  </a:lnTo>
                  <a:lnTo>
                    <a:pt x="776" y="744"/>
                  </a:lnTo>
                  <a:lnTo>
                    <a:pt x="760" y="760"/>
                  </a:lnTo>
                  <a:lnTo>
                    <a:pt x="746" y="775"/>
                  </a:lnTo>
                  <a:lnTo>
                    <a:pt x="728" y="789"/>
                  </a:lnTo>
                  <a:lnTo>
                    <a:pt x="713" y="802"/>
                  </a:lnTo>
                  <a:lnTo>
                    <a:pt x="695" y="815"/>
                  </a:lnTo>
                  <a:lnTo>
                    <a:pt x="677" y="826"/>
                  </a:lnTo>
                  <a:lnTo>
                    <a:pt x="658" y="838"/>
                  </a:lnTo>
                  <a:lnTo>
                    <a:pt x="639" y="847"/>
                  </a:lnTo>
                  <a:lnTo>
                    <a:pt x="619" y="857"/>
                  </a:lnTo>
                  <a:lnTo>
                    <a:pt x="599" y="864"/>
                  </a:lnTo>
                  <a:lnTo>
                    <a:pt x="579" y="871"/>
                  </a:lnTo>
                  <a:lnTo>
                    <a:pt x="557" y="877"/>
                  </a:lnTo>
                  <a:lnTo>
                    <a:pt x="535" y="883"/>
                  </a:lnTo>
                  <a:lnTo>
                    <a:pt x="514" y="885"/>
                  </a:lnTo>
                  <a:lnTo>
                    <a:pt x="491" y="888"/>
                  </a:lnTo>
                  <a:lnTo>
                    <a:pt x="469" y="891"/>
                  </a:lnTo>
                  <a:lnTo>
                    <a:pt x="446"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184">
              <a:extLst>
                <a:ext uri="{FF2B5EF4-FFF2-40B4-BE49-F238E27FC236}">
                  <a16:creationId xmlns:a16="http://schemas.microsoft.com/office/drawing/2014/main" id="{C78D2D4A-5EFD-47E4-B555-B79CA872C3A9}"/>
                </a:ext>
              </a:extLst>
            </p:cNvPr>
            <p:cNvSpPr>
              <a:spLocks noEditPoints="1"/>
            </p:cNvSpPr>
            <p:nvPr/>
          </p:nvSpPr>
          <p:spPr bwMode="auto">
            <a:xfrm>
              <a:off x="193675" y="3752851"/>
              <a:ext cx="298450" cy="282575"/>
            </a:xfrm>
            <a:custGeom>
              <a:avLst/>
              <a:gdLst>
                <a:gd name="T0" fmla="*/ 288 w 562"/>
                <a:gd name="T1" fmla="*/ 401 h 535"/>
                <a:gd name="T2" fmla="*/ 405 w 562"/>
                <a:gd name="T3" fmla="*/ 462 h 535"/>
                <a:gd name="T4" fmla="*/ 383 w 562"/>
                <a:gd name="T5" fmla="*/ 332 h 535"/>
                <a:gd name="T6" fmla="*/ 386 w 562"/>
                <a:gd name="T7" fmla="*/ 319 h 535"/>
                <a:gd name="T8" fmla="*/ 480 w 562"/>
                <a:gd name="T9" fmla="*/ 227 h 535"/>
                <a:gd name="T10" fmla="*/ 350 w 562"/>
                <a:gd name="T11" fmla="*/ 208 h 535"/>
                <a:gd name="T12" fmla="*/ 340 w 562"/>
                <a:gd name="T13" fmla="*/ 201 h 535"/>
                <a:gd name="T14" fmla="*/ 281 w 562"/>
                <a:gd name="T15" fmla="*/ 83 h 535"/>
                <a:gd name="T16" fmla="*/ 222 w 562"/>
                <a:gd name="T17" fmla="*/ 201 h 535"/>
                <a:gd name="T18" fmla="*/ 212 w 562"/>
                <a:gd name="T19" fmla="*/ 208 h 535"/>
                <a:gd name="T20" fmla="*/ 82 w 562"/>
                <a:gd name="T21" fmla="*/ 227 h 535"/>
                <a:gd name="T22" fmla="*/ 176 w 562"/>
                <a:gd name="T23" fmla="*/ 319 h 535"/>
                <a:gd name="T24" fmla="*/ 180 w 562"/>
                <a:gd name="T25" fmla="*/ 332 h 535"/>
                <a:gd name="T26" fmla="*/ 159 w 562"/>
                <a:gd name="T27" fmla="*/ 462 h 535"/>
                <a:gd name="T28" fmla="*/ 275 w 562"/>
                <a:gd name="T29" fmla="*/ 401 h 535"/>
                <a:gd name="T30" fmla="*/ 439 w 562"/>
                <a:gd name="T31" fmla="*/ 535 h 535"/>
                <a:gd name="T32" fmla="*/ 426 w 562"/>
                <a:gd name="T33" fmla="*/ 532 h 535"/>
                <a:gd name="T34" fmla="*/ 136 w 562"/>
                <a:gd name="T35" fmla="*/ 532 h 535"/>
                <a:gd name="T36" fmla="*/ 123 w 562"/>
                <a:gd name="T37" fmla="*/ 535 h 535"/>
                <a:gd name="T38" fmla="*/ 108 w 562"/>
                <a:gd name="T39" fmla="*/ 531 h 535"/>
                <a:gd name="T40" fmla="*/ 100 w 562"/>
                <a:gd name="T41" fmla="*/ 519 h 535"/>
                <a:gd name="T42" fmla="*/ 98 w 562"/>
                <a:gd name="T43" fmla="*/ 505 h 535"/>
                <a:gd name="T44" fmla="*/ 9 w 562"/>
                <a:gd name="T45" fmla="*/ 228 h 535"/>
                <a:gd name="T46" fmla="*/ 2 w 562"/>
                <a:gd name="T47" fmla="*/ 216 h 535"/>
                <a:gd name="T48" fmla="*/ 2 w 562"/>
                <a:gd name="T49" fmla="*/ 201 h 535"/>
                <a:gd name="T50" fmla="*/ 10 w 562"/>
                <a:gd name="T51" fmla="*/ 190 h 535"/>
                <a:gd name="T52" fmla="*/ 23 w 562"/>
                <a:gd name="T53" fmla="*/ 184 h 535"/>
                <a:gd name="T54" fmla="*/ 258 w 562"/>
                <a:gd name="T55" fmla="*/ 13 h 535"/>
                <a:gd name="T56" fmla="*/ 268 w 562"/>
                <a:gd name="T57" fmla="*/ 2 h 535"/>
                <a:gd name="T58" fmla="*/ 281 w 562"/>
                <a:gd name="T59" fmla="*/ 0 h 535"/>
                <a:gd name="T60" fmla="*/ 295 w 562"/>
                <a:gd name="T61" fmla="*/ 2 h 535"/>
                <a:gd name="T62" fmla="*/ 305 w 562"/>
                <a:gd name="T63" fmla="*/ 13 h 535"/>
                <a:gd name="T64" fmla="*/ 540 w 562"/>
                <a:gd name="T65" fmla="*/ 184 h 535"/>
                <a:gd name="T66" fmla="*/ 553 w 562"/>
                <a:gd name="T67" fmla="*/ 190 h 535"/>
                <a:gd name="T68" fmla="*/ 562 w 562"/>
                <a:gd name="T69" fmla="*/ 201 h 535"/>
                <a:gd name="T70" fmla="*/ 562 w 562"/>
                <a:gd name="T71" fmla="*/ 216 h 535"/>
                <a:gd name="T72" fmla="*/ 555 w 562"/>
                <a:gd name="T73" fmla="*/ 228 h 535"/>
                <a:gd name="T74" fmla="*/ 465 w 562"/>
                <a:gd name="T75" fmla="*/ 505 h 535"/>
                <a:gd name="T76" fmla="*/ 462 w 562"/>
                <a:gd name="T77" fmla="*/ 519 h 535"/>
                <a:gd name="T78" fmla="*/ 454 w 562"/>
                <a:gd name="T79" fmla="*/ 531 h 535"/>
                <a:gd name="T80" fmla="*/ 439 w 562"/>
                <a:gd name="T81" fmla="*/ 535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2" h="535">
                  <a:moveTo>
                    <a:pt x="281" y="400"/>
                  </a:moveTo>
                  <a:lnTo>
                    <a:pt x="288" y="401"/>
                  </a:lnTo>
                  <a:lnTo>
                    <a:pt x="294" y="403"/>
                  </a:lnTo>
                  <a:lnTo>
                    <a:pt x="405" y="462"/>
                  </a:lnTo>
                  <a:lnTo>
                    <a:pt x="383" y="338"/>
                  </a:lnTo>
                  <a:lnTo>
                    <a:pt x="383" y="332"/>
                  </a:lnTo>
                  <a:lnTo>
                    <a:pt x="385" y="325"/>
                  </a:lnTo>
                  <a:lnTo>
                    <a:pt x="386" y="319"/>
                  </a:lnTo>
                  <a:lnTo>
                    <a:pt x="390" y="315"/>
                  </a:lnTo>
                  <a:lnTo>
                    <a:pt x="480" y="227"/>
                  </a:lnTo>
                  <a:lnTo>
                    <a:pt x="356" y="210"/>
                  </a:lnTo>
                  <a:lnTo>
                    <a:pt x="350" y="208"/>
                  </a:lnTo>
                  <a:lnTo>
                    <a:pt x="344" y="205"/>
                  </a:lnTo>
                  <a:lnTo>
                    <a:pt x="340" y="201"/>
                  </a:lnTo>
                  <a:lnTo>
                    <a:pt x="337" y="195"/>
                  </a:lnTo>
                  <a:lnTo>
                    <a:pt x="281" y="83"/>
                  </a:lnTo>
                  <a:lnTo>
                    <a:pt x="226" y="195"/>
                  </a:lnTo>
                  <a:lnTo>
                    <a:pt x="222" y="201"/>
                  </a:lnTo>
                  <a:lnTo>
                    <a:pt x="218" y="205"/>
                  </a:lnTo>
                  <a:lnTo>
                    <a:pt x="212" y="208"/>
                  </a:lnTo>
                  <a:lnTo>
                    <a:pt x="206" y="210"/>
                  </a:lnTo>
                  <a:lnTo>
                    <a:pt x="82" y="227"/>
                  </a:lnTo>
                  <a:lnTo>
                    <a:pt x="172" y="315"/>
                  </a:lnTo>
                  <a:lnTo>
                    <a:pt x="176" y="319"/>
                  </a:lnTo>
                  <a:lnTo>
                    <a:pt x="179" y="325"/>
                  </a:lnTo>
                  <a:lnTo>
                    <a:pt x="180" y="332"/>
                  </a:lnTo>
                  <a:lnTo>
                    <a:pt x="180" y="338"/>
                  </a:lnTo>
                  <a:lnTo>
                    <a:pt x="159" y="462"/>
                  </a:lnTo>
                  <a:lnTo>
                    <a:pt x="269" y="403"/>
                  </a:lnTo>
                  <a:lnTo>
                    <a:pt x="275" y="401"/>
                  </a:lnTo>
                  <a:lnTo>
                    <a:pt x="281" y="400"/>
                  </a:lnTo>
                  <a:close/>
                  <a:moveTo>
                    <a:pt x="439" y="535"/>
                  </a:moveTo>
                  <a:lnTo>
                    <a:pt x="432" y="534"/>
                  </a:lnTo>
                  <a:lnTo>
                    <a:pt x="426" y="532"/>
                  </a:lnTo>
                  <a:lnTo>
                    <a:pt x="281" y="456"/>
                  </a:lnTo>
                  <a:lnTo>
                    <a:pt x="136" y="532"/>
                  </a:lnTo>
                  <a:lnTo>
                    <a:pt x="130" y="535"/>
                  </a:lnTo>
                  <a:lnTo>
                    <a:pt x="123" y="535"/>
                  </a:lnTo>
                  <a:lnTo>
                    <a:pt x="115" y="534"/>
                  </a:lnTo>
                  <a:lnTo>
                    <a:pt x="108" y="531"/>
                  </a:lnTo>
                  <a:lnTo>
                    <a:pt x="104" y="525"/>
                  </a:lnTo>
                  <a:lnTo>
                    <a:pt x="100" y="519"/>
                  </a:lnTo>
                  <a:lnTo>
                    <a:pt x="98" y="512"/>
                  </a:lnTo>
                  <a:lnTo>
                    <a:pt x="98" y="505"/>
                  </a:lnTo>
                  <a:lnTo>
                    <a:pt x="125" y="342"/>
                  </a:lnTo>
                  <a:lnTo>
                    <a:pt x="9" y="228"/>
                  </a:lnTo>
                  <a:lnTo>
                    <a:pt x="3" y="223"/>
                  </a:lnTo>
                  <a:lnTo>
                    <a:pt x="2" y="216"/>
                  </a:lnTo>
                  <a:lnTo>
                    <a:pt x="0" y="208"/>
                  </a:lnTo>
                  <a:lnTo>
                    <a:pt x="2" y="201"/>
                  </a:lnTo>
                  <a:lnTo>
                    <a:pt x="5" y="195"/>
                  </a:lnTo>
                  <a:lnTo>
                    <a:pt x="10" y="190"/>
                  </a:lnTo>
                  <a:lnTo>
                    <a:pt x="16" y="185"/>
                  </a:lnTo>
                  <a:lnTo>
                    <a:pt x="23" y="184"/>
                  </a:lnTo>
                  <a:lnTo>
                    <a:pt x="186" y="159"/>
                  </a:lnTo>
                  <a:lnTo>
                    <a:pt x="258" y="13"/>
                  </a:lnTo>
                  <a:lnTo>
                    <a:pt x="262" y="7"/>
                  </a:lnTo>
                  <a:lnTo>
                    <a:pt x="268" y="2"/>
                  </a:lnTo>
                  <a:lnTo>
                    <a:pt x="274" y="0"/>
                  </a:lnTo>
                  <a:lnTo>
                    <a:pt x="281" y="0"/>
                  </a:lnTo>
                  <a:lnTo>
                    <a:pt x="288" y="0"/>
                  </a:lnTo>
                  <a:lnTo>
                    <a:pt x="295" y="2"/>
                  </a:lnTo>
                  <a:lnTo>
                    <a:pt x="301" y="7"/>
                  </a:lnTo>
                  <a:lnTo>
                    <a:pt x="305" y="13"/>
                  </a:lnTo>
                  <a:lnTo>
                    <a:pt x="377" y="159"/>
                  </a:lnTo>
                  <a:lnTo>
                    <a:pt x="540" y="184"/>
                  </a:lnTo>
                  <a:lnTo>
                    <a:pt x="547" y="185"/>
                  </a:lnTo>
                  <a:lnTo>
                    <a:pt x="553" y="190"/>
                  </a:lnTo>
                  <a:lnTo>
                    <a:pt x="557" y="195"/>
                  </a:lnTo>
                  <a:lnTo>
                    <a:pt x="562" y="201"/>
                  </a:lnTo>
                  <a:lnTo>
                    <a:pt x="562" y="208"/>
                  </a:lnTo>
                  <a:lnTo>
                    <a:pt x="562" y="216"/>
                  </a:lnTo>
                  <a:lnTo>
                    <a:pt x="559" y="223"/>
                  </a:lnTo>
                  <a:lnTo>
                    <a:pt x="555" y="228"/>
                  </a:lnTo>
                  <a:lnTo>
                    <a:pt x="437" y="342"/>
                  </a:lnTo>
                  <a:lnTo>
                    <a:pt x="465" y="505"/>
                  </a:lnTo>
                  <a:lnTo>
                    <a:pt x="465" y="512"/>
                  </a:lnTo>
                  <a:lnTo>
                    <a:pt x="462" y="519"/>
                  </a:lnTo>
                  <a:lnTo>
                    <a:pt x="460" y="525"/>
                  </a:lnTo>
                  <a:lnTo>
                    <a:pt x="454" y="531"/>
                  </a:lnTo>
                  <a:lnTo>
                    <a:pt x="447" y="534"/>
                  </a:lnTo>
                  <a:lnTo>
                    <a:pt x="439" y="5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7" name="Gruppieren 1086">
            <a:extLst>
              <a:ext uri="{FF2B5EF4-FFF2-40B4-BE49-F238E27FC236}">
                <a16:creationId xmlns:a16="http://schemas.microsoft.com/office/drawing/2014/main" id="{9BC1718C-140E-4C95-9EE6-50B72220C8C5}"/>
              </a:ext>
            </a:extLst>
          </p:cNvPr>
          <p:cNvGrpSpPr>
            <a:grpSpLocks noChangeAspect="1"/>
          </p:cNvGrpSpPr>
          <p:nvPr/>
        </p:nvGrpSpPr>
        <p:grpSpPr>
          <a:xfrm>
            <a:off x="7471899" y="4879041"/>
            <a:ext cx="285619" cy="285619"/>
            <a:chOff x="7689088" y="-187487"/>
            <a:chExt cx="360000" cy="360000"/>
          </a:xfrm>
          <a:solidFill>
            <a:schemeClr val="bg1"/>
          </a:solidFill>
        </p:grpSpPr>
        <p:sp>
          <p:nvSpPr>
            <p:cNvPr id="1088" name="Freeform 140">
              <a:extLst>
                <a:ext uri="{FF2B5EF4-FFF2-40B4-BE49-F238E27FC236}">
                  <a16:creationId xmlns:a16="http://schemas.microsoft.com/office/drawing/2014/main" id="{BDCB768C-3780-4DB1-8A25-F441E0B3093F}"/>
                </a:ext>
              </a:extLst>
            </p:cNvPr>
            <p:cNvSpPr>
              <a:spLocks noEditPoints="1"/>
            </p:cNvSpPr>
            <p:nvPr/>
          </p:nvSpPr>
          <p:spPr bwMode="auto">
            <a:xfrm>
              <a:off x="7689088" y="-187487"/>
              <a:ext cx="360000" cy="360000"/>
            </a:xfrm>
            <a:custGeom>
              <a:avLst/>
              <a:gdLst>
                <a:gd name="T0" fmla="*/ 843 w 873"/>
                <a:gd name="T1" fmla="*/ 843 h 873"/>
                <a:gd name="T2" fmla="*/ 30 w 873"/>
                <a:gd name="T3" fmla="*/ 843 h 873"/>
                <a:gd name="T4" fmla="*/ 30 w 873"/>
                <a:gd name="T5" fmla="*/ 30 h 873"/>
                <a:gd name="T6" fmla="*/ 843 w 873"/>
                <a:gd name="T7" fmla="*/ 30 h 873"/>
                <a:gd name="T8" fmla="*/ 843 w 873"/>
                <a:gd name="T9" fmla="*/ 843 h 873"/>
                <a:gd name="T10" fmla="*/ 858 w 873"/>
                <a:gd name="T11" fmla="*/ 0 h 873"/>
                <a:gd name="T12" fmla="*/ 15 w 873"/>
                <a:gd name="T13" fmla="*/ 0 h 873"/>
                <a:gd name="T14" fmla="*/ 12 w 873"/>
                <a:gd name="T15" fmla="*/ 0 h 873"/>
                <a:gd name="T16" fmla="*/ 9 w 873"/>
                <a:gd name="T17" fmla="*/ 1 h 873"/>
                <a:gd name="T18" fmla="*/ 6 w 873"/>
                <a:gd name="T19" fmla="*/ 3 h 873"/>
                <a:gd name="T20" fmla="*/ 4 w 873"/>
                <a:gd name="T21" fmla="*/ 5 h 873"/>
                <a:gd name="T22" fmla="*/ 3 w 873"/>
                <a:gd name="T23" fmla="*/ 7 h 873"/>
                <a:gd name="T24" fmla="*/ 1 w 873"/>
                <a:gd name="T25" fmla="*/ 10 h 873"/>
                <a:gd name="T26" fmla="*/ 1 w 873"/>
                <a:gd name="T27" fmla="*/ 12 h 873"/>
                <a:gd name="T28" fmla="*/ 0 w 873"/>
                <a:gd name="T29" fmla="*/ 15 h 873"/>
                <a:gd name="T30" fmla="*/ 0 w 873"/>
                <a:gd name="T31" fmla="*/ 858 h 873"/>
                <a:gd name="T32" fmla="*/ 1 w 873"/>
                <a:gd name="T33" fmla="*/ 862 h 873"/>
                <a:gd name="T34" fmla="*/ 1 w 873"/>
                <a:gd name="T35" fmla="*/ 865 h 873"/>
                <a:gd name="T36" fmla="*/ 3 w 873"/>
                <a:gd name="T37" fmla="*/ 867 h 873"/>
                <a:gd name="T38" fmla="*/ 4 w 873"/>
                <a:gd name="T39" fmla="*/ 869 h 873"/>
                <a:gd name="T40" fmla="*/ 6 w 873"/>
                <a:gd name="T41" fmla="*/ 871 h 873"/>
                <a:gd name="T42" fmla="*/ 9 w 873"/>
                <a:gd name="T43" fmla="*/ 872 h 873"/>
                <a:gd name="T44" fmla="*/ 12 w 873"/>
                <a:gd name="T45" fmla="*/ 873 h 873"/>
                <a:gd name="T46" fmla="*/ 15 w 873"/>
                <a:gd name="T47" fmla="*/ 873 h 873"/>
                <a:gd name="T48" fmla="*/ 858 w 873"/>
                <a:gd name="T49" fmla="*/ 873 h 873"/>
                <a:gd name="T50" fmla="*/ 861 w 873"/>
                <a:gd name="T51" fmla="*/ 873 h 873"/>
                <a:gd name="T52" fmla="*/ 864 w 873"/>
                <a:gd name="T53" fmla="*/ 872 h 873"/>
                <a:gd name="T54" fmla="*/ 866 w 873"/>
                <a:gd name="T55" fmla="*/ 871 h 873"/>
                <a:gd name="T56" fmla="*/ 868 w 873"/>
                <a:gd name="T57" fmla="*/ 869 h 873"/>
                <a:gd name="T58" fmla="*/ 871 w 873"/>
                <a:gd name="T59" fmla="*/ 867 h 873"/>
                <a:gd name="T60" fmla="*/ 872 w 873"/>
                <a:gd name="T61" fmla="*/ 865 h 873"/>
                <a:gd name="T62" fmla="*/ 873 w 873"/>
                <a:gd name="T63" fmla="*/ 862 h 873"/>
                <a:gd name="T64" fmla="*/ 873 w 873"/>
                <a:gd name="T65" fmla="*/ 858 h 873"/>
                <a:gd name="T66" fmla="*/ 873 w 873"/>
                <a:gd name="T67" fmla="*/ 15 h 873"/>
                <a:gd name="T68" fmla="*/ 873 w 873"/>
                <a:gd name="T69" fmla="*/ 12 h 873"/>
                <a:gd name="T70" fmla="*/ 872 w 873"/>
                <a:gd name="T71" fmla="*/ 10 h 873"/>
                <a:gd name="T72" fmla="*/ 871 w 873"/>
                <a:gd name="T73" fmla="*/ 7 h 873"/>
                <a:gd name="T74" fmla="*/ 868 w 873"/>
                <a:gd name="T75" fmla="*/ 5 h 873"/>
                <a:gd name="T76" fmla="*/ 866 w 873"/>
                <a:gd name="T77" fmla="*/ 3 h 873"/>
                <a:gd name="T78" fmla="*/ 864 w 873"/>
                <a:gd name="T79" fmla="*/ 1 h 873"/>
                <a:gd name="T80" fmla="*/ 861 w 873"/>
                <a:gd name="T81" fmla="*/ 0 h 873"/>
                <a:gd name="T82" fmla="*/ 858 w 873"/>
                <a:gd name="T83" fmla="*/ 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3" h="873">
                  <a:moveTo>
                    <a:pt x="843" y="843"/>
                  </a:moveTo>
                  <a:lnTo>
                    <a:pt x="30" y="843"/>
                  </a:lnTo>
                  <a:lnTo>
                    <a:pt x="30" y="30"/>
                  </a:lnTo>
                  <a:lnTo>
                    <a:pt x="843" y="30"/>
                  </a:lnTo>
                  <a:lnTo>
                    <a:pt x="843" y="843"/>
                  </a:lnTo>
                  <a:close/>
                  <a:moveTo>
                    <a:pt x="858" y="0"/>
                  </a:moveTo>
                  <a:lnTo>
                    <a:pt x="15" y="0"/>
                  </a:lnTo>
                  <a:lnTo>
                    <a:pt x="12" y="0"/>
                  </a:lnTo>
                  <a:lnTo>
                    <a:pt x="9" y="1"/>
                  </a:lnTo>
                  <a:lnTo>
                    <a:pt x="6" y="3"/>
                  </a:lnTo>
                  <a:lnTo>
                    <a:pt x="4" y="5"/>
                  </a:lnTo>
                  <a:lnTo>
                    <a:pt x="3" y="7"/>
                  </a:lnTo>
                  <a:lnTo>
                    <a:pt x="1" y="10"/>
                  </a:lnTo>
                  <a:lnTo>
                    <a:pt x="1" y="12"/>
                  </a:lnTo>
                  <a:lnTo>
                    <a:pt x="0" y="15"/>
                  </a:lnTo>
                  <a:lnTo>
                    <a:pt x="0" y="858"/>
                  </a:lnTo>
                  <a:lnTo>
                    <a:pt x="1" y="862"/>
                  </a:lnTo>
                  <a:lnTo>
                    <a:pt x="1" y="865"/>
                  </a:lnTo>
                  <a:lnTo>
                    <a:pt x="3" y="867"/>
                  </a:lnTo>
                  <a:lnTo>
                    <a:pt x="4" y="869"/>
                  </a:lnTo>
                  <a:lnTo>
                    <a:pt x="6" y="871"/>
                  </a:lnTo>
                  <a:lnTo>
                    <a:pt x="9" y="872"/>
                  </a:lnTo>
                  <a:lnTo>
                    <a:pt x="12" y="873"/>
                  </a:lnTo>
                  <a:lnTo>
                    <a:pt x="15" y="873"/>
                  </a:lnTo>
                  <a:lnTo>
                    <a:pt x="858" y="873"/>
                  </a:lnTo>
                  <a:lnTo>
                    <a:pt x="861" y="873"/>
                  </a:lnTo>
                  <a:lnTo>
                    <a:pt x="864" y="872"/>
                  </a:lnTo>
                  <a:lnTo>
                    <a:pt x="866" y="871"/>
                  </a:lnTo>
                  <a:lnTo>
                    <a:pt x="868" y="869"/>
                  </a:lnTo>
                  <a:lnTo>
                    <a:pt x="871" y="867"/>
                  </a:lnTo>
                  <a:lnTo>
                    <a:pt x="872" y="865"/>
                  </a:lnTo>
                  <a:lnTo>
                    <a:pt x="873" y="862"/>
                  </a:lnTo>
                  <a:lnTo>
                    <a:pt x="873" y="858"/>
                  </a:lnTo>
                  <a:lnTo>
                    <a:pt x="873" y="15"/>
                  </a:lnTo>
                  <a:lnTo>
                    <a:pt x="873" y="12"/>
                  </a:lnTo>
                  <a:lnTo>
                    <a:pt x="872" y="10"/>
                  </a:lnTo>
                  <a:lnTo>
                    <a:pt x="871" y="7"/>
                  </a:lnTo>
                  <a:lnTo>
                    <a:pt x="868" y="5"/>
                  </a:lnTo>
                  <a:lnTo>
                    <a:pt x="866" y="3"/>
                  </a:lnTo>
                  <a:lnTo>
                    <a:pt x="864" y="1"/>
                  </a:lnTo>
                  <a:lnTo>
                    <a:pt x="861"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grpSp>
          <p:nvGrpSpPr>
            <p:cNvPr id="1089" name="Gruppieren 1088">
              <a:extLst>
                <a:ext uri="{FF2B5EF4-FFF2-40B4-BE49-F238E27FC236}">
                  <a16:creationId xmlns:a16="http://schemas.microsoft.com/office/drawing/2014/main" id="{F173B5AE-C23C-4C05-A0F6-6AD15D3DDE4E}"/>
                </a:ext>
              </a:extLst>
            </p:cNvPr>
            <p:cNvGrpSpPr/>
            <p:nvPr/>
          </p:nvGrpSpPr>
          <p:grpSpPr>
            <a:xfrm>
              <a:off x="7853017" y="-101505"/>
              <a:ext cx="32143" cy="188036"/>
              <a:chOff x="10794645" y="6402509"/>
              <a:chExt cx="32143" cy="188036"/>
            </a:xfrm>
            <a:grpFill/>
          </p:grpSpPr>
          <p:sp>
            <p:nvSpPr>
              <p:cNvPr id="1090" name="Freeform 27">
                <a:extLst>
                  <a:ext uri="{FF2B5EF4-FFF2-40B4-BE49-F238E27FC236}">
                    <a16:creationId xmlns:a16="http://schemas.microsoft.com/office/drawing/2014/main" id="{94CBF775-AB48-472E-BC9C-9A669CB55EFB}"/>
                  </a:ext>
                </a:extLst>
              </p:cNvPr>
              <p:cNvSpPr>
                <a:spLocks/>
              </p:cNvSpPr>
              <p:nvPr/>
            </p:nvSpPr>
            <p:spPr bwMode="auto">
              <a:xfrm>
                <a:off x="10802681" y="6402509"/>
                <a:ext cx="16071" cy="125357"/>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solidFill>
                    <a:prstClr val="black"/>
                  </a:solidFill>
                </a:endParaRPr>
              </a:p>
            </p:txBody>
          </p:sp>
          <p:sp>
            <p:nvSpPr>
              <p:cNvPr id="1091" name="Oval 28">
                <a:extLst>
                  <a:ext uri="{FF2B5EF4-FFF2-40B4-BE49-F238E27FC236}">
                    <a16:creationId xmlns:a16="http://schemas.microsoft.com/office/drawing/2014/main" id="{9F25F4B5-28F6-4EB5-9A65-B8B6621A2F93}"/>
                  </a:ext>
                </a:extLst>
              </p:cNvPr>
              <p:cNvSpPr>
                <a:spLocks noChangeArrowheads="1"/>
              </p:cNvSpPr>
              <p:nvPr/>
            </p:nvSpPr>
            <p:spPr bwMode="auto">
              <a:xfrm>
                <a:off x="10794645" y="6560009"/>
                <a:ext cx="32143" cy="3053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solidFill>
                    <a:prstClr val="black"/>
                  </a:solidFill>
                </a:endParaRPr>
              </a:p>
            </p:txBody>
          </p:sp>
        </p:grpSp>
      </p:grpSp>
      <p:grpSp>
        <p:nvGrpSpPr>
          <p:cNvPr id="1168" name="Group 121">
            <a:extLst>
              <a:ext uri="{FF2B5EF4-FFF2-40B4-BE49-F238E27FC236}">
                <a16:creationId xmlns:a16="http://schemas.microsoft.com/office/drawing/2014/main" id="{DBE10FA2-C23F-47B3-9CA7-B72E245309FE}"/>
              </a:ext>
            </a:extLst>
          </p:cNvPr>
          <p:cNvGrpSpPr>
            <a:grpSpLocks noChangeAspect="1"/>
          </p:cNvGrpSpPr>
          <p:nvPr/>
        </p:nvGrpSpPr>
        <p:grpSpPr>
          <a:xfrm>
            <a:off x="7471638" y="5956111"/>
            <a:ext cx="286141" cy="285619"/>
            <a:chOff x="5946033" y="5419470"/>
            <a:chExt cx="504248" cy="503328"/>
          </a:xfrm>
          <a:solidFill>
            <a:schemeClr val="bg1"/>
          </a:solidFill>
          <a:effectLst/>
        </p:grpSpPr>
        <p:sp>
          <p:nvSpPr>
            <p:cNvPr id="1190" name="Freeform 22">
              <a:extLst>
                <a:ext uri="{FF2B5EF4-FFF2-40B4-BE49-F238E27FC236}">
                  <a16:creationId xmlns:a16="http://schemas.microsoft.com/office/drawing/2014/main" id="{CAEEDBF8-7A09-40A5-AA16-2CD228C80338}"/>
                </a:ext>
              </a:extLst>
            </p:cNvPr>
            <p:cNvSpPr>
              <a:spLocks noEditPoints="1"/>
            </p:cNvSpPr>
            <p:nvPr/>
          </p:nvSpPr>
          <p:spPr bwMode="auto">
            <a:xfrm>
              <a:off x="6188955" y="5568536"/>
              <a:ext cx="185872" cy="223599"/>
            </a:xfrm>
            <a:custGeom>
              <a:avLst/>
              <a:gdLst>
                <a:gd name="T0" fmla="*/ 89 w 607"/>
                <a:gd name="T1" fmla="*/ 352 h 728"/>
                <a:gd name="T2" fmla="*/ 547 w 607"/>
                <a:gd name="T3" fmla="*/ 643 h 728"/>
                <a:gd name="T4" fmla="*/ 547 w 607"/>
                <a:gd name="T5" fmla="*/ 83 h 728"/>
                <a:gd name="T6" fmla="*/ 89 w 607"/>
                <a:gd name="T7" fmla="*/ 352 h 728"/>
                <a:gd name="T8" fmla="*/ 577 w 607"/>
                <a:gd name="T9" fmla="*/ 728 h 728"/>
                <a:gd name="T10" fmla="*/ 568 w 607"/>
                <a:gd name="T11" fmla="*/ 728 h 728"/>
                <a:gd name="T12" fmla="*/ 561 w 607"/>
                <a:gd name="T13" fmla="*/ 724 h 728"/>
                <a:gd name="T14" fmla="*/ 14 w 607"/>
                <a:gd name="T15" fmla="*/ 377 h 728"/>
                <a:gd name="T16" fmla="*/ 8 w 607"/>
                <a:gd name="T17" fmla="*/ 372 h 728"/>
                <a:gd name="T18" fmla="*/ 4 w 607"/>
                <a:gd name="T19" fmla="*/ 367 h 728"/>
                <a:gd name="T20" fmla="*/ 1 w 607"/>
                <a:gd name="T21" fmla="*/ 359 h 728"/>
                <a:gd name="T22" fmla="*/ 0 w 607"/>
                <a:gd name="T23" fmla="*/ 351 h 728"/>
                <a:gd name="T24" fmla="*/ 1 w 607"/>
                <a:gd name="T25" fmla="*/ 344 h 728"/>
                <a:gd name="T26" fmla="*/ 4 w 607"/>
                <a:gd name="T27" fmla="*/ 336 h 728"/>
                <a:gd name="T28" fmla="*/ 8 w 607"/>
                <a:gd name="T29" fmla="*/ 331 h 728"/>
                <a:gd name="T30" fmla="*/ 15 w 607"/>
                <a:gd name="T31" fmla="*/ 325 h 728"/>
                <a:gd name="T32" fmla="*/ 563 w 607"/>
                <a:gd name="T33" fmla="*/ 4 h 728"/>
                <a:gd name="T34" fmla="*/ 570 w 607"/>
                <a:gd name="T35" fmla="*/ 1 h 728"/>
                <a:gd name="T36" fmla="*/ 577 w 607"/>
                <a:gd name="T37" fmla="*/ 0 h 728"/>
                <a:gd name="T38" fmla="*/ 586 w 607"/>
                <a:gd name="T39" fmla="*/ 0 h 728"/>
                <a:gd name="T40" fmla="*/ 593 w 607"/>
                <a:gd name="T41" fmla="*/ 4 h 728"/>
                <a:gd name="T42" fmla="*/ 599 w 607"/>
                <a:gd name="T43" fmla="*/ 8 h 728"/>
                <a:gd name="T44" fmla="*/ 604 w 607"/>
                <a:gd name="T45" fmla="*/ 14 h 728"/>
                <a:gd name="T46" fmla="*/ 607 w 607"/>
                <a:gd name="T47" fmla="*/ 21 h 728"/>
                <a:gd name="T48" fmla="*/ 607 w 607"/>
                <a:gd name="T49" fmla="*/ 30 h 728"/>
                <a:gd name="T50" fmla="*/ 607 w 607"/>
                <a:gd name="T51" fmla="*/ 698 h 728"/>
                <a:gd name="T52" fmla="*/ 607 w 607"/>
                <a:gd name="T53" fmla="*/ 706 h 728"/>
                <a:gd name="T54" fmla="*/ 603 w 607"/>
                <a:gd name="T55" fmla="*/ 714 h 728"/>
                <a:gd name="T56" fmla="*/ 599 w 607"/>
                <a:gd name="T57" fmla="*/ 719 h 728"/>
                <a:gd name="T58" fmla="*/ 591 w 607"/>
                <a:gd name="T59" fmla="*/ 725 h 728"/>
                <a:gd name="T60" fmla="*/ 584 w 607"/>
                <a:gd name="T61" fmla="*/ 728 h 728"/>
                <a:gd name="T62" fmla="*/ 577 w 607"/>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7" h="728">
                  <a:moveTo>
                    <a:pt x="89" y="352"/>
                  </a:moveTo>
                  <a:lnTo>
                    <a:pt x="547" y="643"/>
                  </a:lnTo>
                  <a:lnTo>
                    <a:pt x="547" y="83"/>
                  </a:lnTo>
                  <a:lnTo>
                    <a:pt x="89" y="352"/>
                  </a:lnTo>
                  <a:close/>
                  <a:moveTo>
                    <a:pt x="577" y="728"/>
                  </a:moveTo>
                  <a:lnTo>
                    <a:pt x="568" y="728"/>
                  </a:lnTo>
                  <a:lnTo>
                    <a:pt x="561" y="724"/>
                  </a:lnTo>
                  <a:lnTo>
                    <a:pt x="14" y="377"/>
                  </a:lnTo>
                  <a:lnTo>
                    <a:pt x="8" y="372"/>
                  </a:lnTo>
                  <a:lnTo>
                    <a:pt x="4" y="367"/>
                  </a:lnTo>
                  <a:lnTo>
                    <a:pt x="1" y="359"/>
                  </a:lnTo>
                  <a:lnTo>
                    <a:pt x="0" y="351"/>
                  </a:lnTo>
                  <a:lnTo>
                    <a:pt x="1" y="344"/>
                  </a:lnTo>
                  <a:lnTo>
                    <a:pt x="4" y="336"/>
                  </a:lnTo>
                  <a:lnTo>
                    <a:pt x="8" y="331"/>
                  </a:lnTo>
                  <a:lnTo>
                    <a:pt x="15" y="325"/>
                  </a:lnTo>
                  <a:lnTo>
                    <a:pt x="563" y="4"/>
                  </a:lnTo>
                  <a:lnTo>
                    <a:pt x="570" y="1"/>
                  </a:lnTo>
                  <a:lnTo>
                    <a:pt x="577" y="0"/>
                  </a:lnTo>
                  <a:lnTo>
                    <a:pt x="586" y="0"/>
                  </a:lnTo>
                  <a:lnTo>
                    <a:pt x="593" y="4"/>
                  </a:lnTo>
                  <a:lnTo>
                    <a:pt x="599" y="8"/>
                  </a:lnTo>
                  <a:lnTo>
                    <a:pt x="604" y="14"/>
                  </a:lnTo>
                  <a:lnTo>
                    <a:pt x="607" y="21"/>
                  </a:lnTo>
                  <a:lnTo>
                    <a:pt x="607" y="30"/>
                  </a:lnTo>
                  <a:lnTo>
                    <a:pt x="607" y="698"/>
                  </a:lnTo>
                  <a:lnTo>
                    <a:pt x="607" y="706"/>
                  </a:lnTo>
                  <a:lnTo>
                    <a:pt x="603" y="714"/>
                  </a:lnTo>
                  <a:lnTo>
                    <a:pt x="599" y="719"/>
                  </a:lnTo>
                  <a:lnTo>
                    <a:pt x="591" y="725"/>
                  </a:lnTo>
                  <a:lnTo>
                    <a:pt x="584" y="728"/>
                  </a:lnTo>
                  <a:lnTo>
                    <a:pt x="577"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1" name="Freeform 23">
              <a:extLst>
                <a:ext uri="{FF2B5EF4-FFF2-40B4-BE49-F238E27FC236}">
                  <a16:creationId xmlns:a16="http://schemas.microsoft.com/office/drawing/2014/main" id="{24495E2D-8876-434B-A49F-080A76CF0012}"/>
                </a:ext>
              </a:extLst>
            </p:cNvPr>
            <p:cNvSpPr>
              <a:spLocks noEditPoints="1"/>
            </p:cNvSpPr>
            <p:nvPr/>
          </p:nvSpPr>
          <p:spPr bwMode="auto">
            <a:xfrm>
              <a:off x="6020566" y="5568536"/>
              <a:ext cx="186792" cy="223599"/>
            </a:xfrm>
            <a:custGeom>
              <a:avLst/>
              <a:gdLst>
                <a:gd name="T0" fmla="*/ 90 w 608"/>
                <a:gd name="T1" fmla="*/ 352 h 728"/>
                <a:gd name="T2" fmla="*/ 548 w 608"/>
                <a:gd name="T3" fmla="*/ 643 h 728"/>
                <a:gd name="T4" fmla="*/ 548 w 608"/>
                <a:gd name="T5" fmla="*/ 83 h 728"/>
                <a:gd name="T6" fmla="*/ 90 w 608"/>
                <a:gd name="T7" fmla="*/ 352 h 728"/>
                <a:gd name="T8" fmla="*/ 578 w 608"/>
                <a:gd name="T9" fmla="*/ 728 h 728"/>
                <a:gd name="T10" fmla="*/ 569 w 608"/>
                <a:gd name="T11" fmla="*/ 728 h 728"/>
                <a:gd name="T12" fmla="*/ 562 w 608"/>
                <a:gd name="T13" fmla="*/ 724 h 728"/>
                <a:gd name="T14" fmla="*/ 15 w 608"/>
                <a:gd name="T15" fmla="*/ 377 h 728"/>
                <a:gd name="T16" fmla="*/ 9 w 608"/>
                <a:gd name="T17" fmla="*/ 372 h 728"/>
                <a:gd name="T18" fmla="*/ 5 w 608"/>
                <a:gd name="T19" fmla="*/ 367 h 728"/>
                <a:gd name="T20" fmla="*/ 2 w 608"/>
                <a:gd name="T21" fmla="*/ 359 h 728"/>
                <a:gd name="T22" fmla="*/ 0 w 608"/>
                <a:gd name="T23" fmla="*/ 351 h 728"/>
                <a:gd name="T24" fmla="*/ 2 w 608"/>
                <a:gd name="T25" fmla="*/ 344 h 728"/>
                <a:gd name="T26" fmla="*/ 5 w 608"/>
                <a:gd name="T27" fmla="*/ 336 h 728"/>
                <a:gd name="T28" fmla="*/ 9 w 608"/>
                <a:gd name="T29" fmla="*/ 331 h 728"/>
                <a:gd name="T30" fmla="*/ 16 w 608"/>
                <a:gd name="T31" fmla="*/ 325 h 728"/>
                <a:gd name="T32" fmla="*/ 563 w 608"/>
                <a:gd name="T33" fmla="*/ 4 h 728"/>
                <a:gd name="T34" fmla="*/ 571 w 608"/>
                <a:gd name="T35" fmla="*/ 1 h 728"/>
                <a:gd name="T36" fmla="*/ 578 w 608"/>
                <a:gd name="T37" fmla="*/ 0 h 728"/>
                <a:gd name="T38" fmla="*/ 587 w 608"/>
                <a:gd name="T39" fmla="*/ 0 h 728"/>
                <a:gd name="T40" fmla="*/ 594 w 608"/>
                <a:gd name="T41" fmla="*/ 4 h 728"/>
                <a:gd name="T42" fmla="*/ 599 w 608"/>
                <a:gd name="T43" fmla="*/ 8 h 728"/>
                <a:gd name="T44" fmla="*/ 605 w 608"/>
                <a:gd name="T45" fmla="*/ 14 h 728"/>
                <a:gd name="T46" fmla="*/ 608 w 608"/>
                <a:gd name="T47" fmla="*/ 21 h 728"/>
                <a:gd name="T48" fmla="*/ 608 w 608"/>
                <a:gd name="T49" fmla="*/ 30 h 728"/>
                <a:gd name="T50" fmla="*/ 608 w 608"/>
                <a:gd name="T51" fmla="*/ 698 h 728"/>
                <a:gd name="T52" fmla="*/ 608 w 608"/>
                <a:gd name="T53" fmla="*/ 706 h 728"/>
                <a:gd name="T54" fmla="*/ 604 w 608"/>
                <a:gd name="T55" fmla="*/ 714 h 728"/>
                <a:gd name="T56" fmla="*/ 599 w 608"/>
                <a:gd name="T57" fmla="*/ 719 h 728"/>
                <a:gd name="T58" fmla="*/ 592 w 608"/>
                <a:gd name="T59" fmla="*/ 725 h 728"/>
                <a:gd name="T60" fmla="*/ 587 w 608"/>
                <a:gd name="T61" fmla="*/ 728 h 728"/>
                <a:gd name="T62" fmla="*/ 578 w 608"/>
                <a:gd name="T63"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8" h="728">
                  <a:moveTo>
                    <a:pt x="90" y="352"/>
                  </a:moveTo>
                  <a:lnTo>
                    <a:pt x="548" y="643"/>
                  </a:lnTo>
                  <a:lnTo>
                    <a:pt x="548" y="83"/>
                  </a:lnTo>
                  <a:lnTo>
                    <a:pt x="90" y="352"/>
                  </a:lnTo>
                  <a:close/>
                  <a:moveTo>
                    <a:pt x="578" y="728"/>
                  </a:moveTo>
                  <a:lnTo>
                    <a:pt x="569" y="728"/>
                  </a:lnTo>
                  <a:lnTo>
                    <a:pt x="562" y="724"/>
                  </a:lnTo>
                  <a:lnTo>
                    <a:pt x="15" y="377"/>
                  </a:lnTo>
                  <a:lnTo>
                    <a:pt x="9" y="372"/>
                  </a:lnTo>
                  <a:lnTo>
                    <a:pt x="5" y="367"/>
                  </a:lnTo>
                  <a:lnTo>
                    <a:pt x="2" y="359"/>
                  </a:lnTo>
                  <a:lnTo>
                    <a:pt x="0" y="351"/>
                  </a:lnTo>
                  <a:lnTo>
                    <a:pt x="2" y="344"/>
                  </a:lnTo>
                  <a:lnTo>
                    <a:pt x="5" y="336"/>
                  </a:lnTo>
                  <a:lnTo>
                    <a:pt x="9" y="331"/>
                  </a:lnTo>
                  <a:lnTo>
                    <a:pt x="16" y="325"/>
                  </a:lnTo>
                  <a:lnTo>
                    <a:pt x="563" y="4"/>
                  </a:lnTo>
                  <a:lnTo>
                    <a:pt x="571" y="1"/>
                  </a:lnTo>
                  <a:lnTo>
                    <a:pt x="578" y="0"/>
                  </a:lnTo>
                  <a:lnTo>
                    <a:pt x="587" y="0"/>
                  </a:lnTo>
                  <a:lnTo>
                    <a:pt x="594" y="4"/>
                  </a:lnTo>
                  <a:lnTo>
                    <a:pt x="599" y="8"/>
                  </a:lnTo>
                  <a:lnTo>
                    <a:pt x="605" y="14"/>
                  </a:lnTo>
                  <a:lnTo>
                    <a:pt x="608" y="21"/>
                  </a:lnTo>
                  <a:lnTo>
                    <a:pt x="608" y="30"/>
                  </a:lnTo>
                  <a:lnTo>
                    <a:pt x="608" y="698"/>
                  </a:lnTo>
                  <a:lnTo>
                    <a:pt x="608" y="706"/>
                  </a:lnTo>
                  <a:lnTo>
                    <a:pt x="604" y="714"/>
                  </a:lnTo>
                  <a:lnTo>
                    <a:pt x="599" y="719"/>
                  </a:lnTo>
                  <a:lnTo>
                    <a:pt x="592" y="725"/>
                  </a:lnTo>
                  <a:lnTo>
                    <a:pt x="587" y="728"/>
                  </a:lnTo>
                  <a:lnTo>
                    <a:pt x="578"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2" name="Freeform 24">
              <a:extLst>
                <a:ext uri="{FF2B5EF4-FFF2-40B4-BE49-F238E27FC236}">
                  <a16:creationId xmlns:a16="http://schemas.microsoft.com/office/drawing/2014/main" id="{5B51B6A3-2719-40FE-BD61-EF50A3367B31}"/>
                </a:ext>
              </a:extLst>
            </p:cNvPr>
            <p:cNvSpPr>
              <a:spLocks noEditPoints="1"/>
            </p:cNvSpPr>
            <p:nvPr/>
          </p:nvSpPr>
          <p:spPr bwMode="auto">
            <a:xfrm>
              <a:off x="5946033" y="5419470"/>
              <a:ext cx="504248" cy="503328"/>
            </a:xfrm>
            <a:custGeom>
              <a:avLst/>
              <a:gdLst>
                <a:gd name="T0" fmla="*/ 668 w 1642"/>
                <a:gd name="T1" fmla="*/ 76 h 1641"/>
                <a:gd name="T2" fmla="*/ 493 w 1642"/>
                <a:gd name="T3" fmla="*/ 135 h 1641"/>
                <a:gd name="T4" fmla="*/ 338 w 1642"/>
                <a:gd name="T5" fmla="*/ 235 h 1641"/>
                <a:gd name="T6" fmla="*/ 213 w 1642"/>
                <a:gd name="T7" fmla="*/ 366 h 1641"/>
                <a:gd name="T8" fmla="*/ 121 w 1642"/>
                <a:gd name="T9" fmla="*/ 525 h 1641"/>
                <a:gd name="T10" fmla="*/ 71 w 1642"/>
                <a:gd name="T11" fmla="*/ 705 h 1641"/>
                <a:gd name="T12" fmla="*/ 65 w 1642"/>
                <a:gd name="T13" fmla="*/ 898 h 1641"/>
                <a:gd name="T14" fmla="*/ 108 w 1642"/>
                <a:gd name="T15" fmla="*/ 1081 h 1641"/>
                <a:gd name="T16" fmla="*/ 192 w 1642"/>
                <a:gd name="T17" fmla="*/ 1245 h 1641"/>
                <a:gd name="T18" fmla="*/ 311 w 1642"/>
                <a:gd name="T19" fmla="*/ 1383 h 1641"/>
                <a:gd name="T20" fmla="*/ 459 w 1642"/>
                <a:gd name="T21" fmla="*/ 1488 h 1641"/>
                <a:gd name="T22" fmla="*/ 632 w 1642"/>
                <a:gd name="T23" fmla="*/ 1556 h 1641"/>
                <a:gd name="T24" fmla="*/ 821 w 1642"/>
                <a:gd name="T25" fmla="*/ 1581 h 1641"/>
                <a:gd name="T26" fmla="*/ 1011 w 1642"/>
                <a:gd name="T27" fmla="*/ 1556 h 1641"/>
                <a:gd name="T28" fmla="*/ 1184 w 1642"/>
                <a:gd name="T29" fmla="*/ 1488 h 1641"/>
                <a:gd name="T30" fmla="*/ 1332 w 1642"/>
                <a:gd name="T31" fmla="*/ 1383 h 1641"/>
                <a:gd name="T32" fmla="*/ 1452 w 1642"/>
                <a:gd name="T33" fmla="*/ 1245 h 1641"/>
                <a:gd name="T34" fmla="*/ 1535 w 1642"/>
                <a:gd name="T35" fmla="*/ 1081 h 1641"/>
                <a:gd name="T36" fmla="*/ 1577 w 1642"/>
                <a:gd name="T37" fmla="*/ 898 h 1641"/>
                <a:gd name="T38" fmla="*/ 1573 w 1642"/>
                <a:gd name="T39" fmla="*/ 705 h 1641"/>
                <a:gd name="T40" fmla="*/ 1521 w 1642"/>
                <a:gd name="T41" fmla="*/ 525 h 1641"/>
                <a:gd name="T42" fmla="*/ 1430 w 1642"/>
                <a:gd name="T43" fmla="*/ 366 h 1641"/>
                <a:gd name="T44" fmla="*/ 1305 w 1642"/>
                <a:gd name="T45" fmla="*/ 235 h 1641"/>
                <a:gd name="T46" fmla="*/ 1151 w 1642"/>
                <a:gd name="T47" fmla="*/ 135 h 1641"/>
                <a:gd name="T48" fmla="*/ 975 w 1642"/>
                <a:gd name="T49" fmla="*/ 76 h 1641"/>
                <a:gd name="T50" fmla="*/ 821 w 1642"/>
                <a:gd name="T51" fmla="*/ 1641 h 1641"/>
                <a:gd name="T52" fmla="*/ 616 w 1642"/>
                <a:gd name="T53" fmla="*/ 1615 h 1641"/>
                <a:gd name="T54" fmla="*/ 431 w 1642"/>
                <a:gd name="T55" fmla="*/ 1542 h 1641"/>
                <a:gd name="T56" fmla="*/ 269 w 1642"/>
                <a:gd name="T57" fmla="*/ 1428 h 1641"/>
                <a:gd name="T58" fmla="*/ 141 w 1642"/>
                <a:gd name="T59" fmla="*/ 1278 h 1641"/>
                <a:gd name="T60" fmla="*/ 50 w 1642"/>
                <a:gd name="T61" fmla="*/ 1103 h 1641"/>
                <a:gd name="T62" fmla="*/ 4 w 1642"/>
                <a:gd name="T63" fmla="*/ 904 h 1641"/>
                <a:gd name="T64" fmla="*/ 10 w 1642"/>
                <a:gd name="T65" fmla="*/ 695 h 1641"/>
                <a:gd name="T66" fmla="*/ 65 w 1642"/>
                <a:gd name="T67" fmla="*/ 501 h 1641"/>
                <a:gd name="T68" fmla="*/ 164 w 1642"/>
                <a:gd name="T69" fmla="*/ 330 h 1641"/>
                <a:gd name="T70" fmla="*/ 300 w 1642"/>
                <a:gd name="T71" fmla="*/ 187 h 1641"/>
                <a:gd name="T72" fmla="*/ 465 w 1642"/>
                <a:gd name="T73" fmla="*/ 81 h 1641"/>
                <a:gd name="T74" fmla="*/ 657 w 1642"/>
                <a:gd name="T75" fmla="*/ 17 h 1641"/>
                <a:gd name="T76" fmla="*/ 864 w 1642"/>
                <a:gd name="T77" fmla="*/ 1 h 1641"/>
                <a:gd name="T78" fmla="*/ 1066 w 1642"/>
                <a:gd name="T79" fmla="*/ 37 h 1641"/>
                <a:gd name="T80" fmla="*/ 1247 w 1642"/>
                <a:gd name="T81" fmla="*/ 119 h 1641"/>
                <a:gd name="T82" fmla="*/ 1401 w 1642"/>
                <a:gd name="T83" fmla="*/ 240 h 1641"/>
                <a:gd name="T84" fmla="*/ 1524 w 1642"/>
                <a:gd name="T85" fmla="*/ 396 h 1641"/>
                <a:gd name="T86" fmla="*/ 1606 w 1642"/>
                <a:gd name="T87" fmla="*/ 577 h 1641"/>
                <a:gd name="T88" fmla="*/ 1640 w 1642"/>
                <a:gd name="T89" fmla="*/ 779 h 1641"/>
                <a:gd name="T90" fmla="*/ 1626 w 1642"/>
                <a:gd name="T91" fmla="*/ 986 h 1641"/>
                <a:gd name="T92" fmla="*/ 1561 w 1642"/>
                <a:gd name="T93" fmla="*/ 1176 h 1641"/>
                <a:gd name="T94" fmla="*/ 1454 w 1642"/>
                <a:gd name="T95" fmla="*/ 1342 h 1641"/>
                <a:gd name="T96" fmla="*/ 1312 w 1642"/>
                <a:gd name="T97" fmla="*/ 1478 h 1641"/>
                <a:gd name="T98" fmla="*/ 1141 w 1642"/>
                <a:gd name="T99" fmla="*/ 1576 h 1641"/>
                <a:gd name="T100" fmla="*/ 946 w 1642"/>
                <a:gd name="T101" fmla="*/ 163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2" h="1641">
                  <a:moveTo>
                    <a:pt x="821" y="60"/>
                  </a:moveTo>
                  <a:lnTo>
                    <a:pt x="782" y="62"/>
                  </a:lnTo>
                  <a:lnTo>
                    <a:pt x="743" y="65"/>
                  </a:lnTo>
                  <a:lnTo>
                    <a:pt x="706" y="69"/>
                  </a:lnTo>
                  <a:lnTo>
                    <a:pt x="668" y="76"/>
                  </a:lnTo>
                  <a:lnTo>
                    <a:pt x="632" y="85"/>
                  </a:lnTo>
                  <a:lnTo>
                    <a:pt x="596" y="95"/>
                  </a:lnTo>
                  <a:lnTo>
                    <a:pt x="560" y="107"/>
                  </a:lnTo>
                  <a:lnTo>
                    <a:pt x="526" y="121"/>
                  </a:lnTo>
                  <a:lnTo>
                    <a:pt x="493" y="135"/>
                  </a:lnTo>
                  <a:lnTo>
                    <a:pt x="459" y="153"/>
                  </a:lnTo>
                  <a:lnTo>
                    <a:pt x="428" y="171"/>
                  </a:lnTo>
                  <a:lnTo>
                    <a:pt x="396" y="190"/>
                  </a:lnTo>
                  <a:lnTo>
                    <a:pt x="367" y="212"/>
                  </a:lnTo>
                  <a:lnTo>
                    <a:pt x="338" y="235"/>
                  </a:lnTo>
                  <a:lnTo>
                    <a:pt x="311" y="258"/>
                  </a:lnTo>
                  <a:lnTo>
                    <a:pt x="284" y="284"/>
                  </a:lnTo>
                  <a:lnTo>
                    <a:pt x="259" y="309"/>
                  </a:lnTo>
                  <a:lnTo>
                    <a:pt x="235" y="337"/>
                  </a:lnTo>
                  <a:lnTo>
                    <a:pt x="213" y="366"/>
                  </a:lnTo>
                  <a:lnTo>
                    <a:pt x="192" y="396"/>
                  </a:lnTo>
                  <a:lnTo>
                    <a:pt x="171" y="428"/>
                  </a:lnTo>
                  <a:lnTo>
                    <a:pt x="153" y="459"/>
                  </a:lnTo>
                  <a:lnTo>
                    <a:pt x="137" y="491"/>
                  </a:lnTo>
                  <a:lnTo>
                    <a:pt x="121" y="525"/>
                  </a:lnTo>
                  <a:lnTo>
                    <a:pt x="108" y="560"/>
                  </a:lnTo>
                  <a:lnTo>
                    <a:pt x="95" y="595"/>
                  </a:lnTo>
                  <a:lnTo>
                    <a:pt x="85" y="630"/>
                  </a:lnTo>
                  <a:lnTo>
                    <a:pt x="76" y="668"/>
                  </a:lnTo>
                  <a:lnTo>
                    <a:pt x="71" y="705"/>
                  </a:lnTo>
                  <a:lnTo>
                    <a:pt x="65" y="743"/>
                  </a:lnTo>
                  <a:lnTo>
                    <a:pt x="62" y="782"/>
                  </a:lnTo>
                  <a:lnTo>
                    <a:pt x="62" y="821"/>
                  </a:lnTo>
                  <a:lnTo>
                    <a:pt x="62" y="859"/>
                  </a:lnTo>
                  <a:lnTo>
                    <a:pt x="65" y="898"/>
                  </a:lnTo>
                  <a:lnTo>
                    <a:pt x="71" y="936"/>
                  </a:lnTo>
                  <a:lnTo>
                    <a:pt x="76" y="973"/>
                  </a:lnTo>
                  <a:lnTo>
                    <a:pt x="85" y="1011"/>
                  </a:lnTo>
                  <a:lnTo>
                    <a:pt x="95" y="1046"/>
                  </a:lnTo>
                  <a:lnTo>
                    <a:pt x="108" y="1081"/>
                  </a:lnTo>
                  <a:lnTo>
                    <a:pt x="121" y="1116"/>
                  </a:lnTo>
                  <a:lnTo>
                    <a:pt x="137" y="1150"/>
                  </a:lnTo>
                  <a:lnTo>
                    <a:pt x="153" y="1182"/>
                  </a:lnTo>
                  <a:lnTo>
                    <a:pt x="171" y="1213"/>
                  </a:lnTo>
                  <a:lnTo>
                    <a:pt x="192" y="1245"/>
                  </a:lnTo>
                  <a:lnTo>
                    <a:pt x="213" y="1275"/>
                  </a:lnTo>
                  <a:lnTo>
                    <a:pt x="235" y="1304"/>
                  </a:lnTo>
                  <a:lnTo>
                    <a:pt x="259" y="1332"/>
                  </a:lnTo>
                  <a:lnTo>
                    <a:pt x="284" y="1357"/>
                  </a:lnTo>
                  <a:lnTo>
                    <a:pt x="311" y="1383"/>
                  </a:lnTo>
                  <a:lnTo>
                    <a:pt x="338" y="1406"/>
                  </a:lnTo>
                  <a:lnTo>
                    <a:pt x="367" y="1429"/>
                  </a:lnTo>
                  <a:lnTo>
                    <a:pt x="396" y="1451"/>
                  </a:lnTo>
                  <a:lnTo>
                    <a:pt x="428" y="1470"/>
                  </a:lnTo>
                  <a:lnTo>
                    <a:pt x="459" y="1488"/>
                  </a:lnTo>
                  <a:lnTo>
                    <a:pt x="493" y="1506"/>
                  </a:lnTo>
                  <a:lnTo>
                    <a:pt x="526" y="1520"/>
                  </a:lnTo>
                  <a:lnTo>
                    <a:pt x="560" y="1534"/>
                  </a:lnTo>
                  <a:lnTo>
                    <a:pt x="596" y="1546"/>
                  </a:lnTo>
                  <a:lnTo>
                    <a:pt x="632" y="1556"/>
                  </a:lnTo>
                  <a:lnTo>
                    <a:pt x="668" y="1565"/>
                  </a:lnTo>
                  <a:lnTo>
                    <a:pt x="706" y="1572"/>
                  </a:lnTo>
                  <a:lnTo>
                    <a:pt x="743" y="1576"/>
                  </a:lnTo>
                  <a:lnTo>
                    <a:pt x="782" y="1579"/>
                  </a:lnTo>
                  <a:lnTo>
                    <a:pt x="821" y="1581"/>
                  </a:lnTo>
                  <a:lnTo>
                    <a:pt x="860" y="1579"/>
                  </a:lnTo>
                  <a:lnTo>
                    <a:pt x="899" y="1576"/>
                  </a:lnTo>
                  <a:lnTo>
                    <a:pt x="938" y="1572"/>
                  </a:lnTo>
                  <a:lnTo>
                    <a:pt x="975" y="1565"/>
                  </a:lnTo>
                  <a:lnTo>
                    <a:pt x="1011" y="1556"/>
                  </a:lnTo>
                  <a:lnTo>
                    <a:pt x="1047" y="1546"/>
                  </a:lnTo>
                  <a:lnTo>
                    <a:pt x="1083" y="1534"/>
                  </a:lnTo>
                  <a:lnTo>
                    <a:pt x="1118" y="1520"/>
                  </a:lnTo>
                  <a:lnTo>
                    <a:pt x="1151" y="1506"/>
                  </a:lnTo>
                  <a:lnTo>
                    <a:pt x="1184" y="1488"/>
                  </a:lnTo>
                  <a:lnTo>
                    <a:pt x="1215" y="1470"/>
                  </a:lnTo>
                  <a:lnTo>
                    <a:pt x="1246" y="1451"/>
                  </a:lnTo>
                  <a:lnTo>
                    <a:pt x="1276" y="1429"/>
                  </a:lnTo>
                  <a:lnTo>
                    <a:pt x="1305" y="1406"/>
                  </a:lnTo>
                  <a:lnTo>
                    <a:pt x="1332" y="1383"/>
                  </a:lnTo>
                  <a:lnTo>
                    <a:pt x="1358" y="1357"/>
                  </a:lnTo>
                  <a:lnTo>
                    <a:pt x="1384" y="1332"/>
                  </a:lnTo>
                  <a:lnTo>
                    <a:pt x="1407" y="1304"/>
                  </a:lnTo>
                  <a:lnTo>
                    <a:pt x="1430" y="1275"/>
                  </a:lnTo>
                  <a:lnTo>
                    <a:pt x="1452" y="1245"/>
                  </a:lnTo>
                  <a:lnTo>
                    <a:pt x="1472" y="1213"/>
                  </a:lnTo>
                  <a:lnTo>
                    <a:pt x="1489" y="1182"/>
                  </a:lnTo>
                  <a:lnTo>
                    <a:pt x="1506" y="1150"/>
                  </a:lnTo>
                  <a:lnTo>
                    <a:pt x="1521" y="1116"/>
                  </a:lnTo>
                  <a:lnTo>
                    <a:pt x="1535" y="1081"/>
                  </a:lnTo>
                  <a:lnTo>
                    <a:pt x="1547" y="1046"/>
                  </a:lnTo>
                  <a:lnTo>
                    <a:pt x="1557" y="1011"/>
                  </a:lnTo>
                  <a:lnTo>
                    <a:pt x="1565" y="973"/>
                  </a:lnTo>
                  <a:lnTo>
                    <a:pt x="1573" y="936"/>
                  </a:lnTo>
                  <a:lnTo>
                    <a:pt x="1577" y="898"/>
                  </a:lnTo>
                  <a:lnTo>
                    <a:pt x="1580" y="859"/>
                  </a:lnTo>
                  <a:lnTo>
                    <a:pt x="1581" y="821"/>
                  </a:lnTo>
                  <a:lnTo>
                    <a:pt x="1580" y="782"/>
                  </a:lnTo>
                  <a:lnTo>
                    <a:pt x="1577" y="743"/>
                  </a:lnTo>
                  <a:lnTo>
                    <a:pt x="1573" y="705"/>
                  </a:lnTo>
                  <a:lnTo>
                    <a:pt x="1565" y="668"/>
                  </a:lnTo>
                  <a:lnTo>
                    <a:pt x="1557" y="630"/>
                  </a:lnTo>
                  <a:lnTo>
                    <a:pt x="1547" y="595"/>
                  </a:lnTo>
                  <a:lnTo>
                    <a:pt x="1535" y="560"/>
                  </a:lnTo>
                  <a:lnTo>
                    <a:pt x="1521" y="525"/>
                  </a:lnTo>
                  <a:lnTo>
                    <a:pt x="1506" y="491"/>
                  </a:lnTo>
                  <a:lnTo>
                    <a:pt x="1489" y="459"/>
                  </a:lnTo>
                  <a:lnTo>
                    <a:pt x="1472" y="428"/>
                  </a:lnTo>
                  <a:lnTo>
                    <a:pt x="1452" y="396"/>
                  </a:lnTo>
                  <a:lnTo>
                    <a:pt x="1430" y="366"/>
                  </a:lnTo>
                  <a:lnTo>
                    <a:pt x="1407" y="337"/>
                  </a:lnTo>
                  <a:lnTo>
                    <a:pt x="1384" y="309"/>
                  </a:lnTo>
                  <a:lnTo>
                    <a:pt x="1358" y="284"/>
                  </a:lnTo>
                  <a:lnTo>
                    <a:pt x="1332" y="258"/>
                  </a:lnTo>
                  <a:lnTo>
                    <a:pt x="1305" y="235"/>
                  </a:lnTo>
                  <a:lnTo>
                    <a:pt x="1276" y="212"/>
                  </a:lnTo>
                  <a:lnTo>
                    <a:pt x="1246" y="190"/>
                  </a:lnTo>
                  <a:lnTo>
                    <a:pt x="1215" y="171"/>
                  </a:lnTo>
                  <a:lnTo>
                    <a:pt x="1184" y="153"/>
                  </a:lnTo>
                  <a:lnTo>
                    <a:pt x="1151" y="135"/>
                  </a:lnTo>
                  <a:lnTo>
                    <a:pt x="1118" y="121"/>
                  </a:lnTo>
                  <a:lnTo>
                    <a:pt x="1083" y="107"/>
                  </a:lnTo>
                  <a:lnTo>
                    <a:pt x="1047" y="95"/>
                  </a:lnTo>
                  <a:lnTo>
                    <a:pt x="1011" y="85"/>
                  </a:lnTo>
                  <a:lnTo>
                    <a:pt x="975" y="76"/>
                  </a:lnTo>
                  <a:lnTo>
                    <a:pt x="938" y="69"/>
                  </a:lnTo>
                  <a:lnTo>
                    <a:pt x="899" y="65"/>
                  </a:lnTo>
                  <a:lnTo>
                    <a:pt x="860" y="62"/>
                  </a:lnTo>
                  <a:lnTo>
                    <a:pt x="821" y="60"/>
                  </a:lnTo>
                  <a:close/>
                  <a:moveTo>
                    <a:pt x="821" y="1641"/>
                  </a:moveTo>
                  <a:lnTo>
                    <a:pt x="779" y="1640"/>
                  </a:lnTo>
                  <a:lnTo>
                    <a:pt x="737" y="1637"/>
                  </a:lnTo>
                  <a:lnTo>
                    <a:pt x="697" y="1631"/>
                  </a:lnTo>
                  <a:lnTo>
                    <a:pt x="657" y="1624"/>
                  </a:lnTo>
                  <a:lnTo>
                    <a:pt x="616" y="1615"/>
                  </a:lnTo>
                  <a:lnTo>
                    <a:pt x="578" y="1604"/>
                  </a:lnTo>
                  <a:lnTo>
                    <a:pt x="540" y="1591"/>
                  </a:lnTo>
                  <a:lnTo>
                    <a:pt x="503" y="1576"/>
                  </a:lnTo>
                  <a:lnTo>
                    <a:pt x="465" y="1560"/>
                  </a:lnTo>
                  <a:lnTo>
                    <a:pt x="431" y="1542"/>
                  </a:lnTo>
                  <a:lnTo>
                    <a:pt x="396" y="1522"/>
                  </a:lnTo>
                  <a:lnTo>
                    <a:pt x="363" y="1501"/>
                  </a:lnTo>
                  <a:lnTo>
                    <a:pt x="331" y="1478"/>
                  </a:lnTo>
                  <a:lnTo>
                    <a:pt x="300" y="1454"/>
                  </a:lnTo>
                  <a:lnTo>
                    <a:pt x="269" y="1428"/>
                  </a:lnTo>
                  <a:lnTo>
                    <a:pt x="242" y="1401"/>
                  </a:lnTo>
                  <a:lnTo>
                    <a:pt x="215" y="1372"/>
                  </a:lnTo>
                  <a:lnTo>
                    <a:pt x="189" y="1342"/>
                  </a:lnTo>
                  <a:lnTo>
                    <a:pt x="164" y="1311"/>
                  </a:lnTo>
                  <a:lnTo>
                    <a:pt x="141" y="1278"/>
                  </a:lnTo>
                  <a:lnTo>
                    <a:pt x="120" y="1245"/>
                  </a:lnTo>
                  <a:lnTo>
                    <a:pt x="99" y="1211"/>
                  </a:lnTo>
                  <a:lnTo>
                    <a:pt x="82" y="1176"/>
                  </a:lnTo>
                  <a:lnTo>
                    <a:pt x="65" y="1140"/>
                  </a:lnTo>
                  <a:lnTo>
                    <a:pt x="50" y="1103"/>
                  </a:lnTo>
                  <a:lnTo>
                    <a:pt x="38" y="1064"/>
                  </a:lnTo>
                  <a:lnTo>
                    <a:pt x="26" y="1025"/>
                  </a:lnTo>
                  <a:lnTo>
                    <a:pt x="17" y="986"/>
                  </a:lnTo>
                  <a:lnTo>
                    <a:pt x="10" y="946"/>
                  </a:lnTo>
                  <a:lnTo>
                    <a:pt x="4" y="904"/>
                  </a:lnTo>
                  <a:lnTo>
                    <a:pt x="2" y="862"/>
                  </a:lnTo>
                  <a:lnTo>
                    <a:pt x="0" y="821"/>
                  </a:lnTo>
                  <a:lnTo>
                    <a:pt x="2" y="779"/>
                  </a:lnTo>
                  <a:lnTo>
                    <a:pt x="4" y="737"/>
                  </a:lnTo>
                  <a:lnTo>
                    <a:pt x="10" y="695"/>
                  </a:lnTo>
                  <a:lnTo>
                    <a:pt x="17" y="655"/>
                  </a:lnTo>
                  <a:lnTo>
                    <a:pt x="26" y="616"/>
                  </a:lnTo>
                  <a:lnTo>
                    <a:pt x="38" y="577"/>
                  </a:lnTo>
                  <a:lnTo>
                    <a:pt x="50" y="538"/>
                  </a:lnTo>
                  <a:lnTo>
                    <a:pt x="65" y="501"/>
                  </a:lnTo>
                  <a:lnTo>
                    <a:pt x="82" y="465"/>
                  </a:lnTo>
                  <a:lnTo>
                    <a:pt x="99" y="430"/>
                  </a:lnTo>
                  <a:lnTo>
                    <a:pt x="120" y="396"/>
                  </a:lnTo>
                  <a:lnTo>
                    <a:pt x="141" y="363"/>
                  </a:lnTo>
                  <a:lnTo>
                    <a:pt x="164" y="330"/>
                  </a:lnTo>
                  <a:lnTo>
                    <a:pt x="189" y="299"/>
                  </a:lnTo>
                  <a:lnTo>
                    <a:pt x="215" y="269"/>
                  </a:lnTo>
                  <a:lnTo>
                    <a:pt x="242" y="240"/>
                  </a:lnTo>
                  <a:lnTo>
                    <a:pt x="269" y="213"/>
                  </a:lnTo>
                  <a:lnTo>
                    <a:pt x="300" y="187"/>
                  </a:lnTo>
                  <a:lnTo>
                    <a:pt x="331" y="163"/>
                  </a:lnTo>
                  <a:lnTo>
                    <a:pt x="363" y="140"/>
                  </a:lnTo>
                  <a:lnTo>
                    <a:pt x="396" y="119"/>
                  </a:lnTo>
                  <a:lnTo>
                    <a:pt x="431" y="99"/>
                  </a:lnTo>
                  <a:lnTo>
                    <a:pt x="465" y="81"/>
                  </a:lnTo>
                  <a:lnTo>
                    <a:pt x="503" y="65"/>
                  </a:lnTo>
                  <a:lnTo>
                    <a:pt x="540" y="50"/>
                  </a:lnTo>
                  <a:lnTo>
                    <a:pt x="578" y="37"/>
                  </a:lnTo>
                  <a:lnTo>
                    <a:pt x="616" y="26"/>
                  </a:lnTo>
                  <a:lnTo>
                    <a:pt x="657" y="17"/>
                  </a:lnTo>
                  <a:lnTo>
                    <a:pt x="697" y="10"/>
                  </a:lnTo>
                  <a:lnTo>
                    <a:pt x="737" y="4"/>
                  </a:lnTo>
                  <a:lnTo>
                    <a:pt x="779" y="1"/>
                  </a:lnTo>
                  <a:lnTo>
                    <a:pt x="821" y="0"/>
                  </a:lnTo>
                  <a:lnTo>
                    <a:pt x="864" y="1"/>
                  </a:lnTo>
                  <a:lnTo>
                    <a:pt x="904" y="4"/>
                  </a:lnTo>
                  <a:lnTo>
                    <a:pt x="946" y="10"/>
                  </a:lnTo>
                  <a:lnTo>
                    <a:pt x="986" y="17"/>
                  </a:lnTo>
                  <a:lnTo>
                    <a:pt x="1027" y="26"/>
                  </a:lnTo>
                  <a:lnTo>
                    <a:pt x="1066" y="37"/>
                  </a:lnTo>
                  <a:lnTo>
                    <a:pt x="1103" y="50"/>
                  </a:lnTo>
                  <a:lnTo>
                    <a:pt x="1141" y="65"/>
                  </a:lnTo>
                  <a:lnTo>
                    <a:pt x="1177" y="81"/>
                  </a:lnTo>
                  <a:lnTo>
                    <a:pt x="1213" y="99"/>
                  </a:lnTo>
                  <a:lnTo>
                    <a:pt x="1247" y="119"/>
                  </a:lnTo>
                  <a:lnTo>
                    <a:pt x="1280" y="140"/>
                  </a:lnTo>
                  <a:lnTo>
                    <a:pt x="1312" y="163"/>
                  </a:lnTo>
                  <a:lnTo>
                    <a:pt x="1344" y="187"/>
                  </a:lnTo>
                  <a:lnTo>
                    <a:pt x="1372" y="213"/>
                  </a:lnTo>
                  <a:lnTo>
                    <a:pt x="1401" y="240"/>
                  </a:lnTo>
                  <a:lnTo>
                    <a:pt x="1429" y="269"/>
                  </a:lnTo>
                  <a:lnTo>
                    <a:pt x="1454" y="299"/>
                  </a:lnTo>
                  <a:lnTo>
                    <a:pt x="1479" y="330"/>
                  </a:lnTo>
                  <a:lnTo>
                    <a:pt x="1502" y="363"/>
                  </a:lnTo>
                  <a:lnTo>
                    <a:pt x="1524" y="396"/>
                  </a:lnTo>
                  <a:lnTo>
                    <a:pt x="1542" y="430"/>
                  </a:lnTo>
                  <a:lnTo>
                    <a:pt x="1561" y="465"/>
                  </a:lnTo>
                  <a:lnTo>
                    <a:pt x="1577" y="501"/>
                  </a:lnTo>
                  <a:lnTo>
                    <a:pt x="1593" y="538"/>
                  </a:lnTo>
                  <a:lnTo>
                    <a:pt x="1606" y="577"/>
                  </a:lnTo>
                  <a:lnTo>
                    <a:pt x="1616" y="616"/>
                  </a:lnTo>
                  <a:lnTo>
                    <a:pt x="1626" y="655"/>
                  </a:lnTo>
                  <a:lnTo>
                    <a:pt x="1633" y="695"/>
                  </a:lnTo>
                  <a:lnTo>
                    <a:pt x="1637" y="737"/>
                  </a:lnTo>
                  <a:lnTo>
                    <a:pt x="1640" y="779"/>
                  </a:lnTo>
                  <a:lnTo>
                    <a:pt x="1642" y="821"/>
                  </a:lnTo>
                  <a:lnTo>
                    <a:pt x="1640" y="862"/>
                  </a:lnTo>
                  <a:lnTo>
                    <a:pt x="1637" y="904"/>
                  </a:lnTo>
                  <a:lnTo>
                    <a:pt x="1633" y="946"/>
                  </a:lnTo>
                  <a:lnTo>
                    <a:pt x="1626" y="986"/>
                  </a:lnTo>
                  <a:lnTo>
                    <a:pt x="1616" y="1025"/>
                  </a:lnTo>
                  <a:lnTo>
                    <a:pt x="1606" y="1064"/>
                  </a:lnTo>
                  <a:lnTo>
                    <a:pt x="1593" y="1103"/>
                  </a:lnTo>
                  <a:lnTo>
                    <a:pt x="1577" y="1140"/>
                  </a:lnTo>
                  <a:lnTo>
                    <a:pt x="1561" y="1176"/>
                  </a:lnTo>
                  <a:lnTo>
                    <a:pt x="1542" y="1211"/>
                  </a:lnTo>
                  <a:lnTo>
                    <a:pt x="1524" y="1245"/>
                  </a:lnTo>
                  <a:lnTo>
                    <a:pt x="1502" y="1278"/>
                  </a:lnTo>
                  <a:lnTo>
                    <a:pt x="1479" y="1311"/>
                  </a:lnTo>
                  <a:lnTo>
                    <a:pt x="1454" y="1342"/>
                  </a:lnTo>
                  <a:lnTo>
                    <a:pt x="1429" y="1372"/>
                  </a:lnTo>
                  <a:lnTo>
                    <a:pt x="1401" y="1401"/>
                  </a:lnTo>
                  <a:lnTo>
                    <a:pt x="1372" y="1428"/>
                  </a:lnTo>
                  <a:lnTo>
                    <a:pt x="1344" y="1454"/>
                  </a:lnTo>
                  <a:lnTo>
                    <a:pt x="1312" y="1478"/>
                  </a:lnTo>
                  <a:lnTo>
                    <a:pt x="1280" y="1501"/>
                  </a:lnTo>
                  <a:lnTo>
                    <a:pt x="1247" y="1522"/>
                  </a:lnTo>
                  <a:lnTo>
                    <a:pt x="1213" y="1542"/>
                  </a:lnTo>
                  <a:lnTo>
                    <a:pt x="1177" y="1560"/>
                  </a:lnTo>
                  <a:lnTo>
                    <a:pt x="1141" y="1576"/>
                  </a:lnTo>
                  <a:lnTo>
                    <a:pt x="1103" y="1591"/>
                  </a:lnTo>
                  <a:lnTo>
                    <a:pt x="1066" y="1604"/>
                  </a:lnTo>
                  <a:lnTo>
                    <a:pt x="1027" y="1615"/>
                  </a:lnTo>
                  <a:lnTo>
                    <a:pt x="986" y="1624"/>
                  </a:lnTo>
                  <a:lnTo>
                    <a:pt x="946" y="1631"/>
                  </a:lnTo>
                  <a:lnTo>
                    <a:pt x="904" y="1637"/>
                  </a:lnTo>
                  <a:lnTo>
                    <a:pt x="864" y="1640"/>
                  </a:lnTo>
                  <a:lnTo>
                    <a:pt x="821" y="1641"/>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193" name="Freeform 34">
              <a:extLst>
                <a:ext uri="{FF2B5EF4-FFF2-40B4-BE49-F238E27FC236}">
                  <a16:creationId xmlns:a16="http://schemas.microsoft.com/office/drawing/2014/main" id="{714B401E-256A-435B-B567-E17F3FC4B3FB}"/>
                </a:ext>
              </a:extLst>
            </p:cNvPr>
            <p:cNvSpPr>
              <a:spLocks/>
            </p:cNvSpPr>
            <p:nvPr/>
          </p:nvSpPr>
          <p:spPr bwMode="auto">
            <a:xfrm>
              <a:off x="6020566" y="5568536"/>
              <a:ext cx="19323" cy="223599"/>
            </a:xfrm>
            <a:custGeom>
              <a:avLst/>
              <a:gdLst>
                <a:gd name="T0" fmla="*/ 31 w 61"/>
                <a:gd name="T1" fmla="*/ 728 h 728"/>
                <a:gd name="T2" fmla="*/ 25 w 61"/>
                <a:gd name="T3" fmla="*/ 728 h 728"/>
                <a:gd name="T4" fmla="*/ 19 w 61"/>
                <a:gd name="T5" fmla="*/ 726 h 728"/>
                <a:gd name="T6" fmla="*/ 15 w 61"/>
                <a:gd name="T7" fmla="*/ 724 h 728"/>
                <a:gd name="T8" fmla="*/ 9 w 61"/>
                <a:gd name="T9" fmla="*/ 719 h 728"/>
                <a:gd name="T10" fmla="*/ 6 w 61"/>
                <a:gd name="T11" fmla="*/ 715 h 728"/>
                <a:gd name="T12" fmla="*/ 3 w 61"/>
                <a:gd name="T13" fmla="*/ 711 h 728"/>
                <a:gd name="T14" fmla="*/ 2 w 61"/>
                <a:gd name="T15" fmla="*/ 705 h 728"/>
                <a:gd name="T16" fmla="*/ 0 w 61"/>
                <a:gd name="T17" fmla="*/ 698 h 728"/>
                <a:gd name="T18" fmla="*/ 0 w 61"/>
                <a:gd name="T19" fmla="*/ 30 h 728"/>
                <a:gd name="T20" fmla="*/ 2 w 61"/>
                <a:gd name="T21" fmla="*/ 24 h 728"/>
                <a:gd name="T22" fmla="*/ 3 w 61"/>
                <a:gd name="T23" fmla="*/ 18 h 728"/>
                <a:gd name="T24" fmla="*/ 6 w 61"/>
                <a:gd name="T25" fmla="*/ 12 h 728"/>
                <a:gd name="T26" fmla="*/ 9 w 61"/>
                <a:gd name="T27" fmla="*/ 8 h 728"/>
                <a:gd name="T28" fmla="*/ 15 w 61"/>
                <a:gd name="T29" fmla="*/ 4 h 728"/>
                <a:gd name="T30" fmla="*/ 19 w 61"/>
                <a:gd name="T31" fmla="*/ 1 h 728"/>
                <a:gd name="T32" fmla="*/ 25 w 61"/>
                <a:gd name="T33" fmla="*/ 0 h 728"/>
                <a:gd name="T34" fmla="*/ 31 w 61"/>
                <a:gd name="T35" fmla="*/ 0 h 728"/>
                <a:gd name="T36" fmla="*/ 38 w 61"/>
                <a:gd name="T37" fmla="*/ 0 h 728"/>
                <a:gd name="T38" fmla="*/ 44 w 61"/>
                <a:gd name="T39" fmla="*/ 1 h 728"/>
                <a:gd name="T40" fmla="*/ 48 w 61"/>
                <a:gd name="T41" fmla="*/ 4 h 728"/>
                <a:gd name="T42" fmla="*/ 52 w 61"/>
                <a:gd name="T43" fmla="*/ 8 h 728"/>
                <a:gd name="T44" fmla="*/ 57 w 61"/>
                <a:gd name="T45" fmla="*/ 12 h 728"/>
                <a:gd name="T46" fmla="*/ 59 w 61"/>
                <a:gd name="T47" fmla="*/ 18 h 728"/>
                <a:gd name="T48" fmla="*/ 61 w 61"/>
                <a:gd name="T49" fmla="*/ 24 h 728"/>
                <a:gd name="T50" fmla="*/ 61 w 61"/>
                <a:gd name="T51" fmla="*/ 30 h 728"/>
                <a:gd name="T52" fmla="*/ 61 w 61"/>
                <a:gd name="T53" fmla="*/ 698 h 728"/>
                <a:gd name="T54" fmla="*/ 61 w 61"/>
                <a:gd name="T55" fmla="*/ 705 h 728"/>
                <a:gd name="T56" fmla="*/ 59 w 61"/>
                <a:gd name="T57" fmla="*/ 711 h 728"/>
                <a:gd name="T58" fmla="*/ 57 w 61"/>
                <a:gd name="T59" fmla="*/ 715 h 728"/>
                <a:gd name="T60" fmla="*/ 52 w 61"/>
                <a:gd name="T61" fmla="*/ 719 h 728"/>
                <a:gd name="T62" fmla="*/ 48 w 61"/>
                <a:gd name="T63" fmla="*/ 724 h 728"/>
                <a:gd name="T64" fmla="*/ 44 w 61"/>
                <a:gd name="T65" fmla="*/ 726 h 728"/>
                <a:gd name="T66" fmla="*/ 38 w 61"/>
                <a:gd name="T67" fmla="*/ 728 h 728"/>
                <a:gd name="T68" fmla="*/ 31 w 61"/>
                <a:gd name="T69"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728">
                  <a:moveTo>
                    <a:pt x="31" y="728"/>
                  </a:moveTo>
                  <a:lnTo>
                    <a:pt x="25" y="728"/>
                  </a:lnTo>
                  <a:lnTo>
                    <a:pt x="19" y="726"/>
                  </a:lnTo>
                  <a:lnTo>
                    <a:pt x="15" y="724"/>
                  </a:lnTo>
                  <a:lnTo>
                    <a:pt x="9" y="719"/>
                  </a:lnTo>
                  <a:lnTo>
                    <a:pt x="6" y="715"/>
                  </a:lnTo>
                  <a:lnTo>
                    <a:pt x="3" y="711"/>
                  </a:lnTo>
                  <a:lnTo>
                    <a:pt x="2" y="705"/>
                  </a:lnTo>
                  <a:lnTo>
                    <a:pt x="0" y="698"/>
                  </a:lnTo>
                  <a:lnTo>
                    <a:pt x="0" y="30"/>
                  </a:lnTo>
                  <a:lnTo>
                    <a:pt x="2" y="24"/>
                  </a:lnTo>
                  <a:lnTo>
                    <a:pt x="3" y="18"/>
                  </a:lnTo>
                  <a:lnTo>
                    <a:pt x="6" y="12"/>
                  </a:lnTo>
                  <a:lnTo>
                    <a:pt x="9" y="8"/>
                  </a:lnTo>
                  <a:lnTo>
                    <a:pt x="15" y="4"/>
                  </a:lnTo>
                  <a:lnTo>
                    <a:pt x="19" y="1"/>
                  </a:lnTo>
                  <a:lnTo>
                    <a:pt x="25" y="0"/>
                  </a:lnTo>
                  <a:lnTo>
                    <a:pt x="31" y="0"/>
                  </a:lnTo>
                  <a:lnTo>
                    <a:pt x="38" y="0"/>
                  </a:lnTo>
                  <a:lnTo>
                    <a:pt x="44" y="1"/>
                  </a:lnTo>
                  <a:lnTo>
                    <a:pt x="48" y="4"/>
                  </a:lnTo>
                  <a:lnTo>
                    <a:pt x="52" y="8"/>
                  </a:lnTo>
                  <a:lnTo>
                    <a:pt x="57" y="12"/>
                  </a:lnTo>
                  <a:lnTo>
                    <a:pt x="59" y="18"/>
                  </a:lnTo>
                  <a:lnTo>
                    <a:pt x="61" y="24"/>
                  </a:lnTo>
                  <a:lnTo>
                    <a:pt x="61" y="30"/>
                  </a:lnTo>
                  <a:lnTo>
                    <a:pt x="61" y="698"/>
                  </a:lnTo>
                  <a:lnTo>
                    <a:pt x="61" y="705"/>
                  </a:lnTo>
                  <a:lnTo>
                    <a:pt x="59" y="711"/>
                  </a:lnTo>
                  <a:lnTo>
                    <a:pt x="57" y="715"/>
                  </a:lnTo>
                  <a:lnTo>
                    <a:pt x="52" y="719"/>
                  </a:lnTo>
                  <a:lnTo>
                    <a:pt x="48" y="724"/>
                  </a:lnTo>
                  <a:lnTo>
                    <a:pt x="44" y="726"/>
                  </a:lnTo>
                  <a:lnTo>
                    <a:pt x="38" y="728"/>
                  </a:lnTo>
                  <a:lnTo>
                    <a:pt x="31" y="728"/>
                  </a:ln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592" name="Group 23">
            <a:extLst>
              <a:ext uri="{FF2B5EF4-FFF2-40B4-BE49-F238E27FC236}">
                <a16:creationId xmlns:a16="http://schemas.microsoft.com/office/drawing/2014/main" id="{313D4C36-B05B-43C6-8EEB-3640E213A4FE}"/>
              </a:ext>
            </a:extLst>
          </p:cNvPr>
          <p:cNvGrpSpPr>
            <a:grpSpLocks noChangeAspect="1"/>
          </p:cNvGrpSpPr>
          <p:nvPr/>
        </p:nvGrpSpPr>
        <p:grpSpPr>
          <a:xfrm>
            <a:off x="7948556" y="2186361"/>
            <a:ext cx="142049" cy="285619"/>
            <a:chOff x="3097213" y="1652588"/>
            <a:chExt cx="444500" cy="893763"/>
          </a:xfrm>
          <a:solidFill>
            <a:schemeClr val="bg1"/>
          </a:solidFill>
          <a:effectLst/>
        </p:grpSpPr>
        <p:sp>
          <p:nvSpPr>
            <p:cNvPr id="593" name="Freeform 5">
              <a:extLst>
                <a:ext uri="{FF2B5EF4-FFF2-40B4-BE49-F238E27FC236}">
                  <a16:creationId xmlns:a16="http://schemas.microsoft.com/office/drawing/2014/main" id="{40521FE5-9981-4D17-830E-738AE3764EEA}"/>
                </a:ext>
              </a:extLst>
            </p:cNvPr>
            <p:cNvSpPr>
              <a:spLocks noEditPoints="1"/>
            </p:cNvSpPr>
            <p:nvPr/>
          </p:nvSpPr>
          <p:spPr bwMode="auto">
            <a:xfrm>
              <a:off x="3173413" y="1652588"/>
              <a:ext cx="293688" cy="296863"/>
            </a:xfrm>
            <a:custGeom>
              <a:avLst/>
              <a:gdLst>
                <a:gd name="T0" fmla="*/ 39 w 78"/>
                <a:gd name="T1" fmla="*/ 78 h 78"/>
                <a:gd name="T2" fmla="*/ 0 w 78"/>
                <a:gd name="T3" fmla="*/ 39 h 78"/>
                <a:gd name="T4" fmla="*/ 39 w 78"/>
                <a:gd name="T5" fmla="*/ 0 h 78"/>
                <a:gd name="T6" fmla="*/ 78 w 78"/>
                <a:gd name="T7" fmla="*/ 39 h 78"/>
                <a:gd name="T8" fmla="*/ 39 w 78"/>
                <a:gd name="T9" fmla="*/ 78 h 78"/>
                <a:gd name="T10" fmla="*/ 39 w 78"/>
                <a:gd name="T11" fmla="*/ 10 h 78"/>
                <a:gd name="T12" fmla="*/ 10 w 78"/>
                <a:gd name="T13" fmla="*/ 39 h 78"/>
                <a:gd name="T14" fmla="*/ 39 w 78"/>
                <a:gd name="T15" fmla="*/ 69 h 78"/>
                <a:gd name="T16" fmla="*/ 69 w 78"/>
                <a:gd name="T17" fmla="*/ 39 h 78"/>
                <a:gd name="T18" fmla="*/ 39 w 78"/>
                <a:gd name="T19"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8" y="78"/>
                    <a:pt x="0" y="61"/>
                    <a:pt x="0" y="39"/>
                  </a:cubicBezTo>
                  <a:cubicBezTo>
                    <a:pt x="0" y="18"/>
                    <a:pt x="18" y="0"/>
                    <a:pt x="39" y="0"/>
                  </a:cubicBezTo>
                  <a:cubicBezTo>
                    <a:pt x="61" y="0"/>
                    <a:pt x="78" y="18"/>
                    <a:pt x="78" y="39"/>
                  </a:cubicBezTo>
                  <a:cubicBezTo>
                    <a:pt x="78" y="61"/>
                    <a:pt x="61" y="78"/>
                    <a:pt x="39" y="78"/>
                  </a:cubicBezTo>
                  <a:close/>
                  <a:moveTo>
                    <a:pt x="39" y="10"/>
                  </a:moveTo>
                  <a:cubicBezTo>
                    <a:pt x="23" y="10"/>
                    <a:pt x="10" y="23"/>
                    <a:pt x="10" y="39"/>
                  </a:cubicBezTo>
                  <a:cubicBezTo>
                    <a:pt x="10" y="55"/>
                    <a:pt x="23" y="69"/>
                    <a:pt x="39" y="69"/>
                  </a:cubicBezTo>
                  <a:cubicBezTo>
                    <a:pt x="55" y="69"/>
                    <a:pt x="69" y="55"/>
                    <a:pt x="69" y="39"/>
                  </a:cubicBezTo>
                  <a:cubicBezTo>
                    <a:pt x="69" y="23"/>
                    <a:pt x="55" y="10"/>
                    <a:pt x="3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6">
              <a:extLst>
                <a:ext uri="{FF2B5EF4-FFF2-40B4-BE49-F238E27FC236}">
                  <a16:creationId xmlns:a16="http://schemas.microsoft.com/office/drawing/2014/main" id="{33508DF8-FA26-49EC-A290-11F18E8962AA}"/>
                </a:ext>
              </a:extLst>
            </p:cNvPr>
            <p:cNvSpPr>
              <a:spLocks noEditPoints="1"/>
            </p:cNvSpPr>
            <p:nvPr/>
          </p:nvSpPr>
          <p:spPr bwMode="auto">
            <a:xfrm>
              <a:off x="3097213" y="1987551"/>
              <a:ext cx="444500" cy="558800"/>
            </a:xfrm>
            <a:custGeom>
              <a:avLst/>
              <a:gdLst>
                <a:gd name="T0" fmla="*/ 79 w 118"/>
                <a:gd name="T1" fmla="*/ 147 h 147"/>
                <a:gd name="T2" fmla="*/ 40 w 118"/>
                <a:gd name="T3" fmla="*/ 147 h 147"/>
                <a:gd name="T4" fmla="*/ 35 w 118"/>
                <a:gd name="T5" fmla="*/ 142 h 147"/>
                <a:gd name="T6" fmla="*/ 35 w 118"/>
                <a:gd name="T7" fmla="*/ 81 h 147"/>
                <a:gd name="T8" fmla="*/ 0 w 118"/>
                <a:gd name="T9" fmla="*/ 5 h 147"/>
                <a:gd name="T10" fmla="*/ 5 w 118"/>
                <a:gd name="T11" fmla="*/ 0 h 147"/>
                <a:gd name="T12" fmla="*/ 113 w 118"/>
                <a:gd name="T13" fmla="*/ 0 h 147"/>
                <a:gd name="T14" fmla="*/ 118 w 118"/>
                <a:gd name="T15" fmla="*/ 5 h 147"/>
                <a:gd name="T16" fmla="*/ 84 w 118"/>
                <a:gd name="T17" fmla="*/ 81 h 147"/>
                <a:gd name="T18" fmla="*/ 84 w 118"/>
                <a:gd name="T19" fmla="*/ 142 h 147"/>
                <a:gd name="T20" fmla="*/ 79 w 118"/>
                <a:gd name="T21" fmla="*/ 147 h 147"/>
                <a:gd name="T22" fmla="*/ 44 w 118"/>
                <a:gd name="T23" fmla="*/ 137 h 147"/>
                <a:gd name="T24" fmla="*/ 74 w 118"/>
                <a:gd name="T25" fmla="*/ 137 h 147"/>
                <a:gd name="T26" fmla="*/ 74 w 118"/>
                <a:gd name="T27" fmla="*/ 79 h 147"/>
                <a:gd name="T28" fmla="*/ 76 w 118"/>
                <a:gd name="T29" fmla="*/ 74 h 147"/>
                <a:gd name="T30" fmla="*/ 108 w 118"/>
                <a:gd name="T31" fmla="*/ 10 h 147"/>
                <a:gd name="T32" fmla="*/ 10 w 118"/>
                <a:gd name="T33" fmla="*/ 10 h 147"/>
                <a:gd name="T34" fmla="*/ 42 w 118"/>
                <a:gd name="T35" fmla="*/ 74 h 147"/>
                <a:gd name="T36" fmla="*/ 44 w 118"/>
                <a:gd name="T37" fmla="*/ 79 h 147"/>
                <a:gd name="T38" fmla="*/ 44 w 118"/>
                <a:gd name="T39"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7">
                  <a:moveTo>
                    <a:pt x="79" y="147"/>
                  </a:moveTo>
                  <a:cubicBezTo>
                    <a:pt x="40" y="147"/>
                    <a:pt x="40" y="147"/>
                    <a:pt x="40" y="147"/>
                  </a:cubicBezTo>
                  <a:cubicBezTo>
                    <a:pt x="37" y="147"/>
                    <a:pt x="35" y="145"/>
                    <a:pt x="35" y="142"/>
                  </a:cubicBezTo>
                  <a:cubicBezTo>
                    <a:pt x="35" y="81"/>
                    <a:pt x="35" y="81"/>
                    <a:pt x="35" y="81"/>
                  </a:cubicBezTo>
                  <a:cubicBezTo>
                    <a:pt x="21" y="73"/>
                    <a:pt x="0" y="52"/>
                    <a:pt x="0" y="5"/>
                  </a:cubicBezTo>
                  <a:cubicBezTo>
                    <a:pt x="0" y="2"/>
                    <a:pt x="3" y="0"/>
                    <a:pt x="5" y="0"/>
                  </a:cubicBezTo>
                  <a:cubicBezTo>
                    <a:pt x="113" y="0"/>
                    <a:pt x="113" y="0"/>
                    <a:pt x="113" y="0"/>
                  </a:cubicBezTo>
                  <a:cubicBezTo>
                    <a:pt x="116" y="0"/>
                    <a:pt x="118" y="2"/>
                    <a:pt x="118" y="5"/>
                  </a:cubicBezTo>
                  <a:cubicBezTo>
                    <a:pt x="118" y="52"/>
                    <a:pt x="98" y="73"/>
                    <a:pt x="84" y="81"/>
                  </a:cubicBezTo>
                  <a:cubicBezTo>
                    <a:pt x="84" y="142"/>
                    <a:pt x="84" y="142"/>
                    <a:pt x="84" y="142"/>
                  </a:cubicBezTo>
                  <a:cubicBezTo>
                    <a:pt x="84" y="145"/>
                    <a:pt x="82" y="147"/>
                    <a:pt x="79" y="147"/>
                  </a:cubicBezTo>
                  <a:close/>
                  <a:moveTo>
                    <a:pt x="44" y="137"/>
                  </a:moveTo>
                  <a:cubicBezTo>
                    <a:pt x="74" y="137"/>
                    <a:pt x="74" y="137"/>
                    <a:pt x="74" y="137"/>
                  </a:cubicBezTo>
                  <a:cubicBezTo>
                    <a:pt x="74" y="79"/>
                    <a:pt x="74" y="79"/>
                    <a:pt x="74" y="79"/>
                  </a:cubicBezTo>
                  <a:cubicBezTo>
                    <a:pt x="74" y="77"/>
                    <a:pt x="75" y="75"/>
                    <a:pt x="76" y="74"/>
                  </a:cubicBezTo>
                  <a:cubicBezTo>
                    <a:pt x="96" y="64"/>
                    <a:pt x="107" y="41"/>
                    <a:pt x="108" y="10"/>
                  </a:cubicBezTo>
                  <a:cubicBezTo>
                    <a:pt x="10" y="10"/>
                    <a:pt x="10" y="10"/>
                    <a:pt x="10" y="10"/>
                  </a:cubicBezTo>
                  <a:cubicBezTo>
                    <a:pt x="11" y="41"/>
                    <a:pt x="22" y="64"/>
                    <a:pt x="42" y="74"/>
                  </a:cubicBezTo>
                  <a:cubicBezTo>
                    <a:pt x="44" y="75"/>
                    <a:pt x="44" y="77"/>
                    <a:pt x="44" y="79"/>
                  </a:cubicBezTo>
                  <a:lnTo>
                    <a:pt x="44"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3" name="Group 92">
            <a:extLst>
              <a:ext uri="{FF2B5EF4-FFF2-40B4-BE49-F238E27FC236}">
                <a16:creationId xmlns:a16="http://schemas.microsoft.com/office/drawing/2014/main" id="{297FFB03-847D-4517-8674-2B858BE39EA1}"/>
              </a:ext>
            </a:extLst>
          </p:cNvPr>
          <p:cNvGrpSpPr>
            <a:grpSpLocks noChangeAspect="1"/>
          </p:cNvGrpSpPr>
          <p:nvPr/>
        </p:nvGrpSpPr>
        <p:grpSpPr>
          <a:xfrm>
            <a:off x="279932" y="2724897"/>
            <a:ext cx="305183" cy="285619"/>
            <a:chOff x="-504825" y="3754438"/>
            <a:chExt cx="371475" cy="347662"/>
          </a:xfrm>
          <a:solidFill>
            <a:schemeClr val="bg1"/>
          </a:solidFill>
        </p:grpSpPr>
        <p:sp>
          <p:nvSpPr>
            <p:cNvPr id="964" name="Freeform 23">
              <a:extLst>
                <a:ext uri="{FF2B5EF4-FFF2-40B4-BE49-F238E27FC236}">
                  <a16:creationId xmlns:a16="http://schemas.microsoft.com/office/drawing/2014/main" id="{F5D68BD6-9E6D-4CDB-B477-59B7C0531E2C}"/>
                </a:ext>
              </a:extLst>
            </p:cNvPr>
            <p:cNvSpPr>
              <a:spLocks/>
            </p:cNvSpPr>
            <p:nvPr/>
          </p:nvSpPr>
          <p:spPr bwMode="auto">
            <a:xfrm>
              <a:off x="-357188" y="3889375"/>
              <a:ext cx="53975" cy="61913"/>
            </a:xfrm>
            <a:custGeom>
              <a:avLst/>
              <a:gdLst>
                <a:gd name="T0" fmla="*/ 12 w 14"/>
                <a:gd name="T1" fmla="*/ 16 h 16"/>
                <a:gd name="T2" fmla="*/ 11 w 14"/>
                <a:gd name="T3" fmla="*/ 16 h 16"/>
                <a:gd name="T4" fmla="*/ 1 w 14"/>
                <a:gd name="T5" fmla="*/ 12 h 16"/>
                <a:gd name="T6" fmla="*/ 0 w 14"/>
                <a:gd name="T7" fmla="*/ 10 h 16"/>
                <a:gd name="T8" fmla="*/ 0 w 14"/>
                <a:gd name="T9" fmla="*/ 2 h 16"/>
                <a:gd name="T10" fmla="*/ 2 w 14"/>
                <a:gd name="T11" fmla="*/ 0 h 16"/>
                <a:gd name="T12" fmla="*/ 4 w 14"/>
                <a:gd name="T13" fmla="*/ 2 h 16"/>
                <a:gd name="T14" fmla="*/ 4 w 14"/>
                <a:gd name="T15" fmla="*/ 9 h 16"/>
                <a:gd name="T16" fmla="*/ 13 w 14"/>
                <a:gd name="T17" fmla="*/ 12 h 16"/>
                <a:gd name="T18" fmla="*/ 14 w 14"/>
                <a:gd name="T19" fmla="*/ 15 h 16"/>
                <a:gd name="T20" fmla="*/ 12 w 1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6">
                  <a:moveTo>
                    <a:pt x="12" y="16"/>
                  </a:moveTo>
                  <a:cubicBezTo>
                    <a:pt x="12" y="16"/>
                    <a:pt x="12" y="16"/>
                    <a:pt x="11" y="16"/>
                  </a:cubicBezTo>
                  <a:cubicBezTo>
                    <a:pt x="1" y="12"/>
                    <a:pt x="1" y="12"/>
                    <a:pt x="1" y="12"/>
                  </a:cubicBezTo>
                  <a:cubicBezTo>
                    <a:pt x="1" y="12"/>
                    <a:pt x="0" y="11"/>
                    <a:pt x="0" y="10"/>
                  </a:cubicBezTo>
                  <a:cubicBezTo>
                    <a:pt x="0" y="2"/>
                    <a:pt x="0" y="2"/>
                    <a:pt x="0" y="2"/>
                  </a:cubicBezTo>
                  <a:cubicBezTo>
                    <a:pt x="0" y="1"/>
                    <a:pt x="1" y="0"/>
                    <a:pt x="2" y="0"/>
                  </a:cubicBezTo>
                  <a:cubicBezTo>
                    <a:pt x="3" y="0"/>
                    <a:pt x="4" y="1"/>
                    <a:pt x="4" y="2"/>
                  </a:cubicBezTo>
                  <a:cubicBezTo>
                    <a:pt x="4" y="9"/>
                    <a:pt x="4" y="9"/>
                    <a:pt x="4" y="9"/>
                  </a:cubicBezTo>
                  <a:cubicBezTo>
                    <a:pt x="13" y="12"/>
                    <a:pt x="13" y="12"/>
                    <a:pt x="13" y="12"/>
                  </a:cubicBezTo>
                  <a:cubicBezTo>
                    <a:pt x="14" y="13"/>
                    <a:pt x="14" y="14"/>
                    <a:pt x="14" y="15"/>
                  </a:cubicBezTo>
                  <a:cubicBezTo>
                    <a:pt x="14" y="16"/>
                    <a:pt x="13"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5" name="Freeform 24">
              <a:extLst>
                <a:ext uri="{FF2B5EF4-FFF2-40B4-BE49-F238E27FC236}">
                  <a16:creationId xmlns:a16="http://schemas.microsoft.com/office/drawing/2014/main" id="{DBD018F5-5A42-42D1-A717-0A202E46D947}"/>
                </a:ext>
              </a:extLst>
            </p:cNvPr>
            <p:cNvSpPr>
              <a:spLocks/>
            </p:cNvSpPr>
            <p:nvPr/>
          </p:nvSpPr>
          <p:spPr bwMode="auto">
            <a:xfrm>
              <a:off x="-504825" y="3889375"/>
              <a:ext cx="201613" cy="128588"/>
            </a:xfrm>
            <a:custGeom>
              <a:avLst/>
              <a:gdLst>
                <a:gd name="T0" fmla="*/ 50 w 52"/>
                <a:gd name="T1" fmla="*/ 33 h 33"/>
                <a:gd name="T2" fmla="*/ 2 w 52"/>
                <a:gd name="T3" fmla="*/ 33 h 33"/>
                <a:gd name="T4" fmla="*/ 0 w 52"/>
                <a:gd name="T5" fmla="*/ 31 h 33"/>
                <a:gd name="T6" fmla="*/ 0 w 52"/>
                <a:gd name="T7" fmla="*/ 25 h 33"/>
                <a:gd name="T8" fmla="*/ 8 w 52"/>
                <a:gd name="T9" fmla="*/ 14 h 33"/>
                <a:gd name="T10" fmla="*/ 22 w 52"/>
                <a:gd name="T11" fmla="*/ 9 h 33"/>
                <a:gd name="T12" fmla="*/ 22 w 52"/>
                <a:gd name="T13" fmla="*/ 2 h 33"/>
                <a:gd name="T14" fmla="*/ 24 w 52"/>
                <a:gd name="T15" fmla="*/ 0 h 33"/>
                <a:gd name="T16" fmla="*/ 26 w 52"/>
                <a:gd name="T17" fmla="*/ 2 h 33"/>
                <a:gd name="T18" fmla="*/ 26 w 52"/>
                <a:gd name="T19" fmla="*/ 10 h 33"/>
                <a:gd name="T20" fmla="*/ 25 w 52"/>
                <a:gd name="T21" fmla="*/ 12 h 33"/>
                <a:gd name="T22" fmla="*/ 9 w 52"/>
                <a:gd name="T23" fmla="*/ 18 h 33"/>
                <a:gd name="T24" fmla="*/ 4 w 52"/>
                <a:gd name="T25" fmla="*/ 25 h 33"/>
                <a:gd name="T26" fmla="*/ 4 w 52"/>
                <a:gd name="T27" fmla="*/ 29 h 33"/>
                <a:gd name="T28" fmla="*/ 50 w 52"/>
                <a:gd name="T29" fmla="*/ 29 h 33"/>
                <a:gd name="T30" fmla="*/ 52 w 52"/>
                <a:gd name="T31" fmla="*/ 31 h 33"/>
                <a:gd name="T32" fmla="*/ 50 w 52"/>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33">
                  <a:moveTo>
                    <a:pt x="50" y="33"/>
                  </a:moveTo>
                  <a:cubicBezTo>
                    <a:pt x="2" y="33"/>
                    <a:pt x="2" y="33"/>
                    <a:pt x="2" y="33"/>
                  </a:cubicBezTo>
                  <a:cubicBezTo>
                    <a:pt x="1" y="33"/>
                    <a:pt x="0" y="32"/>
                    <a:pt x="0" y="31"/>
                  </a:cubicBezTo>
                  <a:cubicBezTo>
                    <a:pt x="0" y="25"/>
                    <a:pt x="0" y="25"/>
                    <a:pt x="0" y="25"/>
                  </a:cubicBezTo>
                  <a:cubicBezTo>
                    <a:pt x="0" y="20"/>
                    <a:pt x="3" y="16"/>
                    <a:pt x="8" y="14"/>
                  </a:cubicBezTo>
                  <a:cubicBezTo>
                    <a:pt x="22" y="9"/>
                    <a:pt x="22" y="9"/>
                    <a:pt x="22" y="9"/>
                  </a:cubicBezTo>
                  <a:cubicBezTo>
                    <a:pt x="22" y="2"/>
                    <a:pt x="22" y="2"/>
                    <a:pt x="22" y="2"/>
                  </a:cubicBezTo>
                  <a:cubicBezTo>
                    <a:pt x="22" y="1"/>
                    <a:pt x="23" y="0"/>
                    <a:pt x="24" y="0"/>
                  </a:cubicBezTo>
                  <a:cubicBezTo>
                    <a:pt x="25" y="0"/>
                    <a:pt x="26" y="1"/>
                    <a:pt x="26" y="2"/>
                  </a:cubicBezTo>
                  <a:cubicBezTo>
                    <a:pt x="26" y="10"/>
                    <a:pt x="26" y="10"/>
                    <a:pt x="26" y="10"/>
                  </a:cubicBezTo>
                  <a:cubicBezTo>
                    <a:pt x="26" y="11"/>
                    <a:pt x="25" y="12"/>
                    <a:pt x="25" y="12"/>
                  </a:cubicBezTo>
                  <a:cubicBezTo>
                    <a:pt x="9" y="18"/>
                    <a:pt x="9" y="18"/>
                    <a:pt x="9" y="18"/>
                  </a:cubicBezTo>
                  <a:cubicBezTo>
                    <a:pt x="6" y="19"/>
                    <a:pt x="4" y="22"/>
                    <a:pt x="4" y="25"/>
                  </a:cubicBezTo>
                  <a:cubicBezTo>
                    <a:pt x="4" y="29"/>
                    <a:pt x="4" y="29"/>
                    <a:pt x="4" y="29"/>
                  </a:cubicBezTo>
                  <a:cubicBezTo>
                    <a:pt x="50" y="29"/>
                    <a:pt x="50" y="29"/>
                    <a:pt x="50" y="29"/>
                  </a:cubicBezTo>
                  <a:cubicBezTo>
                    <a:pt x="51" y="29"/>
                    <a:pt x="52" y="30"/>
                    <a:pt x="52" y="31"/>
                  </a:cubicBezTo>
                  <a:cubicBezTo>
                    <a:pt x="52" y="32"/>
                    <a:pt x="51" y="33"/>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6" name="Freeform 25">
              <a:extLst>
                <a:ext uri="{FF2B5EF4-FFF2-40B4-BE49-F238E27FC236}">
                  <a16:creationId xmlns:a16="http://schemas.microsoft.com/office/drawing/2014/main" id="{FC7A42F5-C4E0-48ED-BC59-1073F292CE5B}"/>
                </a:ext>
              </a:extLst>
            </p:cNvPr>
            <p:cNvSpPr>
              <a:spLocks noEditPoints="1"/>
            </p:cNvSpPr>
            <p:nvPr/>
          </p:nvSpPr>
          <p:spPr bwMode="auto">
            <a:xfrm>
              <a:off x="-450850" y="3754438"/>
              <a:ext cx="139700" cy="161925"/>
            </a:xfrm>
            <a:custGeom>
              <a:avLst/>
              <a:gdLst>
                <a:gd name="T0" fmla="*/ 18 w 36"/>
                <a:gd name="T1" fmla="*/ 42 h 42"/>
                <a:gd name="T2" fmla="*/ 0 w 36"/>
                <a:gd name="T3" fmla="*/ 21 h 42"/>
                <a:gd name="T4" fmla="*/ 18 w 36"/>
                <a:gd name="T5" fmla="*/ 0 h 42"/>
                <a:gd name="T6" fmla="*/ 36 w 36"/>
                <a:gd name="T7" fmla="*/ 21 h 42"/>
                <a:gd name="T8" fmla="*/ 18 w 36"/>
                <a:gd name="T9" fmla="*/ 42 h 42"/>
                <a:gd name="T10" fmla="*/ 18 w 36"/>
                <a:gd name="T11" fmla="*/ 4 h 42"/>
                <a:gd name="T12" fmla="*/ 4 w 36"/>
                <a:gd name="T13" fmla="*/ 21 h 42"/>
                <a:gd name="T14" fmla="*/ 18 w 36"/>
                <a:gd name="T15" fmla="*/ 38 h 42"/>
                <a:gd name="T16" fmla="*/ 32 w 36"/>
                <a:gd name="T17" fmla="*/ 21 h 42"/>
                <a:gd name="T18" fmla="*/ 18 w 36"/>
                <a:gd name="T19"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42">
                  <a:moveTo>
                    <a:pt x="18" y="42"/>
                  </a:moveTo>
                  <a:cubicBezTo>
                    <a:pt x="8" y="42"/>
                    <a:pt x="0" y="33"/>
                    <a:pt x="0" y="21"/>
                  </a:cubicBezTo>
                  <a:cubicBezTo>
                    <a:pt x="0" y="9"/>
                    <a:pt x="8" y="0"/>
                    <a:pt x="18" y="0"/>
                  </a:cubicBezTo>
                  <a:cubicBezTo>
                    <a:pt x="28" y="0"/>
                    <a:pt x="36" y="9"/>
                    <a:pt x="36" y="21"/>
                  </a:cubicBezTo>
                  <a:cubicBezTo>
                    <a:pt x="36" y="33"/>
                    <a:pt x="28" y="42"/>
                    <a:pt x="18" y="42"/>
                  </a:cubicBezTo>
                  <a:close/>
                  <a:moveTo>
                    <a:pt x="18" y="4"/>
                  </a:moveTo>
                  <a:cubicBezTo>
                    <a:pt x="10" y="4"/>
                    <a:pt x="4" y="12"/>
                    <a:pt x="4" y="21"/>
                  </a:cubicBezTo>
                  <a:cubicBezTo>
                    <a:pt x="4" y="30"/>
                    <a:pt x="10" y="38"/>
                    <a:pt x="18" y="38"/>
                  </a:cubicBezTo>
                  <a:cubicBezTo>
                    <a:pt x="26" y="38"/>
                    <a:pt x="32" y="30"/>
                    <a:pt x="32" y="21"/>
                  </a:cubicBezTo>
                  <a:cubicBezTo>
                    <a:pt x="32" y="12"/>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7" name="Freeform 26">
              <a:extLst>
                <a:ext uri="{FF2B5EF4-FFF2-40B4-BE49-F238E27FC236}">
                  <a16:creationId xmlns:a16="http://schemas.microsoft.com/office/drawing/2014/main" id="{B3CC0597-79DC-4489-9FDD-CC4E2D09154F}"/>
                </a:ext>
              </a:extLst>
            </p:cNvPr>
            <p:cNvSpPr>
              <a:spLocks/>
            </p:cNvSpPr>
            <p:nvPr/>
          </p:nvSpPr>
          <p:spPr bwMode="auto">
            <a:xfrm>
              <a:off x="-450850" y="3795713"/>
              <a:ext cx="139700" cy="42863"/>
            </a:xfrm>
            <a:custGeom>
              <a:avLst/>
              <a:gdLst>
                <a:gd name="T0" fmla="*/ 30 w 36"/>
                <a:gd name="T1" fmla="*/ 11 h 11"/>
                <a:gd name="T2" fmla="*/ 20 w 36"/>
                <a:gd name="T3" fmla="*/ 6 h 11"/>
                <a:gd name="T4" fmla="*/ 8 w 36"/>
                <a:gd name="T5" fmla="*/ 10 h 11"/>
                <a:gd name="T6" fmla="*/ 1 w 36"/>
                <a:gd name="T7" fmla="*/ 9 h 11"/>
                <a:gd name="T8" fmla="*/ 1 w 36"/>
                <a:gd name="T9" fmla="*/ 6 h 11"/>
                <a:gd name="T10" fmla="*/ 3 w 36"/>
                <a:gd name="T11" fmla="*/ 5 h 11"/>
                <a:gd name="T12" fmla="*/ 8 w 36"/>
                <a:gd name="T13" fmla="*/ 6 h 11"/>
                <a:gd name="T14" fmla="*/ 19 w 36"/>
                <a:gd name="T15" fmla="*/ 1 h 11"/>
                <a:gd name="T16" fmla="*/ 20 w 36"/>
                <a:gd name="T17" fmla="*/ 0 h 11"/>
                <a:gd name="T18" fmla="*/ 22 w 36"/>
                <a:gd name="T19" fmla="*/ 1 h 11"/>
                <a:gd name="T20" fmla="*/ 32 w 36"/>
                <a:gd name="T21" fmla="*/ 6 h 11"/>
                <a:gd name="T22" fmla="*/ 33 w 36"/>
                <a:gd name="T23" fmla="*/ 6 h 11"/>
                <a:gd name="T24" fmla="*/ 33 w 36"/>
                <a:gd name="T25" fmla="*/ 6 h 11"/>
                <a:gd name="T26" fmla="*/ 36 w 36"/>
                <a:gd name="T27" fmla="*/ 8 h 11"/>
                <a:gd name="T28" fmla="*/ 34 w 36"/>
                <a:gd name="T29" fmla="*/ 10 h 11"/>
                <a:gd name="T30" fmla="*/ 33 w 36"/>
                <a:gd name="T31" fmla="*/ 10 h 11"/>
                <a:gd name="T32" fmla="*/ 33 w 36"/>
                <a:gd name="T33" fmla="*/ 10 h 11"/>
                <a:gd name="T34" fmla="*/ 30 w 36"/>
                <a:gd name="T3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11">
                  <a:moveTo>
                    <a:pt x="30" y="11"/>
                  </a:moveTo>
                  <a:cubicBezTo>
                    <a:pt x="26" y="11"/>
                    <a:pt x="23" y="9"/>
                    <a:pt x="20" y="6"/>
                  </a:cubicBezTo>
                  <a:cubicBezTo>
                    <a:pt x="17" y="8"/>
                    <a:pt x="13" y="10"/>
                    <a:pt x="8" y="10"/>
                  </a:cubicBezTo>
                  <a:cubicBezTo>
                    <a:pt x="6" y="10"/>
                    <a:pt x="4" y="10"/>
                    <a:pt x="1" y="9"/>
                  </a:cubicBezTo>
                  <a:cubicBezTo>
                    <a:pt x="0" y="8"/>
                    <a:pt x="0" y="7"/>
                    <a:pt x="1" y="6"/>
                  </a:cubicBezTo>
                  <a:cubicBezTo>
                    <a:pt x="1" y="5"/>
                    <a:pt x="2" y="5"/>
                    <a:pt x="3" y="5"/>
                  </a:cubicBezTo>
                  <a:cubicBezTo>
                    <a:pt x="5" y="6"/>
                    <a:pt x="7" y="6"/>
                    <a:pt x="8" y="6"/>
                  </a:cubicBezTo>
                  <a:cubicBezTo>
                    <a:pt x="12" y="6"/>
                    <a:pt x="17" y="4"/>
                    <a:pt x="19" y="1"/>
                  </a:cubicBezTo>
                  <a:cubicBezTo>
                    <a:pt x="19" y="1"/>
                    <a:pt x="20" y="0"/>
                    <a:pt x="20" y="0"/>
                  </a:cubicBezTo>
                  <a:cubicBezTo>
                    <a:pt x="21" y="0"/>
                    <a:pt x="22" y="1"/>
                    <a:pt x="22" y="1"/>
                  </a:cubicBezTo>
                  <a:cubicBezTo>
                    <a:pt x="25" y="6"/>
                    <a:pt x="27" y="7"/>
                    <a:pt x="32" y="6"/>
                  </a:cubicBezTo>
                  <a:cubicBezTo>
                    <a:pt x="32" y="6"/>
                    <a:pt x="33" y="6"/>
                    <a:pt x="33" y="6"/>
                  </a:cubicBezTo>
                  <a:cubicBezTo>
                    <a:pt x="33" y="6"/>
                    <a:pt x="33" y="6"/>
                    <a:pt x="33" y="6"/>
                  </a:cubicBezTo>
                  <a:cubicBezTo>
                    <a:pt x="34" y="6"/>
                    <a:pt x="35" y="7"/>
                    <a:pt x="36" y="8"/>
                  </a:cubicBezTo>
                  <a:cubicBezTo>
                    <a:pt x="36" y="9"/>
                    <a:pt x="35" y="10"/>
                    <a:pt x="34" y="10"/>
                  </a:cubicBezTo>
                  <a:cubicBezTo>
                    <a:pt x="34" y="10"/>
                    <a:pt x="33" y="10"/>
                    <a:pt x="33" y="10"/>
                  </a:cubicBezTo>
                  <a:cubicBezTo>
                    <a:pt x="33" y="10"/>
                    <a:pt x="33" y="10"/>
                    <a:pt x="33" y="10"/>
                  </a:cubicBezTo>
                  <a:cubicBezTo>
                    <a:pt x="31" y="11"/>
                    <a:pt x="30" y="11"/>
                    <a:pt x="3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8" name="Freeform 27">
              <a:extLst>
                <a:ext uri="{FF2B5EF4-FFF2-40B4-BE49-F238E27FC236}">
                  <a16:creationId xmlns:a16="http://schemas.microsoft.com/office/drawing/2014/main" id="{198DEF2A-8B6B-499C-9047-50B4CC48F215}"/>
                </a:ext>
              </a:extLst>
            </p:cNvPr>
            <p:cNvSpPr>
              <a:spLocks/>
            </p:cNvSpPr>
            <p:nvPr/>
          </p:nvSpPr>
          <p:spPr bwMode="auto">
            <a:xfrm>
              <a:off x="-287338" y="3754438"/>
              <a:ext cx="76200" cy="161925"/>
            </a:xfrm>
            <a:custGeom>
              <a:avLst/>
              <a:gdLst>
                <a:gd name="T0" fmla="*/ 2 w 20"/>
                <a:gd name="T1" fmla="*/ 42 h 42"/>
                <a:gd name="T2" fmla="*/ 0 w 20"/>
                <a:gd name="T3" fmla="*/ 40 h 42"/>
                <a:gd name="T4" fmla="*/ 2 w 20"/>
                <a:gd name="T5" fmla="*/ 38 h 42"/>
                <a:gd name="T6" fmla="*/ 16 w 20"/>
                <a:gd name="T7" fmla="*/ 21 h 42"/>
                <a:gd name="T8" fmla="*/ 2 w 20"/>
                <a:gd name="T9" fmla="*/ 4 h 42"/>
                <a:gd name="T10" fmla="*/ 0 w 20"/>
                <a:gd name="T11" fmla="*/ 2 h 42"/>
                <a:gd name="T12" fmla="*/ 2 w 20"/>
                <a:gd name="T13" fmla="*/ 0 h 42"/>
                <a:gd name="T14" fmla="*/ 20 w 20"/>
                <a:gd name="T15" fmla="*/ 21 h 42"/>
                <a:gd name="T16" fmla="*/ 2 w 20"/>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42">
                  <a:moveTo>
                    <a:pt x="2" y="42"/>
                  </a:moveTo>
                  <a:cubicBezTo>
                    <a:pt x="1" y="42"/>
                    <a:pt x="0" y="41"/>
                    <a:pt x="0" y="40"/>
                  </a:cubicBezTo>
                  <a:cubicBezTo>
                    <a:pt x="0" y="39"/>
                    <a:pt x="1" y="38"/>
                    <a:pt x="2" y="38"/>
                  </a:cubicBezTo>
                  <a:cubicBezTo>
                    <a:pt x="10" y="38"/>
                    <a:pt x="16" y="30"/>
                    <a:pt x="16" y="21"/>
                  </a:cubicBezTo>
                  <a:cubicBezTo>
                    <a:pt x="16" y="12"/>
                    <a:pt x="10" y="4"/>
                    <a:pt x="2" y="4"/>
                  </a:cubicBezTo>
                  <a:cubicBezTo>
                    <a:pt x="1" y="4"/>
                    <a:pt x="0" y="3"/>
                    <a:pt x="0" y="2"/>
                  </a:cubicBezTo>
                  <a:cubicBezTo>
                    <a:pt x="0" y="1"/>
                    <a:pt x="1" y="0"/>
                    <a:pt x="2" y="0"/>
                  </a:cubicBezTo>
                  <a:cubicBezTo>
                    <a:pt x="12" y="0"/>
                    <a:pt x="20" y="9"/>
                    <a:pt x="20" y="21"/>
                  </a:cubicBezTo>
                  <a:cubicBezTo>
                    <a:pt x="20" y="33"/>
                    <a:pt x="12" y="42"/>
                    <a:pt x="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9" name="Freeform 28">
              <a:extLst>
                <a:ext uri="{FF2B5EF4-FFF2-40B4-BE49-F238E27FC236}">
                  <a16:creationId xmlns:a16="http://schemas.microsoft.com/office/drawing/2014/main" id="{52B51D10-A380-40E3-9755-D19E7ADA429E}"/>
                </a:ext>
              </a:extLst>
            </p:cNvPr>
            <p:cNvSpPr>
              <a:spLocks/>
            </p:cNvSpPr>
            <p:nvPr/>
          </p:nvSpPr>
          <p:spPr bwMode="auto">
            <a:xfrm>
              <a:off x="-280988" y="3795713"/>
              <a:ext cx="69850" cy="42863"/>
            </a:xfrm>
            <a:custGeom>
              <a:avLst/>
              <a:gdLst>
                <a:gd name="T0" fmla="*/ 12 w 18"/>
                <a:gd name="T1" fmla="*/ 11 h 11"/>
                <a:gd name="T2" fmla="*/ 1 w 18"/>
                <a:gd name="T3" fmla="*/ 3 h 11"/>
                <a:gd name="T4" fmla="*/ 1 w 18"/>
                <a:gd name="T5" fmla="*/ 1 h 11"/>
                <a:gd name="T6" fmla="*/ 4 w 18"/>
                <a:gd name="T7" fmla="*/ 1 h 11"/>
                <a:gd name="T8" fmla="*/ 14 w 18"/>
                <a:gd name="T9" fmla="*/ 6 h 11"/>
                <a:gd name="T10" fmla="*/ 15 w 18"/>
                <a:gd name="T11" fmla="*/ 6 h 11"/>
                <a:gd name="T12" fmla="*/ 15 w 18"/>
                <a:gd name="T13" fmla="*/ 6 h 11"/>
                <a:gd name="T14" fmla="*/ 18 w 18"/>
                <a:gd name="T15" fmla="*/ 8 h 11"/>
                <a:gd name="T16" fmla="*/ 16 w 18"/>
                <a:gd name="T17" fmla="*/ 10 h 11"/>
                <a:gd name="T18" fmla="*/ 15 w 18"/>
                <a:gd name="T19" fmla="*/ 10 h 11"/>
                <a:gd name="T20" fmla="*/ 15 w 18"/>
                <a:gd name="T21" fmla="*/ 10 h 11"/>
                <a:gd name="T22" fmla="*/ 12 w 18"/>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
                  <a:moveTo>
                    <a:pt x="12" y="11"/>
                  </a:moveTo>
                  <a:cubicBezTo>
                    <a:pt x="7" y="11"/>
                    <a:pt x="4" y="8"/>
                    <a:pt x="1" y="3"/>
                  </a:cubicBezTo>
                  <a:cubicBezTo>
                    <a:pt x="0" y="2"/>
                    <a:pt x="0" y="1"/>
                    <a:pt x="1" y="1"/>
                  </a:cubicBezTo>
                  <a:cubicBezTo>
                    <a:pt x="2" y="0"/>
                    <a:pt x="4" y="0"/>
                    <a:pt x="4" y="1"/>
                  </a:cubicBezTo>
                  <a:cubicBezTo>
                    <a:pt x="7" y="6"/>
                    <a:pt x="9" y="7"/>
                    <a:pt x="14" y="6"/>
                  </a:cubicBezTo>
                  <a:cubicBezTo>
                    <a:pt x="14" y="6"/>
                    <a:pt x="15" y="6"/>
                    <a:pt x="15" y="6"/>
                  </a:cubicBezTo>
                  <a:cubicBezTo>
                    <a:pt x="15" y="6"/>
                    <a:pt x="15" y="6"/>
                    <a:pt x="15" y="6"/>
                  </a:cubicBezTo>
                  <a:cubicBezTo>
                    <a:pt x="16" y="6"/>
                    <a:pt x="17" y="7"/>
                    <a:pt x="18" y="8"/>
                  </a:cubicBezTo>
                  <a:cubicBezTo>
                    <a:pt x="18" y="9"/>
                    <a:pt x="17" y="10"/>
                    <a:pt x="16" y="10"/>
                  </a:cubicBezTo>
                  <a:cubicBezTo>
                    <a:pt x="16" y="10"/>
                    <a:pt x="15" y="10"/>
                    <a:pt x="15" y="10"/>
                  </a:cubicBezTo>
                  <a:cubicBezTo>
                    <a:pt x="15" y="10"/>
                    <a:pt x="15" y="10"/>
                    <a:pt x="15" y="10"/>
                  </a:cubicBezTo>
                  <a:cubicBezTo>
                    <a:pt x="13" y="11"/>
                    <a:pt x="12" y="11"/>
                    <a:pt x="1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0" name="Freeform 29">
              <a:extLst>
                <a:ext uri="{FF2B5EF4-FFF2-40B4-BE49-F238E27FC236}">
                  <a16:creationId xmlns:a16="http://schemas.microsoft.com/office/drawing/2014/main" id="{4D54669B-8EC9-4CAD-A939-404C0F4F1495}"/>
                </a:ext>
              </a:extLst>
            </p:cNvPr>
            <p:cNvSpPr>
              <a:spLocks/>
            </p:cNvSpPr>
            <p:nvPr/>
          </p:nvSpPr>
          <p:spPr bwMode="auto">
            <a:xfrm>
              <a:off x="-257175" y="3889375"/>
              <a:ext cx="15875" cy="50800"/>
            </a:xfrm>
            <a:custGeom>
              <a:avLst/>
              <a:gdLst>
                <a:gd name="T0" fmla="*/ 2 w 4"/>
                <a:gd name="T1" fmla="*/ 13 h 13"/>
                <a:gd name="T2" fmla="*/ 0 w 4"/>
                <a:gd name="T3" fmla="*/ 11 h 13"/>
                <a:gd name="T4" fmla="*/ 0 w 4"/>
                <a:gd name="T5" fmla="*/ 2 h 13"/>
                <a:gd name="T6" fmla="*/ 2 w 4"/>
                <a:gd name="T7" fmla="*/ 0 h 13"/>
                <a:gd name="T8" fmla="*/ 4 w 4"/>
                <a:gd name="T9" fmla="*/ 2 h 13"/>
                <a:gd name="T10" fmla="*/ 4 w 4"/>
                <a:gd name="T11" fmla="*/ 11 h 13"/>
                <a:gd name="T12" fmla="*/ 2 w 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2" y="13"/>
                  </a:moveTo>
                  <a:cubicBezTo>
                    <a:pt x="1" y="13"/>
                    <a:pt x="0" y="12"/>
                    <a:pt x="0" y="11"/>
                  </a:cubicBezTo>
                  <a:cubicBezTo>
                    <a:pt x="0" y="2"/>
                    <a:pt x="0" y="2"/>
                    <a:pt x="0" y="2"/>
                  </a:cubicBezTo>
                  <a:cubicBezTo>
                    <a:pt x="0" y="1"/>
                    <a:pt x="1" y="0"/>
                    <a:pt x="2" y="0"/>
                  </a:cubicBezTo>
                  <a:cubicBezTo>
                    <a:pt x="3" y="0"/>
                    <a:pt x="4" y="1"/>
                    <a:pt x="4" y="2"/>
                  </a:cubicBezTo>
                  <a:cubicBezTo>
                    <a:pt x="4" y="11"/>
                    <a:pt x="4" y="11"/>
                    <a:pt x="4" y="11"/>
                  </a:cubicBezTo>
                  <a:cubicBezTo>
                    <a:pt x="4" y="12"/>
                    <a:pt x="3" y="13"/>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1" name="Freeform 30">
              <a:extLst>
                <a:ext uri="{FF2B5EF4-FFF2-40B4-BE49-F238E27FC236}">
                  <a16:creationId xmlns:a16="http://schemas.microsoft.com/office/drawing/2014/main" id="{48D8BE56-7E89-4845-ADB1-46DA8CF106FD}"/>
                </a:ext>
              </a:extLst>
            </p:cNvPr>
            <p:cNvSpPr>
              <a:spLocks noEditPoints="1"/>
            </p:cNvSpPr>
            <p:nvPr/>
          </p:nvSpPr>
          <p:spPr bwMode="auto">
            <a:xfrm>
              <a:off x="-287338" y="3956050"/>
              <a:ext cx="153988" cy="146050"/>
            </a:xfrm>
            <a:custGeom>
              <a:avLst/>
              <a:gdLst>
                <a:gd name="T0" fmla="*/ 14 w 40"/>
                <a:gd name="T1" fmla="*/ 38 h 38"/>
                <a:gd name="T2" fmla="*/ 13 w 40"/>
                <a:gd name="T3" fmla="*/ 38 h 38"/>
                <a:gd name="T4" fmla="*/ 12 w 40"/>
                <a:gd name="T5" fmla="*/ 36 h 38"/>
                <a:gd name="T6" fmla="*/ 12 w 40"/>
                <a:gd name="T7" fmla="*/ 28 h 38"/>
                <a:gd name="T8" fmla="*/ 2 w 40"/>
                <a:gd name="T9" fmla="*/ 28 h 38"/>
                <a:gd name="T10" fmla="*/ 0 w 40"/>
                <a:gd name="T11" fmla="*/ 26 h 38"/>
                <a:gd name="T12" fmla="*/ 0 w 40"/>
                <a:gd name="T13" fmla="*/ 2 h 38"/>
                <a:gd name="T14" fmla="*/ 2 w 40"/>
                <a:gd name="T15" fmla="*/ 0 h 38"/>
                <a:gd name="T16" fmla="*/ 38 w 40"/>
                <a:gd name="T17" fmla="*/ 0 h 38"/>
                <a:gd name="T18" fmla="*/ 40 w 40"/>
                <a:gd name="T19" fmla="*/ 2 h 38"/>
                <a:gd name="T20" fmla="*/ 40 w 40"/>
                <a:gd name="T21" fmla="*/ 26 h 38"/>
                <a:gd name="T22" fmla="*/ 38 w 40"/>
                <a:gd name="T23" fmla="*/ 28 h 38"/>
                <a:gd name="T24" fmla="*/ 25 w 40"/>
                <a:gd name="T25" fmla="*/ 28 h 38"/>
                <a:gd name="T26" fmla="*/ 15 w 40"/>
                <a:gd name="T27" fmla="*/ 37 h 38"/>
                <a:gd name="T28" fmla="*/ 14 w 40"/>
                <a:gd name="T29" fmla="*/ 38 h 38"/>
                <a:gd name="T30" fmla="*/ 4 w 40"/>
                <a:gd name="T31" fmla="*/ 24 h 38"/>
                <a:gd name="T32" fmla="*/ 14 w 40"/>
                <a:gd name="T33" fmla="*/ 24 h 38"/>
                <a:gd name="T34" fmla="*/ 16 w 40"/>
                <a:gd name="T35" fmla="*/ 26 h 38"/>
                <a:gd name="T36" fmla="*/ 16 w 40"/>
                <a:gd name="T37" fmla="*/ 31 h 38"/>
                <a:gd name="T38" fmla="*/ 23 w 40"/>
                <a:gd name="T39" fmla="*/ 25 h 38"/>
                <a:gd name="T40" fmla="*/ 24 w 40"/>
                <a:gd name="T41" fmla="*/ 24 h 38"/>
                <a:gd name="T42" fmla="*/ 36 w 40"/>
                <a:gd name="T43" fmla="*/ 24 h 38"/>
                <a:gd name="T44" fmla="*/ 36 w 40"/>
                <a:gd name="T45" fmla="*/ 4 h 38"/>
                <a:gd name="T46" fmla="*/ 4 w 40"/>
                <a:gd name="T47" fmla="*/ 4 h 38"/>
                <a:gd name="T48" fmla="*/ 4 w 40"/>
                <a:gd name="T4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38">
                  <a:moveTo>
                    <a:pt x="14" y="38"/>
                  </a:moveTo>
                  <a:cubicBezTo>
                    <a:pt x="14" y="38"/>
                    <a:pt x="13" y="38"/>
                    <a:pt x="13" y="38"/>
                  </a:cubicBezTo>
                  <a:cubicBezTo>
                    <a:pt x="12" y="38"/>
                    <a:pt x="12" y="37"/>
                    <a:pt x="12" y="36"/>
                  </a:cubicBezTo>
                  <a:cubicBezTo>
                    <a:pt x="12" y="28"/>
                    <a:pt x="12" y="28"/>
                    <a:pt x="12" y="28"/>
                  </a:cubicBezTo>
                  <a:cubicBezTo>
                    <a:pt x="2" y="28"/>
                    <a:pt x="2" y="28"/>
                    <a:pt x="2" y="28"/>
                  </a:cubicBezTo>
                  <a:cubicBezTo>
                    <a:pt x="1" y="28"/>
                    <a:pt x="0" y="27"/>
                    <a:pt x="0" y="26"/>
                  </a:cubicBezTo>
                  <a:cubicBezTo>
                    <a:pt x="0" y="2"/>
                    <a:pt x="0" y="2"/>
                    <a:pt x="0" y="2"/>
                  </a:cubicBezTo>
                  <a:cubicBezTo>
                    <a:pt x="0" y="1"/>
                    <a:pt x="1" y="0"/>
                    <a:pt x="2" y="0"/>
                  </a:cubicBezTo>
                  <a:cubicBezTo>
                    <a:pt x="38" y="0"/>
                    <a:pt x="38" y="0"/>
                    <a:pt x="38" y="0"/>
                  </a:cubicBezTo>
                  <a:cubicBezTo>
                    <a:pt x="39" y="0"/>
                    <a:pt x="40" y="1"/>
                    <a:pt x="40" y="2"/>
                  </a:cubicBezTo>
                  <a:cubicBezTo>
                    <a:pt x="40" y="26"/>
                    <a:pt x="40" y="26"/>
                    <a:pt x="40" y="26"/>
                  </a:cubicBezTo>
                  <a:cubicBezTo>
                    <a:pt x="40" y="27"/>
                    <a:pt x="39" y="28"/>
                    <a:pt x="38" y="28"/>
                  </a:cubicBezTo>
                  <a:cubicBezTo>
                    <a:pt x="25" y="28"/>
                    <a:pt x="25" y="28"/>
                    <a:pt x="25" y="28"/>
                  </a:cubicBezTo>
                  <a:cubicBezTo>
                    <a:pt x="15" y="37"/>
                    <a:pt x="15" y="37"/>
                    <a:pt x="15" y="37"/>
                  </a:cubicBezTo>
                  <a:cubicBezTo>
                    <a:pt x="15" y="38"/>
                    <a:pt x="15" y="38"/>
                    <a:pt x="14" y="38"/>
                  </a:cubicBezTo>
                  <a:close/>
                  <a:moveTo>
                    <a:pt x="4" y="24"/>
                  </a:moveTo>
                  <a:cubicBezTo>
                    <a:pt x="14" y="24"/>
                    <a:pt x="14" y="24"/>
                    <a:pt x="14" y="24"/>
                  </a:cubicBezTo>
                  <a:cubicBezTo>
                    <a:pt x="15" y="24"/>
                    <a:pt x="16" y="25"/>
                    <a:pt x="16" y="26"/>
                  </a:cubicBezTo>
                  <a:cubicBezTo>
                    <a:pt x="16" y="31"/>
                    <a:pt x="16" y="31"/>
                    <a:pt x="16" y="31"/>
                  </a:cubicBezTo>
                  <a:cubicBezTo>
                    <a:pt x="23" y="25"/>
                    <a:pt x="23" y="25"/>
                    <a:pt x="23" y="25"/>
                  </a:cubicBezTo>
                  <a:cubicBezTo>
                    <a:pt x="23" y="24"/>
                    <a:pt x="23" y="24"/>
                    <a:pt x="24" y="24"/>
                  </a:cubicBezTo>
                  <a:cubicBezTo>
                    <a:pt x="36" y="24"/>
                    <a:pt x="36" y="24"/>
                    <a:pt x="36" y="24"/>
                  </a:cubicBezTo>
                  <a:cubicBezTo>
                    <a:pt x="36" y="4"/>
                    <a:pt x="36" y="4"/>
                    <a:pt x="36" y="4"/>
                  </a:cubicBezTo>
                  <a:cubicBezTo>
                    <a:pt x="4" y="4"/>
                    <a:pt x="4" y="4"/>
                    <a:pt x="4" y="4"/>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2" name="Freeform 31">
              <a:extLst>
                <a:ext uri="{FF2B5EF4-FFF2-40B4-BE49-F238E27FC236}">
                  <a16:creationId xmlns:a16="http://schemas.microsoft.com/office/drawing/2014/main" id="{26DD9205-4171-421B-8427-70A2271EDB94}"/>
                </a:ext>
              </a:extLst>
            </p:cNvPr>
            <p:cNvSpPr>
              <a:spLocks/>
            </p:cNvSpPr>
            <p:nvPr/>
          </p:nvSpPr>
          <p:spPr bwMode="auto">
            <a:xfrm>
              <a:off x="-257175" y="3986213"/>
              <a:ext cx="93663" cy="15875"/>
            </a:xfrm>
            <a:custGeom>
              <a:avLst/>
              <a:gdLst>
                <a:gd name="T0" fmla="*/ 22 w 24"/>
                <a:gd name="T1" fmla="*/ 4 h 4"/>
                <a:gd name="T2" fmla="*/ 2 w 24"/>
                <a:gd name="T3" fmla="*/ 4 h 4"/>
                <a:gd name="T4" fmla="*/ 0 w 24"/>
                <a:gd name="T5" fmla="*/ 2 h 4"/>
                <a:gd name="T6" fmla="*/ 2 w 24"/>
                <a:gd name="T7" fmla="*/ 0 h 4"/>
                <a:gd name="T8" fmla="*/ 22 w 24"/>
                <a:gd name="T9" fmla="*/ 0 h 4"/>
                <a:gd name="T10" fmla="*/ 24 w 24"/>
                <a:gd name="T11" fmla="*/ 2 h 4"/>
                <a:gd name="T12" fmla="*/ 2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4"/>
                  </a:moveTo>
                  <a:cubicBezTo>
                    <a:pt x="2" y="4"/>
                    <a:pt x="2" y="4"/>
                    <a:pt x="2" y="4"/>
                  </a:cubicBezTo>
                  <a:cubicBezTo>
                    <a:pt x="1" y="4"/>
                    <a:pt x="0" y="3"/>
                    <a:pt x="0" y="2"/>
                  </a:cubicBezTo>
                  <a:cubicBezTo>
                    <a:pt x="0" y="1"/>
                    <a:pt x="1" y="0"/>
                    <a:pt x="2" y="0"/>
                  </a:cubicBezTo>
                  <a:cubicBezTo>
                    <a:pt x="22" y="0"/>
                    <a:pt x="22" y="0"/>
                    <a:pt x="22" y="0"/>
                  </a:cubicBezTo>
                  <a:cubicBezTo>
                    <a:pt x="23" y="0"/>
                    <a:pt x="24" y="1"/>
                    <a:pt x="24" y="2"/>
                  </a:cubicBezTo>
                  <a:cubicBezTo>
                    <a:pt x="24" y="3"/>
                    <a:pt x="23"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3" name="Freeform 32">
              <a:extLst>
                <a:ext uri="{FF2B5EF4-FFF2-40B4-BE49-F238E27FC236}">
                  <a16:creationId xmlns:a16="http://schemas.microsoft.com/office/drawing/2014/main" id="{1C756F9F-D3E6-424F-B0C0-3712DF1446FA}"/>
                </a:ext>
              </a:extLst>
            </p:cNvPr>
            <p:cNvSpPr>
              <a:spLocks/>
            </p:cNvSpPr>
            <p:nvPr/>
          </p:nvSpPr>
          <p:spPr bwMode="auto">
            <a:xfrm>
              <a:off x="-257175" y="4017963"/>
              <a:ext cx="69850" cy="14288"/>
            </a:xfrm>
            <a:custGeom>
              <a:avLst/>
              <a:gdLst>
                <a:gd name="T0" fmla="*/ 16 w 18"/>
                <a:gd name="T1" fmla="*/ 4 h 4"/>
                <a:gd name="T2" fmla="*/ 2 w 18"/>
                <a:gd name="T3" fmla="*/ 4 h 4"/>
                <a:gd name="T4" fmla="*/ 0 w 18"/>
                <a:gd name="T5" fmla="*/ 2 h 4"/>
                <a:gd name="T6" fmla="*/ 2 w 18"/>
                <a:gd name="T7" fmla="*/ 0 h 4"/>
                <a:gd name="T8" fmla="*/ 16 w 18"/>
                <a:gd name="T9" fmla="*/ 0 h 4"/>
                <a:gd name="T10" fmla="*/ 18 w 18"/>
                <a:gd name="T11" fmla="*/ 2 h 4"/>
                <a:gd name="T12" fmla="*/ 16 w 1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6" y="4"/>
                  </a:moveTo>
                  <a:cubicBezTo>
                    <a:pt x="2" y="4"/>
                    <a:pt x="2" y="4"/>
                    <a:pt x="2" y="4"/>
                  </a:cubicBezTo>
                  <a:cubicBezTo>
                    <a:pt x="1" y="4"/>
                    <a:pt x="0" y="3"/>
                    <a:pt x="0" y="2"/>
                  </a:cubicBezTo>
                  <a:cubicBezTo>
                    <a:pt x="0" y="1"/>
                    <a:pt x="1" y="0"/>
                    <a:pt x="2" y="0"/>
                  </a:cubicBezTo>
                  <a:cubicBezTo>
                    <a:pt x="16" y="0"/>
                    <a:pt x="16" y="0"/>
                    <a:pt x="16" y="0"/>
                  </a:cubicBezTo>
                  <a:cubicBezTo>
                    <a:pt x="17" y="0"/>
                    <a:pt x="18" y="1"/>
                    <a:pt x="18" y="2"/>
                  </a:cubicBezTo>
                  <a:cubicBezTo>
                    <a:pt x="18" y="3"/>
                    <a:pt x="17"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78" name="Group 6">
            <a:extLst>
              <a:ext uri="{FF2B5EF4-FFF2-40B4-BE49-F238E27FC236}">
                <a16:creationId xmlns:a16="http://schemas.microsoft.com/office/drawing/2014/main" id="{3177E350-AA53-41D5-8D86-07F92D260AB3}"/>
              </a:ext>
            </a:extLst>
          </p:cNvPr>
          <p:cNvGrpSpPr>
            <a:grpSpLocks noChangeAspect="1"/>
          </p:cNvGrpSpPr>
          <p:nvPr/>
        </p:nvGrpSpPr>
        <p:grpSpPr>
          <a:xfrm>
            <a:off x="6173952" y="4340505"/>
            <a:ext cx="310982" cy="285619"/>
            <a:chOff x="895350" y="922338"/>
            <a:chExt cx="895351" cy="822326"/>
          </a:xfrm>
          <a:solidFill>
            <a:schemeClr val="bg1"/>
          </a:solidFill>
        </p:grpSpPr>
        <p:sp>
          <p:nvSpPr>
            <p:cNvPr id="1079" name="Freeform 5">
              <a:extLst>
                <a:ext uri="{FF2B5EF4-FFF2-40B4-BE49-F238E27FC236}">
                  <a16:creationId xmlns:a16="http://schemas.microsoft.com/office/drawing/2014/main" id="{D3B9E902-9267-4436-A2A7-A1353D10E76B}"/>
                </a:ext>
              </a:extLst>
            </p:cNvPr>
            <p:cNvSpPr>
              <a:spLocks noEditPoints="1"/>
            </p:cNvSpPr>
            <p:nvPr/>
          </p:nvSpPr>
          <p:spPr bwMode="auto">
            <a:xfrm>
              <a:off x="895350" y="922338"/>
              <a:ext cx="741363" cy="633413"/>
            </a:xfrm>
            <a:custGeom>
              <a:avLst/>
              <a:gdLst>
                <a:gd name="T0" fmla="*/ 3688 w 3688"/>
                <a:gd name="T1" fmla="*/ 1552 h 3151"/>
                <a:gd name="T2" fmla="*/ 3688 w 3688"/>
                <a:gd name="T3" fmla="*/ 151 h 3151"/>
                <a:gd name="T4" fmla="*/ 3539 w 3688"/>
                <a:gd name="T5" fmla="*/ 0 h 3151"/>
                <a:gd name="T6" fmla="*/ 157 w 3688"/>
                <a:gd name="T7" fmla="*/ 0 h 3151"/>
                <a:gd name="T8" fmla="*/ 0 w 3688"/>
                <a:gd name="T9" fmla="*/ 151 h 3151"/>
                <a:gd name="T10" fmla="*/ 0 w 3688"/>
                <a:gd name="T11" fmla="*/ 2287 h 3151"/>
                <a:gd name="T12" fmla="*/ 157 w 3688"/>
                <a:gd name="T13" fmla="*/ 2444 h 3151"/>
                <a:gd name="T14" fmla="*/ 536 w 3688"/>
                <a:gd name="T15" fmla="*/ 2444 h 3151"/>
                <a:gd name="T16" fmla="*/ 536 w 3688"/>
                <a:gd name="T17" fmla="*/ 2998 h 3151"/>
                <a:gd name="T18" fmla="*/ 632 w 3688"/>
                <a:gd name="T19" fmla="*/ 3140 h 3151"/>
                <a:gd name="T20" fmla="*/ 691 w 3688"/>
                <a:gd name="T21" fmla="*/ 3151 h 3151"/>
                <a:gd name="T22" fmla="*/ 799 w 3688"/>
                <a:gd name="T23" fmla="*/ 3109 h 3151"/>
                <a:gd name="T24" fmla="*/ 1466 w 3688"/>
                <a:gd name="T25" fmla="*/ 2444 h 3151"/>
                <a:gd name="T26" fmla="*/ 1908 w 3688"/>
                <a:gd name="T27" fmla="*/ 2444 h 3151"/>
                <a:gd name="T28" fmla="*/ 1908 w 3688"/>
                <a:gd name="T29" fmla="*/ 1575 h 3151"/>
                <a:gd name="T30" fmla="*/ 1937 w 3688"/>
                <a:gd name="T31" fmla="*/ 1552 h 3151"/>
                <a:gd name="T32" fmla="*/ 3688 w 3688"/>
                <a:gd name="T33" fmla="*/ 1552 h 3151"/>
                <a:gd name="T34" fmla="*/ 691 w 3688"/>
                <a:gd name="T35" fmla="*/ 3024 h 3151"/>
                <a:gd name="T36" fmla="*/ 680 w 3688"/>
                <a:gd name="T37" fmla="*/ 3022 h 3151"/>
                <a:gd name="T38" fmla="*/ 664 w 3688"/>
                <a:gd name="T39" fmla="*/ 2998 h 3151"/>
                <a:gd name="T40" fmla="*/ 664 w 3688"/>
                <a:gd name="T41" fmla="*/ 2316 h 3151"/>
                <a:gd name="T42" fmla="*/ 157 w 3688"/>
                <a:gd name="T43" fmla="*/ 2316 h 3151"/>
                <a:gd name="T44" fmla="*/ 128 w 3688"/>
                <a:gd name="T45" fmla="*/ 2287 h 3151"/>
                <a:gd name="T46" fmla="*/ 128 w 3688"/>
                <a:gd name="T47" fmla="*/ 151 h 3151"/>
                <a:gd name="T48" fmla="*/ 157 w 3688"/>
                <a:gd name="T49" fmla="*/ 128 h 3151"/>
                <a:gd name="T50" fmla="*/ 3539 w 3688"/>
                <a:gd name="T51" fmla="*/ 128 h 3151"/>
                <a:gd name="T52" fmla="*/ 3560 w 3688"/>
                <a:gd name="T53" fmla="*/ 151 h 3151"/>
                <a:gd name="T54" fmla="*/ 3560 w 3688"/>
                <a:gd name="T55" fmla="*/ 1424 h 3151"/>
                <a:gd name="T56" fmla="*/ 1937 w 3688"/>
                <a:gd name="T57" fmla="*/ 1424 h 3151"/>
                <a:gd name="T58" fmla="*/ 1780 w 3688"/>
                <a:gd name="T59" fmla="*/ 1575 h 3151"/>
                <a:gd name="T60" fmla="*/ 1780 w 3688"/>
                <a:gd name="T61" fmla="*/ 2316 h 3151"/>
                <a:gd name="T62" fmla="*/ 1413 w 3688"/>
                <a:gd name="T63" fmla="*/ 2316 h 3151"/>
                <a:gd name="T64" fmla="*/ 709 w 3688"/>
                <a:gd name="T65" fmla="*/ 3018 h 3151"/>
                <a:gd name="T66" fmla="*/ 691 w 3688"/>
                <a:gd name="T67" fmla="*/ 3024 h 3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8" h="3151">
                  <a:moveTo>
                    <a:pt x="3688" y="1552"/>
                  </a:moveTo>
                  <a:cubicBezTo>
                    <a:pt x="3688" y="151"/>
                    <a:pt x="3688" y="151"/>
                    <a:pt x="3688" y="151"/>
                  </a:cubicBezTo>
                  <a:cubicBezTo>
                    <a:pt x="3688" y="66"/>
                    <a:pt x="3622" y="0"/>
                    <a:pt x="3539" y="0"/>
                  </a:cubicBezTo>
                  <a:cubicBezTo>
                    <a:pt x="157" y="0"/>
                    <a:pt x="157" y="0"/>
                    <a:pt x="157" y="0"/>
                  </a:cubicBezTo>
                  <a:cubicBezTo>
                    <a:pt x="70" y="0"/>
                    <a:pt x="0" y="68"/>
                    <a:pt x="0" y="151"/>
                  </a:cubicBezTo>
                  <a:cubicBezTo>
                    <a:pt x="0" y="2287"/>
                    <a:pt x="0" y="2287"/>
                    <a:pt x="0" y="2287"/>
                  </a:cubicBezTo>
                  <a:cubicBezTo>
                    <a:pt x="0" y="2370"/>
                    <a:pt x="73" y="2444"/>
                    <a:pt x="157" y="2444"/>
                  </a:cubicBezTo>
                  <a:cubicBezTo>
                    <a:pt x="536" y="2444"/>
                    <a:pt x="536" y="2444"/>
                    <a:pt x="536" y="2444"/>
                  </a:cubicBezTo>
                  <a:cubicBezTo>
                    <a:pt x="536" y="2998"/>
                    <a:pt x="536" y="2998"/>
                    <a:pt x="536" y="2998"/>
                  </a:cubicBezTo>
                  <a:cubicBezTo>
                    <a:pt x="536" y="3060"/>
                    <a:pt x="574" y="3116"/>
                    <a:pt x="632" y="3140"/>
                  </a:cubicBezTo>
                  <a:cubicBezTo>
                    <a:pt x="650" y="3147"/>
                    <a:pt x="671" y="3151"/>
                    <a:pt x="691" y="3151"/>
                  </a:cubicBezTo>
                  <a:cubicBezTo>
                    <a:pt x="734" y="3151"/>
                    <a:pt x="771" y="3137"/>
                    <a:pt x="799" y="3109"/>
                  </a:cubicBezTo>
                  <a:cubicBezTo>
                    <a:pt x="1466" y="2444"/>
                    <a:pt x="1466" y="2444"/>
                    <a:pt x="1466" y="2444"/>
                  </a:cubicBezTo>
                  <a:cubicBezTo>
                    <a:pt x="1908" y="2444"/>
                    <a:pt x="1908" y="2444"/>
                    <a:pt x="1908" y="2444"/>
                  </a:cubicBezTo>
                  <a:cubicBezTo>
                    <a:pt x="1908" y="1575"/>
                    <a:pt x="1908" y="1575"/>
                    <a:pt x="1908" y="1575"/>
                  </a:cubicBezTo>
                  <a:cubicBezTo>
                    <a:pt x="1908" y="1561"/>
                    <a:pt x="1923" y="1552"/>
                    <a:pt x="1937" y="1552"/>
                  </a:cubicBezTo>
                  <a:lnTo>
                    <a:pt x="3688" y="1552"/>
                  </a:lnTo>
                  <a:close/>
                  <a:moveTo>
                    <a:pt x="691" y="3024"/>
                  </a:moveTo>
                  <a:cubicBezTo>
                    <a:pt x="688" y="3024"/>
                    <a:pt x="684" y="3023"/>
                    <a:pt x="680" y="3022"/>
                  </a:cubicBezTo>
                  <a:cubicBezTo>
                    <a:pt x="671" y="3018"/>
                    <a:pt x="664" y="3008"/>
                    <a:pt x="664" y="2998"/>
                  </a:cubicBezTo>
                  <a:cubicBezTo>
                    <a:pt x="664" y="2316"/>
                    <a:pt x="664" y="2316"/>
                    <a:pt x="664" y="2316"/>
                  </a:cubicBezTo>
                  <a:cubicBezTo>
                    <a:pt x="157" y="2316"/>
                    <a:pt x="157" y="2316"/>
                    <a:pt x="157" y="2316"/>
                  </a:cubicBezTo>
                  <a:cubicBezTo>
                    <a:pt x="143" y="2316"/>
                    <a:pt x="128" y="2300"/>
                    <a:pt x="128" y="2287"/>
                  </a:cubicBezTo>
                  <a:cubicBezTo>
                    <a:pt x="128" y="151"/>
                    <a:pt x="128" y="151"/>
                    <a:pt x="128" y="151"/>
                  </a:cubicBezTo>
                  <a:cubicBezTo>
                    <a:pt x="128" y="137"/>
                    <a:pt x="143" y="128"/>
                    <a:pt x="157" y="128"/>
                  </a:cubicBezTo>
                  <a:cubicBezTo>
                    <a:pt x="3539" y="128"/>
                    <a:pt x="3539" y="128"/>
                    <a:pt x="3539" y="128"/>
                  </a:cubicBezTo>
                  <a:cubicBezTo>
                    <a:pt x="3552" y="128"/>
                    <a:pt x="3560" y="137"/>
                    <a:pt x="3560" y="151"/>
                  </a:cubicBezTo>
                  <a:cubicBezTo>
                    <a:pt x="3560" y="1424"/>
                    <a:pt x="3560" y="1424"/>
                    <a:pt x="3560" y="1424"/>
                  </a:cubicBezTo>
                  <a:cubicBezTo>
                    <a:pt x="1937" y="1424"/>
                    <a:pt x="1937" y="1424"/>
                    <a:pt x="1937" y="1424"/>
                  </a:cubicBezTo>
                  <a:cubicBezTo>
                    <a:pt x="1850" y="1424"/>
                    <a:pt x="1780" y="1492"/>
                    <a:pt x="1780" y="1575"/>
                  </a:cubicBezTo>
                  <a:cubicBezTo>
                    <a:pt x="1780" y="2316"/>
                    <a:pt x="1780" y="2316"/>
                    <a:pt x="1780" y="2316"/>
                  </a:cubicBezTo>
                  <a:cubicBezTo>
                    <a:pt x="1413" y="2316"/>
                    <a:pt x="1413" y="2316"/>
                    <a:pt x="1413" y="2316"/>
                  </a:cubicBezTo>
                  <a:cubicBezTo>
                    <a:pt x="709" y="3018"/>
                    <a:pt x="709" y="3018"/>
                    <a:pt x="709" y="3018"/>
                  </a:cubicBezTo>
                  <a:cubicBezTo>
                    <a:pt x="705" y="3022"/>
                    <a:pt x="699" y="3024"/>
                    <a:pt x="691" y="30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6">
              <a:extLst>
                <a:ext uri="{FF2B5EF4-FFF2-40B4-BE49-F238E27FC236}">
                  <a16:creationId xmlns:a16="http://schemas.microsoft.com/office/drawing/2014/main" id="{C786CB82-C1EF-4DB2-BAEA-74E766D87982}"/>
                </a:ext>
              </a:extLst>
            </p:cNvPr>
            <p:cNvSpPr>
              <a:spLocks noEditPoints="1"/>
            </p:cNvSpPr>
            <p:nvPr/>
          </p:nvSpPr>
          <p:spPr bwMode="auto">
            <a:xfrm>
              <a:off x="1300163" y="1254126"/>
              <a:ext cx="490538" cy="490538"/>
            </a:xfrm>
            <a:custGeom>
              <a:avLst/>
              <a:gdLst>
                <a:gd name="T0" fmla="*/ 2295 w 2444"/>
                <a:gd name="T1" fmla="*/ 0 h 2440"/>
                <a:gd name="T2" fmla="*/ 159 w 2444"/>
                <a:gd name="T3" fmla="*/ 0 h 2440"/>
                <a:gd name="T4" fmla="*/ 0 w 2444"/>
                <a:gd name="T5" fmla="*/ 151 h 2440"/>
                <a:gd name="T6" fmla="*/ 0 w 2444"/>
                <a:gd name="T7" fmla="*/ 1574 h 2440"/>
                <a:gd name="T8" fmla="*/ 159 w 2444"/>
                <a:gd name="T9" fmla="*/ 1732 h 2440"/>
                <a:gd name="T10" fmla="*/ 1080 w 2444"/>
                <a:gd name="T11" fmla="*/ 1732 h 2440"/>
                <a:gd name="T12" fmla="*/ 1087 w 2444"/>
                <a:gd name="T13" fmla="*/ 1737 h 2440"/>
                <a:gd name="T14" fmla="*/ 1837 w 2444"/>
                <a:gd name="T15" fmla="*/ 2402 h 2440"/>
                <a:gd name="T16" fmla="*/ 1939 w 2444"/>
                <a:gd name="T17" fmla="*/ 2440 h 2440"/>
                <a:gd name="T18" fmla="*/ 1999 w 2444"/>
                <a:gd name="T19" fmla="*/ 2426 h 2440"/>
                <a:gd name="T20" fmla="*/ 2088 w 2444"/>
                <a:gd name="T21" fmla="*/ 2286 h 2440"/>
                <a:gd name="T22" fmla="*/ 2088 w 2444"/>
                <a:gd name="T23" fmla="*/ 1732 h 2440"/>
                <a:gd name="T24" fmla="*/ 2295 w 2444"/>
                <a:gd name="T25" fmla="*/ 1732 h 2440"/>
                <a:gd name="T26" fmla="*/ 2444 w 2444"/>
                <a:gd name="T27" fmla="*/ 1574 h 2440"/>
                <a:gd name="T28" fmla="*/ 2444 w 2444"/>
                <a:gd name="T29" fmla="*/ 151 h 2440"/>
                <a:gd name="T30" fmla="*/ 2295 w 2444"/>
                <a:gd name="T31" fmla="*/ 0 h 2440"/>
                <a:gd name="T32" fmla="*/ 128 w 2444"/>
                <a:gd name="T33" fmla="*/ 151 h 2440"/>
                <a:gd name="T34" fmla="*/ 131 w 2444"/>
                <a:gd name="T35" fmla="*/ 131 h 2440"/>
                <a:gd name="T36" fmla="*/ 159 w 2444"/>
                <a:gd name="T37" fmla="*/ 128 h 2440"/>
                <a:gd name="T38" fmla="*/ 2295 w 2444"/>
                <a:gd name="T39" fmla="*/ 128 h 2440"/>
                <a:gd name="T40" fmla="*/ 2316 w 2444"/>
                <a:gd name="T41" fmla="*/ 151 h 2440"/>
                <a:gd name="T42" fmla="*/ 2316 w 2444"/>
                <a:gd name="T43" fmla="*/ 1574 h 2440"/>
                <a:gd name="T44" fmla="*/ 2295 w 2444"/>
                <a:gd name="T45" fmla="*/ 1604 h 2440"/>
                <a:gd name="T46" fmla="*/ 1960 w 2444"/>
                <a:gd name="T47" fmla="*/ 1604 h 2440"/>
                <a:gd name="T48" fmla="*/ 1960 w 2444"/>
                <a:gd name="T49" fmla="*/ 2286 h 2440"/>
                <a:gd name="T50" fmla="*/ 1948 w 2444"/>
                <a:gd name="T51" fmla="*/ 2309 h 2440"/>
                <a:gd name="T52" fmla="*/ 1921 w 2444"/>
                <a:gd name="T53" fmla="*/ 2305 h 2440"/>
                <a:gd name="T54" fmla="*/ 1171 w 2444"/>
                <a:gd name="T55" fmla="*/ 1640 h 2440"/>
                <a:gd name="T56" fmla="*/ 1128 w 2444"/>
                <a:gd name="T57" fmla="*/ 1604 h 2440"/>
                <a:gd name="T58" fmla="*/ 159 w 2444"/>
                <a:gd name="T59" fmla="*/ 1604 h 2440"/>
                <a:gd name="T60" fmla="*/ 128 w 2444"/>
                <a:gd name="T61" fmla="*/ 1574 h 2440"/>
                <a:gd name="T62" fmla="*/ 128 w 2444"/>
                <a:gd name="T63" fmla="*/ 151 h 2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44" h="2440">
                  <a:moveTo>
                    <a:pt x="2295" y="0"/>
                  </a:moveTo>
                  <a:cubicBezTo>
                    <a:pt x="159" y="0"/>
                    <a:pt x="159" y="0"/>
                    <a:pt x="159" y="0"/>
                  </a:cubicBezTo>
                  <a:cubicBezTo>
                    <a:pt x="58" y="0"/>
                    <a:pt x="0" y="55"/>
                    <a:pt x="0" y="151"/>
                  </a:cubicBezTo>
                  <a:cubicBezTo>
                    <a:pt x="0" y="1574"/>
                    <a:pt x="0" y="1574"/>
                    <a:pt x="0" y="1574"/>
                  </a:cubicBezTo>
                  <a:cubicBezTo>
                    <a:pt x="0" y="1658"/>
                    <a:pt x="74" y="1732"/>
                    <a:pt x="159" y="1732"/>
                  </a:cubicBezTo>
                  <a:cubicBezTo>
                    <a:pt x="1080" y="1732"/>
                    <a:pt x="1080" y="1732"/>
                    <a:pt x="1080" y="1732"/>
                  </a:cubicBezTo>
                  <a:cubicBezTo>
                    <a:pt x="1087" y="1737"/>
                    <a:pt x="1087" y="1737"/>
                    <a:pt x="1087" y="1737"/>
                  </a:cubicBezTo>
                  <a:cubicBezTo>
                    <a:pt x="1837" y="2402"/>
                    <a:pt x="1837" y="2402"/>
                    <a:pt x="1837" y="2402"/>
                  </a:cubicBezTo>
                  <a:cubicBezTo>
                    <a:pt x="1865" y="2427"/>
                    <a:pt x="1901" y="2440"/>
                    <a:pt x="1939" y="2440"/>
                  </a:cubicBezTo>
                  <a:cubicBezTo>
                    <a:pt x="1959" y="2440"/>
                    <a:pt x="1978" y="2436"/>
                    <a:pt x="1999" y="2426"/>
                  </a:cubicBezTo>
                  <a:cubicBezTo>
                    <a:pt x="2053" y="2402"/>
                    <a:pt x="2088" y="2347"/>
                    <a:pt x="2088" y="2286"/>
                  </a:cubicBezTo>
                  <a:cubicBezTo>
                    <a:pt x="2088" y="1732"/>
                    <a:pt x="2088" y="1732"/>
                    <a:pt x="2088" y="1732"/>
                  </a:cubicBezTo>
                  <a:cubicBezTo>
                    <a:pt x="2295" y="1732"/>
                    <a:pt x="2295" y="1732"/>
                    <a:pt x="2295" y="1732"/>
                  </a:cubicBezTo>
                  <a:cubicBezTo>
                    <a:pt x="2377" y="1732"/>
                    <a:pt x="2444" y="1661"/>
                    <a:pt x="2444" y="1574"/>
                  </a:cubicBezTo>
                  <a:cubicBezTo>
                    <a:pt x="2444" y="151"/>
                    <a:pt x="2444" y="151"/>
                    <a:pt x="2444" y="151"/>
                  </a:cubicBezTo>
                  <a:cubicBezTo>
                    <a:pt x="2444" y="66"/>
                    <a:pt x="2378" y="0"/>
                    <a:pt x="2295" y="0"/>
                  </a:cubicBezTo>
                  <a:close/>
                  <a:moveTo>
                    <a:pt x="128" y="151"/>
                  </a:moveTo>
                  <a:cubicBezTo>
                    <a:pt x="128" y="136"/>
                    <a:pt x="130" y="132"/>
                    <a:pt x="131" y="131"/>
                  </a:cubicBezTo>
                  <a:cubicBezTo>
                    <a:pt x="135" y="128"/>
                    <a:pt x="148" y="128"/>
                    <a:pt x="159" y="128"/>
                  </a:cubicBezTo>
                  <a:cubicBezTo>
                    <a:pt x="2295" y="128"/>
                    <a:pt x="2295" y="128"/>
                    <a:pt x="2295" y="128"/>
                  </a:cubicBezTo>
                  <a:cubicBezTo>
                    <a:pt x="2308" y="128"/>
                    <a:pt x="2316" y="136"/>
                    <a:pt x="2316" y="151"/>
                  </a:cubicBezTo>
                  <a:cubicBezTo>
                    <a:pt x="2316" y="1574"/>
                    <a:pt x="2316" y="1574"/>
                    <a:pt x="2316" y="1574"/>
                  </a:cubicBezTo>
                  <a:cubicBezTo>
                    <a:pt x="2316" y="1589"/>
                    <a:pt x="2307" y="1604"/>
                    <a:pt x="2295" y="1604"/>
                  </a:cubicBezTo>
                  <a:cubicBezTo>
                    <a:pt x="1960" y="1604"/>
                    <a:pt x="1960" y="1604"/>
                    <a:pt x="1960" y="1604"/>
                  </a:cubicBezTo>
                  <a:cubicBezTo>
                    <a:pt x="1960" y="2286"/>
                    <a:pt x="1960" y="2286"/>
                    <a:pt x="1960" y="2286"/>
                  </a:cubicBezTo>
                  <a:cubicBezTo>
                    <a:pt x="1960" y="2292"/>
                    <a:pt x="1959" y="2304"/>
                    <a:pt x="1948" y="2309"/>
                  </a:cubicBezTo>
                  <a:cubicBezTo>
                    <a:pt x="1939" y="2313"/>
                    <a:pt x="1928" y="2311"/>
                    <a:pt x="1921" y="2305"/>
                  </a:cubicBezTo>
                  <a:cubicBezTo>
                    <a:pt x="1171" y="1640"/>
                    <a:pt x="1171" y="1640"/>
                    <a:pt x="1171" y="1640"/>
                  </a:cubicBezTo>
                  <a:cubicBezTo>
                    <a:pt x="1128" y="1604"/>
                    <a:pt x="1128" y="1604"/>
                    <a:pt x="1128" y="1604"/>
                  </a:cubicBezTo>
                  <a:cubicBezTo>
                    <a:pt x="159" y="1604"/>
                    <a:pt x="159" y="1604"/>
                    <a:pt x="159" y="1604"/>
                  </a:cubicBezTo>
                  <a:cubicBezTo>
                    <a:pt x="145" y="1604"/>
                    <a:pt x="128" y="1588"/>
                    <a:pt x="128" y="1574"/>
                  </a:cubicBezTo>
                  <a:lnTo>
                    <a:pt x="128"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75" name="Group 45">
            <a:extLst>
              <a:ext uri="{FF2B5EF4-FFF2-40B4-BE49-F238E27FC236}">
                <a16:creationId xmlns:a16="http://schemas.microsoft.com/office/drawing/2014/main" id="{F58FA457-11ED-4AD7-B0EE-FC1B58B48EF0}"/>
              </a:ext>
            </a:extLst>
          </p:cNvPr>
          <p:cNvGrpSpPr>
            <a:grpSpLocks noChangeAspect="1"/>
          </p:cNvGrpSpPr>
          <p:nvPr/>
        </p:nvGrpSpPr>
        <p:grpSpPr>
          <a:xfrm>
            <a:off x="7899907" y="5417577"/>
            <a:ext cx="239346" cy="285619"/>
            <a:chOff x="7073900" y="3059113"/>
            <a:chExt cx="238125" cy="284162"/>
          </a:xfrm>
          <a:solidFill>
            <a:schemeClr val="bg1"/>
          </a:solidFill>
          <a:effectLst/>
        </p:grpSpPr>
        <p:sp>
          <p:nvSpPr>
            <p:cNvPr id="876" name="Freeform 291">
              <a:extLst>
                <a:ext uri="{FF2B5EF4-FFF2-40B4-BE49-F238E27FC236}">
                  <a16:creationId xmlns:a16="http://schemas.microsoft.com/office/drawing/2014/main" id="{1BAFD45E-56B2-4B45-BF58-2702CA5BADE0}"/>
                </a:ext>
              </a:extLst>
            </p:cNvPr>
            <p:cNvSpPr>
              <a:spLocks noEditPoints="1"/>
            </p:cNvSpPr>
            <p:nvPr/>
          </p:nvSpPr>
          <p:spPr bwMode="auto">
            <a:xfrm>
              <a:off x="7112000" y="3105150"/>
              <a:ext cx="161925" cy="176212"/>
            </a:xfrm>
            <a:custGeom>
              <a:avLst/>
              <a:gdLst>
                <a:gd name="T0" fmla="*/ 317 w 508"/>
                <a:gd name="T1" fmla="*/ 205 h 553"/>
                <a:gd name="T2" fmla="*/ 324 w 508"/>
                <a:gd name="T3" fmla="*/ 209 h 553"/>
                <a:gd name="T4" fmla="*/ 460 w 508"/>
                <a:gd name="T5" fmla="*/ 210 h 553"/>
                <a:gd name="T6" fmla="*/ 353 w 508"/>
                <a:gd name="T7" fmla="*/ 330 h 553"/>
                <a:gd name="T8" fmla="*/ 352 w 508"/>
                <a:gd name="T9" fmla="*/ 337 h 553"/>
                <a:gd name="T10" fmla="*/ 394 w 508"/>
                <a:gd name="T11" fmla="*/ 502 h 553"/>
                <a:gd name="T12" fmla="*/ 259 w 508"/>
                <a:gd name="T13" fmla="*/ 405 h 553"/>
                <a:gd name="T14" fmla="*/ 249 w 508"/>
                <a:gd name="T15" fmla="*/ 405 h 553"/>
                <a:gd name="T16" fmla="*/ 115 w 508"/>
                <a:gd name="T17" fmla="*/ 502 h 553"/>
                <a:gd name="T18" fmla="*/ 155 w 508"/>
                <a:gd name="T19" fmla="*/ 337 h 553"/>
                <a:gd name="T20" fmla="*/ 153 w 508"/>
                <a:gd name="T21" fmla="*/ 330 h 553"/>
                <a:gd name="T22" fmla="*/ 48 w 508"/>
                <a:gd name="T23" fmla="*/ 210 h 553"/>
                <a:gd name="T24" fmla="*/ 184 w 508"/>
                <a:gd name="T25" fmla="*/ 209 h 553"/>
                <a:gd name="T26" fmla="*/ 191 w 508"/>
                <a:gd name="T27" fmla="*/ 205 h 553"/>
                <a:gd name="T28" fmla="*/ 254 w 508"/>
                <a:gd name="T29" fmla="*/ 54 h 553"/>
                <a:gd name="T30" fmla="*/ 240 w 508"/>
                <a:gd name="T31" fmla="*/ 9 h 553"/>
                <a:gd name="T32" fmla="*/ 15 w 508"/>
                <a:gd name="T33" fmla="*/ 180 h 553"/>
                <a:gd name="T34" fmla="*/ 7 w 508"/>
                <a:gd name="T35" fmla="*/ 182 h 553"/>
                <a:gd name="T36" fmla="*/ 1 w 508"/>
                <a:gd name="T37" fmla="*/ 189 h 553"/>
                <a:gd name="T38" fmla="*/ 0 w 508"/>
                <a:gd name="T39" fmla="*/ 197 h 553"/>
                <a:gd name="T40" fmla="*/ 4 w 508"/>
                <a:gd name="T41" fmla="*/ 205 h 553"/>
                <a:gd name="T42" fmla="*/ 75 w 508"/>
                <a:gd name="T43" fmla="*/ 535 h 553"/>
                <a:gd name="T44" fmla="*/ 76 w 508"/>
                <a:gd name="T45" fmla="*/ 544 h 553"/>
                <a:gd name="T46" fmla="*/ 82 w 508"/>
                <a:gd name="T47" fmla="*/ 551 h 553"/>
                <a:gd name="T48" fmla="*/ 90 w 508"/>
                <a:gd name="T49" fmla="*/ 553 h 553"/>
                <a:gd name="T50" fmla="*/ 99 w 508"/>
                <a:gd name="T51" fmla="*/ 551 h 553"/>
                <a:gd name="T52" fmla="*/ 410 w 508"/>
                <a:gd name="T53" fmla="*/ 551 h 553"/>
                <a:gd name="T54" fmla="*/ 418 w 508"/>
                <a:gd name="T55" fmla="*/ 553 h 553"/>
                <a:gd name="T56" fmla="*/ 427 w 508"/>
                <a:gd name="T57" fmla="*/ 551 h 553"/>
                <a:gd name="T58" fmla="*/ 432 w 508"/>
                <a:gd name="T59" fmla="*/ 544 h 553"/>
                <a:gd name="T60" fmla="*/ 433 w 508"/>
                <a:gd name="T61" fmla="*/ 535 h 553"/>
                <a:gd name="T62" fmla="*/ 504 w 508"/>
                <a:gd name="T63" fmla="*/ 205 h 553"/>
                <a:gd name="T64" fmla="*/ 508 w 508"/>
                <a:gd name="T65" fmla="*/ 197 h 553"/>
                <a:gd name="T66" fmla="*/ 507 w 508"/>
                <a:gd name="T67" fmla="*/ 189 h 553"/>
                <a:gd name="T68" fmla="*/ 502 w 508"/>
                <a:gd name="T69" fmla="*/ 182 h 553"/>
                <a:gd name="T70" fmla="*/ 493 w 508"/>
                <a:gd name="T71" fmla="*/ 180 h 553"/>
                <a:gd name="T72" fmla="*/ 268 w 508"/>
                <a:gd name="T73" fmla="*/ 9 h 553"/>
                <a:gd name="T74" fmla="*/ 262 w 508"/>
                <a:gd name="T75" fmla="*/ 3 h 553"/>
                <a:gd name="T76" fmla="*/ 254 w 508"/>
                <a:gd name="T77" fmla="*/ 0 h 553"/>
                <a:gd name="T78" fmla="*/ 246 w 508"/>
                <a:gd name="T79" fmla="*/ 3 h 553"/>
                <a:gd name="T80" fmla="*/ 240 w 508"/>
                <a:gd name="T81" fmla="*/ 9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8" h="553">
                  <a:moveTo>
                    <a:pt x="315" y="200"/>
                  </a:moveTo>
                  <a:lnTo>
                    <a:pt x="317" y="205"/>
                  </a:lnTo>
                  <a:lnTo>
                    <a:pt x="321" y="207"/>
                  </a:lnTo>
                  <a:lnTo>
                    <a:pt x="324" y="209"/>
                  </a:lnTo>
                  <a:lnTo>
                    <a:pt x="329" y="210"/>
                  </a:lnTo>
                  <a:lnTo>
                    <a:pt x="460" y="210"/>
                  </a:lnTo>
                  <a:lnTo>
                    <a:pt x="355" y="327"/>
                  </a:lnTo>
                  <a:lnTo>
                    <a:pt x="353" y="330"/>
                  </a:lnTo>
                  <a:lnTo>
                    <a:pt x="352" y="333"/>
                  </a:lnTo>
                  <a:lnTo>
                    <a:pt x="352" y="337"/>
                  </a:lnTo>
                  <a:lnTo>
                    <a:pt x="352" y="341"/>
                  </a:lnTo>
                  <a:lnTo>
                    <a:pt x="394" y="502"/>
                  </a:lnTo>
                  <a:lnTo>
                    <a:pt x="263" y="407"/>
                  </a:lnTo>
                  <a:lnTo>
                    <a:pt x="259" y="405"/>
                  </a:lnTo>
                  <a:lnTo>
                    <a:pt x="254" y="404"/>
                  </a:lnTo>
                  <a:lnTo>
                    <a:pt x="249" y="405"/>
                  </a:lnTo>
                  <a:lnTo>
                    <a:pt x="245" y="407"/>
                  </a:lnTo>
                  <a:lnTo>
                    <a:pt x="115" y="502"/>
                  </a:lnTo>
                  <a:lnTo>
                    <a:pt x="155" y="341"/>
                  </a:lnTo>
                  <a:lnTo>
                    <a:pt x="155" y="337"/>
                  </a:lnTo>
                  <a:lnTo>
                    <a:pt x="155" y="334"/>
                  </a:lnTo>
                  <a:lnTo>
                    <a:pt x="153" y="330"/>
                  </a:lnTo>
                  <a:lnTo>
                    <a:pt x="151" y="328"/>
                  </a:lnTo>
                  <a:lnTo>
                    <a:pt x="48" y="210"/>
                  </a:lnTo>
                  <a:lnTo>
                    <a:pt x="179" y="210"/>
                  </a:lnTo>
                  <a:lnTo>
                    <a:pt x="184" y="209"/>
                  </a:lnTo>
                  <a:lnTo>
                    <a:pt x="187" y="207"/>
                  </a:lnTo>
                  <a:lnTo>
                    <a:pt x="191" y="205"/>
                  </a:lnTo>
                  <a:lnTo>
                    <a:pt x="193" y="200"/>
                  </a:lnTo>
                  <a:lnTo>
                    <a:pt x="254" y="54"/>
                  </a:lnTo>
                  <a:lnTo>
                    <a:pt x="315" y="200"/>
                  </a:lnTo>
                  <a:close/>
                  <a:moveTo>
                    <a:pt x="240" y="9"/>
                  </a:moveTo>
                  <a:lnTo>
                    <a:pt x="169" y="180"/>
                  </a:lnTo>
                  <a:lnTo>
                    <a:pt x="15" y="180"/>
                  </a:lnTo>
                  <a:lnTo>
                    <a:pt x="11" y="180"/>
                  </a:lnTo>
                  <a:lnTo>
                    <a:pt x="7" y="182"/>
                  </a:lnTo>
                  <a:lnTo>
                    <a:pt x="4" y="185"/>
                  </a:lnTo>
                  <a:lnTo>
                    <a:pt x="1" y="189"/>
                  </a:lnTo>
                  <a:lnTo>
                    <a:pt x="0" y="193"/>
                  </a:lnTo>
                  <a:lnTo>
                    <a:pt x="0" y="197"/>
                  </a:lnTo>
                  <a:lnTo>
                    <a:pt x="1" y="201"/>
                  </a:lnTo>
                  <a:lnTo>
                    <a:pt x="4" y="205"/>
                  </a:lnTo>
                  <a:lnTo>
                    <a:pt x="124" y="341"/>
                  </a:lnTo>
                  <a:lnTo>
                    <a:pt x="75" y="535"/>
                  </a:lnTo>
                  <a:lnTo>
                    <a:pt x="75" y="539"/>
                  </a:lnTo>
                  <a:lnTo>
                    <a:pt x="76" y="544"/>
                  </a:lnTo>
                  <a:lnTo>
                    <a:pt x="78" y="548"/>
                  </a:lnTo>
                  <a:lnTo>
                    <a:pt x="82" y="551"/>
                  </a:lnTo>
                  <a:lnTo>
                    <a:pt x="86" y="553"/>
                  </a:lnTo>
                  <a:lnTo>
                    <a:pt x="90" y="553"/>
                  </a:lnTo>
                  <a:lnTo>
                    <a:pt x="94" y="553"/>
                  </a:lnTo>
                  <a:lnTo>
                    <a:pt x="99" y="551"/>
                  </a:lnTo>
                  <a:lnTo>
                    <a:pt x="254" y="438"/>
                  </a:lnTo>
                  <a:lnTo>
                    <a:pt x="410" y="551"/>
                  </a:lnTo>
                  <a:lnTo>
                    <a:pt x="414" y="553"/>
                  </a:lnTo>
                  <a:lnTo>
                    <a:pt x="418" y="553"/>
                  </a:lnTo>
                  <a:lnTo>
                    <a:pt x="423" y="553"/>
                  </a:lnTo>
                  <a:lnTo>
                    <a:pt x="427" y="551"/>
                  </a:lnTo>
                  <a:lnTo>
                    <a:pt x="430" y="548"/>
                  </a:lnTo>
                  <a:lnTo>
                    <a:pt x="432" y="544"/>
                  </a:lnTo>
                  <a:lnTo>
                    <a:pt x="433" y="539"/>
                  </a:lnTo>
                  <a:lnTo>
                    <a:pt x="433" y="535"/>
                  </a:lnTo>
                  <a:lnTo>
                    <a:pt x="383" y="341"/>
                  </a:lnTo>
                  <a:lnTo>
                    <a:pt x="504" y="205"/>
                  </a:lnTo>
                  <a:lnTo>
                    <a:pt x="507" y="201"/>
                  </a:lnTo>
                  <a:lnTo>
                    <a:pt x="508" y="197"/>
                  </a:lnTo>
                  <a:lnTo>
                    <a:pt x="508" y="193"/>
                  </a:lnTo>
                  <a:lnTo>
                    <a:pt x="507" y="189"/>
                  </a:lnTo>
                  <a:lnTo>
                    <a:pt x="505" y="185"/>
                  </a:lnTo>
                  <a:lnTo>
                    <a:pt x="502" y="182"/>
                  </a:lnTo>
                  <a:lnTo>
                    <a:pt x="498" y="180"/>
                  </a:lnTo>
                  <a:lnTo>
                    <a:pt x="493" y="180"/>
                  </a:lnTo>
                  <a:lnTo>
                    <a:pt x="339" y="180"/>
                  </a:lnTo>
                  <a:lnTo>
                    <a:pt x="268" y="9"/>
                  </a:lnTo>
                  <a:lnTo>
                    <a:pt x="266" y="6"/>
                  </a:lnTo>
                  <a:lnTo>
                    <a:pt x="262" y="3"/>
                  </a:lnTo>
                  <a:lnTo>
                    <a:pt x="258" y="2"/>
                  </a:lnTo>
                  <a:lnTo>
                    <a:pt x="254" y="0"/>
                  </a:lnTo>
                  <a:lnTo>
                    <a:pt x="249" y="2"/>
                  </a:lnTo>
                  <a:lnTo>
                    <a:pt x="246" y="3"/>
                  </a:lnTo>
                  <a:lnTo>
                    <a:pt x="243" y="6"/>
                  </a:lnTo>
                  <a:lnTo>
                    <a:pt x="24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877" name="Freeform 292">
              <a:extLst>
                <a:ext uri="{FF2B5EF4-FFF2-40B4-BE49-F238E27FC236}">
                  <a16:creationId xmlns:a16="http://schemas.microsoft.com/office/drawing/2014/main" id="{75881E0A-86AD-4F88-9971-979D47C4363D}"/>
                </a:ext>
              </a:extLst>
            </p:cNvPr>
            <p:cNvSpPr>
              <a:spLocks noEditPoints="1"/>
            </p:cNvSpPr>
            <p:nvPr/>
          </p:nvSpPr>
          <p:spPr bwMode="auto">
            <a:xfrm>
              <a:off x="7073900" y="3059113"/>
              <a:ext cx="238125" cy="265112"/>
            </a:xfrm>
            <a:custGeom>
              <a:avLst/>
              <a:gdLst>
                <a:gd name="T0" fmla="*/ 717 w 747"/>
                <a:gd name="T1" fmla="*/ 807 h 837"/>
                <a:gd name="T2" fmla="*/ 29 w 747"/>
                <a:gd name="T3" fmla="*/ 807 h 837"/>
                <a:gd name="T4" fmla="*/ 29 w 747"/>
                <a:gd name="T5" fmla="*/ 218 h 837"/>
                <a:gd name="T6" fmla="*/ 373 w 747"/>
                <a:gd name="T7" fmla="*/ 32 h 837"/>
                <a:gd name="T8" fmla="*/ 717 w 747"/>
                <a:gd name="T9" fmla="*/ 218 h 837"/>
                <a:gd name="T10" fmla="*/ 717 w 747"/>
                <a:gd name="T11" fmla="*/ 807 h 837"/>
                <a:gd name="T12" fmla="*/ 740 w 747"/>
                <a:gd name="T13" fmla="*/ 196 h 837"/>
                <a:gd name="T14" fmla="*/ 379 w 747"/>
                <a:gd name="T15" fmla="*/ 2 h 837"/>
                <a:gd name="T16" fmla="*/ 376 w 747"/>
                <a:gd name="T17" fmla="*/ 1 h 837"/>
                <a:gd name="T18" fmla="*/ 373 w 747"/>
                <a:gd name="T19" fmla="*/ 0 h 837"/>
                <a:gd name="T20" fmla="*/ 368 w 747"/>
                <a:gd name="T21" fmla="*/ 1 h 837"/>
                <a:gd name="T22" fmla="*/ 365 w 747"/>
                <a:gd name="T23" fmla="*/ 2 h 837"/>
                <a:gd name="T24" fmla="*/ 7 w 747"/>
                <a:gd name="T25" fmla="*/ 196 h 837"/>
                <a:gd name="T26" fmla="*/ 4 w 747"/>
                <a:gd name="T27" fmla="*/ 199 h 837"/>
                <a:gd name="T28" fmla="*/ 2 w 747"/>
                <a:gd name="T29" fmla="*/ 202 h 837"/>
                <a:gd name="T30" fmla="*/ 0 w 747"/>
                <a:gd name="T31" fmla="*/ 205 h 837"/>
                <a:gd name="T32" fmla="*/ 0 w 747"/>
                <a:gd name="T33" fmla="*/ 209 h 837"/>
                <a:gd name="T34" fmla="*/ 0 w 747"/>
                <a:gd name="T35" fmla="*/ 822 h 837"/>
                <a:gd name="T36" fmla="*/ 0 w 747"/>
                <a:gd name="T37" fmla="*/ 825 h 837"/>
                <a:gd name="T38" fmla="*/ 1 w 747"/>
                <a:gd name="T39" fmla="*/ 827 h 837"/>
                <a:gd name="T40" fmla="*/ 2 w 747"/>
                <a:gd name="T41" fmla="*/ 831 h 837"/>
                <a:gd name="T42" fmla="*/ 4 w 747"/>
                <a:gd name="T43" fmla="*/ 833 h 837"/>
                <a:gd name="T44" fmla="*/ 6 w 747"/>
                <a:gd name="T45" fmla="*/ 835 h 837"/>
                <a:gd name="T46" fmla="*/ 8 w 747"/>
                <a:gd name="T47" fmla="*/ 836 h 837"/>
                <a:gd name="T48" fmla="*/ 11 w 747"/>
                <a:gd name="T49" fmla="*/ 837 h 837"/>
                <a:gd name="T50" fmla="*/ 15 w 747"/>
                <a:gd name="T51" fmla="*/ 837 h 837"/>
                <a:gd name="T52" fmla="*/ 732 w 747"/>
                <a:gd name="T53" fmla="*/ 837 h 837"/>
                <a:gd name="T54" fmla="*/ 735 w 747"/>
                <a:gd name="T55" fmla="*/ 837 h 837"/>
                <a:gd name="T56" fmla="*/ 737 w 747"/>
                <a:gd name="T57" fmla="*/ 836 h 837"/>
                <a:gd name="T58" fmla="*/ 741 w 747"/>
                <a:gd name="T59" fmla="*/ 835 h 837"/>
                <a:gd name="T60" fmla="*/ 743 w 747"/>
                <a:gd name="T61" fmla="*/ 833 h 837"/>
                <a:gd name="T62" fmla="*/ 744 w 747"/>
                <a:gd name="T63" fmla="*/ 831 h 837"/>
                <a:gd name="T64" fmla="*/ 746 w 747"/>
                <a:gd name="T65" fmla="*/ 829 h 837"/>
                <a:gd name="T66" fmla="*/ 747 w 747"/>
                <a:gd name="T67" fmla="*/ 825 h 837"/>
                <a:gd name="T68" fmla="*/ 747 w 747"/>
                <a:gd name="T69" fmla="*/ 822 h 837"/>
                <a:gd name="T70" fmla="*/ 747 w 747"/>
                <a:gd name="T71" fmla="*/ 209 h 837"/>
                <a:gd name="T72" fmla="*/ 746 w 747"/>
                <a:gd name="T73" fmla="*/ 205 h 837"/>
                <a:gd name="T74" fmla="*/ 745 w 747"/>
                <a:gd name="T75" fmla="*/ 202 h 837"/>
                <a:gd name="T76" fmla="*/ 743 w 747"/>
                <a:gd name="T77" fmla="*/ 199 h 837"/>
                <a:gd name="T78" fmla="*/ 740 w 747"/>
                <a:gd name="T79" fmla="*/ 19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7" h="837">
                  <a:moveTo>
                    <a:pt x="717" y="807"/>
                  </a:moveTo>
                  <a:lnTo>
                    <a:pt x="29" y="807"/>
                  </a:lnTo>
                  <a:lnTo>
                    <a:pt x="29" y="218"/>
                  </a:lnTo>
                  <a:lnTo>
                    <a:pt x="373" y="32"/>
                  </a:lnTo>
                  <a:lnTo>
                    <a:pt x="717" y="218"/>
                  </a:lnTo>
                  <a:lnTo>
                    <a:pt x="717" y="807"/>
                  </a:lnTo>
                  <a:close/>
                  <a:moveTo>
                    <a:pt x="740" y="196"/>
                  </a:moveTo>
                  <a:lnTo>
                    <a:pt x="379" y="2"/>
                  </a:lnTo>
                  <a:lnTo>
                    <a:pt x="376" y="1"/>
                  </a:lnTo>
                  <a:lnTo>
                    <a:pt x="373" y="0"/>
                  </a:lnTo>
                  <a:lnTo>
                    <a:pt x="368" y="1"/>
                  </a:lnTo>
                  <a:lnTo>
                    <a:pt x="365" y="2"/>
                  </a:lnTo>
                  <a:lnTo>
                    <a:pt x="7" y="196"/>
                  </a:lnTo>
                  <a:lnTo>
                    <a:pt x="4" y="199"/>
                  </a:lnTo>
                  <a:lnTo>
                    <a:pt x="2" y="202"/>
                  </a:lnTo>
                  <a:lnTo>
                    <a:pt x="0" y="205"/>
                  </a:lnTo>
                  <a:lnTo>
                    <a:pt x="0" y="209"/>
                  </a:lnTo>
                  <a:lnTo>
                    <a:pt x="0" y="822"/>
                  </a:lnTo>
                  <a:lnTo>
                    <a:pt x="0" y="825"/>
                  </a:lnTo>
                  <a:lnTo>
                    <a:pt x="1" y="827"/>
                  </a:lnTo>
                  <a:lnTo>
                    <a:pt x="2" y="831"/>
                  </a:lnTo>
                  <a:lnTo>
                    <a:pt x="4" y="833"/>
                  </a:lnTo>
                  <a:lnTo>
                    <a:pt x="6" y="835"/>
                  </a:lnTo>
                  <a:lnTo>
                    <a:pt x="8" y="836"/>
                  </a:lnTo>
                  <a:lnTo>
                    <a:pt x="11" y="837"/>
                  </a:lnTo>
                  <a:lnTo>
                    <a:pt x="15" y="837"/>
                  </a:lnTo>
                  <a:lnTo>
                    <a:pt x="732" y="837"/>
                  </a:lnTo>
                  <a:lnTo>
                    <a:pt x="735" y="837"/>
                  </a:lnTo>
                  <a:lnTo>
                    <a:pt x="737" y="836"/>
                  </a:lnTo>
                  <a:lnTo>
                    <a:pt x="741" y="835"/>
                  </a:lnTo>
                  <a:lnTo>
                    <a:pt x="743" y="833"/>
                  </a:lnTo>
                  <a:lnTo>
                    <a:pt x="744" y="831"/>
                  </a:lnTo>
                  <a:lnTo>
                    <a:pt x="746" y="829"/>
                  </a:lnTo>
                  <a:lnTo>
                    <a:pt x="747" y="825"/>
                  </a:lnTo>
                  <a:lnTo>
                    <a:pt x="747" y="822"/>
                  </a:lnTo>
                  <a:lnTo>
                    <a:pt x="747" y="209"/>
                  </a:lnTo>
                  <a:lnTo>
                    <a:pt x="746" y="205"/>
                  </a:lnTo>
                  <a:lnTo>
                    <a:pt x="745" y="202"/>
                  </a:lnTo>
                  <a:lnTo>
                    <a:pt x="743" y="199"/>
                  </a:lnTo>
                  <a:lnTo>
                    <a:pt x="74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878" name="Freeform 293">
              <a:extLst>
                <a:ext uri="{FF2B5EF4-FFF2-40B4-BE49-F238E27FC236}">
                  <a16:creationId xmlns:a16="http://schemas.microsoft.com/office/drawing/2014/main" id="{68BF59B3-E060-4D3D-8AB7-DF0F6F65135F}"/>
                </a:ext>
              </a:extLst>
            </p:cNvPr>
            <p:cNvSpPr>
              <a:spLocks/>
            </p:cNvSpPr>
            <p:nvPr/>
          </p:nvSpPr>
          <p:spPr bwMode="auto">
            <a:xfrm>
              <a:off x="7073900" y="3333750"/>
              <a:ext cx="236538" cy="9525"/>
            </a:xfrm>
            <a:custGeom>
              <a:avLst/>
              <a:gdLst>
                <a:gd name="T0" fmla="*/ 731 w 746"/>
                <a:gd name="T1" fmla="*/ 0 h 30"/>
                <a:gd name="T2" fmla="*/ 15 w 746"/>
                <a:gd name="T3" fmla="*/ 0 h 30"/>
                <a:gd name="T4" fmla="*/ 11 w 746"/>
                <a:gd name="T5" fmla="*/ 0 h 30"/>
                <a:gd name="T6" fmla="*/ 8 w 746"/>
                <a:gd name="T7" fmla="*/ 1 h 30"/>
                <a:gd name="T8" fmla="*/ 6 w 746"/>
                <a:gd name="T9" fmla="*/ 2 h 30"/>
                <a:gd name="T10" fmla="*/ 4 w 746"/>
                <a:gd name="T11" fmla="*/ 4 h 30"/>
                <a:gd name="T12" fmla="*/ 2 w 746"/>
                <a:gd name="T13" fmla="*/ 6 h 30"/>
                <a:gd name="T14" fmla="*/ 1 w 746"/>
                <a:gd name="T15" fmla="*/ 10 h 30"/>
                <a:gd name="T16" fmla="*/ 0 w 746"/>
                <a:gd name="T17" fmla="*/ 12 h 30"/>
                <a:gd name="T18" fmla="*/ 0 w 746"/>
                <a:gd name="T19" fmla="*/ 15 h 30"/>
                <a:gd name="T20" fmla="*/ 0 w 746"/>
                <a:gd name="T21" fmla="*/ 18 h 30"/>
                <a:gd name="T22" fmla="*/ 1 w 746"/>
                <a:gd name="T23" fmla="*/ 20 h 30"/>
                <a:gd name="T24" fmla="*/ 2 w 746"/>
                <a:gd name="T25" fmla="*/ 24 h 30"/>
                <a:gd name="T26" fmla="*/ 4 w 746"/>
                <a:gd name="T27" fmla="*/ 26 h 30"/>
                <a:gd name="T28" fmla="*/ 6 w 746"/>
                <a:gd name="T29" fmla="*/ 28 h 30"/>
                <a:gd name="T30" fmla="*/ 8 w 746"/>
                <a:gd name="T31" fmla="*/ 29 h 30"/>
                <a:gd name="T32" fmla="*/ 11 w 746"/>
                <a:gd name="T33" fmla="*/ 30 h 30"/>
                <a:gd name="T34" fmla="*/ 15 w 746"/>
                <a:gd name="T35" fmla="*/ 30 h 30"/>
                <a:gd name="T36" fmla="*/ 731 w 746"/>
                <a:gd name="T37" fmla="*/ 30 h 30"/>
                <a:gd name="T38" fmla="*/ 733 w 746"/>
                <a:gd name="T39" fmla="*/ 30 h 30"/>
                <a:gd name="T40" fmla="*/ 736 w 746"/>
                <a:gd name="T41" fmla="*/ 29 h 30"/>
                <a:gd name="T42" fmla="*/ 738 w 746"/>
                <a:gd name="T43" fmla="*/ 28 h 30"/>
                <a:gd name="T44" fmla="*/ 742 w 746"/>
                <a:gd name="T45" fmla="*/ 26 h 30"/>
                <a:gd name="T46" fmla="*/ 743 w 746"/>
                <a:gd name="T47" fmla="*/ 24 h 30"/>
                <a:gd name="T48" fmla="*/ 745 w 746"/>
                <a:gd name="T49" fmla="*/ 20 h 30"/>
                <a:gd name="T50" fmla="*/ 745 w 746"/>
                <a:gd name="T51" fmla="*/ 18 h 30"/>
                <a:gd name="T52" fmla="*/ 746 w 746"/>
                <a:gd name="T53" fmla="*/ 15 h 30"/>
                <a:gd name="T54" fmla="*/ 745 w 746"/>
                <a:gd name="T55" fmla="*/ 12 h 30"/>
                <a:gd name="T56" fmla="*/ 745 w 746"/>
                <a:gd name="T57" fmla="*/ 10 h 30"/>
                <a:gd name="T58" fmla="*/ 743 w 746"/>
                <a:gd name="T59" fmla="*/ 6 h 30"/>
                <a:gd name="T60" fmla="*/ 742 w 746"/>
                <a:gd name="T61" fmla="*/ 4 h 30"/>
                <a:gd name="T62" fmla="*/ 738 w 746"/>
                <a:gd name="T63" fmla="*/ 2 h 30"/>
                <a:gd name="T64" fmla="*/ 736 w 746"/>
                <a:gd name="T65" fmla="*/ 1 h 30"/>
                <a:gd name="T66" fmla="*/ 733 w 746"/>
                <a:gd name="T67" fmla="*/ 0 h 30"/>
                <a:gd name="T68" fmla="*/ 731 w 746"/>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6" h="30">
                  <a:moveTo>
                    <a:pt x="731" y="0"/>
                  </a:moveTo>
                  <a:lnTo>
                    <a:pt x="15" y="0"/>
                  </a:lnTo>
                  <a:lnTo>
                    <a:pt x="11"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1" y="30"/>
                  </a:lnTo>
                  <a:lnTo>
                    <a:pt x="15" y="30"/>
                  </a:lnTo>
                  <a:lnTo>
                    <a:pt x="731" y="30"/>
                  </a:lnTo>
                  <a:lnTo>
                    <a:pt x="733" y="30"/>
                  </a:lnTo>
                  <a:lnTo>
                    <a:pt x="736" y="29"/>
                  </a:lnTo>
                  <a:lnTo>
                    <a:pt x="738" y="28"/>
                  </a:lnTo>
                  <a:lnTo>
                    <a:pt x="742" y="26"/>
                  </a:lnTo>
                  <a:lnTo>
                    <a:pt x="743" y="24"/>
                  </a:lnTo>
                  <a:lnTo>
                    <a:pt x="745" y="20"/>
                  </a:lnTo>
                  <a:lnTo>
                    <a:pt x="745" y="18"/>
                  </a:lnTo>
                  <a:lnTo>
                    <a:pt x="746" y="15"/>
                  </a:lnTo>
                  <a:lnTo>
                    <a:pt x="745" y="12"/>
                  </a:lnTo>
                  <a:lnTo>
                    <a:pt x="745" y="10"/>
                  </a:lnTo>
                  <a:lnTo>
                    <a:pt x="743" y="6"/>
                  </a:lnTo>
                  <a:lnTo>
                    <a:pt x="742" y="4"/>
                  </a:lnTo>
                  <a:lnTo>
                    <a:pt x="738" y="2"/>
                  </a:lnTo>
                  <a:lnTo>
                    <a:pt x="736" y="1"/>
                  </a:lnTo>
                  <a:lnTo>
                    <a:pt x="733" y="0"/>
                  </a:lnTo>
                  <a:lnTo>
                    <a:pt x="7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081" name="Group 35">
            <a:extLst>
              <a:ext uri="{FF2B5EF4-FFF2-40B4-BE49-F238E27FC236}">
                <a16:creationId xmlns:a16="http://schemas.microsoft.com/office/drawing/2014/main" id="{E384BA1E-6CD0-4A99-BA11-4A2F2558AC22}"/>
              </a:ext>
            </a:extLst>
          </p:cNvPr>
          <p:cNvGrpSpPr>
            <a:grpSpLocks noChangeAspect="1"/>
          </p:cNvGrpSpPr>
          <p:nvPr/>
        </p:nvGrpSpPr>
        <p:grpSpPr>
          <a:xfrm>
            <a:off x="7874280" y="4879041"/>
            <a:ext cx="290600" cy="285619"/>
            <a:chOff x="941388" y="844551"/>
            <a:chExt cx="277813" cy="273052"/>
          </a:xfrm>
          <a:solidFill>
            <a:schemeClr val="bg1"/>
          </a:solidFill>
          <a:effectLst/>
        </p:grpSpPr>
        <p:sp>
          <p:nvSpPr>
            <p:cNvPr id="1082" name="Freeform 6">
              <a:extLst>
                <a:ext uri="{FF2B5EF4-FFF2-40B4-BE49-F238E27FC236}">
                  <a16:creationId xmlns:a16="http://schemas.microsoft.com/office/drawing/2014/main" id="{DA6AE3BC-1863-4569-97ED-D9F33FB664D7}"/>
                </a:ext>
              </a:extLst>
            </p:cNvPr>
            <p:cNvSpPr>
              <a:spLocks/>
            </p:cNvSpPr>
            <p:nvPr/>
          </p:nvSpPr>
          <p:spPr bwMode="auto">
            <a:xfrm>
              <a:off x="987426" y="844551"/>
              <a:ext cx="231775" cy="206375"/>
            </a:xfrm>
            <a:custGeom>
              <a:avLst/>
              <a:gdLst>
                <a:gd name="T0" fmla="*/ 582 w 586"/>
                <a:gd name="T1" fmla="*/ 3 h 522"/>
                <a:gd name="T2" fmla="*/ 580 w 586"/>
                <a:gd name="T3" fmla="*/ 1 h 522"/>
                <a:gd name="T4" fmla="*/ 576 w 586"/>
                <a:gd name="T5" fmla="*/ 0 h 522"/>
                <a:gd name="T6" fmla="*/ 574 w 586"/>
                <a:gd name="T7" fmla="*/ 0 h 522"/>
                <a:gd name="T8" fmla="*/ 572 w 586"/>
                <a:gd name="T9" fmla="*/ 0 h 522"/>
                <a:gd name="T10" fmla="*/ 567 w 586"/>
                <a:gd name="T11" fmla="*/ 1 h 522"/>
                <a:gd name="T12" fmla="*/ 564 w 586"/>
                <a:gd name="T13" fmla="*/ 4 h 522"/>
                <a:gd name="T14" fmla="*/ 165 w 586"/>
                <a:gd name="T15" fmla="*/ 491 h 522"/>
                <a:gd name="T16" fmla="*/ 22 w 586"/>
                <a:gd name="T17" fmla="*/ 347 h 522"/>
                <a:gd name="T18" fmla="*/ 18 w 586"/>
                <a:gd name="T19" fmla="*/ 343 h 522"/>
                <a:gd name="T20" fmla="*/ 13 w 586"/>
                <a:gd name="T21" fmla="*/ 343 h 522"/>
                <a:gd name="T22" fmla="*/ 9 w 586"/>
                <a:gd name="T23" fmla="*/ 343 h 522"/>
                <a:gd name="T24" fmla="*/ 4 w 586"/>
                <a:gd name="T25" fmla="*/ 347 h 522"/>
                <a:gd name="T26" fmla="*/ 1 w 586"/>
                <a:gd name="T27" fmla="*/ 351 h 522"/>
                <a:gd name="T28" fmla="*/ 0 w 586"/>
                <a:gd name="T29" fmla="*/ 356 h 522"/>
                <a:gd name="T30" fmla="*/ 1 w 586"/>
                <a:gd name="T31" fmla="*/ 361 h 522"/>
                <a:gd name="T32" fmla="*/ 4 w 586"/>
                <a:gd name="T33" fmla="*/ 365 h 522"/>
                <a:gd name="T34" fmla="*/ 157 w 586"/>
                <a:gd name="T35" fmla="*/ 517 h 522"/>
                <a:gd name="T36" fmla="*/ 161 w 586"/>
                <a:gd name="T37" fmla="*/ 521 h 522"/>
                <a:gd name="T38" fmla="*/ 166 w 586"/>
                <a:gd name="T39" fmla="*/ 522 h 522"/>
                <a:gd name="T40" fmla="*/ 166 w 586"/>
                <a:gd name="T41" fmla="*/ 522 h 522"/>
                <a:gd name="T42" fmla="*/ 166 w 586"/>
                <a:gd name="T43" fmla="*/ 522 h 522"/>
                <a:gd name="T44" fmla="*/ 172 w 586"/>
                <a:gd name="T45" fmla="*/ 521 h 522"/>
                <a:gd name="T46" fmla="*/ 176 w 586"/>
                <a:gd name="T47" fmla="*/ 517 h 522"/>
                <a:gd name="T48" fmla="*/ 583 w 586"/>
                <a:gd name="T49" fmla="*/ 21 h 522"/>
                <a:gd name="T50" fmla="*/ 585 w 586"/>
                <a:gd name="T51" fmla="*/ 16 h 522"/>
                <a:gd name="T52" fmla="*/ 586 w 586"/>
                <a:gd name="T53" fmla="*/ 11 h 522"/>
                <a:gd name="T54" fmla="*/ 585 w 586"/>
                <a:gd name="T55" fmla="*/ 6 h 522"/>
                <a:gd name="T56" fmla="*/ 582 w 586"/>
                <a:gd name="T57" fmla="*/ 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6" h="522">
                  <a:moveTo>
                    <a:pt x="582" y="3"/>
                  </a:moveTo>
                  <a:lnTo>
                    <a:pt x="580" y="1"/>
                  </a:lnTo>
                  <a:lnTo>
                    <a:pt x="576" y="0"/>
                  </a:lnTo>
                  <a:lnTo>
                    <a:pt x="574" y="0"/>
                  </a:lnTo>
                  <a:lnTo>
                    <a:pt x="572" y="0"/>
                  </a:lnTo>
                  <a:lnTo>
                    <a:pt x="567" y="1"/>
                  </a:lnTo>
                  <a:lnTo>
                    <a:pt x="564" y="4"/>
                  </a:lnTo>
                  <a:lnTo>
                    <a:pt x="165" y="491"/>
                  </a:lnTo>
                  <a:lnTo>
                    <a:pt x="22" y="347"/>
                  </a:lnTo>
                  <a:lnTo>
                    <a:pt x="18" y="343"/>
                  </a:lnTo>
                  <a:lnTo>
                    <a:pt x="13" y="343"/>
                  </a:lnTo>
                  <a:lnTo>
                    <a:pt x="9" y="343"/>
                  </a:lnTo>
                  <a:lnTo>
                    <a:pt x="4" y="347"/>
                  </a:lnTo>
                  <a:lnTo>
                    <a:pt x="1" y="351"/>
                  </a:lnTo>
                  <a:lnTo>
                    <a:pt x="0" y="356"/>
                  </a:lnTo>
                  <a:lnTo>
                    <a:pt x="1" y="361"/>
                  </a:lnTo>
                  <a:lnTo>
                    <a:pt x="4" y="365"/>
                  </a:lnTo>
                  <a:lnTo>
                    <a:pt x="157" y="517"/>
                  </a:lnTo>
                  <a:lnTo>
                    <a:pt x="161" y="521"/>
                  </a:lnTo>
                  <a:lnTo>
                    <a:pt x="166" y="522"/>
                  </a:lnTo>
                  <a:lnTo>
                    <a:pt x="166" y="522"/>
                  </a:lnTo>
                  <a:lnTo>
                    <a:pt x="166" y="522"/>
                  </a:lnTo>
                  <a:lnTo>
                    <a:pt x="172" y="521"/>
                  </a:lnTo>
                  <a:lnTo>
                    <a:pt x="176" y="517"/>
                  </a:lnTo>
                  <a:lnTo>
                    <a:pt x="583" y="21"/>
                  </a:lnTo>
                  <a:lnTo>
                    <a:pt x="585" y="16"/>
                  </a:lnTo>
                  <a:lnTo>
                    <a:pt x="586" y="11"/>
                  </a:lnTo>
                  <a:lnTo>
                    <a:pt x="585" y="6"/>
                  </a:lnTo>
                  <a:lnTo>
                    <a:pt x="5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sp>
          <p:nvSpPr>
            <p:cNvPr id="1083" name="Freeform 7">
              <a:extLst>
                <a:ext uri="{FF2B5EF4-FFF2-40B4-BE49-F238E27FC236}">
                  <a16:creationId xmlns:a16="http://schemas.microsoft.com/office/drawing/2014/main" id="{2D687FC7-F381-4737-A61D-F5AA85702E34}"/>
                </a:ext>
              </a:extLst>
            </p:cNvPr>
            <p:cNvSpPr>
              <a:spLocks/>
            </p:cNvSpPr>
            <p:nvPr/>
          </p:nvSpPr>
          <p:spPr bwMode="auto">
            <a:xfrm>
              <a:off x="941388" y="844553"/>
              <a:ext cx="273050" cy="273050"/>
            </a:xfrm>
            <a:custGeom>
              <a:avLst/>
              <a:gdLst>
                <a:gd name="T0" fmla="*/ 598 w 611"/>
                <a:gd name="T1" fmla="*/ 233 h 611"/>
                <a:gd name="T2" fmla="*/ 593 w 611"/>
                <a:gd name="T3" fmla="*/ 233 h 611"/>
                <a:gd name="T4" fmla="*/ 590 w 611"/>
                <a:gd name="T5" fmla="*/ 236 h 611"/>
                <a:gd name="T6" fmla="*/ 586 w 611"/>
                <a:gd name="T7" fmla="*/ 241 h 611"/>
                <a:gd name="T8" fmla="*/ 585 w 611"/>
                <a:gd name="T9" fmla="*/ 245 h 611"/>
                <a:gd name="T10" fmla="*/ 585 w 611"/>
                <a:gd name="T11" fmla="*/ 585 h 611"/>
                <a:gd name="T12" fmla="*/ 25 w 611"/>
                <a:gd name="T13" fmla="*/ 585 h 611"/>
                <a:gd name="T14" fmla="*/ 25 w 611"/>
                <a:gd name="T15" fmla="*/ 25 h 611"/>
                <a:gd name="T16" fmla="*/ 430 w 611"/>
                <a:gd name="T17" fmla="*/ 25 h 611"/>
                <a:gd name="T18" fmla="*/ 435 w 611"/>
                <a:gd name="T19" fmla="*/ 24 h 611"/>
                <a:gd name="T20" fmla="*/ 439 w 611"/>
                <a:gd name="T21" fmla="*/ 22 h 611"/>
                <a:gd name="T22" fmla="*/ 441 w 611"/>
                <a:gd name="T23" fmla="*/ 17 h 611"/>
                <a:gd name="T24" fmla="*/ 442 w 611"/>
                <a:gd name="T25" fmla="*/ 12 h 611"/>
                <a:gd name="T26" fmla="*/ 441 w 611"/>
                <a:gd name="T27" fmla="*/ 8 h 611"/>
                <a:gd name="T28" fmla="*/ 439 w 611"/>
                <a:gd name="T29" fmla="*/ 3 h 611"/>
                <a:gd name="T30" fmla="*/ 435 w 611"/>
                <a:gd name="T31" fmla="*/ 1 h 611"/>
                <a:gd name="T32" fmla="*/ 430 w 611"/>
                <a:gd name="T33" fmla="*/ 0 h 611"/>
                <a:gd name="T34" fmla="*/ 12 w 611"/>
                <a:gd name="T35" fmla="*/ 0 h 611"/>
                <a:gd name="T36" fmla="*/ 8 w 611"/>
                <a:gd name="T37" fmla="*/ 1 h 611"/>
                <a:gd name="T38" fmla="*/ 3 w 611"/>
                <a:gd name="T39" fmla="*/ 3 h 611"/>
                <a:gd name="T40" fmla="*/ 1 w 611"/>
                <a:gd name="T41" fmla="*/ 8 h 611"/>
                <a:gd name="T42" fmla="*/ 0 w 611"/>
                <a:gd name="T43" fmla="*/ 12 h 611"/>
                <a:gd name="T44" fmla="*/ 0 w 611"/>
                <a:gd name="T45" fmla="*/ 598 h 611"/>
                <a:gd name="T46" fmla="*/ 1 w 611"/>
                <a:gd name="T47" fmla="*/ 603 h 611"/>
                <a:gd name="T48" fmla="*/ 3 w 611"/>
                <a:gd name="T49" fmla="*/ 608 h 611"/>
                <a:gd name="T50" fmla="*/ 8 w 611"/>
                <a:gd name="T51" fmla="*/ 610 h 611"/>
                <a:gd name="T52" fmla="*/ 12 w 611"/>
                <a:gd name="T53" fmla="*/ 611 h 611"/>
                <a:gd name="T54" fmla="*/ 598 w 611"/>
                <a:gd name="T55" fmla="*/ 611 h 611"/>
                <a:gd name="T56" fmla="*/ 604 w 611"/>
                <a:gd name="T57" fmla="*/ 610 h 611"/>
                <a:gd name="T58" fmla="*/ 607 w 611"/>
                <a:gd name="T59" fmla="*/ 608 h 611"/>
                <a:gd name="T60" fmla="*/ 610 w 611"/>
                <a:gd name="T61" fmla="*/ 603 h 611"/>
                <a:gd name="T62" fmla="*/ 611 w 611"/>
                <a:gd name="T63" fmla="*/ 598 h 611"/>
                <a:gd name="T64" fmla="*/ 611 w 611"/>
                <a:gd name="T65" fmla="*/ 245 h 611"/>
                <a:gd name="T66" fmla="*/ 610 w 611"/>
                <a:gd name="T67" fmla="*/ 241 h 611"/>
                <a:gd name="T68" fmla="*/ 607 w 611"/>
                <a:gd name="T69" fmla="*/ 236 h 611"/>
                <a:gd name="T70" fmla="*/ 604 w 611"/>
                <a:gd name="T71" fmla="*/ 233 h 611"/>
                <a:gd name="T72" fmla="*/ 598 w 611"/>
                <a:gd name="T73" fmla="*/ 23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1" h="611">
                  <a:moveTo>
                    <a:pt x="598" y="233"/>
                  </a:moveTo>
                  <a:lnTo>
                    <a:pt x="593" y="233"/>
                  </a:lnTo>
                  <a:lnTo>
                    <a:pt x="590" y="236"/>
                  </a:lnTo>
                  <a:lnTo>
                    <a:pt x="586" y="241"/>
                  </a:lnTo>
                  <a:lnTo>
                    <a:pt x="585" y="245"/>
                  </a:lnTo>
                  <a:lnTo>
                    <a:pt x="585" y="585"/>
                  </a:lnTo>
                  <a:lnTo>
                    <a:pt x="25" y="585"/>
                  </a:lnTo>
                  <a:lnTo>
                    <a:pt x="25" y="25"/>
                  </a:lnTo>
                  <a:lnTo>
                    <a:pt x="430" y="25"/>
                  </a:lnTo>
                  <a:lnTo>
                    <a:pt x="435" y="24"/>
                  </a:lnTo>
                  <a:lnTo>
                    <a:pt x="439" y="22"/>
                  </a:lnTo>
                  <a:lnTo>
                    <a:pt x="441" y="17"/>
                  </a:lnTo>
                  <a:lnTo>
                    <a:pt x="442" y="12"/>
                  </a:lnTo>
                  <a:lnTo>
                    <a:pt x="441" y="8"/>
                  </a:lnTo>
                  <a:lnTo>
                    <a:pt x="439" y="3"/>
                  </a:lnTo>
                  <a:lnTo>
                    <a:pt x="435" y="1"/>
                  </a:lnTo>
                  <a:lnTo>
                    <a:pt x="430" y="0"/>
                  </a:lnTo>
                  <a:lnTo>
                    <a:pt x="12" y="0"/>
                  </a:lnTo>
                  <a:lnTo>
                    <a:pt x="8" y="1"/>
                  </a:lnTo>
                  <a:lnTo>
                    <a:pt x="3" y="3"/>
                  </a:lnTo>
                  <a:lnTo>
                    <a:pt x="1" y="8"/>
                  </a:lnTo>
                  <a:lnTo>
                    <a:pt x="0" y="12"/>
                  </a:lnTo>
                  <a:lnTo>
                    <a:pt x="0" y="598"/>
                  </a:lnTo>
                  <a:lnTo>
                    <a:pt x="1" y="603"/>
                  </a:lnTo>
                  <a:lnTo>
                    <a:pt x="3" y="608"/>
                  </a:lnTo>
                  <a:lnTo>
                    <a:pt x="8" y="610"/>
                  </a:lnTo>
                  <a:lnTo>
                    <a:pt x="12" y="611"/>
                  </a:lnTo>
                  <a:lnTo>
                    <a:pt x="598" y="611"/>
                  </a:lnTo>
                  <a:lnTo>
                    <a:pt x="604" y="610"/>
                  </a:lnTo>
                  <a:lnTo>
                    <a:pt x="607" y="608"/>
                  </a:lnTo>
                  <a:lnTo>
                    <a:pt x="610" y="603"/>
                  </a:lnTo>
                  <a:lnTo>
                    <a:pt x="611" y="598"/>
                  </a:lnTo>
                  <a:lnTo>
                    <a:pt x="611" y="245"/>
                  </a:lnTo>
                  <a:lnTo>
                    <a:pt x="610" y="241"/>
                  </a:lnTo>
                  <a:lnTo>
                    <a:pt x="607" y="236"/>
                  </a:lnTo>
                  <a:lnTo>
                    <a:pt x="604" y="233"/>
                  </a:lnTo>
                  <a:lnTo>
                    <a:pt x="598"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4000" tIns="45720" rIns="91440" bIns="45720" numCol="1" anchor="t" anchorCtr="0" compatLnSpc="1">
              <a:prstTxWarp prst="textNoShape">
                <a:avLst/>
              </a:prstTxWarp>
            </a:bodyPr>
            <a:lstStyle/>
            <a:p>
              <a:endParaRPr lang="en-US"/>
            </a:p>
          </p:txBody>
        </p:sp>
      </p:grpSp>
      <p:sp>
        <p:nvSpPr>
          <p:cNvPr id="962" name="Freeform 251">
            <a:extLst>
              <a:ext uri="{FF2B5EF4-FFF2-40B4-BE49-F238E27FC236}">
                <a16:creationId xmlns:a16="http://schemas.microsoft.com/office/drawing/2014/main" id="{CBC625B8-5469-4517-9765-6D2FD23B651F}"/>
              </a:ext>
            </a:extLst>
          </p:cNvPr>
          <p:cNvSpPr>
            <a:spLocks noChangeAspect="1" noEditPoints="1"/>
          </p:cNvSpPr>
          <p:nvPr/>
        </p:nvSpPr>
        <p:spPr bwMode="auto">
          <a:xfrm>
            <a:off x="8256442" y="5417577"/>
            <a:ext cx="383668" cy="285619"/>
          </a:xfrm>
          <a:custGeom>
            <a:avLst/>
            <a:gdLst>
              <a:gd name="T0" fmla="*/ 782 w 897"/>
              <a:gd name="T1" fmla="*/ 181 h 672"/>
              <a:gd name="T2" fmla="*/ 798 w 897"/>
              <a:gd name="T3" fmla="*/ 127 h 672"/>
              <a:gd name="T4" fmla="*/ 855 w 897"/>
              <a:gd name="T5" fmla="*/ 132 h 672"/>
              <a:gd name="T6" fmla="*/ 860 w 897"/>
              <a:gd name="T7" fmla="*/ 189 h 672"/>
              <a:gd name="T8" fmla="*/ 721 w 897"/>
              <a:gd name="T9" fmla="*/ 523 h 672"/>
              <a:gd name="T10" fmla="*/ 240 w 897"/>
              <a:gd name="T11" fmla="*/ 388 h 672"/>
              <a:gd name="T12" fmla="*/ 650 w 897"/>
              <a:gd name="T13" fmla="*/ 386 h 672"/>
              <a:gd name="T14" fmla="*/ 669 w 897"/>
              <a:gd name="T15" fmla="*/ 384 h 672"/>
              <a:gd name="T16" fmla="*/ 781 w 897"/>
              <a:gd name="T17" fmla="*/ 626 h 672"/>
              <a:gd name="T18" fmla="*/ 150 w 897"/>
              <a:gd name="T19" fmla="*/ 642 h 672"/>
              <a:gd name="T20" fmla="*/ 109 w 897"/>
              <a:gd name="T21" fmla="*/ 606 h 672"/>
              <a:gd name="T22" fmla="*/ 132 w 897"/>
              <a:gd name="T23" fmla="*/ 557 h 672"/>
              <a:gd name="T24" fmla="*/ 759 w 897"/>
              <a:gd name="T25" fmla="*/ 554 h 672"/>
              <a:gd name="T26" fmla="*/ 789 w 897"/>
              <a:gd name="T27" fmla="*/ 591 h 672"/>
              <a:gd name="T28" fmla="*/ 394 w 897"/>
              <a:gd name="T29" fmla="*/ 66 h 672"/>
              <a:gd name="T30" fmla="*/ 420 w 897"/>
              <a:gd name="T31" fmla="*/ 36 h 672"/>
              <a:gd name="T32" fmla="*/ 461 w 897"/>
              <a:gd name="T33" fmla="*/ 31 h 672"/>
              <a:gd name="T34" fmla="*/ 495 w 897"/>
              <a:gd name="T35" fmla="*/ 51 h 672"/>
              <a:gd name="T36" fmla="*/ 509 w 897"/>
              <a:gd name="T37" fmla="*/ 89 h 672"/>
              <a:gd name="T38" fmla="*/ 495 w 897"/>
              <a:gd name="T39" fmla="*/ 127 h 672"/>
              <a:gd name="T40" fmla="*/ 461 w 897"/>
              <a:gd name="T41" fmla="*/ 147 h 672"/>
              <a:gd name="T42" fmla="*/ 426 w 897"/>
              <a:gd name="T43" fmla="*/ 144 h 672"/>
              <a:gd name="T44" fmla="*/ 397 w 897"/>
              <a:gd name="T45" fmla="*/ 117 h 672"/>
              <a:gd name="T46" fmla="*/ 30 w 897"/>
              <a:gd name="T47" fmla="*/ 163 h 672"/>
              <a:gd name="T48" fmla="*/ 67 w 897"/>
              <a:gd name="T49" fmla="*/ 119 h 672"/>
              <a:gd name="T50" fmla="*/ 117 w 897"/>
              <a:gd name="T51" fmla="*/ 146 h 672"/>
              <a:gd name="T52" fmla="*/ 101 w 897"/>
              <a:gd name="T53" fmla="*/ 201 h 672"/>
              <a:gd name="T54" fmla="*/ 44 w 897"/>
              <a:gd name="T55" fmla="*/ 195 h 672"/>
              <a:gd name="T56" fmla="*/ 815 w 897"/>
              <a:gd name="T57" fmla="*/ 89 h 672"/>
              <a:gd name="T58" fmla="*/ 770 w 897"/>
              <a:gd name="T59" fmla="*/ 111 h 672"/>
              <a:gd name="T60" fmla="*/ 749 w 897"/>
              <a:gd name="T61" fmla="*/ 156 h 672"/>
              <a:gd name="T62" fmla="*/ 769 w 897"/>
              <a:gd name="T63" fmla="*/ 216 h 672"/>
              <a:gd name="T64" fmla="*/ 514 w 897"/>
              <a:gd name="T65" fmla="*/ 151 h 672"/>
              <a:gd name="T66" fmla="*/ 539 w 897"/>
              <a:gd name="T67" fmla="*/ 89 h 672"/>
              <a:gd name="T68" fmla="*/ 519 w 897"/>
              <a:gd name="T69" fmla="*/ 32 h 672"/>
              <a:gd name="T70" fmla="*/ 468 w 897"/>
              <a:gd name="T71" fmla="*/ 1 h 672"/>
              <a:gd name="T72" fmla="*/ 407 w 897"/>
              <a:gd name="T73" fmla="*/ 10 h 672"/>
              <a:gd name="T74" fmla="*/ 367 w 897"/>
              <a:gd name="T75" fmla="*/ 54 h 672"/>
              <a:gd name="T76" fmla="*/ 362 w 897"/>
              <a:gd name="T77" fmla="*/ 110 h 672"/>
              <a:gd name="T78" fmla="*/ 418 w 897"/>
              <a:gd name="T79" fmla="*/ 173 h 672"/>
              <a:gd name="T80" fmla="*/ 145 w 897"/>
              <a:gd name="T81" fmla="*/ 192 h 672"/>
              <a:gd name="T82" fmla="*/ 145 w 897"/>
              <a:gd name="T83" fmla="*/ 134 h 672"/>
              <a:gd name="T84" fmla="*/ 111 w 897"/>
              <a:gd name="T85" fmla="*/ 98 h 672"/>
              <a:gd name="T86" fmla="*/ 60 w 897"/>
              <a:gd name="T87" fmla="*/ 91 h 672"/>
              <a:gd name="T88" fmla="*/ 17 w 897"/>
              <a:gd name="T89" fmla="*/ 116 h 672"/>
              <a:gd name="T90" fmla="*/ 0 w 897"/>
              <a:gd name="T91" fmla="*/ 164 h 672"/>
              <a:gd name="T92" fmla="*/ 17 w 897"/>
              <a:gd name="T93" fmla="*/ 211 h 672"/>
              <a:gd name="T94" fmla="*/ 60 w 897"/>
              <a:gd name="T95" fmla="*/ 237 h 672"/>
              <a:gd name="T96" fmla="*/ 131 w 897"/>
              <a:gd name="T97" fmla="*/ 525 h 672"/>
              <a:gd name="T98" fmla="*/ 92 w 897"/>
              <a:gd name="T99" fmla="*/ 553 h 672"/>
              <a:gd name="T100" fmla="*/ 78 w 897"/>
              <a:gd name="T101" fmla="*/ 597 h 672"/>
              <a:gd name="T102" fmla="*/ 92 w 897"/>
              <a:gd name="T103" fmla="*/ 643 h 672"/>
              <a:gd name="T104" fmla="*/ 134 w 897"/>
              <a:gd name="T105" fmla="*/ 670 h 672"/>
              <a:gd name="T106" fmla="*/ 779 w 897"/>
              <a:gd name="T107" fmla="*/ 666 h 672"/>
              <a:gd name="T108" fmla="*/ 812 w 897"/>
              <a:gd name="T109" fmla="*/ 632 h 672"/>
              <a:gd name="T110" fmla="*/ 818 w 897"/>
              <a:gd name="T111" fmla="*/ 584 h 672"/>
              <a:gd name="T112" fmla="*/ 798 w 897"/>
              <a:gd name="T113" fmla="*/ 542 h 672"/>
              <a:gd name="T114" fmla="*/ 752 w 897"/>
              <a:gd name="T115" fmla="*/ 523 h 672"/>
              <a:gd name="T116" fmla="*/ 853 w 897"/>
              <a:gd name="T117" fmla="*/ 233 h 672"/>
              <a:gd name="T118" fmla="*/ 889 w 897"/>
              <a:gd name="T119" fmla="*/ 200 h 672"/>
              <a:gd name="T120" fmla="*/ 896 w 897"/>
              <a:gd name="T121" fmla="*/ 148 h 672"/>
              <a:gd name="T122" fmla="*/ 871 w 897"/>
              <a:gd name="T123" fmla="*/ 107 h 672"/>
              <a:gd name="T124" fmla="*/ 823 w 897"/>
              <a:gd name="T125" fmla="*/ 89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672">
                <a:moveTo>
                  <a:pt x="823" y="208"/>
                </a:moveTo>
                <a:lnTo>
                  <a:pt x="814" y="208"/>
                </a:lnTo>
                <a:lnTo>
                  <a:pt x="805" y="205"/>
                </a:lnTo>
                <a:lnTo>
                  <a:pt x="798" y="201"/>
                </a:lnTo>
                <a:lnTo>
                  <a:pt x="792" y="195"/>
                </a:lnTo>
                <a:lnTo>
                  <a:pt x="786" y="189"/>
                </a:lnTo>
                <a:lnTo>
                  <a:pt x="782" y="181"/>
                </a:lnTo>
                <a:lnTo>
                  <a:pt x="779" y="173"/>
                </a:lnTo>
                <a:lnTo>
                  <a:pt x="778" y="164"/>
                </a:lnTo>
                <a:lnTo>
                  <a:pt x="779" y="155"/>
                </a:lnTo>
                <a:lnTo>
                  <a:pt x="782" y="146"/>
                </a:lnTo>
                <a:lnTo>
                  <a:pt x="786" y="139"/>
                </a:lnTo>
                <a:lnTo>
                  <a:pt x="792" y="132"/>
                </a:lnTo>
                <a:lnTo>
                  <a:pt x="798" y="127"/>
                </a:lnTo>
                <a:lnTo>
                  <a:pt x="805" y="123"/>
                </a:lnTo>
                <a:lnTo>
                  <a:pt x="814" y="119"/>
                </a:lnTo>
                <a:lnTo>
                  <a:pt x="823" y="119"/>
                </a:lnTo>
                <a:lnTo>
                  <a:pt x="832" y="119"/>
                </a:lnTo>
                <a:lnTo>
                  <a:pt x="841" y="123"/>
                </a:lnTo>
                <a:lnTo>
                  <a:pt x="848" y="127"/>
                </a:lnTo>
                <a:lnTo>
                  <a:pt x="855" y="132"/>
                </a:lnTo>
                <a:lnTo>
                  <a:pt x="860" y="139"/>
                </a:lnTo>
                <a:lnTo>
                  <a:pt x="864" y="146"/>
                </a:lnTo>
                <a:lnTo>
                  <a:pt x="866" y="155"/>
                </a:lnTo>
                <a:lnTo>
                  <a:pt x="867" y="164"/>
                </a:lnTo>
                <a:lnTo>
                  <a:pt x="866" y="173"/>
                </a:lnTo>
                <a:lnTo>
                  <a:pt x="864" y="181"/>
                </a:lnTo>
                <a:lnTo>
                  <a:pt x="860" y="189"/>
                </a:lnTo>
                <a:lnTo>
                  <a:pt x="855" y="195"/>
                </a:lnTo>
                <a:lnTo>
                  <a:pt x="848" y="201"/>
                </a:lnTo>
                <a:lnTo>
                  <a:pt x="841" y="205"/>
                </a:lnTo>
                <a:lnTo>
                  <a:pt x="832" y="208"/>
                </a:lnTo>
                <a:lnTo>
                  <a:pt x="823" y="208"/>
                </a:lnTo>
                <a:lnTo>
                  <a:pt x="823" y="208"/>
                </a:lnTo>
                <a:close/>
                <a:moveTo>
                  <a:pt x="721" y="523"/>
                </a:moveTo>
                <a:lnTo>
                  <a:pt x="177" y="523"/>
                </a:lnTo>
                <a:lnTo>
                  <a:pt x="117" y="271"/>
                </a:lnTo>
                <a:lnTo>
                  <a:pt x="229" y="384"/>
                </a:lnTo>
                <a:lnTo>
                  <a:pt x="231" y="386"/>
                </a:lnTo>
                <a:lnTo>
                  <a:pt x="234" y="387"/>
                </a:lnTo>
                <a:lnTo>
                  <a:pt x="237" y="388"/>
                </a:lnTo>
                <a:lnTo>
                  <a:pt x="240" y="388"/>
                </a:lnTo>
                <a:lnTo>
                  <a:pt x="243" y="388"/>
                </a:lnTo>
                <a:lnTo>
                  <a:pt x="245" y="387"/>
                </a:lnTo>
                <a:lnTo>
                  <a:pt x="248" y="386"/>
                </a:lnTo>
                <a:lnTo>
                  <a:pt x="250" y="384"/>
                </a:lnTo>
                <a:lnTo>
                  <a:pt x="449" y="185"/>
                </a:lnTo>
                <a:lnTo>
                  <a:pt x="648" y="384"/>
                </a:lnTo>
                <a:lnTo>
                  <a:pt x="650" y="386"/>
                </a:lnTo>
                <a:lnTo>
                  <a:pt x="653" y="387"/>
                </a:lnTo>
                <a:lnTo>
                  <a:pt x="656" y="388"/>
                </a:lnTo>
                <a:lnTo>
                  <a:pt x="659" y="388"/>
                </a:lnTo>
                <a:lnTo>
                  <a:pt x="661" y="388"/>
                </a:lnTo>
                <a:lnTo>
                  <a:pt x="664" y="387"/>
                </a:lnTo>
                <a:lnTo>
                  <a:pt x="666" y="386"/>
                </a:lnTo>
                <a:lnTo>
                  <a:pt x="669" y="384"/>
                </a:lnTo>
                <a:lnTo>
                  <a:pt x="781" y="271"/>
                </a:lnTo>
                <a:lnTo>
                  <a:pt x="721" y="523"/>
                </a:lnTo>
                <a:close/>
                <a:moveTo>
                  <a:pt x="789" y="597"/>
                </a:moveTo>
                <a:lnTo>
                  <a:pt x="789" y="604"/>
                </a:lnTo>
                <a:lnTo>
                  <a:pt x="787" y="611"/>
                </a:lnTo>
                <a:lnTo>
                  <a:pt x="785" y="619"/>
                </a:lnTo>
                <a:lnTo>
                  <a:pt x="781" y="626"/>
                </a:lnTo>
                <a:lnTo>
                  <a:pt x="776" y="633"/>
                </a:lnTo>
                <a:lnTo>
                  <a:pt x="768" y="638"/>
                </a:lnTo>
                <a:lnTo>
                  <a:pt x="764" y="639"/>
                </a:lnTo>
                <a:lnTo>
                  <a:pt x="759" y="641"/>
                </a:lnTo>
                <a:lnTo>
                  <a:pt x="754" y="642"/>
                </a:lnTo>
                <a:lnTo>
                  <a:pt x="748" y="642"/>
                </a:lnTo>
                <a:lnTo>
                  <a:pt x="150" y="642"/>
                </a:lnTo>
                <a:lnTo>
                  <a:pt x="140" y="641"/>
                </a:lnTo>
                <a:lnTo>
                  <a:pt x="132" y="638"/>
                </a:lnTo>
                <a:lnTo>
                  <a:pt x="124" y="634"/>
                </a:lnTo>
                <a:lnTo>
                  <a:pt x="119" y="628"/>
                </a:lnTo>
                <a:lnTo>
                  <a:pt x="115" y="621"/>
                </a:lnTo>
                <a:lnTo>
                  <a:pt x="111" y="613"/>
                </a:lnTo>
                <a:lnTo>
                  <a:pt x="109" y="606"/>
                </a:lnTo>
                <a:lnTo>
                  <a:pt x="108" y="597"/>
                </a:lnTo>
                <a:lnTo>
                  <a:pt x="109" y="589"/>
                </a:lnTo>
                <a:lnTo>
                  <a:pt x="111" y="581"/>
                </a:lnTo>
                <a:lnTo>
                  <a:pt x="115" y="574"/>
                </a:lnTo>
                <a:lnTo>
                  <a:pt x="119" y="566"/>
                </a:lnTo>
                <a:lnTo>
                  <a:pt x="124" y="561"/>
                </a:lnTo>
                <a:lnTo>
                  <a:pt x="132" y="557"/>
                </a:lnTo>
                <a:lnTo>
                  <a:pt x="140" y="554"/>
                </a:lnTo>
                <a:lnTo>
                  <a:pt x="150" y="553"/>
                </a:lnTo>
                <a:lnTo>
                  <a:pt x="165" y="553"/>
                </a:lnTo>
                <a:lnTo>
                  <a:pt x="733" y="553"/>
                </a:lnTo>
                <a:lnTo>
                  <a:pt x="748" y="553"/>
                </a:lnTo>
                <a:lnTo>
                  <a:pt x="754" y="553"/>
                </a:lnTo>
                <a:lnTo>
                  <a:pt x="759" y="554"/>
                </a:lnTo>
                <a:lnTo>
                  <a:pt x="764" y="556"/>
                </a:lnTo>
                <a:lnTo>
                  <a:pt x="768" y="557"/>
                </a:lnTo>
                <a:lnTo>
                  <a:pt x="776" y="562"/>
                </a:lnTo>
                <a:lnTo>
                  <a:pt x="781" y="569"/>
                </a:lnTo>
                <a:lnTo>
                  <a:pt x="785" y="576"/>
                </a:lnTo>
                <a:lnTo>
                  <a:pt x="787" y="584"/>
                </a:lnTo>
                <a:lnTo>
                  <a:pt x="789" y="591"/>
                </a:lnTo>
                <a:lnTo>
                  <a:pt x="789" y="597"/>
                </a:lnTo>
                <a:lnTo>
                  <a:pt x="789" y="597"/>
                </a:lnTo>
                <a:close/>
                <a:moveTo>
                  <a:pt x="389" y="89"/>
                </a:moveTo>
                <a:lnTo>
                  <a:pt x="389" y="83"/>
                </a:lnTo>
                <a:lnTo>
                  <a:pt x="391" y="77"/>
                </a:lnTo>
                <a:lnTo>
                  <a:pt x="392" y="71"/>
                </a:lnTo>
                <a:lnTo>
                  <a:pt x="394" y="66"/>
                </a:lnTo>
                <a:lnTo>
                  <a:pt x="397" y="61"/>
                </a:lnTo>
                <a:lnTo>
                  <a:pt x="399" y="55"/>
                </a:lnTo>
                <a:lnTo>
                  <a:pt x="403" y="51"/>
                </a:lnTo>
                <a:lnTo>
                  <a:pt x="407" y="47"/>
                </a:lnTo>
                <a:lnTo>
                  <a:pt x="411" y="42"/>
                </a:lnTo>
                <a:lnTo>
                  <a:pt x="416" y="39"/>
                </a:lnTo>
                <a:lnTo>
                  <a:pt x="420" y="36"/>
                </a:lnTo>
                <a:lnTo>
                  <a:pt x="426" y="34"/>
                </a:lnTo>
                <a:lnTo>
                  <a:pt x="431" y="32"/>
                </a:lnTo>
                <a:lnTo>
                  <a:pt x="438" y="31"/>
                </a:lnTo>
                <a:lnTo>
                  <a:pt x="443" y="30"/>
                </a:lnTo>
                <a:lnTo>
                  <a:pt x="449" y="30"/>
                </a:lnTo>
                <a:lnTo>
                  <a:pt x="456" y="30"/>
                </a:lnTo>
                <a:lnTo>
                  <a:pt x="461" y="31"/>
                </a:lnTo>
                <a:lnTo>
                  <a:pt x="466" y="32"/>
                </a:lnTo>
                <a:lnTo>
                  <a:pt x="473" y="34"/>
                </a:lnTo>
                <a:lnTo>
                  <a:pt x="477" y="36"/>
                </a:lnTo>
                <a:lnTo>
                  <a:pt x="483" y="39"/>
                </a:lnTo>
                <a:lnTo>
                  <a:pt x="487" y="42"/>
                </a:lnTo>
                <a:lnTo>
                  <a:pt x="491" y="47"/>
                </a:lnTo>
                <a:lnTo>
                  <a:pt x="495" y="51"/>
                </a:lnTo>
                <a:lnTo>
                  <a:pt x="499" y="55"/>
                </a:lnTo>
                <a:lnTo>
                  <a:pt x="502" y="61"/>
                </a:lnTo>
                <a:lnTo>
                  <a:pt x="504" y="66"/>
                </a:lnTo>
                <a:lnTo>
                  <a:pt x="506" y="71"/>
                </a:lnTo>
                <a:lnTo>
                  <a:pt x="508" y="77"/>
                </a:lnTo>
                <a:lnTo>
                  <a:pt x="508" y="83"/>
                </a:lnTo>
                <a:lnTo>
                  <a:pt x="509" y="89"/>
                </a:lnTo>
                <a:lnTo>
                  <a:pt x="508" y="95"/>
                </a:lnTo>
                <a:lnTo>
                  <a:pt x="508" y="101"/>
                </a:lnTo>
                <a:lnTo>
                  <a:pt x="506" y="107"/>
                </a:lnTo>
                <a:lnTo>
                  <a:pt x="504" y="112"/>
                </a:lnTo>
                <a:lnTo>
                  <a:pt x="502" y="117"/>
                </a:lnTo>
                <a:lnTo>
                  <a:pt x="499" y="123"/>
                </a:lnTo>
                <a:lnTo>
                  <a:pt x="495" y="127"/>
                </a:lnTo>
                <a:lnTo>
                  <a:pt x="491" y="131"/>
                </a:lnTo>
                <a:lnTo>
                  <a:pt x="487" y="135"/>
                </a:lnTo>
                <a:lnTo>
                  <a:pt x="483" y="139"/>
                </a:lnTo>
                <a:lnTo>
                  <a:pt x="477" y="142"/>
                </a:lnTo>
                <a:lnTo>
                  <a:pt x="473" y="144"/>
                </a:lnTo>
                <a:lnTo>
                  <a:pt x="466" y="146"/>
                </a:lnTo>
                <a:lnTo>
                  <a:pt x="461" y="147"/>
                </a:lnTo>
                <a:lnTo>
                  <a:pt x="456" y="148"/>
                </a:lnTo>
                <a:lnTo>
                  <a:pt x="449" y="149"/>
                </a:lnTo>
                <a:lnTo>
                  <a:pt x="449" y="149"/>
                </a:lnTo>
                <a:lnTo>
                  <a:pt x="443" y="148"/>
                </a:lnTo>
                <a:lnTo>
                  <a:pt x="438" y="147"/>
                </a:lnTo>
                <a:lnTo>
                  <a:pt x="431" y="146"/>
                </a:lnTo>
                <a:lnTo>
                  <a:pt x="426" y="144"/>
                </a:lnTo>
                <a:lnTo>
                  <a:pt x="420" y="142"/>
                </a:lnTo>
                <a:lnTo>
                  <a:pt x="416" y="139"/>
                </a:lnTo>
                <a:lnTo>
                  <a:pt x="411" y="135"/>
                </a:lnTo>
                <a:lnTo>
                  <a:pt x="407" y="131"/>
                </a:lnTo>
                <a:lnTo>
                  <a:pt x="403" y="127"/>
                </a:lnTo>
                <a:lnTo>
                  <a:pt x="399" y="123"/>
                </a:lnTo>
                <a:lnTo>
                  <a:pt x="397" y="117"/>
                </a:lnTo>
                <a:lnTo>
                  <a:pt x="394" y="112"/>
                </a:lnTo>
                <a:lnTo>
                  <a:pt x="392" y="107"/>
                </a:lnTo>
                <a:lnTo>
                  <a:pt x="391" y="101"/>
                </a:lnTo>
                <a:lnTo>
                  <a:pt x="389" y="95"/>
                </a:lnTo>
                <a:lnTo>
                  <a:pt x="389" y="89"/>
                </a:lnTo>
                <a:lnTo>
                  <a:pt x="389" y="89"/>
                </a:lnTo>
                <a:close/>
                <a:moveTo>
                  <a:pt x="30" y="163"/>
                </a:moveTo>
                <a:lnTo>
                  <a:pt x="31" y="155"/>
                </a:lnTo>
                <a:lnTo>
                  <a:pt x="34" y="146"/>
                </a:lnTo>
                <a:lnTo>
                  <a:pt x="39" y="139"/>
                </a:lnTo>
                <a:lnTo>
                  <a:pt x="44" y="132"/>
                </a:lnTo>
                <a:lnTo>
                  <a:pt x="50" y="127"/>
                </a:lnTo>
                <a:lnTo>
                  <a:pt x="58" y="123"/>
                </a:lnTo>
                <a:lnTo>
                  <a:pt x="67" y="119"/>
                </a:lnTo>
                <a:lnTo>
                  <a:pt x="75" y="119"/>
                </a:lnTo>
                <a:lnTo>
                  <a:pt x="85" y="119"/>
                </a:lnTo>
                <a:lnTo>
                  <a:pt x="93" y="123"/>
                </a:lnTo>
                <a:lnTo>
                  <a:pt x="101" y="127"/>
                </a:lnTo>
                <a:lnTo>
                  <a:pt x="107" y="132"/>
                </a:lnTo>
                <a:lnTo>
                  <a:pt x="113" y="139"/>
                </a:lnTo>
                <a:lnTo>
                  <a:pt x="117" y="146"/>
                </a:lnTo>
                <a:lnTo>
                  <a:pt x="119" y="155"/>
                </a:lnTo>
                <a:lnTo>
                  <a:pt x="120" y="164"/>
                </a:lnTo>
                <a:lnTo>
                  <a:pt x="119" y="173"/>
                </a:lnTo>
                <a:lnTo>
                  <a:pt x="117" y="181"/>
                </a:lnTo>
                <a:lnTo>
                  <a:pt x="113" y="189"/>
                </a:lnTo>
                <a:lnTo>
                  <a:pt x="107" y="195"/>
                </a:lnTo>
                <a:lnTo>
                  <a:pt x="101" y="201"/>
                </a:lnTo>
                <a:lnTo>
                  <a:pt x="93" y="205"/>
                </a:lnTo>
                <a:lnTo>
                  <a:pt x="85" y="208"/>
                </a:lnTo>
                <a:lnTo>
                  <a:pt x="75" y="208"/>
                </a:lnTo>
                <a:lnTo>
                  <a:pt x="67" y="208"/>
                </a:lnTo>
                <a:lnTo>
                  <a:pt x="58" y="205"/>
                </a:lnTo>
                <a:lnTo>
                  <a:pt x="50" y="201"/>
                </a:lnTo>
                <a:lnTo>
                  <a:pt x="44" y="195"/>
                </a:lnTo>
                <a:lnTo>
                  <a:pt x="39" y="189"/>
                </a:lnTo>
                <a:lnTo>
                  <a:pt x="34" y="181"/>
                </a:lnTo>
                <a:lnTo>
                  <a:pt x="31" y="173"/>
                </a:lnTo>
                <a:lnTo>
                  <a:pt x="30" y="164"/>
                </a:lnTo>
                <a:lnTo>
                  <a:pt x="30" y="163"/>
                </a:lnTo>
                <a:close/>
                <a:moveTo>
                  <a:pt x="823" y="89"/>
                </a:moveTo>
                <a:lnTo>
                  <a:pt x="815" y="89"/>
                </a:lnTo>
                <a:lnTo>
                  <a:pt x="808" y="91"/>
                </a:lnTo>
                <a:lnTo>
                  <a:pt x="801" y="93"/>
                </a:lnTo>
                <a:lnTo>
                  <a:pt x="794" y="95"/>
                </a:lnTo>
                <a:lnTo>
                  <a:pt x="787" y="98"/>
                </a:lnTo>
                <a:lnTo>
                  <a:pt x="781" y="102"/>
                </a:lnTo>
                <a:lnTo>
                  <a:pt x="776" y="107"/>
                </a:lnTo>
                <a:lnTo>
                  <a:pt x="770" y="111"/>
                </a:lnTo>
                <a:lnTo>
                  <a:pt x="765" y="116"/>
                </a:lnTo>
                <a:lnTo>
                  <a:pt x="761" y="122"/>
                </a:lnTo>
                <a:lnTo>
                  <a:pt x="757" y="128"/>
                </a:lnTo>
                <a:lnTo>
                  <a:pt x="754" y="134"/>
                </a:lnTo>
                <a:lnTo>
                  <a:pt x="752" y="142"/>
                </a:lnTo>
                <a:lnTo>
                  <a:pt x="750" y="148"/>
                </a:lnTo>
                <a:lnTo>
                  <a:pt x="749" y="156"/>
                </a:lnTo>
                <a:lnTo>
                  <a:pt x="748" y="164"/>
                </a:lnTo>
                <a:lnTo>
                  <a:pt x="749" y="174"/>
                </a:lnTo>
                <a:lnTo>
                  <a:pt x="751" y="184"/>
                </a:lnTo>
                <a:lnTo>
                  <a:pt x="754" y="192"/>
                </a:lnTo>
                <a:lnTo>
                  <a:pt x="758" y="201"/>
                </a:lnTo>
                <a:lnTo>
                  <a:pt x="763" y="208"/>
                </a:lnTo>
                <a:lnTo>
                  <a:pt x="769" y="216"/>
                </a:lnTo>
                <a:lnTo>
                  <a:pt x="776" y="222"/>
                </a:lnTo>
                <a:lnTo>
                  <a:pt x="783" y="227"/>
                </a:lnTo>
                <a:lnTo>
                  <a:pt x="659" y="351"/>
                </a:lnTo>
                <a:lnTo>
                  <a:pt x="479" y="173"/>
                </a:lnTo>
                <a:lnTo>
                  <a:pt x="492" y="168"/>
                </a:lnTo>
                <a:lnTo>
                  <a:pt x="504" y="160"/>
                </a:lnTo>
                <a:lnTo>
                  <a:pt x="514" y="151"/>
                </a:lnTo>
                <a:lnTo>
                  <a:pt x="522" y="141"/>
                </a:lnTo>
                <a:lnTo>
                  <a:pt x="530" y="129"/>
                </a:lnTo>
                <a:lnTo>
                  <a:pt x="535" y="117"/>
                </a:lnTo>
                <a:lnTo>
                  <a:pt x="536" y="110"/>
                </a:lnTo>
                <a:lnTo>
                  <a:pt x="538" y="103"/>
                </a:lnTo>
                <a:lnTo>
                  <a:pt x="538" y="96"/>
                </a:lnTo>
                <a:lnTo>
                  <a:pt x="539" y="89"/>
                </a:lnTo>
                <a:lnTo>
                  <a:pt x="538" y="80"/>
                </a:lnTo>
                <a:lnTo>
                  <a:pt x="537" y="71"/>
                </a:lnTo>
                <a:lnTo>
                  <a:pt x="535" y="63"/>
                </a:lnTo>
                <a:lnTo>
                  <a:pt x="532" y="54"/>
                </a:lnTo>
                <a:lnTo>
                  <a:pt x="528" y="47"/>
                </a:lnTo>
                <a:lnTo>
                  <a:pt x="523" y="39"/>
                </a:lnTo>
                <a:lnTo>
                  <a:pt x="519" y="32"/>
                </a:lnTo>
                <a:lnTo>
                  <a:pt x="512" y="25"/>
                </a:lnTo>
                <a:lnTo>
                  <a:pt x="506" y="20"/>
                </a:lnTo>
                <a:lnTo>
                  <a:pt x="500" y="15"/>
                </a:lnTo>
                <a:lnTo>
                  <a:pt x="492" y="10"/>
                </a:lnTo>
                <a:lnTo>
                  <a:pt x="484" y="6"/>
                </a:lnTo>
                <a:lnTo>
                  <a:pt x="476" y="4"/>
                </a:lnTo>
                <a:lnTo>
                  <a:pt x="468" y="1"/>
                </a:lnTo>
                <a:lnTo>
                  <a:pt x="458" y="0"/>
                </a:lnTo>
                <a:lnTo>
                  <a:pt x="449" y="0"/>
                </a:lnTo>
                <a:lnTo>
                  <a:pt x="440" y="0"/>
                </a:lnTo>
                <a:lnTo>
                  <a:pt x="431" y="1"/>
                </a:lnTo>
                <a:lnTo>
                  <a:pt x="423" y="4"/>
                </a:lnTo>
                <a:lnTo>
                  <a:pt x="414" y="6"/>
                </a:lnTo>
                <a:lnTo>
                  <a:pt x="407" y="10"/>
                </a:lnTo>
                <a:lnTo>
                  <a:pt x="399" y="15"/>
                </a:lnTo>
                <a:lnTo>
                  <a:pt x="393" y="20"/>
                </a:lnTo>
                <a:lnTo>
                  <a:pt x="386" y="25"/>
                </a:lnTo>
                <a:lnTo>
                  <a:pt x="380" y="32"/>
                </a:lnTo>
                <a:lnTo>
                  <a:pt x="375" y="39"/>
                </a:lnTo>
                <a:lnTo>
                  <a:pt x="370" y="47"/>
                </a:lnTo>
                <a:lnTo>
                  <a:pt x="367" y="54"/>
                </a:lnTo>
                <a:lnTo>
                  <a:pt x="364" y="63"/>
                </a:lnTo>
                <a:lnTo>
                  <a:pt x="362" y="71"/>
                </a:lnTo>
                <a:lnTo>
                  <a:pt x="360" y="80"/>
                </a:lnTo>
                <a:lnTo>
                  <a:pt x="360" y="89"/>
                </a:lnTo>
                <a:lnTo>
                  <a:pt x="360" y="96"/>
                </a:lnTo>
                <a:lnTo>
                  <a:pt x="361" y="103"/>
                </a:lnTo>
                <a:lnTo>
                  <a:pt x="362" y="110"/>
                </a:lnTo>
                <a:lnTo>
                  <a:pt x="364" y="117"/>
                </a:lnTo>
                <a:lnTo>
                  <a:pt x="369" y="129"/>
                </a:lnTo>
                <a:lnTo>
                  <a:pt x="377" y="141"/>
                </a:lnTo>
                <a:lnTo>
                  <a:pt x="385" y="151"/>
                </a:lnTo>
                <a:lnTo>
                  <a:pt x="395" y="160"/>
                </a:lnTo>
                <a:lnTo>
                  <a:pt x="407" y="168"/>
                </a:lnTo>
                <a:lnTo>
                  <a:pt x="418" y="173"/>
                </a:lnTo>
                <a:lnTo>
                  <a:pt x="240" y="351"/>
                </a:lnTo>
                <a:lnTo>
                  <a:pt x="115" y="227"/>
                </a:lnTo>
                <a:lnTo>
                  <a:pt x="122" y="222"/>
                </a:lnTo>
                <a:lnTo>
                  <a:pt x="130" y="216"/>
                </a:lnTo>
                <a:lnTo>
                  <a:pt x="135" y="208"/>
                </a:lnTo>
                <a:lnTo>
                  <a:pt x="140" y="201"/>
                </a:lnTo>
                <a:lnTo>
                  <a:pt x="145" y="192"/>
                </a:lnTo>
                <a:lnTo>
                  <a:pt x="148" y="184"/>
                </a:lnTo>
                <a:lnTo>
                  <a:pt x="150" y="174"/>
                </a:lnTo>
                <a:lnTo>
                  <a:pt x="150" y="164"/>
                </a:lnTo>
                <a:lnTo>
                  <a:pt x="150" y="156"/>
                </a:lnTo>
                <a:lnTo>
                  <a:pt x="149" y="148"/>
                </a:lnTo>
                <a:lnTo>
                  <a:pt x="147" y="142"/>
                </a:lnTo>
                <a:lnTo>
                  <a:pt x="145" y="134"/>
                </a:lnTo>
                <a:lnTo>
                  <a:pt x="141" y="128"/>
                </a:lnTo>
                <a:lnTo>
                  <a:pt x="137" y="122"/>
                </a:lnTo>
                <a:lnTo>
                  <a:pt x="133" y="116"/>
                </a:lnTo>
                <a:lnTo>
                  <a:pt x="129" y="111"/>
                </a:lnTo>
                <a:lnTo>
                  <a:pt x="123" y="107"/>
                </a:lnTo>
                <a:lnTo>
                  <a:pt x="117" y="102"/>
                </a:lnTo>
                <a:lnTo>
                  <a:pt x="111" y="98"/>
                </a:lnTo>
                <a:lnTo>
                  <a:pt x="105" y="95"/>
                </a:lnTo>
                <a:lnTo>
                  <a:pt x="98" y="93"/>
                </a:lnTo>
                <a:lnTo>
                  <a:pt x="90" y="91"/>
                </a:lnTo>
                <a:lnTo>
                  <a:pt x="83" y="89"/>
                </a:lnTo>
                <a:lnTo>
                  <a:pt x="75" y="89"/>
                </a:lnTo>
                <a:lnTo>
                  <a:pt x="68" y="89"/>
                </a:lnTo>
                <a:lnTo>
                  <a:pt x="60" y="91"/>
                </a:lnTo>
                <a:lnTo>
                  <a:pt x="54" y="93"/>
                </a:lnTo>
                <a:lnTo>
                  <a:pt x="46" y="95"/>
                </a:lnTo>
                <a:lnTo>
                  <a:pt x="40" y="98"/>
                </a:lnTo>
                <a:lnTo>
                  <a:pt x="33" y="102"/>
                </a:lnTo>
                <a:lnTo>
                  <a:pt x="28" y="107"/>
                </a:lnTo>
                <a:lnTo>
                  <a:pt x="23" y="111"/>
                </a:lnTo>
                <a:lnTo>
                  <a:pt x="17" y="116"/>
                </a:lnTo>
                <a:lnTo>
                  <a:pt x="13" y="122"/>
                </a:lnTo>
                <a:lnTo>
                  <a:pt x="10" y="128"/>
                </a:lnTo>
                <a:lnTo>
                  <a:pt x="7" y="134"/>
                </a:lnTo>
                <a:lnTo>
                  <a:pt x="4" y="142"/>
                </a:lnTo>
                <a:lnTo>
                  <a:pt x="2" y="148"/>
                </a:lnTo>
                <a:lnTo>
                  <a:pt x="1" y="156"/>
                </a:lnTo>
                <a:lnTo>
                  <a:pt x="0" y="164"/>
                </a:lnTo>
                <a:lnTo>
                  <a:pt x="1" y="172"/>
                </a:lnTo>
                <a:lnTo>
                  <a:pt x="2" y="179"/>
                </a:lnTo>
                <a:lnTo>
                  <a:pt x="4" y="186"/>
                </a:lnTo>
                <a:lnTo>
                  <a:pt x="7" y="193"/>
                </a:lnTo>
                <a:lnTo>
                  <a:pt x="10" y="200"/>
                </a:lnTo>
                <a:lnTo>
                  <a:pt x="13" y="206"/>
                </a:lnTo>
                <a:lnTo>
                  <a:pt x="17" y="211"/>
                </a:lnTo>
                <a:lnTo>
                  <a:pt x="23" y="217"/>
                </a:lnTo>
                <a:lnTo>
                  <a:pt x="28" y="221"/>
                </a:lnTo>
                <a:lnTo>
                  <a:pt x="33" y="225"/>
                </a:lnTo>
                <a:lnTo>
                  <a:pt x="40" y="230"/>
                </a:lnTo>
                <a:lnTo>
                  <a:pt x="46" y="233"/>
                </a:lnTo>
                <a:lnTo>
                  <a:pt x="54" y="235"/>
                </a:lnTo>
                <a:lnTo>
                  <a:pt x="60" y="237"/>
                </a:lnTo>
                <a:lnTo>
                  <a:pt x="68" y="238"/>
                </a:lnTo>
                <a:lnTo>
                  <a:pt x="75" y="238"/>
                </a:lnTo>
                <a:lnTo>
                  <a:pt x="77" y="238"/>
                </a:lnTo>
                <a:lnTo>
                  <a:pt x="78" y="238"/>
                </a:lnTo>
                <a:lnTo>
                  <a:pt x="147" y="523"/>
                </a:lnTo>
                <a:lnTo>
                  <a:pt x="138" y="524"/>
                </a:lnTo>
                <a:lnTo>
                  <a:pt x="131" y="525"/>
                </a:lnTo>
                <a:lnTo>
                  <a:pt x="123" y="527"/>
                </a:lnTo>
                <a:lnTo>
                  <a:pt x="117" y="530"/>
                </a:lnTo>
                <a:lnTo>
                  <a:pt x="111" y="533"/>
                </a:lnTo>
                <a:lnTo>
                  <a:pt x="105" y="538"/>
                </a:lnTo>
                <a:lnTo>
                  <a:pt x="101" y="542"/>
                </a:lnTo>
                <a:lnTo>
                  <a:pt x="95" y="547"/>
                </a:lnTo>
                <a:lnTo>
                  <a:pt x="92" y="553"/>
                </a:lnTo>
                <a:lnTo>
                  <a:pt x="88" y="559"/>
                </a:lnTo>
                <a:lnTo>
                  <a:pt x="86" y="564"/>
                </a:lnTo>
                <a:lnTo>
                  <a:pt x="83" y="571"/>
                </a:lnTo>
                <a:lnTo>
                  <a:pt x="81" y="577"/>
                </a:lnTo>
                <a:lnTo>
                  <a:pt x="79" y="584"/>
                </a:lnTo>
                <a:lnTo>
                  <a:pt x="79" y="591"/>
                </a:lnTo>
                <a:lnTo>
                  <a:pt x="78" y="597"/>
                </a:lnTo>
                <a:lnTo>
                  <a:pt x="79" y="604"/>
                </a:lnTo>
                <a:lnTo>
                  <a:pt x="79" y="611"/>
                </a:lnTo>
                <a:lnTo>
                  <a:pt x="81" y="618"/>
                </a:lnTo>
                <a:lnTo>
                  <a:pt x="84" y="625"/>
                </a:lnTo>
                <a:lnTo>
                  <a:pt x="86" y="632"/>
                </a:lnTo>
                <a:lnTo>
                  <a:pt x="89" y="637"/>
                </a:lnTo>
                <a:lnTo>
                  <a:pt x="92" y="643"/>
                </a:lnTo>
                <a:lnTo>
                  <a:pt x="96" y="649"/>
                </a:lnTo>
                <a:lnTo>
                  <a:pt x="102" y="654"/>
                </a:lnTo>
                <a:lnTo>
                  <a:pt x="107" y="658"/>
                </a:lnTo>
                <a:lnTo>
                  <a:pt x="113" y="663"/>
                </a:lnTo>
                <a:lnTo>
                  <a:pt x="119" y="666"/>
                </a:lnTo>
                <a:lnTo>
                  <a:pt x="126" y="668"/>
                </a:lnTo>
                <a:lnTo>
                  <a:pt x="134" y="670"/>
                </a:lnTo>
                <a:lnTo>
                  <a:pt x="141" y="671"/>
                </a:lnTo>
                <a:lnTo>
                  <a:pt x="150" y="672"/>
                </a:lnTo>
                <a:lnTo>
                  <a:pt x="748" y="672"/>
                </a:lnTo>
                <a:lnTo>
                  <a:pt x="756" y="671"/>
                </a:lnTo>
                <a:lnTo>
                  <a:pt x="765" y="670"/>
                </a:lnTo>
                <a:lnTo>
                  <a:pt x="772" y="668"/>
                </a:lnTo>
                <a:lnTo>
                  <a:pt x="779" y="666"/>
                </a:lnTo>
                <a:lnTo>
                  <a:pt x="785" y="663"/>
                </a:lnTo>
                <a:lnTo>
                  <a:pt x="792" y="658"/>
                </a:lnTo>
                <a:lnTo>
                  <a:pt x="797" y="654"/>
                </a:lnTo>
                <a:lnTo>
                  <a:pt x="801" y="649"/>
                </a:lnTo>
                <a:lnTo>
                  <a:pt x="805" y="643"/>
                </a:lnTo>
                <a:lnTo>
                  <a:pt x="809" y="637"/>
                </a:lnTo>
                <a:lnTo>
                  <a:pt x="812" y="632"/>
                </a:lnTo>
                <a:lnTo>
                  <a:pt x="815" y="625"/>
                </a:lnTo>
                <a:lnTo>
                  <a:pt x="817" y="618"/>
                </a:lnTo>
                <a:lnTo>
                  <a:pt x="818" y="611"/>
                </a:lnTo>
                <a:lnTo>
                  <a:pt x="819" y="604"/>
                </a:lnTo>
                <a:lnTo>
                  <a:pt x="819" y="597"/>
                </a:lnTo>
                <a:lnTo>
                  <a:pt x="819" y="591"/>
                </a:lnTo>
                <a:lnTo>
                  <a:pt x="818" y="584"/>
                </a:lnTo>
                <a:lnTo>
                  <a:pt x="817" y="577"/>
                </a:lnTo>
                <a:lnTo>
                  <a:pt x="815" y="571"/>
                </a:lnTo>
                <a:lnTo>
                  <a:pt x="813" y="564"/>
                </a:lnTo>
                <a:lnTo>
                  <a:pt x="810" y="559"/>
                </a:lnTo>
                <a:lnTo>
                  <a:pt x="807" y="553"/>
                </a:lnTo>
                <a:lnTo>
                  <a:pt x="802" y="547"/>
                </a:lnTo>
                <a:lnTo>
                  <a:pt x="798" y="542"/>
                </a:lnTo>
                <a:lnTo>
                  <a:pt x="793" y="538"/>
                </a:lnTo>
                <a:lnTo>
                  <a:pt x="787" y="533"/>
                </a:lnTo>
                <a:lnTo>
                  <a:pt x="781" y="530"/>
                </a:lnTo>
                <a:lnTo>
                  <a:pt x="774" y="527"/>
                </a:lnTo>
                <a:lnTo>
                  <a:pt x="768" y="525"/>
                </a:lnTo>
                <a:lnTo>
                  <a:pt x="761" y="524"/>
                </a:lnTo>
                <a:lnTo>
                  <a:pt x="752" y="523"/>
                </a:lnTo>
                <a:lnTo>
                  <a:pt x="819" y="238"/>
                </a:lnTo>
                <a:lnTo>
                  <a:pt x="821" y="238"/>
                </a:lnTo>
                <a:lnTo>
                  <a:pt x="823" y="238"/>
                </a:lnTo>
                <a:lnTo>
                  <a:pt x="830" y="238"/>
                </a:lnTo>
                <a:lnTo>
                  <a:pt x="838" y="237"/>
                </a:lnTo>
                <a:lnTo>
                  <a:pt x="845" y="235"/>
                </a:lnTo>
                <a:lnTo>
                  <a:pt x="853" y="233"/>
                </a:lnTo>
                <a:lnTo>
                  <a:pt x="859" y="230"/>
                </a:lnTo>
                <a:lnTo>
                  <a:pt x="864" y="225"/>
                </a:lnTo>
                <a:lnTo>
                  <a:pt x="871" y="221"/>
                </a:lnTo>
                <a:lnTo>
                  <a:pt x="876" y="217"/>
                </a:lnTo>
                <a:lnTo>
                  <a:pt x="880" y="211"/>
                </a:lnTo>
                <a:lnTo>
                  <a:pt x="885" y="206"/>
                </a:lnTo>
                <a:lnTo>
                  <a:pt x="889" y="200"/>
                </a:lnTo>
                <a:lnTo>
                  <a:pt x="892" y="193"/>
                </a:lnTo>
                <a:lnTo>
                  <a:pt x="894" y="186"/>
                </a:lnTo>
                <a:lnTo>
                  <a:pt x="896" y="179"/>
                </a:lnTo>
                <a:lnTo>
                  <a:pt x="897" y="172"/>
                </a:lnTo>
                <a:lnTo>
                  <a:pt x="897" y="164"/>
                </a:lnTo>
                <a:lnTo>
                  <a:pt x="897" y="156"/>
                </a:lnTo>
                <a:lnTo>
                  <a:pt x="896" y="148"/>
                </a:lnTo>
                <a:lnTo>
                  <a:pt x="894" y="142"/>
                </a:lnTo>
                <a:lnTo>
                  <a:pt x="892" y="134"/>
                </a:lnTo>
                <a:lnTo>
                  <a:pt x="889" y="128"/>
                </a:lnTo>
                <a:lnTo>
                  <a:pt x="885" y="122"/>
                </a:lnTo>
                <a:lnTo>
                  <a:pt x="880" y="116"/>
                </a:lnTo>
                <a:lnTo>
                  <a:pt x="876" y="111"/>
                </a:lnTo>
                <a:lnTo>
                  <a:pt x="871" y="107"/>
                </a:lnTo>
                <a:lnTo>
                  <a:pt x="864" y="102"/>
                </a:lnTo>
                <a:lnTo>
                  <a:pt x="859" y="98"/>
                </a:lnTo>
                <a:lnTo>
                  <a:pt x="853" y="95"/>
                </a:lnTo>
                <a:lnTo>
                  <a:pt x="845" y="93"/>
                </a:lnTo>
                <a:lnTo>
                  <a:pt x="838" y="91"/>
                </a:lnTo>
                <a:lnTo>
                  <a:pt x="830" y="89"/>
                </a:lnTo>
                <a:lnTo>
                  <a:pt x="823" y="89"/>
                </a:lnTo>
                <a:lnTo>
                  <a:pt x="823" y="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11" name="Group 32">
            <a:extLst>
              <a:ext uri="{FF2B5EF4-FFF2-40B4-BE49-F238E27FC236}">
                <a16:creationId xmlns:a16="http://schemas.microsoft.com/office/drawing/2014/main" id="{82C619F3-4306-4E21-A63F-E33091B0AA46}"/>
              </a:ext>
            </a:extLst>
          </p:cNvPr>
          <p:cNvGrpSpPr>
            <a:grpSpLocks noChangeAspect="1"/>
          </p:cNvGrpSpPr>
          <p:nvPr/>
        </p:nvGrpSpPr>
        <p:grpSpPr>
          <a:xfrm>
            <a:off x="8283496" y="4879041"/>
            <a:ext cx="329560" cy="285619"/>
            <a:chOff x="3175000" y="1968501"/>
            <a:chExt cx="285750" cy="247650"/>
          </a:xfrm>
          <a:solidFill>
            <a:schemeClr val="bg1"/>
          </a:solidFill>
          <a:effectLst/>
        </p:grpSpPr>
        <p:sp>
          <p:nvSpPr>
            <p:cNvPr id="1112" name="Freeform 202">
              <a:extLst>
                <a:ext uri="{FF2B5EF4-FFF2-40B4-BE49-F238E27FC236}">
                  <a16:creationId xmlns:a16="http://schemas.microsoft.com/office/drawing/2014/main" id="{DBAE7C3B-8F84-4707-8AFF-A859C45665B2}"/>
                </a:ext>
              </a:extLst>
            </p:cNvPr>
            <p:cNvSpPr>
              <a:spLocks noEditPoints="1"/>
            </p:cNvSpPr>
            <p:nvPr/>
          </p:nvSpPr>
          <p:spPr bwMode="auto">
            <a:xfrm>
              <a:off x="3175000" y="1968501"/>
              <a:ext cx="285750" cy="247650"/>
            </a:xfrm>
            <a:custGeom>
              <a:avLst/>
              <a:gdLst>
                <a:gd name="T0" fmla="*/ 432 w 901"/>
                <a:gd name="T1" fmla="*/ 600 h 781"/>
                <a:gd name="T2" fmla="*/ 426 w 901"/>
                <a:gd name="T3" fmla="*/ 601 h 781"/>
                <a:gd name="T4" fmla="*/ 421 w 901"/>
                <a:gd name="T5" fmla="*/ 604 h 781"/>
                <a:gd name="T6" fmla="*/ 300 w 901"/>
                <a:gd name="T7" fmla="*/ 615 h 781"/>
                <a:gd name="T8" fmla="*/ 299 w 901"/>
                <a:gd name="T9" fmla="*/ 609 h 781"/>
                <a:gd name="T10" fmla="*/ 296 w 901"/>
                <a:gd name="T11" fmla="*/ 604 h 781"/>
                <a:gd name="T12" fmla="*/ 292 w 901"/>
                <a:gd name="T13" fmla="*/ 601 h 781"/>
                <a:gd name="T14" fmla="*/ 285 w 901"/>
                <a:gd name="T15" fmla="*/ 600 h 781"/>
                <a:gd name="T16" fmla="*/ 30 w 901"/>
                <a:gd name="T17" fmla="*/ 29 h 781"/>
                <a:gd name="T18" fmla="*/ 871 w 901"/>
                <a:gd name="T19" fmla="*/ 600 h 781"/>
                <a:gd name="T20" fmla="*/ 15 w 901"/>
                <a:gd name="T21" fmla="*/ 0 h 781"/>
                <a:gd name="T22" fmla="*/ 9 w 901"/>
                <a:gd name="T23" fmla="*/ 1 h 781"/>
                <a:gd name="T24" fmla="*/ 5 w 901"/>
                <a:gd name="T25" fmla="*/ 4 h 781"/>
                <a:gd name="T26" fmla="*/ 2 w 901"/>
                <a:gd name="T27" fmla="*/ 8 h 781"/>
                <a:gd name="T28" fmla="*/ 0 w 901"/>
                <a:gd name="T29" fmla="*/ 14 h 781"/>
                <a:gd name="T30" fmla="*/ 0 w 901"/>
                <a:gd name="T31" fmla="*/ 618 h 781"/>
                <a:gd name="T32" fmla="*/ 3 w 901"/>
                <a:gd name="T33" fmla="*/ 623 h 781"/>
                <a:gd name="T34" fmla="*/ 7 w 901"/>
                <a:gd name="T35" fmla="*/ 628 h 781"/>
                <a:gd name="T36" fmla="*/ 12 w 901"/>
                <a:gd name="T37" fmla="*/ 630 h 781"/>
                <a:gd name="T38" fmla="*/ 270 w 901"/>
                <a:gd name="T39" fmla="*/ 630 h 781"/>
                <a:gd name="T40" fmla="*/ 271 w 901"/>
                <a:gd name="T41" fmla="*/ 770 h 781"/>
                <a:gd name="T42" fmla="*/ 277 w 901"/>
                <a:gd name="T43" fmla="*/ 776 h 781"/>
                <a:gd name="T44" fmla="*/ 283 w 901"/>
                <a:gd name="T45" fmla="*/ 780 h 781"/>
                <a:gd name="T46" fmla="*/ 288 w 901"/>
                <a:gd name="T47" fmla="*/ 780 h 781"/>
                <a:gd name="T48" fmla="*/ 294 w 901"/>
                <a:gd name="T49" fmla="*/ 777 h 781"/>
                <a:gd name="T50" fmla="*/ 438 w 901"/>
                <a:gd name="T51" fmla="*/ 630 h 781"/>
                <a:gd name="T52" fmla="*/ 890 w 901"/>
                <a:gd name="T53" fmla="*/ 630 h 781"/>
                <a:gd name="T54" fmla="*/ 895 w 901"/>
                <a:gd name="T55" fmla="*/ 628 h 781"/>
                <a:gd name="T56" fmla="*/ 898 w 901"/>
                <a:gd name="T57" fmla="*/ 623 h 781"/>
                <a:gd name="T58" fmla="*/ 901 w 901"/>
                <a:gd name="T59" fmla="*/ 618 h 781"/>
                <a:gd name="T60" fmla="*/ 901 w 901"/>
                <a:gd name="T61" fmla="*/ 14 h 781"/>
                <a:gd name="T62" fmla="*/ 900 w 901"/>
                <a:gd name="T63" fmla="*/ 8 h 781"/>
                <a:gd name="T64" fmla="*/ 897 w 901"/>
                <a:gd name="T65" fmla="*/ 4 h 781"/>
                <a:gd name="T66" fmla="*/ 892 w 901"/>
                <a:gd name="T67" fmla="*/ 1 h 781"/>
                <a:gd name="T68" fmla="*/ 886 w 901"/>
                <a:gd name="T69"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1" h="781">
                  <a:moveTo>
                    <a:pt x="871" y="600"/>
                  </a:moveTo>
                  <a:lnTo>
                    <a:pt x="432" y="600"/>
                  </a:lnTo>
                  <a:lnTo>
                    <a:pt x="428" y="600"/>
                  </a:lnTo>
                  <a:lnTo>
                    <a:pt x="426" y="601"/>
                  </a:lnTo>
                  <a:lnTo>
                    <a:pt x="423" y="603"/>
                  </a:lnTo>
                  <a:lnTo>
                    <a:pt x="421" y="604"/>
                  </a:lnTo>
                  <a:lnTo>
                    <a:pt x="300" y="728"/>
                  </a:lnTo>
                  <a:lnTo>
                    <a:pt x="300" y="615"/>
                  </a:lnTo>
                  <a:lnTo>
                    <a:pt x="300" y="612"/>
                  </a:lnTo>
                  <a:lnTo>
                    <a:pt x="299" y="609"/>
                  </a:lnTo>
                  <a:lnTo>
                    <a:pt x="298" y="606"/>
                  </a:lnTo>
                  <a:lnTo>
                    <a:pt x="296" y="604"/>
                  </a:lnTo>
                  <a:lnTo>
                    <a:pt x="294" y="603"/>
                  </a:lnTo>
                  <a:lnTo>
                    <a:pt x="292" y="601"/>
                  </a:lnTo>
                  <a:lnTo>
                    <a:pt x="288" y="600"/>
                  </a:lnTo>
                  <a:lnTo>
                    <a:pt x="285" y="600"/>
                  </a:lnTo>
                  <a:lnTo>
                    <a:pt x="30" y="600"/>
                  </a:lnTo>
                  <a:lnTo>
                    <a:pt x="30" y="29"/>
                  </a:lnTo>
                  <a:lnTo>
                    <a:pt x="871" y="29"/>
                  </a:lnTo>
                  <a:lnTo>
                    <a:pt x="871" y="600"/>
                  </a:lnTo>
                  <a:close/>
                  <a:moveTo>
                    <a:pt x="886" y="0"/>
                  </a:moveTo>
                  <a:lnTo>
                    <a:pt x="15" y="0"/>
                  </a:lnTo>
                  <a:lnTo>
                    <a:pt x="12" y="0"/>
                  </a:lnTo>
                  <a:lnTo>
                    <a:pt x="9" y="1"/>
                  </a:lnTo>
                  <a:lnTo>
                    <a:pt x="7" y="2"/>
                  </a:lnTo>
                  <a:lnTo>
                    <a:pt x="5" y="4"/>
                  </a:lnTo>
                  <a:lnTo>
                    <a:pt x="3" y="6"/>
                  </a:lnTo>
                  <a:lnTo>
                    <a:pt x="2" y="8"/>
                  </a:lnTo>
                  <a:lnTo>
                    <a:pt x="0" y="11"/>
                  </a:lnTo>
                  <a:lnTo>
                    <a:pt x="0" y="14"/>
                  </a:lnTo>
                  <a:lnTo>
                    <a:pt x="0" y="615"/>
                  </a:lnTo>
                  <a:lnTo>
                    <a:pt x="0" y="618"/>
                  </a:lnTo>
                  <a:lnTo>
                    <a:pt x="2" y="621"/>
                  </a:lnTo>
                  <a:lnTo>
                    <a:pt x="3" y="623"/>
                  </a:lnTo>
                  <a:lnTo>
                    <a:pt x="5" y="626"/>
                  </a:lnTo>
                  <a:lnTo>
                    <a:pt x="7" y="628"/>
                  </a:lnTo>
                  <a:lnTo>
                    <a:pt x="9" y="629"/>
                  </a:lnTo>
                  <a:lnTo>
                    <a:pt x="12" y="630"/>
                  </a:lnTo>
                  <a:lnTo>
                    <a:pt x="15" y="630"/>
                  </a:lnTo>
                  <a:lnTo>
                    <a:pt x="270" y="630"/>
                  </a:lnTo>
                  <a:lnTo>
                    <a:pt x="270" y="765"/>
                  </a:lnTo>
                  <a:lnTo>
                    <a:pt x="271" y="770"/>
                  </a:lnTo>
                  <a:lnTo>
                    <a:pt x="273" y="773"/>
                  </a:lnTo>
                  <a:lnTo>
                    <a:pt x="277" y="776"/>
                  </a:lnTo>
                  <a:lnTo>
                    <a:pt x="280" y="779"/>
                  </a:lnTo>
                  <a:lnTo>
                    <a:pt x="283" y="780"/>
                  </a:lnTo>
                  <a:lnTo>
                    <a:pt x="285" y="781"/>
                  </a:lnTo>
                  <a:lnTo>
                    <a:pt x="288" y="780"/>
                  </a:lnTo>
                  <a:lnTo>
                    <a:pt x="292" y="779"/>
                  </a:lnTo>
                  <a:lnTo>
                    <a:pt x="294" y="777"/>
                  </a:lnTo>
                  <a:lnTo>
                    <a:pt x="296" y="775"/>
                  </a:lnTo>
                  <a:lnTo>
                    <a:pt x="438" y="630"/>
                  </a:lnTo>
                  <a:lnTo>
                    <a:pt x="886" y="630"/>
                  </a:lnTo>
                  <a:lnTo>
                    <a:pt x="890" y="630"/>
                  </a:lnTo>
                  <a:lnTo>
                    <a:pt x="892" y="629"/>
                  </a:lnTo>
                  <a:lnTo>
                    <a:pt x="895" y="628"/>
                  </a:lnTo>
                  <a:lnTo>
                    <a:pt x="897" y="626"/>
                  </a:lnTo>
                  <a:lnTo>
                    <a:pt x="898" y="623"/>
                  </a:lnTo>
                  <a:lnTo>
                    <a:pt x="900" y="621"/>
                  </a:lnTo>
                  <a:lnTo>
                    <a:pt x="901" y="618"/>
                  </a:lnTo>
                  <a:lnTo>
                    <a:pt x="901" y="615"/>
                  </a:lnTo>
                  <a:lnTo>
                    <a:pt x="901" y="14"/>
                  </a:lnTo>
                  <a:lnTo>
                    <a:pt x="901" y="11"/>
                  </a:lnTo>
                  <a:lnTo>
                    <a:pt x="900" y="8"/>
                  </a:lnTo>
                  <a:lnTo>
                    <a:pt x="898" y="6"/>
                  </a:lnTo>
                  <a:lnTo>
                    <a:pt x="897" y="4"/>
                  </a:lnTo>
                  <a:lnTo>
                    <a:pt x="895" y="2"/>
                  </a:lnTo>
                  <a:lnTo>
                    <a:pt x="892" y="1"/>
                  </a:lnTo>
                  <a:lnTo>
                    <a:pt x="890" y="0"/>
                  </a:lnTo>
                  <a:lnTo>
                    <a:pt x="886"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13" name="Freeform 203">
              <a:extLst>
                <a:ext uri="{FF2B5EF4-FFF2-40B4-BE49-F238E27FC236}">
                  <a16:creationId xmlns:a16="http://schemas.microsoft.com/office/drawing/2014/main" id="{1F13FEFC-DA02-4914-B5E5-EDB83D0F6A74}"/>
                </a:ext>
              </a:extLst>
            </p:cNvPr>
            <p:cNvSpPr>
              <a:spLocks/>
            </p:cNvSpPr>
            <p:nvPr/>
          </p:nvSpPr>
          <p:spPr bwMode="auto">
            <a:xfrm>
              <a:off x="3308350" y="2006601"/>
              <a:ext cx="9525" cy="80963"/>
            </a:xfrm>
            <a:custGeom>
              <a:avLst/>
              <a:gdLst>
                <a:gd name="T0" fmla="*/ 15 w 30"/>
                <a:gd name="T1" fmla="*/ 256 h 256"/>
                <a:gd name="T2" fmla="*/ 18 w 30"/>
                <a:gd name="T3" fmla="*/ 255 h 256"/>
                <a:gd name="T4" fmla="*/ 20 w 30"/>
                <a:gd name="T5" fmla="*/ 254 h 256"/>
                <a:gd name="T6" fmla="*/ 24 w 30"/>
                <a:gd name="T7" fmla="*/ 253 h 256"/>
                <a:gd name="T8" fmla="*/ 26 w 30"/>
                <a:gd name="T9" fmla="*/ 251 h 256"/>
                <a:gd name="T10" fmla="*/ 27 w 30"/>
                <a:gd name="T11" fmla="*/ 249 h 256"/>
                <a:gd name="T12" fmla="*/ 29 w 30"/>
                <a:gd name="T13" fmla="*/ 246 h 256"/>
                <a:gd name="T14" fmla="*/ 29 w 30"/>
                <a:gd name="T15" fmla="*/ 243 h 256"/>
                <a:gd name="T16" fmla="*/ 30 w 30"/>
                <a:gd name="T17" fmla="*/ 241 h 256"/>
                <a:gd name="T18" fmla="*/ 30 w 30"/>
                <a:gd name="T19" fmla="*/ 15 h 256"/>
                <a:gd name="T20" fmla="*/ 30 w 30"/>
                <a:gd name="T21" fmla="*/ 12 h 256"/>
                <a:gd name="T22" fmla="*/ 29 w 30"/>
                <a:gd name="T23" fmla="*/ 10 h 256"/>
                <a:gd name="T24" fmla="*/ 27 w 30"/>
                <a:gd name="T25" fmla="*/ 7 h 256"/>
                <a:gd name="T26" fmla="*/ 26 w 30"/>
                <a:gd name="T27" fmla="*/ 5 h 256"/>
                <a:gd name="T28" fmla="*/ 24 w 30"/>
                <a:gd name="T29" fmla="*/ 3 h 256"/>
                <a:gd name="T30" fmla="*/ 20 w 30"/>
                <a:gd name="T31" fmla="*/ 1 h 256"/>
                <a:gd name="T32" fmla="*/ 18 w 30"/>
                <a:gd name="T33" fmla="*/ 0 h 256"/>
                <a:gd name="T34" fmla="*/ 15 w 30"/>
                <a:gd name="T35" fmla="*/ 0 h 256"/>
                <a:gd name="T36" fmla="*/ 12 w 30"/>
                <a:gd name="T37" fmla="*/ 0 h 256"/>
                <a:gd name="T38" fmla="*/ 9 w 30"/>
                <a:gd name="T39" fmla="*/ 1 h 256"/>
                <a:gd name="T40" fmla="*/ 6 w 30"/>
                <a:gd name="T41" fmla="*/ 3 h 256"/>
                <a:gd name="T42" fmla="*/ 4 w 30"/>
                <a:gd name="T43" fmla="*/ 5 h 256"/>
                <a:gd name="T44" fmla="*/ 2 w 30"/>
                <a:gd name="T45" fmla="*/ 7 h 256"/>
                <a:gd name="T46" fmla="*/ 1 w 30"/>
                <a:gd name="T47" fmla="*/ 10 h 256"/>
                <a:gd name="T48" fmla="*/ 0 w 30"/>
                <a:gd name="T49" fmla="*/ 12 h 256"/>
                <a:gd name="T50" fmla="*/ 0 w 30"/>
                <a:gd name="T51" fmla="*/ 15 h 256"/>
                <a:gd name="T52" fmla="*/ 0 w 30"/>
                <a:gd name="T53" fmla="*/ 241 h 256"/>
                <a:gd name="T54" fmla="*/ 0 w 30"/>
                <a:gd name="T55" fmla="*/ 243 h 256"/>
                <a:gd name="T56" fmla="*/ 1 w 30"/>
                <a:gd name="T57" fmla="*/ 246 h 256"/>
                <a:gd name="T58" fmla="*/ 2 w 30"/>
                <a:gd name="T59" fmla="*/ 249 h 256"/>
                <a:gd name="T60" fmla="*/ 4 w 30"/>
                <a:gd name="T61" fmla="*/ 251 h 256"/>
                <a:gd name="T62" fmla="*/ 6 w 30"/>
                <a:gd name="T63" fmla="*/ 253 h 256"/>
                <a:gd name="T64" fmla="*/ 9 w 30"/>
                <a:gd name="T65" fmla="*/ 255 h 256"/>
                <a:gd name="T66" fmla="*/ 12 w 30"/>
                <a:gd name="T67" fmla="*/ 255 h 256"/>
                <a:gd name="T68" fmla="*/ 15 w 30"/>
                <a:gd name="T69" fmla="*/ 256 h 256"/>
                <a:gd name="T70" fmla="*/ 15 w 30"/>
                <a:gd name="T7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56">
                  <a:moveTo>
                    <a:pt x="15" y="256"/>
                  </a:moveTo>
                  <a:lnTo>
                    <a:pt x="18" y="255"/>
                  </a:lnTo>
                  <a:lnTo>
                    <a:pt x="20" y="254"/>
                  </a:lnTo>
                  <a:lnTo>
                    <a:pt x="24" y="253"/>
                  </a:lnTo>
                  <a:lnTo>
                    <a:pt x="26" y="251"/>
                  </a:lnTo>
                  <a:lnTo>
                    <a:pt x="27" y="249"/>
                  </a:lnTo>
                  <a:lnTo>
                    <a:pt x="29" y="246"/>
                  </a:lnTo>
                  <a:lnTo>
                    <a:pt x="29" y="243"/>
                  </a:lnTo>
                  <a:lnTo>
                    <a:pt x="30" y="241"/>
                  </a:lnTo>
                  <a:lnTo>
                    <a:pt x="30" y="15"/>
                  </a:lnTo>
                  <a:lnTo>
                    <a:pt x="30" y="12"/>
                  </a:lnTo>
                  <a:lnTo>
                    <a:pt x="29" y="10"/>
                  </a:lnTo>
                  <a:lnTo>
                    <a:pt x="27" y="7"/>
                  </a:lnTo>
                  <a:lnTo>
                    <a:pt x="26" y="5"/>
                  </a:lnTo>
                  <a:lnTo>
                    <a:pt x="24" y="3"/>
                  </a:lnTo>
                  <a:lnTo>
                    <a:pt x="20" y="1"/>
                  </a:lnTo>
                  <a:lnTo>
                    <a:pt x="18" y="0"/>
                  </a:lnTo>
                  <a:lnTo>
                    <a:pt x="15" y="0"/>
                  </a:lnTo>
                  <a:lnTo>
                    <a:pt x="12" y="0"/>
                  </a:lnTo>
                  <a:lnTo>
                    <a:pt x="9" y="1"/>
                  </a:lnTo>
                  <a:lnTo>
                    <a:pt x="6" y="3"/>
                  </a:lnTo>
                  <a:lnTo>
                    <a:pt x="4" y="5"/>
                  </a:lnTo>
                  <a:lnTo>
                    <a:pt x="2" y="7"/>
                  </a:lnTo>
                  <a:lnTo>
                    <a:pt x="1" y="10"/>
                  </a:lnTo>
                  <a:lnTo>
                    <a:pt x="0" y="12"/>
                  </a:lnTo>
                  <a:lnTo>
                    <a:pt x="0" y="15"/>
                  </a:lnTo>
                  <a:lnTo>
                    <a:pt x="0" y="241"/>
                  </a:lnTo>
                  <a:lnTo>
                    <a:pt x="0" y="243"/>
                  </a:lnTo>
                  <a:lnTo>
                    <a:pt x="1" y="246"/>
                  </a:lnTo>
                  <a:lnTo>
                    <a:pt x="2" y="249"/>
                  </a:lnTo>
                  <a:lnTo>
                    <a:pt x="4" y="251"/>
                  </a:lnTo>
                  <a:lnTo>
                    <a:pt x="6" y="253"/>
                  </a:lnTo>
                  <a:lnTo>
                    <a:pt x="9" y="255"/>
                  </a:lnTo>
                  <a:lnTo>
                    <a:pt x="12" y="255"/>
                  </a:lnTo>
                  <a:lnTo>
                    <a:pt x="15" y="256"/>
                  </a:lnTo>
                  <a:lnTo>
                    <a:pt x="15"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14" name="Freeform 204">
              <a:extLst>
                <a:ext uri="{FF2B5EF4-FFF2-40B4-BE49-F238E27FC236}">
                  <a16:creationId xmlns:a16="http://schemas.microsoft.com/office/drawing/2014/main" id="{D95C32CD-FF96-4BF1-8393-544F8B44872D}"/>
                </a:ext>
              </a:extLst>
            </p:cNvPr>
            <p:cNvSpPr>
              <a:spLocks/>
            </p:cNvSpPr>
            <p:nvPr/>
          </p:nvSpPr>
          <p:spPr bwMode="auto">
            <a:xfrm>
              <a:off x="3303588" y="2097088"/>
              <a:ext cx="19050" cy="19050"/>
            </a:xfrm>
            <a:custGeom>
              <a:avLst/>
              <a:gdLst>
                <a:gd name="T0" fmla="*/ 30 w 60"/>
                <a:gd name="T1" fmla="*/ 60 h 60"/>
                <a:gd name="T2" fmla="*/ 35 w 60"/>
                <a:gd name="T3" fmla="*/ 59 h 60"/>
                <a:gd name="T4" fmla="*/ 42 w 60"/>
                <a:gd name="T5" fmla="*/ 58 h 60"/>
                <a:gd name="T6" fmla="*/ 46 w 60"/>
                <a:gd name="T7" fmla="*/ 55 h 60"/>
                <a:gd name="T8" fmla="*/ 51 w 60"/>
                <a:gd name="T9" fmla="*/ 51 h 60"/>
                <a:gd name="T10" fmla="*/ 55 w 60"/>
                <a:gd name="T11" fmla="*/ 46 h 60"/>
                <a:gd name="T12" fmla="*/ 58 w 60"/>
                <a:gd name="T13" fmla="*/ 42 h 60"/>
                <a:gd name="T14" fmla="*/ 59 w 60"/>
                <a:gd name="T15" fmla="*/ 35 h 60"/>
                <a:gd name="T16" fmla="*/ 60 w 60"/>
                <a:gd name="T17" fmla="*/ 30 h 60"/>
                <a:gd name="T18" fmla="*/ 59 w 60"/>
                <a:gd name="T19" fmla="*/ 24 h 60"/>
                <a:gd name="T20" fmla="*/ 58 w 60"/>
                <a:gd name="T21" fmla="*/ 18 h 60"/>
                <a:gd name="T22" fmla="*/ 55 w 60"/>
                <a:gd name="T23" fmla="*/ 13 h 60"/>
                <a:gd name="T24" fmla="*/ 51 w 60"/>
                <a:gd name="T25" fmla="*/ 9 h 60"/>
                <a:gd name="T26" fmla="*/ 46 w 60"/>
                <a:gd name="T27" fmla="*/ 4 h 60"/>
                <a:gd name="T28" fmla="*/ 42 w 60"/>
                <a:gd name="T29" fmla="*/ 2 h 60"/>
                <a:gd name="T30" fmla="*/ 35 w 60"/>
                <a:gd name="T31" fmla="*/ 0 h 60"/>
                <a:gd name="T32" fmla="*/ 30 w 60"/>
                <a:gd name="T33" fmla="*/ 0 h 60"/>
                <a:gd name="T34" fmla="*/ 24 w 60"/>
                <a:gd name="T35" fmla="*/ 0 h 60"/>
                <a:gd name="T36" fmla="*/ 18 w 60"/>
                <a:gd name="T37" fmla="*/ 2 h 60"/>
                <a:gd name="T38" fmla="*/ 13 w 60"/>
                <a:gd name="T39" fmla="*/ 4 h 60"/>
                <a:gd name="T40" fmla="*/ 9 w 60"/>
                <a:gd name="T41" fmla="*/ 9 h 60"/>
                <a:gd name="T42" fmla="*/ 4 w 60"/>
                <a:gd name="T43" fmla="*/ 13 h 60"/>
                <a:gd name="T44" fmla="*/ 2 w 60"/>
                <a:gd name="T45" fmla="*/ 18 h 60"/>
                <a:gd name="T46" fmla="*/ 0 w 60"/>
                <a:gd name="T47" fmla="*/ 24 h 60"/>
                <a:gd name="T48" fmla="*/ 0 w 60"/>
                <a:gd name="T49" fmla="*/ 30 h 60"/>
                <a:gd name="T50" fmla="*/ 0 w 60"/>
                <a:gd name="T51" fmla="*/ 35 h 60"/>
                <a:gd name="T52" fmla="*/ 2 w 60"/>
                <a:gd name="T53" fmla="*/ 42 h 60"/>
                <a:gd name="T54" fmla="*/ 4 w 60"/>
                <a:gd name="T55" fmla="*/ 46 h 60"/>
                <a:gd name="T56" fmla="*/ 9 w 60"/>
                <a:gd name="T57" fmla="*/ 51 h 60"/>
                <a:gd name="T58" fmla="*/ 13 w 60"/>
                <a:gd name="T59" fmla="*/ 55 h 60"/>
                <a:gd name="T60" fmla="*/ 18 w 60"/>
                <a:gd name="T61" fmla="*/ 58 h 60"/>
                <a:gd name="T62" fmla="*/ 24 w 60"/>
                <a:gd name="T63" fmla="*/ 59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5" y="59"/>
                  </a:lnTo>
                  <a:lnTo>
                    <a:pt x="42" y="58"/>
                  </a:lnTo>
                  <a:lnTo>
                    <a:pt x="46" y="55"/>
                  </a:lnTo>
                  <a:lnTo>
                    <a:pt x="51" y="51"/>
                  </a:lnTo>
                  <a:lnTo>
                    <a:pt x="55" y="46"/>
                  </a:lnTo>
                  <a:lnTo>
                    <a:pt x="58" y="42"/>
                  </a:lnTo>
                  <a:lnTo>
                    <a:pt x="59" y="35"/>
                  </a:lnTo>
                  <a:lnTo>
                    <a:pt x="60" y="30"/>
                  </a:lnTo>
                  <a:lnTo>
                    <a:pt x="59" y="24"/>
                  </a:lnTo>
                  <a:lnTo>
                    <a:pt x="58" y="18"/>
                  </a:lnTo>
                  <a:lnTo>
                    <a:pt x="55" y="13"/>
                  </a:lnTo>
                  <a:lnTo>
                    <a:pt x="51" y="9"/>
                  </a:lnTo>
                  <a:lnTo>
                    <a:pt x="46" y="4"/>
                  </a:lnTo>
                  <a:lnTo>
                    <a:pt x="42" y="2"/>
                  </a:lnTo>
                  <a:lnTo>
                    <a:pt x="35" y="0"/>
                  </a:lnTo>
                  <a:lnTo>
                    <a:pt x="30" y="0"/>
                  </a:lnTo>
                  <a:lnTo>
                    <a:pt x="24" y="0"/>
                  </a:lnTo>
                  <a:lnTo>
                    <a:pt x="18" y="2"/>
                  </a:lnTo>
                  <a:lnTo>
                    <a:pt x="13" y="4"/>
                  </a:lnTo>
                  <a:lnTo>
                    <a:pt x="9" y="9"/>
                  </a:lnTo>
                  <a:lnTo>
                    <a:pt x="4" y="13"/>
                  </a:lnTo>
                  <a:lnTo>
                    <a:pt x="2" y="18"/>
                  </a:lnTo>
                  <a:lnTo>
                    <a:pt x="0" y="24"/>
                  </a:lnTo>
                  <a:lnTo>
                    <a:pt x="0" y="30"/>
                  </a:lnTo>
                  <a:lnTo>
                    <a:pt x="0" y="35"/>
                  </a:lnTo>
                  <a:lnTo>
                    <a:pt x="2" y="42"/>
                  </a:lnTo>
                  <a:lnTo>
                    <a:pt x="4" y="46"/>
                  </a:lnTo>
                  <a:lnTo>
                    <a:pt x="9" y="51"/>
                  </a:lnTo>
                  <a:lnTo>
                    <a:pt x="13" y="55"/>
                  </a:lnTo>
                  <a:lnTo>
                    <a:pt x="18" y="58"/>
                  </a:lnTo>
                  <a:lnTo>
                    <a:pt x="24" y="59"/>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170" name="Freeform 45">
            <a:extLst>
              <a:ext uri="{FF2B5EF4-FFF2-40B4-BE49-F238E27FC236}">
                <a16:creationId xmlns:a16="http://schemas.microsoft.com/office/drawing/2014/main" id="{A2314723-C7E3-4A15-BD84-4DEF3D482401}"/>
              </a:ext>
            </a:extLst>
          </p:cNvPr>
          <p:cNvSpPr>
            <a:spLocks noChangeAspect="1" noEditPoints="1"/>
          </p:cNvSpPr>
          <p:nvPr/>
        </p:nvSpPr>
        <p:spPr bwMode="auto">
          <a:xfrm>
            <a:off x="7852494" y="5956111"/>
            <a:ext cx="334174" cy="285619"/>
          </a:xfrm>
          <a:custGeom>
            <a:avLst/>
            <a:gdLst>
              <a:gd name="T0" fmla="*/ 30 w 96"/>
              <a:gd name="T1" fmla="*/ 82 h 82"/>
              <a:gd name="T2" fmla="*/ 29 w 96"/>
              <a:gd name="T3" fmla="*/ 81 h 82"/>
              <a:gd name="T4" fmla="*/ 1 w 96"/>
              <a:gd name="T5" fmla="*/ 53 h 82"/>
              <a:gd name="T6" fmla="*/ 1 w 96"/>
              <a:gd name="T7" fmla="*/ 51 h 82"/>
              <a:gd name="T8" fmla="*/ 15 w 96"/>
              <a:gd name="T9" fmla="*/ 37 h 82"/>
              <a:gd name="T10" fmla="*/ 17 w 96"/>
              <a:gd name="T11" fmla="*/ 37 h 82"/>
              <a:gd name="T12" fmla="*/ 30 w 96"/>
              <a:gd name="T13" fmla="*/ 49 h 82"/>
              <a:gd name="T14" fmla="*/ 79 w 96"/>
              <a:gd name="T15" fmla="*/ 1 h 82"/>
              <a:gd name="T16" fmla="*/ 81 w 96"/>
              <a:gd name="T17" fmla="*/ 1 h 82"/>
              <a:gd name="T18" fmla="*/ 95 w 96"/>
              <a:gd name="T19" fmla="*/ 15 h 82"/>
              <a:gd name="T20" fmla="*/ 95 w 96"/>
              <a:gd name="T21" fmla="*/ 17 h 82"/>
              <a:gd name="T22" fmla="*/ 31 w 96"/>
              <a:gd name="T23" fmla="*/ 81 h 82"/>
              <a:gd name="T24" fmla="*/ 30 w 96"/>
              <a:gd name="T25" fmla="*/ 82 h 82"/>
              <a:gd name="T26" fmla="*/ 5 w 96"/>
              <a:gd name="T27" fmla="*/ 52 h 82"/>
              <a:gd name="T28" fmla="*/ 30 w 96"/>
              <a:gd name="T29" fmla="*/ 77 h 82"/>
              <a:gd name="T30" fmla="*/ 91 w 96"/>
              <a:gd name="T31" fmla="*/ 16 h 82"/>
              <a:gd name="T32" fmla="*/ 80 w 96"/>
              <a:gd name="T33" fmla="*/ 5 h 82"/>
              <a:gd name="T34" fmla="*/ 31 w 96"/>
              <a:gd name="T35" fmla="*/ 53 h 82"/>
              <a:gd name="T36" fmla="*/ 29 w 96"/>
              <a:gd name="T37" fmla="*/ 53 h 82"/>
              <a:gd name="T38" fmla="*/ 16 w 96"/>
              <a:gd name="T39" fmla="*/ 41 h 82"/>
              <a:gd name="T40" fmla="*/ 5 w 96"/>
              <a:gd name="T41" fmla="*/ 5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82">
                <a:moveTo>
                  <a:pt x="30" y="82"/>
                </a:moveTo>
                <a:cubicBezTo>
                  <a:pt x="29" y="82"/>
                  <a:pt x="29" y="82"/>
                  <a:pt x="29" y="81"/>
                </a:cubicBezTo>
                <a:cubicBezTo>
                  <a:pt x="1" y="53"/>
                  <a:pt x="1" y="53"/>
                  <a:pt x="1" y="53"/>
                </a:cubicBezTo>
                <a:cubicBezTo>
                  <a:pt x="0" y="53"/>
                  <a:pt x="0" y="51"/>
                  <a:pt x="1" y="51"/>
                </a:cubicBezTo>
                <a:cubicBezTo>
                  <a:pt x="15" y="37"/>
                  <a:pt x="15" y="37"/>
                  <a:pt x="15" y="37"/>
                </a:cubicBezTo>
                <a:cubicBezTo>
                  <a:pt x="15" y="36"/>
                  <a:pt x="17" y="36"/>
                  <a:pt x="17" y="37"/>
                </a:cubicBezTo>
                <a:cubicBezTo>
                  <a:pt x="30" y="49"/>
                  <a:pt x="30" y="49"/>
                  <a:pt x="30" y="49"/>
                </a:cubicBezTo>
                <a:cubicBezTo>
                  <a:pt x="79" y="1"/>
                  <a:pt x="79" y="1"/>
                  <a:pt x="79" y="1"/>
                </a:cubicBezTo>
                <a:cubicBezTo>
                  <a:pt x="79" y="0"/>
                  <a:pt x="81" y="0"/>
                  <a:pt x="81" y="1"/>
                </a:cubicBezTo>
                <a:cubicBezTo>
                  <a:pt x="95" y="15"/>
                  <a:pt x="95" y="15"/>
                  <a:pt x="95" y="15"/>
                </a:cubicBezTo>
                <a:cubicBezTo>
                  <a:pt x="96" y="15"/>
                  <a:pt x="96" y="17"/>
                  <a:pt x="95" y="17"/>
                </a:cubicBezTo>
                <a:cubicBezTo>
                  <a:pt x="31" y="81"/>
                  <a:pt x="31" y="81"/>
                  <a:pt x="31" y="81"/>
                </a:cubicBezTo>
                <a:cubicBezTo>
                  <a:pt x="31" y="82"/>
                  <a:pt x="31" y="82"/>
                  <a:pt x="30" y="82"/>
                </a:cubicBezTo>
                <a:close/>
                <a:moveTo>
                  <a:pt x="5" y="52"/>
                </a:moveTo>
                <a:cubicBezTo>
                  <a:pt x="30" y="77"/>
                  <a:pt x="30" y="77"/>
                  <a:pt x="30" y="77"/>
                </a:cubicBezTo>
                <a:cubicBezTo>
                  <a:pt x="91" y="16"/>
                  <a:pt x="91" y="16"/>
                  <a:pt x="91" y="16"/>
                </a:cubicBezTo>
                <a:cubicBezTo>
                  <a:pt x="80" y="5"/>
                  <a:pt x="80" y="5"/>
                  <a:pt x="80" y="5"/>
                </a:cubicBezTo>
                <a:cubicBezTo>
                  <a:pt x="31" y="53"/>
                  <a:pt x="31" y="53"/>
                  <a:pt x="31" y="53"/>
                </a:cubicBezTo>
                <a:cubicBezTo>
                  <a:pt x="31" y="54"/>
                  <a:pt x="29" y="54"/>
                  <a:pt x="29" y="53"/>
                </a:cubicBezTo>
                <a:cubicBezTo>
                  <a:pt x="16" y="41"/>
                  <a:pt x="16" y="41"/>
                  <a:pt x="16" y="41"/>
                </a:cubicBezTo>
                <a:lnTo>
                  <a:pt x="5"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974" name="Group 5126">
            <a:extLst>
              <a:ext uri="{FF2B5EF4-FFF2-40B4-BE49-F238E27FC236}">
                <a16:creationId xmlns:a16="http://schemas.microsoft.com/office/drawing/2014/main" id="{DA829463-D4B2-4B72-9C18-5A9A618BD07C}"/>
              </a:ext>
            </a:extLst>
          </p:cNvPr>
          <p:cNvGrpSpPr>
            <a:grpSpLocks noChangeAspect="1"/>
          </p:cNvGrpSpPr>
          <p:nvPr/>
        </p:nvGrpSpPr>
        <p:grpSpPr>
          <a:xfrm>
            <a:off x="8721481" y="5417577"/>
            <a:ext cx="285619" cy="285619"/>
            <a:chOff x="-384175" y="5110163"/>
            <a:chExt cx="371475" cy="371475"/>
          </a:xfrm>
          <a:solidFill>
            <a:schemeClr val="bg1"/>
          </a:solidFill>
        </p:grpSpPr>
        <p:sp>
          <p:nvSpPr>
            <p:cNvPr id="975" name="Freeform 36">
              <a:extLst>
                <a:ext uri="{FF2B5EF4-FFF2-40B4-BE49-F238E27FC236}">
                  <a16:creationId xmlns:a16="http://schemas.microsoft.com/office/drawing/2014/main" id="{8472F5A2-E52D-4CE8-A5D2-B9280E7CCAB8}"/>
                </a:ext>
              </a:extLst>
            </p:cNvPr>
            <p:cNvSpPr>
              <a:spLocks noEditPoints="1"/>
            </p:cNvSpPr>
            <p:nvPr/>
          </p:nvSpPr>
          <p:spPr bwMode="auto">
            <a:xfrm>
              <a:off x="-384175" y="5357813"/>
              <a:ext cx="77788" cy="123825"/>
            </a:xfrm>
            <a:custGeom>
              <a:avLst/>
              <a:gdLst>
                <a:gd name="T0" fmla="*/ 18 w 20"/>
                <a:gd name="T1" fmla="*/ 32 h 32"/>
                <a:gd name="T2" fmla="*/ 2 w 20"/>
                <a:gd name="T3" fmla="*/ 32 h 32"/>
                <a:gd name="T4" fmla="*/ 0 w 20"/>
                <a:gd name="T5" fmla="*/ 30 h 32"/>
                <a:gd name="T6" fmla="*/ 0 w 20"/>
                <a:gd name="T7" fmla="*/ 2 h 32"/>
                <a:gd name="T8" fmla="*/ 2 w 20"/>
                <a:gd name="T9" fmla="*/ 0 h 32"/>
                <a:gd name="T10" fmla="*/ 18 w 20"/>
                <a:gd name="T11" fmla="*/ 0 h 32"/>
                <a:gd name="T12" fmla="*/ 20 w 20"/>
                <a:gd name="T13" fmla="*/ 2 h 32"/>
                <a:gd name="T14" fmla="*/ 20 w 20"/>
                <a:gd name="T15" fmla="*/ 30 h 32"/>
                <a:gd name="T16" fmla="*/ 18 w 20"/>
                <a:gd name="T17" fmla="*/ 32 h 32"/>
                <a:gd name="T18" fmla="*/ 4 w 20"/>
                <a:gd name="T19" fmla="*/ 28 h 32"/>
                <a:gd name="T20" fmla="*/ 16 w 20"/>
                <a:gd name="T21" fmla="*/ 28 h 32"/>
                <a:gd name="T22" fmla="*/ 16 w 20"/>
                <a:gd name="T23" fmla="*/ 4 h 32"/>
                <a:gd name="T24" fmla="*/ 4 w 20"/>
                <a:gd name="T25" fmla="*/ 4 h 32"/>
                <a:gd name="T26" fmla="*/ 4 w 20"/>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2">
                  <a:moveTo>
                    <a:pt x="18" y="32"/>
                  </a:moveTo>
                  <a:cubicBezTo>
                    <a:pt x="2" y="32"/>
                    <a:pt x="2" y="32"/>
                    <a:pt x="2" y="32"/>
                  </a:cubicBezTo>
                  <a:cubicBezTo>
                    <a:pt x="1" y="32"/>
                    <a:pt x="0" y="31"/>
                    <a:pt x="0" y="30"/>
                  </a:cubicBezTo>
                  <a:cubicBezTo>
                    <a:pt x="0" y="2"/>
                    <a:pt x="0" y="2"/>
                    <a:pt x="0" y="2"/>
                  </a:cubicBezTo>
                  <a:cubicBezTo>
                    <a:pt x="0" y="1"/>
                    <a:pt x="1" y="0"/>
                    <a:pt x="2" y="0"/>
                  </a:cubicBezTo>
                  <a:cubicBezTo>
                    <a:pt x="18" y="0"/>
                    <a:pt x="18" y="0"/>
                    <a:pt x="18" y="0"/>
                  </a:cubicBezTo>
                  <a:cubicBezTo>
                    <a:pt x="19" y="0"/>
                    <a:pt x="20" y="1"/>
                    <a:pt x="20" y="2"/>
                  </a:cubicBezTo>
                  <a:cubicBezTo>
                    <a:pt x="20" y="30"/>
                    <a:pt x="20" y="30"/>
                    <a:pt x="20" y="30"/>
                  </a:cubicBezTo>
                  <a:cubicBezTo>
                    <a:pt x="20" y="31"/>
                    <a:pt x="19" y="32"/>
                    <a:pt x="18" y="32"/>
                  </a:cubicBezTo>
                  <a:close/>
                  <a:moveTo>
                    <a:pt x="4" y="28"/>
                  </a:moveTo>
                  <a:cubicBezTo>
                    <a:pt x="16" y="28"/>
                    <a:pt x="16" y="28"/>
                    <a:pt x="16" y="28"/>
                  </a:cubicBezTo>
                  <a:cubicBezTo>
                    <a:pt x="16" y="4"/>
                    <a:pt x="16" y="4"/>
                    <a:pt x="16"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6" name="Freeform 37">
              <a:extLst>
                <a:ext uri="{FF2B5EF4-FFF2-40B4-BE49-F238E27FC236}">
                  <a16:creationId xmlns:a16="http://schemas.microsoft.com/office/drawing/2014/main" id="{1D210DEA-9F4B-4404-B738-B34B695E75F0}"/>
                </a:ext>
              </a:extLst>
            </p:cNvPr>
            <p:cNvSpPr>
              <a:spLocks/>
            </p:cNvSpPr>
            <p:nvPr/>
          </p:nvSpPr>
          <p:spPr bwMode="auto">
            <a:xfrm>
              <a:off x="-322263" y="5403851"/>
              <a:ext cx="279400" cy="61913"/>
            </a:xfrm>
            <a:custGeom>
              <a:avLst/>
              <a:gdLst>
                <a:gd name="T0" fmla="*/ 70 w 72"/>
                <a:gd name="T1" fmla="*/ 16 h 16"/>
                <a:gd name="T2" fmla="*/ 2 w 72"/>
                <a:gd name="T3" fmla="*/ 16 h 16"/>
                <a:gd name="T4" fmla="*/ 0 w 72"/>
                <a:gd name="T5" fmla="*/ 14 h 16"/>
                <a:gd name="T6" fmla="*/ 2 w 72"/>
                <a:gd name="T7" fmla="*/ 12 h 16"/>
                <a:gd name="T8" fmla="*/ 67 w 72"/>
                <a:gd name="T9" fmla="*/ 12 h 16"/>
                <a:gd name="T10" fmla="*/ 40 w 72"/>
                <a:gd name="T11" fmla="*/ 4 h 16"/>
                <a:gd name="T12" fmla="*/ 12 w 72"/>
                <a:gd name="T13" fmla="*/ 4 h 16"/>
                <a:gd name="T14" fmla="*/ 10 w 72"/>
                <a:gd name="T15" fmla="*/ 2 h 16"/>
                <a:gd name="T16" fmla="*/ 12 w 72"/>
                <a:gd name="T17" fmla="*/ 0 h 16"/>
                <a:gd name="T18" fmla="*/ 40 w 72"/>
                <a:gd name="T19" fmla="*/ 0 h 16"/>
                <a:gd name="T20" fmla="*/ 72 w 72"/>
                <a:gd name="T21" fmla="*/ 14 h 16"/>
                <a:gd name="T22" fmla="*/ 70 w 72"/>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6">
                  <a:moveTo>
                    <a:pt x="70" y="16"/>
                  </a:moveTo>
                  <a:cubicBezTo>
                    <a:pt x="2" y="16"/>
                    <a:pt x="2" y="16"/>
                    <a:pt x="2" y="16"/>
                  </a:cubicBezTo>
                  <a:cubicBezTo>
                    <a:pt x="1" y="16"/>
                    <a:pt x="0" y="15"/>
                    <a:pt x="0" y="14"/>
                  </a:cubicBezTo>
                  <a:cubicBezTo>
                    <a:pt x="0" y="13"/>
                    <a:pt x="1" y="12"/>
                    <a:pt x="2" y="12"/>
                  </a:cubicBezTo>
                  <a:cubicBezTo>
                    <a:pt x="67" y="12"/>
                    <a:pt x="67" y="12"/>
                    <a:pt x="67" y="12"/>
                  </a:cubicBezTo>
                  <a:cubicBezTo>
                    <a:pt x="64" y="8"/>
                    <a:pt x="53" y="4"/>
                    <a:pt x="40" y="4"/>
                  </a:cubicBezTo>
                  <a:cubicBezTo>
                    <a:pt x="12" y="4"/>
                    <a:pt x="12" y="4"/>
                    <a:pt x="12" y="4"/>
                  </a:cubicBezTo>
                  <a:cubicBezTo>
                    <a:pt x="11" y="4"/>
                    <a:pt x="10" y="3"/>
                    <a:pt x="10" y="2"/>
                  </a:cubicBezTo>
                  <a:cubicBezTo>
                    <a:pt x="10" y="1"/>
                    <a:pt x="11" y="0"/>
                    <a:pt x="12" y="0"/>
                  </a:cubicBezTo>
                  <a:cubicBezTo>
                    <a:pt x="40" y="0"/>
                    <a:pt x="40" y="0"/>
                    <a:pt x="40" y="0"/>
                  </a:cubicBezTo>
                  <a:cubicBezTo>
                    <a:pt x="55" y="0"/>
                    <a:pt x="72" y="6"/>
                    <a:pt x="72" y="14"/>
                  </a:cubicBezTo>
                  <a:cubicBezTo>
                    <a:pt x="72" y="15"/>
                    <a:pt x="71" y="16"/>
                    <a:pt x="7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7" name="Freeform 38">
              <a:extLst>
                <a:ext uri="{FF2B5EF4-FFF2-40B4-BE49-F238E27FC236}">
                  <a16:creationId xmlns:a16="http://schemas.microsoft.com/office/drawing/2014/main" id="{EFF2ACDA-0F63-46C7-90C0-5335354E88F3}"/>
                </a:ext>
              </a:extLst>
            </p:cNvPr>
            <p:cNvSpPr>
              <a:spLocks/>
            </p:cNvSpPr>
            <p:nvPr/>
          </p:nvSpPr>
          <p:spPr bwMode="auto">
            <a:xfrm>
              <a:off x="-314325" y="5373688"/>
              <a:ext cx="119063" cy="42863"/>
            </a:xfrm>
            <a:custGeom>
              <a:avLst/>
              <a:gdLst>
                <a:gd name="T0" fmla="*/ 29 w 31"/>
                <a:gd name="T1" fmla="*/ 11 h 11"/>
                <a:gd name="T2" fmla="*/ 28 w 31"/>
                <a:gd name="T3" fmla="*/ 11 h 11"/>
                <a:gd name="T4" fmla="*/ 14 w 31"/>
                <a:gd name="T5" fmla="*/ 4 h 11"/>
                <a:gd name="T6" fmla="*/ 0 w 31"/>
                <a:gd name="T7" fmla="*/ 4 h 11"/>
                <a:gd name="T8" fmla="*/ 0 w 31"/>
                <a:gd name="T9" fmla="*/ 0 h 11"/>
                <a:gd name="T10" fmla="*/ 14 w 31"/>
                <a:gd name="T11" fmla="*/ 0 h 11"/>
                <a:gd name="T12" fmla="*/ 31 w 31"/>
                <a:gd name="T13" fmla="*/ 8 h 11"/>
                <a:gd name="T14" fmla="*/ 31 w 31"/>
                <a:gd name="T15" fmla="*/ 9 h 11"/>
                <a:gd name="T16" fmla="*/ 29 w 3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1">
                  <a:moveTo>
                    <a:pt x="29" y="11"/>
                  </a:moveTo>
                  <a:cubicBezTo>
                    <a:pt x="28" y="11"/>
                    <a:pt x="28" y="11"/>
                    <a:pt x="28" y="11"/>
                  </a:cubicBezTo>
                  <a:cubicBezTo>
                    <a:pt x="26" y="8"/>
                    <a:pt x="22" y="4"/>
                    <a:pt x="14" y="4"/>
                  </a:cubicBezTo>
                  <a:cubicBezTo>
                    <a:pt x="0" y="4"/>
                    <a:pt x="0" y="4"/>
                    <a:pt x="0" y="4"/>
                  </a:cubicBezTo>
                  <a:cubicBezTo>
                    <a:pt x="0" y="0"/>
                    <a:pt x="0" y="0"/>
                    <a:pt x="0" y="0"/>
                  </a:cubicBezTo>
                  <a:cubicBezTo>
                    <a:pt x="14" y="0"/>
                    <a:pt x="14" y="0"/>
                    <a:pt x="14" y="0"/>
                  </a:cubicBezTo>
                  <a:cubicBezTo>
                    <a:pt x="23" y="0"/>
                    <a:pt x="28" y="5"/>
                    <a:pt x="31" y="8"/>
                  </a:cubicBezTo>
                  <a:cubicBezTo>
                    <a:pt x="31" y="9"/>
                    <a:pt x="31" y="9"/>
                    <a:pt x="31" y="9"/>
                  </a:cubicBezTo>
                  <a:lnTo>
                    <a:pt x="2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78" name="Freeform 39">
              <a:extLst>
                <a:ext uri="{FF2B5EF4-FFF2-40B4-BE49-F238E27FC236}">
                  <a16:creationId xmlns:a16="http://schemas.microsoft.com/office/drawing/2014/main" id="{E7723D8A-E701-4253-A84F-D183921F599F}"/>
                </a:ext>
              </a:extLst>
            </p:cNvPr>
            <p:cNvSpPr>
              <a:spLocks noEditPoints="1"/>
            </p:cNvSpPr>
            <p:nvPr/>
          </p:nvSpPr>
          <p:spPr bwMode="auto">
            <a:xfrm>
              <a:off x="-244475" y="5110163"/>
              <a:ext cx="231775" cy="231775"/>
            </a:xfrm>
            <a:custGeom>
              <a:avLst/>
              <a:gdLst>
                <a:gd name="T0" fmla="*/ 48 w 60"/>
                <a:gd name="T1" fmla="*/ 60 h 60"/>
                <a:gd name="T2" fmla="*/ 47 w 60"/>
                <a:gd name="T3" fmla="*/ 60 h 60"/>
                <a:gd name="T4" fmla="*/ 30 w 60"/>
                <a:gd name="T5" fmla="*/ 47 h 60"/>
                <a:gd name="T6" fmla="*/ 13 w 60"/>
                <a:gd name="T7" fmla="*/ 60 h 60"/>
                <a:gd name="T8" fmla="*/ 11 w 60"/>
                <a:gd name="T9" fmla="*/ 60 h 60"/>
                <a:gd name="T10" fmla="*/ 10 w 60"/>
                <a:gd name="T11" fmla="*/ 57 h 60"/>
                <a:gd name="T12" fmla="*/ 16 w 60"/>
                <a:gd name="T13" fmla="*/ 37 h 60"/>
                <a:gd name="T14" fmla="*/ 1 w 60"/>
                <a:gd name="T15" fmla="*/ 24 h 60"/>
                <a:gd name="T16" fmla="*/ 0 w 60"/>
                <a:gd name="T17" fmla="*/ 21 h 60"/>
                <a:gd name="T18" fmla="*/ 2 w 60"/>
                <a:gd name="T19" fmla="*/ 20 h 60"/>
                <a:gd name="T20" fmla="*/ 21 w 60"/>
                <a:gd name="T21" fmla="*/ 20 h 60"/>
                <a:gd name="T22" fmla="*/ 28 w 60"/>
                <a:gd name="T23" fmla="*/ 1 h 60"/>
                <a:gd name="T24" fmla="*/ 32 w 60"/>
                <a:gd name="T25" fmla="*/ 1 h 60"/>
                <a:gd name="T26" fmla="*/ 39 w 60"/>
                <a:gd name="T27" fmla="*/ 20 h 60"/>
                <a:gd name="T28" fmla="*/ 58 w 60"/>
                <a:gd name="T29" fmla="*/ 20 h 60"/>
                <a:gd name="T30" fmla="*/ 60 w 60"/>
                <a:gd name="T31" fmla="*/ 21 h 60"/>
                <a:gd name="T32" fmla="*/ 59 w 60"/>
                <a:gd name="T33" fmla="*/ 24 h 60"/>
                <a:gd name="T34" fmla="*/ 44 w 60"/>
                <a:gd name="T35" fmla="*/ 37 h 60"/>
                <a:gd name="T36" fmla="*/ 50 w 60"/>
                <a:gd name="T37" fmla="*/ 57 h 60"/>
                <a:gd name="T38" fmla="*/ 49 w 60"/>
                <a:gd name="T39" fmla="*/ 60 h 60"/>
                <a:gd name="T40" fmla="*/ 48 w 60"/>
                <a:gd name="T41" fmla="*/ 60 h 60"/>
                <a:gd name="T42" fmla="*/ 30 w 60"/>
                <a:gd name="T43" fmla="*/ 42 h 60"/>
                <a:gd name="T44" fmla="*/ 31 w 60"/>
                <a:gd name="T45" fmla="*/ 42 h 60"/>
                <a:gd name="T46" fmla="*/ 44 w 60"/>
                <a:gd name="T47" fmla="*/ 53 h 60"/>
                <a:gd name="T48" fmla="*/ 40 w 60"/>
                <a:gd name="T49" fmla="*/ 37 h 60"/>
                <a:gd name="T50" fmla="*/ 41 w 60"/>
                <a:gd name="T51" fmla="*/ 34 h 60"/>
                <a:gd name="T52" fmla="*/ 53 w 60"/>
                <a:gd name="T53" fmla="*/ 24 h 60"/>
                <a:gd name="T54" fmla="*/ 38 w 60"/>
                <a:gd name="T55" fmla="*/ 24 h 60"/>
                <a:gd name="T56" fmla="*/ 36 w 60"/>
                <a:gd name="T57" fmla="*/ 23 h 60"/>
                <a:gd name="T58" fmla="*/ 30 w 60"/>
                <a:gd name="T59" fmla="*/ 7 h 60"/>
                <a:gd name="T60" fmla="*/ 24 w 60"/>
                <a:gd name="T61" fmla="*/ 23 h 60"/>
                <a:gd name="T62" fmla="*/ 22 w 60"/>
                <a:gd name="T63" fmla="*/ 24 h 60"/>
                <a:gd name="T64" fmla="*/ 7 w 60"/>
                <a:gd name="T65" fmla="*/ 24 h 60"/>
                <a:gd name="T66" fmla="*/ 19 w 60"/>
                <a:gd name="T67" fmla="*/ 34 h 60"/>
                <a:gd name="T68" fmla="*/ 20 w 60"/>
                <a:gd name="T69" fmla="*/ 37 h 60"/>
                <a:gd name="T70" fmla="*/ 16 w 60"/>
                <a:gd name="T71" fmla="*/ 53 h 60"/>
                <a:gd name="T72" fmla="*/ 29 w 60"/>
                <a:gd name="T73" fmla="*/ 42 h 60"/>
                <a:gd name="T74" fmla="*/ 30 w 60"/>
                <a:gd name="T7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48" y="60"/>
                  </a:moveTo>
                  <a:cubicBezTo>
                    <a:pt x="48" y="60"/>
                    <a:pt x="47" y="60"/>
                    <a:pt x="47" y="60"/>
                  </a:cubicBezTo>
                  <a:cubicBezTo>
                    <a:pt x="30" y="47"/>
                    <a:pt x="30" y="47"/>
                    <a:pt x="30" y="47"/>
                  </a:cubicBezTo>
                  <a:cubicBezTo>
                    <a:pt x="13" y="60"/>
                    <a:pt x="13" y="60"/>
                    <a:pt x="13" y="60"/>
                  </a:cubicBezTo>
                  <a:cubicBezTo>
                    <a:pt x="13" y="60"/>
                    <a:pt x="12" y="60"/>
                    <a:pt x="11" y="60"/>
                  </a:cubicBezTo>
                  <a:cubicBezTo>
                    <a:pt x="10" y="59"/>
                    <a:pt x="10" y="58"/>
                    <a:pt x="10" y="57"/>
                  </a:cubicBezTo>
                  <a:cubicBezTo>
                    <a:pt x="16" y="37"/>
                    <a:pt x="16" y="37"/>
                    <a:pt x="16" y="37"/>
                  </a:cubicBezTo>
                  <a:cubicBezTo>
                    <a:pt x="1" y="24"/>
                    <a:pt x="1" y="24"/>
                    <a:pt x="1" y="24"/>
                  </a:cubicBezTo>
                  <a:cubicBezTo>
                    <a:pt x="0" y="23"/>
                    <a:pt x="0" y="22"/>
                    <a:pt x="0" y="21"/>
                  </a:cubicBezTo>
                  <a:cubicBezTo>
                    <a:pt x="0" y="21"/>
                    <a:pt x="1" y="20"/>
                    <a:pt x="2" y="20"/>
                  </a:cubicBezTo>
                  <a:cubicBezTo>
                    <a:pt x="21" y="20"/>
                    <a:pt x="21" y="20"/>
                    <a:pt x="21" y="20"/>
                  </a:cubicBezTo>
                  <a:cubicBezTo>
                    <a:pt x="28" y="1"/>
                    <a:pt x="28" y="1"/>
                    <a:pt x="28" y="1"/>
                  </a:cubicBezTo>
                  <a:cubicBezTo>
                    <a:pt x="29" y="0"/>
                    <a:pt x="31" y="0"/>
                    <a:pt x="32" y="1"/>
                  </a:cubicBezTo>
                  <a:cubicBezTo>
                    <a:pt x="39" y="20"/>
                    <a:pt x="39" y="20"/>
                    <a:pt x="39" y="20"/>
                  </a:cubicBezTo>
                  <a:cubicBezTo>
                    <a:pt x="58" y="20"/>
                    <a:pt x="58" y="20"/>
                    <a:pt x="58" y="20"/>
                  </a:cubicBezTo>
                  <a:cubicBezTo>
                    <a:pt x="59" y="20"/>
                    <a:pt x="60" y="21"/>
                    <a:pt x="60" y="21"/>
                  </a:cubicBezTo>
                  <a:cubicBezTo>
                    <a:pt x="60" y="22"/>
                    <a:pt x="60" y="23"/>
                    <a:pt x="59" y="24"/>
                  </a:cubicBezTo>
                  <a:cubicBezTo>
                    <a:pt x="44" y="37"/>
                    <a:pt x="44" y="37"/>
                    <a:pt x="44" y="37"/>
                  </a:cubicBezTo>
                  <a:cubicBezTo>
                    <a:pt x="50" y="57"/>
                    <a:pt x="50" y="57"/>
                    <a:pt x="50" y="57"/>
                  </a:cubicBezTo>
                  <a:cubicBezTo>
                    <a:pt x="50" y="58"/>
                    <a:pt x="50" y="59"/>
                    <a:pt x="49" y="60"/>
                  </a:cubicBezTo>
                  <a:cubicBezTo>
                    <a:pt x="49" y="60"/>
                    <a:pt x="48" y="60"/>
                    <a:pt x="48" y="60"/>
                  </a:cubicBezTo>
                  <a:close/>
                  <a:moveTo>
                    <a:pt x="30" y="42"/>
                  </a:moveTo>
                  <a:cubicBezTo>
                    <a:pt x="30" y="42"/>
                    <a:pt x="31" y="42"/>
                    <a:pt x="31" y="42"/>
                  </a:cubicBezTo>
                  <a:cubicBezTo>
                    <a:pt x="44" y="53"/>
                    <a:pt x="44" y="53"/>
                    <a:pt x="44" y="53"/>
                  </a:cubicBezTo>
                  <a:cubicBezTo>
                    <a:pt x="40" y="37"/>
                    <a:pt x="40" y="37"/>
                    <a:pt x="40" y="37"/>
                  </a:cubicBezTo>
                  <a:cubicBezTo>
                    <a:pt x="40" y="36"/>
                    <a:pt x="40" y="35"/>
                    <a:pt x="41" y="34"/>
                  </a:cubicBezTo>
                  <a:cubicBezTo>
                    <a:pt x="53" y="24"/>
                    <a:pt x="53" y="24"/>
                    <a:pt x="53" y="24"/>
                  </a:cubicBezTo>
                  <a:cubicBezTo>
                    <a:pt x="38" y="24"/>
                    <a:pt x="38" y="24"/>
                    <a:pt x="38" y="24"/>
                  </a:cubicBezTo>
                  <a:cubicBezTo>
                    <a:pt x="37" y="24"/>
                    <a:pt x="36" y="24"/>
                    <a:pt x="36" y="23"/>
                  </a:cubicBezTo>
                  <a:cubicBezTo>
                    <a:pt x="30" y="7"/>
                    <a:pt x="30" y="7"/>
                    <a:pt x="30" y="7"/>
                  </a:cubicBezTo>
                  <a:cubicBezTo>
                    <a:pt x="24" y="23"/>
                    <a:pt x="24" y="23"/>
                    <a:pt x="24" y="23"/>
                  </a:cubicBezTo>
                  <a:cubicBezTo>
                    <a:pt x="24" y="24"/>
                    <a:pt x="23" y="24"/>
                    <a:pt x="22" y="24"/>
                  </a:cubicBezTo>
                  <a:cubicBezTo>
                    <a:pt x="7" y="24"/>
                    <a:pt x="7" y="24"/>
                    <a:pt x="7" y="24"/>
                  </a:cubicBezTo>
                  <a:cubicBezTo>
                    <a:pt x="19" y="34"/>
                    <a:pt x="19" y="34"/>
                    <a:pt x="19" y="34"/>
                  </a:cubicBezTo>
                  <a:cubicBezTo>
                    <a:pt x="20" y="35"/>
                    <a:pt x="20" y="36"/>
                    <a:pt x="20" y="37"/>
                  </a:cubicBezTo>
                  <a:cubicBezTo>
                    <a:pt x="16" y="53"/>
                    <a:pt x="16" y="53"/>
                    <a:pt x="16" y="53"/>
                  </a:cubicBezTo>
                  <a:cubicBezTo>
                    <a:pt x="29" y="42"/>
                    <a:pt x="29" y="42"/>
                    <a:pt x="29" y="42"/>
                  </a:cubicBezTo>
                  <a:cubicBezTo>
                    <a:pt x="29" y="42"/>
                    <a:pt x="30" y="42"/>
                    <a:pt x="3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171" name="Group 184">
            <a:extLst>
              <a:ext uri="{FF2B5EF4-FFF2-40B4-BE49-F238E27FC236}">
                <a16:creationId xmlns:a16="http://schemas.microsoft.com/office/drawing/2014/main" id="{A8EF98B8-D416-4BFC-9423-EC6F846A399A}"/>
              </a:ext>
            </a:extLst>
          </p:cNvPr>
          <p:cNvGrpSpPr>
            <a:grpSpLocks noChangeAspect="1"/>
          </p:cNvGrpSpPr>
          <p:nvPr/>
        </p:nvGrpSpPr>
        <p:grpSpPr>
          <a:xfrm>
            <a:off x="8305467" y="5956111"/>
            <a:ext cx="285619" cy="285619"/>
            <a:chOff x="9840913" y="3627438"/>
            <a:chExt cx="355600" cy="355600"/>
          </a:xfrm>
          <a:solidFill>
            <a:schemeClr val="bg1"/>
          </a:solidFill>
        </p:grpSpPr>
        <p:sp>
          <p:nvSpPr>
            <p:cNvPr id="1185" name="Freeform 26">
              <a:extLst>
                <a:ext uri="{FF2B5EF4-FFF2-40B4-BE49-F238E27FC236}">
                  <a16:creationId xmlns:a16="http://schemas.microsoft.com/office/drawing/2014/main" id="{12B5237D-68EA-4D9C-B0DE-2F89151612D8}"/>
                </a:ext>
              </a:extLst>
            </p:cNvPr>
            <p:cNvSpPr>
              <a:spLocks noEditPoints="1"/>
            </p:cNvSpPr>
            <p:nvPr/>
          </p:nvSpPr>
          <p:spPr bwMode="auto">
            <a:xfrm>
              <a:off x="9840913" y="3627438"/>
              <a:ext cx="355600" cy="355600"/>
            </a:xfrm>
            <a:custGeom>
              <a:avLst/>
              <a:gdLst>
                <a:gd name="T0" fmla="*/ 45 w 92"/>
                <a:gd name="T1" fmla="*/ 92 h 92"/>
                <a:gd name="T2" fmla="*/ 0 w 92"/>
                <a:gd name="T3" fmla="*/ 47 h 92"/>
                <a:gd name="T4" fmla="*/ 13 w 92"/>
                <a:gd name="T5" fmla="*/ 14 h 92"/>
                <a:gd name="T6" fmla="*/ 46 w 92"/>
                <a:gd name="T7" fmla="*/ 0 h 92"/>
                <a:gd name="T8" fmla="*/ 47 w 92"/>
                <a:gd name="T9" fmla="*/ 0 h 92"/>
                <a:gd name="T10" fmla="*/ 92 w 92"/>
                <a:gd name="T11" fmla="*/ 45 h 92"/>
                <a:gd name="T12" fmla="*/ 46 w 92"/>
                <a:gd name="T13" fmla="*/ 92 h 92"/>
                <a:gd name="T14" fmla="*/ 45 w 92"/>
                <a:gd name="T15" fmla="*/ 92 h 92"/>
                <a:gd name="T16" fmla="*/ 47 w 92"/>
                <a:gd name="T17" fmla="*/ 4 h 92"/>
                <a:gd name="T18" fmla="*/ 46 w 92"/>
                <a:gd name="T19" fmla="*/ 4 h 92"/>
                <a:gd name="T20" fmla="*/ 16 w 92"/>
                <a:gd name="T21" fmla="*/ 17 h 92"/>
                <a:gd name="T22" fmla="*/ 4 w 92"/>
                <a:gd name="T23" fmla="*/ 47 h 92"/>
                <a:gd name="T24" fmla="*/ 45 w 92"/>
                <a:gd name="T25" fmla="*/ 88 h 92"/>
                <a:gd name="T26" fmla="*/ 46 w 92"/>
                <a:gd name="T27" fmla="*/ 88 h 92"/>
                <a:gd name="T28" fmla="*/ 88 w 92"/>
                <a:gd name="T29" fmla="*/ 45 h 92"/>
                <a:gd name="T30" fmla="*/ 47 w 92"/>
                <a:gd name="T31"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2">
                  <a:moveTo>
                    <a:pt x="45" y="92"/>
                  </a:moveTo>
                  <a:cubicBezTo>
                    <a:pt x="20" y="92"/>
                    <a:pt x="0" y="72"/>
                    <a:pt x="0" y="47"/>
                  </a:cubicBezTo>
                  <a:cubicBezTo>
                    <a:pt x="0" y="35"/>
                    <a:pt x="5" y="23"/>
                    <a:pt x="13" y="14"/>
                  </a:cubicBezTo>
                  <a:cubicBezTo>
                    <a:pt x="22" y="5"/>
                    <a:pt x="34" y="0"/>
                    <a:pt x="46" y="0"/>
                  </a:cubicBezTo>
                  <a:cubicBezTo>
                    <a:pt x="47" y="0"/>
                    <a:pt x="47" y="0"/>
                    <a:pt x="47" y="0"/>
                  </a:cubicBezTo>
                  <a:cubicBezTo>
                    <a:pt x="72" y="0"/>
                    <a:pt x="92" y="20"/>
                    <a:pt x="92" y="45"/>
                  </a:cubicBezTo>
                  <a:cubicBezTo>
                    <a:pt x="92" y="71"/>
                    <a:pt x="72" y="92"/>
                    <a:pt x="46" y="92"/>
                  </a:cubicBezTo>
                  <a:lnTo>
                    <a:pt x="45" y="92"/>
                  </a:lnTo>
                  <a:close/>
                  <a:moveTo>
                    <a:pt x="47" y="4"/>
                  </a:moveTo>
                  <a:cubicBezTo>
                    <a:pt x="46" y="4"/>
                    <a:pt x="46" y="4"/>
                    <a:pt x="46" y="4"/>
                  </a:cubicBezTo>
                  <a:cubicBezTo>
                    <a:pt x="35" y="4"/>
                    <a:pt x="24" y="9"/>
                    <a:pt x="16" y="17"/>
                  </a:cubicBezTo>
                  <a:cubicBezTo>
                    <a:pt x="8" y="25"/>
                    <a:pt x="4" y="36"/>
                    <a:pt x="4" y="47"/>
                  </a:cubicBezTo>
                  <a:cubicBezTo>
                    <a:pt x="4" y="70"/>
                    <a:pt x="23" y="88"/>
                    <a:pt x="45" y="88"/>
                  </a:cubicBezTo>
                  <a:cubicBezTo>
                    <a:pt x="46" y="88"/>
                    <a:pt x="46" y="88"/>
                    <a:pt x="46" y="88"/>
                  </a:cubicBezTo>
                  <a:cubicBezTo>
                    <a:pt x="70" y="88"/>
                    <a:pt x="88" y="68"/>
                    <a:pt x="88" y="45"/>
                  </a:cubicBezTo>
                  <a:cubicBezTo>
                    <a:pt x="88" y="22"/>
                    <a:pt x="69" y="4"/>
                    <a:pt x="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6" name="Freeform 27">
              <a:extLst>
                <a:ext uri="{FF2B5EF4-FFF2-40B4-BE49-F238E27FC236}">
                  <a16:creationId xmlns:a16="http://schemas.microsoft.com/office/drawing/2014/main" id="{C5FC7787-8CFF-410F-85CA-95146F2BAC91}"/>
                </a:ext>
              </a:extLst>
            </p:cNvPr>
            <p:cNvSpPr>
              <a:spLocks/>
            </p:cNvSpPr>
            <p:nvPr/>
          </p:nvSpPr>
          <p:spPr bwMode="auto">
            <a:xfrm>
              <a:off x="10010776" y="3711575"/>
              <a:ext cx="15875" cy="123825"/>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87" name="Oval 28">
              <a:extLst>
                <a:ext uri="{FF2B5EF4-FFF2-40B4-BE49-F238E27FC236}">
                  <a16:creationId xmlns:a16="http://schemas.microsoft.com/office/drawing/2014/main" id="{06209E3D-F3B0-4D11-807B-2441CFF65251}"/>
                </a:ext>
              </a:extLst>
            </p:cNvPr>
            <p:cNvSpPr>
              <a:spLocks noChangeArrowheads="1"/>
            </p:cNvSpPr>
            <p:nvPr/>
          </p:nvSpPr>
          <p:spPr bwMode="auto">
            <a:xfrm>
              <a:off x="10002838" y="3867150"/>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20" name="Freeform 57">
            <a:extLst>
              <a:ext uri="{FF2B5EF4-FFF2-40B4-BE49-F238E27FC236}">
                <a16:creationId xmlns:a16="http://schemas.microsoft.com/office/drawing/2014/main" id="{7747F338-B9AC-4865-8A7B-8FA69D1D9ADE}"/>
              </a:ext>
            </a:extLst>
          </p:cNvPr>
          <p:cNvSpPr>
            <a:spLocks noChangeAspect="1" noEditPoints="1"/>
          </p:cNvSpPr>
          <p:nvPr/>
        </p:nvSpPr>
        <p:spPr bwMode="auto">
          <a:xfrm>
            <a:off x="3660755" y="2186361"/>
            <a:ext cx="285619" cy="285619"/>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61" name="Group 40">
            <a:extLst>
              <a:ext uri="{FF2B5EF4-FFF2-40B4-BE49-F238E27FC236}">
                <a16:creationId xmlns:a16="http://schemas.microsoft.com/office/drawing/2014/main" id="{58E379AE-B473-41FF-9B63-29ACDD55DBD4}"/>
              </a:ext>
            </a:extLst>
          </p:cNvPr>
          <p:cNvGrpSpPr>
            <a:grpSpLocks noChangeAspect="1"/>
          </p:cNvGrpSpPr>
          <p:nvPr/>
        </p:nvGrpSpPr>
        <p:grpSpPr>
          <a:xfrm>
            <a:off x="3685976" y="2724897"/>
            <a:ext cx="235177" cy="285619"/>
            <a:chOff x="7140575" y="903288"/>
            <a:chExt cx="569913" cy="692151"/>
          </a:xfrm>
          <a:solidFill>
            <a:schemeClr val="bg1"/>
          </a:solidFill>
          <a:effectLst/>
        </p:grpSpPr>
        <p:sp>
          <p:nvSpPr>
            <p:cNvPr id="662" name="Freeform 59">
              <a:extLst>
                <a:ext uri="{FF2B5EF4-FFF2-40B4-BE49-F238E27FC236}">
                  <a16:creationId xmlns:a16="http://schemas.microsoft.com/office/drawing/2014/main" id="{163C7DDB-6CC0-48CC-B056-2681DD78D770}"/>
                </a:ext>
              </a:extLst>
            </p:cNvPr>
            <p:cNvSpPr>
              <a:spLocks/>
            </p:cNvSpPr>
            <p:nvPr/>
          </p:nvSpPr>
          <p:spPr bwMode="auto">
            <a:xfrm>
              <a:off x="7272338" y="993776"/>
              <a:ext cx="304800" cy="66675"/>
            </a:xfrm>
            <a:custGeom>
              <a:avLst/>
              <a:gdLst>
                <a:gd name="T0" fmla="*/ 135 w 576"/>
                <a:gd name="T1" fmla="*/ 126 h 126"/>
                <a:gd name="T2" fmla="*/ 104 w 576"/>
                <a:gd name="T3" fmla="*/ 124 h 126"/>
                <a:gd name="T4" fmla="*/ 70 w 576"/>
                <a:gd name="T5" fmla="*/ 121 h 126"/>
                <a:gd name="T6" fmla="*/ 34 w 576"/>
                <a:gd name="T7" fmla="*/ 117 h 126"/>
                <a:gd name="T8" fmla="*/ 0 w 576"/>
                <a:gd name="T9" fmla="*/ 108 h 126"/>
                <a:gd name="T10" fmla="*/ 11 w 576"/>
                <a:gd name="T11" fmla="*/ 58 h 126"/>
                <a:gd name="T12" fmla="*/ 32 w 576"/>
                <a:gd name="T13" fmla="*/ 62 h 126"/>
                <a:gd name="T14" fmla="*/ 52 w 576"/>
                <a:gd name="T15" fmla="*/ 67 h 126"/>
                <a:gd name="T16" fmla="*/ 70 w 576"/>
                <a:gd name="T17" fmla="*/ 69 h 126"/>
                <a:gd name="T18" fmla="*/ 89 w 576"/>
                <a:gd name="T19" fmla="*/ 71 h 126"/>
                <a:gd name="T20" fmla="*/ 127 w 576"/>
                <a:gd name="T21" fmla="*/ 72 h 126"/>
                <a:gd name="T22" fmla="*/ 161 w 576"/>
                <a:gd name="T23" fmla="*/ 72 h 126"/>
                <a:gd name="T24" fmla="*/ 194 w 576"/>
                <a:gd name="T25" fmla="*/ 69 h 126"/>
                <a:gd name="T26" fmla="*/ 226 w 576"/>
                <a:gd name="T27" fmla="*/ 65 h 126"/>
                <a:gd name="T28" fmla="*/ 255 w 576"/>
                <a:gd name="T29" fmla="*/ 59 h 126"/>
                <a:gd name="T30" fmla="*/ 281 w 576"/>
                <a:gd name="T31" fmla="*/ 52 h 126"/>
                <a:gd name="T32" fmla="*/ 305 w 576"/>
                <a:gd name="T33" fmla="*/ 44 h 126"/>
                <a:gd name="T34" fmla="*/ 327 w 576"/>
                <a:gd name="T35" fmla="*/ 36 h 126"/>
                <a:gd name="T36" fmla="*/ 346 w 576"/>
                <a:gd name="T37" fmla="*/ 28 h 126"/>
                <a:gd name="T38" fmla="*/ 360 w 576"/>
                <a:gd name="T39" fmla="*/ 20 h 126"/>
                <a:gd name="T40" fmla="*/ 383 w 576"/>
                <a:gd name="T41" fmla="*/ 9 h 126"/>
                <a:gd name="T42" fmla="*/ 390 w 576"/>
                <a:gd name="T43" fmla="*/ 5 h 126"/>
                <a:gd name="T44" fmla="*/ 394 w 576"/>
                <a:gd name="T45" fmla="*/ 2 h 126"/>
                <a:gd name="T46" fmla="*/ 399 w 576"/>
                <a:gd name="T47" fmla="*/ 0 h 126"/>
                <a:gd name="T48" fmla="*/ 403 w 576"/>
                <a:gd name="T49" fmla="*/ 0 h 126"/>
                <a:gd name="T50" fmla="*/ 407 w 576"/>
                <a:gd name="T51" fmla="*/ 0 h 126"/>
                <a:gd name="T52" fmla="*/ 412 w 576"/>
                <a:gd name="T53" fmla="*/ 0 h 126"/>
                <a:gd name="T54" fmla="*/ 416 w 576"/>
                <a:gd name="T55" fmla="*/ 3 h 126"/>
                <a:gd name="T56" fmla="*/ 419 w 576"/>
                <a:gd name="T57" fmla="*/ 5 h 126"/>
                <a:gd name="T58" fmla="*/ 423 w 576"/>
                <a:gd name="T59" fmla="*/ 8 h 126"/>
                <a:gd name="T60" fmla="*/ 426 w 576"/>
                <a:gd name="T61" fmla="*/ 10 h 126"/>
                <a:gd name="T62" fmla="*/ 433 w 576"/>
                <a:gd name="T63" fmla="*/ 16 h 126"/>
                <a:gd name="T64" fmla="*/ 446 w 576"/>
                <a:gd name="T65" fmla="*/ 25 h 126"/>
                <a:gd name="T66" fmla="*/ 462 w 576"/>
                <a:gd name="T67" fmla="*/ 33 h 126"/>
                <a:gd name="T68" fmla="*/ 484 w 576"/>
                <a:gd name="T69" fmla="*/ 42 h 126"/>
                <a:gd name="T70" fmla="*/ 510 w 576"/>
                <a:gd name="T71" fmla="*/ 49 h 126"/>
                <a:gd name="T72" fmla="*/ 524 w 576"/>
                <a:gd name="T73" fmla="*/ 52 h 126"/>
                <a:gd name="T74" fmla="*/ 540 w 576"/>
                <a:gd name="T75" fmla="*/ 55 h 126"/>
                <a:gd name="T76" fmla="*/ 557 w 576"/>
                <a:gd name="T77" fmla="*/ 56 h 126"/>
                <a:gd name="T78" fmla="*/ 576 w 576"/>
                <a:gd name="T79" fmla="*/ 56 h 126"/>
                <a:gd name="T80" fmla="*/ 576 w 576"/>
                <a:gd name="T81" fmla="*/ 110 h 126"/>
                <a:gd name="T82" fmla="*/ 544 w 576"/>
                <a:gd name="T83" fmla="*/ 108 h 126"/>
                <a:gd name="T84" fmla="*/ 514 w 576"/>
                <a:gd name="T85" fmla="*/ 104 h 126"/>
                <a:gd name="T86" fmla="*/ 488 w 576"/>
                <a:gd name="T87" fmla="*/ 98 h 126"/>
                <a:gd name="T88" fmla="*/ 465 w 576"/>
                <a:gd name="T89" fmla="*/ 91 h 126"/>
                <a:gd name="T90" fmla="*/ 445 w 576"/>
                <a:gd name="T91" fmla="*/ 82 h 126"/>
                <a:gd name="T92" fmla="*/ 428 w 576"/>
                <a:gd name="T93" fmla="*/ 74 h 126"/>
                <a:gd name="T94" fmla="*/ 413 w 576"/>
                <a:gd name="T95" fmla="*/ 65 h 126"/>
                <a:gd name="T96" fmla="*/ 403 w 576"/>
                <a:gd name="T97" fmla="*/ 58 h 126"/>
                <a:gd name="T98" fmla="*/ 386 w 576"/>
                <a:gd name="T99" fmla="*/ 67 h 126"/>
                <a:gd name="T100" fmla="*/ 363 w 576"/>
                <a:gd name="T101" fmla="*/ 78 h 126"/>
                <a:gd name="T102" fmla="*/ 335 w 576"/>
                <a:gd name="T103" fmla="*/ 88 h 126"/>
                <a:gd name="T104" fmla="*/ 304 w 576"/>
                <a:gd name="T105" fmla="*/ 100 h 126"/>
                <a:gd name="T106" fmla="*/ 268 w 576"/>
                <a:gd name="T107" fmla="*/ 110 h 126"/>
                <a:gd name="T108" fmla="*/ 227 w 576"/>
                <a:gd name="T109" fmla="*/ 118 h 126"/>
                <a:gd name="T110" fmla="*/ 206 w 576"/>
                <a:gd name="T111" fmla="*/ 121 h 126"/>
                <a:gd name="T112" fmla="*/ 183 w 576"/>
                <a:gd name="T113" fmla="*/ 123 h 126"/>
                <a:gd name="T114" fmla="*/ 160 w 576"/>
                <a:gd name="T115" fmla="*/ 124 h 126"/>
                <a:gd name="T116" fmla="*/ 135 w 576"/>
                <a:gd name="T1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126">
                  <a:moveTo>
                    <a:pt x="135" y="126"/>
                  </a:moveTo>
                  <a:lnTo>
                    <a:pt x="104" y="124"/>
                  </a:lnTo>
                  <a:lnTo>
                    <a:pt x="70" y="121"/>
                  </a:lnTo>
                  <a:lnTo>
                    <a:pt x="34" y="117"/>
                  </a:lnTo>
                  <a:lnTo>
                    <a:pt x="0" y="108"/>
                  </a:lnTo>
                  <a:lnTo>
                    <a:pt x="11" y="58"/>
                  </a:lnTo>
                  <a:lnTo>
                    <a:pt x="32" y="62"/>
                  </a:lnTo>
                  <a:lnTo>
                    <a:pt x="52" y="67"/>
                  </a:lnTo>
                  <a:lnTo>
                    <a:pt x="70" y="69"/>
                  </a:lnTo>
                  <a:lnTo>
                    <a:pt x="89" y="71"/>
                  </a:lnTo>
                  <a:lnTo>
                    <a:pt x="127" y="72"/>
                  </a:lnTo>
                  <a:lnTo>
                    <a:pt x="161" y="72"/>
                  </a:lnTo>
                  <a:lnTo>
                    <a:pt x="194" y="69"/>
                  </a:lnTo>
                  <a:lnTo>
                    <a:pt x="226" y="65"/>
                  </a:lnTo>
                  <a:lnTo>
                    <a:pt x="255" y="59"/>
                  </a:lnTo>
                  <a:lnTo>
                    <a:pt x="281" y="52"/>
                  </a:lnTo>
                  <a:lnTo>
                    <a:pt x="305" y="44"/>
                  </a:lnTo>
                  <a:lnTo>
                    <a:pt x="327" y="36"/>
                  </a:lnTo>
                  <a:lnTo>
                    <a:pt x="346" y="28"/>
                  </a:lnTo>
                  <a:lnTo>
                    <a:pt x="360" y="20"/>
                  </a:lnTo>
                  <a:lnTo>
                    <a:pt x="383" y="9"/>
                  </a:lnTo>
                  <a:lnTo>
                    <a:pt x="390" y="5"/>
                  </a:lnTo>
                  <a:lnTo>
                    <a:pt x="394" y="2"/>
                  </a:lnTo>
                  <a:lnTo>
                    <a:pt x="399" y="0"/>
                  </a:lnTo>
                  <a:lnTo>
                    <a:pt x="403" y="0"/>
                  </a:lnTo>
                  <a:lnTo>
                    <a:pt x="407" y="0"/>
                  </a:lnTo>
                  <a:lnTo>
                    <a:pt x="412" y="0"/>
                  </a:lnTo>
                  <a:lnTo>
                    <a:pt x="416" y="3"/>
                  </a:lnTo>
                  <a:lnTo>
                    <a:pt x="419" y="5"/>
                  </a:lnTo>
                  <a:lnTo>
                    <a:pt x="423" y="8"/>
                  </a:lnTo>
                  <a:lnTo>
                    <a:pt x="426" y="10"/>
                  </a:lnTo>
                  <a:lnTo>
                    <a:pt x="433" y="16"/>
                  </a:lnTo>
                  <a:lnTo>
                    <a:pt x="446" y="25"/>
                  </a:lnTo>
                  <a:lnTo>
                    <a:pt x="462" y="33"/>
                  </a:lnTo>
                  <a:lnTo>
                    <a:pt x="484" y="42"/>
                  </a:lnTo>
                  <a:lnTo>
                    <a:pt x="510" y="49"/>
                  </a:lnTo>
                  <a:lnTo>
                    <a:pt x="524" y="52"/>
                  </a:lnTo>
                  <a:lnTo>
                    <a:pt x="540" y="55"/>
                  </a:lnTo>
                  <a:lnTo>
                    <a:pt x="557" y="56"/>
                  </a:lnTo>
                  <a:lnTo>
                    <a:pt x="576" y="56"/>
                  </a:lnTo>
                  <a:lnTo>
                    <a:pt x="576" y="110"/>
                  </a:lnTo>
                  <a:lnTo>
                    <a:pt x="544" y="108"/>
                  </a:lnTo>
                  <a:lnTo>
                    <a:pt x="514" y="104"/>
                  </a:lnTo>
                  <a:lnTo>
                    <a:pt x="488" y="98"/>
                  </a:lnTo>
                  <a:lnTo>
                    <a:pt x="465" y="91"/>
                  </a:lnTo>
                  <a:lnTo>
                    <a:pt x="445" y="82"/>
                  </a:lnTo>
                  <a:lnTo>
                    <a:pt x="428" y="74"/>
                  </a:lnTo>
                  <a:lnTo>
                    <a:pt x="413" y="65"/>
                  </a:lnTo>
                  <a:lnTo>
                    <a:pt x="403" y="58"/>
                  </a:lnTo>
                  <a:lnTo>
                    <a:pt x="386" y="67"/>
                  </a:lnTo>
                  <a:lnTo>
                    <a:pt x="363" y="78"/>
                  </a:lnTo>
                  <a:lnTo>
                    <a:pt x="335" y="88"/>
                  </a:lnTo>
                  <a:lnTo>
                    <a:pt x="304" y="100"/>
                  </a:lnTo>
                  <a:lnTo>
                    <a:pt x="268" y="110"/>
                  </a:lnTo>
                  <a:lnTo>
                    <a:pt x="227" y="118"/>
                  </a:lnTo>
                  <a:lnTo>
                    <a:pt x="206" y="121"/>
                  </a:lnTo>
                  <a:lnTo>
                    <a:pt x="183" y="123"/>
                  </a:lnTo>
                  <a:lnTo>
                    <a:pt x="160" y="124"/>
                  </a:lnTo>
                  <a:lnTo>
                    <a:pt x="135"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60">
              <a:extLst>
                <a:ext uri="{FF2B5EF4-FFF2-40B4-BE49-F238E27FC236}">
                  <a16:creationId xmlns:a16="http://schemas.microsoft.com/office/drawing/2014/main" id="{C3BF7EA4-E5A9-43EF-B29C-D0C8569CFD69}"/>
                </a:ext>
              </a:extLst>
            </p:cNvPr>
            <p:cNvSpPr>
              <a:spLocks noEditPoints="1"/>
            </p:cNvSpPr>
            <p:nvPr/>
          </p:nvSpPr>
          <p:spPr bwMode="auto">
            <a:xfrm>
              <a:off x="7261225" y="903288"/>
              <a:ext cx="328613" cy="360363"/>
            </a:xfrm>
            <a:custGeom>
              <a:avLst/>
              <a:gdLst>
                <a:gd name="T0" fmla="*/ 272 w 622"/>
                <a:gd name="T1" fmla="*/ 56 h 680"/>
                <a:gd name="T2" fmla="*/ 187 w 622"/>
                <a:gd name="T3" fmla="*/ 86 h 680"/>
                <a:gd name="T4" fmla="*/ 111 w 622"/>
                <a:gd name="T5" fmla="*/ 157 h 680"/>
                <a:gd name="T6" fmla="*/ 63 w 622"/>
                <a:gd name="T7" fmla="*/ 255 h 680"/>
                <a:gd name="T8" fmla="*/ 53 w 622"/>
                <a:gd name="T9" fmla="*/ 369 h 680"/>
                <a:gd name="T10" fmla="*/ 83 w 622"/>
                <a:gd name="T11" fmla="*/ 477 h 680"/>
                <a:gd name="T12" fmla="*/ 147 w 622"/>
                <a:gd name="T13" fmla="*/ 562 h 680"/>
                <a:gd name="T14" fmla="*/ 234 w 622"/>
                <a:gd name="T15" fmla="*/ 613 h 680"/>
                <a:gd name="T16" fmla="*/ 298 w 622"/>
                <a:gd name="T17" fmla="*/ 626 h 680"/>
                <a:gd name="T18" fmla="*/ 350 w 622"/>
                <a:gd name="T19" fmla="*/ 623 h 680"/>
                <a:gd name="T20" fmla="*/ 435 w 622"/>
                <a:gd name="T21" fmla="*/ 592 h 680"/>
                <a:gd name="T22" fmla="*/ 511 w 622"/>
                <a:gd name="T23" fmla="*/ 523 h 680"/>
                <a:gd name="T24" fmla="*/ 558 w 622"/>
                <a:gd name="T25" fmla="*/ 425 h 680"/>
                <a:gd name="T26" fmla="*/ 569 w 622"/>
                <a:gd name="T27" fmla="*/ 311 h 680"/>
                <a:gd name="T28" fmla="*/ 538 w 622"/>
                <a:gd name="T29" fmla="*/ 203 h 680"/>
                <a:gd name="T30" fmla="*/ 475 w 622"/>
                <a:gd name="T31" fmla="*/ 118 h 680"/>
                <a:gd name="T32" fmla="*/ 387 w 622"/>
                <a:gd name="T33" fmla="*/ 65 h 680"/>
                <a:gd name="T34" fmla="*/ 324 w 622"/>
                <a:gd name="T35" fmla="*/ 53 h 680"/>
                <a:gd name="T36" fmla="*/ 279 w 622"/>
                <a:gd name="T37" fmla="*/ 678 h 680"/>
                <a:gd name="T38" fmla="*/ 219 w 622"/>
                <a:gd name="T39" fmla="*/ 664 h 680"/>
                <a:gd name="T40" fmla="*/ 162 w 622"/>
                <a:gd name="T41" fmla="*/ 638 h 680"/>
                <a:gd name="T42" fmla="*/ 114 w 622"/>
                <a:gd name="T43" fmla="*/ 602 h 680"/>
                <a:gd name="T44" fmla="*/ 70 w 622"/>
                <a:gd name="T45" fmla="*/ 556 h 680"/>
                <a:gd name="T46" fmla="*/ 37 w 622"/>
                <a:gd name="T47" fmla="*/ 501 h 680"/>
                <a:gd name="T48" fmla="*/ 14 w 622"/>
                <a:gd name="T49" fmla="*/ 441 h 680"/>
                <a:gd name="T50" fmla="*/ 1 w 622"/>
                <a:gd name="T51" fmla="*/ 374 h 680"/>
                <a:gd name="T52" fmla="*/ 1 w 622"/>
                <a:gd name="T53" fmla="*/ 305 h 680"/>
                <a:gd name="T54" fmla="*/ 14 w 622"/>
                <a:gd name="T55" fmla="*/ 239 h 680"/>
                <a:gd name="T56" fmla="*/ 37 w 622"/>
                <a:gd name="T57" fmla="*/ 179 h 680"/>
                <a:gd name="T58" fmla="*/ 70 w 622"/>
                <a:gd name="T59" fmla="*/ 124 h 680"/>
                <a:gd name="T60" fmla="*/ 114 w 622"/>
                <a:gd name="T61" fmla="*/ 78 h 680"/>
                <a:gd name="T62" fmla="*/ 162 w 622"/>
                <a:gd name="T63" fmla="*/ 42 h 680"/>
                <a:gd name="T64" fmla="*/ 219 w 622"/>
                <a:gd name="T65" fmla="*/ 16 h 680"/>
                <a:gd name="T66" fmla="*/ 279 w 622"/>
                <a:gd name="T67" fmla="*/ 1 h 680"/>
                <a:gd name="T68" fmla="*/ 342 w 622"/>
                <a:gd name="T69" fmla="*/ 1 h 680"/>
                <a:gd name="T70" fmla="*/ 403 w 622"/>
                <a:gd name="T71" fmla="*/ 16 h 680"/>
                <a:gd name="T72" fmla="*/ 459 w 622"/>
                <a:gd name="T73" fmla="*/ 42 h 680"/>
                <a:gd name="T74" fmla="*/ 508 w 622"/>
                <a:gd name="T75" fmla="*/ 78 h 680"/>
                <a:gd name="T76" fmla="*/ 551 w 622"/>
                <a:gd name="T77" fmla="*/ 124 h 680"/>
                <a:gd name="T78" fmla="*/ 584 w 622"/>
                <a:gd name="T79" fmla="*/ 179 h 680"/>
                <a:gd name="T80" fmla="*/ 607 w 622"/>
                <a:gd name="T81" fmla="*/ 239 h 680"/>
                <a:gd name="T82" fmla="*/ 620 w 622"/>
                <a:gd name="T83" fmla="*/ 305 h 680"/>
                <a:gd name="T84" fmla="*/ 620 w 622"/>
                <a:gd name="T85" fmla="*/ 374 h 680"/>
                <a:gd name="T86" fmla="*/ 607 w 622"/>
                <a:gd name="T87" fmla="*/ 441 h 680"/>
                <a:gd name="T88" fmla="*/ 584 w 622"/>
                <a:gd name="T89" fmla="*/ 501 h 680"/>
                <a:gd name="T90" fmla="*/ 551 w 622"/>
                <a:gd name="T91" fmla="*/ 556 h 680"/>
                <a:gd name="T92" fmla="*/ 508 w 622"/>
                <a:gd name="T93" fmla="*/ 602 h 680"/>
                <a:gd name="T94" fmla="*/ 459 w 622"/>
                <a:gd name="T95" fmla="*/ 638 h 680"/>
                <a:gd name="T96" fmla="*/ 403 w 622"/>
                <a:gd name="T97" fmla="*/ 664 h 680"/>
                <a:gd name="T98" fmla="*/ 342 w 622"/>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2" h="680">
                  <a:moveTo>
                    <a:pt x="311" y="52"/>
                  </a:moveTo>
                  <a:lnTo>
                    <a:pt x="298" y="53"/>
                  </a:lnTo>
                  <a:lnTo>
                    <a:pt x="285" y="53"/>
                  </a:lnTo>
                  <a:lnTo>
                    <a:pt x="272" y="56"/>
                  </a:lnTo>
                  <a:lnTo>
                    <a:pt x="259" y="58"/>
                  </a:lnTo>
                  <a:lnTo>
                    <a:pt x="234" y="65"/>
                  </a:lnTo>
                  <a:lnTo>
                    <a:pt x="210" y="75"/>
                  </a:lnTo>
                  <a:lnTo>
                    <a:pt x="187" y="86"/>
                  </a:lnTo>
                  <a:lnTo>
                    <a:pt x="167" y="101"/>
                  </a:lnTo>
                  <a:lnTo>
                    <a:pt x="147" y="118"/>
                  </a:lnTo>
                  <a:lnTo>
                    <a:pt x="128" y="137"/>
                  </a:lnTo>
                  <a:lnTo>
                    <a:pt x="111" y="157"/>
                  </a:lnTo>
                  <a:lnTo>
                    <a:pt x="96" y="179"/>
                  </a:lnTo>
                  <a:lnTo>
                    <a:pt x="83" y="203"/>
                  </a:lnTo>
                  <a:lnTo>
                    <a:pt x="72" y="227"/>
                  </a:lnTo>
                  <a:lnTo>
                    <a:pt x="63" y="255"/>
                  </a:lnTo>
                  <a:lnTo>
                    <a:pt x="57" y="282"/>
                  </a:lnTo>
                  <a:lnTo>
                    <a:pt x="53" y="311"/>
                  </a:lnTo>
                  <a:lnTo>
                    <a:pt x="52" y="340"/>
                  </a:lnTo>
                  <a:lnTo>
                    <a:pt x="53" y="369"/>
                  </a:lnTo>
                  <a:lnTo>
                    <a:pt x="57" y="397"/>
                  </a:lnTo>
                  <a:lnTo>
                    <a:pt x="63" y="425"/>
                  </a:lnTo>
                  <a:lnTo>
                    <a:pt x="72" y="452"/>
                  </a:lnTo>
                  <a:lnTo>
                    <a:pt x="83" y="477"/>
                  </a:lnTo>
                  <a:lnTo>
                    <a:pt x="96" y="500"/>
                  </a:lnTo>
                  <a:lnTo>
                    <a:pt x="111" y="523"/>
                  </a:lnTo>
                  <a:lnTo>
                    <a:pt x="128" y="543"/>
                  </a:lnTo>
                  <a:lnTo>
                    <a:pt x="147" y="562"/>
                  </a:lnTo>
                  <a:lnTo>
                    <a:pt x="167" y="577"/>
                  </a:lnTo>
                  <a:lnTo>
                    <a:pt x="187" y="592"/>
                  </a:lnTo>
                  <a:lnTo>
                    <a:pt x="210" y="605"/>
                  </a:lnTo>
                  <a:lnTo>
                    <a:pt x="234" y="613"/>
                  </a:lnTo>
                  <a:lnTo>
                    <a:pt x="259" y="621"/>
                  </a:lnTo>
                  <a:lnTo>
                    <a:pt x="272" y="623"/>
                  </a:lnTo>
                  <a:lnTo>
                    <a:pt x="285" y="625"/>
                  </a:lnTo>
                  <a:lnTo>
                    <a:pt x="298" y="626"/>
                  </a:lnTo>
                  <a:lnTo>
                    <a:pt x="311" y="626"/>
                  </a:lnTo>
                  <a:lnTo>
                    <a:pt x="324" y="626"/>
                  </a:lnTo>
                  <a:lnTo>
                    <a:pt x="337" y="625"/>
                  </a:lnTo>
                  <a:lnTo>
                    <a:pt x="350" y="623"/>
                  </a:lnTo>
                  <a:lnTo>
                    <a:pt x="363" y="621"/>
                  </a:lnTo>
                  <a:lnTo>
                    <a:pt x="387" y="613"/>
                  </a:lnTo>
                  <a:lnTo>
                    <a:pt x="412" y="605"/>
                  </a:lnTo>
                  <a:lnTo>
                    <a:pt x="435" y="592"/>
                  </a:lnTo>
                  <a:lnTo>
                    <a:pt x="455" y="577"/>
                  </a:lnTo>
                  <a:lnTo>
                    <a:pt x="475" y="562"/>
                  </a:lnTo>
                  <a:lnTo>
                    <a:pt x="494" y="543"/>
                  </a:lnTo>
                  <a:lnTo>
                    <a:pt x="511" y="523"/>
                  </a:lnTo>
                  <a:lnTo>
                    <a:pt x="525" y="500"/>
                  </a:lnTo>
                  <a:lnTo>
                    <a:pt x="538" y="477"/>
                  </a:lnTo>
                  <a:lnTo>
                    <a:pt x="550" y="452"/>
                  </a:lnTo>
                  <a:lnTo>
                    <a:pt x="558" y="425"/>
                  </a:lnTo>
                  <a:lnTo>
                    <a:pt x="564" y="397"/>
                  </a:lnTo>
                  <a:lnTo>
                    <a:pt x="569" y="369"/>
                  </a:lnTo>
                  <a:lnTo>
                    <a:pt x="570" y="340"/>
                  </a:lnTo>
                  <a:lnTo>
                    <a:pt x="569" y="311"/>
                  </a:lnTo>
                  <a:lnTo>
                    <a:pt x="564" y="282"/>
                  </a:lnTo>
                  <a:lnTo>
                    <a:pt x="558" y="255"/>
                  </a:lnTo>
                  <a:lnTo>
                    <a:pt x="550" y="227"/>
                  </a:lnTo>
                  <a:lnTo>
                    <a:pt x="538" y="203"/>
                  </a:lnTo>
                  <a:lnTo>
                    <a:pt x="525" y="179"/>
                  </a:lnTo>
                  <a:lnTo>
                    <a:pt x="511" y="157"/>
                  </a:lnTo>
                  <a:lnTo>
                    <a:pt x="494" y="137"/>
                  </a:lnTo>
                  <a:lnTo>
                    <a:pt x="475" y="118"/>
                  </a:lnTo>
                  <a:lnTo>
                    <a:pt x="455" y="101"/>
                  </a:lnTo>
                  <a:lnTo>
                    <a:pt x="435" y="86"/>
                  </a:lnTo>
                  <a:lnTo>
                    <a:pt x="412" y="75"/>
                  </a:lnTo>
                  <a:lnTo>
                    <a:pt x="387" y="65"/>
                  </a:lnTo>
                  <a:lnTo>
                    <a:pt x="363" y="58"/>
                  </a:lnTo>
                  <a:lnTo>
                    <a:pt x="350" y="56"/>
                  </a:lnTo>
                  <a:lnTo>
                    <a:pt x="337" y="53"/>
                  </a:lnTo>
                  <a:lnTo>
                    <a:pt x="324" y="53"/>
                  </a:lnTo>
                  <a:lnTo>
                    <a:pt x="311" y="52"/>
                  </a:lnTo>
                  <a:close/>
                  <a:moveTo>
                    <a:pt x="311" y="680"/>
                  </a:moveTo>
                  <a:lnTo>
                    <a:pt x="295" y="678"/>
                  </a:lnTo>
                  <a:lnTo>
                    <a:pt x="279" y="678"/>
                  </a:lnTo>
                  <a:lnTo>
                    <a:pt x="263" y="675"/>
                  </a:lnTo>
                  <a:lnTo>
                    <a:pt x="247" y="672"/>
                  </a:lnTo>
                  <a:lnTo>
                    <a:pt x="233" y="668"/>
                  </a:lnTo>
                  <a:lnTo>
                    <a:pt x="219" y="664"/>
                  </a:lnTo>
                  <a:lnTo>
                    <a:pt x="204" y="658"/>
                  </a:lnTo>
                  <a:lnTo>
                    <a:pt x="190" y="652"/>
                  </a:lnTo>
                  <a:lnTo>
                    <a:pt x="175" y="645"/>
                  </a:lnTo>
                  <a:lnTo>
                    <a:pt x="162" y="638"/>
                  </a:lnTo>
                  <a:lnTo>
                    <a:pt x="150" y="631"/>
                  </a:lnTo>
                  <a:lnTo>
                    <a:pt x="137" y="621"/>
                  </a:lnTo>
                  <a:lnTo>
                    <a:pt x="125" y="612"/>
                  </a:lnTo>
                  <a:lnTo>
                    <a:pt x="114" y="602"/>
                  </a:lnTo>
                  <a:lnTo>
                    <a:pt x="102" y="590"/>
                  </a:lnTo>
                  <a:lnTo>
                    <a:pt x="90" y="580"/>
                  </a:lnTo>
                  <a:lnTo>
                    <a:pt x="80" y="567"/>
                  </a:lnTo>
                  <a:lnTo>
                    <a:pt x="70" y="556"/>
                  </a:lnTo>
                  <a:lnTo>
                    <a:pt x="62" y="543"/>
                  </a:lnTo>
                  <a:lnTo>
                    <a:pt x="53" y="530"/>
                  </a:lnTo>
                  <a:lnTo>
                    <a:pt x="44" y="515"/>
                  </a:lnTo>
                  <a:lnTo>
                    <a:pt x="37" y="501"/>
                  </a:lnTo>
                  <a:lnTo>
                    <a:pt x="30" y="487"/>
                  </a:lnTo>
                  <a:lnTo>
                    <a:pt x="24" y="472"/>
                  </a:lnTo>
                  <a:lnTo>
                    <a:pt x="18" y="456"/>
                  </a:lnTo>
                  <a:lnTo>
                    <a:pt x="14" y="441"/>
                  </a:lnTo>
                  <a:lnTo>
                    <a:pt x="10" y="425"/>
                  </a:lnTo>
                  <a:lnTo>
                    <a:pt x="6" y="407"/>
                  </a:lnTo>
                  <a:lnTo>
                    <a:pt x="3" y="392"/>
                  </a:lnTo>
                  <a:lnTo>
                    <a:pt x="1" y="374"/>
                  </a:lnTo>
                  <a:lnTo>
                    <a:pt x="0" y="357"/>
                  </a:lnTo>
                  <a:lnTo>
                    <a:pt x="0" y="340"/>
                  </a:lnTo>
                  <a:lnTo>
                    <a:pt x="0" y="323"/>
                  </a:lnTo>
                  <a:lnTo>
                    <a:pt x="1" y="305"/>
                  </a:lnTo>
                  <a:lnTo>
                    <a:pt x="3" y="288"/>
                  </a:lnTo>
                  <a:lnTo>
                    <a:pt x="6" y="271"/>
                  </a:lnTo>
                  <a:lnTo>
                    <a:pt x="10" y="255"/>
                  </a:lnTo>
                  <a:lnTo>
                    <a:pt x="14" y="239"/>
                  </a:lnTo>
                  <a:lnTo>
                    <a:pt x="18" y="223"/>
                  </a:lnTo>
                  <a:lnTo>
                    <a:pt x="24" y="207"/>
                  </a:lnTo>
                  <a:lnTo>
                    <a:pt x="30" y="193"/>
                  </a:lnTo>
                  <a:lnTo>
                    <a:pt x="37" y="179"/>
                  </a:lnTo>
                  <a:lnTo>
                    <a:pt x="44" y="164"/>
                  </a:lnTo>
                  <a:lnTo>
                    <a:pt x="53" y="150"/>
                  </a:lnTo>
                  <a:lnTo>
                    <a:pt x="62" y="137"/>
                  </a:lnTo>
                  <a:lnTo>
                    <a:pt x="70" y="124"/>
                  </a:lnTo>
                  <a:lnTo>
                    <a:pt x="80" y="111"/>
                  </a:lnTo>
                  <a:lnTo>
                    <a:pt x="90" y="99"/>
                  </a:lnTo>
                  <a:lnTo>
                    <a:pt x="102" y="88"/>
                  </a:lnTo>
                  <a:lnTo>
                    <a:pt x="114" y="78"/>
                  </a:lnTo>
                  <a:lnTo>
                    <a:pt x="125" y="68"/>
                  </a:lnTo>
                  <a:lnTo>
                    <a:pt x="137" y="58"/>
                  </a:lnTo>
                  <a:lnTo>
                    <a:pt x="150" y="49"/>
                  </a:lnTo>
                  <a:lnTo>
                    <a:pt x="162" y="42"/>
                  </a:lnTo>
                  <a:lnTo>
                    <a:pt x="175" y="33"/>
                  </a:lnTo>
                  <a:lnTo>
                    <a:pt x="190" y="27"/>
                  </a:lnTo>
                  <a:lnTo>
                    <a:pt x="204" y="20"/>
                  </a:lnTo>
                  <a:lnTo>
                    <a:pt x="219" y="16"/>
                  </a:lnTo>
                  <a:lnTo>
                    <a:pt x="233" y="11"/>
                  </a:lnTo>
                  <a:lnTo>
                    <a:pt x="247" y="7"/>
                  </a:lnTo>
                  <a:lnTo>
                    <a:pt x="263" y="4"/>
                  </a:lnTo>
                  <a:lnTo>
                    <a:pt x="279" y="1"/>
                  </a:lnTo>
                  <a:lnTo>
                    <a:pt x="295" y="0"/>
                  </a:lnTo>
                  <a:lnTo>
                    <a:pt x="311" y="0"/>
                  </a:lnTo>
                  <a:lnTo>
                    <a:pt x="327" y="0"/>
                  </a:lnTo>
                  <a:lnTo>
                    <a:pt x="342" y="1"/>
                  </a:lnTo>
                  <a:lnTo>
                    <a:pt x="358" y="4"/>
                  </a:lnTo>
                  <a:lnTo>
                    <a:pt x="373" y="7"/>
                  </a:lnTo>
                  <a:lnTo>
                    <a:pt x="389" y="11"/>
                  </a:lnTo>
                  <a:lnTo>
                    <a:pt x="403" y="16"/>
                  </a:lnTo>
                  <a:lnTo>
                    <a:pt x="417" y="20"/>
                  </a:lnTo>
                  <a:lnTo>
                    <a:pt x="432" y="27"/>
                  </a:lnTo>
                  <a:lnTo>
                    <a:pt x="446" y="33"/>
                  </a:lnTo>
                  <a:lnTo>
                    <a:pt x="459" y="42"/>
                  </a:lnTo>
                  <a:lnTo>
                    <a:pt x="472" y="49"/>
                  </a:lnTo>
                  <a:lnTo>
                    <a:pt x="485" y="58"/>
                  </a:lnTo>
                  <a:lnTo>
                    <a:pt x="497" y="68"/>
                  </a:lnTo>
                  <a:lnTo>
                    <a:pt x="508" y="78"/>
                  </a:lnTo>
                  <a:lnTo>
                    <a:pt x="520" y="88"/>
                  </a:lnTo>
                  <a:lnTo>
                    <a:pt x="531" y="99"/>
                  </a:lnTo>
                  <a:lnTo>
                    <a:pt x="541" y="111"/>
                  </a:lnTo>
                  <a:lnTo>
                    <a:pt x="551" y="124"/>
                  </a:lnTo>
                  <a:lnTo>
                    <a:pt x="560" y="137"/>
                  </a:lnTo>
                  <a:lnTo>
                    <a:pt x="569" y="150"/>
                  </a:lnTo>
                  <a:lnTo>
                    <a:pt x="577" y="164"/>
                  </a:lnTo>
                  <a:lnTo>
                    <a:pt x="584" y="179"/>
                  </a:lnTo>
                  <a:lnTo>
                    <a:pt x="592" y="193"/>
                  </a:lnTo>
                  <a:lnTo>
                    <a:pt x="597" y="207"/>
                  </a:lnTo>
                  <a:lnTo>
                    <a:pt x="603" y="223"/>
                  </a:lnTo>
                  <a:lnTo>
                    <a:pt x="607" y="239"/>
                  </a:lnTo>
                  <a:lnTo>
                    <a:pt x="612" y="255"/>
                  </a:lnTo>
                  <a:lnTo>
                    <a:pt x="616" y="271"/>
                  </a:lnTo>
                  <a:lnTo>
                    <a:pt x="618" y="288"/>
                  </a:lnTo>
                  <a:lnTo>
                    <a:pt x="620" y="305"/>
                  </a:lnTo>
                  <a:lnTo>
                    <a:pt x="622" y="323"/>
                  </a:lnTo>
                  <a:lnTo>
                    <a:pt x="622" y="340"/>
                  </a:lnTo>
                  <a:lnTo>
                    <a:pt x="622" y="357"/>
                  </a:lnTo>
                  <a:lnTo>
                    <a:pt x="620" y="374"/>
                  </a:lnTo>
                  <a:lnTo>
                    <a:pt x="618" y="392"/>
                  </a:lnTo>
                  <a:lnTo>
                    <a:pt x="616" y="407"/>
                  </a:lnTo>
                  <a:lnTo>
                    <a:pt x="612" y="425"/>
                  </a:lnTo>
                  <a:lnTo>
                    <a:pt x="607" y="441"/>
                  </a:lnTo>
                  <a:lnTo>
                    <a:pt x="603" y="456"/>
                  </a:lnTo>
                  <a:lnTo>
                    <a:pt x="597" y="472"/>
                  </a:lnTo>
                  <a:lnTo>
                    <a:pt x="592" y="487"/>
                  </a:lnTo>
                  <a:lnTo>
                    <a:pt x="584" y="501"/>
                  </a:lnTo>
                  <a:lnTo>
                    <a:pt x="577" y="515"/>
                  </a:lnTo>
                  <a:lnTo>
                    <a:pt x="569" y="530"/>
                  </a:lnTo>
                  <a:lnTo>
                    <a:pt x="560" y="543"/>
                  </a:lnTo>
                  <a:lnTo>
                    <a:pt x="551" y="556"/>
                  </a:lnTo>
                  <a:lnTo>
                    <a:pt x="541" y="567"/>
                  </a:lnTo>
                  <a:lnTo>
                    <a:pt x="531" y="580"/>
                  </a:lnTo>
                  <a:lnTo>
                    <a:pt x="520" y="590"/>
                  </a:lnTo>
                  <a:lnTo>
                    <a:pt x="508" y="602"/>
                  </a:lnTo>
                  <a:lnTo>
                    <a:pt x="497" y="612"/>
                  </a:lnTo>
                  <a:lnTo>
                    <a:pt x="485" y="621"/>
                  </a:lnTo>
                  <a:lnTo>
                    <a:pt x="472" y="631"/>
                  </a:lnTo>
                  <a:lnTo>
                    <a:pt x="459" y="638"/>
                  </a:lnTo>
                  <a:lnTo>
                    <a:pt x="446" y="645"/>
                  </a:lnTo>
                  <a:lnTo>
                    <a:pt x="432" y="652"/>
                  </a:lnTo>
                  <a:lnTo>
                    <a:pt x="417" y="658"/>
                  </a:lnTo>
                  <a:lnTo>
                    <a:pt x="403" y="664"/>
                  </a:lnTo>
                  <a:lnTo>
                    <a:pt x="389" y="668"/>
                  </a:lnTo>
                  <a:lnTo>
                    <a:pt x="373" y="672"/>
                  </a:lnTo>
                  <a:lnTo>
                    <a:pt x="358" y="675"/>
                  </a:lnTo>
                  <a:lnTo>
                    <a:pt x="342" y="678"/>
                  </a:lnTo>
                  <a:lnTo>
                    <a:pt x="327"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Freeform 61">
              <a:extLst>
                <a:ext uri="{FF2B5EF4-FFF2-40B4-BE49-F238E27FC236}">
                  <a16:creationId xmlns:a16="http://schemas.microsoft.com/office/drawing/2014/main" id="{16A25255-D48A-4B47-8A1A-5087DB86033E}"/>
                </a:ext>
              </a:extLst>
            </p:cNvPr>
            <p:cNvSpPr>
              <a:spLocks/>
            </p:cNvSpPr>
            <p:nvPr/>
          </p:nvSpPr>
          <p:spPr bwMode="auto">
            <a:xfrm>
              <a:off x="7140575" y="1235076"/>
              <a:ext cx="569913" cy="360363"/>
            </a:xfrm>
            <a:custGeom>
              <a:avLst/>
              <a:gdLst>
                <a:gd name="T0" fmla="*/ 0 w 1077"/>
                <a:gd name="T1" fmla="*/ 370 h 681"/>
                <a:gd name="T2" fmla="*/ 10 w 1077"/>
                <a:gd name="T3" fmla="*/ 292 h 681"/>
                <a:gd name="T4" fmla="*/ 38 w 1077"/>
                <a:gd name="T5" fmla="*/ 236 h 681"/>
                <a:gd name="T6" fmla="*/ 81 w 1077"/>
                <a:gd name="T7" fmla="*/ 197 h 681"/>
                <a:gd name="T8" fmla="*/ 136 w 1077"/>
                <a:gd name="T9" fmla="*/ 170 h 681"/>
                <a:gd name="T10" fmla="*/ 242 w 1077"/>
                <a:gd name="T11" fmla="*/ 137 h 681"/>
                <a:gd name="T12" fmla="*/ 303 w 1077"/>
                <a:gd name="T13" fmla="*/ 118 h 681"/>
                <a:gd name="T14" fmla="*/ 349 w 1077"/>
                <a:gd name="T15" fmla="*/ 95 h 681"/>
                <a:gd name="T16" fmla="*/ 376 w 1077"/>
                <a:gd name="T17" fmla="*/ 68 h 681"/>
                <a:gd name="T18" fmla="*/ 395 w 1077"/>
                <a:gd name="T19" fmla="*/ 32 h 681"/>
                <a:gd name="T20" fmla="*/ 399 w 1077"/>
                <a:gd name="T21" fmla="*/ 3 h 681"/>
                <a:gd name="T22" fmla="*/ 447 w 1077"/>
                <a:gd name="T23" fmla="*/ 37 h 681"/>
                <a:gd name="T24" fmla="*/ 434 w 1077"/>
                <a:gd name="T25" fmla="*/ 73 h 681"/>
                <a:gd name="T26" fmla="*/ 411 w 1077"/>
                <a:gd name="T27" fmla="*/ 109 h 681"/>
                <a:gd name="T28" fmla="*/ 373 w 1077"/>
                <a:gd name="T29" fmla="*/ 141 h 681"/>
                <a:gd name="T30" fmla="*/ 318 w 1077"/>
                <a:gd name="T31" fmla="*/ 167 h 681"/>
                <a:gd name="T32" fmla="*/ 258 w 1077"/>
                <a:gd name="T33" fmla="*/ 186 h 681"/>
                <a:gd name="T34" fmla="*/ 157 w 1077"/>
                <a:gd name="T35" fmla="*/ 217 h 681"/>
                <a:gd name="T36" fmla="*/ 111 w 1077"/>
                <a:gd name="T37" fmla="*/ 239 h 681"/>
                <a:gd name="T38" fmla="*/ 78 w 1077"/>
                <a:gd name="T39" fmla="*/ 269 h 681"/>
                <a:gd name="T40" fmla="*/ 58 w 1077"/>
                <a:gd name="T41" fmla="*/ 311 h 681"/>
                <a:gd name="T42" fmla="*/ 52 w 1077"/>
                <a:gd name="T43" fmla="*/ 370 h 681"/>
                <a:gd name="T44" fmla="*/ 1026 w 1077"/>
                <a:gd name="T45" fmla="*/ 370 h 681"/>
                <a:gd name="T46" fmla="*/ 1018 w 1077"/>
                <a:gd name="T47" fmla="*/ 311 h 681"/>
                <a:gd name="T48" fmla="*/ 1000 w 1077"/>
                <a:gd name="T49" fmla="*/ 269 h 681"/>
                <a:gd name="T50" fmla="*/ 966 w 1077"/>
                <a:gd name="T51" fmla="*/ 239 h 681"/>
                <a:gd name="T52" fmla="*/ 920 w 1077"/>
                <a:gd name="T53" fmla="*/ 217 h 681"/>
                <a:gd name="T54" fmla="*/ 820 w 1077"/>
                <a:gd name="T55" fmla="*/ 186 h 681"/>
                <a:gd name="T56" fmla="*/ 759 w 1077"/>
                <a:gd name="T57" fmla="*/ 167 h 681"/>
                <a:gd name="T58" fmla="*/ 704 w 1077"/>
                <a:gd name="T59" fmla="*/ 141 h 681"/>
                <a:gd name="T60" fmla="*/ 667 w 1077"/>
                <a:gd name="T61" fmla="*/ 109 h 681"/>
                <a:gd name="T62" fmla="*/ 644 w 1077"/>
                <a:gd name="T63" fmla="*/ 73 h 681"/>
                <a:gd name="T64" fmla="*/ 631 w 1077"/>
                <a:gd name="T65" fmla="*/ 37 h 681"/>
                <a:gd name="T66" fmla="*/ 627 w 1077"/>
                <a:gd name="T67" fmla="*/ 7 h 681"/>
                <a:gd name="T68" fmla="*/ 678 w 1077"/>
                <a:gd name="T69" fmla="*/ 7 h 681"/>
                <a:gd name="T70" fmla="*/ 690 w 1077"/>
                <a:gd name="T71" fmla="*/ 49 h 681"/>
                <a:gd name="T72" fmla="*/ 709 w 1077"/>
                <a:gd name="T73" fmla="*/ 76 h 681"/>
                <a:gd name="T74" fmla="*/ 742 w 1077"/>
                <a:gd name="T75" fmla="*/ 104 h 681"/>
                <a:gd name="T76" fmla="*/ 795 w 1077"/>
                <a:gd name="T77" fmla="*/ 124 h 681"/>
                <a:gd name="T78" fmla="*/ 854 w 1077"/>
                <a:gd name="T79" fmla="*/ 141 h 681"/>
                <a:gd name="T80" fmla="*/ 961 w 1077"/>
                <a:gd name="T81" fmla="*/ 178 h 681"/>
                <a:gd name="T82" fmla="*/ 1013 w 1077"/>
                <a:gd name="T83" fmla="*/ 209 h 681"/>
                <a:gd name="T84" fmla="*/ 1051 w 1077"/>
                <a:gd name="T85" fmla="*/ 252 h 681"/>
                <a:gd name="T86" fmla="*/ 1073 w 1077"/>
                <a:gd name="T87" fmla="*/ 315 h 681"/>
                <a:gd name="T88" fmla="*/ 1077 w 1077"/>
                <a:gd name="T89" fmla="*/ 681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7" h="681">
                  <a:moveTo>
                    <a:pt x="1077" y="681"/>
                  </a:moveTo>
                  <a:lnTo>
                    <a:pt x="0" y="681"/>
                  </a:lnTo>
                  <a:lnTo>
                    <a:pt x="0" y="370"/>
                  </a:lnTo>
                  <a:lnTo>
                    <a:pt x="0" y="341"/>
                  </a:lnTo>
                  <a:lnTo>
                    <a:pt x="5" y="315"/>
                  </a:lnTo>
                  <a:lnTo>
                    <a:pt x="10" y="292"/>
                  </a:lnTo>
                  <a:lnTo>
                    <a:pt x="18" y="271"/>
                  </a:lnTo>
                  <a:lnTo>
                    <a:pt x="26" y="252"/>
                  </a:lnTo>
                  <a:lnTo>
                    <a:pt x="38" y="236"/>
                  </a:lnTo>
                  <a:lnTo>
                    <a:pt x="51" y="222"/>
                  </a:lnTo>
                  <a:lnTo>
                    <a:pt x="65" y="209"/>
                  </a:lnTo>
                  <a:lnTo>
                    <a:pt x="81" y="197"/>
                  </a:lnTo>
                  <a:lnTo>
                    <a:pt x="98" y="187"/>
                  </a:lnTo>
                  <a:lnTo>
                    <a:pt x="117" y="178"/>
                  </a:lnTo>
                  <a:lnTo>
                    <a:pt x="136" y="170"/>
                  </a:lnTo>
                  <a:lnTo>
                    <a:pt x="179" y="155"/>
                  </a:lnTo>
                  <a:lnTo>
                    <a:pt x="223" y="141"/>
                  </a:lnTo>
                  <a:lnTo>
                    <a:pt x="242" y="137"/>
                  </a:lnTo>
                  <a:lnTo>
                    <a:pt x="262" y="129"/>
                  </a:lnTo>
                  <a:lnTo>
                    <a:pt x="282" y="124"/>
                  </a:lnTo>
                  <a:lnTo>
                    <a:pt x="303" y="118"/>
                  </a:lnTo>
                  <a:lnTo>
                    <a:pt x="320" y="111"/>
                  </a:lnTo>
                  <a:lnTo>
                    <a:pt x="336" y="104"/>
                  </a:lnTo>
                  <a:lnTo>
                    <a:pt x="349" y="95"/>
                  </a:lnTo>
                  <a:lnTo>
                    <a:pt x="359" y="86"/>
                  </a:lnTo>
                  <a:lnTo>
                    <a:pt x="369" y="76"/>
                  </a:lnTo>
                  <a:lnTo>
                    <a:pt x="376" y="68"/>
                  </a:lnTo>
                  <a:lnTo>
                    <a:pt x="383" y="58"/>
                  </a:lnTo>
                  <a:lnTo>
                    <a:pt x="388" y="49"/>
                  </a:lnTo>
                  <a:lnTo>
                    <a:pt x="395" y="32"/>
                  </a:lnTo>
                  <a:lnTo>
                    <a:pt x="398" y="17"/>
                  </a:lnTo>
                  <a:lnTo>
                    <a:pt x="399" y="7"/>
                  </a:lnTo>
                  <a:lnTo>
                    <a:pt x="399" y="3"/>
                  </a:lnTo>
                  <a:lnTo>
                    <a:pt x="451" y="0"/>
                  </a:lnTo>
                  <a:lnTo>
                    <a:pt x="451" y="17"/>
                  </a:lnTo>
                  <a:lnTo>
                    <a:pt x="447" y="37"/>
                  </a:lnTo>
                  <a:lnTo>
                    <a:pt x="444" y="49"/>
                  </a:lnTo>
                  <a:lnTo>
                    <a:pt x="439" y="60"/>
                  </a:lnTo>
                  <a:lnTo>
                    <a:pt x="434" y="73"/>
                  </a:lnTo>
                  <a:lnTo>
                    <a:pt x="428" y="85"/>
                  </a:lnTo>
                  <a:lnTo>
                    <a:pt x="419" y="96"/>
                  </a:lnTo>
                  <a:lnTo>
                    <a:pt x="411" y="109"/>
                  </a:lnTo>
                  <a:lnTo>
                    <a:pt x="399" y="119"/>
                  </a:lnTo>
                  <a:lnTo>
                    <a:pt x="386" y="131"/>
                  </a:lnTo>
                  <a:lnTo>
                    <a:pt x="373" y="141"/>
                  </a:lnTo>
                  <a:lnTo>
                    <a:pt x="356" y="151"/>
                  </a:lnTo>
                  <a:lnTo>
                    <a:pt x="339" y="160"/>
                  </a:lnTo>
                  <a:lnTo>
                    <a:pt x="318" y="167"/>
                  </a:lnTo>
                  <a:lnTo>
                    <a:pt x="298" y="174"/>
                  </a:lnTo>
                  <a:lnTo>
                    <a:pt x="278" y="180"/>
                  </a:lnTo>
                  <a:lnTo>
                    <a:pt x="258" y="186"/>
                  </a:lnTo>
                  <a:lnTo>
                    <a:pt x="239" y="191"/>
                  </a:lnTo>
                  <a:lnTo>
                    <a:pt x="195" y="204"/>
                  </a:lnTo>
                  <a:lnTo>
                    <a:pt x="157" y="217"/>
                  </a:lnTo>
                  <a:lnTo>
                    <a:pt x="140" y="225"/>
                  </a:lnTo>
                  <a:lnTo>
                    <a:pt x="126" y="232"/>
                  </a:lnTo>
                  <a:lnTo>
                    <a:pt x="111" y="239"/>
                  </a:lnTo>
                  <a:lnTo>
                    <a:pt x="98" y="249"/>
                  </a:lnTo>
                  <a:lnTo>
                    <a:pt x="88" y="258"/>
                  </a:lnTo>
                  <a:lnTo>
                    <a:pt x="78" y="269"/>
                  </a:lnTo>
                  <a:lnTo>
                    <a:pt x="71" y="281"/>
                  </a:lnTo>
                  <a:lnTo>
                    <a:pt x="64" y="295"/>
                  </a:lnTo>
                  <a:lnTo>
                    <a:pt x="58" y="311"/>
                  </a:lnTo>
                  <a:lnTo>
                    <a:pt x="55" y="328"/>
                  </a:lnTo>
                  <a:lnTo>
                    <a:pt x="52" y="348"/>
                  </a:lnTo>
                  <a:lnTo>
                    <a:pt x="52" y="370"/>
                  </a:lnTo>
                  <a:lnTo>
                    <a:pt x="52" y="629"/>
                  </a:lnTo>
                  <a:lnTo>
                    <a:pt x="1026" y="629"/>
                  </a:lnTo>
                  <a:lnTo>
                    <a:pt x="1026" y="370"/>
                  </a:lnTo>
                  <a:lnTo>
                    <a:pt x="1026" y="348"/>
                  </a:lnTo>
                  <a:lnTo>
                    <a:pt x="1023" y="328"/>
                  </a:lnTo>
                  <a:lnTo>
                    <a:pt x="1018" y="311"/>
                  </a:lnTo>
                  <a:lnTo>
                    <a:pt x="1014" y="295"/>
                  </a:lnTo>
                  <a:lnTo>
                    <a:pt x="1007" y="281"/>
                  </a:lnTo>
                  <a:lnTo>
                    <a:pt x="1000" y="269"/>
                  </a:lnTo>
                  <a:lnTo>
                    <a:pt x="990" y="258"/>
                  </a:lnTo>
                  <a:lnTo>
                    <a:pt x="979" y="249"/>
                  </a:lnTo>
                  <a:lnTo>
                    <a:pt x="966" y="239"/>
                  </a:lnTo>
                  <a:lnTo>
                    <a:pt x="952" y="232"/>
                  </a:lnTo>
                  <a:lnTo>
                    <a:pt x="938" y="225"/>
                  </a:lnTo>
                  <a:lnTo>
                    <a:pt x="920" y="217"/>
                  </a:lnTo>
                  <a:lnTo>
                    <a:pt x="883" y="204"/>
                  </a:lnTo>
                  <a:lnTo>
                    <a:pt x="838" y="191"/>
                  </a:lnTo>
                  <a:lnTo>
                    <a:pt x="820" y="186"/>
                  </a:lnTo>
                  <a:lnTo>
                    <a:pt x="799" y="180"/>
                  </a:lnTo>
                  <a:lnTo>
                    <a:pt x="779" y="174"/>
                  </a:lnTo>
                  <a:lnTo>
                    <a:pt x="759" y="167"/>
                  </a:lnTo>
                  <a:lnTo>
                    <a:pt x="739" y="160"/>
                  </a:lnTo>
                  <a:lnTo>
                    <a:pt x="720" y="151"/>
                  </a:lnTo>
                  <a:lnTo>
                    <a:pt x="704" y="141"/>
                  </a:lnTo>
                  <a:lnTo>
                    <a:pt x="690" y="131"/>
                  </a:lnTo>
                  <a:lnTo>
                    <a:pt x="678" y="119"/>
                  </a:lnTo>
                  <a:lnTo>
                    <a:pt x="667" y="109"/>
                  </a:lnTo>
                  <a:lnTo>
                    <a:pt x="658" y="96"/>
                  </a:lnTo>
                  <a:lnTo>
                    <a:pt x="650" y="85"/>
                  </a:lnTo>
                  <a:lnTo>
                    <a:pt x="644" y="73"/>
                  </a:lnTo>
                  <a:lnTo>
                    <a:pt x="638" y="60"/>
                  </a:lnTo>
                  <a:lnTo>
                    <a:pt x="634" y="49"/>
                  </a:lnTo>
                  <a:lnTo>
                    <a:pt x="631" y="37"/>
                  </a:lnTo>
                  <a:lnTo>
                    <a:pt x="628" y="27"/>
                  </a:lnTo>
                  <a:lnTo>
                    <a:pt x="627" y="17"/>
                  </a:lnTo>
                  <a:lnTo>
                    <a:pt x="627" y="7"/>
                  </a:lnTo>
                  <a:lnTo>
                    <a:pt x="627" y="0"/>
                  </a:lnTo>
                  <a:lnTo>
                    <a:pt x="678" y="3"/>
                  </a:lnTo>
                  <a:lnTo>
                    <a:pt x="678" y="7"/>
                  </a:lnTo>
                  <a:lnTo>
                    <a:pt x="680" y="17"/>
                  </a:lnTo>
                  <a:lnTo>
                    <a:pt x="683" y="32"/>
                  </a:lnTo>
                  <a:lnTo>
                    <a:pt x="690" y="49"/>
                  </a:lnTo>
                  <a:lnTo>
                    <a:pt x="694" y="58"/>
                  </a:lnTo>
                  <a:lnTo>
                    <a:pt x="702" y="68"/>
                  </a:lnTo>
                  <a:lnTo>
                    <a:pt x="709" y="76"/>
                  </a:lnTo>
                  <a:lnTo>
                    <a:pt x="719" y="86"/>
                  </a:lnTo>
                  <a:lnTo>
                    <a:pt x="729" y="95"/>
                  </a:lnTo>
                  <a:lnTo>
                    <a:pt x="742" y="104"/>
                  </a:lnTo>
                  <a:lnTo>
                    <a:pt x="758" y="111"/>
                  </a:lnTo>
                  <a:lnTo>
                    <a:pt x="775" y="118"/>
                  </a:lnTo>
                  <a:lnTo>
                    <a:pt x="795" y="124"/>
                  </a:lnTo>
                  <a:lnTo>
                    <a:pt x="815" y="129"/>
                  </a:lnTo>
                  <a:lnTo>
                    <a:pt x="835" y="137"/>
                  </a:lnTo>
                  <a:lnTo>
                    <a:pt x="854" y="141"/>
                  </a:lnTo>
                  <a:lnTo>
                    <a:pt x="899" y="155"/>
                  </a:lnTo>
                  <a:lnTo>
                    <a:pt x="942" y="170"/>
                  </a:lnTo>
                  <a:lnTo>
                    <a:pt x="961" y="178"/>
                  </a:lnTo>
                  <a:lnTo>
                    <a:pt x="979" y="187"/>
                  </a:lnTo>
                  <a:lnTo>
                    <a:pt x="997" y="197"/>
                  </a:lnTo>
                  <a:lnTo>
                    <a:pt x="1013" y="209"/>
                  </a:lnTo>
                  <a:lnTo>
                    <a:pt x="1027" y="222"/>
                  </a:lnTo>
                  <a:lnTo>
                    <a:pt x="1040" y="236"/>
                  </a:lnTo>
                  <a:lnTo>
                    <a:pt x="1051" y="252"/>
                  </a:lnTo>
                  <a:lnTo>
                    <a:pt x="1060" y="271"/>
                  </a:lnTo>
                  <a:lnTo>
                    <a:pt x="1067" y="292"/>
                  </a:lnTo>
                  <a:lnTo>
                    <a:pt x="1073" y="315"/>
                  </a:lnTo>
                  <a:lnTo>
                    <a:pt x="1077" y="341"/>
                  </a:lnTo>
                  <a:lnTo>
                    <a:pt x="1077" y="370"/>
                  </a:lnTo>
                  <a:lnTo>
                    <a:pt x="1077"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Freeform 132">
              <a:extLst>
                <a:ext uri="{FF2B5EF4-FFF2-40B4-BE49-F238E27FC236}">
                  <a16:creationId xmlns:a16="http://schemas.microsoft.com/office/drawing/2014/main" id="{CE9F1F29-02A7-4FE1-9415-8C40173F7336}"/>
                </a:ext>
              </a:extLst>
            </p:cNvPr>
            <p:cNvSpPr>
              <a:spLocks/>
            </p:cNvSpPr>
            <p:nvPr/>
          </p:nvSpPr>
          <p:spPr bwMode="auto">
            <a:xfrm>
              <a:off x="7334250" y="1268413"/>
              <a:ext cx="184150" cy="106363"/>
            </a:xfrm>
            <a:custGeom>
              <a:avLst/>
              <a:gdLst>
                <a:gd name="T0" fmla="*/ 174 w 348"/>
                <a:gd name="T1" fmla="*/ 200 h 200"/>
                <a:gd name="T2" fmla="*/ 168 w 348"/>
                <a:gd name="T3" fmla="*/ 200 h 200"/>
                <a:gd name="T4" fmla="*/ 164 w 348"/>
                <a:gd name="T5" fmla="*/ 198 h 200"/>
                <a:gd name="T6" fmla="*/ 159 w 348"/>
                <a:gd name="T7" fmla="*/ 196 h 200"/>
                <a:gd name="T8" fmla="*/ 155 w 348"/>
                <a:gd name="T9" fmla="*/ 193 h 200"/>
                <a:gd name="T10" fmla="*/ 7 w 348"/>
                <a:gd name="T11" fmla="*/ 44 h 200"/>
                <a:gd name="T12" fmla="*/ 4 w 348"/>
                <a:gd name="T13" fmla="*/ 40 h 200"/>
                <a:gd name="T14" fmla="*/ 1 w 348"/>
                <a:gd name="T15" fmla="*/ 36 h 200"/>
                <a:gd name="T16" fmla="*/ 0 w 348"/>
                <a:gd name="T17" fmla="*/ 31 h 200"/>
                <a:gd name="T18" fmla="*/ 0 w 348"/>
                <a:gd name="T19" fmla="*/ 26 h 200"/>
                <a:gd name="T20" fmla="*/ 0 w 348"/>
                <a:gd name="T21" fmla="*/ 21 h 200"/>
                <a:gd name="T22" fmla="*/ 1 w 348"/>
                <a:gd name="T23" fmla="*/ 16 h 200"/>
                <a:gd name="T24" fmla="*/ 4 w 348"/>
                <a:gd name="T25" fmla="*/ 11 h 200"/>
                <a:gd name="T26" fmla="*/ 7 w 348"/>
                <a:gd name="T27" fmla="*/ 7 h 200"/>
                <a:gd name="T28" fmla="*/ 11 w 348"/>
                <a:gd name="T29" fmla="*/ 4 h 200"/>
                <a:gd name="T30" fmla="*/ 15 w 348"/>
                <a:gd name="T31" fmla="*/ 1 h 200"/>
                <a:gd name="T32" fmla="*/ 20 w 348"/>
                <a:gd name="T33" fmla="*/ 0 h 200"/>
                <a:gd name="T34" fmla="*/ 25 w 348"/>
                <a:gd name="T35" fmla="*/ 0 h 200"/>
                <a:gd name="T36" fmla="*/ 30 w 348"/>
                <a:gd name="T37" fmla="*/ 0 h 200"/>
                <a:gd name="T38" fmla="*/ 36 w 348"/>
                <a:gd name="T39" fmla="*/ 1 h 200"/>
                <a:gd name="T40" fmla="*/ 40 w 348"/>
                <a:gd name="T41" fmla="*/ 4 h 200"/>
                <a:gd name="T42" fmla="*/ 44 w 348"/>
                <a:gd name="T43" fmla="*/ 7 h 200"/>
                <a:gd name="T44" fmla="*/ 174 w 348"/>
                <a:gd name="T45" fmla="*/ 138 h 200"/>
                <a:gd name="T46" fmla="*/ 303 w 348"/>
                <a:gd name="T47" fmla="*/ 8 h 200"/>
                <a:gd name="T48" fmla="*/ 308 w 348"/>
                <a:gd name="T49" fmla="*/ 4 h 200"/>
                <a:gd name="T50" fmla="*/ 312 w 348"/>
                <a:gd name="T51" fmla="*/ 3 h 200"/>
                <a:gd name="T52" fmla="*/ 316 w 348"/>
                <a:gd name="T53" fmla="*/ 1 h 200"/>
                <a:gd name="T54" fmla="*/ 322 w 348"/>
                <a:gd name="T55" fmla="*/ 0 h 200"/>
                <a:gd name="T56" fmla="*/ 326 w 348"/>
                <a:gd name="T57" fmla="*/ 1 h 200"/>
                <a:gd name="T58" fmla="*/ 331 w 348"/>
                <a:gd name="T59" fmla="*/ 3 h 200"/>
                <a:gd name="T60" fmla="*/ 337 w 348"/>
                <a:gd name="T61" fmla="*/ 4 h 200"/>
                <a:gd name="T62" fmla="*/ 341 w 348"/>
                <a:gd name="T63" fmla="*/ 8 h 200"/>
                <a:gd name="T64" fmla="*/ 344 w 348"/>
                <a:gd name="T65" fmla="*/ 13 h 200"/>
                <a:gd name="T66" fmla="*/ 345 w 348"/>
                <a:gd name="T67" fmla="*/ 17 h 200"/>
                <a:gd name="T68" fmla="*/ 347 w 348"/>
                <a:gd name="T69" fmla="*/ 21 h 200"/>
                <a:gd name="T70" fmla="*/ 348 w 348"/>
                <a:gd name="T71" fmla="*/ 27 h 200"/>
                <a:gd name="T72" fmla="*/ 347 w 348"/>
                <a:gd name="T73" fmla="*/ 31 h 200"/>
                <a:gd name="T74" fmla="*/ 345 w 348"/>
                <a:gd name="T75" fmla="*/ 36 h 200"/>
                <a:gd name="T76" fmla="*/ 344 w 348"/>
                <a:gd name="T77" fmla="*/ 40 h 200"/>
                <a:gd name="T78" fmla="*/ 341 w 348"/>
                <a:gd name="T79" fmla="*/ 44 h 200"/>
                <a:gd name="T80" fmla="*/ 193 w 348"/>
                <a:gd name="T81" fmla="*/ 193 h 200"/>
                <a:gd name="T82" fmla="*/ 188 w 348"/>
                <a:gd name="T83" fmla="*/ 196 h 200"/>
                <a:gd name="T84" fmla="*/ 184 w 348"/>
                <a:gd name="T85" fmla="*/ 198 h 200"/>
                <a:gd name="T86" fmla="*/ 180 w 348"/>
                <a:gd name="T87" fmla="*/ 200 h 200"/>
                <a:gd name="T88" fmla="*/ 174 w 348"/>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8" h="200">
                  <a:moveTo>
                    <a:pt x="174" y="200"/>
                  </a:moveTo>
                  <a:lnTo>
                    <a:pt x="168" y="200"/>
                  </a:lnTo>
                  <a:lnTo>
                    <a:pt x="164" y="198"/>
                  </a:lnTo>
                  <a:lnTo>
                    <a:pt x="159" y="196"/>
                  </a:lnTo>
                  <a:lnTo>
                    <a:pt x="155" y="193"/>
                  </a:lnTo>
                  <a:lnTo>
                    <a:pt x="7" y="44"/>
                  </a:lnTo>
                  <a:lnTo>
                    <a:pt x="4" y="40"/>
                  </a:lnTo>
                  <a:lnTo>
                    <a:pt x="1" y="36"/>
                  </a:lnTo>
                  <a:lnTo>
                    <a:pt x="0" y="31"/>
                  </a:lnTo>
                  <a:lnTo>
                    <a:pt x="0" y="26"/>
                  </a:lnTo>
                  <a:lnTo>
                    <a:pt x="0" y="21"/>
                  </a:lnTo>
                  <a:lnTo>
                    <a:pt x="1" y="16"/>
                  </a:lnTo>
                  <a:lnTo>
                    <a:pt x="4" y="11"/>
                  </a:lnTo>
                  <a:lnTo>
                    <a:pt x="7" y="7"/>
                  </a:lnTo>
                  <a:lnTo>
                    <a:pt x="11" y="4"/>
                  </a:lnTo>
                  <a:lnTo>
                    <a:pt x="15" y="1"/>
                  </a:lnTo>
                  <a:lnTo>
                    <a:pt x="20" y="0"/>
                  </a:lnTo>
                  <a:lnTo>
                    <a:pt x="25" y="0"/>
                  </a:lnTo>
                  <a:lnTo>
                    <a:pt x="30" y="0"/>
                  </a:lnTo>
                  <a:lnTo>
                    <a:pt x="36" y="1"/>
                  </a:lnTo>
                  <a:lnTo>
                    <a:pt x="40" y="4"/>
                  </a:lnTo>
                  <a:lnTo>
                    <a:pt x="44" y="7"/>
                  </a:lnTo>
                  <a:lnTo>
                    <a:pt x="174" y="138"/>
                  </a:lnTo>
                  <a:lnTo>
                    <a:pt x="303" y="8"/>
                  </a:lnTo>
                  <a:lnTo>
                    <a:pt x="308" y="4"/>
                  </a:lnTo>
                  <a:lnTo>
                    <a:pt x="312" y="3"/>
                  </a:lnTo>
                  <a:lnTo>
                    <a:pt x="316" y="1"/>
                  </a:lnTo>
                  <a:lnTo>
                    <a:pt x="322" y="0"/>
                  </a:lnTo>
                  <a:lnTo>
                    <a:pt x="326" y="1"/>
                  </a:lnTo>
                  <a:lnTo>
                    <a:pt x="331" y="3"/>
                  </a:lnTo>
                  <a:lnTo>
                    <a:pt x="337" y="4"/>
                  </a:lnTo>
                  <a:lnTo>
                    <a:pt x="341" y="8"/>
                  </a:lnTo>
                  <a:lnTo>
                    <a:pt x="344" y="13"/>
                  </a:lnTo>
                  <a:lnTo>
                    <a:pt x="345" y="17"/>
                  </a:lnTo>
                  <a:lnTo>
                    <a:pt x="347" y="21"/>
                  </a:lnTo>
                  <a:lnTo>
                    <a:pt x="348" y="27"/>
                  </a:lnTo>
                  <a:lnTo>
                    <a:pt x="347" y="31"/>
                  </a:lnTo>
                  <a:lnTo>
                    <a:pt x="345" y="36"/>
                  </a:lnTo>
                  <a:lnTo>
                    <a:pt x="344" y="40"/>
                  </a:lnTo>
                  <a:lnTo>
                    <a:pt x="341" y="44"/>
                  </a:lnTo>
                  <a:lnTo>
                    <a:pt x="193" y="193"/>
                  </a:lnTo>
                  <a:lnTo>
                    <a:pt x="188" y="196"/>
                  </a:lnTo>
                  <a:lnTo>
                    <a:pt x="184" y="198"/>
                  </a:lnTo>
                  <a:lnTo>
                    <a:pt x="180" y="200"/>
                  </a:lnTo>
                  <a:lnTo>
                    <a:pt x="174"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Freeform 133">
              <a:extLst>
                <a:ext uri="{FF2B5EF4-FFF2-40B4-BE49-F238E27FC236}">
                  <a16:creationId xmlns:a16="http://schemas.microsoft.com/office/drawing/2014/main" id="{1F77BA51-7436-485B-A8E0-3A0044D0CD42}"/>
                </a:ext>
              </a:extLst>
            </p:cNvPr>
            <p:cNvSpPr>
              <a:spLocks/>
            </p:cNvSpPr>
            <p:nvPr/>
          </p:nvSpPr>
          <p:spPr bwMode="auto">
            <a:xfrm>
              <a:off x="7348538" y="1336676"/>
              <a:ext cx="68263" cy="258763"/>
            </a:xfrm>
            <a:custGeom>
              <a:avLst/>
              <a:gdLst>
                <a:gd name="T0" fmla="*/ 26 w 129"/>
                <a:gd name="T1" fmla="*/ 488 h 488"/>
                <a:gd name="T2" fmla="*/ 23 w 129"/>
                <a:gd name="T3" fmla="*/ 488 h 488"/>
                <a:gd name="T4" fmla="*/ 21 w 129"/>
                <a:gd name="T5" fmla="*/ 488 h 488"/>
                <a:gd name="T6" fmla="*/ 15 w 129"/>
                <a:gd name="T7" fmla="*/ 485 h 488"/>
                <a:gd name="T8" fmla="*/ 10 w 129"/>
                <a:gd name="T9" fmla="*/ 484 h 488"/>
                <a:gd name="T10" fmla="*/ 8 w 129"/>
                <a:gd name="T11" fmla="*/ 479 h 488"/>
                <a:gd name="T12" fmla="*/ 3 w 129"/>
                <a:gd name="T13" fmla="*/ 476 h 488"/>
                <a:gd name="T14" fmla="*/ 2 w 129"/>
                <a:gd name="T15" fmla="*/ 471 h 488"/>
                <a:gd name="T16" fmla="*/ 0 w 129"/>
                <a:gd name="T17" fmla="*/ 466 h 488"/>
                <a:gd name="T18" fmla="*/ 0 w 129"/>
                <a:gd name="T19" fmla="*/ 462 h 488"/>
                <a:gd name="T20" fmla="*/ 0 w 129"/>
                <a:gd name="T21" fmla="*/ 456 h 488"/>
                <a:gd name="T22" fmla="*/ 74 w 129"/>
                <a:gd name="T23" fmla="*/ 138 h 488"/>
                <a:gd name="T24" fmla="*/ 25 w 129"/>
                <a:gd name="T25" fmla="*/ 89 h 488"/>
                <a:gd name="T26" fmla="*/ 22 w 129"/>
                <a:gd name="T27" fmla="*/ 85 h 488"/>
                <a:gd name="T28" fmla="*/ 19 w 129"/>
                <a:gd name="T29" fmla="*/ 80 h 488"/>
                <a:gd name="T30" fmla="*/ 18 w 129"/>
                <a:gd name="T31" fmla="*/ 75 h 488"/>
                <a:gd name="T32" fmla="*/ 18 w 129"/>
                <a:gd name="T33" fmla="*/ 70 h 488"/>
                <a:gd name="T34" fmla="*/ 18 w 129"/>
                <a:gd name="T35" fmla="*/ 65 h 488"/>
                <a:gd name="T36" fmla="*/ 19 w 129"/>
                <a:gd name="T37" fmla="*/ 60 h 488"/>
                <a:gd name="T38" fmla="*/ 22 w 129"/>
                <a:gd name="T39" fmla="*/ 56 h 488"/>
                <a:gd name="T40" fmla="*/ 25 w 129"/>
                <a:gd name="T41" fmla="*/ 52 h 488"/>
                <a:gd name="T42" fmla="*/ 68 w 129"/>
                <a:gd name="T43" fmla="*/ 8 h 488"/>
                <a:gd name="T44" fmla="*/ 72 w 129"/>
                <a:gd name="T45" fmla="*/ 4 h 488"/>
                <a:gd name="T46" fmla="*/ 77 w 129"/>
                <a:gd name="T47" fmla="*/ 3 h 488"/>
                <a:gd name="T48" fmla="*/ 82 w 129"/>
                <a:gd name="T49" fmla="*/ 1 h 488"/>
                <a:gd name="T50" fmla="*/ 87 w 129"/>
                <a:gd name="T51" fmla="*/ 0 h 488"/>
                <a:gd name="T52" fmla="*/ 93 w 129"/>
                <a:gd name="T53" fmla="*/ 1 h 488"/>
                <a:gd name="T54" fmla="*/ 97 w 129"/>
                <a:gd name="T55" fmla="*/ 3 h 488"/>
                <a:gd name="T56" fmla="*/ 101 w 129"/>
                <a:gd name="T57" fmla="*/ 4 h 488"/>
                <a:gd name="T58" fmla="*/ 105 w 129"/>
                <a:gd name="T59" fmla="*/ 8 h 488"/>
                <a:gd name="T60" fmla="*/ 108 w 129"/>
                <a:gd name="T61" fmla="*/ 13 h 488"/>
                <a:gd name="T62" fmla="*/ 111 w 129"/>
                <a:gd name="T63" fmla="*/ 17 h 488"/>
                <a:gd name="T64" fmla="*/ 113 w 129"/>
                <a:gd name="T65" fmla="*/ 21 h 488"/>
                <a:gd name="T66" fmla="*/ 113 w 129"/>
                <a:gd name="T67" fmla="*/ 27 h 488"/>
                <a:gd name="T68" fmla="*/ 113 w 129"/>
                <a:gd name="T69" fmla="*/ 32 h 488"/>
                <a:gd name="T70" fmla="*/ 111 w 129"/>
                <a:gd name="T71" fmla="*/ 36 h 488"/>
                <a:gd name="T72" fmla="*/ 108 w 129"/>
                <a:gd name="T73" fmla="*/ 42 h 488"/>
                <a:gd name="T74" fmla="*/ 105 w 129"/>
                <a:gd name="T75" fmla="*/ 44 h 488"/>
                <a:gd name="T76" fmla="*/ 81 w 129"/>
                <a:gd name="T77" fmla="*/ 70 h 488"/>
                <a:gd name="T78" fmla="*/ 121 w 129"/>
                <a:gd name="T79" fmla="*/ 111 h 488"/>
                <a:gd name="T80" fmla="*/ 126 w 129"/>
                <a:gd name="T81" fmla="*/ 116 h 488"/>
                <a:gd name="T82" fmla="*/ 129 w 129"/>
                <a:gd name="T83" fmla="*/ 122 h 488"/>
                <a:gd name="T84" fmla="*/ 129 w 129"/>
                <a:gd name="T85" fmla="*/ 129 h 488"/>
                <a:gd name="T86" fmla="*/ 129 w 129"/>
                <a:gd name="T87" fmla="*/ 135 h 488"/>
                <a:gd name="T88" fmla="*/ 51 w 129"/>
                <a:gd name="T89" fmla="*/ 468 h 488"/>
                <a:gd name="T90" fmla="*/ 51 w 129"/>
                <a:gd name="T91" fmla="*/ 472 h 488"/>
                <a:gd name="T92" fmla="*/ 48 w 129"/>
                <a:gd name="T93" fmla="*/ 476 h 488"/>
                <a:gd name="T94" fmla="*/ 45 w 129"/>
                <a:gd name="T95" fmla="*/ 479 h 488"/>
                <a:gd name="T96" fmla="*/ 42 w 129"/>
                <a:gd name="T97" fmla="*/ 482 h 488"/>
                <a:gd name="T98" fmla="*/ 35 w 129"/>
                <a:gd name="T99" fmla="*/ 487 h 488"/>
                <a:gd name="T100" fmla="*/ 26 w 129"/>
                <a:gd name="T101"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9" h="488">
                  <a:moveTo>
                    <a:pt x="26" y="488"/>
                  </a:moveTo>
                  <a:lnTo>
                    <a:pt x="23" y="488"/>
                  </a:lnTo>
                  <a:lnTo>
                    <a:pt x="21" y="488"/>
                  </a:lnTo>
                  <a:lnTo>
                    <a:pt x="15" y="485"/>
                  </a:lnTo>
                  <a:lnTo>
                    <a:pt x="10" y="484"/>
                  </a:lnTo>
                  <a:lnTo>
                    <a:pt x="8" y="479"/>
                  </a:lnTo>
                  <a:lnTo>
                    <a:pt x="3" y="476"/>
                  </a:lnTo>
                  <a:lnTo>
                    <a:pt x="2" y="471"/>
                  </a:lnTo>
                  <a:lnTo>
                    <a:pt x="0" y="466"/>
                  </a:lnTo>
                  <a:lnTo>
                    <a:pt x="0" y="462"/>
                  </a:lnTo>
                  <a:lnTo>
                    <a:pt x="0" y="456"/>
                  </a:lnTo>
                  <a:lnTo>
                    <a:pt x="74" y="138"/>
                  </a:lnTo>
                  <a:lnTo>
                    <a:pt x="25" y="89"/>
                  </a:lnTo>
                  <a:lnTo>
                    <a:pt x="22" y="85"/>
                  </a:lnTo>
                  <a:lnTo>
                    <a:pt x="19" y="80"/>
                  </a:lnTo>
                  <a:lnTo>
                    <a:pt x="18" y="75"/>
                  </a:lnTo>
                  <a:lnTo>
                    <a:pt x="18" y="70"/>
                  </a:lnTo>
                  <a:lnTo>
                    <a:pt x="18" y="65"/>
                  </a:lnTo>
                  <a:lnTo>
                    <a:pt x="19" y="60"/>
                  </a:lnTo>
                  <a:lnTo>
                    <a:pt x="22" y="56"/>
                  </a:lnTo>
                  <a:lnTo>
                    <a:pt x="25" y="52"/>
                  </a:lnTo>
                  <a:lnTo>
                    <a:pt x="68" y="8"/>
                  </a:lnTo>
                  <a:lnTo>
                    <a:pt x="72" y="4"/>
                  </a:lnTo>
                  <a:lnTo>
                    <a:pt x="77" y="3"/>
                  </a:lnTo>
                  <a:lnTo>
                    <a:pt x="82" y="1"/>
                  </a:lnTo>
                  <a:lnTo>
                    <a:pt x="87" y="0"/>
                  </a:lnTo>
                  <a:lnTo>
                    <a:pt x="93" y="1"/>
                  </a:lnTo>
                  <a:lnTo>
                    <a:pt x="97" y="3"/>
                  </a:lnTo>
                  <a:lnTo>
                    <a:pt x="101" y="4"/>
                  </a:lnTo>
                  <a:lnTo>
                    <a:pt x="105" y="8"/>
                  </a:lnTo>
                  <a:lnTo>
                    <a:pt x="108" y="13"/>
                  </a:lnTo>
                  <a:lnTo>
                    <a:pt x="111" y="17"/>
                  </a:lnTo>
                  <a:lnTo>
                    <a:pt x="113" y="21"/>
                  </a:lnTo>
                  <a:lnTo>
                    <a:pt x="113" y="27"/>
                  </a:lnTo>
                  <a:lnTo>
                    <a:pt x="113" y="32"/>
                  </a:lnTo>
                  <a:lnTo>
                    <a:pt x="111" y="36"/>
                  </a:lnTo>
                  <a:lnTo>
                    <a:pt x="108" y="42"/>
                  </a:lnTo>
                  <a:lnTo>
                    <a:pt x="105" y="44"/>
                  </a:lnTo>
                  <a:lnTo>
                    <a:pt x="81" y="70"/>
                  </a:lnTo>
                  <a:lnTo>
                    <a:pt x="121" y="111"/>
                  </a:lnTo>
                  <a:lnTo>
                    <a:pt x="126" y="116"/>
                  </a:lnTo>
                  <a:lnTo>
                    <a:pt x="129" y="122"/>
                  </a:lnTo>
                  <a:lnTo>
                    <a:pt x="129" y="129"/>
                  </a:lnTo>
                  <a:lnTo>
                    <a:pt x="129" y="135"/>
                  </a:lnTo>
                  <a:lnTo>
                    <a:pt x="51" y="468"/>
                  </a:lnTo>
                  <a:lnTo>
                    <a:pt x="51" y="472"/>
                  </a:lnTo>
                  <a:lnTo>
                    <a:pt x="48" y="476"/>
                  </a:lnTo>
                  <a:lnTo>
                    <a:pt x="45" y="479"/>
                  </a:lnTo>
                  <a:lnTo>
                    <a:pt x="42" y="482"/>
                  </a:lnTo>
                  <a:lnTo>
                    <a:pt x="35" y="487"/>
                  </a:lnTo>
                  <a:lnTo>
                    <a:pt x="26"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134">
              <a:extLst>
                <a:ext uri="{FF2B5EF4-FFF2-40B4-BE49-F238E27FC236}">
                  <a16:creationId xmlns:a16="http://schemas.microsoft.com/office/drawing/2014/main" id="{29B9F2C6-A3B6-4A15-BD9F-EB25F37F36FD}"/>
                </a:ext>
              </a:extLst>
            </p:cNvPr>
            <p:cNvSpPr>
              <a:spLocks/>
            </p:cNvSpPr>
            <p:nvPr/>
          </p:nvSpPr>
          <p:spPr bwMode="auto">
            <a:xfrm>
              <a:off x="7435850" y="1336676"/>
              <a:ext cx="69850" cy="258763"/>
            </a:xfrm>
            <a:custGeom>
              <a:avLst/>
              <a:gdLst>
                <a:gd name="T0" fmla="*/ 104 w 130"/>
                <a:gd name="T1" fmla="*/ 488 h 488"/>
                <a:gd name="T2" fmla="*/ 95 w 130"/>
                <a:gd name="T3" fmla="*/ 487 h 488"/>
                <a:gd name="T4" fmla="*/ 88 w 130"/>
                <a:gd name="T5" fmla="*/ 482 h 488"/>
                <a:gd name="T6" fmla="*/ 83 w 130"/>
                <a:gd name="T7" fmla="*/ 479 h 488"/>
                <a:gd name="T8" fmla="*/ 82 w 130"/>
                <a:gd name="T9" fmla="*/ 476 h 488"/>
                <a:gd name="T10" fmla="*/ 79 w 130"/>
                <a:gd name="T11" fmla="*/ 472 h 488"/>
                <a:gd name="T12" fmla="*/ 78 w 130"/>
                <a:gd name="T13" fmla="*/ 468 h 488"/>
                <a:gd name="T14" fmla="*/ 1 w 130"/>
                <a:gd name="T15" fmla="*/ 135 h 488"/>
                <a:gd name="T16" fmla="*/ 0 w 130"/>
                <a:gd name="T17" fmla="*/ 129 h 488"/>
                <a:gd name="T18" fmla="*/ 1 w 130"/>
                <a:gd name="T19" fmla="*/ 122 h 488"/>
                <a:gd name="T20" fmla="*/ 4 w 130"/>
                <a:gd name="T21" fmla="*/ 116 h 488"/>
                <a:gd name="T22" fmla="*/ 7 w 130"/>
                <a:gd name="T23" fmla="*/ 111 h 488"/>
                <a:gd name="T24" fmla="*/ 49 w 130"/>
                <a:gd name="T25" fmla="*/ 70 h 488"/>
                <a:gd name="T26" fmla="*/ 24 w 130"/>
                <a:gd name="T27" fmla="*/ 44 h 488"/>
                <a:gd name="T28" fmla="*/ 20 w 130"/>
                <a:gd name="T29" fmla="*/ 42 h 488"/>
                <a:gd name="T30" fmla="*/ 19 w 130"/>
                <a:gd name="T31" fmla="*/ 36 h 488"/>
                <a:gd name="T32" fmla="*/ 17 w 130"/>
                <a:gd name="T33" fmla="*/ 32 h 488"/>
                <a:gd name="T34" fmla="*/ 16 w 130"/>
                <a:gd name="T35" fmla="*/ 27 h 488"/>
                <a:gd name="T36" fmla="*/ 17 w 130"/>
                <a:gd name="T37" fmla="*/ 21 h 488"/>
                <a:gd name="T38" fmla="*/ 19 w 130"/>
                <a:gd name="T39" fmla="*/ 17 h 488"/>
                <a:gd name="T40" fmla="*/ 20 w 130"/>
                <a:gd name="T41" fmla="*/ 13 h 488"/>
                <a:gd name="T42" fmla="*/ 24 w 130"/>
                <a:gd name="T43" fmla="*/ 8 h 488"/>
                <a:gd name="T44" fmla="*/ 27 w 130"/>
                <a:gd name="T45" fmla="*/ 4 h 488"/>
                <a:gd name="T46" fmla="*/ 33 w 130"/>
                <a:gd name="T47" fmla="*/ 3 h 488"/>
                <a:gd name="T48" fmla="*/ 37 w 130"/>
                <a:gd name="T49" fmla="*/ 1 h 488"/>
                <a:gd name="T50" fmla="*/ 42 w 130"/>
                <a:gd name="T51" fmla="*/ 0 h 488"/>
                <a:gd name="T52" fmla="*/ 47 w 130"/>
                <a:gd name="T53" fmla="*/ 1 h 488"/>
                <a:gd name="T54" fmla="*/ 52 w 130"/>
                <a:gd name="T55" fmla="*/ 3 h 488"/>
                <a:gd name="T56" fmla="*/ 56 w 130"/>
                <a:gd name="T57" fmla="*/ 4 h 488"/>
                <a:gd name="T58" fmla="*/ 60 w 130"/>
                <a:gd name="T59" fmla="*/ 8 h 488"/>
                <a:gd name="T60" fmla="*/ 104 w 130"/>
                <a:gd name="T61" fmla="*/ 52 h 488"/>
                <a:gd name="T62" fmla="*/ 108 w 130"/>
                <a:gd name="T63" fmla="*/ 56 h 488"/>
                <a:gd name="T64" fmla="*/ 109 w 130"/>
                <a:gd name="T65" fmla="*/ 60 h 488"/>
                <a:gd name="T66" fmla="*/ 111 w 130"/>
                <a:gd name="T67" fmla="*/ 65 h 488"/>
                <a:gd name="T68" fmla="*/ 112 w 130"/>
                <a:gd name="T69" fmla="*/ 70 h 488"/>
                <a:gd name="T70" fmla="*/ 111 w 130"/>
                <a:gd name="T71" fmla="*/ 75 h 488"/>
                <a:gd name="T72" fmla="*/ 109 w 130"/>
                <a:gd name="T73" fmla="*/ 80 h 488"/>
                <a:gd name="T74" fmla="*/ 108 w 130"/>
                <a:gd name="T75" fmla="*/ 85 h 488"/>
                <a:gd name="T76" fmla="*/ 104 w 130"/>
                <a:gd name="T77" fmla="*/ 89 h 488"/>
                <a:gd name="T78" fmla="*/ 55 w 130"/>
                <a:gd name="T79" fmla="*/ 138 h 488"/>
                <a:gd name="T80" fmla="*/ 128 w 130"/>
                <a:gd name="T81" fmla="*/ 456 h 488"/>
                <a:gd name="T82" fmla="*/ 130 w 130"/>
                <a:gd name="T83" fmla="*/ 462 h 488"/>
                <a:gd name="T84" fmla="*/ 130 w 130"/>
                <a:gd name="T85" fmla="*/ 466 h 488"/>
                <a:gd name="T86" fmla="*/ 128 w 130"/>
                <a:gd name="T87" fmla="*/ 471 h 488"/>
                <a:gd name="T88" fmla="*/ 125 w 130"/>
                <a:gd name="T89" fmla="*/ 476 h 488"/>
                <a:gd name="T90" fmla="*/ 122 w 130"/>
                <a:gd name="T91" fmla="*/ 479 h 488"/>
                <a:gd name="T92" fmla="*/ 118 w 130"/>
                <a:gd name="T93" fmla="*/ 484 h 488"/>
                <a:gd name="T94" fmla="*/ 114 w 130"/>
                <a:gd name="T95" fmla="*/ 485 h 488"/>
                <a:gd name="T96" fmla="*/ 109 w 130"/>
                <a:gd name="T97" fmla="*/ 488 h 488"/>
                <a:gd name="T98" fmla="*/ 107 w 130"/>
                <a:gd name="T99" fmla="*/ 488 h 488"/>
                <a:gd name="T100" fmla="*/ 104 w 130"/>
                <a:gd name="T101"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 h="488">
                  <a:moveTo>
                    <a:pt x="104" y="488"/>
                  </a:moveTo>
                  <a:lnTo>
                    <a:pt x="95" y="487"/>
                  </a:lnTo>
                  <a:lnTo>
                    <a:pt x="88" y="482"/>
                  </a:lnTo>
                  <a:lnTo>
                    <a:pt x="83" y="479"/>
                  </a:lnTo>
                  <a:lnTo>
                    <a:pt x="82" y="476"/>
                  </a:lnTo>
                  <a:lnTo>
                    <a:pt x="79" y="472"/>
                  </a:lnTo>
                  <a:lnTo>
                    <a:pt x="78" y="468"/>
                  </a:lnTo>
                  <a:lnTo>
                    <a:pt x="1" y="135"/>
                  </a:lnTo>
                  <a:lnTo>
                    <a:pt x="0" y="129"/>
                  </a:lnTo>
                  <a:lnTo>
                    <a:pt x="1" y="122"/>
                  </a:lnTo>
                  <a:lnTo>
                    <a:pt x="4" y="116"/>
                  </a:lnTo>
                  <a:lnTo>
                    <a:pt x="7" y="111"/>
                  </a:lnTo>
                  <a:lnTo>
                    <a:pt x="49" y="70"/>
                  </a:lnTo>
                  <a:lnTo>
                    <a:pt x="24" y="44"/>
                  </a:lnTo>
                  <a:lnTo>
                    <a:pt x="20" y="42"/>
                  </a:lnTo>
                  <a:lnTo>
                    <a:pt x="19" y="36"/>
                  </a:lnTo>
                  <a:lnTo>
                    <a:pt x="17" y="32"/>
                  </a:lnTo>
                  <a:lnTo>
                    <a:pt x="16" y="27"/>
                  </a:lnTo>
                  <a:lnTo>
                    <a:pt x="17" y="21"/>
                  </a:lnTo>
                  <a:lnTo>
                    <a:pt x="19" y="17"/>
                  </a:lnTo>
                  <a:lnTo>
                    <a:pt x="20" y="13"/>
                  </a:lnTo>
                  <a:lnTo>
                    <a:pt x="24" y="8"/>
                  </a:lnTo>
                  <a:lnTo>
                    <a:pt x="27" y="4"/>
                  </a:lnTo>
                  <a:lnTo>
                    <a:pt x="33" y="3"/>
                  </a:lnTo>
                  <a:lnTo>
                    <a:pt x="37" y="1"/>
                  </a:lnTo>
                  <a:lnTo>
                    <a:pt x="42" y="0"/>
                  </a:lnTo>
                  <a:lnTo>
                    <a:pt x="47" y="1"/>
                  </a:lnTo>
                  <a:lnTo>
                    <a:pt x="52" y="3"/>
                  </a:lnTo>
                  <a:lnTo>
                    <a:pt x="56" y="4"/>
                  </a:lnTo>
                  <a:lnTo>
                    <a:pt x="60" y="8"/>
                  </a:lnTo>
                  <a:lnTo>
                    <a:pt x="104" y="52"/>
                  </a:lnTo>
                  <a:lnTo>
                    <a:pt x="108" y="56"/>
                  </a:lnTo>
                  <a:lnTo>
                    <a:pt x="109" y="60"/>
                  </a:lnTo>
                  <a:lnTo>
                    <a:pt x="111" y="65"/>
                  </a:lnTo>
                  <a:lnTo>
                    <a:pt x="112" y="70"/>
                  </a:lnTo>
                  <a:lnTo>
                    <a:pt x="111" y="75"/>
                  </a:lnTo>
                  <a:lnTo>
                    <a:pt x="109" y="80"/>
                  </a:lnTo>
                  <a:lnTo>
                    <a:pt x="108" y="85"/>
                  </a:lnTo>
                  <a:lnTo>
                    <a:pt x="104" y="89"/>
                  </a:lnTo>
                  <a:lnTo>
                    <a:pt x="55" y="138"/>
                  </a:lnTo>
                  <a:lnTo>
                    <a:pt x="128" y="456"/>
                  </a:lnTo>
                  <a:lnTo>
                    <a:pt x="130" y="462"/>
                  </a:lnTo>
                  <a:lnTo>
                    <a:pt x="130" y="466"/>
                  </a:lnTo>
                  <a:lnTo>
                    <a:pt x="128" y="471"/>
                  </a:lnTo>
                  <a:lnTo>
                    <a:pt x="125" y="476"/>
                  </a:lnTo>
                  <a:lnTo>
                    <a:pt x="122" y="479"/>
                  </a:lnTo>
                  <a:lnTo>
                    <a:pt x="118" y="484"/>
                  </a:lnTo>
                  <a:lnTo>
                    <a:pt x="114" y="485"/>
                  </a:lnTo>
                  <a:lnTo>
                    <a:pt x="109" y="488"/>
                  </a:lnTo>
                  <a:lnTo>
                    <a:pt x="107" y="488"/>
                  </a:lnTo>
                  <a:lnTo>
                    <a:pt x="104"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135">
              <a:extLst>
                <a:ext uri="{FF2B5EF4-FFF2-40B4-BE49-F238E27FC236}">
                  <a16:creationId xmlns:a16="http://schemas.microsoft.com/office/drawing/2014/main" id="{6373D45B-8BAF-4B72-BB87-0466C0D1677F}"/>
                </a:ext>
              </a:extLst>
            </p:cNvPr>
            <p:cNvSpPr>
              <a:spLocks/>
            </p:cNvSpPr>
            <p:nvPr/>
          </p:nvSpPr>
          <p:spPr bwMode="auto">
            <a:xfrm>
              <a:off x="7389813" y="1393826"/>
              <a:ext cx="74613" cy="28575"/>
            </a:xfrm>
            <a:custGeom>
              <a:avLst/>
              <a:gdLst>
                <a:gd name="T0" fmla="*/ 115 w 141"/>
                <a:gd name="T1" fmla="*/ 52 h 52"/>
                <a:gd name="T2" fmla="*/ 26 w 141"/>
                <a:gd name="T3" fmla="*/ 52 h 52"/>
                <a:gd name="T4" fmla="*/ 21 w 141"/>
                <a:gd name="T5" fmla="*/ 52 h 52"/>
                <a:gd name="T6" fmla="*/ 16 w 141"/>
                <a:gd name="T7" fmla="*/ 51 h 52"/>
                <a:gd name="T8" fmla="*/ 11 w 141"/>
                <a:gd name="T9" fmla="*/ 48 h 52"/>
                <a:gd name="T10" fmla="*/ 7 w 141"/>
                <a:gd name="T11" fmla="*/ 45 h 52"/>
                <a:gd name="T12" fmla="*/ 4 w 141"/>
                <a:gd name="T13" fmla="*/ 41 h 52"/>
                <a:gd name="T14" fmla="*/ 3 w 141"/>
                <a:gd name="T15" fmla="*/ 36 h 52"/>
                <a:gd name="T16" fmla="*/ 1 w 141"/>
                <a:gd name="T17" fmla="*/ 32 h 52"/>
                <a:gd name="T18" fmla="*/ 0 w 141"/>
                <a:gd name="T19" fmla="*/ 26 h 52"/>
                <a:gd name="T20" fmla="*/ 1 w 141"/>
                <a:gd name="T21" fmla="*/ 20 h 52"/>
                <a:gd name="T22" fmla="*/ 3 w 141"/>
                <a:gd name="T23" fmla="*/ 16 h 52"/>
                <a:gd name="T24" fmla="*/ 4 w 141"/>
                <a:gd name="T25" fmla="*/ 12 h 52"/>
                <a:gd name="T26" fmla="*/ 7 w 141"/>
                <a:gd name="T27" fmla="*/ 7 h 52"/>
                <a:gd name="T28" fmla="*/ 11 w 141"/>
                <a:gd name="T29" fmla="*/ 5 h 52"/>
                <a:gd name="T30" fmla="*/ 16 w 141"/>
                <a:gd name="T31" fmla="*/ 2 h 52"/>
                <a:gd name="T32" fmla="*/ 21 w 141"/>
                <a:gd name="T33" fmla="*/ 0 h 52"/>
                <a:gd name="T34" fmla="*/ 26 w 141"/>
                <a:gd name="T35" fmla="*/ 0 h 52"/>
                <a:gd name="T36" fmla="*/ 115 w 141"/>
                <a:gd name="T37" fmla="*/ 0 h 52"/>
                <a:gd name="T38" fmla="*/ 121 w 141"/>
                <a:gd name="T39" fmla="*/ 0 h 52"/>
                <a:gd name="T40" fmla="*/ 125 w 141"/>
                <a:gd name="T41" fmla="*/ 2 h 52"/>
                <a:gd name="T42" fmla="*/ 129 w 141"/>
                <a:gd name="T43" fmla="*/ 5 h 52"/>
                <a:gd name="T44" fmla="*/ 134 w 141"/>
                <a:gd name="T45" fmla="*/ 7 h 52"/>
                <a:gd name="T46" fmla="*/ 136 w 141"/>
                <a:gd name="T47" fmla="*/ 12 h 52"/>
                <a:gd name="T48" fmla="*/ 139 w 141"/>
                <a:gd name="T49" fmla="*/ 16 h 52"/>
                <a:gd name="T50" fmla="*/ 141 w 141"/>
                <a:gd name="T51" fmla="*/ 20 h 52"/>
                <a:gd name="T52" fmla="*/ 141 w 141"/>
                <a:gd name="T53" fmla="*/ 26 h 52"/>
                <a:gd name="T54" fmla="*/ 141 w 141"/>
                <a:gd name="T55" fmla="*/ 32 h 52"/>
                <a:gd name="T56" fmla="*/ 139 w 141"/>
                <a:gd name="T57" fmla="*/ 36 h 52"/>
                <a:gd name="T58" fmla="*/ 136 w 141"/>
                <a:gd name="T59" fmla="*/ 41 h 52"/>
                <a:gd name="T60" fmla="*/ 134 w 141"/>
                <a:gd name="T61" fmla="*/ 45 h 52"/>
                <a:gd name="T62" fmla="*/ 129 w 141"/>
                <a:gd name="T63" fmla="*/ 48 h 52"/>
                <a:gd name="T64" fmla="*/ 125 w 141"/>
                <a:gd name="T65" fmla="*/ 51 h 52"/>
                <a:gd name="T66" fmla="*/ 121 w 141"/>
                <a:gd name="T67" fmla="*/ 52 h 52"/>
                <a:gd name="T68" fmla="*/ 115 w 14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52">
                  <a:moveTo>
                    <a:pt x="115" y="52"/>
                  </a:moveTo>
                  <a:lnTo>
                    <a:pt x="26" y="52"/>
                  </a:lnTo>
                  <a:lnTo>
                    <a:pt x="21" y="52"/>
                  </a:lnTo>
                  <a:lnTo>
                    <a:pt x="16" y="51"/>
                  </a:lnTo>
                  <a:lnTo>
                    <a:pt x="11" y="48"/>
                  </a:lnTo>
                  <a:lnTo>
                    <a:pt x="7" y="45"/>
                  </a:lnTo>
                  <a:lnTo>
                    <a:pt x="4" y="41"/>
                  </a:lnTo>
                  <a:lnTo>
                    <a:pt x="3" y="36"/>
                  </a:lnTo>
                  <a:lnTo>
                    <a:pt x="1" y="32"/>
                  </a:lnTo>
                  <a:lnTo>
                    <a:pt x="0" y="26"/>
                  </a:lnTo>
                  <a:lnTo>
                    <a:pt x="1" y="20"/>
                  </a:lnTo>
                  <a:lnTo>
                    <a:pt x="3" y="16"/>
                  </a:lnTo>
                  <a:lnTo>
                    <a:pt x="4" y="12"/>
                  </a:lnTo>
                  <a:lnTo>
                    <a:pt x="7" y="7"/>
                  </a:lnTo>
                  <a:lnTo>
                    <a:pt x="11" y="5"/>
                  </a:lnTo>
                  <a:lnTo>
                    <a:pt x="16" y="2"/>
                  </a:lnTo>
                  <a:lnTo>
                    <a:pt x="21" y="0"/>
                  </a:lnTo>
                  <a:lnTo>
                    <a:pt x="26" y="0"/>
                  </a:lnTo>
                  <a:lnTo>
                    <a:pt x="115" y="0"/>
                  </a:lnTo>
                  <a:lnTo>
                    <a:pt x="121" y="0"/>
                  </a:lnTo>
                  <a:lnTo>
                    <a:pt x="125" y="2"/>
                  </a:lnTo>
                  <a:lnTo>
                    <a:pt x="129" y="5"/>
                  </a:lnTo>
                  <a:lnTo>
                    <a:pt x="134" y="7"/>
                  </a:lnTo>
                  <a:lnTo>
                    <a:pt x="136" y="12"/>
                  </a:lnTo>
                  <a:lnTo>
                    <a:pt x="139" y="16"/>
                  </a:lnTo>
                  <a:lnTo>
                    <a:pt x="141" y="20"/>
                  </a:lnTo>
                  <a:lnTo>
                    <a:pt x="141" y="26"/>
                  </a:lnTo>
                  <a:lnTo>
                    <a:pt x="141" y="32"/>
                  </a:lnTo>
                  <a:lnTo>
                    <a:pt x="139" y="36"/>
                  </a:lnTo>
                  <a:lnTo>
                    <a:pt x="136" y="41"/>
                  </a:lnTo>
                  <a:lnTo>
                    <a:pt x="134" y="45"/>
                  </a:lnTo>
                  <a:lnTo>
                    <a:pt x="129" y="48"/>
                  </a:lnTo>
                  <a:lnTo>
                    <a:pt x="125" y="51"/>
                  </a:lnTo>
                  <a:lnTo>
                    <a:pt x="121" y="52"/>
                  </a:lnTo>
                  <a:lnTo>
                    <a:pt x="11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136">
              <a:extLst>
                <a:ext uri="{FF2B5EF4-FFF2-40B4-BE49-F238E27FC236}">
                  <a16:creationId xmlns:a16="http://schemas.microsoft.com/office/drawing/2014/main" id="{815995A0-ECAA-41C1-9EDC-A635936CFF9D}"/>
                </a:ext>
              </a:extLst>
            </p:cNvPr>
            <p:cNvSpPr>
              <a:spLocks/>
            </p:cNvSpPr>
            <p:nvPr/>
          </p:nvSpPr>
          <p:spPr bwMode="auto">
            <a:xfrm>
              <a:off x="7518400" y="1428751"/>
              <a:ext cx="119063" cy="26988"/>
            </a:xfrm>
            <a:custGeom>
              <a:avLst/>
              <a:gdLst>
                <a:gd name="T0" fmla="*/ 196 w 224"/>
                <a:gd name="T1" fmla="*/ 51 h 51"/>
                <a:gd name="T2" fmla="*/ 28 w 224"/>
                <a:gd name="T3" fmla="*/ 51 h 51"/>
                <a:gd name="T4" fmla="*/ 22 w 224"/>
                <a:gd name="T5" fmla="*/ 51 h 51"/>
                <a:gd name="T6" fmla="*/ 16 w 224"/>
                <a:gd name="T7" fmla="*/ 50 h 51"/>
                <a:gd name="T8" fmla="*/ 12 w 224"/>
                <a:gd name="T9" fmla="*/ 47 h 51"/>
                <a:gd name="T10" fmla="*/ 9 w 224"/>
                <a:gd name="T11" fmla="*/ 44 h 51"/>
                <a:gd name="T12" fmla="*/ 5 w 224"/>
                <a:gd name="T13" fmla="*/ 40 h 51"/>
                <a:gd name="T14" fmla="*/ 3 w 224"/>
                <a:gd name="T15" fmla="*/ 36 h 51"/>
                <a:gd name="T16" fmla="*/ 2 w 224"/>
                <a:gd name="T17" fmla="*/ 31 h 51"/>
                <a:gd name="T18" fmla="*/ 0 w 224"/>
                <a:gd name="T19" fmla="*/ 26 h 51"/>
                <a:gd name="T20" fmla="*/ 2 w 224"/>
                <a:gd name="T21" fmla="*/ 20 h 51"/>
                <a:gd name="T22" fmla="*/ 3 w 224"/>
                <a:gd name="T23" fmla="*/ 15 h 51"/>
                <a:gd name="T24" fmla="*/ 5 w 224"/>
                <a:gd name="T25" fmla="*/ 11 h 51"/>
                <a:gd name="T26" fmla="*/ 9 w 224"/>
                <a:gd name="T27" fmla="*/ 7 h 51"/>
                <a:gd name="T28" fmla="*/ 12 w 224"/>
                <a:gd name="T29" fmla="*/ 4 h 51"/>
                <a:gd name="T30" fmla="*/ 16 w 224"/>
                <a:gd name="T31" fmla="*/ 1 h 51"/>
                <a:gd name="T32" fmla="*/ 22 w 224"/>
                <a:gd name="T33" fmla="*/ 0 h 51"/>
                <a:gd name="T34" fmla="*/ 28 w 224"/>
                <a:gd name="T35" fmla="*/ 0 h 51"/>
                <a:gd name="T36" fmla="*/ 196 w 224"/>
                <a:gd name="T37" fmla="*/ 0 h 51"/>
                <a:gd name="T38" fmla="*/ 202 w 224"/>
                <a:gd name="T39" fmla="*/ 0 h 51"/>
                <a:gd name="T40" fmla="*/ 208 w 224"/>
                <a:gd name="T41" fmla="*/ 1 h 51"/>
                <a:gd name="T42" fmla="*/ 212 w 224"/>
                <a:gd name="T43" fmla="*/ 4 h 51"/>
                <a:gd name="T44" fmla="*/ 215 w 224"/>
                <a:gd name="T45" fmla="*/ 7 h 51"/>
                <a:gd name="T46" fmla="*/ 218 w 224"/>
                <a:gd name="T47" fmla="*/ 11 h 51"/>
                <a:gd name="T48" fmla="*/ 221 w 224"/>
                <a:gd name="T49" fmla="*/ 15 h 51"/>
                <a:gd name="T50" fmla="*/ 222 w 224"/>
                <a:gd name="T51" fmla="*/ 20 h 51"/>
                <a:gd name="T52" fmla="*/ 224 w 224"/>
                <a:gd name="T53" fmla="*/ 26 h 51"/>
                <a:gd name="T54" fmla="*/ 222 w 224"/>
                <a:gd name="T55" fmla="*/ 31 h 51"/>
                <a:gd name="T56" fmla="*/ 221 w 224"/>
                <a:gd name="T57" fmla="*/ 36 h 51"/>
                <a:gd name="T58" fmla="*/ 218 w 224"/>
                <a:gd name="T59" fmla="*/ 40 h 51"/>
                <a:gd name="T60" fmla="*/ 215 w 224"/>
                <a:gd name="T61" fmla="*/ 44 h 51"/>
                <a:gd name="T62" fmla="*/ 212 w 224"/>
                <a:gd name="T63" fmla="*/ 47 h 51"/>
                <a:gd name="T64" fmla="*/ 208 w 224"/>
                <a:gd name="T65" fmla="*/ 50 h 51"/>
                <a:gd name="T66" fmla="*/ 202 w 224"/>
                <a:gd name="T67" fmla="*/ 51 h 51"/>
                <a:gd name="T68" fmla="*/ 196 w 22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51">
                  <a:moveTo>
                    <a:pt x="196" y="51"/>
                  </a:moveTo>
                  <a:lnTo>
                    <a:pt x="28" y="51"/>
                  </a:lnTo>
                  <a:lnTo>
                    <a:pt x="22" y="51"/>
                  </a:lnTo>
                  <a:lnTo>
                    <a:pt x="16" y="50"/>
                  </a:lnTo>
                  <a:lnTo>
                    <a:pt x="12" y="47"/>
                  </a:lnTo>
                  <a:lnTo>
                    <a:pt x="9" y="44"/>
                  </a:lnTo>
                  <a:lnTo>
                    <a:pt x="5" y="40"/>
                  </a:lnTo>
                  <a:lnTo>
                    <a:pt x="3" y="36"/>
                  </a:lnTo>
                  <a:lnTo>
                    <a:pt x="2" y="31"/>
                  </a:lnTo>
                  <a:lnTo>
                    <a:pt x="0" y="26"/>
                  </a:lnTo>
                  <a:lnTo>
                    <a:pt x="2" y="20"/>
                  </a:lnTo>
                  <a:lnTo>
                    <a:pt x="3" y="15"/>
                  </a:lnTo>
                  <a:lnTo>
                    <a:pt x="5" y="11"/>
                  </a:lnTo>
                  <a:lnTo>
                    <a:pt x="9" y="7"/>
                  </a:lnTo>
                  <a:lnTo>
                    <a:pt x="12" y="4"/>
                  </a:lnTo>
                  <a:lnTo>
                    <a:pt x="16" y="1"/>
                  </a:lnTo>
                  <a:lnTo>
                    <a:pt x="22" y="0"/>
                  </a:lnTo>
                  <a:lnTo>
                    <a:pt x="28" y="0"/>
                  </a:lnTo>
                  <a:lnTo>
                    <a:pt x="196" y="0"/>
                  </a:lnTo>
                  <a:lnTo>
                    <a:pt x="202" y="0"/>
                  </a:lnTo>
                  <a:lnTo>
                    <a:pt x="208" y="1"/>
                  </a:lnTo>
                  <a:lnTo>
                    <a:pt x="212" y="4"/>
                  </a:lnTo>
                  <a:lnTo>
                    <a:pt x="215" y="7"/>
                  </a:lnTo>
                  <a:lnTo>
                    <a:pt x="218" y="11"/>
                  </a:lnTo>
                  <a:lnTo>
                    <a:pt x="221" y="15"/>
                  </a:lnTo>
                  <a:lnTo>
                    <a:pt x="222" y="20"/>
                  </a:lnTo>
                  <a:lnTo>
                    <a:pt x="224" y="26"/>
                  </a:lnTo>
                  <a:lnTo>
                    <a:pt x="222" y="31"/>
                  </a:lnTo>
                  <a:lnTo>
                    <a:pt x="221" y="36"/>
                  </a:lnTo>
                  <a:lnTo>
                    <a:pt x="218" y="40"/>
                  </a:lnTo>
                  <a:lnTo>
                    <a:pt x="215" y="44"/>
                  </a:lnTo>
                  <a:lnTo>
                    <a:pt x="212" y="47"/>
                  </a:lnTo>
                  <a:lnTo>
                    <a:pt x="208" y="50"/>
                  </a:lnTo>
                  <a:lnTo>
                    <a:pt x="202" y="51"/>
                  </a:lnTo>
                  <a:lnTo>
                    <a:pt x="19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3" name="Group 38">
            <a:extLst>
              <a:ext uri="{FF2B5EF4-FFF2-40B4-BE49-F238E27FC236}">
                <a16:creationId xmlns:a16="http://schemas.microsoft.com/office/drawing/2014/main" id="{65F80A8C-14BF-435F-A0C8-3CBCDEF85A35}"/>
              </a:ext>
            </a:extLst>
          </p:cNvPr>
          <p:cNvGrpSpPr>
            <a:grpSpLocks noChangeAspect="1"/>
          </p:cNvGrpSpPr>
          <p:nvPr/>
        </p:nvGrpSpPr>
        <p:grpSpPr>
          <a:xfrm>
            <a:off x="3660755" y="4340505"/>
            <a:ext cx="285619" cy="285619"/>
            <a:chOff x="4319588" y="3074988"/>
            <a:chExt cx="285750" cy="285750"/>
          </a:xfrm>
          <a:solidFill>
            <a:schemeClr val="bg1"/>
          </a:solidFill>
          <a:effectLst/>
        </p:grpSpPr>
        <p:sp>
          <p:nvSpPr>
            <p:cNvPr id="744" name="Freeform 50">
              <a:extLst>
                <a:ext uri="{FF2B5EF4-FFF2-40B4-BE49-F238E27FC236}">
                  <a16:creationId xmlns:a16="http://schemas.microsoft.com/office/drawing/2014/main" id="{99733BB4-E302-40F0-A0C5-E07C8EB20C03}"/>
                </a:ext>
              </a:extLst>
            </p:cNvPr>
            <p:cNvSpPr>
              <a:spLocks/>
            </p:cNvSpPr>
            <p:nvPr/>
          </p:nvSpPr>
          <p:spPr bwMode="auto">
            <a:xfrm>
              <a:off x="4319588" y="3074988"/>
              <a:ext cx="261938" cy="238125"/>
            </a:xfrm>
            <a:custGeom>
              <a:avLst/>
              <a:gdLst>
                <a:gd name="T0" fmla="*/ 465 w 825"/>
                <a:gd name="T1" fmla="*/ 33 h 750"/>
                <a:gd name="T2" fmla="*/ 538 w 825"/>
                <a:gd name="T3" fmla="*/ 48 h 750"/>
                <a:gd name="T4" fmla="*/ 606 w 825"/>
                <a:gd name="T5" fmla="*/ 75 h 750"/>
                <a:gd name="T6" fmla="*/ 666 w 825"/>
                <a:gd name="T7" fmla="*/ 110 h 750"/>
                <a:gd name="T8" fmla="*/ 717 w 825"/>
                <a:gd name="T9" fmla="*/ 154 h 750"/>
                <a:gd name="T10" fmla="*/ 757 w 825"/>
                <a:gd name="T11" fmla="*/ 204 h 750"/>
                <a:gd name="T12" fmla="*/ 783 w 825"/>
                <a:gd name="T13" fmla="*/ 261 h 750"/>
                <a:gd name="T14" fmla="*/ 795 w 825"/>
                <a:gd name="T15" fmla="*/ 321 h 750"/>
                <a:gd name="T16" fmla="*/ 792 w 825"/>
                <a:gd name="T17" fmla="*/ 378 h 750"/>
                <a:gd name="T18" fmla="*/ 824 w 825"/>
                <a:gd name="T19" fmla="*/ 367 h 750"/>
                <a:gd name="T20" fmla="*/ 823 w 825"/>
                <a:gd name="T21" fmla="*/ 303 h 750"/>
                <a:gd name="T22" fmla="*/ 806 w 825"/>
                <a:gd name="T23" fmla="*/ 237 h 750"/>
                <a:gd name="T24" fmla="*/ 774 w 825"/>
                <a:gd name="T25" fmla="*/ 177 h 750"/>
                <a:gd name="T26" fmla="*/ 728 w 825"/>
                <a:gd name="T27" fmla="*/ 124 h 750"/>
                <a:gd name="T28" fmla="*/ 671 w 825"/>
                <a:gd name="T29" fmla="*/ 78 h 750"/>
                <a:gd name="T30" fmla="*/ 604 w 825"/>
                <a:gd name="T31" fmla="*/ 40 h 750"/>
                <a:gd name="T32" fmla="*/ 529 w 825"/>
                <a:gd name="T33" fmla="*/ 15 h 750"/>
                <a:gd name="T34" fmla="*/ 447 w 825"/>
                <a:gd name="T35" fmla="*/ 1 h 750"/>
                <a:gd name="T36" fmla="*/ 364 w 825"/>
                <a:gd name="T37" fmla="*/ 1 h 750"/>
                <a:gd name="T38" fmla="*/ 285 w 825"/>
                <a:gd name="T39" fmla="*/ 15 h 750"/>
                <a:gd name="T40" fmla="*/ 213 w 825"/>
                <a:gd name="T41" fmla="*/ 40 h 750"/>
                <a:gd name="T42" fmla="*/ 148 w 825"/>
                <a:gd name="T43" fmla="*/ 77 h 750"/>
                <a:gd name="T44" fmla="*/ 93 w 825"/>
                <a:gd name="T45" fmla="*/ 122 h 750"/>
                <a:gd name="T46" fmla="*/ 49 w 825"/>
                <a:gd name="T47" fmla="*/ 176 h 750"/>
                <a:gd name="T48" fmla="*/ 18 w 825"/>
                <a:gd name="T49" fmla="*/ 236 h 750"/>
                <a:gd name="T50" fmla="*/ 2 w 825"/>
                <a:gd name="T51" fmla="*/ 302 h 750"/>
                <a:gd name="T52" fmla="*/ 2 w 825"/>
                <a:gd name="T53" fmla="*/ 370 h 750"/>
                <a:gd name="T54" fmla="*/ 16 w 825"/>
                <a:gd name="T55" fmla="*/ 433 h 750"/>
                <a:gd name="T56" fmla="*/ 44 w 825"/>
                <a:gd name="T57" fmla="*/ 491 h 750"/>
                <a:gd name="T58" fmla="*/ 85 w 825"/>
                <a:gd name="T59" fmla="*/ 543 h 750"/>
                <a:gd name="T60" fmla="*/ 30 w 825"/>
                <a:gd name="T61" fmla="*/ 733 h 750"/>
                <a:gd name="T62" fmla="*/ 37 w 825"/>
                <a:gd name="T63" fmla="*/ 748 h 750"/>
                <a:gd name="T64" fmla="*/ 48 w 825"/>
                <a:gd name="T65" fmla="*/ 750 h 750"/>
                <a:gd name="T66" fmla="*/ 319 w 825"/>
                <a:gd name="T67" fmla="*/ 669 h 750"/>
                <a:gd name="T68" fmla="*/ 350 w 825"/>
                <a:gd name="T69" fmla="*/ 643 h 750"/>
                <a:gd name="T70" fmla="*/ 260 w 825"/>
                <a:gd name="T71" fmla="*/ 625 h 750"/>
                <a:gd name="T72" fmla="*/ 144 w 825"/>
                <a:gd name="T73" fmla="*/ 565 h 750"/>
                <a:gd name="T74" fmla="*/ 125 w 825"/>
                <a:gd name="T75" fmla="*/ 541 h 750"/>
                <a:gd name="T76" fmla="*/ 82 w 825"/>
                <a:gd name="T77" fmla="*/ 494 h 750"/>
                <a:gd name="T78" fmla="*/ 52 w 825"/>
                <a:gd name="T79" fmla="*/ 441 h 750"/>
                <a:gd name="T80" fmla="*/ 34 w 825"/>
                <a:gd name="T81" fmla="*/ 383 h 750"/>
                <a:gd name="T82" fmla="*/ 31 w 825"/>
                <a:gd name="T83" fmla="*/ 321 h 750"/>
                <a:gd name="T84" fmla="*/ 42 w 825"/>
                <a:gd name="T85" fmla="*/ 260 h 750"/>
                <a:gd name="T86" fmla="*/ 68 w 825"/>
                <a:gd name="T87" fmla="*/ 203 h 750"/>
                <a:gd name="T88" fmla="*/ 105 w 825"/>
                <a:gd name="T89" fmla="*/ 153 h 750"/>
                <a:gd name="T90" fmla="*/ 153 w 825"/>
                <a:gd name="T91" fmla="*/ 109 h 750"/>
                <a:gd name="T92" fmla="*/ 211 w 825"/>
                <a:gd name="T93" fmla="*/ 74 h 750"/>
                <a:gd name="T94" fmla="*/ 276 w 825"/>
                <a:gd name="T95" fmla="*/ 48 h 750"/>
                <a:gd name="T96" fmla="*/ 349 w 825"/>
                <a:gd name="T97" fmla="*/ 33 h 750"/>
                <a:gd name="T98" fmla="*/ 406 w 825"/>
                <a:gd name="T99" fmla="*/ 3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5" h="750">
                  <a:moveTo>
                    <a:pt x="406" y="30"/>
                  </a:moveTo>
                  <a:lnTo>
                    <a:pt x="425" y="30"/>
                  </a:lnTo>
                  <a:lnTo>
                    <a:pt x="445" y="31"/>
                  </a:lnTo>
                  <a:lnTo>
                    <a:pt x="465" y="33"/>
                  </a:lnTo>
                  <a:lnTo>
                    <a:pt x="483" y="36"/>
                  </a:lnTo>
                  <a:lnTo>
                    <a:pt x="502" y="39"/>
                  </a:lnTo>
                  <a:lnTo>
                    <a:pt x="520" y="44"/>
                  </a:lnTo>
                  <a:lnTo>
                    <a:pt x="538" y="48"/>
                  </a:lnTo>
                  <a:lnTo>
                    <a:pt x="556" y="54"/>
                  </a:lnTo>
                  <a:lnTo>
                    <a:pt x="573" y="61"/>
                  </a:lnTo>
                  <a:lnTo>
                    <a:pt x="590" y="67"/>
                  </a:lnTo>
                  <a:lnTo>
                    <a:pt x="606" y="75"/>
                  </a:lnTo>
                  <a:lnTo>
                    <a:pt x="622" y="82"/>
                  </a:lnTo>
                  <a:lnTo>
                    <a:pt x="637" y="92"/>
                  </a:lnTo>
                  <a:lnTo>
                    <a:pt x="652" y="100"/>
                  </a:lnTo>
                  <a:lnTo>
                    <a:pt x="666" y="110"/>
                  </a:lnTo>
                  <a:lnTo>
                    <a:pt x="680" y="121"/>
                  </a:lnTo>
                  <a:lnTo>
                    <a:pt x="693" y="131"/>
                  </a:lnTo>
                  <a:lnTo>
                    <a:pt x="705" y="142"/>
                  </a:lnTo>
                  <a:lnTo>
                    <a:pt x="717" y="154"/>
                  </a:lnTo>
                  <a:lnTo>
                    <a:pt x="728" y="166"/>
                  </a:lnTo>
                  <a:lnTo>
                    <a:pt x="739" y="179"/>
                  </a:lnTo>
                  <a:lnTo>
                    <a:pt x="748" y="191"/>
                  </a:lnTo>
                  <a:lnTo>
                    <a:pt x="757" y="204"/>
                  </a:lnTo>
                  <a:lnTo>
                    <a:pt x="764" y="218"/>
                  </a:lnTo>
                  <a:lnTo>
                    <a:pt x="772" y="232"/>
                  </a:lnTo>
                  <a:lnTo>
                    <a:pt x="778" y="246"/>
                  </a:lnTo>
                  <a:lnTo>
                    <a:pt x="783" y="261"/>
                  </a:lnTo>
                  <a:lnTo>
                    <a:pt x="788" y="276"/>
                  </a:lnTo>
                  <a:lnTo>
                    <a:pt x="791" y="291"/>
                  </a:lnTo>
                  <a:lnTo>
                    <a:pt x="793" y="306"/>
                  </a:lnTo>
                  <a:lnTo>
                    <a:pt x="795" y="321"/>
                  </a:lnTo>
                  <a:lnTo>
                    <a:pt x="795" y="337"/>
                  </a:lnTo>
                  <a:lnTo>
                    <a:pt x="795" y="350"/>
                  </a:lnTo>
                  <a:lnTo>
                    <a:pt x="794" y="364"/>
                  </a:lnTo>
                  <a:lnTo>
                    <a:pt x="792" y="378"/>
                  </a:lnTo>
                  <a:lnTo>
                    <a:pt x="790" y="391"/>
                  </a:lnTo>
                  <a:lnTo>
                    <a:pt x="819" y="398"/>
                  </a:lnTo>
                  <a:lnTo>
                    <a:pt x="822" y="383"/>
                  </a:lnTo>
                  <a:lnTo>
                    <a:pt x="824" y="367"/>
                  </a:lnTo>
                  <a:lnTo>
                    <a:pt x="825" y="352"/>
                  </a:lnTo>
                  <a:lnTo>
                    <a:pt x="825" y="337"/>
                  </a:lnTo>
                  <a:lnTo>
                    <a:pt x="825" y="320"/>
                  </a:lnTo>
                  <a:lnTo>
                    <a:pt x="823" y="303"/>
                  </a:lnTo>
                  <a:lnTo>
                    <a:pt x="821" y="286"/>
                  </a:lnTo>
                  <a:lnTo>
                    <a:pt x="817" y="269"/>
                  </a:lnTo>
                  <a:lnTo>
                    <a:pt x="812" y="253"/>
                  </a:lnTo>
                  <a:lnTo>
                    <a:pt x="806" y="237"/>
                  </a:lnTo>
                  <a:lnTo>
                    <a:pt x="800" y="222"/>
                  </a:lnTo>
                  <a:lnTo>
                    <a:pt x="792" y="206"/>
                  </a:lnTo>
                  <a:lnTo>
                    <a:pt x="783" y="191"/>
                  </a:lnTo>
                  <a:lnTo>
                    <a:pt x="774" y="177"/>
                  </a:lnTo>
                  <a:lnTo>
                    <a:pt x="764" y="164"/>
                  </a:lnTo>
                  <a:lnTo>
                    <a:pt x="752" y="150"/>
                  </a:lnTo>
                  <a:lnTo>
                    <a:pt x="741" y="137"/>
                  </a:lnTo>
                  <a:lnTo>
                    <a:pt x="728" y="124"/>
                  </a:lnTo>
                  <a:lnTo>
                    <a:pt x="715" y="111"/>
                  </a:lnTo>
                  <a:lnTo>
                    <a:pt x="701" y="99"/>
                  </a:lnTo>
                  <a:lnTo>
                    <a:pt x="686" y="89"/>
                  </a:lnTo>
                  <a:lnTo>
                    <a:pt x="671" y="78"/>
                  </a:lnTo>
                  <a:lnTo>
                    <a:pt x="655" y="67"/>
                  </a:lnTo>
                  <a:lnTo>
                    <a:pt x="639" y="58"/>
                  </a:lnTo>
                  <a:lnTo>
                    <a:pt x="622" y="49"/>
                  </a:lnTo>
                  <a:lnTo>
                    <a:pt x="604" y="40"/>
                  </a:lnTo>
                  <a:lnTo>
                    <a:pt x="586" y="33"/>
                  </a:lnTo>
                  <a:lnTo>
                    <a:pt x="567" y="27"/>
                  </a:lnTo>
                  <a:lnTo>
                    <a:pt x="548" y="20"/>
                  </a:lnTo>
                  <a:lnTo>
                    <a:pt x="529" y="15"/>
                  </a:lnTo>
                  <a:lnTo>
                    <a:pt x="510" y="11"/>
                  </a:lnTo>
                  <a:lnTo>
                    <a:pt x="489" y="6"/>
                  </a:lnTo>
                  <a:lnTo>
                    <a:pt x="469" y="3"/>
                  </a:lnTo>
                  <a:lnTo>
                    <a:pt x="447" y="1"/>
                  </a:lnTo>
                  <a:lnTo>
                    <a:pt x="427" y="0"/>
                  </a:lnTo>
                  <a:lnTo>
                    <a:pt x="406" y="0"/>
                  </a:lnTo>
                  <a:lnTo>
                    <a:pt x="385" y="0"/>
                  </a:lnTo>
                  <a:lnTo>
                    <a:pt x="364" y="1"/>
                  </a:lnTo>
                  <a:lnTo>
                    <a:pt x="344" y="3"/>
                  </a:lnTo>
                  <a:lnTo>
                    <a:pt x="324" y="6"/>
                  </a:lnTo>
                  <a:lnTo>
                    <a:pt x="304" y="11"/>
                  </a:lnTo>
                  <a:lnTo>
                    <a:pt x="285" y="15"/>
                  </a:lnTo>
                  <a:lnTo>
                    <a:pt x="267" y="20"/>
                  </a:lnTo>
                  <a:lnTo>
                    <a:pt x="248" y="25"/>
                  </a:lnTo>
                  <a:lnTo>
                    <a:pt x="230" y="33"/>
                  </a:lnTo>
                  <a:lnTo>
                    <a:pt x="213" y="40"/>
                  </a:lnTo>
                  <a:lnTo>
                    <a:pt x="196" y="48"/>
                  </a:lnTo>
                  <a:lnTo>
                    <a:pt x="179" y="58"/>
                  </a:lnTo>
                  <a:lnTo>
                    <a:pt x="163" y="66"/>
                  </a:lnTo>
                  <a:lnTo>
                    <a:pt x="148" y="77"/>
                  </a:lnTo>
                  <a:lnTo>
                    <a:pt x="133" y="88"/>
                  </a:lnTo>
                  <a:lnTo>
                    <a:pt x="119" y="98"/>
                  </a:lnTo>
                  <a:lnTo>
                    <a:pt x="106" y="110"/>
                  </a:lnTo>
                  <a:lnTo>
                    <a:pt x="93" y="122"/>
                  </a:lnTo>
                  <a:lnTo>
                    <a:pt x="80" y="135"/>
                  </a:lnTo>
                  <a:lnTo>
                    <a:pt x="70" y="149"/>
                  </a:lnTo>
                  <a:lnTo>
                    <a:pt x="59" y="161"/>
                  </a:lnTo>
                  <a:lnTo>
                    <a:pt x="49" y="176"/>
                  </a:lnTo>
                  <a:lnTo>
                    <a:pt x="40" y="190"/>
                  </a:lnTo>
                  <a:lnTo>
                    <a:pt x="32" y="205"/>
                  </a:lnTo>
                  <a:lnTo>
                    <a:pt x="25" y="220"/>
                  </a:lnTo>
                  <a:lnTo>
                    <a:pt x="18" y="236"/>
                  </a:lnTo>
                  <a:lnTo>
                    <a:pt x="13" y="252"/>
                  </a:lnTo>
                  <a:lnTo>
                    <a:pt x="9" y="268"/>
                  </a:lnTo>
                  <a:lnTo>
                    <a:pt x="5" y="286"/>
                  </a:lnTo>
                  <a:lnTo>
                    <a:pt x="2" y="302"/>
                  </a:lnTo>
                  <a:lnTo>
                    <a:pt x="1" y="319"/>
                  </a:lnTo>
                  <a:lnTo>
                    <a:pt x="0" y="337"/>
                  </a:lnTo>
                  <a:lnTo>
                    <a:pt x="0" y="353"/>
                  </a:lnTo>
                  <a:lnTo>
                    <a:pt x="2" y="370"/>
                  </a:lnTo>
                  <a:lnTo>
                    <a:pt x="5" y="386"/>
                  </a:lnTo>
                  <a:lnTo>
                    <a:pt x="8" y="402"/>
                  </a:lnTo>
                  <a:lnTo>
                    <a:pt x="11" y="417"/>
                  </a:lnTo>
                  <a:lnTo>
                    <a:pt x="16" y="433"/>
                  </a:lnTo>
                  <a:lnTo>
                    <a:pt x="22" y="448"/>
                  </a:lnTo>
                  <a:lnTo>
                    <a:pt x="28" y="463"/>
                  </a:lnTo>
                  <a:lnTo>
                    <a:pt x="36" y="477"/>
                  </a:lnTo>
                  <a:lnTo>
                    <a:pt x="44" y="491"/>
                  </a:lnTo>
                  <a:lnTo>
                    <a:pt x="53" y="505"/>
                  </a:lnTo>
                  <a:lnTo>
                    <a:pt x="62" y="518"/>
                  </a:lnTo>
                  <a:lnTo>
                    <a:pt x="73" y="532"/>
                  </a:lnTo>
                  <a:lnTo>
                    <a:pt x="85" y="543"/>
                  </a:lnTo>
                  <a:lnTo>
                    <a:pt x="98" y="556"/>
                  </a:lnTo>
                  <a:lnTo>
                    <a:pt x="110" y="568"/>
                  </a:lnTo>
                  <a:lnTo>
                    <a:pt x="32" y="729"/>
                  </a:lnTo>
                  <a:lnTo>
                    <a:pt x="30" y="733"/>
                  </a:lnTo>
                  <a:lnTo>
                    <a:pt x="30" y="738"/>
                  </a:lnTo>
                  <a:lnTo>
                    <a:pt x="32" y="742"/>
                  </a:lnTo>
                  <a:lnTo>
                    <a:pt x="34" y="746"/>
                  </a:lnTo>
                  <a:lnTo>
                    <a:pt x="37" y="748"/>
                  </a:lnTo>
                  <a:lnTo>
                    <a:pt x="40" y="749"/>
                  </a:lnTo>
                  <a:lnTo>
                    <a:pt x="42" y="750"/>
                  </a:lnTo>
                  <a:lnTo>
                    <a:pt x="45" y="750"/>
                  </a:lnTo>
                  <a:lnTo>
                    <a:pt x="48" y="750"/>
                  </a:lnTo>
                  <a:lnTo>
                    <a:pt x="52" y="749"/>
                  </a:lnTo>
                  <a:lnTo>
                    <a:pt x="262" y="656"/>
                  </a:lnTo>
                  <a:lnTo>
                    <a:pt x="290" y="662"/>
                  </a:lnTo>
                  <a:lnTo>
                    <a:pt x="319" y="669"/>
                  </a:lnTo>
                  <a:lnTo>
                    <a:pt x="348" y="673"/>
                  </a:lnTo>
                  <a:lnTo>
                    <a:pt x="375" y="675"/>
                  </a:lnTo>
                  <a:lnTo>
                    <a:pt x="377" y="645"/>
                  </a:lnTo>
                  <a:lnTo>
                    <a:pt x="350" y="643"/>
                  </a:lnTo>
                  <a:lnTo>
                    <a:pt x="321" y="639"/>
                  </a:lnTo>
                  <a:lnTo>
                    <a:pt x="293" y="632"/>
                  </a:lnTo>
                  <a:lnTo>
                    <a:pt x="266" y="625"/>
                  </a:lnTo>
                  <a:lnTo>
                    <a:pt x="260" y="625"/>
                  </a:lnTo>
                  <a:lnTo>
                    <a:pt x="255" y="626"/>
                  </a:lnTo>
                  <a:lnTo>
                    <a:pt x="77" y="705"/>
                  </a:lnTo>
                  <a:lnTo>
                    <a:pt x="143" y="570"/>
                  </a:lnTo>
                  <a:lnTo>
                    <a:pt x="144" y="565"/>
                  </a:lnTo>
                  <a:lnTo>
                    <a:pt x="144" y="561"/>
                  </a:lnTo>
                  <a:lnTo>
                    <a:pt x="141" y="555"/>
                  </a:lnTo>
                  <a:lnTo>
                    <a:pt x="138" y="552"/>
                  </a:lnTo>
                  <a:lnTo>
                    <a:pt x="125" y="541"/>
                  </a:lnTo>
                  <a:lnTo>
                    <a:pt x="114" y="530"/>
                  </a:lnTo>
                  <a:lnTo>
                    <a:pt x="102" y="518"/>
                  </a:lnTo>
                  <a:lnTo>
                    <a:pt x="91" y="506"/>
                  </a:lnTo>
                  <a:lnTo>
                    <a:pt x="82" y="494"/>
                  </a:lnTo>
                  <a:lnTo>
                    <a:pt x="73" y="481"/>
                  </a:lnTo>
                  <a:lnTo>
                    <a:pt x="66" y="469"/>
                  </a:lnTo>
                  <a:lnTo>
                    <a:pt x="58" y="455"/>
                  </a:lnTo>
                  <a:lnTo>
                    <a:pt x="52" y="441"/>
                  </a:lnTo>
                  <a:lnTo>
                    <a:pt x="46" y="427"/>
                  </a:lnTo>
                  <a:lnTo>
                    <a:pt x="41" y="413"/>
                  </a:lnTo>
                  <a:lnTo>
                    <a:pt x="38" y="398"/>
                  </a:lnTo>
                  <a:lnTo>
                    <a:pt x="34" y="383"/>
                  </a:lnTo>
                  <a:lnTo>
                    <a:pt x="32" y="368"/>
                  </a:lnTo>
                  <a:lnTo>
                    <a:pt x="31" y="352"/>
                  </a:lnTo>
                  <a:lnTo>
                    <a:pt x="30" y="337"/>
                  </a:lnTo>
                  <a:lnTo>
                    <a:pt x="31" y="321"/>
                  </a:lnTo>
                  <a:lnTo>
                    <a:pt x="32" y="305"/>
                  </a:lnTo>
                  <a:lnTo>
                    <a:pt x="34" y="290"/>
                  </a:lnTo>
                  <a:lnTo>
                    <a:pt x="38" y="275"/>
                  </a:lnTo>
                  <a:lnTo>
                    <a:pt x="42" y="260"/>
                  </a:lnTo>
                  <a:lnTo>
                    <a:pt x="47" y="245"/>
                  </a:lnTo>
                  <a:lnTo>
                    <a:pt x="53" y="231"/>
                  </a:lnTo>
                  <a:lnTo>
                    <a:pt x="60" y="217"/>
                  </a:lnTo>
                  <a:lnTo>
                    <a:pt x="68" y="203"/>
                  </a:lnTo>
                  <a:lnTo>
                    <a:pt x="76" y="190"/>
                  </a:lnTo>
                  <a:lnTo>
                    <a:pt x="85" y="177"/>
                  </a:lnTo>
                  <a:lnTo>
                    <a:pt x="94" y="165"/>
                  </a:lnTo>
                  <a:lnTo>
                    <a:pt x="105" y="153"/>
                  </a:lnTo>
                  <a:lnTo>
                    <a:pt x="116" y="141"/>
                  </a:lnTo>
                  <a:lnTo>
                    <a:pt x="128" y="130"/>
                  </a:lnTo>
                  <a:lnTo>
                    <a:pt x="140" y="120"/>
                  </a:lnTo>
                  <a:lnTo>
                    <a:pt x="153" y="109"/>
                  </a:lnTo>
                  <a:lnTo>
                    <a:pt x="167" y="99"/>
                  </a:lnTo>
                  <a:lnTo>
                    <a:pt x="181" y="91"/>
                  </a:lnTo>
                  <a:lnTo>
                    <a:pt x="196" y="82"/>
                  </a:lnTo>
                  <a:lnTo>
                    <a:pt x="211" y="74"/>
                  </a:lnTo>
                  <a:lnTo>
                    <a:pt x="227" y="66"/>
                  </a:lnTo>
                  <a:lnTo>
                    <a:pt x="243" y="60"/>
                  </a:lnTo>
                  <a:lnTo>
                    <a:pt x="260" y="53"/>
                  </a:lnTo>
                  <a:lnTo>
                    <a:pt x="276" y="48"/>
                  </a:lnTo>
                  <a:lnTo>
                    <a:pt x="294" y="44"/>
                  </a:lnTo>
                  <a:lnTo>
                    <a:pt x="312" y="39"/>
                  </a:lnTo>
                  <a:lnTo>
                    <a:pt x="330" y="36"/>
                  </a:lnTo>
                  <a:lnTo>
                    <a:pt x="349" y="33"/>
                  </a:lnTo>
                  <a:lnTo>
                    <a:pt x="367" y="31"/>
                  </a:lnTo>
                  <a:lnTo>
                    <a:pt x="387" y="30"/>
                  </a:lnTo>
                  <a:lnTo>
                    <a:pt x="406" y="30"/>
                  </a:lnTo>
                  <a:lnTo>
                    <a:pt x="4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745" name="Freeform 51">
              <a:extLst>
                <a:ext uri="{FF2B5EF4-FFF2-40B4-BE49-F238E27FC236}">
                  <a16:creationId xmlns:a16="http://schemas.microsoft.com/office/drawing/2014/main" id="{655A03C7-52AE-4A38-96B0-297427780A85}"/>
                </a:ext>
              </a:extLst>
            </p:cNvPr>
            <p:cNvSpPr>
              <a:spLocks noEditPoints="1"/>
            </p:cNvSpPr>
            <p:nvPr/>
          </p:nvSpPr>
          <p:spPr bwMode="auto">
            <a:xfrm>
              <a:off x="4462463" y="3217863"/>
              <a:ext cx="142875" cy="142875"/>
            </a:xfrm>
            <a:custGeom>
              <a:avLst/>
              <a:gdLst>
                <a:gd name="T0" fmla="*/ 309 w 450"/>
                <a:gd name="T1" fmla="*/ 257 h 451"/>
                <a:gd name="T2" fmla="*/ 307 w 450"/>
                <a:gd name="T3" fmla="*/ 266 h 451"/>
                <a:gd name="T4" fmla="*/ 347 w 450"/>
                <a:gd name="T5" fmla="*/ 397 h 451"/>
                <a:gd name="T6" fmla="*/ 232 w 450"/>
                <a:gd name="T7" fmla="*/ 317 h 451"/>
                <a:gd name="T8" fmla="*/ 222 w 450"/>
                <a:gd name="T9" fmla="*/ 317 h 451"/>
                <a:gd name="T10" fmla="*/ 103 w 450"/>
                <a:gd name="T11" fmla="*/ 397 h 451"/>
                <a:gd name="T12" fmla="*/ 147 w 450"/>
                <a:gd name="T13" fmla="*/ 266 h 451"/>
                <a:gd name="T14" fmla="*/ 145 w 450"/>
                <a:gd name="T15" fmla="*/ 257 h 451"/>
                <a:gd name="T16" fmla="*/ 55 w 450"/>
                <a:gd name="T17" fmla="*/ 180 h 451"/>
                <a:gd name="T18" fmla="*/ 154 w 450"/>
                <a:gd name="T19" fmla="*/ 180 h 451"/>
                <a:gd name="T20" fmla="*/ 161 w 450"/>
                <a:gd name="T21" fmla="*/ 176 h 451"/>
                <a:gd name="T22" fmla="*/ 225 w 450"/>
                <a:gd name="T23" fmla="*/ 48 h 451"/>
                <a:gd name="T24" fmla="*/ 289 w 450"/>
                <a:gd name="T25" fmla="*/ 176 h 451"/>
                <a:gd name="T26" fmla="*/ 296 w 450"/>
                <a:gd name="T27" fmla="*/ 180 h 451"/>
                <a:gd name="T28" fmla="*/ 396 w 450"/>
                <a:gd name="T29" fmla="*/ 180 h 451"/>
                <a:gd name="T30" fmla="*/ 449 w 450"/>
                <a:gd name="T31" fmla="*/ 160 h 451"/>
                <a:gd name="T32" fmla="*/ 444 w 450"/>
                <a:gd name="T33" fmla="*/ 153 h 451"/>
                <a:gd name="T34" fmla="*/ 435 w 450"/>
                <a:gd name="T35" fmla="*/ 150 h 451"/>
                <a:gd name="T36" fmla="*/ 238 w 450"/>
                <a:gd name="T37" fmla="*/ 8 h 451"/>
                <a:gd name="T38" fmla="*/ 233 w 450"/>
                <a:gd name="T39" fmla="*/ 2 h 451"/>
                <a:gd name="T40" fmla="*/ 225 w 450"/>
                <a:gd name="T41" fmla="*/ 0 h 451"/>
                <a:gd name="T42" fmla="*/ 217 w 450"/>
                <a:gd name="T43" fmla="*/ 2 h 451"/>
                <a:gd name="T44" fmla="*/ 212 w 450"/>
                <a:gd name="T45" fmla="*/ 8 h 451"/>
                <a:gd name="T46" fmla="*/ 15 w 450"/>
                <a:gd name="T47" fmla="*/ 150 h 451"/>
                <a:gd name="T48" fmla="*/ 6 w 450"/>
                <a:gd name="T49" fmla="*/ 153 h 451"/>
                <a:gd name="T50" fmla="*/ 1 w 450"/>
                <a:gd name="T51" fmla="*/ 160 h 451"/>
                <a:gd name="T52" fmla="*/ 1 w 450"/>
                <a:gd name="T53" fmla="*/ 169 h 451"/>
                <a:gd name="T54" fmla="*/ 5 w 450"/>
                <a:gd name="T55" fmla="*/ 177 h 451"/>
                <a:gd name="T56" fmla="*/ 62 w 450"/>
                <a:gd name="T57" fmla="*/ 431 h 451"/>
                <a:gd name="T58" fmla="*/ 61 w 450"/>
                <a:gd name="T59" fmla="*/ 440 h 451"/>
                <a:gd name="T60" fmla="*/ 66 w 450"/>
                <a:gd name="T61" fmla="*/ 448 h 451"/>
                <a:gd name="T62" fmla="*/ 76 w 450"/>
                <a:gd name="T63" fmla="*/ 451 h 451"/>
                <a:gd name="T64" fmla="*/ 84 w 450"/>
                <a:gd name="T65" fmla="*/ 448 h 451"/>
                <a:gd name="T66" fmla="*/ 367 w 450"/>
                <a:gd name="T67" fmla="*/ 448 h 451"/>
                <a:gd name="T68" fmla="*/ 375 w 450"/>
                <a:gd name="T69" fmla="*/ 451 h 451"/>
                <a:gd name="T70" fmla="*/ 384 w 450"/>
                <a:gd name="T71" fmla="*/ 448 h 451"/>
                <a:gd name="T72" fmla="*/ 389 w 450"/>
                <a:gd name="T73" fmla="*/ 440 h 451"/>
                <a:gd name="T74" fmla="*/ 389 w 450"/>
                <a:gd name="T75" fmla="*/ 432 h 451"/>
                <a:gd name="T76" fmla="*/ 445 w 450"/>
                <a:gd name="T77" fmla="*/ 177 h 451"/>
                <a:gd name="T78" fmla="*/ 450 w 450"/>
                <a:gd name="T79" fmla="*/ 168 h 451"/>
                <a:gd name="T80" fmla="*/ 449 w 450"/>
                <a:gd name="T81" fmla="*/ 16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451">
                  <a:moveTo>
                    <a:pt x="312" y="254"/>
                  </a:moveTo>
                  <a:lnTo>
                    <a:pt x="309" y="257"/>
                  </a:lnTo>
                  <a:lnTo>
                    <a:pt x="307" y="261"/>
                  </a:lnTo>
                  <a:lnTo>
                    <a:pt x="307" y="266"/>
                  </a:lnTo>
                  <a:lnTo>
                    <a:pt x="308" y="270"/>
                  </a:lnTo>
                  <a:lnTo>
                    <a:pt x="347" y="397"/>
                  </a:lnTo>
                  <a:lnTo>
                    <a:pt x="235" y="319"/>
                  </a:lnTo>
                  <a:lnTo>
                    <a:pt x="232" y="317"/>
                  </a:lnTo>
                  <a:lnTo>
                    <a:pt x="227" y="316"/>
                  </a:lnTo>
                  <a:lnTo>
                    <a:pt x="222" y="317"/>
                  </a:lnTo>
                  <a:lnTo>
                    <a:pt x="218" y="319"/>
                  </a:lnTo>
                  <a:lnTo>
                    <a:pt x="103" y="397"/>
                  </a:lnTo>
                  <a:lnTo>
                    <a:pt x="146" y="270"/>
                  </a:lnTo>
                  <a:lnTo>
                    <a:pt x="147" y="266"/>
                  </a:lnTo>
                  <a:lnTo>
                    <a:pt x="146" y="261"/>
                  </a:lnTo>
                  <a:lnTo>
                    <a:pt x="145" y="257"/>
                  </a:lnTo>
                  <a:lnTo>
                    <a:pt x="142" y="254"/>
                  </a:lnTo>
                  <a:lnTo>
                    <a:pt x="55" y="180"/>
                  </a:lnTo>
                  <a:lnTo>
                    <a:pt x="150" y="180"/>
                  </a:lnTo>
                  <a:lnTo>
                    <a:pt x="154" y="180"/>
                  </a:lnTo>
                  <a:lnTo>
                    <a:pt x="158" y="178"/>
                  </a:lnTo>
                  <a:lnTo>
                    <a:pt x="161" y="176"/>
                  </a:lnTo>
                  <a:lnTo>
                    <a:pt x="163" y="172"/>
                  </a:lnTo>
                  <a:lnTo>
                    <a:pt x="225" y="48"/>
                  </a:lnTo>
                  <a:lnTo>
                    <a:pt x="286" y="172"/>
                  </a:lnTo>
                  <a:lnTo>
                    <a:pt x="289" y="176"/>
                  </a:lnTo>
                  <a:lnTo>
                    <a:pt x="292" y="178"/>
                  </a:lnTo>
                  <a:lnTo>
                    <a:pt x="296" y="180"/>
                  </a:lnTo>
                  <a:lnTo>
                    <a:pt x="300" y="180"/>
                  </a:lnTo>
                  <a:lnTo>
                    <a:pt x="396" y="180"/>
                  </a:lnTo>
                  <a:lnTo>
                    <a:pt x="312" y="254"/>
                  </a:lnTo>
                  <a:close/>
                  <a:moveTo>
                    <a:pt x="449" y="160"/>
                  </a:moveTo>
                  <a:lnTo>
                    <a:pt x="447" y="155"/>
                  </a:lnTo>
                  <a:lnTo>
                    <a:pt x="444" y="153"/>
                  </a:lnTo>
                  <a:lnTo>
                    <a:pt x="439" y="151"/>
                  </a:lnTo>
                  <a:lnTo>
                    <a:pt x="435" y="150"/>
                  </a:lnTo>
                  <a:lnTo>
                    <a:pt x="309" y="150"/>
                  </a:lnTo>
                  <a:lnTo>
                    <a:pt x="238" y="8"/>
                  </a:lnTo>
                  <a:lnTo>
                    <a:pt x="236" y="5"/>
                  </a:lnTo>
                  <a:lnTo>
                    <a:pt x="233" y="2"/>
                  </a:lnTo>
                  <a:lnTo>
                    <a:pt x="229" y="1"/>
                  </a:lnTo>
                  <a:lnTo>
                    <a:pt x="225" y="0"/>
                  </a:lnTo>
                  <a:lnTo>
                    <a:pt x="221" y="1"/>
                  </a:lnTo>
                  <a:lnTo>
                    <a:pt x="217" y="2"/>
                  </a:lnTo>
                  <a:lnTo>
                    <a:pt x="214" y="5"/>
                  </a:lnTo>
                  <a:lnTo>
                    <a:pt x="212" y="8"/>
                  </a:lnTo>
                  <a:lnTo>
                    <a:pt x="141" y="150"/>
                  </a:lnTo>
                  <a:lnTo>
                    <a:pt x="15" y="150"/>
                  </a:lnTo>
                  <a:lnTo>
                    <a:pt x="10" y="151"/>
                  </a:lnTo>
                  <a:lnTo>
                    <a:pt x="6" y="153"/>
                  </a:lnTo>
                  <a:lnTo>
                    <a:pt x="3" y="155"/>
                  </a:lnTo>
                  <a:lnTo>
                    <a:pt x="1" y="160"/>
                  </a:lnTo>
                  <a:lnTo>
                    <a:pt x="0" y="164"/>
                  </a:lnTo>
                  <a:lnTo>
                    <a:pt x="1" y="169"/>
                  </a:lnTo>
                  <a:lnTo>
                    <a:pt x="2" y="174"/>
                  </a:lnTo>
                  <a:lnTo>
                    <a:pt x="5" y="177"/>
                  </a:lnTo>
                  <a:lnTo>
                    <a:pt x="115" y="270"/>
                  </a:lnTo>
                  <a:lnTo>
                    <a:pt x="62" y="431"/>
                  </a:lnTo>
                  <a:lnTo>
                    <a:pt x="61" y="436"/>
                  </a:lnTo>
                  <a:lnTo>
                    <a:pt x="61" y="440"/>
                  </a:lnTo>
                  <a:lnTo>
                    <a:pt x="63" y="444"/>
                  </a:lnTo>
                  <a:lnTo>
                    <a:pt x="66" y="448"/>
                  </a:lnTo>
                  <a:lnTo>
                    <a:pt x="70" y="450"/>
                  </a:lnTo>
                  <a:lnTo>
                    <a:pt x="76" y="451"/>
                  </a:lnTo>
                  <a:lnTo>
                    <a:pt x="80" y="450"/>
                  </a:lnTo>
                  <a:lnTo>
                    <a:pt x="84" y="448"/>
                  </a:lnTo>
                  <a:lnTo>
                    <a:pt x="227" y="350"/>
                  </a:lnTo>
                  <a:lnTo>
                    <a:pt x="367" y="448"/>
                  </a:lnTo>
                  <a:lnTo>
                    <a:pt x="371" y="450"/>
                  </a:lnTo>
                  <a:lnTo>
                    <a:pt x="375" y="451"/>
                  </a:lnTo>
                  <a:lnTo>
                    <a:pt x="380" y="450"/>
                  </a:lnTo>
                  <a:lnTo>
                    <a:pt x="384" y="448"/>
                  </a:lnTo>
                  <a:lnTo>
                    <a:pt x="387" y="444"/>
                  </a:lnTo>
                  <a:lnTo>
                    <a:pt x="389" y="440"/>
                  </a:lnTo>
                  <a:lnTo>
                    <a:pt x="390" y="436"/>
                  </a:lnTo>
                  <a:lnTo>
                    <a:pt x="389" y="432"/>
                  </a:lnTo>
                  <a:lnTo>
                    <a:pt x="339" y="270"/>
                  </a:lnTo>
                  <a:lnTo>
                    <a:pt x="445" y="177"/>
                  </a:lnTo>
                  <a:lnTo>
                    <a:pt x="448" y="173"/>
                  </a:lnTo>
                  <a:lnTo>
                    <a:pt x="450" y="168"/>
                  </a:lnTo>
                  <a:lnTo>
                    <a:pt x="450" y="164"/>
                  </a:lnTo>
                  <a:lnTo>
                    <a:pt x="44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grpSp>
      <p:grpSp>
        <p:nvGrpSpPr>
          <p:cNvPr id="581" name="Group 143">
            <a:extLst>
              <a:ext uri="{FF2B5EF4-FFF2-40B4-BE49-F238E27FC236}">
                <a16:creationId xmlns:a16="http://schemas.microsoft.com/office/drawing/2014/main" id="{695C4F88-F6E8-4A45-90DA-516AF381382B}"/>
              </a:ext>
            </a:extLst>
          </p:cNvPr>
          <p:cNvGrpSpPr>
            <a:grpSpLocks noChangeAspect="1"/>
          </p:cNvGrpSpPr>
          <p:nvPr/>
        </p:nvGrpSpPr>
        <p:grpSpPr>
          <a:xfrm>
            <a:off x="3642789" y="5417577"/>
            <a:ext cx="321550" cy="285619"/>
            <a:chOff x="7615238" y="793750"/>
            <a:chExt cx="284163" cy="252412"/>
          </a:xfrm>
          <a:solidFill>
            <a:schemeClr val="bg1"/>
          </a:solidFill>
          <a:effectLst/>
        </p:grpSpPr>
        <p:sp>
          <p:nvSpPr>
            <p:cNvPr id="582" name="Freeform 299">
              <a:extLst>
                <a:ext uri="{FF2B5EF4-FFF2-40B4-BE49-F238E27FC236}">
                  <a16:creationId xmlns:a16="http://schemas.microsoft.com/office/drawing/2014/main" id="{B02A3D25-EA53-439A-BD34-26FA2FCB0E1A}"/>
                </a:ext>
              </a:extLst>
            </p:cNvPr>
            <p:cNvSpPr>
              <a:spLocks noEditPoints="1"/>
            </p:cNvSpPr>
            <p:nvPr/>
          </p:nvSpPr>
          <p:spPr bwMode="auto">
            <a:xfrm>
              <a:off x="7615238" y="793750"/>
              <a:ext cx="284163" cy="252412"/>
            </a:xfrm>
            <a:custGeom>
              <a:avLst/>
              <a:gdLst>
                <a:gd name="T0" fmla="*/ 763 w 896"/>
                <a:gd name="T1" fmla="*/ 426 h 793"/>
                <a:gd name="T2" fmla="*/ 765 w 896"/>
                <a:gd name="T3" fmla="*/ 445 h 793"/>
                <a:gd name="T4" fmla="*/ 809 w 896"/>
                <a:gd name="T5" fmla="*/ 457 h 793"/>
                <a:gd name="T6" fmla="*/ 836 w 896"/>
                <a:gd name="T7" fmla="*/ 494 h 793"/>
                <a:gd name="T8" fmla="*/ 801 w 896"/>
                <a:gd name="T9" fmla="*/ 538 h 793"/>
                <a:gd name="T10" fmla="*/ 735 w 896"/>
                <a:gd name="T11" fmla="*/ 546 h 793"/>
                <a:gd name="T12" fmla="*/ 737 w 896"/>
                <a:gd name="T13" fmla="*/ 564 h 793"/>
                <a:gd name="T14" fmla="*/ 768 w 896"/>
                <a:gd name="T15" fmla="*/ 571 h 793"/>
                <a:gd name="T16" fmla="*/ 791 w 896"/>
                <a:gd name="T17" fmla="*/ 602 h 793"/>
                <a:gd name="T18" fmla="*/ 781 w 896"/>
                <a:gd name="T19" fmla="*/ 636 h 793"/>
                <a:gd name="T20" fmla="*/ 699 w 896"/>
                <a:gd name="T21" fmla="*/ 644 h 793"/>
                <a:gd name="T22" fmla="*/ 688 w 896"/>
                <a:gd name="T23" fmla="*/ 658 h 793"/>
                <a:gd name="T24" fmla="*/ 699 w 896"/>
                <a:gd name="T25" fmla="*/ 673 h 793"/>
                <a:gd name="T26" fmla="*/ 741 w 896"/>
                <a:gd name="T27" fmla="*/ 687 h 793"/>
                <a:gd name="T28" fmla="*/ 743 w 896"/>
                <a:gd name="T29" fmla="*/ 723 h 793"/>
                <a:gd name="T30" fmla="*/ 442 w 896"/>
                <a:gd name="T31" fmla="*/ 733 h 793"/>
                <a:gd name="T32" fmla="*/ 273 w 896"/>
                <a:gd name="T33" fmla="*/ 702 h 793"/>
                <a:gd name="T34" fmla="*/ 246 w 896"/>
                <a:gd name="T35" fmla="*/ 392 h 793"/>
                <a:gd name="T36" fmla="*/ 348 w 896"/>
                <a:gd name="T37" fmla="*/ 316 h 793"/>
                <a:gd name="T38" fmla="*/ 425 w 896"/>
                <a:gd name="T39" fmla="*/ 208 h 793"/>
                <a:gd name="T40" fmla="*/ 460 w 896"/>
                <a:gd name="T41" fmla="*/ 107 h 793"/>
                <a:gd name="T42" fmla="*/ 472 w 896"/>
                <a:gd name="T43" fmla="*/ 40 h 793"/>
                <a:gd name="T44" fmla="*/ 513 w 896"/>
                <a:gd name="T45" fmla="*/ 39 h 793"/>
                <a:gd name="T46" fmla="*/ 550 w 896"/>
                <a:gd name="T47" fmla="*/ 118 h 793"/>
                <a:gd name="T48" fmla="*/ 516 w 896"/>
                <a:gd name="T49" fmla="*/ 276 h 793"/>
                <a:gd name="T50" fmla="*/ 516 w 896"/>
                <a:gd name="T51" fmla="*/ 313 h 793"/>
                <a:gd name="T52" fmla="*/ 853 w 896"/>
                <a:gd name="T53" fmla="*/ 329 h 793"/>
                <a:gd name="T54" fmla="*/ 861 w 896"/>
                <a:gd name="T55" fmla="*/ 389 h 793"/>
                <a:gd name="T56" fmla="*/ 833 w 896"/>
                <a:gd name="T57" fmla="*/ 417 h 793"/>
                <a:gd name="T58" fmla="*/ 179 w 896"/>
                <a:gd name="T59" fmla="*/ 345 h 793"/>
                <a:gd name="T60" fmla="*/ 893 w 896"/>
                <a:gd name="T61" fmla="*/ 337 h 793"/>
                <a:gd name="T62" fmla="*/ 863 w 896"/>
                <a:gd name="T63" fmla="*/ 298 h 793"/>
                <a:gd name="T64" fmla="*/ 544 w 896"/>
                <a:gd name="T65" fmla="*/ 285 h 793"/>
                <a:gd name="T66" fmla="*/ 580 w 896"/>
                <a:gd name="T67" fmla="*/ 123 h 793"/>
                <a:gd name="T68" fmla="*/ 555 w 896"/>
                <a:gd name="T69" fmla="*/ 40 h 793"/>
                <a:gd name="T70" fmla="*/ 513 w 896"/>
                <a:gd name="T71" fmla="*/ 5 h 793"/>
                <a:gd name="T72" fmla="*/ 470 w 896"/>
                <a:gd name="T73" fmla="*/ 6 h 793"/>
                <a:gd name="T74" fmla="*/ 441 w 896"/>
                <a:gd name="T75" fmla="*/ 35 h 793"/>
                <a:gd name="T76" fmla="*/ 432 w 896"/>
                <a:gd name="T77" fmla="*/ 91 h 793"/>
                <a:gd name="T78" fmla="*/ 398 w 896"/>
                <a:gd name="T79" fmla="*/ 194 h 793"/>
                <a:gd name="T80" fmla="*/ 280 w 896"/>
                <a:gd name="T81" fmla="*/ 337 h 793"/>
                <a:gd name="T82" fmla="*/ 209 w 896"/>
                <a:gd name="T83" fmla="*/ 330 h 793"/>
                <a:gd name="T84" fmla="*/ 197 w 896"/>
                <a:gd name="T85" fmla="*/ 315 h 793"/>
                <a:gd name="T86" fmla="*/ 2 w 896"/>
                <a:gd name="T87" fmla="*/ 321 h 793"/>
                <a:gd name="T88" fmla="*/ 2 w 896"/>
                <a:gd name="T89" fmla="*/ 786 h 793"/>
                <a:gd name="T90" fmla="*/ 197 w 896"/>
                <a:gd name="T91" fmla="*/ 793 h 793"/>
                <a:gd name="T92" fmla="*/ 209 w 896"/>
                <a:gd name="T93" fmla="*/ 778 h 793"/>
                <a:gd name="T94" fmla="*/ 383 w 896"/>
                <a:gd name="T95" fmla="*/ 758 h 793"/>
                <a:gd name="T96" fmla="*/ 743 w 896"/>
                <a:gd name="T97" fmla="*/ 760 h 793"/>
                <a:gd name="T98" fmla="*/ 771 w 896"/>
                <a:gd name="T99" fmla="*/ 735 h 793"/>
                <a:gd name="T100" fmla="*/ 768 w 896"/>
                <a:gd name="T101" fmla="*/ 672 h 793"/>
                <a:gd name="T102" fmla="*/ 821 w 896"/>
                <a:gd name="T103" fmla="*/ 625 h 793"/>
                <a:gd name="T104" fmla="*/ 831 w 896"/>
                <a:gd name="T105" fmla="*/ 556 h 793"/>
                <a:gd name="T106" fmla="*/ 866 w 896"/>
                <a:gd name="T107" fmla="*/ 501 h 793"/>
                <a:gd name="T108" fmla="*/ 853 w 896"/>
                <a:gd name="T109" fmla="*/ 456 h 793"/>
                <a:gd name="T110" fmla="*/ 872 w 896"/>
                <a:gd name="T111" fmla="*/ 427 h 793"/>
                <a:gd name="T112" fmla="*/ 896 w 896"/>
                <a:gd name="T113" fmla="*/ 360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6" h="793">
                  <a:moveTo>
                    <a:pt x="821" y="420"/>
                  </a:moveTo>
                  <a:lnTo>
                    <a:pt x="774" y="420"/>
                  </a:lnTo>
                  <a:lnTo>
                    <a:pt x="772" y="420"/>
                  </a:lnTo>
                  <a:lnTo>
                    <a:pt x="769" y="421"/>
                  </a:lnTo>
                  <a:lnTo>
                    <a:pt x="767" y="422"/>
                  </a:lnTo>
                  <a:lnTo>
                    <a:pt x="765" y="424"/>
                  </a:lnTo>
                  <a:lnTo>
                    <a:pt x="763" y="426"/>
                  </a:lnTo>
                  <a:lnTo>
                    <a:pt x="762" y="428"/>
                  </a:lnTo>
                  <a:lnTo>
                    <a:pt x="760" y="431"/>
                  </a:lnTo>
                  <a:lnTo>
                    <a:pt x="760" y="435"/>
                  </a:lnTo>
                  <a:lnTo>
                    <a:pt x="760" y="437"/>
                  </a:lnTo>
                  <a:lnTo>
                    <a:pt x="762" y="440"/>
                  </a:lnTo>
                  <a:lnTo>
                    <a:pt x="763" y="442"/>
                  </a:lnTo>
                  <a:lnTo>
                    <a:pt x="765" y="445"/>
                  </a:lnTo>
                  <a:lnTo>
                    <a:pt x="767" y="446"/>
                  </a:lnTo>
                  <a:lnTo>
                    <a:pt x="769" y="448"/>
                  </a:lnTo>
                  <a:lnTo>
                    <a:pt x="772" y="448"/>
                  </a:lnTo>
                  <a:lnTo>
                    <a:pt x="774" y="450"/>
                  </a:lnTo>
                  <a:lnTo>
                    <a:pt x="787" y="451"/>
                  </a:lnTo>
                  <a:lnTo>
                    <a:pt x="798" y="453"/>
                  </a:lnTo>
                  <a:lnTo>
                    <a:pt x="809" y="457"/>
                  </a:lnTo>
                  <a:lnTo>
                    <a:pt x="818" y="463"/>
                  </a:lnTo>
                  <a:lnTo>
                    <a:pt x="826" y="470"/>
                  </a:lnTo>
                  <a:lnTo>
                    <a:pt x="832" y="477"/>
                  </a:lnTo>
                  <a:lnTo>
                    <a:pt x="834" y="482"/>
                  </a:lnTo>
                  <a:lnTo>
                    <a:pt x="835" y="486"/>
                  </a:lnTo>
                  <a:lnTo>
                    <a:pt x="836" y="490"/>
                  </a:lnTo>
                  <a:lnTo>
                    <a:pt x="836" y="494"/>
                  </a:lnTo>
                  <a:lnTo>
                    <a:pt x="836" y="503"/>
                  </a:lnTo>
                  <a:lnTo>
                    <a:pt x="833" y="510"/>
                  </a:lnTo>
                  <a:lnTo>
                    <a:pt x="829" y="518"/>
                  </a:lnTo>
                  <a:lnTo>
                    <a:pt x="824" y="525"/>
                  </a:lnTo>
                  <a:lnTo>
                    <a:pt x="816" y="531"/>
                  </a:lnTo>
                  <a:lnTo>
                    <a:pt x="809" y="535"/>
                  </a:lnTo>
                  <a:lnTo>
                    <a:pt x="801" y="538"/>
                  </a:lnTo>
                  <a:lnTo>
                    <a:pt x="793" y="539"/>
                  </a:lnTo>
                  <a:lnTo>
                    <a:pt x="748" y="539"/>
                  </a:lnTo>
                  <a:lnTo>
                    <a:pt x="744" y="539"/>
                  </a:lnTo>
                  <a:lnTo>
                    <a:pt x="741" y="540"/>
                  </a:lnTo>
                  <a:lnTo>
                    <a:pt x="739" y="542"/>
                  </a:lnTo>
                  <a:lnTo>
                    <a:pt x="737" y="544"/>
                  </a:lnTo>
                  <a:lnTo>
                    <a:pt x="735" y="546"/>
                  </a:lnTo>
                  <a:lnTo>
                    <a:pt x="734" y="548"/>
                  </a:lnTo>
                  <a:lnTo>
                    <a:pt x="733" y="551"/>
                  </a:lnTo>
                  <a:lnTo>
                    <a:pt x="733" y="554"/>
                  </a:lnTo>
                  <a:lnTo>
                    <a:pt x="733" y="556"/>
                  </a:lnTo>
                  <a:lnTo>
                    <a:pt x="734" y="560"/>
                  </a:lnTo>
                  <a:lnTo>
                    <a:pt x="735" y="562"/>
                  </a:lnTo>
                  <a:lnTo>
                    <a:pt x="737" y="564"/>
                  </a:lnTo>
                  <a:lnTo>
                    <a:pt x="739" y="566"/>
                  </a:lnTo>
                  <a:lnTo>
                    <a:pt x="741" y="567"/>
                  </a:lnTo>
                  <a:lnTo>
                    <a:pt x="744" y="568"/>
                  </a:lnTo>
                  <a:lnTo>
                    <a:pt x="748" y="569"/>
                  </a:lnTo>
                  <a:lnTo>
                    <a:pt x="755" y="569"/>
                  </a:lnTo>
                  <a:lnTo>
                    <a:pt x="762" y="570"/>
                  </a:lnTo>
                  <a:lnTo>
                    <a:pt x="768" y="571"/>
                  </a:lnTo>
                  <a:lnTo>
                    <a:pt x="773" y="575"/>
                  </a:lnTo>
                  <a:lnTo>
                    <a:pt x="778" y="577"/>
                  </a:lnTo>
                  <a:lnTo>
                    <a:pt x="781" y="580"/>
                  </a:lnTo>
                  <a:lnTo>
                    <a:pt x="784" y="583"/>
                  </a:lnTo>
                  <a:lnTo>
                    <a:pt x="786" y="587"/>
                  </a:lnTo>
                  <a:lnTo>
                    <a:pt x="789" y="595"/>
                  </a:lnTo>
                  <a:lnTo>
                    <a:pt x="791" y="602"/>
                  </a:lnTo>
                  <a:lnTo>
                    <a:pt x="791" y="609"/>
                  </a:lnTo>
                  <a:lnTo>
                    <a:pt x="793" y="613"/>
                  </a:lnTo>
                  <a:lnTo>
                    <a:pt x="791" y="619"/>
                  </a:lnTo>
                  <a:lnTo>
                    <a:pt x="790" y="623"/>
                  </a:lnTo>
                  <a:lnTo>
                    <a:pt x="789" y="627"/>
                  </a:lnTo>
                  <a:lnTo>
                    <a:pt x="786" y="630"/>
                  </a:lnTo>
                  <a:lnTo>
                    <a:pt x="781" y="636"/>
                  </a:lnTo>
                  <a:lnTo>
                    <a:pt x="773" y="639"/>
                  </a:lnTo>
                  <a:lnTo>
                    <a:pt x="766" y="641"/>
                  </a:lnTo>
                  <a:lnTo>
                    <a:pt x="758" y="643"/>
                  </a:lnTo>
                  <a:lnTo>
                    <a:pt x="752" y="643"/>
                  </a:lnTo>
                  <a:lnTo>
                    <a:pt x="748" y="643"/>
                  </a:lnTo>
                  <a:lnTo>
                    <a:pt x="703" y="643"/>
                  </a:lnTo>
                  <a:lnTo>
                    <a:pt x="699" y="644"/>
                  </a:lnTo>
                  <a:lnTo>
                    <a:pt x="696" y="645"/>
                  </a:lnTo>
                  <a:lnTo>
                    <a:pt x="694" y="646"/>
                  </a:lnTo>
                  <a:lnTo>
                    <a:pt x="692" y="648"/>
                  </a:lnTo>
                  <a:lnTo>
                    <a:pt x="690" y="651"/>
                  </a:lnTo>
                  <a:lnTo>
                    <a:pt x="689" y="653"/>
                  </a:lnTo>
                  <a:lnTo>
                    <a:pt x="688" y="656"/>
                  </a:lnTo>
                  <a:lnTo>
                    <a:pt x="688" y="658"/>
                  </a:lnTo>
                  <a:lnTo>
                    <a:pt x="688" y="661"/>
                  </a:lnTo>
                  <a:lnTo>
                    <a:pt x="689" y="664"/>
                  </a:lnTo>
                  <a:lnTo>
                    <a:pt x="690" y="667"/>
                  </a:lnTo>
                  <a:lnTo>
                    <a:pt x="692" y="669"/>
                  </a:lnTo>
                  <a:lnTo>
                    <a:pt x="694" y="671"/>
                  </a:lnTo>
                  <a:lnTo>
                    <a:pt x="696" y="672"/>
                  </a:lnTo>
                  <a:lnTo>
                    <a:pt x="699" y="673"/>
                  </a:lnTo>
                  <a:lnTo>
                    <a:pt x="703" y="673"/>
                  </a:lnTo>
                  <a:lnTo>
                    <a:pt x="707" y="674"/>
                  </a:lnTo>
                  <a:lnTo>
                    <a:pt x="713" y="674"/>
                  </a:lnTo>
                  <a:lnTo>
                    <a:pt x="721" y="675"/>
                  </a:lnTo>
                  <a:lnTo>
                    <a:pt x="728" y="678"/>
                  </a:lnTo>
                  <a:lnTo>
                    <a:pt x="736" y="682"/>
                  </a:lnTo>
                  <a:lnTo>
                    <a:pt x="741" y="687"/>
                  </a:lnTo>
                  <a:lnTo>
                    <a:pt x="744" y="690"/>
                  </a:lnTo>
                  <a:lnTo>
                    <a:pt x="745" y="694"/>
                  </a:lnTo>
                  <a:lnTo>
                    <a:pt x="747" y="699"/>
                  </a:lnTo>
                  <a:lnTo>
                    <a:pt x="748" y="703"/>
                  </a:lnTo>
                  <a:lnTo>
                    <a:pt x="747" y="712"/>
                  </a:lnTo>
                  <a:lnTo>
                    <a:pt x="745" y="718"/>
                  </a:lnTo>
                  <a:lnTo>
                    <a:pt x="743" y="723"/>
                  </a:lnTo>
                  <a:lnTo>
                    <a:pt x="741" y="727"/>
                  </a:lnTo>
                  <a:lnTo>
                    <a:pt x="737" y="730"/>
                  </a:lnTo>
                  <a:lnTo>
                    <a:pt x="732" y="732"/>
                  </a:lnTo>
                  <a:lnTo>
                    <a:pt x="725" y="733"/>
                  </a:lnTo>
                  <a:lnTo>
                    <a:pt x="718" y="733"/>
                  </a:lnTo>
                  <a:lnTo>
                    <a:pt x="463" y="733"/>
                  </a:lnTo>
                  <a:lnTo>
                    <a:pt x="442" y="733"/>
                  </a:lnTo>
                  <a:lnTo>
                    <a:pt x="421" y="732"/>
                  </a:lnTo>
                  <a:lnTo>
                    <a:pt x="403" y="730"/>
                  </a:lnTo>
                  <a:lnTo>
                    <a:pt x="386" y="728"/>
                  </a:lnTo>
                  <a:lnTo>
                    <a:pt x="354" y="721"/>
                  </a:lnTo>
                  <a:lnTo>
                    <a:pt x="322" y="714"/>
                  </a:lnTo>
                  <a:lnTo>
                    <a:pt x="298" y="708"/>
                  </a:lnTo>
                  <a:lnTo>
                    <a:pt x="273" y="702"/>
                  </a:lnTo>
                  <a:lnTo>
                    <a:pt x="243" y="697"/>
                  </a:lnTo>
                  <a:lnTo>
                    <a:pt x="209" y="690"/>
                  </a:lnTo>
                  <a:lnTo>
                    <a:pt x="209" y="404"/>
                  </a:lnTo>
                  <a:lnTo>
                    <a:pt x="218" y="401"/>
                  </a:lnTo>
                  <a:lnTo>
                    <a:pt x="227" y="399"/>
                  </a:lnTo>
                  <a:lnTo>
                    <a:pt x="236" y="396"/>
                  </a:lnTo>
                  <a:lnTo>
                    <a:pt x="246" y="392"/>
                  </a:lnTo>
                  <a:lnTo>
                    <a:pt x="257" y="386"/>
                  </a:lnTo>
                  <a:lnTo>
                    <a:pt x="266" y="381"/>
                  </a:lnTo>
                  <a:lnTo>
                    <a:pt x="276" y="376"/>
                  </a:lnTo>
                  <a:lnTo>
                    <a:pt x="287" y="368"/>
                  </a:lnTo>
                  <a:lnTo>
                    <a:pt x="307" y="353"/>
                  </a:lnTo>
                  <a:lnTo>
                    <a:pt x="327" y="335"/>
                  </a:lnTo>
                  <a:lnTo>
                    <a:pt x="348" y="316"/>
                  </a:lnTo>
                  <a:lnTo>
                    <a:pt x="367" y="293"/>
                  </a:lnTo>
                  <a:lnTo>
                    <a:pt x="379" y="279"/>
                  </a:lnTo>
                  <a:lnTo>
                    <a:pt x="389" y="266"/>
                  </a:lnTo>
                  <a:lnTo>
                    <a:pt x="399" y="252"/>
                  </a:lnTo>
                  <a:lnTo>
                    <a:pt x="408" y="237"/>
                  </a:lnTo>
                  <a:lnTo>
                    <a:pt x="416" y="223"/>
                  </a:lnTo>
                  <a:lnTo>
                    <a:pt x="425" y="208"/>
                  </a:lnTo>
                  <a:lnTo>
                    <a:pt x="431" y="194"/>
                  </a:lnTo>
                  <a:lnTo>
                    <a:pt x="439" y="179"/>
                  </a:lnTo>
                  <a:lnTo>
                    <a:pt x="444" y="164"/>
                  </a:lnTo>
                  <a:lnTo>
                    <a:pt x="449" y="150"/>
                  </a:lnTo>
                  <a:lnTo>
                    <a:pt x="454" y="135"/>
                  </a:lnTo>
                  <a:lnTo>
                    <a:pt x="457" y="121"/>
                  </a:lnTo>
                  <a:lnTo>
                    <a:pt x="460" y="107"/>
                  </a:lnTo>
                  <a:lnTo>
                    <a:pt x="461" y="92"/>
                  </a:lnTo>
                  <a:lnTo>
                    <a:pt x="463" y="78"/>
                  </a:lnTo>
                  <a:lnTo>
                    <a:pt x="463" y="66"/>
                  </a:lnTo>
                  <a:lnTo>
                    <a:pt x="464" y="58"/>
                  </a:lnTo>
                  <a:lnTo>
                    <a:pt x="465" y="52"/>
                  </a:lnTo>
                  <a:lnTo>
                    <a:pt x="467" y="45"/>
                  </a:lnTo>
                  <a:lnTo>
                    <a:pt x="472" y="40"/>
                  </a:lnTo>
                  <a:lnTo>
                    <a:pt x="476" y="37"/>
                  </a:lnTo>
                  <a:lnTo>
                    <a:pt x="480" y="34"/>
                  </a:lnTo>
                  <a:lnTo>
                    <a:pt x="487" y="31"/>
                  </a:lnTo>
                  <a:lnTo>
                    <a:pt x="492" y="30"/>
                  </a:lnTo>
                  <a:lnTo>
                    <a:pt x="500" y="31"/>
                  </a:lnTo>
                  <a:lnTo>
                    <a:pt x="506" y="34"/>
                  </a:lnTo>
                  <a:lnTo>
                    <a:pt x="513" y="39"/>
                  </a:lnTo>
                  <a:lnTo>
                    <a:pt x="521" y="45"/>
                  </a:lnTo>
                  <a:lnTo>
                    <a:pt x="528" y="54"/>
                  </a:lnTo>
                  <a:lnTo>
                    <a:pt x="535" y="66"/>
                  </a:lnTo>
                  <a:lnTo>
                    <a:pt x="541" y="79"/>
                  </a:lnTo>
                  <a:lnTo>
                    <a:pt x="547" y="97"/>
                  </a:lnTo>
                  <a:lnTo>
                    <a:pt x="549" y="106"/>
                  </a:lnTo>
                  <a:lnTo>
                    <a:pt x="550" y="118"/>
                  </a:lnTo>
                  <a:lnTo>
                    <a:pt x="550" y="130"/>
                  </a:lnTo>
                  <a:lnTo>
                    <a:pt x="549" y="144"/>
                  </a:lnTo>
                  <a:lnTo>
                    <a:pt x="546" y="171"/>
                  </a:lnTo>
                  <a:lnTo>
                    <a:pt x="539" y="200"/>
                  </a:lnTo>
                  <a:lnTo>
                    <a:pt x="532" y="228"/>
                  </a:lnTo>
                  <a:lnTo>
                    <a:pt x="523" y="255"/>
                  </a:lnTo>
                  <a:lnTo>
                    <a:pt x="516" y="276"/>
                  </a:lnTo>
                  <a:lnTo>
                    <a:pt x="509" y="294"/>
                  </a:lnTo>
                  <a:lnTo>
                    <a:pt x="508" y="298"/>
                  </a:lnTo>
                  <a:lnTo>
                    <a:pt x="508" y="301"/>
                  </a:lnTo>
                  <a:lnTo>
                    <a:pt x="509" y="305"/>
                  </a:lnTo>
                  <a:lnTo>
                    <a:pt x="510" y="308"/>
                  </a:lnTo>
                  <a:lnTo>
                    <a:pt x="513" y="310"/>
                  </a:lnTo>
                  <a:lnTo>
                    <a:pt x="516" y="313"/>
                  </a:lnTo>
                  <a:lnTo>
                    <a:pt x="519" y="314"/>
                  </a:lnTo>
                  <a:lnTo>
                    <a:pt x="523" y="315"/>
                  </a:lnTo>
                  <a:lnTo>
                    <a:pt x="821" y="315"/>
                  </a:lnTo>
                  <a:lnTo>
                    <a:pt x="830" y="316"/>
                  </a:lnTo>
                  <a:lnTo>
                    <a:pt x="839" y="318"/>
                  </a:lnTo>
                  <a:lnTo>
                    <a:pt x="846" y="322"/>
                  </a:lnTo>
                  <a:lnTo>
                    <a:pt x="853" y="329"/>
                  </a:lnTo>
                  <a:lnTo>
                    <a:pt x="859" y="335"/>
                  </a:lnTo>
                  <a:lnTo>
                    <a:pt x="863" y="343"/>
                  </a:lnTo>
                  <a:lnTo>
                    <a:pt x="866" y="351"/>
                  </a:lnTo>
                  <a:lnTo>
                    <a:pt x="866" y="360"/>
                  </a:lnTo>
                  <a:lnTo>
                    <a:pt x="866" y="369"/>
                  </a:lnTo>
                  <a:lnTo>
                    <a:pt x="864" y="379"/>
                  </a:lnTo>
                  <a:lnTo>
                    <a:pt x="861" y="389"/>
                  </a:lnTo>
                  <a:lnTo>
                    <a:pt x="856" y="398"/>
                  </a:lnTo>
                  <a:lnTo>
                    <a:pt x="852" y="402"/>
                  </a:lnTo>
                  <a:lnTo>
                    <a:pt x="849" y="407"/>
                  </a:lnTo>
                  <a:lnTo>
                    <a:pt x="846" y="410"/>
                  </a:lnTo>
                  <a:lnTo>
                    <a:pt x="842" y="413"/>
                  </a:lnTo>
                  <a:lnTo>
                    <a:pt x="837" y="415"/>
                  </a:lnTo>
                  <a:lnTo>
                    <a:pt x="833" y="417"/>
                  </a:lnTo>
                  <a:lnTo>
                    <a:pt x="828" y="419"/>
                  </a:lnTo>
                  <a:lnTo>
                    <a:pt x="821" y="420"/>
                  </a:lnTo>
                  <a:lnTo>
                    <a:pt x="821" y="420"/>
                  </a:lnTo>
                  <a:close/>
                  <a:moveTo>
                    <a:pt x="179" y="763"/>
                  </a:moveTo>
                  <a:lnTo>
                    <a:pt x="30" y="763"/>
                  </a:lnTo>
                  <a:lnTo>
                    <a:pt x="30" y="344"/>
                  </a:lnTo>
                  <a:lnTo>
                    <a:pt x="179" y="345"/>
                  </a:lnTo>
                  <a:lnTo>
                    <a:pt x="179" y="390"/>
                  </a:lnTo>
                  <a:lnTo>
                    <a:pt x="179" y="703"/>
                  </a:lnTo>
                  <a:lnTo>
                    <a:pt x="179" y="763"/>
                  </a:lnTo>
                  <a:close/>
                  <a:moveTo>
                    <a:pt x="896" y="360"/>
                  </a:moveTo>
                  <a:lnTo>
                    <a:pt x="896" y="352"/>
                  </a:lnTo>
                  <a:lnTo>
                    <a:pt x="895" y="345"/>
                  </a:lnTo>
                  <a:lnTo>
                    <a:pt x="893" y="337"/>
                  </a:lnTo>
                  <a:lnTo>
                    <a:pt x="891" y="331"/>
                  </a:lnTo>
                  <a:lnTo>
                    <a:pt x="888" y="324"/>
                  </a:lnTo>
                  <a:lnTo>
                    <a:pt x="883" y="318"/>
                  </a:lnTo>
                  <a:lnTo>
                    <a:pt x="879" y="313"/>
                  </a:lnTo>
                  <a:lnTo>
                    <a:pt x="874" y="307"/>
                  </a:lnTo>
                  <a:lnTo>
                    <a:pt x="868" y="302"/>
                  </a:lnTo>
                  <a:lnTo>
                    <a:pt x="863" y="298"/>
                  </a:lnTo>
                  <a:lnTo>
                    <a:pt x="857" y="294"/>
                  </a:lnTo>
                  <a:lnTo>
                    <a:pt x="850" y="291"/>
                  </a:lnTo>
                  <a:lnTo>
                    <a:pt x="844" y="288"/>
                  </a:lnTo>
                  <a:lnTo>
                    <a:pt x="836" y="286"/>
                  </a:lnTo>
                  <a:lnTo>
                    <a:pt x="829" y="285"/>
                  </a:lnTo>
                  <a:lnTo>
                    <a:pt x="821" y="285"/>
                  </a:lnTo>
                  <a:lnTo>
                    <a:pt x="544" y="285"/>
                  </a:lnTo>
                  <a:lnTo>
                    <a:pt x="551" y="267"/>
                  </a:lnTo>
                  <a:lnTo>
                    <a:pt x="558" y="244"/>
                  </a:lnTo>
                  <a:lnTo>
                    <a:pt x="566" y="219"/>
                  </a:lnTo>
                  <a:lnTo>
                    <a:pt x="572" y="192"/>
                  </a:lnTo>
                  <a:lnTo>
                    <a:pt x="577" y="164"/>
                  </a:lnTo>
                  <a:lnTo>
                    <a:pt x="580" y="136"/>
                  </a:lnTo>
                  <a:lnTo>
                    <a:pt x="580" y="123"/>
                  </a:lnTo>
                  <a:lnTo>
                    <a:pt x="580" y="111"/>
                  </a:lnTo>
                  <a:lnTo>
                    <a:pt x="578" y="99"/>
                  </a:lnTo>
                  <a:lnTo>
                    <a:pt x="575" y="88"/>
                  </a:lnTo>
                  <a:lnTo>
                    <a:pt x="571" y="74"/>
                  </a:lnTo>
                  <a:lnTo>
                    <a:pt x="566" y="61"/>
                  </a:lnTo>
                  <a:lnTo>
                    <a:pt x="560" y="50"/>
                  </a:lnTo>
                  <a:lnTo>
                    <a:pt x="555" y="40"/>
                  </a:lnTo>
                  <a:lnTo>
                    <a:pt x="549" y="31"/>
                  </a:lnTo>
                  <a:lnTo>
                    <a:pt x="543" y="25"/>
                  </a:lnTo>
                  <a:lnTo>
                    <a:pt x="537" y="19"/>
                  </a:lnTo>
                  <a:lnTo>
                    <a:pt x="531" y="14"/>
                  </a:lnTo>
                  <a:lnTo>
                    <a:pt x="524" y="10"/>
                  </a:lnTo>
                  <a:lnTo>
                    <a:pt x="519" y="7"/>
                  </a:lnTo>
                  <a:lnTo>
                    <a:pt x="513" y="5"/>
                  </a:lnTo>
                  <a:lnTo>
                    <a:pt x="508" y="2"/>
                  </a:lnTo>
                  <a:lnTo>
                    <a:pt x="498" y="1"/>
                  </a:lnTo>
                  <a:lnTo>
                    <a:pt x="492" y="0"/>
                  </a:lnTo>
                  <a:lnTo>
                    <a:pt x="486" y="1"/>
                  </a:lnTo>
                  <a:lnTo>
                    <a:pt x="480" y="1"/>
                  </a:lnTo>
                  <a:lnTo>
                    <a:pt x="475" y="4"/>
                  </a:lnTo>
                  <a:lnTo>
                    <a:pt x="470" y="6"/>
                  </a:lnTo>
                  <a:lnTo>
                    <a:pt x="464" y="8"/>
                  </a:lnTo>
                  <a:lnTo>
                    <a:pt x="459" y="11"/>
                  </a:lnTo>
                  <a:lnTo>
                    <a:pt x="455" y="15"/>
                  </a:lnTo>
                  <a:lnTo>
                    <a:pt x="450" y="20"/>
                  </a:lnTo>
                  <a:lnTo>
                    <a:pt x="446" y="24"/>
                  </a:lnTo>
                  <a:lnTo>
                    <a:pt x="443" y="29"/>
                  </a:lnTo>
                  <a:lnTo>
                    <a:pt x="441" y="35"/>
                  </a:lnTo>
                  <a:lnTo>
                    <a:pt x="437" y="40"/>
                  </a:lnTo>
                  <a:lnTo>
                    <a:pt x="435" y="46"/>
                  </a:lnTo>
                  <a:lnTo>
                    <a:pt x="434" y="52"/>
                  </a:lnTo>
                  <a:lnTo>
                    <a:pt x="433" y="58"/>
                  </a:lnTo>
                  <a:lnTo>
                    <a:pt x="433" y="66"/>
                  </a:lnTo>
                  <a:lnTo>
                    <a:pt x="433" y="78"/>
                  </a:lnTo>
                  <a:lnTo>
                    <a:pt x="432" y="91"/>
                  </a:lnTo>
                  <a:lnTo>
                    <a:pt x="430" y="104"/>
                  </a:lnTo>
                  <a:lnTo>
                    <a:pt x="427" y="117"/>
                  </a:lnTo>
                  <a:lnTo>
                    <a:pt x="424" y="130"/>
                  </a:lnTo>
                  <a:lnTo>
                    <a:pt x="420" y="143"/>
                  </a:lnTo>
                  <a:lnTo>
                    <a:pt x="415" y="155"/>
                  </a:lnTo>
                  <a:lnTo>
                    <a:pt x="410" y="168"/>
                  </a:lnTo>
                  <a:lnTo>
                    <a:pt x="398" y="194"/>
                  </a:lnTo>
                  <a:lnTo>
                    <a:pt x="385" y="219"/>
                  </a:lnTo>
                  <a:lnTo>
                    <a:pt x="370" y="242"/>
                  </a:lnTo>
                  <a:lnTo>
                    <a:pt x="353" y="265"/>
                  </a:lnTo>
                  <a:lnTo>
                    <a:pt x="336" y="285"/>
                  </a:lnTo>
                  <a:lnTo>
                    <a:pt x="318" y="304"/>
                  </a:lnTo>
                  <a:lnTo>
                    <a:pt x="298" y="321"/>
                  </a:lnTo>
                  <a:lnTo>
                    <a:pt x="280" y="337"/>
                  </a:lnTo>
                  <a:lnTo>
                    <a:pt x="261" y="350"/>
                  </a:lnTo>
                  <a:lnTo>
                    <a:pt x="243" y="361"/>
                  </a:lnTo>
                  <a:lnTo>
                    <a:pt x="234" y="365"/>
                  </a:lnTo>
                  <a:lnTo>
                    <a:pt x="226" y="368"/>
                  </a:lnTo>
                  <a:lnTo>
                    <a:pt x="217" y="370"/>
                  </a:lnTo>
                  <a:lnTo>
                    <a:pt x="209" y="373"/>
                  </a:lnTo>
                  <a:lnTo>
                    <a:pt x="209" y="330"/>
                  </a:lnTo>
                  <a:lnTo>
                    <a:pt x="209" y="327"/>
                  </a:lnTo>
                  <a:lnTo>
                    <a:pt x="208" y="323"/>
                  </a:lnTo>
                  <a:lnTo>
                    <a:pt x="207" y="321"/>
                  </a:lnTo>
                  <a:lnTo>
                    <a:pt x="204" y="319"/>
                  </a:lnTo>
                  <a:lnTo>
                    <a:pt x="202" y="317"/>
                  </a:lnTo>
                  <a:lnTo>
                    <a:pt x="200" y="316"/>
                  </a:lnTo>
                  <a:lnTo>
                    <a:pt x="197" y="315"/>
                  </a:lnTo>
                  <a:lnTo>
                    <a:pt x="194" y="315"/>
                  </a:lnTo>
                  <a:lnTo>
                    <a:pt x="15" y="314"/>
                  </a:lnTo>
                  <a:lnTo>
                    <a:pt x="12" y="315"/>
                  </a:lnTo>
                  <a:lnTo>
                    <a:pt x="9" y="315"/>
                  </a:lnTo>
                  <a:lnTo>
                    <a:pt x="7" y="317"/>
                  </a:lnTo>
                  <a:lnTo>
                    <a:pt x="4" y="319"/>
                  </a:lnTo>
                  <a:lnTo>
                    <a:pt x="2" y="321"/>
                  </a:lnTo>
                  <a:lnTo>
                    <a:pt x="1" y="323"/>
                  </a:lnTo>
                  <a:lnTo>
                    <a:pt x="0" y="327"/>
                  </a:lnTo>
                  <a:lnTo>
                    <a:pt x="0" y="329"/>
                  </a:lnTo>
                  <a:lnTo>
                    <a:pt x="0" y="778"/>
                  </a:lnTo>
                  <a:lnTo>
                    <a:pt x="0" y="781"/>
                  </a:lnTo>
                  <a:lnTo>
                    <a:pt x="1" y="784"/>
                  </a:lnTo>
                  <a:lnTo>
                    <a:pt x="2" y="786"/>
                  </a:lnTo>
                  <a:lnTo>
                    <a:pt x="4" y="789"/>
                  </a:lnTo>
                  <a:lnTo>
                    <a:pt x="7" y="791"/>
                  </a:lnTo>
                  <a:lnTo>
                    <a:pt x="9" y="792"/>
                  </a:lnTo>
                  <a:lnTo>
                    <a:pt x="12" y="793"/>
                  </a:lnTo>
                  <a:lnTo>
                    <a:pt x="15" y="793"/>
                  </a:lnTo>
                  <a:lnTo>
                    <a:pt x="194" y="793"/>
                  </a:lnTo>
                  <a:lnTo>
                    <a:pt x="197" y="793"/>
                  </a:lnTo>
                  <a:lnTo>
                    <a:pt x="200" y="792"/>
                  </a:lnTo>
                  <a:lnTo>
                    <a:pt x="202" y="791"/>
                  </a:lnTo>
                  <a:lnTo>
                    <a:pt x="204" y="789"/>
                  </a:lnTo>
                  <a:lnTo>
                    <a:pt x="207" y="786"/>
                  </a:lnTo>
                  <a:lnTo>
                    <a:pt x="208" y="784"/>
                  </a:lnTo>
                  <a:lnTo>
                    <a:pt x="209" y="781"/>
                  </a:lnTo>
                  <a:lnTo>
                    <a:pt x="209" y="778"/>
                  </a:lnTo>
                  <a:lnTo>
                    <a:pt x="209" y="721"/>
                  </a:lnTo>
                  <a:lnTo>
                    <a:pt x="241" y="727"/>
                  </a:lnTo>
                  <a:lnTo>
                    <a:pt x="269" y="732"/>
                  </a:lnTo>
                  <a:lnTo>
                    <a:pt x="293" y="737"/>
                  </a:lnTo>
                  <a:lnTo>
                    <a:pt x="316" y="743"/>
                  </a:lnTo>
                  <a:lnTo>
                    <a:pt x="349" y="751"/>
                  </a:lnTo>
                  <a:lnTo>
                    <a:pt x="383" y="758"/>
                  </a:lnTo>
                  <a:lnTo>
                    <a:pt x="400" y="760"/>
                  </a:lnTo>
                  <a:lnTo>
                    <a:pt x="419" y="762"/>
                  </a:lnTo>
                  <a:lnTo>
                    <a:pt x="441" y="763"/>
                  </a:lnTo>
                  <a:lnTo>
                    <a:pt x="463" y="763"/>
                  </a:lnTo>
                  <a:lnTo>
                    <a:pt x="718" y="763"/>
                  </a:lnTo>
                  <a:lnTo>
                    <a:pt x="732" y="762"/>
                  </a:lnTo>
                  <a:lnTo>
                    <a:pt x="743" y="760"/>
                  </a:lnTo>
                  <a:lnTo>
                    <a:pt x="749" y="758"/>
                  </a:lnTo>
                  <a:lnTo>
                    <a:pt x="754" y="754"/>
                  </a:lnTo>
                  <a:lnTo>
                    <a:pt x="758" y="752"/>
                  </a:lnTo>
                  <a:lnTo>
                    <a:pt x="763" y="748"/>
                  </a:lnTo>
                  <a:lnTo>
                    <a:pt x="766" y="745"/>
                  </a:lnTo>
                  <a:lnTo>
                    <a:pt x="769" y="739"/>
                  </a:lnTo>
                  <a:lnTo>
                    <a:pt x="771" y="735"/>
                  </a:lnTo>
                  <a:lnTo>
                    <a:pt x="773" y="730"/>
                  </a:lnTo>
                  <a:lnTo>
                    <a:pt x="776" y="717"/>
                  </a:lnTo>
                  <a:lnTo>
                    <a:pt x="778" y="703"/>
                  </a:lnTo>
                  <a:lnTo>
                    <a:pt x="776" y="694"/>
                  </a:lnTo>
                  <a:lnTo>
                    <a:pt x="774" y="686"/>
                  </a:lnTo>
                  <a:lnTo>
                    <a:pt x="771" y="678"/>
                  </a:lnTo>
                  <a:lnTo>
                    <a:pt x="768" y="672"/>
                  </a:lnTo>
                  <a:lnTo>
                    <a:pt x="780" y="669"/>
                  </a:lnTo>
                  <a:lnTo>
                    <a:pt x="790" y="664"/>
                  </a:lnTo>
                  <a:lnTo>
                    <a:pt x="799" y="658"/>
                  </a:lnTo>
                  <a:lnTo>
                    <a:pt x="808" y="652"/>
                  </a:lnTo>
                  <a:lnTo>
                    <a:pt x="814" y="643"/>
                  </a:lnTo>
                  <a:lnTo>
                    <a:pt x="818" y="635"/>
                  </a:lnTo>
                  <a:lnTo>
                    <a:pt x="821" y="625"/>
                  </a:lnTo>
                  <a:lnTo>
                    <a:pt x="821" y="613"/>
                  </a:lnTo>
                  <a:lnTo>
                    <a:pt x="821" y="600"/>
                  </a:lnTo>
                  <a:lnTo>
                    <a:pt x="818" y="587"/>
                  </a:lnTo>
                  <a:lnTo>
                    <a:pt x="815" y="577"/>
                  </a:lnTo>
                  <a:lnTo>
                    <a:pt x="809" y="567"/>
                  </a:lnTo>
                  <a:lnTo>
                    <a:pt x="820" y="563"/>
                  </a:lnTo>
                  <a:lnTo>
                    <a:pt x="831" y="556"/>
                  </a:lnTo>
                  <a:lnTo>
                    <a:pt x="842" y="549"/>
                  </a:lnTo>
                  <a:lnTo>
                    <a:pt x="850" y="540"/>
                  </a:lnTo>
                  <a:lnTo>
                    <a:pt x="857" y="530"/>
                  </a:lnTo>
                  <a:lnTo>
                    <a:pt x="862" y="519"/>
                  </a:lnTo>
                  <a:lnTo>
                    <a:pt x="864" y="513"/>
                  </a:lnTo>
                  <a:lnTo>
                    <a:pt x="865" y="506"/>
                  </a:lnTo>
                  <a:lnTo>
                    <a:pt x="866" y="501"/>
                  </a:lnTo>
                  <a:lnTo>
                    <a:pt x="866" y="494"/>
                  </a:lnTo>
                  <a:lnTo>
                    <a:pt x="866" y="487"/>
                  </a:lnTo>
                  <a:lnTo>
                    <a:pt x="865" y="481"/>
                  </a:lnTo>
                  <a:lnTo>
                    <a:pt x="863" y="474"/>
                  </a:lnTo>
                  <a:lnTo>
                    <a:pt x="861" y="468"/>
                  </a:lnTo>
                  <a:lnTo>
                    <a:pt x="858" y="462"/>
                  </a:lnTo>
                  <a:lnTo>
                    <a:pt x="853" y="456"/>
                  </a:lnTo>
                  <a:lnTo>
                    <a:pt x="849" y="451"/>
                  </a:lnTo>
                  <a:lnTo>
                    <a:pt x="844" y="445"/>
                  </a:lnTo>
                  <a:lnTo>
                    <a:pt x="850" y="443"/>
                  </a:lnTo>
                  <a:lnTo>
                    <a:pt x="857" y="440"/>
                  </a:lnTo>
                  <a:lnTo>
                    <a:pt x="862" y="436"/>
                  </a:lnTo>
                  <a:lnTo>
                    <a:pt x="867" y="431"/>
                  </a:lnTo>
                  <a:lnTo>
                    <a:pt x="872" y="427"/>
                  </a:lnTo>
                  <a:lnTo>
                    <a:pt x="876" y="422"/>
                  </a:lnTo>
                  <a:lnTo>
                    <a:pt x="880" y="415"/>
                  </a:lnTo>
                  <a:lnTo>
                    <a:pt x="883" y="410"/>
                  </a:lnTo>
                  <a:lnTo>
                    <a:pt x="890" y="397"/>
                  </a:lnTo>
                  <a:lnTo>
                    <a:pt x="893" y="384"/>
                  </a:lnTo>
                  <a:lnTo>
                    <a:pt x="896" y="371"/>
                  </a:lnTo>
                  <a:lnTo>
                    <a:pt x="896"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300">
              <a:extLst>
                <a:ext uri="{FF2B5EF4-FFF2-40B4-BE49-F238E27FC236}">
                  <a16:creationId xmlns:a16="http://schemas.microsoft.com/office/drawing/2014/main" id="{369001BC-BC4D-4BC8-A7AE-1DB13424B430}"/>
                </a:ext>
              </a:extLst>
            </p:cNvPr>
            <p:cNvSpPr>
              <a:spLocks/>
            </p:cNvSpPr>
            <p:nvPr/>
          </p:nvSpPr>
          <p:spPr bwMode="auto">
            <a:xfrm>
              <a:off x="7650163" y="1011238"/>
              <a:ext cx="11113" cy="12700"/>
            </a:xfrm>
            <a:custGeom>
              <a:avLst/>
              <a:gdLst>
                <a:gd name="T0" fmla="*/ 18 w 38"/>
                <a:gd name="T1" fmla="*/ 0 h 38"/>
                <a:gd name="T2" fmla="*/ 15 w 38"/>
                <a:gd name="T3" fmla="*/ 1 h 38"/>
                <a:gd name="T4" fmla="*/ 11 w 38"/>
                <a:gd name="T5" fmla="*/ 2 h 38"/>
                <a:gd name="T6" fmla="*/ 8 w 38"/>
                <a:gd name="T7" fmla="*/ 3 h 38"/>
                <a:gd name="T8" fmla="*/ 6 w 38"/>
                <a:gd name="T9" fmla="*/ 6 h 38"/>
                <a:gd name="T10" fmla="*/ 3 w 38"/>
                <a:gd name="T11" fmla="*/ 9 h 38"/>
                <a:gd name="T12" fmla="*/ 1 w 38"/>
                <a:gd name="T13" fmla="*/ 12 h 38"/>
                <a:gd name="T14" fmla="*/ 0 w 38"/>
                <a:gd name="T15" fmla="*/ 15 h 38"/>
                <a:gd name="T16" fmla="*/ 0 w 38"/>
                <a:gd name="T17" fmla="*/ 19 h 38"/>
                <a:gd name="T18" fmla="*/ 0 w 38"/>
                <a:gd name="T19" fmla="*/ 23 h 38"/>
                <a:gd name="T20" fmla="*/ 1 w 38"/>
                <a:gd name="T21" fmla="*/ 27 h 38"/>
                <a:gd name="T22" fmla="*/ 3 w 38"/>
                <a:gd name="T23" fmla="*/ 30 h 38"/>
                <a:gd name="T24" fmla="*/ 6 w 38"/>
                <a:gd name="T25" fmla="*/ 32 h 38"/>
                <a:gd name="T26" fmla="*/ 8 w 38"/>
                <a:gd name="T27" fmla="*/ 35 h 38"/>
                <a:gd name="T28" fmla="*/ 11 w 38"/>
                <a:gd name="T29" fmla="*/ 36 h 38"/>
                <a:gd name="T30" fmla="*/ 15 w 38"/>
                <a:gd name="T31" fmla="*/ 37 h 38"/>
                <a:gd name="T32" fmla="*/ 18 w 38"/>
                <a:gd name="T33" fmla="*/ 38 h 38"/>
                <a:gd name="T34" fmla="*/ 23 w 38"/>
                <a:gd name="T35" fmla="*/ 37 h 38"/>
                <a:gd name="T36" fmla="*/ 26 w 38"/>
                <a:gd name="T37" fmla="*/ 36 h 38"/>
                <a:gd name="T38" fmla="*/ 29 w 38"/>
                <a:gd name="T39" fmla="*/ 35 h 38"/>
                <a:gd name="T40" fmla="*/ 32 w 38"/>
                <a:gd name="T41" fmla="*/ 32 h 38"/>
                <a:gd name="T42" fmla="*/ 34 w 38"/>
                <a:gd name="T43" fmla="*/ 30 h 38"/>
                <a:gd name="T44" fmla="*/ 37 w 38"/>
                <a:gd name="T45" fmla="*/ 27 h 38"/>
                <a:gd name="T46" fmla="*/ 38 w 38"/>
                <a:gd name="T47" fmla="*/ 23 h 38"/>
                <a:gd name="T48" fmla="*/ 38 w 38"/>
                <a:gd name="T49" fmla="*/ 19 h 38"/>
                <a:gd name="T50" fmla="*/ 38 w 38"/>
                <a:gd name="T51" fmla="*/ 15 h 38"/>
                <a:gd name="T52" fmla="*/ 37 w 38"/>
                <a:gd name="T53" fmla="*/ 12 h 38"/>
                <a:gd name="T54" fmla="*/ 34 w 38"/>
                <a:gd name="T55" fmla="*/ 9 h 38"/>
                <a:gd name="T56" fmla="*/ 32 w 38"/>
                <a:gd name="T57" fmla="*/ 6 h 38"/>
                <a:gd name="T58" fmla="*/ 29 w 38"/>
                <a:gd name="T59" fmla="*/ 3 h 38"/>
                <a:gd name="T60" fmla="*/ 26 w 38"/>
                <a:gd name="T61" fmla="*/ 2 h 38"/>
                <a:gd name="T62" fmla="*/ 23 w 38"/>
                <a:gd name="T63" fmla="*/ 1 h 38"/>
                <a:gd name="T64" fmla="*/ 18 w 38"/>
                <a:gd name="T65" fmla="*/ 0 h 38"/>
                <a:gd name="T66" fmla="*/ 18 w 38"/>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8">
                  <a:moveTo>
                    <a:pt x="18" y="0"/>
                  </a:moveTo>
                  <a:lnTo>
                    <a:pt x="15" y="1"/>
                  </a:lnTo>
                  <a:lnTo>
                    <a:pt x="11" y="2"/>
                  </a:lnTo>
                  <a:lnTo>
                    <a:pt x="8" y="3"/>
                  </a:lnTo>
                  <a:lnTo>
                    <a:pt x="6" y="6"/>
                  </a:lnTo>
                  <a:lnTo>
                    <a:pt x="3" y="9"/>
                  </a:lnTo>
                  <a:lnTo>
                    <a:pt x="1" y="12"/>
                  </a:lnTo>
                  <a:lnTo>
                    <a:pt x="0" y="15"/>
                  </a:lnTo>
                  <a:lnTo>
                    <a:pt x="0" y="19"/>
                  </a:lnTo>
                  <a:lnTo>
                    <a:pt x="0" y="23"/>
                  </a:lnTo>
                  <a:lnTo>
                    <a:pt x="1" y="27"/>
                  </a:lnTo>
                  <a:lnTo>
                    <a:pt x="3" y="30"/>
                  </a:lnTo>
                  <a:lnTo>
                    <a:pt x="6" y="32"/>
                  </a:lnTo>
                  <a:lnTo>
                    <a:pt x="8" y="35"/>
                  </a:lnTo>
                  <a:lnTo>
                    <a:pt x="11" y="36"/>
                  </a:lnTo>
                  <a:lnTo>
                    <a:pt x="15" y="37"/>
                  </a:lnTo>
                  <a:lnTo>
                    <a:pt x="18" y="38"/>
                  </a:lnTo>
                  <a:lnTo>
                    <a:pt x="23" y="37"/>
                  </a:lnTo>
                  <a:lnTo>
                    <a:pt x="26" y="36"/>
                  </a:lnTo>
                  <a:lnTo>
                    <a:pt x="29" y="35"/>
                  </a:lnTo>
                  <a:lnTo>
                    <a:pt x="32" y="32"/>
                  </a:lnTo>
                  <a:lnTo>
                    <a:pt x="34" y="30"/>
                  </a:lnTo>
                  <a:lnTo>
                    <a:pt x="37" y="27"/>
                  </a:lnTo>
                  <a:lnTo>
                    <a:pt x="38" y="23"/>
                  </a:lnTo>
                  <a:lnTo>
                    <a:pt x="38" y="19"/>
                  </a:lnTo>
                  <a:lnTo>
                    <a:pt x="38" y="15"/>
                  </a:lnTo>
                  <a:lnTo>
                    <a:pt x="37" y="12"/>
                  </a:lnTo>
                  <a:lnTo>
                    <a:pt x="34" y="9"/>
                  </a:lnTo>
                  <a:lnTo>
                    <a:pt x="32" y="6"/>
                  </a:lnTo>
                  <a:lnTo>
                    <a:pt x="29" y="3"/>
                  </a:lnTo>
                  <a:lnTo>
                    <a:pt x="26" y="2"/>
                  </a:lnTo>
                  <a:lnTo>
                    <a:pt x="23"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60" name="Group 10">
            <a:extLst>
              <a:ext uri="{FF2B5EF4-FFF2-40B4-BE49-F238E27FC236}">
                <a16:creationId xmlns:a16="http://schemas.microsoft.com/office/drawing/2014/main" id="{B739ECD7-900B-4B76-B011-F391A325C6AF}"/>
              </a:ext>
            </a:extLst>
          </p:cNvPr>
          <p:cNvGrpSpPr>
            <a:grpSpLocks noChangeAspect="1"/>
          </p:cNvGrpSpPr>
          <p:nvPr/>
        </p:nvGrpSpPr>
        <p:grpSpPr>
          <a:xfrm>
            <a:off x="3665732" y="3263433"/>
            <a:ext cx="275664" cy="285619"/>
            <a:chOff x="3009369" y="2439528"/>
            <a:chExt cx="664188" cy="688174"/>
          </a:xfrm>
          <a:solidFill>
            <a:schemeClr val="bg1"/>
          </a:solidFill>
          <a:effectLst/>
        </p:grpSpPr>
        <p:sp>
          <p:nvSpPr>
            <p:cNvPr id="761" name="Freeform 35">
              <a:extLst>
                <a:ext uri="{FF2B5EF4-FFF2-40B4-BE49-F238E27FC236}">
                  <a16:creationId xmlns:a16="http://schemas.microsoft.com/office/drawing/2014/main" id="{871610A8-2D36-41DD-B317-FFF48EDC65D6}"/>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2" name="Freeform 37">
              <a:extLst>
                <a:ext uri="{FF2B5EF4-FFF2-40B4-BE49-F238E27FC236}">
                  <a16:creationId xmlns:a16="http://schemas.microsoft.com/office/drawing/2014/main" id="{7ADF54AF-626F-47AE-9E96-02B5657F9B44}"/>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3" name="Freeform 38">
              <a:extLst>
                <a:ext uri="{FF2B5EF4-FFF2-40B4-BE49-F238E27FC236}">
                  <a16:creationId xmlns:a16="http://schemas.microsoft.com/office/drawing/2014/main" id="{07EAF1E1-E274-4C2E-B8AA-F3C0C9EBACB9}"/>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4" name="Freeform 39">
              <a:extLst>
                <a:ext uri="{FF2B5EF4-FFF2-40B4-BE49-F238E27FC236}">
                  <a16:creationId xmlns:a16="http://schemas.microsoft.com/office/drawing/2014/main" id="{021632FA-1AB4-466C-9098-D2032D3F2DC5}"/>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5" name="Freeform 40">
              <a:extLst>
                <a:ext uri="{FF2B5EF4-FFF2-40B4-BE49-F238E27FC236}">
                  <a16:creationId xmlns:a16="http://schemas.microsoft.com/office/drawing/2014/main" id="{C2072ACE-AF90-462D-A3D6-2A2115D2262F}"/>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6" name="Freeform 41">
              <a:extLst>
                <a:ext uri="{FF2B5EF4-FFF2-40B4-BE49-F238E27FC236}">
                  <a16:creationId xmlns:a16="http://schemas.microsoft.com/office/drawing/2014/main" id="{954DF04B-3B07-4CC4-9B38-65047867A94C}"/>
                </a:ext>
              </a:extLst>
            </p:cNvPr>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7" name="Freeform 42">
              <a:extLst>
                <a:ext uri="{FF2B5EF4-FFF2-40B4-BE49-F238E27FC236}">
                  <a16:creationId xmlns:a16="http://schemas.microsoft.com/office/drawing/2014/main" id="{6289E485-A3BC-4920-80A7-79E645106B3B}"/>
                </a:ext>
              </a:extLst>
            </p:cNvPr>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8" name="Freeform 44">
              <a:extLst>
                <a:ext uri="{FF2B5EF4-FFF2-40B4-BE49-F238E27FC236}">
                  <a16:creationId xmlns:a16="http://schemas.microsoft.com/office/drawing/2014/main" id="{F198631B-5004-4F41-B05B-D67254610246}"/>
                </a:ext>
              </a:extLst>
            </p:cNvPr>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69" name="Freeform 45">
              <a:extLst>
                <a:ext uri="{FF2B5EF4-FFF2-40B4-BE49-F238E27FC236}">
                  <a16:creationId xmlns:a16="http://schemas.microsoft.com/office/drawing/2014/main" id="{9D6ABE69-71F5-438B-894A-057D6D11A3D3}"/>
                </a:ext>
              </a:extLst>
            </p:cNvPr>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0" name="Freeform 47">
              <a:extLst>
                <a:ext uri="{FF2B5EF4-FFF2-40B4-BE49-F238E27FC236}">
                  <a16:creationId xmlns:a16="http://schemas.microsoft.com/office/drawing/2014/main" id="{79601181-B824-447A-80A7-08A93054659F}"/>
                </a:ext>
              </a:extLst>
            </p:cNvPr>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1" name="Freeform 48">
              <a:extLst>
                <a:ext uri="{FF2B5EF4-FFF2-40B4-BE49-F238E27FC236}">
                  <a16:creationId xmlns:a16="http://schemas.microsoft.com/office/drawing/2014/main" id="{361B150F-41B8-4B36-8DE4-A683FDDF582D}"/>
                </a:ext>
              </a:extLst>
            </p:cNvPr>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72" name="Freeform 49">
              <a:extLst>
                <a:ext uri="{FF2B5EF4-FFF2-40B4-BE49-F238E27FC236}">
                  <a16:creationId xmlns:a16="http://schemas.microsoft.com/office/drawing/2014/main" id="{2399C339-B224-45A0-B7A0-48D0C9EBF26C}"/>
                </a:ext>
              </a:extLst>
            </p:cNvPr>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grpSp>
      <p:grpSp>
        <p:nvGrpSpPr>
          <p:cNvPr id="879" name="Group 101">
            <a:extLst>
              <a:ext uri="{FF2B5EF4-FFF2-40B4-BE49-F238E27FC236}">
                <a16:creationId xmlns:a16="http://schemas.microsoft.com/office/drawing/2014/main" id="{BD54A3EA-4836-4F18-B57B-6A57BA288ECF}"/>
              </a:ext>
            </a:extLst>
          </p:cNvPr>
          <p:cNvGrpSpPr>
            <a:grpSpLocks noChangeAspect="1"/>
          </p:cNvGrpSpPr>
          <p:nvPr/>
        </p:nvGrpSpPr>
        <p:grpSpPr>
          <a:xfrm>
            <a:off x="3660753" y="4879041"/>
            <a:ext cx="285622" cy="285619"/>
            <a:chOff x="904186" y="4783724"/>
            <a:chExt cx="285494" cy="285491"/>
          </a:xfrm>
          <a:solidFill>
            <a:schemeClr val="bg1"/>
          </a:solidFill>
          <a:effectLst/>
        </p:grpSpPr>
        <p:sp>
          <p:nvSpPr>
            <p:cNvPr id="880" name="Freeform 124">
              <a:extLst>
                <a:ext uri="{FF2B5EF4-FFF2-40B4-BE49-F238E27FC236}">
                  <a16:creationId xmlns:a16="http://schemas.microsoft.com/office/drawing/2014/main" id="{652B4DE7-E261-47BB-9495-5714061FDD8F}"/>
                </a:ext>
              </a:extLst>
            </p:cNvPr>
            <p:cNvSpPr>
              <a:spLocks noEditPoints="1"/>
            </p:cNvSpPr>
            <p:nvPr/>
          </p:nvSpPr>
          <p:spPr bwMode="auto">
            <a:xfrm>
              <a:off x="940058" y="4855469"/>
              <a:ext cx="213746" cy="213746"/>
            </a:xfrm>
            <a:custGeom>
              <a:avLst/>
              <a:gdLst>
                <a:gd name="T0" fmla="*/ 82 w 571"/>
                <a:gd name="T1" fmla="*/ 456 h 572"/>
                <a:gd name="T2" fmla="*/ 94 w 571"/>
                <a:gd name="T3" fmla="*/ 428 h 572"/>
                <a:gd name="T4" fmla="*/ 96 w 571"/>
                <a:gd name="T5" fmla="*/ 251 h 572"/>
                <a:gd name="T6" fmla="*/ 112 w 571"/>
                <a:gd name="T7" fmla="*/ 197 h 572"/>
                <a:gd name="T8" fmla="*/ 141 w 571"/>
                <a:gd name="T9" fmla="*/ 153 h 572"/>
                <a:gd name="T10" fmla="*/ 184 w 571"/>
                <a:gd name="T11" fmla="*/ 119 h 572"/>
                <a:gd name="T12" fmla="*/ 215 w 571"/>
                <a:gd name="T13" fmla="*/ 100 h 572"/>
                <a:gd name="T14" fmla="*/ 220 w 571"/>
                <a:gd name="T15" fmla="*/ 80 h 572"/>
                <a:gd name="T16" fmla="*/ 229 w 571"/>
                <a:gd name="T17" fmla="*/ 55 h 572"/>
                <a:gd name="T18" fmla="*/ 248 w 571"/>
                <a:gd name="T19" fmla="*/ 37 h 572"/>
                <a:gd name="T20" fmla="*/ 272 w 571"/>
                <a:gd name="T21" fmla="*/ 27 h 572"/>
                <a:gd name="T22" fmla="*/ 299 w 571"/>
                <a:gd name="T23" fmla="*/ 27 h 572"/>
                <a:gd name="T24" fmla="*/ 324 w 571"/>
                <a:gd name="T25" fmla="*/ 37 h 572"/>
                <a:gd name="T26" fmla="*/ 342 w 571"/>
                <a:gd name="T27" fmla="*/ 55 h 572"/>
                <a:gd name="T28" fmla="*/ 352 w 571"/>
                <a:gd name="T29" fmla="*/ 80 h 572"/>
                <a:gd name="T30" fmla="*/ 355 w 571"/>
                <a:gd name="T31" fmla="*/ 100 h 572"/>
                <a:gd name="T32" fmla="*/ 387 w 571"/>
                <a:gd name="T33" fmla="*/ 119 h 572"/>
                <a:gd name="T34" fmla="*/ 429 w 571"/>
                <a:gd name="T35" fmla="*/ 153 h 572"/>
                <a:gd name="T36" fmla="*/ 459 w 571"/>
                <a:gd name="T37" fmla="*/ 197 h 572"/>
                <a:gd name="T38" fmla="*/ 474 w 571"/>
                <a:gd name="T39" fmla="*/ 251 h 572"/>
                <a:gd name="T40" fmla="*/ 477 w 571"/>
                <a:gd name="T41" fmla="*/ 428 h 572"/>
                <a:gd name="T42" fmla="*/ 489 w 571"/>
                <a:gd name="T43" fmla="*/ 456 h 572"/>
                <a:gd name="T44" fmla="*/ 66 w 571"/>
                <a:gd name="T45" fmla="*/ 470 h 572"/>
                <a:gd name="T46" fmla="*/ 257 w 571"/>
                <a:gd name="T47" fmla="*/ 537 h 572"/>
                <a:gd name="T48" fmla="*/ 236 w 571"/>
                <a:gd name="T49" fmla="*/ 506 h 572"/>
                <a:gd name="T50" fmla="*/ 332 w 571"/>
                <a:gd name="T51" fmla="*/ 516 h 572"/>
                <a:gd name="T52" fmla="*/ 306 w 571"/>
                <a:gd name="T53" fmla="*/ 543 h 572"/>
                <a:gd name="T54" fmla="*/ 550 w 571"/>
                <a:gd name="T55" fmla="*/ 466 h 572"/>
                <a:gd name="T56" fmla="*/ 512 w 571"/>
                <a:gd name="T57" fmla="*/ 443 h 572"/>
                <a:gd name="T58" fmla="*/ 502 w 571"/>
                <a:gd name="T59" fmla="*/ 423 h 572"/>
                <a:gd name="T60" fmla="*/ 500 w 571"/>
                <a:gd name="T61" fmla="*/ 247 h 572"/>
                <a:gd name="T62" fmla="*/ 484 w 571"/>
                <a:gd name="T63" fmla="*/ 189 h 572"/>
                <a:gd name="T64" fmla="*/ 452 w 571"/>
                <a:gd name="T65" fmla="*/ 140 h 572"/>
                <a:gd name="T66" fmla="*/ 406 w 571"/>
                <a:gd name="T67" fmla="*/ 100 h 572"/>
                <a:gd name="T68" fmla="*/ 375 w 571"/>
                <a:gd name="T69" fmla="*/ 68 h 572"/>
                <a:gd name="T70" fmla="*/ 359 w 571"/>
                <a:gd name="T71" fmla="*/ 37 h 572"/>
                <a:gd name="T72" fmla="*/ 335 w 571"/>
                <a:gd name="T73" fmla="*/ 14 h 572"/>
                <a:gd name="T74" fmla="*/ 304 w 571"/>
                <a:gd name="T75" fmla="*/ 1 h 572"/>
                <a:gd name="T76" fmla="*/ 268 w 571"/>
                <a:gd name="T77" fmla="*/ 1 h 572"/>
                <a:gd name="T78" fmla="*/ 236 w 571"/>
                <a:gd name="T79" fmla="*/ 14 h 572"/>
                <a:gd name="T80" fmla="*/ 211 w 571"/>
                <a:gd name="T81" fmla="*/ 37 h 572"/>
                <a:gd name="T82" fmla="*/ 196 w 571"/>
                <a:gd name="T83" fmla="*/ 68 h 572"/>
                <a:gd name="T84" fmla="*/ 165 w 571"/>
                <a:gd name="T85" fmla="*/ 100 h 572"/>
                <a:gd name="T86" fmla="*/ 120 w 571"/>
                <a:gd name="T87" fmla="*/ 140 h 572"/>
                <a:gd name="T88" fmla="*/ 88 w 571"/>
                <a:gd name="T89" fmla="*/ 189 h 572"/>
                <a:gd name="T90" fmla="*/ 72 w 571"/>
                <a:gd name="T91" fmla="*/ 247 h 572"/>
                <a:gd name="T92" fmla="*/ 68 w 571"/>
                <a:gd name="T93" fmla="*/ 423 h 572"/>
                <a:gd name="T94" fmla="*/ 59 w 571"/>
                <a:gd name="T95" fmla="*/ 443 h 572"/>
                <a:gd name="T96" fmla="*/ 20 w 571"/>
                <a:gd name="T97" fmla="*/ 466 h 572"/>
                <a:gd name="T98" fmla="*/ 0 w 571"/>
                <a:gd name="T99" fmla="*/ 481 h 572"/>
                <a:gd name="T100" fmla="*/ 8 w 571"/>
                <a:gd name="T101" fmla="*/ 494 h 572"/>
                <a:gd name="T102" fmla="*/ 210 w 571"/>
                <a:gd name="T103" fmla="*/ 510 h 572"/>
                <a:gd name="T104" fmla="*/ 222 w 571"/>
                <a:gd name="T105" fmla="*/ 538 h 572"/>
                <a:gd name="T106" fmla="*/ 243 w 571"/>
                <a:gd name="T107" fmla="*/ 559 h 572"/>
                <a:gd name="T108" fmla="*/ 270 w 571"/>
                <a:gd name="T109" fmla="*/ 571 h 572"/>
                <a:gd name="T110" fmla="*/ 301 w 571"/>
                <a:gd name="T111" fmla="*/ 571 h 572"/>
                <a:gd name="T112" fmla="*/ 328 w 571"/>
                <a:gd name="T113" fmla="*/ 559 h 572"/>
                <a:gd name="T114" fmla="*/ 349 w 571"/>
                <a:gd name="T115" fmla="*/ 538 h 572"/>
                <a:gd name="T116" fmla="*/ 360 w 571"/>
                <a:gd name="T117" fmla="*/ 510 h 572"/>
                <a:gd name="T118" fmla="*/ 563 w 571"/>
                <a:gd name="T119" fmla="*/ 494 h 572"/>
                <a:gd name="T120" fmla="*/ 571 w 571"/>
                <a:gd name="T121" fmla="*/ 48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572">
                  <a:moveTo>
                    <a:pt x="66" y="470"/>
                  </a:moveTo>
                  <a:lnTo>
                    <a:pt x="72" y="465"/>
                  </a:lnTo>
                  <a:lnTo>
                    <a:pt x="77" y="461"/>
                  </a:lnTo>
                  <a:lnTo>
                    <a:pt x="82" y="456"/>
                  </a:lnTo>
                  <a:lnTo>
                    <a:pt x="87" y="449"/>
                  </a:lnTo>
                  <a:lnTo>
                    <a:pt x="90" y="443"/>
                  </a:lnTo>
                  <a:lnTo>
                    <a:pt x="92" y="435"/>
                  </a:lnTo>
                  <a:lnTo>
                    <a:pt x="94" y="428"/>
                  </a:lnTo>
                  <a:lnTo>
                    <a:pt x="94" y="419"/>
                  </a:lnTo>
                  <a:lnTo>
                    <a:pt x="94" y="278"/>
                  </a:lnTo>
                  <a:lnTo>
                    <a:pt x="95" y="265"/>
                  </a:lnTo>
                  <a:lnTo>
                    <a:pt x="96" y="251"/>
                  </a:lnTo>
                  <a:lnTo>
                    <a:pt x="100" y="237"/>
                  </a:lnTo>
                  <a:lnTo>
                    <a:pt x="103" y="223"/>
                  </a:lnTo>
                  <a:lnTo>
                    <a:pt x="107" y="210"/>
                  </a:lnTo>
                  <a:lnTo>
                    <a:pt x="112" y="197"/>
                  </a:lnTo>
                  <a:lnTo>
                    <a:pt x="119" y="185"/>
                  </a:lnTo>
                  <a:lnTo>
                    <a:pt x="125" y="174"/>
                  </a:lnTo>
                  <a:lnTo>
                    <a:pt x="133" y="163"/>
                  </a:lnTo>
                  <a:lnTo>
                    <a:pt x="141" y="153"/>
                  </a:lnTo>
                  <a:lnTo>
                    <a:pt x="151" y="143"/>
                  </a:lnTo>
                  <a:lnTo>
                    <a:pt x="162" y="135"/>
                  </a:lnTo>
                  <a:lnTo>
                    <a:pt x="173" y="126"/>
                  </a:lnTo>
                  <a:lnTo>
                    <a:pt x="184" y="119"/>
                  </a:lnTo>
                  <a:lnTo>
                    <a:pt x="197" y="112"/>
                  </a:lnTo>
                  <a:lnTo>
                    <a:pt x="210" y="106"/>
                  </a:lnTo>
                  <a:lnTo>
                    <a:pt x="213" y="103"/>
                  </a:lnTo>
                  <a:lnTo>
                    <a:pt x="215" y="100"/>
                  </a:lnTo>
                  <a:lnTo>
                    <a:pt x="218" y="97"/>
                  </a:lnTo>
                  <a:lnTo>
                    <a:pt x="218" y="93"/>
                  </a:lnTo>
                  <a:lnTo>
                    <a:pt x="219" y="86"/>
                  </a:lnTo>
                  <a:lnTo>
                    <a:pt x="220" y="80"/>
                  </a:lnTo>
                  <a:lnTo>
                    <a:pt x="221" y="73"/>
                  </a:lnTo>
                  <a:lnTo>
                    <a:pt x="223" y="67"/>
                  </a:lnTo>
                  <a:lnTo>
                    <a:pt x="226" y="62"/>
                  </a:lnTo>
                  <a:lnTo>
                    <a:pt x="229" y="55"/>
                  </a:lnTo>
                  <a:lnTo>
                    <a:pt x="234" y="50"/>
                  </a:lnTo>
                  <a:lnTo>
                    <a:pt x="238" y="45"/>
                  </a:lnTo>
                  <a:lnTo>
                    <a:pt x="242" y="41"/>
                  </a:lnTo>
                  <a:lnTo>
                    <a:pt x="248" y="37"/>
                  </a:lnTo>
                  <a:lnTo>
                    <a:pt x="253" y="34"/>
                  </a:lnTo>
                  <a:lnTo>
                    <a:pt x="259" y="30"/>
                  </a:lnTo>
                  <a:lnTo>
                    <a:pt x="266" y="28"/>
                  </a:lnTo>
                  <a:lnTo>
                    <a:pt x="272" y="27"/>
                  </a:lnTo>
                  <a:lnTo>
                    <a:pt x="279" y="26"/>
                  </a:lnTo>
                  <a:lnTo>
                    <a:pt x="285" y="25"/>
                  </a:lnTo>
                  <a:lnTo>
                    <a:pt x="293" y="26"/>
                  </a:lnTo>
                  <a:lnTo>
                    <a:pt x="299" y="27"/>
                  </a:lnTo>
                  <a:lnTo>
                    <a:pt x="306" y="28"/>
                  </a:lnTo>
                  <a:lnTo>
                    <a:pt x="312" y="30"/>
                  </a:lnTo>
                  <a:lnTo>
                    <a:pt x="317" y="34"/>
                  </a:lnTo>
                  <a:lnTo>
                    <a:pt x="324" y="37"/>
                  </a:lnTo>
                  <a:lnTo>
                    <a:pt x="328" y="41"/>
                  </a:lnTo>
                  <a:lnTo>
                    <a:pt x="334" y="45"/>
                  </a:lnTo>
                  <a:lnTo>
                    <a:pt x="338" y="50"/>
                  </a:lnTo>
                  <a:lnTo>
                    <a:pt x="342" y="55"/>
                  </a:lnTo>
                  <a:lnTo>
                    <a:pt x="345" y="62"/>
                  </a:lnTo>
                  <a:lnTo>
                    <a:pt x="348" y="67"/>
                  </a:lnTo>
                  <a:lnTo>
                    <a:pt x="350" y="73"/>
                  </a:lnTo>
                  <a:lnTo>
                    <a:pt x="352" y="80"/>
                  </a:lnTo>
                  <a:lnTo>
                    <a:pt x="353" y="86"/>
                  </a:lnTo>
                  <a:lnTo>
                    <a:pt x="353" y="93"/>
                  </a:lnTo>
                  <a:lnTo>
                    <a:pt x="354" y="97"/>
                  </a:lnTo>
                  <a:lnTo>
                    <a:pt x="355" y="100"/>
                  </a:lnTo>
                  <a:lnTo>
                    <a:pt x="358" y="103"/>
                  </a:lnTo>
                  <a:lnTo>
                    <a:pt x="361" y="106"/>
                  </a:lnTo>
                  <a:lnTo>
                    <a:pt x="374" y="112"/>
                  </a:lnTo>
                  <a:lnTo>
                    <a:pt x="387" y="119"/>
                  </a:lnTo>
                  <a:lnTo>
                    <a:pt x="399" y="126"/>
                  </a:lnTo>
                  <a:lnTo>
                    <a:pt x="410" y="135"/>
                  </a:lnTo>
                  <a:lnTo>
                    <a:pt x="419" y="143"/>
                  </a:lnTo>
                  <a:lnTo>
                    <a:pt x="429" y="153"/>
                  </a:lnTo>
                  <a:lnTo>
                    <a:pt x="438" y="163"/>
                  </a:lnTo>
                  <a:lnTo>
                    <a:pt x="446" y="174"/>
                  </a:lnTo>
                  <a:lnTo>
                    <a:pt x="453" y="185"/>
                  </a:lnTo>
                  <a:lnTo>
                    <a:pt x="459" y="197"/>
                  </a:lnTo>
                  <a:lnTo>
                    <a:pt x="465" y="210"/>
                  </a:lnTo>
                  <a:lnTo>
                    <a:pt x="469" y="223"/>
                  </a:lnTo>
                  <a:lnTo>
                    <a:pt x="472" y="237"/>
                  </a:lnTo>
                  <a:lnTo>
                    <a:pt x="474" y="251"/>
                  </a:lnTo>
                  <a:lnTo>
                    <a:pt x="476" y="265"/>
                  </a:lnTo>
                  <a:lnTo>
                    <a:pt x="476" y="278"/>
                  </a:lnTo>
                  <a:lnTo>
                    <a:pt x="476" y="419"/>
                  </a:lnTo>
                  <a:lnTo>
                    <a:pt x="477" y="428"/>
                  </a:lnTo>
                  <a:lnTo>
                    <a:pt x="479" y="435"/>
                  </a:lnTo>
                  <a:lnTo>
                    <a:pt x="482" y="443"/>
                  </a:lnTo>
                  <a:lnTo>
                    <a:pt x="485" y="449"/>
                  </a:lnTo>
                  <a:lnTo>
                    <a:pt x="489" y="456"/>
                  </a:lnTo>
                  <a:lnTo>
                    <a:pt x="494" y="461"/>
                  </a:lnTo>
                  <a:lnTo>
                    <a:pt x="499" y="465"/>
                  </a:lnTo>
                  <a:lnTo>
                    <a:pt x="505" y="470"/>
                  </a:lnTo>
                  <a:lnTo>
                    <a:pt x="66" y="470"/>
                  </a:lnTo>
                  <a:close/>
                  <a:moveTo>
                    <a:pt x="285" y="547"/>
                  </a:moveTo>
                  <a:lnTo>
                    <a:pt x="276" y="546"/>
                  </a:lnTo>
                  <a:lnTo>
                    <a:pt x="266" y="543"/>
                  </a:lnTo>
                  <a:lnTo>
                    <a:pt x="257" y="537"/>
                  </a:lnTo>
                  <a:lnTo>
                    <a:pt x="250" y="532"/>
                  </a:lnTo>
                  <a:lnTo>
                    <a:pt x="243" y="524"/>
                  </a:lnTo>
                  <a:lnTo>
                    <a:pt x="239" y="516"/>
                  </a:lnTo>
                  <a:lnTo>
                    <a:pt x="236" y="506"/>
                  </a:lnTo>
                  <a:lnTo>
                    <a:pt x="235" y="495"/>
                  </a:lnTo>
                  <a:lnTo>
                    <a:pt x="337" y="495"/>
                  </a:lnTo>
                  <a:lnTo>
                    <a:pt x="336" y="506"/>
                  </a:lnTo>
                  <a:lnTo>
                    <a:pt x="332" y="516"/>
                  </a:lnTo>
                  <a:lnTo>
                    <a:pt x="328" y="524"/>
                  </a:lnTo>
                  <a:lnTo>
                    <a:pt x="322" y="532"/>
                  </a:lnTo>
                  <a:lnTo>
                    <a:pt x="314" y="537"/>
                  </a:lnTo>
                  <a:lnTo>
                    <a:pt x="306" y="543"/>
                  </a:lnTo>
                  <a:lnTo>
                    <a:pt x="296" y="546"/>
                  </a:lnTo>
                  <a:lnTo>
                    <a:pt x="285" y="547"/>
                  </a:lnTo>
                  <a:close/>
                  <a:moveTo>
                    <a:pt x="563" y="472"/>
                  </a:moveTo>
                  <a:lnTo>
                    <a:pt x="550" y="466"/>
                  </a:lnTo>
                  <a:lnTo>
                    <a:pt x="539" y="461"/>
                  </a:lnTo>
                  <a:lnTo>
                    <a:pt x="529" y="456"/>
                  </a:lnTo>
                  <a:lnTo>
                    <a:pt x="519" y="449"/>
                  </a:lnTo>
                  <a:lnTo>
                    <a:pt x="512" y="443"/>
                  </a:lnTo>
                  <a:lnTo>
                    <a:pt x="506" y="436"/>
                  </a:lnTo>
                  <a:lnTo>
                    <a:pt x="504" y="432"/>
                  </a:lnTo>
                  <a:lnTo>
                    <a:pt x="503" y="428"/>
                  </a:lnTo>
                  <a:lnTo>
                    <a:pt x="502" y="423"/>
                  </a:lnTo>
                  <a:lnTo>
                    <a:pt x="502" y="419"/>
                  </a:lnTo>
                  <a:lnTo>
                    <a:pt x="502" y="278"/>
                  </a:lnTo>
                  <a:lnTo>
                    <a:pt x="501" y="263"/>
                  </a:lnTo>
                  <a:lnTo>
                    <a:pt x="500" y="247"/>
                  </a:lnTo>
                  <a:lnTo>
                    <a:pt x="498" y="232"/>
                  </a:lnTo>
                  <a:lnTo>
                    <a:pt x="494" y="217"/>
                  </a:lnTo>
                  <a:lnTo>
                    <a:pt x="489" y="203"/>
                  </a:lnTo>
                  <a:lnTo>
                    <a:pt x="484" y="189"/>
                  </a:lnTo>
                  <a:lnTo>
                    <a:pt x="476" y="175"/>
                  </a:lnTo>
                  <a:lnTo>
                    <a:pt x="469" y="164"/>
                  </a:lnTo>
                  <a:lnTo>
                    <a:pt x="461" y="151"/>
                  </a:lnTo>
                  <a:lnTo>
                    <a:pt x="452" y="140"/>
                  </a:lnTo>
                  <a:lnTo>
                    <a:pt x="441" y="129"/>
                  </a:lnTo>
                  <a:lnTo>
                    <a:pt x="430" y="119"/>
                  </a:lnTo>
                  <a:lnTo>
                    <a:pt x="418" y="109"/>
                  </a:lnTo>
                  <a:lnTo>
                    <a:pt x="406" y="100"/>
                  </a:lnTo>
                  <a:lnTo>
                    <a:pt x="393" y="93"/>
                  </a:lnTo>
                  <a:lnTo>
                    <a:pt x="379" y="85"/>
                  </a:lnTo>
                  <a:lnTo>
                    <a:pt x="378" y="77"/>
                  </a:lnTo>
                  <a:lnTo>
                    <a:pt x="375" y="68"/>
                  </a:lnTo>
                  <a:lnTo>
                    <a:pt x="372" y="59"/>
                  </a:lnTo>
                  <a:lnTo>
                    <a:pt x="369" y="52"/>
                  </a:lnTo>
                  <a:lnTo>
                    <a:pt x="365" y="44"/>
                  </a:lnTo>
                  <a:lnTo>
                    <a:pt x="359" y="37"/>
                  </a:lnTo>
                  <a:lnTo>
                    <a:pt x="354" y="30"/>
                  </a:lnTo>
                  <a:lnTo>
                    <a:pt x="349" y="25"/>
                  </a:lnTo>
                  <a:lnTo>
                    <a:pt x="342" y="20"/>
                  </a:lnTo>
                  <a:lnTo>
                    <a:pt x="335" y="14"/>
                  </a:lnTo>
                  <a:lnTo>
                    <a:pt x="328" y="10"/>
                  </a:lnTo>
                  <a:lnTo>
                    <a:pt x="320" y="7"/>
                  </a:lnTo>
                  <a:lnTo>
                    <a:pt x="312" y="4"/>
                  </a:lnTo>
                  <a:lnTo>
                    <a:pt x="304" y="1"/>
                  </a:lnTo>
                  <a:lnTo>
                    <a:pt x="295" y="0"/>
                  </a:lnTo>
                  <a:lnTo>
                    <a:pt x="285" y="0"/>
                  </a:lnTo>
                  <a:lnTo>
                    <a:pt x="277" y="0"/>
                  </a:lnTo>
                  <a:lnTo>
                    <a:pt x="268" y="1"/>
                  </a:lnTo>
                  <a:lnTo>
                    <a:pt x="259" y="4"/>
                  </a:lnTo>
                  <a:lnTo>
                    <a:pt x="251" y="7"/>
                  </a:lnTo>
                  <a:lnTo>
                    <a:pt x="243" y="10"/>
                  </a:lnTo>
                  <a:lnTo>
                    <a:pt x="236" y="14"/>
                  </a:lnTo>
                  <a:lnTo>
                    <a:pt x="229" y="20"/>
                  </a:lnTo>
                  <a:lnTo>
                    <a:pt x="223" y="25"/>
                  </a:lnTo>
                  <a:lnTo>
                    <a:pt x="217" y="30"/>
                  </a:lnTo>
                  <a:lnTo>
                    <a:pt x="211" y="37"/>
                  </a:lnTo>
                  <a:lnTo>
                    <a:pt x="207" y="44"/>
                  </a:lnTo>
                  <a:lnTo>
                    <a:pt x="203" y="52"/>
                  </a:lnTo>
                  <a:lnTo>
                    <a:pt x="199" y="59"/>
                  </a:lnTo>
                  <a:lnTo>
                    <a:pt x="196" y="68"/>
                  </a:lnTo>
                  <a:lnTo>
                    <a:pt x="194" y="77"/>
                  </a:lnTo>
                  <a:lnTo>
                    <a:pt x="193" y="85"/>
                  </a:lnTo>
                  <a:lnTo>
                    <a:pt x="179" y="93"/>
                  </a:lnTo>
                  <a:lnTo>
                    <a:pt x="165" y="100"/>
                  </a:lnTo>
                  <a:lnTo>
                    <a:pt x="153" y="109"/>
                  </a:lnTo>
                  <a:lnTo>
                    <a:pt x="141" y="119"/>
                  </a:lnTo>
                  <a:lnTo>
                    <a:pt x="130" y="129"/>
                  </a:lnTo>
                  <a:lnTo>
                    <a:pt x="120" y="140"/>
                  </a:lnTo>
                  <a:lnTo>
                    <a:pt x="110" y="151"/>
                  </a:lnTo>
                  <a:lnTo>
                    <a:pt x="102" y="164"/>
                  </a:lnTo>
                  <a:lnTo>
                    <a:pt x="94" y="175"/>
                  </a:lnTo>
                  <a:lnTo>
                    <a:pt x="88" y="189"/>
                  </a:lnTo>
                  <a:lnTo>
                    <a:pt x="82" y="203"/>
                  </a:lnTo>
                  <a:lnTo>
                    <a:pt x="78" y="217"/>
                  </a:lnTo>
                  <a:lnTo>
                    <a:pt x="74" y="232"/>
                  </a:lnTo>
                  <a:lnTo>
                    <a:pt x="72" y="247"/>
                  </a:lnTo>
                  <a:lnTo>
                    <a:pt x="69" y="263"/>
                  </a:lnTo>
                  <a:lnTo>
                    <a:pt x="69" y="278"/>
                  </a:lnTo>
                  <a:lnTo>
                    <a:pt x="69" y="419"/>
                  </a:lnTo>
                  <a:lnTo>
                    <a:pt x="68" y="423"/>
                  </a:lnTo>
                  <a:lnTo>
                    <a:pt x="68" y="428"/>
                  </a:lnTo>
                  <a:lnTo>
                    <a:pt x="66" y="432"/>
                  </a:lnTo>
                  <a:lnTo>
                    <a:pt x="64" y="436"/>
                  </a:lnTo>
                  <a:lnTo>
                    <a:pt x="59" y="443"/>
                  </a:lnTo>
                  <a:lnTo>
                    <a:pt x="51" y="449"/>
                  </a:lnTo>
                  <a:lnTo>
                    <a:pt x="43" y="456"/>
                  </a:lnTo>
                  <a:lnTo>
                    <a:pt x="32" y="461"/>
                  </a:lnTo>
                  <a:lnTo>
                    <a:pt x="20" y="466"/>
                  </a:lnTo>
                  <a:lnTo>
                    <a:pt x="8" y="472"/>
                  </a:lnTo>
                  <a:lnTo>
                    <a:pt x="4" y="474"/>
                  </a:lnTo>
                  <a:lnTo>
                    <a:pt x="2" y="477"/>
                  </a:lnTo>
                  <a:lnTo>
                    <a:pt x="0" y="481"/>
                  </a:lnTo>
                  <a:lnTo>
                    <a:pt x="1" y="486"/>
                  </a:lnTo>
                  <a:lnTo>
                    <a:pt x="2" y="490"/>
                  </a:lnTo>
                  <a:lnTo>
                    <a:pt x="5" y="493"/>
                  </a:lnTo>
                  <a:lnTo>
                    <a:pt x="8" y="494"/>
                  </a:lnTo>
                  <a:lnTo>
                    <a:pt x="13" y="495"/>
                  </a:lnTo>
                  <a:lnTo>
                    <a:pt x="209" y="495"/>
                  </a:lnTo>
                  <a:lnTo>
                    <a:pt x="209" y="503"/>
                  </a:lnTo>
                  <a:lnTo>
                    <a:pt x="210" y="510"/>
                  </a:lnTo>
                  <a:lnTo>
                    <a:pt x="212" y="518"/>
                  </a:lnTo>
                  <a:lnTo>
                    <a:pt x="215" y="525"/>
                  </a:lnTo>
                  <a:lnTo>
                    <a:pt x="219" y="532"/>
                  </a:lnTo>
                  <a:lnTo>
                    <a:pt x="222" y="538"/>
                  </a:lnTo>
                  <a:lnTo>
                    <a:pt x="226" y="544"/>
                  </a:lnTo>
                  <a:lnTo>
                    <a:pt x="232" y="549"/>
                  </a:lnTo>
                  <a:lnTo>
                    <a:pt x="237" y="554"/>
                  </a:lnTo>
                  <a:lnTo>
                    <a:pt x="243" y="559"/>
                  </a:lnTo>
                  <a:lnTo>
                    <a:pt x="250" y="563"/>
                  </a:lnTo>
                  <a:lnTo>
                    <a:pt x="256" y="566"/>
                  </a:lnTo>
                  <a:lnTo>
                    <a:pt x="263" y="568"/>
                  </a:lnTo>
                  <a:lnTo>
                    <a:pt x="270" y="571"/>
                  </a:lnTo>
                  <a:lnTo>
                    <a:pt x="278" y="572"/>
                  </a:lnTo>
                  <a:lnTo>
                    <a:pt x="285" y="572"/>
                  </a:lnTo>
                  <a:lnTo>
                    <a:pt x="294" y="572"/>
                  </a:lnTo>
                  <a:lnTo>
                    <a:pt x="301" y="571"/>
                  </a:lnTo>
                  <a:lnTo>
                    <a:pt x="308" y="568"/>
                  </a:lnTo>
                  <a:lnTo>
                    <a:pt x="315" y="566"/>
                  </a:lnTo>
                  <a:lnTo>
                    <a:pt x="322" y="563"/>
                  </a:lnTo>
                  <a:lnTo>
                    <a:pt x="328" y="559"/>
                  </a:lnTo>
                  <a:lnTo>
                    <a:pt x="335" y="554"/>
                  </a:lnTo>
                  <a:lnTo>
                    <a:pt x="340" y="549"/>
                  </a:lnTo>
                  <a:lnTo>
                    <a:pt x="344" y="544"/>
                  </a:lnTo>
                  <a:lnTo>
                    <a:pt x="349" y="538"/>
                  </a:lnTo>
                  <a:lnTo>
                    <a:pt x="353" y="532"/>
                  </a:lnTo>
                  <a:lnTo>
                    <a:pt x="356" y="525"/>
                  </a:lnTo>
                  <a:lnTo>
                    <a:pt x="359" y="518"/>
                  </a:lnTo>
                  <a:lnTo>
                    <a:pt x="360" y="510"/>
                  </a:lnTo>
                  <a:lnTo>
                    <a:pt x="363" y="503"/>
                  </a:lnTo>
                  <a:lnTo>
                    <a:pt x="363" y="495"/>
                  </a:lnTo>
                  <a:lnTo>
                    <a:pt x="559" y="495"/>
                  </a:lnTo>
                  <a:lnTo>
                    <a:pt x="563" y="494"/>
                  </a:lnTo>
                  <a:lnTo>
                    <a:pt x="567" y="493"/>
                  </a:lnTo>
                  <a:lnTo>
                    <a:pt x="569" y="490"/>
                  </a:lnTo>
                  <a:lnTo>
                    <a:pt x="571" y="486"/>
                  </a:lnTo>
                  <a:lnTo>
                    <a:pt x="571" y="481"/>
                  </a:lnTo>
                  <a:lnTo>
                    <a:pt x="570" y="477"/>
                  </a:lnTo>
                  <a:lnTo>
                    <a:pt x="567" y="474"/>
                  </a:lnTo>
                  <a:lnTo>
                    <a:pt x="563" y="4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1" name="Freeform 125">
              <a:extLst>
                <a:ext uri="{FF2B5EF4-FFF2-40B4-BE49-F238E27FC236}">
                  <a16:creationId xmlns:a16="http://schemas.microsoft.com/office/drawing/2014/main" id="{C3BAF413-E4F8-4E38-B0EF-1EFB09FDFD10}"/>
                </a:ext>
              </a:extLst>
            </p:cNvPr>
            <p:cNvSpPr>
              <a:spLocks/>
            </p:cNvSpPr>
            <p:nvPr/>
          </p:nvSpPr>
          <p:spPr bwMode="auto">
            <a:xfrm>
              <a:off x="940058" y="4819595"/>
              <a:ext cx="76232" cy="74736"/>
            </a:xfrm>
            <a:custGeom>
              <a:avLst/>
              <a:gdLst>
                <a:gd name="T0" fmla="*/ 13 w 203"/>
                <a:gd name="T1" fmla="*/ 201 h 201"/>
                <a:gd name="T2" fmla="*/ 18 w 203"/>
                <a:gd name="T3" fmla="*/ 200 h 201"/>
                <a:gd name="T4" fmla="*/ 22 w 203"/>
                <a:gd name="T5" fmla="*/ 197 h 201"/>
                <a:gd name="T6" fmla="*/ 24 w 203"/>
                <a:gd name="T7" fmla="*/ 193 h 201"/>
                <a:gd name="T8" fmla="*/ 25 w 203"/>
                <a:gd name="T9" fmla="*/ 188 h 201"/>
                <a:gd name="T10" fmla="*/ 27 w 203"/>
                <a:gd name="T11" fmla="*/ 172 h 201"/>
                <a:gd name="T12" fmla="*/ 29 w 203"/>
                <a:gd name="T13" fmla="*/ 156 h 201"/>
                <a:gd name="T14" fmla="*/ 33 w 203"/>
                <a:gd name="T15" fmla="*/ 139 h 201"/>
                <a:gd name="T16" fmla="*/ 38 w 203"/>
                <a:gd name="T17" fmla="*/ 124 h 201"/>
                <a:gd name="T18" fmla="*/ 45 w 203"/>
                <a:gd name="T19" fmla="*/ 110 h 201"/>
                <a:gd name="T20" fmla="*/ 53 w 203"/>
                <a:gd name="T21" fmla="*/ 96 h 201"/>
                <a:gd name="T22" fmla="*/ 63 w 203"/>
                <a:gd name="T23" fmla="*/ 85 h 201"/>
                <a:gd name="T24" fmla="*/ 74 w 203"/>
                <a:gd name="T25" fmla="*/ 73 h 201"/>
                <a:gd name="T26" fmla="*/ 86 w 203"/>
                <a:gd name="T27" fmla="*/ 62 h 201"/>
                <a:gd name="T28" fmla="*/ 97 w 203"/>
                <a:gd name="T29" fmla="*/ 52 h 201"/>
                <a:gd name="T30" fmla="*/ 111 w 203"/>
                <a:gd name="T31" fmla="*/ 45 h 201"/>
                <a:gd name="T32" fmla="*/ 125 w 203"/>
                <a:gd name="T33" fmla="*/ 37 h 201"/>
                <a:gd name="T34" fmla="*/ 140 w 203"/>
                <a:gd name="T35" fmla="*/ 32 h 201"/>
                <a:gd name="T36" fmla="*/ 156 w 203"/>
                <a:gd name="T37" fmla="*/ 29 h 201"/>
                <a:gd name="T38" fmla="*/ 173 w 203"/>
                <a:gd name="T39" fmla="*/ 26 h 201"/>
                <a:gd name="T40" fmla="*/ 190 w 203"/>
                <a:gd name="T41" fmla="*/ 26 h 201"/>
                <a:gd name="T42" fmla="*/ 194 w 203"/>
                <a:gd name="T43" fmla="*/ 25 h 201"/>
                <a:gd name="T44" fmla="*/ 198 w 203"/>
                <a:gd name="T45" fmla="*/ 21 h 201"/>
                <a:gd name="T46" fmla="*/ 202 w 203"/>
                <a:gd name="T47" fmla="*/ 17 h 201"/>
                <a:gd name="T48" fmla="*/ 203 w 203"/>
                <a:gd name="T49" fmla="*/ 13 h 201"/>
                <a:gd name="T50" fmla="*/ 202 w 203"/>
                <a:gd name="T51" fmla="*/ 7 h 201"/>
                <a:gd name="T52" fmla="*/ 198 w 203"/>
                <a:gd name="T53" fmla="*/ 3 h 201"/>
                <a:gd name="T54" fmla="*/ 194 w 203"/>
                <a:gd name="T55" fmla="*/ 1 h 201"/>
                <a:gd name="T56" fmla="*/ 190 w 203"/>
                <a:gd name="T57" fmla="*/ 0 h 201"/>
                <a:gd name="T58" fmla="*/ 170 w 203"/>
                <a:gd name="T59" fmla="*/ 1 h 201"/>
                <a:gd name="T60" fmla="*/ 151 w 203"/>
                <a:gd name="T61" fmla="*/ 3 h 201"/>
                <a:gd name="T62" fmla="*/ 133 w 203"/>
                <a:gd name="T63" fmla="*/ 8 h 201"/>
                <a:gd name="T64" fmla="*/ 116 w 203"/>
                <a:gd name="T65" fmla="*/ 15 h 201"/>
                <a:gd name="T66" fmla="*/ 100 w 203"/>
                <a:gd name="T67" fmla="*/ 22 h 201"/>
                <a:gd name="T68" fmla="*/ 83 w 203"/>
                <a:gd name="T69" fmla="*/ 32 h 201"/>
                <a:gd name="T70" fmla="*/ 69 w 203"/>
                <a:gd name="T71" fmla="*/ 43 h 201"/>
                <a:gd name="T72" fmla="*/ 55 w 203"/>
                <a:gd name="T73" fmla="*/ 55 h 201"/>
                <a:gd name="T74" fmla="*/ 44 w 203"/>
                <a:gd name="T75" fmla="*/ 69 h 201"/>
                <a:gd name="T76" fmla="*/ 32 w 203"/>
                <a:gd name="T77" fmla="*/ 83 h 201"/>
                <a:gd name="T78" fmla="*/ 23 w 203"/>
                <a:gd name="T79" fmla="*/ 99 h 201"/>
                <a:gd name="T80" fmla="*/ 15 w 203"/>
                <a:gd name="T81" fmla="*/ 115 h 201"/>
                <a:gd name="T82" fmla="*/ 8 w 203"/>
                <a:gd name="T83" fmla="*/ 132 h 201"/>
                <a:gd name="T84" fmla="*/ 4 w 203"/>
                <a:gd name="T85" fmla="*/ 150 h 201"/>
                <a:gd name="T86" fmla="*/ 1 w 203"/>
                <a:gd name="T87" fmla="*/ 168 h 201"/>
                <a:gd name="T88" fmla="*/ 0 w 203"/>
                <a:gd name="T89" fmla="*/ 188 h 201"/>
                <a:gd name="T90" fmla="*/ 1 w 203"/>
                <a:gd name="T91" fmla="*/ 193 h 201"/>
                <a:gd name="T92" fmla="*/ 4 w 203"/>
                <a:gd name="T93" fmla="*/ 197 h 201"/>
                <a:gd name="T94" fmla="*/ 8 w 203"/>
                <a:gd name="T95" fmla="*/ 200 h 201"/>
                <a:gd name="T96" fmla="*/ 13 w 203"/>
                <a:gd name="T9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3" h="201">
                  <a:moveTo>
                    <a:pt x="13" y="201"/>
                  </a:moveTo>
                  <a:lnTo>
                    <a:pt x="18" y="200"/>
                  </a:lnTo>
                  <a:lnTo>
                    <a:pt x="22" y="197"/>
                  </a:lnTo>
                  <a:lnTo>
                    <a:pt x="24" y="193"/>
                  </a:lnTo>
                  <a:lnTo>
                    <a:pt x="25" y="188"/>
                  </a:lnTo>
                  <a:lnTo>
                    <a:pt x="27" y="172"/>
                  </a:lnTo>
                  <a:lnTo>
                    <a:pt x="29" y="156"/>
                  </a:lnTo>
                  <a:lnTo>
                    <a:pt x="33" y="139"/>
                  </a:lnTo>
                  <a:lnTo>
                    <a:pt x="38" y="124"/>
                  </a:lnTo>
                  <a:lnTo>
                    <a:pt x="45" y="110"/>
                  </a:lnTo>
                  <a:lnTo>
                    <a:pt x="53" y="96"/>
                  </a:lnTo>
                  <a:lnTo>
                    <a:pt x="63" y="85"/>
                  </a:lnTo>
                  <a:lnTo>
                    <a:pt x="74" y="73"/>
                  </a:lnTo>
                  <a:lnTo>
                    <a:pt x="86" y="62"/>
                  </a:lnTo>
                  <a:lnTo>
                    <a:pt x="97" y="52"/>
                  </a:lnTo>
                  <a:lnTo>
                    <a:pt x="111" y="45"/>
                  </a:lnTo>
                  <a:lnTo>
                    <a:pt x="125" y="37"/>
                  </a:lnTo>
                  <a:lnTo>
                    <a:pt x="140" y="32"/>
                  </a:lnTo>
                  <a:lnTo>
                    <a:pt x="156" y="29"/>
                  </a:lnTo>
                  <a:lnTo>
                    <a:pt x="173" y="26"/>
                  </a:lnTo>
                  <a:lnTo>
                    <a:pt x="190" y="26"/>
                  </a:lnTo>
                  <a:lnTo>
                    <a:pt x="194" y="25"/>
                  </a:lnTo>
                  <a:lnTo>
                    <a:pt x="198" y="21"/>
                  </a:lnTo>
                  <a:lnTo>
                    <a:pt x="202" y="17"/>
                  </a:lnTo>
                  <a:lnTo>
                    <a:pt x="203" y="13"/>
                  </a:lnTo>
                  <a:lnTo>
                    <a:pt x="202" y="7"/>
                  </a:lnTo>
                  <a:lnTo>
                    <a:pt x="198" y="3"/>
                  </a:lnTo>
                  <a:lnTo>
                    <a:pt x="194" y="1"/>
                  </a:lnTo>
                  <a:lnTo>
                    <a:pt x="190" y="0"/>
                  </a:lnTo>
                  <a:lnTo>
                    <a:pt x="170" y="1"/>
                  </a:lnTo>
                  <a:lnTo>
                    <a:pt x="151" y="3"/>
                  </a:lnTo>
                  <a:lnTo>
                    <a:pt x="133" y="8"/>
                  </a:lnTo>
                  <a:lnTo>
                    <a:pt x="116" y="15"/>
                  </a:lnTo>
                  <a:lnTo>
                    <a:pt x="100" y="22"/>
                  </a:lnTo>
                  <a:lnTo>
                    <a:pt x="83" y="32"/>
                  </a:lnTo>
                  <a:lnTo>
                    <a:pt x="69" y="43"/>
                  </a:lnTo>
                  <a:lnTo>
                    <a:pt x="55" y="55"/>
                  </a:lnTo>
                  <a:lnTo>
                    <a:pt x="44" y="69"/>
                  </a:lnTo>
                  <a:lnTo>
                    <a:pt x="32" y="83"/>
                  </a:lnTo>
                  <a:lnTo>
                    <a:pt x="23" y="99"/>
                  </a:lnTo>
                  <a:lnTo>
                    <a:pt x="15" y="115"/>
                  </a:lnTo>
                  <a:lnTo>
                    <a:pt x="8" y="132"/>
                  </a:lnTo>
                  <a:lnTo>
                    <a:pt x="4" y="150"/>
                  </a:lnTo>
                  <a:lnTo>
                    <a:pt x="1" y="168"/>
                  </a:lnTo>
                  <a:lnTo>
                    <a:pt x="0" y="188"/>
                  </a:lnTo>
                  <a:lnTo>
                    <a:pt x="1" y="193"/>
                  </a:lnTo>
                  <a:lnTo>
                    <a:pt x="4" y="197"/>
                  </a:lnTo>
                  <a:lnTo>
                    <a:pt x="8" y="200"/>
                  </a:lnTo>
                  <a:lnTo>
                    <a:pt x="13"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2" name="Freeform 126">
              <a:extLst>
                <a:ext uri="{FF2B5EF4-FFF2-40B4-BE49-F238E27FC236}">
                  <a16:creationId xmlns:a16="http://schemas.microsoft.com/office/drawing/2014/main" id="{FD94BC08-6B43-453F-8B30-0DBC97EBC676}"/>
                </a:ext>
              </a:extLst>
            </p:cNvPr>
            <p:cNvSpPr>
              <a:spLocks/>
            </p:cNvSpPr>
            <p:nvPr/>
          </p:nvSpPr>
          <p:spPr bwMode="auto">
            <a:xfrm>
              <a:off x="904186" y="4783724"/>
              <a:ext cx="112105" cy="110610"/>
            </a:xfrm>
            <a:custGeom>
              <a:avLst/>
              <a:gdLst>
                <a:gd name="T0" fmla="*/ 290 w 299"/>
                <a:gd name="T1" fmla="*/ 24 h 298"/>
                <a:gd name="T2" fmla="*/ 298 w 299"/>
                <a:gd name="T3" fmla="*/ 17 h 298"/>
                <a:gd name="T4" fmla="*/ 298 w 299"/>
                <a:gd name="T5" fmla="*/ 8 h 298"/>
                <a:gd name="T6" fmla="*/ 290 w 299"/>
                <a:gd name="T7" fmla="*/ 1 h 298"/>
                <a:gd name="T8" fmla="*/ 271 w 299"/>
                <a:gd name="T9" fmla="*/ 0 h 298"/>
                <a:gd name="T10" fmla="*/ 242 w 299"/>
                <a:gd name="T11" fmla="*/ 3 h 298"/>
                <a:gd name="T12" fmla="*/ 214 w 299"/>
                <a:gd name="T13" fmla="*/ 9 h 298"/>
                <a:gd name="T14" fmla="*/ 187 w 299"/>
                <a:gd name="T15" fmla="*/ 17 h 298"/>
                <a:gd name="T16" fmla="*/ 161 w 299"/>
                <a:gd name="T17" fmla="*/ 28 h 298"/>
                <a:gd name="T18" fmla="*/ 138 w 299"/>
                <a:gd name="T19" fmla="*/ 41 h 298"/>
                <a:gd name="T20" fmla="*/ 115 w 299"/>
                <a:gd name="T21" fmla="*/ 57 h 298"/>
                <a:gd name="T22" fmla="*/ 94 w 299"/>
                <a:gd name="T23" fmla="*/ 74 h 298"/>
                <a:gd name="T24" fmla="*/ 74 w 299"/>
                <a:gd name="T25" fmla="*/ 94 h 298"/>
                <a:gd name="T26" fmla="*/ 57 w 299"/>
                <a:gd name="T27" fmla="*/ 115 h 298"/>
                <a:gd name="T28" fmla="*/ 41 w 299"/>
                <a:gd name="T29" fmla="*/ 138 h 298"/>
                <a:gd name="T30" fmla="*/ 28 w 299"/>
                <a:gd name="T31" fmla="*/ 162 h 298"/>
                <a:gd name="T32" fmla="*/ 17 w 299"/>
                <a:gd name="T33" fmla="*/ 187 h 298"/>
                <a:gd name="T34" fmla="*/ 9 w 299"/>
                <a:gd name="T35" fmla="*/ 214 h 298"/>
                <a:gd name="T36" fmla="*/ 3 w 299"/>
                <a:gd name="T37" fmla="*/ 242 h 298"/>
                <a:gd name="T38" fmla="*/ 0 w 299"/>
                <a:gd name="T39" fmla="*/ 271 h 298"/>
                <a:gd name="T40" fmla="*/ 1 w 299"/>
                <a:gd name="T41" fmla="*/ 290 h 298"/>
                <a:gd name="T42" fmla="*/ 8 w 299"/>
                <a:gd name="T43" fmla="*/ 297 h 298"/>
                <a:gd name="T44" fmla="*/ 17 w 299"/>
                <a:gd name="T45" fmla="*/ 297 h 298"/>
                <a:gd name="T46" fmla="*/ 24 w 299"/>
                <a:gd name="T47" fmla="*/ 290 h 298"/>
                <a:gd name="T48" fmla="*/ 26 w 299"/>
                <a:gd name="T49" fmla="*/ 272 h 298"/>
                <a:gd name="T50" fmla="*/ 28 w 299"/>
                <a:gd name="T51" fmla="*/ 246 h 298"/>
                <a:gd name="T52" fmla="*/ 33 w 299"/>
                <a:gd name="T53" fmla="*/ 220 h 298"/>
                <a:gd name="T54" fmla="*/ 41 w 299"/>
                <a:gd name="T55" fmla="*/ 196 h 298"/>
                <a:gd name="T56" fmla="*/ 51 w 299"/>
                <a:gd name="T57" fmla="*/ 173 h 298"/>
                <a:gd name="T58" fmla="*/ 62 w 299"/>
                <a:gd name="T59" fmla="*/ 151 h 298"/>
                <a:gd name="T60" fmla="*/ 77 w 299"/>
                <a:gd name="T61" fmla="*/ 130 h 298"/>
                <a:gd name="T62" fmla="*/ 92 w 299"/>
                <a:gd name="T63" fmla="*/ 111 h 298"/>
                <a:gd name="T64" fmla="*/ 111 w 299"/>
                <a:gd name="T65" fmla="*/ 94 h 298"/>
                <a:gd name="T66" fmla="*/ 130 w 299"/>
                <a:gd name="T67" fmla="*/ 78 h 298"/>
                <a:gd name="T68" fmla="*/ 150 w 299"/>
                <a:gd name="T69" fmla="*/ 64 h 298"/>
                <a:gd name="T70" fmla="*/ 173 w 299"/>
                <a:gd name="T71" fmla="*/ 51 h 298"/>
                <a:gd name="T72" fmla="*/ 196 w 299"/>
                <a:gd name="T73" fmla="*/ 41 h 298"/>
                <a:gd name="T74" fmla="*/ 220 w 299"/>
                <a:gd name="T75" fmla="*/ 33 h 298"/>
                <a:gd name="T76" fmla="*/ 246 w 299"/>
                <a:gd name="T77" fmla="*/ 28 h 298"/>
                <a:gd name="T78" fmla="*/ 272 w 299"/>
                <a:gd name="T79" fmla="*/ 2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298">
                  <a:moveTo>
                    <a:pt x="286" y="25"/>
                  </a:moveTo>
                  <a:lnTo>
                    <a:pt x="290" y="24"/>
                  </a:lnTo>
                  <a:lnTo>
                    <a:pt x="294" y="22"/>
                  </a:lnTo>
                  <a:lnTo>
                    <a:pt x="298" y="17"/>
                  </a:lnTo>
                  <a:lnTo>
                    <a:pt x="299" y="13"/>
                  </a:lnTo>
                  <a:lnTo>
                    <a:pt x="298" y="8"/>
                  </a:lnTo>
                  <a:lnTo>
                    <a:pt x="294" y="3"/>
                  </a:lnTo>
                  <a:lnTo>
                    <a:pt x="290" y="1"/>
                  </a:lnTo>
                  <a:lnTo>
                    <a:pt x="286" y="0"/>
                  </a:lnTo>
                  <a:lnTo>
                    <a:pt x="271" y="0"/>
                  </a:lnTo>
                  <a:lnTo>
                    <a:pt x="256" y="1"/>
                  </a:lnTo>
                  <a:lnTo>
                    <a:pt x="242" y="3"/>
                  </a:lnTo>
                  <a:lnTo>
                    <a:pt x="228" y="6"/>
                  </a:lnTo>
                  <a:lnTo>
                    <a:pt x="214" y="9"/>
                  </a:lnTo>
                  <a:lnTo>
                    <a:pt x="201" y="13"/>
                  </a:lnTo>
                  <a:lnTo>
                    <a:pt x="187" y="17"/>
                  </a:lnTo>
                  <a:lnTo>
                    <a:pt x="174" y="23"/>
                  </a:lnTo>
                  <a:lnTo>
                    <a:pt x="161" y="28"/>
                  </a:lnTo>
                  <a:lnTo>
                    <a:pt x="149" y="35"/>
                  </a:lnTo>
                  <a:lnTo>
                    <a:pt x="138" y="41"/>
                  </a:lnTo>
                  <a:lnTo>
                    <a:pt x="126" y="49"/>
                  </a:lnTo>
                  <a:lnTo>
                    <a:pt x="115" y="57"/>
                  </a:lnTo>
                  <a:lnTo>
                    <a:pt x="104" y="66"/>
                  </a:lnTo>
                  <a:lnTo>
                    <a:pt x="94" y="74"/>
                  </a:lnTo>
                  <a:lnTo>
                    <a:pt x="84" y="84"/>
                  </a:lnTo>
                  <a:lnTo>
                    <a:pt x="74" y="94"/>
                  </a:lnTo>
                  <a:lnTo>
                    <a:pt x="65" y="104"/>
                  </a:lnTo>
                  <a:lnTo>
                    <a:pt x="57" y="115"/>
                  </a:lnTo>
                  <a:lnTo>
                    <a:pt x="48" y="126"/>
                  </a:lnTo>
                  <a:lnTo>
                    <a:pt x="41" y="138"/>
                  </a:lnTo>
                  <a:lnTo>
                    <a:pt x="34" y="149"/>
                  </a:lnTo>
                  <a:lnTo>
                    <a:pt x="28" y="162"/>
                  </a:lnTo>
                  <a:lnTo>
                    <a:pt x="23" y="174"/>
                  </a:lnTo>
                  <a:lnTo>
                    <a:pt x="17" y="187"/>
                  </a:lnTo>
                  <a:lnTo>
                    <a:pt x="13" y="201"/>
                  </a:lnTo>
                  <a:lnTo>
                    <a:pt x="9" y="214"/>
                  </a:lnTo>
                  <a:lnTo>
                    <a:pt x="5" y="228"/>
                  </a:lnTo>
                  <a:lnTo>
                    <a:pt x="3" y="242"/>
                  </a:lnTo>
                  <a:lnTo>
                    <a:pt x="1" y="256"/>
                  </a:lnTo>
                  <a:lnTo>
                    <a:pt x="0" y="271"/>
                  </a:lnTo>
                  <a:lnTo>
                    <a:pt x="0" y="285"/>
                  </a:lnTo>
                  <a:lnTo>
                    <a:pt x="1" y="290"/>
                  </a:lnTo>
                  <a:lnTo>
                    <a:pt x="3" y="294"/>
                  </a:lnTo>
                  <a:lnTo>
                    <a:pt x="8" y="297"/>
                  </a:lnTo>
                  <a:lnTo>
                    <a:pt x="12" y="298"/>
                  </a:lnTo>
                  <a:lnTo>
                    <a:pt x="17" y="297"/>
                  </a:lnTo>
                  <a:lnTo>
                    <a:pt x="22" y="294"/>
                  </a:lnTo>
                  <a:lnTo>
                    <a:pt x="24" y="290"/>
                  </a:lnTo>
                  <a:lnTo>
                    <a:pt x="25" y="285"/>
                  </a:lnTo>
                  <a:lnTo>
                    <a:pt x="26" y="272"/>
                  </a:lnTo>
                  <a:lnTo>
                    <a:pt x="27" y="259"/>
                  </a:lnTo>
                  <a:lnTo>
                    <a:pt x="28" y="246"/>
                  </a:lnTo>
                  <a:lnTo>
                    <a:pt x="30" y="233"/>
                  </a:lnTo>
                  <a:lnTo>
                    <a:pt x="33" y="220"/>
                  </a:lnTo>
                  <a:lnTo>
                    <a:pt x="37" y="208"/>
                  </a:lnTo>
                  <a:lnTo>
                    <a:pt x="41" y="196"/>
                  </a:lnTo>
                  <a:lnTo>
                    <a:pt x="45" y="185"/>
                  </a:lnTo>
                  <a:lnTo>
                    <a:pt x="51" y="173"/>
                  </a:lnTo>
                  <a:lnTo>
                    <a:pt x="57" y="161"/>
                  </a:lnTo>
                  <a:lnTo>
                    <a:pt x="62" y="151"/>
                  </a:lnTo>
                  <a:lnTo>
                    <a:pt x="70" y="140"/>
                  </a:lnTo>
                  <a:lnTo>
                    <a:pt x="77" y="130"/>
                  </a:lnTo>
                  <a:lnTo>
                    <a:pt x="85" y="120"/>
                  </a:lnTo>
                  <a:lnTo>
                    <a:pt x="92" y="111"/>
                  </a:lnTo>
                  <a:lnTo>
                    <a:pt x="101" y="102"/>
                  </a:lnTo>
                  <a:lnTo>
                    <a:pt x="111" y="94"/>
                  </a:lnTo>
                  <a:lnTo>
                    <a:pt x="120" y="85"/>
                  </a:lnTo>
                  <a:lnTo>
                    <a:pt x="130" y="78"/>
                  </a:lnTo>
                  <a:lnTo>
                    <a:pt x="140" y="70"/>
                  </a:lnTo>
                  <a:lnTo>
                    <a:pt x="150" y="64"/>
                  </a:lnTo>
                  <a:lnTo>
                    <a:pt x="161" y="57"/>
                  </a:lnTo>
                  <a:lnTo>
                    <a:pt x="173" y="51"/>
                  </a:lnTo>
                  <a:lnTo>
                    <a:pt x="184" y="46"/>
                  </a:lnTo>
                  <a:lnTo>
                    <a:pt x="196" y="41"/>
                  </a:lnTo>
                  <a:lnTo>
                    <a:pt x="208" y="37"/>
                  </a:lnTo>
                  <a:lnTo>
                    <a:pt x="220" y="33"/>
                  </a:lnTo>
                  <a:lnTo>
                    <a:pt x="233" y="30"/>
                  </a:lnTo>
                  <a:lnTo>
                    <a:pt x="246" y="28"/>
                  </a:lnTo>
                  <a:lnTo>
                    <a:pt x="259" y="27"/>
                  </a:lnTo>
                  <a:lnTo>
                    <a:pt x="272" y="26"/>
                  </a:lnTo>
                  <a:lnTo>
                    <a:pt x="28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3" name="Freeform 127">
              <a:extLst>
                <a:ext uri="{FF2B5EF4-FFF2-40B4-BE49-F238E27FC236}">
                  <a16:creationId xmlns:a16="http://schemas.microsoft.com/office/drawing/2014/main" id="{FC8B49C0-DED0-4622-87A1-31F547B41C28}"/>
                </a:ext>
              </a:extLst>
            </p:cNvPr>
            <p:cNvSpPr>
              <a:spLocks/>
            </p:cNvSpPr>
            <p:nvPr/>
          </p:nvSpPr>
          <p:spPr bwMode="auto">
            <a:xfrm>
              <a:off x="1079068" y="4819597"/>
              <a:ext cx="74736" cy="74736"/>
            </a:xfrm>
            <a:custGeom>
              <a:avLst/>
              <a:gdLst>
                <a:gd name="T0" fmla="*/ 13 w 202"/>
                <a:gd name="T1" fmla="*/ 0 h 201"/>
                <a:gd name="T2" fmla="*/ 8 w 202"/>
                <a:gd name="T3" fmla="*/ 1 h 201"/>
                <a:gd name="T4" fmla="*/ 4 w 202"/>
                <a:gd name="T5" fmla="*/ 3 h 201"/>
                <a:gd name="T6" fmla="*/ 1 w 202"/>
                <a:gd name="T7" fmla="*/ 7 h 201"/>
                <a:gd name="T8" fmla="*/ 0 w 202"/>
                <a:gd name="T9" fmla="*/ 13 h 201"/>
                <a:gd name="T10" fmla="*/ 1 w 202"/>
                <a:gd name="T11" fmla="*/ 17 h 201"/>
                <a:gd name="T12" fmla="*/ 4 w 202"/>
                <a:gd name="T13" fmla="*/ 21 h 201"/>
                <a:gd name="T14" fmla="*/ 8 w 202"/>
                <a:gd name="T15" fmla="*/ 25 h 201"/>
                <a:gd name="T16" fmla="*/ 13 w 202"/>
                <a:gd name="T17" fmla="*/ 26 h 201"/>
                <a:gd name="T18" fmla="*/ 30 w 202"/>
                <a:gd name="T19" fmla="*/ 26 h 201"/>
                <a:gd name="T20" fmla="*/ 46 w 202"/>
                <a:gd name="T21" fmla="*/ 29 h 201"/>
                <a:gd name="T22" fmla="*/ 61 w 202"/>
                <a:gd name="T23" fmla="*/ 32 h 201"/>
                <a:gd name="T24" fmla="*/ 76 w 202"/>
                <a:gd name="T25" fmla="*/ 37 h 201"/>
                <a:gd name="T26" fmla="*/ 91 w 202"/>
                <a:gd name="T27" fmla="*/ 45 h 201"/>
                <a:gd name="T28" fmla="*/ 104 w 202"/>
                <a:gd name="T29" fmla="*/ 52 h 201"/>
                <a:gd name="T30" fmla="*/ 117 w 202"/>
                <a:gd name="T31" fmla="*/ 62 h 201"/>
                <a:gd name="T32" fmla="*/ 129 w 202"/>
                <a:gd name="T33" fmla="*/ 73 h 201"/>
                <a:gd name="T34" fmla="*/ 140 w 202"/>
                <a:gd name="T35" fmla="*/ 85 h 201"/>
                <a:gd name="T36" fmla="*/ 149 w 202"/>
                <a:gd name="T37" fmla="*/ 96 h 201"/>
                <a:gd name="T38" fmla="*/ 157 w 202"/>
                <a:gd name="T39" fmla="*/ 110 h 201"/>
                <a:gd name="T40" fmla="*/ 164 w 202"/>
                <a:gd name="T41" fmla="*/ 124 h 201"/>
                <a:gd name="T42" fmla="*/ 170 w 202"/>
                <a:gd name="T43" fmla="*/ 139 h 201"/>
                <a:gd name="T44" fmla="*/ 174 w 202"/>
                <a:gd name="T45" fmla="*/ 156 h 201"/>
                <a:gd name="T46" fmla="*/ 176 w 202"/>
                <a:gd name="T47" fmla="*/ 172 h 201"/>
                <a:gd name="T48" fmla="*/ 177 w 202"/>
                <a:gd name="T49" fmla="*/ 188 h 201"/>
                <a:gd name="T50" fmla="*/ 178 w 202"/>
                <a:gd name="T51" fmla="*/ 193 h 201"/>
                <a:gd name="T52" fmla="*/ 180 w 202"/>
                <a:gd name="T53" fmla="*/ 197 h 201"/>
                <a:gd name="T54" fmla="*/ 185 w 202"/>
                <a:gd name="T55" fmla="*/ 200 h 201"/>
                <a:gd name="T56" fmla="*/ 190 w 202"/>
                <a:gd name="T57" fmla="*/ 201 h 201"/>
                <a:gd name="T58" fmla="*/ 194 w 202"/>
                <a:gd name="T59" fmla="*/ 200 h 201"/>
                <a:gd name="T60" fmla="*/ 199 w 202"/>
                <a:gd name="T61" fmla="*/ 197 h 201"/>
                <a:gd name="T62" fmla="*/ 202 w 202"/>
                <a:gd name="T63" fmla="*/ 193 h 201"/>
                <a:gd name="T64" fmla="*/ 202 w 202"/>
                <a:gd name="T65" fmla="*/ 188 h 201"/>
                <a:gd name="T66" fmla="*/ 202 w 202"/>
                <a:gd name="T67" fmla="*/ 168 h 201"/>
                <a:gd name="T68" fmla="*/ 199 w 202"/>
                <a:gd name="T69" fmla="*/ 150 h 201"/>
                <a:gd name="T70" fmla="*/ 193 w 202"/>
                <a:gd name="T71" fmla="*/ 132 h 201"/>
                <a:gd name="T72" fmla="*/ 188 w 202"/>
                <a:gd name="T73" fmla="*/ 115 h 201"/>
                <a:gd name="T74" fmla="*/ 179 w 202"/>
                <a:gd name="T75" fmla="*/ 99 h 201"/>
                <a:gd name="T76" fmla="*/ 170 w 202"/>
                <a:gd name="T77" fmla="*/ 83 h 201"/>
                <a:gd name="T78" fmla="*/ 159 w 202"/>
                <a:gd name="T79" fmla="*/ 69 h 201"/>
                <a:gd name="T80" fmla="*/ 147 w 202"/>
                <a:gd name="T81" fmla="*/ 55 h 201"/>
                <a:gd name="T82" fmla="*/ 133 w 202"/>
                <a:gd name="T83" fmla="*/ 43 h 201"/>
                <a:gd name="T84" fmla="*/ 119 w 202"/>
                <a:gd name="T85" fmla="*/ 32 h 201"/>
                <a:gd name="T86" fmla="*/ 103 w 202"/>
                <a:gd name="T87" fmla="*/ 22 h 201"/>
                <a:gd name="T88" fmla="*/ 87 w 202"/>
                <a:gd name="T89" fmla="*/ 15 h 201"/>
                <a:gd name="T90" fmla="*/ 69 w 202"/>
                <a:gd name="T91" fmla="*/ 8 h 201"/>
                <a:gd name="T92" fmla="*/ 52 w 202"/>
                <a:gd name="T93" fmla="*/ 3 h 201"/>
                <a:gd name="T94" fmla="*/ 32 w 202"/>
                <a:gd name="T95" fmla="*/ 1 h 201"/>
                <a:gd name="T96" fmla="*/ 13 w 202"/>
                <a:gd name="T9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1">
                  <a:moveTo>
                    <a:pt x="13" y="0"/>
                  </a:moveTo>
                  <a:lnTo>
                    <a:pt x="8" y="1"/>
                  </a:lnTo>
                  <a:lnTo>
                    <a:pt x="4" y="3"/>
                  </a:lnTo>
                  <a:lnTo>
                    <a:pt x="1" y="7"/>
                  </a:lnTo>
                  <a:lnTo>
                    <a:pt x="0" y="13"/>
                  </a:lnTo>
                  <a:lnTo>
                    <a:pt x="1" y="17"/>
                  </a:lnTo>
                  <a:lnTo>
                    <a:pt x="4" y="21"/>
                  </a:lnTo>
                  <a:lnTo>
                    <a:pt x="8" y="25"/>
                  </a:lnTo>
                  <a:lnTo>
                    <a:pt x="13" y="26"/>
                  </a:lnTo>
                  <a:lnTo>
                    <a:pt x="30" y="26"/>
                  </a:lnTo>
                  <a:lnTo>
                    <a:pt x="46" y="29"/>
                  </a:lnTo>
                  <a:lnTo>
                    <a:pt x="61" y="32"/>
                  </a:lnTo>
                  <a:lnTo>
                    <a:pt x="76" y="37"/>
                  </a:lnTo>
                  <a:lnTo>
                    <a:pt x="91" y="45"/>
                  </a:lnTo>
                  <a:lnTo>
                    <a:pt x="104" y="52"/>
                  </a:lnTo>
                  <a:lnTo>
                    <a:pt x="117" y="62"/>
                  </a:lnTo>
                  <a:lnTo>
                    <a:pt x="129" y="73"/>
                  </a:lnTo>
                  <a:lnTo>
                    <a:pt x="140" y="85"/>
                  </a:lnTo>
                  <a:lnTo>
                    <a:pt x="149" y="96"/>
                  </a:lnTo>
                  <a:lnTo>
                    <a:pt x="157" y="110"/>
                  </a:lnTo>
                  <a:lnTo>
                    <a:pt x="164" y="124"/>
                  </a:lnTo>
                  <a:lnTo>
                    <a:pt x="170" y="139"/>
                  </a:lnTo>
                  <a:lnTo>
                    <a:pt x="174" y="156"/>
                  </a:lnTo>
                  <a:lnTo>
                    <a:pt x="176" y="172"/>
                  </a:lnTo>
                  <a:lnTo>
                    <a:pt x="177" y="188"/>
                  </a:lnTo>
                  <a:lnTo>
                    <a:pt x="178" y="193"/>
                  </a:lnTo>
                  <a:lnTo>
                    <a:pt x="180" y="197"/>
                  </a:lnTo>
                  <a:lnTo>
                    <a:pt x="185" y="200"/>
                  </a:lnTo>
                  <a:lnTo>
                    <a:pt x="190" y="201"/>
                  </a:lnTo>
                  <a:lnTo>
                    <a:pt x="194" y="200"/>
                  </a:lnTo>
                  <a:lnTo>
                    <a:pt x="199" y="197"/>
                  </a:lnTo>
                  <a:lnTo>
                    <a:pt x="202" y="193"/>
                  </a:lnTo>
                  <a:lnTo>
                    <a:pt x="202" y="188"/>
                  </a:lnTo>
                  <a:lnTo>
                    <a:pt x="202" y="168"/>
                  </a:lnTo>
                  <a:lnTo>
                    <a:pt x="199" y="150"/>
                  </a:lnTo>
                  <a:lnTo>
                    <a:pt x="193" y="132"/>
                  </a:lnTo>
                  <a:lnTo>
                    <a:pt x="188" y="115"/>
                  </a:lnTo>
                  <a:lnTo>
                    <a:pt x="179" y="99"/>
                  </a:lnTo>
                  <a:lnTo>
                    <a:pt x="170" y="83"/>
                  </a:lnTo>
                  <a:lnTo>
                    <a:pt x="159" y="69"/>
                  </a:lnTo>
                  <a:lnTo>
                    <a:pt x="147" y="55"/>
                  </a:lnTo>
                  <a:lnTo>
                    <a:pt x="133" y="43"/>
                  </a:lnTo>
                  <a:lnTo>
                    <a:pt x="119" y="32"/>
                  </a:lnTo>
                  <a:lnTo>
                    <a:pt x="103" y="22"/>
                  </a:lnTo>
                  <a:lnTo>
                    <a:pt x="87" y="15"/>
                  </a:lnTo>
                  <a:lnTo>
                    <a:pt x="69" y="8"/>
                  </a:lnTo>
                  <a:lnTo>
                    <a:pt x="52" y="3"/>
                  </a:lnTo>
                  <a:lnTo>
                    <a:pt x="32" y="1"/>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884" name="Freeform 128">
              <a:extLst>
                <a:ext uri="{FF2B5EF4-FFF2-40B4-BE49-F238E27FC236}">
                  <a16:creationId xmlns:a16="http://schemas.microsoft.com/office/drawing/2014/main" id="{BDF033DD-78D5-40AD-BB7A-D4B348B1CC8E}"/>
                </a:ext>
              </a:extLst>
            </p:cNvPr>
            <p:cNvSpPr>
              <a:spLocks/>
            </p:cNvSpPr>
            <p:nvPr/>
          </p:nvSpPr>
          <p:spPr bwMode="auto">
            <a:xfrm>
              <a:off x="1079070" y="4783732"/>
              <a:ext cx="110610" cy="110610"/>
            </a:xfrm>
            <a:custGeom>
              <a:avLst/>
              <a:gdLst>
                <a:gd name="T0" fmla="*/ 8 w 298"/>
                <a:gd name="T1" fmla="*/ 1 h 298"/>
                <a:gd name="T2" fmla="*/ 1 w 298"/>
                <a:gd name="T3" fmla="*/ 8 h 298"/>
                <a:gd name="T4" fmla="*/ 1 w 298"/>
                <a:gd name="T5" fmla="*/ 17 h 298"/>
                <a:gd name="T6" fmla="*/ 8 w 298"/>
                <a:gd name="T7" fmla="*/ 24 h 298"/>
                <a:gd name="T8" fmla="*/ 27 w 298"/>
                <a:gd name="T9" fmla="*/ 26 h 298"/>
                <a:gd name="T10" fmla="*/ 53 w 298"/>
                <a:gd name="T11" fmla="*/ 28 h 298"/>
                <a:gd name="T12" fmla="*/ 78 w 298"/>
                <a:gd name="T13" fmla="*/ 33 h 298"/>
                <a:gd name="T14" fmla="*/ 102 w 298"/>
                <a:gd name="T15" fmla="*/ 41 h 298"/>
                <a:gd name="T16" fmla="*/ 126 w 298"/>
                <a:gd name="T17" fmla="*/ 51 h 298"/>
                <a:gd name="T18" fmla="*/ 148 w 298"/>
                <a:gd name="T19" fmla="*/ 64 h 298"/>
                <a:gd name="T20" fmla="*/ 169 w 298"/>
                <a:gd name="T21" fmla="*/ 78 h 298"/>
                <a:gd name="T22" fmla="*/ 188 w 298"/>
                <a:gd name="T23" fmla="*/ 94 h 298"/>
                <a:gd name="T24" fmla="*/ 205 w 298"/>
                <a:gd name="T25" fmla="*/ 111 h 298"/>
                <a:gd name="T26" fmla="*/ 221 w 298"/>
                <a:gd name="T27" fmla="*/ 130 h 298"/>
                <a:gd name="T28" fmla="*/ 235 w 298"/>
                <a:gd name="T29" fmla="*/ 151 h 298"/>
                <a:gd name="T30" fmla="*/ 248 w 298"/>
                <a:gd name="T31" fmla="*/ 173 h 298"/>
                <a:gd name="T32" fmla="*/ 258 w 298"/>
                <a:gd name="T33" fmla="*/ 196 h 298"/>
                <a:gd name="T34" fmla="*/ 265 w 298"/>
                <a:gd name="T35" fmla="*/ 220 h 298"/>
                <a:gd name="T36" fmla="*/ 271 w 298"/>
                <a:gd name="T37" fmla="*/ 246 h 298"/>
                <a:gd name="T38" fmla="*/ 273 w 298"/>
                <a:gd name="T39" fmla="*/ 272 h 298"/>
                <a:gd name="T40" fmla="*/ 274 w 298"/>
                <a:gd name="T41" fmla="*/ 290 h 298"/>
                <a:gd name="T42" fmla="*/ 281 w 298"/>
                <a:gd name="T43" fmla="*/ 297 h 298"/>
                <a:gd name="T44" fmla="*/ 291 w 298"/>
                <a:gd name="T45" fmla="*/ 297 h 298"/>
                <a:gd name="T46" fmla="*/ 297 w 298"/>
                <a:gd name="T47" fmla="*/ 290 h 298"/>
                <a:gd name="T48" fmla="*/ 298 w 298"/>
                <a:gd name="T49" fmla="*/ 271 h 298"/>
                <a:gd name="T50" fmla="*/ 295 w 298"/>
                <a:gd name="T51" fmla="*/ 242 h 298"/>
                <a:gd name="T52" fmla="*/ 290 w 298"/>
                <a:gd name="T53" fmla="*/ 214 h 298"/>
                <a:gd name="T54" fmla="*/ 281 w 298"/>
                <a:gd name="T55" fmla="*/ 187 h 298"/>
                <a:gd name="T56" fmla="*/ 271 w 298"/>
                <a:gd name="T57" fmla="*/ 162 h 298"/>
                <a:gd name="T58" fmla="*/ 258 w 298"/>
                <a:gd name="T59" fmla="*/ 138 h 298"/>
                <a:gd name="T60" fmla="*/ 242 w 298"/>
                <a:gd name="T61" fmla="*/ 115 h 298"/>
                <a:gd name="T62" fmla="*/ 224 w 298"/>
                <a:gd name="T63" fmla="*/ 94 h 298"/>
                <a:gd name="T64" fmla="*/ 205 w 298"/>
                <a:gd name="T65" fmla="*/ 74 h 298"/>
                <a:gd name="T66" fmla="*/ 184 w 298"/>
                <a:gd name="T67" fmla="*/ 57 h 298"/>
                <a:gd name="T68" fmla="*/ 161 w 298"/>
                <a:gd name="T69" fmla="*/ 41 h 298"/>
                <a:gd name="T70" fmla="*/ 136 w 298"/>
                <a:gd name="T71" fmla="*/ 28 h 298"/>
                <a:gd name="T72" fmla="*/ 111 w 298"/>
                <a:gd name="T73" fmla="*/ 17 h 298"/>
                <a:gd name="T74" fmla="*/ 85 w 298"/>
                <a:gd name="T75" fmla="*/ 9 h 298"/>
                <a:gd name="T76" fmla="*/ 57 w 298"/>
                <a:gd name="T77" fmla="*/ 3 h 298"/>
                <a:gd name="T78" fmla="*/ 28 w 298"/>
                <a:gd name="T7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8" h="298">
                  <a:moveTo>
                    <a:pt x="13" y="0"/>
                  </a:moveTo>
                  <a:lnTo>
                    <a:pt x="8" y="1"/>
                  </a:lnTo>
                  <a:lnTo>
                    <a:pt x="4" y="3"/>
                  </a:lnTo>
                  <a:lnTo>
                    <a:pt x="1" y="8"/>
                  </a:lnTo>
                  <a:lnTo>
                    <a:pt x="0" y="13"/>
                  </a:lnTo>
                  <a:lnTo>
                    <a:pt x="1" y="17"/>
                  </a:lnTo>
                  <a:lnTo>
                    <a:pt x="4" y="22"/>
                  </a:lnTo>
                  <a:lnTo>
                    <a:pt x="8" y="24"/>
                  </a:lnTo>
                  <a:lnTo>
                    <a:pt x="13" y="25"/>
                  </a:lnTo>
                  <a:lnTo>
                    <a:pt x="27" y="26"/>
                  </a:lnTo>
                  <a:lnTo>
                    <a:pt x="40" y="27"/>
                  </a:lnTo>
                  <a:lnTo>
                    <a:pt x="53" y="28"/>
                  </a:lnTo>
                  <a:lnTo>
                    <a:pt x="65" y="30"/>
                  </a:lnTo>
                  <a:lnTo>
                    <a:pt x="78" y="33"/>
                  </a:lnTo>
                  <a:lnTo>
                    <a:pt x="90" y="37"/>
                  </a:lnTo>
                  <a:lnTo>
                    <a:pt x="102" y="41"/>
                  </a:lnTo>
                  <a:lnTo>
                    <a:pt x="114" y="46"/>
                  </a:lnTo>
                  <a:lnTo>
                    <a:pt x="126" y="51"/>
                  </a:lnTo>
                  <a:lnTo>
                    <a:pt x="137" y="57"/>
                  </a:lnTo>
                  <a:lnTo>
                    <a:pt x="148" y="64"/>
                  </a:lnTo>
                  <a:lnTo>
                    <a:pt x="159" y="70"/>
                  </a:lnTo>
                  <a:lnTo>
                    <a:pt x="169" y="78"/>
                  </a:lnTo>
                  <a:lnTo>
                    <a:pt x="178" y="85"/>
                  </a:lnTo>
                  <a:lnTo>
                    <a:pt x="188" y="94"/>
                  </a:lnTo>
                  <a:lnTo>
                    <a:pt x="196" y="102"/>
                  </a:lnTo>
                  <a:lnTo>
                    <a:pt x="205" y="111"/>
                  </a:lnTo>
                  <a:lnTo>
                    <a:pt x="214" y="120"/>
                  </a:lnTo>
                  <a:lnTo>
                    <a:pt x="221" y="130"/>
                  </a:lnTo>
                  <a:lnTo>
                    <a:pt x="229" y="140"/>
                  </a:lnTo>
                  <a:lnTo>
                    <a:pt x="235" y="151"/>
                  </a:lnTo>
                  <a:lnTo>
                    <a:pt x="242" y="161"/>
                  </a:lnTo>
                  <a:lnTo>
                    <a:pt x="248" y="173"/>
                  </a:lnTo>
                  <a:lnTo>
                    <a:pt x="252" y="185"/>
                  </a:lnTo>
                  <a:lnTo>
                    <a:pt x="258" y="196"/>
                  </a:lnTo>
                  <a:lnTo>
                    <a:pt x="262" y="208"/>
                  </a:lnTo>
                  <a:lnTo>
                    <a:pt x="265" y="220"/>
                  </a:lnTo>
                  <a:lnTo>
                    <a:pt x="268" y="233"/>
                  </a:lnTo>
                  <a:lnTo>
                    <a:pt x="271" y="246"/>
                  </a:lnTo>
                  <a:lnTo>
                    <a:pt x="272" y="259"/>
                  </a:lnTo>
                  <a:lnTo>
                    <a:pt x="273" y="272"/>
                  </a:lnTo>
                  <a:lnTo>
                    <a:pt x="273" y="285"/>
                  </a:lnTo>
                  <a:lnTo>
                    <a:pt x="274" y="290"/>
                  </a:lnTo>
                  <a:lnTo>
                    <a:pt x="277" y="294"/>
                  </a:lnTo>
                  <a:lnTo>
                    <a:pt x="281" y="297"/>
                  </a:lnTo>
                  <a:lnTo>
                    <a:pt x="286" y="298"/>
                  </a:lnTo>
                  <a:lnTo>
                    <a:pt x="291" y="297"/>
                  </a:lnTo>
                  <a:lnTo>
                    <a:pt x="295" y="294"/>
                  </a:lnTo>
                  <a:lnTo>
                    <a:pt x="297" y="290"/>
                  </a:lnTo>
                  <a:lnTo>
                    <a:pt x="298" y="285"/>
                  </a:lnTo>
                  <a:lnTo>
                    <a:pt x="298" y="271"/>
                  </a:lnTo>
                  <a:lnTo>
                    <a:pt x="297" y="256"/>
                  </a:lnTo>
                  <a:lnTo>
                    <a:pt x="295" y="242"/>
                  </a:lnTo>
                  <a:lnTo>
                    <a:pt x="293" y="228"/>
                  </a:lnTo>
                  <a:lnTo>
                    <a:pt x="290" y="214"/>
                  </a:lnTo>
                  <a:lnTo>
                    <a:pt x="286" y="201"/>
                  </a:lnTo>
                  <a:lnTo>
                    <a:pt x="281" y="187"/>
                  </a:lnTo>
                  <a:lnTo>
                    <a:pt x="276" y="174"/>
                  </a:lnTo>
                  <a:lnTo>
                    <a:pt x="271" y="162"/>
                  </a:lnTo>
                  <a:lnTo>
                    <a:pt x="264" y="149"/>
                  </a:lnTo>
                  <a:lnTo>
                    <a:pt x="258" y="138"/>
                  </a:lnTo>
                  <a:lnTo>
                    <a:pt x="250" y="126"/>
                  </a:lnTo>
                  <a:lnTo>
                    <a:pt x="242" y="115"/>
                  </a:lnTo>
                  <a:lnTo>
                    <a:pt x="233" y="104"/>
                  </a:lnTo>
                  <a:lnTo>
                    <a:pt x="224" y="94"/>
                  </a:lnTo>
                  <a:lnTo>
                    <a:pt x="215" y="84"/>
                  </a:lnTo>
                  <a:lnTo>
                    <a:pt x="205" y="74"/>
                  </a:lnTo>
                  <a:lnTo>
                    <a:pt x="194" y="66"/>
                  </a:lnTo>
                  <a:lnTo>
                    <a:pt x="184" y="57"/>
                  </a:lnTo>
                  <a:lnTo>
                    <a:pt x="173" y="49"/>
                  </a:lnTo>
                  <a:lnTo>
                    <a:pt x="161" y="41"/>
                  </a:lnTo>
                  <a:lnTo>
                    <a:pt x="149" y="35"/>
                  </a:lnTo>
                  <a:lnTo>
                    <a:pt x="136" y="28"/>
                  </a:lnTo>
                  <a:lnTo>
                    <a:pt x="125" y="23"/>
                  </a:lnTo>
                  <a:lnTo>
                    <a:pt x="111" y="17"/>
                  </a:lnTo>
                  <a:lnTo>
                    <a:pt x="98" y="13"/>
                  </a:lnTo>
                  <a:lnTo>
                    <a:pt x="85" y="9"/>
                  </a:lnTo>
                  <a:lnTo>
                    <a:pt x="71" y="6"/>
                  </a:lnTo>
                  <a:lnTo>
                    <a:pt x="57" y="3"/>
                  </a:lnTo>
                  <a:lnTo>
                    <a:pt x="42" y="1"/>
                  </a:lnTo>
                  <a:lnTo>
                    <a:pt x="28"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804" name="Group 40">
            <a:extLst>
              <a:ext uri="{FF2B5EF4-FFF2-40B4-BE49-F238E27FC236}">
                <a16:creationId xmlns:a16="http://schemas.microsoft.com/office/drawing/2014/main" id="{B7714746-045A-40AC-9403-1966042B1B1A}"/>
              </a:ext>
            </a:extLst>
          </p:cNvPr>
          <p:cNvGrpSpPr>
            <a:grpSpLocks noChangeAspect="1"/>
          </p:cNvGrpSpPr>
          <p:nvPr/>
        </p:nvGrpSpPr>
        <p:grpSpPr>
          <a:xfrm>
            <a:off x="3639260" y="3801969"/>
            <a:ext cx="328608" cy="285619"/>
            <a:chOff x="3540125" y="4483101"/>
            <a:chExt cx="715963" cy="622300"/>
          </a:xfrm>
          <a:solidFill>
            <a:schemeClr val="bg1"/>
          </a:solidFill>
          <a:effectLst/>
        </p:grpSpPr>
        <p:sp>
          <p:nvSpPr>
            <p:cNvPr id="805" name="Freeform 213">
              <a:extLst>
                <a:ext uri="{FF2B5EF4-FFF2-40B4-BE49-F238E27FC236}">
                  <a16:creationId xmlns:a16="http://schemas.microsoft.com/office/drawing/2014/main" id="{03ABD534-0065-4E2F-888F-A1D39FBC71F0}"/>
                </a:ext>
              </a:extLst>
            </p:cNvPr>
            <p:cNvSpPr>
              <a:spLocks/>
            </p:cNvSpPr>
            <p:nvPr/>
          </p:nvSpPr>
          <p:spPr bwMode="auto">
            <a:xfrm>
              <a:off x="3540125" y="4483101"/>
              <a:ext cx="676275" cy="622300"/>
            </a:xfrm>
            <a:custGeom>
              <a:avLst/>
              <a:gdLst>
                <a:gd name="T0" fmla="*/ 1280 w 1280"/>
                <a:gd name="T1" fmla="*/ 1176 h 1176"/>
                <a:gd name="T2" fmla="*/ 0 w 1280"/>
                <a:gd name="T3" fmla="*/ 1176 h 1176"/>
                <a:gd name="T4" fmla="*/ 0 w 1280"/>
                <a:gd name="T5" fmla="*/ 0 h 1176"/>
                <a:gd name="T6" fmla="*/ 52 w 1280"/>
                <a:gd name="T7" fmla="*/ 0 h 1176"/>
                <a:gd name="T8" fmla="*/ 52 w 1280"/>
                <a:gd name="T9" fmla="*/ 1123 h 1176"/>
                <a:gd name="T10" fmla="*/ 1280 w 1280"/>
                <a:gd name="T11" fmla="*/ 1123 h 1176"/>
                <a:gd name="T12" fmla="*/ 1280 w 1280"/>
                <a:gd name="T13" fmla="*/ 1176 h 1176"/>
              </a:gdLst>
              <a:ahLst/>
              <a:cxnLst>
                <a:cxn ang="0">
                  <a:pos x="T0" y="T1"/>
                </a:cxn>
                <a:cxn ang="0">
                  <a:pos x="T2" y="T3"/>
                </a:cxn>
                <a:cxn ang="0">
                  <a:pos x="T4" y="T5"/>
                </a:cxn>
                <a:cxn ang="0">
                  <a:pos x="T6" y="T7"/>
                </a:cxn>
                <a:cxn ang="0">
                  <a:pos x="T8" y="T9"/>
                </a:cxn>
                <a:cxn ang="0">
                  <a:pos x="T10" y="T11"/>
                </a:cxn>
                <a:cxn ang="0">
                  <a:pos x="T12" y="T13"/>
                </a:cxn>
              </a:cxnLst>
              <a:rect l="0" t="0" r="r" b="b"/>
              <a:pathLst>
                <a:path w="1280" h="1176">
                  <a:moveTo>
                    <a:pt x="1280" y="1176"/>
                  </a:moveTo>
                  <a:lnTo>
                    <a:pt x="0" y="1176"/>
                  </a:lnTo>
                  <a:lnTo>
                    <a:pt x="0" y="0"/>
                  </a:lnTo>
                  <a:lnTo>
                    <a:pt x="52" y="0"/>
                  </a:lnTo>
                  <a:lnTo>
                    <a:pt x="52" y="1123"/>
                  </a:lnTo>
                  <a:lnTo>
                    <a:pt x="1280" y="1123"/>
                  </a:lnTo>
                  <a:lnTo>
                    <a:pt x="1280" y="1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228">
              <a:extLst>
                <a:ext uri="{FF2B5EF4-FFF2-40B4-BE49-F238E27FC236}">
                  <a16:creationId xmlns:a16="http://schemas.microsoft.com/office/drawing/2014/main" id="{5A41F013-A5E3-47DE-9AD8-E1DCD09D725C}"/>
                </a:ext>
              </a:extLst>
            </p:cNvPr>
            <p:cNvSpPr>
              <a:spLocks/>
            </p:cNvSpPr>
            <p:nvPr/>
          </p:nvSpPr>
          <p:spPr bwMode="auto">
            <a:xfrm>
              <a:off x="3549650" y="4560888"/>
              <a:ext cx="706438" cy="354013"/>
            </a:xfrm>
            <a:custGeom>
              <a:avLst/>
              <a:gdLst>
                <a:gd name="T0" fmla="*/ 539 w 1335"/>
                <a:gd name="T1" fmla="*/ 671 h 671"/>
                <a:gd name="T2" fmla="*/ 265 w 1335"/>
                <a:gd name="T3" fmla="*/ 562 h 671"/>
                <a:gd name="T4" fmla="*/ 11 w 1335"/>
                <a:gd name="T5" fmla="*/ 612 h 671"/>
                <a:gd name="T6" fmla="*/ 0 w 1335"/>
                <a:gd name="T7" fmla="*/ 562 h 671"/>
                <a:gd name="T8" fmla="*/ 269 w 1335"/>
                <a:gd name="T9" fmla="*/ 507 h 671"/>
                <a:gd name="T10" fmla="*/ 517 w 1335"/>
                <a:gd name="T11" fmla="*/ 607 h 671"/>
                <a:gd name="T12" fmla="*/ 782 w 1335"/>
                <a:gd name="T13" fmla="*/ 185 h 671"/>
                <a:gd name="T14" fmla="*/ 1093 w 1335"/>
                <a:gd name="T15" fmla="*/ 392 h 671"/>
                <a:gd name="T16" fmla="*/ 1289 w 1335"/>
                <a:gd name="T17" fmla="*/ 0 h 671"/>
                <a:gd name="T18" fmla="*/ 1335 w 1335"/>
                <a:gd name="T19" fmla="*/ 23 h 671"/>
                <a:gd name="T20" fmla="*/ 1113 w 1335"/>
                <a:gd name="T21" fmla="*/ 468 h 671"/>
                <a:gd name="T22" fmla="*/ 798 w 1335"/>
                <a:gd name="T23" fmla="*/ 258 h 671"/>
                <a:gd name="T24" fmla="*/ 539 w 1335"/>
                <a:gd name="T25"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5" h="671">
                  <a:moveTo>
                    <a:pt x="539" y="671"/>
                  </a:moveTo>
                  <a:lnTo>
                    <a:pt x="265" y="562"/>
                  </a:lnTo>
                  <a:lnTo>
                    <a:pt x="11" y="612"/>
                  </a:lnTo>
                  <a:lnTo>
                    <a:pt x="0" y="562"/>
                  </a:lnTo>
                  <a:lnTo>
                    <a:pt x="269" y="507"/>
                  </a:lnTo>
                  <a:lnTo>
                    <a:pt x="517" y="607"/>
                  </a:lnTo>
                  <a:lnTo>
                    <a:pt x="782" y="185"/>
                  </a:lnTo>
                  <a:lnTo>
                    <a:pt x="1093" y="392"/>
                  </a:lnTo>
                  <a:lnTo>
                    <a:pt x="1289" y="0"/>
                  </a:lnTo>
                  <a:lnTo>
                    <a:pt x="1335" y="23"/>
                  </a:lnTo>
                  <a:lnTo>
                    <a:pt x="1113" y="468"/>
                  </a:lnTo>
                  <a:lnTo>
                    <a:pt x="798" y="258"/>
                  </a:lnTo>
                  <a:lnTo>
                    <a:pt x="539" y="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229">
              <a:extLst>
                <a:ext uri="{FF2B5EF4-FFF2-40B4-BE49-F238E27FC236}">
                  <a16:creationId xmlns:a16="http://schemas.microsoft.com/office/drawing/2014/main" id="{391D6F67-4711-49C5-B92E-7E616CCC942B}"/>
                </a:ext>
              </a:extLst>
            </p:cNvPr>
            <p:cNvSpPr>
              <a:spLocks/>
            </p:cNvSpPr>
            <p:nvPr/>
          </p:nvSpPr>
          <p:spPr bwMode="auto">
            <a:xfrm>
              <a:off x="3546475" y="4660901"/>
              <a:ext cx="698500" cy="169863"/>
            </a:xfrm>
            <a:custGeom>
              <a:avLst/>
              <a:gdLst>
                <a:gd name="T0" fmla="*/ 803 w 1319"/>
                <a:gd name="T1" fmla="*/ 321 h 321"/>
                <a:gd name="T2" fmla="*/ 524 w 1319"/>
                <a:gd name="T3" fmla="*/ 265 h 321"/>
                <a:gd name="T4" fmla="*/ 272 w 1319"/>
                <a:gd name="T5" fmla="*/ 63 h 321"/>
                <a:gd name="T6" fmla="*/ 26 w 1319"/>
                <a:gd name="T7" fmla="*/ 212 h 321"/>
                <a:gd name="T8" fmla="*/ 0 w 1319"/>
                <a:gd name="T9" fmla="*/ 167 h 321"/>
                <a:gd name="T10" fmla="*/ 276 w 1319"/>
                <a:gd name="T11" fmla="*/ 0 h 321"/>
                <a:gd name="T12" fmla="*/ 547 w 1319"/>
                <a:gd name="T13" fmla="*/ 217 h 321"/>
                <a:gd name="T14" fmla="*/ 789 w 1319"/>
                <a:gd name="T15" fmla="*/ 265 h 321"/>
                <a:gd name="T16" fmla="*/ 1100 w 1319"/>
                <a:gd name="T17" fmla="*/ 6 h 321"/>
                <a:gd name="T18" fmla="*/ 1319 w 1319"/>
                <a:gd name="T19" fmla="*/ 6 h 321"/>
                <a:gd name="T20" fmla="*/ 1319 w 1319"/>
                <a:gd name="T21" fmla="*/ 58 h 321"/>
                <a:gd name="T22" fmla="*/ 1119 w 1319"/>
                <a:gd name="T23" fmla="*/ 58 h 321"/>
                <a:gd name="T24" fmla="*/ 803 w 1319"/>
                <a:gd name="T25"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9" h="321">
                  <a:moveTo>
                    <a:pt x="803" y="321"/>
                  </a:moveTo>
                  <a:lnTo>
                    <a:pt x="524" y="265"/>
                  </a:lnTo>
                  <a:lnTo>
                    <a:pt x="272" y="63"/>
                  </a:lnTo>
                  <a:lnTo>
                    <a:pt x="26" y="212"/>
                  </a:lnTo>
                  <a:lnTo>
                    <a:pt x="0" y="167"/>
                  </a:lnTo>
                  <a:lnTo>
                    <a:pt x="276" y="0"/>
                  </a:lnTo>
                  <a:lnTo>
                    <a:pt x="547" y="217"/>
                  </a:lnTo>
                  <a:lnTo>
                    <a:pt x="789" y="265"/>
                  </a:lnTo>
                  <a:lnTo>
                    <a:pt x="1100" y="6"/>
                  </a:lnTo>
                  <a:lnTo>
                    <a:pt x="1319" y="6"/>
                  </a:lnTo>
                  <a:lnTo>
                    <a:pt x="1319" y="58"/>
                  </a:lnTo>
                  <a:lnTo>
                    <a:pt x="1119" y="58"/>
                  </a:lnTo>
                  <a:lnTo>
                    <a:pt x="803"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1" name="Group 24">
            <a:extLst>
              <a:ext uri="{FF2B5EF4-FFF2-40B4-BE49-F238E27FC236}">
                <a16:creationId xmlns:a16="http://schemas.microsoft.com/office/drawing/2014/main" id="{4B695691-17CB-42D5-99D2-F7BA07544C6E}"/>
              </a:ext>
            </a:extLst>
          </p:cNvPr>
          <p:cNvGrpSpPr>
            <a:grpSpLocks noChangeAspect="1"/>
          </p:cNvGrpSpPr>
          <p:nvPr/>
        </p:nvGrpSpPr>
        <p:grpSpPr>
          <a:xfrm>
            <a:off x="3660755" y="5956111"/>
            <a:ext cx="285619" cy="285619"/>
            <a:chOff x="7587897" y="2506555"/>
            <a:chExt cx="287091" cy="287091"/>
          </a:xfrm>
          <a:solidFill>
            <a:schemeClr val="bg1"/>
          </a:solidFill>
          <a:effectLst/>
        </p:grpSpPr>
        <p:sp>
          <p:nvSpPr>
            <p:cNvPr id="1213" name="Freeform 331">
              <a:extLst>
                <a:ext uri="{FF2B5EF4-FFF2-40B4-BE49-F238E27FC236}">
                  <a16:creationId xmlns:a16="http://schemas.microsoft.com/office/drawing/2014/main" id="{6B5C108A-7DCC-484C-8A00-4BA174AC94D3}"/>
                </a:ext>
              </a:extLst>
            </p:cNvPr>
            <p:cNvSpPr>
              <a:spLocks noEditPoints="1"/>
            </p:cNvSpPr>
            <p:nvPr/>
          </p:nvSpPr>
          <p:spPr bwMode="auto">
            <a:xfrm>
              <a:off x="7587897" y="2506555"/>
              <a:ext cx="287091" cy="287091"/>
            </a:xfrm>
            <a:custGeom>
              <a:avLst/>
              <a:gdLst>
                <a:gd name="T0" fmla="*/ 378 w 933"/>
                <a:gd name="T1" fmla="*/ 892 h 932"/>
                <a:gd name="T2" fmla="*/ 277 w 933"/>
                <a:gd name="T3" fmla="*/ 858 h 932"/>
                <a:gd name="T4" fmla="*/ 189 w 933"/>
                <a:gd name="T5" fmla="*/ 802 h 932"/>
                <a:gd name="T6" fmla="*/ 117 w 933"/>
                <a:gd name="T7" fmla="*/ 727 h 932"/>
                <a:gd name="T8" fmla="*/ 65 w 933"/>
                <a:gd name="T9" fmla="*/ 636 h 932"/>
                <a:gd name="T10" fmla="*/ 36 w 933"/>
                <a:gd name="T11" fmla="*/ 532 h 932"/>
                <a:gd name="T12" fmla="*/ 33 w 933"/>
                <a:gd name="T13" fmla="*/ 421 h 932"/>
                <a:gd name="T14" fmla="*/ 57 w 933"/>
                <a:gd name="T15" fmla="*/ 317 h 932"/>
                <a:gd name="T16" fmla="*/ 105 w 933"/>
                <a:gd name="T17" fmla="*/ 224 h 932"/>
                <a:gd name="T18" fmla="*/ 174 w 933"/>
                <a:gd name="T19" fmla="*/ 145 h 932"/>
                <a:gd name="T20" fmla="*/ 258 w 933"/>
                <a:gd name="T21" fmla="*/ 84 h 932"/>
                <a:gd name="T22" fmla="*/ 357 w 933"/>
                <a:gd name="T23" fmla="*/ 45 h 932"/>
                <a:gd name="T24" fmla="*/ 466 w 933"/>
                <a:gd name="T25" fmla="*/ 31 h 932"/>
                <a:gd name="T26" fmla="*/ 575 w 933"/>
                <a:gd name="T27" fmla="*/ 45 h 932"/>
                <a:gd name="T28" fmla="*/ 673 w 933"/>
                <a:gd name="T29" fmla="*/ 84 h 932"/>
                <a:gd name="T30" fmla="*/ 758 w 933"/>
                <a:gd name="T31" fmla="*/ 145 h 932"/>
                <a:gd name="T32" fmla="*/ 827 w 933"/>
                <a:gd name="T33" fmla="*/ 224 h 932"/>
                <a:gd name="T34" fmla="*/ 875 w 933"/>
                <a:gd name="T35" fmla="*/ 317 h 932"/>
                <a:gd name="T36" fmla="*/ 899 w 933"/>
                <a:gd name="T37" fmla="*/ 421 h 932"/>
                <a:gd name="T38" fmla="*/ 896 w 933"/>
                <a:gd name="T39" fmla="*/ 532 h 932"/>
                <a:gd name="T40" fmla="*/ 867 w 933"/>
                <a:gd name="T41" fmla="*/ 636 h 932"/>
                <a:gd name="T42" fmla="*/ 815 w 933"/>
                <a:gd name="T43" fmla="*/ 727 h 932"/>
                <a:gd name="T44" fmla="*/ 743 w 933"/>
                <a:gd name="T45" fmla="*/ 802 h 932"/>
                <a:gd name="T46" fmla="*/ 655 w 933"/>
                <a:gd name="T47" fmla="*/ 858 h 932"/>
                <a:gd name="T48" fmla="*/ 554 w 933"/>
                <a:gd name="T49" fmla="*/ 892 h 932"/>
                <a:gd name="T50" fmla="*/ 466 w 933"/>
                <a:gd name="T51" fmla="*/ 0 h 932"/>
                <a:gd name="T52" fmla="*/ 349 w 933"/>
                <a:gd name="T53" fmla="*/ 15 h 932"/>
                <a:gd name="T54" fmla="*/ 244 w 933"/>
                <a:gd name="T55" fmla="*/ 56 h 932"/>
                <a:gd name="T56" fmla="*/ 153 w 933"/>
                <a:gd name="T57" fmla="*/ 121 h 932"/>
                <a:gd name="T58" fmla="*/ 80 w 933"/>
                <a:gd name="T59" fmla="*/ 206 h 932"/>
                <a:gd name="T60" fmla="*/ 28 w 933"/>
                <a:gd name="T61" fmla="*/ 306 h 932"/>
                <a:gd name="T62" fmla="*/ 2 w 933"/>
                <a:gd name="T63" fmla="*/ 419 h 932"/>
                <a:gd name="T64" fmla="*/ 5 w 933"/>
                <a:gd name="T65" fmla="*/ 537 h 932"/>
                <a:gd name="T66" fmla="*/ 36 w 933"/>
                <a:gd name="T67" fmla="*/ 648 h 932"/>
                <a:gd name="T68" fmla="*/ 93 w 933"/>
                <a:gd name="T69" fmla="*/ 745 h 932"/>
                <a:gd name="T70" fmla="*/ 169 w 933"/>
                <a:gd name="T71" fmla="*/ 826 h 932"/>
                <a:gd name="T72" fmla="*/ 264 w 933"/>
                <a:gd name="T73" fmla="*/ 887 h 932"/>
                <a:gd name="T74" fmla="*/ 372 w 933"/>
                <a:gd name="T75" fmla="*/ 924 h 932"/>
                <a:gd name="T76" fmla="*/ 489 w 933"/>
                <a:gd name="T77" fmla="*/ 932 h 932"/>
                <a:gd name="T78" fmla="*/ 605 w 933"/>
                <a:gd name="T79" fmla="*/ 911 h 932"/>
                <a:gd name="T80" fmla="*/ 707 w 933"/>
                <a:gd name="T81" fmla="*/ 865 h 932"/>
                <a:gd name="T82" fmla="*/ 795 w 933"/>
                <a:gd name="T83" fmla="*/ 796 h 932"/>
                <a:gd name="T84" fmla="*/ 865 w 933"/>
                <a:gd name="T85" fmla="*/ 708 h 932"/>
                <a:gd name="T86" fmla="*/ 912 w 933"/>
                <a:gd name="T87" fmla="*/ 605 h 932"/>
                <a:gd name="T88" fmla="*/ 932 w 933"/>
                <a:gd name="T89" fmla="*/ 490 h 932"/>
                <a:gd name="T90" fmla="*/ 923 w 933"/>
                <a:gd name="T91" fmla="*/ 372 h 932"/>
                <a:gd name="T92" fmla="*/ 886 w 933"/>
                <a:gd name="T93" fmla="*/ 265 h 932"/>
                <a:gd name="T94" fmla="*/ 826 w 933"/>
                <a:gd name="T95" fmla="*/ 170 h 932"/>
                <a:gd name="T96" fmla="*/ 745 w 933"/>
                <a:gd name="T97" fmla="*/ 92 h 932"/>
                <a:gd name="T98" fmla="*/ 647 w 933"/>
                <a:gd name="T99" fmla="*/ 37 h 932"/>
                <a:gd name="T100" fmla="*/ 537 w 933"/>
                <a:gd name="T101" fmla="*/ 6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3" h="932">
                  <a:moveTo>
                    <a:pt x="466" y="901"/>
                  </a:moveTo>
                  <a:lnTo>
                    <a:pt x="444" y="901"/>
                  </a:lnTo>
                  <a:lnTo>
                    <a:pt x="422" y="899"/>
                  </a:lnTo>
                  <a:lnTo>
                    <a:pt x="399" y="897"/>
                  </a:lnTo>
                  <a:lnTo>
                    <a:pt x="378" y="892"/>
                  </a:lnTo>
                  <a:lnTo>
                    <a:pt x="357" y="888"/>
                  </a:lnTo>
                  <a:lnTo>
                    <a:pt x="337" y="881"/>
                  </a:lnTo>
                  <a:lnTo>
                    <a:pt x="316" y="875"/>
                  </a:lnTo>
                  <a:lnTo>
                    <a:pt x="297" y="867"/>
                  </a:lnTo>
                  <a:lnTo>
                    <a:pt x="277" y="858"/>
                  </a:lnTo>
                  <a:lnTo>
                    <a:pt x="258" y="849"/>
                  </a:lnTo>
                  <a:lnTo>
                    <a:pt x="241" y="838"/>
                  </a:lnTo>
                  <a:lnTo>
                    <a:pt x="223" y="827"/>
                  </a:lnTo>
                  <a:lnTo>
                    <a:pt x="206" y="815"/>
                  </a:lnTo>
                  <a:lnTo>
                    <a:pt x="189" y="802"/>
                  </a:lnTo>
                  <a:lnTo>
                    <a:pt x="174" y="788"/>
                  </a:lnTo>
                  <a:lnTo>
                    <a:pt x="158" y="774"/>
                  </a:lnTo>
                  <a:lnTo>
                    <a:pt x="144" y="759"/>
                  </a:lnTo>
                  <a:lnTo>
                    <a:pt x="131" y="742"/>
                  </a:lnTo>
                  <a:lnTo>
                    <a:pt x="117" y="727"/>
                  </a:lnTo>
                  <a:lnTo>
                    <a:pt x="105" y="709"/>
                  </a:lnTo>
                  <a:lnTo>
                    <a:pt x="94" y="691"/>
                  </a:lnTo>
                  <a:lnTo>
                    <a:pt x="84" y="674"/>
                  </a:lnTo>
                  <a:lnTo>
                    <a:pt x="74" y="655"/>
                  </a:lnTo>
                  <a:lnTo>
                    <a:pt x="65" y="636"/>
                  </a:lnTo>
                  <a:lnTo>
                    <a:pt x="57" y="616"/>
                  </a:lnTo>
                  <a:lnTo>
                    <a:pt x="51" y="596"/>
                  </a:lnTo>
                  <a:lnTo>
                    <a:pt x="45" y="575"/>
                  </a:lnTo>
                  <a:lnTo>
                    <a:pt x="40" y="554"/>
                  </a:lnTo>
                  <a:lnTo>
                    <a:pt x="36" y="532"/>
                  </a:lnTo>
                  <a:lnTo>
                    <a:pt x="33" y="510"/>
                  </a:lnTo>
                  <a:lnTo>
                    <a:pt x="32" y="489"/>
                  </a:lnTo>
                  <a:lnTo>
                    <a:pt x="31" y="466"/>
                  </a:lnTo>
                  <a:lnTo>
                    <a:pt x="32" y="444"/>
                  </a:lnTo>
                  <a:lnTo>
                    <a:pt x="33" y="421"/>
                  </a:lnTo>
                  <a:lnTo>
                    <a:pt x="36" y="400"/>
                  </a:lnTo>
                  <a:lnTo>
                    <a:pt x="40" y="379"/>
                  </a:lnTo>
                  <a:lnTo>
                    <a:pt x="45" y="358"/>
                  </a:lnTo>
                  <a:lnTo>
                    <a:pt x="51" y="337"/>
                  </a:lnTo>
                  <a:lnTo>
                    <a:pt x="57" y="317"/>
                  </a:lnTo>
                  <a:lnTo>
                    <a:pt x="65" y="297"/>
                  </a:lnTo>
                  <a:lnTo>
                    <a:pt x="74" y="278"/>
                  </a:lnTo>
                  <a:lnTo>
                    <a:pt x="84" y="259"/>
                  </a:lnTo>
                  <a:lnTo>
                    <a:pt x="94" y="240"/>
                  </a:lnTo>
                  <a:lnTo>
                    <a:pt x="105" y="224"/>
                  </a:lnTo>
                  <a:lnTo>
                    <a:pt x="117" y="206"/>
                  </a:lnTo>
                  <a:lnTo>
                    <a:pt x="131" y="189"/>
                  </a:lnTo>
                  <a:lnTo>
                    <a:pt x="144" y="174"/>
                  </a:lnTo>
                  <a:lnTo>
                    <a:pt x="158" y="159"/>
                  </a:lnTo>
                  <a:lnTo>
                    <a:pt x="174" y="145"/>
                  </a:lnTo>
                  <a:lnTo>
                    <a:pt x="189" y="130"/>
                  </a:lnTo>
                  <a:lnTo>
                    <a:pt x="206" y="118"/>
                  </a:lnTo>
                  <a:lnTo>
                    <a:pt x="223" y="106"/>
                  </a:lnTo>
                  <a:lnTo>
                    <a:pt x="241" y="95"/>
                  </a:lnTo>
                  <a:lnTo>
                    <a:pt x="258" y="84"/>
                  </a:lnTo>
                  <a:lnTo>
                    <a:pt x="277" y="74"/>
                  </a:lnTo>
                  <a:lnTo>
                    <a:pt x="297" y="66"/>
                  </a:lnTo>
                  <a:lnTo>
                    <a:pt x="316" y="58"/>
                  </a:lnTo>
                  <a:lnTo>
                    <a:pt x="337" y="50"/>
                  </a:lnTo>
                  <a:lnTo>
                    <a:pt x="357" y="45"/>
                  </a:lnTo>
                  <a:lnTo>
                    <a:pt x="378" y="40"/>
                  </a:lnTo>
                  <a:lnTo>
                    <a:pt x="399" y="36"/>
                  </a:lnTo>
                  <a:lnTo>
                    <a:pt x="422" y="34"/>
                  </a:lnTo>
                  <a:lnTo>
                    <a:pt x="444" y="31"/>
                  </a:lnTo>
                  <a:lnTo>
                    <a:pt x="466" y="31"/>
                  </a:lnTo>
                  <a:lnTo>
                    <a:pt x="488" y="31"/>
                  </a:lnTo>
                  <a:lnTo>
                    <a:pt x="511" y="34"/>
                  </a:lnTo>
                  <a:lnTo>
                    <a:pt x="532" y="36"/>
                  </a:lnTo>
                  <a:lnTo>
                    <a:pt x="554" y="40"/>
                  </a:lnTo>
                  <a:lnTo>
                    <a:pt x="575" y="45"/>
                  </a:lnTo>
                  <a:lnTo>
                    <a:pt x="595" y="50"/>
                  </a:lnTo>
                  <a:lnTo>
                    <a:pt x="615" y="58"/>
                  </a:lnTo>
                  <a:lnTo>
                    <a:pt x="635" y="66"/>
                  </a:lnTo>
                  <a:lnTo>
                    <a:pt x="655" y="74"/>
                  </a:lnTo>
                  <a:lnTo>
                    <a:pt x="673" y="84"/>
                  </a:lnTo>
                  <a:lnTo>
                    <a:pt x="692" y="95"/>
                  </a:lnTo>
                  <a:lnTo>
                    <a:pt x="709" y="106"/>
                  </a:lnTo>
                  <a:lnTo>
                    <a:pt x="726" y="118"/>
                  </a:lnTo>
                  <a:lnTo>
                    <a:pt x="743" y="130"/>
                  </a:lnTo>
                  <a:lnTo>
                    <a:pt x="758" y="145"/>
                  </a:lnTo>
                  <a:lnTo>
                    <a:pt x="774" y="159"/>
                  </a:lnTo>
                  <a:lnTo>
                    <a:pt x="788" y="174"/>
                  </a:lnTo>
                  <a:lnTo>
                    <a:pt x="802" y="189"/>
                  </a:lnTo>
                  <a:lnTo>
                    <a:pt x="815" y="206"/>
                  </a:lnTo>
                  <a:lnTo>
                    <a:pt x="827" y="224"/>
                  </a:lnTo>
                  <a:lnTo>
                    <a:pt x="838" y="240"/>
                  </a:lnTo>
                  <a:lnTo>
                    <a:pt x="848" y="259"/>
                  </a:lnTo>
                  <a:lnTo>
                    <a:pt x="858" y="278"/>
                  </a:lnTo>
                  <a:lnTo>
                    <a:pt x="867" y="297"/>
                  </a:lnTo>
                  <a:lnTo>
                    <a:pt x="875" y="317"/>
                  </a:lnTo>
                  <a:lnTo>
                    <a:pt x="882" y="337"/>
                  </a:lnTo>
                  <a:lnTo>
                    <a:pt x="887" y="358"/>
                  </a:lnTo>
                  <a:lnTo>
                    <a:pt x="893" y="379"/>
                  </a:lnTo>
                  <a:lnTo>
                    <a:pt x="896" y="400"/>
                  </a:lnTo>
                  <a:lnTo>
                    <a:pt x="899" y="421"/>
                  </a:lnTo>
                  <a:lnTo>
                    <a:pt x="901" y="444"/>
                  </a:lnTo>
                  <a:lnTo>
                    <a:pt x="902" y="466"/>
                  </a:lnTo>
                  <a:lnTo>
                    <a:pt x="901" y="489"/>
                  </a:lnTo>
                  <a:lnTo>
                    <a:pt x="899" y="510"/>
                  </a:lnTo>
                  <a:lnTo>
                    <a:pt x="896" y="532"/>
                  </a:lnTo>
                  <a:lnTo>
                    <a:pt x="893" y="554"/>
                  </a:lnTo>
                  <a:lnTo>
                    <a:pt x="887" y="575"/>
                  </a:lnTo>
                  <a:lnTo>
                    <a:pt x="882" y="596"/>
                  </a:lnTo>
                  <a:lnTo>
                    <a:pt x="875" y="616"/>
                  </a:lnTo>
                  <a:lnTo>
                    <a:pt x="867" y="636"/>
                  </a:lnTo>
                  <a:lnTo>
                    <a:pt x="858" y="655"/>
                  </a:lnTo>
                  <a:lnTo>
                    <a:pt x="848" y="674"/>
                  </a:lnTo>
                  <a:lnTo>
                    <a:pt x="838" y="691"/>
                  </a:lnTo>
                  <a:lnTo>
                    <a:pt x="827" y="709"/>
                  </a:lnTo>
                  <a:lnTo>
                    <a:pt x="815" y="727"/>
                  </a:lnTo>
                  <a:lnTo>
                    <a:pt x="802" y="742"/>
                  </a:lnTo>
                  <a:lnTo>
                    <a:pt x="788" y="759"/>
                  </a:lnTo>
                  <a:lnTo>
                    <a:pt x="774" y="774"/>
                  </a:lnTo>
                  <a:lnTo>
                    <a:pt x="758" y="788"/>
                  </a:lnTo>
                  <a:lnTo>
                    <a:pt x="743" y="802"/>
                  </a:lnTo>
                  <a:lnTo>
                    <a:pt x="726" y="815"/>
                  </a:lnTo>
                  <a:lnTo>
                    <a:pt x="709" y="827"/>
                  </a:lnTo>
                  <a:lnTo>
                    <a:pt x="692" y="838"/>
                  </a:lnTo>
                  <a:lnTo>
                    <a:pt x="673" y="849"/>
                  </a:lnTo>
                  <a:lnTo>
                    <a:pt x="655" y="858"/>
                  </a:lnTo>
                  <a:lnTo>
                    <a:pt x="635" y="867"/>
                  </a:lnTo>
                  <a:lnTo>
                    <a:pt x="615" y="875"/>
                  </a:lnTo>
                  <a:lnTo>
                    <a:pt x="595" y="881"/>
                  </a:lnTo>
                  <a:lnTo>
                    <a:pt x="575" y="888"/>
                  </a:lnTo>
                  <a:lnTo>
                    <a:pt x="554" y="892"/>
                  </a:lnTo>
                  <a:lnTo>
                    <a:pt x="532" y="897"/>
                  </a:lnTo>
                  <a:lnTo>
                    <a:pt x="511" y="899"/>
                  </a:lnTo>
                  <a:lnTo>
                    <a:pt x="488" y="901"/>
                  </a:lnTo>
                  <a:lnTo>
                    <a:pt x="466" y="901"/>
                  </a:lnTo>
                  <a:close/>
                  <a:moveTo>
                    <a:pt x="466" y="0"/>
                  </a:moveTo>
                  <a:lnTo>
                    <a:pt x="442" y="0"/>
                  </a:lnTo>
                  <a:lnTo>
                    <a:pt x="418" y="2"/>
                  </a:lnTo>
                  <a:lnTo>
                    <a:pt x="395" y="6"/>
                  </a:lnTo>
                  <a:lnTo>
                    <a:pt x="372" y="9"/>
                  </a:lnTo>
                  <a:lnTo>
                    <a:pt x="349" y="15"/>
                  </a:lnTo>
                  <a:lnTo>
                    <a:pt x="327" y="21"/>
                  </a:lnTo>
                  <a:lnTo>
                    <a:pt x="306" y="28"/>
                  </a:lnTo>
                  <a:lnTo>
                    <a:pt x="285" y="37"/>
                  </a:lnTo>
                  <a:lnTo>
                    <a:pt x="264" y="46"/>
                  </a:lnTo>
                  <a:lnTo>
                    <a:pt x="244" y="56"/>
                  </a:lnTo>
                  <a:lnTo>
                    <a:pt x="224" y="68"/>
                  </a:lnTo>
                  <a:lnTo>
                    <a:pt x="205" y="79"/>
                  </a:lnTo>
                  <a:lnTo>
                    <a:pt x="187" y="92"/>
                  </a:lnTo>
                  <a:lnTo>
                    <a:pt x="169" y="107"/>
                  </a:lnTo>
                  <a:lnTo>
                    <a:pt x="153" y="121"/>
                  </a:lnTo>
                  <a:lnTo>
                    <a:pt x="136" y="137"/>
                  </a:lnTo>
                  <a:lnTo>
                    <a:pt x="121" y="152"/>
                  </a:lnTo>
                  <a:lnTo>
                    <a:pt x="106" y="170"/>
                  </a:lnTo>
                  <a:lnTo>
                    <a:pt x="93" y="187"/>
                  </a:lnTo>
                  <a:lnTo>
                    <a:pt x="80" y="206"/>
                  </a:lnTo>
                  <a:lnTo>
                    <a:pt x="67" y="225"/>
                  </a:lnTo>
                  <a:lnTo>
                    <a:pt x="56" y="245"/>
                  </a:lnTo>
                  <a:lnTo>
                    <a:pt x="46" y="265"/>
                  </a:lnTo>
                  <a:lnTo>
                    <a:pt x="36" y="285"/>
                  </a:lnTo>
                  <a:lnTo>
                    <a:pt x="28" y="306"/>
                  </a:lnTo>
                  <a:lnTo>
                    <a:pt x="21" y="328"/>
                  </a:lnTo>
                  <a:lnTo>
                    <a:pt x="14" y="350"/>
                  </a:lnTo>
                  <a:lnTo>
                    <a:pt x="10" y="372"/>
                  </a:lnTo>
                  <a:lnTo>
                    <a:pt x="5" y="396"/>
                  </a:lnTo>
                  <a:lnTo>
                    <a:pt x="2" y="419"/>
                  </a:lnTo>
                  <a:lnTo>
                    <a:pt x="1" y="442"/>
                  </a:lnTo>
                  <a:lnTo>
                    <a:pt x="0" y="466"/>
                  </a:lnTo>
                  <a:lnTo>
                    <a:pt x="1" y="490"/>
                  </a:lnTo>
                  <a:lnTo>
                    <a:pt x="2" y="514"/>
                  </a:lnTo>
                  <a:lnTo>
                    <a:pt x="5" y="537"/>
                  </a:lnTo>
                  <a:lnTo>
                    <a:pt x="10" y="560"/>
                  </a:lnTo>
                  <a:lnTo>
                    <a:pt x="14" y="582"/>
                  </a:lnTo>
                  <a:lnTo>
                    <a:pt x="21" y="605"/>
                  </a:lnTo>
                  <a:lnTo>
                    <a:pt x="28" y="627"/>
                  </a:lnTo>
                  <a:lnTo>
                    <a:pt x="36" y="648"/>
                  </a:lnTo>
                  <a:lnTo>
                    <a:pt x="46" y="668"/>
                  </a:lnTo>
                  <a:lnTo>
                    <a:pt x="56" y="688"/>
                  </a:lnTo>
                  <a:lnTo>
                    <a:pt x="67" y="708"/>
                  </a:lnTo>
                  <a:lnTo>
                    <a:pt x="80" y="727"/>
                  </a:lnTo>
                  <a:lnTo>
                    <a:pt x="93" y="745"/>
                  </a:lnTo>
                  <a:lnTo>
                    <a:pt x="106" y="762"/>
                  </a:lnTo>
                  <a:lnTo>
                    <a:pt x="121" y="779"/>
                  </a:lnTo>
                  <a:lnTo>
                    <a:pt x="136" y="796"/>
                  </a:lnTo>
                  <a:lnTo>
                    <a:pt x="153" y="811"/>
                  </a:lnTo>
                  <a:lnTo>
                    <a:pt x="169" y="826"/>
                  </a:lnTo>
                  <a:lnTo>
                    <a:pt x="187" y="840"/>
                  </a:lnTo>
                  <a:lnTo>
                    <a:pt x="205" y="852"/>
                  </a:lnTo>
                  <a:lnTo>
                    <a:pt x="224" y="865"/>
                  </a:lnTo>
                  <a:lnTo>
                    <a:pt x="244" y="876"/>
                  </a:lnTo>
                  <a:lnTo>
                    <a:pt x="264" y="887"/>
                  </a:lnTo>
                  <a:lnTo>
                    <a:pt x="285" y="896"/>
                  </a:lnTo>
                  <a:lnTo>
                    <a:pt x="306" y="905"/>
                  </a:lnTo>
                  <a:lnTo>
                    <a:pt x="327" y="911"/>
                  </a:lnTo>
                  <a:lnTo>
                    <a:pt x="349" y="918"/>
                  </a:lnTo>
                  <a:lnTo>
                    <a:pt x="372" y="924"/>
                  </a:lnTo>
                  <a:lnTo>
                    <a:pt x="395" y="927"/>
                  </a:lnTo>
                  <a:lnTo>
                    <a:pt x="418" y="930"/>
                  </a:lnTo>
                  <a:lnTo>
                    <a:pt x="442" y="932"/>
                  </a:lnTo>
                  <a:lnTo>
                    <a:pt x="466" y="932"/>
                  </a:lnTo>
                  <a:lnTo>
                    <a:pt x="489" y="932"/>
                  </a:lnTo>
                  <a:lnTo>
                    <a:pt x="514" y="930"/>
                  </a:lnTo>
                  <a:lnTo>
                    <a:pt x="537" y="927"/>
                  </a:lnTo>
                  <a:lnTo>
                    <a:pt x="559" y="924"/>
                  </a:lnTo>
                  <a:lnTo>
                    <a:pt x="583" y="918"/>
                  </a:lnTo>
                  <a:lnTo>
                    <a:pt x="605" y="911"/>
                  </a:lnTo>
                  <a:lnTo>
                    <a:pt x="626" y="905"/>
                  </a:lnTo>
                  <a:lnTo>
                    <a:pt x="647" y="896"/>
                  </a:lnTo>
                  <a:lnTo>
                    <a:pt x="668" y="887"/>
                  </a:lnTo>
                  <a:lnTo>
                    <a:pt x="688" y="876"/>
                  </a:lnTo>
                  <a:lnTo>
                    <a:pt x="707" y="865"/>
                  </a:lnTo>
                  <a:lnTo>
                    <a:pt x="726" y="852"/>
                  </a:lnTo>
                  <a:lnTo>
                    <a:pt x="745" y="840"/>
                  </a:lnTo>
                  <a:lnTo>
                    <a:pt x="763" y="826"/>
                  </a:lnTo>
                  <a:lnTo>
                    <a:pt x="779" y="811"/>
                  </a:lnTo>
                  <a:lnTo>
                    <a:pt x="795" y="796"/>
                  </a:lnTo>
                  <a:lnTo>
                    <a:pt x="811" y="779"/>
                  </a:lnTo>
                  <a:lnTo>
                    <a:pt x="826" y="762"/>
                  </a:lnTo>
                  <a:lnTo>
                    <a:pt x="839" y="745"/>
                  </a:lnTo>
                  <a:lnTo>
                    <a:pt x="853" y="727"/>
                  </a:lnTo>
                  <a:lnTo>
                    <a:pt x="865" y="708"/>
                  </a:lnTo>
                  <a:lnTo>
                    <a:pt x="876" y="688"/>
                  </a:lnTo>
                  <a:lnTo>
                    <a:pt x="886" y="668"/>
                  </a:lnTo>
                  <a:lnTo>
                    <a:pt x="896" y="648"/>
                  </a:lnTo>
                  <a:lnTo>
                    <a:pt x="904" y="627"/>
                  </a:lnTo>
                  <a:lnTo>
                    <a:pt x="912" y="605"/>
                  </a:lnTo>
                  <a:lnTo>
                    <a:pt x="917" y="582"/>
                  </a:lnTo>
                  <a:lnTo>
                    <a:pt x="923" y="560"/>
                  </a:lnTo>
                  <a:lnTo>
                    <a:pt x="927" y="537"/>
                  </a:lnTo>
                  <a:lnTo>
                    <a:pt x="929" y="514"/>
                  </a:lnTo>
                  <a:lnTo>
                    <a:pt x="932" y="490"/>
                  </a:lnTo>
                  <a:lnTo>
                    <a:pt x="933" y="466"/>
                  </a:lnTo>
                  <a:lnTo>
                    <a:pt x="932" y="442"/>
                  </a:lnTo>
                  <a:lnTo>
                    <a:pt x="929" y="419"/>
                  </a:lnTo>
                  <a:lnTo>
                    <a:pt x="927" y="396"/>
                  </a:lnTo>
                  <a:lnTo>
                    <a:pt x="923" y="372"/>
                  </a:lnTo>
                  <a:lnTo>
                    <a:pt x="917" y="350"/>
                  </a:lnTo>
                  <a:lnTo>
                    <a:pt x="912" y="328"/>
                  </a:lnTo>
                  <a:lnTo>
                    <a:pt x="904" y="306"/>
                  </a:lnTo>
                  <a:lnTo>
                    <a:pt x="896" y="285"/>
                  </a:lnTo>
                  <a:lnTo>
                    <a:pt x="886" y="265"/>
                  </a:lnTo>
                  <a:lnTo>
                    <a:pt x="876" y="245"/>
                  </a:lnTo>
                  <a:lnTo>
                    <a:pt x="865" y="225"/>
                  </a:lnTo>
                  <a:lnTo>
                    <a:pt x="853" y="206"/>
                  </a:lnTo>
                  <a:lnTo>
                    <a:pt x="839" y="187"/>
                  </a:lnTo>
                  <a:lnTo>
                    <a:pt x="826" y="170"/>
                  </a:lnTo>
                  <a:lnTo>
                    <a:pt x="811" y="152"/>
                  </a:lnTo>
                  <a:lnTo>
                    <a:pt x="795" y="137"/>
                  </a:lnTo>
                  <a:lnTo>
                    <a:pt x="779" y="121"/>
                  </a:lnTo>
                  <a:lnTo>
                    <a:pt x="763" y="107"/>
                  </a:lnTo>
                  <a:lnTo>
                    <a:pt x="745" y="92"/>
                  </a:lnTo>
                  <a:lnTo>
                    <a:pt x="726" y="80"/>
                  </a:lnTo>
                  <a:lnTo>
                    <a:pt x="707" y="68"/>
                  </a:lnTo>
                  <a:lnTo>
                    <a:pt x="688" y="56"/>
                  </a:lnTo>
                  <a:lnTo>
                    <a:pt x="668" y="46"/>
                  </a:lnTo>
                  <a:lnTo>
                    <a:pt x="647" y="37"/>
                  </a:lnTo>
                  <a:lnTo>
                    <a:pt x="626" y="28"/>
                  </a:lnTo>
                  <a:lnTo>
                    <a:pt x="605" y="21"/>
                  </a:lnTo>
                  <a:lnTo>
                    <a:pt x="583" y="15"/>
                  </a:lnTo>
                  <a:lnTo>
                    <a:pt x="559" y="9"/>
                  </a:lnTo>
                  <a:lnTo>
                    <a:pt x="537" y="6"/>
                  </a:lnTo>
                  <a:lnTo>
                    <a:pt x="514" y="2"/>
                  </a:lnTo>
                  <a:lnTo>
                    <a:pt x="489" y="0"/>
                  </a:lnTo>
                  <a:lnTo>
                    <a:pt x="4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4" name="Freeform 332">
              <a:extLst>
                <a:ext uri="{FF2B5EF4-FFF2-40B4-BE49-F238E27FC236}">
                  <a16:creationId xmlns:a16="http://schemas.microsoft.com/office/drawing/2014/main" id="{B439F536-088A-4449-B60C-729B948BBE62}"/>
                </a:ext>
              </a:extLst>
            </p:cNvPr>
            <p:cNvSpPr>
              <a:spLocks noEditPoints="1"/>
            </p:cNvSpPr>
            <p:nvPr/>
          </p:nvSpPr>
          <p:spPr bwMode="auto">
            <a:xfrm>
              <a:off x="7684004" y="2591573"/>
              <a:ext cx="38197" cy="124447"/>
            </a:xfrm>
            <a:custGeom>
              <a:avLst/>
              <a:gdLst>
                <a:gd name="T0" fmla="*/ 93 w 124"/>
                <a:gd name="T1" fmla="*/ 373 h 405"/>
                <a:gd name="T2" fmla="*/ 31 w 124"/>
                <a:gd name="T3" fmla="*/ 373 h 405"/>
                <a:gd name="T4" fmla="*/ 31 w 124"/>
                <a:gd name="T5" fmla="*/ 32 h 405"/>
                <a:gd name="T6" fmla="*/ 93 w 124"/>
                <a:gd name="T7" fmla="*/ 32 h 405"/>
                <a:gd name="T8" fmla="*/ 93 w 124"/>
                <a:gd name="T9" fmla="*/ 373 h 405"/>
                <a:gd name="T10" fmla="*/ 108 w 124"/>
                <a:gd name="T11" fmla="*/ 0 h 405"/>
                <a:gd name="T12" fmla="*/ 15 w 124"/>
                <a:gd name="T13" fmla="*/ 0 h 405"/>
                <a:gd name="T14" fmla="*/ 12 w 124"/>
                <a:gd name="T15" fmla="*/ 1 h 405"/>
                <a:gd name="T16" fmla="*/ 10 w 124"/>
                <a:gd name="T17" fmla="*/ 2 h 405"/>
                <a:gd name="T18" fmla="*/ 6 w 124"/>
                <a:gd name="T19" fmla="*/ 3 h 405"/>
                <a:gd name="T20" fmla="*/ 4 w 124"/>
                <a:gd name="T21" fmla="*/ 6 h 405"/>
                <a:gd name="T22" fmla="*/ 2 w 124"/>
                <a:gd name="T23" fmla="*/ 8 h 405"/>
                <a:gd name="T24" fmla="*/ 1 w 124"/>
                <a:gd name="T25" fmla="*/ 10 h 405"/>
                <a:gd name="T26" fmla="*/ 0 w 124"/>
                <a:gd name="T27" fmla="*/ 13 h 405"/>
                <a:gd name="T28" fmla="*/ 0 w 124"/>
                <a:gd name="T29" fmla="*/ 17 h 405"/>
                <a:gd name="T30" fmla="*/ 0 w 124"/>
                <a:gd name="T31" fmla="*/ 389 h 405"/>
                <a:gd name="T32" fmla="*/ 0 w 124"/>
                <a:gd name="T33" fmla="*/ 392 h 405"/>
                <a:gd name="T34" fmla="*/ 1 w 124"/>
                <a:gd name="T35" fmla="*/ 396 h 405"/>
                <a:gd name="T36" fmla="*/ 2 w 124"/>
                <a:gd name="T37" fmla="*/ 398 h 405"/>
                <a:gd name="T38" fmla="*/ 4 w 124"/>
                <a:gd name="T39" fmla="*/ 400 h 405"/>
                <a:gd name="T40" fmla="*/ 6 w 124"/>
                <a:gd name="T41" fmla="*/ 402 h 405"/>
                <a:gd name="T42" fmla="*/ 10 w 124"/>
                <a:gd name="T43" fmla="*/ 403 h 405"/>
                <a:gd name="T44" fmla="*/ 12 w 124"/>
                <a:gd name="T45" fmla="*/ 405 h 405"/>
                <a:gd name="T46" fmla="*/ 15 w 124"/>
                <a:gd name="T47" fmla="*/ 405 h 405"/>
                <a:gd name="T48" fmla="*/ 108 w 124"/>
                <a:gd name="T49" fmla="*/ 405 h 405"/>
                <a:gd name="T50" fmla="*/ 112 w 124"/>
                <a:gd name="T51" fmla="*/ 405 h 405"/>
                <a:gd name="T52" fmla="*/ 114 w 124"/>
                <a:gd name="T53" fmla="*/ 403 h 405"/>
                <a:gd name="T54" fmla="*/ 117 w 124"/>
                <a:gd name="T55" fmla="*/ 402 h 405"/>
                <a:gd name="T56" fmla="*/ 120 w 124"/>
                <a:gd name="T57" fmla="*/ 400 h 405"/>
                <a:gd name="T58" fmla="*/ 122 w 124"/>
                <a:gd name="T59" fmla="*/ 398 h 405"/>
                <a:gd name="T60" fmla="*/ 123 w 124"/>
                <a:gd name="T61" fmla="*/ 396 h 405"/>
                <a:gd name="T62" fmla="*/ 124 w 124"/>
                <a:gd name="T63" fmla="*/ 392 h 405"/>
                <a:gd name="T64" fmla="*/ 124 w 124"/>
                <a:gd name="T65" fmla="*/ 389 h 405"/>
                <a:gd name="T66" fmla="*/ 124 w 124"/>
                <a:gd name="T67" fmla="*/ 17 h 405"/>
                <a:gd name="T68" fmla="*/ 124 w 124"/>
                <a:gd name="T69" fmla="*/ 13 h 405"/>
                <a:gd name="T70" fmla="*/ 123 w 124"/>
                <a:gd name="T71" fmla="*/ 10 h 405"/>
                <a:gd name="T72" fmla="*/ 122 w 124"/>
                <a:gd name="T73" fmla="*/ 8 h 405"/>
                <a:gd name="T74" fmla="*/ 120 w 124"/>
                <a:gd name="T75" fmla="*/ 6 h 405"/>
                <a:gd name="T76" fmla="*/ 117 w 124"/>
                <a:gd name="T77" fmla="*/ 3 h 405"/>
                <a:gd name="T78" fmla="*/ 114 w 124"/>
                <a:gd name="T79" fmla="*/ 2 h 405"/>
                <a:gd name="T80" fmla="*/ 112 w 124"/>
                <a:gd name="T81" fmla="*/ 1 h 405"/>
                <a:gd name="T82" fmla="*/ 108 w 124"/>
                <a:gd name="T83"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4" h="405">
                  <a:moveTo>
                    <a:pt x="93" y="373"/>
                  </a:moveTo>
                  <a:lnTo>
                    <a:pt x="31" y="373"/>
                  </a:lnTo>
                  <a:lnTo>
                    <a:pt x="31" y="32"/>
                  </a:lnTo>
                  <a:lnTo>
                    <a:pt x="93" y="32"/>
                  </a:lnTo>
                  <a:lnTo>
                    <a:pt x="93" y="373"/>
                  </a:lnTo>
                  <a:close/>
                  <a:moveTo>
                    <a:pt x="108" y="0"/>
                  </a:moveTo>
                  <a:lnTo>
                    <a:pt x="15" y="0"/>
                  </a:lnTo>
                  <a:lnTo>
                    <a:pt x="12" y="1"/>
                  </a:lnTo>
                  <a:lnTo>
                    <a:pt x="10" y="2"/>
                  </a:lnTo>
                  <a:lnTo>
                    <a:pt x="6" y="3"/>
                  </a:lnTo>
                  <a:lnTo>
                    <a:pt x="4" y="6"/>
                  </a:lnTo>
                  <a:lnTo>
                    <a:pt x="2" y="8"/>
                  </a:lnTo>
                  <a:lnTo>
                    <a:pt x="1" y="10"/>
                  </a:lnTo>
                  <a:lnTo>
                    <a:pt x="0" y="13"/>
                  </a:lnTo>
                  <a:lnTo>
                    <a:pt x="0" y="17"/>
                  </a:lnTo>
                  <a:lnTo>
                    <a:pt x="0" y="389"/>
                  </a:lnTo>
                  <a:lnTo>
                    <a:pt x="0" y="392"/>
                  </a:lnTo>
                  <a:lnTo>
                    <a:pt x="1" y="396"/>
                  </a:lnTo>
                  <a:lnTo>
                    <a:pt x="2" y="398"/>
                  </a:lnTo>
                  <a:lnTo>
                    <a:pt x="4" y="400"/>
                  </a:lnTo>
                  <a:lnTo>
                    <a:pt x="6" y="402"/>
                  </a:lnTo>
                  <a:lnTo>
                    <a:pt x="10" y="403"/>
                  </a:lnTo>
                  <a:lnTo>
                    <a:pt x="12" y="405"/>
                  </a:lnTo>
                  <a:lnTo>
                    <a:pt x="15" y="405"/>
                  </a:lnTo>
                  <a:lnTo>
                    <a:pt x="108" y="405"/>
                  </a:lnTo>
                  <a:lnTo>
                    <a:pt x="112" y="405"/>
                  </a:lnTo>
                  <a:lnTo>
                    <a:pt x="114" y="403"/>
                  </a:lnTo>
                  <a:lnTo>
                    <a:pt x="117" y="402"/>
                  </a:lnTo>
                  <a:lnTo>
                    <a:pt x="120" y="400"/>
                  </a:lnTo>
                  <a:lnTo>
                    <a:pt x="122" y="398"/>
                  </a:lnTo>
                  <a:lnTo>
                    <a:pt x="123" y="396"/>
                  </a:lnTo>
                  <a:lnTo>
                    <a:pt x="124" y="392"/>
                  </a:lnTo>
                  <a:lnTo>
                    <a:pt x="124" y="389"/>
                  </a:lnTo>
                  <a:lnTo>
                    <a:pt x="124" y="17"/>
                  </a:lnTo>
                  <a:lnTo>
                    <a:pt x="124" y="13"/>
                  </a:lnTo>
                  <a:lnTo>
                    <a:pt x="123" y="10"/>
                  </a:lnTo>
                  <a:lnTo>
                    <a:pt x="122" y="8"/>
                  </a:lnTo>
                  <a:lnTo>
                    <a:pt x="120" y="6"/>
                  </a:lnTo>
                  <a:lnTo>
                    <a:pt x="117" y="3"/>
                  </a:lnTo>
                  <a:lnTo>
                    <a:pt x="114" y="2"/>
                  </a:lnTo>
                  <a:lnTo>
                    <a:pt x="112" y="1"/>
                  </a:lnTo>
                  <a:lnTo>
                    <a:pt x="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215" name="Freeform 333">
              <a:extLst>
                <a:ext uri="{FF2B5EF4-FFF2-40B4-BE49-F238E27FC236}">
                  <a16:creationId xmlns:a16="http://schemas.microsoft.com/office/drawing/2014/main" id="{24624C56-8178-423A-BB8B-97E6E897AE6F}"/>
                </a:ext>
              </a:extLst>
            </p:cNvPr>
            <p:cNvSpPr>
              <a:spLocks noEditPoints="1"/>
            </p:cNvSpPr>
            <p:nvPr/>
          </p:nvSpPr>
          <p:spPr bwMode="auto">
            <a:xfrm>
              <a:off x="7741915" y="2591573"/>
              <a:ext cx="38197" cy="124447"/>
            </a:xfrm>
            <a:custGeom>
              <a:avLst/>
              <a:gdLst>
                <a:gd name="T0" fmla="*/ 94 w 125"/>
                <a:gd name="T1" fmla="*/ 373 h 405"/>
                <a:gd name="T2" fmla="*/ 31 w 125"/>
                <a:gd name="T3" fmla="*/ 373 h 405"/>
                <a:gd name="T4" fmla="*/ 31 w 125"/>
                <a:gd name="T5" fmla="*/ 32 h 405"/>
                <a:gd name="T6" fmla="*/ 94 w 125"/>
                <a:gd name="T7" fmla="*/ 32 h 405"/>
                <a:gd name="T8" fmla="*/ 94 w 125"/>
                <a:gd name="T9" fmla="*/ 373 h 405"/>
                <a:gd name="T10" fmla="*/ 109 w 125"/>
                <a:gd name="T11" fmla="*/ 0 h 405"/>
                <a:gd name="T12" fmla="*/ 16 w 125"/>
                <a:gd name="T13" fmla="*/ 0 h 405"/>
                <a:gd name="T14" fmla="*/ 12 w 125"/>
                <a:gd name="T15" fmla="*/ 1 h 405"/>
                <a:gd name="T16" fmla="*/ 9 w 125"/>
                <a:gd name="T17" fmla="*/ 2 h 405"/>
                <a:gd name="T18" fmla="*/ 7 w 125"/>
                <a:gd name="T19" fmla="*/ 3 h 405"/>
                <a:gd name="T20" fmla="*/ 5 w 125"/>
                <a:gd name="T21" fmla="*/ 6 h 405"/>
                <a:gd name="T22" fmla="*/ 2 w 125"/>
                <a:gd name="T23" fmla="*/ 8 h 405"/>
                <a:gd name="T24" fmla="*/ 1 w 125"/>
                <a:gd name="T25" fmla="*/ 10 h 405"/>
                <a:gd name="T26" fmla="*/ 0 w 125"/>
                <a:gd name="T27" fmla="*/ 13 h 405"/>
                <a:gd name="T28" fmla="*/ 0 w 125"/>
                <a:gd name="T29" fmla="*/ 17 h 405"/>
                <a:gd name="T30" fmla="*/ 0 w 125"/>
                <a:gd name="T31" fmla="*/ 389 h 405"/>
                <a:gd name="T32" fmla="*/ 0 w 125"/>
                <a:gd name="T33" fmla="*/ 392 h 405"/>
                <a:gd name="T34" fmla="*/ 1 w 125"/>
                <a:gd name="T35" fmla="*/ 396 h 405"/>
                <a:gd name="T36" fmla="*/ 2 w 125"/>
                <a:gd name="T37" fmla="*/ 398 h 405"/>
                <a:gd name="T38" fmla="*/ 5 w 125"/>
                <a:gd name="T39" fmla="*/ 400 h 405"/>
                <a:gd name="T40" fmla="*/ 7 w 125"/>
                <a:gd name="T41" fmla="*/ 402 h 405"/>
                <a:gd name="T42" fmla="*/ 9 w 125"/>
                <a:gd name="T43" fmla="*/ 403 h 405"/>
                <a:gd name="T44" fmla="*/ 12 w 125"/>
                <a:gd name="T45" fmla="*/ 405 h 405"/>
                <a:gd name="T46" fmla="*/ 16 w 125"/>
                <a:gd name="T47" fmla="*/ 405 h 405"/>
                <a:gd name="T48" fmla="*/ 109 w 125"/>
                <a:gd name="T49" fmla="*/ 405 h 405"/>
                <a:gd name="T50" fmla="*/ 112 w 125"/>
                <a:gd name="T51" fmla="*/ 405 h 405"/>
                <a:gd name="T52" fmla="*/ 115 w 125"/>
                <a:gd name="T53" fmla="*/ 403 h 405"/>
                <a:gd name="T54" fmla="*/ 118 w 125"/>
                <a:gd name="T55" fmla="*/ 402 h 405"/>
                <a:gd name="T56" fmla="*/ 120 w 125"/>
                <a:gd name="T57" fmla="*/ 400 h 405"/>
                <a:gd name="T58" fmla="*/ 121 w 125"/>
                <a:gd name="T59" fmla="*/ 398 h 405"/>
                <a:gd name="T60" fmla="*/ 124 w 125"/>
                <a:gd name="T61" fmla="*/ 396 h 405"/>
                <a:gd name="T62" fmla="*/ 124 w 125"/>
                <a:gd name="T63" fmla="*/ 392 h 405"/>
                <a:gd name="T64" fmla="*/ 125 w 125"/>
                <a:gd name="T65" fmla="*/ 389 h 405"/>
                <a:gd name="T66" fmla="*/ 125 w 125"/>
                <a:gd name="T67" fmla="*/ 17 h 405"/>
                <a:gd name="T68" fmla="*/ 124 w 125"/>
                <a:gd name="T69" fmla="*/ 13 h 405"/>
                <a:gd name="T70" fmla="*/ 124 w 125"/>
                <a:gd name="T71" fmla="*/ 10 h 405"/>
                <a:gd name="T72" fmla="*/ 121 w 125"/>
                <a:gd name="T73" fmla="*/ 8 h 405"/>
                <a:gd name="T74" fmla="*/ 120 w 125"/>
                <a:gd name="T75" fmla="*/ 6 h 405"/>
                <a:gd name="T76" fmla="*/ 118 w 125"/>
                <a:gd name="T77" fmla="*/ 3 h 405"/>
                <a:gd name="T78" fmla="*/ 115 w 125"/>
                <a:gd name="T79" fmla="*/ 2 h 405"/>
                <a:gd name="T80" fmla="*/ 112 w 125"/>
                <a:gd name="T81" fmla="*/ 1 h 405"/>
                <a:gd name="T82" fmla="*/ 109 w 125"/>
                <a:gd name="T83"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405">
                  <a:moveTo>
                    <a:pt x="94" y="373"/>
                  </a:moveTo>
                  <a:lnTo>
                    <a:pt x="31" y="373"/>
                  </a:lnTo>
                  <a:lnTo>
                    <a:pt x="31" y="32"/>
                  </a:lnTo>
                  <a:lnTo>
                    <a:pt x="94" y="32"/>
                  </a:lnTo>
                  <a:lnTo>
                    <a:pt x="94" y="373"/>
                  </a:lnTo>
                  <a:close/>
                  <a:moveTo>
                    <a:pt x="109" y="0"/>
                  </a:moveTo>
                  <a:lnTo>
                    <a:pt x="16" y="0"/>
                  </a:lnTo>
                  <a:lnTo>
                    <a:pt x="12" y="1"/>
                  </a:lnTo>
                  <a:lnTo>
                    <a:pt x="9" y="2"/>
                  </a:lnTo>
                  <a:lnTo>
                    <a:pt x="7" y="3"/>
                  </a:lnTo>
                  <a:lnTo>
                    <a:pt x="5" y="6"/>
                  </a:lnTo>
                  <a:lnTo>
                    <a:pt x="2" y="8"/>
                  </a:lnTo>
                  <a:lnTo>
                    <a:pt x="1" y="10"/>
                  </a:lnTo>
                  <a:lnTo>
                    <a:pt x="0" y="13"/>
                  </a:lnTo>
                  <a:lnTo>
                    <a:pt x="0" y="17"/>
                  </a:lnTo>
                  <a:lnTo>
                    <a:pt x="0" y="389"/>
                  </a:lnTo>
                  <a:lnTo>
                    <a:pt x="0" y="392"/>
                  </a:lnTo>
                  <a:lnTo>
                    <a:pt x="1" y="396"/>
                  </a:lnTo>
                  <a:lnTo>
                    <a:pt x="2" y="398"/>
                  </a:lnTo>
                  <a:lnTo>
                    <a:pt x="5" y="400"/>
                  </a:lnTo>
                  <a:lnTo>
                    <a:pt x="7" y="402"/>
                  </a:lnTo>
                  <a:lnTo>
                    <a:pt x="9" y="403"/>
                  </a:lnTo>
                  <a:lnTo>
                    <a:pt x="12" y="405"/>
                  </a:lnTo>
                  <a:lnTo>
                    <a:pt x="16" y="405"/>
                  </a:lnTo>
                  <a:lnTo>
                    <a:pt x="109" y="405"/>
                  </a:lnTo>
                  <a:lnTo>
                    <a:pt x="112" y="405"/>
                  </a:lnTo>
                  <a:lnTo>
                    <a:pt x="115" y="403"/>
                  </a:lnTo>
                  <a:lnTo>
                    <a:pt x="118" y="402"/>
                  </a:lnTo>
                  <a:lnTo>
                    <a:pt x="120" y="400"/>
                  </a:lnTo>
                  <a:lnTo>
                    <a:pt x="121" y="398"/>
                  </a:lnTo>
                  <a:lnTo>
                    <a:pt x="124" y="396"/>
                  </a:lnTo>
                  <a:lnTo>
                    <a:pt x="124" y="392"/>
                  </a:lnTo>
                  <a:lnTo>
                    <a:pt x="125" y="389"/>
                  </a:lnTo>
                  <a:lnTo>
                    <a:pt x="125" y="17"/>
                  </a:lnTo>
                  <a:lnTo>
                    <a:pt x="124" y="13"/>
                  </a:lnTo>
                  <a:lnTo>
                    <a:pt x="124" y="10"/>
                  </a:lnTo>
                  <a:lnTo>
                    <a:pt x="121" y="8"/>
                  </a:lnTo>
                  <a:lnTo>
                    <a:pt x="120" y="6"/>
                  </a:lnTo>
                  <a:lnTo>
                    <a:pt x="118" y="3"/>
                  </a:lnTo>
                  <a:lnTo>
                    <a:pt x="115" y="2"/>
                  </a:lnTo>
                  <a:lnTo>
                    <a:pt x="112" y="1"/>
                  </a:lnTo>
                  <a:lnTo>
                    <a:pt x="1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406" name="Group 95">
            <a:extLst>
              <a:ext uri="{FF2B5EF4-FFF2-40B4-BE49-F238E27FC236}">
                <a16:creationId xmlns:a16="http://schemas.microsoft.com/office/drawing/2014/main" id="{17026993-D6A2-4FED-9B46-434C6B6810E6}"/>
              </a:ext>
            </a:extLst>
          </p:cNvPr>
          <p:cNvGrpSpPr>
            <a:grpSpLocks noChangeAspect="1"/>
          </p:cNvGrpSpPr>
          <p:nvPr/>
        </p:nvGrpSpPr>
        <p:grpSpPr>
          <a:xfrm>
            <a:off x="1095372" y="2186361"/>
            <a:ext cx="247853" cy="285619"/>
            <a:chOff x="4489450" y="903288"/>
            <a:chExt cx="571500" cy="692151"/>
          </a:xfrm>
          <a:solidFill>
            <a:schemeClr val="bg1"/>
          </a:solidFill>
          <a:effectLst/>
        </p:grpSpPr>
        <p:sp>
          <p:nvSpPr>
            <p:cNvPr id="407" name="Freeform 9">
              <a:extLst>
                <a:ext uri="{FF2B5EF4-FFF2-40B4-BE49-F238E27FC236}">
                  <a16:creationId xmlns:a16="http://schemas.microsoft.com/office/drawing/2014/main" id="{5C9CDEEF-23B1-4CFD-9FC6-E8BCECDEC20E}"/>
                </a:ext>
              </a:extLst>
            </p:cNvPr>
            <p:cNvSpPr>
              <a:spLocks noEditPoints="1"/>
            </p:cNvSpPr>
            <p:nvPr/>
          </p:nvSpPr>
          <p:spPr bwMode="auto">
            <a:xfrm>
              <a:off x="4610100" y="903288"/>
              <a:ext cx="330200" cy="360363"/>
            </a:xfrm>
            <a:custGeom>
              <a:avLst/>
              <a:gdLst>
                <a:gd name="T0" fmla="*/ 271 w 623"/>
                <a:gd name="T1" fmla="*/ 56 h 680"/>
                <a:gd name="T2" fmla="*/ 188 w 623"/>
                <a:gd name="T3" fmla="*/ 86 h 680"/>
                <a:gd name="T4" fmla="*/ 111 w 623"/>
                <a:gd name="T5" fmla="*/ 157 h 680"/>
                <a:gd name="T6" fmla="*/ 64 w 623"/>
                <a:gd name="T7" fmla="*/ 255 h 680"/>
                <a:gd name="T8" fmla="*/ 54 w 623"/>
                <a:gd name="T9" fmla="*/ 369 h 680"/>
                <a:gd name="T10" fmla="*/ 84 w 623"/>
                <a:gd name="T11" fmla="*/ 477 h 680"/>
                <a:gd name="T12" fmla="*/ 146 w 623"/>
                <a:gd name="T13" fmla="*/ 562 h 680"/>
                <a:gd name="T14" fmla="*/ 234 w 623"/>
                <a:gd name="T15" fmla="*/ 613 h 680"/>
                <a:gd name="T16" fmla="*/ 297 w 623"/>
                <a:gd name="T17" fmla="*/ 626 h 680"/>
                <a:gd name="T18" fmla="*/ 350 w 623"/>
                <a:gd name="T19" fmla="*/ 623 h 680"/>
                <a:gd name="T20" fmla="*/ 434 w 623"/>
                <a:gd name="T21" fmla="*/ 592 h 680"/>
                <a:gd name="T22" fmla="*/ 510 w 623"/>
                <a:gd name="T23" fmla="*/ 523 h 680"/>
                <a:gd name="T24" fmla="*/ 558 w 623"/>
                <a:gd name="T25" fmla="*/ 425 h 680"/>
                <a:gd name="T26" fmla="*/ 568 w 623"/>
                <a:gd name="T27" fmla="*/ 311 h 680"/>
                <a:gd name="T28" fmla="*/ 539 w 623"/>
                <a:gd name="T29" fmla="*/ 203 h 680"/>
                <a:gd name="T30" fmla="*/ 476 w 623"/>
                <a:gd name="T31" fmla="*/ 118 h 680"/>
                <a:gd name="T32" fmla="*/ 388 w 623"/>
                <a:gd name="T33" fmla="*/ 65 h 680"/>
                <a:gd name="T34" fmla="*/ 324 w 623"/>
                <a:gd name="T35" fmla="*/ 53 h 680"/>
                <a:gd name="T36" fmla="*/ 280 w 623"/>
                <a:gd name="T37" fmla="*/ 678 h 680"/>
                <a:gd name="T38" fmla="*/ 218 w 623"/>
                <a:gd name="T39" fmla="*/ 664 h 680"/>
                <a:gd name="T40" fmla="*/ 163 w 623"/>
                <a:gd name="T41" fmla="*/ 638 h 680"/>
                <a:gd name="T42" fmla="*/ 113 w 623"/>
                <a:gd name="T43" fmla="*/ 602 h 680"/>
                <a:gd name="T44" fmla="*/ 71 w 623"/>
                <a:gd name="T45" fmla="*/ 556 h 680"/>
                <a:gd name="T46" fmla="*/ 38 w 623"/>
                <a:gd name="T47" fmla="*/ 501 h 680"/>
                <a:gd name="T48" fmla="*/ 13 w 623"/>
                <a:gd name="T49" fmla="*/ 441 h 680"/>
                <a:gd name="T50" fmla="*/ 2 w 623"/>
                <a:gd name="T51" fmla="*/ 374 h 680"/>
                <a:gd name="T52" fmla="*/ 2 w 623"/>
                <a:gd name="T53" fmla="*/ 305 h 680"/>
                <a:gd name="T54" fmla="*/ 13 w 623"/>
                <a:gd name="T55" fmla="*/ 239 h 680"/>
                <a:gd name="T56" fmla="*/ 38 w 623"/>
                <a:gd name="T57" fmla="*/ 179 h 680"/>
                <a:gd name="T58" fmla="*/ 71 w 623"/>
                <a:gd name="T59" fmla="*/ 124 h 680"/>
                <a:gd name="T60" fmla="*/ 113 w 623"/>
                <a:gd name="T61" fmla="*/ 78 h 680"/>
                <a:gd name="T62" fmla="*/ 163 w 623"/>
                <a:gd name="T63" fmla="*/ 42 h 680"/>
                <a:gd name="T64" fmla="*/ 218 w 623"/>
                <a:gd name="T65" fmla="*/ 16 h 680"/>
                <a:gd name="T66" fmla="*/ 280 w 623"/>
                <a:gd name="T67" fmla="*/ 1 h 680"/>
                <a:gd name="T68" fmla="*/ 343 w 623"/>
                <a:gd name="T69" fmla="*/ 1 h 680"/>
                <a:gd name="T70" fmla="*/ 404 w 623"/>
                <a:gd name="T71" fmla="*/ 16 h 680"/>
                <a:gd name="T72" fmla="*/ 458 w 623"/>
                <a:gd name="T73" fmla="*/ 42 h 680"/>
                <a:gd name="T74" fmla="*/ 509 w 623"/>
                <a:gd name="T75" fmla="*/ 78 h 680"/>
                <a:gd name="T76" fmla="*/ 551 w 623"/>
                <a:gd name="T77" fmla="*/ 124 h 680"/>
                <a:gd name="T78" fmla="*/ 585 w 623"/>
                <a:gd name="T79" fmla="*/ 179 h 680"/>
                <a:gd name="T80" fmla="*/ 608 w 623"/>
                <a:gd name="T81" fmla="*/ 239 h 680"/>
                <a:gd name="T82" fmla="*/ 621 w 623"/>
                <a:gd name="T83" fmla="*/ 305 h 680"/>
                <a:gd name="T84" fmla="*/ 621 w 623"/>
                <a:gd name="T85" fmla="*/ 374 h 680"/>
                <a:gd name="T86" fmla="*/ 608 w 623"/>
                <a:gd name="T87" fmla="*/ 441 h 680"/>
                <a:gd name="T88" fmla="*/ 585 w 623"/>
                <a:gd name="T89" fmla="*/ 501 h 680"/>
                <a:gd name="T90" fmla="*/ 551 w 623"/>
                <a:gd name="T91" fmla="*/ 556 h 680"/>
                <a:gd name="T92" fmla="*/ 509 w 623"/>
                <a:gd name="T93" fmla="*/ 602 h 680"/>
                <a:gd name="T94" fmla="*/ 458 w 623"/>
                <a:gd name="T95" fmla="*/ 638 h 680"/>
                <a:gd name="T96" fmla="*/ 404 w 623"/>
                <a:gd name="T97" fmla="*/ 664 h 680"/>
                <a:gd name="T98" fmla="*/ 343 w 623"/>
                <a:gd name="T99" fmla="*/ 678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3" h="680">
                  <a:moveTo>
                    <a:pt x="311" y="52"/>
                  </a:moveTo>
                  <a:lnTo>
                    <a:pt x="297" y="53"/>
                  </a:lnTo>
                  <a:lnTo>
                    <a:pt x="284" y="53"/>
                  </a:lnTo>
                  <a:lnTo>
                    <a:pt x="271" y="56"/>
                  </a:lnTo>
                  <a:lnTo>
                    <a:pt x="258" y="58"/>
                  </a:lnTo>
                  <a:lnTo>
                    <a:pt x="234" y="65"/>
                  </a:lnTo>
                  <a:lnTo>
                    <a:pt x="211" y="75"/>
                  </a:lnTo>
                  <a:lnTo>
                    <a:pt x="188" y="86"/>
                  </a:lnTo>
                  <a:lnTo>
                    <a:pt x="166" y="101"/>
                  </a:lnTo>
                  <a:lnTo>
                    <a:pt x="146" y="118"/>
                  </a:lnTo>
                  <a:lnTo>
                    <a:pt x="129" y="137"/>
                  </a:lnTo>
                  <a:lnTo>
                    <a:pt x="111" y="157"/>
                  </a:lnTo>
                  <a:lnTo>
                    <a:pt x="97" y="179"/>
                  </a:lnTo>
                  <a:lnTo>
                    <a:pt x="84" y="203"/>
                  </a:lnTo>
                  <a:lnTo>
                    <a:pt x="72" y="227"/>
                  </a:lnTo>
                  <a:lnTo>
                    <a:pt x="64" y="255"/>
                  </a:lnTo>
                  <a:lnTo>
                    <a:pt x="58" y="282"/>
                  </a:lnTo>
                  <a:lnTo>
                    <a:pt x="54" y="311"/>
                  </a:lnTo>
                  <a:lnTo>
                    <a:pt x="52" y="340"/>
                  </a:lnTo>
                  <a:lnTo>
                    <a:pt x="54" y="369"/>
                  </a:lnTo>
                  <a:lnTo>
                    <a:pt x="58" y="397"/>
                  </a:lnTo>
                  <a:lnTo>
                    <a:pt x="64" y="425"/>
                  </a:lnTo>
                  <a:lnTo>
                    <a:pt x="72" y="452"/>
                  </a:lnTo>
                  <a:lnTo>
                    <a:pt x="84" y="477"/>
                  </a:lnTo>
                  <a:lnTo>
                    <a:pt x="97" y="500"/>
                  </a:lnTo>
                  <a:lnTo>
                    <a:pt x="111" y="523"/>
                  </a:lnTo>
                  <a:lnTo>
                    <a:pt x="129" y="543"/>
                  </a:lnTo>
                  <a:lnTo>
                    <a:pt x="146" y="562"/>
                  </a:lnTo>
                  <a:lnTo>
                    <a:pt x="166" y="577"/>
                  </a:lnTo>
                  <a:lnTo>
                    <a:pt x="188" y="592"/>
                  </a:lnTo>
                  <a:lnTo>
                    <a:pt x="211" y="605"/>
                  </a:lnTo>
                  <a:lnTo>
                    <a:pt x="234" y="613"/>
                  </a:lnTo>
                  <a:lnTo>
                    <a:pt x="258" y="621"/>
                  </a:lnTo>
                  <a:lnTo>
                    <a:pt x="271" y="623"/>
                  </a:lnTo>
                  <a:lnTo>
                    <a:pt x="284" y="625"/>
                  </a:lnTo>
                  <a:lnTo>
                    <a:pt x="297" y="626"/>
                  </a:lnTo>
                  <a:lnTo>
                    <a:pt x="311" y="626"/>
                  </a:lnTo>
                  <a:lnTo>
                    <a:pt x="324" y="626"/>
                  </a:lnTo>
                  <a:lnTo>
                    <a:pt x="337" y="625"/>
                  </a:lnTo>
                  <a:lnTo>
                    <a:pt x="350" y="623"/>
                  </a:lnTo>
                  <a:lnTo>
                    <a:pt x="363" y="621"/>
                  </a:lnTo>
                  <a:lnTo>
                    <a:pt x="388" y="613"/>
                  </a:lnTo>
                  <a:lnTo>
                    <a:pt x="412" y="605"/>
                  </a:lnTo>
                  <a:lnTo>
                    <a:pt x="434" y="592"/>
                  </a:lnTo>
                  <a:lnTo>
                    <a:pt x="455" y="577"/>
                  </a:lnTo>
                  <a:lnTo>
                    <a:pt x="476" y="562"/>
                  </a:lnTo>
                  <a:lnTo>
                    <a:pt x="494" y="543"/>
                  </a:lnTo>
                  <a:lnTo>
                    <a:pt x="510" y="523"/>
                  </a:lnTo>
                  <a:lnTo>
                    <a:pt x="526" y="500"/>
                  </a:lnTo>
                  <a:lnTo>
                    <a:pt x="539" y="477"/>
                  </a:lnTo>
                  <a:lnTo>
                    <a:pt x="549" y="452"/>
                  </a:lnTo>
                  <a:lnTo>
                    <a:pt x="558" y="425"/>
                  </a:lnTo>
                  <a:lnTo>
                    <a:pt x="565" y="397"/>
                  </a:lnTo>
                  <a:lnTo>
                    <a:pt x="568" y="369"/>
                  </a:lnTo>
                  <a:lnTo>
                    <a:pt x="569" y="340"/>
                  </a:lnTo>
                  <a:lnTo>
                    <a:pt x="568" y="311"/>
                  </a:lnTo>
                  <a:lnTo>
                    <a:pt x="565" y="282"/>
                  </a:lnTo>
                  <a:lnTo>
                    <a:pt x="558" y="255"/>
                  </a:lnTo>
                  <a:lnTo>
                    <a:pt x="549" y="227"/>
                  </a:lnTo>
                  <a:lnTo>
                    <a:pt x="539" y="203"/>
                  </a:lnTo>
                  <a:lnTo>
                    <a:pt x="526" y="179"/>
                  </a:lnTo>
                  <a:lnTo>
                    <a:pt x="510" y="157"/>
                  </a:lnTo>
                  <a:lnTo>
                    <a:pt x="494" y="137"/>
                  </a:lnTo>
                  <a:lnTo>
                    <a:pt x="476" y="118"/>
                  </a:lnTo>
                  <a:lnTo>
                    <a:pt x="455" y="101"/>
                  </a:lnTo>
                  <a:lnTo>
                    <a:pt x="434" y="86"/>
                  </a:lnTo>
                  <a:lnTo>
                    <a:pt x="412" y="75"/>
                  </a:lnTo>
                  <a:lnTo>
                    <a:pt x="388" y="65"/>
                  </a:lnTo>
                  <a:lnTo>
                    <a:pt x="363" y="58"/>
                  </a:lnTo>
                  <a:lnTo>
                    <a:pt x="350" y="56"/>
                  </a:lnTo>
                  <a:lnTo>
                    <a:pt x="337" y="53"/>
                  </a:lnTo>
                  <a:lnTo>
                    <a:pt x="324" y="53"/>
                  </a:lnTo>
                  <a:lnTo>
                    <a:pt x="311" y="52"/>
                  </a:lnTo>
                  <a:close/>
                  <a:moveTo>
                    <a:pt x="311" y="680"/>
                  </a:moveTo>
                  <a:lnTo>
                    <a:pt x="296" y="678"/>
                  </a:lnTo>
                  <a:lnTo>
                    <a:pt x="280" y="678"/>
                  </a:lnTo>
                  <a:lnTo>
                    <a:pt x="264" y="675"/>
                  </a:lnTo>
                  <a:lnTo>
                    <a:pt x="248" y="672"/>
                  </a:lnTo>
                  <a:lnTo>
                    <a:pt x="234" y="668"/>
                  </a:lnTo>
                  <a:lnTo>
                    <a:pt x="218" y="664"/>
                  </a:lnTo>
                  <a:lnTo>
                    <a:pt x="203" y="658"/>
                  </a:lnTo>
                  <a:lnTo>
                    <a:pt x="191" y="652"/>
                  </a:lnTo>
                  <a:lnTo>
                    <a:pt x="176" y="645"/>
                  </a:lnTo>
                  <a:lnTo>
                    <a:pt x="163" y="638"/>
                  </a:lnTo>
                  <a:lnTo>
                    <a:pt x="150" y="631"/>
                  </a:lnTo>
                  <a:lnTo>
                    <a:pt x="137" y="621"/>
                  </a:lnTo>
                  <a:lnTo>
                    <a:pt x="124" y="612"/>
                  </a:lnTo>
                  <a:lnTo>
                    <a:pt x="113" y="602"/>
                  </a:lnTo>
                  <a:lnTo>
                    <a:pt x="101" y="590"/>
                  </a:lnTo>
                  <a:lnTo>
                    <a:pt x="91" y="580"/>
                  </a:lnTo>
                  <a:lnTo>
                    <a:pt x="81" y="567"/>
                  </a:lnTo>
                  <a:lnTo>
                    <a:pt x="71" y="556"/>
                  </a:lnTo>
                  <a:lnTo>
                    <a:pt x="62" y="543"/>
                  </a:lnTo>
                  <a:lnTo>
                    <a:pt x="54" y="530"/>
                  </a:lnTo>
                  <a:lnTo>
                    <a:pt x="45" y="515"/>
                  </a:lnTo>
                  <a:lnTo>
                    <a:pt x="38" y="501"/>
                  </a:lnTo>
                  <a:lnTo>
                    <a:pt x="31" y="487"/>
                  </a:lnTo>
                  <a:lnTo>
                    <a:pt x="25" y="472"/>
                  </a:lnTo>
                  <a:lnTo>
                    <a:pt x="19" y="456"/>
                  </a:lnTo>
                  <a:lnTo>
                    <a:pt x="13" y="441"/>
                  </a:lnTo>
                  <a:lnTo>
                    <a:pt x="9" y="425"/>
                  </a:lnTo>
                  <a:lnTo>
                    <a:pt x="6" y="407"/>
                  </a:lnTo>
                  <a:lnTo>
                    <a:pt x="3" y="392"/>
                  </a:lnTo>
                  <a:lnTo>
                    <a:pt x="2" y="374"/>
                  </a:lnTo>
                  <a:lnTo>
                    <a:pt x="0" y="357"/>
                  </a:lnTo>
                  <a:lnTo>
                    <a:pt x="0" y="340"/>
                  </a:lnTo>
                  <a:lnTo>
                    <a:pt x="0" y="323"/>
                  </a:lnTo>
                  <a:lnTo>
                    <a:pt x="2" y="305"/>
                  </a:lnTo>
                  <a:lnTo>
                    <a:pt x="3" y="288"/>
                  </a:lnTo>
                  <a:lnTo>
                    <a:pt x="6" y="271"/>
                  </a:lnTo>
                  <a:lnTo>
                    <a:pt x="9" y="255"/>
                  </a:lnTo>
                  <a:lnTo>
                    <a:pt x="13" y="239"/>
                  </a:lnTo>
                  <a:lnTo>
                    <a:pt x="19" y="223"/>
                  </a:lnTo>
                  <a:lnTo>
                    <a:pt x="25" y="207"/>
                  </a:lnTo>
                  <a:lnTo>
                    <a:pt x="31" y="193"/>
                  </a:lnTo>
                  <a:lnTo>
                    <a:pt x="38" y="179"/>
                  </a:lnTo>
                  <a:lnTo>
                    <a:pt x="45" y="164"/>
                  </a:lnTo>
                  <a:lnTo>
                    <a:pt x="54" y="150"/>
                  </a:lnTo>
                  <a:lnTo>
                    <a:pt x="62" y="137"/>
                  </a:lnTo>
                  <a:lnTo>
                    <a:pt x="71" y="124"/>
                  </a:lnTo>
                  <a:lnTo>
                    <a:pt x="81" y="111"/>
                  </a:lnTo>
                  <a:lnTo>
                    <a:pt x="91" y="99"/>
                  </a:lnTo>
                  <a:lnTo>
                    <a:pt x="101" y="88"/>
                  </a:lnTo>
                  <a:lnTo>
                    <a:pt x="113" y="78"/>
                  </a:lnTo>
                  <a:lnTo>
                    <a:pt x="124" y="68"/>
                  </a:lnTo>
                  <a:lnTo>
                    <a:pt x="137" y="58"/>
                  </a:lnTo>
                  <a:lnTo>
                    <a:pt x="150" y="49"/>
                  </a:lnTo>
                  <a:lnTo>
                    <a:pt x="163" y="42"/>
                  </a:lnTo>
                  <a:lnTo>
                    <a:pt x="176" y="33"/>
                  </a:lnTo>
                  <a:lnTo>
                    <a:pt x="191" y="27"/>
                  </a:lnTo>
                  <a:lnTo>
                    <a:pt x="203" y="20"/>
                  </a:lnTo>
                  <a:lnTo>
                    <a:pt x="218" y="16"/>
                  </a:lnTo>
                  <a:lnTo>
                    <a:pt x="234" y="11"/>
                  </a:lnTo>
                  <a:lnTo>
                    <a:pt x="248" y="7"/>
                  </a:lnTo>
                  <a:lnTo>
                    <a:pt x="264" y="4"/>
                  </a:lnTo>
                  <a:lnTo>
                    <a:pt x="280" y="1"/>
                  </a:lnTo>
                  <a:lnTo>
                    <a:pt x="296" y="0"/>
                  </a:lnTo>
                  <a:lnTo>
                    <a:pt x="311" y="0"/>
                  </a:lnTo>
                  <a:lnTo>
                    <a:pt x="327" y="0"/>
                  </a:lnTo>
                  <a:lnTo>
                    <a:pt x="343" y="1"/>
                  </a:lnTo>
                  <a:lnTo>
                    <a:pt x="358" y="4"/>
                  </a:lnTo>
                  <a:lnTo>
                    <a:pt x="373" y="7"/>
                  </a:lnTo>
                  <a:lnTo>
                    <a:pt x="389" y="11"/>
                  </a:lnTo>
                  <a:lnTo>
                    <a:pt x="404" y="16"/>
                  </a:lnTo>
                  <a:lnTo>
                    <a:pt x="418" y="20"/>
                  </a:lnTo>
                  <a:lnTo>
                    <a:pt x="432" y="27"/>
                  </a:lnTo>
                  <a:lnTo>
                    <a:pt x="445" y="33"/>
                  </a:lnTo>
                  <a:lnTo>
                    <a:pt x="458" y="42"/>
                  </a:lnTo>
                  <a:lnTo>
                    <a:pt x="473" y="49"/>
                  </a:lnTo>
                  <a:lnTo>
                    <a:pt x="484" y="58"/>
                  </a:lnTo>
                  <a:lnTo>
                    <a:pt x="497" y="68"/>
                  </a:lnTo>
                  <a:lnTo>
                    <a:pt x="509" y="78"/>
                  </a:lnTo>
                  <a:lnTo>
                    <a:pt x="520" y="88"/>
                  </a:lnTo>
                  <a:lnTo>
                    <a:pt x="530" y="99"/>
                  </a:lnTo>
                  <a:lnTo>
                    <a:pt x="540" y="111"/>
                  </a:lnTo>
                  <a:lnTo>
                    <a:pt x="551" y="124"/>
                  </a:lnTo>
                  <a:lnTo>
                    <a:pt x="561" y="137"/>
                  </a:lnTo>
                  <a:lnTo>
                    <a:pt x="569" y="150"/>
                  </a:lnTo>
                  <a:lnTo>
                    <a:pt x="576" y="164"/>
                  </a:lnTo>
                  <a:lnTo>
                    <a:pt x="585" y="179"/>
                  </a:lnTo>
                  <a:lnTo>
                    <a:pt x="591" y="193"/>
                  </a:lnTo>
                  <a:lnTo>
                    <a:pt x="598" y="207"/>
                  </a:lnTo>
                  <a:lnTo>
                    <a:pt x="602" y="223"/>
                  </a:lnTo>
                  <a:lnTo>
                    <a:pt x="608" y="239"/>
                  </a:lnTo>
                  <a:lnTo>
                    <a:pt x="612" y="255"/>
                  </a:lnTo>
                  <a:lnTo>
                    <a:pt x="615" y="271"/>
                  </a:lnTo>
                  <a:lnTo>
                    <a:pt x="618" y="288"/>
                  </a:lnTo>
                  <a:lnTo>
                    <a:pt x="621" y="305"/>
                  </a:lnTo>
                  <a:lnTo>
                    <a:pt x="621" y="323"/>
                  </a:lnTo>
                  <a:lnTo>
                    <a:pt x="623" y="340"/>
                  </a:lnTo>
                  <a:lnTo>
                    <a:pt x="621" y="357"/>
                  </a:lnTo>
                  <a:lnTo>
                    <a:pt x="621" y="374"/>
                  </a:lnTo>
                  <a:lnTo>
                    <a:pt x="618" y="392"/>
                  </a:lnTo>
                  <a:lnTo>
                    <a:pt x="615" y="407"/>
                  </a:lnTo>
                  <a:lnTo>
                    <a:pt x="612" y="425"/>
                  </a:lnTo>
                  <a:lnTo>
                    <a:pt x="608" y="441"/>
                  </a:lnTo>
                  <a:lnTo>
                    <a:pt x="602" y="456"/>
                  </a:lnTo>
                  <a:lnTo>
                    <a:pt x="598" y="472"/>
                  </a:lnTo>
                  <a:lnTo>
                    <a:pt x="591" y="487"/>
                  </a:lnTo>
                  <a:lnTo>
                    <a:pt x="585" y="501"/>
                  </a:lnTo>
                  <a:lnTo>
                    <a:pt x="576" y="515"/>
                  </a:lnTo>
                  <a:lnTo>
                    <a:pt x="569" y="530"/>
                  </a:lnTo>
                  <a:lnTo>
                    <a:pt x="561" y="543"/>
                  </a:lnTo>
                  <a:lnTo>
                    <a:pt x="551" y="556"/>
                  </a:lnTo>
                  <a:lnTo>
                    <a:pt x="540" y="567"/>
                  </a:lnTo>
                  <a:lnTo>
                    <a:pt x="530" y="580"/>
                  </a:lnTo>
                  <a:lnTo>
                    <a:pt x="520" y="590"/>
                  </a:lnTo>
                  <a:lnTo>
                    <a:pt x="509" y="602"/>
                  </a:lnTo>
                  <a:lnTo>
                    <a:pt x="497" y="612"/>
                  </a:lnTo>
                  <a:lnTo>
                    <a:pt x="484" y="621"/>
                  </a:lnTo>
                  <a:lnTo>
                    <a:pt x="473" y="631"/>
                  </a:lnTo>
                  <a:lnTo>
                    <a:pt x="458" y="638"/>
                  </a:lnTo>
                  <a:lnTo>
                    <a:pt x="445" y="645"/>
                  </a:lnTo>
                  <a:lnTo>
                    <a:pt x="432" y="652"/>
                  </a:lnTo>
                  <a:lnTo>
                    <a:pt x="418" y="658"/>
                  </a:lnTo>
                  <a:lnTo>
                    <a:pt x="404" y="664"/>
                  </a:lnTo>
                  <a:lnTo>
                    <a:pt x="389" y="668"/>
                  </a:lnTo>
                  <a:lnTo>
                    <a:pt x="373" y="672"/>
                  </a:lnTo>
                  <a:lnTo>
                    <a:pt x="358" y="675"/>
                  </a:lnTo>
                  <a:lnTo>
                    <a:pt x="343" y="678"/>
                  </a:lnTo>
                  <a:lnTo>
                    <a:pt x="327" y="678"/>
                  </a:lnTo>
                  <a:lnTo>
                    <a:pt x="31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a:extLst>
                <a:ext uri="{FF2B5EF4-FFF2-40B4-BE49-F238E27FC236}">
                  <a16:creationId xmlns:a16="http://schemas.microsoft.com/office/drawing/2014/main" id="{CE9EB6B8-9599-4215-87B0-BD86DA3AAB86}"/>
                </a:ext>
              </a:extLst>
            </p:cNvPr>
            <p:cNvSpPr>
              <a:spLocks/>
            </p:cNvSpPr>
            <p:nvPr/>
          </p:nvSpPr>
          <p:spPr bwMode="auto">
            <a:xfrm>
              <a:off x="4489450" y="1235076"/>
              <a:ext cx="571500" cy="360363"/>
            </a:xfrm>
            <a:custGeom>
              <a:avLst/>
              <a:gdLst>
                <a:gd name="T0" fmla="*/ 0 w 1079"/>
                <a:gd name="T1" fmla="*/ 370 h 681"/>
                <a:gd name="T2" fmla="*/ 11 w 1079"/>
                <a:gd name="T3" fmla="*/ 292 h 681"/>
                <a:gd name="T4" fmla="*/ 39 w 1079"/>
                <a:gd name="T5" fmla="*/ 236 h 681"/>
                <a:gd name="T6" fmla="*/ 83 w 1079"/>
                <a:gd name="T7" fmla="*/ 197 h 681"/>
                <a:gd name="T8" fmla="*/ 137 w 1079"/>
                <a:gd name="T9" fmla="*/ 170 h 681"/>
                <a:gd name="T10" fmla="*/ 244 w 1079"/>
                <a:gd name="T11" fmla="*/ 137 h 681"/>
                <a:gd name="T12" fmla="*/ 304 w 1079"/>
                <a:gd name="T13" fmla="*/ 118 h 681"/>
                <a:gd name="T14" fmla="*/ 350 w 1079"/>
                <a:gd name="T15" fmla="*/ 95 h 681"/>
                <a:gd name="T16" fmla="*/ 378 w 1079"/>
                <a:gd name="T17" fmla="*/ 66 h 681"/>
                <a:gd name="T18" fmla="*/ 396 w 1079"/>
                <a:gd name="T19" fmla="*/ 30 h 681"/>
                <a:gd name="T20" fmla="*/ 399 w 1079"/>
                <a:gd name="T21" fmla="*/ 3 h 681"/>
                <a:gd name="T22" fmla="*/ 448 w 1079"/>
                <a:gd name="T23" fmla="*/ 37 h 681"/>
                <a:gd name="T24" fmla="*/ 435 w 1079"/>
                <a:gd name="T25" fmla="*/ 73 h 681"/>
                <a:gd name="T26" fmla="*/ 411 w 1079"/>
                <a:gd name="T27" fmla="*/ 109 h 681"/>
                <a:gd name="T28" fmla="*/ 373 w 1079"/>
                <a:gd name="T29" fmla="*/ 141 h 681"/>
                <a:gd name="T30" fmla="*/ 320 w 1079"/>
                <a:gd name="T31" fmla="*/ 167 h 681"/>
                <a:gd name="T32" fmla="*/ 260 w 1079"/>
                <a:gd name="T33" fmla="*/ 186 h 681"/>
                <a:gd name="T34" fmla="*/ 159 w 1079"/>
                <a:gd name="T35" fmla="*/ 217 h 681"/>
                <a:gd name="T36" fmla="*/ 113 w 1079"/>
                <a:gd name="T37" fmla="*/ 239 h 681"/>
                <a:gd name="T38" fmla="*/ 80 w 1079"/>
                <a:gd name="T39" fmla="*/ 269 h 681"/>
                <a:gd name="T40" fmla="*/ 60 w 1079"/>
                <a:gd name="T41" fmla="*/ 311 h 681"/>
                <a:gd name="T42" fmla="*/ 54 w 1079"/>
                <a:gd name="T43" fmla="*/ 370 h 681"/>
                <a:gd name="T44" fmla="*/ 1027 w 1079"/>
                <a:gd name="T45" fmla="*/ 370 h 681"/>
                <a:gd name="T46" fmla="*/ 1020 w 1079"/>
                <a:gd name="T47" fmla="*/ 311 h 681"/>
                <a:gd name="T48" fmla="*/ 1000 w 1079"/>
                <a:gd name="T49" fmla="*/ 269 h 681"/>
                <a:gd name="T50" fmla="*/ 968 w 1079"/>
                <a:gd name="T51" fmla="*/ 239 h 681"/>
                <a:gd name="T52" fmla="*/ 922 w 1079"/>
                <a:gd name="T53" fmla="*/ 217 h 681"/>
                <a:gd name="T54" fmla="*/ 821 w 1079"/>
                <a:gd name="T55" fmla="*/ 186 h 681"/>
                <a:gd name="T56" fmla="*/ 759 w 1079"/>
                <a:gd name="T57" fmla="*/ 167 h 681"/>
                <a:gd name="T58" fmla="*/ 706 w 1079"/>
                <a:gd name="T59" fmla="*/ 141 h 681"/>
                <a:gd name="T60" fmla="*/ 669 w 1079"/>
                <a:gd name="T61" fmla="*/ 109 h 681"/>
                <a:gd name="T62" fmla="*/ 644 w 1079"/>
                <a:gd name="T63" fmla="*/ 73 h 681"/>
                <a:gd name="T64" fmla="*/ 631 w 1079"/>
                <a:gd name="T65" fmla="*/ 37 h 681"/>
                <a:gd name="T66" fmla="*/ 680 w 1079"/>
                <a:gd name="T67" fmla="*/ 3 h 681"/>
                <a:gd name="T68" fmla="*/ 684 w 1079"/>
                <a:gd name="T69" fmla="*/ 32 h 681"/>
                <a:gd name="T70" fmla="*/ 702 w 1079"/>
                <a:gd name="T71" fmla="*/ 68 h 681"/>
                <a:gd name="T72" fmla="*/ 731 w 1079"/>
                <a:gd name="T73" fmla="*/ 95 h 681"/>
                <a:gd name="T74" fmla="*/ 777 w 1079"/>
                <a:gd name="T75" fmla="*/ 118 h 681"/>
                <a:gd name="T76" fmla="*/ 836 w 1079"/>
                <a:gd name="T77" fmla="*/ 137 h 681"/>
                <a:gd name="T78" fmla="*/ 942 w 1079"/>
                <a:gd name="T79" fmla="*/ 170 h 681"/>
                <a:gd name="T80" fmla="*/ 998 w 1079"/>
                <a:gd name="T81" fmla="*/ 197 h 681"/>
                <a:gd name="T82" fmla="*/ 1042 w 1079"/>
                <a:gd name="T83" fmla="*/ 236 h 681"/>
                <a:gd name="T84" fmla="*/ 1069 w 1079"/>
                <a:gd name="T85" fmla="*/ 292 h 681"/>
                <a:gd name="T86" fmla="*/ 1079 w 1079"/>
                <a:gd name="T87" fmla="*/ 37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9" h="681">
                  <a:moveTo>
                    <a:pt x="1079" y="681"/>
                  </a:moveTo>
                  <a:lnTo>
                    <a:pt x="0" y="681"/>
                  </a:lnTo>
                  <a:lnTo>
                    <a:pt x="0" y="370"/>
                  </a:lnTo>
                  <a:lnTo>
                    <a:pt x="2" y="341"/>
                  </a:lnTo>
                  <a:lnTo>
                    <a:pt x="5" y="315"/>
                  </a:lnTo>
                  <a:lnTo>
                    <a:pt x="11" y="292"/>
                  </a:lnTo>
                  <a:lnTo>
                    <a:pt x="18" y="271"/>
                  </a:lnTo>
                  <a:lnTo>
                    <a:pt x="28" y="252"/>
                  </a:lnTo>
                  <a:lnTo>
                    <a:pt x="39" y="236"/>
                  </a:lnTo>
                  <a:lnTo>
                    <a:pt x="52" y="222"/>
                  </a:lnTo>
                  <a:lnTo>
                    <a:pt x="67" y="209"/>
                  </a:lnTo>
                  <a:lnTo>
                    <a:pt x="83" y="197"/>
                  </a:lnTo>
                  <a:lnTo>
                    <a:pt x="100" y="187"/>
                  </a:lnTo>
                  <a:lnTo>
                    <a:pt x="117" y="178"/>
                  </a:lnTo>
                  <a:lnTo>
                    <a:pt x="137" y="170"/>
                  </a:lnTo>
                  <a:lnTo>
                    <a:pt x="179" y="155"/>
                  </a:lnTo>
                  <a:lnTo>
                    <a:pt x="225" y="141"/>
                  </a:lnTo>
                  <a:lnTo>
                    <a:pt x="244" y="137"/>
                  </a:lnTo>
                  <a:lnTo>
                    <a:pt x="263" y="129"/>
                  </a:lnTo>
                  <a:lnTo>
                    <a:pt x="283" y="124"/>
                  </a:lnTo>
                  <a:lnTo>
                    <a:pt x="304" y="118"/>
                  </a:lnTo>
                  <a:lnTo>
                    <a:pt x="322" y="111"/>
                  </a:lnTo>
                  <a:lnTo>
                    <a:pt x="336" y="102"/>
                  </a:lnTo>
                  <a:lnTo>
                    <a:pt x="350" y="95"/>
                  </a:lnTo>
                  <a:lnTo>
                    <a:pt x="360" y="85"/>
                  </a:lnTo>
                  <a:lnTo>
                    <a:pt x="371" y="76"/>
                  </a:lnTo>
                  <a:lnTo>
                    <a:pt x="378" y="66"/>
                  </a:lnTo>
                  <a:lnTo>
                    <a:pt x="385" y="58"/>
                  </a:lnTo>
                  <a:lnTo>
                    <a:pt x="389" y="47"/>
                  </a:lnTo>
                  <a:lnTo>
                    <a:pt x="396" y="30"/>
                  </a:lnTo>
                  <a:lnTo>
                    <a:pt x="399" y="16"/>
                  </a:lnTo>
                  <a:lnTo>
                    <a:pt x="399" y="7"/>
                  </a:lnTo>
                  <a:lnTo>
                    <a:pt x="399" y="3"/>
                  </a:lnTo>
                  <a:lnTo>
                    <a:pt x="453" y="0"/>
                  </a:lnTo>
                  <a:lnTo>
                    <a:pt x="451" y="17"/>
                  </a:lnTo>
                  <a:lnTo>
                    <a:pt x="448" y="37"/>
                  </a:lnTo>
                  <a:lnTo>
                    <a:pt x="445" y="49"/>
                  </a:lnTo>
                  <a:lnTo>
                    <a:pt x="441" y="60"/>
                  </a:lnTo>
                  <a:lnTo>
                    <a:pt x="435" y="73"/>
                  </a:lnTo>
                  <a:lnTo>
                    <a:pt x="428" y="85"/>
                  </a:lnTo>
                  <a:lnTo>
                    <a:pt x="421" y="96"/>
                  </a:lnTo>
                  <a:lnTo>
                    <a:pt x="411" y="109"/>
                  </a:lnTo>
                  <a:lnTo>
                    <a:pt x="401" y="119"/>
                  </a:lnTo>
                  <a:lnTo>
                    <a:pt x="388" y="131"/>
                  </a:lnTo>
                  <a:lnTo>
                    <a:pt x="373" y="141"/>
                  </a:lnTo>
                  <a:lnTo>
                    <a:pt x="358" y="151"/>
                  </a:lnTo>
                  <a:lnTo>
                    <a:pt x="340" y="160"/>
                  </a:lnTo>
                  <a:lnTo>
                    <a:pt x="320" y="167"/>
                  </a:lnTo>
                  <a:lnTo>
                    <a:pt x="299" y="174"/>
                  </a:lnTo>
                  <a:lnTo>
                    <a:pt x="278" y="180"/>
                  </a:lnTo>
                  <a:lnTo>
                    <a:pt x="260" y="186"/>
                  </a:lnTo>
                  <a:lnTo>
                    <a:pt x="240" y="191"/>
                  </a:lnTo>
                  <a:lnTo>
                    <a:pt x="196" y="204"/>
                  </a:lnTo>
                  <a:lnTo>
                    <a:pt x="159" y="217"/>
                  </a:lnTo>
                  <a:lnTo>
                    <a:pt x="142" y="225"/>
                  </a:lnTo>
                  <a:lnTo>
                    <a:pt x="126" y="232"/>
                  </a:lnTo>
                  <a:lnTo>
                    <a:pt x="113" y="239"/>
                  </a:lnTo>
                  <a:lnTo>
                    <a:pt x="100" y="249"/>
                  </a:lnTo>
                  <a:lnTo>
                    <a:pt x="88" y="258"/>
                  </a:lnTo>
                  <a:lnTo>
                    <a:pt x="80" y="269"/>
                  </a:lnTo>
                  <a:lnTo>
                    <a:pt x="71" y="281"/>
                  </a:lnTo>
                  <a:lnTo>
                    <a:pt x="65" y="295"/>
                  </a:lnTo>
                  <a:lnTo>
                    <a:pt x="60" y="311"/>
                  </a:lnTo>
                  <a:lnTo>
                    <a:pt x="57" y="328"/>
                  </a:lnTo>
                  <a:lnTo>
                    <a:pt x="54" y="348"/>
                  </a:lnTo>
                  <a:lnTo>
                    <a:pt x="54" y="370"/>
                  </a:lnTo>
                  <a:lnTo>
                    <a:pt x="54" y="629"/>
                  </a:lnTo>
                  <a:lnTo>
                    <a:pt x="1027" y="629"/>
                  </a:lnTo>
                  <a:lnTo>
                    <a:pt x="1027" y="370"/>
                  </a:lnTo>
                  <a:lnTo>
                    <a:pt x="1026" y="348"/>
                  </a:lnTo>
                  <a:lnTo>
                    <a:pt x="1024" y="328"/>
                  </a:lnTo>
                  <a:lnTo>
                    <a:pt x="1020" y="311"/>
                  </a:lnTo>
                  <a:lnTo>
                    <a:pt x="1016" y="295"/>
                  </a:lnTo>
                  <a:lnTo>
                    <a:pt x="1008" y="281"/>
                  </a:lnTo>
                  <a:lnTo>
                    <a:pt x="1000" y="269"/>
                  </a:lnTo>
                  <a:lnTo>
                    <a:pt x="991" y="258"/>
                  </a:lnTo>
                  <a:lnTo>
                    <a:pt x="980" y="249"/>
                  </a:lnTo>
                  <a:lnTo>
                    <a:pt x="968" y="239"/>
                  </a:lnTo>
                  <a:lnTo>
                    <a:pt x="954" y="232"/>
                  </a:lnTo>
                  <a:lnTo>
                    <a:pt x="938" y="225"/>
                  </a:lnTo>
                  <a:lnTo>
                    <a:pt x="922" y="217"/>
                  </a:lnTo>
                  <a:lnTo>
                    <a:pt x="883" y="204"/>
                  </a:lnTo>
                  <a:lnTo>
                    <a:pt x="840" y="191"/>
                  </a:lnTo>
                  <a:lnTo>
                    <a:pt x="821" y="186"/>
                  </a:lnTo>
                  <a:lnTo>
                    <a:pt x="801" y="180"/>
                  </a:lnTo>
                  <a:lnTo>
                    <a:pt x="781" y="174"/>
                  </a:lnTo>
                  <a:lnTo>
                    <a:pt x="759" y="167"/>
                  </a:lnTo>
                  <a:lnTo>
                    <a:pt x="739" y="160"/>
                  </a:lnTo>
                  <a:lnTo>
                    <a:pt x="722" y="151"/>
                  </a:lnTo>
                  <a:lnTo>
                    <a:pt x="706" y="141"/>
                  </a:lnTo>
                  <a:lnTo>
                    <a:pt x="692" y="131"/>
                  </a:lnTo>
                  <a:lnTo>
                    <a:pt x="679" y="119"/>
                  </a:lnTo>
                  <a:lnTo>
                    <a:pt x="669" y="109"/>
                  </a:lnTo>
                  <a:lnTo>
                    <a:pt x="659" y="96"/>
                  </a:lnTo>
                  <a:lnTo>
                    <a:pt x="651" y="85"/>
                  </a:lnTo>
                  <a:lnTo>
                    <a:pt x="644" y="73"/>
                  </a:lnTo>
                  <a:lnTo>
                    <a:pt x="638" y="60"/>
                  </a:lnTo>
                  <a:lnTo>
                    <a:pt x="636" y="49"/>
                  </a:lnTo>
                  <a:lnTo>
                    <a:pt x="631" y="37"/>
                  </a:lnTo>
                  <a:lnTo>
                    <a:pt x="628" y="17"/>
                  </a:lnTo>
                  <a:lnTo>
                    <a:pt x="628" y="0"/>
                  </a:lnTo>
                  <a:lnTo>
                    <a:pt x="680" y="3"/>
                  </a:lnTo>
                  <a:lnTo>
                    <a:pt x="680" y="7"/>
                  </a:lnTo>
                  <a:lnTo>
                    <a:pt x="682" y="17"/>
                  </a:lnTo>
                  <a:lnTo>
                    <a:pt x="684" y="32"/>
                  </a:lnTo>
                  <a:lnTo>
                    <a:pt x="690" y="49"/>
                  </a:lnTo>
                  <a:lnTo>
                    <a:pt x="696" y="58"/>
                  </a:lnTo>
                  <a:lnTo>
                    <a:pt x="702" y="68"/>
                  </a:lnTo>
                  <a:lnTo>
                    <a:pt x="710" y="76"/>
                  </a:lnTo>
                  <a:lnTo>
                    <a:pt x="719" y="86"/>
                  </a:lnTo>
                  <a:lnTo>
                    <a:pt x="731" y="95"/>
                  </a:lnTo>
                  <a:lnTo>
                    <a:pt x="744" y="104"/>
                  </a:lnTo>
                  <a:lnTo>
                    <a:pt x="759" y="111"/>
                  </a:lnTo>
                  <a:lnTo>
                    <a:pt x="777" y="118"/>
                  </a:lnTo>
                  <a:lnTo>
                    <a:pt x="797" y="124"/>
                  </a:lnTo>
                  <a:lnTo>
                    <a:pt x="817" y="129"/>
                  </a:lnTo>
                  <a:lnTo>
                    <a:pt x="836" y="137"/>
                  </a:lnTo>
                  <a:lnTo>
                    <a:pt x="854" y="141"/>
                  </a:lnTo>
                  <a:lnTo>
                    <a:pt x="900" y="155"/>
                  </a:lnTo>
                  <a:lnTo>
                    <a:pt x="942" y="170"/>
                  </a:lnTo>
                  <a:lnTo>
                    <a:pt x="962" y="178"/>
                  </a:lnTo>
                  <a:lnTo>
                    <a:pt x="981" y="187"/>
                  </a:lnTo>
                  <a:lnTo>
                    <a:pt x="998" y="197"/>
                  </a:lnTo>
                  <a:lnTo>
                    <a:pt x="1014" y="209"/>
                  </a:lnTo>
                  <a:lnTo>
                    <a:pt x="1029" y="222"/>
                  </a:lnTo>
                  <a:lnTo>
                    <a:pt x="1042" y="236"/>
                  </a:lnTo>
                  <a:lnTo>
                    <a:pt x="1052" y="252"/>
                  </a:lnTo>
                  <a:lnTo>
                    <a:pt x="1062" y="271"/>
                  </a:lnTo>
                  <a:lnTo>
                    <a:pt x="1069" y="292"/>
                  </a:lnTo>
                  <a:lnTo>
                    <a:pt x="1075" y="315"/>
                  </a:lnTo>
                  <a:lnTo>
                    <a:pt x="1078" y="341"/>
                  </a:lnTo>
                  <a:lnTo>
                    <a:pt x="1079" y="370"/>
                  </a:lnTo>
                  <a:lnTo>
                    <a:pt x="1079"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55">
              <a:extLst>
                <a:ext uri="{FF2B5EF4-FFF2-40B4-BE49-F238E27FC236}">
                  <a16:creationId xmlns:a16="http://schemas.microsoft.com/office/drawing/2014/main" id="{F8449AC3-4731-4B57-8BEB-7A886B07E472}"/>
                </a:ext>
              </a:extLst>
            </p:cNvPr>
            <p:cNvSpPr>
              <a:spLocks noEditPoints="1"/>
            </p:cNvSpPr>
            <p:nvPr/>
          </p:nvSpPr>
          <p:spPr bwMode="auto">
            <a:xfrm>
              <a:off x="4667250" y="1111251"/>
              <a:ext cx="217488" cy="98425"/>
            </a:xfrm>
            <a:custGeom>
              <a:avLst/>
              <a:gdLst>
                <a:gd name="T0" fmla="*/ 79 w 411"/>
                <a:gd name="T1" fmla="*/ 70 h 187"/>
                <a:gd name="T2" fmla="*/ 109 w 411"/>
                <a:gd name="T3" fmla="*/ 100 h 187"/>
                <a:gd name="T4" fmla="*/ 144 w 411"/>
                <a:gd name="T5" fmla="*/ 122 h 187"/>
                <a:gd name="T6" fmla="*/ 184 w 411"/>
                <a:gd name="T7" fmla="*/ 134 h 187"/>
                <a:gd name="T8" fmla="*/ 226 w 411"/>
                <a:gd name="T9" fmla="*/ 134 h 187"/>
                <a:gd name="T10" fmla="*/ 266 w 411"/>
                <a:gd name="T11" fmla="*/ 122 h 187"/>
                <a:gd name="T12" fmla="*/ 301 w 411"/>
                <a:gd name="T13" fmla="*/ 100 h 187"/>
                <a:gd name="T14" fmla="*/ 331 w 411"/>
                <a:gd name="T15" fmla="*/ 70 h 187"/>
                <a:gd name="T16" fmla="*/ 66 w 411"/>
                <a:gd name="T17" fmla="*/ 51 h 187"/>
                <a:gd name="T18" fmla="*/ 188 w 411"/>
                <a:gd name="T19" fmla="*/ 185 h 187"/>
                <a:gd name="T20" fmla="*/ 155 w 411"/>
                <a:gd name="T21" fmla="*/ 181 h 187"/>
                <a:gd name="T22" fmla="*/ 123 w 411"/>
                <a:gd name="T23" fmla="*/ 170 h 187"/>
                <a:gd name="T24" fmla="*/ 95 w 411"/>
                <a:gd name="T25" fmla="*/ 155 h 187"/>
                <a:gd name="T26" fmla="*/ 69 w 411"/>
                <a:gd name="T27" fmla="*/ 135 h 187"/>
                <a:gd name="T28" fmla="*/ 44 w 411"/>
                <a:gd name="T29" fmla="*/ 111 h 187"/>
                <a:gd name="T30" fmla="*/ 24 w 411"/>
                <a:gd name="T31" fmla="*/ 83 h 187"/>
                <a:gd name="T32" fmla="*/ 7 w 411"/>
                <a:gd name="T33" fmla="*/ 51 h 187"/>
                <a:gd name="T34" fmla="*/ 0 w 411"/>
                <a:gd name="T35" fmla="*/ 28 h 187"/>
                <a:gd name="T36" fmla="*/ 1 w 411"/>
                <a:gd name="T37" fmla="*/ 17 h 187"/>
                <a:gd name="T38" fmla="*/ 8 w 411"/>
                <a:gd name="T39" fmla="*/ 7 h 187"/>
                <a:gd name="T40" fmla="*/ 18 w 411"/>
                <a:gd name="T41" fmla="*/ 1 h 187"/>
                <a:gd name="T42" fmla="*/ 384 w 411"/>
                <a:gd name="T43" fmla="*/ 0 h 187"/>
                <a:gd name="T44" fmla="*/ 397 w 411"/>
                <a:gd name="T45" fmla="*/ 3 h 187"/>
                <a:gd name="T46" fmla="*/ 406 w 411"/>
                <a:gd name="T47" fmla="*/ 11 h 187"/>
                <a:gd name="T48" fmla="*/ 410 w 411"/>
                <a:gd name="T49" fmla="*/ 23 h 187"/>
                <a:gd name="T50" fmla="*/ 410 w 411"/>
                <a:gd name="T51" fmla="*/ 34 h 187"/>
                <a:gd name="T52" fmla="*/ 394 w 411"/>
                <a:gd name="T53" fmla="*/ 67 h 187"/>
                <a:gd name="T54" fmla="*/ 377 w 411"/>
                <a:gd name="T55" fmla="*/ 98 h 187"/>
                <a:gd name="T56" fmla="*/ 354 w 411"/>
                <a:gd name="T57" fmla="*/ 123 h 187"/>
                <a:gd name="T58" fmla="*/ 329 w 411"/>
                <a:gd name="T59" fmla="*/ 145 h 187"/>
                <a:gd name="T60" fmla="*/ 301 w 411"/>
                <a:gd name="T61" fmla="*/ 162 h 187"/>
                <a:gd name="T62" fmla="*/ 270 w 411"/>
                <a:gd name="T63" fmla="*/ 175 h 187"/>
                <a:gd name="T64" fmla="*/ 239 w 411"/>
                <a:gd name="T65" fmla="*/ 184 h 187"/>
                <a:gd name="T66" fmla="*/ 205 w 411"/>
                <a:gd name="T6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1" h="187">
                  <a:moveTo>
                    <a:pt x="66" y="51"/>
                  </a:moveTo>
                  <a:lnTo>
                    <a:pt x="79" y="70"/>
                  </a:lnTo>
                  <a:lnTo>
                    <a:pt x="93" y="86"/>
                  </a:lnTo>
                  <a:lnTo>
                    <a:pt x="109" y="100"/>
                  </a:lnTo>
                  <a:lnTo>
                    <a:pt x="126" y="112"/>
                  </a:lnTo>
                  <a:lnTo>
                    <a:pt x="144" y="122"/>
                  </a:lnTo>
                  <a:lnTo>
                    <a:pt x="164" y="129"/>
                  </a:lnTo>
                  <a:lnTo>
                    <a:pt x="184" y="134"/>
                  </a:lnTo>
                  <a:lnTo>
                    <a:pt x="205" y="135"/>
                  </a:lnTo>
                  <a:lnTo>
                    <a:pt x="226" y="134"/>
                  </a:lnTo>
                  <a:lnTo>
                    <a:pt x="246" y="129"/>
                  </a:lnTo>
                  <a:lnTo>
                    <a:pt x="266" y="122"/>
                  </a:lnTo>
                  <a:lnTo>
                    <a:pt x="285" y="112"/>
                  </a:lnTo>
                  <a:lnTo>
                    <a:pt x="301" y="100"/>
                  </a:lnTo>
                  <a:lnTo>
                    <a:pt x="316" y="86"/>
                  </a:lnTo>
                  <a:lnTo>
                    <a:pt x="331" y="70"/>
                  </a:lnTo>
                  <a:lnTo>
                    <a:pt x="344" y="51"/>
                  </a:lnTo>
                  <a:lnTo>
                    <a:pt x="66" y="51"/>
                  </a:lnTo>
                  <a:close/>
                  <a:moveTo>
                    <a:pt x="205" y="187"/>
                  </a:moveTo>
                  <a:lnTo>
                    <a:pt x="188" y="185"/>
                  </a:lnTo>
                  <a:lnTo>
                    <a:pt x="171" y="184"/>
                  </a:lnTo>
                  <a:lnTo>
                    <a:pt x="155" y="181"/>
                  </a:lnTo>
                  <a:lnTo>
                    <a:pt x="139" y="175"/>
                  </a:lnTo>
                  <a:lnTo>
                    <a:pt x="123" y="170"/>
                  </a:lnTo>
                  <a:lnTo>
                    <a:pt x="109" y="162"/>
                  </a:lnTo>
                  <a:lnTo>
                    <a:pt x="95" y="155"/>
                  </a:lnTo>
                  <a:lnTo>
                    <a:pt x="82" y="145"/>
                  </a:lnTo>
                  <a:lnTo>
                    <a:pt x="69" y="135"/>
                  </a:lnTo>
                  <a:lnTo>
                    <a:pt x="56" y="123"/>
                  </a:lnTo>
                  <a:lnTo>
                    <a:pt x="44" y="111"/>
                  </a:lnTo>
                  <a:lnTo>
                    <a:pt x="34" y="98"/>
                  </a:lnTo>
                  <a:lnTo>
                    <a:pt x="24" y="83"/>
                  </a:lnTo>
                  <a:lnTo>
                    <a:pt x="15" y="67"/>
                  </a:lnTo>
                  <a:lnTo>
                    <a:pt x="7" y="51"/>
                  </a:lnTo>
                  <a:lnTo>
                    <a:pt x="1" y="34"/>
                  </a:lnTo>
                  <a:lnTo>
                    <a:pt x="0" y="28"/>
                  </a:lnTo>
                  <a:lnTo>
                    <a:pt x="0" y="23"/>
                  </a:lnTo>
                  <a:lnTo>
                    <a:pt x="1" y="17"/>
                  </a:lnTo>
                  <a:lnTo>
                    <a:pt x="4" y="11"/>
                  </a:lnTo>
                  <a:lnTo>
                    <a:pt x="8" y="7"/>
                  </a:lnTo>
                  <a:lnTo>
                    <a:pt x="13" y="3"/>
                  </a:lnTo>
                  <a:lnTo>
                    <a:pt x="18" y="1"/>
                  </a:lnTo>
                  <a:lnTo>
                    <a:pt x="25" y="0"/>
                  </a:lnTo>
                  <a:lnTo>
                    <a:pt x="384" y="0"/>
                  </a:lnTo>
                  <a:lnTo>
                    <a:pt x="391" y="1"/>
                  </a:lnTo>
                  <a:lnTo>
                    <a:pt x="397" y="3"/>
                  </a:lnTo>
                  <a:lnTo>
                    <a:pt x="401" y="7"/>
                  </a:lnTo>
                  <a:lnTo>
                    <a:pt x="406" y="11"/>
                  </a:lnTo>
                  <a:lnTo>
                    <a:pt x="409" y="17"/>
                  </a:lnTo>
                  <a:lnTo>
                    <a:pt x="410" y="23"/>
                  </a:lnTo>
                  <a:lnTo>
                    <a:pt x="411" y="28"/>
                  </a:lnTo>
                  <a:lnTo>
                    <a:pt x="410" y="34"/>
                  </a:lnTo>
                  <a:lnTo>
                    <a:pt x="403" y="51"/>
                  </a:lnTo>
                  <a:lnTo>
                    <a:pt x="394" y="67"/>
                  </a:lnTo>
                  <a:lnTo>
                    <a:pt x="385" y="83"/>
                  </a:lnTo>
                  <a:lnTo>
                    <a:pt x="377" y="98"/>
                  </a:lnTo>
                  <a:lnTo>
                    <a:pt x="365" y="111"/>
                  </a:lnTo>
                  <a:lnTo>
                    <a:pt x="354" y="123"/>
                  </a:lnTo>
                  <a:lnTo>
                    <a:pt x="342" y="135"/>
                  </a:lnTo>
                  <a:lnTo>
                    <a:pt x="329" y="145"/>
                  </a:lnTo>
                  <a:lnTo>
                    <a:pt x="315" y="155"/>
                  </a:lnTo>
                  <a:lnTo>
                    <a:pt x="301" y="162"/>
                  </a:lnTo>
                  <a:lnTo>
                    <a:pt x="286" y="170"/>
                  </a:lnTo>
                  <a:lnTo>
                    <a:pt x="270" y="175"/>
                  </a:lnTo>
                  <a:lnTo>
                    <a:pt x="254" y="181"/>
                  </a:lnTo>
                  <a:lnTo>
                    <a:pt x="239" y="184"/>
                  </a:lnTo>
                  <a:lnTo>
                    <a:pt x="221" y="185"/>
                  </a:lnTo>
                  <a:lnTo>
                    <a:pt x="205"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9" name="Group 14">
            <a:extLst>
              <a:ext uri="{FF2B5EF4-FFF2-40B4-BE49-F238E27FC236}">
                <a16:creationId xmlns:a16="http://schemas.microsoft.com/office/drawing/2014/main" id="{775E9173-E724-4039-A18C-724812962FD4}"/>
              </a:ext>
            </a:extLst>
          </p:cNvPr>
          <p:cNvGrpSpPr>
            <a:grpSpLocks noChangeAspect="1"/>
          </p:cNvGrpSpPr>
          <p:nvPr/>
        </p:nvGrpSpPr>
        <p:grpSpPr>
          <a:xfrm>
            <a:off x="1077279" y="2724897"/>
            <a:ext cx="284040" cy="285619"/>
            <a:chOff x="5464175" y="3646488"/>
            <a:chExt cx="285750" cy="287338"/>
          </a:xfrm>
          <a:solidFill>
            <a:schemeClr val="bg1"/>
          </a:solidFill>
          <a:effectLst/>
        </p:grpSpPr>
        <p:sp>
          <p:nvSpPr>
            <p:cNvPr id="640" name="Freeform 25">
              <a:extLst>
                <a:ext uri="{FF2B5EF4-FFF2-40B4-BE49-F238E27FC236}">
                  <a16:creationId xmlns:a16="http://schemas.microsoft.com/office/drawing/2014/main" id="{CB143F1E-3F21-4110-A3C3-0BCC8A2067CF}"/>
                </a:ext>
              </a:extLst>
            </p:cNvPr>
            <p:cNvSpPr>
              <a:spLocks noEditPoints="1"/>
            </p:cNvSpPr>
            <p:nvPr/>
          </p:nvSpPr>
          <p:spPr bwMode="auto">
            <a:xfrm>
              <a:off x="5464175" y="3646488"/>
              <a:ext cx="285750" cy="287338"/>
            </a:xfrm>
            <a:custGeom>
              <a:avLst/>
              <a:gdLst>
                <a:gd name="T0" fmla="*/ 366 w 901"/>
                <a:gd name="T1" fmla="*/ 862 h 901"/>
                <a:gd name="T2" fmla="*/ 269 w 901"/>
                <a:gd name="T3" fmla="*/ 829 h 901"/>
                <a:gd name="T4" fmla="*/ 184 w 901"/>
                <a:gd name="T5" fmla="*/ 775 h 901"/>
                <a:gd name="T6" fmla="*/ 114 w 901"/>
                <a:gd name="T7" fmla="*/ 702 h 901"/>
                <a:gd name="T8" fmla="*/ 63 w 901"/>
                <a:gd name="T9" fmla="*/ 614 h 901"/>
                <a:gd name="T10" fmla="*/ 35 w 901"/>
                <a:gd name="T11" fmla="*/ 515 h 901"/>
                <a:gd name="T12" fmla="*/ 32 w 901"/>
                <a:gd name="T13" fmla="*/ 408 h 901"/>
                <a:gd name="T14" fmla="*/ 56 w 901"/>
                <a:gd name="T15" fmla="*/ 306 h 901"/>
                <a:gd name="T16" fmla="*/ 103 w 901"/>
                <a:gd name="T17" fmla="*/ 215 h 901"/>
                <a:gd name="T18" fmla="*/ 168 w 901"/>
                <a:gd name="T19" fmla="*/ 139 h 901"/>
                <a:gd name="T20" fmla="*/ 250 w 901"/>
                <a:gd name="T21" fmla="*/ 80 h 901"/>
                <a:gd name="T22" fmla="*/ 346 w 901"/>
                <a:gd name="T23" fmla="*/ 43 h 901"/>
                <a:gd name="T24" fmla="*/ 450 w 901"/>
                <a:gd name="T25" fmla="*/ 30 h 901"/>
                <a:gd name="T26" fmla="*/ 555 w 901"/>
                <a:gd name="T27" fmla="*/ 43 h 901"/>
                <a:gd name="T28" fmla="*/ 652 w 901"/>
                <a:gd name="T29" fmla="*/ 80 h 901"/>
                <a:gd name="T30" fmla="*/ 733 w 901"/>
                <a:gd name="T31" fmla="*/ 139 h 901"/>
                <a:gd name="T32" fmla="*/ 799 w 901"/>
                <a:gd name="T33" fmla="*/ 215 h 901"/>
                <a:gd name="T34" fmla="*/ 845 w 901"/>
                <a:gd name="T35" fmla="*/ 306 h 901"/>
                <a:gd name="T36" fmla="*/ 869 w 901"/>
                <a:gd name="T37" fmla="*/ 408 h 901"/>
                <a:gd name="T38" fmla="*/ 867 w 901"/>
                <a:gd name="T39" fmla="*/ 515 h 901"/>
                <a:gd name="T40" fmla="*/ 838 w 901"/>
                <a:gd name="T41" fmla="*/ 614 h 901"/>
                <a:gd name="T42" fmla="*/ 788 w 901"/>
                <a:gd name="T43" fmla="*/ 702 h 901"/>
                <a:gd name="T44" fmla="*/ 718 w 901"/>
                <a:gd name="T45" fmla="*/ 775 h 901"/>
                <a:gd name="T46" fmla="*/ 633 w 901"/>
                <a:gd name="T47" fmla="*/ 829 h 901"/>
                <a:gd name="T48" fmla="*/ 536 w 901"/>
                <a:gd name="T49" fmla="*/ 862 h 901"/>
                <a:gd name="T50" fmla="*/ 450 w 901"/>
                <a:gd name="T51" fmla="*/ 0 h 901"/>
                <a:gd name="T52" fmla="*/ 338 w 901"/>
                <a:gd name="T53" fmla="*/ 14 h 901"/>
                <a:gd name="T54" fmla="*/ 236 w 901"/>
                <a:gd name="T55" fmla="*/ 54 h 901"/>
                <a:gd name="T56" fmla="*/ 148 w 901"/>
                <a:gd name="T57" fmla="*/ 117 h 901"/>
                <a:gd name="T58" fmla="*/ 77 w 901"/>
                <a:gd name="T59" fmla="*/ 199 h 901"/>
                <a:gd name="T60" fmla="*/ 28 w 901"/>
                <a:gd name="T61" fmla="*/ 295 h 901"/>
                <a:gd name="T62" fmla="*/ 3 w 901"/>
                <a:gd name="T63" fmla="*/ 404 h 901"/>
                <a:gd name="T64" fmla="*/ 5 w 901"/>
                <a:gd name="T65" fmla="*/ 519 h 901"/>
                <a:gd name="T66" fmla="*/ 36 w 901"/>
                <a:gd name="T67" fmla="*/ 626 h 901"/>
                <a:gd name="T68" fmla="*/ 90 w 901"/>
                <a:gd name="T69" fmla="*/ 720 h 901"/>
                <a:gd name="T70" fmla="*/ 165 w 901"/>
                <a:gd name="T71" fmla="*/ 798 h 901"/>
                <a:gd name="T72" fmla="*/ 256 w 901"/>
                <a:gd name="T73" fmla="*/ 856 h 901"/>
                <a:gd name="T74" fmla="*/ 361 w 901"/>
                <a:gd name="T75" fmla="*/ 891 h 901"/>
                <a:gd name="T76" fmla="*/ 474 w 901"/>
                <a:gd name="T77" fmla="*/ 900 h 901"/>
                <a:gd name="T78" fmla="*/ 584 w 901"/>
                <a:gd name="T79" fmla="*/ 881 h 901"/>
                <a:gd name="T80" fmla="*/ 685 w 901"/>
                <a:gd name="T81" fmla="*/ 836 h 901"/>
                <a:gd name="T82" fmla="*/ 769 w 901"/>
                <a:gd name="T83" fmla="*/ 768 h 901"/>
                <a:gd name="T84" fmla="*/ 836 w 901"/>
                <a:gd name="T85" fmla="*/ 684 h 901"/>
                <a:gd name="T86" fmla="*/ 881 w 901"/>
                <a:gd name="T87" fmla="*/ 584 h 901"/>
                <a:gd name="T88" fmla="*/ 901 w 901"/>
                <a:gd name="T89" fmla="*/ 474 h 901"/>
                <a:gd name="T90" fmla="*/ 892 w 901"/>
                <a:gd name="T91" fmla="*/ 359 h 901"/>
                <a:gd name="T92" fmla="*/ 857 w 901"/>
                <a:gd name="T93" fmla="*/ 255 h 901"/>
                <a:gd name="T94" fmla="*/ 798 w 901"/>
                <a:gd name="T95" fmla="*/ 164 h 901"/>
                <a:gd name="T96" fmla="*/ 720 w 901"/>
                <a:gd name="T97" fmla="*/ 90 h 901"/>
                <a:gd name="T98" fmla="*/ 626 w 901"/>
                <a:gd name="T99" fmla="*/ 35 h 901"/>
                <a:gd name="T100" fmla="*/ 519 w 901"/>
                <a:gd name="T101" fmla="*/ 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7" y="866"/>
                  </a:lnTo>
                  <a:lnTo>
                    <a:pt x="366" y="862"/>
                  </a:lnTo>
                  <a:lnTo>
                    <a:pt x="346" y="857"/>
                  </a:lnTo>
                  <a:lnTo>
                    <a:pt x="326" y="852"/>
                  </a:lnTo>
                  <a:lnTo>
                    <a:pt x="306" y="845"/>
                  </a:lnTo>
                  <a:lnTo>
                    <a:pt x="288" y="838"/>
                  </a:lnTo>
                  <a:lnTo>
                    <a:pt x="269" y="829"/>
                  </a:lnTo>
                  <a:lnTo>
                    <a:pt x="250" y="820"/>
                  </a:lnTo>
                  <a:lnTo>
                    <a:pt x="233" y="810"/>
                  </a:lnTo>
                  <a:lnTo>
                    <a:pt x="216" y="799"/>
                  </a:lnTo>
                  <a:lnTo>
                    <a:pt x="199" y="787"/>
                  </a:lnTo>
                  <a:lnTo>
                    <a:pt x="184" y="775"/>
                  </a:lnTo>
                  <a:lnTo>
                    <a:pt x="168" y="762"/>
                  </a:lnTo>
                  <a:lnTo>
                    <a:pt x="154" y="748"/>
                  </a:lnTo>
                  <a:lnTo>
                    <a:pt x="140" y="733"/>
                  </a:lnTo>
                  <a:lnTo>
                    <a:pt x="126" y="718"/>
                  </a:lnTo>
                  <a:lnTo>
                    <a:pt x="114" y="702"/>
                  </a:lnTo>
                  <a:lnTo>
                    <a:pt x="103" y="685"/>
                  </a:lnTo>
                  <a:lnTo>
                    <a:pt x="91" y="668"/>
                  </a:lnTo>
                  <a:lnTo>
                    <a:pt x="81" y="651"/>
                  </a:lnTo>
                  <a:lnTo>
                    <a:pt x="72" y="632"/>
                  </a:lnTo>
                  <a:lnTo>
                    <a:pt x="63" y="614"/>
                  </a:lnTo>
                  <a:lnTo>
                    <a:pt x="56" y="595"/>
                  </a:lnTo>
                  <a:lnTo>
                    <a:pt x="49" y="576"/>
                  </a:lnTo>
                  <a:lnTo>
                    <a:pt x="44" y="555"/>
                  </a:lnTo>
                  <a:lnTo>
                    <a:pt x="39" y="535"/>
                  </a:lnTo>
                  <a:lnTo>
                    <a:pt x="35" y="515"/>
                  </a:lnTo>
                  <a:lnTo>
                    <a:pt x="32" y="493"/>
                  </a:lnTo>
                  <a:lnTo>
                    <a:pt x="31" y="472"/>
                  </a:lnTo>
                  <a:lnTo>
                    <a:pt x="30" y="450"/>
                  </a:lnTo>
                  <a:lnTo>
                    <a:pt x="31" y="429"/>
                  </a:lnTo>
                  <a:lnTo>
                    <a:pt x="32" y="408"/>
                  </a:lnTo>
                  <a:lnTo>
                    <a:pt x="35" y="386"/>
                  </a:lnTo>
                  <a:lnTo>
                    <a:pt x="39" y="366"/>
                  </a:lnTo>
                  <a:lnTo>
                    <a:pt x="44" y="346"/>
                  </a:lnTo>
                  <a:lnTo>
                    <a:pt x="49" y="325"/>
                  </a:lnTo>
                  <a:lnTo>
                    <a:pt x="56" y="306"/>
                  </a:lnTo>
                  <a:lnTo>
                    <a:pt x="63" y="287"/>
                  </a:lnTo>
                  <a:lnTo>
                    <a:pt x="72" y="268"/>
                  </a:lnTo>
                  <a:lnTo>
                    <a:pt x="81" y="250"/>
                  </a:lnTo>
                  <a:lnTo>
                    <a:pt x="91" y="232"/>
                  </a:lnTo>
                  <a:lnTo>
                    <a:pt x="103" y="215"/>
                  </a:lnTo>
                  <a:lnTo>
                    <a:pt x="114" y="199"/>
                  </a:lnTo>
                  <a:lnTo>
                    <a:pt x="126" y="183"/>
                  </a:lnTo>
                  <a:lnTo>
                    <a:pt x="140" y="168"/>
                  </a:lnTo>
                  <a:lnTo>
                    <a:pt x="154" y="153"/>
                  </a:lnTo>
                  <a:lnTo>
                    <a:pt x="168" y="139"/>
                  </a:lnTo>
                  <a:lnTo>
                    <a:pt x="184" y="126"/>
                  </a:lnTo>
                  <a:lnTo>
                    <a:pt x="199" y="113"/>
                  </a:lnTo>
                  <a:lnTo>
                    <a:pt x="216" y="102"/>
                  </a:lnTo>
                  <a:lnTo>
                    <a:pt x="233" y="91"/>
                  </a:lnTo>
                  <a:lnTo>
                    <a:pt x="250" y="80"/>
                  </a:lnTo>
                  <a:lnTo>
                    <a:pt x="269" y="72"/>
                  </a:lnTo>
                  <a:lnTo>
                    <a:pt x="288" y="63"/>
                  </a:lnTo>
                  <a:lnTo>
                    <a:pt x="306" y="56"/>
                  </a:lnTo>
                  <a:lnTo>
                    <a:pt x="326" y="49"/>
                  </a:lnTo>
                  <a:lnTo>
                    <a:pt x="346" y="43"/>
                  </a:lnTo>
                  <a:lnTo>
                    <a:pt x="366" y="38"/>
                  </a:lnTo>
                  <a:lnTo>
                    <a:pt x="387" y="34"/>
                  </a:lnTo>
                  <a:lnTo>
                    <a:pt x="408" y="32"/>
                  </a:lnTo>
                  <a:lnTo>
                    <a:pt x="429" y="30"/>
                  </a:lnTo>
                  <a:lnTo>
                    <a:pt x="450" y="30"/>
                  </a:lnTo>
                  <a:lnTo>
                    <a:pt x="473" y="30"/>
                  </a:lnTo>
                  <a:lnTo>
                    <a:pt x="494" y="32"/>
                  </a:lnTo>
                  <a:lnTo>
                    <a:pt x="515" y="34"/>
                  </a:lnTo>
                  <a:lnTo>
                    <a:pt x="535" y="38"/>
                  </a:lnTo>
                  <a:lnTo>
                    <a:pt x="555" y="43"/>
                  </a:lnTo>
                  <a:lnTo>
                    <a:pt x="576" y="49"/>
                  </a:lnTo>
                  <a:lnTo>
                    <a:pt x="595" y="56"/>
                  </a:lnTo>
                  <a:lnTo>
                    <a:pt x="614" y="63"/>
                  </a:lnTo>
                  <a:lnTo>
                    <a:pt x="633" y="72"/>
                  </a:lnTo>
                  <a:lnTo>
                    <a:pt x="652" y="80"/>
                  </a:lnTo>
                  <a:lnTo>
                    <a:pt x="669" y="91"/>
                  </a:lnTo>
                  <a:lnTo>
                    <a:pt x="686" y="102"/>
                  </a:lnTo>
                  <a:lnTo>
                    <a:pt x="702" y="113"/>
                  </a:lnTo>
                  <a:lnTo>
                    <a:pt x="718" y="126"/>
                  </a:lnTo>
                  <a:lnTo>
                    <a:pt x="733" y="139"/>
                  </a:lnTo>
                  <a:lnTo>
                    <a:pt x="748" y="153"/>
                  </a:lnTo>
                  <a:lnTo>
                    <a:pt x="762" y="168"/>
                  </a:lnTo>
                  <a:lnTo>
                    <a:pt x="776" y="183"/>
                  </a:lnTo>
                  <a:lnTo>
                    <a:pt x="788" y="199"/>
                  </a:lnTo>
                  <a:lnTo>
                    <a:pt x="799" y="215"/>
                  </a:lnTo>
                  <a:lnTo>
                    <a:pt x="810" y="232"/>
                  </a:lnTo>
                  <a:lnTo>
                    <a:pt x="821" y="250"/>
                  </a:lnTo>
                  <a:lnTo>
                    <a:pt x="830" y="268"/>
                  </a:lnTo>
                  <a:lnTo>
                    <a:pt x="838" y="287"/>
                  </a:lnTo>
                  <a:lnTo>
                    <a:pt x="845" y="306"/>
                  </a:lnTo>
                  <a:lnTo>
                    <a:pt x="853" y="325"/>
                  </a:lnTo>
                  <a:lnTo>
                    <a:pt x="858" y="346"/>
                  </a:lnTo>
                  <a:lnTo>
                    <a:pt x="862" y="366"/>
                  </a:lnTo>
                  <a:lnTo>
                    <a:pt x="867" y="386"/>
                  </a:lnTo>
                  <a:lnTo>
                    <a:pt x="869" y="408"/>
                  </a:lnTo>
                  <a:lnTo>
                    <a:pt x="871" y="429"/>
                  </a:lnTo>
                  <a:lnTo>
                    <a:pt x="871" y="450"/>
                  </a:lnTo>
                  <a:lnTo>
                    <a:pt x="871" y="472"/>
                  </a:lnTo>
                  <a:lnTo>
                    <a:pt x="869" y="493"/>
                  </a:lnTo>
                  <a:lnTo>
                    <a:pt x="867" y="515"/>
                  </a:lnTo>
                  <a:lnTo>
                    <a:pt x="862" y="535"/>
                  </a:lnTo>
                  <a:lnTo>
                    <a:pt x="858" y="555"/>
                  </a:lnTo>
                  <a:lnTo>
                    <a:pt x="853" y="576"/>
                  </a:lnTo>
                  <a:lnTo>
                    <a:pt x="845" y="595"/>
                  </a:lnTo>
                  <a:lnTo>
                    <a:pt x="838" y="614"/>
                  </a:lnTo>
                  <a:lnTo>
                    <a:pt x="830" y="632"/>
                  </a:lnTo>
                  <a:lnTo>
                    <a:pt x="821" y="651"/>
                  </a:lnTo>
                  <a:lnTo>
                    <a:pt x="810" y="668"/>
                  </a:lnTo>
                  <a:lnTo>
                    <a:pt x="799" y="685"/>
                  </a:lnTo>
                  <a:lnTo>
                    <a:pt x="788" y="702"/>
                  </a:lnTo>
                  <a:lnTo>
                    <a:pt x="776" y="718"/>
                  </a:lnTo>
                  <a:lnTo>
                    <a:pt x="762" y="733"/>
                  </a:lnTo>
                  <a:lnTo>
                    <a:pt x="748" y="748"/>
                  </a:lnTo>
                  <a:lnTo>
                    <a:pt x="733" y="762"/>
                  </a:lnTo>
                  <a:lnTo>
                    <a:pt x="718" y="775"/>
                  </a:lnTo>
                  <a:lnTo>
                    <a:pt x="702" y="787"/>
                  </a:lnTo>
                  <a:lnTo>
                    <a:pt x="686" y="799"/>
                  </a:lnTo>
                  <a:lnTo>
                    <a:pt x="669" y="810"/>
                  </a:lnTo>
                  <a:lnTo>
                    <a:pt x="652" y="820"/>
                  </a:lnTo>
                  <a:lnTo>
                    <a:pt x="633" y="829"/>
                  </a:lnTo>
                  <a:lnTo>
                    <a:pt x="614" y="838"/>
                  </a:lnTo>
                  <a:lnTo>
                    <a:pt x="595" y="845"/>
                  </a:lnTo>
                  <a:lnTo>
                    <a:pt x="576" y="852"/>
                  </a:lnTo>
                  <a:lnTo>
                    <a:pt x="555" y="857"/>
                  </a:lnTo>
                  <a:lnTo>
                    <a:pt x="536" y="862"/>
                  </a:lnTo>
                  <a:lnTo>
                    <a:pt x="515" y="866"/>
                  </a:lnTo>
                  <a:lnTo>
                    <a:pt x="494" y="869"/>
                  </a:lnTo>
                  <a:lnTo>
                    <a:pt x="473" y="870"/>
                  </a:lnTo>
                  <a:lnTo>
                    <a:pt x="450" y="871"/>
                  </a:lnTo>
                  <a:close/>
                  <a:moveTo>
                    <a:pt x="450" y="0"/>
                  </a:moveTo>
                  <a:lnTo>
                    <a:pt x="428" y="0"/>
                  </a:lnTo>
                  <a:lnTo>
                    <a:pt x="404" y="2"/>
                  </a:lnTo>
                  <a:lnTo>
                    <a:pt x="382" y="5"/>
                  </a:lnTo>
                  <a:lnTo>
                    <a:pt x="361" y="8"/>
                  </a:lnTo>
                  <a:lnTo>
                    <a:pt x="338" y="14"/>
                  </a:lnTo>
                  <a:lnTo>
                    <a:pt x="317" y="20"/>
                  </a:lnTo>
                  <a:lnTo>
                    <a:pt x="296" y="27"/>
                  </a:lnTo>
                  <a:lnTo>
                    <a:pt x="276" y="35"/>
                  </a:lnTo>
                  <a:lnTo>
                    <a:pt x="256" y="44"/>
                  </a:lnTo>
                  <a:lnTo>
                    <a:pt x="236" y="54"/>
                  </a:lnTo>
                  <a:lnTo>
                    <a:pt x="217" y="65"/>
                  </a:lnTo>
                  <a:lnTo>
                    <a:pt x="199" y="77"/>
                  </a:lnTo>
                  <a:lnTo>
                    <a:pt x="182" y="90"/>
                  </a:lnTo>
                  <a:lnTo>
                    <a:pt x="165" y="103"/>
                  </a:lnTo>
                  <a:lnTo>
                    <a:pt x="148" y="117"/>
                  </a:lnTo>
                  <a:lnTo>
                    <a:pt x="133" y="132"/>
                  </a:lnTo>
                  <a:lnTo>
                    <a:pt x="118" y="148"/>
                  </a:lnTo>
                  <a:lnTo>
                    <a:pt x="104" y="164"/>
                  </a:lnTo>
                  <a:lnTo>
                    <a:pt x="90" y="181"/>
                  </a:lnTo>
                  <a:lnTo>
                    <a:pt x="77" y="199"/>
                  </a:lnTo>
                  <a:lnTo>
                    <a:pt x="65" y="217"/>
                  </a:lnTo>
                  <a:lnTo>
                    <a:pt x="55" y="235"/>
                  </a:lnTo>
                  <a:lnTo>
                    <a:pt x="45" y="255"/>
                  </a:lnTo>
                  <a:lnTo>
                    <a:pt x="36" y="275"/>
                  </a:lnTo>
                  <a:lnTo>
                    <a:pt x="28" y="295"/>
                  </a:lnTo>
                  <a:lnTo>
                    <a:pt x="20" y="317"/>
                  </a:lnTo>
                  <a:lnTo>
                    <a:pt x="15" y="338"/>
                  </a:lnTo>
                  <a:lnTo>
                    <a:pt x="10" y="359"/>
                  </a:lnTo>
                  <a:lnTo>
                    <a:pt x="5" y="382"/>
                  </a:lnTo>
                  <a:lnTo>
                    <a:pt x="3" y="404"/>
                  </a:lnTo>
                  <a:lnTo>
                    <a:pt x="1" y="427"/>
                  </a:lnTo>
                  <a:lnTo>
                    <a:pt x="0" y="450"/>
                  </a:lnTo>
                  <a:lnTo>
                    <a:pt x="1" y="474"/>
                  </a:lnTo>
                  <a:lnTo>
                    <a:pt x="3" y="496"/>
                  </a:lnTo>
                  <a:lnTo>
                    <a:pt x="5" y="519"/>
                  </a:lnTo>
                  <a:lnTo>
                    <a:pt x="10" y="541"/>
                  </a:lnTo>
                  <a:lnTo>
                    <a:pt x="15" y="563"/>
                  </a:lnTo>
                  <a:lnTo>
                    <a:pt x="20" y="584"/>
                  </a:lnTo>
                  <a:lnTo>
                    <a:pt x="28" y="605"/>
                  </a:lnTo>
                  <a:lnTo>
                    <a:pt x="36" y="626"/>
                  </a:lnTo>
                  <a:lnTo>
                    <a:pt x="45" y="645"/>
                  </a:lnTo>
                  <a:lnTo>
                    <a:pt x="55" y="664"/>
                  </a:lnTo>
                  <a:lnTo>
                    <a:pt x="65" y="684"/>
                  </a:lnTo>
                  <a:lnTo>
                    <a:pt x="77" y="702"/>
                  </a:lnTo>
                  <a:lnTo>
                    <a:pt x="90" y="720"/>
                  </a:lnTo>
                  <a:lnTo>
                    <a:pt x="104" y="737"/>
                  </a:lnTo>
                  <a:lnTo>
                    <a:pt x="118" y="753"/>
                  </a:lnTo>
                  <a:lnTo>
                    <a:pt x="133" y="768"/>
                  </a:lnTo>
                  <a:lnTo>
                    <a:pt x="148" y="783"/>
                  </a:lnTo>
                  <a:lnTo>
                    <a:pt x="165" y="798"/>
                  </a:lnTo>
                  <a:lnTo>
                    <a:pt x="182" y="811"/>
                  </a:lnTo>
                  <a:lnTo>
                    <a:pt x="199" y="824"/>
                  </a:lnTo>
                  <a:lnTo>
                    <a:pt x="217" y="836"/>
                  </a:lnTo>
                  <a:lnTo>
                    <a:pt x="236" y="846"/>
                  </a:lnTo>
                  <a:lnTo>
                    <a:pt x="256" y="856"/>
                  </a:lnTo>
                  <a:lnTo>
                    <a:pt x="276" y="866"/>
                  </a:lnTo>
                  <a:lnTo>
                    <a:pt x="296" y="873"/>
                  </a:lnTo>
                  <a:lnTo>
                    <a:pt x="317" y="881"/>
                  </a:lnTo>
                  <a:lnTo>
                    <a:pt x="338" y="887"/>
                  </a:lnTo>
                  <a:lnTo>
                    <a:pt x="361" y="891"/>
                  </a:lnTo>
                  <a:lnTo>
                    <a:pt x="382" y="896"/>
                  </a:lnTo>
                  <a:lnTo>
                    <a:pt x="404" y="899"/>
                  </a:lnTo>
                  <a:lnTo>
                    <a:pt x="428" y="900"/>
                  </a:lnTo>
                  <a:lnTo>
                    <a:pt x="450" y="901"/>
                  </a:lnTo>
                  <a:lnTo>
                    <a:pt x="474" y="900"/>
                  </a:lnTo>
                  <a:lnTo>
                    <a:pt x="496" y="899"/>
                  </a:lnTo>
                  <a:lnTo>
                    <a:pt x="519" y="896"/>
                  </a:lnTo>
                  <a:lnTo>
                    <a:pt x="541" y="891"/>
                  </a:lnTo>
                  <a:lnTo>
                    <a:pt x="563" y="887"/>
                  </a:lnTo>
                  <a:lnTo>
                    <a:pt x="584" y="881"/>
                  </a:lnTo>
                  <a:lnTo>
                    <a:pt x="606" y="873"/>
                  </a:lnTo>
                  <a:lnTo>
                    <a:pt x="626" y="866"/>
                  </a:lnTo>
                  <a:lnTo>
                    <a:pt x="646" y="856"/>
                  </a:lnTo>
                  <a:lnTo>
                    <a:pt x="666" y="846"/>
                  </a:lnTo>
                  <a:lnTo>
                    <a:pt x="685" y="836"/>
                  </a:lnTo>
                  <a:lnTo>
                    <a:pt x="703" y="824"/>
                  </a:lnTo>
                  <a:lnTo>
                    <a:pt x="720" y="811"/>
                  </a:lnTo>
                  <a:lnTo>
                    <a:pt x="737" y="798"/>
                  </a:lnTo>
                  <a:lnTo>
                    <a:pt x="753" y="783"/>
                  </a:lnTo>
                  <a:lnTo>
                    <a:pt x="769" y="768"/>
                  </a:lnTo>
                  <a:lnTo>
                    <a:pt x="784" y="753"/>
                  </a:lnTo>
                  <a:lnTo>
                    <a:pt x="798" y="736"/>
                  </a:lnTo>
                  <a:lnTo>
                    <a:pt x="812" y="720"/>
                  </a:lnTo>
                  <a:lnTo>
                    <a:pt x="824" y="702"/>
                  </a:lnTo>
                  <a:lnTo>
                    <a:pt x="836" y="684"/>
                  </a:lnTo>
                  <a:lnTo>
                    <a:pt x="847" y="664"/>
                  </a:lnTo>
                  <a:lnTo>
                    <a:pt x="857" y="645"/>
                  </a:lnTo>
                  <a:lnTo>
                    <a:pt x="866" y="626"/>
                  </a:lnTo>
                  <a:lnTo>
                    <a:pt x="874" y="605"/>
                  </a:lnTo>
                  <a:lnTo>
                    <a:pt x="881" y="584"/>
                  </a:lnTo>
                  <a:lnTo>
                    <a:pt x="887" y="563"/>
                  </a:lnTo>
                  <a:lnTo>
                    <a:pt x="892" y="541"/>
                  </a:lnTo>
                  <a:lnTo>
                    <a:pt x="897" y="519"/>
                  </a:lnTo>
                  <a:lnTo>
                    <a:pt x="899" y="496"/>
                  </a:lnTo>
                  <a:lnTo>
                    <a:pt x="901" y="474"/>
                  </a:lnTo>
                  <a:lnTo>
                    <a:pt x="901" y="450"/>
                  </a:lnTo>
                  <a:lnTo>
                    <a:pt x="901" y="427"/>
                  </a:lnTo>
                  <a:lnTo>
                    <a:pt x="899" y="404"/>
                  </a:lnTo>
                  <a:lnTo>
                    <a:pt x="897" y="382"/>
                  </a:lnTo>
                  <a:lnTo>
                    <a:pt x="892" y="359"/>
                  </a:lnTo>
                  <a:lnTo>
                    <a:pt x="887" y="338"/>
                  </a:lnTo>
                  <a:lnTo>
                    <a:pt x="881" y="317"/>
                  </a:lnTo>
                  <a:lnTo>
                    <a:pt x="874" y="295"/>
                  </a:lnTo>
                  <a:lnTo>
                    <a:pt x="866" y="275"/>
                  </a:lnTo>
                  <a:lnTo>
                    <a:pt x="857" y="255"/>
                  </a:lnTo>
                  <a:lnTo>
                    <a:pt x="847" y="235"/>
                  </a:lnTo>
                  <a:lnTo>
                    <a:pt x="836" y="217"/>
                  </a:lnTo>
                  <a:lnTo>
                    <a:pt x="824" y="199"/>
                  </a:lnTo>
                  <a:lnTo>
                    <a:pt x="812" y="181"/>
                  </a:lnTo>
                  <a:lnTo>
                    <a:pt x="798" y="164"/>
                  </a:lnTo>
                  <a:lnTo>
                    <a:pt x="784" y="148"/>
                  </a:lnTo>
                  <a:lnTo>
                    <a:pt x="769" y="132"/>
                  </a:lnTo>
                  <a:lnTo>
                    <a:pt x="753" y="117"/>
                  </a:lnTo>
                  <a:lnTo>
                    <a:pt x="737" y="103"/>
                  </a:lnTo>
                  <a:lnTo>
                    <a:pt x="720" y="90"/>
                  </a:lnTo>
                  <a:lnTo>
                    <a:pt x="703" y="77"/>
                  </a:lnTo>
                  <a:lnTo>
                    <a:pt x="685" y="65"/>
                  </a:lnTo>
                  <a:lnTo>
                    <a:pt x="666" y="54"/>
                  </a:lnTo>
                  <a:lnTo>
                    <a:pt x="646" y="44"/>
                  </a:lnTo>
                  <a:lnTo>
                    <a:pt x="626" y="35"/>
                  </a:lnTo>
                  <a:lnTo>
                    <a:pt x="606" y="27"/>
                  </a:lnTo>
                  <a:lnTo>
                    <a:pt x="584" y="20"/>
                  </a:lnTo>
                  <a:lnTo>
                    <a:pt x="563" y="14"/>
                  </a:lnTo>
                  <a:lnTo>
                    <a:pt x="541" y="8"/>
                  </a:lnTo>
                  <a:lnTo>
                    <a:pt x="519" y="5"/>
                  </a:lnTo>
                  <a:lnTo>
                    <a:pt x="496" y="2"/>
                  </a:lnTo>
                  <a:lnTo>
                    <a:pt x="474"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Freeform 27">
              <a:extLst>
                <a:ext uri="{FF2B5EF4-FFF2-40B4-BE49-F238E27FC236}">
                  <a16:creationId xmlns:a16="http://schemas.microsoft.com/office/drawing/2014/main" id="{B9628102-C4E9-4695-B2E4-5738371039C0}"/>
                </a:ext>
              </a:extLst>
            </p:cNvPr>
            <p:cNvSpPr>
              <a:spLocks/>
            </p:cNvSpPr>
            <p:nvPr/>
          </p:nvSpPr>
          <p:spPr bwMode="auto">
            <a:xfrm>
              <a:off x="5630863" y="3736976"/>
              <a:ext cx="61913" cy="33338"/>
            </a:xfrm>
            <a:custGeom>
              <a:avLst/>
              <a:gdLst>
                <a:gd name="T0" fmla="*/ 104 w 195"/>
                <a:gd name="T1" fmla="*/ 104 h 104"/>
                <a:gd name="T2" fmla="*/ 122 w 195"/>
                <a:gd name="T3" fmla="*/ 101 h 104"/>
                <a:gd name="T4" fmla="*/ 140 w 195"/>
                <a:gd name="T5" fmla="*/ 95 h 104"/>
                <a:gd name="T6" fmla="*/ 156 w 195"/>
                <a:gd name="T7" fmla="*/ 85 h 104"/>
                <a:gd name="T8" fmla="*/ 169 w 195"/>
                <a:gd name="T9" fmla="*/ 73 h 104"/>
                <a:gd name="T10" fmla="*/ 181 w 195"/>
                <a:gd name="T11" fmla="*/ 59 h 104"/>
                <a:gd name="T12" fmla="*/ 190 w 195"/>
                <a:gd name="T13" fmla="*/ 43 h 104"/>
                <a:gd name="T14" fmla="*/ 194 w 195"/>
                <a:gd name="T15" fmla="*/ 25 h 104"/>
                <a:gd name="T16" fmla="*/ 195 w 195"/>
                <a:gd name="T17" fmla="*/ 12 h 104"/>
                <a:gd name="T18" fmla="*/ 193 w 195"/>
                <a:gd name="T19" fmla="*/ 7 h 104"/>
                <a:gd name="T20" fmla="*/ 189 w 195"/>
                <a:gd name="T21" fmla="*/ 3 h 104"/>
                <a:gd name="T22" fmla="*/ 183 w 195"/>
                <a:gd name="T23" fmla="*/ 1 h 104"/>
                <a:gd name="T24" fmla="*/ 177 w 195"/>
                <a:gd name="T25" fmla="*/ 1 h 104"/>
                <a:gd name="T26" fmla="*/ 172 w 195"/>
                <a:gd name="T27" fmla="*/ 3 h 104"/>
                <a:gd name="T28" fmla="*/ 167 w 195"/>
                <a:gd name="T29" fmla="*/ 7 h 104"/>
                <a:gd name="T30" fmla="*/ 165 w 195"/>
                <a:gd name="T31" fmla="*/ 12 h 104"/>
                <a:gd name="T32" fmla="*/ 165 w 195"/>
                <a:gd name="T33" fmla="*/ 21 h 104"/>
                <a:gd name="T34" fmla="*/ 162 w 195"/>
                <a:gd name="T35" fmla="*/ 33 h 104"/>
                <a:gd name="T36" fmla="*/ 156 w 195"/>
                <a:gd name="T37" fmla="*/ 43 h 104"/>
                <a:gd name="T38" fmla="*/ 147 w 195"/>
                <a:gd name="T39" fmla="*/ 53 h 104"/>
                <a:gd name="T40" fmla="*/ 132 w 195"/>
                <a:gd name="T41" fmla="*/ 65 h 104"/>
                <a:gd name="T42" fmla="*/ 114 w 195"/>
                <a:gd name="T43" fmla="*/ 72 h 104"/>
                <a:gd name="T44" fmla="*/ 101 w 195"/>
                <a:gd name="T45" fmla="*/ 74 h 104"/>
                <a:gd name="T46" fmla="*/ 89 w 195"/>
                <a:gd name="T47" fmla="*/ 74 h 104"/>
                <a:gd name="T48" fmla="*/ 76 w 195"/>
                <a:gd name="T49" fmla="*/ 71 h 104"/>
                <a:gd name="T50" fmla="*/ 65 w 195"/>
                <a:gd name="T51" fmla="*/ 67 h 104"/>
                <a:gd name="T52" fmla="*/ 54 w 195"/>
                <a:gd name="T53" fmla="*/ 61 h 104"/>
                <a:gd name="T54" fmla="*/ 45 w 195"/>
                <a:gd name="T55" fmla="*/ 53 h 104"/>
                <a:gd name="T56" fmla="*/ 38 w 195"/>
                <a:gd name="T57" fmla="*/ 43 h 104"/>
                <a:gd name="T58" fmla="*/ 33 w 195"/>
                <a:gd name="T59" fmla="*/ 33 h 104"/>
                <a:gd name="T60" fmla="*/ 30 w 195"/>
                <a:gd name="T61" fmla="*/ 21 h 104"/>
                <a:gd name="T62" fmla="*/ 29 w 195"/>
                <a:gd name="T63" fmla="*/ 12 h 104"/>
                <a:gd name="T64" fmla="*/ 27 w 195"/>
                <a:gd name="T65" fmla="*/ 7 h 104"/>
                <a:gd name="T66" fmla="*/ 23 w 195"/>
                <a:gd name="T67" fmla="*/ 3 h 104"/>
                <a:gd name="T68" fmla="*/ 18 w 195"/>
                <a:gd name="T69" fmla="*/ 1 h 104"/>
                <a:gd name="T70" fmla="*/ 12 w 195"/>
                <a:gd name="T71" fmla="*/ 1 h 104"/>
                <a:gd name="T72" fmla="*/ 7 w 195"/>
                <a:gd name="T73" fmla="*/ 3 h 104"/>
                <a:gd name="T74" fmla="*/ 3 w 195"/>
                <a:gd name="T75" fmla="*/ 7 h 104"/>
                <a:gd name="T76" fmla="*/ 0 w 195"/>
                <a:gd name="T77" fmla="*/ 12 h 104"/>
                <a:gd name="T78" fmla="*/ 0 w 195"/>
                <a:gd name="T79" fmla="*/ 24 h 104"/>
                <a:gd name="T80" fmla="*/ 5 w 195"/>
                <a:gd name="T81" fmla="*/ 41 h 104"/>
                <a:gd name="T82" fmla="*/ 12 w 195"/>
                <a:gd name="T83" fmla="*/ 57 h 104"/>
                <a:gd name="T84" fmla="*/ 22 w 195"/>
                <a:gd name="T85" fmla="*/ 71 h 104"/>
                <a:gd name="T86" fmla="*/ 35 w 195"/>
                <a:gd name="T87" fmla="*/ 84 h 104"/>
                <a:gd name="T88" fmla="*/ 51 w 195"/>
                <a:gd name="T89" fmla="*/ 94 h 104"/>
                <a:gd name="T90" fmla="*/ 68 w 195"/>
                <a:gd name="T91" fmla="*/ 100 h 104"/>
                <a:gd name="T92" fmla="*/ 86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6" y="104"/>
                  </a:moveTo>
                  <a:lnTo>
                    <a:pt x="104" y="104"/>
                  </a:lnTo>
                  <a:lnTo>
                    <a:pt x="113" y="102"/>
                  </a:lnTo>
                  <a:lnTo>
                    <a:pt x="122" y="101"/>
                  </a:lnTo>
                  <a:lnTo>
                    <a:pt x="131" y="98"/>
                  </a:lnTo>
                  <a:lnTo>
                    <a:pt x="140" y="95"/>
                  </a:lnTo>
                  <a:lnTo>
                    <a:pt x="148" y="90"/>
                  </a:lnTo>
                  <a:lnTo>
                    <a:pt x="156" y="85"/>
                  </a:lnTo>
                  <a:lnTo>
                    <a:pt x="163" y="80"/>
                  </a:lnTo>
                  <a:lnTo>
                    <a:pt x="169" y="73"/>
                  </a:lnTo>
                  <a:lnTo>
                    <a:pt x="176" y="67"/>
                  </a:lnTo>
                  <a:lnTo>
                    <a:pt x="181" y="59"/>
                  </a:lnTo>
                  <a:lnTo>
                    <a:pt x="187" y="51"/>
                  </a:lnTo>
                  <a:lnTo>
                    <a:pt x="190" y="43"/>
                  </a:lnTo>
                  <a:lnTo>
                    <a:pt x="193" y="34"/>
                  </a:lnTo>
                  <a:lnTo>
                    <a:pt x="194" y="25"/>
                  </a:lnTo>
                  <a:lnTo>
                    <a:pt x="195" y="16"/>
                  </a:lnTo>
                  <a:lnTo>
                    <a:pt x="195" y="12"/>
                  </a:lnTo>
                  <a:lnTo>
                    <a:pt x="194" y="9"/>
                  </a:lnTo>
                  <a:lnTo>
                    <a:pt x="193" y="7"/>
                  </a:lnTo>
                  <a:lnTo>
                    <a:pt x="191" y="5"/>
                  </a:lnTo>
                  <a:lnTo>
                    <a:pt x="189" y="3"/>
                  </a:lnTo>
                  <a:lnTo>
                    <a:pt x="186" y="2"/>
                  </a:lnTo>
                  <a:lnTo>
                    <a:pt x="183" y="1"/>
                  </a:lnTo>
                  <a:lnTo>
                    <a:pt x="180" y="0"/>
                  </a:lnTo>
                  <a:lnTo>
                    <a:pt x="177" y="1"/>
                  </a:lnTo>
                  <a:lnTo>
                    <a:pt x="175" y="2"/>
                  </a:lnTo>
                  <a:lnTo>
                    <a:pt x="172" y="3"/>
                  </a:lnTo>
                  <a:lnTo>
                    <a:pt x="169" y="5"/>
                  </a:lnTo>
                  <a:lnTo>
                    <a:pt x="167" y="7"/>
                  </a:lnTo>
                  <a:lnTo>
                    <a:pt x="166" y="9"/>
                  </a:lnTo>
                  <a:lnTo>
                    <a:pt x="165" y="12"/>
                  </a:lnTo>
                  <a:lnTo>
                    <a:pt x="165" y="16"/>
                  </a:lnTo>
                  <a:lnTo>
                    <a:pt x="165" y="21"/>
                  </a:lnTo>
                  <a:lnTo>
                    <a:pt x="163" y="27"/>
                  </a:lnTo>
                  <a:lnTo>
                    <a:pt x="162" y="33"/>
                  </a:lnTo>
                  <a:lnTo>
                    <a:pt x="159" y="39"/>
                  </a:lnTo>
                  <a:lnTo>
                    <a:pt x="156" y="43"/>
                  </a:lnTo>
                  <a:lnTo>
                    <a:pt x="151" y="49"/>
                  </a:lnTo>
                  <a:lnTo>
                    <a:pt x="147" y="53"/>
                  </a:lnTo>
                  <a:lnTo>
                    <a:pt x="143" y="57"/>
                  </a:lnTo>
                  <a:lnTo>
                    <a:pt x="132" y="65"/>
                  </a:lnTo>
                  <a:lnTo>
                    <a:pt x="120" y="70"/>
                  </a:lnTo>
                  <a:lnTo>
                    <a:pt x="114" y="72"/>
                  </a:lnTo>
                  <a:lnTo>
                    <a:pt x="107" y="73"/>
                  </a:lnTo>
                  <a:lnTo>
                    <a:pt x="101" y="74"/>
                  </a:lnTo>
                  <a:lnTo>
                    <a:pt x="96" y="74"/>
                  </a:lnTo>
                  <a:lnTo>
                    <a:pt x="89" y="74"/>
                  </a:lnTo>
                  <a:lnTo>
                    <a:pt x="83" y="73"/>
                  </a:lnTo>
                  <a:lnTo>
                    <a:pt x="76" y="71"/>
                  </a:lnTo>
                  <a:lnTo>
                    <a:pt x="70" y="70"/>
                  </a:lnTo>
                  <a:lnTo>
                    <a:pt x="65" y="67"/>
                  </a:lnTo>
                  <a:lnTo>
                    <a:pt x="59" y="64"/>
                  </a:lnTo>
                  <a:lnTo>
                    <a:pt x="54" y="61"/>
                  </a:lnTo>
                  <a:lnTo>
                    <a:pt x="50" y="57"/>
                  </a:lnTo>
                  <a:lnTo>
                    <a:pt x="45" y="53"/>
                  </a:lnTo>
                  <a:lnTo>
                    <a:pt x="41" y="48"/>
                  </a:lnTo>
                  <a:lnTo>
                    <a:pt x="38" y="43"/>
                  </a:lnTo>
                  <a:lnTo>
                    <a:pt x="36" y="38"/>
                  </a:lnTo>
                  <a:lnTo>
                    <a:pt x="33" y="33"/>
                  </a:lnTo>
                  <a:lnTo>
                    <a:pt x="31" y="27"/>
                  </a:lnTo>
                  <a:lnTo>
                    <a:pt x="30" y="21"/>
                  </a:lnTo>
                  <a:lnTo>
                    <a:pt x="30" y="16"/>
                  </a:lnTo>
                  <a:lnTo>
                    <a:pt x="29" y="12"/>
                  </a:lnTo>
                  <a:lnTo>
                    <a:pt x="29" y="9"/>
                  </a:lnTo>
                  <a:lnTo>
                    <a:pt x="27" y="7"/>
                  </a:lnTo>
                  <a:lnTo>
                    <a:pt x="26" y="5"/>
                  </a:lnTo>
                  <a:lnTo>
                    <a:pt x="23" y="3"/>
                  </a:lnTo>
                  <a:lnTo>
                    <a:pt x="21" y="2"/>
                  </a:lnTo>
                  <a:lnTo>
                    <a:pt x="18" y="1"/>
                  </a:lnTo>
                  <a:lnTo>
                    <a:pt x="15" y="0"/>
                  </a:lnTo>
                  <a:lnTo>
                    <a:pt x="12" y="1"/>
                  </a:lnTo>
                  <a:lnTo>
                    <a:pt x="9" y="2"/>
                  </a:lnTo>
                  <a:lnTo>
                    <a:pt x="7" y="3"/>
                  </a:lnTo>
                  <a:lnTo>
                    <a:pt x="5" y="5"/>
                  </a:lnTo>
                  <a:lnTo>
                    <a:pt x="3" y="7"/>
                  </a:lnTo>
                  <a:lnTo>
                    <a:pt x="2" y="9"/>
                  </a:lnTo>
                  <a:lnTo>
                    <a:pt x="0" y="12"/>
                  </a:lnTo>
                  <a:lnTo>
                    <a:pt x="0" y="16"/>
                  </a:lnTo>
                  <a:lnTo>
                    <a:pt x="0" y="24"/>
                  </a:lnTo>
                  <a:lnTo>
                    <a:pt x="2" y="33"/>
                  </a:lnTo>
                  <a:lnTo>
                    <a:pt x="5" y="41"/>
                  </a:lnTo>
                  <a:lnTo>
                    <a:pt x="8" y="50"/>
                  </a:lnTo>
                  <a:lnTo>
                    <a:pt x="12" y="57"/>
                  </a:lnTo>
                  <a:lnTo>
                    <a:pt x="16" y="65"/>
                  </a:lnTo>
                  <a:lnTo>
                    <a:pt x="22" y="71"/>
                  </a:lnTo>
                  <a:lnTo>
                    <a:pt x="28" y="78"/>
                  </a:lnTo>
                  <a:lnTo>
                    <a:pt x="35" y="84"/>
                  </a:lnTo>
                  <a:lnTo>
                    <a:pt x="42" y="89"/>
                  </a:lnTo>
                  <a:lnTo>
                    <a:pt x="51" y="94"/>
                  </a:lnTo>
                  <a:lnTo>
                    <a:pt x="58" y="97"/>
                  </a:lnTo>
                  <a:lnTo>
                    <a:pt x="68" y="100"/>
                  </a:lnTo>
                  <a:lnTo>
                    <a:pt x="76" y="102"/>
                  </a:lnTo>
                  <a:lnTo>
                    <a:pt x="86" y="104"/>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28">
              <a:extLst>
                <a:ext uri="{FF2B5EF4-FFF2-40B4-BE49-F238E27FC236}">
                  <a16:creationId xmlns:a16="http://schemas.microsoft.com/office/drawing/2014/main" id="{DB0662F3-6F28-45F6-A9B6-88DE23A99B53}"/>
                </a:ext>
              </a:extLst>
            </p:cNvPr>
            <p:cNvSpPr>
              <a:spLocks/>
            </p:cNvSpPr>
            <p:nvPr/>
          </p:nvSpPr>
          <p:spPr bwMode="auto">
            <a:xfrm>
              <a:off x="5521325" y="3736976"/>
              <a:ext cx="61913" cy="33338"/>
            </a:xfrm>
            <a:custGeom>
              <a:avLst/>
              <a:gdLst>
                <a:gd name="T0" fmla="*/ 109 w 195"/>
                <a:gd name="T1" fmla="*/ 104 h 104"/>
                <a:gd name="T2" fmla="*/ 127 w 195"/>
                <a:gd name="T3" fmla="*/ 100 h 104"/>
                <a:gd name="T4" fmla="*/ 144 w 195"/>
                <a:gd name="T5" fmla="*/ 94 h 104"/>
                <a:gd name="T6" fmla="*/ 159 w 195"/>
                <a:gd name="T7" fmla="*/ 84 h 104"/>
                <a:gd name="T8" fmla="*/ 173 w 195"/>
                <a:gd name="T9" fmla="*/ 71 h 104"/>
                <a:gd name="T10" fmla="*/ 183 w 195"/>
                <a:gd name="T11" fmla="*/ 57 h 104"/>
                <a:gd name="T12" fmla="*/ 190 w 195"/>
                <a:gd name="T13" fmla="*/ 41 h 104"/>
                <a:gd name="T14" fmla="*/ 195 w 195"/>
                <a:gd name="T15" fmla="*/ 24 h 104"/>
                <a:gd name="T16" fmla="*/ 195 w 195"/>
                <a:gd name="T17" fmla="*/ 12 h 104"/>
                <a:gd name="T18" fmla="*/ 192 w 195"/>
                <a:gd name="T19" fmla="*/ 7 h 104"/>
                <a:gd name="T20" fmla="*/ 188 w 195"/>
                <a:gd name="T21" fmla="*/ 3 h 104"/>
                <a:gd name="T22" fmla="*/ 183 w 195"/>
                <a:gd name="T23" fmla="*/ 1 h 104"/>
                <a:gd name="T24" fmla="*/ 176 w 195"/>
                <a:gd name="T25" fmla="*/ 1 h 104"/>
                <a:gd name="T26" fmla="*/ 171 w 195"/>
                <a:gd name="T27" fmla="*/ 3 h 104"/>
                <a:gd name="T28" fmla="*/ 168 w 195"/>
                <a:gd name="T29" fmla="*/ 7 h 104"/>
                <a:gd name="T30" fmla="*/ 165 w 195"/>
                <a:gd name="T31" fmla="*/ 12 h 104"/>
                <a:gd name="T32" fmla="*/ 165 w 195"/>
                <a:gd name="T33" fmla="*/ 21 h 104"/>
                <a:gd name="T34" fmla="*/ 161 w 195"/>
                <a:gd name="T35" fmla="*/ 33 h 104"/>
                <a:gd name="T36" fmla="*/ 157 w 195"/>
                <a:gd name="T37" fmla="*/ 43 h 104"/>
                <a:gd name="T38" fmla="*/ 150 w 195"/>
                <a:gd name="T39" fmla="*/ 52 h 104"/>
                <a:gd name="T40" fmla="*/ 141 w 195"/>
                <a:gd name="T41" fmla="*/ 61 h 104"/>
                <a:gd name="T42" fmla="*/ 130 w 195"/>
                <a:gd name="T43" fmla="*/ 67 h 104"/>
                <a:gd name="T44" fmla="*/ 119 w 195"/>
                <a:gd name="T45" fmla="*/ 71 h 104"/>
                <a:gd name="T46" fmla="*/ 106 w 195"/>
                <a:gd name="T47" fmla="*/ 74 h 104"/>
                <a:gd name="T48" fmla="*/ 93 w 195"/>
                <a:gd name="T49" fmla="*/ 74 h 104"/>
                <a:gd name="T50" fmla="*/ 81 w 195"/>
                <a:gd name="T51" fmla="*/ 72 h 104"/>
                <a:gd name="T52" fmla="*/ 63 w 195"/>
                <a:gd name="T53" fmla="*/ 65 h 104"/>
                <a:gd name="T54" fmla="*/ 47 w 195"/>
                <a:gd name="T55" fmla="*/ 53 h 104"/>
                <a:gd name="T56" fmla="*/ 39 w 195"/>
                <a:gd name="T57" fmla="*/ 43 h 104"/>
                <a:gd name="T58" fmla="*/ 33 w 195"/>
                <a:gd name="T59" fmla="*/ 33 h 104"/>
                <a:gd name="T60" fmla="*/ 30 w 195"/>
                <a:gd name="T61" fmla="*/ 21 h 104"/>
                <a:gd name="T62" fmla="*/ 30 w 195"/>
                <a:gd name="T63" fmla="*/ 12 h 104"/>
                <a:gd name="T64" fmla="*/ 27 w 195"/>
                <a:gd name="T65" fmla="*/ 7 h 104"/>
                <a:gd name="T66" fmla="*/ 23 w 195"/>
                <a:gd name="T67" fmla="*/ 3 h 104"/>
                <a:gd name="T68" fmla="*/ 18 w 195"/>
                <a:gd name="T69" fmla="*/ 1 h 104"/>
                <a:gd name="T70" fmla="*/ 12 w 195"/>
                <a:gd name="T71" fmla="*/ 1 h 104"/>
                <a:gd name="T72" fmla="*/ 6 w 195"/>
                <a:gd name="T73" fmla="*/ 3 h 104"/>
                <a:gd name="T74" fmla="*/ 2 w 195"/>
                <a:gd name="T75" fmla="*/ 7 h 104"/>
                <a:gd name="T76" fmla="*/ 0 w 195"/>
                <a:gd name="T77" fmla="*/ 12 h 104"/>
                <a:gd name="T78" fmla="*/ 0 w 195"/>
                <a:gd name="T79" fmla="*/ 25 h 104"/>
                <a:gd name="T80" fmla="*/ 5 w 195"/>
                <a:gd name="T81" fmla="*/ 43 h 104"/>
                <a:gd name="T82" fmla="*/ 14 w 195"/>
                <a:gd name="T83" fmla="*/ 59 h 104"/>
                <a:gd name="T84" fmla="*/ 26 w 195"/>
                <a:gd name="T85" fmla="*/ 73 h 104"/>
                <a:gd name="T86" fmla="*/ 39 w 195"/>
                <a:gd name="T87" fmla="*/ 85 h 104"/>
                <a:gd name="T88" fmla="*/ 55 w 195"/>
                <a:gd name="T89" fmla="*/ 95 h 104"/>
                <a:gd name="T90" fmla="*/ 73 w 195"/>
                <a:gd name="T91" fmla="*/ 101 h 104"/>
                <a:gd name="T92" fmla="*/ 91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9" y="104"/>
                  </a:moveTo>
                  <a:lnTo>
                    <a:pt x="109" y="104"/>
                  </a:lnTo>
                  <a:lnTo>
                    <a:pt x="119" y="102"/>
                  </a:lnTo>
                  <a:lnTo>
                    <a:pt x="127" y="100"/>
                  </a:lnTo>
                  <a:lnTo>
                    <a:pt x="136" y="97"/>
                  </a:lnTo>
                  <a:lnTo>
                    <a:pt x="144" y="94"/>
                  </a:lnTo>
                  <a:lnTo>
                    <a:pt x="153" y="89"/>
                  </a:lnTo>
                  <a:lnTo>
                    <a:pt x="159" y="84"/>
                  </a:lnTo>
                  <a:lnTo>
                    <a:pt x="167" y="78"/>
                  </a:lnTo>
                  <a:lnTo>
                    <a:pt x="173" y="71"/>
                  </a:lnTo>
                  <a:lnTo>
                    <a:pt x="179" y="65"/>
                  </a:lnTo>
                  <a:lnTo>
                    <a:pt x="183" y="57"/>
                  </a:lnTo>
                  <a:lnTo>
                    <a:pt x="187" y="50"/>
                  </a:lnTo>
                  <a:lnTo>
                    <a:pt x="190" y="41"/>
                  </a:lnTo>
                  <a:lnTo>
                    <a:pt x="192" y="33"/>
                  </a:lnTo>
                  <a:lnTo>
                    <a:pt x="195" y="24"/>
                  </a:lnTo>
                  <a:lnTo>
                    <a:pt x="195" y="16"/>
                  </a:lnTo>
                  <a:lnTo>
                    <a:pt x="195" y="12"/>
                  </a:lnTo>
                  <a:lnTo>
                    <a:pt x="193" y="9"/>
                  </a:lnTo>
                  <a:lnTo>
                    <a:pt x="192" y="7"/>
                  </a:lnTo>
                  <a:lnTo>
                    <a:pt x="190" y="5"/>
                  </a:lnTo>
                  <a:lnTo>
                    <a:pt x="188" y="3"/>
                  </a:lnTo>
                  <a:lnTo>
                    <a:pt x="186" y="2"/>
                  </a:lnTo>
                  <a:lnTo>
                    <a:pt x="183" y="1"/>
                  </a:lnTo>
                  <a:lnTo>
                    <a:pt x="180" y="0"/>
                  </a:lnTo>
                  <a:lnTo>
                    <a:pt x="176" y="1"/>
                  </a:lnTo>
                  <a:lnTo>
                    <a:pt x="174" y="2"/>
                  </a:lnTo>
                  <a:lnTo>
                    <a:pt x="171" y="3"/>
                  </a:lnTo>
                  <a:lnTo>
                    <a:pt x="169" y="5"/>
                  </a:lnTo>
                  <a:lnTo>
                    <a:pt x="168" y="7"/>
                  </a:lnTo>
                  <a:lnTo>
                    <a:pt x="166" y="9"/>
                  </a:lnTo>
                  <a:lnTo>
                    <a:pt x="165" y="12"/>
                  </a:lnTo>
                  <a:lnTo>
                    <a:pt x="165" y="16"/>
                  </a:lnTo>
                  <a:lnTo>
                    <a:pt x="165" y="21"/>
                  </a:lnTo>
                  <a:lnTo>
                    <a:pt x="164" y="26"/>
                  </a:lnTo>
                  <a:lnTo>
                    <a:pt x="161" y="33"/>
                  </a:lnTo>
                  <a:lnTo>
                    <a:pt x="159" y="38"/>
                  </a:lnTo>
                  <a:lnTo>
                    <a:pt x="157" y="43"/>
                  </a:lnTo>
                  <a:lnTo>
                    <a:pt x="154" y="48"/>
                  </a:lnTo>
                  <a:lnTo>
                    <a:pt x="150" y="52"/>
                  </a:lnTo>
                  <a:lnTo>
                    <a:pt x="145" y="56"/>
                  </a:lnTo>
                  <a:lnTo>
                    <a:pt x="141" y="61"/>
                  </a:lnTo>
                  <a:lnTo>
                    <a:pt x="136" y="64"/>
                  </a:lnTo>
                  <a:lnTo>
                    <a:pt x="130" y="67"/>
                  </a:lnTo>
                  <a:lnTo>
                    <a:pt x="125" y="70"/>
                  </a:lnTo>
                  <a:lnTo>
                    <a:pt x="119" y="71"/>
                  </a:lnTo>
                  <a:lnTo>
                    <a:pt x="112" y="73"/>
                  </a:lnTo>
                  <a:lnTo>
                    <a:pt x="106" y="74"/>
                  </a:lnTo>
                  <a:lnTo>
                    <a:pt x="99" y="74"/>
                  </a:lnTo>
                  <a:lnTo>
                    <a:pt x="93" y="74"/>
                  </a:lnTo>
                  <a:lnTo>
                    <a:pt x="86" y="73"/>
                  </a:lnTo>
                  <a:lnTo>
                    <a:pt x="81" y="72"/>
                  </a:lnTo>
                  <a:lnTo>
                    <a:pt x="75" y="70"/>
                  </a:lnTo>
                  <a:lnTo>
                    <a:pt x="63" y="65"/>
                  </a:lnTo>
                  <a:lnTo>
                    <a:pt x="52" y="57"/>
                  </a:lnTo>
                  <a:lnTo>
                    <a:pt x="47" y="53"/>
                  </a:lnTo>
                  <a:lnTo>
                    <a:pt x="43" y="49"/>
                  </a:lnTo>
                  <a:lnTo>
                    <a:pt x="39" y="43"/>
                  </a:lnTo>
                  <a:lnTo>
                    <a:pt x="36" y="39"/>
                  </a:lnTo>
                  <a:lnTo>
                    <a:pt x="33" y="33"/>
                  </a:lnTo>
                  <a:lnTo>
                    <a:pt x="31" y="27"/>
                  </a:lnTo>
                  <a:lnTo>
                    <a:pt x="30" y="21"/>
                  </a:lnTo>
                  <a:lnTo>
                    <a:pt x="30" y="16"/>
                  </a:lnTo>
                  <a:lnTo>
                    <a:pt x="30" y="12"/>
                  </a:lnTo>
                  <a:lnTo>
                    <a:pt x="29" y="9"/>
                  </a:lnTo>
                  <a:lnTo>
                    <a:pt x="27" y="7"/>
                  </a:lnTo>
                  <a:lnTo>
                    <a:pt x="26" y="5"/>
                  </a:lnTo>
                  <a:lnTo>
                    <a:pt x="23" y="3"/>
                  </a:lnTo>
                  <a:lnTo>
                    <a:pt x="20" y="2"/>
                  </a:lnTo>
                  <a:lnTo>
                    <a:pt x="18" y="1"/>
                  </a:lnTo>
                  <a:lnTo>
                    <a:pt x="15" y="0"/>
                  </a:lnTo>
                  <a:lnTo>
                    <a:pt x="12" y="1"/>
                  </a:lnTo>
                  <a:lnTo>
                    <a:pt x="8" y="2"/>
                  </a:lnTo>
                  <a:lnTo>
                    <a:pt x="6" y="3"/>
                  </a:lnTo>
                  <a:lnTo>
                    <a:pt x="4" y="5"/>
                  </a:lnTo>
                  <a:lnTo>
                    <a:pt x="2" y="7"/>
                  </a:lnTo>
                  <a:lnTo>
                    <a:pt x="1" y="9"/>
                  </a:lnTo>
                  <a:lnTo>
                    <a:pt x="0" y="12"/>
                  </a:lnTo>
                  <a:lnTo>
                    <a:pt x="0" y="16"/>
                  </a:lnTo>
                  <a:lnTo>
                    <a:pt x="0" y="25"/>
                  </a:lnTo>
                  <a:lnTo>
                    <a:pt x="2" y="34"/>
                  </a:lnTo>
                  <a:lnTo>
                    <a:pt x="5" y="43"/>
                  </a:lnTo>
                  <a:lnTo>
                    <a:pt x="8" y="51"/>
                  </a:lnTo>
                  <a:lnTo>
                    <a:pt x="14" y="59"/>
                  </a:lnTo>
                  <a:lnTo>
                    <a:pt x="19" y="67"/>
                  </a:lnTo>
                  <a:lnTo>
                    <a:pt x="26" y="73"/>
                  </a:lnTo>
                  <a:lnTo>
                    <a:pt x="32" y="80"/>
                  </a:lnTo>
                  <a:lnTo>
                    <a:pt x="39" y="85"/>
                  </a:lnTo>
                  <a:lnTo>
                    <a:pt x="47" y="90"/>
                  </a:lnTo>
                  <a:lnTo>
                    <a:pt x="55" y="95"/>
                  </a:lnTo>
                  <a:lnTo>
                    <a:pt x="64" y="98"/>
                  </a:lnTo>
                  <a:lnTo>
                    <a:pt x="73" y="101"/>
                  </a:lnTo>
                  <a:lnTo>
                    <a:pt x="81" y="102"/>
                  </a:lnTo>
                  <a:lnTo>
                    <a:pt x="91" y="104"/>
                  </a:lnTo>
                  <a:lnTo>
                    <a:pt x="99"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0" name="Group 56">
            <a:extLst>
              <a:ext uri="{FF2B5EF4-FFF2-40B4-BE49-F238E27FC236}">
                <a16:creationId xmlns:a16="http://schemas.microsoft.com/office/drawing/2014/main" id="{6A8174EF-4171-44D5-82A2-0F6E05C8A114}"/>
              </a:ext>
            </a:extLst>
          </p:cNvPr>
          <p:cNvGrpSpPr>
            <a:grpSpLocks noChangeAspect="1"/>
          </p:cNvGrpSpPr>
          <p:nvPr/>
        </p:nvGrpSpPr>
        <p:grpSpPr>
          <a:xfrm>
            <a:off x="1082592" y="1647825"/>
            <a:ext cx="273414" cy="285619"/>
            <a:chOff x="5765800" y="1577975"/>
            <a:chExt cx="355600" cy="371475"/>
          </a:xfrm>
          <a:solidFill>
            <a:schemeClr val="bg1"/>
          </a:solidFill>
          <a:effectLst/>
        </p:grpSpPr>
        <p:sp>
          <p:nvSpPr>
            <p:cNvPr id="1061" name="Freeform 32">
              <a:extLst>
                <a:ext uri="{FF2B5EF4-FFF2-40B4-BE49-F238E27FC236}">
                  <a16:creationId xmlns:a16="http://schemas.microsoft.com/office/drawing/2014/main" id="{843FB808-8E92-4A17-BD7A-A82223F9437D}"/>
                </a:ext>
              </a:extLst>
            </p:cNvPr>
            <p:cNvSpPr>
              <a:spLocks noEditPoints="1"/>
            </p:cNvSpPr>
            <p:nvPr/>
          </p:nvSpPr>
          <p:spPr bwMode="auto">
            <a:xfrm>
              <a:off x="5892800" y="1577975"/>
              <a:ext cx="101600" cy="100013"/>
            </a:xfrm>
            <a:custGeom>
              <a:avLst/>
              <a:gdLst>
                <a:gd name="T0" fmla="*/ 13 w 26"/>
                <a:gd name="T1" fmla="*/ 26 h 26"/>
                <a:gd name="T2" fmla="*/ 0 w 26"/>
                <a:gd name="T3" fmla="*/ 13 h 26"/>
                <a:gd name="T4" fmla="*/ 13 w 26"/>
                <a:gd name="T5" fmla="*/ 0 h 26"/>
                <a:gd name="T6" fmla="*/ 26 w 26"/>
                <a:gd name="T7" fmla="*/ 13 h 26"/>
                <a:gd name="T8" fmla="*/ 13 w 26"/>
                <a:gd name="T9" fmla="*/ 26 h 26"/>
                <a:gd name="T10" fmla="*/ 13 w 26"/>
                <a:gd name="T11" fmla="*/ 4 h 26"/>
                <a:gd name="T12" fmla="*/ 4 w 26"/>
                <a:gd name="T13" fmla="*/ 13 h 26"/>
                <a:gd name="T14" fmla="*/ 13 w 26"/>
                <a:gd name="T15" fmla="*/ 22 h 26"/>
                <a:gd name="T16" fmla="*/ 22 w 26"/>
                <a:gd name="T17" fmla="*/ 13 h 26"/>
                <a:gd name="T18" fmla="*/ 13 w 26"/>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26"/>
                  </a:moveTo>
                  <a:cubicBezTo>
                    <a:pt x="6" y="26"/>
                    <a:pt x="0" y="20"/>
                    <a:pt x="0" y="13"/>
                  </a:cubicBezTo>
                  <a:cubicBezTo>
                    <a:pt x="0" y="6"/>
                    <a:pt x="6" y="0"/>
                    <a:pt x="13" y="0"/>
                  </a:cubicBezTo>
                  <a:cubicBezTo>
                    <a:pt x="20" y="0"/>
                    <a:pt x="26" y="6"/>
                    <a:pt x="26" y="13"/>
                  </a:cubicBezTo>
                  <a:cubicBezTo>
                    <a:pt x="26" y="20"/>
                    <a:pt x="20" y="26"/>
                    <a:pt x="13" y="26"/>
                  </a:cubicBezTo>
                  <a:close/>
                  <a:moveTo>
                    <a:pt x="13" y="4"/>
                  </a:moveTo>
                  <a:cubicBezTo>
                    <a:pt x="8" y="4"/>
                    <a:pt x="4" y="8"/>
                    <a:pt x="4" y="13"/>
                  </a:cubicBezTo>
                  <a:cubicBezTo>
                    <a:pt x="4" y="18"/>
                    <a:pt x="8" y="22"/>
                    <a:pt x="13" y="22"/>
                  </a:cubicBezTo>
                  <a:cubicBezTo>
                    <a:pt x="18" y="22"/>
                    <a:pt x="22" y="18"/>
                    <a:pt x="22" y="13"/>
                  </a:cubicBezTo>
                  <a:cubicBezTo>
                    <a:pt x="22" y="8"/>
                    <a:pt x="18" y="4"/>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2" name="Freeform 33">
              <a:extLst>
                <a:ext uri="{FF2B5EF4-FFF2-40B4-BE49-F238E27FC236}">
                  <a16:creationId xmlns:a16="http://schemas.microsoft.com/office/drawing/2014/main" id="{4C26EB51-8E06-484B-8010-907939F4A971}"/>
                </a:ext>
              </a:extLst>
            </p:cNvPr>
            <p:cNvSpPr>
              <a:spLocks noEditPoints="1"/>
            </p:cNvSpPr>
            <p:nvPr/>
          </p:nvSpPr>
          <p:spPr bwMode="auto">
            <a:xfrm>
              <a:off x="5865813" y="1663700"/>
              <a:ext cx="155575" cy="84138"/>
            </a:xfrm>
            <a:custGeom>
              <a:avLst/>
              <a:gdLst>
                <a:gd name="T0" fmla="*/ 38 w 40"/>
                <a:gd name="T1" fmla="*/ 22 h 22"/>
                <a:gd name="T2" fmla="*/ 38 w 40"/>
                <a:gd name="T3" fmla="*/ 22 h 22"/>
                <a:gd name="T4" fmla="*/ 2 w 40"/>
                <a:gd name="T5" fmla="*/ 22 h 22"/>
                <a:gd name="T6" fmla="*/ 0 w 40"/>
                <a:gd name="T7" fmla="*/ 20 h 22"/>
                <a:gd name="T8" fmla="*/ 20 w 40"/>
                <a:gd name="T9" fmla="*/ 0 h 22"/>
                <a:gd name="T10" fmla="*/ 40 w 40"/>
                <a:gd name="T11" fmla="*/ 19 h 22"/>
                <a:gd name="T12" fmla="*/ 40 w 40"/>
                <a:gd name="T13" fmla="*/ 20 h 22"/>
                <a:gd name="T14" fmla="*/ 38 w 40"/>
                <a:gd name="T15" fmla="*/ 22 h 22"/>
                <a:gd name="T16" fmla="*/ 4 w 40"/>
                <a:gd name="T17" fmla="*/ 18 h 22"/>
                <a:gd name="T18" fmla="*/ 36 w 40"/>
                <a:gd name="T19" fmla="*/ 18 h 22"/>
                <a:gd name="T20" fmla="*/ 20 w 40"/>
                <a:gd name="T21" fmla="*/ 4 h 22"/>
                <a:gd name="T22" fmla="*/ 4 w 40"/>
                <a:gd name="T23"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2">
                  <a:moveTo>
                    <a:pt x="38" y="22"/>
                  </a:moveTo>
                  <a:cubicBezTo>
                    <a:pt x="38" y="22"/>
                    <a:pt x="38" y="22"/>
                    <a:pt x="38" y="22"/>
                  </a:cubicBezTo>
                  <a:cubicBezTo>
                    <a:pt x="2" y="22"/>
                    <a:pt x="2" y="22"/>
                    <a:pt x="2" y="22"/>
                  </a:cubicBezTo>
                  <a:cubicBezTo>
                    <a:pt x="1" y="22"/>
                    <a:pt x="0" y="21"/>
                    <a:pt x="0" y="20"/>
                  </a:cubicBezTo>
                  <a:cubicBezTo>
                    <a:pt x="0" y="9"/>
                    <a:pt x="9" y="0"/>
                    <a:pt x="20" y="0"/>
                  </a:cubicBezTo>
                  <a:cubicBezTo>
                    <a:pt x="31" y="0"/>
                    <a:pt x="39" y="9"/>
                    <a:pt x="40" y="19"/>
                  </a:cubicBezTo>
                  <a:cubicBezTo>
                    <a:pt x="40" y="20"/>
                    <a:pt x="40" y="20"/>
                    <a:pt x="40" y="20"/>
                  </a:cubicBezTo>
                  <a:cubicBezTo>
                    <a:pt x="40" y="21"/>
                    <a:pt x="39" y="22"/>
                    <a:pt x="38" y="22"/>
                  </a:cubicBezTo>
                  <a:close/>
                  <a:moveTo>
                    <a:pt x="4" y="18"/>
                  </a:moveTo>
                  <a:cubicBezTo>
                    <a:pt x="36" y="18"/>
                    <a:pt x="36" y="18"/>
                    <a:pt x="36" y="18"/>
                  </a:cubicBezTo>
                  <a:cubicBezTo>
                    <a:pt x="35" y="10"/>
                    <a:pt x="28" y="4"/>
                    <a:pt x="20" y="4"/>
                  </a:cubicBezTo>
                  <a:cubicBezTo>
                    <a:pt x="12" y="4"/>
                    <a:pt x="5" y="10"/>
                    <a:pt x="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3" name="Freeform 34">
              <a:extLst>
                <a:ext uri="{FF2B5EF4-FFF2-40B4-BE49-F238E27FC236}">
                  <a16:creationId xmlns:a16="http://schemas.microsoft.com/office/drawing/2014/main" id="{F4921FBB-6ADF-4CFB-AD9E-CF587B1D7B3D}"/>
                </a:ext>
              </a:extLst>
            </p:cNvPr>
            <p:cNvSpPr>
              <a:spLocks noEditPoints="1"/>
            </p:cNvSpPr>
            <p:nvPr/>
          </p:nvSpPr>
          <p:spPr bwMode="auto">
            <a:xfrm>
              <a:off x="5788025"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4" name="Freeform 35">
              <a:extLst>
                <a:ext uri="{FF2B5EF4-FFF2-40B4-BE49-F238E27FC236}">
                  <a16:creationId xmlns:a16="http://schemas.microsoft.com/office/drawing/2014/main" id="{58C6027A-2865-4883-8279-232742FA22B3}"/>
                </a:ext>
              </a:extLst>
            </p:cNvPr>
            <p:cNvSpPr>
              <a:spLocks noEditPoints="1"/>
            </p:cNvSpPr>
            <p:nvPr/>
          </p:nvSpPr>
          <p:spPr bwMode="auto">
            <a:xfrm>
              <a:off x="5765800"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5" name="Freeform 36">
              <a:extLst>
                <a:ext uri="{FF2B5EF4-FFF2-40B4-BE49-F238E27FC236}">
                  <a16:creationId xmlns:a16="http://schemas.microsoft.com/office/drawing/2014/main" id="{F0421F7E-4352-4F10-B384-BF2984F911F2}"/>
                </a:ext>
              </a:extLst>
            </p:cNvPr>
            <p:cNvSpPr>
              <a:spLocks noEditPoints="1"/>
            </p:cNvSpPr>
            <p:nvPr/>
          </p:nvSpPr>
          <p:spPr bwMode="auto">
            <a:xfrm>
              <a:off x="6021388"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6" name="Freeform 37">
              <a:extLst>
                <a:ext uri="{FF2B5EF4-FFF2-40B4-BE49-F238E27FC236}">
                  <a16:creationId xmlns:a16="http://schemas.microsoft.com/office/drawing/2014/main" id="{5AC085FF-C714-452B-9512-72095B40448E}"/>
                </a:ext>
              </a:extLst>
            </p:cNvPr>
            <p:cNvSpPr>
              <a:spLocks noEditPoints="1"/>
            </p:cNvSpPr>
            <p:nvPr/>
          </p:nvSpPr>
          <p:spPr bwMode="auto">
            <a:xfrm>
              <a:off x="5997575"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7" name="Freeform 38">
              <a:extLst>
                <a:ext uri="{FF2B5EF4-FFF2-40B4-BE49-F238E27FC236}">
                  <a16:creationId xmlns:a16="http://schemas.microsoft.com/office/drawing/2014/main" id="{7C046EA7-1E26-4DD9-8043-7ECE0231DEA9}"/>
                </a:ext>
              </a:extLst>
            </p:cNvPr>
            <p:cNvSpPr>
              <a:spLocks noEditPoints="1"/>
            </p:cNvSpPr>
            <p:nvPr/>
          </p:nvSpPr>
          <p:spPr bwMode="auto">
            <a:xfrm>
              <a:off x="6021388" y="18176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8" name="Freeform 39">
              <a:extLst>
                <a:ext uri="{FF2B5EF4-FFF2-40B4-BE49-F238E27FC236}">
                  <a16:creationId xmlns:a16="http://schemas.microsoft.com/office/drawing/2014/main" id="{311DCEE8-537E-4D55-A082-D4293B5E8D4A}"/>
                </a:ext>
              </a:extLst>
            </p:cNvPr>
            <p:cNvSpPr>
              <a:spLocks noEditPoints="1"/>
            </p:cNvSpPr>
            <p:nvPr/>
          </p:nvSpPr>
          <p:spPr bwMode="auto">
            <a:xfrm>
              <a:off x="5997575"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69" name="Freeform 40">
              <a:extLst>
                <a:ext uri="{FF2B5EF4-FFF2-40B4-BE49-F238E27FC236}">
                  <a16:creationId xmlns:a16="http://schemas.microsoft.com/office/drawing/2014/main" id="{3C0BF5D7-DB2F-4D9D-9524-E01D3BBCF5E3}"/>
                </a:ext>
              </a:extLst>
            </p:cNvPr>
            <p:cNvSpPr>
              <a:spLocks noEditPoints="1"/>
            </p:cNvSpPr>
            <p:nvPr/>
          </p:nvSpPr>
          <p:spPr bwMode="auto">
            <a:xfrm>
              <a:off x="5905500" y="1817688"/>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6" y="0"/>
                    <a:pt x="20" y="4"/>
                    <a:pt x="20" y="10"/>
                  </a:cubicBezTo>
                  <a:cubicBezTo>
                    <a:pt x="20" y="15"/>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0" name="Freeform 41">
              <a:extLst>
                <a:ext uri="{FF2B5EF4-FFF2-40B4-BE49-F238E27FC236}">
                  <a16:creationId xmlns:a16="http://schemas.microsoft.com/office/drawing/2014/main" id="{97984D8C-C49A-4093-9A50-D16937F5F6B0}"/>
                </a:ext>
              </a:extLst>
            </p:cNvPr>
            <p:cNvSpPr>
              <a:spLocks noEditPoints="1"/>
            </p:cNvSpPr>
            <p:nvPr/>
          </p:nvSpPr>
          <p:spPr bwMode="auto">
            <a:xfrm>
              <a:off x="5881688" y="1879600"/>
              <a:ext cx="123825" cy="69850"/>
            </a:xfrm>
            <a:custGeom>
              <a:avLst/>
              <a:gdLst>
                <a:gd name="T0" fmla="*/ 30 w 32"/>
                <a:gd name="T1" fmla="*/ 18 h 18"/>
                <a:gd name="T2" fmla="*/ 30 w 32"/>
                <a:gd name="T3" fmla="*/ 18 h 18"/>
                <a:gd name="T4" fmla="*/ 2 w 32"/>
                <a:gd name="T5" fmla="*/ 18 h 18"/>
                <a:gd name="T6" fmla="*/ 0 w 32"/>
                <a:gd name="T7" fmla="*/ 16 h 18"/>
                <a:gd name="T8" fmla="*/ 16 w 32"/>
                <a:gd name="T9" fmla="*/ 0 h 18"/>
                <a:gd name="T10" fmla="*/ 32 w 32"/>
                <a:gd name="T11" fmla="*/ 15 h 18"/>
                <a:gd name="T12" fmla="*/ 32 w 32"/>
                <a:gd name="T13" fmla="*/ 16 h 18"/>
                <a:gd name="T14" fmla="*/ 30 w 32"/>
                <a:gd name="T15" fmla="*/ 18 h 18"/>
                <a:gd name="T16" fmla="*/ 4 w 32"/>
                <a:gd name="T17" fmla="*/ 14 h 18"/>
                <a:gd name="T18" fmla="*/ 28 w 32"/>
                <a:gd name="T19" fmla="*/ 14 h 18"/>
                <a:gd name="T20" fmla="*/ 16 w 32"/>
                <a:gd name="T21" fmla="*/ 4 h 18"/>
                <a:gd name="T22" fmla="*/ 4 w 32"/>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30" y="18"/>
                  </a:moveTo>
                  <a:cubicBezTo>
                    <a:pt x="30" y="18"/>
                    <a:pt x="30" y="18"/>
                    <a:pt x="30" y="18"/>
                  </a:cubicBezTo>
                  <a:cubicBezTo>
                    <a:pt x="2" y="18"/>
                    <a:pt x="2" y="18"/>
                    <a:pt x="2" y="18"/>
                  </a:cubicBezTo>
                  <a:cubicBezTo>
                    <a:pt x="1" y="18"/>
                    <a:pt x="0" y="17"/>
                    <a:pt x="0" y="16"/>
                  </a:cubicBezTo>
                  <a:cubicBezTo>
                    <a:pt x="0" y="7"/>
                    <a:pt x="7" y="0"/>
                    <a:pt x="16" y="0"/>
                  </a:cubicBezTo>
                  <a:cubicBezTo>
                    <a:pt x="25" y="0"/>
                    <a:pt x="32" y="7"/>
                    <a:pt x="32" y="15"/>
                  </a:cubicBezTo>
                  <a:cubicBezTo>
                    <a:pt x="32" y="16"/>
                    <a:pt x="32" y="16"/>
                    <a:pt x="32" y="16"/>
                  </a:cubicBezTo>
                  <a:cubicBezTo>
                    <a:pt x="32" y="17"/>
                    <a:pt x="31" y="18"/>
                    <a:pt x="30" y="18"/>
                  </a:cubicBezTo>
                  <a:close/>
                  <a:moveTo>
                    <a:pt x="4" y="14"/>
                  </a:moveTo>
                  <a:cubicBezTo>
                    <a:pt x="28" y="14"/>
                    <a:pt x="28" y="14"/>
                    <a:pt x="28" y="14"/>
                  </a:cubicBezTo>
                  <a:cubicBezTo>
                    <a:pt x="27" y="8"/>
                    <a:pt x="22" y="4"/>
                    <a:pt x="16" y="4"/>
                  </a:cubicBezTo>
                  <a:cubicBezTo>
                    <a:pt x="10" y="4"/>
                    <a:pt x="5" y="8"/>
                    <a:pt x="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1" name="Freeform 42">
              <a:extLst>
                <a:ext uri="{FF2B5EF4-FFF2-40B4-BE49-F238E27FC236}">
                  <a16:creationId xmlns:a16="http://schemas.microsoft.com/office/drawing/2014/main" id="{6426F2FB-51FF-4FF6-81B5-62320E209BA8}"/>
                </a:ext>
              </a:extLst>
            </p:cNvPr>
            <p:cNvSpPr>
              <a:spLocks/>
            </p:cNvSpPr>
            <p:nvPr/>
          </p:nvSpPr>
          <p:spPr bwMode="auto">
            <a:xfrm>
              <a:off x="5819775" y="1763713"/>
              <a:ext cx="247650" cy="31750"/>
            </a:xfrm>
            <a:custGeom>
              <a:avLst/>
              <a:gdLst>
                <a:gd name="T0" fmla="*/ 62 w 64"/>
                <a:gd name="T1" fmla="*/ 8 h 8"/>
                <a:gd name="T2" fmla="*/ 60 w 64"/>
                <a:gd name="T3" fmla="*/ 6 h 8"/>
                <a:gd name="T4" fmla="*/ 60 w 64"/>
                <a:gd name="T5" fmla="*/ 4 h 8"/>
                <a:gd name="T6" fmla="*/ 4 w 64"/>
                <a:gd name="T7" fmla="*/ 4 h 8"/>
                <a:gd name="T8" fmla="*/ 4 w 64"/>
                <a:gd name="T9" fmla="*/ 6 h 8"/>
                <a:gd name="T10" fmla="*/ 2 w 64"/>
                <a:gd name="T11" fmla="*/ 8 h 8"/>
                <a:gd name="T12" fmla="*/ 0 w 64"/>
                <a:gd name="T13" fmla="*/ 6 h 8"/>
                <a:gd name="T14" fmla="*/ 0 w 64"/>
                <a:gd name="T15" fmla="*/ 2 h 8"/>
                <a:gd name="T16" fmla="*/ 2 w 64"/>
                <a:gd name="T17" fmla="*/ 0 h 8"/>
                <a:gd name="T18" fmla="*/ 62 w 64"/>
                <a:gd name="T19" fmla="*/ 0 h 8"/>
                <a:gd name="T20" fmla="*/ 64 w 64"/>
                <a:gd name="T21" fmla="*/ 2 h 8"/>
                <a:gd name="T22" fmla="*/ 64 w 64"/>
                <a:gd name="T23" fmla="*/ 6 h 8"/>
                <a:gd name="T24" fmla="*/ 62 w 64"/>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8">
                  <a:moveTo>
                    <a:pt x="62" y="8"/>
                  </a:moveTo>
                  <a:cubicBezTo>
                    <a:pt x="61" y="8"/>
                    <a:pt x="60" y="7"/>
                    <a:pt x="60" y="6"/>
                  </a:cubicBezTo>
                  <a:cubicBezTo>
                    <a:pt x="60" y="4"/>
                    <a:pt x="60" y="4"/>
                    <a:pt x="60"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62" y="0"/>
                    <a:pt x="62" y="0"/>
                    <a:pt x="62" y="0"/>
                  </a:cubicBezTo>
                  <a:cubicBezTo>
                    <a:pt x="63" y="0"/>
                    <a:pt x="64" y="1"/>
                    <a:pt x="64" y="2"/>
                  </a:cubicBezTo>
                  <a:cubicBezTo>
                    <a:pt x="64" y="6"/>
                    <a:pt x="64" y="6"/>
                    <a:pt x="64" y="6"/>
                  </a:cubicBezTo>
                  <a:cubicBezTo>
                    <a:pt x="64" y="7"/>
                    <a:pt x="63" y="8"/>
                    <a:pt x="6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2" name="Freeform 43">
              <a:extLst>
                <a:ext uri="{FF2B5EF4-FFF2-40B4-BE49-F238E27FC236}">
                  <a16:creationId xmlns:a16="http://schemas.microsoft.com/office/drawing/2014/main" id="{04532E59-BB8B-4F17-9FC9-D33CC420FDE1}"/>
                </a:ext>
              </a:extLst>
            </p:cNvPr>
            <p:cNvSpPr>
              <a:spLocks/>
            </p:cNvSpPr>
            <p:nvPr/>
          </p:nvSpPr>
          <p:spPr bwMode="auto">
            <a:xfrm>
              <a:off x="5935663" y="1733550"/>
              <a:ext cx="15875" cy="61913"/>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21" name="Group 84">
            <a:extLst>
              <a:ext uri="{FF2B5EF4-FFF2-40B4-BE49-F238E27FC236}">
                <a16:creationId xmlns:a16="http://schemas.microsoft.com/office/drawing/2014/main" id="{6D408CA8-F480-429E-8EE2-44ADD532C690}"/>
              </a:ext>
            </a:extLst>
          </p:cNvPr>
          <p:cNvGrpSpPr>
            <a:grpSpLocks noChangeAspect="1"/>
          </p:cNvGrpSpPr>
          <p:nvPr/>
        </p:nvGrpSpPr>
        <p:grpSpPr>
          <a:xfrm>
            <a:off x="1060622" y="4340505"/>
            <a:ext cx="317354" cy="285619"/>
            <a:chOff x="5464175" y="1958976"/>
            <a:chExt cx="285750" cy="257175"/>
          </a:xfrm>
          <a:solidFill>
            <a:schemeClr val="bg1"/>
          </a:solidFill>
          <a:effectLst/>
        </p:grpSpPr>
        <p:sp>
          <p:nvSpPr>
            <p:cNvPr id="522" name="Freeform 52">
              <a:extLst>
                <a:ext uri="{FF2B5EF4-FFF2-40B4-BE49-F238E27FC236}">
                  <a16:creationId xmlns:a16="http://schemas.microsoft.com/office/drawing/2014/main" id="{E1596A9A-E930-4DD9-B737-1D55AA8603EF}"/>
                </a:ext>
              </a:extLst>
            </p:cNvPr>
            <p:cNvSpPr>
              <a:spLocks noEditPoints="1"/>
            </p:cNvSpPr>
            <p:nvPr/>
          </p:nvSpPr>
          <p:spPr bwMode="auto">
            <a:xfrm>
              <a:off x="5464175" y="1958976"/>
              <a:ext cx="228600" cy="195263"/>
            </a:xfrm>
            <a:custGeom>
              <a:avLst/>
              <a:gdLst>
                <a:gd name="T0" fmla="*/ 369 w 721"/>
                <a:gd name="T1" fmla="*/ 421 h 615"/>
                <a:gd name="T2" fmla="*/ 241 w 721"/>
                <a:gd name="T3" fmla="*/ 561 h 615"/>
                <a:gd name="T4" fmla="*/ 240 w 721"/>
                <a:gd name="T5" fmla="*/ 429 h 615"/>
                <a:gd name="T6" fmla="*/ 234 w 721"/>
                <a:gd name="T7" fmla="*/ 422 h 615"/>
                <a:gd name="T8" fmla="*/ 226 w 721"/>
                <a:gd name="T9" fmla="*/ 420 h 615"/>
                <a:gd name="T10" fmla="*/ 138 w 721"/>
                <a:gd name="T11" fmla="*/ 417 h 615"/>
                <a:gd name="T12" fmla="*/ 100 w 721"/>
                <a:gd name="T13" fmla="*/ 406 h 615"/>
                <a:gd name="T14" fmla="*/ 68 w 721"/>
                <a:gd name="T15" fmla="*/ 386 h 615"/>
                <a:gd name="T16" fmla="*/ 46 w 721"/>
                <a:gd name="T17" fmla="*/ 359 h 615"/>
                <a:gd name="T18" fmla="*/ 33 w 721"/>
                <a:gd name="T19" fmla="*/ 325 h 615"/>
                <a:gd name="T20" fmla="*/ 30 w 721"/>
                <a:gd name="T21" fmla="*/ 164 h 615"/>
                <a:gd name="T22" fmla="*/ 36 w 721"/>
                <a:gd name="T23" fmla="*/ 124 h 615"/>
                <a:gd name="T24" fmla="*/ 53 w 721"/>
                <a:gd name="T25" fmla="*/ 88 h 615"/>
                <a:gd name="T26" fmla="*/ 79 w 721"/>
                <a:gd name="T27" fmla="*/ 59 h 615"/>
                <a:gd name="T28" fmla="*/ 112 w 721"/>
                <a:gd name="T29" fmla="*/ 40 h 615"/>
                <a:gd name="T30" fmla="*/ 152 w 721"/>
                <a:gd name="T31" fmla="*/ 30 h 615"/>
                <a:gd name="T32" fmla="*/ 556 w 721"/>
                <a:gd name="T33" fmla="*/ 30 h 615"/>
                <a:gd name="T34" fmla="*/ 598 w 721"/>
                <a:gd name="T35" fmla="*/ 40 h 615"/>
                <a:gd name="T36" fmla="*/ 636 w 721"/>
                <a:gd name="T37" fmla="*/ 61 h 615"/>
                <a:gd name="T38" fmla="*/ 664 w 721"/>
                <a:gd name="T39" fmla="*/ 89 h 615"/>
                <a:gd name="T40" fmla="*/ 684 w 721"/>
                <a:gd name="T41" fmla="*/ 125 h 615"/>
                <a:gd name="T42" fmla="*/ 691 w 721"/>
                <a:gd name="T43" fmla="*/ 164 h 615"/>
                <a:gd name="T44" fmla="*/ 688 w 721"/>
                <a:gd name="T45" fmla="*/ 311 h 615"/>
                <a:gd name="T46" fmla="*/ 672 w 721"/>
                <a:gd name="T47" fmla="*/ 347 h 615"/>
                <a:gd name="T48" fmla="*/ 646 w 721"/>
                <a:gd name="T49" fmla="*/ 379 h 615"/>
                <a:gd name="T50" fmla="*/ 611 w 721"/>
                <a:gd name="T51" fmla="*/ 403 h 615"/>
                <a:gd name="T52" fmla="*/ 570 w 721"/>
                <a:gd name="T53" fmla="*/ 417 h 615"/>
                <a:gd name="T54" fmla="*/ 376 w 721"/>
                <a:gd name="T55" fmla="*/ 420 h 615"/>
                <a:gd name="T56" fmla="*/ 720 w 721"/>
                <a:gd name="T57" fmla="*/ 148 h 615"/>
                <a:gd name="T58" fmla="*/ 706 w 721"/>
                <a:gd name="T59" fmla="*/ 101 h 615"/>
                <a:gd name="T60" fmla="*/ 678 w 721"/>
                <a:gd name="T61" fmla="*/ 61 h 615"/>
                <a:gd name="T62" fmla="*/ 640 w 721"/>
                <a:gd name="T63" fmla="*/ 28 h 615"/>
                <a:gd name="T64" fmla="*/ 593 w 721"/>
                <a:gd name="T65" fmla="*/ 7 h 615"/>
                <a:gd name="T66" fmla="*/ 541 w 721"/>
                <a:gd name="T67" fmla="*/ 0 h 615"/>
                <a:gd name="T68" fmla="*/ 132 w 721"/>
                <a:gd name="T69" fmla="*/ 3 h 615"/>
                <a:gd name="T70" fmla="*/ 87 w 721"/>
                <a:gd name="T71" fmla="*/ 19 h 615"/>
                <a:gd name="T72" fmla="*/ 48 w 721"/>
                <a:gd name="T73" fmla="*/ 47 h 615"/>
                <a:gd name="T74" fmla="*/ 20 w 721"/>
                <a:gd name="T75" fmla="*/ 85 h 615"/>
                <a:gd name="T76" fmla="*/ 3 w 721"/>
                <a:gd name="T77" fmla="*/ 131 h 615"/>
                <a:gd name="T78" fmla="*/ 0 w 721"/>
                <a:gd name="T79" fmla="*/ 299 h 615"/>
                <a:gd name="T80" fmla="*/ 7 w 721"/>
                <a:gd name="T81" fmla="*/ 345 h 615"/>
                <a:gd name="T82" fmla="*/ 28 w 721"/>
                <a:gd name="T83" fmla="*/ 385 h 615"/>
                <a:gd name="T84" fmla="*/ 59 w 721"/>
                <a:gd name="T85" fmla="*/ 417 h 615"/>
                <a:gd name="T86" fmla="*/ 101 w 721"/>
                <a:gd name="T87" fmla="*/ 438 h 615"/>
                <a:gd name="T88" fmla="*/ 149 w 721"/>
                <a:gd name="T89" fmla="*/ 449 h 615"/>
                <a:gd name="T90" fmla="*/ 211 w 721"/>
                <a:gd name="T91" fmla="*/ 600 h 615"/>
                <a:gd name="T92" fmla="*/ 216 w 721"/>
                <a:gd name="T93" fmla="*/ 612 h 615"/>
                <a:gd name="T94" fmla="*/ 226 w 721"/>
                <a:gd name="T95" fmla="*/ 615 h 615"/>
                <a:gd name="T96" fmla="*/ 234 w 721"/>
                <a:gd name="T97" fmla="*/ 612 h 615"/>
                <a:gd name="T98" fmla="*/ 541 w 721"/>
                <a:gd name="T99" fmla="*/ 450 h 615"/>
                <a:gd name="T100" fmla="*/ 593 w 721"/>
                <a:gd name="T101" fmla="*/ 442 h 615"/>
                <a:gd name="T102" fmla="*/ 640 w 721"/>
                <a:gd name="T103" fmla="*/ 420 h 615"/>
                <a:gd name="T104" fmla="*/ 678 w 721"/>
                <a:gd name="T105" fmla="*/ 388 h 615"/>
                <a:gd name="T106" fmla="*/ 706 w 721"/>
                <a:gd name="T107" fmla="*/ 347 h 615"/>
                <a:gd name="T108" fmla="*/ 720 w 721"/>
                <a:gd name="T109" fmla="*/ 301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1" h="615">
                  <a:moveTo>
                    <a:pt x="376" y="420"/>
                  </a:moveTo>
                  <a:lnTo>
                    <a:pt x="372" y="420"/>
                  </a:lnTo>
                  <a:lnTo>
                    <a:pt x="369" y="421"/>
                  </a:lnTo>
                  <a:lnTo>
                    <a:pt x="366" y="422"/>
                  </a:lnTo>
                  <a:lnTo>
                    <a:pt x="364" y="424"/>
                  </a:lnTo>
                  <a:lnTo>
                    <a:pt x="241" y="561"/>
                  </a:lnTo>
                  <a:lnTo>
                    <a:pt x="241" y="435"/>
                  </a:lnTo>
                  <a:lnTo>
                    <a:pt x="241" y="432"/>
                  </a:lnTo>
                  <a:lnTo>
                    <a:pt x="240" y="429"/>
                  </a:lnTo>
                  <a:lnTo>
                    <a:pt x="239" y="427"/>
                  </a:lnTo>
                  <a:lnTo>
                    <a:pt x="236" y="424"/>
                  </a:lnTo>
                  <a:lnTo>
                    <a:pt x="234" y="422"/>
                  </a:lnTo>
                  <a:lnTo>
                    <a:pt x="231" y="421"/>
                  </a:lnTo>
                  <a:lnTo>
                    <a:pt x="229" y="420"/>
                  </a:lnTo>
                  <a:lnTo>
                    <a:pt x="226" y="420"/>
                  </a:lnTo>
                  <a:lnTo>
                    <a:pt x="167" y="420"/>
                  </a:lnTo>
                  <a:lnTo>
                    <a:pt x="152" y="419"/>
                  </a:lnTo>
                  <a:lnTo>
                    <a:pt x="138" y="417"/>
                  </a:lnTo>
                  <a:lnTo>
                    <a:pt x="124" y="415"/>
                  </a:lnTo>
                  <a:lnTo>
                    <a:pt x="111" y="410"/>
                  </a:lnTo>
                  <a:lnTo>
                    <a:pt x="100" y="406"/>
                  </a:lnTo>
                  <a:lnTo>
                    <a:pt x="89" y="401"/>
                  </a:lnTo>
                  <a:lnTo>
                    <a:pt x="78" y="393"/>
                  </a:lnTo>
                  <a:lnTo>
                    <a:pt x="68" y="386"/>
                  </a:lnTo>
                  <a:lnTo>
                    <a:pt x="60" y="377"/>
                  </a:lnTo>
                  <a:lnTo>
                    <a:pt x="52" y="369"/>
                  </a:lnTo>
                  <a:lnTo>
                    <a:pt x="46" y="359"/>
                  </a:lnTo>
                  <a:lnTo>
                    <a:pt x="41" y="348"/>
                  </a:lnTo>
                  <a:lnTo>
                    <a:pt x="36" y="337"/>
                  </a:lnTo>
                  <a:lnTo>
                    <a:pt x="33" y="325"/>
                  </a:lnTo>
                  <a:lnTo>
                    <a:pt x="31" y="313"/>
                  </a:lnTo>
                  <a:lnTo>
                    <a:pt x="30" y="299"/>
                  </a:lnTo>
                  <a:lnTo>
                    <a:pt x="30" y="164"/>
                  </a:lnTo>
                  <a:lnTo>
                    <a:pt x="31" y="150"/>
                  </a:lnTo>
                  <a:lnTo>
                    <a:pt x="33" y="137"/>
                  </a:lnTo>
                  <a:lnTo>
                    <a:pt x="36" y="124"/>
                  </a:lnTo>
                  <a:lnTo>
                    <a:pt x="41" y="111"/>
                  </a:lnTo>
                  <a:lnTo>
                    <a:pt x="46" y="99"/>
                  </a:lnTo>
                  <a:lnTo>
                    <a:pt x="53" y="88"/>
                  </a:lnTo>
                  <a:lnTo>
                    <a:pt x="61" y="78"/>
                  </a:lnTo>
                  <a:lnTo>
                    <a:pt x="70" y="68"/>
                  </a:lnTo>
                  <a:lnTo>
                    <a:pt x="79" y="59"/>
                  </a:lnTo>
                  <a:lnTo>
                    <a:pt x="90" y="52"/>
                  </a:lnTo>
                  <a:lnTo>
                    <a:pt x="101" y="46"/>
                  </a:lnTo>
                  <a:lnTo>
                    <a:pt x="112" y="40"/>
                  </a:lnTo>
                  <a:lnTo>
                    <a:pt x="125" y="35"/>
                  </a:lnTo>
                  <a:lnTo>
                    <a:pt x="138" y="32"/>
                  </a:lnTo>
                  <a:lnTo>
                    <a:pt x="152" y="30"/>
                  </a:lnTo>
                  <a:lnTo>
                    <a:pt x="166" y="30"/>
                  </a:lnTo>
                  <a:lnTo>
                    <a:pt x="541" y="30"/>
                  </a:lnTo>
                  <a:lnTo>
                    <a:pt x="556" y="30"/>
                  </a:lnTo>
                  <a:lnTo>
                    <a:pt x="570" y="32"/>
                  </a:lnTo>
                  <a:lnTo>
                    <a:pt x="584" y="36"/>
                  </a:lnTo>
                  <a:lnTo>
                    <a:pt x="598" y="40"/>
                  </a:lnTo>
                  <a:lnTo>
                    <a:pt x="611" y="46"/>
                  </a:lnTo>
                  <a:lnTo>
                    <a:pt x="624" y="53"/>
                  </a:lnTo>
                  <a:lnTo>
                    <a:pt x="636" y="61"/>
                  </a:lnTo>
                  <a:lnTo>
                    <a:pt x="646" y="70"/>
                  </a:lnTo>
                  <a:lnTo>
                    <a:pt x="656" y="80"/>
                  </a:lnTo>
                  <a:lnTo>
                    <a:pt x="664" y="89"/>
                  </a:lnTo>
                  <a:lnTo>
                    <a:pt x="672" y="101"/>
                  </a:lnTo>
                  <a:lnTo>
                    <a:pt x="679" y="113"/>
                  </a:lnTo>
                  <a:lnTo>
                    <a:pt x="684" y="125"/>
                  </a:lnTo>
                  <a:lnTo>
                    <a:pt x="688" y="138"/>
                  </a:lnTo>
                  <a:lnTo>
                    <a:pt x="690" y="152"/>
                  </a:lnTo>
                  <a:lnTo>
                    <a:pt x="691" y="164"/>
                  </a:lnTo>
                  <a:lnTo>
                    <a:pt x="691" y="284"/>
                  </a:lnTo>
                  <a:lnTo>
                    <a:pt x="690" y="298"/>
                  </a:lnTo>
                  <a:lnTo>
                    <a:pt x="688" y="311"/>
                  </a:lnTo>
                  <a:lnTo>
                    <a:pt x="684" y="324"/>
                  </a:lnTo>
                  <a:lnTo>
                    <a:pt x="679" y="336"/>
                  </a:lnTo>
                  <a:lnTo>
                    <a:pt x="672" y="347"/>
                  </a:lnTo>
                  <a:lnTo>
                    <a:pt x="664" y="359"/>
                  </a:lnTo>
                  <a:lnTo>
                    <a:pt x="656" y="370"/>
                  </a:lnTo>
                  <a:lnTo>
                    <a:pt x="646" y="379"/>
                  </a:lnTo>
                  <a:lnTo>
                    <a:pt x="636" y="388"/>
                  </a:lnTo>
                  <a:lnTo>
                    <a:pt x="624" y="395"/>
                  </a:lnTo>
                  <a:lnTo>
                    <a:pt x="611" y="403"/>
                  </a:lnTo>
                  <a:lnTo>
                    <a:pt x="598" y="408"/>
                  </a:lnTo>
                  <a:lnTo>
                    <a:pt x="584" y="414"/>
                  </a:lnTo>
                  <a:lnTo>
                    <a:pt x="570" y="417"/>
                  </a:lnTo>
                  <a:lnTo>
                    <a:pt x="556" y="419"/>
                  </a:lnTo>
                  <a:lnTo>
                    <a:pt x="541" y="420"/>
                  </a:lnTo>
                  <a:lnTo>
                    <a:pt x="376" y="420"/>
                  </a:lnTo>
                  <a:close/>
                  <a:moveTo>
                    <a:pt x="721" y="284"/>
                  </a:moveTo>
                  <a:lnTo>
                    <a:pt x="721" y="164"/>
                  </a:lnTo>
                  <a:lnTo>
                    <a:pt x="720" y="148"/>
                  </a:lnTo>
                  <a:lnTo>
                    <a:pt x="717" y="132"/>
                  </a:lnTo>
                  <a:lnTo>
                    <a:pt x="713" y="116"/>
                  </a:lnTo>
                  <a:lnTo>
                    <a:pt x="706" y="101"/>
                  </a:lnTo>
                  <a:lnTo>
                    <a:pt x="699" y="87"/>
                  </a:lnTo>
                  <a:lnTo>
                    <a:pt x="689" y="73"/>
                  </a:lnTo>
                  <a:lnTo>
                    <a:pt x="678" y="61"/>
                  </a:lnTo>
                  <a:lnTo>
                    <a:pt x="667" y="49"/>
                  </a:lnTo>
                  <a:lnTo>
                    <a:pt x="654" y="38"/>
                  </a:lnTo>
                  <a:lnTo>
                    <a:pt x="640" y="28"/>
                  </a:lnTo>
                  <a:lnTo>
                    <a:pt x="625" y="20"/>
                  </a:lnTo>
                  <a:lnTo>
                    <a:pt x="610" y="12"/>
                  </a:lnTo>
                  <a:lnTo>
                    <a:pt x="593" y="7"/>
                  </a:lnTo>
                  <a:lnTo>
                    <a:pt x="577" y="3"/>
                  </a:lnTo>
                  <a:lnTo>
                    <a:pt x="559" y="1"/>
                  </a:lnTo>
                  <a:lnTo>
                    <a:pt x="541" y="0"/>
                  </a:lnTo>
                  <a:lnTo>
                    <a:pt x="166" y="0"/>
                  </a:lnTo>
                  <a:lnTo>
                    <a:pt x="149" y="0"/>
                  </a:lnTo>
                  <a:lnTo>
                    <a:pt x="132" y="3"/>
                  </a:lnTo>
                  <a:lnTo>
                    <a:pt x="116" y="6"/>
                  </a:lnTo>
                  <a:lnTo>
                    <a:pt x="101" y="12"/>
                  </a:lnTo>
                  <a:lnTo>
                    <a:pt x="87" y="19"/>
                  </a:lnTo>
                  <a:lnTo>
                    <a:pt x="73" y="27"/>
                  </a:lnTo>
                  <a:lnTo>
                    <a:pt x="60" y="36"/>
                  </a:lnTo>
                  <a:lnTo>
                    <a:pt x="48" y="47"/>
                  </a:lnTo>
                  <a:lnTo>
                    <a:pt x="37" y="58"/>
                  </a:lnTo>
                  <a:lnTo>
                    <a:pt x="28" y="71"/>
                  </a:lnTo>
                  <a:lnTo>
                    <a:pt x="20" y="85"/>
                  </a:lnTo>
                  <a:lnTo>
                    <a:pt x="13" y="99"/>
                  </a:lnTo>
                  <a:lnTo>
                    <a:pt x="7" y="115"/>
                  </a:lnTo>
                  <a:lnTo>
                    <a:pt x="3" y="131"/>
                  </a:lnTo>
                  <a:lnTo>
                    <a:pt x="1" y="147"/>
                  </a:lnTo>
                  <a:lnTo>
                    <a:pt x="0" y="164"/>
                  </a:lnTo>
                  <a:lnTo>
                    <a:pt x="0" y="299"/>
                  </a:lnTo>
                  <a:lnTo>
                    <a:pt x="1" y="315"/>
                  </a:lnTo>
                  <a:lnTo>
                    <a:pt x="3" y="331"/>
                  </a:lnTo>
                  <a:lnTo>
                    <a:pt x="7" y="345"/>
                  </a:lnTo>
                  <a:lnTo>
                    <a:pt x="13" y="360"/>
                  </a:lnTo>
                  <a:lnTo>
                    <a:pt x="19" y="373"/>
                  </a:lnTo>
                  <a:lnTo>
                    <a:pt x="28" y="385"/>
                  </a:lnTo>
                  <a:lnTo>
                    <a:pt x="37" y="397"/>
                  </a:lnTo>
                  <a:lnTo>
                    <a:pt x="47" y="407"/>
                  </a:lnTo>
                  <a:lnTo>
                    <a:pt x="59" y="417"/>
                  </a:lnTo>
                  <a:lnTo>
                    <a:pt x="72" y="425"/>
                  </a:lnTo>
                  <a:lnTo>
                    <a:pt x="86" y="433"/>
                  </a:lnTo>
                  <a:lnTo>
                    <a:pt x="101" y="438"/>
                  </a:lnTo>
                  <a:lnTo>
                    <a:pt x="116" y="444"/>
                  </a:lnTo>
                  <a:lnTo>
                    <a:pt x="132" y="447"/>
                  </a:lnTo>
                  <a:lnTo>
                    <a:pt x="149" y="449"/>
                  </a:lnTo>
                  <a:lnTo>
                    <a:pt x="167" y="450"/>
                  </a:lnTo>
                  <a:lnTo>
                    <a:pt x="211" y="450"/>
                  </a:lnTo>
                  <a:lnTo>
                    <a:pt x="211" y="600"/>
                  </a:lnTo>
                  <a:lnTo>
                    <a:pt x="211" y="604"/>
                  </a:lnTo>
                  <a:lnTo>
                    <a:pt x="213" y="608"/>
                  </a:lnTo>
                  <a:lnTo>
                    <a:pt x="216" y="612"/>
                  </a:lnTo>
                  <a:lnTo>
                    <a:pt x="220" y="614"/>
                  </a:lnTo>
                  <a:lnTo>
                    <a:pt x="223" y="615"/>
                  </a:lnTo>
                  <a:lnTo>
                    <a:pt x="226" y="615"/>
                  </a:lnTo>
                  <a:lnTo>
                    <a:pt x="229" y="615"/>
                  </a:lnTo>
                  <a:lnTo>
                    <a:pt x="232" y="614"/>
                  </a:lnTo>
                  <a:lnTo>
                    <a:pt x="234" y="612"/>
                  </a:lnTo>
                  <a:lnTo>
                    <a:pt x="236" y="610"/>
                  </a:lnTo>
                  <a:lnTo>
                    <a:pt x="382" y="450"/>
                  </a:lnTo>
                  <a:lnTo>
                    <a:pt x="541" y="450"/>
                  </a:lnTo>
                  <a:lnTo>
                    <a:pt x="559" y="449"/>
                  </a:lnTo>
                  <a:lnTo>
                    <a:pt x="577" y="446"/>
                  </a:lnTo>
                  <a:lnTo>
                    <a:pt x="593" y="442"/>
                  </a:lnTo>
                  <a:lnTo>
                    <a:pt x="610" y="436"/>
                  </a:lnTo>
                  <a:lnTo>
                    <a:pt x="625" y="429"/>
                  </a:lnTo>
                  <a:lnTo>
                    <a:pt x="640" y="420"/>
                  </a:lnTo>
                  <a:lnTo>
                    <a:pt x="654" y="410"/>
                  </a:lnTo>
                  <a:lnTo>
                    <a:pt x="667" y="400"/>
                  </a:lnTo>
                  <a:lnTo>
                    <a:pt x="678" y="388"/>
                  </a:lnTo>
                  <a:lnTo>
                    <a:pt x="689" y="375"/>
                  </a:lnTo>
                  <a:lnTo>
                    <a:pt x="699" y="362"/>
                  </a:lnTo>
                  <a:lnTo>
                    <a:pt x="706" y="347"/>
                  </a:lnTo>
                  <a:lnTo>
                    <a:pt x="713" y="332"/>
                  </a:lnTo>
                  <a:lnTo>
                    <a:pt x="717" y="317"/>
                  </a:lnTo>
                  <a:lnTo>
                    <a:pt x="720" y="301"/>
                  </a:lnTo>
                  <a:lnTo>
                    <a:pt x="721" y="284"/>
                  </a:lnTo>
                  <a:lnTo>
                    <a:pt x="721"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523" name="Freeform 53">
              <a:extLst>
                <a:ext uri="{FF2B5EF4-FFF2-40B4-BE49-F238E27FC236}">
                  <a16:creationId xmlns:a16="http://schemas.microsoft.com/office/drawing/2014/main" id="{E9092C57-4C0E-4542-9F07-C6E56A5F8245}"/>
                </a:ext>
              </a:extLst>
            </p:cNvPr>
            <p:cNvSpPr>
              <a:spLocks/>
            </p:cNvSpPr>
            <p:nvPr/>
          </p:nvSpPr>
          <p:spPr bwMode="auto">
            <a:xfrm>
              <a:off x="5597525" y="2087563"/>
              <a:ext cx="152400" cy="128588"/>
            </a:xfrm>
            <a:custGeom>
              <a:avLst/>
              <a:gdLst>
                <a:gd name="T0" fmla="*/ 479 w 481"/>
                <a:gd name="T1" fmla="*/ 84 h 406"/>
                <a:gd name="T2" fmla="*/ 468 w 481"/>
                <a:gd name="T3" fmla="*/ 55 h 406"/>
                <a:gd name="T4" fmla="*/ 450 w 481"/>
                <a:gd name="T5" fmla="*/ 30 h 406"/>
                <a:gd name="T6" fmla="*/ 426 w 481"/>
                <a:gd name="T7" fmla="*/ 12 h 406"/>
                <a:gd name="T8" fmla="*/ 396 w 481"/>
                <a:gd name="T9" fmla="*/ 2 h 406"/>
                <a:gd name="T10" fmla="*/ 372 w 481"/>
                <a:gd name="T11" fmla="*/ 0 h 406"/>
                <a:gd name="T12" fmla="*/ 364 w 481"/>
                <a:gd name="T13" fmla="*/ 4 h 406"/>
                <a:gd name="T14" fmla="*/ 360 w 481"/>
                <a:gd name="T15" fmla="*/ 12 h 406"/>
                <a:gd name="T16" fmla="*/ 361 w 481"/>
                <a:gd name="T17" fmla="*/ 20 h 406"/>
                <a:gd name="T18" fmla="*/ 367 w 481"/>
                <a:gd name="T19" fmla="*/ 27 h 406"/>
                <a:gd name="T20" fmla="*/ 375 w 481"/>
                <a:gd name="T21" fmla="*/ 30 h 406"/>
                <a:gd name="T22" fmla="*/ 399 w 481"/>
                <a:gd name="T23" fmla="*/ 33 h 406"/>
                <a:gd name="T24" fmla="*/ 418 w 481"/>
                <a:gd name="T25" fmla="*/ 42 h 406"/>
                <a:gd name="T26" fmla="*/ 434 w 481"/>
                <a:gd name="T27" fmla="*/ 57 h 406"/>
                <a:gd name="T28" fmla="*/ 445 w 481"/>
                <a:gd name="T29" fmla="*/ 75 h 406"/>
                <a:gd name="T30" fmla="*/ 450 w 481"/>
                <a:gd name="T31" fmla="*/ 98 h 406"/>
                <a:gd name="T32" fmla="*/ 451 w 481"/>
                <a:gd name="T33" fmla="*/ 183 h 406"/>
                <a:gd name="T34" fmla="*/ 445 w 481"/>
                <a:gd name="T35" fmla="*/ 206 h 406"/>
                <a:gd name="T36" fmla="*/ 433 w 481"/>
                <a:gd name="T37" fmla="*/ 226 h 406"/>
                <a:gd name="T38" fmla="*/ 416 w 481"/>
                <a:gd name="T39" fmla="*/ 242 h 406"/>
                <a:gd name="T40" fmla="*/ 394 w 481"/>
                <a:gd name="T41" fmla="*/ 252 h 406"/>
                <a:gd name="T42" fmla="*/ 371 w 481"/>
                <a:gd name="T43" fmla="*/ 255 h 406"/>
                <a:gd name="T44" fmla="*/ 310 w 481"/>
                <a:gd name="T45" fmla="*/ 256 h 406"/>
                <a:gd name="T46" fmla="*/ 302 w 481"/>
                <a:gd name="T47" fmla="*/ 261 h 406"/>
                <a:gd name="T48" fmla="*/ 300 w 481"/>
                <a:gd name="T49" fmla="*/ 270 h 406"/>
                <a:gd name="T50" fmla="*/ 204 w 481"/>
                <a:gd name="T51" fmla="*/ 257 h 406"/>
                <a:gd name="T52" fmla="*/ 195 w 481"/>
                <a:gd name="T53" fmla="*/ 255 h 406"/>
                <a:gd name="T54" fmla="*/ 89 w 481"/>
                <a:gd name="T55" fmla="*/ 254 h 406"/>
                <a:gd name="T56" fmla="*/ 68 w 481"/>
                <a:gd name="T57" fmla="*/ 246 h 406"/>
                <a:gd name="T58" fmla="*/ 51 w 481"/>
                <a:gd name="T59" fmla="*/ 234 h 406"/>
                <a:gd name="T60" fmla="*/ 38 w 481"/>
                <a:gd name="T61" fmla="*/ 217 h 406"/>
                <a:gd name="T62" fmla="*/ 32 w 481"/>
                <a:gd name="T63" fmla="*/ 196 h 406"/>
                <a:gd name="T64" fmla="*/ 29 w 481"/>
                <a:gd name="T65" fmla="*/ 177 h 406"/>
                <a:gd name="T66" fmla="*/ 25 w 481"/>
                <a:gd name="T67" fmla="*/ 169 h 406"/>
                <a:gd name="T68" fmla="*/ 18 w 481"/>
                <a:gd name="T69" fmla="*/ 165 h 406"/>
                <a:gd name="T70" fmla="*/ 9 w 481"/>
                <a:gd name="T71" fmla="*/ 166 h 406"/>
                <a:gd name="T72" fmla="*/ 3 w 481"/>
                <a:gd name="T73" fmla="*/ 171 h 406"/>
                <a:gd name="T74" fmla="*/ 0 w 481"/>
                <a:gd name="T75" fmla="*/ 180 h 406"/>
                <a:gd name="T76" fmla="*/ 5 w 481"/>
                <a:gd name="T77" fmla="*/ 212 h 406"/>
                <a:gd name="T78" fmla="*/ 17 w 481"/>
                <a:gd name="T79" fmla="*/ 240 h 406"/>
                <a:gd name="T80" fmla="*/ 37 w 481"/>
                <a:gd name="T81" fmla="*/ 262 h 406"/>
                <a:gd name="T82" fmla="*/ 63 w 481"/>
                <a:gd name="T83" fmla="*/ 277 h 406"/>
                <a:gd name="T84" fmla="*/ 94 w 481"/>
                <a:gd name="T85" fmla="*/ 285 h 406"/>
                <a:gd name="T86" fmla="*/ 304 w 481"/>
                <a:gd name="T87" fmla="*/ 400 h 406"/>
                <a:gd name="T88" fmla="*/ 312 w 481"/>
                <a:gd name="T89" fmla="*/ 405 h 406"/>
                <a:gd name="T90" fmla="*/ 321 w 481"/>
                <a:gd name="T91" fmla="*/ 404 h 406"/>
                <a:gd name="T92" fmla="*/ 329 w 481"/>
                <a:gd name="T93" fmla="*/ 395 h 406"/>
                <a:gd name="T94" fmla="*/ 371 w 481"/>
                <a:gd name="T95" fmla="*/ 285 h 406"/>
                <a:gd name="T96" fmla="*/ 403 w 481"/>
                <a:gd name="T97" fmla="*/ 280 h 406"/>
                <a:gd name="T98" fmla="*/ 433 w 481"/>
                <a:gd name="T99" fmla="*/ 267 h 406"/>
                <a:gd name="T100" fmla="*/ 456 w 481"/>
                <a:gd name="T101" fmla="*/ 244 h 406"/>
                <a:gd name="T102" fmla="*/ 472 w 481"/>
                <a:gd name="T103" fmla="*/ 216 h 406"/>
                <a:gd name="T104" fmla="*/ 481 w 481"/>
                <a:gd name="T105"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1" h="406">
                  <a:moveTo>
                    <a:pt x="480" y="105"/>
                  </a:moveTo>
                  <a:lnTo>
                    <a:pt x="480" y="94"/>
                  </a:lnTo>
                  <a:lnTo>
                    <a:pt x="479" y="84"/>
                  </a:lnTo>
                  <a:lnTo>
                    <a:pt x="476" y="73"/>
                  </a:lnTo>
                  <a:lnTo>
                    <a:pt x="472" y="63"/>
                  </a:lnTo>
                  <a:lnTo>
                    <a:pt x="468" y="55"/>
                  </a:lnTo>
                  <a:lnTo>
                    <a:pt x="463" y="45"/>
                  </a:lnTo>
                  <a:lnTo>
                    <a:pt x="457" y="38"/>
                  </a:lnTo>
                  <a:lnTo>
                    <a:pt x="450" y="30"/>
                  </a:lnTo>
                  <a:lnTo>
                    <a:pt x="442" y="24"/>
                  </a:lnTo>
                  <a:lnTo>
                    <a:pt x="435" y="17"/>
                  </a:lnTo>
                  <a:lnTo>
                    <a:pt x="426" y="12"/>
                  </a:lnTo>
                  <a:lnTo>
                    <a:pt x="417" y="8"/>
                  </a:lnTo>
                  <a:lnTo>
                    <a:pt x="407" y="4"/>
                  </a:lnTo>
                  <a:lnTo>
                    <a:pt x="396" y="2"/>
                  </a:lnTo>
                  <a:lnTo>
                    <a:pt x="387" y="0"/>
                  </a:lnTo>
                  <a:lnTo>
                    <a:pt x="375" y="0"/>
                  </a:lnTo>
                  <a:lnTo>
                    <a:pt x="372" y="0"/>
                  </a:lnTo>
                  <a:lnTo>
                    <a:pt x="370" y="1"/>
                  </a:lnTo>
                  <a:lnTo>
                    <a:pt x="367" y="2"/>
                  </a:lnTo>
                  <a:lnTo>
                    <a:pt x="364" y="4"/>
                  </a:lnTo>
                  <a:lnTo>
                    <a:pt x="363" y="7"/>
                  </a:lnTo>
                  <a:lnTo>
                    <a:pt x="361" y="9"/>
                  </a:lnTo>
                  <a:lnTo>
                    <a:pt x="360" y="12"/>
                  </a:lnTo>
                  <a:lnTo>
                    <a:pt x="360" y="15"/>
                  </a:lnTo>
                  <a:lnTo>
                    <a:pt x="360" y="17"/>
                  </a:lnTo>
                  <a:lnTo>
                    <a:pt x="361" y="20"/>
                  </a:lnTo>
                  <a:lnTo>
                    <a:pt x="363" y="23"/>
                  </a:lnTo>
                  <a:lnTo>
                    <a:pt x="364" y="26"/>
                  </a:lnTo>
                  <a:lnTo>
                    <a:pt x="367" y="27"/>
                  </a:lnTo>
                  <a:lnTo>
                    <a:pt x="370" y="29"/>
                  </a:lnTo>
                  <a:lnTo>
                    <a:pt x="372" y="29"/>
                  </a:lnTo>
                  <a:lnTo>
                    <a:pt x="375" y="30"/>
                  </a:lnTo>
                  <a:lnTo>
                    <a:pt x="384" y="30"/>
                  </a:lnTo>
                  <a:lnTo>
                    <a:pt x="391" y="31"/>
                  </a:lnTo>
                  <a:lnTo>
                    <a:pt x="399" y="33"/>
                  </a:lnTo>
                  <a:lnTo>
                    <a:pt x="405" y="35"/>
                  </a:lnTo>
                  <a:lnTo>
                    <a:pt x="413" y="39"/>
                  </a:lnTo>
                  <a:lnTo>
                    <a:pt x="418" y="42"/>
                  </a:lnTo>
                  <a:lnTo>
                    <a:pt x="424" y="46"/>
                  </a:lnTo>
                  <a:lnTo>
                    <a:pt x="430" y="51"/>
                  </a:lnTo>
                  <a:lnTo>
                    <a:pt x="434" y="57"/>
                  </a:lnTo>
                  <a:lnTo>
                    <a:pt x="438" y="62"/>
                  </a:lnTo>
                  <a:lnTo>
                    <a:pt x="441" y="69"/>
                  </a:lnTo>
                  <a:lnTo>
                    <a:pt x="445" y="75"/>
                  </a:lnTo>
                  <a:lnTo>
                    <a:pt x="447" y="83"/>
                  </a:lnTo>
                  <a:lnTo>
                    <a:pt x="449" y="90"/>
                  </a:lnTo>
                  <a:lnTo>
                    <a:pt x="450" y="98"/>
                  </a:lnTo>
                  <a:lnTo>
                    <a:pt x="450" y="106"/>
                  </a:lnTo>
                  <a:lnTo>
                    <a:pt x="451" y="175"/>
                  </a:lnTo>
                  <a:lnTo>
                    <a:pt x="451" y="183"/>
                  </a:lnTo>
                  <a:lnTo>
                    <a:pt x="450" y="191"/>
                  </a:lnTo>
                  <a:lnTo>
                    <a:pt x="448" y="198"/>
                  </a:lnTo>
                  <a:lnTo>
                    <a:pt x="445" y="206"/>
                  </a:lnTo>
                  <a:lnTo>
                    <a:pt x="441" y="212"/>
                  </a:lnTo>
                  <a:lnTo>
                    <a:pt x="438" y="219"/>
                  </a:lnTo>
                  <a:lnTo>
                    <a:pt x="433" y="226"/>
                  </a:lnTo>
                  <a:lnTo>
                    <a:pt x="428" y="231"/>
                  </a:lnTo>
                  <a:lnTo>
                    <a:pt x="422" y="237"/>
                  </a:lnTo>
                  <a:lnTo>
                    <a:pt x="416" y="242"/>
                  </a:lnTo>
                  <a:lnTo>
                    <a:pt x="409" y="245"/>
                  </a:lnTo>
                  <a:lnTo>
                    <a:pt x="402" y="249"/>
                  </a:lnTo>
                  <a:lnTo>
                    <a:pt x="394" y="252"/>
                  </a:lnTo>
                  <a:lnTo>
                    <a:pt x="387" y="254"/>
                  </a:lnTo>
                  <a:lnTo>
                    <a:pt x="379" y="255"/>
                  </a:lnTo>
                  <a:lnTo>
                    <a:pt x="371" y="255"/>
                  </a:lnTo>
                  <a:lnTo>
                    <a:pt x="315" y="255"/>
                  </a:lnTo>
                  <a:lnTo>
                    <a:pt x="312" y="255"/>
                  </a:lnTo>
                  <a:lnTo>
                    <a:pt x="310" y="256"/>
                  </a:lnTo>
                  <a:lnTo>
                    <a:pt x="307" y="258"/>
                  </a:lnTo>
                  <a:lnTo>
                    <a:pt x="304" y="259"/>
                  </a:lnTo>
                  <a:lnTo>
                    <a:pt x="302" y="261"/>
                  </a:lnTo>
                  <a:lnTo>
                    <a:pt x="301" y="264"/>
                  </a:lnTo>
                  <a:lnTo>
                    <a:pt x="300" y="267"/>
                  </a:lnTo>
                  <a:lnTo>
                    <a:pt x="300" y="270"/>
                  </a:lnTo>
                  <a:lnTo>
                    <a:pt x="300" y="353"/>
                  </a:lnTo>
                  <a:lnTo>
                    <a:pt x="206" y="259"/>
                  </a:lnTo>
                  <a:lnTo>
                    <a:pt x="204" y="257"/>
                  </a:lnTo>
                  <a:lnTo>
                    <a:pt x="201" y="256"/>
                  </a:lnTo>
                  <a:lnTo>
                    <a:pt x="199" y="255"/>
                  </a:lnTo>
                  <a:lnTo>
                    <a:pt x="195" y="255"/>
                  </a:lnTo>
                  <a:lnTo>
                    <a:pt x="105" y="255"/>
                  </a:lnTo>
                  <a:lnTo>
                    <a:pt x="97" y="255"/>
                  </a:lnTo>
                  <a:lnTo>
                    <a:pt x="89" y="254"/>
                  </a:lnTo>
                  <a:lnTo>
                    <a:pt x="82" y="252"/>
                  </a:lnTo>
                  <a:lnTo>
                    <a:pt x="74" y="249"/>
                  </a:lnTo>
                  <a:lnTo>
                    <a:pt x="68" y="246"/>
                  </a:lnTo>
                  <a:lnTo>
                    <a:pt x="62" y="243"/>
                  </a:lnTo>
                  <a:lnTo>
                    <a:pt x="56" y="239"/>
                  </a:lnTo>
                  <a:lnTo>
                    <a:pt x="51" y="234"/>
                  </a:lnTo>
                  <a:lnTo>
                    <a:pt x="47" y="229"/>
                  </a:lnTo>
                  <a:lnTo>
                    <a:pt x="42" y="223"/>
                  </a:lnTo>
                  <a:lnTo>
                    <a:pt x="38" y="217"/>
                  </a:lnTo>
                  <a:lnTo>
                    <a:pt x="36" y="210"/>
                  </a:lnTo>
                  <a:lnTo>
                    <a:pt x="33" y="203"/>
                  </a:lnTo>
                  <a:lnTo>
                    <a:pt x="32" y="196"/>
                  </a:lnTo>
                  <a:lnTo>
                    <a:pt x="31" y="188"/>
                  </a:lnTo>
                  <a:lnTo>
                    <a:pt x="29" y="180"/>
                  </a:lnTo>
                  <a:lnTo>
                    <a:pt x="29" y="177"/>
                  </a:lnTo>
                  <a:lnTo>
                    <a:pt x="28" y="175"/>
                  </a:lnTo>
                  <a:lnTo>
                    <a:pt x="27" y="171"/>
                  </a:lnTo>
                  <a:lnTo>
                    <a:pt x="25" y="169"/>
                  </a:lnTo>
                  <a:lnTo>
                    <a:pt x="23" y="167"/>
                  </a:lnTo>
                  <a:lnTo>
                    <a:pt x="21" y="166"/>
                  </a:lnTo>
                  <a:lnTo>
                    <a:pt x="18" y="165"/>
                  </a:lnTo>
                  <a:lnTo>
                    <a:pt x="14" y="165"/>
                  </a:lnTo>
                  <a:lnTo>
                    <a:pt x="12" y="165"/>
                  </a:lnTo>
                  <a:lnTo>
                    <a:pt x="9" y="166"/>
                  </a:lnTo>
                  <a:lnTo>
                    <a:pt x="7" y="167"/>
                  </a:lnTo>
                  <a:lnTo>
                    <a:pt x="4" y="169"/>
                  </a:lnTo>
                  <a:lnTo>
                    <a:pt x="3" y="171"/>
                  </a:lnTo>
                  <a:lnTo>
                    <a:pt x="1" y="175"/>
                  </a:lnTo>
                  <a:lnTo>
                    <a:pt x="1" y="177"/>
                  </a:lnTo>
                  <a:lnTo>
                    <a:pt x="0" y="180"/>
                  </a:lnTo>
                  <a:lnTo>
                    <a:pt x="1" y="191"/>
                  </a:lnTo>
                  <a:lnTo>
                    <a:pt x="2" y="202"/>
                  </a:lnTo>
                  <a:lnTo>
                    <a:pt x="5" y="212"/>
                  </a:lnTo>
                  <a:lnTo>
                    <a:pt x="8" y="222"/>
                  </a:lnTo>
                  <a:lnTo>
                    <a:pt x="12" y="231"/>
                  </a:lnTo>
                  <a:lnTo>
                    <a:pt x="17" y="240"/>
                  </a:lnTo>
                  <a:lnTo>
                    <a:pt x="23" y="248"/>
                  </a:lnTo>
                  <a:lnTo>
                    <a:pt x="29" y="255"/>
                  </a:lnTo>
                  <a:lnTo>
                    <a:pt x="37" y="262"/>
                  </a:lnTo>
                  <a:lnTo>
                    <a:pt x="44" y="268"/>
                  </a:lnTo>
                  <a:lnTo>
                    <a:pt x="54" y="273"/>
                  </a:lnTo>
                  <a:lnTo>
                    <a:pt x="63" y="277"/>
                  </a:lnTo>
                  <a:lnTo>
                    <a:pt x="72" y="280"/>
                  </a:lnTo>
                  <a:lnTo>
                    <a:pt x="83" y="283"/>
                  </a:lnTo>
                  <a:lnTo>
                    <a:pt x="94" y="285"/>
                  </a:lnTo>
                  <a:lnTo>
                    <a:pt x="105" y="285"/>
                  </a:lnTo>
                  <a:lnTo>
                    <a:pt x="189" y="285"/>
                  </a:lnTo>
                  <a:lnTo>
                    <a:pt x="304" y="400"/>
                  </a:lnTo>
                  <a:lnTo>
                    <a:pt x="307" y="402"/>
                  </a:lnTo>
                  <a:lnTo>
                    <a:pt x="310" y="404"/>
                  </a:lnTo>
                  <a:lnTo>
                    <a:pt x="312" y="405"/>
                  </a:lnTo>
                  <a:lnTo>
                    <a:pt x="315" y="406"/>
                  </a:lnTo>
                  <a:lnTo>
                    <a:pt x="318" y="405"/>
                  </a:lnTo>
                  <a:lnTo>
                    <a:pt x="321" y="404"/>
                  </a:lnTo>
                  <a:lnTo>
                    <a:pt x="325" y="401"/>
                  </a:lnTo>
                  <a:lnTo>
                    <a:pt x="328" y="398"/>
                  </a:lnTo>
                  <a:lnTo>
                    <a:pt x="329" y="395"/>
                  </a:lnTo>
                  <a:lnTo>
                    <a:pt x="330" y="391"/>
                  </a:lnTo>
                  <a:lnTo>
                    <a:pt x="330" y="285"/>
                  </a:lnTo>
                  <a:lnTo>
                    <a:pt x="371" y="285"/>
                  </a:lnTo>
                  <a:lnTo>
                    <a:pt x="383" y="285"/>
                  </a:lnTo>
                  <a:lnTo>
                    <a:pt x="393" y="283"/>
                  </a:lnTo>
                  <a:lnTo>
                    <a:pt x="403" y="280"/>
                  </a:lnTo>
                  <a:lnTo>
                    <a:pt x="414" y="276"/>
                  </a:lnTo>
                  <a:lnTo>
                    <a:pt x="423" y="272"/>
                  </a:lnTo>
                  <a:lnTo>
                    <a:pt x="433" y="267"/>
                  </a:lnTo>
                  <a:lnTo>
                    <a:pt x="441" y="260"/>
                  </a:lnTo>
                  <a:lnTo>
                    <a:pt x="449" y="253"/>
                  </a:lnTo>
                  <a:lnTo>
                    <a:pt x="456" y="244"/>
                  </a:lnTo>
                  <a:lnTo>
                    <a:pt x="463" y="236"/>
                  </a:lnTo>
                  <a:lnTo>
                    <a:pt x="468" y="226"/>
                  </a:lnTo>
                  <a:lnTo>
                    <a:pt x="472" y="216"/>
                  </a:lnTo>
                  <a:lnTo>
                    <a:pt x="477" y="207"/>
                  </a:lnTo>
                  <a:lnTo>
                    <a:pt x="479" y="196"/>
                  </a:lnTo>
                  <a:lnTo>
                    <a:pt x="481" y="185"/>
                  </a:lnTo>
                  <a:lnTo>
                    <a:pt x="481" y="175"/>
                  </a:lnTo>
                  <a:lnTo>
                    <a:pt x="48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474" name="Group 41">
            <a:extLst>
              <a:ext uri="{FF2B5EF4-FFF2-40B4-BE49-F238E27FC236}">
                <a16:creationId xmlns:a16="http://schemas.microsoft.com/office/drawing/2014/main" id="{209E9794-7A5F-4E4C-B77E-2114FE9FD0F0}"/>
              </a:ext>
            </a:extLst>
          </p:cNvPr>
          <p:cNvGrpSpPr>
            <a:grpSpLocks noChangeAspect="1"/>
          </p:cNvGrpSpPr>
          <p:nvPr/>
        </p:nvGrpSpPr>
        <p:grpSpPr>
          <a:xfrm>
            <a:off x="1076489" y="3263433"/>
            <a:ext cx="285619" cy="285619"/>
            <a:chOff x="11045825" y="2247900"/>
            <a:chExt cx="258763" cy="258763"/>
          </a:xfrm>
          <a:solidFill>
            <a:schemeClr val="bg1"/>
          </a:solidFill>
          <a:effectLst/>
        </p:grpSpPr>
        <p:sp>
          <p:nvSpPr>
            <p:cNvPr id="475" name="Freeform 207">
              <a:extLst>
                <a:ext uri="{FF2B5EF4-FFF2-40B4-BE49-F238E27FC236}">
                  <a16:creationId xmlns:a16="http://schemas.microsoft.com/office/drawing/2014/main" id="{A238F488-C9F3-4DEF-9EF8-690C63F7F0E4}"/>
                </a:ext>
              </a:extLst>
            </p:cNvPr>
            <p:cNvSpPr>
              <a:spLocks/>
            </p:cNvSpPr>
            <p:nvPr/>
          </p:nvSpPr>
          <p:spPr bwMode="auto">
            <a:xfrm>
              <a:off x="11155363" y="2478088"/>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8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6 h 30"/>
                <a:gd name="T30" fmla="*/ 9 w 120"/>
                <a:gd name="T31" fmla="*/ 29 h 30"/>
                <a:gd name="T32" fmla="*/ 12 w 120"/>
                <a:gd name="T33" fmla="*/ 29 h 30"/>
                <a:gd name="T34" fmla="*/ 15 w 120"/>
                <a:gd name="T35" fmla="*/ 30 h 30"/>
                <a:gd name="T36" fmla="*/ 105 w 120"/>
                <a:gd name="T37" fmla="*/ 30 h 30"/>
                <a:gd name="T38" fmla="*/ 109 w 120"/>
                <a:gd name="T39" fmla="*/ 29 h 30"/>
                <a:gd name="T40" fmla="*/ 111 w 120"/>
                <a:gd name="T41" fmla="*/ 29 h 30"/>
                <a:gd name="T42" fmla="*/ 114 w 120"/>
                <a:gd name="T43" fmla="*/ 26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8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29"/>
                  </a:lnTo>
                  <a:lnTo>
                    <a:pt x="15" y="30"/>
                  </a:lnTo>
                  <a:lnTo>
                    <a:pt x="105" y="30"/>
                  </a:lnTo>
                  <a:lnTo>
                    <a:pt x="109" y="29"/>
                  </a:lnTo>
                  <a:lnTo>
                    <a:pt x="111" y="29"/>
                  </a:lnTo>
                  <a:lnTo>
                    <a:pt x="114" y="26"/>
                  </a:lnTo>
                  <a:lnTo>
                    <a:pt x="116" y="25"/>
                  </a:lnTo>
                  <a:lnTo>
                    <a:pt x="118" y="23"/>
                  </a:lnTo>
                  <a:lnTo>
                    <a:pt x="119" y="20"/>
                  </a:lnTo>
                  <a:lnTo>
                    <a:pt x="120" y="18"/>
                  </a:lnTo>
                  <a:lnTo>
                    <a:pt x="120" y="15"/>
                  </a:lnTo>
                  <a:lnTo>
                    <a:pt x="120" y="11"/>
                  </a:lnTo>
                  <a:lnTo>
                    <a:pt x="119" y="8"/>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6" name="Freeform 208">
              <a:extLst>
                <a:ext uri="{FF2B5EF4-FFF2-40B4-BE49-F238E27FC236}">
                  <a16:creationId xmlns:a16="http://schemas.microsoft.com/office/drawing/2014/main" id="{068ADDDD-E5B5-438B-BC4E-DFB5AAC9EB72}"/>
                </a:ext>
              </a:extLst>
            </p:cNvPr>
            <p:cNvSpPr>
              <a:spLocks/>
            </p:cNvSpPr>
            <p:nvPr/>
          </p:nvSpPr>
          <p:spPr bwMode="auto">
            <a:xfrm>
              <a:off x="11164888" y="2497138"/>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5 w 60"/>
                <a:gd name="T27" fmla="*/ 25 h 30"/>
                <a:gd name="T28" fmla="*/ 7 w 60"/>
                <a:gd name="T29" fmla="*/ 28 h 30"/>
                <a:gd name="T30" fmla="*/ 9 w 60"/>
                <a:gd name="T31" fmla="*/ 29 h 30"/>
                <a:gd name="T32" fmla="*/ 12 w 60"/>
                <a:gd name="T33" fmla="*/ 30 h 30"/>
                <a:gd name="T34" fmla="*/ 15 w 60"/>
                <a:gd name="T35" fmla="*/ 30 h 30"/>
                <a:gd name="T36" fmla="*/ 45 w 60"/>
                <a:gd name="T37" fmla="*/ 30 h 30"/>
                <a:gd name="T38" fmla="*/ 49 w 60"/>
                <a:gd name="T39" fmla="*/ 30 h 30"/>
                <a:gd name="T40" fmla="*/ 51 w 60"/>
                <a:gd name="T41" fmla="*/ 29 h 30"/>
                <a:gd name="T42" fmla="*/ 54 w 60"/>
                <a:gd name="T43" fmla="*/ 28 h 30"/>
                <a:gd name="T44" fmla="*/ 56 w 60"/>
                <a:gd name="T45" fmla="*/ 25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8"/>
                  </a:lnTo>
                  <a:lnTo>
                    <a:pt x="1" y="20"/>
                  </a:lnTo>
                  <a:lnTo>
                    <a:pt x="3" y="23"/>
                  </a:lnTo>
                  <a:lnTo>
                    <a:pt x="5" y="25"/>
                  </a:lnTo>
                  <a:lnTo>
                    <a:pt x="7" y="28"/>
                  </a:lnTo>
                  <a:lnTo>
                    <a:pt x="9" y="29"/>
                  </a:lnTo>
                  <a:lnTo>
                    <a:pt x="12" y="30"/>
                  </a:lnTo>
                  <a:lnTo>
                    <a:pt x="15" y="30"/>
                  </a:lnTo>
                  <a:lnTo>
                    <a:pt x="45" y="30"/>
                  </a:lnTo>
                  <a:lnTo>
                    <a:pt x="49" y="30"/>
                  </a:lnTo>
                  <a:lnTo>
                    <a:pt x="51" y="29"/>
                  </a:lnTo>
                  <a:lnTo>
                    <a:pt x="54" y="28"/>
                  </a:lnTo>
                  <a:lnTo>
                    <a:pt x="56" y="25"/>
                  </a:lnTo>
                  <a:lnTo>
                    <a:pt x="57" y="23"/>
                  </a:lnTo>
                  <a:lnTo>
                    <a:pt x="59" y="20"/>
                  </a:lnTo>
                  <a:lnTo>
                    <a:pt x="60" y="18"/>
                  </a:lnTo>
                  <a:lnTo>
                    <a:pt x="60" y="15"/>
                  </a:lnTo>
                  <a:lnTo>
                    <a:pt x="60"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7" name="Freeform 209">
              <a:extLst>
                <a:ext uri="{FF2B5EF4-FFF2-40B4-BE49-F238E27FC236}">
                  <a16:creationId xmlns:a16="http://schemas.microsoft.com/office/drawing/2014/main" id="{16D09035-3779-4211-8254-C0A50A18364D}"/>
                </a:ext>
              </a:extLst>
            </p:cNvPr>
            <p:cNvSpPr>
              <a:spLocks noEditPoints="1"/>
            </p:cNvSpPr>
            <p:nvPr/>
          </p:nvSpPr>
          <p:spPr bwMode="auto">
            <a:xfrm>
              <a:off x="11093450" y="2290763"/>
              <a:ext cx="163513" cy="177800"/>
            </a:xfrm>
            <a:custGeom>
              <a:avLst/>
              <a:gdLst>
                <a:gd name="T0" fmla="*/ 303 w 512"/>
                <a:gd name="T1" fmla="*/ 484 h 558"/>
                <a:gd name="T2" fmla="*/ 211 w 512"/>
                <a:gd name="T3" fmla="*/ 489 h 558"/>
                <a:gd name="T4" fmla="*/ 200 w 512"/>
                <a:gd name="T5" fmla="*/ 475 h 558"/>
                <a:gd name="T6" fmla="*/ 131 w 512"/>
                <a:gd name="T7" fmla="*/ 444 h 558"/>
                <a:gd name="T8" fmla="*/ 77 w 512"/>
                <a:gd name="T9" fmla="*/ 395 h 558"/>
                <a:gd name="T10" fmla="*/ 43 w 512"/>
                <a:gd name="T11" fmla="*/ 330 h 558"/>
                <a:gd name="T12" fmla="*/ 30 w 512"/>
                <a:gd name="T13" fmla="*/ 256 h 558"/>
                <a:gd name="T14" fmla="*/ 35 w 512"/>
                <a:gd name="T15" fmla="*/ 211 h 558"/>
                <a:gd name="T16" fmla="*/ 48 w 512"/>
                <a:gd name="T17" fmla="*/ 168 h 558"/>
                <a:gd name="T18" fmla="*/ 97 w 512"/>
                <a:gd name="T19" fmla="*/ 97 h 558"/>
                <a:gd name="T20" fmla="*/ 168 w 512"/>
                <a:gd name="T21" fmla="*/ 48 h 558"/>
                <a:gd name="T22" fmla="*/ 210 w 512"/>
                <a:gd name="T23" fmla="*/ 35 h 558"/>
                <a:gd name="T24" fmla="*/ 256 w 512"/>
                <a:gd name="T25" fmla="*/ 30 h 558"/>
                <a:gd name="T26" fmla="*/ 301 w 512"/>
                <a:gd name="T27" fmla="*/ 35 h 558"/>
                <a:gd name="T28" fmla="*/ 344 w 512"/>
                <a:gd name="T29" fmla="*/ 48 h 558"/>
                <a:gd name="T30" fmla="*/ 416 w 512"/>
                <a:gd name="T31" fmla="*/ 97 h 558"/>
                <a:gd name="T32" fmla="*/ 464 w 512"/>
                <a:gd name="T33" fmla="*/ 168 h 558"/>
                <a:gd name="T34" fmla="*/ 477 w 512"/>
                <a:gd name="T35" fmla="*/ 211 h 558"/>
                <a:gd name="T36" fmla="*/ 482 w 512"/>
                <a:gd name="T37" fmla="*/ 256 h 558"/>
                <a:gd name="T38" fmla="*/ 470 w 512"/>
                <a:gd name="T39" fmla="*/ 330 h 558"/>
                <a:gd name="T40" fmla="*/ 434 w 512"/>
                <a:gd name="T41" fmla="*/ 395 h 558"/>
                <a:gd name="T42" fmla="*/ 381 w 512"/>
                <a:gd name="T43" fmla="*/ 444 h 558"/>
                <a:gd name="T44" fmla="*/ 312 w 512"/>
                <a:gd name="T45" fmla="*/ 475 h 558"/>
                <a:gd name="T46" fmla="*/ 218 w 512"/>
                <a:gd name="T47" fmla="*/ 3 h 558"/>
                <a:gd name="T48" fmla="*/ 168 w 512"/>
                <a:gd name="T49" fmla="*/ 16 h 558"/>
                <a:gd name="T50" fmla="*/ 123 w 512"/>
                <a:gd name="T51" fmla="*/ 38 h 558"/>
                <a:gd name="T52" fmla="*/ 84 w 512"/>
                <a:gd name="T53" fmla="*/ 67 h 558"/>
                <a:gd name="T54" fmla="*/ 52 w 512"/>
                <a:gd name="T55" fmla="*/ 103 h 558"/>
                <a:gd name="T56" fmla="*/ 26 w 512"/>
                <a:gd name="T57" fmla="*/ 146 h 558"/>
                <a:gd name="T58" fmla="*/ 9 w 512"/>
                <a:gd name="T59" fmla="*/ 192 h 558"/>
                <a:gd name="T60" fmla="*/ 0 w 512"/>
                <a:gd name="T61" fmla="*/ 243 h 558"/>
                <a:gd name="T62" fmla="*/ 8 w 512"/>
                <a:gd name="T63" fmla="*/ 317 h 558"/>
                <a:gd name="T64" fmla="*/ 39 w 512"/>
                <a:gd name="T65" fmla="*/ 391 h 558"/>
                <a:gd name="T66" fmla="*/ 91 w 512"/>
                <a:gd name="T67" fmla="*/ 451 h 558"/>
                <a:gd name="T68" fmla="*/ 161 w 512"/>
                <a:gd name="T69" fmla="*/ 493 h 558"/>
                <a:gd name="T70" fmla="*/ 182 w 512"/>
                <a:gd name="T71" fmla="*/ 548 h 558"/>
                <a:gd name="T72" fmla="*/ 190 w 512"/>
                <a:gd name="T73" fmla="*/ 557 h 558"/>
                <a:gd name="T74" fmla="*/ 320 w 512"/>
                <a:gd name="T75" fmla="*/ 557 h 558"/>
                <a:gd name="T76" fmla="*/ 329 w 512"/>
                <a:gd name="T77" fmla="*/ 550 h 558"/>
                <a:gd name="T78" fmla="*/ 331 w 512"/>
                <a:gd name="T79" fmla="*/ 501 h 558"/>
                <a:gd name="T80" fmla="*/ 404 w 512"/>
                <a:gd name="T81" fmla="*/ 464 h 558"/>
                <a:gd name="T82" fmla="*/ 462 w 512"/>
                <a:gd name="T83" fmla="*/ 409 h 558"/>
                <a:gd name="T84" fmla="*/ 499 w 512"/>
                <a:gd name="T85" fmla="*/ 338 h 558"/>
                <a:gd name="T86" fmla="*/ 512 w 512"/>
                <a:gd name="T87" fmla="*/ 256 h 558"/>
                <a:gd name="T88" fmla="*/ 507 w 512"/>
                <a:gd name="T89" fmla="*/ 205 h 558"/>
                <a:gd name="T90" fmla="*/ 492 w 512"/>
                <a:gd name="T91" fmla="*/ 157 h 558"/>
                <a:gd name="T92" fmla="*/ 469 w 512"/>
                <a:gd name="T93" fmla="*/ 114 h 558"/>
                <a:gd name="T94" fmla="*/ 437 w 512"/>
                <a:gd name="T95" fmla="*/ 75 h 558"/>
                <a:gd name="T96" fmla="*/ 399 w 512"/>
                <a:gd name="T97" fmla="*/ 44 h 558"/>
                <a:gd name="T98" fmla="*/ 356 w 512"/>
                <a:gd name="T99" fmla="*/ 20 h 558"/>
                <a:gd name="T100" fmla="*/ 308 w 512"/>
                <a:gd name="T101" fmla="*/ 5 h 558"/>
                <a:gd name="T102" fmla="*/ 256 w 512"/>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58">
                  <a:moveTo>
                    <a:pt x="312" y="475"/>
                  </a:moveTo>
                  <a:lnTo>
                    <a:pt x="308" y="476"/>
                  </a:lnTo>
                  <a:lnTo>
                    <a:pt x="305" y="480"/>
                  </a:lnTo>
                  <a:lnTo>
                    <a:pt x="303" y="484"/>
                  </a:lnTo>
                  <a:lnTo>
                    <a:pt x="301" y="489"/>
                  </a:lnTo>
                  <a:lnTo>
                    <a:pt x="301" y="528"/>
                  </a:lnTo>
                  <a:lnTo>
                    <a:pt x="211" y="528"/>
                  </a:lnTo>
                  <a:lnTo>
                    <a:pt x="211" y="489"/>
                  </a:lnTo>
                  <a:lnTo>
                    <a:pt x="210" y="484"/>
                  </a:lnTo>
                  <a:lnTo>
                    <a:pt x="208" y="480"/>
                  </a:lnTo>
                  <a:lnTo>
                    <a:pt x="204" y="476"/>
                  </a:lnTo>
                  <a:lnTo>
                    <a:pt x="200" y="475"/>
                  </a:lnTo>
                  <a:lnTo>
                    <a:pt x="181" y="469"/>
                  </a:lnTo>
                  <a:lnTo>
                    <a:pt x="164" y="462"/>
                  </a:lnTo>
                  <a:lnTo>
                    <a:pt x="147" y="454"/>
                  </a:lnTo>
                  <a:lnTo>
                    <a:pt x="131" y="444"/>
                  </a:lnTo>
                  <a:lnTo>
                    <a:pt x="116" y="433"/>
                  </a:lnTo>
                  <a:lnTo>
                    <a:pt x="102" y="421"/>
                  </a:lnTo>
                  <a:lnTo>
                    <a:pt x="89" y="409"/>
                  </a:lnTo>
                  <a:lnTo>
                    <a:pt x="77" y="395"/>
                  </a:lnTo>
                  <a:lnTo>
                    <a:pt x="67" y="380"/>
                  </a:lnTo>
                  <a:lnTo>
                    <a:pt x="58" y="364"/>
                  </a:lnTo>
                  <a:lnTo>
                    <a:pt x="49" y="347"/>
                  </a:lnTo>
                  <a:lnTo>
                    <a:pt x="43" y="330"/>
                  </a:lnTo>
                  <a:lnTo>
                    <a:pt x="38" y="312"/>
                  </a:lnTo>
                  <a:lnTo>
                    <a:pt x="33" y="294"/>
                  </a:lnTo>
                  <a:lnTo>
                    <a:pt x="31" y="276"/>
                  </a:lnTo>
                  <a:lnTo>
                    <a:pt x="30" y="256"/>
                  </a:lnTo>
                  <a:lnTo>
                    <a:pt x="31" y="245"/>
                  </a:lnTo>
                  <a:lnTo>
                    <a:pt x="31" y="233"/>
                  </a:lnTo>
                  <a:lnTo>
                    <a:pt x="33" y="222"/>
                  </a:lnTo>
                  <a:lnTo>
                    <a:pt x="35" y="211"/>
                  </a:lnTo>
                  <a:lnTo>
                    <a:pt x="38" y="199"/>
                  </a:lnTo>
                  <a:lnTo>
                    <a:pt x="41" y="189"/>
                  </a:lnTo>
                  <a:lnTo>
                    <a:pt x="44" y="179"/>
                  </a:lnTo>
                  <a:lnTo>
                    <a:pt x="48" y="168"/>
                  </a:lnTo>
                  <a:lnTo>
                    <a:pt x="58" y="149"/>
                  </a:lnTo>
                  <a:lnTo>
                    <a:pt x="69" y="130"/>
                  </a:lnTo>
                  <a:lnTo>
                    <a:pt x="82" y="113"/>
                  </a:lnTo>
                  <a:lnTo>
                    <a:pt x="97" y="97"/>
                  </a:lnTo>
                  <a:lnTo>
                    <a:pt x="113" y="83"/>
                  </a:lnTo>
                  <a:lnTo>
                    <a:pt x="130" y="69"/>
                  </a:lnTo>
                  <a:lnTo>
                    <a:pt x="149" y="58"/>
                  </a:lnTo>
                  <a:lnTo>
                    <a:pt x="168" y="48"/>
                  </a:lnTo>
                  <a:lnTo>
                    <a:pt x="178" y="44"/>
                  </a:lnTo>
                  <a:lnTo>
                    <a:pt x="189" y="41"/>
                  </a:lnTo>
                  <a:lnTo>
                    <a:pt x="200" y="38"/>
                  </a:lnTo>
                  <a:lnTo>
                    <a:pt x="210" y="35"/>
                  </a:lnTo>
                  <a:lnTo>
                    <a:pt x="222" y="33"/>
                  </a:lnTo>
                  <a:lnTo>
                    <a:pt x="233" y="32"/>
                  </a:lnTo>
                  <a:lnTo>
                    <a:pt x="245" y="31"/>
                  </a:lnTo>
                  <a:lnTo>
                    <a:pt x="256" y="30"/>
                  </a:lnTo>
                  <a:lnTo>
                    <a:pt x="268" y="31"/>
                  </a:lnTo>
                  <a:lnTo>
                    <a:pt x="279" y="31"/>
                  </a:lnTo>
                  <a:lnTo>
                    <a:pt x="291" y="33"/>
                  </a:lnTo>
                  <a:lnTo>
                    <a:pt x="301" y="35"/>
                  </a:lnTo>
                  <a:lnTo>
                    <a:pt x="312" y="38"/>
                  </a:lnTo>
                  <a:lnTo>
                    <a:pt x="323" y="41"/>
                  </a:lnTo>
                  <a:lnTo>
                    <a:pt x="334" y="44"/>
                  </a:lnTo>
                  <a:lnTo>
                    <a:pt x="344" y="48"/>
                  </a:lnTo>
                  <a:lnTo>
                    <a:pt x="364" y="58"/>
                  </a:lnTo>
                  <a:lnTo>
                    <a:pt x="382" y="69"/>
                  </a:lnTo>
                  <a:lnTo>
                    <a:pt x="400" y="83"/>
                  </a:lnTo>
                  <a:lnTo>
                    <a:pt x="416" y="97"/>
                  </a:lnTo>
                  <a:lnTo>
                    <a:pt x="430" y="113"/>
                  </a:lnTo>
                  <a:lnTo>
                    <a:pt x="443" y="130"/>
                  </a:lnTo>
                  <a:lnTo>
                    <a:pt x="455" y="149"/>
                  </a:lnTo>
                  <a:lnTo>
                    <a:pt x="464" y="168"/>
                  </a:lnTo>
                  <a:lnTo>
                    <a:pt x="468" y="179"/>
                  </a:lnTo>
                  <a:lnTo>
                    <a:pt x="472" y="189"/>
                  </a:lnTo>
                  <a:lnTo>
                    <a:pt x="475" y="199"/>
                  </a:lnTo>
                  <a:lnTo>
                    <a:pt x="477" y="211"/>
                  </a:lnTo>
                  <a:lnTo>
                    <a:pt x="479" y="222"/>
                  </a:lnTo>
                  <a:lnTo>
                    <a:pt x="481" y="233"/>
                  </a:lnTo>
                  <a:lnTo>
                    <a:pt x="482" y="245"/>
                  </a:lnTo>
                  <a:lnTo>
                    <a:pt x="482" y="256"/>
                  </a:lnTo>
                  <a:lnTo>
                    <a:pt x="482" y="276"/>
                  </a:lnTo>
                  <a:lnTo>
                    <a:pt x="478" y="294"/>
                  </a:lnTo>
                  <a:lnTo>
                    <a:pt x="475" y="312"/>
                  </a:lnTo>
                  <a:lnTo>
                    <a:pt x="470" y="330"/>
                  </a:lnTo>
                  <a:lnTo>
                    <a:pt x="462" y="347"/>
                  </a:lnTo>
                  <a:lnTo>
                    <a:pt x="455" y="364"/>
                  </a:lnTo>
                  <a:lnTo>
                    <a:pt x="445" y="380"/>
                  </a:lnTo>
                  <a:lnTo>
                    <a:pt x="434" y="395"/>
                  </a:lnTo>
                  <a:lnTo>
                    <a:pt x="423" y="409"/>
                  </a:lnTo>
                  <a:lnTo>
                    <a:pt x="410" y="421"/>
                  </a:lnTo>
                  <a:lnTo>
                    <a:pt x="396" y="433"/>
                  </a:lnTo>
                  <a:lnTo>
                    <a:pt x="381" y="444"/>
                  </a:lnTo>
                  <a:lnTo>
                    <a:pt x="365" y="454"/>
                  </a:lnTo>
                  <a:lnTo>
                    <a:pt x="349" y="462"/>
                  </a:lnTo>
                  <a:lnTo>
                    <a:pt x="331" y="469"/>
                  </a:lnTo>
                  <a:lnTo>
                    <a:pt x="312" y="475"/>
                  </a:lnTo>
                  <a:close/>
                  <a:moveTo>
                    <a:pt x="256" y="0"/>
                  </a:moveTo>
                  <a:lnTo>
                    <a:pt x="244" y="1"/>
                  </a:lnTo>
                  <a:lnTo>
                    <a:pt x="230" y="2"/>
                  </a:lnTo>
                  <a:lnTo>
                    <a:pt x="218" y="3"/>
                  </a:lnTo>
                  <a:lnTo>
                    <a:pt x="205" y="5"/>
                  </a:lnTo>
                  <a:lnTo>
                    <a:pt x="192" y="9"/>
                  </a:lnTo>
                  <a:lnTo>
                    <a:pt x="180" y="12"/>
                  </a:lnTo>
                  <a:lnTo>
                    <a:pt x="168" y="16"/>
                  </a:lnTo>
                  <a:lnTo>
                    <a:pt x="157" y="20"/>
                  </a:lnTo>
                  <a:lnTo>
                    <a:pt x="145" y="26"/>
                  </a:lnTo>
                  <a:lnTo>
                    <a:pt x="134" y="31"/>
                  </a:lnTo>
                  <a:lnTo>
                    <a:pt x="123" y="38"/>
                  </a:lnTo>
                  <a:lnTo>
                    <a:pt x="113" y="44"/>
                  </a:lnTo>
                  <a:lnTo>
                    <a:pt x="103" y="52"/>
                  </a:lnTo>
                  <a:lnTo>
                    <a:pt x="93" y="59"/>
                  </a:lnTo>
                  <a:lnTo>
                    <a:pt x="84" y="67"/>
                  </a:lnTo>
                  <a:lnTo>
                    <a:pt x="75" y="75"/>
                  </a:lnTo>
                  <a:lnTo>
                    <a:pt x="67" y="85"/>
                  </a:lnTo>
                  <a:lnTo>
                    <a:pt x="59" y="93"/>
                  </a:lnTo>
                  <a:lnTo>
                    <a:pt x="52" y="103"/>
                  </a:lnTo>
                  <a:lnTo>
                    <a:pt x="44" y="114"/>
                  </a:lnTo>
                  <a:lnTo>
                    <a:pt x="38" y="123"/>
                  </a:lnTo>
                  <a:lnTo>
                    <a:pt x="31" y="134"/>
                  </a:lnTo>
                  <a:lnTo>
                    <a:pt x="26" y="146"/>
                  </a:lnTo>
                  <a:lnTo>
                    <a:pt x="20" y="157"/>
                  </a:lnTo>
                  <a:lnTo>
                    <a:pt x="16" y="168"/>
                  </a:lnTo>
                  <a:lnTo>
                    <a:pt x="12" y="180"/>
                  </a:lnTo>
                  <a:lnTo>
                    <a:pt x="9" y="192"/>
                  </a:lnTo>
                  <a:lnTo>
                    <a:pt x="5" y="205"/>
                  </a:lnTo>
                  <a:lnTo>
                    <a:pt x="3" y="218"/>
                  </a:lnTo>
                  <a:lnTo>
                    <a:pt x="1" y="231"/>
                  </a:lnTo>
                  <a:lnTo>
                    <a:pt x="0" y="243"/>
                  </a:lnTo>
                  <a:lnTo>
                    <a:pt x="0" y="256"/>
                  </a:lnTo>
                  <a:lnTo>
                    <a:pt x="1" y="277"/>
                  </a:lnTo>
                  <a:lnTo>
                    <a:pt x="3" y="298"/>
                  </a:lnTo>
                  <a:lnTo>
                    <a:pt x="8" y="317"/>
                  </a:lnTo>
                  <a:lnTo>
                    <a:pt x="13" y="338"/>
                  </a:lnTo>
                  <a:lnTo>
                    <a:pt x="20" y="356"/>
                  </a:lnTo>
                  <a:lnTo>
                    <a:pt x="29" y="374"/>
                  </a:lnTo>
                  <a:lnTo>
                    <a:pt x="39" y="391"/>
                  </a:lnTo>
                  <a:lnTo>
                    <a:pt x="50" y="409"/>
                  </a:lnTo>
                  <a:lnTo>
                    <a:pt x="63" y="424"/>
                  </a:lnTo>
                  <a:lnTo>
                    <a:pt x="77" y="439"/>
                  </a:lnTo>
                  <a:lnTo>
                    <a:pt x="91" y="451"/>
                  </a:lnTo>
                  <a:lnTo>
                    <a:pt x="107" y="464"/>
                  </a:lnTo>
                  <a:lnTo>
                    <a:pt x="124" y="475"/>
                  </a:lnTo>
                  <a:lnTo>
                    <a:pt x="143" y="485"/>
                  </a:lnTo>
                  <a:lnTo>
                    <a:pt x="161" y="493"/>
                  </a:lnTo>
                  <a:lnTo>
                    <a:pt x="181" y="501"/>
                  </a:lnTo>
                  <a:lnTo>
                    <a:pt x="181" y="543"/>
                  </a:lnTo>
                  <a:lnTo>
                    <a:pt x="181" y="545"/>
                  </a:lnTo>
                  <a:lnTo>
                    <a:pt x="182" y="548"/>
                  </a:lnTo>
                  <a:lnTo>
                    <a:pt x="183" y="550"/>
                  </a:lnTo>
                  <a:lnTo>
                    <a:pt x="186" y="553"/>
                  </a:lnTo>
                  <a:lnTo>
                    <a:pt x="188" y="554"/>
                  </a:lnTo>
                  <a:lnTo>
                    <a:pt x="190" y="557"/>
                  </a:lnTo>
                  <a:lnTo>
                    <a:pt x="193" y="557"/>
                  </a:lnTo>
                  <a:lnTo>
                    <a:pt x="196" y="558"/>
                  </a:lnTo>
                  <a:lnTo>
                    <a:pt x="316" y="558"/>
                  </a:lnTo>
                  <a:lnTo>
                    <a:pt x="320" y="557"/>
                  </a:lnTo>
                  <a:lnTo>
                    <a:pt x="322" y="557"/>
                  </a:lnTo>
                  <a:lnTo>
                    <a:pt x="325" y="554"/>
                  </a:lnTo>
                  <a:lnTo>
                    <a:pt x="327" y="553"/>
                  </a:lnTo>
                  <a:lnTo>
                    <a:pt x="329" y="550"/>
                  </a:lnTo>
                  <a:lnTo>
                    <a:pt x="330" y="548"/>
                  </a:lnTo>
                  <a:lnTo>
                    <a:pt x="331" y="545"/>
                  </a:lnTo>
                  <a:lnTo>
                    <a:pt x="331" y="543"/>
                  </a:lnTo>
                  <a:lnTo>
                    <a:pt x="331" y="501"/>
                  </a:lnTo>
                  <a:lnTo>
                    <a:pt x="351" y="493"/>
                  </a:lnTo>
                  <a:lnTo>
                    <a:pt x="370" y="485"/>
                  </a:lnTo>
                  <a:lnTo>
                    <a:pt x="388" y="475"/>
                  </a:lnTo>
                  <a:lnTo>
                    <a:pt x="404" y="464"/>
                  </a:lnTo>
                  <a:lnTo>
                    <a:pt x="420" y="451"/>
                  </a:lnTo>
                  <a:lnTo>
                    <a:pt x="436" y="439"/>
                  </a:lnTo>
                  <a:lnTo>
                    <a:pt x="449" y="424"/>
                  </a:lnTo>
                  <a:lnTo>
                    <a:pt x="462" y="409"/>
                  </a:lnTo>
                  <a:lnTo>
                    <a:pt x="473" y="391"/>
                  </a:lnTo>
                  <a:lnTo>
                    <a:pt x="483" y="374"/>
                  </a:lnTo>
                  <a:lnTo>
                    <a:pt x="491" y="356"/>
                  </a:lnTo>
                  <a:lnTo>
                    <a:pt x="499" y="338"/>
                  </a:lnTo>
                  <a:lnTo>
                    <a:pt x="504" y="317"/>
                  </a:lnTo>
                  <a:lnTo>
                    <a:pt x="508" y="298"/>
                  </a:lnTo>
                  <a:lnTo>
                    <a:pt x="512" y="277"/>
                  </a:lnTo>
                  <a:lnTo>
                    <a:pt x="512" y="256"/>
                  </a:lnTo>
                  <a:lnTo>
                    <a:pt x="512" y="243"/>
                  </a:lnTo>
                  <a:lnTo>
                    <a:pt x="511" y="231"/>
                  </a:lnTo>
                  <a:lnTo>
                    <a:pt x="510" y="218"/>
                  </a:lnTo>
                  <a:lnTo>
                    <a:pt x="507" y="205"/>
                  </a:lnTo>
                  <a:lnTo>
                    <a:pt x="504" y="192"/>
                  </a:lnTo>
                  <a:lnTo>
                    <a:pt x="501" y="180"/>
                  </a:lnTo>
                  <a:lnTo>
                    <a:pt x="497" y="168"/>
                  </a:lnTo>
                  <a:lnTo>
                    <a:pt x="492" y="157"/>
                  </a:lnTo>
                  <a:lnTo>
                    <a:pt x="487" y="146"/>
                  </a:lnTo>
                  <a:lnTo>
                    <a:pt x="482" y="134"/>
                  </a:lnTo>
                  <a:lnTo>
                    <a:pt x="475" y="123"/>
                  </a:lnTo>
                  <a:lnTo>
                    <a:pt x="469" y="114"/>
                  </a:lnTo>
                  <a:lnTo>
                    <a:pt x="461" y="103"/>
                  </a:lnTo>
                  <a:lnTo>
                    <a:pt x="454" y="93"/>
                  </a:lnTo>
                  <a:lnTo>
                    <a:pt x="445" y="85"/>
                  </a:lnTo>
                  <a:lnTo>
                    <a:pt x="437" y="75"/>
                  </a:lnTo>
                  <a:lnTo>
                    <a:pt x="428" y="67"/>
                  </a:lnTo>
                  <a:lnTo>
                    <a:pt x="418" y="59"/>
                  </a:lnTo>
                  <a:lnTo>
                    <a:pt x="409" y="52"/>
                  </a:lnTo>
                  <a:lnTo>
                    <a:pt x="399" y="44"/>
                  </a:lnTo>
                  <a:lnTo>
                    <a:pt x="388" y="38"/>
                  </a:lnTo>
                  <a:lnTo>
                    <a:pt x="378" y="31"/>
                  </a:lnTo>
                  <a:lnTo>
                    <a:pt x="367" y="26"/>
                  </a:lnTo>
                  <a:lnTo>
                    <a:pt x="356" y="20"/>
                  </a:lnTo>
                  <a:lnTo>
                    <a:pt x="344" y="16"/>
                  </a:lnTo>
                  <a:lnTo>
                    <a:pt x="333" y="12"/>
                  </a:lnTo>
                  <a:lnTo>
                    <a:pt x="320" y="9"/>
                  </a:lnTo>
                  <a:lnTo>
                    <a:pt x="308" y="5"/>
                  </a:lnTo>
                  <a:lnTo>
                    <a:pt x="295" y="3"/>
                  </a:lnTo>
                  <a:lnTo>
                    <a:pt x="282" y="2"/>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8" name="Freeform 210">
              <a:extLst>
                <a:ext uri="{FF2B5EF4-FFF2-40B4-BE49-F238E27FC236}">
                  <a16:creationId xmlns:a16="http://schemas.microsoft.com/office/drawing/2014/main" id="{A4203021-0EC6-452A-AF6F-6D3B8A88CE9A}"/>
                </a:ext>
              </a:extLst>
            </p:cNvPr>
            <p:cNvSpPr>
              <a:spLocks/>
            </p:cNvSpPr>
            <p:nvPr/>
          </p:nvSpPr>
          <p:spPr bwMode="auto">
            <a:xfrm>
              <a:off x="11045825" y="2363788"/>
              <a:ext cx="28575" cy="9525"/>
            </a:xfrm>
            <a:custGeom>
              <a:avLst/>
              <a:gdLst>
                <a:gd name="T0" fmla="*/ 75 w 90"/>
                <a:gd name="T1" fmla="*/ 0 h 30"/>
                <a:gd name="T2" fmla="*/ 15 w 90"/>
                <a:gd name="T3" fmla="*/ 0 h 30"/>
                <a:gd name="T4" fmla="*/ 12 w 90"/>
                <a:gd name="T5" fmla="*/ 0 h 30"/>
                <a:gd name="T6" fmla="*/ 9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2 h 30"/>
                <a:gd name="T64" fmla="*/ 80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9" y="1"/>
                  </a:lnTo>
                  <a:lnTo>
                    <a:pt x="6" y="2"/>
                  </a:lnTo>
                  <a:lnTo>
                    <a:pt x="4" y="5"/>
                  </a:lnTo>
                  <a:lnTo>
                    <a:pt x="2" y="7"/>
                  </a:lnTo>
                  <a:lnTo>
                    <a:pt x="1" y="9"/>
                  </a:lnTo>
                  <a:lnTo>
                    <a:pt x="0" y="12"/>
                  </a:lnTo>
                  <a:lnTo>
                    <a:pt x="0" y="15"/>
                  </a:lnTo>
                  <a:lnTo>
                    <a:pt x="0" y="19"/>
                  </a:lnTo>
                  <a:lnTo>
                    <a:pt x="1" y="21"/>
                  </a:lnTo>
                  <a:lnTo>
                    <a:pt x="2" y="24"/>
                  </a:lnTo>
                  <a:lnTo>
                    <a:pt x="4" y="26"/>
                  </a:lnTo>
                  <a:lnTo>
                    <a:pt x="6" y="28"/>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2"/>
                  </a:lnTo>
                  <a:lnTo>
                    <a:pt x="80"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79" name="Freeform 211">
              <a:extLst>
                <a:ext uri="{FF2B5EF4-FFF2-40B4-BE49-F238E27FC236}">
                  <a16:creationId xmlns:a16="http://schemas.microsoft.com/office/drawing/2014/main" id="{40D0F1CD-5C79-4275-A72B-4CFFFCAD8A71}"/>
                </a:ext>
              </a:extLst>
            </p:cNvPr>
            <p:cNvSpPr>
              <a:spLocks/>
            </p:cNvSpPr>
            <p:nvPr/>
          </p:nvSpPr>
          <p:spPr bwMode="auto">
            <a:xfrm>
              <a:off x="11074400" y="2276475"/>
              <a:ext cx="33338" cy="33338"/>
            </a:xfrm>
            <a:custGeom>
              <a:avLst/>
              <a:gdLst>
                <a:gd name="T0" fmla="*/ 90 w 105"/>
                <a:gd name="T1" fmla="*/ 105 h 105"/>
                <a:gd name="T2" fmla="*/ 93 w 105"/>
                <a:gd name="T3" fmla="*/ 105 h 105"/>
                <a:gd name="T4" fmla="*/ 97 w 105"/>
                <a:gd name="T5" fmla="*/ 104 h 105"/>
                <a:gd name="T6" fmla="*/ 99 w 105"/>
                <a:gd name="T7" fmla="*/ 103 h 105"/>
                <a:gd name="T8" fmla="*/ 101 w 105"/>
                <a:gd name="T9" fmla="*/ 101 h 105"/>
                <a:gd name="T10" fmla="*/ 103 w 105"/>
                <a:gd name="T11" fmla="*/ 99 h 105"/>
                <a:gd name="T12" fmla="*/ 104 w 105"/>
                <a:gd name="T13" fmla="*/ 97 h 105"/>
                <a:gd name="T14" fmla="*/ 105 w 105"/>
                <a:gd name="T15" fmla="*/ 93 h 105"/>
                <a:gd name="T16" fmla="*/ 105 w 105"/>
                <a:gd name="T17" fmla="*/ 90 h 105"/>
                <a:gd name="T18" fmla="*/ 105 w 105"/>
                <a:gd name="T19" fmla="*/ 88 h 105"/>
                <a:gd name="T20" fmla="*/ 104 w 105"/>
                <a:gd name="T21" fmla="*/ 85 h 105"/>
                <a:gd name="T22" fmla="*/ 103 w 105"/>
                <a:gd name="T23" fmla="*/ 83 h 105"/>
                <a:gd name="T24" fmla="*/ 101 w 105"/>
                <a:gd name="T25" fmla="*/ 79 h 105"/>
                <a:gd name="T26" fmla="*/ 26 w 105"/>
                <a:gd name="T27" fmla="*/ 4 h 105"/>
                <a:gd name="T28" fmla="*/ 24 w 105"/>
                <a:gd name="T29" fmla="*/ 2 h 105"/>
                <a:gd name="T30" fmla="*/ 20 w 105"/>
                <a:gd name="T31" fmla="*/ 1 h 105"/>
                <a:gd name="T32" fmla="*/ 18 w 105"/>
                <a:gd name="T33" fmla="*/ 0 h 105"/>
                <a:gd name="T34" fmla="*/ 15 w 105"/>
                <a:gd name="T35" fmla="*/ 0 h 105"/>
                <a:gd name="T36" fmla="*/ 12 w 105"/>
                <a:gd name="T37" fmla="*/ 0 h 105"/>
                <a:gd name="T38" fmla="*/ 10 w 105"/>
                <a:gd name="T39" fmla="*/ 1 h 105"/>
                <a:gd name="T40" fmla="*/ 6 w 105"/>
                <a:gd name="T41" fmla="*/ 3 h 105"/>
                <a:gd name="T42" fmla="*/ 4 w 105"/>
                <a:gd name="T43" fmla="*/ 4 h 105"/>
                <a:gd name="T44" fmla="*/ 2 w 105"/>
                <a:gd name="T45" fmla="*/ 6 h 105"/>
                <a:gd name="T46" fmla="*/ 1 w 105"/>
                <a:gd name="T47" fmla="*/ 10 h 105"/>
                <a:gd name="T48" fmla="*/ 0 w 105"/>
                <a:gd name="T49" fmla="*/ 13 h 105"/>
                <a:gd name="T50" fmla="*/ 0 w 105"/>
                <a:gd name="T51" fmla="*/ 15 h 105"/>
                <a:gd name="T52" fmla="*/ 0 w 105"/>
                <a:gd name="T53" fmla="*/ 18 h 105"/>
                <a:gd name="T54" fmla="*/ 1 w 105"/>
                <a:gd name="T55" fmla="*/ 21 h 105"/>
                <a:gd name="T56" fmla="*/ 2 w 105"/>
                <a:gd name="T57" fmla="*/ 24 h 105"/>
                <a:gd name="T58" fmla="*/ 4 w 105"/>
                <a:gd name="T59" fmla="*/ 26 h 105"/>
                <a:gd name="T60" fmla="*/ 79 w 105"/>
                <a:gd name="T61" fmla="*/ 101 h 105"/>
                <a:gd name="T62" fmla="*/ 83 w 105"/>
                <a:gd name="T63" fmla="*/ 103 h 105"/>
                <a:gd name="T64" fmla="*/ 85 w 105"/>
                <a:gd name="T65" fmla="*/ 104 h 105"/>
                <a:gd name="T66" fmla="*/ 88 w 105"/>
                <a:gd name="T67" fmla="*/ 105 h 105"/>
                <a:gd name="T68" fmla="*/ 90 w 105"/>
                <a:gd name="T6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05">
                  <a:moveTo>
                    <a:pt x="90" y="105"/>
                  </a:moveTo>
                  <a:lnTo>
                    <a:pt x="93" y="105"/>
                  </a:lnTo>
                  <a:lnTo>
                    <a:pt x="97" y="104"/>
                  </a:lnTo>
                  <a:lnTo>
                    <a:pt x="99" y="103"/>
                  </a:lnTo>
                  <a:lnTo>
                    <a:pt x="101" y="101"/>
                  </a:lnTo>
                  <a:lnTo>
                    <a:pt x="103" y="99"/>
                  </a:lnTo>
                  <a:lnTo>
                    <a:pt x="104" y="97"/>
                  </a:lnTo>
                  <a:lnTo>
                    <a:pt x="105" y="93"/>
                  </a:lnTo>
                  <a:lnTo>
                    <a:pt x="105" y="90"/>
                  </a:lnTo>
                  <a:lnTo>
                    <a:pt x="105" y="88"/>
                  </a:lnTo>
                  <a:lnTo>
                    <a:pt x="104" y="85"/>
                  </a:lnTo>
                  <a:lnTo>
                    <a:pt x="103" y="83"/>
                  </a:lnTo>
                  <a:lnTo>
                    <a:pt x="101" y="79"/>
                  </a:lnTo>
                  <a:lnTo>
                    <a:pt x="26" y="4"/>
                  </a:lnTo>
                  <a:lnTo>
                    <a:pt x="24" y="2"/>
                  </a:lnTo>
                  <a:lnTo>
                    <a:pt x="20" y="1"/>
                  </a:lnTo>
                  <a:lnTo>
                    <a:pt x="18" y="0"/>
                  </a:lnTo>
                  <a:lnTo>
                    <a:pt x="15" y="0"/>
                  </a:lnTo>
                  <a:lnTo>
                    <a:pt x="12" y="0"/>
                  </a:lnTo>
                  <a:lnTo>
                    <a:pt x="10" y="1"/>
                  </a:lnTo>
                  <a:lnTo>
                    <a:pt x="6" y="3"/>
                  </a:lnTo>
                  <a:lnTo>
                    <a:pt x="4" y="4"/>
                  </a:lnTo>
                  <a:lnTo>
                    <a:pt x="2" y="6"/>
                  </a:lnTo>
                  <a:lnTo>
                    <a:pt x="1" y="10"/>
                  </a:lnTo>
                  <a:lnTo>
                    <a:pt x="0" y="13"/>
                  </a:lnTo>
                  <a:lnTo>
                    <a:pt x="0" y="15"/>
                  </a:lnTo>
                  <a:lnTo>
                    <a:pt x="0" y="18"/>
                  </a:lnTo>
                  <a:lnTo>
                    <a:pt x="1" y="21"/>
                  </a:lnTo>
                  <a:lnTo>
                    <a:pt x="2" y="24"/>
                  </a:lnTo>
                  <a:lnTo>
                    <a:pt x="4" y="26"/>
                  </a:lnTo>
                  <a:lnTo>
                    <a:pt x="79" y="101"/>
                  </a:lnTo>
                  <a:lnTo>
                    <a:pt x="83" y="103"/>
                  </a:lnTo>
                  <a:lnTo>
                    <a:pt x="85" y="104"/>
                  </a:lnTo>
                  <a:lnTo>
                    <a:pt x="88" y="105"/>
                  </a:lnTo>
                  <a:lnTo>
                    <a:pt x="9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0" name="Freeform 212">
              <a:extLst>
                <a:ext uri="{FF2B5EF4-FFF2-40B4-BE49-F238E27FC236}">
                  <a16:creationId xmlns:a16="http://schemas.microsoft.com/office/drawing/2014/main" id="{AF2DB3C1-8096-4473-A0EC-1C97C1AA30F6}"/>
                </a:ext>
              </a:extLst>
            </p:cNvPr>
            <p:cNvSpPr>
              <a:spLocks/>
            </p:cNvSpPr>
            <p:nvPr/>
          </p:nvSpPr>
          <p:spPr bwMode="auto">
            <a:xfrm>
              <a:off x="11169650" y="2247900"/>
              <a:ext cx="9525" cy="28575"/>
            </a:xfrm>
            <a:custGeom>
              <a:avLst/>
              <a:gdLst>
                <a:gd name="T0" fmla="*/ 15 w 30"/>
                <a:gd name="T1" fmla="*/ 90 h 90"/>
                <a:gd name="T2" fmla="*/ 19 w 30"/>
                <a:gd name="T3" fmla="*/ 90 h 90"/>
                <a:gd name="T4" fmla="*/ 21 w 30"/>
                <a:gd name="T5" fmla="*/ 89 h 90"/>
                <a:gd name="T6" fmla="*/ 24 w 30"/>
                <a:gd name="T7" fmla="*/ 88 h 90"/>
                <a:gd name="T8" fmla="*/ 26 w 30"/>
                <a:gd name="T9" fmla="*/ 86 h 90"/>
                <a:gd name="T10" fmla="*/ 27 w 30"/>
                <a:gd name="T11" fmla="*/ 84 h 90"/>
                <a:gd name="T12" fmla="*/ 29 w 30"/>
                <a:gd name="T13" fmla="*/ 81 h 90"/>
                <a:gd name="T14" fmla="*/ 30 w 30"/>
                <a:gd name="T15" fmla="*/ 78 h 90"/>
                <a:gd name="T16" fmla="*/ 30 w 30"/>
                <a:gd name="T17" fmla="*/ 75 h 90"/>
                <a:gd name="T18" fmla="*/ 30 w 30"/>
                <a:gd name="T19" fmla="*/ 15 h 90"/>
                <a:gd name="T20" fmla="*/ 30 w 30"/>
                <a:gd name="T21" fmla="*/ 12 h 90"/>
                <a:gd name="T22" fmla="*/ 29 w 30"/>
                <a:gd name="T23" fmla="*/ 10 h 90"/>
                <a:gd name="T24" fmla="*/ 27 w 30"/>
                <a:gd name="T25" fmla="*/ 6 h 90"/>
                <a:gd name="T26" fmla="*/ 26 w 30"/>
                <a:gd name="T27" fmla="*/ 4 h 90"/>
                <a:gd name="T28" fmla="*/ 24 w 30"/>
                <a:gd name="T29" fmla="*/ 2 h 90"/>
                <a:gd name="T30" fmla="*/ 21 w 30"/>
                <a:gd name="T31" fmla="*/ 1 h 90"/>
                <a:gd name="T32" fmla="*/ 19 w 30"/>
                <a:gd name="T33" fmla="*/ 0 h 90"/>
                <a:gd name="T34" fmla="*/ 15 w 30"/>
                <a:gd name="T35" fmla="*/ 0 h 90"/>
                <a:gd name="T36" fmla="*/ 12 w 30"/>
                <a:gd name="T37" fmla="*/ 0 h 90"/>
                <a:gd name="T38" fmla="*/ 9 w 30"/>
                <a:gd name="T39" fmla="*/ 1 h 90"/>
                <a:gd name="T40" fmla="*/ 7 w 30"/>
                <a:gd name="T41" fmla="*/ 2 h 90"/>
                <a:gd name="T42" fmla="*/ 5 w 30"/>
                <a:gd name="T43" fmla="*/ 4 h 90"/>
                <a:gd name="T44" fmla="*/ 3 w 30"/>
                <a:gd name="T45" fmla="*/ 6 h 90"/>
                <a:gd name="T46" fmla="*/ 1 w 30"/>
                <a:gd name="T47" fmla="*/ 10 h 90"/>
                <a:gd name="T48" fmla="*/ 0 w 30"/>
                <a:gd name="T49" fmla="*/ 12 h 90"/>
                <a:gd name="T50" fmla="*/ 0 w 30"/>
                <a:gd name="T51" fmla="*/ 15 h 90"/>
                <a:gd name="T52" fmla="*/ 0 w 30"/>
                <a:gd name="T53" fmla="*/ 75 h 90"/>
                <a:gd name="T54" fmla="*/ 0 w 30"/>
                <a:gd name="T55" fmla="*/ 78 h 90"/>
                <a:gd name="T56" fmla="*/ 1 w 30"/>
                <a:gd name="T57" fmla="*/ 81 h 90"/>
                <a:gd name="T58" fmla="*/ 3 w 30"/>
                <a:gd name="T59" fmla="*/ 84 h 90"/>
                <a:gd name="T60" fmla="*/ 5 w 30"/>
                <a:gd name="T61" fmla="*/ 86 h 90"/>
                <a:gd name="T62" fmla="*/ 7 w 30"/>
                <a:gd name="T63" fmla="*/ 88 h 90"/>
                <a:gd name="T64" fmla="*/ 9 w 30"/>
                <a:gd name="T65" fmla="*/ 89 h 90"/>
                <a:gd name="T66" fmla="*/ 12 w 30"/>
                <a:gd name="T67" fmla="*/ 90 h 90"/>
                <a:gd name="T68" fmla="*/ 15 w 30"/>
                <a:gd name="T6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90"/>
                  </a:moveTo>
                  <a:lnTo>
                    <a:pt x="19" y="90"/>
                  </a:lnTo>
                  <a:lnTo>
                    <a:pt x="21" y="89"/>
                  </a:lnTo>
                  <a:lnTo>
                    <a:pt x="24" y="88"/>
                  </a:lnTo>
                  <a:lnTo>
                    <a:pt x="26" y="86"/>
                  </a:lnTo>
                  <a:lnTo>
                    <a:pt x="27" y="84"/>
                  </a:lnTo>
                  <a:lnTo>
                    <a:pt x="29" y="81"/>
                  </a:lnTo>
                  <a:lnTo>
                    <a:pt x="30" y="78"/>
                  </a:lnTo>
                  <a:lnTo>
                    <a:pt x="30" y="75"/>
                  </a:lnTo>
                  <a:lnTo>
                    <a:pt x="30" y="15"/>
                  </a:lnTo>
                  <a:lnTo>
                    <a:pt x="30" y="12"/>
                  </a:lnTo>
                  <a:lnTo>
                    <a:pt x="29" y="10"/>
                  </a:lnTo>
                  <a:lnTo>
                    <a:pt x="27" y="6"/>
                  </a:lnTo>
                  <a:lnTo>
                    <a:pt x="26" y="4"/>
                  </a:lnTo>
                  <a:lnTo>
                    <a:pt x="24" y="2"/>
                  </a:lnTo>
                  <a:lnTo>
                    <a:pt x="21" y="1"/>
                  </a:lnTo>
                  <a:lnTo>
                    <a:pt x="19" y="0"/>
                  </a:lnTo>
                  <a:lnTo>
                    <a:pt x="15" y="0"/>
                  </a:lnTo>
                  <a:lnTo>
                    <a:pt x="12" y="0"/>
                  </a:lnTo>
                  <a:lnTo>
                    <a:pt x="9" y="1"/>
                  </a:lnTo>
                  <a:lnTo>
                    <a:pt x="7" y="2"/>
                  </a:lnTo>
                  <a:lnTo>
                    <a:pt x="5" y="4"/>
                  </a:lnTo>
                  <a:lnTo>
                    <a:pt x="3" y="6"/>
                  </a:lnTo>
                  <a:lnTo>
                    <a:pt x="1" y="10"/>
                  </a:lnTo>
                  <a:lnTo>
                    <a:pt x="0" y="12"/>
                  </a:lnTo>
                  <a:lnTo>
                    <a:pt x="0" y="15"/>
                  </a:lnTo>
                  <a:lnTo>
                    <a:pt x="0" y="75"/>
                  </a:lnTo>
                  <a:lnTo>
                    <a:pt x="0" y="78"/>
                  </a:lnTo>
                  <a:lnTo>
                    <a:pt x="1" y="81"/>
                  </a:lnTo>
                  <a:lnTo>
                    <a:pt x="3" y="84"/>
                  </a:lnTo>
                  <a:lnTo>
                    <a:pt x="5" y="86"/>
                  </a:lnTo>
                  <a:lnTo>
                    <a:pt x="7" y="88"/>
                  </a:lnTo>
                  <a:lnTo>
                    <a:pt x="9" y="89"/>
                  </a:lnTo>
                  <a:lnTo>
                    <a:pt x="12"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1" name="Freeform 213">
              <a:extLst>
                <a:ext uri="{FF2B5EF4-FFF2-40B4-BE49-F238E27FC236}">
                  <a16:creationId xmlns:a16="http://schemas.microsoft.com/office/drawing/2014/main" id="{9DD2A48A-99B1-491F-8B0C-0527D1163634}"/>
                </a:ext>
              </a:extLst>
            </p:cNvPr>
            <p:cNvSpPr>
              <a:spLocks/>
            </p:cNvSpPr>
            <p:nvPr/>
          </p:nvSpPr>
          <p:spPr bwMode="auto">
            <a:xfrm>
              <a:off x="11242675" y="2276475"/>
              <a:ext cx="33338" cy="33338"/>
            </a:xfrm>
            <a:custGeom>
              <a:avLst/>
              <a:gdLst>
                <a:gd name="T0" fmla="*/ 100 w 106"/>
                <a:gd name="T1" fmla="*/ 4 h 105"/>
                <a:gd name="T2" fmla="*/ 98 w 106"/>
                <a:gd name="T3" fmla="*/ 2 h 105"/>
                <a:gd name="T4" fmla="*/ 96 w 106"/>
                <a:gd name="T5" fmla="*/ 1 h 105"/>
                <a:gd name="T6" fmla="*/ 93 w 106"/>
                <a:gd name="T7" fmla="*/ 0 h 105"/>
                <a:gd name="T8" fmla="*/ 90 w 106"/>
                <a:gd name="T9" fmla="*/ 0 h 105"/>
                <a:gd name="T10" fmla="*/ 88 w 106"/>
                <a:gd name="T11" fmla="*/ 0 h 105"/>
                <a:gd name="T12" fmla="*/ 84 w 106"/>
                <a:gd name="T13" fmla="*/ 1 h 105"/>
                <a:gd name="T14" fmla="*/ 82 w 106"/>
                <a:gd name="T15" fmla="*/ 3 h 105"/>
                <a:gd name="T16" fmla="*/ 80 w 106"/>
                <a:gd name="T17" fmla="*/ 4 h 105"/>
                <a:gd name="T18" fmla="*/ 4 w 106"/>
                <a:gd name="T19" fmla="*/ 79 h 105"/>
                <a:gd name="T20" fmla="*/ 3 w 106"/>
                <a:gd name="T21" fmla="*/ 83 h 105"/>
                <a:gd name="T22" fmla="*/ 1 w 106"/>
                <a:gd name="T23" fmla="*/ 85 h 105"/>
                <a:gd name="T24" fmla="*/ 0 w 106"/>
                <a:gd name="T25" fmla="*/ 88 h 105"/>
                <a:gd name="T26" fmla="*/ 0 w 106"/>
                <a:gd name="T27" fmla="*/ 90 h 105"/>
                <a:gd name="T28" fmla="*/ 0 w 106"/>
                <a:gd name="T29" fmla="*/ 93 h 105"/>
                <a:gd name="T30" fmla="*/ 1 w 106"/>
                <a:gd name="T31" fmla="*/ 97 h 105"/>
                <a:gd name="T32" fmla="*/ 3 w 106"/>
                <a:gd name="T33" fmla="*/ 99 h 105"/>
                <a:gd name="T34" fmla="*/ 4 w 106"/>
                <a:gd name="T35" fmla="*/ 101 h 105"/>
                <a:gd name="T36" fmla="*/ 7 w 106"/>
                <a:gd name="T37" fmla="*/ 103 h 105"/>
                <a:gd name="T38" fmla="*/ 9 w 106"/>
                <a:gd name="T39" fmla="*/ 104 h 105"/>
                <a:gd name="T40" fmla="*/ 12 w 106"/>
                <a:gd name="T41" fmla="*/ 105 h 105"/>
                <a:gd name="T42" fmla="*/ 15 w 106"/>
                <a:gd name="T43" fmla="*/ 105 h 105"/>
                <a:gd name="T44" fmla="*/ 18 w 106"/>
                <a:gd name="T45" fmla="*/ 105 h 105"/>
                <a:gd name="T46" fmla="*/ 21 w 106"/>
                <a:gd name="T47" fmla="*/ 104 h 105"/>
                <a:gd name="T48" fmla="*/ 23 w 106"/>
                <a:gd name="T49" fmla="*/ 103 h 105"/>
                <a:gd name="T50" fmla="*/ 25 w 106"/>
                <a:gd name="T51" fmla="*/ 101 h 105"/>
                <a:gd name="T52" fmla="*/ 100 w 106"/>
                <a:gd name="T53" fmla="*/ 26 h 105"/>
                <a:gd name="T54" fmla="*/ 103 w 106"/>
                <a:gd name="T55" fmla="*/ 24 h 105"/>
                <a:gd name="T56" fmla="*/ 105 w 106"/>
                <a:gd name="T57" fmla="*/ 21 h 105"/>
                <a:gd name="T58" fmla="*/ 105 w 106"/>
                <a:gd name="T59" fmla="*/ 18 h 105"/>
                <a:gd name="T60" fmla="*/ 106 w 106"/>
                <a:gd name="T61" fmla="*/ 15 h 105"/>
                <a:gd name="T62" fmla="*/ 105 w 106"/>
                <a:gd name="T63" fmla="*/ 13 h 105"/>
                <a:gd name="T64" fmla="*/ 105 w 106"/>
                <a:gd name="T65" fmla="*/ 10 h 105"/>
                <a:gd name="T66" fmla="*/ 103 w 106"/>
                <a:gd name="T67" fmla="*/ 6 h 105"/>
                <a:gd name="T68" fmla="*/ 100 w 106"/>
                <a:gd name="T69" fmla="*/ 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05">
                  <a:moveTo>
                    <a:pt x="100" y="4"/>
                  </a:moveTo>
                  <a:lnTo>
                    <a:pt x="98" y="2"/>
                  </a:lnTo>
                  <a:lnTo>
                    <a:pt x="96" y="1"/>
                  </a:lnTo>
                  <a:lnTo>
                    <a:pt x="93" y="0"/>
                  </a:lnTo>
                  <a:lnTo>
                    <a:pt x="90" y="0"/>
                  </a:lnTo>
                  <a:lnTo>
                    <a:pt x="88" y="0"/>
                  </a:lnTo>
                  <a:lnTo>
                    <a:pt x="84" y="1"/>
                  </a:lnTo>
                  <a:lnTo>
                    <a:pt x="82" y="3"/>
                  </a:lnTo>
                  <a:lnTo>
                    <a:pt x="80" y="4"/>
                  </a:lnTo>
                  <a:lnTo>
                    <a:pt x="4" y="79"/>
                  </a:lnTo>
                  <a:lnTo>
                    <a:pt x="3" y="83"/>
                  </a:lnTo>
                  <a:lnTo>
                    <a:pt x="1" y="85"/>
                  </a:lnTo>
                  <a:lnTo>
                    <a:pt x="0" y="88"/>
                  </a:lnTo>
                  <a:lnTo>
                    <a:pt x="0" y="90"/>
                  </a:lnTo>
                  <a:lnTo>
                    <a:pt x="0" y="93"/>
                  </a:lnTo>
                  <a:lnTo>
                    <a:pt x="1" y="97"/>
                  </a:lnTo>
                  <a:lnTo>
                    <a:pt x="3" y="99"/>
                  </a:lnTo>
                  <a:lnTo>
                    <a:pt x="4" y="101"/>
                  </a:lnTo>
                  <a:lnTo>
                    <a:pt x="7" y="103"/>
                  </a:lnTo>
                  <a:lnTo>
                    <a:pt x="9" y="104"/>
                  </a:lnTo>
                  <a:lnTo>
                    <a:pt x="12" y="105"/>
                  </a:lnTo>
                  <a:lnTo>
                    <a:pt x="15" y="105"/>
                  </a:lnTo>
                  <a:lnTo>
                    <a:pt x="18" y="105"/>
                  </a:lnTo>
                  <a:lnTo>
                    <a:pt x="21" y="104"/>
                  </a:lnTo>
                  <a:lnTo>
                    <a:pt x="23" y="103"/>
                  </a:lnTo>
                  <a:lnTo>
                    <a:pt x="25" y="101"/>
                  </a:lnTo>
                  <a:lnTo>
                    <a:pt x="100" y="26"/>
                  </a:lnTo>
                  <a:lnTo>
                    <a:pt x="103" y="24"/>
                  </a:lnTo>
                  <a:lnTo>
                    <a:pt x="105" y="21"/>
                  </a:lnTo>
                  <a:lnTo>
                    <a:pt x="105" y="18"/>
                  </a:lnTo>
                  <a:lnTo>
                    <a:pt x="106" y="15"/>
                  </a:lnTo>
                  <a:lnTo>
                    <a:pt x="105" y="13"/>
                  </a:lnTo>
                  <a:lnTo>
                    <a:pt x="105" y="10"/>
                  </a:lnTo>
                  <a:lnTo>
                    <a:pt x="103" y="6"/>
                  </a:lnTo>
                  <a:lnTo>
                    <a:pt x="10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82" name="Freeform 214">
              <a:extLst>
                <a:ext uri="{FF2B5EF4-FFF2-40B4-BE49-F238E27FC236}">
                  <a16:creationId xmlns:a16="http://schemas.microsoft.com/office/drawing/2014/main" id="{11154C86-5FCD-41DF-8FFE-FE0744376CCD}"/>
                </a:ext>
              </a:extLst>
            </p:cNvPr>
            <p:cNvSpPr>
              <a:spLocks/>
            </p:cNvSpPr>
            <p:nvPr/>
          </p:nvSpPr>
          <p:spPr bwMode="auto">
            <a:xfrm>
              <a:off x="11276013" y="2363788"/>
              <a:ext cx="28575" cy="9525"/>
            </a:xfrm>
            <a:custGeom>
              <a:avLst/>
              <a:gdLst>
                <a:gd name="T0" fmla="*/ 75 w 90"/>
                <a:gd name="T1" fmla="*/ 0 h 30"/>
                <a:gd name="T2" fmla="*/ 15 w 90"/>
                <a:gd name="T3" fmla="*/ 0 h 30"/>
                <a:gd name="T4" fmla="*/ 12 w 90"/>
                <a:gd name="T5" fmla="*/ 0 h 30"/>
                <a:gd name="T6" fmla="*/ 8 w 90"/>
                <a:gd name="T7" fmla="*/ 1 h 30"/>
                <a:gd name="T8" fmla="*/ 6 w 90"/>
                <a:gd name="T9" fmla="*/ 2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7 h 30"/>
                <a:gd name="T44" fmla="*/ 86 w 90"/>
                <a:gd name="T45" fmla="*/ 26 h 30"/>
                <a:gd name="T46" fmla="*/ 87 w 90"/>
                <a:gd name="T47" fmla="*/ 24 h 30"/>
                <a:gd name="T48" fmla="*/ 89 w 90"/>
                <a:gd name="T49" fmla="*/ 21 h 30"/>
                <a:gd name="T50" fmla="*/ 89 w 90"/>
                <a:gd name="T51" fmla="*/ 19 h 30"/>
                <a:gd name="T52" fmla="*/ 90 w 90"/>
                <a:gd name="T53" fmla="*/ 15 h 30"/>
                <a:gd name="T54" fmla="*/ 89 w 90"/>
                <a:gd name="T55" fmla="*/ 12 h 30"/>
                <a:gd name="T56" fmla="*/ 89 w 90"/>
                <a:gd name="T57" fmla="*/ 9 h 30"/>
                <a:gd name="T58" fmla="*/ 87 w 90"/>
                <a:gd name="T59" fmla="*/ 7 h 30"/>
                <a:gd name="T60" fmla="*/ 86 w 90"/>
                <a:gd name="T61" fmla="*/ 5 h 30"/>
                <a:gd name="T62" fmla="*/ 83 w 90"/>
                <a:gd name="T63" fmla="*/ 2 h 30"/>
                <a:gd name="T64" fmla="*/ 80 w 90"/>
                <a:gd name="T65" fmla="*/ 1 h 30"/>
                <a:gd name="T66" fmla="*/ 77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8"/>
                  </a:lnTo>
                  <a:lnTo>
                    <a:pt x="8" y="29"/>
                  </a:lnTo>
                  <a:lnTo>
                    <a:pt x="12" y="30"/>
                  </a:lnTo>
                  <a:lnTo>
                    <a:pt x="15" y="30"/>
                  </a:lnTo>
                  <a:lnTo>
                    <a:pt x="75" y="30"/>
                  </a:lnTo>
                  <a:lnTo>
                    <a:pt x="78" y="30"/>
                  </a:lnTo>
                  <a:lnTo>
                    <a:pt x="80" y="29"/>
                  </a:lnTo>
                  <a:lnTo>
                    <a:pt x="83" y="27"/>
                  </a:lnTo>
                  <a:lnTo>
                    <a:pt x="86" y="26"/>
                  </a:lnTo>
                  <a:lnTo>
                    <a:pt x="87" y="24"/>
                  </a:lnTo>
                  <a:lnTo>
                    <a:pt x="89" y="21"/>
                  </a:lnTo>
                  <a:lnTo>
                    <a:pt x="89" y="19"/>
                  </a:lnTo>
                  <a:lnTo>
                    <a:pt x="90" y="15"/>
                  </a:lnTo>
                  <a:lnTo>
                    <a:pt x="89" y="12"/>
                  </a:lnTo>
                  <a:lnTo>
                    <a:pt x="89" y="9"/>
                  </a:lnTo>
                  <a:lnTo>
                    <a:pt x="87" y="7"/>
                  </a:lnTo>
                  <a:lnTo>
                    <a:pt x="86" y="5"/>
                  </a:lnTo>
                  <a:lnTo>
                    <a:pt x="83" y="2"/>
                  </a:lnTo>
                  <a:lnTo>
                    <a:pt x="80" y="1"/>
                  </a:lnTo>
                  <a:lnTo>
                    <a:pt x="77"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694" name="Freeform 146">
            <a:extLst>
              <a:ext uri="{FF2B5EF4-FFF2-40B4-BE49-F238E27FC236}">
                <a16:creationId xmlns:a16="http://schemas.microsoft.com/office/drawing/2014/main" id="{5FCDBE8E-3415-491F-A6E8-199AAB237CB7}"/>
              </a:ext>
            </a:extLst>
          </p:cNvPr>
          <p:cNvSpPr>
            <a:spLocks noChangeAspect="1" noEditPoints="1"/>
          </p:cNvSpPr>
          <p:nvPr/>
        </p:nvSpPr>
        <p:spPr bwMode="auto">
          <a:xfrm>
            <a:off x="1114623" y="4879041"/>
            <a:ext cx="209353" cy="285619"/>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450" name="Group 52">
            <a:extLst>
              <a:ext uri="{FF2B5EF4-FFF2-40B4-BE49-F238E27FC236}">
                <a16:creationId xmlns:a16="http://schemas.microsoft.com/office/drawing/2014/main" id="{298A32A1-FBEF-4D27-AEA5-6961599092A0}"/>
              </a:ext>
            </a:extLst>
          </p:cNvPr>
          <p:cNvGrpSpPr>
            <a:grpSpLocks noChangeAspect="1"/>
          </p:cNvGrpSpPr>
          <p:nvPr/>
        </p:nvGrpSpPr>
        <p:grpSpPr>
          <a:xfrm>
            <a:off x="1077279" y="3801969"/>
            <a:ext cx="284040" cy="285619"/>
            <a:chOff x="10455275" y="2498725"/>
            <a:chExt cx="285750" cy="287338"/>
          </a:xfrm>
          <a:solidFill>
            <a:schemeClr val="bg1"/>
          </a:solidFill>
          <a:effectLst/>
        </p:grpSpPr>
        <p:sp>
          <p:nvSpPr>
            <p:cNvPr id="451" name="Freeform 214">
              <a:extLst>
                <a:ext uri="{FF2B5EF4-FFF2-40B4-BE49-F238E27FC236}">
                  <a16:creationId xmlns:a16="http://schemas.microsoft.com/office/drawing/2014/main" id="{CD4C05B8-C790-44B7-B3EF-08C392A3AA82}"/>
                </a:ext>
              </a:extLst>
            </p:cNvPr>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15">
              <a:extLst>
                <a:ext uri="{FF2B5EF4-FFF2-40B4-BE49-F238E27FC236}">
                  <a16:creationId xmlns:a16="http://schemas.microsoft.com/office/drawing/2014/main" id="{DD5301C8-F1F6-41E5-B708-6653114B0234}"/>
                </a:ext>
              </a:extLst>
            </p:cNvPr>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3" name="Gruppieren 1172">
            <a:extLst>
              <a:ext uri="{FF2B5EF4-FFF2-40B4-BE49-F238E27FC236}">
                <a16:creationId xmlns:a16="http://schemas.microsoft.com/office/drawing/2014/main" id="{DB8F306E-8524-4770-B0CB-29B72D66E2BD}"/>
              </a:ext>
            </a:extLst>
          </p:cNvPr>
          <p:cNvGrpSpPr>
            <a:grpSpLocks noChangeAspect="1"/>
          </p:cNvGrpSpPr>
          <p:nvPr/>
        </p:nvGrpSpPr>
        <p:grpSpPr>
          <a:xfrm>
            <a:off x="1076489" y="5956111"/>
            <a:ext cx="285619" cy="285619"/>
            <a:chOff x="1194088" y="6317331"/>
            <a:chExt cx="360000" cy="360000"/>
          </a:xfrm>
          <a:solidFill>
            <a:schemeClr val="bg1"/>
          </a:solidFill>
        </p:grpSpPr>
        <p:sp>
          <p:nvSpPr>
            <p:cNvPr id="1180" name="Freeform 115">
              <a:extLst>
                <a:ext uri="{FF2B5EF4-FFF2-40B4-BE49-F238E27FC236}">
                  <a16:creationId xmlns:a16="http://schemas.microsoft.com/office/drawing/2014/main" id="{E35B7F87-40E7-4C0A-A1A8-050EC0439A0D}"/>
                </a:ext>
              </a:extLst>
            </p:cNvPr>
            <p:cNvSpPr>
              <a:spLocks/>
            </p:cNvSpPr>
            <p:nvPr/>
          </p:nvSpPr>
          <p:spPr bwMode="auto">
            <a:xfrm>
              <a:off x="1289381" y="6423213"/>
              <a:ext cx="180001" cy="137648"/>
            </a:xfrm>
            <a:custGeom>
              <a:avLst/>
              <a:gdLst>
                <a:gd name="T0" fmla="*/ 228 w 255"/>
                <a:gd name="T1" fmla="*/ 5 h 195"/>
                <a:gd name="T2" fmla="*/ 104 w 255"/>
                <a:gd name="T3" fmla="*/ 157 h 195"/>
                <a:gd name="T4" fmla="*/ 25 w 255"/>
                <a:gd name="T5" fmla="*/ 79 h 195"/>
                <a:gd name="T6" fmla="*/ 23 w 255"/>
                <a:gd name="T7" fmla="*/ 77 h 195"/>
                <a:gd name="T8" fmla="*/ 20 w 255"/>
                <a:gd name="T9" fmla="*/ 76 h 195"/>
                <a:gd name="T10" fmla="*/ 17 w 255"/>
                <a:gd name="T11" fmla="*/ 75 h 195"/>
                <a:gd name="T12" fmla="*/ 15 w 255"/>
                <a:gd name="T13" fmla="*/ 75 h 195"/>
                <a:gd name="T14" fmla="*/ 11 w 255"/>
                <a:gd name="T15" fmla="*/ 75 h 195"/>
                <a:gd name="T16" fmla="*/ 8 w 255"/>
                <a:gd name="T17" fmla="*/ 76 h 195"/>
                <a:gd name="T18" fmla="*/ 6 w 255"/>
                <a:gd name="T19" fmla="*/ 77 h 195"/>
                <a:gd name="T20" fmla="*/ 4 w 255"/>
                <a:gd name="T21" fmla="*/ 79 h 195"/>
                <a:gd name="T22" fmla="*/ 2 w 255"/>
                <a:gd name="T23" fmla="*/ 81 h 195"/>
                <a:gd name="T24" fmla="*/ 1 w 255"/>
                <a:gd name="T25" fmla="*/ 84 h 195"/>
                <a:gd name="T26" fmla="*/ 0 w 255"/>
                <a:gd name="T27" fmla="*/ 86 h 195"/>
                <a:gd name="T28" fmla="*/ 0 w 255"/>
                <a:gd name="T29" fmla="*/ 90 h 195"/>
                <a:gd name="T30" fmla="*/ 0 w 255"/>
                <a:gd name="T31" fmla="*/ 93 h 195"/>
                <a:gd name="T32" fmla="*/ 1 w 255"/>
                <a:gd name="T33" fmla="*/ 95 h 195"/>
                <a:gd name="T34" fmla="*/ 2 w 255"/>
                <a:gd name="T35" fmla="*/ 98 h 195"/>
                <a:gd name="T36" fmla="*/ 4 w 255"/>
                <a:gd name="T37" fmla="*/ 100 h 195"/>
                <a:gd name="T38" fmla="*/ 94 w 255"/>
                <a:gd name="T39" fmla="*/ 190 h 195"/>
                <a:gd name="T40" fmla="*/ 96 w 255"/>
                <a:gd name="T41" fmla="*/ 192 h 195"/>
                <a:gd name="T42" fmla="*/ 99 w 255"/>
                <a:gd name="T43" fmla="*/ 194 h 195"/>
                <a:gd name="T44" fmla="*/ 101 w 255"/>
                <a:gd name="T45" fmla="*/ 195 h 195"/>
                <a:gd name="T46" fmla="*/ 105 w 255"/>
                <a:gd name="T47" fmla="*/ 195 h 195"/>
                <a:gd name="T48" fmla="*/ 105 w 255"/>
                <a:gd name="T49" fmla="*/ 195 h 195"/>
                <a:gd name="T50" fmla="*/ 106 w 255"/>
                <a:gd name="T51" fmla="*/ 195 h 195"/>
                <a:gd name="T52" fmla="*/ 108 w 255"/>
                <a:gd name="T53" fmla="*/ 195 h 195"/>
                <a:gd name="T54" fmla="*/ 111 w 255"/>
                <a:gd name="T55" fmla="*/ 194 h 195"/>
                <a:gd name="T56" fmla="*/ 114 w 255"/>
                <a:gd name="T57" fmla="*/ 191 h 195"/>
                <a:gd name="T58" fmla="*/ 117 w 255"/>
                <a:gd name="T59" fmla="*/ 189 h 195"/>
                <a:gd name="T60" fmla="*/ 252 w 255"/>
                <a:gd name="T61" fmla="*/ 24 h 195"/>
                <a:gd name="T62" fmla="*/ 253 w 255"/>
                <a:gd name="T63" fmla="*/ 21 h 195"/>
                <a:gd name="T64" fmla="*/ 255 w 255"/>
                <a:gd name="T65" fmla="*/ 19 h 195"/>
                <a:gd name="T66" fmla="*/ 255 w 255"/>
                <a:gd name="T67" fmla="*/ 16 h 195"/>
                <a:gd name="T68" fmla="*/ 255 w 255"/>
                <a:gd name="T69" fmla="*/ 12 h 195"/>
                <a:gd name="T70" fmla="*/ 255 w 255"/>
                <a:gd name="T71" fmla="*/ 10 h 195"/>
                <a:gd name="T72" fmla="*/ 253 w 255"/>
                <a:gd name="T73" fmla="*/ 7 h 195"/>
                <a:gd name="T74" fmla="*/ 252 w 255"/>
                <a:gd name="T75" fmla="*/ 5 h 195"/>
                <a:gd name="T76" fmla="*/ 250 w 255"/>
                <a:gd name="T77" fmla="*/ 3 h 195"/>
                <a:gd name="T78" fmla="*/ 247 w 255"/>
                <a:gd name="T79" fmla="*/ 1 h 195"/>
                <a:gd name="T80" fmla="*/ 244 w 255"/>
                <a:gd name="T81" fmla="*/ 0 h 195"/>
                <a:gd name="T82" fmla="*/ 241 w 255"/>
                <a:gd name="T83" fmla="*/ 0 h 195"/>
                <a:gd name="T84" fmla="*/ 239 w 255"/>
                <a:gd name="T85" fmla="*/ 0 h 195"/>
                <a:gd name="T86" fmla="*/ 236 w 255"/>
                <a:gd name="T87" fmla="*/ 0 h 195"/>
                <a:gd name="T88" fmla="*/ 233 w 255"/>
                <a:gd name="T89" fmla="*/ 1 h 195"/>
                <a:gd name="T90" fmla="*/ 230 w 255"/>
                <a:gd name="T91" fmla="*/ 3 h 195"/>
                <a:gd name="T92" fmla="*/ 228 w 255"/>
                <a:gd name="T93" fmla="*/ 5 h 195"/>
                <a:gd name="T94" fmla="*/ 228 w 255"/>
                <a:gd name="T95"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5" h="195">
                  <a:moveTo>
                    <a:pt x="228" y="5"/>
                  </a:moveTo>
                  <a:lnTo>
                    <a:pt x="104" y="157"/>
                  </a:lnTo>
                  <a:lnTo>
                    <a:pt x="25" y="79"/>
                  </a:lnTo>
                  <a:lnTo>
                    <a:pt x="23" y="77"/>
                  </a:lnTo>
                  <a:lnTo>
                    <a:pt x="20" y="76"/>
                  </a:lnTo>
                  <a:lnTo>
                    <a:pt x="17" y="75"/>
                  </a:lnTo>
                  <a:lnTo>
                    <a:pt x="15" y="75"/>
                  </a:lnTo>
                  <a:lnTo>
                    <a:pt x="11" y="75"/>
                  </a:lnTo>
                  <a:lnTo>
                    <a:pt x="8" y="76"/>
                  </a:lnTo>
                  <a:lnTo>
                    <a:pt x="6" y="77"/>
                  </a:lnTo>
                  <a:lnTo>
                    <a:pt x="4" y="79"/>
                  </a:lnTo>
                  <a:lnTo>
                    <a:pt x="2" y="81"/>
                  </a:lnTo>
                  <a:lnTo>
                    <a:pt x="1" y="84"/>
                  </a:lnTo>
                  <a:lnTo>
                    <a:pt x="0" y="86"/>
                  </a:lnTo>
                  <a:lnTo>
                    <a:pt x="0" y="90"/>
                  </a:lnTo>
                  <a:lnTo>
                    <a:pt x="0" y="93"/>
                  </a:lnTo>
                  <a:lnTo>
                    <a:pt x="1" y="95"/>
                  </a:lnTo>
                  <a:lnTo>
                    <a:pt x="2" y="98"/>
                  </a:lnTo>
                  <a:lnTo>
                    <a:pt x="4" y="100"/>
                  </a:lnTo>
                  <a:lnTo>
                    <a:pt x="94" y="190"/>
                  </a:lnTo>
                  <a:lnTo>
                    <a:pt x="96" y="192"/>
                  </a:lnTo>
                  <a:lnTo>
                    <a:pt x="99" y="194"/>
                  </a:lnTo>
                  <a:lnTo>
                    <a:pt x="101" y="195"/>
                  </a:lnTo>
                  <a:lnTo>
                    <a:pt x="105" y="195"/>
                  </a:lnTo>
                  <a:lnTo>
                    <a:pt x="105" y="195"/>
                  </a:lnTo>
                  <a:lnTo>
                    <a:pt x="106" y="195"/>
                  </a:lnTo>
                  <a:lnTo>
                    <a:pt x="108" y="195"/>
                  </a:lnTo>
                  <a:lnTo>
                    <a:pt x="111" y="194"/>
                  </a:lnTo>
                  <a:lnTo>
                    <a:pt x="114" y="191"/>
                  </a:lnTo>
                  <a:lnTo>
                    <a:pt x="117" y="189"/>
                  </a:lnTo>
                  <a:lnTo>
                    <a:pt x="252" y="24"/>
                  </a:lnTo>
                  <a:lnTo>
                    <a:pt x="253" y="21"/>
                  </a:lnTo>
                  <a:lnTo>
                    <a:pt x="255" y="19"/>
                  </a:lnTo>
                  <a:lnTo>
                    <a:pt x="255" y="16"/>
                  </a:lnTo>
                  <a:lnTo>
                    <a:pt x="255" y="12"/>
                  </a:lnTo>
                  <a:lnTo>
                    <a:pt x="255" y="10"/>
                  </a:lnTo>
                  <a:lnTo>
                    <a:pt x="253" y="7"/>
                  </a:lnTo>
                  <a:lnTo>
                    <a:pt x="252" y="5"/>
                  </a:lnTo>
                  <a:lnTo>
                    <a:pt x="250" y="3"/>
                  </a:lnTo>
                  <a:lnTo>
                    <a:pt x="247" y="1"/>
                  </a:lnTo>
                  <a:lnTo>
                    <a:pt x="244" y="0"/>
                  </a:lnTo>
                  <a:lnTo>
                    <a:pt x="241" y="0"/>
                  </a:lnTo>
                  <a:lnTo>
                    <a:pt x="239" y="0"/>
                  </a:lnTo>
                  <a:lnTo>
                    <a:pt x="236" y="0"/>
                  </a:lnTo>
                  <a:lnTo>
                    <a:pt x="233" y="1"/>
                  </a:lnTo>
                  <a:lnTo>
                    <a:pt x="230" y="3"/>
                  </a:lnTo>
                  <a:lnTo>
                    <a:pt x="228" y="5"/>
                  </a:lnTo>
                  <a:lnTo>
                    <a:pt x="22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26">
              <a:extLst>
                <a:ext uri="{FF2B5EF4-FFF2-40B4-BE49-F238E27FC236}">
                  <a16:creationId xmlns:a16="http://schemas.microsoft.com/office/drawing/2014/main" id="{75AAD765-42F8-4B2C-B6FD-8CC0E74E6104}"/>
                </a:ext>
              </a:extLst>
            </p:cNvPr>
            <p:cNvSpPr>
              <a:spLocks noEditPoints="1"/>
            </p:cNvSpPr>
            <p:nvPr/>
          </p:nvSpPr>
          <p:spPr bwMode="auto">
            <a:xfrm>
              <a:off x="1194088" y="6317331"/>
              <a:ext cx="360000" cy="360000"/>
            </a:xfrm>
            <a:custGeom>
              <a:avLst/>
              <a:gdLst>
                <a:gd name="T0" fmla="*/ 45 w 92"/>
                <a:gd name="T1" fmla="*/ 92 h 92"/>
                <a:gd name="T2" fmla="*/ 0 w 92"/>
                <a:gd name="T3" fmla="*/ 47 h 92"/>
                <a:gd name="T4" fmla="*/ 13 w 92"/>
                <a:gd name="T5" fmla="*/ 14 h 92"/>
                <a:gd name="T6" fmla="*/ 46 w 92"/>
                <a:gd name="T7" fmla="*/ 0 h 92"/>
                <a:gd name="T8" fmla="*/ 47 w 92"/>
                <a:gd name="T9" fmla="*/ 0 h 92"/>
                <a:gd name="T10" fmla="*/ 92 w 92"/>
                <a:gd name="T11" fmla="*/ 45 h 92"/>
                <a:gd name="T12" fmla="*/ 46 w 92"/>
                <a:gd name="T13" fmla="*/ 92 h 92"/>
                <a:gd name="T14" fmla="*/ 45 w 92"/>
                <a:gd name="T15" fmla="*/ 92 h 92"/>
                <a:gd name="T16" fmla="*/ 47 w 92"/>
                <a:gd name="T17" fmla="*/ 4 h 92"/>
                <a:gd name="T18" fmla="*/ 46 w 92"/>
                <a:gd name="T19" fmla="*/ 4 h 92"/>
                <a:gd name="T20" fmla="*/ 16 w 92"/>
                <a:gd name="T21" fmla="*/ 17 h 92"/>
                <a:gd name="T22" fmla="*/ 4 w 92"/>
                <a:gd name="T23" fmla="*/ 47 h 92"/>
                <a:gd name="T24" fmla="*/ 45 w 92"/>
                <a:gd name="T25" fmla="*/ 88 h 92"/>
                <a:gd name="T26" fmla="*/ 46 w 92"/>
                <a:gd name="T27" fmla="*/ 88 h 92"/>
                <a:gd name="T28" fmla="*/ 88 w 92"/>
                <a:gd name="T29" fmla="*/ 45 h 92"/>
                <a:gd name="T30" fmla="*/ 47 w 92"/>
                <a:gd name="T31"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92">
                  <a:moveTo>
                    <a:pt x="45" y="92"/>
                  </a:moveTo>
                  <a:cubicBezTo>
                    <a:pt x="20" y="92"/>
                    <a:pt x="0" y="72"/>
                    <a:pt x="0" y="47"/>
                  </a:cubicBezTo>
                  <a:cubicBezTo>
                    <a:pt x="0" y="35"/>
                    <a:pt x="5" y="23"/>
                    <a:pt x="13" y="14"/>
                  </a:cubicBezTo>
                  <a:cubicBezTo>
                    <a:pt x="22" y="5"/>
                    <a:pt x="34" y="0"/>
                    <a:pt x="46" y="0"/>
                  </a:cubicBezTo>
                  <a:cubicBezTo>
                    <a:pt x="47" y="0"/>
                    <a:pt x="47" y="0"/>
                    <a:pt x="47" y="0"/>
                  </a:cubicBezTo>
                  <a:cubicBezTo>
                    <a:pt x="72" y="0"/>
                    <a:pt x="92" y="20"/>
                    <a:pt x="92" y="45"/>
                  </a:cubicBezTo>
                  <a:cubicBezTo>
                    <a:pt x="92" y="71"/>
                    <a:pt x="72" y="92"/>
                    <a:pt x="46" y="92"/>
                  </a:cubicBezTo>
                  <a:lnTo>
                    <a:pt x="45" y="92"/>
                  </a:lnTo>
                  <a:close/>
                  <a:moveTo>
                    <a:pt x="47" y="4"/>
                  </a:moveTo>
                  <a:cubicBezTo>
                    <a:pt x="46" y="4"/>
                    <a:pt x="46" y="4"/>
                    <a:pt x="46" y="4"/>
                  </a:cubicBezTo>
                  <a:cubicBezTo>
                    <a:pt x="35" y="4"/>
                    <a:pt x="24" y="9"/>
                    <a:pt x="16" y="17"/>
                  </a:cubicBezTo>
                  <a:cubicBezTo>
                    <a:pt x="8" y="25"/>
                    <a:pt x="4" y="36"/>
                    <a:pt x="4" y="47"/>
                  </a:cubicBezTo>
                  <a:cubicBezTo>
                    <a:pt x="4" y="70"/>
                    <a:pt x="23" y="88"/>
                    <a:pt x="45" y="88"/>
                  </a:cubicBezTo>
                  <a:cubicBezTo>
                    <a:pt x="46" y="88"/>
                    <a:pt x="46" y="88"/>
                    <a:pt x="46" y="88"/>
                  </a:cubicBezTo>
                  <a:cubicBezTo>
                    <a:pt x="70" y="88"/>
                    <a:pt x="88" y="68"/>
                    <a:pt x="88" y="45"/>
                  </a:cubicBezTo>
                  <a:cubicBezTo>
                    <a:pt x="88" y="22"/>
                    <a:pt x="69" y="4"/>
                    <a:pt x="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22" name="Group 121">
            <a:extLst>
              <a:ext uri="{FF2B5EF4-FFF2-40B4-BE49-F238E27FC236}">
                <a16:creationId xmlns:a16="http://schemas.microsoft.com/office/drawing/2014/main" id="{0CC36DE6-7A7F-4C44-8FC9-9F346B8DD973}"/>
              </a:ext>
            </a:extLst>
          </p:cNvPr>
          <p:cNvGrpSpPr>
            <a:grpSpLocks noChangeAspect="1"/>
          </p:cNvGrpSpPr>
          <p:nvPr/>
        </p:nvGrpSpPr>
        <p:grpSpPr>
          <a:xfrm>
            <a:off x="1867819" y="2186361"/>
            <a:ext cx="337756" cy="285619"/>
            <a:chOff x="3486150" y="877888"/>
            <a:chExt cx="801688" cy="719138"/>
          </a:xfrm>
          <a:solidFill>
            <a:schemeClr val="bg1"/>
          </a:solidFill>
          <a:effectLst/>
        </p:grpSpPr>
        <p:sp>
          <p:nvSpPr>
            <p:cNvPr id="423" name="Freeform 36">
              <a:extLst>
                <a:ext uri="{FF2B5EF4-FFF2-40B4-BE49-F238E27FC236}">
                  <a16:creationId xmlns:a16="http://schemas.microsoft.com/office/drawing/2014/main" id="{6CD5992F-4DBC-4906-8278-698EF02C9690}"/>
                </a:ext>
              </a:extLst>
            </p:cNvPr>
            <p:cNvSpPr>
              <a:spLocks noEditPoints="1"/>
            </p:cNvSpPr>
            <p:nvPr/>
          </p:nvSpPr>
          <p:spPr bwMode="auto">
            <a:xfrm>
              <a:off x="3562350" y="1146176"/>
              <a:ext cx="220663" cy="238125"/>
            </a:xfrm>
            <a:custGeom>
              <a:avLst/>
              <a:gdLst>
                <a:gd name="T0" fmla="*/ 177 w 416"/>
                <a:gd name="T1" fmla="*/ 56 h 451"/>
                <a:gd name="T2" fmla="*/ 134 w 416"/>
                <a:gd name="T3" fmla="*/ 73 h 451"/>
                <a:gd name="T4" fmla="*/ 98 w 416"/>
                <a:gd name="T5" fmla="*/ 104 h 451"/>
                <a:gd name="T6" fmla="*/ 72 w 416"/>
                <a:gd name="T7" fmla="*/ 142 h 451"/>
                <a:gd name="T8" fmla="*/ 56 w 416"/>
                <a:gd name="T9" fmla="*/ 191 h 451"/>
                <a:gd name="T10" fmla="*/ 53 w 416"/>
                <a:gd name="T11" fmla="*/ 243 h 451"/>
                <a:gd name="T12" fmla="*/ 65 w 416"/>
                <a:gd name="T13" fmla="*/ 294 h 451"/>
                <a:gd name="T14" fmla="*/ 88 w 416"/>
                <a:gd name="T15" fmla="*/ 335 h 451"/>
                <a:gd name="T16" fmla="*/ 121 w 416"/>
                <a:gd name="T17" fmla="*/ 370 h 451"/>
                <a:gd name="T18" fmla="*/ 161 w 416"/>
                <a:gd name="T19" fmla="*/ 392 h 451"/>
                <a:gd name="T20" fmla="*/ 209 w 416"/>
                <a:gd name="T21" fmla="*/ 399 h 451"/>
                <a:gd name="T22" fmla="*/ 255 w 416"/>
                <a:gd name="T23" fmla="*/ 392 h 451"/>
                <a:gd name="T24" fmla="*/ 295 w 416"/>
                <a:gd name="T25" fmla="*/ 370 h 451"/>
                <a:gd name="T26" fmla="*/ 328 w 416"/>
                <a:gd name="T27" fmla="*/ 335 h 451"/>
                <a:gd name="T28" fmla="*/ 351 w 416"/>
                <a:gd name="T29" fmla="*/ 294 h 451"/>
                <a:gd name="T30" fmla="*/ 363 w 416"/>
                <a:gd name="T31" fmla="*/ 243 h 451"/>
                <a:gd name="T32" fmla="*/ 360 w 416"/>
                <a:gd name="T33" fmla="*/ 191 h 451"/>
                <a:gd name="T34" fmla="*/ 344 w 416"/>
                <a:gd name="T35" fmla="*/ 142 h 451"/>
                <a:gd name="T36" fmla="*/ 318 w 416"/>
                <a:gd name="T37" fmla="*/ 104 h 451"/>
                <a:gd name="T38" fmla="*/ 282 w 416"/>
                <a:gd name="T39" fmla="*/ 73 h 451"/>
                <a:gd name="T40" fmla="*/ 239 w 416"/>
                <a:gd name="T41" fmla="*/ 56 h 451"/>
                <a:gd name="T42" fmla="*/ 209 w 416"/>
                <a:gd name="T43" fmla="*/ 451 h 451"/>
                <a:gd name="T44" fmla="*/ 147 w 416"/>
                <a:gd name="T45" fmla="*/ 440 h 451"/>
                <a:gd name="T46" fmla="*/ 92 w 416"/>
                <a:gd name="T47" fmla="*/ 413 h 451"/>
                <a:gd name="T48" fmla="*/ 48 w 416"/>
                <a:gd name="T49" fmla="*/ 368 h 451"/>
                <a:gd name="T50" fmla="*/ 17 w 416"/>
                <a:gd name="T51" fmla="*/ 314 h 451"/>
                <a:gd name="T52" fmla="*/ 1 w 416"/>
                <a:gd name="T53" fmla="*/ 249 h 451"/>
                <a:gd name="T54" fmla="*/ 4 w 416"/>
                <a:gd name="T55" fmla="*/ 180 h 451"/>
                <a:gd name="T56" fmla="*/ 26 w 416"/>
                <a:gd name="T57" fmla="*/ 118 h 451"/>
                <a:gd name="T58" fmla="*/ 62 w 416"/>
                <a:gd name="T59" fmla="*/ 66 h 451"/>
                <a:gd name="T60" fmla="*/ 109 w 416"/>
                <a:gd name="T61" fmla="*/ 27 h 451"/>
                <a:gd name="T62" fmla="*/ 167 w 416"/>
                <a:gd name="T63" fmla="*/ 4 h 451"/>
                <a:gd name="T64" fmla="*/ 229 w 416"/>
                <a:gd name="T65" fmla="*/ 1 h 451"/>
                <a:gd name="T66" fmla="*/ 289 w 416"/>
                <a:gd name="T67" fmla="*/ 17 h 451"/>
                <a:gd name="T68" fmla="*/ 340 w 416"/>
                <a:gd name="T69" fmla="*/ 52 h 451"/>
                <a:gd name="T70" fmla="*/ 380 w 416"/>
                <a:gd name="T71" fmla="*/ 99 h 451"/>
                <a:gd name="T72" fmla="*/ 406 w 416"/>
                <a:gd name="T73" fmla="*/ 158 h 451"/>
                <a:gd name="T74" fmla="*/ 416 w 416"/>
                <a:gd name="T75" fmla="*/ 226 h 451"/>
                <a:gd name="T76" fmla="*/ 406 w 416"/>
                <a:gd name="T77" fmla="*/ 292 h 451"/>
                <a:gd name="T78" fmla="*/ 380 w 416"/>
                <a:gd name="T79" fmla="*/ 351 h 451"/>
                <a:gd name="T80" fmla="*/ 340 w 416"/>
                <a:gd name="T81" fmla="*/ 400 h 451"/>
                <a:gd name="T82" fmla="*/ 289 w 416"/>
                <a:gd name="T83" fmla="*/ 433 h 451"/>
                <a:gd name="T84" fmla="*/ 229 w 416"/>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451">
                  <a:moveTo>
                    <a:pt x="209" y="52"/>
                  </a:moveTo>
                  <a:lnTo>
                    <a:pt x="193" y="53"/>
                  </a:lnTo>
                  <a:lnTo>
                    <a:pt x="177" y="56"/>
                  </a:lnTo>
                  <a:lnTo>
                    <a:pt x="161" y="60"/>
                  </a:lnTo>
                  <a:lnTo>
                    <a:pt x="148" y="66"/>
                  </a:lnTo>
                  <a:lnTo>
                    <a:pt x="134" y="73"/>
                  </a:lnTo>
                  <a:lnTo>
                    <a:pt x="121" y="82"/>
                  </a:lnTo>
                  <a:lnTo>
                    <a:pt x="109" y="92"/>
                  </a:lnTo>
                  <a:lnTo>
                    <a:pt x="98" y="104"/>
                  </a:lnTo>
                  <a:lnTo>
                    <a:pt x="88" y="115"/>
                  </a:lnTo>
                  <a:lnTo>
                    <a:pt x="79" y="128"/>
                  </a:lnTo>
                  <a:lnTo>
                    <a:pt x="72" y="142"/>
                  </a:lnTo>
                  <a:lnTo>
                    <a:pt x="65" y="158"/>
                  </a:lnTo>
                  <a:lnTo>
                    <a:pt x="60" y="174"/>
                  </a:lnTo>
                  <a:lnTo>
                    <a:pt x="56" y="191"/>
                  </a:lnTo>
                  <a:lnTo>
                    <a:pt x="53" y="207"/>
                  </a:lnTo>
                  <a:lnTo>
                    <a:pt x="53" y="226"/>
                  </a:lnTo>
                  <a:lnTo>
                    <a:pt x="53" y="243"/>
                  </a:lnTo>
                  <a:lnTo>
                    <a:pt x="56" y="260"/>
                  </a:lnTo>
                  <a:lnTo>
                    <a:pt x="60" y="278"/>
                  </a:lnTo>
                  <a:lnTo>
                    <a:pt x="65" y="294"/>
                  </a:lnTo>
                  <a:lnTo>
                    <a:pt x="72" y="308"/>
                  </a:lnTo>
                  <a:lnTo>
                    <a:pt x="79" y="322"/>
                  </a:lnTo>
                  <a:lnTo>
                    <a:pt x="88" y="335"/>
                  </a:lnTo>
                  <a:lnTo>
                    <a:pt x="98" y="348"/>
                  </a:lnTo>
                  <a:lnTo>
                    <a:pt x="109" y="360"/>
                  </a:lnTo>
                  <a:lnTo>
                    <a:pt x="121" y="370"/>
                  </a:lnTo>
                  <a:lnTo>
                    <a:pt x="134" y="379"/>
                  </a:lnTo>
                  <a:lnTo>
                    <a:pt x="148" y="386"/>
                  </a:lnTo>
                  <a:lnTo>
                    <a:pt x="161" y="392"/>
                  </a:lnTo>
                  <a:lnTo>
                    <a:pt x="177" y="396"/>
                  </a:lnTo>
                  <a:lnTo>
                    <a:pt x="193" y="399"/>
                  </a:lnTo>
                  <a:lnTo>
                    <a:pt x="209" y="399"/>
                  </a:lnTo>
                  <a:lnTo>
                    <a:pt x="225" y="399"/>
                  </a:lnTo>
                  <a:lnTo>
                    <a:pt x="239" y="396"/>
                  </a:lnTo>
                  <a:lnTo>
                    <a:pt x="255" y="392"/>
                  </a:lnTo>
                  <a:lnTo>
                    <a:pt x="268" y="386"/>
                  </a:lnTo>
                  <a:lnTo>
                    <a:pt x="282" y="379"/>
                  </a:lnTo>
                  <a:lnTo>
                    <a:pt x="295" y="370"/>
                  </a:lnTo>
                  <a:lnTo>
                    <a:pt x="307" y="360"/>
                  </a:lnTo>
                  <a:lnTo>
                    <a:pt x="318" y="348"/>
                  </a:lnTo>
                  <a:lnTo>
                    <a:pt x="328" y="335"/>
                  </a:lnTo>
                  <a:lnTo>
                    <a:pt x="337" y="322"/>
                  </a:lnTo>
                  <a:lnTo>
                    <a:pt x="344" y="308"/>
                  </a:lnTo>
                  <a:lnTo>
                    <a:pt x="351" y="294"/>
                  </a:lnTo>
                  <a:lnTo>
                    <a:pt x="357" y="278"/>
                  </a:lnTo>
                  <a:lnTo>
                    <a:pt x="360" y="260"/>
                  </a:lnTo>
                  <a:lnTo>
                    <a:pt x="363" y="243"/>
                  </a:lnTo>
                  <a:lnTo>
                    <a:pt x="363" y="226"/>
                  </a:lnTo>
                  <a:lnTo>
                    <a:pt x="363" y="207"/>
                  </a:lnTo>
                  <a:lnTo>
                    <a:pt x="360" y="191"/>
                  </a:lnTo>
                  <a:lnTo>
                    <a:pt x="357" y="174"/>
                  </a:lnTo>
                  <a:lnTo>
                    <a:pt x="351" y="158"/>
                  </a:lnTo>
                  <a:lnTo>
                    <a:pt x="344" y="142"/>
                  </a:lnTo>
                  <a:lnTo>
                    <a:pt x="337" y="128"/>
                  </a:lnTo>
                  <a:lnTo>
                    <a:pt x="328" y="115"/>
                  </a:lnTo>
                  <a:lnTo>
                    <a:pt x="318" y="104"/>
                  </a:lnTo>
                  <a:lnTo>
                    <a:pt x="307" y="92"/>
                  </a:lnTo>
                  <a:lnTo>
                    <a:pt x="295" y="82"/>
                  </a:lnTo>
                  <a:lnTo>
                    <a:pt x="282" y="73"/>
                  </a:lnTo>
                  <a:lnTo>
                    <a:pt x="268" y="66"/>
                  </a:lnTo>
                  <a:lnTo>
                    <a:pt x="255" y="60"/>
                  </a:lnTo>
                  <a:lnTo>
                    <a:pt x="239" y="56"/>
                  </a:lnTo>
                  <a:lnTo>
                    <a:pt x="225" y="53"/>
                  </a:lnTo>
                  <a:lnTo>
                    <a:pt x="209" y="52"/>
                  </a:lnTo>
                  <a:close/>
                  <a:moveTo>
                    <a:pt x="209" y="451"/>
                  </a:moveTo>
                  <a:lnTo>
                    <a:pt x="187" y="451"/>
                  </a:lnTo>
                  <a:lnTo>
                    <a:pt x="167" y="446"/>
                  </a:lnTo>
                  <a:lnTo>
                    <a:pt x="147" y="440"/>
                  </a:lnTo>
                  <a:lnTo>
                    <a:pt x="127" y="433"/>
                  </a:lnTo>
                  <a:lnTo>
                    <a:pt x="109" y="425"/>
                  </a:lnTo>
                  <a:lnTo>
                    <a:pt x="92" y="413"/>
                  </a:lnTo>
                  <a:lnTo>
                    <a:pt x="76" y="400"/>
                  </a:lnTo>
                  <a:lnTo>
                    <a:pt x="62" y="386"/>
                  </a:lnTo>
                  <a:lnTo>
                    <a:pt x="48" y="368"/>
                  </a:lnTo>
                  <a:lnTo>
                    <a:pt x="36" y="351"/>
                  </a:lnTo>
                  <a:lnTo>
                    <a:pt x="26" y="332"/>
                  </a:lnTo>
                  <a:lnTo>
                    <a:pt x="17" y="314"/>
                  </a:lnTo>
                  <a:lnTo>
                    <a:pt x="10" y="292"/>
                  </a:lnTo>
                  <a:lnTo>
                    <a:pt x="4" y="271"/>
                  </a:lnTo>
                  <a:lnTo>
                    <a:pt x="1" y="249"/>
                  </a:lnTo>
                  <a:lnTo>
                    <a:pt x="0" y="226"/>
                  </a:lnTo>
                  <a:lnTo>
                    <a:pt x="1" y="203"/>
                  </a:lnTo>
                  <a:lnTo>
                    <a:pt x="4" y="180"/>
                  </a:lnTo>
                  <a:lnTo>
                    <a:pt x="10" y="158"/>
                  </a:lnTo>
                  <a:lnTo>
                    <a:pt x="17" y="138"/>
                  </a:lnTo>
                  <a:lnTo>
                    <a:pt x="26" y="118"/>
                  </a:lnTo>
                  <a:lnTo>
                    <a:pt x="36" y="99"/>
                  </a:lnTo>
                  <a:lnTo>
                    <a:pt x="48" y="82"/>
                  </a:lnTo>
                  <a:lnTo>
                    <a:pt x="62" y="66"/>
                  </a:lnTo>
                  <a:lnTo>
                    <a:pt x="76" y="52"/>
                  </a:lnTo>
                  <a:lnTo>
                    <a:pt x="92" y="39"/>
                  </a:lnTo>
                  <a:lnTo>
                    <a:pt x="109" y="27"/>
                  </a:lnTo>
                  <a:lnTo>
                    <a:pt x="127" y="17"/>
                  </a:lnTo>
                  <a:lnTo>
                    <a:pt x="147" y="10"/>
                  </a:lnTo>
                  <a:lnTo>
                    <a:pt x="167" y="4"/>
                  </a:lnTo>
                  <a:lnTo>
                    <a:pt x="187" y="1"/>
                  </a:lnTo>
                  <a:lnTo>
                    <a:pt x="209" y="0"/>
                  </a:lnTo>
                  <a:lnTo>
                    <a:pt x="229" y="1"/>
                  </a:lnTo>
                  <a:lnTo>
                    <a:pt x="251" y="4"/>
                  </a:lnTo>
                  <a:lnTo>
                    <a:pt x="269" y="10"/>
                  </a:lnTo>
                  <a:lnTo>
                    <a:pt x="289" y="17"/>
                  </a:lnTo>
                  <a:lnTo>
                    <a:pt x="307" y="27"/>
                  </a:lnTo>
                  <a:lnTo>
                    <a:pt x="324" y="39"/>
                  </a:lnTo>
                  <a:lnTo>
                    <a:pt x="340" y="52"/>
                  </a:lnTo>
                  <a:lnTo>
                    <a:pt x="354" y="66"/>
                  </a:lnTo>
                  <a:lnTo>
                    <a:pt x="369" y="82"/>
                  </a:lnTo>
                  <a:lnTo>
                    <a:pt x="380" y="99"/>
                  </a:lnTo>
                  <a:lnTo>
                    <a:pt x="390" y="118"/>
                  </a:lnTo>
                  <a:lnTo>
                    <a:pt x="399" y="138"/>
                  </a:lnTo>
                  <a:lnTo>
                    <a:pt x="406" y="158"/>
                  </a:lnTo>
                  <a:lnTo>
                    <a:pt x="412" y="180"/>
                  </a:lnTo>
                  <a:lnTo>
                    <a:pt x="415" y="203"/>
                  </a:lnTo>
                  <a:lnTo>
                    <a:pt x="416" y="226"/>
                  </a:lnTo>
                  <a:lnTo>
                    <a:pt x="415" y="249"/>
                  </a:lnTo>
                  <a:lnTo>
                    <a:pt x="412" y="271"/>
                  </a:lnTo>
                  <a:lnTo>
                    <a:pt x="406" y="292"/>
                  </a:lnTo>
                  <a:lnTo>
                    <a:pt x="399" y="314"/>
                  </a:lnTo>
                  <a:lnTo>
                    <a:pt x="390" y="332"/>
                  </a:lnTo>
                  <a:lnTo>
                    <a:pt x="380" y="351"/>
                  </a:lnTo>
                  <a:lnTo>
                    <a:pt x="369" y="368"/>
                  </a:lnTo>
                  <a:lnTo>
                    <a:pt x="354" y="386"/>
                  </a:lnTo>
                  <a:lnTo>
                    <a:pt x="340" y="400"/>
                  </a:lnTo>
                  <a:lnTo>
                    <a:pt x="324" y="413"/>
                  </a:lnTo>
                  <a:lnTo>
                    <a:pt x="307" y="425"/>
                  </a:lnTo>
                  <a:lnTo>
                    <a:pt x="289" y="433"/>
                  </a:lnTo>
                  <a:lnTo>
                    <a:pt x="269" y="440"/>
                  </a:lnTo>
                  <a:lnTo>
                    <a:pt x="251" y="446"/>
                  </a:lnTo>
                  <a:lnTo>
                    <a:pt x="229" y="451"/>
                  </a:lnTo>
                  <a:lnTo>
                    <a:pt x="209"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37">
              <a:extLst>
                <a:ext uri="{FF2B5EF4-FFF2-40B4-BE49-F238E27FC236}">
                  <a16:creationId xmlns:a16="http://schemas.microsoft.com/office/drawing/2014/main" id="{C244E352-9A6F-4BE8-A92E-60ABCD867C15}"/>
                </a:ext>
              </a:extLst>
            </p:cNvPr>
            <p:cNvSpPr>
              <a:spLocks/>
            </p:cNvSpPr>
            <p:nvPr/>
          </p:nvSpPr>
          <p:spPr bwMode="auto">
            <a:xfrm>
              <a:off x="3486150" y="1360488"/>
              <a:ext cx="373063" cy="236538"/>
            </a:xfrm>
            <a:custGeom>
              <a:avLst/>
              <a:gdLst>
                <a:gd name="T0" fmla="*/ 0 w 704"/>
                <a:gd name="T1" fmla="*/ 445 h 445"/>
                <a:gd name="T2" fmla="*/ 0 w 704"/>
                <a:gd name="T3" fmla="*/ 217 h 445"/>
                <a:gd name="T4" fmla="*/ 6 w 704"/>
                <a:gd name="T5" fmla="*/ 183 h 445"/>
                <a:gd name="T6" fmla="*/ 19 w 704"/>
                <a:gd name="T7" fmla="*/ 157 h 445"/>
                <a:gd name="T8" fmla="*/ 35 w 704"/>
                <a:gd name="T9" fmla="*/ 135 h 445"/>
                <a:gd name="T10" fmla="*/ 55 w 704"/>
                <a:gd name="T11" fmla="*/ 119 h 445"/>
                <a:gd name="T12" fmla="*/ 79 w 704"/>
                <a:gd name="T13" fmla="*/ 106 h 445"/>
                <a:gd name="T14" fmla="*/ 120 w 704"/>
                <a:gd name="T15" fmla="*/ 91 h 445"/>
                <a:gd name="T16" fmla="*/ 161 w 704"/>
                <a:gd name="T17" fmla="*/ 79 h 445"/>
                <a:gd name="T18" fmla="*/ 186 w 704"/>
                <a:gd name="T19" fmla="*/ 70 h 445"/>
                <a:gd name="T20" fmla="*/ 209 w 704"/>
                <a:gd name="T21" fmla="*/ 63 h 445"/>
                <a:gd name="T22" fmla="*/ 225 w 704"/>
                <a:gd name="T23" fmla="*/ 55 h 445"/>
                <a:gd name="T24" fmla="*/ 240 w 704"/>
                <a:gd name="T25" fmla="*/ 39 h 445"/>
                <a:gd name="T26" fmla="*/ 253 w 704"/>
                <a:gd name="T27" fmla="*/ 10 h 445"/>
                <a:gd name="T28" fmla="*/ 305 w 704"/>
                <a:gd name="T29" fmla="*/ 0 h 445"/>
                <a:gd name="T30" fmla="*/ 302 w 704"/>
                <a:gd name="T31" fmla="*/ 26 h 445"/>
                <a:gd name="T32" fmla="*/ 289 w 704"/>
                <a:gd name="T33" fmla="*/ 59 h 445"/>
                <a:gd name="T34" fmla="*/ 278 w 704"/>
                <a:gd name="T35" fmla="*/ 76 h 445"/>
                <a:gd name="T36" fmla="*/ 262 w 704"/>
                <a:gd name="T37" fmla="*/ 92 h 445"/>
                <a:gd name="T38" fmla="*/ 240 w 704"/>
                <a:gd name="T39" fmla="*/ 105 h 445"/>
                <a:gd name="T40" fmla="*/ 215 w 704"/>
                <a:gd name="T41" fmla="*/ 117 h 445"/>
                <a:gd name="T42" fmla="*/ 189 w 704"/>
                <a:gd name="T43" fmla="*/ 125 h 445"/>
                <a:gd name="T44" fmla="*/ 164 w 704"/>
                <a:gd name="T45" fmla="*/ 132 h 445"/>
                <a:gd name="T46" fmla="*/ 111 w 704"/>
                <a:gd name="T47" fmla="*/ 150 h 445"/>
                <a:gd name="T48" fmla="*/ 91 w 704"/>
                <a:gd name="T49" fmla="*/ 158 h 445"/>
                <a:gd name="T50" fmla="*/ 76 w 704"/>
                <a:gd name="T51" fmla="*/ 168 h 445"/>
                <a:gd name="T52" fmla="*/ 65 w 704"/>
                <a:gd name="T53" fmla="*/ 180 h 445"/>
                <a:gd name="T54" fmla="*/ 58 w 704"/>
                <a:gd name="T55" fmla="*/ 196 h 445"/>
                <a:gd name="T56" fmla="*/ 53 w 704"/>
                <a:gd name="T57" fmla="*/ 213 h 445"/>
                <a:gd name="T58" fmla="*/ 52 w 704"/>
                <a:gd name="T59" fmla="*/ 236 h 445"/>
                <a:gd name="T60" fmla="*/ 652 w 704"/>
                <a:gd name="T61" fmla="*/ 392 h 445"/>
                <a:gd name="T62" fmla="*/ 652 w 704"/>
                <a:gd name="T63" fmla="*/ 225 h 445"/>
                <a:gd name="T64" fmla="*/ 649 w 704"/>
                <a:gd name="T65" fmla="*/ 204 h 445"/>
                <a:gd name="T66" fmla="*/ 644 w 704"/>
                <a:gd name="T67" fmla="*/ 187 h 445"/>
                <a:gd name="T68" fmla="*/ 635 w 704"/>
                <a:gd name="T69" fmla="*/ 174 h 445"/>
                <a:gd name="T70" fmla="*/ 621 w 704"/>
                <a:gd name="T71" fmla="*/ 163 h 445"/>
                <a:gd name="T72" fmla="*/ 605 w 704"/>
                <a:gd name="T73" fmla="*/ 154 h 445"/>
                <a:gd name="T74" fmla="*/ 570 w 704"/>
                <a:gd name="T75" fmla="*/ 141 h 445"/>
                <a:gd name="T76" fmla="*/ 528 w 704"/>
                <a:gd name="T77" fmla="*/ 128 h 445"/>
                <a:gd name="T78" fmla="*/ 503 w 704"/>
                <a:gd name="T79" fmla="*/ 121 h 445"/>
                <a:gd name="T80" fmla="*/ 475 w 704"/>
                <a:gd name="T81" fmla="*/ 111 h 445"/>
                <a:gd name="T82" fmla="*/ 452 w 704"/>
                <a:gd name="T83" fmla="*/ 99 h 445"/>
                <a:gd name="T84" fmla="*/ 433 w 704"/>
                <a:gd name="T85" fmla="*/ 83 h 445"/>
                <a:gd name="T86" fmla="*/ 420 w 704"/>
                <a:gd name="T87" fmla="*/ 68 h 445"/>
                <a:gd name="T88" fmla="*/ 406 w 704"/>
                <a:gd name="T89" fmla="*/ 43 h 445"/>
                <a:gd name="T90" fmla="*/ 399 w 704"/>
                <a:gd name="T91" fmla="*/ 11 h 445"/>
                <a:gd name="T92" fmla="*/ 451 w 704"/>
                <a:gd name="T93" fmla="*/ 3 h 445"/>
                <a:gd name="T94" fmla="*/ 452 w 704"/>
                <a:gd name="T95" fmla="*/ 11 h 445"/>
                <a:gd name="T96" fmla="*/ 458 w 704"/>
                <a:gd name="T97" fmla="*/ 30 h 445"/>
                <a:gd name="T98" fmla="*/ 474 w 704"/>
                <a:gd name="T99" fmla="*/ 50 h 445"/>
                <a:gd name="T100" fmla="*/ 487 w 704"/>
                <a:gd name="T101" fmla="*/ 59 h 445"/>
                <a:gd name="T102" fmla="*/ 505 w 704"/>
                <a:gd name="T103" fmla="*/ 68 h 445"/>
                <a:gd name="T104" fmla="*/ 531 w 704"/>
                <a:gd name="T105" fmla="*/ 75 h 445"/>
                <a:gd name="T106" fmla="*/ 556 w 704"/>
                <a:gd name="T107" fmla="*/ 82 h 445"/>
                <a:gd name="T108" fmla="*/ 612 w 704"/>
                <a:gd name="T109" fmla="*/ 101 h 445"/>
                <a:gd name="T110" fmla="*/ 638 w 704"/>
                <a:gd name="T111" fmla="*/ 112 h 445"/>
                <a:gd name="T112" fmla="*/ 660 w 704"/>
                <a:gd name="T113" fmla="*/ 127 h 445"/>
                <a:gd name="T114" fmla="*/ 678 w 704"/>
                <a:gd name="T115" fmla="*/ 145 h 445"/>
                <a:gd name="T116" fmla="*/ 693 w 704"/>
                <a:gd name="T117" fmla="*/ 170 h 445"/>
                <a:gd name="T118" fmla="*/ 701 w 704"/>
                <a:gd name="T119" fmla="*/ 200 h 445"/>
                <a:gd name="T120" fmla="*/ 704 w 704"/>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 h="445">
                  <a:moveTo>
                    <a:pt x="704" y="445"/>
                  </a:moveTo>
                  <a:lnTo>
                    <a:pt x="0" y="445"/>
                  </a:lnTo>
                  <a:lnTo>
                    <a:pt x="0" y="236"/>
                  </a:lnTo>
                  <a:lnTo>
                    <a:pt x="0" y="217"/>
                  </a:lnTo>
                  <a:lnTo>
                    <a:pt x="3" y="200"/>
                  </a:lnTo>
                  <a:lnTo>
                    <a:pt x="6" y="183"/>
                  </a:lnTo>
                  <a:lnTo>
                    <a:pt x="12" y="170"/>
                  </a:lnTo>
                  <a:lnTo>
                    <a:pt x="19" y="157"/>
                  </a:lnTo>
                  <a:lnTo>
                    <a:pt x="26" y="145"/>
                  </a:lnTo>
                  <a:lnTo>
                    <a:pt x="35" y="135"/>
                  </a:lnTo>
                  <a:lnTo>
                    <a:pt x="45" y="127"/>
                  </a:lnTo>
                  <a:lnTo>
                    <a:pt x="55" y="119"/>
                  </a:lnTo>
                  <a:lnTo>
                    <a:pt x="66" y="112"/>
                  </a:lnTo>
                  <a:lnTo>
                    <a:pt x="79" y="106"/>
                  </a:lnTo>
                  <a:lnTo>
                    <a:pt x="92" y="101"/>
                  </a:lnTo>
                  <a:lnTo>
                    <a:pt x="120" y="91"/>
                  </a:lnTo>
                  <a:lnTo>
                    <a:pt x="150" y="82"/>
                  </a:lnTo>
                  <a:lnTo>
                    <a:pt x="161" y="79"/>
                  </a:lnTo>
                  <a:lnTo>
                    <a:pt x="173" y="75"/>
                  </a:lnTo>
                  <a:lnTo>
                    <a:pt x="186" y="70"/>
                  </a:lnTo>
                  <a:lnTo>
                    <a:pt x="199" y="68"/>
                  </a:lnTo>
                  <a:lnTo>
                    <a:pt x="209" y="63"/>
                  </a:lnTo>
                  <a:lnTo>
                    <a:pt x="217" y="59"/>
                  </a:lnTo>
                  <a:lnTo>
                    <a:pt x="225" y="55"/>
                  </a:lnTo>
                  <a:lnTo>
                    <a:pt x="232" y="49"/>
                  </a:lnTo>
                  <a:lnTo>
                    <a:pt x="240" y="39"/>
                  </a:lnTo>
                  <a:lnTo>
                    <a:pt x="248" y="27"/>
                  </a:lnTo>
                  <a:lnTo>
                    <a:pt x="253" y="10"/>
                  </a:lnTo>
                  <a:lnTo>
                    <a:pt x="253" y="3"/>
                  </a:lnTo>
                  <a:lnTo>
                    <a:pt x="305" y="0"/>
                  </a:lnTo>
                  <a:lnTo>
                    <a:pt x="305" y="11"/>
                  </a:lnTo>
                  <a:lnTo>
                    <a:pt x="302" y="26"/>
                  </a:lnTo>
                  <a:lnTo>
                    <a:pt x="298" y="43"/>
                  </a:lnTo>
                  <a:lnTo>
                    <a:pt x="289" y="59"/>
                  </a:lnTo>
                  <a:lnTo>
                    <a:pt x="284" y="68"/>
                  </a:lnTo>
                  <a:lnTo>
                    <a:pt x="278" y="76"/>
                  </a:lnTo>
                  <a:lnTo>
                    <a:pt x="271" y="83"/>
                  </a:lnTo>
                  <a:lnTo>
                    <a:pt x="262" y="92"/>
                  </a:lnTo>
                  <a:lnTo>
                    <a:pt x="252" y="99"/>
                  </a:lnTo>
                  <a:lnTo>
                    <a:pt x="240" y="105"/>
                  </a:lnTo>
                  <a:lnTo>
                    <a:pt x="229" y="111"/>
                  </a:lnTo>
                  <a:lnTo>
                    <a:pt x="215" y="117"/>
                  </a:lnTo>
                  <a:lnTo>
                    <a:pt x="202" y="121"/>
                  </a:lnTo>
                  <a:lnTo>
                    <a:pt x="189" y="125"/>
                  </a:lnTo>
                  <a:lnTo>
                    <a:pt x="176" y="128"/>
                  </a:lnTo>
                  <a:lnTo>
                    <a:pt x="164" y="132"/>
                  </a:lnTo>
                  <a:lnTo>
                    <a:pt x="134" y="141"/>
                  </a:lnTo>
                  <a:lnTo>
                    <a:pt x="111" y="150"/>
                  </a:lnTo>
                  <a:lnTo>
                    <a:pt x="101" y="154"/>
                  </a:lnTo>
                  <a:lnTo>
                    <a:pt x="91" y="158"/>
                  </a:lnTo>
                  <a:lnTo>
                    <a:pt x="84" y="163"/>
                  </a:lnTo>
                  <a:lnTo>
                    <a:pt x="76" y="168"/>
                  </a:lnTo>
                  <a:lnTo>
                    <a:pt x="69" y="174"/>
                  </a:lnTo>
                  <a:lnTo>
                    <a:pt x="65" y="180"/>
                  </a:lnTo>
                  <a:lnTo>
                    <a:pt x="60" y="187"/>
                  </a:lnTo>
                  <a:lnTo>
                    <a:pt x="58" y="196"/>
                  </a:lnTo>
                  <a:lnTo>
                    <a:pt x="55" y="204"/>
                  </a:lnTo>
                  <a:lnTo>
                    <a:pt x="53" y="213"/>
                  </a:lnTo>
                  <a:lnTo>
                    <a:pt x="52" y="225"/>
                  </a:lnTo>
                  <a:lnTo>
                    <a:pt x="52" y="236"/>
                  </a:lnTo>
                  <a:lnTo>
                    <a:pt x="52" y="392"/>
                  </a:lnTo>
                  <a:lnTo>
                    <a:pt x="652" y="392"/>
                  </a:lnTo>
                  <a:lnTo>
                    <a:pt x="652" y="236"/>
                  </a:lnTo>
                  <a:lnTo>
                    <a:pt x="652" y="225"/>
                  </a:lnTo>
                  <a:lnTo>
                    <a:pt x="651" y="213"/>
                  </a:lnTo>
                  <a:lnTo>
                    <a:pt x="649" y="204"/>
                  </a:lnTo>
                  <a:lnTo>
                    <a:pt x="647" y="196"/>
                  </a:lnTo>
                  <a:lnTo>
                    <a:pt x="644" y="187"/>
                  </a:lnTo>
                  <a:lnTo>
                    <a:pt x="639" y="180"/>
                  </a:lnTo>
                  <a:lnTo>
                    <a:pt x="635" y="174"/>
                  </a:lnTo>
                  <a:lnTo>
                    <a:pt x="628" y="168"/>
                  </a:lnTo>
                  <a:lnTo>
                    <a:pt x="621" y="163"/>
                  </a:lnTo>
                  <a:lnTo>
                    <a:pt x="613" y="158"/>
                  </a:lnTo>
                  <a:lnTo>
                    <a:pt x="605" y="154"/>
                  </a:lnTo>
                  <a:lnTo>
                    <a:pt x="593" y="150"/>
                  </a:lnTo>
                  <a:lnTo>
                    <a:pt x="570" y="141"/>
                  </a:lnTo>
                  <a:lnTo>
                    <a:pt x="540" y="132"/>
                  </a:lnTo>
                  <a:lnTo>
                    <a:pt x="528" y="128"/>
                  </a:lnTo>
                  <a:lnTo>
                    <a:pt x="516" y="125"/>
                  </a:lnTo>
                  <a:lnTo>
                    <a:pt x="503" y="121"/>
                  </a:lnTo>
                  <a:lnTo>
                    <a:pt x="490" y="117"/>
                  </a:lnTo>
                  <a:lnTo>
                    <a:pt x="475" y="111"/>
                  </a:lnTo>
                  <a:lnTo>
                    <a:pt x="464" y="105"/>
                  </a:lnTo>
                  <a:lnTo>
                    <a:pt x="452" y="99"/>
                  </a:lnTo>
                  <a:lnTo>
                    <a:pt x="442" y="92"/>
                  </a:lnTo>
                  <a:lnTo>
                    <a:pt x="433" y="83"/>
                  </a:lnTo>
                  <a:lnTo>
                    <a:pt x="426" y="76"/>
                  </a:lnTo>
                  <a:lnTo>
                    <a:pt x="420" y="68"/>
                  </a:lnTo>
                  <a:lnTo>
                    <a:pt x="415" y="59"/>
                  </a:lnTo>
                  <a:lnTo>
                    <a:pt x="406" y="43"/>
                  </a:lnTo>
                  <a:lnTo>
                    <a:pt x="402" y="26"/>
                  </a:lnTo>
                  <a:lnTo>
                    <a:pt x="399" y="11"/>
                  </a:lnTo>
                  <a:lnTo>
                    <a:pt x="399" y="0"/>
                  </a:lnTo>
                  <a:lnTo>
                    <a:pt x="451" y="3"/>
                  </a:lnTo>
                  <a:lnTo>
                    <a:pt x="451" y="6"/>
                  </a:lnTo>
                  <a:lnTo>
                    <a:pt x="452" y="11"/>
                  </a:lnTo>
                  <a:lnTo>
                    <a:pt x="454" y="20"/>
                  </a:lnTo>
                  <a:lnTo>
                    <a:pt x="458" y="30"/>
                  </a:lnTo>
                  <a:lnTo>
                    <a:pt x="464" y="40"/>
                  </a:lnTo>
                  <a:lnTo>
                    <a:pt x="474" y="50"/>
                  </a:lnTo>
                  <a:lnTo>
                    <a:pt x="480" y="55"/>
                  </a:lnTo>
                  <a:lnTo>
                    <a:pt x="487" y="59"/>
                  </a:lnTo>
                  <a:lnTo>
                    <a:pt x="495" y="63"/>
                  </a:lnTo>
                  <a:lnTo>
                    <a:pt x="505" y="68"/>
                  </a:lnTo>
                  <a:lnTo>
                    <a:pt x="518" y="70"/>
                  </a:lnTo>
                  <a:lnTo>
                    <a:pt x="531" y="75"/>
                  </a:lnTo>
                  <a:lnTo>
                    <a:pt x="543" y="79"/>
                  </a:lnTo>
                  <a:lnTo>
                    <a:pt x="556" y="82"/>
                  </a:lnTo>
                  <a:lnTo>
                    <a:pt x="585" y="91"/>
                  </a:lnTo>
                  <a:lnTo>
                    <a:pt x="612" y="101"/>
                  </a:lnTo>
                  <a:lnTo>
                    <a:pt x="625" y="106"/>
                  </a:lnTo>
                  <a:lnTo>
                    <a:pt x="638" y="112"/>
                  </a:lnTo>
                  <a:lnTo>
                    <a:pt x="649" y="119"/>
                  </a:lnTo>
                  <a:lnTo>
                    <a:pt x="660" y="127"/>
                  </a:lnTo>
                  <a:lnTo>
                    <a:pt x="670" y="135"/>
                  </a:lnTo>
                  <a:lnTo>
                    <a:pt x="678" y="145"/>
                  </a:lnTo>
                  <a:lnTo>
                    <a:pt x="687" y="157"/>
                  </a:lnTo>
                  <a:lnTo>
                    <a:pt x="693" y="170"/>
                  </a:lnTo>
                  <a:lnTo>
                    <a:pt x="698" y="183"/>
                  </a:lnTo>
                  <a:lnTo>
                    <a:pt x="701" y="200"/>
                  </a:lnTo>
                  <a:lnTo>
                    <a:pt x="704" y="217"/>
                  </a:lnTo>
                  <a:lnTo>
                    <a:pt x="704" y="236"/>
                  </a:lnTo>
                  <a:lnTo>
                    <a:pt x="704"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38">
              <a:extLst>
                <a:ext uri="{FF2B5EF4-FFF2-40B4-BE49-F238E27FC236}">
                  <a16:creationId xmlns:a16="http://schemas.microsoft.com/office/drawing/2014/main" id="{C4DAE264-A208-4707-A1DB-D878BDBB556F}"/>
                </a:ext>
              </a:extLst>
            </p:cNvPr>
            <p:cNvSpPr>
              <a:spLocks/>
            </p:cNvSpPr>
            <p:nvPr/>
          </p:nvSpPr>
          <p:spPr bwMode="auto">
            <a:xfrm>
              <a:off x="3573463" y="1200151"/>
              <a:ext cx="195263" cy="55563"/>
            </a:xfrm>
            <a:custGeom>
              <a:avLst/>
              <a:gdLst>
                <a:gd name="T0" fmla="*/ 89 w 370"/>
                <a:gd name="T1" fmla="*/ 106 h 106"/>
                <a:gd name="T2" fmla="*/ 68 w 370"/>
                <a:gd name="T3" fmla="*/ 106 h 106"/>
                <a:gd name="T4" fmla="*/ 46 w 370"/>
                <a:gd name="T5" fmla="*/ 103 h 106"/>
                <a:gd name="T6" fmla="*/ 23 w 370"/>
                <a:gd name="T7" fmla="*/ 100 h 106"/>
                <a:gd name="T8" fmla="*/ 0 w 370"/>
                <a:gd name="T9" fmla="*/ 96 h 106"/>
                <a:gd name="T10" fmla="*/ 13 w 370"/>
                <a:gd name="T11" fmla="*/ 44 h 106"/>
                <a:gd name="T12" fmla="*/ 38 w 370"/>
                <a:gd name="T13" fmla="*/ 50 h 106"/>
                <a:gd name="T14" fmla="*/ 61 w 370"/>
                <a:gd name="T15" fmla="*/ 53 h 106"/>
                <a:gd name="T16" fmla="*/ 84 w 370"/>
                <a:gd name="T17" fmla="*/ 54 h 106"/>
                <a:gd name="T18" fmla="*/ 105 w 370"/>
                <a:gd name="T19" fmla="*/ 54 h 106"/>
                <a:gd name="T20" fmla="*/ 125 w 370"/>
                <a:gd name="T21" fmla="*/ 52 h 106"/>
                <a:gd name="T22" fmla="*/ 144 w 370"/>
                <a:gd name="T23" fmla="*/ 49 h 106"/>
                <a:gd name="T24" fmla="*/ 163 w 370"/>
                <a:gd name="T25" fmla="*/ 46 h 106"/>
                <a:gd name="T26" fmla="*/ 179 w 370"/>
                <a:gd name="T27" fmla="*/ 41 h 106"/>
                <a:gd name="T28" fmla="*/ 208 w 370"/>
                <a:gd name="T29" fmla="*/ 31 h 106"/>
                <a:gd name="T30" fmla="*/ 228 w 370"/>
                <a:gd name="T31" fmla="*/ 23 h 106"/>
                <a:gd name="T32" fmla="*/ 241 w 370"/>
                <a:gd name="T33" fmla="*/ 16 h 106"/>
                <a:gd name="T34" fmla="*/ 246 w 370"/>
                <a:gd name="T35" fmla="*/ 13 h 106"/>
                <a:gd name="T36" fmla="*/ 264 w 370"/>
                <a:gd name="T37" fmla="*/ 0 h 106"/>
                <a:gd name="T38" fmla="*/ 280 w 370"/>
                <a:gd name="T39" fmla="*/ 16 h 106"/>
                <a:gd name="T40" fmla="*/ 285 w 370"/>
                <a:gd name="T41" fmla="*/ 20 h 106"/>
                <a:gd name="T42" fmla="*/ 303 w 370"/>
                <a:gd name="T43" fmla="*/ 30 h 106"/>
                <a:gd name="T44" fmla="*/ 316 w 370"/>
                <a:gd name="T45" fmla="*/ 36 h 106"/>
                <a:gd name="T46" fmla="*/ 330 w 370"/>
                <a:gd name="T47" fmla="*/ 40 h 106"/>
                <a:gd name="T48" fmla="*/ 349 w 370"/>
                <a:gd name="T49" fmla="*/ 43 h 106"/>
                <a:gd name="T50" fmla="*/ 369 w 370"/>
                <a:gd name="T51" fmla="*/ 44 h 106"/>
                <a:gd name="T52" fmla="*/ 370 w 370"/>
                <a:gd name="T53" fmla="*/ 96 h 106"/>
                <a:gd name="T54" fmla="*/ 350 w 370"/>
                <a:gd name="T55" fmla="*/ 96 h 106"/>
                <a:gd name="T56" fmla="*/ 333 w 370"/>
                <a:gd name="T57" fmla="*/ 93 h 106"/>
                <a:gd name="T58" fmla="*/ 316 w 370"/>
                <a:gd name="T59" fmla="*/ 90 h 106"/>
                <a:gd name="T60" fmla="*/ 301 w 370"/>
                <a:gd name="T61" fmla="*/ 86 h 106"/>
                <a:gd name="T62" fmla="*/ 288 w 370"/>
                <a:gd name="T63" fmla="*/ 80 h 106"/>
                <a:gd name="T64" fmla="*/ 277 w 370"/>
                <a:gd name="T65" fmla="*/ 76 h 106"/>
                <a:gd name="T66" fmla="*/ 267 w 370"/>
                <a:gd name="T67" fmla="*/ 70 h 106"/>
                <a:gd name="T68" fmla="*/ 259 w 370"/>
                <a:gd name="T69" fmla="*/ 66 h 106"/>
                <a:gd name="T70" fmla="*/ 246 w 370"/>
                <a:gd name="T71" fmla="*/ 72 h 106"/>
                <a:gd name="T72" fmla="*/ 232 w 370"/>
                <a:gd name="T73" fmla="*/ 77 h 106"/>
                <a:gd name="T74" fmla="*/ 213 w 370"/>
                <a:gd name="T75" fmla="*/ 85 h 106"/>
                <a:gd name="T76" fmla="*/ 193 w 370"/>
                <a:gd name="T77" fmla="*/ 92 h 106"/>
                <a:gd name="T78" fmla="*/ 170 w 370"/>
                <a:gd name="T79" fmla="*/ 98 h 106"/>
                <a:gd name="T80" fmla="*/ 146 w 370"/>
                <a:gd name="T81" fmla="*/ 102 h 106"/>
                <a:gd name="T82" fmla="*/ 118 w 370"/>
                <a:gd name="T83" fmla="*/ 105 h 106"/>
                <a:gd name="T84" fmla="*/ 89 w 370"/>
                <a:gd name="T85"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6">
                  <a:moveTo>
                    <a:pt x="89" y="106"/>
                  </a:moveTo>
                  <a:lnTo>
                    <a:pt x="68" y="106"/>
                  </a:lnTo>
                  <a:lnTo>
                    <a:pt x="46" y="103"/>
                  </a:lnTo>
                  <a:lnTo>
                    <a:pt x="23" y="100"/>
                  </a:lnTo>
                  <a:lnTo>
                    <a:pt x="0" y="96"/>
                  </a:lnTo>
                  <a:lnTo>
                    <a:pt x="13" y="44"/>
                  </a:lnTo>
                  <a:lnTo>
                    <a:pt x="38" y="50"/>
                  </a:lnTo>
                  <a:lnTo>
                    <a:pt x="61" y="53"/>
                  </a:lnTo>
                  <a:lnTo>
                    <a:pt x="84" y="54"/>
                  </a:lnTo>
                  <a:lnTo>
                    <a:pt x="105" y="54"/>
                  </a:lnTo>
                  <a:lnTo>
                    <a:pt x="125" y="52"/>
                  </a:lnTo>
                  <a:lnTo>
                    <a:pt x="144" y="49"/>
                  </a:lnTo>
                  <a:lnTo>
                    <a:pt x="163" y="46"/>
                  </a:lnTo>
                  <a:lnTo>
                    <a:pt x="179" y="41"/>
                  </a:lnTo>
                  <a:lnTo>
                    <a:pt x="208" y="31"/>
                  </a:lnTo>
                  <a:lnTo>
                    <a:pt x="228" y="23"/>
                  </a:lnTo>
                  <a:lnTo>
                    <a:pt x="241" y="16"/>
                  </a:lnTo>
                  <a:lnTo>
                    <a:pt x="246" y="13"/>
                  </a:lnTo>
                  <a:lnTo>
                    <a:pt x="264" y="0"/>
                  </a:lnTo>
                  <a:lnTo>
                    <a:pt x="280" y="16"/>
                  </a:lnTo>
                  <a:lnTo>
                    <a:pt x="285" y="20"/>
                  </a:lnTo>
                  <a:lnTo>
                    <a:pt x="303" y="30"/>
                  </a:lnTo>
                  <a:lnTo>
                    <a:pt x="316" y="36"/>
                  </a:lnTo>
                  <a:lnTo>
                    <a:pt x="330" y="40"/>
                  </a:lnTo>
                  <a:lnTo>
                    <a:pt x="349" y="43"/>
                  </a:lnTo>
                  <a:lnTo>
                    <a:pt x="369" y="44"/>
                  </a:lnTo>
                  <a:lnTo>
                    <a:pt x="370" y="96"/>
                  </a:lnTo>
                  <a:lnTo>
                    <a:pt x="350" y="96"/>
                  </a:lnTo>
                  <a:lnTo>
                    <a:pt x="333" y="93"/>
                  </a:lnTo>
                  <a:lnTo>
                    <a:pt x="316" y="90"/>
                  </a:lnTo>
                  <a:lnTo>
                    <a:pt x="301" y="86"/>
                  </a:lnTo>
                  <a:lnTo>
                    <a:pt x="288" y="80"/>
                  </a:lnTo>
                  <a:lnTo>
                    <a:pt x="277" y="76"/>
                  </a:lnTo>
                  <a:lnTo>
                    <a:pt x="267" y="70"/>
                  </a:lnTo>
                  <a:lnTo>
                    <a:pt x="259" y="66"/>
                  </a:lnTo>
                  <a:lnTo>
                    <a:pt x="246" y="72"/>
                  </a:lnTo>
                  <a:lnTo>
                    <a:pt x="232" y="77"/>
                  </a:lnTo>
                  <a:lnTo>
                    <a:pt x="213" y="85"/>
                  </a:lnTo>
                  <a:lnTo>
                    <a:pt x="193" y="92"/>
                  </a:lnTo>
                  <a:lnTo>
                    <a:pt x="170" y="98"/>
                  </a:lnTo>
                  <a:lnTo>
                    <a:pt x="146" y="102"/>
                  </a:lnTo>
                  <a:lnTo>
                    <a:pt x="118" y="105"/>
                  </a:lnTo>
                  <a:lnTo>
                    <a:pt x="89"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39">
              <a:extLst>
                <a:ext uri="{FF2B5EF4-FFF2-40B4-BE49-F238E27FC236}">
                  <a16:creationId xmlns:a16="http://schemas.microsoft.com/office/drawing/2014/main" id="{9BD92CCA-52F3-493C-8684-A3C8C8277071}"/>
                </a:ext>
              </a:extLst>
            </p:cNvPr>
            <p:cNvSpPr>
              <a:spLocks noEditPoints="1"/>
            </p:cNvSpPr>
            <p:nvPr/>
          </p:nvSpPr>
          <p:spPr bwMode="auto">
            <a:xfrm>
              <a:off x="3990975" y="1146176"/>
              <a:ext cx="219075" cy="238125"/>
            </a:xfrm>
            <a:custGeom>
              <a:avLst/>
              <a:gdLst>
                <a:gd name="T0" fmla="*/ 175 w 414"/>
                <a:gd name="T1" fmla="*/ 56 h 451"/>
                <a:gd name="T2" fmla="*/ 134 w 414"/>
                <a:gd name="T3" fmla="*/ 73 h 451"/>
                <a:gd name="T4" fmla="*/ 98 w 414"/>
                <a:gd name="T5" fmla="*/ 104 h 451"/>
                <a:gd name="T6" fmla="*/ 70 w 414"/>
                <a:gd name="T7" fmla="*/ 142 h 451"/>
                <a:gd name="T8" fmla="*/ 56 w 414"/>
                <a:gd name="T9" fmla="*/ 191 h 451"/>
                <a:gd name="T10" fmla="*/ 53 w 414"/>
                <a:gd name="T11" fmla="*/ 243 h 451"/>
                <a:gd name="T12" fmla="*/ 65 w 414"/>
                <a:gd name="T13" fmla="*/ 294 h 451"/>
                <a:gd name="T14" fmla="*/ 88 w 414"/>
                <a:gd name="T15" fmla="*/ 335 h 451"/>
                <a:gd name="T16" fmla="*/ 121 w 414"/>
                <a:gd name="T17" fmla="*/ 370 h 451"/>
                <a:gd name="T18" fmla="*/ 161 w 414"/>
                <a:gd name="T19" fmla="*/ 392 h 451"/>
                <a:gd name="T20" fmla="*/ 207 w 414"/>
                <a:gd name="T21" fmla="*/ 399 h 451"/>
                <a:gd name="T22" fmla="*/ 253 w 414"/>
                <a:gd name="T23" fmla="*/ 392 h 451"/>
                <a:gd name="T24" fmla="*/ 293 w 414"/>
                <a:gd name="T25" fmla="*/ 370 h 451"/>
                <a:gd name="T26" fmla="*/ 327 w 414"/>
                <a:gd name="T27" fmla="*/ 335 h 451"/>
                <a:gd name="T28" fmla="*/ 350 w 414"/>
                <a:gd name="T29" fmla="*/ 294 h 451"/>
                <a:gd name="T30" fmla="*/ 361 w 414"/>
                <a:gd name="T31" fmla="*/ 243 h 451"/>
                <a:gd name="T32" fmla="*/ 360 w 414"/>
                <a:gd name="T33" fmla="*/ 191 h 451"/>
                <a:gd name="T34" fmla="*/ 344 w 414"/>
                <a:gd name="T35" fmla="*/ 142 h 451"/>
                <a:gd name="T36" fmla="*/ 317 w 414"/>
                <a:gd name="T37" fmla="*/ 104 h 451"/>
                <a:gd name="T38" fmla="*/ 281 w 414"/>
                <a:gd name="T39" fmla="*/ 73 h 451"/>
                <a:gd name="T40" fmla="*/ 239 w 414"/>
                <a:gd name="T41" fmla="*/ 56 h 451"/>
                <a:gd name="T42" fmla="*/ 207 w 414"/>
                <a:gd name="T43" fmla="*/ 451 h 451"/>
                <a:gd name="T44" fmla="*/ 145 w 414"/>
                <a:gd name="T45" fmla="*/ 440 h 451"/>
                <a:gd name="T46" fmla="*/ 92 w 414"/>
                <a:gd name="T47" fmla="*/ 413 h 451"/>
                <a:gd name="T48" fmla="*/ 47 w 414"/>
                <a:gd name="T49" fmla="*/ 368 h 451"/>
                <a:gd name="T50" fmla="*/ 16 w 414"/>
                <a:gd name="T51" fmla="*/ 314 h 451"/>
                <a:gd name="T52" fmla="*/ 1 w 414"/>
                <a:gd name="T53" fmla="*/ 249 h 451"/>
                <a:gd name="T54" fmla="*/ 4 w 414"/>
                <a:gd name="T55" fmla="*/ 180 h 451"/>
                <a:gd name="T56" fmla="*/ 24 w 414"/>
                <a:gd name="T57" fmla="*/ 118 h 451"/>
                <a:gd name="T58" fmla="*/ 60 w 414"/>
                <a:gd name="T59" fmla="*/ 66 h 451"/>
                <a:gd name="T60" fmla="*/ 109 w 414"/>
                <a:gd name="T61" fmla="*/ 27 h 451"/>
                <a:gd name="T62" fmla="*/ 165 w 414"/>
                <a:gd name="T63" fmla="*/ 4 h 451"/>
                <a:gd name="T64" fmla="*/ 229 w 414"/>
                <a:gd name="T65" fmla="*/ 1 h 451"/>
                <a:gd name="T66" fmla="*/ 288 w 414"/>
                <a:gd name="T67" fmla="*/ 17 h 451"/>
                <a:gd name="T68" fmla="*/ 340 w 414"/>
                <a:gd name="T69" fmla="*/ 52 h 451"/>
                <a:gd name="T70" fmla="*/ 380 w 414"/>
                <a:gd name="T71" fmla="*/ 99 h 451"/>
                <a:gd name="T72" fmla="*/ 406 w 414"/>
                <a:gd name="T73" fmla="*/ 158 h 451"/>
                <a:gd name="T74" fmla="*/ 414 w 414"/>
                <a:gd name="T75" fmla="*/ 226 h 451"/>
                <a:gd name="T76" fmla="*/ 406 w 414"/>
                <a:gd name="T77" fmla="*/ 292 h 451"/>
                <a:gd name="T78" fmla="*/ 380 w 414"/>
                <a:gd name="T79" fmla="*/ 351 h 451"/>
                <a:gd name="T80" fmla="*/ 340 w 414"/>
                <a:gd name="T81" fmla="*/ 400 h 451"/>
                <a:gd name="T82" fmla="*/ 288 w 414"/>
                <a:gd name="T83" fmla="*/ 433 h 451"/>
                <a:gd name="T84" fmla="*/ 229 w 414"/>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4" h="451">
                  <a:moveTo>
                    <a:pt x="207" y="52"/>
                  </a:moveTo>
                  <a:lnTo>
                    <a:pt x="191" y="53"/>
                  </a:lnTo>
                  <a:lnTo>
                    <a:pt x="175" y="56"/>
                  </a:lnTo>
                  <a:lnTo>
                    <a:pt x="161" y="60"/>
                  </a:lnTo>
                  <a:lnTo>
                    <a:pt x="147" y="66"/>
                  </a:lnTo>
                  <a:lnTo>
                    <a:pt x="134" y="73"/>
                  </a:lnTo>
                  <a:lnTo>
                    <a:pt x="121" y="82"/>
                  </a:lnTo>
                  <a:lnTo>
                    <a:pt x="109" y="92"/>
                  </a:lnTo>
                  <a:lnTo>
                    <a:pt x="98" y="104"/>
                  </a:lnTo>
                  <a:lnTo>
                    <a:pt x="88" y="115"/>
                  </a:lnTo>
                  <a:lnTo>
                    <a:pt x="79" y="128"/>
                  </a:lnTo>
                  <a:lnTo>
                    <a:pt x="70" y="142"/>
                  </a:lnTo>
                  <a:lnTo>
                    <a:pt x="65" y="158"/>
                  </a:lnTo>
                  <a:lnTo>
                    <a:pt x="59" y="174"/>
                  </a:lnTo>
                  <a:lnTo>
                    <a:pt x="56" y="191"/>
                  </a:lnTo>
                  <a:lnTo>
                    <a:pt x="53" y="207"/>
                  </a:lnTo>
                  <a:lnTo>
                    <a:pt x="52" y="226"/>
                  </a:lnTo>
                  <a:lnTo>
                    <a:pt x="53" y="243"/>
                  </a:lnTo>
                  <a:lnTo>
                    <a:pt x="56" y="260"/>
                  </a:lnTo>
                  <a:lnTo>
                    <a:pt x="59" y="278"/>
                  </a:lnTo>
                  <a:lnTo>
                    <a:pt x="65" y="294"/>
                  </a:lnTo>
                  <a:lnTo>
                    <a:pt x="70" y="308"/>
                  </a:lnTo>
                  <a:lnTo>
                    <a:pt x="79" y="322"/>
                  </a:lnTo>
                  <a:lnTo>
                    <a:pt x="88" y="335"/>
                  </a:lnTo>
                  <a:lnTo>
                    <a:pt x="98" y="348"/>
                  </a:lnTo>
                  <a:lnTo>
                    <a:pt x="109" y="360"/>
                  </a:lnTo>
                  <a:lnTo>
                    <a:pt x="121" y="370"/>
                  </a:lnTo>
                  <a:lnTo>
                    <a:pt x="134" y="379"/>
                  </a:lnTo>
                  <a:lnTo>
                    <a:pt x="147" y="386"/>
                  </a:lnTo>
                  <a:lnTo>
                    <a:pt x="161" y="392"/>
                  </a:lnTo>
                  <a:lnTo>
                    <a:pt x="175" y="396"/>
                  </a:lnTo>
                  <a:lnTo>
                    <a:pt x="191" y="399"/>
                  </a:lnTo>
                  <a:lnTo>
                    <a:pt x="207" y="399"/>
                  </a:lnTo>
                  <a:lnTo>
                    <a:pt x="223" y="399"/>
                  </a:lnTo>
                  <a:lnTo>
                    <a:pt x="239" y="396"/>
                  </a:lnTo>
                  <a:lnTo>
                    <a:pt x="253" y="392"/>
                  </a:lnTo>
                  <a:lnTo>
                    <a:pt x="268" y="386"/>
                  </a:lnTo>
                  <a:lnTo>
                    <a:pt x="281" y="379"/>
                  </a:lnTo>
                  <a:lnTo>
                    <a:pt x="293" y="370"/>
                  </a:lnTo>
                  <a:lnTo>
                    <a:pt x="306" y="360"/>
                  </a:lnTo>
                  <a:lnTo>
                    <a:pt x="317" y="348"/>
                  </a:lnTo>
                  <a:lnTo>
                    <a:pt x="327" y="335"/>
                  </a:lnTo>
                  <a:lnTo>
                    <a:pt x="337" y="322"/>
                  </a:lnTo>
                  <a:lnTo>
                    <a:pt x="344" y="308"/>
                  </a:lnTo>
                  <a:lnTo>
                    <a:pt x="350" y="294"/>
                  </a:lnTo>
                  <a:lnTo>
                    <a:pt x="355" y="278"/>
                  </a:lnTo>
                  <a:lnTo>
                    <a:pt x="360" y="260"/>
                  </a:lnTo>
                  <a:lnTo>
                    <a:pt x="361" y="243"/>
                  </a:lnTo>
                  <a:lnTo>
                    <a:pt x="363" y="226"/>
                  </a:lnTo>
                  <a:lnTo>
                    <a:pt x="361" y="207"/>
                  </a:lnTo>
                  <a:lnTo>
                    <a:pt x="360" y="191"/>
                  </a:lnTo>
                  <a:lnTo>
                    <a:pt x="355" y="174"/>
                  </a:lnTo>
                  <a:lnTo>
                    <a:pt x="350" y="158"/>
                  </a:lnTo>
                  <a:lnTo>
                    <a:pt x="344" y="142"/>
                  </a:lnTo>
                  <a:lnTo>
                    <a:pt x="337" y="128"/>
                  </a:lnTo>
                  <a:lnTo>
                    <a:pt x="327" y="115"/>
                  </a:lnTo>
                  <a:lnTo>
                    <a:pt x="317" y="104"/>
                  </a:lnTo>
                  <a:lnTo>
                    <a:pt x="306" y="92"/>
                  </a:lnTo>
                  <a:lnTo>
                    <a:pt x="293" y="82"/>
                  </a:lnTo>
                  <a:lnTo>
                    <a:pt x="281" y="73"/>
                  </a:lnTo>
                  <a:lnTo>
                    <a:pt x="268" y="66"/>
                  </a:lnTo>
                  <a:lnTo>
                    <a:pt x="253" y="60"/>
                  </a:lnTo>
                  <a:lnTo>
                    <a:pt x="239" y="56"/>
                  </a:lnTo>
                  <a:lnTo>
                    <a:pt x="223" y="53"/>
                  </a:lnTo>
                  <a:lnTo>
                    <a:pt x="207" y="52"/>
                  </a:lnTo>
                  <a:close/>
                  <a:moveTo>
                    <a:pt x="207" y="451"/>
                  </a:moveTo>
                  <a:lnTo>
                    <a:pt x="185" y="451"/>
                  </a:lnTo>
                  <a:lnTo>
                    <a:pt x="165" y="446"/>
                  </a:lnTo>
                  <a:lnTo>
                    <a:pt x="145" y="440"/>
                  </a:lnTo>
                  <a:lnTo>
                    <a:pt x="126" y="433"/>
                  </a:lnTo>
                  <a:lnTo>
                    <a:pt x="109" y="425"/>
                  </a:lnTo>
                  <a:lnTo>
                    <a:pt x="92" y="413"/>
                  </a:lnTo>
                  <a:lnTo>
                    <a:pt x="76" y="400"/>
                  </a:lnTo>
                  <a:lnTo>
                    <a:pt x="60" y="386"/>
                  </a:lnTo>
                  <a:lnTo>
                    <a:pt x="47" y="368"/>
                  </a:lnTo>
                  <a:lnTo>
                    <a:pt x="36" y="351"/>
                  </a:lnTo>
                  <a:lnTo>
                    <a:pt x="24" y="332"/>
                  </a:lnTo>
                  <a:lnTo>
                    <a:pt x="16" y="314"/>
                  </a:lnTo>
                  <a:lnTo>
                    <a:pt x="10" y="292"/>
                  </a:lnTo>
                  <a:lnTo>
                    <a:pt x="4" y="271"/>
                  </a:lnTo>
                  <a:lnTo>
                    <a:pt x="1" y="249"/>
                  </a:lnTo>
                  <a:lnTo>
                    <a:pt x="0" y="226"/>
                  </a:lnTo>
                  <a:lnTo>
                    <a:pt x="1" y="203"/>
                  </a:lnTo>
                  <a:lnTo>
                    <a:pt x="4" y="180"/>
                  </a:lnTo>
                  <a:lnTo>
                    <a:pt x="10" y="158"/>
                  </a:lnTo>
                  <a:lnTo>
                    <a:pt x="16" y="138"/>
                  </a:lnTo>
                  <a:lnTo>
                    <a:pt x="24" y="118"/>
                  </a:lnTo>
                  <a:lnTo>
                    <a:pt x="36" y="99"/>
                  </a:lnTo>
                  <a:lnTo>
                    <a:pt x="47" y="82"/>
                  </a:lnTo>
                  <a:lnTo>
                    <a:pt x="60" y="66"/>
                  </a:lnTo>
                  <a:lnTo>
                    <a:pt x="76" y="52"/>
                  </a:lnTo>
                  <a:lnTo>
                    <a:pt x="92" y="39"/>
                  </a:lnTo>
                  <a:lnTo>
                    <a:pt x="109" y="27"/>
                  </a:lnTo>
                  <a:lnTo>
                    <a:pt x="126" y="17"/>
                  </a:lnTo>
                  <a:lnTo>
                    <a:pt x="145" y="10"/>
                  </a:lnTo>
                  <a:lnTo>
                    <a:pt x="165" y="4"/>
                  </a:lnTo>
                  <a:lnTo>
                    <a:pt x="185" y="1"/>
                  </a:lnTo>
                  <a:lnTo>
                    <a:pt x="207" y="0"/>
                  </a:lnTo>
                  <a:lnTo>
                    <a:pt x="229" y="1"/>
                  </a:lnTo>
                  <a:lnTo>
                    <a:pt x="249" y="4"/>
                  </a:lnTo>
                  <a:lnTo>
                    <a:pt x="269" y="10"/>
                  </a:lnTo>
                  <a:lnTo>
                    <a:pt x="288" y="17"/>
                  </a:lnTo>
                  <a:lnTo>
                    <a:pt x="306" y="27"/>
                  </a:lnTo>
                  <a:lnTo>
                    <a:pt x="324" y="39"/>
                  </a:lnTo>
                  <a:lnTo>
                    <a:pt x="340" y="52"/>
                  </a:lnTo>
                  <a:lnTo>
                    <a:pt x="354" y="66"/>
                  </a:lnTo>
                  <a:lnTo>
                    <a:pt x="367" y="82"/>
                  </a:lnTo>
                  <a:lnTo>
                    <a:pt x="380" y="99"/>
                  </a:lnTo>
                  <a:lnTo>
                    <a:pt x="390" y="118"/>
                  </a:lnTo>
                  <a:lnTo>
                    <a:pt x="399" y="138"/>
                  </a:lnTo>
                  <a:lnTo>
                    <a:pt x="406" y="158"/>
                  </a:lnTo>
                  <a:lnTo>
                    <a:pt x="410" y="180"/>
                  </a:lnTo>
                  <a:lnTo>
                    <a:pt x="413" y="203"/>
                  </a:lnTo>
                  <a:lnTo>
                    <a:pt x="414" y="226"/>
                  </a:lnTo>
                  <a:lnTo>
                    <a:pt x="413" y="249"/>
                  </a:lnTo>
                  <a:lnTo>
                    <a:pt x="410" y="271"/>
                  </a:lnTo>
                  <a:lnTo>
                    <a:pt x="406" y="292"/>
                  </a:lnTo>
                  <a:lnTo>
                    <a:pt x="399" y="314"/>
                  </a:lnTo>
                  <a:lnTo>
                    <a:pt x="390" y="332"/>
                  </a:lnTo>
                  <a:lnTo>
                    <a:pt x="380" y="351"/>
                  </a:lnTo>
                  <a:lnTo>
                    <a:pt x="367" y="368"/>
                  </a:lnTo>
                  <a:lnTo>
                    <a:pt x="354" y="386"/>
                  </a:lnTo>
                  <a:lnTo>
                    <a:pt x="340" y="400"/>
                  </a:lnTo>
                  <a:lnTo>
                    <a:pt x="324" y="413"/>
                  </a:lnTo>
                  <a:lnTo>
                    <a:pt x="306" y="425"/>
                  </a:lnTo>
                  <a:lnTo>
                    <a:pt x="288" y="433"/>
                  </a:lnTo>
                  <a:lnTo>
                    <a:pt x="269" y="440"/>
                  </a:lnTo>
                  <a:lnTo>
                    <a:pt x="249" y="446"/>
                  </a:lnTo>
                  <a:lnTo>
                    <a:pt x="229" y="451"/>
                  </a:lnTo>
                  <a:lnTo>
                    <a:pt x="207"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40">
              <a:extLst>
                <a:ext uri="{FF2B5EF4-FFF2-40B4-BE49-F238E27FC236}">
                  <a16:creationId xmlns:a16="http://schemas.microsoft.com/office/drawing/2014/main" id="{7CF5D8B3-6D60-4E07-AFBF-EA22E5E7EB61}"/>
                </a:ext>
              </a:extLst>
            </p:cNvPr>
            <p:cNvSpPr>
              <a:spLocks/>
            </p:cNvSpPr>
            <p:nvPr/>
          </p:nvSpPr>
          <p:spPr bwMode="auto">
            <a:xfrm>
              <a:off x="3914775" y="1360488"/>
              <a:ext cx="373063" cy="236538"/>
            </a:xfrm>
            <a:custGeom>
              <a:avLst/>
              <a:gdLst>
                <a:gd name="T0" fmla="*/ 0 w 706"/>
                <a:gd name="T1" fmla="*/ 445 h 445"/>
                <a:gd name="T2" fmla="*/ 2 w 706"/>
                <a:gd name="T3" fmla="*/ 217 h 445"/>
                <a:gd name="T4" fmla="*/ 7 w 706"/>
                <a:gd name="T5" fmla="*/ 183 h 445"/>
                <a:gd name="T6" fmla="*/ 19 w 706"/>
                <a:gd name="T7" fmla="*/ 157 h 445"/>
                <a:gd name="T8" fmla="*/ 36 w 706"/>
                <a:gd name="T9" fmla="*/ 135 h 445"/>
                <a:gd name="T10" fmla="*/ 56 w 706"/>
                <a:gd name="T11" fmla="*/ 119 h 445"/>
                <a:gd name="T12" fmla="*/ 79 w 706"/>
                <a:gd name="T13" fmla="*/ 106 h 445"/>
                <a:gd name="T14" fmla="*/ 121 w 706"/>
                <a:gd name="T15" fmla="*/ 91 h 445"/>
                <a:gd name="T16" fmla="*/ 162 w 706"/>
                <a:gd name="T17" fmla="*/ 79 h 445"/>
                <a:gd name="T18" fmla="*/ 187 w 706"/>
                <a:gd name="T19" fmla="*/ 70 h 445"/>
                <a:gd name="T20" fmla="*/ 211 w 706"/>
                <a:gd name="T21" fmla="*/ 63 h 445"/>
                <a:gd name="T22" fmla="*/ 226 w 706"/>
                <a:gd name="T23" fmla="*/ 55 h 445"/>
                <a:gd name="T24" fmla="*/ 242 w 706"/>
                <a:gd name="T25" fmla="*/ 39 h 445"/>
                <a:gd name="T26" fmla="*/ 254 w 706"/>
                <a:gd name="T27" fmla="*/ 10 h 445"/>
                <a:gd name="T28" fmla="*/ 307 w 706"/>
                <a:gd name="T29" fmla="*/ 0 h 445"/>
                <a:gd name="T30" fmla="*/ 304 w 706"/>
                <a:gd name="T31" fmla="*/ 26 h 445"/>
                <a:gd name="T32" fmla="*/ 291 w 706"/>
                <a:gd name="T33" fmla="*/ 59 h 445"/>
                <a:gd name="T34" fmla="*/ 280 w 706"/>
                <a:gd name="T35" fmla="*/ 76 h 445"/>
                <a:gd name="T36" fmla="*/ 262 w 706"/>
                <a:gd name="T37" fmla="*/ 92 h 445"/>
                <a:gd name="T38" fmla="*/ 242 w 706"/>
                <a:gd name="T39" fmla="*/ 105 h 445"/>
                <a:gd name="T40" fmla="*/ 216 w 706"/>
                <a:gd name="T41" fmla="*/ 117 h 445"/>
                <a:gd name="T42" fmla="*/ 190 w 706"/>
                <a:gd name="T43" fmla="*/ 125 h 445"/>
                <a:gd name="T44" fmla="*/ 164 w 706"/>
                <a:gd name="T45" fmla="*/ 132 h 445"/>
                <a:gd name="T46" fmla="*/ 111 w 706"/>
                <a:gd name="T47" fmla="*/ 150 h 445"/>
                <a:gd name="T48" fmla="*/ 92 w 706"/>
                <a:gd name="T49" fmla="*/ 158 h 445"/>
                <a:gd name="T50" fmla="*/ 77 w 706"/>
                <a:gd name="T51" fmla="*/ 168 h 445"/>
                <a:gd name="T52" fmla="*/ 67 w 706"/>
                <a:gd name="T53" fmla="*/ 180 h 445"/>
                <a:gd name="T54" fmla="*/ 58 w 706"/>
                <a:gd name="T55" fmla="*/ 196 h 445"/>
                <a:gd name="T56" fmla="*/ 54 w 706"/>
                <a:gd name="T57" fmla="*/ 213 h 445"/>
                <a:gd name="T58" fmla="*/ 54 w 706"/>
                <a:gd name="T59" fmla="*/ 236 h 445"/>
                <a:gd name="T60" fmla="*/ 654 w 706"/>
                <a:gd name="T61" fmla="*/ 392 h 445"/>
                <a:gd name="T62" fmla="*/ 654 w 706"/>
                <a:gd name="T63" fmla="*/ 225 h 445"/>
                <a:gd name="T64" fmla="*/ 651 w 706"/>
                <a:gd name="T65" fmla="*/ 204 h 445"/>
                <a:gd name="T66" fmla="*/ 645 w 706"/>
                <a:gd name="T67" fmla="*/ 187 h 445"/>
                <a:gd name="T68" fmla="*/ 635 w 706"/>
                <a:gd name="T69" fmla="*/ 174 h 445"/>
                <a:gd name="T70" fmla="*/ 622 w 706"/>
                <a:gd name="T71" fmla="*/ 163 h 445"/>
                <a:gd name="T72" fmla="*/ 605 w 706"/>
                <a:gd name="T73" fmla="*/ 154 h 445"/>
                <a:gd name="T74" fmla="*/ 571 w 706"/>
                <a:gd name="T75" fmla="*/ 141 h 445"/>
                <a:gd name="T76" fmla="*/ 529 w 706"/>
                <a:gd name="T77" fmla="*/ 128 h 445"/>
                <a:gd name="T78" fmla="*/ 503 w 706"/>
                <a:gd name="T79" fmla="*/ 121 h 445"/>
                <a:gd name="T80" fmla="*/ 477 w 706"/>
                <a:gd name="T81" fmla="*/ 111 h 445"/>
                <a:gd name="T82" fmla="*/ 454 w 706"/>
                <a:gd name="T83" fmla="*/ 99 h 445"/>
                <a:gd name="T84" fmla="*/ 435 w 706"/>
                <a:gd name="T85" fmla="*/ 83 h 445"/>
                <a:gd name="T86" fmla="*/ 421 w 706"/>
                <a:gd name="T87" fmla="*/ 68 h 445"/>
                <a:gd name="T88" fmla="*/ 408 w 706"/>
                <a:gd name="T89" fmla="*/ 43 h 445"/>
                <a:gd name="T90" fmla="*/ 401 w 706"/>
                <a:gd name="T91" fmla="*/ 11 h 445"/>
                <a:gd name="T92" fmla="*/ 452 w 706"/>
                <a:gd name="T93" fmla="*/ 3 h 445"/>
                <a:gd name="T94" fmla="*/ 452 w 706"/>
                <a:gd name="T95" fmla="*/ 11 h 445"/>
                <a:gd name="T96" fmla="*/ 458 w 706"/>
                <a:gd name="T97" fmla="*/ 30 h 445"/>
                <a:gd name="T98" fmla="*/ 475 w 706"/>
                <a:gd name="T99" fmla="*/ 50 h 445"/>
                <a:gd name="T100" fmla="*/ 488 w 706"/>
                <a:gd name="T101" fmla="*/ 59 h 445"/>
                <a:gd name="T102" fmla="*/ 507 w 706"/>
                <a:gd name="T103" fmla="*/ 68 h 445"/>
                <a:gd name="T104" fmla="*/ 532 w 706"/>
                <a:gd name="T105" fmla="*/ 75 h 445"/>
                <a:gd name="T106" fmla="*/ 556 w 706"/>
                <a:gd name="T107" fmla="*/ 82 h 445"/>
                <a:gd name="T108" fmla="*/ 614 w 706"/>
                <a:gd name="T109" fmla="*/ 101 h 445"/>
                <a:gd name="T110" fmla="*/ 638 w 706"/>
                <a:gd name="T111" fmla="*/ 112 h 445"/>
                <a:gd name="T112" fmla="*/ 661 w 706"/>
                <a:gd name="T113" fmla="*/ 127 h 445"/>
                <a:gd name="T114" fmla="*/ 680 w 706"/>
                <a:gd name="T115" fmla="*/ 145 h 445"/>
                <a:gd name="T116" fmla="*/ 694 w 706"/>
                <a:gd name="T117" fmla="*/ 170 h 445"/>
                <a:gd name="T118" fmla="*/ 703 w 706"/>
                <a:gd name="T119" fmla="*/ 200 h 445"/>
                <a:gd name="T120" fmla="*/ 706 w 706"/>
                <a:gd name="T121" fmla="*/ 23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6" h="445">
                  <a:moveTo>
                    <a:pt x="706" y="445"/>
                  </a:moveTo>
                  <a:lnTo>
                    <a:pt x="0" y="445"/>
                  </a:lnTo>
                  <a:lnTo>
                    <a:pt x="0" y="236"/>
                  </a:lnTo>
                  <a:lnTo>
                    <a:pt x="2" y="217"/>
                  </a:lnTo>
                  <a:lnTo>
                    <a:pt x="3" y="200"/>
                  </a:lnTo>
                  <a:lnTo>
                    <a:pt x="7" y="183"/>
                  </a:lnTo>
                  <a:lnTo>
                    <a:pt x="13" y="170"/>
                  </a:lnTo>
                  <a:lnTo>
                    <a:pt x="19" y="157"/>
                  </a:lnTo>
                  <a:lnTo>
                    <a:pt x="26" y="145"/>
                  </a:lnTo>
                  <a:lnTo>
                    <a:pt x="36" y="135"/>
                  </a:lnTo>
                  <a:lnTo>
                    <a:pt x="45" y="127"/>
                  </a:lnTo>
                  <a:lnTo>
                    <a:pt x="56" y="119"/>
                  </a:lnTo>
                  <a:lnTo>
                    <a:pt x="68" y="112"/>
                  </a:lnTo>
                  <a:lnTo>
                    <a:pt x="79" y="106"/>
                  </a:lnTo>
                  <a:lnTo>
                    <a:pt x="92" y="101"/>
                  </a:lnTo>
                  <a:lnTo>
                    <a:pt x="121" y="91"/>
                  </a:lnTo>
                  <a:lnTo>
                    <a:pt x="150" y="82"/>
                  </a:lnTo>
                  <a:lnTo>
                    <a:pt x="162" y="79"/>
                  </a:lnTo>
                  <a:lnTo>
                    <a:pt x="175" y="75"/>
                  </a:lnTo>
                  <a:lnTo>
                    <a:pt x="187" y="70"/>
                  </a:lnTo>
                  <a:lnTo>
                    <a:pt x="200" y="68"/>
                  </a:lnTo>
                  <a:lnTo>
                    <a:pt x="211" y="63"/>
                  </a:lnTo>
                  <a:lnTo>
                    <a:pt x="219" y="59"/>
                  </a:lnTo>
                  <a:lnTo>
                    <a:pt x="226" y="55"/>
                  </a:lnTo>
                  <a:lnTo>
                    <a:pt x="232" y="49"/>
                  </a:lnTo>
                  <a:lnTo>
                    <a:pt x="242" y="39"/>
                  </a:lnTo>
                  <a:lnTo>
                    <a:pt x="249" y="27"/>
                  </a:lnTo>
                  <a:lnTo>
                    <a:pt x="254" y="10"/>
                  </a:lnTo>
                  <a:lnTo>
                    <a:pt x="255" y="3"/>
                  </a:lnTo>
                  <a:lnTo>
                    <a:pt x="307" y="0"/>
                  </a:lnTo>
                  <a:lnTo>
                    <a:pt x="307" y="11"/>
                  </a:lnTo>
                  <a:lnTo>
                    <a:pt x="304" y="26"/>
                  </a:lnTo>
                  <a:lnTo>
                    <a:pt x="300" y="43"/>
                  </a:lnTo>
                  <a:lnTo>
                    <a:pt x="291" y="59"/>
                  </a:lnTo>
                  <a:lnTo>
                    <a:pt x="285" y="68"/>
                  </a:lnTo>
                  <a:lnTo>
                    <a:pt x="280" y="76"/>
                  </a:lnTo>
                  <a:lnTo>
                    <a:pt x="271" y="83"/>
                  </a:lnTo>
                  <a:lnTo>
                    <a:pt x="262" y="92"/>
                  </a:lnTo>
                  <a:lnTo>
                    <a:pt x="254" y="99"/>
                  </a:lnTo>
                  <a:lnTo>
                    <a:pt x="242" y="105"/>
                  </a:lnTo>
                  <a:lnTo>
                    <a:pt x="231" y="111"/>
                  </a:lnTo>
                  <a:lnTo>
                    <a:pt x="216" y="117"/>
                  </a:lnTo>
                  <a:lnTo>
                    <a:pt x="203" y="121"/>
                  </a:lnTo>
                  <a:lnTo>
                    <a:pt x="190" y="125"/>
                  </a:lnTo>
                  <a:lnTo>
                    <a:pt x="177" y="128"/>
                  </a:lnTo>
                  <a:lnTo>
                    <a:pt x="164" y="132"/>
                  </a:lnTo>
                  <a:lnTo>
                    <a:pt x="136" y="141"/>
                  </a:lnTo>
                  <a:lnTo>
                    <a:pt x="111" y="150"/>
                  </a:lnTo>
                  <a:lnTo>
                    <a:pt x="101" y="154"/>
                  </a:lnTo>
                  <a:lnTo>
                    <a:pt x="92" y="158"/>
                  </a:lnTo>
                  <a:lnTo>
                    <a:pt x="84" y="163"/>
                  </a:lnTo>
                  <a:lnTo>
                    <a:pt x="77" y="168"/>
                  </a:lnTo>
                  <a:lnTo>
                    <a:pt x="71" y="174"/>
                  </a:lnTo>
                  <a:lnTo>
                    <a:pt x="67" y="180"/>
                  </a:lnTo>
                  <a:lnTo>
                    <a:pt x="62" y="187"/>
                  </a:lnTo>
                  <a:lnTo>
                    <a:pt x="58" y="196"/>
                  </a:lnTo>
                  <a:lnTo>
                    <a:pt x="56" y="204"/>
                  </a:lnTo>
                  <a:lnTo>
                    <a:pt x="54" y="213"/>
                  </a:lnTo>
                  <a:lnTo>
                    <a:pt x="54" y="225"/>
                  </a:lnTo>
                  <a:lnTo>
                    <a:pt x="54" y="236"/>
                  </a:lnTo>
                  <a:lnTo>
                    <a:pt x="54" y="392"/>
                  </a:lnTo>
                  <a:lnTo>
                    <a:pt x="654" y="392"/>
                  </a:lnTo>
                  <a:lnTo>
                    <a:pt x="654" y="236"/>
                  </a:lnTo>
                  <a:lnTo>
                    <a:pt x="654" y="225"/>
                  </a:lnTo>
                  <a:lnTo>
                    <a:pt x="653" y="213"/>
                  </a:lnTo>
                  <a:lnTo>
                    <a:pt x="651" y="204"/>
                  </a:lnTo>
                  <a:lnTo>
                    <a:pt x="648" y="196"/>
                  </a:lnTo>
                  <a:lnTo>
                    <a:pt x="645" y="187"/>
                  </a:lnTo>
                  <a:lnTo>
                    <a:pt x="641" y="180"/>
                  </a:lnTo>
                  <a:lnTo>
                    <a:pt x="635" y="174"/>
                  </a:lnTo>
                  <a:lnTo>
                    <a:pt x="630" y="168"/>
                  </a:lnTo>
                  <a:lnTo>
                    <a:pt x="622" y="163"/>
                  </a:lnTo>
                  <a:lnTo>
                    <a:pt x="614" y="158"/>
                  </a:lnTo>
                  <a:lnTo>
                    <a:pt x="605" y="154"/>
                  </a:lnTo>
                  <a:lnTo>
                    <a:pt x="595" y="150"/>
                  </a:lnTo>
                  <a:lnTo>
                    <a:pt x="571" y="141"/>
                  </a:lnTo>
                  <a:lnTo>
                    <a:pt x="542" y="132"/>
                  </a:lnTo>
                  <a:lnTo>
                    <a:pt x="529" y="128"/>
                  </a:lnTo>
                  <a:lnTo>
                    <a:pt x="517" y="125"/>
                  </a:lnTo>
                  <a:lnTo>
                    <a:pt x="503" y="121"/>
                  </a:lnTo>
                  <a:lnTo>
                    <a:pt x="490" y="117"/>
                  </a:lnTo>
                  <a:lnTo>
                    <a:pt x="477" y="111"/>
                  </a:lnTo>
                  <a:lnTo>
                    <a:pt x="464" y="105"/>
                  </a:lnTo>
                  <a:lnTo>
                    <a:pt x="454" y="99"/>
                  </a:lnTo>
                  <a:lnTo>
                    <a:pt x="444" y="92"/>
                  </a:lnTo>
                  <a:lnTo>
                    <a:pt x="435" y="83"/>
                  </a:lnTo>
                  <a:lnTo>
                    <a:pt x="428" y="76"/>
                  </a:lnTo>
                  <a:lnTo>
                    <a:pt x="421" y="68"/>
                  </a:lnTo>
                  <a:lnTo>
                    <a:pt x="415" y="59"/>
                  </a:lnTo>
                  <a:lnTo>
                    <a:pt x="408" y="43"/>
                  </a:lnTo>
                  <a:lnTo>
                    <a:pt x="402" y="26"/>
                  </a:lnTo>
                  <a:lnTo>
                    <a:pt x="401" y="11"/>
                  </a:lnTo>
                  <a:lnTo>
                    <a:pt x="399" y="0"/>
                  </a:lnTo>
                  <a:lnTo>
                    <a:pt x="452" y="3"/>
                  </a:lnTo>
                  <a:lnTo>
                    <a:pt x="452" y="6"/>
                  </a:lnTo>
                  <a:lnTo>
                    <a:pt x="452" y="11"/>
                  </a:lnTo>
                  <a:lnTo>
                    <a:pt x="455" y="20"/>
                  </a:lnTo>
                  <a:lnTo>
                    <a:pt x="458" y="30"/>
                  </a:lnTo>
                  <a:lnTo>
                    <a:pt x="465" y="40"/>
                  </a:lnTo>
                  <a:lnTo>
                    <a:pt x="475" y="50"/>
                  </a:lnTo>
                  <a:lnTo>
                    <a:pt x="481" y="55"/>
                  </a:lnTo>
                  <a:lnTo>
                    <a:pt x="488" y="59"/>
                  </a:lnTo>
                  <a:lnTo>
                    <a:pt x="497" y="63"/>
                  </a:lnTo>
                  <a:lnTo>
                    <a:pt x="507" y="68"/>
                  </a:lnTo>
                  <a:lnTo>
                    <a:pt x="520" y="70"/>
                  </a:lnTo>
                  <a:lnTo>
                    <a:pt x="532" y="75"/>
                  </a:lnTo>
                  <a:lnTo>
                    <a:pt x="545" y="79"/>
                  </a:lnTo>
                  <a:lnTo>
                    <a:pt x="556" y="82"/>
                  </a:lnTo>
                  <a:lnTo>
                    <a:pt x="586" y="91"/>
                  </a:lnTo>
                  <a:lnTo>
                    <a:pt x="614" y="101"/>
                  </a:lnTo>
                  <a:lnTo>
                    <a:pt x="627" y="106"/>
                  </a:lnTo>
                  <a:lnTo>
                    <a:pt x="638" y="112"/>
                  </a:lnTo>
                  <a:lnTo>
                    <a:pt x="651" y="119"/>
                  </a:lnTo>
                  <a:lnTo>
                    <a:pt x="661" y="127"/>
                  </a:lnTo>
                  <a:lnTo>
                    <a:pt x="671" y="135"/>
                  </a:lnTo>
                  <a:lnTo>
                    <a:pt x="680" y="145"/>
                  </a:lnTo>
                  <a:lnTo>
                    <a:pt x="687" y="157"/>
                  </a:lnTo>
                  <a:lnTo>
                    <a:pt x="694" y="170"/>
                  </a:lnTo>
                  <a:lnTo>
                    <a:pt x="699" y="183"/>
                  </a:lnTo>
                  <a:lnTo>
                    <a:pt x="703" y="200"/>
                  </a:lnTo>
                  <a:lnTo>
                    <a:pt x="704" y="217"/>
                  </a:lnTo>
                  <a:lnTo>
                    <a:pt x="706" y="236"/>
                  </a:lnTo>
                  <a:lnTo>
                    <a:pt x="706"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41">
              <a:extLst>
                <a:ext uri="{FF2B5EF4-FFF2-40B4-BE49-F238E27FC236}">
                  <a16:creationId xmlns:a16="http://schemas.microsoft.com/office/drawing/2014/main" id="{E8B86664-1149-4A61-8916-84F1156D6452}"/>
                </a:ext>
              </a:extLst>
            </p:cNvPr>
            <p:cNvSpPr>
              <a:spLocks/>
            </p:cNvSpPr>
            <p:nvPr/>
          </p:nvSpPr>
          <p:spPr bwMode="auto">
            <a:xfrm>
              <a:off x="4005263" y="1200151"/>
              <a:ext cx="195263" cy="55563"/>
            </a:xfrm>
            <a:custGeom>
              <a:avLst/>
              <a:gdLst>
                <a:gd name="T0" fmla="*/ 280 w 370"/>
                <a:gd name="T1" fmla="*/ 105 h 105"/>
                <a:gd name="T2" fmla="*/ 252 w 370"/>
                <a:gd name="T3" fmla="*/ 104 h 105"/>
                <a:gd name="T4" fmla="*/ 224 w 370"/>
                <a:gd name="T5" fmla="*/ 101 h 105"/>
                <a:gd name="T6" fmla="*/ 198 w 370"/>
                <a:gd name="T7" fmla="*/ 97 h 105"/>
                <a:gd name="T8" fmla="*/ 175 w 370"/>
                <a:gd name="T9" fmla="*/ 91 h 105"/>
                <a:gd name="T10" fmla="*/ 155 w 370"/>
                <a:gd name="T11" fmla="*/ 84 h 105"/>
                <a:gd name="T12" fmla="*/ 138 w 370"/>
                <a:gd name="T13" fmla="*/ 76 h 105"/>
                <a:gd name="T14" fmla="*/ 122 w 370"/>
                <a:gd name="T15" fmla="*/ 71 h 105"/>
                <a:gd name="T16" fmla="*/ 111 w 370"/>
                <a:gd name="T17" fmla="*/ 65 h 105"/>
                <a:gd name="T18" fmla="*/ 102 w 370"/>
                <a:gd name="T19" fmla="*/ 69 h 105"/>
                <a:gd name="T20" fmla="*/ 93 w 370"/>
                <a:gd name="T21" fmla="*/ 75 h 105"/>
                <a:gd name="T22" fmla="*/ 82 w 370"/>
                <a:gd name="T23" fmla="*/ 79 h 105"/>
                <a:gd name="T24" fmla="*/ 69 w 370"/>
                <a:gd name="T25" fmla="*/ 85 h 105"/>
                <a:gd name="T26" fmla="*/ 53 w 370"/>
                <a:gd name="T27" fmla="*/ 89 h 105"/>
                <a:gd name="T28" fmla="*/ 37 w 370"/>
                <a:gd name="T29" fmla="*/ 92 h 105"/>
                <a:gd name="T30" fmla="*/ 20 w 370"/>
                <a:gd name="T31" fmla="*/ 95 h 105"/>
                <a:gd name="T32" fmla="*/ 0 w 370"/>
                <a:gd name="T33" fmla="*/ 95 h 105"/>
                <a:gd name="T34" fmla="*/ 0 w 370"/>
                <a:gd name="T35" fmla="*/ 43 h 105"/>
                <a:gd name="T36" fmla="*/ 21 w 370"/>
                <a:gd name="T37" fmla="*/ 42 h 105"/>
                <a:gd name="T38" fmla="*/ 39 w 370"/>
                <a:gd name="T39" fmla="*/ 39 h 105"/>
                <a:gd name="T40" fmla="*/ 54 w 370"/>
                <a:gd name="T41" fmla="*/ 35 h 105"/>
                <a:gd name="T42" fmla="*/ 67 w 370"/>
                <a:gd name="T43" fmla="*/ 29 h 105"/>
                <a:gd name="T44" fmla="*/ 85 w 370"/>
                <a:gd name="T45" fmla="*/ 19 h 105"/>
                <a:gd name="T46" fmla="*/ 90 w 370"/>
                <a:gd name="T47" fmla="*/ 15 h 105"/>
                <a:gd name="T48" fmla="*/ 106 w 370"/>
                <a:gd name="T49" fmla="*/ 0 h 105"/>
                <a:gd name="T50" fmla="*/ 123 w 370"/>
                <a:gd name="T51" fmla="*/ 12 h 105"/>
                <a:gd name="T52" fmla="*/ 128 w 370"/>
                <a:gd name="T53" fmla="*/ 15 h 105"/>
                <a:gd name="T54" fmla="*/ 142 w 370"/>
                <a:gd name="T55" fmla="*/ 22 h 105"/>
                <a:gd name="T56" fmla="*/ 162 w 370"/>
                <a:gd name="T57" fmla="*/ 30 h 105"/>
                <a:gd name="T58" fmla="*/ 191 w 370"/>
                <a:gd name="T59" fmla="*/ 40 h 105"/>
                <a:gd name="T60" fmla="*/ 207 w 370"/>
                <a:gd name="T61" fmla="*/ 45 h 105"/>
                <a:gd name="T62" fmla="*/ 226 w 370"/>
                <a:gd name="T63" fmla="*/ 48 h 105"/>
                <a:gd name="T64" fmla="*/ 244 w 370"/>
                <a:gd name="T65" fmla="*/ 51 h 105"/>
                <a:gd name="T66" fmla="*/ 265 w 370"/>
                <a:gd name="T67" fmla="*/ 53 h 105"/>
                <a:gd name="T68" fmla="*/ 286 w 370"/>
                <a:gd name="T69" fmla="*/ 53 h 105"/>
                <a:gd name="T70" fmla="*/ 309 w 370"/>
                <a:gd name="T71" fmla="*/ 52 h 105"/>
                <a:gd name="T72" fmla="*/ 332 w 370"/>
                <a:gd name="T73" fmla="*/ 49 h 105"/>
                <a:gd name="T74" fmla="*/ 357 w 370"/>
                <a:gd name="T75" fmla="*/ 43 h 105"/>
                <a:gd name="T76" fmla="*/ 370 w 370"/>
                <a:gd name="T77" fmla="*/ 95 h 105"/>
                <a:gd name="T78" fmla="*/ 345 w 370"/>
                <a:gd name="T79" fmla="*/ 99 h 105"/>
                <a:gd name="T80" fmla="*/ 324 w 370"/>
                <a:gd name="T81" fmla="*/ 102 h 105"/>
                <a:gd name="T82" fmla="*/ 301 w 370"/>
                <a:gd name="T83" fmla="*/ 105 h 105"/>
                <a:gd name="T84" fmla="*/ 280 w 370"/>
                <a:gd name="T8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0" h="105">
                  <a:moveTo>
                    <a:pt x="280" y="105"/>
                  </a:moveTo>
                  <a:lnTo>
                    <a:pt x="252" y="104"/>
                  </a:lnTo>
                  <a:lnTo>
                    <a:pt x="224" y="101"/>
                  </a:lnTo>
                  <a:lnTo>
                    <a:pt x="198" y="97"/>
                  </a:lnTo>
                  <a:lnTo>
                    <a:pt x="175" y="91"/>
                  </a:lnTo>
                  <a:lnTo>
                    <a:pt x="155" y="84"/>
                  </a:lnTo>
                  <a:lnTo>
                    <a:pt x="138" y="76"/>
                  </a:lnTo>
                  <a:lnTo>
                    <a:pt x="122" y="71"/>
                  </a:lnTo>
                  <a:lnTo>
                    <a:pt x="111" y="65"/>
                  </a:lnTo>
                  <a:lnTo>
                    <a:pt x="102" y="69"/>
                  </a:lnTo>
                  <a:lnTo>
                    <a:pt x="93" y="75"/>
                  </a:lnTo>
                  <a:lnTo>
                    <a:pt x="82" y="79"/>
                  </a:lnTo>
                  <a:lnTo>
                    <a:pt x="69" y="85"/>
                  </a:lnTo>
                  <a:lnTo>
                    <a:pt x="53" y="89"/>
                  </a:lnTo>
                  <a:lnTo>
                    <a:pt x="37" y="92"/>
                  </a:lnTo>
                  <a:lnTo>
                    <a:pt x="20" y="95"/>
                  </a:lnTo>
                  <a:lnTo>
                    <a:pt x="0" y="95"/>
                  </a:lnTo>
                  <a:lnTo>
                    <a:pt x="0" y="43"/>
                  </a:lnTo>
                  <a:lnTo>
                    <a:pt x="21" y="42"/>
                  </a:lnTo>
                  <a:lnTo>
                    <a:pt x="39" y="39"/>
                  </a:lnTo>
                  <a:lnTo>
                    <a:pt x="54" y="35"/>
                  </a:lnTo>
                  <a:lnTo>
                    <a:pt x="67" y="29"/>
                  </a:lnTo>
                  <a:lnTo>
                    <a:pt x="85" y="19"/>
                  </a:lnTo>
                  <a:lnTo>
                    <a:pt x="90" y="15"/>
                  </a:lnTo>
                  <a:lnTo>
                    <a:pt x="106" y="0"/>
                  </a:lnTo>
                  <a:lnTo>
                    <a:pt x="123" y="12"/>
                  </a:lnTo>
                  <a:lnTo>
                    <a:pt x="128" y="15"/>
                  </a:lnTo>
                  <a:lnTo>
                    <a:pt x="142" y="22"/>
                  </a:lnTo>
                  <a:lnTo>
                    <a:pt x="162" y="30"/>
                  </a:lnTo>
                  <a:lnTo>
                    <a:pt x="191" y="40"/>
                  </a:lnTo>
                  <a:lnTo>
                    <a:pt x="207" y="45"/>
                  </a:lnTo>
                  <a:lnTo>
                    <a:pt x="226" y="48"/>
                  </a:lnTo>
                  <a:lnTo>
                    <a:pt x="244" y="51"/>
                  </a:lnTo>
                  <a:lnTo>
                    <a:pt x="265" y="53"/>
                  </a:lnTo>
                  <a:lnTo>
                    <a:pt x="286" y="53"/>
                  </a:lnTo>
                  <a:lnTo>
                    <a:pt x="309" y="52"/>
                  </a:lnTo>
                  <a:lnTo>
                    <a:pt x="332" y="49"/>
                  </a:lnTo>
                  <a:lnTo>
                    <a:pt x="357" y="43"/>
                  </a:lnTo>
                  <a:lnTo>
                    <a:pt x="370" y="95"/>
                  </a:lnTo>
                  <a:lnTo>
                    <a:pt x="345" y="99"/>
                  </a:lnTo>
                  <a:lnTo>
                    <a:pt x="324" y="102"/>
                  </a:lnTo>
                  <a:lnTo>
                    <a:pt x="301" y="105"/>
                  </a:lnTo>
                  <a:lnTo>
                    <a:pt x="28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51">
              <a:extLst>
                <a:ext uri="{FF2B5EF4-FFF2-40B4-BE49-F238E27FC236}">
                  <a16:creationId xmlns:a16="http://schemas.microsoft.com/office/drawing/2014/main" id="{2C9E1F3B-E7FD-47BE-93B6-021F849D0D1D}"/>
                </a:ext>
              </a:extLst>
            </p:cNvPr>
            <p:cNvSpPr>
              <a:spLocks noChangeArrowheads="1"/>
            </p:cNvSpPr>
            <p:nvPr/>
          </p:nvSpPr>
          <p:spPr bwMode="auto">
            <a:xfrm>
              <a:off x="3773488" y="1011238"/>
              <a:ext cx="4381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52">
              <a:extLst>
                <a:ext uri="{FF2B5EF4-FFF2-40B4-BE49-F238E27FC236}">
                  <a16:creationId xmlns:a16="http://schemas.microsoft.com/office/drawing/2014/main" id="{7A6C0BCE-3613-46D7-B19A-1FDE6CCFB450}"/>
                </a:ext>
              </a:extLst>
            </p:cNvPr>
            <p:cNvSpPr>
              <a:spLocks/>
            </p:cNvSpPr>
            <p:nvPr/>
          </p:nvSpPr>
          <p:spPr bwMode="auto">
            <a:xfrm>
              <a:off x="4127500" y="936626"/>
              <a:ext cx="103188" cy="177800"/>
            </a:xfrm>
            <a:custGeom>
              <a:avLst/>
              <a:gdLst>
                <a:gd name="T0" fmla="*/ 38 w 195"/>
                <a:gd name="T1" fmla="*/ 336 h 336"/>
                <a:gd name="T2" fmla="*/ 0 w 195"/>
                <a:gd name="T3" fmla="*/ 298 h 336"/>
                <a:gd name="T4" fmla="*/ 132 w 195"/>
                <a:gd name="T5" fmla="*/ 167 h 336"/>
                <a:gd name="T6" fmla="*/ 0 w 195"/>
                <a:gd name="T7" fmla="*/ 38 h 336"/>
                <a:gd name="T8" fmla="*/ 38 w 195"/>
                <a:gd name="T9" fmla="*/ 0 h 336"/>
                <a:gd name="T10" fmla="*/ 186 w 195"/>
                <a:gd name="T11" fmla="*/ 150 h 336"/>
                <a:gd name="T12" fmla="*/ 191 w 195"/>
                <a:gd name="T13" fmla="*/ 153 h 336"/>
                <a:gd name="T14" fmla="*/ 192 w 195"/>
                <a:gd name="T15" fmla="*/ 159 h 336"/>
                <a:gd name="T16" fmla="*/ 193 w 195"/>
                <a:gd name="T17" fmla="*/ 163 h 336"/>
                <a:gd name="T18" fmla="*/ 195 w 195"/>
                <a:gd name="T19" fmla="*/ 167 h 336"/>
                <a:gd name="T20" fmla="*/ 193 w 195"/>
                <a:gd name="T21" fmla="*/ 173 h 336"/>
                <a:gd name="T22" fmla="*/ 192 w 195"/>
                <a:gd name="T23" fmla="*/ 177 h 336"/>
                <a:gd name="T24" fmla="*/ 191 w 195"/>
                <a:gd name="T25" fmla="*/ 182 h 336"/>
                <a:gd name="T26" fmla="*/ 186 w 195"/>
                <a:gd name="T27" fmla="*/ 186 h 336"/>
                <a:gd name="T28" fmla="*/ 38 w 195"/>
                <a:gd name="T29"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336">
                  <a:moveTo>
                    <a:pt x="38" y="336"/>
                  </a:moveTo>
                  <a:lnTo>
                    <a:pt x="0" y="298"/>
                  </a:lnTo>
                  <a:lnTo>
                    <a:pt x="132" y="167"/>
                  </a:lnTo>
                  <a:lnTo>
                    <a:pt x="0" y="38"/>
                  </a:lnTo>
                  <a:lnTo>
                    <a:pt x="38" y="0"/>
                  </a:lnTo>
                  <a:lnTo>
                    <a:pt x="186" y="150"/>
                  </a:lnTo>
                  <a:lnTo>
                    <a:pt x="191" y="153"/>
                  </a:lnTo>
                  <a:lnTo>
                    <a:pt x="192" y="159"/>
                  </a:lnTo>
                  <a:lnTo>
                    <a:pt x="193" y="163"/>
                  </a:lnTo>
                  <a:lnTo>
                    <a:pt x="195" y="167"/>
                  </a:lnTo>
                  <a:lnTo>
                    <a:pt x="193" y="173"/>
                  </a:lnTo>
                  <a:lnTo>
                    <a:pt x="192" y="177"/>
                  </a:lnTo>
                  <a:lnTo>
                    <a:pt x="191" y="182"/>
                  </a:lnTo>
                  <a:lnTo>
                    <a:pt x="186" y="186"/>
                  </a:lnTo>
                  <a:lnTo>
                    <a:pt x="38"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53">
              <a:extLst>
                <a:ext uri="{FF2B5EF4-FFF2-40B4-BE49-F238E27FC236}">
                  <a16:creationId xmlns:a16="http://schemas.microsoft.com/office/drawing/2014/main" id="{44378AA7-5863-48F3-9470-118264621DCE}"/>
                </a:ext>
              </a:extLst>
            </p:cNvPr>
            <p:cNvSpPr>
              <a:spLocks noChangeArrowheads="1"/>
            </p:cNvSpPr>
            <p:nvPr/>
          </p:nvSpPr>
          <p:spPr bwMode="auto">
            <a:xfrm>
              <a:off x="3560763" y="954088"/>
              <a:ext cx="431800"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54">
              <a:extLst>
                <a:ext uri="{FF2B5EF4-FFF2-40B4-BE49-F238E27FC236}">
                  <a16:creationId xmlns:a16="http://schemas.microsoft.com/office/drawing/2014/main" id="{499BF38C-BC66-4994-B270-C2469A731C80}"/>
                </a:ext>
              </a:extLst>
            </p:cNvPr>
            <p:cNvSpPr>
              <a:spLocks/>
            </p:cNvSpPr>
            <p:nvPr/>
          </p:nvSpPr>
          <p:spPr bwMode="auto">
            <a:xfrm>
              <a:off x="3541713" y="877888"/>
              <a:ext cx="101600" cy="177800"/>
            </a:xfrm>
            <a:custGeom>
              <a:avLst/>
              <a:gdLst>
                <a:gd name="T0" fmla="*/ 157 w 193"/>
                <a:gd name="T1" fmla="*/ 335 h 335"/>
                <a:gd name="T2" fmla="*/ 7 w 193"/>
                <a:gd name="T3" fmla="*/ 186 h 335"/>
                <a:gd name="T4" fmla="*/ 4 w 193"/>
                <a:gd name="T5" fmla="*/ 182 h 335"/>
                <a:gd name="T6" fmla="*/ 2 w 193"/>
                <a:gd name="T7" fmla="*/ 178 h 335"/>
                <a:gd name="T8" fmla="*/ 0 w 193"/>
                <a:gd name="T9" fmla="*/ 173 h 335"/>
                <a:gd name="T10" fmla="*/ 0 w 193"/>
                <a:gd name="T11" fmla="*/ 167 h 335"/>
                <a:gd name="T12" fmla="*/ 0 w 193"/>
                <a:gd name="T13" fmla="*/ 163 h 335"/>
                <a:gd name="T14" fmla="*/ 2 w 193"/>
                <a:gd name="T15" fmla="*/ 157 h 335"/>
                <a:gd name="T16" fmla="*/ 4 w 193"/>
                <a:gd name="T17" fmla="*/ 153 h 335"/>
                <a:gd name="T18" fmla="*/ 7 w 193"/>
                <a:gd name="T19" fmla="*/ 149 h 335"/>
                <a:gd name="T20" fmla="*/ 157 w 193"/>
                <a:gd name="T21" fmla="*/ 0 h 335"/>
                <a:gd name="T22" fmla="*/ 193 w 193"/>
                <a:gd name="T23" fmla="*/ 38 h 335"/>
                <a:gd name="T24" fmla="*/ 63 w 193"/>
                <a:gd name="T25" fmla="*/ 167 h 335"/>
                <a:gd name="T26" fmla="*/ 193 w 193"/>
                <a:gd name="T27" fmla="*/ 299 h 335"/>
                <a:gd name="T28" fmla="*/ 157 w 193"/>
                <a:gd name="T29" fmla="*/ 335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3" h="335">
                  <a:moveTo>
                    <a:pt x="157" y="335"/>
                  </a:moveTo>
                  <a:lnTo>
                    <a:pt x="7" y="186"/>
                  </a:lnTo>
                  <a:lnTo>
                    <a:pt x="4" y="182"/>
                  </a:lnTo>
                  <a:lnTo>
                    <a:pt x="2" y="178"/>
                  </a:lnTo>
                  <a:lnTo>
                    <a:pt x="0" y="173"/>
                  </a:lnTo>
                  <a:lnTo>
                    <a:pt x="0" y="167"/>
                  </a:lnTo>
                  <a:lnTo>
                    <a:pt x="0" y="163"/>
                  </a:lnTo>
                  <a:lnTo>
                    <a:pt x="2" y="157"/>
                  </a:lnTo>
                  <a:lnTo>
                    <a:pt x="4" y="153"/>
                  </a:lnTo>
                  <a:lnTo>
                    <a:pt x="7" y="149"/>
                  </a:lnTo>
                  <a:lnTo>
                    <a:pt x="157" y="0"/>
                  </a:lnTo>
                  <a:lnTo>
                    <a:pt x="193" y="38"/>
                  </a:lnTo>
                  <a:lnTo>
                    <a:pt x="63" y="167"/>
                  </a:lnTo>
                  <a:lnTo>
                    <a:pt x="193" y="299"/>
                  </a:lnTo>
                  <a:lnTo>
                    <a:pt x="157"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4" name="Group 9">
            <a:extLst>
              <a:ext uri="{FF2B5EF4-FFF2-40B4-BE49-F238E27FC236}">
                <a16:creationId xmlns:a16="http://schemas.microsoft.com/office/drawing/2014/main" id="{97351C7C-781E-438A-AC24-7A2E2682487B}"/>
              </a:ext>
            </a:extLst>
          </p:cNvPr>
          <p:cNvGrpSpPr>
            <a:grpSpLocks noChangeAspect="1"/>
          </p:cNvGrpSpPr>
          <p:nvPr/>
        </p:nvGrpSpPr>
        <p:grpSpPr>
          <a:xfrm>
            <a:off x="1894677" y="2724897"/>
            <a:ext cx="284040" cy="285619"/>
            <a:chOff x="5464175" y="3646488"/>
            <a:chExt cx="285750" cy="287338"/>
          </a:xfrm>
          <a:solidFill>
            <a:schemeClr val="bg1"/>
          </a:solidFill>
          <a:effectLst/>
        </p:grpSpPr>
        <p:sp>
          <p:nvSpPr>
            <p:cNvPr id="635" name="Freeform 25">
              <a:extLst>
                <a:ext uri="{FF2B5EF4-FFF2-40B4-BE49-F238E27FC236}">
                  <a16:creationId xmlns:a16="http://schemas.microsoft.com/office/drawing/2014/main" id="{8B33DE0B-391B-4A43-B5C3-4BF22D10C426}"/>
                </a:ext>
              </a:extLst>
            </p:cNvPr>
            <p:cNvSpPr>
              <a:spLocks noEditPoints="1"/>
            </p:cNvSpPr>
            <p:nvPr/>
          </p:nvSpPr>
          <p:spPr bwMode="auto">
            <a:xfrm>
              <a:off x="5464175" y="3646488"/>
              <a:ext cx="285750" cy="287338"/>
            </a:xfrm>
            <a:custGeom>
              <a:avLst/>
              <a:gdLst>
                <a:gd name="T0" fmla="*/ 366 w 901"/>
                <a:gd name="T1" fmla="*/ 862 h 901"/>
                <a:gd name="T2" fmla="*/ 269 w 901"/>
                <a:gd name="T3" fmla="*/ 829 h 901"/>
                <a:gd name="T4" fmla="*/ 184 w 901"/>
                <a:gd name="T5" fmla="*/ 775 h 901"/>
                <a:gd name="T6" fmla="*/ 114 w 901"/>
                <a:gd name="T7" fmla="*/ 702 h 901"/>
                <a:gd name="T8" fmla="*/ 63 w 901"/>
                <a:gd name="T9" fmla="*/ 614 h 901"/>
                <a:gd name="T10" fmla="*/ 35 w 901"/>
                <a:gd name="T11" fmla="*/ 515 h 901"/>
                <a:gd name="T12" fmla="*/ 32 w 901"/>
                <a:gd name="T13" fmla="*/ 408 h 901"/>
                <a:gd name="T14" fmla="*/ 56 w 901"/>
                <a:gd name="T15" fmla="*/ 306 h 901"/>
                <a:gd name="T16" fmla="*/ 103 w 901"/>
                <a:gd name="T17" fmla="*/ 215 h 901"/>
                <a:gd name="T18" fmla="*/ 168 w 901"/>
                <a:gd name="T19" fmla="*/ 139 h 901"/>
                <a:gd name="T20" fmla="*/ 250 w 901"/>
                <a:gd name="T21" fmla="*/ 80 h 901"/>
                <a:gd name="T22" fmla="*/ 346 w 901"/>
                <a:gd name="T23" fmla="*/ 43 h 901"/>
                <a:gd name="T24" fmla="*/ 450 w 901"/>
                <a:gd name="T25" fmla="*/ 30 h 901"/>
                <a:gd name="T26" fmla="*/ 555 w 901"/>
                <a:gd name="T27" fmla="*/ 43 h 901"/>
                <a:gd name="T28" fmla="*/ 652 w 901"/>
                <a:gd name="T29" fmla="*/ 80 h 901"/>
                <a:gd name="T30" fmla="*/ 733 w 901"/>
                <a:gd name="T31" fmla="*/ 139 h 901"/>
                <a:gd name="T32" fmla="*/ 799 w 901"/>
                <a:gd name="T33" fmla="*/ 215 h 901"/>
                <a:gd name="T34" fmla="*/ 845 w 901"/>
                <a:gd name="T35" fmla="*/ 306 h 901"/>
                <a:gd name="T36" fmla="*/ 869 w 901"/>
                <a:gd name="T37" fmla="*/ 408 h 901"/>
                <a:gd name="T38" fmla="*/ 867 w 901"/>
                <a:gd name="T39" fmla="*/ 515 h 901"/>
                <a:gd name="T40" fmla="*/ 838 w 901"/>
                <a:gd name="T41" fmla="*/ 614 h 901"/>
                <a:gd name="T42" fmla="*/ 788 w 901"/>
                <a:gd name="T43" fmla="*/ 702 h 901"/>
                <a:gd name="T44" fmla="*/ 718 w 901"/>
                <a:gd name="T45" fmla="*/ 775 h 901"/>
                <a:gd name="T46" fmla="*/ 633 w 901"/>
                <a:gd name="T47" fmla="*/ 829 h 901"/>
                <a:gd name="T48" fmla="*/ 536 w 901"/>
                <a:gd name="T49" fmla="*/ 862 h 901"/>
                <a:gd name="T50" fmla="*/ 450 w 901"/>
                <a:gd name="T51" fmla="*/ 0 h 901"/>
                <a:gd name="T52" fmla="*/ 338 w 901"/>
                <a:gd name="T53" fmla="*/ 14 h 901"/>
                <a:gd name="T54" fmla="*/ 236 w 901"/>
                <a:gd name="T55" fmla="*/ 54 h 901"/>
                <a:gd name="T56" fmla="*/ 148 w 901"/>
                <a:gd name="T57" fmla="*/ 117 h 901"/>
                <a:gd name="T58" fmla="*/ 77 w 901"/>
                <a:gd name="T59" fmla="*/ 199 h 901"/>
                <a:gd name="T60" fmla="*/ 28 w 901"/>
                <a:gd name="T61" fmla="*/ 295 h 901"/>
                <a:gd name="T62" fmla="*/ 3 w 901"/>
                <a:gd name="T63" fmla="*/ 404 h 901"/>
                <a:gd name="T64" fmla="*/ 5 w 901"/>
                <a:gd name="T65" fmla="*/ 519 h 901"/>
                <a:gd name="T66" fmla="*/ 36 w 901"/>
                <a:gd name="T67" fmla="*/ 626 h 901"/>
                <a:gd name="T68" fmla="*/ 90 w 901"/>
                <a:gd name="T69" fmla="*/ 720 h 901"/>
                <a:gd name="T70" fmla="*/ 165 w 901"/>
                <a:gd name="T71" fmla="*/ 798 h 901"/>
                <a:gd name="T72" fmla="*/ 256 w 901"/>
                <a:gd name="T73" fmla="*/ 856 h 901"/>
                <a:gd name="T74" fmla="*/ 361 w 901"/>
                <a:gd name="T75" fmla="*/ 891 h 901"/>
                <a:gd name="T76" fmla="*/ 474 w 901"/>
                <a:gd name="T77" fmla="*/ 900 h 901"/>
                <a:gd name="T78" fmla="*/ 584 w 901"/>
                <a:gd name="T79" fmla="*/ 881 h 901"/>
                <a:gd name="T80" fmla="*/ 685 w 901"/>
                <a:gd name="T81" fmla="*/ 836 h 901"/>
                <a:gd name="T82" fmla="*/ 769 w 901"/>
                <a:gd name="T83" fmla="*/ 768 h 901"/>
                <a:gd name="T84" fmla="*/ 836 w 901"/>
                <a:gd name="T85" fmla="*/ 684 h 901"/>
                <a:gd name="T86" fmla="*/ 881 w 901"/>
                <a:gd name="T87" fmla="*/ 584 h 901"/>
                <a:gd name="T88" fmla="*/ 901 w 901"/>
                <a:gd name="T89" fmla="*/ 474 h 901"/>
                <a:gd name="T90" fmla="*/ 892 w 901"/>
                <a:gd name="T91" fmla="*/ 359 h 901"/>
                <a:gd name="T92" fmla="*/ 857 w 901"/>
                <a:gd name="T93" fmla="*/ 255 h 901"/>
                <a:gd name="T94" fmla="*/ 798 w 901"/>
                <a:gd name="T95" fmla="*/ 164 h 901"/>
                <a:gd name="T96" fmla="*/ 720 w 901"/>
                <a:gd name="T97" fmla="*/ 90 h 901"/>
                <a:gd name="T98" fmla="*/ 626 w 901"/>
                <a:gd name="T99" fmla="*/ 35 h 901"/>
                <a:gd name="T100" fmla="*/ 519 w 901"/>
                <a:gd name="T101" fmla="*/ 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7" y="866"/>
                  </a:lnTo>
                  <a:lnTo>
                    <a:pt x="366" y="862"/>
                  </a:lnTo>
                  <a:lnTo>
                    <a:pt x="346" y="857"/>
                  </a:lnTo>
                  <a:lnTo>
                    <a:pt x="326" y="852"/>
                  </a:lnTo>
                  <a:lnTo>
                    <a:pt x="306" y="845"/>
                  </a:lnTo>
                  <a:lnTo>
                    <a:pt x="288" y="838"/>
                  </a:lnTo>
                  <a:lnTo>
                    <a:pt x="269" y="829"/>
                  </a:lnTo>
                  <a:lnTo>
                    <a:pt x="250" y="820"/>
                  </a:lnTo>
                  <a:lnTo>
                    <a:pt x="233" y="810"/>
                  </a:lnTo>
                  <a:lnTo>
                    <a:pt x="216" y="799"/>
                  </a:lnTo>
                  <a:lnTo>
                    <a:pt x="199" y="787"/>
                  </a:lnTo>
                  <a:lnTo>
                    <a:pt x="184" y="775"/>
                  </a:lnTo>
                  <a:lnTo>
                    <a:pt x="168" y="762"/>
                  </a:lnTo>
                  <a:lnTo>
                    <a:pt x="154" y="748"/>
                  </a:lnTo>
                  <a:lnTo>
                    <a:pt x="140" y="733"/>
                  </a:lnTo>
                  <a:lnTo>
                    <a:pt x="126" y="718"/>
                  </a:lnTo>
                  <a:lnTo>
                    <a:pt x="114" y="702"/>
                  </a:lnTo>
                  <a:lnTo>
                    <a:pt x="103" y="685"/>
                  </a:lnTo>
                  <a:lnTo>
                    <a:pt x="91" y="668"/>
                  </a:lnTo>
                  <a:lnTo>
                    <a:pt x="81" y="651"/>
                  </a:lnTo>
                  <a:lnTo>
                    <a:pt x="72" y="632"/>
                  </a:lnTo>
                  <a:lnTo>
                    <a:pt x="63" y="614"/>
                  </a:lnTo>
                  <a:lnTo>
                    <a:pt x="56" y="595"/>
                  </a:lnTo>
                  <a:lnTo>
                    <a:pt x="49" y="576"/>
                  </a:lnTo>
                  <a:lnTo>
                    <a:pt x="44" y="555"/>
                  </a:lnTo>
                  <a:lnTo>
                    <a:pt x="39" y="535"/>
                  </a:lnTo>
                  <a:lnTo>
                    <a:pt x="35" y="515"/>
                  </a:lnTo>
                  <a:lnTo>
                    <a:pt x="32" y="493"/>
                  </a:lnTo>
                  <a:lnTo>
                    <a:pt x="31" y="472"/>
                  </a:lnTo>
                  <a:lnTo>
                    <a:pt x="30" y="450"/>
                  </a:lnTo>
                  <a:lnTo>
                    <a:pt x="31" y="429"/>
                  </a:lnTo>
                  <a:lnTo>
                    <a:pt x="32" y="408"/>
                  </a:lnTo>
                  <a:lnTo>
                    <a:pt x="35" y="386"/>
                  </a:lnTo>
                  <a:lnTo>
                    <a:pt x="39" y="366"/>
                  </a:lnTo>
                  <a:lnTo>
                    <a:pt x="44" y="346"/>
                  </a:lnTo>
                  <a:lnTo>
                    <a:pt x="49" y="325"/>
                  </a:lnTo>
                  <a:lnTo>
                    <a:pt x="56" y="306"/>
                  </a:lnTo>
                  <a:lnTo>
                    <a:pt x="63" y="287"/>
                  </a:lnTo>
                  <a:lnTo>
                    <a:pt x="72" y="268"/>
                  </a:lnTo>
                  <a:lnTo>
                    <a:pt x="81" y="250"/>
                  </a:lnTo>
                  <a:lnTo>
                    <a:pt x="91" y="232"/>
                  </a:lnTo>
                  <a:lnTo>
                    <a:pt x="103" y="215"/>
                  </a:lnTo>
                  <a:lnTo>
                    <a:pt x="114" y="199"/>
                  </a:lnTo>
                  <a:lnTo>
                    <a:pt x="126" y="183"/>
                  </a:lnTo>
                  <a:lnTo>
                    <a:pt x="140" y="168"/>
                  </a:lnTo>
                  <a:lnTo>
                    <a:pt x="154" y="153"/>
                  </a:lnTo>
                  <a:lnTo>
                    <a:pt x="168" y="139"/>
                  </a:lnTo>
                  <a:lnTo>
                    <a:pt x="184" y="126"/>
                  </a:lnTo>
                  <a:lnTo>
                    <a:pt x="199" y="113"/>
                  </a:lnTo>
                  <a:lnTo>
                    <a:pt x="216" y="102"/>
                  </a:lnTo>
                  <a:lnTo>
                    <a:pt x="233" y="91"/>
                  </a:lnTo>
                  <a:lnTo>
                    <a:pt x="250" y="80"/>
                  </a:lnTo>
                  <a:lnTo>
                    <a:pt x="269" y="72"/>
                  </a:lnTo>
                  <a:lnTo>
                    <a:pt x="288" y="63"/>
                  </a:lnTo>
                  <a:lnTo>
                    <a:pt x="306" y="56"/>
                  </a:lnTo>
                  <a:lnTo>
                    <a:pt x="326" y="49"/>
                  </a:lnTo>
                  <a:lnTo>
                    <a:pt x="346" y="43"/>
                  </a:lnTo>
                  <a:lnTo>
                    <a:pt x="366" y="38"/>
                  </a:lnTo>
                  <a:lnTo>
                    <a:pt x="387" y="34"/>
                  </a:lnTo>
                  <a:lnTo>
                    <a:pt x="408" y="32"/>
                  </a:lnTo>
                  <a:lnTo>
                    <a:pt x="429" y="30"/>
                  </a:lnTo>
                  <a:lnTo>
                    <a:pt x="450" y="30"/>
                  </a:lnTo>
                  <a:lnTo>
                    <a:pt x="473" y="30"/>
                  </a:lnTo>
                  <a:lnTo>
                    <a:pt x="494" y="32"/>
                  </a:lnTo>
                  <a:lnTo>
                    <a:pt x="515" y="34"/>
                  </a:lnTo>
                  <a:lnTo>
                    <a:pt x="535" y="38"/>
                  </a:lnTo>
                  <a:lnTo>
                    <a:pt x="555" y="43"/>
                  </a:lnTo>
                  <a:lnTo>
                    <a:pt x="576" y="49"/>
                  </a:lnTo>
                  <a:lnTo>
                    <a:pt x="595" y="56"/>
                  </a:lnTo>
                  <a:lnTo>
                    <a:pt x="614" y="63"/>
                  </a:lnTo>
                  <a:lnTo>
                    <a:pt x="633" y="72"/>
                  </a:lnTo>
                  <a:lnTo>
                    <a:pt x="652" y="80"/>
                  </a:lnTo>
                  <a:lnTo>
                    <a:pt x="669" y="91"/>
                  </a:lnTo>
                  <a:lnTo>
                    <a:pt x="686" y="102"/>
                  </a:lnTo>
                  <a:lnTo>
                    <a:pt x="702" y="113"/>
                  </a:lnTo>
                  <a:lnTo>
                    <a:pt x="718" y="126"/>
                  </a:lnTo>
                  <a:lnTo>
                    <a:pt x="733" y="139"/>
                  </a:lnTo>
                  <a:lnTo>
                    <a:pt x="748" y="153"/>
                  </a:lnTo>
                  <a:lnTo>
                    <a:pt x="762" y="168"/>
                  </a:lnTo>
                  <a:lnTo>
                    <a:pt x="776" y="183"/>
                  </a:lnTo>
                  <a:lnTo>
                    <a:pt x="788" y="199"/>
                  </a:lnTo>
                  <a:lnTo>
                    <a:pt x="799" y="215"/>
                  </a:lnTo>
                  <a:lnTo>
                    <a:pt x="810" y="232"/>
                  </a:lnTo>
                  <a:lnTo>
                    <a:pt x="821" y="250"/>
                  </a:lnTo>
                  <a:lnTo>
                    <a:pt x="830" y="268"/>
                  </a:lnTo>
                  <a:lnTo>
                    <a:pt x="838" y="287"/>
                  </a:lnTo>
                  <a:lnTo>
                    <a:pt x="845" y="306"/>
                  </a:lnTo>
                  <a:lnTo>
                    <a:pt x="853" y="325"/>
                  </a:lnTo>
                  <a:lnTo>
                    <a:pt x="858" y="346"/>
                  </a:lnTo>
                  <a:lnTo>
                    <a:pt x="862" y="366"/>
                  </a:lnTo>
                  <a:lnTo>
                    <a:pt x="867" y="386"/>
                  </a:lnTo>
                  <a:lnTo>
                    <a:pt x="869" y="408"/>
                  </a:lnTo>
                  <a:lnTo>
                    <a:pt x="871" y="429"/>
                  </a:lnTo>
                  <a:lnTo>
                    <a:pt x="871" y="450"/>
                  </a:lnTo>
                  <a:lnTo>
                    <a:pt x="871" y="472"/>
                  </a:lnTo>
                  <a:lnTo>
                    <a:pt x="869" y="493"/>
                  </a:lnTo>
                  <a:lnTo>
                    <a:pt x="867" y="515"/>
                  </a:lnTo>
                  <a:lnTo>
                    <a:pt x="862" y="535"/>
                  </a:lnTo>
                  <a:lnTo>
                    <a:pt x="858" y="555"/>
                  </a:lnTo>
                  <a:lnTo>
                    <a:pt x="853" y="576"/>
                  </a:lnTo>
                  <a:lnTo>
                    <a:pt x="845" y="595"/>
                  </a:lnTo>
                  <a:lnTo>
                    <a:pt x="838" y="614"/>
                  </a:lnTo>
                  <a:lnTo>
                    <a:pt x="830" y="632"/>
                  </a:lnTo>
                  <a:lnTo>
                    <a:pt x="821" y="651"/>
                  </a:lnTo>
                  <a:lnTo>
                    <a:pt x="810" y="668"/>
                  </a:lnTo>
                  <a:lnTo>
                    <a:pt x="799" y="685"/>
                  </a:lnTo>
                  <a:lnTo>
                    <a:pt x="788" y="702"/>
                  </a:lnTo>
                  <a:lnTo>
                    <a:pt x="776" y="718"/>
                  </a:lnTo>
                  <a:lnTo>
                    <a:pt x="762" y="733"/>
                  </a:lnTo>
                  <a:lnTo>
                    <a:pt x="748" y="748"/>
                  </a:lnTo>
                  <a:lnTo>
                    <a:pt x="733" y="762"/>
                  </a:lnTo>
                  <a:lnTo>
                    <a:pt x="718" y="775"/>
                  </a:lnTo>
                  <a:lnTo>
                    <a:pt x="702" y="787"/>
                  </a:lnTo>
                  <a:lnTo>
                    <a:pt x="686" y="799"/>
                  </a:lnTo>
                  <a:lnTo>
                    <a:pt x="669" y="810"/>
                  </a:lnTo>
                  <a:lnTo>
                    <a:pt x="652" y="820"/>
                  </a:lnTo>
                  <a:lnTo>
                    <a:pt x="633" y="829"/>
                  </a:lnTo>
                  <a:lnTo>
                    <a:pt x="614" y="838"/>
                  </a:lnTo>
                  <a:lnTo>
                    <a:pt x="595" y="845"/>
                  </a:lnTo>
                  <a:lnTo>
                    <a:pt x="576" y="852"/>
                  </a:lnTo>
                  <a:lnTo>
                    <a:pt x="555" y="857"/>
                  </a:lnTo>
                  <a:lnTo>
                    <a:pt x="536" y="862"/>
                  </a:lnTo>
                  <a:lnTo>
                    <a:pt x="515" y="866"/>
                  </a:lnTo>
                  <a:lnTo>
                    <a:pt x="494" y="869"/>
                  </a:lnTo>
                  <a:lnTo>
                    <a:pt x="473" y="870"/>
                  </a:lnTo>
                  <a:lnTo>
                    <a:pt x="450" y="871"/>
                  </a:lnTo>
                  <a:close/>
                  <a:moveTo>
                    <a:pt x="450" y="0"/>
                  </a:moveTo>
                  <a:lnTo>
                    <a:pt x="428" y="0"/>
                  </a:lnTo>
                  <a:lnTo>
                    <a:pt x="404" y="2"/>
                  </a:lnTo>
                  <a:lnTo>
                    <a:pt x="382" y="5"/>
                  </a:lnTo>
                  <a:lnTo>
                    <a:pt x="361" y="8"/>
                  </a:lnTo>
                  <a:lnTo>
                    <a:pt x="338" y="14"/>
                  </a:lnTo>
                  <a:lnTo>
                    <a:pt x="317" y="20"/>
                  </a:lnTo>
                  <a:lnTo>
                    <a:pt x="296" y="27"/>
                  </a:lnTo>
                  <a:lnTo>
                    <a:pt x="276" y="35"/>
                  </a:lnTo>
                  <a:lnTo>
                    <a:pt x="256" y="44"/>
                  </a:lnTo>
                  <a:lnTo>
                    <a:pt x="236" y="54"/>
                  </a:lnTo>
                  <a:lnTo>
                    <a:pt x="217" y="65"/>
                  </a:lnTo>
                  <a:lnTo>
                    <a:pt x="199" y="77"/>
                  </a:lnTo>
                  <a:lnTo>
                    <a:pt x="182" y="90"/>
                  </a:lnTo>
                  <a:lnTo>
                    <a:pt x="165" y="103"/>
                  </a:lnTo>
                  <a:lnTo>
                    <a:pt x="148" y="117"/>
                  </a:lnTo>
                  <a:lnTo>
                    <a:pt x="133" y="132"/>
                  </a:lnTo>
                  <a:lnTo>
                    <a:pt x="118" y="148"/>
                  </a:lnTo>
                  <a:lnTo>
                    <a:pt x="104" y="164"/>
                  </a:lnTo>
                  <a:lnTo>
                    <a:pt x="90" y="181"/>
                  </a:lnTo>
                  <a:lnTo>
                    <a:pt x="77" y="199"/>
                  </a:lnTo>
                  <a:lnTo>
                    <a:pt x="65" y="217"/>
                  </a:lnTo>
                  <a:lnTo>
                    <a:pt x="55" y="235"/>
                  </a:lnTo>
                  <a:lnTo>
                    <a:pt x="45" y="255"/>
                  </a:lnTo>
                  <a:lnTo>
                    <a:pt x="36" y="275"/>
                  </a:lnTo>
                  <a:lnTo>
                    <a:pt x="28" y="295"/>
                  </a:lnTo>
                  <a:lnTo>
                    <a:pt x="20" y="317"/>
                  </a:lnTo>
                  <a:lnTo>
                    <a:pt x="15" y="338"/>
                  </a:lnTo>
                  <a:lnTo>
                    <a:pt x="10" y="359"/>
                  </a:lnTo>
                  <a:lnTo>
                    <a:pt x="5" y="382"/>
                  </a:lnTo>
                  <a:lnTo>
                    <a:pt x="3" y="404"/>
                  </a:lnTo>
                  <a:lnTo>
                    <a:pt x="1" y="427"/>
                  </a:lnTo>
                  <a:lnTo>
                    <a:pt x="0" y="450"/>
                  </a:lnTo>
                  <a:lnTo>
                    <a:pt x="1" y="474"/>
                  </a:lnTo>
                  <a:lnTo>
                    <a:pt x="3" y="496"/>
                  </a:lnTo>
                  <a:lnTo>
                    <a:pt x="5" y="519"/>
                  </a:lnTo>
                  <a:lnTo>
                    <a:pt x="10" y="541"/>
                  </a:lnTo>
                  <a:lnTo>
                    <a:pt x="15" y="563"/>
                  </a:lnTo>
                  <a:lnTo>
                    <a:pt x="20" y="584"/>
                  </a:lnTo>
                  <a:lnTo>
                    <a:pt x="28" y="605"/>
                  </a:lnTo>
                  <a:lnTo>
                    <a:pt x="36" y="626"/>
                  </a:lnTo>
                  <a:lnTo>
                    <a:pt x="45" y="645"/>
                  </a:lnTo>
                  <a:lnTo>
                    <a:pt x="55" y="664"/>
                  </a:lnTo>
                  <a:lnTo>
                    <a:pt x="65" y="684"/>
                  </a:lnTo>
                  <a:lnTo>
                    <a:pt x="77" y="702"/>
                  </a:lnTo>
                  <a:lnTo>
                    <a:pt x="90" y="720"/>
                  </a:lnTo>
                  <a:lnTo>
                    <a:pt x="104" y="737"/>
                  </a:lnTo>
                  <a:lnTo>
                    <a:pt x="118" y="753"/>
                  </a:lnTo>
                  <a:lnTo>
                    <a:pt x="133" y="768"/>
                  </a:lnTo>
                  <a:lnTo>
                    <a:pt x="148" y="783"/>
                  </a:lnTo>
                  <a:lnTo>
                    <a:pt x="165" y="798"/>
                  </a:lnTo>
                  <a:lnTo>
                    <a:pt x="182" y="811"/>
                  </a:lnTo>
                  <a:lnTo>
                    <a:pt x="199" y="824"/>
                  </a:lnTo>
                  <a:lnTo>
                    <a:pt x="217" y="836"/>
                  </a:lnTo>
                  <a:lnTo>
                    <a:pt x="236" y="846"/>
                  </a:lnTo>
                  <a:lnTo>
                    <a:pt x="256" y="856"/>
                  </a:lnTo>
                  <a:lnTo>
                    <a:pt x="276" y="866"/>
                  </a:lnTo>
                  <a:lnTo>
                    <a:pt x="296" y="873"/>
                  </a:lnTo>
                  <a:lnTo>
                    <a:pt x="317" y="881"/>
                  </a:lnTo>
                  <a:lnTo>
                    <a:pt x="338" y="887"/>
                  </a:lnTo>
                  <a:lnTo>
                    <a:pt x="361" y="891"/>
                  </a:lnTo>
                  <a:lnTo>
                    <a:pt x="382" y="896"/>
                  </a:lnTo>
                  <a:lnTo>
                    <a:pt x="404" y="899"/>
                  </a:lnTo>
                  <a:lnTo>
                    <a:pt x="428" y="900"/>
                  </a:lnTo>
                  <a:lnTo>
                    <a:pt x="450" y="901"/>
                  </a:lnTo>
                  <a:lnTo>
                    <a:pt x="474" y="900"/>
                  </a:lnTo>
                  <a:lnTo>
                    <a:pt x="496" y="899"/>
                  </a:lnTo>
                  <a:lnTo>
                    <a:pt x="519" y="896"/>
                  </a:lnTo>
                  <a:lnTo>
                    <a:pt x="541" y="891"/>
                  </a:lnTo>
                  <a:lnTo>
                    <a:pt x="563" y="887"/>
                  </a:lnTo>
                  <a:lnTo>
                    <a:pt x="584" y="881"/>
                  </a:lnTo>
                  <a:lnTo>
                    <a:pt x="606" y="873"/>
                  </a:lnTo>
                  <a:lnTo>
                    <a:pt x="626" y="866"/>
                  </a:lnTo>
                  <a:lnTo>
                    <a:pt x="646" y="856"/>
                  </a:lnTo>
                  <a:lnTo>
                    <a:pt x="666" y="846"/>
                  </a:lnTo>
                  <a:lnTo>
                    <a:pt x="685" y="836"/>
                  </a:lnTo>
                  <a:lnTo>
                    <a:pt x="703" y="824"/>
                  </a:lnTo>
                  <a:lnTo>
                    <a:pt x="720" y="811"/>
                  </a:lnTo>
                  <a:lnTo>
                    <a:pt x="737" y="798"/>
                  </a:lnTo>
                  <a:lnTo>
                    <a:pt x="753" y="783"/>
                  </a:lnTo>
                  <a:lnTo>
                    <a:pt x="769" y="768"/>
                  </a:lnTo>
                  <a:lnTo>
                    <a:pt x="784" y="753"/>
                  </a:lnTo>
                  <a:lnTo>
                    <a:pt x="798" y="736"/>
                  </a:lnTo>
                  <a:lnTo>
                    <a:pt x="812" y="720"/>
                  </a:lnTo>
                  <a:lnTo>
                    <a:pt x="824" y="702"/>
                  </a:lnTo>
                  <a:lnTo>
                    <a:pt x="836" y="684"/>
                  </a:lnTo>
                  <a:lnTo>
                    <a:pt x="847" y="664"/>
                  </a:lnTo>
                  <a:lnTo>
                    <a:pt x="857" y="645"/>
                  </a:lnTo>
                  <a:lnTo>
                    <a:pt x="866" y="626"/>
                  </a:lnTo>
                  <a:lnTo>
                    <a:pt x="874" y="605"/>
                  </a:lnTo>
                  <a:lnTo>
                    <a:pt x="881" y="584"/>
                  </a:lnTo>
                  <a:lnTo>
                    <a:pt x="887" y="563"/>
                  </a:lnTo>
                  <a:lnTo>
                    <a:pt x="892" y="541"/>
                  </a:lnTo>
                  <a:lnTo>
                    <a:pt x="897" y="519"/>
                  </a:lnTo>
                  <a:lnTo>
                    <a:pt x="899" y="496"/>
                  </a:lnTo>
                  <a:lnTo>
                    <a:pt x="901" y="474"/>
                  </a:lnTo>
                  <a:lnTo>
                    <a:pt x="901" y="450"/>
                  </a:lnTo>
                  <a:lnTo>
                    <a:pt x="901" y="427"/>
                  </a:lnTo>
                  <a:lnTo>
                    <a:pt x="899" y="404"/>
                  </a:lnTo>
                  <a:lnTo>
                    <a:pt x="897" y="382"/>
                  </a:lnTo>
                  <a:lnTo>
                    <a:pt x="892" y="359"/>
                  </a:lnTo>
                  <a:lnTo>
                    <a:pt x="887" y="338"/>
                  </a:lnTo>
                  <a:lnTo>
                    <a:pt x="881" y="317"/>
                  </a:lnTo>
                  <a:lnTo>
                    <a:pt x="874" y="295"/>
                  </a:lnTo>
                  <a:lnTo>
                    <a:pt x="866" y="275"/>
                  </a:lnTo>
                  <a:lnTo>
                    <a:pt x="857" y="255"/>
                  </a:lnTo>
                  <a:lnTo>
                    <a:pt x="847" y="235"/>
                  </a:lnTo>
                  <a:lnTo>
                    <a:pt x="836" y="217"/>
                  </a:lnTo>
                  <a:lnTo>
                    <a:pt x="824" y="199"/>
                  </a:lnTo>
                  <a:lnTo>
                    <a:pt x="812" y="181"/>
                  </a:lnTo>
                  <a:lnTo>
                    <a:pt x="798" y="164"/>
                  </a:lnTo>
                  <a:lnTo>
                    <a:pt x="784" y="148"/>
                  </a:lnTo>
                  <a:lnTo>
                    <a:pt x="769" y="132"/>
                  </a:lnTo>
                  <a:lnTo>
                    <a:pt x="753" y="117"/>
                  </a:lnTo>
                  <a:lnTo>
                    <a:pt x="737" y="103"/>
                  </a:lnTo>
                  <a:lnTo>
                    <a:pt x="720" y="90"/>
                  </a:lnTo>
                  <a:lnTo>
                    <a:pt x="703" y="77"/>
                  </a:lnTo>
                  <a:lnTo>
                    <a:pt x="685" y="65"/>
                  </a:lnTo>
                  <a:lnTo>
                    <a:pt x="666" y="54"/>
                  </a:lnTo>
                  <a:lnTo>
                    <a:pt x="646" y="44"/>
                  </a:lnTo>
                  <a:lnTo>
                    <a:pt x="626" y="35"/>
                  </a:lnTo>
                  <a:lnTo>
                    <a:pt x="606" y="27"/>
                  </a:lnTo>
                  <a:lnTo>
                    <a:pt x="584" y="20"/>
                  </a:lnTo>
                  <a:lnTo>
                    <a:pt x="563" y="14"/>
                  </a:lnTo>
                  <a:lnTo>
                    <a:pt x="541" y="8"/>
                  </a:lnTo>
                  <a:lnTo>
                    <a:pt x="519" y="5"/>
                  </a:lnTo>
                  <a:lnTo>
                    <a:pt x="496" y="2"/>
                  </a:lnTo>
                  <a:lnTo>
                    <a:pt x="474" y="0"/>
                  </a:lnTo>
                  <a:lnTo>
                    <a:pt x="450"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26">
              <a:extLst>
                <a:ext uri="{FF2B5EF4-FFF2-40B4-BE49-F238E27FC236}">
                  <a16:creationId xmlns:a16="http://schemas.microsoft.com/office/drawing/2014/main" id="{5DA992C8-B1FA-4F39-8B5C-831C71A5702E}"/>
                </a:ext>
              </a:extLst>
            </p:cNvPr>
            <p:cNvSpPr>
              <a:spLocks/>
            </p:cNvSpPr>
            <p:nvPr/>
          </p:nvSpPr>
          <p:spPr bwMode="auto">
            <a:xfrm>
              <a:off x="5511800" y="3794126"/>
              <a:ext cx="190500" cy="103188"/>
            </a:xfrm>
            <a:custGeom>
              <a:avLst/>
              <a:gdLst>
                <a:gd name="T0" fmla="*/ 580 w 600"/>
                <a:gd name="T1" fmla="*/ 1 h 322"/>
                <a:gd name="T2" fmla="*/ 572 w 600"/>
                <a:gd name="T3" fmla="*/ 7 h 322"/>
                <a:gd name="T4" fmla="*/ 570 w 600"/>
                <a:gd name="T5" fmla="*/ 15 h 322"/>
                <a:gd name="T6" fmla="*/ 567 w 600"/>
                <a:gd name="T7" fmla="*/ 57 h 322"/>
                <a:gd name="T8" fmla="*/ 557 w 600"/>
                <a:gd name="T9" fmla="*/ 97 h 322"/>
                <a:gd name="T10" fmla="*/ 543 w 600"/>
                <a:gd name="T11" fmla="*/ 134 h 322"/>
                <a:gd name="T12" fmla="*/ 523 w 600"/>
                <a:gd name="T13" fmla="*/ 168 h 322"/>
                <a:gd name="T14" fmla="*/ 500 w 600"/>
                <a:gd name="T15" fmla="*/ 200 h 322"/>
                <a:gd name="T16" fmla="*/ 471 w 600"/>
                <a:gd name="T17" fmla="*/ 228 h 322"/>
                <a:gd name="T18" fmla="*/ 439 w 600"/>
                <a:gd name="T19" fmla="*/ 252 h 322"/>
                <a:gd name="T20" fmla="*/ 404 w 600"/>
                <a:gd name="T21" fmla="*/ 270 h 322"/>
                <a:gd name="T22" fmla="*/ 367 w 600"/>
                <a:gd name="T23" fmla="*/ 283 h 322"/>
                <a:gd name="T24" fmla="*/ 327 w 600"/>
                <a:gd name="T25" fmla="*/ 290 h 322"/>
                <a:gd name="T26" fmla="*/ 287 w 600"/>
                <a:gd name="T27" fmla="*/ 291 h 322"/>
                <a:gd name="T28" fmla="*/ 246 w 600"/>
                <a:gd name="T29" fmla="*/ 286 h 322"/>
                <a:gd name="T30" fmla="*/ 209 w 600"/>
                <a:gd name="T31" fmla="*/ 275 h 322"/>
                <a:gd name="T32" fmla="*/ 172 w 600"/>
                <a:gd name="T33" fmla="*/ 258 h 322"/>
                <a:gd name="T34" fmla="*/ 139 w 600"/>
                <a:gd name="T35" fmla="*/ 236 h 322"/>
                <a:gd name="T36" fmla="*/ 110 w 600"/>
                <a:gd name="T37" fmla="*/ 210 h 322"/>
                <a:gd name="T38" fmla="*/ 84 w 600"/>
                <a:gd name="T39" fmla="*/ 180 h 322"/>
                <a:gd name="T40" fmla="*/ 63 w 600"/>
                <a:gd name="T41" fmla="*/ 146 h 322"/>
                <a:gd name="T42" fmla="*/ 46 w 600"/>
                <a:gd name="T43" fmla="*/ 110 h 322"/>
                <a:gd name="T44" fmla="*/ 35 w 600"/>
                <a:gd name="T45" fmla="*/ 70 h 322"/>
                <a:gd name="T46" fmla="*/ 30 w 600"/>
                <a:gd name="T47" fmla="*/ 29 h 322"/>
                <a:gd name="T48" fmla="*/ 29 w 600"/>
                <a:gd name="T49" fmla="*/ 9 h 322"/>
                <a:gd name="T50" fmla="*/ 23 w 600"/>
                <a:gd name="T51" fmla="*/ 3 h 322"/>
                <a:gd name="T52" fmla="*/ 15 w 600"/>
                <a:gd name="T53" fmla="*/ 0 h 322"/>
                <a:gd name="T54" fmla="*/ 6 w 600"/>
                <a:gd name="T55" fmla="*/ 3 h 322"/>
                <a:gd name="T56" fmla="*/ 1 w 600"/>
                <a:gd name="T57" fmla="*/ 9 h 322"/>
                <a:gd name="T58" fmla="*/ 0 w 600"/>
                <a:gd name="T59" fmla="*/ 30 h 322"/>
                <a:gd name="T60" fmla="*/ 6 w 600"/>
                <a:gd name="T61" fmla="*/ 76 h 322"/>
                <a:gd name="T62" fmla="*/ 18 w 600"/>
                <a:gd name="T63" fmla="*/ 119 h 322"/>
                <a:gd name="T64" fmla="*/ 36 w 600"/>
                <a:gd name="T65" fmla="*/ 160 h 322"/>
                <a:gd name="T66" fmla="*/ 60 w 600"/>
                <a:gd name="T67" fmla="*/ 197 h 322"/>
                <a:gd name="T68" fmla="*/ 89 w 600"/>
                <a:gd name="T69" fmla="*/ 232 h 322"/>
                <a:gd name="T70" fmla="*/ 122 w 600"/>
                <a:gd name="T71" fmla="*/ 260 h 322"/>
                <a:gd name="T72" fmla="*/ 158 w 600"/>
                <a:gd name="T73" fmla="*/ 284 h 322"/>
                <a:gd name="T74" fmla="*/ 198 w 600"/>
                <a:gd name="T75" fmla="*/ 303 h 322"/>
                <a:gd name="T76" fmla="*/ 241 w 600"/>
                <a:gd name="T77" fmla="*/ 316 h 322"/>
                <a:gd name="T78" fmla="*/ 284 w 600"/>
                <a:gd name="T79" fmla="*/ 321 h 322"/>
                <a:gd name="T80" fmla="*/ 330 w 600"/>
                <a:gd name="T81" fmla="*/ 320 h 322"/>
                <a:gd name="T82" fmla="*/ 374 w 600"/>
                <a:gd name="T83" fmla="*/ 312 h 322"/>
                <a:gd name="T84" fmla="*/ 415 w 600"/>
                <a:gd name="T85" fmla="*/ 298 h 322"/>
                <a:gd name="T86" fmla="*/ 455 w 600"/>
                <a:gd name="T87" fmla="*/ 276 h 322"/>
                <a:gd name="T88" fmla="*/ 490 w 600"/>
                <a:gd name="T89" fmla="*/ 251 h 322"/>
                <a:gd name="T90" fmla="*/ 521 w 600"/>
                <a:gd name="T91" fmla="*/ 221 h 322"/>
                <a:gd name="T92" fmla="*/ 548 w 600"/>
                <a:gd name="T93" fmla="*/ 186 h 322"/>
                <a:gd name="T94" fmla="*/ 570 w 600"/>
                <a:gd name="T95" fmla="*/ 147 h 322"/>
                <a:gd name="T96" fmla="*/ 586 w 600"/>
                <a:gd name="T97" fmla="*/ 105 h 322"/>
                <a:gd name="T98" fmla="*/ 597 w 600"/>
                <a:gd name="T99" fmla="*/ 61 h 322"/>
                <a:gd name="T100" fmla="*/ 600 w 600"/>
                <a:gd name="T101" fmla="*/ 15 h 322"/>
                <a:gd name="T102" fmla="*/ 598 w 600"/>
                <a:gd name="T103" fmla="*/ 7 h 322"/>
                <a:gd name="T104" fmla="*/ 592 w 600"/>
                <a:gd name="T105" fmla="*/ 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0" h="322">
                  <a:moveTo>
                    <a:pt x="585" y="0"/>
                  </a:moveTo>
                  <a:lnTo>
                    <a:pt x="582" y="0"/>
                  </a:lnTo>
                  <a:lnTo>
                    <a:pt x="580" y="1"/>
                  </a:lnTo>
                  <a:lnTo>
                    <a:pt x="577" y="3"/>
                  </a:lnTo>
                  <a:lnTo>
                    <a:pt x="574" y="5"/>
                  </a:lnTo>
                  <a:lnTo>
                    <a:pt x="572" y="7"/>
                  </a:lnTo>
                  <a:lnTo>
                    <a:pt x="571" y="9"/>
                  </a:lnTo>
                  <a:lnTo>
                    <a:pt x="570" y="12"/>
                  </a:lnTo>
                  <a:lnTo>
                    <a:pt x="570" y="15"/>
                  </a:lnTo>
                  <a:lnTo>
                    <a:pt x="570" y="29"/>
                  </a:lnTo>
                  <a:lnTo>
                    <a:pt x="569" y="43"/>
                  </a:lnTo>
                  <a:lnTo>
                    <a:pt x="567" y="57"/>
                  </a:lnTo>
                  <a:lnTo>
                    <a:pt x="565" y="70"/>
                  </a:lnTo>
                  <a:lnTo>
                    <a:pt x="562" y="84"/>
                  </a:lnTo>
                  <a:lnTo>
                    <a:pt x="557" y="97"/>
                  </a:lnTo>
                  <a:lnTo>
                    <a:pt x="553" y="110"/>
                  </a:lnTo>
                  <a:lnTo>
                    <a:pt x="549" y="121"/>
                  </a:lnTo>
                  <a:lnTo>
                    <a:pt x="543" y="134"/>
                  </a:lnTo>
                  <a:lnTo>
                    <a:pt x="537" y="146"/>
                  </a:lnTo>
                  <a:lnTo>
                    <a:pt x="531" y="158"/>
                  </a:lnTo>
                  <a:lnTo>
                    <a:pt x="523" y="168"/>
                  </a:lnTo>
                  <a:lnTo>
                    <a:pt x="516" y="180"/>
                  </a:lnTo>
                  <a:lnTo>
                    <a:pt x="508" y="190"/>
                  </a:lnTo>
                  <a:lnTo>
                    <a:pt x="500" y="200"/>
                  </a:lnTo>
                  <a:lnTo>
                    <a:pt x="490" y="210"/>
                  </a:lnTo>
                  <a:lnTo>
                    <a:pt x="480" y="219"/>
                  </a:lnTo>
                  <a:lnTo>
                    <a:pt x="471" y="228"/>
                  </a:lnTo>
                  <a:lnTo>
                    <a:pt x="460" y="236"/>
                  </a:lnTo>
                  <a:lnTo>
                    <a:pt x="450" y="244"/>
                  </a:lnTo>
                  <a:lnTo>
                    <a:pt x="439" y="252"/>
                  </a:lnTo>
                  <a:lnTo>
                    <a:pt x="428" y="258"/>
                  </a:lnTo>
                  <a:lnTo>
                    <a:pt x="416" y="265"/>
                  </a:lnTo>
                  <a:lnTo>
                    <a:pt x="404" y="270"/>
                  </a:lnTo>
                  <a:lnTo>
                    <a:pt x="391" y="275"/>
                  </a:lnTo>
                  <a:lnTo>
                    <a:pt x="380" y="280"/>
                  </a:lnTo>
                  <a:lnTo>
                    <a:pt x="367" y="283"/>
                  </a:lnTo>
                  <a:lnTo>
                    <a:pt x="354" y="286"/>
                  </a:lnTo>
                  <a:lnTo>
                    <a:pt x="340" y="289"/>
                  </a:lnTo>
                  <a:lnTo>
                    <a:pt x="327" y="290"/>
                  </a:lnTo>
                  <a:lnTo>
                    <a:pt x="313" y="291"/>
                  </a:lnTo>
                  <a:lnTo>
                    <a:pt x="299" y="293"/>
                  </a:lnTo>
                  <a:lnTo>
                    <a:pt x="287" y="291"/>
                  </a:lnTo>
                  <a:lnTo>
                    <a:pt x="273" y="290"/>
                  </a:lnTo>
                  <a:lnTo>
                    <a:pt x="260" y="289"/>
                  </a:lnTo>
                  <a:lnTo>
                    <a:pt x="246" y="286"/>
                  </a:lnTo>
                  <a:lnTo>
                    <a:pt x="233" y="283"/>
                  </a:lnTo>
                  <a:lnTo>
                    <a:pt x="220" y="280"/>
                  </a:lnTo>
                  <a:lnTo>
                    <a:pt x="209" y="275"/>
                  </a:lnTo>
                  <a:lnTo>
                    <a:pt x="196" y="270"/>
                  </a:lnTo>
                  <a:lnTo>
                    <a:pt x="184" y="265"/>
                  </a:lnTo>
                  <a:lnTo>
                    <a:pt x="172" y="258"/>
                  </a:lnTo>
                  <a:lnTo>
                    <a:pt x="161" y="252"/>
                  </a:lnTo>
                  <a:lnTo>
                    <a:pt x="150" y="244"/>
                  </a:lnTo>
                  <a:lnTo>
                    <a:pt x="139" y="236"/>
                  </a:lnTo>
                  <a:lnTo>
                    <a:pt x="129" y="228"/>
                  </a:lnTo>
                  <a:lnTo>
                    <a:pt x="120" y="219"/>
                  </a:lnTo>
                  <a:lnTo>
                    <a:pt x="110" y="210"/>
                  </a:lnTo>
                  <a:lnTo>
                    <a:pt x="100" y="200"/>
                  </a:lnTo>
                  <a:lnTo>
                    <a:pt x="92" y="190"/>
                  </a:lnTo>
                  <a:lnTo>
                    <a:pt x="84" y="180"/>
                  </a:lnTo>
                  <a:lnTo>
                    <a:pt x="77" y="168"/>
                  </a:lnTo>
                  <a:lnTo>
                    <a:pt x="69" y="158"/>
                  </a:lnTo>
                  <a:lnTo>
                    <a:pt x="63" y="146"/>
                  </a:lnTo>
                  <a:lnTo>
                    <a:pt x="57" y="134"/>
                  </a:lnTo>
                  <a:lnTo>
                    <a:pt x="51" y="121"/>
                  </a:lnTo>
                  <a:lnTo>
                    <a:pt x="46" y="110"/>
                  </a:lnTo>
                  <a:lnTo>
                    <a:pt x="42" y="97"/>
                  </a:lnTo>
                  <a:lnTo>
                    <a:pt x="38" y="84"/>
                  </a:lnTo>
                  <a:lnTo>
                    <a:pt x="35" y="70"/>
                  </a:lnTo>
                  <a:lnTo>
                    <a:pt x="33" y="57"/>
                  </a:lnTo>
                  <a:lnTo>
                    <a:pt x="31" y="43"/>
                  </a:lnTo>
                  <a:lnTo>
                    <a:pt x="30" y="29"/>
                  </a:lnTo>
                  <a:lnTo>
                    <a:pt x="30" y="15"/>
                  </a:lnTo>
                  <a:lnTo>
                    <a:pt x="29" y="12"/>
                  </a:lnTo>
                  <a:lnTo>
                    <a:pt x="29" y="9"/>
                  </a:lnTo>
                  <a:lnTo>
                    <a:pt x="27" y="7"/>
                  </a:lnTo>
                  <a:lnTo>
                    <a:pt x="26" y="5"/>
                  </a:lnTo>
                  <a:lnTo>
                    <a:pt x="23" y="3"/>
                  </a:lnTo>
                  <a:lnTo>
                    <a:pt x="20" y="1"/>
                  </a:lnTo>
                  <a:lnTo>
                    <a:pt x="18" y="0"/>
                  </a:lnTo>
                  <a:lnTo>
                    <a:pt x="15" y="0"/>
                  </a:lnTo>
                  <a:lnTo>
                    <a:pt x="12" y="0"/>
                  </a:lnTo>
                  <a:lnTo>
                    <a:pt x="8" y="1"/>
                  </a:lnTo>
                  <a:lnTo>
                    <a:pt x="6" y="3"/>
                  </a:lnTo>
                  <a:lnTo>
                    <a:pt x="4" y="5"/>
                  </a:lnTo>
                  <a:lnTo>
                    <a:pt x="2" y="7"/>
                  </a:lnTo>
                  <a:lnTo>
                    <a:pt x="1" y="9"/>
                  </a:lnTo>
                  <a:lnTo>
                    <a:pt x="0" y="12"/>
                  </a:lnTo>
                  <a:lnTo>
                    <a:pt x="0" y="15"/>
                  </a:lnTo>
                  <a:lnTo>
                    <a:pt x="0" y="30"/>
                  </a:lnTo>
                  <a:lnTo>
                    <a:pt x="1" y="46"/>
                  </a:lnTo>
                  <a:lnTo>
                    <a:pt x="3" y="61"/>
                  </a:lnTo>
                  <a:lnTo>
                    <a:pt x="6" y="76"/>
                  </a:lnTo>
                  <a:lnTo>
                    <a:pt x="9" y="91"/>
                  </a:lnTo>
                  <a:lnTo>
                    <a:pt x="14" y="105"/>
                  </a:lnTo>
                  <a:lnTo>
                    <a:pt x="18" y="119"/>
                  </a:lnTo>
                  <a:lnTo>
                    <a:pt x="23" y="133"/>
                  </a:lnTo>
                  <a:lnTo>
                    <a:pt x="30" y="147"/>
                  </a:lnTo>
                  <a:lnTo>
                    <a:pt x="36" y="160"/>
                  </a:lnTo>
                  <a:lnTo>
                    <a:pt x="44" y="173"/>
                  </a:lnTo>
                  <a:lnTo>
                    <a:pt x="51" y="186"/>
                  </a:lnTo>
                  <a:lnTo>
                    <a:pt x="60" y="197"/>
                  </a:lnTo>
                  <a:lnTo>
                    <a:pt x="69" y="209"/>
                  </a:lnTo>
                  <a:lnTo>
                    <a:pt x="79" y="221"/>
                  </a:lnTo>
                  <a:lnTo>
                    <a:pt x="89" y="232"/>
                  </a:lnTo>
                  <a:lnTo>
                    <a:pt x="99" y="241"/>
                  </a:lnTo>
                  <a:lnTo>
                    <a:pt x="110" y="251"/>
                  </a:lnTo>
                  <a:lnTo>
                    <a:pt x="122" y="260"/>
                  </a:lnTo>
                  <a:lnTo>
                    <a:pt x="134" y="269"/>
                  </a:lnTo>
                  <a:lnTo>
                    <a:pt x="145" y="276"/>
                  </a:lnTo>
                  <a:lnTo>
                    <a:pt x="158" y="284"/>
                  </a:lnTo>
                  <a:lnTo>
                    <a:pt x="171" y="291"/>
                  </a:lnTo>
                  <a:lnTo>
                    <a:pt x="184" y="298"/>
                  </a:lnTo>
                  <a:lnTo>
                    <a:pt x="198" y="303"/>
                  </a:lnTo>
                  <a:lnTo>
                    <a:pt x="212" y="309"/>
                  </a:lnTo>
                  <a:lnTo>
                    <a:pt x="226" y="312"/>
                  </a:lnTo>
                  <a:lnTo>
                    <a:pt x="241" y="316"/>
                  </a:lnTo>
                  <a:lnTo>
                    <a:pt x="255" y="318"/>
                  </a:lnTo>
                  <a:lnTo>
                    <a:pt x="270" y="320"/>
                  </a:lnTo>
                  <a:lnTo>
                    <a:pt x="284" y="321"/>
                  </a:lnTo>
                  <a:lnTo>
                    <a:pt x="299" y="322"/>
                  </a:lnTo>
                  <a:lnTo>
                    <a:pt x="316" y="321"/>
                  </a:lnTo>
                  <a:lnTo>
                    <a:pt x="330" y="320"/>
                  </a:lnTo>
                  <a:lnTo>
                    <a:pt x="344" y="318"/>
                  </a:lnTo>
                  <a:lnTo>
                    <a:pt x="359" y="316"/>
                  </a:lnTo>
                  <a:lnTo>
                    <a:pt x="374" y="312"/>
                  </a:lnTo>
                  <a:lnTo>
                    <a:pt x="388" y="308"/>
                  </a:lnTo>
                  <a:lnTo>
                    <a:pt x="402" y="303"/>
                  </a:lnTo>
                  <a:lnTo>
                    <a:pt x="415" y="298"/>
                  </a:lnTo>
                  <a:lnTo>
                    <a:pt x="429" y="291"/>
                  </a:lnTo>
                  <a:lnTo>
                    <a:pt x="442" y="284"/>
                  </a:lnTo>
                  <a:lnTo>
                    <a:pt x="455" y="276"/>
                  </a:lnTo>
                  <a:lnTo>
                    <a:pt x="466" y="269"/>
                  </a:lnTo>
                  <a:lnTo>
                    <a:pt x="478" y="260"/>
                  </a:lnTo>
                  <a:lnTo>
                    <a:pt x="490" y="251"/>
                  </a:lnTo>
                  <a:lnTo>
                    <a:pt x="501" y="241"/>
                  </a:lnTo>
                  <a:lnTo>
                    <a:pt x="511" y="232"/>
                  </a:lnTo>
                  <a:lnTo>
                    <a:pt x="521" y="221"/>
                  </a:lnTo>
                  <a:lnTo>
                    <a:pt x="531" y="209"/>
                  </a:lnTo>
                  <a:lnTo>
                    <a:pt x="539" y="197"/>
                  </a:lnTo>
                  <a:lnTo>
                    <a:pt x="548" y="186"/>
                  </a:lnTo>
                  <a:lnTo>
                    <a:pt x="556" y="173"/>
                  </a:lnTo>
                  <a:lnTo>
                    <a:pt x="564" y="160"/>
                  </a:lnTo>
                  <a:lnTo>
                    <a:pt x="570" y="147"/>
                  </a:lnTo>
                  <a:lnTo>
                    <a:pt x="577" y="133"/>
                  </a:lnTo>
                  <a:lnTo>
                    <a:pt x="582" y="119"/>
                  </a:lnTo>
                  <a:lnTo>
                    <a:pt x="586" y="105"/>
                  </a:lnTo>
                  <a:lnTo>
                    <a:pt x="591" y="91"/>
                  </a:lnTo>
                  <a:lnTo>
                    <a:pt x="594" y="76"/>
                  </a:lnTo>
                  <a:lnTo>
                    <a:pt x="597" y="61"/>
                  </a:lnTo>
                  <a:lnTo>
                    <a:pt x="599" y="46"/>
                  </a:lnTo>
                  <a:lnTo>
                    <a:pt x="600" y="30"/>
                  </a:lnTo>
                  <a:lnTo>
                    <a:pt x="600" y="15"/>
                  </a:lnTo>
                  <a:lnTo>
                    <a:pt x="600" y="12"/>
                  </a:lnTo>
                  <a:lnTo>
                    <a:pt x="599" y="9"/>
                  </a:lnTo>
                  <a:lnTo>
                    <a:pt x="598" y="7"/>
                  </a:lnTo>
                  <a:lnTo>
                    <a:pt x="596" y="5"/>
                  </a:lnTo>
                  <a:lnTo>
                    <a:pt x="594" y="3"/>
                  </a:lnTo>
                  <a:lnTo>
                    <a:pt x="592" y="1"/>
                  </a:lnTo>
                  <a:lnTo>
                    <a:pt x="588" y="0"/>
                  </a:lnTo>
                  <a:lnTo>
                    <a:pt x="5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27">
              <a:extLst>
                <a:ext uri="{FF2B5EF4-FFF2-40B4-BE49-F238E27FC236}">
                  <a16:creationId xmlns:a16="http://schemas.microsoft.com/office/drawing/2014/main" id="{58BF8D2B-4E9D-41ED-A3E6-F25578FC5D55}"/>
                </a:ext>
              </a:extLst>
            </p:cNvPr>
            <p:cNvSpPr>
              <a:spLocks/>
            </p:cNvSpPr>
            <p:nvPr/>
          </p:nvSpPr>
          <p:spPr bwMode="auto">
            <a:xfrm>
              <a:off x="5630863" y="3736976"/>
              <a:ext cx="61913" cy="33338"/>
            </a:xfrm>
            <a:custGeom>
              <a:avLst/>
              <a:gdLst>
                <a:gd name="T0" fmla="*/ 104 w 195"/>
                <a:gd name="T1" fmla="*/ 104 h 104"/>
                <a:gd name="T2" fmla="*/ 122 w 195"/>
                <a:gd name="T3" fmla="*/ 101 h 104"/>
                <a:gd name="T4" fmla="*/ 140 w 195"/>
                <a:gd name="T5" fmla="*/ 95 h 104"/>
                <a:gd name="T6" fmla="*/ 156 w 195"/>
                <a:gd name="T7" fmla="*/ 85 h 104"/>
                <a:gd name="T8" fmla="*/ 169 w 195"/>
                <a:gd name="T9" fmla="*/ 73 h 104"/>
                <a:gd name="T10" fmla="*/ 181 w 195"/>
                <a:gd name="T11" fmla="*/ 59 h 104"/>
                <a:gd name="T12" fmla="*/ 190 w 195"/>
                <a:gd name="T13" fmla="*/ 43 h 104"/>
                <a:gd name="T14" fmla="*/ 194 w 195"/>
                <a:gd name="T15" fmla="*/ 25 h 104"/>
                <a:gd name="T16" fmla="*/ 195 w 195"/>
                <a:gd name="T17" fmla="*/ 12 h 104"/>
                <a:gd name="T18" fmla="*/ 193 w 195"/>
                <a:gd name="T19" fmla="*/ 7 h 104"/>
                <a:gd name="T20" fmla="*/ 189 w 195"/>
                <a:gd name="T21" fmla="*/ 3 h 104"/>
                <a:gd name="T22" fmla="*/ 183 w 195"/>
                <a:gd name="T23" fmla="*/ 1 h 104"/>
                <a:gd name="T24" fmla="*/ 177 w 195"/>
                <a:gd name="T25" fmla="*/ 1 h 104"/>
                <a:gd name="T26" fmla="*/ 172 w 195"/>
                <a:gd name="T27" fmla="*/ 3 h 104"/>
                <a:gd name="T28" fmla="*/ 167 w 195"/>
                <a:gd name="T29" fmla="*/ 7 h 104"/>
                <a:gd name="T30" fmla="*/ 165 w 195"/>
                <a:gd name="T31" fmla="*/ 12 h 104"/>
                <a:gd name="T32" fmla="*/ 165 w 195"/>
                <a:gd name="T33" fmla="*/ 21 h 104"/>
                <a:gd name="T34" fmla="*/ 162 w 195"/>
                <a:gd name="T35" fmla="*/ 33 h 104"/>
                <a:gd name="T36" fmla="*/ 156 w 195"/>
                <a:gd name="T37" fmla="*/ 43 h 104"/>
                <a:gd name="T38" fmla="*/ 147 w 195"/>
                <a:gd name="T39" fmla="*/ 53 h 104"/>
                <a:gd name="T40" fmla="*/ 132 w 195"/>
                <a:gd name="T41" fmla="*/ 65 h 104"/>
                <a:gd name="T42" fmla="*/ 114 w 195"/>
                <a:gd name="T43" fmla="*/ 72 h 104"/>
                <a:gd name="T44" fmla="*/ 101 w 195"/>
                <a:gd name="T45" fmla="*/ 74 h 104"/>
                <a:gd name="T46" fmla="*/ 89 w 195"/>
                <a:gd name="T47" fmla="*/ 74 h 104"/>
                <a:gd name="T48" fmla="*/ 76 w 195"/>
                <a:gd name="T49" fmla="*/ 71 h 104"/>
                <a:gd name="T50" fmla="*/ 65 w 195"/>
                <a:gd name="T51" fmla="*/ 67 h 104"/>
                <a:gd name="T52" fmla="*/ 54 w 195"/>
                <a:gd name="T53" fmla="*/ 61 h 104"/>
                <a:gd name="T54" fmla="*/ 45 w 195"/>
                <a:gd name="T55" fmla="*/ 53 h 104"/>
                <a:gd name="T56" fmla="*/ 38 w 195"/>
                <a:gd name="T57" fmla="*/ 43 h 104"/>
                <a:gd name="T58" fmla="*/ 33 w 195"/>
                <a:gd name="T59" fmla="*/ 33 h 104"/>
                <a:gd name="T60" fmla="*/ 30 w 195"/>
                <a:gd name="T61" fmla="*/ 21 h 104"/>
                <a:gd name="T62" fmla="*/ 29 w 195"/>
                <a:gd name="T63" fmla="*/ 12 h 104"/>
                <a:gd name="T64" fmla="*/ 27 w 195"/>
                <a:gd name="T65" fmla="*/ 7 h 104"/>
                <a:gd name="T66" fmla="*/ 23 w 195"/>
                <a:gd name="T67" fmla="*/ 3 h 104"/>
                <a:gd name="T68" fmla="*/ 18 w 195"/>
                <a:gd name="T69" fmla="*/ 1 h 104"/>
                <a:gd name="T70" fmla="*/ 12 w 195"/>
                <a:gd name="T71" fmla="*/ 1 h 104"/>
                <a:gd name="T72" fmla="*/ 7 w 195"/>
                <a:gd name="T73" fmla="*/ 3 h 104"/>
                <a:gd name="T74" fmla="*/ 3 w 195"/>
                <a:gd name="T75" fmla="*/ 7 h 104"/>
                <a:gd name="T76" fmla="*/ 0 w 195"/>
                <a:gd name="T77" fmla="*/ 12 h 104"/>
                <a:gd name="T78" fmla="*/ 0 w 195"/>
                <a:gd name="T79" fmla="*/ 24 h 104"/>
                <a:gd name="T80" fmla="*/ 5 w 195"/>
                <a:gd name="T81" fmla="*/ 41 h 104"/>
                <a:gd name="T82" fmla="*/ 12 w 195"/>
                <a:gd name="T83" fmla="*/ 57 h 104"/>
                <a:gd name="T84" fmla="*/ 22 w 195"/>
                <a:gd name="T85" fmla="*/ 71 h 104"/>
                <a:gd name="T86" fmla="*/ 35 w 195"/>
                <a:gd name="T87" fmla="*/ 84 h 104"/>
                <a:gd name="T88" fmla="*/ 51 w 195"/>
                <a:gd name="T89" fmla="*/ 94 h 104"/>
                <a:gd name="T90" fmla="*/ 68 w 195"/>
                <a:gd name="T91" fmla="*/ 100 h 104"/>
                <a:gd name="T92" fmla="*/ 86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6" y="104"/>
                  </a:moveTo>
                  <a:lnTo>
                    <a:pt x="104" y="104"/>
                  </a:lnTo>
                  <a:lnTo>
                    <a:pt x="113" y="102"/>
                  </a:lnTo>
                  <a:lnTo>
                    <a:pt x="122" y="101"/>
                  </a:lnTo>
                  <a:lnTo>
                    <a:pt x="131" y="98"/>
                  </a:lnTo>
                  <a:lnTo>
                    <a:pt x="140" y="95"/>
                  </a:lnTo>
                  <a:lnTo>
                    <a:pt x="148" y="90"/>
                  </a:lnTo>
                  <a:lnTo>
                    <a:pt x="156" y="85"/>
                  </a:lnTo>
                  <a:lnTo>
                    <a:pt x="163" y="80"/>
                  </a:lnTo>
                  <a:lnTo>
                    <a:pt x="169" y="73"/>
                  </a:lnTo>
                  <a:lnTo>
                    <a:pt x="176" y="67"/>
                  </a:lnTo>
                  <a:lnTo>
                    <a:pt x="181" y="59"/>
                  </a:lnTo>
                  <a:lnTo>
                    <a:pt x="187" y="51"/>
                  </a:lnTo>
                  <a:lnTo>
                    <a:pt x="190" y="43"/>
                  </a:lnTo>
                  <a:lnTo>
                    <a:pt x="193" y="34"/>
                  </a:lnTo>
                  <a:lnTo>
                    <a:pt x="194" y="25"/>
                  </a:lnTo>
                  <a:lnTo>
                    <a:pt x="195" y="16"/>
                  </a:lnTo>
                  <a:lnTo>
                    <a:pt x="195" y="12"/>
                  </a:lnTo>
                  <a:lnTo>
                    <a:pt x="194" y="9"/>
                  </a:lnTo>
                  <a:lnTo>
                    <a:pt x="193" y="7"/>
                  </a:lnTo>
                  <a:lnTo>
                    <a:pt x="191" y="5"/>
                  </a:lnTo>
                  <a:lnTo>
                    <a:pt x="189" y="3"/>
                  </a:lnTo>
                  <a:lnTo>
                    <a:pt x="186" y="2"/>
                  </a:lnTo>
                  <a:lnTo>
                    <a:pt x="183" y="1"/>
                  </a:lnTo>
                  <a:lnTo>
                    <a:pt x="180" y="0"/>
                  </a:lnTo>
                  <a:lnTo>
                    <a:pt x="177" y="1"/>
                  </a:lnTo>
                  <a:lnTo>
                    <a:pt x="175" y="2"/>
                  </a:lnTo>
                  <a:lnTo>
                    <a:pt x="172" y="3"/>
                  </a:lnTo>
                  <a:lnTo>
                    <a:pt x="169" y="5"/>
                  </a:lnTo>
                  <a:lnTo>
                    <a:pt x="167" y="7"/>
                  </a:lnTo>
                  <a:lnTo>
                    <a:pt x="166" y="9"/>
                  </a:lnTo>
                  <a:lnTo>
                    <a:pt x="165" y="12"/>
                  </a:lnTo>
                  <a:lnTo>
                    <a:pt x="165" y="16"/>
                  </a:lnTo>
                  <a:lnTo>
                    <a:pt x="165" y="21"/>
                  </a:lnTo>
                  <a:lnTo>
                    <a:pt x="163" y="27"/>
                  </a:lnTo>
                  <a:lnTo>
                    <a:pt x="162" y="33"/>
                  </a:lnTo>
                  <a:lnTo>
                    <a:pt x="159" y="39"/>
                  </a:lnTo>
                  <a:lnTo>
                    <a:pt x="156" y="43"/>
                  </a:lnTo>
                  <a:lnTo>
                    <a:pt x="151" y="49"/>
                  </a:lnTo>
                  <a:lnTo>
                    <a:pt x="147" y="53"/>
                  </a:lnTo>
                  <a:lnTo>
                    <a:pt x="143" y="57"/>
                  </a:lnTo>
                  <a:lnTo>
                    <a:pt x="132" y="65"/>
                  </a:lnTo>
                  <a:lnTo>
                    <a:pt x="120" y="70"/>
                  </a:lnTo>
                  <a:lnTo>
                    <a:pt x="114" y="72"/>
                  </a:lnTo>
                  <a:lnTo>
                    <a:pt x="107" y="73"/>
                  </a:lnTo>
                  <a:lnTo>
                    <a:pt x="101" y="74"/>
                  </a:lnTo>
                  <a:lnTo>
                    <a:pt x="96" y="74"/>
                  </a:lnTo>
                  <a:lnTo>
                    <a:pt x="89" y="74"/>
                  </a:lnTo>
                  <a:lnTo>
                    <a:pt x="83" y="73"/>
                  </a:lnTo>
                  <a:lnTo>
                    <a:pt x="76" y="71"/>
                  </a:lnTo>
                  <a:lnTo>
                    <a:pt x="70" y="70"/>
                  </a:lnTo>
                  <a:lnTo>
                    <a:pt x="65" y="67"/>
                  </a:lnTo>
                  <a:lnTo>
                    <a:pt x="59" y="64"/>
                  </a:lnTo>
                  <a:lnTo>
                    <a:pt x="54" y="61"/>
                  </a:lnTo>
                  <a:lnTo>
                    <a:pt x="50" y="57"/>
                  </a:lnTo>
                  <a:lnTo>
                    <a:pt x="45" y="53"/>
                  </a:lnTo>
                  <a:lnTo>
                    <a:pt x="41" y="48"/>
                  </a:lnTo>
                  <a:lnTo>
                    <a:pt x="38" y="43"/>
                  </a:lnTo>
                  <a:lnTo>
                    <a:pt x="36" y="38"/>
                  </a:lnTo>
                  <a:lnTo>
                    <a:pt x="33" y="33"/>
                  </a:lnTo>
                  <a:lnTo>
                    <a:pt x="31" y="27"/>
                  </a:lnTo>
                  <a:lnTo>
                    <a:pt x="30" y="21"/>
                  </a:lnTo>
                  <a:lnTo>
                    <a:pt x="30" y="16"/>
                  </a:lnTo>
                  <a:lnTo>
                    <a:pt x="29" y="12"/>
                  </a:lnTo>
                  <a:lnTo>
                    <a:pt x="29" y="9"/>
                  </a:lnTo>
                  <a:lnTo>
                    <a:pt x="27" y="7"/>
                  </a:lnTo>
                  <a:lnTo>
                    <a:pt x="26" y="5"/>
                  </a:lnTo>
                  <a:lnTo>
                    <a:pt x="23" y="3"/>
                  </a:lnTo>
                  <a:lnTo>
                    <a:pt x="21" y="2"/>
                  </a:lnTo>
                  <a:lnTo>
                    <a:pt x="18" y="1"/>
                  </a:lnTo>
                  <a:lnTo>
                    <a:pt x="15" y="0"/>
                  </a:lnTo>
                  <a:lnTo>
                    <a:pt x="12" y="1"/>
                  </a:lnTo>
                  <a:lnTo>
                    <a:pt x="9" y="2"/>
                  </a:lnTo>
                  <a:lnTo>
                    <a:pt x="7" y="3"/>
                  </a:lnTo>
                  <a:lnTo>
                    <a:pt x="5" y="5"/>
                  </a:lnTo>
                  <a:lnTo>
                    <a:pt x="3" y="7"/>
                  </a:lnTo>
                  <a:lnTo>
                    <a:pt x="2" y="9"/>
                  </a:lnTo>
                  <a:lnTo>
                    <a:pt x="0" y="12"/>
                  </a:lnTo>
                  <a:lnTo>
                    <a:pt x="0" y="16"/>
                  </a:lnTo>
                  <a:lnTo>
                    <a:pt x="0" y="24"/>
                  </a:lnTo>
                  <a:lnTo>
                    <a:pt x="2" y="33"/>
                  </a:lnTo>
                  <a:lnTo>
                    <a:pt x="5" y="41"/>
                  </a:lnTo>
                  <a:lnTo>
                    <a:pt x="8" y="50"/>
                  </a:lnTo>
                  <a:lnTo>
                    <a:pt x="12" y="57"/>
                  </a:lnTo>
                  <a:lnTo>
                    <a:pt x="16" y="65"/>
                  </a:lnTo>
                  <a:lnTo>
                    <a:pt x="22" y="71"/>
                  </a:lnTo>
                  <a:lnTo>
                    <a:pt x="28" y="78"/>
                  </a:lnTo>
                  <a:lnTo>
                    <a:pt x="35" y="84"/>
                  </a:lnTo>
                  <a:lnTo>
                    <a:pt x="42" y="89"/>
                  </a:lnTo>
                  <a:lnTo>
                    <a:pt x="51" y="94"/>
                  </a:lnTo>
                  <a:lnTo>
                    <a:pt x="58" y="97"/>
                  </a:lnTo>
                  <a:lnTo>
                    <a:pt x="68" y="100"/>
                  </a:lnTo>
                  <a:lnTo>
                    <a:pt x="76" y="102"/>
                  </a:lnTo>
                  <a:lnTo>
                    <a:pt x="86" y="104"/>
                  </a:lnTo>
                  <a:lnTo>
                    <a:pt x="9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28">
              <a:extLst>
                <a:ext uri="{FF2B5EF4-FFF2-40B4-BE49-F238E27FC236}">
                  <a16:creationId xmlns:a16="http://schemas.microsoft.com/office/drawing/2014/main" id="{BBCD80EB-5E46-44F3-90E7-FDCD32D4C528}"/>
                </a:ext>
              </a:extLst>
            </p:cNvPr>
            <p:cNvSpPr>
              <a:spLocks/>
            </p:cNvSpPr>
            <p:nvPr/>
          </p:nvSpPr>
          <p:spPr bwMode="auto">
            <a:xfrm>
              <a:off x="5521325" y="3736976"/>
              <a:ext cx="61913" cy="33338"/>
            </a:xfrm>
            <a:custGeom>
              <a:avLst/>
              <a:gdLst>
                <a:gd name="T0" fmla="*/ 109 w 195"/>
                <a:gd name="T1" fmla="*/ 104 h 104"/>
                <a:gd name="T2" fmla="*/ 127 w 195"/>
                <a:gd name="T3" fmla="*/ 100 h 104"/>
                <a:gd name="T4" fmla="*/ 144 w 195"/>
                <a:gd name="T5" fmla="*/ 94 h 104"/>
                <a:gd name="T6" fmla="*/ 159 w 195"/>
                <a:gd name="T7" fmla="*/ 84 h 104"/>
                <a:gd name="T8" fmla="*/ 173 w 195"/>
                <a:gd name="T9" fmla="*/ 71 h 104"/>
                <a:gd name="T10" fmla="*/ 183 w 195"/>
                <a:gd name="T11" fmla="*/ 57 h 104"/>
                <a:gd name="T12" fmla="*/ 190 w 195"/>
                <a:gd name="T13" fmla="*/ 41 h 104"/>
                <a:gd name="T14" fmla="*/ 195 w 195"/>
                <a:gd name="T15" fmla="*/ 24 h 104"/>
                <a:gd name="T16" fmla="*/ 195 w 195"/>
                <a:gd name="T17" fmla="*/ 12 h 104"/>
                <a:gd name="T18" fmla="*/ 192 w 195"/>
                <a:gd name="T19" fmla="*/ 7 h 104"/>
                <a:gd name="T20" fmla="*/ 188 w 195"/>
                <a:gd name="T21" fmla="*/ 3 h 104"/>
                <a:gd name="T22" fmla="*/ 183 w 195"/>
                <a:gd name="T23" fmla="*/ 1 h 104"/>
                <a:gd name="T24" fmla="*/ 176 w 195"/>
                <a:gd name="T25" fmla="*/ 1 h 104"/>
                <a:gd name="T26" fmla="*/ 171 w 195"/>
                <a:gd name="T27" fmla="*/ 3 h 104"/>
                <a:gd name="T28" fmla="*/ 168 w 195"/>
                <a:gd name="T29" fmla="*/ 7 h 104"/>
                <a:gd name="T30" fmla="*/ 165 w 195"/>
                <a:gd name="T31" fmla="*/ 12 h 104"/>
                <a:gd name="T32" fmla="*/ 165 w 195"/>
                <a:gd name="T33" fmla="*/ 21 h 104"/>
                <a:gd name="T34" fmla="*/ 161 w 195"/>
                <a:gd name="T35" fmla="*/ 33 h 104"/>
                <a:gd name="T36" fmla="*/ 157 w 195"/>
                <a:gd name="T37" fmla="*/ 43 h 104"/>
                <a:gd name="T38" fmla="*/ 150 w 195"/>
                <a:gd name="T39" fmla="*/ 52 h 104"/>
                <a:gd name="T40" fmla="*/ 141 w 195"/>
                <a:gd name="T41" fmla="*/ 61 h 104"/>
                <a:gd name="T42" fmla="*/ 130 w 195"/>
                <a:gd name="T43" fmla="*/ 67 h 104"/>
                <a:gd name="T44" fmla="*/ 119 w 195"/>
                <a:gd name="T45" fmla="*/ 71 h 104"/>
                <a:gd name="T46" fmla="*/ 106 w 195"/>
                <a:gd name="T47" fmla="*/ 74 h 104"/>
                <a:gd name="T48" fmla="*/ 93 w 195"/>
                <a:gd name="T49" fmla="*/ 74 h 104"/>
                <a:gd name="T50" fmla="*/ 81 w 195"/>
                <a:gd name="T51" fmla="*/ 72 h 104"/>
                <a:gd name="T52" fmla="*/ 63 w 195"/>
                <a:gd name="T53" fmla="*/ 65 h 104"/>
                <a:gd name="T54" fmla="*/ 47 w 195"/>
                <a:gd name="T55" fmla="*/ 53 h 104"/>
                <a:gd name="T56" fmla="*/ 39 w 195"/>
                <a:gd name="T57" fmla="*/ 43 h 104"/>
                <a:gd name="T58" fmla="*/ 33 w 195"/>
                <a:gd name="T59" fmla="*/ 33 h 104"/>
                <a:gd name="T60" fmla="*/ 30 w 195"/>
                <a:gd name="T61" fmla="*/ 21 h 104"/>
                <a:gd name="T62" fmla="*/ 30 w 195"/>
                <a:gd name="T63" fmla="*/ 12 h 104"/>
                <a:gd name="T64" fmla="*/ 27 w 195"/>
                <a:gd name="T65" fmla="*/ 7 h 104"/>
                <a:gd name="T66" fmla="*/ 23 w 195"/>
                <a:gd name="T67" fmla="*/ 3 h 104"/>
                <a:gd name="T68" fmla="*/ 18 w 195"/>
                <a:gd name="T69" fmla="*/ 1 h 104"/>
                <a:gd name="T70" fmla="*/ 12 w 195"/>
                <a:gd name="T71" fmla="*/ 1 h 104"/>
                <a:gd name="T72" fmla="*/ 6 w 195"/>
                <a:gd name="T73" fmla="*/ 3 h 104"/>
                <a:gd name="T74" fmla="*/ 2 w 195"/>
                <a:gd name="T75" fmla="*/ 7 h 104"/>
                <a:gd name="T76" fmla="*/ 0 w 195"/>
                <a:gd name="T77" fmla="*/ 12 h 104"/>
                <a:gd name="T78" fmla="*/ 0 w 195"/>
                <a:gd name="T79" fmla="*/ 25 h 104"/>
                <a:gd name="T80" fmla="*/ 5 w 195"/>
                <a:gd name="T81" fmla="*/ 43 h 104"/>
                <a:gd name="T82" fmla="*/ 14 w 195"/>
                <a:gd name="T83" fmla="*/ 59 h 104"/>
                <a:gd name="T84" fmla="*/ 26 w 195"/>
                <a:gd name="T85" fmla="*/ 73 h 104"/>
                <a:gd name="T86" fmla="*/ 39 w 195"/>
                <a:gd name="T87" fmla="*/ 85 h 104"/>
                <a:gd name="T88" fmla="*/ 55 w 195"/>
                <a:gd name="T89" fmla="*/ 95 h 104"/>
                <a:gd name="T90" fmla="*/ 73 w 195"/>
                <a:gd name="T91" fmla="*/ 101 h 104"/>
                <a:gd name="T92" fmla="*/ 91 w 195"/>
                <a:gd name="T9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5" h="104">
                  <a:moveTo>
                    <a:pt x="99" y="104"/>
                  </a:moveTo>
                  <a:lnTo>
                    <a:pt x="109" y="104"/>
                  </a:lnTo>
                  <a:lnTo>
                    <a:pt x="119" y="102"/>
                  </a:lnTo>
                  <a:lnTo>
                    <a:pt x="127" y="100"/>
                  </a:lnTo>
                  <a:lnTo>
                    <a:pt x="136" y="97"/>
                  </a:lnTo>
                  <a:lnTo>
                    <a:pt x="144" y="94"/>
                  </a:lnTo>
                  <a:lnTo>
                    <a:pt x="153" y="89"/>
                  </a:lnTo>
                  <a:lnTo>
                    <a:pt x="159" y="84"/>
                  </a:lnTo>
                  <a:lnTo>
                    <a:pt x="167" y="78"/>
                  </a:lnTo>
                  <a:lnTo>
                    <a:pt x="173" y="71"/>
                  </a:lnTo>
                  <a:lnTo>
                    <a:pt x="179" y="65"/>
                  </a:lnTo>
                  <a:lnTo>
                    <a:pt x="183" y="57"/>
                  </a:lnTo>
                  <a:lnTo>
                    <a:pt x="187" y="50"/>
                  </a:lnTo>
                  <a:lnTo>
                    <a:pt x="190" y="41"/>
                  </a:lnTo>
                  <a:lnTo>
                    <a:pt x="192" y="33"/>
                  </a:lnTo>
                  <a:lnTo>
                    <a:pt x="195" y="24"/>
                  </a:lnTo>
                  <a:lnTo>
                    <a:pt x="195" y="16"/>
                  </a:lnTo>
                  <a:lnTo>
                    <a:pt x="195" y="12"/>
                  </a:lnTo>
                  <a:lnTo>
                    <a:pt x="193" y="9"/>
                  </a:lnTo>
                  <a:lnTo>
                    <a:pt x="192" y="7"/>
                  </a:lnTo>
                  <a:lnTo>
                    <a:pt x="190" y="5"/>
                  </a:lnTo>
                  <a:lnTo>
                    <a:pt x="188" y="3"/>
                  </a:lnTo>
                  <a:lnTo>
                    <a:pt x="186" y="2"/>
                  </a:lnTo>
                  <a:lnTo>
                    <a:pt x="183" y="1"/>
                  </a:lnTo>
                  <a:lnTo>
                    <a:pt x="180" y="0"/>
                  </a:lnTo>
                  <a:lnTo>
                    <a:pt x="176" y="1"/>
                  </a:lnTo>
                  <a:lnTo>
                    <a:pt x="174" y="2"/>
                  </a:lnTo>
                  <a:lnTo>
                    <a:pt x="171" y="3"/>
                  </a:lnTo>
                  <a:lnTo>
                    <a:pt x="169" y="5"/>
                  </a:lnTo>
                  <a:lnTo>
                    <a:pt x="168" y="7"/>
                  </a:lnTo>
                  <a:lnTo>
                    <a:pt x="166" y="9"/>
                  </a:lnTo>
                  <a:lnTo>
                    <a:pt x="165" y="12"/>
                  </a:lnTo>
                  <a:lnTo>
                    <a:pt x="165" y="16"/>
                  </a:lnTo>
                  <a:lnTo>
                    <a:pt x="165" y="21"/>
                  </a:lnTo>
                  <a:lnTo>
                    <a:pt x="164" y="26"/>
                  </a:lnTo>
                  <a:lnTo>
                    <a:pt x="161" y="33"/>
                  </a:lnTo>
                  <a:lnTo>
                    <a:pt x="159" y="38"/>
                  </a:lnTo>
                  <a:lnTo>
                    <a:pt x="157" y="43"/>
                  </a:lnTo>
                  <a:lnTo>
                    <a:pt x="154" y="48"/>
                  </a:lnTo>
                  <a:lnTo>
                    <a:pt x="150" y="52"/>
                  </a:lnTo>
                  <a:lnTo>
                    <a:pt x="145" y="56"/>
                  </a:lnTo>
                  <a:lnTo>
                    <a:pt x="141" y="61"/>
                  </a:lnTo>
                  <a:lnTo>
                    <a:pt x="136" y="64"/>
                  </a:lnTo>
                  <a:lnTo>
                    <a:pt x="130" y="67"/>
                  </a:lnTo>
                  <a:lnTo>
                    <a:pt x="125" y="70"/>
                  </a:lnTo>
                  <a:lnTo>
                    <a:pt x="119" y="71"/>
                  </a:lnTo>
                  <a:lnTo>
                    <a:pt x="112" y="73"/>
                  </a:lnTo>
                  <a:lnTo>
                    <a:pt x="106" y="74"/>
                  </a:lnTo>
                  <a:lnTo>
                    <a:pt x="99" y="74"/>
                  </a:lnTo>
                  <a:lnTo>
                    <a:pt x="93" y="74"/>
                  </a:lnTo>
                  <a:lnTo>
                    <a:pt x="86" y="73"/>
                  </a:lnTo>
                  <a:lnTo>
                    <a:pt x="81" y="72"/>
                  </a:lnTo>
                  <a:lnTo>
                    <a:pt x="75" y="70"/>
                  </a:lnTo>
                  <a:lnTo>
                    <a:pt x="63" y="65"/>
                  </a:lnTo>
                  <a:lnTo>
                    <a:pt x="52" y="57"/>
                  </a:lnTo>
                  <a:lnTo>
                    <a:pt x="47" y="53"/>
                  </a:lnTo>
                  <a:lnTo>
                    <a:pt x="43" y="49"/>
                  </a:lnTo>
                  <a:lnTo>
                    <a:pt x="39" y="43"/>
                  </a:lnTo>
                  <a:lnTo>
                    <a:pt x="36" y="39"/>
                  </a:lnTo>
                  <a:lnTo>
                    <a:pt x="33" y="33"/>
                  </a:lnTo>
                  <a:lnTo>
                    <a:pt x="31" y="27"/>
                  </a:lnTo>
                  <a:lnTo>
                    <a:pt x="30" y="21"/>
                  </a:lnTo>
                  <a:lnTo>
                    <a:pt x="30" y="16"/>
                  </a:lnTo>
                  <a:lnTo>
                    <a:pt x="30" y="12"/>
                  </a:lnTo>
                  <a:lnTo>
                    <a:pt x="29" y="9"/>
                  </a:lnTo>
                  <a:lnTo>
                    <a:pt x="27" y="7"/>
                  </a:lnTo>
                  <a:lnTo>
                    <a:pt x="26" y="5"/>
                  </a:lnTo>
                  <a:lnTo>
                    <a:pt x="23" y="3"/>
                  </a:lnTo>
                  <a:lnTo>
                    <a:pt x="20" y="2"/>
                  </a:lnTo>
                  <a:lnTo>
                    <a:pt x="18" y="1"/>
                  </a:lnTo>
                  <a:lnTo>
                    <a:pt x="15" y="0"/>
                  </a:lnTo>
                  <a:lnTo>
                    <a:pt x="12" y="1"/>
                  </a:lnTo>
                  <a:lnTo>
                    <a:pt x="8" y="2"/>
                  </a:lnTo>
                  <a:lnTo>
                    <a:pt x="6" y="3"/>
                  </a:lnTo>
                  <a:lnTo>
                    <a:pt x="4" y="5"/>
                  </a:lnTo>
                  <a:lnTo>
                    <a:pt x="2" y="7"/>
                  </a:lnTo>
                  <a:lnTo>
                    <a:pt x="1" y="9"/>
                  </a:lnTo>
                  <a:lnTo>
                    <a:pt x="0" y="12"/>
                  </a:lnTo>
                  <a:lnTo>
                    <a:pt x="0" y="16"/>
                  </a:lnTo>
                  <a:lnTo>
                    <a:pt x="0" y="25"/>
                  </a:lnTo>
                  <a:lnTo>
                    <a:pt x="2" y="34"/>
                  </a:lnTo>
                  <a:lnTo>
                    <a:pt x="5" y="43"/>
                  </a:lnTo>
                  <a:lnTo>
                    <a:pt x="8" y="51"/>
                  </a:lnTo>
                  <a:lnTo>
                    <a:pt x="14" y="59"/>
                  </a:lnTo>
                  <a:lnTo>
                    <a:pt x="19" y="67"/>
                  </a:lnTo>
                  <a:lnTo>
                    <a:pt x="26" y="73"/>
                  </a:lnTo>
                  <a:lnTo>
                    <a:pt x="32" y="80"/>
                  </a:lnTo>
                  <a:lnTo>
                    <a:pt x="39" y="85"/>
                  </a:lnTo>
                  <a:lnTo>
                    <a:pt x="47" y="90"/>
                  </a:lnTo>
                  <a:lnTo>
                    <a:pt x="55" y="95"/>
                  </a:lnTo>
                  <a:lnTo>
                    <a:pt x="64" y="98"/>
                  </a:lnTo>
                  <a:lnTo>
                    <a:pt x="73" y="101"/>
                  </a:lnTo>
                  <a:lnTo>
                    <a:pt x="81" y="102"/>
                  </a:lnTo>
                  <a:lnTo>
                    <a:pt x="91" y="104"/>
                  </a:lnTo>
                  <a:lnTo>
                    <a:pt x="99"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24" name="Group 56">
            <a:extLst>
              <a:ext uri="{FF2B5EF4-FFF2-40B4-BE49-F238E27FC236}">
                <a16:creationId xmlns:a16="http://schemas.microsoft.com/office/drawing/2014/main" id="{89DBCB7F-FFB4-4324-A35F-E02DE51E8C59}"/>
              </a:ext>
            </a:extLst>
          </p:cNvPr>
          <p:cNvGrpSpPr>
            <a:grpSpLocks noChangeAspect="1"/>
          </p:cNvGrpSpPr>
          <p:nvPr/>
        </p:nvGrpSpPr>
        <p:grpSpPr>
          <a:xfrm>
            <a:off x="1865326" y="4340505"/>
            <a:ext cx="342742" cy="285619"/>
            <a:chOff x="314325" y="1406525"/>
            <a:chExt cx="285750" cy="238125"/>
          </a:xfrm>
          <a:solidFill>
            <a:schemeClr val="bg1"/>
          </a:solidFill>
          <a:effectLst/>
        </p:grpSpPr>
        <p:sp>
          <p:nvSpPr>
            <p:cNvPr id="925" name="Freeform 222">
              <a:extLst>
                <a:ext uri="{FF2B5EF4-FFF2-40B4-BE49-F238E27FC236}">
                  <a16:creationId xmlns:a16="http://schemas.microsoft.com/office/drawing/2014/main" id="{243E7B56-9E5E-40AF-9DC7-D9E01D7ACEFE}"/>
                </a:ext>
              </a:extLst>
            </p:cNvPr>
            <p:cNvSpPr>
              <a:spLocks noEditPoints="1"/>
            </p:cNvSpPr>
            <p:nvPr/>
          </p:nvSpPr>
          <p:spPr bwMode="auto">
            <a:xfrm>
              <a:off x="314325" y="1406525"/>
              <a:ext cx="285750" cy="238125"/>
            </a:xfrm>
            <a:custGeom>
              <a:avLst/>
              <a:gdLst>
                <a:gd name="T0" fmla="*/ 421 w 901"/>
                <a:gd name="T1" fmla="*/ 571 h 751"/>
                <a:gd name="T2" fmla="*/ 411 w 901"/>
                <a:gd name="T3" fmla="*/ 575 h 751"/>
                <a:gd name="T4" fmla="*/ 271 w 901"/>
                <a:gd name="T5" fmla="*/ 586 h 751"/>
                <a:gd name="T6" fmla="*/ 270 w 901"/>
                <a:gd name="T7" fmla="*/ 580 h 751"/>
                <a:gd name="T8" fmla="*/ 266 w 901"/>
                <a:gd name="T9" fmla="*/ 575 h 751"/>
                <a:gd name="T10" fmla="*/ 261 w 901"/>
                <a:gd name="T11" fmla="*/ 572 h 751"/>
                <a:gd name="T12" fmla="*/ 256 w 901"/>
                <a:gd name="T13" fmla="*/ 571 h 751"/>
                <a:gd name="T14" fmla="*/ 30 w 901"/>
                <a:gd name="T15" fmla="*/ 30 h 751"/>
                <a:gd name="T16" fmla="*/ 871 w 901"/>
                <a:gd name="T17" fmla="*/ 571 h 751"/>
                <a:gd name="T18" fmla="*/ 15 w 901"/>
                <a:gd name="T19" fmla="*/ 0 h 751"/>
                <a:gd name="T20" fmla="*/ 10 w 901"/>
                <a:gd name="T21" fmla="*/ 1 h 751"/>
                <a:gd name="T22" fmla="*/ 4 w 901"/>
                <a:gd name="T23" fmla="*/ 5 h 751"/>
                <a:gd name="T24" fmla="*/ 1 w 901"/>
                <a:gd name="T25" fmla="*/ 9 h 751"/>
                <a:gd name="T26" fmla="*/ 0 w 901"/>
                <a:gd name="T27" fmla="*/ 15 h 751"/>
                <a:gd name="T28" fmla="*/ 0 w 901"/>
                <a:gd name="T29" fmla="*/ 589 h 751"/>
                <a:gd name="T30" fmla="*/ 2 w 901"/>
                <a:gd name="T31" fmla="*/ 594 h 751"/>
                <a:gd name="T32" fmla="*/ 6 w 901"/>
                <a:gd name="T33" fmla="*/ 599 h 751"/>
                <a:gd name="T34" fmla="*/ 12 w 901"/>
                <a:gd name="T35" fmla="*/ 601 h 751"/>
                <a:gd name="T36" fmla="*/ 241 w 901"/>
                <a:gd name="T37" fmla="*/ 601 h 751"/>
                <a:gd name="T38" fmla="*/ 241 w 901"/>
                <a:gd name="T39" fmla="*/ 740 h 751"/>
                <a:gd name="T40" fmla="*/ 245 w 901"/>
                <a:gd name="T41" fmla="*/ 747 h 751"/>
                <a:gd name="T42" fmla="*/ 253 w 901"/>
                <a:gd name="T43" fmla="*/ 751 h 751"/>
                <a:gd name="T44" fmla="*/ 261 w 901"/>
                <a:gd name="T45" fmla="*/ 751 h 751"/>
                <a:gd name="T46" fmla="*/ 426 w 901"/>
                <a:gd name="T47" fmla="*/ 601 h 751"/>
                <a:gd name="T48" fmla="*/ 889 w 901"/>
                <a:gd name="T49" fmla="*/ 601 h 751"/>
                <a:gd name="T50" fmla="*/ 895 w 901"/>
                <a:gd name="T51" fmla="*/ 599 h 751"/>
                <a:gd name="T52" fmla="*/ 899 w 901"/>
                <a:gd name="T53" fmla="*/ 594 h 751"/>
                <a:gd name="T54" fmla="*/ 901 w 901"/>
                <a:gd name="T55" fmla="*/ 589 h 751"/>
                <a:gd name="T56" fmla="*/ 901 w 901"/>
                <a:gd name="T57" fmla="*/ 15 h 751"/>
                <a:gd name="T58" fmla="*/ 900 w 901"/>
                <a:gd name="T59" fmla="*/ 9 h 751"/>
                <a:gd name="T60" fmla="*/ 897 w 901"/>
                <a:gd name="T61" fmla="*/ 5 h 751"/>
                <a:gd name="T62" fmla="*/ 892 w 901"/>
                <a:gd name="T63" fmla="*/ 1 h 751"/>
                <a:gd name="T64" fmla="*/ 886 w 901"/>
                <a:gd name="T6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1" h="751">
                  <a:moveTo>
                    <a:pt x="871" y="571"/>
                  </a:moveTo>
                  <a:lnTo>
                    <a:pt x="421" y="571"/>
                  </a:lnTo>
                  <a:lnTo>
                    <a:pt x="415" y="572"/>
                  </a:lnTo>
                  <a:lnTo>
                    <a:pt x="411" y="575"/>
                  </a:lnTo>
                  <a:lnTo>
                    <a:pt x="271" y="702"/>
                  </a:lnTo>
                  <a:lnTo>
                    <a:pt x="271" y="586"/>
                  </a:lnTo>
                  <a:lnTo>
                    <a:pt x="270" y="583"/>
                  </a:lnTo>
                  <a:lnTo>
                    <a:pt x="270" y="580"/>
                  </a:lnTo>
                  <a:lnTo>
                    <a:pt x="268" y="577"/>
                  </a:lnTo>
                  <a:lnTo>
                    <a:pt x="266" y="575"/>
                  </a:lnTo>
                  <a:lnTo>
                    <a:pt x="263" y="573"/>
                  </a:lnTo>
                  <a:lnTo>
                    <a:pt x="261" y="572"/>
                  </a:lnTo>
                  <a:lnTo>
                    <a:pt x="258" y="571"/>
                  </a:lnTo>
                  <a:lnTo>
                    <a:pt x="256" y="571"/>
                  </a:lnTo>
                  <a:lnTo>
                    <a:pt x="30" y="571"/>
                  </a:lnTo>
                  <a:lnTo>
                    <a:pt x="30" y="30"/>
                  </a:lnTo>
                  <a:lnTo>
                    <a:pt x="871" y="30"/>
                  </a:lnTo>
                  <a:lnTo>
                    <a:pt x="871" y="571"/>
                  </a:lnTo>
                  <a:close/>
                  <a:moveTo>
                    <a:pt x="886" y="0"/>
                  </a:moveTo>
                  <a:lnTo>
                    <a:pt x="15" y="0"/>
                  </a:lnTo>
                  <a:lnTo>
                    <a:pt x="12" y="0"/>
                  </a:lnTo>
                  <a:lnTo>
                    <a:pt x="10" y="1"/>
                  </a:lnTo>
                  <a:lnTo>
                    <a:pt x="6" y="3"/>
                  </a:lnTo>
                  <a:lnTo>
                    <a:pt x="4" y="5"/>
                  </a:lnTo>
                  <a:lnTo>
                    <a:pt x="2" y="7"/>
                  </a:lnTo>
                  <a:lnTo>
                    <a:pt x="1" y="9"/>
                  </a:lnTo>
                  <a:lnTo>
                    <a:pt x="0" y="12"/>
                  </a:lnTo>
                  <a:lnTo>
                    <a:pt x="0" y="15"/>
                  </a:lnTo>
                  <a:lnTo>
                    <a:pt x="0" y="586"/>
                  </a:lnTo>
                  <a:lnTo>
                    <a:pt x="0" y="589"/>
                  </a:lnTo>
                  <a:lnTo>
                    <a:pt x="1" y="592"/>
                  </a:lnTo>
                  <a:lnTo>
                    <a:pt x="2" y="594"/>
                  </a:lnTo>
                  <a:lnTo>
                    <a:pt x="4" y="596"/>
                  </a:lnTo>
                  <a:lnTo>
                    <a:pt x="6" y="599"/>
                  </a:lnTo>
                  <a:lnTo>
                    <a:pt x="10" y="600"/>
                  </a:lnTo>
                  <a:lnTo>
                    <a:pt x="12" y="601"/>
                  </a:lnTo>
                  <a:lnTo>
                    <a:pt x="15" y="601"/>
                  </a:lnTo>
                  <a:lnTo>
                    <a:pt x="241" y="601"/>
                  </a:lnTo>
                  <a:lnTo>
                    <a:pt x="241" y="736"/>
                  </a:lnTo>
                  <a:lnTo>
                    <a:pt x="241" y="740"/>
                  </a:lnTo>
                  <a:lnTo>
                    <a:pt x="243" y="744"/>
                  </a:lnTo>
                  <a:lnTo>
                    <a:pt x="245" y="747"/>
                  </a:lnTo>
                  <a:lnTo>
                    <a:pt x="249" y="749"/>
                  </a:lnTo>
                  <a:lnTo>
                    <a:pt x="253" y="751"/>
                  </a:lnTo>
                  <a:lnTo>
                    <a:pt x="256" y="751"/>
                  </a:lnTo>
                  <a:lnTo>
                    <a:pt x="261" y="751"/>
                  </a:lnTo>
                  <a:lnTo>
                    <a:pt x="265" y="747"/>
                  </a:lnTo>
                  <a:lnTo>
                    <a:pt x="426" y="601"/>
                  </a:lnTo>
                  <a:lnTo>
                    <a:pt x="886" y="601"/>
                  </a:lnTo>
                  <a:lnTo>
                    <a:pt x="889" y="601"/>
                  </a:lnTo>
                  <a:lnTo>
                    <a:pt x="892" y="600"/>
                  </a:lnTo>
                  <a:lnTo>
                    <a:pt x="895" y="599"/>
                  </a:lnTo>
                  <a:lnTo>
                    <a:pt x="897" y="596"/>
                  </a:lnTo>
                  <a:lnTo>
                    <a:pt x="899" y="594"/>
                  </a:lnTo>
                  <a:lnTo>
                    <a:pt x="900" y="592"/>
                  </a:lnTo>
                  <a:lnTo>
                    <a:pt x="901" y="589"/>
                  </a:lnTo>
                  <a:lnTo>
                    <a:pt x="901" y="586"/>
                  </a:lnTo>
                  <a:lnTo>
                    <a:pt x="901" y="15"/>
                  </a:lnTo>
                  <a:lnTo>
                    <a:pt x="901" y="12"/>
                  </a:lnTo>
                  <a:lnTo>
                    <a:pt x="900" y="9"/>
                  </a:lnTo>
                  <a:lnTo>
                    <a:pt x="899" y="7"/>
                  </a:lnTo>
                  <a:lnTo>
                    <a:pt x="897" y="5"/>
                  </a:lnTo>
                  <a:lnTo>
                    <a:pt x="895" y="3"/>
                  </a:lnTo>
                  <a:lnTo>
                    <a:pt x="892" y="1"/>
                  </a:lnTo>
                  <a:lnTo>
                    <a:pt x="889" y="0"/>
                  </a:lnTo>
                  <a:lnTo>
                    <a:pt x="886"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6" name="Freeform 223">
              <a:extLst>
                <a:ext uri="{FF2B5EF4-FFF2-40B4-BE49-F238E27FC236}">
                  <a16:creationId xmlns:a16="http://schemas.microsoft.com/office/drawing/2014/main" id="{DD425D84-515E-4F2D-8F16-32E23835B795}"/>
                </a:ext>
              </a:extLst>
            </p:cNvPr>
            <p:cNvSpPr>
              <a:spLocks/>
            </p:cNvSpPr>
            <p:nvPr/>
          </p:nvSpPr>
          <p:spPr bwMode="auto">
            <a:xfrm>
              <a:off x="422275" y="1431925"/>
              <a:ext cx="82550" cy="93663"/>
            </a:xfrm>
            <a:custGeom>
              <a:avLst/>
              <a:gdLst>
                <a:gd name="T0" fmla="*/ 21 w 257"/>
                <a:gd name="T1" fmla="*/ 142 h 295"/>
                <a:gd name="T2" fmla="*/ 27 w 257"/>
                <a:gd name="T3" fmla="*/ 137 h 295"/>
                <a:gd name="T4" fmla="*/ 30 w 257"/>
                <a:gd name="T5" fmla="*/ 128 h 295"/>
                <a:gd name="T6" fmla="*/ 35 w 257"/>
                <a:gd name="T7" fmla="*/ 99 h 295"/>
                <a:gd name="T8" fmla="*/ 46 w 257"/>
                <a:gd name="T9" fmla="*/ 74 h 295"/>
                <a:gd name="T10" fmla="*/ 66 w 257"/>
                <a:gd name="T11" fmla="*/ 52 h 295"/>
                <a:gd name="T12" fmla="*/ 90 w 257"/>
                <a:gd name="T13" fmla="*/ 37 h 295"/>
                <a:gd name="T14" fmla="*/ 118 w 257"/>
                <a:gd name="T15" fmla="*/ 30 h 295"/>
                <a:gd name="T16" fmla="*/ 148 w 257"/>
                <a:gd name="T17" fmla="*/ 32 h 295"/>
                <a:gd name="T18" fmla="*/ 176 w 257"/>
                <a:gd name="T19" fmla="*/ 42 h 295"/>
                <a:gd name="T20" fmla="*/ 198 w 257"/>
                <a:gd name="T21" fmla="*/ 59 h 295"/>
                <a:gd name="T22" fmla="*/ 215 w 257"/>
                <a:gd name="T23" fmla="*/ 81 h 295"/>
                <a:gd name="T24" fmla="*/ 225 w 257"/>
                <a:gd name="T25" fmla="*/ 108 h 295"/>
                <a:gd name="T26" fmla="*/ 226 w 257"/>
                <a:gd name="T27" fmla="*/ 138 h 295"/>
                <a:gd name="T28" fmla="*/ 220 w 257"/>
                <a:gd name="T29" fmla="*/ 167 h 295"/>
                <a:gd name="T30" fmla="*/ 205 w 257"/>
                <a:gd name="T31" fmla="*/ 191 h 295"/>
                <a:gd name="T32" fmla="*/ 183 w 257"/>
                <a:gd name="T33" fmla="*/ 210 h 295"/>
                <a:gd name="T34" fmla="*/ 158 w 257"/>
                <a:gd name="T35" fmla="*/ 222 h 295"/>
                <a:gd name="T36" fmla="*/ 129 w 257"/>
                <a:gd name="T37" fmla="*/ 227 h 295"/>
                <a:gd name="T38" fmla="*/ 120 w 257"/>
                <a:gd name="T39" fmla="*/ 229 h 295"/>
                <a:gd name="T40" fmla="*/ 115 w 257"/>
                <a:gd name="T41" fmla="*/ 236 h 295"/>
                <a:gd name="T42" fmla="*/ 114 w 257"/>
                <a:gd name="T43" fmla="*/ 280 h 295"/>
                <a:gd name="T44" fmla="*/ 116 w 257"/>
                <a:gd name="T45" fmla="*/ 288 h 295"/>
                <a:gd name="T46" fmla="*/ 122 w 257"/>
                <a:gd name="T47" fmla="*/ 294 h 295"/>
                <a:gd name="T48" fmla="*/ 132 w 257"/>
                <a:gd name="T49" fmla="*/ 294 h 295"/>
                <a:gd name="T50" fmla="*/ 139 w 257"/>
                <a:gd name="T51" fmla="*/ 291 h 295"/>
                <a:gd name="T52" fmla="*/ 143 w 257"/>
                <a:gd name="T53" fmla="*/ 282 h 295"/>
                <a:gd name="T54" fmla="*/ 155 w 257"/>
                <a:gd name="T55" fmla="*/ 255 h 295"/>
                <a:gd name="T56" fmla="*/ 189 w 257"/>
                <a:gd name="T57" fmla="*/ 242 h 295"/>
                <a:gd name="T58" fmla="*/ 216 w 257"/>
                <a:gd name="T59" fmla="*/ 222 h 295"/>
                <a:gd name="T60" fmla="*/ 238 w 257"/>
                <a:gd name="T61" fmla="*/ 196 h 295"/>
                <a:gd name="T62" fmla="*/ 252 w 257"/>
                <a:gd name="T63" fmla="*/ 164 h 295"/>
                <a:gd name="T64" fmla="*/ 257 w 257"/>
                <a:gd name="T65" fmla="*/ 128 h 295"/>
                <a:gd name="T66" fmla="*/ 252 w 257"/>
                <a:gd name="T67" fmla="*/ 90 h 295"/>
                <a:gd name="T68" fmla="*/ 235 w 257"/>
                <a:gd name="T69" fmla="*/ 57 h 295"/>
                <a:gd name="T70" fmla="*/ 210 w 257"/>
                <a:gd name="T71" fmla="*/ 29 h 295"/>
                <a:gd name="T72" fmla="*/ 178 w 257"/>
                <a:gd name="T73" fmla="*/ 9 h 295"/>
                <a:gd name="T74" fmla="*/ 142 w 257"/>
                <a:gd name="T75" fmla="*/ 0 h 295"/>
                <a:gd name="T76" fmla="*/ 103 w 257"/>
                <a:gd name="T77" fmla="*/ 2 h 295"/>
                <a:gd name="T78" fmla="*/ 67 w 257"/>
                <a:gd name="T79" fmla="*/ 15 h 295"/>
                <a:gd name="T80" fmla="*/ 38 w 257"/>
                <a:gd name="T81" fmla="*/ 37 h 295"/>
                <a:gd name="T82" fmla="*/ 15 w 257"/>
                <a:gd name="T83" fmla="*/ 67 h 295"/>
                <a:gd name="T84" fmla="*/ 2 w 257"/>
                <a:gd name="T85" fmla="*/ 103 h 295"/>
                <a:gd name="T86" fmla="*/ 0 w 257"/>
                <a:gd name="T87" fmla="*/ 131 h 295"/>
                <a:gd name="T88" fmla="*/ 5 w 257"/>
                <a:gd name="T89" fmla="*/ 139 h 295"/>
                <a:gd name="T90" fmla="*/ 12 w 257"/>
                <a:gd name="T91" fmla="*/ 14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295">
                  <a:moveTo>
                    <a:pt x="15" y="143"/>
                  </a:moveTo>
                  <a:lnTo>
                    <a:pt x="17" y="143"/>
                  </a:lnTo>
                  <a:lnTo>
                    <a:pt x="21" y="142"/>
                  </a:lnTo>
                  <a:lnTo>
                    <a:pt x="23" y="141"/>
                  </a:lnTo>
                  <a:lnTo>
                    <a:pt x="25" y="139"/>
                  </a:lnTo>
                  <a:lnTo>
                    <a:pt x="27" y="137"/>
                  </a:lnTo>
                  <a:lnTo>
                    <a:pt x="28" y="134"/>
                  </a:lnTo>
                  <a:lnTo>
                    <a:pt x="29" y="131"/>
                  </a:lnTo>
                  <a:lnTo>
                    <a:pt x="30" y="128"/>
                  </a:lnTo>
                  <a:lnTo>
                    <a:pt x="30" y="119"/>
                  </a:lnTo>
                  <a:lnTo>
                    <a:pt x="31" y="108"/>
                  </a:lnTo>
                  <a:lnTo>
                    <a:pt x="35" y="99"/>
                  </a:lnTo>
                  <a:lnTo>
                    <a:pt x="38" y="90"/>
                  </a:lnTo>
                  <a:lnTo>
                    <a:pt x="42" y="81"/>
                  </a:lnTo>
                  <a:lnTo>
                    <a:pt x="46" y="74"/>
                  </a:lnTo>
                  <a:lnTo>
                    <a:pt x="53" y="65"/>
                  </a:lnTo>
                  <a:lnTo>
                    <a:pt x="59" y="59"/>
                  </a:lnTo>
                  <a:lnTo>
                    <a:pt x="66" y="52"/>
                  </a:lnTo>
                  <a:lnTo>
                    <a:pt x="73" y="47"/>
                  </a:lnTo>
                  <a:lnTo>
                    <a:pt x="82" y="42"/>
                  </a:lnTo>
                  <a:lnTo>
                    <a:pt x="90" y="37"/>
                  </a:lnTo>
                  <a:lnTo>
                    <a:pt x="99" y="34"/>
                  </a:lnTo>
                  <a:lnTo>
                    <a:pt x="108" y="32"/>
                  </a:lnTo>
                  <a:lnTo>
                    <a:pt x="118" y="30"/>
                  </a:lnTo>
                  <a:lnTo>
                    <a:pt x="129" y="30"/>
                  </a:lnTo>
                  <a:lnTo>
                    <a:pt x="138" y="30"/>
                  </a:lnTo>
                  <a:lnTo>
                    <a:pt x="148" y="32"/>
                  </a:lnTo>
                  <a:lnTo>
                    <a:pt x="158" y="34"/>
                  </a:lnTo>
                  <a:lnTo>
                    <a:pt x="167" y="37"/>
                  </a:lnTo>
                  <a:lnTo>
                    <a:pt x="176" y="42"/>
                  </a:lnTo>
                  <a:lnTo>
                    <a:pt x="183" y="47"/>
                  </a:lnTo>
                  <a:lnTo>
                    <a:pt x="191" y="52"/>
                  </a:lnTo>
                  <a:lnTo>
                    <a:pt x="198" y="59"/>
                  </a:lnTo>
                  <a:lnTo>
                    <a:pt x="205" y="65"/>
                  </a:lnTo>
                  <a:lnTo>
                    <a:pt x="210" y="74"/>
                  </a:lnTo>
                  <a:lnTo>
                    <a:pt x="215" y="81"/>
                  </a:lnTo>
                  <a:lnTo>
                    <a:pt x="220" y="90"/>
                  </a:lnTo>
                  <a:lnTo>
                    <a:pt x="223" y="99"/>
                  </a:lnTo>
                  <a:lnTo>
                    <a:pt x="225" y="108"/>
                  </a:lnTo>
                  <a:lnTo>
                    <a:pt x="226" y="119"/>
                  </a:lnTo>
                  <a:lnTo>
                    <a:pt x="227" y="128"/>
                  </a:lnTo>
                  <a:lnTo>
                    <a:pt x="226" y="138"/>
                  </a:lnTo>
                  <a:lnTo>
                    <a:pt x="225" y="149"/>
                  </a:lnTo>
                  <a:lnTo>
                    <a:pt x="223" y="157"/>
                  </a:lnTo>
                  <a:lnTo>
                    <a:pt x="220" y="167"/>
                  </a:lnTo>
                  <a:lnTo>
                    <a:pt x="215" y="175"/>
                  </a:lnTo>
                  <a:lnTo>
                    <a:pt x="210" y="183"/>
                  </a:lnTo>
                  <a:lnTo>
                    <a:pt x="205" y="191"/>
                  </a:lnTo>
                  <a:lnTo>
                    <a:pt x="198" y="198"/>
                  </a:lnTo>
                  <a:lnTo>
                    <a:pt x="191" y="204"/>
                  </a:lnTo>
                  <a:lnTo>
                    <a:pt x="183" y="210"/>
                  </a:lnTo>
                  <a:lnTo>
                    <a:pt x="176" y="215"/>
                  </a:lnTo>
                  <a:lnTo>
                    <a:pt x="167" y="219"/>
                  </a:lnTo>
                  <a:lnTo>
                    <a:pt x="158" y="222"/>
                  </a:lnTo>
                  <a:lnTo>
                    <a:pt x="148" y="225"/>
                  </a:lnTo>
                  <a:lnTo>
                    <a:pt x="138" y="227"/>
                  </a:lnTo>
                  <a:lnTo>
                    <a:pt x="129" y="227"/>
                  </a:lnTo>
                  <a:lnTo>
                    <a:pt x="126" y="227"/>
                  </a:lnTo>
                  <a:lnTo>
                    <a:pt x="122" y="228"/>
                  </a:lnTo>
                  <a:lnTo>
                    <a:pt x="120" y="229"/>
                  </a:lnTo>
                  <a:lnTo>
                    <a:pt x="118" y="231"/>
                  </a:lnTo>
                  <a:lnTo>
                    <a:pt x="116" y="233"/>
                  </a:lnTo>
                  <a:lnTo>
                    <a:pt x="115" y="236"/>
                  </a:lnTo>
                  <a:lnTo>
                    <a:pt x="114" y="239"/>
                  </a:lnTo>
                  <a:lnTo>
                    <a:pt x="114" y="242"/>
                  </a:lnTo>
                  <a:lnTo>
                    <a:pt x="114" y="280"/>
                  </a:lnTo>
                  <a:lnTo>
                    <a:pt x="114" y="282"/>
                  </a:lnTo>
                  <a:lnTo>
                    <a:pt x="115" y="286"/>
                  </a:lnTo>
                  <a:lnTo>
                    <a:pt x="116" y="288"/>
                  </a:lnTo>
                  <a:lnTo>
                    <a:pt x="118" y="291"/>
                  </a:lnTo>
                  <a:lnTo>
                    <a:pt x="120" y="292"/>
                  </a:lnTo>
                  <a:lnTo>
                    <a:pt x="122" y="294"/>
                  </a:lnTo>
                  <a:lnTo>
                    <a:pt x="126" y="294"/>
                  </a:lnTo>
                  <a:lnTo>
                    <a:pt x="129" y="295"/>
                  </a:lnTo>
                  <a:lnTo>
                    <a:pt x="132" y="294"/>
                  </a:lnTo>
                  <a:lnTo>
                    <a:pt x="134" y="294"/>
                  </a:lnTo>
                  <a:lnTo>
                    <a:pt x="137" y="292"/>
                  </a:lnTo>
                  <a:lnTo>
                    <a:pt x="139" y="291"/>
                  </a:lnTo>
                  <a:lnTo>
                    <a:pt x="141" y="288"/>
                  </a:lnTo>
                  <a:lnTo>
                    <a:pt x="143" y="286"/>
                  </a:lnTo>
                  <a:lnTo>
                    <a:pt x="143" y="282"/>
                  </a:lnTo>
                  <a:lnTo>
                    <a:pt x="144" y="280"/>
                  </a:lnTo>
                  <a:lnTo>
                    <a:pt x="144" y="256"/>
                  </a:lnTo>
                  <a:lnTo>
                    <a:pt x="155" y="255"/>
                  </a:lnTo>
                  <a:lnTo>
                    <a:pt x="166" y="251"/>
                  </a:lnTo>
                  <a:lnTo>
                    <a:pt x="178" y="247"/>
                  </a:lnTo>
                  <a:lnTo>
                    <a:pt x="189" y="242"/>
                  </a:lnTo>
                  <a:lnTo>
                    <a:pt x="198" y="236"/>
                  </a:lnTo>
                  <a:lnTo>
                    <a:pt x="208" y="230"/>
                  </a:lnTo>
                  <a:lnTo>
                    <a:pt x="216" y="222"/>
                  </a:lnTo>
                  <a:lnTo>
                    <a:pt x="224" y="214"/>
                  </a:lnTo>
                  <a:lnTo>
                    <a:pt x="231" y="205"/>
                  </a:lnTo>
                  <a:lnTo>
                    <a:pt x="238" y="196"/>
                  </a:lnTo>
                  <a:lnTo>
                    <a:pt x="243" y="186"/>
                  </a:lnTo>
                  <a:lnTo>
                    <a:pt x="249" y="175"/>
                  </a:lnTo>
                  <a:lnTo>
                    <a:pt x="252" y="164"/>
                  </a:lnTo>
                  <a:lnTo>
                    <a:pt x="255" y="153"/>
                  </a:lnTo>
                  <a:lnTo>
                    <a:pt x="256" y="140"/>
                  </a:lnTo>
                  <a:lnTo>
                    <a:pt x="257" y="128"/>
                  </a:lnTo>
                  <a:lnTo>
                    <a:pt x="256" y="115"/>
                  </a:lnTo>
                  <a:lnTo>
                    <a:pt x="254" y="103"/>
                  </a:lnTo>
                  <a:lnTo>
                    <a:pt x="252" y="90"/>
                  </a:lnTo>
                  <a:lnTo>
                    <a:pt x="246" y="78"/>
                  </a:lnTo>
                  <a:lnTo>
                    <a:pt x="241" y="67"/>
                  </a:lnTo>
                  <a:lnTo>
                    <a:pt x="235" y="57"/>
                  </a:lnTo>
                  <a:lnTo>
                    <a:pt x="227" y="47"/>
                  </a:lnTo>
                  <a:lnTo>
                    <a:pt x="220" y="37"/>
                  </a:lnTo>
                  <a:lnTo>
                    <a:pt x="210" y="29"/>
                  </a:lnTo>
                  <a:lnTo>
                    <a:pt x="200" y="21"/>
                  </a:lnTo>
                  <a:lnTo>
                    <a:pt x="190" y="15"/>
                  </a:lnTo>
                  <a:lnTo>
                    <a:pt x="178" y="9"/>
                  </a:lnTo>
                  <a:lnTo>
                    <a:pt x="166" y="5"/>
                  </a:lnTo>
                  <a:lnTo>
                    <a:pt x="154" y="2"/>
                  </a:lnTo>
                  <a:lnTo>
                    <a:pt x="142" y="0"/>
                  </a:lnTo>
                  <a:lnTo>
                    <a:pt x="129" y="0"/>
                  </a:lnTo>
                  <a:lnTo>
                    <a:pt x="115" y="0"/>
                  </a:lnTo>
                  <a:lnTo>
                    <a:pt x="103" y="2"/>
                  </a:lnTo>
                  <a:lnTo>
                    <a:pt x="90" y="5"/>
                  </a:lnTo>
                  <a:lnTo>
                    <a:pt x="78" y="9"/>
                  </a:lnTo>
                  <a:lnTo>
                    <a:pt x="67" y="15"/>
                  </a:lnTo>
                  <a:lnTo>
                    <a:pt x="57" y="21"/>
                  </a:lnTo>
                  <a:lnTo>
                    <a:pt x="46" y="29"/>
                  </a:lnTo>
                  <a:lnTo>
                    <a:pt x="38" y="37"/>
                  </a:lnTo>
                  <a:lnTo>
                    <a:pt x="29" y="47"/>
                  </a:lnTo>
                  <a:lnTo>
                    <a:pt x="22" y="57"/>
                  </a:lnTo>
                  <a:lnTo>
                    <a:pt x="15" y="67"/>
                  </a:lnTo>
                  <a:lnTo>
                    <a:pt x="10" y="78"/>
                  </a:lnTo>
                  <a:lnTo>
                    <a:pt x="6" y="90"/>
                  </a:lnTo>
                  <a:lnTo>
                    <a:pt x="2" y="103"/>
                  </a:lnTo>
                  <a:lnTo>
                    <a:pt x="0" y="115"/>
                  </a:lnTo>
                  <a:lnTo>
                    <a:pt x="0" y="128"/>
                  </a:lnTo>
                  <a:lnTo>
                    <a:pt x="0" y="131"/>
                  </a:lnTo>
                  <a:lnTo>
                    <a:pt x="1" y="134"/>
                  </a:lnTo>
                  <a:lnTo>
                    <a:pt x="2" y="137"/>
                  </a:lnTo>
                  <a:lnTo>
                    <a:pt x="5" y="139"/>
                  </a:lnTo>
                  <a:lnTo>
                    <a:pt x="7" y="141"/>
                  </a:lnTo>
                  <a:lnTo>
                    <a:pt x="9" y="142"/>
                  </a:lnTo>
                  <a:lnTo>
                    <a:pt x="12" y="143"/>
                  </a:lnTo>
                  <a:lnTo>
                    <a:pt x="15" y="143"/>
                  </a:lnTo>
                  <a:lnTo>
                    <a:pt x="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927" name="Freeform 224">
              <a:extLst>
                <a:ext uri="{FF2B5EF4-FFF2-40B4-BE49-F238E27FC236}">
                  <a16:creationId xmlns:a16="http://schemas.microsoft.com/office/drawing/2014/main" id="{7CA7DA9D-5834-4C2B-B7B3-8A1417B8AAB6}"/>
                </a:ext>
              </a:extLst>
            </p:cNvPr>
            <p:cNvSpPr>
              <a:spLocks noEditPoints="1"/>
            </p:cNvSpPr>
            <p:nvPr/>
          </p:nvSpPr>
          <p:spPr bwMode="auto">
            <a:xfrm>
              <a:off x="450850" y="1539875"/>
              <a:ext cx="23813" cy="23813"/>
            </a:xfrm>
            <a:custGeom>
              <a:avLst/>
              <a:gdLst>
                <a:gd name="T0" fmla="*/ 39 w 76"/>
                <a:gd name="T1" fmla="*/ 45 h 75"/>
                <a:gd name="T2" fmla="*/ 36 w 76"/>
                <a:gd name="T3" fmla="*/ 45 h 75"/>
                <a:gd name="T4" fmla="*/ 33 w 76"/>
                <a:gd name="T5" fmla="*/ 43 h 75"/>
                <a:gd name="T6" fmla="*/ 31 w 76"/>
                <a:gd name="T7" fmla="*/ 41 h 75"/>
                <a:gd name="T8" fmla="*/ 30 w 76"/>
                <a:gd name="T9" fmla="*/ 37 h 75"/>
                <a:gd name="T10" fmla="*/ 31 w 76"/>
                <a:gd name="T11" fmla="*/ 34 h 75"/>
                <a:gd name="T12" fmla="*/ 33 w 76"/>
                <a:gd name="T13" fmla="*/ 32 h 75"/>
                <a:gd name="T14" fmla="*/ 36 w 76"/>
                <a:gd name="T15" fmla="*/ 30 h 75"/>
                <a:gd name="T16" fmla="*/ 39 w 76"/>
                <a:gd name="T17" fmla="*/ 30 h 75"/>
                <a:gd name="T18" fmla="*/ 42 w 76"/>
                <a:gd name="T19" fmla="*/ 30 h 75"/>
                <a:gd name="T20" fmla="*/ 44 w 76"/>
                <a:gd name="T21" fmla="*/ 32 h 75"/>
                <a:gd name="T22" fmla="*/ 45 w 76"/>
                <a:gd name="T23" fmla="*/ 34 h 75"/>
                <a:gd name="T24" fmla="*/ 46 w 76"/>
                <a:gd name="T25" fmla="*/ 37 h 75"/>
                <a:gd name="T26" fmla="*/ 45 w 76"/>
                <a:gd name="T27" fmla="*/ 41 h 75"/>
                <a:gd name="T28" fmla="*/ 44 w 76"/>
                <a:gd name="T29" fmla="*/ 43 h 75"/>
                <a:gd name="T30" fmla="*/ 42 w 76"/>
                <a:gd name="T31" fmla="*/ 45 h 75"/>
                <a:gd name="T32" fmla="*/ 39 w 76"/>
                <a:gd name="T33" fmla="*/ 45 h 75"/>
                <a:gd name="T34" fmla="*/ 39 w 76"/>
                <a:gd name="T35" fmla="*/ 45 h 75"/>
                <a:gd name="T36" fmla="*/ 39 w 76"/>
                <a:gd name="T37" fmla="*/ 0 h 75"/>
                <a:gd name="T38" fmla="*/ 31 w 76"/>
                <a:gd name="T39" fmla="*/ 0 h 75"/>
                <a:gd name="T40" fmla="*/ 24 w 76"/>
                <a:gd name="T41" fmla="*/ 2 h 75"/>
                <a:gd name="T42" fmla="*/ 17 w 76"/>
                <a:gd name="T43" fmla="*/ 6 h 75"/>
                <a:gd name="T44" fmla="*/ 12 w 76"/>
                <a:gd name="T45" fmla="*/ 11 h 75"/>
                <a:gd name="T46" fmla="*/ 7 w 76"/>
                <a:gd name="T47" fmla="*/ 16 h 75"/>
                <a:gd name="T48" fmla="*/ 3 w 76"/>
                <a:gd name="T49" fmla="*/ 22 h 75"/>
                <a:gd name="T50" fmla="*/ 1 w 76"/>
                <a:gd name="T51" fmla="*/ 30 h 75"/>
                <a:gd name="T52" fmla="*/ 0 w 76"/>
                <a:gd name="T53" fmla="*/ 37 h 75"/>
                <a:gd name="T54" fmla="*/ 1 w 76"/>
                <a:gd name="T55" fmla="*/ 45 h 75"/>
                <a:gd name="T56" fmla="*/ 3 w 76"/>
                <a:gd name="T57" fmla="*/ 52 h 75"/>
                <a:gd name="T58" fmla="*/ 7 w 76"/>
                <a:gd name="T59" fmla="*/ 59 h 75"/>
                <a:gd name="T60" fmla="*/ 12 w 76"/>
                <a:gd name="T61" fmla="*/ 64 h 75"/>
                <a:gd name="T62" fmla="*/ 17 w 76"/>
                <a:gd name="T63" fmla="*/ 68 h 75"/>
                <a:gd name="T64" fmla="*/ 24 w 76"/>
                <a:gd name="T65" fmla="*/ 73 h 75"/>
                <a:gd name="T66" fmla="*/ 31 w 76"/>
                <a:gd name="T67" fmla="*/ 75 h 75"/>
                <a:gd name="T68" fmla="*/ 39 w 76"/>
                <a:gd name="T69" fmla="*/ 75 h 75"/>
                <a:gd name="T70" fmla="*/ 46 w 76"/>
                <a:gd name="T71" fmla="*/ 75 h 75"/>
                <a:gd name="T72" fmla="*/ 53 w 76"/>
                <a:gd name="T73" fmla="*/ 73 h 75"/>
                <a:gd name="T74" fmla="*/ 60 w 76"/>
                <a:gd name="T75" fmla="*/ 68 h 75"/>
                <a:gd name="T76" fmla="*/ 65 w 76"/>
                <a:gd name="T77" fmla="*/ 64 h 75"/>
                <a:gd name="T78" fmla="*/ 70 w 76"/>
                <a:gd name="T79" fmla="*/ 59 h 75"/>
                <a:gd name="T80" fmla="*/ 73 w 76"/>
                <a:gd name="T81" fmla="*/ 52 h 75"/>
                <a:gd name="T82" fmla="*/ 75 w 76"/>
                <a:gd name="T83" fmla="*/ 45 h 75"/>
                <a:gd name="T84" fmla="*/ 76 w 76"/>
                <a:gd name="T85" fmla="*/ 37 h 75"/>
                <a:gd name="T86" fmla="*/ 75 w 76"/>
                <a:gd name="T87" fmla="*/ 30 h 75"/>
                <a:gd name="T88" fmla="*/ 73 w 76"/>
                <a:gd name="T89" fmla="*/ 22 h 75"/>
                <a:gd name="T90" fmla="*/ 70 w 76"/>
                <a:gd name="T91" fmla="*/ 16 h 75"/>
                <a:gd name="T92" fmla="*/ 65 w 76"/>
                <a:gd name="T93" fmla="*/ 11 h 75"/>
                <a:gd name="T94" fmla="*/ 60 w 76"/>
                <a:gd name="T95" fmla="*/ 6 h 75"/>
                <a:gd name="T96" fmla="*/ 53 w 76"/>
                <a:gd name="T97" fmla="*/ 2 h 75"/>
                <a:gd name="T98" fmla="*/ 46 w 76"/>
                <a:gd name="T99" fmla="*/ 0 h 75"/>
                <a:gd name="T100" fmla="*/ 39 w 76"/>
                <a:gd name="T101" fmla="*/ 0 h 75"/>
                <a:gd name="T102" fmla="*/ 39 w 76"/>
                <a:gd name="T10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75">
                  <a:moveTo>
                    <a:pt x="39" y="45"/>
                  </a:moveTo>
                  <a:lnTo>
                    <a:pt x="36" y="45"/>
                  </a:lnTo>
                  <a:lnTo>
                    <a:pt x="33" y="43"/>
                  </a:lnTo>
                  <a:lnTo>
                    <a:pt x="31" y="41"/>
                  </a:lnTo>
                  <a:lnTo>
                    <a:pt x="30" y="37"/>
                  </a:lnTo>
                  <a:lnTo>
                    <a:pt x="31" y="34"/>
                  </a:lnTo>
                  <a:lnTo>
                    <a:pt x="33" y="32"/>
                  </a:lnTo>
                  <a:lnTo>
                    <a:pt x="36" y="30"/>
                  </a:lnTo>
                  <a:lnTo>
                    <a:pt x="39" y="30"/>
                  </a:lnTo>
                  <a:lnTo>
                    <a:pt x="42" y="30"/>
                  </a:lnTo>
                  <a:lnTo>
                    <a:pt x="44" y="32"/>
                  </a:lnTo>
                  <a:lnTo>
                    <a:pt x="45" y="34"/>
                  </a:lnTo>
                  <a:lnTo>
                    <a:pt x="46" y="37"/>
                  </a:lnTo>
                  <a:lnTo>
                    <a:pt x="45" y="41"/>
                  </a:lnTo>
                  <a:lnTo>
                    <a:pt x="44" y="43"/>
                  </a:lnTo>
                  <a:lnTo>
                    <a:pt x="42" y="45"/>
                  </a:lnTo>
                  <a:lnTo>
                    <a:pt x="39" y="45"/>
                  </a:lnTo>
                  <a:lnTo>
                    <a:pt x="39" y="45"/>
                  </a:lnTo>
                  <a:close/>
                  <a:moveTo>
                    <a:pt x="39" y="0"/>
                  </a:moveTo>
                  <a:lnTo>
                    <a:pt x="31" y="0"/>
                  </a:lnTo>
                  <a:lnTo>
                    <a:pt x="24" y="2"/>
                  </a:lnTo>
                  <a:lnTo>
                    <a:pt x="17" y="6"/>
                  </a:lnTo>
                  <a:lnTo>
                    <a:pt x="12" y="11"/>
                  </a:lnTo>
                  <a:lnTo>
                    <a:pt x="7" y="16"/>
                  </a:lnTo>
                  <a:lnTo>
                    <a:pt x="3" y="22"/>
                  </a:lnTo>
                  <a:lnTo>
                    <a:pt x="1" y="30"/>
                  </a:lnTo>
                  <a:lnTo>
                    <a:pt x="0" y="37"/>
                  </a:lnTo>
                  <a:lnTo>
                    <a:pt x="1" y="45"/>
                  </a:lnTo>
                  <a:lnTo>
                    <a:pt x="3" y="52"/>
                  </a:lnTo>
                  <a:lnTo>
                    <a:pt x="7" y="59"/>
                  </a:lnTo>
                  <a:lnTo>
                    <a:pt x="12" y="64"/>
                  </a:lnTo>
                  <a:lnTo>
                    <a:pt x="17" y="68"/>
                  </a:lnTo>
                  <a:lnTo>
                    <a:pt x="24" y="73"/>
                  </a:lnTo>
                  <a:lnTo>
                    <a:pt x="31" y="75"/>
                  </a:lnTo>
                  <a:lnTo>
                    <a:pt x="39" y="75"/>
                  </a:lnTo>
                  <a:lnTo>
                    <a:pt x="46" y="75"/>
                  </a:lnTo>
                  <a:lnTo>
                    <a:pt x="53" y="73"/>
                  </a:lnTo>
                  <a:lnTo>
                    <a:pt x="60" y="68"/>
                  </a:lnTo>
                  <a:lnTo>
                    <a:pt x="65" y="64"/>
                  </a:lnTo>
                  <a:lnTo>
                    <a:pt x="70" y="59"/>
                  </a:lnTo>
                  <a:lnTo>
                    <a:pt x="73" y="52"/>
                  </a:lnTo>
                  <a:lnTo>
                    <a:pt x="75" y="45"/>
                  </a:lnTo>
                  <a:lnTo>
                    <a:pt x="76" y="37"/>
                  </a:lnTo>
                  <a:lnTo>
                    <a:pt x="75" y="30"/>
                  </a:lnTo>
                  <a:lnTo>
                    <a:pt x="73" y="22"/>
                  </a:lnTo>
                  <a:lnTo>
                    <a:pt x="70" y="16"/>
                  </a:lnTo>
                  <a:lnTo>
                    <a:pt x="65" y="11"/>
                  </a:lnTo>
                  <a:lnTo>
                    <a:pt x="60" y="6"/>
                  </a:lnTo>
                  <a:lnTo>
                    <a:pt x="53" y="2"/>
                  </a:lnTo>
                  <a:lnTo>
                    <a:pt x="46" y="0"/>
                  </a:lnTo>
                  <a:lnTo>
                    <a:pt x="39" y="0"/>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sp>
        <p:nvSpPr>
          <p:cNvPr id="1073" name="Freeform 5">
            <a:extLst>
              <a:ext uri="{FF2B5EF4-FFF2-40B4-BE49-F238E27FC236}">
                <a16:creationId xmlns:a16="http://schemas.microsoft.com/office/drawing/2014/main" id="{2B4FFF51-831C-4291-A924-E723FD771015}"/>
              </a:ext>
            </a:extLst>
          </p:cNvPr>
          <p:cNvSpPr>
            <a:spLocks noChangeAspect="1" noEditPoints="1"/>
          </p:cNvSpPr>
          <p:nvPr/>
        </p:nvSpPr>
        <p:spPr bwMode="auto">
          <a:xfrm>
            <a:off x="1900235" y="5417577"/>
            <a:ext cx="272925" cy="285619"/>
          </a:xfrm>
          <a:custGeom>
            <a:avLst/>
            <a:gdLst>
              <a:gd name="T0" fmla="*/ 44 w 88"/>
              <a:gd name="T1" fmla="*/ 92 h 92"/>
              <a:gd name="T2" fmla="*/ 43 w 88"/>
              <a:gd name="T3" fmla="*/ 91 h 92"/>
              <a:gd name="T4" fmla="*/ 0 w 88"/>
              <a:gd name="T5" fmla="*/ 29 h 92"/>
              <a:gd name="T6" fmla="*/ 23 w 88"/>
              <a:gd name="T7" fmla="*/ 0 h 92"/>
              <a:gd name="T8" fmla="*/ 44 w 88"/>
              <a:gd name="T9" fmla="*/ 16 h 92"/>
              <a:gd name="T10" fmla="*/ 66 w 88"/>
              <a:gd name="T11" fmla="*/ 0 h 92"/>
              <a:gd name="T12" fmla="*/ 88 w 88"/>
              <a:gd name="T13" fmla="*/ 26 h 92"/>
              <a:gd name="T14" fmla="*/ 45 w 88"/>
              <a:gd name="T15" fmla="*/ 91 h 92"/>
              <a:gd name="T16" fmla="*/ 44 w 88"/>
              <a:gd name="T17" fmla="*/ 92 h 92"/>
              <a:gd name="T18" fmla="*/ 23 w 88"/>
              <a:gd name="T19" fmla="*/ 4 h 92"/>
              <a:gd name="T20" fmla="*/ 4 w 88"/>
              <a:gd name="T21" fmla="*/ 29 h 92"/>
              <a:gd name="T22" fmla="*/ 44 w 88"/>
              <a:gd name="T23" fmla="*/ 87 h 92"/>
              <a:gd name="T24" fmla="*/ 84 w 88"/>
              <a:gd name="T25" fmla="*/ 26 h 92"/>
              <a:gd name="T26" fmla="*/ 66 w 88"/>
              <a:gd name="T27" fmla="*/ 4 h 92"/>
              <a:gd name="T28" fmla="*/ 46 w 88"/>
              <a:gd name="T29" fmla="*/ 24 h 92"/>
              <a:gd name="T30" fmla="*/ 44 w 88"/>
              <a:gd name="T31" fmla="*/ 26 h 92"/>
              <a:gd name="T32" fmla="*/ 42 w 88"/>
              <a:gd name="T33" fmla="*/ 24 h 92"/>
              <a:gd name="T34" fmla="*/ 23 w 88"/>
              <a:gd name="T35"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2">
                <a:moveTo>
                  <a:pt x="44" y="92"/>
                </a:moveTo>
                <a:cubicBezTo>
                  <a:pt x="44" y="92"/>
                  <a:pt x="43" y="91"/>
                  <a:pt x="43" y="91"/>
                </a:cubicBezTo>
                <a:cubicBezTo>
                  <a:pt x="41" y="90"/>
                  <a:pt x="0" y="62"/>
                  <a:pt x="0" y="29"/>
                </a:cubicBezTo>
                <a:cubicBezTo>
                  <a:pt x="0" y="10"/>
                  <a:pt x="12" y="0"/>
                  <a:pt x="23" y="0"/>
                </a:cubicBezTo>
                <a:cubicBezTo>
                  <a:pt x="31" y="0"/>
                  <a:pt x="40" y="5"/>
                  <a:pt x="44" y="16"/>
                </a:cubicBezTo>
                <a:cubicBezTo>
                  <a:pt x="48" y="5"/>
                  <a:pt x="57" y="0"/>
                  <a:pt x="66" y="0"/>
                </a:cubicBezTo>
                <a:cubicBezTo>
                  <a:pt x="77" y="0"/>
                  <a:pt x="88" y="9"/>
                  <a:pt x="88" y="26"/>
                </a:cubicBezTo>
                <a:cubicBezTo>
                  <a:pt x="88" y="58"/>
                  <a:pt x="47" y="90"/>
                  <a:pt x="45" y="91"/>
                </a:cubicBezTo>
                <a:cubicBezTo>
                  <a:pt x="45" y="91"/>
                  <a:pt x="44" y="92"/>
                  <a:pt x="44" y="92"/>
                </a:cubicBezTo>
                <a:close/>
                <a:moveTo>
                  <a:pt x="23" y="4"/>
                </a:moveTo>
                <a:cubicBezTo>
                  <a:pt x="14" y="4"/>
                  <a:pt x="4" y="12"/>
                  <a:pt x="4" y="29"/>
                </a:cubicBezTo>
                <a:cubicBezTo>
                  <a:pt x="4" y="57"/>
                  <a:pt x="37" y="82"/>
                  <a:pt x="44" y="87"/>
                </a:cubicBezTo>
                <a:cubicBezTo>
                  <a:pt x="51" y="82"/>
                  <a:pt x="84" y="53"/>
                  <a:pt x="84" y="26"/>
                </a:cubicBezTo>
                <a:cubicBezTo>
                  <a:pt x="84" y="11"/>
                  <a:pt x="74" y="4"/>
                  <a:pt x="66" y="4"/>
                </a:cubicBezTo>
                <a:cubicBezTo>
                  <a:pt x="58" y="4"/>
                  <a:pt x="48" y="9"/>
                  <a:pt x="46" y="24"/>
                </a:cubicBezTo>
                <a:cubicBezTo>
                  <a:pt x="46" y="25"/>
                  <a:pt x="45" y="26"/>
                  <a:pt x="44" y="26"/>
                </a:cubicBezTo>
                <a:cubicBezTo>
                  <a:pt x="43" y="26"/>
                  <a:pt x="42" y="25"/>
                  <a:pt x="42" y="24"/>
                </a:cubicBezTo>
                <a:cubicBezTo>
                  <a:pt x="40" y="9"/>
                  <a:pt x="30" y="4"/>
                  <a:pt x="23" y="4"/>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489" name="Group 15">
            <a:extLst>
              <a:ext uri="{FF2B5EF4-FFF2-40B4-BE49-F238E27FC236}">
                <a16:creationId xmlns:a16="http://schemas.microsoft.com/office/drawing/2014/main" id="{42704C4E-7A4F-42EF-A744-32ED4632B312}"/>
              </a:ext>
            </a:extLst>
          </p:cNvPr>
          <p:cNvGrpSpPr>
            <a:grpSpLocks noChangeAspect="1"/>
          </p:cNvGrpSpPr>
          <p:nvPr/>
        </p:nvGrpSpPr>
        <p:grpSpPr>
          <a:xfrm>
            <a:off x="1898865" y="3263433"/>
            <a:ext cx="275664" cy="285619"/>
            <a:chOff x="3009369" y="2439528"/>
            <a:chExt cx="664188" cy="688174"/>
          </a:xfrm>
          <a:solidFill>
            <a:schemeClr val="bg1"/>
          </a:solidFill>
          <a:effectLst/>
        </p:grpSpPr>
        <p:sp>
          <p:nvSpPr>
            <p:cNvPr id="490" name="Freeform 77">
              <a:extLst>
                <a:ext uri="{FF2B5EF4-FFF2-40B4-BE49-F238E27FC236}">
                  <a16:creationId xmlns:a16="http://schemas.microsoft.com/office/drawing/2014/main" id="{9C46F9A2-F64F-458A-804E-28C64A4DFDEA}"/>
                </a:ext>
              </a:extLst>
            </p:cNvPr>
            <p:cNvSpPr>
              <a:spLocks noEditPoints="1"/>
            </p:cNvSpPr>
            <p:nvPr/>
          </p:nvSpPr>
          <p:spPr bwMode="auto">
            <a:xfrm>
              <a:off x="3132981" y="2563141"/>
              <a:ext cx="418808" cy="416963"/>
            </a:xfrm>
            <a:custGeom>
              <a:avLst/>
              <a:gdLst>
                <a:gd name="T0" fmla="*/ 280 w 680"/>
                <a:gd name="T1" fmla="*/ 46 h 680"/>
                <a:gd name="T2" fmla="*/ 210 w 680"/>
                <a:gd name="T3" fmla="*/ 70 h 680"/>
                <a:gd name="T4" fmla="*/ 149 w 680"/>
                <a:gd name="T5" fmla="*/ 108 h 680"/>
                <a:gd name="T6" fmla="*/ 100 w 680"/>
                <a:gd name="T7" fmla="*/ 160 h 680"/>
                <a:gd name="T8" fmla="*/ 64 w 680"/>
                <a:gd name="T9" fmla="*/ 223 h 680"/>
                <a:gd name="T10" fmla="*/ 44 w 680"/>
                <a:gd name="T11" fmla="*/ 295 h 680"/>
                <a:gd name="T12" fmla="*/ 41 w 680"/>
                <a:gd name="T13" fmla="*/ 370 h 680"/>
                <a:gd name="T14" fmla="*/ 59 w 680"/>
                <a:gd name="T15" fmla="*/ 442 h 680"/>
                <a:gd name="T16" fmla="*/ 91 w 680"/>
                <a:gd name="T17" fmla="*/ 507 h 680"/>
                <a:gd name="T18" fmla="*/ 138 w 680"/>
                <a:gd name="T19" fmla="*/ 562 h 680"/>
                <a:gd name="T20" fmla="*/ 197 w 680"/>
                <a:gd name="T21" fmla="*/ 604 h 680"/>
                <a:gd name="T22" fmla="*/ 265 w 680"/>
                <a:gd name="T23" fmla="*/ 630 h 680"/>
                <a:gd name="T24" fmla="*/ 339 w 680"/>
                <a:gd name="T25" fmla="*/ 640 h 680"/>
                <a:gd name="T26" fmla="*/ 415 w 680"/>
                <a:gd name="T27" fmla="*/ 630 h 680"/>
                <a:gd name="T28" fmla="*/ 482 w 680"/>
                <a:gd name="T29" fmla="*/ 604 h 680"/>
                <a:gd name="T30" fmla="*/ 542 w 680"/>
                <a:gd name="T31" fmla="*/ 562 h 680"/>
                <a:gd name="T32" fmla="*/ 589 w 680"/>
                <a:gd name="T33" fmla="*/ 507 h 680"/>
                <a:gd name="T34" fmla="*/ 621 w 680"/>
                <a:gd name="T35" fmla="*/ 442 h 680"/>
                <a:gd name="T36" fmla="*/ 639 w 680"/>
                <a:gd name="T37" fmla="*/ 370 h 680"/>
                <a:gd name="T38" fmla="*/ 636 w 680"/>
                <a:gd name="T39" fmla="*/ 295 h 680"/>
                <a:gd name="T40" fmla="*/ 616 w 680"/>
                <a:gd name="T41" fmla="*/ 223 h 680"/>
                <a:gd name="T42" fmla="*/ 580 w 680"/>
                <a:gd name="T43" fmla="*/ 160 h 680"/>
                <a:gd name="T44" fmla="*/ 531 w 680"/>
                <a:gd name="T45" fmla="*/ 108 h 680"/>
                <a:gd name="T46" fmla="*/ 470 w 680"/>
                <a:gd name="T47" fmla="*/ 70 h 680"/>
                <a:gd name="T48" fmla="*/ 400 w 680"/>
                <a:gd name="T49" fmla="*/ 46 h 680"/>
                <a:gd name="T50" fmla="*/ 339 w 680"/>
                <a:gd name="T51" fmla="*/ 680 h 680"/>
                <a:gd name="T52" fmla="*/ 255 w 680"/>
                <a:gd name="T53" fmla="*/ 669 h 680"/>
                <a:gd name="T54" fmla="*/ 178 w 680"/>
                <a:gd name="T55" fmla="*/ 639 h 680"/>
                <a:gd name="T56" fmla="*/ 111 w 680"/>
                <a:gd name="T57" fmla="*/ 592 h 680"/>
                <a:gd name="T58" fmla="*/ 59 w 680"/>
                <a:gd name="T59" fmla="*/ 529 h 680"/>
                <a:gd name="T60" fmla="*/ 20 w 680"/>
                <a:gd name="T61" fmla="*/ 456 h 680"/>
                <a:gd name="T62" fmla="*/ 2 w 680"/>
                <a:gd name="T63" fmla="*/ 374 h 680"/>
                <a:gd name="T64" fmla="*/ 4 w 680"/>
                <a:gd name="T65" fmla="*/ 288 h 680"/>
                <a:gd name="T66" fmla="*/ 26 w 680"/>
                <a:gd name="T67" fmla="*/ 208 h 680"/>
                <a:gd name="T68" fmla="*/ 67 w 680"/>
                <a:gd name="T69" fmla="*/ 137 h 680"/>
                <a:gd name="T70" fmla="*/ 123 w 680"/>
                <a:gd name="T71" fmla="*/ 77 h 680"/>
                <a:gd name="T72" fmla="*/ 193 w 680"/>
                <a:gd name="T73" fmla="*/ 34 h 680"/>
                <a:gd name="T74" fmla="*/ 271 w 680"/>
                <a:gd name="T75" fmla="*/ 6 h 680"/>
                <a:gd name="T76" fmla="*/ 357 w 680"/>
                <a:gd name="T77" fmla="*/ 0 h 680"/>
                <a:gd name="T78" fmla="*/ 441 w 680"/>
                <a:gd name="T79" fmla="*/ 15 h 680"/>
                <a:gd name="T80" fmla="*/ 516 w 680"/>
                <a:gd name="T81" fmla="*/ 49 h 680"/>
                <a:gd name="T82" fmla="*/ 580 w 680"/>
                <a:gd name="T83" fmla="*/ 100 h 680"/>
                <a:gd name="T84" fmla="*/ 630 w 680"/>
                <a:gd name="T85" fmla="*/ 164 h 680"/>
                <a:gd name="T86" fmla="*/ 665 w 680"/>
                <a:gd name="T87" fmla="*/ 239 h 680"/>
                <a:gd name="T88" fmla="*/ 680 w 680"/>
                <a:gd name="T89" fmla="*/ 322 h 680"/>
                <a:gd name="T90" fmla="*/ 672 w 680"/>
                <a:gd name="T91" fmla="*/ 408 h 680"/>
                <a:gd name="T92" fmla="*/ 646 w 680"/>
                <a:gd name="T93" fmla="*/ 487 h 680"/>
                <a:gd name="T94" fmla="*/ 601 w 680"/>
                <a:gd name="T95" fmla="*/ 555 h 680"/>
                <a:gd name="T96" fmla="*/ 543 w 680"/>
                <a:gd name="T97" fmla="*/ 613 h 680"/>
                <a:gd name="T98" fmla="*/ 472 w 680"/>
                <a:gd name="T99" fmla="*/ 652 h 680"/>
                <a:gd name="T100" fmla="*/ 392 w 680"/>
                <a:gd name="T101" fmla="*/ 67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0" h="680">
                  <a:moveTo>
                    <a:pt x="339" y="40"/>
                  </a:moveTo>
                  <a:lnTo>
                    <a:pt x="324" y="40"/>
                  </a:lnTo>
                  <a:lnTo>
                    <a:pt x="310" y="41"/>
                  </a:lnTo>
                  <a:lnTo>
                    <a:pt x="295" y="44"/>
                  </a:lnTo>
                  <a:lnTo>
                    <a:pt x="280" y="46"/>
                  </a:lnTo>
                  <a:lnTo>
                    <a:pt x="265" y="50"/>
                  </a:lnTo>
                  <a:lnTo>
                    <a:pt x="251" y="54"/>
                  </a:lnTo>
                  <a:lnTo>
                    <a:pt x="236" y="59"/>
                  </a:lnTo>
                  <a:lnTo>
                    <a:pt x="223" y="63"/>
                  </a:lnTo>
                  <a:lnTo>
                    <a:pt x="210" y="70"/>
                  </a:lnTo>
                  <a:lnTo>
                    <a:pt x="197" y="76"/>
                  </a:lnTo>
                  <a:lnTo>
                    <a:pt x="184" y="83"/>
                  </a:lnTo>
                  <a:lnTo>
                    <a:pt x="172" y="91"/>
                  </a:lnTo>
                  <a:lnTo>
                    <a:pt x="161" y="100"/>
                  </a:lnTo>
                  <a:lnTo>
                    <a:pt x="149" y="108"/>
                  </a:lnTo>
                  <a:lnTo>
                    <a:pt x="138" y="118"/>
                  </a:lnTo>
                  <a:lnTo>
                    <a:pt x="128" y="128"/>
                  </a:lnTo>
                  <a:lnTo>
                    <a:pt x="118" y="138"/>
                  </a:lnTo>
                  <a:lnTo>
                    <a:pt x="108" y="149"/>
                  </a:lnTo>
                  <a:lnTo>
                    <a:pt x="100" y="160"/>
                  </a:lnTo>
                  <a:lnTo>
                    <a:pt x="91" y="172"/>
                  </a:lnTo>
                  <a:lnTo>
                    <a:pt x="83" y="184"/>
                  </a:lnTo>
                  <a:lnTo>
                    <a:pt x="76" y="196"/>
                  </a:lnTo>
                  <a:lnTo>
                    <a:pt x="70" y="210"/>
                  </a:lnTo>
                  <a:lnTo>
                    <a:pt x="64" y="223"/>
                  </a:lnTo>
                  <a:lnTo>
                    <a:pt x="59" y="236"/>
                  </a:lnTo>
                  <a:lnTo>
                    <a:pt x="54" y="251"/>
                  </a:lnTo>
                  <a:lnTo>
                    <a:pt x="50" y="265"/>
                  </a:lnTo>
                  <a:lnTo>
                    <a:pt x="46" y="280"/>
                  </a:lnTo>
                  <a:lnTo>
                    <a:pt x="44" y="295"/>
                  </a:lnTo>
                  <a:lnTo>
                    <a:pt x="41" y="309"/>
                  </a:lnTo>
                  <a:lnTo>
                    <a:pt x="40" y="324"/>
                  </a:lnTo>
                  <a:lnTo>
                    <a:pt x="40" y="339"/>
                  </a:lnTo>
                  <a:lnTo>
                    <a:pt x="40" y="355"/>
                  </a:lnTo>
                  <a:lnTo>
                    <a:pt x="41" y="370"/>
                  </a:lnTo>
                  <a:lnTo>
                    <a:pt x="44" y="385"/>
                  </a:lnTo>
                  <a:lnTo>
                    <a:pt x="46" y="400"/>
                  </a:lnTo>
                  <a:lnTo>
                    <a:pt x="50" y="415"/>
                  </a:lnTo>
                  <a:lnTo>
                    <a:pt x="54" y="429"/>
                  </a:lnTo>
                  <a:lnTo>
                    <a:pt x="59" y="442"/>
                  </a:lnTo>
                  <a:lnTo>
                    <a:pt x="64" y="456"/>
                  </a:lnTo>
                  <a:lnTo>
                    <a:pt x="70" y="470"/>
                  </a:lnTo>
                  <a:lnTo>
                    <a:pt x="76" y="482"/>
                  </a:lnTo>
                  <a:lnTo>
                    <a:pt x="83" y="495"/>
                  </a:lnTo>
                  <a:lnTo>
                    <a:pt x="91" y="507"/>
                  </a:lnTo>
                  <a:lnTo>
                    <a:pt x="100" y="519"/>
                  </a:lnTo>
                  <a:lnTo>
                    <a:pt x="108" y="531"/>
                  </a:lnTo>
                  <a:lnTo>
                    <a:pt x="118" y="542"/>
                  </a:lnTo>
                  <a:lnTo>
                    <a:pt x="128" y="552"/>
                  </a:lnTo>
                  <a:lnTo>
                    <a:pt x="138" y="562"/>
                  </a:lnTo>
                  <a:lnTo>
                    <a:pt x="149" y="572"/>
                  </a:lnTo>
                  <a:lnTo>
                    <a:pt x="161" y="580"/>
                  </a:lnTo>
                  <a:lnTo>
                    <a:pt x="172" y="589"/>
                  </a:lnTo>
                  <a:lnTo>
                    <a:pt x="184" y="596"/>
                  </a:lnTo>
                  <a:lnTo>
                    <a:pt x="197" y="604"/>
                  </a:lnTo>
                  <a:lnTo>
                    <a:pt x="210" y="610"/>
                  </a:lnTo>
                  <a:lnTo>
                    <a:pt x="223" y="616"/>
                  </a:lnTo>
                  <a:lnTo>
                    <a:pt x="236" y="621"/>
                  </a:lnTo>
                  <a:lnTo>
                    <a:pt x="251" y="626"/>
                  </a:lnTo>
                  <a:lnTo>
                    <a:pt x="265" y="630"/>
                  </a:lnTo>
                  <a:lnTo>
                    <a:pt x="280" y="634"/>
                  </a:lnTo>
                  <a:lnTo>
                    <a:pt x="295" y="636"/>
                  </a:lnTo>
                  <a:lnTo>
                    <a:pt x="310" y="639"/>
                  </a:lnTo>
                  <a:lnTo>
                    <a:pt x="324" y="640"/>
                  </a:lnTo>
                  <a:lnTo>
                    <a:pt x="339" y="640"/>
                  </a:lnTo>
                  <a:lnTo>
                    <a:pt x="355" y="640"/>
                  </a:lnTo>
                  <a:lnTo>
                    <a:pt x="370" y="639"/>
                  </a:lnTo>
                  <a:lnTo>
                    <a:pt x="385" y="636"/>
                  </a:lnTo>
                  <a:lnTo>
                    <a:pt x="400" y="634"/>
                  </a:lnTo>
                  <a:lnTo>
                    <a:pt x="415" y="630"/>
                  </a:lnTo>
                  <a:lnTo>
                    <a:pt x="429" y="626"/>
                  </a:lnTo>
                  <a:lnTo>
                    <a:pt x="442" y="621"/>
                  </a:lnTo>
                  <a:lnTo>
                    <a:pt x="456" y="616"/>
                  </a:lnTo>
                  <a:lnTo>
                    <a:pt x="470" y="610"/>
                  </a:lnTo>
                  <a:lnTo>
                    <a:pt x="482" y="604"/>
                  </a:lnTo>
                  <a:lnTo>
                    <a:pt x="495" y="596"/>
                  </a:lnTo>
                  <a:lnTo>
                    <a:pt x="507" y="589"/>
                  </a:lnTo>
                  <a:lnTo>
                    <a:pt x="519" y="580"/>
                  </a:lnTo>
                  <a:lnTo>
                    <a:pt x="531" y="572"/>
                  </a:lnTo>
                  <a:lnTo>
                    <a:pt x="542" y="562"/>
                  </a:lnTo>
                  <a:lnTo>
                    <a:pt x="552" y="552"/>
                  </a:lnTo>
                  <a:lnTo>
                    <a:pt x="562" y="542"/>
                  </a:lnTo>
                  <a:lnTo>
                    <a:pt x="572" y="531"/>
                  </a:lnTo>
                  <a:lnTo>
                    <a:pt x="580" y="519"/>
                  </a:lnTo>
                  <a:lnTo>
                    <a:pt x="589" y="507"/>
                  </a:lnTo>
                  <a:lnTo>
                    <a:pt x="596" y="495"/>
                  </a:lnTo>
                  <a:lnTo>
                    <a:pt x="604" y="482"/>
                  </a:lnTo>
                  <a:lnTo>
                    <a:pt x="610" y="470"/>
                  </a:lnTo>
                  <a:lnTo>
                    <a:pt x="616" y="456"/>
                  </a:lnTo>
                  <a:lnTo>
                    <a:pt x="621" y="442"/>
                  </a:lnTo>
                  <a:lnTo>
                    <a:pt x="626" y="429"/>
                  </a:lnTo>
                  <a:lnTo>
                    <a:pt x="630" y="415"/>
                  </a:lnTo>
                  <a:lnTo>
                    <a:pt x="634" y="400"/>
                  </a:lnTo>
                  <a:lnTo>
                    <a:pt x="636" y="385"/>
                  </a:lnTo>
                  <a:lnTo>
                    <a:pt x="639" y="370"/>
                  </a:lnTo>
                  <a:lnTo>
                    <a:pt x="640" y="355"/>
                  </a:lnTo>
                  <a:lnTo>
                    <a:pt x="640" y="339"/>
                  </a:lnTo>
                  <a:lnTo>
                    <a:pt x="640" y="324"/>
                  </a:lnTo>
                  <a:lnTo>
                    <a:pt x="639" y="309"/>
                  </a:lnTo>
                  <a:lnTo>
                    <a:pt x="636" y="295"/>
                  </a:lnTo>
                  <a:lnTo>
                    <a:pt x="634" y="280"/>
                  </a:lnTo>
                  <a:lnTo>
                    <a:pt x="630" y="265"/>
                  </a:lnTo>
                  <a:lnTo>
                    <a:pt x="626" y="251"/>
                  </a:lnTo>
                  <a:lnTo>
                    <a:pt x="621" y="236"/>
                  </a:lnTo>
                  <a:lnTo>
                    <a:pt x="616" y="223"/>
                  </a:lnTo>
                  <a:lnTo>
                    <a:pt x="610" y="210"/>
                  </a:lnTo>
                  <a:lnTo>
                    <a:pt x="604" y="196"/>
                  </a:lnTo>
                  <a:lnTo>
                    <a:pt x="596" y="184"/>
                  </a:lnTo>
                  <a:lnTo>
                    <a:pt x="589" y="172"/>
                  </a:lnTo>
                  <a:lnTo>
                    <a:pt x="580" y="160"/>
                  </a:lnTo>
                  <a:lnTo>
                    <a:pt x="572" y="149"/>
                  </a:lnTo>
                  <a:lnTo>
                    <a:pt x="562" y="138"/>
                  </a:lnTo>
                  <a:lnTo>
                    <a:pt x="552" y="128"/>
                  </a:lnTo>
                  <a:lnTo>
                    <a:pt x="542" y="118"/>
                  </a:lnTo>
                  <a:lnTo>
                    <a:pt x="531" y="108"/>
                  </a:lnTo>
                  <a:lnTo>
                    <a:pt x="519" y="100"/>
                  </a:lnTo>
                  <a:lnTo>
                    <a:pt x="507" y="91"/>
                  </a:lnTo>
                  <a:lnTo>
                    <a:pt x="495" y="83"/>
                  </a:lnTo>
                  <a:lnTo>
                    <a:pt x="482" y="76"/>
                  </a:lnTo>
                  <a:lnTo>
                    <a:pt x="470" y="70"/>
                  </a:lnTo>
                  <a:lnTo>
                    <a:pt x="456" y="63"/>
                  </a:lnTo>
                  <a:lnTo>
                    <a:pt x="442" y="59"/>
                  </a:lnTo>
                  <a:lnTo>
                    <a:pt x="429" y="54"/>
                  </a:lnTo>
                  <a:lnTo>
                    <a:pt x="415" y="50"/>
                  </a:lnTo>
                  <a:lnTo>
                    <a:pt x="400" y="46"/>
                  </a:lnTo>
                  <a:lnTo>
                    <a:pt x="385" y="44"/>
                  </a:lnTo>
                  <a:lnTo>
                    <a:pt x="370" y="41"/>
                  </a:lnTo>
                  <a:lnTo>
                    <a:pt x="355" y="40"/>
                  </a:lnTo>
                  <a:lnTo>
                    <a:pt x="339" y="40"/>
                  </a:lnTo>
                  <a:close/>
                  <a:moveTo>
                    <a:pt x="339" y="680"/>
                  </a:moveTo>
                  <a:lnTo>
                    <a:pt x="322" y="680"/>
                  </a:lnTo>
                  <a:lnTo>
                    <a:pt x="305" y="678"/>
                  </a:lnTo>
                  <a:lnTo>
                    <a:pt x="288" y="676"/>
                  </a:lnTo>
                  <a:lnTo>
                    <a:pt x="271" y="672"/>
                  </a:lnTo>
                  <a:lnTo>
                    <a:pt x="255" y="669"/>
                  </a:lnTo>
                  <a:lnTo>
                    <a:pt x="239" y="665"/>
                  </a:lnTo>
                  <a:lnTo>
                    <a:pt x="223" y="659"/>
                  </a:lnTo>
                  <a:lnTo>
                    <a:pt x="208" y="652"/>
                  </a:lnTo>
                  <a:lnTo>
                    <a:pt x="193" y="646"/>
                  </a:lnTo>
                  <a:lnTo>
                    <a:pt x="178" y="639"/>
                  </a:lnTo>
                  <a:lnTo>
                    <a:pt x="164" y="630"/>
                  </a:lnTo>
                  <a:lnTo>
                    <a:pt x="149" y="621"/>
                  </a:lnTo>
                  <a:lnTo>
                    <a:pt x="137" y="613"/>
                  </a:lnTo>
                  <a:lnTo>
                    <a:pt x="123" y="601"/>
                  </a:lnTo>
                  <a:lnTo>
                    <a:pt x="111" y="592"/>
                  </a:lnTo>
                  <a:lnTo>
                    <a:pt x="100" y="580"/>
                  </a:lnTo>
                  <a:lnTo>
                    <a:pt x="88" y="568"/>
                  </a:lnTo>
                  <a:lnTo>
                    <a:pt x="77" y="555"/>
                  </a:lnTo>
                  <a:lnTo>
                    <a:pt x="67" y="543"/>
                  </a:lnTo>
                  <a:lnTo>
                    <a:pt x="59" y="529"/>
                  </a:lnTo>
                  <a:lnTo>
                    <a:pt x="49" y="516"/>
                  </a:lnTo>
                  <a:lnTo>
                    <a:pt x="41" y="502"/>
                  </a:lnTo>
                  <a:lnTo>
                    <a:pt x="34" y="487"/>
                  </a:lnTo>
                  <a:lnTo>
                    <a:pt x="26" y="472"/>
                  </a:lnTo>
                  <a:lnTo>
                    <a:pt x="20" y="456"/>
                  </a:lnTo>
                  <a:lnTo>
                    <a:pt x="15" y="441"/>
                  </a:lnTo>
                  <a:lnTo>
                    <a:pt x="10" y="425"/>
                  </a:lnTo>
                  <a:lnTo>
                    <a:pt x="6" y="408"/>
                  </a:lnTo>
                  <a:lnTo>
                    <a:pt x="4" y="391"/>
                  </a:lnTo>
                  <a:lnTo>
                    <a:pt x="2" y="374"/>
                  </a:lnTo>
                  <a:lnTo>
                    <a:pt x="0" y="357"/>
                  </a:lnTo>
                  <a:lnTo>
                    <a:pt x="0" y="339"/>
                  </a:lnTo>
                  <a:lnTo>
                    <a:pt x="0" y="322"/>
                  </a:lnTo>
                  <a:lnTo>
                    <a:pt x="2" y="305"/>
                  </a:lnTo>
                  <a:lnTo>
                    <a:pt x="4" y="288"/>
                  </a:lnTo>
                  <a:lnTo>
                    <a:pt x="6" y="271"/>
                  </a:lnTo>
                  <a:lnTo>
                    <a:pt x="10" y="255"/>
                  </a:lnTo>
                  <a:lnTo>
                    <a:pt x="15" y="239"/>
                  </a:lnTo>
                  <a:lnTo>
                    <a:pt x="20" y="223"/>
                  </a:lnTo>
                  <a:lnTo>
                    <a:pt x="26" y="208"/>
                  </a:lnTo>
                  <a:lnTo>
                    <a:pt x="34" y="193"/>
                  </a:lnTo>
                  <a:lnTo>
                    <a:pt x="41" y="178"/>
                  </a:lnTo>
                  <a:lnTo>
                    <a:pt x="49" y="164"/>
                  </a:lnTo>
                  <a:lnTo>
                    <a:pt x="59" y="149"/>
                  </a:lnTo>
                  <a:lnTo>
                    <a:pt x="67" y="137"/>
                  </a:lnTo>
                  <a:lnTo>
                    <a:pt x="77" y="123"/>
                  </a:lnTo>
                  <a:lnTo>
                    <a:pt x="88" y="111"/>
                  </a:lnTo>
                  <a:lnTo>
                    <a:pt x="100" y="100"/>
                  </a:lnTo>
                  <a:lnTo>
                    <a:pt x="111" y="88"/>
                  </a:lnTo>
                  <a:lnTo>
                    <a:pt x="123" y="77"/>
                  </a:lnTo>
                  <a:lnTo>
                    <a:pt x="137" y="67"/>
                  </a:lnTo>
                  <a:lnTo>
                    <a:pt x="149" y="59"/>
                  </a:lnTo>
                  <a:lnTo>
                    <a:pt x="164" y="49"/>
                  </a:lnTo>
                  <a:lnTo>
                    <a:pt x="178" y="41"/>
                  </a:lnTo>
                  <a:lnTo>
                    <a:pt x="193" y="34"/>
                  </a:lnTo>
                  <a:lnTo>
                    <a:pt x="208" y="26"/>
                  </a:lnTo>
                  <a:lnTo>
                    <a:pt x="223" y="20"/>
                  </a:lnTo>
                  <a:lnTo>
                    <a:pt x="239" y="15"/>
                  </a:lnTo>
                  <a:lnTo>
                    <a:pt x="255" y="10"/>
                  </a:lnTo>
                  <a:lnTo>
                    <a:pt x="271" y="6"/>
                  </a:lnTo>
                  <a:lnTo>
                    <a:pt x="288" y="4"/>
                  </a:lnTo>
                  <a:lnTo>
                    <a:pt x="305" y="1"/>
                  </a:lnTo>
                  <a:lnTo>
                    <a:pt x="322" y="0"/>
                  </a:lnTo>
                  <a:lnTo>
                    <a:pt x="339" y="0"/>
                  </a:lnTo>
                  <a:lnTo>
                    <a:pt x="357" y="0"/>
                  </a:lnTo>
                  <a:lnTo>
                    <a:pt x="374" y="1"/>
                  </a:lnTo>
                  <a:lnTo>
                    <a:pt x="392" y="4"/>
                  </a:lnTo>
                  <a:lnTo>
                    <a:pt x="408" y="6"/>
                  </a:lnTo>
                  <a:lnTo>
                    <a:pt x="425" y="10"/>
                  </a:lnTo>
                  <a:lnTo>
                    <a:pt x="441" y="15"/>
                  </a:lnTo>
                  <a:lnTo>
                    <a:pt x="456" y="20"/>
                  </a:lnTo>
                  <a:lnTo>
                    <a:pt x="472" y="26"/>
                  </a:lnTo>
                  <a:lnTo>
                    <a:pt x="487" y="34"/>
                  </a:lnTo>
                  <a:lnTo>
                    <a:pt x="502" y="41"/>
                  </a:lnTo>
                  <a:lnTo>
                    <a:pt x="516" y="49"/>
                  </a:lnTo>
                  <a:lnTo>
                    <a:pt x="529" y="59"/>
                  </a:lnTo>
                  <a:lnTo>
                    <a:pt x="543" y="67"/>
                  </a:lnTo>
                  <a:lnTo>
                    <a:pt x="555" y="77"/>
                  </a:lnTo>
                  <a:lnTo>
                    <a:pt x="568" y="88"/>
                  </a:lnTo>
                  <a:lnTo>
                    <a:pt x="580" y="100"/>
                  </a:lnTo>
                  <a:lnTo>
                    <a:pt x="591" y="111"/>
                  </a:lnTo>
                  <a:lnTo>
                    <a:pt x="601" y="123"/>
                  </a:lnTo>
                  <a:lnTo>
                    <a:pt x="613" y="137"/>
                  </a:lnTo>
                  <a:lnTo>
                    <a:pt x="621" y="149"/>
                  </a:lnTo>
                  <a:lnTo>
                    <a:pt x="630" y="164"/>
                  </a:lnTo>
                  <a:lnTo>
                    <a:pt x="639" y="178"/>
                  </a:lnTo>
                  <a:lnTo>
                    <a:pt x="646" y="193"/>
                  </a:lnTo>
                  <a:lnTo>
                    <a:pt x="652" y="208"/>
                  </a:lnTo>
                  <a:lnTo>
                    <a:pt x="659" y="223"/>
                  </a:lnTo>
                  <a:lnTo>
                    <a:pt x="665" y="239"/>
                  </a:lnTo>
                  <a:lnTo>
                    <a:pt x="668" y="255"/>
                  </a:lnTo>
                  <a:lnTo>
                    <a:pt x="672" y="271"/>
                  </a:lnTo>
                  <a:lnTo>
                    <a:pt x="676" y="288"/>
                  </a:lnTo>
                  <a:lnTo>
                    <a:pt x="678" y="305"/>
                  </a:lnTo>
                  <a:lnTo>
                    <a:pt x="680" y="322"/>
                  </a:lnTo>
                  <a:lnTo>
                    <a:pt x="680" y="339"/>
                  </a:lnTo>
                  <a:lnTo>
                    <a:pt x="680" y="357"/>
                  </a:lnTo>
                  <a:lnTo>
                    <a:pt x="678" y="374"/>
                  </a:lnTo>
                  <a:lnTo>
                    <a:pt x="676" y="391"/>
                  </a:lnTo>
                  <a:lnTo>
                    <a:pt x="672" y="408"/>
                  </a:lnTo>
                  <a:lnTo>
                    <a:pt x="668" y="425"/>
                  </a:lnTo>
                  <a:lnTo>
                    <a:pt x="665" y="441"/>
                  </a:lnTo>
                  <a:lnTo>
                    <a:pt x="659" y="456"/>
                  </a:lnTo>
                  <a:lnTo>
                    <a:pt x="652" y="472"/>
                  </a:lnTo>
                  <a:lnTo>
                    <a:pt x="646" y="487"/>
                  </a:lnTo>
                  <a:lnTo>
                    <a:pt x="639" y="502"/>
                  </a:lnTo>
                  <a:lnTo>
                    <a:pt x="630" y="516"/>
                  </a:lnTo>
                  <a:lnTo>
                    <a:pt x="621" y="529"/>
                  </a:lnTo>
                  <a:lnTo>
                    <a:pt x="613" y="543"/>
                  </a:lnTo>
                  <a:lnTo>
                    <a:pt x="601" y="555"/>
                  </a:lnTo>
                  <a:lnTo>
                    <a:pt x="591" y="568"/>
                  </a:lnTo>
                  <a:lnTo>
                    <a:pt x="580" y="580"/>
                  </a:lnTo>
                  <a:lnTo>
                    <a:pt x="568" y="592"/>
                  </a:lnTo>
                  <a:lnTo>
                    <a:pt x="555" y="601"/>
                  </a:lnTo>
                  <a:lnTo>
                    <a:pt x="543" y="613"/>
                  </a:lnTo>
                  <a:lnTo>
                    <a:pt x="529" y="621"/>
                  </a:lnTo>
                  <a:lnTo>
                    <a:pt x="516" y="630"/>
                  </a:lnTo>
                  <a:lnTo>
                    <a:pt x="502" y="639"/>
                  </a:lnTo>
                  <a:lnTo>
                    <a:pt x="487" y="646"/>
                  </a:lnTo>
                  <a:lnTo>
                    <a:pt x="472" y="652"/>
                  </a:lnTo>
                  <a:lnTo>
                    <a:pt x="456" y="659"/>
                  </a:lnTo>
                  <a:lnTo>
                    <a:pt x="441" y="665"/>
                  </a:lnTo>
                  <a:lnTo>
                    <a:pt x="425" y="669"/>
                  </a:lnTo>
                  <a:lnTo>
                    <a:pt x="408" y="672"/>
                  </a:lnTo>
                  <a:lnTo>
                    <a:pt x="392" y="676"/>
                  </a:lnTo>
                  <a:lnTo>
                    <a:pt x="374" y="678"/>
                  </a:lnTo>
                  <a:lnTo>
                    <a:pt x="357" y="680"/>
                  </a:lnTo>
                  <a:lnTo>
                    <a:pt x="339"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78">
              <a:extLst>
                <a:ext uri="{FF2B5EF4-FFF2-40B4-BE49-F238E27FC236}">
                  <a16:creationId xmlns:a16="http://schemas.microsoft.com/office/drawing/2014/main" id="{01D6B8A9-CE53-4547-8F46-B9DB396E77E5}"/>
                </a:ext>
              </a:extLst>
            </p:cNvPr>
            <p:cNvSpPr>
              <a:spLocks/>
            </p:cNvSpPr>
            <p:nvPr/>
          </p:nvSpPr>
          <p:spPr bwMode="auto">
            <a:xfrm>
              <a:off x="3232610" y="2932135"/>
              <a:ext cx="219551" cy="195567"/>
            </a:xfrm>
            <a:custGeom>
              <a:avLst/>
              <a:gdLst>
                <a:gd name="T0" fmla="*/ 339 w 358"/>
                <a:gd name="T1" fmla="*/ 319 h 319"/>
                <a:gd name="T2" fmla="*/ 19 w 358"/>
                <a:gd name="T3" fmla="*/ 319 h 319"/>
                <a:gd name="T4" fmla="*/ 14 w 358"/>
                <a:gd name="T5" fmla="*/ 319 h 319"/>
                <a:gd name="T6" fmla="*/ 11 w 358"/>
                <a:gd name="T7" fmla="*/ 318 h 319"/>
                <a:gd name="T8" fmla="*/ 8 w 358"/>
                <a:gd name="T9" fmla="*/ 316 h 319"/>
                <a:gd name="T10" fmla="*/ 4 w 358"/>
                <a:gd name="T11" fmla="*/ 313 h 319"/>
                <a:gd name="T12" fmla="*/ 2 w 358"/>
                <a:gd name="T13" fmla="*/ 311 h 319"/>
                <a:gd name="T14" fmla="*/ 1 w 358"/>
                <a:gd name="T15" fmla="*/ 307 h 319"/>
                <a:gd name="T16" fmla="*/ 0 w 358"/>
                <a:gd name="T17" fmla="*/ 303 h 319"/>
                <a:gd name="T18" fmla="*/ 0 w 358"/>
                <a:gd name="T19" fmla="*/ 300 h 319"/>
                <a:gd name="T20" fmla="*/ 0 w 358"/>
                <a:gd name="T21" fmla="*/ 20 h 319"/>
                <a:gd name="T22" fmla="*/ 0 w 358"/>
                <a:gd name="T23" fmla="*/ 15 h 319"/>
                <a:gd name="T24" fmla="*/ 1 w 358"/>
                <a:gd name="T25" fmla="*/ 11 h 319"/>
                <a:gd name="T26" fmla="*/ 2 w 358"/>
                <a:gd name="T27" fmla="*/ 9 h 319"/>
                <a:gd name="T28" fmla="*/ 4 w 358"/>
                <a:gd name="T29" fmla="*/ 5 h 319"/>
                <a:gd name="T30" fmla="*/ 8 w 358"/>
                <a:gd name="T31" fmla="*/ 3 h 319"/>
                <a:gd name="T32" fmla="*/ 11 w 358"/>
                <a:gd name="T33" fmla="*/ 1 h 319"/>
                <a:gd name="T34" fmla="*/ 14 w 358"/>
                <a:gd name="T35" fmla="*/ 0 h 319"/>
                <a:gd name="T36" fmla="*/ 19 w 358"/>
                <a:gd name="T37" fmla="*/ 0 h 319"/>
                <a:gd name="T38" fmla="*/ 23 w 358"/>
                <a:gd name="T39" fmla="*/ 0 h 319"/>
                <a:gd name="T40" fmla="*/ 27 w 358"/>
                <a:gd name="T41" fmla="*/ 1 h 319"/>
                <a:gd name="T42" fmla="*/ 31 w 358"/>
                <a:gd name="T43" fmla="*/ 3 h 319"/>
                <a:gd name="T44" fmla="*/ 33 w 358"/>
                <a:gd name="T45" fmla="*/ 5 h 319"/>
                <a:gd name="T46" fmla="*/ 36 w 358"/>
                <a:gd name="T47" fmla="*/ 9 h 319"/>
                <a:gd name="T48" fmla="*/ 37 w 358"/>
                <a:gd name="T49" fmla="*/ 11 h 319"/>
                <a:gd name="T50" fmla="*/ 38 w 358"/>
                <a:gd name="T51" fmla="*/ 15 h 319"/>
                <a:gd name="T52" fmla="*/ 39 w 358"/>
                <a:gd name="T53" fmla="*/ 20 h 319"/>
                <a:gd name="T54" fmla="*/ 39 w 358"/>
                <a:gd name="T55" fmla="*/ 280 h 319"/>
                <a:gd name="T56" fmla="*/ 319 w 358"/>
                <a:gd name="T57" fmla="*/ 280 h 319"/>
                <a:gd name="T58" fmla="*/ 319 w 358"/>
                <a:gd name="T59" fmla="*/ 20 h 319"/>
                <a:gd name="T60" fmla="*/ 319 w 358"/>
                <a:gd name="T61" fmla="*/ 15 h 319"/>
                <a:gd name="T62" fmla="*/ 320 w 358"/>
                <a:gd name="T63" fmla="*/ 11 h 319"/>
                <a:gd name="T64" fmla="*/ 322 w 358"/>
                <a:gd name="T65" fmla="*/ 9 h 319"/>
                <a:gd name="T66" fmla="*/ 325 w 358"/>
                <a:gd name="T67" fmla="*/ 5 h 319"/>
                <a:gd name="T68" fmla="*/ 327 w 358"/>
                <a:gd name="T69" fmla="*/ 3 h 319"/>
                <a:gd name="T70" fmla="*/ 331 w 358"/>
                <a:gd name="T71" fmla="*/ 1 h 319"/>
                <a:gd name="T72" fmla="*/ 335 w 358"/>
                <a:gd name="T73" fmla="*/ 0 h 319"/>
                <a:gd name="T74" fmla="*/ 339 w 358"/>
                <a:gd name="T75" fmla="*/ 0 h 319"/>
                <a:gd name="T76" fmla="*/ 342 w 358"/>
                <a:gd name="T77" fmla="*/ 0 h 319"/>
                <a:gd name="T78" fmla="*/ 346 w 358"/>
                <a:gd name="T79" fmla="*/ 1 h 319"/>
                <a:gd name="T80" fmla="*/ 350 w 358"/>
                <a:gd name="T81" fmla="*/ 3 h 319"/>
                <a:gd name="T82" fmla="*/ 353 w 358"/>
                <a:gd name="T83" fmla="*/ 5 h 319"/>
                <a:gd name="T84" fmla="*/ 356 w 358"/>
                <a:gd name="T85" fmla="*/ 9 h 319"/>
                <a:gd name="T86" fmla="*/ 357 w 358"/>
                <a:gd name="T87" fmla="*/ 11 h 319"/>
                <a:gd name="T88" fmla="*/ 358 w 358"/>
                <a:gd name="T89" fmla="*/ 15 h 319"/>
                <a:gd name="T90" fmla="*/ 358 w 358"/>
                <a:gd name="T91" fmla="*/ 20 h 319"/>
                <a:gd name="T92" fmla="*/ 358 w 358"/>
                <a:gd name="T93" fmla="*/ 300 h 319"/>
                <a:gd name="T94" fmla="*/ 358 w 358"/>
                <a:gd name="T95" fmla="*/ 303 h 319"/>
                <a:gd name="T96" fmla="*/ 357 w 358"/>
                <a:gd name="T97" fmla="*/ 307 h 319"/>
                <a:gd name="T98" fmla="*/ 356 w 358"/>
                <a:gd name="T99" fmla="*/ 311 h 319"/>
                <a:gd name="T100" fmla="*/ 353 w 358"/>
                <a:gd name="T101" fmla="*/ 313 h 319"/>
                <a:gd name="T102" fmla="*/ 350 w 358"/>
                <a:gd name="T103" fmla="*/ 316 h 319"/>
                <a:gd name="T104" fmla="*/ 346 w 358"/>
                <a:gd name="T105" fmla="*/ 318 h 319"/>
                <a:gd name="T106" fmla="*/ 342 w 358"/>
                <a:gd name="T107" fmla="*/ 319 h 319"/>
                <a:gd name="T108" fmla="*/ 339 w 358"/>
                <a:gd name="T10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19">
                  <a:moveTo>
                    <a:pt x="339" y="319"/>
                  </a:moveTo>
                  <a:lnTo>
                    <a:pt x="19" y="319"/>
                  </a:lnTo>
                  <a:lnTo>
                    <a:pt x="14" y="319"/>
                  </a:lnTo>
                  <a:lnTo>
                    <a:pt x="11" y="318"/>
                  </a:lnTo>
                  <a:lnTo>
                    <a:pt x="8" y="316"/>
                  </a:lnTo>
                  <a:lnTo>
                    <a:pt x="4" y="313"/>
                  </a:lnTo>
                  <a:lnTo>
                    <a:pt x="2" y="311"/>
                  </a:lnTo>
                  <a:lnTo>
                    <a:pt x="1" y="307"/>
                  </a:lnTo>
                  <a:lnTo>
                    <a:pt x="0" y="303"/>
                  </a:lnTo>
                  <a:lnTo>
                    <a:pt x="0" y="300"/>
                  </a:lnTo>
                  <a:lnTo>
                    <a:pt x="0" y="20"/>
                  </a:lnTo>
                  <a:lnTo>
                    <a:pt x="0" y="15"/>
                  </a:lnTo>
                  <a:lnTo>
                    <a:pt x="1" y="11"/>
                  </a:lnTo>
                  <a:lnTo>
                    <a:pt x="2" y="9"/>
                  </a:lnTo>
                  <a:lnTo>
                    <a:pt x="4" y="5"/>
                  </a:lnTo>
                  <a:lnTo>
                    <a:pt x="8" y="3"/>
                  </a:lnTo>
                  <a:lnTo>
                    <a:pt x="11" y="1"/>
                  </a:lnTo>
                  <a:lnTo>
                    <a:pt x="14" y="0"/>
                  </a:lnTo>
                  <a:lnTo>
                    <a:pt x="19" y="0"/>
                  </a:lnTo>
                  <a:lnTo>
                    <a:pt x="23" y="0"/>
                  </a:lnTo>
                  <a:lnTo>
                    <a:pt x="27" y="1"/>
                  </a:lnTo>
                  <a:lnTo>
                    <a:pt x="31" y="3"/>
                  </a:lnTo>
                  <a:lnTo>
                    <a:pt x="33" y="5"/>
                  </a:lnTo>
                  <a:lnTo>
                    <a:pt x="36" y="9"/>
                  </a:lnTo>
                  <a:lnTo>
                    <a:pt x="37" y="11"/>
                  </a:lnTo>
                  <a:lnTo>
                    <a:pt x="38" y="15"/>
                  </a:lnTo>
                  <a:lnTo>
                    <a:pt x="39" y="20"/>
                  </a:lnTo>
                  <a:lnTo>
                    <a:pt x="39" y="280"/>
                  </a:lnTo>
                  <a:lnTo>
                    <a:pt x="319" y="280"/>
                  </a:lnTo>
                  <a:lnTo>
                    <a:pt x="319" y="20"/>
                  </a:lnTo>
                  <a:lnTo>
                    <a:pt x="319" y="15"/>
                  </a:lnTo>
                  <a:lnTo>
                    <a:pt x="320" y="11"/>
                  </a:lnTo>
                  <a:lnTo>
                    <a:pt x="322" y="9"/>
                  </a:lnTo>
                  <a:lnTo>
                    <a:pt x="325" y="5"/>
                  </a:lnTo>
                  <a:lnTo>
                    <a:pt x="327" y="3"/>
                  </a:lnTo>
                  <a:lnTo>
                    <a:pt x="331" y="1"/>
                  </a:lnTo>
                  <a:lnTo>
                    <a:pt x="335" y="0"/>
                  </a:lnTo>
                  <a:lnTo>
                    <a:pt x="339" y="0"/>
                  </a:lnTo>
                  <a:lnTo>
                    <a:pt x="342" y="0"/>
                  </a:lnTo>
                  <a:lnTo>
                    <a:pt x="346" y="1"/>
                  </a:lnTo>
                  <a:lnTo>
                    <a:pt x="350" y="3"/>
                  </a:lnTo>
                  <a:lnTo>
                    <a:pt x="353" y="5"/>
                  </a:lnTo>
                  <a:lnTo>
                    <a:pt x="356" y="9"/>
                  </a:lnTo>
                  <a:lnTo>
                    <a:pt x="357" y="11"/>
                  </a:lnTo>
                  <a:lnTo>
                    <a:pt x="358" y="15"/>
                  </a:lnTo>
                  <a:lnTo>
                    <a:pt x="358" y="20"/>
                  </a:lnTo>
                  <a:lnTo>
                    <a:pt x="358" y="300"/>
                  </a:lnTo>
                  <a:lnTo>
                    <a:pt x="358" y="303"/>
                  </a:lnTo>
                  <a:lnTo>
                    <a:pt x="357" y="307"/>
                  </a:lnTo>
                  <a:lnTo>
                    <a:pt x="356" y="311"/>
                  </a:lnTo>
                  <a:lnTo>
                    <a:pt x="353" y="313"/>
                  </a:lnTo>
                  <a:lnTo>
                    <a:pt x="350" y="316"/>
                  </a:lnTo>
                  <a:lnTo>
                    <a:pt x="346" y="318"/>
                  </a:lnTo>
                  <a:lnTo>
                    <a:pt x="342" y="319"/>
                  </a:lnTo>
                  <a:lnTo>
                    <a:pt x="33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79">
              <a:extLst>
                <a:ext uri="{FF2B5EF4-FFF2-40B4-BE49-F238E27FC236}">
                  <a16:creationId xmlns:a16="http://schemas.microsoft.com/office/drawing/2014/main" id="{41900AFB-7EA3-4D4C-B2FF-325B7911D6AD}"/>
                </a:ext>
              </a:extLst>
            </p:cNvPr>
            <p:cNvSpPr>
              <a:spLocks/>
            </p:cNvSpPr>
            <p:nvPr/>
          </p:nvSpPr>
          <p:spPr bwMode="auto">
            <a:xfrm>
              <a:off x="3232610" y="3004089"/>
              <a:ext cx="219551" cy="49814"/>
            </a:xfrm>
            <a:custGeom>
              <a:avLst/>
              <a:gdLst>
                <a:gd name="T0" fmla="*/ 339 w 358"/>
                <a:gd name="T1" fmla="*/ 81 h 81"/>
                <a:gd name="T2" fmla="*/ 337 w 358"/>
                <a:gd name="T3" fmla="*/ 81 h 81"/>
                <a:gd name="T4" fmla="*/ 336 w 358"/>
                <a:gd name="T5" fmla="*/ 80 h 81"/>
                <a:gd name="T6" fmla="*/ 17 w 358"/>
                <a:gd name="T7" fmla="*/ 40 h 81"/>
                <a:gd name="T8" fmla="*/ 12 w 358"/>
                <a:gd name="T9" fmla="*/ 40 h 81"/>
                <a:gd name="T10" fmla="*/ 9 w 358"/>
                <a:gd name="T11" fmla="*/ 38 h 81"/>
                <a:gd name="T12" fmla="*/ 6 w 358"/>
                <a:gd name="T13" fmla="*/ 35 h 81"/>
                <a:gd name="T14" fmla="*/ 3 w 358"/>
                <a:gd name="T15" fmla="*/ 33 h 81"/>
                <a:gd name="T16" fmla="*/ 1 w 358"/>
                <a:gd name="T17" fmla="*/ 30 h 81"/>
                <a:gd name="T18" fmla="*/ 0 w 358"/>
                <a:gd name="T19" fmla="*/ 27 h 81"/>
                <a:gd name="T20" fmla="*/ 0 w 358"/>
                <a:gd name="T21" fmla="*/ 23 h 81"/>
                <a:gd name="T22" fmla="*/ 0 w 358"/>
                <a:gd name="T23" fmla="*/ 18 h 81"/>
                <a:gd name="T24" fmla="*/ 0 w 358"/>
                <a:gd name="T25" fmla="*/ 14 h 81"/>
                <a:gd name="T26" fmla="*/ 2 w 358"/>
                <a:gd name="T27" fmla="*/ 10 h 81"/>
                <a:gd name="T28" fmla="*/ 3 w 358"/>
                <a:gd name="T29" fmla="*/ 8 h 81"/>
                <a:gd name="T30" fmla="*/ 7 w 358"/>
                <a:gd name="T31" fmla="*/ 5 h 81"/>
                <a:gd name="T32" fmla="*/ 9 w 358"/>
                <a:gd name="T33" fmla="*/ 3 h 81"/>
                <a:gd name="T34" fmla="*/ 13 w 358"/>
                <a:gd name="T35" fmla="*/ 2 h 81"/>
                <a:gd name="T36" fmla="*/ 17 w 358"/>
                <a:gd name="T37" fmla="*/ 0 h 81"/>
                <a:gd name="T38" fmla="*/ 22 w 358"/>
                <a:gd name="T39" fmla="*/ 0 h 81"/>
                <a:gd name="T40" fmla="*/ 341 w 358"/>
                <a:gd name="T41" fmla="*/ 41 h 81"/>
                <a:gd name="T42" fmla="*/ 345 w 358"/>
                <a:gd name="T43" fmla="*/ 41 h 81"/>
                <a:gd name="T44" fmla="*/ 349 w 358"/>
                <a:gd name="T45" fmla="*/ 44 h 81"/>
                <a:gd name="T46" fmla="*/ 352 w 358"/>
                <a:gd name="T47" fmla="*/ 45 h 81"/>
                <a:gd name="T48" fmla="*/ 355 w 358"/>
                <a:gd name="T49" fmla="*/ 49 h 81"/>
                <a:gd name="T50" fmla="*/ 357 w 358"/>
                <a:gd name="T51" fmla="*/ 51 h 81"/>
                <a:gd name="T52" fmla="*/ 358 w 358"/>
                <a:gd name="T53" fmla="*/ 55 h 81"/>
                <a:gd name="T54" fmla="*/ 358 w 358"/>
                <a:gd name="T55" fmla="*/ 59 h 81"/>
                <a:gd name="T56" fmla="*/ 358 w 358"/>
                <a:gd name="T57" fmla="*/ 63 h 81"/>
                <a:gd name="T58" fmla="*/ 357 w 358"/>
                <a:gd name="T59" fmla="*/ 66 h 81"/>
                <a:gd name="T60" fmla="*/ 356 w 358"/>
                <a:gd name="T61" fmla="*/ 70 h 81"/>
                <a:gd name="T62" fmla="*/ 355 w 358"/>
                <a:gd name="T63" fmla="*/ 74 h 81"/>
                <a:gd name="T64" fmla="*/ 352 w 358"/>
                <a:gd name="T65" fmla="*/ 76 h 81"/>
                <a:gd name="T66" fmla="*/ 349 w 358"/>
                <a:gd name="T67" fmla="*/ 77 h 81"/>
                <a:gd name="T68" fmla="*/ 346 w 358"/>
                <a:gd name="T69" fmla="*/ 80 h 81"/>
                <a:gd name="T70" fmla="*/ 342 w 358"/>
                <a:gd name="T71" fmla="*/ 80 h 81"/>
                <a:gd name="T72" fmla="*/ 339 w 358"/>
                <a:gd name="T73"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1">
                  <a:moveTo>
                    <a:pt x="339" y="81"/>
                  </a:moveTo>
                  <a:lnTo>
                    <a:pt x="337" y="81"/>
                  </a:lnTo>
                  <a:lnTo>
                    <a:pt x="336" y="80"/>
                  </a:lnTo>
                  <a:lnTo>
                    <a:pt x="17" y="40"/>
                  </a:lnTo>
                  <a:lnTo>
                    <a:pt x="12" y="40"/>
                  </a:lnTo>
                  <a:lnTo>
                    <a:pt x="9" y="38"/>
                  </a:lnTo>
                  <a:lnTo>
                    <a:pt x="6" y="35"/>
                  </a:lnTo>
                  <a:lnTo>
                    <a:pt x="3" y="33"/>
                  </a:lnTo>
                  <a:lnTo>
                    <a:pt x="1" y="30"/>
                  </a:lnTo>
                  <a:lnTo>
                    <a:pt x="0" y="27"/>
                  </a:lnTo>
                  <a:lnTo>
                    <a:pt x="0" y="23"/>
                  </a:lnTo>
                  <a:lnTo>
                    <a:pt x="0" y="18"/>
                  </a:lnTo>
                  <a:lnTo>
                    <a:pt x="0" y="14"/>
                  </a:lnTo>
                  <a:lnTo>
                    <a:pt x="2" y="10"/>
                  </a:lnTo>
                  <a:lnTo>
                    <a:pt x="3" y="8"/>
                  </a:lnTo>
                  <a:lnTo>
                    <a:pt x="7" y="5"/>
                  </a:lnTo>
                  <a:lnTo>
                    <a:pt x="9" y="3"/>
                  </a:lnTo>
                  <a:lnTo>
                    <a:pt x="13" y="2"/>
                  </a:lnTo>
                  <a:lnTo>
                    <a:pt x="17" y="0"/>
                  </a:lnTo>
                  <a:lnTo>
                    <a:pt x="22" y="0"/>
                  </a:lnTo>
                  <a:lnTo>
                    <a:pt x="341" y="41"/>
                  </a:lnTo>
                  <a:lnTo>
                    <a:pt x="345" y="41"/>
                  </a:lnTo>
                  <a:lnTo>
                    <a:pt x="349" y="44"/>
                  </a:lnTo>
                  <a:lnTo>
                    <a:pt x="352" y="45"/>
                  </a:lnTo>
                  <a:lnTo>
                    <a:pt x="355" y="49"/>
                  </a:lnTo>
                  <a:lnTo>
                    <a:pt x="357" y="51"/>
                  </a:lnTo>
                  <a:lnTo>
                    <a:pt x="358" y="55"/>
                  </a:lnTo>
                  <a:lnTo>
                    <a:pt x="358" y="59"/>
                  </a:lnTo>
                  <a:lnTo>
                    <a:pt x="358" y="63"/>
                  </a:lnTo>
                  <a:lnTo>
                    <a:pt x="357" y="66"/>
                  </a:lnTo>
                  <a:lnTo>
                    <a:pt x="356" y="70"/>
                  </a:lnTo>
                  <a:lnTo>
                    <a:pt x="355" y="74"/>
                  </a:lnTo>
                  <a:lnTo>
                    <a:pt x="352" y="76"/>
                  </a:lnTo>
                  <a:lnTo>
                    <a:pt x="349" y="77"/>
                  </a:lnTo>
                  <a:lnTo>
                    <a:pt x="346" y="80"/>
                  </a:lnTo>
                  <a:lnTo>
                    <a:pt x="342" y="80"/>
                  </a:lnTo>
                  <a:lnTo>
                    <a:pt x="33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80">
              <a:extLst>
                <a:ext uri="{FF2B5EF4-FFF2-40B4-BE49-F238E27FC236}">
                  <a16:creationId xmlns:a16="http://schemas.microsoft.com/office/drawing/2014/main" id="{7FC0E402-A562-460A-A563-1DE409B161C5}"/>
                </a:ext>
              </a:extLst>
            </p:cNvPr>
            <p:cNvSpPr>
              <a:spLocks/>
            </p:cNvSpPr>
            <p:nvPr/>
          </p:nvSpPr>
          <p:spPr bwMode="auto">
            <a:xfrm>
              <a:off x="3232610" y="2956119"/>
              <a:ext cx="219551" cy="47969"/>
            </a:xfrm>
            <a:custGeom>
              <a:avLst/>
              <a:gdLst>
                <a:gd name="T0" fmla="*/ 339 w 358"/>
                <a:gd name="T1" fmla="*/ 79 h 79"/>
                <a:gd name="T2" fmla="*/ 337 w 358"/>
                <a:gd name="T3" fmla="*/ 79 h 79"/>
                <a:gd name="T4" fmla="*/ 336 w 358"/>
                <a:gd name="T5" fmla="*/ 79 h 79"/>
                <a:gd name="T6" fmla="*/ 17 w 358"/>
                <a:gd name="T7" fmla="*/ 40 h 79"/>
                <a:gd name="T8" fmla="*/ 12 w 358"/>
                <a:gd name="T9" fmla="*/ 38 h 79"/>
                <a:gd name="T10" fmla="*/ 9 w 358"/>
                <a:gd name="T11" fmla="*/ 37 h 79"/>
                <a:gd name="T12" fmla="*/ 6 w 358"/>
                <a:gd name="T13" fmla="*/ 35 h 79"/>
                <a:gd name="T14" fmla="*/ 3 w 358"/>
                <a:gd name="T15" fmla="*/ 32 h 79"/>
                <a:gd name="T16" fmla="*/ 1 w 358"/>
                <a:gd name="T17" fmla="*/ 29 h 79"/>
                <a:gd name="T18" fmla="*/ 0 w 358"/>
                <a:gd name="T19" fmla="*/ 25 h 79"/>
                <a:gd name="T20" fmla="*/ 0 w 358"/>
                <a:gd name="T21" fmla="*/ 21 h 79"/>
                <a:gd name="T22" fmla="*/ 0 w 358"/>
                <a:gd name="T23" fmla="*/ 17 h 79"/>
                <a:gd name="T24" fmla="*/ 0 w 358"/>
                <a:gd name="T25" fmla="*/ 14 h 79"/>
                <a:gd name="T26" fmla="*/ 2 w 358"/>
                <a:gd name="T27" fmla="*/ 10 h 79"/>
                <a:gd name="T28" fmla="*/ 3 w 358"/>
                <a:gd name="T29" fmla="*/ 6 h 79"/>
                <a:gd name="T30" fmla="*/ 7 w 358"/>
                <a:gd name="T31" fmla="*/ 4 h 79"/>
                <a:gd name="T32" fmla="*/ 9 w 358"/>
                <a:gd name="T33" fmla="*/ 2 h 79"/>
                <a:gd name="T34" fmla="*/ 13 w 358"/>
                <a:gd name="T35" fmla="*/ 0 h 79"/>
                <a:gd name="T36" fmla="*/ 17 w 358"/>
                <a:gd name="T37" fmla="*/ 0 h 79"/>
                <a:gd name="T38" fmla="*/ 22 w 358"/>
                <a:gd name="T39" fmla="*/ 0 h 79"/>
                <a:gd name="T40" fmla="*/ 341 w 358"/>
                <a:gd name="T41" fmla="*/ 40 h 79"/>
                <a:gd name="T42" fmla="*/ 345 w 358"/>
                <a:gd name="T43" fmla="*/ 41 h 79"/>
                <a:gd name="T44" fmla="*/ 349 w 358"/>
                <a:gd name="T45" fmla="*/ 42 h 79"/>
                <a:gd name="T46" fmla="*/ 352 w 358"/>
                <a:gd name="T47" fmla="*/ 45 h 79"/>
                <a:gd name="T48" fmla="*/ 355 w 358"/>
                <a:gd name="T49" fmla="*/ 47 h 79"/>
                <a:gd name="T50" fmla="*/ 357 w 358"/>
                <a:gd name="T51" fmla="*/ 51 h 79"/>
                <a:gd name="T52" fmla="*/ 358 w 358"/>
                <a:gd name="T53" fmla="*/ 55 h 79"/>
                <a:gd name="T54" fmla="*/ 358 w 358"/>
                <a:gd name="T55" fmla="*/ 58 h 79"/>
                <a:gd name="T56" fmla="*/ 358 w 358"/>
                <a:gd name="T57" fmla="*/ 62 h 79"/>
                <a:gd name="T58" fmla="*/ 357 w 358"/>
                <a:gd name="T59" fmla="*/ 66 h 79"/>
                <a:gd name="T60" fmla="*/ 356 w 358"/>
                <a:gd name="T61" fmla="*/ 70 h 79"/>
                <a:gd name="T62" fmla="*/ 355 w 358"/>
                <a:gd name="T63" fmla="*/ 72 h 79"/>
                <a:gd name="T64" fmla="*/ 352 w 358"/>
                <a:gd name="T65" fmla="*/ 74 h 79"/>
                <a:gd name="T66" fmla="*/ 349 w 358"/>
                <a:gd name="T67" fmla="*/ 77 h 79"/>
                <a:gd name="T68" fmla="*/ 346 w 358"/>
                <a:gd name="T69" fmla="*/ 78 h 79"/>
                <a:gd name="T70" fmla="*/ 342 w 358"/>
                <a:gd name="T71" fmla="*/ 79 h 79"/>
                <a:gd name="T72" fmla="*/ 339 w 358"/>
                <a:gd name="T73"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79">
                  <a:moveTo>
                    <a:pt x="339" y="79"/>
                  </a:moveTo>
                  <a:lnTo>
                    <a:pt x="337" y="79"/>
                  </a:lnTo>
                  <a:lnTo>
                    <a:pt x="336" y="79"/>
                  </a:lnTo>
                  <a:lnTo>
                    <a:pt x="17" y="40"/>
                  </a:lnTo>
                  <a:lnTo>
                    <a:pt x="12" y="38"/>
                  </a:lnTo>
                  <a:lnTo>
                    <a:pt x="9" y="37"/>
                  </a:lnTo>
                  <a:lnTo>
                    <a:pt x="6" y="35"/>
                  </a:lnTo>
                  <a:lnTo>
                    <a:pt x="3" y="32"/>
                  </a:lnTo>
                  <a:lnTo>
                    <a:pt x="1" y="29"/>
                  </a:lnTo>
                  <a:lnTo>
                    <a:pt x="0" y="25"/>
                  </a:lnTo>
                  <a:lnTo>
                    <a:pt x="0" y="21"/>
                  </a:lnTo>
                  <a:lnTo>
                    <a:pt x="0" y="17"/>
                  </a:lnTo>
                  <a:lnTo>
                    <a:pt x="0" y="14"/>
                  </a:lnTo>
                  <a:lnTo>
                    <a:pt x="2" y="10"/>
                  </a:lnTo>
                  <a:lnTo>
                    <a:pt x="3" y="6"/>
                  </a:lnTo>
                  <a:lnTo>
                    <a:pt x="7" y="4"/>
                  </a:lnTo>
                  <a:lnTo>
                    <a:pt x="9" y="2"/>
                  </a:lnTo>
                  <a:lnTo>
                    <a:pt x="13" y="0"/>
                  </a:lnTo>
                  <a:lnTo>
                    <a:pt x="17" y="0"/>
                  </a:lnTo>
                  <a:lnTo>
                    <a:pt x="22" y="0"/>
                  </a:lnTo>
                  <a:lnTo>
                    <a:pt x="341" y="40"/>
                  </a:lnTo>
                  <a:lnTo>
                    <a:pt x="345" y="41"/>
                  </a:lnTo>
                  <a:lnTo>
                    <a:pt x="349" y="42"/>
                  </a:lnTo>
                  <a:lnTo>
                    <a:pt x="352" y="45"/>
                  </a:lnTo>
                  <a:lnTo>
                    <a:pt x="355" y="47"/>
                  </a:lnTo>
                  <a:lnTo>
                    <a:pt x="357" y="51"/>
                  </a:lnTo>
                  <a:lnTo>
                    <a:pt x="358" y="55"/>
                  </a:lnTo>
                  <a:lnTo>
                    <a:pt x="358" y="58"/>
                  </a:lnTo>
                  <a:lnTo>
                    <a:pt x="358" y="62"/>
                  </a:lnTo>
                  <a:lnTo>
                    <a:pt x="357" y="66"/>
                  </a:lnTo>
                  <a:lnTo>
                    <a:pt x="356" y="70"/>
                  </a:lnTo>
                  <a:lnTo>
                    <a:pt x="355" y="72"/>
                  </a:lnTo>
                  <a:lnTo>
                    <a:pt x="352" y="74"/>
                  </a:lnTo>
                  <a:lnTo>
                    <a:pt x="349" y="77"/>
                  </a:lnTo>
                  <a:lnTo>
                    <a:pt x="346" y="78"/>
                  </a:lnTo>
                  <a:lnTo>
                    <a:pt x="342" y="79"/>
                  </a:lnTo>
                  <a:lnTo>
                    <a:pt x="33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81">
              <a:extLst>
                <a:ext uri="{FF2B5EF4-FFF2-40B4-BE49-F238E27FC236}">
                  <a16:creationId xmlns:a16="http://schemas.microsoft.com/office/drawing/2014/main" id="{5333AF5A-8CDA-4D86-B8E4-92ED1DB64F65}"/>
                </a:ext>
              </a:extLst>
            </p:cNvPr>
            <p:cNvSpPr>
              <a:spLocks/>
            </p:cNvSpPr>
            <p:nvPr/>
          </p:nvSpPr>
          <p:spPr bwMode="auto">
            <a:xfrm>
              <a:off x="3232610" y="3053903"/>
              <a:ext cx="219551" cy="49814"/>
            </a:xfrm>
            <a:custGeom>
              <a:avLst/>
              <a:gdLst>
                <a:gd name="T0" fmla="*/ 339 w 358"/>
                <a:gd name="T1" fmla="*/ 80 h 80"/>
                <a:gd name="T2" fmla="*/ 337 w 358"/>
                <a:gd name="T3" fmla="*/ 80 h 80"/>
                <a:gd name="T4" fmla="*/ 336 w 358"/>
                <a:gd name="T5" fmla="*/ 80 h 80"/>
                <a:gd name="T6" fmla="*/ 17 w 358"/>
                <a:gd name="T7" fmla="*/ 40 h 80"/>
                <a:gd name="T8" fmla="*/ 12 w 358"/>
                <a:gd name="T9" fmla="*/ 39 h 80"/>
                <a:gd name="T10" fmla="*/ 9 w 358"/>
                <a:gd name="T11" fmla="*/ 37 h 80"/>
                <a:gd name="T12" fmla="*/ 6 w 358"/>
                <a:gd name="T13" fmla="*/ 35 h 80"/>
                <a:gd name="T14" fmla="*/ 3 w 358"/>
                <a:gd name="T15" fmla="*/ 33 h 80"/>
                <a:gd name="T16" fmla="*/ 1 w 358"/>
                <a:gd name="T17" fmla="*/ 29 h 80"/>
                <a:gd name="T18" fmla="*/ 0 w 358"/>
                <a:gd name="T19" fmla="*/ 25 h 80"/>
                <a:gd name="T20" fmla="*/ 0 w 358"/>
                <a:gd name="T21" fmla="*/ 21 h 80"/>
                <a:gd name="T22" fmla="*/ 0 w 358"/>
                <a:gd name="T23" fmla="*/ 18 h 80"/>
                <a:gd name="T24" fmla="*/ 0 w 358"/>
                <a:gd name="T25" fmla="*/ 14 h 80"/>
                <a:gd name="T26" fmla="*/ 2 w 358"/>
                <a:gd name="T27" fmla="*/ 10 h 80"/>
                <a:gd name="T28" fmla="*/ 3 w 358"/>
                <a:gd name="T29" fmla="*/ 6 h 80"/>
                <a:gd name="T30" fmla="*/ 7 w 358"/>
                <a:gd name="T31" fmla="*/ 4 h 80"/>
                <a:gd name="T32" fmla="*/ 9 w 358"/>
                <a:gd name="T33" fmla="*/ 1 h 80"/>
                <a:gd name="T34" fmla="*/ 13 w 358"/>
                <a:gd name="T35" fmla="*/ 0 h 80"/>
                <a:gd name="T36" fmla="*/ 17 w 358"/>
                <a:gd name="T37" fmla="*/ 0 h 80"/>
                <a:gd name="T38" fmla="*/ 22 w 358"/>
                <a:gd name="T39" fmla="*/ 0 h 80"/>
                <a:gd name="T40" fmla="*/ 341 w 358"/>
                <a:gd name="T41" fmla="*/ 40 h 80"/>
                <a:gd name="T42" fmla="*/ 345 w 358"/>
                <a:gd name="T43" fmla="*/ 41 h 80"/>
                <a:gd name="T44" fmla="*/ 349 w 358"/>
                <a:gd name="T45" fmla="*/ 42 h 80"/>
                <a:gd name="T46" fmla="*/ 352 w 358"/>
                <a:gd name="T47" fmla="*/ 45 h 80"/>
                <a:gd name="T48" fmla="*/ 355 w 358"/>
                <a:gd name="T49" fmla="*/ 47 h 80"/>
                <a:gd name="T50" fmla="*/ 357 w 358"/>
                <a:gd name="T51" fmla="*/ 51 h 80"/>
                <a:gd name="T52" fmla="*/ 358 w 358"/>
                <a:gd name="T53" fmla="*/ 55 h 80"/>
                <a:gd name="T54" fmla="*/ 358 w 358"/>
                <a:gd name="T55" fmla="*/ 59 h 80"/>
                <a:gd name="T56" fmla="*/ 358 w 358"/>
                <a:gd name="T57" fmla="*/ 62 h 80"/>
                <a:gd name="T58" fmla="*/ 357 w 358"/>
                <a:gd name="T59" fmla="*/ 66 h 80"/>
                <a:gd name="T60" fmla="*/ 356 w 358"/>
                <a:gd name="T61" fmla="*/ 70 h 80"/>
                <a:gd name="T62" fmla="*/ 355 w 358"/>
                <a:gd name="T63" fmla="*/ 72 h 80"/>
                <a:gd name="T64" fmla="*/ 352 w 358"/>
                <a:gd name="T65" fmla="*/ 75 h 80"/>
                <a:gd name="T66" fmla="*/ 349 w 358"/>
                <a:gd name="T67" fmla="*/ 77 h 80"/>
                <a:gd name="T68" fmla="*/ 346 w 358"/>
                <a:gd name="T69" fmla="*/ 78 h 80"/>
                <a:gd name="T70" fmla="*/ 342 w 358"/>
                <a:gd name="T71" fmla="*/ 80 h 80"/>
                <a:gd name="T72" fmla="*/ 339 w 358"/>
                <a:gd name="T7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8" h="80">
                  <a:moveTo>
                    <a:pt x="339" y="80"/>
                  </a:moveTo>
                  <a:lnTo>
                    <a:pt x="337" y="80"/>
                  </a:lnTo>
                  <a:lnTo>
                    <a:pt x="336" y="80"/>
                  </a:lnTo>
                  <a:lnTo>
                    <a:pt x="17" y="40"/>
                  </a:lnTo>
                  <a:lnTo>
                    <a:pt x="12" y="39"/>
                  </a:lnTo>
                  <a:lnTo>
                    <a:pt x="9" y="37"/>
                  </a:lnTo>
                  <a:lnTo>
                    <a:pt x="6" y="35"/>
                  </a:lnTo>
                  <a:lnTo>
                    <a:pt x="3" y="33"/>
                  </a:lnTo>
                  <a:lnTo>
                    <a:pt x="1" y="29"/>
                  </a:lnTo>
                  <a:lnTo>
                    <a:pt x="0" y="25"/>
                  </a:lnTo>
                  <a:lnTo>
                    <a:pt x="0" y="21"/>
                  </a:lnTo>
                  <a:lnTo>
                    <a:pt x="0" y="18"/>
                  </a:lnTo>
                  <a:lnTo>
                    <a:pt x="0" y="14"/>
                  </a:lnTo>
                  <a:lnTo>
                    <a:pt x="2" y="10"/>
                  </a:lnTo>
                  <a:lnTo>
                    <a:pt x="3" y="6"/>
                  </a:lnTo>
                  <a:lnTo>
                    <a:pt x="7" y="4"/>
                  </a:lnTo>
                  <a:lnTo>
                    <a:pt x="9" y="1"/>
                  </a:lnTo>
                  <a:lnTo>
                    <a:pt x="13" y="0"/>
                  </a:lnTo>
                  <a:lnTo>
                    <a:pt x="17" y="0"/>
                  </a:lnTo>
                  <a:lnTo>
                    <a:pt x="22" y="0"/>
                  </a:lnTo>
                  <a:lnTo>
                    <a:pt x="341" y="40"/>
                  </a:lnTo>
                  <a:lnTo>
                    <a:pt x="345" y="41"/>
                  </a:lnTo>
                  <a:lnTo>
                    <a:pt x="349" y="42"/>
                  </a:lnTo>
                  <a:lnTo>
                    <a:pt x="352" y="45"/>
                  </a:lnTo>
                  <a:lnTo>
                    <a:pt x="355" y="47"/>
                  </a:lnTo>
                  <a:lnTo>
                    <a:pt x="357" y="51"/>
                  </a:lnTo>
                  <a:lnTo>
                    <a:pt x="358" y="55"/>
                  </a:lnTo>
                  <a:lnTo>
                    <a:pt x="358" y="59"/>
                  </a:lnTo>
                  <a:lnTo>
                    <a:pt x="358" y="62"/>
                  </a:lnTo>
                  <a:lnTo>
                    <a:pt x="357" y="66"/>
                  </a:lnTo>
                  <a:lnTo>
                    <a:pt x="356" y="70"/>
                  </a:lnTo>
                  <a:lnTo>
                    <a:pt x="355" y="72"/>
                  </a:lnTo>
                  <a:lnTo>
                    <a:pt x="352" y="75"/>
                  </a:lnTo>
                  <a:lnTo>
                    <a:pt x="349" y="77"/>
                  </a:lnTo>
                  <a:lnTo>
                    <a:pt x="346" y="78"/>
                  </a:lnTo>
                  <a:lnTo>
                    <a:pt x="342" y="80"/>
                  </a:lnTo>
                  <a:lnTo>
                    <a:pt x="3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82">
              <a:extLst>
                <a:ext uri="{FF2B5EF4-FFF2-40B4-BE49-F238E27FC236}">
                  <a16:creationId xmlns:a16="http://schemas.microsoft.com/office/drawing/2014/main" id="{F5AA5961-288B-43DA-97D1-24522A9D7376}"/>
                </a:ext>
              </a:extLst>
            </p:cNvPr>
            <p:cNvSpPr>
              <a:spLocks/>
            </p:cNvSpPr>
            <p:nvPr/>
          </p:nvSpPr>
          <p:spPr bwMode="auto">
            <a:xfrm>
              <a:off x="3009369" y="2758708"/>
              <a:ext cx="99628" cy="23985"/>
            </a:xfrm>
            <a:custGeom>
              <a:avLst/>
              <a:gdLst>
                <a:gd name="T0" fmla="*/ 139 w 161"/>
                <a:gd name="T1" fmla="*/ 40 h 40"/>
                <a:gd name="T2" fmla="*/ 20 w 161"/>
                <a:gd name="T3" fmla="*/ 40 h 40"/>
                <a:gd name="T4" fmla="*/ 16 w 161"/>
                <a:gd name="T5" fmla="*/ 40 h 40"/>
                <a:gd name="T6" fmla="*/ 13 w 161"/>
                <a:gd name="T7" fmla="*/ 39 h 40"/>
                <a:gd name="T8" fmla="*/ 9 w 161"/>
                <a:gd name="T9" fmla="*/ 38 h 40"/>
                <a:gd name="T10" fmla="*/ 5 w 161"/>
                <a:gd name="T11" fmla="*/ 35 h 40"/>
                <a:gd name="T12" fmla="*/ 4 w 161"/>
                <a:gd name="T13" fmla="*/ 31 h 40"/>
                <a:gd name="T14" fmla="*/ 2 w 161"/>
                <a:gd name="T15" fmla="*/ 29 h 40"/>
                <a:gd name="T16" fmla="*/ 0 w 161"/>
                <a:gd name="T17" fmla="*/ 25 h 40"/>
                <a:gd name="T18" fmla="*/ 0 w 161"/>
                <a:gd name="T19" fmla="*/ 20 h 40"/>
                <a:gd name="T20" fmla="*/ 0 w 161"/>
                <a:gd name="T21" fmla="*/ 17 h 40"/>
                <a:gd name="T22" fmla="*/ 2 w 161"/>
                <a:gd name="T23" fmla="*/ 13 h 40"/>
                <a:gd name="T24" fmla="*/ 4 w 161"/>
                <a:gd name="T25" fmla="*/ 9 h 40"/>
                <a:gd name="T26" fmla="*/ 5 w 161"/>
                <a:gd name="T27" fmla="*/ 7 h 40"/>
                <a:gd name="T28" fmla="*/ 9 w 161"/>
                <a:gd name="T29" fmla="*/ 4 h 40"/>
                <a:gd name="T30" fmla="*/ 13 w 161"/>
                <a:gd name="T31" fmla="*/ 3 h 40"/>
                <a:gd name="T32" fmla="*/ 16 w 161"/>
                <a:gd name="T33" fmla="*/ 2 h 40"/>
                <a:gd name="T34" fmla="*/ 20 w 161"/>
                <a:gd name="T35" fmla="*/ 0 h 40"/>
                <a:gd name="T36" fmla="*/ 139 w 161"/>
                <a:gd name="T37" fmla="*/ 0 h 40"/>
                <a:gd name="T38" fmla="*/ 144 w 161"/>
                <a:gd name="T39" fmla="*/ 2 h 40"/>
                <a:gd name="T40" fmla="*/ 148 w 161"/>
                <a:gd name="T41" fmla="*/ 3 h 40"/>
                <a:gd name="T42" fmla="*/ 151 w 161"/>
                <a:gd name="T43" fmla="*/ 4 h 40"/>
                <a:gd name="T44" fmla="*/ 154 w 161"/>
                <a:gd name="T45" fmla="*/ 7 h 40"/>
                <a:gd name="T46" fmla="*/ 157 w 161"/>
                <a:gd name="T47" fmla="*/ 9 h 40"/>
                <a:gd name="T48" fmla="*/ 158 w 161"/>
                <a:gd name="T49" fmla="*/ 13 h 40"/>
                <a:gd name="T50" fmla="*/ 159 w 161"/>
                <a:gd name="T51" fmla="*/ 17 h 40"/>
                <a:gd name="T52" fmla="*/ 161 w 161"/>
                <a:gd name="T53" fmla="*/ 20 h 40"/>
                <a:gd name="T54" fmla="*/ 159 w 161"/>
                <a:gd name="T55" fmla="*/ 25 h 40"/>
                <a:gd name="T56" fmla="*/ 158 w 161"/>
                <a:gd name="T57" fmla="*/ 29 h 40"/>
                <a:gd name="T58" fmla="*/ 157 w 161"/>
                <a:gd name="T59" fmla="*/ 31 h 40"/>
                <a:gd name="T60" fmla="*/ 154 w 161"/>
                <a:gd name="T61" fmla="*/ 35 h 40"/>
                <a:gd name="T62" fmla="*/ 151 w 161"/>
                <a:gd name="T63" fmla="*/ 38 h 40"/>
                <a:gd name="T64" fmla="*/ 148 w 161"/>
                <a:gd name="T65" fmla="*/ 39 h 40"/>
                <a:gd name="T66" fmla="*/ 144 w 161"/>
                <a:gd name="T67" fmla="*/ 40 h 40"/>
                <a:gd name="T68" fmla="*/ 139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39" y="40"/>
                  </a:moveTo>
                  <a:lnTo>
                    <a:pt x="20" y="40"/>
                  </a:lnTo>
                  <a:lnTo>
                    <a:pt x="16" y="40"/>
                  </a:lnTo>
                  <a:lnTo>
                    <a:pt x="13" y="39"/>
                  </a:lnTo>
                  <a:lnTo>
                    <a:pt x="9" y="38"/>
                  </a:lnTo>
                  <a:lnTo>
                    <a:pt x="5" y="35"/>
                  </a:lnTo>
                  <a:lnTo>
                    <a:pt x="4" y="31"/>
                  </a:lnTo>
                  <a:lnTo>
                    <a:pt x="2" y="29"/>
                  </a:lnTo>
                  <a:lnTo>
                    <a:pt x="0" y="25"/>
                  </a:lnTo>
                  <a:lnTo>
                    <a:pt x="0" y="20"/>
                  </a:lnTo>
                  <a:lnTo>
                    <a:pt x="0" y="17"/>
                  </a:lnTo>
                  <a:lnTo>
                    <a:pt x="2" y="13"/>
                  </a:lnTo>
                  <a:lnTo>
                    <a:pt x="4" y="9"/>
                  </a:lnTo>
                  <a:lnTo>
                    <a:pt x="5" y="7"/>
                  </a:lnTo>
                  <a:lnTo>
                    <a:pt x="9" y="4"/>
                  </a:lnTo>
                  <a:lnTo>
                    <a:pt x="13" y="3"/>
                  </a:lnTo>
                  <a:lnTo>
                    <a:pt x="16" y="2"/>
                  </a:lnTo>
                  <a:lnTo>
                    <a:pt x="20" y="0"/>
                  </a:lnTo>
                  <a:lnTo>
                    <a:pt x="139" y="0"/>
                  </a:lnTo>
                  <a:lnTo>
                    <a:pt x="144" y="2"/>
                  </a:lnTo>
                  <a:lnTo>
                    <a:pt x="148" y="3"/>
                  </a:lnTo>
                  <a:lnTo>
                    <a:pt x="151" y="4"/>
                  </a:lnTo>
                  <a:lnTo>
                    <a:pt x="154" y="7"/>
                  </a:lnTo>
                  <a:lnTo>
                    <a:pt x="157" y="9"/>
                  </a:lnTo>
                  <a:lnTo>
                    <a:pt x="158" y="13"/>
                  </a:lnTo>
                  <a:lnTo>
                    <a:pt x="159" y="17"/>
                  </a:lnTo>
                  <a:lnTo>
                    <a:pt x="161" y="20"/>
                  </a:lnTo>
                  <a:lnTo>
                    <a:pt x="159" y="25"/>
                  </a:lnTo>
                  <a:lnTo>
                    <a:pt x="158" y="29"/>
                  </a:lnTo>
                  <a:lnTo>
                    <a:pt x="157" y="31"/>
                  </a:lnTo>
                  <a:lnTo>
                    <a:pt x="154" y="35"/>
                  </a:lnTo>
                  <a:lnTo>
                    <a:pt x="151" y="38"/>
                  </a:lnTo>
                  <a:lnTo>
                    <a:pt x="148" y="39"/>
                  </a:lnTo>
                  <a:lnTo>
                    <a:pt x="144" y="40"/>
                  </a:lnTo>
                  <a:lnTo>
                    <a:pt x="139"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3">
              <a:extLst>
                <a:ext uri="{FF2B5EF4-FFF2-40B4-BE49-F238E27FC236}">
                  <a16:creationId xmlns:a16="http://schemas.microsoft.com/office/drawing/2014/main" id="{79D33AD8-1BEF-4998-8353-698DA20861D2}"/>
                </a:ext>
              </a:extLst>
            </p:cNvPr>
            <p:cNvSpPr>
              <a:spLocks/>
            </p:cNvSpPr>
            <p:nvPr/>
          </p:nvSpPr>
          <p:spPr bwMode="auto">
            <a:xfrm>
              <a:off x="3575774" y="2758708"/>
              <a:ext cx="97783" cy="23985"/>
            </a:xfrm>
            <a:custGeom>
              <a:avLst/>
              <a:gdLst>
                <a:gd name="T0" fmla="*/ 141 w 161"/>
                <a:gd name="T1" fmla="*/ 40 h 40"/>
                <a:gd name="T2" fmla="*/ 20 w 161"/>
                <a:gd name="T3" fmla="*/ 40 h 40"/>
                <a:gd name="T4" fmla="*/ 17 w 161"/>
                <a:gd name="T5" fmla="*/ 40 h 40"/>
                <a:gd name="T6" fmla="*/ 13 w 161"/>
                <a:gd name="T7" fmla="*/ 39 h 40"/>
                <a:gd name="T8" fmla="*/ 9 w 161"/>
                <a:gd name="T9" fmla="*/ 38 h 40"/>
                <a:gd name="T10" fmla="*/ 7 w 161"/>
                <a:gd name="T11" fmla="*/ 35 h 40"/>
                <a:gd name="T12" fmla="*/ 4 w 161"/>
                <a:gd name="T13" fmla="*/ 31 h 40"/>
                <a:gd name="T14" fmla="*/ 2 w 161"/>
                <a:gd name="T15" fmla="*/ 29 h 40"/>
                <a:gd name="T16" fmla="*/ 2 w 161"/>
                <a:gd name="T17" fmla="*/ 25 h 40"/>
                <a:gd name="T18" fmla="*/ 0 w 161"/>
                <a:gd name="T19" fmla="*/ 20 h 40"/>
                <a:gd name="T20" fmla="*/ 2 w 161"/>
                <a:gd name="T21" fmla="*/ 17 h 40"/>
                <a:gd name="T22" fmla="*/ 2 w 161"/>
                <a:gd name="T23" fmla="*/ 13 h 40"/>
                <a:gd name="T24" fmla="*/ 4 w 161"/>
                <a:gd name="T25" fmla="*/ 9 h 40"/>
                <a:gd name="T26" fmla="*/ 7 w 161"/>
                <a:gd name="T27" fmla="*/ 7 h 40"/>
                <a:gd name="T28" fmla="*/ 9 w 161"/>
                <a:gd name="T29" fmla="*/ 4 h 40"/>
                <a:gd name="T30" fmla="*/ 13 w 161"/>
                <a:gd name="T31" fmla="*/ 3 h 40"/>
                <a:gd name="T32" fmla="*/ 17 w 161"/>
                <a:gd name="T33" fmla="*/ 2 h 40"/>
                <a:gd name="T34" fmla="*/ 20 w 161"/>
                <a:gd name="T35" fmla="*/ 0 h 40"/>
                <a:gd name="T36" fmla="*/ 141 w 161"/>
                <a:gd name="T37" fmla="*/ 0 h 40"/>
                <a:gd name="T38" fmla="*/ 144 w 161"/>
                <a:gd name="T39" fmla="*/ 2 h 40"/>
                <a:gd name="T40" fmla="*/ 148 w 161"/>
                <a:gd name="T41" fmla="*/ 3 h 40"/>
                <a:gd name="T42" fmla="*/ 152 w 161"/>
                <a:gd name="T43" fmla="*/ 4 h 40"/>
                <a:gd name="T44" fmla="*/ 154 w 161"/>
                <a:gd name="T45" fmla="*/ 7 h 40"/>
                <a:gd name="T46" fmla="*/ 157 w 161"/>
                <a:gd name="T47" fmla="*/ 9 h 40"/>
                <a:gd name="T48" fmla="*/ 159 w 161"/>
                <a:gd name="T49" fmla="*/ 13 h 40"/>
                <a:gd name="T50" fmla="*/ 161 w 161"/>
                <a:gd name="T51" fmla="*/ 17 h 40"/>
                <a:gd name="T52" fmla="*/ 161 w 161"/>
                <a:gd name="T53" fmla="*/ 20 h 40"/>
                <a:gd name="T54" fmla="*/ 161 w 161"/>
                <a:gd name="T55" fmla="*/ 25 h 40"/>
                <a:gd name="T56" fmla="*/ 159 w 161"/>
                <a:gd name="T57" fmla="*/ 29 h 40"/>
                <a:gd name="T58" fmla="*/ 157 w 161"/>
                <a:gd name="T59" fmla="*/ 31 h 40"/>
                <a:gd name="T60" fmla="*/ 154 w 161"/>
                <a:gd name="T61" fmla="*/ 35 h 40"/>
                <a:gd name="T62" fmla="*/ 152 w 161"/>
                <a:gd name="T63" fmla="*/ 38 h 40"/>
                <a:gd name="T64" fmla="*/ 148 w 161"/>
                <a:gd name="T65" fmla="*/ 39 h 40"/>
                <a:gd name="T66" fmla="*/ 144 w 161"/>
                <a:gd name="T67" fmla="*/ 40 h 40"/>
                <a:gd name="T68" fmla="*/ 141 w 1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40">
                  <a:moveTo>
                    <a:pt x="141" y="40"/>
                  </a:moveTo>
                  <a:lnTo>
                    <a:pt x="20" y="40"/>
                  </a:lnTo>
                  <a:lnTo>
                    <a:pt x="17" y="40"/>
                  </a:lnTo>
                  <a:lnTo>
                    <a:pt x="13" y="39"/>
                  </a:lnTo>
                  <a:lnTo>
                    <a:pt x="9" y="38"/>
                  </a:lnTo>
                  <a:lnTo>
                    <a:pt x="7" y="35"/>
                  </a:lnTo>
                  <a:lnTo>
                    <a:pt x="4" y="31"/>
                  </a:lnTo>
                  <a:lnTo>
                    <a:pt x="2" y="29"/>
                  </a:lnTo>
                  <a:lnTo>
                    <a:pt x="2" y="25"/>
                  </a:lnTo>
                  <a:lnTo>
                    <a:pt x="0" y="20"/>
                  </a:lnTo>
                  <a:lnTo>
                    <a:pt x="2" y="17"/>
                  </a:lnTo>
                  <a:lnTo>
                    <a:pt x="2" y="13"/>
                  </a:lnTo>
                  <a:lnTo>
                    <a:pt x="4" y="9"/>
                  </a:lnTo>
                  <a:lnTo>
                    <a:pt x="7" y="7"/>
                  </a:lnTo>
                  <a:lnTo>
                    <a:pt x="9" y="4"/>
                  </a:lnTo>
                  <a:lnTo>
                    <a:pt x="13" y="3"/>
                  </a:lnTo>
                  <a:lnTo>
                    <a:pt x="17" y="2"/>
                  </a:lnTo>
                  <a:lnTo>
                    <a:pt x="20" y="0"/>
                  </a:lnTo>
                  <a:lnTo>
                    <a:pt x="141" y="0"/>
                  </a:lnTo>
                  <a:lnTo>
                    <a:pt x="144" y="2"/>
                  </a:lnTo>
                  <a:lnTo>
                    <a:pt x="148" y="3"/>
                  </a:lnTo>
                  <a:lnTo>
                    <a:pt x="152" y="4"/>
                  </a:lnTo>
                  <a:lnTo>
                    <a:pt x="154" y="7"/>
                  </a:lnTo>
                  <a:lnTo>
                    <a:pt x="157" y="9"/>
                  </a:lnTo>
                  <a:lnTo>
                    <a:pt x="159" y="13"/>
                  </a:lnTo>
                  <a:lnTo>
                    <a:pt x="161" y="17"/>
                  </a:lnTo>
                  <a:lnTo>
                    <a:pt x="161" y="20"/>
                  </a:lnTo>
                  <a:lnTo>
                    <a:pt x="161" y="25"/>
                  </a:lnTo>
                  <a:lnTo>
                    <a:pt x="159" y="29"/>
                  </a:lnTo>
                  <a:lnTo>
                    <a:pt x="157" y="31"/>
                  </a:lnTo>
                  <a:lnTo>
                    <a:pt x="154" y="35"/>
                  </a:lnTo>
                  <a:lnTo>
                    <a:pt x="152" y="38"/>
                  </a:lnTo>
                  <a:lnTo>
                    <a:pt x="148" y="39"/>
                  </a:lnTo>
                  <a:lnTo>
                    <a:pt x="144" y="40"/>
                  </a:lnTo>
                  <a:lnTo>
                    <a:pt x="1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84">
              <a:extLst>
                <a:ext uri="{FF2B5EF4-FFF2-40B4-BE49-F238E27FC236}">
                  <a16:creationId xmlns:a16="http://schemas.microsoft.com/office/drawing/2014/main" id="{F3E33242-BA4C-4A83-849C-E9A1369E0466}"/>
                </a:ext>
              </a:extLst>
            </p:cNvPr>
            <p:cNvSpPr>
              <a:spLocks/>
            </p:cNvSpPr>
            <p:nvPr/>
          </p:nvSpPr>
          <p:spPr bwMode="auto">
            <a:xfrm>
              <a:off x="3103462" y="2533622"/>
              <a:ext cx="77489" cy="75644"/>
            </a:xfrm>
            <a:custGeom>
              <a:avLst/>
              <a:gdLst>
                <a:gd name="T0" fmla="*/ 105 w 125"/>
                <a:gd name="T1" fmla="*/ 125 h 125"/>
                <a:gd name="T2" fmla="*/ 102 w 125"/>
                <a:gd name="T3" fmla="*/ 125 h 125"/>
                <a:gd name="T4" fmla="*/ 98 w 125"/>
                <a:gd name="T5" fmla="*/ 124 h 125"/>
                <a:gd name="T6" fmla="*/ 94 w 125"/>
                <a:gd name="T7" fmla="*/ 121 h 125"/>
                <a:gd name="T8" fmla="*/ 91 w 125"/>
                <a:gd name="T9" fmla="*/ 119 h 125"/>
                <a:gd name="T10" fmla="*/ 6 w 125"/>
                <a:gd name="T11" fmla="*/ 34 h 125"/>
                <a:gd name="T12" fmla="*/ 4 w 125"/>
                <a:gd name="T13" fmla="*/ 31 h 125"/>
                <a:gd name="T14" fmla="*/ 2 w 125"/>
                <a:gd name="T15" fmla="*/ 28 h 125"/>
                <a:gd name="T16" fmla="*/ 1 w 125"/>
                <a:gd name="T17" fmla="*/ 25 h 125"/>
                <a:gd name="T18" fmla="*/ 0 w 125"/>
                <a:gd name="T19" fmla="*/ 20 h 125"/>
                <a:gd name="T20" fmla="*/ 1 w 125"/>
                <a:gd name="T21" fmla="*/ 16 h 125"/>
                <a:gd name="T22" fmla="*/ 2 w 125"/>
                <a:gd name="T23" fmla="*/ 12 h 125"/>
                <a:gd name="T24" fmla="*/ 4 w 125"/>
                <a:gd name="T25" fmla="*/ 10 h 125"/>
                <a:gd name="T26" fmla="*/ 6 w 125"/>
                <a:gd name="T27" fmla="*/ 6 h 125"/>
                <a:gd name="T28" fmla="*/ 10 w 125"/>
                <a:gd name="T29" fmla="*/ 3 h 125"/>
                <a:gd name="T30" fmla="*/ 12 w 125"/>
                <a:gd name="T31" fmla="*/ 2 h 125"/>
                <a:gd name="T32" fmla="*/ 16 w 125"/>
                <a:gd name="T33" fmla="*/ 1 h 125"/>
                <a:gd name="T34" fmla="*/ 20 w 125"/>
                <a:gd name="T35" fmla="*/ 0 h 125"/>
                <a:gd name="T36" fmla="*/ 25 w 125"/>
                <a:gd name="T37" fmla="*/ 1 h 125"/>
                <a:gd name="T38" fmla="*/ 28 w 125"/>
                <a:gd name="T39" fmla="*/ 2 h 125"/>
                <a:gd name="T40" fmla="*/ 31 w 125"/>
                <a:gd name="T41" fmla="*/ 3 h 125"/>
                <a:gd name="T42" fmla="*/ 35 w 125"/>
                <a:gd name="T43" fmla="*/ 6 h 125"/>
                <a:gd name="T44" fmla="*/ 119 w 125"/>
                <a:gd name="T45" fmla="*/ 90 h 125"/>
                <a:gd name="T46" fmla="*/ 122 w 125"/>
                <a:gd name="T47" fmla="*/ 94 h 125"/>
                <a:gd name="T48" fmla="*/ 124 w 125"/>
                <a:gd name="T49" fmla="*/ 98 h 125"/>
                <a:gd name="T50" fmla="*/ 125 w 125"/>
                <a:gd name="T51" fmla="*/ 102 h 125"/>
                <a:gd name="T52" fmla="*/ 125 w 125"/>
                <a:gd name="T53" fmla="*/ 105 h 125"/>
                <a:gd name="T54" fmla="*/ 125 w 125"/>
                <a:gd name="T55" fmla="*/ 109 h 125"/>
                <a:gd name="T56" fmla="*/ 124 w 125"/>
                <a:gd name="T57" fmla="*/ 113 h 125"/>
                <a:gd name="T58" fmla="*/ 122 w 125"/>
                <a:gd name="T59" fmla="*/ 116 h 125"/>
                <a:gd name="T60" fmla="*/ 119 w 125"/>
                <a:gd name="T61" fmla="*/ 119 h 125"/>
                <a:gd name="T62" fmla="*/ 117 w 125"/>
                <a:gd name="T63" fmla="*/ 121 h 125"/>
                <a:gd name="T64" fmla="*/ 113 w 125"/>
                <a:gd name="T65" fmla="*/ 124 h 125"/>
                <a:gd name="T66" fmla="*/ 109 w 125"/>
                <a:gd name="T67" fmla="*/ 125 h 125"/>
                <a:gd name="T68" fmla="*/ 105 w 125"/>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05" y="125"/>
                  </a:moveTo>
                  <a:lnTo>
                    <a:pt x="102" y="125"/>
                  </a:lnTo>
                  <a:lnTo>
                    <a:pt x="98" y="124"/>
                  </a:lnTo>
                  <a:lnTo>
                    <a:pt x="94" y="121"/>
                  </a:lnTo>
                  <a:lnTo>
                    <a:pt x="91" y="119"/>
                  </a:lnTo>
                  <a:lnTo>
                    <a:pt x="6" y="34"/>
                  </a:lnTo>
                  <a:lnTo>
                    <a:pt x="4" y="31"/>
                  </a:lnTo>
                  <a:lnTo>
                    <a:pt x="2" y="28"/>
                  </a:lnTo>
                  <a:lnTo>
                    <a:pt x="1" y="25"/>
                  </a:lnTo>
                  <a:lnTo>
                    <a:pt x="0" y="20"/>
                  </a:lnTo>
                  <a:lnTo>
                    <a:pt x="1" y="16"/>
                  </a:lnTo>
                  <a:lnTo>
                    <a:pt x="2" y="12"/>
                  </a:lnTo>
                  <a:lnTo>
                    <a:pt x="4" y="10"/>
                  </a:lnTo>
                  <a:lnTo>
                    <a:pt x="6" y="6"/>
                  </a:lnTo>
                  <a:lnTo>
                    <a:pt x="10" y="3"/>
                  </a:lnTo>
                  <a:lnTo>
                    <a:pt x="12" y="2"/>
                  </a:lnTo>
                  <a:lnTo>
                    <a:pt x="16" y="1"/>
                  </a:lnTo>
                  <a:lnTo>
                    <a:pt x="20" y="0"/>
                  </a:lnTo>
                  <a:lnTo>
                    <a:pt x="25" y="1"/>
                  </a:lnTo>
                  <a:lnTo>
                    <a:pt x="28" y="2"/>
                  </a:lnTo>
                  <a:lnTo>
                    <a:pt x="31" y="3"/>
                  </a:lnTo>
                  <a:lnTo>
                    <a:pt x="35" y="6"/>
                  </a:lnTo>
                  <a:lnTo>
                    <a:pt x="119" y="90"/>
                  </a:lnTo>
                  <a:lnTo>
                    <a:pt x="122" y="94"/>
                  </a:lnTo>
                  <a:lnTo>
                    <a:pt x="124" y="98"/>
                  </a:lnTo>
                  <a:lnTo>
                    <a:pt x="125" y="102"/>
                  </a:lnTo>
                  <a:lnTo>
                    <a:pt x="125" y="105"/>
                  </a:lnTo>
                  <a:lnTo>
                    <a:pt x="125" y="109"/>
                  </a:lnTo>
                  <a:lnTo>
                    <a:pt x="124" y="113"/>
                  </a:lnTo>
                  <a:lnTo>
                    <a:pt x="122" y="116"/>
                  </a:lnTo>
                  <a:lnTo>
                    <a:pt x="119" y="119"/>
                  </a:lnTo>
                  <a:lnTo>
                    <a:pt x="117" y="121"/>
                  </a:lnTo>
                  <a:lnTo>
                    <a:pt x="113" y="124"/>
                  </a:lnTo>
                  <a:lnTo>
                    <a:pt x="109" y="125"/>
                  </a:lnTo>
                  <a:lnTo>
                    <a:pt x="10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85">
              <a:extLst>
                <a:ext uri="{FF2B5EF4-FFF2-40B4-BE49-F238E27FC236}">
                  <a16:creationId xmlns:a16="http://schemas.microsoft.com/office/drawing/2014/main" id="{4FF1418E-443E-4CA3-A615-0712EBEED888}"/>
                </a:ext>
              </a:extLst>
            </p:cNvPr>
            <p:cNvSpPr>
              <a:spLocks/>
            </p:cNvSpPr>
            <p:nvPr/>
          </p:nvSpPr>
          <p:spPr bwMode="auto">
            <a:xfrm>
              <a:off x="3503820" y="2933980"/>
              <a:ext cx="75644" cy="75644"/>
            </a:xfrm>
            <a:custGeom>
              <a:avLst/>
              <a:gdLst>
                <a:gd name="T0" fmla="*/ 104 w 124"/>
                <a:gd name="T1" fmla="*/ 124 h 124"/>
                <a:gd name="T2" fmla="*/ 100 w 124"/>
                <a:gd name="T3" fmla="*/ 124 h 124"/>
                <a:gd name="T4" fmla="*/ 97 w 124"/>
                <a:gd name="T5" fmla="*/ 123 h 124"/>
                <a:gd name="T6" fmla="*/ 93 w 124"/>
                <a:gd name="T7" fmla="*/ 121 h 124"/>
                <a:gd name="T8" fmla="*/ 90 w 124"/>
                <a:gd name="T9" fmla="*/ 119 h 124"/>
                <a:gd name="T10" fmla="*/ 6 w 124"/>
                <a:gd name="T11" fmla="*/ 33 h 124"/>
                <a:gd name="T12" fmla="*/ 3 w 124"/>
                <a:gd name="T13" fmla="*/ 31 h 124"/>
                <a:gd name="T14" fmla="*/ 1 w 124"/>
                <a:gd name="T15" fmla="*/ 27 h 124"/>
                <a:gd name="T16" fmla="*/ 0 w 124"/>
                <a:gd name="T17" fmla="*/ 23 h 124"/>
                <a:gd name="T18" fmla="*/ 0 w 124"/>
                <a:gd name="T19" fmla="*/ 20 h 124"/>
                <a:gd name="T20" fmla="*/ 0 w 124"/>
                <a:gd name="T21" fmla="*/ 16 h 124"/>
                <a:gd name="T22" fmla="*/ 1 w 124"/>
                <a:gd name="T23" fmla="*/ 12 h 124"/>
                <a:gd name="T24" fmla="*/ 3 w 124"/>
                <a:gd name="T25" fmla="*/ 8 h 124"/>
                <a:gd name="T26" fmla="*/ 6 w 124"/>
                <a:gd name="T27" fmla="*/ 6 h 124"/>
                <a:gd name="T28" fmla="*/ 8 w 124"/>
                <a:gd name="T29" fmla="*/ 3 h 124"/>
                <a:gd name="T30" fmla="*/ 12 w 124"/>
                <a:gd name="T31" fmla="*/ 1 h 124"/>
                <a:gd name="T32" fmla="*/ 16 w 124"/>
                <a:gd name="T33" fmla="*/ 0 h 124"/>
                <a:gd name="T34" fmla="*/ 20 w 124"/>
                <a:gd name="T35" fmla="*/ 0 h 124"/>
                <a:gd name="T36" fmla="*/ 23 w 124"/>
                <a:gd name="T37" fmla="*/ 0 h 124"/>
                <a:gd name="T38" fmla="*/ 27 w 124"/>
                <a:gd name="T39" fmla="*/ 1 h 124"/>
                <a:gd name="T40" fmla="*/ 31 w 124"/>
                <a:gd name="T41" fmla="*/ 3 h 124"/>
                <a:gd name="T42" fmla="*/ 33 w 124"/>
                <a:gd name="T43" fmla="*/ 6 h 124"/>
                <a:gd name="T44" fmla="*/ 119 w 124"/>
                <a:gd name="T45" fmla="*/ 90 h 124"/>
                <a:gd name="T46" fmla="*/ 121 w 124"/>
                <a:gd name="T47" fmla="*/ 93 h 124"/>
                <a:gd name="T48" fmla="*/ 123 w 124"/>
                <a:gd name="T49" fmla="*/ 97 h 124"/>
                <a:gd name="T50" fmla="*/ 124 w 124"/>
                <a:gd name="T51" fmla="*/ 100 h 124"/>
                <a:gd name="T52" fmla="*/ 124 w 124"/>
                <a:gd name="T53" fmla="*/ 104 h 124"/>
                <a:gd name="T54" fmla="*/ 124 w 124"/>
                <a:gd name="T55" fmla="*/ 108 h 124"/>
                <a:gd name="T56" fmla="*/ 123 w 124"/>
                <a:gd name="T57" fmla="*/ 111 h 124"/>
                <a:gd name="T58" fmla="*/ 121 w 124"/>
                <a:gd name="T59" fmla="*/ 115 h 124"/>
                <a:gd name="T60" fmla="*/ 119 w 124"/>
                <a:gd name="T61" fmla="*/ 119 h 124"/>
                <a:gd name="T62" fmla="*/ 115 w 124"/>
                <a:gd name="T63" fmla="*/ 121 h 124"/>
                <a:gd name="T64" fmla="*/ 111 w 124"/>
                <a:gd name="T65" fmla="*/ 123 h 124"/>
                <a:gd name="T66" fmla="*/ 108 w 124"/>
                <a:gd name="T67" fmla="*/ 124 h 124"/>
                <a:gd name="T68" fmla="*/ 104 w 124"/>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4">
                  <a:moveTo>
                    <a:pt x="104" y="124"/>
                  </a:moveTo>
                  <a:lnTo>
                    <a:pt x="100" y="124"/>
                  </a:lnTo>
                  <a:lnTo>
                    <a:pt x="97" y="123"/>
                  </a:lnTo>
                  <a:lnTo>
                    <a:pt x="93" y="121"/>
                  </a:lnTo>
                  <a:lnTo>
                    <a:pt x="90" y="119"/>
                  </a:lnTo>
                  <a:lnTo>
                    <a:pt x="6" y="33"/>
                  </a:lnTo>
                  <a:lnTo>
                    <a:pt x="3" y="31"/>
                  </a:lnTo>
                  <a:lnTo>
                    <a:pt x="1" y="27"/>
                  </a:lnTo>
                  <a:lnTo>
                    <a:pt x="0" y="23"/>
                  </a:lnTo>
                  <a:lnTo>
                    <a:pt x="0" y="20"/>
                  </a:lnTo>
                  <a:lnTo>
                    <a:pt x="0" y="16"/>
                  </a:lnTo>
                  <a:lnTo>
                    <a:pt x="1" y="12"/>
                  </a:lnTo>
                  <a:lnTo>
                    <a:pt x="3" y="8"/>
                  </a:lnTo>
                  <a:lnTo>
                    <a:pt x="6" y="6"/>
                  </a:lnTo>
                  <a:lnTo>
                    <a:pt x="8" y="3"/>
                  </a:lnTo>
                  <a:lnTo>
                    <a:pt x="12" y="1"/>
                  </a:lnTo>
                  <a:lnTo>
                    <a:pt x="16" y="0"/>
                  </a:lnTo>
                  <a:lnTo>
                    <a:pt x="20" y="0"/>
                  </a:lnTo>
                  <a:lnTo>
                    <a:pt x="23" y="0"/>
                  </a:lnTo>
                  <a:lnTo>
                    <a:pt x="27" y="1"/>
                  </a:lnTo>
                  <a:lnTo>
                    <a:pt x="31" y="3"/>
                  </a:lnTo>
                  <a:lnTo>
                    <a:pt x="33" y="6"/>
                  </a:lnTo>
                  <a:lnTo>
                    <a:pt x="119" y="90"/>
                  </a:lnTo>
                  <a:lnTo>
                    <a:pt x="121" y="93"/>
                  </a:lnTo>
                  <a:lnTo>
                    <a:pt x="123" y="97"/>
                  </a:lnTo>
                  <a:lnTo>
                    <a:pt x="124" y="100"/>
                  </a:lnTo>
                  <a:lnTo>
                    <a:pt x="124" y="104"/>
                  </a:lnTo>
                  <a:lnTo>
                    <a:pt x="124" y="108"/>
                  </a:lnTo>
                  <a:lnTo>
                    <a:pt x="123" y="111"/>
                  </a:lnTo>
                  <a:lnTo>
                    <a:pt x="121" y="115"/>
                  </a:lnTo>
                  <a:lnTo>
                    <a:pt x="119" y="119"/>
                  </a:lnTo>
                  <a:lnTo>
                    <a:pt x="115" y="121"/>
                  </a:lnTo>
                  <a:lnTo>
                    <a:pt x="111" y="123"/>
                  </a:lnTo>
                  <a:lnTo>
                    <a:pt x="108" y="124"/>
                  </a:lnTo>
                  <a:lnTo>
                    <a:pt x="104"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86">
              <a:extLst>
                <a:ext uri="{FF2B5EF4-FFF2-40B4-BE49-F238E27FC236}">
                  <a16:creationId xmlns:a16="http://schemas.microsoft.com/office/drawing/2014/main" id="{03320649-5C9F-4D2A-A53C-D04390A47E38}"/>
                </a:ext>
              </a:extLst>
            </p:cNvPr>
            <p:cNvSpPr>
              <a:spLocks/>
            </p:cNvSpPr>
            <p:nvPr/>
          </p:nvSpPr>
          <p:spPr bwMode="auto">
            <a:xfrm>
              <a:off x="3328548" y="2439528"/>
              <a:ext cx="25830" cy="97783"/>
            </a:xfrm>
            <a:custGeom>
              <a:avLst/>
              <a:gdLst>
                <a:gd name="T0" fmla="*/ 20 w 40"/>
                <a:gd name="T1" fmla="*/ 160 h 160"/>
                <a:gd name="T2" fmla="*/ 17 w 40"/>
                <a:gd name="T3" fmla="*/ 159 h 160"/>
                <a:gd name="T4" fmla="*/ 13 w 40"/>
                <a:gd name="T5" fmla="*/ 158 h 160"/>
                <a:gd name="T6" fmla="*/ 9 w 40"/>
                <a:gd name="T7" fmla="*/ 157 h 160"/>
                <a:gd name="T8" fmla="*/ 7 w 40"/>
                <a:gd name="T9" fmla="*/ 154 h 160"/>
                <a:gd name="T10" fmla="*/ 4 w 40"/>
                <a:gd name="T11" fmla="*/ 150 h 160"/>
                <a:gd name="T12" fmla="*/ 3 w 40"/>
                <a:gd name="T13" fmla="*/ 148 h 160"/>
                <a:gd name="T14" fmla="*/ 2 w 40"/>
                <a:gd name="T15" fmla="*/ 144 h 160"/>
                <a:gd name="T16" fmla="*/ 0 w 40"/>
                <a:gd name="T17" fmla="*/ 139 h 160"/>
                <a:gd name="T18" fmla="*/ 0 w 40"/>
                <a:gd name="T19" fmla="*/ 20 h 160"/>
                <a:gd name="T20" fmla="*/ 2 w 40"/>
                <a:gd name="T21" fmla="*/ 16 h 160"/>
                <a:gd name="T22" fmla="*/ 3 w 40"/>
                <a:gd name="T23" fmla="*/ 13 h 160"/>
                <a:gd name="T24" fmla="*/ 4 w 40"/>
                <a:gd name="T25" fmla="*/ 9 h 160"/>
                <a:gd name="T26" fmla="*/ 7 w 40"/>
                <a:gd name="T27" fmla="*/ 5 h 160"/>
                <a:gd name="T28" fmla="*/ 9 w 40"/>
                <a:gd name="T29" fmla="*/ 4 h 160"/>
                <a:gd name="T30" fmla="*/ 13 w 40"/>
                <a:gd name="T31" fmla="*/ 1 h 160"/>
                <a:gd name="T32" fmla="*/ 17 w 40"/>
                <a:gd name="T33" fmla="*/ 0 h 160"/>
                <a:gd name="T34" fmla="*/ 20 w 40"/>
                <a:gd name="T35" fmla="*/ 0 h 160"/>
                <a:gd name="T36" fmla="*/ 25 w 40"/>
                <a:gd name="T37" fmla="*/ 0 h 160"/>
                <a:gd name="T38" fmla="*/ 29 w 40"/>
                <a:gd name="T39" fmla="*/ 1 h 160"/>
                <a:gd name="T40" fmla="*/ 32 w 40"/>
                <a:gd name="T41" fmla="*/ 4 h 160"/>
                <a:gd name="T42" fmla="*/ 35 w 40"/>
                <a:gd name="T43" fmla="*/ 5 h 160"/>
                <a:gd name="T44" fmla="*/ 38 w 40"/>
                <a:gd name="T45" fmla="*/ 9 h 160"/>
                <a:gd name="T46" fmla="*/ 39 w 40"/>
                <a:gd name="T47" fmla="*/ 13 h 160"/>
                <a:gd name="T48" fmla="*/ 40 w 40"/>
                <a:gd name="T49" fmla="*/ 16 h 160"/>
                <a:gd name="T50" fmla="*/ 40 w 40"/>
                <a:gd name="T51" fmla="*/ 20 h 160"/>
                <a:gd name="T52" fmla="*/ 40 w 40"/>
                <a:gd name="T53" fmla="*/ 139 h 160"/>
                <a:gd name="T54" fmla="*/ 40 w 40"/>
                <a:gd name="T55" fmla="*/ 144 h 160"/>
                <a:gd name="T56" fmla="*/ 39 w 40"/>
                <a:gd name="T57" fmla="*/ 148 h 160"/>
                <a:gd name="T58" fmla="*/ 38 w 40"/>
                <a:gd name="T59" fmla="*/ 150 h 160"/>
                <a:gd name="T60" fmla="*/ 35 w 40"/>
                <a:gd name="T61" fmla="*/ 154 h 160"/>
                <a:gd name="T62" fmla="*/ 32 w 40"/>
                <a:gd name="T63" fmla="*/ 157 h 160"/>
                <a:gd name="T64" fmla="*/ 29 w 40"/>
                <a:gd name="T65" fmla="*/ 158 h 160"/>
                <a:gd name="T66" fmla="*/ 25 w 40"/>
                <a:gd name="T67" fmla="*/ 159 h 160"/>
                <a:gd name="T68" fmla="*/ 20 w 40"/>
                <a:gd name="T6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60">
                  <a:moveTo>
                    <a:pt x="20" y="160"/>
                  </a:moveTo>
                  <a:lnTo>
                    <a:pt x="17" y="159"/>
                  </a:lnTo>
                  <a:lnTo>
                    <a:pt x="13" y="158"/>
                  </a:lnTo>
                  <a:lnTo>
                    <a:pt x="9" y="157"/>
                  </a:lnTo>
                  <a:lnTo>
                    <a:pt x="7" y="154"/>
                  </a:lnTo>
                  <a:lnTo>
                    <a:pt x="4" y="150"/>
                  </a:lnTo>
                  <a:lnTo>
                    <a:pt x="3" y="148"/>
                  </a:lnTo>
                  <a:lnTo>
                    <a:pt x="2" y="144"/>
                  </a:lnTo>
                  <a:lnTo>
                    <a:pt x="0" y="139"/>
                  </a:lnTo>
                  <a:lnTo>
                    <a:pt x="0" y="20"/>
                  </a:lnTo>
                  <a:lnTo>
                    <a:pt x="2" y="16"/>
                  </a:lnTo>
                  <a:lnTo>
                    <a:pt x="3" y="13"/>
                  </a:lnTo>
                  <a:lnTo>
                    <a:pt x="4" y="9"/>
                  </a:lnTo>
                  <a:lnTo>
                    <a:pt x="7" y="5"/>
                  </a:lnTo>
                  <a:lnTo>
                    <a:pt x="9" y="4"/>
                  </a:lnTo>
                  <a:lnTo>
                    <a:pt x="13" y="1"/>
                  </a:lnTo>
                  <a:lnTo>
                    <a:pt x="17" y="0"/>
                  </a:lnTo>
                  <a:lnTo>
                    <a:pt x="20" y="0"/>
                  </a:lnTo>
                  <a:lnTo>
                    <a:pt x="25" y="0"/>
                  </a:lnTo>
                  <a:lnTo>
                    <a:pt x="29" y="1"/>
                  </a:lnTo>
                  <a:lnTo>
                    <a:pt x="32" y="4"/>
                  </a:lnTo>
                  <a:lnTo>
                    <a:pt x="35" y="5"/>
                  </a:lnTo>
                  <a:lnTo>
                    <a:pt x="38" y="9"/>
                  </a:lnTo>
                  <a:lnTo>
                    <a:pt x="39" y="13"/>
                  </a:lnTo>
                  <a:lnTo>
                    <a:pt x="40" y="16"/>
                  </a:lnTo>
                  <a:lnTo>
                    <a:pt x="40" y="20"/>
                  </a:lnTo>
                  <a:lnTo>
                    <a:pt x="40" y="139"/>
                  </a:lnTo>
                  <a:lnTo>
                    <a:pt x="40" y="144"/>
                  </a:lnTo>
                  <a:lnTo>
                    <a:pt x="39" y="148"/>
                  </a:lnTo>
                  <a:lnTo>
                    <a:pt x="38" y="150"/>
                  </a:lnTo>
                  <a:lnTo>
                    <a:pt x="35" y="154"/>
                  </a:lnTo>
                  <a:lnTo>
                    <a:pt x="32" y="157"/>
                  </a:lnTo>
                  <a:lnTo>
                    <a:pt x="29" y="158"/>
                  </a:lnTo>
                  <a:lnTo>
                    <a:pt x="25" y="159"/>
                  </a:lnTo>
                  <a:lnTo>
                    <a:pt x="2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87">
              <a:extLst>
                <a:ext uri="{FF2B5EF4-FFF2-40B4-BE49-F238E27FC236}">
                  <a16:creationId xmlns:a16="http://schemas.microsoft.com/office/drawing/2014/main" id="{4703EDE0-DFE0-49D6-9CB6-8081D7EBEFF0}"/>
                </a:ext>
              </a:extLst>
            </p:cNvPr>
            <p:cNvSpPr>
              <a:spLocks/>
            </p:cNvSpPr>
            <p:nvPr/>
          </p:nvSpPr>
          <p:spPr bwMode="auto">
            <a:xfrm>
              <a:off x="3503820" y="2533622"/>
              <a:ext cx="75644" cy="75644"/>
            </a:xfrm>
            <a:custGeom>
              <a:avLst/>
              <a:gdLst>
                <a:gd name="T0" fmla="*/ 20 w 124"/>
                <a:gd name="T1" fmla="*/ 125 h 125"/>
                <a:gd name="T2" fmla="*/ 16 w 124"/>
                <a:gd name="T3" fmla="*/ 125 h 125"/>
                <a:gd name="T4" fmla="*/ 12 w 124"/>
                <a:gd name="T5" fmla="*/ 124 h 125"/>
                <a:gd name="T6" fmla="*/ 8 w 124"/>
                <a:gd name="T7" fmla="*/ 121 h 125"/>
                <a:gd name="T8" fmla="*/ 6 w 124"/>
                <a:gd name="T9" fmla="*/ 119 h 125"/>
                <a:gd name="T10" fmla="*/ 3 w 124"/>
                <a:gd name="T11" fmla="*/ 116 h 125"/>
                <a:gd name="T12" fmla="*/ 1 w 124"/>
                <a:gd name="T13" fmla="*/ 113 h 125"/>
                <a:gd name="T14" fmla="*/ 0 w 124"/>
                <a:gd name="T15" fmla="*/ 109 h 125"/>
                <a:gd name="T16" fmla="*/ 0 w 124"/>
                <a:gd name="T17" fmla="*/ 105 h 125"/>
                <a:gd name="T18" fmla="*/ 0 w 124"/>
                <a:gd name="T19" fmla="*/ 102 h 125"/>
                <a:gd name="T20" fmla="*/ 1 w 124"/>
                <a:gd name="T21" fmla="*/ 98 h 125"/>
                <a:gd name="T22" fmla="*/ 3 w 124"/>
                <a:gd name="T23" fmla="*/ 94 h 125"/>
                <a:gd name="T24" fmla="*/ 6 w 124"/>
                <a:gd name="T25" fmla="*/ 90 h 125"/>
                <a:gd name="T26" fmla="*/ 90 w 124"/>
                <a:gd name="T27" fmla="*/ 6 h 125"/>
                <a:gd name="T28" fmla="*/ 93 w 124"/>
                <a:gd name="T29" fmla="*/ 3 h 125"/>
                <a:gd name="T30" fmla="*/ 97 w 124"/>
                <a:gd name="T31" fmla="*/ 2 h 125"/>
                <a:gd name="T32" fmla="*/ 100 w 124"/>
                <a:gd name="T33" fmla="*/ 1 h 125"/>
                <a:gd name="T34" fmla="*/ 104 w 124"/>
                <a:gd name="T35" fmla="*/ 0 h 125"/>
                <a:gd name="T36" fmla="*/ 108 w 124"/>
                <a:gd name="T37" fmla="*/ 1 h 125"/>
                <a:gd name="T38" fmla="*/ 111 w 124"/>
                <a:gd name="T39" fmla="*/ 2 h 125"/>
                <a:gd name="T40" fmla="*/ 115 w 124"/>
                <a:gd name="T41" fmla="*/ 3 h 125"/>
                <a:gd name="T42" fmla="*/ 119 w 124"/>
                <a:gd name="T43" fmla="*/ 6 h 125"/>
                <a:gd name="T44" fmla="*/ 121 w 124"/>
                <a:gd name="T45" fmla="*/ 10 h 125"/>
                <a:gd name="T46" fmla="*/ 123 w 124"/>
                <a:gd name="T47" fmla="*/ 12 h 125"/>
                <a:gd name="T48" fmla="*/ 124 w 124"/>
                <a:gd name="T49" fmla="*/ 16 h 125"/>
                <a:gd name="T50" fmla="*/ 124 w 124"/>
                <a:gd name="T51" fmla="*/ 20 h 125"/>
                <a:gd name="T52" fmla="*/ 124 w 124"/>
                <a:gd name="T53" fmla="*/ 25 h 125"/>
                <a:gd name="T54" fmla="*/ 123 w 124"/>
                <a:gd name="T55" fmla="*/ 28 h 125"/>
                <a:gd name="T56" fmla="*/ 121 w 124"/>
                <a:gd name="T57" fmla="*/ 31 h 125"/>
                <a:gd name="T58" fmla="*/ 119 w 124"/>
                <a:gd name="T59" fmla="*/ 34 h 125"/>
                <a:gd name="T60" fmla="*/ 33 w 124"/>
                <a:gd name="T61" fmla="*/ 119 h 125"/>
                <a:gd name="T62" fmla="*/ 31 w 124"/>
                <a:gd name="T63" fmla="*/ 121 h 125"/>
                <a:gd name="T64" fmla="*/ 27 w 124"/>
                <a:gd name="T65" fmla="*/ 124 h 125"/>
                <a:gd name="T66" fmla="*/ 23 w 124"/>
                <a:gd name="T67" fmla="*/ 125 h 125"/>
                <a:gd name="T68" fmla="*/ 20 w 124"/>
                <a:gd name="T69"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20" y="125"/>
                  </a:moveTo>
                  <a:lnTo>
                    <a:pt x="16" y="125"/>
                  </a:lnTo>
                  <a:lnTo>
                    <a:pt x="12" y="124"/>
                  </a:lnTo>
                  <a:lnTo>
                    <a:pt x="8" y="121"/>
                  </a:lnTo>
                  <a:lnTo>
                    <a:pt x="6" y="119"/>
                  </a:lnTo>
                  <a:lnTo>
                    <a:pt x="3" y="116"/>
                  </a:lnTo>
                  <a:lnTo>
                    <a:pt x="1" y="113"/>
                  </a:lnTo>
                  <a:lnTo>
                    <a:pt x="0" y="109"/>
                  </a:lnTo>
                  <a:lnTo>
                    <a:pt x="0" y="105"/>
                  </a:lnTo>
                  <a:lnTo>
                    <a:pt x="0" y="102"/>
                  </a:lnTo>
                  <a:lnTo>
                    <a:pt x="1" y="98"/>
                  </a:lnTo>
                  <a:lnTo>
                    <a:pt x="3" y="94"/>
                  </a:lnTo>
                  <a:lnTo>
                    <a:pt x="6" y="90"/>
                  </a:lnTo>
                  <a:lnTo>
                    <a:pt x="90" y="6"/>
                  </a:lnTo>
                  <a:lnTo>
                    <a:pt x="93" y="3"/>
                  </a:lnTo>
                  <a:lnTo>
                    <a:pt x="97" y="2"/>
                  </a:lnTo>
                  <a:lnTo>
                    <a:pt x="100" y="1"/>
                  </a:lnTo>
                  <a:lnTo>
                    <a:pt x="104" y="0"/>
                  </a:lnTo>
                  <a:lnTo>
                    <a:pt x="108" y="1"/>
                  </a:lnTo>
                  <a:lnTo>
                    <a:pt x="111" y="2"/>
                  </a:lnTo>
                  <a:lnTo>
                    <a:pt x="115" y="3"/>
                  </a:lnTo>
                  <a:lnTo>
                    <a:pt x="119" y="6"/>
                  </a:lnTo>
                  <a:lnTo>
                    <a:pt x="121" y="10"/>
                  </a:lnTo>
                  <a:lnTo>
                    <a:pt x="123" y="12"/>
                  </a:lnTo>
                  <a:lnTo>
                    <a:pt x="124" y="16"/>
                  </a:lnTo>
                  <a:lnTo>
                    <a:pt x="124" y="20"/>
                  </a:lnTo>
                  <a:lnTo>
                    <a:pt x="124" y="25"/>
                  </a:lnTo>
                  <a:lnTo>
                    <a:pt x="123" y="28"/>
                  </a:lnTo>
                  <a:lnTo>
                    <a:pt x="121" y="31"/>
                  </a:lnTo>
                  <a:lnTo>
                    <a:pt x="119" y="34"/>
                  </a:lnTo>
                  <a:lnTo>
                    <a:pt x="33" y="119"/>
                  </a:lnTo>
                  <a:lnTo>
                    <a:pt x="31" y="121"/>
                  </a:lnTo>
                  <a:lnTo>
                    <a:pt x="27" y="124"/>
                  </a:lnTo>
                  <a:lnTo>
                    <a:pt x="23" y="125"/>
                  </a:lnTo>
                  <a:lnTo>
                    <a:pt x="20"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88">
              <a:extLst>
                <a:ext uri="{FF2B5EF4-FFF2-40B4-BE49-F238E27FC236}">
                  <a16:creationId xmlns:a16="http://schemas.microsoft.com/office/drawing/2014/main" id="{B8A1DB18-67B0-4C2F-9EB1-1E6B92DAC6A0}"/>
                </a:ext>
              </a:extLst>
            </p:cNvPr>
            <p:cNvSpPr>
              <a:spLocks/>
            </p:cNvSpPr>
            <p:nvPr/>
          </p:nvSpPr>
          <p:spPr bwMode="auto">
            <a:xfrm>
              <a:off x="3103462" y="2933980"/>
              <a:ext cx="77489" cy="75644"/>
            </a:xfrm>
            <a:custGeom>
              <a:avLst/>
              <a:gdLst>
                <a:gd name="T0" fmla="*/ 20 w 125"/>
                <a:gd name="T1" fmla="*/ 124 h 124"/>
                <a:gd name="T2" fmla="*/ 16 w 125"/>
                <a:gd name="T3" fmla="*/ 124 h 124"/>
                <a:gd name="T4" fmla="*/ 12 w 125"/>
                <a:gd name="T5" fmla="*/ 123 h 124"/>
                <a:gd name="T6" fmla="*/ 10 w 125"/>
                <a:gd name="T7" fmla="*/ 121 h 124"/>
                <a:gd name="T8" fmla="*/ 6 w 125"/>
                <a:gd name="T9" fmla="*/ 119 h 124"/>
                <a:gd name="T10" fmla="*/ 4 w 125"/>
                <a:gd name="T11" fmla="*/ 115 h 124"/>
                <a:gd name="T12" fmla="*/ 2 w 125"/>
                <a:gd name="T13" fmla="*/ 111 h 124"/>
                <a:gd name="T14" fmla="*/ 1 w 125"/>
                <a:gd name="T15" fmla="*/ 108 h 124"/>
                <a:gd name="T16" fmla="*/ 0 w 125"/>
                <a:gd name="T17" fmla="*/ 104 h 124"/>
                <a:gd name="T18" fmla="*/ 1 w 125"/>
                <a:gd name="T19" fmla="*/ 100 h 124"/>
                <a:gd name="T20" fmla="*/ 2 w 125"/>
                <a:gd name="T21" fmla="*/ 97 h 124"/>
                <a:gd name="T22" fmla="*/ 4 w 125"/>
                <a:gd name="T23" fmla="*/ 93 h 124"/>
                <a:gd name="T24" fmla="*/ 6 w 125"/>
                <a:gd name="T25" fmla="*/ 90 h 124"/>
                <a:gd name="T26" fmla="*/ 91 w 125"/>
                <a:gd name="T27" fmla="*/ 6 h 124"/>
                <a:gd name="T28" fmla="*/ 94 w 125"/>
                <a:gd name="T29" fmla="*/ 3 h 124"/>
                <a:gd name="T30" fmla="*/ 98 w 125"/>
                <a:gd name="T31" fmla="*/ 1 h 124"/>
                <a:gd name="T32" fmla="*/ 102 w 125"/>
                <a:gd name="T33" fmla="*/ 0 h 124"/>
                <a:gd name="T34" fmla="*/ 105 w 125"/>
                <a:gd name="T35" fmla="*/ 0 h 124"/>
                <a:gd name="T36" fmla="*/ 109 w 125"/>
                <a:gd name="T37" fmla="*/ 0 h 124"/>
                <a:gd name="T38" fmla="*/ 113 w 125"/>
                <a:gd name="T39" fmla="*/ 1 h 124"/>
                <a:gd name="T40" fmla="*/ 117 w 125"/>
                <a:gd name="T41" fmla="*/ 3 h 124"/>
                <a:gd name="T42" fmla="*/ 119 w 125"/>
                <a:gd name="T43" fmla="*/ 6 h 124"/>
                <a:gd name="T44" fmla="*/ 122 w 125"/>
                <a:gd name="T45" fmla="*/ 8 h 124"/>
                <a:gd name="T46" fmla="*/ 124 w 125"/>
                <a:gd name="T47" fmla="*/ 12 h 124"/>
                <a:gd name="T48" fmla="*/ 125 w 125"/>
                <a:gd name="T49" fmla="*/ 16 h 124"/>
                <a:gd name="T50" fmla="*/ 125 w 125"/>
                <a:gd name="T51" fmla="*/ 20 h 124"/>
                <a:gd name="T52" fmla="*/ 125 w 125"/>
                <a:gd name="T53" fmla="*/ 23 h 124"/>
                <a:gd name="T54" fmla="*/ 124 w 125"/>
                <a:gd name="T55" fmla="*/ 27 h 124"/>
                <a:gd name="T56" fmla="*/ 122 w 125"/>
                <a:gd name="T57" fmla="*/ 31 h 124"/>
                <a:gd name="T58" fmla="*/ 119 w 125"/>
                <a:gd name="T59" fmla="*/ 33 h 124"/>
                <a:gd name="T60" fmla="*/ 35 w 125"/>
                <a:gd name="T61" fmla="*/ 119 h 124"/>
                <a:gd name="T62" fmla="*/ 31 w 125"/>
                <a:gd name="T63" fmla="*/ 121 h 124"/>
                <a:gd name="T64" fmla="*/ 28 w 125"/>
                <a:gd name="T65" fmla="*/ 123 h 124"/>
                <a:gd name="T66" fmla="*/ 25 w 125"/>
                <a:gd name="T67" fmla="*/ 124 h 124"/>
                <a:gd name="T68" fmla="*/ 20 w 125"/>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4">
                  <a:moveTo>
                    <a:pt x="20" y="124"/>
                  </a:moveTo>
                  <a:lnTo>
                    <a:pt x="16" y="124"/>
                  </a:lnTo>
                  <a:lnTo>
                    <a:pt x="12" y="123"/>
                  </a:lnTo>
                  <a:lnTo>
                    <a:pt x="10" y="121"/>
                  </a:lnTo>
                  <a:lnTo>
                    <a:pt x="6" y="119"/>
                  </a:lnTo>
                  <a:lnTo>
                    <a:pt x="4" y="115"/>
                  </a:lnTo>
                  <a:lnTo>
                    <a:pt x="2" y="111"/>
                  </a:lnTo>
                  <a:lnTo>
                    <a:pt x="1" y="108"/>
                  </a:lnTo>
                  <a:lnTo>
                    <a:pt x="0" y="104"/>
                  </a:lnTo>
                  <a:lnTo>
                    <a:pt x="1" y="100"/>
                  </a:lnTo>
                  <a:lnTo>
                    <a:pt x="2" y="97"/>
                  </a:lnTo>
                  <a:lnTo>
                    <a:pt x="4" y="93"/>
                  </a:lnTo>
                  <a:lnTo>
                    <a:pt x="6" y="90"/>
                  </a:lnTo>
                  <a:lnTo>
                    <a:pt x="91" y="6"/>
                  </a:lnTo>
                  <a:lnTo>
                    <a:pt x="94" y="3"/>
                  </a:lnTo>
                  <a:lnTo>
                    <a:pt x="98" y="1"/>
                  </a:lnTo>
                  <a:lnTo>
                    <a:pt x="102" y="0"/>
                  </a:lnTo>
                  <a:lnTo>
                    <a:pt x="105" y="0"/>
                  </a:lnTo>
                  <a:lnTo>
                    <a:pt x="109" y="0"/>
                  </a:lnTo>
                  <a:lnTo>
                    <a:pt x="113" y="1"/>
                  </a:lnTo>
                  <a:lnTo>
                    <a:pt x="117" y="3"/>
                  </a:lnTo>
                  <a:lnTo>
                    <a:pt x="119" y="6"/>
                  </a:lnTo>
                  <a:lnTo>
                    <a:pt x="122" y="8"/>
                  </a:lnTo>
                  <a:lnTo>
                    <a:pt x="124" y="12"/>
                  </a:lnTo>
                  <a:lnTo>
                    <a:pt x="125" y="16"/>
                  </a:lnTo>
                  <a:lnTo>
                    <a:pt x="125" y="20"/>
                  </a:lnTo>
                  <a:lnTo>
                    <a:pt x="125" y="23"/>
                  </a:lnTo>
                  <a:lnTo>
                    <a:pt x="124" y="27"/>
                  </a:lnTo>
                  <a:lnTo>
                    <a:pt x="122" y="31"/>
                  </a:lnTo>
                  <a:lnTo>
                    <a:pt x="119" y="33"/>
                  </a:lnTo>
                  <a:lnTo>
                    <a:pt x="35" y="119"/>
                  </a:lnTo>
                  <a:lnTo>
                    <a:pt x="31" y="121"/>
                  </a:lnTo>
                  <a:lnTo>
                    <a:pt x="28" y="123"/>
                  </a:lnTo>
                  <a:lnTo>
                    <a:pt x="25" y="124"/>
                  </a:lnTo>
                  <a:lnTo>
                    <a:pt x="2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3" name="Group 42">
            <a:extLst>
              <a:ext uri="{FF2B5EF4-FFF2-40B4-BE49-F238E27FC236}">
                <a16:creationId xmlns:a16="http://schemas.microsoft.com/office/drawing/2014/main" id="{F457E988-3336-4443-853E-FA1C6B500C25}"/>
              </a:ext>
            </a:extLst>
          </p:cNvPr>
          <p:cNvGrpSpPr>
            <a:grpSpLocks noChangeAspect="1"/>
          </p:cNvGrpSpPr>
          <p:nvPr/>
        </p:nvGrpSpPr>
        <p:grpSpPr>
          <a:xfrm>
            <a:off x="1929777" y="4879041"/>
            <a:ext cx="213841" cy="285619"/>
            <a:chOff x="938566" y="5354717"/>
            <a:chExt cx="213747" cy="285493"/>
          </a:xfrm>
          <a:solidFill>
            <a:schemeClr val="bg1"/>
          </a:solidFill>
          <a:effectLst/>
        </p:grpSpPr>
        <p:sp>
          <p:nvSpPr>
            <p:cNvPr id="774" name="Freeform 189">
              <a:extLst>
                <a:ext uri="{FF2B5EF4-FFF2-40B4-BE49-F238E27FC236}">
                  <a16:creationId xmlns:a16="http://schemas.microsoft.com/office/drawing/2014/main" id="{D896E047-D82F-44EB-AAAF-DA71020DB02E}"/>
                </a:ext>
              </a:extLst>
            </p:cNvPr>
            <p:cNvSpPr>
              <a:spLocks/>
            </p:cNvSpPr>
            <p:nvPr/>
          </p:nvSpPr>
          <p:spPr bwMode="auto">
            <a:xfrm>
              <a:off x="938566" y="5507179"/>
              <a:ext cx="32884" cy="8968"/>
            </a:xfrm>
            <a:custGeom>
              <a:avLst/>
              <a:gdLst>
                <a:gd name="T0" fmla="*/ 89 w 89"/>
                <a:gd name="T1" fmla="*/ 13 h 26"/>
                <a:gd name="T2" fmla="*/ 88 w 89"/>
                <a:gd name="T3" fmla="*/ 9 h 26"/>
                <a:gd name="T4" fmla="*/ 85 w 89"/>
                <a:gd name="T5" fmla="*/ 4 h 26"/>
                <a:gd name="T6" fmla="*/ 81 w 89"/>
                <a:gd name="T7" fmla="*/ 1 h 26"/>
                <a:gd name="T8" fmla="*/ 76 w 89"/>
                <a:gd name="T9" fmla="*/ 0 h 26"/>
                <a:gd name="T10" fmla="*/ 12 w 89"/>
                <a:gd name="T11" fmla="*/ 0 h 26"/>
                <a:gd name="T12" fmla="*/ 8 w 89"/>
                <a:gd name="T13" fmla="*/ 1 h 26"/>
                <a:gd name="T14" fmla="*/ 3 w 89"/>
                <a:gd name="T15" fmla="*/ 4 h 26"/>
                <a:gd name="T16" fmla="*/ 1 w 89"/>
                <a:gd name="T17" fmla="*/ 9 h 26"/>
                <a:gd name="T18" fmla="*/ 0 w 89"/>
                <a:gd name="T19" fmla="*/ 13 h 26"/>
                <a:gd name="T20" fmla="*/ 1 w 89"/>
                <a:gd name="T21" fmla="*/ 18 h 26"/>
                <a:gd name="T22" fmla="*/ 3 w 89"/>
                <a:gd name="T23" fmla="*/ 23 h 26"/>
                <a:gd name="T24" fmla="*/ 8 w 89"/>
                <a:gd name="T25" fmla="*/ 25 h 26"/>
                <a:gd name="T26" fmla="*/ 12 w 89"/>
                <a:gd name="T27" fmla="*/ 26 h 26"/>
                <a:gd name="T28" fmla="*/ 76 w 89"/>
                <a:gd name="T29" fmla="*/ 26 h 26"/>
                <a:gd name="T30" fmla="*/ 81 w 89"/>
                <a:gd name="T31" fmla="*/ 25 h 26"/>
                <a:gd name="T32" fmla="*/ 85 w 89"/>
                <a:gd name="T33" fmla="*/ 23 h 26"/>
                <a:gd name="T34" fmla="*/ 88 w 89"/>
                <a:gd name="T35" fmla="*/ 18 h 26"/>
                <a:gd name="T36" fmla="*/ 89 w 89"/>
                <a:gd name="T3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89" y="13"/>
                  </a:moveTo>
                  <a:lnTo>
                    <a:pt x="88" y="9"/>
                  </a:lnTo>
                  <a:lnTo>
                    <a:pt x="85" y="4"/>
                  </a:lnTo>
                  <a:lnTo>
                    <a:pt x="81" y="1"/>
                  </a:lnTo>
                  <a:lnTo>
                    <a:pt x="76" y="0"/>
                  </a:lnTo>
                  <a:lnTo>
                    <a:pt x="12" y="0"/>
                  </a:lnTo>
                  <a:lnTo>
                    <a:pt x="8" y="1"/>
                  </a:lnTo>
                  <a:lnTo>
                    <a:pt x="3" y="4"/>
                  </a:lnTo>
                  <a:lnTo>
                    <a:pt x="1" y="9"/>
                  </a:lnTo>
                  <a:lnTo>
                    <a:pt x="0" y="13"/>
                  </a:lnTo>
                  <a:lnTo>
                    <a:pt x="1" y="18"/>
                  </a:lnTo>
                  <a:lnTo>
                    <a:pt x="3" y="23"/>
                  </a:lnTo>
                  <a:lnTo>
                    <a:pt x="8" y="25"/>
                  </a:lnTo>
                  <a:lnTo>
                    <a:pt x="12" y="26"/>
                  </a:lnTo>
                  <a:lnTo>
                    <a:pt x="76" y="26"/>
                  </a:lnTo>
                  <a:lnTo>
                    <a:pt x="81" y="25"/>
                  </a:lnTo>
                  <a:lnTo>
                    <a:pt x="85" y="23"/>
                  </a:lnTo>
                  <a:lnTo>
                    <a:pt x="88" y="18"/>
                  </a:lnTo>
                  <a:lnTo>
                    <a:pt x="8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5" name="Freeform 190">
              <a:extLst>
                <a:ext uri="{FF2B5EF4-FFF2-40B4-BE49-F238E27FC236}">
                  <a16:creationId xmlns:a16="http://schemas.microsoft.com/office/drawing/2014/main" id="{377B3FC0-997A-4C6C-9951-0DC6CD03C6FE}"/>
                </a:ext>
              </a:extLst>
            </p:cNvPr>
            <p:cNvSpPr>
              <a:spLocks/>
            </p:cNvSpPr>
            <p:nvPr/>
          </p:nvSpPr>
          <p:spPr bwMode="auto">
            <a:xfrm>
              <a:off x="962481" y="5450380"/>
              <a:ext cx="28400" cy="26905"/>
            </a:xfrm>
            <a:custGeom>
              <a:avLst/>
              <a:gdLst>
                <a:gd name="T0" fmla="*/ 21 w 74"/>
                <a:gd name="T1" fmla="*/ 4 h 74"/>
                <a:gd name="T2" fmla="*/ 17 w 74"/>
                <a:gd name="T3" fmla="*/ 1 h 74"/>
                <a:gd name="T4" fmla="*/ 13 w 74"/>
                <a:gd name="T5" fmla="*/ 0 h 74"/>
                <a:gd name="T6" fmla="*/ 7 w 74"/>
                <a:gd name="T7" fmla="*/ 1 h 74"/>
                <a:gd name="T8" fmla="*/ 3 w 74"/>
                <a:gd name="T9" fmla="*/ 4 h 74"/>
                <a:gd name="T10" fmla="*/ 1 w 74"/>
                <a:gd name="T11" fmla="*/ 8 h 74"/>
                <a:gd name="T12" fmla="*/ 0 w 74"/>
                <a:gd name="T13" fmla="*/ 13 h 74"/>
                <a:gd name="T14" fmla="*/ 1 w 74"/>
                <a:gd name="T15" fmla="*/ 18 h 74"/>
                <a:gd name="T16" fmla="*/ 3 w 74"/>
                <a:gd name="T17" fmla="*/ 21 h 74"/>
                <a:gd name="T18" fmla="*/ 51 w 74"/>
                <a:gd name="T19" fmla="*/ 71 h 74"/>
                <a:gd name="T20" fmla="*/ 56 w 74"/>
                <a:gd name="T21" fmla="*/ 73 h 74"/>
                <a:gd name="T22" fmla="*/ 61 w 74"/>
                <a:gd name="T23" fmla="*/ 74 h 74"/>
                <a:gd name="T24" fmla="*/ 65 w 74"/>
                <a:gd name="T25" fmla="*/ 73 h 74"/>
                <a:gd name="T26" fmla="*/ 70 w 74"/>
                <a:gd name="T27" fmla="*/ 71 h 74"/>
                <a:gd name="T28" fmla="*/ 73 w 74"/>
                <a:gd name="T29" fmla="*/ 66 h 74"/>
                <a:gd name="T30" fmla="*/ 74 w 74"/>
                <a:gd name="T31" fmla="*/ 61 h 74"/>
                <a:gd name="T32" fmla="*/ 73 w 74"/>
                <a:gd name="T33" fmla="*/ 57 h 74"/>
                <a:gd name="T34" fmla="*/ 70 w 74"/>
                <a:gd name="T35" fmla="*/ 52 h 74"/>
                <a:gd name="T36" fmla="*/ 21 w 74"/>
                <a:gd name="T3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4">
                  <a:moveTo>
                    <a:pt x="21" y="4"/>
                  </a:moveTo>
                  <a:lnTo>
                    <a:pt x="17" y="1"/>
                  </a:lnTo>
                  <a:lnTo>
                    <a:pt x="13" y="0"/>
                  </a:lnTo>
                  <a:lnTo>
                    <a:pt x="7" y="1"/>
                  </a:lnTo>
                  <a:lnTo>
                    <a:pt x="3" y="4"/>
                  </a:lnTo>
                  <a:lnTo>
                    <a:pt x="1" y="8"/>
                  </a:lnTo>
                  <a:lnTo>
                    <a:pt x="0" y="13"/>
                  </a:lnTo>
                  <a:lnTo>
                    <a:pt x="1" y="18"/>
                  </a:lnTo>
                  <a:lnTo>
                    <a:pt x="3" y="21"/>
                  </a:lnTo>
                  <a:lnTo>
                    <a:pt x="51" y="71"/>
                  </a:lnTo>
                  <a:lnTo>
                    <a:pt x="56" y="73"/>
                  </a:lnTo>
                  <a:lnTo>
                    <a:pt x="61" y="74"/>
                  </a:lnTo>
                  <a:lnTo>
                    <a:pt x="65" y="73"/>
                  </a:lnTo>
                  <a:lnTo>
                    <a:pt x="70" y="71"/>
                  </a:lnTo>
                  <a:lnTo>
                    <a:pt x="73" y="66"/>
                  </a:lnTo>
                  <a:lnTo>
                    <a:pt x="74" y="61"/>
                  </a:lnTo>
                  <a:lnTo>
                    <a:pt x="73" y="57"/>
                  </a:lnTo>
                  <a:lnTo>
                    <a:pt x="70" y="52"/>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6" name="Freeform 191">
              <a:extLst>
                <a:ext uri="{FF2B5EF4-FFF2-40B4-BE49-F238E27FC236}">
                  <a16:creationId xmlns:a16="http://schemas.microsoft.com/office/drawing/2014/main" id="{002C88F6-55CC-4E86-9C0F-0079CB6A100F}"/>
                </a:ext>
              </a:extLst>
            </p:cNvPr>
            <p:cNvSpPr>
              <a:spLocks/>
            </p:cNvSpPr>
            <p:nvPr/>
          </p:nvSpPr>
          <p:spPr bwMode="auto">
            <a:xfrm>
              <a:off x="962481" y="5552021"/>
              <a:ext cx="28400" cy="28400"/>
            </a:xfrm>
            <a:custGeom>
              <a:avLst/>
              <a:gdLst>
                <a:gd name="T0" fmla="*/ 51 w 74"/>
                <a:gd name="T1" fmla="*/ 5 h 75"/>
                <a:gd name="T2" fmla="*/ 3 w 74"/>
                <a:gd name="T3" fmla="*/ 53 h 75"/>
                <a:gd name="T4" fmla="*/ 1 w 74"/>
                <a:gd name="T5" fmla="*/ 57 h 75"/>
                <a:gd name="T6" fmla="*/ 0 w 74"/>
                <a:gd name="T7" fmla="*/ 62 h 75"/>
                <a:gd name="T8" fmla="*/ 1 w 74"/>
                <a:gd name="T9" fmla="*/ 66 h 75"/>
                <a:gd name="T10" fmla="*/ 3 w 74"/>
                <a:gd name="T11" fmla="*/ 70 h 75"/>
                <a:gd name="T12" fmla="*/ 7 w 74"/>
                <a:gd name="T13" fmla="*/ 74 h 75"/>
                <a:gd name="T14" fmla="*/ 13 w 74"/>
                <a:gd name="T15" fmla="*/ 75 h 75"/>
                <a:gd name="T16" fmla="*/ 17 w 74"/>
                <a:gd name="T17" fmla="*/ 74 h 75"/>
                <a:gd name="T18" fmla="*/ 21 w 74"/>
                <a:gd name="T19" fmla="*/ 70 h 75"/>
                <a:gd name="T20" fmla="*/ 70 w 74"/>
                <a:gd name="T21" fmla="*/ 23 h 75"/>
                <a:gd name="T22" fmla="*/ 73 w 74"/>
                <a:gd name="T23" fmla="*/ 19 h 75"/>
                <a:gd name="T24" fmla="*/ 74 w 74"/>
                <a:gd name="T25" fmla="*/ 14 h 75"/>
                <a:gd name="T26" fmla="*/ 73 w 74"/>
                <a:gd name="T27" fmla="*/ 9 h 75"/>
                <a:gd name="T28" fmla="*/ 70 w 74"/>
                <a:gd name="T29" fmla="*/ 5 h 75"/>
                <a:gd name="T30" fmla="*/ 65 w 74"/>
                <a:gd name="T31" fmla="*/ 2 h 75"/>
                <a:gd name="T32" fmla="*/ 61 w 74"/>
                <a:gd name="T33" fmla="*/ 0 h 75"/>
                <a:gd name="T34" fmla="*/ 56 w 74"/>
                <a:gd name="T35" fmla="*/ 2 h 75"/>
                <a:gd name="T36" fmla="*/ 51 w 74"/>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5">
                  <a:moveTo>
                    <a:pt x="51" y="5"/>
                  </a:moveTo>
                  <a:lnTo>
                    <a:pt x="3" y="53"/>
                  </a:lnTo>
                  <a:lnTo>
                    <a:pt x="1" y="57"/>
                  </a:lnTo>
                  <a:lnTo>
                    <a:pt x="0" y="62"/>
                  </a:lnTo>
                  <a:lnTo>
                    <a:pt x="1" y="66"/>
                  </a:lnTo>
                  <a:lnTo>
                    <a:pt x="3" y="70"/>
                  </a:lnTo>
                  <a:lnTo>
                    <a:pt x="7" y="74"/>
                  </a:lnTo>
                  <a:lnTo>
                    <a:pt x="13" y="75"/>
                  </a:lnTo>
                  <a:lnTo>
                    <a:pt x="17" y="74"/>
                  </a:lnTo>
                  <a:lnTo>
                    <a:pt x="21" y="70"/>
                  </a:lnTo>
                  <a:lnTo>
                    <a:pt x="70" y="23"/>
                  </a:lnTo>
                  <a:lnTo>
                    <a:pt x="73" y="19"/>
                  </a:lnTo>
                  <a:lnTo>
                    <a:pt x="74" y="14"/>
                  </a:lnTo>
                  <a:lnTo>
                    <a:pt x="73" y="9"/>
                  </a:lnTo>
                  <a:lnTo>
                    <a:pt x="70" y="5"/>
                  </a:lnTo>
                  <a:lnTo>
                    <a:pt x="65" y="2"/>
                  </a:lnTo>
                  <a:lnTo>
                    <a:pt x="61" y="0"/>
                  </a:lnTo>
                  <a:lnTo>
                    <a:pt x="56" y="2"/>
                  </a:lnTo>
                  <a:lnTo>
                    <a:pt x="5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7" name="Freeform 192">
              <a:extLst>
                <a:ext uri="{FF2B5EF4-FFF2-40B4-BE49-F238E27FC236}">
                  <a16:creationId xmlns:a16="http://schemas.microsoft.com/office/drawing/2014/main" id="{2AECB54A-99B0-4B0E-9EE8-92797D4C6DD2}"/>
                </a:ext>
              </a:extLst>
            </p:cNvPr>
            <p:cNvSpPr>
              <a:spLocks/>
            </p:cNvSpPr>
            <p:nvPr/>
          </p:nvSpPr>
          <p:spPr bwMode="auto">
            <a:xfrm>
              <a:off x="1080564" y="5507179"/>
              <a:ext cx="32884" cy="8968"/>
            </a:xfrm>
            <a:custGeom>
              <a:avLst/>
              <a:gdLst>
                <a:gd name="T0" fmla="*/ 78 w 89"/>
                <a:gd name="T1" fmla="*/ 0 h 26"/>
                <a:gd name="T2" fmla="*/ 13 w 89"/>
                <a:gd name="T3" fmla="*/ 0 h 26"/>
                <a:gd name="T4" fmla="*/ 9 w 89"/>
                <a:gd name="T5" fmla="*/ 1 h 26"/>
                <a:gd name="T6" fmla="*/ 5 w 89"/>
                <a:gd name="T7" fmla="*/ 4 h 26"/>
                <a:gd name="T8" fmla="*/ 1 w 89"/>
                <a:gd name="T9" fmla="*/ 9 h 26"/>
                <a:gd name="T10" fmla="*/ 0 w 89"/>
                <a:gd name="T11" fmla="*/ 13 h 26"/>
                <a:gd name="T12" fmla="*/ 1 w 89"/>
                <a:gd name="T13" fmla="*/ 18 h 26"/>
                <a:gd name="T14" fmla="*/ 5 w 89"/>
                <a:gd name="T15" fmla="*/ 23 h 26"/>
                <a:gd name="T16" fmla="*/ 9 w 89"/>
                <a:gd name="T17" fmla="*/ 25 h 26"/>
                <a:gd name="T18" fmla="*/ 13 w 89"/>
                <a:gd name="T19" fmla="*/ 26 h 26"/>
                <a:gd name="T20" fmla="*/ 78 w 89"/>
                <a:gd name="T21" fmla="*/ 26 h 26"/>
                <a:gd name="T22" fmla="*/ 82 w 89"/>
                <a:gd name="T23" fmla="*/ 25 h 26"/>
                <a:gd name="T24" fmla="*/ 86 w 89"/>
                <a:gd name="T25" fmla="*/ 23 h 26"/>
                <a:gd name="T26" fmla="*/ 88 w 89"/>
                <a:gd name="T27" fmla="*/ 18 h 26"/>
                <a:gd name="T28" fmla="*/ 89 w 89"/>
                <a:gd name="T29" fmla="*/ 13 h 26"/>
                <a:gd name="T30" fmla="*/ 88 w 89"/>
                <a:gd name="T31" fmla="*/ 9 h 26"/>
                <a:gd name="T32" fmla="*/ 86 w 89"/>
                <a:gd name="T33" fmla="*/ 4 h 26"/>
                <a:gd name="T34" fmla="*/ 82 w 89"/>
                <a:gd name="T35" fmla="*/ 1 h 26"/>
                <a:gd name="T36" fmla="*/ 78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8" y="0"/>
                  </a:moveTo>
                  <a:lnTo>
                    <a:pt x="13" y="0"/>
                  </a:lnTo>
                  <a:lnTo>
                    <a:pt x="9" y="1"/>
                  </a:lnTo>
                  <a:lnTo>
                    <a:pt x="5" y="4"/>
                  </a:lnTo>
                  <a:lnTo>
                    <a:pt x="1" y="9"/>
                  </a:lnTo>
                  <a:lnTo>
                    <a:pt x="0" y="13"/>
                  </a:lnTo>
                  <a:lnTo>
                    <a:pt x="1" y="18"/>
                  </a:lnTo>
                  <a:lnTo>
                    <a:pt x="5" y="23"/>
                  </a:lnTo>
                  <a:lnTo>
                    <a:pt x="9" y="25"/>
                  </a:lnTo>
                  <a:lnTo>
                    <a:pt x="13" y="26"/>
                  </a:lnTo>
                  <a:lnTo>
                    <a:pt x="78" y="26"/>
                  </a:lnTo>
                  <a:lnTo>
                    <a:pt x="82" y="25"/>
                  </a:lnTo>
                  <a:lnTo>
                    <a:pt x="86" y="23"/>
                  </a:lnTo>
                  <a:lnTo>
                    <a:pt x="88" y="18"/>
                  </a:lnTo>
                  <a:lnTo>
                    <a:pt x="89" y="13"/>
                  </a:lnTo>
                  <a:lnTo>
                    <a:pt x="88" y="9"/>
                  </a:lnTo>
                  <a:lnTo>
                    <a:pt x="86" y="4"/>
                  </a:lnTo>
                  <a:lnTo>
                    <a:pt x="82" y="1"/>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8" name="Freeform 193">
              <a:extLst>
                <a:ext uri="{FF2B5EF4-FFF2-40B4-BE49-F238E27FC236}">
                  <a16:creationId xmlns:a16="http://schemas.microsoft.com/office/drawing/2014/main" id="{4B7EC7DC-6AC1-43F4-B97F-B1B5C9BDE979}"/>
                </a:ext>
              </a:extLst>
            </p:cNvPr>
            <p:cNvSpPr>
              <a:spLocks/>
            </p:cNvSpPr>
            <p:nvPr/>
          </p:nvSpPr>
          <p:spPr bwMode="auto">
            <a:xfrm>
              <a:off x="1064123" y="5552021"/>
              <a:ext cx="28400" cy="28400"/>
            </a:xfrm>
            <a:custGeom>
              <a:avLst/>
              <a:gdLst>
                <a:gd name="T0" fmla="*/ 22 w 75"/>
                <a:gd name="T1" fmla="*/ 5 h 75"/>
                <a:gd name="T2" fmla="*/ 19 w 75"/>
                <a:gd name="T3" fmla="*/ 2 h 75"/>
                <a:gd name="T4" fmla="*/ 13 w 75"/>
                <a:gd name="T5" fmla="*/ 0 h 75"/>
                <a:gd name="T6" fmla="*/ 9 w 75"/>
                <a:gd name="T7" fmla="*/ 2 h 75"/>
                <a:gd name="T8" fmla="*/ 5 w 75"/>
                <a:gd name="T9" fmla="*/ 5 h 75"/>
                <a:gd name="T10" fmla="*/ 2 w 75"/>
                <a:gd name="T11" fmla="*/ 9 h 75"/>
                <a:gd name="T12" fmla="*/ 0 w 75"/>
                <a:gd name="T13" fmla="*/ 14 h 75"/>
                <a:gd name="T14" fmla="*/ 2 w 75"/>
                <a:gd name="T15" fmla="*/ 19 h 75"/>
                <a:gd name="T16" fmla="*/ 5 w 75"/>
                <a:gd name="T17" fmla="*/ 23 h 75"/>
                <a:gd name="T18" fmla="*/ 53 w 75"/>
                <a:gd name="T19" fmla="*/ 70 h 75"/>
                <a:gd name="T20" fmla="*/ 56 w 75"/>
                <a:gd name="T21" fmla="*/ 74 h 75"/>
                <a:gd name="T22" fmla="*/ 62 w 75"/>
                <a:gd name="T23" fmla="*/ 75 h 75"/>
                <a:gd name="T24" fmla="*/ 66 w 75"/>
                <a:gd name="T25" fmla="*/ 74 h 75"/>
                <a:gd name="T26" fmla="*/ 70 w 75"/>
                <a:gd name="T27" fmla="*/ 70 h 75"/>
                <a:gd name="T28" fmla="*/ 74 w 75"/>
                <a:gd name="T29" fmla="*/ 66 h 75"/>
                <a:gd name="T30" fmla="*/ 75 w 75"/>
                <a:gd name="T31" fmla="*/ 62 h 75"/>
                <a:gd name="T32" fmla="*/ 74 w 75"/>
                <a:gd name="T33" fmla="*/ 57 h 75"/>
                <a:gd name="T34" fmla="*/ 70 w 75"/>
                <a:gd name="T35" fmla="*/ 53 h 75"/>
                <a:gd name="T36" fmla="*/ 22 w 75"/>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5">
                  <a:moveTo>
                    <a:pt x="22" y="5"/>
                  </a:moveTo>
                  <a:lnTo>
                    <a:pt x="19" y="2"/>
                  </a:lnTo>
                  <a:lnTo>
                    <a:pt x="13" y="0"/>
                  </a:lnTo>
                  <a:lnTo>
                    <a:pt x="9" y="2"/>
                  </a:lnTo>
                  <a:lnTo>
                    <a:pt x="5" y="5"/>
                  </a:lnTo>
                  <a:lnTo>
                    <a:pt x="2" y="9"/>
                  </a:lnTo>
                  <a:lnTo>
                    <a:pt x="0" y="14"/>
                  </a:lnTo>
                  <a:lnTo>
                    <a:pt x="2" y="19"/>
                  </a:lnTo>
                  <a:lnTo>
                    <a:pt x="5" y="23"/>
                  </a:lnTo>
                  <a:lnTo>
                    <a:pt x="53" y="70"/>
                  </a:lnTo>
                  <a:lnTo>
                    <a:pt x="56" y="74"/>
                  </a:lnTo>
                  <a:lnTo>
                    <a:pt x="62" y="75"/>
                  </a:lnTo>
                  <a:lnTo>
                    <a:pt x="66" y="74"/>
                  </a:lnTo>
                  <a:lnTo>
                    <a:pt x="70" y="70"/>
                  </a:lnTo>
                  <a:lnTo>
                    <a:pt x="74" y="66"/>
                  </a:lnTo>
                  <a:lnTo>
                    <a:pt x="75" y="62"/>
                  </a:lnTo>
                  <a:lnTo>
                    <a:pt x="74" y="57"/>
                  </a:lnTo>
                  <a:lnTo>
                    <a:pt x="70" y="53"/>
                  </a:lnTo>
                  <a:lnTo>
                    <a:pt x="2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79" name="Freeform 194">
              <a:extLst>
                <a:ext uri="{FF2B5EF4-FFF2-40B4-BE49-F238E27FC236}">
                  <a16:creationId xmlns:a16="http://schemas.microsoft.com/office/drawing/2014/main" id="{B57EC661-185E-4EB9-9B6F-D1E1B3D07D9A}"/>
                </a:ext>
              </a:extLst>
            </p:cNvPr>
            <p:cNvSpPr>
              <a:spLocks/>
            </p:cNvSpPr>
            <p:nvPr/>
          </p:nvSpPr>
          <p:spPr bwMode="auto">
            <a:xfrm>
              <a:off x="1064123" y="5450380"/>
              <a:ext cx="28400" cy="26905"/>
            </a:xfrm>
            <a:custGeom>
              <a:avLst/>
              <a:gdLst>
                <a:gd name="T0" fmla="*/ 13 w 75"/>
                <a:gd name="T1" fmla="*/ 74 h 74"/>
                <a:gd name="T2" fmla="*/ 19 w 75"/>
                <a:gd name="T3" fmla="*/ 73 h 74"/>
                <a:gd name="T4" fmla="*/ 22 w 75"/>
                <a:gd name="T5" fmla="*/ 71 h 74"/>
                <a:gd name="T6" fmla="*/ 70 w 75"/>
                <a:gd name="T7" fmla="*/ 21 h 74"/>
                <a:gd name="T8" fmla="*/ 74 w 75"/>
                <a:gd name="T9" fmla="*/ 18 h 74"/>
                <a:gd name="T10" fmla="*/ 75 w 75"/>
                <a:gd name="T11" fmla="*/ 13 h 74"/>
                <a:gd name="T12" fmla="*/ 74 w 75"/>
                <a:gd name="T13" fmla="*/ 8 h 74"/>
                <a:gd name="T14" fmla="*/ 70 w 75"/>
                <a:gd name="T15" fmla="*/ 4 h 74"/>
                <a:gd name="T16" fmla="*/ 66 w 75"/>
                <a:gd name="T17" fmla="*/ 1 h 74"/>
                <a:gd name="T18" fmla="*/ 62 w 75"/>
                <a:gd name="T19" fmla="*/ 0 h 74"/>
                <a:gd name="T20" fmla="*/ 56 w 75"/>
                <a:gd name="T21" fmla="*/ 1 h 74"/>
                <a:gd name="T22" fmla="*/ 53 w 75"/>
                <a:gd name="T23" fmla="*/ 4 h 74"/>
                <a:gd name="T24" fmla="*/ 5 w 75"/>
                <a:gd name="T25" fmla="*/ 52 h 74"/>
                <a:gd name="T26" fmla="*/ 2 w 75"/>
                <a:gd name="T27" fmla="*/ 57 h 74"/>
                <a:gd name="T28" fmla="*/ 0 w 75"/>
                <a:gd name="T29" fmla="*/ 61 h 74"/>
                <a:gd name="T30" fmla="*/ 2 w 75"/>
                <a:gd name="T31" fmla="*/ 66 h 74"/>
                <a:gd name="T32" fmla="*/ 5 w 75"/>
                <a:gd name="T33" fmla="*/ 71 h 74"/>
                <a:gd name="T34" fmla="*/ 9 w 75"/>
                <a:gd name="T35" fmla="*/ 73 h 74"/>
                <a:gd name="T36" fmla="*/ 13 w 75"/>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4">
                  <a:moveTo>
                    <a:pt x="13" y="74"/>
                  </a:moveTo>
                  <a:lnTo>
                    <a:pt x="19" y="73"/>
                  </a:lnTo>
                  <a:lnTo>
                    <a:pt x="22" y="71"/>
                  </a:lnTo>
                  <a:lnTo>
                    <a:pt x="70" y="21"/>
                  </a:lnTo>
                  <a:lnTo>
                    <a:pt x="74" y="18"/>
                  </a:lnTo>
                  <a:lnTo>
                    <a:pt x="75" y="13"/>
                  </a:lnTo>
                  <a:lnTo>
                    <a:pt x="74" y="8"/>
                  </a:lnTo>
                  <a:lnTo>
                    <a:pt x="70" y="4"/>
                  </a:lnTo>
                  <a:lnTo>
                    <a:pt x="66" y="1"/>
                  </a:lnTo>
                  <a:lnTo>
                    <a:pt x="62" y="0"/>
                  </a:lnTo>
                  <a:lnTo>
                    <a:pt x="56" y="1"/>
                  </a:lnTo>
                  <a:lnTo>
                    <a:pt x="53" y="4"/>
                  </a:lnTo>
                  <a:lnTo>
                    <a:pt x="5" y="52"/>
                  </a:lnTo>
                  <a:lnTo>
                    <a:pt x="2" y="57"/>
                  </a:lnTo>
                  <a:lnTo>
                    <a:pt x="0" y="61"/>
                  </a:lnTo>
                  <a:lnTo>
                    <a:pt x="2" y="66"/>
                  </a:lnTo>
                  <a:lnTo>
                    <a:pt x="5" y="71"/>
                  </a:lnTo>
                  <a:lnTo>
                    <a:pt x="9"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80" name="Freeform 195">
              <a:extLst>
                <a:ext uri="{FF2B5EF4-FFF2-40B4-BE49-F238E27FC236}">
                  <a16:creationId xmlns:a16="http://schemas.microsoft.com/office/drawing/2014/main" id="{4368EADD-08DA-46A8-A209-D412C28737AD}"/>
                </a:ext>
              </a:extLst>
            </p:cNvPr>
            <p:cNvSpPr>
              <a:spLocks noEditPoints="1"/>
            </p:cNvSpPr>
            <p:nvPr/>
          </p:nvSpPr>
          <p:spPr bwMode="auto">
            <a:xfrm>
              <a:off x="1004335" y="5354717"/>
              <a:ext cx="147978" cy="285493"/>
            </a:xfrm>
            <a:custGeom>
              <a:avLst/>
              <a:gdLst>
                <a:gd name="T0" fmla="*/ 80 w 396"/>
                <a:gd name="T1" fmla="*/ 124 h 764"/>
                <a:gd name="T2" fmla="*/ 126 w 396"/>
                <a:gd name="T3" fmla="*/ 130 h 764"/>
                <a:gd name="T4" fmla="*/ 171 w 396"/>
                <a:gd name="T5" fmla="*/ 144 h 764"/>
                <a:gd name="T6" fmla="*/ 212 w 396"/>
                <a:gd name="T7" fmla="*/ 162 h 764"/>
                <a:gd name="T8" fmla="*/ 248 w 396"/>
                <a:gd name="T9" fmla="*/ 187 h 764"/>
                <a:gd name="T10" fmla="*/ 282 w 396"/>
                <a:gd name="T11" fmla="*/ 216 h 764"/>
                <a:gd name="T12" fmla="*/ 311 w 396"/>
                <a:gd name="T13" fmla="*/ 248 h 764"/>
                <a:gd name="T14" fmla="*/ 334 w 396"/>
                <a:gd name="T15" fmla="*/ 286 h 764"/>
                <a:gd name="T16" fmla="*/ 353 w 396"/>
                <a:gd name="T17" fmla="*/ 325 h 764"/>
                <a:gd name="T18" fmla="*/ 364 w 396"/>
                <a:gd name="T19" fmla="*/ 370 h 764"/>
                <a:gd name="T20" fmla="*/ 370 w 396"/>
                <a:gd name="T21" fmla="*/ 415 h 764"/>
                <a:gd name="T22" fmla="*/ 369 w 396"/>
                <a:gd name="T23" fmla="*/ 462 h 764"/>
                <a:gd name="T24" fmla="*/ 361 w 396"/>
                <a:gd name="T25" fmla="*/ 507 h 764"/>
                <a:gd name="T26" fmla="*/ 347 w 396"/>
                <a:gd name="T27" fmla="*/ 549 h 764"/>
                <a:gd name="T28" fmla="*/ 327 w 396"/>
                <a:gd name="T29" fmla="*/ 589 h 764"/>
                <a:gd name="T30" fmla="*/ 301 w 396"/>
                <a:gd name="T31" fmla="*/ 624 h 764"/>
                <a:gd name="T32" fmla="*/ 271 w 396"/>
                <a:gd name="T33" fmla="*/ 655 h 764"/>
                <a:gd name="T34" fmla="*/ 237 w 396"/>
                <a:gd name="T35" fmla="*/ 683 h 764"/>
                <a:gd name="T36" fmla="*/ 198 w 396"/>
                <a:gd name="T37" fmla="*/ 706 h 764"/>
                <a:gd name="T38" fmla="*/ 156 w 396"/>
                <a:gd name="T39" fmla="*/ 722 h 764"/>
                <a:gd name="T40" fmla="*/ 111 w 396"/>
                <a:gd name="T41" fmla="*/ 734 h 764"/>
                <a:gd name="T42" fmla="*/ 64 w 396"/>
                <a:gd name="T43" fmla="*/ 739 h 764"/>
                <a:gd name="T44" fmla="*/ 358 w 396"/>
                <a:gd name="T45" fmla="*/ 167 h 764"/>
                <a:gd name="T46" fmla="*/ 372 w 396"/>
                <a:gd name="T47" fmla="*/ 170 h 764"/>
                <a:gd name="T48" fmla="*/ 379 w 396"/>
                <a:gd name="T49" fmla="*/ 158 h 764"/>
                <a:gd name="T50" fmla="*/ 328 w 396"/>
                <a:gd name="T51" fmla="*/ 100 h 764"/>
                <a:gd name="T52" fmla="*/ 314 w 396"/>
                <a:gd name="T53" fmla="*/ 98 h 764"/>
                <a:gd name="T54" fmla="*/ 306 w 396"/>
                <a:gd name="T55" fmla="*/ 110 h 764"/>
                <a:gd name="T56" fmla="*/ 325 w 396"/>
                <a:gd name="T57" fmla="*/ 133 h 764"/>
                <a:gd name="T58" fmla="*/ 257 w 396"/>
                <a:gd name="T59" fmla="*/ 161 h 764"/>
                <a:gd name="T60" fmla="*/ 221 w 396"/>
                <a:gd name="T61" fmla="*/ 139 h 764"/>
                <a:gd name="T62" fmla="*/ 182 w 396"/>
                <a:gd name="T63" fmla="*/ 120 h 764"/>
                <a:gd name="T64" fmla="*/ 139 w 396"/>
                <a:gd name="T65" fmla="*/ 108 h 764"/>
                <a:gd name="T66" fmla="*/ 95 w 396"/>
                <a:gd name="T67" fmla="*/ 99 h 764"/>
                <a:gd name="T68" fmla="*/ 64 w 396"/>
                <a:gd name="T69" fmla="*/ 25 h 764"/>
                <a:gd name="T70" fmla="*/ 98 w 396"/>
                <a:gd name="T71" fmla="*/ 22 h 764"/>
                <a:gd name="T72" fmla="*/ 101 w 396"/>
                <a:gd name="T73" fmla="*/ 8 h 764"/>
                <a:gd name="T74" fmla="*/ 90 w 396"/>
                <a:gd name="T75" fmla="*/ 0 h 764"/>
                <a:gd name="T76" fmla="*/ 4 w 396"/>
                <a:gd name="T77" fmla="*/ 3 h 764"/>
                <a:gd name="T78" fmla="*/ 2 w 396"/>
                <a:gd name="T79" fmla="*/ 17 h 764"/>
                <a:gd name="T80" fmla="*/ 13 w 396"/>
                <a:gd name="T81" fmla="*/ 25 h 764"/>
                <a:gd name="T82" fmla="*/ 38 w 396"/>
                <a:gd name="T83" fmla="*/ 751 h 764"/>
                <a:gd name="T84" fmla="*/ 46 w 396"/>
                <a:gd name="T85" fmla="*/ 763 h 764"/>
                <a:gd name="T86" fmla="*/ 86 w 396"/>
                <a:gd name="T87" fmla="*/ 763 h 764"/>
                <a:gd name="T88" fmla="*/ 138 w 396"/>
                <a:gd name="T89" fmla="*/ 754 h 764"/>
                <a:gd name="T90" fmla="*/ 186 w 396"/>
                <a:gd name="T91" fmla="*/ 738 h 764"/>
                <a:gd name="T92" fmla="*/ 231 w 396"/>
                <a:gd name="T93" fmla="*/ 716 h 764"/>
                <a:gd name="T94" fmla="*/ 272 w 396"/>
                <a:gd name="T95" fmla="*/ 688 h 764"/>
                <a:gd name="T96" fmla="*/ 308 w 396"/>
                <a:gd name="T97" fmla="*/ 656 h 764"/>
                <a:gd name="T98" fmla="*/ 338 w 396"/>
                <a:gd name="T99" fmla="*/ 619 h 764"/>
                <a:gd name="T100" fmla="*/ 362 w 396"/>
                <a:gd name="T101" fmla="*/ 576 h 764"/>
                <a:gd name="T102" fmla="*/ 381 w 396"/>
                <a:gd name="T103" fmla="*/ 531 h 764"/>
                <a:gd name="T104" fmla="*/ 392 w 396"/>
                <a:gd name="T105" fmla="*/ 482 h 764"/>
                <a:gd name="T106" fmla="*/ 396 w 396"/>
                <a:gd name="T107" fmla="*/ 431 h 764"/>
                <a:gd name="T108" fmla="*/ 392 w 396"/>
                <a:gd name="T109" fmla="*/ 380 h 764"/>
                <a:gd name="T110" fmla="*/ 381 w 396"/>
                <a:gd name="T111" fmla="*/ 332 h 764"/>
                <a:gd name="T112" fmla="*/ 363 w 396"/>
                <a:gd name="T113" fmla="*/ 287 h 764"/>
                <a:gd name="T114" fmla="*/ 340 w 396"/>
                <a:gd name="T115" fmla="*/ 245 h 764"/>
                <a:gd name="T116" fmla="*/ 310 w 396"/>
                <a:gd name="T117" fmla="*/ 20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6" h="764">
                  <a:moveTo>
                    <a:pt x="64" y="739"/>
                  </a:moveTo>
                  <a:lnTo>
                    <a:pt x="64" y="123"/>
                  </a:lnTo>
                  <a:lnTo>
                    <a:pt x="80" y="124"/>
                  </a:lnTo>
                  <a:lnTo>
                    <a:pt x="96" y="125"/>
                  </a:lnTo>
                  <a:lnTo>
                    <a:pt x="111" y="127"/>
                  </a:lnTo>
                  <a:lnTo>
                    <a:pt x="126" y="130"/>
                  </a:lnTo>
                  <a:lnTo>
                    <a:pt x="141" y="134"/>
                  </a:lnTo>
                  <a:lnTo>
                    <a:pt x="156" y="139"/>
                  </a:lnTo>
                  <a:lnTo>
                    <a:pt x="171" y="144"/>
                  </a:lnTo>
                  <a:lnTo>
                    <a:pt x="185" y="149"/>
                  </a:lnTo>
                  <a:lnTo>
                    <a:pt x="198" y="156"/>
                  </a:lnTo>
                  <a:lnTo>
                    <a:pt x="212" y="162"/>
                  </a:lnTo>
                  <a:lnTo>
                    <a:pt x="225" y="170"/>
                  </a:lnTo>
                  <a:lnTo>
                    <a:pt x="237" y="178"/>
                  </a:lnTo>
                  <a:lnTo>
                    <a:pt x="248" y="187"/>
                  </a:lnTo>
                  <a:lnTo>
                    <a:pt x="260" y="196"/>
                  </a:lnTo>
                  <a:lnTo>
                    <a:pt x="271" y="205"/>
                  </a:lnTo>
                  <a:lnTo>
                    <a:pt x="282" y="216"/>
                  </a:lnTo>
                  <a:lnTo>
                    <a:pt x="292" y="226"/>
                  </a:lnTo>
                  <a:lnTo>
                    <a:pt x="301" y="237"/>
                  </a:lnTo>
                  <a:lnTo>
                    <a:pt x="311" y="248"/>
                  </a:lnTo>
                  <a:lnTo>
                    <a:pt x="319" y="261"/>
                  </a:lnTo>
                  <a:lnTo>
                    <a:pt x="327" y="273"/>
                  </a:lnTo>
                  <a:lnTo>
                    <a:pt x="334" y="286"/>
                  </a:lnTo>
                  <a:lnTo>
                    <a:pt x="341" y="299"/>
                  </a:lnTo>
                  <a:lnTo>
                    <a:pt x="347" y="313"/>
                  </a:lnTo>
                  <a:lnTo>
                    <a:pt x="353" y="325"/>
                  </a:lnTo>
                  <a:lnTo>
                    <a:pt x="357" y="339"/>
                  </a:lnTo>
                  <a:lnTo>
                    <a:pt x="361" y="354"/>
                  </a:lnTo>
                  <a:lnTo>
                    <a:pt x="364" y="370"/>
                  </a:lnTo>
                  <a:lnTo>
                    <a:pt x="367" y="383"/>
                  </a:lnTo>
                  <a:lnTo>
                    <a:pt x="369" y="400"/>
                  </a:lnTo>
                  <a:lnTo>
                    <a:pt x="370" y="415"/>
                  </a:lnTo>
                  <a:lnTo>
                    <a:pt x="371" y="431"/>
                  </a:lnTo>
                  <a:lnTo>
                    <a:pt x="370" y="446"/>
                  </a:lnTo>
                  <a:lnTo>
                    <a:pt x="369" y="462"/>
                  </a:lnTo>
                  <a:lnTo>
                    <a:pt x="367" y="477"/>
                  </a:lnTo>
                  <a:lnTo>
                    <a:pt x="364" y="492"/>
                  </a:lnTo>
                  <a:lnTo>
                    <a:pt x="361" y="507"/>
                  </a:lnTo>
                  <a:lnTo>
                    <a:pt x="357" y="521"/>
                  </a:lnTo>
                  <a:lnTo>
                    <a:pt x="353" y="535"/>
                  </a:lnTo>
                  <a:lnTo>
                    <a:pt x="347" y="549"/>
                  </a:lnTo>
                  <a:lnTo>
                    <a:pt x="341" y="563"/>
                  </a:lnTo>
                  <a:lnTo>
                    <a:pt x="334" y="576"/>
                  </a:lnTo>
                  <a:lnTo>
                    <a:pt x="327" y="589"/>
                  </a:lnTo>
                  <a:lnTo>
                    <a:pt x="319" y="600"/>
                  </a:lnTo>
                  <a:lnTo>
                    <a:pt x="311" y="612"/>
                  </a:lnTo>
                  <a:lnTo>
                    <a:pt x="301" y="624"/>
                  </a:lnTo>
                  <a:lnTo>
                    <a:pt x="292" y="635"/>
                  </a:lnTo>
                  <a:lnTo>
                    <a:pt x="282" y="645"/>
                  </a:lnTo>
                  <a:lnTo>
                    <a:pt x="271" y="655"/>
                  </a:lnTo>
                  <a:lnTo>
                    <a:pt x="260" y="665"/>
                  </a:lnTo>
                  <a:lnTo>
                    <a:pt x="248" y="674"/>
                  </a:lnTo>
                  <a:lnTo>
                    <a:pt x="237" y="683"/>
                  </a:lnTo>
                  <a:lnTo>
                    <a:pt x="225" y="691"/>
                  </a:lnTo>
                  <a:lnTo>
                    <a:pt x="212" y="698"/>
                  </a:lnTo>
                  <a:lnTo>
                    <a:pt x="198" y="706"/>
                  </a:lnTo>
                  <a:lnTo>
                    <a:pt x="185" y="711"/>
                  </a:lnTo>
                  <a:lnTo>
                    <a:pt x="171" y="717"/>
                  </a:lnTo>
                  <a:lnTo>
                    <a:pt x="156" y="722"/>
                  </a:lnTo>
                  <a:lnTo>
                    <a:pt x="141" y="727"/>
                  </a:lnTo>
                  <a:lnTo>
                    <a:pt x="126" y="730"/>
                  </a:lnTo>
                  <a:lnTo>
                    <a:pt x="111" y="734"/>
                  </a:lnTo>
                  <a:lnTo>
                    <a:pt x="96" y="736"/>
                  </a:lnTo>
                  <a:lnTo>
                    <a:pt x="80" y="738"/>
                  </a:lnTo>
                  <a:lnTo>
                    <a:pt x="64" y="739"/>
                  </a:lnTo>
                  <a:close/>
                  <a:moveTo>
                    <a:pt x="299" y="196"/>
                  </a:moveTo>
                  <a:lnTo>
                    <a:pt x="343" y="152"/>
                  </a:lnTo>
                  <a:lnTo>
                    <a:pt x="358" y="167"/>
                  </a:lnTo>
                  <a:lnTo>
                    <a:pt x="362" y="170"/>
                  </a:lnTo>
                  <a:lnTo>
                    <a:pt x="367" y="171"/>
                  </a:lnTo>
                  <a:lnTo>
                    <a:pt x="372" y="170"/>
                  </a:lnTo>
                  <a:lnTo>
                    <a:pt x="376" y="167"/>
                  </a:lnTo>
                  <a:lnTo>
                    <a:pt x="378" y="162"/>
                  </a:lnTo>
                  <a:lnTo>
                    <a:pt x="379" y="158"/>
                  </a:lnTo>
                  <a:lnTo>
                    <a:pt x="378" y="153"/>
                  </a:lnTo>
                  <a:lnTo>
                    <a:pt x="376" y="149"/>
                  </a:lnTo>
                  <a:lnTo>
                    <a:pt x="328" y="100"/>
                  </a:lnTo>
                  <a:lnTo>
                    <a:pt x="324" y="98"/>
                  </a:lnTo>
                  <a:lnTo>
                    <a:pt x="319" y="97"/>
                  </a:lnTo>
                  <a:lnTo>
                    <a:pt x="314" y="98"/>
                  </a:lnTo>
                  <a:lnTo>
                    <a:pt x="310" y="100"/>
                  </a:lnTo>
                  <a:lnTo>
                    <a:pt x="308" y="104"/>
                  </a:lnTo>
                  <a:lnTo>
                    <a:pt x="306" y="110"/>
                  </a:lnTo>
                  <a:lnTo>
                    <a:pt x="308" y="114"/>
                  </a:lnTo>
                  <a:lnTo>
                    <a:pt x="310" y="118"/>
                  </a:lnTo>
                  <a:lnTo>
                    <a:pt x="325" y="133"/>
                  </a:lnTo>
                  <a:lnTo>
                    <a:pt x="280" y="179"/>
                  </a:lnTo>
                  <a:lnTo>
                    <a:pt x="269" y="171"/>
                  </a:lnTo>
                  <a:lnTo>
                    <a:pt x="257" y="161"/>
                  </a:lnTo>
                  <a:lnTo>
                    <a:pt x="245" y="154"/>
                  </a:lnTo>
                  <a:lnTo>
                    <a:pt x="233" y="146"/>
                  </a:lnTo>
                  <a:lnTo>
                    <a:pt x="221" y="139"/>
                  </a:lnTo>
                  <a:lnTo>
                    <a:pt x="208" y="132"/>
                  </a:lnTo>
                  <a:lnTo>
                    <a:pt x="195" y="126"/>
                  </a:lnTo>
                  <a:lnTo>
                    <a:pt x="182" y="120"/>
                  </a:lnTo>
                  <a:lnTo>
                    <a:pt x="168" y="115"/>
                  </a:lnTo>
                  <a:lnTo>
                    <a:pt x="154" y="111"/>
                  </a:lnTo>
                  <a:lnTo>
                    <a:pt x="139" y="108"/>
                  </a:lnTo>
                  <a:lnTo>
                    <a:pt x="125" y="103"/>
                  </a:lnTo>
                  <a:lnTo>
                    <a:pt x="110" y="101"/>
                  </a:lnTo>
                  <a:lnTo>
                    <a:pt x="95" y="99"/>
                  </a:lnTo>
                  <a:lnTo>
                    <a:pt x="79" y="98"/>
                  </a:lnTo>
                  <a:lnTo>
                    <a:pt x="64" y="97"/>
                  </a:lnTo>
                  <a:lnTo>
                    <a:pt x="64" y="25"/>
                  </a:lnTo>
                  <a:lnTo>
                    <a:pt x="90" y="25"/>
                  </a:lnTo>
                  <a:lnTo>
                    <a:pt x="94" y="25"/>
                  </a:lnTo>
                  <a:lnTo>
                    <a:pt x="98" y="22"/>
                  </a:lnTo>
                  <a:lnTo>
                    <a:pt x="101" y="17"/>
                  </a:lnTo>
                  <a:lnTo>
                    <a:pt x="102" y="13"/>
                  </a:lnTo>
                  <a:lnTo>
                    <a:pt x="101" y="8"/>
                  </a:lnTo>
                  <a:lnTo>
                    <a:pt x="98" y="3"/>
                  </a:lnTo>
                  <a:lnTo>
                    <a:pt x="94" y="1"/>
                  </a:lnTo>
                  <a:lnTo>
                    <a:pt x="90" y="0"/>
                  </a:lnTo>
                  <a:lnTo>
                    <a:pt x="13" y="0"/>
                  </a:lnTo>
                  <a:lnTo>
                    <a:pt x="8" y="1"/>
                  </a:lnTo>
                  <a:lnTo>
                    <a:pt x="4" y="3"/>
                  </a:lnTo>
                  <a:lnTo>
                    <a:pt x="2" y="8"/>
                  </a:lnTo>
                  <a:lnTo>
                    <a:pt x="0" y="13"/>
                  </a:lnTo>
                  <a:lnTo>
                    <a:pt x="2" y="17"/>
                  </a:lnTo>
                  <a:lnTo>
                    <a:pt x="4" y="22"/>
                  </a:lnTo>
                  <a:lnTo>
                    <a:pt x="8" y="25"/>
                  </a:lnTo>
                  <a:lnTo>
                    <a:pt x="13" y="25"/>
                  </a:lnTo>
                  <a:lnTo>
                    <a:pt x="38" y="25"/>
                  </a:lnTo>
                  <a:lnTo>
                    <a:pt x="38" y="110"/>
                  </a:lnTo>
                  <a:lnTo>
                    <a:pt x="38" y="751"/>
                  </a:lnTo>
                  <a:lnTo>
                    <a:pt x="39" y="756"/>
                  </a:lnTo>
                  <a:lnTo>
                    <a:pt x="42" y="760"/>
                  </a:lnTo>
                  <a:lnTo>
                    <a:pt x="46" y="763"/>
                  </a:lnTo>
                  <a:lnTo>
                    <a:pt x="51" y="764"/>
                  </a:lnTo>
                  <a:lnTo>
                    <a:pt x="69" y="764"/>
                  </a:lnTo>
                  <a:lnTo>
                    <a:pt x="86" y="763"/>
                  </a:lnTo>
                  <a:lnTo>
                    <a:pt x="105" y="760"/>
                  </a:lnTo>
                  <a:lnTo>
                    <a:pt x="122" y="757"/>
                  </a:lnTo>
                  <a:lnTo>
                    <a:pt x="138" y="754"/>
                  </a:lnTo>
                  <a:lnTo>
                    <a:pt x="155" y="750"/>
                  </a:lnTo>
                  <a:lnTo>
                    <a:pt x="171" y="744"/>
                  </a:lnTo>
                  <a:lnTo>
                    <a:pt x="186" y="738"/>
                  </a:lnTo>
                  <a:lnTo>
                    <a:pt x="202" y="731"/>
                  </a:lnTo>
                  <a:lnTo>
                    <a:pt x="216" y="724"/>
                  </a:lnTo>
                  <a:lnTo>
                    <a:pt x="231" y="716"/>
                  </a:lnTo>
                  <a:lnTo>
                    <a:pt x="245" y="708"/>
                  </a:lnTo>
                  <a:lnTo>
                    <a:pt x="258" y="698"/>
                  </a:lnTo>
                  <a:lnTo>
                    <a:pt x="272" y="688"/>
                  </a:lnTo>
                  <a:lnTo>
                    <a:pt x="284" y="679"/>
                  </a:lnTo>
                  <a:lnTo>
                    <a:pt x="296" y="667"/>
                  </a:lnTo>
                  <a:lnTo>
                    <a:pt x="308" y="656"/>
                  </a:lnTo>
                  <a:lnTo>
                    <a:pt x="318" y="643"/>
                  </a:lnTo>
                  <a:lnTo>
                    <a:pt x="328" y="632"/>
                  </a:lnTo>
                  <a:lnTo>
                    <a:pt x="338" y="619"/>
                  </a:lnTo>
                  <a:lnTo>
                    <a:pt x="346" y="605"/>
                  </a:lnTo>
                  <a:lnTo>
                    <a:pt x="355" y="591"/>
                  </a:lnTo>
                  <a:lnTo>
                    <a:pt x="362" y="576"/>
                  </a:lnTo>
                  <a:lnTo>
                    <a:pt x="369" y="562"/>
                  </a:lnTo>
                  <a:lnTo>
                    <a:pt x="375" y="547"/>
                  </a:lnTo>
                  <a:lnTo>
                    <a:pt x="381" y="531"/>
                  </a:lnTo>
                  <a:lnTo>
                    <a:pt x="385" y="514"/>
                  </a:lnTo>
                  <a:lnTo>
                    <a:pt x="389" y="498"/>
                  </a:lnTo>
                  <a:lnTo>
                    <a:pt x="392" y="482"/>
                  </a:lnTo>
                  <a:lnTo>
                    <a:pt x="394" y="465"/>
                  </a:lnTo>
                  <a:lnTo>
                    <a:pt x="396" y="448"/>
                  </a:lnTo>
                  <a:lnTo>
                    <a:pt x="396" y="431"/>
                  </a:lnTo>
                  <a:lnTo>
                    <a:pt x="396" y="414"/>
                  </a:lnTo>
                  <a:lnTo>
                    <a:pt x="394" y="396"/>
                  </a:lnTo>
                  <a:lnTo>
                    <a:pt x="392" y="380"/>
                  </a:lnTo>
                  <a:lnTo>
                    <a:pt x="389" y="363"/>
                  </a:lnTo>
                  <a:lnTo>
                    <a:pt x="386" y="347"/>
                  </a:lnTo>
                  <a:lnTo>
                    <a:pt x="381" y="332"/>
                  </a:lnTo>
                  <a:lnTo>
                    <a:pt x="376" y="316"/>
                  </a:lnTo>
                  <a:lnTo>
                    <a:pt x="370" y="301"/>
                  </a:lnTo>
                  <a:lnTo>
                    <a:pt x="363" y="287"/>
                  </a:lnTo>
                  <a:lnTo>
                    <a:pt x="356" y="272"/>
                  </a:lnTo>
                  <a:lnTo>
                    <a:pt x="348" y="259"/>
                  </a:lnTo>
                  <a:lnTo>
                    <a:pt x="340" y="245"/>
                  </a:lnTo>
                  <a:lnTo>
                    <a:pt x="330" y="232"/>
                  </a:lnTo>
                  <a:lnTo>
                    <a:pt x="320" y="219"/>
                  </a:lnTo>
                  <a:lnTo>
                    <a:pt x="310" y="207"/>
                  </a:lnTo>
                  <a:lnTo>
                    <a:pt x="299"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13" name="Freeform 21">
            <a:extLst>
              <a:ext uri="{FF2B5EF4-FFF2-40B4-BE49-F238E27FC236}">
                <a16:creationId xmlns:a16="http://schemas.microsoft.com/office/drawing/2014/main" id="{E92C7666-8100-4647-8B6B-63E8AB3DADCA}"/>
              </a:ext>
            </a:extLst>
          </p:cNvPr>
          <p:cNvSpPr>
            <a:spLocks noChangeAspect="1" noEditPoints="1"/>
          </p:cNvSpPr>
          <p:nvPr/>
        </p:nvSpPr>
        <p:spPr bwMode="auto">
          <a:xfrm>
            <a:off x="1893567" y="3801969"/>
            <a:ext cx="286260" cy="285619"/>
          </a:xfrm>
          <a:custGeom>
            <a:avLst/>
            <a:gdLst>
              <a:gd name="T0" fmla="*/ 0 w 447"/>
              <a:gd name="T1" fmla="*/ 0 h 446"/>
              <a:gd name="T2" fmla="*/ 0 w 447"/>
              <a:gd name="T3" fmla="*/ 446 h 446"/>
              <a:gd name="T4" fmla="*/ 447 w 447"/>
              <a:gd name="T5" fmla="*/ 446 h 446"/>
              <a:gd name="T6" fmla="*/ 447 w 447"/>
              <a:gd name="T7" fmla="*/ 0 h 446"/>
              <a:gd name="T8" fmla="*/ 0 w 447"/>
              <a:gd name="T9" fmla="*/ 0 h 446"/>
              <a:gd name="T10" fmla="*/ 428 w 447"/>
              <a:gd name="T11" fmla="*/ 19 h 446"/>
              <a:gd name="T12" fmla="*/ 428 w 447"/>
              <a:gd name="T13" fmla="*/ 99 h 446"/>
              <a:gd name="T14" fmla="*/ 306 w 447"/>
              <a:gd name="T15" fmla="*/ 274 h 446"/>
              <a:gd name="T16" fmla="*/ 221 w 447"/>
              <a:gd name="T17" fmla="*/ 208 h 446"/>
              <a:gd name="T18" fmla="*/ 129 w 447"/>
              <a:gd name="T19" fmla="*/ 339 h 446"/>
              <a:gd name="T20" fmla="*/ 73 w 447"/>
              <a:gd name="T21" fmla="*/ 303 h 446"/>
              <a:gd name="T22" fmla="*/ 19 w 447"/>
              <a:gd name="T23" fmla="*/ 366 h 446"/>
              <a:gd name="T24" fmla="*/ 19 w 447"/>
              <a:gd name="T25" fmla="*/ 19 h 446"/>
              <a:gd name="T26" fmla="*/ 428 w 447"/>
              <a:gd name="T27" fmla="*/ 19 h 446"/>
              <a:gd name="T28" fmla="*/ 19 w 447"/>
              <a:gd name="T29" fmla="*/ 427 h 446"/>
              <a:gd name="T30" fmla="*/ 19 w 447"/>
              <a:gd name="T31" fmla="*/ 393 h 446"/>
              <a:gd name="T32" fmla="*/ 76 w 447"/>
              <a:gd name="T33" fmla="*/ 327 h 446"/>
              <a:gd name="T34" fmla="*/ 132 w 447"/>
              <a:gd name="T35" fmla="*/ 364 h 446"/>
              <a:gd name="T36" fmla="*/ 226 w 447"/>
              <a:gd name="T37" fmla="*/ 235 h 446"/>
              <a:gd name="T38" fmla="*/ 309 w 447"/>
              <a:gd name="T39" fmla="*/ 302 h 446"/>
              <a:gd name="T40" fmla="*/ 428 w 447"/>
              <a:gd name="T41" fmla="*/ 131 h 446"/>
              <a:gd name="T42" fmla="*/ 428 w 447"/>
              <a:gd name="T43" fmla="*/ 427 h 446"/>
              <a:gd name="T44" fmla="*/ 19 w 447"/>
              <a:gd name="T45" fmla="*/ 427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7" h="446">
                <a:moveTo>
                  <a:pt x="0" y="0"/>
                </a:moveTo>
                <a:lnTo>
                  <a:pt x="0" y="446"/>
                </a:lnTo>
                <a:lnTo>
                  <a:pt x="447" y="446"/>
                </a:lnTo>
                <a:lnTo>
                  <a:pt x="447" y="0"/>
                </a:lnTo>
                <a:lnTo>
                  <a:pt x="0" y="0"/>
                </a:lnTo>
                <a:close/>
                <a:moveTo>
                  <a:pt x="428" y="19"/>
                </a:moveTo>
                <a:lnTo>
                  <a:pt x="428" y="99"/>
                </a:lnTo>
                <a:lnTo>
                  <a:pt x="306" y="274"/>
                </a:lnTo>
                <a:lnTo>
                  <a:pt x="221" y="208"/>
                </a:lnTo>
                <a:lnTo>
                  <a:pt x="129" y="339"/>
                </a:lnTo>
                <a:lnTo>
                  <a:pt x="73" y="303"/>
                </a:lnTo>
                <a:lnTo>
                  <a:pt x="19" y="366"/>
                </a:lnTo>
                <a:lnTo>
                  <a:pt x="19" y="19"/>
                </a:lnTo>
                <a:lnTo>
                  <a:pt x="428" y="19"/>
                </a:lnTo>
                <a:close/>
                <a:moveTo>
                  <a:pt x="19" y="427"/>
                </a:moveTo>
                <a:lnTo>
                  <a:pt x="19" y="393"/>
                </a:lnTo>
                <a:lnTo>
                  <a:pt x="76" y="327"/>
                </a:lnTo>
                <a:lnTo>
                  <a:pt x="132" y="364"/>
                </a:lnTo>
                <a:lnTo>
                  <a:pt x="226" y="235"/>
                </a:lnTo>
                <a:lnTo>
                  <a:pt x="309" y="302"/>
                </a:lnTo>
                <a:lnTo>
                  <a:pt x="428" y="131"/>
                </a:lnTo>
                <a:lnTo>
                  <a:pt x="428" y="427"/>
                </a:lnTo>
                <a:lnTo>
                  <a:pt x="19" y="42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74" name="Gruppieren 1173">
            <a:extLst>
              <a:ext uri="{FF2B5EF4-FFF2-40B4-BE49-F238E27FC236}">
                <a16:creationId xmlns:a16="http://schemas.microsoft.com/office/drawing/2014/main" id="{F0A65961-7D7B-476D-B121-24C334F01BE0}"/>
              </a:ext>
            </a:extLst>
          </p:cNvPr>
          <p:cNvGrpSpPr>
            <a:grpSpLocks noChangeAspect="1"/>
          </p:cNvGrpSpPr>
          <p:nvPr/>
        </p:nvGrpSpPr>
        <p:grpSpPr>
          <a:xfrm>
            <a:off x="1892910" y="5956111"/>
            <a:ext cx="287575" cy="285619"/>
            <a:chOff x="7391031" y="2480423"/>
            <a:chExt cx="362463" cy="359997"/>
          </a:xfrm>
          <a:solidFill>
            <a:schemeClr val="bg1"/>
          </a:solidFill>
        </p:grpSpPr>
        <p:sp>
          <p:nvSpPr>
            <p:cNvPr id="1178" name="Freeform 6">
              <a:extLst>
                <a:ext uri="{FF2B5EF4-FFF2-40B4-BE49-F238E27FC236}">
                  <a16:creationId xmlns:a16="http://schemas.microsoft.com/office/drawing/2014/main" id="{F95226A1-522C-4D88-9086-E030EF0EF662}"/>
                </a:ext>
              </a:extLst>
            </p:cNvPr>
            <p:cNvSpPr>
              <a:spLocks/>
            </p:cNvSpPr>
            <p:nvPr/>
          </p:nvSpPr>
          <p:spPr bwMode="auto">
            <a:xfrm>
              <a:off x="7447912" y="2480423"/>
              <a:ext cx="305582" cy="272093"/>
            </a:xfrm>
            <a:custGeom>
              <a:avLst/>
              <a:gdLst>
                <a:gd name="T0" fmla="*/ 582 w 586"/>
                <a:gd name="T1" fmla="*/ 3 h 522"/>
                <a:gd name="T2" fmla="*/ 580 w 586"/>
                <a:gd name="T3" fmla="*/ 1 h 522"/>
                <a:gd name="T4" fmla="*/ 576 w 586"/>
                <a:gd name="T5" fmla="*/ 0 h 522"/>
                <a:gd name="T6" fmla="*/ 574 w 586"/>
                <a:gd name="T7" fmla="*/ 0 h 522"/>
                <a:gd name="T8" fmla="*/ 572 w 586"/>
                <a:gd name="T9" fmla="*/ 0 h 522"/>
                <a:gd name="T10" fmla="*/ 567 w 586"/>
                <a:gd name="T11" fmla="*/ 1 h 522"/>
                <a:gd name="T12" fmla="*/ 564 w 586"/>
                <a:gd name="T13" fmla="*/ 4 h 522"/>
                <a:gd name="T14" fmla="*/ 165 w 586"/>
                <a:gd name="T15" fmla="*/ 491 h 522"/>
                <a:gd name="T16" fmla="*/ 22 w 586"/>
                <a:gd name="T17" fmla="*/ 347 h 522"/>
                <a:gd name="T18" fmla="*/ 18 w 586"/>
                <a:gd name="T19" fmla="*/ 343 h 522"/>
                <a:gd name="T20" fmla="*/ 13 w 586"/>
                <a:gd name="T21" fmla="*/ 343 h 522"/>
                <a:gd name="T22" fmla="*/ 9 w 586"/>
                <a:gd name="T23" fmla="*/ 343 h 522"/>
                <a:gd name="T24" fmla="*/ 4 w 586"/>
                <a:gd name="T25" fmla="*/ 347 h 522"/>
                <a:gd name="T26" fmla="*/ 1 w 586"/>
                <a:gd name="T27" fmla="*/ 351 h 522"/>
                <a:gd name="T28" fmla="*/ 0 w 586"/>
                <a:gd name="T29" fmla="*/ 356 h 522"/>
                <a:gd name="T30" fmla="*/ 1 w 586"/>
                <a:gd name="T31" fmla="*/ 361 h 522"/>
                <a:gd name="T32" fmla="*/ 4 w 586"/>
                <a:gd name="T33" fmla="*/ 365 h 522"/>
                <a:gd name="T34" fmla="*/ 157 w 586"/>
                <a:gd name="T35" fmla="*/ 517 h 522"/>
                <a:gd name="T36" fmla="*/ 161 w 586"/>
                <a:gd name="T37" fmla="*/ 521 h 522"/>
                <a:gd name="T38" fmla="*/ 166 w 586"/>
                <a:gd name="T39" fmla="*/ 522 h 522"/>
                <a:gd name="T40" fmla="*/ 166 w 586"/>
                <a:gd name="T41" fmla="*/ 522 h 522"/>
                <a:gd name="T42" fmla="*/ 166 w 586"/>
                <a:gd name="T43" fmla="*/ 522 h 522"/>
                <a:gd name="T44" fmla="*/ 172 w 586"/>
                <a:gd name="T45" fmla="*/ 521 h 522"/>
                <a:gd name="T46" fmla="*/ 176 w 586"/>
                <a:gd name="T47" fmla="*/ 517 h 522"/>
                <a:gd name="T48" fmla="*/ 583 w 586"/>
                <a:gd name="T49" fmla="*/ 21 h 522"/>
                <a:gd name="T50" fmla="*/ 585 w 586"/>
                <a:gd name="T51" fmla="*/ 16 h 522"/>
                <a:gd name="T52" fmla="*/ 586 w 586"/>
                <a:gd name="T53" fmla="*/ 11 h 522"/>
                <a:gd name="T54" fmla="*/ 585 w 586"/>
                <a:gd name="T55" fmla="*/ 6 h 522"/>
                <a:gd name="T56" fmla="*/ 582 w 586"/>
                <a:gd name="T57" fmla="*/ 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6" h="522">
                  <a:moveTo>
                    <a:pt x="582" y="3"/>
                  </a:moveTo>
                  <a:lnTo>
                    <a:pt x="580" y="1"/>
                  </a:lnTo>
                  <a:lnTo>
                    <a:pt x="576" y="0"/>
                  </a:lnTo>
                  <a:lnTo>
                    <a:pt x="574" y="0"/>
                  </a:lnTo>
                  <a:lnTo>
                    <a:pt x="572" y="0"/>
                  </a:lnTo>
                  <a:lnTo>
                    <a:pt x="567" y="1"/>
                  </a:lnTo>
                  <a:lnTo>
                    <a:pt x="564" y="4"/>
                  </a:lnTo>
                  <a:lnTo>
                    <a:pt x="165" y="491"/>
                  </a:lnTo>
                  <a:lnTo>
                    <a:pt x="22" y="347"/>
                  </a:lnTo>
                  <a:lnTo>
                    <a:pt x="18" y="343"/>
                  </a:lnTo>
                  <a:lnTo>
                    <a:pt x="13" y="343"/>
                  </a:lnTo>
                  <a:lnTo>
                    <a:pt x="9" y="343"/>
                  </a:lnTo>
                  <a:lnTo>
                    <a:pt x="4" y="347"/>
                  </a:lnTo>
                  <a:lnTo>
                    <a:pt x="1" y="351"/>
                  </a:lnTo>
                  <a:lnTo>
                    <a:pt x="0" y="356"/>
                  </a:lnTo>
                  <a:lnTo>
                    <a:pt x="1" y="361"/>
                  </a:lnTo>
                  <a:lnTo>
                    <a:pt x="4" y="365"/>
                  </a:lnTo>
                  <a:lnTo>
                    <a:pt x="157" y="517"/>
                  </a:lnTo>
                  <a:lnTo>
                    <a:pt x="161" y="521"/>
                  </a:lnTo>
                  <a:lnTo>
                    <a:pt x="166" y="522"/>
                  </a:lnTo>
                  <a:lnTo>
                    <a:pt x="166" y="522"/>
                  </a:lnTo>
                  <a:lnTo>
                    <a:pt x="166" y="522"/>
                  </a:lnTo>
                  <a:lnTo>
                    <a:pt x="172" y="521"/>
                  </a:lnTo>
                  <a:lnTo>
                    <a:pt x="176" y="517"/>
                  </a:lnTo>
                  <a:lnTo>
                    <a:pt x="583" y="21"/>
                  </a:lnTo>
                  <a:lnTo>
                    <a:pt x="585" y="16"/>
                  </a:lnTo>
                  <a:lnTo>
                    <a:pt x="586" y="11"/>
                  </a:lnTo>
                  <a:lnTo>
                    <a:pt x="585" y="6"/>
                  </a:lnTo>
                  <a:lnTo>
                    <a:pt x="5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7">
              <a:extLst>
                <a:ext uri="{FF2B5EF4-FFF2-40B4-BE49-F238E27FC236}">
                  <a16:creationId xmlns:a16="http://schemas.microsoft.com/office/drawing/2014/main" id="{E1F60F28-E86F-44DA-8B62-18CFAD912764}"/>
                </a:ext>
              </a:extLst>
            </p:cNvPr>
            <p:cNvSpPr>
              <a:spLocks/>
            </p:cNvSpPr>
            <p:nvPr/>
          </p:nvSpPr>
          <p:spPr bwMode="auto">
            <a:xfrm>
              <a:off x="7391031" y="2480423"/>
              <a:ext cx="362463" cy="359997"/>
            </a:xfrm>
            <a:custGeom>
              <a:avLst/>
              <a:gdLst>
                <a:gd name="T0" fmla="*/ 598 w 611"/>
                <a:gd name="T1" fmla="*/ 233 h 611"/>
                <a:gd name="T2" fmla="*/ 593 w 611"/>
                <a:gd name="T3" fmla="*/ 233 h 611"/>
                <a:gd name="T4" fmla="*/ 590 w 611"/>
                <a:gd name="T5" fmla="*/ 236 h 611"/>
                <a:gd name="T6" fmla="*/ 586 w 611"/>
                <a:gd name="T7" fmla="*/ 241 h 611"/>
                <a:gd name="T8" fmla="*/ 585 w 611"/>
                <a:gd name="T9" fmla="*/ 245 h 611"/>
                <a:gd name="T10" fmla="*/ 585 w 611"/>
                <a:gd name="T11" fmla="*/ 585 h 611"/>
                <a:gd name="T12" fmla="*/ 25 w 611"/>
                <a:gd name="T13" fmla="*/ 585 h 611"/>
                <a:gd name="T14" fmla="*/ 25 w 611"/>
                <a:gd name="T15" fmla="*/ 25 h 611"/>
                <a:gd name="T16" fmla="*/ 430 w 611"/>
                <a:gd name="T17" fmla="*/ 25 h 611"/>
                <a:gd name="T18" fmla="*/ 435 w 611"/>
                <a:gd name="T19" fmla="*/ 24 h 611"/>
                <a:gd name="T20" fmla="*/ 439 w 611"/>
                <a:gd name="T21" fmla="*/ 22 h 611"/>
                <a:gd name="T22" fmla="*/ 441 w 611"/>
                <a:gd name="T23" fmla="*/ 17 h 611"/>
                <a:gd name="T24" fmla="*/ 442 w 611"/>
                <a:gd name="T25" fmla="*/ 12 h 611"/>
                <a:gd name="T26" fmla="*/ 441 w 611"/>
                <a:gd name="T27" fmla="*/ 8 h 611"/>
                <a:gd name="T28" fmla="*/ 439 w 611"/>
                <a:gd name="T29" fmla="*/ 3 h 611"/>
                <a:gd name="T30" fmla="*/ 435 w 611"/>
                <a:gd name="T31" fmla="*/ 1 h 611"/>
                <a:gd name="T32" fmla="*/ 430 w 611"/>
                <a:gd name="T33" fmla="*/ 0 h 611"/>
                <a:gd name="T34" fmla="*/ 12 w 611"/>
                <a:gd name="T35" fmla="*/ 0 h 611"/>
                <a:gd name="T36" fmla="*/ 8 w 611"/>
                <a:gd name="T37" fmla="*/ 1 h 611"/>
                <a:gd name="T38" fmla="*/ 3 w 611"/>
                <a:gd name="T39" fmla="*/ 3 h 611"/>
                <a:gd name="T40" fmla="*/ 1 w 611"/>
                <a:gd name="T41" fmla="*/ 8 h 611"/>
                <a:gd name="T42" fmla="*/ 0 w 611"/>
                <a:gd name="T43" fmla="*/ 12 h 611"/>
                <a:gd name="T44" fmla="*/ 0 w 611"/>
                <a:gd name="T45" fmla="*/ 598 h 611"/>
                <a:gd name="T46" fmla="*/ 1 w 611"/>
                <a:gd name="T47" fmla="*/ 603 h 611"/>
                <a:gd name="T48" fmla="*/ 3 w 611"/>
                <a:gd name="T49" fmla="*/ 608 h 611"/>
                <a:gd name="T50" fmla="*/ 8 w 611"/>
                <a:gd name="T51" fmla="*/ 610 h 611"/>
                <a:gd name="T52" fmla="*/ 12 w 611"/>
                <a:gd name="T53" fmla="*/ 611 h 611"/>
                <a:gd name="T54" fmla="*/ 598 w 611"/>
                <a:gd name="T55" fmla="*/ 611 h 611"/>
                <a:gd name="T56" fmla="*/ 604 w 611"/>
                <a:gd name="T57" fmla="*/ 610 h 611"/>
                <a:gd name="T58" fmla="*/ 607 w 611"/>
                <a:gd name="T59" fmla="*/ 608 h 611"/>
                <a:gd name="T60" fmla="*/ 610 w 611"/>
                <a:gd name="T61" fmla="*/ 603 h 611"/>
                <a:gd name="T62" fmla="*/ 611 w 611"/>
                <a:gd name="T63" fmla="*/ 598 h 611"/>
                <a:gd name="T64" fmla="*/ 611 w 611"/>
                <a:gd name="T65" fmla="*/ 245 h 611"/>
                <a:gd name="T66" fmla="*/ 610 w 611"/>
                <a:gd name="T67" fmla="*/ 241 h 611"/>
                <a:gd name="T68" fmla="*/ 607 w 611"/>
                <a:gd name="T69" fmla="*/ 236 h 611"/>
                <a:gd name="T70" fmla="*/ 604 w 611"/>
                <a:gd name="T71" fmla="*/ 233 h 611"/>
                <a:gd name="T72" fmla="*/ 598 w 611"/>
                <a:gd name="T73" fmla="*/ 23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1" h="611">
                  <a:moveTo>
                    <a:pt x="598" y="233"/>
                  </a:moveTo>
                  <a:lnTo>
                    <a:pt x="593" y="233"/>
                  </a:lnTo>
                  <a:lnTo>
                    <a:pt x="590" y="236"/>
                  </a:lnTo>
                  <a:lnTo>
                    <a:pt x="586" y="241"/>
                  </a:lnTo>
                  <a:lnTo>
                    <a:pt x="585" y="245"/>
                  </a:lnTo>
                  <a:lnTo>
                    <a:pt x="585" y="585"/>
                  </a:lnTo>
                  <a:lnTo>
                    <a:pt x="25" y="585"/>
                  </a:lnTo>
                  <a:lnTo>
                    <a:pt x="25" y="25"/>
                  </a:lnTo>
                  <a:lnTo>
                    <a:pt x="430" y="25"/>
                  </a:lnTo>
                  <a:lnTo>
                    <a:pt x="435" y="24"/>
                  </a:lnTo>
                  <a:lnTo>
                    <a:pt x="439" y="22"/>
                  </a:lnTo>
                  <a:lnTo>
                    <a:pt x="441" y="17"/>
                  </a:lnTo>
                  <a:lnTo>
                    <a:pt x="442" y="12"/>
                  </a:lnTo>
                  <a:lnTo>
                    <a:pt x="441" y="8"/>
                  </a:lnTo>
                  <a:lnTo>
                    <a:pt x="439" y="3"/>
                  </a:lnTo>
                  <a:lnTo>
                    <a:pt x="435" y="1"/>
                  </a:lnTo>
                  <a:lnTo>
                    <a:pt x="430" y="0"/>
                  </a:lnTo>
                  <a:lnTo>
                    <a:pt x="12" y="0"/>
                  </a:lnTo>
                  <a:lnTo>
                    <a:pt x="8" y="1"/>
                  </a:lnTo>
                  <a:lnTo>
                    <a:pt x="3" y="3"/>
                  </a:lnTo>
                  <a:lnTo>
                    <a:pt x="1" y="8"/>
                  </a:lnTo>
                  <a:lnTo>
                    <a:pt x="0" y="12"/>
                  </a:lnTo>
                  <a:lnTo>
                    <a:pt x="0" y="598"/>
                  </a:lnTo>
                  <a:lnTo>
                    <a:pt x="1" y="603"/>
                  </a:lnTo>
                  <a:lnTo>
                    <a:pt x="3" y="608"/>
                  </a:lnTo>
                  <a:lnTo>
                    <a:pt x="8" y="610"/>
                  </a:lnTo>
                  <a:lnTo>
                    <a:pt x="12" y="611"/>
                  </a:lnTo>
                  <a:lnTo>
                    <a:pt x="598" y="611"/>
                  </a:lnTo>
                  <a:lnTo>
                    <a:pt x="604" y="610"/>
                  </a:lnTo>
                  <a:lnTo>
                    <a:pt x="607" y="608"/>
                  </a:lnTo>
                  <a:lnTo>
                    <a:pt x="610" y="603"/>
                  </a:lnTo>
                  <a:lnTo>
                    <a:pt x="611" y="598"/>
                  </a:lnTo>
                  <a:lnTo>
                    <a:pt x="611" y="245"/>
                  </a:lnTo>
                  <a:lnTo>
                    <a:pt x="610" y="241"/>
                  </a:lnTo>
                  <a:lnTo>
                    <a:pt x="607" y="236"/>
                  </a:lnTo>
                  <a:lnTo>
                    <a:pt x="604" y="233"/>
                  </a:lnTo>
                  <a:lnTo>
                    <a:pt x="598" y="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0" name="Group 43">
            <a:extLst>
              <a:ext uri="{FF2B5EF4-FFF2-40B4-BE49-F238E27FC236}">
                <a16:creationId xmlns:a16="http://schemas.microsoft.com/office/drawing/2014/main" id="{34B5AC36-BF2A-44F4-8173-88FC60C0BB98}"/>
              </a:ext>
            </a:extLst>
          </p:cNvPr>
          <p:cNvGrpSpPr>
            <a:grpSpLocks noChangeAspect="1"/>
          </p:cNvGrpSpPr>
          <p:nvPr/>
        </p:nvGrpSpPr>
        <p:grpSpPr>
          <a:xfrm>
            <a:off x="2736259" y="2186361"/>
            <a:ext cx="285618" cy="285619"/>
            <a:chOff x="1458913" y="785813"/>
            <a:chExt cx="285750" cy="285751"/>
          </a:xfrm>
          <a:solidFill>
            <a:schemeClr val="bg1"/>
          </a:solidFill>
          <a:effectLst/>
        </p:grpSpPr>
        <p:sp>
          <p:nvSpPr>
            <p:cNvPr id="461" name="Freeform 186">
              <a:extLst>
                <a:ext uri="{FF2B5EF4-FFF2-40B4-BE49-F238E27FC236}">
                  <a16:creationId xmlns:a16="http://schemas.microsoft.com/office/drawing/2014/main" id="{4BA9D21F-9EEA-4047-97B8-C18C5ED5300D}"/>
                </a:ext>
              </a:extLst>
            </p:cNvPr>
            <p:cNvSpPr>
              <a:spLocks noEditPoints="1"/>
            </p:cNvSpPr>
            <p:nvPr/>
          </p:nvSpPr>
          <p:spPr bwMode="auto">
            <a:xfrm>
              <a:off x="1641475" y="944563"/>
              <a:ext cx="46038" cy="46038"/>
            </a:xfrm>
            <a:custGeom>
              <a:avLst/>
              <a:gdLst>
                <a:gd name="T0" fmla="*/ 65 w 145"/>
                <a:gd name="T1" fmla="*/ 114 h 145"/>
                <a:gd name="T2" fmla="*/ 50 w 145"/>
                <a:gd name="T3" fmla="*/ 107 h 145"/>
                <a:gd name="T4" fmla="*/ 38 w 145"/>
                <a:gd name="T5" fmla="*/ 96 h 145"/>
                <a:gd name="T6" fmla="*/ 32 w 145"/>
                <a:gd name="T7" fmla="*/ 81 h 145"/>
                <a:gd name="T8" fmla="*/ 32 w 145"/>
                <a:gd name="T9" fmla="*/ 63 h 145"/>
                <a:gd name="T10" fmla="*/ 38 w 145"/>
                <a:gd name="T11" fmla="*/ 48 h 145"/>
                <a:gd name="T12" fmla="*/ 50 w 145"/>
                <a:gd name="T13" fmla="*/ 38 h 145"/>
                <a:gd name="T14" fmla="*/ 65 w 145"/>
                <a:gd name="T15" fmla="*/ 31 h 145"/>
                <a:gd name="T16" fmla="*/ 82 w 145"/>
                <a:gd name="T17" fmla="*/ 31 h 145"/>
                <a:gd name="T18" fmla="*/ 97 w 145"/>
                <a:gd name="T19" fmla="*/ 38 h 145"/>
                <a:gd name="T20" fmla="*/ 109 w 145"/>
                <a:gd name="T21" fmla="*/ 48 h 145"/>
                <a:gd name="T22" fmla="*/ 114 w 145"/>
                <a:gd name="T23" fmla="*/ 63 h 145"/>
                <a:gd name="T24" fmla="*/ 114 w 145"/>
                <a:gd name="T25" fmla="*/ 81 h 145"/>
                <a:gd name="T26" fmla="*/ 109 w 145"/>
                <a:gd name="T27" fmla="*/ 96 h 145"/>
                <a:gd name="T28" fmla="*/ 97 w 145"/>
                <a:gd name="T29" fmla="*/ 107 h 145"/>
                <a:gd name="T30" fmla="*/ 82 w 145"/>
                <a:gd name="T31" fmla="*/ 114 h 145"/>
                <a:gd name="T32" fmla="*/ 73 w 145"/>
                <a:gd name="T33" fmla="*/ 115 h 145"/>
                <a:gd name="T34" fmla="*/ 66 w 145"/>
                <a:gd name="T35" fmla="*/ 0 h 145"/>
                <a:gd name="T36" fmla="*/ 52 w 145"/>
                <a:gd name="T37" fmla="*/ 4 h 145"/>
                <a:gd name="T38" fmla="*/ 39 w 145"/>
                <a:gd name="T39" fmla="*/ 9 h 145"/>
                <a:gd name="T40" fmla="*/ 27 w 145"/>
                <a:gd name="T41" fmla="*/ 16 h 145"/>
                <a:gd name="T42" fmla="*/ 18 w 145"/>
                <a:gd name="T43" fmla="*/ 26 h 145"/>
                <a:gd name="T44" fmla="*/ 10 w 145"/>
                <a:gd name="T45" fmla="*/ 38 h 145"/>
                <a:gd name="T46" fmla="*/ 5 w 145"/>
                <a:gd name="T47" fmla="*/ 51 h 145"/>
                <a:gd name="T48" fmla="*/ 2 w 145"/>
                <a:gd name="T49" fmla="*/ 65 h 145"/>
                <a:gd name="T50" fmla="*/ 2 w 145"/>
                <a:gd name="T51" fmla="*/ 80 h 145"/>
                <a:gd name="T52" fmla="*/ 5 w 145"/>
                <a:gd name="T53" fmla="*/ 93 h 145"/>
                <a:gd name="T54" fmla="*/ 10 w 145"/>
                <a:gd name="T55" fmla="*/ 106 h 145"/>
                <a:gd name="T56" fmla="*/ 18 w 145"/>
                <a:gd name="T57" fmla="*/ 118 h 145"/>
                <a:gd name="T58" fmla="*/ 27 w 145"/>
                <a:gd name="T59" fmla="*/ 128 h 145"/>
                <a:gd name="T60" fmla="*/ 39 w 145"/>
                <a:gd name="T61" fmla="*/ 136 h 145"/>
                <a:gd name="T62" fmla="*/ 52 w 145"/>
                <a:gd name="T63" fmla="*/ 142 h 145"/>
                <a:gd name="T64" fmla="*/ 66 w 145"/>
                <a:gd name="T65" fmla="*/ 144 h 145"/>
                <a:gd name="T66" fmla="*/ 81 w 145"/>
                <a:gd name="T67" fmla="*/ 144 h 145"/>
                <a:gd name="T68" fmla="*/ 95 w 145"/>
                <a:gd name="T69" fmla="*/ 142 h 145"/>
                <a:gd name="T70" fmla="*/ 107 w 145"/>
                <a:gd name="T71" fmla="*/ 136 h 145"/>
                <a:gd name="T72" fmla="*/ 119 w 145"/>
                <a:gd name="T73" fmla="*/ 128 h 145"/>
                <a:gd name="T74" fmla="*/ 129 w 145"/>
                <a:gd name="T75" fmla="*/ 118 h 145"/>
                <a:gd name="T76" fmla="*/ 136 w 145"/>
                <a:gd name="T77" fmla="*/ 106 h 145"/>
                <a:gd name="T78" fmla="*/ 142 w 145"/>
                <a:gd name="T79" fmla="*/ 93 h 145"/>
                <a:gd name="T80" fmla="*/ 145 w 145"/>
                <a:gd name="T81" fmla="*/ 80 h 145"/>
                <a:gd name="T82" fmla="*/ 145 w 145"/>
                <a:gd name="T83" fmla="*/ 65 h 145"/>
                <a:gd name="T84" fmla="*/ 142 w 145"/>
                <a:gd name="T85" fmla="*/ 51 h 145"/>
                <a:gd name="T86" fmla="*/ 136 w 145"/>
                <a:gd name="T87" fmla="*/ 38 h 145"/>
                <a:gd name="T88" fmla="*/ 129 w 145"/>
                <a:gd name="T89" fmla="*/ 26 h 145"/>
                <a:gd name="T90" fmla="*/ 119 w 145"/>
                <a:gd name="T91" fmla="*/ 16 h 145"/>
                <a:gd name="T92" fmla="*/ 107 w 145"/>
                <a:gd name="T93" fmla="*/ 9 h 145"/>
                <a:gd name="T94" fmla="*/ 95 w 145"/>
                <a:gd name="T95" fmla="*/ 4 h 145"/>
                <a:gd name="T96" fmla="*/ 81 w 145"/>
                <a:gd name="T9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145">
                  <a:moveTo>
                    <a:pt x="73" y="115"/>
                  </a:moveTo>
                  <a:lnTo>
                    <a:pt x="65" y="114"/>
                  </a:lnTo>
                  <a:lnTo>
                    <a:pt x="57" y="112"/>
                  </a:lnTo>
                  <a:lnTo>
                    <a:pt x="50" y="107"/>
                  </a:lnTo>
                  <a:lnTo>
                    <a:pt x="43" y="102"/>
                  </a:lnTo>
                  <a:lnTo>
                    <a:pt x="38" y="96"/>
                  </a:lnTo>
                  <a:lnTo>
                    <a:pt x="35" y="89"/>
                  </a:lnTo>
                  <a:lnTo>
                    <a:pt x="32" y="81"/>
                  </a:lnTo>
                  <a:lnTo>
                    <a:pt x="32" y="72"/>
                  </a:lnTo>
                  <a:lnTo>
                    <a:pt x="32" y="63"/>
                  </a:lnTo>
                  <a:lnTo>
                    <a:pt x="35" y="56"/>
                  </a:lnTo>
                  <a:lnTo>
                    <a:pt x="38" y="48"/>
                  </a:lnTo>
                  <a:lnTo>
                    <a:pt x="43" y="42"/>
                  </a:lnTo>
                  <a:lnTo>
                    <a:pt x="50" y="38"/>
                  </a:lnTo>
                  <a:lnTo>
                    <a:pt x="57" y="33"/>
                  </a:lnTo>
                  <a:lnTo>
                    <a:pt x="65" y="31"/>
                  </a:lnTo>
                  <a:lnTo>
                    <a:pt x="73" y="30"/>
                  </a:lnTo>
                  <a:lnTo>
                    <a:pt x="82" y="31"/>
                  </a:lnTo>
                  <a:lnTo>
                    <a:pt x="89" y="33"/>
                  </a:lnTo>
                  <a:lnTo>
                    <a:pt x="97" y="38"/>
                  </a:lnTo>
                  <a:lnTo>
                    <a:pt x="103" y="42"/>
                  </a:lnTo>
                  <a:lnTo>
                    <a:pt x="109" y="48"/>
                  </a:lnTo>
                  <a:lnTo>
                    <a:pt x="112" y="56"/>
                  </a:lnTo>
                  <a:lnTo>
                    <a:pt x="114" y="63"/>
                  </a:lnTo>
                  <a:lnTo>
                    <a:pt x="115" y="72"/>
                  </a:lnTo>
                  <a:lnTo>
                    <a:pt x="114" y="81"/>
                  </a:lnTo>
                  <a:lnTo>
                    <a:pt x="112" y="89"/>
                  </a:lnTo>
                  <a:lnTo>
                    <a:pt x="109" y="96"/>
                  </a:lnTo>
                  <a:lnTo>
                    <a:pt x="103" y="102"/>
                  </a:lnTo>
                  <a:lnTo>
                    <a:pt x="97" y="107"/>
                  </a:lnTo>
                  <a:lnTo>
                    <a:pt x="89" y="112"/>
                  </a:lnTo>
                  <a:lnTo>
                    <a:pt x="82" y="114"/>
                  </a:lnTo>
                  <a:lnTo>
                    <a:pt x="73" y="115"/>
                  </a:lnTo>
                  <a:lnTo>
                    <a:pt x="73" y="115"/>
                  </a:lnTo>
                  <a:close/>
                  <a:moveTo>
                    <a:pt x="73" y="0"/>
                  </a:moveTo>
                  <a:lnTo>
                    <a:pt x="66" y="0"/>
                  </a:lnTo>
                  <a:lnTo>
                    <a:pt x="58" y="1"/>
                  </a:lnTo>
                  <a:lnTo>
                    <a:pt x="52" y="4"/>
                  </a:lnTo>
                  <a:lnTo>
                    <a:pt x="45" y="6"/>
                  </a:lnTo>
                  <a:lnTo>
                    <a:pt x="39" y="9"/>
                  </a:lnTo>
                  <a:lnTo>
                    <a:pt x="33" y="12"/>
                  </a:lnTo>
                  <a:lnTo>
                    <a:pt x="27" y="16"/>
                  </a:lnTo>
                  <a:lnTo>
                    <a:pt x="22" y="22"/>
                  </a:lnTo>
                  <a:lnTo>
                    <a:pt x="18" y="26"/>
                  </a:lnTo>
                  <a:lnTo>
                    <a:pt x="13" y="32"/>
                  </a:lnTo>
                  <a:lnTo>
                    <a:pt x="10" y="38"/>
                  </a:lnTo>
                  <a:lnTo>
                    <a:pt x="7" y="44"/>
                  </a:lnTo>
                  <a:lnTo>
                    <a:pt x="5" y="51"/>
                  </a:lnTo>
                  <a:lnTo>
                    <a:pt x="3" y="58"/>
                  </a:lnTo>
                  <a:lnTo>
                    <a:pt x="2" y="65"/>
                  </a:lnTo>
                  <a:lnTo>
                    <a:pt x="0" y="72"/>
                  </a:lnTo>
                  <a:lnTo>
                    <a:pt x="2" y="80"/>
                  </a:lnTo>
                  <a:lnTo>
                    <a:pt x="3" y="87"/>
                  </a:lnTo>
                  <a:lnTo>
                    <a:pt x="5" y="93"/>
                  </a:lnTo>
                  <a:lnTo>
                    <a:pt x="7" y="100"/>
                  </a:lnTo>
                  <a:lnTo>
                    <a:pt x="10" y="106"/>
                  </a:lnTo>
                  <a:lnTo>
                    <a:pt x="13" y="113"/>
                  </a:lnTo>
                  <a:lnTo>
                    <a:pt x="18" y="118"/>
                  </a:lnTo>
                  <a:lnTo>
                    <a:pt x="22" y="123"/>
                  </a:lnTo>
                  <a:lnTo>
                    <a:pt x="27" y="128"/>
                  </a:lnTo>
                  <a:lnTo>
                    <a:pt x="33" y="132"/>
                  </a:lnTo>
                  <a:lnTo>
                    <a:pt x="39" y="136"/>
                  </a:lnTo>
                  <a:lnTo>
                    <a:pt x="45" y="138"/>
                  </a:lnTo>
                  <a:lnTo>
                    <a:pt x="52" y="142"/>
                  </a:lnTo>
                  <a:lnTo>
                    <a:pt x="58" y="143"/>
                  </a:lnTo>
                  <a:lnTo>
                    <a:pt x="66" y="144"/>
                  </a:lnTo>
                  <a:lnTo>
                    <a:pt x="73" y="145"/>
                  </a:lnTo>
                  <a:lnTo>
                    <a:pt x="81" y="144"/>
                  </a:lnTo>
                  <a:lnTo>
                    <a:pt x="87" y="143"/>
                  </a:lnTo>
                  <a:lnTo>
                    <a:pt x="95" y="142"/>
                  </a:lnTo>
                  <a:lnTo>
                    <a:pt x="101" y="138"/>
                  </a:lnTo>
                  <a:lnTo>
                    <a:pt x="107" y="136"/>
                  </a:lnTo>
                  <a:lnTo>
                    <a:pt x="114" y="132"/>
                  </a:lnTo>
                  <a:lnTo>
                    <a:pt x="119" y="128"/>
                  </a:lnTo>
                  <a:lnTo>
                    <a:pt x="125" y="123"/>
                  </a:lnTo>
                  <a:lnTo>
                    <a:pt x="129" y="118"/>
                  </a:lnTo>
                  <a:lnTo>
                    <a:pt x="133" y="113"/>
                  </a:lnTo>
                  <a:lnTo>
                    <a:pt x="136" y="106"/>
                  </a:lnTo>
                  <a:lnTo>
                    <a:pt x="140" y="100"/>
                  </a:lnTo>
                  <a:lnTo>
                    <a:pt x="142" y="93"/>
                  </a:lnTo>
                  <a:lnTo>
                    <a:pt x="144" y="87"/>
                  </a:lnTo>
                  <a:lnTo>
                    <a:pt x="145" y="80"/>
                  </a:lnTo>
                  <a:lnTo>
                    <a:pt x="145" y="72"/>
                  </a:lnTo>
                  <a:lnTo>
                    <a:pt x="145" y="65"/>
                  </a:lnTo>
                  <a:lnTo>
                    <a:pt x="144" y="58"/>
                  </a:lnTo>
                  <a:lnTo>
                    <a:pt x="142" y="51"/>
                  </a:lnTo>
                  <a:lnTo>
                    <a:pt x="140" y="44"/>
                  </a:lnTo>
                  <a:lnTo>
                    <a:pt x="136" y="38"/>
                  </a:lnTo>
                  <a:lnTo>
                    <a:pt x="133" y="32"/>
                  </a:lnTo>
                  <a:lnTo>
                    <a:pt x="129" y="26"/>
                  </a:lnTo>
                  <a:lnTo>
                    <a:pt x="125" y="22"/>
                  </a:lnTo>
                  <a:lnTo>
                    <a:pt x="119" y="16"/>
                  </a:lnTo>
                  <a:lnTo>
                    <a:pt x="114" y="12"/>
                  </a:lnTo>
                  <a:lnTo>
                    <a:pt x="107" y="9"/>
                  </a:lnTo>
                  <a:lnTo>
                    <a:pt x="101" y="6"/>
                  </a:lnTo>
                  <a:lnTo>
                    <a:pt x="95" y="4"/>
                  </a:lnTo>
                  <a:lnTo>
                    <a:pt x="87" y="1"/>
                  </a:lnTo>
                  <a:lnTo>
                    <a:pt x="81" y="0"/>
                  </a:lnTo>
                  <a:lnTo>
                    <a:pt x="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2" name="Freeform 187">
              <a:extLst>
                <a:ext uri="{FF2B5EF4-FFF2-40B4-BE49-F238E27FC236}">
                  <a16:creationId xmlns:a16="http://schemas.microsoft.com/office/drawing/2014/main" id="{5E09C198-7160-40FC-A792-83B2D7177051}"/>
                </a:ext>
              </a:extLst>
            </p:cNvPr>
            <p:cNvSpPr>
              <a:spLocks noEditPoints="1"/>
            </p:cNvSpPr>
            <p:nvPr/>
          </p:nvSpPr>
          <p:spPr bwMode="auto">
            <a:xfrm>
              <a:off x="1608138" y="971551"/>
              <a:ext cx="23813" cy="23813"/>
            </a:xfrm>
            <a:custGeom>
              <a:avLst/>
              <a:gdLst>
                <a:gd name="T0" fmla="*/ 38 w 76"/>
                <a:gd name="T1" fmla="*/ 30 h 76"/>
                <a:gd name="T2" fmla="*/ 41 w 76"/>
                <a:gd name="T3" fmla="*/ 31 h 76"/>
                <a:gd name="T4" fmla="*/ 43 w 76"/>
                <a:gd name="T5" fmla="*/ 32 h 76"/>
                <a:gd name="T6" fmla="*/ 45 w 76"/>
                <a:gd name="T7" fmla="*/ 35 h 76"/>
                <a:gd name="T8" fmla="*/ 47 w 76"/>
                <a:gd name="T9" fmla="*/ 38 h 76"/>
                <a:gd name="T10" fmla="*/ 45 w 76"/>
                <a:gd name="T11" fmla="*/ 40 h 76"/>
                <a:gd name="T12" fmla="*/ 43 w 76"/>
                <a:gd name="T13" fmla="*/ 44 h 76"/>
                <a:gd name="T14" fmla="*/ 41 w 76"/>
                <a:gd name="T15" fmla="*/ 45 h 76"/>
                <a:gd name="T16" fmla="*/ 38 w 76"/>
                <a:gd name="T17" fmla="*/ 46 h 76"/>
                <a:gd name="T18" fmla="*/ 35 w 76"/>
                <a:gd name="T19" fmla="*/ 45 h 76"/>
                <a:gd name="T20" fmla="*/ 33 w 76"/>
                <a:gd name="T21" fmla="*/ 44 h 76"/>
                <a:gd name="T22" fmla="*/ 30 w 76"/>
                <a:gd name="T23" fmla="*/ 40 h 76"/>
                <a:gd name="T24" fmla="*/ 30 w 76"/>
                <a:gd name="T25" fmla="*/ 38 h 76"/>
                <a:gd name="T26" fmla="*/ 30 w 76"/>
                <a:gd name="T27" fmla="*/ 35 h 76"/>
                <a:gd name="T28" fmla="*/ 33 w 76"/>
                <a:gd name="T29" fmla="*/ 32 h 76"/>
                <a:gd name="T30" fmla="*/ 35 w 76"/>
                <a:gd name="T31" fmla="*/ 31 h 76"/>
                <a:gd name="T32" fmla="*/ 38 w 76"/>
                <a:gd name="T33" fmla="*/ 30 h 76"/>
                <a:gd name="T34" fmla="*/ 38 w 76"/>
                <a:gd name="T35" fmla="*/ 30 h 76"/>
                <a:gd name="T36" fmla="*/ 38 w 76"/>
                <a:gd name="T37" fmla="*/ 76 h 76"/>
                <a:gd name="T38" fmla="*/ 45 w 76"/>
                <a:gd name="T39" fmla="*/ 75 h 76"/>
                <a:gd name="T40" fmla="*/ 53 w 76"/>
                <a:gd name="T41" fmla="*/ 72 h 76"/>
                <a:gd name="T42" fmla="*/ 59 w 76"/>
                <a:gd name="T43" fmla="*/ 69 h 76"/>
                <a:gd name="T44" fmla="*/ 65 w 76"/>
                <a:gd name="T45" fmla="*/ 65 h 76"/>
                <a:gd name="T46" fmla="*/ 70 w 76"/>
                <a:gd name="T47" fmla="*/ 59 h 76"/>
                <a:gd name="T48" fmla="*/ 73 w 76"/>
                <a:gd name="T49" fmla="*/ 52 h 76"/>
                <a:gd name="T50" fmla="*/ 75 w 76"/>
                <a:gd name="T51" fmla="*/ 46 h 76"/>
                <a:gd name="T52" fmla="*/ 76 w 76"/>
                <a:gd name="T53" fmla="*/ 38 h 76"/>
                <a:gd name="T54" fmla="*/ 75 w 76"/>
                <a:gd name="T55" fmla="*/ 30 h 76"/>
                <a:gd name="T56" fmla="*/ 73 w 76"/>
                <a:gd name="T57" fmla="*/ 23 h 76"/>
                <a:gd name="T58" fmla="*/ 70 w 76"/>
                <a:gd name="T59" fmla="*/ 17 h 76"/>
                <a:gd name="T60" fmla="*/ 65 w 76"/>
                <a:gd name="T61" fmla="*/ 11 h 76"/>
                <a:gd name="T62" fmla="*/ 59 w 76"/>
                <a:gd name="T63" fmla="*/ 6 h 76"/>
                <a:gd name="T64" fmla="*/ 53 w 76"/>
                <a:gd name="T65" fmla="*/ 3 h 76"/>
                <a:gd name="T66" fmla="*/ 45 w 76"/>
                <a:gd name="T67" fmla="*/ 1 h 76"/>
                <a:gd name="T68" fmla="*/ 38 w 76"/>
                <a:gd name="T69" fmla="*/ 0 h 76"/>
                <a:gd name="T70" fmla="*/ 30 w 76"/>
                <a:gd name="T71" fmla="*/ 1 h 76"/>
                <a:gd name="T72" fmla="*/ 23 w 76"/>
                <a:gd name="T73" fmla="*/ 3 h 76"/>
                <a:gd name="T74" fmla="*/ 17 w 76"/>
                <a:gd name="T75" fmla="*/ 6 h 76"/>
                <a:gd name="T76" fmla="*/ 11 w 76"/>
                <a:gd name="T77" fmla="*/ 11 h 76"/>
                <a:gd name="T78" fmla="*/ 7 w 76"/>
                <a:gd name="T79" fmla="*/ 17 h 76"/>
                <a:gd name="T80" fmla="*/ 4 w 76"/>
                <a:gd name="T81" fmla="*/ 23 h 76"/>
                <a:gd name="T82" fmla="*/ 2 w 76"/>
                <a:gd name="T83" fmla="*/ 30 h 76"/>
                <a:gd name="T84" fmla="*/ 0 w 76"/>
                <a:gd name="T85" fmla="*/ 38 h 76"/>
                <a:gd name="T86" fmla="*/ 2 w 76"/>
                <a:gd name="T87" fmla="*/ 46 h 76"/>
                <a:gd name="T88" fmla="*/ 4 w 76"/>
                <a:gd name="T89" fmla="*/ 52 h 76"/>
                <a:gd name="T90" fmla="*/ 7 w 76"/>
                <a:gd name="T91" fmla="*/ 59 h 76"/>
                <a:gd name="T92" fmla="*/ 11 w 76"/>
                <a:gd name="T93" fmla="*/ 65 h 76"/>
                <a:gd name="T94" fmla="*/ 17 w 76"/>
                <a:gd name="T95" fmla="*/ 69 h 76"/>
                <a:gd name="T96" fmla="*/ 23 w 76"/>
                <a:gd name="T97" fmla="*/ 72 h 76"/>
                <a:gd name="T98" fmla="*/ 30 w 76"/>
                <a:gd name="T99" fmla="*/ 75 h 76"/>
                <a:gd name="T100" fmla="*/ 38 w 76"/>
                <a:gd name="T101" fmla="*/ 76 h 76"/>
                <a:gd name="T102" fmla="*/ 38 w 76"/>
                <a:gd name="T10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76">
                  <a:moveTo>
                    <a:pt x="38" y="30"/>
                  </a:moveTo>
                  <a:lnTo>
                    <a:pt x="41" y="31"/>
                  </a:lnTo>
                  <a:lnTo>
                    <a:pt x="43" y="32"/>
                  </a:lnTo>
                  <a:lnTo>
                    <a:pt x="45" y="35"/>
                  </a:lnTo>
                  <a:lnTo>
                    <a:pt x="47" y="38"/>
                  </a:lnTo>
                  <a:lnTo>
                    <a:pt x="45" y="40"/>
                  </a:lnTo>
                  <a:lnTo>
                    <a:pt x="43" y="44"/>
                  </a:lnTo>
                  <a:lnTo>
                    <a:pt x="41" y="45"/>
                  </a:lnTo>
                  <a:lnTo>
                    <a:pt x="38" y="46"/>
                  </a:lnTo>
                  <a:lnTo>
                    <a:pt x="35" y="45"/>
                  </a:lnTo>
                  <a:lnTo>
                    <a:pt x="33" y="44"/>
                  </a:lnTo>
                  <a:lnTo>
                    <a:pt x="30" y="40"/>
                  </a:lnTo>
                  <a:lnTo>
                    <a:pt x="30" y="38"/>
                  </a:lnTo>
                  <a:lnTo>
                    <a:pt x="30" y="35"/>
                  </a:lnTo>
                  <a:lnTo>
                    <a:pt x="33" y="32"/>
                  </a:lnTo>
                  <a:lnTo>
                    <a:pt x="35" y="31"/>
                  </a:lnTo>
                  <a:lnTo>
                    <a:pt x="38" y="30"/>
                  </a:lnTo>
                  <a:lnTo>
                    <a:pt x="38" y="30"/>
                  </a:lnTo>
                  <a:close/>
                  <a:moveTo>
                    <a:pt x="38" y="76"/>
                  </a:moveTo>
                  <a:lnTo>
                    <a:pt x="45" y="75"/>
                  </a:lnTo>
                  <a:lnTo>
                    <a:pt x="53" y="72"/>
                  </a:lnTo>
                  <a:lnTo>
                    <a:pt x="59" y="69"/>
                  </a:lnTo>
                  <a:lnTo>
                    <a:pt x="65" y="65"/>
                  </a:lnTo>
                  <a:lnTo>
                    <a:pt x="70" y="59"/>
                  </a:lnTo>
                  <a:lnTo>
                    <a:pt x="73" y="52"/>
                  </a:lnTo>
                  <a:lnTo>
                    <a:pt x="75" y="46"/>
                  </a:lnTo>
                  <a:lnTo>
                    <a:pt x="76" y="38"/>
                  </a:lnTo>
                  <a:lnTo>
                    <a:pt x="75" y="30"/>
                  </a:lnTo>
                  <a:lnTo>
                    <a:pt x="73" y="23"/>
                  </a:lnTo>
                  <a:lnTo>
                    <a:pt x="70" y="17"/>
                  </a:lnTo>
                  <a:lnTo>
                    <a:pt x="65" y="11"/>
                  </a:lnTo>
                  <a:lnTo>
                    <a:pt x="59" y="6"/>
                  </a:lnTo>
                  <a:lnTo>
                    <a:pt x="53" y="3"/>
                  </a:lnTo>
                  <a:lnTo>
                    <a:pt x="45" y="1"/>
                  </a:lnTo>
                  <a:lnTo>
                    <a:pt x="38" y="0"/>
                  </a:lnTo>
                  <a:lnTo>
                    <a:pt x="30" y="1"/>
                  </a:lnTo>
                  <a:lnTo>
                    <a:pt x="23" y="3"/>
                  </a:lnTo>
                  <a:lnTo>
                    <a:pt x="17" y="6"/>
                  </a:lnTo>
                  <a:lnTo>
                    <a:pt x="11" y="11"/>
                  </a:lnTo>
                  <a:lnTo>
                    <a:pt x="7" y="17"/>
                  </a:lnTo>
                  <a:lnTo>
                    <a:pt x="4" y="23"/>
                  </a:lnTo>
                  <a:lnTo>
                    <a:pt x="2" y="30"/>
                  </a:lnTo>
                  <a:lnTo>
                    <a:pt x="0" y="38"/>
                  </a:lnTo>
                  <a:lnTo>
                    <a:pt x="2" y="46"/>
                  </a:lnTo>
                  <a:lnTo>
                    <a:pt x="4" y="52"/>
                  </a:lnTo>
                  <a:lnTo>
                    <a:pt x="7" y="59"/>
                  </a:lnTo>
                  <a:lnTo>
                    <a:pt x="11" y="65"/>
                  </a:lnTo>
                  <a:lnTo>
                    <a:pt x="17" y="69"/>
                  </a:lnTo>
                  <a:lnTo>
                    <a:pt x="23" y="72"/>
                  </a:lnTo>
                  <a:lnTo>
                    <a:pt x="30" y="75"/>
                  </a:lnTo>
                  <a:lnTo>
                    <a:pt x="38" y="76"/>
                  </a:lnTo>
                  <a:lnTo>
                    <a:pt x="3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3" name="Freeform 188">
              <a:extLst>
                <a:ext uri="{FF2B5EF4-FFF2-40B4-BE49-F238E27FC236}">
                  <a16:creationId xmlns:a16="http://schemas.microsoft.com/office/drawing/2014/main" id="{56C8724E-5DFA-48F1-8772-9C785B6772E6}"/>
                </a:ext>
              </a:extLst>
            </p:cNvPr>
            <p:cNvSpPr>
              <a:spLocks noEditPoints="1"/>
            </p:cNvSpPr>
            <p:nvPr/>
          </p:nvSpPr>
          <p:spPr bwMode="auto">
            <a:xfrm>
              <a:off x="1608138" y="844551"/>
              <a:ext cx="23813" cy="23813"/>
            </a:xfrm>
            <a:custGeom>
              <a:avLst/>
              <a:gdLst>
                <a:gd name="T0" fmla="*/ 38 w 76"/>
                <a:gd name="T1" fmla="*/ 30 h 75"/>
                <a:gd name="T2" fmla="*/ 41 w 76"/>
                <a:gd name="T3" fmla="*/ 30 h 75"/>
                <a:gd name="T4" fmla="*/ 43 w 76"/>
                <a:gd name="T5" fmla="*/ 32 h 75"/>
                <a:gd name="T6" fmla="*/ 45 w 76"/>
                <a:gd name="T7" fmla="*/ 34 h 75"/>
                <a:gd name="T8" fmla="*/ 47 w 76"/>
                <a:gd name="T9" fmla="*/ 37 h 75"/>
                <a:gd name="T10" fmla="*/ 45 w 76"/>
                <a:gd name="T11" fmla="*/ 40 h 75"/>
                <a:gd name="T12" fmla="*/ 43 w 76"/>
                <a:gd name="T13" fmla="*/ 42 h 75"/>
                <a:gd name="T14" fmla="*/ 41 w 76"/>
                <a:gd name="T15" fmla="*/ 45 h 75"/>
                <a:gd name="T16" fmla="*/ 38 w 76"/>
                <a:gd name="T17" fmla="*/ 45 h 75"/>
                <a:gd name="T18" fmla="*/ 35 w 76"/>
                <a:gd name="T19" fmla="*/ 45 h 75"/>
                <a:gd name="T20" fmla="*/ 33 w 76"/>
                <a:gd name="T21" fmla="*/ 42 h 75"/>
                <a:gd name="T22" fmla="*/ 30 w 76"/>
                <a:gd name="T23" fmla="*/ 40 h 75"/>
                <a:gd name="T24" fmla="*/ 30 w 76"/>
                <a:gd name="T25" fmla="*/ 37 h 75"/>
                <a:gd name="T26" fmla="*/ 30 w 76"/>
                <a:gd name="T27" fmla="*/ 34 h 75"/>
                <a:gd name="T28" fmla="*/ 33 w 76"/>
                <a:gd name="T29" fmla="*/ 32 h 75"/>
                <a:gd name="T30" fmla="*/ 35 w 76"/>
                <a:gd name="T31" fmla="*/ 30 h 75"/>
                <a:gd name="T32" fmla="*/ 38 w 76"/>
                <a:gd name="T33" fmla="*/ 30 h 75"/>
                <a:gd name="T34" fmla="*/ 38 w 76"/>
                <a:gd name="T35" fmla="*/ 30 h 75"/>
                <a:gd name="T36" fmla="*/ 38 w 76"/>
                <a:gd name="T37" fmla="*/ 75 h 75"/>
                <a:gd name="T38" fmla="*/ 45 w 76"/>
                <a:gd name="T39" fmla="*/ 75 h 75"/>
                <a:gd name="T40" fmla="*/ 53 w 76"/>
                <a:gd name="T41" fmla="*/ 72 h 75"/>
                <a:gd name="T42" fmla="*/ 59 w 76"/>
                <a:gd name="T43" fmla="*/ 68 h 75"/>
                <a:gd name="T44" fmla="*/ 65 w 76"/>
                <a:gd name="T45" fmla="*/ 64 h 75"/>
                <a:gd name="T46" fmla="*/ 70 w 76"/>
                <a:gd name="T47" fmla="*/ 58 h 75"/>
                <a:gd name="T48" fmla="*/ 73 w 76"/>
                <a:gd name="T49" fmla="*/ 52 h 75"/>
                <a:gd name="T50" fmla="*/ 75 w 76"/>
                <a:gd name="T51" fmla="*/ 45 h 75"/>
                <a:gd name="T52" fmla="*/ 76 w 76"/>
                <a:gd name="T53" fmla="*/ 37 h 75"/>
                <a:gd name="T54" fmla="*/ 75 w 76"/>
                <a:gd name="T55" fmla="*/ 30 h 75"/>
                <a:gd name="T56" fmla="*/ 73 w 76"/>
                <a:gd name="T57" fmla="*/ 22 h 75"/>
                <a:gd name="T58" fmla="*/ 70 w 76"/>
                <a:gd name="T59" fmla="*/ 16 h 75"/>
                <a:gd name="T60" fmla="*/ 65 w 76"/>
                <a:gd name="T61" fmla="*/ 10 h 75"/>
                <a:gd name="T62" fmla="*/ 59 w 76"/>
                <a:gd name="T63" fmla="*/ 6 h 75"/>
                <a:gd name="T64" fmla="*/ 53 w 76"/>
                <a:gd name="T65" fmla="*/ 2 h 75"/>
                <a:gd name="T66" fmla="*/ 45 w 76"/>
                <a:gd name="T67" fmla="*/ 0 h 75"/>
                <a:gd name="T68" fmla="*/ 38 w 76"/>
                <a:gd name="T69" fmla="*/ 0 h 75"/>
                <a:gd name="T70" fmla="*/ 30 w 76"/>
                <a:gd name="T71" fmla="*/ 0 h 75"/>
                <a:gd name="T72" fmla="*/ 23 w 76"/>
                <a:gd name="T73" fmla="*/ 2 h 75"/>
                <a:gd name="T74" fmla="*/ 17 w 76"/>
                <a:gd name="T75" fmla="*/ 6 h 75"/>
                <a:gd name="T76" fmla="*/ 11 w 76"/>
                <a:gd name="T77" fmla="*/ 10 h 75"/>
                <a:gd name="T78" fmla="*/ 7 w 76"/>
                <a:gd name="T79" fmla="*/ 16 h 75"/>
                <a:gd name="T80" fmla="*/ 4 w 76"/>
                <a:gd name="T81" fmla="*/ 22 h 75"/>
                <a:gd name="T82" fmla="*/ 2 w 76"/>
                <a:gd name="T83" fmla="*/ 30 h 75"/>
                <a:gd name="T84" fmla="*/ 0 w 76"/>
                <a:gd name="T85" fmla="*/ 37 h 75"/>
                <a:gd name="T86" fmla="*/ 2 w 76"/>
                <a:gd name="T87" fmla="*/ 45 h 75"/>
                <a:gd name="T88" fmla="*/ 4 w 76"/>
                <a:gd name="T89" fmla="*/ 52 h 75"/>
                <a:gd name="T90" fmla="*/ 7 w 76"/>
                <a:gd name="T91" fmla="*/ 58 h 75"/>
                <a:gd name="T92" fmla="*/ 11 w 76"/>
                <a:gd name="T93" fmla="*/ 64 h 75"/>
                <a:gd name="T94" fmla="*/ 17 w 76"/>
                <a:gd name="T95" fmla="*/ 68 h 75"/>
                <a:gd name="T96" fmla="*/ 23 w 76"/>
                <a:gd name="T97" fmla="*/ 72 h 75"/>
                <a:gd name="T98" fmla="*/ 30 w 76"/>
                <a:gd name="T99" fmla="*/ 75 h 75"/>
                <a:gd name="T100" fmla="*/ 38 w 76"/>
                <a:gd name="T10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75">
                  <a:moveTo>
                    <a:pt x="38" y="30"/>
                  </a:moveTo>
                  <a:lnTo>
                    <a:pt x="41" y="30"/>
                  </a:lnTo>
                  <a:lnTo>
                    <a:pt x="43" y="32"/>
                  </a:lnTo>
                  <a:lnTo>
                    <a:pt x="45" y="34"/>
                  </a:lnTo>
                  <a:lnTo>
                    <a:pt x="47" y="37"/>
                  </a:lnTo>
                  <a:lnTo>
                    <a:pt x="45" y="40"/>
                  </a:lnTo>
                  <a:lnTo>
                    <a:pt x="43" y="42"/>
                  </a:lnTo>
                  <a:lnTo>
                    <a:pt x="41" y="45"/>
                  </a:lnTo>
                  <a:lnTo>
                    <a:pt x="38" y="45"/>
                  </a:lnTo>
                  <a:lnTo>
                    <a:pt x="35" y="45"/>
                  </a:lnTo>
                  <a:lnTo>
                    <a:pt x="33" y="42"/>
                  </a:lnTo>
                  <a:lnTo>
                    <a:pt x="30" y="40"/>
                  </a:lnTo>
                  <a:lnTo>
                    <a:pt x="30" y="37"/>
                  </a:lnTo>
                  <a:lnTo>
                    <a:pt x="30" y="34"/>
                  </a:lnTo>
                  <a:lnTo>
                    <a:pt x="33" y="32"/>
                  </a:lnTo>
                  <a:lnTo>
                    <a:pt x="35" y="30"/>
                  </a:lnTo>
                  <a:lnTo>
                    <a:pt x="38" y="30"/>
                  </a:lnTo>
                  <a:lnTo>
                    <a:pt x="38" y="30"/>
                  </a:lnTo>
                  <a:close/>
                  <a:moveTo>
                    <a:pt x="38" y="75"/>
                  </a:moveTo>
                  <a:lnTo>
                    <a:pt x="45" y="75"/>
                  </a:lnTo>
                  <a:lnTo>
                    <a:pt x="53" y="72"/>
                  </a:lnTo>
                  <a:lnTo>
                    <a:pt x="59" y="68"/>
                  </a:lnTo>
                  <a:lnTo>
                    <a:pt x="65" y="64"/>
                  </a:lnTo>
                  <a:lnTo>
                    <a:pt x="70" y="58"/>
                  </a:lnTo>
                  <a:lnTo>
                    <a:pt x="73" y="52"/>
                  </a:lnTo>
                  <a:lnTo>
                    <a:pt x="75" y="45"/>
                  </a:lnTo>
                  <a:lnTo>
                    <a:pt x="76" y="37"/>
                  </a:lnTo>
                  <a:lnTo>
                    <a:pt x="75" y="30"/>
                  </a:lnTo>
                  <a:lnTo>
                    <a:pt x="73" y="22"/>
                  </a:lnTo>
                  <a:lnTo>
                    <a:pt x="70" y="16"/>
                  </a:lnTo>
                  <a:lnTo>
                    <a:pt x="65" y="10"/>
                  </a:lnTo>
                  <a:lnTo>
                    <a:pt x="59" y="6"/>
                  </a:lnTo>
                  <a:lnTo>
                    <a:pt x="53" y="2"/>
                  </a:lnTo>
                  <a:lnTo>
                    <a:pt x="45" y="0"/>
                  </a:lnTo>
                  <a:lnTo>
                    <a:pt x="38" y="0"/>
                  </a:lnTo>
                  <a:lnTo>
                    <a:pt x="30" y="0"/>
                  </a:lnTo>
                  <a:lnTo>
                    <a:pt x="23" y="2"/>
                  </a:lnTo>
                  <a:lnTo>
                    <a:pt x="17" y="6"/>
                  </a:lnTo>
                  <a:lnTo>
                    <a:pt x="11" y="10"/>
                  </a:lnTo>
                  <a:lnTo>
                    <a:pt x="7" y="16"/>
                  </a:lnTo>
                  <a:lnTo>
                    <a:pt x="4" y="22"/>
                  </a:lnTo>
                  <a:lnTo>
                    <a:pt x="2" y="30"/>
                  </a:lnTo>
                  <a:lnTo>
                    <a:pt x="0" y="37"/>
                  </a:lnTo>
                  <a:lnTo>
                    <a:pt x="2" y="45"/>
                  </a:lnTo>
                  <a:lnTo>
                    <a:pt x="4" y="52"/>
                  </a:lnTo>
                  <a:lnTo>
                    <a:pt x="7" y="58"/>
                  </a:lnTo>
                  <a:lnTo>
                    <a:pt x="11" y="64"/>
                  </a:lnTo>
                  <a:lnTo>
                    <a:pt x="17" y="68"/>
                  </a:lnTo>
                  <a:lnTo>
                    <a:pt x="23" y="72"/>
                  </a:lnTo>
                  <a:lnTo>
                    <a:pt x="30"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4" name="Freeform 189">
              <a:extLst>
                <a:ext uri="{FF2B5EF4-FFF2-40B4-BE49-F238E27FC236}">
                  <a16:creationId xmlns:a16="http://schemas.microsoft.com/office/drawing/2014/main" id="{E7042651-DBE0-4E7E-9C3E-320CB450258B}"/>
                </a:ext>
              </a:extLst>
            </p:cNvPr>
            <p:cNvSpPr>
              <a:spLocks noEditPoints="1"/>
            </p:cNvSpPr>
            <p:nvPr/>
          </p:nvSpPr>
          <p:spPr bwMode="auto">
            <a:xfrm>
              <a:off x="1643063" y="844551"/>
              <a:ext cx="25400" cy="23813"/>
            </a:xfrm>
            <a:custGeom>
              <a:avLst/>
              <a:gdLst>
                <a:gd name="T0" fmla="*/ 30 w 76"/>
                <a:gd name="T1" fmla="*/ 37 h 75"/>
                <a:gd name="T2" fmla="*/ 31 w 76"/>
                <a:gd name="T3" fmla="*/ 34 h 75"/>
                <a:gd name="T4" fmla="*/ 32 w 76"/>
                <a:gd name="T5" fmla="*/ 32 h 75"/>
                <a:gd name="T6" fmla="*/ 35 w 76"/>
                <a:gd name="T7" fmla="*/ 30 h 75"/>
                <a:gd name="T8" fmla="*/ 37 w 76"/>
                <a:gd name="T9" fmla="*/ 30 h 75"/>
                <a:gd name="T10" fmla="*/ 41 w 76"/>
                <a:gd name="T11" fmla="*/ 30 h 75"/>
                <a:gd name="T12" fmla="*/ 44 w 76"/>
                <a:gd name="T13" fmla="*/ 32 h 75"/>
                <a:gd name="T14" fmla="*/ 45 w 76"/>
                <a:gd name="T15" fmla="*/ 34 h 75"/>
                <a:gd name="T16" fmla="*/ 46 w 76"/>
                <a:gd name="T17" fmla="*/ 37 h 75"/>
                <a:gd name="T18" fmla="*/ 45 w 76"/>
                <a:gd name="T19" fmla="*/ 40 h 75"/>
                <a:gd name="T20" fmla="*/ 44 w 76"/>
                <a:gd name="T21" fmla="*/ 42 h 75"/>
                <a:gd name="T22" fmla="*/ 41 w 76"/>
                <a:gd name="T23" fmla="*/ 45 h 75"/>
                <a:gd name="T24" fmla="*/ 37 w 76"/>
                <a:gd name="T25" fmla="*/ 45 h 75"/>
                <a:gd name="T26" fmla="*/ 35 w 76"/>
                <a:gd name="T27" fmla="*/ 45 h 75"/>
                <a:gd name="T28" fmla="*/ 32 w 76"/>
                <a:gd name="T29" fmla="*/ 42 h 75"/>
                <a:gd name="T30" fmla="*/ 31 w 76"/>
                <a:gd name="T31" fmla="*/ 40 h 75"/>
                <a:gd name="T32" fmla="*/ 30 w 76"/>
                <a:gd name="T33" fmla="*/ 37 h 75"/>
                <a:gd name="T34" fmla="*/ 76 w 76"/>
                <a:gd name="T35" fmla="*/ 37 h 75"/>
                <a:gd name="T36" fmla="*/ 75 w 76"/>
                <a:gd name="T37" fmla="*/ 30 h 75"/>
                <a:gd name="T38" fmla="*/ 73 w 76"/>
                <a:gd name="T39" fmla="*/ 22 h 75"/>
                <a:gd name="T40" fmla="*/ 69 w 76"/>
                <a:gd name="T41" fmla="*/ 16 h 75"/>
                <a:gd name="T42" fmla="*/ 64 w 76"/>
                <a:gd name="T43" fmla="*/ 10 h 75"/>
                <a:gd name="T44" fmla="*/ 59 w 76"/>
                <a:gd name="T45" fmla="*/ 6 h 75"/>
                <a:gd name="T46" fmla="*/ 52 w 76"/>
                <a:gd name="T47" fmla="*/ 2 h 75"/>
                <a:gd name="T48" fmla="*/ 45 w 76"/>
                <a:gd name="T49" fmla="*/ 0 h 75"/>
                <a:gd name="T50" fmla="*/ 37 w 76"/>
                <a:gd name="T51" fmla="*/ 0 h 75"/>
                <a:gd name="T52" fmla="*/ 30 w 76"/>
                <a:gd name="T53" fmla="*/ 0 h 75"/>
                <a:gd name="T54" fmla="*/ 23 w 76"/>
                <a:gd name="T55" fmla="*/ 2 h 75"/>
                <a:gd name="T56" fmla="*/ 17 w 76"/>
                <a:gd name="T57" fmla="*/ 6 h 75"/>
                <a:gd name="T58" fmla="*/ 11 w 76"/>
                <a:gd name="T59" fmla="*/ 10 h 75"/>
                <a:gd name="T60" fmla="*/ 6 w 76"/>
                <a:gd name="T61" fmla="*/ 16 h 75"/>
                <a:gd name="T62" fmla="*/ 3 w 76"/>
                <a:gd name="T63" fmla="*/ 22 h 75"/>
                <a:gd name="T64" fmla="*/ 1 w 76"/>
                <a:gd name="T65" fmla="*/ 30 h 75"/>
                <a:gd name="T66" fmla="*/ 0 w 76"/>
                <a:gd name="T67" fmla="*/ 37 h 75"/>
                <a:gd name="T68" fmla="*/ 1 w 76"/>
                <a:gd name="T69" fmla="*/ 45 h 75"/>
                <a:gd name="T70" fmla="*/ 3 w 76"/>
                <a:gd name="T71" fmla="*/ 52 h 75"/>
                <a:gd name="T72" fmla="*/ 6 w 76"/>
                <a:gd name="T73" fmla="*/ 58 h 75"/>
                <a:gd name="T74" fmla="*/ 11 w 76"/>
                <a:gd name="T75" fmla="*/ 64 h 75"/>
                <a:gd name="T76" fmla="*/ 17 w 76"/>
                <a:gd name="T77" fmla="*/ 68 h 75"/>
                <a:gd name="T78" fmla="*/ 23 w 76"/>
                <a:gd name="T79" fmla="*/ 72 h 75"/>
                <a:gd name="T80" fmla="*/ 30 w 76"/>
                <a:gd name="T81" fmla="*/ 75 h 75"/>
                <a:gd name="T82" fmla="*/ 37 w 76"/>
                <a:gd name="T83" fmla="*/ 75 h 75"/>
                <a:gd name="T84" fmla="*/ 45 w 76"/>
                <a:gd name="T85" fmla="*/ 75 h 75"/>
                <a:gd name="T86" fmla="*/ 52 w 76"/>
                <a:gd name="T87" fmla="*/ 72 h 75"/>
                <a:gd name="T88" fmla="*/ 59 w 76"/>
                <a:gd name="T89" fmla="*/ 68 h 75"/>
                <a:gd name="T90" fmla="*/ 64 w 76"/>
                <a:gd name="T91" fmla="*/ 64 h 75"/>
                <a:gd name="T92" fmla="*/ 69 w 76"/>
                <a:gd name="T93" fmla="*/ 58 h 75"/>
                <a:gd name="T94" fmla="*/ 73 w 76"/>
                <a:gd name="T95" fmla="*/ 52 h 75"/>
                <a:gd name="T96" fmla="*/ 75 w 76"/>
                <a:gd name="T97" fmla="*/ 45 h 75"/>
                <a:gd name="T98" fmla="*/ 76 w 76"/>
                <a:gd name="T9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75">
                  <a:moveTo>
                    <a:pt x="30" y="37"/>
                  </a:moveTo>
                  <a:lnTo>
                    <a:pt x="31" y="34"/>
                  </a:lnTo>
                  <a:lnTo>
                    <a:pt x="32" y="32"/>
                  </a:lnTo>
                  <a:lnTo>
                    <a:pt x="35" y="30"/>
                  </a:lnTo>
                  <a:lnTo>
                    <a:pt x="37" y="30"/>
                  </a:lnTo>
                  <a:lnTo>
                    <a:pt x="41" y="30"/>
                  </a:lnTo>
                  <a:lnTo>
                    <a:pt x="44" y="32"/>
                  </a:lnTo>
                  <a:lnTo>
                    <a:pt x="45" y="34"/>
                  </a:lnTo>
                  <a:lnTo>
                    <a:pt x="46" y="37"/>
                  </a:lnTo>
                  <a:lnTo>
                    <a:pt x="45" y="40"/>
                  </a:lnTo>
                  <a:lnTo>
                    <a:pt x="44" y="42"/>
                  </a:lnTo>
                  <a:lnTo>
                    <a:pt x="41" y="45"/>
                  </a:lnTo>
                  <a:lnTo>
                    <a:pt x="37" y="45"/>
                  </a:lnTo>
                  <a:lnTo>
                    <a:pt x="35" y="45"/>
                  </a:lnTo>
                  <a:lnTo>
                    <a:pt x="32" y="42"/>
                  </a:lnTo>
                  <a:lnTo>
                    <a:pt x="31" y="40"/>
                  </a:lnTo>
                  <a:lnTo>
                    <a:pt x="30" y="37"/>
                  </a:lnTo>
                  <a:close/>
                  <a:moveTo>
                    <a:pt x="76" y="37"/>
                  </a:moveTo>
                  <a:lnTo>
                    <a:pt x="75" y="30"/>
                  </a:lnTo>
                  <a:lnTo>
                    <a:pt x="73" y="22"/>
                  </a:lnTo>
                  <a:lnTo>
                    <a:pt x="69" y="16"/>
                  </a:lnTo>
                  <a:lnTo>
                    <a:pt x="64" y="10"/>
                  </a:lnTo>
                  <a:lnTo>
                    <a:pt x="59" y="6"/>
                  </a:lnTo>
                  <a:lnTo>
                    <a:pt x="52" y="2"/>
                  </a:lnTo>
                  <a:lnTo>
                    <a:pt x="45" y="0"/>
                  </a:lnTo>
                  <a:lnTo>
                    <a:pt x="37" y="0"/>
                  </a:lnTo>
                  <a:lnTo>
                    <a:pt x="30" y="0"/>
                  </a:lnTo>
                  <a:lnTo>
                    <a:pt x="23" y="2"/>
                  </a:lnTo>
                  <a:lnTo>
                    <a:pt x="17" y="6"/>
                  </a:lnTo>
                  <a:lnTo>
                    <a:pt x="11" y="10"/>
                  </a:lnTo>
                  <a:lnTo>
                    <a:pt x="6" y="16"/>
                  </a:lnTo>
                  <a:lnTo>
                    <a:pt x="3" y="22"/>
                  </a:lnTo>
                  <a:lnTo>
                    <a:pt x="1" y="30"/>
                  </a:lnTo>
                  <a:lnTo>
                    <a:pt x="0" y="37"/>
                  </a:lnTo>
                  <a:lnTo>
                    <a:pt x="1" y="45"/>
                  </a:lnTo>
                  <a:lnTo>
                    <a:pt x="3" y="52"/>
                  </a:lnTo>
                  <a:lnTo>
                    <a:pt x="6" y="58"/>
                  </a:lnTo>
                  <a:lnTo>
                    <a:pt x="11" y="64"/>
                  </a:lnTo>
                  <a:lnTo>
                    <a:pt x="17" y="68"/>
                  </a:lnTo>
                  <a:lnTo>
                    <a:pt x="23" y="72"/>
                  </a:lnTo>
                  <a:lnTo>
                    <a:pt x="30" y="75"/>
                  </a:lnTo>
                  <a:lnTo>
                    <a:pt x="37" y="75"/>
                  </a:lnTo>
                  <a:lnTo>
                    <a:pt x="45" y="75"/>
                  </a:lnTo>
                  <a:lnTo>
                    <a:pt x="52" y="72"/>
                  </a:lnTo>
                  <a:lnTo>
                    <a:pt x="59" y="68"/>
                  </a:lnTo>
                  <a:lnTo>
                    <a:pt x="64" y="64"/>
                  </a:lnTo>
                  <a:lnTo>
                    <a:pt x="69" y="58"/>
                  </a:lnTo>
                  <a:lnTo>
                    <a:pt x="73" y="52"/>
                  </a:lnTo>
                  <a:lnTo>
                    <a:pt x="75" y="45"/>
                  </a:lnTo>
                  <a:lnTo>
                    <a:pt x="7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5" name="Freeform 190">
              <a:extLst>
                <a:ext uri="{FF2B5EF4-FFF2-40B4-BE49-F238E27FC236}">
                  <a16:creationId xmlns:a16="http://schemas.microsoft.com/office/drawing/2014/main" id="{D6016306-C2EC-442F-98A2-F4798CAB68CA}"/>
                </a:ext>
              </a:extLst>
            </p:cNvPr>
            <p:cNvSpPr>
              <a:spLocks noEditPoints="1"/>
            </p:cNvSpPr>
            <p:nvPr/>
          </p:nvSpPr>
          <p:spPr bwMode="auto">
            <a:xfrm>
              <a:off x="1679575" y="844551"/>
              <a:ext cx="23813" cy="23813"/>
            </a:xfrm>
            <a:custGeom>
              <a:avLst/>
              <a:gdLst>
                <a:gd name="T0" fmla="*/ 30 w 76"/>
                <a:gd name="T1" fmla="*/ 37 h 75"/>
                <a:gd name="T2" fmla="*/ 31 w 76"/>
                <a:gd name="T3" fmla="*/ 34 h 75"/>
                <a:gd name="T4" fmla="*/ 32 w 76"/>
                <a:gd name="T5" fmla="*/ 32 h 75"/>
                <a:gd name="T6" fmla="*/ 36 w 76"/>
                <a:gd name="T7" fmla="*/ 30 h 75"/>
                <a:gd name="T8" fmla="*/ 39 w 76"/>
                <a:gd name="T9" fmla="*/ 30 h 75"/>
                <a:gd name="T10" fmla="*/ 41 w 76"/>
                <a:gd name="T11" fmla="*/ 30 h 75"/>
                <a:gd name="T12" fmla="*/ 44 w 76"/>
                <a:gd name="T13" fmla="*/ 32 h 75"/>
                <a:gd name="T14" fmla="*/ 45 w 76"/>
                <a:gd name="T15" fmla="*/ 34 h 75"/>
                <a:gd name="T16" fmla="*/ 46 w 76"/>
                <a:gd name="T17" fmla="*/ 37 h 75"/>
                <a:gd name="T18" fmla="*/ 45 w 76"/>
                <a:gd name="T19" fmla="*/ 40 h 75"/>
                <a:gd name="T20" fmla="*/ 44 w 76"/>
                <a:gd name="T21" fmla="*/ 42 h 75"/>
                <a:gd name="T22" fmla="*/ 41 w 76"/>
                <a:gd name="T23" fmla="*/ 45 h 75"/>
                <a:gd name="T24" fmla="*/ 39 w 76"/>
                <a:gd name="T25" fmla="*/ 45 h 75"/>
                <a:gd name="T26" fmla="*/ 36 w 76"/>
                <a:gd name="T27" fmla="*/ 45 h 75"/>
                <a:gd name="T28" fmla="*/ 32 w 76"/>
                <a:gd name="T29" fmla="*/ 42 h 75"/>
                <a:gd name="T30" fmla="*/ 31 w 76"/>
                <a:gd name="T31" fmla="*/ 40 h 75"/>
                <a:gd name="T32" fmla="*/ 30 w 76"/>
                <a:gd name="T33" fmla="*/ 37 h 75"/>
                <a:gd name="T34" fmla="*/ 76 w 76"/>
                <a:gd name="T35" fmla="*/ 37 h 75"/>
                <a:gd name="T36" fmla="*/ 75 w 76"/>
                <a:gd name="T37" fmla="*/ 30 h 75"/>
                <a:gd name="T38" fmla="*/ 73 w 76"/>
                <a:gd name="T39" fmla="*/ 22 h 75"/>
                <a:gd name="T40" fmla="*/ 70 w 76"/>
                <a:gd name="T41" fmla="*/ 16 h 75"/>
                <a:gd name="T42" fmla="*/ 66 w 76"/>
                <a:gd name="T43" fmla="*/ 10 h 75"/>
                <a:gd name="T44" fmla="*/ 59 w 76"/>
                <a:gd name="T45" fmla="*/ 6 h 75"/>
                <a:gd name="T46" fmla="*/ 53 w 76"/>
                <a:gd name="T47" fmla="*/ 2 h 75"/>
                <a:gd name="T48" fmla="*/ 46 w 76"/>
                <a:gd name="T49" fmla="*/ 0 h 75"/>
                <a:gd name="T50" fmla="*/ 39 w 76"/>
                <a:gd name="T51" fmla="*/ 0 h 75"/>
                <a:gd name="T52" fmla="*/ 30 w 76"/>
                <a:gd name="T53" fmla="*/ 0 h 75"/>
                <a:gd name="T54" fmla="*/ 24 w 76"/>
                <a:gd name="T55" fmla="*/ 2 h 75"/>
                <a:gd name="T56" fmla="*/ 17 w 76"/>
                <a:gd name="T57" fmla="*/ 6 h 75"/>
                <a:gd name="T58" fmla="*/ 12 w 76"/>
                <a:gd name="T59" fmla="*/ 10 h 75"/>
                <a:gd name="T60" fmla="*/ 7 w 76"/>
                <a:gd name="T61" fmla="*/ 16 h 75"/>
                <a:gd name="T62" fmla="*/ 4 w 76"/>
                <a:gd name="T63" fmla="*/ 22 h 75"/>
                <a:gd name="T64" fmla="*/ 1 w 76"/>
                <a:gd name="T65" fmla="*/ 30 h 75"/>
                <a:gd name="T66" fmla="*/ 0 w 76"/>
                <a:gd name="T67" fmla="*/ 37 h 75"/>
                <a:gd name="T68" fmla="*/ 1 w 76"/>
                <a:gd name="T69" fmla="*/ 45 h 75"/>
                <a:gd name="T70" fmla="*/ 4 w 76"/>
                <a:gd name="T71" fmla="*/ 52 h 75"/>
                <a:gd name="T72" fmla="*/ 7 w 76"/>
                <a:gd name="T73" fmla="*/ 58 h 75"/>
                <a:gd name="T74" fmla="*/ 12 w 76"/>
                <a:gd name="T75" fmla="*/ 64 h 75"/>
                <a:gd name="T76" fmla="*/ 17 w 76"/>
                <a:gd name="T77" fmla="*/ 68 h 75"/>
                <a:gd name="T78" fmla="*/ 24 w 76"/>
                <a:gd name="T79" fmla="*/ 72 h 75"/>
                <a:gd name="T80" fmla="*/ 30 w 76"/>
                <a:gd name="T81" fmla="*/ 75 h 75"/>
                <a:gd name="T82" fmla="*/ 39 w 76"/>
                <a:gd name="T83" fmla="*/ 75 h 75"/>
                <a:gd name="T84" fmla="*/ 46 w 76"/>
                <a:gd name="T85" fmla="*/ 75 h 75"/>
                <a:gd name="T86" fmla="*/ 53 w 76"/>
                <a:gd name="T87" fmla="*/ 72 h 75"/>
                <a:gd name="T88" fmla="*/ 59 w 76"/>
                <a:gd name="T89" fmla="*/ 68 h 75"/>
                <a:gd name="T90" fmla="*/ 66 w 76"/>
                <a:gd name="T91" fmla="*/ 64 h 75"/>
                <a:gd name="T92" fmla="*/ 70 w 76"/>
                <a:gd name="T93" fmla="*/ 58 h 75"/>
                <a:gd name="T94" fmla="*/ 73 w 76"/>
                <a:gd name="T95" fmla="*/ 52 h 75"/>
                <a:gd name="T96" fmla="*/ 75 w 76"/>
                <a:gd name="T97" fmla="*/ 45 h 75"/>
                <a:gd name="T98" fmla="*/ 76 w 76"/>
                <a:gd name="T9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75">
                  <a:moveTo>
                    <a:pt x="30" y="37"/>
                  </a:moveTo>
                  <a:lnTo>
                    <a:pt x="31" y="34"/>
                  </a:lnTo>
                  <a:lnTo>
                    <a:pt x="32" y="32"/>
                  </a:lnTo>
                  <a:lnTo>
                    <a:pt x="36" y="30"/>
                  </a:lnTo>
                  <a:lnTo>
                    <a:pt x="39" y="30"/>
                  </a:lnTo>
                  <a:lnTo>
                    <a:pt x="41" y="30"/>
                  </a:lnTo>
                  <a:lnTo>
                    <a:pt x="44" y="32"/>
                  </a:lnTo>
                  <a:lnTo>
                    <a:pt x="45" y="34"/>
                  </a:lnTo>
                  <a:lnTo>
                    <a:pt x="46" y="37"/>
                  </a:lnTo>
                  <a:lnTo>
                    <a:pt x="45" y="40"/>
                  </a:lnTo>
                  <a:lnTo>
                    <a:pt x="44" y="42"/>
                  </a:lnTo>
                  <a:lnTo>
                    <a:pt x="41" y="45"/>
                  </a:lnTo>
                  <a:lnTo>
                    <a:pt x="39" y="45"/>
                  </a:lnTo>
                  <a:lnTo>
                    <a:pt x="36" y="45"/>
                  </a:lnTo>
                  <a:lnTo>
                    <a:pt x="32" y="42"/>
                  </a:lnTo>
                  <a:lnTo>
                    <a:pt x="31" y="40"/>
                  </a:lnTo>
                  <a:lnTo>
                    <a:pt x="30" y="37"/>
                  </a:lnTo>
                  <a:close/>
                  <a:moveTo>
                    <a:pt x="76" y="37"/>
                  </a:moveTo>
                  <a:lnTo>
                    <a:pt x="75" y="30"/>
                  </a:lnTo>
                  <a:lnTo>
                    <a:pt x="73" y="22"/>
                  </a:lnTo>
                  <a:lnTo>
                    <a:pt x="70" y="16"/>
                  </a:lnTo>
                  <a:lnTo>
                    <a:pt x="66" y="10"/>
                  </a:lnTo>
                  <a:lnTo>
                    <a:pt x="59" y="6"/>
                  </a:lnTo>
                  <a:lnTo>
                    <a:pt x="53" y="2"/>
                  </a:lnTo>
                  <a:lnTo>
                    <a:pt x="46" y="0"/>
                  </a:lnTo>
                  <a:lnTo>
                    <a:pt x="39" y="0"/>
                  </a:lnTo>
                  <a:lnTo>
                    <a:pt x="30" y="0"/>
                  </a:lnTo>
                  <a:lnTo>
                    <a:pt x="24" y="2"/>
                  </a:lnTo>
                  <a:lnTo>
                    <a:pt x="17" y="6"/>
                  </a:lnTo>
                  <a:lnTo>
                    <a:pt x="12" y="10"/>
                  </a:lnTo>
                  <a:lnTo>
                    <a:pt x="7" y="16"/>
                  </a:lnTo>
                  <a:lnTo>
                    <a:pt x="4" y="22"/>
                  </a:lnTo>
                  <a:lnTo>
                    <a:pt x="1" y="30"/>
                  </a:lnTo>
                  <a:lnTo>
                    <a:pt x="0" y="37"/>
                  </a:lnTo>
                  <a:lnTo>
                    <a:pt x="1" y="45"/>
                  </a:lnTo>
                  <a:lnTo>
                    <a:pt x="4" y="52"/>
                  </a:lnTo>
                  <a:lnTo>
                    <a:pt x="7" y="58"/>
                  </a:lnTo>
                  <a:lnTo>
                    <a:pt x="12" y="64"/>
                  </a:lnTo>
                  <a:lnTo>
                    <a:pt x="17" y="68"/>
                  </a:lnTo>
                  <a:lnTo>
                    <a:pt x="24" y="72"/>
                  </a:lnTo>
                  <a:lnTo>
                    <a:pt x="30" y="75"/>
                  </a:lnTo>
                  <a:lnTo>
                    <a:pt x="39" y="75"/>
                  </a:lnTo>
                  <a:lnTo>
                    <a:pt x="46" y="75"/>
                  </a:lnTo>
                  <a:lnTo>
                    <a:pt x="53" y="72"/>
                  </a:lnTo>
                  <a:lnTo>
                    <a:pt x="59" y="68"/>
                  </a:lnTo>
                  <a:lnTo>
                    <a:pt x="66" y="64"/>
                  </a:lnTo>
                  <a:lnTo>
                    <a:pt x="70" y="58"/>
                  </a:lnTo>
                  <a:lnTo>
                    <a:pt x="73" y="52"/>
                  </a:lnTo>
                  <a:lnTo>
                    <a:pt x="75" y="45"/>
                  </a:lnTo>
                  <a:lnTo>
                    <a:pt x="76"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6" name="Freeform 191">
              <a:extLst>
                <a:ext uri="{FF2B5EF4-FFF2-40B4-BE49-F238E27FC236}">
                  <a16:creationId xmlns:a16="http://schemas.microsoft.com/office/drawing/2014/main" id="{4BD36EB4-6E4C-4195-B3C8-5D3F7CFD1273}"/>
                </a:ext>
              </a:extLst>
            </p:cNvPr>
            <p:cNvSpPr>
              <a:spLocks/>
            </p:cNvSpPr>
            <p:nvPr/>
          </p:nvSpPr>
          <p:spPr bwMode="auto">
            <a:xfrm>
              <a:off x="1555750" y="785813"/>
              <a:ext cx="188913" cy="147638"/>
            </a:xfrm>
            <a:custGeom>
              <a:avLst/>
              <a:gdLst>
                <a:gd name="T0" fmla="*/ 348 w 593"/>
                <a:gd name="T1" fmla="*/ 4 h 466"/>
                <a:gd name="T2" fmla="*/ 298 w 593"/>
                <a:gd name="T3" fmla="*/ 22 h 466"/>
                <a:gd name="T4" fmla="*/ 252 w 593"/>
                <a:gd name="T5" fmla="*/ 55 h 466"/>
                <a:gd name="T6" fmla="*/ 197 w 593"/>
                <a:gd name="T7" fmla="*/ 40 h 466"/>
                <a:gd name="T8" fmla="*/ 140 w 593"/>
                <a:gd name="T9" fmla="*/ 44 h 466"/>
                <a:gd name="T10" fmla="*/ 94 w 593"/>
                <a:gd name="T11" fmla="*/ 61 h 466"/>
                <a:gd name="T12" fmla="*/ 67 w 593"/>
                <a:gd name="T13" fmla="*/ 79 h 466"/>
                <a:gd name="T14" fmla="*/ 44 w 593"/>
                <a:gd name="T15" fmla="*/ 100 h 466"/>
                <a:gd name="T16" fmla="*/ 25 w 593"/>
                <a:gd name="T17" fmla="*/ 125 h 466"/>
                <a:gd name="T18" fmla="*/ 10 w 593"/>
                <a:gd name="T19" fmla="*/ 151 h 466"/>
                <a:gd name="T20" fmla="*/ 0 w 593"/>
                <a:gd name="T21" fmla="*/ 181 h 466"/>
                <a:gd name="T22" fmla="*/ 42 w 593"/>
                <a:gd name="T23" fmla="*/ 156 h 466"/>
                <a:gd name="T24" fmla="*/ 73 w 593"/>
                <a:gd name="T25" fmla="*/ 114 h 466"/>
                <a:gd name="T26" fmla="*/ 117 w 593"/>
                <a:gd name="T27" fmla="*/ 84 h 466"/>
                <a:gd name="T28" fmla="*/ 166 w 593"/>
                <a:gd name="T29" fmla="*/ 70 h 466"/>
                <a:gd name="T30" fmla="*/ 216 w 593"/>
                <a:gd name="T31" fmla="*/ 74 h 466"/>
                <a:gd name="T32" fmla="*/ 259 w 593"/>
                <a:gd name="T33" fmla="*/ 90 h 466"/>
                <a:gd name="T34" fmla="*/ 293 w 593"/>
                <a:gd name="T35" fmla="*/ 59 h 466"/>
                <a:gd name="T36" fmla="*/ 336 w 593"/>
                <a:gd name="T37" fmla="*/ 38 h 466"/>
                <a:gd name="T38" fmla="*/ 385 w 593"/>
                <a:gd name="T39" fmla="*/ 30 h 466"/>
                <a:gd name="T40" fmla="*/ 445 w 593"/>
                <a:gd name="T41" fmla="*/ 40 h 466"/>
                <a:gd name="T42" fmla="*/ 492 w 593"/>
                <a:gd name="T43" fmla="*/ 65 h 466"/>
                <a:gd name="T44" fmla="*/ 529 w 593"/>
                <a:gd name="T45" fmla="*/ 101 h 466"/>
                <a:gd name="T46" fmla="*/ 552 w 593"/>
                <a:gd name="T47" fmla="*/ 146 h 466"/>
                <a:gd name="T48" fmla="*/ 563 w 593"/>
                <a:gd name="T49" fmla="*/ 196 h 466"/>
                <a:gd name="T50" fmla="*/ 561 w 593"/>
                <a:gd name="T51" fmla="*/ 245 h 466"/>
                <a:gd name="T52" fmla="*/ 546 w 593"/>
                <a:gd name="T53" fmla="*/ 290 h 466"/>
                <a:gd name="T54" fmla="*/ 521 w 593"/>
                <a:gd name="T55" fmla="*/ 328 h 466"/>
                <a:gd name="T56" fmla="*/ 479 w 593"/>
                <a:gd name="T57" fmla="*/ 359 h 466"/>
                <a:gd name="T58" fmla="*/ 428 w 593"/>
                <a:gd name="T59" fmla="*/ 376 h 466"/>
                <a:gd name="T60" fmla="*/ 381 w 593"/>
                <a:gd name="T61" fmla="*/ 379 h 466"/>
                <a:gd name="T62" fmla="*/ 362 w 593"/>
                <a:gd name="T63" fmla="*/ 404 h 466"/>
                <a:gd name="T64" fmla="*/ 331 w 593"/>
                <a:gd name="T65" fmla="*/ 426 h 466"/>
                <a:gd name="T66" fmla="*/ 307 w 593"/>
                <a:gd name="T67" fmla="*/ 435 h 466"/>
                <a:gd name="T68" fmla="*/ 281 w 593"/>
                <a:gd name="T69" fmla="*/ 435 h 466"/>
                <a:gd name="T70" fmla="*/ 246 w 593"/>
                <a:gd name="T71" fmla="*/ 423 h 466"/>
                <a:gd name="T72" fmla="*/ 219 w 593"/>
                <a:gd name="T73" fmla="*/ 399 h 466"/>
                <a:gd name="T74" fmla="*/ 189 w 593"/>
                <a:gd name="T75" fmla="*/ 408 h 466"/>
                <a:gd name="T76" fmla="*/ 204 w 593"/>
                <a:gd name="T77" fmla="*/ 428 h 466"/>
                <a:gd name="T78" fmla="*/ 222 w 593"/>
                <a:gd name="T79" fmla="*/ 445 h 466"/>
                <a:gd name="T80" fmla="*/ 245 w 593"/>
                <a:gd name="T81" fmla="*/ 456 h 466"/>
                <a:gd name="T82" fmla="*/ 268 w 593"/>
                <a:gd name="T83" fmla="*/ 464 h 466"/>
                <a:gd name="T84" fmla="*/ 294 w 593"/>
                <a:gd name="T85" fmla="*/ 466 h 466"/>
                <a:gd name="T86" fmla="*/ 336 w 593"/>
                <a:gd name="T87" fmla="*/ 457 h 466"/>
                <a:gd name="T88" fmla="*/ 374 w 593"/>
                <a:gd name="T89" fmla="*/ 434 h 466"/>
                <a:gd name="T90" fmla="*/ 418 w 593"/>
                <a:gd name="T91" fmla="*/ 408 h 466"/>
                <a:gd name="T92" fmla="*/ 479 w 593"/>
                <a:gd name="T93" fmla="*/ 392 h 466"/>
                <a:gd name="T94" fmla="*/ 521 w 593"/>
                <a:gd name="T95" fmla="*/ 369 h 466"/>
                <a:gd name="T96" fmla="*/ 542 w 593"/>
                <a:gd name="T97" fmla="*/ 348 h 466"/>
                <a:gd name="T98" fmla="*/ 573 w 593"/>
                <a:gd name="T99" fmla="*/ 303 h 466"/>
                <a:gd name="T100" fmla="*/ 589 w 593"/>
                <a:gd name="T101" fmla="*/ 251 h 466"/>
                <a:gd name="T102" fmla="*/ 593 w 593"/>
                <a:gd name="T103" fmla="*/ 193 h 466"/>
                <a:gd name="T104" fmla="*/ 580 w 593"/>
                <a:gd name="T105" fmla="*/ 136 h 466"/>
                <a:gd name="T106" fmla="*/ 552 w 593"/>
                <a:gd name="T107" fmla="*/ 84 h 466"/>
                <a:gd name="T108" fmla="*/ 510 w 593"/>
                <a:gd name="T109" fmla="*/ 41 h 466"/>
                <a:gd name="T110" fmla="*/ 484 w 593"/>
                <a:gd name="T111" fmla="*/ 24 h 466"/>
                <a:gd name="T112" fmla="*/ 455 w 593"/>
                <a:gd name="T113" fmla="*/ 11 h 466"/>
                <a:gd name="T114" fmla="*/ 422 w 593"/>
                <a:gd name="T115" fmla="*/ 4 h 466"/>
                <a:gd name="T116" fmla="*/ 385 w 593"/>
                <a:gd name="T11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3" h="466">
                  <a:moveTo>
                    <a:pt x="385" y="0"/>
                  </a:moveTo>
                  <a:lnTo>
                    <a:pt x="366" y="2"/>
                  </a:lnTo>
                  <a:lnTo>
                    <a:pt x="348" y="4"/>
                  </a:lnTo>
                  <a:lnTo>
                    <a:pt x="331" y="8"/>
                  </a:lnTo>
                  <a:lnTo>
                    <a:pt x="315" y="14"/>
                  </a:lnTo>
                  <a:lnTo>
                    <a:pt x="298" y="22"/>
                  </a:lnTo>
                  <a:lnTo>
                    <a:pt x="282" y="30"/>
                  </a:lnTo>
                  <a:lnTo>
                    <a:pt x="267" y="42"/>
                  </a:lnTo>
                  <a:lnTo>
                    <a:pt x="252" y="55"/>
                  </a:lnTo>
                  <a:lnTo>
                    <a:pt x="234" y="48"/>
                  </a:lnTo>
                  <a:lnTo>
                    <a:pt x="216" y="43"/>
                  </a:lnTo>
                  <a:lnTo>
                    <a:pt x="197" y="40"/>
                  </a:lnTo>
                  <a:lnTo>
                    <a:pt x="179" y="40"/>
                  </a:lnTo>
                  <a:lnTo>
                    <a:pt x="159" y="41"/>
                  </a:lnTo>
                  <a:lnTo>
                    <a:pt x="140" y="44"/>
                  </a:lnTo>
                  <a:lnTo>
                    <a:pt x="122" y="50"/>
                  </a:lnTo>
                  <a:lnTo>
                    <a:pt x="104" y="57"/>
                  </a:lnTo>
                  <a:lnTo>
                    <a:pt x="94" y="61"/>
                  </a:lnTo>
                  <a:lnTo>
                    <a:pt x="84" y="67"/>
                  </a:lnTo>
                  <a:lnTo>
                    <a:pt x="76" y="72"/>
                  </a:lnTo>
                  <a:lnTo>
                    <a:pt x="67" y="79"/>
                  </a:lnTo>
                  <a:lnTo>
                    <a:pt x="59" y="85"/>
                  </a:lnTo>
                  <a:lnTo>
                    <a:pt x="51" y="92"/>
                  </a:lnTo>
                  <a:lnTo>
                    <a:pt x="44" y="100"/>
                  </a:lnTo>
                  <a:lnTo>
                    <a:pt x="37" y="107"/>
                  </a:lnTo>
                  <a:lnTo>
                    <a:pt x="31" y="116"/>
                  </a:lnTo>
                  <a:lnTo>
                    <a:pt x="25" y="125"/>
                  </a:lnTo>
                  <a:lnTo>
                    <a:pt x="19" y="133"/>
                  </a:lnTo>
                  <a:lnTo>
                    <a:pt x="14" y="143"/>
                  </a:lnTo>
                  <a:lnTo>
                    <a:pt x="10" y="151"/>
                  </a:lnTo>
                  <a:lnTo>
                    <a:pt x="6" y="161"/>
                  </a:lnTo>
                  <a:lnTo>
                    <a:pt x="3" y="172"/>
                  </a:lnTo>
                  <a:lnTo>
                    <a:pt x="0" y="181"/>
                  </a:lnTo>
                  <a:lnTo>
                    <a:pt x="29" y="189"/>
                  </a:lnTo>
                  <a:lnTo>
                    <a:pt x="34" y="172"/>
                  </a:lnTo>
                  <a:lnTo>
                    <a:pt x="42" y="156"/>
                  </a:lnTo>
                  <a:lnTo>
                    <a:pt x="50" y="141"/>
                  </a:lnTo>
                  <a:lnTo>
                    <a:pt x="61" y="127"/>
                  </a:lnTo>
                  <a:lnTo>
                    <a:pt x="73" y="114"/>
                  </a:lnTo>
                  <a:lnTo>
                    <a:pt x="86" y="102"/>
                  </a:lnTo>
                  <a:lnTo>
                    <a:pt x="101" y="92"/>
                  </a:lnTo>
                  <a:lnTo>
                    <a:pt x="117" y="84"/>
                  </a:lnTo>
                  <a:lnTo>
                    <a:pt x="133" y="77"/>
                  </a:lnTo>
                  <a:lnTo>
                    <a:pt x="150" y="73"/>
                  </a:lnTo>
                  <a:lnTo>
                    <a:pt x="166" y="70"/>
                  </a:lnTo>
                  <a:lnTo>
                    <a:pt x="183" y="70"/>
                  </a:lnTo>
                  <a:lnTo>
                    <a:pt x="200" y="71"/>
                  </a:lnTo>
                  <a:lnTo>
                    <a:pt x="216" y="74"/>
                  </a:lnTo>
                  <a:lnTo>
                    <a:pt x="233" y="79"/>
                  </a:lnTo>
                  <a:lnTo>
                    <a:pt x="249" y="86"/>
                  </a:lnTo>
                  <a:lnTo>
                    <a:pt x="259" y="90"/>
                  </a:lnTo>
                  <a:lnTo>
                    <a:pt x="266" y="83"/>
                  </a:lnTo>
                  <a:lnTo>
                    <a:pt x="280" y="70"/>
                  </a:lnTo>
                  <a:lnTo>
                    <a:pt x="293" y="59"/>
                  </a:lnTo>
                  <a:lnTo>
                    <a:pt x="307" y="51"/>
                  </a:lnTo>
                  <a:lnTo>
                    <a:pt x="321" y="43"/>
                  </a:lnTo>
                  <a:lnTo>
                    <a:pt x="336" y="38"/>
                  </a:lnTo>
                  <a:lnTo>
                    <a:pt x="352" y="34"/>
                  </a:lnTo>
                  <a:lnTo>
                    <a:pt x="368" y="31"/>
                  </a:lnTo>
                  <a:lnTo>
                    <a:pt x="385" y="30"/>
                  </a:lnTo>
                  <a:lnTo>
                    <a:pt x="407" y="31"/>
                  </a:lnTo>
                  <a:lnTo>
                    <a:pt x="426" y="35"/>
                  </a:lnTo>
                  <a:lnTo>
                    <a:pt x="445" y="40"/>
                  </a:lnTo>
                  <a:lnTo>
                    <a:pt x="462" y="46"/>
                  </a:lnTo>
                  <a:lnTo>
                    <a:pt x="478" y="55"/>
                  </a:lnTo>
                  <a:lnTo>
                    <a:pt x="492" y="65"/>
                  </a:lnTo>
                  <a:lnTo>
                    <a:pt x="506" y="75"/>
                  </a:lnTo>
                  <a:lnTo>
                    <a:pt x="518" y="88"/>
                  </a:lnTo>
                  <a:lnTo>
                    <a:pt x="529" y="101"/>
                  </a:lnTo>
                  <a:lnTo>
                    <a:pt x="537" y="115"/>
                  </a:lnTo>
                  <a:lnTo>
                    <a:pt x="546" y="130"/>
                  </a:lnTo>
                  <a:lnTo>
                    <a:pt x="552" y="146"/>
                  </a:lnTo>
                  <a:lnTo>
                    <a:pt x="556" y="162"/>
                  </a:lnTo>
                  <a:lnTo>
                    <a:pt x="561" y="179"/>
                  </a:lnTo>
                  <a:lnTo>
                    <a:pt x="563" y="196"/>
                  </a:lnTo>
                  <a:lnTo>
                    <a:pt x="563" y="212"/>
                  </a:lnTo>
                  <a:lnTo>
                    <a:pt x="563" y="229"/>
                  </a:lnTo>
                  <a:lnTo>
                    <a:pt x="561" y="245"/>
                  </a:lnTo>
                  <a:lnTo>
                    <a:pt x="556" y="260"/>
                  </a:lnTo>
                  <a:lnTo>
                    <a:pt x="552" y="275"/>
                  </a:lnTo>
                  <a:lnTo>
                    <a:pt x="546" y="290"/>
                  </a:lnTo>
                  <a:lnTo>
                    <a:pt x="539" y="303"/>
                  </a:lnTo>
                  <a:lnTo>
                    <a:pt x="531" y="316"/>
                  </a:lnTo>
                  <a:lnTo>
                    <a:pt x="521" y="328"/>
                  </a:lnTo>
                  <a:lnTo>
                    <a:pt x="508" y="340"/>
                  </a:lnTo>
                  <a:lnTo>
                    <a:pt x="494" y="350"/>
                  </a:lnTo>
                  <a:lnTo>
                    <a:pt x="479" y="359"/>
                  </a:lnTo>
                  <a:lnTo>
                    <a:pt x="463" y="366"/>
                  </a:lnTo>
                  <a:lnTo>
                    <a:pt x="446" y="372"/>
                  </a:lnTo>
                  <a:lnTo>
                    <a:pt x="428" y="376"/>
                  </a:lnTo>
                  <a:lnTo>
                    <a:pt x="409" y="378"/>
                  </a:lnTo>
                  <a:lnTo>
                    <a:pt x="388" y="379"/>
                  </a:lnTo>
                  <a:lnTo>
                    <a:pt x="381" y="379"/>
                  </a:lnTo>
                  <a:lnTo>
                    <a:pt x="377" y="386"/>
                  </a:lnTo>
                  <a:lnTo>
                    <a:pt x="369" y="395"/>
                  </a:lnTo>
                  <a:lnTo>
                    <a:pt x="362" y="404"/>
                  </a:lnTo>
                  <a:lnTo>
                    <a:pt x="352" y="412"/>
                  </a:lnTo>
                  <a:lnTo>
                    <a:pt x="342" y="420"/>
                  </a:lnTo>
                  <a:lnTo>
                    <a:pt x="331" y="426"/>
                  </a:lnTo>
                  <a:lnTo>
                    <a:pt x="319" y="432"/>
                  </a:lnTo>
                  <a:lnTo>
                    <a:pt x="313" y="434"/>
                  </a:lnTo>
                  <a:lnTo>
                    <a:pt x="307" y="435"/>
                  </a:lnTo>
                  <a:lnTo>
                    <a:pt x="301" y="436"/>
                  </a:lnTo>
                  <a:lnTo>
                    <a:pt x="294" y="436"/>
                  </a:lnTo>
                  <a:lnTo>
                    <a:pt x="281" y="435"/>
                  </a:lnTo>
                  <a:lnTo>
                    <a:pt x="268" y="433"/>
                  </a:lnTo>
                  <a:lnTo>
                    <a:pt x="257" y="428"/>
                  </a:lnTo>
                  <a:lnTo>
                    <a:pt x="246" y="423"/>
                  </a:lnTo>
                  <a:lnTo>
                    <a:pt x="235" y="417"/>
                  </a:lnTo>
                  <a:lnTo>
                    <a:pt x="227" y="408"/>
                  </a:lnTo>
                  <a:lnTo>
                    <a:pt x="219" y="399"/>
                  </a:lnTo>
                  <a:lnTo>
                    <a:pt x="213" y="388"/>
                  </a:lnTo>
                  <a:lnTo>
                    <a:pt x="186" y="401"/>
                  </a:lnTo>
                  <a:lnTo>
                    <a:pt x="189" y="408"/>
                  </a:lnTo>
                  <a:lnTo>
                    <a:pt x="195" y="416"/>
                  </a:lnTo>
                  <a:lnTo>
                    <a:pt x="199" y="422"/>
                  </a:lnTo>
                  <a:lnTo>
                    <a:pt x="204" y="428"/>
                  </a:lnTo>
                  <a:lnTo>
                    <a:pt x="211" y="434"/>
                  </a:lnTo>
                  <a:lnTo>
                    <a:pt x="216" y="439"/>
                  </a:lnTo>
                  <a:lnTo>
                    <a:pt x="222" y="445"/>
                  </a:lnTo>
                  <a:lnTo>
                    <a:pt x="230" y="449"/>
                  </a:lnTo>
                  <a:lnTo>
                    <a:pt x="237" y="453"/>
                  </a:lnTo>
                  <a:lnTo>
                    <a:pt x="245" y="456"/>
                  </a:lnTo>
                  <a:lnTo>
                    <a:pt x="252" y="460"/>
                  </a:lnTo>
                  <a:lnTo>
                    <a:pt x="260" y="462"/>
                  </a:lnTo>
                  <a:lnTo>
                    <a:pt x="268" y="464"/>
                  </a:lnTo>
                  <a:lnTo>
                    <a:pt x="277" y="465"/>
                  </a:lnTo>
                  <a:lnTo>
                    <a:pt x="286" y="466"/>
                  </a:lnTo>
                  <a:lnTo>
                    <a:pt x="294" y="466"/>
                  </a:lnTo>
                  <a:lnTo>
                    <a:pt x="308" y="465"/>
                  </a:lnTo>
                  <a:lnTo>
                    <a:pt x="322" y="463"/>
                  </a:lnTo>
                  <a:lnTo>
                    <a:pt x="336" y="457"/>
                  </a:lnTo>
                  <a:lnTo>
                    <a:pt x="349" y="451"/>
                  </a:lnTo>
                  <a:lnTo>
                    <a:pt x="362" y="443"/>
                  </a:lnTo>
                  <a:lnTo>
                    <a:pt x="374" y="434"/>
                  </a:lnTo>
                  <a:lnTo>
                    <a:pt x="386" y="422"/>
                  </a:lnTo>
                  <a:lnTo>
                    <a:pt x="396" y="409"/>
                  </a:lnTo>
                  <a:lnTo>
                    <a:pt x="418" y="408"/>
                  </a:lnTo>
                  <a:lnTo>
                    <a:pt x="440" y="405"/>
                  </a:lnTo>
                  <a:lnTo>
                    <a:pt x="460" y="400"/>
                  </a:lnTo>
                  <a:lnTo>
                    <a:pt x="479" y="392"/>
                  </a:lnTo>
                  <a:lnTo>
                    <a:pt x="496" y="384"/>
                  </a:lnTo>
                  <a:lnTo>
                    <a:pt x="514" y="374"/>
                  </a:lnTo>
                  <a:lnTo>
                    <a:pt x="521" y="369"/>
                  </a:lnTo>
                  <a:lnTo>
                    <a:pt x="529" y="362"/>
                  </a:lnTo>
                  <a:lnTo>
                    <a:pt x="536" y="356"/>
                  </a:lnTo>
                  <a:lnTo>
                    <a:pt x="542" y="348"/>
                  </a:lnTo>
                  <a:lnTo>
                    <a:pt x="554" y="334"/>
                  </a:lnTo>
                  <a:lnTo>
                    <a:pt x="564" y="319"/>
                  </a:lnTo>
                  <a:lnTo>
                    <a:pt x="573" y="303"/>
                  </a:lnTo>
                  <a:lnTo>
                    <a:pt x="580" y="287"/>
                  </a:lnTo>
                  <a:lnTo>
                    <a:pt x="585" y="269"/>
                  </a:lnTo>
                  <a:lnTo>
                    <a:pt x="589" y="251"/>
                  </a:lnTo>
                  <a:lnTo>
                    <a:pt x="593" y="233"/>
                  </a:lnTo>
                  <a:lnTo>
                    <a:pt x="593" y="212"/>
                  </a:lnTo>
                  <a:lnTo>
                    <a:pt x="593" y="193"/>
                  </a:lnTo>
                  <a:lnTo>
                    <a:pt x="589" y="174"/>
                  </a:lnTo>
                  <a:lnTo>
                    <a:pt x="585" y="155"/>
                  </a:lnTo>
                  <a:lnTo>
                    <a:pt x="580" y="136"/>
                  </a:lnTo>
                  <a:lnTo>
                    <a:pt x="572" y="118"/>
                  </a:lnTo>
                  <a:lnTo>
                    <a:pt x="563" y="101"/>
                  </a:lnTo>
                  <a:lnTo>
                    <a:pt x="552" y="84"/>
                  </a:lnTo>
                  <a:lnTo>
                    <a:pt x="539" y="68"/>
                  </a:lnTo>
                  <a:lnTo>
                    <a:pt x="525" y="54"/>
                  </a:lnTo>
                  <a:lnTo>
                    <a:pt x="510" y="41"/>
                  </a:lnTo>
                  <a:lnTo>
                    <a:pt x="502" y="35"/>
                  </a:lnTo>
                  <a:lnTo>
                    <a:pt x="493" y="29"/>
                  </a:lnTo>
                  <a:lnTo>
                    <a:pt x="484" y="24"/>
                  </a:lnTo>
                  <a:lnTo>
                    <a:pt x="474" y="20"/>
                  </a:lnTo>
                  <a:lnTo>
                    <a:pt x="464" y="15"/>
                  </a:lnTo>
                  <a:lnTo>
                    <a:pt x="455" y="11"/>
                  </a:lnTo>
                  <a:lnTo>
                    <a:pt x="444" y="8"/>
                  </a:lnTo>
                  <a:lnTo>
                    <a:pt x="432" y="6"/>
                  </a:lnTo>
                  <a:lnTo>
                    <a:pt x="422" y="4"/>
                  </a:lnTo>
                  <a:lnTo>
                    <a:pt x="410" y="2"/>
                  </a:lnTo>
                  <a:lnTo>
                    <a:pt x="397" y="2"/>
                  </a:lnTo>
                  <a:lnTo>
                    <a:pt x="3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67" name="Freeform 192">
              <a:extLst>
                <a:ext uri="{FF2B5EF4-FFF2-40B4-BE49-F238E27FC236}">
                  <a16:creationId xmlns:a16="http://schemas.microsoft.com/office/drawing/2014/main" id="{B0E44CAE-FDCF-41A0-B19C-14763CDE80F4}"/>
                </a:ext>
              </a:extLst>
            </p:cNvPr>
            <p:cNvSpPr>
              <a:spLocks noEditPoints="1"/>
            </p:cNvSpPr>
            <p:nvPr/>
          </p:nvSpPr>
          <p:spPr bwMode="auto">
            <a:xfrm>
              <a:off x="1458913" y="869951"/>
              <a:ext cx="190500" cy="201613"/>
            </a:xfrm>
            <a:custGeom>
              <a:avLst/>
              <a:gdLst>
                <a:gd name="T0" fmla="*/ 53 w 601"/>
                <a:gd name="T1" fmla="*/ 513 h 635"/>
                <a:gd name="T2" fmla="*/ 196 w 601"/>
                <a:gd name="T3" fmla="*/ 439 h 635"/>
                <a:gd name="T4" fmla="*/ 241 w 601"/>
                <a:gd name="T5" fmla="*/ 411 h 635"/>
                <a:gd name="T6" fmla="*/ 230 w 601"/>
                <a:gd name="T7" fmla="*/ 321 h 635"/>
                <a:gd name="T8" fmla="*/ 209 w 601"/>
                <a:gd name="T9" fmla="*/ 296 h 635"/>
                <a:gd name="T10" fmla="*/ 201 w 601"/>
                <a:gd name="T11" fmla="*/ 242 h 635"/>
                <a:gd name="T12" fmla="*/ 195 w 601"/>
                <a:gd name="T13" fmla="*/ 230 h 635"/>
                <a:gd name="T14" fmla="*/ 183 w 601"/>
                <a:gd name="T15" fmla="*/ 223 h 635"/>
                <a:gd name="T16" fmla="*/ 176 w 601"/>
                <a:gd name="T17" fmla="*/ 198 h 635"/>
                <a:gd name="T18" fmla="*/ 186 w 601"/>
                <a:gd name="T19" fmla="*/ 182 h 635"/>
                <a:gd name="T20" fmla="*/ 198 w 601"/>
                <a:gd name="T21" fmla="*/ 174 h 635"/>
                <a:gd name="T22" fmla="*/ 193 w 601"/>
                <a:gd name="T23" fmla="*/ 144 h 635"/>
                <a:gd name="T24" fmla="*/ 178 w 601"/>
                <a:gd name="T25" fmla="*/ 92 h 635"/>
                <a:gd name="T26" fmla="*/ 201 w 601"/>
                <a:gd name="T27" fmla="*/ 87 h 635"/>
                <a:gd name="T28" fmla="*/ 218 w 601"/>
                <a:gd name="T29" fmla="*/ 78 h 635"/>
                <a:gd name="T30" fmla="*/ 232 w 601"/>
                <a:gd name="T31" fmla="*/ 55 h 635"/>
                <a:gd name="T32" fmla="*/ 270 w 601"/>
                <a:gd name="T33" fmla="*/ 36 h 635"/>
                <a:gd name="T34" fmla="*/ 351 w 601"/>
                <a:gd name="T35" fmla="*/ 33 h 635"/>
                <a:gd name="T36" fmla="*/ 399 w 601"/>
                <a:gd name="T37" fmla="*/ 51 h 635"/>
                <a:gd name="T38" fmla="*/ 417 w 601"/>
                <a:gd name="T39" fmla="*/ 76 h 635"/>
                <a:gd name="T40" fmla="*/ 411 w 601"/>
                <a:gd name="T41" fmla="*/ 134 h 635"/>
                <a:gd name="T42" fmla="*/ 400 w 601"/>
                <a:gd name="T43" fmla="*/ 172 h 635"/>
                <a:gd name="T44" fmla="*/ 411 w 601"/>
                <a:gd name="T45" fmla="*/ 181 h 635"/>
                <a:gd name="T46" fmla="*/ 421 w 601"/>
                <a:gd name="T47" fmla="*/ 191 h 635"/>
                <a:gd name="T48" fmla="*/ 416 w 601"/>
                <a:gd name="T49" fmla="*/ 223 h 635"/>
                <a:gd name="T50" fmla="*/ 402 w 601"/>
                <a:gd name="T51" fmla="*/ 231 h 635"/>
                <a:gd name="T52" fmla="*/ 398 w 601"/>
                <a:gd name="T53" fmla="*/ 255 h 635"/>
                <a:gd name="T54" fmla="*/ 384 w 601"/>
                <a:gd name="T55" fmla="*/ 307 h 635"/>
                <a:gd name="T56" fmla="*/ 361 w 601"/>
                <a:gd name="T57" fmla="*/ 330 h 635"/>
                <a:gd name="T58" fmla="*/ 366 w 601"/>
                <a:gd name="T59" fmla="*/ 423 h 635"/>
                <a:gd name="T60" fmla="*/ 503 w 601"/>
                <a:gd name="T61" fmla="*/ 488 h 635"/>
                <a:gd name="T62" fmla="*/ 571 w 601"/>
                <a:gd name="T63" fmla="*/ 606 h 635"/>
                <a:gd name="T64" fmla="*/ 390 w 601"/>
                <a:gd name="T65" fmla="*/ 400 h 635"/>
                <a:gd name="T66" fmla="*/ 413 w 601"/>
                <a:gd name="T67" fmla="*/ 317 h 635"/>
                <a:gd name="T68" fmla="*/ 433 w 601"/>
                <a:gd name="T69" fmla="*/ 249 h 635"/>
                <a:gd name="T70" fmla="*/ 450 w 601"/>
                <a:gd name="T71" fmla="*/ 215 h 635"/>
                <a:gd name="T72" fmla="*/ 448 w 601"/>
                <a:gd name="T73" fmla="*/ 174 h 635"/>
                <a:gd name="T74" fmla="*/ 447 w 601"/>
                <a:gd name="T75" fmla="*/ 119 h 635"/>
                <a:gd name="T76" fmla="*/ 444 w 601"/>
                <a:gd name="T77" fmla="*/ 59 h 635"/>
                <a:gd name="T78" fmla="*/ 414 w 601"/>
                <a:gd name="T79" fmla="*/ 24 h 635"/>
                <a:gd name="T80" fmla="*/ 368 w 601"/>
                <a:gd name="T81" fmla="*/ 5 h 635"/>
                <a:gd name="T82" fmla="*/ 282 w 601"/>
                <a:gd name="T83" fmla="*/ 3 h 635"/>
                <a:gd name="T84" fmla="*/ 222 w 601"/>
                <a:gd name="T85" fmla="*/ 24 h 635"/>
                <a:gd name="T86" fmla="*/ 195 w 601"/>
                <a:gd name="T87" fmla="*/ 55 h 635"/>
                <a:gd name="T88" fmla="*/ 163 w 601"/>
                <a:gd name="T89" fmla="*/ 62 h 635"/>
                <a:gd name="T90" fmla="*/ 151 w 601"/>
                <a:gd name="T91" fmla="*/ 80 h 635"/>
                <a:gd name="T92" fmla="*/ 157 w 601"/>
                <a:gd name="T93" fmla="*/ 136 h 635"/>
                <a:gd name="T94" fmla="*/ 154 w 601"/>
                <a:gd name="T95" fmla="*/ 168 h 635"/>
                <a:gd name="T96" fmla="*/ 146 w 601"/>
                <a:gd name="T97" fmla="*/ 207 h 635"/>
                <a:gd name="T98" fmla="*/ 160 w 601"/>
                <a:gd name="T99" fmla="*/ 244 h 635"/>
                <a:gd name="T100" fmla="*/ 181 w 601"/>
                <a:gd name="T101" fmla="*/ 305 h 635"/>
                <a:gd name="T102" fmla="*/ 211 w 601"/>
                <a:gd name="T103" fmla="*/ 344 h 635"/>
                <a:gd name="T104" fmla="*/ 77 w 601"/>
                <a:gd name="T105" fmla="*/ 464 h 635"/>
                <a:gd name="T106" fmla="*/ 4 w 601"/>
                <a:gd name="T107" fmla="*/ 518 h 635"/>
                <a:gd name="T108" fmla="*/ 1 w 601"/>
                <a:gd name="T109" fmla="*/ 624 h 635"/>
                <a:gd name="T110" fmla="*/ 9 w 601"/>
                <a:gd name="T111" fmla="*/ 634 h 635"/>
                <a:gd name="T112" fmla="*/ 591 w 601"/>
                <a:gd name="T113" fmla="*/ 634 h 635"/>
                <a:gd name="T114" fmla="*/ 600 w 601"/>
                <a:gd name="T115" fmla="*/ 624 h 635"/>
                <a:gd name="T116" fmla="*/ 597 w 601"/>
                <a:gd name="T117" fmla="*/ 518 h 635"/>
                <a:gd name="T118" fmla="*/ 523 w 601"/>
                <a:gd name="T119" fmla="*/ 46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1" h="635">
                  <a:moveTo>
                    <a:pt x="571" y="606"/>
                  </a:moveTo>
                  <a:lnTo>
                    <a:pt x="30" y="606"/>
                  </a:lnTo>
                  <a:lnTo>
                    <a:pt x="30" y="533"/>
                  </a:lnTo>
                  <a:lnTo>
                    <a:pt x="38" y="525"/>
                  </a:lnTo>
                  <a:lnTo>
                    <a:pt x="53" y="513"/>
                  </a:lnTo>
                  <a:lnTo>
                    <a:pt x="75" y="501"/>
                  </a:lnTo>
                  <a:lnTo>
                    <a:pt x="100" y="486"/>
                  </a:lnTo>
                  <a:lnTo>
                    <a:pt x="129" y="470"/>
                  </a:lnTo>
                  <a:lnTo>
                    <a:pt x="161" y="454"/>
                  </a:lnTo>
                  <a:lnTo>
                    <a:pt x="196" y="439"/>
                  </a:lnTo>
                  <a:lnTo>
                    <a:pt x="231" y="425"/>
                  </a:lnTo>
                  <a:lnTo>
                    <a:pt x="234" y="423"/>
                  </a:lnTo>
                  <a:lnTo>
                    <a:pt x="237" y="419"/>
                  </a:lnTo>
                  <a:lnTo>
                    <a:pt x="239" y="415"/>
                  </a:lnTo>
                  <a:lnTo>
                    <a:pt x="241" y="411"/>
                  </a:lnTo>
                  <a:lnTo>
                    <a:pt x="241" y="336"/>
                  </a:lnTo>
                  <a:lnTo>
                    <a:pt x="239" y="330"/>
                  </a:lnTo>
                  <a:lnTo>
                    <a:pt x="237" y="326"/>
                  </a:lnTo>
                  <a:lnTo>
                    <a:pt x="234" y="323"/>
                  </a:lnTo>
                  <a:lnTo>
                    <a:pt x="230" y="321"/>
                  </a:lnTo>
                  <a:lnTo>
                    <a:pt x="229" y="321"/>
                  </a:lnTo>
                  <a:lnTo>
                    <a:pt x="224" y="318"/>
                  </a:lnTo>
                  <a:lnTo>
                    <a:pt x="220" y="313"/>
                  </a:lnTo>
                  <a:lnTo>
                    <a:pt x="215" y="307"/>
                  </a:lnTo>
                  <a:lnTo>
                    <a:pt x="209" y="296"/>
                  </a:lnTo>
                  <a:lnTo>
                    <a:pt x="205" y="282"/>
                  </a:lnTo>
                  <a:lnTo>
                    <a:pt x="203" y="274"/>
                  </a:lnTo>
                  <a:lnTo>
                    <a:pt x="202" y="265"/>
                  </a:lnTo>
                  <a:lnTo>
                    <a:pt x="201" y="255"/>
                  </a:lnTo>
                  <a:lnTo>
                    <a:pt x="201" y="242"/>
                  </a:lnTo>
                  <a:lnTo>
                    <a:pt x="200" y="240"/>
                  </a:lnTo>
                  <a:lnTo>
                    <a:pt x="200" y="236"/>
                  </a:lnTo>
                  <a:lnTo>
                    <a:pt x="198" y="234"/>
                  </a:lnTo>
                  <a:lnTo>
                    <a:pt x="197" y="231"/>
                  </a:lnTo>
                  <a:lnTo>
                    <a:pt x="195" y="230"/>
                  </a:lnTo>
                  <a:lnTo>
                    <a:pt x="191" y="228"/>
                  </a:lnTo>
                  <a:lnTo>
                    <a:pt x="189" y="228"/>
                  </a:lnTo>
                  <a:lnTo>
                    <a:pt x="186" y="227"/>
                  </a:lnTo>
                  <a:lnTo>
                    <a:pt x="184" y="226"/>
                  </a:lnTo>
                  <a:lnTo>
                    <a:pt x="183" y="223"/>
                  </a:lnTo>
                  <a:lnTo>
                    <a:pt x="181" y="219"/>
                  </a:lnTo>
                  <a:lnTo>
                    <a:pt x="178" y="215"/>
                  </a:lnTo>
                  <a:lnTo>
                    <a:pt x="177" y="210"/>
                  </a:lnTo>
                  <a:lnTo>
                    <a:pt x="176" y="204"/>
                  </a:lnTo>
                  <a:lnTo>
                    <a:pt x="176" y="198"/>
                  </a:lnTo>
                  <a:lnTo>
                    <a:pt x="177" y="191"/>
                  </a:lnTo>
                  <a:lnTo>
                    <a:pt x="178" y="186"/>
                  </a:lnTo>
                  <a:lnTo>
                    <a:pt x="182" y="183"/>
                  </a:lnTo>
                  <a:lnTo>
                    <a:pt x="184" y="182"/>
                  </a:lnTo>
                  <a:lnTo>
                    <a:pt x="186" y="182"/>
                  </a:lnTo>
                  <a:lnTo>
                    <a:pt x="188" y="181"/>
                  </a:lnTo>
                  <a:lnTo>
                    <a:pt x="191" y="181"/>
                  </a:lnTo>
                  <a:lnTo>
                    <a:pt x="193" y="179"/>
                  </a:lnTo>
                  <a:lnTo>
                    <a:pt x="197" y="176"/>
                  </a:lnTo>
                  <a:lnTo>
                    <a:pt x="198" y="174"/>
                  </a:lnTo>
                  <a:lnTo>
                    <a:pt x="200" y="172"/>
                  </a:lnTo>
                  <a:lnTo>
                    <a:pt x="200" y="169"/>
                  </a:lnTo>
                  <a:lnTo>
                    <a:pt x="201" y="167"/>
                  </a:lnTo>
                  <a:lnTo>
                    <a:pt x="199" y="158"/>
                  </a:lnTo>
                  <a:lnTo>
                    <a:pt x="193" y="144"/>
                  </a:lnTo>
                  <a:lnTo>
                    <a:pt x="188" y="133"/>
                  </a:lnTo>
                  <a:lnTo>
                    <a:pt x="183" y="115"/>
                  </a:lnTo>
                  <a:lnTo>
                    <a:pt x="180" y="107"/>
                  </a:lnTo>
                  <a:lnTo>
                    <a:pt x="178" y="98"/>
                  </a:lnTo>
                  <a:lnTo>
                    <a:pt x="178" y="92"/>
                  </a:lnTo>
                  <a:lnTo>
                    <a:pt x="180" y="88"/>
                  </a:lnTo>
                  <a:lnTo>
                    <a:pt x="184" y="85"/>
                  </a:lnTo>
                  <a:lnTo>
                    <a:pt x="189" y="84"/>
                  </a:lnTo>
                  <a:lnTo>
                    <a:pt x="195" y="85"/>
                  </a:lnTo>
                  <a:lnTo>
                    <a:pt x="201" y="87"/>
                  </a:lnTo>
                  <a:lnTo>
                    <a:pt x="207" y="87"/>
                  </a:lnTo>
                  <a:lnTo>
                    <a:pt x="213" y="84"/>
                  </a:lnTo>
                  <a:lnTo>
                    <a:pt x="215" y="82"/>
                  </a:lnTo>
                  <a:lnTo>
                    <a:pt x="217" y="80"/>
                  </a:lnTo>
                  <a:lnTo>
                    <a:pt x="218" y="78"/>
                  </a:lnTo>
                  <a:lnTo>
                    <a:pt x="219" y="76"/>
                  </a:lnTo>
                  <a:lnTo>
                    <a:pt x="221" y="69"/>
                  </a:lnTo>
                  <a:lnTo>
                    <a:pt x="223" y="64"/>
                  </a:lnTo>
                  <a:lnTo>
                    <a:pt x="228" y="60"/>
                  </a:lnTo>
                  <a:lnTo>
                    <a:pt x="232" y="55"/>
                  </a:lnTo>
                  <a:lnTo>
                    <a:pt x="237" y="51"/>
                  </a:lnTo>
                  <a:lnTo>
                    <a:pt x="243" y="47"/>
                  </a:lnTo>
                  <a:lnTo>
                    <a:pt x="249" y="44"/>
                  </a:lnTo>
                  <a:lnTo>
                    <a:pt x="255" y="40"/>
                  </a:lnTo>
                  <a:lnTo>
                    <a:pt x="270" y="36"/>
                  </a:lnTo>
                  <a:lnTo>
                    <a:pt x="285" y="33"/>
                  </a:lnTo>
                  <a:lnTo>
                    <a:pt x="302" y="31"/>
                  </a:lnTo>
                  <a:lnTo>
                    <a:pt x="318" y="30"/>
                  </a:lnTo>
                  <a:lnTo>
                    <a:pt x="334" y="31"/>
                  </a:lnTo>
                  <a:lnTo>
                    <a:pt x="351" y="33"/>
                  </a:lnTo>
                  <a:lnTo>
                    <a:pt x="366" y="36"/>
                  </a:lnTo>
                  <a:lnTo>
                    <a:pt x="381" y="40"/>
                  </a:lnTo>
                  <a:lnTo>
                    <a:pt x="387" y="44"/>
                  </a:lnTo>
                  <a:lnTo>
                    <a:pt x="394" y="47"/>
                  </a:lnTo>
                  <a:lnTo>
                    <a:pt x="399" y="51"/>
                  </a:lnTo>
                  <a:lnTo>
                    <a:pt x="404" y="55"/>
                  </a:lnTo>
                  <a:lnTo>
                    <a:pt x="409" y="60"/>
                  </a:lnTo>
                  <a:lnTo>
                    <a:pt x="413" y="64"/>
                  </a:lnTo>
                  <a:lnTo>
                    <a:pt x="415" y="69"/>
                  </a:lnTo>
                  <a:lnTo>
                    <a:pt x="417" y="76"/>
                  </a:lnTo>
                  <a:lnTo>
                    <a:pt x="419" y="87"/>
                  </a:lnTo>
                  <a:lnTo>
                    <a:pt x="419" y="96"/>
                  </a:lnTo>
                  <a:lnTo>
                    <a:pt x="418" y="107"/>
                  </a:lnTo>
                  <a:lnTo>
                    <a:pt x="416" y="116"/>
                  </a:lnTo>
                  <a:lnTo>
                    <a:pt x="411" y="134"/>
                  </a:lnTo>
                  <a:lnTo>
                    <a:pt x="404" y="149"/>
                  </a:lnTo>
                  <a:lnTo>
                    <a:pt x="400" y="158"/>
                  </a:lnTo>
                  <a:lnTo>
                    <a:pt x="399" y="167"/>
                  </a:lnTo>
                  <a:lnTo>
                    <a:pt x="399" y="169"/>
                  </a:lnTo>
                  <a:lnTo>
                    <a:pt x="400" y="172"/>
                  </a:lnTo>
                  <a:lnTo>
                    <a:pt x="401" y="174"/>
                  </a:lnTo>
                  <a:lnTo>
                    <a:pt x="403" y="177"/>
                  </a:lnTo>
                  <a:lnTo>
                    <a:pt x="405" y="179"/>
                  </a:lnTo>
                  <a:lnTo>
                    <a:pt x="409" y="181"/>
                  </a:lnTo>
                  <a:lnTo>
                    <a:pt x="411" y="181"/>
                  </a:lnTo>
                  <a:lnTo>
                    <a:pt x="414" y="182"/>
                  </a:lnTo>
                  <a:lnTo>
                    <a:pt x="416" y="182"/>
                  </a:lnTo>
                  <a:lnTo>
                    <a:pt x="418" y="183"/>
                  </a:lnTo>
                  <a:lnTo>
                    <a:pt x="420" y="185"/>
                  </a:lnTo>
                  <a:lnTo>
                    <a:pt x="421" y="191"/>
                  </a:lnTo>
                  <a:lnTo>
                    <a:pt x="422" y="198"/>
                  </a:lnTo>
                  <a:lnTo>
                    <a:pt x="422" y="203"/>
                  </a:lnTo>
                  <a:lnTo>
                    <a:pt x="421" y="210"/>
                  </a:lnTo>
                  <a:lnTo>
                    <a:pt x="419" y="215"/>
                  </a:lnTo>
                  <a:lnTo>
                    <a:pt x="416" y="223"/>
                  </a:lnTo>
                  <a:lnTo>
                    <a:pt x="413" y="227"/>
                  </a:lnTo>
                  <a:lnTo>
                    <a:pt x="410" y="228"/>
                  </a:lnTo>
                  <a:lnTo>
                    <a:pt x="406" y="228"/>
                  </a:lnTo>
                  <a:lnTo>
                    <a:pt x="404" y="230"/>
                  </a:lnTo>
                  <a:lnTo>
                    <a:pt x="402" y="231"/>
                  </a:lnTo>
                  <a:lnTo>
                    <a:pt x="400" y="234"/>
                  </a:lnTo>
                  <a:lnTo>
                    <a:pt x="399" y="236"/>
                  </a:lnTo>
                  <a:lnTo>
                    <a:pt x="398" y="240"/>
                  </a:lnTo>
                  <a:lnTo>
                    <a:pt x="398" y="242"/>
                  </a:lnTo>
                  <a:lnTo>
                    <a:pt x="398" y="255"/>
                  </a:lnTo>
                  <a:lnTo>
                    <a:pt x="397" y="265"/>
                  </a:lnTo>
                  <a:lnTo>
                    <a:pt x="396" y="274"/>
                  </a:lnTo>
                  <a:lnTo>
                    <a:pt x="394" y="282"/>
                  </a:lnTo>
                  <a:lnTo>
                    <a:pt x="389" y="296"/>
                  </a:lnTo>
                  <a:lnTo>
                    <a:pt x="384" y="307"/>
                  </a:lnTo>
                  <a:lnTo>
                    <a:pt x="375" y="319"/>
                  </a:lnTo>
                  <a:lnTo>
                    <a:pt x="371" y="321"/>
                  </a:lnTo>
                  <a:lnTo>
                    <a:pt x="367" y="323"/>
                  </a:lnTo>
                  <a:lnTo>
                    <a:pt x="364" y="326"/>
                  </a:lnTo>
                  <a:lnTo>
                    <a:pt x="361" y="330"/>
                  </a:lnTo>
                  <a:lnTo>
                    <a:pt x="360" y="336"/>
                  </a:lnTo>
                  <a:lnTo>
                    <a:pt x="360" y="411"/>
                  </a:lnTo>
                  <a:lnTo>
                    <a:pt x="361" y="415"/>
                  </a:lnTo>
                  <a:lnTo>
                    <a:pt x="364" y="419"/>
                  </a:lnTo>
                  <a:lnTo>
                    <a:pt x="366" y="423"/>
                  </a:lnTo>
                  <a:lnTo>
                    <a:pt x="370" y="425"/>
                  </a:lnTo>
                  <a:lnTo>
                    <a:pt x="406" y="440"/>
                  </a:lnTo>
                  <a:lnTo>
                    <a:pt x="441" y="456"/>
                  </a:lnTo>
                  <a:lnTo>
                    <a:pt x="474" y="472"/>
                  </a:lnTo>
                  <a:lnTo>
                    <a:pt x="503" y="488"/>
                  </a:lnTo>
                  <a:lnTo>
                    <a:pt x="528" y="502"/>
                  </a:lnTo>
                  <a:lnTo>
                    <a:pt x="549" y="515"/>
                  </a:lnTo>
                  <a:lnTo>
                    <a:pt x="563" y="525"/>
                  </a:lnTo>
                  <a:lnTo>
                    <a:pt x="571" y="533"/>
                  </a:lnTo>
                  <a:lnTo>
                    <a:pt x="571" y="606"/>
                  </a:lnTo>
                  <a:close/>
                  <a:moveTo>
                    <a:pt x="523" y="464"/>
                  </a:moveTo>
                  <a:lnTo>
                    <a:pt x="492" y="448"/>
                  </a:lnTo>
                  <a:lnTo>
                    <a:pt x="459" y="431"/>
                  </a:lnTo>
                  <a:lnTo>
                    <a:pt x="425" y="415"/>
                  </a:lnTo>
                  <a:lnTo>
                    <a:pt x="390" y="400"/>
                  </a:lnTo>
                  <a:lnTo>
                    <a:pt x="390" y="344"/>
                  </a:lnTo>
                  <a:lnTo>
                    <a:pt x="396" y="340"/>
                  </a:lnTo>
                  <a:lnTo>
                    <a:pt x="402" y="334"/>
                  </a:lnTo>
                  <a:lnTo>
                    <a:pt x="407" y="326"/>
                  </a:lnTo>
                  <a:lnTo>
                    <a:pt x="413" y="317"/>
                  </a:lnTo>
                  <a:lnTo>
                    <a:pt x="418" y="305"/>
                  </a:lnTo>
                  <a:lnTo>
                    <a:pt x="422" y="291"/>
                  </a:lnTo>
                  <a:lnTo>
                    <a:pt x="426" y="274"/>
                  </a:lnTo>
                  <a:lnTo>
                    <a:pt x="428" y="253"/>
                  </a:lnTo>
                  <a:lnTo>
                    <a:pt x="433" y="249"/>
                  </a:lnTo>
                  <a:lnTo>
                    <a:pt x="438" y="244"/>
                  </a:lnTo>
                  <a:lnTo>
                    <a:pt x="443" y="237"/>
                  </a:lnTo>
                  <a:lnTo>
                    <a:pt x="446" y="231"/>
                  </a:lnTo>
                  <a:lnTo>
                    <a:pt x="448" y="223"/>
                  </a:lnTo>
                  <a:lnTo>
                    <a:pt x="450" y="215"/>
                  </a:lnTo>
                  <a:lnTo>
                    <a:pt x="451" y="207"/>
                  </a:lnTo>
                  <a:lnTo>
                    <a:pt x="452" y="199"/>
                  </a:lnTo>
                  <a:lnTo>
                    <a:pt x="451" y="190"/>
                  </a:lnTo>
                  <a:lnTo>
                    <a:pt x="450" y="182"/>
                  </a:lnTo>
                  <a:lnTo>
                    <a:pt x="448" y="174"/>
                  </a:lnTo>
                  <a:lnTo>
                    <a:pt x="445" y="168"/>
                  </a:lnTo>
                  <a:lnTo>
                    <a:pt x="440" y="161"/>
                  </a:lnTo>
                  <a:lnTo>
                    <a:pt x="433" y="157"/>
                  </a:lnTo>
                  <a:lnTo>
                    <a:pt x="441" y="140"/>
                  </a:lnTo>
                  <a:lnTo>
                    <a:pt x="447" y="119"/>
                  </a:lnTo>
                  <a:lnTo>
                    <a:pt x="448" y="107"/>
                  </a:lnTo>
                  <a:lnTo>
                    <a:pt x="449" y="95"/>
                  </a:lnTo>
                  <a:lnTo>
                    <a:pt x="449" y="81"/>
                  </a:lnTo>
                  <a:lnTo>
                    <a:pt x="446" y="68"/>
                  </a:lnTo>
                  <a:lnTo>
                    <a:pt x="444" y="59"/>
                  </a:lnTo>
                  <a:lnTo>
                    <a:pt x="440" y="50"/>
                  </a:lnTo>
                  <a:lnTo>
                    <a:pt x="434" y="43"/>
                  </a:lnTo>
                  <a:lnTo>
                    <a:pt x="428" y="36"/>
                  </a:lnTo>
                  <a:lnTo>
                    <a:pt x="421" y="30"/>
                  </a:lnTo>
                  <a:lnTo>
                    <a:pt x="414" y="24"/>
                  </a:lnTo>
                  <a:lnTo>
                    <a:pt x="405" y="19"/>
                  </a:lnTo>
                  <a:lnTo>
                    <a:pt x="397" y="15"/>
                  </a:lnTo>
                  <a:lnTo>
                    <a:pt x="387" y="12"/>
                  </a:lnTo>
                  <a:lnTo>
                    <a:pt x="377" y="8"/>
                  </a:lnTo>
                  <a:lnTo>
                    <a:pt x="368" y="5"/>
                  </a:lnTo>
                  <a:lnTo>
                    <a:pt x="358" y="3"/>
                  </a:lnTo>
                  <a:lnTo>
                    <a:pt x="338" y="1"/>
                  </a:lnTo>
                  <a:lnTo>
                    <a:pt x="318" y="0"/>
                  </a:lnTo>
                  <a:lnTo>
                    <a:pt x="300" y="1"/>
                  </a:lnTo>
                  <a:lnTo>
                    <a:pt x="282" y="3"/>
                  </a:lnTo>
                  <a:lnTo>
                    <a:pt x="264" y="6"/>
                  </a:lnTo>
                  <a:lnTo>
                    <a:pt x="246" y="13"/>
                  </a:lnTo>
                  <a:lnTo>
                    <a:pt x="237" y="16"/>
                  </a:lnTo>
                  <a:lnTo>
                    <a:pt x="230" y="20"/>
                  </a:lnTo>
                  <a:lnTo>
                    <a:pt x="222" y="24"/>
                  </a:lnTo>
                  <a:lnTo>
                    <a:pt x="216" y="30"/>
                  </a:lnTo>
                  <a:lnTo>
                    <a:pt x="209" y="35"/>
                  </a:lnTo>
                  <a:lnTo>
                    <a:pt x="203" y="42"/>
                  </a:lnTo>
                  <a:lnTo>
                    <a:pt x="199" y="48"/>
                  </a:lnTo>
                  <a:lnTo>
                    <a:pt x="195" y="55"/>
                  </a:lnTo>
                  <a:lnTo>
                    <a:pt x="186" y="54"/>
                  </a:lnTo>
                  <a:lnTo>
                    <a:pt x="180" y="55"/>
                  </a:lnTo>
                  <a:lnTo>
                    <a:pt x="173" y="57"/>
                  </a:lnTo>
                  <a:lnTo>
                    <a:pt x="168" y="59"/>
                  </a:lnTo>
                  <a:lnTo>
                    <a:pt x="163" y="62"/>
                  </a:lnTo>
                  <a:lnTo>
                    <a:pt x="160" y="65"/>
                  </a:lnTo>
                  <a:lnTo>
                    <a:pt x="157" y="67"/>
                  </a:lnTo>
                  <a:lnTo>
                    <a:pt x="155" y="70"/>
                  </a:lnTo>
                  <a:lnTo>
                    <a:pt x="152" y="75"/>
                  </a:lnTo>
                  <a:lnTo>
                    <a:pt x="151" y="80"/>
                  </a:lnTo>
                  <a:lnTo>
                    <a:pt x="150" y="85"/>
                  </a:lnTo>
                  <a:lnTo>
                    <a:pt x="148" y="91"/>
                  </a:lnTo>
                  <a:lnTo>
                    <a:pt x="148" y="101"/>
                  </a:lnTo>
                  <a:lnTo>
                    <a:pt x="151" y="113"/>
                  </a:lnTo>
                  <a:lnTo>
                    <a:pt x="157" y="136"/>
                  </a:lnTo>
                  <a:lnTo>
                    <a:pt x="166" y="156"/>
                  </a:lnTo>
                  <a:lnTo>
                    <a:pt x="166" y="156"/>
                  </a:lnTo>
                  <a:lnTo>
                    <a:pt x="166" y="157"/>
                  </a:lnTo>
                  <a:lnTo>
                    <a:pt x="159" y="161"/>
                  </a:lnTo>
                  <a:lnTo>
                    <a:pt x="154" y="168"/>
                  </a:lnTo>
                  <a:lnTo>
                    <a:pt x="151" y="175"/>
                  </a:lnTo>
                  <a:lnTo>
                    <a:pt x="148" y="182"/>
                  </a:lnTo>
                  <a:lnTo>
                    <a:pt x="146" y="190"/>
                  </a:lnTo>
                  <a:lnTo>
                    <a:pt x="146" y="199"/>
                  </a:lnTo>
                  <a:lnTo>
                    <a:pt x="146" y="207"/>
                  </a:lnTo>
                  <a:lnTo>
                    <a:pt x="147" y="216"/>
                  </a:lnTo>
                  <a:lnTo>
                    <a:pt x="150" y="223"/>
                  </a:lnTo>
                  <a:lnTo>
                    <a:pt x="153" y="231"/>
                  </a:lnTo>
                  <a:lnTo>
                    <a:pt x="156" y="238"/>
                  </a:lnTo>
                  <a:lnTo>
                    <a:pt x="160" y="244"/>
                  </a:lnTo>
                  <a:lnTo>
                    <a:pt x="166" y="249"/>
                  </a:lnTo>
                  <a:lnTo>
                    <a:pt x="171" y="253"/>
                  </a:lnTo>
                  <a:lnTo>
                    <a:pt x="173" y="274"/>
                  </a:lnTo>
                  <a:lnTo>
                    <a:pt x="176" y="291"/>
                  </a:lnTo>
                  <a:lnTo>
                    <a:pt x="181" y="305"/>
                  </a:lnTo>
                  <a:lnTo>
                    <a:pt x="186" y="317"/>
                  </a:lnTo>
                  <a:lnTo>
                    <a:pt x="192" y="326"/>
                  </a:lnTo>
                  <a:lnTo>
                    <a:pt x="199" y="334"/>
                  </a:lnTo>
                  <a:lnTo>
                    <a:pt x="205" y="340"/>
                  </a:lnTo>
                  <a:lnTo>
                    <a:pt x="211" y="344"/>
                  </a:lnTo>
                  <a:lnTo>
                    <a:pt x="211" y="400"/>
                  </a:lnTo>
                  <a:lnTo>
                    <a:pt x="177" y="414"/>
                  </a:lnTo>
                  <a:lnTo>
                    <a:pt x="143" y="430"/>
                  </a:lnTo>
                  <a:lnTo>
                    <a:pt x="109" y="447"/>
                  </a:lnTo>
                  <a:lnTo>
                    <a:pt x="77" y="464"/>
                  </a:lnTo>
                  <a:lnTo>
                    <a:pt x="51" y="479"/>
                  </a:lnTo>
                  <a:lnTo>
                    <a:pt x="33" y="492"/>
                  </a:lnTo>
                  <a:lnTo>
                    <a:pt x="19" y="503"/>
                  </a:lnTo>
                  <a:lnTo>
                    <a:pt x="9" y="511"/>
                  </a:lnTo>
                  <a:lnTo>
                    <a:pt x="4" y="518"/>
                  </a:lnTo>
                  <a:lnTo>
                    <a:pt x="1" y="523"/>
                  </a:lnTo>
                  <a:lnTo>
                    <a:pt x="0" y="527"/>
                  </a:lnTo>
                  <a:lnTo>
                    <a:pt x="0" y="531"/>
                  </a:lnTo>
                  <a:lnTo>
                    <a:pt x="0" y="620"/>
                  </a:lnTo>
                  <a:lnTo>
                    <a:pt x="1" y="624"/>
                  </a:lnTo>
                  <a:lnTo>
                    <a:pt x="1" y="627"/>
                  </a:lnTo>
                  <a:lnTo>
                    <a:pt x="3" y="629"/>
                  </a:lnTo>
                  <a:lnTo>
                    <a:pt x="4" y="631"/>
                  </a:lnTo>
                  <a:lnTo>
                    <a:pt x="6" y="633"/>
                  </a:lnTo>
                  <a:lnTo>
                    <a:pt x="9" y="634"/>
                  </a:lnTo>
                  <a:lnTo>
                    <a:pt x="13" y="635"/>
                  </a:lnTo>
                  <a:lnTo>
                    <a:pt x="15" y="635"/>
                  </a:lnTo>
                  <a:lnTo>
                    <a:pt x="586" y="635"/>
                  </a:lnTo>
                  <a:lnTo>
                    <a:pt x="588" y="635"/>
                  </a:lnTo>
                  <a:lnTo>
                    <a:pt x="591" y="634"/>
                  </a:lnTo>
                  <a:lnTo>
                    <a:pt x="594" y="633"/>
                  </a:lnTo>
                  <a:lnTo>
                    <a:pt x="597" y="631"/>
                  </a:lnTo>
                  <a:lnTo>
                    <a:pt x="598" y="629"/>
                  </a:lnTo>
                  <a:lnTo>
                    <a:pt x="600" y="627"/>
                  </a:lnTo>
                  <a:lnTo>
                    <a:pt x="600" y="624"/>
                  </a:lnTo>
                  <a:lnTo>
                    <a:pt x="601" y="620"/>
                  </a:lnTo>
                  <a:lnTo>
                    <a:pt x="601" y="531"/>
                  </a:lnTo>
                  <a:lnTo>
                    <a:pt x="601" y="527"/>
                  </a:lnTo>
                  <a:lnTo>
                    <a:pt x="600" y="523"/>
                  </a:lnTo>
                  <a:lnTo>
                    <a:pt x="597" y="518"/>
                  </a:lnTo>
                  <a:lnTo>
                    <a:pt x="591" y="510"/>
                  </a:lnTo>
                  <a:lnTo>
                    <a:pt x="582" y="503"/>
                  </a:lnTo>
                  <a:lnTo>
                    <a:pt x="568" y="492"/>
                  </a:lnTo>
                  <a:lnTo>
                    <a:pt x="549" y="479"/>
                  </a:lnTo>
                  <a:lnTo>
                    <a:pt x="523"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643" name="Group 19">
            <a:extLst>
              <a:ext uri="{FF2B5EF4-FFF2-40B4-BE49-F238E27FC236}">
                <a16:creationId xmlns:a16="http://schemas.microsoft.com/office/drawing/2014/main" id="{7C3E5DC4-9EAD-410B-9736-6BB80FEACBBF}"/>
              </a:ext>
            </a:extLst>
          </p:cNvPr>
          <p:cNvGrpSpPr>
            <a:grpSpLocks noChangeAspect="1"/>
          </p:cNvGrpSpPr>
          <p:nvPr/>
        </p:nvGrpSpPr>
        <p:grpSpPr>
          <a:xfrm>
            <a:off x="2736259" y="2724897"/>
            <a:ext cx="285619" cy="285619"/>
            <a:chOff x="887413" y="4219576"/>
            <a:chExt cx="285750" cy="285750"/>
          </a:xfrm>
          <a:solidFill>
            <a:schemeClr val="bg1"/>
          </a:solidFill>
          <a:effectLst/>
        </p:grpSpPr>
        <p:sp>
          <p:nvSpPr>
            <p:cNvPr id="644" name="Freeform 21">
              <a:extLst>
                <a:ext uri="{FF2B5EF4-FFF2-40B4-BE49-F238E27FC236}">
                  <a16:creationId xmlns:a16="http://schemas.microsoft.com/office/drawing/2014/main" id="{E1923C27-B1B1-4672-BF73-04097D1ED0E0}"/>
                </a:ext>
              </a:extLst>
            </p:cNvPr>
            <p:cNvSpPr>
              <a:spLocks noEditPoints="1"/>
            </p:cNvSpPr>
            <p:nvPr/>
          </p:nvSpPr>
          <p:spPr bwMode="auto">
            <a:xfrm>
              <a:off x="887413" y="4219576"/>
              <a:ext cx="285750" cy="285750"/>
            </a:xfrm>
            <a:custGeom>
              <a:avLst/>
              <a:gdLst>
                <a:gd name="T0" fmla="*/ 366 w 901"/>
                <a:gd name="T1" fmla="*/ 862 h 901"/>
                <a:gd name="T2" fmla="*/ 269 w 901"/>
                <a:gd name="T3" fmla="*/ 829 h 901"/>
                <a:gd name="T4" fmla="*/ 183 w 901"/>
                <a:gd name="T5" fmla="*/ 775 h 901"/>
                <a:gd name="T6" fmla="*/ 113 w 901"/>
                <a:gd name="T7" fmla="*/ 702 h 901"/>
                <a:gd name="T8" fmla="*/ 63 w 901"/>
                <a:gd name="T9" fmla="*/ 614 h 901"/>
                <a:gd name="T10" fmla="*/ 34 w 901"/>
                <a:gd name="T11" fmla="*/ 515 h 901"/>
                <a:gd name="T12" fmla="*/ 32 w 901"/>
                <a:gd name="T13" fmla="*/ 408 h 901"/>
                <a:gd name="T14" fmla="*/ 56 w 901"/>
                <a:gd name="T15" fmla="*/ 306 h 901"/>
                <a:gd name="T16" fmla="*/ 102 w 901"/>
                <a:gd name="T17" fmla="*/ 215 h 901"/>
                <a:gd name="T18" fmla="*/ 168 w 901"/>
                <a:gd name="T19" fmla="*/ 139 h 901"/>
                <a:gd name="T20" fmla="*/ 250 w 901"/>
                <a:gd name="T21" fmla="*/ 81 h 901"/>
                <a:gd name="T22" fmla="*/ 346 w 901"/>
                <a:gd name="T23" fmla="*/ 43 h 901"/>
                <a:gd name="T24" fmla="*/ 450 w 901"/>
                <a:gd name="T25" fmla="*/ 30 h 901"/>
                <a:gd name="T26" fmla="*/ 555 w 901"/>
                <a:gd name="T27" fmla="*/ 43 h 901"/>
                <a:gd name="T28" fmla="*/ 651 w 901"/>
                <a:gd name="T29" fmla="*/ 80 h 901"/>
                <a:gd name="T30" fmla="*/ 733 w 901"/>
                <a:gd name="T31" fmla="*/ 139 h 901"/>
                <a:gd name="T32" fmla="*/ 799 w 901"/>
                <a:gd name="T33" fmla="*/ 215 h 901"/>
                <a:gd name="T34" fmla="*/ 845 w 901"/>
                <a:gd name="T35" fmla="*/ 306 h 901"/>
                <a:gd name="T36" fmla="*/ 869 w 901"/>
                <a:gd name="T37" fmla="*/ 408 h 901"/>
                <a:gd name="T38" fmla="*/ 866 w 901"/>
                <a:gd name="T39" fmla="*/ 515 h 901"/>
                <a:gd name="T40" fmla="*/ 838 w 901"/>
                <a:gd name="T41" fmla="*/ 614 h 901"/>
                <a:gd name="T42" fmla="*/ 787 w 901"/>
                <a:gd name="T43" fmla="*/ 702 h 901"/>
                <a:gd name="T44" fmla="*/ 718 w 901"/>
                <a:gd name="T45" fmla="*/ 775 h 901"/>
                <a:gd name="T46" fmla="*/ 632 w 901"/>
                <a:gd name="T47" fmla="*/ 829 h 901"/>
                <a:gd name="T48" fmla="*/ 535 w 901"/>
                <a:gd name="T49" fmla="*/ 862 h 901"/>
                <a:gd name="T50" fmla="*/ 450 w 901"/>
                <a:gd name="T51" fmla="*/ 871 h 901"/>
                <a:gd name="T52" fmla="*/ 359 w 901"/>
                <a:gd name="T53" fmla="*/ 9 h 901"/>
                <a:gd name="T54" fmla="*/ 255 w 901"/>
                <a:gd name="T55" fmla="*/ 45 h 901"/>
                <a:gd name="T56" fmla="*/ 164 w 901"/>
                <a:gd name="T57" fmla="*/ 103 h 901"/>
                <a:gd name="T58" fmla="*/ 90 w 901"/>
                <a:gd name="T59" fmla="*/ 181 h 901"/>
                <a:gd name="T60" fmla="*/ 35 w 901"/>
                <a:gd name="T61" fmla="*/ 275 h 901"/>
                <a:gd name="T62" fmla="*/ 5 w 901"/>
                <a:gd name="T63" fmla="*/ 382 h 901"/>
                <a:gd name="T64" fmla="*/ 2 w 901"/>
                <a:gd name="T65" fmla="*/ 496 h 901"/>
                <a:gd name="T66" fmla="*/ 27 w 901"/>
                <a:gd name="T67" fmla="*/ 606 h 901"/>
                <a:gd name="T68" fmla="*/ 77 w 901"/>
                <a:gd name="T69" fmla="*/ 702 h 901"/>
                <a:gd name="T70" fmla="*/ 148 w 901"/>
                <a:gd name="T71" fmla="*/ 783 h 901"/>
                <a:gd name="T72" fmla="*/ 235 w 901"/>
                <a:gd name="T73" fmla="*/ 846 h 901"/>
                <a:gd name="T74" fmla="*/ 338 w 901"/>
                <a:gd name="T75" fmla="*/ 887 h 901"/>
                <a:gd name="T76" fmla="*/ 450 w 901"/>
                <a:gd name="T77" fmla="*/ 901 h 901"/>
                <a:gd name="T78" fmla="*/ 563 w 901"/>
                <a:gd name="T79" fmla="*/ 887 h 901"/>
                <a:gd name="T80" fmla="*/ 664 w 901"/>
                <a:gd name="T81" fmla="*/ 846 h 901"/>
                <a:gd name="T82" fmla="*/ 753 w 901"/>
                <a:gd name="T83" fmla="*/ 783 h 901"/>
                <a:gd name="T84" fmla="*/ 824 w 901"/>
                <a:gd name="T85" fmla="*/ 702 h 901"/>
                <a:gd name="T86" fmla="*/ 873 w 901"/>
                <a:gd name="T87" fmla="*/ 606 h 901"/>
                <a:gd name="T88" fmla="*/ 899 w 901"/>
                <a:gd name="T89" fmla="*/ 496 h 901"/>
                <a:gd name="T90" fmla="*/ 896 w 901"/>
                <a:gd name="T91" fmla="*/ 382 h 901"/>
                <a:gd name="T92" fmla="*/ 866 w 901"/>
                <a:gd name="T93" fmla="*/ 275 h 901"/>
                <a:gd name="T94" fmla="*/ 811 w 901"/>
                <a:gd name="T95" fmla="*/ 181 h 901"/>
                <a:gd name="T96" fmla="*/ 736 w 901"/>
                <a:gd name="T97" fmla="*/ 103 h 901"/>
                <a:gd name="T98" fmla="*/ 645 w 901"/>
                <a:gd name="T99" fmla="*/ 44 h 901"/>
                <a:gd name="T100" fmla="*/ 541 w 901"/>
                <a:gd name="T101" fmla="*/ 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901">
                  <a:moveTo>
                    <a:pt x="450" y="871"/>
                  </a:moveTo>
                  <a:lnTo>
                    <a:pt x="429" y="870"/>
                  </a:lnTo>
                  <a:lnTo>
                    <a:pt x="408" y="869"/>
                  </a:lnTo>
                  <a:lnTo>
                    <a:pt x="386" y="866"/>
                  </a:lnTo>
                  <a:lnTo>
                    <a:pt x="366" y="862"/>
                  </a:lnTo>
                  <a:lnTo>
                    <a:pt x="346" y="857"/>
                  </a:lnTo>
                  <a:lnTo>
                    <a:pt x="325" y="852"/>
                  </a:lnTo>
                  <a:lnTo>
                    <a:pt x="306" y="845"/>
                  </a:lnTo>
                  <a:lnTo>
                    <a:pt x="287" y="838"/>
                  </a:lnTo>
                  <a:lnTo>
                    <a:pt x="269" y="829"/>
                  </a:lnTo>
                  <a:lnTo>
                    <a:pt x="250" y="820"/>
                  </a:lnTo>
                  <a:lnTo>
                    <a:pt x="232" y="810"/>
                  </a:lnTo>
                  <a:lnTo>
                    <a:pt x="215" y="799"/>
                  </a:lnTo>
                  <a:lnTo>
                    <a:pt x="199" y="788"/>
                  </a:lnTo>
                  <a:lnTo>
                    <a:pt x="183" y="775"/>
                  </a:lnTo>
                  <a:lnTo>
                    <a:pt x="168" y="762"/>
                  </a:lnTo>
                  <a:lnTo>
                    <a:pt x="153" y="748"/>
                  </a:lnTo>
                  <a:lnTo>
                    <a:pt x="139" y="733"/>
                  </a:lnTo>
                  <a:lnTo>
                    <a:pt x="126" y="718"/>
                  </a:lnTo>
                  <a:lnTo>
                    <a:pt x="113" y="702"/>
                  </a:lnTo>
                  <a:lnTo>
                    <a:pt x="102" y="686"/>
                  </a:lnTo>
                  <a:lnTo>
                    <a:pt x="91" y="669"/>
                  </a:lnTo>
                  <a:lnTo>
                    <a:pt x="80" y="651"/>
                  </a:lnTo>
                  <a:lnTo>
                    <a:pt x="72" y="632"/>
                  </a:lnTo>
                  <a:lnTo>
                    <a:pt x="63" y="614"/>
                  </a:lnTo>
                  <a:lnTo>
                    <a:pt x="56" y="595"/>
                  </a:lnTo>
                  <a:lnTo>
                    <a:pt x="49" y="576"/>
                  </a:lnTo>
                  <a:lnTo>
                    <a:pt x="43" y="555"/>
                  </a:lnTo>
                  <a:lnTo>
                    <a:pt x="38" y="535"/>
                  </a:lnTo>
                  <a:lnTo>
                    <a:pt x="34" y="515"/>
                  </a:lnTo>
                  <a:lnTo>
                    <a:pt x="32" y="493"/>
                  </a:lnTo>
                  <a:lnTo>
                    <a:pt x="30" y="472"/>
                  </a:lnTo>
                  <a:lnTo>
                    <a:pt x="30" y="450"/>
                  </a:lnTo>
                  <a:lnTo>
                    <a:pt x="30" y="429"/>
                  </a:lnTo>
                  <a:lnTo>
                    <a:pt x="32" y="408"/>
                  </a:lnTo>
                  <a:lnTo>
                    <a:pt x="34" y="386"/>
                  </a:lnTo>
                  <a:lnTo>
                    <a:pt x="38" y="366"/>
                  </a:lnTo>
                  <a:lnTo>
                    <a:pt x="43" y="346"/>
                  </a:lnTo>
                  <a:lnTo>
                    <a:pt x="49" y="325"/>
                  </a:lnTo>
                  <a:lnTo>
                    <a:pt x="56" y="306"/>
                  </a:lnTo>
                  <a:lnTo>
                    <a:pt x="63" y="287"/>
                  </a:lnTo>
                  <a:lnTo>
                    <a:pt x="72" y="269"/>
                  </a:lnTo>
                  <a:lnTo>
                    <a:pt x="80" y="250"/>
                  </a:lnTo>
                  <a:lnTo>
                    <a:pt x="91" y="232"/>
                  </a:lnTo>
                  <a:lnTo>
                    <a:pt x="102" y="215"/>
                  </a:lnTo>
                  <a:lnTo>
                    <a:pt x="113" y="199"/>
                  </a:lnTo>
                  <a:lnTo>
                    <a:pt x="126" y="183"/>
                  </a:lnTo>
                  <a:lnTo>
                    <a:pt x="139" y="168"/>
                  </a:lnTo>
                  <a:lnTo>
                    <a:pt x="153" y="153"/>
                  </a:lnTo>
                  <a:lnTo>
                    <a:pt x="168" y="139"/>
                  </a:lnTo>
                  <a:lnTo>
                    <a:pt x="183" y="126"/>
                  </a:lnTo>
                  <a:lnTo>
                    <a:pt x="199" y="113"/>
                  </a:lnTo>
                  <a:lnTo>
                    <a:pt x="215" y="102"/>
                  </a:lnTo>
                  <a:lnTo>
                    <a:pt x="232" y="91"/>
                  </a:lnTo>
                  <a:lnTo>
                    <a:pt x="250" y="81"/>
                  </a:lnTo>
                  <a:lnTo>
                    <a:pt x="269" y="72"/>
                  </a:lnTo>
                  <a:lnTo>
                    <a:pt x="287" y="63"/>
                  </a:lnTo>
                  <a:lnTo>
                    <a:pt x="306" y="56"/>
                  </a:lnTo>
                  <a:lnTo>
                    <a:pt x="325" y="49"/>
                  </a:lnTo>
                  <a:lnTo>
                    <a:pt x="346" y="43"/>
                  </a:lnTo>
                  <a:lnTo>
                    <a:pt x="366" y="38"/>
                  </a:lnTo>
                  <a:lnTo>
                    <a:pt x="386" y="35"/>
                  </a:lnTo>
                  <a:lnTo>
                    <a:pt x="408" y="32"/>
                  </a:lnTo>
                  <a:lnTo>
                    <a:pt x="429" y="31"/>
                  </a:lnTo>
                  <a:lnTo>
                    <a:pt x="450" y="30"/>
                  </a:lnTo>
                  <a:lnTo>
                    <a:pt x="472" y="31"/>
                  </a:lnTo>
                  <a:lnTo>
                    <a:pt x="493" y="32"/>
                  </a:lnTo>
                  <a:lnTo>
                    <a:pt x="515" y="35"/>
                  </a:lnTo>
                  <a:lnTo>
                    <a:pt x="535" y="38"/>
                  </a:lnTo>
                  <a:lnTo>
                    <a:pt x="555" y="43"/>
                  </a:lnTo>
                  <a:lnTo>
                    <a:pt x="576" y="49"/>
                  </a:lnTo>
                  <a:lnTo>
                    <a:pt x="595" y="56"/>
                  </a:lnTo>
                  <a:lnTo>
                    <a:pt x="614" y="63"/>
                  </a:lnTo>
                  <a:lnTo>
                    <a:pt x="632" y="72"/>
                  </a:lnTo>
                  <a:lnTo>
                    <a:pt x="651" y="80"/>
                  </a:lnTo>
                  <a:lnTo>
                    <a:pt x="668" y="91"/>
                  </a:lnTo>
                  <a:lnTo>
                    <a:pt x="685" y="102"/>
                  </a:lnTo>
                  <a:lnTo>
                    <a:pt x="702" y="113"/>
                  </a:lnTo>
                  <a:lnTo>
                    <a:pt x="718" y="126"/>
                  </a:lnTo>
                  <a:lnTo>
                    <a:pt x="733" y="139"/>
                  </a:lnTo>
                  <a:lnTo>
                    <a:pt x="748" y="153"/>
                  </a:lnTo>
                  <a:lnTo>
                    <a:pt x="762" y="168"/>
                  </a:lnTo>
                  <a:lnTo>
                    <a:pt x="775" y="183"/>
                  </a:lnTo>
                  <a:lnTo>
                    <a:pt x="787" y="199"/>
                  </a:lnTo>
                  <a:lnTo>
                    <a:pt x="799" y="215"/>
                  </a:lnTo>
                  <a:lnTo>
                    <a:pt x="810" y="232"/>
                  </a:lnTo>
                  <a:lnTo>
                    <a:pt x="820" y="250"/>
                  </a:lnTo>
                  <a:lnTo>
                    <a:pt x="829" y="269"/>
                  </a:lnTo>
                  <a:lnTo>
                    <a:pt x="838" y="287"/>
                  </a:lnTo>
                  <a:lnTo>
                    <a:pt x="845" y="306"/>
                  </a:lnTo>
                  <a:lnTo>
                    <a:pt x="852" y="325"/>
                  </a:lnTo>
                  <a:lnTo>
                    <a:pt x="857" y="346"/>
                  </a:lnTo>
                  <a:lnTo>
                    <a:pt x="862" y="366"/>
                  </a:lnTo>
                  <a:lnTo>
                    <a:pt x="866" y="386"/>
                  </a:lnTo>
                  <a:lnTo>
                    <a:pt x="869" y="408"/>
                  </a:lnTo>
                  <a:lnTo>
                    <a:pt x="870" y="429"/>
                  </a:lnTo>
                  <a:lnTo>
                    <a:pt x="871" y="450"/>
                  </a:lnTo>
                  <a:lnTo>
                    <a:pt x="870" y="472"/>
                  </a:lnTo>
                  <a:lnTo>
                    <a:pt x="869" y="493"/>
                  </a:lnTo>
                  <a:lnTo>
                    <a:pt x="866" y="515"/>
                  </a:lnTo>
                  <a:lnTo>
                    <a:pt x="862" y="535"/>
                  </a:lnTo>
                  <a:lnTo>
                    <a:pt x="857" y="555"/>
                  </a:lnTo>
                  <a:lnTo>
                    <a:pt x="852" y="576"/>
                  </a:lnTo>
                  <a:lnTo>
                    <a:pt x="845" y="595"/>
                  </a:lnTo>
                  <a:lnTo>
                    <a:pt x="838" y="614"/>
                  </a:lnTo>
                  <a:lnTo>
                    <a:pt x="829" y="632"/>
                  </a:lnTo>
                  <a:lnTo>
                    <a:pt x="820" y="651"/>
                  </a:lnTo>
                  <a:lnTo>
                    <a:pt x="810" y="669"/>
                  </a:lnTo>
                  <a:lnTo>
                    <a:pt x="799" y="686"/>
                  </a:lnTo>
                  <a:lnTo>
                    <a:pt x="787" y="702"/>
                  </a:lnTo>
                  <a:lnTo>
                    <a:pt x="775" y="718"/>
                  </a:lnTo>
                  <a:lnTo>
                    <a:pt x="762" y="733"/>
                  </a:lnTo>
                  <a:lnTo>
                    <a:pt x="748" y="748"/>
                  </a:lnTo>
                  <a:lnTo>
                    <a:pt x="733" y="762"/>
                  </a:lnTo>
                  <a:lnTo>
                    <a:pt x="718" y="775"/>
                  </a:lnTo>
                  <a:lnTo>
                    <a:pt x="702" y="788"/>
                  </a:lnTo>
                  <a:lnTo>
                    <a:pt x="685" y="799"/>
                  </a:lnTo>
                  <a:lnTo>
                    <a:pt x="668" y="810"/>
                  </a:lnTo>
                  <a:lnTo>
                    <a:pt x="651" y="820"/>
                  </a:lnTo>
                  <a:lnTo>
                    <a:pt x="632" y="829"/>
                  </a:lnTo>
                  <a:lnTo>
                    <a:pt x="614" y="838"/>
                  </a:lnTo>
                  <a:lnTo>
                    <a:pt x="595" y="845"/>
                  </a:lnTo>
                  <a:lnTo>
                    <a:pt x="576" y="852"/>
                  </a:lnTo>
                  <a:lnTo>
                    <a:pt x="555" y="858"/>
                  </a:lnTo>
                  <a:lnTo>
                    <a:pt x="535" y="862"/>
                  </a:lnTo>
                  <a:lnTo>
                    <a:pt x="515" y="866"/>
                  </a:lnTo>
                  <a:lnTo>
                    <a:pt x="493" y="869"/>
                  </a:lnTo>
                  <a:lnTo>
                    <a:pt x="472" y="870"/>
                  </a:lnTo>
                  <a:lnTo>
                    <a:pt x="450" y="871"/>
                  </a:lnTo>
                  <a:lnTo>
                    <a:pt x="450" y="871"/>
                  </a:lnTo>
                  <a:close/>
                  <a:moveTo>
                    <a:pt x="450" y="0"/>
                  </a:moveTo>
                  <a:lnTo>
                    <a:pt x="427" y="0"/>
                  </a:lnTo>
                  <a:lnTo>
                    <a:pt x="404" y="2"/>
                  </a:lnTo>
                  <a:lnTo>
                    <a:pt x="382" y="5"/>
                  </a:lnTo>
                  <a:lnTo>
                    <a:pt x="359" y="9"/>
                  </a:lnTo>
                  <a:lnTo>
                    <a:pt x="338" y="14"/>
                  </a:lnTo>
                  <a:lnTo>
                    <a:pt x="317" y="20"/>
                  </a:lnTo>
                  <a:lnTo>
                    <a:pt x="295" y="28"/>
                  </a:lnTo>
                  <a:lnTo>
                    <a:pt x="275" y="35"/>
                  </a:lnTo>
                  <a:lnTo>
                    <a:pt x="255" y="45"/>
                  </a:lnTo>
                  <a:lnTo>
                    <a:pt x="235" y="55"/>
                  </a:lnTo>
                  <a:lnTo>
                    <a:pt x="217" y="65"/>
                  </a:lnTo>
                  <a:lnTo>
                    <a:pt x="199" y="77"/>
                  </a:lnTo>
                  <a:lnTo>
                    <a:pt x="181" y="90"/>
                  </a:lnTo>
                  <a:lnTo>
                    <a:pt x="164" y="103"/>
                  </a:lnTo>
                  <a:lnTo>
                    <a:pt x="148" y="117"/>
                  </a:lnTo>
                  <a:lnTo>
                    <a:pt x="132" y="132"/>
                  </a:lnTo>
                  <a:lnTo>
                    <a:pt x="117" y="148"/>
                  </a:lnTo>
                  <a:lnTo>
                    <a:pt x="103" y="164"/>
                  </a:lnTo>
                  <a:lnTo>
                    <a:pt x="90" y="181"/>
                  </a:lnTo>
                  <a:lnTo>
                    <a:pt x="77" y="199"/>
                  </a:lnTo>
                  <a:lnTo>
                    <a:pt x="65" y="217"/>
                  </a:lnTo>
                  <a:lnTo>
                    <a:pt x="55" y="235"/>
                  </a:lnTo>
                  <a:lnTo>
                    <a:pt x="44" y="256"/>
                  </a:lnTo>
                  <a:lnTo>
                    <a:pt x="35" y="275"/>
                  </a:lnTo>
                  <a:lnTo>
                    <a:pt x="27" y="295"/>
                  </a:lnTo>
                  <a:lnTo>
                    <a:pt x="20" y="317"/>
                  </a:lnTo>
                  <a:lnTo>
                    <a:pt x="14" y="338"/>
                  </a:lnTo>
                  <a:lnTo>
                    <a:pt x="9" y="360"/>
                  </a:lnTo>
                  <a:lnTo>
                    <a:pt x="5" y="382"/>
                  </a:lnTo>
                  <a:lnTo>
                    <a:pt x="2" y="404"/>
                  </a:lnTo>
                  <a:lnTo>
                    <a:pt x="0" y="427"/>
                  </a:lnTo>
                  <a:lnTo>
                    <a:pt x="0" y="450"/>
                  </a:lnTo>
                  <a:lnTo>
                    <a:pt x="0" y="474"/>
                  </a:lnTo>
                  <a:lnTo>
                    <a:pt x="2" y="496"/>
                  </a:lnTo>
                  <a:lnTo>
                    <a:pt x="5" y="519"/>
                  </a:lnTo>
                  <a:lnTo>
                    <a:pt x="9" y="541"/>
                  </a:lnTo>
                  <a:lnTo>
                    <a:pt x="14" y="563"/>
                  </a:lnTo>
                  <a:lnTo>
                    <a:pt x="20" y="584"/>
                  </a:lnTo>
                  <a:lnTo>
                    <a:pt x="27" y="606"/>
                  </a:lnTo>
                  <a:lnTo>
                    <a:pt x="35" y="626"/>
                  </a:lnTo>
                  <a:lnTo>
                    <a:pt x="44" y="645"/>
                  </a:lnTo>
                  <a:lnTo>
                    <a:pt x="55" y="665"/>
                  </a:lnTo>
                  <a:lnTo>
                    <a:pt x="65" y="684"/>
                  </a:lnTo>
                  <a:lnTo>
                    <a:pt x="77" y="702"/>
                  </a:lnTo>
                  <a:lnTo>
                    <a:pt x="90" y="720"/>
                  </a:lnTo>
                  <a:lnTo>
                    <a:pt x="103" y="737"/>
                  </a:lnTo>
                  <a:lnTo>
                    <a:pt x="117" y="753"/>
                  </a:lnTo>
                  <a:lnTo>
                    <a:pt x="132" y="769"/>
                  </a:lnTo>
                  <a:lnTo>
                    <a:pt x="148" y="783"/>
                  </a:lnTo>
                  <a:lnTo>
                    <a:pt x="164" y="798"/>
                  </a:lnTo>
                  <a:lnTo>
                    <a:pt x="181" y="811"/>
                  </a:lnTo>
                  <a:lnTo>
                    <a:pt x="199" y="824"/>
                  </a:lnTo>
                  <a:lnTo>
                    <a:pt x="217" y="836"/>
                  </a:lnTo>
                  <a:lnTo>
                    <a:pt x="235" y="846"/>
                  </a:lnTo>
                  <a:lnTo>
                    <a:pt x="255" y="856"/>
                  </a:lnTo>
                  <a:lnTo>
                    <a:pt x="275" y="866"/>
                  </a:lnTo>
                  <a:lnTo>
                    <a:pt x="295" y="873"/>
                  </a:lnTo>
                  <a:lnTo>
                    <a:pt x="317" y="881"/>
                  </a:lnTo>
                  <a:lnTo>
                    <a:pt x="338" y="887"/>
                  </a:lnTo>
                  <a:lnTo>
                    <a:pt x="359" y="891"/>
                  </a:lnTo>
                  <a:lnTo>
                    <a:pt x="382" y="896"/>
                  </a:lnTo>
                  <a:lnTo>
                    <a:pt x="404" y="899"/>
                  </a:lnTo>
                  <a:lnTo>
                    <a:pt x="427" y="900"/>
                  </a:lnTo>
                  <a:lnTo>
                    <a:pt x="450" y="901"/>
                  </a:lnTo>
                  <a:lnTo>
                    <a:pt x="473" y="900"/>
                  </a:lnTo>
                  <a:lnTo>
                    <a:pt x="496" y="899"/>
                  </a:lnTo>
                  <a:lnTo>
                    <a:pt x="519" y="896"/>
                  </a:lnTo>
                  <a:lnTo>
                    <a:pt x="541" y="891"/>
                  </a:lnTo>
                  <a:lnTo>
                    <a:pt x="563" y="887"/>
                  </a:lnTo>
                  <a:lnTo>
                    <a:pt x="584" y="881"/>
                  </a:lnTo>
                  <a:lnTo>
                    <a:pt x="605" y="873"/>
                  </a:lnTo>
                  <a:lnTo>
                    <a:pt x="626" y="866"/>
                  </a:lnTo>
                  <a:lnTo>
                    <a:pt x="645" y="856"/>
                  </a:lnTo>
                  <a:lnTo>
                    <a:pt x="664" y="846"/>
                  </a:lnTo>
                  <a:lnTo>
                    <a:pt x="684" y="836"/>
                  </a:lnTo>
                  <a:lnTo>
                    <a:pt x="702" y="824"/>
                  </a:lnTo>
                  <a:lnTo>
                    <a:pt x="720" y="811"/>
                  </a:lnTo>
                  <a:lnTo>
                    <a:pt x="736" y="798"/>
                  </a:lnTo>
                  <a:lnTo>
                    <a:pt x="753" y="783"/>
                  </a:lnTo>
                  <a:lnTo>
                    <a:pt x="768" y="768"/>
                  </a:lnTo>
                  <a:lnTo>
                    <a:pt x="783" y="753"/>
                  </a:lnTo>
                  <a:lnTo>
                    <a:pt x="798" y="737"/>
                  </a:lnTo>
                  <a:lnTo>
                    <a:pt x="811" y="720"/>
                  </a:lnTo>
                  <a:lnTo>
                    <a:pt x="824" y="702"/>
                  </a:lnTo>
                  <a:lnTo>
                    <a:pt x="836" y="684"/>
                  </a:lnTo>
                  <a:lnTo>
                    <a:pt x="846" y="665"/>
                  </a:lnTo>
                  <a:lnTo>
                    <a:pt x="856" y="645"/>
                  </a:lnTo>
                  <a:lnTo>
                    <a:pt x="866" y="626"/>
                  </a:lnTo>
                  <a:lnTo>
                    <a:pt x="873" y="606"/>
                  </a:lnTo>
                  <a:lnTo>
                    <a:pt x="881" y="584"/>
                  </a:lnTo>
                  <a:lnTo>
                    <a:pt x="887" y="563"/>
                  </a:lnTo>
                  <a:lnTo>
                    <a:pt x="891" y="541"/>
                  </a:lnTo>
                  <a:lnTo>
                    <a:pt x="896" y="519"/>
                  </a:lnTo>
                  <a:lnTo>
                    <a:pt x="899" y="496"/>
                  </a:lnTo>
                  <a:lnTo>
                    <a:pt x="900" y="474"/>
                  </a:lnTo>
                  <a:lnTo>
                    <a:pt x="901" y="450"/>
                  </a:lnTo>
                  <a:lnTo>
                    <a:pt x="900" y="427"/>
                  </a:lnTo>
                  <a:lnTo>
                    <a:pt x="899" y="404"/>
                  </a:lnTo>
                  <a:lnTo>
                    <a:pt x="896" y="382"/>
                  </a:lnTo>
                  <a:lnTo>
                    <a:pt x="891" y="360"/>
                  </a:lnTo>
                  <a:lnTo>
                    <a:pt x="887" y="338"/>
                  </a:lnTo>
                  <a:lnTo>
                    <a:pt x="881" y="317"/>
                  </a:lnTo>
                  <a:lnTo>
                    <a:pt x="873" y="295"/>
                  </a:lnTo>
                  <a:lnTo>
                    <a:pt x="866" y="275"/>
                  </a:lnTo>
                  <a:lnTo>
                    <a:pt x="856" y="256"/>
                  </a:lnTo>
                  <a:lnTo>
                    <a:pt x="846" y="235"/>
                  </a:lnTo>
                  <a:lnTo>
                    <a:pt x="836" y="217"/>
                  </a:lnTo>
                  <a:lnTo>
                    <a:pt x="824" y="199"/>
                  </a:lnTo>
                  <a:lnTo>
                    <a:pt x="811" y="181"/>
                  </a:lnTo>
                  <a:lnTo>
                    <a:pt x="798" y="164"/>
                  </a:lnTo>
                  <a:lnTo>
                    <a:pt x="783" y="148"/>
                  </a:lnTo>
                  <a:lnTo>
                    <a:pt x="768" y="132"/>
                  </a:lnTo>
                  <a:lnTo>
                    <a:pt x="753" y="117"/>
                  </a:lnTo>
                  <a:lnTo>
                    <a:pt x="736" y="103"/>
                  </a:lnTo>
                  <a:lnTo>
                    <a:pt x="720" y="90"/>
                  </a:lnTo>
                  <a:lnTo>
                    <a:pt x="702" y="77"/>
                  </a:lnTo>
                  <a:lnTo>
                    <a:pt x="684" y="65"/>
                  </a:lnTo>
                  <a:lnTo>
                    <a:pt x="664" y="55"/>
                  </a:lnTo>
                  <a:lnTo>
                    <a:pt x="645" y="44"/>
                  </a:lnTo>
                  <a:lnTo>
                    <a:pt x="626" y="35"/>
                  </a:lnTo>
                  <a:lnTo>
                    <a:pt x="605" y="28"/>
                  </a:lnTo>
                  <a:lnTo>
                    <a:pt x="584" y="20"/>
                  </a:lnTo>
                  <a:lnTo>
                    <a:pt x="563" y="14"/>
                  </a:lnTo>
                  <a:lnTo>
                    <a:pt x="541" y="9"/>
                  </a:lnTo>
                  <a:lnTo>
                    <a:pt x="519" y="5"/>
                  </a:lnTo>
                  <a:lnTo>
                    <a:pt x="496" y="2"/>
                  </a:lnTo>
                  <a:lnTo>
                    <a:pt x="473" y="0"/>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22">
              <a:extLst>
                <a:ext uri="{FF2B5EF4-FFF2-40B4-BE49-F238E27FC236}">
                  <a16:creationId xmlns:a16="http://schemas.microsoft.com/office/drawing/2014/main" id="{838338EE-D978-42F2-82DD-67FC298C2193}"/>
                </a:ext>
              </a:extLst>
            </p:cNvPr>
            <p:cNvSpPr>
              <a:spLocks noEditPoints="1"/>
            </p:cNvSpPr>
            <p:nvPr/>
          </p:nvSpPr>
          <p:spPr bwMode="auto">
            <a:xfrm>
              <a:off x="935038" y="4371976"/>
              <a:ext cx="188913" cy="96838"/>
            </a:xfrm>
            <a:custGeom>
              <a:avLst/>
              <a:gdLst>
                <a:gd name="T0" fmla="*/ 273 w 598"/>
                <a:gd name="T1" fmla="*/ 275 h 308"/>
                <a:gd name="T2" fmla="*/ 235 w 598"/>
                <a:gd name="T3" fmla="*/ 269 h 308"/>
                <a:gd name="T4" fmla="*/ 199 w 598"/>
                <a:gd name="T5" fmla="*/ 257 h 308"/>
                <a:gd name="T6" fmla="*/ 166 w 598"/>
                <a:gd name="T7" fmla="*/ 241 h 308"/>
                <a:gd name="T8" fmla="*/ 135 w 598"/>
                <a:gd name="T9" fmla="*/ 221 h 308"/>
                <a:gd name="T10" fmla="*/ 107 w 598"/>
                <a:gd name="T11" fmla="*/ 196 h 308"/>
                <a:gd name="T12" fmla="*/ 82 w 598"/>
                <a:gd name="T13" fmla="*/ 168 h 308"/>
                <a:gd name="T14" fmla="*/ 62 w 598"/>
                <a:gd name="T15" fmla="*/ 137 h 308"/>
                <a:gd name="T16" fmla="*/ 47 w 598"/>
                <a:gd name="T17" fmla="*/ 103 h 308"/>
                <a:gd name="T18" fmla="*/ 36 w 598"/>
                <a:gd name="T19" fmla="*/ 68 h 308"/>
                <a:gd name="T20" fmla="*/ 31 w 598"/>
                <a:gd name="T21" fmla="*/ 30 h 308"/>
                <a:gd name="T22" fmla="*/ 565 w 598"/>
                <a:gd name="T23" fmla="*/ 56 h 308"/>
                <a:gd name="T24" fmla="*/ 556 w 598"/>
                <a:gd name="T25" fmla="*/ 91 h 308"/>
                <a:gd name="T26" fmla="*/ 542 w 598"/>
                <a:gd name="T27" fmla="*/ 126 h 308"/>
                <a:gd name="T28" fmla="*/ 523 w 598"/>
                <a:gd name="T29" fmla="*/ 158 h 308"/>
                <a:gd name="T30" fmla="*/ 501 w 598"/>
                <a:gd name="T31" fmla="*/ 187 h 308"/>
                <a:gd name="T32" fmla="*/ 474 w 598"/>
                <a:gd name="T33" fmla="*/ 212 h 308"/>
                <a:gd name="T34" fmla="*/ 444 w 598"/>
                <a:gd name="T35" fmla="*/ 235 h 308"/>
                <a:gd name="T36" fmla="*/ 411 w 598"/>
                <a:gd name="T37" fmla="*/ 253 h 308"/>
                <a:gd name="T38" fmla="*/ 375 w 598"/>
                <a:gd name="T39" fmla="*/ 266 h 308"/>
                <a:gd name="T40" fmla="*/ 338 w 598"/>
                <a:gd name="T41" fmla="*/ 274 h 308"/>
                <a:gd name="T42" fmla="*/ 299 w 598"/>
                <a:gd name="T43" fmla="*/ 278 h 308"/>
                <a:gd name="T44" fmla="*/ 15 w 598"/>
                <a:gd name="T45" fmla="*/ 0 h 308"/>
                <a:gd name="T46" fmla="*/ 7 w 598"/>
                <a:gd name="T47" fmla="*/ 3 h 308"/>
                <a:gd name="T48" fmla="*/ 1 w 598"/>
                <a:gd name="T49" fmla="*/ 10 h 308"/>
                <a:gd name="T50" fmla="*/ 1 w 598"/>
                <a:gd name="T51" fmla="*/ 30 h 308"/>
                <a:gd name="T52" fmla="*/ 6 w 598"/>
                <a:gd name="T53" fmla="*/ 74 h 308"/>
                <a:gd name="T54" fmla="*/ 18 w 598"/>
                <a:gd name="T55" fmla="*/ 116 h 308"/>
                <a:gd name="T56" fmla="*/ 36 w 598"/>
                <a:gd name="T57" fmla="*/ 155 h 308"/>
                <a:gd name="T58" fmla="*/ 60 w 598"/>
                <a:gd name="T59" fmla="*/ 190 h 308"/>
                <a:gd name="T60" fmla="*/ 88 w 598"/>
                <a:gd name="T61" fmla="*/ 222 h 308"/>
                <a:gd name="T62" fmla="*/ 121 w 598"/>
                <a:gd name="T63" fmla="*/ 249 h 308"/>
                <a:gd name="T64" fmla="*/ 157 w 598"/>
                <a:gd name="T65" fmla="*/ 272 h 308"/>
                <a:gd name="T66" fmla="*/ 197 w 598"/>
                <a:gd name="T67" fmla="*/ 289 h 308"/>
                <a:gd name="T68" fmla="*/ 240 w 598"/>
                <a:gd name="T69" fmla="*/ 301 h 308"/>
                <a:gd name="T70" fmla="*/ 283 w 598"/>
                <a:gd name="T71" fmla="*/ 306 h 308"/>
                <a:gd name="T72" fmla="*/ 329 w 598"/>
                <a:gd name="T73" fmla="*/ 305 h 308"/>
                <a:gd name="T74" fmla="*/ 374 w 598"/>
                <a:gd name="T75" fmla="*/ 298 h 308"/>
                <a:gd name="T76" fmla="*/ 415 w 598"/>
                <a:gd name="T77" fmla="*/ 284 h 308"/>
                <a:gd name="T78" fmla="*/ 455 w 598"/>
                <a:gd name="T79" fmla="*/ 265 h 308"/>
                <a:gd name="T80" fmla="*/ 489 w 598"/>
                <a:gd name="T81" fmla="*/ 240 h 308"/>
                <a:gd name="T82" fmla="*/ 521 w 598"/>
                <a:gd name="T83" fmla="*/ 211 h 308"/>
                <a:gd name="T84" fmla="*/ 547 w 598"/>
                <a:gd name="T85" fmla="*/ 178 h 308"/>
                <a:gd name="T86" fmla="*/ 569 w 598"/>
                <a:gd name="T87" fmla="*/ 142 h 308"/>
                <a:gd name="T88" fmla="*/ 585 w 598"/>
                <a:gd name="T89" fmla="*/ 102 h 308"/>
                <a:gd name="T90" fmla="*/ 595 w 598"/>
                <a:gd name="T91" fmla="*/ 60 h 308"/>
                <a:gd name="T92" fmla="*/ 598 w 598"/>
                <a:gd name="T93" fmla="*/ 15 h 308"/>
                <a:gd name="T94" fmla="*/ 596 w 598"/>
                <a:gd name="T95" fmla="*/ 7 h 308"/>
                <a:gd name="T96" fmla="*/ 589 w 598"/>
                <a:gd name="T97" fmla="*/ 2 h 308"/>
                <a:gd name="T98" fmla="*/ 583 w 598"/>
                <a:gd name="T9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8" h="308">
                  <a:moveTo>
                    <a:pt x="299" y="278"/>
                  </a:moveTo>
                  <a:lnTo>
                    <a:pt x="287" y="277"/>
                  </a:lnTo>
                  <a:lnTo>
                    <a:pt x="273" y="275"/>
                  </a:lnTo>
                  <a:lnTo>
                    <a:pt x="260" y="274"/>
                  </a:lnTo>
                  <a:lnTo>
                    <a:pt x="248" y="272"/>
                  </a:lnTo>
                  <a:lnTo>
                    <a:pt x="235" y="269"/>
                  </a:lnTo>
                  <a:lnTo>
                    <a:pt x="222" y="266"/>
                  </a:lnTo>
                  <a:lnTo>
                    <a:pt x="211" y="263"/>
                  </a:lnTo>
                  <a:lnTo>
                    <a:pt x="199" y="257"/>
                  </a:lnTo>
                  <a:lnTo>
                    <a:pt x="187" y="253"/>
                  </a:lnTo>
                  <a:lnTo>
                    <a:pt x="176" y="248"/>
                  </a:lnTo>
                  <a:lnTo>
                    <a:pt x="166" y="241"/>
                  </a:lnTo>
                  <a:lnTo>
                    <a:pt x="155" y="235"/>
                  </a:lnTo>
                  <a:lnTo>
                    <a:pt x="144" y="228"/>
                  </a:lnTo>
                  <a:lnTo>
                    <a:pt x="135" y="221"/>
                  </a:lnTo>
                  <a:lnTo>
                    <a:pt x="125" y="212"/>
                  </a:lnTo>
                  <a:lnTo>
                    <a:pt x="115" y="205"/>
                  </a:lnTo>
                  <a:lnTo>
                    <a:pt x="107" y="196"/>
                  </a:lnTo>
                  <a:lnTo>
                    <a:pt x="98" y="187"/>
                  </a:lnTo>
                  <a:lnTo>
                    <a:pt x="90" y="178"/>
                  </a:lnTo>
                  <a:lnTo>
                    <a:pt x="82" y="168"/>
                  </a:lnTo>
                  <a:lnTo>
                    <a:pt x="75" y="158"/>
                  </a:lnTo>
                  <a:lnTo>
                    <a:pt x="68" y="148"/>
                  </a:lnTo>
                  <a:lnTo>
                    <a:pt x="62" y="137"/>
                  </a:lnTo>
                  <a:lnTo>
                    <a:pt x="57" y="126"/>
                  </a:lnTo>
                  <a:lnTo>
                    <a:pt x="51" y="115"/>
                  </a:lnTo>
                  <a:lnTo>
                    <a:pt x="47" y="103"/>
                  </a:lnTo>
                  <a:lnTo>
                    <a:pt x="43" y="91"/>
                  </a:lnTo>
                  <a:lnTo>
                    <a:pt x="38" y="80"/>
                  </a:lnTo>
                  <a:lnTo>
                    <a:pt x="36" y="68"/>
                  </a:lnTo>
                  <a:lnTo>
                    <a:pt x="33" y="56"/>
                  </a:lnTo>
                  <a:lnTo>
                    <a:pt x="32" y="43"/>
                  </a:lnTo>
                  <a:lnTo>
                    <a:pt x="31" y="30"/>
                  </a:lnTo>
                  <a:lnTo>
                    <a:pt x="568" y="30"/>
                  </a:lnTo>
                  <a:lnTo>
                    <a:pt x="567" y="43"/>
                  </a:lnTo>
                  <a:lnTo>
                    <a:pt x="565" y="56"/>
                  </a:lnTo>
                  <a:lnTo>
                    <a:pt x="563" y="68"/>
                  </a:lnTo>
                  <a:lnTo>
                    <a:pt x="559" y="80"/>
                  </a:lnTo>
                  <a:lnTo>
                    <a:pt x="556" y="91"/>
                  </a:lnTo>
                  <a:lnTo>
                    <a:pt x="552" y="103"/>
                  </a:lnTo>
                  <a:lnTo>
                    <a:pt x="548" y="115"/>
                  </a:lnTo>
                  <a:lnTo>
                    <a:pt x="542" y="126"/>
                  </a:lnTo>
                  <a:lnTo>
                    <a:pt x="536" y="137"/>
                  </a:lnTo>
                  <a:lnTo>
                    <a:pt x="531" y="148"/>
                  </a:lnTo>
                  <a:lnTo>
                    <a:pt x="523" y="158"/>
                  </a:lnTo>
                  <a:lnTo>
                    <a:pt x="517" y="168"/>
                  </a:lnTo>
                  <a:lnTo>
                    <a:pt x="508" y="178"/>
                  </a:lnTo>
                  <a:lnTo>
                    <a:pt x="501" y="187"/>
                  </a:lnTo>
                  <a:lnTo>
                    <a:pt x="492" y="196"/>
                  </a:lnTo>
                  <a:lnTo>
                    <a:pt x="483" y="205"/>
                  </a:lnTo>
                  <a:lnTo>
                    <a:pt x="474" y="212"/>
                  </a:lnTo>
                  <a:lnTo>
                    <a:pt x="464" y="221"/>
                  </a:lnTo>
                  <a:lnTo>
                    <a:pt x="455" y="228"/>
                  </a:lnTo>
                  <a:lnTo>
                    <a:pt x="444" y="235"/>
                  </a:lnTo>
                  <a:lnTo>
                    <a:pt x="433" y="241"/>
                  </a:lnTo>
                  <a:lnTo>
                    <a:pt x="422" y="248"/>
                  </a:lnTo>
                  <a:lnTo>
                    <a:pt x="411" y="253"/>
                  </a:lnTo>
                  <a:lnTo>
                    <a:pt x="399" y="257"/>
                  </a:lnTo>
                  <a:lnTo>
                    <a:pt x="387" y="263"/>
                  </a:lnTo>
                  <a:lnTo>
                    <a:pt x="375" y="266"/>
                  </a:lnTo>
                  <a:lnTo>
                    <a:pt x="364" y="269"/>
                  </a:lnTo>
                  <a:lnTo>
                    <a:pt x="351" y="272"/>
                  </a:lnTo>
                  <a:lnTo>
                    <a:pt x="338" y="274"/>
                  </a:lnTo>
                  <a:lnTo>
                    <a:pt x="325" y="277"/>
                  </a:lnTo>
                  <a:lnTo>
                    <a:pt x="312" y="277"/>
                  </a:lnTo>
                  <a:lnTo>
                    <a:pt x="299" y="278"/>
                  </a:lnTo>
                  <a:lnTo>
                    <a:pt x="299" y="278"/>
                  </a:lnTo>
                  <a:close/>
                  <a:moveTo>
                    <a:pt x="583" y="0"/>
                  </a:moveTo>
                  <a:lnTo>
                    <a:pt x="15" y="0"/>
                  </a:lnTo>
                  <a:lnTo>
                    <a:pt x="13" y="0"/>
                  </a:lnTo>
                  <a:lnTo>
                    <a:pt x="9" y="2"/>
                  </a:lnTo>
                  <a:lnTo>
                    <a:pt x="7" y="3"/>
                  </a:lnTo>
                  <a:lnTo>
                    <a:pt x="4" y="5"/>
                  </a:lnTo>
                  <a:lnTo>
                    <a:pt x="3" y="7"/>
                  </a:lnTo>
                  <a:lnTo>
                    <a:pt x="1" y="10"/>
                  </a:lnTo>
                  <a:lnTo>
                    <a:pt x="1" y="12"/>
                  </a:lnTo>
                  <a:lnTo>
                    <a:pt x="0" y="15"/>
                  </a:lnTo>
                  <a:lnTo>
                    <a:pt x="1" y="30"/>
                  </a:lnTo>
                  <a:lnTo>
                    <a:pt x="2" y="45"/>
                  </a:lnTo>
                  <a:lnTo>
                    <a:pt x="4" y="60"/>
                  </a:lnTo>
                  <a:lnTo>
                    <a:pt x="6" y="74"/>
                  </a:lnTo>
                  <a:lnTo>
                    <a:pt x="9" y="88"/>
                  </a:lnTo>
                  <a:lnTo>
                    <a:pt x="14" y="102"/>
                  </a:lnTo>
                  <a:lnTo>
                    <a:pt x="18" y="116"/>
                  </a:lnTo>
                  <a:lnTo>
                    <a:pt x="23" y="129"/>
                  </a:lnTo>
                  <a:lnTo>
                    <a:pt x="30" y="142"/>
                  </a:lnTo>
                  <a:lnTo>
                    <a:pt x="36" y="155"/>
                  </a:lnTo>
                  <a:lnTo>
                    <a:pt x="44" y="166"/>
                  </a:lnTo>
                  <a:lnTo>
                    <a:pt x="51" y="178"/>
                  </a:lnTo>
                  <a:lnTo>
                    <a:pt x="60" y="190"/>
                  </a:lnTo>
                  <a:lnTo>
                    <a:pt x="68" y="201"/>
                  </a:lnTo>
                  <a:lnTo>
                    <a:pt x="78" y="211"/>
                  </a:lnTo>
                  <a:lnTo>
                    <a:pt x="88" y="222"/>
                  </a:lnTo>
                  <a:lnTo>
                    <a:pt x="98" y="232"/>
                  </a:lnTo>
                  <a:lnTo>
                    <a:pt x="109" y="240"/>
                  </a:lnTo>
                  <a:lnTo>
                    <a:pt x="121" y="249"/>
                  </a:lnTo>
                  <a:lnTo>
                    <a:pt x="133" y="257"/>
                  </a:lnTo>
                  <a:lnTo>
                    <a:pt x="144" y="265"/>
                  </a:lnTo>
                  <a:lnTo>
                    <a:pt x="157" y="272"/>
                  </a:lnTo>
                  <a:lnTo>
                    <a:pt x="170" y="279"/>
                  </a:lnTo>
                  <a:lnTo>
                    <a:pt x="183" y="284"/>
                  </a:lnTo>
                  <a:lnTo>
                    <a:pt x="197" y="289"/>
                  </a:lnTo>
                  <a:lnTo>
                    <a:pt x="211" y="294"/>
                  </a:lnTo>
                  <a:lnTo>
                    <a:pt x="225" y="298"/>
                  </a:lnTo>
                  <a:lnTo>
                    <a:pt x="240" y="301"/>
                  </a:lnTo>
                  <a:lnTo>
                    <a:pt x="253" y="304"/>
                  </a:lnTo>
                  <a:lnTo>
                    <a:pt x="268" y="305"/>
                  </a:lnTo>
                  <a:lnTo>
                    <a:pt x="283" y="306"/>
                  </a:lnTo>
                  <a:lnTo>
                    <a:pt x="299" y="308"/>
                  </a:lnTo>
                  <a:lnTo>
                    <a:pt x="314" y="306"/>
                  </a:lnTo>
                  <a:lnTo>
                    <a:pt x="329" y="305"/>
                  </a:lnTo>
                  <a:lnTo>
                    <a:pt x="344" y="304"/>
                  </a:lnTo>
                  <a:lnTo>
                    <a:pt x="359" y="301"/>
                  </a:lnTo>
                  <a:lnTo>
                    <a:pt x="374" y="298"/>
                  </a:lnTo>
                  <a:lnTo>
                    <a:pt x="388" y="294"/>
                  </a:lnTo>
                  <a:lnTo>
                    <a:pt x="402" y="289"/>
                  </a:lnTo>
                  <a:lnTo>
                    <a:pt x="415" y="284"/>
                  </a:lnTo>
                  <a:lnTo>
                    <a:pt x="429" y="279"/>
                  </a:lnTo>
                  <a:lnTo>
                    <a:pt x="442" y="272"/>
                  </a:lnTo>
                  <a:lnTo>
                    <a:pt x="455" y="265"/>
                  </a:lnTo>
                  <a:lnTo>
                    <a:pt x="466" y="257"/>
                  </a:lnTo>
                  <a:lnTo>
                    <a:pt x="478" y="249"/>
                  </a:lnTo>
                  <a:lnTo>
                    <a:pt x="489" y="240"/>
                  </a:lnTo>
                  <a:lnTo>
                    <a:pt x="501" y="232"/>
                  </a:lnTo>
                  <a:lnTo>
                    <a:pt x="510" y="222"/>
                  </a:lnTo>
                  <a:lnTo>
                    <a:pt x="521" y="211"/>
                  </a:lnTo>
                  <a:lnTo>
                    <a:pt x="529" y="201"/>
                  </a:lnTo>
                  <a:lnTo>
                    <a:pt x="539" y="190"/>
                  </a:lnTo>
                  <a:lnTo>
                    <a:pt x="547" y="178"/>
                  </a:lnTo>
                  <a:lnTo>
                    <a:pt x="555" y="166"/>
                  </a:lnTo>
                  <a:lnTo>
                    <a:pt x="562" y="155"/>
                  </a:lnTo>
                  <a:lnTo>
                    <a:pt x="569" y="142"/>
                  </a:lnTo>
                  <a:lnTo>
                    <a:pt x="574" y="129"/>
                  </a:lnTo>
                  <a:lnTo>
                    <a:pt x="580" y="116"/>
                  </a:lnTo>
                  <a:lnTo>
                    <a:pt x="585" y="102"/>
                  </a:lnTo>
                  <a:lnTo>
                    <a:pt x="588" y="88"/>
                  </a:lnTo>
                  <a:lnTo>
                    <a:pt x="593" y="74"/>
                  </a:lnTo>
                  <a:lnTo>
                    <a:pt x="595" y="60"/>
                  </a:lnTo>
                  <a:lnTo>
                    <a:pt x="597" y="45"/>
                  </a:lnTo>
                  <a:lnTo>
                    <a:pt x="598" y="30"/>
                  </a:lnTo>
                  <a:lnTo>
                    <a:pt x="598" y="15"/>
                  </a:lnTo>
                  <a:lnTo>
                    <a:pt x="598" y="12"/>
                  </a:lnTo>
                  <a:lnTo>
                    <a:pt x="597" y="10"/>
                  </a:lnTo>
                  <a:lnTo>
                    <a:pt x="596" y="7"/>
                  </a:lnTo>
                  <a:lnTo>
                    <a:pt x="594" y="5"/>
                  </a:lnTo>
                  <a:lnTo>
                    <a:pt x="592" y="3"/>
                  </a:lnTo>
                  <a:lnTo>
                    <a:pt x="589" y="2"/>
                  </a:lnTo>
                  <a:lnTo>
                    <a:pt x="586" y="0"/>
                  </a:lnTo>
                  <a:lnTo>
                    <a:pt x="583" y="0"/>
                  </a:lnTo>
                  <a:lnTo>
                    <a:pt x="5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23">
              <a:extLst>
                <a:ext uri="{FF2B5EF4-FFF2-40B4-BE49-F238E27FC236}">
                  <a16:creationId xmlns:a16="http://schemas.microsoft.com/office/drawing/2014/main" id="{EBFFD713-82B5-441F-8DB5-34FAD57B0D43}"/>
                </a:ext>
              </a:extLst>
            </p:cNvPr>
            <p:cNvSpPr>
              <a:spLocks/>
            </p:cNvSpPr>
            <p:nvPr/>
          </p:nvSpPr>
          <p:spPr bwMode="auto">
            <a:xfrm>
              <a:off x="944563" y="4310063"/>
              <a:ext cx="55563" cy="33338"/>
            </a:xfrm>
            <a:custGeom>
              <a:avLst/>
              <a:gdLst>
                <a:gd name="T0" fmla="*/ 17 w 179"/>
                <a:gd name="T1" fmla="*/ 105 h 105"/>
                <a:gd name="T2" fmla="*/ 22 w 179"/>
                <a:gd name="T3" fmla="*/ 101 h 105"/>
                <a:gd name="T4" fmla="*/ 26 w 179"/>
                <a:gd name="T5" fmla="*/ 98 h 105"/>
                <a:gd name="T6" fmla="*/ 29 w 179"/>
                <a:gd name="T7" fmla="*/ 93 h 105"/>
                <a:gd name="T8" fmla="*/ 30 w 179"/>
                <a:gd name="T9" fmla="*/ 83 h 105"/>
                <a:gd name="T10" fmla="*/ 32 w 179"/>
                <a:gd name="T11" fmla="*/ 71 h 105"/>
                <a:gd name="T12" fmla="*/ 36 w 179"/>
                <a:gd name="T13" fmla="*/ 61 h 105"/>
                <a:gd name="T14" fmla="*/ 43 w 179"/>
                <a:gd name="T15" fmla="*/ 51 h 105"/>
                <a:gd name="T16" fmla="*/ 51 w 179"/>
                <a:gd name="T17" fmla="*/ 42 h 105"/>
                <a:gd name="T18" fmla="*/ 61 w 179"/>
                <a:gd name="T19" fmla="*/ 36 h 105"/>
                <a:gd name="T20" fmla="*/ 71 w 179"/>
                <a:gd name="T21" fmla="*/ 32 h 105"/>
                <a:gd name="T22" fmla="*/ 83 w 179"/>
                <a:gd name="T23" fmla="*/ 30 h 105"/>
                <a:gd name="T24" fmla="*/ 96 w 179"/>
                <a:gd name="T25" fmla="*/ 30 h 105"/>
                <a:gd name="T26" fmla="*/ 108 w 179"/>
                <a:gd name="T27" fmla="*/ 32 h 105"/>
                <a:gd name="T28" fmla="*/ 118 w 179"/>
                <a:gd name="T29" fmla="*/ 36 h 105"/>
                <a:gd name="T30" fmla="*/ 128 w 179"/>
                <a:gd name="T31" fmla="*/ 42 h 105"/>
                <a:gd name="T32" fmla="*/ 136 w 179"/>
                <a:gd name="T33" fmla="*/ 51 h 105"/>
                <a:gd name="T34" fmla="*/ 142 w 179"/>
                <a:gd name="T35" fmla="*/ 61 h 105"/>
                <a:gd name="T36" fmla="*/ 146 w 179"/>
                <a:gd name="T37" fmla="*/ 71 h 105"/>
                <a:gd name="T38" fmla="*/ 150 w 179"/>
                <a:gd name="T39" fmla="*/ 83 h 105"/>
                <a:gd name="T40" fmla="*/ 150 w 179"/>
                <a:gd name="T41" fmla="*/ 93 h 105"/>
                <a:gd name="T42" fmla="*/ 152 w 179"/>
                <a:gd name="T43" fmla="*/ 98 h 105"/>
                <a:gd name="T44" fmla="*/ 156 w 179"/>
                <a:gd name="T45" fmla="*/ 101 h 105"/>
                <a:gd name="T46" fmla="*/ 161 w 179"/>
                <a:gd name="T47" fmla="*/ 105 h 105"/>
                <a:gd name="T48" fmla="*/ 168 w 179"/>
                <a:gd name="T49" fmla="*/ 105 h 105"/>
                <a:gd name="T50" fmla="*/ 173 w 179"/>
                <a:gd name="T51" fmla="*/ 101 h 105"/>
                <a:gd name="T52" fmla="*/ 177 w 179"/>
                <a:gd name="T53" fmla="*/ 98 h 105"/>
                <a:gd name="T54" fmla="*/ 179 w 179"/>
                <a:gd name="T55" fmla="*/ 93 h 105"/>
                <a:gd name="T56" fmla="*/ 179 w 179"/>
                <a:gd name="T57" fmla="*/ 80 h 105"/>
                <a:gd name="T58" fmla="*/ 175 w 179"/>
                <a:gd name="T59" fmla="*/ 62 h 105"/>
                <a:gd name="T60" fmla="*/ 169 w 179"/>
                <a:gd name="T61" fmla="*/ 46 h 105"/>
                <a:gd name="T62" fmla="*/ 159 w 179"/>
                <a:gd name="T63" fmla="*/ 32 h 105"/>
                <a:gd name="T64" fmla="*/ 147 w 179"/>
                <a:gd name="T65" fmla="*/ 20 h 105"/>
                <a:gd name="T66" fmla="*/ 132 w 179"/>
                <a:gd name="T67" fmla="*/ 10 h 105"/>
                <a:gd name="T68" fmla="*/ 116 w 179"/>
                <a:gd name="T69" fmla="*/ 3 h 105"/>
                <a:gd name="T70" fmla="*/ 98 w 179"/>
                <a:gd name="T71" fmla="*/ 0 h 105"/>
                <a:gd name="T72" fmla="*/ 80 w 179"/>
                <a:gd name="T73" fmla="*/ 0 h 105"/>
                <a:gd name="T74" fmla="*/ 62 w 179"/>
                <a:gd name="T75" fmla="*/ 3 h 105"/>
                <a:gd name="T76" fmla="*/ 46 w 179"/>
                <a:gd name="T77" fmla="*/ 10 h 105"/>
                <a:gd name="T78" fmla="*/ 32 w 179"/>
                <a:gd name="T79" fmla="*/ 20 h 105"/>
                <a:gd name="T80" fmla="*/ 20 w 179"/>
                <a:gd name="T81" fmla="*/ 32 h 105"/>
                <a:gd name="T82" fmla="*/ 10 w 179"/>
                <a:gd name="T83" fmla="*/ 46 h 105"/>
                <a:gd name="T84" fmla="*/ 3 w 179"/>
                <a:gd name="T85" fmla="*/ 62 h 105"/>
                <a:gd name="T86" fmla="*/ 0 w 179"/>
                <a:gd name="T87" fmla="*/ 80 h 105"/>
                <a:gd name="T88" fmla="*/ 0 w 179"/>
                <a:gd name="T89" fmla="*/ 93 h 105"/>
                <a:gd name="T90" fmla="*/ 2 w 179"/>
                <a:gd name="T91" fmla="*/ 98 h 105"/>
                <a:gd name="T92" fmla="*/ 6 w 179"/>
                <a:gd name="T93" fmla="*/ 101 h 105"/>
                <a:gd name="T94" fmla="*/ 11 w 179"/>
                <a:gd name="T9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9" h="105">
                  <a:moveTo>
                    <a:pt x="15" y="105"/>
                  </a:moveTo>
                  <a:lnTo>
                    <a:pt x="17" y="105"/>
                  </a:lnTo>
                  <a:lnTo>
                    <a:pt x="20" y="103"/>
                  </a:lnTo>
                  <a:lnTo>
                    <a:pt x="22" y="101"/>
                  </a:lnTo>
                  <a:lnTo>
                    <a:pt x="25" y="100"/>
                  </a:lnTo>
                  <a:lnTo>
                    <a:pt x="26" y="98"/>
                  </a:lnTo>
                  <a:lnTo>
                    <a:pt x="29" y="95"/>
                  </a:lnTo>
                  <a:lnTo>
                    <a:pt x="29" y="93"/>
                  </a:lnTo>
                  <a:lnTo>
                    <a:pt x="30" y="90"/>
                  </a:lnTo>
                  <a:lnTo>
                    <a:pt x="30" y="83"/>
                  </a:lnTo>
                  <a:lnTo>
                    <a:pt x="31" y="77"/>
                  </a:lnTo>
                  <a:lnTo>
                    <a:pt x="32" y="71"/>
                  </a:lnTo>
                  <a:lnTo>
                    <a:pt x="34" y="66"/>
                  </a:lnTo>
                  <a:lnTo>
                    <a:pt x="36" y="61"/>
                  </a:lnTo>
                  <a:lnTo>
                    <a:pt x="39" y="55"/>
                  </a:lnTo>
                  <a:lnTo>
                    <a:pt x="43" y="51"/>
                  </a:lnTo>
                  <a:lnTo>
                    <a:pt x="47" y="47"/>
                  </a:lnTo>
                  <a:lnTo>
                    <a:pt x="51" y="42"/>
                  </a:lnTo>
                  <a:lnTo>
                    <a:pt x="55" y="39"/>
                  </a:lnTo>
                  <a:lnTo>
                    <a:pt x="61" y="36"/>
                  </a:lnTo>
                  <a:lnTo>
                    <a:pt x="66" y="34"/>
                  </a:lnTo>
                  <a:lnTo>
                    <a:pt x="71" y="32"/>
                  </a:lnTo>
                  <a:lnTo>
                    <a:pt x="77" y="31"/>
                  </a:lnTo>
                  <a:lnTo>
                    <a:pt x="83" y="30"/>
                  </a:lnTo>
                  <a:lnTo>
                    <a:pt x="90" y="30"/>
                  </a:lnTo>
                  <a:lnTo>
                    <a:pt x="96" y="30"/>
                  </a:lnTo>
                  <a:lnTo>
                    <a:pt x="101" y="31"/>
                  </a:lnTo>
                  <a:lnTo>
                    <a:pt x="108" y="32"/>
                  </a:lnTo>
                  <a:lnTo>
                    <a:pt x="113" y="34"/>
                  </a:lnTo>
                  <a:lnTo>
                    <a:pt x="118" y="36"/>
                  </a:lnTo>
                  <a:lnTo>
                    <a:pt x="123" y="39"/>
                  </a:lnTo>
                  <a:lnTo>
                    <a:pt x="128" y="42"/>
                  </a:lnTo>
                  <a:lnTo>
                    <a:pt x="132" y="47"/>
                  </a:lnTo>
                  <a:lnTo>
                    <a:pt x="136" y="51"/>
                  </a:lnTo>
                  <a:lnTo>
                    <a:pt x="139" y="55"/>
                  </a:lnTo>
                  <a:lnTo>
                    <a:pt x="142" y="61"/>
                  </a:lnTo>
                  <a:lnTo>
                    <a:pt x="145" y="66"/>
                  </a:lnTo>
                  <a:lnTo>
                    <a:pt x="146" y="71"/>
                  </a:lnTo>
                  <a:lnTo>
                    <a:pt x="148" y="77"/>
                  </a:lnTo>
                  <a:lnTo>
                    <a:pt x="150" y="83"/>
                  </a:lnTo>
                  <a:lnTo>
                    <a:pt x="150" y="90"/>
                  </a:lnTo>
                  <a:lnTo>
                    <a:pt x="150" y="93"/>
                  </a:lnTo>
                  <a:lnTo>
                    <a:pt x="151" y="95"/>
                  </a:lnTo>
                  <a:lnTo>
                    <a:pt x="152" y="98"/>
                  </a:lnTo>
                  <a:lnTo>
                    <a:pt x="154" y="100"/>
                  </a:lnTo>
                  <a:lnTo>
                    <a:pt x="156" y="101"/>
                  </a:lnTo>
                  <a:lnTo>
                    <a:pt x="158" y="103"/>
                  </a:lnTo>
                  <a:lnTo>
                    <a:pt x="161" y="105"/>
                  </a:lnTo>
                  <a:lnTo>
                    <a:pt x="164" y="105"/>
                  </a:lnTo>
                  <a:lnTo>
                    <a:pt x="168" y="105"/>
                  </a:lnTo>
                  <a:lnTo>
                    <a:pt x="170" y="103"/>
                  </a:lnTo>
                  <a:lnTo>
                    <a:pt x="173" y="101"/>
                  </a:lnTo>
                  <a:lnTo>
                    <a:pt x="175" y="100"/>
                  </a:lnTo>
                  <a:lnTo>
                    <a:pt x="177" y="98"/>
                  </a:lnTo>
                  <a:lnTo>
                    <a:pt x="178" y="95"/>
                  </a:lnTo>
                  <a:lnTo>
                    <a:pt x="179" y="93"/>
                  </a:lnTo>
                  <a:lnTo>
                    <a:pt x="179" y="90"/>
                  </a:lnTo>
                  <a:lnTo>
                    <a:pt x="179" y="80"/>
                  </a:lnTo>
                  <a:lnTo>
                    <a:pt x="177" y="71"/>
                  </a:lnTo>
                  <a:lnTo>
                    <a:pt x="175" y="62"/>
                  </a:lnTo>
                  <a:lnTo>
                    <a:pt x="172" y="54"/>
                  </a:lnTo>
                  <a:lnTo>
                    <a:pt x="169" y="46"/>
                  </a:lnTo>
                  <a:lnTo>
                    <a:pt x="164" y="38"/>
                  </a:lnTo>
                  <a:lnTo>
                    <a:pt x="159" y="32"/>
                  </a:lnTo>
                  <a:lnTo>
                    <a:pt x="154" y="25"/>
                  </a:lnTo>
                  <a:lnTo>
                    <a:pt x="147" y="20"/>
                  </a:lnTo>
                  <a:lnTo>
                    <a:pt x="140" y="15"/>
                  </a:lnTo>
                  <a:lnTo>
                    <a:pt x="132" y="10"/>
                  </a:lnTo>
                  <a:lnTo>
                    <a:pt x="125" y="6"/>
                  </a:lnTo>
                  <a:lnTo>
                    <a:pt x="116" y="3"/>
                  </a:lnTo>
                  <a:lnTo>
                    <a:pt x="108" y="1"/>
                  </a:lnTo>
                  <a:lnTo>
                    <a:pt x="98" y="0"/>
                  </a:lnTo>
                  <a:lnTo>
                    <a:pt x="90" y="0"/>
                  </a:lnTo>
                  <a:lnTo>
                    <a:pt x="80" y="0"/>
                  </a:lnTo>
                  <a:lnTo>
                    <a:pt x="71" y="1"/>
                  </a:lnTo>
                  <a:lnTo>
                    <a:pt x="62" y="3"/>
                  </a:lnTo>
                  <a:lnTo>
                    <a:pt x="54" y="6"/>
                  </a:lnTo>
                  <a:lnTo>
                    <a:pt x="46" y="10"/>
                  </a:lnTo>
                  <a:lnTo>
                    <a:pt x="38" y="15"/>
                  </a:lnTo>
                  <a:lnTo>
                    <a:pt x="32" y="20"/>
                  </a:lnTo>
                  <a:lnTo>
                    <a:pt x="25" y="25"/>
                  </a:lnTo>
                  <a:lnTo>
                    <a:pt x="20" y="32"/>
                  </a:lnTo>
                  <a:lnTo>
                    <a:pt x="15" y="38"/>
                  </a:lnTo>
                  <a:lnTo>
                    <a:pt x="10" y="46"/>
                  </a:lnTo>
                  <a:lnTo>
                    <a:pt x="6" y="54"/>
                  </a:lnTo>
                  <a:lnTo>
                    <a:pt x="3" y="62"/>
                  </a:lnTo>
                  <a:lnTo>
                    <a:pt x="1" y="71"/>
                  </a:lnTo>
                  <a:lnTo>
                    <a:pt x="0" y="80"/>
                  </a:lnTo>
                  <a:lnTo>
                    <a:pt x="0" y="90"/>
                  </a:lnTo>
                  <a:lnTo>
                    <a:pt x="0" y="93"/>
                  </a:lnTo>
                  <a:lnTo>
                    <a:pt x="1" y="95"/>
                  </a:lnTo>
                  <a:lnTo>
                    <a:pt x="2" y="98"/>
                  </a:lnTo>
                  <a:lnTo>
                    <a:pt x="4" y="100"/>
                  </a:lnTo>
                  <a:lnTo>
                    <a:pt x="6" y="101"/>
                  </a:lnTo>
                  <a:lnTo>
                    <a:pt x="8" y="103"/>
                  </a:lnTo>
                  <a:lnTo>
                    <a:pt x="11" y="105"/>
                  </a:lnTo>
                  <a:lnTo>
                    <a:pt x="1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24">
              <a:extLst>
                <a:ext uri="{FF2B5EF4-FFF2-40B4-BE49-F238E27FC236}">
                  <a16:creationId xmlns:a16="http://schemas.microsoft.com/office/drawing/2014/main" id="{4A753296-DE77-464F-9B7F-E81E3E236D2B}"/>
                </a:ext>
              </a:extLst>
            </p:cNvPr>
            <p:cNvSpPr>
              <a:spLocks/>
            </p:cNvSpPr>
            <p:nvPr/>
          </p:nvSpPr>
          <p:spPr bwMode="auto">
            <a:xfrm>
              <a:off x="1057275" y="4310063"/>
              <a:ext cx="58738" cy="33338"/>
            </a:xfrm>
            <a:custGeom>
              <a:avLst/>
              <a:gdLst>
                <a:gd name="T0" fmla="*/ 18 w 181"/>
                <a:gd name="T1" fmla="*/ 105 h 105"/>
                <a:gd name="T2" fmla="*/ 24 w 181"/>
                <a:gd name="T3" fmla="*/ 101 h 105"/>
                <a:gd name="T4" fmla="*/ 28 w 181"/>
                <a:gd name="T5" fmla="*/ 98 h 105"/>
                <a:gd name="T6" fmla="*/ 30 w 181"/>
                <a:gd name="T7" fmla="*/ 93 h 105"/>
                <a:gd name="T8" fmla="*/ 31 w 181"/>
                <a:gd name="T9" fmla="*/ 83 h 105"/>
                <a:gd name="T10" fmla="*/ 33 w 181"/>
                <a:gd name="T11" fmla="*/ 71 h 105"/>
                <a:gd name="T12" fmla="*/ 38 w 181"/>
                <a:gd name="T13" fmla="*/ 61 h 105"/>
                <a:gd name="T14" fmla="*/ 44 w 181"/>
                <a:gd name="T15" fmla="*/ 51 h 105"/>
                <a:gd name="T16" fmla="*/ 53 w 181"/>
                <a:gd name="T17" fmla="*/ 42 h 105"/>
                <a:gd name="T18" fmla="*/ 62 w 181"/>
                <a:gd name="T19" fmla="*/ 36 h 105"/>
                <a:gd name="T20" fmla="*/ 73 w 181"/>
                <a:gd name="T21" fmla="*/ 32 h 105"/>
                <a:gd name="T22" fmla="*/ 85 w 181"/>
                <a:gd name="T23" fmla="*/ 30 h 105"/>
                <a:gd name="T24" fmla="*/ 97 w 181"/>
                <a:gd name="T25" fmla="*/ 30 h 105"/>
                <a:gd name="T26" fmla="*/ 108 w 181"/>
                <a:gd name="T27" fmla="*/ 32 h 105"/>
                <a:gd name="T28" fmla="*/ 120 w 181"/>
                <a:gd name="T29" fmla="*/ 36 h 105"/>
                <a:gd name="T30" fmla="*/ 130 w 181"/>
                <a:gd name="T31" fmla="*/ 42 h 105"/>
                <a:gd name="T32" fmla="*/ 137 w 181"/>
                <a:gd name="T33" fmla="*/ 51 h 105"/>
                <a:gd name="T34" fmla="*/ 144 w 181"/>
                <a:gd name="T35" fmla="*/ 61 h 105"/>
                <a:gd name="T36" fmla="*/ 148 w 181"/>
                <a:gd name="T37" fmla="*/ 71 h 105"/>
                <a:gd name="T38" fmla="*/ 150 w 181"/>
                <a:gd name="T39" fmla="*/ 83 h 105"/>
                <a:gd name="T40" fmla="*/ 151 w 181"/>
                <a:gd name="T41" fmla="*/ 93 h 105"/>
                <a:gd name="T42" fmla="*/ 153 w 181"/>
                <a:gd name="T43" fmla="*/ 98 h 105"/>
                <a:gd name="T44" fmla="*/ 158 w 181"/>
                <a:gd name="T45" fmla="*/ 101 h 105"/>
                <a:gd name="T46" fmla="*/ 163 w 181"/>
                <a:gd name="T47" fmla="*/ 105 h 105"/>
                <a:gd name="T48" fmla="*/ 169 w 181"/>
                <a:gd name="T49" fmla="*/ 105 h 105"/>
                <a:gd name="T50" fmla="*/ 175 w 181"/>
                <a:gd name="T51" fmla="*/ 101 h 105"/>
                <a:gd name="T52" fmla="*/ 178 w 181"/>
                <a:gd name="T53" fmla="*/ 98 h 105"/>
                <a:gd name="T54" fmla="*/ 181 w 181"/>
                <a:gd name="T55" fmla="*/ 93 h 105"/>
                <a:gd name="T56" fmla="*/ 180 w 181"/>
                <a:gd name="T57" fmla="*/ 80 h 105"/>
                <a:gd name="T58" fmla="*/ 177 w 181"/>
                <a:gd name="T59" fmla="*/ 62 h 105"/>
                <a:gd name="T60" fmla="*/ 170 w 181"/>
                <a:gd name="T61" fmla="*/ 46 h 105"/>
                <a:gd name="T62" fmla="*/ 161 w 181"/>
                <a:gd name="T63" fmla="*/ 32 h 105"/>
                <a:gd name="T64" fmla="*/ 148 w 181"/>
                <a:gd name="T65" fmla="*/ 20 h 105"/>
                <a:gd name="T66" fmla="*/ 134 w 181"/>
                <a:gd name="T67" fmla="*/ 10 h 105"/>
                <a:gd name="T68" fmla="*/ 118 w 181"/>
                <a:gd name="T69" fmla="*/ 3 h 105"/>
                <a:gd name="T70" fmla="*/ 100 w 181"/>
                <a:gd name="T71" fmla="*/ 0 h 105"/>
                <a:gd name="T72" fmla="*/ 82 w 181"/>
                <a:gd name="T73" fmla="*/ 0 h 105"/>
                <a:gd name="T74" fmla="*/ 63 w 181"/>
                <a:gd name="T75" fmla="*/ 3 h 105"/>
                <a:gd name="T76" fmla="*/ 47 w 181"/>
                <a:gd name="T77" fmla="*/ 10 h 105"/>
                <a:gd name="T78" fmla="*/ 33 w 181"/>
                <a:gd name="T79" fmla="*/ 20 h 105"/>
                <a:gd name="T80" fmla="*/ 21 w 181"/>
                <a:gd name="T81" fmla="*/ 32 h 105"/>
                <a:gd name="T82" fmla="*/ 11 w 181"/>
                <a:gd name="T83" fmla="*/ 46 h 105"/>
                <a:gd name="T84" fmla="*/ 5 w 181"/>
                <a:gd name="T85" fmla="*/ 62 h 105"/>
                <a:gd name="T86" fmla="*/ 1 w 181"/>
                <a:gd name="T87" fmla="*/ 80 h 105"/>
                <a:gd name="T88" fmla="*/ 1 w 181"/>
                <a:gd name="T89" fmla="*/ 93 h 105"/>
                <a:gd name="T90" fmla="*/ 3 w 181"/>
                <a:gd name="T91" fmla="*/ 98 h 105"/>
                <a:gd name="T92" fmla="*/ 8 w 181"/>
                <a:gd name="T93" fmla="*/ 101 h 105"/>
                <a:gd name="T94" fmla="*/ 13 w 181"/>
                <a:gd name="T9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05">
                  <a:moveTo>
                    <a:pt x="15" y="105"/>
                  </a:moveTo>
                  <a:lnTo>
                    <a:pt x="18" y="105"/>
                  </a:lnTo>
                  <a:lnTo>
                    <a:pt x="22" y="103"/>
                  </a:lnTo>
                  <a:lnTo>
                    <a:pt x="24" y="101"/>
                  </a:lnTo>
                  <a:lnTo>
                    <a:pt x="26" y="100"/>
                  </a:lnTo>
                  <a:lnTo>
                    <a:pt x="28" y="98"/>
                  </a:lnTo>
                  <a:lnTo>
                    <a:pt x="29" y="95"/>
                  </a:lnTo>
                  <a:lnTo>
                    <a:pt x="30" y="93"/>
                  </a:lnTo>
                  <a:lnTo>
                    <a:pt x="30" y="90"/>
                  </a:lnTo>
                  <a:lnTo>
                    <a:pt x="31" y="83"/>
                  </a:lnTo>
                  <a:lnTo>
                    <a:pt x="32" y="77"/>
                  </a:lnTo>
                  <a:lnTo>
                    <a:pt x="33" y="71"/>
                  </a:lnTo>
                  <a:lnTo>
                    <a:pt x="36" y="66"/>
                  </a:lnTo>
                  <a:lnTo>
                    <a:pt x="38" y="61"/>
                  </a:lnTo>
                  <a:lnTo>
                    <a:pt x="41" y="55"/>
                  </a:lnTo>
                  <a:lnTo>
                    <a:pt x="44" y="51"/>
                  </a:lnTo>
                  <a:lnTo>
                    <a:pt x="48" y="47"/>
                  </a:lnTo>
                  <a:lnTo>
                    <a:pt x="53" y="42"/>
                  </a:lnTo>
                  <a:lnTo>
                    <a:pt x="57" y="39"/>
                  </a:lnTo>
                  <a:lnTo>
                    <a:pt x="62" y="36"/>
                  </a:lnTo>
                  <a:lnTo>
                    <a:pt x="68" y="34"/>
                  </a:lnTo>
                  <a:lnTo>
                    <a:pt x="73" y="32"/>
                  </a:lnTo>
                  <a:lnTo>
                    <a:pt x="78" y="31"/>
                  </a:lnTo>
                  <a:lnTo>
                    <a:pt x="85" y="30"/>
                  </a:lnTo>
                  <a:lnTo>
                    <a:pt x="91" y="30"/>
                  </a:lnTo>
                  <a:lnTo>
                    <a:pt x="97" y="30"/>
                  </a:lnTo>
                  <a:lnTo>
                    <a:pt x="103" y="31"/>
                  </a:lnTo>
                  <a:lnTo>
                    <a:pt x="108" y="32"/>
                  </a:lnTo>
                  <a:lnTo>
                    <a:pt x="115" y="34"/>
                  </a:lnTo>
                  <a:lnTo>
                    <a:pt x="120" y="36"/>
                  </a:lnTo>
                  <a:lnTo>
                    <a:pt x="124" y="39"/>
                  </a:lnTo>
                  <a:lnTo>
                    <a:pt x="130" y="42"/>
                  </a:lnTo>
                  <a:lnTo>
                    <a:pt x="133" y="47"/>
                  </a:lnTo>
                  <a:lnTo>
                    <a:pt x="137" y="51"/>
                  </a:lnTo>
                  <a:lnTo>
                    <a:pt x="140" y="55"/>
                  </a:lnTo>
                  <a:lnTo>
                    <a:pt x="144" y="61"/>
                  </a:lnTo>
                  <a:lnTo>
                    <a:pt x="146" y="66"/>
                  </a:lnTo>
                  <a:lnTo>
                    <a:pt x="148" y="71"/>
                  </a:lnTo>
                  <a:lnTo>
                    <a:pt x="150" y="77"/>
                  </a:lnTo>
                  <a:lnTo>
                    <a:pt x="150" y="83"/>
                  </a:lnTo>
                  <a:lnTo>
                    <a:pt x="151" y="90"/>
                  </a:lnTo>
                  <a:lnTo>
                    <a:pt x="151" y="93"/>
                  </a:lnTo>
                  <a:lnTo>
                    <a:pt x="152" y="95"/>
                  </a:lnTo>
                  <a:lnTo>
                    <a:pt x="153" y="98"/>
                  </a:lnTo>
                  <a:lnTo>
                    <a:pt x="155" y="100"/>
                  </a:lnTo>
                  <a:lnTo>
                    <a:pt x="158" y="101"/>
                  </a:lnTo>
                  <a:lnTo>
                    <a:pt x="160" y="103"/>
                  </a:lnTo>
                  <a:lnTo>
                    <a:pt x="163" y="105"/>
                  </a:lnTo>
                  <a:lnTo>
                    <a:pt x="166" y="105"/>
                  </a:lnTo>
                  <a:lnTo>
                    <a:pt x="169" y="105"/>
                  </a:lnTo>
                  <a:lnTo>
                    <a:pt x="171" y="103"/>
                  </a:lnTo>
                  <a:lnTo>
                    <a:pt x="175" y="101"/>
                  </a:lnTo>
                  <a:lnTo>
                    <a:pt x="177" y="100"/>
                  </a:lnTo>
                  <a:lnTo>
                    <a:pt x="178" y="98"/>
                  </a:lnTo>
                  <a:lnTo>
                    <a:pt x="180" y="95"/>
                  </a:lnTo>
                  <a:lnTo>
                    <a:pt x="181" y="93"/>
                  </a:lnTo>
                  <a:lnTo>
                    <a:pt x="181" y="90"/>
                  </a:lnTo>
                  <a:lnTo>
                    <a:pt x="180" y="80"/>
                  </a:lnTo>
                  <a:lnTo>
                    <a:pt x="179" y="71"/>
                  </a:lnTo>
                  <a:lnTo>
                    <a:pt x="177" y="62"/>
                  </a:lnTo>
                  <a:lnTo>
                    <a:pt x="174" y="54"/>
                  </a:lnTo>
                  <a:lnTo>
                    <a:pt x="170" y="46"/>
                  </a:lnTo>
                  <a:lnTo>
                    <a:pt x="166" y="38"/>
                  </a:lnTo>
                  <a:lnTo>
                    <a:pt x="161" y="32"/>
                  </a:lnTo>
                  <a:lnTo>
                    <a:pt x="154" y="25"/>
                  </a:lnTo>
                  <a:lnTo>
                    <a:pt x="148" y="20"/>
                  </a:lnTo>
                  <a:lnTo>
                    <a:pt x="141" y="15"/>
                  </a:lnTo>
                  <a:lnTo>
                    <a:pt x="134" y="10"/>
                  </a:lnTo>
                  <a:lnTo>
                    <a:pt x="126" y="6"/>
                  </a:lnTo>
                  <a:lnTo>
                    <a:pt x="118" y="3"/>
                  </a:lnTo>
                  <a:lnTo>
                    <a:pt x="109" y="1"/>
                  </a:lnTo>
                  <a:lnTo>
                    <a:pt x="100" y="0"/>
                  </a:lnTo>
                  <a:lnTo>
                    <a:pt x="91" y="0"/>
                  </a:lnTo>
                  <a:lnTo>
                    <a:pt x="82" y="0"/>
                  </a:lnTo>
                  <a:lnTo>
                    <a:pt x="72" y="1"/>
                  </a:lnTo>
                  <a:lnTo>
                    <a:pt x="63" y="3"/>
                  </a:lnTo>
                  <a:lnTo>
                    <a:pt x="56" y="6"/>
                  </a:lnTo>
                  <a:lnTo>
                    <a:pt x="47" y="10"/>
                  </a:lnTo>
                  <a:lnTo>
                    <a:pt x="40" y="15"/>
                  </a:lnTo>
                  <a:lnTo>
                    <a:pt x="33" y="20"/>
                  </a:lnTo>
                  <a:lnTo>
                    <a:pt x="27" y="25"/>
                  </a:lnTo>
                  <a:lnTo>
                    <a:pt x="21" y="32"/>
                  </a:lnTo>
                  <a:lnTo>
                    <a:pt x="16" y="38"/>
                  </a:lnTo>
                  <a:lnTo>
                    <a:pt x="11" y="46"/>
                  </a:lnTo>
                  <a:lnTo>
                    <a:pt x="8" y="54"/>
                  </a:lnTo>
                  <a:lnTo>
                    <a:pt x="5" y="62"/>
                  </a:lnTo>
                  <a:lnTo>
                    <a:pt x="2" y="71"/>
                  </a:lnTo>
                  <a:lnTo>
                    <a:pt x="1" y="80"/>
                  </a:lnTo>
                  <a:lnTo>
                    <a:pt x="0" y="90"/>
                  </a:lnTo>
                  <a:lnTo>
                    <a:pt x="1" y="93"/>
                  </a:lnTo>
                  <a:lnTo>
                    <a:pt x="1" y="95"/>
                  </a:lnTo>
                  <a:lnTo>
                    <a:pt x="3" y="98"/>
                  </a:lnTo>
                  <a:lnTo>
                    <a:pt x="6" y="100"/>
                  </a:lnTo>
                  <a:lnTo>
                    <a:pt x="8" y="101"/>
                  </a:lnTo>
                  <a:lnTo>
                    <a:pt x="10" y="103"/>
                  </a:lnTo>
                  <a:lnTo>
                    <a:pt x="13" y="105"/>
                  </a:lnTo>
                  <a:lnTo>
                    <a:pt x="15"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0" name="Group 14">
            <a:extLst>
              <a:ext uri="{FF2B5EF4-FFF2-40B4-BE49-F238E27FC236}">
                <a16:creationId xmlns:a16="http://schemas.microsoft.com/office/drawing/2014/main" id="{D28DC287-B542-43D0-A821-957AAF2C6971}"/>
              </a:ext>
            </a:extLst>
          </p:cNvPr>
          <p:cNvGrpSpPr>
            <a:grpSpLocks noChangeAspect="1"/>
          </p:cNvGrpSpPr>
          <p:nvPr/>
        </p:nvGrpSpPr>
        <p:grpSpPr>
          <a:xfrm>
            <a:off x="2752671" y="5417577"/>
            <a:ext cx="252795" cy="285619"/>
            <a:chOff x="4010025" y="1682750"/>
            <a:chExt cx="941388" cy="1063626"/>
          </a:xfrm>
          <a:solidFill>
            <a:schemeClr val="bg1"/>
          </a:solidFill>
          <a:effectLst/>
        </p:grpSpPr>
        <p:sp>
          <p:nvSpPr>
            <p:cNvPr id="511" name="Freeform 48">
              <a:extLst>
                <a:ext uri="{FF2B5EF4-FFF2-40B4-BE49-F238E27FC236}">
                  <a16:creationId xmlns:a16="http://schemas.microsoft.com/office/drawing/2014/main" id="{219810BC-7523-439A-8482-2921263C1DCB}"/>
                </a:ext>
              </a:extLst>
            </p:cNvPr>
            <p:cNvSpPr>
              <a:spLocks noEditPoints="1"/>
            </p:cNvSpPr>
            <p:nvPr/>
          </p:nvSpPr>
          <p:spPr bwMode="auto">
            <a:xfrm>
              <a:off x="4265613" y="1793875"/>
              <a:ext cx="439738" cy="420688"/>
            </a:xfrm>
            <a:custGeom>
              <a:avLst/>
              <a:gdLst>
                <a:gd name="T0" fmla="*/ 425 w 831"/>
                <a:gd name="T1" fmla="*/ 595 h 793"/>
                <a:gd name="T2" fmla="*/ 597 w 831"/>
                <a:gd name="T3" fmla="*/ 685 h 793"/>
                <a:gd name="T4" fmla="*/ 565 w 831"/>
                <a:gd name="T5" fmla="*/ 493 h 793"/>
                <a:gd name="T6" fmla="*/ 568 w 831"/>
                <a:gd name="T7" fmla="*/ 480 h 793"/>
                <a:gd name="T8" fmla="*/ 577 w 831"/>
                <a:gd name="T9" fmla="*/ 468 h 793"/>
                <a:gd name="T10" fmla="*/ 522 w 831"/>
                <a:gd name="T11" fmla="*/ 311 h 793"/>
                <a:gd name="T12" fmla="*/ 509 w 831"/>
                <a:gd name="T13" fmla="*/ 306 h 793"/>
                <a:gd name="T14" fmla="*/ 499 w 831"/>
                <a:gd name="T15" fmla="*/ 295 h 793"/>
                <a:gd name="T16" fmla="*/ 333 w 831"/>
                <a:gd name="T17" fmla="*/ 291 h 793"/>
                <a:gd name="T18" fmla="*/ 325 w 831"/>
                <a:gd name="T19" fmla="*/ 302 h 793"/>
                <a:gd name="T20" fmla="*/ 313 w 831"/>
                <a:gd name="T21" fmla="*/ 310 h 793"/>
                <a:gd name="T22" fmla="*/ 121 w 831"/>
                <a:gd name="T23" fmla="*/ 338 h 793"/>
                <a:gd name="T24" fmla="*/ 259 w 831"/>
                <a:gd name="T25" fmla="*/ 476 h 793"/>
                <a:gd name="T26" fmla="*/ 264 w 831"/>
                <a:gd name="T27" fmla="*/ 488 h 793"/>
                <a:gd name="T28" fmla="*/ 264 w 831"/>
                <a:gd name="T29" fmla="*/ 502 h 793"/>
                <a:gd name="T30" fmla="*/ 401 w 831"/>
                <a:gd name="T31" fmla="*/ 597 h 793"/>
                <a:gd name="T32" fmla="*/ 415 w 831"/>
                <a:gd name="T33" fmla="*/ 594 h 793"/>
                <a:gd name="T34" fmla="*/ 640 w 831"/>
                <a:gd name="T35" fmla="*/ 792 h 793"/>
                <a:gd name="T36" fmla="*/ 415 w 831"/>
                <a:gd name="T37" fmla="*/ 676 h 793"/>
                <a:gd name="T38" fmla="*/ 190 w 831"/>
                <a:gd name="T39" fmla="*/ 793 h 793"/>
                <a:gd name="T40" fmla="*/ 174 w 831"/>
                <a:gd name="T41" fmla="*/ 793 h 793"/>
                <a:gd name="T42" fmla="*/ 159 w 831"/>
                <a:gd name="T43" fmla="*/ 787 h 793"/>
                <a:gd name="T44" fmla="*/ 149 w 831"/>
                <a:gd name="T45" fmla="*/ 774 h 793"/>
                <a:gd name="T46" fmla="*/ 144 w 831"/>
                <a:gd name="T47" fmla="*/ 759 h 793"/>
                <a:gd name="T48" fmla="*/ 185 w 831"/>
                <a:gd name="T49" fmla="*/ 510 h 793"/>
                <a:gd name="T50" fmla="*/ 5 w 831"/>
                <a:gd name="T51" fmla="*/ 331 h 793"/>
                <a:gd name="T52" fmla="*/ 0 w 831"/>
                <a:gd name="T53" fmla="*/ 316 h 793"/>
                <a:gd name="T54" fmla="*/ 2 w 831"/>
                <a:gd name="T55" fmla="*/ 300 h 793"/>
                <a:gd name="T56" fmla="*/ 9 w 831"/>
                <a:gd name="T57" fmla="*/ 286 h 793"/>
                <a:gd name="T58" fmla="*/ 22 w 831"/>
                <a:gd name="T59" fmla="*/ 277 h 793"/>
                <a:gd name="T60" fmla="*/ 273 w 831"/>
                <a:gd name="T61" fmla="*/ 239 h 793"/>
                <a:gd name="T62" fmla="*/ 387 w 831"/>
                <a:gd name="T63" fmla="*/ 12 h 793"/>
                <a:gd name="T64" fmla="*/ 399 w 831"/>
                <a:gd name="T65" fmla="*/ 4 h 793"/>
                <a:gd name="T66" fmla="*/ 415 w 831"/>
                <a:gd name="T67" fmla="*/ 0 h 793"/>
                <a:gd name="T68" fmla="*/ 431 w 831"/>
                <a:gd name="T69" fmla="*/ 4 h 793"/>
                <a:gd name="T70" fmla="*/ 444 w 831"/>
                <a:gd name="T71" fmla="*/ 12 h 793"/>
                <a:gd name="T72" fmla="*/ 558 w 831"/>
                <a:gd name="T73" fmla="*/ 239 h 793"/>
                <a:gd name="T74" fmla="*/ 809 w 831"/>
                <a:gd name="T75" fmla="*/ 277 h 793"/>
                <a:gd name="T76" fmla="*/ 821 w 831"/>
                <a:gd name="T77" fmla="*/ 286 h 793"/>
                <a:gd name="T78" fmla="*/ 829 w 831"/>
                <a:gd name="T79" fmla="*/ 300 h 793"/>
                <a:gd name="T80" fmla="*/ 831 w 831"/>
                <a:gd name="T81" fmla="*/ 316 h 793"/>
                <a:gd name="T82" fmla="*/ 827 w 831"/>
                <a:gd name="T83" fmla="*/ 331 h 793"/>
                <a:gd name="T84" fmla="*/ 646 w 831"/>
                <a:gd name="T85" fmla="*/ 510 h 793"/>
                <a:gd name="T86" fmla="*/ 686 w 831"/>
                <a:gd name="T87" fmla="*/ 759 h 793"/>
                <a:gd name="T88" fmla="*/ 682 w 831"/>
                <a:gd name="T89" fmla="*/ 774 h 793"/>
                <a:gd name="T90" fmla="*/ 671 w 831"/>
                <a:gd name="T91" fmla="*/ 787 h 793"/>
                <a:gd name="T92" fmla="*/ 654 w 831"/>
                <a:gd name="T93" fmla="*/ 79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31" h="793">
                  <a:moveTo>
                    <a:pt x="415" y="594"/>
                  </a:moveTo>
                  <a:lnTo>
                    <a:pt x="420" y="595"/>
                  </a:lnTo>
                  <a:lnTo>
                    <a:pt x="425" y="595"/>
                  </a:lnTo>
                  <a:lnTo>
                    <a:pt x="429" y="597"/>
                  </a:lnTo>
                  <a:lnTo>
                    <a:pt x="433" y="599"/>
                  </a:lnTo>
                  <a:lnTo>
                    <a:pt x="597" y="685"/>
                  </a:lnTo>
                  <a:lnTo>
                    <a:pt x="566" y="502"/>
                  </a:lnTo>
                  <a:lnTo>
                    <a:pt x="565" y="498"/>
                  </a:lnTo>
                  <a:lnTo>
                    <a:pt x="565" y="493"/>
                  </a:lnTo>
                  <a:lnTo>
                    <a:pt x="566" y="488"/>
                  </a:lnTo>
                  <a:lnTo>
                    <a:pt x="567" y="484"/>
                  </a:lnTo>
                  <a:lnTo>
                    <a:pt x="568" y="480"/>
                  </a:lnTo>
                  <a:lnTo>
                    <a:pt x="572" y="476"/>
                  </a:lnTo>
                  <a:lnTo>
                    <a:pt x="574" y="471"/>
                  </a:lnTo>
                  <a:lnTo>
                    <a:pt x="577" y="468"/>
                  </a:lnTo>
                  <a:lnTo>
                    <a:pt x="710" y="338"/>
                  </a:lnTo>
                  <a:lnTo>
                    <a:pt x="526" y="312"/>
                  </a:lnTo>
                  <a:lnTo>
                    <a:pt x="522" y="311"/>
                  </a:lnTo>
                  <a:lnTo>
                    <a:pt x="517" y="310"/>
                  </a:lnTo>
                  <a:lnTo>
                    <a:pt x="513" y="308"/>
                  </a:lnTo>
                  <a:lnTo>
                    <a:pt x="509" y="306"/>
                  </a:lnTo>
                  <a:lnTo>
                    <a:pt x="506" y="302"/>
                  </a:lnTo>
                  <a:lnTo>
                    <a:pt x="502" y="299"/>
                  </a:lnTo>
                  <a:lnTo>
                    <a:pt x="499" y="295"/>
                  </a:lnTo>
                  <a:lnTo>
                    <a:pt x="497" y="291"/>
                  </a:lnTo>
                  <a:lnTo>
                    <a:pt x="415" y="125"/>
                  </a:lnTo>
                  <a:lnTo>
                    <a:pt x="333" y="291"/>
                  </a:lnTo>
                  <a:lnTo>
                    <a:pt x="331" y="295"/>
                  </a:lnTo>
                  <a:lnTo>
                    <a:pt x="328" y="299"/>
                  </a:lnTo>
                  <a:lnTo>
                    <a:pt x="325" y="302"/>
                  </a:lnTo>
                  <a:lnTo>
                    <a:pt x="322" y="306"/>
                  </a:lnTo>
                  <a:lnTo>
                    <a:pt x="318" y="308"/>
                  </a:lnTo>
                  <a:lnTo>
                    <a:pt x="313" y="310"/>
                  </a:lnTo>
                  <a:lnTo>
                    <a:pt x="309" y="311"/>
                  </a:lnTo>
                  <a:lnTo>
                    <a:pt x="305" y="312"/>
                  </a:lnTo>
                  <a:lnTo>
                    <a:pt x="121" y="338"/>
                  </a:lnTo>
                  <a:lnTo>
                    <a:pt x="254" y="468"/>
                  </a:lnTo>
                  <a:lnTo>
                    <a:pt x="257" y="471"/>
                  </a:lnTo>
                  <a:lnTo>
                    <a:pt x="259" y="476"/>
                  </a:lnTo>
                  <a:lnTo>
                    <a:pt x="262" y="480"/>
                  </a:lnTo>
                  <a:lnTo>
                    <a:pt x="263" y="484"/>
                  </a:lnTo>
                  <a:lnTo>
                    <a:pt x="264" y="488"/>
                  </a:lnTo>
                  <a:lnTo>
                    <a:pt x="265" y="493"/>
                  </a:lnTo>
                  <a:lnTo>
                    <a:pt x="265" y="498"/>
                  </a:lnTo>
                  <a:lnTo>
                    <a:pt x="264" y="502"/>
                  </a:lnTo>
                  <a:lnTo>
                    <a:pt x="234" y="685"/>
                  </a:lnTo>
                  <a:lnTo>
                    <a:pt x="397" y="599"/>
                  </a:lnTo>
                  <a:lnTo>
                    <a:pt x="401" y="597"/>
                  </a:lnTo>
                  <a:lnTo>
                    <a:pt x="406" y="595"/>
                  </a:lnTo>
                  <a:lnTo>
                    <a:pt x="411" y="595"/>
                  </a:lnTo>
                  <a:lnTo>
                    <a:pt x="415" y="594"/>
                  </a:lnTo>
                  <a:close/>
                  <a:moveTo>
                    <a:pt x="648" y="793"/>
                  </a:moveTo>
                  <a:lnTo>
                    <a:pt x="644" y="793"/>
                  </a:lnTo>
                  <a:lnTo>
                    <a:pt x="640" y="792"/>
                  </a:lnTo>
                  <a:lnTo>
                    <a:pt x="634" y="791"/>
                  </a:lnTo>
                  <a:lnTo>
                    <a:pt x="630" y="789"/>
                  </a:lnTo>
                  <a:lnTo>
                    <a:pt x="415" y="676"/>
                  </a:lnTo>
                  <a:lnTo>
                    <a:pt x="201" y="789"/>
                  </a:lnTo>
                  <a:lnTo>
                    <a:pt x="195" y="791"/>
                  </a:lnTo>
                  <a:lnTo>
                    <a:pt x="190" y="793"/>
                  </a:lnTo>
                  <a:lnTo>
                    <a:pt x="185" y="793"/>
                  </a:lnTo>
                  <a:lnTo>
                    <a:pt x="179" y="793"/>
                  </a:lnTo>
                  <a:lnTo>
                    <a:pt x="174" y="793"/>
                  </a:lnTo>
                  <a:lnTo>
                    <a:pt x="169" y="791"/>
                  </a:lnTo>
                  <a:lnTo>
                    <a:pt x="164" y="789"/>
                  </a:lnTo>
                  <a:lnTo>
                    <a:pt x="159" y="787"/>
                  </a:lnTo>
                  <a:lnTo>
                    <a:pt x="155" y="783"/>
                  </a:lnTo>
                  <a:lnTo>
                    <a:pt x="152" y="778"/>
                  </a:lnTo>
                  <a:lnTo>
                    <a:pt x="149" y="774"/>
                  </a:lnTo>
                  <a:lnTo>
                    <a:pt x="146" y="770"/>
                  </a:lnTo>
                  <a:lnTo>
                    <a:pt x="144" y="765"/>
                  </a:lnTo>
                  <a:lnTo>
                    <a:pt x="144" y="759"/>
                  </a:lnTo>
                  <a:lnTo>
                    <a:pt x="143" y="754"/>
                  </a:lnTo>
                  <a:lnTo>
                    <a:pt x="144" y="749"/>
                  </a:lnTo>
                  <a:lnTo>
                    <a:pt x="185" y="510"/>
                  </a:lnTo>
                  <a:lnTo>
                    <a:pt x="11" y="340"/>
                  </a:lnTo>
                  <a:lnTo>
                    <a:pt x="7" y="335"/>
                  </a:lnTo>
                  <a:lnTo>
                    <a:pt x="5" y="331"/>
                  </a:lnTo>
                  <a:lnTo>
                    <a:pt x="2" y="326"/>
                  </a:lnTo>
                  <a:lnTo>
                    <a:pt x="1" y="321"/>
                  </a:lnTo>
                  <a:lnTo>
                    <a:pt x="0" y="316"/>
                  </a:lnTo>
                  <a:lnTo>
                    <a:pt x="0" y="311"/>
                  </a:lnTo>
                  <a:lnTo>
                    <a:pt x="0" y="306"/>
                  </a:lnTo>
                  <a:lnTo>
                    <a:pt x="2" y="300"/>
                  </a:lnTo>
                  <a:lnTo>
                    <a:pt x="3" y="295"/>
                  </a:lnTo>
                  <a:lnTo>
                    <a:pt x="6" y="290"/>
                  </a:lnTo>
                  <a:lnTo>
                    <a:pt x="9" y="286"/>
                  </a:lnTo>
                  <a:lnTo>
                    <a:pt x="14" y="282"/>
                  </a:lnTo>
                  <a:lnTo>
                    <a:pt x="18" y="279"/>
                  </a:lnTo>
                  <a:lnTo>
                    <a:pt x="22" y="277"/>
                  </a:lnTo>
                  <a:lnTo>
                    <a:pt x="27" y="275"/>
                  </a:lnTo>
                  <a:lnTo>
                    <a:pt x="33" y="274"/>
                  </a:lnTo>
                  <a:lnTo>
                    <a:pt x="273" y="239"/>
                  </a:lnTo>
                  <a:lnTo>
                    <a:pt x="380" y="21"/>
                  </a:lnTo>
                  <a:lnTo>
                    <a:pt x="383" y="16"/>
                  </a:lnTo>
                  <a:lnTo>
                    <a:pt x="387" y="12"/>
                  </a:lnTo>
                  <a:lnTo>
                    <a:pt x="391" y="9"/>
                  </a:lnTo>
                  <a:lnTo>
                    <a:pt x="395" y="6"/>
                  </a:lnTo>
                  <a:lnTo>
                    <a:pt x="399" y="4"/>
                  </a:lnTo>
                  <a:lnTo>
                    <a:pt x="405" y="2"/>
                  </a:lnTo>
                  <a:lnTo>
                    <a:pt x="410" y="2"/>
                  </a:lnTo>
                  <a:lnTo>
                    <a:pt x="415" y="0"/>
                  </a:lnTo>
                  <a:lnTo>
                    <a:pt x="421" y="2"/>
                  </a:lnTo>
                  <a:lnTo>
                    <a:pt x="426" y="2"/>
                  </a:lnTo>
                  <a:lnTo>
                    <a:pt x="431" y="4"/>
                  </a:lnTo>
                  <a:lnTo>
                    <a:pt x="435" y="6"/>
                  </a:lnTo>
                  <a:lnTo>
                    <a:pt x="440" y="9"/>
                  </a:lnTo>
                  <a:lnTo>
                    <a:pt x="444" y="12"/>
                  </a:lnTo>
                  <a:lnTo>
                    <a:pt x="447" y="16"/>
                  </a:lnTo>
                  <a:lnTo>
                    <a:pt x="450" y="21"/>
                  </a:lnTo>
                  <a:lnTo>
                    <a:pt x="558" y="239"/>
                  </a:lnTo>
                  <a:lnTo>
                    <a:pt x="798" y="274"/>
                  </a:lnTo>
                  <a:lnTo>
                    <a:pt x="803" y="275"/>
                  </a:lnTo>
                  <a:lnTo>
                    <a:pt x="809" y="277"/>
                  </a:lnTo>
                  <a:lnTo>
                    <a:pt x="813" y="279"/>
                  </a:lnTo>
                  <a:lnTo>
                    <a:pt x="817" y="282"/>
                  </a:lnTo>
                  <a:lnTo>
                    <a:pt x="821" y="286"/>
                  </a:lnTo>
                  <a:lnTo>
                    <a:pt x="824" y="290"/>
                  </a:lnTo>
                  <a:lnTo>
                    <a:pt x="828" y="295"/>
                  </a:lnTo>
                  <a:lnTo>
                    <a:pt x="829" y="300"/>
                  </a:lnTo>
                  <a:lnTo>
                    <a:pt x="831" y="306"/>
                  </a:lnTo>
                  <a:lnTo>
                    <a:pt x="831" y="311"/>
                  </a:lnTo>
                  <a:lnTo>
                    <a:pt x="831" y="316"/>
                  </a:lnTo>
                  <a:lnTo>
                    <a:pt x="830" y="321"/>
                  </a:lnTo>
                  <a:lnTo>
                    <a:pt x="829" y="326"/>
                  </a:lnTo>
                  <a:lnTo>
                    <a:pt x="827" y="331"/>
                  </a:lnTo>
                  <a:lnTo>
                    <a:pt x="823" y="335"/>
                  </a:lnTo>
                  <a:lnTo>
                    <a:pt x="819" y="340"/>
                  </a:lnTo>
                  <a:lnTo>
                    <a:pt x="646" y="510"/>
                  </a:lnTo>
                  <a:lnTo>
                    <a:pt x="686" y="749"/>
                  </a:lnTo>
                  <a:lnTo>
                    <a:pt x="687" y="754"/>
                  </a:lnTo>
                  <a:lnTo>
                    <a:pt x="686" y="759"/>
                  </a:lnTo>
                  <a:lnTo>
                    <a:pt x="686" y="765"/>
                  </a:lnTo>
                  <a:lnTo>
                    <a:pt x="684" y="770"/>
                  </a:lnTo>
                  <a:lnTo>
                    <a:pt x="682" y="774"/>
                  </a:lnTo>
                  <a:lnTo>
                    <a:pt x="679" y="778"/>
                  </a:lnTo>
                  <a:lnTo>
                    <a:pt x="676" y="783"/>
                  </a:lnTo>
                  <a:lnTo>
                    <a:pt x="671" y="787"/>
                  </a:lnTo>
                  <a:lnTo>
                    <a:pt x="666" y="790"/>
                  </a:lnTo>
                  <a:lnTo>
                    <a:pt x="660" y="792"/>
                  </a:lnTo>
                  <a:lnTo>
                    <a:pt x="654" y="793"/>
                  </a:lnTo>
                  <a:lnTo>
                    <a:pt x="648" y="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49">
              <a:extLst>
                <a:ext uri="{FF2B5EF4-FFF2-40B4-BE49-F238E27FC236}">
                  <a16:creationId xmlns:a16="http://schemas.microsoft.com/office/drawing/2014/main" id="{536432B6-AB62-49D0-9FE4-2C72FBA4F2BD}"/>
                </a:ext>
              </a:extLst>
            </p:cNvPr>
            <p:cNvSpPr>
              <a:spLocks noEditPoints="1"/>
            </p:cNvSpPr>
            <p:nvPr/>
          </p:nvSpPr>
          <p:spPr bwMode="auto">
            <a:xfrm>
              <a:off x="4173538" y="1682750"/>
              <a:ext cx="614363" cy="777875"/>
            </a:xfrm>
            <a:custGeom>
              <a:avLst/>
              <a:gdLst>
                <a:gd name="T0" fmla="*/ 93 w 1159"/>
                <a:gd name="T1" fmla="*/ 1065 h 1469"/>
                <a:gd name="T2" fmla="*/ 143 w 1159"/>
                <a:gd name="T3" fmla="*/ 1140 h 1469"/>
                <a:gd name="T4" fmla="*/ 194 w 1159"/>
                <a:gd name="T5" fmla="*/ 1201 h 1469"/>
                <a:gd name="T6" fmla="*/ 240 w 1159"/>
                <a:gd name="T7" fmla="*/ 1248 h 1469"/>
                <a:gd name="T8" fmla="*/ 293 w 1159"/>
                <a:gd name="T9" fmla="*/ 1292 h 1469"/>
                <a:gd name="T10" fmla="*/ 353 w 1159"/>
                <a:gd name="T11" fmla="*/ 1332 h 1469"/>
                <a:gd name="T12" fmla="*/ 421 w 1159"/>
                <a:gd name="T13" fmla="*/ 1363 h 1469"/>
                <a:gd name="T14" fmla="*/ 497 w 1159"/>
                <a:gd name="T15" fmla="*/ 1384 h 1469"/>
                <a:gd name="T16" fmla="*/ 579 w 1159"/>
                <a:gd name="T17" fmla="*/ 1391 h 1469"/>
                <a:gd name="T18" fmla="*/ 662 w 1159"/>
                <a:gd name="T19" fmla="*/ 1384 h 1469"/>
                <a:gd name="T20" fmla="*/ 736 w 1159"/>
                <a:gd name="T21" fmla="*/ 1363 h 1469"/>
                <a:gd name="T22" fmla="*/ 804 w 1159"/>
                <a:gd name="T23" fmla="*/ 1332 h 1469"/>
                <a:gd name="T24" fmla="*/ 865 w 1159"/>
                <a:gd name="T25" fmla="*/ 1292 h 1469"/>
                <a:gd name="T26" fmla="*/ 919 w 1159"/>
                <a:gd name="T27" fmla="*/ 1248 h 1469"/>
                <a:gd name="T28" fmla="*/ 964 w 1159"/>
                <a:gd name="T29" fmla="*/ 1201 h 1469"/>
                <a:gd name="T30" fmla="*/ 1014 w 1159"/>
                <a:gd name="T31" fmla="*/ 1140 h 1469"/>
                <a:gd name="T32" fmla="*/ 1064 w 1159"/>
                <a:gd name="T33" fmla="*/ 1065 h 1469"/>
                <a:gd name="T34" fmla="*/ 1081 w 1159"/>
                <a:gd name="T35" fmla="*/ 78 h 1469"/>
                <a:gd name="T36" fmla="*/ 579 w 1159"/>
                <a:gd name="T37" fmla="*/ 1469 h 1469"/>
                <a:gd name="T38" fmla="*/ 477 w 1159"/>
                <a:gd name="T39" fmla="*/ 1459 h 1469"/>
                <a:gd name="T40" fmla="*/ 385 w 1159"/>
                <a:gd name="T41" fmla="*/ 1433 h 1469"/>
                <a:gd name="T42" fmla="*/ 303 w 1159"/>
                <a:gd name="T43" fmla="*/ 1392 h 1469"/>
                <a:gd name="T44" fmla="*/ 231 w 1159"/>
                <a:gd name="T45" fmla="*/ 1343 h 1469"/>
                <a:gd name="T46" fmla="*/ 170 w 1159"/>
                <a:gd name="T47" fmla="*/ 1289 h 1469"/>
                <a:gd name="T48" fmla="*/ 117 w 1159"/>
                <a:gd name="T49" fmla="*/ 1233 h 1469"/>
                <a:gd name="T50" fmla="*/ 63 w 1159"/>
                <a:gd name="T51" fmla="*/ 1162 h 1469"/>
                <a:gd name="T52" fmla="*/ 3 w 1159"/>
                <a:gd name="T53" fmla="*/ 1060 h 1469"/>
                <a:gd name="T54" fmla="*/ 0 w 1159"/>
                <a:gd name="T55" fmla="*/ 38 h 1469"/>
                <a:gd name="T56" fmla="*/ 6 w 1159"/>
                <a:gd name="T57" fmla="*/ 17 h 1469"/>
                <a:gd name="T58" fmla="*/ 23 w 1159"/>
                <a:gd name="T59" fmla="*/ 3 h 1469"/>
                <a:gd name="T60" fmla="*/ 1120 w 1159"/>
                <a:gd name="T61" fmla="*/ 0 h 1469"/>
                <a:gd name="T62" fmla="*/ 1142 w 1159"/>
                <a:gd name="T63" fmla="*/ 6 h 1469"/>
                <a:gd name="T64" fmla="*/ 1156 w 1159"/>
                <a:gd name="T65" fmla="*/ 23 h 1469"/>
                <a:gd name="T66" fmla="*/ 1159 w 1159"/>
                <a:gd name="T67" fmla="*/ 1044 h 1469"/>
                <a:gd name="T68" fmla="*/ 1144 w 1159"/>
                <a:gd name="T69" fmla="*/ 1082 h 1469"/>
                <a:gd name="T70" fmla="*/ 1070 w 1159"/>
                <a:gd name="T71" fmla="*/ 1197 h 1469"/>
                <a:gd name="T72" fmla="*/ 1024 w 1159"/>
                <a:gd name="T73" fmla="*/ 1252 h 1469"/>
                <a:gd name="T74" fmla="*/ 969 w 1159"/>
                <a:gd name="T75" fmla="*/ 1307 h 1469"/>
                <a:gd name="T76" fmla="*/ 904 w 1159"/>
                <a:gd name="T77" fmla="*/ 1360 h 1469"/>
                <a:gd name="T78" fmla="*/ 828 w 1159"/>
                <a:gd name="T79" fmla="*/ 1407 h 1469"/>
                <a:gd name="T80" fmla="*/ 743 w 1159"/>
                <a:gd name="T81" fmla="*/ 1443 h 1469"/>
                <a:gd name="T82" fmla="*/ 648 w 1159"/>
                <a:gd name="T83" fmla="*/ 1465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9" h="1469">
                  <a:moveTo>
                    <a:pt x="77" y="1034"/>
                  </a:moveTo>
                  <a:lnTo>
                    <a:pt x="83" y="1047"/>
                  </a:lnTo>
                  <a:lnTo>
                    <a:pt x="93" y="1065"/>
                  </a:lnTo>
                  <a:lnTo>
                    <a:pt x="107" y="1086"/>
                  </a:lnTo>
                  <a:lnTo>
                    <a:pt x="124" y="1112"/>
                  </a:lnTo>
                  <a:lnTo>
                    <a:pt x="143" y="1140"/>
                  </a:lnTo>
                  <a:lnTo>
                    <a:pt x="166" y="1170"/>
                  </a:lnTo>
                  <a:lnTo>
                    <a:pt x="180" y="1185"/>
                  </a:lnTo>
                  <a:lnTo>
                    <a:pt x="194" y="1201"/>
                  </a:lnTo>
                  <a:lnTo>
                    <a:pt x="208" y="1217"/>
                  </a:lnTo>
                  <a:lnTo>
                    <a:pt x="224" y="1232"/>
                  </a:lnTo>
                  <a:lnTo>
                    <a:pt x="240" y="1248"/>
                  </a:lnTo>
                  <a:lnTo>
                    <a:pt x="257" y="1263"/>
                  </a:lnTo>
                  <a:lnTo>
                    <a:pt x="275" y="1277"/>
                  </a:lnTo>
                  <a:lnTo>
                    <a:pt x="293" y="1292"/>
                  </a:lnTo>
                  <a:lnTo>
                    <a:pt x="312" y="1306"/>
                  </a:lnTo>
                  <a:lnTo>
                    <a:pt x="333" y="1319"/>
                  </a:lnTo>
                  <a:lnTo>
                    <a:pt x="353" y="1332"/>
                  </a:lnTo>
                  <a:lnTo>
                    <a:pt x="376" y="1342"/>
                  </a:lnTo>
                  <a:lnTo>
                    <a:pt x="398" y="1353"/>
                  </a:lnTo>
                  <a:lnTo>
                    <a:pt x="421" y="1363"/>
                  </a:lnTo>
                  <a:lnTo>
                    <a:pt x="446" y="1371"/>
                  </a:lnTo>
                  <a:lnTo>
                    <a:pt x="471" y="1378"/>
                  </a:lnTo>
                  <a:lnTo>
                    <a:pt x="497" y="1384"/>
                  </a:lnTo>
                  <a:lnTo>
                    <a:pt x="523" y="1388"/>
                  </a:lnTo>
                  <a:lnTo>
                    <a:pt x="551" y="1390"/>
                  </a:lnTo>
                  <a:lnTo>
                    <a:pt x="579" y="1391"/>
                  </a:lnTo>
                  <a:lnTo>
                    <a:pt x="607" y="1390"/>
                  </a:lnTo>
                  <a:lnTo>
                    <a:pt x="635" y="1388"/>
                  </a:lnTo>
                  <a:lnTo>
                    <a:pt x="662" y="1384"/>
                  </a:lnTo>
                  <a:lnTo>
                    <a:pt x="687" y="1378"/>
                  </a:lnTo>
                  <a:lnTo>
                    <a:pt x="713" y="1371"/>
                  </a:lnTo>
                  <a:lnTo>
                    <a:pt x="736" y="1363"/>
                  </a:lnTo>
                  <a:lnTo>
                    <a:pt x="759" y="1353"/>
                  </a:lnTo>
                  <a:lnTo>
                    <a:pt x="783" y="1342"/>
                  </a:lnTo>
                  <a:lnTo>
                    <a:pt x="804" y="1332"/>
                  </a:lnTo>
                  <a:lnTo>
                    <a:pt x="825" y="1319"/>
                  </a:lnTo>
                  <a:lnTo>
                    <a:pt x="845" y="1306"/>
                  </a:lnTo>
                  <a:lnTo>
                    <a:pt x="865" y="1292"/>
                  </a:lnTo>
                  <a:lnTo>
                    <a:pt x="884" y="1277"/>
                  </a:lnTo>
                  <a:lnTo>
                    <a:pt x="902" y="1263"/>
                  </a:lnTo>
                  <a:lnTo>
                    <a:pt x="919" y="1248"/>
                  </a:lnTo>
                  <a:lnTo>
                    <a:pt x="935" y="1232"/>
                  </a:lnTo>
                  <a:lnTo>
                    <a:pt x="950" y="1217"/>
                  </a:lnTo>
                  <a:lnTo>
                    <a:pt x="964" y="1201"/>
                  </a:lnTo>
                  <a:lnTo>
                    <a:pt x="978" y="1185"/>
                  </a:lnTo>
                  <a:lnTo>
                    <a:pt x="991" y="1170"/>
                  </a:lnTo>
                  <a:lnTo>
                    <a:pt x="1014" y="1140"/>
                  </a:lnTo>
                  <a:lnTo>
                    <a:pt x="1035" y="1112"/>
                  </a:lnTo>
                  <a:lnTo>
                    <a:pt x="1052" y="1086"/>
                  </a:lnTo>
                  <a:lnTo>
                    <a:pt x="1064" y="1065"/>
                  </a:lnTo>
                  <a:lnTo>
                    <a:pt x="1075" y="1047"/>
                  </a:lnTo>
                  <a:lnTo>
                    <a:pt x="1081" y="1034"/>
                  </a:lnTo>
                  <a:lnTo>
                    <a:pt x="1081" y="78"/>
                  </a:lnTo>
                  <a:lnTo>
                    <a:pt x="77" y="78"/>
                  </a:lnTo>
                  <a:lnTo>
                    <a:pt x="77" y="1034"/>
                  </a:lnTo>
                  <a:close/>
                  <a:moveTo>
                    <a:pt x="579" y="1469"/>
                  </a:moveTo>
                  <a:lnTo>
                    <a:pt x="544" y="1468"/>
                  </a:lnTo>
                  <a:lnTo>
                    <a:pt x="510" y="1465"/>
                  </a:lnTo>
                  <a:lnTo>
                    <a:pt x="477" y="1459"/>
                  </a:lnTo>
                  <a:lnTo>
                    <a:pt x="445" y="1452"/>
                  </a:lnTo>
                  <a:lnTo>
                    <a:pt x="415" y="1443"/>
                  </a:lnTo>
                  <a:lnTo>
                    <a:pt x="385" y="1433"/>
                  </a:lnTo>
                  <a:lnTo>
                    <a:pt x="357" y="1420"/>
                  </a:lnTo>
                  <a:lnTo>
                    <a:pt x="329" y="1407"/>
                  </a:lnTo>
                  <a:lnTo>
                    <a:pt x="303" y="1392"/>
                  </a:lnTo>
                  <a:lnTo>
                    <a:pt x="278" y="1377"/>
                  </a:lnTo>
                  <a:lnTo>
                    <a:pt x="255" y="1360"/>
                  </a:lnTo>
                  <a:lnTo>
                    <a:pt x="231" y="1343"/>
                  </a:lnTo>
                  <a:lnTo>
                    <a:pt x="210" y="1326"/>
                  </a:lnTo>
                  <a:lnTo>
                    <a:pt x="189" y="1307"/>
                  </a:lnTo>
                  <a:lnTo>
                    <a:pt x="170" y="1289"/>
                  </a:lnTo>
                  <a:lnTo>
                    <a:pt x="151" y="1270"/>
                  </a:lnTo>
                  <a:lnTo>
                    <a:pt x="133" y="1252"/>
                  </a:lnTo>
                  <a:lnTo>
                    <a:pt x="117" y="1233"/>
                  </a:lnTo>
                  <a:lnTo>
                    <a:pt x="103" y="1215"/>
                  </a:lnTo>
                  <a:lnTo>
                    <a:pt x="88" y="1197"/>
                  </a:lnTo>
                  <a:lnTo>
                    <a:pt x="63" y="1162"/>
                  </a:lnTo>
                  <a:lnTo>
                    <a:pt x="43" y="1131"/>
                  </a:lnTo>
                  <a:lnTo>
                    <a:pt x="14" y="1082"/>
                  </a:lnTo>
                  <a:lnTo>
                    <a:pt x="3" y="1060"/>
                  </a:lnTo>
                  <a:lnTo>
                    <a:pt x="1" y="1052"/>
                  </a:lnTo>
                  <a:lnTo>
                    <a:pt x="0" y="1044"/>
                  </a:lnTo>
                  <a:lnTo>
                    <a:pt x="0" y="38"/>
                  </a:lnTo>
                  <a:lnTo>
                    <a:pt x="1" y="31"/>
                  </a:lnTo>
                  <a:lnTo>
                    <a:pt x="3" y="23"/>
                  </a:lnTo>
                  <a:lnTo>
                    <a:pt x="6" y="17"/>
                  </a:lnTo>
                  <a:lnTo>
                    <a:pt x="10" y="12"/>
                  </a:lnTo>
                  <a:lnTo>
                    <a:pt x="17" y="6"/>
                  </a:lnTo>
                  <a:lnTo>
                    <a:pt x="23" y="3"/>
                  </a:lnTo>
                  <a:lnTo>
                    <a:pt x="30" y="1"/>
                  </a:lnTo>
                  <a:lnTo>
                    <a:pt x="38" y="0"/>
                  </a:lnTo>
                  <a:lnTo>
                    <a:pt x="1120" y="0"/>
                  </a:lnTo>
                  <a:lnTo>
                    <a:pt x="1128" y="1"/>
                  </a:lnTo>
                  <a:lnTo>
                    <a:pt x="1136" y="3"/>
                  </a:lnTo>
                  <a:lnTo>
                    <a:pt x="1142" y="6"/>
                  </a:lnTo>
                  <a:lnTo>
                    <a:pt x="1147" y="12"/>
                  </a:lnTo>
                  <a:lnTo>
                    <a:pt x="1153" y="17"/>
                  </a:lnTo>
                  <a:lnTo>
                    <a:pt x="1156" y="23"/>
                  </a:lnTo>
                  <a:lnTo>
                    <a:pt x="1158" y="31"/>
                  </a:lnTo>
                  <a:lnTo>
                    <a:pt x="1159" y="38"/>
                  </a:lnTo>
                  <a:lnTo>
                    <a:pt x="1159" y="1044"/>
                  </a:lnTo>
                  <a:lnTo>
                    <a:pt x="1158" y="1052"/>
                  </a:lnTo>
                  <a:lnTo>
                    <a:pt x="1155" y="1060"/>
                  </a:lnTo>
                  <a:lnTo>
                    <a:pt x="1144" y="1082"/>
                  </a:lnTo>
                  <a:lnTo>
                    <a:pt x="1115" y="1131"/>
                  </a:lnTo>
                  <a:lnTo>
                    <a:pt x="1095" y="1162"/>
                  </a:lnTo>
                  <a:lnTo>
                    <a:pt x="1070" y="1197"/>
                  </a:lnTo>
                  <a:lnTo>
                    <a:pt x="1056" y="1215"/>
                  </a:lnTo>
                  <a:lnTo>
                    <a:pt x="1041" y="1233"/>
                  </a:lnTo>
                  <a:lnTo>
                    <a:pt x="1024" y="1252"/>
                  </a:lnTo>
                  <a:lnTo>
                    <a:pt x="1007" y="1270"/>
                  </a:lnTo>
                  <a:lnTo>
                    <a:pt x="989" y="1289"/>
                  </a:lnTo>
                  <a:lnTo>
                    <a:pt x="969" y="1307"/>
                  </a:lnTo>
                  <a:lnTo>
                    <a:pt x="949" y="1326"/>
                  </a:lnTo>
                  <a:lnTo>
                    <a:pt x="926" y="1343"/>
                  </a:lnTo>
                  <a:lnTo>
                    <a:pt x="904" y="1360"/>
                  </a:lnTo>
                  <a:lnTo>
                    <a:pt x="879" y="1377"/>
                  </a:lnTo>
                  <a:lnTo>
                    <a:pt x="855" y="1392"/>
                  </a:lnTo>
                  <a:lnTo>
                    <a:pt x="828" y="1407"/>
                  </a:lnTo>
                  <a:lnTo>
                    <a:pt x="801" y="1420"/>
                  </a:lnTo>
                  <a:lnTo>
                    <a:pt x="773" y="1433"/>
                  </a:lnTo>
                  <a:lnTo>
                    <a:pt x="743" y="1443"/>
                  </a:lnTo>
                  <a:lnTo>
                    <a:pt x="713" y="1452"/>
                  </a:lnTo>
                  <a:lnTo>
                    <a:pt x="681" y="1459"/>
                  </a:lnTo>
                  <a:lnTo>
                    <a:pt x="648" y="1465"/>
                  </a:lnTo>
                  <a:lnTo>
                    <a:pt x="614" y="1468"/>
                  </a:lnTo>
                  <a:lnTo>
                    <a:pt x="579" y="14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50">
              <a:extLst>
                <a:ext uri="{FF2B5EF4-FFF2-40B4-BE49-F238E27FC236}">
                  <a16:creationId xmlns:a16="http://schemas.microsoft.com/office/drawing/2014/main" id="{041AFC7B-006D-4D90-8CCD-B838B51A5B1C}"/>
                </a:ext>
              </a:extLst>
            </p:cNvPr>
            <p:cNvSpPr>
              <a:spLocks/>
            </p:cNvSpPr>
            <p:nvPr/>
          </p:nvSpPr>
          <p:spPr bwMode="auto">
            <a:xfrm>
              <a:off x="4010025" y="1763713"/>
              <a:ext cx="204788" cy="368300"/>
            </a:xfrm>
            <a:custGeom>
              <a:avLst/>
              <a:gdLst>
                <a:gd name="T0" fmla="*/ 344 w 387"/>
                <a:gd name="T1" fmla="*/ 696 h 696"/>
                <a:gd name="T2" fmla="*/ 333 w 387"/>
                <a:gd name="T3" fmla="*/ 693 h 696"/>
                <a:gd name="T4" fmla="*/ 302 w 387"/>
                <a:gd name="T5" fmla="*/ 681 h 696"/>
                <a:gd name="T6" fmla="*/ 267 w 387"/>
                <a:gd name="T7" fmla="*/ 663 h 696"/>
                <a:gd name="T8" fmla="*/ 240 w 387"/>
                <a:gd name="T9" fmla="*/ 645 h 696"/>
                <a:gd name="T10" fmla="*/ 211 w 387"/>
                <a:gd name="T11" fmla="*/ 623 h 696"/>
                <a:gd name="T12" fmla="*/ 180 w 387"/>
                <a:gd name="T13" fmla="*/ 594 h 696"/>
                <a:gd name="T14" fmla="*/ 149 w 387"/>
                <a:gd name="T15" fmla="*/ 559 h 696"/>
                <a:gd name="T16" fmla="*/ 118 w 387"/>
                <a:gd name="T17" fmla="*/ 518 h 696"/>
                <a:gd name="T18" fmla="*/ 90 w 387"/>
                <a:gd name="T19" fmla="*/ 469 h 696"/>
                <a:gd name="T20" fmla="*/ 63 w 387"/>
                <a:gd name="T21" fmla="*/ 411 h 696"/>
                <a:gd name="T22" fmla="*/ 40 w 387"/>
                <a:gd name="T23" fmla="*/ 346 h 696"/>
                <a:gd name="T24" fmla="*/ 22 w 387"/>
                <a:gd name="T25" fmla="*/ 270 h 696"/>
                <a:gd name="T26" fmla="*/ 8 w 387"/>
                <a:gd name="T27" fmla="*/ 186 h 696"/>
                <a:gd name="T28" fmla="*/ 1 w 387"/>
                <a:gd name="T29" fmla="*/ 90 h 696"/>
                <a:gd name="T30" fmla="*/ 1 w 387"/>
                <a:gd name="T31" fmla="*/ 31 h 696"/>
                <a:gd name="T32" fmla="*/ 7 w 387"/>
                <a:gd name="T33" fmla="*/ 17 h 696"/>
                <a:gd name="T34" fmla="*/ 17 w 387"/>
                <a:gd name="T35" fmla="*/ 8 h 696"/>
                <a:gd name="T36" fmla="*/ 31 w 387"/>
                <a:gd name="T37" fmla="*/ 1 h 696"/>
                <a:gd name="T38" fmla="*/ 348 w 387"/>
                <a:gd name="T39" fmla="*/ 0 h 696"/>
                <a:gd name="T40" fmla="*/ 363 w 387"/>
                <a:gd name="T41" fmla="*/ 3 h 696"/>
                <a:gd name="T42" fmla="*/ 375 w 387"/>
                <a:gd name="T43" fmla="*/ 12 h 696"/>
                <a:gd name="T44" fmla="*/ 384 w 387"/>
                <a:gd name="T45" fmla="*/ 25 h 696"/>
                <a:gd name="T46" fmla="*/ 387 w 387"/>
                <a:gd name="T47" fmla="*/ 39 h 696"/>
                <a:gd name="T48" fmla="*/ 384 w 387"/>
                <a:gd name="T49" fmla="*/ 54 h 696"/>
                <a:gd name="T50" fmla="*/ 375 w 387"/>
                <a:gd name="T51" fmla="*/ 67 h 696"/>
                <a:gd name="T52" fmla="*/ 363 w 387"/>
                <a:gd name="T53" fmla="*/ 75 h 696"/>
                <a:gd name="T54" fmla="*/ 348 w 387"/>
                <a:gd name="T55" fmla="*/ 78 h 696"/>
                <a:gd name="T56" fmla="*/ 80 w 387"/>
                <a:gd name="T57" fmla="*/ 121 h 696"/>
                <a:gd name="T58" fmla="*/ 88 w 387"/>
                <a:gd name="T59" fmla="*/ 200 h 696"/>
                <a:gd name="T60" fmla="*/ 101 w 387"/>
                <a:gd name="T61" fmla="*/ 270 h 696"/>
                <a:gd name="T62" fmla="*/ 117 w 387"/>
                <a:gd name="T63" fmla="*/ 333 h 696"/>
                <a:gd name="T64" fmla="*/ 137 w 387"/>
                <a:gd name="T65" fmla="*/ 387 h 696"/>
                <a:gd name="T66" fmla="*/ 160 w 387"/>
                <a:gd name="T67" fmla="*/ 435 h 696"/>
                <a:gd name="T68" fmla="*/ 184 w 387"/>
                <a:gd name="T69" fmla="*/ 475 h 696"/>
                <a:gd name="T70" fmla="*/ 209 w 387"/>
                <a:gd name="T71" fmla="*/ 510 h 696"/>
                <a:gd name="T72" fmla="*/ 234 w 387"/>
                <a:gd name="T73" fmla="*/ 539 h 696"/>
                <a:gd name="T74" fmla="*/ 260 w 387"/>
                <a:gd name="T75" fmla="*/ 562 h 696"/>
                <a:gd name="T76" fmla="*/ 294 w 387"/>
                <a:gd name="T77" fmla="*/ 589 h 696"/>
                <a:gd name="T78" fmla="*/ 332 w 387"/>
                <a:gd name="T79" fmla="*/ 610 h 696"/>
                <a:gd name="T80" fmla="*/ 354 w 387"/>
                <a:gd name="T81" fmla="*/ 619 h 696"/>
                <a:gd name="T82" fmla="*/ 365 w 387"/>
                <a:gd name="T83" fmla="*/ 623 h 696"/>
                <a:gd name="T84" fmla="*/ 376 w 387"/>
                <a:gd name="T85" fmla="*/ 631 h 696"/>
                <a:gd name="T86" fmla="*/ 384 w 387"/>
                <a:gd name="T87" fmla="*/ 644 h 696"/>
                <a:gd name="T88" fmla="*/ 387 w 387"/>
                <a:gd name="T89" fmla="*/ 659 h 696"/>
                <a:gd name="T90" fmla="*/ 383 w 387"/>
                <a:gd name="T91" fmla="*/ 673 h 696"/>
                <a:gd name="T92" fmla="*/ 376 w 387"/>
                <a:gd name="T93" fmla="*/ 683 h 696"/>
                <a:gd name="T94" fmla="*/ 366 w 387"/>
                <a:gd name="T95" fmla="*/ 692 h 696"/>
                <a:gd name="T96" fmla="*/ 354 w 387"/>
                <a:gd name="T97"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48" y="696"/>
                  </a:moveTo>
                  <a:lnTo>
                    <a:pt x="344" y="696"/>
                  </a:lnTo>
                  <a:lnTo>
                    <a:pt x="338" y="695"/>
                  </a:lnTo>
                  <a:lnTo>
                    <a:pt x="333" y="693"/>
                  </a:lnTo>
                  <a:lnTo>
                    <a:pt x="320" y="689"/>
                  </a:lnTo>
                  <a:lnTo>
                    <a:pt x="302" y="681"/>
                  </a:lnTo>
                  <a:lnTo>
                    <a:pt x="280" y="671"/>
                  </a:lnTo>
                  <a:lnTo>
                    <a:pt x="267" y="663"/>
                  </a:lnTo>
                  <a:lnTo>
                    <a:pt x="254" y="655"/>
                  </a:lnTo>
                  <a:lnTo>
                    <a:pt x="240" y="645"/>
                  </a:lnTo>
                  <a:lnTo>
                    <a:pt x="226" y="635"/>
                  </a:lnTo>
                  <a:lnTo>
                    <a:pt x="211" y="623"/>
                  </a:lnTo>
                  <a:lnTo>
                    <a:pt x="195" y="609"/>
                  </a:lnTo>
                  <a:lnTo>
                    <a:pt x="180" y="594"/>
                  </a:lnTo>
                  <a:lnTo>
                    <a:pt x="164" y="577"/>
                  </a:lnTo>
                  <a:lnTo>
                    <a:pt x="149" y="559"/>
                  </a:lnTo>
                  <a:lnTo>
                    <a:pt x="133" y="539"/>
                  </a:lnTo>
                  <a:lnTo>
                    <a:pt x="118" y="518"/>
                  </a:lnTo>
                  <a:lnTo>
                    <a:pt x="103" y="494"/>
                  </a:lnTo>
                  <a:lnTo>
                    <a:pt x="90" y="469"/>
                  </a:lnTo>
                  <a:lnTo>
                    <a:pt x="76" y="441"/>
                  </a:lnTo>
                  <a:lnTo>
                    <a:pt x="63" y="411"/>
                  </a:lnTo>
                  <a:lnTo>
                    <a:pt x="51" y="380"/>
                  </a:lnTo>
                  <a:lnTo>
                    <a:pt x="40" y="346"/>
                  </a:lnTo>
                  <a:lnTo>
                    <a:pt x="30" y="309"/>
                  </a:lnTo>
                  <a:lnTo>
                    <a:pt x="22" y="270"/>
                  </a:lnTo>
                  <a:lnTo>
                    <a:pt x="14" y="230"/>
                  </a:lnTo>
                  <a:lnTo>
                    <a:pt x="8" y="186"/>
                  </a:lnTo>
                  <a:lnTo>
                    <a:pt x="3" y="139"/>
                  </a:lnTo>
                  <a:lnTo>
                    <a:pt x="1" y="90"/>
                  </a:lnTo>
                  <a:lnTo>
                    <a:pt x="0" y="39"/>
                  </a:lnTo>
                  <a:lnTo>
                    <a:pt x="1" y="31"/>
                  </a:lnTo>
                  <a:lnTo>
                    <a:pt x="3" y="25"/>
                  </a:lnTo>
                  <a:lnTo>
                    <a:pt x="7" y="17"/>
                  </a:lnTo>
                  <a:lnTo>
                    <a:pt x="12" y="12"/>
                  </a:lnTo>
                  <a:lnTo>
                    <a:pt x="17" y="8"/>
                  </a:lnTo>
                  <a:lnTo>
                    <a:pt x="24" y="3"/>
                  </a:lnTo>
                  <a:lnTo>
                    <a:pt x="31" y="1"/>
                  </a:lnTo>
                  <a:lnTo>
                    <a:pt x="39" y="0"/>
                  </a:lnTo>
                  <a:lnTo>
                    <a:pt x="348" y="0"/>
                  </a:lnTo>
                  <a:lnTo>
                    <a:pt x="356" y="1"/>
                  </a:lnTo>
                  <a:lnTo>
                    <a:pt x="363" y="3"/>
                  </a:lnTo>
                  <a:lnTo>
                    <a:pt x="370" y="8"/>
                  </a:lnTo>
                  <a:lnTo>
                    <a:pt x="375" y="12"/>
                  </a:lnTo>
                  <a:lnTo>
                    <a:pt x="380" y="17"/>
                  </a:lnTo>
                  <a:lnTo>
                    <a:pt x="384" y="25"/>
                  </a:lnTo>
                  <a:lnTo>
                    <a:pt x="386" y="31"/>
                  </a:lnTo>
                  <a:lnTo>
                    <a:pt x="387" y="39"/>
                  </a:lnTo>
                  <a:lnTo>
                    <a:pt x="386" y="47"/>
                  </a:lnTo>
                  <a:lnTo>
                    <a:pt x="384" y="54"/>
                  </a:lnTo>
                  <a:lnTo>
                    <a:pt x="380" y="61"/>
                  </a:lnTo>
                  <a:lnTo>
                    <a:pt x="375" y="67"/>
                  </a:lnTo>
                  <a:lnTo>
                    <a:pt x="370" y="71"/>
                  </a:lnTo>
                  <a:lnTo>
                    <a:pt x="363" y="75"/>
                  </a:lnTo>
                  <a:lnTo>
                    <a:pt x="356" y="77"/>
                  </a:lnTo>
                  <a:lnTo>
                    <a:pt x="348" y="78"/>
                  </a:lnTo>
                  <a:lnTo>
                    <a:pt x="78" y="78"/>
                  </a:lnTo>
                  <a:lnTo>
                    <a:pt x="80" y="121"/>
                  </a:lnTo>
                  <a:lnTo>
                    <a:pt x="83" y="162"/>
                  </a:lnTo>
                  <a:lnTo>
                    <a:pt x="88" y="200"/>
                  </a:lnTo>
                  <a:lnTo>
                    <a:pt x="94" y="236"/>
                  </a:lnTo>
                  <a:lnTo>
                    <a:pt x="101" y="270"/>
                  </a:lnTo>
                  <a:lnTo>
                    <a:pt x="109" y="303"/>
                  </a:lnTo>
                  <a:lnTo>
                    <a:pt x="117" y="333"/>
                  </a:lnTo>
                  <a:lnTo>
                    <a:pt x="127" y="360"/>
                  </a:lnTo>
                  <a:lnTo>
                    <a:pt x="137" y="387"/>
                  </a:lnTo>
                  <a:lnTo>
                    <a:pt x="148" y="411"/>
                  </a:lnTo>
                  <a:lnTo>
                    <a:pt x="160" y="435"/>
                  </a:lnTo>
                  <a:lnTo>
                    <a:pt x="171" y="456"/>
                  </a:lnTo>
                  <a:lnTo>
                    <a:pt x="184" y="475"/>
                  </a:lnTo>
                  <a:lnTo>
                    <a:pt x="197" y="493"/>
                  </a:lnTo>
                  <a:lnTo>
                    <a:pt x="209" y="510"/>
                  </a:lnTo>
                  <a:lnTo>
                    <a:pt x="221" y="525"/>
                  </a:lnTo>
                  <a:lnTo>
                    <a:pt x="234" y="539"/>
                  </a:lnTo>
                  <a:lnTo>
                    <a:pt x="247" y="552"/>
                  </a:lnTo>
                  <a:lnTo>
                    <a:pt x="260" y="562"/>
                  </a:lnTo>
                  <a:lnTo>
                    <a:pt x="271" y="572"/>
                  </a:lnTo>
                  <a:lnTo>
                    <a:pt x="294" y="589"/>
                  </a:lnTo>
                  <a:lnTo>
                    <a:pt x="315" y="602"/>
                  </a:lnTo>
                  <a:lnTo>
                    <a:pt x="332" y="610"/>
                  </a:lnTo>
                  <a:lnTo>
                    <a:pt x="345" y="615"/>
                  </a:lnTo>
                  <a:lnTo>
                    <a:pt x="354" y="619"/>
                  </a:lnTo>
                  <a:lnTo>
                    <a:pt x="357" y="620"/>
                  </a:lnTo>
                  <a:lnTo>
                    <a:pt x="365" y="623"/>
                  </a:lnTo>
                  <a:lnTo>
                    <a:pt x="371" y="627"/>
                  </a:lnTo>
                  <a:lnTo>
                    <a:pt x="376" y="631"/>
                  </a:lnTo>
                  <a:lnTo>
                    <a:pt x="381" y="638"/>
                  </a:lnTo>
                  <a:lnTo>
                    <a:pt x="384" y="644"/>
                  </a:lnTo>
                  <a:lnTo>
                    <a:pt x="386" y="652"/>
                  </a:lnTo>
                  <a:lnTo>
                    <a:pt x="387" y="659"/>
                  </a:lnTo>
                  <a:lnTo>
                    <a:pt x="385" y="666"/>
                  </a:lnTo>
                  <a:lnTo>
                    <a:pt x="383" y="673"/>
                  </a:lnTo>
                  <a:lnTo>
                    <a:pt x="380" y="679"/>
                  </a:lnTo>
                  <a:lnTo>
                    <a:pt x="376" y="683"/>
                  </a:lnTo>
                  <a:lnTo>
                    <a:pt x="371" y="688"/>
                  </a:lnTo>
                  <a:lnTo>
                    <a:pt x="366" y="692"/>
                  </a:lnTo>
                  <a:lnTo>
                    <a:pt x="361" y="694"/>
                  </a:lnTo>
                  <a:lnTo>
                    <a:pt x="354" y="695"/>
                  </a:lnTo>
                  <a:lnTo>
                    <a:pt x="348"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51">
              <a:extLst>
                <a:ext uri="{FF2B5EF4-FFF2-40B4-BE49-F238E27FC236}">
                  <a16:creationId xmlns:a16="http://schemas.microsoft.com/office/drawing/2014/main" id="{A1A3111C-B4BE-45DC-97CD-A51217333C53}"/>
                </a:ext>
              </a:extLst>
            </p:cNvPr>
            <p:cNvSpPr>
              <a:spLocks/>
            </p:cNvSpPr>
            <p:nvPr/>
          </p:nvSpPr>
          <p:spPr bwMode="auto">
            <a:xfrm>
              <a:off x="4746625" y="1763713"/>
              <a:ext cx="204788" cy="368300"/>
            </a:xfrm>
            <a:custGeom>
              <a:avLst/>
              <a:gdLst>
                <a:gd name="T0" fmla="*/ 32 w 387"/>
                <a:gd name="T1" fmla="*/ 695 h 696"/>
                <a:gd name="T2" fmla="*/ 21 w 387"/>
                <a:gd name="T3" fmla="*/ 692 h 696"/>
                <a:gd name="T4" fmla="*/ 11 w 387"/>
                <a:gd name="T5" fmla="*/ 683 h 696"/>
                <a:gd name="T6" fmla="*/ 4 w 387"/>
                <a:gd name="T7" fmla="*/ 673 h 696"/>
                <a:gd name="T8" fmla="*/ 0 w 387"/>
                <a:gd name="T9" fmla="*/ 659 h 696"/>
                <a:gd name="T10" fmla="*/ 3 w 387"/>
                <a:gd name="T11" fmla="*/ 644 h 696"/>
                <a:gd name="T12" fmla="*/ 10 w 387"/>
                <a:gd name="T13" fmla="*/ 631 h 696"/>
                <a:gd name="T14" fmla="*/ 22 w 387"/>
                <a:gd name="T15" fmla="*/ 623 h 696"/>
                <a:gd name="T16" fmla="*/ 34 w 387"/>
                <a:gd name="T17" fmla="*/ 619 h 696"/>
                <a:gd name="T18" fmla="*/ 58 w 387"/>
                <a:gd name="T19" fmla="*/ 609 h 696"/>
                <a:gd name="T20" fmla="*/ 97 w 387"/>
                <a:gd name="T21" fmla="*/ 587 h 696"/>
                <a:gd name="T22" fmla="*/ 131 w 387"/>
                <a:gd name="T23" fmla="*/ 560 h 696"/>
                <a:gd name="T24" fmla="*/ 156 w 387"/>
                <a:gd name="T25" fmla="*/ 537 h 696"/>
                <a:gd name="T26" fmla="*/ 181 w 387"/>
                <a:gd name="T27" fmla="*/ 507 h 696"/>
                <a:gd name="T28" fmla="*/ 206 w 387"/>
                <a:gd name="T29" fmla="*/ 473 h 696"/>
                <a:gd name="T30" fmla="*/ 229 w 387"/>
                <a:gd name="T31" fmla="*/ 433 h 696"/>
                <a:gd name="T32" fmla="*/ 251 w 387"/>
                <a:gd name="T33" fmla="*/ 385 h 696"/>
                <a:gd name="T34" fmla="*/ 270 w 387"/>
                <a:gd name="T35" fmla="*/ 331 h 696"/>
                <a:gd name="T36" fmla="*/ 287 w 387"/>
                <a:gd name="T37" fmla="*/ 269 h 696"/>
                <a:gd name="T38" fmla="*/ 299 w 387"/>
                <a:gd name="T39" fmla="*/ 199 h 696"/>
                <a:gd name="T40" fmla="*/ 308 w 387"/>
                <a:gd name="T41" fmla="*/ 120 h 696"/>
                <a:gd name="T42" fmla="*/ 39 w 387"/>
                <a:gd name="T43" fmla="*/ 78 h 696"/>
                <a:gd name="T44" fmla="*/ 24 w 387"/>
                <a:gd name="T45" fmla="*/ 75 h 696"/>
                <a:gd name="T46" fmla="*/ 12 w 387"/>
                <a:gd name="T47" fmla="*/ 67 h 696"/>
                <a:gd name="T48" fmla="*/ 4 w 387"/>
                <a:gd name="T49" fmla="*/ 54 h 696"/>
                <a:gd name="T50" fmla="*/ 0 w 387"/>
                <a:gd name="T51" fmla="*/ 39 h 696"/>
                <a:gd name="T52" fmla="*/ 4 w 387"/>
                <a:gd name="T53" fmla="*/ 25 h 696"/>
                <a:gd name="T54" fmla="*/ 12 w 387"/>
                <a:gd name="T55" fmla="*/ 12 h 696"/>
                <a:gd name="T56" fmla="*/ 24 w 387"/>
                <a:gd name="T57" fmla="*/ 3 h 696"/>
                <a:gd name="T58" fmla="*/ 39 w 387"/>
                <a:gd name="T59" fmla="*/ 0 h 696"/>
                <a:gd name="T60" fmla="*/ 356 w 387"/>
                <a:gd name="T61" fmla="*/ 1 h 696"/>
                <a:gd name="T62" fmla="*/ 370 w 387"/>
                <a:gd name="T63" fmla="*/ 8 h 696"/>
                <a:gd name="T64" fmla="*/ 380 w 387"/>
                <a:gd name="T65" fmla="*/ 17 h 696"/>
                <a:gd name="T66" fmla="*/ 386 w 387"/>
                <a:gd name="T67" fmla="*/ 31 h 696"/>
                <a:gd name="T68" fmla="*/ 386 w 387"/>
                <a:gd name="T69" fmla="*/ 90 h 696"/>
                <a:gd name="T70" fmla="*/ 379 w 387"/>
                <a:gd name="T71" fmla="*/ 186 h 696"/>
                <a:gd name="T72" fmla="*/ 366 w 387"/>
                <a:gd name="T73" fmla="*/ 270 h 696"/>
                <a:gd name="T74" fmla="*/ 347 w 387"/>
                <a:gd name="T75" fmla="*/ 346 h 696"/>
                <a:gd name="T76" fmla="*/ 323 w 387"/>
                <a:gd name="T77" fmla="*/ 411 h 696"/>
                <a:gd name="T78" fmla="*/ 298 w 387"/>
                <a:gd name="T79" fmla="*/ 469 h 696"/>
                <a:gd name="T80" fmla="*/ 268 w 387"/>
                <a:gd name="T81" fmla="*/ 518 h 696"/>
                <a:gd name="T82" fmla="*/ 238 w 387"/>
                <a:gd name="T83" fmla="*/ 559 h 696"/>
                <a:gd name="T84" fmla="*/ 208 w 387"/>
                <a:gd name="T85" fmla="*/ 594 h 696"/>
                <a:gd name="T86" fmla="*/ 177 w 387"/>
                <a:gd name="T87" fmla="*/ 623 h 696"/>
                <a:gd name="T88" fmla="*/ 147 w 387"/>
                <a:gd name="T89" fmla="*/ 645 h 696"/>
                <a:gd name="T90" fmla="*/ 119 w 387"/>
                <a:gd name="T91" fmla="*/ 663 h 696"/>
                <a:gd name="T92" fmla="*/ 84 w 387"/>
                <a:gd name="T93" fmla="*/ 681 h 696"/>
                <a:gd name="T94" fmla="*/ 55 w 387"/>
                <a:gd name="T95" fmla="*/ 693 h 696"/>
                <a:gd name="T96" fmla="*/ 44 w 387"/>
                <a:gd name="T97"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7" h="696">
                  <a:moveTo>
                    <a:pt x="39" y="696"/>
                  </a:moveTo>
                  <a:lnTo>
                    <a:pt x="32" y="695"/>
                  </a:lnTo>
                  <a:lnTo>
                    <a:pt x="27" y="694"/>
                  </a:lnTo>
                  <a:lnTo>
                    <a:pt x="21" y="692"/>
                  </a:lnTo>
                  <a:lnTo>
                    <a:pt x="15" y="688"/>
                  </a:lnTo>
                  <a:lnTo>
                    <a:pt x="11" y="683"/>
                  </a:lnTo>
                  <a:lnTo>
                    <a:pt x="7" y="679"/>
                  </a:lnTo>
                  <a:lnTo>
                    <a:pt x="4" y="673"/>
                  </a:lnTo>
                  <a:lnTo>
                    <a:pt x="1" y="666"/>
                  </a:lnTo>
                  <a:lnTo>
                    <a:pt x="0" y="659"/>
                  </a:lnTo>
                  <a:lnTo>
                    <a:pt x="0" y="652"/>
                  </a:lnTo>
                  <a:lnTo>
                    <a:pt x="3" y="644"/>
                  </a:lnTo>
                  <a:lnTo>
                    <a:pt x="6" y="638"/>
                  </a:lnTo>
                  <a:lnTo>
                    <a:pt x="10" y="631"/>
                  </a:lnTo>
                  <a:lnTo>
                    <a:pt x="15" y="627"/>
                  </a:lnTo>
                  <a:lnTo>
                    <a:pt x="22" y="623"/>
                  </a:lnTo>
                  <a:lnTo>
                    <a:pt x="29" y="620"/>
                  </a:lnTo>
                  <a:lnTo>
                    <a:pt x="34" y="619"/>
                  </a:lnTo>
                  <a:lnTo>
                    <a:pt x="44" y="615"/>
                  </a:lnTo>
                  <a:lnTo>
                    <a:pt x="58" y="609"/>
                  </a:lnTo>
                  <a:lnTo>
                    <a:pt x="76" y="600"/>
                  </a:lnTo>
                  <a:lnTo>
                    <a:pt x="97" y="587"/>
                  </a:lnTo>
                  <a:lnTo>
                    <a:pt x="119" y="570"/>
                  </a:lnTo>
                  <a:lnTo>
                    <a:pt x="131" y="560"/>
                  </a:lnTo>
                  <a:lnTo>
                    <a:pt x="144" y="549"/>
                  </a:lnTo>
                  <a:lnTo>
                    <a:pt x="156" y="537"/>
                  </a:lnTo>
                  <a:lnTo>
                    <a:pt x="168" y="523"/>
                  </a:lnTo>
                  <a:lnTo>
                    <a:pt x="181" y="507"/>
                  </a:lnTo>
                  <a:lnTo>
                    <a:pt x="194" y="491"/>
                  </a:lnTo>
                  <a:lnTo>
                    <a:pt x="206" y="473"/>
                  </a:lnTo>
                  <a:lnTo>
                    <a:pt x="217" y="454"/>
                  </a:lnTo>
                  <a:lnTo>
                    <a:pt x="229" y="433"/>
                  </a:lnTo>
                  <a:lnTo>
                    <a:pt x="241" y="409"/>
                  </a:lnTo>
                  <a:lnTo>
                    <a:pt x="251" y="385"/>
                  </a:lnTo>
                  <a:lnTo>
                    <a:pt x="261" y="358"/>
                  </a:lnTo>
                  <a:lnTo>
                    <a:pt x="270" y="331"/>
                  </a:lnTo>
                  <a:lnTo>
                    <a:pt x="279" y="301"/>
                  </a:lnTo>
                  <a:lnTo>
                    <a:pt x="287" y="269"/>
                  </a:lnTo>
                  <a:lnTo>
                    <a:pt x="294" y="235"/>
                  </a:lnTo>
                  <a:lnTo>
                    <a:pt x="299" y="199"/>
                  </a:lnTo>
                  <a:lnTo>
                    <a:pt x="303" y="161"/>
                  </a:lnTo>
                  <a:lnTo>
                    <a:pt x="308" y="120"/>
                  </a:lnTo>
                  <a:lnTo>
                    <a:pt x="309" y="78"/>
                  </a:lnTo>
                  <a:lnTo>
                    <a:pt x="39" y="78"/>
                  </a:lnTo>
                  <a:lnTo>
                    <a:pt x="31" y="77"/>
                  </a:lnTo>
                  <a:lnTo>
                    <a:pt x="24" y="75"/>
                  </a:lnTo>
                  <a:lnTo>
                    <a:pt x="17" y="71"/>
                  </a:lnTo>
                  <a:lnTo>
                    <a:pt x="12" y="67"/>
                  </a:lnTo>
                  <a:lnTo>
                    <a:pt x="7" y="61"/>
                  </a:lnTo>
                  <a:lnTo>
                    <a:pt x="4" y="54"/>
                  </a:lnTo>
                  <a:lnTo>
                    <a:pt x="1" y="47"/>
                  </a:lnTo>
                  <a:lnTo>
                    <a:pt x="0" y="39"/>
                  </a:lnTo>
                  <a:lnTo>
                    <a:pt x="1" y="31"/>
                  </a:lnTo>
                  <a:lnTo>
                    <a:pt x="4" y="25"/>
                  </a:lnTo>
                  <a:lnTo>
                    <a:pt x="7" y="17"/>
                  </a:lnTo>
                  <a:lnTo>
                    <a:pt x="12" y="12"/>
                  </a:lnTo>
                  <a:lnTo>
                    <a:pt x="17" y="8"/>
                  </a:lnTo>
                  <a:lnTo>
                    <a:pt x="24" y="3"/>
                  </a:lnTo>
                  <a:lnTo>
                    <a:pt x="31" y="1"/>
                  </a:lnTo>
                  <a:lnTo>
                    <a:pt x="39" y="0"/>
                  </a:lnTo>
                  <a:lnTo>
                    <a:pt x="348" y="0"/>
                  </a:lnTo>
                  <a:lnTo>
                    <a:pt x="356" y="1"/>
                  </a:lnTo>
                  <a:lnTo>
                    <a:pt x="363" y="3"/>
                  </a:lnTo>
                  <a:lnTo>
                    <a:pt x="370" y="8"/>
                  </a:lnTo>
                  <a:lnTo>
                    <a:pt x="376" y="12"/>
                  </a:lnTo>
                  <a:lnTo>
                    <a:pt x="380" y="17"/>
                  </a:lnTo>
                  <a:lnTo>
                    <a:pt x="384" y="25"/>
                  </a:lnTo>
                  <a:lnTo>
                    <a:pt x="386" y="31"/>
                  </a:lnTo>
                  <a:lnTo>
                    <a:pt x="387" y="39"/>
                  </a:lnTo>
                  <a:lnTo>
                    <a:pt x="386" y="90"/>
                  </a:lnTo>
                  <a:lnTo>
                    <a:pt x="383" y="139"/>
                  </a:lnTo>
                  <a:lnTo>
                    <a:pt x="379" y="186"/>
                  </a:lnTo>
                  <a:lnTo>
                    <a:pt x="372" y="230"/>
                  </a:lnTo>
                  <a:lnTo>
                    <a:pt x="366" y="270"/>
                  </a:lnTo>
                  <a:lnTo>
                    <a:pt x="356" y="309"/>
                  </a:lnTo>
                  <a:lnTo>
                    <a:pt x="347" y="346"/>
                  </a:lnTo>
                  <a:lnTo>
                    <a:pt x="336" y="380"/>
                  </a:lnTo>
                  <a:lnTo>
                    <a:pt x="323" y="411"/>
                  </a:lnTo>
                  <a:lnTo>
                    <a:pt x="311" y="441"/>
                  </a:lnTo>
                  <a:lnTo>
                    <a:pt x="298" y="469"/>
                  </a:lnTo>
                  <a:lnTo>
                    <a:pt x="283" y="494"/>
                  </a:lnTo>
                  <a:lnTo>
                    <a:pt x="268" y="518"/>
                  </a:lnTo>
                  <a:lnTo>
                    <a:pt x="253" y="539"/>
                  </a:lnTo>
                  <a:lnTo>
                    <a:pt x="238" y="559"/>
                  </a:lnTo>
                  <a:lnTo>
                    <a:pt x="223" y="577"/>
                  </a:lnTo>
                  <a:lnTo>
                    <a:pt x="208" y="594"/>
                  </a:lnTo>
                  <a:lnTo>
                    <a:pt x="192" y="609"/>
                  </a:lnTo>
                  <a:lnTo>
                    <a:pt x="177" y="623"/>
                  </a:lnTo>
                  <a:lnTo>
                    <a:pt x="162" y="635"/>
                  </a:lnTo>
                  <a:lnTo>
                    <a:pt x="147" y="645"/>
                  </a:lnTo>
                  <a:lnTo>
                    <a:pt x="133" y="655"/>
                  </a:lnTo>
                  <a:lnTo>
                    <a:pt x="119" y="663"/>
                  </a:lnTo>
                  <a:lnTo>
                    <a:pt x="107" y="671"/>
                  </a:lnTo>
                  <a:lnTo>
                    <a:pt x="84" y="681"/>
                  </a:lnTo>
                  <a:lnTo>
                    <a:pt x="67" y="689"/>
                  </a:lnTo>
                  <a:lnTo>
                    <a:pt x="55" y="693"/>
                  </a:lnTo>
                  <a:lnTo>
                    <a:pt x="48" y="695"/>
                  </a:lnTo>
                  <a:lnTo>
                    <a:pt x="44" y="696"/>
                  </a:lnTo>
                  <a:lnTo>
                    <a:pt x="39"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52">
              <a:extLst>
                <a:ext uri="{FF2B5EF4-FFF2-40B4-BE49-F238E27FC236}">
                  <a16:creationId xmlns:a16="http://schemas.microsoft.com/office/drawing/2014/main" id="{8515279B-2F38-4D68-9ABB-1E2A9E5808EE}"/>
                </a:ext>
              </a:extLst>
            </p:cNvPr>
            <p:cNvSpPr>
              <a:spLocks noEditPoints="1"/>
            </p:cNvSpPr>
            <p:nvPr/>
          </p:nvSpPr>
          <p:spPr bwMode="auto">
            <a:xfrm>
              <a:off x="4256088" y="2624138"/>
              <a:ext cx="449263" cy="122238"/>
            </a:xfrm>
            <a:custGeom>
              <a:avLst/>
              <a:gdLst>
                <a:gd name="T0" fmla="*/ 77 w 850"/>
                <a:gd name="T1" fmla="*/ 154 h 232"/>
                <a:gd name="T2" fmla="*/ 773 w 850"/>
                <a:gd name="T3" fmla="*/ 154 h 232"/>
                <a:gd name="T4" fmla="*/ 773 w 850"/>
                <a:gd name="T5" fmla="*/ 77 h 232"/>
                <a:gd name="T6" fmla="*/ 77 w 850"/>
                <a:gd name="T7" fmla="*/ 77 h 232"/>
                <a:gd name="T8" fmla="*/ 77 w 850"/>
                <a:gd name="T9" fmla="*/ 154 h 232"/>
                <a:gd name="T10" fmla="*/ 812 w 850"/>
                <a:gd name="T11" fmla="*/ 232 h 232"/>
                <a:gd name="T12" fmla="*/ 39 w 850"/>
                <a:gd name="T13" fmla="*/ 232 h 232"/>
                <a:gd name="T14" fmla="*/ 30 w 850"/>
                <a:gd name="T15" fmla="*/ 231 h 232"/>
                <a:gd name="T16" fmla="*/ 23 w 850"/>
                <a:gd name="T17" fmla="*/ 229 h 232"/>
                <a:gd name="T18" fmla="*/ 17 w 850"/>
                <a:gd name="T19" fmla="*/ 225 h 232"/>
                <a:gd name="T20" fmla="*/ 11 w 850"/>
                <a:gd name="T21" fmla="*/ 220 h 232"/>
                <a:gd name="T22" fmla="*/ 6 w 850"/>
                <a:gd name="T23" fmla="*/ 215 h 232"/>
                <a:gd name="T24" fmla="*/ 3 w 850"/>
                <a:gd name="T25" fmla="*/ 208 h 232"/>
                <a:gd name="T26" fmla="*/ 1 w 850"/>
                <a:gd name="T27" fmla="*/ 201 h 232"/>
                <a:gd name="T28" fmla="*/ 0 w 850"/>
                <a:gd name="T29" fmla="*/ 193 h 232"/>
                <a:gd name="T30" fmla="*/ 0 w 850"/>
                <a:gd name="T31" fmla="*/ 38 h 232"/>
                <a:gd name="T32" fmla="*/ 1 w 850"/>
                <a:gd name="T33" fmla="*/ 31 h 232"/>
                <a:gd name="T34" fmla="*/ 3 w 850"/>
                <a:gd name="T35" fmla="*/ 23 h 232"/>
                <a:gd name="T36" fmla="*/ 6 w 850"/>
                <a:gd name="T37" fmla="*/ 17 h 232"/>
                <a:gd name="T38" fmla="*/ 11 w 850"/>
                <a:gd name="T39" fmla="*/ 11 h 232"/>
                <a:gd name="T40" fmla="*/ 17 w 850"/>
                <a:gd name="T41" fmla="*/ 6 h 232"/>
                <a:gd name="T42" fmla="*/ 23 w 850"/>
                <a:gd name="T43" fmla="*/ 3 h 232"/>
                <a:gd name="T44" fmla="*/ 30 w 850"/>
                <a:gd name="T45" fmla="*/ 0 h 232"/>
                <a:gd name="T46" fmla="*/ 39 w 850"/>
                <a:gd name="T47" fmla="*/ 0 h 232"/>
                <a:gd name="T48" fmla="*/ 812 w 850"/>
                <a:gd name="T49" fmla="*/ 0 h 232"/>
                <a:gd name="T50" fmla="*/ 819 w 850"/>
                <a:gd name="T51" fmla="*/ 0 h 232"/>
                <a:gd name="T52" fmla="*/ 826 w 850"/>
                <a:gd name="T53" fmla="*/ 3 h 232"/>
                <a:gd name="T54" fmla="*/ 833 w 850"/>
                <a:gd name="T55" fmla="*/ 6 h 232"/>
                <a:gd name="T56" fmla="*/ 839 w 850"/>
                <a:gd name="T57" fmla="*/ 11 h 232"/>
                <a:gd name="T58" fmla="*/ 843 w 850"/>
                <a:gd name="T59" fmla="*/ 17 h 232"/>
                <a:gd name="T60" fmla="*/ 847 w 850"/>
                <a:gd name="T61" fmla="*/ 23 h 232"/>
                <a:gd name="T62" fmla="*/ 850 w 850"/>
                <a:gd name="T63" fmla="*/ 31 h 232"/>
                <a:gd name="T64" fmla="*/ 850 w 850"/>
                <a:gd name="T65" fmla="*/ 38 h 232"/>
                <a:gd name="T66" fmla="*/ 850 w 850"/>
                <a:gd name="T67" fmla="*/ 193 h 232"/>
                <a:gd name="T68" fmla="*/ 850 w 850"/>
                <a:gd name="T69" fmla="*/ 201 h 232"/>
                <a:gd name="T70" fmla="*/ 847 w 850"/>
                <a:gd name="T71" fmla="*/ 208 h 232"/>
                <a:gd name="T72" fmla="*/ 843 w 850"/>
                <a:gd name="T73" fmla="*/ 215 h 232"/>
                <a:gd name="T74" fmla="*/ 839 w 850"/>
                <a:gd name="T75" fmla="*/ 220 h 232"/>
                <a:gd name="T76" fmla="*/ 833 w 850"/>
                <a:gd name="T77" fmla="*/ 225 h 232"/>
                <a:gd name="T78" fmla="*/ 826 w 850"/>
                <a:gd name="T79" fmla="*/ 229 h 232"/>
                <a:gd name="T80" fmla="*/ 819 w 850"/>
                <a:gd name="T81" fmla="*/ 231 h 232"/>
                <a:gd name="T82" fmla="*/ 812 w 850"/>
                <a:gd name="T8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0" h="232">
                  <a:moveTo>
                    <a:pt x="77" y="154"/>
                  </a:moveTo>
                  <a:lnTo>
                    <a:pt x="773" y="154"/>
                  </a:lnTo>
                  <a:lnTo>
                    <a:pt x="773" y="77"/>
                  </a:lnTo>
                  <a:lnTo>
                    <a:pt x="77" y="77"/>
                  </a:lnTo>
                  <a:lnTo>
                    <a:pt x="77" y="154"/>
                  </a:lnTo>
                  <a:close/>
                  <a:moveTo>
                    <a:pt x="812" y="232"/>
                  </a:moveTo>
                  <a:lnTo>
                    <a:pt x="39" y="232"/>
                  </a:lnTo>
                  <a:lnTo>
                    <a:pt x="30" y="231"/>
                  </a:lnTo>
                  <a:lnTo>
                    <a:pt x="23" y="229"/>
                  </a:lnTo>
                  <a:lnTo>
                    <a:pt x="17" y="225"/>
                  </a:lnTo>
                  <a:lnTo>
                    <a:pt x="11" y="220"/>
                  </a:lnTo>
                  <a:lnTo>
                    <a:pt x="6" y="215"/>
                  </a:lnTo>
                  <a:lnTo>
                    <a:pt x="3" y="208"/>
                  </a:lnTo>
                  <a:lnTo>
                    <a:pt x="1" y="201"/>
                  </a:lnTo>
                  <a:lnTo>
                    <a:pt x="0" y="193"/>
                  </a:lnTo>
                  <a:lnTo>
                    <a:pt x="0" y="38"/>
                  </a:lnTo>
                  <a:lnTo>
                    <a:pt x="1" y="31"/>
                  </a:lnTo>
                  <a:lnTo>
                    <a:pt x="3" y="23"/>
                  </a:lnTo>
                  <a:lnTo>
                    <a:pt x="6" y="17"/>
                  </a:lnTo>
                  <a:lnTo>
                    <a:pt x="11" y="11"/>
                  </a:lnTo>
                  <a:lnTo>
                    <a:pt x="17" y="6"/>
                  </a:lnTo>
                  <a:lnTo>
                    <a:pt x="23" y="3"/>
                  </a:lnTo>
                  <a:lnTo>
                    <a:pt x="30" y="0"/>
                  </a:lnTo>
                  <a:lnTo>
                    <a:pt x="39" y="0"/>
                  </a:lnTo>
                  <a:lnTo>
                    <a:pt x="812" y="0"/>
                  </a:lnTo>
                  <a:lnTo>
                    <a:pt x="819" y="0"/>
                  </a:lnTo>
                  <a:lnTo>
                    <a:pt x="826" y="3"/>
                  </a:lnTo>
                  <a:lnTo>
                    <a:pt x="833" y="6"/>
                  </a:lnTo>
                  <a:lnTo>
                    <a:pt x="839" y="11"/>
                  </a:lnTo>
                  <a:lnTo>
                    <a:pt x="843" y="17"/>
                  </a:lnTo>
                  <a:lnTo>
                    <a:pt x="847" y="23"/>
                  </a:lnTo>
                  <a:lnTo>
                    <a:pt x="850" y="31"/>
                  </a:lnTo>
                  <a:lnTo>
                    <a:pt x="850" y="38"/>
                  </a:lnTo>
                  <a:lnTo>
                    <a:pt x="850" y="193"/>
                  </a:lnTo>
                  <a:lnTo>
                    <a:pt x="850" y="201"/>
                  </a:lnTo>
                  <a:lnTo>
                    <a:pt x="847" y="208"/>
                  </a:lnTo>
                  <a:lnTo>
                    <a:pt x="843" y="215"/>
                  </a:lnTo>
                  <a:lnTo>
                    <a:pt x="839" y="220"/>
                  </a:lnTo>
                  <a:lnTo>
                    <a:pt x="833" y="225"/>
                  </a:lnTo>
                  <a:lnTo>
                    <a:pt x="826" y="229"/>
                  </a:lnTo>
                  <a:lnTo>
                    <a:pt x="819" y="231"/>
                  </a:lnTo>
                  <a:lnTo>
                    <a:pt x="812"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3">
              <a:extLst>
                <a:ext uri="{FF2B5EF4-FFF2-40B4-BE49-F238E27FC236}">
                  <a16:creationId xmlns:a16="http://schemas.microsoft.com/office/drawing/2014/main" id="{19565E24-5267-4D72-BD91-6290484F1D48}"/>
                </a:ext>
              </a:extLst>
            </p:cNvPr>
            <p:cNvSpPr>
              <a:spLocks/>
            </p:cNvSpPr>
            <p:nvPr/>
          </p:nvSpPr>
          <p:spPr bwMode="auto">
            <a:xfrm>
              <a:off x="4459288" y="2419350"/>
              <a:ext cx="41275" cy="244475"/>
            </a:xfrm>
            <a:custGeom>
              <a:avLst/>
              <a:gdLst>
                <a:gd name="T0" fmla="*/ 39 w 78"/>
                <a:gd name="T1" fmla="*/ 464 h 464"/>
                <a:gd name="T2" fmla="*/ 31 w 78"/>
                <a:gd name="T3" fmla="*/ 464 h 464"/>
                <a:gd name="T4" fmla="*/ 24 w 78"/>
                <a:gd name="T5" fmla="*/ 461 h 464"/>
                <a:gd name="T6" fmla="*/ 17 w 78"/>
                <a:gd name="T7" fmla="*/ 457 h 464"/>
                <a:gd name="T8" fmla="*/ 12 w 78"/>
                <a:gd name="T9" fmla="*/ 453 h 464"/>
                <a:gd name="T10" fmla="*/ 7 w 78"/>
                <a:gd name="T11" fmla="*/ 447 h 464"/>
                <a:gd name="T12" fmla="*/ 4 w 78"/>
                <a:gd name="T13" fmla="*/ 440 h 464"/>
                <a:gd name="T14" fmla="*/ 2 w 78"/>
                <a:gd name="T15" fmla="*/ 433 h 464"/>
                <a:gd name="T16" fmla="*/ 0 w 78"/>
                <a:gd name="T17" fmla="*/ 425 h 464"/>
                <a:gd name="T18" fmla="*/ 0 w 78"/>
                <a:gd name="T19" fmla="*/ 38 h 464"/>
                <a:gd name="T20" fmla="*/ 2 w 78"/>
                <a:gd name="T21" fmla="*/ 31 h 464"/>
                <a:gd name="T22" fmla="*/ 4 w 78"/>
                <a:gd name="T23" fmla="*/ 24 h 464"/>
                <a:gd name="T24" fmla="*/ 7 w 78"/>
                <a:gd name="T25" fmla="*/ 17 h 464"/>
                <a:gd name="T26" fmla="*/ 12 w 78"/>
                <a:gd name="T27" fmla="*/ 12 h 464"/>
                <a:gd name="T28" fmla="*/ 17 w 78"/>
                <a:gd name="T29" fmla="*/ 7 h 464"/>
                <a:gd name="T30" fmla="*/ 24 w 78"/>
                <a:gd name="T31" fmla="*/ 3 h 464"/>
                <a:gd name="T32" fmla="*/ 31 w 78"/>
                <a:gd name="T33" fmla="*/ 1 h 464"/>
                <a:gd name="T34" fmla="*/ 39 w 78"/>
                <a:gd name="T35" fmla="*/ 0 h 464"/>
                <a:gd name="T36" fmla="*/ 47 w 78"/>
                <a:gd name="T37" fmla="*/ 1 h 464"/>
                <a:gd name="T38" fmla="*/ 54 w 78"/>
                <a:gd name="T39" fmla="*/ 3 h 464"/>
                <a:gd name="T40" fmla="*/ 61 w 78"/>
                <a:gd name="T41" fmla="*/ 7 h 464"/>
                <a:gd name="T42" fmla="*/ 66 w 78"/>
                <a:gd name="T43" fmla="*/ 12 h 464"/>
                <a:gd name="T44" fmla="*/ 71 w 78"/>
                <a:gd name="T45" fmla="*/ 17 h 464"/>
                <a:gd name="T46" fmla="*/ 75 w 78"/>
                <a:gd name="T47" fmla="*/ 24 h 464"/>
                <a:gd name="T48" fmla="*/ 77 w 78"/>
                <a:gd name="T49" fmla="*/ 31 h 464"/>
                <a:gd name="T50" fmla="*/ 78 w 78"/>
                <a:gd name="T51" fmla="*/ 38 h 464"/>
                <a:gd name="T52" fmla="*/ 78 w 78"/>
                <a:gd name="T53" fmla="*/ 425 h 464"/>
                <a:gd name="T54" fmla="*/ 77 w 78"/>
                <a:gd name="T55" fmla="*/ 433 h 464"/>
                <a:gd name="T56" fmla="*/ 75 w 78"/>
                <a:gd name="T57" fmla="*/ 440 h 464"/>
                <a:gd name="T58" fmla="*/ 71 w 78"/>
                <a:gd name="T59" fmla="*/ 447 h 464"/>
                <a:gd name="T60" fmla="*/ 66 w 78"/>
                <a:gd name="T61" fmla="*/ 453 h 464"/>
                <a:gd name="T62" fmla="*/ 61 w 78"/>
                <a:gd name="T63" fmla="*/ 457 h 464"/>
                <a:gd name="T64" fmla="*/ 54 w 78"/>
                <a:gd name="T65" fmla="*/ 461 h 464"/>
                <a:gd name="T66" fmla="*/ 47 w 78"/>
                <a:gd name="T67" fmla="*/ 464 h 464"/>
                <a:gd name="T68" fmla="*/ 39 w 78"/>
                <a:gd name="T69"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464">
                  <a:moveTo>
                    <a:pt x="39" y="464"/>
                  </a:moveTo>
                  <a:lnTo>
                    <a:pt x="31" y="464"/>
                  </a:lnTo>
                  <a:lnTo>
                    <a:pt x="24" y="461"/>
                  </a:lnTo>
                  <a:lnTo>
                    <a:pt x="17" y="457"/>
                  </a:lnTo>
                  <a:lnTo>
                    <a:pt x="12" y="453"/>
                  </a:lnTo>
                  <a:lnTo>
                    <a:pt x="7" y="447"/>
                  </a:lnTo>
                  <a:lnTo>
                    <a:pt x="4" y="440"/>
                  </a:lnTo>
                  <a:lnTo>
                    <a:pt x="2" y="433"/>
                  </a:lnTo>
                  <a:lnTo>
                    <a:pt x="0" y="425"/>
                  </a:lnTo>
                  <a:lnTo>
                    <a:pt x="0" y="38"/>
                  </a:lnTo>
                  <a:lnTo>
                    <a:pt x="2" y="31"/>
                  </a:lnTo>
                  <a:lnTo>
                    <a:pt x="4" y="24"/>
                  </a:lnTo>
                  <a:lnTo>
                    <a:pt x="7" y="17"/>
                  </a:lnTo>
                  <a:lnTo>
                    <a:pt x="12" y="12"/>
                  </a:lnTo>
                  <a:lnTo>
                    <a:pt x="17" y="7"/>
                  </a:lnTo>
                  <a:lnTo>
                    <a:pt x="24" y="3"/>
                  </a:lnTo>
                  <a:lnTo>
                    <a:pt x="31" y="1"/>
                  </a:lnTo>
                  <a:lnTo>
                    <a:pt x="39" y="0"/>
                  </a:lnTo>
                  <a:lnTo>
                    <a:pt x="47" y="1"/>
                  </a:lnTo>
                  <a:lnTo>
                    <a:pt x="54" y="3"/>
                  </a:lnTo>
                  <a:lnTo>
                    <a:pt x="61" y="7"/>
                  </a:lnTo>
                  <a:lnTo>
                    <a:pt x="66" y="12"/>
                  </a:lnTo>
                  <a:lnTo>
                    <a:pt x="71" y="17"/>
                  </a:lnTo>
                  <a:lnTo>
                    <a:pt x="75" y="24"/>
                  </a:lnTo>
                  <a:lnTo>
                    <a:pt x="77" y="31"/>
                  </a:lnTo>
                  <a:lnTo>
                    <a:pt x="78" y="38"/>
                  </a:lnTo>
                  <a:lnTo>
                    <a:pt x="78" y="425"/>
                  </a:lnTo>
                  <a:lnTo>
                    <a:pt x="77" y="433"/>
                  </a:lnTo>
                  <a:lnTo>
                    <a:pt x="75" y="440"/>
                  </a:lnTo>
                  <a:lnTo>
                    <a:pt x="71" y="447"/>
                  </a:lnTo>
                  <a:lnTo>
                    <a:pt x="66" y="453"/>
                  </a:lnTo>
                  <a:lnTo>
                    <a:pt x="61" y="457"/>
                  </a:lnTo>
                  <a:lnTo>
                    <a:pt x="54" y="461"/>
                  </a:lnTo>
                  <a:lnTo>
                    <a:pt x="47" y="464"/>
                  </a:lnTo>
                  <a:lnTo>
                    <a:pt x="39"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4" name="Freeform 51">
            <a:extLst>
              <a:ext uri="{FF2B5EF4-FFF2-40B4-BE49-F238E27FC236}">
                <a16:creationId xmlns:a16="http://schemas.microsoft.com/office/drawing/2014/main" id="{0B508BDE-F2C6-4DF4-AFB3-84566BCE5564}"/>
              </a:ext>
            </a:extLst>
          </p:cNvPr>
          <p:cNvSpPr>
            <a:spLocks noChangeAspect="1" noEditPoints="1"/>
          </p:cNvSpPr>
          <p:nvPr/>
        </p:nvSpPr>
        <p:spPr bwMode="auto">
          <a:xfrm>
            <a:off x="2780525" y="3263433"/>
            <a:ext cx="197087" cy="285619"/>
          </a:xfrm>
          <a:custGeom>
            <a:avLst/>
            <a:gdLst>
              <a:gd name="T0" fmla="*/ 369 w 374"/>
              <a:gd name="T1" fmla="*/ 149 h 542"/>
              <a:gd name="T2" fmla="*/ 342 w 374"/>
              <a:gd name="T3" fmla="*/ 81 h 542"/>
              <a:gd name="T4" fmla="*/ 291 w 374"/>
              <a:gd name="T5" fmla="*/ 32 h 542"/>
              <a:gd name="T6" fmla="*/ 224 w 374"/>
              <a:gd name="T7" fmla="*/ 3 h 542"/>
              <a:gd name="T8" fmla="*/ 168 w 374"/>
              <a:gd name="T9" fmla="*/ 0 h 542"/>
              <a:gd name="T10" fmla="*/ 98 w 374"/>
              <a:gd name="T11" fmla="*/ 22 h 542"/>
              <a:gd name="T12" fmla="*/ 42 w 374"/>
              <a:gd name="T13" fmla="*/ 68 h 542"/>
              <a:gd name="T14" fmla="*/ 9 w 374"/>
              <a:gd name="T15" fmla="*/ 130 h 542"/>
              <a:gd name="T16" fmla="*/ 0 w 374"/>
              <a:gd name="T17" fmla="*/ 186 h 542"/>
              <a:gd name="T18" fmla="*/ 20 w 374"/>
              <a:gd name="T19" fmla="*/ 271 h 542"/>
              <a:gd name="T20" fmla="*/ 73 w 374"/>
              <a:gd name="T21" fmla="*/ 335 h 542"/>
              <a:gd name="T22" fmla="*/ 76 w 374"/>
              <a:gd name="T23" fmla="*/ 337 h 542"/>
              <a:gd name="T24" fmla="*/ 95 w 374"/>
              <a:gd name="T25" fmla="*/ 357 h 542"/>
              <a:gd name="T26" fmla="*/ 110 w 374"/>
              <a:gd name="T27" fmla="*/ 398 h 542"/>
              <a:gd name="T28" fmla="*/ 261 w 374"/>
              <a:gd name="T29" fmla="*/ 411 h 542"/>
              <a:gd name="T30" fmla="*/ 269 w 374"/>
              <a:gd name="T31" fmla="*/ 374 h 542"/>
              <a:gd name="T32" fmla="*/ 298 w 374"/>
              <a:gd name="T33" fmla="*/ 335 h 542"/>
              <a:gd name="T34" fmla="*/ 330 w 374"/>
              <a:gd name="T35" fmla="*/ 306 h 542"/>
              <a:gd name="T36" fmla="*/ 368 w 374"/>
              <a:gd name="T37" fmla="*/ 230 h 542"/>
              <a:gd name="T38" fmla="*/ 130 w 374"/>
              <a:gd name="T39" fmla="*/ 523 h 542"/>
              <a:gd name="T40" fmla="*/ 130 w 374"/>
              <a:gd name="T41" fmla="*/ 523 h 542"/>
              <a:gd name="T42" fmla="*/ 173 w 374"/>
              <a:gd name="T43" fmla="*/ 200 h 542"/>
              <a:gd name="T44" fmla="*/ 169 w 374"/>
              <a:gd name="T45" fmla="*/ 179 h 542"/>
              <a:gd name="T46" fmla="*/ 186 w 374"/>
              <a:gd name="T47" fmla="*/ 167 h 542"/>
              <a:gd name="T48" fmla="*/ 205 w 374"/>
              <a:gd name="T49" fmla="*/ 186 h 542"/>
              <a:gd name="T50" fmla="*/ 193 w 374"/>
              <a:gd name="T51" fmla="*/ 203 h 542"/>
              <a:gd name="T52" fmla="*/ 288 w 374"/>
              <a:gd name="T53" fmla="*/ 322 h 542"/>
              <a:gd name="T54" fmla="*/ 271 w 374"/>
              <a:gd name="T55" fmla="*/ 335 h 542"/>
              <a:gd name="T56" fmla="*/ 247 w 374"/>
              <a:gd name="T57" fmla="*/ 381 h 542"/>
              <a:gd name="T58" fmla="*/ 196 w 374"/>
              <a:gd name="T59" fmla="*/ 449 h 542"/>
              <a:gd name="T60" fmla="*/ 217 w 374"/>
              <a:gd name="T61" fmla="*/ 210 h 542"/>
              <a:gd name="T62" fmla="*/ 224 w 374"/>
              <a:gd name="T63" fmla="*/ 186 h 542"/>
              <a:gd name="T64" fmla="*/ 213 w 374"/>
              <a:gd name="T65" fmla="*/ 159 h 542"/>
              <a:gd name="T66" fmla="*/ 186 w 374"/>
              <a:gd name="T67" fmla="*/ 149 h 542"/>
              <a:gd name="T68" fmla="*/ 166 w 374"/>
              <a:gd name="T69" fmla="*/ 156 h 542"/>
              <a:gd name="T70" fmla="*/ 151 w 374"/>
              <a:gd name="T71" fmla="*/ 179 h 542"/>
              <a:gd name="T72" fmla="*/ 151 w 374"/>
              <a:gd name="T73" fmla="*/ 198 h 542"/>
              <a:gd name="T74" fmla="*/ 178 w 374"/>
              <a:gd name="T75" fmla="*/ 449 h 542"/>
              <a:gd name="T76" fmla="*/ 129 w 374"/>
              <a:gd name="T77" fmla="*/ 396 h 542"/>
              <a:gd name="T78" fmla="*/ 110 w 374"/>
              <a:gd name="T79" fmla="*/ 347 h 542"/>
              <a:gd name="T80" fmla="*/ 88 w 374"/>
              <a:gd name="T81" fmla="*/ 323 h 542"/>
              <a:gd name="T82" fmla="*/ 86 w 374"/>
              <a:gd name="T83" fmla="*/ 322 h 542"/>
              <a:gd name="T84" fmla="*/ 56 w 374"/>
              <a:gd name="T85" fmla="*/ 293 h 542"/>
              <a:gd name="T86" fmla="*/ 22 w 374"/>
              <a:gd name="T87" fmla="*/ 225 h 542"/>
              <a:gd name="T88" fmla="*/ 19 w 374"/>
              <a:gd name="T89" fmla="*/ 169 h 542"/>
              <a:gd name="T90" fmla="*/ 39 w 374"/>
              <a:gd name="T91" fmla="*/ 106 h 542"/>
              <a:gd name="T92" fmla="*/ 80 w 374"/>
              <a:gd name="T93" fmla="*/ 56 h 542"/>
              <a:gd name="T94" fmla="*/ 137 w 374"/>
              <a:gd name="T95" fmla="*/ 25 h 542"/>
              <a:gd name="T96" fmla="*/ 186 w 374"/>
              <a:gd name="T97" fmla="*/ 18 h 542"/>
              <a:gd name="T98" fmla="*/ 252 w 374"/>
              <a:gd name="T99" fmla="*/ 32 h 542"/>
              <a:gd name="T100" fmla="*/ 305 w 374"/>
              <a:gd name="T101" fmla="*/ 68 h 542"/>
              <a:gd name="T102" fmla="*/ 342 w 374"/>
              <a:gd name="T103" fmla="*/ 120 h 542"/>
              <a:gd name="T104" fmla="*/ 356 w 374"/>
              <a:gd name="T105" fmla="*/ 186 h 542"/>
              <a:gd name="T106" fmla="*/ 346 w 374"/>
              <a:gd name="T107" fmla="*/ 244 h 542"/>
              <a:gd name="T108" fmla="*/ 303 w 374"/>
              <a:gd name="T109" fmla="*/ 30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4" h="542">
                <a:moveTo>
                  <a:pt x="374" y="186"/>
                </a:moveTo>
                <a:lnTo>
                  <a:pt x="374" y="186"/>
                </a:lnTo>
                <a:lnTo>
                  <a:pt x="373" y="167"/>
                </a:lnTo>
                <a:lnTo>
                  <a:pt x="369" y="149"/>
                </a:lnTo>
                <a:lnTo>
                  <a:pt x="366" y="130"/>
                </a:lnTo>
                <a:lnTo>
                  <a:pt x="359" y="113"/>
                </a:lnTo>
                <a:lnTo>
                  <a:pt x="351" y="96"/>
                </a:lnTo>
                <a:lnTo>
                  <a:pt x="342" y="81"/>
                </a:lnTo>
                <a:lnTo>
                  <a:pt x="330" y="68"/>
                </a:lnTo>
                <a:lnTo>
                  <a:pt x="318" y="54"/>
                </a:lnTo>
                <a:lnTo>
                  <a:pt x="305" y="42"/>
                </a:lnTo>
                <a:lnTo>
                  <a:pt x="291" y="32"/>
                </a:lnTo>
                <a:lnTo>
                  <a:pt x="276" y="22"/>
                </a:lnTo>
                <a:lnTo>
                  <a:pt x="259" y="13"/>
                </a:lnTo>
                <a:lnTo>
                  <a:pt x="242" y="8"/>
                </a:lnTo>
                <a:lnTo>
                  <a:pt x="224" y="3"/>
                </a:lnTo>
                <a:lnTo>
                  <a:pt x="205" y="0"/>
                </a:lnTo>
                <a:lnTo>
                  <a:pt x="186" y="0"/>
                </a:lnTo>
                <a:lnTo>
                  <a:pt x="186" y="0"/>
                </a:lnTo>
                <a:lnTo>
                  <a:pt x="168" y="0"/>
                </a:lnTo>
                <a:lnTo>
                  <a:pt x="149" y="3"/>
                </a:lnTo>
                <a:lnTo>
                  <a:pt x="130" y="8"/>
                </a:lnTo>
                <a:lnTo>
                  <a:pt x="114" y="13"/>
                </a:lnTo>
                <a:lnTo>
                  <a:pt x="98" y="22"/>
                </a:lnTo>
                <a:lnTo>
                  <a:pt x="81" y="32"/>
                </a:lnTo>
                <a:lnTo>
                  <a:pt x="68" y="42"/>
                </a:lnTo>
                <a:lnTo>
                  <a:pt x="54" y="54"/>
                </a:lnTo>
                <a:lnTo>
                  <a:pt x="42" y="68"/>
                </a:lnTo>
                <a:lnTo>
                  <a:pt x="32" y="81"/>
                </a:lnTo>
                <a:lnTo>
                  <a:pt x="22" y="96"/>
                </a:lnTo>
                <a:lnTo>
                  <a:pt x="14" y="113"/>
                </a:lnTo>
                <a:lnTo>
                  <a:pt x="9" y="130"/>
                </a:lnTo>
                <a:lnTo>
                  <a:pt x="3" y="149"/>
                </a:lnTo>
                <a:lnTo>
                  <a:pt x="0" y="167"/>
                </a:lnTo>
                <a:lnTo>
                  <a:pt x="0" y="186"/>
                </a:lnTo>
                <a:lnTo>
                  <a:pt x="0" y="186"/>
                </a:lnTo>
                <a:lnTo>
                  <a:pt x="2" y="208"/>
                </a:lnTo>
                <a:lnTo>
                  <a:pt x="5" y="230"/>
                </a:lnTo>
                <a:lnTo>
                  <a:pt x="12" y="250"/>
                </a:lnTo>
                <a:lnTo>
                  <a:pt x="20" y="271"/>
                </a:lnTo>
                <a:lnTo>
                  <a:pt x="31" y="289"/>
                </a:lnTo>
                <a:lnTo>
                  <a:pt x="42" y="306"/>
                </a:lnTo>
                <a:lnTo>
                  <a:pt x="58" y="322"/>
                </a:lnTo>
                <a:lnTo>
                  <a:pt x="73" y="335"/>
                </a:lnTo>
                <a:lnTo>
                  <a:pt x="73" y="335"/>
                </a:lnTo>
                <a:lnTo>
                  <a:pt x="73" y="335"/>
                </a:lnTo>
                <a:lnTo>
                  <a:pt x="76" y="337"/>
                </a:lnTo>
                <a:lnTo>
                  <a:pt x="76" y="337"/>
                </a:lnTo>
                <a:lnTo>
                  <a:pt x="76" y="337"/>
                </a:lnTo>
                <a:lnTo>
                  <a:pt x="76" y="337"/>
                </a:lnTo>
                <a:lnTo>
                  <a:pt x="88" y="349"/>
                </a:lnTo>
                <a:lnTo>
                  <a:pt x="95" y="357"/>
                </a:lnTo>
                <a:lnTo>
                  <a:pt x="100" y="366"/>
                </a:lnTo>
                <a:lnTo>
                  <a:pt x="105" y="376"/>
                </a:lnTo>
                <a:lnTo>
                  <a:pt x="108" y="386"/>
                </a:lnTo>
                <a:lnTo>
                  <a:pt x="110" y="398"/>
                </a:lnTo>
                <a:lnTo>
                  <a:pt x="112" y="411"/>
                </a:lnTo>
                <a:lnTo>
                  <a:pt x="112" y="542"/>
                </a:lnTo>
                <a:lnTo>
                  <a:pt x="261" y="542"/>
                </a:lnTo>
                <a:lnTo>
                  <a:pt x="261" y="411"/>
                </a:lnTo>
                <a:lnTo>
                  <a:pt x="261" y="411"/>
                </a:lnTo>
                <a:lnTo>
                  <a:pt x="263" y="398"/>
                </a:lnTo>
                <a:lnTo>
                  <a:pt x="264" y="384"/>
                </a:lnTo>
                <a:lnTo>
                  <a:pt x="269" y="374"/>
                </a:lnTo>
                <a:lnTo>
                  <a:pt x="274" y="364"/>
                </a:lnTo>
                <a:lnTo>
                  <a:pt x="279" y="354"/>
                </a:lnTo>
                <a:lnTo>
                  <a:pt x="286" y="347"/>
                </a:lnTo>
                <a:lnTo>
                  <a:pt x="298" y="335"/>
                </a:lnTo>
                <a:lnTo>
                  <a:pt x="298" y="335"/>
                </a:lnTo>
                <a:lnTo>
                  <a:pt x="298" y="335"/>
                </a:lnTo>
                <a:lnTo>
                  <a:pt x="315" y="322"/>
                </a:lnTo>
                <a:lnTo>
                  <a:pt x="330" y="306"/>
                </a:lnTo>
                <a:lnTo>
                  <a:pt x="342" y="289"/>
                </a:lnTo>
                <a:lnTo>
                  <a:pt x="354" y="271"/>
                </a:lnTo>
                <a:lnTo>
                  <a:pt x="362" y="252"/>
                </a:lnTo>
                <a:lnTo>
                  <a:pt x="368" y="230"/>
                </a:lnTo>
                <a:lnTo>
                  <a:pt x="373" y="208"/>
                </a:lnTo>
                <a:lnTo>
                  <a:pt x="374" y="186"/>
                </a:lnTo>
                <a:lnTo>
                  <a:pt x="374" y="186"/>
                </a:lnTo>
                <a:close/>
                <a:moveTo>
                  <a:pt x="130" y="523"/>
                </a:moveTo>
                <a:lnTo>
                  <a:pt x="130" y="467"/>
                </a:lnTo>
                <a:lnTo>
                  <a:pt x="242" y="467"/>
                </a:lnTo>
                <a:lnTo>
                  <a:pt x="242" y="523"/>
                </a:lnTo>
                <a:lnTo>
                  <a:pt x="130" y="523"/>
                </a:lnTo>
                <a:close/>
                <a:moveTo>
                  <a:pt x="186" y="205"/>
                </a:moveTo>
                <a:lnTo>
                  <a:pt x="186" y="205"/>
                </a:lnTo>
                <a:lnTo>
                  <a:pt x="180" y="203"/>
                </a:lnTo>
                <a:lnTo>
                  <a:pt x="173" y="200"/>
                </a:lnTo>
                <a:lnTo>
                  <a:pt x="169" y="193"/>
                </a:lnTo>
                <a:lnTo>
                  <a:pt x="168" y="186"/>
                </a:lnTo>
                <a:lnTo>
                  <a:pt x="168" y="186"/>
                </a:lnTo>
                <a:lnTo>
                  <a:pt x="169" y="179"/>
                </a:lnTo>
                <a:lnTo>
                  <a:pt x="173" y="173"/>
                </a:lnTo>
                <a:lnTo>
                  <a:pt x="180" y="169"/>
                </a:lnTo>
                <a:lnTo>
                  <a:pt x="186" y="167"/>
                </a:lnTo>
                <a:lnTo>
                  <a:pt x="186" y="167"/>
                </a:lnTo>
                <a:lnTo>
                  <a:pt x="193" y="169"/>
                </a:lnTo>
                <a:lnTo>
                  <a:pt x="200" y="173"/>
                </a:lnTo>
                <a:lnTo>
                  <a:pt x="203" y="179"/>
                </a:lnTo>
                <a:lnTo>
                  <a:pt x="205" y="186"/>
                </a:lnTo>
                <a:lnTo>
                  <a:pt x="205" y="186"/>
                </a:lnTo>
                <a:lnTo>
                  <a:pt x="203" y="193"/>
                </a:lnTo>
                <a:lnTo>
                  <a:pt x="200" y="200"/>
                </a:lnTo>
                <a:lnTo>
                  <a:pt x="193" y="203"/>
                </a:lnTo>
                <a:lnTo>
                  <a:pt x="186" y="205"/>
                </a:lnTo>
                <a:lnTo>
                  <a:pt x="186" y="205"/>
                </a:lnTo>
                <a:close/>
                <a:moveTo>
                  <a:pt x="288" y="322"/>
                </a:moveTo>
                <a:lnTo>
                  <a:pt x="288" y="322"/>
                </a:lnTo>
                <a:lnTo>
                  <a:pt x="286" y="322"/>
                </a:lnTo>
                <a:lnTo>
                  <a:pt x="286" y="322"/>
                </a:lnTo>
                <a:lnTo>
                  <a:pt x="279" y="328"/>
                </a:lnTo>
                <a:lnTo>
                  <a:pt x="271" y="335"/>
                </a:lnTo>
                <a:lnTo>
                  <a:pt x="264" y="345"/>
                </a:lnTo>
                <a:lnTo>
                  <a:pt x="257" y="355"/>
                </a:lnTo>
                <a:lnTo>
                  <a:pt x="251" y="367"/>
                </a:lnTo>
                <a:lnTo>
                  <a:pt x="247" y="381"/>
                </a:lnTo>
                <a:lnTo>
                  <a:pt x="244" y="394"/>
                </a:lnTo>
                <a:lnTo>
                  <a:pt x="242" y="411"/>
                </a:lnTo>
                <a:lnTo>
                  <a:pt x="242" y="449"/>
                </a:lnTo>
                <a:lnTo>
                  <a:pt x="196" y="449"/>
                </a:lnTo>
                <a:lnTo>
                  <a:pt x="196" y="222"/>
                </a:lnTo>
                <a:lnTo>
                  <a:pt x="196" y="222"/>
                </a:lnTo>
                <a:lnTo>
                  <a:pt x="207" y="217"/>
                </a:lnTo>
                <a:lnTo>
                  <a:pt x="217" y="210"/>
                </a:lnTo>
                <a:lnTo>
                  <a:pt x="222" y="198"/>
                </a:lnTo>
                <a:lnTo>
                  <a:pt x="224" y="193"/>
                </a:lnTo>
                <a:lnTo>
                  <a:pt x="224" y="186"/>
                </a:lnTo>
                <a:lnTo>
                  <a:pt x="224" y="186"/>
                </a:lnTo>
                <a:lnTo>
                  <a:pt x="224" y="179"/>
                </a:lnTo>
                <a:lnTo>
                  <a:pt x="222" y="173"/>
                </a:lnTo>
                <a:lnTo>
                  <a:pt x="217" y="166"/>
                </a:lnTo>
                <a:lnTo>
                  <a:pt x="213" y="159"/>
                </a:lnTo>
                <a:lnTo>
                  <a:pt x="208" y="156"/>
                </a:lnTo>
                <a:lnTo>
                  <a:pt x="202" y="152"/>
                </a:lnTo>
                <a:lnTo>
                  <a:pt x="195" y="149"/>
                </a:lnTo>
                <a:lnTo>
                  <a:pt x="186" y="149"/>
                </a:lnTo>
                <a:lnTo>
                  <a:pt x="186" y="149"/>
                </a:lnTo>
                <a:lnTo>
                  <a:pt x="180" y="149"/>
                </a:lnTo>
                <a:lnTo>
                  <a:pt x="173" y="152"/>
                </a:lnTo>
                <a:lnTo>
                  <a:pt x="166" y="156"/>
                </a:lnTo>
                <a:lnTo>
                  <a:pt x="161" y="159"/>
                </a:lnTo>
                <a:lnTo>
                  <a:pt x="156" y="166"/>
                </a:lnTo>
                <a:lnTo>
                  <a:pt x="152" y="173"/>
                </a:lnTo>
                <a:lnTo>
                  <a:pt x="151" y="179"/>
                </a:lnTo>
                <a:lnTo>
                  <a:pt x="149" y="186"/>
                </a:lnTo>
                <a:lnTo>
                  <a:pt x="149" y="186"/>
                </a:lnTo>
                <a:lnTo>
                  <a:pt x="149" y="193"/>
                </a:lnTo>
                <a:lnTo>
                  <a:pt x="151" y="198"/>
                </a:lnTo>
                <a:lnTo>
                  <a:pt x="158" y="210"/>
                </a:lnTo>
                <a:lnTo>
                  <a:pt x="166" y="217"/>
                </a:lnTo>
                <a:lnTo>
                  <a:pt x="178" y="222"/>
                </a:lnTo>
                <a:lnTo>
                  <a:pt x="178" y="449"/>
                </a:lnTo>
                <a:lnTo>
                  <a:pt x="130" y="449"/>
                </a:lnTo>
                <a:lnTo>
                  <a:pt x="130" y="411"/>
                </a:lnTo>
                <a:lnTo>
                  <a:pt x="130" y="411"/>
                </a:lnTo>
                <a:lnTo>
                  <a:pt x="129" y="396"/>
                </a:lnTo>
                <a:lnTo>
                  <a:pt x="127" y="382"/>
                </a:lnTo>
                <a:lnTo>
                  <a:pt x="122" y="369"/>
                </a:lnTo>
                <a:lnTo>
                  <a:pt x="117" y="357"/>
                </a:lnTo>
                <a:lnTo>
                  <a:pt x="110" y="347"/>
                </a:lnTo>
                <a:lnTo>
                  <a:pt x="103" y="337"/>
                </a:lnTo>
                <a:lnTo>
                  <a:pt x="95" y="330"/>
                </a:lnTo>
                <a:lnTo>
                  <a:pt x="88" y="323"/>
                </a:lnTo>
                <a:lnTo>
                  <a:pt x="88" y="323"/>
                </a:lnTo>
                <a:lnTo>
                  <a:pt x="88" y="322"/>
                </a:lnTo>
                <a:lnTo>
                  <a:pt x="88" y="322"/>
                </a:lnTo>
                <a:lnTo>
                  <a:pt x="86" y="322"/>
                </a:lnTo>
                <a:lnTo>
                  <a:pt x="86" y="322"/>
                </a:lnTo>
                <a:lnTo>
                  <a:pt x="85" y="320"/>
                </a:lnTo>
                <a:lnTo>
                  <a:pt x="85" y="320"/>
                </a:lnTo>
                <a:lnTo>
                  <a:pt x="69" y="308"/>
                </a:lnTo>
                <a:lnTo>
                  <a:pt x="56" y="293"/>
                </a:lnTo>
                <a:lnTo>
                  <a:pt x="46" y="278"/>
                </a:lnTo>
                <a:lnTo>
                  <a:pt x="36" y="261"/>
                </a:lnTo>
                <a:lnTo>
                  <a:pt x="29" y="244"/>
                </a:lnTo>
                <a:lnTo>
                  <a:pt x="22" y="225"/>
                </a:lnTo>
                <a:lnTo>
                  <a:pt x="19" y="206"/>
                </a:lnTo>
                <a:lnTo>
                  <a:pt x="19" y="186"/>
                </a:lnTo>
                <a:lnTo>
                  <a:pt x="19" y="186"/>
                </a:lnTo>
                <a:lnTo>
                  <a:pt x="19" y="169"/>
                </a:lnTo>
                <a:lnTo>
                  <a:pt x="22" y="152"/>
                </a:lnTo>
                <a:lnTo>
                  <a:pt x="25" y="137"/>
                </a:lnTo>
                <a:lnTo>
                  <a:pt x="32" y="120"/>
                </a:lnTo>
                <a:lnTo>
                  <a:pt x="39" y="106"/>
                </a:lnTo>
                <a:lnTo>
                  <a:pt x="47" y="93"/>
                </a:lnTo>
                <a:lnTo>
                  <a:pt x="56" y="79"/>
                </a:lnTo>
                <a:lnTo>
                  <a:pt x="68" y="68"/>
                </a:lnTo>
                <a:lnTo>
                  <a:pt x="80" y="56"/>
                </a:lnTo>
                <a:lnTo>
                  <a:pt x="93" y="47"/>
                </a:lnTo>
                <a:lnTo>
                  <a:pt x="107" y="39"/>
                </a:lnTo>
                <a:lnTo>
                  <a:pt x="122" y="32"/>
                </a:lnTo>
                <a:lnTo>
                  <a:pt x="137" y="25"/>
                </a:lnTo>
                <a:lnTo>
                  <a:pt x="152" y="22"/>
                </a:lnTo>
                <a:lnTo>
                  <a:pt x="169" y="18"/>
                </a:lnTo>
                <a:lnTo>
                  <a:pt x="186" y="18"/>
                </a:lnTo>
                <a:lnTo>
                  <a:pt x="186" y="18"/>
                </a:lnTo>
                <a:lnTo>
                  <a:pt x="203" y="18"/>
                </a:lnTo>
                <a:lnTo>
                  <a:pt x="220" y="22"/>
                </a:lnTo>
                <a:lnTo>
                  <a:pt x="237" y="25"/>
                </a:lnTo>
                <a:lnTo>
                  <a:pt x="252" y="32"/>
                </a:lnTo>
                <a:lnTo>
                  <a:pt x="266" y="39"/>
                </a:lnTo>
                <a:lnTo>
                  <a:pt x="281" y="47"/>
                </a:lnTo>
                <a:lnTo>
                  <a:pt x="293" y="56"/>
                </a:lnTo>
                <a:lnTo>
                  <a:pt x="305" y="68"/>
                </a:lnTo>
                <a:lnTo>
                  <a:pt x="317" y="79"/>
                </a:lnTo>
                <a:lnTo>
                  <a:pt x="327" y="93"/>
                </a:lnTo>
                <a:lnTo>
                  <a:pt x="335" y="106"/>
                </a:lnTo>
                <a:lnTo>
                  <a:pt x="342" y="120"/>
                </a:lnTo>
                <a:lnTo>
                  <a:pt x="347" y="137"/>
                </a:lnTo>
                <a:lnTo>
                  <a:pt x="352" y="152"/>
                </a:lnTo>
                <a:lnTo>
                  <a:pt x="354" y="169"/>
                </a:lnTo>
                <a:lnTo>
                  <a:pt x="356" y="186"/>
                </a:lnTo>
                <a:lnTo>
                  <a:pt x="356" y="186"/>
                </a:lnTo>
                <a:lnTo>
                  <a:pt x="354" y="206"/>
                </a:lnTo>
                <a:lnTo>
                  <a:pt x="351" y="225"/>
                </a:lnTo>
                <a:lnTo>
                  <a:pt x="346" y="244"/>
                </a:lnTo>
                <a:lnTo>
                  <a:pt x="337" y="262"/>
                </a:lnTo>
                <a:lnTo>
                  <a:pt x="327" y="278"/>
                </a:lnTo>
                <a:lnTo>
                  <a:pt x="317" y="294"/>
                </a:lnTo>
                <a:lnTo>
                  <a:pt x="303" y="308"/>
                </a:lnTo>
                <a:lnTo>
                  <a:pt x="288" y="322"/>
                </a:lnTo>
                <a:lnTo>
                  <a:pt x="288" y="32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789" name="Group 58">
            <a:extLst>
              <a:ext uri="{FF2B5EF4-FFF2-40B4-BE49-F238E27FC236}">
                <a16:creationId xmlns:a16="http://schemas.microsoft.com/office/drawing/2014/main" id="{9F544F61-0EF3-4AFD-8654-CF74C70A442C}"/>
              </a:ext>
            </a:extLst>
          </p:cNvPr>
          <p:cNvGrpSpPr>
            <a:grpSpLocks noChangeAspect="1"/>
          </p:cNvGrpSpPr>
          <p:nvPr/>
        </p:nvGrpSpPr>
        <p:grpSpPr>
          <a:xfrm>
            <a:off x="2755699" y="4879041"/>
            <a:ext cx="246739" cy="285619"/>
            <a:chOff x="2067084" y="5354717"/>
            <a:chExt cx="246630" cy="285493"/>
          </a:xfrm>
          <a:solidFill>
            <a:schemeClr val="bg1"/>
          </a:solidFill>
          <a:effectLst/>
        </p:grpSpPr>
        <p:sp>
          <p:nvSpPr>
            <p:cNvPr id="790" name="Freeform 227">
              <a:extLst>
                <a:ext uri="{FF2B5EF4-FFF2-40B4-BE49-F238E27FC236}">
                  <a16:creationId xmlns:a16="http://schemas.microsoft.com/office/drawing/2014/main" id="{3C38E2E3-DE27-4F96-9754-DB0E5FF9DAE8}"/>
                </a:ext>
              </a:extLst>
            </p:cNvPr>
            <p:cNvSpPr>
              <a:spLocks/>
            </p:cNvSpPr>
            <p:nvPr/>
          </p:nvSpPr>
          <p:spPr bwMode="auto">
            <a:xfrm>
              <a:off x="2101462" y="5507179"/>
              <a:ext cx="32884" cy="8968"/>
            </a:xfrm>
            <a:custGeom>
              <a:avLst/>
              <a:gdLst>
                <a:gd name="T0" fmla="*/ 90 w 90"/>
                <a:gd name="T1" fmla="*/ 13 h 26"/>
                <a:gd name="T2" fmla="*/ 89 w 90"/>
                <a:gd name="T3" fmla="*/ 9 h 26"/>
                <a:gd name="T4" fmla="*/ 86 w 90"/>
                <a:gd name="T5" fmla="*/ 4 h 26"/>
                <a:gd name="T6" fmla="*/ 81 w 90"/>
                <a:gd name="T7" fmla="*/ 1 h 26"/>
                <a:gd name="T8" fmla="*/ 77 w 90"/>
                <a:gd name="T9" fmla="*/ 0 h 26"/>
                <a:gd name="T10" fmla="*/ 13 w 90"/>
                <a:gd name="T11" fmla="*/ 0 h 26"/>
                <a:gd name="T12" fmla="*/ 7 w 90"/>
                <a:gd name="T13" fmla="*/ 1 h 26"/>
                <a:gd name="T14" fmla="*/ 3 w 90"/>
                <a:gd name="T15" fmla="*/ 4 h 26"/>
                <a:gd name="T16" fmla="*/ 1 w 90"/>
                <a:gd name="T17" fmla="*/ 9 h 26"/>
                <a:gd name="T18" fmla="*/ 0 w 90"/>
                <a:gd name="T19" fmla="*/ 13 h 26"/>
                <a:gd name="T20" fmla="*/ 1 w 90"/>
                <a:gd name="T21" fmla="*/ 18 h 26"/>
                <a:gd name="T22" fmla="*/ 3 w 90"/>
                <a:gd name="T23" fmla="*/ 23 h 26"/>
                <a:gd name="T24" fmla="*/ 7 w 90"/>
                <a:gd name="T25" fmla="*/ 25 h 26"/>
                <a:gd name="T26" fmla="*/ 13 w 90"/>
                <a:gd name="T27" fmla="*/ 26 h 26"/>
                <a:gd name="T28" fmla="*/ 77 w 90"/>
                <a:gd name="T29" fmla="*/ 26 h 26"/>
                <a:gd name="T30" fmla="*/ 81 w 90"/>
                <a:gd name="T31" fmla="*/ 25 h 26"/>
                <a:gd name="T32" fmla="*/ 86 w 90"/>
                <a:gd name="T33" fmla="*/ 23 h 26"/>
                <a:gd name="T34" fmla="*/ 89 w 90"/>
                <a:gd name="T35" fmla="*/ 18 h 26"/>
                <a:gd name="T36" fmla="*/ 90 w 90"/>
                <a:gd name="T3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26">
                  <a:moveTo>
                    <a:pt x="90" y="13"/>
                  </a:moveTo>
                  <a:lnTo>
                    <a:pt x="89" y="9"/>
                  </a:lnTo>
                  <a:lnTo>
                    <a:pt x="86" y="4"/>
                  </a:lnTo>
                  <a:lnTo>
                    <a:pt x="81" y="1"/>
                  </a:lnTo>
                  <a:lnTo>
                    <a:pt x="77" y="0"/>
                  </a:lnTo>
                  <a:lnTo>
                    <a:pt x="13" y="0"/>
                  </a:lnTo>
                  <a:lnTo>
                    <a:pt x="7" y="1"/>
                  </a:lnTo>
                  <a:lnTo>
                    <a:pt x="3" y="4"/>
                  </a:lnTo>
                  <a:lnTo>
                    <a:pt x="1" y="9"/>
                  </a:lnTo>
                  <a:lnTo>
                    <a:pt x="0" y="13"/>
                  </a:lnTo>
                  <a:lnTo>
                    <a:pt x="1" y="18"/>
                  </a:lnTo>
                  <a:lnTo>
                    <a:pt x="3" y="23"/>
                  </a:lnTo>
                  <a:lnTo>
                    <a:pt x="7" y="25"/>
                  </a:lnTo>
                  <a:lnTo>
                    <a:pt x="13" y="26"/>
                  </a:lnTo>
                  <a:lnTo>
                    <a:pt x="77" y="26"/>
                  </a:lnTo>
                  <a:lnTo>
                    <a:pt x="81" y="25"/>
                  </a:lnTo>
                  <a:lnTo>
                    <a:pt x="86" y="23"/>
                  </a:lnTo>
                  <a:lnTo>
                    <a:pt x="89" y="18"/>
                  </a:lnTo>
                  <a:lnTo>
                    <a:pt x="9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1" name="Freeform 228">
              <a:extLst>
                <a:ext uri="{FF2B5EF4-FFF2-40B4-BE49-F238E27FC236}">
                  <a16:creationId xmlns:a16="http://schemas.microsoft.com/office/drawing/2014/main" id="{E134ACDE-3351-49F8-A0DD-7C606293DD20}"/>
                </a:ext>
              </a:extLst>
            </p:cNvPr>
            <p:cNvSpPr>
              <a:spLocks/>
            </p:cNvSpPr>
            <p:nvPr/>
          </p:nvSpPr>
          <p:spPr bwMode="auto">
            <a:xfrm>
              <a:off x="2125377" y="5450380"/>
              <a:ext cx="26905" cy="26905"/>
            </a:xfrm>
            <a:custGeom>
              <a:avLst/>
              <a:gdLst>
                <a:gd name="T0" fmla="*/ 22 w 73"/>
                <a:gd name="T1" fmla="*/ 4 h 74"/>
                <a:gd name="T2" fmla="*/ 17 w 73"/>
                <a:gd name="T3" fmla="*/ 1 h 74"/>
                <a:gd name="T4" fmla="*/ 13 w 73"/>
                <a:gd name="T5" fmla="*/ 0 h 74"/>
                <a:gd name="T6" fmla="*/ 8 w 73"/>
                <a:gd name="T7" fmla="*/ 1 h 74"/>
                <a:gd name="T8" fmla="*/ 3 w 73"/>
                <a:gd name="T9" fmla="*/ 4 h 74"/>
                <a:gd name="T10" fmla="*/ 1 w 73"/>
                <a:gd name="T11" fmla="*/ 8 h 74"/>
                <a:gd name="T12" fmla="*/ 0 w 73"/>
                <a:gd name="T13" fmla="*/ 13 h 74"/>
                <a:gd name="T14" fmla="*/ 1 w 73"/>
                <a:gd name="T15" fmla="*/ 18 h 74"/>
                <a:gd name="T16" fmla="*/ 3 w 73"/>
                <a:gd name="T17" fmla="*/ 21 h 74"/>
                <a:gd name="T18" fmla="*/ 52 w 73"/>
                <a:gd name="T19" fmla="*/ 71 h 74"/>
                <a:gd name="T20" fmla="*/ 56 w 73"/>
                <a:gd name="T21" fmla="*/ 73 h 74"/>
                <a:gd name="T22" fmla="*/ 60 w 73"/>
                <a:gd name="T23" fmla="*/ 74 h 74"/>
                <a:gd name="T24" fmla="*/ 66 w 73"/>
                <a:gd name="T25" fmla="*/ 73 h 74"/>
                <a:gd name="T26" fmla="*/ 70 w 73"/>
                <a:gd name="T27" fmla="*/ 71 h 74"/>
                <a:gd name="T28" fmla="*/ 72 w 73"/>
                <a:gd name="T29" fmla="*/ 66 h 74"/>
                <a:gd name="T30" fmla="*/ 73 w 73"/>
                <a:gd name="T31" fmla="*/ 61 h 74"/>
                <a:gd name="T32" fmla="*/ 72 w 73"/>
                <a:gd name="T33" fmla="*/ 57 h 74"/>
                <a:gd name="T34" fmla="*/ 70 w 73"/>
                <a:gd name="T35" fmla="*/ 52 h 74"/>
                <a:gd name="T36" fmla="*/ 22 w 73"/>
                <a:gd name="T3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4">
                  <a:moveTo>
                    <a:pt x="22" y="4"/>
                  </a:moveTo>
                  <a:lnTo>
                    <a:pt x="17" y="1"/>
                  </a:lnTo>
                  <a:lnTo>
                    <a:pt x="13" y="0"/>
                  </a:lnTo>
                  <a:lnTo>
                    <a:pt x="8" y="1"/>
                  </a:lnTo>
                  <a:lnTo>
                    <a:pt x="3" y="4"/>
                  </a:lnTo>
                  <a:lnTo>
                    <a:pt x="1" y="8"/>
                  </a:lnTo>
                  <a:lnTo>
                    <a:pt x="0" y="13"/>
                  </a:lnTo>
                  <a:lnTo>
                    <a:pt x="1" y="18"/>
                  </a:lnTo>
                  <a:lnTo>
                    <a:pt x="3" y="21"/>
                  </a:lnTo>
                  <a:lnTo>
                    <a:pt x="52" y="71"/>
                  </a:lnTo>
                  <a:lnTo>
                    <a:pt x="56" y="73"/>
                  </a:lnTo>
                  <a:lnTo>
                    <a:pt x="60" y="74"/>
                  </a:lnTo>
                  <a:lnTo>
                    <a:pt x="66" y="73"/>
                  </a:lnTo>
                  <a:lnTo>
                    <a:pt x="70" y="71"/>
                  </a:lnTo>
                  <a:lnTo>
                    <a:pt x="72" y="66"/>
                  </a:lnTo>
                  <a:lnTo>
                    <a:pt x="73" y="61"/>
                  </a:lnTo>
                  <a:lnTo>
                    <a:pt x="72" y="57"/>
                  </a:lnTo>
                  <a:lnTo>
                    <a:pt x="70" y="52"/>
                  </a:ln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2" name="Freeform 229">
              <a:extLst>
                <a:ext uri="{FF2B5EF4-FFF2-40B4-BE49-F238E27FC236}">
                  <a16:creationId xmlns:a16="http://schemas.microsoft.com/office/drawing/2014/main" id="{04FB6427-E1B8-45F8-917B-98284475E34F}"/>
                </a:ext>
              </a:extLst>
            </p:cNvPr>
            <p:cNvSpPr>
              <a:spLocks/>
            </p:cNvSpPr>
            <p:nvPr/>
          </p:nvSpPr>
          <p:spPr bwMode="auto">
            <a:xfrm>
              <a:off x="2125377" y="5552021"/>
              <a:ext cx="26905" cy="28400"/>
            </a:xfrm>
            <a:custGeom>
              <a:avLst/>
              <a:gdLst>
                <a:gd name="T0" fmla="*/ 52 w 73"/>
                <a:gd name="T1" fmla="*/ 5 h 75"/>
                <a:gd name="T2" fmla="*/ 3 w 73"/>
                <a:gd name="T3" fmla="*/ 53 h 75"/>
                <a:gd name="T4" fmla="*/ 1 w 73"/>
                <a:gd name="T5" fmla="*/ 57 h 75"/>
                <a:gd name="T6" fmla="*/ 0 w 73"/>
                <a:gd name="T7" fmla="*/ 62 h 75"/>
                <a:gd name="T8" fmla="*/ 1 w 73"/>
                <a:gd name="T9" fmla="*/ 66 h 75"/>
                <a:gd name="T10" fmla="*/ 3 w 73"/>
                <a:gd name="T11" fmla="*/ 70 h 75"/>
                <a:gd name="T12" fmla="*/ 8 w 73"/>
                <a:gd name="T13" fmla="*/ 74 h 75"/>
                <a:gd name="T14" fmla="*/ 13 w 73"/>
                <a:gd name="T15" fmla="*/ 75 h 75"/>
                <a:gd name="T16" fmla="*/ 17 w 73"/>
                <a:gd name="T17" fmla="*/ 74 h 75"/>
                <a:gd name="T18" fmla="*/ 22 w 73"/>
                <a:gd name="T19" fmla="*/ 70 h 75"/>
                <a:gd name="T20" fmla="*/ 70 w 73"/>
                <a:gd name="T21" fmla="*/ 23 h 75"/>
                <a:gd name="T22" fmla="*/ 72 w 73"/>
                <a:gd name="T23" fmla="*/ 19 h 75"/>
                <a:gd name="T24" fmla="*/ 73 w 73"/>
                <a:gd name="T25" fmla="*/ 14 h 75"/>
                <a:gd name="T26" fmla="*/ 72 w 73"/>
                <a:gd name="T27" fmla="*/ 9 h 75"/>
                <a:gd name="T28" fmla="*/ 70 w 73"/>
                <a:gd name="T29" fmla="*/ 5 h 75"/>
                <a:gd name="T30" fmla="*/ 66 w 73"/>
                <a:gd name="T31" fmla="*/ 2 h 75"/>
                <a:gd name="T32" fmla="*/ 60 w 73"/>
                <a:gd name="T33" fmla="*/ 0 h 75"/>
                <a:gd name="T34" fmla="*/ 56 w 73"/>
                <a:gd name="T35" fmla="*/ 2 h 75"/>
                <a:gd name="T36" fmla="*/ 52 w 73"/>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5">
                  <a:moveTo>
                    <a:pt x="52" y="5"/>
                  </a:moveTo>
                  <a:lnTo>
                    <a:pt x="3" y="53"/>
                  </a:lnTo>
                  <a:lnTo>
                    <a:pt x="1" y="57"/>
                  </a:lnTo>
                  <a:lnTo>
                    <a:pt x="0" y="62"/>
                  </a:lnTo>
                  <a:lnTo>
                    <a:pt x="1" y="66"/>
                  </a:lnTo>
                  <a:lnTo>
                    <a:pt x="3" y="70"/>
                  </a:lnTo>
                  <a:lnTo>
                    <a:pt x="8" y="74"/>
                  </a:lnTo>
                  <a:lnTo>
                    <a:pt x="13" y="75"/>
                  </a:lnTo>
                  <a:lnTo>
                    <a:pt x="17" y="74"/>
                  </a:lnTo>
                  <a:lnTo>
                    <a:pt x="22" y="70"/>
                  </a:lnTo>
                  <a:lnTo>
                    <a:pt x="70" y="23"/>
                  </a:lnTo>
                  <a:lnTo>
                    <a:pt x="72" y="19"/>
                  </a:lnTo>
                  <a:lnTo>
                    <a:pt x="73" y="14"/>
                  </a:lnTo>
                  <a:lnTo>
                    <a:pt x="72" y="9"/>
                  </a:lnTo>
                  <a:lnTo>
                    <a:pt x="70" y="5"/>
                  </a:lnTo>
                  <a:lnTo>
                    <a:pt x="66" y="2"/>
                  </a:lnTo>
                  <a:lnTo>
                    <a:pt x="60" y="0"/>
                  </a:lnTo>
                  <a:lnTo>
                    <a:pt x="56" y="2"/>
                  </a:lnTo>
                  <a:lnTo>
                    <a:pt x="5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3" name="Freeform 230">
              <a:extLst>
                <a:ext uri="{FF2B5EF4-FFF2-40B4-BE49-F238E27FC236}">
                  <a16:creationId xmlns:a16="http://schemas.microsoft.com/office/drawing/2014/main" id="{29021CD6-FA93-419A-A9B9-20D2D2CF47BB}"/>
                </a:ext>
              </a:extLst>
            </p:cNvPr>
            <p:cNvSpPr>
              <a:spLocks/>
            </p:cNvSpPr>
            <p:nvPr/>
          </p:nvSpPr>
          <p:spPr bwMode="auto">
            <a:xfrm>
              <a:off x="2244956" y="5507179"/>
              <a:ext cx="34379" cy="8968"/>
            </a:xfrm>
            <a:custGeom>
              <a:avLst/>
              <a:gdLst>
                <a:gd name="T0" fmla="*/ 78 w 89"/>
                <a:gd name="T1" fmla="*/ 0 h 26"/>
                <a:gd name="T2" fmla="*/ 13 w 89"/>
                <a:gd name="T3" fmla="*/ 0 h 26"/>
                <a:gd name="T4" fmla="*/ 8 w 89"/>
                <a:gd name="T5" fmla="*/ 1 h 26"/>
                <a:gd name="T6" fmla="*/ 3 w 89"/>
                <a:gd name="T7" fmla="*/ 4 h 26"/>
                <a:gd name="T8" fmla="*/ 1 w 89"/>
                <a:gd name="T9" fmla="*/ 9 h 26"/>
                <a:gd name="T10" fmla="*/ 0 w 89"/>
                <a:gd name="T11" fmla="*/ 13 h 26"/>
                <a:gd name="T12" fmla="*/ 1 w 89"/>
                <a:gd name="T13" fmla="*/ 18 h 26"/>
                <a:gd name="T14" fmla="*/ 3 w 89"/>
                <a:gd name="T15" fmla="*/ 23 h 26"/>
                <a:gd name="T16" fmla="*/ 8 w 89"/>
                <a:gd name="T17" fmla="*/ 25 h 26"/>
                <a:gd name="T18" fmla="*/ 13 w 89"/>
                <a:gd name="T19" fmla="*/ 26 h 26"/>
                <a:gd name="T20" fmla="*/ 78 w 89"/>
                <a:gd name="T21" fmla="*/ 26 h 26"/>
                <a:gd name="T22" fmla="*/ 82 w 89"/>
                <a:gd name="T23" fmla="*/ 25 h 26"/>
                <a:gd name="T24" fmla="*/ 86 w 89"/>
                <a:gd name="T25" fmla="*/ 23 h 26"/>
                <a:gd name="T26" fmla="*/ 88 w 89"/>
                <a:gd name="T27" fmla="*/ 18 h 26"/>
                <a:gd name="T28" fmla="*/ 89 w 89"/>
                <a:gd name="T29" fmla="*/ 13 h 26"/>
                <a:gd name="T30" fmla="*/ 88 w 89"/>
                <a:gd name="T31" fmla="*/ 9 h 26"/>
                <a:gd name="T32" fmla="*/ 86 w 89"/>
                <a:gd name="T33" fmla="*/ 4 h 26"/>
                <a:gd name="T34" fmla="*/ 82 w 89"/>
                <a:gd name="T35" fmla="*/ 1 h 26"/>
                <a:gd name="T36" fmla="*/ 78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8" y="0"/>
                  </a:moveTo>
                  <a:lnTo>
                    <a:pt x="13" y="0"/>
                  </a:lnTo>
                  <a:lnTo>
                    <a:pt x="8" y="1"/>
                  </a:lnTo>
                  <a:lnTo>
                    <a:pt x="3" y="4"/>
                  </a:lnTo>
                  <a:lnTo>
                    <a:pt x="1" y="9"/>
                  </a:lnTo>
                  <a:lnTo>
                    <a:pt x="0" y="13"/>
                  </a:lnTo>
                  <a:lnTo>
                    <a:pt x="1" y="18"/>
                  </a:lnTo>
                  <a:lnTo>
                    <a:pt x="3" y="23"/>
                  </a:lnTo>
                  <a:lnTo>
                    <a:pt x="8" y="25"/>
                  </a:lnTo>
                  <a:lnTo>
                    <a:pt x="13" y="26"/>
                  </a:lnTo>
                  <a:lnTo>
                    <a:pt x="78" y="26"/>
                  </a:lnTo>
                  <a:lnTo>
                    <a:pt x="82" y="25"/>
                  </a:lnTo>
                  <a:lnTo>
                    <a:pt x="86" y="23"/>
                  </a:lnTo>
                  <a:lnTo>
                    <a:pt x="88" y="18"/>
                  </a:lnTo>
                  <a:lnTo>
                    <a:pt x="89" y="13"/>
                  </a:lnTo>
                  <a:lnTo>
                    <a:pt x="88" y="9"/>
                  </a:lnTo>
                  <a:lnTo>
                    <a:pt x="86" y="4"/>
                  </a:lnTo>
                  <a:lnTo>
                    <a:pt x="82" y="1"/>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4" name="Freeform 231">
              <a:extLst>
                <a:ext uri="{FF2B5EF4-FFF2-40B4-BE49-F238E27FC236}">
                  <a16:creationId xmlns:a16="http://schemas.microsoft.com/office/drawing/2014/main" id="{9BB71EAE-549D-49A4-BD05-DC35D804649B}"/>
                </a:ext>
              </a:extLst>
            </p:cNvPr>
            <p:cNvSpPr>
              <a:spLocks/>
            </p:cNvSpPr>
            <p:nvPr/>
          </p:nvSpPr>
          <p:spPr bwMode="auto">
            <a:xfrm>
              <a:off x="2189651" y="5569958"/>
              <a:ext cx="8968" cy="34379"/>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8 h 90"/>
                <a:gd name="T12" fmla="*/ 1 w 25"/>
                <a:gd name="T13" fmla="*/ 82 h 90"/>
                <a:gd name="T14" fmla="*/ 3 w 25"/>
                <a:gd name="T15" fmla="*/ 87 h 90"/>
                <a:gd name="T16" fmla="*/ 7 w 25"/>
                <a:gd name="T17" fmla="*/ 89 h 90"/>
                <a:gd name="T18" fmla="*/ 12 w 25"/>
                <a:gd name="T19" fmla="*/ 90 h 90"/>
                <a:gd name="T20" fmla="*/ 17 w 25"/>
                <a:gd name="T21" fmla="*/ 89 h 90"/>
                <a:gd name="T22" fmla="*/ 21 w 25"/>
                <a:gd name="T23" fmla="*/ 87 h 90"/>
                <a:gd name="T24" fmla="*/ 24 w 25"/>
                <a:gd name="T25" fmla="*/ 82 h 90"/>
                <a:gd name="T26" fmla="*/ 25 w 25"/>
                <a:gd name="T27" fmla="*/ 78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8"/>
                  </a:lnTo>
                  <a:lnTo>
                    <a:pt x="1" y="82"/>
                  </a:lnTo>
                  <a:lnTo>
                    <a:pt x="3" y="87"/>
                  </a:lnTo>
                  <a:lnTo>
                    <a:pt x="7" y="89"/>
                  </a:lnTo>
                  <a:lnTo>
                    <a:pt x="12" y="90"/>
                  </a:lnTo>
                  <a:lnTo>
                    <a:pt x="17" y="89"/>
                  </a:lnTo>
                  <a:lnTo>
                    <a:pt x="21" y="87"/>
                  </a:lnTo>
                  <a:lnTo>
                    <a:pt x="24" y="82"/>
                  </a:lnTo>
                  <a:lnTo>
                    <a:pt x="25" y="78"/>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5" name="Freeform 232">
              <a:extLst>
                <a:ext uri="{FF2B5EF4-FFF2-40B4-BE49-F238E27FC236}">
                  <a16:creationId xmlns:a16="http://schemas.microsoft.com/office/drawing/2014/main" id="{BE0AB127-4C10-403A-89F5-27A1478A9169}"/>
                </a:ext>
              </a:extLst>
            </p:cNvPr>
            <p:cNvSpPr>
              <a:spLocks/>
            </p:cNvSpPr>
            <p:nvPr/>
          </p:nvSpPr>
          <p:spPr bwMode="auto">
            <a:xfrm>
              <a:off x="2189651" y="5426464"/>
              <a:ext cx="8968" cy="32884"/>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7 h 90"/>
                <a:gd name="T12" fmla="*/ 1 w 25"/>
                <a:gd name="T13" fmla="*/ 82 h 90"/>
                <a:gd name="T14" fmla="*/ 3 w 25"/>
                <a:gd name="T15" fmla="*/ 86 h 90"/>
                <a:gd name="T16" fmla="*/ 7 w 25"/>
                <a:gd name="T17" fmla="*/ 88 h 90"/>
                <a:gd name="T18" fmla="*/ 12 w 25"/>
                <a:gd name="T19" fmla="*/ 90 h 90"/>
                <a:gd name="T20" fmla="*/ 17 w 25"/>
                <a:gd name="T21" fmla="*/ 88 h 90"/>
                <a:gd name="T22" fmla="*/ 21 w 25"/>
                <a:gd name="T23" fmla="*/ 86 h 90"/>
                <a:gd name="T24" fmla="*/ 24 w 25"/>
                <a:gd name="T25" fmla="*/ 82 h 90"/>
                <a:gd name="T26" fmla="*/ 25 w 25"/>
                <a:gd name="T27" fmla="*/ 77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7"/>
                  </a:lnTo>
                  <a:lnTo>
                    <a:pt x="1" y="82"/>
                  </a:lnTo>
                  <a:lnTo>
                    <a:pt x="3" y="86"/>
                  </a:lnTo>
                  <a:lnTo>
                    <a:pt x="7" y="88"/>
                  </a:lnTo>
                  <a:lnTo>
                    <a:pt x="12" y="90"/>
                  </a:lnTo>
                  <a:lnTo>
                    <a:pt x="17" y="88"/>
                  </a:lnTo>
                  <a:lnTo>
                    <a:pt x="21" y="86"/>
                  </a:lnTo>
                  <a:lnTo>
                    <a:pt x="24" y="82"/>
                  </a:lnTo>
                  <a:lnTo>
                    <a:pt x="25" y="77"/>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6" name="Freeform 233">
              <a:extLst>
                <a:ext uri="{FF2B5EF4-FFF2-40B4-BE49-F238E27FC236}">
                  <a16:creationId xmlns:a16="http://schemas.microsoft.com/office/drawing/2014/main" id="{7EB02071-ECB4-4F04-B7F6-778342C85FA7}"/>
                </a:ext>
              </a:extLst>
            </p:cNvPr>
            <p:cNvSpPr>
              <a:spLocks/>
            </p:cNvSpPr>
            <p:nvPr/>
          </p:nvSpPr>
          <p:spPr bwMode="auto">
            <a:xfrm>
              <a:off x="2227019" y="5552021"/>
              <a:ext cx="28400" cy="28400"/>
            </a:xfrm>
            <a:custGeom>
              <a:avLst/>
              <a:gdLst>
                <a:gd name="T0" fmla="*/ 21 w 74"/>
                <a:gd name="T1" fmla="*/ 5 h 75"/>
                <a:gd name="T2" fmla="*/ 17 w 74"/>
                <a:gd name="T3" fmla="*/ 2 h 75"/>
                <a:gd name="T4" fmla="*/ 13 w 74"/>
                <a:gd name="T5" fmla="*/ 0 h 75"/>
                <a:gd name="T6" fmla="*/ 7 w 74"/>
                <a:gd name="T7" fmla="*/ 2 h 75"/>
                <a:gd name="T8" fmla="*/ 3 w 74"/>
                <a:gd name="T9" fmla="*/ 5 h 75"/>
                <a:gd name="T10" fmla="*/ 1 w 74"/>
                <a:gd name="T11" fmla="*/ 9 h 75"/>
                <a:gd name="T12" fmla="*/ 0 w 74"/>
                <a:gd name="T13" fmla="*/ 14 h 75"/>
                <a:gd name="T14" fmla="*/ 1 w 74"/>
                <a:gd name="T15" fmla="*/ 19 h 75"/>
                <a:gd name="T16" fmla="*/ 3 w 74"/>
                <a:gd name="T17" fmla="*/ 23 h 75"/>
                <a:gd name="T18" fmla="*/ 51 w 74"/>
                <a:gd name="T19" fmla="*/ 70 h 75"/>
                <a:gd name="T20" fmla="*/ 56 w 74"/>
                <a:gd name="T21" fmla="*/ 74 h 75"/>
                <a:gd name="T22" fmla="*/ 61 w 74"/>
                <a:gd name="T23" fmla="*/ 75 h 75"/>
                <a:gd name="T24" fmla="*/ 65 w 74"/>
                <a:gd name="T25" fmla="*/ 74 h 75"/>
                <a:gd name="T26" fmla="*/ 70 w 74"/>
                <a:gd name="T27" fmla="*/ 70 h 75"/>
                <a:gd name="T28" fmla="*/ 73 w 74"/>
                <a:gd name="T29" fmla="*/ 66 h 75"/>
                <a:gd name="T30" fmla="*/ 74 w 74"/>
                <a:gd name="T31" fmla="*/ 62 h 75"/>
                <a:gd name="T32" fmla="*/ 73 w 74"/>
                <a:gd name="T33" fmla="*/ 57 h 75"/>
                <a:gd name="T34" fmla="*/ 70 w 74"/>
                <a:gd name="T35" fmla="*/ 53 h 75"/>
                <a:gd name="T36" fmla="*/ 21 w 74"/>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5">
                  <a:moveTo>
                    <a:pt x="21" y="5"/>
                  </a:moveTo>
                  <a:lnTo>
                    <a:pt x="17" y="2"/>
                  </a:lnTo>
                  <a:lnTo>
                    <a:pt x="13" y="0"/>
                  </a:lnTo>
                  <a:lnTo>
                    <a:pt x="7" y="2"/>
                  </a:lnTo>
                  <a:lnTo>
                    <a:pt x="3" y="5"/>
                  </a:lnTo>
                  <a:lnTo>
                    <a:pt x="1" y="9"/>
                  </a:lnTo>
                  <a:lnTo>
                    <a:pt x="0" y="14"/>
                  </a:lnTo>
                  <a:lnTo>
                    <a:pt x="1" y="19"/>
                  </a:lnTo>
                  <a:lnTo>
                    <a:pt x="3" y="23"/>
                  </a:lnTo>
                  <a:lnTo>
                    <a:pt x="51" y="70"/>
                  </a:lnTo>
                  <a:lnTo>
                    <a:pt x="56" y="74"/>
                  </a:lnTo>
                  <a:lnTo>
                    <a:pt x="61" y="75"/>
                  </a:lnTo>
                  <a:lnTo>
                    <a:pt x="65" y="74"/>
                  </a:lnTo>
                  <a:lnTo>
                    <a:pt x="70" y="70"/>
                  </a:lnTo>
                  <a:lnTo>
                    <a:pt x="73" y="66"/>
                  </a:lnTo>
                  <a:lnTo>
                    <a:pt x="74" y="62"/>
                  </a:lnTo>
                  <a:lnTo>
                    <a:pt x="73" y="57"/>
                  </a:lnTo>
                  <a:lnTo>
                    <a:pt x="70" y="53"/>
                  </a:lnTo>
                  <a:lnTo>
                    <a:pt x="2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7" name="Freeform 234">
              <a:extLst>
                <a:ext uri="{FF2B5EF4-FFF2-40B4-BE49-F238E27FC236}">
                  <a16:creationId xmlns:a16="http://schemas.microsoft.com/office/drawing/2014/main" id="{88377B05-5630-4997-900B-04F4E4CCAAB3}"/>
                </a:ext>
              </a:extLst>
            </p:cNvPr>
            <p:cNvSpPr>
              <a:spLocks/>
            </p:cNvSpPr>
            <p:nvPr/>
          </p:nvSpPr>
          <p:spPr bwMode="auto">
            <a:xfrm>
              <a:off x="2227019" y="5450380"/>
              <a:ext cx="28400" cy="26905"/>
            </a:xfrm>
            <a:custGeom>
              <a:avLst/>
              <a:gdLst>
                <a:gd name="T0" fmla="*/ 13 w 74"/>
                <a:gd name="T1" fmla="*/ 74 h 74"/>
                <a:gd name="T2" fmla="*/ 17 w 74"/>
                <a:gd name="T3" fmla="*/ 73 h 74"/>
                <a:gd name="T4" fmla="*/ 21 w 74"/>
                <a:gd name="T5" fmla="*/ 71 h 74"/>
                <a:gd name="T6" fmla="*/ 70 w 74"/>
                <a:gd name="T7" fmla="*/ 21 h 74"/>
                <a:gd name="T8" fmla="*/ 73 w 74"/>
                <a:gd name="T9" fmla="*/ 18 h 74"/>
                <a:gd name="T10" fmla="*/ 74 w 74"/>
                <a:gd name="T11" fmla="*/ 13 h 74"/>
                <a:gd name="T12" fmla="*/ 73 w 74"/>
                <a:gd name="T13" fmla="*/ 8 h 74"/>
                <a:gd name="T14" fmla="*/ 70 w 74"/>
                <a:gd name="T15" fmla="*/ 4 h 74"/>
                <a:gd name="T16" fmla="*/ 65 w 74"/>
                <a:gd name="T17" fmla="*/ 1 h 74"/>
                <a:gd name="T18" fmla="*/ 61 w 74"/>
                <a:gd name="T19" fmla="*/ 0 h 74"/>
                <a:gd name="T20" fmla="*/ 56 w 74"/>
                <a:gd name="T21" fmla="*/ 1 h 74"/>
                <a:gd name="T22" fmla="*/ 51 w 74"/>
                <a:gd name="T23" fmla="*/ 4 h 74"/>
                <a:gd name="T24" fmla="*/ 3 w 74"/>
                <a:gd name="T25" fmla="*/ 52 h 74"/>
                <a:gd name="T26" fmla="*/ 1 w 74"/>
                <a:gd name="T27" fmla="*/ 57 h 74"/>
                <a:gd name="T28" fmla="*/ 0 w 74"/>
                <a:gd name="T29" fmla="*/ 61 h 74"/>
                <a:gd name="T30" fmla="*/ 1 w 74"/>
                <a:gd name="T31" fmla="*/ 66 h 74"/>
                <a:gd name="T32" fmla="*/ 3 w 74"/>
                <a:gd name="T33" fmla="*/ 71 h 74"/>
                <a:gd name="T34" fmla="*/ 7 w 74"/>
                <a:gd name="T35" fmla="*/ 73 h 74"/>
                <a:gd name="T36" fmla="*/ 13 w 74"/>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4">
                  <a:moveTo>
                    <a:pt x="13" y="74"/>
                  </a:moveTo>
                  <a:lnTo>
                    <a:pt x="17" y="73"/>
                  </a:lnTo>
                  <a:lnTo>
                    <a:pt x="21" y="71"/>
                  </a:lnTo>
                  <a:lnTo>
                    <a:pt x="70" y="21"/>
                  </a:lnTo>
                  <a:lnTo>
                    <a:pt x="73" y="18"/>
                  </a:lnTo>
                  <a:lnTo>
                    <a:pt x="74" y="13"/>
                  </a:lnTo>
                  <a:lnTo>
                    <a:pt x="73" y="8"/>
                  </a:lnTo>
                  <a:lnTo>
                    <a:pt x="70" y="4"/>
                  </a:lnTo>
                  <a:lnTo>
                    <a:pt x="65" y="1"/>
                  </a:lnTo>
                  <a:lnTo>
                    <a:pt x="61" y="0"/>
                  </a:lnTo>
                  <a:lnTo>
                    <a:pt x="56" y="1"/>
                  </a:lnTo>
                  <a:lnTo>
                    <a:pt x="51" y="4"/>
                  </a:lnTo>
                  <a:lnTo>
                    <a:pt x="3" y="52"/>
                  </a:lnTo>
                  <a:lnTo>
                    <a:pt x="1" y="57"/>
                  </a:lnTo>
                  <a:lnTo>
                    <a:pt x="0" y="61"/>
                  </a:lnTo>
                  <a:lnTo>
                    <a:pt x="1" y="66"/>
                  </a:lnTo>
                  <a:lnTo>
                    <a:pt x="3" y="71"/>
                  </a:lnTo>
                  <a:lnTo>
                    <a:pt x="7"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98" name="Freeform 235">
              <a:extLst>
                <a:ext uri="{FF2B5EF4-FFF2-40B4-BE49-F238E27FC236}">
                  <a16:creationId xmlns:a16="http://schemas.microsoft.com/office/drawing/2014/main" id="{8C467C3C-6EAF-4E60-B6F5-1C14E370A20A}"/>
                </a:ext>
              </a:extLst>
            </p:cNvPr>
            <p:cNvSpPr>
              <a:spLocks noEditPoints="1"/>
            </p:cNvSpPr>
            <p:nvPr/>
          </p:nvSpPr>
          <p:spPr bwMode="auto">
            <a:xfrm>
              <a:off x="2067084" y="5354717"/>
              <a:ext cx="246630" cy="285493"/>
            </a:xfrm>
            <a:custGeom>
              <a:avLst/>
              <a:gdLst>
                <a:gd name="T0" fmla="*/ 270 w 662"/>
                <a:gd name="T1" fmla="*/ 732 h 764"/>
                <a:gd name="T2" fmla="*/ 199 w 662"/>
                <a:gd name="T3" fmla="*/ 709 h 764"/>
                <a:gd name="T4" fmla="*/ 137 w 662"/>
                <a:gd name="T5" fmla="*/ 669 h 764"/>
                <a:gd name="T6" fmla="*/ 86 w 662"/>
                <a:gd name="T7" fmla="*/ 615 h 764"/>
                <a:gd name="T8" fmla="*/ 50 w 662"/>
                <a:gd name="T9" fmla="*/ 552 h 764"/>
                <a:gd name="T10" fmla="*/ 29 w 662"/>
                <a:gd name="T11" fmla="*/ 479 h 764"/>
                <a:gd name="T12" fmla="*/ 27 w 662"/>
                <a:gd name="T13" fmla="*/ 402 h 764"/>
                <a:gd name="T14" fmla="*/ 44 w 662"/>
                <a:gd name="T15" fmla="*/ 328 h 764"/>
                <a:gd name="T16" fmla="*/ 78 w 662"/>
                <a:gd name="T17" fmla="*/ 262 h 764"/>
                <a:gd name="T18" fmla="*/ 126 w 662"/>
                <a:gd name="T19" fmla="*/ 207 h 764"/>
                <a:gd name="T20" fmla="*/ 186 w 662"/>
                <a:gd name="T21" fmla="*/ 164 h 764"/>
                <a:gd name="T22" fmla="*/ 255 w 662"/>
                <a:gd name="T23" fmla="*/ 137 h 764"/>
                <a:gd name="T24" fmla="*/ 331 w 662"/>
                <a:gd name="T25" fmla="*/ 127 h 764"/>
                <a:gd name="T26" fmla="*/ 407 w 662"/>
                <a:gd name="T27" fmla="*/ 137 h 764"/>
                <a:gd name="T28" fmla="*/ 477 w 662"/>
                <a:gd name="T29" fmla="*/ 164 h 764"/>
                <a:gd name="T30" fmla="*/ 536 w 662"/>
                <a:gd name="T31" fmla="*/ 207 h 764"/>
                <a:gd name="T32" fmla="*/ 584 w 662"/>
                <a:gd name="T33" fmla="*/ 262 h 764"/>
                <a:gd name="T34" fmla="*/ 618 w 662"/>
                <a:gd name="T35" fmla="*/ 328 h 764"/>
                <a:gd name="T36" fmla="*/ 635 w 662"/>
                <a:gd name="T37" fmla="*/ 402 h 764"/>
                <a:gd name="T38" fmla="*/ 633 w 662"/>
                <a:gd name="T39" fmla="*/ 479 h 764"/>
                <a:gd name="T40" fmla="*/ 612 w 662"/>
                <a:gd name="T41" fmla="*/ 552 h 764"/>
                <a:gd name="T42" fmla="*/ 576 w 662"/>
                <a:gd name="T43" fmla="*/ 615 h 764"/>
                <a:gd name="T44" fmla="*/ 525 w 662"/>
                <a:gd name="T45" fmla="*/ 669 h 764"/>
                <a:gd name="T46" fmla="*/ 463 w 662"/>
                <a:gd name="T47" fmla="*/ 709 h 764"/>
                <a:gd name="T48" fmla="*/ 392 w 662"/>
                <a:gd name="T49" fmla="*/ 732 h 764"/>
                <a:gd name="T50" fmla="*/ 565 w 662"/>
                <a:gd name="T51" fmla="*/ 199 h 764"/>
                <a:gd name="T52" fmla="*/ 641 w 662"/>
                <a:gd name="T53" fmla="*/ 170 h 764"/>
                <a:gd name="T54" fmla="*/ 646 w 662"/>
                <a:gd name="T55" fmla="*/ 149 h 764"/>
                <a:gd name="T56" fmla="*/ 579 w 662"/>
                <a:gd name="T57" fmla="*/ 100 h 764"/>
                <a:gd name="T58" fmla="*/ 594 w 662"/>
                <a:gd name="T59" fmla="*/ 133 h 764"/>
                <a:gd name="T60" fmla="*/ 458 w 662"/>
                <a:gd name="T61" fmla="*/ 128 h 764"/>
                <a:gd name="T62" fmla="*/ 368 w 662"/>
                <a:gd name="T63" fmla="*/ 104 h 764"/>
                <a:gd name="T64" fmla="*/ 388 w 662"/>
                <a:gd name="T65" fmla="*/ 22 h 764"/>
                <a:gd name="T66" fmla="*/ 385 w 662"/>
                <a:gd name="T67" fmla="*/ 1 h 764"/>
                <a:gd name="T68" fmla="*/ 291 w 662"/>
                <a:gd name="T69" fmla="*/ 8 h 764"/>
                <a:gd name="T70" fmla="*/ 303 w 662"/>
                <a:gd name="T71" fmla="*/ 25 h 764"/>
                <a:gd name="T72" fmla="*/ 278 w 662"/>
                <a:gd name="T73" fmla="*/ 106 h 764"/>
                <a:gd name="T74" fmla="*/ 201 w 662"/>
                <a:gd name="T75" fmla="*/ 129 h 764"/>
                <a:gd name="T76" fmla="*/ 132 w 662"/>
                <a:gd name="T77" fmla="*/ 169 h 764"/>
                <a:gd name="T78" fmla="*/ 76 w 662"/>
                <a:gd name="T79" fmla="*/ 223 h 764"/>
                <a:gd name="T80" fmla="*/ 33 w 662"/>
                <a:gd name="T81" fmla="*/ 291 h 764"/>
                <a:gd name="T82" fmla="*/ 7 w 662"/>
                <a:gd name="T83" fmla="*/ 366 h 764"/>
                <a:gd name="T84" fmla="*/ 0 w 662"/>
                <a:gd name="T85" fmla="*/ 450 h 764"/>
                <a:gd name="T86" fmla="*/ 15 w 662"/>
                <a:gd name="T87" fmla="*/ 532 h 764"/>
                <a:gd name="T88" fmla="*/ 49 w 662"/>
                <a:gd name="T89" fmla="*/ 605 h 764"/>
                <a:gd name="T90" fmla="*/ 97 w 662"/>
                <a:gd name="T91" fmla="*/ 667 h 764"/>
                <a:gd name="T92" fmla="*/ 159 w 662"/>
                <a:gd name="T93" fmla="*/ 716 h 764"/>
                <a:gd name="T94" fmla="*/ 233 w 662"/>
                <a:gd name="T95" fmla="*/ 749 h 764"/>
                <a:gd name="T96" fmla="*/ 314 w 662"/>
                <a:gd name="T97" fmla="*/ 764 h 764"/>
                <a:gd name="T98" fmla="*/ 398 w 662"/>
                <a:gd name="T99" fmla="*/ 757 h 764"/>
                <a:gd name="T100" fmla="*/ 475 w 662"/>
                <a:gd name="T101" fmla="*/ 731 h 764"/>
                <a:gd name="T102" fmla="*/ 542 w 662"/>
                <a:gd name="T103" fmla="*/ 688 h 764"/>
                <a:gd name="T104" fmla="*/ 596 w 662"/>
                <a:gd name="T105" fmla="*/ 632 h 764"/>
                <a:gd name="T106" fmla="*/ 636 w 662"/>
                <a:gd name="T107" fmla="*/ 562 h 764"/>
                <a:gd name="T108" fmla="*/ 659 w 662"/>
                <a:gd name="T109" fmla="*/ 483 h 764"/>
                <a:gd name="T110" fmla="*/ 661 w 662"/>
                <a:gd name="T111" fmla="*/ 400 h 764"/>
                <a:gd name="T112" fmla="*/ 642 w 662"/>
                <a:gd name="T113" fmla="*/ 319 h 764"/>
                <a:gd name="T114" fmla="*/ 606 w 662"/>
                <a:gd name="T115"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2" h="764">
                  <a:moveTo>
                    <a:pt x="331" y="739"/>
                  </a:moveTo>
                  <a:lnTo>
                    <a:pt x="316" y="738"/>
                  </a:lnTo>
                  <a:lnTo>
                    <a:pt x="300" y="737"/>
                  </a:lnTo>
                  <a:lnTo>
                    <a:pt x="285" y="735"/>
                  </a:lnTo>
                  <a:lnTo>
                    <a:pt x="270" y="732"/>
                  </a:lnTo>
                  <a:lnTo>
                    <a:pt x="255" y="729"/>
                  </a:lnTo>
                  <a:lnTo>
                    <a:pt x="241" y="725"/>
                  </a:lnTo>
                  <a:lnTo>
                    <a:pt x="226" y="720"/>
                  </a:lnTo>
                  <a:lnTo>
                    <a:pt x="212" y="714"/>
                  </a:lnTo>
                  <a:lnTo>
                    <a:pt x="199" y="709"/>
                  </a:lnTo>
                  <a:lnTo>
                    <a:pt x="186" y="701"/>
                  </a:lnTo>
                  <a:lnTo>
                    <a:pt x="173" y="695"/>
                  </a:lnTo>
                  <a:lnTo>
                    <a:pt x="160" y="686"/>
                  </a:lnTo>
                  <a:lnTo>
                    <a:pt x="149" y="678"/>
                  </a:lnTo>
                  <a:lnTo>
                    <a:pt x="137" y="669"/>
                  </a:lnTo>
                  <a:lnTo>
                    <a:pt x="126" y="659"/>
                  </a:lnTo>
                  <a:lnTo>
                    <a:pt x="115" y="649"/>
                  </a:lnTo>
                  <a:lnTo>
                    <a:pt x="106" y="639"/>
                  </a:lnTo>
                  <a:lnTo>
                    <a:pt x="96" y="627"/>
                  </a:lnTo>
                  <a:lnTo>
                    <a:pt x="86" y="615"/>
                  </a:lnTo>
                  <a:lnTo>
                    <a:pt x="78" y="604"/>
                  </a:lnTo>
                  <a:lnTo>
                    <a:pt x="70" y="592"/>
                  </a:lnTo>
                  <a:lnTo>
                    <a:pt x="63" y="579"/>
                  </a:lnTo>
                  <a:lnTo>
                    <a:pt x="56" y="566"/>
                  </a:lnTo>
                  <a:lnTo>
                    <a:pt x="50" y="552"/>
                  </a:lnTo>
                  <a:lnTo>
                    <a:pt x="44" y="538"/>
                  </a:lnTo>
                  <a:lnTo>
                    <a:pt x="39" y="524"/>
                  </a:lnTo>
                  <a:lnTo>
                    <a:pt x="36" y="509"/>
                  </a:lnTo>
                  <a:lnTo>
                    <a:pt x="32" y="494"/>
                  </a:lnTo>
                  <a:lnTo>
                    <a:pt x="29" y="479"/>
                  </a:lnTo>
                  <a:lnTo>
                    <a:pt x="27" y="464"/>
                  </a:lnTo>
                  <a:lnTo>
                    <a:pt x="26" y="449"/>
                  </a:lnTo>
                  <a:lnTo>
                    <a:pt x="26" y="433"/>
                  </a:lnTo>
                  <a:lnTo>
                    <a:pt x="26" y="417"/>
                  </a:lnTo>
                  <a:lnTo>
                    <a:pt x="27" y="402"/>
                  </a:lnTo>
                  <a:lnTo>
                    <a:pt x="29" y="387"/>
                  </a:lnTo>
                  <a:lnTo>
                    <a:pt x="32" y="372"/>
                  </a:lnTo>
                  <a:lnTo>
                    <a:pt x="36" y="357"/>
                  </a:lnTo>
                  <a:lnTo>
                    <a:pt x="39" y="343"/>
                  </a:lnTo>
                  <a:lnTo>
                    <a:pt x="44" y="328"/>
                  </a:lnTo>
                  <a:lnTo>
                    <a:pt x="50" y="314"/>
                  </a:lnTo>
                  <a:lnTo>
                    <a:pt x="56" y="301"/>
                  </a:lnTo>
                  <a:lnTo>
                    <a:pt x="63" y="288"/>
                  </a:lnTo>
                  <a:lnTo>
                    <a:pt x="70" y="275"/>
                  </a:lnTo>
                  <a:lnTo>
                    <a:pt x="78" y="262"/>
                  </a:lnTo>
                  <a:lnTo>
                    <a:pt x="86" y="250"/>
                  </a:lnTo>
                  <a:lnTo>
                    <a:pt x="96" y="239"/>
                  </a:lnTo>
                  <a:lnTo>
                    <a:pt x="106" y="228"/>
                  </a:lnTo>
                  <a:lnTo>
                    <a:pt x="115" y="217"/>
                  </a:lnTo>
                  <a:lnTo>
                    <a:pt x="126" y="207"/>
                  </a:lnTo>
                  <a:lnTo>
                    <a:pt x="137" y="198"/>
                  </a:lnTo>
                  <a:lnTo>
                    <a:pt x="149" y="188"/>
                  </a:lnTo>
                  <a:lnTo>
                    <a:pt x="160" y="179"/>
                  </a:lnTo>
                  <a:lnTo>
                    <a:pt x="173" y="172"/>
                  </a:lnTo>
                  <a:lnTo>
                    <a:pt x="186" y="164"/>
                  </a:lnTo>
                  <a:lnTo>
                    <a:pt x="199" y="158"/>
                  </a:lnTo>
                  <a:lnTo>
                    <a:pt x="212" y="152"/>
                  </a:lnTo>
                  <a:lnTo>
                    <a:pt x="226" y="146"/>
                  </a:lnTo>
                  <a:lnTo>
                    <a:pt x="241" y="141"/>
                  </a:lnTo>
                  <a:lnTo>
                    <a:pt x="255" y="137"/>
                  </a:lnTo>
                  <a:lnTo>
                    <a:pt x="270" y="133"/>
                  </a:lnTo>
                  <a:lnTo>
                    <a:pt x="285" y="131"/>
                  </a:lnTo>
                  <a:lnTo>
                    <a:pt x="300" y="129"/>
                  </a:lnTo>
                  <a:lnTo>
                    <a:pt x="316" y="128"/>
                  </a:lnTo>
                  <a:lnTo>
                    <a:pt x="331" y="127"/>
                  </a:lnTo>
                  <a:lnTo>
                    <a:pt x="347" y="128"/>
                  </a:lnTo>
                  <a:lnTo>
                    <a:pt x="362" y="129"/>
                  </a:lnTo>
                  <a:lnTo>
                    <a:pt x="377" y="131"/>
                  </a:lnTo>
                  <a:lnTo>
                    <a:pt x="392" y="133"/>
                  </a:lnTo>
                  <a:lnTo>
                    <a:pt x="407" y="137"/>
                  </a:lnTo>
                  <a:lnTo>
                    <a:pt x="422" y="141"/>
                  </a:lnTo>
                  <a:lnTo>
                    <a:pt x="436" y="146"/>
                  </a:lnTo>
                  <a:lnTo>
                    <a:pt x="450" y="152"/>
                  </a:lnTo>
                  <a:lnTo>
                    <a:pt x="463" y="158"/>
                  </a:lnTo>
                  <a:lnTo>
                    <a:pt x="477" y="164"/>
                  </a:lnTo>
                  <a:lnTo>
                    <a:pt x="490" y="172"/>
                  </a:lnTo>
                  <a:lnTo>
                    <a:pt x="502" y="179"/>
                  </a:lnTo>
                  <a:lnTo>
                    <a:pt x="514" y="188"/>
                  </a:lnTo>
                  <a:lnTo>
                    <a:pt x="525" y="198"/>
                  </a:lnTo>
                  <a:lnTo>
                    <a:pt x="536" y="207"/>
                  </a:lnTo>
                  <a:lnTo>
                    <a:pt x="547" y="217"/>
                  </a:lnTo>
                  <a:lnTo>
                    <a:pt x="558" y="228"/>
                  </a:lnTo>
                  <a:lnTo>
                    <a:pt x="567" y="239"/>
                  </a:lnTo>
                  <a:lnTo>
                    <a:pt x="576" y="250"/>
                  </a:lnTo>
                  <a:lnTo>
                    <a:pt x="584" y="262"/>
                  </a:lnTo>
                  <a:lnTo>
                    <a:pt x="593" y="275"/>
                  </a:lnTo>
                  <a:lnTo>
                    <a:pt x="600" y="288"/>
                  </a:lnTo>
                  <a:lnTo>
                    <a:pt x="607" y="301"/>
                  </a:lnTo>
                  <a:lnTo>
                    <a:pt x="612" y="314"/>
                  </a:lnTo>
                  <a:lnTo>
                    <a:pt x="618" y="328"/>
                  </a:lnTo>
                  <a:lnTo>
                    <a:pt x="623" y="343"/>
                  </a:lnTo>
                  <a:lnTo>
                    <a:pt x="627" y="357"/>
                  </a:lnTo>
                  <a:lnTo>
                    <a:pt x="631" y="372"/>
                  </a:lnTo>
                  <a:lnTo>
                    <a:pt x="633" y="387"/>
                  </a:lnTo>
                  <a:lnTo>
                    <a:pt x="635" y="402"/>
                  </a:lnTo>
                  <a:lnTo>
                    <a:pt x="636" y="417"/>
                  </a:lnTo>
                  <a:lnTo>
                    <a:pt x="637" y="433"/>
                  </a:lnTo>
                  <a:lnTo>
                    <a:pt x="636" y="449"/>
                  </a:lnTo>
                  <a:lnTo>
                    <a:pt x="635" y="464"/>
                  </a:lnTo>
                  <a:lnTo>
                    <a:pt x="633" y="479"/>
                  </a:lnTo>
                  <a:lnTo>
                    <a:pt x="631" y="494"/>
                  </a:lnTo>
                  <a:lnTo>
                    <a:pt x="627" y="509"/>
                  </a:lnTo>
                  <a:lnTo>
                    <a:pt x="623" y="524"/>
                  </a:lnTo>
                  <a:lnTo>
                    <a:pt x="618" y="538"/>
                  </a:lnTo>
                  <a:lnTo>
                    <a:pt x="612" y="552"/>
                  </a:lnTo>
                  <a:lnTo>
                    <a:pt x="607" y="566"/>
                  </a:lnTo>
                  <a:lnTo>
                    <a:pt x="600" y="579"/>
                  </a:lnTo>
                  <a:lnTo>
                    <a:pt x="593" y="592"/>
                  </a:lnTo>
                  <a:lnTo>
                    <a:pt x="584" y="604"/>
                  </a:lnTo>
                  <a:lnTo>
                    <a:pt x="576" y="615"/>
                  </a:lnTo>
                  <a:lnTo>
                    <a:pt x="567" y="627"/>
                  </a:lnTo>
                  <a:lnTo>
                    <a:pt x="558" y="639"/>
                  </a:lnTo>
                  <a:lnTo>
                    <a:pt x="547" y="649"/>
                  </a:lnTo>
                  <a:lnTo>
                    <a:pt x="536" y="659"/>
                  </a:lnTo>
                  <a:lnTo>
                    <a:pt x="525" y="669"/>
                  </a:lnTo>
                  <a:lnTo>
                    <a:pt x="514" y="678"/>
                  </a:lnTo>
                  <a:lnTo>
                    <a:pt x="502" y="686"/>
                  </a:lnTo>
                  <a:lnTo>
                    <a:pt x="490" y="695"/>
                  </a:lnTo>
                  <a:lnTo>
                    <a:pt x="477" y="701"/>
                  </a:lnTo>
                  <a:lnTo>
                    <a:pt x="463" y="709"/>
                  </a:lnTo>
                  <a:lnTo>
                    <a:pt x="450" y="714"/>
                  </a:lnTo>
                  <a:lnTo>
                    <a:pt x="436" y="720"/>
                  </a:lnTo>
                  <a:lnTo>
                    <a:pt x="422" y="725"/>
                  </a:lnTo>
                  <a:lnTo>
                    <a:pt x="407" y="729"/>
                  </a:lnTo>
                  <a:lnTo>
                    <a:pt x="392" y="732"/>
                  </a:lnTo>
                  <a:lnTo>
                    <a:pt x="377" y="735"/>
                  </a:lnTo>
                  <a:lnTo>
                    <a:pt x="362" y="737"/>
                  </a:lnTo>
                  <a:lnTo>
                    <a:pt x="347" y="738"/>
                  </a:lnTo>
                  <a:lnTo>
                    <a:pt x="331" y="739"/>
                  </a:lnTo>
                  <a:close/>
                  <a:moveTo>
                    <a:pt x="565" y="199"/>
                  </a:moveTo>
                  <a:lnTo>
                    <a:pt x="612" y="152"/>
                  </a:lnTo>
                  <a:lnTo>
                    <a:pt x="627" y="167"/>
                  </a:lnTo>
                  <a:lnTo>
                    <a:pt x="632" y="170"/>
                  </a:lnTo>
                  <a:lnTo>
                    <a:pt x="636" y="171"/>
                  </a:lnTo>
                  <a:lnTo>
                    <a:pt x="641" y="170"/>
                  </a:lnTo>
                  <a:lnTo>
                    <a:pt x="646" y="167"/>
                  </a:lnTo>
                  <a:lnTo>
                    <a:pt x="648" y="162"/>
                  </a:lnTo>
                  <a:lnTo>
                    <a:pt x="649" y="158"/>
                  </a:lnTo>
                  <a:lnTo>
                    <a:pt x="648" y="153"/>
                  </a:lnTo>
                  <a:lnTo>
                    <a:pt x="646" y="149"/>
                  </a:lnTo>
                  <a:lnTo>
                    <a:pt x="597" y="100"/>
                  </a:lnTo>
                  <a:lnTo>
                    <a:pt x="593" y="98"/>
                  </a:lnTo>
                  <a:lnTo>
                    <a:pt x="588" y="97"/>
                  </a:lnTo>
                  <a:lnTo>
                    <a:pt x="583" y="98"/>
                  </a:lnTo>
                  <a:lnTo>
                    <a:pt x="579" y="100"/>
                  </a:lnTo>
                  <a:lnTo>
                    <a:pt x="576" y="104"/>
                  </a:lnTo>
                  <a:lnTo>
                    <a:pt x="576" y="110"/>
                  </a:lnTo>
                  <a:lnTo>
                    <a:pt x="576" y="114"/>
                  </a:lnTo>
                  <a:lnTo>
                    <a:pt x="579" y="118"/>
                  </a:lnTo>
                  <a:lnTo>
                    <a:pt x="594" y="133"/>
                  </a:lnTo>
                  <a:lnTo>
                    <a:pt x="546" y="182"/>
                  </a:lnTo>
                  <a:lnTo>
                    <a:pt x="525" y="165"/>
                  </a:lnTo>
                  <a:lnTo>
                    <a:pt x="504" y="152"/>
                  </a:lnTo>
                  <a:lnTo>
                    <a:pt x="481" y="139"/>
                  </a:lnTo>
                  <a:lnTo>
                    <a:pt x="458" y="128"/>
                  </a:lnTo>
                  <a:lnTo>
                    <a:pt x="433" y="118"/>
                  </a:lnTo>
                  <a:lnTo>
                    <a:pt x="407" y="111"/>
                  </a:lnTo>
                  <a:lnTo>
                    <a:pt x="394" y="109"/>
                  </a:lnTo>
                  <a:lnTo>
                    <a:pt x="382" y="106"/>
                  </a:lnTo>
                  <a:lnTo>
                    <a:pt x="368" y="104"/>
                  </a:lnTo>
                  <a:lnTo>
                    <a:pt x="354" y="103"/>
                  </a:lnTo>
                  <a:lnTo>
                    <a:pt x="354" y="25"/>
                  </a:lnTo>
                  <a:lnTo>
                    <a:pt x="379" y="25"/>
                  </a:lnTo>
                  <a:lnTo>
                    <a:pt x="385" y="25"/>
                  </a:lnTo>
                  <a:lnTo>
                    <a:pt x="388" y="22"/>
                  </a:lnTo>
                  <a:lnTo>
                    <a:pt x="391" y="17"/>
                  </a:lnTo>
                  <a:lnTo>
                    <a:pt x="392" y="13"/>
                  </a:lnTo>
                  <a:lnTo>
                    <a:pt x="391" y="8"/>
                  </a:lnTo>
                  <a:lnTo>
                    <a:pt x="388" y="3"/>
                  </a:lnTo>
                  <a:lnTo>
                    <a:pt x="385" y="1"/>
                  </a:lnTo>
                  <a:lnTo>
                    <a:pt x="379" y="0"/>
                  </a:lnTo>
                  <a:lnTo>
                    <a:pt x="303" y="0"/>
                  </a:lnTo>
                  <a:lnTo>
                    <a:pt x="298" y="1"/>
                  </a:lnTo>
                  <a:lnTo>
                    <a:pt x="294" y="3"/>
                  </a:lnTo>
                  <a:lnTo>
                    <a:pt x="291" y="8"/>
                  </a:lnTo>
                  <a:lnTo>
                    <a:pt x="290" y="13"/>
                  </a:lnTo>
                  <a:lnTo>
                    <a:pt x="291" y="17"/>
                  </a:lnTo>
                  <a:lnTo>
                    <a:pt x="294" y="22"/>
                  </a:lnTo>
                  <a:lnTo>
                    <a:pt x="298" y="25"/>
                  </a:lnTo>
                  <a:lnTo>
                    <a:pt x="303" y="25"/>
                  </a:lnTo>
                  <a:lnTo>
                    <a:pt x="329" y="25"/>
                  </a:lnTo>
                  <a:lnTo>
                    <a:pt x="329" y="102"/>
                  </a:lnTo>
                  <a:lnTo>
                    <a:pt x="312" y="102"/>
                  </a:lnTo>
                  <a:lnTo>
                    <a:pt x="295" y="104"/>
                  </a:lnTo>
                  <a:lnTo>
                    <a:pt x="278" y="106"/>
                  </a:lnTo>
                  <a:lnTo>
                    <a:pt x="262" y="110"/>
                  </a:lnTo>
                  <a:lnTo>
                    <a:pt x="246" y="113"/>
                  </a:lnTo>
                  <a:lnTo>
                    <a:pt x="231" y="118"/>
                  </a:lnTo>
                  <a:lnTo>
                    <a:pt x="215" y="124"/>
                  </a:lnTo>
                  <a:lnTo>
                    <a:pt x="201" y="129"/>
                  </a:lnTo>
                  <a:lnTo>
                    <a:pt x="186" y="135"/>
                  </a:lnTo>
                  <a:lnTo>
                    <a:pt x="172" y="143"/>
                  </a:lnTo>
                  <a:lnTo>
                    <a:pt x="158" y="152"/>
                  </a:lnTo>
                  <a:lnTo>
                    <a:pt x="145" y="160"/>
                  </a:lnTo>
                  <a:lnTo>
                    <a:pt x="132" y="169"/>
                  </a:lnTo>
                  <a:lnTo>
                    <a:pt x="120" y="179"/>
                  </a:lnTo>
                  <a:lnTo>
                    <a:pt x="108" y="189"/>
                  </a:lnTo>
                  <a:lnTo>
                    <a:pt x="96" y="201"/>
                  </a:lnTo>
                  <a:lnTo>
                    <a:pt x="85" y="212"/>
                  </a:lnTo>
                  <a:lnTo>
                    <a:pt x="76" y="223"/>
                  </a:lnTo>
                  <a:lnTo>
                    <a:pt x="66" y="236"/>
                  </a:lnTo>
                  <a:lnTo>
                    <a:pt x="56" y="249"/>
                  </a:lnTo>
                  <a:lnTo>
                    <a:pt x="48" y="262"/>
                  </a:lnTo>
                  <a:lnTo>
                    <a:pt x="40" y="276"/>
                  </a:lnTo>
                  <a:lnTo>
                    <a:pt x="33" y="291"/>
                  </a:lnTo>
                  <a:lnTo>
                    <a:pt x="26" y="305"/>
                  </a:lnTo>
                  <a:lnTo>
                    <a:pt x="20" y="320"/>
                  </a:lnTo>
                  <a:lnTo>
                    <a:pt x="15" y="335"/>
                  </a:lnTo>
                  <a:lnTo>
                    <a:pt x="10" y="351"/>
                  </a:lnTo>
                  <a:lnTo>
                    <a:pt x="7" y="366"/>
                  </a:lnTo>
                  <a:lnTo>
                    <a:pt x="4" y="383"/>
                  </a:lnTo>
                  <a:lnTo>
                    <a:pt x="1" y="400"/>
                  </a:lnTo>
                  <a:lnTo>
                    <a:pt x="0" y="416"/>
                  </a:lnTo>
                  <a:lnTo>
                    <a:pt x="0" y="433"/>
                  </a:lnTo>
                  <a:lnTo>
                    <a:pt x="0" y="450"/>
                  </a:lnTo>
                  <a:lnTo>
                    <a:pt x="1" y="467"/>
                  </a:lnTo>
                  <a:lnTo>
                    <a:pt x="4" y="483"/>
                  </a:lnTo>
                  <a:lnTo>
                    <a:pt x="7" y="499"/>
                  </a:lnTo>
                  <a:lnTo>
                    <a:pt x="11" y="516"/>
                  </a:lnTo>
                  <a:lnTo>
                    <a:pt x="15" y="532"/>
                  </a:lnTo>
                  <a:lnTo>
                    <a:pt x="21" y="547"/>
                  </a:lnTo>
                  <a:lnTo>
                    <a:pt x="26" y="562"/>
                  </a:lnTo>
                  <a:lnTo>
                    <a:pt x="33" y="577"/>
                  </a:lnTo>
                  <a:lnTo>
                    <a:pt x="40" y="591"/>
                  </a:lnTo>
                  <a:lnTo>
                    <a:pt x="49" y="605"/>
                  </a:lnTo>
                  <a:lnTo>
                    <a:pt x="57" y="619"/>
                  </a:lnTo>
                  <a:lnTo>
                    <a:pt x="66" y="632"/>
                  </a:lnTo>
                  <a:lnTo>
                    <a:pt x="76" y="643"/>
                  </a:lnTo>
                  <a:lnTo>
                    <a:pt x="86" y="655"/>
                  </a:lnTo>
                  <a:lnTo>
                    <a:pt x="97" y="667"/>
                  </a:lnTo>
                  <a:lnTo>
                    <a:pt x="109" y="678"/>
                  </a:lnTo>
                  <a:lnTo>
                    <a:pt x="121" y="688"/>
                  </a:lnTo>
                  <a:lnTo>
                    <a:pt x="134" y="698"/>
                  </a:lnTo>
                  <a:lnTo>
                    <a:pt x="146" y="708"/>
                  </a:lnTo>
                  <a:lnTo>
                    <a:pt x="159" y="716"/>
                  </a:lnTo>
                  <a:lnTo>
                    <a:pt x="173" y="724"/>
                  </a:lnTo>
                  <a:lnTo>
                    <a:pt x="188" y="731"/>
                  </a:lnTo>
                  <a:lnTo>
                    <a:pt x="202" y="738"/>
                  </a:lnTo>
                  <a:lnTo>
                    <a:pt x="217" y="744"/>
                  </a:lnTo>
                  <a:lnTo>
                    <a:pt x="233" y="749"/>
                  </a:lnTo>
                  <a:lnTo>
                    <a:pt x="248" y="754"/>
                  </a:lnTo>
                  <a:lnTo>
                    <a:pt x="265" y="757"/>
                  </a:lnTo>
                  <a:lnTo>
                    <a:pt x="281" y="760"/>
                  </a:lnTo>
                  <a:lnTo>
                    <a:pt x="298" y="763"/>
                  </a:lnTo>
                  <a:lnTo>
                    <a:pt x="314" y="764"/>
                  </a:lnTo>
                  <a:lnTo>
                    <a:pt x="331" y="764"/>
                  </a:lnTo>
                  <a:lnTo>
                    <a:pt x="348" y="764"/>
                  </a:lnTo>
                  <a:lnTo>
                    <a:pt x="365" y="763"/>
                  </a:lnTo>
                  <a:lnTo>
                    <a:pt x="382" y="760"/>
                  </a:lnTo>
                  <a:lnTo>
                    <a:pt x="398" y="757"/>
                  </a:lnTo>
                  <a:lnTo>
                    <a:pt x="414" y="754"/>
                  </a:lnTo>
                  <a:lnTo>
                    <a:pt x="430" y="749"/>
                  </a:lnTo>
                  <a:lnTo>
                    <a:pt x="445" y="744"/>
                  </a:lnTo>
                  <a:lnTo>
                    <a:pt x="460" y="738"/>
                  </a:lnTo>
                  <a:lnTo>
                    <a:pt x="475" y="731"/>
                  </a:lnTo>
                  <a:lnTo>
                    <a:pt x="489" y="724"/>
                  </a:lnTo>
                  <a:lnTo>
                    <a:pt x="503" y="716"/>
                  </a:lnTo>
                  <a:lnTo>
                    <a:pt x="516" y="708"/>
                  </a:lnTo>
                  <a:lnTo>
                    <a:pt x="530" y="698"/>
                  </a:lnTo>
                  <a:lnTo>
                    <a:pt x="542" y="688"/>
                  </a:lnTo>
                  <a:lnTo>
                    <a:pt x="553" y="678"/>
                  </a:lnTo>
                  <a:lnTo>
                    <a:pt x="565" y="667"/>
                  </a:lnTo>
                  <a:lnTo>
                    <a:pt x="576" y="655"/>
                  </a:lnTo>
                  <a:lnTo>
                    <a:pt x="587" y="643"/>
                  </a:lnTo>
                  <a:lnTo>
                    <a:pt x="596" y="632"/>
                  </a:lnTo>
                  <a:lnTo>
                    <a:pt x="606" y="619"/>
                  </a:lnTo>
                  <a:lnTo>
                    <a:pt x="615" y="605"/>
                  </a:lnTo>
                  <a:lnTo>
                    <a:pt x="622" y="591"/>
                  </a:lnTo>
                  <a:lnTo>
                    <a:pt x="630" y="577"/>
                  </a:lnTo>
                  <a:lnTo>
                    <a:pt x="636" y="562"/>
                  </a:lnTo>
                  <a:lnTo>
                    <a:pt x="642" y="547"/>
                  </a:lnTo>
                  <a:lnTo>
                    <a:pt x="648" y="532"/>
                  </a:lnTo>
                  <a:lnTo>
                    <a:pt x="652" y="516"/>
                  </a:lnTo>
                  <a:lnTo>
                    <a:pt x="655" y="499"/>
                  </a:lnTo>
                  <a:lnTo>
                    <a:pt x="659" y="483"/>
                  </a:lnTo>
                  <a:lnTo>
                    <a:pt x="661" y="467"/>
                  </a:lnTo>
                  <a:lnTo>
                    <a:pt x="662" y="450"/>
                  </a:lnTo>
                  <a:lnTo>
                    <a:pt x="662" y="433"/>
                  </a:lnTo>
                  <a:lnTo>
                    <a:pt x="662" y="416"/>
                  </a:lnTo>
                  <a:lnTo>
                    <a:pt x="661" y="400"/>
                  </a:lnTo>
                  <a:lnTo>
                    <a:pt x="659" y="382"/>
                  </a:lnTo>
                  <a:lnTo>
                    <a:pt x="655" y="366"/>
                  </a:lnTo>
                  <a:lnTo>
                    <a:pt x="652" y="350"/>
                  </a:lnTo>
                  <a:lnTo>
                    <a:pt x="648" y="335"/>
                  </a:lnTo>
                  <a:lnTo>
                    <a:pt x="642" y="319"/>
                  </a:lnTo>
                  <a:lnTo>
                    <a:pt x="636" y="304"/>
                  </a:lnTo>
                  <a:lnTo>
                    <a:pt x="630" y="289"/>
                  </a:lnTo>
                  <a:lnTo>
                    <a:pt x="622" y="275"/>
                  </a:lnTo>
                  <a:lnTo>
                    <a:pt x="615" y="261"/>
                  </a:lnTo>
                  <a:lnTo>
                    <a:pt x="606" y="248"/>
                  </a:lnTo>
                  <a:lnTo>
                    <a:pt x="596" y="234"/>
                  </a:lnTo>
                  <a:lnTo>
                    <a:pt x="587" y="222"/>
                  </a:lnTo>
                  <a:lnTo>
                    <a:pt x="576" y="210"/>
                  </a:lnTo>
                  <a:lnTo>
                    <a:pt x="565"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25" name="Group 128">
            <a:extLst>
              <a:ext uri="{FF2B5EF4-FFF2-40B4-BE49-F238E27FC236}">
                <a16:creationId xmlns:a16="http://schemas.microsoft.com/office/drawing/2014/main" id="{6BFE3EBB-2B4E-4446-A77C-6D632D2AEBCC}"/>
              </a:ext>
            </a:extLst>
          </p:cNvPr>
          <p:cNvGrpSpPr>
            <a:grpSpLocks noChangeAspect="1"/>
          </p:cNvGrpSpPr>
          <p:nvPr/>
        </p:nvGrpSpPr>
        <p:grpSpPr>
          <a:xfrm>
            <a:off x="2730546" y="3821864"/>
            <a:ext cx="297046" cy="245830"/>
            <a:chOff x="1468438" y="1965325"/>
            <a:chExt cx="276225" cy="228600"/>
          </a:xfrm>
          <a:solidFill>
            <a:schemeClr val="bg1"/>
          </a:solidFill>
          <a:effectLst/>
        </p:grpSpPr>
        <p:sp>
          <p:nvSpPr>
            <p:cNvPr id="626" name="Freeform 111">
              <a:extLst>
                <a:ext uri="{FF2B5EF4-FFF2-40B4-BE49-F238E27FC236}">
                  <a16:creationId xmlns:a16="http://schemas.microsoft.com/office/drawing/2014/main" id="{BAFFD5A5-1D0A-4E8F-9E41-CB7FC441A9D9}"/>
                </a:ext>
              </a:extLst>
            </p:cNvPr>
            <p:cNvSpPr>
              <a:spLocks noEditPoints="1"/>
            </p:cNvSpPr>
            <p:nvPr/>
          </p:nvSpPr>
          <p:spPr bwMode="auto">
            <a:xfrm>
              <a:off x="1468438" y="2117725"/>
              <a:ext cx="49213" cy="76200"/>
            </a:xfrm>
            <a:custGeom>
              <a:avLst/>
              <a:gdLst>
                <a:gd name="T0" fmla="*/ 121 w 151"/>
                <a:gd name="T1" fmla="*/ 211 h 241"/>
                <a:gd name="T2" fmla="*/ 30 w 151"/>
                <a:gd name="T3" fmla="*/ 211 h 241"/>
                <a:gd name="T4" fmla="*/ 30 w 151"/>
                <a:gd name="T5" fmla="*/ 30 h 241"/>
                <a:gd name="T6" fmla="*/ 121 w 151"/>
                <a:gd name="T7" fmla="*/ 30 h 241"/>
                <a:gd name="T8" fmla="*/ 121 w 151"/>
                <a:gd name="T9" fmla="*/ 211 h 241"/>
                <a:gd name="T10" fmla="*/ 136 w 151"/>
                <a:gd name="T11" fmla="*/ 0 h 241"/>
                <a:gd name="T12" fmla="*/ 15 w 151"/>
                <a:gd name="T13" fmla="*/ 0 h 241"/>
                <a:gd name="T14" fmla="*/ 13 w 151"/>
                <a:gd name="T15" fmla="*/ 1 h 241"/>
                <a:gd name="T16" fmla="*/ 10 w 151"/>
                <a:gd name="T17" fmla="*/ 2 h 241"/>
                <a:gd name="T18" fmla="*/ 8 w 151"/>
                <a:gd name="T19" fmla="*/ 3 h 241"/>
                <a:gd name="T20" fmla="*/ 6 w 151"/>
                <a:gd name="T21" fmla="*/ 6 h 241"/>
                <a:gd name="T22" fmla="*/ 4 w 151"/>
                <a:gd name="T23" fmla="*/ 8 h 241"/>
                <a:gd name="T24" fmla="*/ 2 w 151"/>
                <a:gd name="T25" fmla="*/ 10 h 241"/>
                <a:gd name="T26" fmla="*/ 1 w 151"/>
                <a:gd name="T27" fmla="*/ 13 h 241"/>
                <a:gd name="T28" fmla="*/ 0 w 151"/>
                <a:gd name="T29" fmla="*/ 15 h 241"/>
                <a:gd name="T30" fmla="*/ 0 w 151"/>
                <a:gd name="T31" fmla="*/ 226 h 241"/>
                <a:gd name="T32" fmla="*/ 1 w 151"/>
                <a:gd name="T33" fmla="*/ 228 h 241"/>
                <a:gd name="T34" fmla="*/ 2 w 151"/>
                <a:gd name="T35" fmla="*/ 231 h 241"/>
                <a:gd name="T36" fmla="*/ 4 w 151"/>
                <a:gd name="T37" fmla="*/ 233 h 241"/>
                <a:gd name="T38" fmla="*/ 6 w 151"/>
                <a:gd name="T39" fmla="*/ 236 h 241"/>
                <a:gd name="T40" fmla="*/ 8 w 151"/>
                <a:gd name="T41" fmla="*/ 238 h 241"/>
                <a:gd name="T42" fmla="*/ 10 w 151"/>
                <a:gd name="T43" fmla="*/ 240 h 241"/>
                <a:gd name="T44" fmla="*/ 13 w 151"/>
                <a:gd name="T45" fmla="*/ 240 h 241"/>
                <a:gd name="T46" fmla="*/ 15 w 151"/>
                <a:gd name="T47" fmla="*/ 241 h 241"/>
                <a:gd name="T48" fmla="*/ 136 w 151"/>
                <a:gd name="T49" fmla="*/ 241 h 241"/>
                <a:gd name="T50" fmla="*/ 138 w 151"/>
                <a:gd name="T51" fmla="*/ 240 h 241"/>
                <a:gd name="T52" fmla="*/ 142 w 151"/>
                <a:gd name="T53" fmla="*/ 239 h 241"/>
                <a:gd name="T54" fmla="*/ 144 w 151"/>
                <a:gd name="T55" fmla="*/ 238 h 241"/>
                <a:gd name="T56" fmla="*/ 146 w 151"/>
                <a:gd name="T57" fmla="*/ 236 h 241"/>
                <a:gd name="T58" fmla="*/ 148 w 151"/>
                <a:gd name="T59" fmla="*/ 233 h 241"/>
                <a:gd name="T60" fmla="*/ 149 w 151"/>
                <a:gd name="T61" fmla="*/ 231 h 241"/>
                <a:gd name="T62" fmla="*/ 150 w 151"/>
                <a:gd name="T63" fmla="*/ 228 h 241"/>
                <a:gd name="T64" fmla="*/ 151 w 151"/>
                <a:gd name="T65" fmla="*/ 226 h 241"/>
                <a:gd name="T66" fmla="*/ 151 w 151"/>
                <a:gd name="T67" fmla="*/ 15 h 241"/>
                <a:gd name="T68" fmla="*/ 150 w 151"/>
                <a:gd name="T69" fmla="*/ 13 h 241"/>
                <a:gd name="T70" fmla="*/ 149 w 151"/>
                <a:gd name="T71" fmla="*/ 10 h 241"/>
                <a:gd name="T72" fmla="*/ 148 w 151"/>
                <a:gd name="T73" fmla="*/ 8 h 241"/>
                <a:gd name="T74" fmla="*/ 146 w 151"/>
                <a:gd name="T75" fmla="*/ 6 h 241"/>
                <a:gd name="T76" fmla="*/ 144 w 151"/>
                <a:gd name="T77" fmla="*/ 3 h 241"/>
                <a:gd name="T78" fmla="*/ 142 w 151"/>
                <a:gd name="T79" fmla="*/ 2 h 241"/>
                <a:gd name="T80" fmla="*/ 138 w 151"/>
                <a:gd name="T81" fmla="*/ 1 h 241"/>
                <a:gd name="T82" fmla="*/ 136 w 151"/>
                <a:gd name="T83" fmla="*/ 0 h 241"/>
                <a:gd name="T84" fmla="*/ 136 w 15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1" h="241">
                  <a:moveTo>
                    <a:pt x="121" y="211"/>
                  </a:moveTo>
                  <a:lnTo>
                    <a:pt x="30" y="211"/>
                  </a:lnTo>
                  <a:lnTo>
                    <a:pt x="30" y="30"/>
                  </a:lnTo>
                  <a:lnTo>
                    <a:pt x="121" y="30"/>
                  </a:lnTo>
                  <a:lnTo>
                    <a:pt x="121" y="211"/>
                  </a:lnTo>
                  <a:close/>
                  <a:moveTo>
                    <a:pt x="136" y="0"/>
                  </a:moveTo>
                  <a:lnTo>
                    <a:pt x="15" y="0"/>
                  </a:lnTo>
                  <a:lnTo>
                    <a:pt x="13" y="1"/>
                  </a:lnTo>
                  <a:lnTo>
                    <a:pt x="10" y="2"/>
                  </a:lnTo>
                  <a:lnTo>
                    <a:pt x="8" y="3"/>
                  </a:lnTo>
                  <a:lnTo>
                    <a:pt x="6" y="6"/>
                  </a:lnTo>
                  <a:lnTo>
                    <a:pt x="4" y="8"/>
                  </a:lnTo>
                  <a:lnTo>
                    <a:pt x="2" y="10"/>
                  </a:lnTo>
                  <a:lnTo>
                    <a:pt x="1" y="13"/>
                  </a:lnTo>
                  <a:lnTo>
                    <a:pt x="0" y="15"/>
                  </a:lnTo>
                  <a:lnTo>
                    <a:pt x="0" y="226"/>
                  </a:lnTo>
                  <a:lnTo>
                    <a:pt x="1" y="228"/>
                  </a:lnTo>
                  <a:lnTo>
                    <a:pt x="2" y="231"/>
                  </a:lnTo>
                  <a:lnTo>
                    <a:pt x="4" y="233"/>
                  </a:lnTo>
                  <a:lnTo>
                    <a:pt x="6" y="236"/>
                  </a:lnTo>
                  <a:lnTo>
                    <a:pt x="8" y="238"/>
                  </a:lnTo>
                  <a:lnTo>
                    <a:pt x="10" y="240"/>
                  </a:lnTo>
                  <a:lnTo>
                    <a:pt x="13" y="240"/>
                  </a:lnTo>
                  <a:lnTo>
                    <a:pt x="15" y="241"/>
                  </a:lnTo>
                  <a:lnTo>
                    <a:pt x="136" y="241"/>
                  </a:lnTo>
                  <a:lnTo>
                    <a:pt x="138" y="240"/>
                  </a:lnTo>
                  <a:lnTo>
                    <a:pt x="142" y="239"/>
                  </a:lnTo>
                  <a:lnTo>
                    <a:pt x="144" y="238"/>
                  </a:lnTo>
                  <a:lnTo>
                    <a:pt x="146" y="236"/>
                  </a:lnTo>
                  <a:lnTo>
                    <a:pt x="148" y="233"/>
                  </a:lnTo>
                  <a:lnTo>
                    <a:pt x="149" y="231"/>
                  </a:lnTo>
                  <a:lnTo>
                    <a:pt x="150" y="228"/>
                  </a:lnTo>
                  <a:lnTo>
                    <a:pt x="151" y="226"/>
                  </a:lnTo>
                  <a:lnTo>
                    <a:pt x="151" y="15"/>
                  </a:lnTo>
                  <a:lnTo>
                    <a:pt x="150" y="13"/>
                  </a:lnTo>
                  <a:lnTo>
                    <a:pt x="149" y="10"/>
                  </a:lnTo>
                  <a:lnTo>
                    <a:pt x="148" y="8"/>
                  </a:lnTo>
                  <a:lnTo>
                    <a:pt x="146" y="6"/>
                  </a:lnTo>
                  <a:lnTo>
                    <a:pt x="144" y="3"/>
                  </a:lnTo>
                  <a:lnTo>
                    <a:pt x="142" y="2"/>
                  </a:lnTo>
                  <a:lnTo>
                    <a:pt x="138" y="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2">
              <a:extLst>
                <a:ext uri="{FF2B5EF4-FFF2-40B4-BE49-F238E27FC236}">
                  <a16:creationId xmlns:a16="http://schemas.microsoft.com/office/drawing/2014/main" id="{343926D3-20ED-4096-8036-2CA28DB5789B}"/>
                </a:ext>
              </a:extLst>
            </p:cNvPr>
            <p:cNvSpPr>
              <a:spLocks noEditPoints="1"/>
            </p:cNvSpPr>
            <p:nvPr/>
          </p:nvSpPr>
          <p:spPr bwMode="auto">
            <a:xfrm>
              <a:off x="1527175" y="2079625"/>
              <a:ext cx="47625" cy="114300"/>
            </a:xfrm>
            <a:custGeom>
              <a:avLst/>
              <a:gdLst>
                <a:gd name="T0" fmla="*/ 120 w 150"/>
                <a:gd name="T1" fmla="*/ 331 h 361"/>
                <a:gd name="T2" fmla="*/ 30 w 150"/>
                <a:gd name="T3" fmla="*/ 331 h 361"/>
                <a:gd name="T4" fmla="*/ 30 w 150"/>
                <a:gd name="T5" fmla="*/ 30 h 361"/>
                <a:gd name="T6" fmla="*/ 120 w 150"/>
                <a:gd name="T7" fmla="*/ 30 h 361"/>
                <a:gd name="T8" fmla="*/ 120 w 150"/>
                <a:gd name="T9" fmla="*/ 331 h 361"/>
                <a:gd name="T10" fmla="*/ 135 w 150"/>
                <a:gd name="T11" fmla="*/ 0 h 361"/>
                <a:gd name="T12" fmla="*/ 15 w 150"/>
                <a:gd name="T13" fmla="*/ 0 h 361"/>
                <a:gd name="T14" fmla="*/ 12 w 150"/>
                <a:gd name="T15" fmla="*/ 2 h 361"/>
                <a:gd name="T16" fmla="*/ 9 w 150"/>
                <a:gd name="T17" fmla="*/ 2 h 361"/>
                <a:gd name="T18" fmla="*/ 7 w 150"/>
                <a:gd name="T19" fmla="*/ 4 h 361"/>
                <a:gd name="T20" fmla="*/ 4 w 150"/>
                <a:gd name="T21" fmla="*/ 5 h 361"/>
                <a:gd name="T22" fmla="*/ 2 w 150"/>
                <a:gd name="T23" fmla="*/ 8 h 361"/>
                <a:gd name="T24" fmla="*/ 1 w 150"/>
                <a:gd name="T25" fmla="*/ 10 h 361"/>
                <a:gd name="T26" fmla="*/ 0 w 150"/>
                <a:gd name="T27" fmla="*/ 13 h 361"/>
                <a:gd name="T28" fmla="*/ 0 w 150"/>
                <a:gd name="T29" fmla="*/ 15 h 361"/>
                <a:gd name="T30" fmla="*/ 0 w 150"/>
                <a:gd name="T31" fmla="*/ 346 h 361"/>
                <a:gd name="T32" fmla="*/ 0 w 150"/>
                <a:gd name="T33" fmla="*/ 348 h 361"/>
                <a:gd name="T34" fmla="*/ 1 w 150"/>
                <a:gd name="T35" fmla="*/ 351 h 361"/>
                <a:gd name="T36" fmla="*/ 2 w 150"/>
                <a:gd name="T37" fmla="*/ 353 h 361"/>
                <a:gd name="T38" fmla="*/ 4 w 150"/>
                <a:gd name="T39" fmla="*/ 356 h 361"/>
                <a:gd name="T40" fmla="*/ 7 w 150"/>
                <a:gd name="T41" fmla="*/ 358 h 361"/>
                <a:gd name="T42" fmla="*/ 9 w 150"/>
                <a:gd name="T43" fmla="*/ 360 h 361"/>
                <a:gd name="T44" fmla="*/ 12 w 150"/>
                <a:gd name="T45" fmla="*/ 360 h 361"/>
                <a:gd name="T46" fmla="*/ 15 w 150"/>
                <a:gd name="T47" fmla="*/ 361 h 361"/>
                <a:gd name="T48" fmla="*/ 135 w 150"/>
                <a:gd name="T49" fmla="*/ 361 h 361"/>
                <a:gd name="T50" fmla="*/ 137 w 150"/>
                <a:gd name="T51" fmla="*/ 360 h 361"/>
                <a:gd name="T52" fmla="*/ 140 w 150"/>
                <a:gd name="T53" fmla="*/ 359 h 361"/>
                <a:gd name="T54" fmla="*/ 143 w 150"/>
                <a:gd name="T55" fmla="*/ 358 h 361"/>
                <a:gd name="T56" fmla="*/ 146 w 150"/>
                <a:gd name="T57" fmla="*/ 356 h 361"/>
                <a:gd name="T58" fmla="*/ 147 w 150"/>
                <a:gd name="T59" fmla="*/ 353 h 361"/>
                <a:gd name="T60" fmla="*/ 149 w 150"/>
                <a:gd name="T61" fmla="*/ 351 h 361"/>
                <a:gd name="T62" fmla="*/ 149 w 150"/>
                <a:gd name="T63" fmla="*/ 348 h 361"/>
                <a:gd name="T64" fmla="*/ 150 w 150"/>
                <a:gd name="T65" fmla="*/ 346 h 361"/>
                <a:gd name="T66" fmla="*/ 150 w 150"/>
                <a:gd name="T67" fmla="*/ 15 h 361"/>
                <a:gd name="T68" fmla="*/ 149 w 150"/>
                <a:gd name="T69" fmla="*/ 13 h 361"/>
                <a:gd name="T70" fmla="*/ 149 w 150"/>
                <a:gd name="T71" fmla="*/ 10 h 361"/>
                <a:gd name="T72" fmla="*/ 147 w 150"/>
                <a:gd name="T73" fmla="*/ 8 h 361"/>
                <a:gd name="T74" fmla="*/ 146 w 150"/>
                <a:gd name="T75" fmla="*/ 5 h 361"/>
                <a:gd name="T76" fmla="*/ 143 w 150"/>
                <a:gd name="T77" fmla="*/ 4 h 361"/>
                <a:gd name="T78" fmla="*/ 140 w 150"/>
                <a:gd name="T79" fmla="*/ 2 h 361"/>
                <a:gd name="T80" fmla="*/ 137 w 150"/>
                <a:gd name="T81" fmla="*/ 2 h 361"/>
                <a:gd name="T82" fmla="*/ 135 w 150"/>
                <a:gd name="T83" fmla="*/ 0 h 361"/>
                <a:gd name="T84" fmla="*/ 135 w 150"/>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61">
                  <a:moveTo>
                    <a:pt x="120" y="331"/>
                  </a:moveTo>
                  <a:lnTo>
                    <a:pt x="30" y="331"/>
                  </a:lnTo>
                  <a:lnTo>
                    <a:pt x="30" y="30"/>
                  </a:lnTo>
                  <a:lnTo>
                    <a:pt x="120" y="30"/>
                  </a:lnTo>
                  <a:lnTo>
                    <a:pt x="120" y="331"/>
                  </a:lnTo>
                  <a:close/>
                  <a:moveTo>
                    <a:pt x="135" y="0"/>
                  </a:moveTo>
                  <a:lnTo>
                    <a:pt x="15" y="0"/>
                  </a:lnTo>
                  <a:lnTo>
                    <a:pt x="12" y="2"/>
                  </a:lnTo>
                  <a:lnTo>
                    <a:pt x="9" y="2"/>
                  </a:lnTo>
                  <a:lnTo>
                    <a:pt x="7" y="4"/>
                  </a:lnTo>
                  <a:lnTo>
                    <a:pt x="4" y="5"/>
                  </a:lnTo>
                  <a:lnTo>
                    <a:pt x="2" y="8"/>
                  </a:lnTo>
                  <a:lnTo>
                    <a:pt x="1" y="10"/>
                  </a:lnTo>
                  <a:lnTo>
                    <a:pt x="0" y="13"/>
                  </a:lnTo>
                  <a:lnTo>
                    <a:pt x="0" y="15"/>
                  </a:lnTo>
                  <a:lnTo>
                    <a:pt x="0" y="346"/>
                  </a:lnTo>
                  <a:lnTo>
                    <a:pt x="0" y="348"/>
                  </a:lnTo>
                  <a:lnTo>
                    <a:pt x="1" y="351"/>
                  </a:lnTo>
                  <a:lnTo>
                    <a:pt x="2" y="353"/>
                  </a:lnTo>
                  <a:lnTo>
                    <a:pt x="4" y="356"/>
                  </a:lnTo>
                  <a:lnTo>
                    <a:pt x="7" y="358"/>
                  </a:lnTo>
                  <a:lnTo>
                    <a:pt x="9" y="360"/>
                  </a:lnTo>
                  <a:lnTo>
                    <a:pt x="12" y="360"/>
                  </a:lnTo>
                  <a:lnTo>
                    <a:pt x="15" y="361"/>
                  </a:lnTo>
                  <a:lnTo>
                    <a:pt x="135" y="361"/>
                  </a:lnTo>
                  <a:lnTo>
                    <a:pt x="137" y="360"/>
                  </a:lnTo>
                  <a:lnTo>
                    <a:pt x="140" y="359"/>
                  </a:lnTo>
                  <a:lnTo>
                    <a:pt x="143" y="358"/>
                  </a:lnTo>
                  <a:lnTo>
                    <a:pt x="146" y="356"/>
                  </a:lnTo>
                  <a:lnTo>
                    <a:pt x="147" y="353"/>
                  </a:lnTo>
                  <a:lnTo>
                    <a:pt x="149" y="351"/>
                  </a:lnTo>
                  <a:lnTo>
                    <a:pt x="149" y="348"/>
                  </a:lnTo>
                  <a:lnTo>
                    <a:pt x="150" y="346"/>
                  </a:lnTo>
                  <a:lnTo>
                    <a:pt x="150" y="15"/>
                  </a:lnTo>
                  <a:lnTo>
                    <a:pt x="149" y="13"/>
                  </a:lnTo>
                  <a:lnTo>
                    <a:pt x="149" y="10"/>
                  </a:lnTo>
                  <a:lnTo>
                    <a:pt x="147" y="8"/>
                  </a:lnTo>
                  <a:lnTo>
                    <a:pt x="146" y="5"/>
                  </a:lnTo>
                  <a:lnTo>
                    <a:pt x="143" y="4"/>
                  </a:lnTo>
                  <a:lnTo>
                    <a:pt x="140" y="2"/>
                  </a:lnTo>
                  <a:lnTo>
                    <a:pt x="137" y="2"/>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3">
              <a:extLst>
                <a:ext uri="{FF2B5EF4-FFF2-40B4-BE49-F238E27FC236}">
                  <a16:creationId xmlns:a16="http://schemas.microsoft.com/office/drawing/2014/main" id="{6D87FF0D-4A41-4971-B97B-D06F2E7FE971}"/>
                </a:ext>
              </a:extLst>
            </p:cNvPr>
            <p:cNvSpPr>
              <a:spLocks noEditPoints="1"/>
            </p:cNvSpPr>
            <p:nvPr/>
          </p:nvSpPr>
          <p:spPr bwMode="auto">
            <a:xfrm>
              <a:off x="1584325" y="2041525"/>
              <a:ext cx="47625" cy="152400"/>
            </a:xfrm>
            <a:custGeom>
              <a:avLst/>
              <a:gdLst>
                <a:gd name="T0" fmla="*/ 120 w 150"/>
                <a:gd name="T1" fmla="*/ 450 h 480"/>
                <a:gd name="T2" fmla="*/ 30 w 150"/>
                <a:gd name="T3" fmla="*/ 450 h 480"/>
                <a:gd name="T4" fmla="*/ 30 w 150"/>
                <a:gd name="T5" fmla="*/ 30 h 480"/>
                <a:gd name="T6" fmla="*/ 120 w 150"/>
                <a:gd name="T7" fmla="*/ 30 h 480"/>
                <a:gd name="T8" fmla="*/ 120 w 150"/>
                <a:gd name="T9" fmla="*/ 450 h 480"/>
                <a:gd name="T10" fmla="*/ 135 w 150"/>
                <a:gd name="T11" fmla="*/ 0 h 480"/>
                <a:gd name="T12" fmla="*/ 15 w 150"/>
                <a:gd name="T13" fmla="*/ 0 h 480"/>
                <a:gd name="T14" fmla="*/ 12 w 150"/>
                <a:gd name="T15" fmla="*/ 1 h 480"/>
                <a:gd name="T16" fmla="*/ 8 w 150"/>
                <a:gd name="T17" fmla="*/ 1 h 480"/>
                <a:gd name="T18" fmla="*/ 6 w 150"/>
                <a:gd name="T19" fmla="*/ 3 h 480"/>
                <a:gd name="T20" fmla="*/ 4 w 150"/>
                <a:gd name="T21" fmla="*/ 4 h 480"/>
                <a:gd name="T22" fmla="*/ 2 w 150"/>
                <a:gd name="T23" fmla="*/ 6 h 480"/>
                <a:gd name="T24" fmla="*/ 1 w 150"/>
                <a:gd name="T25" fmla="*/ 9 h 480"/>
                <a:gd name="T26" fmla="*/ 0 w 150"/>
                <a:gd name="T27" fmla="*/ 12 h 480"/>
                <a:gd name="T28" fmla="*/ 0 w 150"/>
                <a:gd name="T29" fmla="*/ 15 h 480"/>
                <a:gd name="T30" fmla="*/ 0 w 150"/>
                <a:gd name="T31" fmla="*/ 465 h 480"/>
                <a:gd name="T32" fmla="*/ 0 w 150"/>
                <a:gd name="T33" fmla="*/ 467 h 480"/>
                <a:gd name="T34" fmla="*/ 1 w 150"/>
                <a:gd name="T35" fmla="*/ 470 h 480"/>
                <a:gd name="T36" fmla="*/ 2 w 150"/>
                <a:gd name="T37" fmla="*/ 472 h 480"/>
                <a:gd name="T38" fmla="*/ 4 w 150"/>
                <a:gd name="T39" fmla="*/ 475 h 480"/>
                <a:gd name="T40" fmla="*/ 6 w 150"/>
                <a:gd name="T41" fmla="*/ 477 h 480"/>
                <a:gd name="T42" fmla="*/ 8 w 150"/>
                <a:gd name="T43" fmla="*/ 479 h 480"/>
                <a:gd name="T44" fmla="*/ 12 w 150"/>
                <a:gd name="T45" fmla="*/ 479 h 480"/>
                <a:gd name="T46" fmla="*/ 15 w 150"/>
                <a:gd name="T47" fmla="*/ 480 h 480"/>
                <a:gd name="T48" fmla="*/ 135 w 150"/>
                <a:gd name="T49" fmla="*/ 480 h 480"/>
                <a:gd name="T50" fmla="*/ 138 w 150"/>
                <a:gd name="T51" fmla="*/ 479 h 480"/>
                <a:gd name="T52" fmla="*/ 140 w 150"/>
                <a:gd name="T53" fmla="*/ 478 h 480"/>
                <a:gd name="T54" fmla="*/ 143 w 150"/>
                <a:gd name="T55" fmla="*/ 477 h 480"/>
                <a:gd name="T56" fmla="*/ 145 w 150"/>
                <a:gd name="T57" fmla="*/ 475 h 480"/>
                <a:gd name="T58" fmla="*/ 146 w 150"/>
                <a:gd name="T59" fmla="*/ 472 h 480"/>
                <a:gd name="T60" fmla="*/ 148 w 150"/>
                <a:gd name="T61" fmla="*/ 470 h 480"/>
                <a:gd name="T62" fmla="*/ 148 w 150"/>
                <a:gd name="T63" fmla="*/ 467 h 480"/>
                <a:gd name="T64" fmla="*/ 150 w 150"/>
                <a:gd name="T65" fmla="*/ 465 h 480"/>
                <a:gd name="T66" fmla="*/ 150 w 150"/>
                <a:gd name="T67" fmla="*/ 15 h 480"/>
                <a:gd name="T68" fmla="*/ 148 w 150"/>
                <a:gd name="T69" fmla="*/ 11 h 480"/>
                <a:gd name="T70" fmla="*/ 148 w 150"/>
                <a:gd name="T71" fmla="*/ 9 h 480"/>
                <a:gd name="T72" fmla="*/ 146 w 150"/>
                <a:gd name="T73" fmla="*/ 6 h 480"/>
                <a:gd name="T74" fmla="*/ 145 w 150"/>
                <a:gd name="T75" fmla="*/ 4 h 480"/>
                <a:gd name="T76" fmla="*/ 143 w 150"/>
                <a:gd name="T77" fmla="*/ 3 h 480"/>
                <a:gd name="T78" fmla="*/ 140 w 150"/>
                <a:gd name="T79" fmla="*/ 1 h 480"/>
                <a:gd name="T80" fmla="*/ 138 w 150"/>
                <a:gd name="T81" fmla="*/ 1 h 480"/>
                <a:gd name="T82" fmla="*/ 135 w 150"/>
                <a:gd name="T83" fmla="*/ 0 h 480"/>
                <a:gd name="T84" fmla="*/ 135 w 150"/>
                <a:gd name="T85"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480">
                  <a:moveTo>
                    <a:pt x="120" y="450"/>
                  </a:moveTo>
                  <a:lnTo>
                    <a:pt x="30" y="450"/>
                  </a:lnTo>
                  <a:lnTo>
                    <a:pt x="30" y="30"/>
                  </a:lnTo>
                  <a:lnTo>
                    <a:pt x="120" y="30"/>
                  </a:lnTo>
                  <a:lnTo>
                    <a:pt x="120" y="450"/>
                  </a:lnTo>
                  <a:close/>
                  <a:moveTo>
                    <a:pt x="135" y="0"/>
                  </a:moveTo>
                  <a:lnTo>
                    <a:pt x="15" y="0"/>
                  </a:lnTo>
                  <a:lnTo>
                    <a:pt x="12" y="1"/>
                  </a:lnTo>
                  <a:lnTo>
                    <a:pt x="8" y="1"/>
                  </a:lnTo>
                  <a:lnTo>
                    <a:pt x="6" y="3"/>
                  </a:lnTo>
                  <a:lnTo>
                    <a:pt x="4" y="4"/>
                  </a:lnTo>
                  <a:lnTo>
                    <a:pt x="2" y="6"/>
                  </a:lnTo>
                  <a:lnTo>
                    <a:pt x="1" y="9"/>
                  </a:lnTo>
                  <a:lnTo>
                    <a:pt x="0" y="12"/>
                  </a:lnTo>
                  <a:lnTo>
                    <a:pt x="0" y="15"/>
                  </a:lnTo>
                  <a:lnTo>
                    <a:pt x="0" y="465"/>
                  </a:lnTo>
                  <a:lnTo>
                    <a:pt x="0" y="467"/>
                  </a:lnTo>
                  <a:lnTo>
                    <a:pt x="1" y="470"/>
                  </a:lnTo>
                  <a:lnTo>
                    <a:pt x="2" y="472"/>
                  </a:lnTo>
                  <a:lnTo>
                    <a:pt x="4" y="475"/>
                  </a:lnTo>
                  <a:lnTo>
                    <a:pt x="6" y="477"/>
                  </a:lnTo>
                  <a:lnTo>
                    <a:pt x="8" y="479"/>
                  </a:lnTo>
                  <a:lnTo>
                    <a:pt x="12" y="479"/>
                  </a:lnTo>
                  <a:lnTo>
                    <a:pt x="15" y="480"/>
                  </a:lnTo>
                  <a:lnTo>
                    <a:pt x="135" y="480"/>
                  </a:lnTo>
                  <a:lnTo>
                    <a:pt x="138" y="479"/>
                  </a:lnTo>
                  <a:lnTo>
                    <a:pt x="140" y="478"/>
                  </a:lnTo>
                  <a:lnTo>
                    <a:pt x="143" y="477"/>
                  </a:lnTo>
                  <a:lnTo>
                    <a:pt x="145" y="475"/>
                  </a:lnTo>
                  <a:lnTo>
                    <a:pt x="146" y="472"/>
                  </a:lnTo>
                  <a:lnTo>
                    <a:pt x="148" y="470"/>
                  </a:lnTo>
                  <a:lnTo>
                    <a:pt x="148" y="467"/>
                  </a:lnTo>
                  <a:lnTo>
                    <a:pt x="150" y="465"/>
                  </a:lnTo>
                  <a:lnTo>
                    <a:pt x="150" y="15"/>
                  </a:lnTo>
                  <a:lnTo>
                    <a:pt x="148" y="11"/>
                  </a:lnTo>
                  <a:lnTo>
                    <a:pt x="148" y="9"/>
                  </a:lnTo>
                  <a:lnTo>
                    <a:pt x="146" y="6"/>
                  </a:lnTo>
                  <a:lnTo>
                    <a:pt x="145" y="4"/>
                  </a:lnTo>
                  <a:lnTo>
                    <a:pt x="143" y="3"/>
                  </a:lnTo>
                  <a:lnTo>
                    <a:pt x="140" y="1"/>
                  </a:lnTo>
                  <a:lnTo>
                    <a:pt x="138" y="1"/>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4">
              <a:extLst>
                <a:ext uri="{FF2B5EF4-FFF2-40B4-BE49-F238E27FC236}">
                  <a16:creationId xmlns:a16="http://schemas.microsoft.com/office/drawing/2014/main" id="{8E5391F0-3C4F-4759-AEE5-85EFD71F126B}"/>
                </a:ext>
              </a:extLst>
            </p:cNvPr>
            <p:cNvSpPr>
              <a:spLocks noEditPoints="1"/>
            </p:cNvSpPr>
            <p:nvPr/>
          </p:nvSpPr>
          <p:spPr bwMode="auto">
            <a:xfrm>
              <a:off x="1641475" y="2003425"/>
              <a:ext cx="46038" cy="190500"/>
            </a:xfrm>
            <a:custGeom>
              <a:avLst/>
              <a:gdLst>
                <a:gd name="T0" fmla="*/ 119 w 149"/>
                <a:gd name="T1" fmla="*/ 570 h 600"/>
                <a:gd name="T2" fmla="*/ 29 w 149"/>
                <a:gd name="T3" fmla="*/ 570 h 600"/>
                <a:gd name="T4" fmla="*/ 29 w 149"/>
                <a:gd name="T5" fmla="*/ 30 h 600"/>
                <a:gd name="T6" fmla="*/ 119 w 149"/>
                <a:gd name="T7" fmla="*/ 30 h 600"/>
                <a:gd name="T8" fmla="*/ 119 w 149"/>
                <a:gd name="T9" fmla="*/ 570 h 600"/>
                <a:gd name="T10" fmla="*/ 134 w 149"/>
                <a:gd name="T11" fmla="*/ 0 h 600"/>
                <a:gd name="T12" fmla="*/ 14 w 149"/>
                <a:gd name="T13" fmla="*/ 0 h 600"/>
                <a:gd name="T14" fmla="*/ 11 w 149"/>
                <a:gd name="T15" fmla="*/ 0 h 600"/>
                <a:gd name="T16" fmla="*/ 8 w 149"/>
                <a:gd name="T17" fmla="*/ 1 h 600"/>
                <a:gd name="T18" fmla="*/ 6 w 149"/>
                <a:gd name="T19" fmla="*/ 3 h 600"/>
                <a:gd name="T20" fmla="*/ 4 w 149"/>
                <a:gd name="T21" fmla="*/ 4 h 600"/>
                <a:gd name="T22" fmla="*/ 2 w 149"/>
                <a:gd name="T23" fmla="*/ 6 h 600"/>
                <a:gd name="T24" fmla="*/ 1 w 149"/>
                <a:gd name="T25" fmla="*/ 9 h 600"/>
                <a:gd name="T26" fmla="*/ 0 w 149"/>
                <a:gd name="T27" fmla="*/ 12 h 600"/>
                <a:gd name="T28" fmla="*/ 0 w 149"/>
                <a:gd name="T29" fmla="*/ 15 h 600"/>
                <a:gd name="T30" fmla="*/ 0 w 149"/>
                <a:gd name="T31" fmla="*/ 585 h 600"/>
                <a:gd name="T32" fmla="*/ 0 w 149"/>
                <a:gd name="T33" fmla="*/ 587 h 600"/>
                <a:gd name="T34" fmla="*/ 1 w 149"/>
                <a:gd name="T35" fmla="*/ 590 h 600"/>
                <a:gd name="T36" fmla="*/ 2 w 149"/>
                <a:gd name="T37" fmla="*/ 592 h 600"/>
                <a:gd name="T38" fmla="*/ 4 w 149"/>
                <a:gd name="T39" fmla="*/ 595 h 600"/>
                <a:gd name="T40" fmla="*/ 6 w 149"/>
                <a:gd name="T41" fmla="*/ 597 h 600"/>
                <a:gd name="T42" fmla="*/ 8 w 149"/>
                <a:gd name="T43" fmla="*/ 599 h 600"/>
                <a:gd name="T44" fmla="*/ 11 w 149"/>
                <a:gd name="T45" fmla="*/ 599 h 600"/>
                <a:gd name="T46" fmla="*/ 14 w 149"/>
                <a:gd name="T47" fmla="*/ 600 h 600"/>
                <a:gd name="T48" fmla="*/ 134 w 149"/>
                <a:gd name="T49" fmla="*/ 600 h 600"/>
                <a:gd name="T50" fmla="*/ 137 w 149"/>
                <a:gd name="T51" fmla="*/ 599 h 600"/>
                <a:gd name="T52" fmla="*/ 140 w 149"/>
                <a:gd name="T53" fmla="*/ 598 h 600"/>
                <a:gd name="T54" fmla="*/ 143 w 149"/>
                <a:gd name="T55" fmla="*/ 597 h 600"/>
                <a:gd name="T56" fmla="*/ 145 w 149"/>
                <a:gd name="T57" fmla="*/ 595 h 600"/>
                <a:gd name="T58" fmla="*/ 147 w 149"/>
                <a:gd name="T59" fmla="*/ 592 h 600"/>
                <a:gd name="T60" fmla="*/ 148 w 149"/>
                <a:gd name="T61" fmla="*/ 590 h 600"/>
                <a:gd name="T62" fmla="*/ 149 w 149"/>
                <a:gd name="T63" fmla="*/ 587 h 600"/>
                <a:gd name="T64" fmla="*/ 149 w 149"/>
                <a:gd name="T65" fmla="*/ 585 h 600"/>
                <a:gd name="T66" fmla="*/ 149 w 149"/>
                <a:gd name="T67" fmla="*/ 15 h 600"/>
                <a:gd name="T68" fmla="*/ 149 w 149"/>
                <a:gd name="T69" fmla="*/ 12 h 600"/>
                <a:gd name="T70" fmla="*/ 148 w 149"/>
                <a:gd name="T71" fmla="*/ 9 h 600"/>
                <a:gd name="T72" fmla="*/ 147 w 149"/>
                <a:gd name="T73" fmla="*/ 6 h 600"/>
                <a:gd name="T74" fmla="*/ 145 w 149"/>
                <a:gd name="T75" fmla="*/ 4 h 600"/>
                <a:gd name="T76" fmla="*/ 143 w 149"/>
                <a:gd name="T77" fmla="*/ 3 h 600"/>
                <a:gd name="T78" fmla="*/ 140 w 149"/>
                <a:gd name="T79" fmla="*/ 1 h 600"/>
                <a:gd name="T80" fmla="*/ 137 w 149"/>
                <a:gd name="T81" fmla="*/ 1 h 600"/>
                <a:gd name="T82" fmla="*/ 134 w 149"/>
                <a:gd name="T83" fmla="*/ 0 h 600"/>
                <a:gd name="T84" fmla="*/ 134 w 149"/>
                <a:gd name="T8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00">
                  <a:moveTo>
                    <a:pt x="119" y="570"/>
                  </a:moveTo>
                  <a:lnTo>
                    <a:pt x="29" y="570"/>
                  </a:lnTo>
                  <a:lnTo>
                    <a:pt x="29" y="30"/>
                  </a:lnTo>
                  <a:lnTo>
                    <a:pt x="119" y="30"/>
                  </a:lnTo>
                  <a:lnTo>
                    <a:pt x="119" y="570"/>
                  </a:lnTo>
                  <a:close/>
                  <a:moveTo>
                    <a:pt x="134" y="0"/>
                  </a:moveTo>
                  <a:lnTo>
                    <a:pt x="14" y="0"/>
                  </a:lnTo>
                  <a:lnTo>
                    <a:pt x="11" y="0"/>
                  </a:lnTo>
                  <a:lnTo>
                    <a:pt x="8" y="1"/>
                  </a:lnTo>
                  <a:lnTo>
                    <a:pt x="6" y="3"/>
                  </a:lnTo>
                  <a:lnTo>
                    <a:pt x="4" y="4"/>
                  </a:lnTo>
                  <a:lnTo>
                    <a:pt x="2" y="6"/>
                  </a:lnTo>
                  <a:lnTo>
                    <a:pt x="1" y="9"/>
                  </a:lnTo>
                  <a:lnTo>
                    <a:pt x="0" y="12"/>
                  </a:lnTo>
                  <a:lnTo>
                    <a:pt x="0" y="15"/>
                  </a:lnTo>
                  <a:lnTo>
                    <a:pt x="0" y="585"/>
                  </a:lnTo>
                  <a:lnTo>
                    <a:pt x="0" y="587"/>
                  </a:lnTo>
                  <a:lnTo>
                    <a:pt x="1" y="590"/>
                  </a:lnTo>
                  <a:lnTo>
                    <a:pt x="2" y="592"/>
                  </a:lnTo>
                  <a:lnTo>
                    <a:pt x="4" y="595"/>
                  </a:lnTo>
                  <a:lnTo>
                    <a:pt x="6" y="597"/>
                  </a:lnTo>
                  <a:lnTo>
                    <a:pt x="8" y="599"/>
                  </a:lnTo>
                  <a:lnTo>
                    <a:pt x="11" y="599"/>
                  </a:lnTo>
                  <a:lnTo>
                    <a:pt x="14" y="600"/>
                  </a:lnTo>
                  <a:lnTo>
                    <a:pt x="134" y="600"/>
                  </a:lnTo>
                  <a:lnTo>
                    <a:pt x="137" y="599"/>
                  </a:lnTo>
                  <a:lnTo>
                    <a:pt x="140" y="598"/>
                  </a:lnTo>
                  <a:lnTo>
                    <a:pt x="143" y="597"/>
                  </a:lnTo>
                  <a:lnTo>
                    <a:pt x="145" y="595"/>
                  </a:lnTo>
                  <a:lnTo>
                    <a:pt x="147" y="592"/>
                  </a:lnTo>
                  <a:lnTo>
                    <a:pt x="148" y="590"/>
                  </a:lnTo>
                  <a:lnTo>
                    <a:pt x="149" y="587"/>
                  </a:lnTo>
                  <a:lnTo>
                    <a:pt x="149" y="585"/>
                  </a:lnTo>
                  <a:lnTo>
                    <a:pt x="149" y="15"/>
                  </a:lnTo>
                  <a:lnTo>
                    <a:pt x="149" y="12"/>
                  </a:lnTo>
                  <a:lnTo>
                    <a:pt x="148" y="9"/>
                  </a:lnTo>
                  <a:lnTo>
                    <a:pt x="147" y="6"/>
                  </a:lnTo>
                  <a:lnTo>
                    <a:pt x="145" y="4"/>
                  </a:lnTo>
                  <a:lnTo>
                    <a:pt x="143" y="3"/>
                  </a:lnTo>
                  <a:lnTo>
                    <a:pt x="140" y="1"/>
                  </a:lnTo>
                  <a:lnTo>
                    <a:pt x="137"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5">
              <a:extLst>
                <a:ext uri="{FF2B5EF4-FFF2-40B4-BE49-F238E27FC236}">
                  <a16:creationId xmlns:a16="http://schemas.microsoft.com/office/drawing/2014/main" id="{2B9DF7C2-4BB3-45DB-B337-A50D89072EC7}"/>
                </a:ext>
              </a:extLst>
            </p:cNvPr>
            <p:cNvSpPr>
              <a:spLocks noEditPoints="1"/>
            </p:cNvSpPr>
            <p:nvPr/>
          </p:nvSpPr>
          <p:spPr bwMode="auto">
            <a:xfrm>
              <a:off x="1697038" y="1965325"/>
              <a:ext cx="47625" cy="228600"/>
            </a:xfrm>
            <a:custGeom>
              <a:avLst/>
              <a:gdLst>
                <a:gd name="T0" fmla="*/ 120 w 150"/>
                <a:gd name="T1" fmla="*/ 690 h 720"/>
                <a:gd name="T2" fmla="*/ 30 w 150"/>
                <a:gd name="T3" fmla="*/ 690 h 720"/>
                <a:gd name="T4" fmla="*/ 30 w 150"/>
                <a:gd name="T5" fmla="*/ 30 h 720"/>
                <a:gd name="T6" fmla="*/ 120 w 150"/>
                <a:gd name="T7" fmla="*/ 30 h 720"/>
                <a:gd name="T8" fmla="*/ 120 w 150"/>
                <a:gd name="T9" fmla="*/ 690 h 720"/>
                <a:gd name="T10" fmla="*/ 135 w 150"/>
                <a:gd name="T11" fmla="*/ 0 h 720"/>
                <a:gd name="T12" fmla="*/ 15 w 150"/>
                <a:gd name="T13" fmla="*/ 0 h 720"/>
                <a:gd name="T14" fmla="*/ 12 w 150"/>
                <a:gd name="T15" fmla="*/ 0 h 720"/>
                <a:gd name="T16" fmla="*/ 9 w 150"/>
                <a:gd name="T17" fmla="*/ 1 h 720"/>
                <a:gd name="T18" fmla="*/ 7 w 150"/>
                <a:gd name="T19" fmla="*/ 3 h 720"/>
                <a:gd name="T20" fmla="*/ 4 w 150"/>
                <a:gd name="T21" fmla="*/ 4 h 720"/>
                <a:gd name="T22" fmla="*/ 2 w 150"/>
                <a:gd name="T23" fmla="*/ 6 h 720"/>
                <a:gd name="T24" fmla="*/ 1 w 150"/>
                <a:gd name="T25" fmla="*/ 10 h 720"/>
                <a:gd name="T26" fmla="*/ 0 w 150"/>
                <a:gd name="T27" fmla="*/ 12 h 720"/>
                <a:gd name="T28" fmla="*/ 0 w 150"/>
                <a:gd name="T29" fmla="*/ 15 h 720"/>
                <a:gd name="T30" fmla="*/ 0 w 150"/>
                <a:gd name="T31" fmla="*/ 705 h 720"/>
                <a:gd name="T32" fmla="*/ 0 w 150"/>
                <a:gd name="T33" fmla="*/ 707 h 720"/>
                <a:gd name="T34" fmla="*/ 1 w 150"/>
                <a:gd name="T35" fmla="*/ 710 h 720"/>
                <a:gd name="T36" fmla="*/ 2 w 150"/>
                <a:gd name="T37" fmla="*/ 712 h 720"/>
                <a:gd name="T38" fmla="*/ 4 w 150"/>
                <a:gd name="T39" fmla="*/ 715 h 720"/>
                <a:gd name="T40" fmla="*/ 7 w 150"/>
                <a:gd name="T41" fmla="*/ 717 h 720"/>
                <a:gd name="T42" fmla="*/ 9 w 150"/>
                <a:gd name="T43" fmla="*/ 719 h 720"/>
                <a:gd name="T44" fmla="*/ 12 w 150"/>
                <a:gd name="T45" fmla="*/ 719 h 720"/>
                <a:gd name="T46" fmla="*/ 15 w 150"/>
                <a:gd name="T47" fmla="*/ 720 h 720"/>
                <a:gd name="T48" fmla="*/ 135 w 150"/>
                <a:gd name="T49" fmla="*/ 720 h 720"/>
                <a:gd name="T50" fmla="*/ 138 w 150"/>
                <a:gd name="T51" fmla="*/ 719 h 720"/>
                <a:gd name="T52" fmla="*/ 140 w 150"/>
                <a:gd name="T53" fmla="*/ 718 h 720"/>
                <a:gd name="T54" fmla="*/ 144 w 150"/>
                <a:gd name="T55" fmla="*/ 717 h 720"/>
                <a:gd name="T56" fmla="*/ 146 w 150"/>
                <a:gd name="T57" fmla="*/ 715 h 720"/>
                <a:gd name="T58" fmla="*/ 148 w 150"/>
                <a:gd name="T59" fmla="*/ 712 h 720"/>
                <a:gd name="T60" fmla="*/ 149 w 150"/>
                <a:gd name="T61" fmla="*/ 710 h 720"/>
                <a:gd name="T62" fmla="*/ 150 w 150"/>
                <a:gd name="T63" fmla="*/ 707 h 720"/>
                <a:gd name="T64" fmla="*/ 150 w 150"/>
                <a:gd name="T65" fmla="*/ 705 h 720"/>
                <a:gd name="T66" fmla="*/ 150 w 150"/>
                <a:gd name="T67" fmla="*/ 15 h 720"/>
                <a:gd name="T68" fmla="*/ 150 w 150"/>
                <a:gd name="T69" fmla="*/ 12 h 720"/>
                <a:gd name="T70" fmla="*/ 149 w 150"/>
                <a:gd name="T71" fmla="*/ 10 h 720"/>
                <a:gd name="T72" fmla="*/ 148 w 150"/>
                <a:gd name="T73" fmla="*/ 6 h 720"/>
                <a:gd name="T74" fmla="*/ 146 w 150"/>
                <a:gd name="T75" fmla="*/ 4 h 720"/>
                <a:gd name="T76" fmla="*/ 144 w 150"/>
                <a:gd name="T77" fmla="*/ 3 h 720"/>
                <a:gd name="T78" fmla="*/ 140 w 150"/>
                <a:gd name="T79" fmla="*/ 1 h 720"/>
                <a:gd name="T80" fmla="*/ 138 w 150"/>
                <a:gd name="T81" fmla="*/ 0 h 720"/>
                <a:gd name="T82" fmla="*/ 135 w 150"/>
                <a:gd name="T83" fmla="*/ 0 h 720"/>
                <a:gd name="T84" fmla="*/ 135 w 150"/>
                <a:gd name="T8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20">
                  <a:moveTo>
                    <a:pt x="120" y="690"/>
                  </a:moveTo>
                  <a:lnTo>
                    <a:pt x="30" y="690"/>
                  </a:lnTo>
                  <a:lnTo>
                    <a:pt x="30" y="30"/>
                  </a:lnTo>
                  <a:lnTo>
                    <a:pt x="120" y="30"/>
                  </a:lnTo>
                  <a:lnTo>
                    <a:pt x="120" y="690"/>
                  </a:lnTo>
                  <a:close/>
                  <a:moveTo>
                    <a:pt x="135" y="0"/>
                  </a:moveTo>
                  <a:lnTo>
                    <a:pt x="15" y="0"/>
                  </a:lnTo>
                  <a:lnTo>
                    <a:pt x="12" y="0"/>
                  </a:lnTo>
                  <a:lnTo>
                    <a:pt x="9" y="1"/>
                  </a:lnTo>
                  <a:lnTo>
                    <a:pt x="7" y="3"/>
                  </a:lnTo>
                  <a:lnTo>
                    <a:pt x="4" y="4"/>
                  </a:lnTo>
                  <a:lnTo>
                    <a:pt x="2" y="6"/>
                  </a:lnTo>
                  <a:lnTo>
                    <a:pt x="1" y="10"/>
                  </a:lnTo>
                  <a:lnTo>
                    <a:pt x="0" y="12"/>
                  </a:lnTo>
                  <a:lnTo>
                    <a:pt x="0" y="15"/>
                  </a:lnTo>
                  <a:lnTo>
                    <a:pt x="0" y="705"/>
                  </a:lnTo>
                  <a:lnTo>
                    <a:pt x="0" y="707"/>
                  </a:lnTo>
                  <a:lnTo>
                    <a:pt x="1" y="710"/>
                  </a:lnTo>
                  <a:lnTo>
                    <a:pt x="2" y="712"/>
                  </a:lnTo>
                  <a:lnTo>
                    <a:pt x="4" y="715"/>
                  </a:lnTo>
                  <a:lnTo>
                    <a:pt x="7" y="717"/>
                  </a:lnTo>
                  <a:lnTo>
                    <a:pt x="9" y="719"/>
                  </a:lnTo>
                  <a:lnTo>
                    <a:pt x="12" y="719"/>
                  </a:lnTo>
                  <a:lnTo>
                    <a:pt x="15" y="720"/>
                  </a:lnTo>
                  <a:lnTo>
                    <a:pt x="135" y="720"/>
                  </a:lnTo>
                  <a:lnTo>
                    <a:pt x="138" y="719"/>
                  </a:lnTo>
                  <a:lnTo>
                    <a:pt x="140" y="718"/>
                  </a:lnTo>
                  <a:lnTo>
                    <a:pt x="144" y="717"/>
                  </a:lnTo>
                  <a:lnTo>
                    <a:pt x="146" y="715"/>
                  </a:lnTo>
                  <a:lnTo>
                    <a:pt x="148" y="712"/>
                  </a:lnTo>
                  <a:lnTo>
                    <a:pt x="149" y="710"/>
                  </a:lnTo>
                  <a:lnTo>
                    <a:pt x="150" y="707"/>
                  </a:lnTo>
                  <a:lnTo>
                    <a:pt x="150" y="705"/>
                  </a:lnTo>
                  <a:lnTo>
                    <a:pt x="150" y="15"/>
                  </a:lnTo>
                  <a:lnTo>
                    <a:pt x="150" y="12"/>
                  </a:lnTo>
                  <a:lnTo>
                    <a:pt x="149" y="10"/>
                  </a:lnTo>
                  <a:lnTo>
                    <a:pt x="148" y="6"/>
                  </a:lnTo>
                  <a:lnTo>
                    <a:pt x="146" y="4"/>
                  </a:lnTo>
                  <a:lnTo>
                    <a:pt x="144" y="3"/>
                  </a:lnTo>
                  <a:lnTo>
                    <a:pt x="140" y="1"/>
                  </a:lnTo>
                  <a:lnTo>
                    <a:pt x="138" y="0"/>
                  </a:lnTo>
                  <a:lnTo>
                    <a:pt x="135"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75" name="Gruppieren 1174">
            <a:extLst>
              <a:ext uri="{FF2B5EF4-FFF2-40B4-BE49-F238E27FC236}">
                <a16:creationId xmlns:a16="http://schemas.microsoft.com/office/drawing/2014/main" id="{68D746EE-F0D6-4C40-9587-6E0807A61988}"/>
              </a:ext>
            </a:extLst>
          </p:cNvPr>
          <p:cNvGrpSpPr>
            <a:grpSpLocks noChangeAspect="1"/>
          </p:cNvGrpSpPr>
          <p:nvPr/>
        </p:nvGrpSpPr>
        <p:grpSpPr>
          <a:xfrm>
            <a:off x="2736259" y="5956111"/>
            <a:ext cx="285619" cy="285619"/>
            <a:chOff x="3174198" y="6317331"/>
            <a:chExt cx="360000" cy="360000"/>
          </a:xfrm>
          <a:solidFill>
            <a:schemeClr val="bg1"/>
          </a:solidFill>
        </p:grpSpPr>
        <p:sp>
          <p:nvSpPr>
            <p:cNvPr id="1176" name="Freeform 5">
              <a:extLst>
                <a:ext uri="{FF2B5EF4-FFF2-40B4-BE49-F238E27FC236}">
                  <a16:creationId xmlns:a16="http://schemas.microsoft.com/office/drawing/2014/main" id="{0B478D92-0F2A-45BD-B7C2-EF6FFC024C0B}"/>
                </a:ext>
              </a:extLst>
            </p:cNvPr>
            <p:cNvSpPr>
              <a:spLocks noEditPoints="1"/>
            </p:cNvSpPr>
            <p:nvPr/>
          </p:nvSpPr>
          <p:spPr bwMode="auto">
            <a:xfrm>
              <a:off x="3241912" y="6403903"/>
              <a:ext cx="224571" cy="186857"/>
            </a:xfrm>
            <a:custGeom>
              <a:avLst/>
              <a:gdLst>
                <a:gd name="T0" fmla="*/ 693 w 1111"/>
                <a:gd name="T1" fmla="*/ 924 h 924"/>
                <a:gd name="T2" fmla="*/ 370 w 1111"/>
                <a:gd name="T3" fmla="*/ 924 h 924"/>
                <a:gd name="T4" fmla="*/ 349 w 1111"/>
                <a:gd name="T5" fmla="*/ 911 h 924"/>
                <a:gd name="T6" fmla="*/ 352 w 1111"/>
                <a:gd name="T7" fmla="*/ 886 h 924"/>
                <a:gd name="T8" fmla="*/ 597 w 1111"/>
                <a:gd name="T9" fmla="*/ 601 h 924"/>
                <a:gd name="T10" fmla="*/ 23 w 1111"/>
                <a:gd name="T11" fmla="*/ 601 h 924"/>
                <a:gd name="T12" fmla="*/ 0 w 1111"/>
                <a:gd name="T13" fmla="*/ 578 h 924"/>
                <a:gd name="T14" fmla="*/ 0 w 1111"/>
                <a:gd name="T15" fmla="*/ 347 h 924"/>
                <a:gd name="T16" fmla="*/ 23 w 1111"/>
                <a:gd name="T17" fmla="*/ 323 h 924"/>
                <a:gd name="T18" fmla="*/ 597 w 1111"/>
                <a:gd name="T19" fmla="*/ 323 h 924"/>
                <a:gd name="T20" fmla="*/ 352 w 1111"/>
                <a:gd name="T21" fmla="*/ 38 h 924"/>
                <a:gd name="T22" fmla="*/ 349 w 1111"/>
                <a:gd name="T23" fmla="*/ 13 h 924"/>
                <a:gd name="T24" fmla="*/ 370 w 1111"/>
                <a:gd name="T25" fmla="*/ 0 h 924"/>
                <a:gd name="T26" fmla="*/ 693 w 1111"/>
                <a:gd name="T27" fmla="*/ 0 h 924"/>
                <a:gd name="T28" fmla="*/ 710 w 1111"/>
                <a:gd name="T29" fmla="*/ 8 h 924"/>
                <a:gd name="T30" fmla="*/ 1103 w 1111"/>
                <a:gd name="T31" fmla="*/ 447 h 924"/>
                <a:gd name="T32" fmla="*/ 1103 w 1111"/>
                <a:gd name="T33" fmla="*/ 477 h 924"/>
                <a:gd name="T34" fmla="*/ 710 w 1111"/>
                <a:gd name="T35" fmla="*/ 916 h 924"/>
                <a:gd name="T36" fmla="*/ 693 w 1111"/>
                <a:gd name="T37" fmla="*/ 924 h 924"/>
                <a:gd name="T38" fmla="*/ 420 w 1111"/>
                <a:gd name="T39" fmla="*/ 878 h 924"/>
                <a:gd name="T40" fmla="*/ 683 w 1111"/>
                <a:gd name="T41" fmla="*/ 878 h 924"/>
                <a:gd name="T42" fmla="*/ 1055 w 1111"/>
                <a:gd name="T43" fmla="*/ 462 h 924"/>
                <a:gd name="T44" fmla="*/ 683 w 1111"/>
                <a:gd name="T45" fmla="*/ 46 h 924"/>
                <a:gd name="T46" fmla="*/ 420 w 1111"/>
                <a:gd name="T47" fmla="*/ 46 h 924"/>
                <a:gd name="T48" fmla="*/ 665 w 1111"/>
                <a:gd name="T49" fmla="*/ 331 h 924"/>
                <a:gd name="T50" fmla="*/ 668 w 1111"/>
                <a:gd name="T51" fmla="*/ 356 h 924"/>
                <a:gd name="T52" fmla="*/ 647 w 1111"/>
                <a:gd name="T53" fmla="*/ 370 h 924"/>
                <a:gd name="T54" fmla="*/ 46 w 1111"/>
                <a:gd name="T55" fmla="*/ 370 h 924"/>
                <a:gd name="T56" fmla="*/ 46 w 1111"/>
                <a:gd name="T57" fmla="*/ 554 h 924"/>
                <a:gd name="T58" fmla="*/ 647 w 1111"/>
                <a:gd name="T59" fmla="*/ 554 h 924"/>
                <a:gd name="T60" fmla="*/ 668 w 1111"/>
                <a:gd name="T61" fmla="*/ 568 h 924"/>
                <a:gd name="T62" fmla="*/ 665 w 1111"/>
                <a:gd name="T63" fmla="*/ 593 h 924"/>
                <a:gd name="T64" fmla="*/ 420 w 1111"/>
                <a:gd name="T65" fmla="*/ 878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1" h="924">
                  <a:moveTo>
                    <a:pt x="693" y="924"/>
                  </a:moveTo>
                  <a:cubicBezTo>
                    <a:pt x="370" y="924"/>
                    <a:pt x="370" y="924"/>
                    <a:pt x="370" y="924"/>
                  </a:cubicBezTo>
                  <a:cubicBezTo>
                    <a:pt x="361" y="924"/>
                    <a:pt x="353" y="919"/>
                    <a:pt x="349" y="911"/>
                  </a:cubicBezTo>
                  <a:cubicBezTo>
                    <a:pt x="345" y="902"/>
                    <a:pt x="346" y="893"/>
                    <a:pt x="352" y="886"/>
                  </a:cubicBezTo>
                  <a:cubicBezTo>
                    <a:pt x="597" y="601"/>
                    <a:pt x="597" y="601"/>
                    <a:pt x="597" y="601"/>
                  </a:cubicBezTo>
                  <a:cubicBezTo>
                    <a:pt x="23" y="601"/>
                    <a:pt x="23" y="601"/>
                    <a:pt x="23" y="601"/>
                  </a:cubicBezTo>
                  <a:cubicBezTo>
                    <a:pt x="11" y="601"/>
                    <a:pt x="0" y="590"/>
                    <a:pt x="0" y="578"/>
                  </a:cubicBezTo>
                  <a:cubicBezTo>
                    <a:pt x="0" y="347"/>
                    <a:pt x="0" y="347"/>
                    <a:pt x="0" y="347"/>
                  </a:cubicBezTo>
                  <a:cubicBezTo>
                    <a:pt x="0" y="334"/>
                    <a:pt x="11" y="323"/>
                    <a:pt x="23" y="323"/>
                  </a:cubicBezTo>
                  <a:cubicBezTo>
                    <a:pt x="597" y="323"/>
                    <a:pt x="597" y="323"/>
                    <a:pt x="597" y="323"/>
                  </a:cubicBezTo>
                  <a:cubicBezTo>
                    <a:pt x="352" y="38"/>
                    <a:pt x="352" y="38"/>
                    <a:pt x="352" y="38"/>
                  </a:cubicBezTo>
                  <a:cubicBezTo>
                    <a:pt x="346" y="31"/>
                    <a:pt x="345" y="22"/>
                    <a:pt x="349" y="13"/>
                  </a:cubicBezTo>
                  <a:cubicBezTo>
                    <a:pt x="353" y="5"/>
                    <a:pt x="361" y="0"/>
                    <a:pt x="370" y="0"/>
                  </a:cubicBezTo>
                  <a:cubicBezTo>
                    <a:pt x="693" y="0"/>
                    <a:pt x="693" y="0"/>
                    <a:pt x="693" y="0"/>
                  </a:cubicBezTo>
                  <a:cubicBezTo>
                    <a:pt x="700" y="0"/>
                    <a:pt x="706" y="3"/>
                    <a:pt x="710" y="8"/>
                  </a:cubicBezTo>
                  <a:cubicBezTo>
                    <a:pt x="1103" y="447"/>
                    <a:pt x="1103" y="447"/>
                    <a:pt x="1103" y="447"/>
                  </a:cubicBezTo>
                  <a:cubicBezTo>
                    <a:pt x="1111" y="455"/>
                    <a:pt x="1111" y="469"/>
                    <a:pt x="1103" y="477"/>
                  </a:cubicBezTo>
                  <a:cubicBezTo>
                    <a:pt x="710" y="916"/>
                    <a:pt x="710" y="916"/>
                    <a:pt x="710" y="916"/>
                  </a:cubicBezTo>
                  <a:cubicBezTo>
                    <a:pt x="706" y="921"/>
                    <a:pt x="700" y="924"/>
                    <a:pt x="693" y="924"/>
                  </a:cubicBezTo>
                  <a:close/>
                  <a:moveTo>
                    <a:pt x="420" y="878"/>
                  </a:moveTo>
                  <a:cubicBezTo>
                    <a:pt x="683" y="878"/>
                    <a:pt x="683" y="878"/>
                    <a:pt x="683" y="878"/>
                  </a:cubicBezTo>
                  <a:cubicBezTo>
                    <a:pt x="1055" y="462"/>
                    <a:pt x="1055" y="462"/>
                    <a:pt x="1055" y="462"/>
                  </a:cubicBezTo>
                  <a:cubicBezTo>
                    <a:pt x="683" y="46"/>
                    <a:pt x="683" y="46"/>
                    <a:pt x="683" y="46"/>
                  </a:cubicBezTo>
                  <a:cubicBezTo>
                    <a:pt x="420" y="46"/>
                    <a:pt x="420" y="46"/>
                    <a:pt x="420" y="46"/>
                  </a:cubicBezTo>
                  <a:cubicBezTo>
                    <a:pt x="665" y="331"/>
                    <a:pt x="665" y="331"/>
                    <a:pt x="665" y="331"/>
                  </a:cubicBezTo>
                  <a:cubicBezTo>
                    <a:pt x="670" y="338"/>
                    <a:pt x="672" y="348"/>
                    <a:pt x="668" y="356"/>
                  </a:cubicBezTo>
                  <a:cubicBezTo>
                    <a:pt x="664" y="364"/>
                    <a:pt x="656" y="370"/>
                    <a:pt x="647" y="370"/>
                  </a:cubicBezTo>
                  <a:cubicBezTo>
                    <a:pt x="46" y="370"/>
                    <a:pt x="46" y="370"/>
                    <a:pt x="46" y="370"/>
                  </a:cubicBezTo>
                  <a:cubicBezTo>
                    <a:pt x="46" y="554"/>
                    <a:pt x="46" y="554"/>
                    <a:pt x="46" y="554"/>
                  </a:cubicBezTo>
                  <a:cubicBezTo>
                    <a:pt x="647" y="554"/>
                    <a:pt x="647" y="554"/>
                    <a:pt x="647" y="554"/>
                  </a:cubicBezTo>
                  <a:cubicBezTo>
                    <a:pt x="656" y="554"/>
                    <a:pt x="664" y="560"/>
                    <a:pt x="668" y="568"/>
                  </a:cubicBezTo>
                  <a:cubicBezTo>
                    <a:pt x="672" y="576"/>
                    <a:pt x="670" y="586"/>
                    <a:pt x="665" y="593"/>
                  </a:cubicBezTo>
                  <a:lnTo>
                    <a:pt x="420" y="878"/>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77" name="Freeform 407">
              <a:extLst>
                <a:ext uri="{FF2B5EF4-FFF2-40B4-BE49-F238E27FC236}">
                  <a16:creationId xmlns:a16="http://schemas.microsoft.com/office/drawing/2014/main" id="{5FE10082-661C-4750-A99B-D69A4C8C860B}"/>
                </a:ext>
              </a:extLst>
            </p:cNvPr>
            <p:cNvSpPr>
              <a:spLocks noEditPoints="1"/>
            </p:cNvSpPr>
            <p:nvPr/>
          </p:nvSpPr>
          <p:spPr bwMode="auto">
            <a:xfrm>
              <a:off x="3174198" y="6317331"/>
              <a:ext cx="360000" cy="360000"/>
            </a:xfrm>
            <a:custGeom>
              <a:avLst/>
              <a:gdLst>
                <a:gd name="T0" fmla="*/ 242 w 597"/>
                <a:gd name="T1" fmla="*/ 25 h 596"/>
                <a:gd name="T2" fmla="*/ 179 w 597"/>
                <a:gd name="T3" fmla="*/ 48 h 596"/>
                <a:gd name="T4" fmla="*/ 123 w 597"/>
                <a:gd name="T5" fmla="*/ 83 h 596"/>
                <a:gd name="T6" fmla="*/ 76 w 597"/>
                <a:gd name="T7" fmla="*/ 132 h 596"/>
                <a:gd name="T8" fmla="*/ 43 w 597"/>
                <a:gd name="T9" fmla="*/ 190 h 596"/>
                <a:gd name="T10" fmla="*/ 24 w 597"/>
                <a:gd name="T11" fmla="*/ 256 h 596"/>
                <a:gd name="T12" fmla="*/ 22 w 597"/>
                <a:gd name="T13" fmla="*/ 326 h 596"/>
                <a:gd name="T14" fmla="*/ 37 w 597"/>
                <a:gd name="T15" fmla="*/ 393 h 596"/>
                <a:gd name="T16" fmla="*/ 69 w 597"/>
                <a:gd name="T17" fmla="*/ 454 h 596"/>
                <a:gd name="T18" fmla="*/ 112 w 597"/>
                <a:gd name="T19" fmla="*/ 503 h 596"/>
                <a:gd name="T20" fmla="*/ 167 w 597"/>
                <a:gd name="T21" fmla="*/ 542 h 596"/>
                <a:gd name="T22" fmla="*/ 229 w 597"/>
                <a:gd name="T23" fmla="*/ 567 h 596"/>
                <a:gd name="T24" fmla="*/ 299 w 597"/>
                <a:gd name="T25" fmla="*/ 576 h 596"/>
                <a:gd name="T26" fmla="*/ 369 w 597"/>
                <a:gd name="T27" fmla="*/ 567 h 596"/>
                <a:gd name="T28" fmla="*/ 431 w 597"/>
                <a:gd name="T29" fmla="*/ 542 h 596"/>
                <a:gd name="T30" fmla="*/ 485 w 597"/>
                <a:gd name="T31" fmla="*/ 503 h 596"/>
                <a:gd name="T32" fmla="*/ 530 w 597"/>
                <a:gd name="T33" fmla="*/ 454 h 596"/>
                <a:gd name="T34" fmla="*/ 560 w 597"/>
                <a:gd name="T35" fmla="*/ 393 h 596"/>
                <a:gd name="T36" fmla="*/ 575 w 597"/>
                <a:gd name="T37" fmla="*/ 326 h 596"/>
                <a:gd name="T38" fmla="*/ 574 w 597"/>
                <a:gd name="T39" fmla="*/ 256 h 596"/>
                <a:gd name="T40" fmla="*/ 554 w 597"/>
                <a:gd name="T41" fmla="*/ 190 h 596"/>
                <a:gd name="T42" fmla="*/ 522 w 597"/>
                <a:gd name="T43" fmla="*/ 132 h 596"/>
                <a:gd name="T44" fmla="*/ 476 w 597"/>
                <a:gd name="T45" fmla="*/ 83 h 596"/>
                <a:gd name="T46" fmla="*/ 420 w 597"/>
                <a:gd name="T47" fmla="*/ 48 h 596"/>
                <a:gd name="T48" fmla="*/ 355 w 597"/>
                <a:gd name="T49" fmla="*/ 25 h 596"/>
                <a:gd name="T50" fmla="*/ 299 w 597"/>
                <a:gd name="T51" fmla="*/ 596 h 596"/>
                <a:gd name="T52" fmla="*/ 224 w 597"/>
                <a:gd name="T53" fmla="*/ 587 h 596"/>
                <a:gd name="T54" fmla="*/ 157 w 597"/>
                <a:gd name="T55" fmla="*/ 560 h 596"/>
                <a:gd name="T56" fmla="*/ 99 w 597"/>
                <a:gd name="T57" fmla="*/ 519 h 596"/>
                <a:gd name="T58" fmla="*/ 52 w 597"/>
                <a:gd name="T59" fmla="*/ 465 h 596"/>
                <a:gd name="T60" fmla="*/ 19 w 597"/>
                <a:gd name="T61" fmla="*/ 400 h 596"/>
                <a:gd name="T62" fmla="*/ 3 w 597"/>
                <a:gd name="T63" fmla="*/ 328 h 596"/>
                <a:gd name="T64" fmla="*/ 5 w 597"/>
                <a:gd name="T65" fmla="*/ 253 h 596"/>
                <a:gd name="T66" fmla="*/ 24 w 597"/>
                <a:gd name="T67" fmla="*/ 182 h 596"/>
                <a:gd name="T68" fmla="*/ 60 w 597"/>
                <a:gd name="T69" fmla="*/ 120 h 596"/>
                <a:gd name="T70" fmla="*/ 110 w 597"/>
                <a:gd name="T71" fmla="*/ 68 h 596"/>
                <a:gd name="T72" fmla="*/ 170 w 597"/>
                <a:gd name="T73" fmla="*/ 29 h 596"/>
                <a:gd name="T74" fmla="*/ 239 w 597"/>
                <a:gd name="T75" fmla="*/ 6 h 596"/>
                <a:gd name="T76" fmla="*/ 314 w 597"/>
                <a:gd name="T77" fmla="*/ 0 h 596"/>
                <a:gd name="T78" fmla="*/ 387 w 597"/>
                <a:gd name="T79" fmla="*/ 13 h 596"/>
                <a:gd name="T80" fmla="*/ 453 w 597"/>
                <a:gd name="T81" fmla="*/ 43 h 596"/>
                <a:gd name="T82" fmla="*/ 509 w 597"/>
                <a:gd name="T83" fmla="*/ 88 h 596"/>
                <a:gd name="T84" fmla="*/ 553 w 597"/>
                <a:gd name="T85" fmla="*/ 144 h 596"/>
                <a:gd name="T86" fmla="*/ 584 w 597"/>
                <a:gd name="T87" fmla="*/ 210 h 596"/>
                <a:gd name="T88" fmla="*/ 597 w 597"/>
                <a:gd name="T89" fmla="*/ 282 h 596"/>
                <a:gd name="T90" fmla="*/ 591 w 597"/>
                <a:gd name="T91" fmla="*/ 358 h 596"/>
                <a:gd name="T92" fmla="*/ 567 w 597"/>
                <a:gd name="T93" fmla="*/ 427 h 596"/>
                <a:gd name="T94" fmla="*/ 529 w 597"/>
                <a:gd name="T95" fmla="*/ 487 h 596"/>
                <a:gd name="T96" fmla="*/ 477 w 597"/>
                <a:gd name="T97" fmla="*/ 537 h 596"/>
                <a:gd name="T98" fmla="*/ 415 w 597"/>
                <a:gd name="T99" fmla="*/ 573 h 596"/>
                <a:gd name="T100" fmla="*/ 344 w 597"/>
                <a:gd name="T101" fmla="*/ 59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7" h="596">
                  <a:moveTo>
                    <a:pt x="299" y="20"/>
                  </a:moveTo>
                  <a:lnTo>
                    <a:pt x="285" y="21"/>
                  </a:lnTo>
                  <a:lnTo>
                    <a:pt x="270" y="22"/>
                  </a:lnTo>
                  <a:lnTo>
                    <a:pt x="256" y="23"/>
                  </a:lnTo>
                  <a:lnTo>
                    <a:pt x="242" y="25"/>
                  </a:lnTo>
                  <a:lnTo>
                    <a:pt x="229" y="28"/>
                  </a:lnTo>
                  <a:lnTo>
                    <a:pt x="216" y="33"/>
                  </a:lnTo>
                  <a:lnTo>
                    <a:pt x="204" y="37"/>
                  </a:lnTo>
                  <a:lnTo>
                    <a:pt x="191" y="41"/>
                  </a:lnTo>
                  <a:lnTo>
                    <a:pt x="179" y="48"/>
                  </a:lnTo>
                  <a:lnTo>
                    <a:pt x="167" y="53"/>
                  </a:lnTo>
                  <a:lnTo>
                    <a:pt x="155" y="61"/>
                  </a:lnTo>
                  <a:lnTo>
                    <a:pt x="143" y="67"/>
                  </a:lnTo>
                  <a:lnTo>
                    <a:pt x="132" y="75"/>
                  </a:lnTo>
                  <a:lnTo>
                    <a:pt x="123" y="83"/>
                  </a:lnTo>
                  <a:lnTo>
                    <a:pt x="112" y="92"/>
                  </a:lnTo>
                  <a:lnTo>
                    <a:pt x="102" y="102"/>
                  </a:lnTo>
                  <a:lnTo>
                    <a:pt x="93" y="111"/>
                  </a:lnTo>
                  <a:lnTo>
                    <a:pt x="85" y="121"/>
                  </a:lnTo>
                  <a:lnTo>
                    <a:pt x="76" y="132"/>
                  </a:lnTo>
                  <a:lnTo>
                    <a:pt x="69" y="143"/>
                  </a:lnTo>
                  <a:lnTo>
                    <a:pt x="61" y="153"/>
                  </a:lnTo>
                  <a:lnTo>
                    <a:pt x="54" y="165"/>
                  </a:lnTo>
                  <a:lnTo>
                    <a:pt x="48" y="177"/>
                  </a:lnTo>
                  <a:lnTo>
                    <a:pt x="43" y="190"/>
                  </a:lnTo>
                  <a:lnTo>
                    <a:pt x="37" y="202"/>
                  </a:lnTo>
                  <a:lnTo>
                    <a:pt x="33" y="215"/>
                  </a:lnTo>
                  <a:lnTo>
                    <a:pt x="30" y="228"/>
                  </a:lnTo>
                  <a:lnTo>
                    <a:pt x="26" y="242"/>
                  </a:lnTo>
                  <a:lnTo>
                    <a:pt x="24" y="256"/>
                  </a:lnTo>
                  <a:lnTo>
                    <a:pt x="22" y="269"/>
                  </a:lnTo>
                  <a:lnTo>
                    <a:pt x="21" y="283"/>
                  </a:lnTo>
                  <a:lnTo>
                    <a:pt x="21" y="298"/>
                  </a:lnTo>
                  <a:lnTo>
                    <a:pt x="21" y="312"/>
                  </a:lnTo>
                  <a:lnTo>
                    <a:pt x="22" y="326"/>
                  </a:lnTo>
                  <a:lnTo>
                    <a:pt x="24" y="340"/>
                  </a:lnTo>
                  <a:lnTo>
                    <a:pt x="26" y="353"/>
                  </a:lnTo>
                  <a:lnTo>
                    <a:pt x="30" y="367"/>
                  </a:lnTo>
                  <a:lnTo>
                    <a:pt x="33" y="380"/>
                  </a:lnTo>
                  <a:lnTo>
                    <a:pt x="37" y="393"/>
                  </a:lnTo>
                  <a:lnTo>
                    <a:pt x="43" y="406"/>
                  </a:lnTo>
                  <a:lnTo>
                    <a:pt x="48" y="418"/>
                  </a:lnTo>
                  <a:lnTo>
                    <a:pt x="54" y="430"/>
                  </a:lnTo>
                  <a:lnTo>
                    <a:pt x="61" y="442"/>
                  </a:lnTo>
                  <a:lnTo>
                    <a:pt x="69" y="454"/>
                  </a:lnTo>
                  <a:lnTo>
                    <a:pt x="76" y="465"/>
                  </a:lnTo>
                  <a:lnTo>
                    <a:pt x="85" y="474"/>
                  </a:lnTo>
                  <a:lnTo>
                    <a:pt x="93" y="485"/>
                  </a:lnTo>
                  <a:lnTo>
                    <a:pt x="102" y="495"/>
                  </a:lnTo>
                  <a:lnTo>
                    <a:pt x="112" y="503"/>
                  </a:lnTo>
                  <a:lnTo>
                    <a:pt x="123" y="512"/>
                  </a:lnTo>
                  <a:lnTo>
                    <a:pt x="132" y="521"/>
                  </a:lnTo>
                  <a:lnTo>
                    <a:pt x="143" y="528"/>
                  </a:lnTo>
                  <a:lnTo>
                    <a:pt x="155" y="536"/>
                  </a:lnTo>
                  <a:lnTo>
                    <a:pt x="167" y="542"/>
                  </a:lnTo>
                  <a:lnTo>
                    <a:pt x="179" y="549"/>
                  </a:lnTo>
                  <a:lnTo>
                    <a:pt x="191" y="554"/>
                  </a:lnTo>
                  <a:lnTo>
                    <a:pt x="204" y="558"/>
                  </a:lnTo>
                  <a:lnTo>
                    <a:pt x="216" y="564"/>
                  </a:lnTo>
                  <a:lnTo>
                    <a:pt x="229" y="567"/>
                  </a:lnTo>
                  <a:lnTo>
                    <a:pt x="242" y="570"/>
                  </a:lnTo>
                  <a:lnTo>
                    <a:pt x="256" y="573"/>
                  </a:lnTo>
                  <a:lnTo>
                    <a:pt x="270" y="575"/>
                  </a:lnTo>
                  <a:lnTo>
                    <a:pt x="285" y="576"/>
                  </a:lnTo>
                  <a:lnTo>
                    <a:pt x="299" y="576"/>
                  </a:lnTo>
                  <a:lnTo>
                    <a:pt x="314" y="576"/>
                  </a:lnTo>
                  <a:lnTo>
                    <a:pt x="328" y="575"/>
                  </a:lnTo>
                  <a:lnTo>
                    <a:pt x="341" y="573"/>
                  </a:lnTo>
                  <a:lnTo>
                    <a:pt x="355" y="570"/>
                  </a:lnTo>
                  <a:lnTo>
                    <a:pt x="369" y="567"/>
                  </a:lnTo>
                  <a:lnTo>
                    <a:pt x="382" y="564"/>
                  </a:lnTo>
                  <a:lnTo>
                    <a:pt x="395" y="558"/>
                  </a:lnTo>
                  <a:lnTo>
                    <a:pt x="407" y="554"/>
                  </a:lnTo>
                  <a:lnTo>
                    <a:pt x="420" y="549"/>
                  </a:lnTo>
                  <a:lnTo>
                    <a:pt x="431" y="542"/>
                  </a:lnTo>
                  <a:lnTo>
                    <a:pt x="443" y="536"/>
                  </a:lnTo>
                  <a:lnTo>
                    <a:pt x="454" y="528"/>
                  </a:lnTo>
                  <a:lnTo>
                    <a:pt x="465" y="521"/>
                  </a:lnTo>
                  <a:lnTo>
                    <a:pt x="476" y="512"/>
                  </a:lnTo>
                  <a:lnTo>
                    <a:pt x="485" y="503"/>
                  </a:lnTo>
                  <a:lnTo>
                    <a:pt x="495" y="495"/>
                  </a:lnTo>
                  <a:lnTo>
                    <a:pt x="505" y="485"/>
                  </a:lnTo>
                  <a:lnTo>
                    <a:pt x="513" y="474"/>
                  </a:lnTo>
                  <a:lnTo>
                    <a:pt x="522" y="465"/>
                  </a:lnTo>
                  <a:lnTo>
                    <a:pt x="530" y="454"/>
                  </a:lnTo>
                  <a:lnTo>
                    <a:pt x="536" y="442"/>
                  </a:lnTo>
                  <a:lnTo>
                    <a:pt x="544" y="430"/>
                  </a:lnTo>
                  <a:lnTo>
                    <a:pt x="549" y="418"/>
                  </a:lnTo>
                  <a:lnTo>
                    <a:pt x="554" y="406"/>
                  </a:lnTo>
                  <a:lnTo>
                    <a:pt x="560" y="393"/>
                  </a:lnTo>
                  <a:lnTo>
                    <a:pt x="564" y="380"/>
                  </a:lnTo>
                  <a:lnTo>
                    <a:pt x="569" y="367"/>
                  </a:lnTo>
                  <a:lnTo>
                    <a:pt x="572" y="353"/>
                  </a:lnTo>
                  <a:lnTo>
                    <a:pt x="574" y="340"/>
                  </a:lnTo>
                  <a:lnTo>
                    <a:pt x="575" y="326"/>
                  </a:lnTo>
                  <a:lnTo>
                    <a:pt x="576" y="312"/>
                  </a:lnTo>
                  <a:lnTo>
                    <a:pt x="577" y="298"/>
                  </a:lnTo>
                  <a:lnTo>
                    <a:pt x="576" y="283"/>
                  </a:lnTo>
                  <a:lnTo>
                    <a:pt x="575" y="269"/>
                  </a:lnTo>
                  <a:lnTo>
                    <a:pt x="574" y="256"/>
                  </a:lnTo>
                  <a:lnTo>
                    <a:pt x="572" y="242"/>
                  </a:lnTo>
                  <a:lnTo>
                    <a:pt x="569" y="228"/>
                  </a:lnTo>
                  <a:lnTo>
                    <a:pt x="564" y="215"/>
                  </a:lnTo>
                  <a:lnTo>
                    <a:pt x="560" y="202"/>
                  </a:lnTo>
                  <a:lnTo>
                    <a:pt x="554" y="190"/>
                  </a:lnTo>
                  <a:lnTo>
                    <a:pt x="549" y="177"/>
                  </a:lnTo>
                  <a:lnTo>
                    <a:pt x="544" y="165"/>
                  </a:lnTo>
                  <a:lnTo>
                    <a:pt x="536" y="153"/>
                  </a:lnTo>
                  <a:lnTo>
                    <a:pt x="530" y="143"/>
                  </a:lnTo>
                  <a:lnTo>
                    <a:pt x="522" y="132"/>
                  </a:lnTo>
                  <a:lnTo>
                    <a:pt x="513" y="121"/>
                  </a:lnTo>
                  <a:lnTo>
                    <a:pt x="505" y="111"/>
                  </a:lnTo>
                  <a:lnTo>
                    <a:pt x="495" y="102"/>
                  </a:lnTo>
                  <a:lnTo>
                    <a:pt x="485" y="92"/>
                  </a:lnTo>
                  <a:lnTo>
                    <a:pt x="476" y="83"/>
                  </a:lnTo>
                  <a:lnTo>
                    <a:pt x="465" y="75"/>
                  </a:lnTo>
                  <a:lnTo>
                    <a:pt x="454" y="67"/>
                  </a:lnTo>
                  <a:lnTo>
                    <a:pt x="443" y="61"/>
                  </a:lnTo>
                  <a:lnTo>
                    <a:pt x="431" y="53"/>
                  </a:lnTo>
                  <a:lnTo>
                    <a:pt x="420" y="48"/>
                  </a:lnTo>
                  <a:lnTo>
                    <a:pt x="407" y="41"/>
                  </a:lnTo>
                  <a:lnTo>
                    <a:pt x="395" y="37"/>
                  </a:lnTo>
                  <a:lnTo>
                    <a:pt x="382" y="33"/>
                  </a:lnTo>
                  <a:lnTo>
                    <a:pt x="369" y="28"/>
                  </a:lnTo>
                  <a:lnTo>
                    <a:pt x="355" y="25"/>
                  </a:lnTo>
                  <a:lnTo>
                    <a:pt x="341" y="23"/>
                  </a:lnTo>
                  <a:lnTo>
                    <a:pt x="328" y="22"/>
                  </a:lnTo>
                  <a:lnTo>
                    <a:pt x="314" y="21"/>
                  </a:lnTo>
                  <a:lnTo>
                    <a:pt x="299" y="20"/>
                  </a:lnTo>
                  <a:close/>
                  <a:moveTo>
                    <a:pt x="299" y="596"/>
                  </a:moveTo>
                  <a:lnTo>
                    <a:pt x="283" y="595"/>
                  </a:lnTo>
                  <a:lnTo>
                    <a:pt x="268" y="594"/>
                  </a:lnTo>
                  <a:lnTo>
                    <a:pt x="253" y="592"/>
                  </a:lnTo>
                  <a:lnTo>
                    <a:pt x="239" y="590"/>
                  </a:lnTo>
                  <a:lnTo>
                    <a:pt x="224" y="587"/>
                  </a:lnTo>
                  <a:lnTo>
                    <a:pt x="210" y="582"/>
                  </a:lnTo>
                  <a:lnTo>
                    <a:pt x="197" y="578"/>
                  </a:lnTo>
                  <a:lnTo>
                    <a:pt x="183" y="573"/>
                  </a:lnTo>
                  <a:lnTo>
                    <a:pt x="170" y="566"/>
                  </a:lnTo>
                  <a:lnTo>
                    <a:pt x="157" y="560"/>
                  </a:lnTo>
                  <a:lnTo>
                    <a:pt x="144" y="553"/>
                  </a:lnTo>
                  <a:lnTo>
                    <a:pt x="132" y="544"/>
                  </a:lnTo>
                  <a:lnTo>
                    <a:pt x="120" y="537"/>
                  </a:lnTo>
                  <a:lnTo>
                    <a:pt x="110" y="527"/>
                  </a:lnTo>
                  <a:lnTo>
                    <a:pt x="99" y="519"/>
                  </a:lnTo>
                  <a:lnTo>
                    <a:pt x="88" y="509"/>
                  </a:lnTo>
                  <a:lnTo>
                    <a:pt x="78" y="498"/>
                  </a:lnTo>
                  <a:lnTo>
                    <a:pt x="70" y="487"/>
                  </a:lnTo>
                  <a:lnTo>
                    <a:pt x="60" y="476"/>
                  </a:lnTo>
                  <a:lnTo>
                    <a:pt x="52" y="465"/>
                  </a:lnTo>
                  <a:lnTo>
                    <a:pt x="44" y="453"/>
                  </a:lnTo>
                  <a:lnTo>
                    <a:pt x="37" y="440"/>
                  </a:lnTo>
                  <a:lnTo>
                    <a:pt x="31" y="427"/>
                  </a:lnTo>
                  <a:lnTo>
                    <a:pt x="24" y="414"/>
                  </a:lnTo>
                  <a:lnTo>
                    <a:pt x="19" y="400"/>
                  </a:lnTo>
                  <a:lnTo>
                    <a:pt x="15" y="387"/>
                  </a:lnTo>
                  <a:lnTo>
                    <a:pt x="10" y="373"/>
                  </a:lnTo>
                  <a:lnTo>
                    <a:pt x="7" y="358"/>
                  </a:lnTo>
                  <a:lnTo>
                    <a:pt x="5" y="344"/>
                  </a:lnTo>
                  <a:lnTo>
                    <a:pt x="3" y="328"/>
                  </a:lnTo>
                  <a:lnTo>
                    <a:pt x="2" y="313"/>
                  </a:lnTo>
                  <a:lnTo>
                    <a:pt x="0" y="298"/>
                  </a:lnTo>
                  <a:lnTo>
                    <a:pt x="2" y="282"/>
                  </a:lnTo>
                  <a:lnTo>
                    <a:pt x="3" y="267"/>
                  </a:lnTo>
                  <a:lnTo>
                    <a:pt x="5" y="253"/>
                  </a:lnTo>
                  <a:lnTo>
                    <a:pt x="7" y="238"/>
                  </a:lnTo>
                  <a:lnTo>
                    <a:pt x="10" y="224"/>
                  </a:lnTo>
                  <a:lnTo>
                    <a:pt x="15" y="210"/>
                  </a:lnTo>
                  <a:lnTo>
                    <a:pt x="19" y="196"/>
                  </a:lnTo>
                  <a:lnTo>
                    <a:pt x="24" y="182"/>
                  </a:lnTo>
                  <a:lnTo>
                    <a:pt x="31" y="169"/>
                  </a:lnTo>
                  <a:lnTo>
                    <a:pt x="37" y="156"/>
                  </a:lnTo>
                  <a:lnTo>
                    <a:pt x="44" y="144"/>
                  </a:lnTo>
                  <a:lnTo>
                    <a:pt x="52" y="132"/>
                  </a:lnTo>
                  <a:lnTo>
                    <a:pt x="60" y="120"/>
                  </a:lnTo>
                  <a:lnTo>
                    <a:pt x="69" y="108"/>
                  </a:lnTo>
                  <a:lnTo>
                    <a:pt x="78" y="97"/>
                  </a:lnTo>
                  <a:lnTo>
                    <a:pt x="88" y="88"/>
                  </a:lnTo>
                  <a:lnTo>
                    <a:pt x="99" y="78"/>
                  </a:lnTo>
                  <a:lnTo>
                    <a:pt x="110" y="68"/>
                  </a:lnTo>
                  <a:lnTo>
                    <a:pt x="120" y="60"/>
                  </a:lnTo>
                  <a:lnTo>
                    <a:pt x="132" y="51"/>
                  </a:lnTo>
                  <a:lnTo>
                    <a:pt x="144" y="43"/>
                  </a:lnTo>
                  <a:lnTo>
                    <a:pt x="157" y="36"/>
                  </a:lnTo>
                  <a:lnTo>
                    <a:pt x="170" y="29"/>
                  </a:lnTo>
                  <a:lnTo>
                    <a:pt x="183" y="24"/>
                  </a:lnTo>
                  <a:lnTo>
                    <a:pt x="197" y="18"/>
                  </a:lnTo>
                  <a:lnTo>
                    <a:pt x="210" y="13"/>
                  </a:lnTo>
                  <a:lnTo>
                    <a:pt x="224" y="10"/>
                  </a:lnTo>
                  <a:lnTo>
                    <a:pt x="239" y="6"/>
                  </a:lnTo>
                  <a:lnTo>
                    <a:pt x="253" y="3"/>
                  </a:lnTo>
                  <a:lnTo>
                    <a:pt x="268" y="1"/>
                  </a:lnTo>
                  <a:lnTo>
                    <a:pt x="283" y="0"/>
                  </a:lnTo>
                  <a:lnTo>
                    <a:pt x="299" y="0"/>
                  </a:lnTo>
                  <a:lnTo>
                    <a:pt x="314" y="0"/>
                  </a:lnTo>
                  <a:lnTo>
                    <a:pt x="329" y="1"/>
                  </a:lnTo>
                  <a:lnTo>
                    <a:pt x="344" y="3"/>
                  </a:lnTo>
                  <a:lnTo>
                    <a:pt x="359" y="6"/>
                  </a:lnTo>
                  <a:lnTo>
                    <a:pt x="373" y="9"/>
                  </a:lnTo>
                  <a:lnTo>
                    <a:pt x="387" y="13"/>
                  </a:lnTo>
                  <a:lnTo>
                    <a:pt x="401" y="18"/>
                  </a:lnTo>
                  <a:lnTo>
                    <a:pt x="415" y="24"/>
                  </a:lnTo>
                  <a:lnTo>
                    <a:pt x="428" y="29"/>
                  </a:lnTo>
                  <a:lnTo>
                    <a:pt x="441" y="36"/>
                  </a:lnTo>
                  <a:lnTo>
                    <a:pt x="453" y="43"/>
                  </a:lnTo>
                  <a:lnTo>
                    <a:pt x="465" y="51"/>
                  </a:lnTo>
                  <a:lnTo>
                    <a:pt x="477" y="60"/>
                  </a:lnTo>
                  <a:lnTo>
                    <a:pt x="489" y="68"/>
                  </a:lnTo>
                  <a:lnTo>
                    <a:pt x="499" y="78"/>
                  </a:lnTo>
                  <a:lnTo>
                    <a:pt x="509" y="88"/>
                  </a:lnTo>
                  <a:lnTo>
                    <a:pt x="519" y="97"/>
                  </a:lnTo>
                  <a:lnTo>
                    <a:pt x="529" y="108"/>
                  </a:lnTo>
                  <a:lnTo>
                    <a:pt x="537" y="120"/>
                  </a:lnTo>
                  <a:lnTo>
                    <a:pt x="546" y="132"/>
                  </a:lnTo>
                  <a:lnTo>
                    <a:pt x="553" y="144"/>
                  </a:lnTo>
                  <a:lnTo>
                    <a:pt x="561" y="156"/>
                  </a:lnTo>
                  <a:lnTo>
                    <a:pt x="567" y="169"/>
                  </a:lnTo>
                  <a:lnTo>
                    <a:pt x="573" y="182"/>
                  </a:lnTo>
                  <a:lnTo>
                    <a:pt x="578" y="196"/>
                  </a:lnTo>
                  <a:lnTo>
                    <a:pt x="584" y="210"/>
                  </a:lnTo>
                  <a:lnTo>
                    <a:pt x="587" y="224"/>
                  </a:lnTo>
                  <a:lnTo>
                    <a:pt x="591" y="238"/>
                  </a:lnTo>
                  <a:lnTo>
                    <a:pt x="593" y="253"/>
                  </a:lnTo>
                  <a:lnTo>
                    <a:pt x="596" y="267"/>
                  </a:lnTo>
                  <a:lnTo>
                    <a:pt x="597" y="282"/>
                  </a:lnTo>
                  <a:lnTo>
                    <a:pt x="597" y="298"/>
                  </a:lnTo>
                  <a:lnTo>
                    <a:pt x="597" y="313"/>
                  </a:lnTo>
                  <a:lnTo>
                    <a:pt x="596" y="328"/>
                  </a:lnTo>
                  <a:lnTo>
                    <a:pt x="593" y="344"/>
                  </a:lnTo>
                  <a:lnTo>
                    <a:pt x="591" y="358"/>
                  </a:lnTo>
                  <a:lnTo>
                    <a:pt x="587" y="373"/>
                  </a:lnTo>
                  <a:lnTo>
                    <a:pt x="584" y="387"/>
                  </a:lnTo>
                  <a:lnTo>
                    <a:pt x="578" y="400"/>
                  </a:lnTo>
                  <a:lnTo>
                    <a:pt x="573" y="414"/>
                  </a:lnTo>
                  <a:lnTo>
                    <a:pt x="567" y="427"/>
                  </a:lnTo>
                  <a:lnTo>
                    <a:pt x="561" y="440"/>
                  </a:lnTo>
                  <a:lnTo>
                    <a:pt x="553" y="453"/>
                  </a:lnTo>
                  <a:lnTo>
                    <a:pt x="546" y="465"/>
                  </a:lnTo>
                  <a:lnTo>
                    <a:pt x="537" y="476"/>
                  </a:lnTo>
                  <a:lnTo>
                    <a:pt x="529" y="487"/>
                  </a:lnTo>
                  <a:lnTo>
                    <a:pt x="519" y="498"/>
                  </a:lnTo>
                  <a:lnTo>
                    <a:pt x="509" y="509"/>
                  </a:lnTo>
                  <a:lnTo>
                    <a:pt x="499" y="519"/>
                  </a:lnTo>
                  <a:lnTo>
                    <a:pt x="489" y="527"/>
                  </a:lnTo>
                  <a:lnTo>
                    <a:pt x="477" y="537"/>
                  </a:lnTo>
                  <a:lnTo>
                    <a:pt x="465" y="544"/>
                  </a:lnTo>
                  <a:lnTo>
                    <a:pt x="453" y="553"/>
                  </a:lnTo>
                  <a:lnTo>
                    <a:pt x="441" y="560"/>
                  </a:lnTo>
                  <a:lnTo>
                    <a:pt x="428" y="566"/>
                  </a:lnTo>
                  <a:lnTo>
                    <a:pt x="415" y="573"/>
                  </a:lnTo>
                  <a:lnTo>
                    <a:pt x="401" y="578"/>
                  </a:lnTo>
                  <a:lnTo>
                    <a:pt x="387" y="582"/>
                  </a:lnTo>
                  <a:lnTo>
                    <a:pt x="373" y="587"/>
                  </a:lnTo>
                  <a:lnTo>
                    <a:pt x="359" y="590"/>
                  </a:lnTo>
                  <a:lnTo>
                    <a:pt x="344" y="592"/>
                  </a:lnTo>
                  <a:lnTo>
                    <a:pt x="329" y="594"/>
                  </a:lnTo>
                  <a:lnTo>
                    <a:pt x="314" y="595"/>
                  </a:lnTo>
                  <a:lnTo>
                    <a:pt x="299"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Tree>
    <p:extLst>
      <p:ext uri="{BB962C8B-B14F-4D97-AF65-F5344CB8AC3E}">
        <p14:creationId xmlns:p14="http://schemas.microsoft.com/office/powerpoint/2010/main" val="8731076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3C83DDA-BAE5-456A-B18F-9293AF8CF5E3}"/>
              </a:ext>
            </a:extLst>
          </p:cNvPr>
          <p:cNvGraphicFramePr>
            <a:graphicFrameLocks noChangeAspect="1"/>
          </p:cNvGraphicFramePr>
          <p:nvPr>
            <p:custDataLst>
              <p:tags r:id="rId2"/>
            </p:custDataLst>
            <p:extLst>
              <p:ext uri="{D42A27DB-BD31-4B8C-83A1-F6EECF244321}">
                <p14:modId xmlns:p14="http://schemas.microsoft.com/office/powerpoint/2010/main" val="26792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6" name="think-cell Folie" r:id="rId5" imgW="425" imgH="426" progId="TCLayout.ActiveDocument.1">
                  <p:embed/>
                </p:oleObj>
              </mc:Choice>
              <mc:Fallback>
                <p:oleObj name="think-cell Folie" r:id="rId5" imgW="425" imgH="426" progId="TCLayout.ActiveDocument.1">
                  <p:embed/>
                  <p:pic>
                    <p:nvPicPr>
                      <p:cNvPr id="6" name="Objekt 5" hidden="1">
                        <a:extLst>
                          <a:ext uri="{FF2B5EF4-FFF2-40B4-BE49-F238E27FC236}">
                            <a16:creationId xmlns:a16="http://schemas.microsoft.com/office/drawing/2014/main" id="{53C83DDA-BAE5-456A-B18F-9293AF8CF5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46B7DF22-10E1-473F-8194-F8D81E7B9BF7}"/>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923" name="Rechteck 922">
            <a:extLst>
              <a:ext uri="{FF2B5EF4-FFF2-40B4-BE49-F238E27FC236}">
                <a16:creationId xmlns:a16="http://schemas.microsoft.com/office/drawing/2014/main" id="{AE3BF841-9830-49A6-9384-1E8CBE652F2F}"/>
              </a:ext>
            </a:extLst>
          </p:cNvPr>
          <p:cNvSpPr/>
          <p:nvPr/>
        </p:nvSpPr>
        <p:spPr>
          <a:xfrm>
            <a:off x="0" y="1495425"/>
            <a:ext cx="9906000" cy="4878388"/>
          </a:xfrm>
          <a:prstGeom prst="rect">
            <a:avLst/>
          </a:prstGeom>
          <a:solidFill>
            <a:schemeClr val="accent3">
              <a:alpha val="80000"/>
            </a:schemeClr>
          </a:solidFill>
        </p:spPr>
        <p:txBody>
          <a:bodyPr vert="horz" lIns="270000" tIns="108000" rIns="270000" bIns="0" rtlCol="0" anchor="t" anchorCtr="0">
            <a:noAutofit/>
          </a:bodyPr>
          <a:lstStyle/>
          <a:p>
            <a:pPr defTabSz="914400">
              <a:lnSpc>
                <a:spcPct val="90000"/>
              </a:lnSpc>
              <a:spcBef>
                <a:spcPct val="0"/>
              </a:spcBef>
            </a:pPr>
            <a:endParaRPr lang="de-DE" sz="2400">
              <a:solidFill>
                <a:schemeClr val="bg1"/>
              </a:solidFill>
              <a:latin typeface="+mj-lt"/>
              <a:ea typeface="+mj-ea"/>
              <a:cs typeface="+mj-cs"/>
            </a:endParaRPr>
          </a:p>
        </p:txBody>
      </p:sp>
      <p:sp>
        <p:nvSpPr>
          <p:cNvPr id="63" name="Titel 62"/>
          <p:cNvSpPr>
            <a:spLocks noGrp="1"/>
          </p:cNvSpPr>
          <p:nvPr>
            <p:ph type="title"/>
          </p:nvPr>
        </p:nvSpPr>
        <p:spPr/>
        <p:txBody>
          <a:bodyPr/>
          <a:lstStyle/>
          <a:p>
            <a:r>
              <a:rPr lang="de-DE" dirty="0"/>
              <a:t>Farben der Icons änderbar über „Füllbereich“</a:t>
            </a:r>
          </a:p>
        </p:txBody>
      </p:sp>
      <p:sp>
        <p:nvSpPr>
          <p:cNvPr id="2" name="Textplatzhalter 1"/>
          <p:cNvSpPr>
            <a:spLocks noGrp="1"/>
          </p:cNvSpPr>
          <p:nvPr>
            <p:ph type="body" sz="quarter" idx="13"/>
          </p:nvPr>
        </p:nvSpPr>
        <p:spPr/>
        <p:txBody>
          <a:bodyPr/>
          <a:lstStyle/>
          <a:p>
            <a:endParaRPr lang="de-DE"/>
          </a:p>
        </p:txBody>
      </p:sp>
      <p:sp>
        <p:nvSpPr>
          <p:cNvPr id="3" name="Textplatzhalter 2"/>
          <p:cNvSpPr>
            <a:spLocks noGrp="1"/>
          </p:cNvSpPr>
          <p:nvPr>
            <p:ph type="body" sz="quarter" idx="14"/>
          </p:nvPr>
        </p:nvSpPr>
        <p:spPr/>
        <p:txBody>
          <a:bodyPr/>
          <a:lstStyle/>
          <a:p>
            <a:pPr>
              <a:spcAft>
                <a:spcPts val="0"/>
              </a:spcAft>
            </a:pPr>
            <a:endParaRPr lang="de-DE"/>
          </a:p>
        </p:txBody>
      </p:sp>
      <p:sp>
        <p:nvSpPr>
          <p:cNvPr id="4" name="Datumsplatzhalter 3"/>
          <p:cNvSpPr>
            <a:spLocks noGrp="1"/>
          </p:cNvSpPr>
          <p:nvPr>
            <p:ph type="dt" sz="half" idx="2"/>
          </p:nvPr>
        </p:nvSpPr>
        <p:spPr/>
        <p:txBody>
          <a:bodyPr/>
          <a:lstStyle/>
          <a:p>
            <a:fld id="{0EEE0EC8-599B-4999-8E8A-ACA74111F0C5}" type="datetime1">
              <a:rPr lang="de-DE" smtClean="0"/>
              <a:t>04.05.2020</a:t>
            </a:fld>
            <a:endParaRPr lang="de-DE" dirty="0"/>
          </a:p>
        </p:txBody>
      </p:sp>
      <p:grpSp>
        <p:nvGrpSpPr>
          <p:cNvPr id="1124" name="Group 33">
            <a:extLst>
              <a:ext uri="{FF2B5EF4-FFF2-40B4-BE49-F238E27FC236}">
                <a16:creationId xmlns:a16="http://schemas.microsoft.com/office/drawing/2014/main" id="{C8227844-5B76-47E4-A651-CFF7E9648062}"/>
              </a:ext>
            </a:extLst>
          </p:cNvPr>
          <p:cNvGrpSpPr>
            <a:grpSpLocks noChangeAspect="1"/>
          </p:cNvGrpSpPr>
          <p:nvPr/>
        </p:nvGrpSpPr>
        <p:grpSpPr>
          <a:xfrm>
            <a:off x="3245353" y="4879041"/>
            <a:ext cx="283750" cy="285619"/>
            <a:chOff x="938566" y="6525088"/>
            <a:chExt cx="227198" cy="228694"/>
          </a:xfrm>
          <a:solidFill>
            <a:schemeClr val="bg1"/>
          </a:solidFill>
          <a:effectLst/>
        </p:grpSpPr>
        <p:sp>
          <p:nvSpPr>
            <p:cNvPr id="1125" name="Freeform 108">
              <a:extLst>
                <a:ext uri="{FF2B5EF4-FFF2-40B4-BE49-F238E27FC236}">
                  <a16:creationId xmlns:a16="http://schemas.microsoft.com/office/drawing/2014/main" id="{EDD46CD4-2DC8-4E08-BEC1-E3F34689B476}"/>
                </a:ext>
              </a:extLst>
            </p:cNvPr>
            <p:cNvSpPr>
              <a:spLocks noEditPoints="1"/>
            </p:cNvSpPr>
            <p:nvPr/>
          </p:nvSpPr>
          <p:spPr bwMode="auto">
            <a:xfrm>
              <a:off x="938566" y="6525088"/>
              <a:ext cx="227198" cy="228694"/>
            </a:xfrm>
            <a:custGeom>
              <a:avLst/>
              <a:gdLst>
                <a:gd name="T0" fmla="*/ 249 w 611"/>
                <a:gd name="T1" fmla="*/ 580 h 611"/>
                <a:gd name="T2" fmla="*/ 184 w 611"/>
                <a:gd name="T3" fmla="*/ 559 h 611"/>
                <a:gd name="T4" fmla="*/ 127 w 611"/>
                <a:gd name="T5" fmla="*/ 522 h 611"/>
                <a:gd name="T6" fmla="*/ 81 w 611"/>
                <a:gd name="T7" fmla="*/ 474 h 611"/>
                <a:gd name="T8" fmla="*/ 47 w 611"/>
                <a:gd name="T9" fmla="*/ 415 h 611"/>
                <a:gd name="T10" fmla="*/ 28 w 611"/>
                <a:gd name="T11" fmla="*/ 349 h 611"/>
                <a:gd name="T12" fmla="*/ 27 w 611"/>
                <a:gd name="T13" fmla="*/ 277 h 611"/>
                <a:gd name="T14" fmla="*/ 42 w 611"/>
                <a:gd name="T15" fmla="*/ 210 h 611"/>
                <a:gd name="T16" fmla="*/ 73 w 611"/>
                <a:gd name="T17" fmla="*/ 150 h 611"/>
                <a:gd name="T18" fmla="*/ 117 w 611"/>
                <a:gd name="T19" fmla="*/ 99 h 611"/>
                <a:gd name="T20" fmla="*/ 172 w 611"/>
                <a:gd name="T21" fmla="*/ 59 h 611"/>
                <a:gd name="T22" fmla="*/ 235 w 611"/>
                <a:gd name="T23" fmla="*/ 35 h 611"/>
                <a:gd name="T24" fmla="*/ 305 w 611"/>
                <a:gd name="T25" fmla="*/ 26 h 611"/>
                <a:gd name="T26" fmla="*/ 375 w 611"/>
                <a:gd name="T27" fmla="*/ 35 h 611"/>
                <a:gd name="T28" fmla="*/ 438 w 611"/>
                <a:gd name="T29" fmla="*/ 59 h 611"/>
                <a:gd name="T30" fmla="*/ 494 w 611"/>
                <a:gd name="T31" fmla="*/ 99 h 611"/>
                <a:gd name="T32" fmla="*/ 538 w 611"/>
                <a:gd name="T33" fmla="*/ 150 h 611"/>
                <a:gd name="T34" fmla="*/ 568 w 611"/>
                <a:gd name="T35" fmla="*/ 210 h 611"/>
                <a:gd name="T36" fmla="*/ 584 w 611"/>
                <a:gd name="T37" fmla="*/ 277 h 611"/>
                <a:gd name="T38" fmla="*/ 582 w 611"/>
                <a:gd name="T39" fmla="*/ 349 h 611"/>
                <a:gd name="T40" fmla="*/ 564 w 611"/>
                <a:gd name="T41" fmla="*/ 415 h 611"/>
                <a:gd name="T42" fmla="*/ 530 w 611"/>
                <a:gd name="T43" fmla="*/ 474 h 611"/>
                <a:gd name="T44" fmla="*/ 483 w 611"/>
                <a:gd name="T45" fmla="*/ 522 h 611"/>
                <a:gd name="T46" fmla="*/ 426 w 611"/>
                <a:gd name="T47" fmla="*/ 559 h 611"/>
                <a:gd name="T48" fmla="*/ 362 w 611"/>
                <a:gd name="T49" fmla="*/ 580 h 611"/>
                <a:gd name="T50" fmla="*/ 305 w 611"/>
                <a:gd name="T51" fmla="*/ 0 h 611"/>
                <a:gd name="T52" fmla="*/ 229 w 611"/>
                <a:gd name="T53" fmla="*/ 10 h 611"/>
                <a:gd name="T54" fmla="*/ 160 w 611"/>
                <a:gd name="T55" fmla="*/ 38 h 611"/>
                <a:gd name="T56" fmla="*/ 100 w 611"/>
                <a:gd name="T57" fmla="*/ 80 h 611"/>
                <a:gd name="T58" fmla="*/ 52 w 611"/>
                <a:gd name="T59" fmla="*/ 136 h 611"/>
                <a:gd name="T60" fmla="*/ 18 w 611"/>
                <a:gd name="T61" fmla="*/ 201 h 611"/>
                <a:gd name="T62" fmla="*/ 1 w 611"/>
                <a:gd name="T63" fmla="*/ 275 h 611"/>
                <a:gd name="T64" fmla="*/ 3 w 611"/>
                <a:gd name="T65" fmla="*/ 352 h 611"/>
                <a:gd name="T66" fmla="*/ 24 w 611"/>
                <a:gd name="T67" fmla="*/ 425 h 611"/>
                <a:gd name="T68" fmla="*/ 60 w 611"/>
                <a:gd name="T69" fmla="*/ 489 h 611"/>
                <a:gd name="T70" fmla="*/ 111 w 611"/>
                <a:gd name="T71" fmla="*/ 541 h 611"/>
                <a:gd name="T72" fmla="*/ 173 w 611"/>
                <a:gd name="T73" fmla="*/ 581 h 611"/>
                <a:gd name="T74" fmla="*/ 244 w 611"/>
                <a:gd name="T75" fmla="*/ 606 h 611"/>
                <a:gd name="T76" fmla="*/ 321 w 611"/>
                <a:gd name="T77" fmla="*/ 611 h 611"/>
                <a:gd name="T78" fmla="*/ 396 w 611"/>
                <a:gd name="T79" fmla="*/ 598 h 611"/>
                <a:gd name="T80" fmla="*/ 464 w 611"/>
                <a:gd name="T81" fmla="*/ 567 h 611"/>
                <a:gd name="T82" fmla="*/ 521 w 611"/>
                <a:gd name="T83" fmla="*/ 522 h 611"/>
                <a:gd name="T84" fmla="*/ 567 w 611"/>
                <a:gd name="T85" fmla="*/ 464 h 611"/>
                <a:gd name="T86" fmla="*/ 597 w 611"/>
                <a:gd name="T87" fmla="*/ 398 h 611"/>
                <a:gd name="T88" fmla="*/ 610 w 611"/>
                <a:gd name="T89" fmla="*/ 321 h 611"/>
                <a:gd name="T90" fmla="*/ 605 w 611"/>
                <a:gd name="T91" fmla="*/ 244 h 611"/>
                <a:gd name="T92" fmla="*/ 581 w 611"/>
                <a:gd name="T93" fmla="*/ 174 h 611"/>
                <a:gd name="T94" fmla="*/ 541 w 611"/>
                <a:gd name="T95" fmla="*/ 112 h 611"/>
                <a:gd name="T96" fmla="*/ 488 w 611"/>
                <a:gd name="T97" fmla="*/ 61 h 611"/>
                <a:gd name="T98" fmla="*/ 424 w 611"/>
                <a:gd name="T99" fmla="*/ 25 h 611"/>
                <a:gd name="T100" fmla="*/ 352 w 611"/>
                <a:gd name="T101" fmla="*/ 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611">
                  <a:moveTo>
                    <a:pt x="305" y="587"/>
                  </a:moveTo>
                  <a:lnTo>
                    <a:pt x="291" y="585"/>
                  </a:lnTo>
                  <a:lnTo>
                    <a:pt x="277" y="584"/>
                  </a:lnTo>
                  <a:lnTo>
                    <a:pt x="263" y="583"/>
                  </a:lnTo>
                  <a:lnTo>
                    <a:pt x="249" y="580"/>
                  </a:lnTo>
                  <a:lnTo>
                    <a:pt x="235" y="577"/>
                  </a:lnTo>
                  <a:lnTo>
                    <a:pt x="222" y="574"/>
                  </a:lnTo>
                  <a:lnTo>
                    <a:pt x="210" y="569"/>
                  </a:lnTo>
                  <a:lnTo>
                    <a:pt x="197" y="564"/>
                  </a:lnTo>
                  <a:lnTo>
                    <a:pt x="184" y="559"/>
                  </a:lnTo>
                  <a:lnTo>
                    <a:pt x="172" y="552"/>
                  </a:lnTo>
                  <a:lnTo>
                    <a:pt x="160" y="546"/>
                  </a:lnTo>
                  <a:lnTo>
                    <a:pt x="148" y="538"/>
                  </a:lnTo>
                  <a:lnTo>
                    <a:pt x="138" y="531"/>
                  </a:lnTo>
                  <a:lnTo>
                    <a:pt x="127" y="522"/>
                  </a:lnTo>
                  <a:lnTo>
                    <a:pt x="117" y="514"/>
                  </a:lnTo>
                  <a:lnTo>
                    <a:pt x="108" y="504"/>
                  </a:lnTo>
                  <a:lnTo>
                    <a:pt x="98" y="494"/>
                  </a:lnTo>
                  <a:lnTo>
                    <a:pt x="89" y="485"/>
                  </a:lnTo>
                  <a:lnTo>
                    <a:pt x="81" y="474"/>
                  </a:lnTo>
                  <a:lnTo>
                    <a:pt x="73" y="463"/>
                  </a:lnTo>
                  <a:lnTo>
                    <a:pt x="66" y="451"/>
                  </a:lnTo>
                  <a:lnTo>
                    <a:pt x="59" y="439"/>
                  </a:lnTo>
                  <a:lnTo>
                    <a:pt x="53" y="428"/>
                  </a:lnTo>
                  <a:lnTo>
                    <a:pt x="47" y="415"/>
                  </a:lnTo>
                  <a:lnTo>
                    <a:pt x="42" y="403"/>
                  </a:lnTo>
                  <a:lnTo>
                    <a:pt x="38" y="389"/>
                  </a:lnTo>
                  <a:lnTo>
                    <a:pt x="35" y="376"/>
                  </a:lnTo>
                  <a:lnTo>
                    <a:pt x="31" y="362"/>
                  </a:lnTo>
                  <a:lnTo>
                    <a:pt x="28" y="349"/>
                  </a:lnTo>
                  <a:lnTo>
                    <a:pt x="27" y="334"/>
                  </a:lnTo>
                  <a:lnTo>
                    <a:pt x="26" y="320"/>
                  </a:lnTo>
                  <a:lnTo>
                    <a:pt x="25" y="306"/>
                  </a:lnTo>
                  <a:lnTo>
                    <a:pt x="26" y="291"/>
                  </a:lnTo>
                  <a:lnTo>
                    <a:pt x="27" y="277"/>
                  </a:lnTo>
                  <a:lnTo>
                    <a:pt x="28" y="263"/>
                  </a:lnTo>
                  <a:lnTo>
                    <a:pt x="31" y="249"/>
                  </a:lnTo>
                  <a:lnTo>
                    <a:pt x="35" y="236"/>
                  </a:lnTo>
                  <a:lnTo>
                    <a:pt x="38" y="223"/>
                  </a:lnTo>
                  <a:lnTo>
                    <a:pt x="42" y="210"/>
                  </a:lnTo>
                  <a:lnTo>
                    <a:pt x="47" y="197"/>
                  </a:lnTo>
                  <a:lnTo>
                    <a:pt x="53" y="185"/>
                  </a:lnTo>
                  <a:lnTo>
                    <a:pt x="59" y="173"/>
                  </a:lnTo>
                  <a:lnTo>
                    <a:pt x="66" y="161"/>
                  </a:lnTo>
                  <a:lnTo>
                    <a:pt x="73" y="150"/>
                  </a:lnTo>
                  <a:lnTo>
                    <a:pt x="81" y="139"/>
                  </a:lnTo>
                  <a:lnTo>
                    <a:pt x="89" y="128"/>
                  </a:lnTo>
                  <a:lnTo>
                    <a:pt x="98" y="117"/>
                  </a:lnTo>
                  <a:lnTo>
                    <a:pt x="108" y="108"/>
                  </a:lnTo>
                  <a:lnTo>
                    <a:pt x="117" y="99"/>
                  </a:lnTo>
                  <a:lnTo>
                    <a:pt x="127" y="90"/>
                  </a:lnTo>
                  <a:lnTo>
                    <a:pt x="138" y="82"/>
                  </a:lnTo>
                  <a:lnTo>
                    <a:pt x="148" y="73"/>
                  </a:lnTo>
                  <a:lnTo>
                    <a:pt x="160" y="67"/>
                  </a:lnTo>
                  <a:lnTo>
                    <a:pt x="172" y="59"/>
                  </a:lnTo>
                  <a:lnTo>
                    <a:pt x="184" y="54"/>
                  </a:lnTo>
                  <a:lnTo>
                    <a:pt x="197" y="48"/>
                  </a:lnTo>
                  <a:lnTo>
                    <a:pt x="210" y="43"/>
                  </a:lnTo>
                  <a:lnTo>
                    <a:pt x="222" y="39"/>
                  </a:lnTo>
                  <a:lnTo>
                    <a:pt x="235" y="35"/>
                  </a:lnTo>
                  <a:lnTo>
                    <a:pt x="249" y="31"/>
                  </a:lnTo>
                  <a:lnTo>
                    <a:pt x="263" y="29"/>
                  </a:lnTo>
                  <a:lnTo>
                    <a:pt x="277" y="27"/>
                  </a:lnTo>
                  <a:lnTo>
                    <a:pt x="291" y="26"/>
                  </a:lnTo>
                  <a:lnTo>
                    <a:pt x="305" y="26"/>
                  </a:lnTo>
                  <a:lnTo>
                    <a:pt x="320" y="26"/>
                  </a:lnTo>
                  <a:lnTo>
                    <a:pt x="334" y="27"/>
                  </a:lnTo>
                  <a:lnTo>
                    <a:pt x="348" y="29"/>
                  </a:lnTo>
                  <a:lnTo>
                    <a:pt x="362" y="31"/>
                  </a:lnTo>
                  <a:lnTo>
                    <a:pt x="375" y="35"/>
                  </a:lnTo>
                  <a:lnTo>
                    <a:pt x="389" y="39"/>
                  </a:lnTo>
                  <a:lnTo>
                    <a:pt x="402" y="43"/>
                  </a:lnTo>
                  <a:lnTo>
                    <a:pt x="415" y="48"/>
                  </a:lnTo>
                  <a:lnTo>
                    <a:pt x="426" y="54"/>
                  </a:lnTo>
                  <a:lnTo>
                    <a:pt x="438" y="59"/>
                  </a:lnTo>
                  <a:lnTo>
                    <a:pt x="450" y="67"/>
                  </a:lnTo>
                  <a:lnTo>
                    <a:pt x="462" y="73"/>
                  </a:lnTo>
                  <a:lnTo>
                    <a:pt x="473" y="82"/>
                  </a:lnTo>
                  <a:lnTo>
                    <a:pt x="483" y="90"/>
                  </a:lnTo>
                  <a:lnTo>
                    <a:pt x="494" y="99"/>
                  </a:lnTo>
                  <a:lnTo>
                    <a:pt x="504" y="108"/>
                  </a:lnTo>
                  <a:lnTo>
                    <a:pt x="512" y="117"/>
                  </a:lnTo>
                  <a:lnTo>
                    <a:pt x="521" y="128"/>
                  </a:lnTo>
                  <a:lnTo>
                    <a:pt x="530" y="139"/>
                  </a:lnTo>
                  <a:lnTo>
                    <a:pt x="538" y="150"/>
                  </a:lnTo>
                  <a:lnTo>
                    <a:pt x="545" y="161"/>
                  </a:lnTo>
                  <a:lnTo>
                    <a:pt x="552" y="173"/>
                  </a:lnTo>
                  <a:lnTo>
                    <a:pt x="557" y="185"/>
                  </a:lnTo>
                  <a:lnTo>
                    <a:pt x="564" y="197"/>
                  </a:lnTo>
                  <a:lnTo>
                    <a:pt x="568" y="210"/>
                  </a:lnTo>
                  <a:lnTo>
                    <a:pt x="572" y="223"/>
                  </a:lnTo>
                  <a:lnTo>
                    <a:pt x="577" y="236"/>
                  </a:lnTo>
                  <a:lnTo>
                    <a:pt x="580" y="249"/>
                  </a:lnTo>
                  <a:lnTo>
                    <a:pt x="582" y="263"/>
                  </a:lnTo>
                  <a:lnTo>
                    <a:pt x="584" y="277"/>
                  </a:lnTo>
                  <a:lnTo>
                    <a:pt x="585" y="291"/>
                  </a:lnTo>
                  <a:lnTo>
                    <a:pt x="585" y="306"/>
                  </a:lnTo>
                  <a:lnTo>
                    <a:pt x="585" y="320"/>
                  </a:lnTo>
                  <a:lnTo>
                    <a:pt x="584" y="334"/>
                  </a:lnTo>
                  <a:lnTo>
                    <a:pt x="582" y="349"/>
                  </a:lnTo>
                  <a:lnTo>
                    <a:pt x="580" y="362"/>
                  </a:lnTo>
                  <a:lnTo>
                    <a:pt x="577" y="376"/>
                  </a:lnTo>
                  <a:lnTo>
                    <a:pt x="572" y="389"/>
                  </a:lnTo>
                  <a:lnTo>
                    <a:pt x="568" y="403"/>
                  </a:lnTo>
                  <a:lnTo>
                    <a:pt x="564" y="415"/>
                  </a:lnTo>
                  <a:lnTo>
                    <a:pt x="557" y="428"/>
                  </a:lnTo>
                  <a:lnTo>
                    <a:pt x="552" y="439"/>
                  </a:lnTo>
                  <a:lnTo>
                    <a:pt x="545" y="451"/>
                  </a:lnTo>
                  <a:lnTo>
                    <a:pt x="538" y="463"/>
                  </a:lnTo>
                  <a:lnTo>
                    <a:pt x="530" y="474"/>
                  </a:lnTo>
                  <a:lnTo>
                    <a:pt x="521" y="485"/>
                  </a:lnTo>
                  <a:lnTo>
                    <a:pt x="512" y="494"/>
                  </a:lnTo>
                  <a:lnTo>
                    <a:pt x="504" y="504"/>
                  </a:lnTo>
                  <a:lnTo>
                    <a:pt x="494" y="514"/>
                  </a:lnTo>
                  <a:lnTo>
                    <a:pt x="483" y="522"/>
                  </a:lnTo>
                  <a:lnTo>
                    <a:pt x="473" y="531"/>
                  </a:lnTo>
                  <a:lnTo>
                    <a:pt x="462" y="538"/>
                  </a:lnTo>
                  <a:lnTo>
                    <a:pt x="450" y="546"/>
                  </a:lnTo>
                  <a:lnTo>
                    <a:pt x="439" y="552"/>
                  </a:lnTo>
                  <a:lnTo>
                    <a:pt x="426" y="559"/>
                  </a:lnTo>
                  <a:lnTo>
                    <a:pt x="415" y="564"/>
                  </a:lnTo>
                  <a:lnTo>
                    <a:pt x="402" y="569"/>
                  </a:lnTo>
                  <a:lnTo>
                    <a:pt x="389" y="574"/>
                  </a:lnTo>
                  <a:lnTo>
                    <a:pt x="375" y="577"/>
                  </a:lnTo>
                  <a:lnTo>
                    <a:pt x="362" y="580"/>
                  </a:lnTo>
                  <a:lnTo>
                    <a:pt x="348" y="583"/>
                  </a:lnTo>
                  <a:lnTo>
                    <a:pt x="334" y="584"/>
                  </a:lnTo>
                  <a:lnTo>
                    <a:pt x="320" y="585"/>
                  </a:lnTo>
                  <a:lnTo>
                    <a:pt x="305" y="587"/>
                  </a:lnTo>
                  <a:close/>
                  <a:moveTo>
                    <a:pt x="305" y="0"/>
                  </a:moveTo>
                  <a:lnTo>
                    <a:pt x="290" y="0"/>
                  </a:lnTo>
                  <a:lnTo>
                    <a:pt x="274" y="2"/>
                  </a:lnTo>
                  <a:lnTo>
                    <a:pt x="259" y="3"/>
                  </a:lnTo>
                  <a:lnTo>
                    <a:pt x="244" y="7"/>
                  </a:lnTo>
                  <a:lnTo>
                    <a:pt x="229" y="10"/>
                  </a:lnTo>
                  <a:lnTo>
                    <a:pt x="215" y="14"/>
                  </a:lnTo>
                  <a:lnTo>
                    <a:pt x="200" y="19"/>
                  </a:lnTo>
                  <a:lnTo>
                    <a:pt x="187" y="25"/>
                  </a:lnTo>
                  <a:lnTo>
                    <a:pt x="173" y="30"/>
                  </a:lnTo>
                  <a:lnTo>
                    <a:pt x="160" y="38"/>
                  </a:lnTo>
                  <a:lnTo>
                    <a:pt x="147" y="44"/>
                  </a:lnTo>
                  <a:lnTo>
                    <a:pt x="134" y="53"/>
                  </a:lnTo>
                  <a:lnTo>
                    <a:pt x="123" y="61"/>
                  </a:lnTo>
                  <a:lnTo>
                    <a:pt x="111" y="70"/>
                  </a:lnTo>
                  <a:lnTo>
                    <a:pt x="100" y="80"/>
                  </a:lnTo>
                  <a:lnTo>
                    <a:pt x="89" y="90"/>
                  </a:lnTo>
                  <a:lnTo>
                    <a:pt x="80" y="101"/>
                  </a:lnTo>
                  <a:lnTo>
                    <a:pt x="70" y="112"/>
                  </a:lnTo>
                  <a:lnTo>
                    <a:pt x="60" y="124"/>
                  </a:lnTo>
                  <a:lnTo>
                    <a:pt x="52" y="136"/>
                  </a:lnTo>
                  <a:lnTo>
                    <a:pt x="44" y="147"/>
                  </a:lnTo>
                  <a:lnTo>
                    <a:pt x="37" y="160"/>
                  </a:lnTo>
                  <a:lnTo>
                    <a:pt x="30" y="174"/>
                  </a:lnTo>
                  <a:lnTo>
                    <a:pt x="24" y="187"/>
                  </a:lnTo>
                  <a:lnTo>
                    <a:pt x="18" y="201"/>
                  </a:lnTo>
                  <a:lnTo>
                    <a:pt x="13" y="215"/>
                  </a:lnTo>
                  <a:lnTo>
                    <a:pt x="10" y="230"/>
                  </a:lnTo>
                  <a:lnTo>
                    <a:pt x="6" y="244"/>
                  </a:lnTo>
                  <a:lnTo>
                    <a:pt x="3" y="259"/>
                  </a:lnTo>
                  <a:lnTo>
                    <a:pt x="1" y="275"/>
                  </a:lnTo>
                  <a:lnTo>
                    <a:pt x="0" y="290"/>
                  </a:lnTo>
                  <a:lnTo>
                    <a:pt x="0" y="306"/>
                  </a:lnTo>
                  <a:lnTo>
                    <a:pt x="0" y="321"/>
                  </a:lnTo>
                  <a:lnTo>
                    <a:pt x="1" y="337"/>
                  </a:lnTo>
                  <a:lnTo>
                    <a:pt x="3" y="352"/>
                  </a:lnTo>
                  <a:lnTo>
                    <a:pt x="6" y="367"/>
                  </a:lnTo>
                  <a:lnTo>
                    <a:pt x="10" y="383"/>
                  </a:lnTo>
                  <a:lnTo>
                    <a:pt x="13" y="398"/>
                  </a:lnTo>
                  <a:lnTo>
                    <a:pt x="18" y="412"/>
                  </a:lnTo>
                  <a:lnTo>
                    <a:pt x="24" y="425"/>
                  </a:lnTo>
                  <a:lnTo>
                    <a:pt x="30" y="438"/>
                  </a:lnTo>
                  <a:lnTo>
                    <a:pt x="37" y="452"/>
                  </a:lnTo>
                  <a:lnTo>
                    <a:pt x="44" y="464"/>
                  </a:lnTo>
                  <a:lnTo>
                    <a:pt x="52" y="477"/>
                  </a:lnTo>
                  <a:lnTo>
                    <a:pt x="60" y="489"/>
                  </a:lnTo>
                  <a:lnTo>
                    <a:pt x="70" y="501"/>
                  </a:lnTo>
                  <a:lnTo>
                    <a:pt x="80" y="511"/>
                  </a:lnTo>
                  <a:lnTo>
                    <a:pt x="89" y="522"/>
                  </a:lnTo>
                  <a:lnTo>
                    <a:pt x="100" y="533"/>
                  </a:lnTo>
                  <a:lnTo>
                    <a:pt x="111" y="541"/>
                  </a:lnTo>
                  <a:lnTo>
                    <a:pt x="123" y="551"/>
                  </a:lnTo>
                  <a:lnTo>
                    <a:pt x="134" y="560"/>
                  </a:lnTo>
                  <a:lnTo>
                    <a:pt x="147" y="567"/>
                  </a:lnTo>
                  <a:lnTo>
                    <a:pt x="160" y="575"/>
                  </a:lnTo>
                  <a:lnTo>
                    <a:pt x="173" y="581"/>
                  </a:lnTo>
                  <a:lnTo>
                    <a:pt x="187" y="588"/>
                  </a:lnTo>
                  <a:lnTo>
                    <a:pt x="200" y="593"/>
                  </a:lnTo>
                  <a:lnTo>
                    <a:pt x="215" y="598"/>
                  </a:lnTo>
                  <a:lnTo>
                    <a:pt x="229" y="602"/>
                  </a:lnTo>
                  <a:lnTo>
                    <a:pt x="244" y="606"/>
                  </a:lnTo>
                  <a:lnTo>
                    <a:pt x="259" y="608"/>
                  </a:lnTo>
                  <a:lnTo>
                    <a:pt x="274" y="610"/>
                  </a:lnTo>
                  <a:lnTo>
                    <a:pt x="290" y="611"/>
                  </a:lnTo>
                  <a:lnTo>
                    <a:pt x="305" y="611"/>
                  </a:lnTo>
                  <a:lnTo>
                    <a:pt x="321" y="611"/>
                  </a:lnTo>
                  <a:lnTo>
                    <a:pt x="336" y="610"/>
                  </a:lnTo>
                  <a:lnTo>
                    <a:pt x="352" y="608"/>
                  </a:lnTo>
                  <a:lnTo>
                    <a:pt x="367" y="606"/>
                  </a:lnTo>
                  <a:lnTo>
                    <a:pt x="381" y="602"/>
                  </a:lnTo>
                  <a:lnTo>
                    <a:pt x="396" y="598"/>
                  </a:lnTo>
                  <a:lnTo>
                    <a:pt x="410" y="593"/>
                  </a:lnTo>
                  <a:lnTo>
                    <a:pt x="424" y="588"/>
                  </a:lnTo>
                  <a:lnTo>
                    <a:pt x="438" y="581"/>
                  </a:lnTo>
                  <a:lnTo>
                    <a:pt x="451" y="575"/>
                  </a:lnTo>
                  <a:lnTo>
                    <a:pt x="464" y="567"/>
                  </a:lnTo>
                  <a:lnTo>
                    <a:pt x="476" y="560"/>
                  </a:lnTo>
                  <a:lnTo>
                    <a:pt x="488" y="551"/>
                  </a:lnTo>
                  <a:lnTo>
                    <a:pt x="499" y="541"/>
                  </a:lnTo>
                  <a:lnTo>
                    <a:pt x="511" y="533"/>
                  </a:lnTo>
                  <a:lnTo>
                    <a:pt x="521" y="522"/>
                  </a:lnTo>
                  <a:lnTo>
                    <a:pt x="532" y="511"/>
                  </a:lnTo>
                  <a:lnTo>
                    <a:pt x="541" y="501"/>
                  </a:lnTo>
                  <a:lnTo>
                    <a:pt x="550" y="489"/>
                  </a:lnTo>
                  <a:lnTo>
                    <a:pt x="559" y="477"/>
                  </a:lnTo>
                  <a:lnTo>
                    <a:pt x="567" y="464"/>
                  </a:lnTo>
                  <a:lnTo>
                    <a:pt x="574" y="452"/>
                  </a:lnTo>
                  <a:lnTo>
                    <a:pt x="581" y="438"/>
                  </a:lnTo>
                  <a:lnTo>
                    <a:pt x="586" y="425"/>
                  </a:lnTo>
                  <a:lnTo>
                    <a:pt x="593" y="412"/>
                  </a:lnTo>
                  <a:lnTo>
                    <a:pt x="597" y="398"/>
                  </a:lnTo>
                  <a:lnTo>
                    <a:pt x="601" y="383"/>
                  </a:lnTo>
                  <a:lnTo>
                    <a:pt x="605" y="367"/>
                  </a:lnTo>
                  <a:lnTo>
                    <a:pt x="608" y="352"/>
                  </a:lnTo>
                  <a:lnTo>
                    <a:pt x="609" y="337"/>
                  </a:lnTo>
                  <a:lnTo>
                    <a:pt x="610" y="321"/>
                  </a:lnTo>
                  <a:lnTo>
                    <a:pt x="611" y="306"/>
                  </a:lnTo>
                  <a:lnTo>
                    <a:pt x="610" y="290"/>
                  </a:lnTo>
                  <a:lnTo>
                    <a:pt x="609" y="275"/>
                  </a:lnTo>
                  <a:lnTo>
                    <a:pt x="608" y="259"/>
                  </a:lnTo>
                  <a:lnTo>
                    <a:pt x="605" y="244"/>
                  </a:lnTo>
                  <a:lnTo>
                    <a:pt x="601" y="230"/>
                  </a:lnTo>
                  <a:lnTo>
                    <a:pt x="597" y="215"/>
                  </a:lnTo>
                  <a:lnTo>
                    <a:pt x="593" y="201"/>
                  </a:lnTo>
                  <a:lnTo>
                    <a:pt x="586" y="187"/>
                  </a:lnTo>
                  <a:lnTo>
                    <a:pt x="581" y="174"/>
                  </a:lnTo>
                  <a:lnTo>
                    <a:pt x="574" y="160"/>
                  </a:lnTo>
                  <a:lnTo>
                    <a:pt x="567" y="147"/>
                  </a:lnTo>
                  <a:lnTo>
                    <a:pt x="559" y="136"/>
                  </a:lnTo>
                  <a:lnTo>
                    <a:pt x="550" y="124"/>
                  </a:lnTo>
                  <a:lnTo>
                    <a:pt x="541" y="112"/>
                  </a:lnTo>
                  <a:lnTo>
                    <a:pt x="532" y="101"/>
                  </a:lnTo>
                  <a:lnTo>
                    <a:pt x="521" y="90"/>
                  </a:lnTo>
                  <a:lnTo>
                    <a:pt x="511" y="80"/>
                  </a:lnTo>
                  <a:lnTo>
                    <a:pt x="499" y="70"/>
                  </a:lnTo>
                  <a:lnTo>
                    <a:pt x="488" y="61"/>
                  </a:lnTo>
                  <a:lnTo>
                    <a:pt x="476" y="53"/>
                  </a:lnTo>
                  <a:lnTo>
                    <a:pt x="464" y="44"/>
                  </a:lnTo>
                  <a:lnTo>
                    <a:pt x="451" y="38"/>
                  </a:lnTo>
                  <a:lnTo>
                    <a:pt x="438" y="30"/>
                  </a:lnTo>
                  <a:lnTo>
                    <a:pt x="424" y="25"/>
                  </a:lnTo>
                  <a:lnTo>
                    <a:pt x="410" y="19"/>
                  </a:lnTo>
                  <a:lnTo>
                    <a:pt x="396" y="14"/>
                  </a:lnTo>
                  <a:lnTo>
                    <a:pt x="381" y="10"/>
                  </a:lnTo>
                  <a:lnTo>
                    <a:pt x="367" y="7"/>
                  </a:lnTo>
                  <a:lnTo>
                    <a:pt x="352" y="3"/>
                  </a:lnTo>
                  <a:lnTo>
                    <a:pt x="336" y="2"/>
                  </a:lnTo>
                  <a:lnTo>
                    <a:pt x="321" y="0"/>
                  </a:lnTo>
                  <a:lnTo>
                    <a:pt x="3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6" name="Freeform 109">
              <a:extLst>
                <a:ext uri="{FF2B5EF4-FFF2-40B4-BE49-F238E27FC236}">
                  <a16:creationId xmlns:a16="http://schemas.microsoft.com/office/drawing/2014/main" id="{B8B6A26F-E295-4892-8C50-95353D85A5F9}"/>
                </a:ext>
              </a:extLst>
            </p:cNvPr>
            <p:cNvSpPr>
              <a:spLocks noEditPoints="1"/>
            </p:cNvSpPr>
            <p:nvPr/>
          </p:nvSpPr>
          <p:spPr bwMode="auto">
            <a:xfrm>
              <a:off x="1058144" y="6562456"/>
              <a:ext cx="79221" cy="85200"/>
            </a:xfrm>
            <a:custGeom>
              <a:avLst/>
              <a:gdLst>
                <a:gd name="T0" fmla="*/ 61 w 215"/>
                <a:gd name="T1" fmla="*/ 204 h 229"/>
                <a:gd name="T2" fmla="*/ 59 w 215"/>
                <a:gd name="T3" fmla="*/ 196 h 229"/>
                <a:gd name="T4" fmla="*/ 58 w 215"/>
                <a:gd name="T5" fmla="*/ 188 h 229"/>
                <a:gd name="T6" fmla="*/ 55 w 215"/>
                <a:gd name="T7" fmla="*/ 181 h 229"/>
                <a:gd name="T8" fmla="*/ 52 w 215"/>
                <a:gd name="T9" fmla="*/ 173 h 229"/>
                <a:gd name="T10" fmla="*/ 48 w 215"/>
                <a:gd name="T11" fmla="*/ 166 h 229"/>
                <a:gd name="T12" fmla="*/ 44 w 215"/>
                <a:gd name="T13" fmla="*/ 158 h 229"/>
                <a:gd name="T14" fmla="*/ 39 w 215"/>
                <a:gd name="T15" fmla="*/ 153 h 229"/>
                <a:gd name="T16" fmla="*/ 33 w 215"/>
                <a:gd name="T17" fmla="*/ 146 h 229"/>
                <a:gd name="T18" fmla="*/ 98 w 215"/>
                <a:gd name="T19" fmla="*/ 35 h 229"/>
                <a:gd name="T20" fmla="*/ 108 w 215"/>
                <a:gd name="T21" fmla="*/ 42 h 229"/>
                <a:gd name="T22" fmla="*/ 116 w 215"/>
                <a:gd name="T23" fmla="*/ 50 h 229"/>
                <a:gd name="T24" fmla="*/ 125 w 215"/>
                <a:gd name="T25" fmla="*/ 58 h 229"/>
                <a:gd name="T26" fmla="*/ 132 w 215"/>
                <a:gd name="T27" fmla="*/ 67 h 229"/>
                <a:gd name="T28" fmla="*/ 140 w 215"/>
                <a:gd name="T29" fmla="*/ 77 h 229"/>
                <a:gd name="T30" fmla="*/ 147 w 215"/>
                <a:gd name="T31" fmla="*/ 86 h 229"/>
                <a:gd name="T32" fmla="*/ 154 w 215"/>
                <a:gd name="T33" fmla="*/ 97 h 229"/>
                <a:gd name="T34" fmla="*/ 160 w 215"/>
                <a:gd name="T35" fmla="*/ 109 h 229"/>
                <a:gd name="T36" fmla="*/ 166 w 215"/>
                <a:gd name="T37" fmla="*/ 119 h 229"/>
                <a:gd name="T38" fmla="*/ 171 w 215"/>
                <a:gd name="T39" fmla="*/ 131 h 229"/>
                <a:gd name="T40" fmla="*/ 175 w 215"/>
                <a:gd name="T41" fmla="*/ 143 h 229"/>
                <a:gd name="T42" fmla="*/ 179 w 215"/>
                <a:gd name="T43" fmla="*/ 155 h 229"/>
                <a:gd name="T44" fmla="*/ 183 w 215"/>
                <a:gd name="T45" fmla="*/ 168 h 229"/>
                <a:gd name="T46" fmla="*/ 186 w 215"/>
                <a:gd name="T47" fmla="*/ 180 h 229"/>
                <a:gd name="T48" fmla="*/ 187 w 215"/>
                <a:gd name="T49" fmla="*/ 191 h 229"/>
                <a:gd name="T50" fmla="*/ 189 w 215"/>
                <a:gd name="T51" fmla="*/ 204 h 229"/>
                <a:gd name="T52" fmla="*/ 61 w 215"/>
                <a:gd name="T53" fmla="*/ 204 h 229"/>
                <a:gd name="T54" fmla="*/ 100 w 215"/>
                <a:gd name="T55" fmla="*/ 7 h 229"/>
                <a:gd name="T56" fmla="*/ 89 w 215"/>
                <a:gd name="T57" fmla="*/ 0 h 229"/>
                <a:gd name="T58" fmla="*/ 0 w 215"/>
                <a:gd name="T59" fmla="*/ 154 h 229"/>
                <a:gd name="T60" fmla="*/ 11 w 215"/>
                <a:gd name="T61" fmla="*/ 160 h 229"/>
                <a:gd name="T62" fmla="*/ 16 w 215"/>
                <a:gd name="T63" fmla="*/ 165 h 229"/>
                <a:gd name="T64" fmla="*/ 21 w 215"/>
                <a:gd name="T65" fmla="*/ 170 h 229"/>
                <a:gd name="T66" fmla="*/ 25 w 215"/>
                <a:gd name="T67" fmla="*/ 176 h 229"/>
                <a:gd name="T68" fmla="*/ 29 w 215"/>
                <a:gd name="T69" fmla="*/ 184 h 229"/>
                <a:gd name="T70" fmla="*/ 32 w 215"/>
                <a:gd name="T71" fmla="*/ 191 h 229"/>
                <a:gd name="T72" fmla="*/ 35 w 215"/>
                <a:gd name="T73" fmla="*/ 200 h 229"/>
                <a:gd name="T74" fmla="*/ 36 w 215"/>
                <a:gd name="T75" fmla="*/ 209 h 229"/>
                <a:gd name="T76" fmla="*/ 37 w 215"/>
                <a:gd name="T77" fmla="*/ 217 h 229"/>
                <a:gd name="T78" fmla="*/ 37 w 215"/>
                <a:gd name="T79" fmla="*/ 229 h 229"/>
                <a:gd name="T80" fmla="*/ 215 w 215"/>
                <a:gd name="T81" fmla="*/ 229 h 229"/>
                <a:gd name="T82" fmla="*/ 215 w 215"/>
                <a:gd name="T83" fmla="*/ 217 h 229"/>
                <a:gd name="T84" fmla="*/ 214 w 215"/>
                <a:gd name="T85" fmla="*/ 201 h 229"/>
                <a:gd name="T86" fmla="*/ 213 w 215"/>
                <a:gd name="T87" fmla="*/ 185 h 229"/>
                <a:gd name="T88" fmla="*/ 210 w 215"/>
                <a:gd name="T89" fmla="*/ 170 h 229"/>
                <a:gd name="T90" fmla="*/ 206 w 215"/>
                <a:gd name="T91" fmla="*/ 154 h 229"/>
                <a:gd name="T92" fmla="*/ 201 w 215"/>
                <a:gd name="T93" fmla="*/ 139 h 229"/>
                <a:gd name="T94" fmla="*/ 196 w 215"/>
                <a:gd name="T95" fmla="*/ 124 h 229"/>
                <a:gd name="T96" fmla="*/ 189 w 215"/>
                <a:gd name="T97" fmla="*/ 109 h 229"/>
                <a:gd name="T98" fmla="*/ 183 w 215"/>
                <a:gd name="T99" fmla="*/ 95 h 229"/>
                <a:gd name="T100" fmla="*/ 174 w 215"/>
                <a:gd name="T101" fmla="*/ 81 h 229"/>
                <a:gd name="T102" fmla="*/ 166 w 215"/>
                <a:gd name="T103" fmla="*/ 68 h 229"/>
                <a:gd name="T104" fmla="*/ 156 w 215"/>
                <a:gd name="T105" fmla="*/ 55 h 229"/>
                <a:gd name="T106" fmla="*/ 146 w 215"/>
                <a:gd name="T107" fmla="*/ 44 h 229"/>
                <a:gd name="T108" fmla="*/ 135 w 215"/>
                <a:gd name="T109" fmla="*/ 34 h 229"/>
                <a:gd name="T110" fmla="*/ 124 w 215"/>
                <a:gd name="T111" fmla="*/ 23 h 229"/>
                <a:gd name="T112" fmla="*/ 112 w 215"/>
                <a:gd name="T113" fmla="*/ 14 h 229"/>
                <a:gd name="T114" fmla="*/ 100 w 215"/>
                <a:gd name="T115"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229">
                  <a:moveTo>
                    <a:pt x="61" y="204"/>
                  </a:moveTo>
                  <a:lnTo>
                    <a:pt x="59" y="196"/>
                  </a:lnTo>
                  <a:lnTo>
                    <a:pt x="58" y="188"/>
                  </a:lnTo>
                  <a:lnTo>
                    <a:pt x="55" y="181"/>
                  </a:lnTo>
                  <a:lnTo>
                    <a:pt x="52" y="173"/>
                  </a:lnTo>
                  <a:lnTo>
                    <a:pt x="48" y="166"/>
                  </a:lnTo>
                  <a:lnTo>
                    <a:pt x="44" y="158"/>
                  </a:lnTo>
                  <a:lnTo>
                    <a:pt x="39" y="153"/>
                  </a:lnTo>
                  <a:lnTo>
                    <a:pt x="33" y="146"/>
                  </a:lnTo>
                  <a:lnTo>
                    <a:pt x="98" y="35"/>
                  </a:lnTo>
                  <a:lnTo>
                    <a:pt x="108" y="42"/>
                  </a:lnTo>
                  <a:lnTo>
                    <a:pt x="116" y="50"/>
                  </a:lnTo>
                  <a:lnTo>
                    <a:pt x="125" y="58"/>
                  </a:lnTo>
                  <a:lnTo>
                    <a:pt x="132" y="67"/>
                  </a:lnTo>
                  <a:lnTo>
                    <a:pt x="140" y="77"/>
                  </a:lnTo>
                  <a:lnTo>
                    <a:pt x="147" y="86"/>
                  </a:lnTo>
                  <a:lnTo>
                    <a:pt x="154" y="97"/>
                  </a:lnTo>
                  <a:lnTo>
                    <a:pt x="160" y="109"/>
                  </a:lnTo>
                  <a:lnTo>
                    <a:pt x="166" y="119"/>
                  </a:lnTo>
                  <a:lnTo>
                    <a:pt x="171" y="131"/>
                  </a:lnTo>
                  <a:lnTo>
                    <a:pt x="175" y="143"/>
                  </a:lnTo>
                  <a:lnTo>
                    <a:pt x="179" y="155"/>
                  </a:lnTo>
                  <a:lnTo>
                    <a:pt x="183" y="168"/>
                  </a:lnTo>
                  <a:lnTo>
                    <a:pt x="186" y="180"/>
                  </a:lnTo>
                  <a:lnTo>
                    <a:pt x="187" y="191"/>
                  </a:lnTo>
                  <a:lnTo>
                    <a:pt x="189" y="204"/>
                  </a:lnTo>
                  <a:lnTo>
                    <a:pt x="61" y="204"/>
                  </a:lnTo>
                  <a:close/>
                  <a:moveTo>
                    <a:pt x="100" y="7"/>
                  </a:moveTo>
                  <a:lnTo>
                    <a:pt x="89" y="0"/>
                  </a:lnTo>
                  <a:lnTo>
                    <a:pt x="0" y="154"/>
                  </a:lnTo>
                  <a:lnTo>
                    <a:pt x="11" y="160"/>
                  </a:lnTo>
                  <a:lnTo>
                    <a:pt x="16" y="165"/>
                  </a:lnTo>
                  <a:lnTo>
                    <a:pt x="21" y="170"/>
                  </a:lnTo>
                  <a:lnTo>
                    <a:pt x="25" y="176"/>
                  </a:lnTo>
                  <a:lnTo>
                    <a:pt x="29" y="184"/>
                  </a:lnTo>
                  <a:lnTo>
                    <a:pt x="32" y="191"/>
                  </a:lnTo>
                  <a:lnTo>
                    <a:pt x="35" y="200"/>
                  </a:lnTo>
                  <a:lnTo>
                    <a:pt x="36" y="209"/>
                  </a:lnTo>
                  <a:lnTo>
                    <a:pt x="37" y="217"/>
                  </a:lnTo>
                  <a:lnTo>
                    <a:pt x="37" y="229"/>
                  </a:lnTo>
                  <a:lnTo>
                    <a:pt x="215" y="229"/>
                  </a:lnTo>
                  <a:lnTo>
                    <a:pt x="215" y="217"/>
                  </a:lnTo>
                  <a:lnTo>
                    <a:pt x="214" y="201"/>
                  </a:lnTo>
                  <a:lnTo>
                    <a:pt x="213" y="185"/>
                  </a:lnTo>
                  <a:lnTo>
                    <a:pt x="210" y="170"/>
                  </a:lnTo>
                  <a:lnTo>
                    <a:pt x="206" y="154"/>
                  </a:lnTo>
                  <a:lnTo>
                    <a:pt x="201" y="139"/>
                  </a:lnTo>
                  <a:lnTo>
                    <a:pt x="196" y="124"/>
                  </a:lnTo>
                  <a:lnTo>
                    <a:pt x="189" y="109"/>
                  </a:lnTo>
                  <a:lnTo>
                    <a:pt x="183" y="95"/>
                  </a:lnTo>
                  <a:lnTo>
                    <a:pt x="174" y="81"/>
                  </a:lnTo>
                  <a:lnTo>
                    <a:pt x="166" y="68"/>
                  </a:lnTo>
                  <a:lnTo>
                    <a:pt x="156" y="55"/>
                  </a:lnTo>
                  <a:lnTo>
                    <a:pt x="146" y="44"/>
                  </a:lnTo>
                  <a:lnTo>
                    <a:pt x="135" y="34"/>
                  </a:lnTo>
                  <a:lnTo>
                    <a:pt x="124" y="23"/>
                  </a:lnTo>
                  <a:lnTo>
                    <a:pt x="112" y="14"/>
                  </a:lnTo>
                  <a:lnTo>
                    <a:pt x="10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7" name="Freeform 110">
              <a:extLst>
                <a:ext uri="{FF2B5EF4-FFF2-40B4-BE49-F238E27FC236}">
                  <a16:creationId xmlns:a16="http://schemas.microsoft.com/office/drawing/2014/main" id="{20E90A29-92E7-4197-AA22-2A691E253CB4}"/>
                </a:ext>
              </a:extLst>
            </p:cNvPr>
            <p:cNvSpPr>
              <a:spLocks noEditPoints="1"/>
            </p:cNvSpPr>
            <p:nvPr/>
          </p:nvSpPr>
          <p:spPr bwMode="auto">
            <a:xfrm>
              <a:off x="1004334" y="6653635"/>
              <a:ext cx="94168" cy="70253"/>
            </a:xfrm>
            <a:custGeom>
              <a:avLst/>
              <a:gdLst>
                <a:gd name="T0" fmla="*/ 35 w 251"/>
                <a:gd name="T1" fmla="*/ 145 h 191"/>
                <a:gd name="T2" fmla="*/ 99 w 251"/>
                <a:gd name="T3" fmla="*/ 33 h 191"/>
                <a:gd name="T4" fmla="*/ 106 w 251"/>
                <a:gd name="T5" fmla="*/ 35 h 191"/>
                <a:gd name="T6" fmla="*/ 112 w 251"/>
                <a:gd name="T7" fmla="*/ 37 h 191"/>
                <a:gd name="T8" fmla="*/ 119 w 251"/>
                <a:gd name="T9" fmla="*/ 39 h 191"/>
                <a:gd name="T10" fmla="*/ 125 w 251"/>
                <a:gd name="T11" fmla="*/ 39 h 191"/>
                <a:gd name="T12" fmla="*/ 133 w 251"/>
                <a:gd name="T13" fmla="*/ 39 h 191"/>
                <a:gd name="T14" fmla="*/ 139 w 251"/>
                <a:gd name="T15" fmla="*/ 37 h 191"/>
                <a:gd name="T16" fmla="*/ 146 w 251"/>
                <a:gd name="T17" fmla="*/ 35 h 191"/>
                <a:gd name="T18" fmla="*/ 152 w 251"/>
                <a:gd name="T19" fmla="*/ 33 h 191"/>
                <a:gd name="T20" fmla="*/ 216 w 251"/>
                <a:gd name="T21" fmla="*/ 145 h 191"/>
                <a:gd name="T22" fmla="*/ 206 w 251"/>
                <a:gd name="T23" fmla="*/ 150 h 191"/>
                <a:gd name="T24" fmla="*/ 194 w 251"/>
                <a:gd name="T25" fmla="*/ 154 h 191"/>
                <a:gd name="T26" fmla="*/ 183 w 251"/>
                <a:gd name="T27" fmla="*/ 158 h 191"/>
                <a:gd name="T28" fmla="*/ 171 w 251"/>
                <a:gd name="T29" fmla="*/ 161 h 191"/>
                <a:gd name="T30" fmla="*/ 161 w 251"/>
                <a:gd name="T31" fmla="*/ 163 h 191"/>
                <a:gd name="T32" fmla="*/ 149 w 251"/>
                <a:gd name="T33" fmla="*/ 165 h 191"/>
                <a:gd name="T34" fmla="*/ 137 w 251"/>
                <a:gd name="T35" fmla="*/ 166 h 191"/>
                <a:gd name="T36" fmla="*/ 125 w 251"/>
                <a:gd name="T37" fmla="*/ 166 h 191"/>
                <a:gd name="T38" fmla="*/ 113 w 251"/>
                <a:gd name="T39" fmla="*/ 166 h 191"/>
                <a:gd name="T40" fmla="*/ 102 w 251"/>
                <a:gd name="T41" fmla="*/ 165 h 191"/>
                <a:gd name="T42" fmla="*/ 91 w 251"/>
                <a:gd name="T43" fmla="*/ 163 h 191"/>
                <a:gd name="T44" fmla="*/ 79 w 251"/>
                <a:gd name="T45" fmla="*/ 161 h 191"/>
                <a:gd name="T46" fmla="*/ 67 w 251"/>
                <a:gd name="T47" fmla="*/ 158 h 191"/>
                <a:gd name="T48" fmla="*/ 56 w 251"/>
                <a:gd name="T49" fmla="*/ 154 h 191"/>
                <a:gd name="T50" fmla="*/ 46 w 251"/>
                <a:gd name="T51" fmla="*/ 150 h 191"/>
                <a:gd name="T52" fmla="*/ 35 w 251"/>
                <a:gd name="T53" fmla="*/ 145 h 191"/>
                <a:gd name="T54" fmla="*/ 151 w 251"/>
                <a:gd name="T55" fmla="*/ 6 h 191"/>
                <a:gd name="T56" fmla="*/ 144 w 251"/>
                <a:gd name="T57" fmla="*/ 10 h 191"/>
                <a:gd name="T58" fmla="*/ 138 w 251"/>
                <a:gd name="T59" fmla="*/ 12 h 191"/>
                <a:gd name="T60" fmla="*/ 132 w 251"/>
                <a:gd name="T61" fmla="*/ 13 h 191"/>
                <a:gd name="T62" fmla="*/ 125 w 251"/>
                <a:gd name="T63" fmla="*/ 13 h 191"/>
                <a:gd name="T64" fmla="*/ 119 w 251"/>
                <a:gd name="T65" fmla="*/ 13 h 191"/>
                <a:gd name="T66" fmla="*/ 112 w 251"/>
                <a:gd name="T67" fmla="*/ 12 h 191"/>
                <a:gd name="T68" fmla="*/ 106 w 251"/>
                <a:gd name="T69" fmla="*/ 10 h 191"/>
                <a:gd name="T70" fmla="*/ 100 w 251"/>
                <a:gd name="T71" fmla="*/ 6 h 191"/>
                <a:gd name="T72" fmla="*/ 89 w 251"/>
                <a:gd name="T73" fmla="*/ 0 h 191"/>
                <a:gd name="T74" fmla="*/ 0 w 251"/>
                <a:gd name="T75" fmla="*/ 154 h 191"/>
                <a:gd name="T76" fmla="*/ 11 w 251"/>
                <a:gd name="T77" fmla="*/ 161 h 191"/>
                <a:gd name="T78" fmla="*/ 24 w 251"/>
                <a:gd name="T79" fmla="*/ 167 h 191"/>
                <a:gd name="T80" fmla="*/ 38 w 251"/>
                <a:gd name="T81" fmla="*/ 174 h 191"/>
                <a:gd name="T82" fmla="*/ 52 w 251"/>
                <a:gd name="T83" fmla="*/ 179 h 191"/>
                <a:gd name="T84" fmla="*/ 66 w 251"/>
                <a:gd name="T85" fmla="*/ 183 h 191"/>
                <a:gd name="T86" fmla="*/ 81 w 251"/>
                <a:gd name="T87" fmla="*/ 187 h 191"/>
                <a:gd name="T88" fmla="*/ 95 w 251"/>
                <a:gd name="T89" fmla="*/ 189 h 191"/>
                <a:gd name="T90" fmla="*/ 110 w 251"/>
                <a:gd name="T91" fmla="*/ 191 h 191"/>
                <a:gd name="T92" fmla="*/ 125 w 251"/>
                <a:gd name="T93" fmla="*/ 191 h 191"/>
                <a:gd name="T94" fmla="*/ 140 w 251"/>
                <a:gd name="T95" fmla="*/ 191 h 191"/>
                <a:gd name="T96" fmla="*/ 155 w 251"/>
                <a:gd name="T97" fmla="*/ 189 h 191"/>
                <a:gd name="T98" fmla="*/ 170 w 251"/>
                <a:gd name="T99" fmla="*/ 187 h 191"/>
                <a:gd name="T100" fmla="*/ 184 w 251"/>
                <a:gd name="T101" fmla="*/ 183 h 191"/>
                <a:gd name="T102" fmla="*/ 199 w 251"/>
                <a:gd name="T103" fmla="*/ 179 h 191"/>
                <a:gd name="T104" fmla="*/ 213 w 251"/>
                <a:gd name="T105" fmla="*/ 174 h 191"/>
                <a:gd name="T106" fmla="*/ 227 w 251"/>
                <a:gd name="T107" fmla="*/ 167 h 191"/>
                <a:gd name="T108" fmla="*/ 240 w 251"/>
                <a:gd name="T109" fmla="*/ 161 h 191"/>
                <a:gd name="T110" fmla="*/ 251 w 251"/>
                <a:gd name="T111" fmla="*/ 154 h 191"/>
                <a:gd name="T112" fmla="*/ 162 w 251"/>
                <a:gd name="T113" fmla="*/ 0 h 191"/>
                <a:gd name="T114" fmla="*/ 151 w 251"/>
                <a:gd name="T115" fmla="*/ 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191">
                  <a:moveTo>
                    <a:pt x="35" y="145"/>
                  </a:moveTo>
                  <a:lnTo>
                    <a:pt x="99" y="33"/>
                  </a:lnTo>
                  <a:lnTo>
                    <a:pt x="106" y="35"/>
                  </a:lnTo>
                  <a:lnTo>
                    <a:pt x="112" y="37"/>
                  </a:lnTo>
                  <a:lnTo>
                    <a:pt x="119" y="39"/>
                  </a:lnTo>
                  <a:lnTo>
                    <a:pt x="125" y="39"/>
                  </a:lnTo>
                  <a:lnTo>
                    <a:pt x="133" y="39"/>
                  </a:lnTo>
                  <a:lnTo>
                    <a:pt x="139" y="37"/>
                  </a:lnTo>
                  <a:lnTo>
                    <a:pt x="146" y="35"/>
                  </a:lnTo>
                  <a:lnTo>
                    <a:pt x="152" y="33"/>
                  </a:lnTo>
                  <a:lnTo>
                    <a:pt x="216" y="145"/>
                  </a:lnTo>
                  <a:lnTo>
                    <a:pt x="206" y="150"/>
                  </a:lnTo>
                  <a:lnTo>
                    <a:pt x="194" y="154"/>
                  </a:lnTo>
                  <a:lnTo>
                    <a:pt x="183" y="158"/>
                  </a:lnTo>
                  <a:lnTo>
                    <a:pt x="171" y="161"/>
                  </a:lnTo>
                  <a:lnTo>
                    <a:pt x="161" y="163"/>
                  </a:lnTo>
                  <a:lnTo>
                    <a:pt x="149" y="165"/>
                  </a:lnTo>
                  <a:lnTo>
                    <a:pt x="137" y="166"/>
                  </a:lnTo>
                  <a:lnTo>
                    <a:pt x="125" y="166"/>
                  </a:lnTo>
                  <a:lnTo>
                    <a:pt x="113" y="166"/>
                  </a:lnTo>
                  <a:lnTo>
                    <a:pt x="102" y="165"/>
                  </a:lnTo>
                  <a:lnTo>
                    <a:pt x="91" y="163"/>
                  </a:lnTo>
                  <a:lnTo>
                    <a:pt x="79" y="161"/>
                  </a:lnTo>
                  <a:lnTo>
                    <a:pt x="67" y="158"/>
                  </a:lnTo>
                  <a:lnTo>
                    <a:pt x="56" y="154"/>
                  </a:lnTo>
                  <a:lnTo>
                    <a:pt x="46" y="150"/>
                  </a:lnTo>
                  <a:lnTo>
                    <a:pt x="35" y="145"/>
                  </a:lnTo>
                  <a:close/>
                  <a:moveTo>
                    <a:pt x="151" y="6"/>
                  </a:moveTo>
                  <a:lnTo>
                    <a:pt x="144" y="10"/>
                  </a:lnTo>
                  <a:lnTo>
                    <a:pt x="138" y="12"/>
                  </a:lnTo>
                  <a:lnTo>
                    <a:pt x="132" y="13"/>
                  </a:lnTo>
                  <a:lnTo>
                    <a:pt x="125" y="13"/>
                  </a:lnTo>
                  <a:lnTo>
                    <a:pt x="119" y="13"/>
                  </a:lnTo>
                  <a:lnTo>
                    <a:pt x="112" y="12"/>
                  </a:lnTo>
                  <a:lnTo>
                    <a:pt x="106" y="10"/>
                  </a:lnTo>
                  <a:lnTo>
                    <a:pt x="100" y="6"/>
                  </a:lnTo>
                  <a:lnTo>
                    <a:pt x="89" y="0"/>
                  </a:lnTo>
                  <a:lnTo>
                    <a:pt x="0" y="154"/>
                  </a:lnTo>
                  <a:lnTo>
                    <a:pt x="11" y="161"/>
                  </a:lnTo>
                  <a:lnTo>
                    <a:pt x="24" y="167"/>
                  </a:lnTo>
                  <a:lnTo>
                    <a:pt x="38" y="174"/>
                  </a:lnTo>
                  <a:lnTo>
                    <a:pt x="52" y="179"/>
                  </a:lnTo>
                  <a:lnTo>
                    <a:pt x="66" y="183"/>
                  </a:lnTo>
                  <a:lnTo>
                    <a:pt x="81" y="187"/>
                  </a:lnTo>
                  <a:lnTo>
                    <a:pt x="95" y="189"/>
                  </a:lnTo>
                  <a:lnTo>
                    <a:pt x="110" y="191"/>
                  </a:lnTo>
                  <a:lnTo>
                    <a:pt x="125" y="191"/>
                  </a:lnTo>
                  <a:lnTo>
                    <a:pt x="140" y="191"/>
                  </a:lnTo>
                  <a:lnTo>
                    <a:pt x="155" y="189"/>
                  </a:lnTo>
                  <a:lnTo>
                    <a:pt x="170" y="187"/>
                  </a:lnTo>
                  <a:lnTo>
                    <a:pt x="184" y="183"/>
                  </a:lnTo>
                  <a:lnTo>
                    <a:pt x="199" y="179"/>
                  </a:lnTo>
                  <a:lnTo>
                    <a:pt x="213" y="174"/>
                  </a:lnTo>
                  <a:lnTo>
                    <a:pt x="227" y="167"/>
                  </a:lnTo>
                  <a:lnTo>
                    <a:pt x="240" y="161"/>
                  </a:lnTo>
                  <a:lnTo>
                    <a:pt x="251" y="154"/>
                  </a:lnTo>
                  <a:lnTo>
                    <a:pt x="162" y="0"/>
                  </a:lnTo>
                  <a:lnTo>
                    <a:pt x="15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8" name="Freeform 111">
              <a:extLst>
                <a:ext uri="{FF2B5EF4-FFF2-40B4-BE49-F238E27FC236}">
                  <a16:creationId xmlns:a16="http://schemas.microsoft.com/office/drawing/2014/main" id="{A7BE9175-D1F0-4453-9E65-C1BF36302AB0}"/>
                </a:ext>
              </a:extLst>
            </p:cNvPr>
            <p:cNvSpPr>
              <a:spLocks noEditPoints="1"/>
            </p:cNvSpPr>
            <p:nvPr/>
          </p:nvSpPr>
          <p:spPr bwMode="auto">
            <a:xfrm>
              <a:off x="966965" y="6562456"/>
              <a:ext cx="79221" cy="85200"/>
            </a:xfrm>
            <a:custGeom>
              <a:avLst/>
              <a:gdLst>
                <a:gd name="T0" fmla="*/ 26 w 215"/>
                <a:gd name="T1" fmla="*/ 204 h 229"/>
                <a:gd name="T2" fmla="*/ 27 w 215"/>
                <a:gd name="T3" fmla="*/ 191 h 229"/>
                <a:gd name="T4" fmla="*/ 29 w 215"/>
                <a:gd name="T5" fmla="*/ 180 h 229"/>
                <a:gd name="T6" fmla="*/ 32 w 215"/>
                <a:gd name="T7" fmla="*/ 168 h 229"/>
                <a:gd name="T8" fmla="*/ 35 w 215"/>
                <a:gd name="T9" fmla="*/ 155 h 229"/>
                <a:gd name="T10" fmla="*/ 39 w 215"/>
                <a:gd name="T11" fmla="*/ 143 h 229"/>
                <a:gd name="T12" fmla="*/ 43 w 215"/>
                <a:gd name="T13" fmla="*/ 131 h 229"/>
                <a:gd name="T14" fmla="*/ 49 w 215"/>
                <a:gd name="T15" fmla="*/ 119 h 229"/>
                <a:gd name="T16" fmla="*/ 54 w 215"/>
                <a:gd name="T17" fmla="*/ 109 h 229"/>
                <a:gd name="T18" fmla="*/ 61 w 215"/>
                <a:gd name="T19" fmla="*/ 97 h 229"/>
                <a:gd name="T20" fmla="*/ 67 w 215"/>
                <a:gd name="T21" fmla="*/ 86 h 229"/>
                <a:gd name="T22" fmla="*/ 75 w 215"/>
                <a:gd name="T23" fmla="*/ 77 h 229"/>
                <a:gd name="T24" fmla="*/ 82 w 215"/>
                <a:gd name="T25" fmla="*/ 67 h 229"/>
                <a:gd name="T26" fmla="*/ 91 w 215"/>
                <a:gd name="T27" fmla="*/ 58 h 229"/>
                <a:gd name="T28" fmla="*/ 99 w 215"/>
                <a:gd name="T29" fmla="*/ 50 h 229"/>
                <a:gd name="T30" fmla="*/ 108 w 215"/>
                <a:gd name="T31" fmla="*/ 42 h 229"/>
                <a:gd name="T32" fmla="*/ 116 w 215"/>
                <a:gd name="T33" fmla="*/ 35 h 229"/>
                <a:gd name="T34" fmla="*/ 181 w 215"/>
                <a:gd name="T35" fmla="*/ 146 h 229"/>
                <a:gd name="T36" fmla="*/ 175 w 215"/>
                <a:gd name="T37" fmla="*/ 153 h 229"/>
                <a:gd name="T38" fmla="*/ 171 w 215"/>
                <a:gd name="T39" fmla="*/ 158 h 229"/>
                <a:gd name="T40" fmla="*/ 167 w 215"/>
                <a:gd name="T41" fmla="*/ 166 h 229"/>
                <a:gd name="T42" fmla="*/ 163 w 215"/>
                <a:gd name="T43" fmla="*/ 173 h 229"/>
                <a:gd name="T44" fmla="*/ 159 w 215"/>
                <a:gd name="T45" fmla="*/ 181 h 229"/>
                <a:gd name="T46" fmla="*/ 157 w 215"/>
                <a:gd name="T47" fmla="*/ 188 h 229"/>
                <a:gd name="T48" fmla="*/ 155 w 215"/>
                <a:gd name="T49" fmla="*/ 196 h 229"/>
                <a:gd name="T50" fmla="*/ 154 w 215"/>
                <a:gd name="T51" fmla="*/ 204 h 229"/>
                <a:gd name="T52" fmla="*/ 26 w 215"/>
                <a:gd name="T53" fmla="*/ 204 h 229"/>
                <a:gd name="T54" fmla="*/ 179 w 215"/>
                <a:gd name="T55" fmla="*/ 217 h 229"/>
                <a:gd name="T56" fmla="*/ 179 w 215"/>
                <a:gd name="T57" fmla="*/ 209 h 229"/>
                <a:gd name="T58" fmla="*/ 181 w 215"/>
                <a:gd name="T59" fmla="*/ 200 h 229"/>
                <a:gd name="T60" fmla="*/ 183 w 215"/>
                <a:gd name="T61" fmla="*/ 191 h 229"/>
                <a:gd name="T62" fmla="*/ 186 w 215"/>
                <a:gd name="T63" fmla="*/ 184 h 229"/>
                <a:gd name="T64" fmla="*/ 189 w 215"/>
                <a:gd name="T65" fmla="*/ 176 h 229"/>
                <a:gd name="T66" fmla="*/ 194 w 215"/>
                <a:gd name="T67" fmla="*/ 170 h 229"/>
                <a:gd name="T68" fmla="*/ 199 w 215"/>
                <a:gd name="T69" fmla="*/ 165 h 229"/>
                <a:gd name="T70" fmla="*/ 204 w 215"/>
                <a:gd name="T71" fmla="*/ 160 h 229"/>
                <a:gd name="T72" fmla="*/ 215 w 215"/>
                <a:gd name="T73" fmla="*/ 154 h 229"/>
                <a:gd name="T74" fmla="*/ 126 w 215"/>
                <a:gd name="T75" fmla="*/ 0 h 229"/>
                <a:gd name="T76" fmla="*/ 115 w 215"/>
                <a:gd name="T77" fmla="*/ 7 h 229"/>
                <a:gd name="T78" fmla="*/ 102 w 215"/>
                <a:gd name="T79" fmla="*/ 14 h 229"/>
                <a:gd name="T80" fmla="*/ 91 w 215"/>
                <a:gd name="T81" fmla="*/ 23 h 229"/>
                <a:gd name="T82" fmla="*/ 80 w 215"/>
                <a:gd name="T83" fmla="*/ 34 h 229"/>
                <a:gd name="T84" fmla="*/ 69 w 215"/>
                <a:gd name="T85" fmla="*/ 44 h 229"/>
                <a:gd name="T86" fmla="*/ 58 w 215"/>
                <a:gd name="T87" fmla="*/ 55 h 229"/>
                <a:gd name="T88" fmla="*/ 50 w 215"/>
                <a:gd name="T89" fmla="*/ 68 h 229"/>
                <a:gd name="T90" fmla="*/ 40 w 215"/>
                <a:gd name="T91" fmla="*/ 81 h 229"/>
                <a:gd name="T92" fmla="*/ 33 w 215"/>
                <a:gd name="T93" fmla="*/ 95 h 229"/>
                <a:gd name="T94" fmla="*/ 25 w 215"/>
                <a:gd name="T95" fmla="*/ 109 h 229"/>
                <a:gd name="T96" fmla="*/ 19 w 215"/>
                <a:gd name="T97" fmla="*/ 124 h 229"/>
                <a:gd name="T98" fmla="*/ 13 w 215"/>
                <a:gd name="T99" fmla="*/ 139 h 229"/>
                <a:gd name="T100" fmla="*/ 9 w 215"/>
                <a:gd name="T101" fmla="*/ 154 h 229"/>
                <a:gd name="T102" fmla="*/ 5 w 215"/>
                <a:gd name="T103" fmla="*/ 170 h 229"/>
                <a:gd name="T104" fmla="*/ 3 w 215"/>
                <a:gd name="T105" fmla="*/ 185 h 229"/>
                <a:gd name="T106" fmla="*/ 0 w 215"/>
                <a:gd name="T107" fmla="*/ 201 h 229"/>
                <a:gd name="T108" fmla="*/ 0 w 215"/>
                <a:gd name="T109" fmla="*/ 217 h 229"/>
                <a:gd name="T110" fmla="*/ 0 w 215"/>
                <a:gd name="T111" fmla="*/ 229 h 229"/>
                <a:gd name="T112" fmla="*/ 179 w 215"/>
                <a:gd name="T113" fmla="*/ 229 h 229"/>
                <a:gd name="T114" fmla="*/ 179 w 215"/>
                <a:gd name="T115"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229">
                  <a:moveTo>
                    <a:pt x="26" y="204"/>
                  </a:moveTo>
                  <a:lnTo>
                    <a:pt x="27" y="191"/>
                  </a:lnTo>
                  <a:lnTo>
                    <a:pt x="29" y="180"/>
                  </a:lnTo>
                  <a:lnTo>
                    <a:pt x="32" y="168"/>
                  </a:lnTo>
                  <a:lnTo>
                    <a:pt x="35" y="155"/>
                  </a:lnTo>
                  <a:lnTo>
                    <a:pt x="39" y="143"/>
                  </a:lnTo>
                  <a:lnTo>
                    <a:pt x="43" y="131"/>
                  </a:lnTo>
                  <a:lnTo>
                    <a:pt x="49" y="119"/>
                  </a:lnTo>
                  <a:lnTo>
                    <a:pt x="54" y="109"/>
                  </a:lnTo>
                  <a:lnTo>
                    <a:pt x="61" y="97"/>
                  </a:lnTo>
                  <a:lnTo>
                    <a:pt x="67" y="86"/>
                  </a:lnTo>
                  <a:lnTo>
                    <a:pt x="75" y="77"/>
                  </a:lnTo>
                  <a:lnTo>
                    <a:pt x="82" y="67"/>
                  </a:lnTo>
                  <a:lnTo>
                    <a:pt x="91" y="58"/>
                  </a:lnTo>
                  <a:lnTo>
                    <a:pt x="99" y="50"/>
                  </a:lnTo>
                  <a:lnTo>
                    <a:pt x="108" y="42"/>
                  </a:lnTo>
                  <a:lnTo>
                    <a:pt x="116" y="35"/>
                  </a:lnTo>
                  <a:lnTo>
                    <a:pt x="181" y="146"/>
                  </a:lnTo>
                  <a:lnTo>
                    <a:pt x="175" y="153"/>
                  </a:lnTo>
                  <a:lnTo>
                    <a:pt x="171" y="158"/>
                  </a:lnTo>
                  <a:lnTo>
                    <a:pt x="167" y="166"/>
                  </a:lnTo>
                  <a:lnTo>
                    <a:pt x="163" y="173"/>
                  </a:lnTo>
                  <a:lnTo>
                    <a:pt x="159" y="181"/>
                  </a:lnTo>
                  <a:lnTo>
                    <a:pt x="157" y="188"/>
                  </a:lnTo>
                  <a:lnTo>
                    <a:pt x="155" y="196"/>
                  </a:lnTo>
                  <a:lnTo>
                    <a:pt x="154" y="204"/>
                  </a:lnTo>
                  <a:lnTo>
                    <a:pt x="26" y="204"/>
                  </a:lnTo>
                  <a:close/>
                  <a:moveTo>
                    <a:pt x="179" y="217"/>
                  </a:moveTo>
                  <a:lnTo>
                    <a:pt x="179" y="209"/>
                  </a:lnTo>
                  <a:lnTo>
                    <a:pt x="181" y="200"/>
                  </a:lnTo>
                  <a:lnTo>
                    <a:pt x="183" y="191"/>
                  </a:lnTo>
                  <a:lnTo>
                    <a:pt x="186" y="184"/>
                  </a:lnTo>
                  <a:lnTo>
                    <a:pt x="189" y="176"/>
                  </a:lnTo>
                  <a:lnTo>
                    <a:pt x="194" y="170"/>
                  </a:lnTo>
                  <a:lnTo>
                    <a:pt x="199" y="165"/>
                  </a:lnTo>
                  <a:lnTo>
                    <a:pt x="204" y="160"/>
                  </a:lnTo>
                  <a:lnTo>
                    <a:pt x="215" y="154"/>
                  </a:lnTo>
                  <a:lnTo>
                    <a:pt x="126" y="0"/>
                  </a:lnTo>
                  <a:lnTo>
                    <a:pt x="115" y="7"/>
                  </a:lnTo>
                  <a:lnTo>
                    <a:pt x="102" y="14"/>
                  </a:lnTo>
                  <a:lnTo>
                    <a:pt x="91" y="23"/>
                  </a:lnTo>
                  <a:lnTo>
                    <a:pt x="80" y="34"/>
                  </a:lnTo>
                  <a:lnTo>
                    <a:pt x="69" y="44"/>
                  </a:lnTo>
                  <a:lnTo>
                    <a:pt x="58" y="55"/>
                  </a:lnTo>
                  <a:lnTo>
                    <a:pt x="50" y="68"/>
                  </a:lnTo>
                  <a:lnTo>
                    <a:pt x="40" y="81"/>
                  </a:lnTo>
                  <a:lnTo>
                    <a:pt x="33" y="95"/>
                  </a:lnTo>
                  <a:lnTo>
                    <a:pt x="25" y="109"/>
                  </a:lnTo>
                  <a:lnTo>
                    <a:pt x="19" y="124"/>
                  </a:lnTo>
                  <a:lnTo>
                    <a:pt x="13" y="139"/>
                  </a:lnTo>
                  <a:lnTo>
                    <a:pt x="9" y="154"/>
                  </a:lnTo>
                  <a:lnTo>
                    <a:pt x="5" y="170"/>
                  </a:lnTo>
                  <a:lnTo>
                    <a:pt x="3" y="185"/>
                  </a:lnTo>
                  <a:lnTo>
                    <a:pt x="0" y="201"/>
                  </a:lnTo>
                  <a:lnTo>
                    <a:pt x="0" y="217"/>
                  </a:lnTo>
                  <a:lnTo>
                    <a:pt x="0" y="229"/>
                  </a:lnTo>
                  <a:lnTo>
                    <a:pt x="179" y="229"/>
                  </a:lnTo>
                  <a:lnTo>
                    <a:pt x="179"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29" name="Freeform 112">
              <a:extLst>
                <a:ext uri="{FF2B5EF4-FFF2-40B4-BE49-F238E27FC236}">
                  <a16:creationId xmlns:a16="http://schemas.microsoft.com/office/drawing/2014/main" id="{91059D0A-2A53-4AAE-BEC9-35CE5CBBDE8A}"/>
                </a:ext>
              </a:extLst>
            </p:cNvPr>
            <p:cNvSpPr>
              <a:spLocks/>
            </p:cNvSpPr>
            <p:nvPr/>
          </p:nvSpPr>
          <p:spPr bwMode="auto">
            <a:xfrm>
              <a:off x="1043197" y="6629719"/>
              <a:ext cx="17937" cy="17937"/>
            </a:xfrm>
            <a:custGeom>
              <a:avLst/>
              <a:gdLst>
                <a:gd name="T0" fmla="*/ 0 w 51"/>
                <a:gd name="T1" fmla="*/ 25 h 50"/>
                <a:gd name="T2" fmla="*/ 0 w 51"/>
                <a:gd name="T3" fmla="*/ 30 h 50"/>
                <a:gd name="T4" fmla="*/ 2 w 51"/>
                <a:gd name="T5" fmla="*/ 35 h 50"/>
                <a:gd name="T6" fmla="*/ 5 w 51"/>
                <a:gd name="T7" fmla="*/ 39 h 50"/>
                <a:gd name="T8" fmla="*/ 7 w 51"/>
                <a:gd name="T9" fmla="*/ 42 h 50"/>
                <a:gd name="T10" fmla="*/ 11 w 51"/>
                <a:gd name="T11" fmla="*/ 46 h 50"/>
                <a:gd name="T12" fmla="*/ 15 w 51"/>
                <a:gd name="T13" fmla="*/ 49 h 50"/>
                <a:gd name="T14" fmla="*/ 20 w 51"/>
                <a:gd name="T15" fmla="*/ 50 h 50"/>
                <a:gd name="T16" fmla="*/ 25 w 51"/>
                <a:gd name="T17" fmla="*/ 50 h 50"/>
                <a:gd name="T18" fmla="*/ 31 w 51"/>
                <a:gd name="T19" fmla="*/ 50 h 50"/>
                <a:gd name="T20" fmla="*/ 35 w 51"/>
                <a:gd name="T21" fmla="*/ 49 h 50"/>
                <a:gd name="T22" fmla="*/ 40 w 51"/>
                <a:gd name="T23" fmla="*/ 46 h 50"/>
                <a:gd name="T24" fmla="*/ 43 w 51"/>
                <a:gd name="T25" fmla="*/ 42 h 50"/>
                <a:gd name="T26" fmla="*/ 47 w 51"/>
                <a:gd name="T27" fmla="*/ 39 h 50"/>
                <a:gd name="T28" fmla="*/ 49 w 51"/>
                <a:gd name="T29" fmla="*/ 35 h 50"/>
                <a:gd name="T30" fmla="*/ 50 w 51"/>
                <a:gd name="T31" fmla="*/ 30 h 50"/>
                <a:gd name="T32" fmla="*/ 51 w 51"/>
                <a:gd name="T33" fmla="*/ 25 h 50"/>
                <a:gd name="T34" fmla="*/ 50 w 51"/>
                <a:gd name="T35" fmla="*/ 20 h 50"/>
                <a:gd name="T36" fmla="*/ 49 w 51"/>
                <a:gd name="T37" fmla="*/ 15 h 50"/>
                <a:gd name="T38" fmla="*/ 47 w 51"/>
                <a:gd name="T39" fmla="*/ 10 h 50"/>
                <a:gd name="T40" fmla="*/ 43 w 51"/>
                <a:gd name="T41" fmla="*/ 7 h 50"/>
                <a:gd name="T42" fmla="*/ 40 w 51"/>
                <a:gd name="T43" fmla="*/ 4 h 50"/>
                <a:gd name="T44" fmla="*/ 35 w 51"/>
                <a:gd name="T45" fmla="*/ 2 h 50"/>
                <a:gd name="T46" fmla="*/ 31 w 51"/>
                <a:gd name="T47" fmla="*/ 0 h 50"/>
                <a:gd name="T48" fmla="*/ 25 w 51"/>
                <a:gd name="T49" fmla="*/ 0 h 50"/>
                <a:gd name="T50" fmla="*/ 20 w 51"/>
                <a:gd name="T51" fmla="*/ 0 h 50"/>
                <a:gd name="T52" fmla="*/ 15 w 51"/>
                <a:gd name="T53" fmla="*/ 2 h 50"/>
                <a:gd name="T54" fmla="*/ 11 w 51"/>
                <a:gd name="T55" fmla="*/ 4 h 50"/>
                <a:gd name="T56" fmla="*/ 7 w 51"/>
                <a:gd name="T57" fmla="*/ 7 h 50"/>
                <a:gd name="T58" fmla="*/ 5 w 51"/>
                <a:gd name="T59" fmla="*/ 10 h 50"/>
                <a:gd name="T60" fmla="*/ 2 w 51"/>
                <a:gd name="T61" fmla="*/ 15 h 50"/>
                <a:gd name="T62" fmla="*/ 0 w 51"/>
                <a:gd name="T63" fmla="*/ 20 h 50"/>
                <a:gd name="T64" fmla="*/ 0 w 51"/>
                <a:gd name="T6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0">
                  <a:moveTo>
                    <a:pt x="0" y="25"/>
                  </a:moveTo>
                  <a:lnTo>
                    <a:pt x="0" y="30"/>
                  </a:lnTo>
                  <a:lnTo>
                    <a:pt x="2" y="35"/>
                  </a:lnTo>
                  <a:lnTo>
                    <a:pt x="5" y="39"/>
                  </a:lnTo>
                  <a:lnTo>
                    <a:pt x="7" y="42"/>
                  </a:lnTo>
                  <a:lnTo>
                    <a:pt x="11" y="46"/>
                  </a:lnTo>
                  <a:lnTo>
                    <a:pt x="15" y="49"/>
                  </a:lnTo>
                  <a:lnTo>
                    <a:pt x="20" y="50"/>
                  </a:lnTo>
                  <a:lnTo>
                    <a:pt x="25" y="50"/>
                  </a:lnTo>
                  <a:lnTo>
                    <a:pt x="31" y="50"/>
                  </a:lnTo>
                  <a:lnTo>
                    <a:pt x="35" y="49"/>
                  </a:lnTo>
                  <a:lnTo>
                    <a:pt x="40" y="46"/>
                  </a:lnTo>
                  <a:lnTo>
                    <a:pt x="43" y="42"/>
                  </a:lnTo>
                  <a:lnTo>
                    <a:pt x="47" y="39"/>
                  </a:lnTo>
                  <a:lnTo>
                    <a:pt x="49" y="35"/>
                  </a:lnTo>
                  <a:lnTo>
                    <a:pt x="50" y="30"/>
                  </a:lnTo>
                  <a:lnTo>
                    <a:pt x="51" y="25"/>
                  </a:lnTo>
                  <a:lnTo>
                    <a:pt x="50" y="20"/>
                  </a:lnTo>
                  <a:lnTo>
                    <a:pt x="49" y="15"/>
                  </a:lnTo>
                  <a:lnTo>
                    <a:pt x="47" y="10"/>
                  </a:lnTo>
                  <a:lnTo>
                    <a:pt x="43" y="7"/>
                  </a:lnTo>
                  <a:lnTo>
                    <a:pt x="40" y="4"/>
                  </a:lnTo>
                  <a:lnTo>
                    <a:pt x="35" y="2"/>
                  </a:lnTo>
                  <a:lnTo>
                    <a:pt x="31" y="0"/>
                  </a:lnTo>
                  <a:lnTo>
                    <a:pt x="25" y="0"/>
                  </a:lnTo>
                  <a:lnTo>
                    <a:pt x="20" y="0"/>
                  </a:lnTo>
                  <a:lnTo>
                    <a:pt x="15" y="2"/>
                  </a:lnTo>
                  <a:lnTo>
                    <a:pt x="11" y="4"/>
                  </a:lnTo>
                  <a:lnTo>
                    <a:pt x="7" y="7"/>
                  </a:lnTo>
                  <a:lnTo>
                    <a:pt x="5" y="10"/>
                  </a:lnTo>
                  <a:lnTo>
                    <a:pt x="2" y="15"/>
                  </a:lnTo>
                  <a:lnTo>
                    <a:pt x="0" y="20"/>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sp>
        <p:nvSpPr>
          <p:cNvPr id="1454" name="Freeform 20">
            <a:extLst>
              <a:ext uri="{FF2B5EF4-FFF2-40B4-BE49-F238E27FC236}">
                <a16:creationId xmlns:a16="http://schemas.microsoft.com/office/drawing/2014/main" id="{2C95202A-9DD8-4BAB-B929-9E6623B860A9}"/>
              </a:ext>
            </a:extLst>
          </p:cNvPr>
          <p:cNvSpPr>
            <a:spLocks noChangeAspect="1" noEditPoints="1"/>
          </p:cNvSpPr>
          <p:nvPr/>
        </p:nvSpPr>
        <p:spPr bwMode="auto">
          <a:xfrm>
            <a:off x="4511722" y="4879041"/>
            <a:ext cx="162536" cy="285619"/>
          </a:xfrm>
          <a:custGeom>
            <a:avLst/>
            <a:gdLst>
              <a:gd name="T0" fmla="*/ 263 w 514"/>
              <a:gd name="T1" fmla="*/ 487 h 907"/>
              <a:gd name="T2" fmla="*/ 263 w 514"/>
              <a:gd name="T3" fmla="*/ 858 h 907"/>
              <a:gd name="T4" fmla="*/ 476 w 514"/>
              <a:gd name="T5" fmla="*/ 241 h 907"/>
              <a:gd name="T6" fmla="*/ 263 w 514"/>
              <a:gd name="T7" fmla="*/ 48 h 907"/>
              <a:gd name="T8" fmla="*/ 508 w 514"/>
              <a:gd name="T9" fmla="*/ 253 h 907"/>
              <a:gd name="T10" fmla="*/ 513 w 514"/>
              <a:gd name="T11" fmla="*/ 249 h 907"/>
              <a:gd name="T12" fmla="*/ 514 w 514"/>
              <a:gd name="T13" fmla="*/ 242 h 907"/>
              <a:gd name="T14" fmla="*/ 513 w 514"/>
              <a:gd name="T15" fmla="*/ 236 h 907"/>
              <a:gd name="T16" fmla="*/ 509 w 514"/>
              <a:gd name="T17" fmla="*/ 231 h 907"/>
              <a:gd name="T18" fmla="*/ 254 w 514"/>
              <a:gd name="T19" fmla="*/ 1 h 907"/>
              <a:gd name="T20" fmla="*/ 246 w 514"/>
              <a:gd name="T21" fmla="*/ 0 h 907"/>
              <a:gd name="T22" fmla="*/ 238 w 514"/>
              <a:gd name="T23" fmla="*/ 3 h 907"/>
              <a:gd name="T24" fmla="*/ 234 w 514"/>
              <a:gd name="T25" fmla="*/ 11 h 907"/>
              <a:gd name="T26" fmla="*/ 233 w 514"/>
              <a:gd name="T27" fmla="*/ 421 h 907"/>
              <a:gd name="T28" fmla="*/ 22 w 514"/>
              <a:gd name="T29" fmla="*/ 243 h 907"/>
              <a:gd name="T30" fmla="*/ 16 w 514"/>
              <a:gd name="T31" fmla="*/ 242 h 907"/>
              <a:gd name="T32" fmla="*/ 11 w 514"/>
              <a:gd name="T33" fmla="*/ 242 h 907"/>
              <a:gd name="T34" fmla="*/ 5 w 514"/>
              <a:gd name="T35" fmla="*/ 246 h 907"/>
              <a:gd name="T36" fmla="*/ 1 w 514"/>
              <a:gd name="T37" fmla="*/ 250 h 907"/>
              <a:gd name="T38" fmla="*/ 0 w 514"/>
              <a:gd name="T39" fmla="*/ 255 h 907"/>
              <a:gd name="T40" fmla="*/ 0 w 514"/>
              <a:gd name="T41" fmla="*/ 262 h 907"/>
              <a:gd name="T42" fmla="*/ 3 w 514"/>
              <a:gd name="T43" fmla="*/ 267 h 907"/>
              <a:gd name="T44" fmla="*/ 224 w 514"/>
              <a:gd name="T45" fmla="*/ 454 h 907"/>
              <a:gd name="T46" fmla="*/ 3 w 514"/>
              <a:gd name="T47" fmla="*/ 641 h 907"/>
              <a:gd name="T48" fmla="*/ 0 w 514"/>
              <a:gd name="T49" fmla="*/ 647 h 907"/>
              <a:gd name="T50" fmla="*/ 0 w 514"/>
              <a:gd name="T51" fmla="*/ 652 h 907"/>
              <a:gd name="T52" fmla="*/ 1 w 514"/>
              <a:gd name="T53" fmla="*/ 657 h 907"/>
              <a:gd name="T54" fmla="*/ 5 w 514"/>
              <a:gd name="T55" fmla="*/ 663 h 907"/>
              <a:gd name="T56" fmla="*/ 11 w 514"/>
              <a:gd name="T57" fmla="*/ 665 h 907"/>
              <a:gd name="T58" fmla="*/ 16 w 514"/>
              <a:gd name="T59" fmla="*/ 666 h 907"/>
              <a:gd name="T60" fmla="*/ 22 w 514"/>
              <a:gd name="T61" fmla="*/ 664 h 907"/>
              <a:gd name="T62" fmla="*/ 233 w 514"/>
              <a:gd name="T63" fmla="*/ 487 h 907"/>
              <a:gd name="T64" fmla="*/ 234 w 514"/>
              <a:gd name="T65" fmla="*/ 896 h 907"/>
              <a:gd name="T66" fmla="*/ 238 w 514"/>
              <a:gd name="T67" fmla="*/ 904 h 907"/>
              <a:gd name="T68" fmla="*/ 244 w 514"/>
              <a:gd name="T69" fmla="*/ 907 h 907"/>
              <a:gd name="T70" fmla="*/ 253 w 514"/>
              <a:gd name="T71" fmla="*/ 906 h 907"/>
              <a:gd name="T72" fmla="*/ 509 w 514"/>
              <a:gd name="T73" fmla="*/ 677 h 907"/>
              <a:gd name="T74" fmla="*/ 513 w 514"/>
              <a:gd name="T75" fmla="*/ 671 h 907"/>
              <a:gd name="T76" fmla="*/ 514 w 514"/>
              <a:gd name="T77" fmla="*/ 665 h 907"/>
              <a:gd name="T78" fmla="*/ 513 w 514"/>
              <a:gd name="T79" fmla="*/ 659 h 907"/>
              <a:gd name="T80" fmla="*/ 508 w 514"/>
              <a:gd name="T81" fmla="*/ 65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4" h="907">
                <a:moveTo>
                  <a:pt x="263" y="858"/>
                </a:moveTo>
                <a:lnTo>
                  <a:pt x="263" y="487"/>
                </a:lnTo>
                <a:lnTo>
                  <a:pt x="476" y="666"/>
                </a:lnTo>
                <a:lnTo>
                  <a:pt x="263" y="858"/>
                </a:lnTo>
                <a:close/>
                <a:moveTo>
                  <a:pt x="263" y="48"/>
                </a:moveTo>
                <a:lnTo>
                  <a:pt x="476" y="241"/>
                </a:lnTo>
                <a:lnTo>
                  <a:pt x="263" y="421"/>
                </a:lnTo>
                <a:lnTo>
                  <a:pt x="263" y="48"/>
                </a:lnTo>
                <a:close/>
                <a:moveTo>
                  <a:pt x="271" y="454"/>
                </a:moveTo>
                <a:lnTo>
                  <a:pt x="508" y="253"/>
                </a:lnTo>
                <a:lnTo>
                  <a:pt x="512" y="251"/>
                </a:lnTo>
                <a:lnTo>
                  <a:pt x="513" y="249"/>
                </a:lnTo>
                <a:lnTo>
                  <a:pt x="514" y="246"/>
                </a:lnTo>
                <a:lnTo>
                  <a:pt x="514" y="242"/>
                </a:lnTo>
                <a:lnTo>
                  <a:pt x="514" y="239"/>
                </a:lnTo>
                <a:lnTo>
                  <a:pt x="513" y="236"/>
                </a:lnTo>
                <a:lnTo>
                  <a:pt x="512" y="234"/>
                </a:lnTo>
                <a:lnTo>
                  <a:pt x="509" y="231"/>
                </a:lnTo>
                <a:lnTo>
                  <a:pt x="258" y="3"/>
                </a:lnTo>
                <a:lnTo>
                  <a:pt x="254" y="1"/>
                </a:lnTo>
                <a:lnTo>
                  <a:pt x="250" y="0"/>
                </a:lnTo>
                <a:lnTo>
                  <a:pt x="246" y="0"/>
                </a:lnTo>
                <a:lnTo>
                  <a:pt x="241" y="1"/>
                </a:lnTo>
                <a:lnTo>
                  <a:pt x="238" y="3"/>
                </a:lnTo>
                <a:lnTo>
                  <a:pt x="235" y="7"/>
                </a:lnTo>
                <a:lnTo>
                  <a:pt x="234" y="11"/>
                </a:lnTo>
                <a:lnTo>
                  <a:pt x="233" y="15"/>
                </a:lnTo>
                <a:lnTo>
                  <a:pt x="233" y="421"/>
                </a:lnTo>
                <a:lnTo>
                  <a:pt x="25" y="246"/>
                </a:lnTo>
                <a:lnTo>
                  <a:pt x="22" y="243"/>
                </a:lnTo>
                <a:lnTo>
                  <a:pt x="19" y="242"/>
                </a:lnTo>
                <a:lnTo>
                  <a:pt x="16" y="242"/>
                </a:lnTo>
                <a:lnTo>
                  <a:pt x="14" y="242"/>
                </a:lnTo>
                <a:lnTo>
                  <a:pt x="11" y="242"/>
                </a:lnTo>
                <a:lnTo>
                  <a:pt x="7" y="243"/>
                </a:lnTo>
                <a:lnTo>
                  <a:pt x="5" y="246"/>
                </a:lnTo>
                <a:lnTo>
                  <a:pt x="3" y="248"/>
                </a:lnTo>
                <a:lnTo>
                  <a:pt x="1" y="250"/>
                </a:lnTo>
                <a:lnTo>
                  <a:pt x="0" y="253"/>
                </a:lnTo>
                <a:lnTo>
                  <a:pt x="0" y="255"/>
                </a:lnTo>
                <a:lnTo>
                  <a:pt x="0" y="258"/>
                </a:lnTo>
                <a:lnTo>
                  <a:pt x="0" y="262"/>
                </a:lnTo>
                <a:lnTo>
                  <a:pt x="1" y="264"/>
                </a:lnTo>
                <a:lnTo>
                  <a:pt x="3" y="267"/>
                </a:lnTo>
                <a:lnTo>
                  <a:pt x="5" y="269"/>
                </a:lnTo>
                <a:lnTo>
                  <a:pt x="224" y="454"/>
                </a:lnTo>
                <a:lnTo>
                  <a:pt x="5" y="639"/>
                </a:lnTo>
                <a:lnTo>
                  <a:pt x="3" y="641"/>
                </a:lnTo>
                <a:lnTo>
                  <a:pt x="1" y="643"/>
                </a:lnTo>
                <a:lnTo>
                  <a:pt x="0" y="647"/>
                </a:lnTo>
                <a:lnTo>
                  <a:pt x="0" y="649"/>
                </a:lnTo>
                <a:lnTo>
                  <a:pt x="0" y="652"/>
                </a:lnTo>
                <a:lnTo>
                  <a:pt x="0" y="655"/>
                </a:lnTo>
                <a:lnTo>
                  <a:pt x="1" y="657"/>
                </a:lnTo>
                <a:lnTo>
                  <a:pt x="3" y="660"/>
                </a:lnTo>
                <a:lnTo>
                  <a:pt x="5" y="663"/>
                </a:lnTo>
                <a:lnTo>
                  <a:pt x="7" y="664"/>
                </a:lnTo>
                <a:lnTo>
                  <a:pt x="11" y="665"/>
                </a:lnTo>
                <a:lnTo>
                  <a:pt x="14" y="666"/>
                </a:lnTo>
                <a:lnTo>
                  <a:pt x="16" y="666"/>
                </a:lnTo>
                <a:lnTo>
                  <a:pt x="19" y="665"/>
                </a:lnTo>
                <a:lnTo>
                  <a:pt x="22" y="664"/>
                </a:lnTo>
                <a:lnTo>
                  <a:pt x="25" y="662"/>
                </a:lnTo>
                <a:lnTo>
                  <a:pt x="233" y="487"/>
                </a:lnTo>
                <a:lnTo>
                  <a:pt x="233" y="892"/>
                </a:lnTo>
                <a:lnTo>
                  <a:pt x="234" y="896"/>
                </a:lnTo>
                <a:lnTo>
                  <a:pt x="235" y="901"/>
                </a:lnTo>
                <a:lnTo>
                  <a:pt x="238" y="904"/>
                </a:lnTo>
                <a:lnTo>
                  <a:pt x="241" y="906"/>
                </a:lnTo>
                <a:lnTo>
                  <a:pt x="244" y="907"/>
                </a:lnTo>
                <a:lnTo>
                  <a:pt x="248" y="907"/>
                </a:lnTo>
                <a:lnTo>
                  <a:pt x="253" y="906"/>
                </a:lnTo>
                <a:lnTo>
                  <a:pt x="258" y="903"/>
                </a:lnTo>
                <a:lnTo>
                  <a:pt x="509" y="677"/>
                </a:lnTo>
                <a:lnTo>
                  <a:pt x="512" y="674"/>
                </a:lnTo>
                <a:lnTo>
                  <a:pt x="513" y="671"/>
                </a:lnTo>
                <a:lnTo>
                  <a:pt x="514" y="668"/>
                </a:lnTo>
                <a:lnTo>
                  <a:pt x="514" y="665"/>
                </a:lnTo>
                <a:lnTo>
                  <a:pt x="514" y="662"/>
                </a:lnTo>
                <a:lnTo>
                  <a:pt x="513" y="659"/>
                </a:lnTo>
                <a:lnTo>
                  <a:pt x="512" y="656"/>
                </a:lnTo>
                <a:lnTo>
                  <a:pt x="508" y="654"/>
                </a:lnTo>
                <a:lnTo>
                  <a:pt x="271" y="45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55" name="Group 67">
            <a:extLst>
              <a:ext uri="{FF2B5EF4-FFF2-40B4-BE49-F238E27FC236}">
                <a16:creationId xmlns:a16="http://schemas.microsoft.com/office/drawing/2014/main" id="{2C773B72-29A9-4CB7-B31C-54289FFAA5AF}"/>
              </a:ext>
            </a:extLst>
          </p:cNvPr>
          <p:cNvGrpSpPr>
            <a:grpSpLocks noChangeAspect="1"/>
          </p:cNvGrpSpPr>
          <p:nvPr/>
        </p:nvGrpSpPr>
        <p:grpSpPr>
          <a:xfrm>
            <a:off x="4912514" y="4879041"/>
            <a:ext cx="276149" cy="285619"/>
            <a:chOff x="3773488" y="784225"/>
            <a:chExt cx="277812" cy="287338"/>
          </a:xfrm>
          <a:solidFill>
            <a:schemeClr val="bg1"/>
          </a:solidFill>
          <a:effectLst/>
        </p:grpSpPr>
        <p:sp>
          <p:nvSpPr>
            <p:cNvPr id="1456" name="Freeform 70">
              <a:extLst>
                <a:ext uri="{FF2B5EF4-FFF2-40B4-BE49-F238E27FC236}">
                  <a16:creationId xmlns:a16="http://schemas.microsoft.com/office/drawing/2014/main" id="{C305991D-388B-47EB-A9BC-4F80ED2498C1}"/>
                </a:ext>
              </a:extLst>
            </p:cNvPr>
            <p:cNvSpPr>
              <a:spLocks noEditPoints="1"/>
            </p:cNvSpPr>
            <p:nvPr/>
          </p:nvSpPr>
          <p:spPr bwMode="auto">
            <a:xfrm>
              <a:off x="3946525" y="784225"/>
              <a:ext cx="104775" cy="104775"/>
            </a:xfrm>
            <a:custGeom>
              <a:avLst/>
              <a:gdLst>
                <a:gd name="T0" fmla="*/ 122 w 333"/>
                <a:gd name="T1" fmla="*/ 296 h 333"/>
                <a:gd name="T2" fmla="*/ 37 w 333"/>
                <a:gd name="T3" fmla="*/ 211 h 333"/>
                <a:gd name="T4" fmla="*/ 212 w 333"/>
                <a:gd name="T5" fmla="*/ 37 h 333"/>
                <a:gd name="T6" fmla="*/ 296 w 333"/>
                <a:gd name="T7" fmla="*/ 121 h 333"/>
                <a:gd name="T8" fmla="*/ 122 w 333"/>
                <a:gd name="T9" fmla="*/ 296 h 333"/>
                <a:gd name="T10" fmla="*/ 329 w 333"/>
                <a:gd name="T11" fmla="*/ 111 h 333"/>
                <a:gd name="T12" fmla="*/ 222 w 333"/>
                <a:gd name="T13" fmla="*/ 5 h 333"/>
                <a:gd name="T14" fmla="*/ 220 w 333"/>
                <a:gd name="T15" fmla="*/ 2 h 333"/>
                <a:gd name="T16" fmla="*/ 218 w 333"/>
                <a:gd name="T17" fmla="*/ 1 h 333"/>
                <a:gd name="T18" fmla="*/ 215 w 333"/>
                <a:gd name="T19" fmla="*/ 0 h 333"/>
                <a:gd name="T20" fmla="*/ 212 w 333"/>
                <a:gd name="T21" fmla="*/ 0 h 333"/>
                <a:gd name="T22" fmla="*/ 209 w 333"/>
                <a:gd name="T23" fmla="*/ 0 h 333"/>
                <a:gd name="T24" fmla="*/ 206 w 333"/>
                <a:gd name="T25" fmla="*/ 1 h 333"/>
                <a:gd name="T26" fmla="*/ 203 w 333"/>
                <a:gd name="T27" fmla="*/ 2 h 333"/>
                <a:gd name="T28" fmla="*/ 201 w 333"/>
                <a:gd name="T29" fmla="*/ 5 h 333"/>
                <a:gd name="T30" fmla="*/ 5 w 333"/>
                <a:gd name="T31" fmla="*/ 201 h 333"/>
                <a:gd name="T32" fmla="*/ 2 w 333"/>
                <a:gd name="T33" fmla="*/ 203 h 333"/>
                <a:gd name="T34" fmla="*/ 1 w 333"/>
                <a:gd name="T35" fmla="*/ 206 h 333"/>
                <a:gd name="T36" fmla="*/ 0 w 333"/>
                <a:gd name="T37" fmla="*/ 209 h 333"/>
                <a:gd name="T38" fmla="*/ 0 w 333"/>
                <a:gd name="T39" fmla="*/ 211 h 333"/>
                <a:gd name="T40" fmla="*/ 0 w 333"/>
                <a:gd name="T41" fmla="*/ 215 h 333"/>
                <a:gd name="T42" fmla="*/ 1 w 333"/>
                <a:gd name="T43" fmla="*/ 218 h 333"/>
                <a:gd name="T44" fmla="*/ 2 w 333"/>
                <a:gd name="T45" fmla="*/ 220 h 333"/>
                <a:gd name="T46" fmla="*/ 5 w 333"/>
                <a:gd name="T47" fmla="*/ 222 h 333"/>
                <a:gd name="T48" fmla="*/ 111 w 333"/>
                <a:gd name="T49" fmla="*/ 328 h 333"/>
                <a:gd name="T50" fmla="*/ 113 w 333"/>
                <a:gd name="T51" fmla="*/ 330 h 333"/>
                <a:gd name="T52" fmla="*/ 115 w 333"/>
                <a:gd name="T53" fmla="*/ 331 h 333"/>
                <a:gd name="T54" fmla="*/ 118 w 333"/>
                <a:gd name="T55" fmla="*/ 333 h 333"/>
                <a:gd name="T56" fmla="*/ 122 w 333"/>
                <a:gd name="T57" fmla="*/ 333 h 333"/>
                <a:gd name="T58" fmla="*/ 124 w 333"/>
                <a:gd name="T59" fmla="*/ 333 h 333"/>
                <a:gd name="T60" fmla="*/ 127 w 333"/>
                <a:gd name="T61" fmla="*/ 331 h 333"/>
                <a:gd name="T62" fmla="*/ 129 w 333"/>
                <a:gd name="T63" fmla="*/ 330 h 333"/>
                <a:gd name="T64" fmla="*/ 132 w 333"/>
                <a:gd name="T65" fmla="*/ 328 h 333"/>
                <a:gd name="T66" fmla="*/ 329 w 333"/>
                <a:gd name="T67" fmla="*/ 132 h 333"/>
                <a:gd name="T68" fmla="*/ 331 w 333"/>
                <a:gd name="T69" fmla="*/ 129 h 333"/>
                <a:gd name="T70" fmla="*/ 332 w 333"/>
                <a:gd name="T71" fmla="*/ 127 h 333"/>
                <a:gd name="T72" fmla="*/ 333 w 333"/>
                <a:gd name="T73" fmla="*/ 124 h 333"/>
                <a:gd name="T74" fmla="*/ 333 w 333"/>
                <a:gd name="T75" fmla="*/ 121 h 333"/>
                <a:gd name="T76" fmla="*/ 333 w 333"/>
                <a:gd name="T77" fmla="*/ 118 h 333"/>
                <a:gd name="T78" fmla="*/ 332 w 333"/>
                <a:gd name="T79" fmla="*/ 115 h 333"/>
                <a:gd name="T80" fmla="*/ 331 w 333"/>
                <a:gd name="T81" fmla="*/ 113 h 333"/>
                <a:gd name="T82" fmla="*/ 329 w 333"/>
                <a:gd name="T83" fmla="*/ 11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3" h="333">
                  <a:moveTo>
                    <a:pt x="122" y="296"/>
                  </a:moveTo>
                  <a:lnTo>
                    <a:pt x="37" y="211"/>
                  </a:lnTo>
                  <a:lnTo>
                    <a:pt x="212" y="37"/>
                  </a:lnTo>
                  <a:lnTo>
                    <a:pt x="296" y="121"/>
                  </a:lnTo>
                  <a:lnTo>
                    <a:pt x="122" y="296"/>
                  </a:lnTo>
                  <a:close/>
                  <a:moveTo>
                    <a:pt x="329" y="111"/>
                  </a:moveTo>
                  <a:lnTo>
                    <a:pt x="222" y="5"/>
                  </a:lnTo>
                  <a:lnTo>
                    <a:pt x="220" y="2"/>
                  </a:lnTo>
                  <a:lnTo>
                    <a:pt x="218" y="1"/>
                  </a:lnTo>
                  <a:lnTo>
                    <a:pt x="215" y="0"/>
                  </a:lnTo>
                  <a:lnTo>
                    <a:pt x="212" y="0"/>
                  </a:lnTo>
                  <a:lnTo>
                    <a:pt x="209" y="0"/>
                  </a:lnTo>
                  <a:lnTo>
                    <a:pt x="206" y="1"/>
                  </a:lnTo>
                  <a:lnTo>
                    <a:pt x="203" y="2"/>
                  </a:lnTo>
                  <a:lnTo>
                    <a:pt x="201" y="5"/>
                  </a:lnTo>
                  <a:lnTo>
                    <a:pt x="5" y="201"/>
                  </a:lnTo>
                  <a:lnTo>
                    <a:pt x="2" y="203"/>
                  </a:lnTo>
                  <a:lnTo>
                    <a:pt x="1" y="206"/>
                  </a:lnTo>
                  <a:lnTo>
                    <a:pt x="0" y="209"/>
                  </a:lnTo>
                  <a:lnTo>
                    <a:pt x="0" y="211"/>
                  </a:lnTo>
                  <a:lnTo>
                    <a:pt x="0" y="215"/>
                  </a:lnTo>
                  <a:lnTo>
                    <a:pt x="1" y="218"/>
                  </a:lnTo>
                  <a:lnTo>
                    <a:pt x="2" y="220"/>
                  </a:lnTo>
                  <a:lnTo>
                    <a:pt x="5" y="222"/>
                  </a:lnTo>
                  <a:lnTo>
                    <a:pt x="111" y="328"/>
                  </a:lnTo>
                  <a:lnTo>
                    <a:pt x="113" y="330"/>
                  </a:lnTo>
                  <a:lnTo>
                    <a:pt x="115" y="331"/>
                  </a:lnTo>
                  <a:lnTo>
                    <a:pt x="118" y="333"/>
                  </a:lnTo>
                  <a:lnTo>
                    <a:pt x="122" y="333"/>
                  </a:lnTo>
                  <a:lnTo>
                    <a:pt x="124" y="333"/>
                  </a:lnTo>
                  <a:lnTo>
                    <a:pt x="127" y="331"/>
                  </a:lnTo>
                  <a:lnTo>
                    <a:pt x="129" y="330"/>
                  </a:lnTo>
                  <a:lnTo>
                    <a:pt x="132" y="328"/>
                  </a:lnTo>
                  <a:lnTo>
                    <a:pt x="329" y="132"/>
                  </a:lnTo>
                  <a:lnTo>
                    <a:pt x="331" y="129"/>
                  </a:lnTo>
                  <a:lnTo>
                    <a:pt x="332" y="127"/>
                  </a:lnTo>
                  <a:lnTo>
                    <a:pt x="333" y="124"/>
                  </a:lnTo>
                  <a:lnTo>
                    <a:pt x="333" y="121"/>
                  </a:lnTo>
                  <a:lnTo>
                    <a:pt x="333" y="118"/>
                  </a:lnTo>
                  <a:lnTo>
                    <a:pt x="332" y="115"/>
                  </a:lnTo>
                  <a:lnTo>
                    <a:pt x="331" y="113"/>
                  </a:lnTo>
                  <a:lnTo>
                    <a:pt x="32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71">
              <a:extLst>
                <a:ext uri="{FF2B5EF4-FFF2-40B4-BE49-F238E27FC236}">
                  <a16:creationId xmlns:a16="http://schemas.microsoft.com/office/drawing/2014/main" id="{1C8CE58B-17E2-4CC9-9D6A-C1EA936180FF}"/>
                </a:ext>
              </a:extLst>
            </p:cNvPr>
            <p:cNvSpPr>
              <a:spLocks noEditPoints="1"/>
            </p:cNvSpPr>
            <p:nvPr/>
          </p:nvSpPr>
          <p:spPr bwMode="auto">
            <a:xfrm>
              <a:off x="3868738" y="1033463"/>
              <a:ext cx="68263" cy="38100"/>
            </a:xfrm>
            <a:custGeom>
              <a:avLst/>
              <a:gdLst>
                <a:gd name="T0" fmla="*/ 181 w 212"/>
                <a:gd name="T1" fmla="*/ 91 h 121"/>
                <a:gd name="T2" fmla="*/ 30 w 212"/>
                <a:gd name="T3" fmla="*/ 91 h 121"/>
                <a:gd name="T4" fmla="*/ 30 w 212"/>
                <a:gd name="T5" fmla="*/ 31 h 121"/>
                <a:gd name="T6" fmla="*/ 181 w 212"/>
                <a:gd name="T7" fmla="*/ 31 h 121"/>
                <a:gd name="T8" fmla="*/ 181 w 212"/>
                <a:gd name="T9" fmla="*/ 91 h 121"/>
                <a:gd name="T10" fmla="*/ 196 w 212"/>
                <a:gd name="T11" fmla="*/ 0 h 121"/>
                <a:gd name="T12" fmla="*/ 15 w 212"/>
                <a:gd name="T13" fmla="*/ 0 h 121"/>
                <a:gd name="T14" fmla="*/ 12 w 212"/>
                <a:gd name="T15" fmla="*/ 1 h 121"/>
                <a:gd name="T16" fmla="*/ 10 w 212"/>
                <a:gd name="T17" fmla="*/ 1 h 121"/>
                <a:gd name="T18" fmla="*/ 6 w 212"/>
                <a:gd name="T19" fmla="*/ 3 h 121"/>
                <a:gd name="T20" fmla="*/ 4 w 212"/>
                <a:gd name="T21" fmla="*/ 4 h 121"/>
                <a:gd name="T22" fmla="*/ 2 w 212"/>
                <a:gd name="T23" fmla="*/ 7 h 121"/>
                <a:gd name="T24" fmla="*/ 1 w 212"/>
                <a:gd name="T25" fmla="*/ 10 h 121"/>
                <a:gd name="T26" fmla="*/ 0 w 212"/>
                <a:gd name="T27" fmla="*/ 13 h 121"/>
                <a:gd name="T28" fmla="*/ 0 w 212"/>
                <a:gd name="T29" fmla="*/ 15 h 121"/>
                <a:gd name="T30" fmla="*/ 0 w 212"/>
                <a:gd name="T31" fmla="*/ 106 h 121"/>
                <a:gd name="T32" fmla="*/ 0 w 212"/>
                <a:gd name="T33" fmla="*/ 109 h 121"/>
                <a:gd name="T34" fmla="*/ 1 w 212"/>
                <a:gd name="T35" fmla="*/ 113 h 121"/>
                <a:gd name="T36" fmla="*/ 2 w 212"/>
                <a:gd name="T37" fmla="*/ 115 h 121"/>
                <a:gd name="T38" fmla="*/ 4 w 212"/>
                <a:gd name="T39" fmla="*/ 117 h 121"/>
                <a:gd name="T40" fmla="*/ 6 w 212"/>
                <a:gd name="T41" fmla="*/ 119 h 121"/>
                <a:gd name="T42" fmla="*/ 10 w 212"/>
                <a:gd name="T43" fmla="*/ 120 h 121"/>
                <a:gd name="T44" fmla="*/ 12 w 212"/>
                <a:gd name="T45" fmla="*/ 121 h 121"/>
                <a:gd name="T46" fmla="*/ 15 w 212"/>
                <a:gd name="T47" fmla="*/ 121 h 121"/>
                <a:gd name="T48" fmla="*/ 196 w 212"/>
                <a:gd name="T49" fmla="*/ 121 h 121"/>
                <a:gd name="T50" fmla="*/ 199 w 212"/>
                <a:gd name="T51" fmla="*/ 121 h 121"/>
                <a:gd name="T52" fmla="*/ 203 w 212"/>
                <a:gd name="T53" fmla="*/ 120 h 121"/>
                <a:gd name="T54" fmla="*/ 205 w 212"/>
                <a:gd name="T55" fmla="*/ 119 h 121"/>
                <a:gd name="T56" fmla="*/ 207 w 212"/>
                <a:gd name="T57" fmla="*/ 117 h 121"/>
                <a:gd name="T58" fmla="*/ 209 w 212"/>
                <a:gd name="T59" fmla="*/ 115 h 121"/>
                <a:gd name="T60" fmla="*/ 210 w 212"/>
                <a:gd name="T61" fmla="*/ 113 h 121"/>
                <a:gd name="T62" fmla="*/ 211 w 212"/>
                <a:gd name="T63" fmla="*/ 109 h 121"/>
                <a:gd name="T64" fmla="*/ 212 w 212"/>
                <a:gd name="T65" fmla="*/ 106 h 121"/>
                <a:gd name="T66" fmla="*/ 212 w 212"/>
                <a:gd name="T67" fmla="*/ 15 h 121"/>
                <a:gd name="T68" fmla="*/ 211 w 212"/>
                <a:gd name="T69" fmla="*/ 13 h 121"/>
                <a:gd name="T70" fmla="*/ 210 w 212"/>
                <a:gd name="T71" fmla="*/ 10 h 121"/>
                <a:gd name="T72" fmla="*/ 209 w 212"/>
                <a:gd name="T73" fmla="*/ 7 h 121"/>
                <a:gd name="T74" fmla="*/ 207 w 212"/>
                <a:gd name="T75" fmla="*/ 4 h 121"/>
                <a:gd name="T76" fmla="*/ 205 w 212"/>
                <a:gd name="T77" fmla="*/ 3 h 121"/>
                <a:gd name="T78" fmla="*/ 203 w 212"/>
                <a:gd name="T79" fmla="*/ 1 h 121"/>
                <a:gd name="T80" fmla="*/ 199 w 212"/>
                <a:gd name="T81" fmla="*/ 1 h 121"/>
                <a:gd name="T82" fmla="*/ 196 w 212"/>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 h="121">
                  <a:moveTo>
                    <a:pt x="181" y="91"/>
                  </a:moveTo>
                  <a:lnTo>
                    <a:pt x="30" y="91"/>
                  </a:lnTo>
                  <a:lnTo>
                    <a:pt x="30" y="31"/>
                  </a:lnTo>
                  <a:lnTo>
                    <a:pt x="181" y="31"/>
                  </a:lnTo>
                  <a:lnTo>
                    <a:pt x="181" y="91"/>
                  </a:lnTo>
                  <a:close/>
                  <a:moveTo>
                    <a:pt x="196" y="0"/>
                  </a:moveTo>
                  <a:lnTo>
                    <a:pt x="15" y="0"/>
                  </a:lnTo>
                  <a:lnTo>
                    <a:pt x="12" y="1"/>
                  </a:lnTo>
                  <a:lnTo>
                    <a:pt x="10" y="1"/>
                  </a:lnTo>
                  <a:lnTo>
                    <a:pt x="6" y="3"/>
                  </a:lnTo>
                  <a:lnTo>
                    <a:pt x="4" y="4"/>
                  </a:lnTo>
                  <a:lnTo>
                    <a:pt x="2" y="7"/>
                  </a:lnTo>
                  <a:lnTo>
                    <a:pt x="1" y="10"/>
                  </a:lnTo>
                  <a:lnTo>
                    <a:pt x="0" y="13"/>
                  </a:lnTo>
                  <a:lnTo>
                    <a:pt x="0" y="15"/>
                  </a:lnTo>
                  <a:lnTo>
                    <a:pt x="0" y="106"/>
                  </a:lnTo>
                  <a:lnTo>
                    <a:pt x="0" y="109"/>
                  </a:lnTo>
                  <a:lnTo>
                    <a:pt x="1" y="113"/>
                  </a:lnTo>
                  <a:lnTo>
                    <a:pt x="2" y="115"/>
                  </a:lnTo>
                  <a:lnTo>
                    <a:pt x="4" y="117"/>
                  </a:lnTo>
                  <a:lnTo>
                    <a:pt x="6" y="119"/>
                  </a:lnTo>
                  <a:lnTo>
                    <a:pt x="10" y="120"/>
                  </a:lnTo>
                  <a:lnTo>
                    <a:pt x="12" y="121"/>
                  </a:lnTo>
                  <a:lnTo>
                    <a:pt x="15" y="121"/>
                  </a:lnTo>
                  <a:lnTo>
                    <a:pt x="196" y="121"/>
                  </a:lnTo>
                  <a:lnTo>
                    <a:pt x="199" y="121"/>
                  </a:lnTo>
                  <a:lnTo>
                    <a:pt x="203" y="120"/>
                  </a:lnTo>
                  <a:lnTo>
                    <a:pt x="205" y="119"/>
                  </a:lnTo>
                  <a:lnTo>
                    <a:pt x="207" y="117"/>
                  </a:lnTo>
                  <a:lnTo>
                    <a:pt x="209" y="115"/>
                  </a:lnTo>
                  <a:lnTo>
                    <a:pt x="210" y="113"/>
                  </a:lnTo>
                  <a:lnTo>
                    <a:pt x="211" y="109"/>
                  </a:lnTo>
                  <a:lnTo>
                    <a:pt x="212" y="106"/>
                  </a:lnTo>
                  <a:lnTo>
                    <a:pt x="212" y="15"/>
                  </a:lnTo>
                  <a:lnTo>
                    <a:pt x="211" y="13"/>
                  </a:lnTo>
                  <a:lnTo>
                    <a:pt x="210" y="10"/>
                  </a:lnTo>
                  <a:lnTo>
                    <a:pt x="209" y="7"/>
                  </a:lnTo>
                  <a:lnTo>
                    <a:pt x="207" y="4"/>
                  </a:lnTo>
                  <a:lnTo>
                    <a:pt x="205" y="3"/>
                  </a:lnTo>
                  <a:lnTo>
                    <a:pt x="203" y="1"/>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72">
              <a:extLst>
                <a:ext uri="{FF2B5EF4-FFF2-40B4-BE49-F238E27FC236}">
                  <a16:creationId xmlns:a16="http://schemas.microsoft.com/office/drawing/2014/main" id="{9B704681-52EE-4B75-A445-5878C1C0908B}"/>
                </a:ext>
              </a:extLst>
            </p:cNvPr>
            <p:cNvSpPr>
              <a:spLocks noEditPoints="1"/>
            </p:cNvSpPr>
            <p:nvPr/>
          </p:nvSpPr>
          <p:spPr bwMode="auto">
            <a:xfrm>
              <a:off x="3868738" y="985838"/>
              <a:ext cx="68263" cy="38100"/>
            </a:xfrm>
            <a:custGeom>
              <a:avLst/>
              <a:gdLst>
                <a:gd name="T0" fmla="*/ 181 w 212"/>
                <a:gd name="T1" fmla="*/ 91 h 121"/>
                <a:gd name="T2" fmla="*/ 30 w 212"/>
                <a:gd name="T3" fmla="*/ 91 h 121"/>
                <a:gd name="T4" fmla="*/ 30 w 212"/>
                <a:gd name="T5" fmla="*/ 30 h 121"/>
                <a:gd name="T6" fmla="*/ 181 w 212"/>
                <a:gd name="T7" fmla="*/ 30 h 121"/>
                <a:gd name="T8" fmla="*/ 181 w 212"/>
                <a:gd name="T9" fmla="*/ 91 h 121"/>
                <a:gd name="T10" fmla="*/ 196 w 212"/>
                <a:gd name="T11" fmla="*/ 0 h 121"/>
                <a:gd name="T12" fmla="*/ 15 w 212"/>
                <a:gd name="T13" fmla="*/ 0 h 121"/>
                <a:gd name="T14" fmla="*/ 12 w 212"/>
                <a:gd name="T15" fmla="*/ 1 h 121"/>
                <a:gd name="T16" fmla="*/ 10 w 212"/>
                <a:gd name="T17" fmla="*/ 1 h 121"/>
                <a:gd name="T18" fmla="*/ 6 w 212"/>
                <a:gd name="T19" fmla="*/ 3 h 121"/>
                <a:gd name="T20" fmla="*/ 4 w 212"/>
                <a:gd name="T21" fmla="*/ 4 h 121"/>
                <a:gd name="T22" fmla="*/ 2 w 212"/>
                <a:gd name="T23" fmla="*/ 7 h 121"/>
                <a:gd name="T24" fmla="*/ 1 w 212"/>
                <a:gd name="T25" fmla="*/ 9 h 121"/>
                <a:gd name="T26" fmla="*/ 0 w 212"/>
                <a:gd name="T27" fmla="*/ 13 h 121"/>
                <a:gd name="T28" fmla="*/ 0 w 212"/>
                <a:gd name="T29" fmla="*/ 15 h 121"/>
                <a:gd name="T30" fmla="*/ 0 w 212"/>
                <a:gd name="T31" fmla="*/ 106 h 121"/>
                <a:gd name="T32" fmla="*/ 0 w 212"/>
                <a:gd name="T33" fmla="*/ 109 h 121"/>
                <a:gd name="T34" fmla="*/ 1 w 212"/>
                <a:gd name="T35" fmla="*/ 112 h 121"/>
                <a:gd name="T36" fmla="*/ 2 w 212"/>
                <a:gd name="T37" fmla="*/ 115 h 121"/>
                <a:gd name="T38" fmla="*/ 4 w 212"/>
                <a:gd name="T39" fmla="*/ 117 h 121"/>
                <a:gd name="T40" fmla="*/ 6 w 212"/>
                <a:gd name="T41" fmla="*/ 119 h 121"/>
                <a:gd name="T42" fmla="*/ 10 w 212"/>
                <a:gd name="T43" fmla="*/ 120 h 121"/>
                <a:gd name="T44" fmla="*/ 12 w 212"/>
                <a:gd name="T45" fmla="*/ 121 h 121"/>
                <a:gd name="T46" fmla="*/ 15 w 212"/>
                <a:gd name="T47" fmla="*/ 121 h 121"/>
                <a:gd name="T48" fmla="*/ 196 w 212"/>
                <a:gd name="T49" fmla="*/ 121 h 121"/>
                <a:gd name="T50" fmla="*/ 199 w 212"/>
                <a:gd name="T51" fmla="*/ 121 h 121"/>
                <a:gd name="T52" fmla="*/ 203 w 212"/>
                <a:gd name="T53" fmla="*/ 120 h 121"/>
                <a:gd name="T54" fmla="*/ 205 w 212"/>
                <a:gd name="T55" fmla="*/ 119 h 121"/>
                <a:gd name="T56" fmla="*/ 207 w 212"/>
                <a:gd name="T57" fmla="*/ 117 h 121"/>
                <a:gd name="T58" fmla="*/ 209 w 212"/>
                <a:gd name="T59" fmla="*/ 115 h 121"/>
                <a:gd name="T60" fmla="*/ 210 w 212"/>
                <a:gd name="T61" fmla="*/ 112 h 121"/>
                <a:gd name="T62" fmla="*/ 211 w 212"/>
                <a:gd name="T63" fmla="*/ 109 h 121"/>
                <a:gd name="T64" fmla="*/ 212 w 212"/>
                <a:gd name="T65" fmla="*/ 106 h 121"/>
                <a:gd name="T66" fmla="*/ 212 w 212"/>
                <a:gd name="T67" fmla="*/ 15 h 121"/>
                <a:gd name="T68" fmla="*/ 211 w 212"/>
                <a:gd name="T69" fmla="*/ 13 h 121"/>
                <a:gd name="T70" fmla="*/ 210 w 212"/>
                <a:gd name="T71" fmla="*/ 9 h 121"/>
                <a:gd name="T72" fmla="*/ 209 w 212"/>
                <a:gd name="T73" fmla="*/ 7 h 121"/>
                <a:gd name="T74" fmla="*/ 207 w 212"/>
                <a:gd name="T75" fmla="*/ 4 h 121"/>
                <a:gd name="T76" fmla="*/ 205 w 212"/>
                <a:gd name="T77" fmla="*/ 3 h 121"/>
                <a:gd name="T78" fmla="*/ 203 w 212"/>
                <a:gd name="T79" fmla="*/ 1 h 121"/>
                <a:gd name="T80" fmla="*/ 199 w 212"/>
                <a:gd name="T81" fmla="*/ 1 h 121"/>
                <a:gd name="T82" fmla="*/ 196 w 212"/>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2" h="121">
                  <a:moveTo>
                    <a:pt x="181" y="91"/>
                  </a:moveTo>
                  <a:lnTo>
                    <a:pt x="30" y="91"/>
                  </a:lnTo>
                  <a:lnTo>
                    <a:pt x="30" y="30"/>
                  </a:lnTo>
                  <a:lnTo>
                    <a:pt x="181" y="30"/>
                  </a:lnTo>
                  <a:lnTo>
                    <a:pt x="181" y="91"/>
                  </a:lnTo>
                  <a:close/>
                  <a:moveTo>
                    <a:pt x="196" y="0"/>
                  </a:moveTo>
                  <a:lnTo>
                    <a:pt x="15" y="0"/>
                  </a:lnTo>
                  <a:lnTo>
                    <a:pt x="12" y="1"/>
                  </a:lnTo>
                  <a:lnTo>
                    <a:pt x="10" y="1"/>
                  </a:lnTo>
                  <a:lnTo>
                    <a:pt x="6" y="3"/>
                  </a:lnTo>
                  <a:lnTo>
                    <a:pt x="4" y="4"/>
                  </a:lnTo>
                  <a:lnTo>
                    <a:pt x="2" y="7"/>
                  </a:lnTo>
                  <a:lnTo>
                    <a:pt x="1" y="9"/>
                  </a:lnTo>
                  <a:lnTo>
                    <a:pt x="0" y="13"/>
                  </a:lnTo>
                  <a:lnTo>
                    <a:pt x="0" y="15"/>
                  </a:lnTo>
                  <a:lnTo>
                    <a:pt x="0" y="106"/>
                  </a:lnTo>
                  <a:lnTo>
                    <a:pt x="0" y="109"/>
                  </a:lnTo>
                  <a:lnTo>
                    <a:pt x="1" y="112"/>
                  </a:lnTo>
                  <a:lnTo>
                    <a:pt x="2" y="115"/>
                  </a:lnTo>
                  <a:lnTo>
                    <a:pt x="4" y="117"/>
                  </a:lnTo>
                  <a:lnTo>
                    <a:pt x="6" y="119"/>
                  </a:lnTo>
                  <a:lnTo>
                    <a:pt x="10" y="120"/>
                  </a:lnTo>
                  <a:lnTo>
                    <a:pt x="12" y="121"/>
                  </a:lnTo>
                  <a:lnTo>
                    <a:pt x="15" y="121"/>
                  </a:lnTo>
                  <a:lnTo>
                    <a:pt x="196" y="121"/>
                  </a:lnTo>
                  <a:lnTo>
                    <a:pt x="199" y="121"/>
                  </a:lnTo>
                  <a:lnTo>
                    <a:pt x="203" y="120"/>
                  </a:lnTo>
                  <a:lnTo>
                    <a:pt x="205" y="119"/>
                  </a:lnTo>
                  <a:lnTo>
                    <a:pt x="207" y="117"/>
                  </a:lnTo>
                  <a:lnTo>
                    <a:pt x="209" y="115"/>
                  </a:lnTo>
                  <a:lnTo>
                    <a:pt x="210" y="112"/>
                  </a:lnTo>
                  <a:lnTo>
                    <a:pt x="211" y="109"/>
                  </a:lnTo>
                  <a:lnTo>
                    <a:pt x="212" y="106"/>
                  </a:lnTo>
                  <a:lnTo>
                    <a:pt x="212" y="15"/>
                  </a:lnTo>
                  <a:lnTo>
                    <a:pt x="211" y="13"/>
                  </a:lnTo>
                  <a:lnTo>
                    <a:pt x="210" y="9"/>
                  </a:lnTo>
                  <a:lnTo>
                    <a:pt x="209" y="7"/>
                  </a:lnTo>
                  <a:lnTo>
                    <a:pt x="207" y="4"/>
                  </a:lnTo>
                  <a:lnTo>
                    <a:pt x="205" y="3"/>
                  </a:lnTo>
                  <a:lnTo>
                    <a:pt x="203" y="1"/>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73">
              <a:extLst>
                <a:ext uri="{FF2B5EF4-FFF2-40B4-BE49-F238E27FC236}">
                  <a16:creationId xmlns:a16="http://schemas.microsoft.com/office/drawing/2014/main" id="{6D0F68DB-600D-4A82-8981-9E7B3A3167FE}"/>
                </a:ext>
              </a:extLst>
            </p:cNvPr>
            <p:cNvSpPr>
              <a:spLocks noEditPoints="1"/>
            </p:cNvSpPr>
            <p:nvPr/>
          </p:nvSpPr>
          <p:spPr bwMode="auto">
            <a:xfrm>
              <a:off x="3773488" y="793750"/>
              <a:ext cx="66675" cy="66675"/>
            </a:xfrm>
            <a:custGeom>
              <a:avLst/>
              <a:gdLst>
                <a:gd name="T0" fmla="*/ 76 w 212"/>
                <a:gd name="T1" fmla="*/ 175 h 212"/>
                <a:gd name="T2" fmla="*/ 37 w 212"/>
                <a:gd name="T3" fmla="*/ 136 h 212"/>
                <a:gd name="T4" fmla="*/ 137 w 212"/>
                <a:gd name="T5" fmla="*/ 37 h 212"/>
                <a:gd name="T6" fmla="*/ 175 w 212"/>
                <a:gd name="T7" fmla="*/ 76 h 212"/>
                <a:gd name="T8" fmla="*/ 76 w 212"/>
                <a:gd name="T9" fmla="*/ 175 h 212"/>
                <a:gd name="T10" fmla="*/ 207 w 212"/>
                <a:gd name="T11" fmla="*/ 66 h 212"/>
                <a:gd name="T12" fmla="*/ 147 w 212"/>
                <a:gd name="T13" fmla="*/ 5 h 212"/>
                <a:gd name="T14" fmla="*/ 145 w 212"/>
                <a:gd name="T15" fmla="*/ 2 h 212"/>
                <a:gd name="T16" fmla="*/ 142 w 212"/>
                <a:gd name="T17" fmla="*/ 1 h 212"/>
                <a:gd name="T18" fmla="*/ 140 w 212"/>
                <a:gd name="T19" fmla="*/ 0 h 212"/>
                <a:gd name="T20" fmla="*/ 137 w 212"/>
                <a:gd name="T21" fmla="*/ 0 h 212"/>
                <a:gd name="T22" fmla="*/ 133 w 212"/>
                <a:gd name="T23" fmla="*/ 0 h 212"/>
                <a:gd name="T24" fmla="*/ 130 w 212"/>
                <a:gd name="T25" fmla="*/ 1 h 212"/>
                <a:gd name="T26" fmla="*/ 128 w 212"/>
                <a:gd name="T27" fmla="*/ 2 h 212"/>
                <a:gd name="T28" fmla="*/ 126 w 212"/>
                <a:gd name="T29" fmla="*/ 5 h 212"/>
                <a:gd name="T30" fmla="*/ 5 w 212"/>
                <a:gd name="T31" fmla="*/ 126 h 212"/>
                <a:gd name="T32" fmla="*/ 3 w 212"/>
                <a:gd name="T33" fmla="*/ 128 h 212"/>
                <a:gd name="T34" fmla="*/ 2 w 212"/>
                <a:gd name="T35" fmla="*/ 131 h 212"/>
                <a:gd name="T36" fmla="*/ 0 w 212"/>
                <a:gd name="T37" fmla="*/ 133 h 212"/>
                <a:gd name="T38" fmla="*/ 0 w 212"/>
                <a:gd name="T39" fmla="*/ 136 h 212"/>
                <a:gd name="T40" fmla="*/ 0 w 212"/>
                <a:gd name="T41" fmla="*/ 140 h 212"/>
                <a:gd name="T42" fmla="*/ 2 w 212"/>
                <a:gd name="T43" fmla="*/ 142 h 212"/>
                <a:gd name="T44" fmla="*/ 3 w 212"/>
                <a:gd name="T45" fmla="*/ 145 h 212"/>
                <a:gd name="T46" fmla="*/ 5 w 212"/>
                <a:gd name="T47" fmla="*/ 147 h 212"/>
                <a:gd name="T48" fmla="*/ 65 w 212"/>
                <a:gd name="T49" fmla="*/ 207 h 212"/>
                <a:gd name="T50" fmla="*/ 68 w 212"/>
                <a:gd name="T51" fmla="*/ 209 h 212"/>
                <a:gd name="T52" fmla="*/ 70 w 212"/>
                <a:gd name="T53" fmla="*/ 210 h 212"/>
                <a:gd name="T54" fmla="*/ 73 w 212"/>
                <a:gd name="T55" fmla="*/ 211 h 212"/>
                <a:gd name="T56" fmla="*/ 76 w 212"/>
                <a:gd name="T57" fmla="*/ 212 h 212"/>
                <a:gd name="T58" fmla="*/ 79 w 212"/>
                <a:gd name="T59" fmla="*/ 211 h 212"/>
                <a:gd name="T60" fmla="*/ 82 w 212"/>
                <a:gd name="T61" fmla="*/ 210 h 212"/>
                <a:gd name="T62" fmla="*/ 84 w 212"/>
                <a:gd name="T63" fmla="*/ 209 h 212"/>
                <a:gd name="T64" fmla="*/ 86 w 212"/>
                <a:gd name="T65" fmla="*/ 207 h 212"/>
                <a:gd name="T66" fmla="*/ 207 w 212"/>
                <a:gd name="T67" fmla="*/ 87 h 212"/>
                <a:gd name="T68" fmla="*/ 210 w 212"/>
                <a:gd name="T69" fmla="*/ 84 h 212"/>
                <a:gd name="T70" fmla="*/ 211 w 212"/>
                <a:gd name="T71" fmla="*/ 82 h 212"/>
                <a:gd name="T72" fmla="*/ 212 w 212"/>
                <a:gd name="T73" fmla="*/ 78 h 212"/>
                <a:gd name="T74" fmla="*/ 212 w 212"/>
                <a:gd name="T75" fmla="*/ 76 h 212"/>
                <a:gd name="T76" fmla="*/ 212 w 212"/>
                <a:gd name="T77" fmla="*/ 73 h 212"/>
                <a:gd name="T78" fmla="*/ 211 w 212"/>
                <a:gd name="T79" fmla="*/ 70 h 212"/>
                <a:gd name="T80" fmla="*/ 210 w 212"/>
                <a:gd name="T81" fmla="*/ 68 h 212"/>
                <a:gd name="T82" fmla="*/ 207 w 212"/>
                <a:gd name="T83" fmla="*/ 66 h 212"/>
                <a:gd name="T84" fmla="*/ 207 w 212"/>
                <a:gd name="T85" fmla="*/ 6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2" h="212">
                  <a:moveTo>
                    <a:pt x="76" y="175"/>
                  </a:moveTo>
                  <a:lnTo>
                    <a:pt x="37" y="136"/>
                  </a:lnTo>
                  <a:lnTo>
                    <a:pt x="137" y="37"/>
                  </a:lnTo>
                  <a:lnTo>
                    <a:pt x="175" y="76"/>
                  </a:lnTo>
                  <a:lnTo>
                    <a:pt x="76" y="175"/>
                  </a:lnTo>
                  <a:close/>
                  <a:moveTo>
                    <a:pt x="207" y="66"/>
                  </a:moveTo>
                  <a:lnTo>
                    <a:pt x="147" y="5"/>
                  </a:lnTo>
                  <a:lnTo>
                    <a:pt x="145" y="2"/>
                  </a:lnTo>
                  <a:lnTo>
                    <a:pt x="142" y="1"/>
                  </a:lnTo>
                  <a:lnTo>
                    <a:pt x="140" y="0"/>
                  </a:lnTo>
                  <a:lnTo>
                    <a:pt x="137" y="0"/>
                  </a:lnTo>
                  <a:lnTo>
                    <a:pt x="133" y="0"/>
                  </a:lnTo>
                  <a:lnTo>
                    <a:pt x="130" y="1"/>
                  </a:lnTo>
                  <a:lnTo>
                    <a:pt x="128" y="2"/>
                  </a:lnTo>
                  <a:lnTo>
                    <a:pt x="126" y="5"/>
                  </a:lnTo>
                  <a:lnTo>
                    <a:pt x="5" y="126"/>
                  </a:lnTo>
                  <a:lnTo>
                    <a:pt x="3" y="128"/>
                  </a:lnTo>
                  <a:lnTo>
                    <a:pt x="2" y="131"/>
                  </a:lnTo>
                  <a:lnTo>
                    <a:pt x="0" y="133"/>
                  </a:lnTo>
                  <a:lnTo>
                    <a:pt x="0" y="136"/>
                  </a:lnTo>
                  <a:lnTo>
                    <a:pt x="0" y="140"/>
                  </a:lnTo>
                  <a:lnTo>
                    <a:pt x="2" y="142"/>
                  </a:lnTo>
                  <a:lnTo>
                    <a:pt x="3" y="145"/>
                  </a:lnTo>
                  <a:lnTo>
                    <a:pt x="5" y="147"/>
                  </a:lnTo>
                  <a:lnTo>
                    <a:pt x="65" y="207"/>
                  </a:lnTo>
                  <a:lnTo>
                    <a:pt x="68" y="209"/>
                  </a:lnTo>
                  <a:lnTo>
                    <a:pt x="70" y="210"/>
                  </a:lnTo>
                  <a:lnTo>
                    <a:pt x="73" y="211"/>
                  </a:lnTo>
                  <a:lnTo>
                    <a:pt x="76" y="212"/>
                  </a:lnTo>
                  <a:lnTo>
                    <a:pt x="79" y="211"/>
                  </a:lnTo>
                  <a:lnTo>
                    <a:pt x="82" y="210"/>
                  </a:lnTo>
                  <a:lnTo>
                    <a:pt x="84" y="209"/>
                  </a:lnTo>
                  <a:lnTo>
                    <a:pt x="86" y="207"/>
                  </a:lnTo>
                  <a:lnTo>
                    <a:pt x="207" y="87"/>
                  </a:lnTo>
                  <a:lnTo>
                    <a:pt x="210" y="84"/>
                  </a:lnTo>
                  <a:lnTo>
                    <a:pt x="211" y="82"/>
                  </a:lnTo>
                  <a:lnTo>
                    <a:pt x="212" y="78"/>
                  </a:lnTo>
                  <a:lnTo>
                    <a:pt x="212" y="76"/>
                  </a:lnTo>
                  <a:lnTo>
                    <a:pt x="212" y="73"/>
                  </a:lnTo>
                  <a:lnTo>
                    <a:pt x="211" y="70"/>
                  </a:lnTo>
                  <a:lnTo>
                    <a:pt x="210" y="68"/>
                  </a:lnTo>
                  <a:lnTo>
                    <a:pt x="207" y="66"/>
                  </a:lnTo>
                  <a:lnTo>
                    <a:pt x="20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74">
              <a:extLst>
                <a:ext uri="{FF2B5EF4-FFF2-40B4-BE49-F238E27FC236}">
                  <a16:creationId xmlns:a16="http://schemas.microsoft.com/office/drawing/2014/main" id="{0B4301F0-2BC4-4717-9537-84271953AD30}"/>
                </a:ext>
              </a:extLst>
            </p:cNvPr>
            <p:cNvSpPr>
              <a:spLocks noEditPoints="1"/>
            </p:cNvSpPr>
            <p:nvPr/>
          </p:nvSpPr>
          <p:spPr bwMode="auto">
            <a:xfrm>
              <a:off x="3806825" y="827088"/>
              <a:ext cx="66675" cy="66675"/>
            </a:xfrm>
            <a:custGeom>
              <a:avLst/>
              <a:gdLst>
                <a:gd name="T0" fmla="*/ 75 w 211"/>
                <a:gd name="T1" fmla="*/ 175 h 212"/>
                <a:gd name="T2" fmla="*/ 36 w 211"/>
                <a:gd name="T3" fmla="*/ 137 h 212"/>
                <a:gd name="T4" fmla="*/ 136 w 211"/>
                <a:gd name="T5" fmla="*/ 37 h 212"/>
                <a:gd name="T6" fmla="*/ 174 w 211"/>
                <a:gd name="T7" fmla="*/ 75 h 212"/>
                <a:gd name="T8" fmla="*/ 75 w 211"/>
                <a:gd name="T9" fmla="*/ 175 h 212"/>
                <a:gd name="T10" fmla="*/ 207 w 211"/>
                <a:gd name="T11" fmla="*/ 65 h 212"/>
                <a:gd name="T12" fmla="*/ 147 w 211"/>
                <a:gd name="T13" fmla="*/ 5 h 212"/>
                <a:gd name="T14" fmla="*/ 143 w 211"/>
                <a:gd name="T15" fmla="*/ 3 h 212"/>
                <a:gd name="T16" fmla="*/ 141 w 211"/>
                <a:gd name="T17" fmla="*/ 1 h 212"/>
                <a:gd name="T18" fmla="*/ 138 w 211"/>
                <a:gd name="T19" fmla="*/ 0 h 212"/>
                <a:gd name="T20" fmla="*/ 136 w 211"/>
                <a:gd name="T21" fmla="*/ 0 h 212"/>
                <a:gd name="T22" fmla="*/ 133 w 211"/>
                <a:gd name="T23" fmla="*/ 0 h 212"/>
                <a:gd name="T24" fmla="*/ 129 w 211"/>
                <a:gd name="T25" fmla="*/ 1 h 212"/>
                <a:gd name="T26" fmla="*/ 127 w 211"/>
                <a:gd name="T27" fmla="*/ 3 h 212"/>
                <a:gd name="T28" fmla="*/ 125 w 211"/>
                <a:gd name="T29" fmla="*/ 5 h 212"/>
                <a:gd name="T30" fmla="*/ 4 w 211"/>
                <a:gd name="T31" fmla="*/ 126 h 212"/>
                <a:gd name="T32" fmla="*/ 2 w 211"/>
                <a:gd name="T33" fmla="*/ 128 h 212"/>
                <a:gd name="T34" fmla="*/ 1 w 211"/>
                <a:gd name="T35" fmla="*/ 130 h 212"/>
                <a:gd name="T36" fmla="*/ 0 w 211"/>
                <a:gd name="T37" fmla="*/ 133 h 212"/>
                <a:gd name="T38" fmla="*/ 0 w 211"/>
                <a:gd name="T39" fmla="*/ 137 h 212"/>
                <a:gd name="T40" fmla="*/ 0 w 211"/>
                <a:gd name="T41" fmla="*/ 139 h 212"/>
                <a:gd name="T42" fmla="*/ 1 w 211"/>
                <a:gd name="T43" fmla="*/ 142 h 212"/>
                <a:gd name="T44" fmla="*/ 2 w 211"/>
                <a:gd name="T45" fmla="*/ 145 h 212"/>
                <a:gd name="T46" fmla="*/ 4 w 211"/>
                <a:gd name="T47" fmla="*/ 147 h 212"/>
                <a:gd name="T48" fmla="*/ 64 w 211"/>
                <a:gd name="T49" fmla="*/ 207 h 212"/>
                <a:gd name="T50" fmla="*/ 66 w 211"/>
                <a:gd name="T51" fmla="*/ 209 h 212"/>
                <a:gd name="T52" fmla="*/ 69 w 211"/>
                <a:gd name="T53" fmla="*/ 210 h 212"/>
                <a:gd name="T54" fmla="*/ 72 w 211"/>
                <a:gd name="T55" fmla="*/ 212 h 212"/>
                <a:gd name="T56" fmla="*/ 75 w 211"/>
                <a:gd name="T57" fmla="*/ 212 h 212"/>
                <a:gd name="T58" fmla="*/ 78 w 211"/>
                <a:gd name="T59" fmla="*/ 212 h 212"/>
                <a:gd name="T60" fmla="*/ 80 w 211"/>
                <a:gd name="T61" fmla="*/ 210 h 212"/>
                <a:gd name="T62" fmla="*/ 83 w 211"/>
                <a:gd name="T63" fmla="*/ 209 h 212"/>
                <a:gd name="T64" fmla="*/ 85 w 211"/>
                <a:gd name="T65" fmla="*/ 207 h 212"/>
                <a:gd name="T66" fmla="*/ 207 w 211"/>
                <a:gd name="T67" fmla="*/ 86 h 212"/>
                <a:gd name="T68" fmla="*/ 209 w 211"/>
                <a:gd name="T69" fmla="*/ 84 h 212"/>
                <a:gd name="T70" fmla="*/ 210 w 211"/>
                <a:gd name="T71" fmla="*/ 82 h 212"/>
                <a:gd name="T72" fmla="*/ 211 w 211"/>
                <a:gd name="T73" fmla="*/ 79 h 212"/>
                <a:gd name="T74" fmla="*/ 211 w 211"/>
                <a:gd name="T75" fmla="*/ 75 h 212"/>
                <a:gd name="T76" fmla="*/ 211 w 211"/>
                <a:gd name="T77" fmla="*/ 73 h 212"/>
                <a:gd name="T78" fmla="*/ 210 w 211"/>
                <a:gd name="T79" fmla="*/ 70 h 212"/>
                <a:gd name="T80" fmla="*/ 209 w 211"/>
                <a:gd name="T81" fmla="*/ 68 h 212"/>
                <a:gd name="T82" fmla="*/ 207 w 211"/>
                <a:gd name="T83" fmla="*/ 6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1" h="212">
                  <a:moveTo>
                    <a:pt x="75" y="175"/>
                  </a:moveTo>
                  <a:lnTo>
                    <a:pt x="36" y="137"/>
                  </a:lnTo>
                  <a:lnTo>
                    <a:pt x="136" y="37"/>
                  </a:lnTo>
                  <a:lnTo>
                    <a:pt x="174" y="75"/>
                  </a:lnTo>
                  <a:lnTo>
                    <a:pt x="75" y="175"/>
                  </a:lnTo>
                  <a:close/>
                  <a:moveTo>
                    <a:pt x="207" y="65"/>
                  </a:moveTo>
                  <a:lnTo>
                    <a:pt x="147" y="5"/>
                  </a:lnTo>
                  <a:lnTo>
                    <a:pt x="143" y="3"/>
                  </a:lnTo>
                  <a:lnTo>
                    <a:pt x="141" y="1"/>
                  </a:lnTo>
                  <a:lnTo>
                    <a:pt x="138" y="0"/>
                  </a:lnTo>
                  <a:lnTo>
                    <a:pt x="136" y="0"/>
                  </a:lnTo>
                  <a:lnTo>
                    <a:pt x="133" y="0"/>
                  </a:lnTo>
                  <a:lnTo>
                    <a:pt x="129" y="1"/>
                  </a:lnTo>
                  <a:lnTo>
                    <a:pt x="127" y="3"/>
                  </a:lnTo>
                  <a:lnTo>
                    <a:pt x="125" y="5"/>
                  </a:lnTo>
                  <a:lnTo>
                    <a:pt x="4" y="126"/>
                  </a:lnTo>
                  <a:lnTo>
                    <a:pt x="2" y="128"/>
                  </a:lnTo>
                  <a:lnTo>
                    <a:pt x="1" y="130"/>
                  </a:lnTo>
                  <a:lnTo>
                    <a:pt x="0" y="133"/>
                  </a:lnTo>
                  <a:lnTo>
                    <a:pt x="0" y="137"/>
                  </a:lnTo>
                  <a:lnTo>
                    <a:pt x="0" y="139"/>
                  </a:lnTo>
                  <a:lnTo>
                    <a:pt x="1" y="142"/>
                  </a:lnTo>
                  <a:lnTo>
                    <a:pt x="2" y="145"/>
                  </a:lnTo>
                  <a:lnTo>
                    <a:pt x="4" y="147"/>
                  </a:lnTo>
                  <a:lnTo>
                    <a:pt x="64" y="207"/>
                  </a:lnTo>
                  <a:lnTo>
                    <a:pt x="66" y="209"/>
                  </a:lnTo>
                  <a:lnTo>
                    <a:pt x="69" y="210"/>
                  </a:lnTo>
                  <a:lnTo>
                    <a:pt x="72" y="212"/>
                  </a:lnTo>
                  <a:lnTo>
                    <a:pt x="75" y="212"/>
                  </a:lnTo>
                  <a:lnTo>
                    <a:pt x="78" y="212"/>
                  </a:lnTo>
                  <a:lnTo>
                    <a:pt x="80" y="210"/>
                  </a:lnTo>
                  <a:lnTo>
                    <a:pt x="83" y="209"/>
                  </a:lnTo>
                  <a:lnTo>
                    <a:pt x="85" y="207"/>
                  </a:lnTo>
                  <a:lnTo>
                    <a:pt x="207" y="86"/>
                  </a:lnTo>
                  <a:lnTo>
                    <a:pt x="209" y="84"/>
                  </a:lnTo>
                  <a:lnTo>
                    <a:pt x="210" y="82"/>
                  </a:lnTo>
                  <a:lnTo>
                    <a:pt x="211" y="79"/>
                  </a:lnTo>
                  <a:lnTo>
                    <a:pt x="211" y="75"/>
                  </a:lnTo>
                  <a:lnTo>
                    <a:pt x="211" y="73"/>
                  </a:lnTo>
                  <a:lnTo>
                    <a:pt x="210" y="70"/>
                  </a:lnTo>
                  <a:lnTo>
                    <a:pt x="209" y="68"/>
                  </a:lnTo>
                  <a:lnTo>
                    <a:pt x="20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75">
              <a:extLst>
                <a:ext uri="{FF2B5EF4-FFF2-40B4-BE49-F238E27FC236}">
                  <a16:creationId xmlns:a16="http://schemas.microsoft.com/office/drawing/2014/main" id="{063E6246-3CB6-45CB-9CB7-463D74884B56}"/>
                </a:ext>
              </a:extLst>
            </p:cNvPr>
            <p:cNvSpPr>
              <a:spLocks noEditPoints="1"/>
            </p:cNvSpPr>
            <p:nvPr/>
          </p:nvSpPr>
          <p:spPr bwMode="auto">
            <a:xfrm>
              <a:off x="3859213" y="879475"/>
              <a:ext cx="87313" cy="87313"/>
            </a:xfrm>
            <a:custGeom>
              <a:avLst/>
              <a:gdLst>
                <a:gd name="T0" fmla="*/ 115 w 272"/>
                <a:gd name="T1" fmla="*/ 240 h 272"/>
                <a:gd name="T2" fmla="*/ 86 w 272"/>
                <a:gd name="T3" fmla="*/ 229 h 272"/>
                <a:gd name="T4" fmla="*/ 61 w 272"/>
                <a:gd name="T5" fmla="*/ 211 h 272"/>
                <a:gd name="T6" fmla="*/ 43 w 272"/>
                <a:gd name="T7" fmla="*/ 186 h 272"/>
                <a:gd name="T8" fmla="*/ 32 w 272"/>
                <a:gd name="T9" fmla="*/ 157 h 272"/>
                <a:gd name="T10" fmla="*/ 31 w 272"/>
                <a:gd name="T11" fmla="*/ 125 h 272"/>
                <a:gd name="T12" fmla="*/ 39 w 272"/>
                <a:gd name="T13" fmla="*/ 95 h 272"/>
                <a:gd name="T14" fmla="*/ 55 w 272"/>
                <a:gd name="T15" fmla="*/ 68 h 272"/>
                <a:gd name="T16" fmla="*/ 77 w 272"/>
                <a:gd name="T17" fmla="*/ 48 h 272"/>
                <a:gd name="T18" fmla="*/ 104 w 272"/>
                <a:gd name="T19" fmla="*/ 35 h 272"/>
                <a:gd name="T20" fmla="*/ 136 w 272"/>
                <a:gd name="T21" fmla="*/ 30 h 272"/>
                <a:gd name="T22" fmla="*/ 167 w 272"/>
                <a:gd name="T23" fmla="*/ 35 h 272"/>
                <a:gd name="T24" fmla="*/ 195 w 272"/>
                <a:gd name="T25" fmla="*/ 48 h 272"/>
                <a:gd name="T26" fmla="*/ 218 w 272"/>
                <a:gd name="T27" fmla="*/ 68 h 272"/>
                <a:gd name="T28" fmla="*/ 234 w 272"/>
                <a:gd name="T29" fmla="*/ 95 h 272"/>
                <a:gd name="T30" fmla="*/ 241 w 272"/>
                <a:gd name="T31" fmla="*/ 125 h 272"/>
                <a:gd name="T32" fmla="*/ 240 w 272"/>
                <a:gd name="T33" fmla="*/ 157 h 272"/>
                <a:gd name="T34" fmla="*/ 229 w 272"/>
                <a:gd name="T35" fmla="*/ 186 h 272"/>
                <a:gd name="T36" fmla="*/ 211 w 272"/>
                <a:gd name="T37" fmla="*/ 211 h 272"/>
                <a:gd name="T38" fmla="*/ 187 w 272"/>
                <a:gd name="T39" fmla="*/ 229 h 272"/>
                <a:gd name="T40" fmla="*/ 158 w 272"/>
                <a:gd name="T41" fmla="*/ 240 h 272"/>
                <a:gd name="T42" fmla="*/ 136 w 272"/>
                <a:gd name="T43" fmla="*/ 0 h 272"/>
                <a:gd name="T44" fmla="*/ 95 w 272"/>
                <a:gd name="T45" fmla="*/ 6 h 272"/>
                <a:gd name="T46" fmla="*/ 60 w 272"/>
                <a:gd name="T47" fmla="*/ 23 h 272"/>
                <a:gd name="T48" fmla="*/ 31 w 272"/>
                <a:gd name="T49" fmla="*/ 49 h 272"/>
                <a:gd name="T50" fmla="*/ 11 w 272"/>
                <a:gd name="T51" fmla="*/ 83 h 272"/>
                <a:gd name="T52" fmla="*/ 0 w 272"/>
                <a:gd name="T53" fmla="*/ 122 h 272"/>
                <a:gd name="T54" fmla="*/ 2 w 272"/>
                <a:gd name="T55" fmla="*/ 162 h 272"/>
                <a:gd name="T56" fmla="*/ 16 w 272"/>
                <a:gd name="T57" fmla="*/ 200 h 272"/>
                <a:gd name="T58" fmla="*/ 40 w 272"/>
                <a:gd name="T59" fmla="*/ 232 h 272"/>
                <a:gd name="T60" fmla="*/ 71 w 272"/>
                <a:gd name="T61" fmla="*/ 256 h 272"/>
                <a:gd name="T62" fmla="*/ 108 w 272"/>
                <a:gd name="T63" fmla="*/ 269 h 272"/>
                <a:gd name="T64" fmla="*/ 150 w 272"/>
                <a:gd name="T65" fmla="*/ 271 h 272"/>
                <a:gd name="T66" fmla="*/ 189 w 272"/>
                <a:gd name="T67" fmla="*/ 261 h 272"/>
                <a:gd name="T68" fmla="*/ 222 w 272"/>
                <a:gd name="T69" fmla="*/ 241 h 272"/>
                <a:gd name="T70" fmla="*/ 249 w 272"/>
                <a:gd name="T71" fmla="*/ 212 h 272"/>
                <a:gd name="T72" fmla="*/ 266 w 272"/>
                <a:gd name="T73" fmla="*/ 176 h 272"/>
                <a:gd name="T74" fmla="*/ 272 w 272"/>
                <a:gd name="T75" fmla="*/ 136 h 272"/>
                <a:gd name="T76" fmla="*/ 266 w 272"/>
                <a:gd name="T77" fmla="*/ 95 h 272"/>
                <a:gd name="T78" fmla="*/ 249 w 272"/>
                <a:gd name="T79" fmla="*/ 60 h 272"/>
                <a:gd name="T80" fmla="*/ 222 w 272"/>
                <a:gd name="T81" fmla="*/ 31 h 272"/>
                <a:gd name="T82" fmla="*/ 189 w 272"/>
                <a:gd name="T83" fmla="*/ 10 h 272"/>
                <a:gd name="T84" fmla="*/ 150 w 272"/>
                <a:gd name="T85" fmla="*/ 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72">
                  <a:moveTo>
                    <a:pt x="136" y="242"/>
                  </a:moveTo>
                  <a:lnTo>
                    <a:pt x="125" y="241"/>
                  </a:lnTo>
                  <a:lnTo>
                    <a:pt x="115" y="240"/>
                  </a:lnTo>
                  <a:lnTo>
                    <a:pt x="104" y="236"/>
                  </a:lnTo>
                  <a:lnTo>
                    <a:pt x="94" y="233"/>
                  </a:lnTo>
                  <a:lnTo>
                    <a:pt x="86" y="229"/>
                  </a:lnTo>
                  <a:lnTo>
                    <a:pt x="77" y="224"/>
                  </a:lnTo>
                  <a:lnTo>
                    <a:pt x="69" y="217"/>
                  </a:lnTo>
                  <a:lnTo>
                    <a:pt x="61" y="211"/>
                  </a:lnTo>
                  <a:lnTo>
                    <a:pt x="55" y="203"/>
                  </a:lnTo>
                  <a:lnTo>
                    <a:pt x="48" y="195"/>
                  </a:lnTo>
                  <a:lnTo>
                    <a:pt x="43" y="186"/>
                  </a:lnTo>
                  <a:lnTo>
                    <a:pt x="39" y="176"/>
                  </a:lnTo>
                  <a:lnTo>
                    <a:pt x="34" y="167"/>
                  </a:lnTo>
                  <a:lnTo>
                    <a:pt x="32" y="157"/>
                  </a:lnTo>
                  <a:lnTo>
                    <a:pt x="31" y="146"/>
                  </a:lnTo>
                  <a:lnTo>
                    <a:pt x="30" y="136"/>
                  </a:lnTo>
                  <a:lnTo>
                    <a:pt x="31" y="125"/>
                  </a:lnTo>
                  <a:lnTo>
                    <a:pt x="32" y="114"/>
                  </a:lnTo>
                  <a:lnTo>
                    <a:pt x="34" y="105"/>
                  </a:lnTo>
                  <a:lnTo>
                    <a:pt x="39" y="95"/>
                  </a:lnTo>
                  <a:lnTo>
                    <a:pt x="43" y="85"/>
                  </a:lnTo>
                  <a:lnTo>
                    <a:pt x="48" y="77"/>
                  </a:lnTo>
                  <a:lnTo>
                    <a:pt x="55" y="68"/>
                  </a:lnTo>
                  <a:lnTo>
                    <a:pt x="61" y="61"/>
                  </a:lnTo>
                  <a:lnTo>
                    <a:pt x="69" y="54"/>
                  </a:lnTo>
                  <a:lnTo>
                    <a:pt x="77" y="48"/>
                  </a:lnTo>
                  <a:lnTo>
                    <a:pt x="86" y="42"/>
                  </a:lnTo>
                  <a:lnTo>
                    <a:pt x="94" y="38"/>
                  </a:lnTo>
                  <a:lnTo>
                    <a:pt x="104" y="35"/>
                  </a:lnTo>
                  <a:lnTo>
                    <a:pt x="115" y="32"/>
                  </a:lnTo>
                  <a:lnTo>
                    <a:pt x="125" y="31"/>
                  </a:lnTo>
                  <a:lnTo>
                    <a:pt x="136" y="30"/>
                  </a:lnTo>
                  <a:lnTo>
                    <a:pt x="147" y="31"/>
                  </a:lnTo>
                  <a:lnTo>
                    <a:pt x="158" y="32"/>
                  </a:lnTo>
                  <a:lnTo>
                    <a:pt x="167" y="35"/>
                  </a:lnTo>
                  <a:lnTo>
                    <a:pt x="177" y="38"/>
                  </a:lnTo>
                  <a:lnTo>
                    <a:pt x="187" y="42"/>
                  </a:lnTo>
                  <a:lnTo>
                    <a:pt x="195" y="48"/>
                  </a:lnTo>
                  <a:lnTo>
                    <a:pt x="204" y="54"/>
                  </a:lnTo>
                  <a:lnTo>
                    <a:pt x="211" y="61"/>
                  </a:lnTo>
                  <a:lnTo>
                    <a:pt x="218" y="68"/>
                  </a:lnTo>
                  <a:lnTo>
                    <a:pt x="224" y="77"/>
                  </a:lnTo>
                  <a:lnTo>
                    <a:pt x="229" y="85"/>
                  </a:lnTo>
                  <a:lnTo>
                    <a:pt x="234" y="95"/>
                  </a:lnTo>
                  <a:lnTo>
                    <a:pt x="237" y="105"/>
                  </a:lnTo>
                  <a:lnTo>
                    <a:pt x="240" y="114"/>
                  </a:lnTo>
                  <a:lnTo>
                    <a:pt x="241" y="125"/>
                  </a:lnTo>
                  <a:lnTo>
                    <a:pt x="242" y="136"/>
                  </a:lnTo>
                  <a:lnTo>
                    <a:pt x="241" y="146"/>
                  </a:lnTo>
                  <a:lnTo>
                    <a:pt x="240" y="157"/>
                  </a:lnTo>
                  <a:lnTo>
                    <a:pt x="237" y="167"/>
                  </a:lnTo>
                  <a:lnTo>
                    <a:pt x="234" y="176"/>
                  </a:lnTo>
                  <a:lnTo>
                    <a:pt x="229" y="186"/>
                  </a:lnTo>
                  <a:lnTo>
                    <a:pt x="224" y="195"/>
                  </a:lnTo>
                  <a:lnTo>
                    <a:pt x="218" y="203"/>
                  </a:lnTo>
                  <a:lnTo>
                    <a:pt x="211" y="211"/>
                  </a:lnTo>
                  <a:lnTo>
                    <a:pt x="204" y="217"/>
                  </a:lnTo>
                  <a:lnTo>
                    <a:pt x="195" y="224"/>
                  </a:lnTo>
                  <a:lnTo>
                    <a:pt x="187" y="229"/>
                  </a:lnTo>
                  <a:lnTo>
                    <a:pt x="177" y="233"/>
                  </a:lnTo>
                  <a:lnTo>
                    <a:pt x="167" y="236"/>
                  </a:lnTo>
                  <a:lnTo>
                    <a:pt x="158" y="240"/>
                  </a:lnTo>
                  <a:lnTo>
                    <a:pt x="147" y="241"/>
                  </a:lnTo>
                  <a:lnTo>
                    <a:pt x="136" y="242"/>
                  </a:lnTo>
                  <a:close/>
                  <a:moveTo>
                    <a:pt x="136" y="0"/>
                  </a:moveTo>
                  <a:lnTo>
                    <a:pt x="122" y="1"/>
                  </a:lnTo>
                  <a:lnTo>
                    <a:pt x="108" y="3"/>
                  </a:lnTo>
                  <a:lnTo>
                    <a:pt x="95" y="6"/>
                  </a:lnTo>
                  <a:lnTo>
                    <a:pt x="82" y="10"/>
                  </a:lnTo>
                  <a:lnTo>
                    <a:pt x="71" y="16"/>
                  </a:lnTo>
                  <a:lnTo>
                    <a:pt x="60" y="23"/>
                  </a:lnTo>
                  <a:lnTo>
                    <a:pt x="49" y="31"/>
                  </a:lnTo>
                  <a:lnTo>
                    <a:pt x="40" y="39"/>
                  </a:lnTo>
                  <a:lnTo>
                    <a:pt x="31" y="49"/>
                  </a:lnTo>
                  <a:lnTo>
                    <a:pt x="23" y="60"/>
                  </a:lnTo>
                  <a:lnTo>
                    <a:pt x="16" y="70"/>
                  </a:lnTo>
                  <a:lnTo>
                    <a:pt x="11" y="83"/>
                  </a:lnTo>
                  <a:lnTo>
                    <a:pt x="6" y="95"/>
                  </a:lnTo>
                  <a:lnTo>
                    <a:pt x="2" y="108"/>
                  </a:lnTo>
                  <a:lnTo>
                    <a:pt x="0" y="122"/>
                  </a:lnTo>
                  <a:lnTo>
                    <a:pt x="0" y="136"/>
                  </a:lnTo>
                  <a:lnTo>
                    <a:pt x="0" y="150"/>
                  </a:lnTo>
                  <a:lnTo>
                    <a:pt x="2" y="162"/>
                  </a:lnTo>
                  <a:lnTo>
                    <a:pt x="6" y="176"/>
                  </a:lnTo>
                  <a:lnTo>
                    <a:pt x="11" y="188"/>
                  </a:lnTo>
                  <a:lnTo>
                    <a:pt x="16" y="200"/>
                  </a:lnTo>
                  <a:lnTo>
                    <a:pt x="23" y="212"/>
                  </a:lnTo>
                  <a:lnTo>
                    <a:pt x="31" y="222"/>
                  </a:lnTo>
                  <a:lnTo>
                    <a:pt x="40" y="232"/>
                  </a:lnTo>
                  <a:lnTo>
                    <a:pt x="49" y="241"/>
                  </a:lnTo>
                  <a:lnTo>
                    <a:pt x="60" y="248"/>
                  </a:lnTo>
                  <a:lnTo>
                    <a:pt x="71" y="256"/>
                  </a:lnTo>
                  <a:lnTo>
                    <a:pt x="82" y="261"/>
                  </a:lnTo>
                  <a:lnTo>
                    <a:pt x="95" y="265"/>
                  </a:lnTo>
                  <a:lnTo>
                    <a:pt x="108" y="269"/>
                  </a:lnTo>
                  <a:lnTo>
                    <a:pt x="122" y="271"/>
                  </a:lnTo>
                  <a:lnTo>
                    <a:pt x="136" y="272"/>
                  </a:lnTo>
                  <a:lnTo>
                    <a:pt x="150" y="271"/>
                  </a:lnTo>
                  <a:lnTo>
                    <a:pt x="163" y="269"/>
                  </a:lnTo>
                  <a:lnTo>
                    <a:pt x="176" y="265"/>
                  </a:lnTo>
                  <a:lnTo>
                    <a:pt x="189" y="261"/>
                  </a:lnTo>
                  <a:lnTo>
                    <a:pt x="200" y="256"/>
                  </a:lnTo>
                  <a:lnTo>
                    <a:pt x="212" y="248"/>
                  </a:lnTo>
                  <a:lnTo>
                    <a:pt x="222" y="241"/>
                  </a:lnTo>
                  <a:lnTo>
                    <a:pt x="233" y="232"/>
                  </a:lnTo>
                  <a:lnTo>
                    <a:pt x="241" y="222"/>
                  </a:lnTo>
                  <a:lnTo>
                    <a:pt x="249" y="212"/>
                  </a:lnTo>
                  <a:lnTo>
                    <a:pt x="255" y="200"/>
                  </a:lnTo>
                  <a:lnTo>
                    <a:pt x="262" y="188"/>
                  </a:lnTo>
                  <a:lnTo>
                    <a:pt x="266" y="176"/>
                  </a:lnTo>
                  <a:lnTo>
                    <a:pt x="269" y="162"/>
                  </a:lnTo>
                  <a:lnTo>
                    <a:pt x="271" y="150"/>
                  </a:lnTo>
                  <a:lnTo>
                    <a:pt x="272" y="136"/>
                  </a:lnTo>
                  <a:lnTo>
                    <a:pt x="271" y="122"/>
                  </a:lnTo>
                  <a:lnTo>
                    <a:pt x="269" y="108"/>
                  </a:lnTo>
                  <a:lnTo>
                    <a:pt x="266" y="95"/>
                  </a:lnTo>
                  <a:lnTo>
                    <a:pt x="262" y="83"/>
                  </a:lnTo>
                  <a:lnTo>
                    <a:pt x="255" y="70"/>
                  </a:lnTo>
                  <a:lnTo>
                    <a:pt x="249" y="60"/>
                  </a:lnTo>
                  <a:lnTo>
                    <a:pt x="241" y="49"/>
                  </a:lnTo>
                  <a:lnTo>
                    <a:pt x="232" y="39"/>
                  </a:lnTo>
                  <a:lnTo>
                    <a:pt x="222" y="31"/>
                  </a:lnTo>
                  <a:lnTo>
                    <a:pt x="212" y="23"/>
                  </a:lnTo>
                  <a:lnTo>
                    <a:pt x="200" y="16"/>
                  </a:lnTo>
                  <a:lnTo>
                    <a:pt x="189" y="10"/>
                  </a:lnTo>
                  <a:lnTo>
                    <a:pt x="176" y="6"/>
                  </a:lnTo>
                  <a:lnTo>
                    <a:pt x="163" y="3"/>
                  </a:lnTo>
                  <a:lnTo>
                    <a:pt x="150"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2" name="Group 98">
            <a:extLst>
              <a:ext uri="{FF2B5EF4-FFF2-40B4-BE49-F238E27FC236}">
                <a16:creationId xmlns:a16="http://schemas.microsoft.com/office/drawing/2014/main" id="{F2450FCF-D451-4FBB-B98C-2AE81D0B6627}"/>
              </a:ext>
            </a:extLst>
          </p:cNvPr>
          <p:cNvGrpSpPr>
            <a:grpSpLocks noChangeAspect="1"/>
          </p:cNvGrpSpPr>
          <p:nvPr/>
        </p:nvGrpSpPr>
        <p:grpSpPr>
          <a:xfrm>
            <a:off x="5373272" y="4879041"/>
            <a:ext cx="295469" cy="285619"/>
            <a:chOff x="5514975" y="831850"/>
            <a:chExt cx="238125" cy="230188"/>
          </a:xfrm>
          <a:solidFill>
            <a:schemeClr val="bg1"/>
          </a:solidFill>
          <a:effectLst/>
        </p:grpSpPr>
        <p:sp>
          <p:nvSpPr>
            <p:cNvPr id="1463" name="Freeform 87">
              <a:extLst>
                <a:ext uri="{FF2B5EF4-FFF2-40B4-BE49-F238E27FC236}">
                  <a16:creationId xmlns:a16="http://schemas.microsoft.com/office/drawing/2014/main" id="{92345838-6873-4441-BF29-AAD9DA1DAF1F}"/>
                </a:ext>
              </a:extLst>
            </p:cNvPr>
            <p:cNvSpPr>
              <a:spLocks noEditPoints="1"/>
            </p:cNvSpPr>
            <p:nvPr/>
          </p:nvSpPr>
          <p:spPr bwMode="auto">
            <a:xfrm>
              <a:off x="5605463" y="1004888"/>
              <a:ext cx="57150" cy="57150"/>
            </a:xfrm>
            <a:custGeom>
              <a:avLst/>
              <a:gdLst>
                <a:gd name="T0" fmla="*/ 79 w 182"/>
                <a:gd name="T1" fmla="*/ 150 h 181"/>
                <a:gd name="T2" fmla="*/ 63 w 182"/>
                <a:gd name="T3" fmla="*/ 144 h 181"/>
                <a:gd name="T4" fmla="*/ 49 w 182"/>
                <a:gd name="T5" fmla="*/ 133 h 181"/>
                <a:gd name="T6" fmla="*/ 38 w 182"/>
                <a:gd name="T7" fmla="*/ 119 h 181"/>
                <a:gd name="T8" fmla="*/ 32 w 182"/>
                <a:gd name="T9" fmla="*/ 103 h 181"/>
                <a:gd name="T10" fmla="*/ 30 w 182"/>
                <a:gd name="T11" fmla="*/ 85 h 181"/>
                <a:gd name="T12" fmla="*/ 35 w 182"/>
                <a:gd name="T13" fmla="*/ 66 h 181"/>
                <a:gd name="T14" fmla="*/ 44 w 182"/>
                <a:gd name="T15" fmla="*/ 51 h 181"/>
                <a:gd name="T16" fmla="*/ 57 w 182"/>
                <a:gd name="T17" fmla="*/ 41 h 181"/>
                <a:gd name="T18" fmla="*/ 73 w 182"/>
                <a:gd name="T19" fmla="*/ 32 h 181"/>
                <a:gd name="T20" fmla="*/ 91 w 182"/>
                <a:gd name="T21" fmla="*/ 30 h 181"/>
                <a:gd name="T22" fmla="*/ 109 w 182"/>
                <a:gd name="T23" fmla="*/ 32 h 181"/>
                <a:gd name="T24" fmla="*/ 125 w 182"/>
                <a:gd name="T25" fmla="*/ 41 h 181"/>
                <a:gd name="T26" fmla="*/ 138 w 182"/>
                <a:gd name="T27" fmla="*/ 51 h 181"/>
                <a:gd name="T28" fmla="*/ 146 w 182"/>
                <a:gd name="T29" fmla="*/ 66 h 181"/>
                <a:gd name="T30" fmla="*/ 152 w 182"/>
                <a:gd name="T31" fmla="*/ 85 h 181"/>
                <a:gd name="T32" fmla="*/ 151 w 182"/>
                <a:gd name="T33" fmla="*/ 103 h 181"/>
                <a:gd name="T34" fmla="*/ 144 w 182"/>
                <a:gd name="T35" fmla="*/ 119 h 181"/>
                <a:gd name="T36" fmla="*/ 133 w 182"/>
                <a:gd name="T37" fmla="*/ 133 h 181"/>
                <a:gd name="T38" fmla="*/ 120 w 182"/>
                <a:gd name="T39" fmla="*/ 144 h 181"/>
                <a:gd name="T40" fmla="*/ 103 w 182"/>
                <a:gd name="T41" fmla="*/ 150 h 181"/>
                <a:gd name="T42" fmla="*/ 91 w 182"/>
                <a:gd name="T43" fmla="*/ 0 h 181"/>
                <a:gd name="T44" fmla="*/ 64 w 182"/>
                <a:gd name="T45" fmla="*/ 4 h 181"/>
                <a:gd name="T46" fmla="*/ 40 w 182"/>
                <a:gd name="T47" fmla="*/ 15 h 181"/>
                <a:gd name="T48" fmla="*/ 21 w 182"/>
                <a:gd name="T49" fmla="*/ 33 h 181"/>
                <a:gd name="T50" fmla="*/ 7 w 182"/>
                <a:gd name="T51" fmla="*/ 55 h 181"/>
                <a:gd name="T52" fmla="*/ 0 w 182"/>
                <a:gd name="T53" fmla="*/ 81 h 181"/>
                <a:gd name="T54" fmla="*/ 2 w 182"/>
                <a:gd name="T55" fmla="*/ 108 h 181"/>
                <a:gd name="T56" fmla="*/ 11 w 182"/>
                <a:gd name="T57" fmla="*/ 134 h 181"/>
                <a:gd name="T58" fmla="*/ 27 w 182"/>
                <a:gd name="T59" fmla="*/ 154 h 181"/>
                <a:gd name="T60" fmla="*/ 48 w 182"/>
                <a:gd name="T61" fmla="*/ 170 h 181"/>
                <a:gd name="T62" fmla="*/ 72 w 182"/>
                <a:gd name="T63" fmla="*/ 179 h 181"/>
                <a:gd name="T64" fmla="*/ 100 w 182"/>
                <a:gd name="T65" fmla="*/ 181 h 181"/>
                <a:gd name="T66" fmla="*/ 126 w 182"/>
                <a:gd name="T67" fmla="*/ 174 h 181"/>
                <a:gd name="T68" fmla="*/ 148 w 182"/>
                <a:gd name="T69" fmla="*/ 161 h 181"/>
                <a:gd name="T70" fmla="*/ 167 w 182"/>
                <a:gd name="T71" fmla="*/ 141 h 181"/>
                <a:gd name="T72" fmla="*/ 177 w 182"/>
                <a:gd name="T73" fmla="*/ 118 h 181"/>
                <a:gd name="T74" fmla="*/ 182 w 182"/>
                <a:gd name="T75" fmla="*/ 90 h 181"/>
                <a:gd name="T76" fmla="*/ 177 w 182"/>
                <a:gd name="T77" fmla="*/ 63 h 181"/>
                <a:gd name="T78" fmla="*/ 167 w 182"/>
                <a:gd name="T79" fmla="*/ 40 h 181"/>
                <a:gd name="T80" fmla="*/ 148 w 182"/>
                <a:gd name="T81" fmla="*/ 20 h 181"/>
                <a:gd name="T82" fmla="*/ 126 w 182"/>
                <a:gd name="T83" fmla="*/ 6 h 181"/>
                <a:gd name="T84" fmla="*/ 100 w 182"/>
                <a:gd name="T8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2" h="181">
                  <a:moveTo>
                    <a:pt x="91" y="151"/>
                  </a:moveTo>
                  <a:lnTo>
                    <a:pt x="85" y="150"/>
                  </a:lnTo>
                  <a:lnTo>
                    <a:pt x="79" y="150"/>
                  </a:lnTo>
                  <a:lnTo>
                    <a:pt x="73" y="148"/>
                  </a:lnTo>
                  <a:lnTo>
                    <a:pt x="68" y="146"/>
                  </a:lnTo>
                  <a:lnTo>
                    <a:pt x="63" y="144"/>
                  </a:lnTo>
                  <a:lnTo>
                    <a:pt x="57" y="140"/>
                  </a:lnTo>
                  <a:lnTo>
                    <a:pt x="53" y="137"/>
                  </a:lnTo>
                  <a:lnTo>
                    <a:pt x="49" y="133"/>
                  </a:lnTo>
                  <a:lnTo>
                    <a:pt x="44" y="129"/>
                  </a:lnTo>
                  <a:lnTo>
                    <a:pt x="41" y="124"/>
                  </a:lnTo>
                  <a:lnTo>
                    <a:pt x="38" y="119"/>
                  </a:lnTo>
                  <a:lnTo>
                    <a:pt x="35" y="114"/>
                  </a:lnTo>
                  <a:lnTo>
                    <a:pt x="34" y="108"/>
                  </a:lnTo>
                  <a:lnTo>
                    <a:pt x="32" y="103"/>
                  </a:lnTo>
                  <a:lnTo>
                    <a:pt x="30" y="96"/>
                  </a:lnTo>
                  <a:lnTo>
                    <a:pt x="30" y="90"/>
                  </a:lnTo>
                  <a:lnTo>
                    <a:pt x="30" y="85"/>
                  </a:lnTo>
                  <a:lnTo>
                    <a:pt x="32" y="78"/>
                  </a:lnTo>
                  <a:lnTo>
                    <a:pt x="34" y="73"/>
                  </a:lnTo>
                  <a:lnTo>
                    <a:pt x="35" y="66"/>
                  </a:lnTo>
                  <a:lnTo>
                    <a:pt x="38" y="61"/>
                  </a:lnTo>
                  <a:lnTo>
                    <a:pt x="41" y="57"/>
                  </a:lnTo>
                  <a:lnTo>
                    <a:pt x="44" y="51"/>
                  </a:lnTo>
                  <a:lnTo>
                    <a:pt x="49" y="47"/>
                  </a:lnTo>
                  <a:lnTo>
                    <a:pt x="53" y="44"/>
                  </a:lnTo>
                  <a:lnTo>
                    <a:pt x="57" y="41"/>
                  </a:lnTo>
                  <a:lnTo>
                    <a:pt x="63" y="37"/>
                  </a:lnTo>
                  <a:lnTo>
                    <a:pt x="67" y="34"/>
                  </a:lnTo>
                  <a:lnTo>
                    <a:pt x="73" y="32"/>
                  </a:lnTo>
                  <a:lnTo>
                    <a:pt x="79" y="31"/>
                  </a:lnTo>
                  <a:lnTo>
                    <a:pt x="85" y="30"/>
                  </a:lnTo>
                  <a:lnTo>
                    <a:pt x="91" y="30"/>
                  </a:lnTo>
                  <a:lnTo>
                    <a:pt x="97" y="30"/>
                  </a:lnTo>
                  <a:lnTo>
                    <a:pt x="103" y="31"/>
                  </a:lnTo>
                  <a:lnTo>
                    <a:pt x="109" y="32"/>
                  </a:lnTo>
                  <a:lnTo>
                    <a:pt x="114" y="34"/>
                  </a:lnTo>
                  <a:lnTo>
                    <a:pt x="120" y="37"/>
                  </a:lnTo>
                  <a:lnTo>
                    <a:pt x="125" y="41"/>
                  </a:lnTo>
                  <a:lnTo>
                    <a:pt x="129" y="44"/>
                  </a:lnTo>
                  <a:lnTo>
                    <a:pt x="133" y="47"/>
                  </a:lnTo>
                  <a:lnTo>
                    <a:pt x="138" y="51"/>
                  </a:lnTo>
                  <a:lnTo>
                    <a:pt x="141" y="57"/>
                  </a:lnTo>
                  <a:lnTo>
                    <a:pt x="144" y="61"/>
                  </a:lnTo>
                  <a:lnTo>
                    <a:pt x="146" y="66"/>
                  </a:lnTo>
                  <a:lnTo>
                    <a:pt x="148" y="73"/>
                  </a:lnTo>
                  <a:lnTo>
                    <a:pt x="151" y="78"/>
                  </a:lnTo>
                  <a:lnTo>
                    <a:pt x="152" y="85"/>
                  </a:lnTo>
                  <a:lnTo>
                    <a:pt x="152" y="90"/>
                  </a:lnTo>
                  <a:lnTo>
                    <a:pt x="152" y="96"/>
                  </a:lnTo>
                  <a:lnTo>
                    <a:pt x="151" y="103"/>
                  </a:lnTo>
                  <a:lnTo>
                    <a:pt x="148" y="108"/>
                  </a:lnTo>
                  <a:lnTo>
                    <a:pt x="146" y="114"/>
                  </a:lnTo>
                  <a:lnTo>
                    <a:pt x="144" y="119"/>
                  </a:lnTo>
                  <a:lnTo>
                    <a:pt x="141" y="124"/>
                  </a:lnTo>
                  <a:lnTo>
                    <a:pt x="138" y="129"/>
                  </a:lnTo>
                  <a:lnTo>
                    <a:pt x="133" y="133"/>
                  </a:lnTo>
                  <a:lnTo>
                    <a:pt x="129" y="137"/>
                  </a:lnTo>
                  <a:lnTo>
                    <a:pt x="125" y="140"/>
                  </a:lnTo>
                  <a:lnTo>
                    <a:pt x="120" y="144"/>
                  </a:lnTo>
                  <a:lnTo>
                    <a:pt x="114" y="146"/>
                  </a:lnTo>
                  <a:lnTo>
                    <a:pt x="109" y="148"/>
                  </a:lnTo>
                  <a:lnTo>
                    <a:pt x="103" y="150"/>
                  </a:lnTo>
                  <a:lnTo>
                    <a:pt x="97" y="150"/>
                  </a:lnTo>
                  <a:lnTo>
                    <a:pt x="91" y="151"/>
                  </a:lnTo>
                  <a:close/>
                  <a:moveTo>
                    <a:pt x="91" y="0"/>
                  </a:moveTo>
                  <a:lnTo>
                    <a:pt x="82" y="0"/>
                  </a:lnTo>
                  <a:lnTo>
                    <a:pt x="72" y="1"/>
                  </a:lnTo>
                  <a:lnTo>
                    <a:pt x="64" y="4"/>
                  </a:lnTo>
                  <a:lnTo>
                    <a:pt x="55" y="6"/>
                  </a:lnTo>
                  <a:lnTo>
                    <a:pt x="48" y="11"/>
                  </a:lnTo>
                  <a:lnTo>
                    <a:pt x="40" y="15"/>
                  </a:lnTo>
                  <a:lnTo>
                    <a:pt x="34" y="20"/>
                  </a:lnTo>
                  <a:lnTo>
                    <a:pt x="27" y="27"/>
                  </a:lnTo>
                  <a:lnTo>
                    <a:pt x="21" y="33"/>
                  </a:lnTo>
                  <a:lnTo>
                    <a:pt x="15" y="40"/>
                  </a:lnTo>
                  <a:lnTo>
                    <a:pt x="11" y="47"/>
                  </a:lnTo>
                  <a:lnTo>
                    <a:pt x="7" y="55"/>
                  </a:lnTo>
                  <a:lnTo>
                    <a:pt x="5" y="63"/>
                  </a:lnTo>
                  <a:lnTo>
                    <a:pt x="2" y="72"/>
                  </a:lnTo>
                  <a:lnTo>
                    <a:pt x="0" y="81"/>
                  </a:lnTo>
                  <a:lnTo>
                    <a:pt x="0" y="90"/>
                  </a:lnTo>
                  <a:lnTo>
                    <a:pt x="0" y="100"/>
                  </a:lnTo>
                  <a:lnTo>
                    <a:pt x="2" y="108"/>
                  </a:lnTo>
                  <a:lnTo>
                    <a:pt x="5" y="118"/>
                  </a:lnTo>
                  <a:lnTo>
                    <a:pt x="7" y="125"/>
                  </a:lnTo>
                  <a:lnTo>
                    <a:pt x="11" y="134"/>
                  </a:lnTo>
                  <a:lnTo>
                    <a:pt x="15" y="141"/>
                  </a:lnTo>
                  <a:lnTo>
                    <a:pt x="21" y="148"/>
                  </a:lnTo>
                  <a:lnTo>
                    <a:pt x="27" y="154"/>
                  </a:lnTo>
                  <a:lnTo>
                    <a:pt x="34" y="161"/>
                  </a:lnTo>
                  <a:lnTo>
                    <a:pt x="40" y="166"/>
                  </a:lnTo>
                  <a:lnTo>
                    <a:pt x="48" y="170"/>
                  </a:lnTo>
                  <a:lnTo>
                    <a:pt x="55" y="174"/>
                  </a:lnTo>
                  <a:lnTo>
                    <a:pt x="64" y="177"/>
                  </a:lnTo>
                  <a:lnTo>
                    <a:pt x="72" y="179"/>
                  </a:lnTo>
                  <a:lnTo>
                    <a:pt x="82" y="181"/>
                  </a:lnTo>
                  <a:lnTo>
                    <a:pt x="91" y="181"/>
                  </a:lnTo>
                  <a:lnTo>
                    <a:pt x="100" y="181"/>
                  </a:lnTo>
                  <a:lnTo>
                    <a:pt x="109" y="179"/>
                  </a:lnTo>
                  <a:lnTo>
                    <a:pt x="118" y="177"/>
                  </a:lnTo>
                  <a:lnTo>
                    <a:pt x="126" y="174"/>
                  </a:lnTo>
                  <a:lnTo>
                    <a:pt x="135" y="170"/>
                  </a:lnTo>
                  <a:lnTo>
                    <a:pt x="142" y="166"/>
                  </a:lnTo>
                  <a:lnTo>
                    <a:pt x="148" y="161"/>
                  </a:lnTo>
                  <a:lnTo>
                    <a:pt x="155" y="154"/>
                  </a:lnTo>
                  <a:lnTo>
                    <a:pt x="161" y="148"/>
                  </a:lnTo>
                  <a:lnTo>
                    <a:pt x="167" y="141"/>
                  </a:lnTo>
                  <a:lnTo>
                    <a:pt x="171" y="134"/>
                  </a:lnTo>
                  <a:lnTo>
                    <a:pt x="174" y="125"/>
                  </a:lnTo>
                  <a:lnTo>
                    <a:pt x="177" y="118"/>
                  </a:lnTo>
                  <a:lnTo>
                    <a:pt x="180" y="108"/>
                  </a:lnTo>
                  <a:lnTo>
                    <a:pt x="182" y="100"/>
                  </a:lnTo>
                  <a:lnTo>
                    <a:pt x="182" y="90"/>
                  </a:lnTo>
                  <a:lnTo>
                    <a:pt x="182" y="81"/>
                  </a:lnTo>
                  <a:lnTo>
                    <a:pt x="180" y="72"/>
                  </a:lnTo>
                  <a:lnTo>
                    <a:pt x="177" y="63"/>
                  </a:lnTo>
                  <a:lnTo>
                    <a:pt x="174" y="55"/>
                  </a:lnTo>
                  <a:lnTo>
                    <a:pt x="171" y="47"/>
                  </a:lnTo>
                  <a:lnTo>
                    <a:pt x="167" y="40"/>
                  </a:lnTo>
                  <a:lnTo>
                    <a:pt x="161" y="33"/>
                  </a:lnTo>
                  <a:lnTo>
                    <a:pt x="155" y="27"/>
                  </a:lnTo>
                  <a:lnTo>
                    <a:pt x="148" y="20"/>
                  </a:lnTo>
                  <a:lnTo>
                    <a:pt x="142" y="15"/>
                  </a:lnTo>
                  <a:lnTo>
                    <a:pt x="135" y="11"/>
                  </a:lnTo>
                  <a:lnTo>
                    <a:pt x="126" y="6"/>
                  </a:lnTo>
                  <a:lnTo>
                    <a:pt x="118" y="4"/>
                  </a:lnTo>
                  <a:lnTo>
                    <a:pt x="109" y="1"/>
                  </a:lnTo>
                  <a:lnTo>
                    <a:pt x="100"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88">
              <a:extLst>
                <a:ext uri="{FF2B5EF4-FFF2-40B4-BE49-F238E27FC236}">
                  <a16:creationId xmlns:a16="http://schemas.microsoft.com/office/drawing/2014/main" id="{E6FFDCFC-0462-449E-97F5-A248639730B0}"/>
                </a:ext>
              </a:extLst>
            </p:cNvPr>
            <p:cNvSpPr>
              <a:spLocks/>
            </p:cNvSpPr>
            <p:nvPr/>
          </p:nvSpPr>
          <p:spPr bwMode="auto">
            <a:xfrm>
              <a:off x="5581650" y="946150"/>
              <a:ext cx="104775" cy="25400"/>
            </a:xfrm>
            <a:custGeom>
              <a:avLst/>
              <a:gdLst>
                <a:gd name="T0" fmla="*/ 0 w 332"/>
                <a:gd name="T1" fmla="*/ 53 h 78"/>
                <a:gd name="T2" fmla="*/ 18 w 332"/>
                <a:gd name="T3" fmla="*/ 78 h 78"/>
                <a:gd name="T4" fmla="*/ 35 w 332"/>
                <a:gd name="T5" fmla="*/ 67 h 78"/>
                <a:gd name="T6" fmla="*/ 52 w 332"/>
                <a:gd name="T7" fmla="*/ 58 h 78"/>
                <a:gd name="T8" fmla="*/ 70 w 332"/>
                <a:gd name="T9" fmla="*/ 49 h 78"/>
                <a:gd name="T10" fmla="*/ 88 w 332"/>
                <a:gd name="T11" fmla="*/ 43 h 78"/>
                <a:gd name="T12" fmla="*/ 107 w 332"/>
                <a:gd name="T13" fmla="*/ 37 h 78"/>
                <a:gd name="T14" fmla="*/ 127 w 332"/>
                <a:gd name="T15" fmla="*/ 34 h 78"/>
                <a:gd name="T16" fmla="*/ 146 w 332"/>
                <a:gd name="T17" fmla="*/ 31 h 78"/>
                <a:gd name="T18" fmla="*/ 166 w 332"/>
                <a:gd name="T19" fmla="*/ 31 h 78"/>
                <a:gd name="T20" fmla="*/ 186 w 332"/>
                <a:gd name="T21" fmla="*/ 31 h 78"/>
                <a:gd name="T22" fmla="*/ 205 w 332"/>
                <a:gd name="T23" fmla="*/ 33 h 78"/>
                <a:gd name="T24" fmla="*/ 225 w 332"/>
                <a:gd name="T25" fmla="*/ 37 h 78"/>
                <a:gd name="T26" fmla="*/ 244 w 332"/>
                <a:gd name="T27" fmla="*/ 43 h 78"/>
                <a:gd name="T28" fmla="*/ 262 w 332"/>
                <a:gd name="T29" fmla="*/ 49 h 78"/>
                <a:gd name="T30" fmla="*/ 280 w 332"/>
                <a:gd name="T31" fmla="*/ 58 h 78"/>
                <a:gd name="T32" fmla="*/ 297 w 332"/>
                <a:gd name="T33" fmla="*/ 67 h 78"/>
                <a:gd name="T34" fmla="*/ 315 w 332"/>
                <a:gd name="T35" fmla="*/ 78 h 78"/>
                <a:gd name="T36" fmla="*/ 332 w 332"/>
                <a:gd name="T37" fmla="*/ 53 h 78"/>
                <a:gd name="T38" fmla="*/ 314 w 332"/>
                <a:gd name="T39" fmla="*/ 40 h 78"/>
                <a:gd name="T40" fmla="*/ 294 w 332"/>
                <a:gd name="T41" fmla="*/ 30 h 78"/>
                <a:gd name="T42" fmla="*/ 274 w 332"/>
                <a:gd name="T43" fmla="*/ 21 h 78"/>
                <a:gd name="T44" fmla="*/ 253 w 332"/>
                <a:gd name="T45" fmla="*/ 14 h 78"/>
                <a:gd name="T46" fmla="*/ 232 w 332"/>
                <a:gd name="T47" fmla="*/ 8 h 78"/>
                <a:gd name="T48" fmla="*/ 211 w 332"/>
                <a:gd name="T49" fmla="*/ 4 h 78"/>
                <a:gd name="T50" fmla="*/ 188 w 332"/>
                <a:gd name="T51" fmla="*/ 1 h 78"/>
                <a:gd name="T52" fmla="*/ 166 w 332"/>
                <a:gd name="T53" fmla="*/ 0 h 78"/>
                <a:gd name="T54" fmla="*/ 144 w 332"/>
                <a:gd name="T55" fmla="*/ 1 h 78"/>
                <a:gd name="T56" fmla="*/ 122 w 332"/>
                <a:gd name="T57" fmla="*/ 4 h 78"/>
                <a:gd name="T58" fmla="*/ 100 w 332"/>
                <a:gd name="T59" fmla="*/ 8 h 78"/>
                <a:gd name="T60" fmla="*/ 79 w 332"/>
                <a:gd name="T61" fmla="*/ 14 h 78"/>
                <a:gd name="T62" fmla="*/ 58 w 332"/>
                <a:gd name="T63" fmla="*/ 21 h 78"/>
                <a:gd name="T64" fmla="*/ 38 w 332"/>
                <a:gd name="T65" fmla="*/ 31 h 78"/>
                <a:gd name="T66" fmla="*/ 19 w 332"/>
                <a:gd name="T67" fmla="*/ 40 h 78"/>
                <a:gd name="T68" fmla="*/ 0 w 332"/>
                <a:gd name="T69" fmla="*/ 5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78">
                  <a:moveTo>
                    <a:pt x="0" y="53"/>
                  </a:moveTo>
                  <a:lnTo>
                    <a:pt x="18" y="78"/>
                  </a:lnTo>
                  <a:lnTo>
                    <a:pt x="35" y="67"/>
                  </a:lnTo>
                  <a:lnTo>
                    <a:pt x="52" y="58"/>
                  </a:lnTo>
                  <a:lnTo>
                    <a:pt x="70" y="49"/>
                  </a:lnTo>
                  <a:lnTo>
                    <a:pt x="88" y="43"/>
                  </a:lnTo>
                  <a:lnTo>
                    <a:pt x="107" y="37"/>
                  </a:lnTo>
                  <a:lnTo>
                    <a:pt x="127" y="34"/>
                  </a:lnTo>
                  <a:lnTo>
                    <a:pt x="146" y="31"/>
                  </a:lnTo>
                  <a:lnTo>
                    <a:pt x="166" y="31"/>
                  </a:lnTo>
                  <a:lnTo>
                    <a:pt x="186" y="31"/>
                  </a:lnTo>
                  <a:lnTo>
                    <a:pt x="205" y="33"/>
                  </a:lnTo>
                  <a:lnTo>
                    <a:pt x="225" y="37"/>
                  </a:lnTo>
                  <a:lnTo>
                    <a:pt x="244" y="43"/>
                  </a:lnTo>
                  <a:lnTo>
                    <a:pt x="262" y="49"/>
                  </a:lnTo>
                  <a:lnTo>
                    <a:pt x="280" y="58"/>
                  </a:lnTo>
                  <a:lnTo>
                    <a:pt x="297" y="67"/>
                  </a:lnTo>
                  <a:lnTo>
                    <a:pt x="315" y="78"/>
                  </a:lnTo>
                  <a:lnTo>
                    <a:pt x="332" y="53"/>
                  </a:lnTo>
                  <a:lnTo>
                    <a:pt x="314" y="40"/>
                  </a:lnTo>
                  <a:lnTo>
                    <a:pt x="294" y="30"/>
                  </a:lnTo>
                  <a:lnTo>
                    <a:pt x="274" y="21"/>
                  </a:lnTo>
                  <a:lnTo>
                    <a:pt x="253" y="14"/>
                  </a:lnTo>
                  <a:lnTo>
                    <a:pt x="232" y="8"/>
                  </a:lnTo>
                  <a:lnTo>
                    <a:pt x="211" y="4"/>
                  </a:lnTo>
                  <a:lnTo>
                    <a:pt x="188" y="1"/>
                  </a:lnTo>
                  <a:lnTo>
                    <a:pt x="166" y="0"/>
                  </a:lnTo>
                  <a:lnTo>
                    <a:pt x="144" y="1"/>
                  </a:lnTo>
                  <a:lnTo>
                    <a:pt x="122" y="4"/>
                  </a:lnTo>
                  <a:lnTo>
                    <a:pt x="100" y="8"/>
                  </a:lnTo>
                  <a:lnTo>
                    <a:pt x="79" y="14"/>
                  </a:lnTo>
                  <a:lnTo>
                    <a:pt x="58" y="21"/>
                  </a:lnTo>
                  <a:lnTo>
                    <a:pt x="38" y="31"/>
                  </a:lnTo>
                  <a:lnTo>
                    <a:pt x="19" y="40"/>
                  </a:lnTo>
                  <a:lnTo>
                    <a:pt x="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89">
              <a:extLst>
                <a:ext uri="{FF2B5EF4-FFF2-40B4-BE49-F238E27FC236}">
                  <a16:creationId xmlns:a16="http://schemas.microsoft.com/office/drawing/2014/main" id="{5C507B1F-DDFB-4530-BCB8-3B00834435D7}"/>
                </a:ext>
              </a:extLst>
            </p:cNvPr>
            <p:cNvSpPr>
              <a:spLocks/>
            </p:cNvSpPr>
            <p:nvPr/>
          </p:nvSpPr>
          <p:spPr bwMode="auto">
            <a:xfrm>
              <a:off x="5548313" y="889000"/>
              <a:ext cx="171450" cy="34925"/>
            </a:xfrm>
            <a:custGeom>
              <a:avLst/>
              <a:gdLst>
                <a:gd name="T0" fmla="*/ 17 w 542"/>
                <a:gd name="T1" fmla="*/ 111 h 111"/>
                <a:gd name="T2" fmla="*/ 46 w 542"/>
                <a:gd name="T3" fmla="*/ 92 h 111"/>
                <a:gd name="T4" fmla="*/ 75 w 542"/>
                <a:gd name="T5" fmla="*/ 76 h 111"/>
                <a:gd name="T6" fmla="*/ 106 w 542"/>
                <a:gd name="T7" fmla="*/ 62 h 111"/>
                <a:gd name="T8" fmla="*/ 138 w 542"/>
                <a:gd name="T9" fmla="*/ 51 h 111"/>
                <a:gd name="T10" fmla="*/ 170 w 542"/>
                <a:gd name="T11" fmla="*/ 41 h 111"/>
                <a:gd name="T12" fmla="*/ 203 w 542"/>
                <a:gd name="T13" fmla="*/ 35 h 111"/>
                <a:gd name="T14" fmla="*/ 237 w 542"/>
                <a:gd name="T15" fmla="*/ 32 h 111"/>
                <a:gd name="T16" fmla="*/ 271 w 542"/>
                <a:gd name="T17" fmla="*/ 30 h 111"/>
                <a:gd name="T18" fmla="*/ 305 w 542"/>
                <a:gd name="T19" fmla="*/ 32 h 111"/>
                <a:gd name="T20" fmla="*/ 339 w 542"/>
                <a:gd name="T21" fmla="*/ 35 h 111"/>
                <a:gd name="T22" fmla="*/ 371 w 542"/>
                <a:gd name="T23" fmla="*/ 41 h 111"/>
                <a:gd name="T24" fmla="*/ 405 w 542"/>
                <a:gd name="T25" fmla="*/ 51 h 111"/>
                <a:gd name="T26" fmla="*/ 436 w 542"/>
                <a:gd name="T27" fmla="*/ 62 h 111"/>
                <a:gd name="T28" fmla="*/ 467 w 542"/>
                <a:gd name="T29" fmla="*/ 76 h 111"/>
                <a:gd name="T30" fmla="*/ 496 w 542"/>
                <a:gd name="T31" fmla="*/ 92 h 111"/>
                <a:gd name="T32" fmla="*/ 525 w 542"/>
                <a:gd name="T33" fmla="*/ 111 h 111"/>
                <a:gd name="T34" fmla="*/ 527 w 542"/>
                <a:gd name="T35" fmla="*/ 76 h 111"/>
                <a:gd name="T36" fmla="*/ 496 w 542"/>
                <a:gd name="T37" fmla="*/ 57 h 111"/>
                <a:gd name="T38" fmla="*/ 464 w 542"/>
                <a:gd name="T39" fmla="*/ 41 h 111"/>
                <a:gd name="T40" fmla="*/ 430 w 542"/>
                <a:gd name="T41" fmla="*/ 27 h 111"/>
                <a:gd name="T42" fmla="*/ 396 w 542"/>
                <a:gd name="T43" fmla="*/ 17 h 111"/>
                <a:gd name="T44" fmla="*/ 361 w 542"/>
                <a:gd name="T45" fmla="*/ 8 h 111"/>
                <a:gd name="T46" fmla="*/ 325 w 542"/>
                <a:gd name="T47" fmla="*/ 3 h 111"/>
                <a:gd name="T48" fmla="*/ 289 w 542"/>
                <a:gd name="T49" fmla="*/ 1 h 111"/>
                <a:gd name="T50" fmla="*/ 252 w 542"/>
                <a:gd name="T51" fmla="*/ 1 h 111"/>
                <a:gd name="T52" fmla="*/ 217 w 542"/>
                <a:gd name="T53" fmla="*/ 3 h 111"/>
                <a:gd name="T54" fmla="*/ 180 w 542"/>
                <a:gd name="T55" fmla="*/ 8 h 111"/>
                <a:gd name="T56" fmla="*/ 146 w 542"/>
                <a:gd name="T57" fmla="*/ 17 h 111"/>
                <a:gd name="T58" fmla="*/ 112 w 542"/>
                <a:gd name="T59" fmla="*/ 27 h 111"/>
                <a:gd name="T60" fmla="*/ 79 w 542"/>
                <a:gd name="T61" fmla="*/ 41 h 111"/>
                <a:gd name="T62" fmla="*/ 46 w 542"/>
                <a:gd name="T63" fmla="*/ 57 h 111"/>
                <a:gd name="T64" fmla="*/ 15 w 542"/>
                <a:gd name="T65" fmla="*/ 7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2" h="111">
                  <a:moveTo>
                    <a:pt x="0" y="86"/>
                  </a:moveTo>
                  <a:lnTo>
                    <a:pt x="17" y="111"/>
                  </a:lnTo>
                  <a:lnTo>
                    <a:pt x="31" y="101"/>
                  </a:lnTo>
                  <a:lnTo>
                    <a:pt x="46" y="92"/>
                  </a:lnTo>
                  <a:lnTo>
                    <a:pt x="60" y="83"/>
                  </a:lnTo>
                  <a:lnTo>
                    <a:pt x="75" y="76"/>
                  </a:lnTo>
                  <a:lnTo>
                    <a:pt x="90" y="68"/>
                  </a:lnTo>
                  <a:lnTo>
                    <a:pt x="106" y="62"/>
                  </a:lnTo>
                  <a:lnTo>
                    <a:pt x="121" y="56"/>
                  </a:lnTo>
                  <a:lnTo>
                    <a:pt x="138" y="51"/>
                  </a:lnTo>
                  <a:lnTo>
                    <a:pt x="154" y="46"/>
                  </a:lnTo>
                  <a:lnTo>
                    <a:pt x="170" y="41"/>
                  </a:lnTo>
                  <a:lnTo>
                    <a:pt x="187" y="38"/>
                  </a:lnTo>
                  <a:lnTo>
                    <a:pt x="203" y="35"/>
                  </a:lnTo>
                  <a:lnTo>
                    <a:pt x="220" y="33"/>
                  </a:lnTo>
                  <a:lnTo>
                    <a:pt x="237" y="32"/>
                  </a:lnTo>
                  <a:lnTo>
                    <a:pt x="253" y="31"/>
                  </a:lnTo>
                  <a:lnTo>
                    <a:pt x="271" y="30"/>
                  </a:lnTo>
                  <a:lnTo>
                    <a:pt x="288" y="31"/>
                  </a:lnTo>
                  <a:lnTo>
                    <a:pt x="305" y="32"/>
                  </a:lnTo>
                  <a:lnTo>
                    <a:pt x="322" y="33"/>
                  </a:lnTo>
                  <a:lnTo>
                    <a:pt x="339" y="35"/>
                  </a:lnTo>
                  <a:lnTo>
                    <a:pt x="355" y="38"/>
                  </a:lnTo>
                  <a:lnTo>
                    <a:pt x="371" y="41"/>
                  </a:lnTo>
                  <a:lnTo>
                    <a:pt x="389" y="46"/>
                  </a:lnTo>
                  <a:lnTo>
                    <a:pt x="405" y="51"/>
                  </a:lnTo>
                  <a:lnTo>
                    <a:pt x="420" y="56"/>
                  </a:lnTo>
                  <a:lnTo>
                    <a:pt x="436" y="62"/>
                  </a:lnTo>
                  <a:lnTo>
                    <a:pt x="451" y="68"/>
                  </a:lnTo>
                  <a:lnTo>
                    <a:pt x="467" y="76"/>
                  </a:lnTo>
                  <a:lnTo>
                    <a:pt x="482" y="83"/>
                  </a:lnTo>
                  <a:lnTo>
                    <a:pt x="496" y="92"/>
                  </a:lnTo>
                  <a:lnTo>
                    <a:pt x="511" y="101"/>
                  </a:lnTo>
                  <a:lnTo>
                    <a:pt x="525" y="111"/>
                  </a:lnTo>
                  <a:lnTo>
                    <a:pt x="542" y="86"/>
                  </a:lnTo>
                  <a:lnTo>
                    <a:pt x="527" y="76"/>
                  </a:lnTo>
                  <a:lnTo>
                    <a:pt x="512" y="66"/>
                  </a:lnTo>
                  <a:lnTo>
                    <a:pt x="496" y="57"/>
                  </a:lnTo>
                  <a:lnTo>
                    <a:pt x="480" y="49"/>
                  </a:lnTo>
                  <a:lnTo>
                    <a:pt x="464" y="41"/>
                  </a:lnTo>
                  <a:lnTo>
                    <a:pt x="448" y="34"/>
                  </a:lnTo>
                  <a:lnTo>
                    <a:pt x="430" y="27"/>
                  </a:lnTo>
                  <a:lnTo>
                    <a:pt x="413" y="22"/>
                  </a:lnTo>
                  <a:lnTo>
                    <a:pt x="396" y="17"/>
                  </a:lnTo>
                  <a:lnTo>
                    <a:pt x="379" y="12"/>
                  </a:lnTo>
                  <a:lnTo>
                    <a:pt x="361" y="8"/>
                  </a:lnTo>
                  <a:lnTo>
                    <a:pt x="343" y="5"/>
                  </a:lnTo>
                  <a:lnTo>
                    <a:pt x="325" y="3"/>
                  </a:lnTo>
                  <a:lnTo>
                    <a:pt x="307" y="1"/>
                  </a:lnTo>
                  <a:lnTo>
                    <a:pt x="289" y="1"/>
                  </a:lnTo>
                  <a:lnTo>
                    <a:pt x="271" y="0"/>
                  </a:lnTo>
                  <a:lnTo>
                    <a:pt x="252" y="1"/>
                  </a:lnTo>
                  <a:lnTo>
                    <a:pt x="234" y="1"/>
                  </a:lnTo>
                  <a:lnTo>
                    <a:pt x="217" y="3"/>
                  </a:lnTo>
                  <a:lnTo>
                    <a:pt x="199" y="5"/>
                  </a:lnTo>
                  <a:lnTo>
                    <a:pt x="180" y="8"/>
                  </a:lnTo>
                  <a:lnTo>
                    <a:pt x="163" y="12"/>
                  </a:lnTo>
                  <a:lnTo>
                    <a:pt x="146" y="17"/>
                  </a:lnTo>
                  <a:lnTo>
                    <a:pt x="129" y="22"/>
                  </a:lnTo>
                  <a:lnTo>
                    <a:pt x="112" y="27"/>
                  </a:lnTo>
                  <a:lnTo>
                    <a:pt x="95" y="34"/>
                  </a:lnTo>
                  <a:lnTo>
                    <a:pt x="79" y="41"/>
                  </a:lnTo>
                  <a:lnTo>
                    <a:pt x="62" y="49"/>
                  </a:lnTo>
                  <a:lnTo>
                    <a:pt x="46" y="57"/>
                  </a:lnTo>
                  <a:lnTo>
                    <a:pt x="30" y="66"/>
                  </a:lnTo>
                  <a:lnTo>
                    <a:pt x="15" y="76"/>
                  </a:lnTo>
                  <a:lnTo>
                    <a:pt x="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90">
              <a:extLst>
                <a:ext uri="{FF2B5EF4-FFF2-40B4-BE49-F238E27FC236}">
                  <a16:creationId xmlns:a16="http://schemas.microsoft.com/office/drawing/2014/main" id="{75CE1DD1-0E84-4343-B20C-E7AD50B0A806}"/>
                </a:ext>
              </a:extLst>
            </p:cNvPr>
            <p:cNvSpPr>
              <a:spLocks/>
            </p:cNvSpPr>
            <p:nvPr/>
          </p:nvSpPr>
          <p:spPr bwMode="auto">
            <a:xfrm>
              <a:off x="5514975" y="831850"/>
              <a:ext cx="238125" cy="46038"/>
            </a:xfrm>
            <a:custGeom>
              <a:avLst/>
              <a:gdLst>
                <a:gd name="T0" fmla="*/ 351 w 752"/>
                <a:gd name="T1" fmla="*/ 0 h 145"/>
                <a:gd name="T2" fmla="*/ 300 w 752"/>
                <a:gd name="T3" fmla="*/ 5 h 145"/>
                <a:gd name="T4" fmla="*/ 251 w 752"/>
                <a:gd name="T5" fmla="*/ 12 h 145"/>
                <a:gd name="T6" fmla="*/ 203 w 752"/>
                <a:gd name="T7" fmla="*/ 24 h 145"/>
                <a:gd name="T8" fmla="*/ 155 w 752"/>
                <a:gd name="T9" fmla="*/ 39 h 145"/>
                <a:gd name="T10" fmla="*/ 109 w 752"/>
                <a:gd name="T11" fmla="*/ 57 h 145"/>
                <a:gd name="T12" fmla="*/ 65 w 752"/>
                <a:gd name="T13" fmla="*/ 80 h 145"/>
                <a:gd name="T14" fmla="*/ 21 w 752"/>
                <a:gd name="T15" fmla="*/ 105 h 145"/>
                <a:gd name="T16" fmla="*/ 17 w 752"/>
                <a:gd name="T17" fmla="*/ 145 h 145"/>
                <a:gd name="T18" fmla="*/ 58 w 752"/>
                <a:gd name="T19" fmla="*/ 118 h 145"/>
                <a:gd name="T20" fmla="*/ 100 w 752"/>
                <a:gd name="T21" fmla="*/ 96 h 145"/>
                <a:gd name="T22" fmla="*/ 143 w 752"/>
                <a:gd name="T23" fmla="*/ 75 h 145"/>
                <a:gd name="T24" fmla="*/ 188 w 752"/>
                <a:gd name="T25" fmla="*/ 59 h 145"/>
                <a:gd name="T26" fmla="*/ 234 w 752"/>
                <a:gd name="T27" fmla="*/ 46 h 145"/>
                <a:gd name="T28" fmla="*/ 280 w 752"/>
                <a:gd name="T29" fmla="*/ 38 h 145"/>
                <a:gd name="T30" fmla="*/ 327 w 752"/>
                <a:gd name="T31" fmla="*/ 33 h 145"/>
                <a:gd name="T32" fmla="*/ 376 w 752"/>
                <a:gd name="T33" fmla="*/ 30 h 145"/>
                <a:gd name="T34" fmla="*/ 424 w 752"/>
                <a:gd name="T35" fmla="*/ 33 h 145"/>
                <a:gd name="T36" fmla="*/ 472 w 752"/>
                <a:gd name="T37" fmla="*/ 38 h 145"/>
                <a:gd name="T38" fmla="*/ 518 w 752"/>
                <a:gd name="T39" fmla="*/ 46 h 145"/>
                <a:gd name="T40" fmla="*/ 564 w 752"/>
                <a:gd name="T41" fmla="*/ 59 h 145"/>
                <a:gd name="T42" fmla="*/ 609 w 752"/>
                <a:gd name="T43" fmla="*/ 75 h 145"/>
                <a:gd name="T44" fmla="*/ 652 w 752"/>
                <a:gd name="T45" fmla="*/ 96 h 145"/>
                <a:gd name="T46" fmla="*/ 694 w 752"/>
                <a:gd name="T47" fmla="*/ 118 h 145"/>
                <a:gd name="T48" fmla="*/ 735 w 752"/>
                <a:gd name="T49" fmla="*/ 145 h 145"/>
                <a:gd name="T50" fmla="*/ 731 w 752"/>
                <a:gd name="T51" fmla="*/ 105 h 145"/>
                <a:gd name="T52" fmla="*/ 688 w 752"/>
                <a:gd name="T53" fmla="*/ 80 h 145"/>
                <a:gd name="T54" fmla="*/ 644 w 752"/>
                <a:gd name="T55" fmla="*/ 57 h 145"/>
                <a:gd name="T56" fmla="*/ 596 w 752"/>
                <a:gd name="T57" fmla="*/ 39 h 145"/>
                <a:gd name="T58" fmla="*/ 549 w 752"/>
                <a:gd name="T59" fmla="*/ 24 h 145"/>
                <a:gd name="T60" fmla="*/ 501 w 752"/>
                <a:gd name="T61" fmla="*/ 12 h 145"/>
                <a:gd name="T62" fmla="*/ 452 w 752"/>
                <a:gd name="T63" fmla="*/ 5 h 145"/>
                <a:gd name="T64" fmla="*/ 401 w 752"/>
                <a:gd name="T6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2" h="145">
                  <a:moveTo>
                    <a:pt x="376" y="0"/>
                  </a:moveTo>
                  <a:lnTo>
                    <a:pt x="351" y="0"/>
                  </a:lnTo>
                  <a:lnTo>
                    <a:pt x="325" y="3"/>
                  </a:lnTo>
                  <a:lnTo>
                    <a:pt x="300" y="5"/>
                  </a:lnTo>
                  <a:lnTo>
                    <a:pt x="276" y="8"/>
                  </a:lnTo>
                  <a:lnTo>
                    <a:pt x="251" y="12"/>
                  </a:lnTo>
                  <a:lnTo>
                    <a:pt x="226" y="18"/>
                  </a:lnTo>
                  <a:lnTo>
                    <a:pt x="203" y="24"/>
                  </a:lnTo>
                  <a:lnTo>
                    <a:pt x="178" y="30"/>
                  </a:lnTo>
                  <a:lnTo>
                    <a:pt x="155" y="39"/>
                  </a:lnTo>
                  <a:lnTo>
                    <a:pt x="132" y="48"/>
                  </a:lnTo>
                  <a:lnTo>
                    <a:pt x="109" y="57"/>
                  </a:lnTo>
                  <a:lnTo>
                    <a:pt x="86" y="68"/>
                  </a:lnTo>
                  <a:lnTo>
                    <a:pt x="65" y="80"/>
                  </a:lnTo>
                  <a:lnTo>
                    <a:pt x="42" y="93"/>
                  </a:lnTo>
                  <a:lnTo>
                    <a:pt x="21" y="105"/>
                  </a:lnTo>
                  <a:lnTo>
                    <a:pt x="0" y="120"/>
                  </a:lnTo>
                  <a:lnTo>
                    <a:pt x="17" y="145"/>
                  </a:lnTo>
                  <a:lnTo>
                    <a:pt x="38" y="131"/>
                  </a:lnTo>
                  <a:lnTo>
                    <a:pt x="58" y="118"/>
                  </a:lnTo>
                  <a:lnTo>
                    <a:pt x="78" y="107"/>
                  </a:lnTo>
                  <a:lnTo>
                    <a:pt x="100" y="96"/>
                  </a:lnTo>
                  <a:lnTo>
                    <a:pt x="121" y="85"/>
                  </a:lnTo>
                  <a:lnTo>
                    <a:pt x="143" y="75"/>
                  </a:lnTo>
                  <a:lnTo>
                    <a:pt x="165" y="67"/>
                  </a:lnTo>
                  <a:lnTo>
                    <a:pt x="188" y="59"/>
                  </a:lnTo>
                  <a:lnTo>
                    <a:pt x="210" y="53"/>
                  </a:lnTo>
                  <a:lnTo>
                    <a:pt x="234" y="46"/>
                  </a:lnTo>
                  <a:lnTo>
                    <a:pt x="257" y="42"/>
                  </a:lnTo>
                  <a:lnTo>
                    <a:pt x="280" y="38"/>
                  </a:lnTo>
                  <a:lnTo>
                    <a:pt x="304" y="35"/>
                  </a:lnTo>
                  <a:lnTo>
                    <a:pt x="327" y="33"/>
                  </a:lnTo>
                  <a:lnTo>
                    <a:pt x="352" y="31"/>
                  </a:lnTo>
                  <a:lnTo>
                    <a:pt x="376" y="30"/>
                  </a:lnTo>
                  <a:lnTo>
                    <a:pt x="400" y="31"/>
                  </a:lnTo>
                  <a:lnTo>
                    <a:pt x="424" y="33"/>
                  </a:lnTo>
                  <a:lnTo>
                    <a:pt x="448" y="35"/>
                  </a:lnTo>
                  <a:lnTo>
                    <a:pt x="472" y="38"/>
                  </a:lnTo>
                  <a:lnTo>
                    <a:pt x="496" y="42"/>
                  </a:lnTo>
                  <a:lnTo>
                    <a:pt x="518" y="46"/>
                  </a:lnTo>
                  <a:lnTo>
                    <a:pt x="542" y="53"/>
                  </a:lnTo>
                  <a:lnTo>
                    <a:pt x="564" y="59"/>
                  </a:lnTo>
                  <a:lnTo>
                    <a:pt x="587" y="67"/>
                  </a:lnTo>
                  <a:lnTo>
                    <a:pt x="609" y="75"/>
                  </a:lnTo>
                  <a:lnTo>
                    <a:pt x="631" y="85"/>
                  </a:lnTo>
                  <a:lnTo>
                    <a:pt x="652" y="96"/>
                  </a:lnTo>
                  <a:lnTo>
                    <a:pt x="674" y="107"/>
                  </a:lnTo>
                  <a:lnTo>
                    <a:pt x="694" y="118"/>
                  </a:lnTo>
                  <a:lnTo>
                    <a:pt x="714" y="131"/>
                  </a:lnTo>
                  <a:lnTo>
                    <a:pt x="735" y="145"/>
                  </a:lnTo>
                  <a:lnTo>
                    <a:pt x="752" y="120"/>
                  </a:lnTo>
                  <a:lnTo>
                    <a:pt x="731" y="105"/>
                  </a:lnTo>
                  <a:lnTo>
                    <a:pt x="710" y="93"/>
                  </a:lnTo>
                  <a:lnTo>
                    <a:pt x="688" y="80"/>
                  </a:lnTo>
                  <a:lnTo>
                    <a:pt x="666" y="68"/>
                  </a:lnTo>
                  <a:lnTo>
                    <a:pt x="644" y="57"/>
                  </a:lnTo>
                  <a:lnTo>
                    <a:pt x="620" y="48"/>
                  </a:lnTo>
                  <a:lnTo>
                    <a:pt x="596" y="39"/>
                  </a:lnTo>
                  <a:lnTo>
                    <a:pt x="573" y="30"/>
                  </a:lnTo>
                  <a:lnTo>
                    <a:pt x="549" y="24"/>
                  </a:lnTo>
                  <a:lnTo>
                    <a:pt x="526" y="18"/>
                  </a:lnTo>
                  <a:lnTo>
                    <a:pt x="501" y="12"/>
                  </a:lnTo>
                  <a:lnTo>
                    <a:pt x="476" y="8"/>
                  </a:lnTo>
                  <a:lnTo>
                    <a:pt x="452" y="5"/>
                  </a:lnTo>
                  <a:lnTo>
                    <a:pt x="427" y="3"/>
                  </a:lnTo>
                  <a:lnTo>
                    <a:pt x="401" y="0"/>
                  </a:lnTo>
                  <a:lnTo>
                    <a:pt x="3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7" name="Freeform 91">
            <a:extLst>
              <a:ext uri="{FF2B5EF4-FFF2-40B4-BE49-F238E27FC236}">
                <a16:creationId xmlns:a16="http://schemas.microsoft.com/office/drawing/2014/main" id="{E77A4BE5-63E6-46E3-9D57-0A7C7B785173}"/>
              </a:ext>
            </a:extLst>
          </p:cNvPr>
          <p:cNvSpPr>
            <a:spLocks noChangeAspect="1" noEditPoints="1"/>
          </p:cNvSpPr>
          <p:nvPr/>
        </p:nvSpPr>
        <p:spPr bwMode="auto">
          <a:xfrm>
            <a:off x="3731763" y="4879041"/>
            <a:ext cx="143601" cy="285619"/>
          </a:xfrm>
          <a:custGeom>
            <a:avLst/>
            <a:gdLst>
              <a:gd name="T0" fmla="*/ 302 w 454"/>
              <a:gd name="T1" fmla="*/ 801 h 907"/>
              <a:gd name="T2" fmla="*/ 290 w 454"/>
              <a:gd name="T3" fmla="*/ 844 h 907"/>
              <a:gd name="T4" fmla="*/ 256 w 454"/>
              <a:gd name="T5" fmla="*/ 871 h 907"/>
              <a:gd name="T6" fmla="*/ 212 w 454"/>
              <a:gd name="T7" fmla="*/ 875 h 907"/>
              <a:gd name="T8" fmla="*/ 174 w 454"/>
              <a:gd name="T9" fmla="*/ 854 h 907"/>
              <a:gd name="T10" fmla="*/ 153 w 454"/>
              <a:gd name="T11" fmla="*/ 816 h 907"/>
              <a:gd name="T12" fmla="*/ 158 w 454"/>
              <a:gd name="T13" fmla="*/ 772 h 907"/>
              <a:gd name="T14" fmla="*/ 184 w 454"/>
              <a:gd name="T15" fmla="*/ 739 h 907"/>
              <a:gd name="T16" fmla="*/ 227 w 454"/>
              <a:gd name="T17" fmla="*/ 726 h 907"/>
              <a:gd name="T18" fmla="*/ 269 w 454"/>
              <a:gd name="T19" fmla="*/ 739 h 907"/>
              <a:gd name="T20" fmla="*/ 297 w 454"/>
              <a:gd name="T21" fmla="*/ 772 h 907"/>
              <a:gd name="T22" fmla="*/ 31 w 454"/>
              <a:gd name="T23" fmla="*/ 338 h 907"/>
              <a:gd name="T24" fmla="*/ 66 w 454"/>
              <a:gd name="T25" fmla="*/ 303 h 907"/>
              <a:gd name="T26" fmla="*/ 114 w 454"/>
              <a:gd name="T27" fmla="*/ 322 h 907"/>
              <a:gd name="T28" fmla="*/ 114 w 454"/>
              <a:gd name="T29" fmla="*/ 373 h 907"/>
              <a:gd name="T30" fmla="*/ 66 w 454"/>
              <a:gd name="T31" fmla="*/ 392 h 907"/>
              <a:gd name="T32" fmla="*/ 31 w 454"/>
              <a:gd name="T33" fmla="*/ 357 h 907"/>
              <a:gd name="T34" fmla="*/ 312 w 454"/>
              <a:gd name="T35" fmla="*/ 182 h 907"/>
              <a:gd name="T36" fmla="*/ 302 w 454"/>
              <a:gd name="T37" fmla="*/ 196 h 907"/>
              <a:gd name="T38" fmla="*/ 310 w 454"/>
              <a:gd name="T39" fmla="*/ 330 h 907"/>
              <a:gd name="T40" fmla="*/ 242 w 454"/>
              <a:gd name="T41" fmla="*/ 502 h 907"/>
              <a:gd name="T42" fmla="*/ 317 w 454"/>
              <a:gd name="T43" fmla="*/ 120 h 907"/>
              <a:gd name="T44" fmla="*/ 332 w 454"/>
              <a:gd name="T45" fmla="*/ 112 h 907"/>
              <a:gd name="T46" fmla="*/ 329 w 454"/>
              <a:gd name="T47" fmla="*/ 94 h 907"/>
              <a:gd name="T48" fmla="*/ 224 w 454"/>
              <a:gd name="T49" fmla="*/ 0 h 907"/>
              <a:gd name="T50" fmla="*/ 122 w 454"/>
              <a:gd name="T51" fmla="*/ 100 h 907"/>
              <a:gd name="T52" fmla="*/ 125 w 454"/>
              <a:gd name="T53" fmla="*/ 116 h 907"/>
              <a:gd name="T54" fmla="*/ 143 w 454"/>
              <a:gd name="T55" fmla="*/ 119 h 907"/>
              <a:gd name="T56" fmla="*/ 91 w 454"/>
              <a:gd name="T57" fmla="*/ 421 h 907"/>
              <a:gd name="T58" fmla="*/ 134 w 454"/>
              <a:gd name="T59" fmla="*/ 396 h 907"/>
              <a:gd name="T60" fmla="*/ 151 w 454"/>
              <a:gd name="T61" fmla="*/ 347 h 907"/>
              <a:gd name="T62" fmla="*/ 138 w 454"/>
              <a:gd name="T63" fmla="*/ 306 h 907"/>
              <a:gd name="T64" fmla="*/ 105 w 454"/>
              <a:gd name="T65" fmla="*/ 278 h 907"/>
              <a:gd name="T66" fmla="*/ 61 w 454"/>
              <a:gd name="T67" fmla="*/ 273 h 907"/>
              <a:gd name="T68" fmla="*/ 23 w 454"/>
              <a:gd name="T69" fmla="*/ 294 h 907"/>
              <a:gd name="T70" fmla="*/ 2 w 454"/>
              <a:gd name="T71" fmla="*/ 332 h 907"/>
              <a:gd name="T72" fmla="*/ 5 w 454"/>
              <a:gd name="T73" fmla="*/ 373 h 907"/>
              <a:gd name="T74" fmla="*/ 27 w 454"/>
              <a:gd name="T75" fmla="*/ 405 h 907"/>
              <a:gd name="T76" fmla="*/ 61 w 454"/>
              <a:gd name="T77" fmla="*/ 421 h 907"/>
              <a:gd name="T78" fmla="*/ 212 w 454"/>
              <a:gd name="T79" fmla="*/ 613 h 907"/>
              <a:gd name="T80" fmla="*/ 168 w 454"/>
              <a:gd name="T81" fmla="*/ 713 h 907"/>
              <a:gd name="T82" fmla="*/ 132 w 454"/>
              <a:gd name="T83" fmla="*/ 755 h 907"/>
              <a:gd name="T84" fmla="*/ 122 w 454"/>
              <a:gd name="T85" fmla="*/ 812 h 907"/>
              <a:gd name="T86" fmla="*/ 146 w 454"/>
              <a:gd name="T87" fmla="*/ 868 h 907"/>
              <a:gd name="T88" fmla="*/ 196 w 454"/>
              <a:gd name="T89" fmla="*/ 903 h 907"/>
              <a:gd name="T90" fmla="*/ 258 w 454"/>
              <a:gd name="T91" fmla="*/ 903 h 907"/>
              <a:gd name="T92" fmla="*/ 309 w 454"/>
              <a:gd name="T93" fmla="*/ 868 h 907"/>
              <a:gd name="T94" fmla="*/ 332 w 454"/>
              <a:gd name="T95" fmla="*/ 812 h 907"/>
              <a:gd name="T96" fmla="*/ 323 w 454"/>
              <a:gd name="T97" fmla="*/ 755 h 907"/>
              <a:gd name="T98" fmla="*/ 286 w 454"/>
              <a:gd name="T99" fmla="*/ 713 h 907"/>
              <a:gd name="T100" fmla="*/ 242 w 454"/>
              <a:gd name="T101" fmla="*/ 537 h 907"/>
              <a:gd name="T102" fmla="*/ 394 w 454"/>
              <a:gd name="T103" fmla="*/ 332 h 907"/>
              <a:gd name="T104" fmla="*/ 452 w 454"/>
              <a:gd name="T105" fmla="*/ 326 h 907"/>
              <a:gd name="T106" fmla="*/ 453 w 454"/>
              <a:gd name="T107" fmla="*/ 190 h 907"/>
              <a:gd name="T108" fmla="*/ 439 w 454"/>
              <a:gd name="T109" fmla="*/ 18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4" h="907">
                <a:moveTo>
                  <a:pt x="424" y="302"/>
                </a:moveTo>
                <a:lnTo>
                  <a:pt x="334" y="302"/>
                </a:lnTo>
                <a:lnTo>
                  <a:pt x="334" y="211"/>
                </a:lnTo>
                <a:lnTo>
                  <a:pt x="424" y="211"/>
                </a:lnTo>
                <a:lnTo>
                  <a:pt x="424" y="302"/>
                </a:lnTo>
                <a:close/>
                <a:moveTo>
                  <a:pt x="302" y="801"/>
                </a:moveTo>
                <a:lnTo>
                  <a:pt x="302" y="808"/>
                </a:lnTo>
                <a:lnTo>
                  <a:pt x="301" y="816"/>
                </a:lnTo>
                <a:lnTo>
                  <a:pt x="299" y="823"/>
                </a:lnTo>
                <a:lnTo>
                  <a:pt x="297" y="831"/>
                </a:lnTo>
                <a:lnTo>
                  <a:pt x="294" y="837"/>
                </a:lnTo>
                <a:lnTo>
                  <a:pt x="290" y="844"/>
                </a:lnTo>
                <a:lnTo>
                  <a:pt x="285" y="849"/>
                </a:lnTo>
                <a:lnTo>
                  <a:pt x="281" y="854"/>
                </a:lnTo>
                <a:lnTo>
                  <a:pt x="276" y="860"/>
                </a:lnTo>
                <a:lnTo>
                  <a:pt x="269" y="864"/>
                </a:lnTo>
                <a:lnTo>
                  <a:pt x="263" y="867"/>
                </a:lnTo>
                <a:lnTo>
                  <a:pt x="256" y="871"/>
                </a:lnTo>
                <a:lnTo>
                  <a:pt x="250" y="874"/>
                </a:lnTo>
                <a:lnTo>
                  <a:pt x="242" y="875"/>
                </a:lnTo>
                <a:lnTo>
                  <a:pt x="235" y="876"/>
                </a:lnTo>
                <a:lnTo>
                  <a:pt x="227" y="877"/>
                </a:lnTo>
                <a:lnTo>
                  <a:pt x="220" y="876"/>
                </a:lnTo>
                <a:lnTo>
                  <a:pt x="212" y="875"/>
                </a:lnTo>
                <a:lnTo>
                  <a:pt x="205" y="874"/>
                </a:lnTo>
                <a:lnTo>
                  <a:pt x="197" y="871"/>
                </a:lnTo>
                <a:lnTo>
                  <a:pt x="191" y="867"/>
                </a:lnTo>
                <a:lnTo>
                  <a:pt x="184" y="864"/>
                </a:lnTo>
                <a:lnTo>
                  <a:pt x="179" y="860"/>
                </a:lnTo>
                <a:lnTo>
                  <a:pt x="174" y="854"/>
                </a:lnTo>
                <a:lnTo>
                  <a:pt x="168" y="849"/>
                </a:lnTo>
                <a:lnTo>
                  <a:pt x="164" y="844"/>
                </a:lnTo>
                <a:lnTo>
                  <a:pt x="161" y="837"/>
                </a:lnTo>
                <a:lnTo>
                  <a:pt x="158" y="831"/>
                </a:lnTo>
                <a:lnTo>
                  <a:pt x="154" y="823"/>
                </a:lnTo>
                <a:lnTo>
                  <a:pt x="153" y="816"/>
                </a:lnTo>
                <a:lnTo>
                  <a:pt x="152" y="808"/>
                </a:lnTo>
                <a:lnTo>
                  <a:pt x="151" y="801"/>
                </a:lnTo>
                <a:lnTo>
                  <a:pt x="152" y="793"/>
                </a:lnTo>
                <a:lnTo>
                  <a:pt x="153" y="786"/>
                </a:lnTo>
                <a:lnTo>
                  <a:pt x="154" y="778"/>
                </a:lnTo>
                <a:lnTo>
                  <a:pt x="158" y="772"/>
                </a:lnTo>
                <a:lnTo>
                  <a:pt x="161" y="765"/>
                </a:lnTo>
                <a:lnTo>
                  <a:pt x="164" y="759"/>
                </a:lnTo>
                <a:lnTo>
                  <a:pt x="168" y="753"/>
                </a:lnTo>
                <a:lnTo>
                  <a:pt x="174" y="747"/>
                </a:lnTo>
                <a:lnTo>
                  <a:pt x="179" y="743"/>
                </a:lnTo>
                <a:lnTo>
                  <a:pt x="184" y="739"/>
                </a:lnTo>
                <a:lnTo>
                  <a:pt x="191" y="734"/>
                </a:lnTo>
                <a:lnTo>
                  <a:pt x="197" y="731"/>
                </a:lnTo>
                <a:lnTo>
                  <a:pt x="205" y="729"/>
                </a:lnTo>
                <a:lnTo>
                  <a:pt x="212" y="727"/>
                </a:lnTo>
                <a:lnTo>
                  <a:pt x="220" y="726"/>
                </a:lnTo>
                <a:lnTo>
                  <a:pt x="227" y="726"/>
                </a:lnTo>
                <a:lnTo>
                  <a:pt x="235" y="726"/>
                </a:lnTo>
                <a:lnTo>
                  <a:pt x="242" y="727"/>
                </a:lnTo>
                <a:lnTo>
                  <a:pt x="250" y="729"/>
                </a:lnTo>
                <a:lnTo>
                  <a:pt x="256" y="731"/>
                </a:lnTo>
                <a:lnTo>
                  <a:pt x="263" y="734"/>
                </a:lnTo>
                <a:lnTo>
                  <a:pt x="269" y="739"/>
                </a:lnTo>
                <a:lnTo>
                  <a:pt x="276" y="743"/>
                </a:lnTo>
                <a:lnTo>
                  <a:pt x="281" y="747"/>
                </a:lnTo>
                <a:lnTo>
                  <a:pt x="285" y="753"/>
                </a:lnTo>
                <a:lnTo>
                  <a:pt x="290" y="759"/>
                </a:lnTo>
                <a:lnTo>
                  <a:pt x="294" y="765"/>
                </a:lnTo>
                <a:lnTo>
                  <a:pt x="297" y="772"/>
                </a:lnTo>
                <a:lnTo>
                  <a:pt x="299" y="778"/>
                </a:lnTo>
                <a:lnTo>
                  <a:pt x="301" y="786"/>
                </a:lnTo>
                <a:lnTo>
                  <a:pt x="302" y="793"/>
                </a:lnTo>
                <a:lnTo>
                  <a:pt x="302" y="801"/>
                </a:lnTo>
                <a:close/>
                <a:moveTo>
                  <a:pt x="30" y="347"/>
                </a:moveTo>
                <a:lnTo>
                  <a:pt x="31" y="338"/>
                </a:lnTo>
                <a:lnTo>
                  <a:pt x="34" y="330"/>
                </a:lnTo>
                <a:lnTo>
                  <a:pt x="39" y="322"/>
                </a:lnTo>
                <a:lnTo>
                  <a:pt x="44" y="315"/>
                </a:lnTo>
                <a:lnTo>
                  <a:pt x="50" y="310"/>
                </a:lnTo>
                <a:lnTo>
                  <a:pt x="58" y="306"/>
                </a:lnTo>
                <a:lnTo>
                  <a:pt x="66" y="303"/>
                </a:lnTo>
                <a:lnTo>
                  <a:pt x="76" y="302"/>
                </a:lnTo>
                <a:lnTo>
                  <a:pt x="85" y="303"/>
                </a:lnTo>
                <a:lnTo>
                  <a:pt x="93" y="306"/>
                </a:lnTo>
                <a:lnTo>
                  <a:pt x="101" y="310"/>
                </a:lnTo>
                <a:lnTo>
                  <a:pt x="108" y="315"/>
                </a:lnTo>
                <a:lnTo>
                  <a:pt x="114" y="322"/>
                </a:lnTo>
                <a:lnTo>
                  <a:pt x="118" y="330"/>
                </a:lnTo>
                <a:lnTo>
                  <a:pt x="120" y="339"/>
                </a:lnTo>
                <a:lnTo>
                  <a:pt x="121" y="347"/>
                </a:lnTo>
                <a:lnTo>
                  <a:pt x="120" y="357"/>
                </a:lnTo>
                <a:lnTo>
                  <a:pt x="118" y="365"/>
                </a:lnTo>
                <a:lnTo>
                  <a:pt x="114" y="373"/>
                </a:lnTo>
                <a:lnTo>
                  <a:pt x="108" y="380"/>
                </a:lnTo>
                <a:lnTo>
                  <a:pt x="101" y="385"/>
                </a:lnTo>
                <a:lnTo>
                  <a:pt x="93" y="389"/>
                </a:lnTo>
                <a:lnTo>
                  <a:pt x="85" y="392"/>
                </a:lnTo>
                <a:lnTo>
                  <a:pt x="76" y="392"/>
                </a:lnTo>
                <a:lnTo>
                  <a:pt x="66" y="392"/>
                </a:lnTo>
                <a:lnTo>
                  <a:pt x="58" y="389"/>
                </a:lnTo>
                <a:lnTo>
                  <a:pt x="50" y="385"/>
                </a:lnTo>
                <a:lnTo>
                  <a:pt x="44" y="380"/>
                </a:lnTo>
                <a:lnTo>
                  <a:pt x="39" y="373"/>
                </a:lnTo>
                <a:lnTo>
                  <a:pt x="34" y="365"/>
                </a:lnTo>
                <a:lnTo>
                  <a:pt x="31" y="357"/>
                </a:lnTo>
                <a:lnTo>
                  <a:pt x="30" y="347"/>
                </a:lnTo>
                <a:lnTo>
                  <a:pt x="30" y="347"/>
                </a:lnTo>
                <a:close/>
                <a:moveTo>
                  <a:pt x="439" y="181"/>
                </a:moveTo>
                <a:lnTo>
                  <a:pt x="319" y="181"/>
                </a:lnTo>
                <a:lnTo>
                  <a:pt x="315" y="181"/>
                </a:lnTo>
                <a:lnTo>
                  <a:pt x="312" y="182"/>
                </a:lnTo>
                <a:lnTo>
                  <a:pt x="310" y="183"/>
                </a:lnTo>
                <a:lnTo>
                  <a:pt x="308" y="186"/>
                </a:lnTo>
                <a:lnTo>
                  <a:pt x="306" y="188"/>
                </a:lnTo>
                <a:lnTo>
                  <a:pt x="305" y="191"/>
                </a:lnTo>
                <a:lnTo>
                  <a:pt x="304" y="193"/>
                </a:lnTo>
                <a:lnTo>
                  <a:pt x="302" y="196"/>
                </a:lnTo>
                <a:lnTo>
                  <a:pt x="302" y="317"/>
                </a:lnTo>
                <a:lnTo>
                  <a:pt x="304" y="321"/>
                </a:lnTo>
                <a:lnTo>
                  <a:pt x="305" y="323"/>
                </a:lnTo>
                <a:lnTo>
                  <a:pt x="306" y="326"/>
                </a:lnTo>
                <a:lnTo>
                  <a:pt x="308" y="328"/>
                </a:lnTo>
                <a:lnTo>
                  <a:pt x="310" y="330"/>
                </a:lnTo>
                <a:lnTo>
                  <a:pt x="312" y="331"/>
                </a:lnTo>
                <a:lnTo>
                  <a:pt x="315" y="332"/>
                </a:lnTo>
                <a:lnTo>
                  <a:pt x="317" y="332"/>
                </a:lnTo>
                <a:lnTo>
                  <a:pt x="364" y="332"/>
                </a:lnTo>
                <a:lnTo>
                  <a:pt x="364" y="430"/>
                </a:lnTo>
                <a:lnTo>
                  <a:pt x="242" y="502"/>
                </a:lnTo>
                <a:lnTo>
                  <a:pt x="242" y="52"/>
                </a:lnTo>
                <a:lnTo>
                  <a:pt x="307" y="116"/>
                </a:lnTo>
                <a:lnTo>
                  <a:pt x="310" y="118"/>
                </a:lnTo>
                <a:lnTo>
                  <a:pt x="312" y="119"/>
                </a:lnTo>
                <a:lnTo>
                  <a:pt x="315" y="120"/>
                </a:lnTo>
                <a:lnTo>
                  <a:pt x="317" y="120"/>
                </a:lnTo>
                <a:lnTo>
                  <a:pt x="321" y="120"/>
                </a:lnTo>
                <a:lnTo>
                  <a:pt x="324" y="119"/>
                </a:lnTo>
                <a:lnTo>
                  <a:pt x="326" y="118"/>
                </a:lnTo>
                <a:lnTo>
                  <a:pt x="329" y="116"/>
                </a:lnTo>
                <a:lnTo>
                  <a:pt x="330" y="114"/>
                </a:lnTo>
                <a:lnTo>
                  <a:pt x="332" y="112"/>
                </a:lnTo>
                <a:lnTo>
                  <a:pt x="332" y="108"/>
                </a:lnTo>
                <a:lnTo>
                  <a:pt x="334" y="105"/>
                </a:lnTo>
                <a:lnTo>
                  <a:pt x="332" y="103"/>
                </a:lnTo>
                <a:lnTo>
                  <a:pt x="332" y="100"/>
                </a:lnTo>
                <a:lnTo>
                  <a:pt x="330" y="98"/>
                </a:lnTo>
                <a:lnTo>
                  <a:pt x="329" y="94"/>
                </a:lnTo>
                <a:lnTo>
                  <a:pt x="238" y="4"/>
                </a:lnTo>
                <a:lnTo>
                  <a:pt x="236" y="2"/>
                </a:lnTo>
                <a:lnTo>
                  <a:pt x="233" y="1"/>
                </a:lnTo>
                <a:lnTo>
                  <a:pt x="231" y="0"/>
                </a:lnTo>
                <a:lnTo>
                  <a:pt x="227" y="0"/>
                </a:lnTo>
                <a:lnTo>
                  <a:pt x="224" y="0"/>
                </a:lnTo>
                <a:lnTo>
                  <a:pt x="221" y="1"/>
                </a:lnTo>
                <a:lnTo>
                  <a:pt x="219" y="2"/>
                </a:lnTo>
                <a:lnTo>
                  <a:pt x="217" y="4"/>
                </a:lnTo>
                <a:lnTo>
                  <a:pt x="125" y="94"/>
                </a:lnTo>
                <a:lnTo>
                  <a:pt x="123" y="98"/>
                </a:lnTo>
                <a:lnTo>
                  <a:pt x="122" y="100"/>
                </a:lnTo>
                <a:lnTo>
                  <a:pt x="121" y="103"/>
                </a:lnTo>
                <a:lnTo>
                  <a:pt x="121" y="105"/>
                </a:lnTo>
                <a:lnTo>
                  <a:pt x="121" y="108"/>
                </a:lnTo>
                <a:lnTo>
                  <a:pt x="122" y="112"/>
                </a:lnTo>
                <a:lnTo>
                  <a:pt x="123" y="114"/>
                </a:lnTo>
                <a:lnTo>
                  <a:pt x="125" y="116"/>
                </a:lnTo>
                <a:lnTo>
                  <a:pt x="128" y="118"/>
                </a:lnTo>
                <a:lnTo>
                  <a:pt x="131" y="119"/>
                </a:lnTo>
                <a:lnTo>
                  <a:pt x="133" y="120"/>
                </a:lnTo>
                <a:lnTo>
                  <a:pt x="136" y="120"/>
                </a:lnTo>
                <a:lnTo>
                  <a:pt x="139" y="120"/>
                </a:lnTo>
                <a:lnTo>
                  <a:pt x="143" y="119"/>
                </a:lnTo>
                <a:lnTo>
                  <a:pt x="145" y="118"/>
                </a:lnTo>
                <a:lnTo>
                  <a:pt x="147" y="116"/>
                </a:lnTo>
                <a:lnTo>
                  <a:pt x="212" y="52"/>
                </a:lnTo>
                <a:lnTo>
                  <a:pt x="212" y="578"/>
                </a:lnTo>
                <a:lnTo>
                  <a:pt x="91" y="505"/>
                </a:lnTo>
                <a:lnTo>
                  <a:pt x="91" y="421"/>
                </a:lnTo>
                <a:lnTo>
                  <a:pt x="98" y="419"/>
                </a:lnTo>
                <a:lnTo>
                  <a:pt x="104" y="417"/>
                </a:lnTo>
                <a:lnTo>
                  <a:pt x="109" y="415"/>
                </a:lnTo>
                <a:lnTo>
                  <a:pt x="116" y="412"/>
                </a:lnTo>
                <a:lnTo>
                  <a:pt x="125" y="404"/>
                </a:lnTo>
                <a:lnTo>
                  <a:pt x="134" y="396"/>
                </a:lnTo>
                <a:lnTo>
                  <a:pt x="142" y="385"/>
                </a:lnTo>
                <a:lnTo>
                  <a:pt x="147" y="373"/>
                </a:lnTo>
                <a:lnTo>
                  <a:pt x="149" y="367"/>
                </a:lnTo>
                <a:lnTo>
                  <a:pt x="150" y="360"/>
                </a:lnTo>
                <a:lnTo>
                  <a:pt x="151" y="354"/>
                </a:lnTo>
                <a:lnTo>
                  <a:pt x="151" y="347"/>
                </a:lnTo>
                <a:lnTo>
                  <a:pt x="151" y="340"/>
                </a:lnTo>
                <a:lnTo>
                  <a:pt x="150" y="332"/>
                </a:lnTo>
                <a:lnTo>
                  <a:pt x="148" y="325"/>
                </a:lnTo>
                <a:lnTo>
                  <a:pt x="146" y="318"/>
                </a:lnTo>
                <a:lnTo>
                  <a:pt x="143" y="311"/>
                </a:lnTo>
                <a:lnTo>
                  <a:pt x="138" y="306"/>
                </a:lnTo>
                <a:lnTo>
                  <a:pt x="134" y="299"/>
                </a:lnTo>
                <a:lnTo>
                  <a:pt x="130" y="294"/>
                </a:lnTo>
                <a:lnTo>
                  <a:pt x="124" y="290"/>
                </a:lnTo>
                <a:lnTo>
                  <a:pt x="118" y="285"/>
                </a:lnTo>
                <a:lnTo>
                  <a:pt x="112" y="281"/>
                </a:lnTo>
                <a:lnTo>
                  <a:pt x="105" y="278"/>
                </a:lnTo>
                <a:lnTo>
                  <a:pt x="99" y="276"/>
                </a:lnTo>
                <a:lnTo>
                  <a:pt x="91" y="273"/>
                </a:lnTo>
                <a:lnTo>
                  <a:pt x="84" y="272"/>
                </a:lnTo>
                <a:lnTo>
                  <a:pt x="76" y="272"/>
                </a:lnTo>
                <a:lnTo>
                  <a:pt x="69" y="272"/>
                </a:lnTo>
                <a:lnTo>
                  <a:pt x="61" y="273"/>
                </a:lnTo>
                <a:lnTo>
                  <a:pt x="54" y="276"/>
                </a:lnTo>
                <a:lnTo>
                  <a:pt x="46" y="278"/>
                </a:lnTo>
                <a:lnTo>
                  <a:pt x="40" y="281"/>
                </a:lnTo>
                <a:lnTo>
                  <a:pt x="33" y="285"/>
                </a:lnTo>
                <a:lnTo>
                  <a:pt x="28" y="290"/>
                </a:lnTo>
                <a:lnTo>
                  <a:pt x="23" y="294"/>
                </a:lnTo>
                <a:lnTo>
                  <a:pt x="17" y="299"/>
                </a:lnTo>
                <a:lnTo>
                  <a:pt x="13" y="306"/>
                </a:lnTo>
                <a:lnTo>
                  <a:pt x="10" y="311"/>
                </a:lnTo>
                <a:lnTo>
                  <a:pt x="6" y="318"/>
                </a:lnTo>
                <a:lnTo>
                  <a:pt x="3" y="325"/>
                </a:lnTo>
                <a:lnTo>
                  <a:pt x="2" y="332"/>
                </a:lnTo>
                <a:lnTo>
                  <a:pt x="1" y="340"/>
                </a:lnTo>
                <a:lnTo>
                  <a:pt x="0" y="347"/>
                </a:lnTo>
                <a:lnTo>
                  <a:pt x="1" y="354"/>
                </a:lnTo>
                <a:lnTo>
                  <a:pt x="1" y="361"/>
                </a:lnTo>
                <a:lnTo>
                  <a:pt x="3" y="368"/>
                </a:lnTo>
                <a:lnTo>
                  <a:pt x="5" y="373"/>
                </a:lnTo>
                <a:lnTo>
                  <a:pt x="8" y="380"/>
                </a:lnTo>
                <a:lnTo>
                  <a:pt x="11" y="385"/>
                </a:lnTo>
                <a:lnTo>
                  <a:pt x="14" y="390"/>
                </a:lnTo>
                <a:lnTo>
                  <a:pt x="18" y="396"/>
                </a:lnTo>
                <a:lnTo>
                  <a:pt x="23" y="401"/>
                </a:lnTo>
                <a:lnTo>
                  <a:pt x="27" y="405"/>
                </a:lnTo>
                <a:lnTo>
                  <a:pt x="32" y="409"/>
                </a:lnTo>
                <a:lnTo>
                  <a:pt x="38" y="413"/>
                </a:lnTo>
                <a:lnTo>
                  <a:pt x="43" y="415"/>
                </a:lnTo>
                <a:lnTo>
                  <a:pt x="48" y="418"/>
                </a:lnTo>
                <a:lnTo>
                  <a:pt x="55" y="420"/>
                </a:lnTo>
                <a:lnTo>
                  <a:pt x="61" y="421"/>
                </a:lnTo>
                <a:lnTo>
                  <a:pt x="61" y="514"/>
                </a:lnTo>
                <a:lnTo>
                  <a:pt x="61" y="518"/>
                </a:lnTo>
                <a:lnTo>
                  <a:pt x="62" y="521"/>
                </a:lnTo>
                <a:lnTo>
                  <a:pt x="65" y="524"/>
                </a:lnTo>
                <a:lnTo>
                  <a:pt x="68" y="526"/>
                </a:lnTo>
                <a:lnTo>
                  <a:pt x="212" y="613"/>
                </a:lnTo>
                <a:lnTo>
                  <a:pt x="212" y="697"/>
                </a:lnTo>
                <a:lnTo>
                  <a:pt x="203" y="698"/>
                </a:lnTo>
                <a:lnTo>
                  <a:pt x="193" y="701"/>
                </a:lnTo>
                <a:lnTo>
                  <a:pt x="184" y="704"/>
                </a:lnTo>
                <a:lnTo>
                  <a:pt x="176" y="709"/>
                </a:lnTo>
                <a:lnTo>
                  <a:pt x="168" y="713"/>
                </a:lnTo>
                <a:lnTo>
                  <a:pt x="161" y="718"/>
                </a:lnTo>
                <a:lnTo>
                  <a:pt x="153" y="725"/>
                </a:lnTo>
                <a:lnTo>
                  <a:pt x="147" y="731"/>
                </a:lnTo>
                <a:lnTo>
                  <a:pt x="142" y="739"/>
                </a:lnTo>
                <a:lnTo>
                  <a:pt x="136" y="746"/>
                </a:lnTo>
                <a:lnTo>
                  <a:pt x="132" y="755"/>
                </a:lnTo>
                <a:lnTo>
                  <a:pt x="129" y="763"/>
                </a:lnTo>
                <a:lnTo>
                  <a:pt x="125" y="772"/>
                </a:lnTo>
                <a:lnTo>
                  <a:pt x="123" y="782"/>
                </a:lnTo>
                <a:lnTo>
                  <a:pt x="122" y="791"/>
                </a:lnTo>
                <a:lnTo>
                  <a:pt x="121" y="801"/>
                </a:lnTo>
                <a:lnTo>
                  <a:pt x="122" y="812"/>
                </a:lnTo>
                <a:lnTo>
                  <a:pt x="123" y="822"/>
                </a:lnTo>
                <a:lnTo>
                  <a:pt x="127" y="833"/>
                </a:lnTo>
                <a:lnTo>
                  <a:pt x="130" y="843"/>
                </a:lnTo>
                <a:lnTo>
                  <a:pt x="134" y="851"/>
                </a:lnTo>
                <a:lnTo>
                  <a:pt x="139" y="860"/>
                </a:lnTo>
                <a:lnTo>
                  <a:pt x="146" y="868"/>
                </a:lnTo>
                <a:lnTo>
                  <a:pt x="152" y="876"/>
                </a:lnTo>
                <a:lnTo>
                  <a:pt x="160" y="882"/>
                </a:lnTo>
                <a:lnTo>
                  <a:pt x="168" y="889"/>
                </a:lnTo>
                <a:lnTo>
                  <a:pt x="177" y="894"/>
                </a:lnTo>
                <a:lnTo>
                  <a:pt x="186" y="898"/>
                </a:lnTo>
                <a:lnTo>
                  <a:pt x="196" y="903"/>
                </a:lnTo>
                <a:lnTo>
                  <a:pt x="206" y="905"/>
                </a:lnTo>
                <a:lnTo>
                  <a:pt x="217" y="906"/>
                </a:lnTo>
                <a:lnTo>
                  <a:pt x="227" y="907"/>
                </a:lnTo>
                <a:lnTo>
                  <a:pt x="238" y="906"/>
                </a:lnTo>
                <a:lnTo>
                  <a:pt x="249" y="905"/>
                </a:lnTo>
                <a:lnTo>
                  <a:pt x="258" y="903"/>
                </a:lnTo>
                <a:lnTo>
                  <a:pt x="268" y="898"/>
                </a:lnTo>
                <a:lnTo>
                  <a:pt x="278" y="894"/>
                </a:lnTo>
                <a:lnTo>
                  <a:pt x="286" y="889"/>
                </a:lnTo>
                <a:lnTo>
                  <a:pt x="295" y="882"/>
                </a:lnTo>
                <a:lnTo>
                  <a:pt x="302" y="876"/>
                </a:lnTo>
                <a:lnTo>
                  <a:pt x="309" y="868"/>
                </a:lnTo>
                <a:lnTo>
                  <a:pt x="315" y="860"/>
                </a:lnTo>
                <a:lnTo>
                  <a:pt x="321" y="851"/>
                </a:lnTo>
                <a:lnTo>
                  <a:pt x="325" y="843"/>
                </a:lnTo>
                <a:lnTo>
                  <a:pt x="328" y="833"/>
                </a:lnTo>
                <a:lnTo>
                  <a:pt x="331" y="822"/>
                </a:lnTo>
                <a:lnTo>
                  <a:pt x="332" y="812"/>
                </a:lnTo>
                <a:lnTo>
                  <a:pt x="334" y="801"/>
                </a:lnTo>
                <a:lnTo>
                  <a:pt x="332" y="791"/>
                </a:lnTo>
                <a:lnTo>
                  <a:pt x="331" y="782"/>
                </a:lnTo>
                <a:lnTo>
                  <a:pt x="329" y="772"/>
                </a:lnTo>
                <a:lnTo>
                  <a:pt x="326" y="763"/>
                </a:lnTo>
                <a:lnTo>
                  <a:pt x="323" y="755"/>
                </a:lnTo>
                <a:lnTo>
                  <a:pt x="317" y="746"/>
                </a:lnTo>
                <a:lnTo>
                  <a:pt x="313" y="739"/>
                </a:lnTo>
                <a:lnTo>
                  <a:pt x="307" y="731"/>
                </a:lnTo>
                <a:lnTo>
                  <a:pt x="300" y="725"/>
                </a:lnTo>
                <a:lnTo>
                  <a:pt x="294" y="718"/>
                </a:lnTo>
                <a:lnTo>
                  <a:pt x="286" y="713"/>
                </a:lnTo>
                <a:lnTo>
                  <a:pt x="278" y="709"/>
                </a:lnTo>
                <a:lnTo>
                  <a:pt x="270" y="704"/>
                </a:lnTo>
                <a:lnTo>
                  <a:pt x="261" y="701"/>
                </a:lnTo>
                <a:lnTo>
                  <a:pt x="252" y="698"/>
                </a:lnTo>
                <a:lnTo>
                  <a:pt x="242" y="697"/>
                </a:lnTo>
                <a:lnTo>
                  <a:pt x="242" y="537"/>
                </a:lnTo>
                <a:lnTo>
                  <a:pt x="386" y="451"/>
                </a:lnTo>
                <a:lnTo>
                  <a:pt x="389" y="448"/>
                </a:lnTo>
                <a:lnTo>
                  <a:pt x="391" y="446"/>
                </a:lnTo>
                <a:lnTo>
                  <a:pt x="394" y="442"/>
                </a:lnTo>
                <a:lnTo>
                  <a:pt x="394" y="439"/>
                </a:lnTo>
                <a:lnTo>
                  <a:pt x="394" y="332"/>
                </a:lnTo>
                <a:lnTo>
                  <a:pt x="439" y="332"/>
                </a:lnTo>
                <a:lnTo>
                  <a:pt x="442" y="332"/>
                </a:lnTo>
                <a:lnTo>
                  <a:pt x="445" y="331"/>
                </a:lnTo>
                <a:lnTo>
                  <a:pt x="447" y="330"/>
                </a:lnTo>
                <a:lnTo>
                  <a:pt x="449" y="328"/>
                </a:lnTo>
                <a:lnTo>
                  <a:pt x="452" y="326"/>
                </a:lnTo>
                <a:lnTo>
                  <a:pt x="453" y="323"/>
                </a:lnTo>
                <a:lnTo>
                  <a:pt x="454" y="321"/>
                </a:lnTo>
                <a:lnTo>
                  <a:pt x="454" y="317"/>
                </a:lnTo>
                <a:lnTo>
                  <a:pt x="454" y="196"/>
                </a:lnTo>
                <a:lnTo>
                  <a:pt x="454" y="193"/>
                </a:lnTo>
                <a:lnTo>
                  <a:pt x="453" y="190"/>
                </a:lnTo>
                <a:lnTo>
                  <a:pt x="452" y="188"/>
                </a:lnTo>
                <a:lnTo>
                  <a:pt x="449" y="186"/>
                </a:lnTo>
                <a:lnTo>
                  <a:pt x="447" y="183"/>
                </a:lnTo>
                <a:lnTo>
                  <a:pt x="445" y="182"/>
                </a:lnTo>
                <a:lnTo>
                  <a:pt x="442" y="181"/>
                </a:lnTo>
                <a:lnTo>
                  <a:pt x="439" y="18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68" name="Group 104">
            <a:extLst>
              <a:ext uri="{FF2B5EF4-FFF2-40B4-BE49-F238E27FC236}">
                <a16:creationId xmlns:a16="http://schemas.microsoft.com/office/drawing/2014/main" id="{413DCA39-B627-4F4D-BD1D-E079F8564BFB}"/>
              </a:ext>
            </a:extLst>
          </p:cNvPr>
          <p:cNvGrpSpPr>
            <a:grpSpLocks noChangeAspect="1"/>
          </p:cNvGrpSpPr>
          <p:nvPr/>
        </p:nvGrpSpPr>
        <p:grpSpPr>
          <a:xfrm>
            <a:off x="6191394" y="4879041"/>
            <a:ext cx="276098" cy="285619"/>
            <a:chOff x="4894263" y="4191000"/>
            <a:chExt cx="276225" cy="285751"/>
          </a:xfrm>
          <a:solidFill>
            <a:schemeClr val="bg1"/>
          </a:solidFill>
          <a:effectLst/>
        </p:grpSpPr>
        <p:sp>
          <p:nvSpPr>
            <p:cNvPr id="1469" name="Freeform 181">
              <a:extLst>
                <a:ext uri="{FF2B5EF4-FFF2-40B4-BE49-F238E27FC236}">
                  <a16:creationId xmlns:a16="http://schemas.microsoft.com/office/drawing/2014/main" id="{98FDF622-6CD6-4725-BD82-6E381BF30BCC}"/>
                </a:ext>
              </a:extLst>
            </p:cNvPr>
            <p:cNvSpPr>
              <a:spLocks noEditPoints="1"/>
            </p:cNvSpPr>
            <p:nvPr/>
          </p:nvSpPr>
          <p:spPr bwMode="auto">
            <a:xfrm>
              <a:off x="4965700" y="4325938"/>
              <a:ext cx="133350" cy="150813"/>
            </a:xfrm>
            <a:custGeom>
              <a:avLst/>
              <a:gdLst>
                <a:gd name="T0" fmla="*/ 239 w 420"/>
                <a:gd name="T1" fmla="*/ 347 h 479"/>
                <a:gd name="T2" fmla="*/ 307 w 420"/>
                <a:gd name="T3" fmla="*/ 307 h 479"/>
                <a:gd name="T4" fmla="*/ 367 w 420"/>
                <a:gd name="T5" fmla="*/ 423 h 479"/>
                <a:gd name="T6" fmla="*/ 239 w 420"/>
                <a:gd name="T7" fmla="*/ 347 h 479"/>
                <a:gd name="T8" fmla="*/ 211 w 420"/>
                <a:gd name="T9" fmla="*/ 364 h 479"/>
                <a:gd name="T10" fmla="*/ 351 w 420"/>
                <a:gd name="T11" fmla="*/ 449 h 479"/>
                <a:gd name="T12" fmla="*/ 69 w 420"/>
                <a:gd name="T13" fmla="*/ 449 h 479"/>
                <a:gd name="T14" fmla="*/ 211 w 420"/>
                <a:gd name="T15" fmla="*/ 364 h 479"/>
                <a:gd name="T16" fmla="*/ 181 w 420"/>
                <a:gd name="T17" fmla="*/ 347 h 479"/>
                <a:gd name="T18" fmla="*/ 53 w 420"/>
                <a:gd name="T19" fmla="*/ 423 h 479"/>
                <a:gd name="T20" fmla="*/ 114 w 420"/>
                <a:gd name="T21" fmla="*/ 307 h 479"/>
                <a:gd name="T22" fmla="*/ 181 w 420"/>
                <a:gd name="T23" fmla="*/ 347 h 479"/>
                <a:gd name="T24" fmla="*/ 272 w 420"/>
                <a:gd name="T25" fmla="*/ 239 h 479"/>
                <a:gd name="T26" fmla="*/ 293 w 420"/>
                <a:gd name="T27" fmla="*/ 280 h 479"/>
                <a:gd name="T28" fmla="*/ 211 w 420"/>
                <a:gd name="T29" fmla="*/ 329 h 479"/>
                <a:gd name="T30" fmla="*/ 128 w 420"/>
                <a:gd name="T31" fmla="*/ 280 h 479"/>
                <a:gd name="T32" fmla="*/ 149 w 420"/>
                <a:gd name="T33" fmla="*/ 239 h 479"/>
                <a:gd name="T34" fmla="*/ 272 w 420"/>
                <a:gd name="T35" fmla="*/ 239 h 479"/>
                <a:gd name="T36" fmla="*/ 211 w 420"/>
                <a:gd name="T37" fmla="*/ 121 h 479"/>
                <a:gd name="T38" fmla="*/ 256 w 420"/>
                <a:gd name="T39" fmla="*/ 209 h 479"/>
                <a:gd name="T40" fmla="*/ 165 w 420"/>
                <a:gd name="T41" fmla="*/ 209 h 479"/>
                <a:gd name="T42" fmla="*/ 211 w 420"/>
                <a:gd name="T43" fmla="*/ 121 h 479"/>
                <a:gd name="T44" fmla="*/ 226 w 420"/>
                <a:gd name="T45" fmla="*/ 85 h 479"/>
                <a:gd name="T46" fmla="*/ 226 w 420"/>
                <a:gd name="T47" fmla="*/ 15 h 479"/>
                <a:gd name="T48" fmla="*/ 225 w 420"/>
                <a:gd name="T49" fmla="*/ 11 h 479"/>
                <a:gd name="T50" fmla="*/ 223 w 420"/>
                <a:gd name="T51" fmla="*/ 8 h 479"/>
                <a:gd name="T52" fmla="*/ 222 w 420"/>
                <a:gd name="T53" fmla="*/ 6 h 479"/>
                <a:gd name="T54" fmla="*/ 220 w 420"/>
                <a:gd name="T55" fmla="*/ 4 h 479"/>
                <a:gd name="T56" fmla="*/ 218 w 420"/>
                <a:gd name="T57" fmla="*/ 2 h 479"/>
                <a:gd name="T58" fmla="*/ 216 w 420"/>
                <a:gd name="T59" fmla="*/ 1 h 479"/>
                <a:gd name="T60" fmla="*/ 213 w 420"/>
                <a:gd name="T61" fmla="*/ 0 h 479"/>
                <a:gd name="T62" fmla="*/ 211 w 420"/>
                <a:gd name="T63" fmla="*/ 0 h 479"/>
                <a:gd name="T64" fmla="*/ 207 w 420"/>
                <a:gd name="T65" fmla="*/ 0 h 479"/>
                <a:gd name="T66" fmla="*/ 204 w 420"/>
                <a:gd name="T67" fmla="*/ 1 h 479"/>
                <a:gd name="T68" fmla="*/ 202 w 420"/>
                <a:gd name="T69" fmla="*/ 2 h 479"/>
                <a:gd name="T70" fmla="*/ 200 w 420"/>
                <a:gd name="T71" fmla="*/ 4 h 479"/>
                <a:gd name="T72" fmla="*/ 198 w 420"/>
                <a:gd name="T73" fmla="*/ 6 h 479"/>
                <a:gd name="T74" fmla="*/ 197 w 420"/>
                <a:gd name="T75" fmla="*/ 8 h 479"/>
                <a:gd name="T76" fmla="*/ 196 w 420"/>
                <a:gd name="T77" fmla="*/ 11 h 479"/>
                <a:gd name="T78" fmla="*/ 196 w 420"/>
                <a:gd name="T79" fmla="*/ 15 h 479"/>
                <a:gd name="T80" fmla="*/ 196 w 420"/>
                <a:gd name="T81" fmla="*/ 85 h 479"/>
                <a:gd name="T82" fmla="*/ 2 w 420"/>
                <a:gd name="T83" fmla="*/ 456 h 479"/>
                <a:gd name="T84" fmla="*/ 1 w 420"/>
                <a:gd name="T85" fmla="*/ 461 h 479"/>
                <a:gd name="T86" fmla="*/ 0 w 420"/>
                <a:gd name="T87" fmla="*/ 464 h 479"/>
                <a:gd name="T88" fmla="*/ 1 w 420"/>
                <a:gd name="T89" fmla="*/ 468 h 479"/>
                <a:gd name="T90" fmla="*/ 2 w 420"/>
                <a:gd name="T91" fmla="*/ 471 h 479"/>
                <a:gd name="T92" fmla="*/ 5 w 420"/>
                <a:gd name="T93" fmla="*/ 475 h 479"/>
                <a:gd name="T94" fmla="*/ 8 w 420"/>
                <a:gd name="T95" fmla="*/ 477 h 479"/>
                <a:gd name="T96" fmla="*/ 12 w 420"/>
                <a:gd name="T97" fmla="*/ 478 h 479"/>
                <a:gd name="T98" fmla="*/ 15 w 420"/>
                <a:gd name="T99" fmla="*/ 479 h 479"/>
                <a:gd name="T100" fmla="*/ 405 w 420"/>
                <a:gd name="T101" fmla="*/ 479 h 479"/>
                <a:gd name="T102" fmla="*/ 409 w 420"/>
                <a:gd name="T103" fmla="*/ 478 h 479"/>
                <a:gd name="T104" fmla="*/ 413 w 420"/>
                <a:gd name="T105" fmla="*/ 477 h 479"/>
                <a:gd name="T106" fmla="*/ 415 w 420"/>
                <a:gd name="T107" fmla="*/ 475 h 479"/>
                <a:gd name="T108" fmla="*/ 418 w 420"/>
                <a:gd name="T109" fmla="*/ 471 h 479"/>
                <a:gd name="T110" fmla="*/ 419 w 420"/>
                <a:gd name="T111" fmla="*/ 468 h 479"/>
                <a:gd name="T112" fmla="*/ 420 w 420"/>
                <a:gd name="T113" fmla="*/ 464 h 479"/>
                <a:gd name="T114" fmla="*/ 419 w 420"/>
                <a:gd name="T115" fmla="*/ 461 h 479"/>
                <a:gd name="T116" fmla="*/ 418 w 420"/>
                <a:gd name="T117" fmla="*/ 456 h 479"/>
                <a:gd name="T118" fmla="*/ 226 w 420"/>
                <a:gd name="T119" fmla="*/ 8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0" h="479">
                  <a:moveTo>
                    <a:pt x="239" y="347"/>
                  </a:moveTo>
                  <a:lnTo>
                    <a:pt x="307" y="307"/>
                  </a:lnTo>
                  <a:lnTo>
                    <a:pt x="367" y="423"/>
                  </a:lnTo>
                  <a:lnTo>
                    <a:pt x="239" y="347"/>
                  </a:lnTo>
                  <a:close/>
                  <a:moveTo>
                    <a:pt x="211" y="364"/>
                  </a:moveTo>
                  <a:lnTo>
                    <a:pt x="351" y="449"/>
                  </a:lnTo>
                  <a:lnTo>
                    <a:pt x="69" y="449"/>
                  </a:lnTo>
                  <a:lnTo>
                    <a:pt x="211" y="364"/>
                  </a:lnTo>
                  <a:close/>
                  <a:moveTo>
                    <a:pt x="181" y="347"/>
                  </a:moveTo>
                  <a:lnTo>
                    <a:pt x="53" y="423"/>
                  </a:lnTo>
                  <a:lnTo>
                    <a:pt x="114" y="307"/>
                  </a:lnTo>
                  <a:lnTo>
                    <a:pt x="181" y="347"/>
                  </a:lnTo>
                  <a:close/>
                  <a:moveTo>
                    <a:pt x="272" y="239"/>
                  </a:moveTo>
                  <a:lnTo>
                    <a:pt x="293" y="280"/>
                  </a:lnTo>
                  <a:lnTo>
                    <a:pt x="211" y="329"/>
                  </a:lnTo>
                  <a:lnTo>
                    <a:pt x="128" y="280"/>
                  </a:lnTo>
                  <a:lnTo>
                    <a:pt x="149" y="239"/>
                  </a:lnTo>
                  <a:lnTo>
                    <a:pt x="272" y="239"/>
                  </a:lnTo>
                  <a:close/>
                  <a:moveTo>
                    <a:pt x="211" y="121"/>
                  </a:moveTo>
                  <a:lnTo>
                    <a:pt x="256" y="209"/>
                  </a:lnTo>
                  <a:lnTo>
                    <a:pt x="165" y="209"/>
                  </a:lnTo>
                  <a:lnTo>
                    <a:pt x="211" y="121"/>
                  </a:lnTo>
                  <a:close/>
                  <a:moveTo>
                    <a:pt x="226" y="85"/>
                  </a:moveTo>
                  <a:lnTo>
                    <a:pt x="226" y="15"/>
                  </a:lnTo>
                  <a:lnTo>
                    <a:pt x="225" y="11"/>
                  </a:lnTo>
                  <a:lnTo>
                    <a:pt x="223" y="8"/>
                  </a:lnTo>
                  <a:lnTo>
                    <a:pt x="222" y="6"/>
                  </a:lnTo>
                  <a:lnTo>
                    <a:pt x="220" y="4"/>
                  </a:lnTo>
                  <a:lnTo>
                    <a:pt x="218" y="2"/>
                  </a:lnTo>
                  <a:lnTo>
                    <a:pt x="216" y="1"/>
                  </a:lnTo>
                  <a:lnTo>
                    <a:pt x="213" y="0"/>
                  </a:lnTo>
                  <a:lnTo>
                    <a:pt x="211" y="0"/>
                  </a:lnTo>
                  <a:lnTo>
                    <a:pt x="207" y="0"/>
                  </a:lnTo>
                  <a:lnTo>
                    <a:pt x="204" y="1"/>
                  </a:lnTo>
                  <a:lnTo>
                    <a:pt x="202" y="2"/>
                  </a:lnTo>
                  <a:lnTo>
                    <a:pt x="200" y="4"/>
                  </a:lnTo>
                  <a:lnTo>
                    <a:pt x="198" y="6"/>
                  </a:lnTo>
                  <a:lnTo>
                    <a:pt x="197" y="8"/>
                  </a:lnTo>
                  <a:lnTo>
                    <a:pt x="196" y="11"/>
                  </a:lnTo>
                  <a:lnTo>
                    <a:pt x="196" y="15"/>
                  </a:lnTo>
                  <a:lnTo>
                    <a:pt x="196" y="85"/>
                  </a:lnTo>
                  <a:lnTo>
                    <a:pt x="2" y="456"/>
                  </a:lnTo>
                  <a:lnTo>
                    <a:pt x="1" y="461"/>
                  </a:lnTo>
                  <a:lnTo>
                    <a:pt x="0" y="464"/>
                  </a:lnTo>
                  <a:lnTo>
                    <a:pt x="1" y="468"/>
                  </a:lnTo>
                  <a:lnTo>
                    <a:pt x="2" y="471"/>
                  </a:lnTo>
                  <a:lnTo>
                    <a:pt x="5" y="475"/>
                  </a:lnTo>
                  <a:lnTo>
                    <a:pt x="8" y="477"/>
                  </a:lnTo>
                  <a:lnTo>
                    <a:pt x="12" y="478"/>
                  </a:lnTo>
                  <a:lnTo>
                    <a:pt x="15" y="479"/>
                  </a:lnTo>
                  <a:lnTo>
                    <a:pt x="405" y="479"/>
                  </a:lnTo>
                  <a:lnTo>
                    <a:pt x="409" y="478"/>
                  </a:lnTo>
                  <a:lnTo>
                    <a:pt x="413" y="477"/>
                  </a:lnTo>
                  <a:lnTo>
                    <a:pt x="415" y="475"/>
                  </a:lnTo>
                  <a:lnTo>
                    <a:pt x="418" y="471"/>
                  </a:lnTo>
                  <a:lnTo>
                    <a:pt x="419" y="468"/>
                  </a:lnTo>
                  <a:lnTo>
                    <a:pt x="420" y="464"/>
                  </a:lnTo>
                  <a:lnTo>
                    <a:pt x="419" y="461"/>
                  </a:lnTo>
                  <a:lnTo>
                    <a:pt x="418" y="456"/>
                  </a:lnTo>
                  <a:lnTo>
                    <a:pt x="226"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182">
              <a:extLst>
                <a:ext uri="{FF2B5EF4-FFF2-40B4-BE49-F238E27FC236}">
                  <a16:creationId xmlns:a16="http://schemas.microsoft.com/office/drawing/2014/main" id="{93E6ED3F-17DD-4E9C-AAED-8A237BE1EC1E}"/>
                </a:ext>
              </a:extLst>
            </p:cNvPr>
            <p:cNvSpPr>
              <a:spLocks/>
            </p:cNvSpPr>
            <p:nvPr/>
          </p:nvSpPr>
          <p:spPr bwMode="auto">
            <a:xfrm>
              <a:off x="4894263" y="4191000"/>
              <a:ext cx="276225" cy="246063"/>
            </a:xfrm>
            <a:custGeom>
              <a:avLst/>
              <a:gdLst>
                <a:gd name="T0" fmla="*/ 369 w 870"/>
                <a:gd name="T1" fmla="*/ 5 h 771"/>
                <a:gd name="T2" fmla="*/ 286 w 870"/>
                <a:gd name="T3" fmla="*/ 27 h 771"/>
                <a:gd name="T4" fmla="*/ 210 w 870"/>
                <a:gd name="T5" fmla="*/ 63 h 771"/>
                <a:gd name="T6" fmla="*/ 144 w 870"/>
                <a:gd name="T7" fmla="*/ 114 h 771"/>
                <a:gd name="T8" fmla="*/ 87 w 870"/>
                <a:gd name="T9" fmla="*/ 176 h 771"/>
                <a:gd name="T10" fmla="*/ 43 w 870"/>
                <a:gd name="T11" fmla="*/ 247 h 771"/>
                <a:gd name="T12" fmla="*/ 14 w 870"/>
                <a:gd name="T13" fmla="*/ 326 h 771"/>
                <a:gd name="T14" fmla="*/ 1 w 870"/>
                <a:gd name="T15" fmla="*/ 413 h 771"/>
                <a:gd name="T16" fmla="*/ 7 w 870"/>
                <a:gd name="T17" fmla="*/ 506 h 771"/>
                <a:gd name="T18" fmla="*/ 31 w 870"/>
                <a:gd name="T19" fmla="*/ 597 h 771"/>
                <a:gd name="T20" fmla="*/ 76 w 870"/>
                <a:gd name="T21" fmla="*/ 679 h 771"/>
                <a:gd name="T22" fmla="*/ 137 w 870"/>
                <a:gd name="T23" fmla="*/ 751 h 771"/>
                <a:gd name="T24" fmla="*/ 168 w 870"/>
                <a:gd name="T25" fmla="*/ 770 h 771"/>
                <a:gd name="T26" fmla="*/ 178 w 870"/>
                <a:gd name="T27" fmla="*/ 763 h 771"/>
                <a:gd name="T28" fmla="*/ 179 w 870"/>
                <a:gd name="T29" fmla="*/ 752 h 771"/>
                <a:gd name="T30" fmla="*/ 157 w 870"/>
                <a:gd name="T31" fmla="*/ 730 h 771"/>
                <a:gd name="T32" fmla="*/ 101 w 870"/>
                <a:gd name="T33" fmla="*/ 662 h 771"/>
                <a:gd name="T34" fmla="*/ 59 w 870"/>
                <a:gd name="T35" fmla="*/ 585 h 771"/>
                <a:gd name="T36" fmla="*/ 36 w 870"/>
                <a:gd name="T37" fmla="*/ 502 h 771"/>
                <a:gd name="T38" fmla="*/ 31 w 870"/>
                <a:gd name="T39" fmla="*/ 414 h 771"/>
                <a:gd name="T40" fmla="*/ 43 w 870"/>
                <a:gd name="T41" fmla="*/ 334 h 771"/>
                <a:gd name="T42" fmla="*/ 71 w 870"/>
                <a:gd name="T43" fmla="*/ 260 h 771"/>
                <a:gd name="T44" fmla="*/ 111 w 870"/>
                <a:gd name="T45" fmla="*/ 193 h 771"/>
                <a:gd name="T46" fmla="*/ 163 w 870"/>
                <a:gd name="T47" fmla="*/ 136 h 771"/>
                <a:gd name="T48" fmla="*/ 226 w 870"/>
                <a:gd name="T49" fmla="*/ 89 h 771"/>
                <a:gd name="T50" fmla="*/ 297 w 870"/>
                <a:gd name="T51" fmla="*/ 55 h 771"/>
                <a:gd name="T52" fmla="*/ 374 w 870"/>
                <a:gd name="T53" fmla="*/ 35 h 771"/>
                <a:gd name="T54" fmla="*/ 456 w 870"/>
                <a:gd name="T55" fmla="*/ 31 h 771"/>
                <a:gd name="T56" fmla="*/ 536 w 870"/>
                <a:gd name="T57" fmla="*/ 43 h 771"/>
                <a:gd name="T58" fmla="*/ 610 w 870"/>
                <a:gd name="T59" fmla="*/ 71 h 771"/>
                <a:gd name="T60" fmla="*/ 677 w 870"/>
                <a:gd name="T61" fmla="*/ 111 h 771"/>
                <a:gd name="T62" fmla="*/ 734 w 870"/>
                <a:gd name="T63" fmla="*/ 163 h 771"/>
                <a:gd name="T64" fmla="*/ 781 w 870"/>
                <a:gd name="T65" fmla="*/ 226 h 771"/>
                <a:gd name="T66" fmla="*/ 815 w 870"/>
                <a:gd name="T67" fmla="*/ 296 h 771"/>
                <a:gd name="T68" fmla="*/ 835 w 870"/>
                <a:gd name="T69" fmla="*/ 373 h 771"/>
                <a:gd name="T70" fmla="*/ 839 w 870"/>
                <a:gd name="T71" fmla="*/ 457 h 771"/>
                <a:gd name="T72" fmla="*/ 825 w 870"/>
                <a:gd name="T73" fmla="*/ 545 h 771"/>
                <a:gd name="T74" fmla="*/ 793 w 870"/>
                <a:gd name="T75" fmla="*/ 625 h 771"/>
                <a:gd name="T76" fmla="*/ 744 w 870"/>
                <a:gd name="T77" fmla="*/ 698 h 771"/>
                <a:gd name="T78" fmla="*/ 694 w 870"/>
                <a:gd name="T79" fmla="*/ 747 h 771"/>
                <a:gd name="T80" fmla="*/ 691 w 870"/>
                <a:gd name="T81" fmla="*/ 758 h 771"/>
                <a:gd name="T82" fmla="*/ 697 w 870"/>
                <a:gd name="T83" fmla="*/ 767 h 771"/>
                <a:gd name="T84" fmla="*/ 707 w 870"/>
                <a:gd name="T85" fmla="*/ 770 h 771"/>
                <a:gd name="T86" fmla="*/ 733 w 870"/>
                <a:gd name="T87" fmla="*/ 751 h 771"/>
                <a:gd name="T88" fmla="*/ 795 w 870"/>
                <a:gd name="T89" fmla="*/ 679 h 771"/>
                <a:gd name="T90" fmla="*/ 839 w 870"/>
                <a:gd name="T91" fmla="*/ 597 h 771"/>
                <a:gd name="T92" fmla="*/ 863 w 870"/>
                <a:gd name="T93" fmla="*/ 506 h 771"/>
                <a:gd name="T94" fmla="*/ 869 w 870"/>
                <a:gd name="T95" fmla="*/ 413 h 771"/>
                <a:gd name="T96" fmla="*/ 856 w 870"/>
                <a:gd name="T97" fmla="*/ 326 h 771"/>
                <a:gd name="T98" fmla="*/ 827 w 870"/>
                <a:gd name="T99" fmla="*/ 247 h 771"/>
                <a:gd name="T100" fmla="*/ 783 w 870"/>
                <a:gd name="T101" fmla="*/ 176 h 771"/>
                <a:gd name="T102" fmla="*/ 728 w 870"/>
                <a:gd name="T103" fmla="*/ 114 h 771"/>
                <a:gd name="T104" fmla="*/ 660 w 870"/>
                <a:gd name="T105" fmla="*/ 63 h 771"/>
                <a:gd name="T106" fmla="*/ 584 w 870"/>
                <a:gd name="T107" fmla="*/ 27 h 771"/>
                <a:gd name="T108" fmla="*/ 501 w 870"/>
                <a:gd name="T109" fmla="*/ 5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0" h="771">
                  <a:moveTo>
                    <a:pt x="436" y="0"/>
                  </a:moveTo>
                  <a:lnTo>
                    <a:pt x="413" y="1"/>
                  </a:lnTo>
                  <a:lnTo>
                    <a:pt x="391" y="2"/>
                  </a:lnTo>
                  <a:lnTo>
                    <a:pt x="369" y="5"/>
                  </a:lnTo>
                  <a:lnTo>
                    <a:pt x="348" y="10"/>
                  </a:lnTo>
                  <a:lnTo>
                    <a:pt x="327" y="14"/>
                  </a:lnTo>
                  <a:lnTo>
                    <a:pt x="306" y="20"/>
                  </a:lnTo>
                  <a:lnTo>
                    <a:pt x="286" y="27"/>
                  </a:lnTo>
                  <a:lnTo>
                    <a:pt x="267" y="34"/>
                  </a:lnTo>
                  <a:lnTo>
                    <a:pt x="247" y="43"/>
                  </a:lnTo>
                  <a:lnTo>
                    <a:pt x="228" y="53"/>
                  </a:lnTo>
                  <a:lnTo>
                    <a:pt x="210" y="63"/>
                  </a:lnTo>
                  <a:lnTo>
                    <a:pt x="193" y="75"/>
                  </a:lnTo>
                  <a:lnTo>
                    <a:pt x="176" y="87"/>
                  </a:lnTo>
                  <a:lnTo>
                    <a:pt x="159" y="100"/>
                  </a:lnTo>
                  <a:lnTo>
                    <a:pt x="144" y="114"/>
                  </a:lnTo>
                  <a:lnTo>
                    <a:pt x="128" y="127"/>
                  </a:lnTo>
                  <a:lnTo>
                    <a:pt x="114" y="143"/>
                  </a:lnTo>
                  <a:lnTo>
                    <a:pt x="100" y="158"/>
                  </a:lnTo>
                  <a:lnTo>
                    <a:pt x="87" y="176"/>
                  </a:lnTo>
                  <a:lnTo>
                    <a:pt x="75" y="193"/>
                  </a:lnTo>
                  <a:lnTo>
                    <a:pt x="63" y="210"/>
                  </a:lnTo>
                  <a:lnTo>
                    <a:pt x="53" y="228"/>
                  </a:lnTo>
                  <a:lnTo>
                    <a:pt x="43" y="247"/>
                  </a:lnTo>
                  <a:lnTo>
                    <a:pt x="34" y="267"/>
                  </a:lnTo>
                  <a:lnTo>
                    <a:pt x="27" y="286"/>
                  </a:lnTo>
                  <a:lnTo>
                    <a:pt x="21" y="306"/>
                  </a:lnTo>
                  <a:lnTo>
                    <a:pt x="14" y="326"/>
                  </a:lnTo>
                  <a:lnTo>
                    <a:pt x="10" y="348"/>
                  </a:lnTo>
                  <a:lnTo>
                    <a:pt x="6" y="369"/>
                  </a:lnTo>
                  <a:lnTo>
                    <a:pt x="2" y="391"/>
                  </a:lnTo>
                  <a:lnTo>
                    <a:pt x="1" y="413"/>
                  </a:lnTo>
                  <a:lnTo>
                    <a:pt x="0" y="436"/>
                  </a:lnTo>
                  <a:lnTo>
                    <a:pt x="1" y="459"/>
                  </a:lnTo>
                  <a:lnTo>
                    <a:pt x="3" y="483"/>
                  </a:lnTo>
                  <a:lnTo>
                    <a:pt x="7" y="506"/>
                  </a:lnTo>
                  <a:lnTo>
                    <a:pt x="11" y="530"/>
                  </a:lnTo>
                  <a:lnTo>
                    <a:pt x="16" y="552"/>
                  </a:lnTo>
                  <a:lnTo>
                    <a:pt x="24" y="575"/>
                  </a:lnTo>
                  <a:lnTo>
                    <a:pt x="31" y="597"/>
                  </a:lnTo>
                  <a:lnTo>
                    <a:pt x="41" y="618"/>
                  </a:lnTo>
                  <a:lnTo>
                    <a:pt x="52" y="640"/>
                  </a:lnTo>
                  <a:lnTo>
                    <a:pt x="63" y="660"/>
                  </a:lnTo>
                  <a:lnTo>
                    <a:pt x="76" y="679"/>
                  </a:lnTo>
                  <a:lnTo>
                    <a:pt x="89" y="699"/>
                  </a:lnTo>
                  <a:lnTo>
                    <a:pt x="104" y="717"/>
                  </a:lnTo>
                  <a:lnTo>
                    <a:pt x="120" y="735"/>
                  </a:lnTo>
                  <a:lnTo>
                    <a:pt x="137" y="751"/>
                  </a:lnTo>
                  <a:lnTo>
                    <a:pt x="155" y="767"/>
                  </a:lnTo>
                  <a:lnTo>
                    <a:pt x="160" y="770"/>
                  </a:lnTo>
                  <a:lnTo>
                    <a:pt x="165" y="771"/>
                  </a:lnTo>
                  <a:lnTo>
                    <a:pt x="168" y="770"/>
                  </a:lnTo>
                  <a:lnTo>
                    <a:pt x="171" y="769"/>
                  </a:lnTo>
                  <a:lnTo>
                    <a:pt x="174" y="768"/>
                  </a:lnTo>
                  <a:lnTo>
                    <a:pt x="176" y="766"/>
                  </a:lnTo>
                  <a:lnTo>
                    <a:pt x="178" y="763"/>
                  </a:lnTo>
                  <a:lnTo>
                    <a:pt x="179" y="761"/>
                  </a:lnTo>
                  <a:lnTo>
                    <a:pt x="180" y="758"/>
                  </a:lnTo>
                  <a:lnTo>
                    <a:pt x="180" y="754"/>
                  </a:lnTo>
                  <a:lnTo>
                    <a:pt x="179" y="752"/>
                  </a:lnTo>
                  <a:lnTo>
                    <a:pt x="178" y="749"/>
                  </a:lnTo>
                  <a:lnTo>
                    <a:pt x="177" y="747"/>
                  </a:lnTo>
                  <a:lnTo>
                    <a:pt x="175" y="745"/>
                  </a:lnTo>
                  <a:lnTo>
                    <a:pt x="157" y="730"/>
                  </a:lnTo>
                  <a:lnTo>
                    <a:pt x="143" y="714"/>
                  </a:lnTo>
                  <a:lnTo>
                    <a:pt x="128" y="698"/>
                  </a:lnTo>
                  <a:lnTo>
                    <a:pt x="114" y="680"/>
                  </a:lnTo>
                  <a:lnTo>
                    <a:pt x="101" y="662"/>
                  </a:lnTo>
                  <a:lnTo>
                    <a:pt x="89" y="644"/>
                  </a:lnTo>
                  <a:lnTo>
                    <a:pt x="78" y="625"/>
                  </a:lnTo>
                  <a:lnTo>
                    <a:pt x="69" y="606"/>
                  </a:lnTo>
                  <a:lnTo>
                    <a:pt x="59" y="585"/>
                  </a:lnTo>
                  <a:lnTo>
                    <a:pt x="52" y="565"/>
                  </a:lnTo>
                  <a:lnTo>
                    <a:pt x="45" y="545"/>
                  </a:lnTo>
                  <a:lnTo>
                    <a:pt x="40" y="523"/>
                  </a:lnTo>
                  <a:lnTo>
                    <a:pt x="36" y="502"/>
                  </a:lnTo>
                  <a:lnTo>
                    <a:pt x="33" y="479"/>
                  </a:lnTo>
                  <a:lnTo>
                    <a:pt x="31" y="457"/>
                  </a:lnTo>
                  <a:lnTo>
                    <a:pt x="30" y="436"/>
                  </a:lnTo>
                  <a:lnTo>
                    <a:pt x="31" y="414"/>
                  </a:lnTo>
                  <a:lnTo>
                    <a:pt x="32" y="394"/>
                  </a:lnTo>
                  <a:lnTo>
                    <a:pt x="36" y="373"/>
                  </a:lnTo>
                  <a:lnTo>
                    <a:pt x="39" y="353"/>
                  </a:lnTo>
                  <a:lnTo>
                    <a:pt x="43" y="334"/>
                  </a:lnTo>
                  <a:lnTo>
                    <a:pt x="48" y="315"/>
                  </a:lnTo>
                  <a:lnTo>
                    <a:pt x="55" y="296"/>
                  </a:lnTo>
                  <a:lnTo>
                    <a:pt x="62" y="278"/>
                  </a:lnTo>
                  <a:lnTo>
                    <a:pt x="71" y="260"/>
                  </a:lnTo>
                  <a:lnTo>
                    <a:pt x="79" y="242"/>
                  </a:lnTo>
                  <a:lnTo>
                    <a:pt x="89" y="226"/>
                  </a:lnTo>
                  <a:lnTo>
                    <a:pt x="100" y="209"/>
                  </a:lnTo>
                  <a:lnTo>
                    <a:pt x="111" y="193"/>
                  </a:lnTo>
                  <a:lnTo>
                    <a:pt x="123" y="178"/>
                  </a:lnTo>
                  <a:lnTo>
                    <a:pt x="136" y="163"/>
                  </a:lnTo>
                  <a:lnTo>
                    <a:pt x="149" y="149"/>
                  </a:lnTo>
                  <a:lnTo>
                    <a:pt x="163" y="136"/>
                  </a:lnTo>
                  <a:lnTo>
                    <a:pt x="178" y="123"/>
                  </a:lnTo>
                  <a:lnTo>
                    <a:pt x="193" y="111"/>
                  </a:lnTo>
                  <a:lnTo>
                    <a:pt x="209" y="100"/>
                  </a:lnTo>
                  <a:lnTo>
                    <a:pt x="226" y="89"/>
                  </a:lnTo>
                  <a:lnTo>
                    <a:pt x="242" y="79"/>
                  </a:lnTo>
                  <a:lnTo>
                    <a:pt x="260" y="71"/>
                  </a:lnTo>
                  <a:lnTo>
                    <a:pt x="277" y="62"/>
                  </a:lnTo>
                  <a:lnTo>
                    <a:pt x="297" y="55"/>
                  </a:lnTo>
                  <a:lnTo>
                    <a:pt x="315" y="48"/>
                  </a:lnTo>
                  <a:lnTo>
                    <a:pt x="334" y="43"/>
                  </a:lnTo>
                  <a:lnTo>
                    <a:pt x="353" y="39"/>
                  </a:lnTo>
                  <a:lnTo>
                    <a:pt x="374" y="35"/>
                  </a:lnTo>
                  <a:lnTo>
                    <a:pt x="394" y="32"/>
                  </a:lnTo>
                  <a:lnTo>
                    <a:pt x="414" y="31"/>
                  </a:lnTo>
                  <a:lnTo>
                    <a:pt x="436" y="30"/>
                  </a:lnTo>
                  <a:lnTo>
                    <a:pt x="456" y="31"/>
                  </a:lnTo>
                  <a:lnTo>
                    <a:pt x="476" y="32"/>
                  </a:lnTo>
                  <a:lnTo>
                    <a:pt x="497" y="35"/>
                  </a:lnTo>
                  <a:lnTo>
                    <a:pt x="517" y="39"/>
                  </a:lnTo>
                  <a:lnTo>
                    <a:pt x="536" y="43"/>
                  </a:lnTo>
                  <a:lnTo>
                    <a:pt x="555" y="48"/>
                  </a:lnTo>
                  <a:lnTo>
                    <a:pt x="574" y="55"/>
                  </a:lnTo>
                  <a:lnTo>
                    <a:pt x="593" y="62"/>
                  </a:lnTo>
                  <a:lnTo>
                    <a:pt x="610" y="71"/>
                  </a:lnTo>
                  <a:lnTo>
                    <a:pt x="628" y="79"/>
                  </a:lnTo>
                  <a:lnTo>
                    <a:pt x="645" y="89"/>
                  </a:lnTo>
                  <a:lnTo>
                    <a:pt x="661" y="100"/>
                  </a:lnTo>
                  <a:lnTo>
                    <a:pt x="677" y="111"/>
                  </a:lnTo>
                  <a:lnTo>
                    <a:pt x="692" y="123"/>
                  </a:lnTo>
                  <a:lnTo>
                    <a:pt x="707" y="136"/>
                  </a:lnTo>
                  <a:lnTo>
                    <a:pt x="721" y="149"/>
                  </a:lnTo>
                  <a:lnTo>
                    <a:pt x="734" y="163"/>
                  </a:lnTo>
                  <a:lnTo>
                    <a:pt x="747" y="178"/>
                  </a:lnTo>
                  <a:lnTo>
                    <a:pt x="760" y="193"/>
                  </a:lnTo>
                  <a:lnTo>
                    <a:pt x="770" y="209"/>
                  </a:lnTo>
                  <a:lnTo>
                    <a:pt x="781" y="226"/>
                  </a:lnTo>
                  <a:lnTo>
                    <a:pt x="791" y="242"/>
                  </a:lnTo>
                  <a:lnTo>
                    <a:pt x="799" y="260"/>
                  </a:lnTo>
                  <a:lnTo>
                    <a:pt x="808" y="278"/>
                  </a:lnTo>
                  <a:lnTo>
                    <a:pt x="815" y="296"/>
                  </a:lnTo>
                  <a:lnTo>
                    <a:pt x="822" y="315"/>
                  </a:lnTo>
                  <a:lnTo>
                    <a:pt x="827" y="334"/>
                  </a:lnTo>
                  <a:lnTo>
                    <a:pt x="831" y="354"/>
                  </a:lnTo>
                  <a:lnTo>
                    <a:pt x="835" y="373"/>
                  </a:lnTo>
                  <a:lnTo>
                    <a:pt x="838" y="394"/>
                  </a:lnTo>
                  <a:lnTo>
                    <a:pt x="839" y="414"/>
                  </a:lnTo>
                  <a:lnTo>
                    <a:pt x="840" y="436"/>
                  </a:lnTo>
                  <a:lnTo>
                    <a:pt x="839" y="457"/>
                  </a:lnTo>
                  <a:lnTo>
                    <a:pt x="838" y="479"/>
                  </a:lnTo>
                  <a:lnTo>
                    <a:pt x="835" y="502"/>
                  </a:lnTo>
                  <a:lnTo>
                    <a:pt x="830" y="523"/>
                  </a:lnTo>
                  <a:lnTo>
                    <a:pt x="825" y="545"/>
                  </a:lnTo>
                  <a:lnTo>
                    <a:pt x="819" y="565"/>
                  </a:lnTo>
                  <a:lnTo>
                    <a:pt x="811" y="585"/>
                  </a:lnTo>
                  <a:lnTo>
                    <a:pt x="803" y="606"/>
                  </a:lnTo>
                  <a:lnTo>
                    <a:pt x="793" y="625"/>
                  </a:lnTo>
                  <a:lnTo>
                    <a:pt x="782" y="644"/>
                  </a:lnTo>
                  <a:lnTo>
                    <a:pt x="770" y="662"/>
                  </a:lnTo>
                  <a:lnTo>
                    <a:pt x="758" y="680"/>
                  </a:lnTo>
                  <a:lnTo>
                    <a:pt x="744" y="698"/>
                  </a:lnTo>
                  <a:lnTo>
                    <a:pt x="729" y="714"/>
                  </a:lnTo>
                  <a:lnTo>
                    <a:pt x="713" y="730"/>
                  </a:lnTo>
                  <a:lnTo>
                    <a:pt x="697" y="745"/>
                  </a:lnTo>
                  <a:lnTo>
                    <a:pt x="694" y="747"/>
                  </a:lnTo>
                  <a:lnTo>
                    <a:pt x="692" y="749"/>
                  </a:lnTo>
                  <a:lnTo>
                    <a:pt x="691" y="752"/>
                  </a:lnTo>
                  <a:lnTo>
                    <a:pt x="691" y="754"/>
                  </a:lnTo>
                  <a:lnTo>
                    <a:pt x="691" y="758"/>
                  </a:lnTo>
                  <a:lnTo>
                    <a:pt x="691" y="761"/>
                  </a:lnTo>
                  <a:lnTo>
                    <a:pt x="692" y="763"/>
                  </a:lnTo>
                  <a:lnTo>
                    <a:pt x="694" y="765"/>
                  </a:lnTo>
                  <a:lnTo>
                    <a:pt x="697" y="767"/>
                  </a:lnTo>
                  <a:lnTo>
                    <a:pt x="699" y="769"/>
                  </a:lnTo>
                  <a:lnTo>
                    <a:pt x="702" y="770"/>
                  </a:lnTo>
                  <a:lnTo>
                    <a:pt x="704" y="770"/>
                  </a:lnTo>
                  <a:lnTo>
                    <a:pt x="707" y="770"/>
                  </a:lnTo>
                  <a:lnTo>
                    <a:pt x="711" y="770"/>
                  </a:lnTo>
                  <a:lnTo>
                    <a:pt x="713" y="769"/>
                  </a:lnTo>
                  <a:lnTo>
                    <a:pt x="716" y="767"/>
                  </a:lnTo>
                  <a:lnTo>
                    <a:pt x="733" y="751"/>
                  </a:lnTo>
                  <a:lnTo>
                    <a:pt x="750" y="734"/>
                  </a:lnTo>
                  <a:lnTo>
                    <a:pt x="766" y="717"/>
                  </a:lnTo>
                  <a:lnTo>
                    <a:pt x="781" y="699"/>
                  </a:lnTo>
                  <a:lnTo>
                    <a:pt x="795" y="679"/>
                  </a:lnTo>
                  <a:lnTo>
                    <a:pt x="808" y="659"/>
                  </a:lnTo>
                  <a:lnTo>
                    <a:pt x="819" y="639"/>
                  </a:lnTo>
                  <a:lnTo>
                    <a:pt x="829" y="618"/>
                  </a:lnTo>
                  <a:lnTo>
                    <a:pt x="839" y="597"/>
                  </a:lnTo>
                  <a:lnTo>
                    <a:pt x="846" y="575"/>
                  </a:lnTo>
                  <a:lnTo>
                    <a:pt x="854" y="552"/>
                  </a:lnTo>
                  <a:lnTo>
                    <a:pt x="859" y="530"/>
                  </a:lnTo>
                  <a:lnTo>
                    <a:pt x="863" y="506"/>
                  </a:lnTo>
                  <a:lnTo>
                    <a:pt x="867" y="483"/>
                  </a:lnTo>
                  <a:lnTo>
                    <a:pt x="869" y="459"/>
                  </a:lnTo>
                  <a:lnTo>
                    <a:pt x="870" y="436"/>
                  </a:lnTo>
                  <a:lnTo>
                    <a:pt x="869" y="413"/>
                  </a:lnTo>
                  <a:lnTo>
                    <a:pt x="868" y="391"/>
                  </a:lnTo>
                  <a:lnTo>
                    <a:pt x="865" y="369"/>
                  </a:lnTo>
                  <a:lnTo>
                    <a:pt x="861" y="348"/>
                  </a:lnTo>
                  <a:lnTo>
                    <a:pt x="856" y="326"/>
                  </a:lnTo>
                  <a:lnTo>
                    <a:pt x="851" y="306"/>
                  </a:lnTo>
                  <a:lnTo>
                    <a:pt x="843" y="286"/>
                  </a:lnTo>
                  <a:lnTo>
                    <a:pt x="836" y="267"/>
                  </a:lnTo>
                  <a:lnTo>
                    <a:pt x="827" y="247"/>
                  </a:lnTo>
                  <a:lnTo>
                    <a:pt x="817" y="228"/>
                  </a:lnTo>
                  <a:lnTo>
                    <a:pt x="807" y="210"/>
                  </a:lnTo>
                  <a:lnTo>
                    <a:pt x="795" y="193"/>
                  </a:lnTo>
                  <a:lnTo>
                    <a:pt x="783" y="176"/>
                  </a:lnTo>
                  <a:lnTo>
                    <a:pt x="770" y="158"/>
                  </a:lnTo>
                  <a:lnTo>
                    <a:pt x="757" y="143"/>
                  </a:lnTo>
                  <a:lnTo>
                    <a:pt x="743" y="127"/>
                  </a:lnTo>
                  <a:lnTo>
                    <a:pt x="728" y="114"/>
                  </a:lnTo>
                  <a:lnTo>
                    <a:pt x="712" y="100"/>
                  </a:lnTo>
                  <a:lnTo>
                    <a:pt x="694" y="87"/>
                  </a:lnTo>
                  <a:lnTo>
                    <a:pt x="678" y="75"/>
                  </a:lnTo>
                  <a:lnTo>
                    <a:pt x="660" y="63"/>
                  </a:lnTo>
                  <a:lnTo>
                    <a:pt x="642" y="53"/>
                  </a:lnTo>
                  <a:lnTo>
                    <a:pt x="624" y="43"/>
                  </a:lnTo>
                  <a:lnTo>
                    <a:pt x="605" y="34"/>
                  </a:lnTo>
                  <a:lnTo>
                    <a:pt x="584" y="27"/>
                  </a:lnTo>
                  <a:lnTo>
                    <a:pt x="564" y="20"/>
                  </a:lnTo>
                  <a:lnTo>
                    <a:pt x="544" y="14"/>
                  </a:lnTo>
                  <a:lnTo>
                    <a:pt x="522" y="10"/>
                  </a:lnTo>
                  <a:lnTo>
                    <a:pt x="501" y="5"/>
                  </a:lnTo>
                  <a:lnTo>
                    <a:pt x="479" y="2"/>
                  </a:lnTo>
                  <a:lnTo>
                    <a:pt x="457" y="1"/>
                  </a:lnTo>
                  <a:lnTo>
                    <a:pt x="4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183">
              <a:extLst>
                <a:ext uri="{FF2B5EF4-FFF2-40B4-BE49-F238E27FC236}">
                  <a16:creationId xmlns:a16="http://schemas.microsoft.com/office/drawing/2014/main" id="{6501D51E-05E3-4AD8-B0F0-6B653408EF86}"/>
                </a:ext>
              </a:extLst>
            </p:cNvPr>
            <p:cNvSpPr>
              <a:spLocks/>
            </p:cNvSpPr>
            <p:nvPr/>
          </p:nvSpPr>
          <p:spPr bwMode="auto">
            <a:xfrm>
              <a:off x="4941888" y="4238625"/>
              <a:ext cx="180975" cy="144463"/>
            </a:xfrm>
            <a:custGeom>
              <a:avLst/>
              <a:gdLst>
                <a:gd name="T0" fmla="*/ 256 w 570"/>
                <a:gd name="T1" fmla="*/ 2 h 451"/>
                <a:gd name="T2" fmla="*/ 214 w 570"/>
                <a:gd name="T3" fmla="*/ 10 h 451"/>
                <a:gd name="T4" fmla="*/ 174 w 570"/>
                <a:gd name="T5" fmla="*/ 22 h 451"/>
                <a:gd name="T6" fmla="*/ 138 w 570"/>
                <a:gd name="T7" fmla="*/ 42 h 451"/>
                <a:gd name="T8" fmla="*/ 104 w 570"/>
                <a:gd name="T9" fmla="*/ 65 h 451"/>
                <a:gd name="T10" fmla="*/ 75 w 570"/>
                <a:gd name="T11" fmla="*/ 94 h 451"/>
                <a:gd name="T12" fmla="*/ 49 w 570"/>
                <a:gd name="T13" fmla="*/ 126 h 451"/>
                <a:gd name="T14" fmla="*/ 29 w 570"/>
                <a:gd name="T15" fmla="*/ 161 h 451"/>
                <a:gd name="T16" fmla="*/ 13 w 570"/>
                <a:gd name="T17" fmla="*/ 201 h 451"/>
                <a:gd name="T18" fmla="*/ 3 w 570"/>
                <a:gd name="T19" fmla="*/ 242 h 451"/>
                <a:gd name="T20" fmla="*/ 0 w 570"/>
                <a:gd name="T21" fmla="*/ 286 h 451"/>
                <a:gd name="T22" fmla="*/ 7 w 570"/>
                <a:gd name="T23" fmla="*/ 349 h 451"/>
                <a:gd name="T24" fmla="*/ 28 w 570"/>
                <a:gd name="T25" fmla="*/ 407 h 451"/>
                <a:gd name="T26" fmla="*/ 51 w 570"/>
                <a:gd name="T27" fmla="*/ 447 h 451"/>
                <a:gd name="T28" fmla="*/ 61 w 570"/>
                <a:gd name="T29" fmla="*/ 451 h 451"/>
                <a:gd name="T30" fmla="*/ 72 w 570"/>
                <a:gd name="T31" fmla="*/ 446 h 451"/>
                <a:gd name="T32" fmla="*/ 76 w 570"/>
                <a:gd name="T33" fmla="*/ 438 h 451"/>
                <a:gd name="T34" fmla="*/ 75 w 570"/>
                <a:gd name="T35" fmla="*/ 430 h 451"/>
                <a:gd name="T36" fmla="*/ 55 w 570"/>
                <a:gd name="T37" fmla="*/ 395 h 451"/>
                <a:gd name="T38" fmla="*/ 36 w 570"/>
                <a:gd name="T39" fmla="*/ 341 h 451"/>
                <a:gd name="T40" fmla="*/ 30 w 570"/>
                <a:gd name="T41" fmla="*/ 286 h 451"/>
                <a:gd name="T42" fmla="*/ 33 w 570"/>
                <a:gd name="T43" fmla="*/ 246 h 451"/>
                <a:gd name="T44" fmla="*/ 42 w 570"/>
                <a:gd name="T45" fmla="*/ 210 h 451"/>
                <a:gd name="T46" fmla="*/ 56 w 570"/>
                <a:gd name="T47" fmla="*/ 174 h 451"/>
                <a:gd name="T48" fmla="*/ 74 w 570"/>
                <a:gd name="T49" fmla="*/ 143 h 451"/>
                <a:gd name="T50" fmla="*/ 96 w 570"/>
                <a:gd name="T51" fmla="*/ 114 h 451"/>
                <a:gd name="T52" fmla="*/ 123 w 570"/>
                <a:gd name="T53" fmla="*/ 89 h 451"/>
                <a:gd name="T54" fmla="*/ 153 w 570"/>
                <a:gd name="T55" fmla="*/ 67 h 451"/>
                <a:gd name="T56" fmla="*/ 186 w 570"/>
                <a:gd name="T57" fmla="*/ 50 h 451"/>
                <a:gd name="T58" fmla="*/ 221 w 570"/>
                <a:gd name="T59" fmla="*/ 38 h 451"/>
                <a:gd name="T60" fmla="*/ 259 w 570"/>
                <a:gd name="T61" fmla="*/ 32 h 451"/>
                <a:gd name="T62" fmla="*/ 298 w 570"/>
                <a:gd name="T63" fmla="*/ 31 h 451"/>
                <a:gd name="T64" fmla="*/ 336 w 570"/>
                <a:gd name="T65" fmla="*/ 35 h 451"/>
                <a:gd name="T66" fmla="*/ 372 w 570"/>
                <a:gd name="T67" fmla="*/ 46 h 451"/>
                <a:gd name="T68" fmla="*/ 406 w 570"/>
                <a:gd name="T69" fmla="*/ 61 h 451"/>
                <a:gd name="T70" fmla="*/ 438 w 570"/>
                <a:gd name="T71" fmla="*/ 81 h 451"/>
                <a:gd name="T72" fmla="*/ 465 w 570"/>
                <a:gd name="T73" fmla="*/ 105 h 451"/>
                <a:gd name="T74" fmla="*/ 489 w 570"/>
                <a:gd name="T75" fmla="*/ 133 h 451"/>
                <a:gd name="T76" fmla="*/ 509 w 570"/>
                <a:gd name="T77" fmla="*/ 164 h 451"/>
                <a:gd name="T78" fmla="*/ 524 w 570"/>
                <a:gd name="T79" fmla="*/ 198 h 451"/>
                <a:gd name="T80" fmla="*/ 535 w 570"/>
                <a:gd name="T81" fmla="*/ 234 h 451"/>
                <a:gd name="T82" fmla="*/ 539 w 570"/>
                <a:gd name="T83" fmla="*/ 272 h 451"/>
                <a:gd name="T84" fmla="*/ 537 w 570"/>
                <a:gd name="T85" fmla="*/ 323 h 451"/>
                <a:gd name="T86" fmla="*/ 523 w 570"/>
                <a:gd name="T87" fmla="*/ 378 h 451"/>
                <a:gd name="T88" fmla="*/ 496 w 570"/>
                <a:gd name="T89" fmla="*/ 427 h 451"/>
                <a:gd name="T90" fmla="*/ 494 w 570"/>
                <a:gd name="T91" fmla="*/ 435 h 451"/>
                <a:gd name="T92" fmla="*/ 496 w 570"/>
                <a:gd name="T93" fmla="*/ 444 h 451"/>
                <a:gd name="T94" fmla="*/ 504 w 570"/>
                <a:gd name="T95" fmla="*/ 449 h 451"/>
                <a:gd name="T96" fmla="*/ 512 w 570"/>
                <a:gd name="T97" fmla="*/ 450 h 451"/>
                <a:gd name="T98" fmla="*/ 520 w 570"/>
                <a:gd name="T99" fmla="*/ 446 h 451"/>
                <a:gd name="T100" fmla="*/ 542 w 570"/>
                <a:gd name="T101" fmla="*/ 407 h 451"/>
                <a:gd name="T102" fmla="*/ 563 w 570"/>
                <a:gd name="T103" fmla="*/ 348 h 451"/>
                <a:gd name="T104" fmla="*/ 570 w 570"/>
                <a:gd name="T105" fmla="*/ 286 h 451"/>
                <a:gd name="T106" fmla="*/ 567 w 570"/>
                <a:gd name="T107" fmla="*/ 242 h 451"/>
                <a:gd name="T108" fmla="*/ 557 w 570"/>
                <a:gd name="T109" fmla="*/ 201 h 451"/>
                <a:gd name="T110" fmla="*/ 541 w 570"/>
                <a:gd name="T111" fmla="*/ 161 h 451"/>
                <a:gd name="T112" fmla="*/ 521 w 570"/>
                <a:gd name="T113" fmla="*/ 126 h 451"/>
                <a:gd name="T114" fmla="*/ 496 w 570"/>
                <a:gd name="T115" fmla="*/ 94 h 451"/>
                <a:gd name="T116" fmla="*/ 466 w 570"/>
                <a:gd name="T117" fmla="*/ 65 h 451"/>
                <a:gd name="T118" fmla="*/ 433 w 570"/>
                <a:gd name="T119" fmla="*/ 42 h 451"/>
                <a:gd name="T120" fmla="*/ 396 w 570"/>
                <a:gd name="T121" fmla="*/ 22 h 451"/>
                <a:gd name="T122" fmla="*/ 356 w 570"/>
                <a:gd name="T123" fmla="*/ 10 h 451"/>
                <a:gd name="T124" fmla="*/ 314 w 570"/>
                <a:gd name="T125" fmla="*/ 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51">
                  <a:moveTo>
                    <a:pt x="286" y="0"/>
                  </a:moveTo>
                  <a:lnTo>
                    <a:pt x="271" y="1"/>
                  </a:lnTo>
                  <a:lnTo>
                    <a:pt x="256" y="2"/>
                  </a:lnTo>
                  <a:lnTo>
                    <a:pt x="242" y="4"/>
                  </a:lnTo>
                  <a:lnTo>
                    <a:pt x="228" y="6"/>
                  </a:lnTo>
                  <a:lnTo>
                    <a:pt x="214" y="10"/>
                  </a:lnTo>
                  <a:lnTo>
                    <a:pt x="200" y="13"/>
                  </a:lnTo>
                  <a:lnTo>
                    <a:pt x="187" y="18"/>
                  </a:lnTo>
                  <a:lnTo>
                    <a:pt x="174" y="22"/>
                  </a:lnTo>
                  <a:lnTo>
                    <a:pt x="162" y="29"/>
                  </a:lnTo>
                  <a:lnTo>
                    <a:pt x="150" y="35"/>
                  </a:lnTo>
                  <a:lnTo>
                    <a:pt x="138" y="42"/>
                  </a:lnTo>
                  <a:lnTo>
                    <a:pt x="126" y="49"/>
                  </a:lnTo>
                  <a:lnTo>
                    <a:pt x="114" y="57"/>
                  </a:lnTo>
                  <a:lnTo>
                    <a:pt x="104" y="65"/>
                  </a:lnTo>
                  <a:lnTo>
                    <a:pt x="94" y="75"/>
                  </a:lnTo>
                  <a:lnTo>
                    <a:pt x="83" y="84"/>
                  </a:lnTo>
                  <a:lnTo>
                    <a:pt x="75" y="94"/>
                  </a:lnTo>
                  <a:lnTo>
                    <a:pt x="65" y="104"/>
                  </a:lnTo>
                  <a:lnTo>
                    <a:pt x="57" y="114"/>
                  </a:lnTo>
                  <a:lnTo>
                    <a:pt x="49" y="126"/>
                  </a:lnTo>
                  <a:lnTo>
                    <a:pt x="42" y="138"/>
                  </a:lnTo>
                  <a:lnTo>
                    <a:pt x="35" y="150"/>
                  </a:lnTo>
                  <a:lnTo>
                    <a:pt x="29" y="161"/>
                  </a:lnTo>
                  <a:lnTo>
                    <a:pt x="22" y="174"/>
                  </a:lnTo>
                  <a:lnTo>
                    <a:pt x="18" y="187"/>
                  </a:lnTo>
                  <a:lnTo>
                    <a:pt x="13" y="201"/>
                  </a:lnTo>
                  <a:lnTo>
                    <a:pt x="10" y="214"/>
                  </a:lnTo>
                  <a:lnTo>
                    <a:pt x="6" y="228"/>
                  </a:lnTo>
                  <a:lnTo>
                    <a:pt x="3" y="242"/>
                  </a:lnTo>
                  <a:lnTo>
                    <a:pt x="2" y="256"/>
                  </a:lnTo>
                  <a:lnTo>
                    <a:pt x="1" y="271"/>
                  </a:lnTo>
                  <a:lnTo>
                    <a:pt x="0" y="286"/>
                  </a:lnTo>
                  <a:lnTo>
                    <a:pt x="1" y="307"/>
                  </a:lnTo>
                  <a:lnTo>
                    <a:pt x="3" y="327"/>
                  </a:lnTo>
                  <a:lnTo>
                    <a:pt x="7" y="349"/>
                  </a:lnTo>
                  <a:lnTo>
                    <a:pt x="13" y="369"/>
                  </a:lnTo>
                  <a:lnTo>
                    <a:pt x="19" y="388"/>
                  </a:lnTo>
                  <a:lnTo>
                    <a:pt x="28" y="407"/>
                  </a:lnTo>
                  <a:lnTo>
                    <a:pt x="37" y="427"/>
                  </a:lnTo>
                  <a:lnTo>
                    <a:pt x="49" y="444"/>
                  </a:lnTo>
                  <a:lnTo>
                    <a:pt x="51" y="447"/>
                  </a:lnTo>
                  <a:lnTo>
                    <a:pt x="55" y="449"/>
                  </a:lnTo>
                  <a:lnTo>
                    <a:pt x="58" y="450"/>
                  </a:lnTo>
                  <a:lnTo>
                    <a:pt x="61" y="451"/>
                  </a:lnTo>
                  <a:lnTo>
                    <a:pt x="66" y="450"/>
                  </a:lnTo>
                  <a:lnTo>
                    <a:pt x="70" y="448"/>
                  </a:lnTo>
                  <a:lnTo>
                    <a:pt x="72" y="446"/>
                  </a:lnTo>
                  <a:lnTo>
                    <a:pt x="74" y="444"/>
                  </a:lnTo>
                  <a:lnTo>
                    <a:pt x="75" y="442"/>
                  </a:lnTo>
                  <a:lnTo>
                    <a:pt x="76" y="438"/>
                  </a:lnTo>
                  <a:lnTo>
                    <a:pt x="76" y="436"/>
                  </a:lnTo>
                  <a:lnTo>
                    <a:pt x="76" y="433"/>
                  </a:lnTo>
                  <a:lnTo>
                    <a:pt x="75" y="430"/>
                  </a:lnTo>
                  <a:lnTo>
                    <a:pt x="74" y="428"/>
                  </a:lnTo>
                  <a:lnTo>
                    <a:pt x="64" y="412"/>
                  </a:lnTo>
                  <a:lnTo>
                    <a:pt x="55" y="395"/>
                  </a:lnTo>
                  <a:lnTo>
                    <a:pt x="48" y="378"/>
                  </a:lnTo>
                  <a:lnTo>
                    <a:pt x="42" y="359"/>
                  </a:lnTo>
                  <a:lnTo>
                    <a:pt x="36" y="341"/>
                  </a:lnTo>
                  <a:lnTo>
                    <a:pt x="33" y="323"/>
                  </a:lnTo>
                  <a:lnTo>
                    <a:pt x="31" y="304"/>
                  </a:lnTo>
                  <a:lnTo>
                    <a:pt x="30" y="286"/>
                  </a:lnTo>
                  <a:lnTo>
                    <a:pt x="31" y="272"/>
                  </a:lnTo>
                  <a:lnTo>
                    <a:pt x="32" y="259"/>
                  </a:lnTo>
                  <a:lnTo>
                    <a:pt x="33" y="246"/>
                  </a:lnTo>
                  <a:lnTo>
                    <a:pt x="35" y="234"/>
                  </a:lnTo>
                  <a:lnTo>
                    <a:pt x="39" y="221"/>
                  </a:lnTo>
                  <a:lnTo>
                    <a:pt x="42" y="210"/>
                  </a:lnTo>
                  <a:lnTo>
                    <a:pt x="46" y="198"/>
                  </a:lnTo>
                  <a:lnTo>
                    <a:pt x="50" y="186"/>
                  </a:lnTo>
                  <a:lnTo>
                    <a:pt x="56" y="174"/>
                  </a:lnTo>
                  <a:lnTo>
                    <a:pt x="61" y="164"/>
                  </a:lnTo>
                  <a:lnTo>
                    <a:pt x="67" y="153"/>
                  </a:lnTo>
                  <a:lnTo>
                    <a:pt x="74" y="143"/>
                  </a:lnTo>
                  <a:lnTo>
                    <a:pt x="81" y="133"/>
                  </a:lnTo>
                  <a:lnTo>
                    <a:pt x="89" y="123"/>
                  </a:lnTo>
                  <a:lnTo>
                    <a:pt x="96" y="114"/>
                  </a:lnTo>
                  <a:lnTo>
                    <a:pt x="105" y="105"/>
                  </a:lnTo>
                  <a:lnTo>
                    <a:pt x="114" y="96"/>
                  </a:lnTo>
                  <a:lnTo>
                    <a:pt x="123" y="89"/>
                  </a:lnTo>
                  <a:lnTo>
                    <a:pt x="133" y="81"/>
                  </a:lnTo>
                  <a:lnTo>
                    <a:pt x="142" y="74"/>
                  </a:lnTo>
                  <a:lnTo>
                    <a:pt x="153" y="67"/>
                  </a:lnTo>
                  <a:lnTo>
                    <a:pt x="164" y="61"/>
                  </a:lnTo>
                  <a:lnTo>
                    <a:pt x="174" y="56"/>
                  </a:lnTo>
                  <a:lnTo>
                    <a:pt x="186" y="50"/>
                  </a:lnTo>
                  <a:lnTo>
                    <a:pt x="198" y="46"/>
                  </a:lnTo>
                  <a:lnTo>
                    <a:pt x="210" y="42"/>
                  </a:lnTo>
                  <a:lnTo>
                    <a:pt x="221" y="38"/>
                  </a:lnTo>
                  <a:lnTo>
                    <a:pt x="234" y="35"/>
                  </a:lnTo>
                  <a:lnTo>
                    <a:pt x="246" y="33"/>
                  </a:lnTo>
                  <a:lnTo>
                    <a:pt x="259" y="32"/>
                  </a:lnTo>
                  <a:lnTo>
                    <a:pt x="272" y="31"/>
                  </a:lnTo>
                  <a:lnTo>
                    <a:pt x="286" y="30"/>
                  </a:lnTo>
                  <a:lnTo>
                    <a:pt x="298" y="31"/>
                  </a:lnTo>
                  <a:lnTo>
                    <a:pt x="311" y="32"/>
                  </a:lnTo>
                  <a:lnTo>
                    <a:pt x="324" y="33"/>
                  </a:lnTo>
                  <a:lnTo>
                    <a:pt x="336" y="35"/>
                  </a:lnTo>
                  <a:lnTo>
                    <a:pt x="349" y="38"/>
                  </a:lnTo>
                  <a:lnTo>
                    <a:pt x="360" y="42"/>
                  </a:lnTo>
                  <a:lnTo>
                    <a:pt x="372" y="46"/>
                  </a:lnTo>
                  <a:lnTo>
                    <a:pt x="384" y="50"/>
                  </a:lnTo>
                  <a:lnTo>
                    <a:pt x="396" y="56"/>
                  </a:lnTo>
                  <a:lnTo>
                    <a:pt x="406" y="61"/>
                  </a:lnTo>
                  <a:lnTo>
                    <a:pt x="417" y="67"/>
                  </a:lnTo>
                  <a:lnTo>
                    <a:pt x="428" y="74"/>
                  </a:lnTo>
                  <a:lnTo>
                    <a:pt x="438" y="81"/>
                  </a:lnTo>
                  <a:lnTo>
                    <a:pt x="447" y="89"/>
                  </a:lnTo>
                  <a:lnTo>
                    <a:pt x="457" y="96"/>
                  </a:lnTo>
                  <a:lnTo>
                    <a:pt x="465" y="105"/>
                  </a:lnTo>
                  <a:lnTo>
                    <a:pt x="474" y="114"/>
                  </a:lnTo>
                  <a:lnTo>
                    <a:pt x="481" y="123"/>
                  </a:lnTo>
                  <a:lnTo>
                    <a:pt x="489" y="133"/>
                  </a:lnTo>
                  <a:lnTo>
                    <a:pt x="496" y="143"/>
                  </a:lnTo>
                  <a:lnTo>
                    <a:pt x="503" y="153"/>
                  </a:lnTo>
                  <a:lnTo>
                    <a:pt x="509" y="164"/>
                  </a:lnTo>
                  <a:lnTo>
                    <a:pt x="515" y="174"/>
                  </a:lnTo>
                  <a:lnTo>
                    <a:pt x="520" y="186"/>
                  </a:lnTo>
                  <a:lnTo>
                    <a:pt x="524" y="198"/>
                  </a:lnTo>
                  <a:lnTo>
                    <a:pt x="528" y="210"/>
                  </a:lnTo>
                  <a:lnTo>
                    <a:pt x="532" y="221"/>
                  </a:lnTo>
                  <a:lnTo>
                    <a:pt x="535" y="234"/>
                  </a:lnTo>
                  <a:lnTo>
                    <a:pt x="537" y="246"/>
                  </a:lnTo>
                  <a:lnTo>
                    <a:pt x="538" y="259"/>
                  </a:lnTo>
                  <a:lnTo>
                    <a:pt x="539" y="272"/>
                  </a:lnTo>
                  <a:lnTo>
                    <a:pt x="540" y="286"/>
                  </a:lnTo>
                  <a:lnTo>
                    <a:pt x="539" y="304"/>
                  </a:lnTo>
                  <a:lnTo>
                    <a:pt x="537" y="323"/>
                  </a:lnTo>
                  <a:lnTo>
                    <a:pt x="534" y="341"/>
                  </a:lnTo>
                  <a:lnTo>
                    <a:pt x="528" y="359"/>
                  </a:lnTo>
                  <a:lnTo>
                    <a:pt x="523" y="378"/>
                  </a:lnTo>
                  <a:lnTo>
                    <a:pt x="516" y="395"/>
                  </a:lnTo>
                  <a:lnTo>
                    <a:pt x="507" y="411"/>
                  </a:lnTo>
                  <a:lnTo>
                    <a:pt x="496" y="427"/>
                  </a:lnTo>
                  <a:lnTo>
                    <a:pt x="495" y="430"/>
                  </a:lnTo>
                  <a:lnTo>
                    <a:pt x="494" y="432"/>
                  </a:lnTo>
                  <a:lnTo>
                    <a:pt x="494" y="435"/>
                  </a:lnTo>
                  <a:lnTo>
                    <a:pt x="494" y="438"/>
                  </a:lnTo>
                  <a:lnTo>
                    <a:pt x="495" y="441"/>
                  </a:lnTo>
                  <a:lnTo>
                    <a:pt x="496" y="444"/>
                  </a:lnTo>
                  <a:lnTo>
                    <a:pt x="498" y="446"/>
                  </a:lnTo>
                  <a:lnTo>
                    <a:pt x="501" y="448"/>
                  </a:lnTo>
                  <a:lnTo>
                    <a:pt x="504" y="449"/>
                  </a:lnTo>
                  <a:lnTo>
                    <a:pt x="506" y="450"/>
                  </a:lnTo>
                  <a:lnTo>
                    <a:pt x="509" y="450"/>
                  </a:lnTo>
                  <a:lnTo>
                    <a:pt x="512" y="450"/>
                  </a:lnTo>
                  <a:lnTo>
                    <a:pt x="515" y="449"/>
                  </a:lnTo>
                  <a:lnTo>
                    <a:pt x="518" y="448"/>
                  </a:lnTo>
                  <a:lnTo>
                    <a:pt x="520" y="446"/>
                  </a:lnTo>
                  <a:lnTo>
                    <a:pt x="522" y="444"/>
                  </a:lnTo>
                  <a:lnTo>
                    <a:pt x="533" y="426"/>
                  </a:lnTo>
                  <a:lnTo>
                    <a:pt x="542" y="407"/>
                  </a:lnTo>
                  <a:lnTo>
                    <a:pt x="551" y="388"/>
                  </a:lnTo>
                  <a:lnTo>
                    <a:pt x="557" y="368"/>
                  </a:lnTo>
                  <a:lnTo>
                    <a:pt x="563" y="348"/>
                  </a:lnTo>
                  <a:lnTo>
                    <a:pt x="567" y="327"/>
                  </a:lnTo>
                  <a:lnTo>
                    <a:pt x="569" y="306"/>
                  </a:lnTo>
                  <a:lnTo>
                    <a:pt x="570" y="286"/>
                  </a:lnTo>
                  <a:lnTo>
                    <a:pt x="569" y="271"/>
                  </a:lnTo>
                  <a:lnTo>
                    <a:pt x="568" y="256"/>
                  </a:lnTo>
                  <a:lnTo>
                    <a:pt x="567" y="242"/>
                  </a:lnTo>
                  <a:lnTo>
                    <a:pt x="564" y="228"/>
                  </a:lnTo>
                  <a:lnTo>
                    <a:pt x="561" y="214"/>
                  </a:lnTo>
                  <a:lnTo>
                    <a:pt x="557" y="201"/>
                  </a:lnTo>
                  <a:lnTo>
                    <a:pt x="553" y="187"/>
                  </a:lnTo>
                  <a:lnTo>
                    <a:pt x="548" y="174"/>
                  </a:lnTo>
                  <a:lnTo>
                    <a:pt x="541" y="161"/>
                  </a:lnTo>
                  <a:lnTo>
                    <a:pt x="536" y="150"/>
                  </a:lnTo>
                  <a:lnTo>
                    <a:pt x="528" y="138"/>
                  </a:lnTo>
                  <a:lnTo>
                    <a:pt x="521" y="126"/>
                  </a:lnTo>
                  <a:lnTo>
                    <a:pt x="513" y="114"/>
                  </a:lnTo>
                  <a:lnTo>
                    <a:pt x="505" y="104"/>
                  </a:lnTo>
                  <a:lnTo>
                    <a:pt x="496" y="94"/>
                  </a:lnTo>
                  <a:lnTo>
                    <a:pt x="487" y="83"/>
                  </a:lnTo>
                  <a:lnTo>
                    <a:pt x="476" y="75"/>
                  </a:lnTo>
                  <a:lnTo>
                    <a:pt x="466" y="65"/>
                  </a:lnTo>
                  <a:lnTo>
                    <a:pt x="456" y="57"/>
                  </a:lnTo>
                  <a:lnTo>
                    <a:pt x="444" y="49"/>
                  </a:lnTo>
                  <a:lnTo>
                    <a:pt x="433" y="42"/>
                  </a:lnTo>
                  <a:lnTo>
                    <a:pt x="420" y="35"/>
                  </a:lnTo>
                  <a:lnTo>
                    <a:pt x="409" y="29"/>
                  </a:lnTo>
                  <a:lnTo>
                    <a:pt x="396" y="22"/>
                  </a:lnTo>
                  <a:lnTo>
                    <a:pt x="383" y="18"/>
                  </a:lnTo>
                  <a:lnTo>
                    <a:pt x="370" y="13"/>
                  </a:lnTo>
                  <a:lnTo>
                    <a:pt x="356" y="10"/>
                  </a:lnTo>
                  <a:lnTo>
                    <a:pt x="342" y="6"/>
                  </a:lnTo>
                  <a:lnTo>
                    <a:pt x="328" y="4"/>
                  </a:lnTo>
                  <a:lnTo>
                    <a:pt x="314" y="2"/>
                  </a:lnTo>
                  <a:lnTo>
                    <a:pt x="300" y="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184">
              <a:extLst>
                <a:ext uri="{FF2B5EF4-FFF2-40B4-BE49-F238E27FC236}">
                  <a16:creationId xmlns:a16="http://schemas.microsoft.com/office/drawing/2014/main" id="{B1BB302D-7BB9-49F3-9B53-4A02A1F95C9D}"/>
                </a:ext>
              </a:extLst>
            </p:cNvPr>
            <p:cNvSpPr>
              <a:spLocks/>
            </p:cNvSpPr>
            <p:nvPr/>
          </p:nvSpPr>
          <p:spPr bwMode="auto">
            <a:xfrm>
              <a:off x="4989513" y="4287838"/>
              <a:ext cx="85725" cy="55563"/>
            </a:xfrm>
            <a:custGeom>
              <a:avLst/>
              <a:gdLst>
                <a:gd name="T0" fmla="*/ 249 w 270"/>
                <a:gd name="T1" fmla="*/ 179 h 179"/>
                <a:gd name="T2" fmla="*/ 256 w 270"/>
                <a:gd name="T3" fmla="*/ 178 h 179"/>
                <a:gd name="T4" fmla="*/ 264 w 270"/>
                <a:gd name="T5" fmla="*/ 173 h 179"/>
                <a:gd name="T6" fmla="*/ 267 w 270"/>
                <a:gd name="T7" fmla="*/ 160 h 179"/>
                <a:gd name="T8" fmla="*/ 269 w 270"/>
                <a:gd name="T9" fmla="*/ 143 h 179"/>
                <a:gd name="T10" fmla="*/ 269 w 270"/>
                <a:gd name="T11" fmla="*/ 121 h 179"/>
                <a:gd name="T12" fmla="*/ 264 w 270"/>
                <a:gd name="T13" fmla="*/ 94 h 179"/>
                <a:gd name="T14" fmla="*/ 253 w 270"/>
                <a:gd name="T15" fmla="*/ 70 h 179"/>
                <a:gd name="T16" fmla="*/ 239 w 270"/>
                <a:gd name="T17" fmla="*/ 49 h 179"/>
                <a:gd name="T18" fmla="*/ 221 w 270"/>
                <a:gd name="T19" fmla="*/ 30 h 179"/>
                <a:gd name="T20" fmla="*/ 200 w 270"/>
                <a:gd name="T21" fmla="*/ 16 h 179"/>
                <a:gd name="T22" fmla="*/ 175 w 270"/>
                <a:gd name="T23" fmla="*/ 5 h 179"/>
                <a:gd name="T24" fmla="*/ 148 w 270"/>
                <a:gd name="T25" fmla="*/ 0 h 179"/>
                <a:gd name="T26" fmla="*/ 122 w 270"/>
                <a:gd name="T27" fmla="*/ 0 h 179"/>
                <a:gd name="T28" fmla="*/ 95 w 270"/>
                <a:gd name="T29" fmla="*/ 5 h 179"/>
                <a:gd name="T30" fmla="*/ 71 w 270"/>
                <a:gd name="T31" fmla="*/ 16 h 179"/>
                <a:gd name="T32" fmla="*/ 49 w 270"/>
                <a:gd name="T33" fmla="*/ 30 h 179"/>
                <a:gd name="T34" fmla="*/ 31 w 270"/>
                <a:gd name="T35" fmla="*/ 49 h 179"/>
                <a:gd name="T36" fmla="*/ 17 w 270"/>
                <a:gd name="T37" fmla="*/ 70 h 179"/>
                <a:gd name="T38" fmla="*/ 6 w 270"/>
                <a:gd name="T39" fmla="*/ 94 h 179"/>
                <a:gd name="T40" fmla="*/ 1 w 270"/>
                <a:gd name="T41" fmla="*/ 121 h 179"/>
                <a:gd name="T42" fmla="*/ 1 w 270"/>
                <a:gd name="T43" fmla="*/ 151 h 179"/>
                <a:gd name="T44" fmla="*/ 5 w 270"/>
                <a:gd name="T45" fmla="*/ 169 h 179"/>
                <a:gd name="T46" fmla="*/ 8 w 270"/>
                <a:gd name="T47" fmla="*/ 174 h 179"/>
                <a:gd name="T48" fmla="*/ 14 w 270"/>
                <a:gd name="T49" fmla="*/ 176 h 179"/>
                <a:gd name="T50" fmla="*/ 19 w 270"/>
                <a:gd name="T51" fmla="*/ 177 h 179"/>
                <a:gd name="T52" fmla="*/ 25 w 270"/>
                <a:gd name="T53" fmla="*/ 176 h 179"/>
                <a:gd name="T54" fmla="*/ 30 w 270"/>
                <a:gd name="T55" fmla="*/ 173 h 179"/>
                <a:gd name="T56" fmla="*/ 33 w 270"/>
                <a:gd name="T57" fmla="*/ 168 h 179"/>
                <a:gd name="T58" fmla="*/ 34 w 270"/>
                <a:gd name="T59" fmla="*/ 162 h 179"/>
                <a:gd name="T60" fmla="*/ 31 w 270"/>
                <a:gd name="T61" fmla="*/ 146 h 179"/>
                <a:gd name="T62" fmla="*/ 31 w 270"/>
                <a:gd name="T63" fmla="*/ 124 h 179"/>
                <a:gd name="T64" fmla="*/ 35 w 270"/>
                <a:gd name="T65" fmla="*/ 104 h 179"/>
                <a:gd name="T66" fmla="*/ 43 w 270"/>
                <a:gd name="T67" fmla="*/ 84 h 179"/>
                <a:gd name="T68" fmla="*/ 54 w 270"/>
                <a:gd name="T69" fmla="*/ 67 h 179"/>
                <a:gd name="T70" fmla="*/ 68 w 270"/>
                <a:gd name="T71" fmla="*/ 53 h 179"/>
                <a:gd name="T72" fmla="*/ 85 w 270"/>
                <a:gd name="T73" fmla="*/ 41 h 179"/>
                <a:gd name="T74" fmla="*/ 104 w 270"/>
                <a:gd name="T75" fmla="*/ 34 h 179"/>
                <a:gd name="T76" fmla="*/ 125 w 270"/>
                <a:gd name="T77" fmla="*/ 30 h 179"/>
                <a:gd name="T78" fmla="*/ 146 w 270"/>
                <a:gd name="T79" fmla="*/ 30 h 179"/>
                <a:gd name="T80" fmla="*/ 167 w 270"/>
                <a:gd name="T81" fmla="*/ 34 h 179"/>
                <a:gd name="T82" fmla="*/ 185 w 270"/>
                <a:gd name="T83" fmla="*/ 41 h 179"/>
                <a:gd name="T84" fmla="*/ 202 w 270"/>
                <a:gd name="T85" fmla="*/ 53 h 179"/>
                <a:gd name="T86" fmla="*/ 216 w 270"/>
                <a:gd name="T87" fmla="*/ 67 h 179"/>
                <a:gd name="T88" fmla="*/ 228 w 270"/>
                <a:gd name="T89" fmla="*/ 84 h 179"/>
                <a:gd name="T90" fmla="*/ 235 w 270"/>
                <a:gd name="T91" fmla="*/ 104 h 179"/>
                <a:gd name="T92" fmla="*/ 239 w 270"/>
                <a:gd name="T93" fmla="*/ 124 h 179"/>
                <a:gd name="T94" fmla="*/ 239 w 270"/>
                <a:gd name="T95" fmla="*/ 147 h 179"/>
                <a:gd name="T96" fmla="*/ 236 w 270"/>
                <a:gd name="T97" fmla="*/ 163 h 179"/>
                <a:gd name="T98" fmla="*/ 237 w 270"/>
                <a:gd name="T99" fmla="*/ 170 h 179"/>
                <a:gd name="T100" fmla="*/ 240 w 270"/>
                <a:gd name="T101" fmla="*/ 174 h 179"/>
                <a:gd name="T102" fmla="*/ 245 w 270"/>
                <a:gd name="T103" fmla="*/ 1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0" h="179">
                  <a:moveTo>
                    <a:pt x="247" y="178"/>
                  </a:moveTo>
                  <a:lnTo>
                    <a:pt x="249" y="179"/>
                  </a:lnTo>
                  <a:lnTo>
                    <a:pt x="251" y="179"/>
                  </a:lnTo>
                  <a:lnTo>
                    <a:pt x="256" y="178"/>
                  </a:lnTo>
                  <a:lnTo>
                    <a:pt x="261" y="176"/>
                  </a:lnTo>
                  <a:lnTo>
                    <a:pt x="264" y="173"/>
                  </a:lnTo>
                  <a:lnTo>
                    <a:pt x="266" y="168"/>
                  </a:lnTo>
                  <a:lnTo>
                    <a:pt x="267" y="160"/>
                  </a:lnTo>
                  <a:lnTo>
                    <a:pt x="269" y="152"/>
                  </a:lnTo>
                  <a:lnTo>
                    <a:pt x="269" y="143"/>
                  </a:lnTo>
                  <a:lnTo>
                    <a:pt x="270" y="135"/>
                  </a:lnTo>
                  <a:lnTo>
                    <a:pt x="269" y="121"/>
                  </a:lnTo>
                  <a:lnTo>
                    <a:pt x="267" y="107"/>
                  </a:lnTo>
                  <a:lnTo>
                    <a:pt x="264" y="94"/>
                  </a:lnTo>
                  <a:lnTo>
                    <a:pt x="260" y="82"/>
                  </a:lnTo>
                  <a:lnTo>
                    <a:pt x="253" y="70"/>
                  </a:lnTo>
                  <a:lnTo>
                    <a:pt x="247" y="59"/>
                  </a:lnTo>
                  <a:lnTo>
                    <a:pt x="239" y="49"/>
                  </a:lnTo>
                  <a:lnTo>
                    <a:pt x="231" y="39"/>
                  </a:lnTo>
                  <a:lnTo>
                    <a:pt x="221" y="30"/>
                  </a:lnTo>
                  <a:lnTo>
                    <a:pt x="210" y="22"/>
                  </a:lnTo>
                  <a:lnTo>
                    <a:pt x="200" y="16"/>
                  </a:lnTo>
                  <a:lnTo>
                    <a:pt x="188" y="9"/>
                  </a:lnTo>
                  <a:lnTo>
                    <a:pt x="175" y="5"/>
                  </a:lnTo>
                  <a:lnTo>
                    <a:pt x="162" y="2"/>
                  </a:lnTo>
                  <a:lnTo>
                    <a:pt x="148" y="0"/>
                  </a:lnTo>
                  <a:lnTo>
                    <a:pt x="136" y="0"/>
                  </a:lnTo>
                  <a:lnTo>
                    <a:pt x="122" y="0"/>
                  </a:lnTo>
                  <a:lnTo>
                    <a:pt x="108" y="2"/>
                  </a:lnTo>
                  <a:lnTo>
                    <a:pt x="95" y="5"/>
                  </a:lnTo>
                  <a:lnTo>
                    <a:pt x="83" y="9"/>
                  </a:lnTo>
                  <a:lnTo>
                    <a:pt x="71" y="16"/>
                  </a:lnTo>
                  <a:lnTo>
                    <a:pt x="60" y="22"/>
                  </a:lnTo>
                  <a:lnTo>
                    <a:pt x="49" y="30"/>
                  </a:lnTo>
                  <a:lnTo>
                    <a:pt x="39" y="39"/>
                  </a:lnTo>
                  <a:lnTo>
                    <a:pt x="31" y="49"/>
                  </a:lnTo>
                  <a:lnTo>
                    <a:pt x="23" y="59"/>
                  </a:lnTo>
                  <a:lnTo>
                    <a:pt x="17" y="70"/>
                  </a:lnTo>
                  <a:lnTo>
                    <a:pt x="10" y="82"/>
                  </a:lnTo>
                  <a:lnTo>
                    <a:pt x="6" y="94"/>
                  </a:lnTo>
                  <a:lnTo>
                    <a:pt x="3" y="107"/>
                  </a:lnTo>
                  <a:lnTo>
                    <a:pt x="1" y="121"/>
                  </a:lnTo>
                  <a:lnTo>
                    <a:pt x="0" y="135"/>
                  </a:lnTo>
                  <a:lnTo>
                    <a:pt x="1" y="151"/>
                  </a:lnTo>
                  <a:lnTo>
                    <a:pt x="4" y="167"/>
                  </a:lnTo>
                  <a:lnTo>
                    <a:pt x="5" y="169"/>
                  </a:lnTo>
                  <a:lnTo>
                    <a:pt x="6" y="172"/>
                  </a:lnTo>
                  <a:lnTo>
                    <a:pt x="8" y="174"/>
                  </a:lnTo>
                  <a:lnTo>
                    <a:pt x="10" y="175"/>
                  </a:lnTo>
                  <a:lnTo>
                    <a:pt x="14" y="176"/>
                  </a:lnTo>
                  <a:lnTo>
                    <a:pt x="16" y="177"/>
                  </a:lnTo>
                  <a:lnTo>
                    <a:pt x="19" y="177"/>
                  </a:lnTo>
                  <a:lnTo>
                    <a:pt x="22" y="177"/>
                  </a:lnTo>
                  <a:lnTo>
                    <a:pt x="25" y="176"/>
                  </a:lnTo>
                  <a:lnTo>
                    <a:pt x="28" y="174"/>
                  </a:lnTo>
                  <a:lnTo>
                    <a:pt x="30" y="173"/>
                  </a:lnTo>
                  <a:lnTo>
                    <a:pt x="32" y="171"/>
                  </a:lnTo>
                  <a:lnTo>
                    <a:pt x="33" y="168"/>
                  </a:lnTo>
                  <a:lnTo>
                    <a:pt x="34" y="164"/>
                  </a:lnTo>
                  <a:lnTo>
                    <a:pt x="34" y="162"/>
                  </a:lnTo>
                  <a:lnTo>
                    <a:pt x="33" y="159"/>
                  </a:lnTo>
                  <a:lnTo>
                    <a:pt x="31" y="146"/>
                  </a:lnTo>
                  <a:lnTo>
                    <a:pt x="30" y="135"/>
                  </a:lnTo>
                  <a:lnTo>
                    <a:pt x="31" y="124"/>
                  </a:lnTo>
                  <a:lnTo>
                    <a:pt x="32" y="113"/>
                  </a:lnTo>
                  <a:lnTo>
                    <a:pt x="35" y="104"/>
                  </a:lnTo>
                  <a:lnTo>
                    <a:pt x="38" y="93"/>
                  </a:lnTo>
                  <a:lnTo>
                    <a:pt x="43" y="84"/>
                  </a:lnTo>
                  <a:lnTo>
                    <a:pt x="48" y="76"/>
                  </a:lnTo>
                  <a:lnTo>
                    <a:pt x="54" y="67"/>
                  </a:lnTo>
                  <a:lnTo>
                    <a:pt x="61" y="60"/>
                  </a:lnTo>
                  <a:lnTo>
                    <a:pt x="68" y="53"/>
                  </a:lnTo>
                  <a:lnTo>
                    <a:pt x="77" y="47"/>
                  </a:lnTo>
                  <a:lnTo>
                    <a:pt x="85" y="41"/>
                  </a:lnTo>
                  <a:lnTo>
                    <a:pt x="94" y="37"/>
                  </a:lnTo>
                  <a:lnTo>
                    <a:pt x="104" y="34"/>
                  </a:lnTo>
                  <a:lnTo>
                    <a:pt x="114" y="32"/>
                  </a:lnTo>
                  <a:lnTo>
                    <a:pt x="125" y="30"/>
                  </a:lnTo>
                  <a:lnTo>
                    <a:pt x="136" y="30"/>
                  </a:lnTo>
                  <a:lnTo>
                    <a:pt x="146" y="30"/>
                  </a:lnTo>
                  <a:lnTo>
                    <a:pt x="156" y="32"/>
                  </a:lnTo>
                  <a:lnTo>
                    <a:pt x="167" y="34"/>
                  </a:lnTo>
                  <a:lnTo>
                    <a:pt x="176" y="37"/>
                  </a:lnTo>
                  <a:lnTo>
                    <a:pt x="185" y="41"/>
                  </a:lnTo>
                  <a:lnTo>
                    <a:pt x="193" y="47"/>
                  </a:lnTo>
                  <a:lnTo>
                    <a:pt x="202" y="53"/>
                  </a:lnTo>
                  <a:lnTo>
                    <a:pt x="209" y="60"/>
                  </a:lnTo>
                  <a:lnTo>
                    <a:pt x="216" y="67"/>
                  </a:lnTo>
                  <a:lnTo>
                    <a:pt x="222" y="76"/>
                  </a:lnTo>
                  <a:lnTo>
                    <a:pt x="228" y="84"/>
                  </a:lnTo>
                  <a:lnTo>
                    <a:pt x="232" y="94"/>
                  </a:lnTo>
                  <a:lnTo>
                    <a:pt x="235" y="104"/>
                  </a:lnTo>
                  <a:lnTo>
                    <a:pt x="238" y="113"/>
                  </a:lnTo>
                  <a:lnTo>
                    <a:pt x="239" y="124"/>
                  </a:lnTo>
                  <a:lnTo>
                    <a:pt x="240" y="135"/>
                  </a:lnTo>
                  <a:lnTo>
                    <a:pt x="239" y="147"/>
                  </a:lnTo>
                  <a:lnTo>
                    <a:pt x="236" y="160"/>
                  </a:lnTo>
                  <a:lnTo>
                    <a:pt x="236" y="163"/>
                  </a:lnTo>
                  <a:lnTo>
                    <a:pt x="236" y="167"/>
                  </a:lnTo>
                  <a:lnTo>
                    <a:pt x="237" y="170"/>
                  </a:lnTo>
                  <a:lnTo>
                    <a:pt x="238" y="172"/>
                  </a:lnTo>
                  <a:lnTo>
                    <a:pt x="240" y="174"/>
                  </a:lnTo>
                  <a:lnTo>
                    <a:pt x="243" y="176"/>
                  </a:lnTo>
                  <a:lnTo>
                    <a:pt x="245" y="178"/>
                  </a:lnTo>
                  <a:lnTo>
                    <a:pt x="247" y="1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132">
            <a:extLst>
              <a:ext uri="{FF2B5EF4-FFF2-40B4-BE49-F238E27FC236}">
                <a16:creationId xmlns:a16="http://schemas.microsoft.com/office/drawing/2014/main" id="{38F220BB-A999-4141-8680-1F2CC24BFCFC}"/>
              </a:ext>
            </a:extLst>
          </p:cNvPr>
          <p:cNvSpPr>
            <a:spLocks noChangeAspect="1" noEditPoints="1"/>
          </p:cNvSpPr>
          <p:nvPr/>
        </p:nvSpPr>
        <p:spPr bwMode="auto">
          <a:xfrm>
            <a:off x="5796687" y="4879041"/>
            <a:ext cx="276152" cy="285619"/>
          </a:xfrm>
          <a:custGeom>
            <a:avLst/>
            <a:gdLst>
              <a:gd name="T0" fmla="*/ 710 w 873"/>
              <a:gd name="T1" fmla="*/ 846 h 903"/>
              <a:gd name="T2" fmla="*/ 696 w 873"/>
              <a:gd name="T3" fmla="*/ 776 h 903"/>
              <a:gd name="T4" fmla="*/ 745 w 873"/>
              <a:gd name="T5" fmla="*/ 726 h 903"/>
              <a:gd name="T6" fmla="*/ 815 w 873"/>
              <a:gd name="T7" fmla="*/ 740 h 903"/>
              <a:gd name="T8" fmla="*/ 843 w 873"/>
              <a:gd name="T9" fmla="*/ 806 h 903"/>
              <a:gd name="T10" fmla="*/ 803 w 873"/>
              <a:gd name="T11" fmla="*/ 865 h 903"/>
              <a:gd name="T12" fmla="*/ 506 w 873"/>
              <a:gd name="T13" fmla="*/ 827 h 903"/>
              <a:gd name="T14" fmla="*/ 452 w 873"/>
              <a:gd name="T15" fmla="*/ 872 h 903"/>
              <a:gd name="T16" fmla="*/ 383 w 873"/>
              <a:gd name="T17" fmla="*/ 852 h 903"/>
              <a:gd name="T18" fmla="*/ 363 w 873"/>
              <a:gd name="T19" fmla="*/ 783 h 903"/>
              <a:gd name="T20" fmla="*/ 408 w 873"/>
              <a:gd name="T21" fmla="*/ 729 h 903"/>
              <a:gd name="T22" fmla="*/ 478 w 873"/>
              <a:gd name="T23" fmla="*/ 736 h 903"/>
              <a:gd name="T24" fmla="*/ 512 w 873"/>
              <a:gd name="T25" fmla="*/ 798 h 903"/>
              <a:gd name="T26" fmla="*/ 153 w 873"/>
              <a:gd name="T27" fmla="*/ 856 h 903"/>
              <a:gd name="T28" fmla="*/ 83 w 873"/>
              <a:gd name="T29" fmla="*/ 870 h 903"/>
              <a:gd name="T30" fmla="*/ 33 w 873"/>
              <a:gd name="T31" fmla="*/ 821 h 903"/>
              <a:gd name="T32" fmla="*/ 47 w 873"/>
              <a:gd name="T33" fmla="*/ 751 h 903"/>
              <a:gd name="T34" fmla="*/ 113 w 873"/>
              <a:gd name="T35" fmla="*/ 723 h 903"/>
              <a:gd name="T36" fmla="*/ 172 w 873"/>
              <a:gd name="T37" fmla="*/ 763 h 903"/>
              <a:gd name="T38" fmla="*/ 367 w 873"/>
              <a:gd name="T39" fmla="*/ 76 h 903"/>
              <a:gd name="T40" fmla="*/ 421 w 873"/>
              <a:gd name="T41" fmla="*/ 32 h 903"/>
              <a:gd name="T42" fmla="*/ 490 w 873"/>
              <a:gd name="T43" fmla="*/ 53 h 903"/>
              <a:gd name="T44" fmla="*/ 511 w 873"/>
              <a:gd name="T45" fmla="*/ 121 h 903"/>
              <a:gd name="T46" fmla="*/ 465 w 873"/>
              <a:gd name="T47" fmla="*/ 175 h 903"/>
              <a:gd name="T48" fmla="*/ 395 w 873"/>
              <a:gd name="T49" fmla="*/ 169 h 903"/>
              <a:gd name="T50" fmla="*/ 361 w 873"/>
              <a:gd name="T51" fmla="*/ 106 h 903"/>
              <a:gd name="T52" fmla="*/ 715 w 873"/>
              <a:gd name="T53" fmla="*/ 547 h 903"/>
              <a:gd name="T54" fmla="*/ 607 w 873"/>
              <a:gd name="T55" fmla="*/ 490 h 903"/>
              <a:gd name="T56" fmla="*/ 479 w 873"/>
              <a:gd name="T57" fmla="*/ 202 h 903"/>
              <a:gd name="T58" fmla="*/ 538 w 873"/>
              <a:gd name="T59" fmla="*/ 134 h 903"/>
              <a:gd name="T60" fmla="*/ 518 w 873"/>
              <a:gd name="T61" fmla="*/ 39 h 903"/>
              <a:gd name="T62" fmla="*/ 426 w 873"/>
              <a:gd name="T63" fmla="*/ 1 h 903"/>
              <a:gd name="T64" fmla="*/ 344 w 873"/>
              <a:gd name="T65" fmla="*/ 56 h 903"/>
              <a:gd name="T66" fmla="*/ 342 w 873"/>
              <a:gd name="T67" fmla="*/ 152 h 903"/>
              <a:gd name="T68" fmla="*/ 412 w 873"/>
              <a:gd name="T69" fmla="*/ 208 h 903"/>
              <a:gd name="T70" fmla="*/ 180 w 873"/>
              <a:gd name="T71" fmla="*/ 529 h 903"/>
              <a:gd name="T72" fmla="*/ 95 w 873"/>
              <a:gd name="T73" fmla="*/ 661 h 903"/>
              <a:gd name="T74" fmla="*/ 32 w 873"/>
              <a:gd name="T75" fmla="*/ 722 h 903"/>
              <a:gd name="T76" fmla="*/ 1 w 873"/>
              <a:gd name="T77" fmla="*/ 809 h 903"/>
              <a:gd name="T78" fmla="*/ 55 w 873"/>
              <a:gd name="T79" fmla="*/ 891 h 903"/>
              <a:gd name="T80" fmla="*/ 156 w 873"/>
              <a:gd name="T81" fmla="*/ 891 h 903"/>
              <a:gd name="T82" fmla="*/ 210 w 873"/>
              <a:gd name="T83" fmla="*/ 809 h 903"/>
              <a:gd name="T84" fmla="*/ 179 w 873"/>
              <a:gd name="T85" fmla="*/ 723 h 903"/>
              <a:gd name="T86" fmla="*/ 133 w 873"/>
              <a:gd name="T87" fmla="*/ 637 h 903"/>
              <a:gd name="T88" fmla="*/ 268 w 873"/>
              <a:gd name="T89" fmla="*/ 520 h 903"/>
              <a:gd name="T90" fmla="*/ 378 w 873"/>
              <a:gd name="T91" fmla="*/ 711 h 903"/>
              <a:gd name="T92" fmla="*/ 331 w 873"/>
              <a:gd name="T93" fmla="*/ 788 h 903"/>
              <a:gd name="T94" fmla="*/ 370 w 873"/>
              <a:gd name="T95" fmla="*/ 880 h 903"/>
              <a:gd name="T96" fmla="*/ 468 w 873"/>
              <a:gd name="T97" fmla="*/ 899 h 903"/>
              <a:gd name="T98" fmla="*/ 537 w 873"/>
              <a:gd name="T99" fmla="*/ 829 h 903"/>
              <a:gd name="T100" fmla="*/ 521 w 873"/>
              <a:gd name="T101" fmla="*/ 736 h 903"/>
              <a:gd name="T102" fmla="*/ 452 w 873"/>
              <a:gd name="T103" fmla="*/ 513 h 903"/>
              <a:gd name="T104" fmla="*/ 640 w 873"/>
              <a:gd name="T105" fmla="*/ 533 h 903"/>
              <a:gd name="T106" fmla="*/ 731 w 873"/>
              <a:gd name="T107" fmla="*/ 617 h 903"/>
              <a:gd name="T108" fmla="*/ 709 w 873"/>
              <a:gd name="T109" fmla="*/ 711 h 903"/>
              <a:gd name="T110" fmla="*/ 663 w 873"/>
              <a:gd name="T111" fmla="*/ 788 h 903"/>
              <a:gd name="T112" fmla="*/ 700 w 873"/>
              <a:gd name="T113" fmla="*/ 880 h 903"/>
              <a:gd name="T114" fmla="*/ 799 w 873"/>
              <a:gd name="T115" fmla="*/ 899 h 903"/>
              <a:gd name="T116" fmla="*/ 869 w 873"/>
              <a:gd name="T117" fmla="*/ 829 h 903"/>
              <a:gd name="T118" fmla="*/ 853 w 873"/>
              <a:gd name="T119" fmla="*/ 73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3" h="903">
                <a:moveTo>
                  <a:pt x="768" y="873"/>
                </a:moveTo>
                <a:lnTo>
                  <a:pt x="760" y="873"/>
                </a:lnTo>
                <a:lnTo>
                  <a:pt x="753" y="872"/>
                </a:lnTo>
                <a:lnTo>
                  <a:pt x="745" y="870"/>
                </a:lnTo>
                <a:lnTo>
                  <a:pt x="738" y="868"/>
                </a:lnTo>
                <a:lnTo>
                  <a:pt x="731" y="865"/>
                </a:lnTo>
                <a:lnTo>
                  <a:pt x="726" y="860"/>
                </a:lnTo>
                <a:lnTo>
                  <a:pt x="720" y="856"/>
                </a:lnTo>
                <a:lnTo>
                  <a:pt x="714" y="852"/>
                </a:lnTo>
                <a:lnTo>
                  <a:pt x="710" y="846"/>
                </a:lnTo>
                <a:lnTo>
                  <a:pt x="706" y="840"/>
                </a:lnTo>
                <a:lnTo>
                  <a:pt x="701" y="835"/>
                </a:lnTo>
                <a:lnTo>
                  <a:pt x="698" y="827"/>
                </a:lnTo>
                <a:lnTo>
                  <a:pt x="696" y="821"/>
                </a:lnTo>
                <a:lnTo>
                  <a:pt x="694" y="813"/>
                </a:lnTo>
                <a:lnTo>
                  <a:pt x="693" y="806"/>
                </a:lnTo>
                <a:lnTo>
                  <a:pt x="693" y="798"/>
                </a:lnTo>
                <a:lnTo>
                  <a:pt x="693" y="791"/>
                </a:lnTo>
                <a:lnTo>
                  <a:pt x="694" y="783"/>
                </a:lnTo>
                <a:lnTo>
                  <a:pt x="696" y="776"/>
                </a:lnTo>
                <a:lnTo>
                  <a:pt x="698" y="769"/>
                </a:lnTo>
                <a:lnTo>
                  <a:pt x="701" y="763"/>
                </a:lnTo>
                <a:lnTo>
                  <a:pt x="706" y="756"/>
                </a:lnTo>
                <a:lnTo>
                  <a:pt x="710" y="751"/>
                </a:lnTo>
                <a:lnTo>
                  <a:pt x="714" y="745"/>
                </a:lnTo>
                <a:lnTo>
                  <a:pt x="720" y="740"/>
                </a:lnTo>
                <a:lnTo>
                  <a:pt x="726" y="736"/>
                </a:lnTo>
                <a:lnTo>
                  <a:pt x="731" y="733"/>
                </a:lnTo>
                <a:lnTo>
                  <a:pt x="738" y="729"/>
                </a:lnTo>
                <a:lnTo>
                  <a:pt x="745" y="726"/>
                </a:lnTo>
                <a:lnTo>
                  <a:pt x="753" y="724"/>
                </a:lnTo>
                <a:lnTo>
                  <a:pt x="760" y="723"/>
                </a:lnTo>
                <a:lnTo>
                  <a:pt x="768" y="723"/>
                </a:lnTo>
                <a:lnTo>
                  <a:pt x="775" y="723"/>
                </a:lnTo>
                <a:lnTo>
                  <a:pt x="783" y="724"/>
                </a:lnTo>
                <a:lnTo>
                  <a:pt x="790" y="726"/>
                </a:lnTo>
                <a:lnTo>
                  <a:pt x="797" y="729"/>
                </a:lnTo>
                <a:lnTo>
                  <a:pt x="803" y="733"/>
                </a:lnTo>
                <a:lnTo>
                  <a:pt x="810" y="736"/>
                </a:lnTo>
                <a:lnTo>
                  <a:pt x="815" y="740"/>
                </a:lnTo>
                <a:lnTo>
                  <a:pt x="820" y="745"/>
                </a:lnTo>
                <a:lnTo>
                  <a:pt x="826" y="751"/>
                </a:lnTo>
                <a:lnTo>
                  <a:pt x="830" y="756"/>
                </a:lnTo>
                <a:lnTo>
                  <a:pt x="833" y="763"/>
                </a:lnTo>
                <a:lnTo>
                  <a:pt x="837" y="769"/>
                </a:lnTo>
                <a:lnTo>
                  <a:pt x="840" y="776"/>
                </a:lnTo>
                <a:lnTo>
                  <a:pt x="842" y="783"/>
                </a:lnTo>
                <a:lnTo>
                  <a:pt x="843" y="791"/>
                </a:lnTo>
                <a:lnTo>
                  <a:pt x="843" y="798"/>
                </a:lnTo>
                <a:lnTo>
                  <a:pt x="843" y="806"/>
                </a:lnTo>
                <a:lnTo>
                  <a:pt x="842" y="813"/>
                </a:lnTo>
                <a:lnTo>
                  <a:pt x="840" y="821"/>
                </a:lnTo>
                <a:lnTo>
                  <a:pt x="837" y="827"/>
                </a:lnTo>
                <a:lnTo>
                  <a:pt x="833" y="835"/>
                </a:lnTo>
                <a:lnTo>
                  <a:pt x="830" y="840"/>
                </a:lnTo>
                <a:lnTo>
                  <a:pt x="826" y="846"/>
                </a:lnTo>
                <a:lnTo>
                  <a:pt x="820" y="852"/>
                </a:lnTo>
                <a:lnTo>
                  <a:pt x="815" y="856"/>
                </a:lnTo>
                <a:lnTo>
                  <a:pt x="810" y="860"/>
                </a:lnTo>
                <a:lnTo>
                  <a:pt x="803" y="865"/>
                </a:lnTo>
                <a:lnTo>
                  <a:pt x="797" y="868"/>
                </a:lnTo>
                <a:lnTo>
                  <a:pt x="790" y="870"/>
                </a:lnTo>
                <a:lnTo>
                  <a:pt x="783" y="872"/>
                </a:lnTo>
                <a:lnTo>
                  <a:pt x="775" y="873"/>
                </a:lnTo>
                <a:lnTo>
                  <a:pt x="768" y="873"/>
                </a:lnTo>
                <a:close/>
                <a:moveTo>
                  <a:pt x="512" y="798"/>
                </a:moveTo>
                <a:lnTo>
                  <a:pt x="512" y="806"/>
                </a:lnTo>
                <a:lnTo>
                  <a:pt x="511" y="813"/>
                </a:lnTo>
                <a:lnTo>
                  <a:pt x="508" y="821"/>
                </a:lnTo>
                <a:lnTo>
                  <a:pt x="506" y="827"/>
                </a:lnTo>
                <a:lnTo>
                  <a:pt x="503" y="835"/>
                </a:lnTo>
                <a:lnTo>
                  <a:pt x="499" y="840"/>
                </a:lnTo>
                <a:lnTo>
                  <a:pt x="494" y="846"/>
                </a:lnTo>
                <a:lnTo>
                  <a:pt x="490" y="852"/>
                </a:lnTo>
                <a:lnTo>
                  <a:pt x="485" y="856"/>
                </a:lnTo>
                <a:lnTo>
                  <a:pt x="478" y="860"/>
                </a:lnTo>
                <a:lnTo>
                  <a:pt x="472" y="865"/>
                </a:lnTo>
                <a:lnTo>
                  <a:pt x="465" y="868"/>
                </a:lnTo>
                <a:lnTo>
                  <a:pt x="459" y="870"/>
                </a:lnTo>
                <a:lnTo>
                  <a:pt x="452" y="872"/>
                </a:lnTo>
                <a:lnTo>
                  <a:pt x="444" y="873"/>
                </a:lnTo>
                <a:lnTo>
                  <a:pt x="437" y="873"/>
                </a:lnTo>
                <a:lnTo>
                  <a:pt x="429" y="873"/>
                </a:lnTo>
                <a:lnTo>
                  <a:pt x="421" y="872"/>
                </a:lnTo>
                <a:lnTo>
                  <a:pt x="414" y="870"/>
                </a:lnTo>
                <a:lnTo>
                  <a:pt x="408" y="868"/>
                </a:lnTo>
                <a:lnTo>
                  <a:pt x="401" y="865"/>
                </a:lnTo>
                <a:lnTo>
                  <a:pt x="395" y="860"/>
                </a:lnTo>
                <a:lnTo>
                  <a:pt x="388" y="856"/>
                </a:lnTo>
                <a:lnTo>
                  <a:pt x="383" y="852"/>
                </a:lnTo>
                <a:lnTo>
                  <a:pt x="379" y="846"/>
                </a:lnTo>
                <a:lnTo>
                  <a:pt x="374" y="840"/>
                </a:lnTo>
                <a:lnTo>
                  <a:pt x="370" y="835"/>
                </a:lnTo>
                <a:lnTo>
                  <a:pt x="367" y="827"/>
                </a:lnTo>
                <a:lnTo>
                  <a:pt x="365" y="821"/>
                </a:lnTo>
                <a:lnTo>
                  <a:pt x="363" y="813"/>
                </a:lnTo>
                <a:lnTo>
                  <a:pt x="361" y="806"/>
                </a:lnTo>
                <a:lnTo>
                  <a:pt x="361" y="798"/>
                </a:lnTo>
                <a:lnTo>
                  <a:pt x="361" y="791"/>
                </a:lnTo>
                <a:lnTo>
                  <a:pt x="363" y="783"/>
                </a:lnTo>
                <a:lnTo>
                  <a:pt x="365" y="776"/>
                </a:lnTo>
                <a:lnTo>
                  <a:pt x="367" y="769"/>
                </a:lnTo>
                <a:lnTo>
                  <a:pt x="370" y="763"/>
                </a:lnTo>
                <a:lnTo>
                  <a:pt x="374" y="756"/>
                </a:lnTo>
                <a:lnTo>
                  <a:pt x="379" y="751"/>
                </a:lnTo>
                <a:lnTo>
                  <a:pt x="383" y="745"/>
                </a:lnTo>
                <a:lnTo>
                  <a:pt x="388" y="740"/>
                </a:lnTo>
                <a:lnTo>
                  <a:pt x="395" y="736"/>
                </a:lnTo>
                <a:lnTo>
                  <a:pt x="401" y="733"/>
                </a:lnTo>
                <a:lnTo>
                  <a:pt x="408" y="729"/>
                </a:lnTo>
                <a:lnTo>
                  <a:pt x="414" y="726"/>
                </a:lnTo>
                <a:lnTo>
                  <a:pt x="421" y="724"/>
                </a:lnTo>
                <a:lnTo>
                  <a:pt x="429" y="723"/>
                </a:lnTo>
                <a:lnTo>
                  <a:pt x="437" y="723"/>
                </a:lnTo>
                <a:lnTo>
                  <a:pt x="444" y="723"/>
                </a:lnTo>
                <a:lnTo>
                  <a:pt x="452" y="724"/>
                </a:lnTo>
                <a:lnTo>
                  <a:pt x="459" y="726"/>
                </a:lnTo>
                <a:lnTo>
                  <a:pt x="465" y="729"/>
                </a:lnTo>
                <a:lnTo>
                  <a:pt x="472" y="733"/>
                </a:lnTo>
                <a:lnTo>
                  <a:pt x="478" y="736"/>
                </a:lnTo>
                <a:lnTo>
                  <a:pt x="485" y="740"/>
                </a:lnTo>
                <a:lnTo>
                  <a:pt x="490" y="745"/>
                </a:lnTo>
                <a:lnTo>
                  <a:pt x="494" y="751"/>
                </a:lnTo>
                <a:lnTo>
                  <a:pt x="499" y="756"/>
                </a:lnTo>
                <a:lnTo>
                  <a:pt x="503" y="763"/>
                </a:lnTo>
                <a:lnTo>
                  <a:pt x="506" y="769"/>
                </a:lnTo>
                <a:lnTo>
                  <a:pt x="508" y="776"/>
                </a:lnTo>
                <a:lnTo>
                  <a:pt x="511" y="783"/>
                </a:lnTo>
                <a:lnTo>
                  <a:pt x="512" y="791"/>
                </a:lnTo>
                <a:lnTo>
                  <a:pt x="512" y="798"/>
                </a:lnTo>
                <a:close/>
                <a:moveTo>
                  <a:pt x="180" y="798"/>
                </a:moveTo>
                <a:lnTo>
                  <a:pt x="180" y="806"/>
                </a:lnTo>
                <a:lnTo>
                  <a:pt x="179" y="813"/>
                </a:lnTo>
                <a:lnTo>
                  <a:pt x="177" y="821"/>
                </a:lnTo>
                <a:lnTo>
                  <a:pt x="175" y="827"/>
                </a:lnTo>
                <a:lnTo>
                  <a:pt x="172" y="835"/>
                </a:lnTo>
                <a:lnTo>
                  <a:pt x="167" y="840"/>
                </a:lnTo>
                <a:lnTo>
                  <a:pt x="163" y="846"/>
                </a:lnTo>
                <a:lnTo>
                  <a:pt x="159" y="852"/>
                </a:lnTo>
                <a:lnTo>
                  <a:pt x="153" y="856"/>
                </a:lnTo>
                <a:lnTo>
                  <a:pt x="147" y="860"/>
                </a:lnTo>
                <a:lnTo>
                  <a:pt x="142" y="865"/>
                </a:lnTo>
                <a:lnTo>
                  <a:pt x="135" y="868"/>
                </a:lnTo>
                <a:lnTo>
                  <a:pt x="128" y="870"/>
                </a:lnTo>
                <a:lnTo>
                  <a:pt x="120" y="872"/>
                </a:lnTo>
                <a:lnTo>
                  <a:pt x="113" y="873"/>
                </a:lnTo>
                <a:lnTo>
                  <a:pt x="105" y="873"/>
                </a:lnTo>
                <a:lnTo>
                  <a:pt x="98" y="873"/>
                </a:lnTo>
                <a:lnTo>
                  <a:pt x="90" y="872"/>
                </a:lnTo>
                <a:lnTo>
                  <a:pt x="83" y="870"/>
                </a:lnTo>
                <a:lnTo>
                  <a:pt x="76" y="868"/>
                </a:lnTo>
                <a:lnTo>
                  <a:pt x="70" y="865"/>
                </a:lnTo>
                <a:lnTo>
                  <a:pt x="63" y="860"/>
                </a:lnTo>
                <a:lnTo>
                  <a:pt x="58" y="856"/>
                </a:lnTo>
                <a:lnTo>
                  <a:pt x="53" y="852"/>
                </a:lnTo>
                <a:lnTo>
                  <a:pt x="47" y="846"/>
                </a:lnTo>
                <a:lnTo>
                  <a:pt x="43" y="840"/>
                </a:lnTo>
                <a:lnTo>
                  <a:pt x="40" y="835"/>
                </a:lnTo>
                <a:lnTo>
                  <a:pt x="36" y="827"/>
                </a:lnTo>
                <a:lnTo>
                  <a:pt x="33" y="821"/>
                </a:lnTo>
                <a:lnTo>
                  <a:pt x="32" y="813"/>
                </a:lnTo>
                <a:lnTo>
                  <a:pt x="30" y="806"/>
                </a:lnTo>
                <a:lnTo>
                  <a:pt x="30" y="798"/>
                </a:lnTo>
                <a:lnTo>
                  <a:pt x="30" y="791"/>
                </a:lnTo>
                <a:lnTo>
                  <a:pt x="32" y="783"/>
                </a:lnTo>
                <a:lnTo>
                  <a:pt x="33" y="776"/>
                </a:lnTo>
                <a:lnTo>
                  <a:pt x="36" y="769"/>
                </a:lnTo>
                <a:lnTo>
                  <a:pt x="40" y="763"/>
                </a:lnTo>
                <a:lnTo>
                  <a:pt x="43" y="756"/>
                </a:lnTo>
                <a:lnTo>
                  <a:pt x="47" y="751"/>
                </a:lnTo>
                <a:lnTo>
                  <a:pt x="53" y="745"/>
                </a:lnTo>
                <a:lnTo>
                  <a:pt x="58" y="740"/>
                </a:lnTo>
                <a:lnTo>
                  <a:pt x="63" y="736"/>
                </a:lnTo>
                <a:lnTo>
                  <a:pt x="70" y="733"/>
                </a:lnTo>
                <a:lnTo>
                  <a:pt x="76" y="729"/>
                </a:lnTo>
                <a:lnTo>
                  <a:pt x="83" y="726"/>
                </a:lnTo>
                <a:lnTo>
                  <a:pt x="90" y="724"/>
                </a:lnTo>
                <a:lnTo>
                  <a:pt x="98" y="723"/>
                </a:lnTo>
                <a:lnTo>
                  <a:pt x="105" y="723"/>
                </a:lnTo>
                <a:lnTo>
                  <a:pt x="113" y="723"/>
                </a:lnTo>
                <a:lnTo>
                  <a:pt x="120" y="724"/>
                </a:lnTo>
                <a:lnTo>
                  <a:pt x="128" y="726"/>
                </a:lnTo>
                <a:lnTo>
                  <a:pt x="135" y="729"/>
                </a:lnTo>
                <a:lnTo>
                  <a:pt x="142" y="733"/>
                </a:lnTo>
                <a:lnTo>
                  <a:pt x="147" y="736"/>
                </a:lnTo>
                <a:lnTo>
                  <a:pt x="153" y="740"/>
                </a:lnTo>
                <a:lnTo>
                  <a:pt x="159" y="745"/>
                </a:lnTo>
                <a:lnTo>
                  <a:pt x="163" y="751"/>
                </a:lnTo>
                <a:lnTo>
                  <a:pt x="167" y="756"/>
                </a:lnTo>
                <a:lnTo>
                  <a:pt x="172" y="763"/>
                </a:lnTo>
                <a:lnTo>
                  <a:pt x="175" y="769"/>
                </a:lnTo>
                <a:lnTo>
                  <a:pt x="177" y="776"/>
                </a:lnTo>
                <a:lnTo>
                  <a:pt x="179" y="783"/>
                </a:lnTo>
                <a:lnTo>
                  <a:pt x="180" y="791"/>
                </a:lnTo>
                <a:lnTo>
                  <a:pt x="180" y="798"/>
                </a:lnTo>
                <a:close/>
                <a:moveTo>
                  <a:pt x="361" y="106"/>
                </a:moveTo>
                <a:lnTo>
                  <a:pt x="361" y="98"/>
                </a:lnTo>
                <a:lnTo>
                  <a:pt x="363" y="90"/>
                </a:lnTo>
                <a:lnTo>
                  <a:pt x="365" y="84"/>
                </a:lnTo>
                <a:lnTo>
                  <a:pt x="367" y="76"/>
                </a:lnTo>
                <a:lnTo>
                  <a:pt x="370" y="70"/>
                </a:lnTo>
                <a:lnTo>
                  <a:pt x="374" y="63"/>
                </a:lnTo>
                <a:lnTo>
                  <a:pt x="379" y="58"/>
                </a:lnTo>
                <a:lnTo>
                  <a:pt x="383" y="53"/>
                </a:lnTo>
                <a:lnTo>
                  <a:pt x="388" y="47"/>
                </a:lnTo>
                <a:lnTo>
                  <a:pt x="395" y="43"/>
                </a:lnTo>
                <a:lnTo>
                  <a:pt x="401" y="40"/>
                </a:lnTo>
                <a:lnTo>
                  <a:pt x="408" y="37"/>
                </a:lnTo>
                <a:lnTo>
                  <a:pt x="414" y="35"/>
                </a:lnTo>
                <a:lnTo>
                  <a:pt x="421" y="32"/>
                </a:lnTo>
                <a:lnTo>
                  <a:pt x="429" y="31"/>
                </a:lnTo>
                <a:lnTo>
                  <a:pt x="437" y="30"/>
                </a:lnTo>
                <a:lnTo>
                  <a:pt x="444" y="31"/>
                </a:lnTo>
                <a:lnTo>
                  <a:pt x="452" y="32"/>
                </a:lnTo>
                <a:lnTo>
                  <a:pt x="459" y="35"/>
                </a:lnTo>
                <a:lnTo>
                  <a:pt x="465" y="37"/>
                </a:lnTo>
                <a:lnTo>
                  <a:pt x="472" y="40"/>
                </a:lnTo>
                <a:lnTo>
                  <a:pt x="478" y="43"/>
                </a:lnTo>
                <a:lnTo>
                  <a:pt x="485" y="47"/>
                </a:lnTo>
                <a:lnTo>
                  <a:pt x="490" y="53"/>
                </a:lnTo>
                <a:lnTo>
                  <a:pt x="494" y="58"/>
                </a:lnTo>
                <a:lnTo>
                  <a:pt x="499" y="63"/>
                </a:lnTo>
                <a:lnTo>
                  <a:pt x="503" y="70"/>
                </a:lnTo>
                <a:lnTo>
                  <a:pt x="506" y="76"/>
                </a:lnTo>
                <a:lnTo>
                  <a:pt x="508" y="84"/>
                </a:lnTo>
                <a:lnTo>
                  <a:pt x="511" y="90"/>
                </a:lnTo>
                <a:lnTo>
                  <a:pt x="512" y="98"/>
                </a:lnTo>
                <a:lnTo>
                  <a:pt x="512" y="106"/>
                </a:lnTo>
                <a:lnTo>
                  <a:pt x="512" y="114"/>
                </a:lnTo>
                <a:lnTo>
                  <a:pt x="511" y="121"/>
                </a:lnTo>
                <a:lnTo>
                  <a:pt x="508" y="128"/>
                </a:lnTo>
                <a:lnTo>
                  <a:pt x="506" y="135"/>
                </a:lnTo>
                <a:lnTo>
                  <a:pt x="503" y="142"/>
                </a:lnTo>
                <a:lnTo>
                  <a:pt x="499" y="148"/>
                </a:lnTo>
                <a:lnTo>
                  <a:pt x="494" y="154"/>
                </a:lnTo>
                <a:lnTo>
                  <a:pt x="490" y="159"/>
                </a:lnTo>
                <a:lnTo>
                  <a:pt x="485" y="164"/>
                </a:lnTo>
                <a:lnTo>
                  <a:pt x="478" y="169"/>
                </a:lnTo>
                <a:lnTo>
                  <a:pt x="472" y="172"/>
                </a:lnTo>
                <a:lnTo>
                  <a:pt x="465" y="175"/>
                </a:lnTo>
                <a:lnTo>
                  <a:pt x="459" y="178"/>
                </a:lnTo>
                <a:lnTo>
                  <a:pt x="452" y="179"/>
                </a:lnTo>
                <a:lnTo>
                  <a:pt x="444" y="180"/>
                </a:lnTo>
                <a:lnTo>
                  <a:pt x="437" y="181"/>
                </a:lnTo>
                <a:lnTo>
                  <a:pt x="429" y="180"/>
                </a:lnTo>
                <a:lnTo>
                  <a:pt x="421" y="179"/>
                </a:lnTo>
                <a:lnTo>
                  <a:pt x="414" y="178"/>
                </a:lnTo>
                <a:lnTo>
                  <a:pt x="408" y="175"/>
                </a:lnTo>
                <a:lnTo>
                  <a:pt x="401" y="172"/>
                </a:lnTo>
                <a:lnTo>
                  <a:pt x="395" y="169"/>
                </a:lnTo>
                <a:lnTo>
                  <a:pt x="388" y="164"/>
                </a:lnTo>
                <a:lnTo>
                  <a:pt x="383" y="159"/>
                </a:lnTo>
                <a:lnTo>
                  <a:pt x="379" y="154"/>
                </a:lnTo>
                <a:lnTo>
                  <a:pt x="374" y="148"/>
                </a:lnTo>
                <a:lnTo>
                  <a:pt x="370" y="142"/>
                </a:lnTo>
                <a:lnTo>
                  <a:pt x="367" y="135"/>
                </a:lnTo>
                <a:lnTo>
                  <a:pt x="365" y="128"/>
                </a:lnTo>
                <a:lnTo>
                  <a:pt x="363" y="121"/>
                </a:lnTo>
                <a:lnTo>
                  <a:pt x="361" y="114"/>
                </a:lnTo>
                <a:lnTo>
                  <a:pt x="361" y="106"/>
                </a:lnTo>
                <a:close/>
                <a:moveTo>
                  <a:pt x="783" y="694"/>
                </a:moveTo>
                <a:lnTo>
                  <a:pt x="781" y="675"/>
                </a:lnTo>
                <a:lnTo>
                  <a:pt x="778" y="656"/>
                </a:lnTo>
                <a:lnTo>
                  <a:pt x="773" y="638"/>
                </a:lnTo>
                <a:lnTo>
                  <a:pt x="767" y="620"/>
                </a:lnTo>
                <a:lnTo>
                  <a:pt x="758" y="603"/>
                </a:lnTo>
                <a:lnTo>
                  <a:pt x="749" y="587"/>
                </a:lnTo>
                <a:lnTo>
                  <a:pt x="737" y="571"/>
                </a:lnTo>
                <a:lnTo>
                  <a:pt x="724" y="556"/>
                </a:lnTo>
                <a:lnTo>
                  <a:pt x="715" y="547"/>
                </a:lnTo>
                <a:lnTo>
                  <a:pt x="706" y="540"/>
                </a:lnTo>
                <a:lnTo>
                  <a:pt x="696" y="531"/>
                </a:lnTo>
                <a:lnTo>
                  <a:pt x="686" y="525"/>
                </a:lnTo>
                <a:lnTo>
                  <a:pt x="676" y="518"/>
                </a:lnTo>
                <a:lnTo>
                  <a:pt x="665" y="512"/>
                </a:lnTo>
                <a:lnTo>
                  <a:pt x="654" y="506"/>
                </a:lnTo>
                <a:lnTo>
                  <a:pt x="642" y="501"/>
                </a:lnTo>
                <a:lnTo>
                  <a:pt x="631" y="497"/>
                </a:lnTo>
                <a:lnTo>
                  <a:pt x="619" y="493"/>
                </a:lnTo>
                <a:lnTo>
                  <a:pt x="607" y="490"/>
                </a:lnTo>
                <a:lnTo>
                  <a:pt x="594" y="487"/>
                </a:lnTo>
                <a:lnTo>
                  <a:pt x="581" y="485"/>
                </a:lnTo>
                <a:lnTo>
                  <a:pt x="568" y="484"/>
                </a:lnTo>
                <a:lnTo>
                  <a:pt x="556" y="483"/>
                </a:lnTo>
                <a:lnTo>
                  <a:pt x="542" y="483"/>
                </a:lnTo>
                <a:lnTo>
                  <a:pt x="452" y="482"/>
                </a:lnTo>
                <a:lnTo>
                  <a:pt x="452" y="210"/>
                </a:lnTo>
                <a:lnTo>
                  <a:pt x="461" y="208"/>
                </a:lnTo>
                <a:lnTo>
                  <a:pt x="470" y="206"/>
                </a:lnTo>
                <a:lnTo>
                  <a:pt x="479" y="202"/>
                </a:lnTo>
                <a:lnTo>
                  <a:pt x="487" y="199"/>
                </a:lnTo>
                <a:lnTo>
                  <a:pt x="495" y="193"/>
                </a:lnTo>
                <a:lnTo>
                  <a:pt x="503" y="188"/>
                </a:lnTo>
                <a:lnTo>
                  <a:pt x="509" y="181"/>
                </a:lnTo>
                <a:lnTo>
                  <a:pt x="516" y="175"/>
                </a:lnTo>
                <a:lnTo>
                  <a:pt x="521" y="168"/>
                </a:lnTo>
                <a:lnTo>
                  <a:pt x="527" y="160"/>
                </a:lnTo>
                <a:lnTo>
                  <a:pt x="531" y="152"/>
                </a:lnTo>
                <a:lnTo>
                  <a:pt x="535" y="144"/>
                </a:lnTo>
                <a:lnTo>
                  <a:pt x="538" y="134"/>
                </a:lnTo>
                <a:lnTo>
                  <a:pt x="541" y="126"/>
                </a:lnTo>
                <a:lnTo>
                  <a:pt x="542" y="116"/>
                </a:lnTo>
                <a:lnTo>
                  <a:pt x="542" y="106"/>
                </a:lnTo>
                <a:lnTo>
                  <a:pt x="542" y="96"/>
                </a:lnTo>
                <a:lnTo>
                  <a:pt x="539" y="85"/>
                </a:lnTo>
                <a:lnTo>
                  <a:pt x="537" y="74"/>
                </a:lnTo>
                <a:lnTo>
                  <a:pt x="534" y="65"/>
                </a:lnTo>
                <a:lnTo>
                  <a:pt x="529" y="56"/>
                </a:lnTo>
                <a:lnTo>
                  <a:pt x="523" y="47"/>
                </a:lnTo>
                <a:lnTo>
                  <a:pt x="518" y="39"/>
                </a:lnTo>
                <a:lnTo>
                  <a:pt x="511" y="31"/>
                </a:lnTo>
                <a:lnTo>
                  <a:pt x="503" y="25"/>
                </a:lnTo>
                <a:lnTo>
                  <a:pt x="495" y="18"/>
                </a:lnTo>
                <a:lnTo>
                  <a:pt x="487" y="13"/>
                </a:lnTo>
                <a:lnTo>
                  <a:pt x="477" y="9"/>
                </a:lnTo>
                <a:lnTo>
                  <a:pt x="468" y="6"/>
                </a:lnTo>
                <a:lnTo>
                  <a:pt x="458" y="2"/>
                </a:lnTo>
                <a:lnTo>
                  <a:pt x="447" y="1"/>
                </a:lnTo>
                <a:lnTo>
                  <a:pt x="437" y="0"/>
                </a:lnTo>
                <a:lnTo>
                  <a:pt x="426" y="1"/>
                </a:lnTo>
                <a:lnTo>
                  <a:pt x="415" y="2"/>
                </a:lnTo>
                <a:lnTo>
                  <a:pt x="405" y="6"/>
                </a:lnTo>
                <a:lnTo>
                  <a:pt x="396" y="9"/>
                </a:lnTo>
                <a:lnTo>
                  <a:pt x="386" y="13"/>
                </a:lnTo>
                <a:lnTo>
                  <a:pt x="378" y="18"/>
                </a:lnTo>
                <a:lnTo>
                  <a:pt x="370" y="25"/>
                </a:lnTo>
                <a:lnTo>
                  <a:pt x="363" y="31"/>
                </a:lnTo>
                <a:lnTo>
                  <a:pt x="355" y="39"/>
                </a:lnTo>
                <a:lnTo>
                  <a:pt x="350" y="47"/>
                </a:lnTo>
                <a:lnTo>
                  <a:pt x="344" y="56"/>
                </a:lnTo>
                <a:lnTo>
                  <a:pt x="340" y="65"/>
                </a:lnTo>
                <a:lnTo>
                  <a:pt x="336" y="74"/>
                </a:lnTo>
                <a:lnTo>
                  <a:pt x="334" y="85"/>
                </a:lnTo>
                <a:lnTo>
                  <a:pt x="331" y="96"/>
                </a:lnTo>
                <a:lnTo>
                  <a:pt x="331" y="106"/>
                </a:lnTo>
                <a:lnTo>
                  <a:pt x="331" y="116"/>
                </a:lnTo>
                <a:lnTo>
                  <a:pt x="332" y="126"/>
                </a:lnTo>
                <a:lnTo>
                  <a:pt x="335" y="134"/>
                </a:lnTo>
                <a:lnTo>
                  <a:pt x="338" y="144"/>
                </a:lnTo>
                <a:lnTo>
                  <a:pt x="342" y="152"/>
                </a:lnTo>
                <a:lnTo>
                  <a:pt x="346" y="160"/>
                </a:lnTo>
                <a:lnTo>
                  <a:pt x="352" y="168"/>
                </a:lnTo>
                <a:lnTo>
                  <a:pt x="357" y="175"/>
                </a:lnTo>
                <a:lnTo>
                  <a:pt x="364" y="181"/>
                </a:lnTo>
                <a:lnTo>
                  <a:pt x="370" y="188"/>
                </a:lnTo>
                <a:lnTo>
                  <a:pt x="378" y="193"/>
                </a:lnTo>
                <a:lnTo>
                  <a:pt x="386" y="199"/>
                </a:lnTo>
                <a:lnTo>
                  <a:pt x="395" y="202"/>
                </a:lnTo>
                <a:lnTo>
                  <a:pt x="403" y="206"/>
                </a:lnTo>
                <a:lnTo>
                  <a:pt x="412" y="208"/>
                </a:lnTo>
                <a:lnTo>
                  <a:pt x="421" y="210"/>
                </a:lnTo>
                <a:lnTo>
                  <a:pt x="421" y="482"/>
                </a:lnTo>
                <a:lnTo>
                  <a:pt x="331" y="482"/>
                </a:lnTo>
                <a:lnTo>
                  <a:pt x="307" y="483"/>
                </a:lnTo>
                <a:lnTo>
                  <a:pt x="282" y="486"/>
                </a:lnTo>
                <a:lnTo>
                  <a:pt x="260" y="491"/>
                </a:lnTo>
                <a:lnTo>
                  <a:pt x="238" y="498"/>
                </a:lnTo>
                <a:lnTo>
                  <a:pt x="218" y="506"/>
                </a:lnTo>
                <a:lnTo>
                  <a:pt x="198" y="517"/>
                </a:lnTo>
                <a:lnTo>
                  <a:pt x="180" y="529"/>
                </a:lnTo>
                <a:lnTo>
                  <a:pt x="163" y="542"/>
                </a:lnTo>
                <a:lnTo>
                  <a:pt x="148" y="557"/>
                </a:lnTo>
                <a:lnTo>
                  <a:pt x="134" y="573"/>
                </a:lnTo>
                <a:lnTo>
                  <a:pt x="122" y="590"/>
                </a:lnTo>
                <a:lnTo>
                  <a:pt x="113" y="609"/>
                </a:lnTo>
                <a:lnTo>
                  <a:pt x="108" y="619"/>
                </a:lnTo>
                <a:lnTo>
                  <a:pt x="104" y="629"/>
                </a:lnTo>
                <a:lnTo>
                  <a:pt x="101" y="639"/>
                </a:lnTo>
                <a:lnTo>
                  <a:pt x="98" y="649"/>
                </a:lnTo>
                <a:lnTo>
                  <a:pt x="95" y="661"/>
                </a:lnTo>
                <a:lnTo>
                  <a:pt x="93" y="672"/>
                </a:lnTo>
                <a:lnTo>
                  <a:pt x="92" y="682"/>
                </a:lnTo>
                <a:lnTo>
                  <a:pt x="91" y="694"/>
                </a:lnTo>
                <a:lnTo>
                  <a:pt x="82" y="696"/>
                </a:lnTo>
                <a:lnTo>
                  <a:pt x="72" y="698"/>
                </a:lnTo>
                <a:lnTo>
                  <a:pt x="63" y="702"/>
                </a:lnTo>
                <a:lnTo>
                  <a:pt x="55" y="706"/>
                </a:lnTo>
                <a:lnTo>
                  <a:pt x="47" y="710"/>
                </a:lnTo>
                <a:lnTo>
                  <a:pt x="40" y="717"/>
                </a:lnTo>
                <a:lnTo>
                  <a:pt x="32" y="722"/>
                </a:lnTo>
                <a:lnTo>
                  <a:pt x="26" y="728"/>
                </a:lnTo>
                <a:lnTo>
                  <a:pt x="20" y="736"/>
                </a:lnTo>
                <a:lnTo>
                  <a:pt x="15" y="743"/>
                </a:lnTo>
                <a:lnTo>
                  <a:pt x="11" y="752"/>
                </a:lnTo>
                <a:lnTo>
                  <a:pt x="8" y="761"/>
                </a:lnTo>
                <a:lnTo>
                  <a:pt x="4" y="769"/>
                </a:lnTo>
                <a:lnTo>
                  <a:pt x="2" y="779"/>
                </a:lnTo>
                <a:lnTo>
                  <a:pt x="0" y="788"/>
                </a:lnTo>
                <a:lnTo>
                  <a:pt x="0" y="798"/>
                </a:lnTo>
                <a:lnTo>
                  <a:pt x="1" y="809"/>
                </a:lnTo>
                <a:lnTo>
                  <a:pt x="2" y="819"/>
                </a:lnTo>
                <a:lnTo>
                  <a:pt x="4" y="829"/>
                </a:lnTo>
                <a:lnTo>
                  <a:pt x="9" y="839"/>
                </a:lnTo>
                <a:lnTo>
                  <a:pt x="13" y="848"/>
                </a:lnTo>
                <a:lnTo>
                  <a:pt x="18" y="857"/>
                </a:lnTo>
                <a:lnTo>
                  <a:pt x="24" y="866"/>
                </a:lnTo>
                <a:lnTo>
                  <a:pt x="31" y="873"/>
                </a:lnTo>
                <a:lnTo>
                  <a:pt x="39" y="880"/>
                </a:lnTo>
                <a:lnTo>
                  <a:pt x="46" y="886"/>
                </a:lnTo>
                <a:lnTo>
                  <a:pt x="55" y="891"/>
                </a:lnTo>
                <a:lnTo>
                  <a:pt x="64" y="896"/>
                </a:lnTo>
                <a:lnTo>
                  <a:pt x="74" y="899"/>
                </a:lnTo>
                <a:lnTo>
                  <a:pt x="84" y="901"/>
                </a:lnTo>
                <a:lnTo>
                  <a:pt x="94" y="903"/>
                </a:lnTo>
                <a:lnTo>
                  <a:pt x="105" y="903"/>
                </a:lnTo>
                <a:lnTo>
                  <a:pt x="116" y="903"/>
                </a:lnTo>
                <a:lnTo>
                  <a:pt x="127" y="901"/>
                </a:lnTo>
                <a:lnTo>
                  <a:pt x="136" y="899"/>
                </a:lnTo>
                <a:lnTo>
                  <a:pt x="146" y="896"/>
                </a:lnTo>
                <a:lnTo>
                  <a:pt x="156" y="891"/>
                </a:lnTo>
                <a:lnTo>
                  <a:pt x="164" y="886"/>
                </a:lnTo>
                <a:lnTo>
                  <a:pt x="173" y="880"/>
                </a:lnTo>
                <a:lnTo>
                  <a:pt x="180" y="873"/>
                </a:lnTo>
                <a:lnTo>
                  <a:pt x="187" y="866"/>
                </a:lnTo>
                <a:lnTo>
                  <a:pt x="193" y="857"/>
                </a:lnTo>
                <a:lnTo>
                  <a:pt x="198" y="848"/>
                </a:lnTo>
                <a:lnTo>
                  <a:pt x="203" y="839"/>
                </a:lnTo>
                <a:lnTo>
                  <a:pt x="206" y="829"/>
                </a:lnTo>
                <a:lnTo>
                  <a:pt x="208" y="819"/>
                </a:lnTo>
                <a:lnTo>
                  <a:pt x="210" y="809"/>
                </a:lnTo>
                <a:lnTo>
                  <a:pt x="210" y="798"/>
                </a:lnTo>
                <a:lnTo>
                  <a:pt x="210" y="788"/>
                </a:lnTo>
                <a:lnTo>
                  <a:pt x="209" y="779"/>
                </a:lnTo>
                <a:lnTo>
                  <a:pt x="207" y="770"/>
                </a:lnTo>
                <a:lnTo>
                  <a:pt x="204" y="761"/>
                </a:lnTo>
                <a:lnTo>
                  <a:pt x="201" y="752"/>
                </a:lnTo>
                <a:lnTo>
                  <a:pt x="196" y="744"/>
                </a:lnTo>
                <a:lnTo>
                  <a:pt x="191" y="737"/>
                </a:lnTo>
                <a:lnTo>
                  <a:pt x="184" y="729"/>
                </a:lnTo>
                <a:lnTo>
                  <a:pt x="179" y="723"/>
                </a:lnTo>
                <a:lnTo>
                  <a:pt x="172" y="717"/>
                </a:lnTo>
                <a:lnTo>
                  <a:pt x="164" y="711"/>
                </a:lnTo>
                <a:lnTo>
                  <a:pt x="157" y="706"/>
                </a:lnTo>
                <a:lnTo>
                  <a:pt x="148" y="703"/>
                </a:lnTo>
                <a:lnTo>
                  <a:pt x="139" y="698"/>
                </a:lnTo>
                <a:lnTo>
                  <a:pt x="131" y="696"/>
                </a:lnTo>
                <a:lnTo>
                  <a:pt x="121" y="694"/>
                </a:lnTo>
                <a:lnTo>
                  <a:pt x="123" y="675"/>
                </a:lnTo>
                <a:lnTo>
                  <a:pt x="128" y="655"/>
                </a:lnTo>
                <a:lnTo>
                  <a:pt x="133" y="637"/>
                </a:lnTo>
                <a:lnTo>
                  <a:pt x="140" y="620"/>
                </a:lnTo>
                <a:lnTo>
                  <a:pt x="149" y="604"/>
                </a:lnTo>
                <a:lnTo>
                  <a:pt x="159" y="589"/>
                </a:lnTo>
                <a:lnTo>
                  <a:pt x="171" y="575"/>
                </a:lnTo>
                <a:lnTo>
                  <a:pt x="184" y="563"/>
                </a:lnTo>
                <a:lnTo>
                  <a:pt x="198" y="551"/>
                </a:lnTo>
                <a:lnTo>
                  <a:pt x="215" y="542"/>
                </a:lnTo>
                <a:lnTo>
                  <a:pt x="231" y="533"/>
                </a:lnTo>
                <a:lnTo>
                  <a:pt x="249" y="526"/>
                </a:lnTo>
                <a:lnTo>
                  <a:pt x="268" y="520"/>
                </a:lnTo>
                <a:lnTo>
                  <a:pt x="289" y="516"/>
                </a:lnTo>
                <a:lnTo>
                  <a:pt x="309" y="513"/>
                </a:lnTo>
                <a:lnTo>
                  <a:pt x="331" y="513"/>
                </a:lnTo>
                <a:lnTo>
                  <a:pt x="421" y="513"/>
                </a:lnTo>
                <a:lnTo>
                  <a:pt x="421" y="694"/>
                </a:lnTo>
                <a:lnTo>
                  <a:pt x="412" y="696"/>
                </a:lnTo>
                <a:lnTo>
                  <a:pt x="403" y="698"/>
                </a:lnTo>
                <a:lnTo>
                  <a:pt x="395" y="702"/>
                </a:lnTo>
                <a:lnTo>
                  <a:pt x="386" y="706"/>
                </a:lnTo>
                <a:lnTo>
                  <a:pt x="378" y="711"/>
                </a:lnTo>
                <a:lnTo>
                  <a:pt x="370" y="717"/>
                </a:lnTo>
                <a:lnTo>
                  <a:pt x="364" y="722"/>
                </a:lnTo>
                <a:lnTo>
                  <a:pt x="357" y="729"/>
                </a:lnTo>
                <a:lnTo>
                  <a:pt x="352" y="736"/>
                </a:lnTo>
                <a:lnTo>
                  <a:pt x="346" y="744"/>
                </a:lnTo>
                <a:lnTo>
                  <a:pt x="342" y="752"/>
                </a:lnTo>
                <a:lnTo>
                  <a:pt x="338" y="761"/>
                </a:lnTo>
                <a:lnTo>
                  <a:pt x="335" y="770"/>
                </a:lnTo>
                <a:lnTo>
                  <a:pt x="332" y="779"/>
                </a:lnTo>
                <a:lnTo>
                  <a:pt x="331" y="788"/>
                </a:lnTo>
                <a:lnTo>
                  <a:pt x="331" y="798"/>
                </a:lnTo>
                <a:lnTo>
                  <a:pt x="331" y="809"/>
                </a:lnTo>
                <a:lnTo>
                  <a:pt x="334" y="819"/>
                </a:lnTo>
                <a:lnTo>
                  <a:pt x="336" y="829"/>
                </a:lnTo>
                <a:lnTo>
                  <a:pt x="340" y="839"/>
                </a:lnTo>
                <a:lnTo>
                  <a:pt x="344" y="848"/>
                </a:lnTo>
                <a:lnTo>
                  <a:pt x="350" y="857"/>
                </a:lnTo>
                <a:lnTo>
                  <a:pt x="355" y="866"/>
                </a:lnTo>
                <a:lnTo>
                  <a:pt x="363" y="873"/>
                </a:lnTo>
                <a:lnTo>
                  <a:pt x="370" y="880"/>
                </a:lnTo>
                <a:lnTo>
                  <a:pt x="378" y="886"/>
                </a:lnTo>
                <a:lnTo>
                  <a:pt x="386" y="891"/>
                </a:lnTo>
                <a:lnTo>
                  <a:pt x="396" y="896"/>
                </a:lnTo>
                <a:lnTo>
                  <a:pt x="405" y="899"/>
                </a:lnTo>
                <a:lnTo>
                  <a:pt x="415" y="901"/>
                </a:lnTo>
                <a:lnTo>
                  <a:pt x="426" y="903"/>
                </a:lnTo>
                <a:lnTo>
                  <a:pt x="437" y="903"/>
                </a:lnTo>
                <a:lnTo>
                  <a:pt x="447" y="903"/>
                </a:lnTo>
                <a:lnTo>
                  <a:pt x="458" y="901"/>
                </a:lnTo>
                <a:lnTo>
                  <a:pt x="468" y="899"/>
                </a:lnTo>
                <a:lnTo>
                  <a:pt x="477" y="896"/>
                </a:lnTo>
                <a:lnTo>
                  <a:pt x="487" y="891"/>
                </a:lnTo>
                <a:lnTo>
                  <a:pt x="495" y="886"/>
                </a:lnTo>
                <a:lnTo>
                  <a:pt x="503" y="880"/>
                </a:lnTo>
                <a:lnTo>
                  <a:pt x="511" y="873"/>
                </a:lnTo>
                <a:lnTo>
                  <a:pt x="518" y="866"/>
                </a:lnTo>
                <a:lnTo>
                  <a:pt x="523" y="857"/>
                </a:lnTo>
                <a:lnTo>
                  <a:pt x="529" y="848"/>
                </a:lnTo>
                <a:lnTo>
                  <a:pt x="534" y="839"/>
                </a:lnTo>
                <a:lnTo>
                  <a:pt x="537" y="829"/>
                </a:lnTo>
                <a:lnTo>
                  <a:pt x="539" y="819"/>
                </a:lnTo>
                <a:lnTo>
                  <a:pt x="542" y="809"/>
                </a:lnTo>
                <a:lnTo>
                  <a:pt x="542" y="798"/>
                </a:lnTo>
                <a:lnTo>
                  <a:pt x="542" y="788"/>
                </a:lnTo>
                <a:lnTo>
                  <a:pt x="541" y="779"/>
                </a:lnTo>
                <a:lnTo>
                  <a:pt x="538" y="770"/>
                </a:lnTo>
                <a:lnTo>
                  <a:pt x="535" y="761"/>
                </a:lnTo>
                <a:lnTo>
                  <a:pt x="531" y="752"/>
                </a:lnTo>
                <a:lnTo>
                  <a:pt x="527" y="744"/>
                </a:lnTo>
                <a:lnTo>
                  <a:pt x="521" y="736"/>
                </a:lnTo>
                <a:lnTo>
                  <a:pt x="516" y="729"/>
                </a:lnTo>
                <a:lnTo>
                  <a:pt x="509" y="723"/>
                </a:lnTo>
                <a:lnTo>
                  <a:pt x="503" y="717"/>
                </a:lnTo>
                <a:lnTo>
                  <a:pt x="495" y="711"/>
                </a:lnTo>
                <a:lnTo>
                  <a:pt x="487" y="706"/>
                </a:lnTo>
                <a:lnTo>
                  <a:pt x="478" y="702"/>
                </a:lnTo>
                <a:lnTo>
                  <a:pt x="470" y="698"/>
                </a:lnTo>
                <a:lnTo>
                  <a:pt x="461" y="696"/>
                </a:lnTo>
                <a:lnTo>
                  <a:pt x="452" y="694"/>
                </a:lnTo>
                <a:lnTo>
                  <a:pt x="452" y="513"/>
                </a:lnTo>
                <a:lnTo>
                  <a:pt x="542" y="513"/>
                </a:lnTo>
                <a:lnTo>
                  <a:pt x="553" y="513"/>
                </a:lnTo>
                <a:lnTo>
                  <a:pt x="565" y="514"/>
                </a:lnTo>
                <a:lnTo>
                  <a:pt x="577" y="515"/>
                </a:lnTo>
                <a:lnTo>
                  <a:pt x="588" y="517"/>
                </a:lnTo>
                <a:lnTo>
                  <a:pt x="600" y="519"/>
                </a:lnTo>
                <a:lnTo>
                  <a:pt x="610" y="521"/>
                </a:lnTo>
                <a:lnTo>
                  <a:pt x="620" y="526"/>
                </a:lnTo>
                <a:lnTo>
                  <a:pt x="631" y="529"/>
                </a:lnTo>
                <a:lnTo>
                  <a:pt x="640" y="533"/>
                </a:lnTo>
                <a:lnTo>
                  <a:pt x="650" y="539"/>
                </a:lnTo>
                <a:lnTo>
                  <a:pt x="660" y="544"/>
                </a:lnTo>
                <a:lnTo>
                  <a:pt x="669" y="549"/>
                </a:lnTo>
                <a:lnTo>
                  <a:pt x="678" y="556"/>
                </a:lnTo>
                <a:lnTo>
                  <a:pt x="686" y="562"/>
                </a:lnTo>
                <a:lnTo>
                  <a:pt x="694" y="570"/>
                </a:lnTo>
                <a:lnTo>
                  <a:pt x="701" y="577"/>
                </a:lnTo>
                <a:lnTo>
                  <a:pt x="713" y="590"/>
                </a:lnTo>
                <a:lnTo>
                  <a:pt x="723" y="603"/>
                </a:lnTo>
                <a:lnTo>
                  <a:pt x="731" y="617"/>
                </a:lnTo>
                <a:lnTo>
                  <a:pt x="739" y="632"/>
                </a:lnTo>
                <a:lnTo>
                  <a:pt x="744" y="647"/>
                </a:lnTo>
                <a:lnTo>
                  <a:pt x="749" y="662"/>
                </a:lnTo>
                <a:lnTo>
                  <a:pt x="751" y="678"/>
                </a:lnTo>
                <a:lnTo>
                  <a:pt x="753" y="694"/>
                </a:lnTo>
                <a:lnTo>
                  <a:pt x="743" y="696"/>
                </a:lnTo>
                <a:lnTo>
                  <a:pt x="734" y="698"/>
                </a:lnTo>
                <a:lnTo>
                  <a:pt x="725" y="702"/>
                </a:lnTo>
                <a:lnTo>
                  <a:pt x="716" y="706"/>
                </a:lnTo>
                <a:lnTo>
                  <a:pt x="709" y="711"/>
                </a:lnTo>
                <a:lnTo>
                  <a:pt x="701" y="717"/>
                </a:lnTo>
                <a:lnTo>
                  <a:pt x="695" y="723"/>
                </a:lnTo>
                <a:lnTo>
                  <a:pt x="689" y="729"/>
                </a:lnTo>
                <a:lnTo>
                  <a:pt x="682" y="736"/>
                </a:lnTo>
                <a:lnTo>
                  <a:pt x="678" y="744"/>
                </a:lnTo>
                <a:lnTo>
                  <a:pt x="672" y="752"/>
                </a:lnTo>
                <a:lnTo>
                  <a:pt x="669" y="761"/>
                </a:lnTo>
                <a:lnTo>
                  <a:pt x="666" y="770"/>
                </a:lnTo>
                <a:lnTo>
                  <a:pt x="664" y="779"/>
                </a:lnTo>
                <a:lnTo>
                  <a:pt x="663" y="788"/>
                </a:lnTo>
                <a:lnTo>
                  <a:pt x="663" y="798"/>
                </a:lnTo>
                <a:lnTo>
                  <a:pt x="663" y="809"/>
                </a:lnTo>
                <a:lnTo>
                  <a:pt x="665" y="819"/>
                </a:lnTo>
                <a:lnTo>
                  <a:pt x="667" y="829"/>
                </a:lnTo>
                <a:lnTo>
                  <a:pt x="670" y="839"/>
                </a:lnTo>
                <a:lnTo>
                  <a:pt x="675" y="848"/>
                </a:lnTo>
                <a:lnTo>
                  <a:pt x="680" y="857"/>
                </a:lnTo>
                <a:lnTo>
                  <a:pt x="686" y="866"/>
                </a:lnTo>
                <a:lnTo>
                  <a:pt x="693" y="873"/>
                </a:lnTo>
                <a:lnTo>
                  <a:pt x="700" y="880"/>
                </a:lnTo>
                <a:lnTo>
                  <a:pt x="709" y="886"/>
                </a:lnTo>
                <a:lnTo>
                  <a:pt x="718" y="891"/>
                </a:lnTo>
                <a:lnTo>
                  <a:pt x="727" y="896"/>
                </a:lnTo>
                <a:lnTo>
                  <a:pt x="737" y="899"/>
                </a:lnTo>
                <a:lnTo>
                  <a:pt x="746" y="901"/>
                </a:lnTo>
                <a:lnTo>
                  <a:pt x="757" y="903"/>
                </a:lnTo>
                <a:lnTo>
                  <a:pt x="768" y="903"/>
                </a:lnTo>
                <a:lnTo>
                  <a:pt x="779" y="903"/>
                </a:lnTo>
                <a:lnTo>
                  <a:pt x="789" y="901"/>
                </a:lnTo>
                <a:lnTo>
                  <a:pt x="799" y="899"/>
                </a:lnTo>
                <a:lnTo>
                  <a:pt x="809" y="896"/>
                </a:lnTo>
                <a:lnTo>
                  <a:pt x="818" y="891"/>
                </a:lnTo>
                <a:lnTo>
                  <a:pt x="827" y="886"/>
                </a:lnTo>
                <a:lnTo>
                  <a:pt x="834" y="880"/>
                </a:lnTo>
                <a:lnTo>
                  <a:pt x="842" y="873"/>
                </a:lnTo>
                <a:lnTo>
                  <a:pt x="849" y="866"/>
                </a:lnTo>
                <a:lnTo>
                  <a:pt x="855" y="857"/>
                </a:lnTo>
                <a:lnTo>
                  <a:pt x="860" y="848"/>
                </a:lnTo>
                <a:lnTo>
                  <a:pt x="864" y="839"/>
                </a:lnTo>
                <a:lnTo>
                  <a:pt x="869" y="829"/>
                </a:lnTo>
                <a:lnTo>
                  <a:pt x="871" y="819"/>
                </a:lnTo>
                <a:lnTo>
                  <a:pt x="873" y="809"/>
                </a:lnTo>
                <a:lnTo>
                  <a:pt x="873" y="798"/>
                </a:lnTo>
                <a:lnTo>
                  <a:pt x="873" y="788"/>
                </a:lnTo>
                <a:lnTo>
                  <a:pt x="871" y="779"/>
                </a:lnTo>
                <a:lnTo>
                  <a:pt x="869" y="770"/>
                </a:lnTo>
                <a:lnTo>
                  <a:pt x="867" y="761"/>
                </a:lnTo>
                <a:lnTo>
                  <a:pt x="862" y="752"/>
                </a:lnTo>
                <a:lnTo>
                  <a:pt x="858" y="744"/>
                </a:lnTo>
                <a:lnTo>
                  <a:pt x="853" y="736"/>
                </a:lnTo>
                <a:lnTo>
                  <a:pt x="847" y="729"/>
                </a:lnTo>
                <a:lnTo>
                  <a:pt x="841" y="722"/>
                </a:lnTo>
                <a:lnTo>
                  <a:pt x="833" y="717"/>
                </a:lnTo>
                <a:lnTo>
                  <a:pt x="826" y="711"/>
                </a:lnTo>
                <a:lnTo>
                  <a:pt x="818" y="706"/>
                </a:lnTo>
                <a:lnTo>
                  <a:pt x="810" y="702"/>
                </a:lnTo>
                <a:lnTo>
                  <a:pt x="801" y="698"/>
                </a:lnTo>
                <a:lnTo>
                  <a:pt x="792" y="696"/>
                </a:lnTo>
                <a:lnTo>
                  <a:pt x="783" y="69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94" name="Group 37">
            <a:extLst>
              <a:ext uri="{FF2B5EF4-FFF2-40B4-BE49-F238E27FC236}">
                <a16:creationId xmlns:a16="http://schemas.microsoft.com/office/drawing/2014/main" id="{101558F0-D6AB-4CDB-BE8B-C1130421A5E9}"/>
              </a:ext>
            </a:extLst>
          </p:cNvPr>
          <p:cNvGrpSpPr>
            <a:grpSpLocks noChangeAspect="1"/>
          </p:cNvGrpSpPr>
          <p:nvPr/>
        </p:nvGrpSpPr>
        <p:grpSpPr>
          <a:xfrm>
            <a:off x="284400" y="5956111"/>
            <a:ext cx="285619" cy="285619"/>
            <a:chOff x="304792" y="1360437"/>
            <a:chExt cx="287331" cy="287327"/>
          </a:xfrm>
          <a:solidFill>
            <a:schemeClr val="bg1"/>
          </a:solidFill>
          <a:effectLst/>
        </p:grpSpPr>
        <p:sp>
          <p:nvSpPr>
            <p:cNvPr id="1095" name="Freeform 172">
              <a:extLst>
                <a:ext uri="{FF2B5EF4-FFF2-40B4-BE49-F238E27FC236}">
                  <a16:creationId xmlns:a16="http://schemas.microsoft.com/office/drawing/2014/main" id="{AA606FEA-D0C7-442A-BDA5-E2AFF2DB7BB7}"/>
                </a:ext>
              </a:extLst>
            </p:cNvPr>
            <p:cNvSpPr>
              <a:spLocks noEditPoints="1"/>
            </p:cNvSpPr>
            <p:nvPr/>
          </p:nvSpPr>
          <p:spPr bwMode="auto">
            <a:xfrm>
              <a:off x="304792" y="1360437"/>
              <a:ext cx="287331" cy="287327"/>
            </a:xfrm>
            <a:custGeom>
              <a:avLst/>
              <a:gdLst>
                <a:gd name="T0" fmla="*/ 579 w 903"/>
                <a:gd name="T1" fmla="*/ 520 h 903"/>
                <a:gd name="T2" fmla="*/ 90 w 903"/>
                <a:gd name="T3" fmla="*/ 663 h 903"/>
                <a:gd name="T4" fmla="*/ 60 w 903"/>
                <a:gd name="T5" fmla="*/ 753 h 903"/>
                <a:gd name="T6" fmla="*/ 39 w 903"/>
                <a:gd name="T7" fmla="*/ 744 h 903"/>
                <a:gd name="T8" fmla="*/ 30 w 903"/>
                <a:gd name="T9" fmla="*/ 723 h 903"/>
                <a:gd name="T10" fmla="*/ 35 w 903"/>
                <a:gd name="T11" fmla="*/ 44 h 903"/>
                <a:gd name="T12" fmla="*/ 55 w 903"/>
                <a:gd name="T13" fmla="*/ 31 h 903"/>
                <a:gd name="T14" fmla="*/ 613 w 903"/>
                <a:gd name="T15" fmla="*/ 33 h 903"/>
                <a:gd name="T16" fmla="*/ 630 w 903"/>
                <a:gd name="T17" fmla="*/ 49 h 903"/>
                <a:gd name="T18" fmla="*/ 597 w 903"/>
                <a:gd name="T19" fmla="*/ 532 h 903"/>
                <a:gd name="T20" fmla="*/ 506 w 903"/>
                <a:gd name="T21" fmla="*/ 545 h 903"/>
                <a:gd name="T22" fmla="*/ 501 w 903"/>
                <a:gd name="T23" fmla="*/ 582 h 903"/>
                <a:gd name="T24" fmla="*/ 512 w 903"/>
                <a:gd name="T25" fmla="*/ 608 h 903"/>
                <a:gd name="T26" fmla="*/ 120 w 903"/>
                <a:gd name="T27" fmla="*/ 121 h 903"/>
                <a:gd name="T28" fmla="*/ 528 w 903"/>
                <a:gd name="T29" fmla="*/ 523 h 903"/>
                <a:gd name="T30" fmla="*/ 783 w 903"/>
                <a:gd name="T31" fmla="*/ 733 h 903"/>
                <a:gd name="T32" fmla="*/ 778 w 903"/>
                <a:gd name="T33" fmla="*/ 520 h 903"/>
                <a:gd name="T34" fmla="*/ 757 w 903"/>
                <a:gd name="T35" fmla="*/ 473 h 903"/>
                <a:gd name="T36" fmla="*/ 722 w 903"/>
                <a:gd name="T37" fmla="*/ 427 h 903"/>
                <a:gd name="T38" fmla="*/ 663 w 903"/>
                <a:gd name="T39" fmla="*/ 60 h 903"/>
                <a:gd name="T40" fmla="*/ 657 w 903"/>
                <a:gd name="T41" fmla="*/ 37 h 903"/>
                <a:gd name="T42" fmla="*/ 645 w 903"/>
                <a:gd name="T43" fmla="*/ 18 h 903"/>
                <a:gd name="T44" fmla="*/ 625 w 903"/>
                <a:gd name="T45" fmla="*/ 5 h 903"/>
                <a:gd name="T46" fmla="*/ 602 w 903"/>
                <a:gd name="T47" fmla="*/ 0 h 903"/>
                <a:gd name="T48" fmla="*/ 42 w 903"/>
                <a:gd name="T49" fmla="*/ 3 h 903"/>
                <a:gd name="T50" fmla="*/ 21 w 903"/>
                <a:gd name="T51" fmla="*/ 14 h 903"/>
                <a:gd name="T52" fmla="*/ 8 w 903"/>
                <a:gd name="T53" fmla="*/ 32 h 903"/>
                <a:gd name="T54" fmla="*/ 0 w 903"/>
                <a:gd name="T55" fmla="*/ 55 h 903"/>
                <a:gd name="T56" fmla="*/ 1 w 903"/>
                <a:gd name="T57" fmla="*/ 735 h 903"/>
                <a:gd name="T58" fmla="*/ 11 w 903"/>
                <a:gd name="T59" fmla="*/ 756 h 903"/>
                <a:gd name="T60" fmla="*/ 27 w 903"/>
                <a:gd name="T61" fmla="*/ 773 h 903"/>
                <a:gd name="T62" fmla="*/ 48 w 903"/>
                <a:gd name="T63" fmla="*/ 782 h 903"/>
                <a:gd name="T64" fmla="*/ 617 w 903"/>
                <a:gd name="T65" fmla="*/ 801 h 903"/>
                <a:gd name="T66" fmla="*/ 669 w 903"/>
                <a:gd name="T67" fmla="*/ 884 h 903"/>
                <a:gd name="T68" fmla="*/ 690 w 903"/>
                <a:gd name="T69" fmla="*/ 903 h 903"/>
                <a:gd name="T70" fmla="*/ 705 w 903"/>
                <a:gd name="T71" fmla="*/ 898 h 903"/>
                <a:gd name="T72" fmla="*/ 708 w 903"/>
                <a:gd name="T73" fmla="*/ 887 h 903"/>
                <a:gd name="T74" fmla="*/ 683 w 903"/>
                <a:gd name="T75" fmla="*/ 853 h 903"/>
                <a:gd name="T76" fmla="*/ 638 w 903"/>
                <a:gd name="T77" fmla="*/ 775 h 903"/>
                <a:gd name="T78" fmla="*/ 633 w 903"/>
                <a:gd name="T79" fmla="*/ 757 h 903"/>
                <a:gd name="T80" fmla="*/ 537 w 903"/>
                <a:gd name="T81" fmla="*/ 592 h 903"/>
                <a:gd name="T82" fmla="*/ 531 w 903"/>
                <a:gd name="T83" fmla="*/ 573 h 903"/>
                <a:gd name="T84" fmla="*/ 537 w 903"/>
                <a:gd name="T85" fmla="*/ 553 h 903"/>
                <a:gd name="T86" fmla="*/ 557 w 903"/>
                <a:gd name="T87" fmla="*/ 546 h 903"/>
                <a:gd name="T88" fmla="*/ 576 w 903"/>
                <a:gd name="T89" fmla="*/ 553 h 903"/>
                <a:gd name="T90" fmla="*/ 667 w 903"/>
                <a:gd name="T91" fmla="*/ 643 h 903"/>
                <a:gd name="T92" fmla="*/ 678 w 903"/>
                <a:gd name="T93" fmla="*/ 648 h 903"/>
                <a:gd name="T94" fmla="*/ 689 w 903"/>
                <a:gd name="T95" fmla="*/ 643 h 903"/>
                <a:gd name="T96" fmla="*/ 693 w 903"/>
                <a:gd name="T97" fmla="*/ 633 h 903"/>
                <a:gd name="T98" fmla="*/ 689 w 903"/>
                <a:gd name="T99" fmla="*/ 622 h 903"/>
                <a:gd name="T100" fmla="*/ 699 w 903"/>
                <a:gd name="T101" fmla="*/ 447 h 903"/>
                <a:gd name="T102" fmla="*/ 739 w 903"/>
                <a:gd name="T103" fmla="*/ 501 h 903"/>
                <a:gd name="T104" fmla="*/ 751 w 903"/>
                <a:gd name="T105" fmla="*/ 538 h 903"/>
                <a:gd name="T106" fmla="*/ 876 w 903"/>
                <a:gd name="T107" fmla="*/ 898 h 903"/>
                <a:gd name="T108" fmla="*/ 888 w 903"/>
                <a:gd name="T109" fmla="*/ 903 h 903"/>
                <a:gd name="T110" fmla="*/ 901 w 903"/>
                <a:gd name="T111" fmla="*/ 896 h 903"/>
                <a:gd name="T112" fmla="*/ 903 w 903"/>
                <a:gd name="T113" fmla="*/ 88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97" y="532"/>
                  </a:moveTo>
                  <a:lnTo>
                    <a:pt x="592" y="527"/>
                  </a:lnTo>
                  <a:lnTo>
                    <a:pt x="586" y="523"/>
                  </a:lnTo>
                  <a:lnTo>
                    <a:pt x="579" y="520"/>
                  </a:lnTo>
                  <a:lnTo>
                    <a:pt x="572" y="518"/>
                  </a:lnTo>
                  <a:lnTo>
                    <a:pt x="572" y="91"/>
                  </a:lnTo>
                  <a:lnTo>
                    <a:pt x="90" y="91"/>
                  </a:lnTo>
                  <a:lnTo>
                    <a:pt x="90" y="663"/>
                  </a:lnTo>
                  <a:lnTo>
                    <a:pt x="553" y="663"/>
                  </a:lnTo>
                  <a:lnTo>
                    <a:pt x="602" y="728"/>
                  </a:lnTo>
                  <a:lnTo>
                    <a:pt x="602" y="753"/>
                  </a:lnTo>
                  <a:lnTo>
                    <a:pt x="60" y="753"/>
                  </a:lnTo>
                  <a:lnTo>
                    <a:pt x="55" y="752"/>
                  </a:lnTo>
                  <a:lnTo>
                    <a:pt x="48" y="751"/>
                  </a:lnTo>
                  <a:lnTo>
                    <a:pt x="43" y="748"/>
                  </a:lnTo>
                  <a:lnTo>
                    <a:pt x="39" y="744"/>
                  </a:lnTo>
                  <a:lnTo>
                    <a:pt x="35" y="740"/>
                  </a:lnTo>
                  <a:lnTo>
                    <a:pt x="32" y="735"/>
                  </a:lnTo>
                  <a:lnTo>
                    <a:pt x="31" y="729"/>
                  </a:lnTo>
                  <a:lnTo>
                    <a:pt x="30" y="723"/>
                  </a:lnTo>
                  <a:lnTo>
                    <a:pt x="30" y="60"/>
                  </a:lnTo>
                  <a:lnTo>
                    <a:pt x="31" y="55"/>
                  </a:lnTo>
                  <a:lnTo>
                    <a:pt x="32" y="49"/>
                  </a:lnTo>
                  <a:lnTo>
                    <a:pt x="35" y="44"/>
                  </a:lnTo>
                  <a:lnTo>
                    <a:pt x="39" y="40"/>
                  </a:lnTo>
                  <a:lnTo>
                    <a:pt x="43" y="35"/>
                  </a:lnTo>
                  <a:lnTo>
                    <a:pt x="48" y="33"/>
                  </a:lnTo>
                  <a:lnTo>
                    <a:pt x="55" y="31"/>
                  </a:lnTo>
                  <a:lnTo>
                    <a:pt x="60" y="30"/>
                  </a:lnTo>
                  <a:lnTo>
                    <a:pt x="602" y="30"/>
                  </a:lnTo>
                  <a:lnTo>
                    <a:pt x="608" y="31"/>
                  </a:lnTo>
                  <a:lnTo>
                    <a:pt x="613" y="33"/>
                  </a:lnTo>
                  <a:lnTo>
                    <a:pt x="619" y="35"/>
                  </a:lnTo>
                  <a:lnTo>
                    <a:pt x="623" y="40"/>
                  </a:lnTo>
                  <a:lnTo>
                    <a:pt x="627" y="44"/>
                  </a:lnTo>
                  <a:lnTo>
                    <a:pt x="630" y="49"/>
                  </a:lnTo>
                  <a:lnTo>
                    <a:pt x="632" y="55"/>
                  </a:lnTo>
                  <a:lnTo>
                    <a:pt x="632" y="61"/>
                  </a:lnTo>
                  <a:lnTo>
                    <a:pt x="632" y="566"/>
                  </a:lnTo>
                  <a:lnTo>
                    <a:pt x="597" y="532"/>
                  </a:lnTo>
                  <a:close/>
                  <a:moveTo>
                    <a:pt x="516" y="532"/>
                  </a:moveTo>
                  <a:lnTo>
                    <a:pt x="513" y="535"/>
                  </a:lnTo>
                  <a:lnTo>
                    <a:pt x="509" y="541"/>
                  </a:lnTo>
                  <a:lnTo>
                    <a:pt x="506" y="545"/>
                  </a:lnTo>
                  <a:lnTo>
                    <a:pt x="504" y="550"/>
                  </a:lnTo>
                  <a:lnTo>
                    <a:pt x="502" y="561"/>
                  </a:lnTo>
                  <a:lnTo>
                    <a:pt x="501" y="572"/>
                  </a:lnTo>
                  <a:lnTo>
                    <a:pt x="501" y="582"/>
                  </a:lnTo>
                  <a:lnTo>
                    <a:pt x="504" y="593"/>
                  </a:lnTo>
                  <a:lnTo>
                    <a:pt x="506" y="598"/>
                  </a:lnTo>
                  <a:lnTo>
                    <a:pt x="508" y="604"/>
                  </a:lnTo>
                  <a:lnTo>
                    <a:pt x="512" y="608"/>
                  </a:lnTo>
                  <a:lnTo>
                    <a:pt x="516" y="612"/>
                  </a:lnTo>
                  <a:lnTo>
                    <a:pt x="531" y="633"/>
                  </a:lnTo>
                  <a:lnTo>
                    <a:pt x="120" y="633"/>
                  </a:lnTo>
                  <a:lnTo>
                    <a:pt x="120" y="121"/>
                  </a:lnTo>
                  <a:lnTo>
                    <a:pt x="542" y="121"/>
                  </a:lnTo>
                  <a:lnTo>
                    <a:pt x="542" y="518"/>
                  </a:lnTo>
                  <a:lnTo>
                    <a:pt x="535" y="520"/>
                  </a:lnTo>
                  <a:lnTo>
                    <a:pt x="528" y="523"/>
                  </a:lnTo>
                  <a:lnTo>
                    <a:pt x="521" y="527"/>
                  </a:lnTo>
                  <a:lnTo>
                    <a:pt x="516" y="532"/>
                  </a:lnTo>
                  <a:close/>
                  <a:moveTo>
                    <a:pt x="900" y="879"/>
                  </a:moveTo>
                  <a:lnTo>
                    <a:pt x="783" y="733"/>
                  </a:lnTo>
                  <a:lnTo>
                    <a:pt x="783" y="558"/>
                  </a:lnTo>
                  <a:lnTo>
                    <a:pt x="782" y="545"/>
                  </a:lnTo>
                  <a:lnTo>
                    <a:pt x="781" y="532"/>
                  </a:lnTo>
                  <a:lnTo>
                    <a:pt x="778" y="520"/>
                  </a:lnTo>
                  <a:lnTo>
                    <a:pt x="774" y="507"/>
                  </a:lnTo>
                  <a:lnTo>
                    <a:pt x="769" y="495"/>
                  </a:lnTo>
                  <a:lnTo>
                    <a:pt x="764" y="485"/>
                  </a:lnTo>
                  <a:lnTo>
                    <a:pt x="757" y="473"/>
                  </a:lnTo>
                  <a:lnTo>
                    <a:pt x="750" y="461"/>
                  </a:lnTo>
                  <a:lnTo>
                    <a:pt x="741" y="449"/>
                  </a:lnTo>
                  <a:lnTo>
                    <a:pt x="733" y="439"/>
                  </a:lnTo>
                  <a:lnTo>
                    <a:pt x="722" y="427"/>
                  </a:lnTo>
                  <a:lnTo>
                    <a:pt x="712" y="416"/>
                  </a:lnTo>
                  <a:lnTo>
                    <a:pt x="689" y="392"/>
                  </a:lnTo>
                  <a:lnTo>
                    <a:pt x="663" y="370"/>
                  </a:lnTo>
                  <a:lnTo>
                    <a:pt x="663" y="60"/>
                  </a:lnTo>
                  <a:lnTo>
                    <a:pt x="662" y="55"/>
                  </a:lnTo>
                  <a:lnTo>
                    <a:pt x="661" y="48"/>
                  </a:lnTo>
                  <a:lnTo>
                    <a:pt x="660" y="43"/>
                  </a:lnTo>
                  <a:lnTo>
                    <a:pt x="657" y="37"/>
                  </a:lnTo>
                  <a:lnTo>
                    <a:pt x="655" y="32"/>
                  </a:lnTo>
                  <a:lnTo>
                    <a:pt x="652" y="27"/>
                  </a:lnTo>
                  <a:lnTo>
                    <a:pt x="649" y="22"/>
                  </a:lnTo>
                  <a:lnTo>
                    <a:pt x="645" y="18"/>
                  </a:lnTo>
                  <a:lnTo>
                    <a:pt x="640" y="14"/>
                  </a:lnTo>
                  <a:lnTo>
                    <a:pt x="636" y="11"/>
                  </a:lnTo>
                  <a:lnTo>
                    <a:pt x="631" y="7"/>
                  </a:lnTo>
                  <a:lnTo>
                    <a:pt x="625" y="5"/>
                  </a:lnTo>
                  <a:lnTo>
                    <a:pt x="620" y="3"/>
                  </a:lnTo>
                  <a:lnTo>
                    <a:pt x="615" y="2"/>
                  </a:lnTo>
                  <a:lnTo>
                    <a:pt x="608" y="1"/>
                  </a:lnTo>
                  <a:lnTo>
                    <a:pt x="602" y="0"/>
                  </a:lnTo>
                  <a:lnTo>
                    <a:pt x="60" y="0"/>
                  </a:lnTo>
                  <a:lnTo>
                    <a:pt x="54" y="1"/>
                  </a:lnTo>
                  <a:lnTo>
                    <a:pt x="48" y="1"/>
                  </a:lnTo>
                  <a:lnTo>
                    <a:pt x="42" y="3"/>
                  </a:lnTo>
                  <a:lnTo>
                    <a:pt x="36" y="5"/>
                  </a:lnTo>
                  <a:lnTo>
                    <a:pt x="31" y="7"/>
                  </a:lnTo>
                  <a:lnTo>
                    <a:pt x="27" y="11"/>
                  </a:lnTo>
                  <a:lnTo>
                    <a:pt x="21" y="14"/>
                  </a:lnTo>
                  <a:lnTo>
                    <a:pt x="17" y="18"/>
                  </a:lnTo>
                  <a:lnTo>
                    <a:pt x="14" y="22"/>
                  </a:lnTo>
                  <a:lnTo>
                    <a:pt x="11" y="27"/>
                  </a:lnTo>
                  <a:lnTo>
                    <a:pt x="8" y="32"/>
                  </a:lnTo>
                  <a:lnTo>
                    <a:pt x="4" y="37"/>
                  </a:lnTo>
                  <a:lnTo>
                    <a:pt x="3" y="43"/>
                  </a:lnTo>
                  <a:lnTo>
                    <a:pt x="1" y="48"/>
                  </a:lnTo>
                  <a:lnTo>
                    <a:pt x="0" y="55"/>
                  </a:lnTo>
                  <a:lnTo>
                    <a:pt x="0" y="61"/>
                  </a:lnTo>
                  <a:lnTo>
                    <a:pt x="0" y="723"/>
                  </a:lnTo>
                  <a:lnTo>
                    <a:pt x="0" y="729"/>
                  </a:lnTo>
                  <a:lnTo>
                    <a:pt x="1" y="735"/>
                  </a:lnTo>
                  <a:lnTo>
                    <a:pt x="3" y="741"/>
                  </a:lnTo>
                  <a:lnTo>
                    <a:pt x="4" y="746"/>
                  </a:lnTo>
                  <a:lnTo>
                    <a:pt x="8" y="752"/>
                  </a:lnTo>
                  <a:lnTo>
                    <a:pt x="11" y="756"/>
                  </a:lnTo>
                  <a:lnTo>
                    <a:pt x="14" y="761"/>
                  </a:lnTo>
                  <a:lnTo>
                    <a:pt x="17" y="766"/>
                  </a:lnTo>
                  <a:lnTo>
                    <a:pt x="21" y="769"/>
                  </a:lnTo>
                  <a:lnTo>
                    <a:pt x="27" y="773"/>
                  </a:lnTo>
                  <a:lnTo>
                    <a:pt x="31" y="775"/>
                  </a:lnTo>
                  <a:lnTo>
                    <a:pt x="36" y="779"/>
                  </a:lnTo>
                  <a:lnTo>
                    <a:pt x="42" y="781"/>
                  </a:lnTo>
                  <a:lnTo>
                    <a:pt x="48" y="782"/>
                  </a:lnTo>
                  <a:lnTo>
                    <a:pt x="54" y="783"/>
                  </a:lnTo>
                  <a:lnTo>
                    <a:pt x="60" y="783"/>
                  </a:lnTo>
                  <a:lnTo>
                    <a:pt x="608" y="783"/>
                  </a:lnTo>
                  <a:lnTo>
                    <a:pt x="617" y="801"/>
                  </a:lnTo>
                  <a:lnTo>
                    <a:pt x="626" y="820"/>
                  </a:lnTo>
                  <a:lnTo>
                    <a:pt x="637" y="839"/>
                  </a:lnTo>
                  <a:lnTo>
                    <a:pt x="649" y="856"/>
                  </a:lnTo>
                  <a:lnTo>
                    <a:pt x="669" y="884"/>
                  </a:lnTo>
                  <a:lnTo>
                    <a:pt x="681" y="898"/>
                  </a:lnTo>
                  <a:lnTo>
                    <a:pt x="683" y="901"/>
                  </a:lnTo>
                  <a:lnTo>
                    <a:pt x="686" y="902"/>
                  </a:lnTo>
                  <a:lnTo>
                    <a:pt x="690" y="903"/>
                  </a:lnTo>
                  <a:lnTo>
                    <a:pt x="693" y="903"/>
                  </a:lnTo>
                  <a:lnTo>
                    <a:pt x="697" y="903"/>
                  </a:lnTo>
                  <a:lnTo>
                    <a:pt x="702" y="900"/>
                  </a:lnTo>
                  <a:lnTo>
                    <a:pt x="705" y="898"/>
                  </a:lnTo>
                  <a:lnTo>
                    <a:pt x="706" y="896"/>
                  </a:lnTo>
                  <a:lnTo>
                    <a:pt x="707" y="892"/>
                  </a:lnTo>
                  <a:lnTo>
                    <a:pt x="708" y="890"/>
                  </a:lnTo>
                  <a:lnTo>
                    <a:pt x="708" y="887"/>
                  </a:lnTo>
                  <a:lnTo>
                    <a:pt x="707" y="884"/>
                  </a:lnTo>
                  <a:lnTo>
                    <a:pt x="706" y="882"/>
                  </a:lnTo>
                  <a:lnTo>
                    <a:pt x="704" y="878"/>
                  </a:lnTo>
                  <a:lnTo>
                    <a:pt x="683" y="853"/>
                  </a:lnTo>
                  <a:lnTo>
                    <a:pt x="662" y="822"/>
                  </a:lnTo>
                  <a:lnTo>
                    <a:pt x="652" y="805"/>
                  </a:lnTo>
                  <a:lnTo>
                    <a:pt x="645" y="789"/>
                  </a:lnTo>
                  <a:lnTo>
                    <a:pt x="638" y="775"/>
                  </a:lnTo>
                  <a:lnTo>
                    <a:pt x="634" y="763"/>
                  </a:lnTo>
                  <a:lnTo>
                    <a:pt x="634" y="763"/>
                  </a:lnTo>
                  <a:lnTo>
                    <a:pt x="634" y="763"/>
                  </a:lnTo>
                  <a:lnTo>
                    <a:pt x="633" y="757"/>
                  </a:lnTo>
                  <a:lnTo>
                    <a:pt x="632" y="753"/>
                  </a:lnTo>
                  <a:lnTo>
                    <a:pt x="632" y="717"/>
                  </a:lnTo>
                  <a:lnTo>
                    <a:pt x="538" y="593"/>
                  </a:lnTo>
                  <a:lnTo>
                    <a:pt x="537" y="592"/>
                  </a:lnTo>
                  <a:lnTo>
                    <a:pt x="534" y="588"/>
                  </a:lnTo>
                  <a:lnTo>
                    <a:pt x="532" y="583"/>
                  </a:lnTo>
                  <a:lnTo>
                    <a:pt x="531" y="578"/>
                  </a:lnTo>
                  <a:lnTo>
                    <a:pt x="531" y="573"/>
                  </a:lnTo>
                  <a:lnTo>
                    <a:pt x="531" y="566"/>
                  </a:lnTo>
                  <a:lnTo>
                    <a:pt x="532" y="562"/>
                  </a:lnTo>
                  <a:lnTo>
                    <a:pt x="534" y="557"/>
                  </a:lnTo>
                  <a:lnTo>
                    <a:pt x="537" y="553"/>
                  </a:lnTo>
                  <a:lnTo>
                    <a:pt x="542" y="550"/>
                  </a:lnTo>
                  <a:lnTo>
                    <a:pt x="546" y="548"/>
                  </a:lnTo>
                  <a:lnTo>
                    <a:pt x="551" y="547"/>
                  </a:lnTo>
                  <a:lnTo>
                    <a:pt x="557" y="546"/>
                  </a:lnTo>
                  <a:lnTo>
                    <a:pt x="562" y="547"/>
                  </a:lnTo>
                  <a:lnTo>
                    <a:pt x="567" y="548"/>
                  </a:lnTo>
                  <a:lnTo>
                    <a:pt x="573" y="550"/>
                  </a:lnTo>
                  <a:lnTo>
                    <a:pt x="576" y="553"/>
                  </a:lnTo>
                  <a:lnTo>
                    <a:pt x="637" y="613"/>
                  </a:lnTo>
                  <a:lnTo>
                    <a:pt x="637" y="613"/>
                  </a:lnTo>
                  <a:lnTo>
                    <a:pt x="637" y="613"/>
                  </a:lnTo>
                  <a:lnTo>
                    <a:pt x="667" y="643"/>
                  </a:lnTo>
                  <a:lnTo>
                    <a:pt x="669" y="646"/>
                  </a:lnTo>
                  <a:lnTo>
                    <a:pt x="671" y="647"/>
                  </a:lnTo>
                  <a:lnTo>
                    <a:pt x="675" y="648"/>
                  </a:lnTo>
                  <a:lnTo>
                    <a:pt x="678" y="648"/>
                  </a:lnTo>
                  <a:lnTo>
                    <a:pt x="680" y="648"/>
                  </a:lnTo>
                  <a:lnTo>
                    <a:pt x="683" y="647"/>
                  </a:lnTo>
                  <a:lnTo>
                    <a:pt x="685" y="646"/>
                  </a:lnTo>
                  <a:lnTo>
                    <a:pt x="689" y="643"/>
                  </a:lnTo>
                  <a:lnTo>
                    <a:pt x="690" y="641"/>
                  </a:lnTo>
                  <a:lnTo>
                    <a:pt x="692" y="638"/>
                  </a:lnTo>
                  <a:lnTo>
                    <a:pt x="692" y="635"/>
                  </a:lnTo>
                  <a:lnTo>
                    <a:pt x="693" y="633"/>
                  </a:lnTo>
                  <a:lnTo>
                    <a:pt x="692" y="630"/>
                  </a:lnTo>
                  <a:lnTo>
                    <a:pt x="692" y="626"/>
                  </a:lnTo>
                  <a:lnTo>
                    <a:pt x="690" y="624"/>
                  </a:lnTo>
                  <a:lnTo>
                    <a:pt x="689" y="622"/>
                  </a:lnTo>
                  <a:lnTo>
                    <a:pt x="663" y="596"/>
                  </a:lnTo>
                  <a:lnTo>
                    <a:pt x="663" y="410"/>
                  </a:lnTo>
                  <a:lnTo>
                    <a:pt x="682" y="429"/>
                  </a:lnTo>
                  <a:lnTo>
                    <a:pt x="699" y="447"/>
                  </a:lnTo>
                  <a:lnTo>
                    <a:pt x="715" y="465"/>
                  </a:lnTo>
                  <a:lnTo>
                    <a:pt x="728" y="483"/>
                  </a:lnTo>
                  <a:lnTo>
                    <a:pt x="734" y="492"/>
                  </a:lnTo>
                  <a:lnTo>
                    <a:pt x="739" y="501"/>
                  </a:lnTo>
                  <a:lnTo>
                    <a:pt x="743" y="510"/>
                  </a:lnTo>
                  <a:lnTo>
                    <a:pt x="746" y="520"/>
                  </a:lnTo>
                  <a:lnTo>
                    <a:pt x="749" y="529"/>
                  </a:lnTo>
                  <a:lnTo>
                    <a:pt x="751" y="538"/>
                  </a:lnTo>
                  <a:lnTo>
                    <a:pt x="752" y="548"/>
                  </a:lnTo>
                  <a:lnTo>
                    <a:pt x="753" y="558"/>
                  </a:lnTo>
                  <a:lnTo>
                    <a:pt x="753" y="743"/>
                  </a:lnTo>
                  <a:lnTo>
                    <a:pt x="876" y="898"/>
                  </a:lnTo>
                  <a:lnTo>
                    <a:pt x="878" y="900"/>
                  </a:lnTo>
                  <a:lnTo>
                    <a:pt x="882" y="902"/>
                  </a:lnTo>
                  <a:lnTo>
                    <a:pt x="885" y="903"/>
                  </a:lnTo>
                  <a:lnTo>
                    <a:pt x="888" y="903"/>
                  </a:lnTo>
                  <a:lnTo>
                    <a:pt x="893" y="903"/>
                  </a:lnTo>
                  <a:lnTo>
                    <a:pt x="898" y="900"/>
                  </a:lnTo>
                  <a:lnTo>
                    <a:pt x="900" y="898"/>
                  </a:lnTo>
                  <a:lnTo>
                    <a:pt x="901" y="896"/>
                  </a:lnTo>
                  <a:lnTo>
                    <a:pt x="902" y="893"/>
                  </a:lnTo>
                  <a:lnTo>
                    <a:pt x="903" y="890"/>
                  </a:lnTo>
                  <a:lnTo>
                    <a:pt x="903" y="887"/>
                  </a:lnTo>
                  <a:lnTo>
                    <a:pt x="903" y="885"/>
                  </a:lnTo>
                  <a:lnTo>
                    <a:pt x="902" y="882"/>
                  </a:lnTo>
                  <a:lnTo>
                    <a:pt x="900" y="879"/>
                  </a:lnTo>
                  <a:lnTo>
                    <a:pt x="900"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Rectangle 173">
              <a:extLst>
                <a:ext uri="{FF2B5EF4-FFF2-40B4-BE49-F238E27FC236}">
                  <a16:creationId xmlns:a16="http://schemas.microsoft.com/office/drawing/2014/main" id="{9AB0B3F3-2CDF-455E-BACB-B42853BBD768}"/>
                </a:ext>
              </a:extLst>
            </p:cNvPr>
            <p:cNvSpPr>
              <a:spLocks noChangeArrowheads="1"/>
            </p:cNvSpPr>
            <p:nvPr/>
          </p:nvSpPr>
          <p:spPr bwMode="auto">
            <a:xfrm>
              <a:off x="390515" y="1581091"/>
              <a:ext cx="38099"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Rectangle 174">
              <a:extLst>
                <a:ext uri="{FF2B5EF4-FFF2-40B4-BE49-F238E27FC236}">
                  <a16:creationId xmlns:a16="http://schemas.microsoft.com/office/drawing/2014/main" id="{70784906-16C5-4400-B249-97EA88A9E69A}"/>
                </a:ext>
              </a:extLst>
            </p:cNvPr>
            <p:cNvSpPr>
              <a:spLocks noChangeArrowheads="1"/>
            </p:cNvSpPr>
            <p:nvPr/>
          </p:nvSpPr>
          <p:spPr bwMode="auto">
            <a:xfrm>
              <a:off x="366703" y="1455684"/>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Rectangle 175">
              <a:extLst>
                <a:ext uri="{FF2B5EF4-FFF2-40B4-BE49-F238E27FC236}">
                  <a16:creationId xmlns:a16="http://schemas.microsoft.com/office/drawing/2014/main" id="{5380AC75-DE40-48B5-BC65-6D06C2D35474}"/>
                </a:ext>
              </a:extLst>
            </p:cNvPr>
            <p:cNvSpPr>
              <a:spLocks noChangeArrowheads="1"/>
            </p:cNvSpPr>
            <p:nvPr/>
          </p:nvSpPr>
          <p:spPr bwMode="auto">
            <a:xfrm>
              <a:off x="366703" y="1436634"/>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Rectangle 176">
              <a:extLst>
                <a:ext uri="{FF2B5EF4-FFF2-40B4-BE49-F238E27FC236}">
                  <a16:creationId xmlns:a16="http://schemas.microsoft.com/office/drawing/2014/main" id="{057164D5-EAD3-4709-9AAA-36BBDFFD8CAD}"/>
                </a:ext>
              </a:extLst>
            </p:cNvPr>
            <p:cNvSpPr>
              <a:spLocks noChangeArrowheads="1"/>
            </p:cNvSpPr>
            <p:nvPr/>
          </p:nvSpPr>
          <p:spPr bwMode="auto">
            <a:xfrm>
              <a:off x="366703" y="1493782"/>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Rectangle 177">
              <a:extLst>
                <a:ext uri="{FF2B5EF4-FFF2-40B4-BE49-F238E27FC236}">
                  <a16:creationId xmlns:a16="http://schemas.microsoft.com/office/drawing/2014/main" id="{8D430B95-3112-4D05-870C-7A1B7060356E}"/>
                </a:ext>
              </a:extLst>
            </p:cNvPr>
            <p:cNvSpPr>
              <a:spLocks noChangeArrowheads="1"/>
            </p:cNvSpPr>
            <p:nvPr/>
          </p:nvSpPr>
          <p:spPr bwMode="auto">
            <a:xfrm>
              <a:off x="366703" y="1474733"/>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Rectangle 178">
              <a:extLst>
                <a:ext uri="{FF2B5EF4-FFF2-40B4-BE49-F238E27FC236}">
                  <a16:creationId xmlns:a16="http://schemas.microsoft.com/office/drawing/2014/main" id="{2E647CD1-6021-408C-820F-762F7DE88C93}"/>
                </a:ext>
              </a:extLst>
            </p:cNvPr>
            <p:cNvSpPr>
              <a:spLocks noChangeArrowheads="1"/>
            </p:cNvSpPr>
            <p:nvPr/>
          </p:nvSpPr>
          <p:spPr bwMode="auto">
            <a:xfrm>
              <a:off x="366704" y="1514418"/>
              <a:ext cx="8572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Rectangle 179">
              <a:extLst>
                <a:ext uri="{FF2B5EF4-FFF2-40B4-BE49-F238E27FC236}">
                  <a16:creationId xmlns:a16="http://schemas.microsoft.com/office/drawing/2014/main" id="{2477CDD5-FBF0-4D76-99AB-7830CF2C5228}"/>
                </a:ext>
              </a:extLst>
            </p:cNvPr>
            <p:cNvSpPr>
              <a:spLocks noChangeArrowheads="1"/>
            </p:cNvSpPr>
            <p:nvPr/>
          </p:nvSpPr>
          <p:spPr bwMode="auto">
            <a:xfrm>
              <a:off x="366704" y="1417584"/>
              <a:ext cx="47624"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Freeform 180">
              <a:extLst>
                <a:ext uri="{FF2B5EF4-FFF2-40B4-BE49-F238E27FC236}">
                  <a16:creationId xmlns:a16="http://schemas.microsoft.com/office/drawing/2014/main" id="{AA9E1C8A-E6D3-480A-BAAD-FB0780AF7941}"/>
                </a:ext>
              </a:extLst>
            </p:cNvPr>
            <p:cNvSpPr>
              <a:spLocks/>
            </p:cNvSpPr>
            <p:nvPr/>
          </p:nvSpPr>
          <p:spPr bwMode="auto">
            <a:xfrm>
              <a:off x="438139" y="1581110"/>
              <a:ext cx="9525" cy="9525"/>
            </a:xfrm>
            <a:custGeom>
              <a:avLst/>
              <a:gdLst>
                <a:gd name="T0" fmla="*/ 16 w 31"/>
                <a:gd name="T1" fmla="*/ 30 h 30"/>
                <a:gd name="T2" fmla="*/ 19 w 31"/>
                <a:gd name="T3" fmla="*/ 30 h 30"/>
                <a:gd name="T4" fmla="*/ 21 w 31"/>
                <a:gd name="T5" fmla="*/ 29 h 30"/>
                <a:gd name="T6" fmla="*/ 24 w 31"/>
                <a:gd name="T7" fmla="*/ 28 h 30"/>
                <a:gd name="T8" fmla="*/ 26 w 31"/>
                <a:gd name="T9" fmla="*/ 26 h 30"/>
                <a:gd name="T10" fmla="*/ 28 w 31"/>
                <a:gd name="T11" fmla="*/ 23 h 30"/>
                <a:gd name="T12" fmla="*/ 29 w 31"/>
                <a:gd name="T13" fmla="*/ 20 h 30"/>
                <a:gd name="T14" fmla="*/ 31 w 31"/>
                <a:gd name="T15" fmla="*/ 18 h 30"/>
                <a:gd name="T16" fmla="*/ 31 w 31"/>
                <a:gd name="T17" fmla="*/ 15 h 30"/>
                <a:gd name="T18" fmla="*/ 31 w 31"/>
                <a:gd name="T19" fmla="*/ 12 h 30"/>
                <a:gd name="T20" fmla="*/ 29 w 31"/>
                <a:gd name="T21" fmla="*/ 9 h 30"/>
                <a:gd name="T22" fmla="*/ 28 w 31"/>
                <a:gd name="T23" fmla="*/ 6 h 30"/>
                <a:gd name="T24" fmla="*/ 26 w 31"/>
                <a:gd name="T25" fmla="*/ 4 h 30"/>
                <a:gd name="T26" fmla="*/ 24 w 31"/>
                <a:gd name="T27" fmla="*/ 2 h 30"/>
                <a:gd name="T28" fmla="*/ 21 w 31"/>
                <a:gd name="T29" fmla="*/ 1 h 30"/>
                <a:gd name="T30" fmla="*/ 19 w 31"/>
                <a:gd name="T31" fmla="*/ 0 h 30"/>
                <a:gd name="T32" fmla="*/ 16 w 31"/>
                <a:gd name="T33" fmla="*/ 0 h 30"/>
                <a:gd name="T34" fmla="*/ 12 w 31"/>
                <a:gd name="T35" fmla="*/ 0 h 30"/>
                <a:gd name="T36" fmla="*/ 10 w 31"/>
                <a:gd name="T37" fmla="*/ 1 h 30"/>
                <a:gd name="T38" fmla="*/ 7 w 31"/>
                <a:gd name="T39" fmla="*/ 2 h 30"/>
                <a:gd name="T40" fmla="*/ 5 w 31"/>
                <a:gd name="T41" fmla="*/ 4 h 30"/>
                <a:gd name="T42" fmla="*/ 3 w 31"/>
                <a:gd name="T43" fmla="*/ 6 h 30"/>
                <a:gd name="T44" fmla="*/ 2 w 31"/>
                <a:gd name="T45" fmla="*/ 9 h 30"/>
                <a:gd name="T46" fmla="*/ 0 w 31"/>
                <a:gd name="T47" fmla="*/ 12 h 30"/>
                <a:gd name="T48" fmla="*/ 0 w 31"/>
                <a:gd name="T49" fmla="*/ 15 h 30"/>
                <a:gd name="T50" fmla="*/ 0 w 31"/>
                <a:gd name="T51" fmla="*/ 18 h 30"/>
                <a:gd name="T52" fmla="*/ 2 w 31"/>
                <a:gd name="T53" fmla="*/ 20 h 30"/>
                <a:gd name="T54" fmla="*/ 3 w 31"/>
                <a:gd name="T55" fmla="*/ 23 h 30"/>
                <a:gd name="T56" fmla="*/ 5 w 31"/>
                <a:gd name="T57" fmla="*/ 26 h 30"/>
                <a:gd name="T58" fmla="*/ 7 w 31"/>
                <a:gd name="T59" fmla="*/ 28 h 30"/>
                <a:gd name="T60" fmla="*/ 10 w 31"/>
                <a:gd name="T61" fmla="*/ 29 h 30"/>
                <a:gd name="T62" fmla="*/ 12 w 31"/>
                <a:gd name="T63" fmla="*/ 30 h 30"/>
                <a:gd name="T64" fmla="*/ 16 w 31"/>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6" y="30"/>
                  </a:moveTo>
                  <a:lnTo>
                    <a:pt x="19" y="30"/>
                  </a:lnTo>
                  <a:lnTo>
                    <a:pt x="21" y="29"/>
                  </a:lnTo>
                  <a:lnTo>
                    <a:pt x="24" y="28"/>
                  </a:lnTo>
                  <a:lnTo>
                    <a:pt x="26" y="26"/>
                  </a:lnTo>
                  <a:lnTo>
                    <a:pt x="28" y="23"/>
                  </a:lnTo>
                  <a:lnTo>
                    <a:pt x="29" y="20"/>
                  </a:lnTo>
                  <a:lnTo>
                    <a:pt x="31" y="18"/>
                  </a:lnTo>
                  <a:lnTo>
                    <a:pt x="31" y="15"/>
                  </a:lnTo>
                  <a:lnTo>
                    <a:pt x="31" y="12"/>
                  </a:lnTo>
                  <a:lnTo>
                    <a:pt x="29" y="9"/>
                  </a:lnTo>
                  <a:lnTo>
                    <a:pt x="28" y="6"/>
                  </a:lnTo>
                  <a:lnTo>
                    <a:pt x="26" y="4"/>
                  </a:lnTo>
                  <a:lnTo>
                    <a:pt x="24" y="2"/>
                  </a:lnTo>
                  <a:lnTo>
                    <a:pt x="21" y="1"/>
                  </a:lnTo>
                  <a:lnTo>
                    <a:pt x="19" y="0"/>
                  </a:lnTo>
                  <a:lnTo>
                    <a:pt x="16" y="0"/>
                  </a:lnTo>
                  <a:lnTo>
                    <a:pt x="12" y="0"/>
                  </a:lnTo>
                  <a:lnTo>
                    <a:pt x="10" y="1"/>
                  </a:lnTo>
                  <a:lnTo>
                    <a:pt x="7" y="2"/>
                  </a:lnTo>
                  <a:lnTo>
                    <a:pt x="5" y="4"/>
                  </a:lnTo>
                  <a:lnTo>
                    <a:pt x="3" y="6"/>
                  </a:lnTo>
                  <a:lnTo>
                    <a:pt x="2" y="9"/>
                  </a:lnTo>
                  <a:lnTo>
                    <a:pt x="0" y="12"/>
                  </a:lnTo>
                  <a:lnTo>
                    <a:pt x="0" y="15"/>
                  </a:lnTo>
                  <a:lnTo>
                    <a:pt x="0" y="18"/>
                  </a:lnTo>
                  <a:lnTo>
                    <a:pt x="2" y="20"/>
                  </a:lnTo>
                  <a:lnTo>
                    <a:pt x="3" y="23"/>
                  </a:lnTo>
                  <a:lnTo>
                    <a:pt x="5" y="26"/>
                  </a:lnTo>
                  <a:lnTo>
                    <a:pt x="7" y="28"/>
                  </a:lnTo>
                  <a:lnTo>
                    <a:pt x="10" y="29"/>
                  </a:lnTo>
                  <a:lnTo>
                    <a:pt x="12" y="30"/>
                  </a:ln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81">
              <a:extLst>
                <a:ext uri="{FF2B5EF4-FFF2-40B4-BE49-F238E27FC236}">
                  <a16:creationId xmlns:a16="http://schemas.microsoft.com/office/drawing/2014/main" id="{3B8B06B0-2E0B-4479-8FCC-48A14A4E9B35}"/>
                </a:ext>
              </a:extLst>
            </p:cNvPr>
            <p:cNvSpPr>
              <a:spLocks/>
            </p:cNvSpPr>
            <p:nvPr/>
          </p:nvSpPr>
          <p:spPr bwMode="auto">
            <a:xfrm>
              <a:off x="371475" y="1581150"/>
              <a:ext cx="9525" cy="9525"/>
            </a:xfrm>
            <a:custGeom>
              <a:avLst/>
              <a:gdLst>
                <a:gd name="T0" fmla="*/ 16 w 31"/>
                <a:gd name="T1" fmla="*/ 30 h 30"/>
                <a:gd name="T2" fmla="*/ 18 w 31"/>
                <a:gd name="T3" fmla="*/ 30 h 30"/>
                <a:gd name="T4" fmla="*/ 22 w 31"/>
                <a:gd name="T5" fmla="*/ 29 h 30"/>
                <a:gd name="T6" fmla="*/ 24 w 31"/>
                <a:gd name="T7" fmla="*/ 28 h 30"/>
                <a:gd name="T8" fmla="*/ 26 w 31"/>
                <a:gd name="T9" fmla="*/ 26 h 30"/>
                <a:gd name="T10" fmla="*/ 28 w 31"/>
                <a:gd name="T11" fmla="*/ 23 h 30"/>
                <a:gd name="T12" fmla="*/ 29 w 31"/>
                <a:gd name="T13" fmla="*/ 20 h 30"/>
                <a:gd name="T14" fmla="*/ 30 w 31"/>
                <a:gd name="T15" fmla="*/ 18 h 30"/>
                <a:gd name="T16" fmla="*/ 31 w 31"/>
                <a:gd name="T17" fmla="*/ 15 h 30"/>
                <a:gd name="T18" fmla="*/ 30 w 31"/>
                <a:gd name="T19" fmla="*/ 12 h 30"/>
                <a:gd name="T20" fmla="*/ 29 w 31"/>
                <a:gd name="T21" fmla="*/ 9 h 30"/>
                <a:gd name="T22" fmla="*/ 28 w 31"/>
                <a:gd name="T23" fmla="*/ 6 h 30"/>
                <a:gd name="T24" fmla="*/ 26 w 31"/>
                <a:gd name="T25" fmla="*/ 4 h 30"/>
                <a:gd name="T26" fmla="*/ 24 w 31"/>
                <a:gd name="T27" fmla="*/ 2 h 30"/>
                <a:gd name="T28" fmla="*/ 22 w 31"/>
                <a:gd name="T29" fmla="*/ 1 h 30"/>
                <a:gd name="T30" fmla="*/ 18 w 31"/>
                <a:gd name="T31" fmla="*/ 0 h 30"/>
                <a:gd name="T32" fmla="*/ 16 w 31"/>
                <a:gd name="T33" fmla="*/ 0 h 30"/>
                <a:gd name="T34" fmla="*/ 13 w 31"/>
                <a:gd name="T35" fmla="*/ 0 h 30"/>
                <a:gd name="T36" fmla="*/ 10 w 31"/>
                <a:gd name="T37" fmla="*/ 1 h 30"/>
                <a:gd name="T38" fmla="*/ 8 w 31"/>
                <a:gd name="T39" fmla="*/ 2 h 30"/>
                <a:gd name="T40" fmla="*/ 6 w 31"/>
                <a:gd name="T41" fmla="*/ 4 h 30"/>
                <a:gd name="T42" fmla="*/ 3 w 31"/>
                <a:gd name="T43" fmla="*/ 6 h 30"/>
                <a:gd name="T44" fmla="*/ 2 w 31"/>
                <a:gd name="T45" fmla="*/ 9 h 30"/>
                <a:gd name="T46" fmla="*/ 1 w 31"/>
                <a:gd name="T47" fmla="*/ 12 h 30"/>
                <a:gd name="T48" fmla="*/ 0 w 31"/>
                <a:gd name="T49" fmla="*/ 15 h 30"/>
                <a:gd name="T50" fmla="*/ 1 w 31"/>
                <a:gd name="T51" fmla="*/ 18 h 30"/>
                <a:gd name="T52" fmla="*/ 2 w 31"/>
                <a:gd name="T53" fmla="*/ 20 h 30"/>
                <a:gd name="T54" fmla="*/ 3 w 31"/>
                <a:gd name="T55" fmla="*/ 23 h 30"/>
                <a:gd name="T56" fmla="*/ 6 w 31"/>
                <a:gd name="T57" fmla="*/ 26 h 30"/>
                <a:gd name="T58" fmla="*/ 8 w 31"/>
                <a:gd name="T59" fmla="*/ 28 h 30"/>
                <a:gd name="T60" fmla="*/ 10 w 31"/>
                <a:gd name="T61" fmla="*/ 29 h 30"/>
                <a:gd name="T62" fmla="*/ 13 w 31"/>
                <a:gd name="T63" fmla="*/ 30 h 30"/>
                <a:gd name="T64" fmla="*/ 16 w 31"/>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6" y="30"/>
                  </a:moveTo>
                  <a:lnTo>
                    <a:pt x="18" y="30"/>
                  </a:lnTo>
                  <a:lnTo>
                    <a:pt x="22" y="29"/>
                  </a:lnTo>
                  <a:lnTo>
                    <a:pt x="24" y="28"/>
                  </a:lnTo>
                  <a:lnTo>
                    <a:pt x="26" y="26"/>
                  </a:lnTo>
                  <a:lnTo>
                    <a:pt x="28" y="23"/>
                  </a:lnTo>
                  <a:lnTo>
                    <a:pt x="29" y="20"/>
                  </a:lnTo>
                  <a:lnTo>
                    <a:pt x="30" y="18"/>
                  </a:lnTo>
                  <a:lnTo>
                    <a:pt x="31" y="15"/>
                  </a:lnTo>
                  <a:lnTo>
                    <a:pt x="30" y="12"/>
                  </a:lnTo>
                  <a:lnTo>
                    <a:pt x="29" y="9"/>
                  </a:lnTo>
                  <a:lnTo>
                    <a:pt x="28" y="6"/>
                  </a:lnTo>
                  <a:lnTo>
                    <a:pt x="26" y="4"/>
                  </a:lnTo>
                  <a:lnTo>
                    <a:pt x="24" y="2"/>
                  </a:lnTo>
                  <a:lnTo>
                    <a:pt x="22" y="1"/>
                  </a:lnTo>
                  <a:lnTo>
                    <a:pt x="18" y="0"/>
                  </a:lnTo>
                  <a:lnTo>
                    <a:pt x="16" y="0"/>
                  </a:lnTo>
                  <a:lnTo>
                    <a:pt x="13" y="0"/>
                  </a:lnTo>
                  <a:lnTo>
                    <a:pt x="10" y="1"/>
                  </a:lnTo>
                  <a:lnTo>
                    <a:pt x="8" y="2"/>
                  </a:lnTo>
                  <a:lnTo>
                    <a:pt x="6" y="4"/>
                  </a:lnTo>
                  <a:lnTo>
                    <a:pt x="3" y="6"/>
                  </a:lnTo>
                  <a:lnTo>
                    <a:pt x="2" y="9"/>
                  </a:lnTo>
                  <a:lnTo>
                    <a:pt x="1" y="12"/>
                  </a:lnTo>
                  <a:lnTo>
                    <a:pt x="0" y="15"/>
                  </a:lnTo>
                  <a:lnTo>
                    <a:pt x="1" y="18"/>
                  </a:lnTo>
                  <a:lnTo>
                    <a:pt x="2" y="20"/>
                  </a:lnTo>
                  <a:lnTo>
                    <a:pt x="3" y="23"/>
                  </a:lnTo>
                  <a:lnTo>
                    <a:pt x="6" y="26"/>
                  </a:lnTo>
                  <a:lnTo>
                    <a:pt x="8" y="28"/>
                  </a:lnTo>
                  <a:lnTo>
                    <a:pt x="10" y="29"/>
                  </a:lnTo>
                  <a:lnTo>
                    <a:pt x="13" y="30"/>
                  </a:ln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2" name="Group 87">
            <a:extLst>
              <a:ext uri="{FF2B5EF4-FFF2-40B4-BE49-F238E27FC236}">
                <a16:creationId xmlns:a16="http://schemas.microsoft.com/office/drawing/2014/main" id="{B364D691-C915-432D-9462-52ACC692D679}"/>
              </a:ext>
            </a:extLst>
          </p:cNvPr>
          <p:cNvGrpSpPr>
            <a:grpSpLocks noChangeAspect="1"/>
          </p:cNvGrpSpPr>
          <p:nvPr/>
        </p:nvGrpSpPr>
        <p:grpSpPr>
          <a:xfrm>
            <a:off x="718893" y="5956111"/>
            <a:ext cx="190412" cy="285619"/>
            <a:chOff x="3240088" y="1935163"/>
            <a:chExt cx="190500" cy="285750"/>
          </a:xfrm>
          <a:solidFill>
            <a:schemeClr val="bg1"/>
          </a:solidFill>
          <a:effectLst/>
        </p:grpSpPr>
        <p:sp>
          <p:nvSpPr>
            <p:cNvPr id="1143" name="Freeform 219">
              <a:extLst>
                <a:ext uri="{FF2B5EF4-FFF2-40B4-BE49-F238E27FC236}">
                  <a16:creationId xmlns:a16="http://schemas.microsoft.com/office/drawing/2014/main" id="{107DD4BA-BD7E-4E79-AE7E-230DAC5718CF}"/>
                </a:ext>
              </a:extLst>
            </p:cNvPr>
            <p:cNvSpPr>
              <a:spLocks/>
            </p:cNvSpPr>
            <p:nvPr/>
          </p:nvSpPr>
          <p:spPr bwMode="auto">
            <a:xfrm>
              <a:off x="3249613" y="2020888"/>
              <a:ext cx="180975" cy="200025"/>
            </a:xfrm>
            <a:custGeom>
              <a:avLst/>
              <a:gdLst>
                <a:gd name="T0" fmla="*/ 481 w 571"/>
                <a:gd name="T1" fmla="*/ 316 h 632"/>
                <a:gd name="T2" fmla="*/ 474 w 571"/>
                <a:gd name="T3" fmla="*/ 274 h 632"/>
                <a:gd name="T4" fmla="*/ 456 w 571"/>
                <a:gd name="T5" fmla="*/ 238 h 632"/>
                <a:gd name="T6" fmla="*/ 428 w 571"/>
                <a:gd name="T7" fmla="*/ 202 h 632"/>
                <a:gd name="T8" fmla="*/ 393 w 571"/>
                <a:gd name="T9" fmla="*/ 170 h 632"/>
                <a:gd name="T10" fmla="*/ 330 w 571"/>
                <a:gd name="T11" fmla="*/ 119 h 632"/>
                <a:gd name="T12" fmla="*/ 329 w 571"/>
                <a:gd name="T13" fmla="*/ 48 h 632"/>
                <a:gd name="T14" fmla="*/ 324 w 571"/>
                <a:gd name="T15" fmla="*/ 31 h 632"/>
                <a:gd name="T16" fmla="*/ 313 w 571"/>
                <a:gd name="T17" fmla="*/ 18 h 632"/>
                <a:gd name="T18" fmla="*/ 299 w 571"/>
                <a:gd name="T19" fmla="*/ 7 h 632"/>
                <a:gd name="T20" fmla="*/ 283 w 571"/>
                <a:gd name="T21" fmla="*/ 1 h 632"/>
                <a:gd name="T22" fmla="*/ 60 w 571"/>
                <a:gd name="T23" fmla="*/ 0 h 632"/>
                <a:gd name="T24" fmla="*/ 42 w 571"/>
                <a:gd name="T25" fmla="*/ 3 h 632"/>
                <a:gd name="T26" fmla="*/ 26 w 571"/>
                <a:gd name="T27" fmla="*/ 10 h 632"/>
                <a:gd name="T28" fmla="*/ 13 w 571"/>
                <a:gd name="T29" fmla="*/ 22 h 632"/>
                <a:gd name="T30" fmla="*/ 4 w 571"/>
                <a:gd name="T31" fmla="*/ 36 h 632"/>
                <a:gd name="T32" fmla="*/ 0 w 571"/>
                <a:gd name="T33" fmla="*/ 54 h 632"/>
                <a:gd name="T34" fmla="*/ 0 w 571"/>
                <a:gd name="T35" fmla="*/ 458 h 632"/>
                <a:gd name="T36" fmla="*/ 4 w 571"/>
                <a:gd name="T37" fmla="*/ 475 h 632"/>
                <a:gd name="T38" fmla="*/ 13 w 571"/>
                <a:gd name="T39" fmla="*/ 490 h 632"/>
                <a:gd name="T40" fmla="*/ 26 w 571"/>
                <a:gd name="T41" fmla="*/ 501 h 632"/>
                <a:gd name="T42" fmla="*/ 42 w 571"/>
                <a:gd name="T43" fmla="*/ 509 h 632"/>
                <a:gd name="T44" fmla="*/ 60 w 571"/>
                <a:gd name="T45" fmla="*/ 511 h 632"/>
                <a:gd name="T46" fmla="*/ 216 w 571"/>
                <a:gd name="T47" fmla="*/ 510 h 632"/>
                <a:gd name="T48" fmla="*/ 223 w 571"/>
                <a:gd name="T49" fmla="*/ 505 h 632"/>
                <a:gd name="T50" fmla="*/ 225 w 571"/>
                <a:gd name="T51" fmla="*/ 496 h 632"/>
                <a:gd name="T52" fmla="*/ 223 w 571"/>
                <a:gd name="T53" fmla="*/ 488 h 632"/>
                <a:gd name="T54" fmla="*/ 216 w 571"/>
                <a:gd name="T55" fmla="*/ 482 h 632"/>
                <a:gd name="T56" fmla="*/ 60 w 571"/>
                <a:gd name="T57" fmla="*/ 481 h 632"/>
                <a:gd name="T58" fmla="*/ 43 w 571"/>
                <a:gd name="T59" fmla="*/ 476 h 632"/>
                <a:gd name="T60" fmla="*/ 32 w 571"/>
                <a:gd name="T61" fmla="*/ 463 h 632"/>
                <a:gd name="T62" fmla="*/ 30 w 571"/>
                <a:gd name="T63" fmla="*/ 60 h 632"/>
                <a:gd name="T64" fmla="*/ 34 w 571"/>
                <a:gd name="T65" fmla="*/ 43 h 632"/>
                <a:gd name="T66" fmla="*/ 48 w 571"/>
                <a:gd name="T67" fmla="*/ 32 h 632"/>
                <a:gd name="T68" fmla="*/ 270 w 571"/>
                <a:gd name="T69" fmla="*/ 30 h 632"/>
                <a:gd name="T70" fmla="*/ 287 w 571"/>
                <a:gd name="T71" fmla="*/ 35 h 632"/>
                <a:gd name="T72" fmla="*/ 298 w 571"/>
                <a:gd name="T73" fmla="*/ 48 h 632"/>
                <a:gd name="T74" fmla="*/ 300 w 571"/>
                <a:gd name="T75" fmla="*/ 195 h 632"/>
                <a:gd name="T76" fmla="*/ 303 w 571"/>
                <a:gd name="T77" fmla="*/ 203 h 632"/>
                <a:gd name="T78" fmla="*/ 310 w 571"/>
                <a:gd name="T79" fmla="*/ 209 h 632"/>
                <a:gd name="T80" fmla="*/ 318 w 571"/>
                <a:gd name="T81" fmla="*/ 210 h 632"/>
                <a:gd name="T82" fmla="*/ 326 w 571"/>
                <a:gd name="T83" fmla="*/ 205 h 632"/>
                <a:gd name="T84" fmla="*/ 330 w 571"/>
                <a:gd name="T85" fmla="*/ 198 h 632"/>
                <a:gd name="T86" fmla="*/ 354 w 571"/>
                <a:gd name="T87" fmla="*/ 176 h 632"/>
                <a:gd name="T88" fmla="*/ 415 w 571"/>
                <a:gd name="T89" fmla="*/ 233 h 632"/>
                <a:gd name="T90" fmla="*/ 435 w 571"/>
                <a:gd name="T91" fmla="*/ 262 h 632"/>
                <a:gd name="T92" fmla="*/ 448 w 571"/>
                <a:gd name="T93" fmla="*/ 293 h 632"/>
                <a:gd name="T94" fmla="*/ 451 w 571"/>
                <a:gd name="T95" fmla="*/ 481 h 632"/>
                <a:gd name="T96" fmla="*/ 544 w 571"/>
                <a:gd name="T97" fmla="*/ 625 h 632"/>
                <a:gd name="T98" fmla="*/ 553 w 571"/>
                <a:gd name="T99" fmla="*/ 631 h 632"/>
                <a:gd name="T100" fmla="*/ 565 w 571"/>
                <a:gd name="T101" fmla="*/ 629 h 632"/>
                <a:gd name="T102" fmla="*/ 570 w 571"/>
                <a:gd name="T103" fmla="*/ 623 h 632"/>
                <a:gd name="T104" fmla="*/ 571 w 571"/>
                <a:gd name="T105" fmla="*/ 614 h 632"/>
                <a:gd name="T106" fmla="*/ 569 w 571"/>
                <a:gd name="T107" fmla="*/ 6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1" h="632">
                  <a:moveTo>
                    <a:pt x="569" y="609"/>
                  </a:moveTo>
                  <a:lnTo>
                    <a:pt x="481" y="477"/>
                  </a:lnTo>
                  <a:lnTo>
                    <a:pt x="481" y="316"/>
                  </a:lnTo>
                  <a:lnTo>
                    <a:pt x="480" y="302"/>
                  </a:lnTo>
                  <a:lnTo>
                    <a:pt x="478" y="288"/>
                  </a:lnTo>
                  <a:lnTo>
                    <a:pt x="474" y="274"/>
                  </a:lnTo>
                  <a:lnTo>
                    <a:pt x="470" y="261"/>
                  </a:lnTo>
                  <a:lnTo>
                    <a:pt x="463" y="249"/>
                  </a:lnTo>
                  <a:lnTo>
                    <a:pt x="456" y="238"/>
                  </a:lnTo>
                  <a:lnTo>
                    <a:pt x="447" y="226"/>
                  </a:lnTo>
                  <a:lnTo>
                    <a:pt x="438" y="214"/>
                  </a:lnTo>
                  <a:lnTo>
                    <a:pt x="428" y="202"/>
                  </a:lnTo>
                  <a:lnTo>
                    <a:pt x="417" y="192"/>
                  </a:lnTo>
                  <a:lnTo>
                    <a:pt x="405" y="181"/>
                  </a:lnTo>
                  <a:lnTo>
                    <a:pt x="393" y="170"/>
                  </a:lnTo>
                  <a:lnTo>
                    <a:pt x="368" y="149"/>
                  </a:lnTo>
                  <a:lnTo>
                    <a:pt x="341" y="127"/>
                  </a:lnTo>
                  <a:lnTo>
                    <a:pt x="330" y="119"/>
                  </a:lnTo>
                  <a:lnTo>
                    <a:pt x="330" y="60"/>
                  </a:lnTo>
                  <a:lnTo>
                    <a:pt x="330" y="53"/>
                  </a:lnTo>
                  <a:lnTo>
                    <a:pt x="329" y="48"/>
                  </a:lnTo>
                  <a:lnTo>
                    <a:pt x="328" y="42"/>
                  </a:lnTo>
                  <a:lnTo>
                    <a:pt x="326" y="36"/>
                  </a:lnTo>
                  <a:lnTo>
                    <a:pt x="324" y="31"/>
                  </a:lnTo>
                  <a:lnTo>
                    <a:pt x="321" y="26"/>
                  </a:lnTo>
                  <a:lnTo>
                    <a:pt x="317" y="22"/>
                  </a:lnTo>
                  <a:lnTo>
                    <a:pt x="313" y="18"/>
                  </a:lnTo>
                  <a:lnTo>
                    <a:pt x="309" y="13"/>
                  </a:lnTo>
                  <a:lnTo>
                    <a:pt x="304" y="10"/>
                  </a:lnTo>
                  <a:lnTo>
                    <a:pt x="299" y="7"/>
                  </a:lnTo>
                  <a:lnTo>
                    <a:pt x="294" y="5"/>
                  </a:lnTo>
                  <a:lnTo>
                    <a:pt x="288" y="3"/>
                  </a:lnTo>
                  <a:lnTo>
                    <a:pt x="283" y="1"/>
                  </a:lnTo>
                  <a:lnTo>
                    <a:pt x="277" y="0"/>
                  </a:lnTo>
                  <a:lnTo>
                    <a:pt x="270" y="0"/>
                  </a:lnTo>
                  <a:lnTo>
                    <a:pt x="60" y="0"/>
                  </a:lnTo>
                  <a:lnTo>
                    <a:pt x="53" y="0"/>
                  </a:lnTo>
                  <a:lnTo>
                    <a:pt x="47" y="1"/>
                  </a:lnTo>
                  <a:lnTo>
                    <a:pt x="42" y="3"/>
                  </a:lnTo>
                  <a:lnTo>
                    <a:pt x="36" y="5"/>
                  </a:lnTo>
                  <a:lnTo>
                    <a:pt x="31" y="7"/>
                  </a:lnTo>
                  <a:lnTo>
                    <a:pt x="26" y="10"/>
                  </a:lnTo>
                  <a:lnTo>
                    <a:pt x="21" y="13"/>
                  </a:lnTo>
                  <a:lnTo>
                    <a:pt x="17" y="18"/>
                  </a:lnTo>
                  <a:lnTo>
                    <a:pt x="13" y="22"/>
                  </a:lnTo>
                  <a:lnTo>
                    <a:pt x="9" y="26"/>
                  </a:lnTo>
                  <a:lnTo>
                    <a:pt x="6" y="32"/>
                  </a:lnTo>
                  <a:lnTo>
                    <a:pt x="4" y="36"/>
                  </a:lnTo>
                  <a:lnTo>
                    <a:pt x="2" y="42"/>
                  </a:lnTo>
                  <a:lnTo>
                    <a:pt x="1" y="48"/>
                  </a:lnTo>
                  <a:lnTo>
                    <a:pt x="0" y="54"/>
                  </a:lnTo>
                  <a:lnTo>
                    <a:pt x="0" y="60"/>
                  </a:lnTo>
                  <a:lnTo>
                    <a:pt x="0" y="451"/>
                  </a:lnTo>
                  <a:lnTo>
                    <a:pt x="0" y="458"/>
                  </a:lnTo>
                  <a:lnTo>
                    <a:pt x="1" y="463"/>
                  </a:lnTo>
                  <a:lnTo>
                    <a:pt x="2" y="469"/>
                  </a:lnTo>
                  <a:lnTo>
                    <a:pt x="4" y="475"/>
                  </a:lnTo>
                  <a:lnTo>
                    <a:pt x="6" y="480"/>
                  </a:lnTo>
                  <a:lnTo>
                    <a:pt x="9" y="484"/>
                  </a:lnTo>
                  <a:lnTo>
                    <a:pt x="13" y="490"/>
                  </a:lnTo>
                  <a:lnTo>
                    <a:pt x="17" y="494"/>
                  </a:lnTo>
                  <a:lnTo>
                    <a:pt x="21" y="497"/>
                  </a:lnTo>
                  <a:lnTo>
                    <a:pt x="26" y="501"/>
                  </a:lnTo>
                  <a:lnTo>
                    <a:pt x="31" y="505"/>
                  </a:lnTo>
                  <a:lnTo>
                    <a:pt x="36" y="507"/>
                  </a:lnTo>
                  <a:lnTo>
                    <a:pt x="42" y="509"/>
                  </a:lnTo>
                  <a:lnTo>
                    <a:pt x="47" y="510"/>
                  </a:lnTo>
                  <a:lnTo>
                    <a:pt x="53" y="511"/>
                  </a:lnTo>
                  <a:lnTo>
                    <a:pt x="60" y="511"/>
                  </a:lnTo>
                  <a:lnTo>
                    <a:pt x="210" y="511"/>
                  </a:lnTo>
                  <a:lnTo>
                    <a:pt x="213" y="511"/>
                  </a:lnTo>
                  <a:lnTo>
                    <a:pt x="216" y="510"/>
                  </a:lnTo>
                  <a:lnTo>
                    <a:pt x="219" y="509"/>
                  </a:lnTo>
                  <a:lnTo>
                    <a:pt x="221" y="507"/>
                  </a:lnTo>
                  <a:lnTo>
                    <a:pt x="223" y="505"/>
                  </a:lnTo>
                  <a:lnTo>
                    <a:pt x="224" y="503"/>
                  </a:lnTo>
                  <a:lnTo>
                    <a:pt x="225" y="499"/>
                  </a:lnTo>
                  <a:lnTo>
                    <a:pt x="225" y="496"/>
                  </a:lnTo>
                  <a:lnTo>
                    <a:pt x="225" y="493"/>
                  </a:lnTo>
                  <a:lnTo>
                    <a:pt x="224" y="491"/>
                  </a:lnTo>
                  <a:lnTo>
                    <a:pt x="223" y="488"/>
                  </a:lnTo>
                  <a:lnTo>
                    <a:pt x="221" y="485"/>
                  </a:lnTo>
                  <a:lnTo>
                    <a:pt x="219" y="484"/>
                  </a:lnTo>
                  <a:lnTo>
                    <a:pt x="216" y="482"/>
                  </a:lnTo>
                  <a:lnTo>
                    <a:pt x="213" y="482"/>
                  </a:lnTo>
                  <a:lnTo>
                    <a:pt x="210" y="481"/>
                  </a:lnTo>
                  <a:lnTo>
                    <a:pt x="60" y="481"/>
                  </a:lnTo>
                  <a:lnTo>
                    <a:pt x="53" y="481"/>
                  </a:lnTo>
                  <a:lnTo>
                    <a:pt x="48" y="479"/>
                  </a:lnTo>
                  <a:lnTo>
                    <a:pt x="43" y="476"/>
                  </a:lnTo>
                  <a:lnTo>
                    <a:pt x="38" y="473"/>
                  </a:lnTo>
                  <a:lnTo>
                    <a:pt x="34" y="468"/>
                  </a:lnTo>
                  <a:lnTo>
                    <a:pt x="32" y="463"/>
                  </a:lnTo>
                  <a:lnTo>
                    <a:pt x="30" y="458"/>
                  </a:lnTo>
                  <a:lnTo>
                    <a:pt x="30" y="451"/>
                  </a:lnTo>
                  <a:lnTo>
                    <a:pt x="30" y="60"/>
                  </a:lnTo>
                  <a:lnTo>
                    <a:pt x="30" y="54"/>
                  </a:lnTo>
                  <a:lnTo>
                    <a:pt x="32" y="48"/>
                  </a:lnTo>
                  <a:lnTo>
                    <a:pt x="34" y="43"/>
                  </a:lnTo>
                  <a:lnTo>
                    <a:pt x="38" y="38"/>
                  </a:lnTo>
                  <a:lnTo>
                    <a:pt x="43" y="35"/>
                  </a:lnTo>
                  <a:lnTo>
                    <a:pt x="48" y="32"/>
                  </a:lnTo>
                  <a:lnTo>
                    <a:pt x="53" y="31"/>
                  </a:lnTo>
                  <a:lnTo>
                    <a:pt x="60" y="30"/>
                  </a:lnTo>
                  <a:lnTo>
                    <a:pt x="270" y="30"/>
                  </a:lnTo>
                  <a:lnTo>
                    <a:pt x="277" y="31"/>
                  </a:lnTo>
                  <a:lnTo>
                    <a:pt x="282" y="32"/>
                  </a:lnTo>
                  <a:lnTo>
                    <a:pt x="287" y="35"/>
                  </a:lnTo>
                  <a:lnTo>
                    <a:pt x="292" y="38"/>
                  </a:lnTo>
                  <a:lnTo>
                    <a:pt x="296" y="43"/>
                  </a:lnTo>
                  <a:lnTo>
                    <a:pt x="298" y="48"/>
                  </a:lnTo>
                  <a:lnTo>
                    <a:pt x="300" y="54"/>
                  </a:lnTo>
                  <a:lnTo>
                    <a:pt x="300" y="60"/>
                  </a:lnTo>
                  <a:lnTo>
                    <a:pt x="300" y="195"/>
                  </a:lnTo>
                  <a:lnTo>
                    <a:pt x="301" y="198"/>
                  </a:lnTo>
                  <a:lnTo>
                    <a:pt x="301" y="201"/>
                  </a:lnTo>
                  <a:lnTo>
                    <a:pt x="303" y="203"/>
                  </a:lnTo>
                  <a:lnTo>
                    <a:pt x="304" y="205"/>
                  </a:lnTo>
                  <a:lnTo>
                    <a:pt x="308" y="208"/>
                  </a:lnTo>
                  <a:lnTo>
                    <a:pt x="310" y="209"/>
                  </a:lnTo>
                  <a:lnTo>
                    <a:pt x="313" y="210"/>
                  </a:lnTo>
                  <a:lnTo>
                    <a:pt x="315" y="211"/>
                  </a:lnTo>
                  <a:lnTo>
                    <a:pt x="318" y="210"/>
                  </a:lnTo>
                  <a:lnTo>
                    <a:pt x="322" y="209"/>
                  </a:lnTo>
                  <a:lnTo>
                    <a:pt x="324" y="208"/>
                  </a:lnTo>
                  <a:lnTo>
                    <a:pt x="326" y="205"/>
                  </a:lnTo>
                  <a:lnTo>
                    <a:pt x="328" y="203"/>
                  </a:lnTo>
                  <a:lnTo>
                    <a:pt x="329" y="201"/>
                  </a:lnTo>
                  <a:lnTo>
                    <a:pt x="330" y="198"/>
                  </a:lnTo>
                  <a:lnTo>
                    <a:pt x="330" y="196"/>
                  </a:lnTo>
                  <a:lnTo>
                    <a:pt x="330" y="157"/>
                  </a:lnTo>
                  <a:lnTo>
                    <a:pt x="354" y="176"/>
                  </a:lnTo>
                  <a:lnTo>
                    <a:pt x="376" y="195"/>
                  </a:lnTo>
                  <a:lnTo>
                    <a:pt x="397" y="214"/>
                  </a:lnTo>
                  <a:lnTo>
                    <a:pt x="415" y="233"/>
                  </a:lnTo>
                  <a:lnTo>
                    <a:pt x="422" y="243"/>
                  </a:lnTo>
                  <a:lnTo>
                    <a:pt x="430" y="253"/>
                  </a:lnTo>
                  <a:lnTo>
                    <a:pt x="435" y="262"/>
                  </a:lnTo>
                  <a:lnTo>
                    <a:pt x="441" y="273"/>
                  </a:lnTo>
                  <a:lnTo>
                    <a:pt x="445" y="283"/>
                  </a:lnTo>
                  <a:lnTo>
                    <a:pt x="448" y="293"/>
                  </a:lnTo>
                  <a:lnTo>
                    <a:pt x="450" y="304"/>
                  </a:lnTo>
                  <a:lnTo>
                    <a:pt x="451" y="316"/>
                  </a:lnTo>
                  <a:lnTo>
                    <a:pt x="451" y="481"/>
                  </a:lnTo>
                  <a:lnTo>
                    <a:pt x="451" y="485"/>
                  </a:lnTo>
                  <a:lnTo>
                    <a:pt x="454" y="490"/>
                  </a:lnTo>
                  <a:lnTo>
                    <a:pt x="544" y="625"/>
                  </a:lnTo>
                  <a:lnTo>
                    <a:pt x="547" y="628"/>
                  </a:lnTo>
                  <a:lnTo>
                    <a:pt x="549" y="630"/>
                  </a:lnTo>
                  <a:lnTo>
                    <a:pt x="553" y="631"/>
                  </a:lnTo>
                  <a:lnTo>
                    <a:pt x="556" y="632"/>
                  </a:lnTo>
                  <a:lnTo>
                    <a:pt x="561" y="631"/>
                  </a:lnTo>
                  <a:lnTo>
                    <a:pt x="565" y="629"/>
                  </a:lnTo>
                  <a:lnTo>
                    <a:pt x="567" y="627"/>
                  </a:lnTo>
                  <a:lnTo>
                    <a:pt x="569" y="625"/>
                  </a:lnTo>
                  <a:lnTo>
                    <a:pt x="570" y="623"/>
                  </a:lnTo>
                  <a:lnTo>
                    <a:pt x="571" y="619"/>
                  </a:lnTo>
                  <a:lnTo>
                    <a:pt x="571" y="617"/>
                  </a:lnTo>
                  <a:lnTo>
                    <a:pt x="571" y="614"/>
                  </a:lnTo>
                  <a:lnTo>
                    <a:pt x="570" y="611"/>
                  </a:lnTo>
                  <a:lnTo>
                    <a:pt x="569" y="609"/>
                  </a:lnTo>
                  <a:lnTo>
                    <a:pt x="569" y="6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4" name="Freeform 220">
              <a:extLst>
                <a:ext uri="{FF2B5EF4-FFF2-40B4-BE49-F238E27FC236}">
                  <a16:creationId xmlns:a16="http://schemas.microsoft.com/office/drawing/2014/main" id="{715C3867-FB21-4E6B-9B12-E08203D53C10}"/>
                </a:ext>
              </a:extLst>
            </p:cNvPr>
            <p:cNvSpPr>
              <a:spLocks/>
            </p:cNvSpPr>
            <p:nvPr/>
          </p:nvSpPr>
          <p:spPr bwMode="auto">
            <a:xfrm>
              <a:off x="3316288" y="2103438"/>
              <a:ext cx="61913" cy="117475"/>
            </a:xfrm>
            <a:custGeom>
              <a:avLst/>
              <a:gdLst>
                <a:gd name="T0" fmla="*/ 93 w 192"/>
                <a:gd name="T1" fmla="*/ 12 h 373"/>
                <a:gd name="T2" fmla="*/ 84 w 192"/>
                <a:gd name="T3" fmla="*/ 7 h 373"/>
                <a:gd name="T4" fmla="*/ 68 w 192"/>
                <a:gd name="T5" fmla="*/ 1 h 373"/>
                <a:gd name="T6" fmla="*/ 45 w 192"/>
                <a:gd name="T7" fmla="*/ 1 h 373"/>
                <a:gd name="T8" fmla="*/ 29 w 192"/>
                <a:gd name="T9" fmla="*/ 7 h 373"/>
                <a:gd name="T10" fmla="*/ 20 w 192"/>
                <a:gd name="T11" fmla="*/ 12 h 373"/>
                <a:gd name="T12" fmla="*/ 12 w 192"/>
                <a:gd name="T13" fmla="*/ 20 h 373"/>
                <a:gd name="T14" fmla="*/ 6 w 192"/>
                <a:gd name="T15" fmla="*/ 29 h 373"/>
                <a:gd name="T16" fmla="*/ 1 w 192"/>
                <a:gd name="T17" fmla="*/ 45 h 373"/>
                <a:gd name="T18" fmla="*/ 0 w 192"/>
                <a:gd name="T19" fmla="*/ 67 h 373"/>
                <a:gd name="T20" fmla="*/ 6 w 192"/>
                <a:gd name="T21" fmla="*/ 83 h 373"/>
                <a:gd name="T22" fmla="*/ 11 w 192"/>
                <a:gd name="T23" fmla="*/ 92 h 373"/>
                <a:gd name="T24" fmla="*/ 86 w 192"/>
                <a:gd name="T25" fmla="*/ 211 h 373"/>
                <a:gd name="T26" fmla="*/ 86 w 192"/>
                <a:gd name="T27" fmla="*/ 284 h 373"/>
                <a:gd name="T28" fmla="*/ 89 w 192"/>
                <a:gd name="T29" fmla="*/ 309 h 373"/>
                <a:gd name="T30" fmla="*/ 96 w 192"/>
                <a:gd name="T31" fmla="*/ 329 h 373"/>
                <a:gd name="T32" fmla="*/ 110 w 192"/>
                <a:gd name="T33" fmla="*/ 352 h 373"/>
                <a:gd name="T34" fmla="*/ 122 w 192"/>
                <a:gd name="T35" fmla="*/ 369 h 373"/>
                <a:gd name="T36" fmla="*/ 128 w 192"/>
                <a:gd name="T37" fmla="*/ 372 h 373"/>
                <a:gd name="T38" fmla="*/ 137 w 192"/>
                <a:gd name="T39" fmla="*/ 372 h 373"/>
                <a:gd name="T40" fmla="*/ 143 w 192"/>
                <a:gd name="T41" fmla="*/ 368 h 373"/>
                <a:gd name="T42" fmla="*/ 146 w 192"/>
                <a:gd name="T43" fmla="*/ 363 h 373"/>
                <a:gd name="T44" fmla="*/ 146 w 192"/>
                <a:gd name="T45" fmla="*/ 357 h 373"/>
                <a:gd name="T46" fmla="*/ 145 w 192"/>
                <a:gd name="T47" fmla="*/ 352 h 373"/>
                <a:gd name="T48" fmla="*/ 135 w 192"/>
                <a:gd name="T49" fmla="*/ 337 h 373"/>
                <a:gd name="T50" fmla="*/ 124 w 192"/>
                <a:gd name="T51" fmla="*/ 319 h 373"/>
                <a:gd name="T52" fmla="*/ 118 w 192"/>
                <a:gd name="T53" fmla="*/ 301 h 373"/>
                <a:gd name="T54" fmla="*/ 116 w 192"/>
                <a:gd name="T55" fmla="*/ 281 h 373"/>
                <a:gd name="T56" fmla="*/ 116 w 192"/>
                <a:gd name="T57" fmla="*/ 207 h 373"/>
                <a:gd name="T58" fmla="*/ 114 w 192"/>
                <a:gd name="T59" fmla="*/ 200 h 373"/>
                <a:gd name="T60" fmla="*/ 38 w 192"/>
                <a:gd name="T61" fmla="*/ 77 h 373"/>
                <a:gd name="T62" fmla="*/ 34 w 192"/>
                <a:gd name="T63" fmla="*/ 72 h 373"/>
                <a:gd name="T64" fmla="*/ 30 w 192"/>
                <a:gd name="T65" fmla="*/ 62 h 373"/>
                <a:gd name="T66" fmla="*/ 30 w 192"/>
                <a:gd name="T67" fmla="*/ 52 h 373"/>
                <a:gd name="T68" fmla="*/ 34 w 192"/>
                <a:gd name="T69" fmla="*/ 41 h 373"/>
                <a:gd name="T70" fmla="*/ 41 w 192"/>
                <a:gd name="T71" fmla="*/ 34 h 373"/>
                <a:gd name="T72" fmla="*/ 51 w 192"/>
                <a:gd name="T73" fmla="*/ 31 h 373"/>
                <a:gd name="T74" fmla="*/ 61 w 192"/>
                <a:gd name="T75" fmla="*/ 31 h 373"/>
                <a:gd name="T76" fmla="*/ 72 w 192"/>
                <a:gd name="T77" fmla="*/ 34 h 373"/>
                <a:gd name="T78" fmla="*/ 167 w 192"/>
                <a:gd name="T79" fmla="*/ 128 h 373"/>
                <a:gd name="T80" fmla="*/ 171 w 192"/>
                <a:gd name="T81" fmla="*/ 131 h 373"/>
                <a:gd name="T82" fmla="*/ 177 w 192"/>
                <a:gd name="T83" fmla="*/ 132 h 373"/>
                <a:gd name="T84" fmla="*/ 183 w 192"/>
                <a:gd name="T85" fmla="*/ 131 h 373"/>
                <a:gd name="T86" fmla="*/ 187 w 192"/>
                <a:gd name="T87" fmla="*/ 128 h 373"/>
                <a:gd name="T88" fmla="*/ 191 w 192"/>
                <a:gd name="T89" fmla="*/ 122 h 373"/>
                <a:gd name="T90" fmla="*/ 192 w 192"/>
                <a:gd name="T91" fmla="*/ 117 h 373"/>
                <a:gd name="T92" fmla="*/ 191 w 192"/>
                <a:gd name="T93" fmla="*/ 112 h 373"/>
                <a:gd name="T94" fmla="*/ 187 w 192"/>
                <a:gd name="T95" fmla="*/ 10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373">
                  <a:moveTo>
                    <a:pt x="97" y="16"/>
                  </a:moveTo>
                  <a:lnTo>
                    <a:pt x="93" y="12"/>
                  </a:lnTo>
                  <a:lnTo>
                    <a:pt x="88" y="9"/>
                  </a:lnTo>
                  <a:lnTo>
                    <a:pt x="84" y="7"/>
                  </a:lnTo>
                  <a:lnTo>
                    <a:pt x="79" y="4"/>
                  </a:lnTo>
                  <a:lnTo>
                    <a:pt x="68" y="1"/>
                  </a:lnTo>
                  <a:lnTo>
                    <a:pt x="56" y="0"/>
                  </a:lnTo>
                  <a:lnTo>
                    <a:pt x="45" y="1"/>
                  </a:lnTo>
                  <a:lnTo>
                    <a:pt x="35" y="4"/>
                  </a:lnTo>
                  <a:lnTo>
                    <a:pt x="29" y="7"/>
                  </a:lnTo>
                  <a:lnTo>
                    <a:pt x="24" y="9"/>
                  </a:lnTo>
                  <a:lnTo>
                    <a:pt x="20" y="12"/>
                  </a:lnTo>
                  <a:lnTo>
                    <a:pt x="15" y="16"/>
                  </a:lnTo>
                  <a:lnTo>
                    <a:pt x="12" y="20"/>
                  </a:lnTo>
                  <a:lnTo>
                    <a:pt x="9" y="25"/>
                  </a:lnTo>
                  <a:lnTo>
                    <a:pt x="6" y="29"/>
                  </a:lnTo>
                  <a:lnTo>
                    <a:pt x="4" y="34"/>
                  </a:lnTo>
                  <a:lnTo>
                    <a:pt x="1" y="45"/>
                  </a:lnTo>
                  <a:lnTo>
                    <a:pt x="0" y="56"/>
                  </a:lnTo>
                  <a:lnTo>
                    <a:pt x="0" y="67"/>
                  </a:lnTo>
                  <a:lnTo>
                    <a:pt x="4" y="77"/>
                  </a:lnTo>
                  <a:lnTo>
                    <a:pt x="6" y="83"/>
                  </a:lnTo>
                  <a:lnTo>
                    <a:pt x="8" y="87"/>
                  </a:lnTo>
                  <a:lnTo>
                    <a:pt x="11" y="92"/>
                  </a:lnTo>
                  <a:lnTo>
                    <a:pt x="14" y="97"/>
                  </a:lnTo>
                  <a:lnTo>
                    <a:pt x="86" y="211"/>
                  </a:lnTo>
                  <a:lnTo>
                    <a:pt x="86" y="267"/>
                  </a:lnTo>
                  <a:lnTo>
                    <a:pt x="86" y="284"/>
                  </a:lnTo>
                  <a:lnTo>
                    <a:pt x="87" y="297"/>
                  </a:lnTo>
                  <a:lnTo>
                    <a:pt x="89" y="309"/>
                  </a:lnTo>
                  <a:lnTo>
                    <a:pt x="91" y="320"/>
                  </a:lnTo>
                  <a:lnTo>
                    <a:pt x="96" y="329"/>
                  </a:lnTo>
                  <a:lnTo>
                    <a:pt x="101" y="340"/>
                  </a:lnTo>
                  <a:lnTo>
                    <a:pt x="110" y="352"/>
                  </a:lnTo>
                  <a:lnTo>
                    <a:pt x="119" y="367"/>
                  </a:lnTo>
                  <a:lnTo>
                    <a:pt x="122" y="369"/>
                  </a:lnTo>
                  <a:lnTo>
                    <a:pt x="125" y="371"/>
                  </a:lnTo>
                  <a:lnTo>
                    <a:pt x="128" y="372"/>
                  </a:lnTo>
                  <a:lnTo>
                    <a:pt x="131" y="373"/>
                  </a:lnTo>
                  <a:lnTo>
                    <a:pt x="137" y="372"/>
                  </a:lnTo>
                  <a:lnTo>
                    <a:pt x="141" y="370"/>
                  </a:lnTo>
                  <a:lnTo>
                    <a:pt x="143" y="368"/>
                  </a:lnTo>
                  <a:lnTo>
                    <a:pt x="144" y="366"/>
                  </a:lnTo>
                  <a:lnTo>
                    <a:pt x="146" y="363"/>
                  </a:lnTo>
                  <a:lnTo>
                    <a:pt x="146" y="360"/>
                  </a:lnTo>
                  <a:lnTo>
                    <a:pt x="146" y="357"/>
                  </a:lnTo>
                  <a:lnTo>
                    <a:pt x="146" y="354"/>
                  </a:lnTo>
                  <a:lnTo>
                    <a:pt x="145" y="352"/>
                  </a:lnTo>
                  <a:lnTo>
                    <a:pt x="144" y="349"/>
                  </a:lnTo>
                  <a:lnTo>
                    <a:pt x="135" y="337"/>
                  </a:lnTo>
                  <a:lnTo>
                    <a:pt x="129" y="327"/>
                  </a:lnTo>
                  <a:lnTo>
                    <a:pt x="124" y="319"/>
                  </a:lnTo>
                  <a:lnTo>
                    <a:pt x="120" y="310"/>
                  </a:lnTo>
                  <a:lnTo>
                    <a:pt x="118" y="301"/>
                  </a:lnTo>
                  <a:lnTo>
                    <a:pt x="117" y="293"/>
                  </a:lnTo>
                  <a:lnTo>
                    <a:pt x="116" y="281"/>
                  </a:lnTo>
                  <a:lnTo>
                    <a:pt x="116" y="267"/>
                  </a:lnTo>
                  <a:lnTo>
                    <a:pt x="116" y="207"/>
                  </a:lnTo>
                  <a:lnTo>
                    <a:pt x="116" y="203"/>
                  </a:lnTo>
                  <a:lnTo>
                    <a:pt x="114" y="200"/>
                  </a:lnTo>
                  <a:lnTo>
                    <a:pt x="39" y="78"/>
                  </a:lnTo>
                  <a:lnTo>
                    <a:pt x="38" y="77"/>
                  </a:lnTo>
                  <a:lnTo>
                    <a:pt x="37" y="76"/>
                  </a:lnTo>
                  <a:lnTo>
                    <a:pt x="34" y="72"/>
                  </a:lnTo>
                  <a:lnTo>
                    <a:pt x="31" y="68"/>
                  </a:lnTo>
                  <a:lnTo>
                    <a:pt x="30" y="62"/>
                  </a:lnTo>
                  <a:lnTo>
                    <a:pt x="30" y="57"/>
                  </a:lnTo>
                  <a:lnTo>
                    <a:pt x="30" y="52"/>
                  </a:lnTo>
                  <a:lnTo>
                    <a:pt x="31" y="46"/>
                  </a:lnTo>
                  <a:lnTo>
                    <a:pt x="34" y="41"/>
                  </a:lnTo>
                  <a:lnTo>
                    <a:pt x="37" y="38"/>
                  </a:lnTo>
                  <a:lnTo>
                    <a:pt x="41" y="34"/>
                  </a:lnTo>
                  <a:lnTo>
                    <a:pt x="45" y="32"/>
                  </a:lnTo>
                  <a:lnTo>
                    <a:pt x="51" y="31"/>
                  </a:lnTo>
                  <a:lnTo>
                    <a:pt x="56" y="30"/>
                  </a:lnTo>
                  <a:lnTo>
                    <a:pt x="61" y="31"/>
                  </a:lnTo>
                  <a:lnTo>
                    <a:pt x="67" y="32"/>
                  </a:lnTo>
                  <a:lnTo>
                    <a:pt x="72" y="34"/>
                  </a:lnTo>
                  <a:lnTo>
                    <a:pt x="75" y="38"/>
                  </a:lnTo>
                  <a:lnTo>
                    <a:pt x="167" y="128"/>
                  </a:lnTo>
                  <a:lnTo>
                    <a:pt x="169" y="130"/>
                  </a:lnTo>
                  <a:lnTo>
                    <a:pt x="171" y="131"/>
                  </a:lnTo>
                  <a:lnTo>
                    <a:pt x="174" y="132"/>
                  </a:lnTo>
                  <a:lnTo>
                    <a:pt x="177" y="132"/>
                  </a:lnTo>
                  <a:lnTo>
                    <a:pt x="179" y="132"/>
                  </a:lnTo>
                  <a:lnTo>
                    <a:pt x="183" y="131"/>
                  </a:lnTo>
                  <a:lnTo>
                    <a:pt x="185" y="130"/>
                  </a:lnTo>
                  <a:lnTo>
                    <a:pt x="187" y="128"/>
                  </a:lnTo>
                  <a:lnTo>
                    <a:pt x="189" y="126"/>
                  </a:lnTo>
                  <a:lnTo>
                    <a:pt x="191" y="122"/>
                  </a:lnTo>
                  <a:lnTo>
                    <a:pt x="191" y="120"/>
                  </a:lnTo>
                  <a:lnTo>
                    <a:pt x="192" y="117"/>
                  </a:lnTo>
                  <a:lnTo>
                    <a:pt x="191" y="114"/>
                  </a:lnTo>
                  <a:lnTo>
                    <a:pt x="191" y="112"/>
                  </a:lnTo>
                  <a:lnTo>
                    <a:pt x="189" y="108"/>
                  </a:lnTo>
                  <a:lnTo>
                    <a:pt x="187" y="106"/>
                  </a:lnTo>
                  <a:lnTo>
                    <a:pt x="9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5" name="Freeform 221">
              <a:extLst>
                <a:ext uri="{FF2B5EF4-FFF2-40B4-BE49-F238E27FC236}">
                  <a16:creationId xmlns:a16="http://schemas.microsoft.com/office/drawing/2014/main" id="{C34BF5C0-6587-425E-BBCA-992059686734}"/>
                </a:ext>
              </a:extLst>
            </p:cNvPr>
            <p:cNvSpPr>
              <a:spLocks/>
            </p:cNvSpPr>
            <p:nvPr/>
          </p:nvSpPr>
          <p:spPr bwMode="auto">
            <a:xfrm>
              <a:off x="3268663" y="1982788"/>
              <a:ext cx="57150" cy="19050"/>
            </a:xfrm>
            <a:custGeom>
              <a:avLst/>
              <a:gdLst>
                <a:gd name="T0" fmla="*/ 2 w 180"/>
                <a:gd name="T1" fmla="*/ 37 h 60"/>
                <a:gd name="T2" fmla="*/ 0 w 180"/>
                <a:gd name="T3" fmla="*/ 42 h 60"/>
                <a:gd name="T4" fmla="*/ 0 w 180"/>
                <a:gd name="T5" fmla="*/ 49 h 60"/>
                <a:gd name="T6" fmla="*/ 2 w 180"/>
                <a:gd name="T7" fmla="*/ 54 h 60"/>
                <a:gd name="T8" fmla="*/ 6 w 180"/>
                <a:gd name="T9" fmla="*/ 58 h 60"/>
                <a:gd name="T10" fmla="*/ 12 w 180"/>
                <a:gd name="T11" fmla="*/ 60 h 60"/>
                <a:gd name="T12" fmla="*/ 17 w 180"/>
                <a:gd name="T13" fmla="*/ 60 h 60"/>
                <a:gd name="T14" fmla="*/ 23 w 180"/>
                <a:gd name="T15" fmla="*/ 58 h 60"/>
                <a:gd name="T16" fmla="*/ 31 w 180"/>
                <a:gd name="T17" fmla="*/ 51 h 60"/>
                <a:gd name="T18" fmla="*/ 45 w 180"/>
                <a:gd name="T19" fmla="*/ 42 h 60"/>
                <a:gd name="T20" fmla="*/ 62 w 180"/>
                <a:gd name="T21" fmla="*/ 35 h 60"/>
                <a:gd name="T22" fmla="*/ 80 w 180"/>
                <a:gd name="T23" fmla="*/ 30 h 60"/>
                <a:gd name="T24" fmla="*/ 100 w 180"/>
                <a:gd name="T25" fmla="*/ 30 h 60"/>
                <a:gd name="T26" fmla="*/ 118 w 180"/>
                <a:gd name="T27" fmla="*/ 35 h 60"/>
                <a:gd name="T28" fmla="*/ 135 w 180"/>
                <a:gd name="T29" fmla="*/ 42 h 60"/>
                <a:gd name="T30" fmla="*/ 149 w 180"/>
                <a:gd name="T31" fmla="*/ 51 h 60"/>
                <a:gd name="T32" fmla="*/ 156 w 180"/>
                <a:gd name="T33" fmla="*/ 58 h 60"/>
                <a:gd name="T34" fmla="*/ 162 w 180"/>
                <a:gd name="T35" fmla="*/ 60 h 60"/>
                <a:gd name="T36" fmla="*/ 168 w 180"/>
                <a:gd name="T37" fmla="*/ 60 h 60"/>
                <a:gd name="T38" fmla="*/ 174 w 180"/>
                <a:gd name="T39" fmla="*/ 58 h 60"/>
                <a:gd name="T40" fmla="*/ 178 w 180"/>
                <a:gd name="T41" fmla="*/ 54 h 60"/>
                <a:gd name="T42" fmla="*/ 180 w 180"/>
                <a:gd name="T43" fmla="*/ 49 h 60"/>
                <a:gd name="T44" fmla="*/ 180 w 180"/>
                <a:gd name="T45" fmla="*/ 42 h 60"/>
                <a:gd name="T46" fmla="*/ 178 w 180"/>
                <a:gd name="T47" fmla="*/ 37 h 60"/>
                <a:gd name="T48" fmla="*/ 169 w 180"/>
                <a:gd name="T49" fmla="*/ 28 h 60"/>
                <a:gd name="T50" fmla="*/ 151 w 180"/>
                <a:gd name="T51" fmla="*/ 16 h 60"/>
                <a:gd name="T52" fmla="*/ 129 w 180"/>
                <a:gd name="T53" fmla="*/ 7 h 60"/>
                <a:gd name="T54" fmla="*/ 103 w 180"/>
                <a:gd name="T55" fmla="*/ 1 h 60"/>
                <a:gd name="T56" fmla="*/ 77 w 180"/>
                <a:gd name="T57" fmla="*/ 1 h 60"/>
                <a:gd name="T58" fmla="*/ 51 w 180"/>
                <a:gd name="T59" fmla="*/ 7 h 60"/>
                <a:gd name="T60" fmla="*/ 29 w 180"/>
                <a:gd name="T61" fmla="*/ 16 h 60"/>
                <a:gd name="T62" fmla="*/ 11 w 180"/>
                <a:gd name="T63" fmla="*/ 28 h 60"/>
                <a:gd name="T64" fmla="*/ 4 w 180"/>
                <a:gd name="T6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 h="60">
                  <a:moveTo>
                    <a:pt x="4" y="35"/>
                  </a:moveTo>
                  <a:lnTo>
                    <a:pt x="2" y="37"/>
                  </a:lnTo>
                  <a:lnTo>
                    <a:pt x="1" y="40"/>
                  </a:lnTo>
                  <a:lnTo>
                    <a:pt x="0" y="42"/>
                  </a:lnTo>
                  <a:lnTo>
                    <a:pt x="0" y="45"/>
                  </a:lnTo>
                  <a:lnTo>
                    <a:pt x="0" y="49"/>
                  </a:lnTo>
                  <a:lnTo>
                    <a:pt x="1" y="51"/>
                  </a:lnTo>
                  <a:lnTo>
                    <a:pt x="2" y="54"/>
                  </a:lnTo>
                  <a:lnTo>
                    <a:pt x="4" y="56"/>
                  </a:lnTo>
                  <a:lnTo>
                    <a:pt x="6" y="58"/>
                  </a:lnTo>
                  <a:lnTo>
                    <a:pt x="8" y="59"/>
                  </a:lnTo>
                  <a:lnTo>
                    <a:pt x="12" y="60"/>
                  </a:lnTo>
                  <a:lnTo>
                    <a:pt x="15" y="60"/>
                  </a:lnTo>
                  <a:lnTo>
                    <a:pt x="17" y="60"/>
                  </a:lnTo>
                  <a:lnTo>
                    <a:pt x="20" y="59"/>
                  </a:lnTo>
                  <a:lnTo>
                    <a:pt x="23" y="58"/>
                  </a:lnTo>
                  <a:lnTo>
                    <a:pt x="26" y="56"/>
                  </a:lnTo>
                  <a:lnTo>
                    <a:pt x="31" y="51"/>
                  </a:lnTo>
                  <a:lnTo>
                    <a:pt x="37" y="47"/>
                  </a:lnTo>
                  <a:lnTo>
                    <a:pt x="45" y="42"/>
                  </a:lnTo>
                  <a:lnTo>
                    <a:pt x="52" y="38"/>
                  </a:lnTo>
                  <a:lnTo>
                    <a:pt x="62" y="35"/>
                  </a:lnTo>
                  <a:lnTo>
                    <a:pt x="71" y="33"/>
                  </a:lnTo>
                  <a:lnTo>
                    <a:pt x="80" y="30"/>
                  </a:lnTo>
                  <a:lnTo>
                    <a:pt x="90" y="30"/>
                  </a:lnTo>
                  <a:lnTo>
                    <a:pt x="100" y="30"/>
                  </a:lnTo>
                  <a:lnTo>
                    <a:pt x="109" y="33"/>
                  </a:lnTo>
                  <a:lnTo>
                    <a:pt x="118" y="35"/>
                  </a:lnTo>
                  <a:lnTo>
                    <a:pt x="128" y="38"/>
                  </a:lnTo>
                  <a:lnTo>
                    <a:pt x="135" y="42"/>
                  </a:lnTo>
                  <a:lnTo>
                    <a:pt x="143" y="47"/>
                  </a:lnTo>
                  <a:lnTo>
                    <a:pt x="149" y="51"/>
                  </a:lnTo>
                  <a:lnTo>
                    <a:pt x="154" y="56"/>
                  </a:lnTo>
                  <a:lnTo>
                    <a:pt x="156" y="58"/>
                  </a:lnTo>
                  <a:lnTo>
                    <a:pt x="160" y="59"/>
                  </a:lnTo>
                  <a:lnTo>
                    <a:pt x="162" y="60"/>
                  </a:lnTo>
                  <a:lnTo>
                    <a:pt x="165" y="60"/>
                  </a:lnTo>
                  <a:lnTo>
                    <a:pt x="168" y="60"/>
                  </a:lnTo>
                  <a:lnTo>
                    <a:pt x="170" y="59"/>
                  </a:lnTo>
                  <a:lnTo>
                    <a:pt x="174" y="58"/>
                  </a:lnTo>
                  <a:lnTo>
                    <a:pt x="176" y="56"/>
                  </a:lnTo>
                  <a:lnTo>
                    <a:pt x="178" y="54"/>
                  </a:lnTo>
                  <a:lnTo>
                    <a:pt x="179" y="51"/>
                  </a:lnTo>
                  <a:lnTo>
                    <a:pt x="180" y="49"/>
                  </a:lnTo>
                  <a:lnTo>
                    <a:pt x="180" y="45"/>
                  </a:lnTo>
                  <a:lnTo>
                    <a:pt x="180" y="42"/>
                  </a:lnTo>
                  <a:lnTo>
                    <a:pt x="179" y="40"/>
                  </a:lnTo>
                  <a:lnTo>
                    <a:pt x="178" y="37"/>
                  </a:lnTo>
                  <a:lnTo>
                    <a:pt x="176" y="35"/>
                  </a:lnTo>
                  <a:lnTo>
                    <a:pt x="169" y="28"/>
                  </a:lnTo>
                  <a:lnTo>
                    <a:pt x="161" y="22"/>
                  </a:lnTo>
                  <a:lnTo>
                    <a:pt x="151" y="16"/>
                  </a:lnTo>
                  <a:lnTo>
                    <a:pt x="140" y="11"/>
                  </a:lnTo>
                  <a:lnTo>
                    <a:pt x="129" y="7"/>
                  </a:lnTo>
                  <a:lnTo>
                    <a:pt x="116" y="4"/>
                  </a:lnTo>
                  <a:lnTo>
                    <a:pt x="103" y="1"/>
                  </a:lnTo>
                  <a:lnTo>
                    <a:pt x="90" y="0"/>
                  </a:lnTo>
                  <a:lnTo>
                    <a:pt x="77" y="1"/>
                  </a:lnTo>
                  <a:lnTo>
                    <a:pt x="64" y="4"/>
                  </a:lnTo>
                  <a:lnTo>
                    <a:pt x="51" y="7"/>
                  </a:lnTo>
                  <a:lnTo>
                    <a:pt x="40" y="11"/>
                  </a:lnTo>
                  <a:lnTo>
                    <a:pt x="29" y="16"/>
                  </a:lnTo>
                  <a:lnTo>
                    <a:pt x="19" y="22"/>
                  </a:lnTo>
                  <a:lnTo>
                    <a:pt x="11" y="28"/>
                  </a:lnTo>
                  <a:lnTo>
                    <a:pt x="4" y="35"/>
                  </a:lnTo>
                  <a:lnTo>
                    <a:pt x="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6" name="Freeform 222">
              <a:extLst>
                <a:ext uri="{FF2B5EF4-FFF2-40B4-BE49-F238E27FC236}">
                  <a16:creationId xmlns:a16="http://schemas.microsoft.com/office/drawing/2014/main" id="{E5F10C32-2543-4624-818A-57399C12A1DA}"/>
                </a:ext>
              </a:extLst>
            </p:cNvPr>
            <p:cNvSpPr>
              <a:spLocks/>
            </p:cNvSpPr>
            <p:nvPr/>
          </p:nvSpPr>
          <p:spPr bwMode="auto">
            <a:xfrm>
              <a:off x="3254375" y="1958975"/>
              <a:ext cx="85725" cy="23813"/>
            </a:xfrm>
            <a:custGeom>
              <a:avLst/>
              <a:gdLst>
                <a:gd name="T0" fmla="*/ 258 w 270"/>
                <a:gd name="T1" fmla="*/ 75 h 75"/>
                <a:gd name="T2" fmla="*/ 264 w 270"/>
                <a:gd name="T3" fmla="*/ 73 h 75"/>
                <a:gd name="T4" fmla="*/ 268 w 270"/>
                <a:gd name="T5" fmla="*/ 69 h 75"/>
                <a:gd name="T6" fmla="*/ 270 w 270"/>
                <a:gd name="T7" fmla="*/ 63 h 75"/>
                <a:gd name="T8" fmla="*/ 270 w 270"/>
                <a:gd name="T9" fmla="*/ 57 h 75"/>
                <a:gd name="T10" fmla="*/ 268 w 270"/>
                <a:gd name="T11" fmla="*/ 52 h 75"/>
                <a:gd name="T12" fmla="*/ 254 w 270"/>
                <a:gd name="T13" fmla="*/ 39 h 75"/>
                <a:gd name="T14" fmla="*/ 229 w 270"/>
                <a:gd name="T15" fmla="*/ 21 h 75"/>
                <a:gd name="T16" fmla="*/ 198 w 270"/>
                <a:gd name="T17" fmla="*/ 8 h 75"/>
                <a:gd name="T18" fmla="*/ 159 w 270"/>
                <a:gd name="T19" fmla="*/ 0 h 75"/>
                <a:gd name="T20" fmla="*/ 111 w 270"/>
                <a:gd name="T21" fmla="*/ 0 h 75"/>
                <a:gd name="T22" fmla="*/ 72 w 270"/>
                <a:gd name="T23" fmla="*/ 8 h 75"/>
                <a:gd name="T24" fmla="*/ 41 w 270"/>
                <a:gd name="T25" fmla="*/ 21 h 75"/>
                <a:gd name="T26" fmla="*/ 16 w 270"/>
                <a:gd name="T27" fmla="*/ 39 h 75"/>
                <a:gd name="T28" fmla="*/ 2 w 270"/>
                <a:gd name="T29" fmla="*/ 52 h 75"/>
                <a:gd name="T30" fmla="*/ 0 w 270"/>
                <a:gd name="T31" fmla="*/ 57 h 75"/>
                <a:gd name="T32" fmla="*/ 0 w 270"/>
                <a:gd name="T33" fmla="*/ 63 h 75"/>
                <a:gd name="T34" fmla="*/ 2 w 270"/>
                <a:gd name="T35" fmla="*/ 69 h 75"/>
                <a:gd name="T36" fmla="*/ 6 w 270"/>
                <a:gd name="T37" fmla="*/ 73 h 75"/>
                <a:gd name="T38" fmla="*/ 12 w 270"/>
                <a:gd name="T39" fmla="*/ 75 h 75"/>
                <a:gd name="T40" fmla="*/ 17 w 270"/>
                <a:gd name="T41" fmla="*/ 75 h 75"/>
                <a:gd name="T42" fmla="*/ 22 w 270"/>
                <a:gd name="T43" fmla="*/ 73 h 75"/>
                <a:gd name="T44" fmla="*/ 35 w 270"/>
                <a:gd name="T45" fmla="*/ 61 h 75"/>
                <a:gd name="T46" fmla="*/ 57 w 270"/>
                <a:gd name="T47" fmla="*/ 46 h 75"/>
                <a:gd name="T48" fmla="*/ 81 w 270"/>
                <a:gd name="T49" fmla="*/ 36 h 75"/>
                <a:gd name="T50" fmla="*/ 115 w 270"/>
                <a:gd name="T51" fmla="*/ 30 h 75"/>
                <a:gd name="T52" fmla="*/ 155 w 270"/>
                <a:gd name="T53" fmla="*/ 30 h 75"/>
                <a:gd name="T54" fmla="*/ 189 w 270"/>
                <a:gd name="T55" fmla="*/ 36 h 75"/>
                <a:gd name="T56" fmla="*/ 213 w 270"/>
                <a:gd name="T57" fmla="*/ 46 h 75"/>
                <a:gd name="T58" fmla="*/ 235 w 270"/>
                <a:gd name="T59" fmla="*/ 61 h 75"/>
                <a:gd name="T60" fmla="*/ 248 w 270"/>
                <a:gd name="T61" fmla="*/ 73 h 75"/>
                <a:gd name="T62" fmla="*/ 253 w 270"/>
                <a:gd name="T6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75">
                  <a:moveTo>
                    <a:pt x="255" y="75"/>
                  </a:moveTo>
                  <a:lnTo>
                    <a:pt x="258" y="75"/>
                  </a:lnTo>
                  <a:lnTo>
                    <a:pt x="262" y="74"/>
                  </a:lnTo>
                  <a:lnTo>
                    <a:pt x="264" y="73"/>
                  </a:lnTo>
                  <a:lnTo>
                    <a:pt x="266" y="71"/>
                  </a:lnTo>
                  <a:lnTo>
                    <a:pt x="268" y="69"/>
                  </a:lnTo>
                  <a:lnTo>
                    <a:pt x="269" y="66"/>
                  </a:lnTo>
                  <a:lnTo>
                    <a:pt x="270" y="63"/>
                  </a:lnTo>
                  <a:lnTo>
                    <a:pt x="270" y="60"/>
                  </a:lnTo>
                  <a:lnTo>
                    <a:pt x="270" y="57"/>
                  </a:lnTo>
                  <a:lnTo>
                    <a:pt x="269" y="54"/>
                  </a:lnTo>
                  <a:lnTo>
                    <a:pt x="268" y="52"/>
                  </a:lnTo>
                  <a:lnTo>
                    <a:pt x="266" y="50"/>
                  </a:lnTo>
                  <a:lnTo>
                    <a:pt x="254" y="39"/>
                  </a:lnTo>
                  <a:lnTo>
                    <a:pt x="242" y="29"/>
                  </a:lnTo>
                  <a:lnTo>
                    <a:pt x="229" y="21"/>
                  </a:lnTo>
                  <a:lnTo>
                    <a:pt x="214" y="13"/>
                  </a:lnTo>
                  <a:lnTo>
                    <a:pt x="198" y="8"/>
                  </a:lnTo>
                  <a:lnTo>
                    <a:pt x="180" y="4"/>
                  </a:lnTo>
                  <a:lnTo>
                    <a:pt x="159" y="0"/>
                  </a:lnTo>
                  <a:lnTo>
                    <a:pt x="135" y="0"/>
                  </a:lnTo>
                  <a:lnTo>
                    <a:pt x="111" y="0"/>
                  </a:lnTo>
                  <a:lnTo>
                    <a:pt x="90" y="4"/>
                  </a:lnTo>
                  <a:lnTo>
                    <a:pt x="72" y="8"/>
                  </a:lnTo>
                  <a:lnTo>
                    <a:pt x="56" y="13"/>
                  </a:lnTo>
                  <a:lnTo>
                    <a:pt x="41" y="21"/>
                  </a:lnTo>
                  <a:lnTo>
                    <a:pt x="28" y="29"/>
                  </a:lnTo>
                  <a:lnTo>
                    <a:pt x="16" y="39"/>
                  </a:lnTo>
                  <a:lnTo>
                    <a:pt x="4" y="50"/>
                  </a:lnTo>
                  <a:lnTo>
                    <a:pt x="2" y="52"/>
                  </a:lnTo>
                  <a:lnTo>
                    <a:pt x="1" y="54"/>
                  </a:lnTo>
                  <a:lnTo>
                    <a:pt x="0" y="57"/>
                  </a:lnTo>
                  <a:lnTo>
                    <a:pt x="0" y="60"/>
                  </a:lnTo>
                  <a:lnTo>
                    <a:pt x="0" y="63"/>
                  </a:lnTo>
                  <a:lnTo>
                    <a:pt x="1" y="66"/>
                  </a:lnTo>
                  <a:lnTo>
                    <a:pt x="2" y="69"/>
                  </a:lnTo>
                  <a:lnTo>
                    <a:pt x="4" y="71"/>
                  </a:lnTo>
                  <a:lnTo>
                    <a:pt x="6" y="73"/>
                  </a:lnTo>
                  <a:lnTo>
                    <a:pt x="8" y="74"/>
                  </a:lnTo>
                  <a:lnTo>
                    <a:pt x="12" y="75"/>
                  </a:lnTo>
                  <a:lnTo>
                    <a:pt x="15" y="75"/>
                  </a:lnTo>
                  <a:lnTo>
                    <a:pt x="17" y="75"/>
                  </a:lnTo>
                  <a:lnTo>
                    <a:pt x="20" y="74"/>
                  </a:lnTo>
                  <a:lnTo>
                    <a:pt x="22" y="73"/>
                  </a:lnTo>
                  <a:lnTo>
                    <a:pt x="26" y="71"/>
                  </a:lnTo>
                  <a:lnTo>
                    <a:pt x="35" y="61"/>
                  </a:lnTo>
                  <a:lnTo>
                    <a:pt x="45" y="53"/>
                  </a:lnTo>
                  <a:lnTo>
                    <a:pt x="57" y="46"/>
                  </a:lnTo>
                  <a:lnTo>
                    <a:pt x="68" y="40"/>
                  </a:lnTo>
                  <a:lnTo>
                    <a:pt x="81" y="36"/>
                  </a:lnTo>
                  <a:lnTo>
                    <a:pt x="97" y="32"/>
                  </a:lnTo>
                  <a:lnTo>
                    <a:pt x="115" y="30"/>
                  </a:lnTo>
                  <a:lnTo>
                    <a:pt x="135" y="30"/>
                  </a:lnTo>
                  <a:lnTo>
                    <a:pt x="155" y="30"/>
                  </a:lnTo>
                  <a:lnTo>
                    <a:pt x="173" y="32"/>
                  </a:lnTo>
                  <a:lnTo>
                    <a:pt x="189" y="36"/>
                  </a:lnTo>
                  <a:lnTo>
                    <a:pt x="201" y="41"/>
                  </a:lnTo>
                  <a:lnTo>
                    <a:pt x="213" y="46"/>
                  </a:lnTo>
                  <a:lnTo>
                    <a:pt x="225" y="53"/>
                  </a:lnTo>
                  <a:lnTo>
                    <a:pt x="235" y="61"/>
                  </a:lnTo>
                  <a:lnTo>
                    <a:pt x="244" y="71"/>
                  </a:lnTo>
                  <a:lnTo>
                    <a:pt x="248" y="73"/>
                  </a:lnTo>
                  <a:lnTo>
                    <a:pt x="250" y="74"/>
                  </a:lnTo>
                  <a:lnTo>
                    <a:pt x="253" y="75"/>
                  </a:lnTo>
                  <a:lnTo>
                    <a:pt x="25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7" name="Freeform 223">
              <a:extLst>
                <a:ext uri="{FF2B5EF4-FFF2-40B4-BE49-F238E27FC236}">
                  <a16:creationId xmlns:a16="http://schemas.microsoft.com/office/drawing/2014/main" id="{9A465BB8-1F6B-4DEA-8624-C22719821D4B}"/>
                </a:ext>
              </a:extLst>
            </p:cNvPr>
            <p:cNvSpPr>
              <a:spLocks/>
            </p:cNvSpPr>
            <p:nvPr/>
          </p:nvSpPr>
          <p:spPr bwMode="auto">
            <a:xfrm>
              <a:off x="3240088" y="1935163"/>
              <a:ext cx="114300" cy="28575"/>
            </a:xfrm>
            <a:custGeom>
              <a:avLst/>
              <a:gdLst>
                <a:gd name="T0" fmla="*/ 338 w 360"/>
                <a:gd name="T1" fmla="*/ 87 h 90"/>
                <a:gd name="T2" fmla="*/ 343 w 360"/>
                <a:gd name="T3" fmla="*/ 89 h 90"/>
                <a:gd name="T4" fmla="*/ 348 w 360"/>
                <a:gd name="T5" fmla="*/ 89 h 90"/>
                <a:gd name="T6" fmla="*/ 354 w 360"/>
                <a:gd name="T7" fmla="*/ 87 h 90"/>
                <a:gd name="T8" fmla="*/ 358 w 360"/>
                <a:gd name="T9" fmla="*/ 83 h 90"/>
                <a:gd name="T10" fmla="*/ 360 w 360"/>
                <a:gd name="T11" fmla="*/ 77 h 90"/>
                <a:gd name="T12" fmla="*/ 360 w 360"/>
                <a:gd name="T13" fmla="*/ 72 h 90"/>
                <a:gd name="T14" fmla="*/ 358 w 360"/>
                <a:gd name="T15" fmla="*/ 67 h 90"/>
                <a:gd name="T16" fmla="*/ 347 w 360"/>
                <a:gd name="T17" fmla="*/ 56 h 90"/>
                <a:gd name="T18" fmla="*/ 329 w 360"/>
                <a:gd name="T19" fmla="*/ 41 h 90"/>
                <a:gd name="T20" fmla="*/ 311 w 360"/>
                <a:gd name="T21" fmla="*/ 28 h 90"/>
                <a:gd name="T22" fmla="*/ 292 w 360"/>
                <a:gd name="T23" fmla="*/ 18 h 90"/>
                <a:gd name="T24" fmla="*/ 270 w 360"/>
                <a:gd name="T25" fmla="*/ 11 h 90"/>
                <a:gd name="T26" fmla="*/ 248 w 360"/>
                <a:gd name="T27" fmla="*/ 6 h 90"/>
                <a:gd name="T28" fmla="*/ 209 w 360"/>
                <a:gd name="T29" fmla="*/ 0 h 90"/>
                <a:gd name="T30" fmla="*/ 151 w 360"/>
                <a:gd name="T31" fmla="*/ 0 h 90"/>
                <a:gd name="T32" fmla="*/ 112 w 360"/>
                <a:gd name="T33" fmla="*/ 6 h 90"/>
                <a:gd name="T34" fmla="*/ 90 w 360"/>
                <a:gd name="T35" fmla="*/ 11 h 90"/>
                <a:gd name="T36" fmla="*/ 68 w 360"/>
                <a:gd name="T37" fmla="*/ 18 h 90"/>
                <a:gd name="T38" fmla="*/ 49 w 360"/>
                <a:gd name="T39" fmla="*/ 28 h 90"/>
                <a:gd name="T40" fmla="*/ 31 w 360"/>
                <a:gd name="T41" fmla="*/ 41 h 90"/>
                <a:gd name="T42" fmla="*/ 13 w 360"/>
                <a:gd name="T43" fmla="*/ 56 h 90"/>
                <a:gd name="T44" fmla="*/ 2 w 360"/>
                <a:gd name="T45" fmla="*/ 67 h 90"/>
                <a:gd name="T46" fmla="*/ 0 w 360"/>
                <a:gd name="T47" fmla="*/ 72 h 90"/>
                <a:gd name="T48" fmla="*/ 0 w 360"/>
                <a:gd name="T49" fmla="*/ 77 h 90"/>
                <a:gd name="T50" fmla="*/ 2 w 360"/>
                <a:gd name="T51" fmla="*/ 83 h 90"/>
                <a:gd name="T52" fmla="*/ 6 w 360"/>
                <a:gd name="T53" fmla="*/ 87 h 90"/>
                <a:gd name="T54" fmla="*/ 12 w 360"/>
                <a:gd name="T55" fmla="*/ 89 h 90"/>
                <a:gd name="T56" fmla="*/ 17 w 360"/>
                <a:gd name="T57" fmla="*/ 89 h 90"/>
                <a:gd name="T58" fmla="*/ 22 w 360"/>
                <a:gd name="T59" fmla="*/ 87 h 90"/>
                <a:gd name="T60" fmla="*/ 41 w 360"/>
                <a:gd name="T61" fmla="*/ 71 h 90"/>
                <a:gd name="T62" fmla="*/ 64 w 360"/>
                <a:gd name="T63" fmla="*/ 55 h 90"/>
                <a:gd name="T64" fmla="*/ 81 w 360"/>
                <a:gd name="T65" fmla="*/ 45 h 90"/>
                <a:gd name="T66" fmla="*/ 100 w 360"/>
                <a:gd name="T67" fmla="*/ 39 h 90"/>
                <a:gd name="T68" fmla="*/ 120 w 360"/>
                <a:gd name="T69" fmla="*/ 35 h 90"/>
                <a:gd name="T70" fmla="*/ 154 w 360"/>
                <a:gd name="T71" fmla="*/ 30 h 90"/>
                <a:gd name="T72" fmla="*/ 206 w 360"/>
                <a:gd name="T73" fmla="*/ 30 h 90"/>
                <a:gd name="T74" fmla="*/ 240 w 360"/>
                <a:gd name="T75" fmla="*/ 35 h 90"/>
                <a:gd name="T76" fmla="*/ 260 w 360"/>
                <a:gd name="T77" fmla="*/ 39 h 90"/>
                <a:gd name="T78" fmla="*/ 279 w 360"/>
                <a:gd name="T79" fmla="*/ 45 h 90"/>
                <a:gd name="T80" fmla="*/ 296 w 360"/>
                <a:gd name="T81" fmla="*/ 55 h 90"/>
                <a:gd name="T82" fmla="*/ 319 w 360"/>
                <a:gd name="T83" fmla="*/ 71 h 90"/>
                <a:gd name="T84" fmla="*/ 334 w 360"/>
                <a:gd name="T85"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90">
                  <a:moveTo>
                    <a:pt x="334" y="86"/>
                  </a:moveTo>
                  <a:lnTo>
                    <a:pt x="338" y="87"/>
                  </a:lnTo>
                  <a:lnTo>
                    <a:pt x="340" y="89"/>
                  </a:lnTo>
                  <a:lnTo>
                    <a:pt x="343" y="89"/>
                  </a:lnTo>
                  <a:lnTo>
                    <a:pt x="345" y="90"/>
                  </a:lnTo>
                  <a:lnTo>
                    <a:pt x="348" y="89"/>
                  </a:lnTo>
                  <a:lnTo>
                    <a:pt x="352" y="89"/>
                  </a:lnTo>
                  <a:lnTo>
                    <a:pt x="354" y="87"/>
                  </a:lnTo>
                  <a:lnTo>
                    <a:pt x="356" y="86"/>
                  </a:lnTo>
                  <a:lnTo>
                    <a:pt x="358" y="83"/>
                  </a:lnTo>
                  <a:lnTo>
                    <a:pt x="359" y="81"/>
                  </a:lnTo>
                  <a:lnTo>
                    <a:pt x="360" y="77"/>
                  </a:lnTo>
                  <a:lnTo>
                    <a:pt x="360" y="75"/>
                  </a:lnTo>
                  <a:lnTo>
                    <a:pt x="360" y="72"/>
                  </a:lnTo>
                  <a:lnTo>
                    <a:pt x="359" y="69"/>
                  </a:lnTo>
                  <a:lnTo>
                    <a:pt x="358" y="67"/>
                  </a:lnTo>
                  <a:lnTo>
                    <a:pt x="356" y="65"/>
                  </a:lnTo>
                  <a:lnTo>
                    <a:pt x="347" y="56"/>
                  </a:lnTo>
                  <a:lnTo>
                    <a:pt x="339" y="48"/>
                  </a:lnTo>
                  <a:lnTo>
                    <a:pt x="329" y="41"/>
                  </a:lnTo>
                  <a:lnTo>
                    <a:pt x="320" y="35"/>
                  </a:lnTo>
                  <a:lnTo>
                    <a:pt x="311" y="28"/>
                  </a:lnTo>
                  <a:lnTo>
                    <a:pt x="301" y="23"/>
                  </a:lnTo>
                  <a:lnTo>
                    <a:pt x="292" y="18"/>
                  </a:lnTo>
                  <a:lnTo>
                    <a:pt x="281" y="14"/>
                  </a:lnTo>
                  <a:lnTo>
                    <a:pt x="270" y="11"/>
                  </a:lnTo>
                  <a:lnTo>
                    <a:pt x="259" y="8"/>
                  </a:lnTo>
                  <a:lnTo>
                    <a:pt x="248" y="6"/>
                  </a:lnTo>
                  <a:lnTo>
                    <a:pt x="235" y="3"/>
                  </a:lnTo>
                  <a:lnTo>
                    <a:pt x="209" y="0"/>
                  </a:lnTo>
                  <a:lnTo>
                    <a:pt x="180" y="0"/>
                  </a:lnTo>
                  <a:lnTo>
                    <a:pt x="151" y="0"/>
                  </a:lnTo>
                  <a:lnTo>
                    <a:pt x="124" y="3"/>
                  </a:lnTo>
                  <a:lnTo>
                    <a:pt x="112" y="6"/>
                  </a:lnTo>
                  <a:lnTo>
                    <a:pt x="101" y="8"/>
                  </a:lnTo>
                  <a:lnTo>
                    <a:pt x="90" y="11"/>
                  </a:lnTo>
                  <a:lnTo>
                    <a:pt x="79" y="14"/>
                  </a:lnTo>
                  <a:lnTo>
                    <a:pt x="68" y="18"/>
                  </a:lnTo>
                  <a:lnTo>
                    <a:pt x="59" y="23"/>
                  </a:lnTo>
                  <a:lnTo>
                    <a:pt x="49" y="28"/>
                  </a:lnTo>
                  <a:lnTo>
                    <a:pt x="39" y="35"/>
                  </a:lnTo>
                  <a:lnTo>
                    <a:pt x="31" y="41"/>
                  </a:lnTo>
                  <a:lnTo>
                    <a:pt x="21" y="48"/>
                  </a:lnTo>
                  <a:lnTo>
                    <a:pt x="13" y="56"/>
                  </a:lnTo>
                  <a:lnTo>
                    <a:pt x="4" y="65"/>
                  </a:lnTo>
                  <a:lnTo>
                    <a:pt x="2" y="67"/>
                  </a:lnTo>
                  <a:lnTo>
                    <a:pt x="1" y="69"/>
                  </a:lnTo>
                  <a:lnTo>
                    <a:pt x="0" y="72"/>
                  </a:lnTo>
                  <a:lnTo>
                    <a:pt x="0" y="75"/>
                  </a:lnTo>
                  <a:lnTo>
                    <a:pt x="0" y="77"/>
                  </a:lnTo>
                  <a:lnTo>
                    <a:pt x="1" y="81"/>
                  </a:lnTo>
                  <a:lnTo>
                    <a:pt x="2" y="83"/>
                  </a:lnTo>
                  <a:lnTo>
                    <a:pt x="4" y="86"/>
                  </a:lnTo>
                  <a:lnTo>
                    <a:pt x="6" y="87"/>
                  </a:lnTo>
                  <a:lnTo>
                    <a:pt x="8" y="89"/>
                  </a:lnTo>
                  <a:lnTo>
                    <a:pt x="12" y="89"/>
                  </a:lnTo>
                  <a:lnTo>
                    <a:pt x="15" y="90"/>
                  </a:lnTo>
                  <a:lnTo>
                    <a:pt x="17" y="89"/>
                  </a:lnTo>
                  <a:lnTo>
                    <a:pt x="20" y="89"/>
                  </a:lnTo>
                  <a:lnTo>
                    <a:pt x="22" y="87"/>
                  </a:lnTo>
                  <a:lnTo>
                    <a:pt x="26" y="86"/>
                  </a:lnTo>
                  <a:lnTo>
                    <a:pt x="41" y="71"/>
                  </a:lnTo>
                  <a:lnTo>
                    <a:pt x="57" y="59"/>
                  </a:lnTo>
                  <a:lnTo>
                    <a:pt x="64" y="55"/>
                  </a:lnTo>
                  <a:lnTo>
                    <a:pt x="73" y="50"/>
                  </a:lnTo>
                  <a:lnTo>
                    <a:pt x="81" y="45"/>
                  </a:lnTo>
                  <a:lnTo>
                    <a:pt x="91" y="42"/>
                  </a:lnTo>
                  <a:lnTo>
                    <a:pt x="100" y="39"/>
                  </a:lnTo>
                  <a:lnTo>
                    <a:pt x="109" y="37"/>
                  </a:lnTo>
                  <a:lnTo>
                    <a:pt x="120" y="35"/>
                  </a:lnTo>
                  <a:lnTo>
                    <a:pt x="131" y="32"/>
                  </a:lnTo>
                  <a:lnTo>
                    <a:pt x="154" y="30"/>
                  </a:lnTo>
                  <a:lnTo>
                    <a:pt x="180" y="30"/>
                  </a:lnTo>
                  <a:lnTo>
                    <a:pt x="206" y="30"/>
                  </a:lnTo>
                  <a:lnTo>
                    <a:pt x="229" y="32"/>
                  </a:lnTo>
                  <a:lnTo>
                    <a:pt x="240" y="35"/>
                  </a:lnTo>
                  <a:lnTo>
                    <a:pt x="250" y="37"/>
                  </a:lnTo>
                  <a:lnTo>
                    <a:pt x="260" y="39"/>
                  </a:lnTo>
                  <a:lnTo>
                    <a:pt x="269" y="42"/>
                  </a:lnTo>
                  <a:lnTo>
                    <a:pt x="279" y="45"/>
                  </a:lnTo>
                  <a:lnTo>
                    <a:pt x="287" y="50"/>
                  </a:lnTo>
                  <a:lnTo>
                    <a:pt x="296" y="55"/>
                  </a:lnTo>
                  <a:lnTo>
                    <a:pt x="303" y="59"/>
                  </a:lnTo>
                  <a:lnTo>
                    <a:pt x="319" y="71"/>
                  </a:lnTo>
                  <a:lnTo>
                    <a:pt x="334" y="86"/>
                  </a:lnTo>
                  <a:lnTo>
                    <a:pt x="33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8" name="Freeform 224">
              <a:extLst>
                <a:ext uri="{FF2B5EF4-FFF2-40B4-BE49-F238E27FC236}">
                  <a16:creationId xmlns:a16="http://schemas.microsoft.com/office/drawing/2014/main" id="{B81FDBCA-07EC-4743-8399-5A726A331FC3}"/>
                </a:ext>
              </a:extLst>
            </p:cNvPr>
            <p:cNvSpPr>
              <a:spLocks/>
            </p:cNvSpPr>
            <p:nvPr/>
          </p:nvSpPr>
          <p:spPr bwMode="auto">
            <a:xfrm>
              <a:off x="3278188" y="2049463"/>
              <a:ext cx="9525" cy="9525"/>
            </a:xfrm>
            <a:custGeom>
              <a:avLst/>
              <a:gdLst>
                <a:gd name="T0" fmla="*/ 15 w 30"/>
                <a:gd name="T1" fmla="*/ 0 h 30"/>
                <a:gd name="T2" fmla="*/ 12 w 30"/>
                <a:gd name="T3" fmla="*/ 1 h 30"/>
                <a:gd name="T4" fmla="*/ 9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7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9" y="1"/>
                  </a:lnTo>
                  <a:lnTo>
                    <a:pt x="6" y="3"/>
                  </a:lnTo>
                  <a:lnTo>
                    <a:pt x="4" y="4"/>
                  </a:lnTo>
                  <a:lnTo>
                    <a:pt x="2" y="7"/>
                  </a:lnTo>
                  <a:lnTo>
                    <a:pt x="1" y="9"/>
                  </a:lnTo>
                  <a:lnTo>
                    <a:pt x="0" y="12"/>
                  </a:lnTo>
                  <a:lnTo>
                    <a:pt x="0" y="15"/>
                  </a:lnTo>
                  <a:lnTo>
                    <a:pt x="0" y="18"/>
                  </a:lnTo>
                  <a:lnTo>
                    <a:pt x="1" y="21"/>
                  </a:lnTo>
                  <a:lnTo>
                    <a:pt x="2" y="23"/>
                  </a:lnTo>
                  <a:lnTo>
                    <a:pt x="4" y="25"/>
                  </a:lnTo>
                  <a:lnTo>
                    <a:pt x="6" y="28"/>
                  </a:lnTo>
                  <a:lnTo>
                    <a:pt x="9" y="29"/>
                  </a:lnTo>
                  <a:lnTo>
                    <a:pt x="12" y="30"/>
                  </a:lnTo>
                  <a:lnTo>
                    <a:pt x="15" y="30"/>
                  </a:lnTo>
                  <a:lnTo>
                    <a:pt x="18" y="30"/>
                  </a:lnTo>
                  <a:lnTo>
                    <a:pt x="20" y="29"/>
                  </a:lnTo>
                  <a:lnTo>
                    <a:pt x="24" y="28"/>
                  </a:lnTo>
                  <a:lnTo>
                    <a:pt x="26" y="25"/>
                  </a:lnTo>
                  <a:lnTo>
                    <a:pt x="27" y="23"/>
                  </a:lnTo>
                  <a:lnTo>
                    <a:pt x="29" y="21"/>
                  </a:lnTo>
                  <a:lnTo>
                    <a:pt x="30" y="18"/>
                  </a:lnTo>
                  <a:lnTo>
                    <a:pt x="30" y="15"/>
                  </a:lnTo>
                  <a:lnTo>
                    <a:pt x="30" y="12"/>
                  </a:lnTo>
                  <a:lnTo>
                    <a:pt x="29" y="9"/>
                  </a:lnTo>
                  <a:lnTo>
                    <a:pt x="27"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49" name="Freeform 225">
              <a:extLst>
                <a:ext uri="{FF2B5EF4-FFF2-40B4-BE49-F238E27FC236}">
                  <a16:creationId xmlns:a16="http://schemas.microsoft.com/office/drawing/2014/main" id="{FB4BACF6-0F8C-4B2B-AE54-ECC51A3991AF}"/>
                </a:ext>
              </a:extLst>
            </p:cNvPr>
            <p:cNvSpPr>
              <a:spLocks/>
            </p:cNvSpPr>
            <p:nvPr/>
          </p:nvSpPr>
          <p:spPr bwMode="auto">
            <a:xfrm>
              <a:off x="3297238" y="2049463"/>
              <a:ext cx="9525" cy="9525"/>
            </a:xfrm>
            <a:custGeom>
              <a:avLst/>
              <a:gdLst>
                <a:gd name="T0" fmla="*/ 15 w 30"/>
                <a:gd name="T1" fmla="*/ 0 h 30"/>
                <a:gd name="T2" fmla="*/ 12 w 30"/>
                <a:gd name="T3" fmla="*/ 1 h 30"/>
                <a:gd name="T4" fmla="*/ 10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8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10" y="1"/>
                  </a:lnTo>
                  <a:lnTo>
                    <a:pt x="6" y="3"/>
                  </a:lnTo>
                  <a:lnTo>
                    <a:pt x="4" y="4"/>
                  </a:lnTo>
                  <a:lnTo>
                    <a:pt x="2" y="7"/>
                  </a:lnTo>
                  <a:lnTo>
                    <a:pt x="1" y="9"/>
                  </a:lnTo>
                  <a:lnTo>
                    <a:pt x="0" y="12"/>
                  </a:lnTo>
                  <a:lnTo>
                    <a:pt x="0" y="15"/>
                  </a:lnTo>
                  <a:lnTo>
                    <a:pt x="0" y="18"/>
                  </a:lnTo>
                  <a:lnTo>
                    <a:pt x="1" y="21"/>
                  </a:lnTo>
                  <a:lnTo>
                    <a:pt x="2" y="23"/>
                  </a:lnTo>
                  <a:lnTo>
                    <a:pt x="4" y="25"/>
                  </a:lnTo>
                  <a:lnTo>
                    <a:pt x="6" y="28"/>
                  </a:lnTo>
                  <a:lnTo>
                    <a:pt x="10" y="29"/>
                  </a:lnTo>
                  <a:lnTo>
                    <a:pt x="12" y="30"/>
                  </a:lnTo>
                  <a:lnTo>
                    <a:pt x="15" y="30"/>
                  </a:lnTo>
                  <a:lnTo>
                    <a:pt x="18" y="30"/>
                  </a:lnTo>
                  <a:lnTo>
                    <a:pt x="20"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0" name="Freeform 226">
              <a:extLst>
                <a:ext uri="{FF2B5EF4-FFF2-40B4-BE49-F238E27FC236}">
                  <a16:creationId xmlns:a16="http://schemas.microsoft.com/office/drawing/2014/main" id="{7F1476D0-3A7E-48E9-9B18-8663FA01875B}"/>
                </a:ext>
              </a:extLst>
            </p:cNvPr>
            <p:cNvSpPr>
              <a:spLocks/>
            </p:cNvSpPr>
            <p:nvPr/>
          </p:nvSpPr>
          <p:spPr bwMode="auto">
            <a:xfrm>
              <a:off x="3316288" y="2049463"/>
              <a:ext cx="9525" cy="9525"/>
            </a:xfrm>
            <a:custGeom>
              <a:avLst/>
              <a:gdLst>
                <a:gd name="T0" fmla="*/ 15 w 30"/>
                <a:gd name="T1" fmla="*/ 30 h 30"/>
                <a:gd name="T2" fmla="*/ 18 w 30"/>
                <a:gd name="T3" fmla="*/ 30 h 30"/>
                <a:gd name="T4" fmla="*/ 21 w 30"/>
                <a:gd name="T5" fmla="*/ 29 h 30"/>
                <a:gd name="T6" fmla="*/ 24 w 30"/>
                <a:gd name="T7" fmla="*/ 28 h 30"/>
                <a:gd name="T8" fmla="*/ 26 w 30"/>
                <a:gd name="T9" fmla="*/ 25 h 30"/>
                <a:gd name="T10" fmla="*/ 28 w 30"/>
                <a:gd name="T11" fmla="*/ 23 h 30"/>
                <a:gd name="T12" fmla="*/ 29 w 30"/>
                <a:gd name="T13" fmla="*/ 21 h 30"/>
                <a:gd name="T14" fmla="*/ 30 w 30"/>
                <a:gd name="T15" fmla="*/ 18 h 30"/>
                <a:gd name="T16" fmla="*/ 30 w 30"/>
                <a:gd name="T17" fmla="*/ 15 h 30"/>
                <a:gd name="T18" fmla="*/ 30 w 30"/>
                <a:gd name="T19" fmla="*/ 12 h 30"/>
                <a:gd name="T20" fmla="*/ 29 w 30"/>
                <a:gd name="T21" fmla="*/ 9 h 30"/>
                <a:gd name="T22" fmla="*/ 28 w 30"/>
                <a:gd name="T23" fmla="*/ 6 h 30"/>
                <a:gd name="T24" fmla="*/ 26 w 30"/>
                <a:gd name="T25" fmla="*/ 4 h 30"/>
                <a:gd name="T26" fmla="*/ 24 w 30"/>
                <a:gd name="T27" fmla="*/ 3 h 30"/>
                <a:gd name="T28" fmla="*/ 21 w 30"/>
                <a:gd name="T29" fmla="*/ 1 h 30"/>
                <a:gd name="T30" fmla="*/ 18 w 30"/>
                <a:gd name="T31" fmla="*/ 1 h 30"/>
                <a:gd name="T32" fmla="*/ 15 w 30"/>
                <a:gd name="T33" fmla="*/ 0 h 30"/>
                <a:gd name="T34" fmla="*/ 12 w 30"/>
                <a:gd name="T35" fmla="*/ 1 h 30"/>
                <a:gd name="T36" fmla="*/ 10 w 30"/>
                <a:gd name="T37" fmla="*/ 1 h 30"/>
                <a:gd name="T38" fmla="*/ 6 w 30"/>
                <a:gd name="T39" fmla="*/ 3 h 30"/>
                <a:gd name="T40" fmla="*/ 4 w 30"/>
                <a:gd name="T41" fmla="*/ 4 h 30"/>
                <a:gd name="T42" fmla="*/ 3 w 30"/>
                <a:gd name="T43" fmla="*/ 7 h 30"/>
                <a:gd name="T44" fmla="*/ 1 w 30"/>
                <a:gd name="T45" fmla="*/ 9 h 30"/>
                <a:gd name="T46" fmla="*/ 0 w 30"/>
                <a:gd name="T47" fmla="*/ 12 h 30"/>
                <a:gd name="T48" fmla="*/ 0 w 30"/>
                <a:gd name="T49" fmla="*/ 15 h 30"/>
                <a:gd name="T50" fmla="*/ 0 w 30"/>
                <a:gd name="T51" fmla="*/ 18 h 30"/>
                <a:gd name="T52" fmla="*/ 1 w 30"/>
                <a:gd name="T53" fmla="*/ 21 h 30"/>
                <a:gd name="T54" fmla="*/ 3 w 30"/>
                <a:gd name="T55" fmla="*/ 23 h 30"/>
                <a:gd name="T56" fmla="*/ 4 w 30"/>
                <a:gd name="T57" fmla="*/ 25 h 30"/>
                <a:gd name="T58" fmla="*/ 6 w 30"/>
                <a:gd name="T59" fmla="*/ 28 h 30"/>
                <a:gd name="T60" fmla="*/ 10 w 30"/>
                <a:gd name="T61" fmla="*/ 29 h 30"/>
                <a:gd name="T62" fmla="*/ 12 w 30"/>
                <a:gd name="T63" fmla="*/ 30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8" y="30"/>
                  </a:lnTo>
                  <a:lnTo>
                    <a:pt x="21"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1" y="1"/>
                  </a:lnTo>
                  <a:lnTo>
                    <a:pt x="18" y="1"/>
                  </a:lnTo>
                  <a:lnTo>
                    <a:pt x="15" y="0"/>
                  </a:lnTo>
                  <a:lnTo>
                    <a:pt x="12" y="1"/>
                  </a:lnTo>
                  <a:lnTo>
                    <a:pt x="10" y="1"/>
                  </a:lnTo>
                  <a:lnTo>
                    <a:pt x="6" y="3"/>
                  </a:lnTo>
                  <a:lnTo>
                    <a:pt x="4" y="4"/>
                  </a:lnTo>
                  <a:lnTo>
                    <a:pt x="3" y="7"/>
                  </a:lnTo>
                  <a:lnTo>
                    <a:pt x="1" y="9"/>
                  </a:lnTo>
                  <a:lnTo>
                    <a:pt x="0" y="12"/>
                  </a:lnTo>
                  <a:lnTo>
                    <a:pt x="0" y="15"/>
                  </a:lnTo>
                  <a:lnTo>
                    <a:pt x="0" y="18"/>
                  </a:lnTo>
                  <a:lnTo>
                    <a:pt x="1" y="21"/>
                  </a:lnTo>
                  <a:lnTo>
                    <a:pt x="3"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1" name="Freeform 227">
              <a:extLst>
                <a:ext uri="{FF2B5EF4-FFF2-40B4-BE49-F238E27FC236}">
                  <a16:creationId xmlns:a16="http://schemas.microsoft.com/office/drawing/2014/main" id="{47C72D85-3932-4877-9377-E98786768EC9}"/>
                </a:ext>
              </a:extLst>
            </p:cNvPr>
            <p:cNvSpPr>
              <a:spLocks/>
            </p:cNvSpPr>
            <p:nvPr/>
          </p:nvSpPr>
          <p:spPr bwMode="auto">
            <a:xfrm>
              <a:off x="3278188" y="2078038"/>
              <a:ext cx="9525" cy="9525"/>
            </a:xfrm>
            <a:custGeom>
              <a:avLst/>
              <a:gdLst>
                <a:gd name="T0" fmla="*/ 15 w 30"/>
                <a:gd name="T1" fmla="*/ 0 h 31"/>
                <a:gd name="T2" fmla="*/ 12 w 30"/>
                <a:gd name="T3" fmla="*/ 1 h 31"/>
                <a:gd name="T4" fmla="*/ 9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9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7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7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9" y="2"/>
                  </a:lnTo>
                  <a:lnTo>
                    <a:pt x="6" y="3"/>
                  </a:lnTo>
                  <a:lnTo>
                    <a:pt x="4" y="5"/>
                  </a:lnTo>
                  <a:lnTo>
                    <a:pt x="2" y="7"/>
                  </a:lnTo>
                  <a:lnTo>
                    <a:pt x="1" y="9"/>
                  </a:lnTo>
                  <a:lnTo>
                    <a:pt x="0" y="13"/>
                  </a:lnTo>
                  <a:lnTo>
                    <a:pt x="0" y="16"/>
                  </a:lnTo>
                  <a:lnTo>
                    <a:pt x="0" y="18"/>
                  </a:lnTo>
                  <a:lnTo>
                    <a:pt x="1" y="21"/>
                  </a:lnTo>
                  <a:lnTo>
                    <a:pt x="2" y="23"/>
                  </a:lnTo>
                  <a:lnTo>
                    <a:pt x="4" y="25"/>
                  </a:lnTo>
                  <a:lnTo>
                    <a:pt x="6" y="28"/>
                  </a:lnTo>
                  <a:lnTo>
                    <a:pt x="9" y="29"/>
                  </a:lnTo>
                  <a:lnTo>
                    <a:pt x="12" y="30"/>
                  </a:lnTo>
                  <a:lnTo>
                    <a:pt x="15" y="31"/>
                  </a:lnTo>
                  <a:lnTo>
                    <a:pt x="18" y="30"/>
                  </a:lnTo>
                  <a:lnTo>
                    <a:pt x="20" y="29"/>
                  </a:lnTo>
                  <a:lnTo>
                    <a:pt x="24" y="28"/>
                  </a:lnTo>
                  <a:lnTo>
                    <a:pt x="26" y="25"/>
                  </a:lnTo>
                  <a:lnTo>
                    <a:pt x="27" y="23"/>
                  </a:lnTo>
                  <a:lnTo>
                    <a:pt x="29" y="21"/>
                  </a:lnTo>
                  <a:lnTo>
                    <a:pt x="30" y="18"/>
                  </a:lnTo>
                  <a:lnTo>
                    <a:pt x="30" y="16"/>
                  </a:lnTo>
                  <a:lnTo>
                    <a:pt x="30" y="13"/>
                  </a:lnTo>
                  <a:lnTo>
                    <a:pt x="29" y="9"/>
                  </a:lnTo>
                  <a:lnTo>
                    <a:pt x="27"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2" name="Freeform 228">
              <a:extLst>
                <a:ext uri="{FF2B5EF4-FFF2-40B4-BE49-F238E27FC236}">
                  <a16:creationId xmlns:a16="http://schemas.microsoft.com/office/drawing/2014/main" id="{C1527234-FBCE-4D43-AF12-4AF7D52E4290}"/>
                </a:ext>
              </a:extLst>
            </p:cNvPr>
            <p:cNvSpPr>
              <a:spLocks/>
            </p:cNvSpPr>
            <p:nvPr/>
          </p:nvSpPr>
          <p:spPr bwMode="auto">
            <a:xfrm>
              <a:off x="3297238" y="2078038"/>
              <a:ext cx="9525" cy="9525"/>
            </a:xfrm>
            <a:custGeom>
              <a:avLst/>
              <a:gdLst>
                <a:gd name="T0" fmla="*/ 15 w 30"/>
                <a:gd name="T1" fmla="*/ 0 h 31"/>
                <a:gd name="T2" fmla="*/ 12 w 30"/>
                <a:gd name="T3" fmla="*/ 1 h 31"/>
                <a:gd name="T4" fmla="*/ 10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10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8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8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10" y="2"/>
                  </a:lnTo>
                  <a:lnTo>
                    <a:pt x="6" y="3"/>
                  </a:lnTo>
                  <a:lnTo>
                    <a:pt x="4" y="5"/>
                  </a:lnTo>
                  <a:lnTo>
                    <a:pt x="2" y="7"/>
                  </a:lnTo>
                  <a:lnTo>
                    <a:pt x="1" y="9"/>
                  </a:lnTo>
                  <a:lnTo>
                    <a:pt x="0" y="13"/>
                  </a:lnTo>
                  <a:lnTo>
                    <a:pt x="0" y="16"/>
                  </a:lnTo>
                  <a:lnTo>
                    <a:pt x="0" y="18"/>
                  </a:lnTo>
                  <a:lnTo>
                    <a:pt x="1" y="21"/>
                  </a:lnTo>
                  <a:lnTo>
                    <a:pt x="2" y="23"/>
                  </a:lnTo>
                  <a:lnTo>
                    <a:pt x="4" y="25"/>
                  </a:lnTo>
                  <a:lnTo>
                    <a:pt x="6" y="28"/>
                  </a:lnTo>
                  <a:lnTo>
                    <a:pt x="10" y="29"/>
                  </a:lnTo>
                  <a:lnTo>
                    <a:pt x="12" y="30"/>
                  </a:lnTo>
                  <a:lnTo>
                    <a:pt x="15" y="31"/>
                  </a:lnTo>
                  <a:lnTo>
                    <a:pt x="18" y="30"/>
                  </a:lnTo>
                  <a:lnTo>
                    <a:pt x="20" y="29"/>
                  </a:lnTo>
                  <a:lnTo>
                    <a:pt x="24" y="28"/>
                  </a:lnTo>
                  <a:lnTo>
                    <a:pt x="26" y="25"/>
                  </a:lnTo>
                  <a:lnTo>
                    <a:pt x="28" y="23"/>
                  </a:lnTo>
                  <a:lnTo>
                    <a:pt x="29" y="21"/>
                  </a:lnTo>
                  <a:lnTo>
                    <a:pt x="30" y="18"/>
                  </a:lnTo>
                  <a:lnTo>
                    <a:pt x="30" y="16"/>
                  </a:lnTo>
                  <a:lnTo>
                    <a:pt x="30" y="13"/>
                  </a:lnTo>
                  <a:lnTo>
                    <a:pt x="29" y="9"/>
                  </a:lnTo>
                  <a:lnTo>
                    <a:pt x="28"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3" name="Freeform 229">
              <a:extLst>
                <a:ext uri="{FF2B5EF4-FFF2-40B4-BE49-F238E27FC236}">
                  <a16:creationId xmlns:a16="http://schemas.microsoft.com/office/drawing/2014/main" id="{8F0B1BB6-5F3C-4923-8ACD-216469122E54}"/>
                </a:ext>
              </a:extLst>
            </p:cNvPr>
            <p:cNvSpPr>
              <a:spLocks/>
            </p:cNvSpPr>
            <p:nvPr/>
          </p:nvSpPr>
          <p:spPr bwMode="auto">
            <a:xfrm>
              <a:off x="3278188" y="2106613"/>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7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6" y="2"/>
                  </a:lnTo>
                  <a:lnTo>
                    <a:pt x="4" y="4"/>
                  </a:lnTo>
                  <a:lnTo>
                    <a:pt x="2" y="6"/>
                  </a:lnTo>
                  <a:lnTo>
                    <a:pt x="1" y="8"/>
                  </a:lnTo>
                  <a:lnTo>
                    <a:pt x="0" y="12"/>
                  </a:lnTo>
                  <a:lnTo>
                    <a:pt x="0" y="15"/>
                  </a:lnTo>
                  <a:lnTo>
                    <a:pt x="0" y="18"/>
                  </a:lnTo>
                  <a:lnTo>
                    <a:pt x="1" y="20"/>
                  </a:lnTo>
                  <a:lnTo>
                    <a:pt x="2" y="23"/>
                  </a:lnTo>
                  <a:lnTo>
                    <a:pt x="4" y="26"/>
                  </a:lnTo>
                  <a:lnTo>
                    <a:pt x="6" y="27"/>
                  </a:lnTo>
                  <a:lnTo>
                    <a:pt x="9" y="29"/>
                  </a:lnTo>
                  <a:lnTo>
                    <a:pt x="12" y="30"/>
                  </a:lnTo>
                  <a:lnTo>
                    <a:pt x="15" y="30"/>
                  </a:lnTo>
                  <a:lnTo>
                    <a:pt x="18" y="30"/>
                  </a:lnTo>
                  <a:lnTo>
                    <a:pt x="20" y="29"/>
                  </a:lnTo>
                  <a:lnTo>
                    <a:pt x="24" y="27"/>
                  </a:lnTo>
                  <a:lnTo>
                    <a:pt x="26" y="26"/>
                  </a:lnTo>
                  <a:lnTo>
                    <a:pt x="27" y="23"/>
                  </a:lnTo>
                  <a:lnTo>
                    <a:pt x="29" y="20"/>
                  </a:lnTo>
                  <a:lnTo>
                    <a:pt x="30" y="18"/>
                  </a:lnTo>
                  <a:lnTo>
                    <a:pt x="30" y="15"/>
                  </a:lnTo>
                  <a:lnTo>
                    <a:pt x="30" y="12"/>
                  </a:lnTo>
                  <a:lnTo>
                    <a:pt x="29" y="8"/>
                  </a:lnTo>
                  <a:lnTo>
                    <a:pt x="27"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4" name="Freeform 230">
              <a:extLst>
                <a:ext uri="{FF2B5EF4-FFF2-40B4-BE49-F238E27FC236}">
                  <a16:creationId xmlns:a16="http://schemas.microsoft.com/office/drawing/2014/main" id="{E04E6F01-1C87-4748-9469-21A32FB54883}"/>
                </a:ext>
              </a:extLst>
            </p:cNvPr>
            <p:cNvSpPr>
              <a:spLocks/>
            </p:cNvSpPr>
            <p:nvPr/>
          </p:nvSpPr>
          <p:spPr bwMode="auto">
            <a:xfrm>
              <a:off x="3297238" y="210661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8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lnTo>
                    <a:pt x="18" y="30"/>
                  </a:lnTo>
                  <a:lnTo>
                    <a:pt x="20" y="29"/>
                  </a:lnTo>
                  <a:lnTo>
                    <a:pt x="24" y="27"/>
                  </a:lnTo>
                  <a:lnTo>
                    <a:pt x="26" y="26"/>
                  </a:lnTo>
                  <a:lnTo>
                    <a:pt x="28" y="23"/>
                  </a:lnTo>
                  <a:lnTo>
                    <a:pt x="29" y="20"/>
                  </a:lnTo>
                  <a:lnTo>
                    <a:pt x="30" y="18"/>
                  </a:lnTo>
                  <a:lnTo>
                    <a:pt x="30" y="15"/>
                  </a:lnTo>
                  <a:lnTo>
                    <a:pt x="30" y="12"/>
                  </a:lnTo>
                  <a:lnTo>
                    <a:pt x="29" y="8"/>
                  </a:lnTo>
                  <a:lnTo>
                    <a:pt x="28"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5" name="Freeform 231">
              <a:extLst>
                <a:ext uri="{FF2B5EF4-FFF2-40B4-BE49-F238E27FC236}">
                  <a16:creationId xmlns:a16="http://schemas.microsoft.com/office/drawing/2014/main" id="{A58504D6-5886-42F5-BEA5-2E5949250538}"/>
                </a:ext>
              </a:extLst>
            </p:cNvPr>
            <p:cNvSpPr>
              <a:spLocks/>
            </p:cNvSpPr>
            <p:nvPr/>
          </p:nvSpPr>
          <p:spPr bwMode="auto">
            <a:xfrm>
              <a:off x="3278188" y="2135188"/>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7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6" y="2"/>
                  </a:lnTo>
                  <a:lnTo>
                    <a:pt x="4" y="4"/>
                  </a:lnTo>
                  <a:lnTo>
                    <a:pt x="2" y="6"/>
                  </a:lnTo>
                  <a:lnTo>
                    <a:pt x="1" y="10"/>
                  </a:lnTo>
                  <a:lnTo>
                    <a:pt x="0" y="12"/>
                  </a:lnTo>
                  <a:lnTo>
                    <a:pt x="0" y="15"/>
                  </a:lnTo>
                  <a:lnTo>
                    <a:pt x="0" y="18"/>
                  </a:lnTo>
                  <a:lnTo>
                    <a:pt x="1" y="20"/>
                  </a:lnTo>
                  <a:lnTo>
                    <a:pt x="2" y="24"/>
                  </a:lnTo>
                  <a:lnTo>
                    <a:pt x="4" y="26"/>
                  </a:lnTo>
                  <a:lnTo>
                    <a:pt x="6" y="28"/>
                  </a:lnTo>
                  <a:lnTo>
                    <a:pt x="9" y="29"/>
                  </a:lnTo>
                  <a:lnTo>
                    <a:pt x="12" y="30"/>
                  </a:lnTo>
                  <a:lnTo>
                    <a:pt x="15" y="30"/>
                  </a:lnTo>
                  <a:lnTo>
                    <a:pt x="18" y="30"/>
                  </a:lnTo>
                  <a:lnTo>
                    <a:pt x="20" y="29"/>
                  </a:lnTo>
                  <a:lnTo>
                    <a:pt x="24" y="28"/>
                  </a:lnTo>
                  <a:lnTo>
                    <a:pt x="26" y="26"/>
                  </a:lnTo>
                  <a:lnTo>
                    <a:pt x="27" y="24"/>
                  </a:lnTo>
                  <a:lnTo>
                    <a:pt x="29" y="20"/>
                  </a:lnTo>
                  <a:lnTo>
                    <a:pt x="30" y="18"/>
                  </a:lnTo>
                  <a:lnTo>
                    <a:pt x="30" y="15"/>
                  </a:lnTo>
                  <a:lnTo>
                    <a:pt x="30" y="12"/>
                  </a:lnTo>
                  <a:lnTo>
                    <a:pt x="29" y="10"/>
                  </a:lnTo>
                  <a:lnTo>
                    <a:pt x="27"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6" name="Freeform 232">
              <a:extLst>
                <a:ext uri="{FF2B5EF4-FFF2-40B4-BE49-F238E27FC236}">
                  <a16:creationId xmlns:a16="http://schemas.microsoft.com/office/drawing/2014/main" id="{D92B6E37-1BD1-457D-8C85-CC8BF77356B5}"/>
                </a:ext>
              </a:extLst>
            </p:cNvPr>
            <p:cNvSpPr>
              <a:spLocks/>
            </p:cNvSpPr>
            <p:nvPr/>
          </p:nvSpPr>
          <p:spPr bwMode="auto">
            <a:xfrm>
              <a:off x="3297238" y="2135188"/>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8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10" y="1"/>
                  </a:lnTo>
                  <a:lnTo>
                    <a:pt x="6" y="2"/>
                  </a:lnTo>
                  <a:lnTo>
                    <a:pt x="4" y="4"/>
                  </a:lnTo>
                  <a:lnTo>
                    <a:pt x="2" y="6"/>
                  </a:lnTo>
                  <a:lnTo>
                    <a:pt x="1" y="10"/>
                  </a:lnTo>
                  <a:lnTo>
                    <a:pt x="0" y="12"/>
                  </a:lnTo>
                  <a:lnTo>
                    <a:pt x="0" y="15"/>
                  </a:lnTo>
                  <a:lnTo>
                    <a:pt x="0" y="18"/>
                  </a:lnTo>
                  <a:lnTo>
                    <a:pt x="1" y="20"/>
                  </a:lnTo>
                  <a:lnTo>
                    <a:pt x="2" y="24"/>
                  </a:lnTo>
                  <a:lnTo>
                    <a:pt x="4" y="26"/>
                  </a:lnTo>
                  <a:lnTo>
                    <a:pt x="6" y="28"/>
                  </a:lnTo>
                  <a:lnTo>
                    <a:pt x="10" y="29"/>
                  </a:lnTo>
                  <a:lnTo>
                    <a:pt x="12" y="30"/>
                  </a:lnTo>
                  <a:lnTo>
                    <a:pt x="15" y="30"/>
                  </a:lnTo>
                  <a:lnTo>
                    <a:pt x="18" y="30"/>
                  </a:lnTo>
                  <a:lnTo>
                    <a:pt x="20" y="29"/>
                  </a:lnTo>
                  <a:lnTo>
                    <a:pt x="24" y="28"/>
                  </a:lnTo>
                  <a:lnTo>
                    <a:pt x="26" y="26"/>
                  </a:lnTo>
                  <a:lnTo>
                    <a:pt x="28" y="24"/>
                  </a:lnTo>
                  <a:lnTo>
                    <a:pt x="29" y="20"/>
                  </a:lnTo>
                  <a:lnTo>
                    <a:pt x="30" y="18"/>
                  </a:lnTo>
                  <a:lnTo>
                    <a:pt x="30" y="15"/>
                  </a:lnTo>
                  <a:lnTo>
                    <a:pt x="30" y="12"/>
                  </a:lnTo>
                  <a:lnTo>
                    <a:pt x="29" y="10"/>
                  </a:lnTo>
                  <a:lnTo>
                    <a:pt x="28"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57" name="Freeform 233">
              <a:extLst>
                <a:ext uri="{FF2B5EF4-FFF2-40B4-BE49-F238E27FC236}">
                  <a16:creationId xmlns:a16="http://schemas.microsoft.com/office/drawing/2014/main" id="{F4ABAE5D-1CD2-4C8F-B0D0-C1F8522D439D}"/>
                </a:ext>
              </a:extLst>
            </p:cNvPr>
            <p:cNvSpPr>
              <a:spLocks/>
            </p:cNvSpPr>
            <p:nvPr/>
          </p:nvSpPr>
          <p:spPr bwMode="auto">
            <a:xfrm>
              <a:off x="3316288" y="2078038"/>
              <a:ext cx="9525" cy="9525"/>
            </a:xfrm>
            <a:custGeom>
              <a:avLst/>
              <a:gdLst>
                <a:gd name="T0" fmla="*/ 15 w 30"/>
                <a:gd name="T1" fmla="*/ 30 h 30"/>
                <a:gd name="T2" fmla="*/ 18 w 30"/>
                <a:gd name="T3" fmla="*/ 29 h 30"/>
                <a:gd name="T4" fmla="*/ 21 w 30"/>
                <a:gd name="T5" fmla="*/ 28 h 30"/>
                <a:gd name="T6" fmla="*/ 24 w 30"/>
                <a:gd name="T7" fmla="*/ 27 h 30"/>
                <a:gd name="T8" fmla="*/ 26 w 30"/>
                <a:gd name="T9" fmla="*/ 24 h 30"/>
                <a:gd name="T10" fmla="*/ 28 w 30"/>
                <a:gd name="T11" fmla="*/ 22 h 30"/>
                <a:gd name="T12" fmla="*/ 29 w 30"/>
                <a:gd name="T13" fmla="*/ 20 h 30"/>
                <a:gd name="T14" fmla="*/ 30 w 30"/>
                <a:gd name="T15" fmla="*/ 17 h 30"/>
                <a:gd name="T16" fmla="*/ 30 w 30"/>
                <a:gd name="T17" fmla="*/ 15 h 30"/>
                <a:gd name="T18" fmla="*/ 30 w 30"/>
                <a:gd name="T19" fmla="*/ 12 h 30"/>
                <a:gd name="T20" fmla="*/ 29 w 30"/>
                <a:gd name="T21" fmla="*/ 8 h 30"/>
                <a:gd name="T22" fmla="*/ 28 w 30"/>
                <a:gd name="T23" fmla="*/ 6 h 30"/>
                <a:gd name="T24" fmla="*/ 26 w 30"/>
                <a:gd name="T25" fmla="*/ 4 h 30"/>
                <a:gd name="T26" fmla="*/ 24 w 30"/>
                <a:gd name="T27" fmla="*/ 2 h 30"/>
                <a:gd name="T28" fmla="*/ 21 w 30"/>
                <a:gd name="T29" fmla="*/ 1 h 30"/>
                <a:gd name="T30" fmla="*/ 18 w 30"/>
                <a:gd name="T31" fmla="*/ 0 h 30"/>
                <a:gd name="T32" fmla="*/ 15 w 30"/>
                <a:gd name="T33" fmla="*/ 0 h 30"/>
                <a:gd name="T34" fmla="*/ 12 w 30"/>
                <a:gd name="T35" fmla="*/ 0 h 30"/>
                <a:gd name="T36" fmla="*/ 10 w 30"/>
                <a:gd name="T37" fmla="*/ 1 h 30"/>
                <a:gd name="T38" fmla="*/ 6 w 30"/>
                <a:gd name="T39" fmla="*/ 2 h 30"/>
                <a:gd name="T40" fmla="*/ 4 w 30"/>
                <a:gd name="T41" fmla="*/ 4 h 30"/>
                <a:gd name="T42" fmla="*/ 3 w 30"/>
                <a:gd name="T43" fmla="*/ 6 h 30"/>
                <a:gd name="T44" fmla="*/ 1 w 30"/>
                <a:gd name="T45" fmla="*/ 8 h 30"/>
                <a:gd name="T46" fmla="*/ 0 w 30"/>
                <a:gd name="T47" fmla="*/ 12 h 30"/>
                <a:gd name="T48" fmla="*/ 0 w 30"/>
                <a:gd name="T49" fmla="*/ 15 h 30"/>
                <a:gd name="T50" fmla="*/ 0 w 30"/>
                <a:gd name="T51" fmla="*/ 17 h 30"/>
                <a:gd name="T52" fmla="*/ 1 w 30"/>
                <a:gd name="T53" fmla="*/ 20 h 30"/>
                <a:gd name="T54" fmla="*/ 3 w 30"/>
                <a:gd name="T55" fmla="*/ 22 h 30"/>
                <a:gd name="T56" fmla="*/ 4 w 30"/>
                <a:gd name="T57" fmla="*/ 24 h 30"/>
                <a:gd name="T58" fmla="*/ 6 w 30"/>
                <a:gd name="T59" fmla="*/ 27 h 30"/>
                <a:gd name="T60" fmla="*/ 10 w 30"/>
                <a:gd name="T61" fmla="*/ 28 h 30"/>
                <a:gd name="T62" fmla="*/ 12 w 30"/>
                <a:gd name="T63" fmla="*/ 29 h 30"/>
                <a:gd name="T64" fmla="*/ 15 w 30"/>
                <a:gd name="T65" fmla="*/ 30 h 30"/>
                <a:gd name="T66" fmla="*/ 15 w 30"/>
                <a:gd name="T6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30"/>
                  </a:moveTo>
                  <a:lnTo>
                    <a:pt x="18" y="29"/>
                  </a:lnTo>
                  <a:lnTo>
                    <a:pt x="21" y="28"/>
                  </a:lnTo>
                  <a:lnTo>
                    <a:pt x="24" y="27"/>
                  </a:lnTo>
                  <a:lnTo>
                    <a:pt x="26" y="24"/>
                  </a:lnTo>
                  <a:lnTo>
                    <a:pt x="28" y="22"/>
                  </a:lnTo>
                  <a:lnTo>
                    <a:pt x="29" y="20"/>
                  </a:lnTo>
                  <a:lnTo>
                    <a:pt x="30" y="17"/>
                  </a:lnTo>
                  <a:lnTo>
                    <a:pt x="30" y="15"/>
                  </a:lnTo>
                  <a:lnTo>
                    <a:pt x="30" y="12"/>
                  </a:lnTo>
                  <a:lnTo>
                    <a:pt x="29" y="8"/>
                  </a:lnTo>
                  <a:lnTo>
                    <a:pt x="28" y="6"/>
                  </a:lnTo>
                  <a:lnTo>
                    <a:pt x="26" y="4"/>
                  </a:lnTo>
                  <a:lnTo>
                    <a:pt x="24" y="2"/>
                  </a:lnTo>
                  <a:lnTo>
                    <a:pt x="21" y="1"/>
                  </a:lnTo>
                  <a:lnTo>
                    <a:pt x="18" y="0"/>
                  </a:lnTo>
                  <a:lnTo>
                    <a:pt x="15" y="0"/>
                  </a:lnTo>
                  <a:lnTo>
                    <a:pt x="12" y="0"/>
                  </a:lnTo>
                  <a:lnTo>
                    <a:pt x="10" y="1"/>
                  </a:lnTo>
                  <a:lnTo>
                    <a:pt x="6" y="2"/>
                  </a:lnTo>
                  <a:lnTo>
                    <a:pt x="4" y="4"/>
                  </a:lnTo>
                  <a:lnTo>
                    <a:pt x="3" y="6"/>
                  </a:lnTo>
                  <a:lnTo>
                    <a:pt x="1" y="8"/>
                  </a:lnTo>
                  <a:lnTo>
                    <a:pt x="0" y="12"/>
                  </a:lnTo>
                  <a:lnTo>
                    <a:pt x="0" y="15"/>
                  </a:lnTo>
                  <a:lnTo>
                    <a:pt x="0" y="17"/>
                  </a:lnTo>
                  <a:lnTo>
                    <a:pt x="1" y="20"/>
                  </a:lnTo>
                  <a:lnTo>
                    <a:pt x="3" y="22"/>
                  </a:lnTo>
                  <a:lnTo>
                    <a:pt x="4" y="24"/>
                  </a:lnTo>
                  <a:lnTo>
                    <a:pt x="6" y="27"/>
                  </a:lnTo>
                  <a:lnTo>
                    <a:pt x="10" y="28"/>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278" name="Group 63">
            <a:extLst>
              <a:ext uri="{FF2B5EF4-FFF2-40B4-BE49-F238E27FC236}">
                <a16:creationId xmlns:a16="http://schemas.microsoft.com/office/drawing/2014/main" id="{45484734-A7A1-4894-8B1D-8A890E758575}"/>
              </a:ext>
            </a:extLst>
          </p:cNvPr>
          <p:cNvGrpSpPr>
            <a:grpSpLocks noChangeAspect="1"/>
          </p:cNvGrpSpPr>
          <p:nvPr/>
        </p:nvGrpSpPr>
        <p:grpSpPr>
          <a:xfrm>
            <a:off x="1133297" y="5956111"/>
            <a:ext cx="172003" cy="285619"/>
            <a:chOff x="3228975" y="1360488"/>
            <a:chExt cx="173038" cy="287338"/>
          </a:xfrm>
          <a:solidFill>
            <a:schemeClr val="bg1"/>
          </a:solidFill>
          <a:effectLst/>
        </p:grpSpPr>
        <p:sp>
          <p:nvSpPr>
            <p:cNvPr id="1279" name="Freeform 137">
              <a:extLst>
                <a:ext uri="{FF2B5EF4-FFF2-40B4-BE49-F238E27FC236}">
                  <a16:creationId xmlns:a16="http://schemas.microsoft.com/office/drawing/2014/main" id="{9A4FDEFB-6D03-4D54-B6D5-3C10210F2EEA}"/>
                </a:ext>
              </a:extLst>
            </p:cNvPr>
            <p:cNvSpPr>
              <a:spLocks noEditPoints="1"/>
            </p:cNvSpPr>
            <p:nvPr/>
          </p:nvSpPr>
          <p:spPr bwMode="auto">
            <a:xfrm>
              <a:off x="3228975" y="1360488"/>
              <a:ext cx="173038" cy="287338"/>
            </a:xfrm>
            <a:custGeom>
              <a:avLst/>
              <a:gdLst>
                <a:gd name="T0" fmla="*/ 84 w 542"/>
                <a:gd name="T1" fmla="*/ 873 h 903"/>
                <a:gd name="T2" fmla="*/ 67 w 542"/>
                <a:gd name="T3" fmla="*/ 869 h 903"/>
                <a:gd name="T4" fmla="*/ 52 w 542"/>
                <a:gd name="T5" fmla="*/ 859 h 903"/>
                <a:gd name="T6" fmla="*/ 40 w 542"/>
                <a:gd name="T7" fmla="*/ 847 h 903"/>
                <a:gd name="T8" fmla="*/ 33 w 542"/>
                <a:gd name="T9" fmla="*/ 831 h 903"/>
                <a:gd name="T10" fmla="*/ 31 w 542"/>
                <a:gd name="T11" fmla="*/ 813 h 903"/>
                <a:gd name="T12" fmla="*/ 512 w 542"/>
                <a:gd name="T13" fmla="*/ 813 h 903"/>
                <a:gd name="T14" fmla="*/ 509 w 542"/>
                <a:gd name="T15" fmla="*/ 831 h 903"/>
                <a:gd name="T16" fmla="*/ 502 w 542"/>
                <a:gd name="T17" fmla="*/ 847 h 903"/>
                <a:gd name="T18" fmla="*/ 490 w 542"/>
                <a:gd name="T19" fmla="*/ 859 h 903"/>
                <a:gd name="T20" fmla="*/ 475 w 542"/>
                <a:gd name="T21" fmla="*/ 869 h 903"/>
                <a:gd name="T22" fmla="*/ 458 w 542"/>
                <a:gd name="T23" fmla="*/ 873 h 903"/>
                <a:gd name="T24" fmla="*/ 452 w 542"/>
                <a:gd name="T25" fmla="*/ 30 h 903"/>
                <a:gd name="T26" fmla="*/ 469 w 542"/>
                <a:gd name="T27" fmla="*/ 33 h 903"/>
                <a:gd name="T28" fmla="*/ 486 w 542"/>
                <a:gd name="T29" fmla="*/ 41 h 903"/>
                <a:gd name="T30" fmla="*/ 498 w 542"/>
                <a:gd name="T31" fmla="*/ 52 h 903"/>
                <a:gd name="T32" fmla="*/ 507 w 542"/>
                <a:gd name="T33" fmla="*/ 68 h 903"/>
                <a:gd name="T34" fmla="*/ 511 w 542"/>
                <a:gd name="T35" fmla="*/ 85 h 903"/>
                <a:gd name="T36" fmla="*/ 31 w 542"/>
                <a:gd name="T37" fmla="*/ 151 h 903"/>
                <a:gd name="T38" fmla="*/ 32 w 542"/>
                <a:gd name="T39" fmla="*/ 78 h 903"/>
                <a:gd name="T40" fmla="*/ 37 w 542"/>
                <a:gd name="T41" fmla="*/ 62 h 903"/>
                <a:gd name="T42" fmla="*/ 48 w 542"/>
                <a:gd name="T43" fmla="*/ 48 h 903"/>
                <a:gd name="T44" fmla="*/ 62 w 542"/>
                <a:gd name="T45" fmla="*/ 37 h 903"/>
                <a:gd name="T46" fmla="*/ 78 w 542"/>
                <a:gd name="T47" fmla="*/ 32 h 903"/>
                <a:gd name="T48" fmla="*/ 31 w 542"/>
                <a:gd name="T49" fmla="*/ 181 h 903"/>
                <a:gd name="T50" fmla="*/ 31 w 542"/>
                <a:gd name="T51" fmla="*/ 723 h 903"/>
                <a:gd name="T52" fmla="*/ 91 w 542"/>
                <a:gd name="T53" fmla="*/ 0 h 903"/>
                <a:gd name="T54" fmla="*/ 64 w 542"/>
                <a:gd name="T55" fmla="*/ 4 h 903"/>
                <a:gd name="T56" fmla="*/ 40 w 542"/>
                <a:gd name="T57" fmla="*/ 16 h 903"/>
                <a:gd name="T58" fmla="*/ 21 w 542"/>
                <a:gd name="T59" fmla="*/ 33 h 903"/>
                <a:gd name="T60" fmla="*/ 7 w 542"/>
                <a:gd name="T61" fmla="*/ 56 h 903"/>
                <a:gd name="T62" fmla="*/ 1 w 542"/>
                <a:gd name="T63" fmla="*/ 81 h 903"/>
                <a:gd name="T64" fmla="*/ 1 w 542"/>
                <a:gd name="T65" fmla="*/ 823 h 903"/>
                <a:gd name="T66" fmla="*/ 7 w 542"/>
                <a:gd name="T67" fmla="*/ 848 h 903"/>
                <a:gd name="T68" fmla="*/ 21 w 542"/>
                <a:gd name="T69" fmla="*/ 871 h 903"/>
                <a:gd name="T70" fmla="*/ 40 w 542"/>
                <a:gd name="T71" fmla="*/ 888 h 903"/>
                <a:gd name="T72" fmla="*/ 64 w 542"/>
                <a:gd name="T73" fmla="*/ 900 h 903"/>
                <a:gd name="T74" fmla="*/ 91 w 542"/>
                <a:gd name="T75" fmla="*/ 903 h 903"/>
                <a:gd name="T76" fmla="*/ 469 w 542"/>
                <a:gd name="T77" fmla="*/ 902 h 903"/>
                <a:gd name="T78" fmla="*/ 495 w 542"/>
                <a:gd name="T79" fmla="*/ 892 h 903"/>
                <a:gd name="T80" fmla="*/ 516 w 542"/>
                <a:gd name="T81" fmla="*/ 877 h 903"/>
                <a:gd name="T82" fmla="*/ 532 w 542"/>
                <a:gd name="T83" fmla="*/ 856 h 903"/>
                <a:gd name="T84" fmla="*/ 540 w 542"/>
                <a:gd name="T85" fmla="*/ 831 h 903"/>
                <a:gd name="T86" fmla="*/ 542 w 542"/>
                <a:gd name="T87" fmla="*/ 91 h 903"/>
                <a:gd name="T88" fmla="*/ 538 w 542"/>
                <a:gd name="T89" fmla="*/ 63 h 903"/>
                <a:gd name="T90" fmla="*/ 526 w 542"/>
                <a:gd name="T91" fmla="*/ 40 h 903"/>
                <a:gd name="T92" fmla="*/ 509 w 542"/>
                <a:gd name="T93" fmla="*/ 21 h 903"/>
                <a:gd name="T94" fmla="*/ 487 w 542"/>
                <a:gd name="T95" fmla="*/ 7 h 903"/>
                <a:gd name="T96" fmla="*/ 461 w 542"/>
                <a:gd name="T97"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903">
                  <a:moveTo>
                    <a:pt x="452" y="873"/>
                  </a:moveTo>
                  <a:lnTo>
                    <a:pt x="91" y="873"/>
                  </a:lnTo>
                  <a:lnTo>
                    <a:pt x="84" y="873"/>
                  </a:lnTo>
                  <a:lnTo>
                    <a:pt x="78" y="872"/>
                  </a:lnTo>
                  <a:lnTo>
                    <a:pt x="73" y="871"/>
                  </a:lnTo>
                  <a:lnTo>
                    <a:pt x="67" y="869"/>
                  </a:lnTo>
                  <a:lnTo>
                    <a:pt x="62" y="867"/>
                  </a:lnTo>
                  <a:lnTo>
                    <a:pt x="57" y="863"/>
                  </a:lnTo>
                  <a:lnTo>
                    <a:pt x="52" y="859"/>
                  </a:lnTo>
                  <a:lnTo>
                    <a:pt x="48" y="856"/>
                  </a:lnTo>
                  <a:lnTo>
                    <a:pt x="44" y="852"/>
                  </a:lnTo>
                  <a:lnTo>
                    <a:pt x="40" y="847"/>
                  </a:lnTo>
                  <a:lnTo>
                    <a:pt x="37" y="842"/>
                  </a:lnTo>
                  <a:lnTo>
                    <a:pt x="35" y="837"/>
                  </a:lnTo>
                  <a:lnTo>
                    <a:pt x="33" y="831"/>
                  </a:lnTo>
                  <a:lnTo>
                    <a:pt x="32" y="826"/>
                  </a:lnTo>
                  <a:lnTo>
                    <a:pt x="31" y="819"/>
                  </a:lnTo>
                  <a:lnTo>
                    <a:pt x="31" y="813"/>
                  </a:lnTo>
                  <a:lnTo>
                    <a:pt x="31" y="753"/>
                  </a:lnTo>
                  <a:lnTo>
                    <a:pt x="512" y="753"/>
                  </a:lnTo>
                  <a:lnTo>
                    <a:pt x="512" y="813"/>
                  </a:lnTo>
                  <a:lnTo>
                    <a:pt x="511" y="819"/>
                  </a:lnTo>
                  <a:lnTo>
                    <a:pt x="511" y="825"/>
                  </a:lnTo>
                  <a:lnTo>
                    <a:pt x="509" y="831"/>
                  </a:lnTo>
                  <a:lnTo>
                    <a:pt x="507" y="837"/>
                  </a:lnTo>
                  <a:lnTo>
                    <a:pt x="505" y="842"/>
                  </a:lnTo>
                  <a:lnTo>
                    <a:pt x="502" y="847"/>
                  </a:lnTo>
                  <a:lnTo>
                    <a:pt x="498" y="852"/>
                  </a:lnTo>
                  <a:lnTo>
                    <a:pt x="494" y="856"/>
                  </a:lnTo>
                  <a:lnTo>
                    <a:pt x="490" y="859"/>
                  </a:lnTo>
                  <a:lnTo>
                    <a:pt x="486" y="863"/>
                  </a:lnTo>
                  <a:lnTo>
                    <a:pt x="480" y="867"/>
                  </a:lnTo>
                  <a:lnTo>
                    <a:pt x="475" y="869"/>
                  </a:lnTo>
                  <a:lnTo>
                    <a:pt x="469" y="871"/>
                  </a:lnTo>
                  <a:lnTo>
                    <a:pt x="464" y="872"/>
                  </a:lnTo>
                  <a:lnTo>
                    <a:pt x="458" y="873"/>
                  </a:lnTo>
                  <a:lnTo>
                    <a:pt x="452" y="873"/>
                  </a:lnTo>
                  <a:close/>
                  <a:moveTo>
                    <a:pt x="91" y="30"/>
                  </a:moveTo>
                  <a:lnTo>
                    <a:pt x="452" y="30"/>
                  </a:lnTo>
                  <a:lnTo>
                    <a:pt x="458" y="31"/>
                  </a:lnTo>
                  <a:lnTo>
                    <a:pt x="464" y="32"/>
                  </a:lnTo>
                  <a:lnTo>
                    <a:pt x="469" y="33"/>
                  </a:lnTo>
                  <a:lnTo>
                    <a:pt x="475" y="35"/>
                  </a:lnTo>
                  <a:lnTo>
                    <a:pt x="480" y="37"/>
                  </a:lnTo>
                  <a:lnTo>
                    <a:pt x="486" y="41"/>
                  </a:lnTo>
                  <a:lnTo>
                    <a:pt x="490" y="44"/>
                  </a:lnTo>
                  <a:lnTo>
                    <a:pt x="494" y="48"/>
                  </a:lnTo>
                  <a:lnTo>
                    <a:pt x="498" y="52"/>
                  </a:lnTo>
                  <a:lnTo>
                    <a:pt x="502" y="57"/>
                  </a:lnTo>
                  <a:lnTo>
                    <a:pt x="505" y="62"/>
                  </a:lnTo>
                  <a:lnTo>
                    <a:pt x="507" y="68"/>
                  </a:lnTo>
                  <a:lnTo>
                    <a:pt x="509" y="73"/>
                  </a:lnTo>
                  <a:lnTo>
                    <a:pt x="511" y="78"/>
                  </a:lnTo>
                  <a:lnTo>
                    <a:pt x="511" y="85"/>
                  </a:lnTo>
                  <a:lnTo>
                    <a:pt x="512" y="91"/>
                  </a:lnTo>
                  <a:lnTo>
                    <a:pt x="512" y="151"/>
                  </a:lnTo>
                  <a:lnTo>
                    <a:pt x="31" y="151"/>
                  </a:lnTo>
                  <a:lnTo>
                    <a:pt x="31" y="91"/>
                  </a:lnTo>
                  <a:lnTo>
                    <a:pt x="31" y="85"/>
                  </a:lnTo>
                  <a:lnTo>
                    <a:pt x="32" y="78"/>
                  </a:lnTo>
                  <a:lnTo>
                    <a:pt x="33" y="73"/>
                  </a:lnTo>
                  <a:lnTo>
                    <a:pt x="35" y="68"/>
                  </a:lnTo>
                  <a:lnTo>
                    <a:pt x="37" y="62"/>
                  </a:lnTo>
                  <a:lnTo>
                    <a:pt x="40" y="57"/>
                  </a:lnTo>
                  <a:lnTo>
                    <a:pt x="44" y="52"/>
                  </a:lnTo>
                  <a:lnTo>
                    <a:pt x="48" y="48"/>
                  </a:lnTo>
                  <a:lnTo>
                    <a:pt x="52" y="44"/>
                  </a:lnTo>
                  <a:lnTo>
                    <a:pt x="57" y="41"/>
                  </a:lnTo>
                  <a:lnTo>
                    <a:pt x="62" y="37"/>
                  </a:lnTo>
                  <a:lnTo>
                    <a:pt x="67" y="35"/>
                  </a:lnTo>
                  <a:lnTo>
                    <a:pt x="73" y="33"/>
                  </a:lnTo>
                  <a:lnTo>
                    <a:pt x="78" y="32"/>
                  </a:lnTo>
                  <a:lnTo>
                    <a:pt x="84" y="31"/>
                  </a:lnTo>
                  <a:lnTo>
                    <a:pt x="91" y="30"/>
                  </a:lnTo>
                  <a:close/>
                  <a:moveTo>
                    <a:pt x="31" y="181"/>
                  </a:moveTo>
                  <a:lnTo>
                    <a:pt x="512" y="181"/>
                  </a:lnTo>
                  <a:lnTo>
                    <a:pt x="512" y="723"/>
                  </a:lnTo>
                  <a:lnTo>
                    <a:pt x="31" y="723"/>
                  </a:lnTo>
                  <a:lnTo>
                    <a:pt x="31" y="181"/>
                  </a:lnTo>
                  <a:close/>
                  <a:moveTo>
                    <a:pt x="452" y="0"/>
                  </a:moveTo>
                  <a:lnTo>
                    <a:pt x="91" y="0"/>
                  </a:lnTo>
                  <a:lnTo>
                    <a:pt x="81" y="1"/>
                  </a:lnTo>
                  <a:lnTo>
                    <a:pt x="73" y="2"/>
                  </a:lnTo>
                  <a:lnTo>
                    <a:pt x="64" y="4"/>
                  </a:lnTo>
                  <a:lnTo>
                    <a:pt x="55" y="7"/>
                  </a:lnTo>
                  <a:lnTo>
                    <a:pt x="48" y="11"/>
                  </a:lnTo>
                  <a:lnTo>
                    <a:pt x="40" y="16"/>
                  </a:lnTo>
                  <a:lnTo>
                    <a:pt x="33" y="21"/>
                  </a:lnTo>
                  <a:lnTo>
                    <a:pt x="27" y="27"/>
                  </a:lnTo>
                  <a:lnTo>
                    <a:pt x="21" y="33"/>
                  </a:lnTo>
                  <a:lnTo>
                    <a:pt x="16" y="40"/>
                  </a:lnTo>
                  <a:lnTo>
                    <a:pt x="12" y="47"/>
                  </a:lnTo>
                  <a:lnTo>
                    <a:pt x="7" y="56"/>
                  </a:lnTo>
                  <a:lnTo>
                    <a:pt x="4" y="64"/>
                  </a:lnTo>
                  <a:lnTo>
                    <a:pt x="2" y="73"/>
                  </a:lnTo>
                  <a:lnTo>
                    <a:pt x="1" y="81"/>
                  </a:lnTo>
                  <a:lnTo>
                    <a:pt x="0" y="91"/>
                  </a:lnTo>
                  <a:lnTo>
                    <a:pt x="0" y="813"/>
                  </a:lnTo>
                  <a:lnTo>
                    <a:pt x="1" y="823"/>
                  </a:lnTo>
                  <a:lnTo>
                    <a:pt x="2" y="831"/>
                  </a:lnTo>
                  <a:lnTo>
                    <a:pt x="4" y="840"/>
                  </a:lnTo>
                  <a:lnTo>
                    <a:pt x="7" y="848"/>
                  </a:lnTo>
                  <a:lnTo>
                    <a:pt x="12" y="856"/>
                  </a:lnTo>
                  <a:lnTo>
                    <a:pt x="16" y="863"/>
                  </a:lnTo>
                  <a:lnTo>
                    <a:pt x="21" y="871"/>
                  </a:lnTo>
                  <a:lnTo>
                    <a:pt x="27" y="877"/>
                  </a:lnTo>
                  <a:lnTo>
                    <a:pt x="33" y="883"/>
                  </a:lnTo>
                  <a:lnTo>
                    <a:pt x="40" y="888"/>
                  </a:lnTo>
                  <a:lnTo>
                    <a:pt x="48" y="892"/>
                  </a:lnTo>
                  <a:lnTo>
                    <a:pt x="55" y="897"/>
                  </a:lnTo>
                  <a:lnTo>
                    <a:pt x="64" y="900"/>
                  </a:lnTo>
                  <a:lnTo>
                    <a:pt x="73" y="902"/>
                  </a:lnTo>
                  <a:lnTo>
                    <a:pt x="81" y="903"/>
                  </a:lnTo>
                  <a:lnTo>
                    <a:pt x="91" y="903"/>
                  </a:lnTo>
                  <a:lnTo>
                    <a:pt x="452" y="903"/>
                  </a:lnTo>
                  <a:lnTo>
                    <a:pt x="461" y="903"/>
                  </a:lnTo>
                  <a:lnTo>
                    <a:pt x="469" y="902"/>
                  </a:lnTo>
                  <a:lnTo>
                    <a:pt x="479" y="900"/>
                  </a:lnTo>
                  <a:lnTo>
                    <a:pt x="487" y="897"/>
                  </a:lnTo>
                  <a:lnTo>
                    <a:pt x="495" y="892"/>
                  </a:lnTo>
                  <a:lnTo>
                    <a:pt x="503" y="888"/>
                  </a:lnTo>
                  <a:lnTo>
                    <a:pt x="509" y="883"/>
                  </a:lnTo>
                  <a:lnTo>
                    <a:pt x="516" y="877"/>
                  </a:lnTo>
                  <a:lnTo>
                    <a:pt x="521" y="871"/>
                  </a:lnTo>
                  <a:lnTo>
                    <a:pt x="526" y="863"/>
                  </a:lnTo>
                  <a:lnTo>
                    <a:pt x="532" y="856"/>
                  </a:lnTo>
                  <a:lnTo>
                    <a:pt x="535" y="848"/>
                  </a:lnTo>
                  <a:lnTo>
                    <a:pt x="538" y="840"/>
                  </a:lnTo>
                  <a:lnTo>
                    <a:pt x="540" y="831"/>
                  </a:lnTo>
                  <a:lnTo>
                    <a:pt x="541" y="823"/>
                  </a:lnTo>
                  <a:lnTo>
                    <a:pt x="542" y="813"/>
                  </a:lnTo>
                  <a:lnTo>
                    <a:pt x="542" y="91"/>
                  </a:lnTo>
                  <a:lnTo>
                    <a:pt x="541" y="81"/>
                  </a:lnTo>
                  <a:lnTo>
                    <a:pt x="540" y="73"/>
                  </a:lnTo>
                  <a:lnTo>
                    <a:pt x="538" y="63"/>
                  </a:lnTo>
                  <a:lnTo>
                    <a:pt x="535" y="56"/>
                  </a:lnTo>
                  <a:lnTo>
                    <a:pt x="532" y="47"/>
                  </a:lnTo>
                  <a:lnTo>
                    <a:pt x="526" y="40"/>
                  </a:lnTo>
                  <a:lnTo>
                    <a:pt x="521" y="33"/>
                  </a:lnTo>
                  <a:lnTo>
                    <a:pt x="516" y="27"/>
                  </a:lnTo>
                  <a:lnTo>
                    <a:pt x="509" y="21"/>
                  </a:lnTo>
                  <a:lnTo>
                    <a:pt x="503" y="16"/>
                  </a:lnTo>
                  <a:lnTo>
                    <a:pt x="495" y="12"/>
                  </a:lnTo>
                  <a:lnTo>
                    <a:pt x="487" y="7"/>
                  </a:lnTo>
                  <a:lnTo>
                    <a:pt x="479" y="4"/>
                  </a:lnTo>
                  <a:lnTo>
                    <a:pt x="469" y="2"/>
                  </a:lnTo>
                  <a:lnTo>
                    <a:pt x="461" y="1"/>
                  </a:lnTo>
                  <a:lnTo>
                    <a:pt x="452" y="0"/>
                  </a:lnTo>
                  <a:lnTo>
                    <a:pt x="4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138">
              <a:extLst>
                <a:ext uri="{FF2B5EF4-FFF2-40B4-BE49-F238E27FC236}">
                  <a16:creationId xmlns:a16="http://schemas.microsoft.com/office/drawing/2014/main" id="{86ED97F0-D522-41A9-A2B2-C806C7C29DBA}"/>
                </a:ext>
              </a:extLst>
            </p:cNvPr>
            <p:cNvSpPr>
              <a:spLocks/>
            </p:cNvSpPr>
            <p:nvPr/>
          </p:nvSpPr>
          <p:spPr bwMode="auto">
            <a:xfrm>
              <a:off x="3278188" y="1389063"/>
              <a:ext cx="76200" cy="9525"/>
            </a:xfrm>
            <a:custGeom>
              <a:avLst/>
              <a:gdLst>
                <a:gd name="T0" fmla="*/ 15 w 240"/>
                <a:gd name="T1" fmla="*/ 30 h 30"/>
                <a:gd name="T2" fmla="*/ 225 w 240"/>
                <a:gd name="T3" fmla="*/ 30 h 30"/>
                <a:gd name="T4" fmla="*/ 228 w 240"/>
                <a:gd name="T5" fmla="*/ 29 h 30"/>
                <a:gd name="T6" fmla="*/ 232 w 240"/>
                <a:gd name="T7" fmla="*/ 28 h 30"/>
                <a:gd name="T8" fmla="*/ 234 w 240"/>
                <a:gd name="T9" fmla="*/ 27 h 30"/>
                <a:gd name="T10" fmla="*/ 236 w 240"/>
                <a:gd name="T11" fmla="*/ 25 h 30"/>
                <a:gd name="T12" fmla="*/ 238 w 240"/>
                <a:gd name="T13" fmla="*/ 23 h 30"/>
                <a:gd name="T14" fmla="*/ 239 w 240"/>
                <a:gd name="T15" fmla="*/ 20 h 30"/>
                <a:gd name="T16" fmla="*/ 240 w 240"/>
                <a:gd name="T17" fmla="*/ 17 h 30"/>
                <a:gd name="T18" fmla="*/ 240 w 240"/>
                <a:gd name="T19" fmla="*/ 15 h 30"/>
                <a:gd name="T20" fmla="*/ 240 w 240"/>
                <a:gd name="T21" fmla="*/ 12 h 30"/>
                <a:gd name="T22" fmla="*/ 239 w 240"/>
                <a:gd name="T23" fmla="*/ 9 h 30"/>
                <a:gd name="T24" fmla="*/ 238 w 240"/>
                <a:gd name="T25" fmla="*/ 7 h 30"/>
                <a:gd name="T26" fmla="*/ 236 w 240"/>
                <a:gd name="T27" fmla="*/ 4 h 30"/>
                <a:gd name="T28" fmla="*/ 234 w 240"/>
                <a:gd name="T29" fmla="*/ 2 h 30"/>
                <a:gd name="T30" fmla="*/ 232 w 240"/>
                <a:gd name="T31" fmla="*/ 1 h 30"/>
                <a:gd name="T32" fmla="*/ 228 w 240"/>
                <a:gd name="T33" fmla="*/ 0 h 30"/>
                <a:gd name="T34" fmla="*/ 225 w 240"/>
                <a:gd name="T35" fmla="*/ 0 h 30"/>
                <a:gd name="T36" fmla="*/ 15 w 240"/>
                <a:gd name="T37" fmla="*/ 0 h 30"/>
                <a:gd name="T38" fmla="*/ 12 w 240"/>
                <a:gd name="T39" fmla="*/ 0 h 30"/>
                <a:gd name="T40" fmla="*/ 9 w 240"/>
                <a:gd name="T41" fmla="*/ 1 h 30"/>
                <a:gd name="T42" fmla="*/ 6 w 240"/>
                <a:gd name="T43" fmla="*/ 2 h 30"/>
                <a:gd name="T44" fmla="*/ 4 w 240"/>
                <a:gd name="T45" fmla="*/ 4 h 30"/>
                <a:gd name="T46" fmla="*/ 2 w 240"/>
                <a:gd name="T47" fmla="*/ 7 h 30"/>
                <a:gd name="T48" fmla="*/ 1 w 240"/>
                <a:gd name="T49" fmla="*/ 9 h 30"/>
                <a:gd name="T50" fmla="*/ 0 w 240"/>
                <a:gd name="T51" fmla="*/ 12 h 30"/>
                <a:gd name="T52" fmla="*/ 0 w 240"/>
                <a:gd name="T53" fmla="*/ 15 h 30"/>
                <a:gd name="T54" fmla="*/ 0 w 240"/>
                <a:gd name="T55" fmla="*/ 17 h 30"/>
                <a:gd name="T56" fmla="*/ 1 w 240"/>
                <a:gd name="T57" fmla="*/ 20 h 30"/>
                <a:gd name="T58" fmla="*/ 2 w 240"/>
                <a:gd name="T59" fmla="*/ 23 h 30"/>
                <a:gd name="T60" fmla="*/ 4 w 240"/>
                <a:gd name="T61" fmla="*/ 25 h 30"/>
                <a:gd name="T62" fmla="*/ 6 w 240"/>
                <a:gd name="T63" fmla="*/ 27 h 30"/>
                <a:gd name="T64" fmla="*/ 9 w 240"/>
                <a:gd name="T65" fmla="*/ 29 h 30"/>
                <a:gd name="T66" fmla="*/ 12 w 240"/>
                <a:gd name="T67" fmla="*/ 29 h 30"/>
                <a:gd name="T68" fmla="*/ 15 w 240"/>
                <a:gd name="T69" fmla="*/ 30 h 30"/>
                <a:gd name="T70" fmla="*/ 15 w 24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0" h="30">
                  <a:moveTo>
                    <a:pt x="15" y="30"/>
                  </a:moveTo>
                  <a:lnTo>
                    <a:pt x="225" y="30"/>
                  </a:lnTo>
                  <a:lnTo>
                    <a:pt x="228" y="29"/>
                  </a:lnTo>
                  <a:lnTo>
                    <a:pt x="232" y="28"/>
                  </a:lnTo>
                  <a:lnTo>
                    <a:pt x="234" y="27"/>
                  </a:lnTo>
                  <a:lnTo>
                    <a:pt x="236" y="25"/>
                  </a:lnTo>
                  <a:lnTo>
                    <a:pt x="238" y="23"/>
                  </a:lnTo>
                  <a:lnTo>
                    <a:pt x="239" y="20"/>
                  </a:lnTo>
                  <a:lnTo>
                    <a:pt x="240" y="17"/>
                  </a:lnTo>
                  <a:lnTo>
                    <a:pt x="240" y="15"/>
                  </a:lnTo>
                  <a:lnTo>
                    <a:pt x="240" y="12"/>
                  </a:lnTo>
                  <a:lnTo>
                    <a:pt x="239" y="9"/>
                  </a:lnTo>
                  <a:lnTo>
                    <a:pt x="238" y="7"/>
                  </a:lnTo>
                  <a:lnTo>
                    <a:pt x="236" y="4"/>
                  </a:lnTo>
                  <a:lnTo>
                    <a:pt x="234" y="2"/>
                  </a:lnTo>
                  <a:lnTo>
                    <a:pt x="232" y="1"/>
                  </a:lnTo>
                  <a:lnTo>
                    <a:pt x="228" y="0"/>
                  </a:lnTo>
                  <a:lnTo>
                    <a:pt x="225" y="0"/>
                  </a:lnTo>
                  <a:lnTo>
                    <a:pt x="15" y="0"/>
                  </a:lnTo>
                  <a:lnTo>
                    <a:pt x="12" y="0"/>
                  </a:lnTo>
                  <a:lnTo>
                    <a:pt x="9" y="1"/>
                  </a:lnTo>
                  <a:lnTo>
                    <a:pt x="6" y="2"/>
                  </a:lnTo>
                  <a:lnTo>
                    <a:pt x="4" y="4"/>
                  </a:lnTo>
                  <a:lnTo>
                    <a:pt x="2" y="7"/>
                  </a:lnTo>
                  <a:lnTo>
                    <a:pt x="1" y="9"/>
                  </a:lnTo>
                  <a:lnTo>
                    <a:pt x="0" y="12"/>
                  </a:lnTo>
                  <a:lnTo>
                    <a:pt x="0" y="15"/>
                  </a:lnTo>
                  <a:lnTo>
                    <a:pt x="0" y="17"/>
                  </a:lnTo>
                  <a:lnTo>
                    <a:pt x="1" y="20"/>
                  </a:lnTo>
                  <a:lnTo>
                    <a:pt x="2" y="23"/>
                  </a:lnTo>
                  <a:lnTo>
                    <a:pt x="4" y="25"/>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139">
              <a:extLst>
                <a:ext uri="{FF2B5EF4-FFF2-40B4-BE49-F238E27FC236}">
                  <a16:creationId xmlns:a16="http://schemas.microsoft.com/office/drawing/2014/main" id="{A4EBEC05-5313-4C05-BF53-20AAB84C6579}"/>
                </a:ext>
              </a:extLst>
            </p:cNvPr>
            <p:cNvSpPr>
              <a:spLocks noEditPoints="1"/>
            </p:cNvSpPr>
            <p:nvPr/>
          </p:nvSpPr>
          <p:spPr bwMode="auto">
            <a:xfrm>
              <a:off x="3302000" y="1604963"/>
              <a:ext cx="28575" cy="28575"/>
            </a:xfrm>
            <a:custGeom>
              <a:avLst/>
              <a:gdLst>
                <a:gd name="T0" fmla="*/ 42 w 90"/>
                <a:gd name="T1" fmla="*/ 60 h 90"/>
                <a:gd name="T2" fmla="*/ 36 w 90"/>
                <a:gd name="T3" fmla="*/ 58 h 90"/>
                <a:gd name="T4" fmla="*/ 32 w 90"/>
                <a:gd name="T5" fmla="*/ 54 h 90"/>
                <a:gd name="T6" fmla="*/ 30 w 90"/>
                <a:gd name="T7" fmla="*/ 48 h 90"/>
                <a:gd name="T8" fmla="*/ 30 w 90"/>
                <a:gd name="T9" fmla="*/ 42 h 90"/>
                <a:gd name="T10" fmla="*/ 32 w 90"/>
                <a:gd name="T11" fmla="*/ 36 h 90"/>
                <a:gd name="T12" fmla="*/ 36 w 90"/>
                <a:gd name="T13" fmla="*/ 33 h 90"/>
                <a:gd name="T14" fmla="*/ 42 w 90"/>
                <a:gd name="T15" fmla="*/ 30 h 90"/>
                <a:gd name="T16" fmla="*/ 48 w 90"/>
                <a:gd name="T17" fmla="*/ 30 h 90"/>
                <a:gd name="T18" fmla="*/ 54 w 90"/>
                <a:gd name="T19" fmla="*/ 33 h 90"/>
                <a:gd name="T20" fmla="*/ 58 w 90"/>
                <a:gd name="T21" fmla="*/ 36 h 90"/>
                <a:gd name="T22" fmla="*/ 60 w 90"/>
                <a:gd name="T23" fmla="*/ 42 h 90"/>
                <a:gd name="T24" fmla="*/ 60 w 90"/>
                <a:gd name="T25" fmla="*/ 48 h 90"/>
                <a:gd name="T26" fmla="*/ 58 w 90"/>
                <a:gd name="T27" fmla="*/ 54 h 90"/>
                <a:gd name="T28" fmla="*/ 54 w 90"/>
                <a:gd name="T29" fmla="*/ 58 h 90"/>
                <a:gd name="T30" fmla="*/ 48 w 90"/>
                <a:gd name="T31" fmla="*/ 60 h 90"/>
                <a:gd name="T32" fmla="*/ 45 w 90"/>
                <a:gd name="T33" fmla="*/ 0 h 90"/>
                <a:gd name="T34" fmla="*/ 28 w 90"/>
                <a:gd name="T35" fmla="*/ 3 h 90"/>
                <a:gd name="T36" fmla="*/ 13 w 90"/>
                <a:gd name="T37" fmla="*/ 13 h 90"/>
                <a:gd name="T38" fmla="*/ 3 w 90"/>
                <a:gd name="T39" fmla="*/ 28 h 90"/>
                <a:gd name="T40" fmla="*/ 0 w 90"/>
                <a:gd name="T41" fmla="*/ 45 h 90"/>
                <a:gd name="T42" fmla="*/ 3 w 90"/>
                <a:gd name="T43" fmla="*/ 63 h 90"/>
                <a:gd name="T44" fmla="*/ 13 w 90"/>
                <a:gd name="T45" fmla="*/ 77 h 90"/>
                <a:gd name="T46" fmla="*/ 28 w 90"/>
                <a:gd name="T47" fmla="*/ 87 h 90"/>
                <a:gd name="T48" fmla="*/ 45 w 90"/>
                <a:gd name="T49" fmla="*/ 90 h 90"/>
                <a:gd name="T50" fmla="*/ 62 w 90"/>
                <a:gd name="T51" fmla="*/ 87 h 90"/>
                <a:gd name="T52" fmla="*/ 77 w 90"/>
                <a:gd name="T53" fmla="*/ 77 h 90"/>
                <a:gd name="T54" fmla="*/ 87 w 90"/>
                <a:gd name="T55" fmla="*/ 63 h 90"/>
                <a:gd name="T56" fmla="*/ 90 w 90"/>
                <a:gd name="T57" fmla="*/ 45 h 90"/>
                <a:gd name="T58" fmla="*/ 87 w 90"/>
                <a:gd name="T59" fmla="*/ 28 h 90"/>
                <a:gd name="T60" fmla="*/ 77 w 90"/>
                <a:gd name="T61" fmla="*/ 13 h 90"/>
                <a:gd name="T62" fmla="*/ 62 w 90"/>
                <a:gd name="T63" fmla="*/ 3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40" y="59"/>
                  </a:lnTo>
                  <a:lnTo>
                    <a:pt x="36" y="58"/>
                  </a:lnTo>
                  <a:lnTo>
                    <a:pt x="34" y="56"/>
                  </a:lnTo>
                  <a:lnTo>
                    <a:pt x="32" y="54"/>
                  </a:lnTo>
                  <a:lnTo>
                    <a:pt x="31" y="51"/>
                  </a:lnTo>
                  <a:lnTo>
                    <a:pt x="30" y="48"/>
                  </a:lnTo>
                  <a:lnTo>
                    <a:pt x="30" y="45"/>
                  </a:lnTo>
                  <a:lnTo>
                    <a:pt x="30" y="42"/>
                  </a:lnTo>
                  <a:lnTo>
                    <a:pt x="31" y="40"/>
                  </a:lnTo>
                  <a:lnTo>
                    <a:pt x="32" y="36"/>
                  </a:lnTo>
                  <a:lnTo>
                    <a:pt x="34" y="34"/>
                  </a:lnTo>
                  <a:lnTo>
                    <a:pt x="36" y="33"/>
                  </a:lnTo>
                  <a:lnTo>
                    <a:pt x="40" y="31"/>
                  </a:lnTo>
                  <a:lnTo>
                    <a:pt x="42" y="30"/>
                  </a:lnTo>
                  <a:lnTo>
                    <a:pt x="45" y="30"/>
                  </a:lnTo>
                  <a:lnTo>
                    <a:pt x="48" y="30"/>
                  </a:lnTo>
                  <a:lnTo>
                    <a:pt x="51" y="31"/>
                  </a:lnTo>
                  <a:lnTo>
                    <a:pt x="54" y="33"/>
                  </a:lnTo>
                  <a:lnTo>
                    <a:pt x="56" y="34"/>
                  </a:lnTo>
                  <a:lnTo>
                    <a:pt x="58" y="36"/>
                  </a:lnTo>
                  <a:lnTo>
                    <a:pt x="59" y="40"/>
                  </a:lnTo>
                  <a:lnTo>
                    <a:pt x="60" y="42"/>
                  </a:lnTo>
                  <a:lnTo>
                    <a:pt x="60" y="45"/>
                  </a:lnTo>
                  <a:lnTo>
                    <a:pt x="60" y="48"/>
                  </a:lnTo>
                  <a:lnTo>
                    <a:pt x="59" y="51"/>
                  </a:lnTo>
                  <a:lnTo>
                    <a:pt x="58" y="54"/>
                  </a:lnTo>
                  <a:lnTo>
                    <a:pt x="56" y="56"/>
                  </a:lnTo>
                  <a:lnTo>
                    <a:pt x="54" y="58"/>
                  </a:lnTo>
                  <a:lnTo>
                    <a:pt x="51" y="59"/>
                  </a:lnTo>
                  <a:lnTo>
                    <a:pt x="48" y="60"/>
                  </a:lnTo>
                  <a:lnTo>
                    <a:pt x="45" y="60"/>
                  </a:lnTo>
                  <a:close/>
                  <a:moveTo>
                    <a:pt x="45" y="0"/>
                  </a:moveTo>
                  <a:lnTo>
                    <a:pt x="36" y="1"/>
                  </a:lnTo>
                  <a:lnTo>
                    <a:pt x="28" y="3"/>
                  </a:lnTo>
                  <a:lnTo>
                    <a:pt x="20" y="7"/>
                  </a:lnTo>
                  <a:lnTo>
                    <a:pt x="13" y="13"/>
                  </a:lnTo>
                  <a:lnTo>
                    <a:pt x="8" y="20"/>
                  </a:lnTo>
                  <a:lnTo>
                    <a:pt x="3" y="28"/>
                  </a:lnTo>
                  <a:lnTo>
                    <a:pt x="1" y="36"/>
                  </a:lnTo>
                  <a:lnTo>
                    <a:pt x="0" y="45"/>
                  </a:lnTo>
                  <a:lnTo>
                    <a:pt x="1" y="55"/>
                  </a:lnTo>
                  <a:lnTo>
                    <a:pt x="3" y="63"/>
                  </a:lnTo>
                  <a:lnTo>
                    <a:pt x="8" y="71"/>
                  </a:lnTo>
                  <a:lnTo>
                    <a:pt x="13" y="77"/>
                  </a:lnTo>
                  <a:lnTo>
                    <a:pt x="20" y="82"/>
                  </a:lnTo>
                  <a:lnTo>
                    <a:pt x="28" y="87"/>
                  </a:lnTo>
                  <a:lnTo>
                    <a:pt x="36" y="89"/>
                  </a:lnTo>
                  <a:lnTo>
                    <a:pt x="45" y="90"/>
                  </a:lnTo>
                  <a:lnTo>
                    <a:pt x="55" y="89"/>
                  </a:lnTo>
                  <a:lnTo>
                    <a:pt x="62" y="87"/>
                  </a:lnTo>
                  <a:lnTo>
                    <a:pt x="71" y="82"/>
                  </a:lnTo>
                  <a:lnTo>
                    <a:pt x="77" y="77"/>
                  </a:lnTo>
                  <a:lnTo>
                    <a:pt x="83" y="71"/>
                  </a:lnTo>
                  <a:lnTo>
                    <a:pt x="87" y="63"/>
                  </a:lnTo>
                  <a:lnTo>
                    <a:pt x="89" y="55"/>
                  </a:lnTo>
                  <a:lnTo>
                    <a:pt x="90" y="45"/>
                  </a:lnTo>
                  <a:lnTo>
                    <a:pt x="89" y="36"/>
                  </a:lnTo>
                  <a:lnTo>
                    <a:pt x="87" y="28"/>
                  </a:lnTo>
                  <a:lnTo>
                    <a:pt x="83" y="20"/>
                  </a:lnTo>
                  <a:lnTo>
                    <a:pt x="77" y="13"/>
                  </a:lnTo>
                  <a:lnTo>
                    <a:pt x="71" y="7"/>
                  </a:lnTo>
                  <a:lnTo>
                    <a:pt x="62" y="3"/>
                  </a:lnTo>
                  <a:lnTo>
                    <a:pt x="55"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7" name="Group 44">
            <a:extLst>
              <a:ext uri="{FF2B5EF4-FFF2-40B4-BE49-F238E27FC236}">
                <a16:creationId xmlns:a16="http://schemas.microsoft.com/office/drawing/2014/main" id="{03B1E9E3-A1F2-409B-9A38-405F50C8FD05}"/>
              </a:ext>
            </a:extLst>
          </p:cNvPr>
          <p:cNvGrpSpPr>
            <a:grpSpLocks noChangeAspect="1"/>
          </p:cNvGrpSpPr>
          <p:nvPr/>
        </p:nvGrpSpPr>
        <p:grpSpPr>
          <a:xfrm>
            <a:off x="1473945" y="5956111"/>
            <a:ext cx="295411" cy="285619"/>
            <a:chOff x="4892675" y="787400"/>
            <a:chExt cx="287338" cy="277813"/>
          </a:xfrm>
          <a:solidFill>
            <a:schemeClr val="bg1"/>
          </a:solidFill>
          <a:effectLst/>
        </p:grpSpPr>
        <p:sp>
          <p:nvSpPr>
            <p:cNvPr id="1328" name="Freeform 78">
              <a:extLst>
                <a:ext uri="{FF2B5EF4-FFF2-40B4-BE49-F238E27FC236}">
                  <a16:creationId xmlns:a16="http://schemas.microsoft.com/office/drawing/2014/main" id="{9AFD3598-C86F-4688-A2D0-6E28741CF731}"/>
                </a:ext>
              </a:extLst>
            </p:cNvPr>
            <p:cNvSpPr>
              <a:spLocks/>
            </p:cNvSpPr>
            <p:nvPr/>
          </p:nvSpPr>
          <p:spPr bwMode="auto">
            <a:xfrm>
              <a:off x="4892675" y="787400"/>
              <a:ext cx="287338" cy="201613"/>
            </a:xfrm>
            <a:custGeom>
              <a:avLst/>
              <a:gdLst>
                <a:gd name="T0" fmla="*/ 53 w 903"/>
                <a:gd name="T1" fmla="*/ 0 h 633"/>
                <a:gd name="T2" fmla="*/ 36 w 903"/>
                <a:gd name="T3" fmla="*/ 5 h 633"/>
                <a:gd name="T4" fmla="*/ 21 w 903"/>
                <a:gd name="T5" fmla="*/ 14 h 633"/>
                <a:gd name="T6" fmla="*/ 10 w 903"/>
                <a:gd name="T7" fmla="*/ 27 h 633"/>
                <a:gd name="T8" fmla="*/ 2 w 903"/>
                <a:gd name="T9" fmla="*/ 43 h 633"/>
                <a:gd name="T10" fmla="*/ 0 w 903"/>
                <a:gd name="T11" fmla="*/ 60 h 633"/>
                <a:gd name="T12" fmla="*/ 1 w 903"/>
                <a:gd name="T13" fmla="*/ 584 h 633"/>
                <a:gd name="T14" fmla="*/ 6 w 903"/>
                <a:gd name="T15" fmla="*/ 600 h 633"/>
                <a:gd name="T16" fmla="*/ 17 w 903"/>
                <a:gd name="T17" fmla="*/ 614 h 633"/>
                <a:gd name="T18" fmla="*/ 31 w 903"/>
                <a:gd name="T19" fmla="*/ 625 h 633"/>
                <a:gd name="T20" fmla="*/ 47 w 903"/>
                <a:gd name="T21" fmla="*/ 631 h 633"/>
                <a:gd name="T22" fmla="*/ 315 w 903"/>
                <a:gd name="T23" fmla="*/ 633 h 633"/>
                <a:gd name="T24" fmla="*/ 324 w 903"/>
                <a:gd name="T25" fmla="*/ 629 h 633"/>
                <a:gd name="T26" fmla="*/ 329 w 903"/>
                <a:gd name="T27" fmla="*/ 623 h 633"/>
                <a:gd name="T28" fmla="*/ 330 w 903"/>
                <a:gd name="T29" fmla="*/ 614 h 633"/>
                <a:gd name="T30" fmla="*/ 326 w 903"/>
                <a:gd name="T31" fmla="*/ 607 h 633"/>
                <a:gd name="T32" fmla="*/ 318 w 903"/>
                <a:gd name="T33" fmla="*/ 603 h 633"/>
                <a:gd name="T34" fmla="*/ 53 w 903"/>
                <a:gd name="T35" fmla="*/ 601 h 633"/>
                <a:gd name="T36" fmla="*/ 38 w 903"/>
                <a:gd name="T37" fmla="*/ 593 h 633"/>
                <a:gd name="T38" fmla="*/ 30 w 903"/>
                <a:gd name="T39" fmla="*/ 578 h 633"/>
                <a:gd name="T40" fmla="*/ 30 w 903"/>
                <a:gd name="T41" fmla="*/ 54 h 633"/>
                <a:gd name="T42" fmla="*/ 38 w 903"/>
                <a:gd name="T43" fmla="*/ 39 h 633"/>
                <a:gd name="T44" fmla="*/ 53 w 903"/>
                <a:gd name="T45" fmla="*/ 31 h 633"/>
                <a:gd name="T46" fmla="*/ 848 w 903"/>
                <a:gd name="T47" fmla="*/ 31 h 633"/>
                <a:gd name="T48" fmla="*/ 863 w 903"/>
                <a:gd name="T49" fmla="*/ 39 h 633"/>
                <a:gd name="T50" fmla="*/ 872 w 903"/>
                <a:gd name="T51" fmla="*/ 54 h 633"/>
                <a:gd name="T52" fmla="*/ 872 w 903"/>
                <a:gd name="T53" fmla="*/ 578 h 633"/>
                <a:gd name="T54" fmla="*/ 863 w 903"/>
                <a:gd name="T55" fmla="*/ 593 h 633"/>
                <a:gd name="T56" fmla="*/ 848 w 903"/>
                <a:gd name="T57" fmla="*/ 601 h 633"/>
                <a:gd name="T58" fmla="*/ 795 w 903"/>
                <a:gd name="T59" fmla="*/ 603 h 633"/>
                <a:gd name="T60" fmla="*/ 787 w 903"/>
                <a:gd name="T61" fmla="*/ 607 h 633"/>
                <a:gd name="T62" fmla="*/ 783 w 903"/>
                <a:gd name="T63" fmla="*/ 614 h 633"/>
                <a:gd name="T64" fmla="*/ 784 w 903"/>
                <a:gd name="T65" fmla="*/ 623 h 633"/>
                <a:gd name="T66" fmla="*/ 789 w 903"/>
                <a:gd name="T67" fmla="*/ 629 h 633"/>
                <a:gd name="T68" fmla="*/ 798 w 903"/>
                <a:gd name="T69" fmla="*/ 633 h 633"/>
                <a:gd name="T70" fmla="*/ 855 w 903"/>
                <a:gd name="T71" fmla="*/ 631 h 633"/>
                <a:gd name="T72" fmla="*/ 871 w 903"/>
                <a:gd name="T73" fmla="*/ 625 h 633"/>
                <a:gd name="T74" fmla="*/ 885 w 903"/>
                <a:gd name="T75" fmla="*/ 614 h 633"/>
                <a:gd name="T76" fmla="*/ 895 w 903"/>
                <a:gd name="T77" fmla="*/ 600 h 633"/>
                <a:gd name="T78" fmla="*/ 902 w 903"/>
                <a:gd name="T79" fmla="*/ 584 h 633"/>
                <a:gd name="T80" fmla="*/ 903 w 903"/>
                <a:gd name="T81" fmla="*/ 60 h 633"/>
                <a:gd name="T82" fmla="*/ 900 w 903"/>
                <a:gd name="T83" fmla="*/ 43 h 633"/>
                <a:gd name="T84" fmla="*/ 892 w 903"/>
                <a:gd name="T85" fmla="*/ 27 h 633"/>
                <a:gd name="T86" fmla="*/ 880 w 903"/>
                <a:gd name="T87" fmla="*/ 14 h 633"/>
                <a:gd name="T88" fmla="*/ 866 w 903"/>
                <a:gd name="T89" fmla="*/ 5 h 633"/>
                <a:gd name="T90" fmla="*/ 848 w 903"/>
                <a:gd name="T91" fmla="*/ 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3" h="633">
                  <a:moveTo>
                    <a:pt x="843" y="0"/>
                  </a:moveTo>
                  <a:lnTo>
                    <a:pt x="60" y="0"/>
                  </a:lnTo>
                  <a:lnTo>
                    <a:pt x="53" y="0"/>
                  </a:lnTo>
                  <a:lnTo>
                    <a:pt x="48" y="1"/>
                  </a:lnTo>
                  <a:lnTo>
                    <a:pt x="42" y="3"/>
                  </a:lnTo>
                  <a:lnTo>
                    <a:pt x="36" y="5"/>
                  </a:lnTo>
                  <a:lnTo>
                    <a:pt x="31" y="7"/>
                  </a:lnTo>
                  <a:lnTo>
                    <a:pt x="26" y="10"/>
                  </a:lnTo>
                  <a:lnTo>
                    <a:pt x="21" y="14"/>
                  </a:lnTo>
                  <a:lnTo>
                    <a:pt x="17" y="18"/>
                  </a:lnTo>
                  <a:lnTo>
                    <a:pt x="14" y="22"/>
                  </a:lnTo>
                  <a:lnTo>
                    <a:pt x="10" y="27"/>
                  </a:lnTo>
                  <a:lnTo>
                    <a:pt x="6" y="32"/>
                  </a:lnTo>
                  <a:lnTo>
                    <a:pt x="4" y="37"/>
                  </a:lnTo>
                  <a:lnTo>
                    <a:pt x="2" y="43"/>
                  </a:lnTo>
                  <a:lnTo>
                    <a:pt x="1" y="48"/>
                  </a:lnTo>
                  <a:lnTo>
                    <a:pt x="0" y="54"/>
                  </a:lnTo>
                  <a:lnTo>
                    <a:pt x="0" y="60"/>
                  </a:lnTo>
                  <a:lnTo>
                    <a:pt x="0" y="571"/>
                  </a:lnTo>
                  <a:lnTo>
                    <a:pt x="0" y="578"/>
                  </a:lnTo>
                  <a:lnTo>
                    <a:pt x="1" y="584"/>
                  </a:lnTo>
                  <a:lnTo>
                    <a:pt x="2" y="590"/>
                  </a:lnTo>
                  <a:lnTo>
                    <a:pt x="4" y="595"/>
                  </a:lnTo>
                  <a:lnTo>
                    <a:pt x="6" y="600"/>
                  </a:lnTo>
                  <a:lnTo>
                    <a:pt x="10" y="606"/>
                  </a:lnTo>
                  <a:lnTo>
                    <a:pt x="13" y="610"/>
                  </a:lnTo>
                  <a:lnTo>
                    <a:pt x="17" y="614"/>
                  </a:lnTo>
                  <a:lnTo>
                    <a:pt x="21" y="619"/>
                  </a:lnTo>
                  <a:lnTo>
                    <a:pt x="26" y="622"/>
                  </a:lnTo>
                  <a:lnTo>
                    <a:pt x="31" y="625"/>
                  </a:lnTo>
                  <a:lnTo>
                    <a:pt x="36" y="627"/>
                  </a:lnTo>
                  <a:lnTo>
                    <a:pt x="42" y="629"/>
                  </a:lnTo>
                  <a:lnTo>
                    <a:pt x="47" y="631"/>
                  </a:lnTo>
                  <a:lnTo>
                    <a:pt x="53" y="631"/>
                  </a:lnTo>
                  <a:lnTo>
                    <a:pt x="60" y="633"/>
                  </a:lnTo>
                  <a:lnTo>
                    <a:pt x="315" y="633"/>
                  </a:lnTo>
                  <a:lnTo>
                    <a:pt x="318" y="631"/>
                  </a:lnTo>
                  <a:lnTo>
                    <a:pt x="322" y="631"/>
                  </a:lnTo>
                  <a:lnTo>
                    <a:pt x="324" y="629"/>
                  </a:lnTo>
                  <a:lnTo>
                    <a:pt x="326" y="628"/>
                  </a:lnTo>
                  <a:lnTo>
                    <a:pt x="328" y="625"/>
                  </a:lnTo>
                  <a:lnTo>
                    <a:pt x="329" y="623"/>
                  </a:lnTo>
                  <a:lnTo>
                    <a:pt x="330" y="620"/>
                  </a:lnTo>
                  <a:lnTo>
                    <a:pt x="330" y="618"/>
                  </a:lnTo>
                  <a:lnTo>
                    <a:pt x="330" y="614"/>
                  </a:lnTo>
                  <a:lnTo>
                    <a:pt x="329" y="611"/>
                  </a:lnTo>
                  <a:lnTo>
                    <a:pt x="328" y="609"/>
                  </a:lnTo>
                  <a:lnTo>
                    <a:pt x="326" y="607"/>
                  </a:lnTo>
                  <a:lnTo>
                    <a:pt x="324" y="605"/>
                  </a:lnTo>
                  <a:lnTo>
                    <a:pt x="322" y="604"/>
                  </a:lnTo>
                  <a:lnTo>
                    <a:pt x="318" y="603"/>
                  </a:lnTo>
                  <a:lnTo>
                    <a:pt x="315" y="603"/>
                  </a:lnTo>
                  <a:lnTo>
                    <a:pt x="60" y="603"/>
                  </a:lnTo>
                  <a:lnTo>
                    <a:pt x="53" y="601"/>
                  </a:lnTo>
                  <a:lnTo>
                    <a:pt x="48" y="599"/>
                  </a:lnTo>
                  <a:lnTo>
                    <a:pt x="43" y="597"/>
                  </a:lnTo>
                  <a:lnTo>
                    <a:pt x="38" y="593"/>
                  </a:lnTo>
                  <a:lnTo>
                    <a:pt x="35" y="589"/>
                  </a:lnTo>
                  <a:lnTo>
                    <a:pt x="32" y="583"/>
                  </a:lnTo>
                  <a:lnTo>
                    <a:pt x="30" y="578"/>
                  </a:lnTo>
                  <a:lnTo>
                    <a:pt x="30" y="572"/>
                  </a:lnTo>
                  <a:lnTo>
                    <a:pt x="30" y="60"/>
                  </a:lnTo>
                  <a:lnTo>
                    <a:pt x="30" y="54"/>
                  </a:lnTo>
                  <a:lnTo>
                    <a:pt x="32" y="48"/>
                  </a:lnTo>
                  <a:lnTo>
                    <a:pt x="35" y="44"/>
                  </a:lnTo>
                  <a:lnTo>
                    <a:pt x="38" y="39"/>
                  </a:lnTo>
                  <a:lnTo>
                    <a:pt x="43" y="35"/>
                  </a:lnTo>
                  <a:lnTo>
                    <a:pt x="48" y="33"/>
                  </a:lnTo>
                  <a:lnTo>
                    <a:pt x="53" y="31"/>
                  </a:lnTo>
                  <a:lnTo>
                    <a:pt x="60" y="30"/>
                  </a:lnTo>
                  <a:lnTo>
                    <a:pt x="843" y="30"/>
                  </a:lnTo>
                  <a:lnTo>
                    <a:pt x="848" y="31"/>
                  </a:lnTo>
                  <a:lnTo>
                    <a:pt x="855" y="32"/>
                  </a:lnTo>
                  <a:lnTo>
                    <a:pt x="859" y="35"/>
                  </a:lnTo>
                  <a:lnTo>
                    <a:pt x="863" y="39"/>
                  </a:lnTo>
                  <a:lnTo>
                    <a:pt x="868" y="44"/>
                  </a:lnTo>
                  <a:lnTo>
                    <a:pt x="870" y="48"/>
                  </a:lnTo>
                  <a:lnTo>
                    <a:pt x="872" y="54"/>
                  </a:lnTo>
                  <a:lnTo>
                    <a:pt x="873" y="60"/>
                  </a:lnTo>
                  <a:lnTo>
                    <a:pt x="873" y="571"/>
                  </a:lnTo>
                  <a:lnTo>
                    <a:pt x="872" y="578"/>
                  </a:lnTo>
                  <a:lnTo>
                    <a:pt x="871" y="583"/>
                  </a:lnTo>
                  <a:lnTo>
                    <a:pt x="868" y="589"/>
                  </a:lnTo>
                  <a:lnTo>
                    <a:pt x="863" y="593"/>
                  </a:lnTo>
                  <a:lnTo>
                    <a:pt x="859" y="597"/>
                  </a:lnTo>
                  <a:lnTo>
                    <a:pt x="855" y="599"/>
                  </a:lnTo>
                  <a:lnTo>
                    <a:pt x="848" y="601"/>
                  </a:lnTo>
                  <a:lnTo>
                    <a:pt x="843" y="603"/>
                  </a:lnTo>
                  <a:lnTo>
                    <a:pt x="798" y="603"/>
                  </a:lnTo>
                  <a:lnTo>
                    <a:pt x="795" y="603"/>
                  </a:lnTo>
                  <a:lnTo>
                    <a:pt x="791" y="604"/>
                  </a:lnTo>
                  <a:lnTo>
                    <a:pt x="789" y="605"/>
                  </a:lnTo>
                  <a:lnTo>
                    <a:pt x="787" y="607"/>
                  </a:lnTo>
                  <a:lnTo>
                    <a:pt x="785" y="609"/>
                  </a:lnTo>
                  <a:lnTo>
                    <a:pt x="784" y="611"/>
                  </a:lnTo>
                  <a:lnTo>
                    <a:pt x="783" y="614"/>
                  </a:lnTo>
                  <a:lnTo>
                    <a:pt x="783" y="618"/>
                  </a:lnTo>
                  <a:lnTo>
                    <a:pt x="783" y="620"/>
                  </a:lnTo>
                  <a:lnTo>
                    <a:pt x="784" y="623"/>
                  </a:lnTo>
                  <a:lnTo>
                    <a:pt x="785" y="625"/>
                  </a:lnTo>
                  <a:lnTo>
                    <a:pt x="787" y="628"/>
                  </a:lnTo>
                  <a:lnTo>
                    <a:pt x="789" y="629"/>
                  </a:lnTo>
                  <a:lnTo>
                    <a:pt x="791" y="631"/>
                  </a:lnTo>
                  <a:lnTo>
                    <a:pt x="795" y="631"/>
                  </a:lnTo>
                  <a:lnTo>
                    <a:pt x="798" y="633"/>
                  </a:lnTo>
                  <a:lnTo>
                    <a:pt x="843" y="633"/>
                  </a:lnTo>
                  <a:lnTo>
                    <a:pt x="848" y="631"/>
                  </a:lnTo>
                  <a:lnTo>
                    <a:pt x="855" y="631"/>
                  </a:lnTo>
                  <a:lnTo>
                    <a:pt x="860" y="629"/>
                  </a:lnTo>
                  <a:lnTo>
                    <a:pt x="866" y="627"/>
                  </a:lnTo>
                  <a:lnTo>
                    <a:pt x="871" y="625"/>
                  </a:lnTo>
                  <a:lnTo>
                    <a:pt x="876" y="622"/>
                  </a:lnTo>
                  <a:lnTo>
                    <a:pt x="880" y="619"/>
                  </a:lnTo>
                  <a:lnTo>
                    <a:pt x="885" y="614"/>
                  </a:lnTo>
                  <a:lnTo>
                    <a:pt x="889" y="610"/>
                  </a:lnTo>
                  <a:lnTo>
                    <a:pt x="892" y="606"/>
                  </a:lnTo>
                  <a:lnTo>
                    <a:pt x="895" y="600"/>
                  </a:lnTo>
                  <a:lnTo>
                    <a:pt x="898" y="595"/>
                  </a:lnTo>
                  <a:lnTo>
                    <a:pt x="900" y="590"/>
                  </a:lnTo>
                  <a:lnTo>
                    <a:pt x="902" y="584"/>
                  </a:lnTo>
                  <a:lnTo>
                    <a:pt x="902" y="578"/>
                  </a:lnTo>
                  <a:lnTo>
                    <a:pt x="903" y="572"/>
                  </a:lnTo>
                  <a:lnTo>
                    <a:pt x="903" y="60"/>
                  </a:lnTo>
                  <a:lnTo>
                    <a:pt x="903" y="54"/>
                  </a:lnTo>
                  <a:lnTo>
                    <a:pt x="902" y="48"/>
                  </a:lnTo>
                  <a:lnTo>
                    <a:pt x="900" y="43"/>
                  </a:lnTo>
                  <a:lnTo>
                    <a:pt x="898" y="36"/>
                  </a:lnTo>
                  <a:lnTo>
                    <a:pt x="895" y="32"/>
                  </a:lnTo>
                  <a:lnTo>
                    <a:pt x="892" y="27"/>
                  </a:lnTo>
                  <a:lnTo>
                    <a:pt x="889" y="22"/>
                  </a:lnTo>
                  <a:lnTo>
                    <a:pt x="885" y="18"/>
                  </a:lnTo>
                  <a:lnTo>
                    <a:pt x="880" y="14"/>
                  </a:lnTo>
                  <a:lnTo>
                    <a:pt x="876" y="10"/>
                  </a:lnTo>
                  <a:lnTo>
                    <a:pt x="871" y="7"/>
                  </a:lnTo>
                  <a:lnTo>
                    <a:pt x="866" y="5"/>
                  </a:lnTo>
                  <a:lnTo>
                    <a:pt x="860" y="3"/>
                  </a:lnTo>
                  <a:lnTo>
                    <a:pt x="855" y="1"/>
                  </a:lnTo>
                  <a:lnTo>
                    <a:pt x="848" y="1"/>
                  </a:lnTo>
                  <a:lnTo>
                    <a:pt x="843" y="0"/>
                  </a:lnTo>
                  <a:lnTo>
                    <a:pt x="8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79">
              <a:extLst>
                <a:ext uri="{FF2B5EF4-FFF2-40B4-BE49-F238E27FC236}">
                  <a16:creationId xmlns:a16="http://schemas.microsoft.com/office/drawing/2014/main" id="{173C1D75-4DA5-4B26-B736-AED377FE145B}"/>
                </a:ext>
              </a:extLst>
            </p:cNvPr>
            <p:cNvSpPr>
              <a:spLocks/>
            </p:cNvSpPr>
            <p:nvPr/>
          </p:nvSpPr>
          <p:spPr bwMode="auto">
            <a:xfrm>
              <a:off x="4911725" y="806450"/>
              <a:ext cx="249238" cy="161925"/>
            </a:xfrm>
            <a:custGeom>
              <a:avLst/>
              <a:gdLst>
                <a:gd name="T0" fmla="*/ 738 w 783"/>
                <a:gd name="T1" fmla="*/ 481 h 512"/>
                <a:gd name="T2" fmla="*/ 735 w 783"/>
                <a:gd name="T3" fmla="*/ 482 h 512"/>
                <a:gd name="T4" fmla="*/ 731 w 783"/>
                <a:gd name="T5" fmla="*/ 484 h 512"/>
                <a:gd name="T6" fmla="*/ 729 w 783"/>
                <a:gd name="T7" fmla="*/ 485 h 512"/>
                <a:gd name="T8" fmla="*/ 727 w 783"/>
                <a:gd name="T9" fmla="*/ 487 h 512"/>
                <a:gd name="T10" fmla="*/ 725 w 783"/>
                <a:gd name="T11" fmla="*/ 489 h 512"/>
                <a:gd name="T12" fmla="*/ 724 w 783"/>
                <a:gd name="T13" fmla="*/ 491 h 512"/>
                <a:gd name="T14" fmla="*/ 723 w 783"/>
                <a:gd name="T15" fmla="*/ 494 h 512"/>
                <a:gd name="T16" fmla="*/ 723 w 783"/>
                <a:gd name="T17" fmla="*/ 497 h 512"/>
                <a:gd name="T18" fmla="*/ 723 w 783"/>
                <a:gd name="T19" fmla="*/ 500 h 512"/>
                <a:gd name="T20" fmla="*/ 724 w 783"/>
                <a:gd name="T21" fmla="*/ 503 h 512"/>
                <a:gd name="T22" fmla="*/ 725 w 783"/>
                <a:gd name="T23" fmla="*/ 505 h 512"/>
                <a:gd name="T24" fmla="*/ 727 w 783"/>
                <a:gd name="T25" fmla="*/ 507 h 512"/>
                <a:gd name="T26" fmla="*/ 729 w 783"/>
                <a:gd name="T27" fmla="*/ 509 h 512"/>
                <a:gd name="T28" fmla="*/ 731 w 783"/>
                <a:gd name="T29" fmla="*/ 510 h 512"/>
                <a:gd name="T30" fmla="*/ 735 w 783"/>
                <a:gd name="T31" fmla="*/ 511 h 512"/>
                <a:gd name="T32" fmla="*/ 738 w 783"/>
                <a:gd name="T33" fmla="*/ 512 h 512"/>
                <a:gd name="T34" fmla="*/ 783 w 783"/>
                <a:gd name="T35" fmla="*/ 511 h 512"/>
                <a:gd name="T36" fmla="*/ 783 w 783"/>
                <a:gd name="T37" fmla="*/ 0 h 512"/>
                <a:gd name="T38" fmla="*/ 0 w 783"/>
                <a:gd name="T39" fmla="*/ 0 h 512"/>
                <a:gd name="T40" fmla="*/ 0 w 783"/>
                <a:gd name="T41" fmla="*/ 511 h 512"/>
                <a:gd name="T42" fmla="*/ 255 w 783"/>
                <a:gd name="T43" fmla="*/ 511 h 512"/>
                <a:gd name="T44" fmla="*/ 258 w 783"/>
                <a:gd name="T45" fmla="*/ 511 h 512"/>
                <a:gd name="T46" fmla="*/ 262 w 783"/>
                <a:gd name="T47" fmla="*/ 510 h 512"/>
                <a:gd name="T48" fmla="*/ 264 w 783"/>
                <a:gd name="T49" fmla="*/ 509 h 512"/>
                <a:gd name="T50" fmla="*/ 266 w 783"/>
                <a:gd name="T51" fmla="*/ 507 h 512"/>
                <a:gd name="T52" fmla="*/ 268 w 783"/>
                <a:gd name="T53" fmla="*/ 505 h 512"/>
                <a:gd name="T54" fmla="*/ 269 w 783"/>
                <a:gd name="T55" fmla="*/ 503 h 512"/>
                <a:gd name="T56" fmla="*/ 270 w 783"/>
                <a:gd name="T57" fmla="*/ 500 h 512"/>
                <a:gd name="T58" fmla="*/ 270 w 783"/>
                <a:gd name="T59" fmla="*/ 497 h 512"/>
                <a:gd name="T60" fmla="*/ 270 w 783"/>
                <a:gd name="T61" fmla="*/ 494 h 512"/>
                <a:gd name="T62" fmla="*/ 269 w 783"/>
                <a:gd name="T63" fmla="*/ 491 h 512"/>
                <a:gd name="T64" fmla="*/ 268 w 783"/>
                <a:gd name="T65" fmla="*/ 489 h 512"/>
                <a:gd name="T66" fmla="*/ 266 w 783"/>
                <a:gd name="T67" fmla="*/ 487 h 512"/>
                <a:gd name="T68" fmla="*/ 264 w 783"/>
                <a:gd name="T69" fmla="*/ 485 h 512"/>
                <a:gd name="T70" fmla="*/ 262 w 783"/>
                <a:gd name="T71" fmla="*/ 484 h 512"/>
                <a:gd name="T72" fmla="*/ 258 w 783"/>
                <a:gd name="T73" fmla="*/ 482 h 512"/>
                <a:gd name="T74" fmla="*/ 255 w 783"/>
                <a:gd name="T75" fmla="*/ 481 h 512"/>
                <a:gd name="T76" fmla="*/ 30 w 783"/>
                <a:gd name="T77" fmla="*/ 481 h 512"/>
                <a:gd name="T78" fmla="*/ 30 w 783"/>
                <a:gd name="T79" fmla="*/ 30 h 512"/>
                <a:gd name="T80" fmla="*/ 753 w 783"/>
                <a:gd name="T81" fmla="*/ 30 h 512"/>
                <a:gd name="T82" fmla="*/ 753 w 783"/>
                <a:gd name="T83" fmla="*/ 481 h 512"/>
                <a:gd name="T84" fmla="*/ 738 w 783"/>
                <a:gd name="T85" fmla="*/ 4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3" h="512">
                  <a:moveTo>
                    <a:pt x="738" y="481"/>
                  </a:moveTo>
                  <a:lnTo>
                    <a:pt x="735" y="482"/>
                  </a:lnTo>
                  <a:lnTo>
                    <a:pt x="731" y="484"/>
                  </a:lnTo>
                  <a:lnTo>
                    <a:pt x="729" y="485"/>
                  </a:lnTo>
                  <a:lnTo>
                    <a:pt x="727" y="487"/>
                  </a:lnTo>
                  <a:lnTo>
                    <a:pt x="725" y="489"/>
                  </a:lnTo>
                  <a:lnTo>
                    <a:pt x="724" y="491"/>
                  </a:lnTo>
                  <a:lnTo>
                    <a:pt x="723" y="494"/>
                  </a:lnTo>
                  <a:lnTo>
                    <a:pt x="723" y="497"/>
                  </a:lnTo>
                  <a:lnTo>
                    <a:pt x="723" y="500"/>
                  </a:lnTo>
                  <a:lnTo>
                    <a:pt x="724" y="503"/>
                  </a:lnTo>
                  <a:lnTo>
                    <a:pt x="725" y="505"/>
                  </a:lnTo>
                  <a:lnTo>
                    <a:pt x="727" y="507"/>
                  </a:lnTo>
                  <a:lnTo>
                    <a:pt x="729" y="509"/>
                  </a:lnTo>
                  <a:lnTo>
                    <a:pt x="731" y="510"/>
                  </a:lnTo>
                  <a:lnTo>
                    <a:pt x="735" y="511"/>
                  </a:lnTo>
                  <a:lnTo>
                    <a:pt x="738" y="512"/>
                  </a:lnTo>
                  <a:lnTo>
                    <a:pt x="783" y="511"/>
                  </a:lnTo>
                  <a:lnTo>
                    <a:pt x="783" y="0"/>
                  </a:lnTo>
                  <a:lnTo>
                    <a:pt x="0" y="0"/>
                  </a:lnTo>
                  <a:lnTo>
                    <a:pt x="0" y="511"/>
                  </a:lnTo>
                  <a:lnTo>
                    <a:pt x="255" y="511"/>
                  </a:lnTo>
                  <a:lnTo>
                    <a:pt x="258" y="511"/>
                  </a:lnTo>
                  <a:lnTo>
                    <a:pt x="262" y="510"/>
                  </a:lnTo>
                  <a:lnTo>
                    <a:pt x="264" y="509"/>
                  </a:lnTo>
                  <a:lnTo>
                    <a:pt x="266" y="507"/>
                  </a:lnTo>
                  <a:lnTo>
                    <a:pt x="268" y="505"/>
                  </a:lnTo>
                  <a:lnTo>
                    <a:pt x="269" y="503"/>
                  </a:lnTo>
                  <a:lnTo>
                    <a:pt x="270" y="500"/>
                  </a:lnTo>
                  <a:lnTo>
                    <a:pt x="270" y="497"/>
                  </a:lnTo>
                  <a:lnTo>
                    <a:pt x="270" y="494"/>
                  </a:lnTo>
                  <a:lnTo>
                    <a:pt x="269" y="491"/>
                  </a:lnTo>
                  <a:lnTo>
                    <a:pt x="268" y="489"/>
                  </a:lnTo>
                  <a:lnTo>
                    <a:pt x="266" y="487"/>
                  </a:lnTo>
                  <a:lnTo>
                    <a:pt x="264" y="485"/>
                  </a:lnTo>
                  <a:lnTo>
                    <a:pt x="262" y="484"/>
                  </a:lnTo>
                  <a:lnTo>
                    <a:pt x="258" y="482"/>
                  </a:lnTo>
                  <a:lnTo>
                    <a:pt x="255" y="481"/>
                  </a:lnTo>
                  <a:lnTo>
                    <a:pt x="30" y="481"/>
                  </a:lnTo>
                  <a:lnTo>
                    <a:pt x="30" y="30"/>
                  </a:lnTo>
                  <a:lnTo>
                    <a:pt x="753" y="30"/>
                  </a:lnTo>
                  <a:lnTo>
                    <a:pt x="753" y="481"/>
                  </a:lnTo>
                  <a:lnTo>
                    <a:pt x="738" y="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80">
              <a:extLst>
                <a:ext uri="{FF2B5EF4-FFF2-40B4-BE49-F238E27FC236}">
                  <a16:creationId xmlns:a16="http://schemas.microsoft.com/office/drawing/2014/main" id="{BEF1A380-2B9F-4C61-BA2F-153D2A83511B}"/>
                </a:ext>
              </a:extLst>
            </p:cNvPr>
            <p:cNvSpPr>
              <a:spLocks noEditPoints="1"/>
            </p:cNvSpPr>
            <p:nvPr/>
          </p:nvSpPr>
          <p:spPr bwMode="auto">
            <a:xfrm>
              <a:off x="5026025" y="930275"/>
              <a:ext cx="87313" cy="134938"/>
            </a:xfrm>
            <a:custGeom>
              <a:avLst/>
              <a:gdLst>
                <a:gd name="T0" fmla="*/ 30 w 271"/>
                <a:gd name="T1" fmla="*/ 30 h 422"/>
                <a:gd name="T2" fmla="*/ 241 w 271"/>
                <a:gd name="T3" fmla="*/ 30 h 422"/>
                <a:gd name="T4" fmla="*/ 241 w 271"/>
                <a:gd name="T5" fmla="*/ 392 h 422"/>
                <a:gd name="T6" fmla="*/ 30 w 271"/>
                <a:gd name="T7" fmla="*/ 392 h 422"/>
                <a:gd name="T8" fmla="*/ 30 w 271"/>
                <a:gd name="T9" fmla="*/ 30 h 422"/>
                <a:gd name="T10" fmla="*/ 0 w 271"/>
                <a:gd name="T11" fmla="*/ 422 h 422"/>
                <a:gd name="T12" fmla="*/ 271 w 271"/>
                <a:gd name="T13" fmla="*/ 422 h 422"/>
                <a:gd name="T14" fmla="*/ 271 w 271"/>
                <a:gd name="T15" fmla="*/ 0 h 422"/>
                <a:gd name="T16" fmla="*/ 0 w 271"/>
                <a:gd name="T17" fmla="*/ 0 h 422"/>
                <a:gd name="T18" fmla="*/ 0 w 271"/>
                <a:gd name="T19"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 h="422">
                  <a:moveTo>
                    <a:pt x="30" y="30"/>
                  </a:moveTo>
                  <a:lnTo>
                    <a:pt x="241" y="30"/>
                  </a:lnTo>
                  <a:lnTo>
                    <a:pt x="241" y="392"/>
                  </a:lnTo>
                  <a:lnTo>
                    <a:pt x="30" y="392"/>
                  </a:lnTo>
                  <a:lnTo>
                    <a:pt x="30" y="30"/>
                  </a:lnTo>
                  <a:close/>
                  <a:moveTo>
                    <a:pt x="0" y="422"/>
                  </a:moveTo>
                  <a:lnTo>
                    <a:pt x="271" y="422"/>
                  </a:lnTo>
                  <a:lnTo>
                    <a:pt x="271" y="0"/>
                  </a:lnTo>
                  <a:lnTo>
                    <a:pt x="0" y="0"/>
                  </a:lnTo>
                  <a:lnTo>
                    <a:pt x="0"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81">
              <a:extLst>
                <a:ext uri="{FF2B5EF4-FFF2-40B4-BE49-F238E27FC236}">
                  <a16:creationId xmlns:a16="http://schemas.microsoft.com/office/drawing/2014/main" id="{824E4321-8710-4E6B-8ABE-24446C1E838C}"/>
                </a:ext>
              </a:extLst>
            </p:cNvPr>
            <p:cNvSpPr>
              <a:spLocks/>
            </p:cNvSpPr>
            <p:nvPr/>
          </p:nvSpPr>
          <p:spPr bwMode="auto">
            <a:xfrm>
              <a:off x="5045075" y="958850"/>
              <a:ext cx="9525" cy="9525"/>
            </a:xfrm>
            <a:custGeom>
              <a:avLst/>
              <a:gdLst>
                <a:gd name="T0" fmla="*/ 15 w 30"/>
                <a:gd name="T1" fmla="*/ 0 h 31"/>
                <a:gd name="T2" fmla="*/ 12 w 30"/>
                <a:gd name="T3" fmla="*/ 1 h 31"/>
                <a:gd name="T4" fmla="*/ 9 w 30"/>
                <a:gd name="T5" fmla="*/ 3 h 31"/>
                <a:gd name="T6" fmla="*/ 7 w 30"/>
                <a:gd name="T7" fmla="*/ 4 h 31"/>
                <a:gd name="T8" fmla="*/ 5 w 30"/>
                <a:gd name="T9" fmla="*/ 6 h 31"/>
                <a:gd name="T10" fmla="*/ 3 w 30"/>
                <a:gd name="T11" fmla="*/ 8 h 31"/>
                <a:gd name="T12" fmla="*/ 1 w 30"/>
                <a:gd name="T13" fmla="*/ 10 h 31"/>
                <a:gd name="T14" fmla="*/ 0 w 30"/>
                <a:gd name="T15" fmla="*/ 13 h 31"/>
                <a:gd name="T16" fmla="*/ 0 w 30"/>
                <a:gd name="T17" fmla="*/ 16 h 31"/>
                <a:gd name="T18" fmla="*/ 0 w 30"/>
                <a:gd name="T19" fmla="*/ 19 h 31"/>
                <a:gd name="T20" fmla="*/ 1 w 30"/>
                <a:gd name="T21" fmla="*/ 22 h 31"/>
                <a:gd name="T22" fmla="*/ 3 w 30"/>
                <a:gd name="T23" fmla="*/ 24 h 31"/>
                <a:gd name="T24" fmla="*/ 5 w 30"/>
                <a:gd name="T25" fmla="*/ 26 h 31"/>
                <a:gd name="T26" fmla="*/ 7 w 30"/>
                <a:gd name="T27" fmla="*/ 28 h 31"/>
                <a:gd name="T28" fmla="*/ 9 w 30"/>
                <a:gd name="T29" fmla="*/ 29 h 31"/>
                <a:gd name="T30" fmla="*/ 12 w 30"/>
                <a:gd name="T31" fmla="*/ 30 h 31"/>
                <a:gd name="T32" fmla="*/ 15 w 30"/>
                <a:gd name="T33" fmla="*/ 31 h 31"/>
                <a:gd name="T34" fmla="*/ 19 w 30"/>
                <a:gd name="T35" fmla="*/ 30 h 31"/>
                <a:gd name="T36" fmla="*/ 21 w 30"/>
                <a:gd name="T37" fmla="*/ 29 h 31"/>
                <a:gd name="T38" fmla="*/ 24 w 30"/>
                <a:gd name="T39" fmla="*/ 28 h 31"/>
                <a:gd name="T40" fmla="*/ 26 w 30"/>
                <a:gd name="T41" fmla="*/ 26 h 31"/>
                <a:gd name="T42" fmla="*/ 27 w 30"/>
                <a:gd name="T43" fmla="*/ 24 h 31"/>
                <a:gd name="T44" fmla="*/ 29 w 30"/>
                <a:gd name="T45" fmla="*/ 22 h 31"/>
                <a:gd name="T46" fmla="*/ 30 w 30"/>
                <a:gd name="T47" fmla="*/ 19 h 31"/>
                <a:gd name="T48" fmla="*/ 30 w 30"/>
                <a:gd name="T49" fmla="*/ 16 h 31"/>
                <a:gd name="T50" fmla="*/ 30 w 30"/>
                <a:gd name="T51" fmla="*/ 13 h 31"/>
                <a:gd name="T52" fmla="*/ 29 w 30"/>
                <a:gd name="T53" fmla="*/ 10 h 31"/>
                <a:gd name="T54" fmla="*/ 27 w 30"/>
                <a:gd name="T55" fmla="*/ 8 h 31"/>
                <a:gd name="T56" fmla="*/ 26 w 30"/>
                <a:gd name="T57" fmla="*/ 6 h 31"/>
                <a:gd name="T58" fmla="*/ 24 w 30"/>
                <a:gd name="T59" fmla="*/ 4 h 31"/>
                <a:gd name="T60" fmla="*/ 21 w 30"/>
                <a:gd name="T61" fmla="*/ 3 h 31"/>
                <a:gd name="T62" fmla="*/ 19 w 30"/>
                <a:gd name="T63" fmla="*/ 1 h 31"/>
                <a:gd name="T64" fmla="*/ 15 w 30"/>
                <a:gd name="T65" fmla="*/ 0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9" y="3"/>
                  </a:lnTo>
                  <a:lnTo>
                    <a:pt x="7" y="4"/>
                  </a:lnTo>
                  <a:lnTo>
                    <a:pt x="5" y="6"/>
                  </a:lnTo>
                  <a:lnTo>
                    <a:pt x="3" y="8"/>
                  </a:lnTo>
                  <a:lnTo>
                    <a:pt x="1" y="10"/>
                  </a:lnTo>
                  <a:lnTo>
                    <a:pt x="0" y="13"/>
                  </a:lnTo>
                  <a:lnTo>
                    <a:pt x="0" y="16"/>
                  </a:lnTo>
                  <a:lnTo>
                    <a:pt x="0" y="19"/>
                  </a:lnTo>
                  <a:lnTo>
                    <a:pt x="1" y="22"/>
                  </a:lnTo>
                  <a:lnTo>
                    <a:pt x="3" y="24"/>
                  </a:lnTo>
                  <a:lnTo>
                    <a:pt x="5" y="26"/>
                  </a:lnTo>
                  <a:lnTo>
                    <a:pt x="7" y="28"/>
                  </a:lnTo>
                  <a:lnTo>
                    <a:pt x="9" y="29"/>
                  </a:lnTo>
                  <a:lnTo>
                    <a:pt x="12" y="30"/>
                  </a:lnTo>
                  <a:lnTo>
                    <a:pt x="15" y="31"/>
                  </a:lnTo>
                  <a:lnTo>
                    <a:pt x="19" y="30"/>
                  </a:lnTo>
                  <a:lnTo>
                    <a:pt x="21" y="29"/>
                  </a:lnTo>
                  <a:lnTo>
                    <a:pt x="24" y="28"/>
                  </a:lnTo>
                  <a:lnTo>
                    <a:pt x="26" y="26"/>
                  </a:lnTo>
                  <a:lnTo>
                    <a:pt x="27" y="24"/>
                  </a:lnTo>
                  <a:lnTo>
                    <a:pt x="29" y="22"/>
                  </a:lnTo>
                  <a:lnTo>
                    <a:pt x="30" y="19"/>
                  </a:lnTo>
                  <a:lnTo>
                    <a:pt x="30" y="16"/>
                  </a:lnTo>
                  <a:lnTo>
                    <a:pt x="30" y="13"/>
                  </a:lnTo>
                  <a:lnTo>
                    <a:pt x="29" y="10"/>
                  </a:lnTo>
                  <a:lnTo>
                    <a:pt x="27" y="8"/>
                  </a:lnTo>
                  <a:lnTo>
                    <a:pt x="26" y="6"/>
                  </a:lnTo>
                  <a:lnTo>
                    <a:pt x="24" y="4"/>
                  </a:lnTo>
                  <a:lnTo>
                    <a:pt x="21" y="3"/>
                  </a:lnTo>
                  <a:lnTo>
                    <a:pt x="19"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82">
              <a:extLst>
                <a:ext uri="{FF2B5EF4-FFF2-40B4-BE49-F238E27FC236}">
                  <a16:creationId xmlns:a16="http://schemas.microsoft.com/office/drawing/2014/main" id="{744F93E0-7941-4C92-A102-4C121F607671}"/>
                </a:ext>
              </a:extLst>
            </p:cNvPr>
            <p:cNvSpPr>
              <a:spLocks/>
            </p:cNvSpPr>
            <p:nvPr/>
          </p:nvSpPr>
          <p:spPr bwMode="auto">
            <a:xfrm>
              <a:off x="5064125" y="958850"/>
              <a:ext cx="11113" cy="9525"/>
            </a:xfrm>
            <a:custGeom>
              <a:avLst/>
              <a:gdLst>
                <a:gd name="T0" fmla="*/ 15 w 31"/>
                <a:gd name="T1" fmla="*/ 0 h 31"/>
                <a:gd name="T2" fmla="*/ 12 w 31"/>
                <a:gd name="T3" fmla="*/ 1 h 31"/>
                <a:gd name="T4" fmla="*/ 10 w 31"/>
                <a:gd name="T5" fmla="*/ 3 h 31"/>
                <a:gd name="T6" fmla="*/ 7 w 31"/>
                <a:gd name="T7" fmla="*/ 4 h 31"/>
                <a:gd name="T8" fmla="*/ 5 w 31"/>
                <a:gd name="T9" fmla="*/ 6 h 31"/>
                <a:gd name="T10" fmla="*/ 3 w 31"/>
                <a:gd name="T11" fmla="*/ 8 h 31"/>
                <a:gd name="T12" fmla="*/ 2 w 31"/>
                <a:gd name="T13" fmla="*/ 10 h 31"/>
                <a:gd name="T14" fmla="*/ 0 w 31"/>
                <a:gd name="T15" fmla="*/ 13 h 31"/>
                <a:gd name="T16" fmla="*/ 0 w 31"/>
                <a:gd name="T17" fmla="*/ 16 h 31"/>
                <a:gd name="T18" fmla="*/ 0 w 31"/>
                <a:gd name="T19" fmla="*/ 19 h 31"/>
                <a:gd name="T20" fmla="*/ 2 w 31"/>
                <a:gd name="T21" fmla="*/ 22 h 31"/>
                <a:gd name="T22" fmla="*/ 3 w 31"/>
                <a:gd name="T23" fmla="*/ 24 h 31"/>
                <a:gd name="T24" fmla="*/ 5 w 31"/>
                <a:gd name="T25" fmla="*/ 26 h 31"/>
                <a:gd name="T26" fmla="*/ 7 w 31"/>
                <a:gd name="T27" fmla="*/ 28 h 31"/>
                <a:gd name="T28" fmla="*/ 10 w 31"/>
                <a:gd name="T29" fmla="*/ 29 h 31"/>
                <a:gd name="T30" fmla="*/ 12 w 31"/>
                <a:gd name="T31" fmla="*/ 30 h 31"/>
                <a:gd name="T32" fmla="*/ 15 w 31"/>
                <a:gd name="T33" fmla="*/ 31 h 31"/>
                <a:gd name="T34" fmla="*/ 19 w 31"/>
                <a:gd name="T35" fmla="*/ 30 h 31"/>
                <a:gd name="T36" fmla="*/ 21 w 31"/>
                <a:gd name="T37" fmla="*/ 29 h 31"/>
                <a:gd name="T38" fmla="*/ 24 w 31"/>
                <a:gd name="T39" fmla="*/ 28 h 31"/>
                <a:gd name="T40" fmla="*/ 26 w 31"/>
                <a:gd name="T41" fmla="*/ 26 h 31"/>
                <a:gd name="T42" fmla="*/ 28 w 31"/>
                <a:gd name="T43" fmla="*/ 24 h 31"/>
                <a:gd name="T44" fmla="*/ 29 w 31"/>
                <a:gd name="T45" fmla="*/ 22 h 31"/>
                <a:gd name="T46" fmla="*/ 31 w 31"/>
                <a:gd name="T47" fmla="*/ 19 h 31"/>
                <a:gd name="T48" fmla="*/ 31 w 31"/>
                <a:gd name="T49" fmla="*/ 16 h 31"/>
                <a:gd name="T50" fmla="*/ 31 w 31"/>
                <a:gd name="T51" fmla="*/ 13 h 31"/>
                <a:gd name="T52" fmla="*/ 29 w 31"/>
                <a:gd name="T53" fmla="*/ 10 h 31"/>
                <a:gd name="T54" fmla="*/ 28 w 31"/>
                <a:gd name="T55" fmla="*/ 8 h 31"/>
                <a:gd name="T56" fmla="*/ 26 w 31"/>
                <a:gd name="T57" fmla="*/ 6 h 31"/>
                <a:gd name="T58" fmla="*/ 24 w 31"/>
                <a:gd name="T59" fmla="*/ 4 h 31"/>
                <a:gd name="T60" fmla="*/ 21 w 31"/>
                <a:gd name="T61" fmla="*/ 3 h 31"/>
                <a:gd name="T62" fmla="*/ 19 w 31"/>
                <a:gd name="T63" fmla="*/ 1 h 31"/>
                <a:gd name="T64" fmla="*/ 15 w 31"/>
                <a:gd name="T65" fmla="*/ 0 h 31"/>
                <a:gd name="T66" fmla="*/ 15 w 31"/>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1">
                  <a:moveTo>
                    <a:pt x="15" y="0"/>
                  </a:moveTo>
                  <a:lnTo>
                    <a:pt x="12" y="1"/>
                  </a:lnTo>
                  <a:lnTo>
                    <a:pt x="10" y="3"/>
                  </a:lnTo>
                  <a:lnTo>
                    <a:pt x="7" y="4"/>
                  </a:lnTo>
                  <a:lnTo>
                    <a:pt x="5" y="6"/>
                  </a:lnTo>
                  <a:lnTo>
                    <a:pt x="3" y="8"/>
                  </a:lnTo>
                  <a:lnTo>
                    <a:pt x="2" y="10"/>
                  </a:lnTo>
                  <a:lnTo>
                    <a:pt x="0" y="13"/>
                  </a:lnTo>
                  <a:lnTo>
                    <a:pt x="0" y="16"/>
                  </a:lnTo>
                  <a:lnTo>
                    <a:pt x="0" y="19"/>
                  </a:lnTo>
                  <a:lnTo>
                    <a:pt x="2" y="22"/>
                  </a:lnTo>
                  <a:lnTo>
                    <a:pt x="3" y="24"/>
                  </a:lnTo>
                  <a:lnTo>
                    <a:pt x="5" y="26"/>
                  </a:lnTo>
                  <a:lnTo>
                    <a:pt x="7" y="28"/>
                  </a:lnTo>
                  <a:lnTo>
                    <a:pt x="10" y="29"/>
                  </a:lnTo>
                  <a:lnTo>
                    <a:pt x="12" y="30"/>
                  </a:lnTo>
                  <a:lnTo>
                    <a:pt x="15" y="31"/>
                  </a:lnTo>
                  <a:lnTo>
                    <a:pt x="19" y="30"/>
                  </a:lnTo>
                  <a:lnTo>
                    <a:pt x="21" y="29"/>
                  </a:lnTo>
                  <a:lnTo>
                    <a:pt x="24" y="28"/>
                  </a:lnTo>
                  <a:lnTo>
                    <a:pt x="26" y="26"/>
                  </a:lnTo>
                  <a:lnTo>
                    <a:pt x="28" y="24"/>
                  </a:lnTo>
                  <a:lnTo>
                    <a:pt x="29" y="22"/>
                  </a:lnTo>
                  <a:lnTo>
                    <a:pt x="31" y="19"/>
                  </a:lnTo>
                  <a:lnTo>
                    <a:pt x="31" y="16"/>
                  </a:lnTo>
                  <a:lnTo>
                    <a:pt x="31" y="13"/>
                  </a:lnTo>
                  <a:lnTo>
                    <a:pt x="29" y="10"/>
                  </a:lnTo>
                  <a:lnTo>
                    <a:pt x="28" y="8"/>
                  </a:lnTo>
                  <a:lnTo>
                    <a:pt x="26" y="6"/>
                  </a:lnTo>
                  <a:lnTo>
                    <a:pt x="24" y="4"/>
                  </a:lnTo>
                  <a:lnTo>
                    <a:pt x="21" y="3"/>
                  </a:lnTo>
                  <a:lnTo>
                    <a:pt x="19"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83">
              <a:extLst>
                <a:ext uri="{FF2B5EF4-FFF2-40B4-BE49-F238E27FC236}">
                  <a16:creationId xmlns:a16="http://schemas.microsoft.com/office/drawing/2014/main" id="{80CAC19D-5483-4FDD-B700-7A05FC922076}"/>
                </a:ext>
              </a:extLst>
            </p:cNvPr>
            <p:cNvSpPr>
              <a:spLocks/>
            </p:cNvSpPr>
            <p:nvPr/>
          </p:nvSpPr>
          <p:spPr bwMode="auto">
            <a:xfrm>
              <a:off x="5045075" y="989013"/>
              <a:ext cx="9525" cy="9525"/>
            </a:xfrm>
            <a:custGeom>
              <a:avLst/>
              <a:gdLst>
                <a:gd name="T0" fmla="*/ 15 w 30"/>
                <a:gd name="T1" fmla="*/ 0 h 30"/>
                <a:gd name="T2" fmla="*/ 12 w 30"/>
                <a:gd name="T3" fmla="*/ 0 h 30"/>
                <a:gd name="T4" fmla="*/ 9 w 30"/>
                <a:gd name="T5" fmla="*/ 1 h 30"/>
                <a:gd name="T6" fmla="*/ 7 w 30"/>
                <a:gd name="T7" fmla="*/ 2 h 30"/>
                <a:gd name="T8" fmla="*/ 5 w 30"/>
                <a:gd name="T9" fmla="*/ 4 h 30"/>
                <a:gd name="T10" fmla="*/ 3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3 w 30"/>
                <a:gd name="T23" fmla="*/ 23 h 30"/>
                <a:gd name="T24" fmla="*/ 5 w 30"/>
                <a:gd name="T25" fmla="*/ 25 h 30"/>
                <a:gd name="T26" fmla="*/ 7 w 30"/>
                <a:gd name="T27" fmla="*/ 26 h 30"/>
                <a:gd name="T28" fmla="*/ 9 w 30"/>
                <a:gd name="T29" fmla="*/ 28 h 30"/>
                <a:gd name="T30" fmla="*/ 12 w 30"/>
                <a:gd name="T31" fmla="*/ 28 h 30"/>
                <a:gd name="T32" fmla="*/ 15 w 30"/>
                <a:gd name="T33" fmla="*/ 30 h 30"/>
                <a:gd name="T34" fmla="*/ 19 w 30"/>
                <a:gd name="T35" fmla="*/ 28 h 30"/>
                <a:gd name="T36" fmla="*/ 21 w 30"/>
                <a:gd name="T37" fmla="*/ 28 h 30"/>
                <a:gd name="T38" fmla="*/ 24 w 30"/>
                <a:gd name="T39" fmla="*/ 26 h 30"/>
                <a:gd name="T40" fmla="*/ 26 w 30"/>
                <a:gd name="T41" fmla="*/ 25 h 30"/>
                <a:gd name="T42" fmla="*/ 27 w 30"/>
                <a:gd name="T43" fmla="*/ 23 h 30"/>
                <a:gd name="T44" fmla="*/ 29 w 30"/>
                <a:gd name="T45" fmla="*/ 20 h 30"/>
                <a:gd name="T46" fmla="*/ 30 w 30"/>
                <a:gd name="T47" fmla="*/ 18 h 30"/>
                <a:gd name="T48" fmla="*/ 30 w 30"/>
                <a:gd name="T49" fmla="*/ 15 h 30"/>
                <a:gd name="T50" fmla="*/ 30 w 30"/>
                <a:gd name="T51" fmla="*/ 11 h 30"/>
                <a:gd name="T52" fmla="*/ 29 w 30"/>
                <a:gd name="T53" fmla="*/ 8 h 30"/>
                <a:gd name="T54" fmla="*/ 27 w 30"/>
                <a:gd name="T55" fmla="*/ 6 h 30"/>
                <a:gd name="T56" fmla="*/ 26 w 30"/>
                <a:gd name="T57" fmla="*/ 4 h 30"/>
                <a:gd name="T58" fmla="*/ 24 w 30"/>
                <a:gd name="T59" fmla="*/ 2 h 30"/>
                <a:gd name="T60" fmla="*/ 21 w 30"/>
                <a:gd name="T61" fmla="*/ 1 h 30"/>
                <a:gd name="T62" fmla="*/ 19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7" y="2"/>
                  </a:lnTo>
                  <a:lnTo>
                    <a:pt x="5" y="4"/>
                  </a:lnTo>
                  <a:lnTo>
                    <a:pt x="3" y="6"/>
                  </a:lnTo>
                  <a:lnTo>
                    <a:pt x="1" y="8"/>
                  </a:lnTo>
                  <a:lnTo>
                    <a:pt x="0" y="11"/>
                  </a:lnTo>
                  <a:lnTo>
                    <a:pt x="0" y="15"/>
                  </a:lnTo>
                  <a:lnTo>
                    <a:pt x="0" y="18"/>
                  </a:lnTo>
                  <a:lnTo>
                    <a:pt x="1" y="20"/>
                  </a:lnTo>
                  <a:lnTo>
                    <a:pt x="3" y="23"/>
                  </a:lnTo>
                  <a:lnTo>
                    <a:pt x="5" y="25"/>
                  </a:lnTo>
                  <a:lnTo>
                    <a:pt x="7" y="26"/>
                  </a:lnTo>
                  <a:lnTo>
                    <a:pt x="9" y="28"/>
                  </a:lnTo>
                  <a:lnTo>
                    <a:pt x="12" y="28"/>
                  </a:lnTo>
                  <a:lnTo>
                    <a:pt x="15" y="30"/>
                  </a:lnTo>
                  <a:lnTo>
                    <a:pt x="19" y="28"/>
                  </a:lnTo>
                  <a:lnTo>
                    <a:pt x="21" y="28"/>
                  </a:lnTo>
                  <a:lnTo>
                    <a:pt x="24" y="26"/>
                  </a:lnTo>
                  <a:lnTo>
                    <a:pt x="26" y="25"/>
                  </a:lnTo>
                  <a:lnTo>
                    <a:pt x="27" y="23"/>
                  </a:lnTo>
                  <a:lnTo>
                    <a:pt x="29" y="20"/>
                  </a:lnTo>
                  <a:lnTo>
                    <a:pt x="30" y="18"/>
                  </a:lnTo>
                  <a:lnTo>
                    <a:pt x="30" y="15"/>
                  </a:lnTo>
                  <a:lnTo>
                    <a:pt x="30" y="11"/>
                  </a:lnTo>
                  <a:lnTo>
                    <a:pt x="29" y="8"/>
                  </a:lnTo>
                  <a:lnTo>
                    <a:pt x="27" y="6"/>
                  </a:lnTo>
                  <a:lnTo>
                    <a:pt x="26" y="4"/>
                  </a:lnTo>
                  <a:lnTo>
                    <a:pt x="24" y="2"/>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84">
              <a:extLst>
                <a:ext uri="{FF2B5EF4-FFF2-40B4-BE49-F238E27FC236}">
                  <a16:creationId xmlns:a16="http://schemas.microsoft.com/office/drawing/2014/main" id="{5ED44E89-2C60-4264-A027-30B6A35C14C8}"/>
                </a:ext>
              </a:extLst>
            </p:cNvPr>
            <p:cNvSpPr>
              <a:spLocks/>
            </p:cNvSpPr>
            <p:nvPr/>
          </p:nvSpPr>
          <p:spPr bwMode="auto">
            <a:xfrm>
              <a:off x="5064125" y="989013"/>
              <a:ext cx="11113" cy="9525"/>
            </a:xfrm>
            <a:custGeom>
              <a:avLst/>
              <a:gdLst>
                <a:gd name="T0" fmla="*/ 15 w 31"/>
                <a:gd name="T1" fmla="*/ 0 h 30"/>
                <a:gd name="T2" fmla="*/ 12 w 31"/>
                <a:gd name="T3" fmla="*/ 0 h 30"/>
                <a:gd name="T4" fmla="*/ 10 w 31"/>
                <a:gd name="T5" fmla="*/ 1 h 30"/>
                <a:gd name="T6" fmla="*/ 7 w 31"/>
                <a:gd name="T7" fmla="*/ 2 h 30"/>
                <a:gd name="T8" fmla="*/ 5 w 31"/>
                <a:gd name="T9" fmla="*/ 4 h 30"/>
                <a:gd name="T10" fmla="*/ 3 w 31"/>
                <a:gd name="T11" fmla="*/ 6 h 30"/>
                <a:gd name="T12" fmla="*/ 2 w 31"/>
                <a:gd name="T13" fmla="*/ 8 h 30"/>
                <a:gd name="T14" fmla="*/ 0 w 31"/>
                <a:gd name="T15" fmla="*/ 11 h 30"/>
                <a:gd name="T16" fmla="*/ 0 w 31"/>
                <a:gd name="T17" fmla="*/ 15 h 30"/>
                <a:gd name="T18" fmla="*/ 0 w 31"/>
                <a:gd name="T19" fmla="*/ 18 h 30"/>
                <a:gd name="T20" fmla="*/ 2 w 31"/>
                <a:gd name="T21" fmla="*/ 20 h 30"/>
                <a:gd name="T22" fmla="*/ 3 w 31"/>
                <a:gd name="T23" fmla="*/ 23 h 30"/>
                <a:gd name="T24" fmla="*/ 5 w 31"/>
                <a:gd name="T25" fmla="*/ 25 h 30"/>
                <a:gd name="T26" fmla="*/ 7 w 31"/>
                <a:gd name="T27" fmla="*/ 26 h 30"/>
                <a:gd name="T28" fmla="*/ 10 w 31"/>
                <a:gd name="T29" fmla="*/ 28 h 30"/>
                <a:gd name="T30" fmla="*/ 12 w 31"/>
                <a:gd name="T31" fmla="*/ 28 h 30"/>
                <a:gd name="T32" fmla="*/ 15 w 31"/>
                <a:gd name="T33" fmla="*/ 30 h 30"/>
                <a:gd name="T34" fmla="*/ 19 w 31"/>
                <a:gd name="T35" fmla="*/ 28 h 30"/>
                <a:gd name="T36" fmla="*/ 21 w 31"/>
                <a:gd name="T37" fmla="*/ 28 h 30"/>
                <a:gd name="T38" fmla="*/ 24 w 31"/>
                <a:gd name="T39" fmla="*/ 26 h 30"/>
                <a:gd name="T40" fmla="*/ 26 w 31"/>
                <a:gd name="T41" fmla="*/ 25 h 30"/>
                <a:gd name="T42" fmla="*/ 28 w 31"/>
                <a:gd name="T43" fmla="*/ 23 h 30"/>
                <a:gd name="T44" fmla="*/ 29 w 31"/>
                <a:gd name="T45" fmla="*/ 20 h 30"/>
                <a:gd name="T46" fmla="*/ 31 w 31"/>
                <a:gd name="T47" fmla="*/ 18 h 30"/>
                <a:gd name="T48" fmla="*/ 31 w 31"/>
                <a:gd name="T49" fmla="*/ 15 h 30"/>
                <a:gd name="T50" fmla="*/ 31 w 31"/>
                <a:gd name="T51" fmla="*/ 11 h 30"/>
                <a:gd name="T52" fmla="*/ 29 w 31"/>
                <a:gd name="T53" fmla="*/ 8 h 30"/>
                <a:gd name="T54" fmla="*/ 28 w 31"/>
                <a:gd name="T55" fmla="*/ 6 h 30"/>
                <a:gd name="T56" fmla="*/ 26 w 31"/>
                <a:gd name="T57" fmla="*/ 4 h 30"/>
                <a:gd name="T58" fmla="*/ 24 w 31"/>
                <a:gd name="T59" fmla="*/ 2 h 30"/>
                <a:gd name="T60" fmla="*/ 21 w 31"/>
                <a:gd name="T61" fmla="*/ 1 h 30"/>
                <a:gd name="T62" fmla="*/ 19 w 31"/>
                <a:gd name="T63" fmla="*/ 0 h 30"/>
                <a:gd name="T64" fmla="*/ 15 w 31"/>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0">
                  <a:moveTo>
                    <a:pt x="15" y="0"/>
                  </a:moveTo>
                  <a:lnTo>
                    <a:pt x="12" y="0"/>
                  </a:lnTo>
                  <a:lnTo>
                    <a:pt x="10" y="1"/>
                  </a:lnTo>
                  <a:lnTo>
                    <a:pt x="7" y="2"/>
                  </a:lnTo>
                  <a:lnTo>
                    <a:pt x="5" y="4"/>
                  </a:lnTo>
                  <a:lnTo>
                    <a:pt x="3" y="6"/>
                  </a:lnTo>
                  <a:lnTo>
                    <a:pt x="2" y="8"/>
                  </a:lnTo>
                  <a:lnTo>
                    <a:pt x="0" y="11"/>
                  </a:lnTo>
                  <a:lnTo>
                    <a:pt x="0" y="15"/>
                  </a:lnTo>
                  <a:lnTo>
                    <a:pt x="0" y="18"/>
                  </a:lnTo>
                  <a:lnTo>
                    <a:pt x="2" y="20"/>
                  </a:lnTo>
                  <a:lnTo>
                    <a:pt x="3" y="23"/>
                  </a:lnTo>
                  <a:lnTo>
                    <a:pt x="5" y="25"/>
                  </a:lnTo>
                  <a:lnTo>
                    <a:pt x="7" y="26"/>
                  </a:lnTo>
                  <a:lnTo>
                    <a:pt x="10" y="28"/>
                  </a:lnTo>
                  <a:lnTo>
                    <a:pt x="12" y="28"/>
                  </a:lnTo>
                  <a:lnTo>
                    <a:pt x="15" y="30"/>
                  </a:lnTo>
                  <a:lnTo>
                    <a:pt x="19" y="28"/>
                  </a:lnTo>
                  <a:lnTo>
                    <a:pt x="21" y="28"/>
                  </a:lnTo>
                  <a:lnTo>
                    <a:pt x="24" y="26"/>
                  </a:lnTo>
                  <a:lnTo>
                    <a:pt x="26" y="25"/>
                  </a:lnTo>
                  <a:lnTo>
                    <a:pt x="28" y="23"/>
                  </a:lnTo>
                  <a:lnTo>
                    <a:pt x="29" y="20"/>
                  </a:lnTo>
                  <a:lnTo>
                    <a:pt x="31" y="18"/>
                  </a:lnTo>
                  <a:lnTo>
                    <a:pt x="31" y="15"/>
                  </a:lnTo>
                  <a:lnTo>
                    <a:pt x="31" y="11"/>
                  </a:lnTo>
                  <a:lnTo>
                    <a:pt x="29" y="8"/>
                  </a:lnTo>
                  <a:lnTo>
                    <a:pt x="28" y="6"/>
                  </a:lnTo>
                  <a:lnTo>
                    <a:pt x="26" y="4"/>
                  </a:lnTo>
                  <a:lnTo>
                    <a:pt x="24" y="2"/>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85">
              <a:extLst>
                <a:ext uri="{FF2B5EF4-FFF2-40B4-BE49-F238E27FC236}">
                  <a16:creationId xmlns:a16="http://schemas.microsoft.com/office/drawing/2014/main" id="{E750CB23-68A9-442E-A5E6-26357AB1D81A}"/>
                </a:ext>
              </a:extLst>
            </p:cNvPr>
            <p:cNvSpPr>
              <a:spLocks/>
            </p:cNvSpPr>
            <p:nvPr/>
          </p:nvSpPr>
          <p:spPr bwMode="auto">
            <a:xfrm>
              <a:off x="5045075" y="1017588"/>
              <a:ext cx="9525" cy="9525"/>
            </a:xfrm>
            <a:custGeom>
              <a:avLst/>
              <a:gdLst>
                <a:gd name="T0" fmla="*/ 15 w 30"/>
                <a:gd name="T1" fmla="*/ 0 h 30"/>
                <a:gd name="T2" fmla="*/ 12 w 30"/>
                <a:gd name="T3" fmla="*/ 0 h 30"/>
                <a:gd name="T4" fmla="*/ 9 w 30"/>
                <a:gd name="T5" fmla="*/ 1 h 30"/>
                <a:gd name="T6" fmla="*/ 7 w 30"/>
                <a:gd name="T7" fmla="*/ 2 h 30"/>
                <a:gd name="T8" fmla="*/ 5 w 30"/>
                <a:gd name="T9" fmla="*/ 4 h 30"/>
                <a:gd name="T10" fmla="*/ 3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3 w 30"/>
                <a:gd name="T23" fmla="*/ 23 h 30"/>
                <a:gd name="T24" fmla="*/ 5 w 30"/>
                <a:gd name="T25" fmla="*/ 25 h 30"/>
                <a:gd name="T26" fmla="*/ 7 w 30"/>
                <a:gd name="T27" fmla="*/ 28 h 30"/>
                <a:gd name="T28" fmla="*/ 9 w 30"/>
                <a:gd name="T29" fmla="*/ 29 h 30"/>
                <a:gd name="T30" fmla="*/ 12 w 30"/>
                <a:gd name="T31" fmla="*/ 30 h 30"/>
                <a:gd name="T32" fmla="*/ 15 w 30"/>
                <a:gd name="T33" fmla="*/ 30 h 30"/>
                <a:gd name="T34" fmla="*/ 19 w 30"/>
                <a:gd name="T35" fmla="*/ 30 h 30"/>
                <a:gd name="T36" fmla="*/ 21 w 30"/>
                <a:gd name="T37" fmla="*/ 29 h 30"/>
                <a:gd name="T38" fmla="*/ 24 w 30"/>
                <a:gd name="T39" fmla="*/ 28 h 30"/>
                <a:gd name="T40" fmla="*/ 26 w 30"/>
                <a:gd name="T41" fmla="*/ 25 h 30"/>
                <a:gd name="T42" fmla="*/ 27 w 30"/>
                <a:gd name="T43" fmla="*/ 23 h 30"/>
                <a:gd name="T44" fmla="*/ 29 w 30"/>
                <a:gd name="T45" fmla="*/ 20 h 30"/>
                <a:gd name="T46" fmla="*/ 30 w 30"/>
                <a:gd name="T47" fmla="*/ 18 h 30"/>
                <a:gd name="T48" fmla="*/ 30 w 30"/>
                <a:gd name="T49" fmla="*/ 15 h 30"/>
                <a:gd name="T50" fmla="*/ 30 w 30"/>
                <a:gd name="T51" fmla="*/ 11 h 30"/>
                <a:gd name="T52" fmla="*/ 29 w 30"/>
                <a:gd name="T53" fmla="*/ 8 h 30"/>
                <a:gd name="T54" fmla="*/ 27 w 30"/>
                <a:gd name="T55" fmla="*/ 6 h 30"/>
                <a:gd name="T56" fmla="*/ 26 w 30"/>
                <a:gd name="T57" fmla="*/ 4 h 30"/>
                <a:gd name="T58" fmla="*/ 24 w 30"/>
                <a:gd name="T59" fmla="*/ 2 h 30"/>
                <a:gd name="T60" fmla="*/ 21 w 30"/>
                <a:gd name="T61" fmla="*/ 1 h 30"/>
                <a:gd name="T62" fmla="*/ 19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7" y="2"/>
                  </a:lnTo>
                  <a:lnTo>
                    <a:pt x="5" y="4"/>
                  </a:lnTo>
                  <a:lnTo>
                    <a:pt x="3" y="6"/>
                  </a:lnTo>
                  <a:lnTo>
                    <a:pt x="1" y="8"/>
                  </a:lnTo>
                  <a:lnTo>
                    <a:pt x="0" y="11"/>
                  </a:lnTo>
                  <a:lnTo>
                    <a:pt x="0" y="15"/>
                  </a:lnTo>
                  <a:lnTo>
                    <a:pt x="0" y="18"/>
                  </a:lnTo>
                  <a:lnTo>
                    <a:pt x="1" y="20"/>
                  </a:lnTo>
                  <a:lnTo>
                    <a:pt x="3" y="23"/>
                  </a:lnTo>
                  <a:lnTo>
                    <a:pt x="5" y="25"/>
                  </a:lnTo>
                  <a:lnTo>
                    <a:pt x="7" y="28"/>
                  </a:lnTo>
                  <a:lnTo>
                    <a:pt x="9" y="29"/>
                  </a:lnTo>
                  <a:lnTo>
                    <a:pt x="12" y="30"/>
                  </a:lnTo>
                  <a:lnTo>
                    <a:pt x="15" y="30"/>
                  </a:lnTo>
                  <a:lnTo>
                    <a:pt x="19" y="30"/>
                  </a:lnTo>
                  <a:lnTo>
                    <a:pt x="21" y="29"/>
                  </a:lnTo>
                  <a:lnTo>
                    <a:pt x="24" y="28"/>
                  </a:lnTo>
                  <a:lnTo>
                    <a:pt x="26" y="25"/>
                  </a:lnTo>
                  <a:lnTo>
                    <a:pt x="27" y="23"/>
                  </a:lnTo>
                  <a:lnTo>
                    <a:pt x="29" y="20"/>
                  </a:lnTo>
                  <a:lnTo>
                    <a:pt x="30" y="18"/>
                  </a:lnTo>
                  <a:lnTo>
                    <a:pt x="30" y="15"/>
                  </a:lnTo>
                  <a:lnTo>
                    <a:pt x="30" y="11"/>
                  </a:lnTo>
                  <a:lnTo>
                    <a:pt x="29" y="8"/>
                  </a:lnTo>
                  <a:lnTo>
                    <a:pt x="27" y="6"/>
                  </a:lnTo>
                  <a:lnTo>
                    <a:pt x="26" y="4"/>
                  </a:lnTo>
                  <a:lnTo>
                    <a:pt x="24" y="2"/>
                  </a:lnTo>
                  <a:lnTo>
                    <a:pt x="21" y="1"/>
                  </a:lnTo>
                  <a:lnTo>
                    <a:pt x="19"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86">
              <a:extLst>
                <a:ext uri="{FF2B5EF4-FFF2-40B4-BE49-F238E27FC236}">
                  <a16:creationId xmlns:a16="http://schemas.microsoft.com/office/drawing/2014/main" id="{BF692A2D-E804-4C56-A820-CED96298BFC6}"/>
                </a:ext>
              </a:extLst>
            </p:cNvPr>
            <p:cNvSpPr>
              <a:spLocks/>
            </p:cNvSpPr>
            <p:nvPr/>
          </p:nvSpPr>
          <p:spPr bwMode="auto">
            <a:xfrm>
              <a:off x="5064125" y="1017588"/>
              <a:ext cx="11113" cy="9525"/>
            </a:xfrm>
            <a:custGeom>
              <a:avLst/>
              <a:gdLst>
                <a:gd name="T0" fmla="*/ 15 w 31"/>
                <a:gd name="T1" fmla="*/ 0 h 30"/>
                <a:gd name="T2" fmla="*/ 12 w 31"/>
                <a:gd name="T3" fmla="*/ 0 h 30"/>
                <a:gd name="T4" fmla="*/ 10 w 31"/>
                <a:gd name="T5" fmla="*/ 1 h 30"/>
                <a:gd name="T6" fmla="*/ 7 w 31"/>
                <a:gd name="T7" fmla="*/ 2 h 30"/>
                <a:gd name="T8" fmla="*/ 5 w 31"/>
                <a:gd name="T9" fmla="*/ 4 h 30"/>
                <a:gd name="T10" fmla="*/ 3 w 31"/>
                <a:gd name="T11" fmla="*/ 6 h 30"/>
                <a:gd name="T12" fmla="*/ 2 w 31"/>
                <a:gd name="T13" fmla="*/ 8 h 30"/>
                <a:gd name="T14" fmla="*/ 0 w 31"/>
                <a:gd name="T15" fmla="*/ 11 h 30"/>
                <a:gd name="T16" fmla="*/ 0 w 31"/>
                <a:gd name="T17" fmla="*/ 15 h 30"/>
                <a:gd name="T18" fmla="*/ 0 w 31"/>
                <a:gd name="T19" fmla="*/ 18 h 30"/>
                <a:gd name="T20" fmla="*/ 2 w 31"/>
                <a:gd name="T21" fmla="*/ 20 h 30"/>
                <a:gd name="T22" fmla="*/ 3 w 31"/>
                <a:gd name="T23" fmla="*/ 23 h 30"/>
                <a:gd name="T24" fmla="*/ 5 w 31"/>
                <a:gd name="T25" fmla="*/ 25 h 30"/>
                <a:gd name="T26" fmla="*/ 7 w 31"/>
                <a:gd name="T27" fmla="*/ 28 h 30"/>
                <a:gd name="T28" fmla="*/ 10 w 31"/>
                <a:gd name="T29" fmla="*/ 29 h 30"/>
                <a:gd name="T30" fmla="*/ 12 w 31"/>
                <a:gd name="T31" fmla="*/ 30 h 30"/>
                <a:gd name="T32" fmla="*/ 15 w 31"/>
                <a:gd name="T33" fmla="*/ 30 h 30"/>
                <a:gd name="T34" fmla="*/ 19 w 31"/>
                <a:gd name="T35" fmla="*/ 30 h 30"/>
                <a:gd name="T36" fmla="*/ 21 w 31"/>
                <a:gd name="T37" fmla="*/ 29 h 30"/>
                <a:gd name="T38" fmla="*/ 24 w 31"/>
                <a:gd name="T39" fmla="*/ 28 h 30"/>
                <a:gd name="T40" fmla="*/ 26 w 31"/>
                <a:gd name="T41" fmla="*/ 25 h 30"/>
                <a:gd name="T42" fmla="*/ 28 w 31"/>
                <a:gd name="T43" fmla="*/ 23 h 30"/>
                <a:gd name="T44" fmla="*/ 29 w 31"/>
                <a:gd name="T45" fmla="*/ 20 h 30"/>
                <a:gd name="T46" fmla="*/ 31 w 31"/>
                <a:gd name="T47" fmla="*/ 18 h 30"/>
                <a:gd name="T48" fmla="*/ 31 w 31"/>
                <a:gd name="T49" fmla="*/ 15 h 30"/>
                <a:gd name="T50" fmla="*/ 31 w 31"/>
                <a:gd name="T51" fmla="*/ 11 h 30"/>
                <a:gd name="T52" fmla="*/ 29 w 31"/>
                <a:gd name="T53" fmla="*/ 8 h 30"/>
                <a:gd name="T54" fmla="*/ 28 w 31"/>
                <a:gd name="T55" fmla="*/ 6 h 30"/>
                <a:gd name="T56" fmla="*/ 26 w 31"/>
                <a:gd name="T57" fmla="*/ 4 h 30"/>
                <a:gd name="T58" fmla="*/ 24 w 31"/>
                <a:gd name="T59" fmla="*/ 2 h 30"/>
                <a:gd name="T60" fmla="*/ 21 w 31"/>
                <a:gd name="T61" fmla="*/ 1 h 30"/>
                <a:gd name="T62" fmla="*/ 19 w 31"/>
                <a:gd name="T63" fmla="*/ 0 h 30"/>
                <a:gd name="T64" fmla="*/ 15 w 31"/>
                <a:gd name="T65" fmla="*/ 0 h 30"/>
                <a:gd name="T66" fmla="*/ 15 w 31"/>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0">
                  <a:moveTo>
                    <a:pt x="15" y="0"/>
                  </a:moveTo>
                  <a:lnTo>
                    <a:pt x="12" y="0"/>
                  </a:lnTo>
                  <a:lnTo>
                    <a:pt x="10" y="1"/>
                  </a:lnTo>
                  <a:lnTo>
                    <a:pt x="7" y="2"/>
                  </a:lnTo>
                  <a:lnTo>
                    <a:pt x="5" y="4"/>
                  </a:lnTo>
                  <a:lnTo>
                    <a:pt x="3" y="6"/>
                  </a:lnTo>
                  <a:lnTo>
                    <a:pt x="2" y="8"/>
                  </a:lnTo>
                  <a:lnTo>
                    <a:pt x="0" y="11"/>
                  </a:lnTo>
                  <a:lnTo>
                    <a:pt x="0" y="15"/>
                  </a:lnTo>
                  <a:lnTo>
                    <a:pt x="0" y="18"/>
                  </a:lnTo>
                  <a:lnTo>
                    <a:pt x="2" y="20"/>
                  </a:lnTo>
                  <a:lnTo>
                    <a:pt x="3" y="23"/>
                  </a:lnTo>
                  <a:lnTo>
                    <a:pt x="5" y="25"/>
                  </a:lnTo>
                  <a:lnTo>
                    <a:pt x="7" y="28"/>
                  </a:lnTo>
                  <a:lnTo>
                    <a:pt x="10" y="29"/>
                  </a:lnTo>
                  <a:lnTo>
                    <a:pt x="12" y="30"/>
                  </a:lnTo>
                  <a:lnTo>
                    <a:pt x="15" y="30"/>
                  </a:lnTo>
                  <a:lnTo>
                    <a:pt x="19" y="30"/>
                  </a:lnTo>
                  <a:lnTo>
                    <a:pt x="21" y="29"/>
                  </a:lnTo>
                  <a:lnTo>
                    <a:pt x="24" y="28"/>
                  </a:lnTo>
                  <a:lnTo>
                    <a:pt x="26" y="25"/>
                  </a:lnTo>
                  <a:lnTo>
                    <a:pt x="28" y="23"/>
                  </a:lnTo>
                  <a:lnTo>
                    <a:pt x="29" y="20"/>
                  </a:lnTo>
                  <a:lnTo>
                    <a:pt x="31" y="18"/>
                  </a:lnTo>
                  <a:lnTo>
                    <a:pt x="31" y="15"/>
                  </a:lnTo>
                  <a:lnTo>
                    <a:pt x="31" y="11"/>
                  </a:lnTo>
                  <a:lnTo>
                    <a:pt x="29" y="8"/>
                  </a:lnTo>
                  <a:lnTo>
                    <a:pt x="28" y="6"/>
                  </a:lnTo>
                  <a:lnTo>
                    <a:pt x="26" y="4"/>
                  </a:lnTo>
                  <a:lnTo>
                    <a:pt x="24" y="2"/>
                  </a:lnTo>
                  <a:lnTo>
                    <a:pt x="21" y="1"/>
                  </a:lnTo>
                  <a:lnTo>
                    <a:pt x="19"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87">
              <a:extLst>
                <a:ext uri="{FF2B5EF4-FFF2-40B4-BE49-F238E27FC236}">
                  <a16:creationId xmlns:a16="http://schemas.microsoft.com/office/drawing/2014/main" id="{EB3827F6-703A-4C6E-B9DB-287729AA1197}"/>
                </a:ext>
              </a:extLst>
            </p:cNvPr>
            <p:cNvSpPr>
              <a:spLocks/>
            </p:cNvSpPr>
            <p:nvPr/>
          </p:nvSpPr>
          <p:spPr bwMode="auto">
            <a:xfrm>
              <a:off x="5084763" y="958850"/>
              <a:ext cx="9525" cy="9525"/>
            </a:xfrm>
            <a:custGeom>
              <a:avLst/>
              <a:gdLst>
                <a:gd name="T0" fmla="*/ 15 w 30"/>
                <a:gd name="T1" fmla="*/ 0 h 31"/>
                <a:gd name="T2" fmla="*/ 11 w 30"/>
                <a:gd name="T3" fmla="*/ 1 h 31"/>
                <a:gd name="T4" fmla="*/ 9 w 30"/>
                <a:gd name="T5" fmla="*/ 3 h 31"/>
                <a:gd name="T6" fmla="*/ 6 w 30"/>
                <a:gd name="T7" fmla="*/ 4 h 31"/>
                <a:gd name="T8" fmla="*/ 4 w 30"/>
                <a:gd name="T9" fmla="*/ 6 h 31"/>
                <a:gd name="T10" fmla="*/ 2 w 30"/>
                <a:gd name="T11" fmla="*/ 8 h 31"/>
                <a:gd name="T12" fmla="*/ 1 w 30"/>
                <a:gd name="T13" fmla="*/ 10 h 31"/>
                <a:gd name="T14" fmla="*/ 0 w 30"/>
                <a:gd name="T15" fmla="*/ 13 h 31"/>
                <a:gd name="T16" fmla="*/ 0 w 30"/>
                <a:gd name="T17" fmla="*/ 16 h 31"/>
                <a:gd name="T18" fmla="*/ 0 w 30"/>
                <a:gd name="T19" fmla="*/ 19 h 31"/>
                <a:gd name="T20" fmla="*/ 1 w 30"/>
                <a:gd name="T21" fmla="*/ 22 h 31"/>
                <a:gd name="T22" fmla="*/ 2 w 30"/>
                <a:gd name="T23" fmla="*/ 24 h 31"/>
                <a:gd name="T24" fmla="*/ 4 w 30"/>
                <a:gd name="T25" fmla="*/ 26 h 31"/>
                <a:gd name="T26" fmla="*/ 6 w 30"/>
                <a:gd name="T27" fmla="*/ 28 h 31"/>
                <a:gd name="T28" fmla="*/ 9 w 30"/>
                <a:gd name="T29" fmla="*/ 29 h 31"/>
                <a:gd name="T30" fmla="*/ 11 w 30"/>
                <a:gd name="T31" fmla="*/ 30 h 31"/>
                <a:gd name="T32" fmla="*/ 15 w 30"/>
                <a:gd name="T33" fmla="*/ 31 h 31"/>
                <a:gd name="T34" fmla="*/ 18 w 30"/>
                <a:gd name="T35" fmla="*/ 30 h 31"/>
                <a:gd name="T36" fmla="*/ 21 w 30"/>
                <a:gd name="T37" fmla="*/ 29 h 31"/>
                <a:gd name="T38" fmla="*/ 23 w 30"/>
                <a:gd name="T39" fmla="*/ 28 h 31"/>
                <a:gd name="T40" fmla="*/ 25 w 30"/>
                <a:gd name="T41" fmla="*/ 26 h 31"/>
                <a:gd name="T42" fmla="*/ 27 w 30"/>
                <a:gd name="T43" fmla="*/ 24 h 31"/>
                <a:gd name="T44" fmla="*/ 28 w 30"/>
                <a:gd name="T45" fmla="*/ 22 h 31"/>
                <a:gd name="T46" fmla="*/ 30 w 30"/>
                <a:gd name="T47" fmla="*/ 19 h 31"/>
                <a:gd name="T48" fmla="*/ 30 w 30"/>
                <a:gd name="T49" fmla="*/ 16 h 31"/>
                <a:gd name="T50" fmla="*/ 30 w 30"/>
                <a:gd name="T51" fmla="*/ 13 h 31"/>
                <a:gd name="T52" fmla="*/ 28 w 30"/>
                <a:gd name="T53" fmla="*/ 10 h 31"/>
                <a:gd name="T54" fmla="*/ 27 w 30"/>
                <a:gd name="T55" fmla="*/ 8 h 31"/>
                <a:gd name="T56" fmla="*/ 25 w 30"/>
                <a:gd name="T57" fmla="*/ 6 h 31"/>
                <a:gd name="T58" fmla="*/ 23 w 30"/>
                <a:gd name="T59" fmla="*/ 4 h 31"/>
                <a:gd name="T60" fmla="*/ 21 w 30"/>
                <a:gd name="T61" fmla="*/ 3 h 31"/>
                <a:gd name="T62" fmla="*/ 18 w 30"/>
                <a:gd name="T63" fmla="*/ 1 h 31"/>
                <a:gd name="T64" fmla="*/ 15 w 30"/>
                <a:gd name="T65" fmla="*/ 0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1" y="1"/>
                  </a:lnTo>
                  <a:lnTo>
                    <a:pt x="9" y="3"/>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1" y="30"/>
                  </a:lnTo>
                  <a:lnTo>
                    <a:pt x="15" y="31"/>
                  </a:lnTo>
                  <a:lnTo>
                    <a:pt x="18" y="30"/>
                  </a:lnTo>
                  <a:lnTo>
                    <a:pt x="21" y="29"/>
                  </a:lnTo>
                  <a:lnTo>
                    <a:pt x="23" y="28"/>
                  </a:lnTo>
                  <a:lnTo>
                    <a:pt x="25" y="26"/>
                  </a:lnTo>
                  <a:lnTo>
                    <a:pt x="27" y="24"/>
                  </a:lnTo>
                  <a:lnTo>
                    <a:pt x="28" y="22"/>
                  </a:lnTo>
                  <a:lnTo>
                    <a:pt x="30" y="19"/>
                  </a:lnTo>
                  <a:lnTo>
                    <a:pt x="30" y="16"/>
                  </a:lnTo>
                  <a:lnTo>
                    <a:pt x="30" y="13"/>
                  </a:lnTo>
                  <a:lnTo>
                    <a:pt x="28" y="10"/>
                  </a:lnTo>
                  <a:lnTo>
                    <a:pt x="27" y="8"/>
                  </a:lnTo>
                  <a:lnTo>
                    <a:pt x="25" y="6"/>
                  </a:lnTo>
                  <a:lnTo>
                    <a:pt x="23" y="4"/>
                  </a:lnTo>
                  <a:lnTo>
                    <a:pt x="21" y="3"/>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88">
              <a:extLst>
                <a:ext uri="{FF2B5EF4-FFF2-40B4-BE49-F238E27FC236}">
                  <a16:creationId xmlns:a16="http://schemas.microsoft.com/office/drawing/2014/main" id="{C78A89EB-CCDD-4E0E-85B6-49CA81BE160B}"/>
                </a:ext>
              </a:extLst>
            </p:cNvPr>
            <p:cNvSpPr>
              <a:spLocks/>
            </p:cNvSpPr>
            <p:nvPr/>
          </p:nvSpPr>
          <p:spPr bwMode="auto">
            <a:xfrm>
              <a:off x="5084763" y="989013"/>
              <a:ext cx="9525" cy="9525"/>
            </a:xfrm>
            <a:custGeom>
              <a:avLst/>
              <a:gdLst>
                <a:gd name="T0" fmla="*/ 15 w 30"/>
                <a:gd name="T1" fmla="*/ 0 h 30"/>
                <a:gd name="T2" fmla="*/ 11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6 h 30"/>
                <a:gd name="T28" fmla="*/ 9 w 30"/>
                <a:gd name="T29" fmla="*/ 28 h 30"/>
                <a:gd name="T30" fmla="*/ 11 w 30"/>
                <a:gd name="T31" fmla="*/ 28 h 30"/>
                <a:gd name="T32" fmla="*/ 15 w 30"/>
                <a:gd name="T33" fmla="*/ 30 h 30"/>
                <a:gd name="T34" fmla="*/ 18 w 30"/>
                <a:gd name="T35" fmla="*/ 28 h 30"/>
                <a:gd name="T36" fmla="*/ 21 w 30"/>
                <a:gd name="T37" fmla="*/ 28 h 30"/>
                <a:gd name="T38" fmla="*/ 23 w 30"/>
                <a:gd name="T39" fmla="*/ 26 h 30"/>
                <a:gd name="T40" fmla="*/ 25 w 30"/>
                <a:gd name="T41" fmla="*/ 25 h 30"/>
                <a:gd name="T42" fmla="*/ 27 w 30"/>
                <a:gd name="T43" fmla="*/ 23 h 30"/>
                <a:gd name="T44" fmla="*/ 28 w 30"/>
                <a:gd name="T45" fmla="*/ 20 h 30"/>
                <a:gd name="T46" fmla="*/ 30 w 30"/>
                <a:gd name="T47" fmla="*/ 18 h 30"/>
                <a:gd name="T48" fmla="*/ 30 w 30"/>
                <a:gd name="T49" fmla="*/ 15 h 30"/>
                <a:gd name="T50" fmla="*/ 30 w 30"/>
                <a:gd name="T51" fmla="*/ 11 h 30"/>
                <a:gd name="T52" fmla="*/ 28 w 30"/>
                <a:gd name="T53" fmla="*/ 8 h 30"/>
                <a:gd name="T54" fmla="*/ 27 w 30"/>
                <a:gd name="T55" fmla="*/ 6 h 30"/>
                <a:gd name="T56" fmla="*/ 25 w 30"/>
                <a:gd name="T57" fmla="*/ 4 h 30"/>
                <a:gd name="T58" fmla="*/ 23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2"/>
                  </a:lnTo>
                  <a:lnTo>
                    <a:pt x="4" y="4"/>
                  </a:lnTo>
                  <a:lnTo>
                    <a:pt x="2" y="6"/>
                  </a:lnTo>
                  <a:lnTo>
                    <a:pt x="1" y="8"/>
                  </a:lnTo>
                  <a:lnTo>
                    <a:pt x="0" y="11"/>
                  </a:lnTo>
                  <a:lnTo>
                    <a:pt x="0" y="15"/>
                  </a:lnTo>
                  <a:lnTo>
                    <a:pt x="0" y="18"/>
                  </a:lnTo>
                  <a:lnTo>
                    <a:pt x="1" y="20"/>
                  </a:lnTo>
                  <a:lnTo>
                    <a:pt x="2" y="23"/>
                  </a:lnTo>
                  <a:lnTo>
                    <a:pt x="4" y="25"/>
                  </a:lnTo>
                  <a:lnTo>
                    <a:pt x="6" y="26"/>
                  </a:lnTo>
                  <a:lnTo>
                    <a:pt x="9" y="28"/>
                  </a:lnTo>
                  <a:lnTo>
                    <a:pt x="11" y="28"/>
                  </a:lnTo>
                  <a:lnTo>
                    <a:pt x="15" y="30"/>
                  </a:lnTo>
                  <a:lnTo>
                    <a:pt x="18" y="28"/>
                  </a:lnTo>
                  <a:lnTo>
                    <a:pt x="21" y="28"/>
                  </a:lnTo>
                  <a:lnTo>
                    <a:pt x="23" y="26"/>
                  </a:lnTo>
                  <a:lnTo>
                    <a:pt x="25" y="25"/>
                  </a:lnTo>
                  <a:lnTo>
                    <a:pt x="27" y="23"/>
                  </a:lnTo>
                  <a:lnTo>
                    <a:pt x="28" y="20"/>
                  </a:lnTo>
                  <a:lnTo>
                    <a:pt x="30" y="18"/>
                  </a:lnTo>
                  <a:lnTo>
                    <a:pt x="30" y="15"/>
                  </a:lnTo>
                  <a:lnTo>
                    <a:pt x="30" y="11"/>
                  </a:lnTo>
                  <a:lnTo>
                    <a:pt x="28" y="8"/>
                  </a:lnTo>
                  <a:lnTo>
                    <a:pt x="27" y="6"/>
                  </a:lnTo>
                  <a:lnTo>
                    <a:pt x="25" y="4"/>
                  </a:lnTo>
                  <a:lnTo>
                    <a:pt x="23"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89">
              <a:extLst>
                <a:ext uri="{FF2B5EF4-FFF2-40B4-BE49-F238E27FC236}">
                  <a16:creationId xmlns:a16="http://schemas.microsoft.com/office/drawing/2014/main" id="{BF3E5CBE-18B5-429A-8975-D96176C8922C}"/>
                </a:ext>
              </a:extLst>
            </p:cNvPr>
            <p:cNvSpPr>
              <a:spLocks/>
            </p:cNvSpPr>
            <p:nvPr/>
          </p:nvSpPr>
          <p:spPr bwMode="auto">
            <a:xfrm>
              <a:off x="5084763" y="1017588"/>
              <a:ext cx="9525" cy="9525"/>
            </a:xfrm>
            <a:custGeom>
              <a:avLst/>
              <a:gdLst>
                <a:gd name="T0" fmla="*/ 15 w 30"/>
                <a:gd name="T1" fmla="*/ 0 h 30"/>
                <a:gd name="T2" fmla="*/ 11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5 h 30"/>
                <a:gd name="T42" fmla="*/ 27 w 30"/>
                <a:gd name="T43" fmla="*/ 23 h 30"/>
                <a:gd name="T44" fmla="*/ 28 w 30"/>
                <a:gd name="T45" fmla="*/ 20 h 30"/>
                <a:gd name="T46" fmla="*/ 30 w 30"/>
                <a:gd name="T47" fmla="*/ 18 h 30"/>
                <a:gd name="T48" fmla="*/ 30 w 30"/>
                <a:gd name="T49" fmla="*/ 15 h 30"/>
                <a:gd name="T50" fmla="*/ 30 w 30"/>
                <a:gd name="T51" fmla="*/ 11 h 30"/>
                <a:gd name="T52" fmla="*/ 28 w 30"/>
                <a:gd name="T53" fmla="*/ 8 h 30"/>
                <a:gd name="T54" fmla="*/ 27 w 30"/>
                <a:gd name="T55" fmla="*/ 6 h 30"/>
                <a:gd name="T56" fmla="*/ 25 w 30"/>
                <a:gd name="T57" fmla="*/ 4 h 30"/>
                <a:gd name="T58" fmla="*/ 23 w 30"/>
                <a:gd name="T59" fmla="*/ 2 h 30"/>
                <a:gd name="T60" fmla="*/ 21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1" y="0"/>
                  </a:lnTo>
                  <a:lnTo>
                    <a:pt x="9" y="1"/>
                  </a:lnTo>
                  <a:lnTo>
                    <a:pt x="6" y="2"/>
                  </a:lnTo>
                  <a:lnTo>
                    <a:pt x="4" y="4"/>
                  </a:lnTo>
                  <a:lnTo>
                    <a:pt x="2" y="6"/>
                  </a:lnTo>
                  <a:lnTo>
                    <a:pt x="1" y="8"/>
                  </a:lnTo>
                  <a:lnTo>
                    <a:pt x="0" y="11"/>
                  </a:lnTo>
                  <a:lnTo>
                    <a:pt x="0" y="15"/>
                  </a:lnTo>
                  <a:lnTo>
                    <a:pt x="0" y="18"/>
                  </a:lnTo>
                  <a:lnTo>
                    <a:pt x="1" y="20"/>
                  </a:lnTo>
                  <a:lnTo>
                    <a:pt x="2" y="23"/>
                  </a:lnTo>
                  <a:lnTo>
                    <a:pt x="4" y="25"/>
                  </a:lnTo>
                  <a:lnTo>
                    <a:pt x="6" y="28"/>
                  </a:lnTo>
                  <a:lnTo>
                    <a:pt x="9" y="29"/>
                  </a:lnTo>
                  <a:lnTo>
                    <a:pt x="11" y="30"/>
                  </a:lnTo>
                  <a:lnTo>
                    <a:pt x="15" y="30"/>
                  </a:lnTo>
                  <a:lnTo>
                    <a:pt x="18" y="30"/>
                  </a:lnTo>
                  <a:lnTo>
                    <a:pt x="21" y="29"/>
                  </a:lnTo>
                  <a:lnTo>
                    <a:pt x="23" y="28"/>
                  </a:lnTo>
                  <a:lnTo>
                    <a:pt x="25" y="25"/>
                  </a:lnTo>
                  <a:lnTo>
                    <a:pt x="27" y="23"/>
                  </a:lnTo>
                  <a:lnTo>
                    <a:pt x="28" y="20"/>
                  </a:lnTo>
                  <a:lnTo>
                    <a:pt x="30" y="18"/>
                  </a:lnTo>
                  <a:lnTo>
                    <a:pt x="30" y="15"/>
                  </a:lnTo>
                  <a:lnTo>
                    <a:pt x="30" y="11"/>
                  </a:lnTo>
                  <a:lnTo>
                    <a:pt x="28" y="8"/>
                  </a:lnTo>
                  <a:lnTo>
                    <a:pt x="27" y="6"/>
                  </a:lnTo>
                  <a:lnTo>
                    <a:pt x="25" y="4"/>
                  </a:lnTo>
                  <a:lnTo>
                    <a:pt x="23" y="2"/>
                  </a:lnTo>
                  <a:lnTo>
                    <a:pt x="21"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90">
              <a:extLst>
                <a:ext uri="{FF2B5EF4-FFF2-40B4-BE49-F238E27FC236}">
                  <a16:creationId xmlns:a16="http://schemas.microsoft.com/office/drawing/2014/main" id="{1CABA4E2-ADA1-471C-825F-2142A9F8BCB9}"/>
                </a:ext>
              </a:extLst>
            </p:cNvPr>
            <p:cNvSpPr>
              <a:spLocks/>
            </p:cNvSpPr>
            <p:nvPr/>
          </p:nvSpPr>
          <p:spPr bwMode="auto">
            <a:xfrm>
              <a:off x="5035550" y="873125"/>
              <a:ext cx="68263" cy="19050"/>
            </a:xfrm>
            <a:custGeom>
              <a:avLst/>
              <a:gdLst>
                <a:gd name="T0" fmla="*/ 204 w 215"/>
                <a:gd name="T1" fmla="*/ 58 h 58"/>
                <a:gd name="T2" fmla="*/ 210 w 215"/>
                <a:gd name="T3" fmla="*/ 55 h 58"/>
                <a:gd name="T4" fmla="*/ 214 w 215"/>
                <a:gd name="T5" fmla="*/ 49 h 58"/>
                <a:gd name="T6" fmla="*/ 215 w 215"/>
                <a:gd name="T7" fmla="*/ 43 h 58"/>
                <a:gd name="T8" fmla="*/ 214 w 215"/>
                <a:gd name="T9" fmla="*/ 38 h 58"/>
                <a:gd name="T10" fmla="*/ 210 w 215"/>
                <a:gd name="T11" fmla="*/ 33 h 58"/>
                <a:gd name="T12" fmla="*/ 197 w 215"/>
                <a:gd name="T13" fmla="*/ 24 h 58"/>
                <a:gd name="T14" fmla="*/ 173 w 215"/>
                <a:gd name="T15" fmla="*/ 12 h 58"/>
                <a:gd name="T16" fmla="*/ 147 w 215"/>
                <a:gd name="T17" fmla="*/ 4 h 58"/>
                <a:gd name="T18" fmla="*/ 120 w 215"/>
                <a:gd name="T19" fmla="*/ 1 h 58"/>
                <a:gd name="T20" fmla="*/ 95 w 215"/>
                <a:gd name="T21" fmla="*/ 1 h 58"/>
                <a:gd name="T22" fmla="*/ 68 w 215"/>
                <a:gd name="T23" fmla="*/ 4 h 58"/>
                <a:gd name="T24" fmla="*/ 42 w 215"/>
                <a:gd name="T25" fmla="*/ 12 h 58"/>
                <a:gd name="T26" fmla="*/ 17 w 215"/>
                <a:gd name="T27" fmla="*/ 24 h 58"/>
                <a:gd name="T28" fmla="*/ 5 w 215"/>
                <a:gd name="T29" fmla="*/ 33 h 58"/>
                <a:gd name="T30" fmla="*/ 1 w 215"/>
                <a:gd name="T31" fmla="*/ 38 h 58"/>
                <a:gd name="T32" fmla="*/ 0 w 215"/>
                <a:gd name="T33" fmla="*/ 43 h 58"/>
                <a:gd name="T34" fmla="*/ 1 w 215"/>
                <a:gd name="T35" fmla="*/ 49 h 58"/>
                <a:gd name="T36" fmla="*/ 5 w 215"/>
                <a:gd name="T37" fmla="*/ 54 h 58"/>
                <a:gd name="T38" fmla="*/ 9 w 215"/>
                <a:gd name="T39" fmla="*/ 57 h 58"/>
                <a:gd name="T40" fmla="*/ 15 w 215"/>
                <a:gd name="T41" fmla="*/ 58 h 58"/>
                <a:gd name="T42" fmla="*/ 21 w 215"/>
                <a:gd name="T43" fmla="*/ 57 h 58"/>
                <a:gd name="T44" fmla="*/ 32 w 215"/>
                <a:gd name="T45" fmla="*/ 49 h 58"/>
                <a:gd name="T46" fmla="*/ 53 w 215"/>
                <a:gd name="T47" fmla="*/ 40 h 58"/>
                <a:gd name="T48" fmla="*/ 74 w 215"/>
                <a:gd name="T49" fmla="*/ 33 h 58"/>
                <a:gd name="T50" fmla="*/ 97 w 215"/>
                <a:gd name="T51" fmla="*/ 30 h 58"/>
                <a:gd name="T52" fmla="*/ 118 w 215"/>
                <a:gd name="T53" fmla="*/ 30 h 58"/>
                <a:gd name="T54" fmla="*/ 141 w 215"/>
                <a:gd name="T55" fmla="*/ 33 h 58"/>
                <a:gd name="T56" fmla="*/ 162 w 215"/>
                <a:gd name="T57" fmla="*/ 40 h 58"/>
                <a:gd name="T58" fmla="*/ 183 w 215"/>
                <a:gd name="T59" fmla="*/ 49 h 58"/>
                <a:gd name="T60" fmla="*/ 195 w 215"/>
                <a:gd name="T61" fmla="*/ 58 h 58"/>
                <a:gd name="T62" fmla="*/ 200 w 215"/>
                <a:gd name="T6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5" h="58">
                  <a:moveTo>
                    <a:pt x="200" y="58"/>
                  </a:moveTo>
                  <a:lnTo>
                    <a:pt x="204" y="58"/>
                  </a:lnTo>
                  <a:lnTo>
                    <a:pt x="207" y="57"/>
                  </a:lnTo>
                  <a:lnTo>
                    <a:pt x="210" y="55"/>
                  </a:lnTo>
                  <a:lnTo>
                    <a:pt x="213" y="52"/>
                  </a:lnTo>
                  <a:lnTo>
                    <a:pt x="214" y="49"/>
                  </a:lnTo>
                  <a:lnTo>
                    <a:pt x="215" y="46"/>
                  </a:lnTo>
                  <a:lnTo>
                    <a:pt x="215" y="43"/>
                  </a:lnTo>
                  <a:lnTo>
                    <a:pt x="215" y="41"/>
                  </a:lnTo>
                  <a:lnTo>
                    <a:pt x="214" y="38"/>
                  </a:lnTo>
                  <a:lnTo>
                    <a:pt x="213" y="35"/>
                  </a:lnTo>
                  <a:lnTo>
                    <a:pt x="210" y="33"/>
                  </a:lnTo>
                  <a:lnTo>
                    <a:pt x="208" y="31"/>
                  </a:lnTo>
                  <a:lnTo>
                    <a:pt x="197" y="24"/>
                  </a:lnTo>
                  <a:lnTo>
                    <a:pt x="185" y="17"/>
                  </a:lnTo>
                  <a:lnTo>
                    <a:pt x="173" y="12"/>
                  </a:lnTo>
                  <a:lnTo>
                    <a:pt x="160" y="8"/>
                  </a:lnTo>
                  <a:lnTo>
                    <a:pt x="147" y="4"/>
                  </a:lnTo>
                  <a:lnTo>
                    <a:pt x="134" y="2"/>
                  </a:lnTo>
                  <a:lnTo>
                    <a:pt x="120" y="1"/>
                  </a:lnTo>
                  <a:lnTo>
                    <a:pt x="107" y="0"/>
                  </a:lnTo>
                  <a:lnTo>
                    <a:pt x="95" y="1"/>
                  </a:lnTo>
                  <a:lnTo>
                    <a:pt x="81" y="2"/>
                  </a:lnTo>
                  <a:lnTo>
                    <a:pt x="68" y="4"/>
                  </a:lnTo>
                  <a:lnTo>
                    <a:pt x="55" y="8"/>
                  </a:lnTo>
                  <a:lnTo>
                    <a:pt x="42" y="12"/>
                  </a:lnTo>
                  <a:lnTo>
                    <a:pt x="30" y="17"/>
                  </a:lnTo>
                  <a:lnTo>
                    <a:pt x="17" y="24"/>
                  </a:lnTo>
                  <a:lnTo>
                    <a:pt x="7" y="31"/>
                  </a:lnTo>
                  <a:lnTo>
                    <a:pt x="5" y="33"/>
                  </a:lnTo>
                  <a:lnTo>
                    <a:pt x="2" y="35"/>
                  </a:lnTo>
                  <a:lnTo>
                    <a:pt x="1" y="38"/>
                  </a:lnTo>
                  <a:lnTo>
                    <a:pt x="0" y="41"/>
                  </a:lnTo>
                  <a:lnTo>
                    <a:pt x="0" y="43"/>
                  </a:lnTo>
                  <a:lnTo>
                    <a:pt x="0" y="46"/>
                  </a:lnTo>
                  <a:lnTo>
                    <a:pt x="1" y="49"/>
                  </a:lnTo>
                  <a:lnTo>
                    <a:pt x="2" y="52"/>
                  </a:lnTo>
                  <a:lnTo>
                    <a:pt x="5" y="54"/>
                  </a:lnTo>
                  <a:lnTo>
                    <a:pt x="7" y="56"/>
                  </a:lnTo>
                  <a:lnTo>
                    <a:pt x="9" y="57"/>
                  </a:lnTo>
                  <a:lnTo>
                    <a:pt x="12" y="58"/>
                  </a:lnTo>
                  <a:lnTo>
                    <a:pt x="15" y="58"/>
                  </a:lnTo>
                  <a:lnTo>
                    <a:pt x="17" y="58"/>
                  </a:lnTo>
                  <a:lnTo>
                    <a:pt x="21" y="57"/>
                  </a:lnTo>
                  <a:lnTo>
                    <a:pt x="23" y="56"/>
                  </a:lnTo>
                  <a:lnTo>
                    <a:pt x="32" y="49"/>
                  </a:lnTo>
                  <a:lnTo>
                    <a:pt x="43" y="44"/>
                  </a:lnTo>
                  <a:lnTo>
                    <a:pt x="53" y="40"/>
                  </a:lnTo>
                  <a:lnTo>
                    <a:pt x="64" y="37"/>
                  </a:lnTo>
                  <a:lnTo>
                    <a:pt x="74" y="33"/>
                  </a:lnTo>
                  <a:lnTo>
                    <a:pt x="85" y="32"/>
                  </a:lnTo>
                  <a:lnTo>
                    <a:pt x="97" y="30"/>
                  </a:lnTo>
                  <a:lnTo>
                    <a:pt x="107" y="30"/>
                  </a:lnTo>
                  <a:lnTo>
                    <a:pt x="118" y="30"/>
                  </a:lnTo>
                  <a:lnTo>
                    <a:pt x="130" y="32"/>
                  </a:lnTo>
                  <a:lnTo>
                    <a:pt x="141" y="33"/>
                  </a:lnTo>
                  <a:lnTo>
                    <a:pt x="151" y="37"/>
                  </a:lnTo>
                  <a:lnTo>
                    <a:pt x="162" y="40"/>
                  </a:lnTo>
                  <a:lnTo>
                    <a:pt x="172" y="45"/>
                  </a:lnTo>
                  <a:lnTo>
                    <a:pt x="183" y="49"/>
                  </a:lnTo>
                  <a:lnTo>
                    <a:pt x="192" y="56"/>
                  </a:lnTo>
                  <a:lnTo>
                    <a:pt x="195" y="58"/>
                  </a:lnTo>
                  <a:lnTo>
                    <a:pt x="200" y="58"/>
                  </a:lnTo>
                  <a:lnTo>
                    <a:pt x="20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91">
              <a:extLst>
                <a:ext uri="{FF2B5EF4-FFF2-40B4-BE49-F238E27FC236}">
                  <a16:creationId xmlns:a16="http://schemas.microsoft.com/office/drawing/2014/main" id="{96CCBCF4-A020-4A2D-A23D-B47FA4F56AB1}"/>
                </a:ext>
              </a:extLst>
            </p:cNvPr>
            <p:cNvSpPr>
              <a:spLocks/>
            </p:cNvSpPr>
            <p:nvPr/>
          </p:nvSpPr>
          <p:spPr bwMode="auto">
            <a:xfrm>
              <a:off x="5021263" y="844550"/>
              <a:ext cx="96838" cy="23813"/>
            </a:xfrm>
            <a:custGeom>
              <a:avLst/>
              <a:gdLst>
                <a:gd name="T0" fmla="*/ 7 w 307"/>
                <a:gd name="T1" fmla="*/ 46 h 74"/>
                <a:gd name="T2" fmla="*/ 4 w 307"/>
                <a:gd name="T3" fmla="*/ 48 h 74"/>
                <a:gd name="T4" fmla="*/ 2 w 307"/>
                <a:gd name="T5" fmla="*/ 50 h 74"/>
                <a:gd name="T6" fmla="*/ 1 w 307"/>
                <a:gd name="T7" fmla="*/ 53 h 74"/>
                <a:gd name="T8" fmla="*/ 0 w 307"/>
                <a:gd name="T9" fmla="*/ 56 h 74"/>
                <a:gd name="T10" fmla="*/ 0 w 307"/>
                <a:gd name="T11" fmla="*/ 59 h 74"/>
                <a:gd name="T12" fmla="*/ 0 w 307"/>
                <a:gd name="T13" fmla="*/ 62 h 74"/>
                <a:gd name="T14" fmla="*/ 1 w 307"/>
                <a:gd name="T15" fmla="*/ 64 h 74"/>
                <a:gd name="T16" fmla="*/ 3 w 307"/>
                <a:gd name="T17" fmla="*/ 68 h 74"/>
                <a:gd name="T18" fmla="*/ 5 w 307"/>
                <a:gd name="T19" fmla="*/ 70 h 74"/>
                <a:gd name="T20" fmla="*/ 9 w 307"/>
                <a:gd name="T21" fmla="*/ 72 h 74"/>
                <a:gd name="T22" fmla="*/ 12 w 307"/>
                <a:gd name="T23" fmla="*/ 73 h 74"/>
                <a:gd name="T24" fmla="*/ 15 w 307"/>
                <a:gd name="T25" fmla="*/ 74 h 74"/>
                <a:gd name="T26" fmla="*/ 19 w 307"/>
                <a:gd name="T27" fmla="*/ 73 h 74"/>
                <a:gd name="T28" fmla="*/ 24 w 307"/>
                <a:gd name="T29" fmla="*/ 71 h 74"/>
                <a:gd name="T30" fmla="*/ 39 w 307"/>
                <a:gd name="T31" fmla="*/ 61 h 74"/>
                <a:gd name="T32" fmla="*/ 54 w 307"/>
                <a:gd name="T33" fmla="*/ 53 h 74"/>
                <a:gd name="T34" fmla="*/ 70 w 307"/>
                <a:gd name="T35" fmla="*/ 46 h 74"/>
                <a:gd name="T36" fmla="*/ 86 w 307"/>
                <a:gd name="T37" fmla="*/ 40 h 74"/>
                <a:gd name="T38" fmla="*/ 103 w 307"/>
                <a:gd name="T39" fmla="*/ 35 h 74"/>
                <a:gd name="T40" fmla="*/ 119 w 307"/>
                <a:gd name="T41" fmla="*/ 32 h 74"/>
                <a:gd name="T42" fmla="*/ 136 w 307"/>
                <a:gd name="T43" fmla="*/ 31 h 74"/>
                <a:gd name="T44" fmla="*/ 153 w 307"/>
                <a:gd name="T45" fmla="*/ 30 h 74"/>
                <a:gd name="T46" fmla="*/ 171 w 307"/>
                <a:gd name="T47" fmla="*/ 31 h 74"/>
                <a:gd name="T48" fmla="*/ 188 w 307"/>
                <a:gd name="T49" fmla="*/ 32 h 74"/>
                <a:gd name="T50" fmla="*/ 204 w 307"/>
                <a:gd name="T51" fmla="*/ 35 h 74"/>
                <a:gd name="T52" fmla="*/ 221 w 307"/>
                <a:gd name="T53" fmla="*/ 40 h 74"/>
                <a:gd name="T54" fmla="*/ 237 w 307"/>
                <a:gd name="T55" fmla="*/ 46 h 74"/>
                <a:gd name="T56" fmla="*/ 253 w 307"/>
                <a:gd name="T57" fmla="*/ 53 h 74"/>
                <a:gd name="T58" fmla="*/ 268 w 307"/>
                <a:gd name="T59" fmla="*/ 61 h 74"/>
                <a:gd name="T60" fmla="*/ 283 w 307"/>
                <a:gd name="T61" fmla="*/ 71 h 74"/>
                <a:gd name="T62" fmla="*/ 285 w 307"/>
                <a:gd name="T63" fmla="*/ 72 h 74"/>
                <a:gd name="T64" fmla="*/ 289 w 307"/>
                <a:gd name="T65" fmla="*/ 73 h 74"/>
                <a:gd name="T66" fmla="*/ 292 w 307"/>
                <a:gd name="T67" fmla="*/ 74 h 74"/>
                <a:gd name="T68" fmla="*/ 294 w 307"/>
                <a:gd name="T69" fmla="*/ 73 h 74"/>
                <a:gd name="T70" fmla="*/ 297 w 307"/>
                <a:gd name="T71" fmla="*/ 73 h 74"/>
                <a:gd name="T72" fmla="*/ 299 w 307"/>
                <a:gd name="T73" fmla="*/ 71 h 74"/>
                <a:gd name="T74" fmla="*/ 301 w 307"/>
                <a:gd name="T75" fmla="*/ 70 h 74"/>
                <a:gd name="T76" fmla="*/ 304 w 307"/>
                <a:gd name="T77" fmla="*/ 68 h 74"/>
                <a:gd name="T78" fmla="*/ 306 w 307"/>
                <a:gd name="T79" fmla="*/ 64 h 74"/>
                <a:gd name="T80" fmla="*/ 307 w 307"/>
                <a:gd name="T81" fmla="*/ 62 h 74"/>
                <a:gd name="T82" fmla="*/ 307 w 307"/>
                <a:gd name="T83" fmla="*/ 59 h 74"/>
                <a:gd name="T84" fmla="*/ 307 w 307"/>
                <a:gd name="T85" fmla="*/ 56 h 74"/>
                <a:gd name="T86" fmla="*/ 306 w 307"/>
                <a:gd name="T87" fmla="*/ 54 h 74"/>
                <a:gd name="T88" fmla="*/ 305 w 307"/>
                <a:gd name="T89" fmla="*/ 50 h 74"/>
                <a:gd name="T90" fmla="*/ 303 w 307"/>
                <a:gd name="T91" fmla="*/ 48 h 74"/>
                <a:gd name="T92" fmla="*/ 300 w 307"/>
                <a:gd name="T93" fmla="*/ 46 h 74"/>
                <a:gd name="T94" fmla="*/ 283 w 307"/>
                <a:gd name="T95" fmla="*/ 35 h 74"/>
                <a:gd name="T96" fmla="*/ 266 w 307"/>
                <a:gd name="T97" fmla="*/ 26 h 74"/>
                <a:gd name="T98" fmla="*/ 248 w 307"/>
                <a:gd name="T99" fmla="*/ 18 h 74"/>
                <a:gd name="T100" fmla="*/ 230 w 307"/>
                <a:gd name="T101" fmla="*/ 12 h 74"/>
                <a:gd name="T102" fmla="*/ 211 w 307"/>
                <a:gd name="T103" fmla="*/ 6 h 74"/>
                <a:gd name="T104" fmla="*/ 192 w 307"/>
                <a:gd name="T105" fmla="*/ 3 h 74"/>
                <a:gd name="T106" fmla="*/ 173 w 307"/>
                <a:gd name="T107" fmla="*/ 0 h 74"/>
                <a:gd name="T108" fmla="*/ 153 w 307"/>
                <a:gd name="T109" fmla="*/ 0 h 74"/>
                <a:gd name="T110" fmla="*/ 134 w 307"/>
                <a:gd name="T111" fmla="*/ 1 h 74"/>
                <a:gd name="T112" fmla="*/ 115 w 307"/>
                <a:gd name="T113" fmla="*/ 3 h 74"/>
                <a:gd name="T114" fmla="*/ 96 w 307"/>
                <a:gd name="T115" fmla="*/ 6 h 74"/>
                <a:gd name="T116" fmla="*/ 77 w 307"/>
                <a:gd name="T117" fmla="*/ 12 h 74"/>
                <a:gd name="T118" fmla="*/ 59 w 307"/>
                <a:gd name="T119" fmla="*/ 18 h 74"/>
                <a:gd name="T120" fmla="*/ 41 w 307"/>
                <a:gd name="T121" fmla="*/ 26 h 74"/>
                <a:gd name="T122" fmla="*/ 24 w 307"/>
                <a:gd name="T123" fmla="*/ 35 h 74"/>
                <a:gd name="T124" fmla="*/ 7 w 307"/>
                <a:gd name="T125"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 h="74">
                  <a:moveTo>
                    <a:pt x="7" y="46"/>
                  </a:moveTo>
                  <a:lnTo>
                    <a:pt x="4" y="48"/>
                  </a:lnTo>
                  <a:lnTo>
                    <a:pt x="2" y="50"/>
                  </a:lnTo>
                  <a:lnTo>
                    <a:pt x="1" y="53"/>
                  </a:lnTo>
                  <a:lnTo>
                    <a:pt x="0" y="56"/>
                  </a:lnTo>
                  <a:lnTo>
                    <a:pt x="0" y="59"/>
                  </a:lnTo>
                  <a:lnTo>
                    <a:pt x="0" y="62"/>
                  </a:lnTo>
                  <a:lnTo>
                    <a:pt x="1" y="64"/>
                  </a:lnTo>
                  <a:lnTo>
                    <a:pt x="3" y="68"/>
                  </a:lnTo>
                  <a:lnTo>
                    <a:pt x="5" y="70"/>
                  </a:lnTo>
                  <a:lnTo>
                    <a:pt x="9" y="72"/>
                  </a:lnTo>
                  <a:lnTo>
                    <a:pt x="12" y="73"/>
                  </a:lnTo>
                  <a:lnTo>
                    <a:pt x="15" y="74"/>
                  </a:lnTo>
                  <a:lnTo>
                    <a:pt x="19" y="73"/>
                  </a:lnTo>
                  <a:lnTo>
                    <a:pt x="24" y="71"/>
                  </a:lnTo>
                  <a:lnTo>
                    <a:pt x="39" y="61"/>
                  </a:lnTo>
                  <a:lnTo>
                    <a:pt x="54" y="53"/>
                  </a:lnTo>
                  <a:lnTo>
                    <a:pt x="70" y="46"/>
                  </a:lnTo>
                  <a:lnTo>
                    <a:pt x="86" y="40"/>
                  </a:lnTo>
                  <a:lnTo>
                    <a:pt x="103" y="35"/>
                  </a:lnTo>
                  <a:lnTo>
                    <a:pt x="119" y="32"/>
                  </a:lnTo>
                  <a:lnTo>
                    <a:pt x="136" y="31"/>
                  </a:lnTo>
                  <a:lnTo>
                    <a:pt x="153" y="30"/>
                  </a:lnTo>
                  <a:lnTo>
                    <a:pt x="171" y="31"/>
                  </a:lnTo>
                  <a:lnTo>
                    <a:pt x="188" y="32"/>
                  </a:lnTo>
                  <a:lnTo>
                    <a:pt x="204" y="35"/>
                  </a:lnTo>
                  <a:lnTo>
                    <a:pt x="221" y="40"/>
                  </a:lnTo>
                  <a:lnTo>
                    <a:pt x="237" y="46"/>
                  </a:lnTo>
                  <a:lnTo>
                    <a:pt x="253" y="53"/>
                  </a:lnTo>
                  <a:lnTo>
                    <a:pt x="268" y="61"/>
                  </a:lnTo>
                  <a:lnTo>
                    <a:pt x="283" y="71"/>
                  </a:lnTo>
                  <a:lnTo>
                    <a:pt x="285" y="72"/>
                  </a:lnTo>
                  <a:lnTo>
                    <a:pt x="289" y="73"/>
                  </a:lnTo>
                  <a:lnTo>
                    <a:pt x="292" y="74"/>
                  </a:lnTo>
                  <a:lnTo>
                    <a:pt x="294" y="73"/>
                  </a:lnTo>
                  <a:lnTo>
                    <a:pt x="297" y="73"/>
                  </a:lnTo>
                  <a:lnTo>
                    <a:pt x="299" y="71"/>
                  </a:lnTo>
                  <a:lnTo>
                    <a:pt x="301" y="70"/>
                  </a:lnTo>
                  <a:lnTo>
                    <a:pt x="304" y="68"/>
                  </a:lnTo>
                  <a:lnTo>
                    <a:pt x="306" y="64"/>
                  </a:lnTo>
                  <a:lnTo>
                    <a:pt x="307" y="62"/>
                  </a:lnTo>
                  <a:lnTo>
                    <a:pt x="307" y="59"/>
                  </a:lnTo>
                  <a:lnTo>
                    <a:pt x="307" y="56"/>
                  </a:lnTo>
                  <a:lnTo>
                    <a:pt x="306" y="54"/>
                  </a:lnTo>
                  <a:lnTo>
                    <a:pt x="305" y="50"/>
                  </a:lnTo>
                  <a:lnTo>
                    <a:pt x="303" y="48"/>
                  </a:lnTo>
                  <a:lnTo>
                    <a:pt x="300" y="46"/>
                  </a:lnTo>
                  <a:lnTo>
                    <a:pt x="283" y="35"/>
                  </a:lnTo>
                  <a:lnTo>
                    <a:pt x="266" y="26"/>
                  </a:lnTo>
                  <a:lnTo>
                    <a:pt x="248" y="18"/>
                  </a:lnTo>
                  <a:lnTo>
                    <a:pt x="230" y="12"/>
                  </a:lnTo>
                  <a:lnTo>
                    <a:pt x="211" y="6"/>
                  </a:lnTo>
                  <a:lnTo>
                    <a:pt x="192" y="3"/>
                  </a:lnTo>
                  <a:lnTo>
                    <a:pt x="173" y="0"/>
                  </a:lnTo>
                  <a:lnTo>
                    <a:pt x="153" y="0"/>
                  </a:lnTo>
                  <a:lnTo>
                    <a:pt x="134" y="1"/>
                  </a:lnTo>
                  <a:lnTo>
                    <a:pt x="115" y="3"/>
                  </a:lnTo>
                  <a:lnTo>
                    <a:pt x="96" y="6"/>
                  </a:lnTo>
                  <a:lnTo>
                    <a:pt x="77" y="12"/>
                  </a:lnTo>
                  <a:lnTo>
                    <a:pt x="59" y="18"/>
                  </a:lnTo>
                  <a:lnTo>
                    <a:pt x="41" y="26"/>
                  </a:lnTo>
                  <a:lnTo>
                    <a:pt x="24" y="35"/>
                  </a:lnTo>
                  <a:lnTo>
                    <a:pt x="7"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92">
              <a:extLst>
                <a:ext uri="{FF2B5EF4-FFF2-40B4-BE49-F238E27FC236}">
                  <a16:creationId xmlns:a16="http://schemas.microsoft.com/office/drawing/2014/main" id="{26981A23-82A3-4754-9FEE-89CEC9C36181}"/>
                </a:ext>
              </a:extLst>
            </p:cNvPr>
            <p:cNvSpPr>
              <a:spLocks/>
            </p:cNvSpPr>
            <p:nvPr/>
          </p:nvSpPr>
          <p:spPr bwMode="auto">
            <a:xfrm>
              <a:off x="5049838" y="901700"/>
              <a:ext cx="39688" cy="14288"/>
            </a:xfrm>
            <a:custGeom>
              <a:avLst/>
              <a:gdLst>
                <a:gd name="T0" fmla="*/ 8 w 125"/>
                <a:gd name="T1" fmla="*/ 15 h 44"/>
                <a:gd name="T2" fmla="*/ 6 w 125"/>
                <a:gd name="T3" fmla="*/ 17 h 44"/>
                <a:gd name="T4" fmla="*/ 4 w 125"/>
                <a:gd name="T5" fmla="*/ 19 h 44"/>
                <a:gd name="T6" fmla="*/ 2 w 125"/>
                <a:gd name="T7" fmla="*/ 23 h 44"/>
                <a:gd name="T8" fmla="*/ 1 w 125"/>
                <a:gd name="T9" fmla="*/ 25 h 44"/>
                <a:gd name="T10" fmla="*/ 0 w 125"/>
                <a:gd name="T11" fmla="*/ 28 h 44"/>
                <a:gd name="T12" fmla="*/ 0 w 125"/>
                <a:gd name="T13" fmla="*/ 31 h 44"/>
                <a:gd name="T14" fmla="*/ 1 w 125"/>
                <a:gd name="T15" fmla="*/ 33 h 44"/>
                <a:gd name="T16" fmla="*/ 2 w 125"/>
                <a:gd name="T17" fmla="*/ 37 h 44"/>
                <a:gd name="T18" fmla="*/ 6 w 125"/>
                <a:gd name="T19" fmla="*/ 40 h 44"/>
                <a:gd name="T20" fmla="*/ 9 w 125"/>
                <a:gd name="T21" fmla="*/ 42 h 44"/>
                <a:gd name="T22" fmla="*/ 12 w 125"/>
                <a:gd name="T23" fmla="*/ 43 h 44"/>
                <a:gd name="T24" fmla="*/ 15 w 125"/>
                <a:gd name="T25" fmla="*/ 44 h 44"/>
                <a:gd name="T26" fmla="*/ 20 w 125"/>
                <a:gd name="T27" fmla="*/ 43 h 44"/>
                <a:gd name="T28" fmla="*/ 24 w 125"/>
                <a:gd name="T29" fmla="*/ 42 h 44"/>
                <a:gd name="T30" fmla="*/ 32 w 125"/>
                <a:gd name="T31" fmla="*/ 37 h 44"/>
                <a:gd name="T32" fmla="*/ 42 w 125"/>
                <a:gd name="T33" fmla="*/ 33 h 44"/>
                <a:gd name="T34" fmla="*/ 53 w 125"/>
                <a:gd name="T35" fmla="*/ 31 h 44"/>
                <a:gd name="T36" fmla="*/ 62 w 125"/>
                <a:gd name="T37" fmla="*/ 30 h 44"/>
                <a:gd name="T38" fmla="*/ 72 w 125"/>
                <a:gd name="T39" fmla="*/ 31 h 44"/>
                <a:gd name="T40" fmla="*/ 83 w 125"/>
                <a:gd name="T41" fmla="*/ 33 h 44"/>
                <a:gd name="T42" fmla="*/ 93 w 125"/>
                <a:gd name="T43" fmla="*/ 37 h 44"/>
                <a:gd name="T44" fmla="*/ 101 w 125"/>
                <a:gd name="T45" fmla="*/ 42 h 44"/>
                <a:gd name="T46" fmla="*/ 104 w 125"/>
                <a:gd name="T47" fmla="*/ 43 h 44"/>
                <a:gd name="T48" fmla="*/ 108 w 125"/>
                <a:gd name="T49" fmla="*/ 43 h 44"/>
                <a:gd name="T50" fmla="*/ 110 w 125"/>
                <a:gd name="T51" fmla="*/ 44 h 44"/>
                <a:gd name="T52" fmla="*/ 113 w 125"/>
                <a:gd name="T53" fmla="*/ 43 h 44"/>
                <a:gd name="T54" fmla="*/ 116 w 125"/>
                <a:gd name="T55" fmla="*/ 42 h 44"/>
                <a:gd name="T56" fmla="*/ 118 w 125"/>
                <a:gd name="T57" fmla="*/ 41 h 44"/>
                <a:gd name="T58" fmla="*/ 120 w 125"/>
                <a:gd name="T59" fmla="*/ 39 h 44"/>
                <a:gd name="T60" fmla="*/ 123 w 125"/>
                <a:gd name="T61" fmla="*/ 37 h 44"/>
                <a:gd name="T62" fmla="*/ 124 w 125"/>
                <a:gd name="T63" fmla="*/ 33 h 44"/>
                <a:gd name="T64" fmla="*/ 125 w 125"/>
                <a:gd name="T65" fmla="*/ 31 h 44"/>
                <a:gd name="T66" fmla="*/ 125 w 125"/>
                <a:gd name="T67" fmla="*/ 28 h 44"/>
                <a:gd name="T68" fmla="*/ 124 w 125"/>
                <a:gd name="T69" fmla="*/ 25 h 44"/>
                <a:gd name="T70" fmla="*/ 123 w 125"/>
                <a:gd name="T71" fmla="*/ 23 h 44"/>
                <a:gd name="T72" fmla="*/ 121 w 125"/>
                <a:gd name="T73" fmla="*/ 19 h 44"/>
                <a:gd name="T74" fmla="*/ 119 w 125"/>
                <a:gd name="T75" fmla="*/ 17 h 44"/>
                <a:gd name="T76" fmla="*/ 117 w 125"/>
                <a:gd name="T77" fmla="*/ 16 h 44"/>
                <a:gd name="T78" fmla="*/ 104 w 125"/>
                <a:gd name="T79" fmla="*/ 9 h 44"/>
                <a:gd name="T80" fmla="*/ 90 w 125"/>
                <a:gd name="T81" fmla="*/ 4 h 44"/>
                <a:gd name="T82" fmla="*/ 76 w 125"/>
                <a:gd name="T83" fmla="*/ 1 h 44"/>
                <a:gd name="T84" fmla="*/ 62 w 125"/>
                <a:gd name="T85" fmla="*/ 0 h 44"/>
                <a:gd name="T86" fmla="*/ 49 w 125"/>
                <a:gd name="T87" fmla="*/ 1 h 44"/>
                <a:gd name="T88" fmla="*/ 35 w 125"/>
                <a:gd name="T89" fmla="*/ 4 h 44"/>
                <a:gd name="T90" fmla="*/ 21 w 125"/>
                <a:gd name="T91" fmla="*/ 9 h 44"/>
                <a:gd name="T92" fmla="*/ 8 w 125"/>
                <a:gd name="T93" fmla="*/ 16 h 44"/>
                <a:gd name="T94" fmla="*/ 8 w 125"/>
                <a:gd name="T95"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44">
                  <a:moveTo>
                    <a:pt x="8" y="15"/>
                  </a:moveTo>
                  <a:lnTo>
                    <a:pt x="6" y="17"/>
                  </a:lnTo>
                  <a:lnTo>
                    <a:pt x="4" y="19"/>
                  </a:lnTo>
                  <a:lnTo>
                    <a:pt x="2" y="23"/>
                  </a:lnTo>
                  <a:lnTo>
                    <a:pt x="1" y="25"/>
                  </a:lnTo>
                  <a:lnTo>
                    <a:pt x="0" y="28"/>
                  </a:lnTo>
                  <a:lnTo>
                    <a:pt x="0" y="31"/>
                  </a:lnTo>
                  <a:lnTo>
                    <a:pt x="1" y="33"/>
                  </a:lnTo>
                  <a:lnTo>
                    <a:pt x="2" y="37"/>
                  </a:lnTo>
                  <a:lnTo>
                    <a:pt x="6" y="40"/>
                  </a:lnTo>
                  <a:lnTo>
                    <a:pt x="9" y="42"/>
                  </a:lnTo>
                  <a:lnTo>
                    <a:pt x="12" y="43"/>
                  </a:lnTo>
                  <a:lnTo>
                    <a:pt x="15" y="44"/>
                  </a:lnTo>
                  <a:lnTo>
                    <a:pt x="20" y="43"/>
                  </a:lnTo>
                  <a:lnTo>
                    <a:pt x="24" y="42"/>
                  </a:lnTo>
                  <a:lnTo>
                    <a:pt x="32" y="37"/>
                  </a:lnTo>
                  <a:lnTo>
                    <a:pt x="42" y="33"/>
                  </a:lnTo>
                  <a:lnTo>
                    <a:pt x="53" y="31"/>
                  </a:lnTo>
                  <a:lnTo>
                    <a:pt x="62" y="30"/>
                  </a:lnTo>
                  <a:lnTo>
                    <a:pt x="72" y="31"/>
                  </a:lnTo>
                  <a:lnTo>
                    <a:pt x="83" y="33"/>
                  </a:lnTo>
                  <a:lnTo>
                    <a:pt x="93" y="37"/>
                  </a:lnTo>
                  <a:lnTo>
                    <a:pt x="101" y="42"/>
                  </a:lnTo>
                  <a:lnTo>
                    <a:pt x="104" y="43"/>
                  </a:lnTo>
                  <a:lnTo>
                    <a:pt x="108" y="43"/>
                  </a:lnTo>
                  <a:lnTo>
                    <a:pt x="110" y="44"/>
                  </a:lnTo>
                  <a:lnTo>
                    <a:pt x="113" y="43"/>
                  </a:lnTo>
                  <a:lnTo>
                    <a:pt x="116" y="42"/>
                  </a:lnTo>
                  <a:lnTo>
                    <a:pt x="118" y="41"/>
                  </a:lnTo>
                  <a:lnTo>
                    <a:pt x="120" y="39"/>
                  </a:lnTo>
                  <a:lnTo>
                    <a:pt x="123" y="37"/>
                  </a:lnTo>
                  <a:lnTo>
                    <a:pt x="124" y="33"/>
                  </a:lnTo>
                  <a:lnTo>
                    <a:pt x="125" y="31"/>
                  </a:lnTo>
                  <a:lnTo>
                    <a:pt x="125" y="28"/>
                  </a:lnTo>
                  <a:lnTo>
                    <a:pt x="124" y="25"/>
                  </a:lnTo>
                  <a:lnTo>
                    <a:pt x="123" y="23"/>
                  </a:lnTo>
                  <a:lnTo>
                    <a:pt x="121" y="19"/>
                  </a:lnTo>
                  <a:lnTo>
                    <a:pt x="119" y="17"/>
                  </a:lnTo>
                  <a:lnTo>
                    <a:pt x="117" y="16"/>
                  </a:lnTo>
                  <a:lnTo>
                    <a:pt x="104" y="9"/>
                  </a:lnTo>
                  <a:lnTo>
                    <a:pt x="90" y="4"/>
                  </a:lnTo>
                  <a:lnTo>
                    <a:pt x="76" y="1"/>
                  </a:lnTo>
                  <a:lnTo>
                    <a:pt x="62" y="0"/>
                  </a:lnTo>
                  <a:lnTo>
                    <a:pt x="49" y="1"/>
                  </a:lnTo>
                  <a:lnTo>
                    <a:pt x="35" y="4"/>
                  </a:lnTo>
                  <a:lnTo>
                    <a:pt x="21" y="9"/>
                  </a:lnTo>
                  <a:lnTo>
                    <a:pt x="8" y="16"/>
                  </a:lnTo>
                  <a:lnTo>
                    <a:pt x="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43" name="Group 72">
            <a:extLst>
              <a:ext uri="{FF2B5EF4-FFF2-40B4-BE49-F238E27FC236}">
                <a16:creationId xmlns:a16="http://schemas.microsoft.com/office/drawing/2014/main" id="{D4059A1A-04DF-49CE-931E-F160B5BA8158}"/>
              </a:ext>
            </a:extLst>
          </p:cNvPr>
          <p:cNvGrpSpPr>
            <a:grpSpLocks noChangeAspect="1"/>
          </p:cNvGrpSpPr>
          <p:nvPr/>
        </p:nvGrpSpPr>
        <p:grpSpPr>
          <a:xfrm>
            <a:off x="1893888" y="5956111"/>
            <a:ext cx="285619" cy="285619"/>
            <a:chOff x="304800" y="3654425"/>
            <a:chExt cx="287338" cy="287338"/>
          </a:xfrm>
          <a:solidFill>
            <a:schemeClr val="bg1"/>
          </a:solidFill>
          <a:effectLst/>
        </p:grpSpPr>
        <p:sp>
          <p:nvSpPr>
            <p:cNvPr id="1344" name="Freeform 294">
              <a:extLst>
                <a:ext uri="{FF2B5EF4-FFF2-40B4-BE49-F238E27FC236}">
                  <a16:creationId xmlns:a16="http://schemas.microsoft.com/office/drawing/2014/main" id="{BBFF4C80-FEC8-4C45-890F-EFE004DACEDE}"/>
                </a:ext>
              </a:extLst>
            </p:cNvPr>
            <p:cNvSpPr>
              <a:spLocks noEditPoints="1"/>
            </p:cNvSpPr>
            <p:nvPr/>
          </p:nvSpPr>
          <p:spPr bwMode="auto">
            <a:xfrm>
              <a:off x="304800" y="3654425"/>
              <a:ext cx="287338" cy="287338"/>
            </a:xfrm>
            <a:custGeom>
              <a:avLst/>
              <a:gdLst>
                <a:gd name="T0" fmla="*/ 753 w 903"/>
                <a:gd name="T1" fmla="*/ 873 h 903"/>
                <a:gd name="T2" fmla="*/ 752 w 903"/>
                <a:gd name="T3" fmla="*/ 765 h 903"/>
                <a:gd name="T4" fmla="*/ 750 w 903"/>
                <a:gd name="T5" fmla="*/ 759 h 903"/>
                <a:gd name="T6" fmla="*/ 746 w 903"/>
                <a:gd name="T7" fmla="*/ 755 h 903"/>
                <a:gd name="T8" fmla="*/ 741 w 903"/>
                <a:gd name="T9" fmla="*/ 753 h 903"/>
                <a:gd name="T10" fmla="*/ 165 w 903"/>
                <a:gd name="T11" fmla="*/ 753 h 903"/>
                <a:gd name="T12" fmla="*/ 160 w 903"/>
                <a:gd name="T13" fmla="*/ 754 h 903"/>
                <a:gd name="T14" fmla="*/ 154 w 903"/>
                <a:gd name="T15" fmla="*/ 757 h 903"/>
                <a:gd name="T16" fmla="*/ 151 w 903"/>
                <a:gd name="T17" fmla="*/ 761 h 903"/>
                <a:gd name="T18" fmla="*/ 150 w 903"/>
                <a:gd name="T19" fmla="*/ 768 h 903"/>
                <a:gd name="T20" fmla="*/ 30 w 903"/>
                <a:gd name="T21" fmla="*/ 873 h 903"/>
                <a:gd name="T22" fmla="*/ 142 w 903"/>
                <a:gd name="T23" fmla="*/ 30 h 903"/>
                <a:gd name="T24" fmla="*/ 150 w 903"/>
                <a:gd name="T25" fmla="*/ 195 h 903"/>
                <a:gd name="T26" fmla="*/ 151 w 903"/>
                <a:gd name="T27" fmla="*/ 202 h 903"/>
                <a:gd name="T28" fmla="*/ 154 w 903"/>
                <a:gd name="T29" fmla="*/ 206 h 903"/>
                <a:gd name="T30" fmla="*/ 160 w 903"/>
                <a:gd name="T31" fmla="*/ 209 h 903"/>
                <a:gd name="T32" fmla="*/ 165 w 903"/>
                <a:gd name="T33" fmla="*/ 210 h 903"/>
                <a:gd name="T34" fmla="*/ 741 w 903"/>
                <a:gd name="T35" fmla="*/ 210 h 903"/>
                <a:gd name="T36" fmla="*/ 746 w 903"/>
                <a:gd name="T37" fmla="*/ 208 h 903"/>
                <a:gd name="T38" fmla="*/ 750 w 903"/>
                <a:gd name="T39" fmla="*/ 204 h 903"/>
                <a:gd name="T40" fmla="*/ 752 w 903"/>
                <a:gd name="T41" fmla="*/ 198 h 903"/>
                <a:gd name="T42" fmla="*/ 753 w 903"/>
                <a:gd name="T43" fmla="*/ 30 h 903"/>
                <a:gd name="T44" fmla="*/ 873 w 903"/>
                <a:gd name="T45" fmla="*/ 873 h 903"/>
                <a:gd name="T46" fmla="*/ 180 w 903"/>
                <a:gd name="T47" fmla="*/ 783 h 903"/>
                <a:gd name="T48" fmla="*/ 723 w 903"/>
                <a:gd name="T49" fmla="*/ 873 h 903"/>
                <a:gd name="T50" fmla="*/ 723 w 903"/>
                <a:gd name="T51" fmla="*/ 30 h 903"/>
                <a:gd name="T52" fmla="*/ 180 w 903"/>
                <a:gd name="T53" fmla="*/ 180 h 903"/>
                <a:gd name="T54" fmla="*/ 723 w 903"/>
                <a:gd name="T55" fmla="*/ 30 h 903"/>
                <a:gd name="T56" fmla="*/ 738 w 903"/>
                <a:gd name="T57" fmla="*/ 0 h 903"/>
                <a:gd name="T58" fmla="*/ 135 w 903"/>
                <a:gd name="T59" fmla="*/ 0 h 903"/>
                <a:gd name="T60" fmla="*/ 130 w 903"/>
                <a:gd name="T61" fmla="*/ 1 h 903"/>
                <a:gd name="T62" fmla="*/ 124 w 903"/>
                <a:gd name="T63" fmla="*/ 4 h 903"/>
                <a:gd name="T64" fmla="*/ 2 w 903"/>
                <a:gd name="T65" fmla="*/ 126 h 903"/>
                <a:gd name="T66" fmla="*/ 0 w 903"/>
                <a:gd name="T67" fmla="*/ 132 h 903"/>
                <a:gd name="T68" fmla="*/ 0 w 903"/>
                <a:gd name="T69" fmla="*/ 888 h 903"/>
                <a:gd name="T70" fmla="*/ 1 w 903"/>
                <a:gd name="T71" fmla="*/ 893 h 903"/>
                <a:gd name="T72" fmla="*/ 4 w 903"/>
                <a:gd name="T73" fmla="*/ 899 h 903"/>
                <a:gd name="T74" fmla="*/ 10 w 903"/>
                <a:gd name="T75" fmla="*/ 902 h 903"/>
                <a:gd name="T76" fmla="*/ 15 w 903"/>
                <a:gd name="T77" fmla="*/ 903 h 903"/>
                <a:gd name="T78" fmla="*/ 738 w 903"/>
                <a:gd name="T79" fmla="*/ 903 h 903"/>
                <a:gd name="T80" fmla="*/ 891 w 903"/>
                <a:gd name="T81" fmla="*/ 903 h 903"/>
                <a:gd name="T82" fmla="*/ 897 w 903"/>
                <a:gd name="T83" fmla="*/ 901 h 903"/>
                <a:gd name="T84" fmla="*/ 901 w 903"/>
                <a:gd name="T85" fmla="*/ 897 h 903"/>
                <a:gd name="T86" fmla="*/ 903 w 903"/>
                <a:gd name="T87" fmla="*/ 891 h 903"/>
                <a:gd name="T88" fmla="*/ 903 w 903"/>
                <a:gd name="T89" fmla="*/ 15 h 903"/>
                <a:gd name="T90" fmla="*/ 902 w 903"/>
                <a:gd name="T91" fmla="*/ 8 h 903"/>
                <a:gd name="T92" fmla="*/ 899 w 903"/>
                <a:gd name="T93" fmla="*/ 4 h 903"/>
                <a:gd name="T94" fmla="*/ 894 w 903"/>
                <a:gd name="T95" fmla="*/ 1 h 903"/>
                <a:gd name="T96" fmla="*/ 888 w 903"/>
                <a:gd name="T97"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3" h="903">
                  <a:moveTo>
                    <a:pt x="873" y="873"/>
                  </a:moveTo>
                  <a:lnTo>
                    <a:pt x="753" y="873"/>
                  </a:lnTo>
                  <a:lnTo>
                    <a:pt x="753" y="768"/>
                  </a:lnTo>
                  <a:lnTo>
                    <a:pt x="752" y="765"/>
                  </a:lnTo>
                  <a:lnTo>
                    <a:pt x="752" y="761"/>
                  </a:lnTo>
                  <a:lnTo>
                    <a:pt x="750" y="759"/>
                  </a:lnTo>
                  <a:lnTo>
                    <a:pt x="749" y="757"/>
                  </a:lnTo>
                  <a:lnTo>
                    <a:pt x="746" y="755"/>
                  </a:lnTo>
                  <a:lnTo>
                    <a:pt x="743" y="754"/>
                  </a:lnTo>
                  <a:lnTo>
                    <a:pt x="741" y="753"/>
                  </a:lnTo>
                  <a:lnTo>
                    <a:pt x="738" y="753"/>
                  </a:lnTo>
                  <a:lnTo>
                    <a:pt x="165" y="753"/>
                  </a:lnTo>
                  <a:lnTo>
                    <a:pt x="163" y="753"/>
                  </a:lnTo>
                  <a:lnTo>
                    <a:pt x="160" y="754"/>
                  </a:lnTo>
                  <a:lnTo>
                    <a:pt x="158" y="755"/>
                  </a:lnTo>
                  <a:lnTo>
                    <a:pt x="154" y="757"/>
                  </a:lnTo>
                  <a:lnTo>
                    <a:pt x="153" y="759"/>
                  </a:lnTo>
                  <a:lnTo>
                    <a:pt x="151" y="761"/>
                  </a:lnTo>
                  <a:lnTo>
                    <a:pt x="151" y="765"/>
                  </a:lnTo>
                  <a:lnTo>
                    <a:pt x="150" y="768"/>
                  </a:lnTo>
                  <a:lnTo>
                    <a:pt x="150" y="873"/>
                  </a:lnTo>
                  <a:lnTo>
                    <a:pt x="30" y="873"/>
                  </a:lnTo>
                  <a:lnTo>
                    <a:pt x="30" y="141"/>
                  </a:lnTo>
                  <a:lnTo>
                    <a:pt x="142" y="30"/>
                  </a:lnTo>
                  <a:lnTo>
                    <a:pt x="150" y="30"/>
                  </a:lnTo>
                  <a:lnTo>
                    <a:pt x="150" y="195"/>
                  </a:lnTo>
                  <a:lnTo>
                    <a:pt x="151" y="198"/>
                  </a:lnTo>
                  <a:lnTo>
                    <a:pt x="151" y="202"/>
                  </a:lnTo>
                  <a:lnTo>
                    <a:pt x="153" y="204"/>
                  </a:lnTo>
                  <a:lnTo>
                    <a:pt x="154" y="206"/>
                  </a:lnTo>
                  <a:lnTo>
                    <a:pt x="158" y="208"/>
                  </a:lnTo>
                  <a:lnTo>
                    <a:pt x="160" y="209"/>
                  </a:lnTo>
                  <a:lnTo>
                    <a:pt x="163" y="210"/>
                  </a:lnTo>
                  <a:lnTo>
                    <a:pt x="165" y="210"/>
                  </a:lnTo>
                  <a:lnTo>
                    <a:pt x="738" y="210"/>
                  </a:lnTo>
                  <a:lnTo>
                    <a:pt x="741" y="210"/>
                  </a:lnTo>
                  <a:lnTo>
                    <a:pt x="743" y="209"/>
                  </a:lnTo>
                  <a:lnTo>
                    <a:pt x="746" y="208"/>
                  </a:lnTo>
                  <a:lnTo>
                    <a:pt x="749" y="206"/>
                  </a:lnTo>
                  <a:lnTo>
                    <a:pt x="750" y="204"/>
                  </a:lnTo>
                  <a:lnTo>
                    <a:pt x="752" y="202"/>
                  </a:lnTo>
                  <a:lnTo>
                    <a:pt x="752" y="198"/>
                  </a:lnTo>
                  <a:lnTo>
                    <a:pt x="753" y="195"/>
                  </a:lnTo>
                  <a:lnTo>
                    <a:pt x="753" y="30"/>
                  </a:lnTo>
                  <a:lnTo>
                    <a:pt x="873" y="30"/>
                  </a:lnTo>
                  <a:lnTo>
                    <a:pt x="873" y="873"/>
                  </a:lnTo>
                  <a:close/>
                  <a:moveTo>
                    <a:pt x="180" y="873"/>
                  </a:moveTo>
                  <a:lnTo>
                    <a:pt x="180" y="783"/>
                  </a:lnTo>
                  <a:lnTo>
                    <a:pt x="723" y="783"/>
                  </a:lnTo>
                  <a:lnTo>
                    <a:pt x="723" y="873"/>
                  </a:lnTo>
                  <a:lnTo>
                    <a:pt x="180" y="873"/>
                  </a:lnTo>
                  <a:close/>
                  <a:moveTo>
                    <a:pt x="723" y="30"/>
                  </a:moveTo>
                  <a:lnTo>
                    <a:pt x="723" y="180"/>
                  </a:lnTo>
                  <a:lnTo>
                    <a:pt x="180" y="180"/>
                  </a:lnTo>
                  <a:lnTo>
                    <a:pt x="180" y="30"/>
                  </a:lnTo>
                  <a:lnTo>
                    <a:pt x="723" y="30"/>
                  </a:lnTo>
                  <a:close/>
                  <a:moveTo>
                    <a:pt x="888" y="0"/>
                  </a:moveTo>
                  <a:lnTo>
                    <a:pt x="738" y="0"/>
                  </a:lnTo>
                  <a:lnTo>
                    <a:pt x="165" y="0"/>
                  </a:lnTo>
                  <a:lnTo>
                    <a:pt x="135" y="0"/>
                  </a:lnTo>
                  <a:lnTo>
                    <a:pt x="133" y="0"/>
                  </a:lnTo>
                  <a:lnTo>
                    <a:pt x="130" y="1"/>
                  </a:lnTo>
                  <a:lnTo>
                    <a:pt x="127" y="2"/>
                  </a:lnTo>
                  <a:lnTo>
                    <a:pt x="124" y="4"/>
                  </a:lnTo>
                  <a:lnTo>
                    <a:pt x="4" y="124"/>
                  </a:lnTo>
                  <a:lnTo>
                    <a:pt x="2" y="126"/>
                  </a:lnTo>
                  <a:lnTo>
                    <a:pt x="1" y="130"/>
                  </a:lnTo>
                  <a:lnTo>
                    <a:pt x="0" y="132"/>
                  </a:lnTo>
                  <a:lnTo>
                    <a:pt x="0" y="135"/>
                  </a:lnTo>
                  <a:lnTo>
                    <a:pt x="0" y="888"/>
                  </a:lnTo>
                  <a:lnTo>
                    <a:pt x="0" y="891"/>
                  </a:lnTo>
                  <a:lnTo>
                    <a:pt x="1" y="893"/>
                  </a:lnTo>
                  <a:lnTo>
                    <a:pt x="2" y="897"/>
                  </a:lnTo>
                  <a:lnTo>
                    <a:pt x="4" y="899"/>
                  </a:lnTo>
                  <a:lnTo>
                    <a:pt x="6" y="901"/>
                  </a:lnTo>
                  <a:lnTo>
                    <a:pt x="10" y="902"/>
                  </a:lnTo>
                  <a:lnTo>
                    <a:pt x="12" y="903"/>
                  </a:lnTo>
                  <a:lnTo>
                    <a:pt x="15" y="903"/>
                  </a:lnTo>
                  <a:lnTo>
                    <a:pt x="165" y="903"/>
                  </a:lnTo>
                  <a:lnTo>
                    <a:pt x="738" y="903"/>
                  </a:lnTo>
                  <a:lnTo>
                    <a:pt x="888" y="903"/>
                  </a:lnTo>
                  <a:lnTo>
                    <a:pt x="891" y="903"/>
                  </a:lnTo>
                  <a:lnTo>
                    <a:pt x="894" y="902"/>
                  </a:lnTo>
                  <a:lnTo>
                    <a:pt x="897" y="901"/>
                  </a:lnTo>
                  <a:lnTo>
                    <a:pt x="899" y="899"/>
                  </a:lnTo>
                  <a:lnTo>
                    <a:pt x="901" y="897"/>
                  </a:lnTo>
                  <a:lnTo>
                    <a:pt x="902" y="893"/>
                  </a:lnTo>
                  <a:lnTo>
                    <a:pt x="903" y="891"/>
                  </a:lnTo>
                  <a:lnTo>
                    <a:pt x="903" y="888"/>
                  </a:lnTo>
                  <a:lnTo>
                    <a:pt x="903" y="15"/>
                  </a:lnTo>
                  <a:lnTo>
                    <a:pt x="903" y="12"/>
                  </a:lnTo>
                  <a:lnTo>
                    <a:pt x="902" y="8"/>
                  </a:lnTo>
                  <a:lnTo>
                    <a:pt x="901" y="6"/>
                  </a:lnTo>
                  <a:lnTo>
                    <a:pt x="899" y="4"/>
                  </a:lnTo>
                  <a:lnTo>
                    <a:pt x="897" y="2"/>
                  </a:lnTo>
                  <a:lnTo>
                    <a:pt x="894" y="1"/>
                  </a:lnTo>
                  <a:lnTo>
                    <a:pt x="891"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295">
              <a:extLst>
                <a:ext uri="{FF2B5EF4-FFF2-40B4-BE49-F238E27FC236}">
                  <a16:creationId xmlns:a16="http://schemas.microsoft.com/office/drawing/2014/main" id="{88A4637B-9A6C-44A1-949F-B16DB549C35F}"/>
                </a:ext>
              </a:extLst>
            </p:cNvPr>
            <p:cNvSpPr>
              <a:spLocks/>
            </p:cNvSpPr>
            <p:nvPr/>
          </p:nvSpPr>
          <p:spPr bwMode="auto">
            <a:xfrm>
              <a:off x="476250" y="3875088"/>
              <a:ext cx="68263" cy="9525"/>
            </a:xfrm>
            <a:custGeom>
              <a:avLst/>
              <a:gdLst>
                <a:gd name="T0" fmla="*/ 196 w 211"/>
                <a:gd name="T1" fmla="*/ 0 h 31"/>
                <a:gd name="T2" fmla="*/ 15 w 211"/>
                <a:gd name="T3" fmla="*/ 0 h 31"/>
                <a:gd name="T4" fmla="*/ 11 w 211"/>
                <a:gd name="T5" fmla="*/ 1 h 31"/>
                <a:gd name="T6" fmla="*/ 9 w 211"/>
                <a:gd name="T7" fmla="*/ 2 h 31"/>
                <a:gd name="T8" fmla="*/ 6 w 211"/>
                <a:gd name="T9" fmla="*/ 3 h 31"/>
                <a:gd name="T10" fmla="*/ 4 w 211"/>
                <a:gd name="T11" fmla="*/ 5 h 31"/>
                <a:gd name="T12" fmla="*/ 3 w 211"/>
                <a:gd name="T13" fmla="*/ 7 h 31"/>
                <a:gd name="T14" fmla="*/ 1 w 211"/>
                <a:gd name="T15" fmla="*/ 9 h 31"/>
                <a:gd name="T16" fmla="*/ 1 w 211"/>
                <a:gd name="T17" fmla="*/ 13 h 31"/>
                <a:gd name="T18" fmla="*/ 0 w 211"/>
                <a:gd name="T19" fmla="*/ 16 h 31"/>
                <a:gd name="T20" fmla="*/ 1 w 211"/>
                <a:gd name="T21" fmla="*/ 18 h 31"/>
                <a:gd name="T22" fmla="*/ 1 w 211"/>
                <a:gd name="T23" fmla="*/ 21 h 31"/>
                <a:gd name="T24" fmla="*/ 3 w 211"/>
                <a:gd name="T25" fmla="*/ 23 h 31"/>
                <a:gd name="T26" fmla="*/ 4 w 211"/>
                <a:gd name="T27" fmla="*/ 25 h 31"/>
                <a:gd name="T28" fmla="*/ 6 w 211"/>
                <a:gd name="T29" fmla="*/ 28 h 31"/>
                <a:gd name="T30" fmla="*/ 9 w 211"/>
                <a:gd name="T31" fmla="*/ 29 h 31"/>
                <a:gd name="T32" fmla="*/ 11 w 211"/>
                <a:gd name="T33" fmla="*/ 30 h 31"/>
                <a:gd name="T34" fmla="*/ 15 w 211"/>
                <a:gd name="T35" fmla="*/ 31 h 31"/>
                <a:gd name="T36" fmla="*/ 196 w 211"/>
                <a:gd name="T37" fmla="*/ 31 h 31"/>
                <a:gd name="T38" fmla="*/ 199 w 211"/>
                <a:gd name="T39" fmla="*/ 30 h 31"/>
                <a:gd name="T40" fmla="*/ 201 w 211"/>
                <a:gd name="T41" fmla="*/ 29 h 31"/>
                <a:gd name="T42" fmla="*/ 204 w 211"/>
                <a:gd name="T43" fmla="*/ 28 h 31"/>
                <a:gd name="T44" fmla="*/ 207 w 211"/>
                <a:gd name="T45" fmla="*/ 25 h 31"/>
                <a:gd name="T46" fmla="*/ 208 w 211"/>
                <a:gd name="T47" fmla="*/ 23 h 31"/>
                <a:gd name="T48" fmla="*/ 210 w 211"/>
                <a:gd name="T49" fmla="*/ 21 h 31"/>
                <a:gd name="T50" fmla="*/ 210 w 211"/>
                <a:gd name="T51" fmla="*/ 18 h 31"/>
                <a:gd name="T52" fmla="*/ 211 w 211"/>
                <a:gd name="T53" fmla="*/ 16 h 31"/>
                <a:gd name="T54" fmla="*/ 210 w 211"/>
                <a:gd name="T55" fmla="*/ 13 h 31"/>
                <a:gd name="T56" fmla="*/ 210 w 211"/>
                <a:gd name="T57" fmla="*/ 9 h 31"/>
                <a:gd name="T58" fmla="*/ 208 w 211"/>
                <a:gd name="T59" fmla="*/ 7 h 31"/>
                <a:gd name="T60" fmla="*/ 207 w 211"/>
                <a:gd name="T61" fmla="*/ 5 h 31"/>
                <a:gd name="T62" fmla="*/ 204 w 211"/>
                <a:gd name="T63" fmla="*/ 3 h 31"/>
                <a:gd name="T64" fmla="*/ 201 w 211"/>
                <a:gd name="T65" fmla="*/ 2 h 31"/>
                <a:gd name="T66" fmla="*/ 199 w 211"/>
                <a:gd name="T67" fmla="*/ 1 h 31"/>
                <a:gd name="T68" fmla="*/ 196 w 211"/>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31">
                  <a:moveTo>
                    <a:pt x="196" y="0"/>
                  </a:moveTo>
                  <a:lnTo>
                    <a:pt x="15" y="0"/>
                  </a:lnTo>
                  <a:lnTo>
                    <a:pt x="11" y="1"/>
                  </a:lnTo>
                  <a:lnTo>
                    <a:pt x="9" y="2"/>
                  </a:lnTo>
                  <a:lnTo>
                    <a:pt x="6" y="3"/>
                  </a:lnTo>
                  <a:lnTo>
                    <a:pt x="4" y="5"/>
                  </a:lnTo>
                  <a:lnTo>
                    <a:pt x="3" y="7"/>
                  </a:lnTo>
                  <a:lnTo>
                    <a:pt x="1" y="9"/>
                  </a:lnTo>
                  <a:lnTo>
                    <a:pt x="1" y="13"/>
                  </a:lnTo>
                  <a:lnTo>
                    <a:pt x="0" y="16"/>
                  </a:lnTo>
                  <a:lnTo>
                    <a:pt x="1" y="18"/>
                  </a:lnTo>
                  <a:lnTo>
                    <a:pt x="1" y="21"/>
                  </a:lnTo>
                  <a:lnTo>
                    <a:pt x="3" y="23"/>
                  </a:lnTo>
                  <a:lnTo>
                    <a:pt x="4" y="25"/>
                  </a:lnTo>
                  <a:lnTo>
                    <a:pt x="6" y="28"/>
                  </a:lnTo>
                  <a:lnTo>
                    <a:pt x="9" y="29"/>
                  </a:lnTo>
                  <a:lnTo>
                    <a:pt x="11" y="30"/>
                  </a:lnTo>
                  <a:lnTo>
                    <a:pt x="15" y="31"/>
                  </a:lnTo>
                  <a:lnTo>
                    <a:pt x="196" y="31"/>
                  </a:lnTo>
                  <a:lnTo>
                    <a:pt x="199" y="30"/>
                  </a:lnTo>
                  <a:lnTo>
                    <a:pt x="201" y="29"/>
                  </a:lnTo>
                  <a:lnTo>
                    <a:pt x="204" y="28"/>
                  </a:lnTo>
                  <a:lnTo>
                    <a:pt x="207" y="25"/>
                  </a:lnTo>
                  <a:lnTo>
                    <a:pt x="208" y="23"/>
                  </a:lnTo>
                  <a:lnTo>
                    <a:pt x="210" y="21"/>
                  </a:lnTo>
                  <a:lnTo>
                    <a:pt x="210" y="18"/>
                  </a:lnTo>
                  <a:lnTo>
                    <a:pt x="211" y="16"/>
                  </a:lnTo>
                  <a:lnTo>
                    <a:pt x="210" y="13"/>
                  </a:lnTo>
                  <a:lnTo>
                    <a:pt x="210" y="9"/>
                  </a:lnTo>
                  <a:lnTo>
                    <a:pt x="208" y="7"/>
                  </a:lnTo>
                  <a:lnTo>
                    <a:pt x="207" y="5"/>
                  </a:lnTo>
                  <a:lnTo>
                    <a:pt x="204" y="3"/>
                  </a:lnTo>
                  <a:lnTo>
                    <a:pt x="201" y="2"/>
                  </a:lnTo>
                  <a:lnTo>
                    <a:pt x="199"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296">
              <a:extLst>
                <a:ext uri="{FF2B5EF4-FFF2-40B4-BE49-F238E27FC236}">
                  <a16:creationId xmlns:a16="http://schemas.microsoft.com/office/drawing/2014/main" id="{0F4F3002-1922-4E84-A419-C0BADD56AE9E}"/>
                </a:ext>
              </a:extLst>
            </p:cNvPr>
            <p:cNvSpPr>
              <a:spLocks/>
            </p:cNvSpPr>
            <p:nvPr/>
          </p:nvSpPr>
          <p:spPr bwMode="auto">
            <a:xfrm>
              <a:off x="419100" y="3775075"/>
              <a:ext cx="9525" cy="38100"/>
            </a:xfrm>
            <a:custGeom>
              <a:avLst/>
              <a:gdLst>
                <a:gd name="T0" fmla="*/ 15 w 30"/>
                <a:gd name="T1" fmla="*/ 0 h 120"/>
                <a:gd name="T2" fmla="*/ 12 w 30"/>
                <a:gd name="T3" fmla="*/ 0 h 120"/>
                <a:gd name="T4" fmla="*/ 9 w 30"/>
                <a:gd name="T5" fmla="*/ 1 h 120"/>
                <a:gd name="T6" fmla="*/ 7 w 30"/>
                <a:gd name="T7" fmla="*/ 3 h 120"/>
                <a:gd name="T8" fmla="*/ 5 w 30"/>
                <a:gd name="T9" fmla="*/ 5 h 120"/>
                <a:gd name="T10" fmla="*/ 3 w 30"/>
                <a:gd name="T11" fmla="*/ 7 h 120"/>
                <a:gd name="T12" fmla="*/ 2 w 30"/>
                <a:gd name="T13" fmla="*/ 9 h 120"/>
                <a:gd name="T14" fmla="*/ 0 w 30"/>
                <a:gd name="T15" fmla="*/ 12 h 120"/>
                <a:gd name="T16" fmla="*/ 0 w 30"/>
                <a:gd name="T17" fmla="*/ 15 h 120"/>
                <a:gd name="T18" fmla="*/ 0 w 30"/>
                <a:gd name="T19" fmla="*/ 105 h 120"/>
                <a:gd name="T20" fmla="*/ 0 w 30"/>
                <a:gd name="T21" fmla="*/ 109 h 120"/>
                <a:gd name="T22" fmla="*/ 2 w 30"/>
                <a:gd name="T23" fmla="*/ 111 h 120"/>
                <a:gd name="T24" fmla="*/ 3 w 30"/>
                <a:gd name="T25" fmla="*/ 114 h 120"/>
                <a:gd name="T26" fmla="*/ 5 w 30"/>
                <a:gd name="T27" fmla="*/ 116 h 120"/>
                <a:gd name="T28" fmla="*/ 7 w 30"/>
                <a:gd name="T29" fmla="*/ 118 h 120"/>
                <a:gd name="T30" fmla="*/ 9 w 30"/>
                <a:gd name="T31" fmla="*/ 119 h 120"/>
                <a:gd name="T32" fmla="*/ 12 w 30"/>
                <a:gd name="T33" fmla="*/ 120 h 120"/>
                <a:gd name="T34" fmla="*/ 15 w 30"/>
                <a:gd name="T35" fmla="*/ 120 h 120"/>
                <a:gd name="T36" fmla="*/ 19 w 30"/>
                <a:gd name="T37" fmla="*/ 120 h 120"/>
                <a:gd name="T38" fmla="*/ 21 w 30"/>
                <a:gd name="T39" fmla="*/ 119 h 120"/>
                <a:gd name="T40" fmla="*/ 24 w 30"/>
                <a:gd name="T41" fmla="*/ 118 h 120"/>
                <a:gd name="T42" fmla="*/ 26 w 30"/>
                <a:gd name="T43" fmla="*/ 116 h 120"/>
                <a:gd name="T44" fmla="*/ 28 w 30"/>
                <a:gd name="T45" fmla="*/ 114 h 120"/>
                <a:gd name="T46" fmla="*/ 29 w 30"/>
                <a:gd name="T47" fmla="*/ 111 h 120"/>
                <a:gd name="T48" fmla="*/ 30 w 30"/>
                <a:gd name="T49" fmla="*/ 109 h 120"/>
                <a:gd name="T50" fmla="*/ 30 w 30"/>
                <a:gd name="T51" fmla="*/ 105 h 120"/>
                <a:gd name="T52" fmla="*/ 30 w 30"/>
                <a:gd name="T53" fmla="*/ 15 h 120"/>
                <a:gd name="T54" fmla="*/ 30 w 30"/>
                <a:gd name="T55" fmla="*/ 12 h 120"/>
                <a:gd name="T56" fmla="*/ 29 w 30"/>
                <a:gd name="T57" fmla="*/ 9 h 120"/>
                <a:gd name="T58" fmla="*/ 28 w 30"/>
                <a:gd name="T59" fmla="*/ 7 h 120"/>
                <a:gd name="T60" fmla="*/ 26 w 30"/>
                <a:gd name="T61" fmla="*/ 5 h 120"/>
                <a:gd name="T62" fmla="*/ 24 w 30"/>
                <a:gd name="T63" fmla="*/ 3 h 120"/>
                <a:gd name="T64" fmla="*/ 21 w 30"/>
                <a:gd name="T65" fmla="*/ 1 h 120"/>
                <a:gd name="T66" fmla="*/ 19 w 30"/>
                <a:gd name="T67" fmla="*/ 0 h 120"/>
                <a:gd name="T68" fmla="*/ 15 w 30"/>
                <a:gd name="T6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20">
                  <a:moveTo>
                    <a:pt x="15" y="0"/>
                  </a:moveTo>
                  <a:lnTo>
                    <a:pt x="12" y="0"/>
                  </a:lnTo>
                  <a:lnTo>
                    <a:pt x="9" y="1"/>
                  </a:lnTo>
                  <a:lnTo>
                    <a:pt x="7" y="3"/>
                  </a:lnTo>
                  <a:lnTo>
                    <a:pt x="5" y="5"/>
                  </a:lnTo>
                  <a:lnTo>
                    <a:pt x="3" y="7"/>
                  </a:lnTo>
                  <a:lnTo>
                    <a:pt x="2" y="9"/>
                  </a:lnTo>
                  <a:lnTo>
                    <a:pt x="0" y="12"/>
                  </a:lnTo>
                  <a:lnTo>
                    <a:pt x="0" y="15"/>
                  </a:lnTo>
                  <a:lnTo>
                    <a:pt x="0" y="105"/>
                  </a:lnTo>
                  <a:lnTo>
                    <a:pt x="0" y="109"/>
                  </a:lnTo>
                  <a:lnTo>
                    <a:pt x="2" y="111"/>
                  </a:lnTo>
                  <a:lnTo>
                    <a:pt x="3" y="114"/>
                  </a:lnTo>
                  <a:lnTo>
                    <a:pt x="5" y="116"/>
                  </a:lnTo>
                  <a:lnTo>
                    <a:pt x="7" y="118"/>
                  </a:lnTo>
                  <a:lnTo>
                    <a:pt x="9" y="119"/>
                  </a:lnTo>
                  <a:lnTo>
                    <a:pt x="12" y="120"/>
                  </a:lnTo>
                  <a:lnTo>
                    <a:pt x="15" y="120"/>
                  </a:lnTo>
                  <a:lnTo>
                    <a:pt x="19" y="120"/>
                  </a:lnTo>
                  <a:lnTo>
                    <a:pt x="21" y="119"/>
                  </a:lnTo>
                  <a:lnTo>
                    <a:pt x="24" y="118"/>
                  </a:lnTo>
                  <a:lnTo>
                    <a:pt x="26" y="116"/>
                  </a:lnTo>
                  <a:lnTo>
                    <a:pt x="28" y="114"/>
                  </a:lnTo>
                  <a:lnTo>
                    <a:pt x="29" y="111"/>
                  </a:lnTo>
                  <a:lnTo>
                    <a:pt x="30" y="109"/>
                  </a:lnTo>
                  <a:lnTo>
                    <a:pt x="30" y="105"/>
                  </a:lnTo>
                  <a:lnTo>
                    <a:pt x="30" y="15"/>
                  </a:lnTo>
                  <a:lnTo>
                    <a:pt x="30" y="12"/>
                  </a:lnTo>
                  <a:lnTo>
                    <a:pt x="29" y="9"/>
                  </a:lnTo>
                  <a:lnTo>
                    <a:pt x="28" y="7"/>
                  </a:lnTo>
                  <a:lnTo>
                    <a:pt x="26" y="5"/>
                  </a:lnTo>
                  <a:lnTo>
                    <a:pt x="24" y="3"/>
                  </a:lnTo>
                  <a:lnTo>
                    <a:pt x="21" y="1"/>
                  </a:lnTo>
                  <a:lnTo>
                    <a:pt x="19"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297">
              <a:extLst>
                <a:ext uri="{FF2B5EF4-FFF2-40B4-BE49-F238E27FC236}">
                  <a16:creationId xmlns:a16="http://schemas.microsoft.com/office/drawing/2014/main" id="{A66231A9-1AAB-4A50-99EA-C34823D0FB93}"/>
                </a:ext>
              </a:extLst>
            </p:cNvPr>
            <p:cNvSpPr>
              <a:spLocks noEditPoints="1"/>
            </p:cNvSpPr>
            <p:nvPr/>
          </p:nvSpPr>
          <p:spPr bwMode="auto">
            <a:xfrm>
              <a:off x="395288" y="3741738"/>
              <a:ext cx="104775" cy="104775"/>
            </a:xfrm>
            <a:custGeom>
              <a:avLst/>
              <a:gdLst>
                <a:gd name="T0" fmla="*/ 139 w 331"/>
                <a:gd name="T1" fmla="*/ 298 h 331"/>
                <a:gd name="T2" fmla="*/ 101 w 331"/>
                <a:gd name="T3" fmla="*/ 284 h 331"/>
                <a:gd name="T4" fmla="*/ 70 w 331"/>
                <a:gd name="T5" fmla="*/ 261 h 331"/>
                <a:gd name="T6" fmla="*/ 46 w 331"/>
                <a:gd name="T7" fmla="*/ 230 h 331"/>
                <a:gd name="T8" fmla="*/ 33 w 331"/>
                <a:gd name="T9" fmla="*/ 192 h 331"/>
                <a:gd name="T10" fmla="*/ 30 w 331"/>
                <a:gd name="T11" fmla="*/ 151 h 331"/>
                <a:gd name="T12" fmla="*/ 41 w 331"/>
                <a:gd name="T13" fmla="*/ 113 h 331"/>
                <a:gd name="T14" fmla="*/ 61 w 331"/>
                <a:gd name="T15" fmla="*/ 80 h 331"/>
                <a:gd name="T16" fmla="*/ 89 w 331"/>
                <a:gd name="T17" fmla="*/ 53 h 331"/>
                <a:gd name="T18" fmla="*/ 126 w 331"/>
                <a:gd name="T19" fmla="*/ 36 h 331"/>
                <a:gd name="T20" fmla="*/ 166 w 331"/>
                <a:gd name="T21" fmla="*/ 30 h 331"/>
                <a:gd name="T22" fmla="*/ 206 w 331"/>
                <a:gd name="T23" fmla="*/ 36 h 331"/>
                <a:gd name="T24" fmla="*/ 242 w 331"/>
                <a:gd name="T25" fmla="*/ 53 h 331"/>
                <a:gd name="T26" fmla="*/ 270 w 331"/>
                <a:gd name="T27" fmla="*/ 80 h 331"/>
                <a:gd name="T28" fmla="*/ 290 w 331"/>
                <a:gd name="T29" fmla="*/ 113 h 331"/>
                <a:gd name="T30" fmla="*/ 301 w 331"/>
                <a:gd name="T31" fmla="*/ 151 h 331"/>
                <a:gd name="T32" fmla="*/ 299 w 331"/>
                <a:gd name="T33" fmla="*/ 192 h 331"/>
                <a:gd name="T34" fmla="*/ 285 w 331"/>
                <a:gd name="T35" fmla="*/ 230 h 331"/>
                <a:gd name="T36" fmla="*/ 261 w 331"/>
                <a:gd name="T37" fmla="*/ 261 h 331"/>
                <a:gd name="T38" fmla="*/ 230 w 331"/>
                <a:gd name="T39" fmla="*/ 284 h 331"/>
                <a:gd name="T40" fmla="*/ 192 w 331"/>
                <a:gd name="T41" fmla="*/ 298 h 331"/>
                <a:gd name="T42" fmla="*/ 331 w 331"/>
                <a:gd name="T43" fmla="*/ 165 h 331"/>
                <a:gd name="T44" fmla="*/ 323 w 331"/>
                <a:gd name="T45" fmla="*/ 116 h 331"/>
                <a:gd name="T46" fmla="*/ 303 w 331"/>
                <a:gd name="T47" fmla="*/ 73 h 331"/>
                <a:gd name="T48" fmla="*/ 271 w 331"/>
                <a:gd name="T49" fmla="*/ 38 h 331"/>
                <a:gd name="T50" fmla="*/ 230 w 331"/>
                <a:gd name="T51" fmla="*/ 13 h 331"/>
                <a:gd name="T52" fmla="*/ 183 w 331"/>
                <a:gd name="T53" fmla="*/ 0 h 331"/>
                <a:gd name="T54" fmla="*/ 132 w 331"/>
                <a:gd name="T55" fmla="*/ 3 h 331"/>
                <a:gd name="T56" fmla="*/ 87 w 331"/>
                <a:gd name="T57" fmla="*/ 20 h 331"/>
                <a:gd name="T58" fmla="*/ 49 w 331"/>
                <a:gd name="T59" fmla="*/ 49 h 331"/>
                <a:gd name="T60" fmla="*/ 20 w 331"/>
                <a:gd name="T61" fmla="*/ 86 h 331"/>
                <a:gd name="T62" fmla="*/ 4 w 331"/>
                <a:gd name="T63" fmla="*/ 132 h 331"/>
                <a:gd name="T64" fmla="*/ 0 w 331"/>
                <a:gd name="T65" fmla="*/ 183 h 331"/>
                <a:gd name="T66" fmla="*/ 13 w 331"/>
                <a:gd name="T67" fmla="*/ 230 h 331"/>
                <a:gd name="T68" fmla="*/ 38 w 331"/>
                <a:gd name="T69" fmla="*/ 271 h 331"/>
                <a:gd name="T70" fmla="*/ 73 w 331"/>
                <a:gd name="T71" fmla="*/ 303 h 331"/>
                <a:gd name="T72" fmla="*/ 116 w 331"/>
                <a:gd name="T73" fmla="*/ 323 h 331"/>
                <a:gd name="T74" fmla="*/ 166 w 331"/>
                <a:gd name="T75" fmla="*/ 331 h 331"/>
                <a:gd name="T76" fmla="*/ 215 w 331"/>
                <a:gd name="T77" fmla="*/ 323 h 331"/>
                <a:gd name="T78" fmla="*/ 258 w 331"/>
                <a:gd name="T79" fmla="*/ 303 h 331"/>
                <a:gd name="T80" fmla="*/ 293 w 331"/>
                <a:gd name="T81" fmla="*/ 271 h 331"/>
                <a:gd name="T82" fmla="*/ 318 w 331"/>
                <a:gd name="T83" fmla="*/ 230 h 331"/>
                <a:gd name="T84" fmla="*/ 331 w 331"/>
                <a:gd name="T85" fmla="*/ 18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1" h="331">
                  <a:moveTo>
                    <a:pt x="166" y="301"/>
                  </a:moveTo>
                  <a:lnTo>
                    <a:pt x="152" y="301"/>
                  </a:lnTo>
                  <a:lnTo>
                    <a:pt x="139" y="298"/>
                  </a:lnTo>
                  <a:lnTo>
                    <a:pt x="126" y="295"/>
                  </a:lnTo>
                  <a:lnTo>
                    <a:pt x="113" y="290"/>
                  </a:lnTo>
                  <a:lnTo>
                    <a:pt x="101" y="284"/>
                  </a:lnTo>
                  <a:lnTo>
                    <a:pt x="89" y="278"/>
                  </a:lnTo>
                  <a:lnTo>
                    <a:pt x="80" y="269"/>
                  </a:lnTo>
                  <a:lnTo>
                    <a:pt x="70" y="261"/>
                  </a:lnTo>
                  <a:lnTo>
                    <a:pt x="61" y="251"/>
                  </a:lnTo>
                  <a:lnTo>
                    <a:pt x="53" y="241"/>
                  </a:lnTo>
                  <a:lnTo>
                    <a:pt x="46" y="230"/>
                  </a:lnTo>
                  <a:lnTo>
                    <a:pt x="41" y="218"/>
                  </a:lnTo>
                  <a:lnTo>
                    <a:pt x="36" y="205"/>
                  </a:lnTo>
                  <a:lnTo>
                    <a:pt x="33" y="192"/>
                  </a:lnTo>
                  <a:lnTo>
                    <a:pt x="30" y="179"/>
                  </a:lnTo>
                  <a:lnTo>
                    <a:pt x="30" y="165"/>
                  </a:lnTo>
                  <a:lnTo>
                    <a:pt x="30" y="151"/>
                  </a:lnTo>
                  <a:lnTo>
                    <a:pt x="33" y="139"/>
                  </a:lnTo>
                  <a:lnTo>
                    <a:pt x="36" y="125"/>
                  </a:lnTo>
                  <a:lnTo>
                    <a:pt x="41" y="113"/>
                  </a:lnTo>
                  <a:lnTo>
                    <a:pt x="46" y="101"/>
                  </a:lnTo>
                  <a:lnTo>
                    <a:pt x="53" y="89"/>
                  </a:lnTo>
                  <a:lnTo>
                    <a:pt x="61" y="80"/>
                  </a:lnTo>
                  <a:lnTo>
                    <a:pt x="70" y="70"/>
                  </a:lnTo>
                  <a:lnTo>
                    <a:pt x="80" y="60"/>
                  </a:lnTo>
                  <a:lnTo>
                    <a:pt x="89" y="53"/>
                  </a:lnTo>
                  <a:lnTo>
                    <a:pt x="101" y="46"/>
                  </a:lnTo>
                  <a:lnTo>
                    <a:pt x="113" y="41"/>
                  </a:lnTo>
                  <a:lnTo>
                    <a:pt x="126" y="36"/>
                  </a:lnTo>
                  <a:lnTo>
                    <a:pt x="139" y="32"/>
                  </a:lnTo>
                  <a:lnTo>
                    <a:pt x="152" y="30"/>
                  </a:lnTo>
                  <a:lnTo>
                    <a:pt x="166" y="30"/>
                  </a:lnTo>
                  <a:lnTo>
                    <a:pt x="179" y="30"/>
                  </a:lnTo>
                  <a:lnTo>
                    <a:pt x="192" y="32"/>
                  </a:lnTo>
                  <a:lnTo>
                    <a:pt x="206" y="36"/>
                  </a:lnTo>
                  <a:lnTo>
                    <a:pt x="218" y="41"/>
                  </a:lnTo>
                  <a:lnTo>
                    <a:pt x="230" y="46"/>
                  </a:lnTo>
                  <a:lnTo>
                    <a:pt x="242" y="53"/>
                  </a:lnTo>
                  <a:lnTo>
                    <a:pt x="251" y="60"/>
                  </a:lnTo>
                  <a:lnTo>
                    <a:pt x="261" y="70"/>
                  </a:lnTo>
                  <a:lnTo>
                    <a:pt x="270" y="80"/>
                  </a:lnTo>
                  <a:lnTo>
                    <a:pt x="278" y="89"/>
                  </a:lnTo>
                  <a:lnTo>
                    <a:pt x="285" y="101"/>
                  </a:lnTo>
                  <a:lnTo>
                    <a:pt x="290" y="113"/>
                  </a:lnTo>
                  <a:lnTo>
                    <a:pt x="295" y="125"/>
                  </a:lnTo>
                  <a:lnTo>
                    <a:pt x="299" y="139"/>
                  </a:lnTo>
                  <a:lnTo>
                    <a:pt x="301" y="151"/>
                  </a:lnTo>
                  <a:lnTo>
                    <a:pt x="301" y="165"/>
                  </a:lnTo>
                  <a:lnTo>
                    <a:pt x="301" y="179"/>
                  </a:lnTo>
                  <a:lnTo>
                    <a:pt x="299" y="192"/>
                  </a:lnTo>
                  <a:lnTo>
                    <a:pt x="295" y="205"/>
                  </a:lnTo>
                  <a:lnTo>
                    <a:pt x="290" y="218"/>
                  </a:lnTo>
                  <a:lnTo>
                    <a:pt x="285" y="230"/>
                  </a:lnTo>
                  <a:lnTo>
                    <a:pt x="278" y="241"/>
                  </a:lnTo>
                  <a:lnTo>
                    <a:pt x="270" y="251"/>
                  </a:lnTo>
                  <a:lnTo>
                    <a:pt x="261" y="261"/>
                  </a:lnTo>
                  <a:lnTo>
                    <a:pt x="251" y="269"/>
                  </a:lnTo>
                  <a:lnTo>
                    <a:pt x="242" y="278"/>
                  </a:lnTo>
                  <a:lnTo>
                    <a:pt x="230" y="284"/>
                  </a:lnTo>
                  <a:lnTo>
                    <a:pt x="218" y="290"/>
                  </a:lnTo>
                  <a:lnTo>
                    <a:pt x="206" y="295"/>
                  </a:lnTo>
                  <a:lnTo>
                    <a:pt x="192" y="298"/>
                  </a:lnTo>
                  <a:lnTo>
                    <a:pt x="179" y="301"/>
                  </a:lnTo>
                  <a:lnTo>
                    <a:pt x="166" y="301"/>
                  </a:lnTo>
                  <a:close/>
                  <a:moveTo>
                    <a:pt x="331" y="165"/>
                  </a:moveTo>
                  <a:lnTo>
                    <a:pt x="331" y="148"/>
                  </a:lnTo>
                  <a:lnTo>
                    <a:pt x="327" y="132"/>
                  </a:lnTo>
                  <a:lnTo>
                    <a:pt x="323" y="116"/>
                  </a:lnTo>
                  <a:lnTo>
                    <a:pt x="318" y="101"/>
                  </a:lnTo>
                  <a:lnTo>
                    <a:pt x="311" y="86"/>
                  </a:lnTo>
                  <a:lnTo>
                    <a:pt x="303" y="73"/>
                  </a:lnTo>
                  <a:lnTo>
                    <a:pt x="293" y="60"/>
                  </a:lnTo>
                  <a:lnTo>
                    <a:pt x="282" y="49"/>
                  </a:lnTo>
                  <a:lnTo>
                    <a:pt x="271" y="38"/>
                  </a:lnTo>
                  <a:lnTo>
                    <a:pt x="258" y="28"/>
                  </a:lnTo>
                  <a:lnTo>
                    <a:pt x="245" y="20"/>
                  </a:lnTo>
                  <a:lnTo>
                    <a:pt x="230" y="13"/>
                  </a:lnTo>
                  <a:lnTo>
                    <a:pt x="215" y="8"/>
                  </a:lnTo>
                  <a:lnTo>
                    <a:pt x="199" y="3"/>
                  </a:lnTo>
                  <a:lnTo>
                    <a:pt x="183" y="0"/>
                  </a:lnTo>
                  <a:lnTo>
                    <a:pt x="166" y="0"/>
                  </a:lnTo>
                  <a:lnTo>
                    <a:pt x="148" y="0"/>
                  </a:lnTo>
                  <a:lnTo>
                    <a:pt x="132" y="3"/>
                  </a:lnTo>
                  <a:lnTo>
                    <a:pt x="116" y="7"/>
                  </a:lnTo>
                  <a:lnTo>
                    <a:pt x="101" y="13"/>
                  </a:lnTo>
                  <a:lnTo>
                    <a:pt x="87" y="20"/>
                  </a:lnTo>
                  <a:lnTo>
                    <a:pt x="73" y="28"/>
                  </a:lnTo>
                  <a:lnTo>
                    <a:pt x="60" y="38"/>
                  </a:lnTo>
                  <a:lnTo>
                    <a:pt x="49" y="49"/>
                  </a:lnTo>
                  <a:lnTo>
                    <a:pt x="38" y="60"/>
                  </a:lnTo>
                  <a:lnTo>
                    <a:pt x="28" y="73"/>
                  </a:lnTo>
                  <a:lnTo>
                    <a:pt x="20" y="86"/>
                  </a:lnTo>
                  <a:lnTo>
                    <a:pt x="13" y="101"/>
                  </a:lnTo>
                  <a:lnTo>
                    <a:pt x="8" y="116"/>
                  </a:lnTo>
                  <a:lnTo>
                    <a:pt x="4" y="132"/>
                  </a:lnTo>
                  <a:lnTo>
                    <a:pt x="0" y="148"/>
                  </a:lnTo>
                  <a:lnTo>
                    <a:pt x="0" y="165"/>
                  </a:lnTo>
                  <a:lnTo>
                    <a:pt x="0" y="183"/>
                  </a:lnTo>
                  <a:lnTo>
                    <a:pt x="4" y="199"/>
                  </a:lnTo>
                  <a:lnTo>
                    <a:pt x="8" y="215"/>
                  </a:lnTo>
                  <a:lnTo>
                    <a:pt x="13" y="230"/>
                  </a:lnTo>
                  <a:lnTo>
                    <a:pt x="20" y="244"/>
                  </a:lnTo>
                  <a:lnTo>
                    <a:pt x="28" y="258"/>
                  </a:lnTo>
                  <a:lnTo>
                    <a:pt x="38" y="271"/>
                  </a:lnTo>
                  <a:lnTo>
                    <a:pt x="49" y="282"/>
                  </a:lnTo>
                  <a:lnTo>
                    <a:pt x="60" y="293"/>
                  </a:lnTo>
                  <a:lnTo>
                    <a:pt x="73" y="303"/>
                  </a:lnTo>
                  <a:lnTo>
                    <a:pt x="86" y="311"/>
                  </a:lnTo>
                  <a:lnTo>
                    <a:pt x="101" y="318"/>
                  </a:lnTo>
                  <a:lnTo>
                    <a:pt x="116" y="323"/>
                  </a:lnTo>
                  <a:lnTo>
                    <a:pt x="132" y="327"/>
                  </a:lnTo>
                  <a:lnTo>
                    <a:pt x="148" y="331"/>
                  </a:lnTo>
                  <a:lnTo>
                    <a:pt x="166" y="331"/>
                  </a:lnTo>
                  <a:lnTo>
                    <a:pt x="183" y="331"/>
                  </a:lnTo>
                  <a:lnTo>
                    <a:pt x="199" y="327"/>
                  </a:lnTo>
                  <a:lnTo>
                    <a:pt x="215" y="323"/>
                  </a:lnTo>
                  <a:lnTo>
                    <a:pt x="230" y="318"/>
                  </a:lnTo>
                  <a:lnTo>
                    <a:pt x="245" y="311"/>
                  </a:lnTo>
                  <a:lnTo>
                    <a:pt x="258" y="303"/>
                  </a:lnTo>
                  <a:lnTo>
                    <a:pt x="271" y="293"/>
                  </a:lnTo>
                  <a:lnTo>
                    <a:pt x="282" y="282"/>
                  </a:lnTo>
                  <a:lnTo>
                    <a:pt x="293" y="271"/>
                  </a:lnTo>
                  <a:lnTo>
                    <a:pt x="303" y="258"/>
                  </a:lnTo>
                  <a:lnTo>
                    <a:pt x="311" y="244"/>
                  </a:lnTo>
                  <a:lnTo>
                    <a:pt x="318" y="230"/>
                  </a:lnTo>
                  <a:lnTo>
                    <a:pt x="323" y="215"/>
                  </a:lnTo>
                  <a:lnTo>
                    <a:pt x="327" y="199"/>
                  </a:lnTo>
                  <a:lnTo>
                    <a:pt x="331" y="183"/>
                  </a:lnTo>
                  <a:lnTo>
                    <a:pt x="331" y="165"/>
                  </a:lnTo>
                  <a:lnTo>
                    <a:pt x="331"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298">
              <a:extLst>
                <a:ext uri="{FF2B5EF4-FFF2-40B4-BE49-F238E27FC236}">
                  <a16:creationId xmlns:a16="http://schemas.microsoft.com/office/drawing/2014/main" id="{5273D99F-FD15-41A4-B871-4C0C71AF0A2A}"/>
                </a:ext>
              </a:extLst>
            </p:cNvPr>
            <p:cNvSpPr>
              <a:spLocks/>
            </p:cNvSpPr>
            <p:nvPr/>
          </p:nvSpPr>
          <p:spPr bwMode="auto">
            <a:xfrm>
              <a:off x="438150" y="3784600"/>
              <a:ext cx="19050" cy="19050"/>
            </a:xfrm>
            <a:custGeom>
              <a:avLst/>
              <a:gdLst>
                <a:gd name="T0" fmla="*/ 31 w 61"/>
                <a:gd name="T1" fmla="*/ 0 h 60"/>
                <a:gd name="T2" fmla="*/ 24 w 61"/>
                <a:gd name="T3" fmla="*/ 0 h 60"/>
                <a:gd name="T4" fmla="*/ 19 w 61"/>
                <a:gd name="T5" fmla="*/ 3 h 60"/>
                <a:gd name="T6" fmla="*/ 13 w 61"/>
                <a:gd name="T7" fmla="*/ 6 h 60"/>
                <a:gd name="T8" fmla="*/ 9 w 61"/>
                <a:gd name="T9" fmla="*/ 9 h 60"/>
                <a:gd name="T10" fmla="*/ 6 w 61"/>
                <a:gd name="T11" fmla="*/ 13 h 60"/>
                <a:gd name="T12" fmla="*/ 3 w 61"/>
                <a:gd name="T13" fmla="*/ 19 h 60"/>
                <a:gd name="T14" fmla="*/ 2 w 61"/>
                <a:gd name="T15" fmla="*/ 24 h 60"/>
                <a:gd name="T16" fmla="*/ 0 w 61"/>
                <a:gd name="T17" fmla="*/ 30 h 60"/>
                <a:gd name="T18" fmla="*/ 2 w 61"/>
                <a:gd name="T19" fmla="*/ 37 h 60"/>
                <a:gd name="T20" fmla="*/ 3 w 61"/>
                <a:gd name="T21" fmla="*/ 42 h 60"/>
                <a:gd name="T22" fmla="*/ 6 w 61"/>
                <a:gd name="T23" fmla="*/ 48 h 60"/>
                <a:gd name="T24" fmla="*/ 9 w 61"/>
                <a:gd name="T25" fmla="*/ 52 h 60"/>
                <a:gd name="T26" fmla="*/ 13 w 61"/>
                <a:gd name="T27" fmla="*/ 55 h 60"/>
                <a:gd name="T28" fmla="*/ 19 w 61"/>
                <a:gd name="T29" fmla="*/ 58 h 60"/>
                <a:gd name="T30" fmla="*/ 24 w 61"/>
                <a:gd name="T31" fmla="*/ 59 h 60"/>
                <a:gd name="T32" fmla="*/ 31 w 61"/>
                <a:gd name="T33" fmla="*/ 60 h 60"/>
                <a:gd name="T34" fmla="*/ 37 w 61"/>
                <a:gd name="T35" fmla="*/ 59 h 60"/>
                <a:gd name="T36" fmla="*/ 42 w 61"/>
                <a:gd name="T37" fmla="*/ 58 h 60"/>
                <a:gd name="T38" fmla="*/ 48 w 61"/>
                <a:gd name="T39" fmla="*/ 55 h 60"/>
                <a:gd name="T40" fmla="*/ 52 w 61"/>
                <a:gd name="T41" fmla="*/ 52 h 60"/>
                <a:gd name="T42" fmla="*/ 55 w 61"/>
                <a:gd name="T43" fmla="*/ 48 h 60"/>
                <a:gd name="T44" fmla="*/ 58 w 61"/>
                <a:gd name="T45" fmla="*/ 42 h 60"/>
                <a:gd name="T46" fmla="*/ 61 w 61"/>
                <a:gd name="T47" fmla="*/ 37 h 60"/>
                <a:gd name="T48" fmla="*/ 61 w 61"/>
                <a:gd name="T49" fmla="*/ 30 h 60"/>
                <a:gd name="T50" fmla="*/ 61 w 61"/>
                <a:gd name="T51" fmla="*/ 24 h 60"/>
                <a:gd name="T52" fmla="*/ 58 w 61"/>
                <a:gd name="T53" fmla="*/ 19 h 60"/>
                <a:gd name="T54" fmla="*/ 55 w 61"/>
                <a:gd name="T55" fmla="*/ 13 h 60"/>
                <a:gd name="T56" fmla="*/ 52 w 61"/>
                <a:gd name="T57" fmla="*/ 9 h 60"/>
                <a:gd name="T58" fmla="*/ 48 w 61"/>
                <a:gd name="T59" fmla="*/ 6 h 60"/>
                <a:gd name="T60" fmla="*/ 42 w 61"/>
                <a:gd name="T61" fmla="*/ 3 h 60"/>
                <a:gd name="T62" fmla="*/ 37 w 61"/>
                <a:gd name="T63" fmla="*/ 0 h 60"/>
                <a:gd name="T64" fmla="*/ 31 w 61"/>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 h="60">
                  <a:moveTo>
                    <a:pt x="31" y="0"/>
                  </a:moveTo>
                  <a:lnTo>
                    <a:pt x="24" y="0"/>
                  </a:lnTo>
                  <a:lnTo>
                    <a:pt x="19" y="3"/>
                  </a:lnTo>
                  <a:lnTo>
                    <a:pt x="13" y="6"/>
                  </a:lnTo>
                  <a:lnTo>
                    <a:pt x="9" y="9"/>
                  </a:lnTo>
                  <a:lnTo>
                    <a:pt x="6" y="13"/>
                  </a:lnTo>
                  <a:lnTo>
                    <a:pt x="3" y="19"/>
                  </a:lnTo>
                  <a:lnTo>
                    <a:pt x="2" y="24"/>
                  </a:lnTo>
                  <a:lnTo>
                    <a:pt x="0" y="30"/>
                  </a:lnTo>
                  <a:lnTo>
                    <a:pt x="2" y="37"/>
                  </a:lnTo>
                  <a:lnTo>
                    <a:pt x="3" y="42"/>
                  </a:lnTo>
                  <a:lnTo>
                    <a:pt x="6" y="48"/>
                  </a:lnTo>
                  <a:lnTo>
                    <a:pt x="9" y="52"/>
                  </a:lnTo>
                  <a:lnTo>
                    <a:pt x="13" y="55"/>
                  </a:lnTo>
                  <a:lnTo>
                    <a:pt x="19" y="58"/>
                  </a:lnTo>
                  <a:lnTo>
                    <a:pt x="24" y="59"/>
                  </a:lnTo>
                  <a:lnTo>
                    <a:pt x="31" y="60"/>
                  </a:lnTo>
                  <a:lnTo>
                    <a:pt x="37" y="59"/>
                  </a:lnTo>
                  <a:lnTo>
                    <a:pt x="42" y="58"/>
                  </a:lnTo>
                  <a:lnTo>
                    <a:pt x="48" y="55"/>
                  </a:lnTo>
                  <a:lnTo>
                    <a:pt x="52" y="52"/>
                  </a:lnTo>
                  <a:lnTo>
                    <a:pt x="55" y="48"/>
                  </a:lnTo>
                  <a:lnTo>
                    <a:pt x="58" y="42"/>
                  </a:lnTo>
                  <a:lnTo>
                    <a:pt x="61" y="37"/>
                  </a:lnTo>
                  <a:lnTo>
                    <a:pt x="61" y="30"/>
                  </a:lnTo>
                  <a:lnTo>
                    <a:pt x="61" y="24"/>
                  </a:lnTo>
                  <a:lnTo>
                    <a:pt x="58" y="19"/>
                  </a:lnTo>
                  <a:lnTo>
                    <a:pt x="55" y="13"/>
                  </a:lnTo>
                  <a:lnTo>
                    <a:pt x="52" y="9"/>
                  </a:lnTo>
                  <a:lnTo>
                    <a:pt x="48" y="6"/>
                  </a:lnTo>
                  <a:lnTo>
                    <a:pt x="42" y="3"/>
                  </a:lnTo>
                  <a:lnTo>
                    <a:pt x="37"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49" name="Group 89">
            <a:extLst>
              <a:ext uri="{FF2B5EF4-FFF2-40B4-BE49-F238E27FC236}">
                <a16:creationId xmlns:a16="http://schemas.microsoft.com/office/drawing/2014/main" id="{00CFD1F9-EF3B-43F8-9DA1-6A6B6CDF330E}"/>
              </a:ext>
            </a:extLst>
          </p:cNvPr>
          <p:cNvGrpSpPr>
            <a:grpSpLocks noChangeAspect="1"/>
          </p:cNvGrpSpPr>
          <p:nvPr/>
        </p:nvGrpSpPr>
        <p:grpSpPr>
          <a:xfrm>
            <a:off x="2726118" y="5956111"/>
            <a:ext cx="305901" cy="285619"/>
            <a:chOff x="4319588" y="1379538"/>
            <a:chExt cx="287338" cy="268288"/>
          </a:xfrm>
          <a:solidFill>
            <a:schemeClr val="bg1"/>
          </a:solidFill>
          <a:effectLst/>
        </p:grpSpPr>
        <p:sp>
          <p:nvSpPr>
            <p:cNvPr id="1350" name="Freeform 116">
              <a:extLst>
                <a:ext uri="{FF2B5EF4-FFF2-40B4-BE49-F238E27FC236}">
                  <a16:creationId xmlns:a16="http://schemas.microsoft.com/office/drawing/2014/main" id="{9ED27DCC-8EE8-4352-9665-84DDD490A92A}"/>
                </a:ext>
              </a:extLst>
            </p:cNvPr>
            <p:cNvSpPr>
              <a:spLocks noEditPoints="1"/>
            </p:cNvSpPr>
            <p:nvPr/>
          </p:nvSpPr>
          <p:spPr bwMode="auto">
            <a:xfrm>
              <a:off x="4319588" y="1455738"/>
              <a:ext cx="287338" cy="192088"/>
            </a:xfrm>
            <a:custGeom>
              <a:avLst/>
              <a:gdLst>
                <a:gd name="T0" fmla="*/ 870 w 904"/>
                <a:gd name="T1" fmla="*/ 364 h 602"/>
                <a:gd name="T2" fmla="*/ 853 w 904"/>
                <a:gd name="T3" fmla="*/ 384 h 602"/>
                <a:gd name="T4" fmla="*/ 828 w 904"/>
                <a:gd name="T5" fmla="*/ 392 h 602"/>
                <a:gd name="T6" fmla="*/ 723 w 904"/>
                <a:gd name="T7" fmla="*/ 283 h 602"/>
                <a:gd name="T8" fmla="*/ 718 w 904"/>
                <a:gd name="T9" fmla="*/ 276 h 602"/>
                <a:gd name="T10" fmla="*/ 711 w 904"/>
                <a:gd name="T11" fmla="*/ 272 h 602"/>
                <a:gd name="T12" fmla="*/ 193 w 904"/>
                <a:gd name="T13" fmla="*/ 272 h 602"/>
                <a:gd name="T14" fmla="*/ 185 w 904"/>
                <a:gd name="T15" fmla="*/ 276 h 602"/>
                <a:gd name="T16" fmla="*/ 181 w 904"/>
                <a:gd name="T17" fmla="*/ 283 h 602"/>
                <a:gd name="T18" fmla="*/ 76 w 904"/>
                <a:gd name="T19" fmla="*/ 392 h 602"/>
                <a:gd name="T20" fmla="*/ 50 w 904"/>
                <a:gd name="T21" fmla="*/ 384 h 602"/>
                <a:gd name="T22" fmla="*/ 34 w 904"/>
                <a:gd name="T23" fmla="*/ 364 h 602"/>
                <a:gd name="T24" fmla="*/ 31 w 904"/>
                <a:gd name="T25" fmla="*/ 75 h 602"/>
                <a:gd name="T26" fmla="*/ 38 w 904"/>
                <a:gd name="T27" fmla="*/ 51 h 602"/>
                <a:gd name="T28" fmla="*/ 58 w 904"/>
                <a:gd name="T29" fmla="*/ 34 h 602"/>
                <a:gd name="T30" fmla="*/ 828 w 904"/>
                <a:gd name="T31" fmla="*/ 30 h 602"/>
                <a:gd name="T32" fmla="*/ 853 w 904"/>
                <a:gd name="T33" fmla="*/ 38 h 602"/>
                <a:gd name="T34" fmla="*/ 870 w 904"/>
                <a:gd name="T35" fmla="*/ 58 h 602"/>
                <a:gd name="T36" fmla="*/ 874 w 904"/>
                <a:gd name="T37" fmla="*/ 347 h 602"/>
                <a:gd name="T38" fmla="*/ 211 w 904"/>
                <a:gd name="T39" fmla="*/ 302 h 602"/>
                <a:gd name="T40" fmla="*/ 828 w 904"/>
                <a:gd name="T41" fmla="*/ 0 h 602"/>
                <a:gd name="T42" fmla="*/ 61 w 904"/>
                <a:gd name="T43" fmla="*/ 1 h 602"/>
                <a:gd name="T44" fmla="*/ 39 w 904"/>
                <a:gd name="T45" fmla="*/ 10 h 602"/>
                <a:gd name="T46" fmla="*/ 22 w 904"/>
                <a:gd name="T47" fmla="*/ 23 h 602"/>
                <a:gd name="T48" fmla="*/ 9 w 904"/>
                <a:gd name="T49" fmla="*/ 40 h 602"/>
                <a:gd name="T50" fmla="*/ 2 w 904"/>
                <a:gd name="T51" fmla="*/ 60 h 602"/>
                <a:gd name="T52" fmla="*/ 0 w 904"/>
                <a:gd name="T53" fmla="*/ 347 h 602"/>
                <a:gd name="T54" fmla="*/ 4 w 904"/>
                <a:gd name="T55" fmla="*/ 369 h 602"/>
                <a:gd name="T56" fmla="*/ 13 w 904"/>
                <a:gd name="T57" fmla="*/ 389 h 602"/>
                <a:gd name="T58" fmla="*/ 28 w 904"/>
                <a:gd name="T59" fmla="*/ 405 h 602"/>
                <a:gd name="T60" fmla="*/ 46 w 904"/>
                <a:gd name="T61" fmla="*/ 415 h 602"/>
                <a:gd name="T62" fmla="*/ 67 w 904"/>
                <a:gd name="T63" fmla="*/ 422 h 602"/>
                <a:gd name="T64" fmla="*/ 181 w 904"/>
                <a:gd name="T65" fmla="*/ 587 h 602"/>
                <a:gd name="T66" fmla="*/ 183 w 904"/>
                <a:gd name="T67" fmla="*/ 596 h 602"/>
                <a:gd name="T68" fmla="*/ 190 w 904"/>
                <a:gd name="T69" fmla="*/ 601 h 602"/>
                <a:gd name="T70" fmla="*/ 708 w 904"/>
                <a:gd name="T71" fmla="*/ 602 h 602"/>
                <a:gd name="T72" fmla="*/ 716 w 904"/>
                <a:gd name="T73" fmla="*/ 600 h 602"/>
                <a:gd name="T74" fmla="*/ 721 w 904"/>
                <a:gd name="T75" fmla="*/ 593 h 602"/>
                <a:gd name="T76" fmla="*/ 723 w 904"/>
                <a:gd name="T77" fmla="*/ 422 h 602"/>
                <a:gd name="T78" fmla="*/ 844 w 904"/>
                <a:gd name="T79" fmla="*/ 421 h 602"/>
                <a:gd name="T80" fmla="*/ 864 w 904"/>
                <a:gd name="T81" fmla="*/ 413 h 602"/>
                <a:gd name="T82" fmla="*/ 881 w 904"/>
                <a:gd name="T83" fmla="*/ 399 h 602"/>
                <a:gd name="T84" fmla="*/ 894 w 904"/>
                <a:gd name="T85" fmla="*/ 382 h 602"/>
                <a:gd name="T86" fmla="*/ 902 w 904"/>
                <a:gd name="T87" fmla="*/ 362 h 602"/>
                <a:gd name="T88" fmla="*/ 904 w 904"/>
                <a:gd name="T89" fmla="*/ 75 h 602"/>
                <a:gd name="T90" fmla="*/ 900 w 904"/>
                <a:gd name="T91" fmla="*/ 53 h 602"/>
                <a:gd name="T92" fmla="*/ 891 w 904"/>
                <a:gd name="T93" fmla="*/ 34 h 602"/>
                <a:gd name="T94" fmla="*/ 876 w 904"/>
                <a:gd name="T95" fmla="*/ 17 h 602"/>
                <a:gd name="T96" fmla="*/ 858 w 904"/>
                <a:gd name="T97" fmla="*/ 7 h 602"/>
                <a:gd name="T98" fmla="*/ 836 w 904"/>
                <a:gd name="T9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4" h="602">
                  <a:moveTo>
                    <a:pt x="874" y="347"/>
                  </a:moveTo>
                  <a:lnTo>
                    <a:pt x="873" y="355"/>
                  </a:lnTo>
                  <a:lnTo>
                    <a:pt x="870" y="364"/>
                  </a:lnTo>
                  <a:lnTo>
                    <a:pt x="865" y="371"/>
                  </a:lnTo>
                  <a:lnTo>
                    <a:pt x="860" y="379"/>
                  </a:lnTo>
                  <a:lnTo>
                    <a:pt x="853" y="384"/>
                  </a:lnTo>
                  <a:lnTo>
                    <a:pt x="846" y="389"/>
                  </a:lnTo>
                  <a:lnTo>
                    <a:pt x="837" y="391"/>
                  </a:lnTo>
                  <a:lnTo>
                    <a:pt x="828" y="392"/>
                  </a:lnTo>
                  <a:lnTo>
                    <a:pt x="723" y="392"/>
                  </a:lnTo>
                  <a:lnTo>
                    <a:pt x="723" y="287"/>
                  </a:lnTo>
                  <a:lnTo>
                    <a:pt x="723" y="283"/>
                  </a:lnTo>
                  <a:lnTo>
                    <a:pt x="721" y="280"/>
                  </a:lnTo>
                  <a:lnTo>
                    <a:pt x="720" y="278"/>
                  </a:lnTo>
                  <a:lnTo>
                    <a:pt x="718" y="276"/>
                  </a:lnTo>
                  <a:lnTo>
                    <a:pt x="716" y="274"/>
                  </a:lnTo>
                  <a:lnTo>
                    <a:pt x="714" y="273"/>
                  </a:lnTo>
                  <a:lnTo>
                    <a:pt x="711" y="272"/>
                  </a:lnTo>
                  <a:lnTo>
                    <a:pt x="708" y="272"/>
                  </a:lnTo>
                  <a:lnTo>
                    <a:pt x="196" y="272"/>
                  </a:lnTo>
                  <a:lnTo>
                    <a:pt x="193" y="272"/>
                  </a:lnTo>
                  <a:lnTo>
                    <a:pt x="190" y="273"/>
                  </a:lnTo>
                  <a:lnTo>
                    <a:pt x="187" y="274"/>
                  </a:lnTo>
                  <a:lnTo>
                    <a:pt x="185" y="276"/>
                  </a:lnTo>
                  <a:lnTo>
                    <a:pt x="183" y="278"/>
                  </a:lnTo>
                  <a:lnTo>
                    <a:pt x="182" y="280"/>
                  </a:lnTo>
                  <a:lnTo>
                    <a:pt x="181" y="283"/>
                  </a:lnTo>
                  <a:lnTo>
                    <a:pt x="181" y="287"/>
                  </a:lnTo>
                  <a:lnTo>
                    <a:pt x="181" y="392"/>
                  </a:lnTo>
                  <a:lnTo>
                    <a:pt x="76" y="392"/>
                  </a:lnTo>
                  <a:lnTo>
                    <a:pt x="66" y="391"/>
                  </a:lnTo>
                  <a:lnTo>
                    <a:pt x="58" y="389"/>
                  </a:lnTo>
                  <a:lnTo>
                    <a:pt x="50" y="384"/>
                  </a:lnTo>
                  <a:lnTo>
                    <a:pt x="44" y="379"/>
                  </a:lnTo>
                  <a:lnTo>
                    <a:pt x="38" y="371"/>
                  </a:lnTo>
                  <a:lnTo>
                    <a:pt x="34" y="364"/>
                  </a:lnTo>
                  <a:lnTo>
                    <a:pt x="31" y="355"/>
                  </a:lnTo>
                  <a:lnTo>
                    <a:pt x="31" y="347"/>
                  </a:lnTo>
                  <a:lnTo>
                    <a:pt x="31" y="75"/>
                  </a:lnTo>
                  <a:lnTo>
                    <a:pt x="31" y="67"/>
                  </a:lnTo>
                  <a:lnTo>
                    <a:pt x="34" y="58"/>
                  </a:lnTo>
                  <a:lnTo>
                    <a:pt x="38" y="51"/>
                  </a:lnTo>
                  <a:lnTo>
                    <a:pt x="44" y="43"/>
                  </a:lnTo>
                  <a:lnTo>
                    <a:pt x="50" y="38"/>
                  </a:lnTo>
                  <a:lnTo>
                    <a:pt x="58" y="34"/>
                  </a:lnTo>
                  <a:lnTo>
                    <a:pt x="66" y="31"/>
                  </a:lnTo>
                  <a:lnTo>
                    <a:pt x="76" y="30"/>
                  </a:lnTo>
                  <a:lnTo>
                    <a:pt x="828" y="30"/>
                  </a:lnTo>
                  <a:lnTo>
                    <a:pt x="837" y="31"/>
                  </a:lnTo>
                  <a:lnTo>
                    <a:pt x="846" y="34"/>
                  </a:lnTo>
                  <a:lnTo>
                    <a:pt x="853" y="38"/>
                  </a:lnTo>
                  <a:lnTo>
                    <a:pt x="860" y="43"/>
                  </a:lnTo>
                  <a:lnTo>
                    <a:pt x="865" y="51"/>
                  </a:lnTo>
                  <a:lnTo>
                    <a:pt x="870" y="58"/>
                  </a:lnTo>
                  <a:lnTo>
                    <a:pt x="873" y="67"/>
                  </a:lnTo>
                  <a:lnTo>
                    <a:pt x="873" y="75"/>
                  </a:lnTo>
                  <a:lnTo>
                    <a:pt x="874" y="347"/>
                  </a:lnTo>
                  <a:close/>
                  <a:moveTo>
                    <a:pt x="693" y="572"/>
                  </a:moveTo>
                  <a:lnTo>
                    <a:pt x="211" y="572"/>
                  </a:lnTo>
                  <a:lnTo>
                    <a:pt x="211" y="302"/>
                  </a:lnTo>
                  <a:lnTo>
                    <a:pt x="693" y="302"/>
                  </a:lnTo>
                  <a:lnTo>
                    <a:pt x="693" y="572"/>
                  </a:lnTo>
                  <a:close/>
                  <a:moveTo>
                    <a:pt x="828" y="0"/>
                  </a:moveTo>
                  <a:lnTo>
                    <a:pt x="76" y="0"/>
                  </a:lnTo>
                  <a:lnTo>
                    <a:pt x="67" y="0"/>
                  </a:lnTo>
                  <a:lnTo>
                    <a:pt x="61" y="1"/>
                  </a:lnTo>
                  <a:lnTo>
                    <a:pt x="53" y="4"/>
                  </a:lnTo>
                  <a:lnTo>
                    <a:pt x="46" y="7"/>
                  </a:lnTo>
                  <a:lnTo>
                    <a:pt x="39" y="10"/>
                  </a:lnTo>
                  <a:lnTo>
                    <a:pt x="33" y="13"/>
                  </a:lnTo>
                  <a:lnTo>
                    <a:pt x="28" y="17"/>
                  </a:lnTo>
                  <a:lnTo>
                    <a:pt x="22" y="23"/>
                  </a:lnTo>
                  <a:lnTo>
                    <a:pt x="17" y="28"/>
                  </a:lnTo>
                  <a:lnTo>
                    <a:pt x="13" y="34"/>
                  </a:lnTo>
                  <a:lnTo>
                    <a:pt x="9" y="40"/>
                  </a:lnTo>
                  <a:lnTo>
                    <a:pt x="6" y="46"/>
                  </a:lnTo>
                  <a:lnTo>
                    <a:pt x="4" y="53"/>
                  </a:lnTo>
                  <a:lnTo>
                    <a:pt x="2" y="60"/>
                  </a:lnTo>
                  <a:lnTo>
                    <a:pt x="1" y="68"/>
                  </a:lnTo>
                  <a:lnTo>
                    <a:pt x="0" y="75"/>
                  </a:lnTo>
                  <a:lnTo>
                    <a:pt x="0" y="347"/>
                  </a:lnTo>
                  <a:lnTo>
                    <a:pt x="1" y="354"/>
                  </a:lnTo>
                  <a:lnTo>
                    <a:pt x="2" y="362"/>
                  </a:lnTo>
                  <a:lnTo>
                    <a:pt x="4" y="369"/>
                  </a:lnTo>
                  <a:lnTo>
                    <a:pt x="6" y="376"/>
                  </a:lnTo>
                  <a:lnTo>
                    <a:pt x="9" y="382"/>
                  </a:lnTo>
                  <a:lnTo>
                    <a:pt x="13" y="389"/>
                  </a:lnTo>
                  <a:lnTo>
                    <a:pt x="18" y="394"/>
                  </a:lnTo>
                  <a:lnTo>
                    <a:pt x="22" y="399"/>
                  </a:lnTo>
                  <a:lnTo>
                    <a:pt x="28" y="405"/>
                  </a:lnTo>
                  <a:lnTo>
                    <a:pt x="33" y="409"/>
                  </a:lnTo>
                  <a:lnTo>
                    <a:pt x="39" y="413"/>
                  </a:lnTo>
                  <a:lnTo>
                    <a:pt x="46" y="415"/>
                  </a:lnTo>
                  <a:lnTo>
                    <a:pt x="53" y="419"/>
                  </a:lnTo>
                  <a:lnTo>
                    <a:pt x="61" y="421"/>
                  </a:lnTo>
                  <a:lnTo>
                    <a:pt x="67" y="422"/>
                  </a:lnTo>
                  <a:lnTo>
                    <a:pt x="76" y="422"/>
                  </a:lnTo>
                  <a:lnTo>
                    <a:pt x="181" y="422"/>
                  </a:lnTo>
                  <a:lnTo>
                    <a:pt x="181" y="587"/>
                  </a:lnTo>
                  <a:lnTo>
                    <a:pt x="181" y="590"/>
                  </a:lnTo>
                  <a:lnTo>
                    <a:pt x="182" y="593"/>
                  </a:lnTo>
                  <a:lnTo>
                    <a:pt x="183" y="596"/>
                  </a:lnTo>
                  <a:lnTo>
                    <a:pt x="185" y="598"/>
                  </a:lnTo>
                  <a:lnTo>
                    <a:pt x="187" y="600"/>
                  </a:lnTo>
                  <a:lnTo>
                    <a:pt x="190" y="601"/>
                  </a:lnTo>
                  <a:lnTo>
                    <a:pt x="193" y="602"/>
                  </a:lnTo>
                  <a:lnTo>
                    <a:pt x="196" y="602"/>
                  </a:lnTo>
                  <a:lnTo>
                    <a:pt x="708" y="602"/>
                  </a:lnTo>
                  <a:lnTo>
                    <a:pt x="711" y="602"/>
                  </a:lnTo>
                  <a:lnTo>
                    <a:pt x="714" y="601"/>
                  </a:lnTo>
                  <a:lnTo>
                    <a:pt x="716" y="600"/>
                  </a:lnTo>
                  <a:lnTo>
                    <a:pt x="718" y="598"/>
                  </a:lnTo>
                  <a:lnTo>
                    <a:pt x="720" y="596"/>
                  </a:lnTo>
                  <a:lnTo>
                    <a:pt x="721" y="593"/>
                  </a:lnTo>
                  <a:lnTo>
                    <a:pt x="723" y="590"/>
                  </a:lnTo>
                  <a:lnTo>
                    <a:pt x="723" y="587"/>
                  </a:lnTo>
                  <a:lnTo>
                    <a:pt x="723" y="422"/>
                  </a:lnTo>
                  <a:lnTo>
                    <a:pt x="828" y="422"/>
                  </a:lnTo>
                  <a:lnTo>
                    <a:pt x="836" y="422"/>
                  </a:lnTo>
                  <a:lnTo>
                    <a:pt x="844" y="421"/>
                  </a:lnTo>
                  <a:lnTo>
                    <a:pt x="850" y="419"/>
                  </a:lnTo>
                  <a:lnTo>
                    <a:pt x="858" y="415"/>
                  </a:lnTo>
                  <a:lnTo>
                    <a:pt x="864" y="413"/>
                  </a:lnTo>
                  <a:lnTo>
                    <a:pt x="871" y="409"/>
                  </a:lnTo>
                  <a:lnTo>
                    <a:pt x="876" y="405"/>
                  </a:lnTo>
                  <a:lnTo>
                    <a:pt x="881" y="399"/>
                  </a:lnTo>
                  <a:lnTo>
                    <a:pt x="887" y="394"/>
                  </a:lnTo>
                  <a:lnTo>
                    <a:pt x="891" y="389"/>
                  </a:lnTo>
                  <a:lnTo>
                    <a:pt x="894" y="382"/>
                  </a:lnTo>
                  <a:lnTo>
                    <a:pt x="897" y="376"/>
                  </a:lnTo>
                  <a:lnTo>
                    <a:pt x="900" y="369"/>
                  </a:lnTo>
                  <a:lnTo>
                    <a:pt x="902" y="362"/>
                  </a:lnTo>
                  <a:lnTo>
                    <a:pt x="903" y="354"/>
                  </a:lnTo>
                  <a:lnTo>
                    <a:pt x="904" y="347"/>
                  </a:lnTo>
                  <a:lnTo>
                    <a:pt x="904" y="75"/>
                  </a:lnTo>
                  <a:lnTo>
                    <a:pt x="903" y="68"/>
                  </a:lnTo>
                  <a:lnTo>
                    <a:pt x="902" y="60"/>
                  </a:lnTo>
                  <a:lnTo>
                    <a:pt x="900" y="53"/>
                  </a:lnTo>
                  <a:lnTo>
                    <a:pt x="897" y="46"/>
                  </a:lnTo>
                  <a:lnTo>
                    <a:pt x="894" y="40"/>
                  </a:lnTo>
                  <a:lnTo>
                    <a:pt x="891" y="34"/>
                  </a:lnTo>
                  <a:lnTo>
                    <a:pt x="887" y="28"/>
                  </a:lnTo>
                  <a:lnTo>
                    <a:pt x="881" y="23"/>
                  </a:lnTo>
                  <a:lnTo>
                    <a:pt x="876" y="17"/>
                  </a:lnTo>
                  <a:lnTo>
                    <a:pt x="871" y="13"/>
                  </a:lnTo>
                  <a:lnTo>
                    <a:pt x="864" y="10"/>
                  </a:lnTo>
                  <a:lnTo>
                    <a:pt x="858" y="7"/>
                  </a:lnTo>
                  <a:lnTo>
                    <a:pt x="850" y="4"/>
                  </a:lnTo>
                  <a:lnTo>
                    <a:pt x="844" y="1"/>
                  </a:lnTo>
                  <a:lnTo>
                    <a:pt x="836"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117">
              <a:extLst>
                <a:ext uri="{FF2B5EF4-FFF2-40B4-BE49-F238E27FC236}">
                  <a16:creationId xmlns:a16="http://schemas.microsoft.com/office/drawing/2014/main" id="{E03DDCFB-BC05-4AF7-B394-0322E30F3F70}"/>
                </a:ext>
              </a:extLst>
            </p:cNvPr>
            <p:cNvSpPr>
              <a:spLocks noEditPoints="1"/>
            </p:cNvSpPr>
            <p:nvPr/>
          </p:nvSpPr>
          <p:spPr bwMode="auto">
            <a:xfrm>
              <a:off x="4376738" y="1379538"/>
              <a:ext cx="171450" cy="66675"/>
            </a:xfrm>
            <a:custGeom>
              <a:avLst/>
              <a:gdLst>
                <a:gd name="T0" fmla="*/ 490 w 542"/>
                <a:gd name="T1" fmla="*/ 121 h 211"/>
                <a:gd name="T2" fmla="*/ 421 w 542"/>
                <a:gd name="T3" fmla="*/ 51 h 211"/>
                <a:gd name="T4" fmla="*/ 18 w 542"/>
                <a:gd name="T5" fmla="*/ 211 h 211"/>
                <a:gd name="T6" fmla="*/ 24 w 542"/>
                <a:gd name="T7" fmla="*/ 209 h 211"/>
                <a:gd name="T8" fmla="*/ 28 w 542"/>
                <a:gd name="T9" fmla="*/ 205 h 211"/>
                <a:gd name="T10" fmla="*/ 30 w 542"/>
                <a:gd name="T11" fmla="*/ 199 h 211"/>
                <a:gd name="T12" fmla="*/ 30 w 542"/>
                <a:gd name="T13" fmla="*/ 31 h 211"/>
                <a:gd name="T14" fmla="*/ 391 w 542"/>
                <a:gd name="T15" fmla="*/ 136 h 211"/>
                <a:gd name="T16" fmla="*/ 392 w 542"/>
                <a:gd name="T17" fmla="*/ 142 h 211"/>
                <a:gd name="T18" fmla="*/ 396 w 542"/>
                <a:gd name="T19" fmla="*/ 147 h 211"/>
                <a:gd name="T20" fmla="*/ 400 w 542"/>
                <a:gd name="T21" fmla="*/ 150 h 211"/>
                <a:gd name="T22" fmla="*/ 406 w 542"/>
                <a:gd name="T23" fmla="*/ 151 h 211"/>
                <a:gd name="T24" fmla="*/ 512 w 542"/>
                <a:gd name="T25" fmla="*/ 196 h 211"/>
                <a:gd name="T26" fmla="*/ 513 w 542"/>
                <a:gd name="T27" fmla="*/ 202 h 211"/>
                <a:gd name="T28" fmla="*/ 516 w 542"/>
                <a:gd name="T29" fmla="*/ 207 h 211"/>
                <a:gd name="T30" fmla="*/ 521 w 542"/>
                <a:gd name="T31" fmla="*/ 210 h 211"/>
                <a:gd name="T32" fmla="*/ 527 w 542"/>
                <a:gd name="T33" fmla="*/ 211 h 211"/>
                <a:gd name="T34" fmla="*/ 533 w 542"/>
                <a:gd name="T35" fmla="*/ 210 h 211"/>
                <a:gd name="T36" fmla="*/ 537 w 542"/>
                <a:gd name="T37" fmla="*/ 207 h 211"/>
                <a:gd name="T38" fmla="*/ 540 w 542"/>
                <a:gd name="T39" fmla="*/ 202 h 211"/>
                <a:gd name="T40" fmla="*/ 542 w 542"/>
                <a:gd name="T41" fmla="*/ 196 h 211"/>
                <a:gd name="T42" fmla="*/ 542 w 542"/>
                <a:gd name="T43" fmla="*/ 133 h 211"/>
                <a:gd name="T44" fmla="*/ 539 w 542"/>
                <a:gd name="T45" fmla="*/ 128 h 211"/>
                <a:gd name="T46" fmla="*/ 417 w 542"/>
                <a:gd name="T47" fmla="*/ 5 h 211"/>
                <a:gd name="T48" fmla="*/ 412 w 542"/>
                <a:gd name="T49" fmla="*/ 2 h 211"/>
                <a:gd name="T50" fmla="*/ 406 w 542"/>
                <a:gd name="T51" fmla="*/ 1 h 211"/>
                <a:gd name="T52" fmla="*/ 12 w 542"/>
                <a:gd name="T53" fmla="*/ 1 h 211"/>
                <a:gd name="T54" fmla="*/ 6 w 542"/>
                <a:gd name="T55" fmla="*/ 3 h 211"/>
                <a:gd name="T56" fmla="*/ 2 w 542"/>
                <a:gd name="T57" fmla="*/ 8 h 211"/>
                <a:gd name="T58" fmla="*/ 0 w 542"/>
                <a:gd name="T59" fmla="*/ 13 h 211"/>
                <a:gd name="T60" fmla="*/ 0 w 542"/>
                <a:gd name="T61" fmla="*/ 196 h 211"/>
                <a:gd name="T62" fmla="*/ 1 w 542"/>
                <a:gd name="T63" fmla="*/ 202 h 211"/>
                <a:gd name="T64" fmla="*/ 4 w 542"/>
                <a:gd name="T65" fmla="*/ 207 h 211"/>
                <a:gd name="T66" fmla="*/ 9 w 542"/>
                <a:gd name="T67" fmla="*/ 210 h 211"/>
                <a:gd name="T68" fmla="*/ 15 w 542"/>
                <a:gd name="T69"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2" h="211">
                  <a:moveTo>
                    <a:pt x="421" y="51"/>
                  </a:moveTo>
                  <a:lnTo>
                    <a:pt x="490" y="121"/>
                  </a:lnTo>
                  <a:lnTo>
                    <a:pt x="421" y="121"/>
                  </a:lnTo>
                  <a:lnTo>
                    <a:pt x="421" y="51"/>
                  </a:lnTo>
                  <a:close/>
                  <a:moveTo>
                    <a:pt x="15" y="211"/>
                  </a:moveTo>
                  <a:lnTo>
                    <a:pt x="18" y="211"/>
                  </a:lnTo>
                  <a:lnTo>
                    <a:pt x="20" y="210"/>
                  </a:lnTo>
                  <a:lnTo>
                    <a:pt x="24" y="209"/>
                  </a:lnTo>
                  <a:lnTo>
                    <a:pt x="26" y="207"/>
                  </a:lnTo>
                  <a:lnTo>
                    <a:pt x="28" y="205"/>
                  </a:lnTo>
                  <a:lnTo>
                    <a:pt x="29" y="202"/>
                  </a:lnTo>
                  <a:lnTo>
                    <a:pt x="30" y="199"/>
                  </a:lnTo>
                  <a:lnTo>
                    <a:pt x="30" y="196"/>
                  </a:lnTo>
                  <a:lnTo>
                    <a:pt x="30" y="31"/>
                  </a:lnTo>
                  <a:lnTo>
                    <a:pt x="391" y="31"/>
                  </a:lnTo>
                  <a:lnTo>
                    <a:pt x="391" y="136"/>
                  </a:lnTo>
                  <a:lnTo>
                    <a:pt x="391" y="139"/>
                  </a:lnTo>
                  <a:lnTo>
                    <a:pt x="392" y="142"/>
                  </a:lnTo>
                  <a:lnTo>
                    <a:pt x="394" y="145"/>
                  </a:lnTo>
                  <a:lnTo>
                    <a:pt x="396" y="147"/>
                  </a:lnTo>
                  <a:lnTo>
                    <a:pt x="398" y="148"/>
                  </a:lnTo>
                  <a:lnTo>
                    <a:pt x="400" y="150"/>
                  </a:lnTo>
                  <a:lnTo>
                    <a:pt x="403" y="151"/>
                  </a:lnTo>
                  <a:lnTo>
                    <a:pt x="406" y="151"/>
                  </a:lnTo>
                  <a:lnTo>
                    <a:pt x="512" y="151"/>
                  </a:lnTo>
                  <a:lnTo>
                    <a:pt x="512" y="196"/>
                  </a:lnTo>
                  <a:lnTo>
                    <a:pt x="512" y="199"/>
                  </a:lnTo>
                  <a:lnTo>
                    <a:pt x="513" y="202"/>
                  </a:lnTo>
                  <a:lnTo>
                    <a:pt x="514" y="205"/>
                  </a:lnTo>
                  <a:lnTo>
                    <a:pt x="516" y="207"/>
                  </a:lnTo>
                  <a:lnTo>
                    <a:pt x="518" y="209"/>
                  </a:lnTo>
                  <a:lnTo>
                    <a:pt x="521" y="210"/>
                  </a:lnTo>
                  <a:lnTo>
                    <a:pt x="523" y="211"/>
                  </a:lnTo>
                  <a:lnTo>
                    <a:pt x="527" y="211"/>
                  </a:lnTo>
                  <a:lnTo>
                    <a:pt x="530" y="211"/>
                  </a:lnTo>
                  <a:lnTo>
                    <a:pt x="533" y="210"/>
                  </a:lnTo>
                  <a:lnTo>
                    <a:pt x="535" y="209"/>
                  </a:lnTo>
                  <a:lnTo>
                    <a:pt x="537" y="207"/>
                  </a:lnTo>
                  <a:lnTo>
                    <a:pt x="539" y="205"/>
                  </a:lnTo>
                  <a:lnTo>
                    <a:pt x="540" y="202"/>
                  </a:lnTo>
                  <a:lnTo>
                    <a:pt x="542" y="199"/>
                  </a:lnTo>
                  <a:lnTo>
                    <a:pt x="542" y="196"/>
                  </a:lnTo>
                  <a:lnTo>
                    <a:pt x="542" y="136"/>
                  </a:lnTo>
                  <a:lnTo>
                    <a:pt x="542" y="133"/>
                  </a:lnTo>
                  <a:lnTo>
                    <a:pt x="540" y="130"/>
                  </a:lnTo>
                  <a:lnTo>
                    <a:pt x="539" y="128"/>
                  </a:lnTo>
                  <a:lnTo>
                    <a:pt x="537" y="125"/>
                  </a:lnTo>
                  <a:lnTo>
                    <a:pt x="417" y="5"/>
                  </a:lnTo>
                  <a:lnTo>
                    <a:pt x="415" y="3"/>
                  </a:lnTo>
                  <a:lnTo>
                    <a:pt x="412" y="2"/>
                  </a:lnTo>
                  <a:lnTo>
                    <a:pt x="410" y="1"/>
                  </a:lnTo>
                  <a:lnTo>
                    <a:pt x="406" y="1"/>
                  </a:lnTo>
                  <a:lnTo>
                    <a:pt x="15" y="0"/>
                  </a:lnTo>
                  <a:lnTo>
                    <a:pt x="12" y="1"/>
                  </a:lnTo>
                  <a:lnTo>
                    <a:pt x="9" y="2"/>
                  </a:lnTo>
                  <a:lnTo>
                    <a:pt x="6" y="3"/>
                  </a:lnTo>
                  <a:lnTo>
                    <a:pt x="4" y="5"/>
                  </a:lnTo>
                  <a:lnTo>
                    <a:pt x="2" y="8"/>
                  </a:lnTo>
                  <a:lnTo>
                    <a:pt x="1" y="10"/>
                  </a:lnTo>
                  <a:lnTo>
                    <a:pt x="0" y="13"/>
                  </a:lnTo>
                  <a:lnTo>
                    <a:pt x="0" y="16"/>
                  </a:lnTo>
                  <a:lnTo>
                    <a:pt x="0" y="196"/>
                  </a:lnTo>
                  <a:lnTo>
                    <a:pt x="0" y="199"/>
                  </a:lnTo>
                  <a:lnTo>
                    <a:pt x="1" y="202"/>
                  </a:lnTo>
                  <a:lnTo>
                    <a:pt x="2" y="205"/>
                  </a:lnTo>
                  <a:lnTo>
                    <a:pt x="4" y="207"/>
                  </a:lnTo>
                  <a:lnTo>
                    <a:pt x="6" y="209"/>
                  </a:lnTo>
                  <a:lnTo>
                    <a:pt x="9" y="210"/>
                  </a:lnTo>
                  <a:lnTo>
                    <a:pt x="12" y="211"/>
                  </a:lnTo>
                  <a:lnTo>
                    <a:pt x="15" y="211"/>
                  </a:lnTo>
                  <a:lnTo>
                    <a:pt x="15"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118">
              <a:extLst>
                <a:ext uri="{FF2B5EF4-FFF2-40B4-BE49-F238E27FC236}">
                  <a16:creationId xmlns:a16="http://schemas.microsoft.com/office/drawing/2014/main" id="{E66E348E-239B-4248-B97F-112161F83AB0}"/>
                </a:ext>
              </a:extLst>
            </p:cNvPr>
            <p:cNvSpPr>
              <a:spLocks/>
            </p:cNvSpPr>
            <p:nvPr/>
          </p:nvSpPr>
          <p:spPr bwMode="auto">
            <a:xfrm>
              <a:off x="4405313" y="15716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8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0 h 30"/>
                <a:gd name="T50" fmla="*/ 361 w 361"/>
                <a:gd name="T51" fmla="*/ 18 h 30"/>
                <a:gd name="T52" fmla="*/ 361 w 361"/>
                <a:gd name="T53" fmla="*/ 15 h 30"/>
                <a:gd name="T54" fmla="*/ 361 w 361"/>
                <a:gd name="T55" fmla="*/ 12 h 30"/>
                <a:gd name="T56" fmla="*/ 360 w 361"/>
                <a:gd name="T57" fmla="*/ 8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2"/>
                  </a:lnTo>
                  <a:lnTo>
                    <a:pt x="4" y="4"/>
                  </a:lnTo>
                  <a:lnTo>
                    <a:pt x="3" y="6"/>
                  </a:lnTo>
                  <a:lnTo>
                    <a:pt x="1" y="8"/>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0"/>
                  </a:lnTo>
                  <a:lnTo>
                    <a:pt x="361" y="18"/>
                  </a:lnTo>
                  <a:lnTo>
                    <a:pt x="361" y="15"/>
                  </a:lnTo>
                  <a:lnTo>
                    <a:pt x="361" y="12"/>
                  </a:lnTo>
                  <a:lnTo>
                    <a:pt x="360" y="8"/>
                  </a:lnTo>
                  <a:lnTo>
                    <a:pt x="359" y="6"/>
                  </a:lnTo>
                  <a:lnTo>
                    <a:pt x="357" y="4"/>
                  </a:lnTo>
                  <a:lnTo>
                    <a:pt x="355" y="2"/>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119">
              <a:extLst>
                <a:ext uri="{FF2B5EF4-FFF2-40B4-BE49-F238E27FC236}">
                  <a16:creationId xmlns:a16="http://schemas.microsoft.com/office/drawing/2014/main" id="{BF718D5B-9C1E-47B5-BD80-F48392A8D3A8}"/>
                </a:ext>
              </a:extLst>
            </p:cNvPr>
            <p:cNvSpPr>
              <a:spLocks/>
            </p:cNvSpPr>
            <p:nvPr/>
          </p:nvSpPr>
          <p:spPr bwMode="auto">
            <a:xfrm>
              <a:off x="4405313" y="159067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2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0 h 30"/>
                <a:gd name="T24" fmla="*/ 3 w 361"/>
                <a:gd name="T25" fmla="*/ 23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3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2 h 30"/>
                <a:gd name="T64" fmla="*/ 352 w 361"/>
                <a:gd name="T65" fmla="*/ 1 h 30"/>
                <a:gd name="T66" fmla="*/ 350 w 361"/>
                <a:gd name="T67" fmla="*/ 0 h 30"/>
                <a:gd name="T68" fmla="*/ 346 w 3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346" y="0"/>
                  </a:moveTo>
                  <a:lnTo>
                    <a:pt x="15" y="0"/>
                  </a:lnTo>
                  <a:lnTo>
                    <a:pt x="12" y="0"/>
                  </a:lnTo>
                  <a:lnTo>
                    <a:pt x="10" y="1"/>
                  </a:lnTo>
                  <a:lnTo>
                    <a:pt x="6" y="2"/>
                  </a:lnTo>
                  <a:lnTo>
                    <a:pt x="4" y="4"/>
                  </a:lnTo>
                  <a:lnTo>
                    <a:pt x="3" y="6"/>
                  </a:lnTo>
                  <a:lnTo>
                    <a:pt x="1" y="10"/>
                  </a:lnTo>
                  <a:lnTo>
                    <a:pt x="0" y="12"/>
                  </a:lnTo>
                  <a:lnTo>
                    <a:pt x="0" y="15"/>
                  </a:lnTo>
                  <a:lnTo>
                    <a:pt x="0" y="18"/>
                  </a:lnTo>
                  <a:lnTo>
                    <a:pt x="1" y="20"/>
                  </a:lnTo>
                  <a:lnTo>
                    <a:pt x="3" y="23"/>
                  </a:lnTo>
                  <a:lnTo>
                    <a:pt x="4" y="26"/>
                  </a:lnTo>
                  <a:lnTo>
                    <a:pt x="6" y="28"/>
                  </a:lnTo>
                  <a:lnTo>
                    <a:pt x="10" y="29"/>
                  </a:lnTo>
                  <a:lnTo>
                    <a:pt x="12" y="30"/>
                  </a:lnTo>
                  <a:lnTo>
                    <a:pt x="15" y="30"/>
                  </a:lnTo>
                  <a:lnTo>
                    <a:pt x="346" y="30"/>
                  </a:lnTo>
                  <a:lnTo>
                    <a:pt x="350" y="30"/>
                  </a:lnTo>
                  <a:lnTo>
                    <a:pt x="352" y="29"/>
                  </a:lnTo>
                  <a:lnTo>
                    <a:pt x="355" y="28"/>
                  </a:lnTo>
                  <a:lnTo>
                    <a:pt x="357" y="26"/>
                  </a:lnTo>
                  <a:lnTo>
                    <a:pt x="359" y="23"/>
                  </a:lnTo>
                  <a:lnTo>
                    <a:pt x="360" y="21"/>
                  </a:lnTo>
                  <a:lnTo>
                    <a:pt x="361" y="18"/>
                  </a:lnTo>
                  <a:lnTo>
                    <a:pt x="361" y="15"/>
                  </a:lnTo>
                  <a:lnTo>
                    <a:pt x="361" y="12"/>
                  </a:lnTo>
                  <a:lnTo>
                    <a:pt x="360" y="10"/>
                  </a:lnTo>
                  <a:lnTo>
                    <a:pt x="359" y="6"/>
                  </a:lnTo>
                  <a:lnTo>
                    <a:pt x="357" y="4"/>
                  </a:lnTo>
                  <a:lnTo>
                    <a:pt x="355" y="2"/>
                  </a:lnTo>
                  <a:lnTo>
                    <a:pt x="352" y="1"/>
                  </a:lnTo>
                  <a:lnTo>
                    <a:pt x="350"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120">
              <a:extLst>
                <a:ext uri="{FF2B5EF4-FFF2-40B4-BE49-F238E27FC236}">
                  <a16:creationId xmlns:a16="http://schemas.microsoft.com/office/drawing/2014/main" id="{97DBBB50-1769-414A-A12D-187025A272DB}"/>
                </a:ext>
              </a:extLst>
            </p:cNvPr>
            <p:cNvSpPr>
              <a:spLocks/>
            </p:cNvSpPr>
            <p:nvPr/>
          </p:nvSpPr>
          <p:spPr bwMode="auto">
            <a:xfrm>
              <a:off x="4405313" y="1609725"/>
              <a:ext cx="114300" cy="9525"/>
            </a:xfrm>
            <a:custGeom>
              <a:avLst/>
              <a:gdLst>
                <a:gd name="T0" fmla="*/ 346 w 361"/>
                <a:gd name="T1" fmla="*/ 0 h 30"/>
                <a:gd name="T2" fmla="*/ 15 w 361"/>
                <a:gd name="T3" fmla="*/ 0 h 30"/>
                <a:gd name="T4" fmla="*/ 12 w 361"/>
                <a:gd name="T5" fmla="*/ 0 h 30"/>
                <a:gd name="T6" fmla="*/ 10 w 361"/>
                <a:gd name="T7" fmla="*/ 1 h 30"/>
                <a:gd name="T8" fmla="*/ 6 w 361"/>
                <a:gd name="T9" fmla="*/ 3 h 30"/>
                <a:gd name="T10" fmla="*/ 4 w 361"/>
                <a:gd name="T11" fmla="*/ 4 h 30"/>
                <a:gd name="T12" fmla="*/ 3 w 361"/>
                <a:gd name="T13" fmla="*/ 6 h 30"/>
                <a:gd name="T14" fmla="*/ 1 w 361"/>
                <a:gd name="T15" fmla="*/ 10 h 30"/>
                <a:gd name="T16" fmla="*/ 0 w 361"/>
                <a:gd name="T17" fmla="*/ 12 h 30"/>
                <a:gd name="T18" fmla="*/ 0 w 361"/>
                <a:gd name="T19" fmla="*/ 15 h 30"/>
                <a:gd name="T20" fmla="*/ 0 w 361"/>
                <a:gd name="T21" fmla="*/ 18 h 30"/>
                <a:gd name="T22" fmla="*/ 1 w 361"/>
                <a:gd name="T23" fmla="*/ 21 h 30"/>
                <a:gd name="T24" fmla="*/ 3 w 361"/>
                <a:gd name="T25" fmla="*/ 24 h 30"/>
                <a:gd name="T26" fmla="*/ 4 w 361"/>
                <a:gd name="T27" fmla="*/ 26 h 30"/>
                <a:gd name="T28" fmla="*/ 6 w 361"/>
                <a:gd name="T29" fmla="*/ 28 h 30"/>
                <a:gd name="T30" fmla="*/ 10 w 361"/>
                <a:gd name="T31" fmla="*/ 29 h 30"/>
                <a:gd name="T32" fmla="*/ 12 w 361"/>
                <a:gd name="T33" fmla="*/ 30 h 30"/>
                <a:gd name="T34" fmla="*/ 15 w 361"/>
                <a:gd name="T35" fmla="*/ 30 h 30"/>
                <a:gd name="T36" fmla="*/ 346 w 361"/>
                <a:gd name="T37" fmla="*/ 30 h 30"/>
                <a:gd name="T38" fmla="*/ 350 w 361"/>
                <a:gd name="T39" fmla="*/ 30 h 30"/>
                <a:gd name="T40" fmla="*/ 352 w 361"/>
                <a:gd name="T41" fmla="*/ 29 h 30"/>
                <a:gd name="T42" fmla="*/ 355 w 361"/>
                <a:gd name="T43" fmla="*/ 28 h 30"/>
                <a:gd name="T44" fmla="*/ 357 w 361"/>
                <a:gd name="T45" fmla="*/ 26 h 30"/>
                <a:gd name="T46" fmla="*/ 359 w 361"/>
                <a:gd name="T47" fmla="*/ 24 h 30"/>
                <a:gd name="T48" fmla="*/ 360 w 361"/>
                <a:gd name="T49" fmla="*/ 21 h 30"/>
                <a:gd name="T50" fmla="*/ 361 w 361"/>
                <a:gd name="T51" fmla="*/ 18 h 30"/>
                <a:gd name="T52" fmla="*/ 361 w 361"/>
                <a:gd name="T53" fmla="*/ 15 h 30"/>
                <a:gd name="T54" fmla="*/ 361 w 361"/>
                <a:gd name="T55" fmla="*/ 12 h 30"/>
                <a:gd name="T56" fmla="*/ 360 w 361"/>
                <a:gd name="T57" fmla="*/ 10 h 30"/>
                <a:gd name="T58" fmla="*/ 359 w 361"/>
                <a:gd name="T59" fmla="*/ 6 h 30"/>
                <a:gd name="T60" fmla="*/ 357 w 361"/>
                <a:gd name="T61" fmla="*/ 4 h 30"/>
                <a:gd name="T62" fmla="*/ 355 w 361"/>
                <a:gd name="T63" fmla="*/ 3 h 30"/>
                <a:gd name="T64" fmla="*/ 352 w 361"/>
                <a:gd name="T65" fmla="*/ 1 h 30"/>
                <a:gd name="T66" fmla="*/ 350 w 361"/>
                <a:gd name="T67" fmla="*/ 0 h 30"/>
                <a:gd name="T68" fmla="*/ 346 w 361"/>
                <a:gd name="T69" fmla="*/ 0 h 30"/>
                <a:gd name="T70" fmla="*/ 346 w 36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30">
                  <a:moveTo>
                    <a:pt x="346" y="0"/>
                  </a:moveTo>
                  <a:lnTo>
                    <a:pt x="15" y="0"/>
                  </a:lnTo>
                  <a:lnTo>
                    <a:pt x="12" y="0"/>
                  </a:lnTo>
                  <a:lnTo>
                    <a:pt x="10" y="1"/>
                  </a:lnTo>
                  <a:lnTo>
                    <a:pt x="6" y="3"/>
                  </a:lnTo>
                  <a:lnTo>
                    <a:pt x="4" y="4"/>
                  </a:lnTo>
                  <a:lnTo>
                    <a:pt x="3" y="6"/>
                  </a:lnTo>
                  <a:lnTo>
                    <a:pt x="1" y="10"/>
                  </a:lnTo>
                  <a:lnTo>
                    <a:pt x="0" y="12"/>
                  </a:lnTo>
                  <a:lnTo>
                    <a:pt x="0" y="15"/>
                  </a:lnTo>
                  <a:lnTo>
                    <a:pt x="0" y="18"/>
                  </a:lnTo>
                  <a:lnTo>
                    <a:pt x="1" y="21"/>
                  </a:lnTo>
                  <a:lnTo>
                    <a:pt x="3" y="24"/>
                  </a:lnTo>
                  <a:lnTo>
                    <a:pt x="4" y="26"/>
                  </a:lnTo>
                  <a:lnTo>
                    <a:pt x="6" y="28"/>
                  </a:lnTo>
                  <a:lnTo>
                    <a:pt x="10" y="29"/>
                  </a:lnTo>
                  <a:lnTo>
                    <a:pt x="12" y="30"/>
                  </a:lnTo>
                  <a:lnTo>
                    <a:pt x="15" y="30"/>
                  </a:lnTo>
                  <a:lnTo>
                    <a:pt x="346" y="30"/>
                  </a:lnTo>
                  <a:lnTo>
                    <a:pt x="350" y="30"/>
                  </a:lnTo>
                  <a:lnTo>
                    <a:pt x="352" y="29"/>
                  </a:lnTo>
                  <a:lnTo>
                    <a:pt x="355" y="28"/>
                  </a:lnTo>
                  <a:lnTo>
                    <a:pt x="357" y="26"/>
                  </a:lnTo>
                  <a:lnTo>
                    <a:pt x="359" y="24"/>
                  </a:lnTo>
                  <a:lnTo>
                    <a:pt x="360" y="21"/>
                  </a:lnTo>
                  <a:lnTo>
                    <a:pt x="361" y="18"/>
                  </a:lnTo>
                  <a:lnTo>
                    <a:pt x="361" y="15"/>
                  </a:lnTo>
                  <a:lnTo>
                    <a:pt x="361" y="12"/>
                  </a:lnTo>
                  <a:lnTo>
                    <a:pt x="360" y="10"/>
                  </a:lnTo>
                  <a:lnTo>
                    <a:pt x="359" y="6"/>
                  </a:lnTo>
                  <a:lnTo>
                    <a:pt x="357" y="4"/>
                  </a:lnTo>
                  <a:lnTo>
                    <a:pt x="355" y="3"/>
                  </a:lnTo>
                  <a:lnTo>
                    <a:pt x="352" y="1"/>
                  </a:lnTo>
                  <a:lnTo>
                    <a:pt x="350" y="0"/>
                  </a:lnTo>
                  <a:lnTo>
                    <a:pt x="346" y="0"/>
                  </a:lnTo>
                  <a:lnTo>
                    <a:pt x="3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121">
              <a:extLst>
                <a:ext uri="{FF2B5EF4-FFF2-40B4-BE49-F238E27FC236}">
                  <a16:creationId xmlns:a16="http://schemas.microsoft.com/office/drawing/2014/main" id="{3B1CCF54-3DF8-41F2-B4DA-0C5A23190FBC}"/>
                </a:ext>
              </a:extLst>
            </p:cNvPr>
            <p:cNvSpPr>
              <a:spLocks noEditPoints="1"/>
            </p:cNvSpPr>
            <p:nvPr/>
          </p:nvSpPr>
          <p:spPr bwMode="auto">
            <a:xfrm>
              <a:off x="4338638" y="1474788"/>
              <a:ext cx="38100" cy="39688"/>
            </a:xfrm>
            <a:custGeom>
              <a:avLst/>
              <a:gdLst>
                <a:gd name="T0" fmla="*/ 53 w 120"/>
                <a:gd name="T1" fmla="*/ 90 h 121"/>
                <a:gd name="T2" fmla="*/ 43 w 120"/>
                <a:gd name="T3" fmla="*/ 86 h 121"/>
                <a:gd name="T4" fmla="*/ 34 w 120"/>
                <a:gd name="T5" fmla="*/ 78 h 121"/>
                <a:gd name="T6" fmla="*/ 30 w 120"/>
                <a:gd name="T7" fmla="*/ 67 h 121"/>
                <a:gd name="T8" fmla="*/ 30 w 120"/>
                <a:gd name="T9" fmla="*/ 55 h 121"/>
                <a:gd name="T10" fmla="*/ 34 w 120"/>
                <a:gd name="T11" fmla="*/ 44 h 121"/>
                <a:gd name="T12" fmla="*/ 43 w 120"/>
                <a:gd name="T13" fmla="*/ 36 h 121"/>
                <a:gd name="T14" fmla="*/ 53 w 120"/>
                <a:gd name="T15" fmla="*/ 31 h 121"/>
                <a:gd name="T16" fmla="*/ 65 w 120"/>
                <a:gd name="T17" fmla="*/ 31 h 121"/>
                <a:gd name="T18" fmla="*/ 76 w 120"/>
                <a:gd name="T19" fmla="*/ 36 h 121"/>
                <a:gd name="T20" fmla="*/ 85 w 120"/>
                <a:gd name="T21" fmla="*/ 44 h 121"/>
                <a:gd name="T22" fmla="*/ 89 w 120"/>
                <a:gd name="T23" fmla="*/ 55 h 121"/>
                <a:gd name="T24" fmla="*/ 89 w 120"/>
                <a:gd name="T25" fmla="*/ 67 h 121"/>
                <a:gd name="T26" fmla="*/ 85 w 120"/>
                <a:gd name="T27" fmla="*/ 78 h 121"/>
                <a:gd name="T28" fmla="*/ 76 w 120"/>
                <a:gd name="T29" fmla="*/ 86 h 121"/>
                <a:gd name="T30" fmla="*/ 65 w 120"/>
                <a:gd name="T31" fmla="*/ 90 h 121"/>
                <a:gd name="T32" fmla="*/ 60 w 120"/>
                <a:gd name="T33" fmla="*/ 0 h 121"/>
                <a:gd name="T34" fmla="*/ 47 w 120"/>
                <a:gd name="T35" fmla="*/ 1 h 121"/>
                <a:gd name="T36" fmla="*/ 36 w 120"/>
                <a:gd name="T37" fmla="*/ 6 h 121"/>
                <a:gd name="T38" fmla="*/ 26 w 120"/>
                <a:gd name="T39" fmla="*/ 11 h 121"/>
                <a:gd name="T40" fmla="*/ 17 w 120"/>
                <a:gd name="T41" fmla="*/ 19 h 121"/>
                <a:gd name="T42" fmla="*/ 9 w 120"/>
                <a:gd name="T43" fmla="*/ 27 h 121"/>
                <a:gd name="T44" fmla="*/ 4 w 120"/>
                <a:gd name="T45" fmla="*/ 37 h 121"/>
                <a:gd name="T46" fmla="*/ 1 w 120"/>
                <a:gd name="T47" fmla="*/ 49 h 121"/>
                <a:gd name="T48" fmla="*/ 0 w 120"/>
                <a:gd name="T49" fmla="*/ 60 h 121"/>
                <a:gd name="T50" fmla="*/ 1 w 120"/>
                <a:gd name="T51" fmla="*/ 73 h 121"/>
                <a:gd name="T52" fmla="*/ 4 w 120"/>
                <a:gd name="T53" fmla="*/ 84 h 121"/>
                <a:gd name="T54" fmla="*/ 9 w 120"/>
                <a:gd name="T55" fmla="*/ 95 h 121"/>
                <a:gd name="T56" fmla="*/ 17 w 120"/>
                <a:gd name="T57" fmla="*/ 103 h 121"/>
                <a:gd name="T58" fmla="*/ 26 w 120"/>
                <a:gd name="T59" fmla="*/ 111 h 121"/>
                <a:gd name="T60" fmla="*/ 36 w 120"/>
                <a:gd name="T61" fmla="*/ 116 h 121"/>
                <a:gd name="T62" fmla="*/ 47 w 120"/>
                <a:gd name="T63" fmla="*/ 119 h 121"/>
                <a:gd name="T64" fmla="*/ 60 w 120"/>
                <a:gd name="T65" fmla="*/ 121 h 121"/>
                <a:gd name="T66" fmla="*/ 72 w 120"/>
                <a:gd name="T67" fmla="*/ 119 h 121"/>
                <a:gd name="T68" fmla="*/ 83 w 120"/>
                <a:gd name="T69" fmla="*/ 116 h 121"/>
                <a:gd name="T70" fmla="*/ 93 w 120"/>
                <a:gd name="T71" fmla="*/ 111 h 121"/>
                <a:gd name="T72" fmla="*/ 102 w 120"/>
                <a:gd name="T73" fmla="*/ 103 h 121"/>
                <a:gd name="T74" fmla="*/ 109 w 120"/>
                <a:gd name="T75" fmla="*/ 95 h 121"/>
                <a:gd name="T76" fmla="*/ 115 w 120"/>
                <a:gd name="T77" fmla="*/ 84 h 121"/>
                <a:gd name="T78" fmla="*/ 119 w 120"/>
                <a:gd name="T79" fmla="*/ 73 h 121"/>
                <a:gd name="T80" fmla="*/ 120 w 120"/>
                <a:gd name="T81" fmla="*/ 60 h 121"/>
                <a:gd name="T82" fmla="*/ 119 w 120"/>
                <a:gd name="T83" fmla="*/ 49 h 121"/>
                <a:gd name="T84" fmla="*/ 115 w 120"/>
                <a:gd name="T85" fmla="*/ 37 h 121"/>
                <a:gd name="T86" fmla="*/ 109 w 120"/>
                <a:gd name="T87" fmla="*/ 27 h 121"/>
                <a:gd name="T88" fmla="*/ 102 w 120"/>
                <a:gd name="T89" fmla="*/ 19 h 121"/>
                <a:gd name="T90" fmla="*/ 93 w 120"/>
                <a:gd name="T91" fmla="*/ 11 h 121"/>
                <a:gd name="T92" fmla="*/ 83 w 120"/>
                <a:gd name="T93" fmla="*/ 6 h 121"/>
                <a:gd name="T94" fmla="*/ 72 w 120"/>
                <a:gd name="T95" fmla="*/ 1 h 121"/>
                <a:gd name="T96" fmla="*/ 60 w 120"/>
                <a:gd name="T9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21">
                  <a:moveTo>
                    <a:pt x="60" y="90"/>
                  </a:moveTo>
                  <a:lnTo>
                    <a:pt x="53" y="90"/>
                  </a:lnTo>
                  <a:lnTo>
                    <a:pt x="48" y="88"/>
                  </a:lnTo>
                  <a:lnTo>
                    <a:pt x="43" y="86"/>
                  </a:lnTo>
                  <a:lnTo>
                    <a:pt x="38" y="82"/>
                  </a:lnTo>
                  <a:lnTo>
                    <a:pt x="34" y="78"/>
                  </a:lnTo>
                  <a:lnTo>
                    <a:pt x="32" y="72"/>
                  </a:lnTo>
                  <a:lnTo>
                    <a:pt x="30" y="67"/>
                  </a:lnTo>
                  <a:lnTo>
                    <a:pt x="30" y="60"/>
                  </a:lnTo>
                  <a:lnTo>
                    <a:pt x="30" y="55"/>
                  </a:lnTo>
                  <a:lnTo>
                    <a:pt x="32" y="49"/>
                  </a:lnTo>
                  <a:lnTo>
                    <a:pt x="34" y="44"/>
                  </a:lnTo>
                  <a:lnTo>
                    <a:pt x="38" y="39"/>
                  </a:lnTo>
                  <a:lnTo>
                    <a:pt x="43" y="36"/>
                  </a:lnTo>
                  <a:lnTo>
                    <a:pt x="48" y="33"/>
                  </a:lnTo>
                  <a:lnTo>
                    <a:pt x="53" y="31"/>
                  </a:lnTo>
                  <a:lnTo>
                    <a:pt x="60" y="30"/>
                  </a:lnTo>
                  <a:lnTo>
                    <a:pt x="65" y="31"/>
                  </a:lnTo>
                  <a:lnTo>
                    <a:pt x="72" y="33"/>
                  </a:lnTo>
                  <a:lnTo>
                    <a:pt x="76" y="36"/>
                  </a:lnTo>
                  <a:lnTo>
                    <a:pt x="81" y="39"/>
                  </a:lnTo>
                  <a:lnTo>
                    <a:pt x="85" y="44"/>
                  </a:lnTo>
                  <a:lnTo>
                    <a:pt x="88" y="49"/>
                  </a:lnTo>
                  <a:lnTo>
                    <a:pt x="89" y="55"/>
                  </a:lnTo>
                  <a:lnTo>
                    <a:pt x="90" y="60"/>
                  </a:lnTo>
                  <a:lnTo>
                    <a:pt x="89" y="67"/>
                  </a:lnTo>
                  <a:lnTo>
                    <a:pt x="88" y="72"/>
                  </a:lnTo>
                  <a:lnTo>
                    <a:pt x="85" y="78"/>
                  </a:lnTo>
                  <a:lnTo>
                    <a:pt x="81" y="82"/>
                  </a:lnTo>
                  <a:lnTo>
                    <a:pt x="76" y="86"/>
                  </a:lnTo>
                  <a:lnTo>
                    <a:pt x="72" y="88"/>
                  </a:lnTo>
                  <a:lnTo>
                    <a:pt x="65" y="90"/>
                  </a:lnTo>
                  <a:lnTo>
                    <a:pt x="60" y="90"/>
                  </a:lnTo>
                  <a:close/>
                  <a:moveTo>
                    <a:pt x="60" y="0"/>
                  </a:moveTo>
                  <a:lnTo>
                    <a:pt x="53" y="0"/>
                  </a:lnTo>
                  <a:lnTo>
                    <a:pt x="47" y="1"/>
                  </a:lnTo>
                  <a:lnTo>
                    <a:pt x="42" y="4"/>
                  </a:lnTo>
                  <a:lnTo>
                    <a:pt x="36" y="6"/>
                  </a:lnTo>
                  <a:lnTo>
                    <a:pt x="31" y="8"/>
                  </a:lnTo>
                  <a:lnTo>
                    <a:pt x="26" y="11"/>
                  </a:lnTo>
                  <a:lnTo>
                    <a:pt x="21" y="14"/>
                  </a:lnTo>
                  <a:lnTo>
                    <a:pt x="17" y="19"/>
                  </a:lnTo>
                  <a:lnTo>
                    <a:pt x="13" y="23"/>
                  </a:lnTo>
                  <a:lnTo>
                    <a:pt x="9" y="27"/>
                  </a:lnTo>
                  <a:lnTo>
                    <a:pt x="6" y="33"/>
                  </a:lnTo>
                  <a:lnTo>
                    <a:pt x="4" y="37"/>
                  </a:lnTo>
                  <a:lnTo>
                    <a:pt x="2" y="43"/>
                  </a:lnTo>
                  <a:lnTo>
                    <a:pt x="1" y="49"/>
                  </a:lnTo>
                  <a:lnTo>
                    <a:pt x="0" y="55"/>
                  </a:lnTo>
                  <a:lnTo>
                    <a:pt x="0" y="60"/>
                  </a:lnTo>
                  <a:lnTo>
                    <a:pt x="0" y="67"/>
                  </a:lnTo>
                  <a:lnTo>
                    <a:pt x="1" y="73"/>
                  </a:lnTo>
                  <a:lnTo>
                    <a:pt x="2" y="79"/>
                  </a:lnTo>
                  <a:lnTo>
                    <a:pt x="4" y="84"/>
                  </a:lnTo>
                  <a:lnTo>
                    <a:pt x="6" y="89"/>
                  </a:lnTo>
                  <a:lnTo>
                    <a:pt x="9" y="95"/>
                  </a:lnTo>
                  <a:lnTo>
                    <a:pt x="13" y="99"/>
                  </a:lnTo>
                  <a:lnTo>
                    <a:pt x="17" y="103"/>
                  </a:lnTo>
                  <a:lnTo>
                    <a:pt x="21" y="108"/>
                  </a:lnTo>
                  <a:lnTo>
                    <a:pt x="26" y="111"/>
                  </a:lnTo>
                  <a:lnTo>
                    <a:pt x="31" y="114"/>
                  </a:lnTo>
                  <a:lnTo>
                    <a:pt x="36" y="116"/>
                  </a:lnTo>
                  <a:lnTo>
                    <a:pt x="42" y="118"/>
                  </a:lnTo>
                  <a:lnTo>
                    <a:pt x="47" y="119"/>
                  </a:lnTo>
                  <a:lnTo>
                    <a:pt x="53" y="121"/>
                  </a:lnTo>
                  <a:lnTo>
                    <a:pt x="60" y="121"/>
                  </a:lnTo>
                  <a:lnTo>
                    <a:pt x="65" y="121"/>
                  </a:lnTo>
                  <a:lnTo>
                    <a:pt x="72" y="119"/>
                  </a:lnTo>
                  <a:lnTo>
                    <a:pt x="77" y="118"/>
                  </a:lnTo>
                  <a:lnTo>
                    <a:pt x="83" y="116"/>
                  </a:lnTo>
                  <a:lnTo>
                    <a:pt x="89" y="114"/>
                  </a:lnTo>
                  <a:lnTo>
                    <a:pt x="93" y="111"/>
                  </a:lnTo>
                  <a:lnTo>
                    <a:pt x="97" y="108"/>
                  </a:lnTo>
                  <a:lnTo>
                    <a:pt x="102" y="103"/>
                  </a:lnTo>
                  <a:lnTo>
                    <a:pt x="106" y="99"/>
                  </a:lnTo>
                  <a:lnTo>
                    <a:pt x="109" y="95"/>
                  </a:lnTo>
                  <a:lnTo>
                    <a:pt x="112" y="89"/>
                  </a:lnTo>
                  <a:lnTo>
                    <a:pt x="115" y="84"/>
                  </a:lnTo>
                  <a:lnTo>
                    <a:pt x="117" y="79"/>
                  </a:lnTo>
                  <a:lnTo>
                    <a:pt x="119" y="73"/>
                  </a:lnTo>
                  <a:lnTo>
                    <a:pt x="120" y="67"/>
                  </a:lnTo>
                  <a:lnTo>
                    <a:pt x="120" y="60"/>
                  </a:lnTo>
                  <a:lnTo>
                    <a:pt x="120" y="55"/>
                  </a:lnTo>
                  <a:lnTo>
                    <a:pt x="119" y="49"/>
                  </a:lnTo>
                  <a:lnTo>
                    <a:pt x="117" y="43"/>
                  </a:lnTo>
                  <a:lnTo>
                    <a:pt x="115" y="37"/>
                  </a:lnTo>
                  <a:lnTo>
                    <a:pt x="112" y="33"/>
                  </a:lnTo>
                  <a:lnTo>
                    <a:pt x="109" y="27"/>
                  </a:lnTo>
                  <a:lnTo>
                    <a:pt x="106" y="23"/>
                  </a:lnTo>
                  <a:lnTo>
                    <a:pt x="102" y="19"/>
                  </a:lnTo>
                  <a:lnTo>
                    <a:pt x="97" y="14"/>
                  </a:lnTo>
                  <a:lnTo>
                    <a:pt x="93" y="11"/>
                  </a:lnTo>
                  <a:lnTo>
                    <a:pt x="89" y="8"/>
                  </a:lnTo>
                  <a:lnTo>
                    <a:pt x="83" y="6"/>
                  </a:lnTo>
                  <a:lnTo>
                    <a:pt x="77" y="4"/>
                  </a:lnTo>
                  <a:lnTo>
                    <a:pt x="72" y="1"/>
                  </a:lnTo>
                  <a:lnTo>
                    <a:pt x="65"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56" name="Group 96">
            <a:extLst>
              <a:ext uri="{FF2B5EF4-FFF2-40B4-BE49-F238E27FC236}">
                <a16:creationId xmlns:a16="http://schemas.microsoft.com/office/drawing/2014/main" id="{744CBC71-0788-4281-952F-26068B2A7253}"/>
              </a:ext>
            </a:extLst>
          </p:cNvPr>
          <p:cNvGrpSpPr>
            <a:grpSpLocks noChangeAspect="1"/>
          </p:cNvGrpSpPr>
          <p:nvPr/>
        </p:nvGrpSpPr>
        <p:grpSpPr>
          <a:xfrm>
            <a:off x="2315267" y="5956111"/>
            <a:ext cx="284040" cy="285619"/>
            <a:chOff x="3746500" y="1360488"/>
            <a:chExt cx="285750" cy="287338"/>
          </a:xfrm>
          <a:solidFill>
            <a:schemeClr val="bg1"/>
          </a:solidFill>
          <a:effectLst/>
        </p:grpSpPr>
        <p:sp>
          <p:nvSpPr>
            <p:cNvPr id="1357" name="Freeform 122">
              <a:extLst>
                <a:ext uri="{FF2B5EF4-FFF2-40B4-BE49-F238E27FC236}">
                  <a16:creationId xmlns:a16="http://schemas.microsoft.com/office/drawing/2014/main" id="{A3E6BC8F-A2A8-453E-87D9-546C7997755A}"/>
                </a:ext>
              </a:extLst>
            </p:cNvPr>
            <p:cNvSpPr>
              <a:spLocks noEditPoints="1"/>
            </p:cNvSpPr>
            <p:nvPr/>
          </p:nvSpPr>
          <p:spPr bwMode="auto">
            <a:xfrm>
              <a:off x="3798888" y="1552575"/>
              <a:ext cx="66675" cy="66675"/>
            </a:xfrm>
            <a:custGeom>
              <a:avLst/>
              <a:gdLst>
                <a:gd name="T0" fmla="*/ 90 w 210"/>
                <a:gd name="T1" fmla="*/ 179 h 210"/>
                <a:gd name="T2" fmla="*/ 68 w 210"/>
                <a:gd name="T3" fmla="*/ 171 h 210"/>
                <a:gd name="T4" fmla="*/ 51 w 210"/>
                <a:gd name="T5" fmla="*/ 158 h 210"/>
                <a:gd name="T6" fmla="*/ 38 w 210"/>
                <a:gd name="T7" fmla="*/ 140 h 210"/>
                <a:gd name="T8" fmla="*/ 31 w 210"/>
                <a:gd name="T9" fmla="*/ 120 h 210"/>
                <a:gd name="T10" fmla="*/ 30 w 210"/>
                <a:gd name="T11" fmla="*/ 97 h 210"/>
                <a:gd name="T12" fmla="*/ 35 w 210"/>
                <a:gd name="T13" fmla="*/ 76 h 210"/>
                <a:gd name="T14" fmla="*/ 47 w 210"/>
                <a:gd name="T15" fmla="*/ 57 h 210"/>
                <a:gd name="T16" fmla="*/ 63 w 210"/>
                <a:gd name="T17" fmla="*/ 43 h 210"/>
                <a:gd name="T18" fmla="*/ 82 w 210"/>
                <a:gd name="T19" fmla="*/ 33 h 210"/>
                <a:gd name="T20" fmla="*/ 105 w 210"/>
                <a:gd name="T21" fmla="*/ 30 h 210"/>
                <a:gd name="T22" fmla="*/ 127 w 210"/>
                <a:gd name="T23" fmla="*/ 33 h 210"/>
                <a:gd name="T24" fmla="*/ 147 w 210"/>
                <a:gd name="T25" fmla="*/ 43 h 210"/>
                <a:gd name="T26" fmla="*/ 163 w 210"/>
                <a:gd name="T27" fmla="*/ 57 h 210"/>
                <a:gd name="T28" fmla="*/ 175 w 210"/>
                <a:gd name="T29" fmla="*/ 76 h 210"/>
                <a:gd name="T30" fmla="*/ 180 w 210"/>
                <a:gd name="T31" fmla="*/ 97 h 210"/>
                <a:gd name="T32" fmla="*/ 179 w 210"/>
                <a:gd name="T33" fmla="*/ 120 h 210"/>
                <a:gd name="T34" fmla="*/ 171 w 210"/>
                <a:gd name="T35" fmla="*/ 140 h 210"/>
                <a:gd name="T36" fmla="*/ 159 w 210"/>
                <a:gd name="T37" fmla="*/ 158 h 210"/>
                <a:gd name="T38" fmla="*/ 140 w 210"/>
                <a:gd name="T39" fmla="*/ 171 h 210"/>
                <a:gd name="T40" fmla="*/ 120 w 210"/>
                <a:gd name="T41" fmla="*/ 179 h 210"/>
                <a:gd name="T42" fmla="*/ 105 w 210"/>
                <a:gd name="T43" fmla="*/ 180 h 210"/>
                <a:gd name="T44" fmla="*/ 84 w 210"/>
                <a:gd name="T45" fmla="*/ 2 h 210"/>
                <a:gd name="T46" fmla="*/ 55 w 210"/>
                <a:gd name="T47" fmla="*/ 13 h 210"/>
                <a:gd name="T48" fmla="*/ 30 w 210"/>
                <a:gd name="T49" fmla="*/ 31 h 210"/>
                <a:gd name="T50" fmla="*/ 13 w 210"/>
                <a:gd name="T51" fmla="*/ 54 h 210"/>
                <a:gd name="T52" fmla="*/ 2 w 210"/>
                <a:gd name="T53" fmla="*/ 83 h 210"/>
                <a:gd name="T54" fmla="*/ 0 w 210"/>
                <a:gd name="T55" fmla="*/ 116 h 210"/>
                <a:gd name="T56" fmla="*/ 7 w 210"/>
                <a:gd name="T57" fmla="*/ 146 h 210"/>
                <a:gd name="T58" fmla="*/ 23 w 210"/>
                <a:gd name="T59" fmla="*/ 171 h 210"/>
                <a:gd name="T60" fmla="*/ 46 w 210"/>
                <a:gd name="T61" fmla="*/ 192 h 210"/>
                <a:gd name="T62" fmla="*/ 74 w 210"/>
                <a:gd name="T63" fmla="*/ 206 h 210"/>
                <a:gd name="T64" fmla="*/ 105 w 210"/>
                <a:gd name="T65" fmla="*/ 210 h 210"/>
                <a:gd name="T66" fmla="*/ 136 w 210"/>
                <a:gd name="T67" fmla="*/ 206 h 210"/>
                <a:gd name="T68" fmla="*/ 164 w 210"/>
                <a:gd name="T69" fmla="*/ 192 h 210"/>
                <a:gd name="T70" fmla="*/ 186 w 210"/>
                <a:gd name="T71" fmla="*/ 171 h 210"/>
                <a:gd name="T72" fmla="*/ 201 w 210"/>
                <a:gd name="T73" fmla="*/ 146 h 210"/>
                <a:gd name="T74" fmla="*/ 210 w 210"/>
                <a:gd name="T75" fmla="*/ 116 h 210"/>
                <a:gd name="T76" fmla="*/ 208 w 210"/>
                <a:gd name="T77" fmla="*/ 83 h 210"/>
                <a:gd name="T78" fmla="*/ 197 w 210"/>
                <a:gd name="T79" fmla="*/ 54 h 210"/>
                <a:gd name="T80" fmla="*/ 179 w 210"/>
                <a:gd name="T81" fmla="*/ 31 h 210"/>
                <a:gd name="T82" fmla="*/ 155 w 210"/>
                <a:gd name="T83" fmla="*/ 13 h 210"/>
                <a:gd name="T84" fmla="*/ 126 w 210"/>
                <a:gd name="T85" fmla="*/ 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68" y="171"/>
                  </a:lnTo>
                  <a:lnTo>
                    <a:pt x="63" y="167"/>
                  </a:lnTo>
                  <a:lnTo>
                    <a:pt x="57" y="163"/>
                  </a:lnTo>
                  <a:lnTo>
                    <a:pt x="51" y="158"/>
                  </a:lnTo>
                  <a:lnTo>
                    <a:pt x="47" y="153"/>
                  </a:lnTo>
                  <a:lnTo>
                    <a:pt x="43" y="147"/>
                  </a:lnTo>
                  <a:lnTo>
                    <a:pt x="38" y="140"/>
                  </a:lnTo>
                  <a:lnTo>
                    <a:pt x="35" y="134"/>
                  </a:lnTo>
                  <a:lnTo>
                    <a:pt x="33" y="127"/>
                  </a:lnTo>
                  <a:lnTo>
                    <a:pt x="31" y="120"/>
                  </a:lnTo>
                  <a:lnTo>
                    <a:pt x="30" y="112"/>
                  </a:lnTo>
                  <a:lnTo>
                    <a:pt x="30" y="105"/>
                  </a:lnTo>
                  <a:lnTo>
                    <a:pt x="30" y="97"/>
                  </a:lnTo>
                  <a:lnTo>
                    <a:pt x="31" y="90"/>
                  </a:lnTo>
                  <a:lnTo>
                    <a:pt x="33" y="82"/>
                  </a:lnTo>
                  <a:lnTo>
                    <a:pt x="35" y="76"/>
                  </a:lnTo>
                  <a:lnTo>
                    <a:pt x="38" y="69"/>
                  </a:lnTo>
                  <a:lnTo>
                    <a:pt x="43" y="63"/>
                  </a:lnTo>
                  <a:lnTo>
                    <a:pt x="47" y="57"/>
                  </a:lnTo>
                  <a:lnTo>
                    <a:pt x="51" y="51"/>
                  </a:lnTo>
                  <a:lnTo>
                    <a:pt x="57" y="47"/>
                  </a:lnTo>
                  <a:lnTo>
                    <a:pt x="63" y="43"/>
                  </a:lnTo>
                  <a:lnTo>
                    <a:pt x="68" y="38"/>
                  </a:lnTo>
                  <a:lnTo>
                    <a:pt x="76" y="35"/>
                  </a:lnTo>
                  <a:lnTo>
                    <a:pt x="82" y="33"/>
                  </a:lnTo>
                  <a:lnTo>
                    <a:pt x="90" y="31"/>
                  </a:lnTo>
                  <a:lnTo>
                    <a:pt x="97" y="30"/>
                  </a:lnTo>
                  <a:lnTo>
                    <a:pt x="105" y="30"/>
                  </a:lnTo>
                  <a:lnTo>
                    <a:pt x="112" y="30"/>
                  </a:lnTo>
                  <a:lnTo>
                    <a:pt x="120" y="31"/>
                  </a:lnTo>
                  <a:lnTo>
                    <a:pt x="127" y="33"/>
                  </a:lnTo>
                  <a:lnTo>
                    <a:pt x="134" y="35"/>
                  </a:lnTo>
                  <a:lnTo>
                    <a:pt x="140" y="38"/>
                  </a:lnTo>
                  <a:lnTo>
                    <a:pt x="147" y="43"/>
                  </a:lnTo>
                  <a:lnTo>
                    <a:pt x="153" y="47"/>
                  </a:lnTo>
                  <a:lnTo>
                    <a:pt x="159" y="51"/>
                  </a:lnTo>
                  <a:lnTo>
                    <a:pt x="163" y="57"/>
                  </a:lnTo>
                  <a:lnTo>
                    <a:pt x="167" y="63"/>
                  </a:lnTo>
                  <a:lnTo>
                    <a:pt x="171" y="69"/>
                  </a:lnTo>
                  <a:lnTo>
                    <a:pt x="175" y="76"/>
                  </a:lnTo>
                  <a:lnTo>
                    <a:pt x="177" y="82"/>
                  </a:lnTo>
                  <a:lnTo>
                    <a:pt x="179" y="90"/>
                  </a:lnTo>
                  <a:lnTo>
                    <a:pt x="180" y="97"/>
                  </a:lnTo>
                  <a:lnTo>
                    <a:pt x="180" y="105"/>
                  </a:lnTo>
                  <a:lnTo>
                    <a:pt x="180" y="112"/>
                  </a:lnTo>
                  <a:lnTo>
                    <a:pt x="179" y="120"/>
                  </a:lnTo>
                  <a:lnTo>
                    <a:pt x="177" y="127"/>
                  </a:lnTo>
                  <a:lnTo>
                    <a:pt x="175" y="134"/>
                  </a:lnTo>
                  <a:lnTo>
                    <a:pt x="171" y="140"/>
                  </a:lnTo>
                  <a:lnTo>
                    <a:pt x="167" y="147"/>
                  </a:lnTo>
                  <a:lnTo>
                    <a:pt x="163" y="153"/>
                  </a:lnTo>
                  <a:lnTo>
                    <a:pt x="159" y="158"/>
                  </a:lnTo>
                  <a:lnTo>
                    <a:pt x="153" y="163"/>
                  </a:lnTo>
                  <a:lnTo>
                    <a:pt x="147" y="167"/>
                  </a:lnTo>
                  <a:lnTo>
                    <a:pt x="140" y="171"/>
                  </a:lnTo>
                  <a:lnTo>
                    <a:pt x="134" y="175"/>
                  </a:lnTo>
                  <a:lnTo>
                    <a:pt x="127" y="177"/>
                  </a:lnTo>
                  <a:lnTo>
                    <a:pt x="120" y="179"/>
                  </a:lnTo>
                  <a:lnTo>
                    <a:pt x="112" y="180"/>
                  </a:lnTo>
                  <a:lnTo>
                    <a:pt x="105" y="180"/>
                  </a:lnTo>
                  <a:lnTo>
                    <a:pt x="105" y="180"/>
                  </a:lnTo>
                  <a:close/>
                  <a:moveTo>
                    <a:pt x="105" y="0"/>
                  </a:moveTo>
                  <a:lnTo>
                    <a:pt x="94" y="0"/>
                  </a:lnTo>
                  <a:lnTo>
                    <a:pt x="84" y="2"/>
                  </a:lnTo>
                  <a:lnTo>
                    <a:pt x="74" y="4"/>
                  </a:lnTo>
                  <a:lnTo>
                    <a:pt x="64" y="7"/>
                  </a:lnTo>
                  <a:lnTo>
                    <a:pt x="55" y="13"/>
                  </a:lnTo>
                  <a:lnTo>
                    <a:pt x="46" y="18"/>
                  </a:lnTo>
                  <a:lnTo>
                    <a:pt x="37" y="23"/>
                  </a:lnTo>
                  <a:lnTo>
                    <a:pt x="30" y="31"/>
                  </a:lnTo>
                  <a:lnTo>
                    <a:pt x="23" y="38"/>
                  </a:lnTo>
                  <a:lnTo>
                    <a:pt x="17" y="46"/>
                  </a:lnTo>
                  <a:lnTo>
                    <a:pt x="13" y="54"/>
                  </a:lnTo>
                  <a:lnTo>
                    <a:pt x="7" y="64"/>
                  </a:lnTo>
                  <a:lnTo>
                    <a:pt x="4" y="74"/>
                  </a:lnTo>
                  <a:lnTo>
                    <a:pt x="2" y="83"/>
                  </a:lnTo>
                  <a:lnTo>
                    <a:pt x="0" y="94"/>
                  </a:lnTo>
                  <a:lnTo>
                    <a:pt x="0" y="105"/>
                  </a:lnTo>
                  <a:lnTo>
                    <a:pt x="0" y="116"/>
                  </a:lnTo>
                  <a:lnTo>
                    <a:pt x="2" y="126"/>
                  </a:lnTo>
                  <a:lnTo>
                    <a:pt x="4" y="136"/>
                  </a:lnTo>
                  <a:lnTo>
                    <a:pt x="7" y="146"/>
                  </a:lnTo>
                  <a:lnTo>
                    <a:pt x="13" y="155"/>
                  </a:lnTo>
                  <a:lnTo>
                    <a:pt x="17" y="164"/>
                  </a:lnTo>
                  <a:lnTo>
                    <a:pt x="23" y="171"/>
                  </a:lnTo>
                  <a:lnTo>
                    <a:pt x="30" y="179"/>
                  </a:lnTo>
                  <a:lnTo>
                    <a:pt x="37" y="186"/>
                  </a:lnTo>
                  <a:lnTo>
                    <a:pt x="46" y="192"/>
                  </a:lnTo>
                  <a:lnTo>
                    <a:pt x="55" y="197"/>
                  </a:lnTo>
                  <a:lnTo>
                    <a:pt x="64" y="202"/>
                  </a:lnTo>
                  <a:lnTo>
                    <a:pt x="74" y="206"/>
                  </a:lnTo>
                  <a:lnTo>
                    <a:pt x="84" y="208"/>
                  </a:lnTo>
                  <a:lnTo>
                    <a:pt x="94" y="210"/>
                  </a:lnTo>
                  <a:lnTo>
                    <a:pt x="105" y="210"/>
                  </a:lnTo>
                  <a:lnTo>
                    <a:pt x="116" y="210"/>
                  </a:lnTo>
                  <a:lnTo>
                    <a:pt x="126" y="208"/>
                  </a:lnTo>
                  <a:lnTo>
                    <a:pt x="136" y="206"/>
                  </a:lnTo>
                  <a:lnTo>
                    <a:pt x="146" y="201"/>
                  </a:lnTo>
                  <a:lnTo>
                    <a:pt x="155" y="197"/>
                  </a:lnTo>
                  <a:lnTo>
                    <a:pt x="164" y="192"/>
                  </a:lnTo>
                  <a:lnTo>
                    <a:pt x="171" y="186"/>
                  </a:lnTo>
                  <a:lnTo>
                    <a:pt x="179" y="179"/>
                  </a:lnTo>
                  <a:lnTo>
                    <a:pt x="186" y="171"/>
                  </a:lnTo>
                  <a:lnTo>
                    <a:pt x="192" y="164"/>
                  </a:lnTo>
                  <a:lnTo>
                    <a:pt x="197" y="155"/>
                  </a:lnTo>
                  <a:lnTo>
                    <a:pt x="201" y="146"/>
                  </a:lnTo>
                  <a:lnTo>
                    <a:pt x="206" y="136"/>
                  </a:lnTo>
                  <a:lnTo>
                    <a:pt x="208" y="126"/>
                  </a:lnTo>
                  <a:lnTo>
                    <a:pt x="210" y="116"/>
                  </a:lnTo>
                  <a:lnTo>
                    <a:pt x="210" y="105"/>
                  </a:lnTo>
                  <a:lnTo>
                    <a:pt x="210" y="94"/>
                  </a:lnTo>
                  <a:lnTo>
                    <a:pt x="208" y="83"/>
                  </a:lnTo>
                  <a:lnTo>
                    <a:pt x="206" y="74"/>
                  </a:lnTo>
                  <a:lnTo>
                    <a:pt x="201" y="64"/>
                  </a:lnTo>
                  <a:lnTo>
                    <a:pt x="197" y="54"/>
                  </a:lnTo>
                  <a:lnTo>
                    <a:pt x="192" y="46"/>
                  </a:lnTo>
                  <a:lnTo>
                    <a:pt x="186" y="38"/>
                  </a:lnTo>
                  <a:lnTo>
                    <a:pt x="179" y="31"/>
                  </a:lnTo>
                  <a:lnTo>
                    <a:pt x="171" y="23"/>
                  </a:lnTo>
                  <a:lnTo>
                    <a:pt x="164" y="18"/>
                  </a:lnTo>
                  <a:lnTo>
                    <a:pt x="155" y="13"/>
                  </a:lnTo>
                  <a:lnTo>
                    <a:pt x="146" y="7"/>
                  </a:lnTo>
                  <a:lnTo>
                    <a:pt x="136" y="4"/>
                  </a:lnTo>
                  <a:lnTo>
                    <a:pt x="126" y="2"/>
                  </a:lnTo>
                  <a:lnTo>
                    <a:pt x="116"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123">
              <a:extLst>
                <a:ext uri="{FF2B5EF4-FFF2-40B4-BE49-F238E27FC236}">
                  <a16:creationId xmlns:a16="http://schemas.microsoft.com/office/drawing/2014/main" id="{B8D0052C-B185-485E-BB96-5258652CBB3F}"/>
                </a:ext>
              </a:extLst>
            </p:cNvPr>
            <p:cNvSpPr>
              <a:spLocks/>
            </p:cNvSpPr>
            <p:nvPr/>
          </p:nvSpPr>
          <p:spPr bwMode="auto">
            <a:xfrm>
              <a:off x="3822700" y="1571625"/>
              <a:ext cx="23813" cy="28575"/>
            </a:xfrm>
            <a:custGeom>
              <a:avLst/>
              <a:gdLst>
                <a:gd name="T0" fmla="*/ 0 w 75"/>
                <a:gd name="T1" fmla="*/ 90 h 90"/>
                <a:gd name="T2" fmla="*/ 75 w 75"/>
                <a:gd name="T3" fmla="*/ 45 h 90"/>
                <a:gd name="T4" fmla="*/ 0 w 75"/>
                <a:gd name="T5" fmla="*/ 0 h 90"/>
                <a:gd name="T6" fmla="*/ 0 w 75"/>
                <a:gd name="T7" fmla="*/ 90 h 90"/>
              </a:gdLst>
              <a:ahLst/>
              <a:cxnLst>
                <a:cxn ang="0">
                  <a:pos x="T0" y="T1"/>
                </a:cxn>
                <a:cxn ang="0">
                  <a:pos x="T2" y="T3"/>
                </a:cxn>
                <a:cxn ang="0">
                  <a:pos x="T4" y="T5"/>
                </a:cxn>
                <a:cxn ang="0">
                  <a:pos x="T6" y="T7"/>
                </a:cxn>
              </a:cxnLst>
              <a:rect l="0" t="0" r="r" b="b"/>
              <a:pathLst>
                <a:path w="75" h="90">
                  <a:moveTo>
                    <a:pt x="0" y="90"/>
                  </a:moveTo>
                  <a:lnTo>
                    <a:pt x="75" y="45"/>
                  </a:lnTo>
                  <a:lnTo>
                    <a:pt x="0" y="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Rectangle 124">
              <a:extLst>
                <a:ext uri="{FF2B5EF4-FFF2-40B4-BE49-F238E27FC236}">
                  <a16:creationId xmlns:a16="http://schemas.microsoft.com/office/drawing/2014/main" id="{16ADC7F2-F8F8-49C4-AC2E-93E14802CC7D}"/>
                </a:ext>
              </a:extLst>
            </p:cNvPr>
            <p:cNvSpPr>
              <a:spLocks noChangeArrowheads="1"/>
            </p:cNvSpPr>
            <p:nvPr/>
          </p:nvSpPr>
          <p:spPr bwMode="auto">
            <a:xfrm>
              <a:off x="37798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Rectangle 125">
              <a:extLst>
                <a:ext uri="{FF2B5EF4-FFF2-40B4-BE49-F238E27FC236}">
                  <a16:creationId xmlns:a16="http://schemas.microsoft.com/office/drawing/2014/main" id="{6F8B7E7F-A61B-4F95-A704-3A5C30CB3822}"/>
                </a:ext>
              </a:extLst>
            </p:cNvPr>
            <p:cNvSpPr>
              <a:spLocks noChangeArrowheads="1"/>
            </p:cNvSpPr>
            <p:nvPr/>
          </p:nvSpPr>
          <p:spPr bwMode="auto">
            <a:xfrm>
              <a:off x="37798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Rectangle 126">
              <a:extLst>
                <a:ext uri="{FF2B5EF4-FFF2-40B4-BE49-F238E27FC236}">
                  <a16:creationId xmlns:a16="http://schemas.microsoft.com/office/drawing/2014/main" id="{763B6293-8861-40C1-B7FE-8FDD9B5CA73B}"/>
                </a:ext>
              </a:extLst>
            </p:cNvPr>
            <p:cNvSpPr>
              <a:spLocks noChangeArrowheads="1"/>
            </p:cNvSpPr>
            <p:nvPr/>
          </p:nvSpPr>
          <p:spPr bwMode="auto">
            <a:xfrm>
              <a:off x="37798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Rectangle 127">
              <a:extLst>
                <a:ext uri="{FF2B5EF4-FFF2-40B4-BE49-F238E27FC236}">
                  <a16:creationId xmlns:a16="http://schemas.microsoft.com/office/drawing/2014/main" id="{28E5785B-F71E-4B4A-8BFE-0C2F57C593E6}"/>
                </a:ext>
              </a:extLst>
            </p:cNvPr>
            <p:cNvSpPr>
              <a:spLocks noChangeArrowheads="1"/>
            </p:cNvSpPr>
            <p:nvPr/>
          </p:nvSpPr>
          <p:spPr bwMode="auto">
            <a:xfrm>
              <a:off x="38179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Rectangle 128">
              <a:extLst>
                <a:ext uri="{FF2B5EF4-FFF2-40B4-BE49-F238E27FC236}">
                  <a16:creationId xmlns:a16="http://schemas.microsoft.com/office/drawing/2014/main" id="{EBF5D891-7588-4ACC-BA6F-AFC600692A5C}"/>
                </a:ext>
              </a:extLst>
            </p:cNvPr>
            <p:cNvSpPr>
              <a:spLocks noChangeArrowheads="1"/>
            </p:cNvSpPr>
            <p:nvPr/>
          </p:nvSpPr>
          <p:spPr bwMode="auto">
            <a:xfrm>
              <a:off x="38179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Rectangle 129">
              <a:extLst>
                <a:ext uri="{FF2B5EF4-FFF2-40B4-BE49-F238E27FC236}">
                  <a16:creationId xmlns:a16="http://schemas.microsoft.com/office/drawing/2014/main" id="{5CBD6F52-BF8D-49E5-8E93-2C51ADEB3861}"/>
                </a:ext>
              </a:extLst>
            </p:cNvPr>
            <p:cNvSpPr>
              <a:spLocks noChangeArrowheads="1"/>
            </p:cNvSpPr>
            <p:nvPr/>
          </p:nvSpPr>
          <p:spPr bwMode="auto">
            <a:xfrm>
              <a:off x="38179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Rectangle 130">
              <a:extLst>
                <a:ext uri="{FF2B5EF4-FFF2-40B4-BE49-F238E27FC236}">
                  <a16:creationId xmlns:a16="http://schemas.microsoft.com/office/drawing/2014/main" id="{CC907809-4003-4BFB-B5EB-E7AC774676F7}"/>
                </a:ext>
              </a:extLst>
            </p:cNvPr>
            <p:cNvSpPr>
              <a:spLocks noChangeArrowheads="1"/>
            </p:cNvSpPr>
            <p:nvPr/>
          </p:nvSpPr>
          <p:spPr bwMode="auto">
            <a:xfrm>
              <a:off x="3856038" y="14938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Rectangle 131">
              <a:extLst>
                <a:ext uri="{FF2B5EF4-FFF2-40B4-BE49-F238E27FC236}">
                  <a16:creationId xmlns:a16="http://schemas.microsoft.com/office/drawing/2014/main" id="{F937B635-1E1D-4C27-9EDD-AF32FA1CA825}"/>
                </a:ext>
              </a:extLst>
            </p:cNvPr>
            <p:cNvSpPr>
              <a:spLocks noChangeArrowheads="1"/>
            </p:cNvSpPr>
            <p:nvPr/>
          </p:nvSpPr>
          <p:spPr bwMode="auto">
            <a:xfrm>
              <a:off x="3856038" y="14747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Rectangle 132">
              <a:extLst>
                <a:ext uri="{FF2B5EF4-FFF2-40B4-BE49-F238E27FC236}">
                  <a16:creationId xmlns:a16="http://schemas.microsoft.com/office/drawing/2014/main" id="{1AE5E484-17D2-40A1-9368-3A5582563920}"/>
                </a:ext>
              </a:extLst>
            </p:cNvPr>
            <p:cNvSpPr>
              <a:spLocks noChangeArrowheads="1"/>
            </p:cNvSpPr>
            <p:nvPr/>
          </p:nvSpPr>
          <p:spPr bwMode="auto">
            <a:xfrm>
              <a:off x="3856038" y="14557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Rectangle 133">
              <a:extLst>
                <a:ext uri="{FF2B5EF4-FFF2-40B4-BE49-F238E27FC236}">
                  <a16:creationId xmlns:a16="http://schemas.microsoft.com/office/drawing/2014/main" id="{9E64A6B0-1B80-4026-B6F9-69D876598A53}"/>
                </a:ext>
              </a:extLst>
            </p:cNvPr>
            <p:cNvSpPr>
              <a:spLocks noChangeArrowheads="1"/>
            </p:cNvSpPr>
            <p:nvPr/>
          </p:nvSpPr>
          <p:spPr bwMode="auto">
            <a:xfrm>
              <a:off x="3779838" y="14366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Rectangle 134">
              <a:extLst>
                <a:ext uri="{FF2B5EF4-FFF2-40B4-BE49-F238E27FC236}">
                  <a16:creationId xmlns:a16="http://schemas.microsoft.com/office/drawing/2014/main" id="{927CAF7A-4E2D-4A2D-86A8-7D3E98D71EDC}"/>
                </a:ext>
              </a:extLst>
            </p:cNvPr>
            <p:cNvSpPr>
              <a:spLocks noChangeArrowheads="1"/>
            </p:cNvSpPr>
            <p:nvPr/>
          </p:nvSpPr>
          <p:spPr bwMode="auto">
            <a:xfrm>
              <a:off x="3856038" y="143668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Rectangle 135">
              <a:extLst>
                <a:ext uri="{FF2B5EF4-FFF2-40B4-BE49-F238E27FC236}">
                  <a16:creationId xmlns:a16="http://schemas.microsoft.com/office/drawing/2014/main" id="{CD44E2EC-EAA3-43FA-9FE4-FA4385BB6AB9}"/>
                </a:ext>
              </a:extLst>
            </p:cNvPr>
            <p:cNvSpPr>
              <a:spLocks noChangeArrowheads="1"/>
            </p:cNvSpPr>
            <p:nvPr/>
          </p:nvSpPr>
          <p:spPr bwMode="auto">
            <a:xfrm>
              <a:off x="3779838" y="1417638"/>
              <a:ext cx="285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136">
              <a:extLst>
                <a:ext uri="{FF2B5EF4-FFF2-40B4-BE49-F238E27FC236}">
                  <a16:creationId xmlns:a16="http://schemas.microsoft.com/office/drawing/2014/main" id="{1C57E793-636B-4DD3-A86C-54D980C855E4}"/>
                </a:ext>
              </a:extLst>
            </p:cNvPr>
            <p:cNvSpPr>
              <a:spLocks noEditPoints="1"/>
            </p:cNvSpPr>
            <p:nvPr/>
          </p:nvSpPr>
          <p:spPr bwMode="auto">
            <a:xfrm>
              <a:off x="3746500" y="1360488"/>
              <a:ext cx="285750" cy="287338"/>
            </a:xfrm>
            <a:custGeom>
              <a:avLst/>
              <a:gdLst>
                <a:gd name="T0" fmla="*/ 860 w 903"/>
                <a:gd name="T1" fmla="*/ 417 h 903"/>
                <a:gd name="T2" fmla="*/ 827 w 903"/>
                <a:gd name="T3" fmla="*/ 417 h 903"/>
                <a:gd name="T4" fmla="*/ 813 w 903"/>
                <a:gd name="T5" fmla="*/ 271 h 903"/>
                <a:gd name="T6" fmla="*/ 831 w 903"/>
                <a:gd name="T7" fmla="*/ 243 h 903"/>
                <a:gd name="T8" fmla="*/ 864 w 903"/>
                <a:gd name="T9" fmla="*/ 250 h 903"/>
                <a:gd name="T10" fmla="*/ 466 w 903"/>
                <a:gd name="T11" fmla="*/ 873 h 903"/>
                <a:gd name="T12" fmla="*/ 38 w 903"/>
                <a:gd name="T13" fmla="*/ 854 h 903"/>
                <a:gd name="T14" fmla="*/ 511 w 903"/>
                <a:gd name="T15" fmla="*/ 828 h 903"/>
                <a:gd name="T16" fmla="*/ 484 w 903"/>
                <a:gd name="T17" fmla="*/ 870 h 903"/>
                <a:gd name="T18" fmla="*/ 484 w 903"/>
                <a:gd name="T19" fmla="*/ 34 h 903"/>
                <a:gd name="T20" fmla="*/ 511 w 903"/>
                <a:gd name="T21" fmla="*/ 76 h 903"/>
                <a:gd name="T22" fmla="*/ 38 w 903"/>
                <a:gd name="T23" fmla="*/ 50 h 903"/>
                <a:gd name="T24" fmla="*/ 753 w 903"/>
                <a:gd name="T25" fmla="*/ 331 h 903"/>
                <a:gd name="T26" fmla="*/ 771 w 903"/>
                <a:gd name="T27" fmla="*/ 296 h 903"/>
                <a:gd name="T28" fmla="*/ 765 w 903"/>
                <a:gd name="T29" fmla="*/ 362 h 903"/>
                <a:gd name="T30" fmla="*/ 753 w 903"/>
                <a:gd name="T31" fmla="*/ 331 h 903"/>
                <a:gd name="T32" fmla="*/ 798 w 903"/>
                <a:gd name="T33" fmla="*/ 232 h 903"/>
                <a:gd name="T34" fmla="*/ 765 w 903"/>
                <a:gd name="T35" fmla="*/ 264 h 903"/>
                <a:gd name="T36" fmla="*/ 736 w 903"/>
                <a:gd name="T37" fmla="*/ 288 h 903"/>
                <a:gd name="T38" fmla="*/ 722 w 903"/>
                <a:gd name="T39" fmla="*/ 325 h 903"/>
                <a:gd name="T40" fmla="*/ 730 w 903"/>
                <a:gd name="T41" fmla="*/ 364 h 903"/>
                <a:gd name="T42" fmla="*/ 755 w 903"/>
                <a:gd name="T43" fmla="*/ 392 h 903"/>
                <a:gd name="T44" fmla="*/ 788 w 903"/>
                <a:gd name="T45" fmla="*/ 415 h 903"/>
                <a:gd name="T46" fmla="*/ 833 w 903"/>
                <a:gd name="T47" fmla="*/ 451 h 903"/>
                <a:gd name="T48" fmla="*/ 836 w 903"/>
                <a:gd name="T49" fmla="*/ 740 h 903"/>
                <a:gd name="T50" fmla="*/ 803 w 903"/>
                <a:gd name="T51" fmla="*/ 780 h 903"/>
                <a:gd name="T52" fmla="*/ 753 w 903"/>
                <a:gd name="T53" fmla="*/ 796 h 903"/>
                <a:gd name="T54" fmla="*/ 702 w 903"/>
                <a:gd name="T55" fmla="*/ 780 h 903"/>
                <a:gd name="T56" fmla="*/ 669 w 903"/>
                <a:gd name="T57" fmla="*/ 740 h 903"/>
                <a:gd name="T58" fmla="*/ 661 w 903"/>
                <a:gd name="T59" fmla="*/ 185 h 903"/>
                <a:gd name="T60" fmla="*/ 645 w 903"/>
                <a:gd name="T61" fmla="*/ 146 h 903"/>
                <a:gd name="T62" fmla="*/ 609 w 903"/>
                <a:gd name="T63" fmla="*/ 121 h 903"/>
                <a:gd name="T64" fmla="*/ 541 w 903"/>
                <a:gd name="T65" fmla="*/ 68 h 903"/>
                <a:gd name="T66" fmla="*/ 524 w 903"/>
                <a:gd name="T67" fmla="*/ 28 h 903"/>
                <a:gd name="T68" fmla="*/ 489 w 903"/>
                <a:gd name="T69" fmla="*/ 4 h 903"/>
                <a:gd name="T70" fmla="*/ 60 w 903"/>
                <a:gd name="T71" fmla="*/ 2 h 903"/>
                <a:gd name="T72" fmla="*/ 22 w 903"/>
                <a:gd name="T73" fmla="*/ 22 h 903"/>
                <a:gd name="T74" fmla="*/ 2 w 903"/>
                <a:gd name="T75" fmla="*/ 60 h 903"/>
                <a:gd name="T76" fmla="*/ 3 w 903"/>
                <a:gd name="T77" fmla="*/ 850 h 903"/>
                <a:gd name="T78" fmla="*/ 27 w 903"/>
                <a:gd name="T79" fmla="*/ 886 h 903"/>
                <a:gd name="T80" fmla="*/ 67 w 903"/>
                <a:gd name="T81" fmla="*/ 903 h 903"/>
                <a:gd name="T82" fmla="*/ 496 w 903"/>
                <a:gd name="T83" fmla="*/ 898 h 903"/>
                <a:gd name="T84" fmla="*/ 529 w 903"/>
                <a:gd name="T85" fmla="*/ 870 h 903"/>
                <a:gd name="T86" fmla="*/ 542 w 903"/>
                <a:gd name="T87" fmla="*/ 828 h 903"/>
                <a:gd name="T88" fmla="*/ 618 w 903"/>
                <a:gd name="T89" fmla="*/ 162 h 903"/>
                <a:gd name="T90" fmla="*/ 632 w 903"/>
                <a:gd name="T91" fmla="*/ 717 h 903"/>
                <a:gd name="T92" fmla="*/ 659 w 903"/>
                <a:gd name="T93" fmla="*/ 782 h 903"/>
                <a:gd name="T94" fmla="*/ 717 w 903"/>
                <a:gd name="T95" fmla="*/ 820 h 903"/>
                <a:gd name="T96" fmla="*/ 788 w 903"/>
                <a:gd name="T97" fmla="*/ 820 h 903"/>
                <a:gd name="T98" fmla="*/ 846 w 903"/>
                <a:gd name="T99" fmla="*/ 782 h 903"/>
                <a:gd name="T100" fmla="*/ 873 w 903"/>
                <a:gd name="T101" fmla="*/ 717 h 903"/>
                <a:gd name="T102" fmla="*/ 895 w 903"/>
                <a:gd name="T103" fmla="*/ 421 h 903"/>
                <a:gd name="T104" fmla="*/ 903 w 903"/>
                <a:gd name="T105" fmla="*/ 265 h 903"/>
                <a:gd name="T106" fmla="*/ 890 w 903"/>
                <a:gd name="T107" fmla="*/ 233 h 903"/>
                <a:gd name="T108" fmla="*/ 861 w 903"/>
                <a:gd name="T109" fmla="*/ 21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3" h="903">
                  <a:moveTo>
                    <a:pt x="873" y="391"/>
                  </a:moveTo>
                  <a:lnTo>
                    <a:pt x="873" y="398"/>
                  </a:lnTo>
                  <a:lnTo>
                    <a:pt x="870" y="403"/>
                  </a:lnTo>
                  <a:lnTo>
                    <a:pt x="867" y="409"/>
                  </a:lnTo>
                  <a:lnTo>
                    <a:pt x="864" y="413"/>
                  </a:lnTo>
                  <a:lnTo>
                    <a:pt x="860" y="417"/>
                  </a:lnTo>
                  <a:lnTo>
                    <a:pt x="854" y="419"/>
                  </a:lnTo>
                  <a:lnTo>
                    <a:pt x="849" y="421"/>
                  </a:lnTo>
                  <a:lnTo>
                    <a:pt x="843" y="421"/>
                  </a:lnTo>
                  <a:lnTo>
                    <a:pt x="837" y="421"/>
                  </a:lnTo>
                  <a:lnTo>
                    <a:pt x="831" y="419"/>
                  </a:lnTo>
                  <a:lnTo>
                    <a:pt x="827" y="417"/>
                  </a:lnTo>
                  <a:lnTo>
                    <a:pt x="821" y="413"/>
                  </a:lnTo>
                  <a:lnTo>
                    <a:pt x="818" y="409"/>
                  </a:lnTo>
                  <a:lnTo>
                    <a:pt x="815" y="403"/>
                  </a:lnTo>
                  <a:lnTo>
                    <a:pt x="814" y="398"/>
                  </a:lnTo>
                  <a:lnTo>
                    <a:pt x="813" y="391"/>
                  </a:lnTo>
                  <a:lnTo>
                    <a:pt x="813" y="271"/>
                  </a:lnTo>
                  <a:lnTo>
                    <a:pt x="814" y="265"/>
                  </a:lnTo>
                  <a:lnTo>
                    <a:pt x="815" y="259"/>
                  </a:lnTo>
                  <a:lnTo>
                    <a:pt x="818" y="254"/>
                  </a:lnTo>
                  <a:lnTo>
                    <a:pt x="821" y="250"/>
                  </a:lnTo>
                  <a:lnTo>
                    <a:pt x="827" y="247"/>
                  </a:lnTo>
                  <a:lnTo>
                    <a:pt x="831" y="243"/>
                  </a:lnTo>
                  <a:lnTo>
                    <a:pt x="837" y="241"/>
                  </a:lnTo>
                  <a:lnTo>
                    <a:pt x="843" y="241"/>
                  </a:lnTo>
                  <a:lnTo>
                    <a:pt x="849" y="241"/>
                  </a:lnTo>
                  <a:lnTo>
                    <a:pt x="854" y="243"/>
                  </a:lnTo>
                  <a:lnTo>
                    <a:pt x="860" y="247"/>
                  </a:lnTo>
                  <a:lnTo>
                    <a:pt x="864" y="250"/>
                  </a:lnTo>
                  <a:lnTo>
                    <a:pt x="867" y="254"/>
                  </a:lnTo>
                  <a:lnTo>
                    <a:pt x="870" y="259"/>
                  </a:lnTo>
                  <a:lnTo>
                    <a:pt x="873" y="265"/>
                  </a:lnTo>
                  <a:lnTo>
                    <a:pt x="873" y="271"/>
                  </a:lnTo>
                  <a:lnTo>
                    <a:pt x="873" y="391"/>
                  </a:lnTo>
                  <a:close/>
                  <a:moveTo>
                    <a:pt x="466" y="873"/>
                  </a:moveTo>
                  <a:lnTo>
                    <a:pt x="75" y="873"/>
                  </a:lnTo>
                  <a:lnTo>
                    <a:pt x="66" y="872"/>
                  </a:lnTo>
                  <a:lnTo>
                    <a:pt x="58" y="870"/>
                  </a:lnTo>
                  <a:lnTo>
                    <a:pt x="50" y="866"/>
                  </a:lnTo>
                  <a:lnTo>
                    <a:pt x="44" y="860"/>
                  </a:lnTo>
                  <a:lnTo>
                    <a:pt x="38" y="854"/>
                  </a:lnTo>
                  <a:lnTo>
                    <a:pt x="34" y="846"/>
                  </a:lnTo>
                  <a:lnTo>
                    <a:pt x="31" y="838"/>
                  </a:lnTo>
                  <a:lnTo>
                    <a:pt x="30" y="828"/>
                  </a:lnTo>
                  <a:lnTo>
                    <a:pt x="30" y="543"/>
                  </a:lnTo>
                  <a:lnTo>
                    <a:pt x="511" y="543"/>
                  </a:lnTo>
                  <a:lnTo>
                    <a:pt x="511" y="828"/>
                  </a:lnTo>
                  <a:lnTo>
                    <a:pt x="511" y="838"/>
                  </a:lnTo>
                  <a:lnTo>
                    <a:pt x="508" y="846"/>
                  </a:lnTo>
                  <a:lnTo>
                    <a:pt x="504" y="854"/>
                  </a:lnTo>
                  <a:lnTo>
                    <a:pt x="498" y="860"/>
                  </a:lnTo>
                  <a:lnTo>
                    <a:pt x="492" y="866"/>
                  </a:lnTo>
                  <a:lnTo>
                    <a:pt x="484" y="870"/>
                  </a:lnTo>
                  <a:lnTo>
                    <a:pt x="476" y="872"/>
                  </a:lnTo>
                  <a:lnTo>
                    <a:pt x="466" y="873"/>
                  </a:lnTo>
                  <a:close/>
                  <a:moveTo>
                    <a:pt x="75" y="30"/>
                  </a:moveTo>
                  <a:lnTo>
                    <a:pt x="466" y="30"/>
                  </a:lnTo>
                  <a:lnTo>
                    <a:pt x="476" y="31"/>
                  </a:lnTo>
                  <a:lnTo>
                    <a:pt x="484" y="34"/>
                  </a:lnTo>
                  <a:lnTo>
                    <a:pt x="492" y="39"/>
                  </a:lnTo>
                  <a:lnTo>
                    <a:pt x="498" y="44"/>
                  </a:lnTo>
                  <a:lnTo>
                    <a:pt x="504" y="50"/>
                  </a:lnTo>
                  <a:lnTo>
                    <a:pt x="508" y="58"/>
                  </a:lnTo>
                  <a:lnTo>
                    <a:pt x="511" y="66"/>
                  </a:lnTo>
                  <a:lnTo>
                    <a:pt x="511" y="76"/>
                  </a:lnTo>
                  <a:lnTo>
                    <a:pt x="511" y="512"/>
                  </a:lnTo>
                  <a:lnTo>
                    <a:pt x="30" y="512"/>
                  </a:lnTo>
                  <a:lnTo>
                    <a:pt x="30" y="75"/>
                  </a:lnTo>
                  <a:lnTo>
                    <a:pt x="31" y="66"/>
                  </a:lnTo>
                  <a:lnTo>
                    <a:pt x="34" y="58"/>
                  </a:lnTo>
                  <a:lnTo>
                    <a:pt x="38" y="50"/>
                  </a:lnTo>
                  <a:lnTo>
                    <a:pt x="44" y="44"/>
                  </a:lnTo>
                  <a:lnTo>
                    <a:pt x="50" y="39"/>
                  </a:lnTo>
                  <a:lnTo>
                    <a:pt x="58" y="34"/>
                  </a:lnTo>
                  <a:lnTo>
                    <a:pt x="66" y="31"/>
                  </a:lnTo>
                  <a:lnTo>
                    <a:pt x="75" y="30"/>
                  </a:lnTo>
                  <a:close/>
                  <a:moveTo>
                    <a:pt x="753" y="331"/>
                  </a:moveTo>
                  <a:lnTo>
                    <a:pt x="754" y="324"/>
                  </a:lnTo>
                  <a:lnTo>
                    <a:pt x="755" y="317"/>
                  </a:lnTo>
                  <a:lnTo>
                    <a:pt x="758" y="311"/>
                  </a:lnTo>
                  <a:lnTo>
                    <a:pt x="761" y="306"/>
                  </a:lnTo>
                  <a:lnTo>
                    <a:pt x="765" y="300"/>
                  </a:lnTo>
                  <a:lnTo>
                    <a:pt x="771" y="296"/>
                  </a:lnTo>
                  <a:lnTo>
                    <a:pt x="776" y="292"/>
                  </a:lnTo>
                  <a:lnTo>
                    <a:pt x="783" y="290"/>
                  </a:lnTo>
                  <a:lnTo>
                    <a:pt x="783" y="374"/>
                  </a:lnTo>
                  <a:lnTo>
                    <a:pt x="776" y="371"/>
                  </a:lnTo>
                  <a:lnTo>
                    <a:pt x="771" y="368"/>
                  </a:lnTo>
                  <a:lnTo>
                    <a:pt x="765" y="362"/>
                  </a:lnTo>
                  <a:lnTo>
                    <a:pt x="761" y="358"/>
                  </a:lnTo>
                  <a:lnTo>
                    <a:pt x="758" y="352"/>
                  </a:lnTo>
                  <a:lnTo>
                    <a:pt x="755" y="345"/>
                  </a:lnTo>
                  <a:lnTo>
                    <a:pt x="754" y="339"/>
                  </a:lnTo>
                  <a:lnTo>
                    <a:pt x="753" y="331"/>
                  </a:lnTo>
                  <a:lnTo>
                    <a:pt x="753" y="331"/>
                  </a:lnTo>
                  <a:close/>
                  <a:moveTo>
                    <a:pt x="843" y="211"/>
                  </a:moveTo>
                  <a:lnTo>
                    <a:pt x="833" y="212"/>
                  </a:lnTo>
                  <a:lnTo>
                    <a:pt x="822" y="214"/>
                  </a:lnTo>
                  <a:lnTo>
                    <a:pt x="814" y="219"/>
                  </a:lnTo>
                  <a:lnTo>
                    <a:pt x="805" y="224"/>
                  </a:lnTo>
                  <a:lnTo>
                    <a:pt x="798" y="232"/>
                  </a:lnTo>
                  <a:lnTo>
                    <a:pt x="792" y="239"/>
                  </a:lnTo>
                  <a:lnTo>
                    <a:pt x="788" y="248"/>
                  </a:lnTo>
                  <a:lnTo>
                    <a:pt x="785" y="257"/>
                  </a:lnTo>
                  <a:lnTo>
                    <a:pt x="778" y="259"/>
                  </a:lnTo>
                  <a:lnTo>
                    <a:pt x="772" y="261"/>
                  </a:lnTo>
                  <a:lnTo>
                    <a:pt x="765" y="264"/>
                  </a:lnTo>
                  <a:lnTo>
                    <a:pt x="760" y="267"/>
                  </a:lnTo>
                  <a:lnTo>
                    <a:pt x="755" y="270"/>
                  </a:lnTo>
                  <a:lnTo>
                    <a:pt x="749" y="273"/>
                  </a:lnTo>
                  <a:lnTo>
                    <a:pt x="745" y="279"/>
                  </a:lnTo>
                  <a:lnTo>
                    <a:pt x="741" y="283"/>
                  </a:lnTo>
                  <a:lnTo>
                    <a:pt x="736" y="288"/>
                  </a:lnTo>
                  <a:lnTo>
                    <a:pt x="733" y="294"/>
                  </a:lnTo>
                  <a:lnTo>
                    <a:pt x="730" y="299"/>
                  </a:lnTo>
                  <a:lnTo>
                    <a:pt x="727" y="306"/>
                  </a:lnTo>
                  <a:lnTo>
                    <a:pt x="725" y="311"/>
                  </a:lnTo>
                  <a:lnTo>
                    <a:pt x="724" y="318"/>
                  </a:lnTo>
                  <a:lnTo>
                    <a:pt x="722" y="325"/>
                  </a:lnTo>
                  <a:lnTo>
                    <a:pt x="722" y="331"/>
                  </a:lnTo>
                  <a:lnTo>
                    <a:pt x="722" y="338"/>
                  </a:lnTo>
                  <a:lnTo>
                    <a:pt x="724" y="345"/>
                  </a:lnTo>
                  <a:lnTo>
                    <a:pt x="725" y="352"/>
                  </a:lnTo>
                  <a:lnTo>
                    <a:pt x="727" y="358"/>
                  </a:lnTo>
                  <a:lnTo>
                    <a:pt x="730" y="364"/>
                  </a:lnTo>
                  <a:lnTo>
                    <a:pt x="733" y="369"/>
                  </a:lnTo>
                  <a:lnTo>
                    <a:pt x="736" y="375"/>
                  </a:lnTo>
                  <a:lnTo>
                    <a:pt x="741" y="380"/>
                  </a:lnTo>
                  <a:lnTo>
                    <a:pt x="745" y="385"/>
                  </a:lnTo>
                  <a:lnTo>
                    <a:pt x="749" y="389"/>
                  </a:lnTo>
                  <a:lnTo>
                    <a:pt x="755" y="392"/>
                  </a:lnTo>
                  <a:lnTo>
                    <a:pt x="760" y="397"/>
                  </a:lnTo>
                  <a:lnTo>
                    <a:pt x="765" y="399"/>
                  </a:lnTo>
                  <a:lnTo>
                    <a:pt x="772" y="402"/>
                  </a:lnTo>
                  <a:lnTo>
                    <a:pt x="778" y="404"/>
                  </a:lnTo>
                  <a:lnTo>
                    <a:pt x="785" y="405"/>
                  </a:lnTo>
                  <a:lnTo>
                    <a:pt x="788" y="415"/>
                  </a:lnTo>
                  <a:lnTo>
                    <a:pt x="792" y="424"/>
                  </a:lnTo>
                  <a:lnTo>
                    <a:pt x="798" y="432"/>
                  </a:lnTo>
                  <a:lnTo>
                    <a:pt x="805" y="439"/>
                  </a:lnTo>
                  <a:lnTo>
                    <a:pt x="814" y="444"/>
                  </a:lnTo>
                  <a:lnTo>
                    <a:pt x="822" y="448"/>
                  </a:lnTo>
                  <a:lnTo>
                    <a:pt x="833" y="451"/>
                  </a:lnTo>
                  <a:lnTo>
                    <a:pt x="843" y="451"/>
                  </a:lnTo>
                  <a:lnTo>
                    <a:pt x="843" y="706"/>
                  </a:lnTo>
                  <a:lnTo>
                    <a:pt x="843" y="714"/>
                  </a:lnTo>
                  <a:lnTo>
                    <a:pt x="842" y="724"/>
                  </a:lnTo>
                  <a:lnTo>
                    <a:pt x="838" y="733"/>
                  </a:lnTo>
                  <a:lnTo>
                    <a:pt x="836" y="740"/>
                  </a:lnTo>
                  <a:lnTo>
                    <a:pt x="832" y="749"/>
                  </a:lnTo>
                  <a:lnTo>
                    <a:pt x="828" y="756"/>
                  </a:lnTo>
                  <a:lnTo>
                    <a:pt x="822" y="763"/>
                  </a:lnTo>
                  <a:lnTo>
                    <a:pt x="817" y="769"/>
                  </a:lnTo>
                  <a:lnTo>
                    <a:pt x="810" y="775"/>
                  </a:lnTo>
                  <a:lnTo>
                    <a:pt x="803" y="780"/>
                  </a:lnTo>
                  <a:lnTo>
                    <a:pt x="795" y="785"/>
                  </a:lnTo>
                  <a:lnTo>
                    <a:pt x="788" y="788"/>
                  </a:lnTo>
                  <a:lnTo>
                    <a:pt x="779" y="791"/>
                  </a:lnTo>
                  <a:lnTo>
                    <a:pt x="771" y="794"/>
                  </a:lnTo>
                  <a:lnTo>
                    <a:pt x="762" y="795"/>
                  </a:lnTo>
                  <a:lnTo>
                    <a:pt x="753" y="796"/>
                  </a:lnTo>
                  <a:lnTo>
                    <a:pt x="743" y="795"/>
                  </a:lnTo>
                  <a:lnTo>
                    <a:pt x="734" y="794"/>
                  </a:lnTo>
                  <a:lnTo>
                    <a:pt x="726" y="791"/>
                  </a:lnTo>
                  <a:lnTo>
                    <a:pt x="717" y="788"/>
                  </a:lnTo>
                  <a:lnTo>
                    <a:pt x="710" y="785"/>
                  </a:lnTo>
                  <a:lnTo>
                    <a:pt x="702" y="780"/>
                  </a:lnTo>
                  <a:lnTo>
                    <a:pt x="695" y="775"/>
                  </a:lnTo>
                  <a:lnTo>
                    <a:pt x="688" y="769"/>
                  </a:lnTo>
                  <a:lnTo>
                    <a:pt x="683" y="763"/>
                  </a:lnTo>
                  <a:lnTo>
                    <a:pt x="677" y="756"/>
                  </a:lnTo>
                  <a:lnTo>
                    <a:pt x="673" y="749"/>
                  </a:lnTo>
                  <a:lnTo>
                    <a:pt x="669" y="740"/>
                  </a:lnTo>
                  <a:lnTo>
                    <a:pt x="667" y="733"/>
                  </a:lnTo>
                  <a:lnTo>
                    <a:pt x="665" y="724"/>
                  </a:lnTo>
                  <a:lnTo>
                    <a:pt x="662" y="714"/>
                  </a:lnTo>
                  <a:lnTo>
                    <a:pt x="662" y="706"/>
                  </a:lnTo>
                  <a:lnTo>
                    <a:pt x="662" y="193"/>
                  </a:lnTo>
                  <a:lnTo>
                    <a:pt x="661" y="185"/>
                  </a:lnTo>
                  <a:lnTo>
                    <a:pt x="660" y="178"/>
                  </a:lnTo>
                  <a:lnTo>
                    <a:pt x="659" y="172"/>
                  </a:lnTo>
                  <a:lnTo>
                    <a:pt x="656" y="164"/>
                  </a:lnTo>
                  <a:lnTo>
                    <a:pt x="653" y="158"/>
                  </a:lnTo>
                  <a:lnTo>
                    <a:pt x="650" y="151"/>
                  </a:lnTo>
                  <a:lnTo>
                    <a:pt x="645" y="146"/>
                  </a:lnTo>
                  <a:lnTo>
                    <a:pt x="640" y="140"/>
                  </a:lnTo>
                  <a:lnTo>
                    <a:pt x="635" y="135"/>
                  </a:lnTo>
                  <a:lnTo>
                    <a:pt x="629" y="131"/>
                  </a:lnTo>
                  <a:lnTo>
                    <a:pt x="623" y="128"/>
                  </a:lnTo>
                  <a:lnTo>
                    <a:pt x="616" y="124"/>
                  </a:lnTo>
                  <a:lnTo>
                    <a:pt x="609" y="121"/>
                  </a:lnTo>
                  <a:lnTo>
                    <a:pt x="602" y="120"/>
                  </a:lnTo>
                  <a:lnTo>
                    <a:pt x="595" y="119"/>
                  </a:lnTo>
                  <a:lnTo>
                    <a:pt x="587" y="118"/>
                  </a:lnTo>
                  <a:lnTo>
                    <a:pt x="542" y="118"/>
                  </a:lnTo>
                  <a:lnTo>
                    <a:pt x="542" y="75"/>
                  </a:lnTo>
                  <a:lnTo>
                    <a:pt x="541" y="68"/>
                  </a:lnTo>
                  <a:lnTo>
                    <a:pt x="540" y="60"/>
                  </a:lnTo>
                  <a:lnTo>
                    <a:pt x="538" y="54"/>
                  </a:lnTo>
                  <a:lnTo>
                    <a:pt x="536" y="46"/>
                  </a:lnTo>
                  <a:lnTo>
                    <a:pt x="533" y="40"/>
                  </a:lnTo>
                  <a:lnTo>
                    <a:pt x="529" y="33"/>
                  </a:lnTo>
                  <a:lnTo>
                    <a:pt x="524" y="28"/>
                  </a:lnTo>
                  <a:lnTo>
                    <a:pt x="520" y="22"/>
                  </a:lnTo>
                  <a:lnTo>
                    <a:pt x="514" y="17"/>
                  </a:lnTo>
                  <a:lnTo>
                    <a:pt x="509" y="13"/>
                  </a:lnTo>
                  <a:lnTo>
                    <a:pt x="503" y="10"/>
                  </a:lnTo>
                  <a:lnTo>
                    <a:pt x="496" y="6"/>
                  </a:lnTo>
                  <a:lnTo>
                    <a:pt x="489" y="4"/>
                  </a:lnTo>
                  <a:lnTo>
                    <a:pt x="481" y="2"/>
                  </a:lnTo>
                  <a:lnTo>
                    <a:pt x="475" y="1"/>
                  </a:lnTo>
                  <a:lnTo>
                    <a:pt x="466" y="0"/>
                  </a:lnTo>
                  <a:lnTo>
                    <a:pt x="75" y="0"/>
                  </a:lnTo>
                  <a:lnTo>
                    <a:pt x="67" y="1"/>
                  </a:lnTo>
                  <a:lnTo>
                    <a:pt x="60" y="2"/>
                  </a:lnTo>
                  <a:lnTo>
                    <a:pt x="53" y="3"/>
                  </a:lnTo>
                  <a:lnTo>
                    <a:pt x="46" y="6"/>
                  </a:lnTo>
                  <a:lnTo>
                    <a:pt x="39" y="10"/>
                  </a:lnTo>
                  <a:lnTo>
                    <a:pt x="33" y="13"/>
                  </a:lnTo>
                  <a:lnTo>
                    <a:pt x="27" y="17"/>
                  </a:lnTo>
                  <a:lnTo>
                    <a:pt x="22" y="22"/>
                  </a:lnTo>
                  <a:lnTo>
                    <a:pt x="17" y="28"/>
                  </a:lnTo>
                  <a:lnTo>
                    <a:pt x="12" y="33"/>
                  </a:lnTo>
                  <a:lnTo>
                    <a:pt x="9" y="40"/>
                  </a:lnTo>
                  <a:lnTo>
                    <a:pt x="6" y="46"/>
                  </a:lnTo>
                  <a:lnTo>
                    <a:pt x="3" y="54"/>
                  </a:lnTo>
                  <a:lnTo>
                    <a:pt x="2" y="60"/>
                  </a:lnTo>
                  <a:lnTo>
                    <a:pt x="1" y="68"/>
                  </a:lnTo>
                  <a:lnTo>
                    <a:pt x="0" y="76"/>
                  </a:lnTo>
                  <a:lnTo>
                    <a:pt x="0" y="828"/>
                  </a:lnTo>
                  <a:lnTo>
                    <a:pt x="1" y="835"/>
                  </a:lnTo>
                  <a:lnTo>
                    <a:pt x="2" y="843"/>
                  </a:lnTo>
                  <a:lnTo>
                    <a:pt x="3" y="850"/>
                  </a:lnTo>
                  <a:lnTo>
                    <a:pt x="6" y="857"/>
                  </a:lnTo>
                  <a:lnTo>
                    <a:pt x="9" y="864"/>
                  </a:lnTo>
                  <a:lnTo>
                    <a:pt x="12" y="870"/>
                  </a:lnTo>
                  <a:lnTo>
                    <a:pt x="17" y="876"/>
                  </a:lnTo>
                  <a:lnTo>
                    <a:pt x="22" y="882"/>
                  </a:lnTo>
                  <a:lnTo>
                    <a:pt x="27" y="886"/>
                  </a:lnTo>
                  <a:lnTo>
                    <a:pt x="33" y="890"/>
                  </a:lnTo>
                  <a:lnTo>
                    <a:pt x="39" y="894"/>
                  </a:lnTo>
                  <a:lnTo>
                    <a:pt x="46" y="898"/>
                  </a:lnTo>
                  <a:lnTo>
                    <a:pt x="53" y="900"/>
                  </a:lnTo>
                  <a:lnTo>
                    <a:pt x="60" y="902"/>
                  </a:lnTo>
                  <a:lnTo>
                    <a:pt x="67" y="903"/>
                  </a:lnTo>
                  <a:lnTo>
                    <a:pt x="75" y="903"/>
                  </a:lnTo>
                  <a:lnTo>
                    <a:pt x="466" y="903"/>
                  </a:lnTo>
                  <a:lnTo>
                    <a:pt x="475" y="903"/>
                  </a:lnTo>
                  <a:lnTo>
                    <a:pt x="481" y="902"/>
                  </a:lnTo>
                  <a:lnTo>
                    <a:pt x="489" y="900"/>
                  </a:lnTo>
                  <a:lnTo>
                    <a:pt x="496" y="898"/>
                  </a:lnTo>
                  <a:lnTo>
                    <a:pt x="503" y="894"/>
                  </a:lnTo>
                  <a:lnTo>
                    <a:pt x="509" y="890"/>
                  </a:lnTo>
                  <a:lnTo>
                    <a:pt x="514" y="886"/>
                  </a:lnTo>
                  <a:lnTo>
                    <a:pt x="520" y="882"/>
                  </a:lnTo>
                  <a:lnTo>
                    <a:pt x="524" y="876"/>
                  </a:lnTo>
                  <a:lnTo>
                    <a:pt x="529" y="870"/>
                  </a:lnTo>
                  <a:lnTo>
                    <a:pt x="533" y="864"/>
                  </a:lnTo>
                  <a:lnTo>
                    <a:pt x="536" y="858"/>
                  </a:lnTo>
                  <a:lnTo>
                    <a:pt x="538" y="850"/>
                  </a:lnTo>
                  <a:lnTo>
                    <a:pt x="540" y="843"/>
                  </a:lnTo>
                  <a:lnTo>
                    <a:pt x="541" y="835"/>
                  </a:lnTo>
                  <a:lnTo>
                    <a:pt x="542" y="828"/>
                  </a:lnTo>
                  <a:lnTo>
                    <a:pt x="542" y="148"/>
                  </a:lnTo>
                  <a:lnTo>
                    <a:pt x="587" y="148"/>
                  </a:lnTo>
                  <a:lnTo>
                    <a:pt x="596" y="149"/>
                  </a:lnTo>
                  <a:lnTo>
                    <a:pt x="605" y="152"/>
                  </a:lnTo>
                  <a:lnTo>
                    <a:pt x="612" y="157"/>
                  </a:lnTo>
                  <a:lnTo>
                    <a:pt x="618" y="162"/>
                  </a:lnTo>
                  <a:lnTo>
                    <a:pt x="625" y="168"/>
                  </a:lnTo>
                  <a:lnTo>
                    <a:pt x="628" y="176"/>
                  </a:lnTo>
                  <a:lnTo>
                    <a:pt x="631" y="184"/>
                  </a:lnTo>
                  <a:lnTo>
                    <a:pt x="632" y="193"/>
                  </a:lnTo>
                  <a:lnTo>
                    <a:pt x="632" y="706"/>
                  </a:lnTo>
                  <a:lnTo>
                    <a:pt x="632" y="717"/>
                  </a:lnTo>
                  <a:lnTo>
                    <a:pt x="635" y="729"/>
                  </a:lnTo>
                  <a:lnTo>
                    <a:pt x="638" y="741"/>
                  </a:lnTo>
                  <a:lnTo>
                    <a:pt x="642" y="752"/>
                  </a:lnTo>
                  <a:lnTo>
                    <a:pt x="646" y="763"/>
                  </a:lnTo>
                  <a:lnTo>
                    <a:pt x="653" y="772"/>
                  </a:lnTo>
                  <a:lnTo>
                    <a:pt x="659" y="782"/>
                  </a:lnTo>
                  <a:lnTo>
                    <a:pt x="668" y="790"/>
                  </a:lnTo>
                  <a:lnTo>
                    <a:pt x="676" y="798"/>
                  </a:lnTo>
                  <a:lnTo>
                    <a:pt x="685" y="805"/>
                  </a:lnTo>
                  <a:lnTo>
                    <a:pt x="696" y="811"/>
                  </a:lnTo>
                  <a:lnTo>
                    <a:pt x="705" y="816"/>
                  </a:lnTo>
                  <a:lnTo>
                    <a:pt x="717" y="820"/>
                  </a:lnTo>
                  <a:lnTo>
                    <a:pt x="728" y="824"/>
                  </a:lnTo>
                  <a:lnTo>
                    <a:pt x="741" y="825"/>
                  </a:lnTo>
                  <a:lnTo>
                    <a:pt x="753" y="826"/>
                  </a:lnTo>
                  <a:lnTo>
                    <a:pt x="764" y="825"/>
                  </a:lnTo>
                  <a:lnTo>
                    <a:pt x="777" y="824"/>
                  </a:lnTo>
                  <a:lnTo>
                    <a:pt x="788" y="820"/>
                  </a:lnTo>
                  <a:lnTo>
                    <a:pt x="800" y="816"/>
                  </a:lnTo>
                  <a:lnTo>
                    <a:pt x="809" y="811"/>
                  </a:lnTo>
                  <a:lnTo>
                    <a:pt x="820" y="805"/>
                  </a:lnTo>
                  <a:lnTo>
                    <a:pt x="829" y="798"/>
                  </a:lnTo>
                  <a:lnTo>
                    <a:pt x="837" y="790"/>
                  </a:lnTo>
                  <a:lnTo>
                    <a:pt x="846" y="782"/>
                  </a:lnTo>
                  <a:lnTo>
                    <a:pt x="852" y="772"/>
                  </a:lnTo>
                  <a:lnTo>
                    <a:pt x="859" y="763"/>
                  </a:lnTo>
                  <a:lnTo>
                    <a:pt x="863" y="752"/>
                  </a:lnTo>
                  <a:lnTo>
                    <a:pt x="867" y="741"/>
                  </a:lnTo>
                  <a:lnTo>
                    <a:pt x="870" y="729"/>
                  </a:lnTo>
                  <a:lnTo>
                    <a:pt x="873" y="717"/>
                  </a:lnTo>
                  <a:lnTo>
                    <a:pt x="873" y="706"/>
                  </a:lnTo>
                  <a:lnTo>
                    <a:pt x="873" y="444"/>
                  </a:lnTo>
                  <a:lnTo>
                    <a:pt x="879" y="440"/>
                  </a:lnTo>
                  <a:lnTo>
                    <a:pt x="885" y="434"/>
                  </a:lnTo>
                  <a:lnTo>
                    <a:pt x="891" y="428"/>
                  </a:lnTo>
                  <a:lnTo>
                    <a:pt x="895" y="421"/>
                  </a:lnTo>
                  <a:lnTo>
                    <a:pt x="898" y="415"/>
                  </a:lnTo>
                  <a:lnTo>
                    <a:pt x="901" y="408"/>
                  </a:lnTo>
                  <a:lnTo>
                    <a:pt x="903" y="400"/>
                  </a:lnTo>
                  <a:lnTo>
                    <a:pt x="903" y="391"/>
                  </a:lnTo>
                  <a:lnTo>
                    <a:pt x="903" y="271"/>
                  </a:lnTo>
                  <a:lnTo>
                    <a:pt x="903" y="265"/>
                  </a:lnTo>
                  <a:lnTo>
                    <a:pt x="902" y="259"/>
                  </a:lnTo>
                  <a:lnTo>
                    <a:pt x="901" y="253"/>
                  </a:lnTo>
                  <a:lnTo>
                    <a:pt x="898" y="248"/>
                  </a:lnTo>
                  <a:lnTo>
                    <a:pt x="896" y="242"/>
                  </a:lnTo>
                  <a:lnTo>
                    <a:pt x="893" y="238"/>
                  </a:lnTo>
                  <a:lnTo>
                    <a:pt x="890" y="233"/>
                  </a:lnTo>
                  <a:lnTo>
                    <a:pt x="885" y="228"/>
                  </a:lnTo>
                  <a:lnTo>
                    <a:pt x="881" y="225"/>
                  </a:lnTo>
                  <a:lnTo>
                    <a:pt x="877" y="221"/>
                  </a:lnTo>
                  <a:lnTo>
                    <a:pt x="872" y="219"/>
                  </a:lnTo>
                  <a:lnTo>
                    <a:pt x="866" y="216"/>
                  </a:lnTo>
                  <a:lnTo>
                    <a:pt x="861" y="213"/>
                  </a:lnTo>
                  <a:lnTo>
                    <a:pt x="855" y="212"/>
                  </a:lnTo>
                  <a:lnTo>
                    <a:pt x="849" y="211"/>
                  </a:lnTo>
                  <a:lnTo>
                    <a:pt x="843" y="211"/>
                  </a:lnTo>
                  <a:lnTo>
                    <a:pt x="843"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72" name="Group 112">
            <a:extLst>
              <a:ext uri="{FF2B5EF4-FFF2-40B4-BE49-F238E27FC236}">
                <a16:creationId xmlns:a16="http://schemas.microsoft.com/office/drawing/2014/main" id="{CF55676A-DFD7-48B8-9CBC-FB8A4528E3ED}"/>
              </a:ext>
            </a:extLst>
          </p:cNvPr>
          <p:cNvGrpSpPr>
            <a:grpSpLocks noChangeAspect="1"/>
          </p:cNvGrpSpPr>
          <p:nvPr/>
        </p:nvGrpSpPr>
        <p:grpSpPr>
          <a:xfrm>
            <a:off x="3201842" y="5956111"/>
            <a:ext cx="287206" cy="285619"/>
            <a:chOff x="4892675" y="1935163"/>
            <a:chExt cx="287338" cy="285750"/>
          </a:xfrm>
          <a:solidFill>
            <a:schemeClr val="bg1"/>
          </a:solidFill>
          <a:effectLst/>
        </p:grpSpPr>
        <p:sp>
          <p:nvSpPr>
            <p:cNvPr id="1373" name="Freeform 234">
              <a:extLst>
                <a:ext uri="{FF2B5EF4-FFF2-40B4-BE49-F238E27FC236}">
                  <a16:creationId xmlns:a16="http://schemas.microsoft.com/office/drawing/2014/main" id="{79C3E6FA-148B-42FA-B092-0B20E41A6E6C}"/>
                </a:ext>
              </a:extLst>
            </p:cNvPr>
            <p:cNvSpPr>
              <a:spLocks noEditPoints="1"/>
            </p:cNvSpPr>
            <p:nvPr/>
          </p:nvSpPr>
          <p:spPr bwMode="auto">
            <a:xfrm>
              <a:off x="4892675" y="1935163"/>
              <a:ext cx="287338" cy="285750"/>
            </a:xfrm>
            <a:custGeom>
              <a:avLst/>
              <a:gdLst>
                <a:gd name="T0" fmla="*/ 829 w 903"/>
                <a:gd name="T1" fmla="*/ 859 h 903"/>
                <a:gd name="T2" fmla="*/ 75 w 903"/>
                <a:gd name="T3" fmla="*/ 872 h 903"/>
                <a:gd name="T4" fmla="*/ 37 w 903"/>
                <a:gd name="T5" fmla="*/ 853 h 903"/>
                <a:gd name="T6" fmla="*/ 31 w 903"/>
                <a:gd name="T7" fmla="*/ 577 h 903"/>
                <a:gd name="T8" fmla="*/ 58 w 903"/>
                <a:gd name="T9" fmla="*/ 545 h 903"/>
                <a:gd name="T10" fmla="*/ 815 w 903"/>
                <a:gd name="T11" fmla="*/ 545 h 903"/>
                <a:gd name="T12" fmla="*/ 842 w 903"/>
                <a:gd name="T13" fmla="*/ 577 h 903"/>
                <a:gd name="T14" fmla="*/ 150 w 903"/>
                <a:gd name="T15" fmla="*/ 451 h 903"/>
                <a:gd name="T16" fmla="*/ 161 w 903"/>
                <a:gd name="T17" fmla="*/ 408 h 903"/>
                <a:gd name="T18" fmla="*/ 190 w 903"/>
                <a:gd name="T19" fmla="*/ 376 h 903"/>
                <a:gd name="T20" fmla="*/ 230 w 903"/>
                <a:gd name="T21" fmla="*/ 362 h 903"/>
                <a:gd name="T22" fmla="*/ 803 w 903"/>
                <a:gd name="T23" fmla="*/ 354 h 903"/>
                <a:gd name="T24" fmla="*/ 864 w 903"/>
                <a:gd name="T25" fmla="*/ 319 h 903"/>
                <a:gd name="T26" fmla="*/ 898 w 903"/>
                <a:gd name="T27" fmla="*/ 263 h 903"/>
                <a:gd name="T28" fmla="*/ 901 w 903"/>
                <a:gd name="T29" fmla="*/ 201 h 903"/>
                <a:gd name="T30" fmla="*/ 873 w 903"/>
                <a:gd name="T31" fmla="*/ 143 h 903"/>
                <a:gd name="T32" fmla="*/ 817 w 903"/>
                <a:gd name="T33" fmla="*/ 102 h 903"/>
                <a:gd name="T34" fmla="*/ 511 w 903"/>
                <a:gd name="T35" fmla="*/ 90 h 903"/>
                <a:gd name="T36" fmla="*/ 481 w 903"/>
                <a:gd name="T37" fmla="*/ 83 h 903"/>
                <a:gd name="T38" fmla="*/ 461 w 903"/>
                <a:gd name="T39" fmla="*/ 65 h 903"/>
                <a:gd name="T40" fmla="*/ 451 w 903"/>
                <a:gd name="T41" fmla="*/ 37 h 903"/>
                <a:gd name="T42" fmla="*/ 448 w 903"/>
                <a:gd name="T43" fmla="*/ 7 h 903"/>
                <a:gd name="T44" fmla="*/ 436 w 903"/>
                <a:gd name="T45" fmla="*/ 0 h 903"/>
                <a:gd name="T46" fmla="*/ 424 w 903"/>
                <a:gd name="T47" fmla="*/ 7 h 903"/>
                <a:gd name="T48" fmla="*/ 421 w 903"/>
                <a:gd name="T49" fmla="*/ 40 h 903"/>
                <a:gd name="T50" fmla="*/ 435 w 903"/>
                <a:gd name="T51" fmla="*/ 82 h 903"/>
                <a:gd name="T52" fmla="*/ 466 w 903"/>
                <a:gd name="T53" fmla="*/ 110 h 903"/>
                <a:gd name="T54" fmla="*/ 511 w 903"/>
                <a:gd name="T55" fmla="*/ 120 h 903"/>
                <a:gd name="T56" fmla="*/ 806 w 903"/>
                <a:gd name="T57" fmla="*/ 129 h 903"/>
                <a:gd name="T58" fmla="*/ 850 w 903"/>
                <a:gd name="T59" fmla="*/ 161 h 903"/>
                <a:gd name="T60" fmla="*/ 871 w 903"/>
                <a:gd name="T61" fmla="*/ 206 h 903"/>
                <a:gd name="T62" fmla="*/ 869 w 903"/>
                <a:gd name="T63" fmla="*/ 254 h 903"/>
                <a:gd name="T64" fmla="*/ 844 w 903"/>
                <a:gd name="T65" fmla="*/ 297 h 903"/>
                <a:gd name="T66" fmla="*/ 794 w 903"/>
                <a:gd name="T67" fmla="*/ 325 h 903"/>
                <a:gd name="T68" fmla="*/ 227 w 903"/>
                <a:gd name="T69" fmla="*/ 332 h 903"/>
                <a:gd name="T70" fmla="*/ 173 w 903"/>
                <a:gd name="T71" fmla="*/ 351 h 903"/>
                <a:gd name="T72" fmla="*/ 134 w 903"/>
                <a:gd name="T73" fmla="*/ 393 h 903"/>
                <a:gd name="T74" fmla="*/ 120 w 903"/>
                <a:gd name="T75" fmla="*/ 452 h 903"/>
                <a:gd name="T76" fmla="*/ 52 w 903"/>
                <a:gd name="T77" fmla="*/ 515 h 903"/>
                <a:gd name="T78" fmla="*/ 21 w 903"/>
                <a:gd name="T79" fmla="*/ 533 h 903"/>
                <a:gd name="T80" fmla="*/ 3 w 903"/>
                <a:gd name="T81" fmla="*/ 564 h 903"/>
                <a:gd name="T82" fmla="*/ 0 w 903"/>
                <a:gd name="T83" fmla="*/ 836 h 903"/>
                <a:gd name="T84" fmla="*/ 13 w 903"/>
                <a:gd name="T85" fmla="*/ 870 h 903"/>
                <a:gd name="T86" fmla="*/ 38 w 903"/>
                <a:gd name="T87" fmla="*/ 894 h 903"/>
                <a:gd name="T88" fmla="*/ 75 w 903"/>
                <a:gd name="T89" fmla="*/ 903 h 903"/>
                <a:gd name="T90" fmla="*/ 827 w 903"/>
                <a:gd name="T91" fmla="*/ 897 h 903"/>
                <a:gd name="T92" fmla="*/ 856 w 903"/>
                <a:gd name="T93" fmla="*/ 875 h 903"/>
                <a:gd name="T94" fmla="*/ 871 w 903"/>
                <a:gd name="T95" fmla="*/ 843 h 903"/>
                <a:gd name="T96" fmla="*/ 871 w 903"/>
                <a:gd name="T97" fmla="*/ 572 h 903"/>
                <a:gd name="T98" fmla="*/ 856 w 903"/>
                <a:gd name="T99" fmla="*/ 539 h 903"/>
                <a:gd name="T100" fmla="*/ 827 w 903"/>
                <a:gd name="T101" fmla="*/ 51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903">
                  <a:moveTo>
                    <a:pt x="843" y="827"/>
                  </a:moveTo>
                  <a:lnTo>
                    <a:pt x="842" y="837"/>
                  </a:lnTo>
                  <a:lnTo>
                    <a:pt x="839" y="845"/>
                  </a:lnTo>
                  <a:lnTo>
                    <a:pt x="834" y="853"/>
                  </a:lnTo>
                  <a:lnTo>
                    <a:pt x="829" y="859"/>
                  </a:lnTo>
                  <a:lnTo>
                    <a:pt x="822" y="865"/>
                  </a:lnTo>
                  <a:lnTo>
                    <a:pt x="815" y="869"/>
                  </a:lnTo>
                  <a:lnTo>
                    <a:pt x="806" y="872"/>
                  </a:lnTo>
                  <a:lnTo>
                    <a:pt x="798" y="873"/>
                  </a:lnTo>
                  <a:lnTo>
                    <a:pt x="75" y="872"/>
                  </a:lnTo>
                  <a:lnTo>
                    <a:pt x="65" y="872"/>
                  </a:lnTo>
                  <a:lnTo>
                    <a:pt x="58" y="869"/>
                  </a:lnTo>
                  <a:lnTo>
                    <a:pt x="49" y="865"/>
                  </a:lnTo>
                  <a:lnTo>
                    <a:pt x="43" y="859"/>
                  </a:lnTo>
                  <a:lnTo>
                    <a:pt x="37" y="853"/>
                  </a:lnTo>
                  <a:lnTo>
                    <a:pt x="33" y="845"/>
                  </a:lnTo>
                  <a:lnTo>
                    <a:pt x="31" y="837"/>
                  </a:lnTo>
                  <a:lnTo>
                    <a:pt x="30" y="827"/>
                  </a:lnTo>
                  <a:lnTo>
                    <a:pt x="30" y="587"/>
                  </a:lnTo>
                  <a:lnTo>
                    <a:pt x="31" y="577"/>
                  </a:lnTo>
                  <a:lnTo>
                    <a:pt x="33" y="569"/>
                  </a:lnTo>
                  <a:lnTo>
                    <a:pt x="37" y="561"/>
                  </a:lnTo>
                  <a:lnTo>
                    <a:pt x="43" y="555"/>
                  </a:lnTo>
                  <a:lnTo>
                    <a:pt x="49" y="549"/>
                  </a:lnTo>
                  <a:lnTo>
                    <a:pt x="58" y="545"/>
                  </a:lnTo>
                  <a:lnTo>
                    <a:pt x="65" y="543"/>
                  </a:lnTo>
                  <a:lnTo>
                    <a:pt x="75" y="542"/>
                  </a:lnTo>
                  <a:lnTo>
                    <a:pt x="798" y="542"/>
                  </a:lnTo>
                  <a:lnTo>
                    <a:pt x="806" y="543"/>
                  </a:lnTo>
                  <a:lnTo>
                    <a:pt x="815" y="545"/>
                  </a:lnTo>
                  <a:lnTo>
                    <a:pt x="822" y="549"/>
                  </a:lnTo>
                  <a:lnTo>
                    <a:pt x="829" y="555"/>
                  </a:lnTo>
                  <a:lnTo>
                    <a:pt x="834" y="561"/>
                  </a:lnTo>
                  <a:lnTo>
                    <a:pt x="839" y="569"/>
                  </a:lnTo>
                  <a:lnTo>
                    <a:pt x="842" y="577"/>
                  </a:lnTo>
                  <a:lnTo>
                    <a:pt x="843" y="587"/>
                  </a:lnTo>
                  <a:lnTo>
                    <a:pt x="843" y="827"/>
                  </a:lnTo>
                  <a:close/>
                  <a:moveTo>
                    <a:pt x="798" y="512"/>
                  </a:moveTo>
                  <a:lnTo>
                    <a:pt x="150" y="512"/>
                  </a:lnTo>
                  <a:lnTo>
                    <a:pt x="150" y="451"/>
                  </a:lnTo>
                  <a:lnTo>
                    <a:pt x="150" y="442"/>
                  </a:lnTo>
                  <a:lnTo>
                    <a:pt x="152" y="432"/>
                  </a:lnTo>
                  <a:lnTo>
                    <a:pt x="154" y="424"/>
                  </a:lnTo>
                  <a:lnTo>
                    <a:pt x="156" y="415"/>
                  </a:lnTo>
                  <a:lnTo>
                    <a:pt x="161" y="408"/>
                  </a:lnTo>
                  <a:lnTo>
                    <a:pt x="165" y="400"/>
                  </a:lnTo>
                  <a:lnTo>
                    <a:pt x="170" y="393"/>
                  </a:lnTo>
                  <a:lnTo>
                    <a:pt x="176" y="386"/>
                  </a:lnTo>
                  <a:lnTo>
                    <a:pt x="182" y="381"/>
                  </a:lnTo>
                  <a:lnTo>
                    <a:pt x="190" y="376"/>
                  </a:lnTo>
                  <a:lnTo>
                    <a:pt x="196" y="371"/>
                  </a:lnTo>
                  <a:lnTo>
                    <a:pt x="205" y="368"/>
                  </a:lnTo>
                  <a:lnTo>
                    <a:pt x="213" y="365"/>
                  </a:lnTo>
                  <a:lnTo>
                    <a:pt x="222" y="363"/>
                  </a:lnTo>
                  <a:lnTo>
                    <a:pt x="230" y="362"/>
                  </a:lnTo>
                  <a:lnTo>
                    <a:pt x="240" y="361"/>
                  </a:lnTo>
                  <a:lnTo>
                    <a:pt x="752" y="361"/>
                  </a:lnTo>
                  <a:lnTo>
                    <a:pt x="770" y="361"/>
                  </a:lnTo>
                  <a:lnTo>
                    <a:pt x="787" y="357"/>
                  </a:lnTo>
                  <a:lnTo>
                    <a:pt x="803" y="354"/>
                  </a:lnTo>
                  <a:lnTo>
                    <a:pt x="817" y="349"/>
                  </a:lnTo>
                  <a:lnTo>
                    <a:pt x="831" y="343"/>
                  </a:lnTo>
                  <a:lnTo>
                    <a:pt x="843" y="336"/>
                  </a:lnTo>
                  <a:lnTo>
                    <a:pt x="855" y="327"/>
                  </a:lnTo>
                  <a:lnTo>
                    <a:pt x="864" y="319"/>
                  </a:lnTo>
                  <a:lnTo>
                    <a:pt x="873" y="308"/>
                  </a:lnTo>
                  <a:lnTo>
                    <a:pt x="881" y="298"/>
                  </a:lnTo>
                  <a:lnTo>
                    <a:pt x="888" y="287"/>
                  </a:lnTo>
                  <a:lnTo>
                    <a:pt x="893" y="275"/>
                  </a:lnTo>
                  <a:lnTo>
                    <a:pt x="898" y="263"/>
                  </a:lnTo>
                  <a:lnTo>
                    <a:pt x="901" y="250"/>
                  </a:lnTo>
                  <a:lnTo>
                    <a:pt x="902" y="238"/>
                  </a:lnTo>
                  <a:lnTo>
                    <a:pt x="903" y="225"/>
                  </a:lnTo>
                  <a:lnTo>
                    <a:pt x="902" y="213"/>
                  </a:lnTo>
                  <a:lnTo>
                    <a:pt x="901" y="201"/>
                  </a:lnTo>
                  <a:lnTo>
                    <a:pt x="898" y="188"/>
                  </a:lnTo>
                  <a:lnTo>
                    <a:pt x="893" y="176"/>
                  </a:lnTo>
                  <a:lnTo>
                    <a:pt x="888" y="164"/>
                  </a:lnTo>
                  <a:lnTo>
                    <a:pt x="881" y="153"/>
                  </a:lnTo>
                  <a:lnTo>
                    <a:pt x="873" y="143"/>
                  </a:lnTo>
                  <a:lnTo>
                    <a:pt x="864" y="132"/>
                  </a:lnTo>
                  <a:lnTo>
                    <a:pt x="855" y="124"/>
                  </a:lnTo>
                  <a:lnTo>
                    <a:pt x="843" y="115"/>
                  </a:lnTo>
                  <a:lnTo>
                    <a:pt x="831" y="107"/>
                  </a:lnTo>
                  <a:lnTo>
                    <a:pt x="817" y="102"/>
                  </a:lnTo>
                  <a:lnTo>
                    <a:pt x="803" y="97"/>
                  </a:lnTo>
                  <a:lnTo>
                    <a:pt x="787" y="94"/>
                  </a:lnTo>
                  <a:lnTo>
                    <a:pt x="770" y="90"/>
                  </a:lnTo>
                  <a:lnTo>
                    <a:pt x="752" y="90"/>
                  </a:lnTo>
                  <a:lnTo>
                    <a:pt x="511" y="90"/>
                  </a:lnTo>
                  <a:lnTo>
                    <a:pt x="505" y="89"/>
                  </a:lnTo>
                  <a:lnTo>
                    <a:pt x="499" y="89"/>
                  </a:lnTo>
                  <a:lnTo>
                    <a:pt x="492" y="87"/>
                  </a:lnTo>
                  <a:lnTo>
                    <a:pt x="487" y="86"/>
                  </a:lnTo>
                  <a:lnTo>
                    <a:pt x="481" y="83"/>
                  </a:lnTo>
                  <a:lnTo>
                    <a:pt x="476" y="81"/>
                  </a:lnTo>
                  <a:lnTo>
                    <a:pt x="472" y="77"/>
                  </a:lnTo>
                  <a:lnTo>
                    <a:pt x="467" y="73"/>
                  </a:lnTo>
                  <a:lnTo>
                    <a:pt x="464" y="70"/>
                  </a:lnTo>
                  <a:lnTo>
                    <a:pt x="461" y="65"/>
                  </a:lnTo>
                  <a:lnTo>
                    <a:pt x="458" y="60"/>
                  </a:lnTo>
                  <a:lnTo>
                    <a:pt x="456" y="55"/>
                  </a:lnTo>
                  <a:lnTo>
                    <a:pt x="454" y="48"/>
                  </a:lnTo>
                  <a:lnTo>
                    <a:pt x="452" y="43"/>
                  </a:lnTo>
                  <a:lnTo>
                    <a:pt x="451" y="37"/>
                  </a:lnTo>
                  <a:lnTo>
                    <a:pt x="451" y="30"/>
                  </a:lnTo>
                  <a:lnTo>
                    <a:pt x="451" y="15"/>
                  </a:lnTo>
                  <a:lnTo>
                    <a:pt x="450" y="12"/>
                  </a:lnTo>
                  <a:lnTo>
                    <a:pt x="450" y="9"/>
                  </a:lnTo>
                  <a:lnTo>
                    <a:pt x="448" y="7"/>
                  </a:lnTo>
                  <a:lnTo>
                    <a:pt x="447" y="5"/>
                  </a:lnTo>
                  <a:lnTo>
                    <a:pt x="445" y="2"/>
                  </a:lnTo>
                  <a:lnTo>
                    <a:pt x="442" y="1"/>
                  </a:lnTo>
                  <a:lnTo>
                    <a:pt x="440" y="0"/>
                  </a:lnTo>
                  <a:lnTo>
                    <a:pt x="436" y="0"/>
                  </a:lnTo>
                  <a:lnTo>
                    <a:pt x="433" y="0"/>
                  </a:lnTo>
                  <a:lnTo>
                    <a:pt x="430" y="1"/>
                  </a:lnTo>
                  <a:lnTo>
                    <a:pt x="428" y="2"/>
                  </a:lnTo>
                  <a:lnTo>
                    <a:pt x="426" y="5"/>
                  </a:lnTo>
                  <a:lnTo>
                    <a:pt x="424" y="7"/>
                  </a:lnTo>
                  <a:lnTo>
                    <a:pt x="422" y="9"/>
                  </a:lnTo>
                  <a:lnTo>
                    <a:pt x="421" y="12"/>
                  </a:lnTo>
                  <a:lnTo>
                    <a:pt x="421" y="15"/>
                  </a:lnTo>
                  <a:lnTo>
                    <a:pt x="421" y="30"/>
                  </a:lnTo>
                  <a:lnTo>
                    <a:pt x="421" y="40"/>
                  </a:lnTo>
                  <a:lnTo>
                    <a:pt x="422" y="48"/>
                  </a:lnTo>
                  <a:lnTo>
                    <a:pt x="425" y="58"/>
                  </a:lnTo>
                  <a:lnTo>
                    <a:pt x="428" y="67"/>
                  </a:lnTo>
                  <a:lnTo>
                    <a:pt x="431" y="74"/>
                  </a:lnTo>
                  <a:lnTo>
                    <a:pt x="435" y="82"/>
                  </a:lnTo>
                  <a:lnTo>
                    <a:pt x="441" y="88"/>
                  </a:lnTo>
                  <a:lnTo>
                    <a:pt x="446" y="95"/>
                  </a:lnTo>
                  <a:lnTo>
                    <a:pt x="452" y="101"/>
                  </a:lnTo>
                  <a:lnTo>
                    <a:pt x="459" y="105"/>
                  </a:lnTo>
                  <a:lnTo>
                    <a:pt x="466" y="110"/>
                  </a:lnTo>
                  <a:lnTo>
                    <a:pt x="475" y="114"/>
                  </a:lnTo>
                  <a:lnTo>
                    <a:pt x="484" y="116"/>
                  </a:lnTo>
                  <a:lnTo>
                    <a:pt x="492" y="118"/>
                  </a:lnTo>
                  <a:lnTo>
                    <a:pt x="502" y="119"/>
                  </a:lnTo>
                  <a:lnTo>
                    <a:pt x="511" y="120"/>
                  </a:lnTo>
                  <a:lnTo>
                    <a:pt x="752" y="120"/>
                  </a:lnTo>
                  <a:lnTo>
                    <a:pt x="767" y="120"/>
                  </a:lnTo>
                  <a:lnTo>
                    <a:pt x="781" y="123"/>
                  </a:lnTo>
                  <a:lnTo>
                    <a:pt x="794" y="126"/>
                  </a:lnTo>
                  <a:lnTo>
                    <a:pt x="806" y="129"/>
                  </a:lnTo>
                  <a:lnTo>
                    <a:pt x="817" y="134"/>
                  </a:lnTo>
                  <a:lnTo>
                    <a:pt x="827" y="140"/>
                  </a:lnTo>
                  <a:lnTo>
                    <a:pt x="835" y="146"/>
                  </a:lnTo>
                  <a:lnTo>
                    <a:pt x="844" y="154"/>
                  </a:lnTo>
                  <a:lnTo>
                    <a:pt x="850" y="161"/>
                  </a:lnTo>
                  <a:lnTo>
                    <a:pt x="857" y="170"/>
                  </a:lnTo>
                  <a:lnTo>
                    <a:pt x="861" y="178"/>
                  </a:lnTo>
                  <a:lnTo>
                    <a:pt x="865" y="188"/>
                  </a:lnTo>
                  <a:lnTo>
                    <a:pt x="869" y="197"/>
                  </a:lnTo>
                  <a:lnTo>
                    <a:pt x="871" y="206"/>
                  </a:lnTo>
                  <a:lnTo>
                    <a:pt x="872" y="216"/>
                  </a:lnTo>
                  <a:lnTo>
                    <a:pt x="873" y="225"/>
                  </a:lnTo>
                  <a:lnTo>
                    <a:pt x="872" y="235"/>
                  </a:lnTo>
                  <a:lnTo>
                    <a:pt x="871" y="245"/>
                  </a:lnTo>
                  <a:lnTo>
                    <a:pt x="869" y="254"/>
                  </a:lnTo>
                  <a:lnTo>
                    <a:pt x="865" y="263"/>
                  </a:lnTo>
                  <a:lnTo>
                    <a:pt x="861" y="273"/>
                  </a:lnTo>
                  <a:lnTo>
                    <a:pt x="857" y="281"/>
                  </a:lnTo>
                  <a:lnTo>
                    <a:pt x="850" y="290"/>
                  </a:lnTo>
                  <a:lnTo>
                    <a:pt x="844" y="297"/>
                  </a:lnTo>
                  <a:lnTo>
                    <a:pt x="835" y="305"/>
                  </a:lnTo>
                  <a:lnTo>
                    <a:pt x="827" y="311"/>
                  </a:lnTo>
                  <a:lnTo>
                    <a:pt x="817" y="317"/>
                  </a:lnTo>
                  <a:lnTo>
                    <a:pt x="806" y="322"/>
                  </a:lnTo>
                  <a:lnTo>
                    <a:pt x="794" y="325"/>
                  </a:lnTo>
                  <a:lnTo>
                    <a:pt x="781" y="328"/>
                  </a:lnTo>
                  <a:lnTo>
                    <a:pt x="767" y="331"/>
                  </a:lnTo>
                  <a:lnTo>
                    <a:pt x="752" y="331"/>
                  </a:lnTo>
                  <a:lnTo>
                    <a:pt x="240" y="331"/>
                  </a:lnTo>
                  <a:lnTo>
                    <a:pt x="227" y="332"/>
                  </a:lnTo>
                  <a:lnTo>
                    <a:pt x="215" y="333"/>
                  </a:lnTo>
                  <a:lnTo>
                    <a:pt x="204" y="336"/>
                  </a:lnTo>
                  <a:lnTo>
                    <a:pt x="193" y="340"/>
                  </a:lnTo>
                  <a:lnTo>
                    <a:pt x="182" y="345"/>
                  </a:lnTo>
                  <a:lnTo>
                    <a:pt x="173" y="351"/>
                  </a:lnTo>
                  <a:lnTo>
                    <a:pt x="163" y="357"/>
                  </a:lnTo>
                  <a:lnTo>
                    <a:pt x="154" y="365"/>
                  </a:lnTo>
                  <a:lnTo>
                    <a:pt x="147" y="373"/>
                  </a:lnTo>
                  <a:lnTo>
                    <a:pt x="140" y="383"/>
                  </a:lnTo>
                  <a:lnTo>
                    <a:pt x="134" y="393"/>
                  </a:lnTo>
                  <a:lnTo>
                    <a:pt x="130" y="404"/>
                  </a:lnTo>
                  <a:lnTo>
                    <a:pt x="125" y="414"/>
                  </a:lnTo>
                  <a:lnTo>
                    <a:pt x="122" y="426"/>
                  </a:lnTo>
                  <a:lnTo>
                    <a:pt x="121" y="439"/>
                  </a:lnTo>
                  <a:lnTo>
                    <a:pt x="120" y="452"/>
                  </a:lnTo>
                  <a:lnTo>
                    <a:pt x="120" y="512"/>
                  </a:lnTo>
                  <a:lnTo>
                    <a:pt x="75" y="512"/>
                  </a:lnTo>
                  <a:lnTo>
                    <a:pt x="67" y="512"/>
                  </a:lnTo>
                  <a:lnTo>
                    <a:pt x="60" y="513"/>
                  </a:lnTo>
                  <a:lnTo>
                    <a:pt x="52" y="515"/>
                  </a:lnTo>
                  <a:lnTo>
                    <a:pt x="46" y="517"/>
                  </a:lnTo>
                  <a:lnTo>
                    <a:pt x="38" y="520"/>
                  </a:lnTo>
                  <a:lnTo>
                    <a:pt x="33" y="525"/>
                  </a:lnTo>
                  <a:lnTo>
                    <a:pt x="27" y="529"/>
                  </a:lnTo>
                  <a:lnTo>
                    <a:pt x="21" y="533"/>
                  </a:lnTo>
                  <a:lnTo>
                    <a:pt x="17" y="539"/>
                  </a:lnTo>
                  <a:lnTo>
                    <a:pt x="13" y="545"/>
                  </a:lnTo>
                  <a:lnTo>
                    <a:pt x="8" y="550"/>
                  </a:lnTo>
                  <a:lnTo>
                    <a:pt x="5" y="558"/>
                  </a:lnTo>
                  <a:lnTo>
                    <a:pt x="3" y="564"/>
                  </a:lnTo>
                  <a:lnTo>
                    <a:pt x="1" y="572"/>
                  </a:lnTo>
                  <a:lnTo>
                    <a:pt x="0" y="579"/>
                  </a:lnTo>
                  <a:lnTo>
                    <a:pt x="0" y="587"/>
                  </a:lnTo>
                  <a:lnTo>
                    <a:pt x="0" y="827"/>
                  </a:lnTo>
                  <a:lnTo>
                    <a:pt x="0" y="836"/>
                  </a:lnTo>
                  <a:lnTo>
                    <a:pt x="1" y="842"/>
                  </a:lnTo>
                  <a:lnTo>
                    <a:pt x="3" y="850"/>
                  </a:lnTo>
                  <a:lnTo>
                    <a:pt x="5" y="857"/>
                  </a:lnTo>
                  <a:lnTo>
                    <a:pt x="8" y="864"/>
                  </a:lnTo>
                  <a:lnTo>
                    <a:pt x="13" y="870"/>
                  </a:lnTo>
                  <a:lnTo>
                    <a:pt x="17" y="875"/>
                  </a:lnTo>
                  <a:lnTo>
                    <a:pt x="21" y="881"/>
                  </a:lnTo>
                  <a:lnTo>
                    <a:pt x="27" y="885"/>
                  </a:lnTo>
                  <a:lnTo>
                    <a:pt x="33" y="890"/>
                  </a:lnTo>
                  <a:lnTo>
                    <a:pt x="38" y="894"/>
                  </a:lnTo>
                  <a:lnTo>
                    <a:pt x="46" y="897"/>
                  </a:lnTo>
                  <a:lnTo>
                    <a:pt x="52" y="899"/>
                  </a:lnTo>
                  <a:lnTo>
                    <a:pt x="60" y="901"/>
                  </a:lnTo>
                  <a:lnTo>
                    <a:pt x="67" y="902"/>
                  </a:lnTo>
                  <a:lnTo>
                    <a:pt x="75" y="903"/>
                  </a:lnTo>
                  <a:lnTo>
                    <a:pt x="798" y="902"/>
                  </a:lnTo>
                  <a:lnTo>
                    <a:pt x="805" y="902"/>
                  </a:lnTo>
                  <a:lnTo>
                    <a:pt x="813" y="901"/>
                  </a:lnTo>
                  <a:lnTo>
                    <a:pt x="819" y="899"/>
                  </a:lnTo>
                  <a:lnTo>
                    <a:pt x="827" y="897"/>
                  </a:lnTo>
                  <a:lnTo>
                    <a:pt x="833" y="894"/>
                  </a:lnTo>
                  <a:lnTo>
                    <a:pt x="840" y="889"/>
                  </a:lnTo>
                  <a:lnTo>
                    <a:pt x="845" y="885"/>
                  </a:lnTo>
                  <a:lnTo>
                    <a:pt x="850" y="881"/>
                  </a:lnTo>
                  <a:lnTo>
                    <a:pt x="856" y="875"/>
                  </a:lnTo>
                  <a:lnTo>
                    <a:pt x="860" y="870"/>
                  </a:lnTo>
                  <a:lnTo>
                    <a:pt x="863" y="864"/>
                  </a:lnTo>
                  <a:lnTo>
                    <a:pt x="866" y="857"/>
                  </a:lnTo>
                  <a:lnTo>
                    <a:pt x="870" y="850"/>
                  </a:lnTo>
                  <a:lnTo>
                    <a:pt x="871" y="843"/>
                  </a:lnTo>
                  <a:lnTo>
                    <a:pt x="872" y="836"/>
                  </a:lnTo>
                  <a:lnTo>
                    <a:pt x="873" y="827"/>
                  </a:lnTo>
                  <a:lnTo>
                    <a:pt x="873" y="587"/>
                  </a:lnTo>
                  <a:lnTo>
                    <a:pt x="872" y="579"/>
                  </a:lnTo>
                  <a:lnTo>
                    <a:pt x="871" y="572"/>
                  </a:lnTo>
                  <a:lnTo>
                    <a:pt x="870" y="564"/>
                  </a:lnTo>
                  <a:lnTo>
                    <a:pt x="866" y="557"/>
                  </a:lnTo>
                  <a:lnTo>
                    <a:pt x="863" y="550"/>
                  </a:lnTo>
                  <a:lnTo>
                    <a:pt x="860" y="545"/>
                  </a:lnTo>
                  <a:lnTo>
                    <a:pt x="856" y="539"/>
                  </a:lnTo>
                  <a:lnTo>
                    <a:pt x="850" y="533"/>
                  </a:lnTo>
                  <a:lnTo>
                    <a:pt x="845" y="529"/>
                  </a:lnTo>
                  <a:lnTo>
                    <a:pt x="840" y="525"/>
                  </a:lnTo>
                  <a:lnTo>
                    <a:pt x="833" y="520"/>
                  </a:lnTo>
                  <a:lnTo>
                    <a:pt x="827" y="517"/>
                  </a:lnTo>
                  <a:lnTo>
                    <a:pt x="819" y="515"/>
                  </a:lnTo>
                  <a:lnTo>
                    <a:pt x="813" y="513"/>
                  </a:lnTo>
                  <a:lnTo>
                    <a:pt x="805" y="512"/>
                  </a:lnTo>
                  <a:lnTo>
                    <a:pt x="79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Rectangle 235">
              <a:extLst>
                <a:ext uri="{FF2B5EF4-FFF2-40B4-BE49-F238E27FC236}">
                  <a16:creationId xmlns:a16="http://schemas.microsoft.com/office/drawing/2014/main" id="{C3EABEB1-D4EF-467A-9077-5426E27D34DD}"/>
                </a:ext>
              </a:extLst>
            </p:cNvPr>
            <p:cNvSpPr>
              <a:spLocks noChangeArrowheads="1"/>
            </p:cNvSpPr>
            <p:nvPr/>
          </p:nvSpPr>
          <p:spPr bwMode="auto">
            <a:xfrm>
              <a:off x="4949825" y="2192338"/>
              <a:ext cx="163513"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Rectangle 236">
              <a:extLst>
                <a:ext uri="{FF2B5EF4-FFF2-40B4-BE49-F238E27FC236}">
                  <a16:creationId xmlns:a16="http://schemas.microsoft.com/office/drawing/2014/main" id="{A323848E-B047-4F4C-8F23-810CD95D4991}"/>
                </a:ext>
              </a:extLst>
            </p:cNvPr>
            <p:cNvSpPr>
              <a:spLocks noChangeArrowheads="1"/>
            </p:cNvSpPr>
            <p:nvPr/>
          </p:nvSpPr>
          <p:spPr bwMode="auto">
            <a:xfrm>
              <a:off x="49212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Rectangle 237">
              <a:extLst>
                <a:ext uri="{FF2B5EF4-FFF2-40B4-BE49-F238E27FC236}">
                  <a16:creationId xmlns:a16="http://schemas.microsoft.com/office/drawing/2014/main" id="{CCB1F092-9804-4A2A-A8EF-C65B7138EB5D}"/>
                </a:ext>
              </a:extLst>
            </p:cNvPr>
            <p:cNvSpPr>
              <a:spLocks noChangeArrowheads="1"/>
            </p:cNvSpPr>
            <p:nvPr/>
          </p:nvSpPr>
          <p:spPr bwMode="auto">
            <a:xfrm>
              <a:off x="49212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Rectangle 238">
              <a:extLst>
                <a:ext uri="{FF2B5EF4-FFF2-40B4-BE49-F238E27FC236}">
                  <a16:creationId xmlns:a16="http://schemas.microsoft.com/office/drawing/2014/main" id="{28EB169D-506E-4086-BF0E-3E73414AD4A2}"/>
                </a:ext>
              </a:extLst>
            </p:cNvPr>
            <p:cNvSpPr>
              <a:spLocks noChangeArrowheads="1"/>
            </p:cNvSpPr>
            <p:nvPr/>
          </p:nvSpPr>
          <p:spPr bwMode="auto">
            <a:xfrm>
              <a:off x="49212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Rectangle 239">
              <a:extLst>
                <a:ext uri="{FF2B5EF4-FFF2-40B4-BE49-F238E27FC236}">
                  <a16:creationId xmlns:a16="http://schemas.microsoft.com/office/drawing/2014/main" id="{49AD6F83-B44F-4B78-853F-06F41E9772D2}"/>
                </a:ext>
              </a:extLst>
            </p:cNvPr>
            <p:cNvSpPr>
              <a:spLocks noChangeArrowheads="1"/>
            </p:cNvSpPr>
            <p:nvPr/>
          </p:nvSpPr>
          <p:spPr bwMode="auto">
            <a:xfrm>
              <a:off x="49403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Rectangle 240">
              <a:extLst>
                <a:ext uri="{FF2B5EF4-FFF2-40B4-BE49-F238E27FC236}">
                  <a16:creationId xmlns:a16="http://schemas.microsoft.com/office/drawing/2014/main" id="{78C33711-A5CE-4777-9AE8-D515E52A8FD4}"/>
                </a:ext>
              </a:extLst>
            </p:cNvPr>
            <p:cNvSpPr>
              <a:spLocks noChangeArrowheads="1"/>
            </p:cNvSpPr>
            <p:nvPr/>
          </p:nvSpPr>
          <p:spPr bwMode="auto">
            <a:xfrm>
              <a:off x="49403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Rectangle 241">
              <a:extLst>
                <a:ext uri="{FF2B5EF4-FFF2-40B4-BE49-F238E27FC236}">
                  <a16:creationId xmlns:a16="http://schemas.microsoft.com/office/drawing/2014/main" id="{ABDE4D13-80E6-48DE-8C42-6CE530B74A3A}"/>
                </a:ext>
              </a:extLst>
            </p:cNvPr>
            <p:cNvSpPr>
              <a:spLocks noChangeArrowheads="1"/>
            </p:cNvSpPr>
            <p:nvPr/>
          </p:nvSpPr>
          <p:spPr bwMode="auto">
            <a:xfrm>
              <a:off x="49403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Rectangle 242">
              <a:extLst>
                <a:ext uri="{FF2B5EF4-FFF2-40B4-BE49-F238E27FC236}">
                  <a16:creationId xmlns:a16="http://schemas.microsoft.com/office/drawing/2014/main" id="{AA77AF35-AD7B-4BA4-955B-073EDF586AAC}"/>
                </a:ext>
              </a:extLst>
            </p:cNvPr>
            <p:cNvSpPr>
              <a:spLocks noChangeArrowheads="1"/>
            </p:cNvSpPr>
            <p:nvPr/>
          </p:nvSpPr>
          <p:spPr bwMode="auto">
            <a:xfrm>
              <a:off x="49593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Rectangle 243">
              <a:extLst>
                <a:ext uri="{FF2B5EF4-FFF2-40B4-BE49-F238E27FC236}">
                  <a16:creationId xmlns:a16="http://schemas.microsoft.com/office/drawing/2014/main" id="{8B9CA42B-3804-4CC6-84FC-2C099D5CCE5A}"/>
                </a:ext>
              </a:extLst>
            </p:cNvPr>
            <p:cNvSpPr>
              <a:spLocks noChangeArrowheads="1"/>
            </p:cNvSpPr>
            <p:nvPr/>
          </p:nvSpPr>
          <p:spPr bwMode="auto">
            <a:xfrm>
              <a:off x="49593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Rectangle 244">
              <a:extLst>
                <a:ext uri="{FF2B5EF4-FFF2-40B4-BE49-F238E27FC236}">
                  <a16:creationId xmlns:a16="http://schemas.microsoft.com/office/drawing/2014/main" id="{D5D82CDE-36C5-42E5-A915-CF6863241E1F}"/>
                </a:ext>
              </a:extLst>
            </p:cNvPr>
            <p:cNvSpPr>
              <a:spLocks noChangeArrowheads="1"/>
            </p:cNvSpPr>
            <p:nvPr/>
          </p:nvSpPr>
          <p:spPr bwMode="auto">
            <a:xfrm>
              <a:off x="49593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Rectangle 245">
              <a:extLst>
                <a:ext uri="{FF2B5EF4-FFF2-40B4-BE49-F238E27FC236}">
                  <a16:creationId xmlns:a16="http://schemas.microsoft.com/office/drawing/2014/main" id="{7956F35E-4AC1-46F2-A737-68A2CD976B0E}"/>
                </a:ext>
              </a:extLst>
            </p:cNvPr>
            <p:cNvSpPr>
              <a:spLocks noChangeArrowheads="1"/>
            </p:cNvSpPr>
            <p:nvPr/>
          </p:nvSpPr>
          <p:spPr bwMode="auto">
            <a:xfrm>
              <a:off x="49784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Rectangle 246">
              <a:extLst>
                <a:ext uri="{FF2B5EF4-FFF2-40B4-BE49-F238E27FC236}">
                  <a16:creationId xmlns:a16="http://schemas.microsoft.com/office/drawing/2014/main" id="{E848FE01-0802-4399-93C0-69C612D19635}"/>
                </a:ext>
              </a:extLst>
            </p:cNvPr>
            <p:cNvSpPr>
              <a:spLocks noChangeArrowheads="1"/>
            </p:cNvSpPr>
            <p:nvPr/>
          </p:nvSpPr>
          <p:spPr bwMode="auto">
            <a:xfrm>
              <a:off x="49784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Rectangle 247">
              <a:extLst>
                <a:ext uri="{FF2B5EF4-FFF2-40B4-BE49-F238E27FC236}">
                  <a16:creationId xmlns:a16="http://schemas.microsoft.com/office/drawing/2014/main" id="{817461E1-BFB2-4236-BE24-1A5ADD56742F}"/>
                </a:ext>
              </a:extLst>
            </p:cNvPr>
            <p:cNvSpPr>
              <a:spLocks noChangeArrowheads="1"/>
            </p:cNvSpPr>
            <p:nvPr/>
          </p:nvSpPr>
          <p:spPr bwMode="auto">
            <a:xfrm>
              <a:off x="49784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Rectangle 248">
              <a:extLst>
                <a:ext uri="{FF2B5EF4-FFF2-40B4-BE49-F238E27FC236}">
                  <a16:creationId xmlns:a16="http://schemas.microsoft.com/office/drawing/2014/main" id="{8DC3D868-F028-4634-A4C7-A9EDA5BF7918}"/>
                </a:ext>
              </a:extLst>
            </p:cNvPr>
            <p:cNvSpPr>
              <a:spLocks noChangeArrowheads="1"/>
            </p:cNvSpPr>
            <p:nvPr/>
          </p:nvSpPr>
          <p:spPr bwMode="auto">
            <a:xfrm>
              <a:off x="49974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Rectangle 249">
              <a:extLst>
                <a:ext uri="{FF2B5EF4-FFF2-40B4-BE49-F238E27FC236}">
                  <a16:creationId xmlns:a16="http://schemas.microsoft.com/office/drawing/2014/main" id="{EB7E09B0-C97C-4979-8701-04C005F9119A}"/>
                </a:ext>
              </a:extLst>
            </p:cNvPr>
            <p:cNvSpPr>
              <a:spLocks noChangeArrowheads="1"/>
            </p:cNvSpPr>
            <p:nvPr/>
          </p:nvSpPr>
          <p:spPr bwMode="auto">
            <a:xfrm>
              <a:off x="49974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Rectangle 250">
              <a:extLst>
                <a:ext uri="{FF2B5EF4-FFF2-40B4-BE49-F238E27FC236}">
                  <a16:creationId xmlns:a16="http://schemas.microsoft.com/office/drawing/2014/main" id="{9D227BC7-D749-4428-BA9B-C439662F63FB}"/>
                </a:ext>
              </a:extLst>
            </p:cNvPr>
            <p:cNvSpPr>
              <a:spLocks noChangeArrowheads="1"/>
            </p:cNvSpPr>
            <p:nvPr/>
          </p:nvSpPr>
          <p:spPr bwMode="auto">
            <a:xfrm>
              <a:off x="49974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Rectangle 251">
              <a:extLst>
                <a:ext uri="{FF2B5EF4-FFF2-40B4-BE49-F238E27FC236}">
                  <a16:creationId xmlns:a16="http://schemas.microsoft.com/office/drawing/2014/main" id="{BFB5DAA7-F55E-4110-963D-FE94640668F3}"/>
                </a:ext>
              </a:extLst>
            </p:cNvPr>
            <p:cNvSpPr>
              <a:spLocks noChangeArrowheads="1"/>
            </p:cNvSpPr>
            <p:nvPr/>
          </p:nvSpPr>
          <p:spPr bwMode="auto">
            <a:xfrm>
              <a:off x="50165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Rectangle 252">
              <a:extLst>
                <a:ext uri="{FF2B5EF4-FFF2-40B4-BE49-F238E27FC236}">
                  <a16:creationId xmlns:a16="http://schemas.microsoft.com/office/drawing/2014/main" id="{BECC6E4B-7ED6-468F-A024-8754BB4DA1D5}"/>
                </a:ext>
              </a:extLst>
            </p:cNvPr>
            <p:cNvSpPr>
              <a:spLocks noChangeArrowheads="1"/>
            </p:cNvSpPr>
            <p:nvPr/>
          </p:nvSpPr>
          <p:spPr bwMode="auto">
            <a:xfrm>
              <a:off x="50165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Rectangle 253">
              <a:extLst>
                <a:ext uri="{FF2B5EF4-FFF2-40B4-BE49-F238E27FC236}">
                  <a16:creationId xmlns:a16="http://schemas.microsoft.com/office/drawing/2014/main" id="{2A345079-6958-4B5B-8F0E-D78A3F347153}"/>
                </a:ext>
              </a:extLst>
            </p:cNvPr>
            <p:cNvSpPr>
              <a:spLocks noChangeArrowheads="1"/>
            </p:cNvSpPr>
            <p:nvPr/>
          </p:nvSpPr>
          <p:spPr bwMode="auto">
            <a:xfrm>
              <a:off x="50165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Rectangle 254">
              <a:extLst>
                <a:ext uri="{FF2B5EF4-FFF2-40B4-BE49-F238E27FC236}">
                  <a16:creationId xmlns:a16="http://schemas.microsoft.com/office/drawing/2014/main" id="{D809B888-D018-47B2-9006-A19E7D909F65}"/>
                </a:ext>
              </a:extLst>
            </p:cNvPr>
            <p:cNvSpPr>
              <a:spLocks noChangeArrowheads="1"/>
            </p:cNvSpPr>
            <p:nvPr/>
          </p:nvSpPr>
          <p:spPr bwMode="auto">
            <a:xfrm>
              <a:off x="503555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Rectangle 255">
              <a:extLst>
                <a:ext uri="{FF2B5EF4-FFF2-40B4-BE49-F238E27FC236}">
                  <a16:creationId xmlns:a16="http://schemas.microsoft.com/office/drawing/2014/main" id="{3A763A97-D700-4B66-A889-44EABB2268DB}"/>
                </a:ext>
              </a:extLst>
            </p:cNvPr>
            <p:cNvSpPr>
              <a:spLocks noChangeArrowheads="1"/>
            </p:cNvSpPr>
            <p:nvPr/>
          </p:nvSpPr>
          <p:spPr bwMode="auto">
            <a:xfrm>
              <a:off x="503555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Rectangle 256">
              <a:extLst>
                <a:ext uri="{FF2B5EF4-FFF2-40B4-BE49-F238E27FC236}">
                  <a16:creationId xmlns:a16="http://schemas.microsoft.com/office/drawing/2014/main" id="{9B1F25A8-5C88-4417-AEC8-E7EACADF09D1}"/>
                </a:ext>
              </a:extLst>
            </p:cNvPr>
            <p:cNvSpPr>
              <a:spLocks noChangeArrowheads="1"/>
            </p:cNvSpPr>
            <p:nvPr/>
          </p:nvSpPr>
          <p:spPr bwMode="auto">
            <a:xfrm>
              <a:off x="503555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Rectangle 257">
              <a:extLst>
                <a:ext uri="{FF2B5EF4-FFF2-40B4-BE49-F238E27FC236}">
                  <a16:creationId xmlns:a16="http://schemas.microsoft.com/office/drawing/2014/main" id="{1EFB78D7-C5CC-4564-B7A6-37A28D323958}"/>
                </a:ext>
              </a:extLst>
            </p:cNvPr>
            <p:cNvSpPr>
              <a:spLocks noChangeArrowheads="1"/>
            </p:cNvSpPr>
            <p:nvPr/>
          </p:nvSpPr>
          <p:spPr bwMode="auto">
            <a:xfrm>
              <a:off x="5054600"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Rectangle 258">
              <a:extLst>
                <a:ext uri="{FF2B5EF4-FFF2-40B4-BE49-F238E27FC236}">
                  <a16:creationId xmlns:a16="http://schemas.microsoft.com/office/drawing/2014/main" id="{E3CE0017-10CB-4623-A490-381F013A4EC1}"/>
                </a:ext>
              </a:extLst>
            </p:cNvPr>
            <p:cNvSpPr>
              <a:spLocks noChangeArrowheads="1"/>
            </p:cNvSpPr>
            <p:nvPr/>
          </p:nvSpPr>
          <p:spPr bwMode="auto">
            <a:xfrm>
              <a:off x="5054600"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Rectangle 259">
              <a:extLst>
                <a:ext uri="{FF2B5EF4-FFF2-40B4-BE49-F238E27FC236}">
                  <a16:creationId xmlns:a16="http://schemas.microsoft.com/office/drawing/2014/main" id="{6DB68474-B9FF-4294-8252-F02BF18D7AB9}"/>
                </a:ext>
              </a:extLst>
            </p:cNvPr>
            <p:cNvSpPr>
              <a:spLocks noChangeArrowheads="1"/>
            </p:cNvSpPr>
            <p:nvPr/>
          </p:nvSpPr>
          <p:spPr bwMode="auto">
            <a:xfrm>
              <a:off x="5054600"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Rectangle 260">
              <a:extLst>
                <a:ext uri="{FF2B5EF4-FFF2-40B4-BE49-F238E27FC236}">
                  <a16:creationId xmlns:a16="http://schemas.microsoft.com/office/drawing/2014/main" id="{AFF79689-5F0E-44AA-92D9-A0492F0B2D9E}"/>
                </a:ext>
              </a:extLst>
            </p:cNvPr>
            <p:cNvSpPr>
              <a:spLocks noChangeArrowheads="1"/>
            </p:cNvSpPr>
            <p:nvPr/>
          </p:nvSpPr>
          <p:spPr bwMode="auto">
            <a:xfrm>
              <a:off x="507523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Rectangle 261">
              <a:extLst>
                <a:ext uri="{FF2B5EF4-FFF2-40B4-BE49-F238E27FC236}">
                  <a16:creationId xmlns:a16="http://schemas.microsoft.com/office/drawing/2014/main" id="{EFEDF1F9-BC34-47C4-9A99-7EA3B8846041}"/>
                </a:ext>
              </a:extLst>
            </p:cNvPr>
            <p:cNvSpPr>
              <a:spLocks noChangeArrowheads="1"/>
            </p:cNvSpPr>
            <p:nvPr/>
          </p:nvSpPr>
          <p:spPr bwMode="auto">
            <a:xfrm>
              <a:off x="507523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Rectangle 262">
              <a:extLst>
                <a:ext uri="{FF2B5EF4-FFF2-40B4-BE49-F238E27FC236}">
                  <a16:creationId xmlns:a16="http://schemas.microsoft.com/office/drawing/2014/main" id="{5E615F7D-BADB-4C0C-80B5-EDCC26E1C47B}"/>
                </a:ext>
              </a:extLst>
            </p:cNvPr>
            <p:cNvSpPr>
              <a:spLocks noChangeArrowheads="1"/>
            </p:cNvSpPr>
            <p:nvPr/>
          </p:nvSpPr>
          <p:spPr bwMode="auto">
            <a:xfrm>
              <a:off x="507523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Rectangle 263">
              <a:extLst>
                <a:ext uri="{FF2B5EF4-FFF2-40B4-BE49-F238E27FC236}">
                  <a16:creationId xmlns:a16="http://schemas.microsoft.com/office/drawing/2014/main" id="{37D8987F-7DC5-40FC-9C03-5B0F751C1ACC}"/>
                </a:ext>
              </a:extLst>
            </p:cNvPr>
            <p:cNvSpPr>
              <a:spLocks noChangeArrowheads="1"/>
            </p:cNvSpPr>
            <p:nvPr/>
          </p:nvSpPr>
          <p:spPr bwMode="auto">
            <a:xfrm>
              <a:off x="509428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Rectangle 264">
              <a:extLst>
                <a:ext uri="{FF2B5EF4-FFF2-40B4-BE49-F238E27FC236}">
                  <a16:creationId xmlns:a16="http://schemas.microsoft.com/office/drawing/2014/main" id="{104D2584-A31B-4B38-A97A-DB326636FCD0}"/>
                </a:ext>
              </a:extLst>
            </p:cNvPr>
            <p:cNvSpPr>
              <a:spLocks noChangeArrowheads="1"/>
            </p:cNvSpPr>
            <p:nvPr/>
          </p:nvSpPr>
          <p:spPr bwMode="auto">
            <a:xfrm>
              <a:off x="509428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Rectangle 265">
              <a:extLst>
                <a:ext uri="{FF2B5EF4-FFF2-40B4-BE49-F238E27FC236}">
                  <a16:creationId xmlns:a16="http://schemas.microsoft.com/office/drawing/2014/main" id="{0E07CC7E-1CE3-40C4-A03E-476CE387ABDF}"/>
                </a:ext>
              </a:extLst>
            </p:cNvPr>
            <p:cNvSpPr>
              <a:spLocks noChangeArrowheads="1"/>
            </p:cNvSpPr>
            <p:nvPr/>
          </p:nvSpPr>
          <p:spPr bwMode="auto">
            <a:xfrm>
              <a:off x="509428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Rectangle 266">
              <a:extLst>
                <a:ext uri="{FF2B5EF4-FFF2-40B4-BE49-F238E27FC236}">
                  <a16:creationId xmlns:a16="http://schemas.microsoft.com/office/drawing/2014/main" id="{50A92174-9E8D-45DC-867D-532A79F02282}"/>
                </a:ext>
              </a:extLst>
            </p:cNvPr>
            <p:cNvSpPr>
              <a:spLocks noChangeArrowheads="1"/>
            </p:cNvSpPr>
            <p:nvPr/>
          </p:nvSpPr>
          <p:spPr bwMode="auto">
            <a:xfrm>
              <a:off x="511333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Rectangle 267">
              <a:extLst>
                <a:ext uri="{FF2B5EF4-FFF2-40B4-BE49-F238E27FC236}">
                  <a16:creationId xmlns:a16="http://schemas.microsoft.com/office/drawing/2014/main" id="{3E7F1CB1-2CA3-457D-8E87-876A23D461DF}"/>
                </a:ext>
              </a:extLst>
            </p:cNvPr>
            <p:cNvSpPr>
              <a:spLocks noChangeArrowheads="1"/>
            </p:cNvSpPr>
            <p:nvPr/>
          </p:nvSpPr>
          <p:spPr bwMode="auto">
            <a:xfrm>
              <a:off x="511333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Rectangle 268">
              <a:extLst>
                <a:ext uri="{FF2B5EF4-FFF2-40B4-BE49-F238E27FC236}">
                  <a16:creationId xmlns:a16="http://schemas.microsoft.com/office/drawing/2014/main" id="{1CAB186D-9841-4BD7-A733-93ACD50ABBE5}"/>
                </a:ext>
              </a:extLst>
            </p:cNvPr>
            <p:cNvSpPr>
              <a:spLocks noChangeArrowheads="1"/>
            </p:cNvSpPr>
            <p:nvPr/>
          </p:nvSpPr>
          <p:spPr bwMode="auto">
            <a:xfrm>
              <a:off x="511333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Rectangle 269">
              <a:extLst>
                <a:ext uri="{FF2B5EF4-FFF2-40B4-BE49-F238E27FC236}">
                  <a16:creationId xmlns:a16="http://schemas.microsoft.com/office/drawing/2014/main" id="{5D29DDDD-C541-4E4A-8510-D04927FB9B8D}"/>
                </a:ext>
              </a:extLst>
            </p:cNvPr>
            <p:cNvSpPr>
              <a:spLocks noChangeArrowheads="1"/>
            </p:cNvSpPr>
            <p:nvPr/>
          </p:nvSpPr>
          <p:spPr bwMode="auto">
            <a:xfrm>
              <a:off x="5132388" y="21256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Rectangle 270">
              <a:extLst>
                <a:ext uri="{FF2B5EF4-FFF2-40B4-BE49-F238E27FC236}">
                  <a16:creationId xmlns:a16="http://schemas.microsoft.com/office/drawing/2014/main" id="{3C299722-57FD-4269-B898-04BD7B14995F}"/>
                </a:ext>
              </a:extLst>
            </p:cNvPr>
            <p:cNvSpPr>
              <a:spLocks noChangeArrowheads="1"/>
            </p:cNvSpPr>
            <p:nvPr/>
          </p:nvSpPr>
          <p:spPr bwMode="auto">
            <a:xfrm>
              <a:off x="5132388" y="214471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Rectangle 271">
              <a:extLst>
                <a:ext uri="{FF2B5EF4-FFF2-40B4-BE49-F238E27FC236}">
                  <a16:creationId xmlns:a16="http://schemas.microsoft.com/office/drawing/2014/main" id="{2753C8F1-B314-4612-9043-7F2FE274D7AE}"/>
                </a:ext>
              </a:extLst>
            </p:cNvPr>
            <p:cNvSpPr>
              <a:spLocks noChangeArrowheads="1"/>
            </p:cNvSpPr>
            <p:nvPr/>
          </p:nvSpPr>
          <p:spPr bwMode="auto">
            <a:xfrm>
              <a:off x="5132388" y="2163763"/>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1" name="Group 151">
            <a:extLst>
              <a:ext uri="{FF2B5EF4-FFF2-40B4-BE49-F238E27FC236}">
                <a16:creationId xmlns:a16="http://schemas.microsoft.com/office/drawing/2014/main" id="{3E68BFCC-A434-4577-8EBB-69C7D1F0D2F0}"/>
              </a:ext>
            </a:extLst>
          </p:cNvPr>
          <p:cNvGrpSpPr>
            <a:grpSpLocks noChangeAspect="1"/>
          </p:cNvGrpSpPr>
          <p:nvPr/>
        </p:nvGrpSpPr>
        <p:grpSpPr>
          <a:xfrm>
            <a:off x="3694681" y="5956111"/>
            <a:ext cx="217766" cy="285619"/>
            <a:chOff x="3784600" y="2508250"/>
            <a:chExt cx="219075" cy="287338"/>
          </a:xfrm>
          <a:solidFill>
            <a:schemeClr val="bg1"/>
          </a:solidFill>
          <a:effectLst/>
        </p:grpSpPr>
        <p:sp>
          <p:nvSpPr>
            <p:cNvPr id="1412" name="Freeform 31">
              <a:extLst>
                <a:ext uri="{FF2B5EF4-FFF2-40B4-BE49-F238E27FC236}">
                  <a16:creationId xmlns:a16="http://schemas.microsoft.com/office/drawing/2014/main" id="{2032842A-D61B-42D2-BCAE-2DA39B8C47EF}"/>
                </a:ext>
              </a:extLst>
            </p:cNvPr>
            <p:cNvSpPr>
              <a:spLocks noEditPoints="1"/>
            </p:cNvSpPr>
            <p:nvPr/>
          </p:nvSpPr>
          <p:spPr bwMode="auto">
            <a:xfrm>
              <a:off x="3784600" y="2508250"/>
              <a:ext cx="219075" cy="287338"/>
            </a:xfrm>
            <a:custGeom>
              <a:avLst/>
              <a:gdLst>
                <a:gd name="T0" fmla="*/ 30 w 692"/>
                <a:gd name="T1" fmla="*/ 874 h 904"/>
                <a:gd name="T2" fmla="*/ 75 w 692"/>
                <a:gd name="T3" fmla="*/ 512 h 904"/>
                <a:gd name="T4" fmla="*/ 80 w 692"/>
                <a:gd name="T5" fmla="*/ 511 h 904"/>
                <a:gd name="T6" fmla="*/ 86 w 692"/>
                <a:gd name="T7" fmla="*/ 508 h 904"/>
                <a:gd name="T8" fmla="*/ 89 w 692"/>
                <a:gd name="T9" fmla="*/ 502 h 904"/>
                <a:gd name="T10" fmla="*/ 90 w 692"/>
                <a:gd name="T11" fmla="*/ 497 h 904"/>
                <a:gd name="T12" fmla="*/ 89 w 692"/>
                <a:gd name="T13" fmla="*/ 344 h 904"/>
                <a:gd name="T14" fmla="*/ 87 w 692"/>
                <a:gd name="T15" fmla="*/ 338 h 904"/>
                <a:gd name="T16" fmla="*/ 83 w 692"/>
                <a:gd name="T17" fmla="*/ 334 h 904"/>
                <a:gd name="T18" fmla="*/ 78 w 692"/>
                <a:gd name="T19" fmla="*/ 332 h 904"/>
                <a:gd name="T20" fmla="*/ 30 w 692"/>
                <a:gd name="T21" fmla="*/ 331 h 904"/>
                <a:gd name="T22" fmla="*/ 475 w 692"/>
                <a:gd name="T23" fmla="*/ 30 h 904"/>
                <a:gd name="T24" fmla="*/ 662 w 692"/>
                <a:gd name="T25" fmla="*/ 874 h 904"/>
                <a:gd name="T26" fmla="*/ 492 w 692"/>
                <a:gd name="T27" fmla="*/ 5 h 904"/>
                <a:gd name="T28" fmla="*/ 487 w 692"/>
                <a:gd name="T29" fmla="*/ 2 h 904"/>
                <a:gd name="T30" fmla="*/ 481 w 692"/>
                <a:gd name="T31" fmla="*/ 0 h 904"/>
                <a:gd name="T32" fmla="*/ 12 w 692"/>
                <a:gd name="T33" fmla="*/ 0 h 904"/>
                <a:gd name="T34" fmla="*/ 6 w 692"/>
                <a:gd name="T35" fmla="*/ 3 h 904"/>
                <a:gd name="T36" fmla="*/ 2 w 692"/>
                <a:gd name="T37" fmla="*/ 7 h 904"/>
                <a:gd name="T38" fmla="*/ 0 w 692"/>
                <a:gd name="T39" fmla="*/ 12 h 904"/>
                <a:gd name="T40" fmla="*/ 0 w 692"/>
                <a:gd name="T41" fmla="*/ 346 h 904"/>
                <a:gd name="T42" fmla="*/ 1 w 692"/>
                <a:gd name="T43" fmla="*/ 352 h 904"/>
                <a:gd name="T44" fmla="*/ 4 w 692"/>
                <a:gd name="T45" fmla="*/ 357 h 904"/>
                <a:gd name="T46" fmla="*/ 8 w 692"/>
                <a:gd name="T47" fmla="*/ 360 h 904"/>
                <a:gd name="T48" fmla="*/ 15 w 692"/>
                <a:gd name="T49" fmla="*/ 361 h 904"/>
                <a:gd name="T50" fmla="*/ 60 w 692"/>
                <a:gd name="T51" fmla="*/ 482 h 904"/>
                <a:gd name="T52" fmla="*/ 12 w 692"/>
                <a:gd name="T53" fmla="*/ 482 h 904"/>
                <a:gd name="T54" fmla="*/ 6 w 692"/>
                <a:gd name="T55" fmla="*/ 484 h 904"/>
                <a:gd name="T56" fmla="*/ 2 w 692"/>
                <a:gd name="T57" fmla="*/ 488 h 904"/>
                <a:gd name="T58" fmla="*/ 0 w 692"/>
                <a:gd name="T59" fmla="*/ 494 h 904"/>
                <a:gd name="T60" fmla="*/ 0 w 692"/>
                <a:gd name="T61" fmla="*/ 889 h 904"/>
                <a:gd name="T62" fmla="*/ 1 w 692"/>
                <a:gd name="T63" fmla="*/ 894 h 904"/>
                <a:gd name="T64" fmla="*/ 4 w 692"/>
                <a:gd name="T65" fmla="*/ 899 h 904"/>
                <a:gd name="T66" fmla="*/ 8 w 692"/>
                <a:gd name="T67" fmla="*/ 902 h 904"/>
                <a:gd name="T68" fmla="*/ 15 w 692"/>
                <a:gd name="T69" fmla="*/ 904 h 904"/>
                <a:gd name="T70" fmla="*/ 680 w 692"/>
                <a:gd name="T71" fmla="*/ 902 h 904"/>
                <a:gd name="T72" fmla="*/ 685 w 692"/>
                <a:gd name="T73" fmla="*/ 900 h 904"/>
                <a:gd name="T74" fmla="*/ 689 w 692"/>
                <a:gd name="T75" fmla="*/ 897 h 904"/>
                <a:gd name="T76" fmla="*/ 692 w 692"/>
                <a:gd name="T77" fmla="*/ 892 h 904"/>
                <a:gd name="T78" fmla="*/ 692 w 692"/>
                <a:gd name="T79" fmla="*/ 211 h 904"/>
                <a:gd name="T80" fmla="*/ 690 w 692"/>
                <a:gd name="T81" fmla="*/ 205 h 904"/>
                <a:gd name="T82" fmla="*/ 687 w 692"/>
                <a:gd name="T83" fmla="*/ 20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2" h="904">
                  <a:moveTo>
                    <a:pt x="662" y="874"/>
                  </a:moveTo>
                  <a:lnTo>
                    <a:pt x="30" y="874"/>
                  </a:lnTo>
                  <a:lnTo>
                    <a:pt x="30" y="512"/>
                  </a:lnTo>
                  <a:lnTo>
                    <a:pt x="75" y="512"/>
                  </a:lnTo>
                  <a:lnTo>
                    <a:pt x="78" y="511"/>
                  </a:lnTo>
                  <a:lnTo>
                    <a:pt x="80" y="511"/>
                  </a:lnTo>
                  <a:lnTo>
                    <a:pt x="83" y="509"/>
                  </a:lnTo>
                  <a:lnTo>
                    <a:pt x="86" y="508"/>
                  </a:lnTo>
                  <a:lnTo>
                    <a:pt x="87" y="506"/>
                  </a:lnTo>
                  <a:lnTo>
                    <a:pt x="89" y="502"/>
                  </a:lnTo>
                  <a:lnTo>
                    <a:pt x="89" y="500"/>
                  </a:lnTo>
                  <a:lnTo>
                    <a:pt x="90" y="497"/>
                  </a:lnTo>
                  <a:lnTo>
                    <a:pt x="90" y="346"/>
                  </a:lnTo>
                  <a:lnTo>
                    <a:pt x="89" y="344"/>
                  </a:lnTo>
                  <a:lnTo>
                    <a:pt x="89" y="340"/>
                  </a:lnTo>
                  <a:lnTo>
                    <a:pt x="87" y="338"/>
                  </a:lnTo>
                  <a:lnTo>
                    <a:pt x="86" y="336"/>
                  </a:lnTo>
                  <a:lnTo>
                    <a:pt x="83" y="334"/>
                  </a:lnTo>
                  <a:lnTo>
                    <a:pt x="80" y="333"/>
                  </a:lnTo>
                  <a:lnTo>
                    <a:pt x="78" y="332"/>
                  </a:lnTo>
                  <a:lnTo>
                    <a:pt x="75" y="331"/>
                  </a:lnTo>
                  <a:lnTo>
                    <a:pt x="30" y="331"/>
                  </a:lnTo>
                  <a:lnTo>
                    <a:pt x="30" y="30"/>
                  </a:lnTo>
                  <a:lnTo>
                    <a:pt x="475" y="30"/>
                  </a:lnTo>
                  <a:lnTo>
                    <a:pt x="662" y="217"/>
                  </a:lnTo>
                  <a:lnTo>
                    <a:pt x="662" y="874"/>
                  </a:lnTo>
                  <a:close/>
                  <a:moveTo>
                    <a:pt x="687" y="200"/>
                  </a:moveTo>
                  <a:lnTo>
                    <a:pt x="492" y="5"/>
                  </a:lnTo>
                  <a:lnTo>
                    <a:pt x="489" y="3"/>
                  </a:lnTo>
                  <a:lnTo>
                    <a:pt x="487" y="2"/>
                  </a:lnTo>
                  <a:lnTo>
                    <a:pt x="484" y="0"/>
                  </a:lnTo>
                  <a:lnTo>
                    <a:pt x="481" y="0"/>
                  </a:lnTo>
                  <a:lnTo>
                    <a:pt x="15" y="0"/>
                  </a:lnTo>
                  <a:lnTo>
                    <a:pt x="12" y="0"/>
                  </a:lnTo>
                  <a:lnTo>
                    <a:pt x="8" y="2"/>
                  </a:lnTo>
                  <a:lnTo>
                    <a:pt x="6" y="3"/>
                  </a:lnTo>
                  <a:lnTo>
                    <a:pt x="4" y="5"/>
                  </a:lnTo>
                  <a:lnTo>
                    <a:pt x="2" y="7"/>
                  </a:lnTo>
                  <a:lnTo>
                    <a:pt x="1" y="9"/>
                  </a:lnTo>
                  <a:lnTo>
                    <a:pt x="0" y="12"/>
                  </a:lnTo>
                  <a:lnTo>
                    <a:pt x="0" y="15"/>
                  </a:lnTo>
                  <a:lnTo>
                    <a:pt x="0" y="346"/>
                  </a:lnTo>
                  <a:lnTo>
                    <a:pt x="0" y="349"/>
                  </a:lnTo>
                  <a:lnTo>
                    <a:pt x="1" y="352"/>
                  </a:lnTo>
                  <a:lnTo>
                    <a:pt x="2" y="354"/>
                  </a:lnTo>
                  <a:lnTo>
                    <a:pt x="4" y="357"/>
                  </a:lnTo>
                  <a:lnTo>
                    <a:pt x="6" y="359"/>
                  </a:lnTo>
                  <a:lnTo>
                    <a:pt x="8" y="360"/>
                  </a:lnTo>
                  <a:lnTo>
                    <a:pt x="12" y="361"/>
                  </a:lnTo>
                  <a:lnTo>
                    <a:pt x="15" y="361"/>
                  </a:lnTo>
                  <a:lnTo>
                    <a:pt x="60" y="361"/>
                  </a:lnTo>
                  <a:lnTo>
                    <a:pt x="60" y="482"/>
                  </a:lnTo>
                  <a:lnTo>
                    <a:pt x="15" y="482"/>
                  </a:lnTo>
                  <a:lnTo>
                    <a:pt x="12" y="482"/>
                  </a:lnTo>
                  <a:lnTo>
                    <a:pt x="8" y="483"/>
                  </a:lnTo>
                  <a:lnTo>
                    <a:pt x="6" y="484"/>
                  </a:lnTo>
                  <a:lnTo>
                    <a:pt x="4" y="486"/>
                  </a:lnTo>
                  <a:lnTo>
                    <a:pt x="2" y="488"/>
                  </a:lnTo>
                  <a:lnTo>
                    <a:pt x="1" y="491"/>
                  </a:lnTo>
                  <a:lnTo>
                    <a:pt x="0" y="494"/>
                  </a:lnTo>
                  <a:lnTo>
                    <a:pt x="0" y="497"/>
                  </a:lnTo>
                  <a:lnTo>
                    <a:pt x="0" y="889"/>
                  </a:lnTo>
                  <a:lnTo>
                    <a:pt x="0" y="891"/>
                  </a:lnTo>
                  <a:lnTo>
                    <a:pt x="1" y="894"/>
                  </a:lnTo>
                  <a:lnTo>
                    <a:pt x="2" y="897"/>
                  </a:lnTo>
                  <a:lnTo>
                    <a:pt x="4" y="899"/>
                  </a:lnTo>
                  <a:lnTo>
                    <a:pt x="6" y="900"/>
                  </a:lnTo>
                  <a:lnTo>
                    <a:pt x="8" y="902"/>
                  </a:lnTo>
                  <a:lnTo>
                    <a:pt x="12" y="902"/>
                  </a:lnTo>
                  <a:lnTo>
                    <a:pt x="15" y="904"/>
                  </a:lnTo>
                  <a:lnTo>
                    <a:pt x="677" y="904"/>
                  </a:lnTo>
                  <a:lnTo>
                    <a:pt x="680" y="902"/>
                  </a:lnTo>
                  <a:lnTo>
                    <a:pt x="683" y="902"/>
                  </a:lnTo>
                  <a:lnTo>
                    <a:pt x="685" y="900"/>
                  </a:lnTo>
                  <a:lnTo>
                    <a:pt x="687" y="899"/>
                  </a:lnTo>
                  <a:lnTo>
                    <a:pt x="689" y="897"/>
                  </a:lnTo>
                  <a:lnTo>
                    <a:pt x="690" y="894"/>
                  </a:lnTo>
                  <a:lnTo>
                    <a:pt x="692" y="892"/>
                  </a:lnTo>
                  <a:lnTo>
                    <a:pt x="692" y="889"/>
                  </a:lnTo>
                  <a:lnTo>
                    <a:pt x="692" y="211"/>
                  </a:lnTo>
                  <a:lnTo>
                    <a:pt x="692" y="207"/>
                  </a:lnTo>
                  <a:lnTo>
                    <a:pt x="690" y="205"/>
                  </a:lnTo>
                  <a:lnTo>
                    <a:pt x="689" y="202"/>
                  </a:lnTo>
                  <a:lnTo>
                    <a:pt x="687"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32">
              <a:extLst>
                <a:ext uri="{FF2B5EF4-FFF2-40B4-BE49-F238E27FC236}">
                  <a16:creationId xmlns:a16="http://schemas.microsoft.com/office/drawing/2014/main" id="{DAFC274B-805D-4E38-9A79-AAFAC1CEA839}"/>
                </a:ext>
              </a:extLst>
            </p:cNvPr>
            <p:cNvSpPr>
              <a:spLocks/>
            </p:cNvSpPr>
            <p:nvPr/>
          </p:nvSpPr>
          <p:spPr bwMode="auto">
            <a:xfrm>
              <a:off x="3832225" y="2546350"/>
              <a:ext cx="9525" cy="66675"/>
            </a:xfrm>
            <a:custGeom>
              <a:avLst/>
              <a:gdLst>
                <a:gd name="T0" fmla="*/ 15 w 30"/>
                <a:gd name="T1" fmla="*/ 0 h 210"/>
                <a:gd name="T2" fmla="*/ 12 w 30"/>
                <a:gd name="T3" fmla="*/ 0 h 210"/>
                <a:gd name="T4" fmla="*/ 9 w 30"/>
                <a:gd name="T5" fmla="*/ 1 h 210"/>
                <a:gd name="T6" fmla="*/ 6 w 30"/>
                <a:gd name="T7" fmla="*/ 2 h 210"/>
                <a:gd name="T8" fmla="*/ 4 w 30"/>
                <a:gd name="T9" fmla="*/ 4 h 210"/>
                <a:gd name="T10" fmla="*/ 2 w 30"/>
                <a:gd name="T11" fmla="*/ 6 h 210"/>
                <a:gd name="T12" fmla="*/ 1 w 30"/>
                <a:gd name="T13" fmla="*/ 9 h 210"/>
                <a:gd name="T14" fmla="*/ 0 w 30"/>
                <a:gd name="T15" fmla="*/ 11 h 210"/>
                <a:gd name="T16" fmla="*/ 0 w 30"/>
                <a:gd name="T17" fmla="*/ 15 h 210"/>
                <a:gd name="T18" fmla="*/ 0 w 30"/>
                <a:gd name="T19" fmla="*/ 195 h 210"/>
                <a:gd name="T20" fmla="*/ 0 w 30"/>
                <a:gd name="T21" fmla="*/ 198 h 210"/>
                <a:gd name="T22" fmla="*/ 1 w 30"/>
                <a:gd name="T23" fmla="*/ 201 h 210"/>
                <a:gd name="T24" fmla="*/ 2 w 30"/>
                <a:gd name="T25" fmla="*/ 203 h 210"/>
                <a:gd name="T26" fmla="*/ 4 w 30"/>
                <a:gd name="T27" fmla="*/ 206 h 210"/>
                <a:gd name="T28" fmla="*/ 6 w 30"/>
                <a:gd name="T29" fmla="*/ 208 h 210"/>
                <a:gd name="T30" fmla="*/ 9 w 30"/>
                <a:gd name="T31" fmla="*/ 209 h 210"/>
                <a:gd name="T32" fmla="*/ 12 w 30"/>
                <a:gd name="T33" fmla="*/ 210 h 210"/>
                <a:gd name="T34" fmla="*/ 15 w 30"/>
                <a:gd name="T35" fmla="*/ 210 h 210"/>
                <a:gd name="T36" fmla="*/ 18 w 30"/>
                <a:gd name="T37" fmla="*/ 210 h 210"/>
                <a:gd name="T38" fmla="*/ 20 w 30"/>
                <a:gd name="T39" fmla="*/ 209 h 210"/>
                <a:gd name="T40" fmla="*/ 24 w 30"/>
                <a:gd name="T41" fmla="*/ 208 h 210"/>
                <a:gd name="T42" fmla="*/ 26 w 30"/>
                <a:gd name="T43" fmla="*/ 206 h 210"/>
                <a:gd name="T44" fmla="*/ 28 w 30"/>
                <a:gd name="T45" fmla="*/ 203 h 210"/>
                <a:gd name="T46" fmla="*/ 29 w 30"/>
                <a:gd name="T47" fmla="*/ 201 h 210"/>
                <a:gd name="T48" fmla="*/ 30 w 30"/>
                <a:gd name="T49" fmla="*/ 198 h 210"/>
                <a:gd name="T50" fmla="*/ 30 w 30"/>
                <a:gd name="T51" fmla="*/ 195 h 210"/>
                <a:gd name="T52" fmla="*/ 30 w 30"/>
                <a:gd name="T53" fmla="*/ 15 h 210"/>
                <a:gd name="T54" fmla="*/ 30 w 30"/>
                <a:gd name="T55" fmla="*/ 11 h 210"/>
                <a:gd name="T56" fmla="*/ 29 w 30"/>
                <a:gd name="T57" fmla="*/ 8 h 210"/>
                <a:gd name="T58" fmla="*/ 28 w 30"/>
                <a:gd name="T59" fmla="*/ 6 h 210"/>
                <a:gd name="T60" fmla="*/ 26 w 30"/>
                <a:gd name="T61" fmla="*/ 4 h 210"/>
                <a:gd name="T62" fmla="*/ 24 w 30"/>
                <a:gd name="T63" fmla="*/ 2 h 210"/>
                <a:gd name="T64" fmla="*/ 20 w 30"/>
                <a:gd name="T65" fmla="*/ 1 h 210"/>
                <a:gd name="T66" fmla="*/ 18 w 30"/>
                <a:gd name="T67" fmla="*/ 0 h 210"/>
                <a:gd name="T68" fmla="*/ 15 w 30"/>
                <a:gd name="T69" fmla="*/ 0 h 210"/>
                <a:gd name="T70" fmla="*/ 15 w 30"/>
                <a:gd name="T71"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10">
                  <a:moveTo>
                    <a:pt x="15" y="0"/>
                  </a:moveTo>
                  <a:lnTo>
                    <a:pt x="12" y="0"/>
                  </a:lnTo>
                  <a:lnTo>
                    <a:pt x="9" y="1"/>
                  </a:lnTo>
                  <a:lnTo>
                    <a:pt x="6" y="2"/>
                  </a:lnTo>
                  <a:lnTo>
                    <a:pt x="4" y="4"/>
                  </a:lnTo>
                  <a:lnTo>
                    <a:pt x="2" y="6"/>
                  </a:lnTo>
                  <a:lnTo>
                    <a:pt x="1" y="9"/>
                  </a:lnTo>
                  <a:lnTo>
                    <a:pt x="0" y="11"/>
                  </a:lnTo>
                  <a:lnTo>
                    <a:pt x="0" y="15"/>
                  </a:lnTo>
                  <a:lnTo>
                    <a:pt x="0" y="195"/>
                  </a:lnTo>
                  <a:lnTo>
                    <a:pt x="0" y="198"/>
                  </a:lnTo>
                  <a:lnTo>
                    <a:pt x="1" y="201"/>
                  </a:lnTo>
                  <a:lnTo>
                    <a:pt x="2" y="203"/>
                  </a:lnTo>
                  <a:lnTo>
                    <a:pt x="4" y="206"/>
                  </a:lnTo>
                  <a:lnTo>
                    <a:pt x="6" y="208"/>
                  </a:lnTo>
                  <a:lnTo>
                    <a:pt x="9" y="209"/>
                  </a:lnTo>
                  <a:lnTo>
                    <a:pt x="12" y="210"/>
                  </a:lnTo>
                  <a:lnTo>
                    <a:pt x="15" y="210"/>
                  </a:lnTo>
                  <a:lnTo>
                    <a:pt x="18" y="210"/>
                  </a:lnTo>
                  <a:lnTo>
                    <a:pt x="20" y="209"/>
                  </a:lnTo>
                  <a:lnTo>
                    <a:pt x="24" y="208"/>
                  </a:lnTo>
                  <a:lnTo>
                    <a:pt x="26" y="206"/>
                  </a:lnTo>
                  <a:lnTo>
                    <a:pt x="28" y="203"/>
                  </a:lnTo>
                  <a:lnTo>
                    <a:pt x="29" y="201"/>
                  </a:lnTo>
                  <a:lnTo>
                    <a:pt x="30" y="198"/>
                  </a:lnTo>
                  <a:lnTo>
                    <a:pt x="30" y="195"/>
                  </a:lnTo>
                  <a:lnTo>
                    <a:pt x="30" y="15"/>
                  </a:lnTo>
                  <a:lnTo>
                    <a:pt x="30" y="11"/>
                  </a:lnTo>
                  <a:lnTo>
                    <a:pt x="29" y="8"/>
                  </a:lnTo>
                  <a:lnTo>
                    <a:pt x="28"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33">
              <a:extLst>
                <a:ext uri="{FF2B5EF4-FFF2-40B4-BE49-F238E27FC236}">
                  <a16:creationId xmlns:a16="http://schemas.microsoft.com/office/drawing/2014/main" id="{68D8211D-93F9-4088-B60F-5F27037B9BEE}"/>
                </a:ext>
              </a:extLst>
            </p:cNvPr>
            <p:cNvSpPr>
              <a:spLocks/>
            </p:cNvSpPr>
            <p:nvPr/>
          </p:nvSpPr>
          <p:spPr bwMode="auto">
            <a:xfrm>
              <a:off x="3870325" y="2546350"/>
              <a:ext cx="9525" cy="66675"/>
            </a:xfrm>
            <a:custGeom>
              <a:avLst/>
              <a:gdLst>
                <a:gd name="T0" fmla="*/ 15 w 30"/>
                <a:gd name="T1" fmla="*/ 210 h 210"/>
                <a:gd name="T2" fmla="*/ 18 w 30"/>
                <a:gd name="T3" fmla="*/ 210 h 210"/>
                <a:gd name="T4" fmla="*/ 22 w 30"/>
                <a:gd name="T5" fmla="*/ 209 h 210"/>
                <a:gd name="T6" fmla="*/ 24 w 30"/>
                <a:gd name="T7" fmla="*/ 208 h 210"/>
                <a:gd name="T8" fmla="*/ 26 w 30"/>
                <a:gd name="T9" fmla="*/ 206 h 210"/>
                <a:gd name="T10" fmla="*/ 28 w 30"/>
                <a:gd name="T11" fmla="*/ 203 h 210"/>
                <a:gd name="T12" fmla="*/ 29 w 30"/>
                <a:gd name="T13" fmla="*/ 201 h 210"/>
                <a:gd name="T14" fmla="*/ 30 w 30"/>
                <a:gd name="T15" fmla="*/ 198 h 210"/>
                <a:gd name="T16" fmla="*/ 30 w 30"/>
                <a:gd name="T17" fmla="*/ 195 h 210"/>
                <a:gd name="T18" fmla="*/ 30 w 30"/>
                <a:gd name="T19" fmla="*/ 15 h 210"/>
                <a:gd name="T20" fmla="*/ 30 w 30"/>
                <a:gd name="T21" fmla="*/ 11 h 210"/>
                <a:gd name="T22" fmla="*/ 29 w 30"/>
                <a:gd name="T23" fmla="*/ 8 h 210"/>
                <a:gd name="T24" fmla="*/ 28 w 30"/>
                <a:gd name="T25" fmla="*/ 6 h 210"/>
                <a:gd name="T26" fmla="*/ 26 w 30"/>
                <a:gd name="T27" fmla="*/ 4 h 210"/>
                <a:gd name="T28" fmla="*/ 24 w 30"/>
                <a:gd name="T29" fmla="*/ 2 h 210"/>
                <a:gd name="T30" fmla="*/ 22 w 30"/>
                <a:gd name="T31" fmla="*/ 1 h 210"/>
                <a:gd name="T32" fmla="*/ 18 w 30"/>
                <a:gd name="T33" fmla="*/ 0 h 210"/>
                <a:gd name="T34" fmla="*/ 15 w 30"/>
                <a:gd name="T35" fmla="*/ 0 h 210"/>
                <a:gd name="T36" fmla="*/ 12 w 30"/>
                <a:gd name="T37" fmla="*/ 0 h 210"/>
                <a:gd name="T38" fmla="*/ 10 w 30"/>
                <a:gd name="T39" fmla="*/ 1 h 210"/>
                <a:gd name="T40" fmla="*/ 7 w 30"/>
                <a:gd name="T41" fmla="*/ 2 h 210"/>
                <a:gd name="T42" fmla="*/ 4 w 30"/>
                <a:gd name="T43" fmla="*/ 4 h 210"/>
                <a:gd name="T44" fmla="*/ 3 w 30"/>
                <a:gd name="T45" fmla="*/ 6 h 210"/>
                <a:gd name="T46" fmla="*/ 1 w 30"/>
                <a:gd name="T47" fmla="*/ 9 h 210"/>
                <a:gd name="T48" fmla="*/ 0 w 30"/>
                <a:gd name="T49" fmla="*/ 11 h 210"/>
                <a:gd name="T50" fmla="*/ 0 w 30"/>
                <a:gd name="T51" fmla="*/ 15 h 210"/>
                <a:gd name="T52" fmla="*/ 0 w 30"/>
                <a:gd name="T53" fmla="*/ 195 h 210"/>
                <a:gd name="T54" fmla="*/ 0 w 30"/>
                <a:gd name="T55" fmla="*/ 198 h 210"/>
                <a:gd name="T56" fmla="*/ 1 w 30"/>
                <a:gd name="T57" fmla="*/ 201 h 210"/>
                <a:gd name="T58" fmla="*/ 3 w 30"/>
                <a:gd name="T59" fmla="*/ 203 h 210"/>
                <a:gd name="T60" fmla="*/ 4 w 30"/>
                <a:gd name="T61" fmla="*/ 206 h 210"/>
                <a:gd name="T62" fmla="*/ 7 w 30"/>
                <a:gd name="T63" fmla="*/ 208 h 210"/>
                <a:gd name="T64" fmla="*/ 10 w 30"/>
                <a:gd name="T65" fmla="*/ 209 h 210"/>
                <a:gd name="T66" fmla="*/ 12 w 30"/>
                <a:gd name="T67" fmla="*/ 210 h 210"/>
                <a:gd name="T68" fmla="*/ 15 w 30"/>
                <a:gd name="T6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10">
                  <a:moveTo>
                    <a:pt x="15" y="210"/>
                  </a:moveTo>
                  <a:lnTo>
                    <a:pt x="18" y="210"/>
                  </a:lnTo>
                  <a:lnTo>
                    <a:pt x="22" y="209"/>
                  </a:lnTo>
                  <a:lnTo>
                    <a:pt x="24" y="208"/>
                  </a:lnTo>
                  <a:lnTo>
                    <a:pt x="26" y="206"/>
                  </a:lnTo>
                  <a:lnTo>
                    <a:pt x="28" y="203"/>
                  </a:lnTo>
                  <a:lnTo>
                    <a:pt x="29" y="201"/>
                  </a:lnTo>
                  <a:lnTo>
                    <a:pt x="30" y="198"/>
                  </a:lnTo>
                  <a:lnTo>
                    <a:pt x="30" y="195"/>
                  </a:lnTo>
                  <a:lnTo>
                    <a:pt x="30" y="15"/>
                  </a:lnTo>
                  <a:lnTo>
                    <a:pt x="30" y="11"/>
                  </a:lnTo>
                  <a:lnTo>
                    <a:pt x="29" y="8"/>
                  </a:lnTo>
                  <a:lnTo>
                    <a:pt x="28" y="6"/>
                  </a:lnTo>
                  <a:lnTo>
                    <a:pt x="26" y="4"/>
                  </a:lnTo>
                  <a:lnTo>
                    <a:pt x="24" y="2"/>
                  </a:lnTo>
                  <a:lnTo>
                    <a:pt x="22" y="1"/>
                  </a:lnTo>
                  <a:lnTo>
                    <a:pt x="18" y="0"/>
                  </a:lnTo>
                  <a:lnTo>
                    <a:pt x="15" y="0"/>
                  </a:lnTo>
                  <a:lnTo>
                    <a:pt x="12" y="0"/>
                  </a:lnTo>
                  <a:lnTo>
                    <a:pt x="10" y="1"/>
                  </a:lnTo>
                  <a:lnTo>
                    <a:pt x="7" y="2"/>
                  </a:lnTo>
                  <a:lnTo>
                    <a:pt x="4" y="4"/>
                  </a:lnTo>
                  <a:lnTo>
                    <a:pt x="3" y="6"/>
                  </a:lnTo>
                  <a:lnTo>
                    <a:pt x="1" y="9"/>
                  </a:lnTo>
                  <a:lnTo>
                    <a:pt x="0" y="11"/>
                  </a:lnTo>
                  <a:lnTo>
                    <a:pt x="0" y="15"/>
                  </a:lnTo>
                  <a:lnTo>
                    <a:pt x="0" y="195"/>
                  </a:lnTo>
                  <a:lnTo>
                    <a:pt x="0" y="198"/>
                  </a:lnTo>
                  <a:lnTo>
                    <a:pt x="1" y="201"/>
                  </a:lnTo>
                  <a:lnTo>
                    <a:pt x="3" y="203"/>
                  </a:lnTo>
                  <a:lnTo>
                    <a:pt x="4" y="206"/>
                  </a:lnTo>
                  <a:lnTo>
                    <a:pt x="7" y="208"/>
                  </a:lnTo>
                  <a:lnTo>
                    <a:pt x="10" y="209"/>
                  </a:lnTo>
                  <a:lnTo>
                    <a:pt x="12" y="210"/>
                  </a:lnTo>
                  <a:lnTo>
                    <a:pt x="1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34">
              <a:extLst>
                <a:ext uri="{FF2B5EF4-FFF2-40B4-BE49-F238E27FC236}">
                  <a16:creationId xmlns:a16="http://schemas.microsoft.com/office/drawing/2014/main" id="{00E8EC2B-9803-4591-993E-AC563725AED2}"/>
                </a:ext>
              </a:extLst>
            </p:cNvPr>
            <p:cNvSpPr>
              <a:spLocks/>
            </p:cNvSpPr>
            <p:nvPr/>
          </p:nvSpPr>
          <p:spPr bwMode="auto">
            <a:xfrm>
              <a:off x="3908425" y="2546350"/>
              <a:ext cx="9525" cy="66675"/>
            </a:xfrm>
            <a:custGeom>
              <a:avLst/>
              <a:gdLst>
                <a:gd name="T0" fmla="*/ 15 w 31"/>
                <a:gd name="T1" fmla="*/ 210 h 210"/>
                <a:gd name="T2" fmla="*/ 18 w 31"/>
                <a:gd name="T3" fmla="*/ 210 h 210"/>
                <a:gd name="T4" fmla="*/ 22 w 31"/>
                <a:gd name="T5" fmla="*/ 209 h 210"/>
                <a:gd name="T6" fmla="*/ 24 w 31"/>
                <a:gd name="T7" fmla="*/ 208 h 210"/>
                <a:gd name="T8" fmla="*/ 26 w 31"/>
                <a:gd name="T9" fmla="*/ 206 h 210"/>
                <a:gd name="T10" fmla="*/ 28 w 31"/>
                <a:gd name="T11" fmla="*/ 203 h 210"/>
                <a:gd name="T12" fmla="*/ 29 w 31"/>
                <a:gd name="T13" fmla="*/ 201 h 210"/>
                <a:gd name="T14" fmla="*/ 30 w 31"/>
                <a:gd name="T15" fmla="*/ 198 h 210"/>
                <a:gd name="T16" fmla="*/ 31 w 31"/>
                <a:gd name="T17" fmla="*/ 195 h 210"/>
                <a:gd name="T18" fmla="*/ 31 w 31"/>
                <a:gd name="T19" fmla="*/ 15 h 210"/>
                <a:gd name="T20" fmla="*/ 30 w 31"/>
                <a:gd name="T21" fmla="*/ 11 h 210"/>
                <a:gd name="T22" fmla="*/ 29 w 31"/>
                <a:gd name="T23" fmla="*/ 8 h 210"/>
                <a:gd name="T24" fmla="*/ 28 w 31"/>
                <a:gd name="T25" fmla="*/ 6 h 210"/>
                <a:gd name="T26" fmla="*/ 26 w 31"/>
                <a:gd name="T27" fmla="*/ 4 h 210"/>
                <a:gd name="T28" fmla="*/ 24 w 31"/>
                <a:gd name="T29" fmla="*/ 2 h 210"/>
                <a:gd name="T30" fmla="*/ 22 w 31"/>
                <a:gd name="T31" fmla="*/ 1 h 210"/>
                <a:gd name="T32" fmla="*/ 18 w 31"/>
                <a:gd name="T33" fmla="*/ 0 h 210"/>
                <a:gd name="T34" fmla="*/ 15 w 31"/>
                <a:gd name="T35" fmla="*/ 0 h 210"/>
                <a:gd name="T36" fmla="*/ 13 w 31"/>
                <a:gd name="T37" fmla="*/ 0 h 210"/>
                <a:gd name="T38" fmla="*/ 10 w 31"/>
                <a:gd name="T39" fmla="*/ 1 h 210"/>
                <a:gd name="T40" fmla="*/ 8 w 31"/>
                <a:gd name="T41" fmla="*/ 2 h 210"/>
                <a:gd name="T42" fmla="*/ 6 w 31"/>
                <a:gd name="T43" fmla="*/ 4 h 210"/>
                <a:gd name="T44" fmla="*/ 3 w 31"/>
                <a:gd name="T45" fmla="*/ 6 h 210"/>
                <a:gd name="T46" fmla="*/ 2 w 31"/>
                <a:gd name="T47" fmla="*/ 9 h 210"/>
                <a:gd name="T48" fmla="*/ 1 w 31"/>
                <a:gd name="T49" fmla="*/ 11 h 210"/>
                <a:gd name="T50" fmla="*/ 0 w 31"/>
                <a:gd name="T51" fmla="*/ 15 h 210"/>
                <a:gd name="T52" fmla="*/ 0 w 31"/>
                <a:gd name="T53" fmla="*/ 195 h 210"/>
                <a:gd name="T54" fmla="*/ 1 w 31"/>
                <a:gd name="T55" fmla="*/ 198 h 210"/>
                <a:gd name="T56" fmla="*/ 2 w 31"/>
                <a:gd name="T57" fmla="*/ 201 h 210"/>
                <a:gd name="T58" fmla="*/ 3 w 31"/>
                <a:gd name="T59" fmla="*/ 203 h 210"/>
                <a:gd name="T60" fmla="*/ 6 w 31"/>
                <a:gd name="T61" fmla="*/ 206 h 210"/>
                <a:gd name="T62" fmla="*/ 8 w 31"/>
                <a:gd name="T63" fmla="*/ 208 h 210"/>
                <a:gd name="T64" fmla="*/ 10 w 31"/>
                <a:gd name="T65" fmla="*/ 209 h 210"/>
                <a:gd name="T66" fmla="*/ 13 w 31"/>
                <a:gd name="T67" fmla="*/ 210 h 210"/>
                <a:gd name="T68" fmla="*/ 15 w 31"/>
                <a:gd name="T6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10">
                  <a:moveTo>
                    <a:pt x="15" y="210"/>
                  </a:moveTo>
                  <a:lnTo>
                    <a:pt x="18" y="210"/>
                  </a:lnTo>
                  <a:lnTo>
                    <a:pt x="22" y="209"/>
                  </a:lnTo>
                  <a:lnTo>
                    <a:pt x="24" y="208"/>
                  </a:lnTo>
                  <a:lnTo>
                    <a:pt x="26" y="206"/>
                  </a:lnTo>
                  <a:lnTo>
                    <a:pt x="28" y="203"/>
                  </a:lnTo>
                  <a:lnTo>
                    <a:pt x="29" y="201"/>
                  </a:lnTo>
                  <a:lnTo>
                    <a:pt x="30" y="198"/>
                  </a:lnTo>
                  <a:lnTo>
                    <a:pt x="31" y="195"/>
                  </a:lnTo>
                  <a:lnTo>
                    <a:pt x="31" y="15"/>
                  </a:lnTo>
                  <a:lnTo>
                    <a:pt x="30" y="11"/>
                  </a:lnTo>
                  <a:lnTo>
                    <a:pt x="29" y="8"/>
                  </a:lnTo>
                  <a:lnTo>
                    <a:pt x="28" y="6"/>
                  </a:lnTo>
                  <a:lnTo>
                    <a:pt x="26" y="4"/>
                  </a:lnTo>
                  <a:lnTo>
                    <a:pt x="24" y="2"/>
                  </a:lnTo>
                  <a:lnTo>
                    <a:pt x="22" y="1"/>
                  </a:lnTo>
                  <a:lnTo>
                    <a:pt x="18" y="0"/>
                  </a:lnTo>
                  <a:lnTo>
                    <a:pt x="15" y="0"/>
                  </a:lnTo>
                  <a:lnTo>
                    <a:pt x="13" y="0"/>
                  </a:lnTo>
                  <a:lnTo>
                    <a:pt x="10" y="1"/>
                  </a:lnTo>
                  <a:lnTo>
                    <a:pt x="8" y="2"/>
                  </a:lnTo>
                  <a:lnTo>
                    <a:pt x="6" y="4"/>
                  </a:lnTo>
                  <a:lnTo>
                    <a:pt x="3" y="6"/>
                  </a:lnTo>
                  <a:lnTo>
                    <a:pt x="2" y="9"/>
                  </a:lnTo>
                  <a:lnTo>
                    <a:pt x="1" y="11"/>
                  </a:lnTo>
                  <a:lnTo>
                    <a:pt x="0" y="15"/>
                  </a:lnTo>
                  <a:lnTo>
                    <a:pt x="0" y="195"/>
                  </a:lnTo>
                  <a:lnTo>
                    <a:pt x="1" y="198"/>
                  </a:lnTo>
                  <a:lnTo>
                    <a:pt x="2" y="201"/>
                  </a:lnTo>
                  <a:lnTo>
                    <a:pt x="3" y="203"/>
                  </a:lnTo>
                  <a:lnTo>
                    <a:pt x="6" y="206"/>
                  </a:lnTo>
                  <a:lnTo>
                    <a:pt x="8" y="208"/>
                  </a:lnTo>
                  <a:lnTo>
                    <a:pt x="10" y="209"/>
                  </a:lnTo>
                  <a:lnTo>
                    <a:pt x="13" y="210"/>
                  </a:lnTo>
                  <a:lnTo>
                    <a:pt x="1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35">
              <a:extLst>
                <a:ext uri="{FF2B5EF4-FFF2-40B4-BE49-F238E27FC236}">
                  <a16:creationId xmlns:a16="http://schemas.microsoft.com/office/drawing/2014/main" id="{445C39ED-948A-4849-838E-30C9362B5CE7}"/>
                </a:ext>
              </a:extLst>
            </p:cNvPr>
            <p:cNvSpPr>
              <a:spLocks/>
            </p:cNvSpPr>
            <p:nvPr/>
          </p:nvSpPr>
          <p:spPr bwMode="auto">
            <a:xfrm>
              <a:off x="3946525" y="2565400"/>
              <a:ext cx="9525" cy="57150"/>
            </a:xfrm>
            <a:custGeom>
              <a:avLst/>
              <a:gdLst>
                <a:gd name="T0" fmla="*/ 15 w 30"/>
                <a:gd name="T1" fmla="*/ 180 h 180"/>
                <a:gd name="T2" fmla="*/ 19 w 30"/>
                <a:gd name="T3" fmla="*/ 180 h 180"/>
                <a:gd name="T4" fmla="*/ 21 w 30"/>
                <a:gd name="T5" fmla="*/ 179 h 180"/>
                <a:gd name="T6" fmla="*/ 24 w 30"/>
                <a:gd name="T7" fmla="*/ 178 h 180"/>
                <a:gd name="T8" fmla="*/ 26 w 30"/>
                <a:gd name="T9" fmla="*/ 176 h 180"/>
                <a:gd name="T10" fmla="*/ 27 w 30"/>
                <a:gd name="T11" fmla="*/ 173 h 180"/>
                <a:gd name="T12" fmla="*/ 29 w 30"/>
                <a:gd name="T13" fmla="*/ 171 h 180"/>
                <a:gd name="T14" fmla="*/ 30 w 30"/>
                <a:gd name="T15" fmla="*/ 168 h 180"/>
                <a:gd name="T16" fmla="*/ 30 w 30"/>
                <a:gd name="T17" fmla="*/ 165 h 180"/>
                <a:gd name="T18" fmla="*/ 30 w 30"/>
                <a:gd name="T19" fmla="*/ 15 h 180"/>
                <a:gd name="T20" fmla="*/ 30 w 30"/>
                <a:gd name="T21" fmla="*/ 11 h 180"/>
                <a:gd name="T22" fmla="*/ 29 w 30"/>
                <a:gd name="T23" fmla="*/ 9 h 180"/>
                <a:gd name="T24" fmla="*/ 27 w 30"/>
                <a:gd name="T25" fmla="*/ 6 h 180"/>
                <a:gd name="T26" fmla="*/ 26 w 30"/>
                <a:gd name="T27" fmla="*/ 4 h 180"/>
                <a:gd name="T28" fmla="*/ 24 w 30"/>
                <a:gd name="T29" fmla="*/ 2 h 180"/>
                <a:gd name="T30" fmla="*/ 21 w 30"/>
                <a:gd name="T31" fmla="*/ 1 h 180"/>
                <a:gd name="T32" fmla="*/ 19 w 30"/>
                <a:gd name="T33" fmla="*/ 0 h 180"/>
                <a:gd name="T34" fmla="*/ 15 w 30"/>
                <a:gd name="T35" fmla="*/ 0 h 180"/>
                <a:gd name="T36" fmla="*/ 12 w 30"/>
                <a:gd name="T37" fmla="*/ 0 h 180"/>
                <a:gd name="T38" fmla="*/ 9 w 30"/>
                <a:gd name="T39" fmla="*/ 1 h 180"/>
                <a:gd name="T40" fmla="*/ 7 w 30"/>
                <a:gd name="T41" fmla="*/ 2 h 180"/>
                <a:gd name="T42" fmla="*/ 5 w 30"/>
                <a:gd name="T43" fmla="*/ 4 h 180"/>
                <a:gd name="T44" fmla="*/ 3 w 30"/>
                <a:gd name="T45" fmla="*/ 6 h 180"/>
                <a:gd name="T46" fmla="*/ 1 w 30"/>
                <a:gd name="T47" fmla="*/ 9 h 180"/>
                <a:gd name="T48" fmla="*/ 0 w 30"/>
                <a:gd name="T49" fmla="*/ 11 h 180"/>
                <a:gd name="T50" fmla="*/ 0 w 30"/>
                <a:gd name="T51" fmla="*/ 15 h 180"/>
                <a:gd name="T52" fmla="*/ 0 w 30"/>
                <a:gd name="T53" fmla="*/ 165 h 180"/>
                <a:gd name="T54" fmla="*/ 0 w 30"/>
                <a:gd name="T55" fmla="*/ 168 h 180"/>
                <a:gd name="T56" fmla="*/ 1 w 30"/>
                <a:gd name="T57" fmla="*/ 171 h 180"/>
                <a:gd name="T58" fmla="*/ 3 w 30"/>
                <a:gd name="T59" fmla="*/ 173 h 180"/>
                <a:gd name="T60" fmla="*/ 5 w 30"/>
                <a:gd name="T61" fmla="*/ 176 h 180"/>
                <a:gd name="T62" fmla="*/ 7 w 30"/>
                <a:gd name="T63" fmla="*/ 178 h 180"/>
                <a:gd name="T64" fmla="*/ 9 w 30"/>
                <a:gd name="T65" fmla="*/ 179 h 180"/>
                <a:gd name="T66" fmla="*/ 12 w 30"/>
                <a:gd name="T67" fmla="*/ 180 h 180"/>
                <a:gd name="T68" fmla="*/ 15 w 3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80">
                  <a:moveTo>
                    <a:pt x="15" y="180"/>
                  </a:moveTo>
                  <a:lnTo>
                    <a:pt x="19" y="180"/>
                  </a:lnTo>
                  <a:lnTo>
                    <a:pt x="21" y="179"/>
                  </a:lnTo>
                  <a:lnTo>
                    <a:pt x="24" y="178"/>
                  </a:lnTo>
                  <a:lnTo>
                    <a:pt x="26" y="176"/>
                  </a:lnTo>
                  <a:lnTo>
                    <a:pt x="27" y="173"/>
                  </a:lnTo>
                  <a:lnTo>
                    <a:pt x="29" y="171"/>
                  </a:lnTo>
                  <a:lnTo>
                    <a:pt x="30" y="168"/>
                  </a:lnTo>
                  <a:lnTo>
                    <a:pt x="30" y="165"/>
                  </a:lnTo>
                  <a:lnTo>
                    <a:pt x="30" y="15"/>
                  </a:lnTo>
                  <a:lnTo>
                    <a:pt x="30" y="11"/>
                  </a:lnTo>
                  <a:lnTo>
                    <a:pt x="29" y="9"/>
                  </a:lnTo>
                  <a:lnTo>
                    <a:pt x="27" y="6"/>
                  </a:lnTo>
                  <a:lnTo>
                    <a:pt x="26" y="4"/>
                  </a:lnTo>
                  <a:lnTo>
                    <a:pt x="24" y="2"/>
                  </a:lnTo>
                  <a:lnTo>
                    <a:pt x="21" y="1"/>
                  </a:lnTo>
                  <a:lnTo>
                    <a:pt x="19" y="0"/>
                  </a:lnTo>
                  <a:lnTo>
                    <a:pt x="15" y="0"/>
                  </a:lnTo>
                  <a:lnTo>
                    <a:pt x="12" y="0"/>
                  </a:lnTo>
                  <a:lnTo>
                    <a:pt x="9" y="1"/>
                  </a:lnTo>
                  <a:lnTo>
                    <a:pt x="7" y="2"/>
                  </a:lnTo>
                  <a:lnTo>
                    <a:pt x="5" y="4"/>
                  </a:lnTo>
                  <a:lnTo>
                    <a:pt x="3" y="6"/>
                  </a:lnTo>
                  <a:lnTo>
                    <a:pt x="1" y="9"/>
                  </a:lnTo>
                  <a:lnTo>
                    <a:pt x="0" y="11"/>
                  </a:lnTo>
                  <a:lnTo>
                    <a:pt x="0" y="15"/>
                  </a:lnTo>
                  <a:lnTo>
                    <a:pt x="0" y="165"/>
                  </a:lnTo>
                  <a:lnTo>
                    <a:pt x="0" y="168"/>
                  </a:lnTo>
                  <a:lnTo>
                    <a:pt x="1" y="171"/>
                  </a:lnTo>
                  <a:lnTo>
                    <a:pt x="3" y="173"/>
                  </a:lnTo>
                  <a:lnTo>
                    <a:pt x="5" y="176"/>
                  </a:lnTo>
                  <a:lnTo>
                    <a:pt x="7" y="178"/>
                  </a:lnTo>
                  <a:lnTo>
                    <a:pt x="9" y="179"/>
                  </a:lnTo>
                  <a:lnTo>
                    <a:pt x="12" y="180"/>
                  </a:lnTo>
                  <a:lnTo>
                    <a:pt x="15"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36">
              <a:extLst>
                <a:ext uri="{FF2B5EF4-FFF2-40B4-BE49-F238E27FC236}">
                  <a16:creationId xmlns:a16="http://schemas.microsoft.com/office/drawing/2014/main" id="{4CE7C8BC-8A36-4632-9C1A-EFD561328FFA}"/>
                </a:ext>
              </a:extLst>
            </p:cNvPr>
            <p:cNvSpPr>
              <a:spLocks noEditPoints="1"/>
            </p:cNvSpPr>
            <p:nvPr/>
          </p:nvSpPr>
          <p:spPr bwMode="auto">
            <a:xfrm>
              <a:off x="3865563" y="2708275"/>
              <a:ext cx="57150" cy="47625"/>
            </a:xfrm>
            <a:custGeom>
              <a:avLst/>
              <a:gdLst>
                <a:gd name="T0" fmla="*/ 42 w 181"/>
                <a:gd name="T1" fmla="*/ 120 h 150"/>
                <a:gd name="T2" fmla="*/ 90 w 181"/>
                <a:gd name="T3" fmla="*/ 43 h 150"/>
                <a:gd name="T4" fmla="*/ 138 w 181"/>
                <a:gd name="T5" fmla="*/ 120 h 150"/>
                <a:gd name="T6" fmla="*/ 42 w 181"/>
                <a:gd name="T7" fmla="*/ 120 h 150"/>
                <a:gd name="T8" fmla="*/ 103 w 181"/>
                <a:gd name="T9" fmla="*/ 8 h 150"/>
                <a:gd name="T10" fmla="*/ 101 w 181"/>
                <a:gd name="T11" fmla="*/ 4 h 150"/>
                <a:gd name="T12" fmla="*/ 98 w 181"/>
                <a:gd name="T13" fmla="*/ 2 h 150"/>
                <a:gd name="T14" fmla="*/ 94 w 181"/>
                <a:gd name="T15" fmla="*/ 1 h 150"/>
                <a:gd name="T16" fmla="*/ 90 w 181"/>
                <a:gd name="T17" fmla="*/ 0 h 150"/>
                <a:gd name="T18" fmla="*/ 87 w 181"/>
                <a:gd name="T19" fmla="*/ 1 h 150"/>
                <a:gd name="T20" fmla="*/ 84 w 181"/>
                <a:gd name="T21" fmla="*/ 2 h 150"/>
                <a:gd name="T22" fmla="*/ 80 w 181"/>
                <a:gd name="T23" fmla="*/ 4 h 150"/>
                <a:gd name="T24" fmla="*/ 77 w 181"/>
                <a:gd name="T25" fmla="*/ 8 h 150"/>
                <a:gd name="T26" fmla="*/ 2 w 181"/>
                <a:gd name="T27" fmla="*/ 128 h 150"/>
                <a:gd name="T28" fmla="*/ 1 w 181"/>
                <a:gd name="T29" fmla="*/ 131 h 150"/>
                <a:gd name="T30" fmla="*/ 0 w 181"/>
                <a:gd name="T31" fmla="*/ 135 h 150"/>
                <a:gd name="T32" fmla="*/ 1 w 181"/>
                <a:gd name="T33" fmla="*/ 140 h 150"/>
                <a:gd name="T34" fmla="*/ 2 w 181"/>
                <a:gd name="T35" fmla="*/ 143 h 150"/>
                <a:gd name="T36" fmla="*/ 4 w 181"/>
                <a:gd name="T37" fmla="*/ 146 h 150"/>
                <a:gd name="T38" fmla="*/ 8 w 181"/>
                <a:gd name="T39" fmla="*/ 148 h 150"/>
                <a:gd name="T40" fmla="*/ 11 w 181"/>
                <a:gd name="T41" fmla="*/ 150 h 150"/>
                <a:gd name="T42" fmla="*/ 15 w 181"/>
                <a:gd name="T43" fmla="*/ 150 h 150"/>
                <a:gd name="T44" fmla="*/ 166 w 181"/>
                <a:gd name="T45" fmla="*/ 150 h 150"/>
                <a:gd name="T46" fmla="*/ 166 w 181"/>
                <a:gd name="T47" fmla="*/ 150 h 150"/>
                <a:gd name="T48" fmla="*/ 166 w 181"/>
                <a:gd name="T49" fmla="*/ 150 h 150"/>
                <a:gd name="T50" fmla="*/ 170 w 181"/>
                <a:gd name="T51" fmla="*/ 150 h 150"/>
                <a:gd name="T52" fmla="*/ 172 w 181"/>
                <a:gd name="T53" fmla="*/ 149 h 150"/>
                <a:gd name="T54" fmla="*/ 175 w 181"/>
                <a:gd name="T55" fmla="*/ 148 h 150"/>
                <a:gd name="T56" fmla="*/ 177 w 181"/>
                <a:gd name="T57" fmla="*/ 146 h 150"/>
                <a:gd name="T58" fmla="*/ 178 w 181"/>
                <a:gd name="T59" fmla="*/ 144 h 150"/>
                <a:gd name="T60" fmla="*/ 180 w 181"/>
                <a:gd name="T61" fmla="*/ 142 h 150"/>
                <a:gd name="T62" fmla="*/ 181 w 181"/>
                <a:gd name="T63" fmla="*/ 139 h 150"/>
                <a:gd name="T64" fmla="*/ 181 w 181"/>
                <a:gd name="T65" fmla="*/ 135 h 150"/>
                <a:gd name="T66" fmla="*/ 180 w 181"/>
                <a:gd name="T67" fmla="*/ 130 h 150"/>
                <a:gd name="T68" fmla="*/ 177 w 181"/>
                <a:gd name="T69" fmla="*/ 126 h 150"/>
                <a:gd name="T70" fmla="*/ 103 w 181"/>
                <a:gd name="T71" fmla="*/ 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50">
                  <a:moveTo>
                    <a:pt x="42" y="120"/>
                  </a:moveTo>
                  <a:lnTo>
                    <a:pt x="90" y="43"/>
                  </a:lnTo>
                  <a:lnTo>
                    <a:pt x="138" y="120"/>
                  </a:lnTo>
                  <a:lnTo>
                    <a:pt x="42" y="120"/>
                  </a:lnTo>
                  <a:close/>
                  <a:moveTo>
                    <a:pt x="103" y="8"/>
                  </a:moveTo>
                  <a:lnTo>
                    <a:pt x="101" y="4"/>
                  </a:lnTo>
                  <a:lnTo>
                    <a:pt x="98" y="2"/>
                  </a:lnTo>
                  <a:lnTo>
                    <a:pt x="94" y="1"/>
                  </a:lnTo>
                  <a:lnTo>
                    <a:pt x="90" y="0"/>
                  </a:lnTo>
                  <a:lnTo>
                    <a:pt x="87" y="1"/>
                  </a:lnTo>
                  <a:lnTo>
                    <a:pt x="84" y="2"/>
                  </a:lnTo>
                  <a:lnTo>
                    <a:pt x="80" y="4"/>
                  </a:lnTo>
                  <a:lnTo>
                    <a:pt x="77" y="8"/>
                  </a:lnTo>
                  <a:lnTo>
                    <a:pt x="2" y="128"/>
                  </a:lnTo>
                  <a:lnTo>
                    <a:pt x="1" y="131"/>
                  </a:lnTo>
                  <a:lnTo>
                    <a:pt x="0" y="135"/>
                  </a:lnTo>
                  <a:lnTo>
                    <a:pt x="1" y="140"/>
                  </a:lnTo>
                  <a:lnTo>
                    <a:pt x="2" y="143"/>
                  </a:lnTo>
                  <a:lnTo>
                    <a:pt x="4" y="146"/>
                  </a:lnTo>
                  <a:lnTo>
                    <a:pt x="8" y="148"/>
                  </a:lnTo>
                  <a:lnTo>
                    <a:pt x="11" y="150"/>
                  </a:lnTo>
                  <a:lnTo>
                    <a:pt x="15" y="150"/>
                  </a:lnTo>
                  <a:lnTo>
                    <a:pt x="166" y="150"/>
                  </a:lnTo>
                  <a:lnTo>
                    <a:pt x="166" y="150"/>
                  </a:lnTo>
                  <a:lnTo>
                    <a:pt x="166" y="150"/>
                  </a:lnTo>
                  <a:lnTo>
                    <a:pt x="170" y="150"/>
                  </a:lnTo>
                  <a:lnTo>
                    <a:pt x="172" y="149"/>
                  </a:lnTo>
                  <a:lnTo>
                    <a:pt x="175" y="148"/>
                  </a:lnTo>
                  <a:lnTo>
                    <a:pt x="177" y="146"/>
                  </a:lnTo>
                  <a:lnTo>
                    <a:pt x="178" y="144"/>
                  </a:lnTo>
                  <a:lnTo>
                    <a:pt x="180" y="142"/>
                  </a:lnTo>
                  <a:lnTo>
                    <a:pt x="181" y="139"/>
                  </a:lnTo>
                  <a:lnTo>
                    <a:pt x="181" y="135"/>
                  </a:lnTo>
                  <a:lnTo>
                    <a:pt x="180" y="130"/>
                  </a:lnTo>
                  <a:lnTo>
                    <a:pt x="177" y="126"/>
                  </a:lnTo>
                  <a:lnTo>
                    <a:pt x="10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8" name="Group 173">
            <a:extLst>
              <a:ext uri="{FF2B5EF4-FFF2-40B4-BE49-F238E27FC236}">
                <a16:creationId xmlns:a16="http://schemas.microsoft.com/office/drawing/2014/main" id="{05F4D680-30E2-46F1-B116-F3372F2E5E22}"/>
              </a:ext>
            </a:extLst>
          </p:cNvPr>
          <p:cNvGrpSpPr>
            <a:grpSpLocks noChangeAspect="1"/>
          </p:cNvGrpSpPr>
          <p:nvPr/>
        </p:nvGrpSpPr>
        <p:grpSpPr>
          <a:xfrm>
            <a:off x="5372484" y="5956111"/>
            <a:ext cx="297044" cy="285619"/>
            <a:chOff x="8162079" y="1366816"/>
            <a:chExt cx="288323" cy="277234"/>
          </a:xfrm>
          <a:solidFill>
            <a:schemeClr val="bg1"/>
          </a:solidFill>
          <a:effectLst/>
        </p:grpSpPr>
        <p:sp>
          <p:nvSpPr>
            <p:cNvPr id="1419" name="Freeform 211">
              <a:extLst>
                <a:ext uri="{FF2B5EF4-FFF2-40B4-BE49-F238E27FC236}">
                  <a16:creationId xmlns:a16="http://schemas.microsoft.com/office/drawing/2014/main" id="{F0FAFA57-4A23-4937-85DF-D09AE5156728}"/>
                </a:ext>
              </a:extLst>
            </p:cNvPr>
            <p:cNvSpPr>
              <a:spLocks noEditPoints="1"/>
            </p:cNvSpPr>
            <p:nvPr/>
          </p:nvSpPr>
          <p:spPr bwMode="auto">
            <a:xfrm>
              <a:off x="8162079" y="1366816"/>
              <a:ext cx="288323" cy="277234"/>
            </a:xfrm>
            <a:custGeom>
              <a:avLst/>
              <a:gdLst>
                <a:gd name="T0" fmla="*/ 898 w 932"/>
                <a:gd name="T1" fmla="*/ 816 h 901"/>
                <a:gd name="T2" fmla="*/ 883 w 932"/>
                <a:gd name="T3" fmla="*/ 841 h 901"/>
                <a:gd name="T4" fmla="*/ 861 w 932"/>
                <a:gd name="T5" fmla="*/ 860 h 901"/>
                <a:gd name="T6" fmla="*/ 831 w 932"/>
                <a:gd name="T7" fmla="*/ 870 h 901"/>
                <a:gd name="T8" fmla="*/ 93 w 932"/>
                <a:gd name="T9" fmla="*/ 868 h 901"/>
                <a:gd name="T10" fmla="*/ 65 w 932"/>
                <a:gd name="T11" fmla="*/ 857 h 901"/>
                <a:gd name="T12" fmla="*/ 44 w 932"/>
                <a:gd name="T13" fmla="*/ 836 h 901"/>
                <a:gd name="T14" fmla="*/ 32 w 932"/>
                <a:gd name="T15" fmla="*/ 808 h 901"/>
                <a:gd name="T16" fmla="*/ 31 w 932"/>
                <a:gd name="T17" fmla="*/ 349 h 901"/>
                <a:gd name="T18" fmla="*/ 40 w 932"/>
                <a:gd name="T19" fmla="*/ 320 h 901"/>
                <a:gd name="T20" fmla="*/ 59 w 932"/>
                <a:gd name="T21" fmla="*/ 297 h 901"/>
                <a:gd name="T22" fmla="*/ 85 w 932"/>
                <a:gd name="T23" fmla="*/ 283 h 901"/>
                <a:gd name="T24" fmla="*/ 823 w 932"/>
                <a:gd name="T25" fmla="*/ 279 h 901"/>
                <a:gd name="T26" fmla="*/ 853 w 932"/>
                <a:gd name="T27" fmla="*/ 286 h 901"/>
                <a:gd name="T28" fmla="*/ 879 w 932"/>
                <a:gd name="T29" fmla="*/ 303 h 901"/>
                <a:gd name="T30" fmla="*/ 895 w 932"/>
                <a:gd name="T31" fmla="*/ 327 h 901"/>
                <a:gd name="T32" fmla="*/ 901 w 932"/>
                <a:gd name="T33" fmla="*/ 357 h 901"/>
                <a:gd name="T34" fmla="*/ 491 w 932"/>
                <a:gd name="T35" fmla="*/ 157 h 901"/>
                <a:gd name="T36" fmla="*/ 539 w 932"/>
                <a:gd name="T37" fmla="*/ 173 h 901"/>
                <a:gd name="T38" fmla="*/ 581 w 932"/>
                <a:gd name="T39" fmla="*/ 198 h 901"/>
                <a:gd name="T40" fmla="*/ 611 w 932"/>
                <a:gd name="T41" fmla="*/ 231 h 901"/>
                <a:gd name="T42" fmla="*/ 317 w 932"/>
                <a:gd name="T43" fmla="*/ 240 h 901"/>
                <a:gd name="T44" fmla="*/ 342 w 932"/>
                <a:gd name="T45" fmla="*/ 206 h 901"/>
                <a:gd name="T46" fmla="*/ 381 w 932"/>
                <a:gd name="T47" fmla="*/ 178 h 901"/>
                <a:gd name="T48" fmla="*/ 429 w 932"/>
                <a:gd name="T49" fmla="*/ 160 h 901"/>
                <a:gd name="T50" fmla="*/ 823 w 932"/>
                <a:gd name="T51" fmla="*/ 248 h 901"/>
                <a:gd name="T52" fmla="*/ 644 w 932"/>
                <a:gd name="T53" fmla="*/ 227 h 901"/>
                <a:gd name="T54" fmla="*/ 611 w 932"/>
                <a:gd name="T55" fmla="*/ 184 h 901"/>
                <a:gd name="T56" fmla="*/ 694 w 932"/>
                <a:gd name="T57" fmla="*/ 26 h 901"/>
                <a:gd name="T58" fmla="*/ 699 w 932"/>
                <a:gd name="T59" fmla="*/ 15 h 901"/>
                <a:gd name="T60" fmla="*/ 694 w 932"/>
                <a:gd name="T61" fmla="*/ 5 h 901"/>
                <a:gd name="T62" fmla="*/ 683 w 932"/>
                <a:gd name="T63" fmla="*/ 0 h 901"/>
                <a:gd name="T64" fmla="*/ 672 w 932"/>
                <a:gd name="T65" fmla="*/ 5 h 901"/>
                <a:gd name="T66" fmla="*/ 483 w 932"/>
                <a:gd name="T67" fmla="*/ 125 h 901"/>
                <a:gd name="T68" fmla="*/ 412 w 932"/>
                <a:gd name="T69" fmla="*/ 133 h 901"/>
                <a:gd name="T70" fmla="*/ 254 w 932"/>
                <a:gd name="T71" fmla="*/ 1 h 901"/>
                <a:gd name="T72" fmla="*/ 242 w 932"/>
                <a:gd name="T73" fmla="*/ 1 h 901"/>
                <a:gd name="T74" fmla="*/ 234 w 932"/>
                <a:gd name="T75" fmla="*/ 9 h 901"/>
                <a:gd name="T76" fmla="*/ 234 w 932"/>
                <a:gd name="T77" fmla="*/ 21 h 901"/>
                <a:gd name="T78" fmla="*/ 349 w 932"/>
                <a:gd name="T79" fmla="*/ 161 h 901"/>
                <a:gd name="T80" fmla="*/ 300 w 932"/>
                <a:gd name="T81" fmla="*/ 207 h 901"/>
                <a:gd name="T82" fmla="*/ 283 w 932"/>
                <a:gd name="T83" fmla="*/ 241 h 901"/>
                <a:gd name="T84" fmla="*/ 87 w 932"/>
                <a:gd name="T85" fmla="*/ 250 h 901"/>
                <a:gd name="T86" fmla="*/ 48 w 932"/>
                <a:gd name="T87" fmla="*/ 267 h 901"/>
                <a:gd name="T88" fmla="*/ 19 w 932"/>
                <a:gd name="T89" fmla="*/ 297 h 901"/>
                <a:gd name="T90" fmla="*/ 2 w 932"/>
                <a:gd name="T91" fmla="*/ 336 h 901"/>
                <a:gd name="T92" fmla="*/ 0 w 932"/>
                <a:gd name="T93" fmla="*/ 804 h 901"/>
                <a:gd name="T94" fmla="*/ 13 w 932"/>
                <a:gd name="T95" fmla="*/ 845 h 901"/>
                <a:gd name="T96" fmla="*/ 40 w 932"/>
                <a:gd name="T97" fmla="*/ 876 h 901"/>
                <a:gd name="T98" fmla="*/ 77 w 932"/>
                <a:gd name="T99" fmla="*/ 896 h 901"/>
                <a:gd name="T100" fmla="*/ 823 w 932"/>
                <a:gd name="T101" fmla="*/ 901 h 901"/>
                <a:gd name="T102" fmla="*/ 865 w 932"/>
                <a:gd name="T103" fmla="*/ 893 h 901"/>
                <a:gd name="T104" fmla="*/ 900 w 932"/>
                <a:gd name="T105" fmla="*/ 869 h 901"/>
                <a:gd name="T106" fmla="*/ 923 w 932"/>
                <a:gd name="T107" fmla="*/ 835 h 901"/>
                <a:gd name="T108" fmla="*/ 932 w 932"/>
                <a:gd name="T109" fmla="*/ 793 h 901"/>
                <a:gd name="T110" fmla="*/ 928 w 932"/>
                <a:gd name="T111" fmla="*/ 325 h 901"/>
                <a:gd name="T112" fmla="*/ 908 w 932"/>
                <a:gd name="T113" fmla="*/ 288 h 901"/>
                <a:gd name="T114" fmla="*/ 875 w 932"/>
                <a:gd name="T115" fmla="*/ 261 h 901"/>
                <a:gd name="T116" fmla="*/ 834 w 932"/>
                <a:gd name="T117" fmla="*/ 249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2" h="901">
                  <a:moveTo>
                    <a:pt x="901" y="793"/>
                  </a:moveTo>
                  <a:lnTo>
                    <a:pt x="901" y="800"/>
                  </a:lnTo>
                  <a:lnTo>
                    <a:pt x="900" y="808"/>
                  </a:lnTo>
                  <a:lnTo>
                    <a:pt x="898" y="816"/>
                  </a:lnTo>
                  <a:lnTo>
                    <a:pt x="895" y="823"/>
                  </a:lnTo>
                  <a:lnTo>
                    <a:pt x="892" y="829"/>
                  </a:lnTo>
                  <a:lnTo>
                    <a:pt x="888" y="836"/>
                  </a:lnTo>
                  <a:lnTo>
                    <a:pt x="883" y="841"/>
                  </a:lnTo>
                  <a:lnTo>
                    <a:pt x="879" y="847"/>
                  </a:lnTo>
                  <a:lnTo>
                    <a:pt x="873" y="853"/>
                  </a:lnTo>
                  <a:lnTo>
                    <a:pt x="866" y="857"/>
                  </a:lnTo>
                  <a:lnTo>
                    <a:pt x="861" y="860"/>
                  </a:lnTo>
                  <a:lnTo>
                    <a:pt x="853" y="864"/>
                  </a:lnTo>
                  <a:lnTo>
                    <a:pt x="846" y="867"/>
                  </a:lnTo>
                  <a:lnTo>
                    <a:pt x="839" y="868"/>
                  </a:lnTo>
                  <a:lnTo>
                    <a:pt x="831" y="870"/>
                  </a:lnTo>
                  <a:lnTo>
                    <a:pt x="823" y="870"/>
                  </a:lnTo>
                  <a:lnTo>
                    <a:pt x="109" y="870"/>
                  </a:lnTo>
                  <a:lnTo>
                    <a:pt x="101" y="870"/>
                  </a:lnTo>
                  <a:lnTo>
                    <a:pt x="93" y="868"/>
                  </a:lnTo>
                  <a:lnTo>
                    <a:pt x="85" y="867"/>
                  </a:lnTo>
                  <a:lnTo>
                    <a:pt x="79" y="864"/>
                  </a:lnTo>
                  <a:lnTo>
                    <a:pt x="71" y="860"/>
                  </a:lnTo>
                  <a:lnTo>
                    <a:pt x="65" y="857"/>
                  </a:lnTo>
                  <a:lnTo>
                    <a:pt x="59" y="853"/>
                  </a:lnTo>
                  <a:lnTo>
                    <a:pt x="53" y="847"/>
                  </a:lnTo>
                  <a:lnTo>
                    <a:pt x="49" y="841"/>
                  </a:lnTo>
                  <a:lnTo>
                    <a:pt x="44" y="836"/>
                  </a:lnTo>
                  <a:lnTo>
                    <a:pt x="40" y="829"/>
                  </a:lnTo>
                  <a:lnTo>
                    <a:pt x="37" y="823"/>
                  </a:lnTo>
                  <a:lnTo>
                    <a:pt x="34" y="816"/>
                  </a:lnTo>
                  <a:lnTo>
                    <a:pt x="32" y="808"/>
                  </a:lnTo>
                  <a:lnTo>
                    <a:pt x="31" y="800"/>
                  </a:lnTo>
                  <a:lnTo>
                    <a:pt x="31" y="793"/>
                  </a:lnTo>
                  <a:lnTo>
                    <a:pt x="31" y="357"/>
                  </a:lnTo>
                  <a:lnTo>
                    <a:pt x="31" y="349"/>
                  </a:lnTo>
                  <a:lnTo>
                    <a:pt x="32" y="341"/>
                  </a:lnTo>
                  <a:lnTo>
                    <a:pt x="34" y="334"/>
                  </a:lnTo>
                  <a:lnTo>
                    <a:pt x="37" y="327"/>
                  </a:lnTo>
                  <a:lnTo>
                    <a:pt x="40" y="320"/>
                  </a:lnTo>
                  <a:lnTo>
                    <a:pt x="44" y="314"/>
                  </a:lnTo>
                  <a:lnTo>
                    <a:pt x="49" y="308"/>
                  </a:lnTo>
                  <a:lnTo>
                    <a:pt x="53" y="303"/>
                  </a:lnTo>
                  <a:lnTo>
                    <a:pt x="59" y="297"/>
                  </a:lnTo>
                  <a:lnTo>
                    <a:pt x="65" y="293"/>
                  </a:lnTo>
                  <a:lnTo>
                    <a:pt x="71" y="289"/>
                  </a:lnTo>
                  <a:lnTo>
                    <a:pt x="79" y="286"/>
                  </a:lnTo>
                  <a:lnTo>
                    <a:pt x="85" y="283"/>
                  </a:lnTo>
                  <a:lnTo>
                    <a:pt x="93" y="281"/>
                  </a:lnTo>
                  <a:lnTo>
                    <a:pt x="101" y="280"/>
                  </a:lnTo>
                  <a:lnTo>
                    <a:pt x="109" y="279"/>
                  </a:lnTo>
                  <a:lnTo>
                    <a:pt x="823" y="279"/>
                  </a:lnTo>
                  <a:lnTo>
                    <a:pt x="831" y="280"/>
                  </a:lnTo>
                  <a:lnTo>
                    <a:pt x="839" y="281"/>
                  </a:lnTo>
                  <a:lnTo>
                    <a:pt x="846" y="283"/>
                  </a:lnTo>
                  <a:lnTo>
                    <a:pt x="853" y="286"/>
                  </a:lnTo>
                  <a:lnTo>
                    <a:pt x="861" y="289"/>
                  </a:lnTo>
                  <a:lnTo>
                    <a:pt x="866" y="293"/>
                  </a:lnTo>
                  <a:lnTo>
                    <a:pt x="873" y="297"/>
                  </a:lnTo>
                  <a:lnTo>
                    <a:pt x="879" y="303"/>
                  </a:lnTo>
                  <a:lnTo>
                    <a:pt x="883" y="308"/>
                  </a:lnTo>
                  <a:lnTo>
                    <a:pt x="888" y="314"/>
                  </a:lnTo>
                  <a:lnTo>
                    <a:pt x="892" y="320"/>
                  </a:lnTo>
                  <a:lnTo>
                    <a:pt x="895" y="327"/>
                  </a:lnTo>
                  <a:lnTo>
                    <a:pt x="898" y="334"/>
                  </a:lnTo>
                  <a:lnTo>
                    <a:pt x="900" y="341"/>
                  </a:lnTo>
                  <a:lnTo>
                    <a:pt x="901" y="349"/>
                  </a:lnTo>
                  <a:lnTo>
                    <a:pt x="901" y="357"/>
                  </a:lnTo>
                  <a:lnTo>
                    <a:pt x="901" y="793"/>
                  </a:lnTo>
                  <a:close/>
                  <a:moveTo>
                    <a:pt x="466" y="155"/>
                  </a:moveTo>
                  <a:lnTo>
                    <a:pt x="479" y="156"/>
                  </a:lnTo>
                  <a:lnTo>
                    <a:pt x="491" y="157"/>
                  </a:lnTo>
                  <a:lnTo>
                    <a:pt x="503" y="160"/>
                  </a:lnTo>
                  <a:lnTo>
                    <a:pt x="515" y="164"/>
                  </a:lnTo>
                  <a:lnTo>
                    <a:pt x="528" y="167"/>
                  </a:lnTo>
                  <a:lnTo>
                    <a:pt x="539" y="173"/>
                  </a:lnTo>
                  <a:lnTo>
                    <a:pt x="551" y="178"/>
                  </a:lnTo>
                  <a:lnTo>
                    <a:pt x="562" y="185"/>
                  </a:lnTo>
                  <a:lnTo>
                    <a:pt x="572" y="191"/>
                  </a:lnTo>
                  <a:lnTo>
                    <a:pt x="581" y="198"/>
                  </a:lnTo>
                  <a:lnTo>
                    <a:pt x="590" y="206"/>
                  </a:lnTo>
                  <a:lnTo>
                    <a:pt x="598" y="215"/>
                  </a:lnTo>
                  <a:lnTo>
                    <a:pt x="605" y="223"/>
                  </a:lnTo>
                  <a:lnTo>
                    <a:pt x="611" y="231"/>
                  </a:lnTo>
                  <a:lnTo>
                    <a:pt x="615" y="240"/>
                  </a:lnTo>
                  <a:lnTo>
                    <a:pt x="619" y="248"/>
                  </a:lnTo>
                  <a:lnTo>
                    <a:pt x="313" y="248"/>
                  </a:lnTo>
                  <a:lnTo>
                    <a:pt x="317" y="240"/>
                  </a:lnTo>
                  <a:lnTo>
                    <a:pt x="321" y="231"/>
                  </a:lnTo>
                  <a:lnTo>
                    <a:pt x="327" y="223"/>
                  </a:lnTo>
                  <a:lnTo>
                    <a:pt x="334" y="215"/>
                  </a:lnTo>
                  <a:lnTo>
                    <a:pt x="342" y="206"/>
                  </a:lnTo>
                  <a:lnTo>
                    <a:pt x="351" y="198"/>
                  </a:lnTo>
                  <a:lnTo>
                    <a:pt x="360" y="191"/>
                  </a:lnTo>
                  <a:lnTo>
                    <a:pt x="371" y="185"/>
                  </a:lnTo>
                  <a:lnTo>
                    <a:pt x="381" y="178"/>
                  </a:lnTo>
                  <a:lnTo>
                    <a:pt x="393" y="173"/>
                  </a:lnTo>
                  <a:lnTo>
                    <a:pt x="404" y="167"/>
                  </a:lnTo>
                  <a:lnTo>
                    <a:pt x="417" y="164"/>
                  </a:lnTo>
                  <a:lnTo>
                    <a:pt x="429" y="160"/>
                  </a:lnTo>
                  <a:lnTo>
                    <a:pt x="441" y="157"/>
                  </a:lnTo>
                  <a:lnTo>
                    <a:pt x="453" y="156"/>
                  </a:lnTo>
                  <a:lnTo>
                    <a:pt x="466" y="155"/>
                  </a:lnTo>
                  <a:close/>
                  <a:moveTo>
                    <a:pt x="823" y="248"/>
                  </a:moveTo>
                  <a:lnTo>
                    <a:pt x="651" y="248"/>
                  </a:lnTo>
                  <a:lnTo>
                    <a:pt x="649" y="241"/>
                  </a:lnTo>
                  <a:lnTo>
                    <a:pt x="646" y="235"/>
                  </a:lnTo>
                  <a:lnTo>
                    <a:pt x="644" y="227"/>
                  </a:lnTo>
                  <a:lnTo>
                    <a:pt x="641" y="220"/>
                  </a:lnTo>
                  <a:lnTo>
                    <a:pt x="632" y="207"/>
                  </a:lnTo>
                  <a:lnTo>
                    <a:pt x="622" y="195"/>
                  </a:lnTo>
                  <a:lnTo>
                    <a:pt x="611" y="184"/>
                  </a:lnTo>
                  <a:lnTo>
                    <a:pt x="598" y="173"/>
                  </a:lnTo>
                  <a:lnTo>
                    <a:pt x="583" y="161"/>
                  </a:lnTo>
                  <a:lnTo>
                    <a:pt x="568" y="153"/>
                  </a:lnTo>
                  <a:lnTo>
                    <a:pt x="694" y="26"/>
                  </a:lnTo>
                  <a:lnTo>
                    <a:pt x="696" y="24"/>
                  </a:lnTo>
                  <a:lnTo>
                    <a:pt x="698" y="21"/>
                  </a:lnTo>
                  <a:lnTo>
                    <a:pt x="699" y="18"/>
                  </a:lnTo>
                  <a:lnTo>
                    <a:pt x="699" y="15"/>
                  </a:lnTo>
                  <a:lnTo>
                    <a:pt x="699" y="13"/>
                  </a:lnTo>
                  <a:lnTo>
                    <a:pt x="698" y="9"/>
                  </a:lnTo>
                  <a:lnTo>
                    <a:pt x="696" y="7"/>
                  </a:lnTo>
                  <a:lnTo>
                    <a:pt x="694" y="5"/>
                  </a:lnTo>
                  <a:lnTo>
                    <a:pt x="692" y="3"/>
                  </a:lnTo>
                  <a:lnTo>
                    <a:pt x="690" y="1"/>
                  </a:lnTo>
                  <a:lnTo>
                    <a:pt x="686" y="0"/>
                  </a:lnTo>
                  <a:lnTo>
                    <a:pt x="683" y="0"/>
                  </a:lnTo>
                  <a:lnTo>
                    <a:pt x="681" y="0"/>
                  </a:lnTo>
                  <a:lnTo>
                    <a:pt x="678" y="1"/>
                  </a:lnTo>
                  <a:lnTo>
                    <a:pt x="675" y="3"/>
                  </a:lnTo>
                  <a:lnTo>
                    <a:pt x="672" y="5"/>
                  </a:lnTo>
                  <a:lnTo>
                    <a:pt x="538" y="139"/>
                  </a:lnTo>
                  <a:lnTo>
                    <a:pt x="520" y="133"/>
                  </a:lnTo>
                  <a:lnTo>
                    <a:pt x="502" y="128"/>
                  </a:lnTo>
                  <a:lnTo>
                    <a:pt x="483" y="125"/>
                  </a:lnTo>
                  <a:lnTo>
                    <a:pt x="466" y="124"/>
                  </a:lnTo>
                  <a:lnTo>
                    <a:pt x="449" y="125"/>
                  </a:lnTo>
                  <a:lnTo>
                    <a:pt x="430" y="128"/>
                  </a:lnTo>
                  <a:lnTo>
                    <a:pt x="412" y="133"/>
                  </a:lnTo>
                  <a:lnTo>
                    <a:pt x="394" y="139"/>
                  </a:lnTo>
                  <a:lnTo>
                    <a:pt x="260" y="5"/>
                  </a:lnTo>
                  <a:lnTo>
                    <a:pt x="257" y="3"/>
                  </a:lnTo>
                  <a:lnTo>
                    <a:pt x="254" y="1"/>
                  </a:lnTo>
                  <a:lnTo>
                    <a:pt x="251" y="0"/>
                  </a:lnTo>
                  <a:lnTo>
                    <a:pt x="249" y="0"/>
                  </a:lnTo>
                  <a:lnTo>
                    <a:pt x="245" y="0"/>
                  </a:lnTo>
                  <a:lnTo>
                    <a:pt x="242" y="1"/>
                  </a:lnTo>
                  <a:lnTo>
                    <a:pt x="240" y="3"/>
                  </a:lnTo>
                  <a:lnTo>
                    <a:pt x="238" y="5"/>
                  </a:lnTo>
                  <a:lnTo>
                    <a:pt x="235" y="7"/>
                  </a:lnTo>
                  <a:lnTo>
                    <a:pt x="234" y="9"/>
                  </a:lnTo>
                  <a:lnTo>
                    <a:pt x="233" y="13"/>
                  </a:lnTo>
                  <a:lnTo>
                    <a:pt x="233" y="15"/>
                  </a:lnTo>
                  <a:lnTo>
                    <a:pt x="233" y="18"/>
                  </a:lnTo>
                  <a:lnTo>
                    <a:pt x="234" y="21"/>
                  </a:lnTo>
                  <a:lnTo>
                    <a:pt x="235" y="24"/>
                  </a:lnTo>
                  <a:lnTo>
                    <a:pt x="238" y="26"/>
                  </a:lnTo>
                  <a:lnTo>
                    <a:pt x="364" y="153"/>
                  </a:lnTo>
                  <a:lnTo>
                    <a:pt x="349" y="161"/>
                  </a:lnTo>
                  <a:lnTo>
                    <a:pt x="334" y="173"/>
                  </a:lnTo>
                  <a:lnTo>
                    <a:pt x="321" y="183"/>
                  </a:lnTo>
                  <a:lnTo>
                    <a:pt x="310" y="195"/>
                  </a:lnTo>
                  <a:lnTo>
                    <a:pt x="300" y="207"/>
                  </a:lnTo>
                  <a:lnTo>
                    <a:pt x="291" y="220"/>
                  </a:lnTo>
                  <a:lnTo>
                    <a:pt x="288" y="227"/>
                  </a:lnTo>
                  <a:lnTo>
                    <a:pt x="285" y="235"/>
                  </a:lnTo>
                  <a:lnTo>
                    <a:pt x="283" y="241"/>
                  </a:lnTo>
                  <a:lnTo>
                    <a:pt x="281" y="248"/>
                  </a:lnTo>
                  <a:lnTo>
                    <a:pt x="109" y="248"/>
                  </a:lnTo>
                  <a:lnTo>
                    <a:pt x="98" y="249"/>
                  </a:lnTo>
                  <a:lnTo>
                    <a:pt x="87" y="250"/>
                  </a:lnTo>
                  <a:lnTo>
                    <a:pt x="77" y="254"/>
                  </a:lnTo>
                  <a:lnTo>
                    <a:pt x="67" y="257"/>
                  </a:lnTo>
                  <a:lnTo>
                    <a:pt x="57" y="261"/>
                  </a:lnTo>
                  <a:lnTo>
                    <a:pt x="48" y="267"/>
                  </a:lnTo>
                  <a:lnTo>
                    <a:pt x="40" y="274"/>
                  </a:lnTo>
                  <a:lnTo>
                    <a:pt x="32" y="280"/>
                  </a:lnTo>
                  <a:lnTo>
                    <a:pt x="24" y="288"/>
                  </a:lnTo>
                  <a:lnTo>
                    <a:pt x="19" y="297"/>
                  </a:lnTo>
                  <a:lnTo>
                    <a:pt x="13" y="306"/>
                  </a:lnTo>
                  <a:lnTo>
                    <a:pt x="9" y="315"/>
                  </a:lnTo>
                  <a:lnTo>
                    <a:pt x="4" y="325"/>
                  </a:lnTo>
                  <a:lnTo>
                    <a:pt x="2" y="336"/>
                  </a:lnTo>
                  <a:lnTo>
                    <a:pt x="0" y="346"/>
                  </a:lnTo>
                  <a:lnTo>
                    <a:pt x="0" y="357"/>
                  </a:lnTo>
                  <a:lnTo>
                    <a:pt x="0" y="793"/>
                  </a:lnTo>
                  <a:lnTo>
                    <a:pt x="0" y="804"/>
                  </a:lnTo>
                  <a:lnTo>
                    <a:pt x="2" y="815"/>
                  </a:lnTo>
                  <a:lnTo>
                    <a:pt x="4" y="825"/>
                  </a:lnTo>
                  <a:lnTo>
                    <a:pt x="9" y="835"/>
                  </a:lnTo>
                  <a:lnTo>
                    <a:pt x="13" y="845"/>
                  </a:lnTo>
                  <a:lnTo>
                    <a:pt x="19" y="854"/>
                  </a:lnTo>
                  <a:lnTo>
                    <a:pt x="24" y="861"/>
                  </a:lnTo>
                  <a:lnTo>
                    <a:pt x="32" y="869"/>
                  </a:lnTo>
                  <a:lnTo>
                    <a:pt x="40" y="876"/>
                  </a:lnTo>
                  <a:lnTo>
                    <a:pt x="48" y="883"/>
                  </a:lnTo>
                  <a:lnTo>
                    <a:pt x="57" y="888"/>
                  </a:lnTo>
                  <a:lnTo>
                    <a:pt x="67" y="893"/>
                  </a:lnTo>
                  <a:lnTo>
                    <a:pt x="77" y="896"/>
                  </a:lnTo>
                  <a:lnTo>
                    <a:pt x="87" y="899"/>
                  </a:lnTo>
                  <a:lnTo>
                    <a:pt x="98" y="900"/>
                  </a:lnTo>
                  <a:lnTo>
                    <a:pt x="109" y="901"/>
                  </a:lnTo>
                  <a:lnTo>
                    <a:pt x="823" y="901"/>
                  </a:lnTo>
                  <a:lnTo>
                    <a:pt x="834" y="900"/>
                  </a:lnTo>
                  <a:lnTo>
                    <a:pt x="845" y="899"/>
                  </a:lnTo>
                  <a:lnTo>
                    <a:pt x="855" y="896"/>
                  </a:lnTo>
                  <a:lnTo>
                    <a:pt x="865" y="893"/>
                  </a:lnTo>
                  <a:lnTo>
                    <a:pt x="875" y="888"/>
                  </a:lnTo>
                  <a:lnTo>
                    <a:pt x="884" y="883"/>
                  </a:lnTo>
                  <a:lnTo>
                    <a:pt x="893" y="876"/>
                  </a:lnTo>
                  <a:lnTo>
                    <a:pt x="900" y="869"/>
                  </a:lnTo>
                  <a:lnTo>
                    <a:pt x="908" y="861"/>
                  </a:lnTo>
                  <a:lnTo>
                    <a:pt x="913" y="854"/>
                  </a:lnTo>
                  <a:lnTo>
                    <a:pt x="919" y="845"/>
                  </a:lnTo>
                  <a:lnTo>
                    <a:pt x="923" y="835"/>
                  </a:lnTo>
                  <a:lnTo>
                    <a:pt x="928" y="825"/>
                  </a:lnTo>
                  <a:lnTo>
                    <a:pt x="930" y="815"/>
                  </a:lnTo>
                  <a:lnTo>
                    <a:pt x="932" y="804"/>
                  </a:lnTo>
                  <a:lnTo>
                    <a:pt x="932" y="793"/>
                  </a:lnTo>
                  <a:lnTo>
                    <a:pt x="932" y="357"/>
                  </a:lnTo>
                  <a:lnTo>
                    <a:pt x="932" y="346"/>
                  </a:lnTo>
                  <a:lnTo>
                    <a:pt x="930" y="336"/>
                  </a:lnTo>
                  <a:lnTo>
                    <a:pt x="928" y="325"/>
                  </a:lnTo>
                  <a:lnTo>
                    <a:pt x="923" y="315"/>
                  </a:lnTo>
                  <a:lnTo>
                    <a:pt x="919" y="306"/>
                  </a:lnTo>
                  <a:lnTo>
                    <a:pt x="913" y="297"/>
                  </a:lnTo>
                  <a:lnTo>
                    <a:pt x="908" y="288"/>
                  </a:lnTo>
                  <a:lnTo>
                    <a:pt x="900" y="280"/>
                  </a:lnTo>
                  <a:lnTo>
                    <a:pt x="892" y="274"/>
                  </a:lnTo>
                  <a:lnTo>
                    <a:pt x="884" y="267"/>
                  </a:lnTo>
                  <a:lnTo>
                    <a:pt x="875" y="261"/>
                  </a:lnTo>
                  <a:lnTo>
                    <a:pt x="865" y="257"/>
                  </a:lnTo>
                  <a:lnTo>
                    <a:pt x="855" y="254"/>
                  </a:lnTo>
                  <a:lnTo>
                    <a:pt x="845" y="250"/>
                  </a:lnTo>
                  <a:lnTo>
                    <a:pt x="834" y="249"/>
                  </a:lnTo>
                  <a:lnTo>
                    <a:pt x="823"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212">
              <a:extLst>
                <a:ext uri="{FF2B5EF4-FFF2-40B4-BE49-F238E27FC236}">
                  <a16:creationId xmlns:a16="http://schemas.microsoft.com/office/drawing/2014/main" id="{8A5B40A0-D40A-433A-ABC1-EBFA74E221B2}"/>
                </a:ext>
              </a:extLst>
            </p:cNvPr>
            <p:cNvSpPr>
              <a:spLocks noEditPoints="1"/>
            </p:cNvSpPr>
            <p:nvPr/>
          </p:nvSpPr>
          <p:spPr bwMode="auto">
            <a:xfrm>
              <a:off x="8191650" y="1461692"/>
              <a:ext cx="172501" cy="163876"/>
            </a:xfrm>
            <a:custGeom>
              <a:avLst/>
              <a:gdLst>
                <a:gd name="T0" fmla="*/ 525 w 559"/>
                <a:gd name="T1" fmla="*/ 436 h 529"/>
                <a:gd name="T2" fmla="*/ 510 w 559"/>
                <a:gd name="T3" fmla="*/ 455 h 529"/>
                <a:gd name="T4" fmla="*/ 479 w 559"/>
                <a:gd name="T5" fmla="*/ 476 h 529"/>
                <a:gd name="T6" fmla="*/ 422 w 559"/>
                <a:gd name="T7" fmla="*/ 491 h 529"/>
                <a:gd name="T8" fmla="*/ 335 w 559"/>
                <a:gd name="T9" fmla="*/ 498 h 529"/>
                <a:gd name="T10" fmla="*/ 176 w 559"/>
                <a:gd name="T11" fmla="*/ 497 h 529"/>
                <a:gd name="T12" fmla="*/ 121 w 559"/>
                <a:gd name="T13" fmla="*/ 489 h 529"/>
                <a:gd name="T14" fmla="*/ 80 w 559"/>
                <a:gd name="T15" fmla="*/ 476 h 529"/>
                <a:gd name="T16" fmla="*/ 50 w 559"/>
                <a:gd name="T17" fmla="*/ 458 h 529"/>
                <a:gd name="T18" fmla="*/ 35 w 559"/>
                <a:gd name="T19" fmla="*/ 434 h 529"/>
                <a:gd name="T20" fmla="*/ 31 w 559"/>
                <a:gd name="T21" fmla="*/ 101 h 529"/>
                <a:gd name="T22" fmla="*/ 34 w 559"/>
                <a:gd name="T23" fmla="*/ 86 h 529"/>
                <a:gd name="T24" fmla="*/ 48 w 559"/>
                <a:gd name="T25" fmla="*/ 66 h 529"/>
                <a:gd name="T26" fmla="*/ 79 w 559"/>
                <a:gd name="T27" fmla="*/ 49 h 529"/>
                <a:gd name="T28" fmla="*/ 121 w 559"/>
                <a:gd name="T29" fmla="*/ 38 h 529"/>
                <a:gd name="T30" fmla="*/ 185 w 559"/>
                <a:gd name="T31" fmla="*/ 33 h 529"/>
                <a:gd name="T32" fmla="*/ 369 w 559"/>
                <a:gd name="T33" fmla="*/ 33 h 529"/>
                <a:gd name="T34" fmla="*/ 435 w 559"/>
                <a:gd name="T35" fmla="*/ 39 h 529"/>
                <a:gd name="T36" fmla="*/ 478 w 559"/>
                <a:gd name="T37" fmla="*/ 50 h 529"/>
                <a:gd name="T38" fmla="*/ 510 w 559"/>
                <a:gd name="T39" fmla="*/ 69 h 529"/>
                <a:gd name="T40" fmla="*/ 526 w 559"/>
                <a:gd name="T41" fmla="*/ 90 h 529"/>
                <a:gd name="T42" fmla="*/ 528 w 559"/>
                <a:gd name="T43" fmla="*/ 107 h 529"/>
                <a:gd name="T44" fmla="*/ 218 w 559"/>
                <a:gd name="T45" fmla="*/ 0 h 529"/>
                <a:gd name="T46" fmla="*/ 144 w 559"/>
                <a:gd name="T47" fmla="*/ 4 h 529"/>
                <a:gd name="T48" fmla="*/ 89 w 559"/>
                <a:gd name="T49" fmla="*/ 14 h 529"/>
                <a:gd name="T50" fmla="*/ 47 w 559"/>
                <a:gd name="T51" fmla="*/ 29 h 529"/>
                <a:gd name="T52" fmla="*/ 27 w 559"/>
                <a:gd name="T53" fmla="*/ 44 h 529"/>
                <a:gd name="T54" fmla="*/ 11 w 559"/>
                <a:gd name="T55" fmla="*/ 61 h 529"/>
                <a:gd name="T56" fmla="*/ 1 w 559"/>
                <a:gd name="T57" fmla="*/ 84 h 529"/>
                <a:gd name="T58" fmla="*/ 0 w 559"/>
                <a:gd name="T59" fmla="*/ 415 h 529"/>
                <a:gd name="T60" fmla="*/ 4 w 559"/>
                <a:gd name="T61" fmla="*/ 441 h 529"/>
                <a:gd name="T62" fmla="*/ 19 w 559"/>
                <a:gd name="T63" fmla="*/ 469 h 529"/>
                <a:gd name="T64" fmla="*/ 50 w 559"/>
                <a:gd name="T65" fmla="*/ 496 h 529"/>
                <a:gd name="T66" fmla="*/ 104 w 559"/>
                <a:gd name="T67" fmla="*/ 517 h 529"/>
                <a:gd name="T68" fmla="*/ 184 w 559"/>
                <a:gd name="T69" fmla="*/ 528 h 529"/>
                <a:gd name="T70" fmla="*/ 372 w 559"/>
                <a:gd name="T71" fmla="*/ 528 h 529"/>
                <a:gd name="T72" fmla="*/ 460 w 559"/>
                <a:gd name="T73" fmla="*/ 515 h 529"/>
                <a:gd name="T74" fmla="*/ 515 w 559"/>
                <a:gd name="T75" fmla="*/ 490 h 529"/>
                <a:gd name="T76" fmla="*/ 545 w 559"/>
                <a:gd name="T77" fmla="*/ 463 h 529"/>
                <a:gd name="T78" fmla="*/ 557 w 559"/>
                <a:gd name="T79" fmla="*/ 437 h 529"/>
                <a:gd name="T80" fmla="*/ 559 w 559"/>
                <a:gd name="T81" fmla="*/ 420 h 529"/>
                <a:gd name="T82" fmla="*/ 556 w 559"/>
                <a:gd name="T83" fmla="*/ 81 h 529"/>
                <a:gd name="T84" fmla="*/ 538 w 559"/>
                <a:gd name="T85" fmla="*/ 51 h 529"/>
                <a:gd name="T86" fmla="*/ 503 w 559"/>
                <a:gd name="T87" fmla="*/ 27 h 529"/>
                <a:gd name="T88" fmla="*/ 453 w 559"/>
                <a:gd name="T89" fmla="*/ 11 h 529"/>
                <a:gd name="T90" fmla="*/ 388 w 559"/>
                <a:gd name="T91" fmla="*/ 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9" h="529">
                  <a:moveTo>
                    <a:pt x="528" y="420"/>
                  </a:moveTo>
                  <a:lnTo>
                    <a:pt x="528" y="426"/>
                  </a:lnTo>
                  <a:lnTo>
                    <a:pt x="525" y="436"/>
                  </a:lnTo>
                  <a:lnTo>
                    <a:pt x="521" y="441"/>
                  </a:lnTo>
                  <a:lnTo>
                    <a:pt x="517" y="448"/>
                  </a:lnTo>
                  <a:lnTo>
                    <a:pt x="510" y="455"/>
                  </a:lnTo>
                  <a:lnTo>
                    <a:pt x="502" y="463"/>
                  </a:lnTo>
                  <a:lnTo>
                    <a:pt x="491" y="469"/>
                  </a:lnTo>
                  <a:lnTo>
                    <a:pt x="479" y="476"/>
                  </a:lnTo>
                  <a:lnTo>
                    <a:pt x="463" y="481"/>
                  </a:lnTo>
                  <a:lnTo>
                    <a:pt x="445" y="487"/>
                  </a:lnTo>
                  <a:lnTo>
                    <a:pt x="422" y="491"/>
                  </a:lnTo>
                  <a:lnTo>
                    <a:pt x="397" y="495"/>
                  </a:lnTo>
                  <a:lnTo>
                    <a:pt x="368" y="497"/>
                  </a:lnTo>
                  <a:lnTo>
                    <a:pt x="335" y="498"/>
                  </a:lnTo>
                  <a:lnTo>
                    <a:pt x="218" y="498"/>
                  </a:lnTo>
                  <a:lnTo>
                    <a:pt x="196" y="498"/>
                  </a:lnTo>
                  <a:lnTo>
                    <a:pt x="176" y="497"/>
                  </a:lnTo>
                  <a:lnTo>
                    <a:pt x="157" y="495"/>
                  </a:lnTo>
                  <a:lnTo>
                    <a:pt x="138" y="493"/>
                  </a:lnTo>
                  <a:lnTo>
                    <a:pt x="121" y="489"/>
                  </a:lnTo>
                  <a:lnTo>
                    <a:pt x="107" y="486"/>
                  </a:lnTo>
                  <a:lnTo>
                    <a:pt x="92" y="481"/>
                  </a:lnTo>
                  <a:lnTo>
                    <a:pt x="80" y="476"/>
                  </a:lnTo>
                  <a:lnTo>
                    <a:pt x="69" y="470"/>
                  </a:lnTo>
                  <a:lnTo>
                    <a:pt x="59" y="465"/>
                  </a:lnTo>
                  <a:lnTo>
                    <a:pt x="50" y="458"/>
                  </a:lnTo>
                  <a:lnTo>
                    <a:pt x="44" y="450"/>
                  </a:lnTo>
                  <a:lnTo>
                    <a:pt x="38" y="443"/>
                  </a:lnTo>
                  <a:lnTo>
                    <a:pt x="35" y="434"/>
                  </a:lnTo>
                  <a:lnTo>
                    <a:pt x="31" y="425"/>
                  </a:lnTo>
                  <a:lnTo>
                    <a:pt x="31" y="415"/>
                  </a:lnTo>
                  <a:lnTo>
                    <a:pt x="31" y="101"/>
                  </a:lnTo>
                  <a:lnTo>
                    <a:pt x="31" y="96"/>
                  </a:lnTo>
                  <a:lnTo>
                    <a:pt x="32" y="91"/>
                  </a:lnTo>
                  <a:lnTo>
                    <a:pt x="34" y="86"/>
                  </a:lnTo>
                  <a:lnTo>
                    <a:pt x="36" y="81"/>
                  </a:lnTo>
                  <a:lnTo>
                    <a:pt x="41" y="74"/>
                  </a:lnTo>
                  <a:lnTo>
                    <a:pt x="48" y="66"/>
                  </a:lnTo>
                  <a:lnTo>
                    <a:pt x="57" y="59"/>
                  </a:lnTo>
                  <a:lnTo>
                    <a:pt x="68" y="54"/>
                  </a:lnTo>
                  <a:lnTo>
                    <a:pt x="79" y="49"/>
                  </a:lnTo>
                  <a:lnTo>
                    <a:pt x="92" y="45"/>
                  </a:lnTo>
                  <a:lnTo>
                    <a:pt x="107" y="41"/>
                  </a:lnTo>
                  <a:lnTo>
                    <a:pt x="121" y="38"/>
                  </a:lnTo>
                  <a:lnTo>
                    <a:pt x="137" y="36"/>
                  </a:lnTo>
                  <a:lnTo>
                    <a:pt x="152" y="35"/>
                  </a:lnTo>
                  <a:lnTo>
                    <a:pt x="185" y="33"/>
                  </a:lnTo>
                  <a:lnTo>
                    <a:pt x="218" y="31"/>
                  </a:lnTo>
                  <a:lnTo>
                    <a:pt x="335" y="31"/>
                  </a:lnTo>
                  <a:lnTo>
                    <a:pt x="369" y="33"/>
                  </a:lnTo>
                  <a:lnTo>
                    <a:pt x="402" y="35"/>
                  </a:lnTo>
                  <a:lnTo>
                    <a:pt x="419" y="37"/>
                  </a:lnTo>
                  <a:lnTo>
                    <a:pt x="435" y="39"/>
                  </a:lnTo>
                  <a:lnTo>
                    <a:pt x="450" y="43"/>
                  </a:lnTo>
                  <a:lnTo>
                    <a:pt x="465" y="46"/>
                  </a:lnTo>
                  <a:lnTo>
                    <a:pt x="478" y="50"/>
                  </a:lnTo>
                  <a:lnTo>
                    <a:pt x="490" y="56"/>
                  </a:lnTo>
                  <a:lnTo>
                    <a:pt x="501" y="61"/>
                  </a:lnTo>
                  <a:lnTo>
                    <a:pt x="510" y="69"/>
                  </a:lnTo>
                  <a:lnTo>
                    <a:pt x="518" y="77"/>
                  </a:lnTo>
                  <a:lnTo>
                    <a:pt x="523" y="86"/>
                  </a:lnTo>
                  <a:lnTo>
                    <a:pt x="526" y="90"/>
                  </a:lnTo>
                  <a:lnTo>
                    <a:pt x="527" y="96"/>
                  </a:lnTo>
                  <a:lnTo>
                    <a:pt x="528" y="101"/>
                  </a:lnTo>
                  <a:lnTo>
                    <a:pt x="528" y="107"/>
                  </a:lnTo>
                  <a:lnTo>
                    <a:pt x="528" y="420"/>
                  </a:lnTo>
                  <a:close/>
                  <a:moveTo>
                    <a:pt x="335" y="0"/>
                  </a:moveTo>
                  <a:lnTo>
                    <a:pt x="218" y="0"/>
                  </a:lnTo>
                  <a:lnTo>
                    <a:pt x="192" y="0"/>
                  </a:lnTo>
                  <a:lnTo>
                    <a:pt x="161" y="3"/>
                  </a:lnTo>
                  <a:lnTo>
                    <a:pt x="144" y="4"/>
                  </a:lnTo>
                  <a:lnTo>
                    <a:pt x="125" y="6"/>
                  </a:lnTo>
                  <a:lnTo>
                    <a:pt x="107" y="9"/>
                  </a:lnTo>
                  <a:lnTo>
                    <a:pt x="89" y="14"/>
                  </a:lnTo>
                  <a:lnTo>
                    <a:pt x="71" y="18"/>
                  </a:lnTo>
                  <a:lnTo>
                    <a:pt x="55" y="25"/>
                  </a:lnTo>
                  <a:lnTo>
                    <a:pt x="47" y="29"/>
                  </a:lnTo>
                  <a:lnTo>
                    <a:pt x="39" y="34"/>
                  </a:lnTo>
                  <a:lnTo>
                    <a:pt x="32" y="38"/>
                  </a:lnTo>
                  <a:lnTo>
                    <a:pt x="27" y="44"/>
                  </a:lnTo>
                  <a:lnTo>
                    <a:pt x="20" y="49"/>
                  </a:lnTo>
                  <a:lnTo>
                    <a:pt x="16" y="55"/>
                  </a:lnTo>
                  <a:lnTo>
                    <a:pt x="11" y="61"/>
                  </a:lnTo>
                  <a:lnTo>
                    <a:pt x="7" y="68"/>
                  </a:lnTo>
                  <a:lnTo>
                    <a:pt x="4" y="76"/>
                  </a:lnTo>
                  <a:lnTo>
                    <a:pt x="1" y="84"/>
                  </a:lnTo>
                  <a:lnTo>
                    <a:pt x="0" y="93"/>
                  </a:lnTo>
                  <a:lnTo>
                    <a:pt x="0" y="101"/>
                  </a:lnTo>
                  <a:lnTo>
                    <a:pt x="0" y="415"/>
                  </a:lnTo>
                  <a:lnTo>
                    <a:pt x="0" y="424"/>
                  </a:lnTo>
                  <a:lnTo>
                    <a:pt x="1" y="431"/>
                  </a:lnTo>
                  <a:lnTo>
                    <a:pt x="4" y="441"/>
                  </a:lnTo>
                  <a:lnTo>
                    <a:pt x="7" y="450"/>
                  </a:lnTo>
                  <a:lnTo>
                    <a:pt x="12" y="460"/>
                  </a:lnTo>
                  <a:lnTo>
                    <a:pt x="19" y="469"/>
                  </a:lnTo>
                  <a:lnTo>
                    <a:pt x="27" y="479"/>
                  </a:lnTo>
                  <a:lnTo>
                    <a:pt x="38" y="488"/>
                  </a:lnTo>
                  <a:lnTo>
                    <a:pt x="50" y="496"/>
                  </a:lnTo>
                  <a:lnTo>
                    <a:pt x="66" y="504"/>
                  </a:lnTo>
                  <a:lnTo>
                    <a:pt x="84" y="511"/>
                  </a:lnTo>
                  <a:lnTo>
                    <a:pt x="104" y="517"/>
                  </a:lnTo>
                  <a:lnTo>
                    <a:pt x="127" y="523"/>
                  </a:lnTo>
                  <a:lnTo>
                    <a:pt x="154" y="526"/>
                  </a:lnTo>
                  <a:lnTo>
                    <a:pt x="184" y="528"/>
                  </a:lnTo>
                  <a:lnTo>
                    <a:pt x="218" y="529"/>
                  </a:lnTo>
                  <a:lnTo>
                    <a:pt x="335" y="529"/>
                  </a:lnTo>
                  <a:lnTo>
                    <a:pt x="372" y="528"/>
                  </a:lnTo>
                  <a:lnTo>
                    <a:pt x="406" y="525"/>
                  </a:lnTo>
                  <a:lnTo>
                    <a:pt x="435" y="520"/>
                  </a:lnTo>
                  <a:lnTo>
                    <a:pt x="460" y="515"/>
                  </a:lnTo>
                  <a:lnTo>
                    <a:pt x="481" y="507"/>
                  </a:lnTo>
                  <a:lnTo>
                    <a:pt x="500" y="499"/>
                  </a:lnTo>
                  <a:lnTo>
                    <a:pt x="515" y="490"/>
                  </a:lnTo>
                  <a:lnTo>
                    <a:pt x="527" y="481"/>
                  </a:lnTo>
                  <a:lnTo>
                    <a:pt x="537" y="473"/>
                  </a:lnTo>
                  <a:lnTo>
                    <a:pt x="545" y="463"/>
                  </a:lnTo>
                  <a:lnTo>
                    <a:pt x="550" y="454"/>
                  </a:lnTo>
                  <a:lnTo>
                    <a:pt x="555" y="445"/>
                  </a:lnTo>
                  <a:lnTo>
                    <a:pt x="557" y="437"/>
                  </a:lnTo>
                  <a:lnTo>
                    <a:pt x="559" y="430"/>
                  </a:lnTo>
                  <a:lnTo>
                    <a:pt x="559" y="425"/>
                  </a:lnTo>
                  <a:lnTo>
                    <a:pt x="559" y="420"/>
                  </a:lnTo>
                  <a:lnTo>
                    <a:pt x="559" y="107"/>
                  </a:lnTo>
                  <a:lnTo>
                    <a:pt x="559" y="94"/>
                  </a:lnTo>
                  <a:lnTo>
                    <a:pt x="556" y="81"/>
                  </a:lnTo>
                  <a:lnTo>
                    <a:pt x="551" y="70"/>
                  </a:lnTo>
                  <a:lnTo>
                    <a:pt x="546" y="60"/>
                  </a:lnTo>
                  <a:lnTo>
                    <a:pt x="538" y="51"/>
                  </a:lnTo>
                  <a:lnTo>
                    <a:pt x="528" y="43"/>
                  </a:lnTo>
                  <a:lnTo>
                    <a:pt x="517" y="35"/>
                  </a:lnTo>
                  <a:lnTo>
                    <a:pt x="503" y="27"/>
                  </a:lnTo>
                  <a:lnTo>
                    <a:pt x="488" y="21"/>
                  </a:lnTo>
                  <a:lnTo>
                    <a:pt x="471" y="16"/>
                  </a:lnTo>
                  <a:lnTo>
                    <a:pt x="453" y="11"/>
                  </a:lnTo>
                  <a:lnTo>
                    <a:pt x="433" y="7"/>
                  </a:lnTo>
                  <a:lnTo>
                    <a:pt x="411" y="5"/>
                  </a:lnTo>
                  <a:lnTo>
                    <a:pt x="388" y="3"/>
                  </a:lnTo>
                  <a:lnTo>
                    <a:pt x="362" y="1"/>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213">
              <a:extLst>
                <a:ext uri="{FF2B5EF4-FFF2-40B4-BE49-F238E27FC236}">
                  <a16:creationId xmlns:a16="http://schemas.microsoft.com/office/drawing/2014/main" id="{DE3DCA87-2DB9-42CB-9792-1320656C4407}"/>
                </a:ext>
              </a:extLst>
            </p:cNvPr>
            <p:cNvSpPr>
              <a:spLocks noEditPoints="1"/>
            </p:cNvSpPr>
            <p:nvPr/>
          </p:nvSpPr>
          <p:spPr bwMode="auto">
            <a:xfrm>
              <a:off x="8377705" y="1476477"/>
              <a:ext cx="48054" cy="48054"/>
            </a:xfrm>
            <a:custGeom>
              <a:avLst/>
              <a:gdLst>
                <a:gd name="T0" fmla="*/ 69 w 155"/>
                <a:gd name="T1" fmla="*/ 123 h 156"/>
                <a:gd name="T2" fmla="*/ 52 w 155"/>
                <a:gd name="T3" fmla="*/ 117 h 156"/>
                <a:gd name="T4" fmla="*/ 39 w 155"/>
                <a:gd name="T5" fmla="*/ 104 h 156"/>
                <a:gd name="T6" fmla="*/ 32 w 155"/>
                <a:gd name="T7" fmla="*/ 88 h 156"/>
                <a:gd name="T8" fmla="*/ 32 w 155"/>
                <a:gd name="T9" fmla="*/ 69 h 156"/>
                <a:gd name="T10" fmla="*/ 39 w 155"/>
                <a:gd name="T11" fmla="*/ 52 h 156"/>
                <a:gd name="T12" fmla="*/ 52 w 155"/>
                <a:gd name="T13" fmla="*/ 39 h 156"/>
                <a:gd name="T14" fmla="*/ 69 w 155"/>
                <a:gd name="T15" fmla="*/ 32 h 156"/>
                <a:gd name="T16" fmla="*/ 87 w 155"/>
                <a:gd name="T17" fmla="*/ 32 h 156"/>
                <a:gd name="T18" fmla="*/ 104 w 155"/>
                <a:gd name="T19" fmla="*/ 39 h 156"/>
                <a:gd name="T20" fmla="*/ 116 w 155"/>
                <a:gd name="T21" fmla="*/ 52 h 156"/>
                <a:gd name="T22" fmla="*/ 123 w 155"/>
                <a:gd name="T23" fmla="*/ 69 h 156"/>
                <a:gd name="T24" fmla="*/ 123 w 155"/>
                <a:gd name="T25" fmla="*/ 88 h 156"/>
                <a:gd name="T26" fmla="*/ 116 w 155"/>
                <a:gd name="T27" fmla="*/ 104 h 156"/>
                <a:gd name="T28" fmla="*/ 104 w 155"/>
                <a:gd name="T29" fmla="*/ 117 h 156"/>
                <a:gd name="T30" fmla="*/ 87 w 155"/>
                <a:gd name="T31" fmla="*/ 123 h 156"/>
                <a:gd name="T32" fmla="*/ 77 w 155"/>
                <a:gd name="T33" fmla="*/ 0 h 156"/>
                <a:gd name="T34" fmla="*/ 62 w 155"/>
                <a:gd name="T35" fmla="*/ 2 h 156"/>
                <a:gd name="T36" fmla="*/ 47 w 155"/>
                <a:gd name="T37" fmla="*/ 7 h 156"/>
                <a:gd name="T38" fmla="*/ 34 w 155"/>
                <a:gd name="T39" fmla="*/ 13 h 156"/>
                <a:gd name="T40" fmla="*/ 23 w 155"/>
                <a:gd name="T41" fmla="*/ 23 h 156"/>
                <a:gd name="T42" fmla="*/ 13 w 155"/>
                <a:gd name="T43" fmla="*/ 34 h 156"/>
                <a:gd name="T44" fmla="*/ 6 w 155"/>
                <a:gd name="T45" fmla="*/ 48 h 156"/>
                <a:gd name="T46" fmla="*/ 2 w 155"/>
                <a:gd name="T47" fmla="*/ 62 h 156"/>
                <a:gd name="T48" fmla="*/ 0 w 155"/>
                <a:gd name="T49" fmla="*/ 78 h 156"/>
                <a:gd name="T50" fmla="*/ 2 w 155"/>
                <a:gd name="T51" fmla="*/ 93 h 156"/>
                <a:gd name="T52" fmla="*/ 6 w 155"/>
                <a:gd name="T53" fmla="*/ 108 h 156"/>
                <a:gd name="T54" fmla="*/ 13 w 155"/>
                <a:gd name="T55" fmla="*/ 121 h 156"/>
                <a:gd name="T56" fmla="*/ 23 w 155"/>
                <a:gd name="T57" fmla="*/ 133 h 156"/>
                <a:gd name="T58" fmla="*/ 34 w 155"/>
                <a:gd name="T59" fmla="*/ 142 h 156"/>
                <a:gd name="T60" fmla="*/ 47 w 155"/>
                <a:gd name="T61" fmla="*/ 150 h 156"/>
                <a:gd name="T62" fmla="*/ 62 w 155"/>
                <a:gd name="T63" fmla="*/ 154 h 156"/>
                <a:gd name="T64" fmla="*/ 77 w 155"/>
                <a:gd name="T65" fmla="*/ 156 h 156"/>
                <a:gd name="T66" fmla="*/ 93 w 155"/>
                <a:gd name="T67" fmla="*/ 154 h 156"/>
                <a:gd name="T68" fmla="*/ 107 w 155"/>
                <a:gd name="T69" fmla="*/ 150 h 156"/>
                <a:gd name="T70" fmla="*/ 121 w 155"/>
                <a:gd name="T71" fmla="*/ 142 h 156"/>
                <a:gd name="T72" fmla="*/ 133 w 155"/>
                <a:gd name="T73" fmla="*/ 133 h 156"/>
                <a:gd name="T74" fmla="*/ 142 w 155"/>
                <a:gd name="T75" fmla="*/ 121 h 156"/>
                <a:gd name="T76" fmla="*/ 150 w 155"/>
                <a:gd name="T77" fmla="*/ 108 h 156"/>
                <a:gd name="T78" fmla="*/ 154 w 155"/>
                <a:gd name="T79" fmla="*/ 93 h 156"/>
                <a:gd name="T80" fmla="*/ 155 w 155"/>
                <a:gd name="T81" fmla="*/ 78 h 156"/>
                <a:gd name="T82" fmla="*/ 154 w 155"/>
                <a:gd name="T83" fmla="*/ 62 h 156"/>
                <a:gd name="T84" fmla="*/ 150 w 155"/>
                <a:gd name="T85" fmla="*/ 48 h 156"/>
                <a:gd name="T86" fmla="*/ 142 w 155"/>
                <a:gd name="T87" fmla="*/ 34 h 156"/>
                <a:gd name="T88" fmla="*/ 133 w 155"/>
                <a:gd name="T89" fmla="*/ 23 h 156"/>
                <a:gd name="T90" fmla="*/ 121 w 155"/>
                <a:gd name="T91" fmla="*/ 13 h 156"/>
                <a:gd name="T92" fmla="*/ 107 w 155"/>
                <a:gd name="T93" fmla="*/ 7 h 156"/>
                <a:gd name="T94" fmla="*/ 93 w 155"/>
                <a:gd name="T95" fmla="*/ 2 h 156"/>
                <a:gd name="T96" fmla="*/ 77 w 155"/>
                <a:gd name="T9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156">
                  <a:moveTo>
                    <a:pt x="77" y="124"/>
                  </a:moveTo>
                  <a:lnTo>
                    <a:pt x="69" y="123"/>
                  </a:lnTo>
                  <a:lnTo>
                    <a:pt x="60" y="121"/>
                  </a:lnTo>
                  <a:lnTo>
                    <a:pt x="52" y="117"/>
                  </a:lnTo>
                  <a:lnTo>
                    <a:pt x="45" y="111"/>
                  </a:lnTo>
                  <a:lnTo>
                    <a:pt x="39" y="104"/>
                  </a:lnTo>
                  <a:lnTo>
                    <a:pt x="35" y="97"/>
                  </a:lnTo>
                  <a:lnTo>
                    <a:pt x="32" y="88"/>
                  </a:lnTo>
                  <a:lnTo>
                    <a:pt x="31" y="78"/>
                  </a:lnTo>
                  <a:lnTo>
                    <a:pt x="32" y="69"/>
                  </a:lnTo>
                  <a:lnTo>
                    <a:pt x="35" y="60"/>
                  </a:lnTo>
                  <a:lnTo>
                    <a:pt x="39" y="52"/>
                  </a:lnTo>
                  <a:lnTo>
                    <a:pt x="45" y="46"/>
                  </a:lnTo>
                  <a:lnTo>
                    <a:pt x="52" y="39"/>
                  </a:lnTo>
                  <a:lnTo>
                    <a:pt x="60" y="36"/>
                  </a:lnTo>
                  <a:lnTo>
                    <a:pt x="69" y="32"/>
                  </a:lnTo>
                  <a:lnTo>
                    <a:pt x="77" y="31"/>
                  </a:lnTo>
                  <a:lnTo>
                    <a:pt x="87" y="32"/>
                  </a:lnTo>
                  <a:lnTo>
                    <a:pt x="96" y="36"/>
                  </a:lnTo>
                  <a:lnTo>
                    <a:pt x="104" y="39"/>
                  </a:lnTo>
                  <a:lnTo>
                    <a:pt x="111" y="46"/>
                  </a:lnTo>
                  <a:lnTo>
                    <a:pt x="116" y="52"/>
                  </a:lnTo>
                  <a:lnTo>
                    <a:pt x="121" y="60"/>
                  </a:lnTo>
                  <a:lnTo>
                    <a:pt x="123" y="69"/>
                  </a:lnTo>
                  <a:lnTo>
                    <a:pt x="124" y="78"/>
                  </a:lnTo>
                  <a:lnTo>
                    <a:pt x="123" y="88"/>
                  </a:lnTo>
                  <a:lnTo>
                    <a:pt x="121" y="97"/>
                  </a:lnTo>
                  <a:lnTo>
                    <a:pt x="116" y="104"/>
                  </a:lnTo>
                  <a:lnTo>
                    <a:pt x="111" y="111"/>
                  </a:lnTo>
                  <a:lnTo>
                    <a:pt x="104" y="117"/>
                  </a:lnTo>
                  <a:lnTo>
                    <a:pt x="96" y="121"/>
                  </a:lnTo>
                  <a:lnTo>
                    <a:pt x="87" y="123"/>
                  </a:lnTo>
                  <a:lnTo>
                    <a:pt x="77" y="124"/>
                  </a:lnTo>
                  <a:close/>
                  <a:moveTo>
                    <a:pt x="77" y="0"/>
                  </a:moveTo>
                  <a:lnTo>
                    <a:pt x="70" y="1"/>
                  </a:lnTo>
                  <a:lnTo>
                    <a:pt x="62" y="2"/>
                  </a:lnTo>
                  <a:lnTo>
                    <a:pt x="55" y="3"/>
                  </a:lnTo>
                  <a:lnTo>
                    <a:pt x="47" y="7"/>
                  </a:lnTo>
                  <a:lnTo>
                    <a:pt x="41" y="10"/>
                  </a:lnTo>
                  <a:lnTo>
                    <a:pt x="34" y="13"/>
                  </a:lnTo>
                  <a:lnTo>
                    <a:pt x="29" y="18"/>
                  </a:lnTo>
                  <a:lnTo>
                    <a:pt x="23" y="23"/>
                  </a:lnTo>
                  <a:lnTo>
                    <a:pt x="17" y="29"/>
                  </a:lnTo>
                  <a:lnTo>
                    <a:pt x="13" y="34"/>
                  </a:lnTo>
                  <a:lnTo>
                    <a:pt x="10" y="41"/>
                  </a:lnTo>
                  <a:lnTo>
                    <a:pt x="6" y="48"/>
                  </a:lnTo>
                  <a:lnTo>
                    <a:pt x="3" y="54"/>
                  </a:lnTo>
                  <a:lnTo>
                    <a:pt x="2" y="62"/>
                  </a:lnTo>
                  <a:lnTo>
                    <a:pt x="1" y="70"/>
                  </a:lnTo>
                  <a:lnTo>
                    <a:pt x="0" y="78"/>
                  </a:lnTo>
                  <a:lnTo>
                    <a:pt x="1" y="86"/>
                  </a:lnTo>
                  <a:lnTo>
                    <a:pt x="2" y="93"/>
                  </a:lnTo>
                  <a:lnTo>
                    <a:pt x="3" y="101"/>
                  </a:lnTo>
                  <a:lnTo>
                    <a:pt x="6" y="108"/>
                  </a:lnTo>
                  <a:lnTo>
                    <a:pt x="10" y="114"/>
                  </a:lnTo>
                  <a:lnTo>
                    <a:pt x="13" y="121"/>
                  </a:lnTo>
                  <a:lnTo>
                    <a:pt x="17" y="128"/>
                  </a:lnTo>
                  <a:lnTo>
                    <a:pt x="23" y="133"/>
                  </a:lnTo>
                  <a:lnTo>
                    <a:pt x="29" y="138"/>
                  </a:lnTo>
                  <a:lnTo>
                    <a:pt x="34" y="142"/>
                  </a:lnTo>
                  <a:lnTo>
                    <a:pt x="41" y="147"/>
                  </a:lnTo>
                  <a:lnTo>
                    <a:pt x="47" y="150"/>
                  </a:lnTo>
                  <a:lnTo>
                    <a:pt x="55" y="152"/>
                  </a:lnTo>
                  <a:lnTo>
                    <a:pt x="62" y="154"/>
                  </a:lnTo>
                  <a:lnTo>
                    <a:pt x="70" y="156"/>
                  </a:lnTo>
                  <a:lnTo>
                    <a:pt x="77" y="156"/>
                  </a:lnTo>
                  <a:lnTo>
                    <a:pt x="85" y="156"/>
                  </a:lnTo>
                  <a:lnTo>
                    <a:pt x="93" y="154"/>
                  </a:lnTo>
                  <a:lnTo>
                    <a:pt x="101" y="152"/>
                  </a:lnTo>
                  <a:lnTo>
                    <a:pt x="107" y="150"/>
                  </a:lnTo>
                  <a:lnTo>
                    <a:pt x="115" y="147"/>
                  </a:lnTo>
                  <a:lnTo>
                    <a:pt x="121" y="142"/>
                  </a:lnTo>
                  <a:lnTo>
                    <a:pt x="127" y="138"/>
                  </a:lnTo>
                  <a:lnTo>
                    <a:pt x="133" y="133"/>
                  </a:lnTo>
                  <a:lnTo>
                    <a:pt x="137" y="128"/>
                  </a:lnTo>
                  <a:lnTo>
                    <a:pt x="142" y="121"/>
                  </a:lnTo>
                  <a:lnTo>
                    <a:pt x="146" y="114"/>
                  </a:lnTo>
                  <a:lnTo>
                    <a:pt x="150" y="108"/>
                  </a:lnTo>
                  <a:lnTo>
                    <a:pt x="152" y="101"/>
                  </a:lnTo>
                  <a:lnTo>
                    <a:pt x="154" y="93"/>
                  </a:lnTo>
                  <a:lnTo>
                    <a:pt x="155" y="86"/>
                  </a:lnTo>
                  <a:lnTo>
                    <a:pt x="155" y="78"/>
                  </a:lnTo>
                  <a:lnTo>
                    <a:pt x="155" y="70"/>
                  </a:lnTo>
                  <a:lnTo>
                    <a:pt x="154" y="62"/>
                  </a:lnTo>
                  <a:lnTo>
                    <a:pt x="152" y="54"/>
                  </a:lnTo>
                  <a:lnTo>
                    <a:pt x="150" y="48"/>
                  </a:lnTo>
                  <a:lnTo>
                    <a:pt x="146" y="41"/>
                  </a:lnTo>
                  <a:lnTo>
                    <a:pt x="142" y="34"/>
                  </a:lnTo>
                  <a:lnTo>
                    <a:pt x="137" y="29"/>
                  </a:lnTo>
                  <a:lnTo>
                    <a:pt x="133" y="23"/>
                  </a:lnTo>
                  <a:lnTo>
                    <a:pt x="127" y="18"/>
                  </a:lnTo>
                  <a:lnTo>
                    <a:pt x="121" y="13"/>
                  </a:lnTo>
                  <a:lnTo>
                    <a:pt x="115" y="10"/>
                  </a:lnTo>
                  <a:lnTo>
                    <a:pt x="107" y="7"/>
                  </a:lnTo>
                  <a:lnTo>
                    <a:pt x="101" y="3"/>
                  </a:lnTo>
                  <a:lnTo>
                    <a:pt x="93" y="2"/>
                  </a:lnTo>
                  <a:lnTo>
                    <a:pt x="85" y="1"/>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214">
              <a:extLst>
                <a:ext uri="{FF2B5EF4-FFF2-40B4-BE49-F238E27FC236}">
                  <a16:creationId xmlns:a16="http://schemas.microsoft.com/office/drawing/2014/main" id="{D9EDCFCF-E835-4BC7-8EEE-1214B6CD8440}"/>
                </a:ext>
              </a:extLst>
            </p:cNvPr>
            <p:cNvSpPr>
              <a:spLocks noEditPoints="1"/>
            </p:cNvSpPr>
            <p:nvPr/>
          </p:nvSpPr>
          <p:spPr bwMode="auto">
            <a:xfrm>
              <a:off x="8377705" y="1543013"/>
              <a:ext cx="48054" cy="48054"/>
            </a:xfrm>
            <a:custGeom>
              <a:avLst/>
              <a:gdLst>
                <a:gd name="T0" fmla="*/ 69 w 155"/>
                <a:gd name="T1" fmla="*/ 123 h 155"/>
                <a:gd name="T2" fmla="*/ 52 w 155"/>
                <a:gd name="T3" fmla="*/ 116 h 155"/>
                <a:gd name="T4" fmla="*/ 39 w 155"/>
                <a:gd name="T5" fmla="*/ 103 h 155"/>
                <a:gd name="T6" fmla="*/ 32 w 155"/>
                <a:gd name="T7" fmla="*/ 86 h 155"/>
                <a:gd name="T8" fmla="*/ 32 w 155"/>
                <a:gd name="T9" fmla="*/ 69 h 155"/>
                <a:gd name="T10" fmla="*/ 39 w 155"/>
                <a:gd name="T11" fmla="*/ 52 h 155"/>
                <a:gd name="T12" fmla="*/ 52 w 155"/>
                <a:gd name="T13" fmla="*/ 39 h 155"/>
                <a:gd name="T14" fmla="*/ 69 w 155"/>
                <a:gd name="T15" fmla="*/ 32 h 155"/>
                <a:gd name="T16" fmla="*/ 87 w 155"/>
                <a:gd name="T17" fmla="*/ 32 h 155"/>
                <a:gd name="T18" fmla="*/ 104 w 155"/>
                <a:gd name="T19" fmla="*/ 39 h 155"/>
                <a:gd name="T20" fmla="*/ 116 w 155"/>
                <a:gd name="T21" fmla="*/ 52 h 155"/>
                <a:gd name="T22" fmla="*/ 123 w 155"/>
                <a:gd name="T23" fmla="*/ 69 h 155"/>
                <a:gd name="T24" fmla="*/ 123 w 155"/>
                <a:gd name="T25" fmla="*/ 86 h 155"/>
                <a:gd name="T26" fmla="*/ 116 w 155"/>
                <a:gd name="T27" fmla="*/ 103 h 155"/>
                <a:gd name="T28" fmla="*/ 104 w 155"/>
                <a:gd name="T29" fmla="*/ 116 h 155"/>
                <a:gd name="T30" fmla="*/ 87 w 155"/>
                <a:gd name="T31" fmla="*/ 123 h 155"/>
                <a:gd name="T32" fmla="*/ 77 w 155"/>
                <a:gd name="T33" fmla="*/ 0 h 155"/>
                <a:gd name="T34" fmla="*/ 62 w 155"/>
                <a:gd name="T35" fmla="*/ 2 h 155"/>
                <a:gd name="T36" fmla="*/ 47 w 155"/>
                <a:gd name="T37" fmla="*/ 6 h 155"/>
                <a:gd name="T38" fmla="*/ 34 w 155"/>
                <a:gd name="T39" fmla="*/ 13 h 155"/>
                <a:gd name="T40" fmla="*/ 23 w 155"/>
                <a:gd name="T41" fmla="*/ 23 h 155"/>
                <a:gd name="T42" fmla="*/ 13 w 155"/>
                <a:gd name="T43" fmla="*/ 34 h 155"/>
                <a:gd name="T44" fmla="*/ 6 w 155"/>
                <a:gd name="T45" fmla="*/ 48 h 155"/>
                <a:gd name="T46" fmla="*/ 2 w 155"/>
                <a:gd name="T47" fmla="*/ 62 h 155"/>
                <a:gd name="T48" fmla="*/ 0 w 155"/>
                <a:gd name="T49" fmla="*/ 78 h 155"/>
                <a:gd name="T50" fmla="*/ 2 w 155"/>
                <a:gd name="T51" fmla="*/ 93 h 155"/>
                <a:gd name="T52" fmla="*/ 6 w 155"/>
                <a:gd name="T53" fmla="*/ 108 h 155"/>
                <a:gd name="T54" fmla="*/ 13 w 155"/>
                <a:gd name="T55" fmla="*/ 121 h 155"/>
                <a:gd name="T56" fmla="*/ 23 w 155"/>
                <a:gd name="T57" fmla="*/ 132 h 155"/>
                <a:gd name="T58" fmla="*/ 34 w 155"/>
                <a:gd name="T59" fmla="*/ 142 h 155"/>
                <a:gd name="T60" fmla="*/ 47 w 155"/>
                <a:gd name="T61" fmla="*/ 149 h 155"/>
                <a:gd name="T62" fmla="*/ 62 w 155"/>
                <a:gd name="T63" fmla="*/ 154 h 155"/>
                <a:gd name="T64" fmla="*/ 77 w 155"/>
                <a:gd name="T65" fmla="*/ 155 h 155"/>
                <a:gd name="T66" fmla="*/ 93 w 155"/>
                <a:gd name="T67" fmla="*/ 154 h 155"/>
                <a:gd name="T68" fmla="*/ 107 w 155"/>
                <a:gd name="T69" fmla="*/ 149 h 155"/>
                <a:gd name="T70" fmla="*/ 121 w 155"/>
                <a:gd name="T71" fmla="*/ 142 h 155"/>
                <a:gd name="T72" fmla="*/ 133 w 155"/>
                <a:gd name="T73" fmla="*/ 132 h 155"/>
                <a:gd name="T74" fmla="*/ 142 w 155"/>
                <a:gd name="T75" fmla="*/ 121 h 155"/>
                <a:gd name="T76" fmla="*/ 150 w 155"/>
                <a:gd name="T77" fmla="*/ 108 h 155"/>
                <a:gd name="T78" fmla="*/ 154 w 155"/>
                <a:gd name="T79" fmla="*/ 93 h 155"/>
                <a:gd name="T80" fmla="*/ 155 w 155"/>
                <a:gd name="T81" fmla="*/ 78 h 155"/>
                <a:gd name="T82" fmla="*/ 154 w 155"/>
                <a:gd name="T83" fmla="*/ 62 h 155"/>
                <a:gd name="T84" fmla="*/ 150 w 155"/>
                <a:gd name="T85" fmla="*/ 48 h 155"/>
                <a:gd name="T86" fmla="*/ 142 w 155"/>
                <a:gd name="T87" fmla="*/ 34 h 155"/>
                <a:gd name="T88" fmla="*/ 133 w 155"/>
                <a:gd name="T89" fmla="*/ 23 h 155"/>
                <a:gd name="T90" fmla="*/ 121 w 155"/>
                <a:gd name="T91" fmla="*/ 13 h 155"/>
                <a:gd name="T92" fmla="*/ 107 w 155"/>
                <a:gd name="T93" fmla="*/ 6 h 155"/>
                <a:gd name="T94" fmla="*/ 93 w 155"/>
                <a:gd name="T95" fmla="*/ 2 h 155"/>
                <a:gd name="T96" fmla="*/ 77 w 155"/>
                <a:gd name="T9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155">
                  <a:moveTo>
                    <a:pt x="77" y="124"/>
                  </a:moveTo>
                  <a:lnTo>
                    <a:pt x="69" y="123"/>
                  </a:lnTo>
                  <a:lnTo>
                    <a:pt x="60" y="121"/>
                  </a:lnTo>
                  <a:lnTo>
                    <a:pt x="52" y="116"/>
                  </a:lnTo>
                  <a:lnTo>
                    <a:pt x="45" y="111"/>
                  </a:lnTo>
                  <a:lnTo>
                    <a:pt x="39" y="103"/>
                  </a:lnTo>
                  <a:lnTo>
                    <a:pt x="35" y="95"/>
                  </a:lnTo>
                  <a:lnTo>
                    <a:pt x="32" y="86"/>
                  </a:lnTo>
                  <a:lnTo>
                    <a:pt x="31" y="78"/>
                  </a:lnTo>
                  <a:lnTo>
                    <a:pt x="32" y="69"/>
                  </a:lnTo>
                  <a:lnTo>
                    <a:pt x="35" y="60"/>
                  </a:lnTo>
                  <a:lnTo>
                    <a:pt x="39" y="52"/>
                  </a:lnTo>
                  <a:lnTo>
                    <a:pt x="45" y="44"/>
                  </a:lnTo>
                  <a:lnTo>
                    <a:pt x="52" y="39"/>
                  </a:lnTo>
                  <a:lnTo>
                    <a:pt x="60" y="34"/>
                  </a:lnTo>
                  <a:lnTo>
                    <a:pt x="69" y="32"/>
                  </a:lnTo>
                  <a:lnTo>
                    <a:pt x="77" y="31"/>
                  </a:lnTo>
                  <a:lnTo>
                    <a:pt x="87" y="32"/>
                  </a:lnTo>
                  <a:lnTo>
                    <a:pt x="96" y="34"/>
                  </a:lnTo>
                  <a:lnTo>
                    <a:pt x="104" y="39"/>
                  </a:lnTo>
                  <a:lnTo>
                    <a:pt x="111" y="44"/>
                  </a:lnTo>
                  <a:lnTo>
                    <a:pt x="116" y="52"/>
                  </a:lnTo>
                  <a:lnTo>
                    <a:pt x="121" y="60"/>
                  </a:lnTo>
                  <a:lnTo>
                    <a:pt x="123" y="69"/>
                  </a:lnTo>
                  <a:lnTo>
                    <a:pt x="124" y="78"/>
                  </a:lnTo>
                  <a:lnTo>
                    <a:pt x="123" y="86"/>
                  </a:lnTo>
                  <a:lnTo>
                    <a:pt x="121" y="95"/>
                  </a:lnTo>
                  <a:lnTo>
                    <a:pt x="116" y="103"/>
                  </a:lnTo>
                  <a:lnTo>
                    <a:pt x="111" y="111"/>
                  </a:lnTo>
                  <a:lnTo>
                    <a:pt x="104" y="116"/>
                  </a:lnTo>
                  <a:lnTo>
                    <a:pt x="96" y="121"/>
                  </a:lnTo>
                  <a:lnTo>
                    <a:pt x="87" y="123"/>
                  </a:lnTo>
                  <a:lnTo>
                    <a:pt x="77" y="124"/>
                  </a:lnTo>
                  <a:close/>
                  <a:moveTo>
                    <a:pt x="77" y="0"/>
                  </a:moveTo>
                  <a:lnTo>
                    <a:pt x="70" y="0"/>
                  </a:lnTo>
                  <a:lnTo>
                    <a:pt x="62" y="2"/>
                  </a:lnTo>
                  <a:lnTo>
                    <a:pt x="55" y="3"/>
                  </a:lnTo>
                  <a:lnTo>
                    <a:pt x="47" y="6"/>
                  </a:lnTo>
                  <a:lnTo>
                    <a:pt x="41" y="10"/>
                  </a:lnTo>
                  <a:lnTo>
                    <a:pt x="34" y="13"/>
                  </a:lnTo>
                  <a:lnTo>
                    <a:pt x="29" y="18"/>
                  </a:lnTo>
                  <a:lnTo>
                    <a:pt x="23" y="23"/>
                  </a:lnTo>
                  <a:lnTo>
                    <a:pt x="17" y="29"/>
                  </a:lnTo>
                  <a:lnTo>
                    <a:pt x="13" y="34"/>
                  </a:lnTo>
                  <a:lnTo>
                    <a:pt x="10" y="41"/>
                  </a:lnTo>
                  <a:lnTo>
                    <a:pt x="6" y="48"/>
                  </a:lnTo>
                  <a:lnTo>
                    <a:pt x="3" y="54"/>
                  </a:lnTo>
                  <a:lnTo>
                    <a:pt x="2" y="62"/>
                  </a:lnTo>
                  <a:lnTo>
                    <a:pt x="1" y="70"/>
                  </a:lnTo>
                  <a:lnTo>
                    <a:pt x="0" y="78"/>
                  </a:lnTo>
                  <a:lnTo>
                    <a:pt x="1" y="85"/>
                  </a:lnTo>
                  <a:lnTo>
                    <a:pt x="2" y="93"/>
                  </a:lnTo>
                  <a:lnTo>
                    <a:pt x="3" y="101"/>
                  </a:lnTo>
                  <a:lnTo>
                    <a:pt x="6" y="108"/>
                  </a:lnTo>
                  <a:lnTo>
                    <a:pt x="10" y="114"/>
                  </a:lnTo>
                  <a:lnTo>
                    <a:pt x="13" y="121"/>
                  </a:lnTo>
                  <a:lnTo>
                    <a:pt x="17" y="126"/>
                  </a:lnTo>
                  <a:lnTo>
                    <a:pt x="23" y="132"/>
                  </a:lnTo>
                  <a:lnTo>
                    <a:pt x="29" y="138"/>
                  </a:lnTo>
                  <a:lnTo>
                    <a:pt x="34" y="142"/>
                  </a:lnTo>
                  <a:lnTo>
                    <a:pt x="41" y="146"/>
                  </a:lnTo>
                  <a:lnTo>
                    <a:pt x="47" y="149"/>
                  </a:lnTo>
                  <a:lnTo>
                    <a:pt x="55" y="152"/>
                  </a:lnTo>
                  <a:lnTo>
                    <a:pt x="62" y="154"/>
                  </a:lnTo>
                  <a:lnTo>
                    <a:pt x="70" y="155"/>
                  </a:lnTo>
                  <a:lnTo>
                    <a:pt x="77" y="155"/>
                  </a:lnTo>
                  <a:lnTo>
                    <a:pt x="85" y="155"/>
                  </a:lnTo>
                  <a:lnTo>
                    <a:pt x="93" y="154"/>
                  </a:lnTo>
                  <a:lnTo>
                    <a:pt x="101" y="152"/>
                  </a:lnTo>
                  <a:lnTo>
                    <a:pt x="107" y="149"/>
                  </a:lnTo>
                  <a:lnTo>
                    <a:pt x="115" y="146"/>
                  </a:lnTo>
                  <a:lnTo>
                    <a:pt x="121" y="142"/>
                  </a:lnTo>
                  <a:lnTo>
                    <a:pt x="127" y="138"/>
                  </a:lnTo>
                  <a:lnTo>
                    <a:pt x="133" y="132"/>
                  </a:lnTo>
                  <a:lnTo>
                    <a:pt x="137" y="126"/>
                  </a:lnTo>
                  <a:lnTo>
                    <a:pt x="142" y="121"/>
                  </a:lnTo>
                  <a:lnTo>
                    <a:pt x="146" y="114"/>
                  </a:lnTo>
                  <a:lnTo>
                    <a:pt x="150" y="108"/>
                  </a:lnTo>
                  <a:lnTo>
                    <a:pt x="152" y="101"/>
                  </a:lnTo>
                  <a:lnTo>
                    <a:pt x="154" y="93"/>
                  </a:lnTo>
                  <a:lnTo>
                    <a:pt x="155" y="85"/>
                  </a:lnTo>
                  <a:lnTo>
                    <a:pt x="155" y="78"/>
                  </a:lnTo>
                  <a:lnTo>
                    <a:pt x="155" y="70"/>
                  </a:lnTo>
                  <a:lnTo>
                    <a:pt x="154" y="62"/>
                  </a:lnTo>
                  <a:lnTo>
                    <a:pt x="152" y="54"/>
                  </a:lnTo>
                  <a:lnTo>
                    <a:pt x="150" y="48"/>
                  </a:lnTo>
                  <a:lnTo>
                    <a:pt x="146" y="41"/>
                  </a:lnTo>
                  <a:lnTo>
                    <a:pt x="142" y="34"/>
                  </a:lnTo>
                  <a:lnTo>
                    <a:pt x="137" y="29"/>
                  </a:lnTo>
                  <a:lnTo>
                    <a:pt x="133" y="23"/>
                  </a:lnTo>
                  <a:lnTo>
                    <a:pt x="127" y="18"/>
                  </a:lnTo>
                  <a:lnTo>
                    <a:pt x="121" y="13"/>
                  </a:lnTo>
                  <a:lnTo>
                    <a:pt x="115" y="10"/>
                  </a:lnTo>
                  <a:lnTo>
                    <a:pt x="107" y="6"/>
                  </a:lnTo>
                  <a:lnTo>
                    <a:pt x="101" y="3"/>
                  </a:lnTo>
                  <a:lnTo>
                    <a:pt x="93" y="2"/>
                  </a:lnTo>
                  <a:lnTo>
                    <a:pt x="85" y="0"/>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23" name="Group 178">
            <a:extLst>
              <a:ext uri="{FF2B5EF4-FFF2-40B4-BE49-F238E27FC236}">
                <a16:creationId xmlns:a16="http://schemas.microsoft.com/office/drawing/2014/main" id="{E0D8436F-86E3-4612-8ABC-C376332DC1C2}"/>
              </a:ext>
            </a:extLst>
          </p:cNvPr>
          <p:cNvGrpSpPr>
            <a:grpSpLocks noChangeAspect="1"/>
          </p:cNvGrpSpPr>
          <p:nvPr/>
        </p:nvGrpSpPr>
        <p:grpSpPr>
          <a:xfrm>
            <a:off x="4450180" y="5956111"/>
            <a:ext cx="285619" cy="285619"/>
            <a:chOff x="6439533" y="1356959"/>
            <a:chExt cx="287091" cy="287091"/>
          </a:xfrm>
          <a:solidFill>
            <a:schemeClr val="bg1"/>
          </a:solidFill>
          <a:effectLst/>
        </p:grpSpPr>
        <p:sp>
          <p:nvSpPr>
            <p:cNvPr id="1424" name="Freeform 235">
              <a:extLst>
                <a:ext uri="{FF2B5EF4-FFF2-40B4-BE49-F238E27FC236}">
                  <a16:creationId xmlns:a16="http://schemas.microsoft.com/office/drawing/2014/main" id="{A331ECFA-E2C1-4D60-9982-DD55FADACD0C}"/>
                </a:ext>
              </a:extLst>
            </p:cNvPr>
            <p:cNvSpPr>
              <a:spLocks noEditPoints="1"/>
            </p:cNvSpPr>
            <p:nvPr/>
          </p:nvSpPr>
          <p:spPr bwMode="auto">
            <a:xfrm>
              <a:off x="6439533" y="1356959"/>
              <a:ext cx="287091" cy="287091"/>
            </a:xfrm>
            <a:custGeom>
              <a:avLst/>
              <a:gdLst>
                <a:gd name="T0" fmla="*/ 893 w 932"/>
                <a:gd name="T1" fmla="*/ 352 h 932"/>
                <a:gd name="T2" fmla="*/ 864 w 932"/>
                <a:gd name="T3" fmla="*/ 371 h 932"/>
                <a:gd name="T4" fmla="*/ 854 w 932"/>
                <a:gd name="T5" fmla="*/ 124 h 932"/>
                <a:gd name="T6" fmla="*/ 888 w 932"/>
                <a:gd name="T7" fmla="*/ 138 h 932"/>
                <a:gd name="T8" fmla="*/ 901 w 932"/>
                <a:gd name="T9" fmla="*/ 170 h 932"/>
                <a:gd name="T10" fmla="*/ 323 w 932"/>
                <a:gd name="T11" fmla="*/ 435 h 932"/>
                <a:gd name="T12" fmla="*/ 313 w 932"/>
                <a:gd name="T13" fmla="*/ 441 h 932"/>
                <a:gd name="T14" fmla="*/ 311 w 932"/>
                <a:gd name="T15" fmla="*/ 901 h 932"/>
                <a:gd name="T16" fmla="*/ 184 w 932"/>
                <a:gd name="T17" fmla="*/ 497 h 932"/>
                <a:gd name="T18" fmla="*/ 173 w 932"/>
                <a:gd name="T19" fmla="*/ 469 h 932"/>
                <a:gd name="T20" fmla="*/ 152 w 932"/>
                <a:gd name="T21" fmla="*/ 448 h 932"/>
                <a:gd name="T22" fmla="*/ 124 w 932"/>
                <a:gd name="T23" fmla="*/ 437 h 932"/>
                <a:gd name="T24" fmla="*/ 31 w 932"/>
                <a:gd name="T25" fmla="*/ 139 h 932"/>
                <a:gd name="T26" fmla="*/ 40 w 932"/>
                <a:gd name="T27" fmla="*/ 97 h 932"/>
                <a:gd name="T28" fmla="*/ 63 w 932"/>
                <a:gd name="T29" fmla="*/ 62 h 932"/>
                <a:gd name="T30" fmla="*/ 98 w 932"/>
                <a:gd name="T31" fmla="*/ 39 h 932"/>
                <a:gd name="T32" fmla="*/ 140 w 932"/>
                <a:gd name="T33" fmla="*/ 31 h 932"/>
                <a:gd name="T34" fmla="*/ 328 w 932"/>
                <a:gd name="T35" fmla="*/ 36 h 932"/>
                <a:gd name="T36" fmla="*/ 364 w 932"/>
                <a:gd name="T37" fmla="*/ 56 h 932"/>
                <a:gd name="T38" fmla="*/ 391 w 932"/>
                <a:gd name="T39" fmla="*/ 88 h 932"/>
                <a:gd name="T40" fmla="*/ 403 w 932"/>
                <a:gd name="T41" fmla="*/ 128 h 932"/>
                <a:gd name="T42" fmla="*/ 31 w 932"/>
                <a:gd name="T43" fmla="*/ 466 h 932"/>
                <a:gd name="T44" fmla="*/ 134 w 932"/>
                <a:gd name="T45" fmla="*/ 474 h 932"/>
                <a:gd name="T46" fmla="*/ 154 w 932"/>
                <a:gd name="T47" fmla="*/ 504 h 932"/>
                <a:gd name="T48" fmla="*/ 129 w 932"/>
                <a:gd name="T49" fmla="*/ 900 h 932"/>
                <a:gd name="T50" fmla="*/ 88 w 932"/>
                <a:gd name="T51" fmla="*/ 888 h 932"/>
                <a:gd name="T52" fmla="*/ 55 w 932"/>
                <a:gd name="T53" fmla="*/ 861 h 932"/>
                <a:gd name="T54" fmla="*/ 35 w 932"/>
                <a:gd name="T55" fmla="*/ 825 h 932"/>
                <a:gd name="T56" fmla="*/ 854 w 932"/>
                <a:gd name="T57" fmla="*/ 92 h 932"/>
                <a:gd name="T58" fmla="*/ 473 w 932"/>
                <a:gd name="T59" fmla="*/ 96 h 932"/>
                <a:gd name="T60" fmla="*/ 467 w 932"/>
                <a:gd name="T61" fmla="*/ 106 h 932"/>
                <a:gd name="T62" fmla="*/ 435 w 932"/>
                <a:gd name="T63" fmla="*/ 139 h 932"/>
                <a:gd name="T64" fmla="*/ 424 w 932"/>
                <a:gd name="T65" fmla="*/ 86 h 932"/>
                <a:gd name="T66" fmla="*/ 394 w 932"/>
                <a:gd name="T67" fmla="*/ 40 h 932"/>
                <a:gd name="T68" fmla="*/ 350 w 932"/>
                <a:gd name="T69" fmla="*/ 10 h 932"/>
                <a:gd name="T70" fmla="*/ 295 w 932"/>
                <a:gd name="T71" fmla="*/ 0 h 932"/>
                <a:gd name="T72" fmla="*/ 98 w 932"/>
                <a:gd name="T73" fmla="*/ 6 h 932"/>
                <a:gd name="T74" fmla="*/ 51 w 932"/>
                <a:gd name="T75" fmla="*/ 31 h 932"/>
                <a:gd name="T76" fmla="*/ 17 w 932"/>
                <a:gd name="T77" fmla="*/ 74 h 932"/>
                <a:gd name="T78" fmla="*/ 1 w 932"/>
                <a:gd name="T79" fmla="*/ 126 h 932"/>
                <a:gd name="T80" fmla="*/ 3 w 932"/>
                <a:gd name="T81" fmla="*/ 820 h 932"/>
                <a:gd name="T82" fmla="*/ 23 w 932"/>
                <a:gd name="T83" fmla="*/ 870 h 932"/>
                <a:gd name="T84" fmla="*/ 62 w 932"/>
                <a:gd name="T85" fmla="*/ 908 h 932"/>
                <a:gd name="T86" fmla="*/ 112 w 932"/>
                <a:gd name="T87" fmla="*/ 929 h 932"/>
                <a:gd name="T88" fmla="*/ 330 w 932"/>
                <a:gd name="T89" fmla="*/ 932 h 932"/>
                <a:gd name="T90" fmla="*/ 339 w 932"/>
                <a:gd name="T91" fmla="*/ 926 h 932"/>
                <a:gd name="T92" fmla="*/ 342 w 932"/>
                <a:gd name="T93" fmla="*/ 466 h 932"/>
                <a:gd name="T94" fmla="*/ 428 w 932"/>
                <a:gd name="T95" fmla="*/ 464 h 932"/>
                <a:gd name="T96" fmla="*/ 434 w 932"/>
                <a:gd name="T97" fmla="*/ 454 h 932"/>
                <a:gd name="T98" fmla="*/ 467 w 932"/>
                <a:gd name="T99" fmla="*/ 388 h 932"/>
                <a:gd name="T100" fmla="*/ 471 w 932"/>
                <a:gd name="T101" fmla="*/ 399 h 932"/>
                <a:gd name="T102" fmla="*/ 482 w 932"/>
                <a:gd name="T103" fmla="*/ 404 h 932"/>
                <a:gd name="T104" fmla="*/ 878 w 932"/>
                <a:gd name="T105" fmla="*/ 400 h 932"/>
                <a:gd name="T106" fmla="*/ 904 w 932"/>
                <a:gd name="T107" fmla="*/ 386 h 932"/>
                <a:gd name="T108" fmla="*/ 923 w 932"/>
                <a:gd name="T109" fmla="*/ 364 h 932"/>
                <a:gd name="T110" fmla="*/ 932 w 932"/>
                <a:gd name="T111" fmla="*/ 334 h 932"/>
                <a:gd name="T112" fmla="*/ 931 w 932"/>
                <a:gd name="T113" fmla="*/ 155 h 932"/>
                <a:gd name="T114" fmla="*/ 919 w 932"/>
                <a:gd name="T115" fmla="*/ 127 h 932"/>
                <a:gd name="T116" fmla="*/ 898 w 932"/>
                <a:gd name="T117" fmla="*/ 106 h 932"/>
                <a:gd name="T118" fmla="*/ 870 w 932"/>
                <a:gd name="T119" fmla="*/ 95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2" h="932">
                  <a:moveTo>
                    <a:pt x="901" y="326"/>
                  </a:moveTo>
                  <a:lnTo>
                    <a:pt x="900" y="336"/>
                  </a:lnTo>
                  <a:lnTo>
                    <a:pt x="898" y="345"/>
                  </a:lnTo>
                  <a:lnTo>
                    <a:pt x="893" y="352"/>
                  </a:lnTo>
                  <a:lnTo>
                    <a:pt x="888" y="359"/>
                  </a:lnTo>
                  <a:lnTo>
                    <a:pt x="881" y="365"/>
                  </a:lnTo>
                  <a:lnTo>
                    <a:pt x="873" y="369"/>
                  </a:lnTo>
                  <a:lnTo>
                    <a:pt x="864" y="371"/>
                  </a:lnTo>
                  <a:lnTo>
                    <a:pt x="854" y="372"/>
                  </a:lnTo>
                  <a:lnTo>
                    <a:pt x="498" y="372"/>
                  </a:lnTo>
                  <a:lnTo>
                    <a:pt x="498" y="124"/>
                  </a:lnTo>
                  <a:lnTo>
                    <a:pt x="854" y="124"/>
                  </a:lnTo>
                  <a:lnTo>
                    <a:pt x="864" y="125"/>
                  </a:lnTo>
                  <a:lnTo>
                    <a:pt x="873" y="128"/>
                  </a:lnTo>
                  <a:lnTo>
                    <a:pt x="881" y="132"/>
                  </a:lnTo>
                  <a:lnTo>
                    <a:pt x="888" y="138"/>
                  </a:lnTo>
                  <a:lnTo>
                    <a:pt x="893" y="145"/>
                  </a:lnTo>
                  <a:lnTo>
                    <a:pt x="898" y="152"/>
                  </a:lnTo>
                  <a:lnTo>
                    <a:pt x="900" y="161"/>
                  </a:lnTo>
                  <a:lnTo>
                    <a:pt x="901" y="170"/>
                  </a:lnTo>
                  <a:lnTo>
                    <a:pt x="901" y="326"/>
                  </a:lnTo>
                  <a:close/>
                  <a:moveTo>
                    <a:pt x="404" y="435"/>
                  </a:moveTo>
                  <a:lnTo>
                    <a:pt x="327" y="435"/>
                  </a:lnTo>
                  <a:lnTo>
                    <a:pt x="323" y="435"/>
                  </a:lnTo>
                  <a:lnTo>
                    <a:pt x="320" y="436"/>
                  </a:lnTo>
                  <a:lnTo>
                    <a:pt x="318" y="438"/>
                  </a:lnTo>
                  <a:lnTo>
                    <a:pt x="315" y="439"/>
                  </a:lnTo>
                  <a:lnTo>
                    <a:pt x="313" y="441"/>
                  </a:lnTo>
                  <a:lnTo>
                    <a:pt x="312" y="445"/>
                  </a:lnTo>
                  <a:lnTo>
                    <a:pt x="311" y="447"/>
                  </a:lnTo>
                  <a:lnTo>
                    <a:pt x="311" y="450"/>
                  </a:lnTo>
                  <a:lnTo>
                    <a:pt x="311" y="901"/>
                  </a:lnTo>
                  <a:lnTo>
                    <a:pt x="187" y="901"/>
                  </a:lnTo>
                  <a:lnTo>
                    <a:pt x="187" y="512"/>
                  </a:lnTo>
                  <a:lnTo>
                    <a:pt x="185" y="505"/>
                  </a:lnTo>
                  <a:lnTo>
                    <a:pt x="184" y="497"/>
                  </a:lnTo>
                  <a:lnTo>
                    <a:pt x="183" y="489"/>
                  </a:lnTo>
                  <a:lnTo>
                    <a:pt x="180" y="482"/>
                  </a:lnTo>
                  <a:lnTo>
                    <a:pt x="177" y="476"/>
                  </a:lnTo>
                  <a:lnTo>
                    <a:pt x="173" y="469"/>
                  </a:lnTo>
                  <a:lnTo>
                    <a:pt x="169" y="464"/>
                  </a:lnTo>
                  <a:lnTo>
                    <a:pt x="163" y="458"/>
                  </a:lnTo>
                  <a:lnTo>
                    <a:pt x="158" y="452"/>
                  </a:lnTo>
                  <a:lnTo>
                    <a:pt x="152" y="448"/>
                  </a:lnTo>
                  <a:lnTo>
                    <a:pt x="145" y="445"/>
                  </a:lnTo>
                  <a:lnTo>
                    <a:pt x="139" y="441"/>
                  </a:lnTo>
                  <a:lnTo>
                    <a:pt x="132" y="438"/>
                  </a:lnTo>
                  <a:lnTo>
                    <a:pt x="124" y="437"/>
                  </a:lnTo>
                  <a:lnTo>
                    <a:pt x="117" y="436"/>
                  </a:lnTo>
                  <a:lnTo>
                    <a:pt x="109" y="435"/>
                  </a:lnTo>
                  <a:lnTo>
                    <a:pt x="31" y="435"/>
                  </a:lnTo>
                  <a:lnTo>
                    <a:pt x="31" y="139"/>
                  </a:lnTo>
                  <a:lnTo>
                    <a:pt x="31" y="128"/>
                  </a:lnTo>
                  <a:lnTo>
                    <a:pt x="33" y="118"/>
                  </a:lnTo>
                  <a:lnTo>
                    <a:pt x="35" y="107"/>
                  </a:lnTo>
                  <a:lnTo>
                    <a:pt x="40" y="97"/>
                  </a:lnTo>
                  <a:lnTo>
                    <a:pt x="44" y="88"/>
                  </a:lnTo>
                  <a:lnTo>
                    <a:pt x="50" y="79"/>
                  </a:lnTo>
                  <a:lnTo>
                    <a:pt x="55" y="70"/>
                  </a:lnTo>
                  <a:lnTo>
                    <a:pt x="63" y="62"/>
                  </a:lnTo>
                  <a:lnTo>
                    <a:pt x="71" y="56"/>
                  </a:lnTo>
                  <a:lnTo>
                    <a:pt x="79" y="49"/>
                  </a:lnTo>
                  <a:lnTo>
                    <a:pt x="88" y="44"/>
                  </a:lnTo>
                  <a:lnTo>
                    <a:pt x="98" y="39"/>
                  </a:lnTo>
                  <a:lnTo>
                    <a:pt x="108" y="36"/>
                  </a:lnTo>
                  <a:lnTo>
                    <a:pt x="118" y="34"/>
                  </a:lnTo>
                  <a:lnTo>
                    <a:pt x="129" y="31"/>
                  </a:lnTo>
                  <a:lnTo>
                    <a:pt x="140" y="31"/>
                  </a:lnTo>
                  <a:lnTo>
                    <a:pt x="295" y="31"/>
                  </a:lnTo>
                  <a:lnTo>
                    <a:pt x="307" y="31"/>
                  </a:lnTo>
                  <a:lnTo>
                    <a:pt x="317" y="32"/>
                  </a:lnTo>
                  <a:lnTo>
                    <a:pt x="328" y="36"/>
                  </a:lnTo>
                  <a:lnTo>
                    <a:pt x="338" y="39"/>
                  </a:lnTo>
                  <a:lnTo>
                    <a:pt x="347" y="44"/>
                  </a:lnTo>
                  <a:lnTo>
                    <a:pt x="355" y="49"/>
                  </a:lnTo>
                  <a:lnTo>
                    <a:pt x="364" y="56"/>
                  </a:lnTo>
                  <a:lnTo>
                    <a:pt x="372" y="62"/>
                  </a:lnTo>
                  <a:lnTo>
                    <a:pt x="379" y="70"/>
                  </a:lnTo>
                  <a:lnTo>
                    <a:pt x="385" y="79"/>
                  </a:lnTo>
                  <a:lnTo>
                    <a:pt x="391" y="88"/>
                  </a:lnTo>
                  <a:lnTo>
                    <a:pt x="395" y="97"/>
                  </a:lnTo>
                  <a:lnTo>
                    <a:pt x="399" y="107"/>
                  </a:lnTo>
                  <a:lnTo>
                    <a:pt x="402" y="118"/>
                  </a:lnTo>
                  <a:lnTo>
                    <a:pt x="403" y="128"/>
                  </a:lnTo>
                  <a:lnTo>
                    <a:pt x="404" y="139"/>
                  </a:lnTo>
                  <a:lnTo>
                    <a:pt x="404" y="435"/>
                  </a:lnTo>
                  <a:close/>
                  <a:moveTo>
                    <a:pt x="31" y="792"/>
                  </a:moveTo>
                  <a:lnTo>
                    <a:pt x="31" y="466"/>
                  </a:lnTo>
                  <a:lnTo>
                    <a:pt x="109" y="466"/>
                  </a:lnTo>
                  <a:lnTo>
                    <a:pt x="118" y="467"/>
                  </a:lnTo>
                  <a:lnTo>
                    <a:pt x="127" y="470"/>
                  </a:lnTo>
                  <a:lnTo>
                    <a:pt x="134" y="474"/>
                  </a:lnTo>
                  <a:lnTo>
                    <a:pt x="142" y="479"/>
                  </a:lnTo>
                  <a:lnTo>
                    <a:pt x="148" y="487"/>
                  </a:lnTo>
                  <a:lnTo>
                    <a:pt x="152" y="495"/>
                  </a:lnTo>
                  <a:lnTo>
                    <a:pt x="154" y="504"/>
                  </a:lnTo>
                  <a:lnTo>
                    <a:pt x="155" y="512"/>
                  </a:lnTo>
                  <a:lnTo>
                    <a:pt x="155" y="901"/>
                  </a:lnTo>
                  <a:lnTo>
                    <a:pt x="140" y="901"/>
                  </a:lnTo>
                  <a:lnTo>
                    <a:pt x="129" y="900"/>
                  </a:lnTo>
                  <a:lnTo>
                    <a:pt x="118" y="899"/>
                  </a:lnTo>
                  <a:lnTo>
                    <a:pt x="108" y="896"/>
                  </a:lnTo>
                  <a:lnTo>
                    <a:pt x="98" y="892"/>
                  </a:lnTo>
                  <a:lnTo>
                    <a:pt x="88" y="888"/>
                  </a:lnTo>
                  <a:lnTo>
                    <a:pt x="79" y="882"/>
                  </a:lnTo>
                  <a:lnTo>
                    <a:pt x="71" y="876"/>
                  </a:lnTo>
                  <a:lnTo>
                    <a:pt x="63" y="869"/>
                  </a:lnTo>
                  <a:lnTo>
                    <a:pt x="55" y="861"/>
                  </a:lnTo>
                  <a:lnTo>
                    <a:pt x="50" y="854"/>
                  </a:lnTo>
                  <a:lnTo>
                    <a:pt x="44" y="845"/>
                  </a:lnTo>
                  <a:lnTo>
                    <a:pt x="40" y="835"/>
                  </a:lnTo>
                  <a:lnTo>
                    <a:pt x="35" y="825"/>
                  </a:lnTo>
                  <a:lnTo>
                    <a:pt x="33" y="815"/>
                  </a:lnTo>
                  <a:lnTo>
                    <a:pt x="31" y="804"/>
                  </a:lnTo>
                  <a:lnTo>
                    <a:pt x="31" y="792"/>
                  </a:lnTo>
                  <a:close/>
                  <a:moveTo>
                    <a:pt x="854" y="92"/>
                  </a:moveTo>
                  <a:lnTo>
                    <a:pt x="482" y="92"/>
                  </a:lnTo>
                  <a:lnTo>
                    <a:pt x="479" y="94"/>
                  </a:lnTo>
                  <a:lnTo>
                    <a:pt x="475" y="95"/>
                  </a:lnTo>
                  <a:lnTo>
                    <a:pt x="473" y="96"/>
                  </a:lnTo>
                  <a:lnTo>
                    <a:pt x="471" y="98"/>
                  </a:lnTo>
                  <a:lnTo>
                    <a:pt x="469" y="100"/>
                  </a:lnTo>
                  <a:lnTo>
                    <a:pt x="468" y="102"/>
                  </a:lnTo>
                  <a:lnTo>
                    <a:pt x="467" y="106"/>
                  </a:lnTo>
                  <a:lnTo>
                    <a:pt x="467" y="108"/>
                  </a:lnTo>
                  <a:lnTo>
                    <a:pt x="467" y="248"/>
                  </a:lnTo>
                  <a:lnTo>
                    <a:pt x="435" y="248"/>
                  </a:lnTo>
                  <a:lnTo>
                    <a:pt x="435" y="139"/>
                  </a:lnTo>
                  <a:lnTo>
                    <a:pt x="434" y="126"/>
                  </a:lnTo>
                  <a:lnTo>
                    <a:pt x="432" y="111"/>
                  </a:lnTo>
                  <a:lnTo>
                    <a:pt x="429" y="98"/>
                  </a:lnTo>
                  <a:lnTo>
                    <a:pt x="424" y="86"/>
                  </a:lnTo>
                  <a:lnTo>
                    <a:pt x="418" y="74"/>
                  </a:lnTo>
                  <a:lnTo>
                    <a:pt x="411" y="61"/>
                  </a:lnTo>
                  <a:lnTo>
                    <a:pt x="403" y="50"/>
                  </a:lnTo>
                  <a:lnTo>
                    <a:pt x="394" y="40"/>
                  </a:lnTo>
                  <a:lnTo>
                    <a:pt x="384" y="31"/>
                  </a:lnTo>
                  <a:lnTo>
                    <a:pt x="373" y="24"/>
                  </a:lnTo>
                  <a:lnTo>
                    <a:pt x="362" y="17"/>
                  </a:lnTo>
                  <a:lnTo>
                    <a:pt x="350" y="10"/>
                  </a:lnTo>
                  <a:lnTo>
                    <a:pt x="337" y="6"/>
                  </a:lnTo>
                  <a:lnTo>
                    <a:pt x="323" y="2"/>
                  </a:lnTo>
                  <a:lnTo>
                    <a:pt x="310" y="0"/>
                  </a:lnTo>
                  <a:lnTo>
                    <a:pt x="295" y="0"/>
                  </a:lnTo>
                  <a:lnTo>
                    <a:pt x="140" y="0"/>
                  </a:lnTo>
                  <a:lnTo>
                    <a:pt x="125" y="0"/>
                  </a:lnTo>
                  <a:lnTo>
                    <a:pt x="112" y="2"/>
                  </a:lnTo>
                  <a:lnTo>
                    <a:pt x="98" y="6"/>
                  </a:lnTo>
                  <a:lnTo>
                    <a:pt x="85" y="10"/>
                  </a:lnTo>
                  <a:lnTo>
                    <a:pt x="73" y="17"/>
                  </a:lnTo>
                  <a:lnTo>
                    <a:pt x="62" y="24"/>
                  </a:lnTo>
                  <a:lnTo>
                    <a:pt x="51" y="31"/>
                  </a:lnTo>
                  <a:lnTo>
                    <a:pt x="41" y="40"/>
                  </a:lnTo>
                  <a:lnTo>
                    <a:pt x="32" y="50"/>
                  </a:lnTo>
                  <a:lnTo>
                    <a:pt x="23" y="61"/>
                  </a:lnTo>
                  <a:lnTo>
                    <a:pt x="17" y="74"/>
                  </a:lnTo>
                  <a:lnTo>
                    <a:pt x="11" y="86"/>
                  </a:lnTo>
                  <a:lnTo>
                    <a:pt x="7" y="98"/>
                  </a:lnTo>
                  <a:lnTo>
                    <a:pt x="3" y="111"/>
                  </a:lnTo>
                  <a:lnTo>
                    <a:pt x="1" y="126"/>
                  </a:lnTo>
                  <a:lnTo>
                    <a:pt x="0" y="139"/>
                  </a:lnTo>
                  <a:lnTo>
                    <a:pt x="0" y="792"/>
                  </a:lnTo>
                  <a:lnTo>
                    <a:pt x="1" y="807"/>
                  </a:lnTo>
                  <a:lnTo>
                    <a:pt x="3" y="820"/>
                  </a:lnTo>
                  <a:lnTo>
                    <a:pt x="7" y="834"/>
                  </a:lnTo>
                  <a:lnTo>
                    <a:pt x="11" y="847"/>
                  </a:lnTo>
                  <a:lnTo>
                    <a:pt x="17" y="859"/>
                  </a:lnTo>
                  <a:lnTo>
                    <a:pt x="23" y="870"/>
                  </a:lnTo>
                  <a:lnTo>
                    <a:pt x="32" y="881"/>
                  </a:lnTo>
                  <a:lnTo>
                    <a:pt x="41" y="891"/>
                  </a:lnTo>
                  <a:lnTo>
                    <a:pt x="51" y="900"/>
                  </a:lnTo>
                  <a:lnTo>
                    <a:pt x="62" y="908"/>
                  </a:lnTo>
                  <a:lnTo>
                    <a:pt x="73" y="916"/>
                  </a:lnTo>
                  <a:lnTo>
                    <a:pt x="85" y="921"/>
                  </a:lnTo>
                  <a:lnTo>
                    <a:pt x="98" y="926"/>
                  </a:lnTo>
                  <a:lnTo>
                    <a:pt x="112" y="929"/>
                  </a:lnTo>
                  <a:lnTo>
                    <a:pt x="125" y="931"/>
                  </a:lnTo>
                  <a:lnTo>
                    <a:pt x="140" y="932"/>
                  </a:lnTo>
                  <a:lnTo>
                    <a:pt x="327" y="932"/>
                  </a:lnTo>
                  <a:lnTo>
                    <a:pt x="330" y="932"/>
                  </a:lnTo>
                  <a:lnTo>
                    <a:pt x="332" y="931"/>
                  </a:lnTo>
                  <a:lnTo>
                    <a:pt x="335" y="929"/>
                  </a:lnTo>
                  <a:lnTo>
                    <a:pt x="338" y="928"/>
                  </a:lnTo>
                  <a:lnTo>
                    <a:pt x="339" y="926"/>
                  </a:lnTo>
                  <a:lnTo>
                    <a:pt x="341" y="922"/>
                  </a:lnTo>
                  <a:lnTo>
                    <a:pt x="341" y="920"/>
                  </a:lnTo>
                  <a:lnTo>
                    <a:pt x="342" y="917"/>
                  </a:lnTo>
                  <a:lnTo>
                    <a:pt x="342" y="466"/>
                  </a:lnTo>
                  <a:lnTo>
                    <a:pt x="420" y="466"/>
                  </a:lnTo>
                  <a:lnTo>
                    <a:pt x="422" y="466"/>
                  </a:lnTo>
                  <a:lnTo>
                    <a:pt x="425" y="465"/>
                  </a:lnTo>
                  <a:lnTo>
                    <a:pt x="428" y="464"/>
                  </a:lnTo>
                  <a:lnTo>
                    <a:pt x="431" y="461"/>
                  </a:lnTo>
                  <a:lnTo>
                    <a:pt x="432" y="459"/>
                  </a:lnTo>
                  <a:lnTo>
                    <a:pt x="434" y="457"/>
                  </a:lnTo>
                  <a:lnTo>
                    <a:pt x="434" y="454"/>
                  </a:lnTo>
                  <a:lnTo>
                    <a:pt x="435" y="450"/>
                  </a:lnTo>
                  <a:lnTo>
                    <a:pt x="435" y="279"/>
                  </a:lnTo>
                  <a:lnTo>
                    <a:pt x="467" y="279"/>
                  </a:lnTo>
                  <a:lnTo>
                    <a:pt x="467" y="388"/>
                  </a:lnTo>
                  <a:lnTo>
                    <a:pt x="467" y="391"/>
                  </a:lnTo>
                  <a:lnTo>
                    <a:pt x="468" y="395"/>
                  </a:lnTo>
                  <a:lnTo>
                    <a:pt x="469" y="397"/>
                  </a:lnTo>
                  <a:lnTo>
                    <a:pt x="471" y="399"/>
                  </a:lnTo>
                  <a:lnTo>
                    <a:pt x="473" y="401"/>
                  </a:lnTo>
                  <a:lnTo>
                    <a:pt x="475" y="402"/>
                  </a:lnTo>
                  <a:lnTo>
                    <a:pt x="479" y="404"/>
                  </a:lnTo>
                  <a:lnTo>
                    <a:pt x="482" y="404"/>
                  </a:lnTo>
                  <a:lnTo>
                    <a:pt x="854" y="404"/>
                  </a:lnTo>
                  <a:lnTo>
                    <a:pt x="862" y="404"/>
                  </a:lnTo>
                  <a:lnTo>
                    <a:pt x="870" y="402"/>
                  </a:lnTo>
                  <a:lnTo>
                    <a:pt x="878" y="400"/>
                  </a:lnTo>
                  <a:lnTo>
                    <a:pt x="885" y="398"/>
                  </a:lnTo>
                  <a:lnTo>
                    <a:pt x="892" y="395"/>
                  </a:lnTo>
                  <a:lnTo>
                    <a:pt x="898" y="390"/>
                  </a:lnTo>
                  <a:lnTo>
                    <a:pt x="904" y="386"/>
                  </a:lnTo>
                  <a:lnTo>
                    <a:pt x="910" y="381"/>
                  </a:lnTo>
                  <a:lnTo>
                    <a:pt x="914" y="376"/>
                  </a:lnTo>
                  <a:lnTo>
                    <a:pt x="919" y="369"/>
                  </a:lnTo>
                  <a:lnTo>
                    <a:pt x="923" y="364"/>
                  </a:lnTo>
                  <a:lnTo>
                    <a:pt x="926" y="356"/>
                  </a:lnTo>
                  <a:lnTo>
                    <a:pt x="929" y="349"/>
                  </a:lnTo>
                  <a:lnTo>
                    <a:pt x="931" y="341"/>
                  </a:lnTo>
                  <a:lnTo>
                    <a:pt x="932" y="334"/>
                  </a:lnTo>
                  <a:lnTo>
                    <a:pt x="932" y="326"/>
                  </a:lnTo>
                  <a:lnTo>
                    <a:pt x="932" y="170"/>
                  </a:lnTo>
                  <a:lnTo>
                    <a:pt x="932" y="162"/>
                  </a:lnTo>
                  <a:lnTo>
                    <a:pt x="931" y="155"/>
                  </a:lnTo>
                  <a:lnTo>
                    <a:pt x="929" y="148"/>
                  </a:lnTo>
                  <a:lnTo>
                    <a:pt x="926" y="140"/>
                  </a:lnTo>
                  <a:lnTo>
                    <a:pt x="923" y="134"/>
                  </a:lnTo>
                  <a:lnTo>
                    <a:pt x="919" y="127"/>
                  </a:lnTo>
                  <a:lnTo>
                    <a:pt x="914" y="121"/>
                  </a:lnTo>
                  <a:lnTo>
                    <a:pt x="910" y="116"/>
                  </a:lnTo>
                  <a:lnTo>
                    <a:pt x="904" y="110"/>
                  </a:lnTo>
                  <a:lnTo>
                    <a:pt x="898" y="106"/>
                  </a:lnTo>
                  <a:lnTo>
                    <a:pt x="892" y="102"/>
                  </a:lnTo>
                  <a:lnTo>
                    <a:pt x="885" y="99"/>
                  </a:lnTo>
                  <a:lnTo>
                    <a:pt x="878" y="97"/>
                  </a:lnTo>
                  <a:lnTo>
                    <a:pt x="870" y="95"/>
                  </a:lnTo>
                  <a:lnTo>
                    <a:pt x="862" y="94"/>
                  </a:lnTo>
                  <a:lnTo>
                    <a:pt x="85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236">
              <a:extLst>
                <a:ext uri="{FF2B5EF4-FFF2-40B4-BE49-F238E27FC236}">
                  <a16:creationId xmlns:a16="http://schemas.microsoft.com/office/drawing/2014/main" id="{E4A9E282-7430-49EB-81AD-63650062AB3E}"/>
                </a:ext>
              </a:extLst>
            </p:cNvPr>
            <p:cNvSpPr>
              <a:spLocks noEditPoints="1"/>
            </p:cNvSpPr>
            <p:nvPr/>
          </p:nvSpPr>
          <p:spPr bwMode="auto">
            <a:xfrm>
              <a:off x="6462944" y="1376673"/>
              <a:ext cx="86250" cy="85018"/>
            </a:xfrm>
            <a:custGeom>
              <a:avLst/>
              <a:gdLst>
                <a:gd name="T0" fmla="*/ 117 w 280"/>
                <a:gd name="T1" fmla="*/ 246 h 279"/>
                <a:gd name="T2" fmla="*/ 87 w 280"/>
                <a:gd name="T3" fmla="*/ 235 h 279"/>
                <a:gd name="T4" fmla="*/ 63 w 280"/>
                <a:gd name="T5" fmla="*/ 217 h 279"/>
                <a:gd name="T6" fmla="*/ 44 w 280"/>
                <a:gd name="T7" fmla="*/ 192 h 279"/>
                <a:gd name="T8" fmla="*/ 33 w 280"/>
                <a:gd name="T9" fmla="*/ 162 h 279"/>
                <a:gd name="T10" fmla="*/ 31 w 280"/>
                <a:gd name="T11" fmla="*/ 128 h 279"/>
                <a:gd name="T12" fmla="*/ 40 w 280"/>
                <a:gd name="T13" fmla="*/ 97 h 279"/>
                <a:gd name="T14" fmla="*/ 55 w 280"/>
                <a:gd name="T15" fmla="*/ 70 h 279"/>
                <a:gd name="T16" fmla="*/ 79 w 280"/>
                <a:gd name="T17" fmla="*/ 49 h 279"/>
                <a:gd name="T18" fmla="*/ 107 w 280"/>
                <a:gd name="T19" fmla="*/ 36 h 279"/>
                <a:gd name="T20" fmla="*/ 140 w 280"/>
                <a:gd name="T21" fmla="*/ 32 h 279"/>
                <a:gd name="T22" fmla="*/ 172 w 280"/>
                <a:gd name="T23" fmla="*/ 36 h 279"/>
                <a:gd name="T24" fmla="*/ 200 w 280"/>
                <a:gd name="T25" fmla="*/ 49 h 279"/>
                <a:gd name="T26" fmla="*/ 223 w 280"/>
                <a:gd name="T27" fmla="*/ 70 h 279"/>
                <a:gd name="T28" fmla="*/ 240 w 280"/>
                <a:gd name="T29" fmla="*/ 97 h 279"/>
                <a:gd name="T30" fmla="*/ 247 w 280"/>
                <a:gd name="T31" fmla="*/ 128 h 279"/>
                <a:gd name="T32" fmla="*/ 246 w 280"/>
                <a:gd name="T33" fmla="*/ 162 h 279"/>
                <a:gd name="T34" fmla="*/ 235 w 280"/>
                <a:gd name="T35" fmla="*/ 192 h 279"/>
                <a:gd name="T36" fmla="*/ 216 w 280"/>
                <a:gd name="T37" fmla="*/ 217 h 279"/>
                <a:gd name="T38" fmla="*/ 191 w 280"/>
                <a:gd name="T39" fmla="*/ 235 h 279"/>
                <a:gd name="T40" fmla="*/ 162 w 280"/>
                <a:gd name="T41" fmla="*/ 246 h 279"/>
                <a:gd name="T42" fmla="*/ 140 w 280"/>
                <a:gd name="T43" fmla="*/ 0 h 279"/>
                <a:gd name="T44" fmla="*/ 97 w 280"/>
                <a:gd name="T45" fmla="*/ 6 h 279"/>
                <a:gd name="T46" fmla="*/ 61 w 280"/>
                <a:gd name="T47" fmla="*/ 24 h 279"/>
                <a:gd name="T48" fmla="*/ 32 w 280"/>
                <a:gd name="T49" fmla="*/ 50 h 279"/>
                <a:gd name="T50" fmla="*/ 11 w 280"/>
                <a:gd name="T51" fmla="*/ 85 h 279"/>
                <a:gd name="T52" fmla="*/ 1 w 280"/>
                <a:gd name="T53" fmla="*/ 126 h 279"/>
                <a:gd name="T54" fmla="*/ 2 w 280"/>
                <a:gd name="T55" fmla="*/ 168 h 279"/>
                <a:gd name="T56" fmla="*/ 16 w 280"/>
                <a:gd name="T57" fmla="*/ 206 h 279"/>
                <a:gd name="T58" fmla="*/ 41 w 280"/>
                <a:gd name="T59" fmla="*/ 238 h 279"/>
                <a:gd name="T60" fmla="*/ 73 w 280"/>
                <a:gd name="T61" fmla="*/ 263 h 279"/>
                <a:gd name="T62" fmla="*/ 111 w 280"/>
                <a:gd name="T63" fmla="*/ 277 h 279"/>
                <a:gd name="T64" fmla="*/ 154 w 280"/>
                <a:gd name="T65" fmla="*/ 279 h 279"/>
                <a:gd name="T66" fmla="*/ 194 w 280"/>
                <a:gd name="T67" fmla="*/ 268 h 279"/>
                <a:gd name="T68" fmla="*/ 229 w 280"/>
                <a:gd name="T69" fmla="*/ 248 h 279"/>
                <a:gd name="T70" fmla="*/ 255 w 280"/>
                <a:gd name="T71" fmla="*/ 218 h 279"/>
                <a:gd name="T72" fmla="*/ 273 w 280"/>
                <a:gd name="T73" fmla="*/ 182 h 279"/>
                <a:gd name="T74" fmla="*/ 280 w 280"/>
                <a:gd name="T75" fmla="*/ 139 h 279"/>
                <a:gd name="T76" fmla="*/ 273 w 280"/>
                <a:gd name="T77" fmla="*/ 98 h 279"/>
                <a:gd name="T78" fmla="*/ 255 w 280"/>
                <a:gd name="T79" fmla="*/ 62 h 279"/>
                <a:gd name="T80" fmla="*/ 229 w 280"/>
                <a:gd name="T81" fmla="*/ 32 h 279"/>
                <a:gd name="T82" fmla="*/ 194 w 280"/>
                <a:gd name="T83" fmla="*/ 10 h 279"/>
                <a:gd name="T84" fmla="*/ 154 w 280"/>
                <a:gd name="T85"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0" h="279">
                  <a:moveTo>
                    <a:pt x="140" y="248"/>
                  </a:moveTo>
                  <a:lnTo>
                    <a:pt x="129" y="248"/>
                  </a:lnTo>
                  <a:lnTo>
                    <a:pt x="117" y="246"/>
                  </a:lnTo>
                  <a:lnTo>
                    <a:pt x="107" y="244"/>
                  </a:lnTo>
                  <a:lnTo>
                    <a:pt x="97" y="240"/>
                  </a:lnTo>
                  <a:lnTo>
                    <a:pt x="87" y="235"/>
                  </a:lnTo>
                  <a:lnTo>
                    <a:pt x="79" y="230"/>
                  </a:lnTo>
                  <a:lnTo>
                    <a:pt x="71" y="224"/>
                  </a:lnTo>
                  <a:lnTo>
                    <a:pt x="63" y="217"/>
                  </a:lnTo>
                  <a:lnTo>
                    <a:pt x="55" y="209"/>
                  </a:lnTo>
                  <a:lnTo>
                    <a:pt x="50" y="200"/>
                  </a:lnTo>
                  <a:lnTo>
                    <a:pt x="44" y="192"/>
                  </a:lnTo>
                  <a:lnTo>
                    <a:pt x="40" y="182"/>
                  </a:lnTo>
                  <a:lnTo>
                    <a:pt x="35" y="173"/>
                  </a:lnTo>
                  <a:lnTo>
                    <a:pt x="33" y="162"/>
                  </a:lnTo>
                  <a:lnTo>
                    <a:pt x="31" y="150"/>
                  </a:lnTo>
                  <a:lnTo>
                    <a:pt x="31" y="139"/>
                  </a:lnTo>
                  <a:lnTo>
                    <a:pt x="31" y="128"/>
                  </a:lnTo>
                  <a:lnTo>
                    <a:pt x="33" y="118"/>
                  </a:lnTo>
                  <a:lnTo>
                    <a:pt x="35" y="107"/>
                  </a:lnTo>
                  <a:lnTo>
                    <a:pt x="40" y="97"/>
                  </a:lnTo>
                  <a:lnTo>
                    <a:pt x="44" y="88"/>
                  </a:lnTo>
                  <a:lnTo>
                    <a:pt x="50" y="79"/>
                  </a:lnTo>
                  <a:lnTo>
                    <a:pt x="55" y="70"/>
                  </a:lnTo>
                  <a:lnTo>
                    <a:pt x="63" y="63"/>
                  </a:lnTo>
                  <a:lnTo>
                    <a:pt x="71" y="56"/>
                  </a:lnTo>
                  <a:lnTo>
                    <a:pt x="79" y="49"/>
                  </a:lnTo>
                  <a:lnTo>
                    <a:pt x="87" y="44"/>
                  </a:lnTo>
                  <a:lnTo>
                    <a:pt x="97" y="39"/>
                  </a:lnTo>
                  <a:lnTo>
                    <a:pt x="107" y="36"/>
                  </a:lnTo>
                  <a:lnTo>
                    <a:pt x="117" y="34"/>
                  </a:lnTo>
                  <a:lnTo>
                    <a:pt x="129" y="32"/>
                  </a:lnTo>
                  <a:lnTo>
                    <a:pt x="140" y="32"/>
                  </a:lnTo>
                  <a:lnTo>
                    <a:pt x="151" y="32"/>
                  </a:lnTo>
                  <a:lnTo>
                    <a:pt x="162" y="33"/>
                  </a:lnTo>
                  <a:lnTo>
                    <a:pt x="172" y="36"/>
                  </a:lnTo>
                  <a:lnTo>
                    <a:pt x="182" y="39"/>
                  </a:lnTo>
                  <a:lnTo>
                    <a:pt x="191" y="44"/>
                  </a:lnTo>
                  <a:lnTo>
                    <a:pt x="200" y="49"/>
                  </a:lnTo>
                  <a:lnTo>
                    <a:pt x="209" y="56"/>
                  </a:lnTo>
                  <a:lnTo>
                    <a:pt x="216" y="63"/>
                  </a:lnTo>
                  <a:lnTo>
                    <a:pt x="223" y="70"/>
                  </a:lnTo>
                  <a:lnTo>
                    <a:pt x="230" y="79"/>
                  </a:lnTo>
                  <a:lnTo>
                    <a:pt x="235" y="88"/>
                  </a:lnTo>
                  <a:lnTo>
                    <a:pt x="240" y="97"/>
                  </a:lnTo>
                  <a:lnTo>
                    <a:pt x="243" y="107"/>
                  </a:lnTo>
                  <a:lnTo>
                    <a:pt x="246" y="118"/>
                  </a:lnTo>
                  <a:lnTo>
                    <a:pt x="247" y="128"/>
                  </a:lnTo>
                  <a:lnTo>
                    <a:pt x="249" y="139"/>
                  </a:lnTo>
                  <a:lnTo>
                    <a:pt x="247" y="150"/>
                  </a:lnTo>
                  <a:lnTo>
                    <a:pt x="246" y="162"/>
                  </a:lnTo>
                  <a:lnTo>
                    <a:pt x="243" y="173"/>
                  </a:lnTo>
                  <a:lnTo>
                    <a:pt x="240" y="182"/>
                  </a:lnTo>
                  <a:lnTo>
                    <a:pt x="235" y="192"/>
                  </a:lnTo>
                  <a:lnTo>
                    <a:pt x="230" y="200"/>
                  </a:lnTo>
                  <a:lnTo>
                    <a:pt x="223" y="209"/>
                  </a:lnTo>
                  <a:lnTo>
                    <a:pt x="216" y="217"/>
                  </a:lnTo>
                  <a:lnTo>
                    <a:pt x="209" y="224"/>
                  </a:lnTo>
                  <a:lnTo>
                    <a:pt x="200" y="230"/>
                  </a:lnTo>
                  <a:lnTo>
                    <a:pt x="191" y="235"/>
                  </a:lnTo>
                  <a:lnTo>
                    <a:pt x="182" y="240"/>
                  </a:lnTo>
                  <a:lnTo>
                    <a:pt x="172" y="244"/>
                  </a:lnTo>
                  <a:lnTo>
                    <a:pt x="162" y="246"/>
                  </a:lnTo>
                  <a:lnTo>
                    <a:pt x="151" y="248"/>
                  </a:lnTo>
                  <a:lnTo>
                    <a:pt x="140" y="248"/>
                  </a:lnTo>
                  <a:close/>
                  <a:moveTo>
                    <a:pt x="140" y="0"/>
                  </a:moveTo>
                  <a:lnTo>
                    <a:pt x="125" y="0"/>
                  </a:lnTo>
                  <a:lnTo>
                    <a:pt x="111" y="3"/>
                  </a:lnTo>
                  <a:lnTo>
                    <a:pt x="97" y="6"/>
                  </a:lnTo>
                  <a:lnTo>
                    <a:pt x="85" y="10"/>
                  </a:lnTo>
                  <a:lnTo>
                    <a:pt x="73" y="17"/>
                  </a:lnTo>
                  <a:lnTo>
                    <a:pt x="61" y="24"/>
                  </a:lnTo>
                  <a:lnTo>
                    <a:pt x="51" y="32"/>
                  </a:lnTo>
                  <a:lnTo>
                    <a:pt x="41" y="40"/>
                  </a:lnTo>
                  <a:lnTo>
                    <a:pt x="32" y="50"/>
                  </a:lnTo>
                  <a:lnTo>
                    <a:pt x="23" y="62"/>
                  </a:lnTo>
                  <a:lnTo>
                    <a:pt x="16" y="73"/>
                  </a:lnTo>
                  <a:lnTo>
                    <a:pt x="11" y="85"/>
                  </a:lnTo>
                  <a:lnTo>
                    <a:pt x="6" y="98"/>
                  </a:lnTo>
                  <a:lnTo>
                    <a:pt x="2" y="112"/>
                  </a:lnTo>
                  <a:lnTo>
                    <a:pt x="1" y="126"/>
                  </a:lnTo>
                  <a:lnTo>
                    <a:pt x="0" y="139"/>
                  </a:lnTo>
                  <a:lnTo>
                    <a:pt x="1" y="154"/>
                  </a:lnTo>
                  <a:lnTo>
                    <a:pt x="2" y="168"/>
                  </a:lnTo>
                  <a:lnTo>
                    <a:pt x="6" y="182"/>
                  </a:lnTo>
                  <a:lnTo>
                    <a:pt x="11" y="194"/>
                  </a:lnTo>
                  <a:lnTo>
                    <a:pt x="16" y="206"/>
                  </a:lnTo>
                  <a:lnTo>
                    <a:pt x="23" y="218"/>
                  </a:lnTo>
                  <a:lnTo>
                    <a:pt x="32" y="228"/>
                  </a:lnTo>
                  <a:lnTo>
                    <a:pt x="41" y="238"/>
                  </a:lnTo>
                  <a:lnTo>
                    <a:pt x="51" y="248"/>
                  </a:lnTo>
                  <a:lnTo>
                    <a:pt x="61" y="256"/>
                  </a:lnTo>
                  <a:lnTo>
                    <a:pt x="73" y="263"/>
                  </a:lnTo>
                  <a:lnTo>
                    <a:pt x="85" y="268"/>
                  </a:lnTo>
                  <a:lnTo>
                    <a:pt x="97" y="274"/>
                  </a:lnTo>
                  <a:lnTo>
                    <a:pt x="111" y="277"/>
                  </a:lnTo>
                  <a:lnTo>
                    <a:pt x="125" y="279"/>
                  </a:lnTo>
                  <a:lnTo>
                    <a:pt x="140" y="279"/>
                  </a:lnTo>
                  <a:lnTo>
                    <a:pt x="154" y="279"/>
                  </a:lnTo>
                  <a:lnTo>
                    <a:pt x="167" y="277"/>
                  </a:lnTo>
                  <a:lnTo>
                    <a:pt x="181" y="274"/>
                  </a:lnTo>
                  <a:lnTo>
                    <a:pt x="194" y="268"/>
                  </a:lnTo>
                  <a:lnTo>
                    <a:pt x="206" y="263"/>
                  </a:lnTo>
                  <a:lnTo>
                    <a:pt x="217" y="256"/>
                  </a:lnTo>
                  <a:lnTo>
                    <a:pt x="229" y="248"/>
                  </a:lnTo>
                  <a:lnTo>
                    <a:pt x="239" y="238"/>
                  </a:lnTo>
                  <a:lnTo>
                    <a:pt x="247" y="228"/>
                  </a:lnTo>
                  <a:lnTo>
                    <a:pt x="255" y="218"/>
                  </a:lnTo>
                  <a:lnTo>
                    <a:pt x="262" y="206"/>
                  </a:lnTo>
                  <a:lnTo>
                    <a:pt x="269" y="194"/>
                  </a:lnTo>
                  <a:lnTo>
                    <a:pt x="273" y="182"/>
                  </a:lnTo>
                  <a:lnTo>
                    <a:pt x="276" y="168"/>
                  </a:lnTo>
                  <a:lnTo>
                    <a:pt x="279" y="154"/>
                  </a:lnTo>
                  <a:lnTo>
                    <a:pt x="280" y="139"/>
                  </a:lnTo>
                  <a:lnTo>
                    <a:pt x="279" y="126"/>
                  </a:lnTo>
                  <a:lnTo>
                    <a:pt x="276" y="112"/>
                  </a:lnTo>
                  <a:lnTo>
                    <a:pt x="273" y="98"/>
                  </a:lnTo>
                  <a:lnTo>
                    <a:pt x="269" y="85"/>
                  </a:lnTo>
                  <a:lnTo>
                    <a:pt x="262" y="73"/>
                  </a:lnTo>
                  <a:lnTo>
                    <a:pt x="255" y="62"/>
                  </a:lnTo>
                  <a:lnTo>
                    <a:pt x="247" y="50"/>
                  </a:lnTo>
                  <a:lnTo>
                    <a:pt x="239" y="40"/>
                  </a:lnTo>
                  <a:lnTo>
                    <a:pt x="229" y="32"/>
                  </a:lnTo>
                  <a:lnTo>
                    <a:pt x="217" y="24"/>
                  </a:lnTo>
                  <a:lnTo>
                    <a:pt x="206" y="17"/>
                  </a:lnTo>
                  <a:lnTo>
                    <a:pt x="194" y="10"/>
                  </a:lnTo>
                  <a:lnTo>
                    <a:pt x="181" y="6"/>
                  </a:lnTo>
                  <a:lnTo>
                    <a:pt x="167" y="3"/>
                  </a:lnTo>
                  <a:lnTo>
                    <a:pt x="154" y="0"/>
                  </a:lnTo>
                  <a:lnTo>
                    <a:pt x="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26" name="Group 184">
            <a:extLst>
              <a:ext uri="{FF2B5EF4-FFF2-40B4-BE49-F238E27FC236}">
                <a16:creationId xmlns:a16="http://schemas.microsoft.com/office/drawing/2014/main" id="{294D9A58-B746-4347-854A-72EE1B47278C}"/>
              </a:ext>
            </a:extLst>
          </p:cNvPr>
          <p:cNvGrpSpPr>
            <a:grpSpLocks noChangeAspect="1"/>
          </p:cNvGrpSpPr>
          <p:nvPr/>
        </p:nvGrpSpPr>
        <p:grpSpPr>
          <a:xfrm>
            <a:off x="5791954" y="5956111"/>
            <a:ext cx="285619" cy="285619"/>
            <a:chOff x="8737493" y="1356959"/>
            <a:chExt cx="287091" cy="287091"/>
          </a:xfrm>
          <a:solidFill>
            <a:schemeClr val="bg1"/>
          </a:solidFill>
          <a:effectLst/>
        </p:grpSpPr>
        <p:sp>
          <p:nvSpPr>
            <p:cNvPr id="1427" name="Freeform 241">
              <a:extLst>
                <a:ext uri="{FF2B5EF4-FFF2-40B4-BE49-F238E27FC236}">
                  <a16:creationId xmlns:a16="http://schemas.microsoft.com/office/drawing/2014/main" id="{3C08E606-BB18-4F50-A675-815BE8C23BBB}"/>
                </a:ext>
              </a:extLst>
            </p:cNvPr>
            <p:cNvSpPr>
              <a:spLocks noEditPoints="1"/>
            </p:cNvSpPr>
            <p:nvPr/>
          </p:nvSpPr>
          <p:spPr bwMode="auto">
            <a:xfrm>
              <a:off x="8775689" y="1577514"/>
              <a:ext cx="142929" cy="28339"/>
            </a:xfrm>
            <a:custGeom>
              <a:avLst/>
              <a:gdLst>
                <a:gd name="T0" fmla="*/ 435 w 466"/>
                <a:gd name="T1" fmla="*/ 62 h 93"/>
                <a:gd name="T2" fmla="*/ 31 w 466"/>
                <a:gd name="T3" fmla="*/ 62 h 93"/>
                <a:gd name="T4" fmla="*/ 31 w 466"/>
                <a:gd name="T5" fmla="*/ 31 h 93"/>
                <a:gd name="T6" fmla="*/ 435 w 466"/>
                <a:gd name="T7" fmla="*/ 31 h 93"/>
                <a:gd name="T8" fmla="*/ 435 w 466"/>
                <a:gd name="T9" fmla="*/ 62 h 93"/>
                <a:gd name="T10" fmla="*/ 451 w 466"/>
                <a:gd name="T11" fmla="*/ 0 h 93"/>
                <a:gd name="T12" fmla="*/ 15 w 466"/>
                <a:gd name="T13" fmla="*/ 0 h 93"/>
                <a:gd name="T14" fmla="*/ 13 w 466"/>
                <a:gd name="T15" fmla="*/ 0 h 93"/>
                <a:gd name="T16" fmla="*/ 10 w 466"/>
                <a:gd name="T17" fmla="*/ 1 h 93"/>
                <a:gd name="T18" fmla="*/ 7 w 466"/>
                <a:gd name="T19" fmla="*/ 2 h 93"/>
                <a:gd name="T20" fmla="*/ 4 w 466"/>
                <a:gd name="T21" fmla="*/ 4 h 93"/>
                <a:gd name="T22" fmla="*/ 3 w 466"/>
                <a:gd name="T23" fmla="*/ 6 h 93"/>
                <a:gd name="T24" fmla="*/ 1 w 466"/>
                <a:gd name="T25" fmla="*/ 10 h 93"/>
                <a:gd name="T26" fmla="*/ 1 w 466"/>
                <a:gd name="T27" fmla="*/ 12 h 93"/>
                <a:gd name="T28" fmla="*/ 0 w 466"/>
                <a:gd name="T29" fmla="*/ 15 h 93"/>
                <a:gd name="T30" fmla="*/ 0 w 466"/>
                <a:gd name="T31" fmla="*/ 77 h 93"/>
                <a:gd name="T32" fmla="*/ 1 w 466"/>
                <a:gd name="T33" fmla="*/ 81 h 93"/>
                <a:gd name="T34" fmla="*/ 1 w 466"/>
                <a:gd name="T35" fmla="*/ 83 h 93"/>
                <a:gd name="T36" fmla="*/ 3 w 466"/>
                <a:gd name="T37" fmla="*/ 86 h 93"/>
                <a:gd name="T38" fmla="*/ 4 w 466"/>
                <a:gd name="T39" fmla="*/ 89 h 93"/>
                <a:gd name="T40" fmla="*/ 7 w 466"/>
                <a:gd name="T41" fmla="*/ 91 h 93"/>
                <a:gd name="T42" fmla="*/ 10 w 466"/>
                <a:gd name="T43" fmla="*/ 92 h 93"/>
                <a:gd name="T44" fmla="*/ 13 w 466"/>
                <a:gd name="T45" fmla="*/ 93 h 93"/>
                <a:gd name="T46" fmla="*/ 15 w 466"/>
                <a:gd name="T47" fmla="*/ 93 h 93"/>
                <a:gd name="T48" fmla="*/ 451 w 466"/>
                <a:gd name="T49" fmla="*/ 93 h 93"/>
                <a:gd name="T50" fmla="*/ 454 w 466"/>
                <a:gd name="T51" fmla="*/ 93 h 93"/>
                <a:gd name="T52" fmla="*/ 457 w 466"/>
                <a:gd name="T53" fmla="*/ 92 h 93"/>
                <a:gd name="T54" fmla="*/ 460 w 466"/>
                <a:gd name="T55" fmla="*/ 91 h 93"/>
                <a:gd name="T56" fmla="*/ 462 w 466"/>
                <a:gd name="T57" fmla="*/ 89 h 93"/>
                <a:gd name="T58" fmla="*/ 464 w 466"/>
                <a:gd name="T59" fmla="*/ 86 h 93"/>
                <a:gd name="T60" fmla="*/ 465 w 466"/>
                <a:gd name="T61" fmla="*/ 83 h 93"/>
                <a:gd name="T62" fmla="*/ 466 w 466"/>
                <a:gd name="T63" fmla="*/ 81 h 93"/>
                <a:gd name="T64" fmla="*/ 466 w 466"/>
                <a:gd name="T65" fmla="*/ 77 h 93"/>
                <a:gd name="T66" fmla="*/ 466 w 466"/>
                <a:gd name="T67" fmla="*/ 15 h 93"/>
                <a:gd name="T68" fmla="*/ 466 w 466"/>
                <a:gd name="T69" fmla="*/ 12 h 93"/>
                <a:gd name="T70" fmla="*/ 465 w 466"/>
                <a:gd name="T71" fmla="*/ 10 h 93"/>
                <a:gd name="T72" fmla="*/ 464 w 466"/>
                <a:gd name="T73" fmla="*/ 6 h 93"/>
                <a:gd name="T74" fmla="*/ 462 w 466"/>
                <a:gd name="T75" fmla="*/ 4 h 93"/>
                <a:gd name="T76" fmla="*/ 460 w 466"/>
                <a:gd name="T77" fmla="*/ 2 h 93"/>
                <a:gd name="T78" fmla="*/ 457 w 466"/>
                <a:gd name="T79" fmla="*/ 1 h 93"/>
                <a:gd name="T80" fmla="*/ 454 w 466"/>
                <a:gd name="T81" fmla="*/ 0 h 93"/>
                <a:gd name="T82" fmla="*/ 451 w 466"/>
                <a:gd name="T8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6" h="93">
                  <a:moveTo>
                    <a:pt x="435" y="62"/>
                  </a:moveTo>
                  <a:lnTo>
                    <a:pt x="31" y="62"/>
                  </a:lnTo>
                  <a:lnTo>
                    <a:pt x="31" y="31"/>
                  </a:lnTo>
                  <a:lnTo>
                    <a:pt x="435" y="31"/>
                  </a:lnTo>
                  <a:lnTo>
                    <a:pt x="435" y="62"/>
                  </a:lnTo>
                  <a:close/>
                  <a:moveTo>
                    <a:pt x="451" y="0"/>
                  </a:moveTo>
                  <a:lnTo>
                    <a:pt x="15" y="0"/>
                  </a:lnTo>
                  <a:lnTo>
                    <a:pt x="13" y="0"/>
                  </a:lnTo>
                  <a:lnTo>
                    <a:pt x="10" y="1"/>
                  </a:lnTo>
                  <a:lnTo>
                    <a:pt x="7" y="2"/>
                  </a:lnTo>
                  <a:lnTo>
                    <a:pt x="4" y="4"/>
                  </a:lnTo>
                  <a:lnTo>
                    <a:pt x="3" y="6"/>
                  </a:lnTo>
                  <a:lnTo>
                    <a:pt x="1" y="10"/>
                  </a:lnTo>
                  <a:lnTo>
                    <a:pt x="1" y="12"/>
                  </a:lnTo>
                  <a:lnTo>
                    <a:pt x="0" y="15"/>
                  </a:lnTo>
                  <a:lnTo>
                    <a:pt x="0" y="77"/>
                  </a:lnTo>
                  <a:lnTo>
                    <a:pt x="1" y="81"/>
                  </a:lnTo>
                  <a:lnTo>
                    <a:pt x="1" y="83"/>
                  </a:lnTo>
                  <a:lnTo>
                    <a:pt x="3" y="86"/>
                  </a:lnTo>
                  <a:lnTo>
                    <a:pt x="4" y="89"/>
                  </a:lnTo>
                  <a:lnTo>
                    <a:pt x="7" y="91"/>
                  </a:lnTo>
                  <a:lnTo>
                    <a:pt x="10" y="92"/>
                  </a:lnTo>
                  <a:lnTo>
                    <a:pt x="13" y="93"/>
                  </a:lnTo>
                  <a:lnTo>
                    <a:pt x="15" y="93"/>
                  </a:lnTo>
                  <a:lnTo>
                    <a:pt x="451" y="93"/>
                  </a:lnTo>
                  <a:lnTo>
                    <a:pt x="454" y="93"/>
                  </a:lnTo>
                  <a:lnTo>
                    <a:pt x="457" y="92"/>
                  </a:lnTo>
                  <a:lnTo>
                    <a:pt x="460" y="91"/>
                  </a:lnTo>
                  <a:lnTo>
                    <a:pt x="462" y="89"/>
                  </a:lnTo>
                  <a:lnTo>
                    <a:pt x="464" y="86"/>
                  </a:lnTo>
                  <a:lnTo>
                    <a:pt x="465" y="83"/>
                  </a:lnTo>
                  <a:lnTo>
                    <a:pt x="466" y="81"/>
                  </a:lnTo>
                  <a:lnTo>
                    <a:pt x="466" y="77"/>
                  </a:lnTo>
                  <a:lnTo>
                    <a:pt x="466" y="15"/>
                  </a:lnTo>
                  <a:lnTo>
                    <a:pt x="466" y="12"/>
                  </a:lnTo>
                  <a:lnTo>
                    <a:pt x="465" y="10"/>
                  </a:lnTo>
                  <a:lnTo>
                    <a:pt x="464" y="6"/>
                  </a:lnTo>
                  <a:lnTo>
                    <a:pt x="462" y="4"/>
                  </a:lnTo>
                  <a:lnTo>
                    <a:pt x="460" y="2"/>
                  </a:lnTo>
                  <a:lnTo>
                    <a:pt x="457" y="1"/>
                  </a:lnTo>
                  <a:lnTo>
                    <a:pt x="454" y="0"/>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242">
              <a:extLst>
                <a:ext uri="{FF2B5EF4-FFF2-40B4-BE49-F238E27FC236}">
                  <a16:creationId xmlns:a16="http://schemas.microsoft.com/office/drawing/2014/main" id="{F946EC41-21BC-4251-9303-2DB22C4E65FE}"/>
                </a:ext>
              </a:extLst>
            </p:cNvPr>
            <p:cNvSpPr>
              <a:spLocks noEditPoints="1"/>
            </p:cNvSpPr>
            <p:nvPr/>
          </p:nvSpPr>
          <p:spPr bwMode="auto">
            <a:xfrm>
              <a:off x="8935869" y="1567656"/>
              <a:ext cx="22179" cy="22179"/>
            </a:xfrm>
            <a:custGeom>
              <a:avLst/>
              <a:gdLst>
                <a:gd name="T0" fmla="*/ 31 w 70"/>
                <a:gd name="T1" fmla="*/ 34 h 70"/>
                <a:gd name="T2" fmla="*/ 31 w 70"/>
                <a:gd name="T3" fmla="*/ 33 h 70"/>
                <a:gd name="T4" fmla="*/ 32 w 70"/>
                <a:gd name="T5" fmla="*/ 32 h 70"/>
                <a:gd name="T6" fmla="*/ 33 w 70"/>
                <a:gd name="T7" fmla="*/ 31 h 70"/>
                <a:gd name="T8" fmla="*/ 34 w 70"/>
                <a:gd name="T9" fmla="*/ 31 h 70"/>
                <a:gd name="T10" fmla="*/ 37 w 70"/>
                <a:gd name="T11" fmla="*/ 31 h 70"/>
                <a:gd name="T12" fmla="*/ 38 w 70"/>
                <a:gd name="T13" fmla="*/ 32 h 70"/>
                <a:gd name="T14" fmla="*/ 39 w 70"/>
                <a:gd name="T15" fmla="*/ 33 h 70"/>
                <a:gd name="T16" fmla="*/ 39 w 70"/>
                <a:gd name="T17" fmla="*/ 34 h 70"/>
                <a:gd name="T18" fmla="*/ 39 w 70"/>
                <a:gd name="T19" fmla="*/ 36 h 70"/>
                <a:gd name="T20" fmla="*/ 38 w 70"/>
                <a:gd name="T21" fmla="*/ 38 h 70"/>
                <a:gd name="T22" fmla="*/ 37 w 70"/>
                <a:gd name="T23" fmla="*/ 38 h 70"/>
                <a:gd name="T24" fmla="*/ 34 w 70"/>
                <a:gd name="T25" fmla="*/ 39 h 70"/>
                <a:gd name="T26" fmla="*/ 33 w 70"/>
                <a:gd name="T27" fmla="*/ 38 h 70"/>
                <a:gd name="T28" fmla="*/ 32 w 70"/>
                <a:gd name="T29" fmla="*/ 38 h 70"/>
                <a:gd name="T30" fmla="*/ 31 w 70"/>
                <a:gd name="T31" fmla="*/ 36 h 70"/>
                <a:gd name="T32" fmla="*/ 31 w 70"/>
                <a:gd name="T33" fmla="*/ 34 h 70"/>
                <a:gd name="T34" fmla="*/ 34 w 70"/>
                <a:gd name="T35" fmla="*/ 0 h 70"/>
                <a:gd name="T36" fmla="*/ 28 w 70"/>
                <a:gd name="T37" fmla="*/ 1 h 70"/>
                <a:gd name="T38" fmla="*/ 21 w 70"/>
                <a:gd name="T39" fmla="*/ 2 h 70"/>
                <a:gd name="T40" fmla="*/ 14 w 70"/>
                <a:gd name="T41" fmla="*/ 5 h 70"/>
                <a:gd name="T42" fmla="*/ 10 w 70"/>
                <a:gd name="T43" fmla="*/ 10 h 70"/>
                <a:gd name="T44" fmla="*/ 5 w 70"/>
                <a:gd name="T45" fmla="*/ 15 h 70"/>
                <a:gd name="T46" fmla="*/ 2 w 70"/>
                <a:gd name="T47" fmla="*/ 21 h 70"/>
                <a:gd name="T48" fmla="*/ 0 w 70"/>
                <a:gd name="T49" fmla="*/ 28 h 70"/>
                <a:gd name="T50" fmla="*/ 0 w 70"/>
                <a:gd name="T51" fmla="*/ 34 h 70"/>
                <a:gd name="T52" fmla="*/ 0 w 70"/>
                <a:gd name="T53" fmla="*/ 42 h 70"/>
                <a:gd name="T54" fmla="*/ 2 w 70"/>
                <a:gd name="T55" fmla="*/ 49 h 70"/>
                <a:gd name="T56" fmla="*/ 5 w 70"/>
                <a:gd name="T57" fmla="*/ 54 h 70"/>
                <a:gd name="T58" fmla="*/ 10 w 70"/>
                <a:gd name="T59" fmla="*/ 60 h 70"/>
                <a:gd name="T60" fmla="*/ 14 w 70"/>
                <a:gd name="T61" fmla="*/ 64 h 70"/>
                <a:gd name="T62" fmla="*/ 21 w 70"/>
                <a:gd name="T63" fmla="*/ 68 h 70"/>
                <a:gd name="T64" fmla="*/ 28 w 70"/>
                <a:gd name="T65" fmla="*/ 69 h 70"/>
                <a:gd name="T66" fmla="*/ 34 w 70"/>
                <a:gd name="T67" fmla="*/ 70 h 70"/>
                <a:gd name="T68" fmla="*/ 42 w 70"/>
                <a:gd name="T69" fmla="*/ 69 h 70"/>
                <a:gd name="T70" fmla="*/ 48 w 70"/>
                <a:gd name="T71" fmla="*/ 68 h 70"/>
                <a:gd name="T72" fmla="*/ 54 w 70"/>
                <a:gd name="T73" fmla="*/ 64 h 70"/>
                <a:gd name="T74" fmla="*/ 60 w 70"/>
                <a:gd name="T75" fmla="*/ 60 h 70"/>
                <a:gd name="T76" fmla="*/ 63 w 70"/>
                <a:gd name="T77" fmla="*/ 54 h 70"/>
                <a:gd name="T78" fmla="*/ 67 w 70"/>
                <a:gd name="T79" fmla="*/ 49 h 70"/>
                <a:gd name="T80" fmla="*/ 69 w 70"/>
                <a:gd name="T81" fmla="*/ 42 h 70"/>
                <a:gd name="T82" fmla="*/ 70 w 70"/>
                <a:gd name="T83" fmla="*/ 34 h 70"/>
                <a:gd name="T84" fmla="*/ 69 w 70"/>
                <a:gd name="T85" fmla="*/ 28 h 70"/>
                <a:gd name="T86" fmla="*/ 67 w 70"/>
                <a:gd name="T87" fmla="*/ 21 h 70"/>
                <a:gd name="T88" fmla="*/ 63 w 70"/>
                <a:gd name="T89" fmla="*/ 15 h 70"/>
                <a:gd name="T90" fmla="*/ 60 w 70"/>
                <a:gd name="T91" fmla="*/ 10 h 70"/>
                <a:gd name="T92" fmla="*/ 54 w 70"/>
                <a:gd name="T93" fmla="*/ 5 h 70"/>
                <a:gd name="T94" fmla="*/ 48 w 70"/>
                <a:gd name="T95" fmla="*/ 2 h 70"/>
                <a:gd name="T96" fmla="*/ 42 w 70"/>
                <a:gd name="T97" fmla="*/ 1 h 70"/>
                <a:gd name="T98" fmla="*/ 34 w 70"/>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 h="70">
                  <a:moveTo>
                    <a:pt x="31" y="34"/>
                  </a:moveTo>
                  <a:lnTo>
                    <a:pt x="31" y="33"/>
                  </a:lnTo>
                  <a:lnTo>
                    <a:pt x="32" y="32"/>
                  </a:lnTo>
                  <a:lnTo>
                    <a:pt x="33" y="31"/>
                  </a:lnTo>
                  <a:lnTo>
                    <a:pt x="34" y="31"/>
                  </a:lnTo>
                  <a:lnTo>
                    <a:pt x="37" y="31"/>
                  </a:lnTo>
                  <a:lnTo>
                    <a:pt x="38" y="32"/>
                  </a:lnTo>
                  <a:lnTo>
                    <a:pt x="39" y="33"/>
                  </a:lnTo>
                  <a:lnTo>
                    <a:pt x="39" y="34"/>
                  </a:lnTo>
                  <a:lnTo>
                    <a:pt x="39" y="36"/>
                  </a:lnTo>
                  <a:lnTo>
                    <a:pt x="38" y="38"/>
                  </a:lnTo>
                  <a:lnTo>
                    <a:pt x="37" y="38"/>
                  </a:lnTo>
                  <a:lnTo>
                    <a:pt x="34" y="39"/>
                  </a:lnTo>
                  <a:lnTo>
                    <a:pt x="33" y="38"/>
                  </a:lnTo>
                  <a:lnTo>
                    <a:pt x="32" y="38"/>
                  </a:lnTo>
                  <a:lnTo>
                    <a:pt x="31" y="36"/>
                  </a:lnTo>
                  <a:lnTo>
                    <a:pt x="31" y="34"/>
                  </a:lnTo>
                  <a:close/>
                  <a:moveTo>
                    <a:pt x="34" y="0"/>
                  </a:moveTo>
                  <a:lnTo>
                    <a:pt x="28" y="1"/>
                  </a:lnTo>
                  <a:lnTo>
                    <a:pt x="21" y="2"/>
                  </a:lnTo>
                  <a:lnTo>
                    <a:pt x="14" y="5"/>
                  </a:lnTo>
                  <a:lnTo>
                    <a:pt x="10" y="10"/>
                  </a:lnTo>
                  <a:lnTo>
                    <a:pt x="5" y="15"/>
                  </a:lnTo>
                  <a:lnTo>
                    <a:pt x="2" y="21"/>
                  </a:lnTo>
                  <a:lnTo>
                    <a:pt x="0" y="28"/>
                  </a:lnTo>
                  <a:lnTo>
                    <a:pt x="0" y="34"/>
                  </a:lnTo>
                  <a:lnTo>
                    <a:pt x="0" y="42"/>
                  </a:lnTo>
                  <a:lnTo>
                    <a:pt x="2" y="49"/>
                  </a:lnTo>
                  <a:lnTo>
                    <a:pt x="5" y="54"/>
                  </a:lnTo>
                  <a:lnTo>
                    <a:pt x="10" y="60"/>
                  </a:lnTo>
                  <a:lnTo>
                    <a:pt x="14" y="64"/>
                  </a:lnTo>
                  <a:lnTo>
                    <a:pt x="21" y="68"/>
                  </a:lnTo>
                  <a:lnTo>
                    <a:pt x="28" y="69"/>
                  </a:lnTo>
                  <a:lnTo>
                    <a:pt x="34" y="70"/>
                  </a:lnTo>
                  <a:lnTo>
                    <a:pt x="42" y="69"/>
                  </a:lnTo>
                  <a:lnTo>
                    <a:pt x="48" y="68"/>
                  </a:lnTo>
                  <a:lnTo>
                    <a:pt x="54" y="64"/>
                  </a:lnTo>
                  <a:lnTo>
                    <a:pt x="60" y="60"/>
                  </a:lnTo>
                  <a:lnTo>
                    <a:pt x="63" y="54"/>
                  </a:lnTo>
                  <a:lnTo>
                    <a:pt x="67" y="49"/>
                  </a:lnTo>
                  <a:lnTo>
                    <a:pt x="69" y="42"/>
                  </a:lnTo>
                  <a:lnTo>
                    <a:pt x="70" y="34"/>
                  </a:lnTo>
                  <a:lnTo>
                    <a:pt x="69" y="28"/>
                  </a:lnTo>
                  <a:lnTo>
                    <a:pt x="67" y="21"/>
                  </a:lnTo>
                  <a:lnTo>
                    <a:pt x="63" y="15"/>
                  </a:lnTo>
                  <a:lnTo>
                    <a:pt x="60" y="10"/>
                  </a:lnTo>
                  <a:lnTo>
                    <a:pt x="54" y="5"/>
                  </a:lnTo>
                  <a:lnTo>
                    <a:pt x="48" y="2"/>
                  </a:lnTo>
                  <a:lnTo>
                    <a:pt x="42" y="1"/>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243">
              <a:extLst>
                <a:ext uri="{FF2B5EF4-FFF2-40B4-BE49-F238E27FC236}">
                  <a16:creationId xmlns:a16="http://schemas.microsoft.com/office/drawing/2014/main" id="{58B1BEE5-10E5-4B25-81C3-6D3538C4E9FE}"/>
                </a:ext>
              </a:extLst>
            </p:cNvPr>
            <p:cNvSpPr>
              <a:spLocks noEditPoints="1"/>
            </p:cNvSpPr>
            <p:nvPr/>
          </p:nvSpPr>
          <p:spPr bwMode="auto">
            <a:xfrm>
              <a:off x="8972833" y="1567656"/>
              <a:ext cx="20947" cy="22179"/>
            </a:xfrm>
            <a:custGeom>
              <a:avLst/>
              <a:gdLst>
                <a:gd name="T0" fmla="*/ 31 w 71"/>
                <a:gd name="T1" fmla="*/ 34 h 70"/>
                <a:gd name="T2" fmla="*/ 32 w 71"/>
                <a:gd name="T3" fmla="*/ 33 h 70"/>
                <a:gd name="T4" fmla="*/ 32 w 71"/>
                <a:gd name="T5" fmla="*/ 32 h 70"/>
                <a:gd name="T6" fmla="*/ 34 w 71"/>
                <a:gd name="T7" fmla="*/ 31 h 70"/>
                <a:gd name="T8" fmla="*/ 35 w 71"/>
                <a:gd name="T9" fmla="*/ 31 h 70"/>
                <a:gd name="T10" fmla="*/ 36 w 71"/>
                <a:gd name="T11" fmla="*/ 31 h 70"/>
                <a:gd name="T12" fmla="*/ 38 w 71"/>
                <a:gd name="T13" fmla="*/ 32 h 70"/>
                <a:gd name="T14" fmla="*/ 38 w 71"/>
                <a:gd name="T15" fmla="*/ 33 h 70"/>
                <a:gd name="T16" fmla="*/ 40 w 71"/>
                <a:gd name="T17" fmla="*/ 34 h 70"/>
                <a:gd name="T18" fmla="*/ 38 w 71"/>
                <a:gd name="T19" fmla="*/ 36 h 70"/>
                <a:gd name="T20" fmla="*/ 38 w 71"/>
                <a:gd name="T21" fmla="*/ 38 h 70"/>
                <a:gd name="T22" fmla="*/ 36 w 71"/>
                <a:gd name="T23" fmla="*/ 38 h 70"/>
                <a:gd name="T24" fmla="*/ 35 w 71"/>
                <a:gd name="T25" fmla="*/ 39 h 70"/>
                <a:gd name="T26" fmla="*/ 34 w 71"/>
                <a:gd name="T27" fmla="*/ 38 h 70"/>
                <a:gd name="T28" fmla="*/ 32 w 71"/>
                <a:gd name="T29" fmla="*/ 38 h 70"/>
                <a:gd name="T30" fmla="*/ 32 w 71"/>
                <a:gd name="T31" fmla="*/ 36 h 70"/>
                <a:gd name="T32" fmla="*/ 31 w 71"/>
                <a:gd name="T33" fmla="*/ 34 h 70"/>
                <a:gd name="T34" fmla="*/ 35 w 71"/>
                <a:gd name="T35" fmla="*/ 0 h 70"/>
                <a:gd name="T36" fmla="*/ 28 w 71"/>
                <a:gd name="T37" fmla="*/ 1 h 70"/>
                <a:gd name="T38" fmla="*/ 22 w 71"/>
                <a:gd name="T39" fmla="*/ 2 h 70"/>
                <a:gd name="T40" fmla="*/ 15 w 71"/>
                <a:gd name="T41" fmla="*/ 5 h 70"/>
                <a:gd name="T42" fmla="*/ 11 w 71"/>
                <a:gd name="T43" fmla="*/ 10 h 70"/>
                <a:gd name="T44" fmla="*/ 6 w 71"/>
                <a:gd name="T45" fmla="*/ 15 h 70"/>
                <a:gd name="T46" fmla="*/ 3 w 71"/>
                <a:gd name="T47" fmla="*/ 21 h 70"/>
                <a:gd name="T48" fmla="*/ 1 w 71"/>
                <a:gd name="T49" fmla="*/ 28 h 70"/>
                <a:gd name="T50" fmla="*/ 0 w 71"/>
                <a:gd name="T51" fmla="*/ 34 h 70"/>
                <a:gd name="T52" fmla="*/ 1 w 71"/>
                <a:gd name="T53" fmla="*/ 42 h 70"/>
                <a:gd name="T54" fmla="*/ 3 w 71"/>
                <a:gd name="T55" fmla="*/ 49 h 70"/>
                <a:gd name="T56" fmla="*/ 6 w 71"/>
                <a:gd name="T57" fmla="*/ 54 h 70"/>
                <a:gd name="T58" fmla="*/ 11 w 71"/>
                <a:gd name="T59" fmla="*/ 60 h 70"/>
                <a:gd name="T60" fmla="*/ 15 w 71"/>
                <a:gd name="T61" fmla="*/ 64 h 70"/>
                <a:gd name="T62" fmla="*/ 22 w 71"/>
                <a:gd name="T63" fmla="*/ 68 h 70"/>
                <a:gd name="T64" fmla="*/ 28 w 71"/>
                <a:gd name="T65" fmla="*/ 69 h 70"/>
                <a:gd name="T66" fmla="*/ 35 w 71"/>
                <a:gd name="T67" fmla="*/ 70 h 70"/>
                <a:gd name="T68" fmla="*/ 42 w 71"/>
                <a:gd name="T69" fmla="*/ 69 h 70"/>
                <a:gd name="T70" fmla="*/ 48 w 71"/>
                <a:gd name="T71" fmla="*/ 68 h 70"/>
                <a:gd name="T72" fmla="*/ 55 w 71"/>
                <a:gd name="T73" fmla="*/ 64 h 70"/>
                <a:gd name="T74" fmla="*/ 59 w 71"/>
                <a:gd name="T75" fmla="*/ 60 h 70"/>
                <a:gd name="T76" fmla="*/ 64 w 71"/>
                <a:gd name="T77" fmla="*/ 54 h 70"/>
                <a:gd name="T78" fmla="*/ 67 w 71"/>
                <a:gd name="T79" fmla="*/ 49 h 70"/>
                <a:gd name="T80" fmla="*/ 69 w 71"/>
                <a:gd name="T81" fmla="*/ 42 h 70"/>
                <a:gd name="T82" fmla="*/ 71 w 71"/>
                <a:gd name="T83" fmla="*/ 34 h 70"/>
                <a:gd name="T84" fmla="*/ 69 w 71"/>
                <a:gd name="T85" fmla="*/ 28 h 70"/>
                <a:gd name="T86" fmla="*/ 67 w 71"/>
                <a:gd name="T87" fmla="*/ 21 h 70"/>
                <a:gd name="T88" fmla="*/ 64 w 71"/>
                <a:gd name="T89" fmla="*/ 15 h 70"/>
                <a:gd name="T90" fmla="*/ 59 w 71"/>
                <a:gd name="T91" fmla="*/ 10 h 70"/>
                <a:gd name="T92" fmla="*/ 55 w 71"/>
                <a:gd name="T93" fmla="*/ 5 h 70"/>
                <a:gd name="T94" fmla="*/ 48 w 71"/>
                <a:gd name="T95" fmla="*/ 2 h 70"/>
                <a:gd name="T96" fmla="*/ 42 w 71"/>
                <a:gd name="T97" fmla="*/ 1 h 70"/>
                <a:gd name="T98" fmla="*/ 35 w 71"/>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0">
                  <a:moveTo>
                    <a:pt x="31" y="34"/>
                  </a:moveTo>
                  <a:lnTo>
                    <a:pt x="32" y="33"/>
                  </a:lnTo>
                  <a:lnTo>
                    <a:pt x="32" y="32"/>
                  </a:lnTo>
                  <a:lnTo>
                    <a:pt x="34" y="31"/>
                  </a:lnTo>
                  <a:lnTo>
                    <a:pt x="35" y="31"/>
                  </a:lnTo>
                  <a:lnTo>
                    <a:pt x="36" y="31"/>
                  </a:lnTo>
                  <a:lnTo>
                    <a:pt x="38" y="32"/>
                  </a:lnTo>
                  <a:lnTo>
                    <a:pt x="38" y="33"/>
                  </a:lnTo>
                  <a:lnTo>
                    <a:pt x="40" y="34"/>
                  </a:lnTo>
                  <a:lnTo>
                    <a:pt x="38" y="36"/>
                  </a:lnTo>
                  <a:lnTo>
                    <a:pt x="38" y="38"/>
                  </a:lnTo>
                  <a:lnTo>
                    <a:pt x="36" y="38"/>
                  </a:lnTo>
                  <a:lnTo>
                    <a:pt x="35" y="39"/>
                  </a:lnTo>
                  <a:lnTo>
                    <a:pt x="34" y="38"/>
                  </a:lnTo>
                  <a:lnTo>
                    <a:pt x="32" y="38"/>
                  </a:lnTo>
                  <a:lnTo>
                    <a:pt x="32" y="36"/>
                  </a:lnTo>
                  <a:lnTo>
                    <a:pt x="31" y="34"/>
                  </a:lnTo>
                  <a:close/>
                  <a:moveTo>
                    <a:pt x="35" y="0"/>
                  </a:moveTo>
                  <a:lnTo>
                    <a:pt x="28" y="1"/>
                  </a:lnTo>
                  <a:lnTo>
                    <a:pt x="22" y="2"/>
                  </a:lnTo>
                  <a:lnTo>
                    <a:pt x="15" y="5"/>
                  </a:lnTo>
                  <a:lnTo>
                    <a:pt x="11" y="10"/>
                  </a:lnTo>
                  <a:lnTo>
                    <a:pt x="6" y="15"/>
                  </a:lnTo>
                  <a:lnTo>
                    <a:pt x="3" y="21"/>
                  </a:lnTo>
                  <a:lnTo>
                    <a:pt x="1" y="28"/>
                  </a:lnTo>
                  <a:lnTo>
                    <a:pt x="0" y="34"/>
                  </a:lnTo>
                  <a:lnTo>
                    <a:pt x="1" y="42"/>
                  </a:lnTo>
                  <a:lnTo>
                    <a:pt x="3" y="49"/>
                  </a:lnTo>
                  <a:lnTo>
                    <a:pt x="6" y="54"/>
                  </a:lnTo>
                  <a:lnTo>
                    <a:pt x="11" y="60"/>
                  </a:lnTo>
                  <a:lnTo>
                    <a:pt x="15" y="64"/>
                  </a:lnTo>
                  <a:lnTo>
                    <a:pt x="22" y="68"/>
                  </a:lnTo>
                  <a:lnTo>
                    <a:pt x="28" y="69"/>
                  </a:lnTo>
                  <a:lnTo>
                    <a:pt x="35" y="70"/>
                  </a:lnTo>
                  <a:lnTo>
                    <a:pt x="42" y="69"/>
                  </a:lnTo>
                  <a:lnTo>
                    <a:pt x="48" y="68"/>
                  </a:lnTo>
                  <a:lnTo>
                    <a:pt x="55" y="64"/>
                  </a:lnTo>
                  <a:lnTo>
                    <a:pt x="59" y="60"/>
                  </a:lnTo>
                  <a:lnTo>
                    <a:pt x="64" y="54"/>
                  </a:lnTo>
                  <a:lnTo>
                    <a:pt x="67" y="49"/>
                  </a:lnTo>
                  <a:lnTo>
                    <a:pt x="69" y="42"/>
                  </a:lnTo>
                  <a:lnTo>
                    <a:pt x="71" y="34"/>
                  </a:lnTo>
                  <a:lnTo>
                    <a:pt x="69" y="28"/>
                  </a:lnTo>
                  <a:lnTo>
                    <a:pt x="67" y="21"/>
                  </a:lnTo>
                  <a:lnTo>
                    <a:pt x="64" y="15"/>
                  </a:lnTo>
                  <a:lnTo>
                    <a:pt x="59" y="10"/>
                  </a:lnTo>
                  <a:lnTo>
                    <a:pt x="55" y="5"/>
                  </a:lnTo>
                  <a:lnTo>
                    <a:pt x="48" y="2"/>
                  </a:lnTo>
                  <a:lnTo>
                    <a:pt x="42" y="1"/>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244">
              <a:extLst>
                <a:ext uri="{FF2B5EF4-FFF2-40B4-BE49-F238E27FC236}">
                  <a16:creationId xmlns:a16="http://schemas.microsoft.com/office/drawing/2014/main" id="{F090B65C-E587-4FAD-BF5E-811D0A45AFE0}"/>
                </a:ext>
              </a:extLst>
            </p:cNvPr>
            <p:cNvSpPr>
              <a:spLocks noEditPoints="1"/>
            </p:cNvSpPr>
            <p:nvPr/>
          </p:nvSpPr>
          <p:spPr bwMode="auto">
            <a:xfrm>
              <a:off x="8861940" y="1453067"/>
              <a:ext cx="38197" cy="38197"/>
            </a:xfrm>
            <a:custGeom>
              <a:avLst/>
              <a:gdLst>
                <a:gd name="T0" fmla="*/ 93 w 124"/>
                <a:gd name="T1" fmla="*/ 69 h 125"/>
                <a:gd name="T2" fmla="*/ 87 w 124"/>
                <a:gd name="T3" fmla="*/ 80 h 125"/>
                <a:gd name="T4" fmla="*/ 80 w 124"/>
                <a:gd name="T5" fmla="*/ 88 h 125"/>
                <a:gd name="T6" fmla="*/ 68 w 124"/>
                <a:gd name="T7" fmla="*/ 94 h 125"/>
                <a:gd name="T8" fmla="*/ 56 w 124"/>
                <a:gd name="T9" fmla="*/ 94 h 125"/>
                <a:gd name="T10" fmla="*/ 45 w 124"/>
                <a:gd name="T11" fmla="*/ 88 h 125"/>
                <a:gd name="T12" fmla="*/ 36 w 124"/>
                <a:gd name="T13" fmla="*/ 80 h 125"/>
                <a:gd name="T14" fmla="*/ 32 w 124"/>
                <a:gd name="T15" fmla="*/ 69 h 125"/>
                <a:gd name="T16" fmla="*/ 32 w 124"/>
                <a:gd name="T17" fmla="*/ 57 h 125"/>
                <a:gd name="T18" fmla="*/ 36 w 124"/>
                <a:gd name="T19" fmla="*/ 46 h 125"/>
                <a:gd name="T20" fmla="*/ 45 w 124"/>
                <a:gd name="T21" fmla="*/ 37 h 125"/>
                <a:gd name="T22" fmla="*/ 56 w 124"/>
                <a:gd name="T23" fmla="*/ 32 h 125"/>
                <a:gd name="T24" fmla="*/ 68 w 124"/>
                <a:gd name="T25" fmla="*/ 32 h 125"/>
                <a:gd name="T26" fmla="*/ 80 w 124"/>
                <a:gd name="T27" fmla="*/ 37 h 125"/>
                <a:gd name="T28" fmla="*/ 87 w 124"/>
                <a:gd name="T29" fmla="*/ 46 h 125"/>
                <a:gd name="T30" fmla="*/ 93 w 124"/>
                <a:gd name="T31" fmla="*/ 57 h 125"/>
                <a:gd name="T32" fmla="*/ 0 w 124"/>
                <a:gd name="T33" fmla="*/ 62 h 125"/>
                <a:gd name="T34" fmla="*/ 1 w 124"/>
                <a:gd name="T35" fmla="*/ 75 h 125"/>
                <a:gd name="T36" fmla="*/ 5 w 124"/>
                <a:gd name="T37" fmla="*/ 87 h 125"/>
                <a:gd name="T38" fmla="*/ 11 w 124"/>
                <a:gd name="T39" fmla="*/ 97 h 125"/>
                <a:gd name="T40" fmla="*/ 18 w 124"/>
                <a:gd name="T41" fmla="*/ 107 h 125"/>
                <a:gd name="T42" fmla="*/ 27 w 124"/>
                <a:gd name="T43" fmla="*/ 115 h 125"/>
                <a:gd name="T44" fmla="*/ 37 w 124"/>
                <a:gd name="T45" fmla="*/ 120 h 125"/>
                <a:gd name="T46" fmla="*/ 50 w 124"/>
                <a:gd name="T47" fmla="*/ 124 h 125"/>
                <a:gd name="T48" fmla="*/ 62 w 124"/>
                <a:gd name="T49" fmla="*/ 125 h 125"/>
                <a:gd name="T50" fmla="*/ 74 w 124"/>
                <a:gd name="T51" fmla="*/ 124 h 125"/>
                <a:gd name="T52" fmla="*/ 86 w 124"/>
                <a:gd name="T53" fmla="*/ 120 h 125"/>
                <a:gd name="T54" fmla="*/ 96 w 124"/>
                <a:gd name="T55" fmla="*/ 115 h 125"/>
                <a:gd name="T56" fmla="*/ 106 w 124"/>
                <a:gd name="T57" fmla="*/ 107 h 125"/>
                <a:gd name="T58" fmla="*/ 114 w 124"/>
                <a:gd name="T59" fmla="*/ 98 h 125"/>
                <a:gd name="T60" fmla="*/ 120 w 124"/>
                <a:gd name="T61" fmla="*/ 87 h 125"/>
                <a:gd name="T62" fmla="*/ 123 w 124"/>
                <a:gd name="T63" fmla="*/ 76 h 125"/>
                <a:gd name="T64" fmla="*/ 124 w 124"/>
                <a:gd name="T65" fmla="*/ 62 h 125"/>
                <a:gd name="T66" fmla="*/ 123 w 124"/>
                <a:gd name="T67" fmla="*/ 50 h 125"/>
                <a:gd name="T68" fmla="*/ 120 w 124"/>
                <a:gd name="T69" fmla="*/ 38 h 125"/>
                <a:gd name="T70" fmla="*/ 114 w 124"/>
                <a:gd name="T71" fmla="*/ 28 h 125"/>
                <a:gd name="T72" fmla="*/ 106 w 124"/>
                <a:gd name="T73" fmla="*/ 19 h 125"/>
                <a:gd name="T74" fmla="*/ 96 w 124"/>
                <a:gd name="T75" fmla="*/ 11 h 125"/>
                <a:gd name="T76" fmla="*/ 86 w 124"/>
                <a:gd name="T77" fmla="*/ 6 h 125"/>
                <a:gd name="T78" fmla="*/ 74 w 124"/>
                <a:gd name="T79" fmla="*/ 1 h 125"/>
                <a:gd name="T80" fmla="*/ 62 w 124"/>
                <a:gd name="T81" fmla="*/ 0 h 125"/>
                <a:gd name="T82" fmla="*/ 50 w 124"/>
                <a:gd name="T83" fmla="*/ 1 h 125"/>
                <a:gd name="T84" fmla="*/ 37 w 124"/>
                <a:gd name="T85" fmla="*/ 6 h 125"/>
                <a:gd name="T86" fmla="*/ 27 w 124"/>
                <a:gd name="T87" fmla="*/ 11 h 125"/>
                <a:gd name="T88" fmla="*/ 18 w 124"/>
                <a:gd name="T89" fmla="*/ 19 h 125"/>
                <a:gd name="T90" fmla="*/ 11 w 124"/>
                <a:gd name="T91" fmla="*/ 28 h 125"/>
                <a:gd name="T92" fmla="*/ 5 w 124"/>
                <a:gd name="T93" fmla="*/ 38 h 125"/>
                <a:gd name="T94" fmla="*/ 1 w 124"/>
                <a:gd name="T95" fmla="*/ 50 h 125"/>
                <a:gd name="T96" fmla="*/ 0 w 124"/>
                <a:gd name="T97"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5">
                  <a:moveTo>
                    <a:pt x="93" y="62"/>
                  </a:moveTo>
                  <a:lnTo>
                    <a:pt x="93" y="69"/>
                  </a:lnTo>
                  <a:lnTo>
                    <a:pt x="91" y="75"/>
                  </a:lnTo>
                  <a:lnTo>
                    <a:pt x="87" y="80"/>
                  </a:lnTo>
                  <a:lnTo>
                    <a:pt x="84" y="85"/>
                  </a:lnTo>
                  <a:lnTo>
                    <a:pt x="80" y="88"/>
                  </a:lnTo>
                  <a:lnTo>
                    <a:pt x="74" y="91"/>
                  </a:lnTo>
                  <a:lnTo>
                    <a:pt x="68" y="94"/>
                  </a:lnTo>
                  <a:lnTo>
                    <a:pt x="62" y="94"/>
                  </a:lnTo>
                  <a:lnTo>
                    <a:pt x="56" y="94"/>
                  </a:lnTo>
                  <a:lnTo>
                    <a:pt x="50" y="91"/>
                  </a:lnTo>
                  <a:lnTo>
                    <a:pt x="45" y="88"/>
                  </a:lnTo>
                  <a:lnTo>
                    <a:pt x="40" y="85"/>
                  </a:lnTo>
                  <a:lnTo>
                    <a:pt x="36" y="80"/>
                  </a:lnTo>
                  <a:lnTo>
                    <a:pt x="33" y="75"/>
                  </a:lnTo>
                  <a:lnTo>
                    <a:pt x="32" y="69"/>
                  </a:lnTo>
                  <a:lnTo>
                    <a:pt x="31" y="62"/>
                  </a:lnTo>
                  <a:lnTo>
                    <a:pt x="32" y="57"/>
                  </a:lnTo>
                  <a:lnTo>
                    <a:pt x="33" y="50"/>
                  </a:lnTo>
                  <a:lnTo>
                    <a:pt x="36" y="46"/>
                  </a:lnTo>
                  <a:lnTo>
                    <a:pt x="40" y="41"/>
                  </a:lnTo>
                  <a:lnTo>
                    <a:pt x="45" y="37"/>
                  </a:lnTo>
                  <a:lnTo>
                    <a:pt x="50" y="35"/>
                  </a:lnTo>
                  <a:lnTo>
                    <a:pt x="56" y="32"/>
                  </a:lnTo>
                  <a:lnTo>
                    <a:pt x="62" y="31"/>
                  </a:lnTo>
                  <a:lnTo>
                    <a:pt x="68" y="32"/>
                  </a:lnTo>
                  <a:lnTo>
                    <a:pt x="74" y="35"/>
                  </a:lnTo>
                  <a:lnTo>
                    <a:pt x="80" y="37"/>
                  </a:lnTo>
                  <a:lnTo>
                    <a:pt x="84" y="41"/>
                  </a:lnTo>
                  <a:lnTo>
                    <a:pt x="87" y="46"/>
                  </a:lnTo>
                  <a:lnTo>
                    <a:pt x="91" y="50"/>
                  </a:lnTo>
                  <a:lnTo>
                    <a:pt x="93" y="57"/>
                  </a:lnTo>
                  <a:lnTo>
                    <a:pt x="93" y="62"/>
                  </a:lnTo>
                  <a:close/>
                  <a:moveTo>
                    <a:pt x="0" y="62"/>
                  </a:moveTo>
                  <a:lnTo>
                    <a:pt x="0" y="69"/>
                  </a:lnTo>
                  <a:lnTo>
                    <a:pt x="1" y="75"/>
                  </a:lnTo>
                  <a:lnTo>
                    <a:pt x="3" y="81"/>
                  </a:lnTo>
                  <a:lnTo>
                    <a:pt x="5" y="87"/>
                  </a:lnTo>
                  <a:lnTo>
                    <a:pt x="7" y="92"/>
                  </a:lnTo>
                  <a:lnTo>
                    <a:pt x="11" y="97"/>
                  </a:lnTo>
                  <a:lnTo>
                    <a:pt x="14" y="102"/>
                  </a:lnTo>
                  <a:lnTo>
                    <a:pt x="18" y="107"/>
                  </a:lnTo>
                  <a:lnTo>
                    <a:pt x="23" y="110"/>
                  </a:lnTo>
                  <a:lnTo>
                    <a:pt x="27" y="115"/>
                  </a:lnTo>
                  <a:lnTo>
                    <a:pt x="33" y="117"/>
                  </a:lnTo>
                  <a:lnTo>
                    <a:pt x="37" y="120"/>
                  </a:lnTo>
                  <a:lnTo>
                    <a:pt x="44" y="122"/>
                  </a:lnTo>
                  <a:lnTo>
                    <a:pt x="50" y="124"/>
                  </a:lnTo>
                  <a:lnTo>
                    <a:pt x="55" y="125"/>
                  </a:lnTo>
                  <a:lnTo>
                    <a:pt x="62" y="125"/>
                  </a:lnTo>
                  <a:lnTo>
                    <a:pt x="68" y="125"/>
                  </a:lnTo>
                  <a:lnTo>
                    <a:pt x="74" y="124"/>
                  </a:lnTo>
                  <a:lnTo>
                    <a:pt x="81" y="122"/>
                  </a:lnTo>
                  <a:lnTo>
                    <a:pt x="86" y="120"/>
                  </a:lnTo>
                  <a:lnTo>
                    <a:pt x="92" y="117"/>
                  </a:lnTo>
                  <a:lnTo>
                    <a:pt x="96" y="115"/>
                  </a:lnTo>
                  <a:lnTo>
                    <a:pt x="102" y="110"/>
                  </a:lnTo>
                  <a:lnTo>
                    <a:pt x="106" y="107"/>
                  </a:lnTo>
                  <a:lnTo>
                    <a:pt x="110" y="102"/>
                  </a:lnTo>
                  <a:lnTo>
                    <a:pt x="114" y="98"/>
                  </a:lnTo>
                  <a:lnTo>
                    <a:pt x="116" y="92"/>
                  </a:lnTo>
                  <a:lnTo>
                    <a:pt x="120" y="87"/>
                  </a:lnTo>
                  <a:lnTo>
                    <a:pt x="122" y="81"/>
                  </a:lnTo>
                  <a:lnTo>
                    <a:pt x="123" y="76"/>
                  </a:lnTo>
                  <a:lnTo>
                    <a:pt x="124" y="69"/>
                  </a:lnTo>
                  <a:lnTo>
                    <a:pt x="124" y="62"/>
                  </a:lnTo>
                  <a:lnTo>
                    <a:pt x="124" y="57"/>
                  </a:lnTo>
                  <a:lnTo>
                    <a:pt x="123" y="50"/>
                  </a:lnTo>
                  <a:lnTo>
                    <a:pt x="122" y="45"/>
                  </a:lnTo>
                  <a:lnTo>
                    <a:pt x="120" y="38"/>
                  </a:lnTo>
                  <a:lnTo>
                    <a:pt x="116" y="34"/>
                  </a:lnTo>
                  <a:lnTo>
                    <a:pt x="114" y="28"/>
                  </a:lnTo>
                  <a:lnTo>
                    <a:pt x="110" y="24"/>
                  </a:lnTo>
                  <a:lnTo>
                    <a:pt x="106" y="19"/>
                  </a:lnTo>
                  <a:lnTo>
                    <a:pt x="102" y="15"/>
                  </a:lnTo>
                  <a:lnTo>
                    <a:pt x="96" y="11"/>
                  </a:lnTo>
                  <a:lnTo>
                    <a:pt x="92" y="8"/>
                  </a:lnTo>
                  <a:lnTo>
                    <a:pt x="86" y="6"/>
                  </a:lnTo>
                  <a:lnTo>
                    <a:pt x="81" y="4"/>
                  </a:lnTo>
                  <a:lnTo>
                    <a:pt x="74" y="1"/>
                  </a:lnTo>
                  <a:lnTo>
                    <a:pt x="68" y="1"/>
                  </a:lnTo>
                  <a:lnTo>
                    <a:pt x="62" y="0"/>
                  </a:lnTo>
                  <a:lnTo>
                    <a:pt x="55" y="1"/>
                  </a:lnTo>
                  <a:lnTo>
                    <a:pt x="50" y="1"/>
                  </a:lnTo>
                  <a:lnTo>
                    <a:pt x="44" y="4"/>
                  </a:lnTo>
                  <a:lnTo>
                    <a:pt x="37" y="6"/>
                  </a:lnTo>
                  <a:lnTo>
                    <a:pt x="33" y="8"/>
                  </a:lnTo>
                  <a:lnTo>
                    <a:pt x="27" y="11"/>
                  </a:lnTo>
                  <a:lnTo>
                    <a:pt x="23" y="15"/>
                  </a:lnTo>
                  <a:lnTo>
                    <a:pt x="18" y="19"/>
                  </a:lnTo>
                  <a:lnTo>
                    <a:pt x="14" y="24"/>
                  </a:lnTo>
                  <a:lnTo>
                    <a:pt x="11" y="28"/>
                  </a:lnTo>
                  <a:lnTo>
                    <a:pt x="7" y="34"/>
                  </a:lnTo>
                  <a:lnTo>
                    <a:pt x="5" y="38"/>
                  </a:lnTo>
                  <a:lnTo>
                    <a:pt x="3" y="45"/>
                  </a:lnTo>
                  <a:lnTo>
                    <a:pt x="1" y="50"/>
                  </a:lnTo>
                  <a:lnTo>
                    <a:pt x="0" y="57"/>
                  </a:lnTo>
                  <a:lnTo>
                    <a:pt x="0"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245">
              <a:extLst>
                <a:ext uri="{FF2B5EF4-FFF2-40B4-BE49-F238E27FC236}">
                  <a16:creationId xmlns:a16="http://schemas.microsoft.com/office/drawing/2014/main" id="{CE9399BF-8691-429A-BAC2-F362BD2B6414}"/>
                </a:ext>
              </a:extLst>
            </p:cNvPr>
            <p:cNvSpPr>
              <a:spLocks noEditPoints="1"/>
            </p:cNvSpPr>
            <p:nvPr/>
          </p:nvSpPr>
          <p:spPr bwMode="auto">
            <a:xfrm>
              <a:off x="8737493" y="1539317"/>
              <a:ext cx="287091" cy="104733"/>
            </a:xfrm>
            <a:custGeom>
              <a:avLst/>
              <a:gdLst>
                <a:gd name="T0" fmla="*/ 899 w 933"/>
                <a:gd name="T1" fmla="*/ 251 h 342"/>
                <a:gd name="T2" fmla="*/ 881 w 933"/>
                <a:gd name="T3" fmla="*/ 272 h 342"/>
                <a:gd name="T4" fmla="*/ 856 w 933"/>
                <a:gd name="T5" fmla="*/ 280 h 342"/>
                <a:gd name="T6" fmla="*/ 60 w 933"/>
                <a:gd name="T7" fmla="*/ 277 h 342"/>
                <a:gd name="T8" fmla="*/ 40 w 933"/>
                <a:gd name="T9" fmla="*/ 259 h 342"/>
                <a:gd name="T10" fmla="*/ 31 w 933"/>
                <a:gd name="T11" fmla="*/ 234 h 342"/>
                <a:gd name="T12" fmla="*/ 36 w 933"/>
                <a:gd name="T13" fmla="*/ 60 h 342"/>
                <a:gd name="T14" fmla="*/ 52 w 933"/>
                <a:gd name="T15" fmla="*/ 39 h 342"/>
                <a:gd name="T16" fmla="*/ 78 w 933"/>
                <a:gd name="T17" fmla="*/ 31 h 342"/>
                <a:gd name="T18" fmla="*/ 873 w 933"/>
                <a:gd name="T19" fmla="*/ 35 h 342"/>
                <a:gd name="T20" fmla="*/ 894 w 933"/>
                <a:gd name="T21" fmla="*/ 52 h 342"/>
                <a:gd name="T22" fmla="*/ 902 w 933"/>
                <a:gd name="T23" fmla="*/ 78 h 342"/>
                <a:gd name="T24" fmla="*/ 78 w 933"/>
                <a:gd name="T25" fmla="*/ 0 h 342"/>
                <a:gd name="T26" fmla="*/ 56 w 933"/>
                <a:gd name="T27" fmla="*/ 4 h 342"/>
                <a:gd name="T28" fmla="*/ 35 w 933"/>
                <a:gd name="T29" fmla="*/ 14 h 342"/>
                <a:gd name="T30" fmla="*/ 18 w 933"/>
                <a:gd name="T31" fmla="*/ 29 h 342"/>
                <a:gd name="T32" fmla="*/ 7 w 933"/>
                <a:gd name="T33" fmla="*/ 48 h 342"/>
                <a:gd name="T34" fmla="*/ 1 w 933"/>
                <a:gd name="T35" fmla="*/ 70 h 342"/>
                <a:gd name="T36" fmla="*/ 1 w 933"/>
                <a:gd name="T37" fmla="*/ 241 h 342"/>
                <a:gd name="T38" fmla="*/ 7 w 933"/>
                <a:gd name="T39" fmla="*/ 264 h 342"/>
                <a:gd name="T40" fmla="*/ 18 w 933"/>
                <a:gd name="T41" fmla="*/ 282 h 342"/>
                <a:gd name="T42" fmla="*/ 35 w 933"/>
                <a:gd name="T43" fmla="*/ 298 h 342"/>
                <a:gd name="T44" fmla="*/ 56 w 933"/>
                <a:gd name="T45" fmla="*/ 308 h 342"/>
                <a:gd name="T46" fmla="*/ 78 w 933"/>
                <a:gd name="T47" fmla="*/ 311 h 342"/>
                <a:gd name="T48" fmla="*/ 126 w 933"/>
                <a:gd name="T49" fmla="*/ 330 h 342"/>
                <a:gd name="T50" fmla="*/ 129 w 933"/>
                <a:gd name="T51" fmla="*/ 338 h 342"/>
                <a:gd name="T52" fmla="*/ 138 w 933"/>
                <a:gd name="T53" fmla="*/ 342 h 342"/>
                <a:gd name="T54" fmla="*/ 147 w 933"/>
                <a:gd name="T55" fmla="*/ 341 h 342"/>
                <a:gd name="T56" fmla="*/ 153 w 933"/>
                <a:gd name="T57" fmla="*/ 336 h 342"/>
                <a:gd name="T58" fmla="*/ 156 w 933"/>
                <a:gd name="T59" fmla="*/ 327 h 342"/>
                <a:gd name="T60" fmla="*/ 778 w 933"/>
                <a:gd name="T61" fmla="*/ 327 h 342"/>
                <a:gd name="T62" fmla="*/ 780 w 933"/>
                <a:gd name="T63" fmla="*/ 336 h 342"/>
                <a:gd name="T64" fmla="*/ 787 w 933"/>
                <a:gd name="T65" fmla="*/ 341 h 342"/>
                <a:gd name="T66" fmla="*/ 797 w 933"/>
                <a:gd name="T67" fmla="*/ 342 h 342"/>
                <a:gd name="T68" fmla="*/ 805 w 933"/>
                <a:gd name="T69" fmla="*/ 338 h 342"/>
                <a:gd name="T70" fmla="*/ 809 w 933"/>
                <a:gd name="T71" fmla="*/ 330 h 342"/>
                <a:gd name="T72" fmla="*/ 856 w 933"/>
                <a:gd name="T73" fmla="*/ 311 h 342"/>
                <a:gd name="T74" fmla="*/ 879 w 933"/>
                <a:gd name="T75" fmla="*/ 308 h 342"/>
                <a:gd name="T76" fmla="*/ 899 w 933"/>
                <a:gd name="T77" fmla="*/ 298 h 342"/>
                <a:gd name="T78" fmla="*/ 916 w 933"/>
                <a:gd name="T79" fmla="*/ 282 h 342"/>
                <a:gd name="T80" fmla="*/ 927 w 933"/>
                <a:gd name="T81" fmla="*/ 264 h 342"/>
                <a:gd name="T82" fmla="*/ 932 w 933"/>
                <a:gd name="T83" fmla="*/ 241 h 342"/>
                <a:gd name="T84" fmla="*/ 932 w 933"/>
                <a:gd name="T85" fmla="*/ 70 h 342"/>
                <a:gd name="T86" fmla="*/ 927 w 933"/>
                <a:gd name="T87" fmla="*/ 48 h 342"/>
                <a:gd name="T88" fmla="*/ 916 w 933"/>
                <a:gd name="T89" fmla="*/ 29 h 342"/>
                <a:gd name="T90" fmla="*/ 899 w 933"/>
                <a:gd name="T91" fmla="*/ 14 h 342"/>
                <a:gd name="T92" fmla="*/ 879 w 933"/>
                <a:gd name="T93" fmla="*/ 4 h 342"/>
                <a:gd name="T94" fmla="*/ 856 w 933"/>
                <a:gd name="T95"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3" h="342">
                  <a:moveTo>
                    <a:pt x="902" y="234"/>
                  </a:moveTo>
                  <a:lnTo>
                    <a:pt x="901" y="242"/>
                  </a:lnTo>
                  <a:lnTo>
                    <a:pt x="899" y="251"/>
                  </a:lnTo>
                  <a:lnTo>
                    <a:pt x="894" y="259"/>
                  </a:lnTo>
                  <a:lnTo>
                    <a:pt x="889" y="267"/>
                  </a:lnTo>
                  <a:lnTo>
                    <a:pt x="881" y="272"/>
                  </a:lnTo>
                  <a:lnTo>
                    <a:pt x="873" y="277"/>
                  </a:lnTo>
                  <a:lnTo>
                    <a:pt x="864" y="279"/>
                  </a:lnTo>
                  <a:lnTo>
                    <a:pt x="856" y="280"/>
                  </a:lnTo>
                  <a:lnTo>
                    <a:pt x="78" y="280"/>
                  </a:lnTo>
                  <a:lnTo>
                    <a:pt x="69" y="279"/>
                  </a:lnTo>
                  <a:lnTo>
                    <a:pt x="60" y="277"/>
                  </a:lnTo>
                  <a:lnTo>
                    <a:pt x="52" y="272"/>
                  </a:lnTo>
                  <a:lnTo>
                    <a:pt x="46" y="267"/>
                  </a:lnTo>
                  <a:lnTo>
                    <a:pt x="40" y="259"/>
                  </a:lnTo>
                  <a:lnTo>
                    <a:pt x="36" y="251"/>
                  </a:lnTo>
                  <a:lnTo>
                    <a:pt x="32" y="242"/>
                  </a:lnTo>
                  <a:lnTo>
                    <a:pt x="31" y="234"/>
                  </a:lnTo>
                  <a:lnTo>
                    <a:pt x="31" y="78"/>
                  </a:lnTo>
                  <a:lnTo>
                    <a:pt x="32" y="69"/>
                  </a:lnTo>
                  <a:lnTo>
                    <a:pt x="36" y="60"/>
                  </a:lnTo>
                  <a:lnTo>
                    <a:pt x="40" y="52"/>
                  </a:lnTo>
                  <a:lnTo>
                    <a:pt x="46" y="45"/>
                  </a:lnTo>
                  <a:lnTo>
                    <a:pt x="52" y="39"/>
                  </a:lnTo>
                  <a:lnTo>
                    <a:pt x="60" y="35"/>
                  </a:lnTo>
                  <a:lnTo>
                    <a:pt x="69" y="32"/>
                  </a:lnTo>
                  <a:lnTo>
                    <a:pt x="78" y="31"/>
                  </a:lnTo>
                  <a:lnTo>
                    <a:pt x="856" y="31"/>
                  </a:lnTo>
                  <a:lnTo>
                    <a:pt x="864" y="32"/>
                  </a:lnTo>
                  <a:lnTo>
                    <a:pt x="873" y="35"/>
                  </a:lnTo>
                  <a:lnTo>
                    <a:pt x="881" y="39"/>
                  </a:lnTo>
                  <a:lnTo>
                    <a:pt x="889" y="45"/>
                  </a:lnTo>
                  <a:lnTo>
                    <a:pt x="894" y="52"/>
                  </a:lnTo>
                  <a:lnTo>
                    <a:pt x="899" y="60"/>
                  </a:lnTo>
                  <a:lnTo>
                    <a:pt x="901" y="69"/>
                  </a:lnTo>
                  <a:lnTo>
                    <a:pt x="902" y="78"/>
                  </a:lnTo>
                  <a:lnTo>
                    <a:pt x="902" y="234"/>
                  </a:lnTo>
                  <a:close/>
                  <a:moveTo>
                    <a:pt x="856" y="0"/>
                  </a:moveTo>
                  <a:lnTo>
                    <a:pt x="78" y="0"/>
                  </a:lnTo>
                  <a:lnTo>
                    <a:pt x="70" y="0"/>
                  </a:lnTo>
                  <a:lnTo>
                    <a:pt x="62" y="2"/>
                  </a:lnTo>
                  <a:lnTo>
                    <a:pt x="56" y="4"/>
                  </a:lnTo>
                  <a:lnTo>
                    <a:pt x="48" y="7"/>
                  </a:lnTo>
                  <a:lnTo>
                    <a:pt x="41" y="10"/>
                  </a:lnTo>
                  <a:lnTo>
                    <a:pt x="35" y="14"/>
                  </a:lnTo>
                  <a:lnTo>
                    <a:pt x="29" y="18"/>
                  </a:lnTo>
                  <a:lnTo>
                    <a:pt x="23" y="24"/>
                  </a:lnTo>
                  <a:lnTo>
                    <a:pt x="18" y="29"/>
                  </a:lnTo>
                  <a:lnTo>
                    <a:pt x="13" y="35"/>
                  </a:lnTo>
                  <a:lnTo>
                    <a:pt x="10" y="41"/>
                  </a:lnTo>
                  <a:lnTo>
                    <a:pt x="7" y="48"/>
                  </a:lnTo>
                  <a:lnTo>
                    <a:pt x="5" y="55"/>
                  </a:lnTo>
                  <a:lnTo>
                    <a:pt x="2" y="62"/>
                  </a:lnTo>
                  <a:lnTo>
                    <a:pt x="1" y="70"/>
                  </a:lnTo>
                  <a:lnTo>
                    <a:pt x="0" y="78"/>
                  </a:lnTo>
                  <a:lnTo>
                    <a:pt x="0" y="234"/>
                  </a:lnTo>
                  <a:lnTo>
                    <a:pt x="1" y="241"/>
                  </a:lnTo>
                  <a:lnTo>
                    <a:pt x="2" y="249"/>
                  </a:lnTo>
                  <a:lnTo>
                    <a:pt x="5" y="257"/>
                  </a:lnTo>
                  <a:lnTo>
                    <a:pt x="7" y="264"/>
                  </a:lnTo>
                  <a:lnTo>
                    <a:pt x="10" y="270"/>
                  </a:lnTo>
                  <a:lnTo>
                    <a:pt x="13" y="277"/>
                  </a:lnTo>
                  <a:lnTo>
                    <a:pt x="18" y="282"/>
                  </a:lnTo>
                  <a:lnTo>
                    <a:pt x="23" y="288"/>
                  </a:lnTo>
                  <a:lnTo>
                    <a:pt x="29" y="294"/>
                  </a:lnTo>
                  <a:lnTo>
                    <a:pt x="35" y="298"/>
                  </a:lnTo>
                  <a:lnTo>
                    <a:pt x="41" y="301"/>
                  </a:lnTo>
                  <a:lnTo>
                    <a:pt x="48" y="305"/>
                  </a:lnTo>
                  <a:lnTo>
                    <a:pt x="56" y="308"/>
                  </a:lnTo>
                  <a:lnTo>
                    <a:pt x="62" y="309"/>
                  </a:lnTo>
                  <a:lnTo>
                    <a:pt x="70" y="311"/>
                  </a:lnTo>
                  <a:lnTo>
                    <a:pt x="78" y="311"/>
                  </a:lnTo>
                  <a:lnTo>
                    <a:pt x="125" y="311"/>
                  </a:lnTo>
                  <a:lnTo>
                    <a:pt x="125" y="327"/>
                  </a:lnTo>
                  <a:lnTo>
                    <a:pt x="126" y="330"/>
                  </a:lnTo>
                  <a:lnTo>
                    <a:pt x="126" y="332"/>
                  </a:lnTo>
                  <a:lnTo>
                    <a:pt x="128" y="336"/>
                  </a:lnTo>
                  <a:lnTo>
                    <a:pt x="129" y="338"/>
                  </a:lnTo>
                  <a:lnTo>
                    <a:pt x="132" y="339"/>
                  </a:lnTo>
                  <a:lnTo>
                    <a:pt x="135" y="341"/>
                  </a:lnTo>
                  <a:lnTo>
                    <a:pt x="138" y="342"/>
                  </a:lnTo>
                  <a:lnTo>
                    <a:pt x="140" y="342"/>
                  </a:lnTo>
                  <a:lnTo>
                    <a:pt x="143" y="342"/>
                  </a:lnTo>
                  <a:lnTo>
                    <a:pt x="147" y="341"/>
                  </a:lnTo>
                  <a:lnTo>
                    <a:pt x="149" y="339"/>
                  </a:lnTo>
                  <a:lnTo>
                    <a:pt x="151" y="338"/>
                  </a:lnTo>
                  <a:lnTo>
                    <a:pt x="153" y="336"/>
                  </a:lnTo>
                  <a:lnTo>
                    <a:pt x="155" y="332"/>
                  </a:lnTo>
                  <a:lnTo>
                    <a:pt x="156" y="330"/>
                  </a:lnTo>
                  <a:lnTo>
                    <a:pt x="156" y="327"/>
                  </a:lnTo>
                  <a:lnTo>
                    <a:pt x="156" y="311"/>
                  </a:lnTo>
                  <a:lnTo>
                    <a:pt x="778" y="311"/>
                  </a:lnTo>
                  <a:lnTo>
                    <a:pt x="778" y="327"/>
                  </a:lnTo>
                  <a:lnTo>
                    <a:pt x="778" y="330"/>
                  </a:lnTo>
                  <a:lnTo>
                    <a:pt x="779" y="332"/>
                  </a:lnTo>
                  <a:lnTo>
                    <a:pt x="780" y="336"/>
                  </a:lnTo>
                  <a:lnTo>
                    <a:pt x="782" y="338"/>
                  </a:lnTo>
                  <a:lnTo>
                    <a:pt x="785" y="339"/>
                  </a:lnTo>
                  <a:lnTo>
                    <a:pt x="787" y="341"/>
                  </a:lnTo>
                  <a:lnTo>
                    <a:pt x="790" y="342"/>
                  </a:lnTo>
                  <a:lnTo>
                    <a:pt x="793" y="342"/>
                  </a:lnTo>
                  <a:lnTo>
                    <a:pt x="797" y="342"/>
                  </a:lnTo>
                  <a:lnTo>
                    <a:pt x="799" y="341"/>
                  </a:lnTo>
                  <a:lnTo>
                    <a:pt x="802" y="339"/>
                  </a:lnTo>
                  <a:lnTo>
                    <a:pt x="805" y="338"/>
                  </a:lnTo>
                  <a:lnTo>
                    <a:pt x="807" y="336"/>
                  </a:lnTo>
                  <a:lnTo>
                    <a:pt x="808" y="332"/>
                  </a:lnTo>
                  <a:lnTo>
                    <a:pt x="809" y="330"/>
                  </a:lnTo>
                  <a:lnTo>
                    <a:pt x="809" y="327"/>
                  </a:lnTo>
                  <a:lnTo>
                    <a:pt x="809" y="311"/>
                  </a:lnTo>
                  <a:lnTo>
                    <a:pt x="856" y="311"/>
                  </a:lnTo>
                  <a:lnTo>
                    <a:pt x="863" y="311"/>
                  </a:lnTo>
                  <a:lnTo>
                    <a:pt x="871" y="309"/>
                  </a:lnTo>
                  <a:lnTo>
                    <a:pt x="879" y="308"/>
                  </a:lnTo>
                  <a:lnTo>
                    <a:pt x="886" y="305"/>
                  </a:lnTo>
                  <a:lnTo>
                    <a:pt x="892" y="301"/>
                  </a:lnTo>
                  <a:lnTo>
                    <a:pt x="899" y="298"/>
                  </a:lnTo>
                  <a:lnTo>
                    <a:pt x="904" y="294"/>
                  </a:lnTo>
                  <a:lnTo>
                    <a:pt x="910" y="288"/>
                  </a:lnTo>
                  <a:lnTo>
                    <a:pt x="916" y="282"/>
                  </a:lnTo>
                  <a:lnTo>
                    <a:pt x="920" y="277"/>
                  </a:lnTo>
                  <a:lnTo>
                    <a:pt x="923" y="270"/>
                  </a:lnTo>
                  <a:lnTo>
                    <a:pt x="927" y="264"/>
                  </a:lnTo>
                  <a:lnTo>
                    <a:pt x="930" y="257"/>
                  </a:lnTo>
                  <a:lnTo>
                    <a:pt x="931" y="249"/>
                  </a:lnTo>
                  <a:lnTo>
                    <a:pt x="932" y="241"/>
                  </a:lnTo>
                  <a:lnTo>
                    <a:pt x="933" y="234"/>
                  </a:lnTo>
                  <a:lnTo>
                    <a:pt x="933" y="78"/>
                  </a:lnTo>
                  <a:lnTo>
                    <a:pt x="932" y="70"/>
                  </a:lnTo>
                  <a:lnTo>
                    <a:pt x="931" y="62"/>
                  </a:lnTo>
                  <a:lnTo>
                    <a:pt x="930" y="55"/>
                  </a:lnTo>
                  <a:lnTo>
                    <a:pt x="927" y="48"/>
                  </a:lnTo>
                  <a:lnTo>
                    <a:pt x="923" y="41"/>
                  </a:lnTo>
                  <a:lnTo>
                    <a:pt x="920" y="35"/>
                  </a:lnTo>
                  <a:lnTo>
                    <a:pt x="916" y="29"/>
                  </a:lnTo>
                  <a:lnTo>
                    <a:pt x="910" y="24"/>
                  </a:lnTo>
                  <a:lnTo>
                    <a:pt x="904" y="18"/>
                  </a:lnTo>
                  <a:lnTo>
                    <a:pt x="899" y="14"/>
                  </a:lnTo>
                  <a:lnTo>
                    <a:pt x="892" y="10"/>
                  </a:lnTo>
                  <a:lnTo>
                    <a:pt x="886" y="7"/>
                  </a:lnTo>
                  <a:lnTo>
                    <a:pt x="879" y="4"/>
                  </a:lnTo>
                  <a:lnTo>
                    <a:pt x="871" y="2"/>
                  </a:lnTo>
                  <a:lnTo>
                    <a:pt x="863" y="0"/>
                  </a:lnTo>
                  <a:lnTo>
                    <a:pt x="8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246">
              <a:extLst>
                <a:ext uri="{FF2B5EF4-FFF2-40B4-BE49-F238E27FC236}">
                  <a16:creationId xmlns:a16="http://schemas.microsoft.com/office/drawing/2014/main" id="{8473338C-0367-458D-B8BE-20612FC892B3}"/>
                </a:ext>
              </a:extLst>
            </p:cNvPr>
            <p:cNvSpPr>
              <a:spLocks noEditPoints="1"/>
            </p:cNvSpPr>
            <p:nvPr/>
          </p:nvSpPr>
          <p:spPr bwMode="auto">
            <a:xfrm>
              <a:off x="8837297" y="1428424"/>
              <a:ext cx="86250" cy="86250"/>
            </a:xfrm>
            <a:custGeom>
              <a:avLst/>
              <a:gdLst>
                <a:gd name="T0" fmla="*/ 246 w 280"/>
                <a:gd name="T1" fmla="*/ 163 h 280"/>
                <a:gd name="T2" fmla="*/ 235 w 280"/>
                <a:gd name="T3" fmla="*/ 193 h 280"/>
                <a:gd name="T4" fmla="*/ 216 w 280"/>
                <a:gd name="T5" fmla="*/ 217 h 280"/>
                <a:gd name="T6" fmla="*/ 192 w 280"/>
                <a:gd name="T7" fmla="*/ 236 h 280"/>
                <a:gd name="T8" fmla="*/ 162 w 280"/>
                <a:gd name="T9" fmla="*/ 247 h 280"/>
                <a:gd name="T10" fmla="*/ 129 w 280"/>
                <a:gd name="T11" fmla="*/ 249 h 280"/>
                <a:gd name="T12" fmla="*/ 98 w 280"/>
                <a:gd name="T13" fmla="*/ 240 h 280"/>
                <a:gd name="T14" fmla="*/ 71 w 280"/>
                <a:gd name="T15" fmla="*/ 225 h 280"/>
                <a:gd name="T16" fmla="*/ 50 w 280"/>
                <a:gd name="T17" fmla="*/ 202 h 280"/>
                <a:gd name="T18" fmla="*/ 36 w 280"/>
                <a:gd name="T19" fmla="*/ 173 h 280"/>
                <a:gd name="T20" fmla="*/ 31 w 280"/>
                <a:gd name="T21" fmla="*/ 140 h 280"/>
                <a:gd name="T22" fmla="*/ 36 w 280"/>
                <a:gd name="T23" fmla="*/ 108 h 280"/>
                <a:gd name="T24" fmla="*/ 50 w 280"/>
                <a:gd name="T25" fmla="*/ 80 h 280"/>
                <a:gd name="T26" fmla="*/ 71 w 280"/>
                <a:gd name="T27" fmla="*/ 57 h 280"/>
                <a:gd name="T28" fmla="*/ 98 w 280"/>
                <a:gd name="T29" fmla="*/ 40 h 280"/>
                <a:gd name="T30" fmla="*/ 129 w 280"/>
                <a:gd name="T31" fmla="*/ 33 h 280"/>
                <a:gd name="T32" fmla="*/ 162 w 280"/>
                <a:gd name="T33" fmla="*/ 34 h 280"/>
                <a:gd name="T34" fmla="*/ 192 w 280"/>
                <a:gd name="T35" fmla="*/ 45 h 280"/>
                <a:gd name="T36" fmla="*/ 216 w 280"/>
                <a:gd name="T37" fmla="*/ 64 h 280"/>
                <a:gd name="T38" fmla="*/ 235 w 280"/>
                <a:gd name="T39" fmla="*/ 89 h 280"/>
                <a:gd name="T40" fmla="*/ 246 w 280"/>
                <a:gd name="T41" fmla="*/ 119 h 280"/>
                <a:gd name="T42" fmla="*/ 0 w 280"/>
                <a:gd name="T43" fmla="*/ 140 h 280"/>
                <a:gd name="T44" fmla="*/ 6 w 280"/>
                <a:gd name="T45" fmla="*/ 183 h 280"/>
                <a:gd name="T46" fmla="*/ 24 w 280"/>
                <a:gd name="T47" fmla="*/ 219 h 280"/>
                <a:gd name="T48" fmla="*/ 51 w 280"/>
                <a:gd name="T49" fmla="*/ 248 h 280"/>
                <a:gd name="T50" fmla="*/ 85 w 280"/>
                <a:gd name="T51" fmla="*/ 269 h 280"/>
                <a:gd name="T52" fmla="*/ 125 w 280"/>
                <a:gd name="T53" fmla="*/ 280 h 280"/>
                <a:gd name="T54" fmla="*/ 168 w 280"/>
                <a:gd name="T55" fmla="*/ 278 h 280"/>
                <a:gd name="T56" fmla="*/ 206 w 280"/>
                <a:gd name="T57" fmla="*/ 264 h 280"/>
                <a:gd name="T58" fmla="*/ 239 w 280"/>
                <a:gd name="T59" fmla="*/ 239 h 280"/>
                <a:gd name="T60" fmla="*/ 263 w 280"/>
                <a:gd name="T61" fmla="*/ 207 h 280"/>
                <a:gd name="T62" fmla="*/ 276 w 280"/>
                <a:gd name="T63" fmla="*/ 169 h 280"/>
                <a:gd name="T64" fmla="*/ 279 w 280"/>
                <a:gd name="T65" fmla="*/ 126 h 280"/>
                <a:gd name="T66" fmla="*/ 269 w 280"/>
                <a:gd name="T67" fmla="*/ 86 h 280"/>
                <a:gd name="T68" fmla="*/ 248 w 280"/>
                <a:gd name="T69" fmla="*/ 52 h 280"/>
                <a:gd name="T70" fmla="*/ 218 w 280"/>
                <a:gd name="T71" fmla="*/ 25 h 280"/>
                <a:gd name="T72" fmla="*/ 182 w 280"/>
                <a:gd name="T73" fmla="*/ 7 h 280"/>
                <a:gd name="T74" fmla="*/ 140 w 280"/>
                <a:gd name="T75" fmla="*/ 0 h 280"/>
                <a:gd name="T76" fmla="*/ 99 w 280"/>
                <a:gd name="T77" fmla="*/ 7 h 280"/>
                <a:gd name="T78" fmla="*/ 62 w 280"/>
                <a:gd name="T79" fmla="*/ 25 h 280"/>
                <a:gd name="T80" fmla="*/ 32 w 280"/>
                <a:gd name="T81" fmla="*/ 52 h 280"/>
                <a:gd name="T82" fmla="*/ 11 w 280"/>
                <a:gd name="T83" fmla="*/ 86 h 280"/>
                <a:gd name="T84" fmla="*/ 1 w 280"/>
                <a:gd name="T85" fmla="*/ 12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0" h="280">
                  <a:moveTo>
                    <a:pt x="249" y="140"/>
                  </a:moveTo>
                  <a:lnTo>
                    <a:pt x="249" y="152"/>
                  </a:lnTo>
                  <a:lnTo>
                    <a:pt x="246" y="163"/>
                  </a:lnTo>
                  <a:lnTo>
                    <a:pt x="244" y="173"/>
                  </a:lnTo>
                  <a:lnTo>
                    <a:pt x="240" y="183"/>
                  </a:lnTo>
                  <a:lnTo>
                    <a:pt x="235" y="193"/>
                  </a:lnTo>
                  <a:lnTo>
                    <a:pt x="230" y="202"/>
                  </a:lnTo>
                  <a:lnTo>
                    <a:pt x="224" y="210"/>
                  </a:lnTo>
                  <a:lnTo>
                    <a:pt x="216" y="217"/>
                  </a:lnTo>
                  <a:lnTo>
                    <a:pt x="209" y="225"/>
                  </a:lnTo>
                  <a:lnTo>
                    <a:pt x="201" y="230"/>
                  </a:lnTo>
                  <a:lnTo>
                    <a:pt x="192" y="236"/>
                  </a:lnTo>
                  <a:lnTo>
                    <a:pt x="182" y="242"/>
                  </a:lnTo>
                  <a:lnTo>
                    <a:pt x="172" y="245"/>
                  </a:lnTo>
                  <a:lnTo>
                    <a:pt x="162" y="247"/>
                  </a:lnTo>
                  <a:lnTo>
                    <a:pt x="151" y="249"/>
                  </a:lnTo>
                  <a:lnTo>
                    <a:pt x="140" y="249"/>
                  </a:lnTo>
                  <a:lnTo>
                    <a:pt x="129" y="249"/>
                  </a:lnTo>
                  <a:lnTo>
                    <a:pt x="118" y="247"/>
                  </a:lnTo>
                  <a:lnTo>
                    <a:pt x="108" y="245"/>
                  </a:lnTo>
                  <a:lnTo>
                    <a:pt x="98" y="240"/>
                  </a:lnTo>
                  <a:lnTo>
                    <a:pt x="89" y="236"/>
                  </a:lnTo>
                  <a:lnTo>
                    <a:pt x="79" y="230"/>
                  </a:lnTo>
                  <a:lnTo>
                    <a:pt x="71" y="225"/>
                  </a:lnTo>
                  <a:lnTo>
                    <a:pt x="63" y="217"/>
                  </a:lnTo>
                  <a:lnTo>
                    <a:pt x="56" y="210"/>
                  </a:lnTo>
                  <a:lnTo>
                    <a:pt x="50" y="202"/>
                  </a:lnTo>
                  <a:lnTo>
                    <a:pt x="44" y="193"/>
                  </a:lnTo>
                  <a:lnTo>
                    <a:pt x="40" y="183"/>
                  </a:lnTo>
                  <a:lnTo>
                    <a:pt x="36" y="173"/>
                  </a:lnTo>
                  <a:lnTo>
                    <a:pt x="33" y="163"/>
                  </a:lnTo>
                  <a:lnTo>
                    <a:pt x="32" y="152"/>
                  </a:lnTo>
                  <a:lnTo>
                    <a:pt x="31" y="140"/>
                  </a:lnTo>
                  <a:lnTo>
                    <a:pt x="32" y="129"/>
                  </a:lnTo>
                  <a:lnTo>
                    <a:pt x="33" y="119"/>
                  </a:lnTo>
                  <a:lnTo>
                    <a:pt x="36" y="108"/>
                  </a:lnTo>
                  <a:lnTo>
                    <a:pt x="40" y="98"/>
                  </a:lnTo>
                  <a:lnTo>
                    <a:pt x="44" y="89"/>
                  </a:lnTo>
                  <a:lnTo>
                    <a:pt x="50" y="80"/>
                  </a:lnTo>
                  <a:lnTo>
                    <a:pt x="56" y="72"/>
                  </a:lnTo>
                  <a:lnTo>
                    <a:pt x="63" y="64"/>
                  </a:lnTo>
                  <a:lnTo>
                    <a:pt x="71" y="57"/>
                  </a:lnTo>
                  <a:lnTo>
                    <a:pt x="79" y="50"/>
                  </a:lnTo>
                  <a:lnTo>
                    <a:pt x="89" y="45"/>
                  </a:lnTo>
                  <a:lnTo>
                    <a:pt x="98" y="40"/>
                  </a:lnTo>
                  <a:lnTo>
                    <a:pt x="108" y="37"/>
                  </a:lnTo>
                  <a:lnTo>
                    <a:pt x="118" y="34"/>
                  </a:lnTo>
                  <a:lnTo>
                    <a:pt x="129" y="33"/>
                  </a:lnTo>
                  <a:lnTo>
                    <a:pt x="140" y="32"/>
                  </a:lnTo>
                  <a:lnTo>
                    <a:pt x="151" y="33"/>
                  </a:lnTo>
                  <a:lnTo>
                    <a:pt x="162" y="34"/>
                  </a:lnTo>
                  <a:lnTo>
                    <a:pt x="172" y="37"/>
                  </a:lnTo>
                  <a:lnTo>
                    <a:pt x="182" y="40"/>
                  </a:lnTo>
                  <a:lnTo>
                    <a:pt x="192" y="45"/>
                  </a:lnTo>
                  <a:lnTo>
                    <a:pt x="201" y="50"/>
                  </a:lnTo>
                  <a:lnTo>
                    <a:pt x="209" y="57"/>
                  </a:lnTo>
                  <a:lnTo>
                    <a:pt x="216" y="64"/>
                  </a:lnTo>
                  <a:lnTo>
                    <a:pt x="224" y="72"/>
                  </a:lnTo>
                  <a:lnTo>
                    <a:pt x="230" y="80"/>
                  </a:lnTo>
                  <a:lnTo>
                    <a:pt x="235" y="89"/>
                  </a:lnTo>
                  <a:lnTo>
                    <a:pt x="240" y="98"/>
                  </a:lnTo>
                  <a:lnTo>
                    <a:pt x="244" y="108"/>
                  </a:lnTo>
                  <a:lnTo>
                    <a:pt x="246" y="119"/>
                  </a:lnTo>
                  <a:lnTo>
                    <a:pt x="249" y="129"/>
                  </a:lnTo>
                  <a:lnTo>
                    <a:pt x="249" y="140"/>
                  </a:lnTo>
                  <a:close/>
                  <a:moveTo>
                    <a:pt x="0" y="140"/>
                  </a:moveTo>
                  <a:lnTo>
                    <a:pt x="1" y="155"/>
                  </a:lnTo>
                  <a:lnTo>
                    <a:pt x="3" y="169"/>
                  </a:lnTo>
                  <a:lnTo>
                    <a:pt x="6" y="183"/>
                  </a:lnTo>
                  <a:lnTo>
                    <a:pt x="11" y="195"/>
                  </a:lnTo>
                  <a:lnTo>
                    <a:pt x="16" y="207"/>
                  </a:lnTo>
                  <a:lnTo>
                    <a:pt x="24" y="219"/>
                  </a:lnTo>
                  <a:lnTo>
                    <a:pt x="32" y="229"/>
                  </a:lnTo>
                  <a:lnTo>
                    <a:pt x="41" y="239"/>
                  </a:lnTo>
                  <a:lnTo>
                    <a:pt x="51" y="248"/>
                  </a:lnTo>
                  <a:lnTo>
                    <a:pt x="62" y="257"/>
                  </a:lnTo>
                  <a:lnTo>
                    <a:pt x="73" y="264"/>
                  </a:lnTo>
                  <a:lnTo>
                    <a:pt x="85" y="269"/>
                  </a:lnTo>
                  <a:lnTo>
                    <a:pt x="99" y="275"/>
                  </a:lnTo>
                  <a:lnTo>
                    <a:pt x="112" y="278"/>
                  </a:lnTo>
                  <a:lnTo>
                    <a:pt x="125" y="280"/>
                  </a:lnTo>
                  <a:lnTo>
                    <a:pt x="140" y="280"/>
                  </a:lnTo>
                  <a:lnTo>
                    <a:pt x="154" y="280"/>
                  </a:lnTo>
                  <a:lnTo>
                    <a:pt x="168" y="278"/>
                  </a:lnTo>
                  <a:lnTo>
                    <a:pt x="182" y="275"/>
                  </a:lnTo>
                  <a:lnTo>
                    <a:pt x="194" y="269"/>
                  </a:lnTo>
                  <a:lnTo>
                    <a:pt x="206" y="264"/>
                  </a:lnTo>
                  <a:lnTo>
                    <a:pt x="218" y="257"/>
                  </a:lnTo>
                  <a:lnTo>
                    <a:pt x="229" y="248"/>
                  </a:lnTo>
                  <a:lnTo>
                    <a:pt x="239" y="239"/>
                  </a:lnTo>
                  <a:lnTo>
                    <a:pt x="248" y="229"/>
                  </a:lnTo>
                  <a:lnTo>
                    <a:pt x="256" y="219"/>
                  </a:lnTo>
                  <a:lnTo>
                    <a:pt x="263" y="207"/>
                  </a:lnTo>
                  <a:lnTo>
                    <a:pt x="269" y="195"/>
                  </a:lnTo>
                  <a:lnTo>
                    <a:pt x="273" y="183"/>
                  </a:lnTo>
                  <a:lnTo>
                    <a:pt x="276" y="169"/>
                  </a:lnTo>
                  <a:lnTo>
                    <a:pt x="279" y="155"/>
                  </a:lnTo>
                  <a:lnTo>
                    <a:pt x="280" y="140"/>
                  </a:lnTo>
                  <a:lnTo>
                    <a:pt x="279" y="126"/>
                  </a:lnTo>
                  <a:lnTo>
                    <a:pt x="276" y="113"/>
                  </a:lnTo>
                  <a:lnTo>
                    <a:pt x="273" y="99"/>
                  </a:lnTo>
                  <a:lnTo>
                    <a:pt x="269" y="86"/>
                  </a:lnTo>
                  <a:lnTo>
                    <a:pt x="263" y="74"/>
                  </a:lnTo>
                  <a:lnTo>
                    <a:pt x="256" y="63"/>
                  </a:lnTo>
                  <a:lnTo>
                    <a:pt x="248" y="52"/>
                  </a:lnTo>
                  <a:lnTo>
                    <a:pt x="239" y="42"/>
                  </a:lnTo>
                  <a:lnTo>
                    <a:pt x="229" y="33"/>
                  </a:lnTo>
                  <a:lnTo>
                    <a:pt x="218" y="25"/>
                  </a:lnTo>
                  <a:lnTo>
                    <a:pt x="206" y="18"/>
                  </a:lnTo>
                  <a:lnTo>
                    <a:pt x="194" y="12"/>
                  </a:lnTo>
                  <a:lnTo>
                    <a:pt x="182" y="7"/>
                  </a:lnTo>
                  <a:lnTo>
                    <a:pt x="168" y="4"/>
                  </a:lnTo>
                  <a:lnTo>
                    <a:pt x="154" y="2"/>
                  </a:lnTo>
                  <a:lnTo>
                    <a:pt x="140" y="0"/>
                  </a:lnTo>
                  <a:lnTo>
                    <a:pt x="125" y="2"/>
                  </a:lnTo>
                  <a:lnTo>
                    <a:pt x="112" y="4"/>
                  </a:lnTo>
                  <a:lnTo>
                    <a:pt x="99" y="7"/>
                  </a:lnTo>
                  <a:lnTo>
                    <a:pt x="85" y="12"/>
                  </a:lnTo>
                  <a:lnTo>
                    <a:pt x="73" y="18"/>
                  </a:lnTo>
                  <a:lnTo>
                    <a:pt x="62" y="25"/>
                  </a:lnTo>
                  <a:lnTo>
                    <a:pt x="51" y="33"/>
                  </a:lnTo>
                  <a:lnTo>
                    <a:pt x="41" y="42"/>
                  </a:lnTo>
                  <a:lnTo>
                    <a:pt x="32" y="52"/>
                  </a:lnTo>
                  <a:lnTo>
                    <a:pt x="24" y="63"/>
                  </a:lnTo>
                  <a:lnTo>
                    <a:pt x="16" y="74"/>
                  </a:lnTo>
                  <a:lnTo>
                    <a:pt x="11" y="86"/>
                  </a:lnTo>
                  <a:lnTo>
                    <a:pt x="6" y="99"/>
                  </a:lnTo>
                  <a:lnTo>
                    <a:pt x="3" y="113"/>
                  </a:lnTo>
                  <a:lnTo>
                    <a:pt x="1" y="126"/>
                  </a:lnTo>
                  <a:lnTo>
                    <a:pt x="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247">
              <a:extLst>
                <a:ext uri="{FF2B5EF4-FFF2-40B4-BE49-F238E27FC236}">
                  <a16:creationId xmlns:a16="http://schemas.microsoft.com/office/drawing/2014/main" id="{06DAE6F4-E4AF-433B-A440-5CD39F164DCE}"/>
                </a:ext>
              </a:extLst>
            </p:cNvPr>
            <p:cNvSpPr>
              <a:spLocks/>
            </p:cNvSpPr>
            <p:nvPr/>
          </p:nvSpPr>
          <p:spPr bwMode="auto">
            <a:xfrm>
              <a:off x="8875493" y="1392691"/>
              <a:ext cx="82554" cy="82554"/>
            </a:xfrm>
            <a:custGeom>
              <a:avLst/>
              <a:gdLst>
                <a:gd name="T0" fmla="*/ 236 w 267"/>
                <a:gd name="T1" fmla="*/ 254 h 267"/>
                <a:gd name="T2" fmla="*/ 238 w 267"/>
                <a:gd name="T3" fmla="*/ 260 h 267"/>
                <a:gd name="T4" fmla="*/ 242 w 267"/>
                <a:gd name="T5" fmla="*/ 264 h 267"/>
                <a:gd name="T6" fmla="*/ 248 w 267"/>
                <a:gd name="T7" fmla="*/ 267 h 267"/>
                <a:gd name="T8" fmla="*/ 255 w 267"/>
                <a:gd name="T9" fmla="*/ 267 h 267"/>
                <a:gd name="T10" fmla="*/ 260 w 267"/>
                <a:gd name="T11" fmla="*/ 264 h 267"/>
                <a:gd name="T12" fmla="*/ 264 w 267"/>
                <a:gd name="T13" fmla="*/ 260 h 267"/>
                <a:gd name="T14" fmla="*/ 267 w 267"/>
                <a:gd name="T15" fmla="*/ 254 h 267"/>
                <a:gd name="T16" fmla="*/ 267 w 267"/>
                <a:gd name="T17" fmla="*/ 238 h 267"/>
                <a:gd name="T18" fmla="*/ 264 w 267"/>
                <a:gd name="T19" fmla="*/ 213 h 267"/>
                <a:gd name="T20" fmla="*/ 259 w 267"/>
                <a:gd name="T21" fmla="*/ 189 h 267"/>
                <a:gd name="T22" fmla="*/ 251 w 267"/>
                <a:gd name="T23" fmla="*/ 164 h 267"/>
                <a:gd name="T24" fmla="*/ 242 w 267"/>
                <a:gd name="T25" fmla="*/ 142 h 267"/>
                <a:gd name="T26" fmla="*/ 230 w 267"/>
                <a:gd name="T27" fmla="*/ 121 h 267"/>
                <a:gd name="T28" fmla="*/ 217 w 267"/>
                <a:gd name="T29" fmla="*/ 101 h 267"/>
                <a:gd name="T30" fmla="*/ 201 w 267"/>
                <a:gd name="T31" fmla="*/ 82 h 267"/>
                <a:gd name="T32" fmla="*/ 185 w 267"/>
                <a:gd name="T33" fmla="*/ 65 h 267"/>
                <a:gd name="T34" fmla="*/ 166 w 267"/>
                <a:gd name="T35" fmla="*/ 50 h 267"/>
                <a:gd name="T36" fmla="*/ 146 w 267"/>
                <a:gd name="T37" fmla="*/ 37 h 267"/>
                <a:gd name="T38" fmla="*/ 125 w 267"/>
                <a:gd name="T39" fmla="*/ 25 h 267"/>
                <a:gd name="T40" fmla="*/ 102 w 267"/>
                <a:gd name="T41" fmla="*/ 15 h 267"/>
                <a:gd name="T42" fmla="*/ 78 w 267"/>
                <a:gd name="T43" fmla="*/ 8 h 267"/>
                <a:gd name="T44" fmla="*/ 54 w 267"/>
                <a:gd name="T45" fmla="*/ 3 h 267"/>
                <a:gd name="T46" fmla="*/ 29 w 267"/>
                <a:gd name="T47" fmla="*/ 1 h 267"/>
                <a:gd name="T48" fmla="*/ 12 w 267"/>
                <a:gd name="T49" fmla="*/ 1 h 267"/>
                <a:gd name="T50" fmla="*/ 7 w 267"/>
                <a:gd name="T51" fmla="*/ 3 h 267"/>
                <a:gd name="T52" fmla="*/ 4 w 267"/>
                <a:gd name="T53" fmla="*/ 7 h 267"/>
                <a:gd name="T54" fmla="*/ 0 w 267"/>
                <a:gd name="T55" fmla="*/ 13 h 267"/>
                <a:gd name="T56" fmla="*/ 0 w 267"/>
                <a:gd name="T57" fmla="*/ 19 h 267"/>
                <a:gd name="T58" fmla="*/ 4 w 267"/>
                <a:gd name="T59" fmla="*/ 24 h 267"/>
                <a:gd name="T60" fmla="*/ 7 w 267"/>
                <a:gd name="T61" fmla="*/ 29 h 267"/>
                <a:gd name="T62" fmla="*/ 12 w 267"/>
                <a:gd name="T63" fmla="*/ 31 h 267"/>
                <a:gd name="T64" fmla="*/ 27 w 267"/>
                <a:gd name="T65" fmla="*/ 32 h 267"/>
                <a:gd name="T66" fmla="*/ 49 w 267"/>
                <a:gd name="T67" fmla="*/ 34 h 267"/>
                <a:gd name="T68" fmla="*/ 81 w 267"/>
                <a:gd name="T69" fmla="*/ 41 h 267"/>
                <a:gd name="T70" fmla="*/ 120 w 267"/>
                <a:gd name="T71" fmla="*/ 58 h 267"/>
                <a:gd name="T72" fmla="*/ 156 w 267"/>
                <a:gd name="T73" fmla="*/ 81 h 267"/>
                <a:gd name="T74" fmla="*/ 186 w 267"/>
                <a:gd name="T75" fmla="*/ 111 h 267"/>
                <a:gd name="T76" fmla="*/ 209 w 267"/>
                <a:gd name="T77" fmla="*/ 147 h 267"/>
                <a:gd name="T78" fmla="*/ 226 w 267"/>
                <a:gd name="T79" fmla="*/ 185 h 267"/>
                <a:gd name="T80" fmla="*/ 234 w 267"/>
                <a:gd name="T81" fmla="*/ 218 h 267"/>
                <a:gd name="T82" fmla="*/ 236 w 267"/>
                <a:gd name="T83" fmla="*/ 24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267">
                  <a:moveTo>
                    <a:pt x="236" y="251"/>
                  </a:moveTo>
                  <a:lnTo>
                    <a:pt x="236" y="254"/>
                  </a:lnTo>
                  <a:lnTo>
                    <a:pt x="237" y="257"/>
                  </a:lnTo>
                  <a:lnTo>
                    <a:pt x="238" y="260"/>
                  </a:lnTo>
                  <a:lnTo>
                    <a:pt x="240" y="262"/>
                  </a:lnTo>
                  <a:lnTo>
                    <a:pt x="242" y="264"/>
                  </a:lnTo>
                  <a:lnTo>
                    <a:pt x="245" y="265"/>
                  </a:lnTo>
                  <a:lnTo>
                    <a:pt x="248" y="267"/>
                  </a:lnTo>
                  <a:lnTo>
                    <a:pt x="251" y="267"/>
                  </a:lnTo>
                  <a:lnTo>
                    <a:pt x="255" y="267"/>
                  </a:lnTo>
                  <a:lnTo>
                    <a:pt x="257" y="265"/>
                  </a:lnTo>
                  <a:lnTo>
                    <a:pt x="260" y="264"/>
                  </a:lnTo>
                  <a:lnTo>
                    <a:pt x="262" y="262"/>
                  </a:lnTo>
                  <a:lnTo>
                    <a:pt x="264" y="260"/>
                  </a:lnTo>
                  <a:lnTo>
                    <a:pt x="266" y="257"/>
                  </a:lnTo>
                  <a:lnTo>
                    <a:pt x="267" y="254"/>
                  </a:lnTo>
                  <a:lnTo>
                    <a:pt x="267" y="251"/>
                  </a:lnTo>
                  <a:lnTo>
                    <a:pt x="267" y="238"/>
                  </a:lnTo>
                  <a:lnTo>
                    <a:pt x="266" y="225"/>
                  </a:lnTo>
                  <a:lnTo>
                    <a:pt x="264" y="213"/>
                  </a:lnTo>
                  <a:lnTo>
                    <a:pt x="261" y="201"/>
                  </a:lnTo>
                  <a:lnTo>
                    <a:pt x="259" y="189"/>
                  </a:lnTo>
                  <a:lnTo>
                    <a:pt x="256" y="177"/>
                  </a:lnTo>
                  <a:lnTo>
                    <a:pt x="251" y="164"/>
                  </a:lnTo>
                  <a:lnTo>
                    <a:pt x="247" y="153"/>
                  </a:lnTo>
                  <a:lnTo>
                    <a:pt x="242" y="142"/>
                  </a:lnTo>
                  <a:lnTo>
                    <a:pt x="237" y="132"/>
                  </a:lnTo>
                  <a:lnTo>
                    <a:pt x="230" y="121"/>
                  </a:lnTo>
                  <a:lnTo>
                    <a:pt x="224" y="111"/>
                  </a:lnTo>
                  <a:lnTo>
                    <a:pt x="217" y="101"/>
                  </a:lnTo>
                  <a:lnTo>
                    <a:pt x="209" y="92"/>
                  </a:lnTo>
                  <a:lnTo>
                    <a:pt x="201" y="82"/>
                  </a:lnTo>
                  <a:lnTo>
                    <a:pt x="194" y="74"/>
                  </a:lnTo>
                  <a:lnTo>
                    <a:pt x="185" y="65"/>
                  </a:lnTo>
                  <a:lnTo>
                    <a:pt x="176" y="58"/>
                  </a:lnTo>
                  <a:lnTo>
                    <a:pt x="166" y="50"/>
                  </a:lnTo>
                  <a:lnTo>
                    <a:pt x="156" y="43"/>
                  </a:lnTo>
                  <a:lnTo>
                    <a:pt x="146" y="37"/>
                  </a:lnTo>
                  <a:lnTo>
                    <a:pt x="136" y="31"/>
                  </a:lnTo>
                  <a:lnTo>
                    <a:pt x="125" y="25"/>
                  </a:lnTo>
                  <a:lnTo>
                    <a:pt x="114" y="20"/>
                  </a:lnTo>
                  <a:lnTo>
                    <a:pt x="102" y="15"/>
                  </a:lnTo>
                  <a:lnTo>
                    <a:pt x="90" y="11"/>
                  </a:lnTo>
                  <a:lnTo>
                    <a:pt x="78" y="8"/>
                  </a:lnTo>
                  <a:lnTo>
                    <a:pt x="67" y="5"/>
                  </a:lnTo>
                  <a:lnTo>
                    <a:pt x="54" y="3"/>
                  </a:lnTo>
                  <a:lnTo>
                    <a:pt x="41" y="1"/>
                  </a:lnTo>
                  <a:lnTo>
                    <a:pt x="29" y="1"/>
                  </a:lnTo>
                  <a:lnTo>
                    <a:pt x="16" y="0"/>
                  </a:lnTo>
                  <a:lnTo>
                    <a:pt x="12" y="1"/>
                  </a:lnTo>
                  <a:lnTo>
                    <a:pt x="10" y="1"/>
                  </a:lnTo>
                  <a:lnTo>
                    <a:pt x="7" y="3"/>
                  </a:lnTo>
                  <a:lnTo>
                    <a:pt x="5" y="4"/>
                  </a:lnTo>
                  <a:lnTo>
                    <a:pt x="4" y="7"/>
                  </a:lnTo>
                  <a:lnTo>
                    <a:pt x="1" y="10"/>
                  </a:lnTo>
                  <a:lnTo>
                    <a:pt x="0" y="13"/>
                  </a:lnTo>
                  <a:lnTo>
                    <a:pt x="0" y="15"/>
                  </a:lnTo>
                  <a:lnTo>
                    <a:pt x="0" y="19"/>
                  </a:lnTo>
                  <a:lnTo>
                    <a:pt x="1" y="22"/>
                  </a:lnTo>
                  <a:lnTo>
                    <a:pt x="4" y="24"/>
                  </a:lnTo>
                  <a:lnTo>
                    <a:pt x="5" y="27"/>
                  </a:lnTo>
                  <a:lnTo>
                    <a:pt x="7" y="29"/>
                  </a:lnTo>
                  <a:lnTo>
                    <a:pt x="10" y="30"/>
                  </a:lnTo>
                  <a:lnTo>
                    <a:pt x="12" y="31"/>
                  </a:lnTo>
                  <a:lnTo>
                    <a:pt x="16" y="31"/>
                  </a:lnTo>
                  <a:lnTo>
                    <a:pt x="27" y="32"/>
                  </a:lnTo>
                  <a:lnTo>
                    <a:pt x="38" y="32"/>
                  </a:lnTo>
                  <a:lnTo>
                    <a:pt x="49" y="34"/>
                  </a:lnTo>
                  <a:lnTo>
                    <a:pt x="60" y="35"/>
                  </a:lnTo>
                  <a:lnTo>
                    <a:pt x="81" y="41"/>
                  </a:lnTo>
                  <a:lnTo>
                    <a:pt x="101" y="49"/>
                  </a:lnTo>
                  <a:lnTo>
                    <a:pt x="120" y="58"/>
                  </a:lnTo>
                  <a:lnTo>
                    <a:pt x="139" y="69"/>
                  </a:lnTo>
                  <a:lnTo>
                    <a:pt x="156" y="81"/>
                  </a:lnTo>
                  <a:lnTo>
                    <a:pt x="171" y="95"/>
                  </a:lnTo>
                  <a:lnTo>
                    <a:pt x="186" y="111"/>
                  </a:lnTo>
                  <a:lnTo>
                    <a:pt x="198" y="129"/>
                  </a:lnTo>
                  <a:lnTo>
                    <a:pt x="209" y="147"/>
                  </a:lnTo>
                  <a:lnTo>
                    <a:pt x="218" y="165"/>
                  </a:lnTo>
                  <a:lnTo>
                    <a:pt x="226" y="185"/>
                  </a:lnTo>
                  <a:lnTo>
                    <a:pt x="231" y="207"/>
                  </a:lnTo>
                  <a:lnTo>
                    <a:pt x="234" y="218"/>
                  </a:lnTo>
                  <a:lnTo>
                    <a:pt x="235" y="229"/>
                  </a:lnTo>
                  <a:lnTo>
                    <a:pt x="236" y="240"/>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Freeform 248">
              <a:extLst>
                <a:ext uri="{FF2B5EF4-FFF2-40B4-BE49-F238E27FC236}">
                  <a16:creationId xmlns:a16="http://schemas.microsoft.com/office/drawing/2014/main" id="{79B313E5-DE7F-4C6F-A160-587A52FE2F80}"/>
                </a:ext>
              </a:extLst>
            </p:cNvPr>
            <p:cNvSpPr>
              <a:spLocks/>
            </p:cNvSpPr>
            <p:nvPr/>
          </p:nvSpPr>
          <p:spPr bwMode="auto">
            <a:xfrm>
              <a:off x="8767064" y="1356959"/>
              <a:ext cx="226716" cy="166340"/>
            </a:xfrm>
            <a:custGeom>
              <a:avLst/>
              <a:gdLst>
                <a:gd name="T0" fmla="*/ 64 w 737"/>
                <a:gd name="T1" fmla="*/ 535 h 540"/>
                <a:gd name="T2" fmla="*/ 68 w 737"/>
                <a:gd name="T3" fmla="*/ 527 h 540"/>
                <a:gd name="T4" fmla="*/ 66 w 737"/>
                <a:gd name="T5" fmla="*/ 518 h 540"/>
                <a:gd name="T6" fmla="*/ 44 w 737"/>
                <a:gd name="T7" fmla="*/ 464 h 540"/>
                <a:gd name="T8" fmla="*/ 33 w 737"/>
                <a:gd name="T9" fmla="*/ 407 h 540"/>
                <a:gd name="T10" fmla="*/ 31 w 737"/>
                <a:gd name="T11" fmla="*/ 350 h 540"/>
                <a:gd name="T12" fmla="*/ 38 w 737"/>
                <a:gd name="T13" fmla="*/ 300 h 540"/>
                <a:gd name="T14" fmla="*/ 51 w 737"/>
                <a:gd name="T15" fmla="*/ 252 h 540"/>
                <a:gd name="T16" fmla="*/ 71 w 737"/>
                <a:gd name="T17" fmla="*/ 207 h 540"/>
                <a:gd name="T18" fmla="*/ 98 w 737"/>
                <a:gd name="T19" fmla="*/ 167 h 540"/>
                <a:gd name="T20" fmla="*/ 130 w 737"/>
                <a:gd name="T21" fmla="*/ 130 h 540"/>
                <a:gd name="T22" fmla="*/ 167 w 737"/>
                <a:gd name="T23" fmla="*/ 98 h 540"/>
                <a:gd name="T24" fmla="*/ 208 w 737"/>
                <a:gd name="T25" fmla="*/ 71 h 540"/>
                <a:gd name="T26" fmla="*/ 252 w 737"/>
                <a:gd name="T27" fmla="*/ 51 h 540"/>
                <a:gd name="T28" fmla="*/ 300 w 737"/>
                <a:gd name="T29" fmla="*/ 38 h 540"/>
                <a:gd name="T30" fmla="*/ 351 w 737"/>
                <a:gd name="T31" fmla="*/ 31 h 540"/>
                <a:gd name="T32" fmla="*/ 402 w 737"/>
                <a:gd name="T33" fmla="*/ 32 h 540"/>
                <a:gd name="T34" fmla="*/ 452 w 737"/>
                <a:gd name="T35" fmla="*/ 41 h 540"/>
                <a:gd name="T36" fmla="*/ 499 w 737"/>
                <a:gd name="T37" fmla="*/ 57 h 540"/>
                <a:gd name="T38" fmla="*/ 542 w 737"/>
                <a:gd name="T39" fmla="*/ 80 h 540"/>
                <a:gd name="T40" fmla="*/ 582 w 737"/>
                <a:gd name="T41" fmla="*/ 108 h 540"/>
                <a:gd name="T42" fmla="*/ 618 w 737"/>
                <a:gd name="T43" fmla="*/ 141 h 540"/>
                <a:gd name="T44" fmla="*/ 648 w 737"/>
                <a:gd name="T45" fmla="*/ 179 h 540"/>
                <a:gd name="T46" fmla="*/ 672 w 737"/>
                <a:gd name="T47" fmla="*/ 222 h 540"/>
                <a:gd name="T48" fmla="*/ 690 w 737"/>
                <a:gd name="T49" fmla="*/ 268 h 540"/>
                <a:gd name="T50" fmla="*/ 701 w 737"/>
                <a:gd name="T51" fmla="*/ 317 h 540"/>
                <a:gd name="T52" fmla="*/ 706 w 737"/>
                <a:gd name="T53" fmla="*/ 368 h 540"/>
                <a:gd name="T54" fmla="*/ 700 w 737"/>
                <a:gd name="T55" fmla="*/ 426 h 540"/>
                <a:gd name="T56" fmla="*/ 686 w 737"/>
                <a:gd name="T57" fmla="*/ 482 h 540"/>
                <a:gd name="T58" fmla="*/ 669 w 737"/>
                <a:gd name="T59" fmla="*/ 520 h 540"/>
                <a:gd name="T60" fmla="*/ 669 w 737"/>
                <a:gd name="T61" fmla="*/ 530 h 540"/>
                <a:gd name="T62" fmla="*/ 674 w 737"/>
                <a:gd name="T63" fmla="*/ 537 h 540"/>
                <a:gd name="T64" fmla="*/ 683 w 737"/>
                <a:gd name="T65" fmla="*/ 540 h 540"/>
                <a:gd name="T66" fmla="*/ 696 w 737"/>
                <a:gd name="T67" fmla="*/ 536 h 540"/>
                <a:gd name="T68" fmla="*/ 714 w 737"/>
                <a:gd name="T69" fmla="*/ 492 h 540"/>
                <a:gd name="T70" fmla="*/ 731 w 737"/>
                <a:gd name="T71" fmla="*/ 431 h 540"/>
                <a:gd name="T72" fmla="*/ 737 w 737"/>
                <a:gd name="T73" fmla="*/ 368 h 540"/>
                <a:gd name="T74" fmla="*/ 732 w 737"/>
                <a:gd name="T75" fmla="*/ 312 h 540"/>
                <a:gd name="T76" fmla="*/ 720 w 737"/>
                <a:gd name="T77" fmla="*/ 259 h 540"/>
                <a:gd name="T78" fmla="*/ 700 w 737"/>
                <a:gd name="T79" fmla="*/ 208 h 540"/>
                <a:gd name="T80" fmla="*/ 673 w 737"/>
                <a:gd name="T81" fmla="*/ 162 h 540"/>
                <a:gd name="T82" fmla="*/ 640 w 737"/>
                <a:gd name="T83" fmla="*/ 120 h 540"/>
                <a:gd name="T84" fmla="*/ 602 w 737"/>
                <a:gd name="T85" fmla="*/ 84 h 540"/>
                <a:gd name="T86" fmla="*/ 559 w 737"/>
                <a:gd name="T87" fmla="*/ 54 h 540"/>
                <a:gd name="T88" fmla="*/ 511 w 737"/>
                <a:gd name="T89" fmla="*/ 29 h 540"/>
                <a:gd name="T90" fmla="*/ 460 w 737"/>
                <a:gd name="T91" fmla="*/ 11 h 540"/>
                <a:gd name="T92" fmla="*/ 406 w 737"/>
                <a:gd name="T93" fmla="*/ 1 h 540"/>
                <a:gd name="T94" fmla="*/ 349 w 737"/>
                <a:gd name="T95" fmla="*/ 0 h 540"/>
                <a:gd name="T96" fmla="*/ 293 w 737"/>
                <a:gd name="T97" fmla="*/ 7 h 540"/>
                <a:gd name="T98" fmla="*/ 241 w 737"/>
                <a:gd name="T99" fmla="*/ 22 h 540"/>
                <a:gd name="T100" fmla="*/ 192 w 737"/>
                <a:gd name="T101" fmla="*/ 45 h 540"/>
                <a:gd name="T102" fmla="*/ 148 w 737"/>
                <a:gd name="T103" fmla="*/ 72 h 540"/>
                <a:gd name="T104" fmla="*/ 108 w 737"/>
                <a:gd name="T105" fmla="*/ 108 h 540"/>
                <a:gd name="T106" fmla="*/ 73 w 737"/>
                <a:gd name="T107" fmla="*/ 148 h 540"/>
                <a:gd name="T108" fmla="*/ 44 w 737"/>
                <a:gd name="T109" fmla="*/ 192 h 540"/>
                <a:gd name="T110" fmla="*/ 22 w 737"/>
                <a:gd name="T111" fmla="*/ 241 h 540"/>
                <a:gd name="T112" fmla="*/ 7 w 737"/>
                <a:gd name="T113" fmla="*/ 294 h 540"/>
                <a:gd name="T114" fmla="*/ 0 w 737"/>
                <a:gd name="T115" fmla="*/ 349 h 540"/>
                <a:gd name="T116" fmla="*/ 2 w 737"/>
                <a:gd name="T117" fmla="*/ 410 h 540"/>
                <a:gd name="T118" fmla="*/ 14 w 737"/>
                <a:gd name="T119" fmla="*/ 472 h 540"/>
                <a:gd name="T120" fmla="*/ 38 w 737"/>
                <a:gd name="T121" fmla="*/ 531 h 540"/>
                <a:gd name="T122" fmla="*/ 44 w 737"/>
                <a:gd name="T123" fmla="*/ 538 h 540"/>
                <a:gd name="T124" fmla="*/ 53 w 737"/>
                <a:gd name="T12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540">
                  <a:moveTo>
                    <a:pt x="59" y="538"/>
                  </a:moveTo>
                  <a:lnTo>
                    <a:pt x="62" y="537"/>
                  </a:lnTo>
                  <a:lnTo>
                    <a:pt x="64" y="535"/>
                  </a:lnTo>
                  <a:lnTo>
                    <a:pt x="66" y="532"/>
                  </a:lnTo>
                  <a:lnTo>
                    <a:pt x="67" y="530"/>
                  </a:lnTo>
                  <a:lnTo>
                    <a:pt x="68" y="527"/>
                  </a:lnTo>
                  <a:lnTo>
                    <a:pt x="68" y="524"/>
                  </a:lnTo>
                  <a:lnTo>
                    <a:pt x="67" y="520"/>
                  </a:lnTo>
                  <a:lnTo>
                    <a:pt x="66" y="518"/>
                  </a:lnTo>
                  <a:lnTo>
                    <a:pt x="58" y="500"/>
                  </a:lnTo>
                  <a:lnTo>
                    <a:pt x="51" y="482"/>
                  </a:lnTo>
                  <a:lnTo>
                    <a:pt x="44" y="464"/>
                  </a:lnTo>
                  <a:lnTo>
                    <a:pt x="40" y="445"/>
                  </a:lnTo>
                  <a:lnTo>
                    <a:pt x="36" y="426"/>
                  </a:lnTo>
                  <a:lnTo>
                    <a:pt x="33" y="407"/>
                  </a:lnTo>
                  <a:lnTo>
                    <a:pt x="31" y="388"/>
                  </a:lnTo>
                  <a:lnTo>
                    <a:pt x="31" y="368"/>
                  </a:lnTo>
                  <a:lnTo>
                    <a:pt x="31" y="350"/>
                  </a:lnTo>
                  <a:lnTo>
                    <a:pt x="32" y="334"/>
                  </a:lnTo>
                  <a:lnTo>
                    <a:pt x="34" y="317"/>
                  </a:lnTo>
                  <a:lnTo>
                    <a:pt x="38" y="300"/>
                  </a:lnTo>
                  <a:lnTo>
                    <a:pt x="41" y="284"/>
                  </a:lnTo>
                  <a:lnTo>
                    <a:pt x="46" y="268"/>
                  </a:lnTo>
                  <a:lnTo>
                    <a:pt x="51" y="252"/>
                  </a:lnTo>
                  <a:lnTo>
                    <a:pt x="58" y="237"/>
                  </a:lnTo>
                  <a:lnTo>
                    <a:pt x="64" y="222"/>
                  </a:lnTo>
                  <a:lnTo>
                    <a:pt x="71" y="207"/>
                  </a:lnTo>
                  <a:lnTo>
                    <a:pt x="80" y="194"/>
                  </a:lnTo>
                  <a:lnTo>
                    <a:pt x="89" y="179"/>
                  </a:lnTo>
                  <a:lnTo>
                    <a:pt x="98" y="167"/>
                  </a:lnTo>
                  <a:lnTo>
                    <a:pt x="108" y="154"/>
                  </a:lnTo>
                  <a:lnTo>
                    <a:pt x="119" y="141"/>
                  </a:lnTo>
                  <a:lnTo>
                    <a:pt x="130" y="130"/>
                  </a:lnTo>
                  <a:lnTo>
                    <a:pt x="141" y="118"/>
                  </a:lnTo>
                  <a:lnTo>
                    <a:pt x="153" y="108"/>
                  </a:lnTo>
                  <a:lnTo>
                    <a:pt x="167" y="98"/>
                  </a:lnTo>
                  <a:lnTo>
                    <a:pt x="180" y="88"/>
                  </a:lnTo>
                  <a:lnTo>
                    <a:pt x="193" y="80"/>
                  </a:lnTo>
                  <a:lnTo>
                    <a:pt x="208" y="71"/>
                  </a:lnTo>
                  <a:lnTo>
                    <a:pt x="222" y="65"/>
                  </a:lnTo>
                  <a:lnTo>
                    <a:pt x="237" y="57"/>
                  </a:lnTo>
                  <a:lnTo>
                    <a:pt x="252" y="51"/>
                  </a:lnTo>
                  <a:lnTo>
                    <a:pt x="268" y="46"/>
                  </a:lnTo>
                  <a:lnTo>
                    <a:pt x="283" y="41"/>
                  </a:lnTo>
                  <a:lnTo>
                    <a:pt x="300" y="38"/>
                  </a:lnTo>
                  <a:lnTo>
                    <a:pt x="317" y="35"/>
                  </a:lnTo>
                  <a:lnTo>
                    <a:pt x="333" y="32"/>
                  </a:lnTo>
                  <a:lnTo>
                    <a:pt x="351" y="31"/>
                  </a:lnTo>
                  <a:lnTo>
                    <a:pt x="368" y="31"/>
                  </a:lnTo>
                  <a:lnTo>
                    <a:pt x="386" y="31"/>
                  </a:lnTo>
                  <a:lnTo>
                    <a:pt x="402" y="32"/>
                  </a:lnTo>
                  <a:lnTo>
                    <a:pt x="419" y="35"/>
                  </a:lnTo>
                  <a:lnTo>
                    <a:pt x="436" y="38"/>
                  </a:lnTo>
                  <a:lnTo>
                    <a:pt x="452" y="41"/>
                  </a:lnTo>
                  <a:lnTo>
                    <a:pt x="468" y="46"/>
                  </a:lnTo>
                  <a:lnTo>
                    <a:pt x="483" y="51"/>
                  </a:lnTo>
                  <a:lnTo>
                    <a:pt x="499" y="57"/>
                  </a:lnTo>
                  <a:lnTo>
                    <a:pt x="514" y="64"/>
                  </a:lnTo>
                  <a:lnTo>
                    <a:pt x="529" y="71"/>
                  </a:lnTo>
                  <a:lnTo>
                    <a:pt x="542" y="80"/>
                  </a:lnTo>
                  <a:lnTo>
                    <a:pt x="557" y="88"/>
                  </a:lnTo>
                  <a:lnTo>
                    <a:pt x="570" y="98"/>
                  </a:lnTo>
                  <a:lnTo>
                    <a:pt x="582" y="108"/>
                  </a:lnTo>
                  <a:lnTo>
                    <a:pt x="594" y="118"/>
                  </a:lnTo>
                  <a:lnTo>
                    <a:pt x="607" y="129"/>
                  </a:lnTo>
                  <a:lnTo>
                    <a:pt x="618" y="141"/>
                  </a:lnTo>
                  <a:lnTo>
                    <a:pt x="628" y="154"/>
                  </a:lnTo>
                  <a:lnTo>
                    <a:pt x="638" y="167"/>
                  </a:lnTo>
                  <a:lnTo>
                    <a:pt x="648" y="179"/>
                  </a:lnTo>
                  <a:lnTo>
                    <a:pt x="657" y="194"/>
                  </a:lnTo>
                  <a:lnTo>
                    <a:pt x="664" y="207"/>
                  </a:lnTo>
                  <a:lnTo>
                    <a:pt x="672" y="222"/>
                  </a:lnTo>
                  <a:lnTo>
                    <a:pt x="679" y="237"/>
                  </a:lnTo>
                  <a:lnTo>
                    <a:pt x="684" y="252"/>
                  </a:lnTo>
                  <a:lnTo>
                    <a:pt x="690" y="268"/>
                  </a:lnTo>
                  <a:lnTo>
                    <a:pt x="694" y="284"/>
                  </a:lnTo>
                  <a:lnTo>
                    <a:pt x="698" y="300"/>
                  </a:lnTo>
                  <a:lnTo>
                    <a:pt x="701" y="317"/>
                  </a:lnTo>
                  <a:lnTo>
                    <a:pt x="703" y="334"/>
                  </a:lnTo>
                  <a:lnTo>
                    <a:pt x="704" y="350"/>
                  </a:lnTo>
                  <a:lnTo>
                    <a:pt x="706" y="368"/>
                  </a:lnTo>
                  <a:lnTo>
                    <a:pt x="704" y="388"/>
                  </a:lnTo>
                  <a:lnTo>
                    <a:pt x="703" y="407"/>
                  </a:lnTo>
                  <a:lnTo>
                    <a:pt x="700" y="426"/>
                  </a:lnTo>
                  <a:lnTo>
                    <a:pt x="697" y="445"/>
                  </a:lnTo>
                  <a:lnTo>
                    <a:pt x="691" y="464"/>
                  </a:lnTo>
                  <a:lnTo>
                    <a:pt x="686" y="482"/>
                  </a:lnTo>
                  <a:lnTo>
                    <a:pt x="678" y="500"/>
                  </a:lnTo>
                  <a:lnTo>
                    <a:pt x="670" y="518"/>
                  </a:lnTo>
                  <a:lnTo>
                    <a:pt x="669" y="520"/>
                  </a:lnTo>
                  <a:lnTo>
                    <a:pt x="668" y="524"/>
                  </a:lnTo>
                  <a:lnTo>
                    <a:pt x="668" y="527"/>
                  </a:lnTo>
                  <a:lnTo>
                    <a:pt x="669" y="530"/>
                  </a:lnTo>
                  <a:lnTo>
                    <a:pt x="670" y="532"/>
                  </a:lnTo>
                  <a:lnTo>
                    <a:pt x="672" y="535"/>
                  </a:lnTo>
                  <a:lnTo>
                    <a:pt x="674" y="537"/>
                  </a:lnTo>
                  <a:lnTo>
                    <a:pt x="677" y="539"/>
                  </a:lnTo>
                  <a:lnTo>
                    <a:pt x="680" y="540"/>
                  </a:lnTo>
                  <a:lnTo>
                    <a:pt x="683" y="540"/>
                  </a:lnTo>
                  <a:lnTo>
                    <a:pt x="688" y="540"/>
                  </a:lnTo>
                  <a:lnTo>
                    <a:pt x="692" y="538"/>
                  </a:lnTo>
                  <a:lnTo>
                    <a:pt x="696" y="536"/>
                  </a:lnTo>
                  <a:lnTo>
                    <a:pt x="698" y="531"/>
                  </a:lnTo>
                  <a:lnTo>
                    <a:pt x="707" y="512"/>
                  </a:lnTo>
                  <a:lnTo>
                    <a:pt x="714" y="492"/>
                  </a:lnTo>
                  <a:lnTo>
                    <a:pt x="721" y="472"/>
                  </a:lnTo>
                  <a:lnTo>
                    <a:pt x="727" y="452"/>
                  </a:lnTo>
                  <a:lnTo>
                    <a:pt x="731" y="431"/>
                  </a:lnTo>
                  <a:lnTo>
                    <a:pt x="733" y="410"/>
                  </a:lnTo>
                  <a:lnTo>
                    <a:pt x="735" y="389"/>
                  </a:lnTo>
                  <a:lnTo>
                    <a:pt x="737" y="368"/>
                  </a:lnTo>
                  <a:lnTo>
                    <a:pt x="735" y="349"/>
                  </a:lnTo>
                  <a:lnTo>
                    <a:pt x="734" y="330"/>
                  </a:lnTo>
                  <a:lnTo>
                    <a:pt x="732" y="312"/>
                  </a:lnTo>
                  <a:lnTo>
                    <a:pt x="729" y="294"/>
                  </a:lnTo>
                  <a:lnTo>
                    <a:pt x="724" y="276"/>
                  </a:lnTo>
                  <a:lnTo>
                    <a:pt x="720" y="259"/>
                  </a:lnTo>
                  <a:lnTo>
                    <a:pt x="713" y="241"/>
                  </a:lnTo>
                  <a:lnTo>
                    <a:pt x="708" y="225"/>
                  </a:lnTo>
                  <a:lnTo>
                    <a:pt x="700" y="208"/>
                  </a:lnTo>
                  <a:lnTo>
                    <a:pt x="692" y="192"/>
                  </a:lnTo>
                  <a:lnTo>
                    <a:pt x="683" y="177"/>
                  </a:lnTo>
                  <a:lnTo>
                    <a:pt x="673" y="162"/>
                  </a:lnTo>
                  <a:lnTo>
                    <a:pt x="663" y="148"/>
                  </a:lnTo>
                  <a:lnTo>
                    <a:pt x="652" y="134"/>
                  </a:lnTo>
                  <a:lnTo>
                    <a:pt x="640" y="120"/>
                  </a:lnTo>
                  <a:lnTo>
                    <a:pt x="628" y="108"/>
                  </a:lnTo>
                  <a:lnTo>
                    <a:pt x="616" y="96"/>
                  </a:lnTo>
                  <a:lnTo>
                    <a:pt x="602" y="84"/>
                  </a:lnTo>
                  <a:lnTo>
                    <a:pt x="588" y="72"/>
                  </a:lnTo>
                  <a:lnTo>
                    <a:pt x="573" y="62"/>
                  </a:lnTo>
                  <a:lnTo>
                    <a:pt x="559" y="54"/>
                  </a:lnTo>
                  <a:lnTo>
                    <a:pt x="543" y="45"/>
                  </a:lnTo>
                  <a:lnTo>
                    <a:pt x="528" y="36"/>
                  </a:lnTo>
                  <a:lnTo>
                    <a:pt x="511" y="29"/>
                  </a:lnTo>
                  <a:lnTo>
                    <a:pt x="494" y="22"/>
                  </a:lnTo>
                  <a:lnTo>
                    <a:pt x="478" y="17"/>
                  </a:lnTo>
                  <a:lnTo>
                    <a:pt x="460" y="11"/>
                  </a:lnTo>
                  <a:lnTo>
                    <a:pt x="442" y="7"/>
                  </a:lnTo>
                  <a:lnTo>
                    <a:pt x="424" y="4"/>
                  </a:lnTo>
                  <a:lnTo>
                    <a:pt x="406" y="1"/>
                  </a:lnTo>
                  <a:lnTo>
                    <a:pt x="387" y="0"/>
                  </a:lnTo>
                  <a:lnTo>
                    <a:pt x="368" y="0"/>
                  </a:lnTo>
                  <a:lnTo>
                    <a:pt x="349" y="0"/>
                  </a:lnTo>
                  <a:lnTo>
                    <a:pt x="330" y="1"/>
                  </a:lnTo>
                  <a:lnTo>
                    <a:pt x="312" y="4"/>
                  </a:lnTo>
                  <a:lnTo>
                    <a:pt x="293" y="7"/>
                  </a:lnTo>
                  <a:lnTo>
                    <a:pt x="276" y="11"/>
                  </a:lnTo>
                  <a:lnTo>
                    <a:pt x="259" y="16"/>
                  </a:lnTo>
                  <a:lnTo>
                    <a:pt x="241" y="22"/>
                  </a:lnTo>
                  <a:lnTo>
                    <a:pt x="224" y="29"/>
                  </a:lnTo>
                  <a:lnTo>
                    <a:pt x="209" y="36"/>
                  </a:lnTo>
                  <a:lnTo>
                    <a:pt x="192" y="45"/>
                  </a:lnTo>
                  <a:lnTo>
                    <a:pt x="177" y="54"/>
                  </a:lnTo>
                  <a:lnTo>
                    <a:pt x="162" y="62"/>
                  </a:lnTo>
                  <a:lnTo>
                    <a:pt x="148" y="72"/>
                  </a:lnTo>
                  <a:lnTo>
                    <a:pt x="133" y="84"/>
                  </a:lnTo>
                  <a:lnTo>
                    <a:pt x="120" y="96"/>
                  </a:lnTo>
                  <a:lnTo>
                    <a:pt x="108" y="108"/>
                  </a:lnTo>
                  <a:lnTo>
                    <a:pt x="96" y="120"/>
                  </a:lnTo>
                  <a:lnTo>
                    <a:pt x="83" y="134"/>
                  </a:lnTo>
                  <a:lnTo>
                    <a:pt x="73" y="148"/>
                  </a:lnTo>
                  <a:lnTo>
                    <a:pt x="62" y="162"/>
                  </a:lnTo>
                  <a:lnTo>
                    <a:pt x="53" y="177"/>
                  </a:lnTo>
                  <a:lnTo>
                    <a:pt x="44" y="192"/>
                  </a:lnTo>
                  <a:lnTo>
                    <a:pt x="36" y="208"/>
                  </a:lnTo>
                  <a:lnTo>
                    <a:pt x="29" y="225"/>
                  </a:lnTo>
                  <a:lnTo>
                    <a:pt x="22" y="241"/>
                  </a:lnTo>
                  <a:lnTo>
                    <a:pt x="17" y="259"/>
                  </a:lnTo>
                  <a:lnTo>
                    <a:pt x="11" y="276"/>
                  </a:lnTo>
                  <a:lnTo>
                    <a:pt x="7" y="294"/>
                  </a:lnTo>
                  <a:lnTo>
                    <a:pt x="4" y="312"/>
                  </a:lnTo>
                  <a:lnTo>
                    <a:pt x="1" y="330"/>
                  </a:lnTo>
                  <a:lnTo>
                    <a:pt x="0" y="349"/>
                  </a:lnTo>
                  <a:lnTo>
                    <a:pt x="0" y="368"/>
                  </a:lnTo>
                  <a:lnTo>
                    <a:pt x="0" y="389"/>
                  </a:lnTo>
                  <a:lnTo>
                    <a:pt x="2" y="410"/>
                  </a:lnTo>
                  <a:lnTo>
                    <a:pt x="6" y="431"/>
                  </a:lnTo>
                  <a:lnTo>
                    <a:pt x="9" y="452"/>
                  </a:lnTo>
                  <a:lnTo>
                    <a:pt x="14" y="472"/>
                  </a:lnTo>
                  <a:lnTo>
                    <a:pt x="21" y="492"/>
                  </a:lnTo>
                  <a:lnTo>
                    <a:pt x="29" y="512"/>
                  </a:lnTo>
                  <a:lnTo>
                    <a:pt x="38" y="531"/>
                  </a:lnTo>
                  <a:lnTo>
                    <a:pt x="40" y="535"/>
                  </a:lnTo>
                  <a:lnTo>
                    <a:pt x="42" y="537"/>
                  </a:lnTo>
                  <a:lnTo>
                    <a:pt x="44" y="538"/>
                  </a:lnTo>
                  <a:lnTo>
                    <a:pt x="48" y="539"/>
                  </a:lnTo>
                  <a:lnTo>
                    <a:pt x="50" y="540"/>
                  </a:lnTo>
                  <a:lnTo>
                    <a:pt x="53" y="540"/>
                  </a:lnTo>
                  <a:lnTo>
                    <a:pt x="57" y="540"/>
                  </a:lnTo>
                  <a:lnTo>
                    <a:pt x="59" y="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5" name="Group 193">
            <a:extLst>
              <a:ext uri="{FF2B5EF4-FFF2-40B4-BE49-F238E27FC236}">
                <a16:creationId xmlns:a16="http://schemas.microsoft.com/office/drawing/2014/main" id="{C5721487-A9E4-44E4-B471-51ACA3DBDEE8}"/>
              </a:ext>
            </a:extLst>
          </p:cNvPr>
          <p:cNvGrpSpPr>
            <a:grpSpLocks noChangeAspect="1"/>
          </p:cNvGrpSpPr>
          <p:nvPr/>
        </p:nvGrpSpPr>
        <p:grpSpPr>
          <a:xfrm>
            <a:off x="4022536" y="5956111"/>
            <a:ext cx="329453" cy="285619"/>
            <a:chOff x="7587897" y="1395155"/>
            <a:chExt cx="287091" cy="248894"/>
          </a:xfrm>
          <a:solidFill>
            <a:schemeClr val="bg1"/>
          </a:solidFill>
          <a:effectLst/>
        </p:grpSpPr>
        <p:sp>
          <p:nvSpPr>
            <p:cNvPr id="1436" name="Freeform 249">
              <a:extLst>
                <a:ext uri="{FF2B5EF4-FFF2-40B4-BE49-F238E27FC236}">
                  <a16:creationId xmlns:a16="http://schemas.microsoft.com/office/drawing/2014/main" id="{0B1FFA76-A0A1-4CAB-985E-151BDC3C27AE}"/>
                </a:ext>
              </a:extLst>
            </p:cNvPr>
            <p:cNvSpPr>
              <a:spLocks/>
            </p:cNvSpPr>
            <p:nvPr/>
          </p:nvSpPr>
          <p:spPr bwMode="auto">
            <a:xfrm>
              <a:off x="7635951" y="1547942"/>
              <a:ext cx="130608" cy="9857"/>
            </a:xfrm>
            <a:custGeom>
              <a:avLst/>
              <a:gdLst>
                <a:gd name="T0" fmla="*/ 408 w 423"/>
                <a:gd name="T1" fmla="*/ 0 h 31"/>
                <a:gd name="T2" fmla="*/ 16 w 423"/>
                <a:gd name="T3" fmla="*/ 0 h 31"/>
                <a:gd name="T4" fmla="*/ 12 w 423"/>
                <a:gd name="T5" fmla="*/ 0 h 31"/>
                <a:gd name="T6" fmla="*/ 10 w 423"/>
                <a:gd name="T7" fmla="*/ 1 h 31"/>
                <a:gd name="T8" fmla="*/ 7 w 423"/>
                <a:gd name="T9" fmla="*/ 3 h 31"/>
                <a:gd name="T10" fmla="*/ 5 w 423"/>
                <a:gd name="T11" fmla="*/ 5 h 31"/>
                <a:gd name="T12" fmla="*/ 3 w 423"/>
                <a:gd name="T13" fmla="*/ 7 h 31"/>
                <a:gd name="T14" fmla="*/ 1 w 423"/>
                <a:gd name="T15" fmla="*/ 10 h 31"/>
                <a:gd name="T16" fmla="*/ 1 w 423"/>
                <a:gd name="T17" fmla="*/ 13 h 31"/>
                <a:gd name="T18" fmla="*/ 0 w 423"/>
                <a:gd name="T19" fmla="*/ 16 h 31"/>
                <a:gd name="T20" fmla="*/ 1 w 423"/>
                <a:gd name="T21" fmla="*/ 19 h 31"/>
                <a:gd name="T22" fmla="*/ 1 w 423"/>
                <a:gd name="T23" fmla="*/ 23 h 31"/>
                <a:gd name="T24" fmla="*/ 3 w 423"/>
                <a:gd name="T25" fmla="*/ 25 h 31"/>
                <a:gd name="T26" fmla="*/ 5 w 423"/>
                <a:gd name="T27" fmla="*/ 27 h 31"/>
                <a:gd name="T28" fmla="*/ 7 w 423"/>
                <a:gd name="T29" fmla="*/ 29 h 31"/>
                <a:gd name="T30" fmla="*/ 10 w 423"/>
                <a:gd name="T31" fmla="*/ 30 h 31"/>
                <a:gd name="T32" fmla="*/ 12 w 423"/>
                <a:gd name="T33" fmla="*/ 31 h 31"/>
                <a:gd name="T34" fmla="*/ 16 w 423"/>
                <a:gd name="T35" fmla="*/ 31 h 31"/>
                <a:gd name="T36" fmla="*/ 408 w 423"/>
                <a:gd name="T37" fmla="*/ 31 h 31"/>
                <a:gd name="T38" fmla="*/ 411 w 423"/>
                <a:gd name="T39" fmla="*/ 31 h 31"/>
                <a:gd name="T40" fmla="*/ 415 w 423"/>
                <a:gd name="T41" fmla="*/ 30 h 31"/>
                <a:gd name="T42" fmla="*/ 417 w 423"/>
                <a:gd name="T43" fmla="*/ 29 h 31"/>
                <a:gd name="T44" fmla="*/ 419 w 423"/>
                <a:gd name="T45" fmla="*/ 27 h 31"/>
                <a:gd name="T46" fmla="*/ 421 w 423"/>
                <a:gd name="T47" fmla="*/ 25 h 31"/>
                <a:gd name="T48" fmla="*/ 422 w 423"/>
                <a:gd name="T49" fmla="*/ 23 h 31"/>
                <a:gd name="T50" fmla="*/ 423 w 423"/>
                <a:gd name="T51" fmla="*/ 19 h 31"/>
                <a:gd name="T52" fmla="*/ 423 w 423"/>
                <a:gd name="T53" fmla="*/ 16 h 31"/>
                <a:gd name="T54" fmla="*/ 423 w 423"/>
                <a:gd name="T55" fmla="*/ 13 h 31"/>
                <a:gd name="T56" fmla="*/ 422 w 423"/>
                <a:gd name="T57" fmla="*/ 10 h 31"/>
                <a:gd name="T58" fmla="*/ 421 w 423"/>
                <a:gd name="T59" fmla="*/ 7 h 31"/>
                <a:gd name="T60" fmla="*/ 419 w 423"/>
                <a:gd name="T61" fmla="*/ 5 h 31"/>
                <a:gd name="T62" fmla="*/ 417 w 423"/>
                <a:gd name="T63" fmla="*/ 3 h 31"/>
                <a:gd name="T64" fmla="*/ 415 w 423"/>
                <a:gd name="T65" fmla="*/ 1 h 31"/>
                <a:gd name="T66" fmla="*/ 411 w 423"/>
                <a:gd name="T67" fmla="*/ 0 h 31"/>
                <a:gd name="T68" fmla="*/ 408 w 423"/>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3" h="31">
                  <a:moveTo>
                    <a:pt x="408" y="0"/>
                  </a:moveTo>
                  <a:lnTo>
                    <a:pt x="16" y="0"/>
                  </a:lnTo>
                  <a:lnTo>
                    <a:pt x="12" y="0"/>
                  </a:lnTo>
                  <a:lnTo>
                    <a:pt x="10" y="1"/>
                  </a:lnTo>
                  <a:lnTo>
                    <a:pt x="7" y="3"/>
                  </a:lnTo>
                  <a:lnTo>
                    <a:pt x="5" y="5"/>
                  </a:lnTo>
                  <a:lnTo>
                    <a:pt x="3" y="7"/>
                  </a:lnTo>
                  <a:lnTo>
                    <a:pt x="1" y="10"/>
                  </a:lnTo>
                  <a:lnTo>
                    <a:pt x="1" y="13"/>
                  </a:lnTo>
                  <a:lnTo>
                    <a:pt x="0" y="16"/>
                  </a:lnTo>
                  <a:lnTo>
                    <a:pt x="1" y="19"/>
                  </a:lnTo>
                  <a:lnTo>
                    <a:pt x="1" y="23"/>
                  </a:lnTo>
                  <a:lnTo>
                    <a:pt x="3" y="25"/>
                  </a:lnTo>
                  <a:lnTo>
                    <a:pt x="5" y="27"/>
                  </a:lnTo>
                  <a:lnTo>
                    <a:pt x="7" y="29"/>
                  </a:lnTo>
                  <a:lnTo>
                    <a:pt x="10" y="30"/>
                  </a:lnTo>
                  <a:lnTo>
                    <a:pt x="12" y="31"/>
                  </a:lnTo>
                  <a:lnTo>
                    <a:pt x="16" y="31"/>
                  </a:lnTo>
                  <a:lnTo>
                    <a:pt x="408" y="31"/>
                  </a:lnTo>
                  <a:lnTo>
                    <a:pt x="411" y="31"/>
                  </a:lnTo>
                  <a:lnTo>
                    <a:pt x="415" y="30"/>
                  </a:lnTo>
                  <a:lnTo>
                    <a:pt x="417" y="29"/>
                  </a:lnTo>
                  <a:lnTo>
                    <a:pt x="419" y="27"/>
                  </a:lnTo>
                  <a:lnTo>
                    <a:pt x="421" y="25"/>
                  </a:lnTo>
                  <a:lnTo>
                    <a:pt x="422" y="23"/>
                  </a:lnTo>
                  <a:lnTo>
                    <a:pt x="423" y="19"/>
                  </a:lnTo>
                  <a:lnTo>
                    <a:pt x="423" y="16"/>
                  </a:lnTo>
                  <a:lnTo>
                    <a:pt x="423" y="13"/>
                  </a:lnTo>
                  <a:lnTo>
                    <a:pt x="422" y="10"/>
                  </a:lnTo>
                  <a:lnTo>
                    <a:pt x="421" y="7"/>
                  </a:lnTo>
                  <a:lnTo>
                    <a:pt x="419" y="5"/>
                  </a:lnTo>
                  <a:lnTo>
                    <a:pt x="417" y="3"/>
                  </a:lnTo>
                  <a:lnTo>
                    <a:pt x="415" y="1"/>
                  </a:lnTo>
                  <a:lnTo>
                    <a:pt x="411" y="0"/>
                  </a:lnTo>
                  <a:lnTo>
                    <a:pt x="4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250">
              <a:extLst>
                <a:ext uri="{FF2B5EF4-FFF2-40B4-BE49-F238E27FC236}">
                  <a16:creationId xmlns:a16="http://schemas.microsoft.com/office/drawing/2014/main" id="{CB6F646B-B41D-4958-AA71-5D134A5C35F9}"/>
                </a:ext>
              </a:extLst>
            </p:cNvPr>
            <p:cNvSpPr>
              <a:spLocks noEditPoints="1"/>
            </p:cNvSpPr>
            <p:nvPr/>
          </p:nvSpPr>
          <p:spPr bwMode="auto">
            <a:xfrm>
              <a:off x="7587897" y="1395155"/>
              <a:ext cx="105965" cy="104733"/>
            </a:xfrm>
            <a:custGeom>
              <a:avLst/>
              <a:gdLst>
                <a:gd name="T0" fmla="*/ 198 w 342"/>
                <a:gd name="T1" fmla="*/ 34 h 342"/>
                <a:gd name="T2" fmla="*/ 237 w 342"/>
                <a:gd name="T3" fmla="*/ 48 h 342"/>
                <a:gd name="T4" fmla="*/ 269 w 342"/>
                <a:gd name="T5" fmla="*/ 72 h 342"/>
                <a:gd name="T6" fmla="*/ 294 w 342"/>
                <a:gd name="T7" fmla="*/ 104 h 342"/>
                <a:gd name="T8" fmla="*/ 307 w 342"/>
                <a:gd name="T9" fmla="*/ 143 h 342"/>
                <a:gd name="T10" fmla="*/ 309 w 342"/>
                <a:gd name="T11" fmla="*/ 185 h 342"/>
                <a:gd name="T12" fmla="*/ 299 w 342"/>
                <a:gd name="T13" fmla="*/ 225 h 342"/>
                <a:gd name="T14" fmla="*/ 278 w 342"/>
                <a:gd name="T15" fmla="*/ 260 h 342"/>
                <a:gd name="T16" fmla="*/ 248 w 342"/>
                <a:gd name="T17" fmla="*/ 287 h 342"/>
                <a:gd name="T18" fmla="*/ 212 w 342"/>
                <a:gd name="T19" fmla="*/ 305 h 342"/>
                <a:gd name="T20" fmla="*/ 171 w 342"/>
                <a:gd name="T21" fmla="*/ 311 h 342"/>
                <a:gd name="T22" fmla="*/ 129 w 342"/>
                <a:gd name="T23" fmla="*/ 305 h 342"/>
                <a:gd name="T24" fmla="*/ 93 w 342"/>
                <a:gd name="T25" fmla="*/ 287 h 342"/>
                <a:gd name="T26" fmla="*/ 63 w 342"/>
                <a:gd name="T27" fmla="*/ 260 h 342"/>
                <a:gd name="T28" fmla="*/ 42 w 342"/>
                <a:gd name="T29" fmla="*/ 225 h 342"/>
                <a:gd name="T30" fmla="*/ 32 w 342"/>
                <a:gd name="T31" fmla="*/ 185 h 342"/>
                <a:gd name="T32" fmla="*/ 34 w 342"/>
                <a:gd name="T33" fmla="*/ 143 h 342"/>
                <a:gd name="T34" fmla="*/ 47 w 342"/>
                <a:gd name="T35" fmla="*/ 104 h 342"/>
                <a:gd name="T36" fmla="*/ 72 w 342"/>
                <a:gd name="T37" fmla="*/ 72 h 342"/>
                <a:gd name="T38" fmla="*/ 104 w 342"/>
                <a:gd name="T39" fmla="*/ 48 h 342"/>
                <a:gd name="T40" fmla="*/ 143 w 342"/>
                <a:gd name="T41" fmla="*/ 34 h 342"/>
                <a:gd name="T42" fmla="*/ 171 w 342"/>
                <a:gd name="T43" fmla="*/ 342 h 342"/>
                <a:gd name="T44" fmla="*/ 222 w 342"/>
                <a:gd name="T45" fmla="*/ 334 h 342"/>
                <a:gd name="T46" fmla="*/ 266 w 342"/>
                <a:gd name="T47" fmla="*/ 313 h 342"/>
                <a:gd name="T48" fmla="*/ 303 w 342"/>
                <a:gd name="T49" fmla="*/ 280 h 342"/>
                <a:gd name="T50" fmla="*/ 328 w 342"/>
                <a:gd name="T51" fmla="*/ 237 h 342"/>
                <a:gd name="T52" fmla="*/ 341 w 342"/>
                <a:gd name="T53" fmla="*/ 188 h 342"/>
                <a:gd name="T54" fmla="*/ 338 w 342"/>
                <a:gd name="T55" fmla="*/ 136 h 342"/>
                <a:gd name="T56" fmla="*/ 321 w 342"/>
                <a:gd name="T57" fmla="*/ 90 h 342"/>
                <a:gd name="T58" fmla="*/ 292 w 342"/>
                <a:gd name="T59" fmla="*/ 51 h 342"/>
                <a:gd name="T60" fmla="*/ 252 w 342"/>
                <a:gd name="T61" fmla="*/ 21 h 342"/>
                <a:gd name="T62" fmla="*/ 205 w 342"/>
                <a:gd name="T63" fmla="*/ 4 h 342"/>
                <a:gd name="T64" fmla="*/ 153 w 342"/>
                <a:gd name="T65" fmla="*/ 1 h 342"/>
                <a:gd name="T66" fmla="*/ 104 w 342"/>
                <a:gd name="T67" fmla="*/ 14 h 342"/>
                <a:gd name="T68" fmla="*/ 62 w 342"/>
                <a:gd name="T69" fmla="*/ 40 h 342"/>
                <a:gd name="T70" fmla="*/ 30 w 342"/>
                <a:gd name="T71" fmla="*/ 75 h 342"/>
                <a:gd name="T72" fmla="*/ 7 w 342"/>
                <a:gd name="T73" fmla="*/ 121 h 342"/>
                <a:gd name="T74" fmla="*/ 0 w 342"/>
                <a:gd name="T75" fmla="*/ 171 h 342"/>
                <a:gd name="T76" fmla="*/ 7 w 342"/>
                <a:gd name="T77" fmla="*/ 222 h 342"/>
                <a:gd name="T78" fmla="*/ 30 w 342"/>
                <a:gd name="T79" fmla="*/ 266 h 342"/>
                <a:gd name="T80" fmla="*/ 62 w 342"/>
                <a:gd name="T81" fmla="*/ 303 h 342"/>
                <a:gd name="T82" fmla="*/ 104 w 342"/>
                <a:gd name="T83" fmla="*/ 328 h 342"/>
                <a:gd name="T84" fmla="*/ 153 w 342"/>
                <a:gd name="T85" fmla="*/ 34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 h="342">
                  <a:moveTo>
                    <a:pt x="171" y="31"/>
                  </a:moveTo>
                  <a:lnTo>
                    <a:pt x="185" y="32"/>
                  </a:lnTo>
                  <a:lnTo>
                    <a:pt x="198" y="34"/>
                  </a:lnTo>
                  <a:lnTo>
                    <a:pt x="212" y="37"/>
                  </a:lnTo>
                  <a:lnTo>
                    <a:pt x="225" y="42"/>
                  </a:lnTo>
                  <a:lnTo>
                    <a:pt x="237" y="48"/>
                  </a:lnTo>
                  <a:lnTo>
                    <a:pt x="248" y="55"/>
                  </a:lnTo>
                  <a:lnTo>
                    <a:pt x="259" y="63"/>
                  </a:lnTo>
                  <a:lnTo>
                    <a:pt x="269" y="72"/>
                  </a:lnTo>
                  <a:lnTo>
                    <a:pt x="278" y="82"/>
                  </a:lnTo>
                  <a:lnTo>
                    <a:pt x="286" y="93"/>
                  </a:lnTo>
                  <a:lnTo>
                    <a:pt x="294" y="104"/>
                  </a:lnTo>
                  <a:lnTo>
                    <a:pt x="299" y="116"/>
                  </a:lnTo>
                  <a:lnTo>
                    <a:pt x="304" y="130"/>
                  </a:lnTo>
                  <a:lnTo>
                    <a:pt x="307" y="143"/>
                  </a:lnTo>
                  <a:lnTo>
                    <a:pt x="309" y="157"/>
                  </a:lnTo>
                  <a:lnTo>
                    <a:pt x="311" y="171"/>
                  </a:lnTo>
                  <a:lnTo>
                    <a:pt x="309" y="185"/>
                  </a:lnTo>
                  <a:lnTo>
                    <a:pt x="307" y="200"/>
                  </a:lnTo>
                  <a:lnTo>
                    <a:pt x="304" y="213"/>
                  </a:lnTo>
                  <a:lnTo>
                    <a:pt x="299" y="225"/>
                  </a:lnTo>
                  <a:lnTo>
                    <a:pt x="294" y="237"/>
                  </a:lnTo>
                  <a:lnTo>
                    <a:pt x="286" y="250"/>
                  </a:lnTo>
                  <a:lnTo>
                    <a:pt x="278" y="260"/>
                  </a:lnTo>
                  <a:lnTo>
                    <a:pt x="269" y="270"/>
                  </a:lnTo>
                  <a:lnTo>
                    <a:pt x="259" y="278"/>
                  </a:lnTo>
                  <a:lnTo>
                    <a:pt x="248" y="287"/>
                  </a:lnTo>
                  <a:lnTo>
                    <a:pt x="237" y="294"/>
                  </a:lnTo>
                  <a:lnTo>
                    <a:pt x="225" y="300"/>
                  </a:lnTo>
                  <a:lnTo>
                    <a:pt x="212" y="305"/>
                  </a:lnTo>
                  <a:lnTo>
                    <a:pt x="198" y="308"/>
                  </a:lnTo>
                  <a:lnTo>
                    <a:pt x="185" y="311"/>
                  </a:lnTo>
                  <a:lnTo>
                    <a:pt x="171" y="311"/>
                  </a:lnTo>
                  <a:lnTo>
                    <a:pt x="156" y="311"/>
                  </a:lnTo>
                  <a:lnTo>
                    <a:pt x="143" y="308"/>
                  </a:lnTo>
                  <a:lnTo>
                    <a:pt x="129" y="305"/>
                  </a:lnTo>
                  <a:lnTo>
                    <a:pt x="116" y="300"/>
                  </a:lnTo>
                  <a:lnTo>
                    <a:pt x="104" y="294"/>
                  </a:lnTo>
                  <a:lnTo>
                    <a:pt x="93" y="287"/>
                  </a:lnTo>
                  <a:lnTo>
                    <a:pt x="82" y="278"/>
                  </a:lnTo>
                  <a:lnTo>
                    <a:pt x="72" y="270"/>
                  </a:lnTo>
                  <a:lnTo>
                    <a:pt x="63" y="260"/>
                  </a:lnTo>
                  <a:lnTo>
                    <a:pt x="55" y="250"/>
                  </a:lnTo>
                  <a:lnTo>
                    <a:pt x="47" y="237"/>
                  </a:lnTo>
                  <a:lnTo>
                    <a:pt x="42" y="225"/>
                  </a:lnTo>
                  <a:lnTo>
                    <a:pt x="37" y="213"/>
                  </a:lnTo>
                  <a:lnTo>
                    <a:pt x="34" y="200"/>
                  </a:lnTo>
                  <a:lnTo>
                    <a:pt x="32" y="185"/>
                  </a:lnTo>
                  <a:lnTo>
                    <a:pt x="31" y="171"/>
                  </a:lnTo>
                  <a:lnTo>
                    <a:pt x="32" y="157"/>
                  </a:lnTo>
                  <a:lnTo>
                    <a:pt x="34" y="143"/>
                  </a:lnTo>
                  <a:lnTo>
                    <a:pt x="37" y="130"/>
                  </a:lnTo>
                  <a:lnTo>
                    <a:pt x="42" y="116"/>
                  </a:lnTo>
                  <a:lnTo>
                    <a:pt x="47" y="104"/>
                  </a:lnTo>
                  <a:lnTo>
                    <a:pt x="55" y="93"/>
                  </a:lnTo>
                  <a:lnTo>
                    <a:pt x="63" y="82"/>
                  </a:lnTo>
                  <a:lnTo>
                    <a:pt x="72" y="72"/>
                  </a:lnTo>
                  <a:lnTo>
                    <a:pt x="82" y="63"/>
                  </a:lnTo>
                  <a:lnTo>
                    <a:pt x="93" y="55"/>
                  </a:lnTo>
                  <a:lnTo>
                    <a:pt x="104" y="48"/>
                  </a:lnTo>
                  <a:lnTo>
                    <a:pt x="116" y="42"/>
                  </a:lnTo>
                  <a:lnTo>
                    <a:pt x="129" y="37"/>
                  </a:lnTo>
                  <a:lnTo>
                    <a:pt x="143" y="34"/>
                  </a:lnTo>
                  <a:lnTo>
                    <a:pt x="156" y="32"/>
                  </a:lnTo>
                  <a:lnTo>
                    <a:pt x="171" y="31"/>
                  </a:lnTo>
                  <a:close/>
                  <a:moveTo>
                    <a:pt x="171" y="342"/>
                  </a:moveTo>
                  <a:lnTo>
                    <a:pt x="188" y="341"/>
                  </a:lnTo>
                  <a:lnTo>
                    <a:pt x="205" y="338"/>
                  </a:lnTo>
                  <a:lnTo>
                    <a:pt x="222" y="334"/>
                  </a:lnTo>
                  <a:lnTo>
                    <a:pt x="237" y="328"/>
                  </a:lnTo>
                  <a:lnTo>
                    <a:pt x="252" y="322"/>
                  </a:lnTo>
                  <a:lnTo>
                    <a:pt x="266" y="313"/>
                  </a:lnTo>
                  <a:lnTo>
                    <a:pt x="279" y="303"/>
                  </a:lnTo>
                  <a:lnTo>
                    <a:pt x="292" y="292"/>
                  </a:lnTo>
                  <a:lnTo>
                    <a:pt x="303" y="280"/>
                  </a:lnTo>
                  <a:lnTo>
                    <a:pt x="313" y="266"/>
                  </a:lnTo>
                  <a:lnTo>
                    <a:pt x="321" y="253"/>
                  </a:lnTo>
                  <a:lnTo>
                    <a:pt x="328" y="237"/>
                  </a:lnTo>
                  <a:lnTo>
                    <a:pt x="334" y="222"/>
                  </a:lnTo>
                  <a:lnTo>
                    <a:pt x="338" y="205"/>
                  </a:lnTo>
                  <a:lnTo>
                    <a:pt x="341" y="188"/>
                  </a:lnTo>
                  <a:lnTo>
                    <a:pt x="342" y="171"/>
                  </a:lnTo>
                  <a:lnTo>
                    <a:pt x="341" y="154"/>
                  </a:lnTo>
                  <a:lnTo>
                    <a:pt x="338" y="136"/>
                  </a:lnTo>
                  <a:lnTo>
                    <a:pt x="334" y="121"/>
                  </a:lnTo>
                  <a:lnTo>
                    <a:pt x="328" y="104"/>
                  </a:lnTo>
                  <a:lnTo>
                    <a:pt x="321" y="90"/>
                  </a:lnTo>
                  <a:lnTo>
                    <a:pt x="313" y="75"/>
                  </a:lnTo>
                  <a:lnTo>
                    <a:pt x="303" y="62"/>
                  </a:lnTo>
                  <a:lnTo>
                    <a:pt x="292" y="51"/>
                  </a:lnTo>
                  <a:lnTo>
                    <a:pt x="279" y="40"/>
                  </a:lnTo>
                  <a:lnTo>
                    <a:pt x="266" y="30"/>
                  </a:lnTo>
                  <a:lnTo>
                    <a:pt x="252" y="21"/>
                  </a:lnTo>
                  <a:lnTo>
                    <a:pt x="237" y="14"/>
                  </a:lnTo>
                  <a:lnTo>
                    <a:pt x="222" y="7"/>
                  </a:lnTo>
                  <a:lnTo>
                    <a:pt x="205" y="4"/>
                  </a:lnTo>
                  <a:lnTo>
                    <a:pt x="188" y="1"/>
                  </a:lnTo>
                  <a:lnTo>
                    <a:pt x="171" y="0"/>
                  </a:lnTo>
                  <a:lnTo>
                    <a:pt x="153" y="1"/>
                  </a:lnTo>
                  <a:lnTo>
                    <a:pt x="136" y="4"/>
                  </a:lnTo>
                  <a:lnTo>
                    <a:pt x="119" y="7"/>
                  </a:lnTo>
                  <a:lnTo>
                    <a:pt x="104" y="14"/>
                  </a:lnTo>
                  <a:lnTo>
                    <a:pt x="90" y="21"/>
                  </a:lnTo>
                  <a:lnTo>
                    <a:pt x="75" y="30"/>
                  </a:lnTo>
                  <a:lnTo>
                    <a:pt x="62" y="40"/>
                  </a:lnTo>
                  <a:lnTo>
                    <a:pt x="50" y="51"/>
                  </a:lnTo>
                  <a:lnTo>
                    <a:pt x="38" y="63"/>
                  </a:lnTo>
                  <a:lnTo>
                    <a:pt x="30" y="75"/>
                  </a:lnTo>
                  <a:lnTo>
                    <a:pt x="21" y="90"/>
                  </a:lnTo>
                  <a:lnTo>
                    <a:pt x="13" y="104"/>
                  </a:lnTo>
                  <a:lnTo>
                    <a:pt x="7" y="121"/>
                  </a:lnTo>
                  <a:lnTo>
                    <a:pt x="3" y="136"/>
                  </a:lnTo>
                  <a:lnTo>
                    <a:pt x="1" y="154"/>
                  </a:lnTo>
                  <a:lnTo>
                    <a:pt x="0" y="171"/>
                  </a:lnTo>
                  <a:lnTo>
                    <a:pt x="1" y="188"/>
                  </a:lnTo>
                  <a:lnTo>
                    <a:pt x="3" y="205"/>
                  </a:lnTo>
                  <a:lnTo>
                    <a:pt x="7" y="222"/>
                  </a:lnTo>
                  <a:lnTo>
                    <a:pt x="13" y="237"/>
                  </a:lnTo>
                  <a:lnTo>
                    <a:pt x="21" y="253"/>
                  </a:lnTo>
                  <a:lnTo>
                    <a:pt x="30" y="266"/>
                  </a:lnTo>
                  <a:lnTo>
                    <a:pt x="38" y="280"/>
                  </a:lnTo>
                  <a:lnTo>
                    <a:pt x="50" y="292"/>
                  </a:lnTo>
                  <a:lnTo>
                    <a:pt x="62" y="303"/>
                  </a:lnTo>
                  <a:lnTo>
                    <a:pt x="75" y="313"/>
                  </a:lnTo>
                  <a:lnTo>
                    <a:pt x="90" y="322"/>
                  </a:lnTo>
                  <a:lnTo>
                    <a:pt x="104" y="328"/>
                  </a:lnTo>
                  <a:lnTo>
                    <a:pt x="119" y="334"/>
                  </a:lnTo>
                  <a:lnTo>
                    <a:pt x="136" y="338"/>
                  </a:lnTo>
                  <a:lnTo>
                    <a:pt x="153" y="341"/>
                  </a:lnTo>
                  <a:lnTo>
                    <a:pt x="171"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Freeform 251">
              <a:extLst>
                <a:ext uri="{FF2B5EF4-FFF2-40B4-BE49-F238E27FC236}">
                  <a16:creationId xmlns:a16="http://schemas.microsoft.com/office/drawing/2014/main" id="{9F10C648-FF17-4E91-BFEC-6D3B0DB5177C}"/>
                </a:ext>
              </a:extLst>
            </p:cNvPr>
            <p:cNvSpPr>
              <a:spLocks noEditPoints="1"/>
            </p:cNvSpPr>
            <p:nvPr/>
          </p:nvSpPr>
          <p:spPr bwMode="auto">
            <a:xfrm>
              <a:off x="7712344" y="1433352"/>
              <a:ext cx="67768" cy="66536"/>
            </a:xfrm>
            <a:custGeom>
              <a:avLst/>
              <a:gdLst>
                <a:gd name="T0" fmla="*/ 124 w 218"/>
                <a:gd name="T1" fmla="*/ 33 h 218"/>
                <a:gd name="T2" fmla="*/ 145 w 218"/>
                <a:gd name="T3" fmla="*/ 41 h 218"/>
                <a:gd name="T4" fmla="*/ 163 w 218"/>
                <a:gd name="T5" fmla="*/ 54 h 218"/>
                <a:gd name="T6" fmla="*/ 177 w 218"/>
                <a:gd name="T7" fmla="*/ 72 h 218"/>
                <a:gd name="T8" fmla="*/ 184 w 218"/>
                <a:gd name="T9" fmla="*/ 93 h 218"/>
                <a:gd name="T10" fmla="*/ 185 w 218"/>
                <a:gd name="T11" fmla="*/ 117 h 218"/>
                <a:gd name="T12" fmla="*/ 180 w 218"/>
                <a:gd name="T13" fmla="*/ 139 h 218"/>
                <a:gd name="T14" fmla="*/ 169 w 218"/>
                <a:gd name="T15" fmla="*/ 159 h 218"/>
                <a:gd name="T16" fmla="*/ 152 w 218"/>
                <a:gd name="T17" fmla="*/ 173 h 218"/>
                <a:gd name="T18" fmla="*/ 132 w 218"/>
                <a:gd name="T19" fmla="*/ 183 h 218"/>
                <a:gd name="T20" fmla="*/ 109 w 218"/>
                <a:gd name="T21" fmla="*/ 187 h 218"/>
                <a:gd name="T22" fmla="*/ 85 w 218"/>
                <a:gd name="T23" fmla="*/ 183 h 218"/>
                <a:gd name="T24" fmla="*/ 65 w 218"/>
                <a:gd name="T25" fmla="*/ 173 h 218"/>
                <a:gd name="T26" fmla="*/ 49 w 218"/>
                <a:gd name="T27" fmla="*/ 159 h 218"/>
                <a:gd name="T28" fmla="*/ 37 w 218"/>
                <a:gd name="T29" fmla="*/ 139 h 218"/>
                <a:gd name="T30" fmla="*/ 31 w 218"/>
                <a:gd name="T31" fmla="*/ 117 h 218"/>
                <a:gd name="T32" fmla="*/ 32 w 218"/>
                <a:gd name="T33" fmla="*/ 93 h 218"/>
                <a:gd name="T34" fmla="*/ 40 w 218"/>
                <a:gd name="T35" fmla="*/ 72 h 218"/>
                <a:gd name="T36" fmla="*/ 53 w 218"/>
                <a:gd name="T37" fmla="*/ 54 h 218"/>
                <a:gd name="T38" fmla="*/ 72 w 218"/>
                <a:gd name="T39" fmla="*/ 41 h 218"/>
                <a:gd name="T40" fmla="*/ 93 w 218"/>
                <a:gd name="T41" fmla="*/ 33 h 218"/>
                <a:gd name="T42" fmla="*/ 109 w 218"/>
                <a:gd name="T43" fmla="*/ 218 h 218"/>
                <a:gd name="T44" fmla="*/ 141 w 218"/>
                <a:gd name="T45" fmla="*/ 213 h 218"/>
                <a:gd name="T46" fmla="*/ 170 w 218"/>
                <a:gd name="T47" fmla="*/ 199 h 218"/>
                <a:gd name="T48" fmla="*/ 192 w 218"/>
                <a:gd name="T49" fmla="*/ 179 h 218"/>
                <a:gd name="T50" fmla="*/ 209 w 218"/>
                <a:gd name="T51" fmla="*/ 151 h 218"/>
                <a:gd name="T52" fmla="*/ 217 w 218"/>
                <a:gd name="T53" fmla="*/ 120 h 218"/>
                <a:gd name="T54" fmla="*/ 215 w 218"/>
                <a:gd name="T55" fmla="*/ 88 h 218"/>
                <a:gd name="T56" fmla="*/ 204 w 218"/>
                <a:gd name="T57" fmla="*/ 58 h 218"/>
                <a:gd name="T58" fmla="*/ 185 w 218"/>
                <a:gd name="T59" fmla="*/ 32 h 218"/>
                <a:gd name="T60" fmla="*/ 160 w 218"/>
                <a:gd name="T61" fmla="*/ 13 h 218"/>
                <a:gd name="T62" fmla="*/ 131 w 218"/>
                <a:gd name="T63" fmla="*/ 2 h 218"/>
                <a:gd name="T64" fmla="*/ 98 w 218"/>
                <a:gd name="T65" fmla="*/ 1 h 218"/>
                <a:gd name="T66" fmla="*/ 67 w 218"/>
                <a:gd name="T67" fmla="*/ 9 h 218"/>
                <a:gd name="T68" fmla="*/ 40 w 218"/>
                <a:gd name="T69" fmla="*/ 26 h 218"/>
                <a:gd name="T70" fmla="*/ 19 w 218"/>
                <a:gd name="T71" fmla="*/ 49 h 218"/>
                <a:gd name="T72" fmla="*/ 4 w 218"/>
                <a:gd name="T73" fmla="*/ 77 h 218"/>
                <a:gd name="T74" fmla="*/ 0 w 218"/>
                <a:gd name="T75" fmla="*/ 109 h 218"/>
                <a:gd name="T76" fmla="*/ 4 w 218"/>
                <a:gd name="T77" fmla="*/ 141 h 218"/>
                <a:gd name="T78" fmla="*/ 19 w 218"/>
                <a:gd name="T79" fmla="*/ 170 h 218"/>
                <a:gd name="T80" fmla="*/ 40 w 218"/>
                <a:gd name="T81" fmla="*/ 193 h 218"/>
                <a:gd name="T82" fmla="*/ 67 w 218"/>
                <a:gd name="T83" fmla="*/ 210 h 218"/>
                <a:gd name="T84" fmla="*/ 98 w 218"/>
                <a:gd name="T8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218">
                  <a:moveTo>
                    <a:pt x="109" y="31"/>
                  </a:moveTo>
                  <a:lnTo>
                    <a:pt x="117" y="32"/>
                  </a:lnTo>
                  <a:lnTo>
                    <a:pt x="124" y="33"/>
                  </a:lnTo>
                  <a:lnTo>
                    <a:pt x="132" y="34"/>
                  </a:lnTo>
                  <a:lnTo>
                    <a:pt x="139" y="38"/>
                  </a:lnTo>
                  <a:lnTo>
                    <a:pt x="145" y="41"/>
                  </a:lnTo>
                  <a:lnTo>
                    <a:pt x="152" y="44"/>
                  </a:lnTo>
                  <a:lnTo>
                    <a:pt x="158" y="49"/>
                  </a:lnTo>
                  <a:lnTo>
                    <a:pt x="163" y="54"/>
                  </a:lnTo>
                  <a:lnTo>
                    <a:pt x="169" y="60"/>
                  </a:lnTo>
                  <a:lnTo>
                    <a:pt x="173" y="66"/>
                  </a:lnTo>
                  <a:lnTo>
                    <a:pt x="177" y="72"/>
                  </a:lnTo>
                  <a:lnTo>
                    <a:pt x="180" y="79"/>
                  </a:lnTo>
                  <a:lnTo>
                    <a:pt x="183" y="87"/>
                  </a:lnTo>
                  <a:lnTo>
                    <a:pt x="184" y="93"/>
                  </a:lnTo>
                  <a:lnTo>
                    <a:pt x="185" y="101"/>
                  </a:lnTo>
                  <a:lnTo>
                    <a:pt x="187" y="109"/>
                  </a:lnTo>
                  <a:lnTo>
                    <a:pt x="185" y="117"/>
                  </a:lnTo>
                  <a:lnTo>
                    <a:pt x="184" y="124"/>
                  </a:lnTo>
                  <a:lnTo>
                    <a:pt x="183" y="132"/>
                  </a:lnTo>
                  <a:lnTo>
                    <a:pt x="180" y="139"/>
                  </a:lnTo>
                  <a:lnTo>
                    <a:pt x="177" y="147"/>
                  </a:lnTo>
                  <a:lnTo>
                    <a:pt x="173" y="152"/>
                  </a:lnTo>
                  <a:lnTo>
                    <a:pt x="169" y="159"/>
                  </a:lnTo>
                  <a:lnTo>
                    <a:pt x="163" y="164"/>
                  </a:lnTo>
                  <a:lnTo>
                    <a:pt x="158" y="169"/>
                  </a:lnTo>
                  <a:lnTo>
                    <a:pt x="152" y="173"/>
                  </a:lnTo>
                  <a:lnTo>
                    <a:pt x="145" y="178"/>
                  </a:lnTo>
                  <a:lnTo>
                    <a:pt x="139" y="181"/>
                  </a:lnTo>
                  <a:lnTo>
                    <a:pt x="132" y="183"/>
                  </a:lnTo>
                  <a:lnTo>
                    <a:pt x="124" y="186"/>
                  </a:lnTo>
                  <a:lnTo>
                    <a:pt x="117" y="187"/>
                  </a:lnTo>
                  <a:lnTo>
                    <a:pt x="109" y="187"/>
                  </a:lnTo>
                  <a:lnTo>
                    <a:pt x="101" y="187"/>
                  </a:lnTo>
                  <a:lnTo>
                    <a:pt x="93" y="186"/>
                  </a:lnTo>
                  <a:lnTo>
                    <a:pt x="85" y="183"/>
                  </a:lnTo>
                  <a:lnTo>
                    <a:pt x="79" y="181"/>
                  </a:lnTo>
                  <a:lnTo>
                    <a:pt x="72" y="178"/>
                  </a:lnTo>
                  <a:lnTo>
                    <a:pt x="65" y="173"/>
                  </a:lnTo>
                  <a:lnTo>
                    <a:pt x="59" y="169"/>
                  </a:lnTo>
                  <a:lnTo>
                    <a:pt x="53" y="164"/>
                  </a:lnTo>
                  <a:lnTo>
                    <a:pt x="49" y="159"/>
                  </a:lnTo>
                  <a:lnTo>
                    <a:pt x="44" y="152"/>
                  </a:lnTo>
                  <a:lnTo>
                    <a:pt x="40" y="147"/>
                  </a:lnTo>
                  <a:lnTo>
                    <a:pt x="37" y="139"/>
                  </a:lnTo>
                  <a:lnTo>
                    <a:pt x="34" y="132"/>
                  </a:lnTo>
                  <a:lnTo>
                    <a:pt x="32" y="124"/>
                  </a:lnTo>
                  <a:lnTo>
                    <a:pt x="31" y="117"/>
                  </a:lnTo>
                  <a:lnTo>
                    <a:pt x="31" y="109"/>
                  </a:lnTo>
                  <a:lnTo>
                    <a:pt x="31" y="101"/>
                  </a:lnTo>
                  <a:lnTo>
                    <a:pt x="32" y="93"/>
                  </a:lnTo>
                  <a:lnTo>
                    <a:pt x="34" y="87"/>
                  </a:lnTo>
                  <a:lnTo>
                    <a:pt x="37" y="79"/>
                  </a:lnTo>
                  <a:lnTo>
                    <a:pt x="40" y="72"/>
                  </a:lnTo>
                  <a:lnTo>
                    <a:pt x="44" y="66"/>
                  </a:lnTo>
                  <a:lnTo>
                    <a:pt x="49" y="60"/>
                  </a:lnTo>
                  <a:lnTo>
                    <a:pt x="53" y="54"/>
                  </a:lnTo>
                  <a:lnTo>
                    <a:pt x="59" y="49"/>
                  </a:lnTo>
                  <a:lnTo>
                    <a:pt x="65" y="44"/>
                  </a:lnTo>
                  <a:lnTo>
                    <a:pt x="72" y="41"/>
                  </a:lnTo>
                  <a:lnTo>
                    <a:pt x="79" y="38"/>
                  </a:lnTo>
                  <a:lnTo>
                    <a:pt x="85" y="34"/>
                  </a:lnTo>
                  <a:lnTo>
                    <a:pt x="93" y="33"/>
                  </a:lnTo>
                  <a:lnTo>
                    <a:pt x="101" y="32"/>
                  </a:lnTo>
                  <a:lnTo>
                    <a:pt x="109" y="31"/>
                  </a:lnTo>
                  <a:close/>
                  <a:moveTo>
                    <a:pt x="109" y="218"/>
                  </a:moveTo>
                  <a:lnTo>
                    <a:pt x="120" y="218"/>
                  </a:lnTo>
                  <a:lnTo>
                    <a:pt x="131" y="216"/>
                  </a:lnTo>
                  <a:lnTo>
                    <a:pt x="141" y="213"/>
                  </a:lnTo>
                  <a:lnTo>
                    <a:pt x="151" y="210"/>
                  </a:lnTo>
                  <a:lnTo>
                    <a:pt x="160" y="204"/>
                  </a:lnTo>
                  <a:lnTo>
                    <a:pt x="170" y="199"/>
                  </a:lnTo>
                  <a:lnTo>
                    <a:pt x="178" y="193"/>
                  </a:lnTo>
                  <a:lnTo>
                    <a:pt x="185" y="187"/>
                  </a:lnTo>
                  <a:lnTo>
                    <a:pt x="192" y="179"/>
                  </a:lnTo>
                  <a:lnTo>
                    <a:pt x="199" y="170"/>
                  </a:lnTo>
                  <a:lnTo>
                    <a:pt x="204" y="161"/>
                  </a:lnTo>
                  <a:lnTo>
                    <a:pt x="209" y="151"/>
                  </a:lnTo>
                  <a:lnTo>
                    <a:pt x="212" y="141"/>
                  </a:lnTo>
                  <a:lnTo>
                    <a:pt x="215" y="131"/>
                  </a:lnTo>
                  <a:lnTo>
                    <a:pt x="217" y="120"/>
                  </a:lnTo>
                  <a:lnTo>
                    <a:pt x="218" y="109"/>
                  </a:lnTo>
                  <a:lnTo>
                    <a:pt x="217" y="98"/>
                  </a:lnTo>
                  <a:lnTo>
                    <a:pt x="215" y="88"/>
                  </a:lnTo>
                  <a:lnTo>
                    <a:pt x="212" y="77"/>
                  </a:lnTo>
                  <a:lnTo>
                    <a:pt x="209" y="67"/>
                  </a:lnTo>
                  <a:lnTo>
                    <a:pt x="204" y="58"/>
                  </a:lnTo>
                  <a:lnTo>
                    <a:pt x="199" y="49"/>
                  </a:lnTo>
                  <a:lnTo>
                    <a:pt x="192" y="40"/>
                  </a:lnTo>
                  <a:lnTo>
                    <a:pt x="185" y="32"/>
                  </a:lnTo>
                  <a:lnTo>
                    <a:pt x="178" y="26"/>
                  </a:lnTo>
                  <a:lnTo>
                    <a:pt x="170" y="19"/>
                  </a:lnTo>
                  <a:lnTo>
                    <a:pt x="160" y="13"/>
                  </a:lnTo>
                  <a:lnTo>
                    <a:pt x="151" y="9"/>
                  </a:lnTo>
                  <a:lnTo>
                    <a:pt x="141" y="6"/>
                  </a:lnTo>
                  <a:lnTo>
                    <a:pt x="131" y="2"/>
                  </a:lnTo>
                  <a:lnTo>
                    <a:pt x="120" y="1"/>
                  </a:lnTo>
                  <a:lnTo>
                    <a:pt x="109" y="0"/>
                  </a:lnTo>
                  <a:lnTo>
                    <a:pt x="98" y="1"/>
                  </a:lnTo>
                  <a:lnTo>
                    <a:pt x="87" y="2"/>
                  </a:lnTo>
                  <a:lnTo>
                    <a:pt x="77" y="6"/>
                  </a:lnTo>
                  <a:lnTo>
                    <a:pt x="67" y="9"/>
                  </a:lnTo>
                  <a:lnTo>
                    <a:pt x="57" y="13"/>
                  </a:lnTo>
                  <a:lnTo>
                    <a:pt x="48" y="19"/>
                  </a:lnTo>
                  <a:lnTo>
                    <a:pt x="40" y="26"/>
                  </a:lnTo>
                  <a:lnTo>
                    <a:pt x="32" y="32"/>
                  </a:lnTo>
                  <a:lnTo>
                    <a:pt x="24" y="40"/>
                  </a:lnTo>
                  <a:lnTo>
                    <a:pt x="19" y="49"/>
                  </a:lnTo>
                  <a:lnTo>
                    <a:pt x="13" y="58"/>
                  </a:lnTo>
                  <a:lnTo>
                    <a:pt x="9" y="67"/>
                  </a:lnTo>
                  <a:lnTo>
                    <a:pt x="4" y="77"/>
                  </a:lnTo>
                  <a:lnTo>
                    <a:pt x="2" y="88"/>
                  </a:lnTo>
                  <a:lnTo>
                    <a:pt x="0" y="98"/>
                  </a:lnTo>
                  <a:lnTo>
                    <a:pt x="0" y="109"/>
                  </a:lnTo>
                  <a:lnTo>
                    <a:pt x="0" y="120"/>
                  </a:lnTo>
                  <a:lnTo>
                    <a:pt x="2" y="131"/>
                  </a:lnTo>
                  <a:lnTo>
                    <a:pt x="4" y="141"/>
                  </a:lnTo>
                  <a:lnTo>
                    <a:pt x="9" y="151"/>
                  </a:lnTo>
                  <a:lnTo>
                    <a:pt x="13" y="161"/>
                  </a:lnTo>
                  <a:lnTo>
                    <a:pt x="19" y="170"/>
                  </a:lnTo>
                  <a:lnTo>
                    <a:pt x="24" y="179"/>
                  </a:lnTo>
                  <a:lnTo>
                    <a:pt x="32" y="187"/>
                  </a:lnTo>
                  <a:lnTo>
                    <a:pt x="40" y="193"/>
                  </a:lnTo>
                  <a:lnTo>
                    <a:pt x="48" y="199"/>
                  </a:lnTo>
                  <a:lnTo>
                    <a:pt x="57" y="204"/>
                  </a:lnTo>
                  <a:lnTo>
                    <a:pt x="67" y="210"/>
                  </a:lnTo>
                  <a:lnTo>
                    <a:pt x="77" y="213"/>
                  </a:lnTo>
                  <a:lnTo>
                    <a:pt x="87" y="216"/>
                  </a:lnTo>
                  <a:lnTo>
                    <a:pt x="98" y="218"/>
                  </a:lnTo>
                  <a:lnTo>
                    <a:pt x="109"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252">
              <a:extLst>
                <a:ext uri="{FF2B5EF4-FFF2-40B4-BE49-F238E27FC236}">
                  <a16:creationId xmlns:a16="http://schemas.microsoft.com/office/drawing/2014/main" id="{0F6930AC-D82B-4864-B3F1-03578F235D46}"/>
                </a:ext>
              </a:extLst>
            </p:cNvPr>
            <p:cNvSpPr>
              <a:spLocks noEditPoints="1"/>
            </p:cNvSpPr>
            <p:nvPr/>
          </p:nvSpPr>
          <p:spPr bwMode="auto">
            <a:xfrm>
              <a:off x="7597754" y="1509745"/>
              <a:ext cx="277234" cy="134304"/>
            </a:xfrm>
            <a:custGeom>
              <a:avLst/>
              <a:gdLst>
                <a:gd name="T0" fmla="*/ 870 w 902"/>
                <a:gd name="T1" fmla="*/ 353 h 435"/>
                <a:gd name="T2" fmla="*/ 866 w 902"/>
                <a:gd name="T3" fmla="*/ 355 h 435"/>
                <a:gd name="T4" fmla="*/ 653 w 902"/>
                <a:gd name="T5" fmla="*/ 267 h 435"/>
                <a:gd name="T6" fmla="*/ 863 w 902"/>
                <a:gd name="T7" fmla="*/ 93 h 435"/>
                <a:gd name="T8" fmla="*/ 868 w 902"/>
                <a:gd name="T9" fmla="*/ 92 h 435"/>
                <a:gd name="T10" fmla="*/ 871 w 902"/>
                <a:gd name="T11" fmla="*/ 98 h 435"/>
                <a:gd name="T12" fmla="*/ 606 w 902"/>
                <a:gd name="T13" fmla="*/ 404 h 435"/>
                <a:gd name="T14" fmla="*/ 43 w 902"/>
                <a:gd name="T15" fmla="*/ 404 h 435"/>
                <a:gd name="T16" fmla="*/ 37 w 902"/>
                <a:gd name="T17" fmla="*/ 401 h 435"/>
                <a:gd name="T18" fmla="*/ 34 w 902"/>
                <a:gd name="T19" fmla="*/ 398 h 435"/>
                <a:gd name="T20" fmla="*/ 31 w 902"/>
                <a:gd name="T21" fmla="*/ 392 h 435"/>
                <a:gd name="T22" fmla="*/ 31 w 902"/>
                <a:gd name="T23" fmla="*/ 47 h 435"/>
                <a:gd name="T24" fmla="*/ 32 w 902"/>
                <a:gd name="T25" fmla="*/ 41 h 435"/>
                <a:gd name="T26" fmla="*/ 35 w 902"/>
                <a:gd name="T27" fmla="*/ 35 h 435"/>
                <a:gd name="T28" fmla="*/ 41 w 902"/>
                <a:gd name="T29" fmla="*/ 32 h 435"/>
                <a:gd name="T30" fmla="*/ 46 w 902"/>
                <a:gd name="T31" fmla="*/ 31 h 435"/>
                <a:gd name="T32" fmla="*/ 610 w 902"/>
                <a:gd name="T33" fmla="*/ 31 h 435"/>
                <a:gd name="T34" fmla="*/ 615 w 902"/>
                <a:gd name="T35" fmla="*/ 34 h 435"/>
                <a:gd name="T36" fmla="*/ 618 w 902"/>
                <a:gd name="T37" fmla="*/ 38 h 435"/>
                <a:gd name="T38" fmla="*/ 621 w 902"/>
                <a:gd name="T39" fmla="*/ 43 h 435"/>
                <a:gd name="T40" fmla="*/ 622 w 902"/>
                <a:gd name="T41" fmla="*/ 171 h 435"/>
                <a:gd name="T42" fmla="*/ 622 w 902"/>
                <a:gd name="T43" fmla="*/ 171 h 435"/>
                <a:gd name="T44" fmla="*/ 622 w 902"/>
                <a:gd name="T45" fmla="*/ 277 h 435"/>
                <a:gd name="T46" fmla="*/ 621 w 902"/>
                <a:gd name="T47" fmla="*/ 392 h 435"/>
                <a:gd name="T48" fmla="*/ 618 w 902"/>
                <a:gd name="T49" fmla="*/ 398 h 435"/>
                <a:gd name="T50" fmla="*/ 615 w 902"/>
                <a:gd name="T51" fmla="*/ 401 h 435"/>
                <a:gd name="T52" fmla="*/ 610 w 902"/>
                <a:gd name="T53" fmla="*/ 404 h 435"/>
                <a:gd name="T54" fmla="*/ 886 w 902"/>
                <a:gd name="T55" fmla="*/ 67 h 435"/>
                <a:gd name="T56" fmla="*/ 878 w 902"/>
                <a:gd name="T57" fmla="*/ 63 h 435"/>
                <a:gd name="T58" fmla="*/ 870 w 902"/>
                <a:gd name="T59" fmla="*/ 61 h 435"/>
                <a:gd name="T60" fmla="*/ 851 w 902"/>
                <a:gd name="T61" fmla="*/ 64 h 435"/>
                <a:gd name="T62" fmla="*/ 653 w 902"/>
                <a:gd name="T63" fmla="*/ 47 h 435"/>
                <a:gd name="T64" fmla="*/ 648 w 902"/>
                <a:gd name="T65" fmla="*/ 29 h 435"/>
                <a:gd name="T66" fmla="*/ 638 w 902"/>
                <a:gd name="T67" fmla="*/ 13 h 435"/>
                <a:gd name="T68" fmla="*/ 624 w 902"/>
                <a:gd name="T69" fmla="*/ 3 h 435"/>
                <a:gd name="T70" fmla="*/ 606 w 902"/>
                <a:gd name="T71" fmla="*/ 0 h 435"/>
                <a:gd name="T72" fmla="*/ 37 w 902"/>
                <a:gd name="T73" fmla="*/ 1 h 435"/>
                <a:gd name="T74" fmla="*/ 21 w 902"/>
                <a:gd name="T75" fmla="*/ 8 h 435"/>
                <a:gd name="T76" fmla="*/ 7 w 902"/>
                <a:gd name="T77" fmla="*/ 21 h 435"/>
                <a:gd name="T78" fmla="*/ 1 w 902"/>
                <a:gd name="T79" fmla="*/ 38 h 435"/>
                <a:gd name="T80" fmla="*/ 0 w 902"/>
                <a:gd name="T81" fmla="*/ 389 h 435"/>
                <a:gd name="T82" fmla="*/ 3 w 902"/>
                <a:gd name="T83" fmla="*/ 407 h 435"/>
                <a:gd name="T84" fmla="*/ 14 w 902"/>
                <a:gd name="T85" fmla="*/ 422 h 435"/>
                <a:gd name="T86" fmla="*/ 29 w 902"/>
                <a:gd name="T87" fmla="*/ 432 h 435"/>
                <a:gd name="T88" fmla="*/ 46 w 902"/>
                <a:gd name="T89" fmla="*/ 435 h 435"/>
                <a:gd name="T90" fmla="*/ 615 w 902"/>
                <a:gd name="T91" fmla="*/ 434 h 435"/>
                <a:gd name="T92" fmla="*/ 632 w 902"/>
                <a:gd name="T93" fmla="*/ 428 h 435"/>
                <a:gd name="T94" fmla="*/ 645 w 902"/>
                <a:gd name="T95" fmla="*/ 414 h 435"/>
                <a:gd name="T96" fmla="*/ 652 w 902"/>
                <a:gd name="T97" fmla="*/ 398 h 435"/>
                <a:gd name="T98" fmla="*/ 653 w 902"/>
                <a:gd name="T99" fmla="*/ 300 h 435"/>
                <a:gd name="T100" fmla="*/ 860 w 902"/>
                <a:gd name="T101" fmla="*/ 385 h 435"/>
                <a:gd name="T102" fmla="*/ 872 w 902"/>
                <a:gd name="T103" fmla="*/ 385 h 435"/>
                <a:gd name="T104" fmla="*/ 882 w 902"/>
                <a:gd name="T105" fmla="*/ 383 h 435"/>
                <a:gd name="T106" fmla="*/ 890 w 902"/>
                <a:gd name="T107" fmla="*/ 378 h 435"/>
                <a:gd name="T108" fmla="*/ 895 w 902"/>
                <a:gd name="T109" fmla="*/ 372 h 435"/>
                <a:gd name="T110" fmla="*/ 901 w 902"/>
                <a:gd name="T111" fmla="*/ 359 h 435"/>
                <a:gd name="T112" fmla="*/ 902 w 902"/>
                <a:gd name="T113" fmla="*/ 98 h 435"/>
                <a:gd name="T114" fmla="*/ 897 w 902"/>
                <a:gd name="T115" fmla="*/ 80 h 435"/>
                <a:gd name="T116" fmla="*/ 893 w 902"/>
                <a:gd name="T117" fmla="*/ 72 h 435"/>
                <a:gd name="T118" fmla="*/ 886 w 902"/>
                <a:gd name="T119" fmla="*/ 67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435">
                  <a:moveTo>
                    <a:pt x="871" y="350"/>
                  </a:moveTo>
                  <a:lnTo>
                    <a:pt x="870" y="353"/>
                  </a:lnTo>
                  <a:lnTo>
                    <a:pt x="868" y="355"/>
                  </a:lnTo>
                  <a:lnTo>
                    <a:pt x="866" y="355"/>
                  </a:lnTo>
                  <a:lnTo>
                    <a:pt x="863" y="354"/>
                  </a:lnTo>
                  <a:lnTo>
                    <a:pt x="653" y="267"/>
                  </a:lnTo>
                  <a:lnTo>
                    <a:pt x="653" y="181"/>
                  </a:lnTo>
                  <a:lnTo>
                    <a:pt x="863" y="93"/>
                  </a:lnTo>
                  <a:lnTo>
                    <a:pt x="866" y="92"/>
                  </a:lnTo>
                  <a:lnTo>
                    <a:pt x="868" y="92"/>
                  </a:lnTo>
                  <a:lnTo>
                    <a:pt x="870" y="94"/>
                  </a:lnTo>
                  <a:lnTo>
                    <a:pt x="871" y="98"/>
                  </a:lnTo>
                  <a:lnTo>
                    <a:pt x="871" y="350"/>
                  </a:lnTo>
                  <a:close/>
                  <a:moveTo>
                    <a:pt x="606" y="404"/>
                  </a:moveTo>
                  <a:lnTo>
                    <a:pt x="46" y="404"/>
                  </a:lnTo>
                  <a:lnTo>
                    <a:pt x="43" y="404"/>
                  </a:lnTo>
                  <a:lnTo>
                    <a:pt x="41" y="403"/>
                  </a:lnTo>
                  <a:lnTo>
                    <a:pt x="37" y="401"/>
                  </a:lnTo>
                  <a:lnTo>
                    <a:pt x="35" y="400"/>
                  </a:lnTo>
                  <a:lnTo>
                    <a:pt x="34" y="398"/>
                  </a:lnTo>
                  <a:lnTo>
                    <a:pt x="32" y="394"/>
                  </a:lnTo>
                  <a:lnTo>
                    <a:pt x="31" y="392"/>
                  </a:lnTo>
                  <a:lnTo>
                    <a:pt x="31" y="389"/>
                  </a:lnTo>
                  <a:lnTo>
                    <a:pt x="31" y="47"/>
                  </a:lnTo>
                  <a:lnTo>
                    <a:pt x="31" y="43"/>
                  </a:lnTo>
                  <a:lnTo>
                    <a:pt x="32" y="41"/>
                  </a:lnTo>
                  <a:lnTo>
                    <a:pt x="34" y="38"/>
                  </a:lnTo>
                  <a:lnTo>
                    <a:pt x="35" y="35"/>
                  </a:lnTo>
                  <a:lnTo>
                    <a:pt x="37" y="34"/>
                  </a:lnTo>
                  <a:lnTo>
                    <a:pt x="41" y="32"/>
                  </a:lnTo>
                  <a:lnTo>
                    <a:pt x="43" y="31"/>
                  </a:lnTo>
                  <a:lnTo>
                    <a:pt x="46" y="31"/>
                  </a:lnTo>
                  <a:lnTo>
                    <a:pt x="606" y="31"/>
                  </a:lnTo>
                  <a:lnTo>
                    <a:pt x="610" y="31"/>
                  </a:lnTo>
                  <a:lnTo>
                    <a:pt x="612" y="32"/>
                  </a:lnTo>
                  <a:lnTo>
                    <a:pt x="615" y="34"/>
                  </a:lnTo>
                  <a:lnTo>
                    <a:pt x="617" y="35"/>
                  </a:lnTo>
                  <a:lnTo>
                    <a:pt x="618" y="38"/>
                  </a:lnTo>
                  <a:lnTo>
                    <a:pt x="621" y="41"/>
                  </a:lnTo>
                  <a:lnTo>
                    <a:pt x="621" y="43"/>
                  </a:lnTo>
                  <a:lnTo>
                    <a:pt x="622" y="47"/>
                  </a:lnTo>
                  <a:lnTo>
                    <a:pt x="622" y="171"/>
                  </a:lnTo>
                  <a:lnTo>
                    <a:pt x="622" y="171"/>
                  </a:lnTo>
                  <a:lnTo>
                    <a:pt x="622" y="171"/>
                  </a:lnTo>
                  <a:lnTo>
                    <a:pt x="622" y="277"/>
                  </a:lnTo>
                  <a:lnTo>
                    <a:pt x="622" y="277"/>
                  </a:lnTo>
                  <a:lnTo>
                    <a:pt x="622" y="389"/>
                  </a:lnTo>
                  <a:lnTo>
                    <a:pt x="621" y="392"/>
                  </a:lnTo>
                  <a:lnTo>
                    <a:pt x="621" y="394"/>
                  </a:lnTo>
                  <a:lnTo>
                    <a:pt x="618" y="398"/>
                  </a:lnTo>
                  <a:lnTo>
                    <a:pt x="617" y="400"/>
                  </a:lnTo>
                  <a:lnTo>
                    <a:pt x="615" y="401"/>
                  </a:lnTo>
                  <a:lnTo>
                    <a:pt x="612" y="403"/>
                  </a:lnTo>
                  <a:lnTo>
                    <a:pt x="610" y="404"/>
                  </a:lnTo>
                  <a:lnTo>
                    <a:pt x="606" y="404"/>
                  </a:lnTo>
                  <a:close/>
                  <a:moveTo>
                    <a:pt x="886" y="67"/>
                  </a:moveTo>
                  <a:lnTo>
                    <a:pt x="882" y="64"/>
                  </a:lnTo>
                  <a:lnTo>
                    <a:pt x="878" y="63"/>
                  </a:lnTo>
                  <a:lnTo>
                    <a:pt x="874" y="62"/>
                  </a:lnTo>
                  <a:lnTo>
                    <a:pt x="870" y="61"/>
                  </a:lnTo>
                  <a:lnTo>
                    <a:pt x="861" y="62"/>
                  </a:lnTo>
                  <a:lnTo>
                    <a:pt x="851" y="64"/>
                  </a:lnTo>
                  <a:lnTo>
                    <a:pt x="653" y="148"/>
                  </a:lnTo>
                  <a:lnTo>
                    <a:pt x="653" y="47"/>
                  </a:lnTo>
                  <a:lnTo>
                    <a:pt x="652" y="38"/>
                  </a:lnTo>
                  <a:lnTo>
                    <a:pt x="648" y="29"/>
                  </a:lnTo>
                  <a:lnTo>
                    <a:pt x="645" y="21"/>
                  </a:lnTo>
                  <a:lnTo>
                    <a:pt x="638" y="13"/>
                  </a:lnTo>
                  <a:lnTo>
                    <a:pt x="632" y="8"/>
                  </a:lnTo>
                  <a:lnTo>
                    <a:pt x="624" y="3"/>
                  </a:lnTo>
                  <a:lnTo>
                    <a:pt x="615" y="1"/>
                  </a:lnTo>
                  <a:lnTo>
                    <a:pt x="606" y="0"/>
                  </a:lnTo>
                  <a:lnTo>
                    <a:pt x="46" y="0"/>
                  </a:lnTo>
                  <a:lnTo>
                    <a:pt x="37" y="1"/>
                  </a:lnTo>
                  <a:lnTo>
                    <a:pt x="29" y="3"/>
                  </a:lnTo>
                  <a:lnTo>
                    <a:pt x="21" y="8"/>
                  </a:lnTo>
                  <a:lnTo>
                    <a:pt x="14" y="13"/>
                  </a:lnTo>
                  <a:lnTo>
                    <a:pt x="7" y="21"/>
                  </a:lnTo>
                  <a:lnTo>
                    <a:pt x="3" y="29"/>
                  </a:lnTo>
                  <a:lnTo>
                    <a:pt x="1" y="38"/>
                  </a:lnTo>
                  <a:lnTo>
                    <a:pt x="0" y="47"/>
                  </a:lnTo>
                  <a:lnTo>
                    <a:pt x="0" y="389"/>
                  </a:lnTo>
                  <a:lnTo>
                    <a:pt x="1" y="398"/>
                  </a:lnTo>
                  <a:lnTo>
                    <a:pt x="3" y="407"/>
                  </a:lnTo>
                  <a:lnTo>
                    <a:pt x="7" y="414"/>
                  </a:lnTo>
                  <a:lnTo>
                    <a:pt x="14" y="422"/>
                  </a:lnTo>
                  <a:lnTo>
                    <a:pt x="21" y="428"/>
                  </a:lnTo>
                  <a:lnTo>
                    <a:pt x="29" y="432"/>
                  </a:lnTo>
                  <a:lnTo>
                    <a:pt x="37" y="434"/>
                  </a:lnTo>
                  <a:lnTo>
                    <a:pt x="46" y="435"/>
                  </a:lnTo>
                  <a:lnTo>
                    <a:pt x="606" y="435"/>
                  </a:lnTo>
                  <a:lnTo>
                    <a:pt x="615" y="434"/>
                  </a:lnTo>
                  <a:lnTo>
                    <a:pt x="624" y="432"/>
                  </a:lnTo>
                  <a:lnTo>
                    <a:pt x="632" y="428"/>
                  </a:lnTo>
                  <a:lnTo>
                    <a:pt x="638" y="422"/>
                  </a:lnTo>
                  <a:lnTo>
                    <a:pt x="645" y="414"/>
                  </a:lnTo>
                  <a:lnTo>
                    <a:pt x="648" y="407"/>
                  </a:lnTo>
                  <a:lnTo>
                    <a:pt x="652" y="398"/>
                  </a:lnTo>
                  <a:lnTo>
                    <a:pt x="653" y="389"/>
                  </a:lnTo>
                  <a:lnTo>
                    <a:pt x="653" y="300"/>
                  </a:lnTo>
                  <a:lnTo>
                    <a:pt x="851" y="383"/>
                  </a:lnTo>
                  <a:lnTo>
                    <a:pt x="860" y="385"/>
                  </a:lnTo>
                  <a:lnTo>
                    <a:pt x="867" y="387"/>
                  </a:lnTo>
                  <a:lnTo>
                    <a:pt x="872" y="385"/>
                  </a:lnTo>
                  <a:lnTo>
                    <a:pt x="877" y="385"/>
                  </a:lnTo>
                  <a:lnTo>
                    <a:pt x="882" y="383"/>
                  </a:lnTo>
                  <a:lnTo>
                    <a:pt x="886" y="381"/>
                  </a:lnTo>
                  <a:lnTo>
                    <a:pt x="890" y="378"/>
                  </a:lnTo>
                  <a:lnTo>
                    <a:pt x="893" y="375"/>
                  </a:lnTo>
                  <a:lnTo>
                    <a:pt x="895" y="372"/>
                  </a:lnTo>
                  <a:lnTo>
                    <a:pt x="897" y="368"/>
                  </a:lnTo>
                  <a:lnTo>
                    <a:pt x="901" y="359"/>
                  </a:lnTo>
                  <a:lnTo>
                    <a:pt x="902" y="350"/>
                  </a:lnTo>
                  <a:lnTo>
                    <a:pt x="902" y="98"/>
                  </a:lnTo>
                  <a:lnTo>
                    <a:pt x="901" y="89"/>
                  </a:lnTo>
                  <a:lnTo>
                    <a:pt x="897" y="80"/>
                  </a:lnTo>
                  <a:lnTo>
                    <a:pt x="895" y="75"/>
                  </a:lnTo>
                  <a:lnTo>
                    <a:pt x="893" y="72"/>
                  </a:lnTo>
                  <a:lnTo>
                    <a:pt x="890" y="69"/>
                  </a:lnTo>
                  <a:lnTo>
                    <a:pt x="88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40" name="Freeform 29">
            <a:extLst>
              <a:ext uri="{FF2B5EF4-FFF2-40B4-BE49-F238E27FC236}">
                <a16:creationId xmlns:a16="http://schemas.microsoft.com/office/drawing/2014/main" id="{E5F7890C-2A5E-49E1-B206-5387839083BF}"/>
              </a:ext>
            </a:extLst>
          </p:cNvPr>
          <p:cNvSpPr>
            <a:spLocks noChangeAspect="1" noEditPoints="1"/>
          </p:cNvSpPr>
          <p:nvPr/>
        </p:nvSpPr>
        <p:spPr bwMode="auto">
          <a:xfrm>
            <a:off x="7875590" y="5956111"/>
            <a:ext cx="287981" cy="285619"/>
          </a:xfrm>
          <a:custGeom>
            <a:avLst/>
            <a:gdLst>
              <a:gd name="T0" fmla="*/ 376 w 904"/>
              <a:gd name="T1" fmla="*/ 251 h 904"/>
              <a:gd name="T2" fmla="*/ 412 w 904"/>
              <a:gd name="T3" fmla="*/ 287 h 904"/>
              <a:gd name="T4" fmla="*/ 421 w 904"/>
              <a:gd name="T5" fmla="*/ 392 h 904"/>
              <a:gd name="T6" fmla="*/ 195 w 904"/>
              <a:gd name="T7" fmla="*/ 872 h 904"/>
              <a:gd name="T8" fmla="*/ 121 w 904"/>
              <a:gd name="T9" fmla="*/ 850 h 904"/>
              <a:gd name="T10" fmla="*/ 73 w 904"/>
              <a:gd name="T11" fmla="*/ 809 h 904"/>
              <a:gd name="T12" fmla="*/ 36 w 904"/>
              <a:gd name="T13" fmla="*/ 723 h 904"/>
              <a:gd name="T14" fmla="*/ 421 w 904"/>
              <a:gd name="T15" fmla="*/ 422 h 904"/>
              <a:gd name="T16" fmla="*/ 412 w 904"/>
              <a:gd name="T17" fmla="*/ 740 h 904"/>
              <a:gd name="T18" fmla="*/ 373 w 904"/>
              <a:gd name="T19" fmla="*/ 816 h 904"/>
              <a:gd name="T20" fmla="*/ 320 w 904"/>
              <a:gd name="T21" fmla="*/ 855 h 904"/>
              <a:gd name="T22" fmla="*/ 242 w 904"/>
              <a:gd name="T23" fmla="*/ 873 h 904"/>
              <a:gd name="T24" fmla="*/ 31 w 904"/>
              <a:gd name="T25" fmla="*/ 392 h 904"/>
              <a:gd name="T26" fmla="*/ 40 w 904"/>
              <a:gd name="T27" fmla="*/ 287 h 904"/>
              <a:gd name="T28" fmla="*/ 76 w 904"/>
              <a:gd name="T29" fmla="*/ 251 h 904"/>
              <a:gd name="T30" fmla="*/ 889 w 904"/>
              <a:gd name="T31" fmla="*/ 0 h 904"/>
              <a:gd name="T32" fmla="*/ 875 w 904"/>
              <a:gd name="T33" fmla="*/ 10 h 904"/>
              <a:gd name="T34" fmla="*/ 868 w 904"/>
              <a:gd name="T35" fmla="*/ 348 h 904"/>
              <a:gd name="T36" fmla="*/ 832 w 904"/>
              <a:gd name="T37" fmla="*/ 409 h 904"/>
              <a:gd name="T38" fmla="*/ 777 w 904"/>
              <a:gd name="T39" fmla="*/ 433 h 904"/>
              <a:gd name="T40" fmla="*/ 721 w 904"/>
              <a:gd name="T41" fmla="*/ 421 h 904"/>
              <a:gd name="T42" fmla="*/ 676 w 904"/>
              <a:gd name="T43" fmla="*/ 372 h 904"/>
              <a:gd name="T44" fmla="*/ 663 w 904"/>
              <a:gd name="T45" fmla="*/ 196 h 904"/>
              <a:gd name="T46" fmla="*/ 653 w 904"/>
              <a:gd name="T47" fmla="*/ 133 h 904"/>
              <a:gd name="T48" fmla="*/ 623 w 904"/>
              <a:gd name="T49" fmla="*/ 81 h 904"/>
              <a:gd name="T50" fmla="*/ 561 w 904"/>
              <a:gd name="T51" fmla="*/ 32 h 904"/>
              <a:gd name="T52" fmla="*/ 442 w 904"/>
              <a:gd name="T53" fmla="*/ 7 h 904"/>
              <a:gd name="T54" fmla="*/ 318 w 904"/>
              <a:gd name="T55" fmla="*/ 33 h 904"/>
              <a:gd name="T56" fmla="*/ 241 w 904"/>
              <a:gd name="T57" fmla="*/ 97 h 904"/>
              <a:gd name="T58" fmla="*/ 216 w 904"/>
              <a:gd name="T59" fmla="*/ 152 h 904"/>
              <a:gd name="T60" fmla="*/ 121 w 904"/>
              <a:gd name="T61" fmla="*/ 211 h 904"/>
              <a:gd name="T62" fmla="*/ 51 w 904"/>
              <a:gd name="T63" fmla="*/ 231 h 904"/>
              <a:gd name="T64" fmla="*/ 9 w 904"/>
              <a:gd name="T65" fmla="*/ 283 h 904"/>
              <a:gd name="T66" fmla="*/ 1 w 904"/>
              <a:gd name="T67" fmla="*/ 691 h 904"/>
              <a:gd name="T68" fmla="*/ 20 w 904"/>
              <a:gd name="T69" fmla="*/ 776 h 904"/>
              <a:gd name="T70" fmla="*/ 53 w 904"/>
              <a:gd name="T71" fmla="*/ 832 h 904"/>
              <a:gd name="T72" fmla="*/ 102 w 904"/>
              <a:gd name="T73" fmla="*/ 873 h 904"/>
              <a:gd name="T74" fmla="*/ 164 w 904"/>
              <a:gd name="T75" fmla="*/ 898 h 904"/>
              <a:gd name="T76" fmla="*/ 239 w 904"/>
              <a:gd name="T77" fmla="*/ 903 h 904"/>
              <a:gd name="T78" fmla="*/ 311 w 904"/>
              <a:gd name="T79" fmla="*/ 891 h 904"/>
              <a:gd name="T80" fmla="*/ 369 w 904"/>
              <a:gd name="T81" fmla="*/ 861 h 904"/>
              <a:gd name="T82" fmla="*/ 412 w 904"/>
              <a:gd name="T83" fmla="*/ 814 h 904"/>
              <a:gd name="T84" fmla="*/ 439 w 904"/>
              <a:gd name="T85" fmla="*/ 753 h 904"/>
              <a:gd name="T86" fmla="*/ 452 w 904"/>
              <a:gd name="T87" fmla="*/ 332 h 904"/>
              <a:gd name="T88" fmla="*/ 432 w 904"/>
              <a:gd name="T89" fmla="*/ 263 h 904"/>
              <a:gd name="T90" fmla="*/ 380 w 904"/>
              <a:gd name="T91" fmla="*/ 220 h 904"/>
              <a:gd name="T92" fmla="*/ 241 w 904"/>
              <a:gd name="T93" fmla="*/ 196 h 904"/>
              <a:gd name="T94" fmla="*/ 251 w 904"/>
              <a:gd name="T95" fmla="*/ 143 h 904"/>
              <a:gd name="T96" fmla="*/ 304 w 904"/>
              <a:gd name="T97" fmla="*/ 77 h 904"/>
              <a:gd name="T98" fmla="*/ 404 w 904"/>
              <a:gd name="T99" fmla="*/ 39 h 904"/>
              <a:gd name="T100" fmla="*/ 515 w 904"/>
              <a:gd name="T101" fmla="*/ 46 h 904"/>
              <a:gd name="T102" fmla="*/ 599 w 904"/>
              <a:gd name="T103" fmla="*/ 100 h 904"/>
              <a:gd name="T104" fmla="*/ 632 w 904"/>
              <a:gd name="T105" fmla="*/ 196 h 904"/>
              <a:gd name="T106" fmla="*/ 651 w 904"/>
              <a:gd name="T107" fmla="*/ 386 h 904"/>
              <a:gd name="T108" fmla="*/ 706 w 904"/>
              <a:gd name="T109" fmla="*/ 447 h 904"/>
              <a:gd name="T110" fmla="*/ 780 w 904"/>
              <a:gd name="T111" fmla="*/ 462 h 904"/>
              <a:gd name="T112" fmla="*/ 851 w 904"/>
              <a:gd name="T113" fmla="*/ 432 h 904"/>
              <a:gd name="T114" fmla="*/ 896 w 904"/>
              <a:gd name="T115" fmla="*/ 356 h 904"/>
              <a:gd name="T116" fmla="*/ 902 w 904"/>
              <a:gd name="T117" fmla="*/ 10 h 904"/>
              <a:gd name="T118" fmla="*/ 889 w 904"/>
              <a:gd name="T119"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4" h="904">
                <a:moveTo>
                  <a:pt x="331" y="241"/>
                </a:moveTo>
                <a:lnTo>
                  <a:pt x="342" y="241"/>
                </a:lnTo>
                <a:lnTo>
                  <a:pt x="351" y="244"/>
                </a:lnTo>
                <a:lnTo>
                  <a:pt x="360" y="245"/>
                </a:lnTo>
                <a:lnTo>
                  <a:pt x="369" y="248"/>
                </a:lnTo>
                <a:lnTo>
                  <a:pt x="376" y="251"/>
                </a:lnTo>
                <a:lnTo>
                  <a:pt x="384" y="255"/>
                </a:lnTo>
                <a:lnTo>
                  <a:pt x="391" y="261"/>
                </a:lnTo>
                <a:lnTo>
                  <a:pt x="398" y="266"/>
                </a:lnTo>
                <a:lnTo>
                  <a:pt x="403" y="273"/>
                </a:lnTo>
                <a:lnTo>
                  <a:pt x="407" y="279"/>
                </a:lnTo>
                <a:lnTo>
                  <a:pt x="412" y="287"/>
                </a:lnTo>
                <a:lnTo>
                  <a:pt x="415" y="295"/>
                </a:lnTo>
                <a:lnTo>
                  <a:pt x="418" y="303"/>
                </a:lnTo>
                <a:lnTo>
                  <a:pt x="420" y="312"/>
                </a:lnTo>
                <a:lnTo>
                  <a:pt x="421" y="322"/>
                </a:lnTo>
                <a:lnTo>
                  <a:pt x="421" y="332"/>
                </a:lnTo>
                <a:lnTo>
                  <a:pt x="421" y="392"/>
                </a:lnTo>
                <a:lnTo>
                  <a:pt x="241" y="392"/>
                </a:lnTo>
                <a:lnTo>
                  <a:pt x="241" y="241"/>
                </a:lnTo>
                <a:lnTo>
                  <a:pt x="331" y="241"/>
                </a:lnTo>
                <a:close/>
                <a:moveTo>
                  <a:pt x="226" y="873"/>
                </a:moveTo>
                <a:lnTo>
                  <a:pt x="210" y="873"/>
                </a:lnTo>
                <a:lnTo>
                  <a:pt x="195" y="872"/>
                </a:lnTo>
                <a:lnTo>
                  <a:pt x="180" y="870"/>
                </a:lnTo>
                <a:lnTo>
                  <a:pt x="167" y="867"/>
                </a:lnTo>
                <a:lnTo>
                  <a:pt x="154" y="864"/>
                </a:lnTo>
                <a:lnTo>
                  <a:pt x="142" y="859"/>
                </a:lnTo>
                <a:lnTo>
                  <a:pt x="132" y="855"/>
                </a:lnTo>
                <a:lnTo>
                  <a:pt x="121" y="850"/>
                </a:lnTo>
                <a:lnTo>
                  <a:pt x="111" y="844"/>
                </a:lnTo>
                <a:lnTo>
                  <a:pt x="103" y="838"/>
                </a:lnTo>
                <a:lnTo>
                  <a:pt x="94" y="831"/>
                </a:lnTo>
                <a:lnTo>
                  <a:pt x="87" y="824"/>
                </a:lnTo>
                <a:lnTo>
                  <a:pt x="79" y="816"/>
                </a:lnTo>
                <a:lnTo>
                  <a:pt x="73" y="809"/>
                </a:lnTo>
                <a:lnTo>
                  <a:pt x="67" y="800"/>
                </a:lnTo>
                <a:lnTo>
                  <a:pt x="62" y="792"/>
                </a:lnTo>
                <a:lnTo>
                  <a:pt x="53" y="775"/>
                </a:lnTo>
                <a:lnTo>
                  <a:pt x="46" y="757"/>
                </a:lnTo>
                <a:lnTo>
                  <a:pt x="40" y="740"/>
                </a:lnTo>
                <a:lnTo>
                  <a:pt x="36" y="723"/>
                </a:lnTo>
                <a:lnTo>
                  <a:pt x="33" y="706"/>
                </a:lnTo>
                <a:lnTo>
                  <a:pt x="32" y="690"/>
                </a:lnTo>
                <a:lnTo>
                  <a:pt x="31" y="676"/>
                </a:lnTo>
                <a:lnTo>
                  <a:pt x="31" y="663"/>
                </a:lnTo>
                <a:lnTo>
                  <a:pt x="31" y="422"/>
                </a:lnTo>
                <a:lnTo>
                  <a:pt x="421" y="422"/>
                </a:lnTo>
                <a:lnTo>
                  <a:pt x="421" y="663"/>
                </a:lnTo>
                <a:lnTo>
                  <a:pt x="421" y="676"/>
                </a:lnTo>
                <a:lnTo>
                  <a:pt x="420" y="690"/>
                </a:lnTo>
                <a:lnTo>
                  <a:pt x="419" y="706"/>
                </a:lnTo>
                <a:lnTo>
                  <a:pt x="416" y="723"/>
                </a:lnTo>
                <a:lnTo>
                  <a:pt x="412" y="740"/>
                </a:lnTo>
                <a:lnTo>
                  <a:pt x="406" y="757"/>
                </a:lnTo>
                <a:lnTo>
                  <a:pt x="399" y="775"/>
                </a:lnTo>
                <a:lnTo>
                  <a:pt x="390" y="792"/>
                </a:lnTo>
                <a:lnTo>
                  <a:pt x="385" y="800"/>
                </a:lnTo>
                <a:lnTo>
                  <a:pt x="379" y="809"/>
                </a:lnTo>
                <a:lnTo>
                  <a:pt x="373" y="816"/>
                </a:lnTo>
                <a:lnTo>
                  <a:pt x="365" y="824"/>
                </a:lnTo>
                <a:lnTo>
                  <a:pt x="358" y="831"/>
                </a:lnTo>
                <a:lnTo>
                  <a:pt x="349" y="838"/>
                </a:lnTo>
                <a:lnTo>
                  <a:pt x="341" y="844"/>
                </a:lnTo>
                <a:lnTo>
                  <a:pt x="331" y="850"/>
                </a:lnTo>
                <a:lnTo>
                  <a:pt x="320" y="855"/>
                </a:lnTo>
                <a:lnTo>
                  <a:pt x="310" y="859"/>
                </a:lnTo>
                <a:lnTo>
                  <a:pt x="298" y="864"/>
                </a:lnTo>
                <a:lnTo>
                  <a:pt x="285" y="867"/>
                </a:lnTo>
                <a:lnTo>
                  <a:pt x="272" y="870"/>
                </a:lnTo>
                <a:lnTo>
                  <a:pt x="257" y="872"/>
                </a:lnTo>
                <a:lnTo>
                  <a:pt x="242" y="873"/>
                </a:lnTo>
                <a:lnTo>
                  <a:pt x="226" y="874"/>
                </a:lnTo>
                <a:lnTo>
                  <a:pt x="226" y="873"/>
                </a:lnTo>
                <a:close/>
                <a:moveTo>
                  <a:pt x="121" y="241"/>
                </a:moveTo>
                <a:lnTo>
                  <a:pt x="211" y="241"/>
                </a:lnTo>
                <a:lnTo>
                  <a:pt x="211" y="392"/>
                </a:lnTo>
                <a:lnTo>
                  <a:pt x="31" y="392"/>
                </a:lnTo>
                <a:lnTo>
                  <a:pt x="31" y="332"/>
                </a:lnTo>
                <a:lnTo>
                  <a:pt x="31" y="322"/>
                </a:lnTo>
                <a:lnTo>
                  <a:pt x="32" y="312"/>
                </a:lnTo>
                <a:lnTo>
                  <a:pt x="34" y="303"/>
                </a:lnTo>
                <a:lnTo>
                  <a:pt x="37" y="294"/>
                </a:lnTo>
                <a:lnTo>
                  <a:pt x="40" y="287"/>
                </a:lnTo>
                <a:lnTo>
                  <a:pt x="45" y="279"/>
                </a:lnTo>
                <a:lnTo>
                  <a:pt x="49" y="273"/>
                </a:lnTo>
                <a:lnTo>
                  <a:pt x="54" y="266"/>
                </a:lnTo>
                <a:lnTo>
                  <a:pt x="61" y="261"/>
                </a:lnTo>
                <a:lnTo>
                  <a:pt x="68" y="255"/>
                </a:lnTo>
                <a:lnTo>
                  <a:pt x="76" y="251"/>
                </a:lnTo>
                <a:lnTo>
                  <a:pt x="83" y="248"/>
                </a:lnTo>
                <a:lnTo>
                  <a:pt x="92" y="245"/>
                </a:lnTo>
                <a:lnTo>
                  <a:pt x="101" y="244"/>
                </a:lnTo>
                <a:lnTo>
                  <a:pt x="110" y="241"/>
                </a:lnTo>
                <a:lnTo>
                  <a:pt x="121" y="241"/>
                </a:lnTo>
                <a:close/>
                <a:moveTo>
                  <a:pt x="889" y="0"/>
                </a:moveTo>
                <a:lnTo>
                  <a:pt x="886" y="1"/>
                </a:lnTo>
                <a:lnTo>
                  <a:pt x="882" y="2"/>
                </a:lnTo>
                <a:lnTo>
                  <a:pt x="880" y="3"/>
                </a:lnTo>
                <a:lnTo>
                  <a:pt x="878" y="6"/>
                </a:lnTo>
                <a:lnTo>
                  <a:pt x="876" y="8"/>
                </a:lnTo>
                <a:lnTo>
                  <a:pt x="875" y="10"/>
                </a:lnTo>
                <a:lnTo>
                  <a:pt x="874" y="13"/>
                </a:lnTo>
                <a:lnTo>
                  <a:pt x="873" y="16"/>
                </a:lnTo>
                <a:lnTo>
                  <a:pt x="874" y="302"/>
                </a:lnTo>
                <a:lnTo>
                  <a:pt x="873" y="318"/>
                </a:lnTo>
                <a:lnTo>
                  <a:pt x="871" y="334"/>
                </a:lnTo>
                <a:lnTo>
                  <a:pt x="868" y="348"/>
                </a:lnTo>
                <a:lnTo>
                  <a:pt x="864" y="361"/>
                </a:lnTo>
                <a:lnTo>
                  <a:pt x="859" y="372"/>
                </a:lnTo>
                <a:lnTo>
                  <a:pt x="853" y="383"/>
                </a:lnTo>
                <a:lnTo>
                  <a:pt x="847" y="393"/>
                </a:lnTo>
                <a:lnTo>
                  <a:pt x="839" y="401"/>
                </a:lnTo>
                <a:lnTo>
                  <a:pt x="832" y="409"/>
                </a:lnTo>
                <a:lnTo>
                  <a:pt x="823" y="415"/>
                </a:lnTo>
                <a:lnTo>
                  <a:pt x="815" y="422"/>
                </a:lnTo>
                <a:lnTo>
                  <a:pt x="806" y="426"/>
                </a:lnTo>
                <a:lnTo>
                  <a:pt x="797" y="429"/>
                </a:lnTo>
                <a:lnTo>
                  <a:pt x="787" y="431"/>
                </a:lnTo>
                <a:lnTo>
                  <a:pt x="777" y="433"/>
                </a:lnTo>
                <a:lnTo>
                  <a:pt x="768" y="433"/>
                </a:lnTo>
                <a:lnTo>
                  <a:pt x="758" y="433"/>
                </a:lnTo>
                <a:lnTo>
                  <a:pt x="748" y="431"/>
                </a:lnTo>
                <a:lnTo>
                  <a:pt x="740" y="429"/>
                </a:lnTo>
                <a:lnTo>
                  <a:pt x="730" y="426"/>
                </a:lnTo>
                <a:lnTo>
                  <a:pt x="721" y="421"/>
                </a:lnTo>
                <a:lnTo>
                  <a:pt x="712" y="415"/>
                </a:lnTo>
                <a:lnTo>
                  <a:pt x="704" y="409"/>
                </a:lnTo>
                <a:lnTo>
                  <a:pt x="696" y="401"/>
                </a:lnTo>
                <a:lnTo>
                  <a:pt x="689" y="393"/>
                </a:lnTo>
                <a:lnTo>
                  <a:pt x="683" y="383"/>
                </a:lnTo>
                <a:lnTo>
                  <a:pt x="676" y="372"/>
                </a:lnTo>
                <a:lnTo>
                  <a:pt x="672" y="361"/>
                </a:lnTo>
                <a:lnTo>
                  <a:pt x="668" y="348"/>
                </a:lnTo>
                <a:lnTo>
                  <a:pt x="665" y="334"/>
                </a:lnTo>
                <a:lnTo>
                  <a:pt x="664" y="318"/>
                </a:lnTo>
                <a:lnTo>
                  <a:pt x="663" y="302"/>
                </a:lnTo>
                <a:lnTo>
                  <a:pt x="663" y="196"/>
                </a:lnTo>
                <a:lnTo>
                  <a:pt x="663" y="186"/>
                </a:lnTo>
                <a:lnTo>
                  <a:pt x="661" y="174"/>
                </a:lnTo>
                <a:lnTo>
                  <a:pt x="660" y="164"/>
                </a:lnTo>
                <a:lnTo>
                  <a:pt x="658" y="154"/>
                </a:lnTo>
                <a:lnTo>
                  <a:pt x="655" y="144"/>
                </a:lnTo>
                <a:lnTo>
                  <a:pt x="653" y="133"/>
                </a:lnTo>
                <a:lnTo>
                  <a:pt x="649" y="125"/>
                </a:lnTo>
                <a:lnTo>
                  <a:pt x="644" y="115"/>
                </a:lnTo>
                <a:lnTo>
                  <a:pt x="640" y="106"/>
                </a:lnTo>
                <a:lnTo>
                  <a:pt x="635" y="98"/>
                </a:lnTo>
                <a:lnTo>
                  <a:pt x="629" y="89"/>
                </a:lnTo>
                <a:lnTo>
                  <a:pt x="623" y="81"/>
                </a:lnTo>
                <a:lnTo>
                  <a:pt x="616" y="73"/>
                </a:lnTo>
                <a:lnTo>
                  <a:pt x="609" y="66"/>
                </a:lnTo>
                <a:lnTo>
                  <a:pt x="601" y="59"/>
                </a:lnTo>
                <a:lnTo>
                  <a:pt x="593" y="53"/>
                </a:lnTo>
                <a:lnTo>
                  <a:pt x="577" y="42"/>
                </a:lnTo>
                <a:lnTo>
                  <a:pt x="561" y="32"/>
                </a:lnTo>
                <a:lnTo>
                  <a:pt x="542" y="25"/>
                </a:lnTo>
                <a:lnTo>
                  <a:pt x="524" y="18"/>
                </a:lnTo>
                <a:lnTo>
                  <a:pt x="505" y="13"/>
                </a:lnTo>
                <a:lnTo>
                  <a:pt x="484" y="10"/>
                </a:lnTo>
                <a:lnTo>
                  <a:pt x="463" y="7"/>
                </a:lnTo>
                <a:lnTo>
                  <a:pt x="442" y="7"/>
                </a:lnTo>
                <a:lnTo>
                  <a:pt x="420" y="7"/>
                </a:lnTo>
                <a:lnTo>
                  <a:pt x="399" y="10"/>
                </a:lnTo>
                <a:lnTo>
                  <a:pt x="378" y="13"/>
                </a:lnTo>
                <a:lnTo>
                  <a:pt x="358" y="18"/>
                </a:lnTo>
                <a:lnTo>
                  <a:pt x="338" y="25"/>
                </a:lnTo>
                <a:lnTo>
                  <a:pt x="318" y="33"/>
                </a:lnTo>
                <a:lnTo>
                  <a:pt x="300" y="43"/>
                </a:lnTo>
                <a:lnTo>
                  <a:pt x="284" y="55"/>
                </a:lnTo>
                <a:lnTo>
                  <a:pt x="268" y="68"/>
                </a:lnTo>
                <a:lnTo>
                  <a:pt x="254" y="82"/>
                </a:lnTo>
                <a:lnTo>
                  <a:pt x="247" y="89"/>
                </a:lnTo>
                <a:lnTo>
                  <a:pt x="241" y="97"/>
                </a:lnTo>
                <a:lnTo>
                  <a:pt x="236" y="105"/>
                </a:lnTo>
                <a:lnTo>
                  <a:pt x="231" y="114"/>
                </a:lnTo>
                <a:lnTo>
                  <a:pt x="226" y="124"/>
                </a:lnTo>
                <a:lnTo>
                  <a:pt x="223" y="132"/>
                </a:lnTo>
                <a:lnTo>
                  <a:pt x="218" y="142"/>
                </a:lnTo>
                <a:lnTo>
                  <a:pt x="216" y="152"/>
                </a:lnTo>
                <a:lnTo>
                  <a:pt x="214" y="163"/>
                </a:lnTo>
                <a:lnTo>
                  <a:pt x="212" y="174"/>
                </a:lnTo>
                <a:lnTo>
                  <a:pt x="211" y="185"/>
                </a:lnTo>
                <a:lnTo>
                  <a:pt x="211" y="196"/>
                </a:lnTo>
                <a:lnTo>
                  <a:pt x="211" y="211"/>
                </a:lnTo>
                <a:lnTo>
                  <a:pt x="121" y="211"/>
                </a:lnTo>
                <a:lnTo>
                  <a:pt x="108" y="211"/>
                </a:lnTo>
                <a:lnTo>
                  <a:pt x="95" y="214"/>
                </a:lnTo>
                <a:lnTo>
                  <a:pt x="83" y="217"/>
                </a:lnTo>
                <a:lnTo>
                  <a:pt x="72" y="220"/>
                </a:lnTo>
                <a:lnTo>
                  <a:pt x="61" y="225"/>
                </a:lnTo>
                <a:lnTo>
                  <a:pt x="51" y="231"/>
                </a:lnTo>
                <a:lnTo>
                  <a:pt x="43" y="237"/>
                </a:lnTo>
                <a:lnTo>
                  <a:pt x="34" y="245"/>
                </a:lnTo>
                <a:lnTo>
                  <a:pt x="27" y="253"/>
                </a:lnTo>
                <a:lnTo>
                  <a:pt x="20" y="263"/>
                </a:lnTo>
                <a:lnTo>
                  <a:pt x="14" y="273"/>
                </a:lnTo>
                <a:lnTo>
                  <a:pt x="9" y="283"/>
                </a:lnTo>
                <a:lnTo>
                  <a:pt x="5" y="294"/>
                </a:lnTo>
                <a:lnTo>
                  <a:pt x="3" y="306"/>
                </a:lnTo>
                <a:lnTo>
                  <a:pt x="1" y="319"/>
                </a:lnTo>
                <a:lnTo>
                  <a:pt x="0" y="332"/>
                </a:lnTo>
                <a:lnTo>
                  <a:pt x="0" y="663"/>
                </a:lnTo>
                <a:lnTo>
                  <a:pt x="1" y="691"/>
                </a:lnTo>
                <a:lnTo>
                  <a:pt x="4" y="717"/>
                </a:lnTo>
                <a:lnTo>
                  <a:pt x="6" y="730"/>
                </a:lnTo>
                <a:lnTo>
                  <a:pt x="9" y="741"/>
                </a:lnTo>
                <a:lnTo>
                  <a:pt x="13" y="753"/>
                </a:lnTo>
                <a:lnTo>
                  <a:pt x="16" y="764"/>
                </a:lnTo>
                <a:lnTo>
                  <a:pt x="20" y="776"/>
                </a:lnTo>
                <a:lnTo>
                  <a:pt x="24" y="785"/>
                </a:lnTo>
                <a:lnTo>
                  <a:pt x="29" y="796"/>
                </a:lnTo>
                <a:lnTo>
                  <a:pt x="34" y="806"/>
                </a:lnTo>
                <a:lnTo>
                  <a:pt x="40" y="814"/>
                </a:lnTo>
                <a:lnTo>
                  <a:pt x="47" y="824"/>
                </a:lnTo>
                <a:lnTo>
                  <a:pt x="53" y="832"/>
                </a:lnTo>
                <a:lnTo>
                  <a:pt x="60" y="840"/>
                </a:lnTo>
                <a:lnTo>
                  <a:pt x="67" y="847"/>
                </a:lnTo>
                <a:lnTo>
                  <a:pt x="76" y="855"/>
                </a:lnTo>
                <a:lnTo>
                  <a:pt x="83" y="861"/>
                </a:lnTo>
                <a:lnTo>
                  <a:pt x="92" y="868"/>
                </a:lnTo>
                <a:lnTo>
                  <a:pt x="102" y="873"/>
                </a:lnTo>
                <a:lnTo>
                  <a:pt x="111" y="879"/>
                </a:lnTo>
                <a:lnTo>
                  <a:pt x="121" y="883"/>
                </a:lnTo>
                <a:lnTo>
                  <a:pt x="132" y="887"/>
                </a:lnTo>
                <a:lnTo>
                  <a:pt x="141" y="891"/>
                </a:lnTo>
                <a:lnTo>
                  <a:pt x="153" y="895"/>
                </a:lnTo>
                <a:lnTo>
                  <a:pt x="164" y="898"/>
                </a:lnTo>
                <a:lnTo>
                  <a:pt x="176" y="900"/>
                </a:lnTo>
                <a:lnTo>
                  <a:pt x="187" y="901"/>
                </a:lnTo>
                <a:lnTo>
                  <a:pt x="200" y="903"/>
                </a:lnTo>
                <a:lnTo>
                  <a:pt x="213" y="903"/>
                </a:lnTo>
                <a:lnTo>
                  <a:pt x="226" y="904"/>
                </a:lnTo>
                <a:lnTo>
                  <a:pt x="239" y="903"/>
                </a:lnTo>
                <a:lnTo>
                  <a:pt x="252" y="903"/>
                </a:lnTo>
                <a:lnTo>
                  <a:pt x="265" y="901"/>
                </a:lnTo>
                <a:lnTo>
                  <a:pt x="276" y="900"/>
                </a:lnTo>
                <a:lnTo>
                  <a:pt x="288" y="898"/>
                </a:lnTo>
                <a:lnTo>
                  <a:pt x="299" y="895"/>
                </a:lnTo>
                <a:lnTo>
                  <a:pt x="311" y="891"/>
                </a:lnTo>
                <a:lnTo>
                  <a:pt x="320" y="887"/>
                </a:lnTo>
                <a:lnTo>
                  <a:pt x="331" y="883"/>
                </a:lnTo>
                <a:lnTo>
                  <a:pt x="341" y="879"/>
                </a:lnTo>
                <a:lnTo>
                  <a:pt x="350" y="873"/>
                </a:lnTo>
                <a:lnTo>
                  <a:pt x="360" y="868"/>
                </a:lnTo>
                <a:lnTo>
                  <a:pt x="369" y="861"/>
                </a:lnTo>
                <a:lnTo>
                  <a:pt x="376" y="855"/>
                </a:lnTo>
                <a:lnTo>
                  <a:pt x="385" y="847"/>
                </a:lnTo>
                <a:lnTo>
                  <a:pt x="392" y="840"/>
                </a:lnTo>
                <a:lnTo>
                  <a:pt x="399" y="832"/>
                </a:lnTo>
                <a:lnTo>
                  <a:pt x="405" y="824"/>
                </a:lnTo>
                <a:lnTo>
                  <a:pt x="412" y="814"/>
                </a:lnTo>
                <a:lnTo>
                  <a:pt x="418" y="806"/>
                </a:lnTo>
                <a:lnTo>
                  <a:pt x="423" y="796"/>
                </a:lnTo>
                <a:lnTo>
                  <a:pt x="428" y="785"/>
                </a:lnTo>
                <a:lnTo>
                  <a:pt x="432" y="776"/>
                </a:lnTo>
                <a:lnTo>
                  <a:pt x="436" y="764"/>
                </a:lnTo>
                <a:lnTo>
                  <a:pt x="439" y="753"/>
                </a:lnTo>
                <a:lnTo>
                  <a:pt x="443" y="741"/>
                </a:lnTo>
                <a:lnTo>
                  <a:pt x="446" y="730"/>
                </a:lnTo>
                <a:lnTo>
                  <a:pt x="448" y="717"/>
                </a:lnTo>
                <a:lnTo>
                  <a:pt x="451" y="691"/>
                </a:lnTo>
                <a:lnTo>
                  <a:pt x="452" y="663"/>
                </a:lnTo>
                <a:lnTo>
                  <a:pt x="452" y="332"/>
                </a:lnTo>
                <a:lnTo>
                  <a:pt x="451" y="319"/>
                </a:lnTo>
                <a:lnTo>
                  <a:pt x="449" y="306"/>
                </a:lnTo>
                <a:lnTo>
                  <a:pt x="447" y="294"/>
                </a:lnTo>
                <a:lnTo>
                  <a:pt x="443" y="283"/>
                </a:lnTo>
                <a:lnTo>
                  <a:pt x="438" y="273"/>
                </a:lnTo>
                <a:lnTo>
                  <a:pt x="432" y="263"/>
                </a:lnTo>
                <a:lnTo>
                  <a:pt x="425" y="253"/>
                </a:lnTo>
                <a:lnTo>
                  <a:pt x="418" y="245"/>
                </a:lnTo>
                <a:lnTo>
                  <a:pt x="409" y="237"/>
                </a:lnTo>
                <a:lnTo>
                  <a:pt x="401" y="231"/>
                </a:lnTo>
                <a:lnTo>
                  <a:pt x="391" y="225"/>
                </a:lnTo>
                <a:lnTo>
                  <a:pt x="380" y="220"/>
                </a:lnTo>
                <a:lnTo>
                  <a:pt x="369" y="217"/>
                </a:lnTo>
                <a:lnTo>
                  <a:pt x="357" y="214"/>
                </a:lnTo>
                <a:lnTo>
                  <a:pt x="344" y="213"/>
                </a:lnTo>
                <a:lnTo>
                  <a:pt x="331" y="211"/>
                </a:lnTo>
                <a:lnTo>
                  <a:pt x="241" y="211"/>
                </a:lnTo>
                <a:lnTo>
                  <a:pt x="241" y="196"/>
                </a:lnTo>
                <a:lnTo>
                  <a:pt x="241" y="187"/>
                </a:lnTo>
                <a:lnTo>
                  <a:pt x="242" y="177"/>
                </a:lnTo>
                <a:lnTo>
                  <a:pt x="243" y="169"/>
                </a:lnTo>
                <a:lnTo>
                  <a:pt x="245" y="159"/>
                </a:lnTo>
                <a:lnTo>
                  <a:pt x="249" y="150"/>
                </a:lnTo>
                <a:lnTo>
                  <a:pt x="251" y="143"/>
                </a:lnTo>
                <a:lnTo>
                  <a:pt x="255" y="134"/>
                </a:lnTo>
                <a:lnTo>
                  <a:pt x="258" y="127"/>
                </a:lnTo>
                <a:lnTo>
                  <a:pt x="268" y="113"/>
                </a:lnTo>
                <a:lnTo>
                  <a:pt x="279" y="100"/>
                </a:lnTo>
                <a:lnTo>
                  <a:pt x="290" y="88"/>
                </a:lnTo>
                <a:lnTo>
                  <a:pt x="304" y="77"/>
                </a:lnTo>
                <a:lnTo>
                  <a:pt x="318" y="68"/>
                </a:lnTo>
                <a:lnTo>
                  <a:pt x="334" y="59"/>
                </a:lnTo>
                <a:lnTo>
                  <a:pt x="351" y="53"/>
                </a:lnTo>
                <a:lnTo>
                  <a:pt x="369" y="46"/>
                </a:lnTo>
                <a:lnTo>
                  <a:pt x="386" y="42"/>
                </a:lnTo>
                <a:lnTo>
                  <a:pt x="404" y="39"/>
                </a:lnTo>
                <a:lnTo>
                  <a:pt x="423" y="37"/>
                </a:lnTo>
                <a:lnTo>
                  <a:pt x="442" y="37"/>
                </a:lnTo>
                <a:lnTo>
                  <a:pt x="461" y="37"/>
                </a:lnTo>
                <a:lnTo>
                  <a:pt x="479" y="39"/>
                </a:lnTo>
                <a:lnTo>
                  <a:pt x="497" y="42"/>
                </a:lnTo>
                <a:lnTo>
                  <a:pt x="515" y="46"/>
                </a:lnTo>
                <a:lnTo>
                  <a:pt x="531" y="53"/>
                </a:lnTo>
                <a:lnTo>
                  <a:pt x="547" y="59"/>
                </a:lnTo>
                <a:lnTo>
                  <a:pt x="561" y="68"/>
                </a:lnTo>
                <a:lnTo>
                  <a:pt x="575" y="76"/>
                </a:lnTo>
                <a:lnTo>
                  <a:pt x="587" y="88"/>
                </a:lnTo>
                <a:lnTo>
                  <a:pt x="599" y="100"/>
                </a:lnTo>
                <a:lnTo>
                  <a:pt x="610" y="114"/>
                </a:lnTo>
                <a:lnTo>
                  <a:pt x="617" y="129"/>
                </a:lnTo>
                <a:lnTo>
                  <a:pt x="624" y="144"/>
                </a:lnTo>
                <a:lnTo>
                  <a:pt x="628" y="161"/>
                </a:lnTo>
                <a:lnTo>
                  <a:pt x="631" y="178"/>
                </a:lnTo>
                <a:lnTo>
                  <a:pt x="632" y="196"/>
                </a:lnTo>
                <a:lnTo>
                  <a:pt x="632" y="302"/>
                </a:lnTo>
                <a:lnTo>
                  <a:pt x="634" y="321"/>
                </a:lnTo>
                <a:lnTo>
                  <a:pt x="636" y="339"/>
                </a:lnTo>
                <a:lnTo>
                  <a:pt x="639" y="356"/>
                </a:lnTo>
                <a:lnTo>
                  <a:pt x="644" y="372"/>
                </a:lnTo>
                <a:lnTo>
                  <a:pt x="651" y="386"/>
                </a:lnTo>
                <a:lnTo>
                  <a:pt x="657" y="399"/>
                </a:lnTo>
                <a:lnTo>
                  <a:pt x="666" y="412"/>
                </a:lnTo>
                <a:lnTo>
                  <a:pt x="675" y="423"/>
                </a:lnTo>
                <a:lnTo>
                  <a:pt x="685" y="432"/>
                </a:lnTo>
                <a:lnTo>
                  <a:pt x="696" y="440"/>
                </a:lnTo>
                <a:lnTo>
                  <a:pt x="706" y="447"/>
                </a:lnTo>
                <a:lnTo>
                  <a:pt x="718" y="453"/>
                </a:lnTo>
                <a:lnTo>
                  <a:pt x="730" y="458"/>
                </a:lnTo>
                <a:lnTo>
                  <a:pt x="743" y="461"/>
                </a:lnTo>
                <a:lnTo>
                  <a:pt x="755" y="462"/>
                </a:lnTo>
                <a:lnTo>
                  <a:pt x="768" y="464"/>
                </a:lnTo>
                <a:lnTo>
                  <a:pt x="780" y="462"/>
                </a:lnTo>
                <a:lnTo>
                  <a:pt x="793" y="461"/>
                </a:lnTo>
                <a:lnTo>
                  <a:pt x="805" y="458"/>
                </a:lnTo>
                <a:lnTo>
                  <a:pt x="817" y="453"/>
                </a:lnTo>
                <a:lnTo>
                  <a:pt x="829" y="447"/>
                </a:lnTo>
                <a:lnTo>
                  <a:pt x="841" y="440"/>
                </a:lnTo>
                <a:lnTo>
                  <a:pt x="851" y="432"/>
                </a:lnTo>
                <a:lnTo>
                  <a:pt x="861" y="423"/>
                </a:lnTo>
                <a:lnTo>
                  <a:pt x="870" y="412"/>
                </a:lnTo>
                <a:lnTo>
                  <a:pt x="878" y="399"/>
                </a:lnTo>
                <a:lnTo>
                  <a:pt x="886" y="386"/>
                </a:lnTo>
                <a:lnTo>
                  <a:pt x="892" y="372"/>
                </a:lnTo>
                <a:lnTo>
                  <a:pt x="896" y="356"/>
                </a:lnTo>
                <a:lnTo>
                  <a:pt x="901" y="339"/>
                </a:lnTo>
                <a:lnTo>
                  <a:pt x="903" y="321"/>
                </a:lnTo>
                <a:lnTo>
                  <a:pt x="904" y="302"/>
                </a:lnTo>
                <a:lnTo>
                  <a:pt x="904" y="16"/>
                </a:lnTo>
                <a:lnTo>
                  <a:pt x="903" y="13"/>
                </a:lnTo>
                <a:lnTo>
                  <a:pt x="902" y="10"/>
                </a:lnTo>
                <a:lnTo>
                  <a:pt x="901" y="8"/>
                </a:lnTo>
                <a:lnTo>
                  <a:pt x="898" y="6"/>
                </a:lnTo>
                <a:lnTo>
                  <a:pt x="896" y="3"/>
                </a:lnTo>
                <a:lnTo>
                  <a:pt x="894" y="2"/>
                </a:lnTo>
                <a:lnTo>
                  <a:pt x="891" y="1"/>
                </a:lnTo>
                <a:lnTo>
                  <a:pt x="889"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41" name="Group 217">
            <a:extLst>
              <a:ext uri="{FF2B5EF4-FFF2-40B4-BE49-F238E27FC236}">
                <a16:creationId xmlns:a16="http://schemas.microsoft.com/office/drawing/2014/main" id="{25872FD3-AA12-4D3F-A217-59AAC1DA794D}"/>
              </a:ext>
            </a:extLst>
          </p:cNvPr>
          <p:cNvGrpSpPr>
            <a:grpSpLocks noChangeAspect="1"/>
          </p:cNvGrpSpPr>
          <p:nvPr/>
        </p:nvGrpSpPr>
        <p:grpSpPr>
          <a:xfrm>
            <a:off x="6594199" y="5956111"/>
            <a:ext cx="372544" cy="285619"/>
            <a:chOff x="7018338" y="3700145"/>
            <a:chExt cx="285750" cy="219075"/>
          </a:xfrm>
          <a:solidFill>
            <a:schemeClr val="bg1"/>
          </a:solidFill>
          <a:effectLst/>
        </p:grpSpPr>
        <p:sp>
          <p:nvSpPr>
            <p:cNvPr id="1442" name="Freeform 314">
              <a:extLst>
                <a:ext uri="{FF2B5EF4-FFF2-40B4-BE49-F238E27FC236}">
                  <a16:creationId xmlns:a16="http://schemas.microsoft.com/office/drawing/2014/main" id="{CEEB904A-22B8-4319-A725-E099A1206141}"/>
                </a:ext>
              </a:extLst>
            </p:cNvPr>
            <p:cNvSpPr>
              <a:spLocks noEditPoints="1"/>
            </p:cNvSpPr>
            <p:nvPr/>
          </p:nvSpPr>
          <p:spPr bwMode="auto">
            <a:xfrm>
              <a:off x="7018338" y="3700145"/>
              <a:ext cx="285750" cy="219075"/>
            </a:xfrm>
            <a:custGeom>
              <a:avLst/>
              <a:gdLst>
                <a:gd name="T0" fmla="*/ 869 w 901"/>
                <a:gd name="T1" fmla="*/ 623 h 692"/>
                <a:gd name="T2" fmla="*/ 860 w 901"/>
                <a:gd name="T3" fmla="*/ 642 h 692"/>
                <a:gd name="T4" fmla="*/ 842 w 901"/>
                <a:gd name="T5" fmla="*/ 655 h 692"/>
                <a:gd name="T6" fmla="*/ 93 w 901"/>
                <a:gd name="T7" fmla="*/ 661 h 692"/>
                <a:gd name="T8" fmla="*/ 54 w 901"/>
                <a:gd name="T9" fmla="*/ 653 h 692"/>
                <a:gd name="T10" fmla="*/ 38 w 901"/>
                <a:gd name="T11" fmla="*/ 638 h 692"/>
                <a:gd name="T12" fmla="*/ 31 w 901"/>
                <a:gd name="T13" fmla="*/ 616 h 692"/>
                <a:gd name="T14" fmla="*/ 31 w 901"/>
                <a:gd name="T15" fmla="*/ 196 h 692"/>
                <a:gd name="T16" fmla="*/ 42 w 901"/>
                <a:gd name="T17" fmla="*/ 169 h 692"/>
                <a:gd name="T18" fmla="*/ 59 w 901"/>
                <a:gd name="T19" fmla="*/ 156 h 692"/>
                <a:gd name="T20" fmla="*/ 337 w 901"/>
                <a:gd name="T21" fmla="*/ 151 h 692"/>
                <a:gd name="T22" fmla="*/ 428 w 901"/>
                <a:gd name="T23" fmla="*/ 52 h 692"/>
                <a:gd name="T24" fmla="*/ 651 w 901"/>
                <a:gd name="T25" fmla="*/ 41 h 692"/>
                <a:gd name="T26" fmla="*/ 728 w 901"/>
                <a:gd name="T27" fmla="*/ 151 h 692"/>
                <a:gd name="T28" fmla="*/ 850 w 901"/>
                <a:gd name="T29" fmla="*/ 156 h 692"/>
                <a:gd name="T30" fmla="*/ 865 w 901"/>
                <a:gd name="T31" fmla="*/ 167 h 692"/>
                <a:gd name="T32" fmla="*/ 871 w 901"/>
                <a:gd name="T33" fmla="*/ 186 h 692"/>
                <a:gd name="T34" fmla="*/ 165 w 901"/>
                <a:gd name="T35" fmla="*/ 76 h 692"/>
                <a:gd name="T36" fmla="*/ 182 w 901"/>
                <a:gd name="T37" fmla="*/ 87 h 692"/>
                <a:gd name="T38" fmla="*/ 189 w 901"/>
                <a:gd name="T39" fmla="*/ 106 h 692"/>
                <a:gd name="T40" fmla="*/ 108 w 901"/>
                <a:gd name="T41" fmla="*/ 102 h 692"/>
                <a:gd name="T42" fmla="*/ 121 w 901"/>
                <a:gd name="T43" fmla="*/ 82 h 692"/>
                <a:gd name="T44" fmla="*/ 810 w 901"/>
                <a:gd name="T45" fmla="*/ 121 h 692"/>
                <a:gd name="T46" fmla="*/ 698 w 901"/>
                <a:gd name="T47" fmla="*/ 44 h 692"/>
                <a:gd name="T48" fmla="*/ 648 w 901"/>
                <a:gd name="T49" fmla="*/ 3 h 692"/>
                <a:gd name="T50" fmla="*/ 424 w 901"/>
                <a:gd name="T51" fmla="*/ 16 h 692"/>
                <a:gd name="T52" fmla="*/ 388 w 901"/>
                <a:gd name="T53" fmla="*/ 51 h 692"/>
                <a:gd name="T54" fmla="*/ 220 w 901"/>
                <a:gd name="T55" fmla="*/ 106 h 692"/>
                <a:gd name="T56" fmla="*/ 203 w 901"/>
                <a:gd name="T57" fmla="*/ 65 h 692"/>
                <a:gd name="T58" fmla="*/ 177 w 901"/>
                <a:gd name="T59" fmla="*/ 47 h 692"/>
                <a:gd name="T60" fmla="*/ 131 w 901"/>
                <a:gd name="T61" fmla="*/ 46 h 692"/>
                <a:gd name="T62" fmla="*/ 105 w 901"/>
                <a:gd name="T63" fmla="*/ 57 h 692"/>
                <a:gd name="T64" fmla="*/ 80 w 901"/>
                <a:gd name="T65" fmla="*/ 90 h 692"/>
                <a:gd name="T66" fmla="*/ 76 w 901"/>
                <a:gd name="T67" fmla="*/ 122 h 692"/>
                <a:gd name="T68" fmla="*/ 44 w 901"/>
                <a:gd name="T69" fmla="*/ 131 h 692"/>
                <a:gd name="T70" fmla="*/ 20 w 901"/>
                <a:gd name="T71" fmla="*/ 148 h 692"/>
                <a:gd name="T72" fmla="*/ 5 w 901"/>
                <a:gd name="T73" fmla="*/ 175 h 692"/>
                <a:gd name="T74" fmla="*/ 0 w 901"/>
                <a:gd name="T75" fmla="*/ 210 h 692"/>
                <a:gd name="T76" fmla="*/ 3 w 901"/>
                <a:gd name="T77" fmla="*/ 631 h 692"/>
                <a:gd name="T78" fmla="*/ 18 w 901"/>
                <a:gd name="T79" fmla="*/ 661 h 692"/>
                <a:gd name="T80" fmla="*/ 45 w 901"/>
                <a:gd name="T81" fmla="*/ 682 h 692"/>
                <a:gd name="T82" fmla="*/ 82 w 901"/>
                <a:gd name="T83" fmla="*/ 692 h 692"/>
                <a:gd name="T84" fmla="*/ 820 w 901"/>
                <a:gd name="T85" fmla="*/ 692 h 692"/>
                <a:gd name="T86" fmla="*/ 857 w 901"/>
                <a:gd name="T87" fmla="*/ 682 h 692"/>
                <a:gd name="T88" fmla="*/ 883 w 901"/>
                <a:gd name="T89" fmla="*/ 661 h 692"/>
                <a:gd name="T90" fmla="*/ 898 w 901"/>
                <a:gd name="T91" fmla="*/ 631 h 692"/>
                <a:gd name="T92" fmla="*/ 901 w 901"/>
                <a:gd name="T93" fmla="*/ 196 h 692"/>
                <a:gd name="T94" fmla="*/ 896 w 901"/>
                <a:gd name="T95" fmla="*/ 162 h 692"/>
                <a:gd name="T96" fmla="*/ 880 w 901"/>
                <a:gd name="T97" fmla="*/ 139 h 692"/>
                <a:gd name="T98" fmla="*/ 851 w 901"/>
                <a:gd name="T99" fmla="*/ 125 h 692"/>
                <a:gd name="T100" fmla="*/ 810 w 901"/>
                <a:gd name="T101" fmla="*/ 12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1" h="692">
                  <a:moveTo>
                    <a:pt x="871" y="604"/>
                  </a:moveTo>
                  <a:lnTo>
                    <a:pt x="871" y="610"/>
                  </a:lnTo>
                  <a:lnTo>
                    <a:pt x="870" y="616"/>
                  </a:lnTo>
                  <a:lnTo>
                    <a:pt x="869" y="623"/>
                  </a:lnTo>
                  <a:lnTo>
                    <a:pt x="868" y="628"/>
                  </a:lnTo>
                  <a:lnTo>
                    <a:pt x="866" y="634"/>
                  </a:lnTo>
                  <a:lnTo>
                    <a:pt x="863" y="638"/>
                  </a:lnTo>
                  <a:lnTo>
                    <a:pt x="860" y="642"/>
                  </a:lnTo>
                  <a:lnTo>
                    <a:pt x="856" y="646"/>
                  </a:lnTo>
                  <a:lnTo>
                    <a:pt x="852" y="650"/>
                  </a:lnTo>
                  <a:lnTo>
                    <a:pt x="848" y="653"/>
                  </a:lnTo>
                  <a:lnTo>
                    <a:pt x="842" y="655"/>
                  </a:lnTo>
                  <a:lnTo>
                    <a:pt x="837" y="657"/>
                  </a:lnTo>
                  <a:lnTo>
                    <a:pt x="824" y="660"/>
                  </a:lnTo>
                  <a:lnTo>
                    <a:pt x="808" y="661"/>
                  </a:lnTo>
                  <a:lnTo>
                    <a:pt x="93" y="661"/>
                  </a:lnTo>
                  <a:lnTo>
                    <a:pt x="78" y="660"/>
                  </a:lnTo>
                  <a:lnTo>
                    <a:pt x="65" y="657"/>
                  </a:lnTo>
                  <a:lnTo>
                    <a:pt x="60" y="655"/>
                  </a:lnTo>
                  <a:lnTo>
                    <a:pt x="54" y="653"/>
                  </a:lnTo>
                  <a:lnTo>
                    <a:pt x="50" y="650"/>
                  </a:lnTo>
                  <a:lnTo>
                    <a:pt x="46" y="646"/>
                  </a:lnTo>
                  <a:lnTo>
                    <a:pt x="42" y="642"/>
                  </a:lnTo>
                  <a:lnTo>
                    <a:pt x="38" y="638"/>
                  </a:lnTo>
                  <a:lnTo>
                    <a:pt x="36" y="634"/>
                  </a:lnTo>
                  <a:lnTo>
                    <a:pt x="34" y="628"/>
                  </a:lnTo>
                  <a:lnTo>
                    <a:pt x="32" y="623"/>
                  </a:lnTo>
                  <a:lnTo>
                    <a:pt x="31" y="616"/>
                  </a:lnTo>
                  <a:lnTo>
                    <a:pt x="30" y="610"/>
                  </a:lnTo>
                  <a:lnTo>
                    <a:pt x="30" y="604"/>
                  </a:lnTo>
                  <a:lnTo>
                    <a:pt x="30" y="210"/>
                  </a:lnTo>
                  <a:lnTo>
                    <a:pt x="31" y="196"/>
                  </a:lnTo>
                  <a:lnTo>
                    <a:pt x="34" y="183"/>
                  </a:lnTo>
                  <a:lnTo>
                    <a:pt x="36" y="178"/>
                  </a:lnTo>
                  <a:lnTo>
                    <a:pt x="38" y="174"/>
                  </a:lnTo>
                  <a:lnTo>
                    <a:pt x="42" y="169"/>
                  </a:lnTo>
                  <a:lnTo>
                    <a:pt x="45" y="165"/>
                  </a:lnTo>
                  <a:lnTo>
                    <a:pt x="49" y="162"/>
                  </a:lnTo>
                  <a:lnTo>
                    <a:pt x="53" y="159"/>
                  </a:lnTo>
                  <a:lnTo>
                    <a:pt x="59" y="156"/>
                  </a:lnTo>
                  <a:lnTo>
                    <a:pt x="64" y="154"/>
                  </a:lnTo>
                  <a:lnTo>
                    <a:pt x="76" y="152"/>
                  </a:lnTo>
                  <a:lnTo>
                    <a:pt x="90" y="151"/>
                  </a:lnTo>
                  <a:lnTo>
                    <a:pt x="337" y="151"/>
                  </a:lnTo>
                  <a:lnTo>
                    <a:pt x="405" y="79"/>
                  </a:lnTo>
                  <a:lnTo>
                    <a:pt x="406" y="77"/>
                  </a:lnTo>
                  <a:lnTo>
                    <a:pt x="416" y="64"/>
                  </a:lnTo>
                  <a:lnTo>
                    <a:pt x="428" y="52"/>
                  </a:lnTo>
                  <a:lnTo>
                    <a:pt x="440" y="41"/>
                  </a:lnTo>
                  <a:lnTo>
                    <a:pt x="455" y="31"/>
                  </a:lnTo>
                  <a:lnTo>
                    <a:pt x="636" y="31"/>
                  </a:lnTo>
                  <a:lnTo>
                    <a:pt x="651" y="41"/>
                  </a:lnTo>
                  <a:lnTo>
                    <a:pt x="664" y="52"/>
                  </a:lnTo>
                  <a:lnTo>
                    <a:pt x="675" y="64"/>
                  </a:lnTo>
                  <a:lnTo>
                    <a:pt x="684" y="76"/>
                  </a:lnTo>
                  <a:lnTo>
                    <a:pt x="728" y="151"/>
                  </a:lnTo>
                  <a:lnTo>
                    <a:pt x="810" y="151"/>
                  </a:lnTo>
                  <a:lnTo>
                    <a:pt x="830" y="152"/>
                  </a:lnTo>
                  <a:lnTo>
                    <a:pt x="844" y="154"/>
                  </a:lnTo>
                  <a:lnTo>
                    <a:pt x="850" y="156"/>
                  </a:lnTo>
                  <a:lnTo>
                    <a:pt x="854" y="159"/>
                  </a:lnTo>
                  <a:lnTo>
                    <a:pt x="859" y="161"/>
                  </a:lnTo>
                  <a:lnTo>
                    <a:pt x="863" y="164"/>
                  </a:lnTo>
                  <a:lnTo>
                    <a:pt x="865" y="167"/>
                  </a:lnTo>
                  <a:lnTo>
                    <a:pt x="867" y="170"/>
                  </a:lnTo>
                  <a:lnTo>
                    <a:pt x="869" y="174"/>
                  </a:lnTo>
                  <a:lnTo>
                    <a:pt x="870" y="178"/>
                  </a:lnTo>
                  <a:lnTo>
                    <a:pt x="871" y="186"/>
                  </a:lnTo>
                  <a:lnTo>
                    <a:pt x="871" y="196"/>
                  </a:lnTo>
                  <a:lnTo>
                    <a:pt x="871" y="604"/>
                  </a:lnTo>
                  <a:close/>
                  <a:moveTo>
                    <a:pt x="135" y="76"/>
                  </a:moveTo>
                  <a:lnTo>
                    <a:pt x="165" y="76"/>
                  </a:lnTo>
                  <a:lnTo>
                    <a:pt x="169" y="76"/>
                  </a:lnTo>
                  <a:lnTo>
                    <a:pt x="173" y="78"/>
                  </a:lnTo>
                  <a:lnTo>
                    <a:pt x="178" y="82"/>
                  </a:lnTo>
                  <a:lnTo>
                    <a:pt x="182" y="87"/>
                  </a:lnTo>
                  <a:lnTo>
                    <a:pt x="185" y="91"/>
                  </a:lnTo>
                  <a:lnTo>
                    <a:pt x="187" y="96"/>
                  </a:lnTo>
                  <a:lnTo>
                    <a:pt x="188" y="102"/>
                  </a:lnTo>
                  <a:lnTo>
                    <a:pt x="189" y="106"/>
                  </a:lnTo>
                  <a:lnTo>
                    <a:pt x="189" y="121"/>
                  </a:lnTo>
                  <a:lnTo>
                    <a:pt x="106" y="121"/>
                  </a:lnTo>
                  <a:lnTo>
                    <a:pt x="107" y="106"/>
                  </a:lnTo>
                  <a:lnTo>
                    <a:pt x="108" y="102"/>
                  </a:lnTo>
                  <a:lnTo>
                    <a:pt x="110" y="96"/>
                  </a:lnTo>
                  <a:lnTo>
                    <a:pt x="113" y="91"/>
                  </a:lnTo>
                  <a:lnTo>
                    <a:pt x="117" y="87"/>
                  </a:lnTo>
                  <a:lnTo>
                    <a:pt x="121" y="82"/>
                  </a:lnTo>
                  <a:lnTo>
                    <a:pt x="126" y="78"/>
                  </a:lnTo>
                  <a:lnTo>
                    <a:pt x="131" y="76"/>
                  </a:lnTo>
                  <a:lnTo>
                    <a:pt x="135" y="76"/>
                  </a:lnTo>
                  <a:close/>
                  <a:moveTo>
                    <a:pt x="810" y="121"/>
                  </a:moveTo>
                  <a:lnTo>
                    <a:pt x="745" y="121"/>
                  </a:lnTo>
                  <a:lnTo>
                    <a:pt x="710" y="60"/>
                  </a:lnTo>
                  <a:lnTo>
                    <a:pt x="704" y="52"/>
                  </a:lnTo>
                  <a:lnTo>
                    <a:pt x="698" y="44"/>
                  </a:lnTo>
                  <a:lnTo>
                    <a:pt x="691" y="36"/>
                  </a:lnTo>
                  <a:lnTo>
                    <a:pt x="684" y="30"/>
                  </a:lnTo>
                  <a:lnTo>
                    <a:pt x="667" y="16"/>
                  </a:lnTo>
                  <a:lnTo>
                    <a:pt x="648" y="3"/>
                  </a:lnTo>
                  <a:lnTo>
                    <a:pt x="645" y="0"/>
                  </a:lnTo>
                  <a:lnTo>
                    <a:pt x="447" y="0"/>
                  </a:lnTo>
                  <a:lnTo>
                    <a:pt x="443" y="3"/>
                  </a:lnTo>
                  <a:lnTo>
                    <a:pt x="424" y="16"/>
                  </a:lnTo>
                  <a:lnTo>
                    <a:pt x="408" y="29"/>
                  </a:lnTo>
                  <a:lnTo>
                    <a:pt x="401" y="36"/>
                  </a:lnTo>
                  <a:lnTo>
                    <a:pt x="394" y="44"/>
                  </a:lnTo>
                  <a:lnTo>
                    <a:pt x="388" y="51"/>
                  </a:lnTo>
                  <a:lnTo>
                    <a:pt x="382" y="59"/>
                  </a:lnTo>
                  <a:lnTo>
                    <a:pt x="325" y="121"/>
                  </a:lnTo>
                  <a:lnTo>
                    <a:pt x="220" y="121"/>
                  </a:lnTo>
                  <a:lnTo>
                    <a:pt x="220" y="106"/>
                  </a:lnTo>
                  <a:lnTo>
                    <a:pt x="218" y="95"/>
                  </a:lnTo>
                  <a:lnTo>
                    <a:pt x="215" y="86"/>
                  </a:lnTo>
                  <a:lnTo>
                    <a:pt x="210" y="75"/>
                  </a:lnTo>
                  <a:lnTo>
                    <a:pt x="203" y="65"/>
                  </a:lnTo>
                  <a:lnTo>
                    <a:pt x="196" y="58"/>
                  </a:lnTo>
                  <a:lnTo>
                    <a:pt x="186" y="51"/>
                  </a:lnTo>
                  <a:lnTo>
                    <a:pt x="182" y="49"/>
                  </a:lnTo>
                  <a:lnTo>
                    <a:pt x="177" y="47"/>
                  </a:lnTo>
                  <a:lnTo>
                    <a:pt x="171" y="46"/>
                  </a:lnTo>
                  <a:lnTo>
                    <a:pt x="165" y="46"/>
                  </a:lnTo>
                  <a:lnTo>
                    <a:pt x="135" y="46"/>
                  </a:lnTo>
                  <a:lnTo>
                    <a:pt x="131" y="46"/>
                  </a:lnTo>
                  <a:lnTo>
                    <a:pt x="125" y="47"/>
                  </a:lnTo>
                  <a:lnTo>
                    <a:pt x="120" y="49"/>
                  </a:lnTo>
                  <a:lnTo>
                    <a:pt x="114" y="51"/>
                  </a:lnTo>
                  <a:lnTo>
                    <a:pt x="105" y="57"/>
                  </a:lnTo>
                  <a:lnTo>
                    <a:pt x="96" y="65"/>
                  </a:lnTo>
                  <a:lnTo>
                    <a:pt x="88" y="74"/>
                  </a:lnTo>
                  <a:lnTo>
                    <a:pt x="82" y="85"/>
                  </a:lnTo>
                  <a:lnTo>
                    <a:pt x="80" y="90"/>
                  </a:lnTo>
                  <a:lnTo>
                    <a:pt x="78" y="95"/>
                  </a:lnTo>
                  <a:lnTo>
                    <a:pt x="77" y="101"/>
                  </a:lnTo>
                  <a:lnTo>
                    <a:pt x="77" y="105"/>
                  </a:lnTo>
                  <a:lnTo>
                    <a:pt x="76" y="122"/>
                  </a:lnTo>
                  <a:lnTo>
                    <a:pt x="67" y="123"/>
                  </a:lnTo>
                  <a:lnTo>
                    <a:pt x="59" y="125"/>
                  </a:lnTo>
                  <a:lnTo>
                    <a:pt x="51" y="127"/>
                  </a:lnTo>
                  <a:lnTo>
                    <a:pt x="44" y="131"/>
                  </a:lnTo>
                  <a:lnTo>
                    <a:pt x="37" y="134"/>
                  </a:lnTo>
                  <a:lnTo>
                    <a:pt x="31" y="138"/>
                  </a:lnTo>
                  <a:lnTo>
                    <a:pt x="25" y="142"/>
                  </a:lnTo>
                  <a:lnTo>
                    <a:pt x="20" y="148"/>
                  </a:lnTo>
                  <a:lnTo>
                    <a:pt x="15" y="154"/>
                  </a:lnTo>
                  <a:lnTo>
                    <a:pt x="12" y="161"/>
                  </a:lnTo>
                  <a:lnTo>
                    <a:pt x="8" y="167"/>
                  </a:lnTo>
                  <a:lnTo>
                    <a:pt x="5" y="175"/>
                  </a:lnTo>
                  <a:lnTo>
                    <a:pt x="3" y="183"/>
                  </a:lnTo>
                  <a:lnTo>
                    <a:pt x="1" y="191"/>
                  </a:lnTo>
                  <a:lnTo>
                    <a:pt x="1" y="200"/>
                  </a:lnTo>
                  <a:lnTo>
                    <a:pt x="0" y="210"/>
                  </a:lnTo>
                  <a:lnTo>
                    <a:pt x="0" y="604"/>
                  </a:lnTo>
                  <a:lnTo>
                    <a:pt x="1" y="613"/>
                  </a:lnTo>
                  <a:lnTo>
                    <a:pt x="2" y="623"/>
                  </a:lnTo>
                  <a:lnTo>
                    <a:pt x="3" y="631"/>
                  </a:lnTo>
                  <a:lnTo>
                    <a:pt x="6" y="640"/>
                  </a:lnTo>
                  <a:lnTo>
                    <a:pt x="9" y="648"/>
                  </a:lnTo>
                  <a:lnTo>
                    <a:pt x="14" y="655"/>
                  </a:lnTo>
                  <a:lnTo>
                    <a:pt x="18" y="661"/>
                  </a:lnTo>
                  <a:lnTo>
                    <a:pt x="24" y="668"/>
                  </a:lnTo>
                  <a:lnTo>
                    <a:pt x="30" y="673"/>
                  </a:lnTo>
                  <a:lnTo>
                    <a:pt x="37" y="678"/>
                  </a:lnTo>
                  <a:lnTo>
                    <a:pt x="45" y="682"/>
                  </a:lnTo>
                  <a:lnTo>
                    <a:pt x="53" y="685"/>
                  </a:lnTo>
                  <a:lnTo>
                    <a:pt x="62" y="688"/>
                  </a:lnTo>
                  <a:lnTo>
                    <a:pt x="72" y="689"/>
                  </a:lnTo>
                  <a:lnTo>
                    <a:pt x="82" y="692"/>
                  </a:lnTo>
                  <a:lnTo>
                    <a:pt x="93" y="692"/>
                  </a:lnTo>
                  <a:lnTo>
                    <a:pt x="809" y="692"/>
                  </a:lnTo>
                  <a:lnTo>
                    <a:pt x="809" y="692"/>
                  </a:lnTo>
                  <a:lnTo>
                    <a:pt x="820" y="692"/>
                  </a:lnTo>
                  <a:lnTo>
                    <a:pt x="831" y="689"/>
                  </a:lnTo>
                  <a:lnTo>
                    <a:pt x="840" y="688"/>
                  </a:lnTo>
                  <a:lnTo>
                    <a:pt x="849" y="685"/>
                  </a:lnTo>
                  <a:lnTo>
                    <a:pt x="857" y="682"/>
                  </a:lnTo>
                  <a:lnTo>
                    <a:pt x="865" y="678"/>
                  </a:lnTo>
                  <a:lnTo>
                    <a:pt x="871" y="673"/>
                  </a:lnTo>
                  <a:lnTo>
                    <a:pt x="878" y="668"/>
                  </a:lnTo>
                  <a:lnTo>
                    <a:pt x="883" y="661"/>
                  </a:lnTo>
                  <a:lnTo>
                    <a:pt x="889" y="655"/>
                  </a:lnTo>
                  <a:lnTo>
                    <a:pt x="893" y="648"/>
                  </a:lnTo>
                  <a:lnTo>
                    <a:pt x="896" y="640"/>
                  </a:lnTo>
                  <a:lnTo>
                    <a:pt x="898" y="631"/>
                  </a:lnTo>
                  <a:lnTo>
                    <a:pt x="900" y="623"/>
                  </a:lnTo>
                  <a:lnTo>
                    <a:pt x="901" y="613"/>
                  </a:lnTo>
                  <a:lnTo>
                    <a:pt x="901" y="604"/>
                  </a:lnTo>
                  <a:lnTo>
                    <a:pt x="901" y="196"/>
                  </a:lnTo>
                  <a:lnTo>
                    <a:pt x="901" y="186"/>
                  </a:lnTo>
                  <a:lnTo>
                    <a:pt x="900" y="178"/>
                  </a:lnTo>
                  <a:lnTo>
                    <a:pt x="899" y="169"/>
                  </a:lnTo>
                  <a:lnTo>
                    <a:pt x="896" y="162"/>
                  </a:lnTo>
                  <a:lnTo>
                    <a:pt x="893" y="155"/>
                  </a:lnTo>
                  <a:lnTo>
                    <a:pt x="890" y="149"/>
                  </a:lnTo>
                  <a:lnTo>
                    <a:pt x="885" y="144"/>
                  </a:lnTo>
                  <a:lnTo>
                    <a:pt x="880" y="139"/>
                  </a:lnTo>
                  <a:lnTo>
                    <a:pt x="874" y="135"/>
                  </a:lnTo>
                  <a:lnTo>
                    <a:pt x="867" y="131"/>
                  </a:lnTo>
                  <a:lnTo>
                    <a:pt x="860" y="127"/>
                  </a:lnTo>
                  <a:lnTo>
                    <a:pt x="851" y="125"/>
                  </a:lnTo>
                  <a:lnTo>
                    <a:pt x="842" y="123"/>
                  </a:lnTo>
                  <a:lnTo>
                    <a:pt x="833" y="122"/>
                  </a:lnTo>
                  <a:lnTo>
                    <a:pt x="822" y="121"/>
                  </a:lnTo>
                  <a:lnTo>
                    <a:pt x="810"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315">
              <a:extLst>
                <a:ext uri="{FF2B5EF4-FFF2-40B4-BE49-F238E27FC236}">
                  <a16:creationId xmlns:a16="http://schemas.microsoft.com/office/drawing/2014/main" id="{BF3CA023-8F33-4486-87AC-1128BDD63803}"/>
                </a:ext>
              </a:extLst>
            </p:cNvPr>
            <p:cNvSpPr>
              <a:spLocks noEditPoints="1"/>
            </p:cNvSpPr>
            <p:nvPr/>
          </p:nvSpPr>
          <p:spPr bwMode="auto">
            <a:xfrm>
              <a:off x="7118350" y="3752533"/>
              <a:ext cx="142875" cy="142875"/>
            </a:xfrm>
            <a:custGeom>
              <a:avLst/>
              <a:gdLst>
                <a:gd name="T0" fmla="*/ 186 w 450"/>
                <a:gd name="T1" fmla="*/ 417 h 450"/>
                <a:gd name="T2" fmla="*/ 132 w 450"/>
                <a:gd name="T3" fmla="*/ 397 h 450"/>
                <a:gd name="T4" fmla="*/ 87 w 450"/>
                <a:gd name="T5" fmla="*/ 364 h 450"/>
                <a:gd name="T6" fmla="*/ 54 w 450"/>
                <a:gd name="T7" fmla="*/ 319 h 450"/>
                <a:gd name="T8" fmla="*/ 33 w 450"/>
                <a:gd name="T9" fmla="*/ 265 h 450"/>
                <a:gd name="T10" fmla="*/ 31 w 450"/>
                <a:gd name="T11" fmla="*/ 205 h 450"/>
                <a:gd name="T12" fmla="*/ 45 w 450"/>
                <a:gd name="T13" fmla="*/ 149 h 450"/>
                <a:gd name="T14" fmla="*/ 74 w 450"/>
                <a:gd name="T15" fmla="*/ 101 h 450"/>
                <a:gd name="T16" fmla="*/ 116 w 450"/>
                <a:gd name="T17" fmla="*/ 63 h 450"/>
                <a:gd name="T18" fmla="*/ 167 w 450"/>
                <a:gd name="T19" fmla="*/ 39 h 450"/>
                <a:gd name="T20" fmla="*/ 225 w 450"/>
                <a:gd name="T21" fmla="*/ 30 h 450"/>
                <a:gd name="T22" fmla="*/ 283 w 450"/>
                <a:gd name="T23" fmla="*/ 39 h 450"/>
                <a:gd name="T24" fmla="*/ 335 w 450"/>
                <a:gd name="T25" fmla="*/ 63 h 450"/>
                <a:gd name="T26" fmla="*/ 376 w 450"/>
                <a:gd name="T27" fmla="*/ 101 h 450"/>
                <a:gd name="T28" fmla="*/ 405 w 450"/>
                <a:gd name="T29" fmla="*/ 149 h 450"/>
                <a:gd name="T30" fmla="*/ 419 w 450"/>
                <a:gd name="T31" fmla="*/ 205 h 450"/>
                <a:gd name="T32" fmla="*/ 416 w 450"/>
                <a:gd name="T33" fmla="*/ 265 h 450"/>
                <a:gd name="T34" fmla="*/ 397 w 450"/>
                <a:gd name="T35" fmla="*/ 319 h 450"/>
                <a:gd name="T36" fmla="*/ 363 w 450"/>
                <a:gd name="T37" fmla="*/ 364 h 450"/>
                <a:gd name="T38" fmla="*/ 318 w 450"/>
                <a:gd name="T39" fmla="*/ 397 h 450"/>
                <a:gd name="T40" fmla="*/ 265 w 450"/>
                <a:gd name="T41" fmla="*/ 417 h 450"/>
                <a:gd name="T42" fmla="*/ 225 w 450"/>
                <a:gd name="T43" fmla="*/ 0 h 450"/>
                <a:gd name="T44" fmla="*/ 191 w 450"/>
                <a:gd name="T45" fmla="*/ 2 h 450"/>
                <a:gd name="T46" fmla="*/ 158 w 450"/>
                <a:gd name="T47" fmla="*/ 10 h 450"/>
                <a:gd name="T48" fmla="*/ 118 w 450"/>
                <a:gd name="T49" fmla="*/ 27 h 450"/>
                <a:gd name="T50" fmla="*/ 65 w 450"/>
                <a:gd name="T51" fmla="*/ 65 h 450"/>
                <a:gd name="T52" fmla="*/ 27 w 450"/>
                <a:gd name="T53" fmla="*/ 118 h 450"/>
                <a:gd name="T54" fmla="*/ 10 w 450"/>
                <a:gd name="T55" fmla="*/ 159 h 450"/>
                <a:gd name="T56" fmla="*/ 2 w 450"/>
                <a:gd name="T57" fmla="*/ 191 h 450"/>
                <a:gd name="T58" fmla="*/ 0 w 450"/>
                <a:gd name="T59" fmla="*/ 225 h 450"/>
                <a:gd name="T60" fmla="*/ 2 w 450"/>
                <a:gd name="T61" fmla="*/ 260 h 450"/>
                <a:gd name="T62" fmla="*/ 10 w 450"/>
                <a:gd name="T63" fmla="*/ 292 h 450"/>
                <a:gd name="T64" fmla="*/ 27 w 450"/>
                <a:gd name="T65" fmla="*/ 333 h 450"/>
                <a:gd name="T66" fmla="*/ 65 w 450"/>
                <a:gd name="T67" fmla="*/ 385 h 450"/>
                <a:gd name="T68" fmla="*/ 118 w 450"/>
                <a:gd name="T69" fmla="*/ 424 h 450"/>
                <a:gd name="T70" fmla="*/ 158 w 450"/>
                <a:gd name="T71" fmla="*/ 441 h 450"/>
                <a:gd name="T72" fmla="*/ 191 w 450"/>
                <a:gd name="T73" fmla="*/ 448 h 450"/>
                <a:gd name="T74" fmla="*/ 225 w 450"/>
                <a:gd name="T75" fmla="*/ 450 h 450"/>
                <a:gd name="T76" fmla="*/ 259 w 450"/>
                <a:gd name="T77" fmla="*/ 448 h 450"/>
                <a:gd name="T78" fmla="*/ 292 w 450"/>
                <a:gd name="T79" fmla="*/ 441 h 450"/>
                <a:gd name="T80" fmla="*/ 332 w 450"/>
                <a:gd name="T81" fmla="*/ 424 h 450"/>
                <a:gd name="T82" fmla="*/ 385 w 450"/>
                <a:gd name="T83" fmla="*/ 385 h 450"/>
                <a:gd name="T84" fmla="*/ 424 w 450"/>
                <a:gd name="T85" fmla="*/ 333 h 450"/>
                <a:gd name="T86" fmla="*/ 441 w 450"/>
                <a:gd name="T87" fmla="*/ 292 h 450"/>
                <a:gd name="T88" fmla="*/ 448 w 450"/>
                <a:gd name="T89" fmla="*/ 260 h 450"/>
                <a:gd name="T90" fmla="*/ 450 w 450"/>
                <a:gd name="T91" fmla="*/ 225 h 450"/>
                <a:gd name="T92" fmla="*/ 448 w 450"/>
                <a:gd name="T93" fmla="*/ 191 h 450"/>
                <a:gd name="T94" fmla="*/ 441 w 450"/>
                <a:gd name="T95" fmla="*/ 159 h 450"/>
                <a:gd name="T96" fmla="*/ 424 w 450"/>
                <a:gd name="T97" fmla="*/ 118 h 450"/>
                <a:gd name="T98" fmla="*/ 385 w 450"/>
                <a:gd name="T99" fmla="*/ 65 h 450"/>
                <a:gd name="T100" fmla="*/ 332 w 450"/>
                <a:gd name="T101" fmla="*/ 27 h 450"/>
                <a:gd name="T102" fmla="*/ 292 w 450"/>
                <a:gd name="T103" fmla="*/ 10 h 450"/>
                <a:gd name="T104" fmla="*/ 259 w 450"/>
                <a:gd name="T105" fmla="*/ 2 h 450"/>
                <a:gd name="T106" fmla="*/ 225 w 450"/>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0" h="450">
                  <a:moveTo>
                    <a:pt x="225" y="420"/>
                  </a:moveTo>
                  <a:lnTo>
                    <a:pt x="205" y="419"/>
                  </a:lnTo>
                  <a:lnTo>
                    <a:pt x="186" y="417"/>
                  </a:lnTo>
                  <a:lnTo>
                    <a:pt x="167" y="412"/>
                  </a:lnTo>
                  <a:lnTo>
                    <a:pt x="149" y="405"/>
                  </a:lnTo>
                  <a:lnTo>
                    <a:pt x="132" y="397"/>
                  </a:lnTo>
                  <a:lnTo>
                    <a:pt x="116" y="387"/>
                  </a:lnTo>
                  <a:lnTo>
                    <a:pt x="101" y="376"/>
                  </a:lnTo>
                  <a:lnTo>
                    <a:pt x="87" y="364"/>
                  </a:lnTo>
                  <a:lnTo>
                    <a:pt x="74" y="350"/>
                  </a:lnTo>
                  <a:lnTo>
                    <a:pt x="63" y="335"/>
                  </a:lnTo>
                  <a:lnTo>
                    <a:pt x="54" y="319"/>
                  </a:lnTo>
                  <a:lnTo>
                    <a:pt x="45" y="301"/>
                  </a:lnTo>
                  <a:lnTo>
                    <a:pt x="39" y="283"/>
                  </a:lnTo>
                  <a:lnTo>
                    <a:pt x="33" y="265"/>
                  </a:lnTo>
                  <a:lnTo>
                    <a:pt x="31" y="246"/>
                  </a:lnTo>
                  <a:lnTo>
                    <a:pt x="30" y="225"/>
                  </a:lnTo>
                  <a:lnTo>
                    <a:pt x="31" y="205"/>
                  </a:lnTo>
                  <a:lnTo>
                    <a:pt x="33" y="186"/>
                  </a:lnTo>
                  <a:lnTo>
                    <a:pt x="39" y="167"/>
                  </a:lnTo>
                  <a:lnTo>
                    <a:pt x="45" y="149"/>
                  </a:lnTo>
                  <a:lnTo>
                    <a:pt x="54" y="132"/>
                  </a:lnTo>
                  <a:lnTo>
                    <a:pt x="63" y="116"/>
                  </a:lnTo>
                  <a:lnTo>
                    <a:pt x="74" y="101"/>
                  </a:lnTo>
                  <a:lnTo>
                    <a:pt x="87" y="87"/>
                  </a:lnTo>
                  <a:lnTo>
                    <a:pt x="101" y="74"/>
                  </a:lnTo>
                  <a:lnTo>
                    <a:pt x="116" y="63"/>
                  </a:lnTo>
                  <a:lnTo>
                    <a:pt x="132" y="54"/>
                  </a:lnTo>
                  <a:lnTo>
                    <a:pt x="149" y="45"/>
                  </a:lnTo>
                  <a:lnTo>
                    <a:pt x="167" y="39"/>
                  </a:lnTo>
                  <a:lnTo>
                    <a:pt x="186" y="33"/>
                  </a:lnTo>
                  <a:lnTo>
                    <a:pt x="205" y="31"/>
                  </a:lnTo>
                  <a:lnTo>
                    <a:pt x="225" y="30"/>
                  </a:lnTo>
                  <a:lnTo>
                    <a:pt x="246" y="31"/>
                  </a:lnTo>
                  <a:lnTo>
                    <a:pt x="265" y="33"/>
                  </a:lnTo>
                  <a:lnTo>
                    <a:pt x="283" y="39"/>
                  </a:lnTo>
                  <a:lnTo>
                    <a:pt x="301" y="45"/>
                  </a:lnTo>
                  <a:lnTo>
                    <a:pt x="318" y="54"/>
                  </a:lnTo>
                  <a:lnTo>
                    <a:pt x="335" y="63"/>
                  </a:lnTo>
                  <a:lnTo>
                    <a:pt x="350" y="74"/>
                  </a:lnTo>
                  <a:lnTo>
                    <a:pt x="363" y="87"/>
                  </a:lnTo>
                  <a:lnTo>
                    <a:pt x="376" y="101"/>
                  </a:lnTo>
                  <a:lnTo>
                    <a:pt x="387" y="116"/>
                  </a:lnTo>
                  <a:lnTo>
                    <a:pt x="397" y="132"/>
                  </a:lnTo>
                  <a:lnTo>
                    <a:pt x="405" y="149"/>
                  </a:lnTo>
                  <a:lnTo>
                    <a:pt x="412" y="167"/>
                  </a:lnTo>
                  <a:lnTo>
                    <a:pt x="416" y="186"/>
                  </a:lnTo>
                  <a:lnTo>
                    <a:pt x="419" y="205"/>
                  </a:lnTo>
                  <a:lnTo>
                    <a:pt x="420" y="225"/>
                  </a:lnTo>
                  <a:lnTo>
                    <a:pt x="419" y="246"/>
                  </a:lnTo>
                  <a:lnTo>
                    <a:pt x="416" y="265"/>
                  </a:lnTo>
                  <a:lnTo>
                    <a:pt x="412" y="283"/>
                  </a:lnTo>
                  <a:lnTo>
                    <a:pt x="405" y="301"/>
                  </a:lnTo>
                  <a:lnTo>
                    <a:pt x="397" y="319"/>
                  </a:lnTo>
                  <a:lnTo>
                    <a:pt x="387" y="335"/>
                  </a:lnTo>
                  <a:lnTo>
                    <a:pt x="376" y="350"/>
                  </a:lnTo>
                  <a:lnTo>
                    <a:pt x="363" y="364"/>
                  </a:lnTo>
                  <a:lnTo>
                    <a:pt x="350" y="376"/>
                  </a:lnTo>
                  <a:lnTo>
                    <a:pt x="335" y="387"/>
                  </a:lnTo>
                  <a:lnTo>
                    <a:pt x="318" y="397"/>
                  </a:lnTo>
                  <a:lnTo>
                    <a:pt x="301" y="405"/>
                  </a:lnTo>
                  <a:lnTo>
                    <a:pt x="283" y="412"/>
                  </a:lnTo>
                  <a:lnTo>
                    <a:pt x="265" y="417"/>
                  </a:lnTo>
                  <a:lnTo>
                    <a:pt x="246" y="419"/>
                  </a:lnTo>
                  <a:lnTo>
                    <a:pt x="225" y="420"/>
                  </a:lnTo>
                  <a:close/>
                  <a:moveTo>
                    <a:pt x="225" y="0"/>
                  </a:moveTo>
                  <a:lnTo>
                    <a:pt x="213" y="0"/>
                  </a:lnTo>
                  <a:lnTo>
                    <a:pt x="202" y="1"/>
                  </a:lnTo>
                  <a:lnTo>
                    <a:pt x="191" y="2"/>
                  </a:lnTo>
                  <a:lnTo>
                    <a:pt x="180" y="4"/>
                  </a:lnTo>
                  <a:lnTo>
                    <a:pt x="168" y="7"/>
                  </a:lnTo>
                  <a:lnTo>
                    <a:pt x="158" y="10"/>
                  </a:lnTo>
                  <a:lnTo>
                    <a:pt x="148" y="14"/>
                  </a:lnTo>
                  <a:lnTo>
                    <a:pt x="137" y="17"/>
                  </a:lnTo>
                  <a:lnTo>
                    <a:pt x="118" y="27"/>
                  </a:lnTo>
                  <a:lnTo>
                    <a:pt x="99" y="39"/>
                  </a:lnTo>
                  <a:lnTo>
                    <a:pt x="82" y="52"/>
                  </a:lnTo>
                  <a:lnTo>
                    <a:pt x="65" y="65"/>
                  </a:lnTo>
                  <a:lnTo>
                    <a:pt x="51" y="82"/>
                  </a:lnTo>
                  <a:lnTo>
                    <a:pt x="39" y="100"/>
                  </a:lnTo>
                  <a:lnTo>
                    <a:pt x="27" y="118"/>
                  </a:lnTo>
                  <a:lnTo>
                    <a:pt x="17" y="137"/>
                  </a:lnTo>
                  <a:lnTo>
                    <a:pt x="13" y="148"/>
                  </a:lnTo>
                  <a:lnTo>
                    <a:pt x="10" y="159"/>
                  </a:lnTo>
                  <a:lnTo>
                    <a:pt x="6" y="170"/>
                  </a:lnTo>
                  <a:lnTo>
                    <a:pt x="4" y="180"/>
                  </a:lnTo>
                  <a:lnTo>
                    <a:pt x="2" y="191"/>
                  </a:lnTo>
                  <a:lnTo>
                    <a:pt x="1" y="203"/>
                  </a:lnTo>
                  <a:lnTo>
                    <a:pt x="0" y="213"/>
                  </a:lnTo>
                  <a:lnTo>
                    <a:pt x="0" y="225"/>
                  </a:lnTo>
                  <a:lnTo>
                    <a:pt x="0" y="237"/>
                  </a:lnTo>
                  <a:lnTo>
                    <a:pt x="1" y="248"/>
                  </a:lnTo>
                  <a:lnTo>
                    <a:pt x="2" y="260"/>
                  </a:lnTo>
                  <a:lnTo>
                    <a:pt x="4" y="270"/>
                  </a:lnTo>
                  <a:lnTo>
                    <a:pt x="6" y="282"/>
                  </a:lnTo>
                  <a:lnTo>
                    <a:pt x="10" y="292"/>
                  </a:lnTo>
                  <a:lnTo>
                    <a:pt x="13" y="302"/>
                  </a:lnTo>
                  <a:lnTo>
                    <a:pt x="17" y="313"/>
                  </a:lnTo>
                  <a:lnTo>
                    <a:pt x="27" y="333"/>
                  </a:lnTo>
                  <a:lnTo>
                    <a:pt x="39" y="352"/>
                  </a:lnTo>
                  <a:lnTo>
                    <a:pt x="51" y="369"/>
                  </a:lnTo>
                  <a:lnTo>
                    <a:pt x="65" y="385"/>
                  </a:lnTo>
                  <a:lnTo>
                    <a:pt x="82" y="399"/>
                  </a:lnTo>
                  <a:lnTo>
                    <a:pt x="99" y="412"/>
                  </a:lnTo>
                  <a:lnTo>
                    <a:pt x="118" y="424"/>
                  </a:lnTo>
                  <a:lnTo>
                    <a:pt x="137" y="433"/>
                  </a:lnTo>
                  <a:lnTo>
                    <a:pt x="148" y="438"/>
                  </a:lnTo>
                  <a:lnTo>
                    <a:pt x="158" y="441"/>
                  </a:lnTo>
                  <a:lnTo>
                    <a:pt x="168" y="444"/>
                  </a:lnTo>
                  <a:lnTo>
                    <a:pt x="180" y="446"/>
                  </a:lnTo>
                  <a:lnTo>
                    <a:pt x="191" y="448"/>
                  </a:lnTo>
                  <a:lnTo>
                    <a:pt x="202" y="449"/>
                  </a:lnTo>
                  <a:lnTo>
                    <a:pt x="213" y="450"/>
                  </a:lnTo>
                  <a:lnTo>
                    <a:pt x="225" y="450"/>
                  </a:lnTo>
                  <a:lnTo>
                    <a:pt x="237" y="450"/>
                  </a:lnTo>
                  <a:lnTo>
                    <a:pt x="248" y="449"/>
                  </a:lnTo>
                  <a:lnTo>
                    <a:pt x="259" y="448"/>
                  </a:lnTo>
                  <a:lnTo>
                    <a:pt x="270" y="446"/>
                  </a:lnTo>
                  <a:lnTo>
                    <a:pt x="281" y="444"/>
                  </a:lnTo>
                  <a:lnTo>
                    <a:pt x="292" y="441"/>
                  </a:lnTo>
                  <a:lnTo>
                    <a:pt x="302" y="438"/>
                  </a:lnTo>
                  <a:lnTo>
                    <a:pt x="313" y="433"/>
                  </a:lnTo>
                  <a:lnTo>
                    <a:pt x="332" y="424"/>
                  </a:lnTo>
                  <a:lnTo>
                    <a:pt x="351" y="412"/>
                  </a:lnTo>
                  <a:lnTo>
                    <a:pt x="369" y="399"/>
                  </a:lnTo>
                  <a:lnTo>
                    <a:pt x="385" y="385"/>
                  </a:lnTo>
                  <a:lnTo>
                    <a:pt x="399" y="369"/>
                  </a:lnTo>
                  <a:lnTo>
                    <a:pt x="412" y="351"/>
                  </a:lnTo>
                  <a:lnTo>
                    <a:pt x="424" y="333"/>
                  </a:lnTo>
                  <a:lnTo>
                    <a:pt x="433" y="313"/>
                  </a:lnTo>
                  <a:lnTo>
                    <a:pt x="436" y="302"/>
                  </a:lnTo>
                  <a:lnTo>
                    <a:pt x="441" y="292"/>
                  </a:lnTo>
                  <a:lnTo>
                    <a:pt x="444" y="282"/>
                  </a:lnTo>
                  <a:lnTo>
                    <a:pt x="446" y="270"/>
                  </a:lnTo>
                  <a:lnTo>
                    <a:pt x="448" y="260"/>
                  </a:lnTo>
                  <a:lnTo>
                    <a:pt x="449" y="248"/>
                  </a:lnTo>
                  <a:lnTo>
                    <a:pt x="450" y="237"/>
                  </a:lnTo>
                  <a:lnTo>
                    <a:pt x="450" y="225"/>
                  </a:lnTo>
                  <a:lnTo>
                    <a:pt x="450" y="213"/>
                  </a:lnTo>
                  <a:lnTo>
                    <a:pt x="449" y="203"/>
                  </a:lnTo>
                  <a:lnTo>
                    <a:pt x="448" y="191"/>
                  </a:lnTo>
                  <a:lnTo>
                    <a:pt x="446" y="180"/>
                  </a:lnTo>
                  <a:lnTo>
                    <a:pt x="444" y="170"/>
                  </a:lnTo>
                  <a:lnTo>
                    <a:pt x="441" y="159"/>
                  </a:lnTo>
                  <a:lnTo>
                    <a:pt x="436" y="148"/>
                  </a:lnTo>
                  <a:lnTo>
                    <a:pt x="433" y="137"/>
                  </a:lnTo>
                  <a:lnTo>
                    <a:pt x="424" y="118"/>
                  </a:lnTo>
                  <a:lnTo>
                    <a:pt x="412" y="100"/>
                  </a:lnTo>
                  <a:lnTo>
                    <a:pt x="399" y="82"/>
                  </a:lnTo>
                  <a:lnTo>
                    <a:pt x="385" y="65"/>
                  </a:lnTo>
                  <a:lnTo>
                    <a:pt x="369" y="52"/>
                  </a:lnTo>
                  <a:lnTo>
                    <a:pt x="351" y="39"/>
                  </a:lnTo>
                  <a:lnTo>
                    <a:pt x="332" y="27"/>
                  </a:lnTo>
                  <a:lnTo>
                    <a:pt x="313" y="17"/>
                  </a:lnTo>
                  <a:lnTo>
                    <a:pt x="302" y="14"/>
                  </a:lnTo>
                  <a:lnTo>
                    <a:pt x="292" y="10"/>
                  </a:lnTo>
                  <a:lnTo>
                    <a:pt x="281" y="7"/>
                  </a:lnTo>
                  <a:lnTo>
                    <a:pt x="270" y="4"/>
                  </a:lnTo>
                  <a:lnTo>
                    <a:pt x="259" y="2"/>
                  </a:lnTo>
                  <a:lnTo>
                    <a:pt x="248" y="1"/>
                  </a:lnTo>
                  <a:lnTo>
                    <a:pt x="237"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316">
              <a:extLst>
                <a:ext uri="{FF2B5EF4-FFF2-40B4-BE49-F238E27FC236}">
                  <a16:creationId xmlns:a16="http://schemas.microsoft.com/office/drawing/2014/main" id="{0A00133A-4258-47F5-8FC4-05051A758374}"/>
                </a:ext>
              </a:extLst>
            </p:cNvPr>
            <p:cNvSpPr>
              <a:spLocks noEditPoints="1"/>
            </p:cNvSpPr>
            <p:nvPr/>
          </p:nvSpPr>
          <p:spPr bwMode="auto">
            <a:xfrm>
              <a:off x="7146925" y="3781108"/>
              <a:ext cx="85725" cy="85725"/>
            </a:xfrm>
            <a:custGeom>
              <a:avLst/>
              <a:gdLst>
                <a:gd name="T0" fmla="*/ 114 w 270"/>
                <a:gd name="T1" fmla="*/ 238 h 270"/>
                <a:gd name="T2" fmla="*/ 85 w 270"/>
                <a:gd name="T3" fmla="*/ 227 h 270"/>
                <a:gd name="T4" fmla="*/ 61 w 270"/>
                <a:gd name="T5" fmla="*/ 209 h 270"/>
                <a:gd name="T6" fmla="*/ 43 w 270"/>
                <a:gd name="T7" fmla="*/ 186 h 270"/>
                <a:gd name="T8" fmla="*/ 32 w 270"/>
                <a:gd name="T9" fmla="*/ 157 h 270"/>
                <a:gd name="T10" fmla="*/ 30 w 270"/>
                <a:gd name="T11" fmla="*/ 125 h 270"/>
                <a:gd name="T12" fmla="*/ 39 w 270"/>
                <a:gd name="T13" fmla="*/ 95 h 270"/>
                <a:gd name="T14" fmla="*/ 54 w 270"/>
                <a:gd name="T15" fmla="*/ 69 h 270"/>
                <a:gd name="T16" fmla="*/ 76 w 270"/>
                <a:gd name="T17" fmla="*/ 48 h 270"/>
                <a:gd name="T18" fmla="*/ 104 w 270"/>
                <a:gd name="T19" fmla="*/ 34 h 270"/>
                <a:gd name="T20" fmla="*/ 135 w 270"/>
                <a:gd name="T21" fmla="*/ 30 h 270"/>
                <a:gd name="T22" fmla="*/ 166 w 270"/>
                <a:gd name="T23" fmla="*/ 34 h 270"/>
                <a:gd name="T24" fmla="*/ 194 w 270"/>
                <a:gd name="T25" fmla="*/ 48 h 270"/>
                <a:gd name="T26" fmla="*/ 217 w 270"/>
                <a:gd name="T27" fmla="*/ 69 h 270"/>
                <a:gd name="T28" fmla="*/ 232 w 270"/>
                <a:gd name="T29" fmla="*/ 95 h 270"/>
                <a:gd name="T30" fmla="*/ 240 w 270"/>
                <a:gd name="T31" fmla="*/ 125 h 270"/>
                <a:gd name="T32" fmla="*/ 238 w 270"/>
                <a:gd name="T33" fmla="*/ 157 h 270"/>
                <a:gd name="T34" fmla="*/ 227 w 270"/>
                <a:gd name="T35" fmla="*/ 186 h 270"/>
                <a:gd name="T36" fmla="*/ 209 w 270"/>
                <a:gd name="T37" fmla="*/ 209 h 270"/>
                <a:gd name="T38" fmla="*/ 186 w 270"/>
                <a:gd name="T39" fmla="*/ 227 h 270"/>
                <a:gd name="T40" fmla="*/ 157 w 270"/>
                <a:gd name="T41" fmla="*/ 238 h 270"/>
                <a:gd name="T42" fmla="*/ 135 w 270"/>
                <a:gd name="T43" fmla="*/ 0 h 270"/>
                <a:gd name="T44" fmla="*/ 94 w 270"/>
                <a:gd name="T45" fmla="*/ 7 h 270"/>
                <a:gd name="T46" fmla="*/ 59 w 270"/>
                <a:gd name="T47" fmla="*/ 23 h 270"/>
                <a:gd name="T48" fmla="*/ 31 w 270"/>
                <a:gd name="T49" fmla="*/ 49 h 270"/>
                <a:gd name="T50" fmla="*/ 11 w 270"/>
                <a:gd name="T51" fmla="*/ 83 h 270"/>
                <a:gd name="T52" fmla="*/ 0 w 270"/>
                <a:gd name="T53" fmla="*/ 121 h 270"/>
                <a:gd name="T54" fmla="*/ 2 w 270"/>
                <a:gd name="T55" fmla="*/ 162 h 270"/>
                <a:gd name="T56" fmla="*/ 16 w 270"/>
                <a:gd name="T57" fmla="*/ 200 h 270"/>
                <a:gd name="T58" fmla="*/ 40 w 270"/>
                <a:gd name="T59" fmla="*/ 231 h 270"/>
                <a:gd name="T60" fmla="*/ 71 w 270"/>
                <a:gd name="T61" fmla="*/ 254 h 270"/>
                <a:gd name="T62" fmla="*/ 108 w 270"/>
                <a:gd name="T63" fmla="*/ 268 h 270"/>
                <a:gd name="T64" fmla="*/ 149 w 270"/>
                <a:gd name="T65" fmla="*/ 270 h 270"/>
                <a:gd name="T66" fmla="*/ 188 w 270"/>
                <a:gd name="T67" fmla="*/ 260 h 270"/>
                <a:gd name="T68" fmla="*/ 221 w 270"/>
                <a:gd name="T69" fmla="*/ 239 h 270"/>
                <a:gd name="T70" fmla="*/ 248 w 270"/>
                <a:gd name="T71" fmla="*/ 210 h 270"/>
                <a:gd name="T72" fmla="*/ 264 w 270"/>
                <a:gd name="T73" fmla="*/ 175 h 270"/>
                <a:gd name="T74" fmla="*/ 270 w 270"/>
                <a:gd name="T75" fmla="*/ 135 h 270"/>
                <a:gd name="T76" fmla="*/ 264 w 270"/>
                <a:gd name="T77" fmla="*/ 96 h 270"/>
                <a:gd name="T78" fmla="*/ 248 w 270"/>
                <a:gd name="T79" fmla="*/ 60 h 270"/>
                <a:gd name="T80" fmla="*/ 221 w 270"/>
                <a:gd name="T81" fmla="*/ 31 h 270"/>
                <a:gd name="T82" fmla="*/ 188 w 270"/>
                <a:gd name="T83" fmla="*/ 11 h 270"/>
                <a:gd name="T84" fmla="*/ 149 w 270"/>
                <a:gd name="T8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0" h="270">
                  <a:moveTo>
                    <a:pt x="135" y="240"/>
                  </a:moveTo>
                  <a:lnTo>
                    <a:pt x="124" y="240"/>
                  </a:lnTo>
                  <a:lnTo>
                    <a:pt x="114" y="238"/>
                  </a:lnTo>
                  <a:lnTo>
                    <a:pt x="104" y="236"/>
                  </a:lnTo>
                  <a:lnTo>
                    <a:pt x="94" y="232"/>
                  </a:lnTo>
                  <a:lnTo>
                    <a:pt x="85" y="227"/>
                  </a:lnTo>
                  <a:lnTo>
                    <a:pt x="76" y="222"/>
                  </a:lnTo>
                  <a:lnTo>
                    <a:pt x="69" y="217"/>
                  </a:lnTo>
                  <a:lnTo>
                    <a:pt x="61" y="209"/>
                  </a:lnTo>
                  <a:lnTo>
                    <a:pt x="54" y="202"/>
                  </a:lnTo>
                  <a:lnTo>
                    <a:pt x="48" y="194"/>
                  </a:lnTo>
                  <a:lnTo>
                    <a:pt x="43" y="186"/>
                  </a:lnTo>
                  <a:lnTo>
                    <a:pt x="39" y="176"/>
                  </a:lnTo>
                  <a:lnTo>
                    <a:pt x="34" y="166"/>
                  </a:lnTo>
                  <a:lnTo>
                    <a:pt x="32" y="157"/>
                  </a:lnTo>
                  <a:lnTo>
                    <a:pt x="30" y="146"/>
                  </a:lnTo>
                  <a:lnTo>
                    <a:pt x="30" y="135"/>
                  </a:lnTo>
                  <a:lnTo>
                    <a:pt x="30" y="125"/>
                  </a:lnTo>
                  <a:lnTo>
                    <a:pt x="32" y="114"/>
                  </a:lnTo>
                  <a:lnTo>
                    <a:pt x="34" y="104"/>
                  </a:lnTo>
                  <a:lnTo>
                    <a:pt x="39" y="95"/>
                  </a:lnTo>
                  <a:lnTo>
                    <a:pt x="43" y="85"/>
                  </a:lnTo>
                  <a:lnTo>
                    <a:pt x="48" y="76"/>
                  </a:lnTo>
                  <a:lnTo>
                    <a:pt x="54" y="69"/>
                  </a:lnTo>
                  <a:lnTo>
                    <a:pt x="61" y="61"/>
                  </a:lnTo>
                  <a:lnTo>
                    <a:pt x="69" y="54"/>
                  </a:lnTo>
                  <a:lnTo>
                    <a:pt x="76" y="48"/>
                  </a:lnTo>
                  <a:lnTo>
                    <a:pt x="85" y="43"/>
                  </a:lnTo>
                  <a:lnTo>
                    <a:pt x="94" y="39"/>
                  </a:lnTo>
                  <a:lnTo>
                    <a:pt x="104" y="34"/>
                  </a:lnTo>
                  <a:lnTo>
                    <a:pt x="114" y="32"/>
                  </a:lnTo>
                  <a:lnTo>
                    <a:pt x="124" y="30"/>
                  </a:lnTo>
                  <a:lnTo>
                    <a:pt x="135" y="30"/>
                  </a:lnTo>
                  <a:lnTo>
                    <a:pt x="146" y="30"/>
                  </a:lnTo>
                  <a:lnTo>
                    <a:pt x="157" y="32"/>
                  </a:lnTo>
                  <a:lnTo>
                    <a:pt x="166" y="34"/>
                  </a:lnTo>
                  <a:lnTo>
                    <a:pt x="176" y="39"/>
                  </a:lnTo>
                  <a:lnTo>
                    <a:pt x="186" y="43"/>
                  </a:lnTo>
                  <a:lnTo>
                    <a:pt x="194" y="48"/>
                  </a:lnTo>
                  <a:lnTo>
                    <a:pt x="202" y="54"/>
                  </a:lnTo>
                  <a:lnTo>
                    <a:pt x="209" y="61"/>
                  </a:lnTo>
                  <a:lnTo>
                    <a:pt x="217" y="69"/>
                  </a:lnTo>
                  <a:lnTo>
                    <a:pt x="222" y="76"/>
                  </a:lnTo>
                  <a:lnTo>
                    <a:pt x="227" y="85"/>
                  </a:lnTo>
                  <a:lnTo>
                    <a:pt x="232" y="95"/>
                  </a:lnTo>
                  <a:lnTo>
                    <a:pt x="236" y="104"/>
                  </a:lnTo>
                  <a:lnTo>
                    <a:pt x="238" y="114"/>
                  </a:lnTo>
                  <a:lnTo>
                    <a:pt x="240" y="125"/>
                  </a:lnTo>
                  <a:lnTo>
                    <a:pt x="240" y="135"/>
                  </a:lnTo>
                  <a:lnTo>
                    <a:pt x="240" y="146"/>
                  </a:lnTo>
                  <a:lnTo>
                    <a:pt x="238" y="157"/>
                  </a:lnTo>
                  <a:lnTo>
                    <a:pt x="236" y="166"/>
                  </a:lnTo>
                  <a:lnTo>
                    <a:pt x="232" y="176"/>
                  </a:lnTo>
                  <a:lnTo>
                    <a:pt x="227" y="186"/>
                  </a:lnTo>
                  <a:lnTo>
                    <a:pt x="222" y="194"/>
                  </a:lnTo>
                  <a:lnTo>
                    <a:pt x="217" y="202"/>
                  </a:lnTo>
                  <a:lnTo>
                    <a:pt x="209" y="209"/>
                  </a:lnTo>
                  <a:lnTo>
                    <a:pt x="202" y="217"/>
                  </a:lnTo>
                  <a:lnTo>
                    <a:pt x="194" y="222"/>
                  </a:lnTo>
                  <a:lnTo>
                    <a:pt x="186" y="227"/>
                  </a:lnTo>
                  <a:lnTo>
                    <a:pt x="176" y="232"/>
                  </a:lnTo>
                  <a:lnTo>
                    <a:pt x="166" y="236"/>
                  </a:lnTo>
                  <a:lnTo>
                    <a:pt x="157" y="238"/>
                  </a:lnTo>
                  <a:lnTo>
                    <a:pt x="146" y="240"/>
                  </a:lnTo>
                  <a:lnTo>
                    <a:pt x="135" y="240"/>
                  </a:lnTo>
                  <a:close/>
                  <a:moveTo>
                    <a:pt x="135" y="0"/>
                  </a:moveTo>
                  <a:lnTo>
                    <a:pt x="121" y="0"/>
                  </a:lnTo>
                  <a:lnTo>
                    <a:pt x="108" y="2"/>
                  </a:lnTo>
                  <a:lnTo>
                    <a:pt x="94" y="7"/>
                  </a:lnTo>
                  <a:lnTo>
                    <a:pt x="83" y="11"/>
                  </a:lnTo>
                  <a:lnTo>
                    <a:pt x="71" y="16"/>
                  </a:lnTo>
                  <a:lnTo>
                    <a:pt x="59" y="23"/>
                  </a:lnTo>
                  <a:lnTo>
                    <a:pt x="49" y="31"/>
                  </a:lnTo>
                  <a:lnTo>
                    <a:pt x="40" y="40"/>
                  </a:lnTo>
                  <a:lnTo>
                    <a:pt x="31" y="49"/>
                  </a:lnTo>
                  <a:lnTo>
                    <a:pt x="23" y="60"/>
                  </a:lnTo>
                  <a:lnTo>
                    <a:pt x="16" y="71"/>
                  </a:lnTo>
                  <a:lnTo>
                    <a:pt x="11" y="83"/>
                  </a:lnTo>
                  <a:lnTo>
                    <a:pt x="5" y="96"/>
                  </a:lnTo>
                  <a:lnTo>
                    <a:pt x="2" y="108"/>
                  </a:lnTo>
                  <a:lnTo>
                    <a:pt x="0" y="121"/>
                  </a:lnTo>
                  <a:lnTo>
                    <a:pt x="0" y="135"/>
                  </a:lnTo>
                  <a:lnTo>
                    <a:pt x="0" y="149"/>
                  </a:lnTo>
                  <a:lnTo>
                    <a:pt x="2" y="162"/>
                  </a:lnTo>
                  <a:lnTo>
                    <a:pt x="5" y="175"/>
                  </a:lnTo>
                  <a:lnTo>
                    <a:pt x="11" y="188"/>
                  </a:lnTo>
                  <a:lnTo>
                    <a:pt x="16" y="200"/>
                  </a:lnTo>
                  <a:lnTo>
                    <a:pt x="23" y="210"/>
                  </a:lnTo>
                  <a:lnTo>
                    <a:pt x="31" y="221"/>
                  </a:lnTo>
                  <a:lnTo>
                    <a:pt x="40" y="231"/>
                  </a:lnTo>
                  <a:lnTo>
                    <a:pt x="49" y="239"/>
                  </a:lnTo>
                  <a:lnTo>
                    <a:pt x="59" y="248"/>
                  </a:lnTo>
                  <a:lnTo>
                    <a:pt x="71" y="254"/>
                  </a:lnTo>
                  <a:lnTo>
                    <a:pt x="83" y="260"/>
                  </a:lnTo>
                  <a:lnTo>
                    <a:pt x="94" y="265"/>
                  </a:lnTo>
                  <a:lnTo>
                    <a:pt x="108" y="268"/>
                  </a:lnTo>
                  <a:lnTo>
                    <a:pt x="121" y="270"/>
                  </a:lnTo>
                  <a:lnTo>
                    <a:pt x="135" y="270"/>
                  </a:lnTo>
                  <a:lnTo>
                    <a:pt x="149" y="270"/>
                  </a:lnTo>
                  <a:lnTo>
                    <a:pt x="162" y="268"/>
                  </a:lnTo>
                  <a:lnTo>
                    <a:pt x="175" y="265"/>
                  </a:lnTo>
                  <a:lnTo>
                    <a:pt x="188" y="260"/>
                  </a:lnTo>
                  <a:lnTo>
                    <a:pt x="200" y="254"/>
                  </a:lnTo>
                  <a:lnTo>
                    <a:pt x="210" y="248"/>
                  </a:lnTo>
                  <a:lnTo>
                    <a:pt x="221" y="239"/>
                  </a:lnTo>
                  <a:lnTo>
                    <a:pt x="231" y="231"/>
                  </a:lnTo>
                  <a:lnTo>
                    <a:pt x="239" y="221"/>
                  </a:lnTo>
                  <a:lnTo>
                    <a:pt x="248" y="210"/>
                  </a:lnTo>
                  <a:lnTo>
                    <a:pt x="254" y="200"/>
                  </a:lnTo>
                  <a:lnTo>
                    <a:pt x="260" y="188"/>
                  </a:lnTo>
                  <a:lnTo>
                    <a:pt x="264" y="175"/>
                  </a:lnTo>
                  <a:lnTo>
                    <a:pt x="268" y="162"/>
                  </a:lnTo>
                  <a:lnTo>
                    <a:pt x="269" y="149"/>
                  </a:lnTo>
                  <a:lnTo>
                    <a:pt x="270" y="135"/>
                  </a:lnTo>
                  <a:lnTo>
                    <a:pt x="269" y="121"/>
                  </a:lnTo>
                  <a:lnTo>
                    <a:pt x="268" y="108"/>
                  </a:lnTo>
                  <a:lnTo>
                    <a:pt x="264" y="96"/>
                  </a:lnTo>
                  <a:lnTo>
                    <a:pt x="260" y="83"/>
                  </a:lnTo>
                  <a:lnTo>
                    <a:pt x="254" y="71"/>
                  </a:lnTo>
                  <a:lnTo>
                    <a:pt x="248" y="60"/>
                  </a:lnTo>
                  <a:lnTo>
                    <a:pt x="239" y="49"/>
                  </a:lnTo>
                  <a:lnTo>
                    <a:pt x="231" y="40"/>
                  </a:lnTo>
                  <a:lnTo>
                    <a:pt x="221" y="31"/>
                  </a:lnTo>
                  <a:lnTo>
                    <a:pt x="210" y="23"/>
                  </a:lnTo>
                  <a:lnTo>
                    <a:pt x="200" y="16"/>
                  </a:lnTo>
                  <a:lnTo>
                    <a:pt x="188" y="11"/>
                  </a:lnTo>
                  <a:lnTo>
                    <a:pt x="175" y="7"/>
                  </a:lnTo>
                  <a:lnTo>
                    <a:pt x="162" y="2"/>
                  </a:lnTo>
                  <a:lnTo>
                    <a:pt x="149"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317">
              <a:extLst>
                <a:ext uri="{FF2B5EF4-FFF2-40B4-BE49-F238E27FC236}">
                  <a16:creationId xmlns:a16="http://schemas.microsoft.com/office/drawing/2014/main" id="{8900B7A5-FD82-4E19-8A7C-6289537FCDDD}"/>
                </a:ext>
              </a:extLst>
            </p:cNvPr>
            <p:cNvSpPr>
              <a:spLocks noEditPoints="1"/>
            </p:cNvSpPr>
            <p:nvPr/>
          </p:nvSpPr>
          <p:spPr bwMode="auto">
            <a:xfrm>
              <a:off x="7037388" y="3766820"/>
              <a:ext cx="47625" cy="47625"/>
            </a:xfrm>
            <a:custGeom>
              <a:avLst/>
              <a:gdLst>
                <a:gd name="T0" fmla="*/ 66 w 150"/>
                <a:gd name="T1" fmla="*/ 119 h 150"/>
                <a:gd name="T2" fmla="*/ 50 w 150"/>
                <a:gd name="T3" fmla="*/ 113 h 150"/>
                <a:gd name="T4" fmla="*/ 38 w 150"/>
                <a:gd name="T5" fmla="*/ 100 h 150"/>
                <a:gd name="T6" fmla="*/ 31 w 150"/>
                <a:gd name="T7" fmla="*/ 84 h 150"/>
                <a:gd name="T8" fmla="*/ 31 w 150"/>
                <a:gd name="T9" fmla="*/ 66 h 150"/>
                <a:gd name="T10" fmla="*/ 38 w 150"/>
                <a:gd name="T11" fmla="*/ 49 h 150"/>
                <a:gd name="T12" fmla="*/ 50 w 150"/>
                <a:gd name="T13" fmla="*/ 38 h 150"/>
                <a:gd name="T14" fmla="*/ 66 w 150"/>
                <a:gd name="T15" fmla="*/ 31 h 150"/>
                <a:gd name="T16" fmla="*/ 84 w 150"/>
                <a:gd name="T17" fmla="*/ 31 h 150"/>
                <a:gd name="T18" fmla="*/ 101 w 150"/>
                <a:gd name="T19" fmla="*/ 38 h 150"/>
                <a:gd name="T20" fmla="*/ 112 w 150"/>
                <a:gd name="T21" fmla="*/ 49 h 150"/>
                <a:gd name="T22" fmla="*/ 120 w 150"/>
                <a:gd name="T23" fmla="*/ 66 h 150"/>
                <a:gd name="T24" fmla="*/ 120 w 150"/>
                <a:gd name="T25" fmla="*/ 84 h 150"/>
                <a:gd name="T26" fmla="*/ 112 w 150"/>
                <a:gd name="T27" fmla="*/ 100 h 150"/>
                <a:gd name="T28" fmla="*/ 101 w 150"/>
                <a:gd name="T29" fmla="*/ 113 h 150"/>
                <a:gd name="T30" fmla="*/ 84 w 150"/>
                <a:gd name="T31" fmla="*/ 119 h 150"/>
                <a:gd name="T32" fmla="*/ 75 w 150"/>
                <a:gd name="T33" fmla="*/ 0 h 150"/>
                <a:gd name="T34" fmla="*/ 60 w 150"/>
                <a:gd name="T35" fmla="*/ 1 h 150"/>
                <a:gd name="T36" fmla="*/ 46 w 150"/>
                <a:gd name="T37" fmla="*/ 5 h 150"/>
                <a:gd name="T38" fmla="*/ 33 w 150"/>
                <a:gd name="T39" fmla="*/ 13 h 150"/>
                <a:gd name="T40" fmla="*/ 22 w 150"/>
                <a:gd name="T41" fmla="*/ 22 h 150"/>
                <a:gd name="T42" fmla="*/ 13 w 150"/>
                <a:gd name="T43" fmla="*/ 33 h 150"/>
                <a:gd name="T44" fmla="*/ 6 w 150"/>
                <a:gd name="T45" fmla="*/ 46 h 150"/>
                <a:gd name="T46" fmla="*/ 2 w 150"/>
                <a:gd name="T47" fmla="*/ 60 h 150"/>
                <a:gd name="T48" fmla="*/ 0 w 150"/>
                <a:gd name="T49" fmla="*/ 75 h 150"/>
                <a:gd name="T50" fmla="*/ 2 w 150"/>
                <a:gd name="T51" fmla="*/ 90 h 150"/>
                <a:gd name="T52" fmla="*/ 6 w 150"/>
                <a:gd name="T53" fmla="*/ 104 h 150"/>
                <a:gd name="T54" fmla="*/ 13 w 150"/>
                <a:gd name="T55" fmla="*/ 117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1 w 150"/>
                <a:gd name="T67" fmla="*/ 149 h 150"/>
                <a:gd name="T68" fmla="*/ 105 w 150"/>
                <a:gd name="T69" fmla="*/ 144 h 150"/>
                <a:gd name="T70" fmla="*/ 118 w 150"/>
                <a:gd name="T71" fmla="*/ 137 h 150"/>
                <a:gd name="T72" fmla="*/ 128 w 150"/>
                <a:gd name="T73" fmla="*/ 128 h 150"/>
                <a:gd name="T74" fmla="*/ 138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8 w 150"/>
                <a:gd name="T89" fmla="*/ 22 h 150"/>
                <a:gd name="T90" fmla="*/ 118 w 150"/>
                <a:gd name="T91" fmla="*/ 13 h 150"/>
                <a:gd name="T92" fmla="*/ 105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4" y="107"/>
                  </a:lnTo>
                  <a:lnTo>
                    <a:pt x="38" y="100"/>
                  </a:lnTo>
                  <a:lnTo>
                    <a:pt x="34" y="92"/>
                  </a:lnTo>
                  <a:lnTo>
                    <a:pt x="31" y="84"/>
                  </a:lnTo>
                  <a:lnTo>
                    <a:pt x="30" y="75"/>
                  </a:lnTo>
                  <a:lnTo>
                    <a:pt x="31" y="66"/>
                  </a:lnTo>
                  <a:lnTo>
                    <a:pt x="34" y="57"/>
                  </a:lnTo>
                  <a:lnTo>
                    <a:pt x="38" y="49"/>
                  </a:lnTo>
                  <a:lnTo>
                    <a:pt x="44" y="43"/>
                  </a:lnTo>
                  <a:lnTo>
                    <a:pt x="50" y="38"/>
                  </a:lnTo>
                  <a:lnTo>
                    <a:pt x="58" y="33"/>
                  </a:lnTo>
                  <a:lnTo>
                    <a:pt x="66" y="31"/>
                  </a:lnTo>
                  <a:lnTo>
                    <a:pt x="75" y="30"/>
                  </a:lnTo>
                  <a:lnTo>
                    <a:pt x="84" y="31"/>
                  </a:lnTo>
                  <a:lnTo>
                    <a:pt x="93" y="33"/>
                  </a:lnTo>
                  <a:lnTo>
                    <a:pt x="101" y="38"/>
                  </a:lnTo>
                  <a:lnTo>
                    <a:pt x="107" y="43"/>
                  </a:lnTo>
                  <a:lnTo>
                    <a:pt x="112" y="49"/>
                  </a:lnTo>
                  <a:lnTo>
                    <a:pt x="117" y="57"/>
                  </a:lnTo>
                  <a:lnTo>
                    <a:pt x="120" y="66"/>
                  </a:lnTo>
                  <a:lnTo>
                    <a:pt x="120" y="75"/>
                  </a:lnTo>
                  <a:lnTo>
                    <a:pt x="120" y="84"/>
                  </a:lnTo>
                  <a:lnTo>
                    <a:pt x="117" y="92"/>
                  </a:lnTo>
                  <a:lnTo>
                    <a:pt x="112" y="100"/>
                  </a:lnTo>
                  <a:lnTo>
                    <a:pt x="107" y="107"/>
                  </a:lnTo>
                  <a:lnTo>
                    <a:pt x="101" y="113"/>
                  </a:lnTo>
                  <a:lnTo>
                    <a:pt x="93" y="117"/>
                  </a:lnTo>
                  <a:lnTo>
                    <a:pt x="84" y="119"/>
                  </a:lnTo>
                  <a:lnTo>
                    <a:pt x="75" y="120"/>
                  </a:lnTo>
                  <a:close/>
                  <a:moveTo>
                    <a:pt x="75" y="0"/>
                  </a:moveTo>
                  <a:lnTo>
                    <a:pt x="67" y="0"/>
                  </a:lnTo>
                  <a:lnTo>
                    <a:pt x="60" y="1"/>
                  </a:lnTo>
                  <a:lnTo>
                    <a:pt x="53" y="3"/>
                  </a:lnTo>
                  <a:lnTo>
                    <a:pt x="46" y="5"/>
                  </a:lnTo>
                  <a:lnTo>
                    <a:pt x="39" y="9"/>
                  </a:lnTo>
                  <a:lnTo>
                    <a:pt x="33" y="13"/>
                  </a:lnTo>
                  <a:lnTo>
                    <a:pt x="28" y="17"/>
                  </a:lnTo>
                  <a:lnTo>
                    <a:pt x="22" y="22"/>
                  </a:lnTo>
                  <a:lnTo>
                    <a:pt x="17" y="27"/>
                  </a:lnTo>
                  <a:lnTo>
                    <a:pt x="13" y="33"/>
                  </a:lnTo>
                  <a:lnTo>
                    <a:pt x="9" y="39"/>
                  </a:lnTo>
                  <a:lnTo>
                    <a:pt x="6" y="46"/>
                  </a:lnTo>
                  <a:lnTo>
                    <a:pt x="3" y="53"/>
                  </a:lnTo>
                  <a:lnTo>
                    <a:pt x="2" y="60"/>
                  </a:lnTo>
                  <a:lnTo>
                    <a:pt x="1" y="68"/>
                  </a:lnTo>
                  <a:lnTo>
                    <a:pt x="0" y="75"/>
                  </a:lnTo>
                  <a:lnTo>
                    <a:pt x="1" y="83"/>
                  </a:lnTo>
                  <a:lnTo>
                    <a:pt x="2" y="90"/>
                  </a:lnTo>
                  <a:lnTo>
                    <a:pt x="3" y="98"/>
                  </a:lnTo>
                  <a:lnTo>
                    <a:pt x="6" y="104"/>
                  </a:lnTo>
                  <a:lnTo>
                    <a:pt x="9" y="111"/>
                  </a:lnTo>
                  <a:lnTo>
                    <a:pt x="13" y="117"/>
                  </a:lnTo>
                  <a:lnTo>
                    <a:pt x="17" y="122"/>
                  </a:lnTo>
                  <a:lnTo>
                    <a:pt x="22" y="128"/>
                  </a:lnTo>
                  <a:lnTo>
                    <a:pt x="28" y="133"/>
                  </a:lnTo>
                  <a:lnTo>
                    <a:pt x="33" y="137"/>
                  </a:lnTo>
                  <a:lnTo>
                    <a:pt x="39" y="141"/>
                  </a:lnTo>
                  <a:lnTo>
                    <a:pt x="46" y="144"/>
                  </a:lnTo>
                  <a:lnTo>
                    <a:pt x="53" y="147"/>
                  </a:lnTo>
                  <a:lnTo>
                    <a:pt x="60" y="149"/>
                  </a:lnTo>
                  <a:lnTo>
                    <a:pt x="67" y="150"/>
                  </a:lnTo>
                  <a:lnTo>
                    <a:pt x="75" y="150"/>
                  </a:lnTo>
                  <a:lnTo>
                    <a:pt x="83" y="150"/>
                  </a:lnTo>
                  <a:lnTo>
                    <a:pt x="91" y="149"/>
                  </a:lnTo>
                  <a:lnTo>
                    <a:pt x="97" y="147"/>
                  </a:lnTo>
                  <a:lnTo>
                    <a:pt x="105" y="144"/>
                  </a:lnTo>
                  <a:lnTo>
                    <a:pt x="111" y="141"/>
                  </a:lnTo>
                  <a:lnTo>
                    <a:pt x="118" y="137"/>
                  </a:lnTo>
                  <a:lnTo>
                    <a:pt x="123" y="133"/>
                  </a:lnTo>
                  <a:lnTo>
                    <a:pt x="128" y="128"/>
                  </a:lnTo>
                  <a:lnTo>
                    <a:pt x="133" y="122"/>
                  </a:lnTo>
                  <a:lnTo>
                    <a:pt x="138" y="117"/>
                  </a:lnTo>
                  <a:lnTo>
                    <a:pt x="141" y="111"/>
                  </a:lnTo>
                  <a:lnTo>
                    <a:pt x="145" y="104"/>
                  </a:lnTo>
                  <a:lnTo>
                    <a:pt x="147" y="98"/>
                  </a:lnTo>
                  <a:lnTo>
                    <a:pt x="149" y="90"/>
                  </a:lnTo>
                  <a:lnTo>
                    <a:pt x="150" y="83"/>
                  </a:lnTo>
                  <a:lnTo>
                    <a:pt x="150" y="75"/>
                  </a:lnTo>
                  <a:lnTo>
                    <a:pt x="150" y="68"/>
                  </a:lnTo>
                  <a:lnTo>
                    <a:pt x="149" y="60"/>
                  </a:lnTo>
                  <a:lnTo>
                    <a:pt x="147" y="53"/>
                  </a:lnTo>
                  <a:lnTo>
                    <a:pt x="145" y="46"/>
                  </a:lnTo>
                  <a:lnTo>
                    <a:pt x="141" y="39"/>
                  </a:lnTo>
                  <a:lnTo>
                    <a:pt x="137" y="33"/>
                  </a:lnTo>
                  <a:lnTo>
                    <a:pt x="133" y="27"/>
                  </a:lnTo>
                  <a:lnTo>
                    <a:pt x="128" y="22"/>
                  </a:lnTo>
                  <a:lnTo>
                    <a:pt x="123" y="17"/>
                  </a:lnTo>
                  <a:lnTo>
                    <a:pt x="118" y="13"/>
                  </a:lnTo>
                  <a:lnTo>
                    <a:pt x="111" y="9"/>
                  </a:lnTo>
                  <a:lnTo>
                    <a:pt x="105" y="5"/>
                  </a:lnTo>
                  <a:lnTo>
                    <a:pt x="97"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46" name="Group 222">
            <a:extLst>
              <a:ext uri="{FF2B5EF4-FFF2-40B4-BE49-F238E27FC236}">
                <a16:creationId xmlns:a16="http://schemas.microsoft.com/office/drawing/2014/main" id="{9FC59F34-592E-41D0-BE8B-BE00108AF981}"/>
              </a:ext>
            </a:extLst>
          </p:cNvPr>
          <p:cNvGrpSpPr>
            <a:grpSpLocks noChangeAspect="1"/>
          </p:cNvGrpSpPr>
          <p:nvPr/>
        </p:nvGrpSpPr>
        <p:grpSpPr>
          <a:xfrm>
            <a:off x="7471899" y="5956111"/>
            <a:ext cx="285619" cy="285619"/>
            <a:chOff x="10453688" y="3642995"/>
            <a:chExt cx="285750" cy="285750"/>
          </a:xfrm>
          <a:solidFill>
            <a:schemeClr val="bg1"/>
          </a:solidFill>
          <a:effectLst/>
        </p:grpSpPr>
        <p:sp>
          <p:nvSpPr>
            <p:cNvPr id="1447" name="Freeform 363">
              <a:extLst>
                <a:ext uri="{FF2B5EF4-FFF2-40B4-BE49-F238E27FC236}">
                  <a16:creationId xmlns:a16="http://schemas.microsoft.com/office/drawing/2014/main" id="{70506F7A-DFBA-4A20-BCD4-E85CFCA0DA84}"/>
                </a:ext>
              </a:extLst>
            </p:cNvPr>
            <p:cNvSpPr>
              <a:spLocks noEditPoints="1"/>
            </p:cNvSpPr>
            <p:nvPr/>
          </p:nvSpPr>
          <p:spPr bwMode="auto">
            <a:xfrm>
              <a:off x="10453688" y="3642995"/>
              <a:ext cx="285750" cy="285750"/>
            </a:xfrm>
            <a:custGeom>
              <a:avLst/>
              <a:gdLst>
                <a:gd name="T0" fmla="*/ 708 w 902"/>
                <a:gd name="T1" fmla="*/ 631 h 902"/>
                <a:gd name="T2" fmla="*/ 60 w 902"/>
                <a:gd name="T3" fmla="*/ 631 h 902"/>
                <a:gd name="T4" fmla="*/ 75 w 902"/>
                <a:gd name="T5" fmla="*/ 721 h 902"/>
                <a:gd name="T6" fmla="*/ 35 w 902"/>
                <a:gd name="T7" fmla="*/ 694 h 902"/>
                <a:gd name="T8" fmla="*/ 871 w 902"/>
                <a:gd name="T9" fmla="*/ 685 h 902"/>
                <a:gd name="T10" fmla="*/ 836 w 902"/>
                <a:gd name="T11" fmla="*/ 720 h 902"/>
                <a:gd name="T12" fmla="*/ 762 w 902"/>
                <a:gd name="T13" fmla="*/ 858 h 902"/>
                <a:gd name="T14" fmla="*/ 682 w 902"/>
                <a:gd name="T15" fmla="*/ 662 h 902"/>
                <a:gd name="T16" fmla="*/ 718 w 902"/>
                <a:gd name="T17" fmla="*/ 785 h 902"/>
                <a:gd name="T18" fmla="*/ 203 w 902"/>
                <a:gd name="T19" fmla="*/ 730 h 902"/>
                <a:gd name="T20" fmla="*/ 83 w 902"/>
                <a:gd name="T21" fmla="*/ 481 h 902"/>
                <a:gd name="T22" fmla="*/ 392 w 902"/>
                <a:gd name="T23" fmla="*/ 30 h 902"/>
                <a:gd name="T24" fmla="*/ 355 w 902"/>
                <a:gd name="T25" fmla="*/ 133 h 902"/>
                <a:gd name="T26" fmla="*/ 326 w 902"/>
                <a:gd name="T27" fmla="*/ 179 h 902"/>
                <a:gd name="T28" fmla="*/ 318 w 902"/>
                <a:gd name="T29" fmla="*/ 236 h 902"/>
                <a:gd name="T30" fmla="*/ 334 w 902"/>
                <a:gd name="T31" fmla="*/ 288 h 902"/>
                <a:gd name="T32" fmla="*/ 368 w 902"/>
                <a:gd name="T33" fmla="*/ 330 h 902"/>
                <a:gd name="T34" fmla="*/ 90 w 902"/>
                <a:gd name="T35" fmla="*/ 135 h 902"/>
                <a:gd name="T36" fmla="*/ 109 w 902"/>
                <a:gd name="T37" fmla="*/ 77 h 902"/>
                <a:gd name="T38" fmla="*/ 156 w 902"/>
                <a:gd name="T39" fmla="*/ 38 h 902"/>
                <a:gd name="T40" fmla="*/ 467 w 902"/>
                <a:gd name="T41" fmla="*/ 358 h 902"/>
                <a:gd name="T42" fmla="*/ 452 w 902"/>
                <a:gd name="T43" fmla="*/ 359 h 902"/>
                <a:gd name="T44" fmla="*/ 502 w 902"/>
                <a:gd name="T45" fmla="*/ 132 h 902"/>
                <a:gd name="T46" fmla="*/ 545 w 902"/>
                <a:gd name="T47" fmla="*/ 174 h 902"/>
                <a:gd name="T48" fmla="*/ 558 w 902"/>
                <a:gd name="T49" fmla="*/ 237 h 902"/>
                <a:gd name="T50" fmla="*/ 534 w 902"/>
                <a:gd name="T51" fmla="*/ 294 h 902"/>
                <a:gd name="T52" fmla="*/ 483 w 902"/>
                <a:gd name="T53" fmla="*/ 328 h 902"/>
                <a:gd name="T54" fmla="*/ 420 w 902"/>
                <a:gd name="T55" fmla="*/ 328 h 902"/>
                <a:gd name="T56" fmla="*/ 369 w 902"/>
                <a:gd name="T57" fmla="*/ 294 h 902"/>
                <a:gd name="T58" fmla="*/ 346 w 902"/>
                <a:gd name="T59" fmla="*/ 237 h 902"/>
                <a:gd name="T60" fmla="*/ 357 w 902"/>
                <a:gd name="T61" fmla="*/ 174 h 902"/>
                <a:gd name="T62" fmla="*/ 400 w 902"/>
                <a:gd name="T63" fmla="*/ 132 h 902"/>
                <a:gd name="T64" fmla="*/ 452 w 902"/>
                <a:gd name="T65" fmla="*/ 92 h 902"/>
                <a:gd name="T66" fmla="*/ 467 w 902"/>
                <a:gd name="T67" fmla="*/ 93 h 902"/>
                <a:gd name="T68" fmla="*/ 519 w 902"/>
                <a:gd name="T69" fmla="*/ 341 h 902"/>
                <a:gd name="T70" fmla="*/ 560 w 902"/>
                <a:gd name="T71" fmla="*/ 304 h 902"/>
                <a:gd name="T72" fmla="*/ 583 w 902"/>
                <a:gd name="T73" fmla="*/ 254 h 902"/>
                <a:gd name="T74" fmla="*/ 583 w 902"/>
                <a:gd name="T75" fmla="*/ 197 h 902"/>
                <a:gd name="T76" fmla="*/ 560 w 902"/>
                <a:gd name="T77" fmla="*/ 147 h 902"/>
                <a:gd name="T78" fmla="*/ 519 w 902"/>
                <a:gd name="T79" fmla="*/ 110 h 902"/>
                <a:gd name="T80" fmla="*/ 750 w 902"/>
                <a:gd name="T81" fmla="*/ 34 h 902"/>
                <a:gd name="T82" fmla="*/ 793 w 902"/>
                <a:gd name="T83" fmla="*/ 67 h 902"/>
                <a:gd name="T84" fmla="*/ 812 w 902"/>
                <a:gd name="T85" fmla="*/ 124 h 902"/>
                <a:gd name="T86" fmla="*/ 837 w 902"/>
                <a:gd name="T87" fmla="*/ 94 h 902"/>
                <a:gd name="T88" fmla="*/ 800 w 902"/>
                <a:gd name="T89" fmla="*/ 30 h 902"/>
                <a:gd name="T90" fmla="*/ 735 w 902"/>
                <a:gd name="T91" fmla="*/ 1 h 902"/>
                <a:gd name="T92" fmla="*/ 143 w 902"/>
                <a:gd name="T93" fmla="*/ 10 h 902"/>
                <a:gd name="T94" fmla="*/ 84 w 902"/>
                <a:gd name="T95" fmla="*/ 60 h 902"/>
                <a:gd name="T96" fmla="*/ 60 w 902"/>
                <a:gd name="T97" fmla="*/ 135 h 902"/>
                <a:gd name="T98" fmla="*/ 4 w 902"/>
                <a:gd name="T99" fmla="*/ 698 h 902"/>
                <a:gd name="T100" fmla="*/ 28 w 902"/>
                <a:gd name="T101" fmla="*/ 734 h 902"/>
                <a:gd name="T102" fmla="*/ 68 w 902"/>
                <a:gd name="T103" fmla="*/ 751 h 902"/>
                <a:gd name="T104" fmla="*/ 130 w 902"/>
                <a:gd name="T105" fmla="*/ 815 h 902"/>
                <a:gd name="T106" fmla="*/ 853 w 902"/>
                <a:gd name="T107" fmla="*/ 902 h 902"/>
                <a:gd name="T108" fmla="*/ 761 w 902"/>
                <a:gd name="T109" fmla="*/ 801 h 902"/>
                <a:gd name="T110" fmla="*/ 843 w 902"/>
                <a:gd name="T111" fmla="*/ 749 h 902"/>
                <a:gd name="T112" fmla="*/ 881 w 902"/>
                <a:gd name="T113" fmla="*/ 728 h 902"/>
                <a:gd name="T114" fmla="*/ 901 w 902"/>
                <a:gd name="T115" fmla="*/ 69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827" y="721"/>
                  </a:moveTo>
                  <a:lnTo>
                    <a:pt x="726" y="721"/>
                  </a:lnTo>
                  <a:lnTo>
                    <a:pt x="719" y="695"/>
                  </a:lnTo>
                  <a:lnTo>
                    <a:pt x="713" y="669"/>
                  </a:lnTo>
                  <a:lnTo>
                    <a:pt x="710" y="648"/>
                  </a:lnTo>
                  <a:lnTo>
                    <a:pt x="708" y="631"/>
                  </a:lnTo>
                  <a:lnTo>
                    <a:pt x="842" y="631"/>
                  </a:lnTo>
                  <a:lnTo>
                    <a:pt x="842" y="601"/>
                  </a:lnTo>
                  <a:lnTo>
                    <a:pt x="707" y="601"/>
                  </a:lnTo>
                  <a:lnTo>
                    <a:pt x="197" y="601"/>
                  </a:lnTo>
                  <a:lnTo>
                    <a:pt x="60" y="601"/>
                  </a:lnTo>
                  <a:lnTo>
                    <a:pt x="60" y="631"/>
                  </a:lnTo>
                  <a:lnTo>
                    <a:pt x="194" y="631"/>
                  </a:lnTo>
                  <a:lnTo>
                    <a:pt x="192" y="647"/>
                  </a:lnTo>
                  <a:lnTo>
                    <a:pt x="188" y="669"/>
                  </a:lnTo>
                  <a:lnTo>
                    <a:pt x="183" y="694"/>
                  </a:lnTo>
                  <a:lnTo>
                    <a:pt x="174" y="721"/>
                  </a:lnTo>
                  <a:lnTo>
                    <a:pt x="75" y="721"/>
                  </a:lnTo>
                  <a:lnTo>
                    <a:pt x="67" y="720"/>
                  </a:lnTo>
                  <a:lnTo>
                    <a:pt x="59" y="718"/>
                  </a:lnTo>
                  <a:lnTo>
                    <a:pt x="51" y="714"/>
                  </a:lnTo>
                  <a:lnTo>
                    <a:pt x="44" y="707"/>
                  </a:lnTo>
                  <a:lnTo>
                    <a:pt x="39" y="701"/>
                  </a:lnTo>
                  <a:lnTo>
                    <a:pt x="35" y="694"/>
                  </a:lnTo>
                  <a:lnTo>
                    <a:pt x="31" y="685"/>
                  </a:lnTo>
                  <a:lnTo>
                    <a:pt x="30" y="676"/>
                  </a:lnTo>
                  <a:lnTo>
                    <a:pt x="30" y="576"/>
                  </a:lnTo>
                  <a:lnTo>
                    <a:pt x="872" y="576"/>
                  </a:lnTo>
                  <a:lnTo>
                    <a:pt x="872" y="676"/>
                  </a:lnTo>
                  <a:lnTo>
                    <a:pt x="871" y="685"/>
                  </a:lnTo>
                  <a:lnTo>
                    <a:pt x="869" y="692"/>
                  </a:lnTo>
                  <a:lnTo>
                    <a:pt x="865" y="700"/>
                  </a:lnTo>
                  <a:lnTo>
                    <a:pt x="858" y="707"/>
                  </a:lnTo>
                  <a:lnTo>
                    <a:pt x="852" y="713"/>
                  </a:lnTo>
                  <a:lnTo>
                    <a:pt x="844" y="717"/>
                  </a:lnTo>
                  <a:lnTo>
                    <a:pt x="836" y="720"/>
                  </a:lnTo>
                  <a:lnTo>
                    <a:pt x="827" y="721"/>
                  </a:lnTo>
                  <a:close/>
                  <a:moveTo>
                    <a:pt x="126" y="872"/>
                  </a:moveTo>
                  <a:lnTo>
                    <a:pt x="138" y="857"/>
                  </a:lnTo>
                  <a:lnTo>
                    <a:pt x="148" y="841"/>
                  </a:lnTo>
                  <a:lnTo>
                    <a:pt x="751" y="841"/>
                  </a:lnTo>
                  <a:lnTo>
                    <a:pt x="762" y="858"/>
                  </a:lnTo>
                  <a:lnTo>
                    <a:pt x="774" y="872"/>
                  </a:lnTo>
                  <a:lnTo>
                    <a:pt x="126" y="872"/>
                  </a:lnTo>
                  <a:close/>
                  <a:moveTo>
                    <a:pt x="224" y="631"/>
                  </a:moveTo>
                  <a:lnTo>
                    <a:pt x="678" y="631"/>
                  </a:lnTo>
                  <a:lnTo>
                    <a:pt x="679" y="645"/>
                  </a:lnTo>
                  <a:lnTo>
                    <a:pt x="682" y="662"/>
                  </a:lnTo>
                  <a:lnTo>
                    <a:pt x="686" y="684"/>
                  </a:lnTo>
                  <a:lnTo>
                    <a:pt x="691" y="706"/>
                  </a:lnTo>
                  <a:lnTo>
                    <a:pt x="698" y="731"/>
                  </a:lnTo>
                  <a:lnTo>
                    <a:pt x="707" y="758"/>
                  </a:lnTo>
                  <a:lnTo>
                    <a:pt x="712" y="771"/>
                  </a:lnTo>
                  <a:lnTo>
                    <a:pt x="718" y="785"/>
                  </a:lnTo>
                  <a:lnTo>
                    <a:pt x="724" y="799"/>
                  </a:lnTo>
                  <a:lnTo>
                    <a:pt x="732" y="811"/>
                  </a:lnTo>
                  <a:lnTo>
                    <a:pt x="167" y="811"/>
                  </a:lnTo>
                  <a:lnTo>
                    <a:pt x="182" y="784"/>
                  </a:lnTo>
                  <a:lnTo>
                    <a:pt x="193" y="756"/>
                  </a:lnTo>
                  <a:lnTo>
                    <a:pt x="203" y="730"/>
                  </a:lnTo>
                  <a:lnTo>
                    <a:pt x="211" y="704"/>
                  </a:lnTo>
                  <a:lnTo>
                    <a:pt x="217" y="682"/>
                  </a:lnTo>
                  <a:lnTo>
                    <a:pt x="220" y="662"/>
                  </a:lnTo>
                  <a:lnTo>
                    <a:pt x="223" y="645"/>
                  </a:lnTo>
                  <a:lnTo>
                    <a:pt x="224" y="631"/>
                  </a:lnTo>
                  <a:close/>
                  <a:moveTo>
                    <a:pt x="83" y="481"/>
                  </a:moveTo>
                  <a:lnTo>
                    <a:pt x="820" y="481"/>
                  </a:lnTo>
                  <a:lnTo>
                    <a:pt x="857" y="546"/>
                  </a:lnTo>
                  <a:lnTo>
                    <a:pt x="45" y="546"/>
                  </a:lnTo>
                  <a:lnTo>
                    <a:pt x="83" y="481"/>
                  </a:lnTo>
                  <a:close/>
                  <a:moveTo>
                    <a:pt x="196" y="30"/>
                  </a:moveTo>
                  <a:lnTo>
                    <a:pt x="392" y="30"/>
                  </a:lnTo>
                  <a:lnTo>
                    <a:pt x="392" y="106"/>
                  </a:lnTo>
                  <a:lnTo>
                    <a:pt x="383" y="110"/>
                  </a:lnTo>
                  <a:lnTo>
                    <a:pt x="376" y="116"/>
                  </a:lnTo>
                  <a:lnTo>
                    <a:pt x="368" y="121"/>
                  </a:lnTo>
                  <a:lnTo>
                    <a:pt x="362" y="127"/>
                  </a:lnTo>
                  <a:lnTo>
                    <a:pt x="355" y="133"/>
                  </a:lnTo>
                  <a:lnTo>
                    <a:pt x="349" y="140"/>
                  </a:lnTo>
                  <a:lnTo>
                    <a:pt x="343" y="147"/>
                  </a:lnTo>
                  <a:lnTo>
                    <a:pt x="338" y="154"/>
                  </a:lnTo>
                  <a:lnTo>
                    <a:pt x="334" y="163"/>
                  </a:lnTo>
                  <a:lnTo>
                    <a:pt x="330" y="170"/>
                  </a:lnTo>
                  <a:lnTo>
                    <a:pt x="326" y="179"/>
                  </a:lnTo>
                  <a:lnTo>
                    <a:pt x="323" y="188"/>
                  </a:lnTo>
                  <a:lnTo>
                    <a:pt x="321" y="197"/>
                  </a:lnTo>
                  <a:lnTo>
                    <a:pt x="319" y="207"/>
                  </a:lnTo>
                  <a:lnTo>
                    <a:pt x="318" y="216"/>
                  </a:lnTo>
                  <a:lnTo>
                    <a:pt x="318" y="226"/>
                  </a:lnTo>
                  <a:lnTo>
                    <a:pt x="318" y="236"/>
                  </a:lnTo>
                  <a:lnTo>
                    <a:pt x="319" y="244"/>
                  </a:lnTo>
                  <a:lnTo>
                    <a:pt x="321" y="254"/>
                  </a:lnTo>
                  <a:lnTo>
                    <a:pt x="323" y="264"/>
                  </a:lnTo>
                  <a:lnTo>
                    <a:pt x="326" y="272"/>
                  </a:lnTo>
                  <a:lnTo>
                    <a:pt x="330" y="281"/>
                  </a:lnTo>
                  <a:lnTo>
                    <a:pt x="334" y="288"/>
                  </a:lnTo>
                  <a:lnTo>
                    <a:pt x="338" y="297"/>
                  </a:lnTo>
                  <a:lnTo>
                    <a:pt x="343" y="304"/>
                  </a:lnTo>
                  <a:lnTo>
                    <a:pt x="349" y="311"/>
                  </a:lnTo>
                  <a:lnTo>
                    <a:pt x="355" y="318"/>
                  </a:lnTo>
                  <a:lnTo>
                    <a:pt x="362" y="325"/>
                  </a:lnTo>
                  <a:lnTo>
                    <a:pt x="368" y="330"/>
                  </a:lnTo>
                  <a:lnTo>
                    <a:pt x="376" y="335"/>
                  </a:lnTo>
                  <a:lnTo>
                    <a:pt x="383" y="341"/>
                  </a:lnTo>
                  <a:lnTo>
                    <a:pt x="392" y="345"/>
                  </a:lnTo>
                  <a:lnTo>
                    <a:pt x="392" y="451"/>
                  </a:lnTo>
                  <a:lnTo>
                    <a:pt x="90" y="451"/>
                  </a:lnTo>
                  <a:lnTo>
                    <a:pt x="90" y="135"/>
                  </a:lnTo>
                  <a:lnTo>
                    <a:pt x="92" y="125"/>
                  </a:lnTo>
                  <a:lnTo>
                    <a:pt x="93" y="114"/>
                  </a:lnTo>
                  <a:lnTo>
                    <a:pt x="96" y="105"/>
                  </a:lnTo>
                  <a:lnTo>
                    <a:pt x="99" y="95"/>
                  </a:lnTo>
                  <a:lnTo>
                    <a:pt x="103" y="85"/>
                  </a:lnTo>
                  <a:lnTo>
                    <a:pt x="109" y="77"/>
                  </a:lnTo>
                  <a:lnTo>
                    <a:pt x="115" y="68"/>
                  </a:lnTo>
                  <a:lnTo>
                    <a:pt x="122" y="61"/>
                  </a:lnTo>
                  <a:lnTo>
                    <a:pt x="129" y="54"/>
                  </a:lnTo>
                  <a:lnTo>
                    <a:pt x="138" y="48"/>
                  </a:lnTo>
                  <a:lnTo>
                    <a:pt x="146" y="43"/>
                  </a:lnTo>
                  <a:lnTo>
                    <a:pt x="156" y="38"/>
                  </a:lnTo>
                  <a:lnTo>
                    <a:pt x="165" y="35"/>
                  </a:lnTo>
                  <a:lnTo>
                    <a:pt x="175" y="32"/>
                  </a:lnTo>
                  <a:lnTo>
                    <a:pt x="186" y="31"/>
                  </a:lnTo>
                  <a:lnTo>
                    <a:pt x="196" y="30"/>
                  </a:lnTo>
                  <a:close/>
                  <a:moveTo>
                    <a:pt x="452" y="359"/>
                  </a:moveTo>
                  <a:lnTo>
                    <a:pt x="467" y="358"/>
                  </a:lnTo>
                  <a:lnTo>
                    <a:pt x="482" y="356"/>
                  </a:lnTo>
                  <a:lnTo>
                    <a:pt x="482" y="451"/>
                  </a:lnTo>
                  <a:lnTo>
                    <a:pt x="422" y="451"/>
                  </a:lnTo>
                  <a:lnTo>
                    <a:pt x="422" y="356"/>
                  </a:lnTo>
                  <a:lnTo>
                    <a:pt x="437" y="358"/>
                  </a:lnTo>
                  <a:lnTo>
                    <a:pt x="452" y="359"/>
                  </a:lnTo>
                  <a:close/>
                  <a:moveTo>
                    <a:pt x="452" y="119"/>
                  </a:moveTo>
                  <a:lnTo>
                    <a:pt x="462" y="120"/>
                  </a:lnTo>
                  <a:lnTo>
                    <a:pt x="473" y="121"/>
                  </a:lnTo>
                  <a:lnTo>
                    <a:pt x="483" y="123"/>
                  </a:lnTo>
                  <a:lnTo>
                    <a:pt x="493" y="127"/>
                  </a:lnTo>
                  <a:lnTo>
                    <a:pt x="502" y="132"/>
                  </a:lnTo>
                  <a:lnTo>
                    <a:pt x="511" y="137"/>
                  </a:lnTo>
                  <a:lnTo>
                    <a:pt x="519" y="143"/>
                  </a:lnTo>
                  <a:lnTo>
                    <a:pt x="527" y="150"/>
                  </a:lnTo>
                  <a:lnTo>
                    <a:pt x="534" y="157"/>
                  </a:lnTo>
                  <a:lnTo>
                    <a:pt x="540" y="166"/>
                  </a:lnTo>
                  <a:lnTo>
                    <a:pt x="545" y="174"/>
                  </a:lnTo>
                  <a:lnTo>
                    <a:pt x="549" y="184"/>
                  </a:lnTo>
                  <a:lnTo>
                    <a:pt x="554" y="194"/>
                  </a:lnTo>
                  <a:lnTo>
                    <a:pt x="556" y="205"/>
                  </a:lnTo>
                  <a:lnTo>
                    <a:pt x="558" y="214"/>
                  </a:lnTo>
                  <a:lnTo>
                    <a:pt x="558" y="226"/>
                  </a:lnTo>
                  <a:lnTo>
                    <a:pt x="558" y="237"/>
                  </a:lnTo>
                  <a:lnTo>
                    <a:pt x="556" y="247"/>
                  </a:lnTo>
                  <a:lnTo>
                    <a:pt x="554" y="257"/>
                  </a:lnTo>
                  <a:lnTo>
                    <a:pt x="549" y="267"/>
                  </a:lnTo>
                  <a:lnTo>
                    <a:pt x="545" y="276"/>
                  </a:lnTo>
                  <a:lnTo>
                    <a:pt x="540" y="285"/>
                  </a:lnTo>
                  <a:lnTo>
                    <a:pt x="534" y="294"/>
                  </a:lnTo>
                  <a:lnTo>
                    <a:pt x="527" y="301"/>
                  </a:lnTo>
                  <a:lnTo>
                    <a:pt x="519" y="307"/>
                  </a:lnTo>
                  <a:lnTo>
                    <a:pt x="511" y="314"/>
                  </a:lnTo>
                  <a:lnTo>
                    <a:pt x="502" y="319"/>
                  </a:lnTo>
                  <a:lnTo>
                    <a:pt x="493" y="324"/>
                  </a:lnTo>
                  <a:lnTo>
                    <a:pt x="483" y="328"/>
                  </a:lnTo>
                  <a:lnTo>
                    <a:pt x="473" y="330"/>
                  </a:lnTo>
                  <a:lnTo>
                    <a:pt x="462" y="332"/>
                  </a:lnTo>
                  <a:lnTo>
                    <a:pt x="452" y="332"/>
                  </a:lnTo>
                  <a:lnTo>
                    <a:pt x="441" y="332"/>
                  </a:lnTo>
                  <a:lnTo>
                    <a:pt x="430" y="330"/>
                  </a:lnTo>
                  <a:lnTo>
                    <a:pt x="420" y="328"/>
                  </a:lnTo>
                  <a:lnTo>
                    <a:pt x="410" y="324"/>
                  </a:lnTo>
                  <a:lnTo>
                    <a:pt x="400" y="319"/>
                  </a:lnTo>
                  <a:lnTo>
                    <a:pt x="392" y="314"/>
                  </a:lnTo>
                  <a:lnTo>
                    <a:pt x="383" y="307"/>
                  </a:lnTo>
                  <a:lnTo>
                    <a:pt x="376" y="301"/>
                  </a:lnTo>
                  <a:lnTo>
                    <a:pt x="369" y="294"/>
                  </a:lnTo>
                  <a:lnTo>
                    <a:pt x="363" y="285"/>
                  </a:lnTo>
                  <a:lnTo>
                    <a:pt x="357" y="276"/>
                  </a:lnTo>
                  <a:lnTo>
                    <a:pt x="353" y="267"/>
                  </a:lnTo>
                  <a:lnTo>
                    <a:pt x="350" y="257"/>
                  </a:lnTo>
                  <a:lnTo>
                    <a:pt x="347" y="247"/>
                  </a:lnTo>
                  <a:lnTo>
                    <a:pt x="346" y="237"/>
                  </a:lnTo>
                  <a:lnTo>
                    <a:pt x="345" y="226"/>
                  </a:lnTo>
                  <a:lnTo>
                    <a:pt x="346" y="214"/>
                  </a:lnTo>
                  <a:lnTo>
                    <a:pt x="347" y="205"/>
                  </a:lnTo>
                  <a:lnTo>
                    <a:pt x="350" y="194"/>
                  </a:lnTo>
                  <a:lnTo>
                    <a:pt x="353" y="184"/>
                  </a:lnTo>
                  <a:lnTo>
                    <a:pt x="357" y="174"/>
                  </a:lnTo>
                  <a:lnTo>
                    <a:pt x="363" y="166"/>
                  </a:lnTo>
                  <a:lnTo>
                    <a:pt x="369" y="157"/>
                  </a:lnTo>
                  <a:lnTo>
                    <a:pt x="376" y="150"/>
                  </a:lnTo>
                  <a:lnTo>
                    <a:pt x="383" y="143"/>
                  </a:lnTo>
                  <a:lnTo>
                    <a:pt x="392" y="137"/>
                  </a:lnTo>
                  <a:lnTo>
                    <a:pt x="400" y="132"/>
                  </a:lnTo>
                  <a:lnTo>
                    <a:pt x="410" y="127"/>
                  </a:lnTo>
                  <a:lnTo>
                    <a:pt x="420" y="124"/>
                  </a:lnTo>
                  <a:lnTo>
                    <a:pt x="430" y="121"/>
                  </a:lnTo>
                  <a:lnTo>
                    <a:pt x="441" y="120"/>
                  </a:lnTo>
                  <a:lnTo>
                    <a:pt x="452" y="119"/>
                  </a:lnTo>
                  <a:close/>
                  <a:moveTo>
                    <a:pt x="452" y="92"/>
                  </a:moveTo>
                  <a:lnTo>
                    <a:pt x="437" y="93"/>
                  </a:lnTo>
                  <a:lnTo>
                    <a:pt x="422" y="95"/>
                  </a:lnTo>
                  <a:lnTo>
                    <a:pt x="422" y="30"/>
                  </a:lnTo>
                  <a:lnTo>
                    <a:pt x="482" y="30"/>
                  </a:lnTo>
                  <a:lnTo>
                    <a:pt x="482" y="95"/>
                  </a:lnTo>
                  <a:lnTo>
                    <a:pt x="467" y="93"/>
                  </a:lnTo>
                  <a:lnTo>
                    <a:pt x="452" y="92"/>
                  </a:lnTo>
                  <a:close/>
                  <a:moveTo>
                    <a:pt x="812" y="135"/>
                  </a:moveTo>
                  <a:lnTo>
                    <a:pt x="812" y="451"/>
                  </a:lnTo>
                  <a:lnTo>
                    <a:pt x="512" y="451"/>
                  </a:lnTo>
                  <a:lnTo>
                    <a:pt x="512" y="345"/>
                  </a:lnTo>
                  <a:lnTo>
                    <a:pt x="519" y="341"/>
                  </a:lnTo>
                  <a:lnTo>
                    <a:pt x="527" y="335"/>
                  </a:lnTo>
                  <a:lnTo>
                    <a:pt x="534" y="330"/>
                  </a:lnTo>
                  <a:lnTo>
                    <a:pt x="542" y="325"/>
                  </a:lnTo>
                  <a:lnTo>
                    <a:pt x="548" y="318"/>
                  </a:lnTo>
                  <a:lnTo>
                    <a:pt x="554" y="311"/>
                  </a:lnTo>
                  <a:lnTo>
                    <a:pt x="560" y="304"/>
                  </a:lnTo>
                  <a:lnTo>
                    <a:pt x="564" y="297"/>
                  </a:lnTo>
                  <a:lnTo>
                    <a:pt x="570" y="288"/>
                  </a:lnTo>
                  <a:lnTo>
                    <a:pt x="574" y="281"/>
                  </a:lnTo>
                  <a:lnTo>
                    <a:pt x="577" y="272"/>
                  </a:lnTo>
                  <a:lnTo>
                    <a:pt x="580" y="264"/>
                  </a:lnTo>
                  <a:lnTo>
                    <a:pt x="583" y="254"/>
                  </a:lnTo>
                  <a:lnTo>
                    <a:pt x="584" y="244"/>
                  </a:lnTo>
                  <a:lnTo>
                    <a:pt x="585" y="236"/>
                  </a:lnTo>
                  <a:lnTo>
                    <a:pt x="586" y="226"/>
                  </a:lnTo>
                  <a:lnTo>
                    <a:pt x="585" y="216"/>
                  </a:lnTo>
                  <a:lnTo>
                    <a:pt x="584" y="207"/>
                  </a:lnTo>
                  <a:lnTo>
                    <a:pt x="583" y="197"/>
                  </a:lnTo>
                  <a:lnTo>
                    <a:pt x="580" y="188"/>
                  </a:lnTo>
                  <a:lnTo>
                    <a:pt x="577" y="179"/>
                  </a:lnTo>
                  <a:lnTo>
                    <a:pt x="574" y="170"/>
                  </a:lnTo>
                  <a:lnTo>
                    <a:pt x="570" y="163"/>
                  </a:lnTo>
                  <a:lnTo>
                    <a:pt x="564" y="154"/>
                  </a:lnTo>
                  <a:lnTo>
                    <a:pt x="560" y="147"/>
                  </a:lnTo>
                  <a:lnTo>
                    <a:pt x="554" y="140"/>
                  </a:lnTo>
                  <a:lnTo>
                    <a:pt x="548" y="133"/>
                  </a:lnTo>
                  <a:lnTo>
                    <a:pt x="542" y="127"/>
                  </a:lnTo>
                  <a:lnTo>
                    <a:pt x="534" y="121"/>
                  </a:lnTo>
                  <a:lnTo>
                    <a:pt x="527" y="116"/>
                  </a:lnTo>
                  <a:lnTo>
                    <a:pt x="519" y="110"/>
                  </a:lnTo>
                  <a:lnTo>
                    <a:pt x="512" y="106"/>
                  </a:lnTo>
                  <a:lnTo>
                    <a:pt x="512" y="30"/>
                  </a:lnTo>
                  <a:lnTo>
                    <a:pt x="722" y="30"/>
                  </a:lnTo>
                  <a:lnTo>
                    <a:pt x="732" y="31"/>
                  </a:lnTo>
                  <a:lnTo>
                    <a:pt x="741" y="32"/>
                  </a:lnTo>
                  <a:lnTo>
                    <a:pt x="750" y="34"/>
                  </a:lnTo>
                  <a:lnTo>
                    <a:pt x="758" y="38"/>
                  </a:lnTo>
                  <a:lnTo>
                    <a:pt x="767" y="42"/>
                  </a:lnTo>
                  <a:lnTo>
                    <a:pt x="773" y="47"/>
                  </a:lnTo>
                  <a:lnTo>
                    <a:pt x="781" y="53"/>
                  </a:lnTo>
                  <a:lnTo>
                    <a:pt x="787" y="60"/>
                  </a:lnTo>
                  <a:lnTo>
                    <a:pt x="793" y="67"/>
                  </a:lnTo>
                  <a:lnTo>
                    <a:pt x="798" y="75"/>
                  </a:lnTo>
                  <a:lnTo>
                    <a:pt x="802" y="83"/>
                  </a:lnTo>
                  <a:lnTo>
                    <a:pt x="806" y="93"/>
                  </a:lnTo>
                  <a:lnTo>
                    <a:pt x="809" y="103"/>
                  </a:lnTo>
                  <a:lnTo>
                    <a:pt x="811" y="113"/>
                  </a:lnTo>
                  <a:lnTo>
                    <a:pt x="812" y="124"/>
                  </a:lnTo>
                  <a:lnTo>
                    <a:pt x="812" y="135"/>
                  </a:lnTo>
                  <a:close/>
                  <a:moveTo>
                    <a:pt x="842" y="461"/>
                  </a:moveTo>
                  <a:lnTo>
                    <a:pt x="842" y="135"/>
                  </a:lnTo>
                  <a:lnTo>
                    <a:pt x="842" y="121"/>
                  </a:lnTo>
                  <a:lnTo>
                    <a:pt x="840" y="107"/>
                  </a:lnTo>
                  <a:lnTo>
                    <a:pt x="837" y="94"/>
                  </a:lnTo>
                  <a:lnTo>
                    <a:pt x="833" y="81"/>
                  </a:lnTo>
                  <a:lnTo>
                    <a:pt x="828" y="69"/>
                  </a:lnTo>
                  <a:lnTo>
                    <a:pt x="823" y="58"/>
                  </a:lnTo>
                  <a:lnTo>
                    <a:pt x="816" y="48"/>
                  </a:lnTo>
                  <a:lnTo>
                    <a:pt x="809" y="38"/>
                  </a:lnTo>
                  <a:lnTo>
                    <a:pt x="800" y="30"/>
                  </a:lnTo>
                  <a:lnTo>
                    <a:pt x="791" y="22"/>
                  </a:lnTo>
                  <a:lnTo>
                    <a:pt x="781" y="16"/>
                  </a:lnTo>
                  <a:lnTo>
                    <a:pt x="770" y="10"/>
                  </a:lnTo>
                  <a:lnTo>
                    <a:pt x="759" y="6"/>
                  </a:lnTo>
                  <a:lnTo>
                    <a:pt x="748" y="3"/>
                  </a:lnTo>
                  <a:lnTo>
                    <a:pt x="735" y="1"/>
                  </a:lnTo>
                  <a:lnTo>
                    <a:pt x="722" y="0"/>
                  </a:lnTo>
                  <a:lnTo>
                    <a:pt x="196" y="0"/>
                  </a:lnTo>
                  <a:lnTo>
                    <a:pt x="183" y="1"/>
                  </a:lnTo>
                  <a:lnTo>
                    <a:pt x="169" y="3"/>
                  </a:lnTo>
                  <a:lnTo>
                    <a:pt x="156" y="6"/>
                  </a:lnTo>
                  <a:lnTo>
                    <a:pt x="143" y="10"/>
                  </a:lnTo>
                  <a:lnTo>
                    <a:pt x="131" y="17"/>
                  </a:lnTo>
                  <a:lnTo>
                    <a:pt x="120" y="23"/>
                  </a:lnTo>
                  <a:lnTo>
                    <a:pt x="110" y="31"/>
                  </a:lnTo>
                  <a:lnTo>
                    <a:pt x="100" y="39"/>
                  </a:lnTo>
                  <a:lnTo>
                    <a:pt x="92" y="49"/>
                  </a:lnTo>
                  <a:lnTo>
                    <a:pt x="84" y="60"/>
                  </a:lnTo>
                  <a:lnTo>
                    <a:pt x="78" y="70"/>
                  </a:lnTo>
                  <a:lnTo>
                    <a:pt x="71" y="82"/>
                  </a:lnTo>
                  <a:lnTo>
                    <a:pt x="67" y="95"/>
                  </a:lnTo>
                  <a:lnTo>
                    <a:pt x="64" y="108"/>
                  </a:lnTo>
                  <a:lnTo>
                    <a:pt x="61" y="122"/>
                  </a:lnTo>
                  <a:lnTo>
                    <a:pt x="60" y="135"/>
                  </a:lnTo>
                  <a:lnTo>
                    <a:pt x="60" y="461"/>
                  </a:lnTo>
                  <a:lnTo>
                    <a:pt x="0" y="556"/>
                  </a:lnTo>
                  <a:lnTo>
                    <a:pt x="0" y="676"/>
                  </a:lnTo>
                  <a:lnTo>
                    <a:pt x="1" y="684"/>
                  </a:lnTo>
                  <a:lnTo>
                    <a:pt x="3" y="691"/>
                  </a:lnTo>
                  <a:lnTo>
                    <a:pt x="4" y="698"/>
                  </a:lnTo>
                  <a:lnTo>
                    <a:pt x="7" y="705"/>
                  </a:lnTo>
                  <a:lnTo>
                    <a:pt x="10" y="712"/>
                  </a:lnTo>
                  <a:lnTo>
                    <a:pt x="14" y="718"/>
                  </a:lnTo>
                  <a:lnTo>
                    <a:pt x="19" y="724"/>
                  </a:lnTo>
                  <a:lnTo>
                    <a:pt x="23" y="729"/>
                  </a:lnTo>
                  <a:lnTo>
                    <a:pt x="28" y="734"/>
                  </a:lnTo>
                  <a:lnTo>
                    <a:pt x="35" y="739"/>
                  </a:lnTo>
                  <a:lnTo>
                    <a:pt x="40" y="743"/>
                  </a:lnTo>
                  <a:lnTo>
                    <a:pt x="48" y="746"/>
                  </a:lnTo>
                  <a:lnTo>
                    <a:pt x="54" y="748"/>
                  </a:lnTo>
                  <a:lnTo>
                    <a:pt x="61" y="750"/>
                  </a:lnTo>
                  <a:lnTo>
                    <a:pt x="68" y="751"/>
                  </a:lnTo>
                  <a:lnTo>
                    <a:pt x="75" y="751"/>
                  </a:lnTo>
                  <a:lnTo>
                    <a:pt x="162" y="751"/>
                  </a:lnTo>
                  <a:lnTo>
                    <a:pt x="156" y="768"/>
                  </a:lnTo>
                  <a:lnTo>
                    <a:pt x="148" y="783"/>
                  </a:lnTo>
                  <a:lnTo>
                    <a:pt x="140" y="799"/>
                  </a:lnTo>
                  <a:lnTo>
                    <a:pt x="130" y="815"/>
                  </a:lnTo>
                  <a:lnTo>
                    <a:pt x="119" y="831"/>
                  </a:lnTo>
                  <a:lnTo>
                    <a:pt x="108" y="846"/>
                  </a:lnTo>
                  <a:lnTo>
                    <a:pt x="95" y="862"/>
                  </a:lnTo>
                  <a:lnTo>
                    <a:pt x="81" y="876"/>
                  </a:lnTo>
                  <a:lnTo>
                    <a:pt x="55" y="902"/>
                  </a:lnTo>
                  <a:lnTo>
                    <a:pt x="853" y="902"/>
                  </a:lnTo>
                  <a:lnTo>
                    <a:pt x="822" y="876"/>
                  </a:lnTo>
                  <a:lnTo>
                    <a:pt x="807" y="862"/>
                  </a:lnTo>
                  <a:lnTo>
                    <a:pt x="793" y="848"/>
                  </a:lnTo>
                  <a:lnTo>
                    <a:pt x="781" y="833"/>
                  </a:lnTo>
                  <a:lnTo>
                    <a:pt x="770" y="817"/>
                  </a:lnTo>
                  <a:lnTo>
                    <a:pt x="761" y="801"/>
                  </a:lnTo>
                  <a:lnTo>
                    <a:pt x="752" y="785"/>
                  </a:lnTo>
                  <a:lnTo>
                    <a:pt x="743" y="769"/>
                  </a:lnTo>
                  <a:lnTo>
                    <a:pt x="737" y="751"/>
                  </a:lnTo>
                  <a:lnTo>
                    <a:pt x="828" y="751"/>
                  </a:lnTo>
                  <a:lnTo>
                    <a:pt x="836" y="751"/>
                  </a:lnTo>
                  <a:lnTo>
                    <a:pt x="843" y="749"/>
                  </a:lnTo>
                  <a:lnTo>
                    <a:pt x="850" y="747"/>
                  </a:lnTo>
                  <a:lnTo>
                    <a:pt x="857" y="745"/>
                  </a:lnTo>
                  <a:lnTo>
                    <a:pt x="863" y="742"/>
                  </a:lnTo>
                  <a:lnTo>
                    <a:pt x="869" y="737"/>
                  </a:lnTo>
                  <a:lnTo>
                    <a:pt x="875" y="733"/>
                  </a:lnTo>
                  <a:lnTo>
                    <a:pt x="881" y="728"/>
                  </a:lnTo>
                  <a:lnTo>
                    <a:pt x="885" y="722"/>
                  </a:lnTo>
                  <a:lnTo>
                    <a:pt x="889" y="717"/>
                  </a:lnTo>
                  <a:lnTo>
                    <a:pt x="894" y="711"/>
                  </a:lnTo>
                  <a:lnTo>
                    <a:pt x="897" y="704"/>
                  </a:lnTo>
                  <a:lnTo>
                    <a:pt x="899" y="698"/>
                  </a:lnTo>
                  <a:lnTo>
                    <a:pt x="901" y="691"/>
                  </a:lnTo>
                  <a:lnTo>
                    <a:pt x="902" y="684"/>
                  </a:lnTo>
                  <a:lnTo>
                    <a:pt x="902" y="676"/>
                  </a:lnTo>
                  <a:lnTo>
                    <a:pt x="902" y="556"/>
                  </a:lnTo>
                  <a:lnTo>
                    <a:pt x="842" y="4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364">
              <a:extLst>
                <a:ext uri="{FF2B5EF4-FFF2-40B4-BE49-F238E27FC236}">
                  <a16:creationId xmlns:a16="http://schemas.microsoft.com/office/drawing/2014/main" id="{B2BA24A9-07D2-4D51-8A56-433738257859}"/>
                </a:ext>
              </a:extLst>
            </p:cNvPr>
            <p:cNvSpPr>
              <a:spLocks/>
            </p:cNvSpPr>
            <p:nvPr/>
          </p:nvSpPr>
          <p:spPr bwMode="auto">
            <a:xfrm>
              <a:off x="10510838" y="3743008"/>
              <a:ext cx="19050" cy="19050"/>
            </a:xfrm>
            <a:custGeom>
              <a:avLst/>
              <a:gdLst>
                <a:gd name="T0" fmla="*/ 30 w 60"/>
                <a:gd name="T1" fmla="*/ 60 h 60"/>
                <a:gd name="T2" fmla="*/ 36 w 60"/>
                <a:gd name="T3" fmla="*/ 59 h 60"/>
                <a:gd name="T4" fmla="*/ 41 w 60"/>
                <a:gd name="T5" fmla="*/ 58 h 60"/>
                <a:gd name="T6" fmla="*/ 47 w 60"/>
                <a:gd name="T7" fmla="*/ 55 h 60"/>
                <a:gd name="T8" fmla="*/ 51 w 60"/>
                <a:gd name="T9" fmla="*/ 52 h 60"/>
                <a:gd name="T10" fmla="*/ 55 w 60"/>
                <a:gd name="T11" fmla="*/ 46 h 60"/>
                <a:gd name="T12" fmla="*/ 57 w 60"/>
                <a:gd name="T13" fmla="*/ 42 h 60"/>
                <a:gd name="T14" fmla="*/ 60 w 60"/>
                <a:gd name="T15" fmla="*/ 35 h 60"/>
                <a:gd name="T16" fmla="*/ 60 w 60"/>
                <a:gd name="T17" fmla="*/ 30 h 60"/>
                <a:gd name="T18" fmla="*/ 60 w 60"/>
                <a:gd name="T19" fmla="*/ 24 h 60"/>
                <a:gd name="T20" fmla="*/ 57 w 60"/>
                <a:gd name="T21" fmla="*/ 18 h 60"/>
                <a:gd name="T22" fmla="*/ 55 w 60"/>
                <a:gd name="T23" fmla="*/ 13 h 60"/>
                <a:gd name="T24" fmla="*/ 51 w 60"/>
                <a:gd name="T25" fmla="*/ 9 h 60"/>
                <a:gd name="T26" fmla="*/ 47 w 60"/>
                <a:gd name="T27" fmla="*/ 4 h 60"/>
                <a:gd name="T28" fmla="*/ 41 w 60"/>
                <a:gd name="T29" fmla="*/ 2 h 60"/>
                <a:gd name="T30" fmla="*/ 36 w 60"/>
                <a:gd name="T31" fmla="*/ 0 h 60"/>
                <a:gd name="T32" fmla="*/ 30 w 60"/>
                <a:gd name="T33" fmla="*/ 0 h 60"/>
                <a:gd name="T34" fmla="*/ 24 w 60"/>
                <a:gd name="T35" fmla="*/ 0 h 60"/>
                <a:gd name="T36" fmla="*/ 19 w 60"/>
                <a:gd name="T37" fmla="*/ 2 h 60"/>
                <a:gd name="T38" fmla="*/ 13 w 60"/>
                <a:gd name="T39" fmla="*/ 4 h 60"/>
                <a:gd name="T40" fmla="*/ 9 w 60"/>
                <a:gd name="T41" fmla="*/ 9 h 60"/>
                <a:gd name="T42" fmla="*/ 5 w 60"/>
                <a:gd name="T43" fmla="*/ 13 h 60"/>
                <a:gd name="T44" fmla="*/ 3 w 60"/>
                <a:gd name="T45" fmla="*/ 18 h 60"/>
                <a:gd name="T46" fmla="*/ 1 w 60"/>
                <a:gd name="T47" fmla="*/ 24 h 60"/>
                <a:gd name="T48" fmla="*/ 0 w 60"/>
                <a:gd name="T49" fmla="*/ 30 h 60"/>
                <a:gd name="T50" fmla="*/ 1 w 60"/>
                <a:gd name="T51" fmla="*/ 35 h 60"/>
                <a:gd name="T52" fmla="*/ 3 w 60"/>
                <a:gd name="T53" fmla="*/ 42 h 60"/>
                <a:gd name="T54" fmla="*/ 5 w 60"/>
                <a:gd name="T55" fmla="*/ 46 h 60"/>
                <a:gd name="T56" fmla="*/ 9 w 60"/>
                <a:gd name="T57" fmla="*/ 52 h 60"/>
                <a:gd name="T58" fmla="*/ 13 w 60"/>
                <a:gd name="T59" fmla="*/ 55 h 60"/>
                <a:gd name="T60" fmla="*/ 19 w 60"/>
                <a:gd name="T61" fmla="*/ 58 h 60"/>
                <a:gd name="T62" fmla="*/ 24 w 60"/>
                <a:gd name="T63" fmla="*/ 59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59"/>
                  </a:lnTo>
                  <a:lnTo>
                    <a:pt x="41" y="58"/>
                  </a:lnTo>
                  <a:lnTo>
                    <a:pt x="47" y="55"/>
                  </a:lnTo>
                  <a:lnTo>
                    <a:pt x="51" y="52"/>
                  </a:lnTo>
                  <a:lnTo>
                    <a:pt x="55" y="46"/>
                  </a:lnTo>
                  <a:lnTo>
                    <a:pt x="57" y="42"/>
                  </a:lnTo>
                  <a:lnTo>
                    <a:pt x="60" y="35"/>
                  </a:lnTo>
                  <a:lnTo>
                    <a:pt x="60" y="30"/>
                  </a:lnTo>
                  <a:lnTo>
                    <a:pt x="60" y="24"/>
                  </a:lnTo>
                  <a:lnTo>
                    <a:pt x="57" y="18"/>
                  </a:lnTo>
                  <a:lnTo>
                    <a:pt x="55" y="13"/>
                  </a:lnTo>
                  <a:lnTo>
                    <a:pt x="51" y="9"/>
                  </a:lnTo>
                  <a:lnTo>
                    <a:pt x="47" y="4"/>
                  </a:lnTo>
                  <a:lnTo>
                    <a:pt x="41" y="2"/>
                  </a:lnTo>
                  <a:lnTo>
                    <a:pt x="36" y="0"/>
                  </a:lnTo>
                  <a:lnTo>
                    <a:pt x="30" y="0"/>
                  </a:lnTo>
                  <a:lnTo>
                    <a:pt x="24" y="0"/>
                  </a:lnTo>
                  <a:lnTo>
                    <a:pt x="19" y="2"/>
                  </a:lnTo>
                  <a:lnTo>
                    <a:pt x="13" y="4"/>
                  </a:lnTo>
                  <a:lnTo>
                    <a:pt x="9" y="9"/>
                  </a:lnTo>
                  <a:lnTo>
                    <a:pt x="5" y="13"/>
                  </a:lnTo>
                  <a:lnTo>
                    <a:pt x="3" y="18"/>
                  </a:lnTo>
                  <a:lnTo>
                    <a:pt x="1" y="24"/>
                  </a:lnTo>
                  <a:lnTo>
                    <a:pt x="0" y="30"/>
                  </a:lnTo>
                  <a:lnTo>
                    <a:pt x="1" y="35"/>
                  </a:lnTo>
                  <a:lnTo>
                    <a:pt x="3" y="42"/>
                  </a:lnTo>
                  <a:lnTo>
                    <a:pt x="5" y="46"/>
                  </a:lnTo>
                  <a:lnTo>
                    <a:pt x="9" y="52"/>
                  </a:lnTo>
                  <a:lnTo>
                    <a:pt x="13" y="55"/>
                  </a:lnTo>
                  <a:lnTo>
                    <a:pt x="19" y="58"/>
                  </a:lnTo>
                  <a:lnTo>
                    <a:pt x="24" y="59"/>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365">
              <a:extLst>
                <a:ext uri="{FF2B5EF4-FFF2-40B4-BE49-F238E27FC236}">
                  <a16:creationId xmlns:a16="http://schemas.microsoft.com/office/drawing/2014/main" id="{6A1B7875-2644-4263-BF2D-51ABCAC1F34E}"/>
                </a:ext>
              </a:extLst>
            </p:cNvPr>
            <p:cNvSpPr>
              <a:spLocks noEditPoints="1"/>
            </p:cNvSpPr>
            <p:nvPr/>
          </p:nvSpPr>
          <p:spPr bwMode="auto">
            <a:xfrm>
              <a:off x="10653713" y="3671570"/>
              <a:ext cx="38100" cy="38100"/>
            </a:xfrm>
            <a:custGeom>
              <a:avLst/>
              <a:gdLst>
                <a:gd name="T0" fmla="*/ 90 w 120"/>
                <a:gd name="T1" fmla="*/ 90 h 121"/>
                <a:gd name="T2" fmla="*/ 30 w 120"/>
                <a:gd name="T3" fmla="*/ 90 h 121"/>
                <a:gd name="T4" fmla="*/ 30 w 120"/>
                <a:gd name="T5" fmla="*/ 30 h 121"/>
                <a:gd name="T6" fmla="*/ 90 w 120"/>
                <a:gd name="T7" fmla="*/ 30 h 121"/>
                <a:gd name="T8" fmla="*/ 90 w 120"/>
                <a:gd name="T9" fmla="*/ 90 h 121"/>
                <a:gd name="T10" fmla="*/ 120 w 120"/>
                <a:gd name="T11" fmla="*/ 0 h 121"/>
                <a:gd name="T12" fmla="*/ 0 w 120"/>
                <a:gd name="T13" fmla="*/ 0 h 121"/>
                <a:gd name="T14" fmla="*/ 0 w 120"/>
                <a:gd name="T15" fmla="*/ 121 h 121"/>
                <a:gd name="T16" fmla="*/ 120 w 120"/>
                <a:gd name="T17" fmla="*/ 121 h 121"/>
                <a:gd name="T18" fmla="*/ 120 w 120"/>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1">
                  <a:moveTo>
                    <a:pt x="90" y="90"/>
                  </a:moveTo>
                  <a:lnTo>
                    <a:pt x="30" y="90"/>
                  </a:lnTo>
                  <a:lnTo>
                    <a:pt x="30" y="30"/>
                  </a:lnTo>
                  <a:lnTo>
                    <a:pt x="90" y="30"/>
                  </a:lnTo>
                  <a:lnTo>
                    <a:pt x="90" y="90"/>
                  </a:lnTo>
                  <a:close/>
                  <a:moveTo>
                    <a:pt x="120" y="0"/>
                  </a:moveTo>
                  <a:lnTo>
                    <a:pt x="0" y="0"/>
                  </a:lnTo>
                  <a:lnTo>
                    <a:pt x="0" y="121"/>
                  </a:lnTo>
                  <a:lnTo>
                    <a:pt x="120" y="121"/>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0" name="Group 226">
            <a:extLst>
              <a:ext uri="{FF2B5EF4-FFF2-40B4-BE49-F238E27FC236}">
                <a16:creationId xmlns:a16="http://schemas.microsoft.com/office/drawing/2014/main" id="{4926DBEE-E93B-464B-A87F-18996AB23D2B}"/>
              </a:ext>
            </a:extLst>
          </p:cNvPr>
          <p:cNvGrpSpPr>
            <a:grpSpLocks noChangeAspect="1"/>
          </p:cNvGrpSpPr>
          <p:nvPr/>
        </p:nvGrpSpPr>
        <p:grpSpPr>
          <a:xfrm>
            <a:off x="7132238" y="5956111"/>
            <a:ext cx="161852" cy="285619"/>
            <a:chOff x="8802688" y="3642995"/>
            <a:chExt cx="161925" cy="285750"/>
          </a:xfrm>
          <a:solidFill>
            <a:schemeClr val="bg1"/>
          </a:solidFill>
          <a:effectLst/>
        </p:grpSpPr>
        <p:sp>
          <p:nvSpPr>
            <p:cNvPr id="1451" name="Freeform 419">
              <a:extLst>
                <a:ext uri="{FF2B5EF4-FFF2-40B4-BE49-F238E27FC236}">
                  <a16:creationId xmlns:a16="http://schemas.microsoft.com/office/drawing/2014/main" id="{630663EC-3897-40E2-874F-59C23E3F9360}"/>
                </a:ext>
              </a:extLst>
            </p:cNvPr>
            <p:cNvSpPr>
              <a:spLocks noEditPoints="1"/>
            </p:cNvSpPr>
            <p:nvPr/>
          </p:nvSpPr>
          <p:spPr bwMode="auto">
            <a:xfrm>
              <a:off x="8805863" y="3766820"/>
              <a:ext cx="153988" cy="161925"/>
            </a:xfrm>
            <a:custGeom>
              <a:avLst/>
              <a:gdLst>
                <a:gd name="T0" fmla="*/ 259 w 485"/>
                <a:gd name="T1" fmla="*/ 235 h 511"/>
                <a:gd name="T2" fmla="*/ 229 w 485"/>
                <a:gd name="T3" fmla="*/ 30 h 511"/>
                <a:gd name="T4" fmla="*/ 259 w 485"/>
                <a:gd name="T5" fmla="*/ 265 h 511"/>
                <a:gd name="T6" fmla="*/ 271 w 485"/>
                <a:gd name="T7" fmla="*/ 262 h 511"/>
                <a:gd name="T8" fmla="*/ 281 w 485"/>
                <a:gd name="T9" fmla="*/ 255 h 511"/>
                <a:gd name="T10" fmla="*/ 287 w 485"/>
                <a:gd name="T11" fmla="*/ 246 h 511"/>
                <a:gd name="T12" fmla="*/ 289 w 485"/>
                <a:gd name="T13" fmla="*/ 235 h 511"/>
                <a:gd name="T14" fmla="*/ 350 w 485"/>
                <a:gd name="T15" fmla="*/ 30 h 511"/>
                <a:gd name="T16" fmla="*/ 355 w 485"/>
                <a:gd name="T17" fmla="*/ 29 h 511"/>
                <a:gd name="T18" fmla="*/ 360 w 485"/>
                <a:gd name="T19" fmla="*/ 26 h 511"/>
                <a:gd name="T20" fmla="*/ 363 w 485"/>
                <a:gd name="T21" fmla="*/ 20 h 511"/>
                <a:gd name="T22" fmla="*/ 365 w 485"/>
                <a:gd name="T23" fmla="*/ 15 h 511"/>
                <a:gd name="T24" fmla="*/ 363 w 485"/>
                <a:gd name="T25" fmla="*/ 9 h 511"/>
                <a:gd name="T26" fmla="*/ 360 w 485"/>
                <a:gd name="T27" fmla="*/ 4 h 511"/>
                <a:gd name="T28" fmla="*/ 355 w 485"/>
                <a:gd name="T29" fmla="*/ 1 h 511"/>
                <a:gd name="T30" fmla="*/ 350 w 485"/>
                <a:gd name="T31" fmla="*/ 0 h 511"/>
                <a:gd name="T32" fmla="*/ 136 w 485"/>
                <a:gd name="T33" fmla="*/ 0 h 511"/>
                <a:gd name="T34" fmla="*/ 131 w 485"/>
                <a:gd name="T35" fmla="*/ 2 h 511"/>
                <a:gd name="T36" fmla="*/ 127 w 485"/>
                <a:gd name="T37" fmla="*/ 7 h 511"/>
                <a:gd name="T38" fmla="*/ 124 w 485"/>
                <a:gd name="T39" fmla="*/ 12 h 511"/>
                <a:gd name="T40" fmla="*/ 124 w 485"/>
                <a:gd name="T41" fmla="*/ 18 h 511"/>
                <a:gd name="T42" fmla="*/ 127 w 485"/>
                <a:gd name="T43" fmla="*/ 24 h 511"/>
                <a:gd name="T44" fmla="*/ 131 w 485"/>
                <a:gd name="T45" fmla="*/ 27 h 511"/>
                <a:gd name="T46" fmla="*/ 136 w 485"/>
                <a:gd name="T47" fmla="*/ 30 h 511"/>
                <a:gd name="T48" fmla="*/ 199 w 485"/>
                <a:gd name="T49" fmla="*/ 30 h 511"/>
                <a:gd name="T50" fmla="*/ 199 w 485"/>
                <a:gd name="T51" fmla="*/ 240 h 511"/>
                <a:gd name="T52" fmla="*/ 204 w 485"/>
                <a:gd name="T53" fmla="*/ 251 h 511"/>
                <a:gd name="T54" fmla="*/ 212 w 485"/>
                <a:gd name="T55" fmla="*/ 260 h 511"/>
                <a:gd name="T56" fmla="*/ 223 w 485"/>
                <a:gd name="T57" fmla="*/ 264 h 511"/>
                <a:gd name="T58" fmla="*/ 4 w 485"/>
                <a:gd name="T59" fmla="*/ 485 h 511"/>
                <a:gd name="T60" fmla="*/ 1 w 485"/>
                <a:gd name="T61" fmla="*/ 490 h 511"/>
                <a:gd name="T62" fmla="*/ 0 w 485"/>
                <a:gd name="T63" fmla="*/ 496 h 511"/>
                <a:gd name="T64" fmla="*/ 1 w 485"/>
                <a:gd name="T65" fmla="*/ 502 h 511"/>
                <a:gd name="T66" fmla="*/ 4 w 485"/>
                <a:gd name="T67" fmla="*/ 506 h 511"/>
                <a:gd name="T68" fmla="*/ 10 w 485"/>
                <a:gd name="T69" fmla="*/ 509 h 511"/>
                <a:gd name="T70" fmla="*/ 15 w 485"/>
                <a:gd name="T71" fmla="*/ 511 h 511"/>
                <a:gd name="T72" fmla="*/ 20 w 485"/>
                <a:gd name="T73" fmla="*/ 509 h 511"/>
                <a:gd name="T74" fmla="*/ 26 w 485"/>
                <a:gd name="T75" fmla="*/ 506 h 511"/>
                <a:gd name="T76" fmla="*/ 229 w 485"/>
                <a:gd name="T77" fmla="*/ 496 h 511"/>
                <a:gd name="T78" fmla="*/ 231 w 485"/>
                <a:gd name="T79" fmla="*/ 502 h 511"/>
                <a:gd name="T80" fmla="*/ 234 w 485"/>
                <a:gd name="T81" fmla="*/ 506 h 511"/>
                <a:gd name="T82" fmla="*/ 238 w 485"/>
                <a:gd name="T83" fmla="*/ 509 h 511"/>
                <a:gd name="T84" fmla="*/ 244 w 485"/>
                <a:gd name="T85" fmla="*/ 511 h 511"/>
                <a:gd name="T86" fmla="*/ 250 w 485"/>
                <a:gd name="T87" fmla="*/ 509 h 511"/>
                <a:gd name="T88" fmla="*/ 255 w 485"/>
                <a:gd name="T89" fmla="*/ 506 h 511"/>
                <a:gd name="T90" fmla="*/ 258 w 485"/>
                <a:gd name="T91" fmla="*/ 502 h 511"/>
                <a:gd name="T92" fmla="*/ 259 w 485"/>
                <a:gd name="T93" fmla="*/ 496 h 511"/>
                <a:gd name="T94" fmla="*/ 459 w 485"/>
                <a:gd name="T95" fmla="*/ 506 h 511"/>
                <a:gd name="T96" fmla="*/ 464 w 485"/>
                <a:gd name="T97" fmla="*/ 509 h 511"/>
                <a:gd name="T98" fmla="*/ 470 w 485"/>
                <a:gd name="T99" fmla="*/ 511 h 511"/>
                <a:gd name="T100" fmla="*/ 475 w 485"/>
                <a:gd name="T101" fmla="*/ 509 h 511"/>
                <a:gd name="T102" fmla="*/ 480 w 485"/>
                <a:gd name="T103" fmla="*/ 506 h 511"/>
                <a:gd name="T104" fmla="*/ 484 w 485"/>
                <a:gd name="T105" fmla="*/ 502 h 511"/>
                <a:gd name="T106" fmla="*/ 485 w 485"/>
                <a:gd name="T107" fmla="*/ 496 h 511"/>
                <a:gd name="T108" fmla="*/ 484 w 485"/>
                <a:gd name="T109" fmla="*/ 490 h 511"/>
                <a:gd name="T110" fmla="*/ 480 w 485"/>
                <a:gd name="T111" fmla="*/ 48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5" h="511">
                  <a:moveTo>
                    <a:pt x="259" y="30"/>
                  </a:moveTo>
                  <a:lnTo>
                    <a:pt x="259" y="235"/>
                  </a:lnTo>
                  <a:lnTo>
                    <a:pt x="229" y="235"/>
                  </a:lnTo>
                  <a:lnTo>
                    <a:pt x="229" y="30"/>
                  </a:lnTo>
                  <a:lnTo>
                    <a:pt x="259" y="30"/>
                  </a:lnTo>
                  <a:close/>
                  <a:moveTo>
                    <a:pt x="259" y="265"/>
                  </a:moveTo>
                  <a:lnTo>
                    <a:pt x="266" y="264"/>
                  </a:lnTo>
                  <a:lnTo>
                    <a:pt x="271" y="262"/>
                  </a:lnTo>
                  <a:lnTo>
                    <a:pt x="277" y="260"/>
                  </a:lnTo>
                  <a:lnTo>
                    <a:pt x="281" y="255"/>
                  </a:lnTo>
                  <a:lnTo>
                    <a:pt x="284" y="251"/>
                  </a:lnTo>
                  <a:lnTo>
                    <a:pt x="287" y="246"/>
                  </a:lnTo>
                  <a:lnTo>
                    <a:pt x="288" y="240"/>
                  </a:lnTo>
                  <a:lnTo>
                    <a:pt x="289" y="235"/>
                  </a:lnTo>
                  <a:lnTo>
                    <a:pt x="289" y="30"/>
                  </a:lnTo>
                  <a:lnTo>
                    <a:pt x="350" y="30"/>
                  </a:lnTo>
                  <a:lnTo>
                    <a:pt x="353" y="30"/>
                  </a:lnTo>
                  <a:lnTo>
                    <a:pt x="355" y="29"/>
                  </a:lnTo>
                  <a:lnTo>
                    <a:pt x="358" y="27"/>
                  </a:lnTo>
                  <a:lnTo>
                    <a:pt x="360" y="26"/>
                  </a:lnTo>
                  <a:lnTo>
                    <a:pt x="362" y="24"/>
                  </a:lnTo>
                  <a:lnTo>
                    <a:pt x="363" y="20"/>
                  </a:lnTo>
                  <a:lnTo>
                    <a:pt x="365" y="18"/>
                  </a:lnTo>
                  <a:lnTo>
                    <a:pt x="365" y="15"/>
                  </a:lnTo>
                  <a:lnTo>
                    <a:pt x="365" y="12"/>
                  </a:lnTo>
                  <a:lnTo>
                    <a:pt x="363" y="9"/>
                  </a:lnTo>
                  <a:lnTo>
                    <a:pt x="362" y="7"/>
                  </a:lnTo>
                  <a:lnTo>
                    <a:pt x="360" y="4"/>
                  </a:lnTo>
                  <a:lnTo>
                    <a:pt x="358" y="2"/>
                  </a:lnTo>
                  <a:lnTo>
                    <a:pt x="355" y="1"/>
                  </a:lnTo>
                  <a:lnTo>
                    <a:pt x="353" y="0"/>
                  </a:lnTo>
                  <a:lnTo>
                    <a:pt x="350" y="0"/>
                  </a:lnTo>
                  <a:lnTo>
                    <a:pt x="139" y="0"/>
                  </a:lnTo>
                  <a:lnTo>
                    <a:pt x="136" y="0"/>
                  </a:lnTo>
                  <a:lnTo>
                    <a:pt x="133" y="1"/>
                  </a:lnTo>
                  <a:lnTo>
                    <a:pt x="131" y="2"/>
                  </a:lnTo>
                  <a:lnTo>
                    <a:pt x="129" y="4"/>
                  </a:lnTo>
                  <a:lnTo>
                    <a:pt x="127" y="7"/>
                  </a:lnTo>
                  <a:lnTo>
                    <a:pt x="125" y="9"/>
                  </a:lnTo>
                  <a:lnTo>
                    <a:pt x="124" y="12"/>
                  </a:lnTo>
                  <a:lnTo>
                    <a:pt x="124" y="15"/>
                  </a:lnTo>
                  <a:lnTo>
                    <a:pt x="124" y="18"/>
                  </a:lnTo>
                  <a:lnTo>
                    <a:pt x="125" y="20"/>
                  </a:lnTo>
                  <a:lnTo>
                    <a:pt x="127" y="24"/>
                  </a:lnTo>
                  <a:lnTo>
                    <a:pt x="129" y="26"/>
                  </a:lnTo>
                  <a:lnTo>
                    <a:pt x="131" y="27"/>
                  </a:lnTo>
                  <a:lnTo>
                    <a:pt x="133" y="29"/>
                  </a:lnTo>
                  <a:lnTo>
                    <a:pt x="136" y="30"/>
                  </a:lnTo>
                  <a:lnTo>
                    <a:pt x="139" y="30"/>
                  </a:lnTo>
                  <a:lnTo>
                    <a:pt x="199" y="30"/>
                  </a:lnTo>
                  <a:lnTo>
                    <a:pt x="199" y="235"/>
                  </a:lnTo>
                  <a:lnTo>
                    <a:pt x="199" y="240"/>
                  </a:lnTo>
                  <a:lnTo>
                    <a:pt x="202" y="246"/>
                  </a:lnTo>
                  <a:lnTo>
                    <a:pt x="204" y="251"/>
                  </a:lnTo>
                  <a:lnTo>
                    <a:pt x="208" y="255"/>
                  </a:lnTo>
                  <a:lnTo>
                    <a:pt x="212" y="260"/>
                  </a:lnTo>
                  <a:lnTo>
                    <a:pt x="218" y="262"/>
                  </a:lnTo>
                  <a:lnTo>
                    <a:pt x="223" y="264"/>
                  </a:lnTo>
                  <a:lnTo>
                    <a:pt x="228" y="265"/>
                  </a:lnTo>
                  <a:lnTo>
                    <a:pt x="4" y="485"/>
                  </a:lnTo>
                  <a:lnTo>
                    <a:pt x="2" y="488"/>
                  </a:lnTo>
                  <a:lnTo>
                    <a:pt x="1" y="490"/>
                  </a:lnTo>
                  <a:lnTo>
                    <a:pt x="0" y="493"/>
                  </a:lnTo>
                  <a:lnTo>
                    <a:pt x="0" y="496"/>
                  </a:lnTo>
                  <a:lnTo>
                    <a:pt x="0" y="499"/>
                  </a:lnTo>
                  <a:lnTo>
                    <a:pt x="1" y="502"/>
                  </a:lnTo>
                  <a:lnTo>
                    <a:pt x="2" y="504"/>
                  </a:lnTo>
                  <a:lnTo>
                    <a:pt x="4" y="506"/>
                  </a:lnTo>
                  <a:lnTo>
                    <a:pt x="6" y="508"/>
                  </a:lnTo>
                  <a:lnTo>
                    <a:pt x="10" y="509"/>
                  </a:lnTo>
                  <a:lnTo>
                    <a:pt x="12" y="511"/>
                  </a:lnTo>
                  <a:lnTo>
                    <a:pt x="15" y="511"/>
                  </a:lnTo>
                  <a:lnTo>
                    <a:pt x="18" y="511"/>
                  </a:lnTo>
                  <a:lnTo>
                    <a:pt x="20" y="509"/>
                  </a:lnTo>
                  <a:lnTo>
                    <a:pt x="23" y="508"/>
                  </a:lnTo>
                  <a:lnTo>
                    <a:pt x="26" y="506"/>
                  </a:lnTo>
                  <a:lnTo>
                    <a:pt x="229" y="306"/>
                  </a:lnTo>
                  <a:lnTo>
                    <a:pt x="229" y="496"/>
                  </a:lnTo>
                  <a:lnTo>
                    <a:pt x="229" y="499"/>
                  </a:lnTo>
                  <a:lnTo>
                    <a:pt x="231" y="502"/>
                  </a:lnTo>
                  <a:lnTo>
                    <a:pt x="232" y="504"/>
                  </a:lnTo>
                  <a:lnTo>
                    <a:pt x="234" y="506"/>
                  </a:lnTo>
                  <a:lnTo>
                    <a:pt x="236" y="508"/>
                  </a:lnTo>
                  <a:lnTo>
                    <a:pt x="238" y="509"/>
                  </a:lnTo>
                  <a:lnTo>
                    <a:pt x="241" y="511"/>
                  </a:lnTo>
                  <a:lnTo>
                    <a:pt x="244" y="511"/>
                  </a:lnTo>
                  <a:lnTo>
                    <a:pt x="248" y="511"/>
                  </a:lnTo>
                  <a:lnTo>
                    <a:pt x="250" y="509"/>
                  </a:lnTo>
                  <a:lnTo>
                    <a:pt x="253" y="508"/>
                  </a:lnTo>
                  <a:lnTo>
                    <a:pt x="255" y="506"/>
                  </a:lnTo>
                  <a:lnTo>
                    <a:pt x="256" y="504"/>
                  </a:lnTo>
                  <a:lnTo>
                    <a:pt x="258" y="502"/>
                  </a:lnTo>
                  <a:lnTo>
                    <a:pt x="259" y="499"/>
                  </a:lnTo>
                  <a:lnTo>
                    <a:pt x="259" y="496"/>
                  </a:lnTo>
                  <a:lnTo>
                    <a:pt x="259" y="307"/>
                  </a:lnTo>
                  <a:lnTo>
                    <a:pt x="459" y="506"/>
                  </a:lnTo>
                  <a:lnTo>
                    <a:pt x="461" y="508"/>
                  </a:lnTo>
                  <a:lnTo>
                    <a:pt x="464" y="509"/>
                  </a:lnTo>
                  <a:lnTo>
                    <a:pt x="466" y="511"/>
                  </a:lnTo>
                  <a:lnTo>
                    <a:pt x="470" y="511"/>
                  </a:lnTo>
                  <a:lnTo>
                    <a:pt x="473" y="511"/>
                  </a:lnTo>
                  <a:lnTo>
                    <a:pt x="475" y="509"/>
                  </a:lnTo>
                  <a:lnTo>
                    <a:pt x="478" y="508"/>
                  </a:lnTo>
                  <a:lnTo>
                    <a:pt x="480" y="506"/>
                  </a:lnTo>
                  <a:lnTo>
                    <a:pt x="482" y="504"/>
                  </a:lnTo>
                  <a:lnTo>
                    <a:pt x="484" y="502"/>
                  </a:lnTo>
                  <a:lnTo>
                    <a:pt x="485" y="499"/>
                  </a:lnTo>
                  <a:lnTo>
                    <a:pt x="485" y="496"/>
                  </a:lnTo>
                  <a:lnTo>
                    <a:pt x="485" y="493"/>
                  </a:lnTo>
                  <a:lnTo>
                    <a:pt x="484" y="490"/>
                  </a:lnTo>
                  <a:lnTo>
                    <a:pt x="482" y="488"/>
                  </a:lnTo>
                  <a:lnTo>
                    <a:pt x="480" y="485"/>
                  </a:lnTo>
                  <a:lnTo>
                    <a:pt x="259"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420">
              <a:extLst>
                <a:ext uri="{FF2B5EF4-FFF2-40B4-BE49-F238E27FC236}">
                  <a16:creationId xmlns:a16="http://schemas.microsoft.com/office/drawing/2014/main" id="{9144D0C4-690F-4192-A3EF-BF2124187D1B}"/>
                </a:ext>
              </a:extLst>
            </p:cNvPr>
            <p:cNvSpPr>
              <a:spLocks noEditPoints="1"/>
            </p:cNvSpPr>
            <p:nvPr/>
          </p:nvSpPr>
          <p:spPr bwMode="auto">
            <a:xfrm>
              <a:off x="8802688" y="3642995"/>
              <a:ext cx="161925" cy="114300"/>
            </a:xfrm>
            <a:custGeom>
              <a:avLst/>
              <a:gdLst>
                <a:gd name="T0" fmla="*/ 481 w 512"/>
                <a:gd name="T1" fmla="*/ 307 h 361"/>
                <a:gd name="T2" fmla="*/ 473 w 512"/>
                <a:gd name="T3" fmla="*/ 319 h 361"/>
                <a:gd name="T4" fmla="*/ 455 w 512"/>
                <a:gd name="T5" fmla="*/ 329 h 361"/>
                <a:gd name="T6" fmla="*/ 65 w 512"/>
                <a:gd name="T7" fmla="*/ 331 h 361"/>
                <a:gd name="T8" fmla="*/ 48 w 512"/>
                <a:gd name="T9" fmla="*/ 327 h 361"/>
                <a:gd name="T10" fmla="*/ 35 w 512"/>
                <a:gd name="T11" fmla="*/ 314 h 361"/>
                <a:gd name="T12" fmla="*/ 31 w 512"/>
                <a:gd name="T13" fmla="*/ 91 h 361"/>
                <a:gd name="T14" fmla="*/ 37 w 512"/>
                <a:gd name="T15" fmla="*/ 72 h 361"/>
                <a:gd name="T16" fmla="*/ 51 w 512"/>
                <a:gd name="T17" fmla="*/ 62 h 361"/>
                <a:gd name="T18" fmla="*/ 69 w 512"/>
                <a:gd name="T19" fmla="*/ 60 h 361"/>
                <a:gd name="T20" fmla="*/ 214 w 512"/>
                <a:gd name="T21" fmla="*/ 60 h 361"/>
                <a:gd name="T22" fmla="*/ 222 w 512"/>
                <a:gd name="T23" fmla="*/ 55 h 361"/>
                <a:gd name="T24" fmla="*/ 239 w 512"/>
                <a:gd name="T25" fmla="*/ 37 h 361"/>
                <a:gd name="T26" fmla="*/ 248 w 512"/>
                <a:gd name="T27" fmla="*/ 31 h 361"/>
                <a:gd name="T28" fmla="*/ 350 w 512"/>
                <a:gd name="T29" fmla="*/ 31 h 361"/>
                <a:gd name="T30" fmla="*/ 358 w 512"/>
                <a:gd name="T31" fmla="*/ 34 h 361"/>
                <a:gd name="T32" fmla="*/ 367 w 512"/>
                <a:gd name="T33" fmla="*/ 46 h 361"/>
                <a:gd name="T34" fmla="*/ 387 w 512"/>
                <a:gd name="T35" fmla="*/ 60 h 361"/>
                <a:gd name="T36" fmla="*/ 453 w 512"/>
                <a:gd name="T37" fmla="*/ 61 h 361"/>
                <a:gd name="T38" fmla="*/ 469 w 512"/>
                <a:gd name="T39" fmla="*/ 67 h 361"/>
                <a:gd name="T40" fmla="*/ 481 w 512"/>
                <a:gd name="T41" fmla="*/ 83 h 361"/>
                <a:gd name="T42" fmla="*/ 448 w 512"/>
                <a:gd name="T43" fmla="*/ 30 h 361"/>
                <a:gd name="T44" fmla="*/ 386 w 512"/>
                <a:gd name="T45" fmla="*/ 20 h 361"/>
                <a:gd name="T46" fmla="*/ 371 w 512"/>
                <a:gd name="T47" fmla="*/ 7 h 361"/>
                <a:gd name="T48" fmla="*/ 353 w 512"/>
                <a:gd name="T49" fmla="*/ 1 h 361"/>
                <a:gd name="T50" fmla="*/ 250 w 512"/>
                <a:gd name="T51" fmla="*/ 0 h 361"/>
                <a:gd name="T52" fmla="*/ 233 w 512"/>
                <a:gd name="T53" fmla="*/ 4 h 361"/>
                <a:gd name="T54" fmla="*/ 218 w 512"/>
                <a:gd name="T55" fmla="*/ 15 h 361"/>
                <a:gd name="T56" fmla="*/ 118 w 512"/>
                <a:gd name="T57" fmla="*/ 30 h 361"/>
                <a:gd name="T58" fmla="*/ 69 w 512"/>
                <a:gd name="T59" fmla="*/ 30 h 361"/>
                <a:gd name="T60" fmla="*/ 39 w 512"/>
                <a:gd name="T61" fmla="*/ 34 h 361"/>
                <a:gd name="T62" fmla="*/ 15 w 512"/>
                <a:gd name="T63" fmla="*/ 50 h 361"/>
                <a:gd name="T64" fmla="*/ 6 w 512"/>
                <a:gd name="T65" fmla="*/ 65 h 361"/>
                <a:gd name="T66" fmla="*/ 1 w 512"/>
                <a:gd name="T67" fmla="*/ 83 h 361"/>
                <a:gd name="T68" fmla="*/ 1 w 512"/>
                <a:gd name="T69" fmla="*/ 306 h 361"/>
                <a:gd name="T70" fmla="*/ 7 w 512"/>
                <a:gd name="T71" fmla="*/ 326 h 361"/>
                <a:gd name="T72" fmla="*/ 18 w 512"/>
                <a:gd name="T73" fmla="*/ 341 h 361"/>
                <a:gd name="T74" fmla="*/ 43 w 512"/>
                <a:gd name="T75" fmla="*/ 357 h 361"/>
                <a:gd name="T76" fmla="*/ 444 w 512"/>
                <a:gd name="T77" fmla="*/ 361 h 361"/>
                <a:gd name="T78" fmla="*/ 474 w 512"/>
                <a:gd name="T79" fmla="*/ 355 h 361"/>
                <a:gd name="T80" fmla="*/ 490 w 512"/>
                <a:gd name="T81" fmla="*/ 345 h 361"/>
                <a:gd name="T82" fmla="*/ 503 w 512"/>
                <a:gd name="T83" fmla="*/ 331 h 361"/>
                <a:gd name="T84" fmla="*/ 511 w 512"/>
                <a:gd name="T85" fmla="*/ 313 h 361"/>
                <a:gd name="T86" fmla="*/ 512 w 512"/>
                <a:gd name="T87" fmla="*/ 91 h 361"/>
                <a:gd name="T88" fmla="*/ 508 w 512"/>
                <a:gd name="T89" fmla="*/ 72 h 361"/>
                <a:gd name="T90" fmla="*/ 500 w 512"/>
                <a:gd name="T91" fmla="*/ 54 h 361"/>
                <a:gd name="T92" fmla="*/ 487 w 512"/>
                <a:gd name="T93" fmla="*/ 43 h 361"/>
                <a:gd name="T94" fmla="*/ 472 w 512"/>
                <a:gd name="T95" fmla="*/ 3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361">
                  <a:moveTo>
                    <a:pt x="482" y="299"/>
                  </a:moveTo>
                  <a:lnTo>
                    <a:pt x="482" y="303"/>
                  </a:lnTo>
                  <a:lnTo>
                    <a:pt x="481" y="307"/>
                  </a:lnTo>
                  <a:lnTo>
                    <a:pt x="479" y="311"/>
                  </a:lnTo>
                  <a:lnTo>
                    <a:pt x="477" y="314"/>
                  </a:lnTo>
                  <a:lnTo>
                    <a:pt x="473" y="319"/>
                  </a:lnTo>
                  <a:lnTo>
                    <a:pt x="468" y="324"/>
                  </a:lnTo>
                  <a:lnTo>
                    <a:pt x="461" y="327"/>
                  </a:lnTo>
                  <a:lnTo>
                    <a:pt x="455" y="329"/>
                  </a:lnTo>
                  <a:lnTo>
                    <a:pt x="449" y="330"/>
                  </a:lnTo>
                  <a:lnTo>
                    <a:pt x="444" y="331"/>
                  </a:lnTo>
                  <a:lnTo>
                    <a:pt x="65" y="331"/>
                  </a:lnTo>
                  <a:lnTo>
                    <a:pt x="60" y="330"/>
                  </a:lnTo>
                  <a:lnTo>
                    <a:pt x="55" y="329"/>
                  </a:lnTo>
                  <a:lnTo>
                    <a:pt x="48" y="327"/>
                  </a:lnTo>
                  <a:lnTo>
                    <a:pt x="43" y="324"/>
                  </a:lnTo>
                  <a:lnTo>
                    <a:pt x="39" y="319"/>
                  </a:lnTo>
                  <a:lnTo>
                    <a:pt x="35" y="314"/>
                  </a:lnTo>
                  <a:lnTo>
                    <a:pt x="31" y="307"/>
                  </a:lnTo>
                  <a:lnTo>
                    <a:pt x="31" y="299"/>
                  </a:lnTo>
                  <a:lnTo>
                    <a:pt x="31" y="91"/>
                  </a:lnTo>
                  <a:lnTo>
                    <a:pt x="31" y="83"/>
                  </a:lnTo>
                  <a:lnTo>
                    <a:pt x="33" y="77"/>
                  </a:lnTo>
                  <a:lnTo>
                    <a:pt x="37" y="72"/>
                  </a:lnTo>
                  <a:lnTo>
                    <a:pt x="41" y="67"/>
                  </a:lnTo>
                  <a:lnTo>
                    <a:pt x="46" y="64"/>
                  </a:lnTo>
                  <a:lnTo>
                    <a:pt x="51" y="62"/>
                  </a:lnTo>
                  <a:lnTo>
                    <a:pt x="56" y="61"/>
                  </a:lnTo>
                  <a:lnTo>
                    <a:pt x="61" y="60"/>
                  </a:lnTo>
                  <a:lnTo>
                    <a:pt x="69" y="60"/>
                  </a:lnTo>
                  <a:lnTo>
                    <a:pt x="118" y="60"/>
                  </a:lnTo>
                  <a:lnTo>
                    <a:pt x="211" y="60"/>
                  </a:lnTo>
                  <a:lnTo>
                    <a:pt x="214" y="60"/>
                  </a:lnTo>
                  <a:lnTo>
                    <a:pt x="217" y="59"/>
                  </a:lnTo>
                  <a:lnTo>
                    <a:pt x="220" y="58"/>
                  </a:lnTo>
                  <a:lnTo>
                    <a:pt x="222" y="55"/>
                  </a:lnTo>
                  <a:lnTo>
                    <a:pt x="237" y="40"/>
                  </a:lnTo>
                  <a:lnTo>
                    <a:pt x="238" y="39"/>
                  </a:lnTo>
                  <a:lnTo>
                    <a:pt x="239" y="37"/>
                  </a:lnTo>
                  <a:lnTo>
                    <a:pt x="241" y="34"/>
                  </a:lnTo>
                  <a:lnTo>
                    <a:pt x="244" y="32"/>
                  </a:lnTo>
                  <a:lnTo>
                    <a:pt x="248" y="31"/>
                  </a:lnTo>
                  <a:lnTo>
                    <a:pt x="256" y="30"/>
                  </a:lnTo>
                  <a:lnTo>
                    <a:pt x="347" y="30"/>
                  </a:lnTo>
                  <a:lnTo>
                    <a:pt x="350" y="31"/>
                  </a:lnTo>
                  <a:lnTo>
                    <a:pt x="353" y="31"/>
                  </a:lnTo>
                  <a:lnTo>
                    <a:pt x="356" y="33"/>
                  </a:lnTo>
                  <a:lnTo>
                    <a:pt x="358" y="34"/>
                  </a:lnTo>
                  <a:lnTo>
                    <a:pt x="363" y="38"/>
                  </a:lnTo>
                  <a:lnTo>
                    <a:pt x="365" y="43"/>
                  </a:lnTo>
                  <a:lnTo>
                    <a:pt x="367" y="46"/>
                  </a:lnTo>
                  <a:lnTo>
                    <a:pt x="370" y="48"/>
                  </a:lnTo>
                  <a:lnTo>
                    <a:pt x="383" y="58"/>
                  </a:lnTo>
                  <a:lnTo>
                    <a:pt x="387" y="60"/>
                  </a:lnTo>
                  <a:lnTo>
                    <a:pt x="392" y="60"/>
                  </a:lnTo>
                  <a:lnTo>
                    <a:pt x="448" y="60"/>
                  </a:lnTo>
                  <a:lnTo>
                    <a:pt x="453" y="61"/>
                  </a:lnTo>
                  <a:lnTo>
                    <a:pt x="458" y="62"/>
                  </a:lnTo>
                  <a:lnTo>
                    <a:pt x="463" y="64"/>
                  </a:lnTo>
                  <a:lnTo>
                    <a:pt x="469" y="67"/>
                  </a:lnTo>
                  <a:lnTo>
                    <a:pt x="474" y="70"/>
                  </a:lnTo>
                  <a:lnTo>
                    <a:pt x="478" y="76"/>
                  </a:lnTo>
                  <a:lnTo>
                    <a:pt x="481" y="83"/>
                  </a:lnTo>
                  <a:lnTo>
                    <a:pt x="482" y="91"/>
                  </a:lnTo>
                  <a:lnTo>
                    <a:pt x="482" y="299"/>
                  </a:lnTo>
                  <a:close/>
                  <a:moveTo>
                    <a:pt x="448" y="30"/>
                  </a:moveTo>
                  <a:lnTo>
                    <a:pt x="396" y="30"/>
                  </a:lnTo>
                  <a:lnTo>
                    <a:pt x="390" y="25"/>
                  </a:lnTo>
                  <a:lnTo>
                    <a:pt x="386" y="20"/>
                  </a:lnTo>
                  <a:lnTo>
                    <a:pt x="382" y="15"/>
                  </a:lnTo>
                  <a:lnTo>
                    <a:pt x="377" y="10"/>
                  </a:lnTo>
                  <a:lnTo>
                    <a:pt x="371" y="7"/>
                  </a:lnTo>
                  <a:lnTo>
                    <a:pt x="366" y="4"/>
                  </a:lnTo>
                  <a:lnTo>
                    <a:pt x="359" y="2"/>
                  </a:lnTo>
                  <a:lnTo>
                    <a:pt x="353" y="1"/>
                  </a:lnTo>
                  <a:lnTo>
                    <a:pt x="347" y="0"/>
                  </a:lnTo>
                  <a:lnTo>
                    <a:pt x="256" y="0"/>
                  </a:lnTo>
                  <a:lnTo>
                    <a:pt x="250" y="0"/>
                  </a:lnTo>
                  <a:lnTo>
                    <a:pt x="245" y="1"/>
                  </a:lnTo>
                  <a:lnTo>
                    <a:pt x="238" y="2"/>
                  </a:lnTo>
                  <a:lnTo>
                    <a:pt x="233" y="4"/>
                  </a:lnTo>
                  <a:lnTo>
                    <a:pt x="228" y="6"/>
                  </a:lnTo>
                  <a:lnTo>
                    <a:pt x="223" y="10"/>
                  </a:lnTo>
                  <a:lnTo>
                    <a:pt x="218" y="15"/>
                  </a:lnTo>
                  <a:lnTo>
                    <a:pt x="214" y="21"/>
                  </a:lnTo>
                  <a:lnTo>
                    <a:pt x="205" y="30"/>
                  </a:lnTo>
                  <a:lnTo>
                    <a:pt x="118" y="30"/>
                  </a:lnTo>
                  <a:lnTo>
                    <a:pt x="118" y="0"/>
                  </a:lnTo>
                  <a:lnTo>
                    <a:pt x="69" y="0"/>
                  </a:lnTo>
                  <a:lnTo>
                    <a:pt x="69" y="30"/>
                  </a:lnTo>
                  <a:lnTo>
                    <a:pt x="61" y="30"/>
                  </a:lnTo>
                  <a:lnTo>
                    <a:pt x="50" y="31"/>
                  </a:lnTo>
                  <a:lnTo>
                    <a:pt x="39" y="34"/>
                  </a:lnTo>
                  <a:lnTo>
                    <a:pt x="29" y="39"/>
                  </a:lnTo>
                  <a:lnTo>
                    <a:pt x="19" y="46"/>
                  </a:lnTo>
                  <a:lnTo>
                    <a:pt x="15" y="50"/>
                  </a:lnTo>
                  <a:lnTo>
                    <a:pt x="12" y="54"/>
                  </a:lnTo>
                  <a:lnTo>
                    <a:pt x="9" y="60"/>
                  </a:lnTo>
                  <a:lnTo>
                    <a:pt x="6" y="65"/>
                  </a:lnTo>
                  <a:lnTo>
                    <a:pt x="3" y="70"/>
                  </a:lnTo>
                  <a:lnTo>
                    <a:pt x="2" y="77"/>
                  </a:lnTo>
                  <a:lnTo>
                    <a:pt x="1" y="83"/>
                  </a:lnTo>
                  <a:lnTo>
                    <a:pt x="0" y="91"/>
                  </a:lnTo>
                  <a:lnTo>
                    <a:pt x="0" y="299"/>
                  </a:lnTo>
                  <a:lnTo>
                    <a:pt x="1" y="306"/>
                  </a:lnTo>
                  <a:lnTo>
                    <a:pt x="2" y="314"/>
                  </a:lnTo>
                  <a:lnTo>
                    <a:pt x="4" y="320"/>
                  </a:lnTo>
                  <a:lnTo>
                    <a:pt x="7" y="326"/>
                  </a:lnTo>
                  <a:lnTo>
                    <a:pt x="10" y="331"/>
                  </a:lnTo>
                  <a:lnTo>
                    <a:pt x="14" y="336"/>
                  </a:lnTo>
                  <a:lnTo>
                    <a:pt x="18" y="341"/>
                  </a:lnTo>
                  <a:lnTo>
                    <a:pt x="23" y="345"/>
                  </a:lnTo>
                  <a:lnTo>
                    <a:pt x="32" y="351"/>
                  </a:lnTo>
                  <a:lnTo>
                    <a:pt x="43" y="357"/>
                  </a:lnTo>
                  <a:lnTo>
                    <a:pt x="54" y="360"/>
                  </a:lnTo>
                  <a:lnTo>
                    <a:pt x="65" y="361"/>
                  </a:lnTo>
                  <a:lnTo>
                    <a:pt x="444" y="361"/>
                  </a:lnTo>
                  <a:lnTo>
                    <a:pt x="456" y="360"/>
                  </a:lnTo>
                  <a:lnTo>
                    <a:pt x="469" y="357"/>
                  </a:lnTo>
                  <a:lnTo>
                    <a:pt x="474" y="355"/>
                  </a:lnTo>
                  <a:lnTo>
                    <a:pt x="479" y="351"/>
                  </a:lnTo>
                  <a:lnTo>
                    <a:pt x="485" y="348"/>
                  </a:lnTo>
                  <a:lnTo>
                    <a:pt x="490" y="345"/>
                  </a:lnTo>
                  <a:lnTo>
                    <a:pt x="494" y="341"/>
                  </a:lnTo>
                  <a:lnTo>
                    <a:pt x="499" y="335"/>
                  </a:lnTo>
                  <a:lnTo>
                    <a:pt x="503" y="331"/>
                  </a:lnTo>
                  <a:lnTo>
                    <a:pt x="506" y="326"/>
                  </a:lnTo>
                  <a:lnTo>
                    <a:pt x="508" y="319"/>
                  </a:lnTo>
                  <a:lnTo>
                    <a:pt x="511" y="313"/>
                  </a:lnTo>
                  <a:lnTo>
                    <a:pt x="512" y="306"/>
                  </a:lnTo>
                  <a:lnTo>
                    <a:pt x="512" y="299"/>
                  </a:lnTo>
                  <a:lnTo>
                    <a:pt x="512" y="91"/>
                  </a:lnTo>
                  <a:lnTo>
                    <a:pt x="512" y="83"/>
                  </a:lnTo>
                  <a:lnTo>
                    <a:pt x="511" y="77"/>
                  </a:lnTo>
                  <a:lnTo>
                    <a:pt x="508" y="72"/>
                  </a:lnTo>
                  <a:lnTo>
                    <a:pt x="506" y="65"/>
                  </a:lnTo>
                  <a:lnTo>
                    <a:pt x="503" y="60"/>
                  </a:lnTo>
                  <a:lnTo>
                    <a:pt x="500" y="54"/>
                  </a:lnTo>
                  <a:lnTo>
                    <a:pt x="496" y="50"/>
                  </a:lnTo>
                  <a:lnTo>
                    <a:pt x="491" y="46"/>
                  </a:lnTo>
                  <a:lnTo>
                    <a:pt x="487" y="43"/>
                  </a:lnTo>
                  <a:lnTo>
                    <a:pt x="482" y="39"/>
                  </a:lnTo>
                  <a:lnTo>
                    <a:pt x="477" y="36"/>
                  </a:lnTo>
                  <a:lnTo>
                    <a:pt x="472" y="34"/>
                  </a:lnTo>
                  <a:lnTo>
                    <a:pt x="460" y="31"/>
                  </a:lnTo>
                  <a:lnTo>
                    <a:pt x="44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421">
              <a:extLst>
                <a:ext uri="{FF2B5EF4-FFF2-40B4-BE49-F238E27FC236}">
                  <a16:creationId xmlns:a16="http://schemas.microsoft.com/office/drawing/2014/main" id="{D2256A99-497D-4AA1-9F43-B2CAEDAB4FED}"/>
                </a:ext>
              </a:extLst>
            </p:cNvPr>
            <p:cNvSpPr>
              <a:spLocks noEditPoints="1"/>
            </p:cNvSpPr>
            <p:nvPr/>
          </p:nvSpPr>
          <p:spPr bwMode="auto">
            <a:xfrm>
              <a:off x="8869363" y="3671570"/>
              <a:ext cx="57150" cy="57150"/>
            </a:xfrm>
            <a:custGeom>
              <a:avLst/>
              <a:gdLst>
                <a:gd name="T0" fmla="*/ 79 w 181"/>
                <a:gd name="T1" fmla="*/ 149 h 181"/>
                <a:gd name="T2" fmla="*/ 62 w 181"/>
                <a:gd name="T3" fmla="*/ 143 h 181"/>
                <a:gd name="T4" fmla="*/ 48 w 181"/>
                <a:gd name="T5" fmla="*/ 133 h 181"/>
                <a:gd name="T6" fmla="*/ 38 w 181"/>
                <a:gd name="T7" fmla="*/ 119 h 181"/>
                <a:gd name="T8" fmla="*/ 32 w 181"/>
                <a:gd name="T9" fmla="*/ 103 h 181"/>
                <a:gd name="T10" fmla="*/ 30 w 181"/>
                <a:gd name="T11" fmla="*/ 84 h 181"/>
                <a:gd name="T12" fmla="*/ 35 w 181"/>
                <a:gd name="T13" fmla="*/ 67 h 181"/>
                <a:gd name="T14" fmla="*/ 44 w 181"/>
                <a:gd name="T15" fmla="*/ 52 h 181"/>
                <a:gd name="T16" fmla="*/ 57 w 181"/>
                <a:gd name="T17" fmla="*/ 41 h 181"/>
                <a:gd name="T18" fmla="*/ 72 w 181"/>
                <a:gd name="T19" fmla="*/ 33 h 181"/>
                <a:gd name="T20" fmla="*/ 90 w 181"/>
                <a:gd name="T21" fmla="*/ 30 h 181"/>
                <a:gd name="T22" fmla="*/ 109 w 181"/>
                <a:gd name="T23" fmla="*/ 33 h 181"/>
                <a:gd name="T24" fmla="*/ 124 w 181"/>
                <a:gd name="T25" fmla="*/ 41 h 181"/>
                <a:gd name="T26" fmla="*/ 137 w 181"/>
                <a:gd name="T27" fmla="*/ 52 h 181"/>
                <a:gd name="T28" fmla="*/ 146 w 181"/>
                <a:gd name="T29" fmla="*/ 67 h 181"/>
                <a:gd name="T30" fmla="*/ 151 w 181"/>
                <a:gd name="T31" fmla="*/ 84 h 181"/>
                <a:gd name="T32" fmla="*/ 149 w 181"/>
                <a:gd name="T33" fmla="*/ 103 h 181"/>
                <a:gd name="T34" fmla="*/ 143 w 181"/>
                <a:gd name="T35" fmla="*/ 119 h 181"/>
                <a:gd name="T36" fmla="*/ 132 w 181"/>
                <a:gd name="T37" fmla="*/ 133 h 181"/>
                <a:gd name="T38" fmla="*/ 119 w 181"/>
                <a:gd name="T39" fmla="*/ 143 h 181"/>
                <a:gd name="T40" fmla="*/ 102 w 181"/>
                <a:gd name="T41" fmla="*/ 149 h 181"/>
                <a:gd name="T42" fmla="*/ 90 w 181"/>
                <a:gd name="T43" fmla="*/ 0 h 181"/>
                <a:gd name="T44" fmla="*/ 64 w 181"/>
                <a:gd name="T45" fmla="*/ 4 h 181"/>
                <a:gd name="T46" fmla="*/ 40 w 181"/>
                <a:gd name="T47" fmla="*/ 16 h 181"/>
                <a:gd name="T48" fmla="*/ 21 w 181"/>
                <a:gd name="T49" fmla="*/ 33 h 181"/>
                <a:gd name="T50" fmla="*/ 7 w 181"/>
                <a:gd name="T51" fmla="*/ 56 h 181"/>
                <a:gd name="T52" fmla="*/ 0 w 181"/>
                <a:gd name="T53" fmla="*/ 81 h 181"/>
                <a:gd name="T54" fmla="*/ 1 w 181"/>
                <a:gd name="T55" fmla="*/ 108 h 181"/>
                <a:gd name="T56" fmla="*/ 11 w 181"/>
                <a:gd name="T57" fmla="*/ 134 h 181"/>
                <a:gd name="T58" fmla="*/ 26 w 181"/>
                <a:gd name="T59" fmla="*/ 154 h 181"/>
                <a:gd name="T60" fmla="*/ 48 w 181"/>
                <a:gd name="T61" fmla="*/ 169 h 181"/>
                <a:gd name="T62" fmla="*/ 72 w 181"/>
                <a:gd name="T63" fmla="*/ 179 h 181"/>
                <a:gd name="T64" fmla="*/ 99 w 181"/>
                <a:gd name="T65" fmla="*/ 180 h 181"/>
                <a:gd name="T66" fmla="*/ 126 w 181"/>
                <a:gd name="T67" fmla="*/ 174 h 181"/>
                <a:gd name="T68" fmla="*/ 147 w 181"/>
                <a:gd name="T69" fmla="*/ 160 h 181"/>
                <a:gd name="T70" fmla="*/ 166 w 181"/>
                <a:gd name="T71" fmla="*/ 141 h 181"/>
                <a:gd name="T72" fmla="*/ 176 w 181"/>
                <a:gd name="T73" fmla="*/ 118 h 181"/>
                <a:gd name="T74" fmla="*/ 181 w 181"/>
                <a:gd name="T75" fmla="*/ 91 h 181"/>
                <a:gd name="T76" fmla="*/ 176 w 181"/>
                <a:gd name="T77" fmla="*/ 64 h 181"/>
                <a:gd name="T78" fmla="*/ 166 w 181"/>
                <a:gd name="T79" fmla="*/ 41 h 181"/>
                <a:gd name="T80" fmla="*/ 147 w 181"/>
                <a:gd name="T81" fmla="*/ 21 h 181"/>
                <a:gd name="T82" fmla="*/ 126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90" y="151"/>
                  </a:moveTo>
                  <a:lnTo>
                    <a:pt x="84" y="150"/>
                  </a:lnTo>
                  <a:lnTo>
                    <a:pt x="79" y="149"/>
                  </a:lnTo>
                  <a:lnTo>
                    <a:pt x="72" y="148"/>
                  </a:lnTo>
                  <a:lnTo>
                    <a:pt x="67" y="146"/>
                  </a:lnTo>
                  <a:lnTo>
                    <a:pt x="62" y="143"/>
                  </a:lnTo>
                  <a:lnTo>
                    <a:pt x="57" y="140"/>
                  </a:lnTo>
                  <a:lnTo>
                    <a:pt x="52" y="137"/>
                  </a:lnTo>
                  <a:lnTo>
                    <a:pt x="48" y="133"/>
                  </a:lnTo>
                  <a:lnTo>
                    <a:pt x="44" y="128"/>
                  </a:lnTo>
                  <a:lnTo>
                    <a:pt x="40" y="124"/>
                  </a:lnTo>
                  <a:lnTo>
                    <a:pt x="38" y="119"/>
                  </a:lnTo>
                  <a:lnTo>
                    <a:pt x="35" y="113"/>
                  </a:lnTo>
                  <a:lnTo>
                    <a:pt x="33" y="108"/>
                  </a:lnTo>
                  <a:lnTo>
                    <a:pt x="32" y="103"/>
                  </a:lnTo>
                  <a:lnTo>
                    <a:pt x="30" y="96"/>
                  </a:lnTo>
                  <a:lnTo>
                    <a:pt x="30" y="91"/>
                  </a:lnTo>
                  <a:lnTo>
                    <a:pt x="30" y="84"/>
                  </a:lnTo>
                  <a:lnTo>
                    <a:pt x="32" y="78"/>
                  </a:lnTo>
                  <a:lnTo>
                    <a:pt x="33" y="73"/>
                  </a:lnTo>
                  <a:lnTo>
                    <a:pt x="35" y="67"/>
                  </a:lnTo>
                  <a:lnTo>
                    <a:pt x="38" y="62"/>
                  </a:lnTo>
                  <a:lnTo>
                    <a:pt x="40" y="57"/>
                  </a:lnTo>
                  <a:lnTo>
                    <a:pt x="44" y="52"/>
                  </a:lnTo>
                  <a:lnTo>
                    <a:pt x="48" y="48"/>
                  </a:lnTo>
                  <a:lnTo>
                    <a:pt x="52" y="44"/>
                  </a:lnTo>
                  <a:lnTo>
                    <a:pt x="57" y="41"/>
                  </a:lnTo>
                  <a:lnTo>
                    <a:pt x="62" y="37"/>
                  </a:lnTo>
                  <a:lnTo>
                    <a:pt x="67" y="35"/>
                  </a:lnTo>
                  <a:lnTo>
                    <a:pt x="72" y="33"/>
                  </a:lnTo>
                  <a:lnTo>
                    <a:pt x="79" y="32"/>
                  </a:lnTo>
                  <a:lnTo>
                    <a:pt x="84" y="31"/>
                  </a:lnTo>
                  <a:lnTo>
                    <a:pt x="90" y="30"/>
                  </a:lnTo>
                  <a:lnTo>
                    <a:pt x="97" y="31"/>
                  </a:lnTo>
                  <a:lnTo>
                    <a:pt x="102" y="32"/>
                  </a:lnTo>
                  <a:lnTo>
                    <a:pt x="109" y="33"/>
                  </a:lnTo>
                  <a:lnTo>
                    <a:pt x="114" y="35"/>
                  </a:lnTo>
                  <a:lnTo>
                    <a:pt x="119" y="37"/>
                  </a:lnTo>
                  <a:lnTo>
                    <a:pt x="124" y="41"/>
                  </a:lnTo>
                  <a:lnTo>
                    <a:pt x="129" y="44"/>
                  </a:lnTo>
                  <a:lnTo>
                    <a:pt x="132" y="48"/>
                  </a:lnTo>
                  <a:lnTo>
                    <a:pt x="137" y="52"/>
                  </a:lnTo>
                  <a:lnTo>
                    <a:pt x="140" y="57"/>
                  </a:lnTo>
                  <a:lnTo>
                    <a:pt x="143" y="62"/>
                  </a:lnTo>
                  <a:lnTo>
                    <a:pt x="146" y="67"/>
                  </a:lnTo>
                  <a:lnTo>
                    <a:pt x="147" y="73"/>
                  </a:lnTo>
                  <a:lnTo>
                    <a:pt x="149" y="78"/>
                  </a:lnTo>
                  <a:lnTo>
                    <a:pt x="151" y="84"/>
                  </a:lnTo>
                  <a:lnTo>
                    <a:pt x="151" y="91"/>
                  </a:lnTo>
                  <a:lnTo>
                    <a:pt x="151" y="96"/>
                  </a:lnTo>
                  <a:lnTo>
                    <a:pt x="149" y="103"/>
                  </a:lnTo>
                  <a:lnTo>
                    <a:pt x="147" y="108"/>
                  </a:lnTo>
                  <a:lnTo>
                    <a:pt x="146" y="113"/>
                  </a:lnTo>
                  <a:lnTo>
                    <a:pt x="143" y="119"/>
                  </a:lnTo>
                  <a:lnTo>
                    <a:pt x="140" y="124"/>
                  </a:lnTo>
                  <a:lnTo>
                    <a:pt x="137" y="128"/>
                  </a:lnTo>
                  <a:lnTo>
                    <a:pt x="132" y="133"/>
                  </a:lnTo>
                  <a:lnTo>
                    <a:pt x="129" y="137"/>
                  </a:lnTo>
                  <a:lnTo>
                    <a:pt x="124" y="140"/>
                  </a:lnTo>
                  <a:lnTo>
                    <a:pt x="119" y="143"/>
                  </a:lnTo>
                  <a:lnTo>
                    <a:pt x="114" y="146"/>
                  </a:lnTo>
                  <a:lnTo>
                    <a:pt x="109" y="148"/>
                  </a:lnTo>
                  <a:lnTo>
                    <a:pt x="102" y="149"/>
                  </a:lnTo>
                  <a:lnTo>
                    <a:pt x="97" y="150"/>
                  </a:lnTo>
                  <a:lnTo>
                    <a:pt x="90" y="151"/>
                  </a:lnTo>
                  <a:close/>
                  <a:moveTo>
                    <a:pt x="90" y="0"/>
                  </a:moveTo>
                  <a:lnTo>
                    <a:pt x="81" y="1"/>
                  </a:lnTo>
                  <a:lnTo>
                    <a:pt x="72" y="2"/>
                  </a:lnTo>
                  <a:lnTo>
                    <a:pt x="64" y="4"/>
                  </a:lnTo>
                  <a:lnTo>
                    <a:pt x="55" y="7"/>
                  </a:lnTo>
                  <a:lnTo>
                    <a:pt x="48" y="12"/>
                  </a:lnTo>
                  <a:lnTo>
                    <a:pt x="40" y="16"/>
                  </a:lnTo>
                  <a:lnTo>
                    <a:pt x="33" y="21"/>
                  </a:lnTo>
                  <a:lnTo>
                    <a:pt x="26" y="27"/>
                  </a:lnTo>
                  <a:lnTo>
                    <a:pt x="21" y="33"/>
                  </a:lnTo>
                  <a:lnTo>
                    <a:pt x="15" y="41"/>
                  </a:lnTo>
                  <a:lnTo>
                    <a:pt x="11" y="47"/>
                  </a:lnTo>
                  <a:lnTo>
                    <a:pt x="7" y="56"/>
                  </a:lnTo>
                  <a:lnTo>
                    <a:pt x="5" y="64"/>
                  </a:lnTo>
                  <a:lnTo>
                    <a:pt x="1" y="73"/>
                  </a:lnTo>
                  <a:lnTo>
                    <a:pt x="0" y="81"/>
                  </a:lnTo>
                  <a:lnTo>
                    <a:pt x="0" y="91"/>
                  </a:lnTo>
                  <a:lnTo>
                    <a:pt x="0" y="100"/>
                  </a:lnTo>
                  <a:lnTo>
                    <a:pt x="1" y="108"/>
                  </a:lnTo>
                  <a:lnTo>
                    <a:pt x="5" y="118"/>
                  </a:lnTo>
                  <a:lnTo>
                    <a:pt x="7" y="125"/>
                  </a:lnTo>
                  <a:lnTo>
                    <a:pt x="11" y="134"/>
                  </a:lnTo>
                  <a:lnTo>
                    <a:pt x="15" y="141"/>
                  </a:lnTo>
                  <a:lnTo>
                    <a:pt x="21" y="148"/>
                  </a:lnTo>
                  <a:lnTo>
                    <a:pt x="26" y="154"/>
                  </a:lnTo>
                  <a:lnTo>
                    <a:pt x="33" y="160"/>
                  </a:lnTo>
                  <a:lnTo>
                    <a:pt x="40" y="165"/>
                  </a:lnTo>
                  <a:lnTo>
                    <a:pt x="48" y="169"/>
                  </a:lnTo>
                  <a:lnTo>
                    <a:pt x="55" y="174"/>
                  </a:lnTo>
                  <a:lnTo>
                    <a:pt x="64" y="177"/>
                  </a:lnTo>
                  <a:lnTo>
                    <a:pt x="72" y="179"/>
                  </a:lnTo>
                  <a:lnTo>
                    <a:pt x="81" y="180"/>
                  </a:lnTo>
                  <a:lnTo>
                    <a:pt x="90" y="181"/>
                  </a:lnTo>
                  <a:lnTo>
                    <a:pt x="99" y="180"/>
                  </a:lnTo>
                  <a:lnTo>
                    <a:pt x="109" y="179"/>
                  </a:lnTo>
                  <a:lnTo>
                    <a:pt x="117" y="177"/>
                  </a:lnTo>
                  <a:lnTo>
                    <a:pt x="126" y="174"/>
                  </a:lnTo>
                  <a:lnTo>
                    <a:pt x="133" y="169"/>
                  </a:lnTo>
                  <a:lnTo>
                    <a:pt x="141" y="165"/>
                  </a:lnTo>
                  <a:lnTo>
                    <a:pt x="147" y="160"/>
                  </a:lnTo>
                  <a:lnTo>
                    <a:pt x="154" y="154"/>
                  </a:lnTo>
                  <a:lnTo>
                    <a:pt x="160" y="148"/>
                  </a:lnTo>
                  <a:lnTo>
                    <a:pt x="166" y="141"/>
                  </a:lnTo>
                  <a:lnTo>
                    <a:pt x="170" y="134"/>
                  </a:lnTo>
                  <a:lnTo>
                    <a:pt x="173" y="125"/>
                  </a:lnTo>
                  <a:lnTo>
                    <a:pt x="176" y="118"/>
                  </a:lnTo>
                  <a:lnTo>
                    <a:pt x="178" y="108"/>
                  </a:lnTo>
                  <a:lnTo>
                    <a:pt x="181" y="100"/>
                  </a:lnTo>
                  <a:lnTo>
                    <a:pt x="181" y="91"/>
                  </a:lnTo>
                  <a:lnTo>
                    <a:pt x="181" y="81"/>
                  </a:lnTo>
                  <a:lnTo>
                    <a:pt x="178" y="73"/>
                  </a:lnTo>
                  <a:lnTo>
                    <a:pt x="176" y="64"/>
                  </a:lnTo>
                  <a:lnTo>
                    <a:pt x="173" y="56"/>
                  </a:lnTo>
                  <a:lnTo>
                    <a:pt x="170" y="47"/>
                  </a:lnTo>
                  <a:lnTo>
                    <a:pt x="166" y="41"/>
                  </a:lnTo>
                  <a:lnTo>
                    <a:pt x="160" y="33"/>
                  </a:lnTo>
                  <a:lnTo>
                    <a:pt x="154" y="27"/>
                  </a:lnTo>
                  <a:lnTo>
                    <a:pt x="147" y="21"/>
                  </a:lnTo>
                  <a:lnTo>
                    <a:pt x="141" y="16"/>
                  </a:lnTo>
                  <a:lnTo>
                    <a:pt x="133" y="12"/>
                  </a:lnTo>
                  <a:lnTo>
                    <a:pt x="126" y="7"/>
                  </a:lnTo>
                  <a:lnTo>
                    <a:pt x="117" y="4"/>
                  </a:lnTo>
                  <a:lnTo>
                    <a:pt x="109" y="2"/>
                  </a:lnTo>
                  <a:lnTo>
                    <a:pt x="99" y="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82" name="Group 50">
            <a:extLst>
              <a:ext uri="{FF2B5EF4-FFF2-40B4-BE49-F238E27FC236}">
                <a16:creationId xmlns:a16="http://schemas.microsoft.com/office/drawing/2014/main" id="{3039C9CD-0BDE-40D6-81C9-B54FC3EB2604}"/>
              </a:ext>
            </a:extLst>
          </p:cNvPr>
          <p:cNvGrpSpPr>
            <a:grpSpLocks noChangeAspect="1"/>
          </p:cNvGrpSpPr>
          <p:nvPr/>
        </p:nvGrpSpPr>
        <p:grpSpPr>
          <a:xfrm>
            <a:off x="6196153" y="5956111"/>
            <a:ext cx="266578" cy="285619"/>
            <a:chOff x="8172450" y="3642995"/>
            <a:chExt cx="266700" cy="285750"/>
          </a:xfrm>
          <a:solidFill>
            <a:schemeClr val="bg1"/>
          </a:solidFill>
          <a:effectLst/>
        </p:grpSpPr>
        <p:sp>
          <p:nvSpPr>
            <p:cNvPr id="1483" name="Freeform 414">
              <a:extLst>
                <a:ext uri="{FF2B5EF4-FFF2-40B4-BE49-F238E27FC236}">
                  <a16:creationId xmlns:a16="http://schemas.microsoft.com/office/drawing/2014/main" id="{B023FC69-3B97-4B5A-B828-6846A1EF35AF}"/>
                </a:ext>
              </a:extLst>
            </p:cNvPr>
            <p:cNvSpPr>
              <a:spLocks noEditPoints="1"/>
            </p:cNvSpPr>
            <p:nvPr/>
          </p:nvSpPr>
          <p:spPr bwMode="auto">
            <a:xfrm>
              <a:off x="8172450" y="3642995"/>
              <a:ext cx="266700" cy="285750"/>
            </a:xfrm>
            <a:custGeom>
              <a:avLst/>
              <a:gdLst>
                <a:gd name="T0" fmla="*/ 804 w 841"/>
                <a:gd name="T1" fmla="*/ 853 h 902"/>
                <a:gd name="T2" fmla="*/ 777 w 841"/>
                <a:gd name="T3" fmla="*/ 872 h 902"/>
                <a:gd name="T4" fmla="*/ 70 w 841"/>
                <a:gd name="T5" fmla="*/ 869 h 902"/>
                <a:gd name="T6" fmla="*/ 41 w 841"/>
                <a:gd name="T7" fmla="*/ 846 h 902"/>
                <a:gd name="T8" fmla="*/ 30 w 841"/>
                <a:gd name="T9" fmla="*/ 492 h 902"/>
                <a:gd name="T10" fmla="*/ 41 w 841"/>
                <a:gd name="T11" fmla="*/ 474 h 902"/>
                <a:gd name="T12" fmla="*/ 80 w 841"/>
                <a:gd name="T13" fmla="*/ 452 h 902"/>
                <a:gd name="T14" fmla="*/ 321 w 841"/>
                <a:gd name="T15" fmla="*/ 450 h 902"/>
                <a:gd name="T16" fmla="*/ 610 w 841"/>
                <a:gd name="T17" fmla="*/ 361 h 902"/>
                <a:gd name="T18" fmla="*/ 688 w 841"/>
                <a:gd name="T19" fmla="*/ 451 h 902"/>
                <a:gd name="T20" fmla="*/ 783 w 841"/>
                <a:gd name="T21" fmla="*/ 454 h 902"/>
                <a:gd name="T22" fmla="*/ 807 w 841"/>
                <a:gd name="T23" fmla="*/ 479 h 902"/>
                <a:gd name="T24" fmla="*/ 121 w 841"/>
                <a:gd name="T25" fmla="*/ 413 h 902"/>
                <a:gd name="T26" fmla="*/ 124 w 841"/>
                <a:gd name="T27" fmla="*/ 381 h 902"/>
                <a:gd name="T28" fmla="*/ 139 w 841"/>
                <a:gd name="T29" fmla="*/ 372 h 902"/>
                <a:gd name="T30" fmla="*/ 191 w 841"/>
                <a:gd name="T31" fmla="*/ 373 h 902"/>
                <a:gd name="T32" fmla="*/ 202 w 841"/>
                <a:gd name="T33" fmla="*/ 386 h 902"/>
                <a:gd name="T34" fmla="*/ 204 w 841"/>
                <a:gd name="T35" fmla="*/ 421 h 902"/>
                <a:gd name="T36" fmla="*/ 605 w 841"/>
                <a:gd name="T37" fmla="*/ 331 h 902"/>
                <a:gd name="T38" fmla="*/ 300 w 841"/>
                <a:gd name="T39" fmla="*/ 30 h 902"/>
                <a:gd name="T40" fmla="*/ 300 w 841"/>
                <a:gd name="T41" fmla="*/ 30 h 902"/>
                <a:gd name="T42" fmla="*/ 657 w 841"/>
                <a:gd name="T43" fmla="*/ 271 h 902"/>
                <a:gd name="T44" fmla="*/ 715 w 841"/>
                <a:gd name="T45" fmla="*/ 268 h 902"/>
                <a:gd name="T46" fmla="*/ 721 w 841"/>
                <a:gd name="T47" fmla="*/ 258 h 902"/>
                <a:gd name="T48" fmla="*/ 720 w 841"/>
                <a:gd name="T49" fmla="*/ 9 h 902"/>
                <a:gd name="T50" fmla="*/ 712 w 841"/>
                <a:gd name="T51" fmla="*/ 1 h 902"/>
                <a:gd name="T52" fmla="*/ 282 w 841"/>
                <a:gd name="T53" fmla="*/ 1 h 902"/>
                <a:gd name="T54" fmla="*/ 273 w 841"/>
                <a:gd name="T55" fmla="*/ 6 h 902"/>
                <a:gd name="T56" fmla="*/ 270 w 841"/>
                <a:gd name="T57" fmla="*/ 256 h 902"/>
                <a:gd name="T58" fmla="*/ 274 w 841"/>
                <a:gd name="T59" fmla="*/ 267 h 902"/>
                <a:gd name="T60" fmla="*/ 285 w 841"/>
                <a:gd name="T61" fmla="*/ 271 h 902"/>
                <a:gd name="T62" fmla="*/ 234 w 841"/>
                <a:gd name="T63" fmla="*/ 421 h 902"/>
                <a:gd name="T64" fmla="*/ 230 w 841"/>
                <a:gd name="T65" fmla="*/ 374 h 902"/>
                <a:gd name="T66" fmla="*/ 202 w 841"/>
                <a:gd name="T67" fmla="*/ 345 h 902"/>
                <a:gd name="T68" fmla="*/ 133 w 841"/>
                <a:gd name="T69" fmla="*/ 342 h 902"/>
                <a:gd name="T70" fmla="*/ 99 w 841"/>
                <a:gd name="T71" fmla="*/ 364 h 902"/>
                <a:gd name="T72" fmla="*/ 91 w 841"/>
                <a:gd name="T73" fmla="*/ 413 h 902"/>
                <a:gd name="T74" fmla="*/ 75 w 841"/>
                <a:gd name="T75" fmla="*/ 422 h 902"/>
                <a:gd name="T76" fmla="*/ 44 w 841"/>
                <a:gd name="T77" fmla="*/ 434 h 902"/>
                <a:gd name="T78" fmla="*/ 18 w 841"/>
                <a:gd name="T79" fmla="*/ 455 h 902"/>
                <a:gd name="T80" fmla="*/ 2 w 841"/>
                <a:gd name="T81" fmla="*/ 482 h 902"/>
                <a:gd name="T82" fmla="*/ 0 w 841"/>
                <a:gd name="T83" fmla="*/ 833 h 902"/>
                <a:gd name="T84" fmla="*/ 28 w 841"/>
                <a:gd name="T85" fmla="*/ 876 h 902"/>
                <a:gd name="T86" fmla="*/ 67 w 841"/>
                <a:gd name="T87" fmla="*/ 899 h 902"/>
                <a:gd name="T88" fmla="*/ 768 w 841"/>
                <a:gd name="T89" fmla="*/ 902 h 902"/>
                <a:gd name="T90" fmla="*/ 796 w 841"/>
                <a:gd name="T91" fmla="*/ 896 h 902"/>
                <a:gd name="T92" fmla="*/ 820 w 841"/>
                <a:gd name="T93" fmla="*/ 881 h 902"/>
                <a:gd name="T94" fmla="*/ 835 w 841"/>
                <a:gd name="T95" fmla="*/ 859 h 902"/>
                <a:gd name="T96" fmla="*/ 841 w 841"/>
                <a:gd name="T97" fmla="*/ 830 h 902"/>
                <a:gd name="T98" fmla="*/ 837 w 841"/>
                <a:gd name="T99" fmla="*/ 474 h 902"/>
                <a:gd name="T100" fmla="*/ 823 w 841"/>
                <a:gd name="T101" fmla="*/ 449 h 902"/>
                <a:gd name="T102" fmla="*/ 802 w 841"/>
                <a:gd name="T103" fmla="*/ 430 h 902"/>
                <a:gd name="T104" fmla="*/ 774 w 841"/>
                <a:gd name="T105" fmla="*/ 42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1" h="902">
                  <a:moveTo>
                    <a:pt x="811" y="830"/>
                  </a:moveTo>
                  <a:lnTo>
                    <a:pt x="810" y="838"/>
                  </a:lnTo>
                  <a:lnTo>
                    <a:pt x="808" y="846"/>
                  </a:lnTo>
                  <a:lnTo>
                    <a:pt x="804" y="853"/>
                  </a:lnTo>
                  <a:lnTo>
                    <a:pt x="798" y="860"/>
                  </a:lnTo>
                  <a:lnTo>
                    <a:pt x="792" y="865"/>
                  </a:lnTo>
                  <a:lnTo>
                    <a:pt x="784" y="868"/>
                  </a:lnTo>
                  <a:lnTo>
                    <a:pt x="777" y="872"/>
                  </a:lnTo>
                  <a:lnTo>
                    <a:pt x="768" y="872"/>
                  </a:lnTo>
                  <a:lnTo>
                    <a:pt x="86" y="872"/>
                  </a:lnTo>
                  <a:lnTo>
                    <a:pt x="79" y="872"/>
                  </a:lnTo>
                  <a:lnTo>
                    <a:pt x="70" y="869"/>
                  </a:lnTo>
                  <a:lnTo>
                    <a:pt x="63" y="865"/>
                  </a:lnTo>
                  <a:lnTo>
                    <a:pt x="55" y="860"/>
                  </a:lnTo>
                  <a:lnTo>
                    <a:pt x="48" y="853"/>
                  </a:lnTo>
                  <a:lnTo>
                    <a:pt x="41" y="846"/>
                  </a:lnTo>
                  <a:lnTo>
                    <a:pt x="35" y="837"/>
                  </a:lnTo>
                  <a:lnTo>
                    <a:pt x="30" y="826"/>
                  </a:lnTo>
                  <a:lnTo>
                    <a:pt x="30" y="496"/>
                  </a:lnTo>
                  <a:lnTo>
                    <a:pt x="30" y="492"/>
                  </a:lnTo>
                  <a:lnTo>
                    <a:pt x="31" y="489"/>
                  </a:lnTo>
                  <a:lnTo>
                    <a:pt x="33" y="484"/>
                  </a:lnTo>
                  <a:lnTo>
                    <a:pt x="35" y="481"/>
                  </a:lnTo>
                  <a:lnTo>
                    <a:pt x="41" y="474"/>
                  </a:lnTo>
                  <a:lnTo>
                    <a:pt x="50" y="466"/>
                  </a:lnTo>
                  <a:lnTo>
                    <a:pt x="60" y="460"/>
                  </a:lnTo>
                  <a:lnTo>
                    <a:pt x="69" y="455"/>
                  </a:lnTo>
                  <a:lnTo>
                    <a:pt x="80" y="452"/>
                  </a:lnTo>
                  <a:lnTo>
                    <a:pt x="90" y="451"/>
                  </a:lnTo>
                  <a:lnTo>
                    <a:pt x="315" y="451"/>
                  </a:lnTo>
                  <a:lnTo>
                    <a:pt x="318" y="450"/>
                  </a:lnTo>
                  <a:lnTo>
                    <a:pt x="321" y="450"/>
                  </a:lnTo>
                  <a:lnTo>
                    <a:pt x="325" y="448"/>
                  </a:lnTo>
                  <a:lnTo>
                    <a:pt x="327" y="446"/>
                  </a:lnTo>
                  <a:lnTo>
                    <a:pt x="397" y="361"/>
                  </a:lnTo>
                  <a:lnTo>
                    <a:pt x="610" y="361"/>
                  </a:lnTo>
                  <a:lnTo>
                    <a:pt x="679" y="446"/>
                  </a:lnTo>
                  <a:lnTo>
                    <a:pt x="682" y="448"/>
                  </a:lnTo>
                  <a:lnTo>
                    <a:pt x="685" y="449"/>
                  </a:lnTo>
                  <a:lnTo>
                    <a:pt x="688" y="451"/>
                  </a:lnTo>
                  <a:lnTo>
                    <a:pt x="691" y="451"/>
                  </a:lnTo>
                  <a:lnTo>
                    <a:pt x="767" y="451"/>
                  </a:lnTo>
                  <a:lnTo>
                    <a:pt x="775" y="452"/>
                  </a:lnTo>
                  <a:lnTo>
                    <a:pt x="783" y="454"/>
                  </a:lnTo>
                  <a:lnTo>
                    <a:pt x="791" y="459"/>
                  </a:lnTo>
                  <a:lnTo>
                    <a:pt x="797" y="465"/>
                  </a:lnTo>
                  <a:lnTo>
                    <a:pt x="803" y="472"/>
                  </a:lnTo>
                  <a:lnTo>
                    <a:pt x="807" y="479"/>
                  </a:lnTo>
                  <a:lnTo>
                    <a:pt x="810" y="488"/>
                  </a:lnTo>
                  <a:lnTo>
                    <a:pt x="811" y="496"/>
                  </a:lnTo>
                  <a:lnTo>
                    <a:pt x="811" y="830"/>
                  </a:lnTo>
                  <a:close/>
                  <a:moveTo>
                    <a:pt x="121" y="413"/>
                  </a:moveTo>
                  <a:lnTo>
                    <a:pt x="121" y="394"/>
                  </a:lnTo>
                  <a:lnTo>
                    <a:pt x="121" y="390"/>
                  </a:lnTo>
                  <a:lnTo>
                    <a:pt x="122" y="386"/>
                  </a:lnTo>
                  <a:lnTo>
                    <a:pt x="124" y="381"/>
                  </a:lnTo>
                  <a:lnTo>
                    <a:pt x="127" y="378"/>
                  </a:lnTo>
                  <a:lnTo>
                    <a:pt x="130" y="375"/>
                  </a:lnTo>
                  <a:lnTo>
                    <a:pt x="135" y="373"/>
                  </a:lnTo>
                  <a:lnTo>
                    <a:pt x="139" y="372"/>
                  </a:lnTo>
                  <a:lnTo>
                    <a:pt x="143" y="371"/>
                  </a:lnTo>
                  <a:lnTo>
                    <a:pt x="181" y="371"/>
                  </a:lnTo>
                  <a:lnTo>
                    <a:pt x="186" y="372"/>
                  </a:lnTo>
                  <a:lnTo>
                    <a:pt x="191" y="373"/>
                  </a:lnTo>
                  <a:lnTo>
                    <a:pt x="194" y="375"/>
                  </a:lnTo>
                  <a:lnTo>
                    <a:pt x="197" y="378"/>
                  </a:lnTo>
                  <a:lnTo>
                    <a:pt x="200" y="381"/>
                  </a:lnTo>
                  <a:lnTo>
                    <a:pt x="202" y="386"/>
                  </a:lnTo>
                  <a:lnTo>
                    <a:pt x="203" y="390"/>
                  </a:lnTo>
                  <a:lnTo>
                    <a:pt x="204" y="394"/>
                  </a:lnTo>
                  <a:lnTo>
                    <a:pt x="204" y="413"/>
                  </a:lnTo>
                  <a:lnTo>
                    <a:pt x="204" y="421"/>
                  </a:lnTo>
                  <a:lnTo>
                    <a:pt x="121" y="421"/>
                  </a:lnTo>
                  <a:lnTo>
                    <a:pt x="121" y="413"/>
                  </a:lnTo>
                  <a:close/>
                  <a:moveTo>
                    <a:pt x="625" y="271"/>
                  </a:moveTo>
                  <a:lnTo>
                    <a:pt x="605" y="331"/>
                  </a:lnTo>
                  <a:lnTo>
                    <a:pt x="402" y="331"/>
                  </a:lnTo>
                  <a:lnTo>
                    <a:pt x="381" y="271"/>
                  </a:lnTo>
                  <a:lnTo>
                    <a:pt x="625" y="271"/>
                  </a:lnTo>
                  <a:close/>
                  <a:moveTo>
                    <a:pt x="300" y="30"/>
                  </a:moveTo>
                  <a:lnTo>
                    <a:pt x="691" y="30"/>
                  </a:lnTo>
                  <a:lnTo>
                    <a:pt x="691" y="241"/>
                  </a:lnTo>
                  <a:lnTo>
                    <a:pt x="300" y="241"/>
                  </a:lnTo>
                  <a:lnTo>
                    <a:pt x="300" y="30"/>
                  </a:lnTo>
                  <a:close/>
                  <a:moveTo>
                    <a:pt x="767" y="421"/>
                  </a:moveTo>
                  <a:lnTo>
                    <a:pt x="698" y="421"/>
                  </a:lnTo>
                  <a:lnTo>
                    <a:pt x="633" y="342"/>
                  </a:lnTo>
                  <a:lnTo>
                    <a:pt x="657" y="271"/>
                  </a:lnTo>
                  <a:lnTo>
                    <a:pt x="706" y="271"/>
                  </a:lnTo>
                  <a:lnTo>
                    <a:pt x="709" y="270"/>
                  </a:lnTo>
                  <a:lnTo>
                    <a:pt x="712" y="270"/>
                  </a:lnTo>
                  <a:lnTo>
                    <a:pt x="715" y="268"/>
                  </a:lnTo>
                  <a:lnTo>
                    <a:pt x="717" y="267"/>
                  </a:lnTo>
                  <a:lnTo>
                    <a:pt x="718" y="264"/>
                  </a:lnTo>
                  <a:lnTo>
                    <a:pt x="720" y="261"/>
                  </a:lnTo>
                  <a:lnTo>
                    <a:pt x="721" y="258"/>
                  </a:lnTo>
                  <a:lnTo>
                    <a:pt x="721" y="256"/>
                  </a:lnTo>
                  <a:lnTo>
                    <a:pt x="721" y="15"/>
                  </a:lnTo>
                  <a:lnTo>
                    <a:pt x="721" y="12"/>
                  </a:lnTo>
                  <a:lnTo>
                    <a:pt x="720" y="9"/>
                  </a:lnTo>
                  <a:lnTo>
                    <a:pt x="718" y="6"/>
                  </a:lnTo>
                  <a:lnTo>
                    <a:pt x="717" y="4"/>
                  </a:lnTo>
                  <a:lnTo>
                    <a:pt x="715" y="3"/>
                  </a:lnTo>
                  <a:lnTo>
                    <a:pt x="712" y="1"/>
                  </a:lnTo>
                  <a:lnTo>
                    <a:pt x="709" y="1"/>
                  </a:lnTo>
                  <a:lnTo>
                    <a:pt x="706" y="0"/>
                  </a:lnTo>
                  <a:lnTo>
                    <a:pt x="285" y="0"/>
                  </a:lnTo>
                  <a:lnTo>
                    <a:pt x="282" y="1"/>
                  </a:lnTo>
                  <a:lnTo>
                    <a:pt x="279" y="1"/>
                  </a:lnTo>
                  <a:lnTo>
                    <a:pt x="276" y="3"/>
                  </a:lnTo>
                  <a:lnTo>
                    <a:pt x="274" y="4"/>
                  </a:lnTo>
                  <a:lnTo>
                    <a:pt x="273" y="6"/>
                  </a:lnTo>
                  <a:lnTo>
                    <a:pt x="271" y="9"/>
                  </a:lnTo>
                  <a:lnTo>
                    <a:pt x="271" y="13"/>
                  </a:lnTo>
                  <a:lnTo>
                    <a:pt x="270" y="15"/>
                  </a:lnTo>
                  <a:lnTo>
                    <a:pt x="270" y="256"/>
                  </a:lnTo>
                  <a:lnTo>
                    <a:pt x="271" y="258"/>
                  </a:lnTo>
                  <a:lnTo>
                    <a:pt x="271" y="261"/>
                  </a:lnTo>
                  <a:lnTo>
                    <a:pt x="273" y="264"/>
                  </a:lnTo>
                  <a:lnTo>
                    <a:pt x="274" y="267"/>
                  </a:lnTo>
                  <a:lnTo>
                    <a:pt x="276" y="268"/>
                  </a:lnTo>
                  <a:lnTo>
                    <a:pt x="279" y="270"/>
                  </a:lnTo>
                  <a:lnTo>
                    <a:pt x="282" y="270"/>
                  </a:lnTo>
                  <a:lnTo>
                    <a:pt x="285" y="271"/>
                  </a:lnTo>
                  <a:lnTo>
                    <a:pt x="349" y="271"/>
                  </a:lnTo>
                  <a:lnTo>
                    <a:pt x="374" y="343"/>
                  </a:lnTo>
                  <a:lnTo>
                    <a:pt x="308" y="421"/>
                  </a:lnTo>
                  <a:lnTo>
                    <a:pt x="234" y="421"/>
                  </a:lnTo>
                  <a:lnTo>
                    <a:pt x="234" y="413"/>
                  </a:lnTo>
                  <a:lnTo>
                    <a:pt x="234" y="394"/>
                  </a:lnTo>
                  <a:lnTo>
                    <a:pt x="233" y="384"/>
                  </a:lnTo>
                  <a:lnTo>
                    <a:pt x="230" y="374"/>
                  </a:lnTo>
                  <a:lnTo>
                    <a:pt x="225" y="364"/>
                  </a:lnTo>
                  <a:lnTo>
                    <a:pt x="218" y="357"/>
                  </a:lnTo>
                  <a:lnTo>
                    <a:pt x="211" y="350"/>
                  </a:lnTo>
                  <a:lnTo>
                    <a:pt x="202" y="345"/>
                  </a:lnTo>
                  <a:lnTo>
                    <a:pt x="192" y="342"/>
                  </a:lnTo>
                  <a:lnTo>
                    <a:pt x="181" y="341"/>
                  </a:lnTo>
                  <a:lnTo>
                    <a:pt x="143" y="341"/>
                  </a:lnTo>
                  <a:lnTo>
                    <a:pt x="133" y="342"/>
                  </a:lnTo>
                  <a:lnTo>
                    <a:pt x="123" y="345"/>
                  </a:lnTo>
                  <a:lnTo>
                    <a:pt x="113" y="350"/>
                  </a:lnTo>
                  <a:lnTo>
                    <a:pt x="106" y="357"/>
                  </a:lnTo>
                  <a:lnTo>
                    <a:pt x="99" y="364"/>
                  </a:lnTo>
                  <a:lnTo>
                    <a:pt x="95" y="374"/>
                  </a:lnTo>
                  <a:lnTo>
                    <a:pt x="92" y="384"/>
                  </a:lnTo>
                  <a:lnTo>
                    <a:pt x="91" y="394"/>
                  </a:lnTo>
                  <a:lnTo>
                    <a:pt x="91" y="413"/>
                  </a:lnTo>
                  <a:lnTo>
                    <a:pt x="91" y="421"/>
                  </a:lnTo>
                  <a:lnTo>
                    <a:pt x="90" y="421"/>
                  </a:lnTo>
                  <a:lnTo>
                    <a:pt x="82" y="421"/>
                  </a:lnTo>
                  <a:lnTo>
                    <a:pt x="75" y="422"/>
                  </a:lnTo>
                  <a:lnTo>
                    <a:pt x="67" y="424"/>
                  </a:lnTo>
                  <a:lnTo>
                    <a:pt x="59" y="428"/>
                  </a:lnTo>
                  <a:lnTo>
                    <a:pt x="51" y="431"/>
                  </a:lnTo>
                  <a:lnTo>
                    <a:pt x="44" y="434"/>
                  </a:lnTo>
                  <a:lnTo>
                    <a:pt x="37" y="439"/>
                  </a:lnTo>
                  <a:lnTo>
                    <a:pt x="30" y="444"/>
                  </a:lnTo>
                  <a:lnTo>
                    <a:pt x="23" y="449"/>
                  </a:lnTo>
                  <a:lnTo>
                    <a:pt x="18" y="455"/>
                  </a:lnTo>
                  <a:lnTo>
                    <a:pt x="13" y="462"/>
                  </a:lnTo>
                  <a:lnTo>
                    <a:pt x="8" y="468"/>
                  </a:lnTo>
                  <a:lnTo>
                    <a:pt x="5" y="475"/>
                  </a:lnTo>
                  <a:lnTo>
                    <a:pt x="2" y="482"/>
                  </a:lnTo>
                  <a:lnTo>
                    <a:pt x="0" y="489"/>
                  </a:lnTo>
                  <a:lnTo>
                    <a:pt x="0" y="496"/>
                  </a:lnTo>
                  <a:lnTo>
                    <a:pt x="0" y="830"/>
                  </a:lnTo>
                  <a:lnTo>
                    <a:pt x="0" y="833"/>
                  </a:lnTo>
                  <a:lnTo>
                    <a:pt x="1" y="836"/>
                  </a:lnTo>
                  <a:lnTo>
                    <a:pt x="9" y="851"/>
                  </a:lnTo>
                  <a:lnTo>
                    <a:pt x="18" y="864"/>
                  </a:lnTo>
                  <a:lnTo>
                    <a:pt x="28" y="876"/>
                  </a:lnTo>
                  <a:lnTo>
                    <a:pt x="38" y="884"/>
                  </a:lnTo>
                  <a:lnTo>
                    <a:pt x="50" y="892"/>
                  </a:lnTo>
                  <a:lnTo>
                    <a:pt x="62" y="897"/>
                  </a:lnTo>
                  <a:lnTo>
                    <a:pt x="67" y="899"/>
                  </a:lnTo>
                  <a:lnTo>
                    <a:pt x="74" y="900"/>
                  </a:lnTo>
                  <a:lnTo>
                    <a:pt x="80" y="902"/>
                  </a:lnTo>
                  <a:lnTo>
                    <a:pt x="86" y="902"/>
                  </a:lnTo>
                  <a:lnTo>
                    <a:pt x="768" y="902"/>
                  </a:lnTo>
                  <a:lnTo>
                    <a:pt x="776" y="902"/>
                  </a:lnTo>
                  <a:lnTo>
                    <a:pt x="783" y="900"/>
                  </a:lnTo>
                  <a:lnTo>
                    <a:pt x="790" y="898"/>
                  </a:lnTo>
                  <a:lnTo>
                    <a:pt x="796" y="896"/>
                  </a:lnTo>
                  <a:lnTo>
                    <a:pt x="803" y="893"/>
                  </a:lnTo>
                  <a:lnTo>
                    <a:pt x="809" y="890"/>
                  </a:lnTo>
                  <a:lnTo>
                    <a:pt x="815" y="885"/>
                  </a:lnTo>
                  <a:lnTo>
                    <a:pt x="820" y="881"/>
                  </a:lnTo>
                  <a:lnTo>
                    <a:pt x="824" y="876"/>
                  </a:lnTo>
                  <a:lnTo>
                    <a:pt x="828" y="870"/>
                  </a:lnTo>
                  <a:lnTo>
                    <a:pt x="832" y="864"/>
                  </a:lnTo>
                  <a:lnTo>
                    <a:pt x="835" y="859"/>
                  </a:lnTo>
                  <a:lnTo>
                    <a:pt x="838" y="851"/>
                  </a:lnTo>
                  <a:lnTo>
                    <a:pt x="839" y="845"/>
                  </a:lnTo>
                  <a:lnTo>
                    <a:pt x="841" y="837"/>
                  </a:lnTo>
                  <a:lnTo>
                    <a:pt x="841" y="830"/>
                  </a:lnTo>
                  <a:lnTo>
                    <a:pt x="841" y="496"/>
                  </a:lnTo>
                  <a:lnTo>
                    <a:pt x="840" y="489"/>
                  </a:lnTo>
                  <a:lnTo>
                    <a:pt x="839" y="481"/>
                  </a:lnTo>
                  <a:lnTo>
                    <a:pt x="837" y="474"/>
                  </a:lnTo>
                  <a:lnTo>
                    <a:pt x="835" y="467"/>
                  </a:lnTo>
                  <a:lnTo>
                    <a:pt x="832" y="461"/>
                  </a:lnTo>
                  <a:lnTo>
                    <a:pt x="827" y="454"/>
                  </a:lnTo>
                  <a:lnTo>
                    <a:pt x="823" y="449"/>
                  </a:lnTo>
                  <a:lnTo>
                    <a:pt x="819" y="444"/>
                  </a:lnTo>
                  <a:lnTo>
                    <a:pt x="813" y="438"/>
                  </a:lnTo>
                  <a:lnTo>
                    <a:pt x="807" y="434"/>
                  </a:lnTo>
                  <a:lnTo>
                    <a:pt x="802" y="430"/>
                  </a:lnTo>
                  <a:lnTo>
                    <a:pt x="795" y="426"/>
                  </a:lnTo>
                  <a:lnTo>
                    <a:pt x="788" y="424"/>
                  </a:lnTo>
                  <a:lnTo>
                    <a:pt x="781" y="422"/>
                  </a:lnTo>
                  <a:lnTo>
                    <a:pt x="774" y="421"/>
                  </a:lnTo>
                  <a:lnTo>
                    <a:pt x="767"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415">
              <a:extLst>
                <a:ext uri="{FF2B5EF4-FFF2-40B4-BE49-F238E27FC236}">
                  <a16:creationId xmlns:a16="http://schemas.microsoft.com/office/drawing/2014/main" id="{F2EA9A9F-202F-44DE-B3AB-54D4B598281C}"/>
                </a:ext>
              </a:extLst>
            </p:cNvPr>
            <p:cNvSpPr>
              <a:spLocks noEditPoints="1"/>
            </p:cNvSpPr>
            <p:nvPr/>
          </p:nvSpPr>
          <p:spPr bwMode="auto">
            <a:xfrm>
              <a:off x="8201025" y="3795395"/>
              <a:ext cx="47625" cy="47625"/>
            </a:xfrm>
            <a:custGeom>
              <a:avLst/>
              <a:gdLst>
                <a:gd name="T0" fmla="*/ 66 w 150"/>
                <a:gd name="T1" fmla="*/ 119 h 150"/>
                <a:gd name="T2" fmla="*/ 50 w 150"/>
                <a:gd name="T3" fmla="*/ 113 h 150"/>
                <a:gd name="T4" fmla="*/ 37 w 150"/>
                <a:gd name="T5" fmla="*/ 100 h 150"/>
                <a:gd name="T6" fmla="*/ 31 w 150"/>
                <a:gd name="T7" fmla="*/ 84 h 150"/>
                <a:gd name="T8" fmla="*/ 31 w 150"/>
                <a:gd name="T9" fmla="*/ 67 h 150"/>
                <a:gd name="T10" fmla="*/ 37 w 150"/>
                <a:gd name="T11" fmla="*/ 50 h 150"/>
                <a:gd name="T12" fmla="*/ 50 w 150"/>
                <a:gd name="T13" fmla="*/ 38 h 150"/>
                <a:gd name="T14" fmla="*/ 66 w 150"/>
                <a:gd name="T15" fmla="*/ 31 h 150"/>
                <a:gd name="T16" fmla="*/ 84 w 150"/>
                <a:gd name="T17" fmla="*/ 31 h 150"/>
                <a:gd name="T18" fmla="*/ 101 w 150"/>
                <a:gd name="T19" fmla="*/ 38 h 150"/>
                <a:gd name="T20" fmla="*/ 112 w 150"/>
                <a:gd name="T21" fmla="*/ 50 h 150"/>
                <a:gd name="T22" fmla="*/ 119 w 150"/>
                <a:gd name="T23" fmla="*/ 67 h 150"/>
                <a:gd name="T24" fmla="*/ 119 w 150"/>
                <a:gd name="T25" fmla="*/ 84 h 150"/>
                <a:gd name="T26" fmla="*/ 112 w 150"/>
                <a:gd name="T27" fmla="*/ 100 h 150"/>
                <a:gd name="T28" fmla="*/ 101 w 150"/>
                <a:gd name="T29" fmla="*/ 113 h 150"/>
                <a:gd name="T30" fmla="*/ 84 w 150"/>
                <a:gd name="T31" fmla="*/ 119 h 150"/>
                <a:gd name="T32" fmla="*/ 75 w 150"/>
                <a:gd name="T33" fmla="*/ 0 h 150"/>
                <a:gd name="T34" fmla="*/ 60 w 150"/>
                <a:gd name="T35" fmla="*/ 1 h 150"/>
                <a:gd name="T36" fmla="*/ 46 w 150"/>
                <a:gd name="T37" fmla="*/ 6 h 150"/>
                <a:gd name="T38" fmla="*/ 33 w 150"/>
                <a:gd name="T39" fmla="*/ 13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7 h 150"/>
                <a:gd name="T56" fmla="*/ 22 w 150"/>
                <a:gd name="T57" fmla="*/ 129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8 w 150"/>
                <a:gd name="T73" fmla="*/ 129 h 150"/>
                <a:gd name="T74" fmla="*/ 137 w 150"/>
                <a:gd name="T75" fmla="*/ 117 h 150"/>
                <a:gd name="T76" fmla="*/ 144 w 150"/>
                <a:gd name="T77" fmla="*/ 104 h 150"/>
                <a:gd name="T78" fmla="*/ 149 w 150"/>
                <a:gd name="T79" fmla="*/ 90 h 150"/>
                <a:gd name="T80" fmla="*/ 150 w 150"/>
                <a:gd name="T81" fmla="*/ 75 h 150"/>
                <a:gd name="T82" fmla="*/ 149 w 150"/>
                <a:gd name="T83" fmla="*/ 60 h 150"/>
                <a:gd name="T84" fmla="*/ 144 w 150"/>
                <a:gd name="T85" fmla="*/ 46 h 150"/>
                <a:gd name="T86" fmla="*/ 137 w 150"/>
                <a:gd name="T87" fmla="*/ 33 h 150"/>
                <a:gd name="T88" fmla="*/ 128 w 150"/>
                <a:gd name="T89" fmla="*/ 22 h 150"/>
                <a:gd name="T90" fmla="*/ 117 w 150"/>
                <a:gd name="T91" fmla="*/ 13 h 150"/>
                <a:gd name="T92" fmla="*/ 104 w 150"/>
                <a:gd name="T93" fmla="*/ 6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3" y="107"/>
                  </a:lnTo>
                  <a:lnTo>
                    <a:pt x="37" y="100"/>
                  </a:lnTo>
                  <a:lnTo>
                    <a:pt x="33" y="92"/>
                  </a:lnTo>
                  <a:lnTo>
                    <a:pt x="31" y="84"/>
                  </a:lnTo>
                  <a:lnTo>
                    <a:pt x="30" y="75"/>
                  </a:lnTo>
                  <a:lnTo>
                    <a:pt x="31" y="67"/>
                  </a:lnTo>
                  <a:lnTo>
                    <a:pt x="33" y="58"/>
                  </a:lnTo>
                  <a:lnTo>
                    <a:pt x="37" y="50"/>
                  </a:lnTo>
                  <a:lnTo>
                    <a:pt x="43" y="43"/>
                  </a:lnTo>
                  <a:lnTo>
                    <a:pt x="50" y="38"/>
                  </a:lnTo>
                  <a:lnTo>
                    <a:pt x="58" y="33"/>
                  </a:lnTo>
                  <a:lnTo>
                    <a:pt x="66" y="31"/>
                  </a:lnTo>
                  <a:lnTo>
                    <a:pt x="75" y="30"/>
                  </a:lnTo>
                  <a:lnTo>
                    <a:pt x="84" y="31"/>
                  </a:lnTo>
                  <a:lnTo>
                    <a:pt x="92" y="33"/>
                  </a:lnTo>
                  <a:lnTo>
                    <a:pt x="101" y="38"/>
                  </a:lnTo>
                  <a:lnTo>
                    <a:pt x="107" y="43"/>
                  </a:lnTo>
                  <a:lnTo>
                    <a:pt x="112" y="50"/>
                  </a:lnTo>
                  <a:lnTo>
                    <a:pt x="117" y="58"/>
                  </a:lnTo>
                  <a:lnTo>
                    <a:pt x="119" y="67"/>
                  </a:lnTo>
                  <a:lnTo>
                    <a:pt x="120" y="75"/>
                  </a:lnTo>
                  <a:lnTo>
                    <a:pt x="119" y="84"/>
                  </a:lnTo>
                  <a:lnTo>
                    <a:pt x="117" y="92"/>
                  </a:lnTo>
                  <a:lnTo>
                    <a:pt x="112" y="100"/>
                  </a:lnTo>
                  <a:lnTo>
                    <a:pt x="107" y="107"/>
                  </a:lnTo>
                  <a:lnTo>
                    <a:pt x="101" y="113"/>
                  </a:lnTo>
                  <a:lnTo>
                    <a:pt x="92" y="117"/>
                  </a:lnTo>
                  <a:lnTo>
                    <a:pt x="84" y="119"/>
                  </a:lnTo>
                  <a:lnTo>
                    <a:pt x="75" y="120"/>
                  </a:lnTo>
                  <a:close/>
                  <a:moveTo>
                    <a:pt x="75" y="0"/>
                  </a:moveTo>
                  <a:lnTo>
                    <a:pt x="67" y="0"/>
                  </a:lnTo>
                  <a:lnTo>
                    <a:pt x="60" y="1"/>
                  </a:lnTo>
                  <a:lnTo>
                    <a:pt x="52" y="3"/>
                  </a:lnTo>
                  <a:lnTo>
                    <a:pt x="46" y="6"/>
                  </a:lnTo>
                  <a:lnTo>
                    <a:pt x="39" y="9"/>
                  </a:lnTo>
                  <a:lnTo>
                    <a:pt x="33" y="13"/>
                  </a:lnTo>
                  <a:lnTo>
                    <a:pt x="28" y="17"/>
                  </a:lnTo>
                  <a:lnTo>
                    <a:pt x="22" y="22"/>
                  </a:lnTo>
                  <a:lnTo>
                    <a:pt x="17" y="27"/>
                  </a:lnTo>
                  <a:lnTo>
                    <a:pt x="13" y="33"/>
                  </a:lnTo>
                  <a:lnTo>
                    <a:pt x="8" y="40"/>
                  </a:lnTo>
                  <a:lnTo>
                    <a:pt x="6" y="46"/>
                  </a:lnTo>
                  <a:lnTo>
                    <a:pt x="3" y="53"/>
                  </a:lnTo>
                  <a:lnTo>
                    <a:pt x="1" y="60"/>
                  </a:lnTo>
                  <a:lnTo>
                    <a:pt x="0" y="68"/>
                  </a:lnTo>
                  <a:lnTo>
                    <a:pt x="0" y="75"/>
                  </a:lnTo>
                  <a:lnTo>
                    <a:pt x="0" y="83"/>
                  </a:lnTo>
                  <a:lnTo>
                    <a:pt x="1" y="90"/>
                  </a:lnTo>
                  <a:lnTo>
                    <a:pt x="3" y="98"/>
                  </a:lnTo>
                  <a:lnTo>
                    <a:pt x="6" y="104"/>
                  </a:lnTo>
                  <a:lnTo>
                    <a:pt x="8" y="111"/>
                  </a:lnTo>
                  <a:lnTo>
                    <a:pt x="13" y="117"/>
                  </a:lnTo>
                  <a:lnTo>
                    <a:pt x="17" y="124"/>
                  </a:lnTo>
                  <a:lnTo>
                    <a:pt x="22" y="129"/>
                  </a:lnTo>
                  <a:lnTo>
                    <a:pt x="28" y="133"/>
                  </a:lnTo>
                  <a:lnTo>
                    <a:pt x="33" y="137"/>
                  </a:lnTo>
                  <a:lnTo>
                    <a:pt x="39" y="142"/>
                  </a:lnTo>
                  <a:lnTo>
                    <a:pt x="46" y="145"/>
                  </a:lnTo>
                  <a:lnTo>
                    <a:pt x="52" y="147"/>
                  </a:lnTo>
                  <a:lnTo>
                    <a:pt x="60" y="149"/>
                  </a:lnTo>
                  <a:lnTo>
                    <a:pt x="67" y="150"/>
                  </a:lnTo>
                  <a:lnTo>
                    <a:pt x="75" y="150"/>
                  </a:lnTo>
                  <a:lnTo>
                    <a:pt x="82" y="150"/>
                  </a:lnTo>
                  <a:lnTo>
                    <a:pt x="90" y="149"/>
                  </a:lnTo>
                  <a:lnTo>
                    <a:pt x="97" y="147"/>
                  </a:lnTo>
                  <a:lnTo>
                    <a:pt x="104" y="145"/>
                  </a:lnTo>
                  <a:lnTo>
                    <a:pt x="111" y="142"/>
                  </a:lnTo>
                  <a:lnTo>
                    <a:pt x="117" y="137"/>
                  </a:lnTo>
                  <a:lnTo>
                    <a:pt x="123" y="133"/>
                  </a:lnTo>
                  <a:lnTo>
                    <a:pt x="128" y="129"/>
                  </a:lnTo>
                  <a:lnTo>
                    <a:pt x="133" y="124"/>
                  </a:lnTo>
                  <a:lnTo>
                    <a:pt x="137" y="117"/>
                  </a:lnTo>
                  <a:lnTo>
                    <a:pt x="141" y="111"/>
                  </a:lnTo>
                  <a:lnTo>
                    <a:pt x="144" y="104"/>
                  </a:lnTo>
                  <a:lnTo>
                    <a:pt x="147" y="98"/>
                  </a:lnTo>
                  <a:lnTo>
                    <a:pt x="149" y="90"/>
                  </a:lnTo>
                  <a:lnTo>
                    <a:pt x="150" y="83"/>
                  </a:lnTo>
                  <a:lnTo>
                    <a:pt x="150" y="75"/>
                  </a:lnTo>
                  <a:lnTo>
                    <a:pt x="150" y="68"/>
                  </a:lnTo>
                  <a:lnTo>
                    <a:pt x="149" y="60"/>
                  </a:lnTo>
                  <a:lnTo>
                    <a:pt x="147" y="53"/>
                  </a:lnTo>
                  <a:lnTo>
                    <a:pt x="144" y="46"/>
                  </a:lnTo>
                  <a:lnTo>
                    <a:pt x="141" y="40"/>
                  </a:lnTo>
                  <a:lnTo>
                    <a:pt x="137" y="33"/>
                  </a:lnTo>
                  <a:lnTo>
                    <a:pt x="133" y="27"/>
                  </a:lnTo>
                  <a:lnTo>
                    <a:pt x="128" y="22"/>
                  </a:lnTo>
                  <a:lnTo>
                    <a:pt x="123" y="17"/>
                  </a:lnTo>
                  <a:lnTo>
                    <a:pt x="117" y="13"/>
                  </a:lnTo>
                  <a:lnTo>
                    <a:pt x="111" y="9"/>
                  </a:lnTo>
                  <a:lnTo>
                    <a:pt x="104" y="6"/>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416">
              <a:extLst>
                <a:ext uri="{FF2B5EF4-FFF2-40B4-BE49-F238E27FC236}">
                  <a16:creationId xmlns:a16="http://schemas.microsoft.com/office/drawing/2014/main" id="{45586C52-8318-4035-A93B-DE27292CA813}"/>
                </a:ext>
              </a:extLst>
            </p:cNvPr>
            <p:cNvSpPr>
              <a:spLocks noEditPoints="1"/>
            </p:cNvSpPr>
            <p:nvPr/>
          </p:nvSpPr>
          <p:spPr bwMode="auto">
            <a:xfrm>
              <a:off x="8304213" y="3811270"/>
              <a:ext cx="69850" cy="69850"/>
            </a:xfrm>
            <a:custGeom>
              <a:avLst/>
              <a:gdLst>
                <a:gd name="T0" fmla="*/ 95 w 220"/>
                <a:gd name="T1" fmla="*/ 187 h 219"/>
                <a:gd name="T2" fmla="*/ 72 w 220"/>
                <a:gd name="T3" fmla="*/ 180 h 219"/>
                <a:gd name="T4" fmla="*/ 54 w 220"/>
                <a:gd name="T5" fmla="*/ 166 h 219"/>
                <a:gd name="T6" fmla="*/ 40 w 220"/>
                <a:gd name="T7" fmla="*/ 148 h 219"/>
                <a:gd name="T8" fmla="*/ 33 w 220"/>
                <a:gd name="T9" fmla="*/ 126 h 219"/>
                <a:gd name="T10" fmla="*/ 32 w 220"/>
                <a:gd name="T11" fmla="*/ 101 h 219"/>
                <a:gd name="T12" fmla="*/ 37 w 220"/>
                <a:gd name="T13" fmla="*/ 79 h 219"/>
                <a:gd name="T14" fmla="*/ 49 w 220"/>
                <a:gd name="T15" fmla="*/ 58 h 219"/>
                <a:gd name="T16" fmla="*/ 66 w 220"/>
                <a:gd name="T17" fmla="*/ 43 h 219"/>
                <a:gd name="T18" fmla="*/ 86 w 220"/>
                <a:gd name="T19" fmla="*/ 34 h 219"/>
                <a:gd name="T20" fmla="*/ 111 w 220"/>
                <a:gd name="T21" fmla="*/ 30 h 219"/>
                <a:gd name="T22" fmla="*/ 134 w 220"/>
                <a:gd name="T23" fmla="*/ 34 h 219"/>
                <a:gd name="T24" fmla="*/ 155 w 220"/>
                <a:gd name="T25" fmla="*/ 43 h 219"/>
                <a:gd name="T26" fmla="*/ 172 w 220"/>
                <a:gd name="T27" fmla="*/ 58 h 219"/>
                <a:gd name="T28" fmla="*/ 184 w 220"/>
                <a:gd name="T29" fmla="*/ 79 h 219"/>
                <a:gd name="T30" fmla="*/ 190 w 220"/>
                <a:gd name="T31" fmla="*/ 101 h 219"/>
                <a:gd name="T32" fmla="*/ 188 w 220"/>
                <a:gd name="T33" fmla="*/ 126 h 219"/>
                <a:gd name="T34" fmla="*/ 181 w 220"/>
                <a:gd name="T35" fmla="*/ 148 h 219"/>
                <a:gd name="T36" fmla="*/ 167 w 220"/>
                <a:gd name="T37" fmla="*/ 166 h 219"/>
                <a:gd name="T38" fmla="*/ 148 w 220"/>
                <a:gd name="T39" fmla="*/ 180 h 219"/>
                <a:gd name="T40" fmla="*/ 126 w 220"/>
                <a:gd name="T41" fmla="*/ 187 h 219"/>
                <a:gd name="T42" fmla="*/ 111 w 220"/>
                <a:gd name="T43" fmla="*/ 0 h 219"/>
                <a:gd name="T44" fmla="*/ 78 w 220"/>
                <a:gd name="T45" fmla="*/ 5 h 219"/>
                <a:gd name="T46" fmla="*/ 49 w 220"/>
                <a:gd name="T47" fmla="*/ 19 h 219"/>
                <a:gd name="T48" fmla="*/ 26 w 220"/>
                <a:gd name="T49" fmla="*/ 39 h 219"/>
                <a:gd name="T50" fmla="*/ 9 w 220"/>
                <a:gd name="T51" fmla="*/ 67 h 219"/>
                <a:gd name="T52" fmla="*/ 2 w 220"/>
                <a:gd name="T53" fmla="*/ 98 h 219"/>
                <a:gd name="T54" fmla="*/ 3 w 220"/>
                <a:gd name="T55" fmla="*/ 131 h 219"/>
                <a:gd name="T56" fmla="*/ 14 w 220"/>
                <a:gd name="T57" fmla="*/ 161 h 219"/>
                <a:gd name="T58" fmla="*/ 33 w 220"/>
                <a:gd name="T59" fmla="*/ 187 h 219"/>
                <a:gd name="T60" fmla="*/ 58 w 220"/>
                <a:gd name="T61" fmla="*/ 206 h 219"/>
                <a:gd name="T62" fmla="*/ 88 w 220"/>
                <a:gd name="T63" fmla="*/ 217 h 219"/>
                <a:gd name="T64" fmla="*/ 122 w 220"/>
                <a:gd name="T65" fmla="*/ 218 h 219"/>
                <a:gd name="T66" fmla="*/ 153 w 220"/>
                <a:gd name="T67" fmla="*/ 211 h 219"/>
                <a:gd name="T68" fmla="*/ 181 w 220"/>
                <a:gd name="T69" fmla="*/ 195 h 219"/>
                <a:gd name="T70" fmla="*/ 201 w 220"/>
                <a:gd name="T71" fmla="*/ 171 h 219"/>
                <a:gd name="T72" fmla="*/ 215 w 220"/>
                <a:gd name="T73" fmla="*/ 142 h 219"/>
                <a:gd name="T74" fmla="*/ 220 w 220"/>
                <a:gd name="T75" fmla="*/ 110 h 219"/>
                <a:gd name="T76" fmla="*/ 215 w 220"/>
                <a:gd name="T77" fmla="*/ 77 h 219"/>
                <a:gd name="T78" fmla="*/ 201 w 220"/>
                <a:gd name="T79" fmla="*/ 48 h 219"/>
                <a:gd name="T80" fmla="*/ 181 w 220"/>
                <a:gd name="T81" fmla="*/ 25 h 219"/>
                <a:gd name="T82" fmla="*/ 153 w 220"/>
                <a:gd name="T83" fmla="*/ 8 h 219"/>
                <a:gd name="T84" fmla="*/ 122 w 220"/>
                <a:gd name="T85" fmla="*/ 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0" h="219">
                  <a:moveTo>
                    <a:pt x="111" y="189"/>
                  </a:moveTo>
                  <a:lnTo>
                    <a:pt x="102" y="189"/>
                  </a:lnTo>
                  <a:lnTo>
                    <a:pt x="95" y="187"/>
                  </a:lnTo>
                  <a:lnTo>
                    <a:pt x="86" y="186"/>
                  </a:lnTo>
                  <a:lnTo>
                    <a:pt x="80" y="183"/>
                  </a:lnTo>
                  <a:lnTo>
                    <a:pt x="72" y="180"/>
                  </a:lnTo>
                  <a:lnTo>
                    <a:pt x="66" y="175"/>
                  </a:lnTo>
                  <a:lnTo>
                    <a:pt x="59" y="171"/>
                  </a:lnTo>
                  <a:lnTo>
                    <a:pt x="54" y="166"/>
                  </a:lnTo>
                  <a:lnTo>
                    <a:pt x="49" y="160"/>
                  </a:lnTo>
                  <a:lnTo>
                    <a:pt x="44" y="154"/>
                  </a:lnTo>
                  <a:lnTo>
                    <a:pt x="40" y="148"/>
                  </a:lnTo>
                  <a:lnTo>
                    <a:pt x="37" y="141"/>
                  </a:lnTo>
                  <a:lnTo>
                    <a:pt x="35" y="134"/>
                  </a:lnTo>
                  <a:lnTo>
                    <a:pt x="33" y="126"/>
                  </a:lnTo>
                  <a:lnTo>
                    <a:pt x="32" y="117"/>
                  </a:lnTo>
                  <a:lnTo>
                    <a:pt x="30" y="110"/>
                  </a:lnTo>
                  <a:lnTo>
                    <a:pt x="32" y="101"/>
                  </a:lnTo>
                  <a:lnTo>
                    <a:pt x="33" y="94"/>
                  </a:lnTo>
                  <a:lnTo>
                    <a:pt x="35" y="86"/>
                  </a:lnTo>
                  <a:lnTo>
                    <a:pt x="37" y="79"/>
                  </a:lnTo>
                  <a:lnTo>
                    <a:pt x="40" y="71"/>
                  </a:lnTo>
                  <a:lnTo>
                    <a:pt x="44" y="65"/>
                  </a:lnTo>
                  <a:lnTo>
                    <a:pt x="49" y="58"/>
                  </a:lnTo>
                  <a:lnTo>
                    <a:pt x="54" y="53"/>
                  </a:lnTo>
                  <a:lnTo>
                    <a:pt x="59" y="48"/>
                  </a:lnTo>
                  <a:lnTo>
                    <a:pt x="66" y="43"/>
                  </a:lnTo>
                  <a:lnTo>
                    <a:pt x="72" y="39"/>
                  </a:lnTo>
                  <a:lnTo>
                    <a:pt x="80" y="36"/>
                  </a:lnTo>
                  <a:lnTo>
                    <a:pt x="86" y="34"/>
                  </a:lnTo>
                  <a:lnTo>
                    <a:pt x="95" y="32"/>
                  </a:lnTo>
                  <a:lnTo>
                    <a:pt x="102" y="31"/>
                  </a:lnTo>
                  <a:lnTo>
                    <a:pt x="111" y="30"/>
                  </a:lnTo>
                  <a:lnTo>
                    <a:pt x="118" y="31"/>
                  </a:lnTo>
                  <a:lnTo>
                    <a:pt x="126" y="32"/>
                  </a:lnTo>
                  <a:lnTo>
                    <a:pt x="134" y="34"/>
                  </a:lnTo>
                  <a:lnTo>
                    <a:pt x="141" y="36"/>
                  </a:lnTo>
                  <a:lnTo>
                    <a:pt x="148" y="39"/>
                  </a:lnTo>
                  <a:lnTo>
                    <a:pt x="155" y="43"/>
                  </a:lnTo>
                  <a:lnTo>
                    <a:pt x="161" y="48"/>
                  </a:lnTo>
                  <a:lnTo>
                    <a:pt x="167" y="53"/>
                  </a:lnTo>
                  <a:lnTo>
                    <a:pt x="172" y="58"/>
                  </a:lnTo>
                  <a:lnTo>
                    <a:pt x="176" y="65"/>
                  </a:lnTo>
                  <a:lnTo>
                    <a:pt x="181" y="71"/>
                  </a:lnTo>
                  <a:lnTo>
                    <a:pt x="184" y="79"/>
                  </a:lnTo>
                  <a:lnTo>
                    <a:pt x="187" y="86"/>
                  </a:lnTo>
                  <a:lnTo>
                    <a:pt x="188" y="94"/>
                  </a:lnTo>
                  <a:lnTo>
                    <a:pt x="190" y="101"/>
                  </a:lnTo>
                  <a:lnTo>
                    <a:pt x="190" y="110"/>
                  </a:lnTo>
                  <a:lnTo>
                    <a:pt x="190" y="117"/>
                  </a:lnTo>
                  <a:lnTo>
                    <a:pt x="188" y="126"/>
                  </a:lnTo>
                  <a:lnTo>
                    <a:pt x="187" y="134"/>
                  </a:lnTo>
                  <a:lnTo>
                    <a:pt x="184" y="141"/>
                  </a:lnTo>
                  <a:lnTo>
                    <a:pt x="181" y="148"/>
                  </a:lnTo>
                  <a:lnTo>
                    <a:pt x="176" y="154"/>
                  </a:lnTo>
                  <a:lnTo>
                    <a:pt x="172" y="160"/>
                  </a:lnTo>
                  <a:lnTo>
                    <a:pt x="167" y="166"/>
                  </a:lnTo>
                  <a:lnTo>
                    <a:pt x="161" y="171"/>
                  </a:lnTo>
                  <a:lnTo>
                    <a:pt x="155" y="175"/>
                  </a:lnTo>
                  <a:lnTo>
                    <a:pt x="148" y="180"/>
                  </a:lnTo>
                  <a:lnTo>
                    <a:pt x="141" y="183"/>
                  </a:lnTo>
                  <a:lnTo>
                    <a:pt x="134" y="186"/>
                  </a:lnTo>
                  <a:lnTo>
                    <a:pt x="126" y="187"/>
                  </a:lnTo>
                  <a:lnTo>
                    <a:pt x="118" y="189"/>
                  </a:lnTo>
                  <a:lnTo>
                    <a:pt x="111" y="189"/>
                  </a:lnTo>
                  <a:close/>
                  <a:moveTo>
                    <a:pt x="111" y="0"/>
                  </a:moveTo>
                  <a:lnTo>
                    <a:pt x="99" y="1"/>
                  </a:lnTo>
                  <a:lnTo>
                    <a:pt x="88" y="2"/>
                  </a:lnTo>
                  <a:lnTo>
                    <a:pt x="78" y="5"/>
                  </a:lnTo>
                  <a:lnTo>
                    <a:pt x="68" y="8"/>
                  </a:lnTo>
                  <a:lnTo>
                    <a:pt x="58" y="13"/>
                  </a:lnTo>
                  <a:lnTo>
                    <a:pt x="49" y="19"/>
                  </a:lnTo>
                  <a:lnTo>
                    <a:pt x="40" y="25"/>
                  </a:lnTo>
                  <a:lnTo>
                    <a:pt x="33" y="32"/>
                  </a:lnTo>
                  <a:lnTo>
                    <a:pt x="26" y="39"/>
                  </a:lnTo>
                  <a:lnTo>
                    <a:pt x="20" y="48"/>
                  </a:lnTo>
                  <a:lnTo>
                    <a:pt x="14" y="57"/>
                  </a:lnTo>
                  <a:lnTo>
                    <a:pt x="9" y="67"/>
                  </a:lnTo>
                  <a:lnTo>
                    <a:pt x="6" y="77"/>
                  </a:lnTo>
                  <a:lnTo>
                    <a:pt x="3" y="87"/>
                  </a:lnTo>
                  <a:lnTo>
                    <a:pt x="2" y="98"/>
                  </a:lnTo>
                  <a:lnTo>
                    <a:pt x="0" y="110"/>
                  </a:lnTo>
                  <a:lnTo>
                    <a:pt x="2" y="121"/>
                  </a:lnTo>
                  <a:lnTo>
                    <a:pt x="3" y="131"/>
                  </a:lnTo>
                  <a:lnTo>
                    <a:pt x="6" y="142"/>
                  </a:lnTo>
                  <a:lnTo>
                    <a:pt x="9" y="152"/>
                  </a:lnTo>
                  <a:lnTo>
                    <a:pt x="14" y="161"/>
                  </a:lnTo>
                  <a:lnTo>
                    <a:pt x="20" y="171"/>
                  </a:lnTo>
                  <a:lnTo>
                    <a:pt x="26" y="180"/>
                  </a:lnTo>
                  <a:lnTo>
                    <a:pt x="33" y="187"/>
                  </a:lnTo>
                  <a:lnTo>
                    <a:pt x="40" y="195"/>
                  </a:lnTo>
                  <a:lnTo>
                    <a:pt x="49" y="200"/>
                  </a:lnTo>
                  <a:lnTo>
                    <a:pt x="58" y="206"/>
                  </a:lnTo>
                  <a:lnTo>
                    <a:pt x="68" y="211"/>
                  </a:lnTo>
                  <a:lnTo>
                    <a:pt x="78" y="214"/>
                  </a:lnTo>
                  <a:lnTo>
                    <a:pt x="88" y="217"/>
                  </a:lnTo>
                  <a:lnTo>
                    <a:pt x="99" y="218"/>
                  </a:lnTo>
                  <a:lnTo>
                    <a:pt x="111" y="219"/>
                  </a:lnTo>
                  <a:lnTo>
                    <a:pt x="122" y="218"/>
                  </a:lnTo>
                  <a:lnTo>
                    <a:pt x="132" y="217"/>
                  </a:lnTo>
                  <a:lnTo>
                    <a:pt x="143" y="214"/>
                  </a:lnTo>
                  <a:lnTo>
                    <a:pt x="153" y="211"/>
                  </a:lnTo>
                  <a:lnTo>
                    <a:pt x="162" y="206"/>
                  </a:lnTo>
                  <a:lnTo>
                    <a:pt x="172" y="200"/>
                  </a:lnTo>
                  <a:lnTo>
                    <a:pt x="181" y="195"/>
                  </a:lnTo>
                  <a:lnTo>
                    <a:pt x="188" y="187"/>
                  </a:lnTo>
                  <a:lnTo>
                    <a:pt x="196" y="180"/>
                  </a:lnTo>
                  <a:lnTo>
                    <a:pt x="201" y="171"/>
                  </a:lnTo>
                  <a:lnTo>
                    <a:pt x="207" y="161"/>
                  </a:lnTo>
                  <a:lnTo>
                    <a:pt x="212" y="152"/>
                  </a:lnTo>
                  <a:lnTo>
                    <a:pt x="215" y="142"/>
                  </a:lnTo>
                  <a:lnTo>
                    <a:pt x="218" y="131"/>
                  </a:lnTo>
                  <a:lnTo>
                    <a:pt x="219" y="121"/>
                  </a:lnTo>
                  <a:lnTo>
                    <a:pt x="220" y="110"/>
                  </a:lnTo>
                  <a:lnTo>
                    <a:pt x="219" y="98"/>
                  </a:lnTo>
                  <a:lnTo>
                    <a:pt x="218" y="87"/>
                  </a:lnTo>
                  <a:lnTo>
                    <a:pt x="215" y="77"/>
                  </a:lnTo>
                  <a:lnTo>
                    <a:pt x="212" y="67"/>
                  </a:lnTo>
                  <a:lnTo>
                    <a:pt x="207" y="57"/>
                  </a:lnTo>
                  <a:lnTo>
                    <a:pt x="201" y="48"/>
                  </a:lnTo>
                  <a:lnTo>
                    <a:pt x="196" y="39"/>
                  </a:lnTo>
                  <a:lnTo>
                    <a:pt x="188" y="32"/>
                  </a:lnTo>
                  <a:lnTo>
                    <a:pt x="181" y="25"/>
                  </a:lnTo>
                  <a:lnTo>
                    <a:pt x="172" y="19"/>
                  </a:lnTo>
                  <a:lnTo>
                    <a:pt x="162" y="13"/>
                  </a:lnTo>
                  <a:lnTo>
                    <a:pt x="153" y="8"/>
                  </a:lnTo>
                  <a:lnTo>
                    <a:pt x="143" y="5"/>
                  </a:lnTo>
                  <a:lnTo>
                    <a:pt x="132" y="2"/>
                  </a:lnTo>
                  <a:lnTo>
                    <a:pt x="122" y="1"/>
                  </a:lnTo>
                  <a:lnTo>
                    <a:pt x="1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Freeform 417">
              <a:extLst>
                <a:ext uri="{FF2B5EF4-FFF2-40B4-BE49-F238E27FC236}">
                  <a16:creationId xmlns:a16="http://schemas.microsoft.com/office/drawing/2014/main" id="{B385064D-85C6-4A92-B304-A49D51C8AE9A}"/>
                </a:ext>
              </a:extLst>
            </p:cNvPr>
            <p:cNvSpPr>
              <a:spLocks noEditPoints="1"/>
            </p:cNvSpPr>
            <p:nvPr/>
          </p:nvSpPr>
          <p:spPr bwMode="auto">
            <a:xfrm>
              <a:off x="8278813" y="3787458"/>
              <a:ext cx="119063" cy="117475"/>
            </a:xfrm>
            <a:custGeom>
              <a:avLst/>
              <a:gdLst>
                <a:gd name="T0" fmla="*/ 155 w 372"/>
                <a:gd name="T1" fmla="*/ 339 h 372"/>
                <a:gd name="T2" fmla="*/ 112 w 372"/>
                <a:gd name="T3" fmla="*/ 323 h 372"/>
                <a:gd name="T4" fmla="*/ 76 w 372"/>
                <a:gd name="T5" fmla="*/ 296 h 372"/>
                <a:gd name="T6" fmla="*/ 50 w 372"/>
                <a:gd name="T7" fmla="*/ 261 h 372"/>
                <a:gd name="T8" fmla="*/ 34 w 372"/>
                <a:gd name="T9" fmla="*/ 218 h 372"/>
                <a:gd name="T10" fmla="*/ 31 w 372"/>
                <a:gd name="T11" fmla="*/ 171 h 372"/>
                <a:gd name="T12" fmla="*/ 43 w 372"/>
                <a:gd name="T13" fmla="*/ 126 h 372"/>
                <a:gd name="T14" fmla="*/ 67 w 372"/>
                <a:gd name="T15" fmla="*/ 87 h 372"/>
                <a:gd name="T16" fmla="*/ 99 w 372"/>
                <a:gd name="T17" fmla="*/ 57 h 372"/>
                <a:gd name="T18" fmla="*/ 140 w 372"/>
                <a:gd name="T19" fmla="*/ 38 h 372"/>
                <a:gd name="T20" fmla="*/ 187 w 372"/>
                <a:gd name="T21" fmla="*/ 31 h 372"/>
                <a:gd name="T22" fmla="*/ 233 w 372"/>
                <a:gd name="T23" fmla="*/ 38 h 372"/>
                <a:gd name="T24" fmla="*/ 274 w 372"/>
                <a:gd name="T25" fmla="*/ 57 h 372"/>
                <a:gd name="T26" fmla="*/ 306 w 372"/>
                <a:gd name="T27" fmla="*/ 87 h 372"/>
                <a:gd name="T28" fmla="*/ 329 w 372"/>
                <a:gd name="T29" fmla="*/ 126 h 372"/>
                <a:gd name="T30" fmla="*/ 341 w 372"/>
                <a:gd name="T31" fmla="*/ 171 h 372"/>
                <a:gd name="T32" fmla="*/ 339 w 372"/>
                <a:gd name="T33" fmla="*/ 218 h 372"/>
                <a:gd name="T34" fmla="*/ 323 w 372"/>
                <a:gd name="T35" fmla="*/ 261 h 372"/>
                <a:gd name="T36" fmla="*/ 296 w 372"/>
                <a:gd name="T37" fmla="*/ 296 h 372"/>
                <a:gd name="T38" fmla="*/ 261 w 372"/>
                <a:gd name="T39" fmla="*/ 323 h 372"/>
                <a:gd name="T40" fmla="*/ 218 w 372"/>
                <a:gd name="T41" fmla="*/ 339 h 372"/>
                <a:gd name="T42" fmla="*/ 187 w 372"/>
                <a:gd name="T43" fmla="*/ 0 h 372"/>
                <a:gd name="T44" fmla="*/ 131 w 372"/>
                <a:gd name="T45" fmla="*/ 9 h 372"/>
                <a:gd name="T46" fmla="*/ 83 w 372"/>
                <a:gd name="T47" fmla="*/ 33 h 372"/>
                <a:gd name="T48" fmla="*/ 43 w 372"/>
                <a:gd name="T49" fmla="*/ 69 h 372"/>
                <a:gd name="T50" fmla="*/ 15 w 372"/>
                <a:gd name="T51" fmla="*/ 114 h 372"/>
                <a:gd name="T52" fmla="*/ 1 w 372"/>
                <a:gd name="T53" fmla="*/ 168 h 372"/>
                <a:gd name="T54" fmla="*/ 5 w 372"/>
                <a:gd name="T55" fmla="*/ 223 h 372"/>
                <a:gd name="T56" fmla="*/ 23 w 372"/>
                <a:gd name="T57" fmla="*/ 275 h 372"/>
                <a:gd name="T58" fmla="*/ 55 w 372"/>
                <a:gd name="T59" fmla="*/ 318 h 372"/>
                <a:gd name="T60" fmla="*/ 98 w 372"/>
                <a:gd name="T61" fmla="*/ 350 h 372"/>
                <a:gd name="T62" fmla="*/ 149 w 372"/>
                <a:gd name="T63" fmla="*/ 368 h 372"/>
                <a:gd name="T64" fmla="*/ 205 w 372"/>
                <a:gd name="T65" fmla="*/ 371 h 372"/>
                <a:gd name="T66" fmla="*/ 259 w 372"/>
                <a:gd name="T67" fmla="*/ 357 h 372"/>
                <a:gd name="T68" fmla="*/ 305 w 372"/>
                <a:gd name="T69" fmla="*/ 330 h 372"/>
                <a:gd name="T70" fmla="*/ 340 w 372"/>
                <a:gd name="T71" fmla="*/ 290 h 372"/>
                <a:gd name="T72" fmla="*/ 364 w 372"/>
                <a:gd name="T73" fmla="*/ 242 h 372"/>
                <a:gd name="T74" fmla="*/ 372 w 372"/>
                <a:gd name="T75" fmla="*/ 187 h 372"/>
                <a:gd name="T76" fmla="*/ 364 w 372"/>
                <a:gd name="T77" fmla="*/ 131 h 372"/>
                <a:gd name="T78" fmla="*/ 340 w 372"/>
                <a:gd name="T79" fmla="*/ 83 h 372"/>
                <a:gd name="T80" fmla="*/ 305 w 372"/>
                <a:gd name="T81" fmla="*/ 43 h 372"/>
                <a:gd name="T82" fmla="*/ 259 w 372"/>
                <a:gd name="T83" fmla="*/ 15 h 372"/>
                <a:gd name="T84" fmla="*/ 205 w 372"/>
                <a:gd name="T85"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 h="372">
                  <a:moveTo>
                    <a:pt x="187" y="342"/>
                  </a:moveTo>
                  <a:lnTo>
                    <a:pt x="171" y="341"/>
                  </a:lnTo>
                  <a:lnTo>
                    <a:pt x="155" y="339"/>
                  </a:lnTo>
                  <a:lnTo>
                    <a:pt x="140" y="335"/>
                  </a:lnTo>
                  <a:lnTo>
                    <a:pt x="126" y="330"/>
                  </a:lnTo>
                  <a:lnTo>
                    <a:pt x="112" y="323"/>
                  </a:lnTo>
                  <a:lnTo>
                    <a:pt x="99" y="316"/>
                  </a:lnTo>
                  <a:lnTo>
                    <a:pt x="87" y="306"/>
                  </a:lnTo>
                  <a:lnTo>
                    <a:pt x="76" y="296"/>
                  </a:lnTo>
                  <a:lnTo>
                    <a:pt x="67" y="286"/>
                  </a:lnTo>
                  <a:lnTo>
                    <a:pt x="57" y="274"/>
                  </a:lnTo>
                  <a:lnTo>
                    <a:pt x="50" y="261"/>
                  </a:lnTo>
                  <a:lnTo>
                    <a:pt x="43" y="247"/>
                  </a:lnTo>
                  <a:lnTo>
                    <a:pt x="38" y="233"/>
                  </a:lnTo>
                  <a:lnTo>
                    <a:pt x="34" y="218"/>
                  </a:lnTo>
                  <a:lnTo>
                    <a:pt x="31" y="202"/>
                  </a:lnTo>
                  <a:lnTo>
                    <a:pt x="30" y="187"/>
                  </a:lnTo>
                  <a:lnTo>
                    <a:pt x="31" y="171"/>
                  </a:lnTo>
                  <a:lnTo>
                    <a:pt x="34" y="155"/>
                  </a:lnTo>
                  <a:lnTo>
                    <a:pt x="38" y="141"/>
                  </a:lnTo>
                  <a:lnTo>
                    <a:pt x="43" y="126"/>
                  </a:lnTo>
                  <a:lnTo>
                    <a:pt x="50" y="113"/>
                  </a:lnTo>
                  <a:lnTo>
                    <a:pt x="57" y="100"/>
                  </a:lnTo>
                  <a:lnTo>
                    <a:pt x="67" y="87"/>
                  </a:lnTo>
                  <a:lnTo>
                    <a:pt x="76" y="77"/>
                  </a:lnTo>
                  <a:lnTo>
                    <a:pt x="87" y="67"/>
                  </a:lnTo>
                  <a:lnTo>
                    <a:pt x="99" y="57"/>
                  </a:lnTo>
                  <a:lnTo>
                    <a:pt x="112" y="50"/>
                  </a:lnTo>
                  <a:lnTo>
                    <a:pt x="126" y="43"/>
                  </a:lnTo>
                  <a:lnTo>
                    <a:pt x="140" y="38"/>
                  </a:lnTo>
                  <a:lnTo>
                    <a:pt x="155" y="35"/>
                  </a:lnTo>
                  <a:lnTo>
                    <a:pt x="171" y="31"/>
                  </a:lnTo>
                  <a:lnTo>
                    <a:pt x="187" y="31"/>
                  </a:lnTo>
                  <a:lnTo>
                    <a:pt x="202" y="31"/>
                  </a:lnTo>
                  <a:lnTo>
                    <a:pt x="218" y="35"/>
                  </a:lnTo>
                  <a:lnTo>
                    <a:pt x="233" y="38"/>
                  </a:lnTo>
                  <a:lnTo>
                    <a:pt x="247" y="43"/>
                  </a:lnTo>
                  <a:lnTo>
                    <a:pt x="261" y="50"/>
                  </a:lnTo>
                  <a:lnTo>
                    <a:pt x="274" y="57"/>
                  </a:lnTo>
                  <a:lnTo>
                    <a:pt x="286" y="67"/>
                  </a:lnTo>
                  <a:lnTo>
                    <a:pt x="296" y="77"/>
                  </a:lnTo>
                  <a:lnTo>
                    <a:pt x="306" y="87"/>
                  </a:lnTo>
                  <a:lnTo>
                    <a:pt x="316" y="100"/>
                  </a:lnTo>
                  <a:lnTo>
                    <a:pt x="323" y="113"/>
                  </a:lnTo>
                  <a:lnTo>
                    <a:pt x="329" y="126"/>
                  </a:lnTo>
                  <a:lnTo>
                    <a:pt x="335" y="141"/>
                  </a:lnTo>
                  <a:lnTo>
                    <a:pt x="339" y="155"/>
                  </a:lnTo>
                  <a:lnTo>
                    <a:pt x="341" y="171"/>
                  </a:lnTo>
                  <a:lnTo>
                    <a:pt x="342" y="187"/>
                  </a:lnTo>
                  <a:lnTo>
                    <a:pt x="341" y="202"/>
                  </a:lnTo>
                  <a:lnTo>
                    <a:pt x="339" y="218"/>
                  </a:lnTo>
                  <a:lnTo>
                    <a:pt x="335" y="233"/>
                  </a:lnTo>
                  <a:lnTo>
                    <a:pt x="329" y="247"/>
                  </a:lnTo>
                  <a:lnTo>
                    <a:pt x="323" y="261"/>
                  </a:lnTo>
                  <a:lnTo>
                    <a:pt x="316" y="274"/>
                  </a:lnTo>
                  <a:lnTo>
                    <a:pt x="306" y="286"/>
                  </a:lnTo>
                  <a:lnTo>
                    <a:pt x="296" y="296"/>
                  </a:lnTo>
                  <a:lnTo>
                    <a:pt x="286" y="306"/>
                  </a:lnTo>
                  <a:lnTo>
                    <a:pt x="274" y="316"/>
                  </a:lnTo>
                  <a:lnTo>
                    <a:pt x="261" y="323"/>
                  </a:lnTo>
                  <a:lnTo>
                    <a:pt x="247" y="330"/>
                  </a:lnTo>
                  <a:lnTo>
                    <a:pt x="233" y="335"/>
                  </a:lnTo>
                  <a:lnTo>
                    <a:pt x="218" y="339"/>
                  </a:lnTo>
                  <a:lnTo>
                    <a:pt x="202" y="341"/>
                  </a:lnTo>
                  <a:lnTo>
                    <a:pt x="187" y="342"/>
                  </a:lnTo>
                  <a:close/>
                  <a:moveTo>
                    <a:pt x="187" y="0"/>
                  </a:moveTo>
                  <a:lnTo>
                    <a:pt x="168" y="1"/>
                  </a:lnTo>
                  <a:lnTo>
                    <a:pt x="149" y="5"/>
                  </a:lnTo>
                  <a:lnTo>
                    <a:pt x="131" y="9"/>
                  </a:lnTo>
                  <a:lnTo>
                    <a:pt x="114" y="15"/>
                  </a:lnTo>
                  <a:lnTo>
                    <a:pt x="98" y="23"/>
                  </a:lnTo>
                  <a:lnTo>
                    <a:pt x="83" y="33"/>
                  </a:lnTo>
                  <a:lnTo>
                    <a:pt x="68" y="43"/>
                  </a:lnTo>
                  <a:lnTo>
                    <a:pt x="55" y="55"/>
                  </a:lnTo>
                  <a:lnTo>
                    <a:pt x="43" y="69"/>
                  </a:lnTo>
                  <a:lnTo>
                    <a:pt x="32" y="83"/>
                  </a:lnTo>
                  <a:lnTo>
                    <a:pt x="23" y="98"/>
                  </a:lnTo>
                  <a:lnTo>
                    <a:pt x="15" y="114"/>
                  </a:lnTo>
                  <a:lnTo>
                    <a:pt x="9" y="131"/>
                  </a:lnTo>
                  <a:lnTo>
                    <a:pt x="5" y="149"/>
                  </a:lnTo>
                  <a:lnTo>
                    <a:pt x="1" y="168"/>
                  </a:lnTo>
                  <a:lnTo>
                    <a:pt x="0" y="187"/>
                  </a:lnTo>
                  <a:lnTo>
                    <a:pt x="1" y="205"/>
                  </a:lnTo>
                  <a:lnTo>
                    <a:pt x="5" y="223"/>
                  </a:lnTo>
                  <a:lnTo>
                    <a:pt x="9" y="242"/>
                  </a:lnTo>
                  <a:lnTo>
                    <a:pt x="15" y="259"/>
                  </a:lnTo>
                  <a:lnTo>
                    <a:pt x="23" y="275"/>
                  </a:lnTo>
                  <a:lnTo>
                    <a:pt x="32" y="290"/>
                  </a:lnTo>
                  <a:lnTo>
                    <a:pt x="43" y="305"/>
                  </a:lnTo>
                  <a:lnTo>
                    <a:pt x="55" y="318"/>
                  </a:lnTo>
                  <a:lnTo>
                    <a:pt x="68" y="330"/>
                  </a:lnTo>
                  <a:lnTo>
                    <a:pt x="83" y="340"/>
                  </a:lnTo>
                  <a:lnTo>
                    <a:pt x="98" y="350"/>
                  </a:lnTo>
                  <a:lnTo>
                    <a:pt x="114" y="357"/>
                  </a:lnTo>
                  <a:lnTo>
                    <a:pt x="131" y="364"/>
                  </a:lnTo>
                  <a:lnTo>
                    <a:pt x="149" y="368"/>
                  </a:lnTo>
                  <a:lnTo>
                    <a:pt x="168" y="371"/>
                  </a:lnTo>
                  <a:lnTo>
                    <a:pt x="187" y="372"/>
                  </a:lnTo>
                  <a:lnTo>
                    <a:pt x="205" y="371"/>
                  </a:lnTo>
                  <a:lnTo>
                    <a:pt x="223" y="368"/>
                  </a:lnTo>
                  <a:lnTo>
                    <a:pt x="242" y="364"/>
                  </a:lnTo>
                  <a:lnTo>
                    <a:pt x="259" y="357"/>
                  </a:lnTo>
                  <a:lnTo>
                    <a:pt x="275" y="350"/>
                  </a:lnTo>
                  <a:lnTo>
                    <a:pt x="290" y="340"/>
                  </a:lnTo>
                  <a:lnTo>
                    <a:pt x="305" y="330"/>
                  </a:lnTo>
                  <a:lnTo>
                    <a:pt x="318" y="318"/>
                  </a:lnTo>
                  <a:lnTo>
                    <a:pt x="329" y="305"/>
                  </a:lnTo>
                  <a:lnTo>
                    <a:pt x="340" y="290"/>
                  </a:lnTo>
                  <a:lnTo>
                    <a:pt x="350" y="275"/>
                  </a:lnTo>
                  <a:lnTo>
                    <a:pt x="357" y="259"/>
                  </a:lnTo>
                  <a:lnTo>
                    <a:pt x="364" y="242"/>
                  </a:lnTo>
                  <a:lnTo>
                    <a:pt x="368" y="223"/>
                  </a:lnTo>
                  <a:lnTo>
                    <a:pt x="371" y="205"/>
                  </a:lnTo>
                  <a:lnTo>
                    <a:pt x="372" y="187"/>
                  </a:lnTo>
                  <a:lnTo>
                    <a:pt x="371" y="168"/>
                  </a:lnTo>
                  <a:lnTo>
                    <a:pt x="368" y="149"/>
                  </a:lnTo>
                  <a:lnTo>
                    <a:pt x="364" y="131"/>
                  </a:lnTo>
                  <a:lnTo>
                    <a:pt x="357" y="114"/>
                  </a:lnTo>
                  <a:lnTo>
                    <a:pt x="350" y="98"/>
                  </a:lnTo>
                  <a:lnTo>
                    <a:pt x="340" y="83"/>
                  </a:lnTo>
                  <a:lnTo>
                    <a:pt x="329" y="69"/>
                  </a:lnTo>
                  <a:lnTo>
                    <a:pt x="318" y="55"/>
                  </a:lnTo>
                  <a:lnTo>
                    <a:pt x="305" y="43"/>
                  </a:lnTo>
                  <a:lnTo>
                    <a:pt x="290" y="33"/>
                  </a:lnTo>
                  <a:lnTo>
                    <a:pt x="275" y="23"/>
                  </a:lnTo>
                  <a:lnTo>
                    <a:pt x="259" y="15"/>
                  </a:lnTo>
                  <a:lnTo>
                    <a:pt x="242" y="9"/>
                  </a:lnTo>
                  <a:lnTo>
                    <a:pt x="223" y="5"/>
                  </a:lnTo>
                  <a:lnTo>
                    <a:pt x="205" y="1"/>
                  </a:lnTo>
                  <a:lnTo>
                    <a:pt x="1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Freeform 418">
              <a:extLst>
                <a:ext uri="{FF2B5EF4-FFF2-40B4-BE49-F238E27FC236}">
                  <a16:creationId xmlns:a16="http://schemas.microsoft.com/office/drawing/2014/main" id="{FC0F2518-BFDA-4042-BA38-62F5A0130F91}"/>
                </a:ext>
              </a:extLst>
            </p:cNvPr>
            <p:cNvSpPr>
              <a:spLocks noEditPoints="1"/>
            </p:cNvSpPr>
            <p:nvPr/>
          </p:nvSpPr>
          <p:spPr bwMode="auto">
            <a:xfrm>
              <a:off x="8286750" y="3662045"/>
              <a:ext cx="85725" cy="47625"/>
            </a:xfrm>
            <a:custGeom>
              <a:avLst/>
              <a:gdLst>
                <a:gd name="T0" fmla="*/ 241 w 271"/>
                <a:gd name="T1" fmla="*/ 120 h 151"/>
                <a:gd name="T2" fmla="*/ 30 w 271"/>
                <a:gd name="T3" fmla="*/ 120 h 151"/>
                <a:gd name="T4" fmla="*/ 30 w 271"/>
                <a:gd name="T5" fmla="*/ 30 h 151"/>
                <a:gd name="T6" fmla="*/ 241 w 271"/>
                <a:gd name="T7" fmla="*/ 30 h 151"/>
                <a:gd name="T8" fmla="*/ 241 w 271"/>
                <a:gd name="T9" fmla="*/ 120 h 151"/>
                <a:gd name="T10" fmla="*/ 256 w 271"/>
                <a:gd name="T11" fmla="*/ 0 h 151"/>
                <a:gd name="T12" fmla="*/ 15 w 271"/>
                <a:gd name="T13" fmla="*/ 0 h 151"/>
                <a:gd name="T14" fmla="*/ 13 w 271"/>
                <a:gd name="T15" fmla="*/ 1 h 151"/>
                <a:gd name="T16" fmla="*/ 10 w 271"/>
                <a:gd name="T17" fmla="*/ 1 h 151"/>
                <a:gd name="T18" fmla="*/ 7 w 271"/>
                <a:gd name="T19" fmla="*/ 3 h 151"/>
                <a:gd name="T20" fmla="*/ 4 w 271"/>
                <a:gd name="T21" fmla="*/ 4 h 151"/>
                <a:gd name="T22" fmla="*/ 3 w 271"/>
                <a:gd name="T23" fmla="*/ 7 h 151"/>
                <a:gd name="T24" fmla="*/ 1 w 271"/>
                <a:gd name="T25" fmla="*/ 9 h 151"/>
                <a:gd name="T26" fmla="*/ 1 w 271"/>
                <a:gd name="T27" fmla="*/ 13 h 151"/>
                <a:gd name="T28" fmla="*/ 0 w 271"/>
                <a:gd name="T29" fmla="*/ 15 h 151"/>
                <a:gd name="T30" fmla="*/ 0 w 271"/>
                <a:gd name="T31" fmla="*/ 136 h 151"/>
                <a:gd name="T32" fmla="*/ 1 w 271"/>
                <a:gd name="T33" fmla="*/ 138 h 151"/>
                <a:gd name="T34" fmla="*/ 1 w 271"/>
                <a:gd name="T35" fmla="*/ 141 h 151"/>
                <a:gd name="T36" fmla="*/ 3 w 271"/>
                <a:gd name="T37" fmla="*/ 143 h 151"/>
                <a:gd name="T38" fmla="*/ 4 w 271"/>
                <a:gd name="T39" fmla="*/ 146 h 151"/>
                <a:gd name="T40" fmla="*/ 7 w 271"/>
                <a:gd name="T41" fmla="*/ 148 h 151"/>
                <a:gd name="T42" fmla="*/ 10 w 271"/>
                <a:gd name="T43" fmla="*/ 149 h 151"/>
                <a:gd name="T44" fmla="*/ 13 w 271"/>
                <a:gd name="T45" fmla="*/ 150 h 151"/>
                <a:gd name="T46" fmla="*/ 15 w 271"/>
                <a:gd name="T47" fmla="*/ 151 h 151"/>
                <a:gd name="T48" fmla="*/ 256 w 271"/>
                <a:gd name="T49" fmla="*/ 151 h 151"/>
                <a:gd name="T50" fmla="*/ 259 w 271"/>
                <a:gd name="T51" fmla="*/ 150 h 151"/>
                <a:gd name="T52" fmla="*/ 262 w 271"/>
                <a:gd name="T53" fmla="*/ 149 h 151"/>
                <a:gd name="T54" fmla="*/ 265 w 271"/>
                <a:gd name="T55" fmla="*/ 148 h 151"/>
                <a:gd name="T56" fmla="*/ 267 w 271"/>
                <a:gd name="T57" fmla="*/ 146 h 151"/>
                <a:gd name="T58" fmla="*/ 268 w 271"/>
                <a:gd name="T59" fmla="*/ 143 h 151"/>
                <a:gd name="T60" fmla="*/ 270 w 271"/>
                <a:gd name="T61" fmla="*/ 141 h 151"/>
                <a:gd name="T62" fmla="*/ 270 w 271"/>
                <a:gd name="T63" fmla="*/ 138 h 151"/>
                <a:gd name="T64" fmla="*/ 271 w 271"/>
                <a:gd name="T65" fmla="*/ 136 h 151"/>
                <a:gd name="T66" fmla="*/ 271 w 271"/>
                <a:gd name="T67" fmla="*/ 15 h 151"/>
                <a:gd name="T68" fmla="*/ 270 w 271"/>
                <a:gd name="T69" fmla="*/ 13 h 151"/>
                <a:gd name="T70" fmla="*/ 270 w 271"/>
                <a:gd name="T71" fmla="*/ 9 h 151"/>
                <a:gd name="T72" fmla="*/ 268 w 271"/>
                <a:gd name="T73" fmla="*/ 7 h 151"/>
                <a:gd name="T74" fmla="*/ 267 w 271"/>
                <a:gd name="T75" fmla="*/ 4 h 151"/>
                <a:gd name="T76" fmla="*/ 265 w 271"/>
                <a:gd name="T77" fmla="*/ 3 h 151"/>
                <a:gd name="T78" fmla="*/ 262 w 271"/>
                <a:gd name="T79" fmla="*/ 1 h 151"/>
                <a:gd name="T80" fmla="*/ 259 w 271"/>
                <a:gd name="T81" fmla="*/ 1 h 151"/>
                <a:gd name="T82" fmla="*/ 256 w 271"/>
                <a:gd name="T8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1" h="151">
                  <a:moveTo>
                    <a:pt x="241" y="120"/>
                  </a:moveTo>
                  <a:lnTo>
                    <a:pt x="30" y="120"/>
                  </a:lnTo>
                  <a:lnTo>
                    <a:pt x="30" y="30"/>
                  </a:lnTo>
                  <a:lnTo>
                    <a:pt x="241" y="30"/>
                  </a:lnTo>
                  <a:lnTo>
                    <a:pt x="241" y="120"/>
                  </a:lnTo>
                  <a:close/>
                  <a:moveTo>
                    <a:pt x="256" y="0"/>
                  </a:moveTo>
                  <a:lnTo>
                    <a:pt x="15" y="0"/>
                  </a:lnTo>
                  <a:lnTo>
                    <a:pt x="13" y="1"/>
                  </a:lnTo>
                  <a:lnTo>
                    <a:pt x="10" y="1"/>
                  </a:lnTo>
                  <a:lnTo>
                    <a:pt x="7" y="3"/>
                  </a:lnTo>
                  <a:lnTo>
                    <a:pt x="4" y="4"/>
                  </a:lnTo>
                  <a:lnTo>
                    <a:pt x="3" y="7"/>
                  </a:lnTo>
                  <a:lnTo>
                    <a:pt x="1" y="9"/>
                  </a:lnTo>
                  <a:lnTo>
                    <a:pt x="1" y="13"/>
                  </a:lnTo>
                  <a:lnTo>
                    <a:pt x="0" y="15"/>
                  </a:lnTo>
                  <a:lnTo>
                    <a:pt x="0" y="136"/>
                  </a:lnTo>
                  <a:lnTo>
                    <a:pt x="1" y="138"/>
                  </a:lnTo>
                  <a:lnTo>
                    <a:pt x="1" y="141"/>
                  </a:lnTo>
                  <a:lnTo>
                    <a:pt x="3" y="143"/>
                  </a:lnTo>
                  <a:lnTo>
                    <a:pt x="4" y="146"/>
                  </a:lnTo>
                  <a:lnTo>
                    <a:pt x="7" y="148"/>
                  </a:lnTo>
                  <a:lnTo>
                    <a:pt x="10" y="149"/>
                  </a:lnTo>
                  <a:lnTo>
                    <a:pt x="13" y="150"/>
                  </a:lnTo>
                  <a:lnTo>
                    <a:pt x="15" y="151"/>
                  </a:lnTo>
                  <a:lnTo>
                    <a:pt x="256" y="151"/>
                  </a:lnTo>
                  <a:lnTo>
                    <a:pt x="259" y="150"/>
                  </a:lnTo>
                  <a:lnTo>
                    <a:pt x="262" y="149"/>
                  </a:lnTo>
                  <a:lnTo>
                    <a:pt x="265" y="148"/>
                  </a:lnTo>
                  <a:lnTo>
                    <a:pt x="267" y="146"/>
                  </a:lnTo>
                  <a:lnTo>
                    <a:pt x="268" y="143"/>
                  </a:lnTo>
                  <a:lnTo>
                    <a:pt x="270" y="141"/>
                  </a:lnTo>
                  <a:lnTo>
                    <a:pt x="270" y="138"/>
                  </a:lnTo>
                  <a:lnTo>
                    <a:pt x="271" y="136"/>
                  </a:lnTo>
                  <a:lnTo>
                    <a:pt x="271" y="15"/>
                  </a:lnTo>
                  <a:lnTo>
                    <a:pt x="270" y="13"/>
                  </a:lnTo>
                  <a:lnTo>
                    <a:pt x="270" y="9"/>
                  </a:lnTo>
                  <a:lnTo>
                    <a:pt x="268" y="7"/>
                  </a:lnTo>
                  <a:lnTo>
                    <a:pt x="267" y="4"/>
                  </a:lnTo>
                  <a:lnTo>
                    <a:pt x="265" y="3"/>
                  </a:lnTo>
                  <a:lnTo>
                    <a:pt x="262" y="1"/>
                  </a:lnTo>
                  <a:lnTo>
                    <a:pt x="25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88" name="Group 56">
            <a:extLst>
              <a:ext uri="{FF2B5EF4-FFF2-40B4-BE49-F238E27FC236}">
                <a16:creationId xmlns:a16="http://schemas.microsoft.com/office/drawing/2014/main" id="{CF7DA282-240A-4565-AB2B-0CF6D39C5618}"/>
              </a:ext>
            </a:extLst>
          </p:cNvPr>
          <p:cNvGrpSpPr>
            <a:grpSpLocks noChangeAspect="1"/>
          </p:cNvGrpSpPr>
          <p:nvPr/>
        </p:nvGrpSpPr>
        <p:grpSpPr>
          <a:xfrm>
            <a:off x="8338605" y="5956111"/>
            <a:ext cx="219342" cy="285619"/>
            <a:chOff x="906463" y="3081338"/>
            <a:chExt cx="220663" cy="287338"/>
          </a:xfrm>
          <a:solidFill>
            <a:schemeClr val="bg1"/>
          </a:solidFill>
          <a:effectLst/>
        </p:grpSpPr>
        <p:sp>
          <p:nvSpPr>
            <p:cNvPr id="1489" name="Freeform 314">
              <a:extLst>
                <a:ext uri="{FF2B5EF4-FFF2-40B4-BE49-F238E27FC236}">
                  <a16:creationId xmlns:a16="http://schemas.microsoft.com/office/drawing/2014/main" id="{797C0567-7F9A-4031-BB53-1A52E30C7D33}"/>
                </a:ext>
              </a:extLst>
            </p:cNvPr>
            <p:cNvSpPr>
              <a:spLocks noEditPoints="1"/>
            </p:cNvSpPr>
            <p:nvPr/>
          </p:nvSpPr>
          <p:spPr bwMode="auto">
            <a:xfrm>
              <a:off x="906463" y="3081338"/>
              <a:ext cx="220663" cy="287338"/>
            </a:xfrm>
            <a:custGeom>
              <a:avLst/>
              <a:gdLst>
                <a:gd name="T0" fmla="*/ 662 w 693"/>
                <a:gd name="T1" fmla="*/ 718 h 903"/>
                <a:gd name="T2" fmla="*/ 657 w 693"/>
                <a:gd name="T3" fmla="*/ 743 h 903"/>
                <a:gd name="T4" fmla="*/ 646 w 693"/>
                <a:gd name="T5" fmla="*/ 769 h 903"/>
                <a:gd name="T6" fmla="*/ 632 w 693"/>
                <a:gd name="T7" fmla="*/ 790 h 903"/>
                <a:gd name="T8" fmla="*/ 589 w 693"/>
                <a:gd name="T9" fmla="*/ 834 h 903"/>
                <a:gd name="T10" fmla="*/ 571 w 693"/>
                <a:gd name="T11" fmla="*/ 849 h 903"/>
                <a:gd name="T12" fmla="*/ 547 w 693"/>
                <a:gd name="T13" fmla="*/ 861 h 903"/>
                <a:gd name="T14" fmla="*/ 521 w 693"/>
                <a:gd name="T15" fmla="*/ 870 h 903"/>
                <a:gd name="T16" fmla="*/ 498 w 693"/>
                <a:gd name="T17" fmla="*/ 873 h 903"/>
                <a:gd name="T18" fmla="*/ 67 w 693"/>
                <a:gd name="T19" fmla="*/ 872 h 903"/>
                <a:gd name="T20" fmla="*/ 51 w 693"/>
                <a:gd name="T21" fmla="*/ 865 h 903"/>
                <a:gd name="T22" fmla="*/ 39 w 693"/>
                <a:gd name="T23" fmla="*/ 852 h 903"/>
                <a:gd name="T24" fmla="*/ 31 w 693"/>
                <a:gd name="T25" fmla="*/ 836 h 903"/>
                <a:gd name="T26" fmla="*/ 30 w 693"/>
                <a:gd name="T27" fmla="*/ 75 h 903"/>
                <a:gd name="T28" fmla="*/ 35 w 693"/>
                <a:gd name="T29" fmla="*/ 58 h 903"/>
                <a:gd name="T30" fmla="*/ 44 w 693"/>
                <a:gd name="T31" fmla="*/ 43 h 903"/>
                <a:gd name="T32" fmla="*/ 58 w 693"/>
                <a:gd name="T33" fmla="*/ 33 h 903"/>
                <a:gd name="T34" fmla="*/ 76 w 693"/>
                <a:gd name="T35" fmla="*/ 30 h 903"/>
                <a:gd name="T36" fmla="*/ 627 w 693"/>
                <a:gd name="T37" fmla="*/ 31 h 903"/>
                <a:gd name="T38" fmla="*/ 643 w 693"/>
                <a:gd name="T39" fmla="*/ 37 h 903"/>
                <a:gd name="T40" fmla="*/ 655 w 693"/>
                <a:gd name="T41" fmla="*/ 49 h 903"/>
                <a:gd name="T42" fmla="*/ 662 w 693"/>
                <a:gd name="T43" fmla="*/ 65 h 903"/>
                <a:gd name="T44" fmla="*/ 663 w 693"/>
                <a:gd name="T45" fmla="*/ 706 h 903"/>
                <a:gd name="T46" fmla="*/ 76 w 693"/>
                <a:gd name="T47" fmla="*/ 0 h 903"/>
                <a:gd name="T48" fmla="*/ 60 w 693"/>
                <a:gd name="T49" fmla="*/ 1 h 903"/>
                <a:gd name="T50" fmla="*/ 46 w 693"/>
                <a:gd name="T51" fmla="*/ 5 h 903"/>
                <a:gd name="T52" fmla="*/ 33 w 693"/>
                <a:gd name="T53" fmla="*/ 13 h 903"/>
                <a:gd name="T54" fmla="*/ 23 w 693"/>
                <a:gd name="T55" fmla="*/ 21 h 903"/>
                <a:gd name="T56" fmla="*/ 13 w 693"/>
                <a:gd name="T57" fmla="*/ 33 h 903"/>
                <a:gd name="T58" fmla="*/ 7 w 693"/>
                <a:gd name="T59" fmla="*/ 46 h 903"/>
                <a:gd name="T60" fmla="*/ 2 w 693"/>
                <a:gd name="T61" fmla="*/ 60 h 903"/>
                <a:gd name="T62" fmla="*/ 0 w 693"/>
                <a:gd name="T63" fmla="*/ 75 h 903"/>
                <a:gd name="T64" fmla="*/ 1 w 693"/>
                <a:gd name="T65" fmla="*/ 835 h 903"/>
                <a:gd name="T66" fmla="*/ 4 w 693"/>
                <a:gd name="T67" fmla="*/ 849 h 903"/>
                <a:gd name="T68" fmla="*/ 10 w 693"/>
                <a:gd name="T69" fmla="*/ 863 h 903"/>
                <a:gd name="T70" fmla="*/ 17 w 693"/>
                <a:gd name="T71" fmla="*/ 875 h 903"/>
                <a:gd name="T72" fmla="*/ 28 w 693"/>
                <a:gd name="T73" fmla="*/ 886 h 903"/>
                <a:gd name="T74" fmla="*/ 40 w 693"/>
                <a:gd name="T75" fmla="*/ 893 h 903"/>
                <a:gd name="T76" fmla="*/ 54 w 693"/>
                <a:gd name="T77" fmla="*/ 900 h 903"/>
                <a:gd name="T78" fmla="*/ 68 w 693"/>
                <a:gd name="T79" fmla="*/ 902 h 903"/>
                <a:gd name="T80" fmla="*/ 498 w 693"/>
                <a:gd name="T81" fmla="*/ 903 h 903"/>
                <a:gd name="T82" fmla="*/ 527 w 693"/>
                <a:gd name="T83" fmla="*/ 898 h 903"/>
                <a:gd name="T84" fmla="*/ 558 w 693"/>
                <a:gd name="T85" fmla="*/ 889 h 903"/>
                <a:gd name="T86" fmla="*/ 587 w 693"/>
                <a:gd name="T87" fmla="*/ 874 h 903"/>
                <a:gd name="T88" fmla="*/ 610 w 693"/>
                <a:gd name="T89" fmla="*/ 856 h 903"/>
                <a:gd name="T90" fmla="*/ 655 w 693"/>
                <a:gd name="T91" fmla="*/ 809 h 903"/>
                <a:gd name="T92" fmla="*/ 673 w 693"/>
                <a:gd name="T93" fmla="*/ 783 h 903"/>
                <a:gd name="T94" fmla="*/ 686 w 693"/>
                <a:gd name="T95" fmla="*/ 753 h 903"/>
                <a:gd name="T96" fmla="*/ 692 w 693"/>
                <a:gd name="T97" fmla="*/ 722 h 903"/>
                <a:gd name="T98" fmla="*/ 693 w 693"/>
                <a:gd name="T99" fmla="*/ 75 h 903"/>
                <a:gd name="T100" fmla="*/ 692 w 693"/>
                <a:gd name="T101" fmla="*/ 60 h 903"/>
                <a:gd name="T102" fmla="*/ 688 w 693"/>
                <a:gd name="T103" fmla="*/ 46 h 903"/>
                <a:gd name="T104" fmla="*/ 680 w 693"/>
                <a:gd name="T105" fmla="*/ 33 h 903"/>
                <a:gd name="T106" fmla="*/ 670 w 693"/>
                <a:gd name="T107" fmla="*/ 21 h 903"/>
                <a:gd name="T108" fmla="*/ 660 w 693"/>
                <a:gd name="T109" fmla="*/ 13 h 903"/>
                <a:gd name="T110" fmla="*/ 647 w 693"/>
                <a:gd name="T111" fmla="*/ 5 h 903"/>
                <a:gd name="T112" fmla="*/ 633 w 693"/>
                <a:gd name="T113" fmla="*/ 1 h 903"/>
                <a:gd name="T114" fmla="*/ 618 w 693"/>
                <a:gd name="T115"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3" h="903">
                  <a:moveTo>
                    <a:pt x="663" y="706"/>
                  </a:moveTo>
                  <a:lnTo>
                    <a:pt x="662" y="718"/>
                  </a:lnTo>
                  <a:lnTo>
                    <a:pt x="660" y="731"/>
                  </a:lnTo>
                  <a:lnTo>
                    <a:pt x="657" y="743"/>
                  </a:lnTo>
                  <a:lnTo>
                    <a:pt x="651" y="756"/>
                  </a:lnTo>
                  <a:lnTo>
                    <a:pt x="646" y="769"/>
                  </a:lnTo>
                  <a:lnTo>
                    <a:pt x="639" y="781"/>
                  </a:lnTo>
                  <a:lnTo>
                    <a:pt x="632" y="790"/>
                  </a:lnTo>
                  <a:lnTo>
                    <a:pt x="624" y="799"/>
                  </a:lnTo>
                  <a:lnTo>
                    <a:pt x="589" y="834"/>
                  </a:lnTo>
                  <a:lnTo>
                    <a:pt x="580" y="842"/>
                  </a:lnTo>
                  <a:lnTo>
                    <a:pt x="571" y="849"/>
                  </a:lnTo>
                  <a:lnTo>
                    <a:pt x="559" y="856"/>
                  </a:lnTo>
                  <a:lnTo>
                    <a:pt x="547" y="861"/>
                  </a:lnTo>
                  <a:lnTo>
                    <a:pt x="534" y="866"/>
                  </a:lnTo>
                  <a:lnTo>
                    <a:pt x="521" y="870"/>
                  </a:lnTo>
                  <a:lnTo>
                    <a:pt x="509" y="872"/>
                  </a:lnTo>
                  <a:lnTo>
                    <a:pt x="498" y="873"/>
                  </a:lnTo>
                  <a:lnTo>
                    <a:pt x="76" y="873"/>
                  </a:lnTo>
                  <a:lnTo>
                    <a:pt x="67" y="872"/>
                  </a:lnTo>
                  <a:lnTo>
                    <a:pt x="58" y="868"/>
                  </a:lnTo>
                  <a:lnTo>
                    <a:pt x="51" y="865"/>
                  </a:lnTo>
                  <a:lnTo>
                    <a:pt x="44" y="859"/>
                  </a:lnTo>
                  <a:lnTo>
                    <a:pt x="39" y="852"/>
                  </a:lnTo>
                  <a:lnTo>
                    <a:pt x="35" y="845"/>
                  </a:lnTo>
                  <a:lnTo>
                    <a:pt x="31" y="836"/>
                  </a:lnTo>
                  <a:lnTo>
                    <a:pt x="30" y="828"/>
                  </a:lnTo>
                  <a:lnTo>
                    <a:pt x="30" y="75"/>
                  </a:lnTo>
                  <a:lnTo>
                    <a:pt x="31" y="65"/>
                  </a:lnTo>
                  <a:lnTo>
                    <a:pt x="35" y="58"/>
                  </a:lnTo>
                  <a:lnTo>
                    <a:pt x="39" y="49"/>
                  </a:lnTo>
                  <a:lnTo>
                    <a:pt x="44" y="43"/>
                  </a:lnTo>
                  <a:lnTo>
                    <a:pt x="51" y="37"/>
                  </a:lnTo>
                  <a:lnTo>
                    <a:pt x="58" y="33"/>
                  </a:lnTo>
                  <a:lnTo>
                    <a:pt x="67" y="31"/>
                  </a:lnTo>
                  <a:lnTo>
                    <a:pt x="76" y="30"/>
                  </a:lnTo>
                  <a:lnTo>
                    <a:pt x="618" y="30"/>
                  </a:lnTo>
                  <a:lnTo>
                    <a:pt x="627" y="31"/>
                  </a:lnTo>
                  <a:lnTo>
                    <a:pt x="635" y="33"/>
                  </a:lnTo>
                  <a:lnTo>
                    <a:pt x="643" y="37"/>
                  </a:lnTo>
                  <a:lnTo>
                    <a:pt x="650" y="43"/>
                  </a:lnTo>
                  <a:lnTo>
                    <a:pt x="655" y="49"/>
                  </a:lnTo>
                  <a:lnTo>
                    <a:pt x="660" y="58"/>
                  </a:lnTo>
                  <a:lnTo>
                    <a:pt x="662" y="65"/>
                  </a:lnTo>
                  <a:lnTo>
                    <a:pt x="663" y="75"/>
                  </a:lnTo>
                  <a:lnTo>
                    <a:pt x="663" y="706"/>
                  </a:lnTo>
                  <a:close/>
                  <a:moveTo>
                    <a:pt x="618" y="0"/>
                  </a:moveTo>
                  <a:lnTo>
                    <a:pt x="76" y="0"/>
                  </a:lnTo>
                  <a:lnTo>
                    <a:pt x="68" y="0"/>
                  </a:lnTo>
                  <a:lnTo>
                    <a:pt x="60" y="1"/>
                  </a:lnTo>
                  <a:lnTo>
                    <a:pt x="54" y="3"/>
                  </a:lnTo>
                  <a:lnTo>
                    <a:pt x="46" y="5"/>
                  </a:lnTo>
                  <a:lnTo>
                    <a:pt x="40" y="8"/>
                  </a:lnTo>
                  <a:lnTo>
                    <a:pt x="33" y="13"/>
                  </a:lnTo>
                  <a:lnTo>
                    <a:pt x="28" y="17"/>
                  </a:lnTo>
                  <a:lnTo>
                    <a:pt x="23" y="21"/>
                  </a:lnTo>
                  <a:lnTo>
                    <a:pt x="17" y="26"/>
                  </a:lnTo>
                  <a:lnTo>
                    <a:pt x="13" y="33"/>
                  </a:lnTo>
                  <a:lnTo>
                    <a:pt x="10" y="38"/>
                  </a:lnTo>
                  <a:lnTo>
                    <a:pt x="7" y="46"/>
                  </a:lnTo>
                  <a:lnTo>
                    <a:pt x="4" y="52"/>
                  </a:lnTo>
                  <a:lnTo>
                    <a:pt x="2" y="60"/>
                  </a:lnTo>
                  <a:lnTo>
                    <a:pt x="1" y="67"/>
                  </a:lnTo>
                  <a:lnTo>
                    <a:pt x="0" y="75"/>
                  </a:lnTo>
                  <a:lnTo>
                    <a:pt x="0" y="828"/>
                  </a:lnTo>
                  <a:lnTo>
                    <a:pt x="1" y="835"/>
                  </a:lnTo>
                  <a:lnTo>
                    <a:pt x="2" y="843"/>
                  </a:lnTo>
                  <a:lnTo>
                    <a:pt x="4" y="849"/>
                  </a:lnTo>
                  <a:lnTo>
                    <a:pt x="7" y="857"/>
                  </a:lnTo>
                  <a:lnTo>
                    <a:pt x="10" y="863"/>
                  </a:lnTo>
                  <a:lnTo>
                    <a:pt x="13" y="870"/>
                  </a:lnTo>
                  <a:lnTo>
                    <a:pt x="17" y="875"/>
                  </a:lnTo>
                  <a:lnTo>
                    <a:pt x="23" y="880"/>
                  </a:lnTo>
                  <a:lnTo>
                    <a:pt x="28" y="886"/>
                  </a:lnTo>
                  <a:lnTo>
                    <a:pt x="33" y="890"/>
                  </a:lnTo>
                  <a:lnTo>
                    <a:pt x="40" y="893"/>
                  </a:lnTo>
                  <a:lnTo>
                    <a:pt x="46" y="896"/>
                  </a:lnTo>
                  <a:lnTo>
                    <a:pt x="54" y="900"/>
                  </a:lnTo>
                  <a:lnTo>
                    <a:pt x="60" y="901"/>
                  </a:lnTo>
                  <a:lnTo>
                    <a:pt x="68" y="902"/>
                  </a:lnTo>
                  <a:lnTo>
                    <a:pt x="76" y="903"/>
                  </a:lnTo>
                  <a:lnTo>
                    <a:pt x="498" y="903"/>
                  </a:lnTo>
                  <a:lnTo>
                    <a:pt x="512" y="902"/>
                  </a:lnTo>
                  <a:lnTo>
                    <a:pt x="527" y="898"/>
                  </a:lnTo>
                  <a:lnTo>
                    <a:pt x="543" y="894"/>
                  </a:lnTo>
                  <a:lnTo>
                    <a:pt x="558" y="889"/>
                  </a:lnTo>
                  <a:lnTo>
                    <a:pt x="573" y="882"/>
                  </a:lnTo>
                  <a:lnTo>
                    <a:pt x="587" y="874"/>
                  </a:lnTo>
                  <a:lnTo>
                    <a:pt x="600" y="865"/>
                  </a:lnTo>
                  <a:lnTo>
                    <a:pt x="610" y="856"/>
                  </a:lnTo>
                  <a:lnTo>
                    <a:pt x="646" y="820"/>
                  </a:lnTo>
                  <a:lnTo>
                    <a:pt x="655" y="809"/>
                  </a:lnTo>
                  <a:lnTo>
                    <a:pt x="664" y="797"/>
                  </a:lnTo>
                  <a:lnTo>
                    <a:pt x="673" y="783"/>
                  </a:lnTo>
                  <a:lnTo>
                    <a:pt x="679" y="768"/>
                  </a:lnTo>
                  <a:lnTo>
                    <a:pt x="686" y="753"/>
                  </a:lnTo>
                  <a:lnTo>
                    <a:pt x="690" y="737"/>
                  </a:lnTo>
                  <a:lnTo>
                    <a:pt x="692" y="722"/>
                  </a:lnTo>
                  <a:lnTo>
                    <a:pt x="693" y="706"/>
                  </a:lnTo>
                  <a:lnTo>
                    <a:pt x="693" y="75"/>
                  </a:lnTo>
                  <a:lnTo>
                    <a:pt x="693" y="67"/>
                  </a:lnTo>
                  <a:lnTo>
                    <a:pt x="692" y="60"/>
                  </a:lnTo>
                  <a:lnTo>
                    <a:pt x="690" y="52"/>
                  </a:lnTo>
                  <a:lnTo>
                    <a:pt x="688" y="46"/>
                  </a:lnTo>
                  <a:lnTo>
                    <a:pt x="684" y="38"/>
                  </a:lnTo>
                  <a:lnTo>
                    <a:pt x="680" y="33"/>
                  </a:lnTo>
                  <a:lnTo>
                    <a:pt x="676" y="26"/>
                  </a:lnTo>
                  <a:lnTo>
                    <a:pt x="670" y="21"/>
                  </a:lnTo>
                  <a:lnTo>
                    <a:pt x="665" y="17"/>
                  </a:lnTo>
                  <a:lnTo>
                    <a:pt x="660" y="13"/>
                  </a:lnTo>
                  <a:lnTo>
                    <a:pt x="653" y="8"/>
                  </a:lnTo>
                  <a:lnTo>
                    <a:pt x="647" y="5"/>
                  </a:lnTo>
                  <a:lnTo>
                    <a:pt x="640" y="3"/>
                  </a:lnTo>
                  <a:lnTo>
                    <a:pt x="633" y="1"/>
                  </a:lnTo>
                  <a:lnTo>
                    <a:pt x="625" y="0"/>
                  </a:lnTo>
                  <a:lnTo>
                    <a:pt x="618" y="0"/>
                  </a:lnTo>
                  <a:lnTo>
                    <a:pt x="6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Freeform 315">
              <a:extLst>
                <a:ext uri="{FF2B5EF4-FFF2-40B4-BE49-F238E27FC236}">
                  <a16:creationId xmlns:a16="http://schemas.microsoft.com/office/drawing/2014/main" id="{BCEB95F0-D153-4B84-806D-9BC4755A7985}"/>
                </a:ext>
              </a:extLst>
            </p:cNvPr>
            <p:cNvSpPr>
              <a:spLocks noEditPoints="1"/>
            </p:cNvSpPr>
            <p:nvPr/>
          </p:nvSpPr>
          <p:spPr bwMode="auto">
            <a:xfrm>
              <a:off x="935038" y="3109913"/>
              <a:ext cx="163513" cy="123825"/>
            </a:xfrm>
            <a:custGeom>
              <a:avLst/>
              <a:gdLst>
                <a:gd name="T0" fmla="*/ 481 w 512"/>
                <a:gd name="T1" fmla="*/ 349 h 391"/>
                <a:gd name="T2" fmla="*/ 479 w 512"/>
                <a:gd name="T3" fmla="*/ 355 h 391"/>
                <a:gd name="T4" fmla="*/ 475 w 512"/>
                <a:gd name="T5" fmla="*/ 358 h 391"/>
                <a:gd name="T6" fmla="*/ 470 w 512"/>
                <a:gd name="T7" fmla="*/ 361 h 391"/>
                <a:gd name="T8" fmla="*/ 45 w 512"/>
                <a:gd name="T9" fmla="*/ 361 h 391"/>
                <a:gd name="T10" fmla="*/ 39 w 512"/>
                <a:gd name="T11" fmla="*/ 360 h 391"/>
                <a:gd name="T12" fmla="*/ 35 w 512"/>
                <a:gd name="T13" fmla="*/ 357 h 391"/>
                <a:gd name="T14" fmla="*/ 31 w 512"/>
                <a:gd name="T15" fmla="*/ 352 h 391"/>
                <a:gd name="T16" fmla="*/ 30 w 512"/>
                <a:gd name="T17" fmla="*/ 346 h 391"/>
                <a:gd name="T18" fmla="*/ 30 w 512"/>
                <a:gd name="T19" fmla="*/ 42 h 391"/>
                <a:gd name="T20" fmla="*/ 33 w 512"/>
                <a:gd name="T21" fmla="*/ 36 h 391"/>
                <a:gd name="T22" fmla="*/ 37 w 512"/>
                <a:gd name="T23" fmla="*/ 32 h 391"/>
                <a:gd name="T24" fmla="*/ 42 w 512"/>
                <a:gd name="T25" fmla="*/ 30 h 391"/>
                <a:gd name="T26" fmla="*/ 467 w 512"/>
                <a:gd name="T27" fmla="*/ 30 h 391"/>
                <a:gd name="T28" fmla="*/ 472 w 512"/>
                <a:gd name="T29" fmla="*/ 31 h 391"/>
                <a:gd name="T30" fmla="*/ 478 w 512"/>
                <a:gd name="T31" fmla="*/ 34 h 391"/>
                <a:gd name="T32" fmla="*/ 481 w 512"/>
                <a:gd name="T33" fmla="*/ 39 h 391"/>
                <a:gd name="T34" fmla="*/ 482 w 512"/>
                <a:gd name="T35" fmla="*/ 45 h 391"/>
                <a:gd name="T36" fmla="*/ 467 w 512"/>
                <a:gd name="T37" fmla="*/ 0 h 391"/>
                <a:gd name="T38" fmla="*/ 36 w 512"/>
                <a:gd name="T39" fmla="*/ 1 h 391"/>
                <a:gd name="T40" fmla="*/ 20 w 512"/>
                <a:gd name="T41" fmla="*/ 7 h 391"/>
                <a:gd name="T42" fmla="*/ 8 w 512"/>
                <a:gd name="T43" fmla="*/ 20 h 391"/>
                <a:gd name="T44" fmla="*/ 0 w 512"/>
                <a:gd name="T45" fmla="*/ 36 h 391"/>
                <a:gd name="T46" fmla="*/ 0 w 512"/>
                <a:gd name="T47" fmla="*/ 346 h 391"/>
                <a:gd name="T48" fmla="*/ 4 w 512"/>
                <a:gd name="T49" fmla="*/ 363 h 391"/>
                <a:gd name="T50" fmla="*/ 13 w 512"/>
                <a:gd name="T51" fmla="*/ 378 h 391"/>
                <a:gd name="T52" fmla="*/ 27 w 512"/>
                <a:gd name="T53" fmla="*/ 388 h 391"/>
                <a:gd name="T54" fmla="*/ 45 w 512"/>
                <a:gd name="T55" fmla="*/ 391 h 391"/>
                <a:gd name="T56" fmla="*/ 475 w 512"/>
                <a:gd name="T57" fmla="*/ 390 h 391"/>
                <a:gd name="T58" fmla="*/ 492 w 512"/>
                <a:gd name="T59" fmla="*/ 384 h 391"/>
                <a:gd name="T60" fmla="*/ 504 w 512"/>
                <a:gd name="T61" fmla="*/ 371 h 391"/>
                <a:gd name="T62" fmla="*/ 511 w 512"/>
                <a:gd name="T63" fmla="*/ 355 h 391"/>
                <a:gd name="T64" fmla="*/ 512 w 512"/>
                <a:gd name="T65" fmla="*/ 45 h 391"/>
                <a:gd name="T66" fmla="*/ 509 w 512"/>
                <a:gd name="T67" fmla="*/ 28 h 391"/>
                <a:gd name="T68" fmla="*/ 498 w 512"/>
                <a:gd name="T69" fmla="*/ 13 h 391"/>
                <a:gd name="T70" fmla="*/ 484 w 512"/>
                <a:gd name="T71" fmla="*/ 3 h 391"/>
                <a:gd name="T72" fmla="*/ 467 w 512"/>
                <a:gd name="T7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391">
                  <a:moveTo>
                    <a:pt x="482" y="346"/>
                  </a:moveTo>
                  <a:lnTo>
                    <a:pt x="481" y="349"/>
                  </a:lnTo>
                  <a:lnTo>
                    <a:pt x="481" y="352"/>
                  </a:lnTo>
                  <a:lnTo>
                    <a:pt x="479" y="355"/>
                  </a:lnTo>
                  <a:lnTo>
                    <a:pt x="478" y="357"/>
                  </a:lnTo>
                  <a:lnTo>
                    <a:pt x="475" y="358"/>
                  </a:lnTo>
                  <a:lnTo>
                    <a:pt x="472" y="360"/>
                  </a:lnTo>
                  <a:lnTo>
                    <a:pt x="470" y="361"/>
                  </a:lnTo>
                  <a:lnTo>
                    <a:pt x="467" y="361"/>
                  </a:lnTo>
                  <a:lnTo>
                    <a:pt x="45" y="361"/>
                  </a:lnTo>
                  <a:lnTo>
                    <a:pt x="42" y="361"/>
                  </a:lnTo>
                  <a:lnTo>
                    <a:pt x="39" y="360"/>
                  </a:lnTo>
                  <a:lnTo>
                    <a:pt x="37" y="358"/>
                  </a:lnTo>
                  <a:lnTo>
                    <a:pt x="35" y="357"/>
                  </a:lnTo>
                  <a:lnTo>
                    <a:pt x="33" y="355"/>
                  </a:lnTo>
                  <a:lnTo>
                    <a:pt x="31" y="352"/>
                  </a:lnTo>
                  <a:lnTo>
                    <a:pt x="30" y="349"/>
                  </a:lnTo>
                  <a:lnTo>
                    <a:pt x="30" y="346"/>
                  </a:lnTo>
                  <a:lnTo>
                    <a:pt x="30" y="45"/>
                  </a:lnTo>
                  <a:lnTo>
                    <a:pt x="30" y="42"/>
                  </a:lnTo>
                  <a:lnTo>
                    <a:pt x="31" y="39"/>
                  </a:lnTo>
                  <a:lnTo>
                    <a:pt x="33" y="36"/>
                  </a:lnTo>
                  <a:lnTo>
                    <a:pt x="35" y="34"/>
                  </a:lnTo>
                  <a:lnTo>
                    <a:pt x="37" y="32"/>
                  </a:lnTo>
                  <a:lnTo>
                    <a:pt x="39" y="31"/>
                  </a:lnTo>
                  <a:lnTo>
                    <a:pt x="42" y="30"/>
                  </a:lnTo>
                  <a:lnTo>
                    <a:pt x="45" y="30"/>
                  </a:lnTo>
                  <a:lnTo>
                    <a:pt x="467" y="30"/>
                  </a:lnTo>
                  <a:lnTo>
                    <a:pt x="470" y="30"/>
                  </a:lnTo>
                  <a:lnTo>
                    <a:pt x="472" y="31"/>
                  </a:lnTo>
                  <a:lnTo>
                    <a:pt x="475" y="32"/>
                  </a:lnTo>
                  <a:lnTo>
                    <a:pt x="478" y="34"/>
                  </a:lnTo>
                  <a:lnTo>
                    <a:pt x="479" y="36"/>
                  </a:lnTo>
                  <a:lnTo>
                    <a:pt x="481" y="39"/>
                  </a:lnTo>
                  <a:lnTo>
                    <a:pt x="481" y="42"/>
                  </a:lnTo>
                  <a:lnTo>
                    <a:pt x="482" y="45"/>
                  </a:lnTo>
                  <a:lnTo>
                    <a:pt x="482" y="346"/>
                  </a:lnTo>
                  <a:close/>
                  <a:moveTo>
                    <a:pt x="467" y="0"/>
                  </a:moveTo>
                  <a:lnTo>
                    <a:pt x="45" y="0"/>
                  </a:lnTo>
                  <a:lnTo>
                    <a:pt x="36" y="1"/>
                  </a:lnTo>
                  <a:lnTo>
                    <a:pt x="27" y="3"/>
                  </a:lnTo>
                  <a:lnTo>
                    <a:pt x="20" y="7"/>
                  </a:lnTo>
                  <a:lnTo>
                    <a:pt x="13" y="13"/>
                  </a:lnTo>
                  <a:lnTo>
                    <a:pt x="8" y="20"/>
                  </a:lnTo>
                  <a:lnTo>
                    <a:pt x="4" y="28"/>
                  </a:lnTo>
                  <a:lnTo>
                    <a:pt x="0" y="36"/>
                  </a:lnTo>
                  <a:lnTo>
                    <a:pt x="0" y="45"/>
                  </a:lnTo>
                  <a:lnTo>
                    <a:pt x="0" y="346"/>
                  </a:lnTo>
                  <a:lnTo>
                    <a:pt x="0" y="355"/>
                  </a:lnTo>
                  <a:lnTo>
                    <a:pt x="4" y="363"/>
                  </a:lnTo>
                  <a:lnTo>
                    <a:pt x="8" y="371"/>
                  </a:lnTo>
                  <a:lnTo>
                    <a:pt x="13" y="378"/>
                  </a:lnTo>
                  <a:lnTo>
                    <a:pt x="20" y="384"/>
                  </a:lnTo>
                  <a:lnTo>
                    <a:pt x="27" y="388"/>
                  </a:lnTo>
                  <a:lnTo>
                    <a:pt x="36" y="390"/>
                  </a:lnTo>
                  <a:lnTo>
                    <a:pt x="45" y="391"/>
                  </a:lnTo>
                  <a:lnTo>
                    <a:pt x="467" y="391"/>
                  </a:lnTo>
                  <a:lnTo>
                    <a:pt x="475" y="390"/>
                  </a:lnTo>
                  <a:lnTo>
                    <a:pt x="484" y="388"/>
                  </a:lnTo>
                  <a:lnTo>
                    <a:pt x="492" y="384"/>
                  </a:lnTo>
                  <a:lnTo>
                    <a:pt x="498" y="378"/>
                  </a:lnTo>
                  <a:lnTo>
                    <a:pt x="504" y="371"/>
                  </a:lnTo>
                  <a:lnTo>
                    <a:pt x="509" y="363"/>
                  </a:lnTo>
                  <a:lnTo>
                    <a:pt x="511" y="355"/>
                  </a:lnTo>
                  <a:lnTo>
                    <a:pt x="512" y="346"/>
                  </a:lnTo>
                  <a:lnTo>
                    <a:pt x="512" y="45"/>
                  </a:lnTo>
                  <a:lnTo>
                    <a:pt x="511" y="36"/>
                  </a:lnTo>
                  <a:lnTo>
                    <a:pt x="509" y="28"/>
                  </a:lnTo>
                  <a:lnTo>
                    <a:pt x="504" y="19"/>
                  </a:lnTo>
                  <a:lnTo>
                    <a:pt x="498" y="13"/>
                  </a:lnTo>
                  <a:lnTo>
                    <a:pt x="492" y="7"/>
                  </a:lnTo>
                  <a:lnTo>
                    <a:pt x="484" y="3"/>
                  </a:lnTo>
                  <a:lnTo>
                    <a:pt x="475" y="1"/>
                  </a:lnTo>
                  <a:lnTo>
                    <a:pt x="467" y="0"/>
                  </a:lnTo>
                  <a:lnTo>
                    <a:pt x="4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316">
              <a:extLst>
                <a:ext uri="{FF2B5EF4-FFF2-40B4-BE49-F238E27FC236}">
                  <a16:creationId xmlns:a16="http://schemas.microsoft.com/office/drawing/2014/main" id="{88A3F858-1D3C-465E-ABFC-5FC6ED8A866E}"/>
                </a:ext>
              </a:extLst>
            </p:cNvPr>
            <p:cNvSpPr>
              <a:spLocks/>
            </p:cNvSpPr>
            <p:nvPr/>
          </p:nvSpPr>
          <p:spPr bwMode="auto">
            <a:xfrm>
              <a:off x="935038" y="3252788"/>
              <a:ext cx="47625" cy="47625"/>
            </a:xfrm>
            <a:custGeom>
              <a:avLst/>
              <a:gdLst>
                <a:gd name="T0" fmla="*/ 90 w 150"/>
                <a:gd name="T1" fmla="*/ 60 h 150"/>
                <a:gd name="T2" fmla="*/ 90 w 150"/>
                <a:gd name="T3" fmla="*/ 12 h 150"/>
                <a:gd name="T4" fmla="*/ 87 w 150"/>
                <a:gd name="T5" fmla="*/ 7 h 150"/>
                <a:gd name="T6" fmla="*/ 84 w 150"/>
                <a:gd name="T7" fmla="*/ 2 h 150"/>
                <a:gd name="T8" fmla="*/ 79 w 150"/>
                <a:gd name="T9" fmla="*/ 0 h 150"/>
                <a:gd name="T10" fmla="*/ 72 w 150"/>
                <a:gd name="T11" fmla="*/ 0 h 150"/>
                <a:gd name="T12" fmla="*/ 67 w 150"/>
                <a:gd name="T13" fmla="*/ 2 h 150"/>
                <a:gd name="T14" fmla="*/ 63 w 150"/>
                <a:gd name="T15" fmla="*/ 7 h 150"/>
                <a:gd name="T16" fmla="*/ 60 w 150"/>
                <a:gd name="T17" fmla="*/ 12 h 150"/>
                <a:gd name="T18" fmla="*/ 60 w 150"/>
                <a:gd name="T19" fmla="*/ 60 h 150"/>
                <a:gd name="T20" fmla="*/ 12 w 150"/>
                <a:gd name="T21" fmla="*/ 60 h 150"/>
                <a:gd name="T22" fmla="*/ 7 w 150"/>
                <a:gd name="T23" fmla="*/ 64 h 150"/>
                <a:gd name="T24" fmla="*/ 2 w 150"/>
                <a:gd name="T25" fmla="*/ 67 h 150"/>
                <a:gd name="T26" fmla="*/ 0 w 150"/>
                <a:gd name="T27" fmla="*/ 72 h 150"/>
                <a:gd name="T28" fmla="*/ 0 w 150"/>
                <a:gd name="T29" fmla="*/ 79 h 150"/>
                <a:gd name="T30" fmla="*/ 2 w 150"/>
                <a:gd name="T31" fmla="*/ 84 h 150"/>
                <a:gd name="T32" fmla="*/ 7 w 150"/>
                <a:gd name="T33" fmla="*/ 88 h 150"/>
                <a:gd name="T34" fmla="*/ 12 w 150"/>
                <a:gd name="T35" fmla="*/ 90 h 150"/>
                <a:gd name="T36" fmla="*/ 60 w 150"/>
                <a:gd name="T37" fmla="*/ 90 h 150"/>
                <a:gd name="T38" fmla="*/ 60 w 150"/>
                <a:gd name="T39" fmla="*/ 139 h 150"/>
                <a:gd name="T40" fmla="*/ 63 w 150"/>
                <a:gd name="T41" fmla="*/ 144 h 150"/>
                <a:gd name="T42" fmla="*/ 67 w 150"/>
                <a:gd name="T43" fmla="*/ 148 h 150"/>
                <a:gd name="T44" fmla="*/ 72 w 150"/>
                <a:gd name="T45" fmla="*/ 150 h 150"/>
                <a:gd name="T46" fmla="*/ 79 w 150"/>
                <a:gd name="T47" fmla="*/ 150 h 150"/>
                <a:gd name="T48" fmla="*/ 84 w 150"/>
                <a:gd name="T49" fmla="*/ 148 h 150"/>
                <a:gd name="T50" fmla="*/ 87 w 150"/>
                <a:gd name="T51" fmla="*/ 144 h 150"/>
                <a:gd name="T52" fmla="*/ 90 w 150"/>
                <a:gd name="T53" fmla="*/ 139 h 150"/>
                <a:gd name="T54" fmla="*/ 90 w 150"/>
                <a:gd name="T55" fmla="*/ 90 h 150"/>
                <a:gd name="T56" fmla="*/ 139 w 150"/>
                <a:gd name="T57" fmla="*/ 90 h 150"/>
                <a:gd name="T58" fmla="*/ 144 w 150"/>
                <a:gd name="T59" fmla="*/ 88 h 150"/>
                <a:gd name="T60" fmla="*/ 148 w 150"/>
                <a:gd name="T61" fmla="*/ 84 h 150"/>
                <a:gd name="T62" fmla="*/ 150 w 150"/>
                <a:gd name="T63" fmla="*/ 79 h 150"/>
                <a:gd name="T64" fmla="*/ 150 w 150"/>
                <a:gd name="T65" fmla="*/ 72 h 150"/>
                <a:gd name="T66" fmla="*/ 148 w 150"/>
                <a:gd name="T67" fmla="*/ 67 h 150"/>
                <a:gd name="T68" fmla="*/ 144 w 150"/>
                <a:gd name="T69" fmla="*/ 64 h 150"/>
                <a:gd name="T70" fmla="*/ 139 w 150"/>
                <a:gd name="T71" fmla="*/ 6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0">
                  <a:moveTo>
                    <a:pt x="135" y="60"/>
                  </a:moveTo>
                  <a:lnTo>
                    <a:pt x="90" y="60"/>
                  </a:lnTo>
                  <a:lnTo>
                    <a:pt x="90" y="15"/>
                  </a:lnTo>
                  <a:lnTo>
                    <a:pt x="90" y="12"/>
                  </a:lnTo>
                  <a:lnTo>
                    <a:pt x="89" y="10"/>
                  </a:lnTo>
                  <a:lnTo>
                    <a:pt x="87" y="7"/>
                  </a:lnTo>
                  <a:lnTo>
                    <a:pt x="86" y="5"/>
                  </a:lnTo>
                  <a:lnTo>
                    <a:pt x="84" y="2"/>
                  </a:lnTo>
                  <a:lnTo>
                    <a:pt x="81" y="1"/>
                  </a:lnTo>
                  <a:lnTo>
                    <a:pt x="79" y="0"/>
                  </a:lnTo>
                  <a:lnTo>
                    <a:pt x="75" y="0"/>
                  </a:lnTo>
                  <a:lnTo>
                    <a:pt x="72" y="0"/>
                  </a:lnTo>
                  <a:lnTo>
                    <a:pt x="69" y="1"/>
                  </a:lnTo>
                  <a:lnTo>
                    <a:pt x="67" y="2"/>
                  </a:lnTo>
                  <a:lnTo>
                    <a:pt x="65" y="5"/>
                  </a:lnTo>
                  <a:lnTo>
                    <a:pt x="63" y="7"/>
                  </a:lnTo>
                  <a:lnTo>
                    <a:pt x="61" y="10"/>
                  </a:lnTo>
                  <a:lnTo>
                    <a:pt x="60" y="12"/>
                  </a:lnTo>
                  <a:lnTo>
                    <a:pt x="60" y="15"/>
                  </a:lnTo>
                  <a:lnTo>
                    <a:pt x="60" y="60"/>
                  </a:lnTo>
                  <a:lnTo>
                    <a:pt x="15" y="60"/>
                  </a:lnTo>
                  <a:lnTo>
                    <a:pt x="12" y="60"/>
                  </a:lnTo>
                  <a:lnTo>
                    <a:pt x="9" y="61"/>
                  </a:lnTo>
                  <a:lnTo>
                    <a:pt x="7" y="64"/>
                  </a:lnTo>
                  <a:lnTo>
                    <a:pt x="5" y="65"/>
                  </a:lnTo>
                  <a:lnTo>
                    <a:pt x="2" y="67"/>
                  </a:lnTo>
                  <a:lnTo>
                    <a:pt x="1" y="70"/>
                  </a:lnTo>
                  <a:lnTo>
                    <a:pt x="0" y="72"/>
                  </a:lnTo>
                  <a:lnTo>
                    <a:pt x="0" y="75"/>
                  </a:lnTo>
                  <a:lnTo>
                    <a:pt x="0" y="79"/>
                  </a:lnTo>
                  <a:lnTo>
                    <a:pt x="1" y="82"/>
                  </a:lnTo>
                  <a:lnTo>
                    <a:pt x="2" y="84"/>
                  </a:lnTo>
                  <a:lnTo>
                    <a:pt x="5" y="86"/>
                  </a:lnTo>
                  <a:lnTo>
                    <a:pt x="7" y="88"/>
                  </a:lnTo>
                  <a:lnTo>
                    <a:pt x="9" y="89"/>
                  </a:lnTo>
                  <a:lnTo>
                    <a:pt x="12" y="90"/>
                  </a:lnTo>
                  <a:lnTo>
                    <a:pt x="15" y="90"/>
                  </a:lnTo>
                  <a:lnTo>
                    <a:pt x="60" y="90"/>
                  </a:lnTo>
                  <a:lnTo>
                    <a:pt x="60" y="135"/>
                  </a:lnTo>
                  <a:lnTo>
                    <a:pt x="60" y="139"/>
                  </a:lnTo>
                  <a:lnTo>
                    <a:pt x="61" y="142"/>
                  </a:lnTo>
                  <a:lnTo>
                    <a:pt x="63" y="144"/>
                  </a:lnTo>
                  <a:lnTo>
                    <a:pt x="65" y="146"/>
                  </a:lnTo>
                  <a:lnTo>
                    <a:pt x="67" y="148"/>
                  </a:lnTo>
                  <a:lnTo>
                    <a:pt x="69" y="149"/>
                  </a:lnTo>
                  <a:lnTo>
                    <a:pt x="72" y="150"/>
                  </a:lnTo>
                  <a:lnTo>
                    <a:pt x="75" y="150"/>
                  </a:lnTo>
                  <a:lnTo>
                    <a:pt x="79" y="150"/>
                  </a:lnTo>
                  <a:lnTo>
                    <a:pt x="81" y="149"/>
                  </a:lnTo>
                  <a:lnTo>
                    <a:pt x="84" y="148"/>
                  </a:lnTo>
                  <a:lnTo>
                    <a:pt x="86" y="146"/>
                  </a:lnTo>
                  <a:lnTo>
                    <a:pt x="87" y="144"/>
                  </a:lnTo>
                  <a:lnTo>
                    <a:pt x="89" y="142"/>
                  </a:lnTo>
                  <a:lnTo>
                    <a:pt x="90" y="139"/>
                  </a:lnTo>
                  <a:lnTo>
                    <a:pt x="90" y="135"/>
                  </a:lnTo>
                  <a:lnTo>
                    <a:pt x="90" y="90"/>
                  </a:lnTo>
                  <a:lnTo>
                    <a:pt x="135" y="90"/>
                  </a:lnTo>
                  <a:lnTo>
                    <a:pt x="139" y="90"/>
                  </a:lnTo>
                  <a:lnTo>
                    <a:pt x="141" y="89"/>
                  </a:lnTo>
                  <a:lnTo>
                    <a:pt x="144" y="88"/>
                  </a:lnTo>
                  <a:lnTo>
                    <a:pt x="146" y="86"/>
                  </a:lnTo>
                  <a:lnTo>
                    <a:pt x="148" y="84"/>
                  </a:lnTo>
                  <a:lnTo>
                    <a:pt x="149" y="82"/>
                  </a:lnTo>
                  <a:lnTo>
                    <a:pt x="150" y="79"/>
                  </a:lnTo>
                  <a:lnTo>
                    <a:pt x="150" y="75"/>
                  </a:lnTo>
                  <a:lnTo>
                    <a:pt x="150" y="72"/>
                  </a:lnTo>
                  <a:lnTo>
                    <a:pt x="149" y="70"/>
                  </a:lnTo>
                  <a:lnTo>
                    <a:pt x="148" y="67"/>
                  </a:lnTo>
                  <a:lnTo>
                    <a:pt x="146" y="65"/>
                  </a:lnTo>
                  <a:lnTo>
                    <a:pt x="144" y="64"/>
                  </a:lnTo>
                  <a:lnTo>
                    <a:pt x="141" y="61"/>
                  </a:lnTo>
                  <a:lnTo>
                    <a:pt x="139" y="60"/>
                  </a:lnTo>
                  <a:lnTo>
                    <a:pt x="13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317">
              <a:extLst>
                <a:ext uri="{FF2B5EF4-FFF2-40B4-BE49-F238E27FC236}">
                  <a16:creationId xmlns:a16="http://schemas.microsoft.com/office/drawing/2014/main" id="{CA521E1A-893F-47A0-9190-2ED9E3B85B69}"/>
                </a:ext>
              </a:extLst>
            </p:cNvPr>
            <p:cNvSpPr>
              <a:spLocks/>
            </p:cNvSpPr>
            <p:nvPr/>
          </p:nvSpPr>
          <p:spPr bwMode="auto">
            <a:xfrm>
              <a:off x="1017588" y="3321050"/>
              <a:ext cx="28575" cy="19050"/>
            </a:xfrm>
            <a:custGeom>
              <a:avLst/>
              <a:gdLst>
                <a:gd name="T0" fmla="*/ 68 w 90"/>
                <a:gd name="T1" fmla="*/ 1 h 60"/>
                <a:gd name="T2" fmla="*/ 8 w 90"/>
                <a:gd name="T3" fmla="*/ 31 h 60"/>
                <a:gd name="T4" fmla="*/ 6 w 90"/>
                <a:gd name="T5" fmla="*/ 32 h 60"/>
                <a:gd name="T6" fmla="*/ 4 w 90"/>
                <a:gd name="T7" fmla="*/ 34 h 60"/>
                <a:gd name="T8" fmla="*/ 2 w 90"/>
                <a:gd name="T9" fmla="*/ 37 h 60"/>
                <a:gd name="T10" fmla="*/ 1 w 90"/>
                <a:gd name="T11" fmla="*/ 39 h 60"/>
                <a:gd name="T12" fmla="*/ 0 w 90"/>
                <a:gd name="T13" fmla="*/ 43 h 60"/>
                <a:gd name="T14" fmla="*/ 0 w 90"/>
                <a:gd name="T15" fmla="*/ 45 h 60"/>
                <a:gd name="T16" fmla="*/ 1 w 90"/>
                <a:gd name="T17" fmla="*/ 48 h 60"/>
                <a:gd name="T18" fmla="*/ 2 w 90"/>
                <a:gd name="T19" fmla="*/ 51 h 60"/>
                <a:gd name="T20" fmla="*/ 4 w 90"/>
                <a:gd name="T21" fmla="*/ 54 h 60"/>
                <a:gd name="T22" fmla="*/ 7 w 90"/>
                <a:gd name="T23" fmla="*/ 58 h 60"/>
                <a:gd name="T24" fmla="*/ 10 w 90"/>
                <a:gd name="T25" fmla="*/ 59 h 60"/>
                <a:gd name="T26" fmla="*/ 15 w 90"/>
                <a:gd name="T27" fmla="*/ 60 h 60"/>
                <a:gd name="T28" fmla="*/ 18 w 90"/>
                <a:gd name="T29" fmla="*/ 59 h 60"/>
                <a:gd name="T30" fmla="*/ 22 w 90"/>
                <a:gd name="T31" fmla="*/ 58 h 60"/>
                <a:gd name="T32" fmla="*/ 82 w 90"/>
                <a:gd name="T33" fmla="*/ 28 h 60"/>
                <a:gd name="T34" fmla="*/ 84 w 90"/>
                <a:gd name="T35" fmla="*/ 25 h 60"/>
                <a:gd name="T36" fmla="*/ 86 w 90"/>
                <a:gd name="T37" fmla="*/ 24 h 60"/>
                <a:gd name="T38" fmla="*/ 89 w 90"/>
                <a:gd name="T39" fmla="*/ 21 h 60"/>
                <a:gd name="T40" fmla="*/ 90 w 90"/>
                <a:gd name="T41" fmla="*/ 19 h 60"/>
                <a:gd name="T42" fmla="*/ 90 w 90"/>
                <a:gd name="T43" fmla="*/ 16 h 60"/>
                <a:gd name="T44" fmla="*/ 90 w 90"/>
                <a:gd name="T45" fmla="*/ 14 h 60"/>
                <a:gd name="T46" fmla="*/ 90 w 90"/>
                <a:gd name="T47" fmla="*/ 10 h 60"/>
                <a:gd name="T48" fmla="*/ 89 w 90"/>
                <a:gd name="T49" fmla="*/ 7 h 60"/>
                <a:gd name="T50" fmla="*/ 86 w 90"/>
                <a:gd name="T51" fmla="*/ 5 h 60"/>
                <a:gd name="T52" fmla="*/ 85 w 90"/>
                <a:gd name="T53" fmla="*/ 3 h 60"/>
                <a:gd name="T54" fmla="*/ 82 w 90"/>
                <a:gd name="T55" fmla="*/ 1 h 60"/>
                <a:gd name="T56" fmla="*/ 80 w 90"/>
                <a:gd name="T57" fmla="*/ 0 h 60"/>
                <a:gd name="T58" fmla="*/ 77 w 90"/>
                <a:gd name="T59" fmla="*/ 0 h 60"/>
                <a:gd name="T60" fmla="*/ 75 w 90"/>
                <a:gd name="T61" fmla="*/ 0 h 60"/>
                <a:gd name="T62" fmla="*/ 71 w 90"/>
                <a:gd name="T63" fmla="*/ 0 h 60"/>
                <a:gd name="T64" fmla="*/ 68 w 90"/>
                <a:gd name="T65" fmla="*/ 1 h 60"/>
                <a:gd name="T66" fmla="*/ 68 w 90"/>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60">
                  <a:moveTo>
                    <a:pt x="68" y="1"/>
                  </a:moveTo>
                  <a:lnTo>
                    <a:pt x="8" y="31"/>
                  </a:lnTo>
                  <a:lnTo>
                    <a:pt x="6" y="32"/>
                  </a:lnTo>
                  <a:lnTo>
                    <a:pt x="4" y="34"/>
                  </a:lnTo>
                  <a:lnTo>
                    <a:pt x="2" y="37"/>
                  </a:lnTo>
                  <a:lnTo>
                    <a:pt x="1" y="39"/>
                  </a:lnTo>
                  <a:lnTo>
                    <a:pt x="0" y="43"/>
                  </a:lnTo>
                  <a:lnTo>
                    <a:pt x="0" y="45"/>
                  </a:lnTo>
                  <a:lnTo>
                    <a:pt x="1" y="48"/>
                  </a:lnTo>
                  <a:lnTo>
                    <a:pt x="2" y="51"/>
                  </a:lnTo>
                  <a:lnTo>
                    <a:pt x="4" y="54"/>
                  </a:lnTo>
                  <a:lnTo>
                    <a:pt x="7" y="58"/>
                  </a:lnTo>
                  <a:lnTo>
                    <a:pt x="10" y="59"/>
                  </a:lnTo>
                  <a:lnTo>
                    <a:pt x="15" y="60"/>
                  </a:lnTo>
                  <a:lnTo>
                    <a:pt x="18" y="59"/>
                  </a:lnTo>
                  <a:lnTo>
                    <a:pt x="22" y="58"/>
                  </a:lnTo>
                  <a:lnTo>
                    <a:pt x="82" y="28"/>
                  </a:lnTo>
                  <a:lnTo>
                    <a:pt x="84" y="25"/>
                  </a:lnTo>
                  <a:lnTo>
                    <a:pt x="86" y="24"/>
                  </a:lnTo>
                  <a:lnTo>
                    <a:pt x="89" y="21"/>
                  </a:lnTo>
                  <a:lnTo>
                    <a:pt x="90" y="19"/>
                  </a:lnTo>
                  <a:lnTo>
                    <a:pt x="90" y="16"/>
                  </a:lnTo>
                  <a:lnTo>
                    <a:pt x="90" y="14"/>
                  </a:lnTo>
                  <a:lnTo>
                    <a:pt x="90" y="10"/>
                  </a:lnTo>
                  <a:lnTo>
                    <a:pt x="89" y="7"/>
                  </a:lnTo>
                  <a:lnTo>
                    <a:pt x="86" y="5"/>
                  </a:lnTo>
                  <a:lnTo>
                    <a:pt x="85" y="3"/>
                  </a:lnTo>
                  <a:lnTo>
                    <a:pt x="82" y="1"/>
                  </a:lnTo>
                  <a:lnTo>
                    <a:pt x="80" y="0"/>
                  </a:lnTo>
                  <a:lnTo>
                    <a:pt x="77" y="0"/>
                  </a:lnTo>
                  <a:lnTo>
                    <a:pt x="75" y="0"/>
                  </a:lnTo>
                  <a:lnTo>
                    <a:pt x="71" y="0"/>
                  </a:lnTo>
                  <a:lnTo>
                    <a:pt x="68" y="1"/>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318">
              <a:extLst>
                <a:ext uri="{FF2B5EF4-FFF2-40B4-BE49-F238E27FC236}">
                  <a16:creationId xmlns:a16="http://schemas.microsoft.com/office/drawing/2014/main" id="{8ABEDD46-B554-429A-B80F-3E4315AE1C36}"/>
                </a:ext>
              </a:extLst>
            </p:cNvPr>
            <p:cNvSpPr>
              <a:spLocks/>
            </p:cNvSpPr>
            <p:nvPr/>
          </p:nvSpPr>
          <p:spPr bwMode="auto">
            <a:xfrm>
              <a:off x="982663" y="3321050"/>
              <a:ext cx="30163" cy="19050"/>
            </a:xfrm>
            <a:custGeom>
              <a:avLst/>
              <a:gdLst>
                <a:gd name="T0" fmla="*/ 69 w 91"/>
                <a:gd name="T1" fmla="*/ 1 h 60"/>
                <a:gd name="T2" fmla="*/ 9 w 91"/>
                <a:gd name="T3" fmla="*/ 31 h 60"/>
                <a:gd name="T4" fmla="*/ 6 w 91"/>
                <a:gd name="T5" fmla="*/ 32 h 60"/>
                <a:gd name="T6" fmla="*/ 4 w 91"/>
                <a:gd name="T7" fmla="*/ 34 h 60"/>
                <a:gd name="T8" fmla="*/ 3 w 91"/>
                <a:gd name="T9" fmla="*/ 37 h 60"/>
                <a:gd name="T10" fmla="*/ 2 w 91"/>
                <a:gd name="T11" fmla="*/ 39 h 60"/>
                <a:gd name="T12" fmla="*/ 0 w 91"/>
                <a:gd name="T13" fmla="*/ 43 h 60"/>
                <a:gd name="T14" fmla="*/ 0 w 91"/>
                <a:gd name="T15" fmla="*/ 45 h 60"/>
                <a:gd name="T16" fmla="*/ 0 w 91"/>
                <a:gd name="T17" fmla="*/ 48 h 60"/>
                <a:gd name="T18" fmla="*/ 2 w 91"/>
                <a:gd name="T19" fmla="*/ 51 h 60"/>
                <a:gd name="T20" fmla="*/ 5 w 91"/>
                <a:gd name="T21" fmla="*/ 54 h 60"/>
                <a:gd name="T22" fmla="*/ 8 w 91"/>
                <a:gd name="T23" fmla="*/ 58 h 60"/>
                <a:gd name="T24" fmla="*/ 11 w 91"/>
                <a:gd name="T25" fmla="*/ 59 h 60"/>
                <a:gd name="T26" fmla="*/ 16 w 91"/>
                <a:gd name="T27" fmla="*/ 60 h 60"/>
                <a:gd name="T28" fmla="*/ 19 w 91"/>
                <a:gd name="T29" fmla="*/ 59 h 60"/>
                <a:gd name="T30" fmla="*/ 22 w 91"/>
                <a:gd name="T31" fmla="*/ 58 h 60"/>
                <a:gd name="T32" fmla="*/ 82 w 91"/>
                <a:gd name="T33" fmla="*/ 28 h 60"/>
                <a:gd name="T34" fmla="*/ 85 w 91"/>
                <a:gd name="T35" fmla="*/ 25 h 60"/>
                <a:gd name="T36" fmla="*/ 87 w 91"/>
                <a:gd name="T37" fmla="*/ 24 h 60"/>
                <a:gd name="T38" fmla="*/ 88 w 91"/>
                <a:gd name="T39" fmla="*/ 21 h 60"/>
                <a:gd name="T40" fmla="*/ 90 w 91"/>
                <a:gd name="T41" fmla="*/ 19 h 60"/>
                <a:gd name="T42" fmla="*/ 91 w 91"/>
                <a:gd name="T43" fmla="*/ 16 h 60"/>
                <a:gd name="T44" fmla="*/ 91 w 91"/>
                <a:gd name="T45" fmla="*/ 14 h 60"/>
                <a:gd name="T46" fmla="*/ 91 w 91"/>
                <a:gd name="T47" fmla="*/ 10 h 60"/>
                <a:gd name="T48" fmla="*/ 90 w 91"/>
                <a:gd name="T49" fmla="*/ 7 h 60"/>
                <a:gd name="T50" fmla="*/ 87 w 91"/>
                <a:gd name="T51" fmla="*/ 5 h 60"/>
                <a:gd name="T52" fmla="*/ 85 w 91"/>
                <a:gd name="T53" fmla="*/ 3 h 60"/>
                <a:gd name="T54" fmla="*/ 83 w 91"/>
                <a:gd name="T55" fmla="*/ 1 h 60"/>
                <a:gd name="T56" fmla="*/ 81 w 91"/>
                <a:gd name="T57" fmla="*/ 0 h 60"/>
                <a:gd name="T58" fmla="*/ 78 w 91"/>
                <a:gd name="T59" fmla="*/ 0 h 60"/>
                <a:gd name="T60" fmla="*/ 74 w 91"/>
                <a:gd name="T61" fmla="*/ 0 h 60"/>
                <a:gd name="T62" fmla="*/ 72 w 91"/>
                <a:gd name="T63" fmla="*/ 0 h 60"/>
                <a:gd name="T64" fmla="*/ 69 w 91"/>
                <a:gd name="T65" fmla="*/ 1 h 60"/>
                <a:gd name="T66" fmla="*/ 69 w 91"/>
                <a:gd name="T6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60">
                  <a:moveTo>
                    <a:pt x="69" y="1"/>
                  </a:moveTo>
                  <a:lnTo>
                    <a:pt x="9" y="31"/>
                  </a:lnTo>
                  <a:lnTo>
                    <a:pt x="6" y="32"/>
                  </a:lnTo>
                  <a:lnTo>
                    <a:pt x="4" y="34"/>
                  </a:lnTo>
                  <a:lnTo>
                    <a:pt x="3" y="37"/>
                  </a:lnTo>
                  <a:lnTo>
                    <a:pt x="2" y="39"/>
                  </a:lnTo>
                  <a:lnTo>
                    <a:pt x="0" y="43"/>
                  </a:lnTo>
                  <a:lnTo>
                    <a:pt x="0" y="45"/>
                  </a:lnTo>
                  <a:lnTo>
                    <a:pt x="0" y="48"/>
                  </a:lnTo>
                  <a:lnTo>
                    <a:pt x="2" y="51"/>
                  </a:lnTo>
                  <a:lnTo>
                    <a:pt x="5" y="54"/>
                  </a:lnTo>
                  <a:lnTo>
                    <a:pt x="8" y="58"/>
                  </a:lnTo>
                  <a:lnTo>
                    <a:pt x="11" y="59"/>
                  </a:lnTo>
                  <a:lnTo>
                    <a:pt x="16" y="60"/>
                  </a:lnTo>
                  <a:lnTo>
                    <a:pt x="19" y="59"/>
                  </a:lnTo>
                  <a:lnTo>
                    <a:pt x="22" y="58"/>
                  </a:lnTo>
                  <a:lnTo>
                    <a:pt x="82" y="28"/>
                  </a:lnTo>
                  <a:lnTo>
                    <a:pt x="85" y="25"/>
                  </a:lnTo>
                  <a:lnTo>
                    <a:pt x="87" y="24"/>
                  </a:lnTo>
                  <a:lnTo>
                    <a:pt x="88" y="21"/>
                  </a:lnTo>
                  <a:lnTo>
                    <a:pt x="90" y="19"/>
                  </a:lnTo>
                  <a:lnTo>
                    <a:pt x="91" y="16"/>
                  </a:lnTo>
                  <a:lnTo>
                    <a:pt x="91" y="14"/>
                  </a:lnTo>
                  <a:lnTo>
                    <a:pt x="91" y="10"/>
                  </a:lnTo>
                  <a:lnTo>
                    <a:pt x="90" y="7"/>
                  </a:lnTo>
                  <a:lnTo>
                    <a:pt x="87" y="5"/>
                  </a:lnTo>
                  <a:lnTo>
                    <a:pt x="85" y="3"/>
                  </a:lnTo>
                  <a:lnTo>
                    <a:pt x="83" y="1"/>
                  </a:lnTo>
                  <a:lnTo>
                    <a:pt x="81" y="0"/>
                  </a:lnTo>
                  <a:lnTo>
                    <a:pt x="78" y="0"/>
                  </a:lnTo>
                  <a:lnTo>
                    <a:pt x="74" y="0"/>
                  </a:lnTo>
                  <a:lnTo>
                    <a:pt x="72" y="0"/>
                  </a:lnTo>
                  <a:lnTo>
                    <a:pt x="69" y="1"/>
                  </a:lnTo>
                  <a:lnTo>
                    <a:pt x="6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319">
              <a:extLst>
                <a:ext uri="{FF2B5EF4-FFF2-40B4-BE49-F238E27FC236}">
                  <a16:creationId xmlns:a16="http://schemas.microsoft.com/office/drawing/2014/main" id="{9E5E56A5-67FF-4012-BE90-0268D0F30275}"/>
                </a:ext>
              </a:extLst>
            </p:cNvPr>
            <p:cNvSpPr>
              <a:spLocks noEditPoints="1"/>
            </p:cNvSpPr>
            <p:nvPr/>
          </p:nvSpPr>
          <p:spPr bwMode="auto">
            <a:xfrm>
              <a:off x="1031875" y="3267075"/>
              <a:ext cx="28575" cy="28575"/>
            </a:xfrm>
            <a:custGeom>
              <a:avLst/>
              <a:gdLst>
                <a:gd name="T0" fmla="*/ 43 w 91"/>
                <a:gd name="T1" fmla="*/ 60 h 90"/>
                <a:gd name="T2" fmla="*/ 37 w 91"/>
                <a:gd name="T3" fmla="*/ 58 h 90"/>
                <a:gd name="T4" fmla="*/ 33 w 91"/>
                <a:gd name="T5" fmla="*/ 54 h 90"/>
                <a:gd name="T6" fmla="*/ 31 w 91"/>
                <a:gd name="T7" fmla="*/ 49 h 90"/>
                <a:gd name="T8" fmla="*/ 31 w 91"/>
                <a:gd name="T9" fmla="*/ 42 h 90"/>
                <a:gd name="T10" fmla="*/ 33 w 91"/>
                <a:gd name="T11" fmla="*/ 37 h 90"/>
                <a:gd name="T12" fmla="*/ 37 w 91"/>
                <a:gd name="T13" fmla="*/ 34 h 90"/>
                <a:gd name="T14" fmla="*/ 43 w 91"/>
                <a:gd name="T15" fmla="*/ 30 h 90"/>
                <a:gd name="T16" fmla="*/ 48 w 91"/>
                <a:gd name="T17" fmla="*/ 30 h 90"/>
                <a:gd name="T18" fmla="*/ 53 w 91"/>
                <a:gd name="T19" fmla="*/ 34 h 90"/>
                <a:gd name="T20" fmla="*/ 58 w 91"/>
                <a:gd name="T21" fmla="*/ 37 h 90"/>
                <a:gd name="T22" fmla="*/ 60 w 91"/>
                <a:gd name="T23" fmla="*/ 42 h 90"/>
                <a:gd name="T24" fmla="*/ 60 w 91"/>
                <a:gd name="T25" fmla="*/ 49 h 90"/>
                <a:gd name="T26" fmla="*/ 58 w 91"/>
                <a:gd name="T27" fmla="*/ 54 h 90"/>
                <a:gd name="T28" fmla="*/ 53 w 91"/>
                <a:gd name="T29" fmla="*/ 58 h 90"/>
                <a:gd name="T30" fmla="*/ 48 w 91"/>
                <a:gd name="T31" fmla="*/ 60 h 90"/>
                <a:gd name="T32" fmla="*/ 45 w 91"/>
                <a:gd name="T33" fmla="*/ 60 h 90"/>
                <a:gd name="T34" fmla="*/ 36 w 91"/>
                <a:gd name="T35" fmla="*/ 1 h 90"/>
                <a:gd name="T36" fmla="*/ 20 w 91"/>
                <a:gd name="T37" fmla="*/ 8 h 90"/>
                <a:gd name="T38" fmla="*/ 8 w 91"/>
                <a:gd name="T39" fmla="*/ 21 h 90"/>
                <a:gd name="T40" fmla="*/ 1 w 91"/>
                <a:gd name="T41" fmla="*/ 37 h 90"/>
                <a:gd name="T42" fmla="*/ 1 w 91"/>
                <a:gd name="T43" fmla="*/ 55 h 90"/>
                <a:gd name="T44" fmla="*/ 8 w 91"/>
                <a:gd name="T45" fmla="*/ 71 h 90"/>
                <a:gd name="T46" fmla="*/ 20 w 91"/>
                <a:gd name="T47" fmla="*/ 83 h 90"/>
                <a:gd name="T48" fmla="*/ 36 w 91"/>
                <a:gd name="T49" fmla="*/ 89 h 90"/>
                <a:gd name="T50" fmla="*/ 54 w 91"/>
                <a:gd name="T51" fmla="*/ 89 h 90"/>
                <a:gd name="T52" fmla="*/ 70 w 91"/>
                <a:gd name="T53" fmla="*/ 83 h 90"/>
                <a:gd name="T54" fmla="*/ 82 w 91"/>
                <a:gd name="T55" fmla="*/ 71 h 90"/>
                <a:gd name="T56" fmla="*/ 90 w 91"/>
                <a:gd name="T57" fmla="*/ 55 h 90"/>
                <a:gd name="T58" fmla="*/ 90 w 91"/>
                <a:gd name="T59" fmla="*/ 37 h 90"/>
                <a:gd name="T60" fmla="*/ 82 w 91"/>
                <a:gd name="T61" fmla="*/ 21 h 90"/>
                <a:gd name="T62" fmla="*/ 70 w 91"/>
                <a:gd name="T63" fmla="*/ 8 h 90"/>
                <a:gd name="T64" fmla="*/ 54 w 91"/>
                <a:gd name="T65" fmla="*/ 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0">
                  <a:moveTo>
                    <a:pt x="45" y="60"/>
                  </a:moveTo>
                  <a:lnTo>
                    <a:pt x="43" y="60"/>
                  </a:lnTo>
                  <a:lnTo>
                    <a:pt x="39" y="59"/>
                  </a:lnTo>
                  <a:lnTo>
                    <a:pt x="37" y="58"/>
                  </a:lnTo>
                  <a:lnTo>
                    <a:pt x="35" y="56"/>
                  </a:lnTo>
                  <a:lnTo>
                    <a:pt x="33" y="54"/>
                  </a:lnTo>
                  <a:lnTo>
                    <a:pt x="32" y="52"/>
                  </a:lnTo>
                  <a:lnTo>
                    <a:pt x="31" y="49"/>
                  </a:lnTo>
                  <a:lnTo>
                    <a:pt x="30" y="45"/>
                  </a:lnTo>
                  <a:lnTo>
                    <a:pt x="31" y="42"/>
                  </a:lnTo>
                  <a:lnTo>
                    <a:pt x="32" y="40"/>
                  </a:lnTo>
                  <a:lnTo>
                    <a:pt x="33" y="37"/>
                  </a:lnTo>
                  <a:lnTo>
                    <a:pt x="35" y="35"/>
                  </a:lnTo>
                  <a:lnTo>
                    <a:pt x="37" y="34"/>
                  </a:lnTo>
                  <a:lnTo>
                    <a:pt x="39" y="31"/>
                  </a:lnTo>
                  <a:lnTo>
                    <a:pt x="43" y="30"/>
                  </a:lnTo>
                  <a:lnTo>
                    <a:pt x="45" y="30"/>
                  </a:lnTo>
                  <a:lnTo>
                    <a:pt x="48" y="30"/>
                  </a:lnTo>
                  <a:lnTo>
                    <a:pt x="51" y="31"/>
                  </a:lnTo>
                  <a:lnTo>
                    <a:pt x="53" y="34"/>
                  </a:lnTo>
                  <a:lnTo>
                    <a:pt x="55" y="35"/>
                  </a:lnTo>
                  <a:lnTo>
                    <a:pt x="58" y="37"/>
                  </a:lnTo>
                  <a:lnTo>
                    <a:pt x="59" y="40"/>
                  </a:lnTo>
                  <a:lnTo>
                    <a:pt x="60" y="42"/>
                  </a:lnTo>
                  <a:lnTo>
                    <a:pt x="60" y="45"/>
                  </a:lnTo>
                  <a:lnTo>
                    <a:pt x="60" y="49"/>
                  </a:lnTo>
                  <a:lnTo>
                    <a:pt x="59" y="52"/>
                  </a:lnTo>
                  <a:lnTo>
                    <a:pt x="58" y="54"/>
                  </a:lnTo>
                  <a:lnTo>
                    <a:pt x="55" y="56"/>
                  </a:lnTo>
                  <a:lnTo>
                    <a:pt x="53" y="58"/>
                  </a:lnTo>
                  <a:lnTo>
                    <a:pt x="51" y="59"/>
                  </a:lnTo>
                  <a:lnTo>
                    <a:pt x="48" y="60"/>
                  </a:lnTo>
                  <a:lnTo>
                    <a:pt x="45" y="60"/>
                  </a:lnTo>
                  <a:lnTo>
                    <a:pt x="45" y="60"/>
                  </a:lnTo>
                  <a:close/>
                  <a:moveTo>
                    <a:pt x="45" y="0"/>
                  </a:moveTo>
                  <a:lnTo>
                    <a:pt x="36" y="1"/>
                  </a:lnTo>
                  <a:lnTo>
                    <a:pt x="28" y="4"/>
                  </a:lnTo>
                  <a:lnTo>
                    <a:pt x="20" y="8"/>
                  </a:lnTo>
                  <a:lnTo>
                    <a:pt x="14" y="13"/>
                  </a:lnTo>
                  <a:lnTo>
                    <a:pt x="8" y="21"/>
                  </a:lnTo>
                  <a:lnTo>
                    <a:pt x="4" y="28"/>
                  </a:lnTo>
                  <a:lnTo>
                    <a:pt x="1" y="37"/>
                  </a:lnTo>
                  <a:lnTo>
                    <a:pt x="0" y="45"/>
                  </a:lnTo>
                  <a:lnTo>
                    <a:pt x="1" y="55"/>
                  </a:lnTo>
                  <a:lnTo>
                    <a:pt x="4" y="64"/>
                  </a:lnTo>
                  <a:lnTo>
                    <a:pt x="8" y="71"/>
                  </a:lnTo>
                  <a:lnTo>
                    <a:pt x="14" y="78"/>
                  </a:lnTo>
                  <a:lnTo>
                    <a:pt x="20" y="83"/>
                  </a:lnTo>
                  <a:lnTo>
                    <a:pt x="28" y="87"/>
                  </a:lnTo>
                  <a:lnTo>
                    <a:pt x="36" y="89"/>
                  </a:lnTo>
                  <a:lnTo>
                    <a:pt x="45" y="90"/>
                  </a:lnTo>
                  <a:lnTo>
                    <a:pt x="54" y="89"/>
                  </a:lnTo>
                  <a:lnTo>
                    <a:pt x="63" y="87"/>
                  </a:lnTo>
                  <a:lnTo>
                    <a:pt x="70" y="83"/>
                  </a:lnTo>
                  <a:lnTo>
                    <a:pt x="77" y="78"/>
                  </a:lnTo>
                  <a:lnTo>
                    <a:pt x="82" y="71"/>
                  </a:lnTo>
                  <a:lnTo>
                    <a:pt x="87" y="64"/>
                  </a:lnTo>
                  <a:lnTo>
                    <a:pt x="90" y="55"/>
                  </a:lnTo>
                  <a:lnTo>
                    <a:pt x="91" y="45"/>
                  </a:lnTo>
                  <a:lnTo>
                    <a:pt x="90" y="37"/>
                  </a:lnTo>
                  <a:lnTo>
                    <a:pt x="87" y="28"/>
                  </a:lnTo>
                  <a:lnTo>
                    <a:pt x="82" y="21"/>
                  </a:lnTo>
                  <a:lnTo>
                    <a:pt x="77" y="13"/>
                  </a:lnTo>
                  <a:lnTo>
                    <a:pt x="70" y="8"/>
                  </a:lnTo>
                  <a:lnTo>
                    <a:pt x="63" y="4"/>
                  </a:lnTo>
                  <a:lnTo>
                    <a:pt x="54"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320">
              <a:extLst>
                <a:ext uri="{FF2B5EF4-FFF2-40B4-BE49-F238E27FC236}">
                  <a16:creationId xmlns:a16="http://schemas.microsoft.com/office/drawing/2014/main" id="{88B09562-DBA5-402D-8394-604B126AC164}"/>
                </a:ext>
              </a:extLst>
            </p:cNvPr>
            <p:cNvSpPr>
              <a:spLocks noEditPoints="1"/>
            </p:cNvSpPr>
            <p:nvPr/>
          </p:nvSpPr>
          <p:spPr bwMode="auto">
            <a:xfrm>
              <a:off x="1069975" y="3252788"/>
              <a:ext cx="28575" cy="28575"/>
            </a:xfrm>
            <a:custGeom>
              <a:avLst/>
              <a:gdLst>
                <a:gd name="T0" fmla="*/ 42 w 90"/>
                <a:gd name="T1" fmla="*/ 60 h 90"/>
                <a:gd name="T2" fmla="*/ 36 w 90"/>
                <a:gd name="T3" fmla="*/ 58 h 90"/>
                <a:gd name="T4" fmla="*/ 32 w 90"/>
                <a:gd name="T5" fmla="*/ 54 h 90"/>
                <a:gd name="T6" fmla="*/ 30 w 90"/>
                <a:gd name="T7" fmla="*/ 49 h 90"/>
                <a:gd name="T8" fmla="*/ 30 w 90"/>
                <a:gd name="T9" fmla="*/ 42 h 90"/>
                <a:gd name="T10" fmla="*/ 32 w 90"/>
                <a:gd name="T11" fmla="*/ 37 h 90"/>
                <a:gd name="T12" fmla="*/ 36 w 90"/>
                <a:gd name="T13" fmla="*/ 34 h 90"/>
                <a:gd name="T14" fmla="*/ 42 w 90"/>
                <a:gd name="T15" fmla="*/ 30 h 90"/>
                <a:gd name="T16" fmla="*/ 48 w 90"/>
                <a:gd name="T17" fmla="*/ 30 h 90"/>
                <a:gd name="T18" fmla="*/ 53 w 90"/>
                <a:gd name="T19" fmla="*/ 34 h 90"/>
                <a:gd name="T20" fmla="*/ 57 w 90"/>
                <a:gd name="T21" fmla="*/ 37 h 90"/>
                <a:gd name="T22" fmla="*/ 59 w 90"/>
                <a:gd name="T23" fmla="*/ 42 h 90"/>
                <a:gd name="T24" fmla="*/ 59 w 90"/>
                <a:gd name="T25" fmla="*/ 49 h 90"/>
                <a:gd name="T26" fmla="*/ 57 w 90"/>
                <a:gd name="T27" fmla="*/ 54 h 90"/>
                <a:gd name="T28" fmla="*/ 53 w 90"/>
                <a:gd name="T29" fmla="*/ 58 h 90"/>
                <a:gd name="T30" fmla="*/ 48 w 90"/>
                <a:gd name="T31" fmla="*/ 60 h 90"/>
                <a:gd name="T32" fmla="*/ 45 w 90"/>
                <a:gd name="T33" fmla="*/ 0 h 90"/>
                <a:gd name="T34" fmla="*/ 27 w 90"/>
                <a:gd name="T35" fmla="*/ 4 h 90"/>
                <a:gd name="T36" fmla="*/ 13 w 90"/>
                <a:gd name="T37" fmla="*/ 13 h 90"/>
                <a:gd name="T38" fmla="*/ 3 w 90"/>
                <a:gd name="T39" fmla="*/ 28 h 90"/>
                <a:gd name="T40" fmla="*/ 0 w 90"/>
                <a:gd name="T41" fmla="*/ 45 h 90"/>
                <a:gd name="T42" fmla="*/ 3 w 90"/>
                <a:gd name="T43" fmla="*/ 63 h 90"/>
                <a:gd name="T44" fmla="*/ 13 w 90"/>
                <a:gd name="T45" fmla="*/ 78 h 90"/>
                <a:gd name="T46" fmla="*/ 27 w 90"/>
                <a:gd name="T47" fmla="*/ 87 h 90"/>
                <a:gd name="T48" fmla="*/ 45 w 90"/>
                <a:gd name="T49" fmla="*/ 90 h 90"/>
                <a:gd name="T50" fmla="*/ 62 w 90"/>
                <a:gd name="T51" fmla="*/ 87 h 90"/>
                <a:gd name="T52" fmla="*/ 76 w 90"/>
                <a:gd name="T53" fmla="*/ 78 h 90"/>
                <a:gd name="T54" fmla="*/ 87 w 90"/>
                <a:gd name="T55" fmla="*/ 63 h 90"/>
                <a:gd name="T56" fmla="*/ 90 w 90"/>
                <a:gd name="T57" fmla="*/ 45 h 90"/>
                <a:gd name="T58" fmla="*/ 87 w 90"/>
                <a:gd name="T59" fmla="*/ 28 h 90"/>
                <a:gd name="T60" fmla="*/ 76 w 90"/>
                <a:gd name="T61" fmla="*/ 13 h 90"/>
                <a:gd name="T62" fmla="*/ 62 w 90"/>
                <a:gd name="T63" fmla="*/ 4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38" y="59"/>
                  </a:lnTo>
                  <a:lnTo>
                    <a:pt x="36" y="58"/>
                  </a:lnTo>
                  <a:lnTo>
                    <a:pt x="34" y="56"/>
                  </a:lnTo>
                  <a:lnTo>
                    <a:pt x="32" y="54"/>
                  </a:lnTo>
                  <a:lnTo>
                    <a:pt x="31" y="52"/>
                  </a:lnTo>
                  <a:lnTo>
                    <a:pt x="30" y="49"/>
                  </a:lnTo>
                  <a:lnTo>
                    <a:pt x="30" y="45"/>
                  </a:lnTo>
                  <a:lnTo>
                    <a:pt x="30" y="42"/>
                  </a:lnTo>
                  <a:lnTo>
                    <a:pt x="31" y="40"/>
                  </a:lnTo>
                  <a:lnTo>
                    <a:pt x="32" y="37"/>
                  </a:lnTo>
                  <a:lnTo>
                    <a:pt x="34" y="35"/>
                  </a:lnTo>
                  <a:lnTo>
                    <a:pt x="36" y="34"/>
                  </a:lnTo>
                  <a:lnTo>
                    <a:pt x="38" y="31"/>
                  </a:lnTo>
                  <a:lnTo>
                    <a:pt x="42" y="30"/>
                  </a:lnTo>
                  <a:lnTo>
                    <a:pt x="45" y="30"/>
                  </a:lnTo>
                  <a:lnTo>
                    <a:pt x="48" y="30"/>
                  </a:lnTo>
                  <a:lnTo>
                    <a:pt x="50" y="31"/>
                  </a:lnTo>
                  <a:lnTo>
                    <a:pt x="53" y="34"/>
                  </a:lnTo>
                  <a:lnTo>
                    <a:pt x="56" y="35"/>
                  </a:lnTo>
                  <a:lnTo>
                    <a:pt x="57" y="37"/>
                  </a:lnTo>
                  <a:lnTo>
                    <a:pt x="59" y="40"/>
                  </a:lnTo>
                  <a:lnTo>
                    <a:pt x="59" y="42"/>
                  </a:lnTo>
                  <a:lnTo>
                    <a:pt x="60" y="45"/>
                  </a:lnTo>
                  <a:lnTo>
                    <a:pt x="59" y="49"/>
                  </a:lnTo>
                  <a:lnTo>
                    <a:pt x="59" y="52"/>
                  </a:lnTo>
                  <a:lnTo>
                    <a:pt x="57" y="54"/>
                  </a:lnTo>
                  <a:lnTo>
                    <a:pt x="56" y="56"/>
                  </a:lnTo>
                  <a:lnTo>
                    <a:pt x="53" y="58"/>
                  </a:lnTo>
                  <a:lnTo>
                    <a:pt x="50" y="59"/>
                  </a:lnTo>
                  <a:lnTo>
                    <a:pt x="48" y="60"/>
                  </a:lnTo>
                  <a:lnTo>
                    <a:pt x="45" y="60"/>
                  </a:lnTo>
                  <a:close/>
                  <a:moveTo>
                    <a:pt x="45" y="0"/>
                  </a:moveTo>
                  <a:lnTo>
                    <a:pt x="35" y="1"/>
                  </a:lnTo>
                  <a:lnTo>
                    <a:pt x="27" y="4"/>
                  </a:lnTo>
                  <a:lnTo>
                    <a:pt x="19" y="8"/>
                  </a:lnTo>
                  <a:lnTo>
                    <a:pt x="13" y="13"/>
                  </a:lnTo>
                  <a:lnTo>
                    <a:pt x="7" y="21"/>
                  </a:lnTo>
                  <a:lnTo>
                    <a:pt x="3" y="28"/>
                  </a:lnTo>
                  <a:lnTo>
                    <a:pt x="0" y="37"/>
                  </a:lnTo>
                  <a:lnTo>
                    <a:pt x="0" y="45"/>
                  </a:lnTo>
                  <a:lnTo>
                    <a:pt x="0" y="55"/>
                  </a:lnTo>
                  <a:lnTo>
                    <a:pt x="3" y="63"/>
                  </a:lnTo>
                  <a:lnTo>
                    <a:pt x="7" y="71"/>
                  </a:lnTo>
                  <a:lnTo>
                    <a:pt x="13" y="78"/>
                  </a:lnTo>
                  <a:lnTo>
                    <a:pt x="19" y="83"/>
                  </a:lnTo>
                  <a:lnTo>
                    <a:pt x="27" y="87"/>
                  </a:lnTo>
                  <a:lnTo>
                    <a:pt x="35" y="89"/>
                  </a:lnTo>
                  <a:lnTo>
                    <a:pt x="45" y="90"/>
                  </a:lnTo>
                  <a:lnTo>
                    <a:pt x="53" y="89"/>
                  </a:lnTo>
                  <a:lnTo>
                    <a:pt x="62" y="87"/>
                  </a:lnTo>
                  <a:lnTo>
                    <a:pt x="70" y="83"/>
                  </a:lnTo>
                  <a:lnTo>
                    <a:pt x="76" y="78"/>
                  </a:lnTo>
                  <a:lnTo>
                    <a:pt x="82" y="71"/>
                  </a:lnTo>
                  <a:lnTo>
                    <a:pt x="87" y="63"/>
                  </a:lnTo>
                  <a:lnTo>
                    <a:pt x="89" y="55"/>
                  </a:lnTo>
                  <a:lnTo>
                    <a:pt x="90" y="45"/>
                  </a:lnTo>
                  <a:lnTo>
                    <a:pt x="89" y="37"/>
                  </a:lnTo>
                  <a:lnTo>
                    <a:pt x="87" y="28"/>
                  </a:lnTo>
                  <a:lnTo>
                    <a:pt x="82" y="21"/>
                  </a:lnTo>
                  <a:lnTo>
                    <a:pt x="76" y="13"/>
                  </a:lnTo>
                  <a:lnTo>
                    <a:pt x="70" y="8"/>
                  </a:lnTo>
                  <a:lnTo>
                    <a:pt x="62" y="4"/>
                  </a:lnTo>
                  <a:lnTo>
                    <a:pt x="53"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7" name="Freeform 44">
            <a:extLst>
              <a:ext uri="{FF2B5EF4-FFF2-40B4-BE49-F238E27FC236}">
                <a16:creationId xmlns:a16="http://schemas.microsoft.com/office/drawing/2014/main" id="{F86F9E57-7BE7-4884-9587-7C21CB59BBA9}"/>
              </a:ext>
            </a:extLst>
          </p:cNvPr>
          <p:cNvSpPr>
            <a:spLocks noChangeAspect="1" noEditPoints="1"/>
          </p:cNvSpPr>
          <p:nvPr/>
        </p:nvSpPr>
        <p:spPr bwMode="auto">
          <a:xfrm>
            <a:off x="4907779" y="5996914"/>
            <a:ext cx="285619" cy="204013"/>
          </a:xfrm>
          <a:custGeom>
            <a:avLst/>
            <a:gdLst>
              <a:gd name="T0" fmla="*/ 1705 w 2240"/>
              <a:gd name="T1" fmla="*/ 1158 h 1599"/>
              <a:gd name="T2" fmla="*/ 1680 w 2240"/>
              <a:gd name="T3" fmla="*/ 1195 h 1599"/>
              <a:gd name="T4" fmla="*/ 309 w 2240"/>
              <a:gd name="T5" fmla="*/ 516 h 1599"/>
              <a:gd name="T6" fmla="*/ 479 w 2240"/>
              <a:gd name="T7" fmla="*/ 629 h 1599"/>
              <a:gd name="T8" fmla="*/ 601 w 2240"/>
              <a:gd name="T9" fmla="*/ 637 h 1599"/>
              <a:gd name="T10" fmla="*/ 758 w 2240"/>
              <a:gd name="T11" fmla="*/ 571 h 1599"/>
              <a:gd name="T12" fmla="*/ 970 w 2240"/>
              <a:gd name="T13" fmla="*/ 399 h 1599"/>
              <a:gd name="T14" fmla="*/ 1104 w 2240"/>
              <a:gd name="T15" fmla="*/ 586 h 1599"/>
              <a:gd name="T16" fmla="*/ 1252 w 2240"/>
              <a:gd name="T17" fmla="*/ 638 h 1599"/>
              <a:gd name="T18" fmla="*/ 1373 w 2240"/>
              <a:gd name="T19" fmla="*/ 625 h 1599"/>
              <a:gd name="T20" fmla="*/ 1547 w 2240"/>
              <a:gd name="T21" fmla="*/ 494 h 1599"/>
              <a:gd name="T22" fmla="*/ 1683 w 2240"/>
              <a:gd name="T23" fmla="*/ 737 h 1599"/>
              <a:gd name="T24" fmla="*/ 1720 w 2240"/>
              <a:gd name="T25" fmla="*/ 762 h 1599"/>
              <a:gd name="T26" fmla="*/ 584 w 2240"/>
              <a:gd name="T27" fmla="*/ 80 h 1599"/>
              <a:gd name="T28" fmla="*/ 685 w 2240"/>
              <a:gd name="T29" fmla="*/ 114 h 1599"/>
              <a:gd name="T30" fmla="*/ 781 w 2240"/>
              <a:gd name="T31" fmla="*/ 226 h 1599"/>
              <a:gd name="T32" fmla="*/ 800 w 2240"/>
              <a:gd name="T33" fmla="*/ 331 h 1599"/>
              <a:gd name="T34" fmla="*/ 771 w 2240"/>
              <a:gd name="T35" fmla="*/ 433 h 1599"/>
              <a:gd name="T36" fmla="*/ 664 w 2240"/>
              <a:gd name="T37" fmla="*/ 536 h 1599"/>
              <a:gd name="T38" fmla="*/ 561 w 2240"/>
              <a:gd name="T39" fmla="*/ 559 h 1599"/>
              <a:gd name="T40" fmla="*/ 457 w 2240"/>
              <a:gd name="T41" fmla="*/ 536 h 1599"/>
              <a:gd name="T42" fmla="*/ 349 w 2240"/>
              <a:gd name="T43" fmla="*/ 433 h 1599"/>
              <a:gd name="T44" fmla="*/ 320 w 2240"/>
              <a:gd name="T45" fmla="*/ 331 h 1599"/>
              <a:gd name="T46" fmla="*/ 339 w 2240"/>
              <a:gd name="T47" fmla="*/ 226 h 1599"/>
              <a:gd name="T48" fmla="*/ 437 w 2240"/>
              <a:gd name="T49" fmla="*/ 114 h 1599"/>
              <a:gd name="T50" fmla="*/ 536 w 2240"/>
              <a:gd name="T51" fmla="*/ 80 h 1599"/>
              <a:gd name="T52" fmla="*/ 1351 w 2240"/>
              <a:gd name="T53" fmla="*/ 90 h 1599"/>
              <a:gd name="T54" fmla="*/ 1465 w 2240"/>
              <a:gd name="T55" fmla="*/ 167 h 1599"/>
              <a:gd name="T56" fmla="*/ 1515 w 2240"/>
              <a:gd name="T57" fmla="*/ 271 h 1599"/>
              <a:gd name="T58" fmla="*/ 1512 w 2240"/>
              <a:gd name="T59" fmla="*/ 379 h 1599"/>
              <a:gd name="T60" fmla="*/ 1449 w 2240"/>
              <a:gd name="T61" fmla="*/ 489 h 1599"/>
              <a:gd name="T62" fmla="*/ 1340 w 2240"/>
              <a:gd name="T63" fmla="*/ 552 h 1599"/>
              <a:gd name="T64" fmla="*/ 1232 w 2240"/>
              <a:gd name="T65" fmla="*/ 554 h 1599"/>
              <a:gd name="T66" fmla="*/ 1127 w 2240"/>
              <a:gd name="T67" fmla="*/ 505 h 1599"/>
              <a:gd name="T68" fmla="*/ 1051 w 2240"/>
              <a:gd name="T69" fmla="*/ 390 h 1599"/>
              <a:gd name="T70" fmla="*/ 1043 w 2240"/>
              <a:gd name="T71" fmla="*/ 283 h 1599"/>
              <a:gd name="T72" fmla="*/ 1081 w 2240"/>
              <a:gd name="T73" fmla="*/ 186 h 1599"/>
              <a:gd name="T74" fmla="*/ 1198 w 2240"/>
              <a:gd name="T75" fmla="*/ 94 h 1599"/>
              <a:gd name="T76" fmla="*/ 2215 w 2240"/>
              <a:gd name="T77" fmla="*/ 400 h 1599"/>
              <a:gd name="T78" fmla="*/ 1759 w 2240"/>
              <a:gd name="T79" fmla="*/ 359 h 1599"/>
              <a:gd name="T80" fmla="*/ 1601 w 2240"/>
              <a:gd name="T81" fmla="*/ 319 h 1599"/>
              <a:gd name="T82" fmla="*/ 1568 w 2240"/>
              <a:gd name="T83" fmla="*/ 181 h 1599"/>
              <a:gd name="T84" fmla="*/ 1483 w 2240"/>
              <a:gd name="T85" fmla="*/ 72 h 1599"/>
              <a:gd name="T86" fmla="*/ 1360 w 2240"/>
              <a:gd name="T87" fmla="*/ 10 h 1599"/>
              <a:gd name="T88" fmla="*/ 1216 w 2240"/>
              <a:gd name="T89" fmla="*/ 5 h 1599"/>
              <a:gd name="T90" fmla="*/ 1089 w 2240"/>
              <a:gd name="T91" fmla="*/ 62 h 1599"/>
              <a:gd name="T92" fmla="*/ 998 w 2240"/>
              <a:gd name="T93" fmla="*/ 167 h 1599"/>
              <a:gd name="T94" fmla="*/ 960 w 2240"/>
              <a:gd name="T95" fmla="*/ 303 h 1599"/>
              <a:gd name="T96" fmla="*/ 861 w 2240"/>
              <a:gd name="T97" fmla="*/ 209 h 1599"/>
              <a:gd name="T98" fmla="*/ 787 w 2240"/>
              <a:gd name="T99" fmla="*/ 93 h 1599"/>
              <a:gd name="T100" fmla="*/ 671 w 2240"/>
              <a:gd name="T101" fmla="*/ 19 h 1599"/>
              <a:gd name="T102" fmla="*/ 527 w 2240"/>
              <a:gd name="T103" fmla="*/ 1 h 1599"/>
              <a:gd name="T104" fmla="*/ 394 w 2240"/>
              <a:gd name="T105" fmla="*/ 46 h 1599"/>
              <a:gd name="T106" fmla="*/ 296 w 2240"/>
              <a:gd name="T107" fmla="*/ 141 h 1599"/>
              <a:gd name="T108" fmla="*/ 244 w 2240"/>
              <a:gd name="T109" fmla="*/ 271 h 1599"/>
              <a:gd name="T110" fmla="*/ 7 w 2240"/>
              <a:gd name="T111" fmla="*/ 337 h 1599"/>
              <a:gd name="T112" fmla="*/ 18 w 2240"/>
              <a:gd name="T113" fmla="*/ 1593 h 1599"/>
              <a:gd name="T114" fmla="*/ 1753 w 2240"/>
              <a:gd name="T115" fmla="*/ 1581 h 1599"/>
              <a:gd name="T116" fmla="*/ 2199 w 2240"/>
              <a:gd name="T117" fmla="*/ 1518 h 1599"/>
              <a:gd name="T118" fmla="*/ 2236 w 2240"/>
              <a:gd name="T119" fmla="*/ 1493 h 1599"/>
              <a:gd name="T120" fmla="*/ 2232 w 2240"/>
              <a:gd name="T121" fmla="*/ 414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0" h="1599">
                <a:moveTo>
                  <a:pt x="2160" y="1408"/>
                </a:moveTo>
                <a:lnTo>
                  <a:pt x="1740" y="1161"/>
                </a:lnTo>
                <a:lnTo>
                  <a:pt x="1736" y="1158"/>
                </a:lnTo>
                <a:lnTo>
                  <a:pt x="1730" y="1156"/>
                </a:lnTo>
                <a:lnTo>
                  <a:pt x="1726" y="1155"/>
                </a:lnTo>
                <a:lnTo>
                  <a:pt x="1720" y="1155"/>
                </a:lnTo>
                <a:lnTo>
                  <a:pt x="1715" y="1155"/>
                </a:lnTo>
                <a:lnTo>
                  <a:pt x="1710" y="1156"/>
                </a:lnTo>
                <a:lnTo>
                  <a:pt x="1705" y="1158"/>
                </a:lnTo>
                <a:lnTo>
                  <a:pt x="1700" y="1161"/>
                </a:lnTo>
                <a:lnTo>
                  <a:pt x="1696" y="1163"/>
                </a:lnTo>
                <a:lnTo>
                  <a:pt x="1692" y="1166"/>
                </a:lnTo>
                <a:lnTo>
                  <a:pt x="1688" y="1171"/>
                </a:lnTo>
                <a:lnTo>
                  <a:pt x="1686" y="1175"/>
                </a:lnTo>
                <a:lnTo>
                  <a:pt x="1683" y="1180"/>
                </a:lnTo>
                <a:lnTo>
                  <a:pt x="1681" y="1184"/>
                </a:lnTo>
                <a:lnTo>
                  <a:pt x="1680" y="1190"/>
                </a:lnTo>
                <a:lnTo>
                  <a:pt x="1680" y="1195"/>
                </a:lnTo>
                <a:lnTo>
                  <a:pt x="1680" y="1519"/>
                </a:lnTo>
                <a:lnTo>
                  <a:pt x="81" y="1519"/>
                </a:lnTo>
                <a:lnTo>
                  <a:pt x="81" y="399"/>
                </a:lnTo>
                <a:lnTo>
                  <a:pt x="251" y="399"/>
                </a:lnTo>
                <a:lnTo>
                  <a:pt x="259" y="425"/>
                </a:lnTo>
                <a:lnTo>
                  <a:pt x="269" y="449"/>
                </a:lnTo>
                <a:lnTo>
                  <a:pt x="280" y="472"/>
                </a:lnTo>
                <a:lnTo>
                  <a:pt x="293" y="494"/>
                </a:lnTo>
                <a:lnTo>
                  <a:pt x="309" y="516"/>
                </a:lnTo>
                <a:lnTo>
                  <a:pt x="326" y="536"/>
                </a:lnTo>
                <a:lnTo>
                  <a:pt x="344" y="554"/>
                </a:lnTo>
                <a:lnTo>
                  <a:pt x="363" y="571"/>
                </a:lnTo>
                <a:lnTo>
                  <a:pt x="384" y="586"/>
                </a:lnTo>
                <a:lnTo>
                  <a:pt x="406" y="600"/>
                </a:lnTo>
                <a:lnTo>
                  <a:pt x="430" y="611"/>
                </a:lnTo>
                <a:lnTo>
                  <a:pt x="455" y="621"/>
                </a:lnTo>
                <a:lnTo>
                  <a:pt x="467" y="625"/>
                </a:lnTo>
                <a:lnTo>
                  <a:pt x="479" y="629"/>
                </a:lnTo>
                <a:lnTo>
                  <a:pt x="493" y="632"/>
                </a:lnTo>
                <a:lnTo>
                  <a:pt x="506" y="634"/>
                </a:lnTo>
                <a:lnTo>
                  <a:pt x="519" y="637"/>
                </a:lnTo>
                <a:lnTo>
                  <a:pt x="533" y="638"/>
                </a:lnTo>
                <a:lnTo>
                  <a:pt x="546" y="639"/>
                </a:lnTo>
                <a:lnTo>
                  <a:pt x="561" y="639"/>
                </a:lnTo>
                <a:lnTo>
                  <a:pt x="574" y="639"/>
                </a:lnTo>
                <a:lnTo>
                  <a:pt x="588" y="638"/>
                </a:lnTo>
                <a:lnTo>
                  <a:pt x="601" y="637"/>
                </a:lnTo>
                <a:lnTo>
                  <a:pt x="615" y="634"/>
                </a:lnTo>
                <a:lnTo>
                  <a:pt x="628" y="632"/>
                </a:lnTo>
                <a:lnTo>
                  <a:pt x="641" y="629"/>
                </a:lnTo>
                <a:lnTo>
                  <a:pt x="654" y="625"/>
                </a:lnTo>
                <a:lnTo>
                  <a:pt x="666" y="621"/>
                </a:lnTo>
                <a:lnTo>
                  <a:pt x="691" y="611"/>
                </a:lnTo>
                <a:lnTo>
                  <a:pt x="714" y="600"/>
                </a:lnTo>
                <a:lnTo>
                  <a:pt x="737" y="586"/>
                </a:lnTo>
                <a:lnTo>
                  <a:pt x="758" y="571"/>
                </a:lnTo>
                <a:lnTo>
                  <a:pt x="777" y="554"/>
                </a:lnTo>
                <a:lnTo>
                  <a:pt x="796" y="536"/>
                </a:lnTo>
                <a:lnTo>
                  <a:pt x="813" y="516"/>
                </a:lnTo>
                <a:lnTo>
                  <a:pt x="827" y="494"/>
                </a:lnTo>
                <a:lnTo>
                  <a:pt x="841" y="472"/>
                </a:lnTo>
                <a:lnTo>
                  <a:pt x="852" y="449"/>
                </a:lnTo>
                <a:lnTo>
                  <a:pt x="862" y="425"/>
                </a:lnTo>
                <a:lnTo>
                  <a:pt x="870" y="399"/>
                </a:lnTo>
                <a:lnTo>
                  <a:pt x="970" y="399"/>
                </a:lnTo>
                <a:lnTo>
                  <a:pt x="978" y="425"/>
                </a:lnTo>
                <a:lnTo>
                  <a:pt x="988" y="449"/>
                </a:lnTo>
                <a:lnTo>
                  <a:pt x="1000" y="472"/>
                </a:lnTo>
                <a:lnTo>
                  <a:pt x="1013" y="494"/>
                </a:lnTo>
                <a:lnTo>
                  <a:pt x="1029" y="516"/>
                </a:lnTo>
                <a:lnTo>
                  <a:pt x="1045" y="536"/>
                </a:lnTo>
                <a:lnTo>
                  <a:pt x="1063" y="554"/>
                </a:lnTo>
                <a:lnTo>
                  <a:pt x="1083" y="571"/>
                </a:lnTo>
                <a:lnTo>
                  <a:pt x="1104" y="586"/>
                </a:lnTo>
                <a:lnTo>
                  <a:pt x="1126" y="600"/>
                </a:lnTo>
                <a:lnTo>
                  <a:pt x="1150" y="611"/>
                </a:lnTo>
                <a:lnTo>
                  <a:pt x="1174" y="621"/>
                </a:lnTo>
                <a:lnTo>
                  <a:pt x="1186" y="625"/>
                </a:lnTo>
                <a:lnTo>
                  <a:pt x="1200" y="629"/>
                </a:lnTo>
                <a:lnTo>
                  <a:pt x="1212" y="632"/>
                </a:lnTo>
                <a:lnTo>
                  <a:pt x="1226" y="634"/>
                </a:lnTo>
                <a:lnTo>
                  <a:pt x="1239" y="637"/>
                </a:lnTo>
                <a:lnTo>
                  <a:pt x="1252" y="638"/>
                </a:lnTo>
                <a:lnTo>
                  <a:pt x="1266" y="639"/>
                </a:lnTo>
                <a:lnTo>
                  <a:pt x="1280" y="639"/>
                </a:lnTo>
                <a:lnTo>
                  <a:pt x="1294" y="639"/>
                </a:lnTo>
                <a:lnTo>
                  <a:pt x="1307" y="638"/>
                </a:lnTo>
                <a:lnTo>
                  <a:pt x="1322" y="637"/>
                </a:lnTo>
                <a:lnTo>
                  <a:pt x="1334" y="634"/>
                </a:lnTo>
                <a:lnTo>
                  <a:pt x="1348" y="632"/>
                </a:lnTo>
                <a:lnTo>
                  <a:pt x="1361" y="629"/>
                </a:lnTo>
                <a:lnTo>
                  <a:pt x="1373" y="625"/>
                </a:lnTo>
                <a:lnTo>
                  <a:pt x="1387" y="621"/>
                </a:lnTo>
                <a:lnTo>
                  <a:pt x="1410" y="611"/>
                </a:lnTo>
                <a:lnTo>
                  <a:pt x="1434" y="600"/>
                </a:lnTo>
                <a:lnTo>
                  <a:pt x="1456" y="586"/>
                </a:lnTo>
                <a:lnTo>
                  <a:pt x="1477" y="571"/>
                </a:lnTo>
                <a:lnTo>
                  <a:pt x="1496" y="554"/>
                </a:lnTo>
                <a:lnTo>
                  <a:pt x="1515" y="536"/>
                </a:lnTo>
                <a:lnTo>
                  <a:pt x="1532" y="516"/>
                </a:lnTo>
                <a:lnTo>
                  <a:pt x="1547" y="494"/>
                </a:lnTo>
                <a:lnTo>
                  <a:pt x="1560" y="472"/>
                </a:lnTo>
                <a:lnTo>
                  <a:pt x="1573" y="449"/>
                </a:lnTo>
                <a:lnTo>
                  <a:pt x="1581" y="425"/>
                </a:lnTo>
                <a:lnTo>
                  <a:pt x="1589" y="399"/>
                </a:lnTo>
                <a:lnTo>
                  <a:pt x="1680" y="399"/>
                </a:lnTo>
                <a:lnTo>
                  <a:pt x="1680" y="722"/>
                </a:lnTo>
                <a:lnTo>
                  <a:pt x="1680" y="727"/>
                </a:lnTo>
                <a:lnTo>
                  <a:pt x="1681" y="733"/>
                </a:lnTo>
                <a:lnTo>
                  <a:pt x="1683" y="737"/>
                </a:lnTo>
                <a:lnTo>
                  <a:pt x="1686" y="742"/>
                </a:lnTo>
                <a:lnTo>
                  <a:pt x="1688" y="746"/>
                </a:lnTo>
                <a:lnTo>
                  <a:pt x="1692" y="751"/>
                </a:lnTo>
                <a:lnTo>
                  <a:pt x="1696" y="754"/>
                </a:lnTo>
                <a:lnTo>
                  <a:pt x="1700" y="756"/>
                </a:lnTo>
                <a:lnTo>
                  <a:pt x="1705" y="760"/>
                </a:lnTo>
                <a:lnTo>
                  <a:pt x="1710" y="761"/>
                </a:lnTo>
                <a:lnTo>
                  <a:pt x="1715" y="762"/>
                </a:lnTo>
                <a:lnTo>
                  <a:pt x="1720" y="762"/>
                </a:lnTo>
                <a:lnTo>
                  <a:pt x="1726" y="762"/>
                </a:lnTo>
                <a:lnTo>
                  <a:pt x="1730" y="761"/>
                </a:lnTo>
                <a:lnTo>
                  <a:pt x="1736" y="759"/>
                </a:lnTo>
                <a:lnTo>
                  <a:pt x="1740" y="756"/>
                </a:lnTo>
                <a:lnTo>
                  <a:pt x="2160" y="508"/>
                </a:lnTo>
                <a:lnTo>
                  <a:pt x="2160" y="1408"/>
                </a:lnTo>
                <a:close/>
                <a:moveTo>
                  <a:pt x="561" y="79"/>
                </a:moveTo>
                <a:lnTo>
                  <a:pt x="573" y="79"/>
                </a:lnTo>
                <a:lnTo>
                  <a:pt x="584" y="80"/>
                </a:lnTo>
                <a:lnTo>
                  <a:pt x="597" y="81"/>
                </a:lnTo>
                <a:lnTo>
                  <a:pt x="609" y="84"/>
                </a:lnTo>
                <a:lnTo>
                  <a:pt x="620" y="87"/>
                </a:lnTo>
                <a:lnTo>
                  <a:pt x="631" y="90"/>
                </a:lnTo>
                <a:lnTo>
                  <a:pt x="643" y="94"/>
                </a:lnTo>
                <a:lnTo>
                  <a:pt x="654" y="98"/>
                </a:lnTo>
                <a:lnTo>
                  <a:pt x="664" y="103"/>
                </a:lnTo>
                <a:lnTo>
                  <a:pt x="675" y="108"/>
                </a:lnTo>
                <a:lnTo>
                  <a:pt x="685" y="114"/>
                </a:lnTo>
                <a:lnTo>
                  <a:pt x="694" y="121"/>
                </a:lnTo>
                <a:lnTo>
                  <a:pt x="713" y="134"/>
                </a:lnTo>
                <a:lnTo>
                  <a:pt x="730" y="150"/>
                </a:lnTo>
                <a:lnTo>
                  <a:pt x="746" y="167"/>
                </a:lnTo>
                <a:lnTo>
                  <a:pt x="759" y="186"/>
                </a:lnTo>
                <a:lnTo>
                  <a:pt x="766" y="194"/>
                </a:lnTo>
                <a:lnTo>
                  <a:pt x="771" y="205"/>
                </a:lnTo>
                <a:lnTo>
                  <a:pt x="777" y="216"/>
                </a:lnTo>
                <a:lnTo>
                  <a:pt x="781" y="226"/>
                </a:lnTo>
                <a:lnTo>
                  <a:pt x="786" y="237"/>
                </a:lnTo>
                <a:lnTo>
                  <a:pt x="789" y="248"/>
                </a:lnTo>
                <a:lnTo>
                  <a:pt x="793" y="259"/>
                </a:lnTo>
                <a:lnTo>
                  <a:pt x="796" y="271"/>
                </a:lnTo>
                <a:lnTo>
                  <a:pt x="798" y="283"/>
                </a:lnTo>
                <a:lnTo>
                  <a:pt x="799" y="294"/>
                </a:lnTo>
                <a:lnTo>
                  <a:pt x="800" y="306"/>
                </a:lnTo>
                <a:lnTo>
                  <a:pt x="800" y="319"/>
                </a:lnTo>
                <a:lnTo>
                  <a:pt x="800" y="331"/>
                </a:lnTo>
                <a:lnTo>
                  <a:pt x="799" y="343"/>
                </a:lnTo>
                <a:lnTo>
                  <a:pt x="798" y="356"/>
                </a:lnTo>
                <a:lnTo>
                  <a:pt x="796" y="368"/>
                </a:lnTo>
                <a:lnTo>
                  <a:pt x="793" y="379"/>
                </a:lnTo>
                <a:lnTo>
                  <a:pt x="789" y="390"/>
                </a:lnTo>
                <a:lnTo>
                  <a:pt x="786" y="402"/>
                </a:lnTo>
                <a:lnTo>
                  <a:pt x="781" y="413"/>
                </a:lnTo>
                <a:lnTo>
                  <a:pt x="777" y="423"/>
                </a:lnTo>
                <a:lnTo>
                  <a:pt x="771" y="433"/>
                </a:lnTo>
                <a:lnTo>
                  <a:pt x="766" y="443"/>
                </a:lnTo>
                <a:lnTo>
                  <a:pt x="759" y="453"/>
                </a:lnTo>
                <a:lnTo>
                  <a:pt x="746" y="472"/>
                </a:lnTo>
                <a:lnTo>
                  <a:pt x="730" y="489"/>
                </a:lnTo>
                <a:lnTo>
                  <a:pt x="713" y="505"/>
                </a:lnTo>
                <a:lnTo>
                  <a:pt x="694" y="518"/>
                </a:lnTo>
                <a:lnTo>
                  <a:pt x="685" y="525"/>
                </a:lnTo>
                <a:lnTo>
                  <a:pt x="675" y="530"/>
                </a:lnTo>
                <a:lnTo>
                  <a:pt x="664" y="536"/>
                </a:lnTo>
                <a:lnTo>
                  <a:pt x="654" y="540"/>
                </a:lnTo>
                <a:lnTo>
                  <a:pt x="643" y="545"/>
                </a:lnTo>
                <a:lnTo>
                  <a:pt x="631" y="548"/>
                </a:lnTo>
                <a:lnTo>
                  <a:pt x="620" y="552"/>
                </a:lnTo>
                <a:lnTo>
                  <a:pt x="609" y="554"/>
                </a:lnTo>
                <a:lnTo>
                  <a:pt x="597" y="556"/>
                </a:lnTo>
                <a:lnTo>
                  <a:pt x="584" y="558"/>
                </a:lnTo>
                <a:lnTo>
                  <a:pt x="573" y="558"/>
                </a:lnTo>
                <a:lnTo>
                  <a:pt x="561" y="559"/>
                </a:lnTo>
                <a:lnTo>
                  <a:pt x="549" y="558"/>
                </a:lnTo>
                <a:lnTo>
                  <a:pt x="536" y="558"/>
                </a:lnTo>
                <a:lnTo>
                  <a:pt x="524" y="556"/>
                </a:lnTo>
                <a:lnTo>
                  <a:pt x="512" y="554"/>
                </a:lnTo>
                <a:lnTo>
                  <a:pt x="500" y="552"/>
                </a:lnTo>
                <a:lnTo>
                  <a:pt x="489" y="548"/>
                </a:lnTo>
                <a:lnTo>
                  <a:pt x="478" y="545"/>
                </a:lnTo>
                <a:lnTo>
                  <a:pt x="467" y="540"/>
                </a:lnTo>
                <a:lnTo>
                  <a:pt x="457" y="536"/>
                </a:lnTo>
                <a:lnTo>
                  <a:pt x="446" y="530"/>
                </a:lnTo>
                <a:lnTo>
                  <a:pt x="437" y="525"/>
                </a:lnTo>
                <a:lnTo>
                  <a:pt x="427" y="518"/>
                </a:lnTo>
                <a:lnTo>
                  <a:pt x="408" y="505"/>
                </a:lnTo>
                <a:lnTo>
                  <a:pt x="391" y="489"/>
                </a:lnTo>
                <a:lnTo>
                  <a:pt x="375" y="472"/>
                </a:lnTo>
                <a:lnTo>
                  <a:pt x="362" y="453"/>
                </a:lnTo>
                <a:lnTo>
                  <a:pt x="355" y="443"/>
                </a:lnTo>
                <a:lnTo>
                  <a:pt x="349" y="433"/>
                </a:lnTo>
                <a:lnTo>
                  <a:pt x="344" y="423"/>
                </a:lnTo>
                <a:lnTo>
                  <a:pt x="339" y="413"/>
                </a:lnTo>
                <a:lnTo>
                  <a:pt x="335" y="402"/>
                </a:lnTo>
                <a:lnTo>
                  <a:pt x="331" y="390"/>
                </a:lnTo>
                <a:lnTo>
                  <a:pt x="328" y="379"/>
                </a:lnTo>
                <a:lnTo>
                  <a:pt x="326" y="368"/>
                </a:lnTo>
                <a:lnTo>
                  <a:pt x="324" y="356"/>
                </a:lnTo>
                <a:lnTo>
                  <a:pt x="321" y="343"/>
                </a:lnTo>
                <a:lnTo>
                  <a:pt x="320" y="331"/>
                </a:lnTo>
                <a:lnTo>
                  <a:pt x="320" y="319"/>
                </a:lnTo>
                <a:lnTo>
                  <a:pt x="320" y="306"/>
                </a:lnTo>
                <a:lnTo>
                  <a:pt x="321" y="294"/>
                </a:lnTo>
                <a:lnTo>
                  <a:pt x="324" y="283"/>
                </a:lnTo>
                <a:lnTo>
                  <a:pt x="326" y="271"/>
                </a:lnTo>
                <a:lnTo>
                  <a:pt x="328" y="259"/>
                </a:lnTo>
                <a:lnTo>
                  <a:pt x="331" y="248"/>
                </a:lnTo>
                <a:lnTo>
                  <a:pt x="335" y="237"/>
                </a:lnTo>
                <a:lnTo>
                  <a:pt x="339" y="226"/>
                </a:lnTo>
                <a:lnTo>
                  <a:pt x="344" y="216"/>
                </a:lnTo>
                <a:lnTo>
                  <a:pt x="349" y="205"/>
                </a:lnTo>
                <a:lnTo>
                  <a:pt x="355" y="194"/>
                </a:lnTo>
                <a:lnTo>
                  <a:pt x="362" y="186"/>
                </a:lnTo>
                <a:lnTo>
                  <a:pt x="375" y="167"/>
                </a:lnTo>
                <a:lnTo>
                  <a:pt x="391" y="150"/>
                </a:lnTo>
                <a:lnTo>
                  <a:pt x="408" y="134"/>
                </a:lnTo>
                <a:lnTo>
                  <a:pt x="427" y="121"/>
                </a:lnTo>
                <a:lnTo>
                  <a:pt x="437" y="114"/>
                </a:lnTo>
                <a:lnTo>
                  <a:pt x="446" y="108"/>
                </a:lnTo>
                <a:lnTo>
                  <a:pt x="457" y="103"/>
                </a:lnTo>
                <a:lnTo>
                  <a:pt x="467" y="98"/>
                </a:lnTo>
                <a:lnTo>
                  <a:pt x="478" y="94"/>
                </a:lnTo>
                <a:lnTo>
                  <a:pt x="489" y="90"/>
                </a:lnTo>
                <a:lnTo>
                  <a:pt x="500" y="87"/>
                </a:lnTo>
                <a:lnTo>
                  <a:pt x="512" y="84"/>
                </a:lnTo>
                <a:lnTo>
                  <a:pt x="524" y="81"/>
                </a:lnTo>
                <a:lnTo>
                  <a:pt x="536" y="80"/>
                </a:lnTo>
                <a:lnTo>
                  <a:pt x="549" y="79"/>
                </a:lnTo>
                <a:lnTo>
                  <a:pt x="561" y="79"/>
                </a:lnTo>
                <a:close/>
                <a:moveTo>
                  <a:pt x="1280" y="79"/>
                </a:moveTo>
                <a:lnTo>
                  <a:pt x="1293" y="79"/>
                </a:lnTo>
                <a:lnTo>
                  <a:pt x="1305" y="80"/>
                </a:lnTo>
                <a:lnTo>
                  <a:pt x="1316" y="81"/>
                </a:lnTo>
                <a:lnTo>
                  <a:pt x="1329" y="84"/>
                </a:lnTo>
                <a:lnTo>
                  <a:pt x="1340" y="87"/>
                </a:lnTo>
                <a:lnTo>
                  <a:pt x="1351" y="90"/>
                </a:lnTo>
                <a:lnTo>
                  <a:pt x="1362" y="94"/>
                </a:lnTo>
                <a:lnTo>
                  <a:pt x="1373" y="98"/>
                </a:lnTo>
                <a:lnTo>
                  <a:pt x="1385" y="103"/>
                </a:lnTo>
                <a:lnTo>
                  <a:pt x="1395" y="108"/>
                </a:lnTo>
                <a:lnTo>
                  <a:pt x="1405" y="114"/>
                </a:lnTo>
                <a:lnTo>
                  <a:pt x="1415" y="121"/>
                </a:lnTo>
                <a:lnTo>
                  <a:pt x="1433" y="134"/>
                </a:lnTo>
                <a:lnTo>
                  <a:pt x="1449" y="150"/>
                </a:lnTo>
                <a:lnTo>
                  <a:pt x="1465" y="167"/>
                </a:lnTo>
                <a:lnTo>
                  <a:pt x="1479" y="186"/>
                </a:lnTo>
                <a:lnTo>
                  <a:pt x="1485" y="194"/>
                </a:lnTo>
                <a:lnTo>
                  <a:pt x="1491" y="205"/>
                </a:lnTo>
                <a:lnTo>
                  <a:pt x="1496" y="216"/>
                </a:lnTo>
                <a:lnTo>
                  <a:pt x="1501" y="226"/>
                </a:lnTo>
                <a:lnTo>
                  <a:pt x="1505" y="237"/>
                </a:lnTo>
                <a:lnTo>
                  <a:pt x="1509" y="248"/>
                </a:lnTo>
                <a:lnTo>
                  <a:pt x="1512" y="259"/>
                </a:lnTo>
                <a:lnTo>
                  <a:pt x="1515" y="271"/>
                </a:lnTo>
                <a:lnTo>
                  <a:pt x="1518" y="283"/>
                </a:lnTo>
                <a:lnTo>
                  <a:pt x="1519" y="294"/>
                </a:lnTo>
                <a:lnTo>
                  <a:pt x="1520" y="306"/>
                </a:lnTo>
                <a:lnTo>
                  <a:pt x="1520" y="319"/>
                </a:lnTo>
                <a:lnTo>
                  <a:pt x="1520" y="331"/>
                </a:lnTo>
                <a:lnTo>
                  <a:pt x="1519" y="343"/>
                </a:lnTo>
                <a:lnTo>
                  <a:pt x="1518" y="356"/>
                </a:lnTo>
                <a:lnTo>
                  <a:pt x="1515" y="368"/>
                </a:lnTo>
                <a:lnTo>
                  <a:pt x="1512" y="379"/>
                </a:lnTo>
                <a:lnTo>
                  <a:pt x="1509" y="390"/>
                </a:lnTo>
                <a:lnTo>
                  <a:pt x="1505" y="402"/>
                </a:lnTo>
                <a:lnTo>
                  <a:pt x="1501" y="413"/>
                </a:lnTo>
                <a:lnTo>
                  <a:pt x="1496" y="423"/>
                </a:lnTo>
                <a:lnTo>
                  <a:pt x="1491" y="433"/>
                </a:lnTo>
                <a:lnTo>
                  <a:pt x="1485" y="443"/>
                </a:lnTo>
                <a:lnTo>
                  <a:pt x="1479" y="453"/>
                </a:lnTo>
                <a:lnTo>
                  <a:pt x="1465" y="472"/>
                </a:lnTo>
                <a:lnTo>
                  <a:pt x="1449" y="489"/>
                </a:lnTo>
                <a:lnTo>
                  <a:pt x="1433" y="505"/>
                </a:lnTo>
                <a:lnTo>
                  <a:pt x="1415" y="518"/>
                </a:lnTo>
                <a:lnTo>
                  <a:pt x="1405" y="525"/>
                </a:lnTo>
                <a:lnTo>
                  <a:pt x="1395" y="530"/>
                </a:lnTo>
                <a:lnTo>
                  <a:pt x="1385" y="536"/>
                </a:lnTo>
                <a:lnTo>
                  <a:pt x="1373" y="540"/>
                </a:lnTo>
                <a:lnTo>
                  <a:pt x="1362" y="545"/>
                </a:lnTo>
                <a:lnTo>
                  <a:pt x="1351" y="548"/>
                </a:lnTo>
                <a:lnTo>
                  <a:pt x="1340" y="552"/>
                </a:lnTo>
                <a:lnTo>
                  <a:pt x="1329" y="554"/>
                </a:lnTo>
                <a:lnTo>
                  <a:pt x="1316" y="556"/>
                </a:lnTo>
                <a:lnTo>
                  <a:pt x="1305" y="558"/>
                </a:lnTo>
                <a:lnTo>
                  <a:pt x="1293" y="558"/>
                </a:lnTo>
                <a:lnTo>
                  <a:pt x="1280" y="559"/>
                </a:lnTo>
                <a:lnTo>
                  <a:pt x="1268" y="558"/>
                </a:lnTo>
                <a:lnTo>
                  <a:pt x="1256" y="558"/>
                </a:lnTo>
                <a:lnTo>
                  <a:pt x="1244" y="556"/>
                </a:lnTo>
                <a:lnTo>
                  <a:pt x="1232" y="554"/>
                </a:lnTo>
                <a:lnTo>
                  <a:pt x="1220" y="552"/>
                </a:lnTo>
                <a:lnTo>
                  <a:pt x="1209" y="548"/>
                </a:lnTo>
                <a:lnTo>
                  <a:pt x="1198" y="545"/>
                </a:lnTo>
                <a:lnTo>
                  <a:pt x="1186" y="540"/>
                </a:lnTo>
                <a:lnTo>
                  <a:pt x="1176" y="536"/>
                </a:lnTo>
                <a:lnTo>
                  <a:pt x="1166" y="530"/>
                </a:lnTo>
                <a:lnTo>
                  <a:pt x="1156" y="525"/>
                </a:lnTo>
                <a:lnTo>
                  <a:pt x="1146" y="518"/>
                </a:lnTo>
                <a:lnTo>
                  <a:pt x="1127" y="505"/>
                </a:lnTo>
                <a:lnTo>
                  <a:pt x="1110" y="489"/>
                </a:lnTo>
                <a:lnTo>
                  <a:pt x="1095" y="472"/>
                </a:lnTo>
                <a:lnTo>
                  <a:pt x="1081" y="453"/>
                </a:lnTo>
                <a:lnTo>
                  <a:pt x="1075" y="443"/>
                </a:lnTo>
                <a:lnTo>
                  <a:pt x="1069" y="433"/>
                </a:lnTo>
                <a:lnTo>
                  <a:pt x="1064" y="423"/>
                </a:lnTo>
                <a:lnTo>
                  <a:pt x="1059" y="413"/>
                </a:lnTo>
                <a:lnTo>
                  <a:pt x="1054" y="402"/>
                </a:lnTo>
                <a:lnTo>
                  <a:pt x="1051" y="390"/>
                </a:lnTo>
                <a:lnTo>
                  <a:pt x="1048" y="379"/>
                </a:lnTo>
                <a:lnTo>
                  <a:pt x="1045" y="368"/>
                </a:lnTo>
                <a:lnTo>
                  <a:pt x="1043" y="356"/>
                </a:lnTo>
                <a:lnTo>
                  <a:pt x="1041" y="343"/>
                </a:lnTo>
                <a:lnTo>
                  <a:pt x="1041" y="331"/>
                </a:lnTo>
                <a:lnTo>
                  <a:pt x="1040" y="319"/>
                </a:lnTo>
                <a:lnTo>
                  <a:pt x="1041" y="306"/>
                </a:lnTo>
                <a:lnTo>
                  <a:pt x="1041" y="294"/>
                </a:lnTo>
                <a:lnTo>
                  <a:pt x="1043" y="283"/>
                </a:lnTo>
                <a:lnTo>
                  <a:pt x="1045" y="271"/>
                </a:lnTo>
                <a:lnTo>
                  <a:pt x="1048" y="259"/>
                </a:lnTo>
                <a:lnTo>
                  <a:pt x="1051" y="248"/>
                </a:lnTo>
                <a:lnTo>
                  <a:pt x="1054" y="237"/>
                </a:lnTo>
                <a:lnTo>
                  <a:pt x="1059" y="226"/>
                </a:lnTo>
                <a:lnTo>
                  <a:pt x="1064" y="216"/>
                </a:lnTo>
                <a:lnTo>
                  <a:pt x="1069" y="205"/>
                </a:lnTo>
                <a:lnTo>
                  <a:pt x="1075" y="194"/>
                </a:lnTo>
                <a:lnTo>
                  <a:pt x="1081" y="186"/>
                </a:lnTo>
                <a:lnTo>
                  <a:pt x="1095" y="167"/>
                </a:lnTo>
                <a:lnTo>
                  <a:pt x="1110" y="150"/>
                </a:lnTo>
                <a:lnTo>
                  <a:pt x="1127" y="134"/>
                </a:lnTo>
                <a:lnTo>
                  <a:pt x="1146" y="121"/>
                </a:lnTo>
                <a:lnTo>
                  <a:pt x="1156" y="114"/>
                </a:lnTo>
                <a:lnTo>
                  <a:pt x="1166" y="108"/>
                </a:lnTo>
                <a:lnTo>
                  <a:pt x="1176" y="103"/>
                </a:lnTo>
                <a:lnTo>
                  <a:pt x="1186" y="98"/>
                </a:lnTo>
                <a:lnTo>
                  <a:pt x="1198" y="94"/>
                </a:lnTo>
                <a:lnTo>
                  <a:pt x="1209" y="90"/>
                </a:lnTo>
                <a:lnTo>
                  <a:pt x="1220" y="87"/>
                </a:lnTo>
                <a:lnTo>
                  <a:pt x="1232" y="84"/>
                </a:lnTo>
                <a:lnTo>
                  <a:pt x="1244" y="81"/>
                </a:lnTo>
                <a:lnTo>
                  <a:pt x="1256" y="80"/>
                </a:lnTo>
                <a:lnTo>
                  <a:pt x="1268" y="79"/>
                </a:lnTo>
                <a:lnTo>
                  <a:pt x="1280" y="79"/>
                </a:lnTo>
                <a:close/>
                <a:moveTo>
                  <a:pt x="2219" y="403"/>
                </a:moveTo>
                <a:lnTo>
                  <a:pt x="2215" y="400"/>
                </a:lnTo>
                <a:lnTo>
                  <a:pt x="2209" y="399"/>
                </a:lnTo>
                <a:lnTo>
                  <a:pt x="2205" y="398"/>
                </a:lnTo>
                <a:lnTo>
                  <a:pt x="2199" y="398"/>
                </a:lnTo>
                <a:lnTo>
                  <a:pt x="2195" y="398"/>
                </a:lnTo>
                <a:lnTo>
                  <a:pt x="2189" y="399"/>
                </a:lnTo>
                <a:lnTo>
                  <a:pt x="2185" y="402"/>
                </a:lnTo>
                <a:lnTo>
                  <a:pt x="2179" y="404"/>
                </a:lnTo>
                <a:lnTo>
                  <a:pt x="1759" y="652"/>
                </a:lnTo>
                <a:lnTo>
                  <a:pt x="1759" y="359"/>
                </a:lnTo>
                <a:lnTo>
                  <a:pt x="1759" y="351"/>
                </a:lnTo>
                <a:lnTo>
                  <a:pt x="1757" y="343"/>
                </a:lnTo>
                <a:lnTo>
                  <a:pt x="1753" y="337"/>
                </a:lnTo>
                <a:lnTo>
                  <a:pt x="1748" y="331"/>
                </a:lnTo>
                <a:lnTo>
                  <a:pt x="1743" y="325"/>
                </a:lnTo>
                <a:lnTo>
                  <a:pt x="1736" y="322"/>
                </a:lnTo>
                <a:lnTo>
                  <a:pt x="1728" y="320"/>
                </a:lnTo>
                <a:lnTo>
                  <a:pt x="1720" y="319"/>
                </a:lnTo>
                <a:lnTo>
                  <a:pt x="1601" y="319"/>
                </a:lnTo>
                <a:lnTo>
                  <a:pt x="1599" y="303"/>
                </a:lnTo>
                <a:lnTo>
                  <a:pt x="1598" y="286"/>
                </a:lnTo>
                <a:lnTo>
                  <a:pt x="1596" y="271"/>
                </a:lnTo>
                <a:lnTo>
                  <a:pt x="1594" y="255"/>
                </a:lnTo>
                <a:lnTo>
                  <a:pt x="1590" y="239"/>
                </a:lnTo>
                <a:lnTo>
                  <a:pt x="1586" y="224"/>
                </a:lnTo>
                <a:lnTo>
                  <a:pt x="1580" y="209"/>
                </a:lnTo>
                <a:lnTo>
                  <a:pt x="1575" y="194"/>
                </a:lnTo>
                <a:lnTo>
                  <a:pt x="1568" y="181"/>
                </a:lnTo>
                <a:lnTo>
                  <a:pt x="1561" y="167"/>
                </a:lnTo>
                <a:lnTo>
                  <a:pt x="1554" y="153"/>
                </a:lnTo>
                <a:lnTo>
                  <a:pt x="1546" y="141"/>
                </a:lnTo>
                <a:lnTo>
                  <a:pt x="1537" y="127"/>
                </a:lnTo>
                <a:lnTo>
                  <a:pt x="1527" y="116"/>
                </a:lnTo>
                <a:lnTo>
                  <a:pt x="1517" y="104"/>
                </a:lnTo>
                <a:lnTo>
                  <a:pt x="1507" y="93"/>
                </a:lnTo>
                <a:lnTo>
                  <a:pt x="1495" y="83"/>
                </a:lnTo>
                <a:lnTo>
                  <a:pt x="1483" y="72"/>
                </a:lnTo>
                <a:lnTo>
                  <a:pt x="1472" y="62"/>
                </a:lnTo>
                <a:lnTo>
                  <a:pt x="1458" y="53"/>
                </a:lnTo>
                <a:lnTo>
                  <a:pt x="1446" y="46"/>
                </a:lnTo>
                <a:lnTo>
                  <a:pt x="1433" y="38"/>
                </a:lnTo>
                <a:lnTo>
                  <a:pt x="1419" y="31"/>
                </a:lnTo>
                <a:lnTo>
                  <a:pt x="1405" y="24"/>
                </a:lnTo>
                <a:lnTo>
                  <a:pt x="1390" y="19"/>
                </a:lnTo>
                <a:lnTo>
                  <a:pt x="1376" y="13"/>
                </a:lnTo>
                <a:lnTo>
                  <a:pt x="1360" y="10"/>
                </a:lnTo>
                <a:lnTo>
                  <a:pt x="1344" y="5"/>
                </a:lnTo>
                <a:lnTo>
                  <a:pt x="1329" y="3"/>
                </a:lnTo>
                <a:lnTo>
                  <a:pt x="1313" y="1"/>
                </a:lnTo>
                <a:lnTo>
                  <a:pt x="1296" y="0"/>
                </a:lnTo>
                <a:lnTo>
                  <a:pt x="1280" y="0"/>
                </a:lnTo>
                <a:lnTo>
                  <a:pt x="1264" y="0"/>
                </a:lnTo>
                <a:lnTo>
                  <a:pt x="1248" y="1"/>
                </a:lnTo>
                <a:lnTo>
                  <a:pt x="1231" y="3"/>
                </a:lnTo>
                <a:lnTo>
                  <a:pt x="1216" y="5"/>
                </a:lnTo>
                <a:lnTo>
                  <a:pt x="1200" y="10"/>
                </a:lnTo>
                <a:lnTo>
                  <a:pt x="1185" y="13"/>
                </a:lnTo>
                <a:lnTo>
                  <a:pt x="1171" y="19"/>
                </a:lnTo>
                <a:lnTo>
                  <a:pt x="1156" y="24"/>
                </a:lnTo>
                <a:lnTo>
                  <a:pt x="1142" y="31"/>
                </a:lnTo>
                <a:lnTo>
                  <a:pt x="1128" y="38"/>
                </a:lnTo>
                <a:lnTo>
                  <a:pt x="1115" y="46"/>
                </a:lnTo>
                <a:lnTo>
                  <a:pt x="1101" y="53"/>
                </a:lnTo>
                <a:lnTo>
                  <a:pt x="1089" y="62"/>
                </a:lnTo>
                <a:lnTo>
                  <a:pt x="1077" y="72"/>
                </a:lnTo>
                <a:lnTo>
                  <a:pt x="1066" y="83"/>
                </a:lnTo>
                <a:lnTo>
                  <a:pt x="1054" y="93"/>
                </a:lnTo>
                <a:lnTo>
                  <a:pt x="1043" y="104"/>
                </a:lnTo>
                <a:lnTo>
                  <a:pt x="1033" y="116"/>
                </a:lnTo>
                <a:lnTo>
                  <a:pt x="1024" y="127"/>
                </a:lnTo>
                <a:lnTo>
                  <a:pt x="1015" y="141"/>
                </a:lnTo>
                <a:lnTo>
                  <a:pt x="1006" y="153"/>
                </a:lnTo>
                <a:lnTo>
                  <a:pt x="998" y="167"/>
                </a:lnTo>
                <a:lnTo>
                  <a:pt x="992" y="181"/>
                </a:lnTo>
                <a:lnTo>
                  <a:pt x="985" y="194"/>
                </a:lnTo>
                <a:lnTo>
                  <a:pt x="979" y="209"/>
                </a:lnTo>
                <a:lnTo>
                  <a:pt x="975" y="224"/>
                </a:lnTo>
                <a:lnTo>
                  <a:pt x="970" y="239"/>
                </a:lnTo>
                <a:lnTo>
                  <a:pt x="967" y="255"/>
                </a:lnTo>
                <a:lnTo>
                  <a:pt x="964" y="271"/>
                </a:lnTo>
                <a:lnTo>
                  <a:pt x="962" y="286"/>
                </a:lnTo>
                <a:lnTo>
                  <a:pt x="960" y="303"/>
                </a:lnTo>
                <a:lnTo>
                  <a:pt x="960" y="319"/>
                </a:lnTo>
                <a:lnTo>
                  <a:pt x="880" y="319"/>
                </a:lnTo>
                <a:lnTo>
                  <a:pt x="880" y="303"/>
                </a:lnTo>
                <a:lnTo>
                  <a:pt x="879" y="286"/>
                </a:lnTo>
                <a:lnTo>
                  <a:pt x="876" y="271"/>
                </a:lnTo>
                <a:lnTo>
                  <a:pt x="874" y="255"/>
                </a:lnTo>
                <a:lnTo>
                  <a:pt x="870" y="239"/>
                </a:lnTo>
                <a:lnTo>
                  <a:pt x="866" y="224"/>
                </a:lnTo>
                <a:lnTo>
                  <a:pt x="861" y="209"/>
                </a:lnTo>
                <a:lnTo>
                  <a:pt x="855" y="194"/>
                </a:lnTo>
                <a:lnTo>
                  <a:pt x="848" y="181"/>
                </a:lnTo>
                <a:lnTo>
                  <a:pt x="842" y="167"/>
                </a:lnTo>
                <a:lnTo>
                  <a:pt x="834" y="153"/>
                </a:lnTo>
                <a:lnTo>
                  <a:pt x="826" y="141"/>
                </a:lnTo>
                <a:lnTo>
                  <a:pt x="817" y="127"/>
                </a:lnTo>
                <a:lnTo>
                  <a:pt x="807" y="116"/>
                </a:lnTo>
                <a:lnTo>
                  <a:pt x="797" y="104"/>
                </a:lnTo>
                <a:lnTo>
                  <a:pt x="787" y="93"/>
                </a:lnTo>
                <a:lnTo>
                  <a:pt x="776" y="83"/>
                </a:lnTo>
                <a:lnTo>
                  <a:pt x="763" y="72"/>
                </a:lnTo>
                <a:lnTo>
                  <a:pt x="752" y="62"/>
                </a:lnTo>
                <a:lnTo>
                  <a:pt x="739" y="53"/>
                </a:lnTo>
                <a:lnTo>
                  <a:pt x="726" y="46"/>
                </a:lnTo>
                <a:lnTo>
                  <a:pt x="713" y="38"/>
                </a:lnTo>
                <a:lnTo>
                  <a:pt x="699" y="31"/>
                </a:lnTo>
                <a:lnTo>
                  <a:pt x="685" y="24"/>
                </a:lnTo>
                <a:lnTo>
                  <a:pt x="671" y="19"/>
                </a:lnTo>
                <a:lnTo>
                  <a:pt x="655" y="13"/>
                </a:lnTo>
                <a:lnTo>
                  <a:pt x="640" y="10"/>
                </a:lnTo>
                <a:lnTo>
                  <a:pt x="625" y="5"/>
                </a:lnTo>
                <a:lnTo>
                  <a:pt x="609" y="3"/>
                </a:lnTo>
                <a:lnTo>
                  <a:pt x="593" y="1"/>
                </a:lnTo>
                <a:lnTo>
                  <a:pt x="577" y="0"/>
                </a:lnTo>
                <a:lnTo>
                  <a:pt x="561" y="0"/>
                </a:lnTo>
                <a:lnTo>
                  <a:pt x="544" y="0"/>
                </a:lnTo>
                <a:lnTo>
                  <a:pt x="527" y="1"/>
                </a:lnTo>
                <a:lnTo>
                  <a:pt x="512" y="3"/>
                </a:lnTo>
                <a:lnTo>
                  <a:pt x="496" y="5"/>
                </a:lnTo>
                <a:lnTo>
                  <a:pt x="480" y="10"/>
                </a:lnTo>
                <a:lnTo>
                  <a:pt x="466" y="13"/>
                </a:lnTo>
                <a:lnTo>
                  <a:pt x="450" y="19"/>
                </a:lnTo>
                <a:lnTo>
                  <a:pt x="436" y="24"/>
                </a:lnTo>
                <a:lnTo>
                  <a:pt x="422" y="31"/>
                </a:lnTo>
                <a:lnTo>
                  <a:pt x="408" y="38"/>
                </a:lnTo>
                <a:lnTo>
                  <a:pt x="394" y="46"/>
                </a:lnTo>
                <a:lnTo>
                  <a:pt x="382" y="53"/>
                </a:lnTo>
                <a:lnTo>
                  <a:pt x="370" y="62"/>
                </a:lnTo>
                <a:lnTo>
                  <a:pt x="357" y="72"/>
                </a:lnTo>
                <a:lnTo>
                  <a:pt x="346" y="83"/>
                </a:lnTo>
                <a:lnTo>
                  <a:pt x="335" y="93"/>
                </a:lnTo>
                <a:lnTo>
                  <a:pt x="324" y="104"/>
                </a:lnTo>
                <a:lnTo>
                  <a:pt x="314" y="116"/>
                </a:lnTo>
                <a:lnTo>
                  <a:pt x="305" y="127"/>
                </a:lnTo>
                <a:lnTo>
                  <a:pt x="296" y="141"/>
                </a:lnTo>
                <a:lnTo>
                  <a:pt x="287" y="153"/>
                </a:lnTo>
                <a:lnTo>
                  <a:pt x="279" y="167"/>
                </a:lnTo>
                <a:lnTo>
                  <a:pt x="272" y="181"/>
                </a:lnTo>
                <a:lnTo>
                  <a:pt x="265" y="194"/>
                </a:lnTo>
                <a:lnTo>
                  <a:pt x="260" y="209"/>
                </a:lnTo>
                <a:lnTo>
                  <a:pt x="255" y="224"/>
                </a:lnTo>
                <a:lnTo>
                  <a:pt x="251" y="239"/>
                </a:lnTo>
                <a:lnTo>
                  <a:pt x="248" y="255"/>
                </a:lnTo>
                <a:lnTo>
                  <a:pt x="244" y="271"/>
                </a:lnTo>
                <a:lnTo>
                  <a:pt x="242" y="286"/>
                </a:lnTo>
                <a:lnTo>
                  <a:pt x="241" y="303"/>
                </a:lnTo>
                <a:lnTo>
                  <a:pt x="241" y="319"/>
                </a:lnTo>
                <a:lnTo>
                  <a:pt x="40" y="319"/>
                </a:lnTo>
                <a:lnTo>
                  <a:pt x="33" y="320"/>
                </a:lnTo>
                <a:lnTo>
                  <a:pt x="25" y="322"/>
                </a:lnTo>
                <a:lnTo>
                  <a:pt x="18" y="325"/>
                </a:lnTo>
                <a:lnTo>
                  <a:pt x="13" y="331"/>
                </a:lnTo>
                <a:lnTo>
                  <a:pt x="7" y="337"/>
                </a:lnTo>
                <a:lnTo>
                  <a:pt x="4" y="343"/>
                </a:lnTo>
                <a:lnTo>
                  <a:pt x="1" y="351"/>
                </a:lnTo>
                <a:lnTo>
                  <a:pt x="0" y="359"/>
                </a:lnTo>
                <a:lnTo>
                  <a:pt x="0" y="1559"/>
                </a:lnTo>
                <a:lnTo>
                  <a:pt x="1" y="1567"/>
                </a:lnTo>
                <a:lnTo>
                  <a:pt x="4" y="1575"/>
                </a:lnTo>
                <a:lnTo>
                  <a:pt x="7" y="1581"/>
                </a:lnTo>
                <a:lnTo>
                  <a:pt x="13" y="1587"/>
                </a:lnTo>
                <a:lnTo>
                  <a:pt x="18" y="1593"/>
                </a:lnTo>
                <a:lnTo>
                  <a:pt x="25" y="1596"/>
                </a:lnTo>
                <a:lnTo>
                  <a:pt x="33" y="1598"/>
                </a:lnTo>
                <a:lnTo>
                  <a:pt x="40" y="1599"/>
                </a:lnTo>
                <a:lnTo>
                  <a:pt x="1720" y="1599"/>
                </a:lnTo>
                <a:lnTo>
                  <a:pt x="1728" y="1598"/>
                </a:lnTo>
                <a:lnTo>
                  <a:pt x="1736" y="1596"/>
                </a:lnTo>
                <a:lnTo>
                  <a:pt x="1743" y="1593"/>
                </a:lnTo>
                <a:lnTo>
                  <a:pt x="1748" y="1587"/>
                </a:lnTo>
                <a:lnTo>
                  <a:pt x="1753" y="1581"/>
                </a:lnTo>
                <a:lnTo>
                  <a:pt x="1757" y="1575"/>
                </a:lnTo>
                <a:lnTo>
                  <a:pt x="1759" y="1567"/>
                </a:lnTo>
                <a:lnTo>
                  <a:pt x="1759" y="1559"/>
                </a:lnTo>
                <a:lnTo>
                  <a:pt x="1759" y="1265"/>
                </a:lnTo>
                <a:lnTo>
                  <a:pt x="2179" y="1512"/>
                </a:lnTo>
                <a:lnTo>
                  <a:pt x="2185" y="1514"/>
                </a:lnTo>
                <a:lnTo>
                  <a:pt x="2189" y="1516"/>
                </a:lnTo>
                <a:lnTo>
                  <a:pt x="2195" y="1518"/>
                </a:lnTo>
                <a:lnTo>
                  <a:pt x="2199" y="1518"/>
                </a:lnTo>
                <a:lnTo>
                  <a:pt x="2205" y="1518"/>
                </a:lnTo>
                <a:lnTo>
                  <a:pt x="2210" y="1516"/>
                </a:lnTo>
                <a:lnTo>
                  <a:pt x="2215" y="1515"/>
                </a:lnTo>
                <a:lnTo>
                  <a:pt x="2219" y="1513"/>
                </a:lnTo>
                <a:lnTo>
                  <a:pt x="2224" y="1510"/>
                </a:lnTo>
                <a:lnTo>
                  <a:pt x="2228" y="1506"/>
                </a:lnTo>
                <a:lnTo>
                  <a:pt x="2232" y="1502"/>
                </a:lnTo>
                <a:lnTo>
                  <a:pt x="2234" y="1497"/>
                </a:lnTo>
                <a:lnTo>
                  <a:pt x="2236" y="1493"/>
                </a:lnTo>
                <a:lnTo>
                  <a:pt x="2238" y="1488"/>
                </a:lnTo>
                <a:lnTo>
                  <a:pt x="2240" y="1483"/>
                </a:lnTo>
                <a:lnTo>
                  <a:pt x="2240" y="1478"/>
                </a:lnTo>
                <a:lnTo>
                  <a:pt x="2240" y="437"/>
                </a:lnTo>
                <a:lnTo>
                  <a:pt x="2240" y="433"/>
                </a:lnTo>
                <a:lnTo>
                  <a:pt x="2238" y="427"/>
                </a:lnTo>
                <a:lnTo>
                  <a:pt x="2236" y="423"/>
                </a:lnTo>
                <a:lnTo>
                  <a:pt x="2234" y="418"/>
                </a:lnTo>
                <a:lnTo>
                  <a:pt x="2232" y="414"/>
                </a:lnTo>
                <a:lnTo>
                  <a:pt x="2228" y="409"/>
                </a:lnTo>
                <a:lnTo>
                  <a:pt x="2224" y="406"/>
                </a:lnTo>
                <a:lnTo>
                  <a:pt x="2219" y="40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1117" name="Group 55">
            <a:extLst>
              <a:ext uri="{FF2B5EF4-FFF2-40B4-BE49-F238E27FC236}">
                <a16:creationId xmlns:a16="http://schemas.microsoft.com/office/drawing/2014/main" id="{04FC99F4-7951-4AEE-978F-FE19168841DB}"/>
              </a:ext>
            </a:extLst>
          </p:cNvPr>
          <p:cNvGrpSpPr>
            <a:grpSpLocks noChangeAspect="1"/>
          </p:cNvGrpSpPr>
          <p:nvPr/>
        </p:nvGrpSpPr>
        <p:grpSpPr>
          <a:xfrm>
            <a:off x="284400" y="2186361"/>
            <a:ext cx="300651" cy="285619"/>
            <a:chOff x="11601450" y="1368425"/>
            <a:chExt cx="285750" cy="271463"/>
          </a:xfrm>
          <a:solidFill>
            <a:schemeClr val="bg1"/>
          </a:solidFill>
          <a:effectLst/>
        </p:grpSpPr>
        <p:sp>
          <p:nvSpPr>
            <p:cNvPr id="1118" name="Freeform 175">
              <a:extLst>
                <a:ext uri="{FF2B5EF4-FFF2-40B4-BE49-F238E27FC236}">
                  <a16:creationId xmlns:a16="http://schemas.microsoft.com/office/drawing/2014/main" id="{F62EEA3D-F217-4A43-AACA-5FAA9FBC8702}"/>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19" name="Freeform 176">
              <a:extLst>
                <a:ext uri="{FF2B5EF4-FFF2-40B4-BE49-F238E27FC236}">
                  <a16:creationId xmlns:a16="http://schemas.microsoft.com/office/drawing/2014/main" id="{C44AD95D-7C01-4A13-A699-449CD6AEDDBE}"/>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0" name="Freeform 177">
              <a:extLst>
                <a:ext uri="{FF2B5EF4-FFF2-40B4-BE49-F238E27FC236}">
                  <a16:creationId xmlns:a16="http://schemas.microsoft.com/office/drawing/2014/main" id="{47DE5A96-9342-4E81-91F5-6B812ABE5C22}"/>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1" name="Freeform 178">
              <a:extLst>
                <a:ext uri="{FF2B5EF4-FFF2-40B4-BE49-F238E27FC236}">
                  <a16:creationId xmlns:a16="http://schemas.microsoft.com/office/drawing/2014/main" id="{EA22B6D0-2C9A-478C-94A2-7555C3579370}"/>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22" name="Freeform 179">
              <a:extLst>
                <a:ext uri="{FF2B5EF4-FFF2-40B4-BE49-F238E27FC236}">
                  <a16:creationId xmlns:a16="http://schemas.microsoft.com/office/drawing/2014/main" id="{4F8F0FCB-0349-49D0-9E30-5E3224587614}"/>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1123" name="Freeform 192">
            <a:extLst>
              <a:ext uri="{FF2B5EF4-FFF2-40B4-BE49-F238E27FC236}">
                <a16:creationId xmlns:a16="http://schemas.microsoft.com/office/drawing/2014/main" id="{561E614D-EE70-4216-BAEF-3ACD320B48B5}"/>
              </a:ext>
            </a:extLst>
          </p:cNvPr>
          <p:cNvSpPr>
            <a:spLocks noChangeAspect="1" noEditPoints="1"/>
          </p:cNvSpPr>
          <p:nvPr/>
        </p:nvSpPr>
        <p:spPr bwMode="auto">
          <a:xfrm>
            <a:off x="670496" y="2199754"/>
            <a:ext cx="287207" cy="285619"/>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nvGrpSpPr>
          <p:cNvPr id="1130" name="Group 35">
            <a:extLst>
              <a:ext uri="{FF2B5EF4-FFF2-40B4-BE49-F238E27FC236}">
                <a16:creationId xmlns:a16="http://schemas.microsoft.com/office/drawing/2014/main" id="{BB57374D-FC54-4F84-B803-4382B7AC1437}"/>
              </a:ext>
            </a:extLst>
          </p:cNvPr>
          <p:cNvGrpSpPr>
            <a:grpSpLocks noChangeAspect="1"/>
          </p:cNvGrpSpPr>
          <p:nvPr/>
        </p:nvGrpSpPr>
        <p:grpSpPr>
          <a:xfrm>
            <a:off x="1119332" y="2199754"/>
            <a:ext cx="199933" cy="285619"/>
            <a:chOff x="7639050" y="1354138"/>
            <a:chExt cx="200025" cy="285750"/>
          </a:xfrm>
          <a:solidFill>
            <a:schemeClr val="bg1"/>
          </a:solidFill>
          <a:effectLst/>
        </p:grpSpPr>
        <p:sp>
          <p:nvSpPr>
            <p:cNvPr id="1131" name="Freeform 193">
              <a:extLst>
                <a:ext uri="{FF2B5EF4-FFF2-40B4-BE49-F238E27FC236}">
                  <a16:creationId xmlns:a16="http://schemas.microsoft.com/office/drawing/2014/main" id="{31E2413C-A901-4617-BB64-9EDF685D9C85}"/>
                </a:ext>
              </a:extLst>
            </p:cNvPr>
            <p:cNvSpPr>
              <a:spLocks noEditPoints="1"/>
            </p:cNvSpPr>
            <p:nvPr/>
          </p:nvSpPr>
          <p:spPr bwMode="auto">
            <a:xfrm>
              <a:off x="7639050" y="1458913"/>
              <a:ext cx="200025" cy="180975"/>
            </a:xfrm>
            <a:custGeom>
              <a:avLst/>
              <a:gdLst>
                <a:gd name="T0" fmla="*/ 250 w 631"/>
                <a:gd name="T1" fmla="*/ 537 h 572"/>
                <a:gd name="T2" fmla="*/ 179 w 631"/>
                <a:gd name="T3" fmla="*/ 524 h 572"/>
                <a:gd name="T4" fmla="*/ 142 w 631"/>
                <a:gd name="T5" fmla="*/ 510 h 572"/>
                <a:gd name="T6" fmla="*/ 111 w 631"/>
                <a:gd name="T7" fmla="*/ 494 h 572"/>
                <a:gd name="T8" fmla="*/ 86 w 631"/>
                <a:gd name="T9" fmla="*/ 474 h 572"/>
                <a:gd name="T10" fmla="*/ 64 w 631"/>
                <a:gd name="T11" fmla="*/ 449 h 572"/>
                <a:gd name="T12" fmla="*/ 48 w 631"/>
                <a:gd name="T13" fmla="*/ 422 h 572"/>
                <a:gd name="T14" fmla="*/ 38 w 631"/>
                <a:gd name="T15" fmla="*/ 391 h 572"/>
                <a:gd name="T16" fmla="*/ 31 w 631"/>
                <a:gd name="T17" fmla="*/ 356 h 572"/>
                <a:gd name="T18" fmla="*/ 31 w 631"/>
                <a:gd name="T19" fmla="*/ 313 h 572"/>
                <a:gd name="T20" fmla="*/ 47 w 631"/>
                <a:gd name="T21" fmla="*/ 256 h 572"/>
                <a:gd name="T22" fmla="*/ 78 w 631"/>
                <a:gd name="T23" fmla="*/ 192 h 572"/>
                <a:gd name="T24" fmla="*/ 120 w 631"/>
                <a:gd name="T25" fmla="*/ 129 h 572"/>
                <a:gd name="T26" fmla="*/ 167 w 631"/>
                <a:gd name="T27" fmla="*/ 73 h 572"/>
                <a:gd name="T28" fmla="*/ 215 w 631"/>
                <a:gd name="T29" fmla="*/ 31 h 572"/>
                <a:gd name="T30" fmla="*/ 448 w 631"/>
                <a:gd name="T31" fmla="*/ 57 h 572"/>
                <a:gd name="T32" fmla="*/ 496 w 631"/>
                <a:gd name="T33" fmla="*/ 110 h 572"/>
                <a:gd name="T34" fmla="*/ 540 w 631"/>
                <a:gd name="T35" fmla="*/ 171 h 572"/>
                <a:gd name="T36" fmla="*/ 575 w 631"/>
                <a:gd name="T37" fmla="*/ 234 h 572"/>
                <a:gd name="T38" fmla="*/ 597 w 631"/>
                <a:gd name="T39" fmla="*/ 295 h 572"/>
                <a:gd name="T40" fmla="*/ 601 w 631"/>
                <a:gd name="T41" fmla="*/ 343 h 572"/>
                <a:gd name="T42" fmla="*/ 597 w 631"/>
                <a:gd name="T43" fmla="*/ 380 h 572"/>
                <a:gd name="T44" fmla="*/ 587 w 631"/>
                <a:gd name="T45" fmla="*/ 412 h 572"/>
                <a:gd name="T46" fmla="*/ 572 w 631"/>
                <a:gd name="T47" fmla="*/ 441 h 572"/>
                <a:gd name="T48" fmla="*/ 553 w 631"/>
                <a:gd name="T49" fmla="*/ 465 h 572"/>
                <a:gd name="T50" fmla="*/ 528 w 631"/>
                <a:gd name="T51" fmla="*/ 488 h 572"/>
                <a:gd name="T52" fmla="*/ 499 w 631"/>
                <a:gd name="T53" fmla="*/ 506 h 572"/>
                <a:gd name="T54" fmla="*/ 465 w 631"/>
                <a:gd name="T55" fmla="*/ 520 h 572"/>
                <a:gd name="T56" fmla="*/ 411 w 631"/>
                <a:gd name="T57" fmla="*/ 534 h 572"/>
                <a:gd name="T58" fmla="*/ 316 w 631"/>
                <a:gd name="T59" fmla="*/ 542 h 572"/>
                <a:gd name="T60" fmla="*/ 421 w 631"/>
                <a:gd name="T61" fmla="*/ 0 h 572"/>
                <a:gd name="T62" fmla="*/ 201 w 631"/>
                <a:gd name="T63" fmla="*/ 3 h 572"/>
                <a:gd name="T64" fmla="*/ 153 w 631"/>
                <a:gd name="T65" fmla="*/ 46 h 572"/>
                <a:gd name="T66" fmla="*/ 103 w 631"/>
                <a:gd name="T67" fmla="*/ 103 h 572"/>
                <a:gd name="T68" fmla="*/ 56 w 631"/>
                <a:gd name="T69" fmla="*/ 171 h 572"/>
                <a:gd name="T70" fmla="*/ 20 w 631"/>
                <a:gd name="T71" fmla="*/ 242 h 572"/>
                <a:gd name="T72" fmla="*/ 3 w 631"/>
                <a:gd name="T73" fmla="*/ 298 h 572"/>
                <a:gd name="T74" fmla="*/ 0 w 631"/>
                <a:gd name="T75" fmla="*/ 331 h 572"/>
                <a:gd name="T76" fmla="*/ 5 w 631"/>
                <a:gd name="T77" fmla="*/ 386 h 572"/>
                <a:gd name="T78" fmla="*/ 18 w 631"/>
                <a:gd name="T79" fmla="*/ 426 h 572"/>
                <a:gd name="T80" fmla="*/ 33 w 631"/>
                <a:gd name="T81" fmla="*/ 456 h 572"/>
                <a:gd name="T82" fmla="*/ 55 w 631"/>
                <a:gd name="T83" fmla="*/ 485 h 572"/>
                <a:gd name="T84" fmla="*/ 84 w 631"/>
                <a:gd name="T85" fmla="*/ 510 h 572"/>
                <a:gd name="T86" fmla="*/ 121 w 631"/>
                <a:gd name="T87" fmla="*/ 534 h 572"/>
                <a:gd name="T88" fmla="*/ 167 w 631"/>
                <a:gd name="T89" fmla="*/ 552 h 572"/>
                <a:gd name="T90" fmla="*/ 223 w 631"/>
                <a:gd name="T91" fmla="*/ 565 h 572"/>
                <a:gd name="T92" fmla="*/ 290 w 631"/>
                <a:gd name="T93" fmla="*/ 570 h 572"/>
                <a:gd name="T94" fmla="*/ 364 w 631"/>
                <a:gd name="T95" fmla="*/ 569 h 572"/>
                <a:gd name="T96" fmla="*/ 427 w 631"/>
                <a:gd name="T97" fmla="*/ 561 h 572"/>
                <a:gd name="T98" fmla="*/ 481 w 631"/>
                <a:gd name="T99" fmla="*/ 546 h 572"/>
                <a:gd name="T100" fmla="*/ 524 w 631"/>
                <a:gd name="T101" fmla="*/ 527 h 572"/>
                <a:gd name="T102" fmla="*/ 558 w 631"/>
                <a:gd name="T103" fmla="*/ 502 h 572"/>
                <a:gd name="T104" fmla="*/ 584 w 631"/>
                <a:gd name="T105" fmla="*/ 475 h 572"/>
                <a:gd name="T106" fmla="*/ 604 w 631"/>
                <a:gd name="T107" fmla="*/ 446 h 572"/>
                <a:gd name="T108" fmla="*/ 617 w 631"/>
                <a:gd name="T109" fmla="*/ 416 h 572"/>
                <a:gd name="T110" fmla="*/ 629 w 631"/>
                <a:gd name="T111" fmla="*/ 367 h 572"/>
                <a:gd name="T112" fmla="*/ 631 w 631"/>
                <a:gd name="T113" fmla="*/ 320 h 572"/>
                <a:gd name="T114" fmla="*/ 626 w 631"/>
                <a:gd name="T115" fmla="*/ 288 h 572"/>
                <a:gd name="T116" fmla="*/ 601 w 631"/>
                <a:gd name="T117" fmla="*/ 218 h 572"/>
                <a:gd name="T118" fmla="*/ 560 w 631"/>
                <a:gd name="T119" fmla="*/ 147 h 572"/>
                <a:gd name="T120" fmla="*/ 512 w 631"/>
                <a:gd name="T121" fmla="*/ 82 h 572"/>
                <a:gd name="T122" fmla="*/ 462 w 631"/>
                <a:gd name="T123" fmla="*/ 3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1" h="572">
                  <a:moveTo>
                    <a:pt x="316" y="542"/>
                  </a:moveTo>
                  <a:lnTo>
                    <a:pt x="282" y="540"/>
                  </a:lnTo>
                  <a:lnTo>
                    <a:pt x="250" y="537"/>
                  </a:lnTo>
                  <a:lnTo>
                    <a:pt x="220" y="534"/>
                  </a:lnTo>
                  <a:lnTo>
                    <a:pt x="192" y="528"/>
                  </a:lnTo>
                  <a:lnTo>
                    <a:pt x="179" y="524"/>
                  </a:lnTo>
                  <a:lnTo>
                    <a:pt x="166" y="520"/>
                  </a:lnTo>
                  <a:lnTo>
                    <a:pt x="154" y="516"/>
                  </a:lnTo>
                  <a:lnTo>
                    <a:pt x="142" y="510"/>
                  </a:lnTo>
                  <a:lnTo>
                    <a:pt x="132" y="506"/>
                  </a:lnTo>
                  <a:lnTo>
                    <a:pt x="122" y="500"/>
                  </a:lnTo>
                  <a:lnTo>
                    <a:pt x="111" y="494"/>
                  </a:lnTo>
                  <a:lnTo>
                    <a:pt x="103" y="488"/>
                  </a:lnTo>
                  <a:lnTo>
                    <a:pt x="94" y="480"/>
                  </a:lnTo>
                  <a:lnTo>
                    <a:pt x="86" y="474"/>
                  </a:lnTo>
                  <a:lnTo>
                    <a:pt x="78" y="465"/>
                  </a:lnTo>
                  <a:lnTo>
                    <a:pt x="71" y="458"/>
                  </a:lnTo>
                  <a:lnTo>
                    <a:pt x="64" y="449"/>
                  </a:lnTo>
                  <a:lnTo>
                    <a:pt x="59" y="441"/>
                  </a:lnTo>
                  <a:lnTo>
                    <a:pt x="54" y="431"/>
                  </a:lnTo>
                  <a:lnTo>
                    <a:pt x="48" y="422"/>
                  </a:lnTo>
                  <a:lnTo>
                    <a:pt x="44" y="412"/>
                  </a:lnTo>
                  <a:lnTo>
                    <a:pt x="41" y="401"/>
                  </a:lnTo>
                  <a:lnTo>
                    <a:pt x="38" y="391"/>
                  </a:lnTo>
                  <a:lnTo>
                    <a:pt x="34" y="380"/>
                  </a:lnTo>
                  <a:lnTo>
                    <a:pt x="32" y="368"/>
                  </a:lnTo>
                  <a:lnTo>
                    <a:pt x="31" y="356"/>
                  </a:lnTo>
                  <a:lnTo>
                    <a:pt x="30" y="343"/>
                  </a:lnTo>
                  <a:lnTo>
                    <a:pt x="30" y="331"/>
                  </a:lnTo>
                  <a:lnTo>
                    <a:pt x="31" y="313"/>
                  </a:lnTo>
                  <a:lnTo>
                    <a:pt x="34" y="295"/>
                  </a:lnTo>
                  <a:lnTo>
                    <a:pt x="40" y="276"/>
                  </a:lnTo>
                  <a:lnTo>
                    <a:pt x="47" y="256"/>
                  </a:lnTo>
                  <a:lnTo>
                    <a:pt x="56" y="234"/>
                  </a:lnTo>
                  <a:lnTo>
                    <a:pt x="66" y="214"/>
                  </a:lnTo>
                  <a:lnTo>
                    <a:pt x="78" y="192"/>
                  </a:lnTo>
                  <a:lnTo>
                    <a:pt x="91" y="171"/>
                  </a:lnTo>
                  <a:lnTo>
                    <a:pt x="105" y="149"/>
                  </a:lnTo>
                  <a:lnTo>
                    <a:pt x="120" y="129"/>
                  </a:lnTo>
                  <a:lnTo>
                    <a:pt x="135" y="110"/>
                  </a:lnTo>
                  <a:lnTo>
                    <a:pt x="151" y="92"/>
                  </a:lnTo>
                  <a:lnTo>
                    <a:pt x="167" y="73"/>
                  </a:lnTo>
                  <a:lnTo>
                    <a:pt x="183" y="57"/>
                  </a:lnTo>
                  <a:lnTo>
                    <a:pt x="199" y="42"/>
                  </a:lnTo>
                  <a:lnTo>
                    <a:pt x="215" y="31"/>
                  </a:lnTo>
                  <a:lnTo>
                    <a:pt x="416" y="30"/>
                  </a:lnTo>
                  <a:lnTo>
                    <a:pt x="432" y="42"/>
                  </a:lnTo>
                  <a:lnTo>
                    <a:pt x="448" y="57"/>
                  </a:lnTo>
                  <a:lnTo>
                    <a:pt x="464" y="73"/>
                  </a:lnTo>
                  <a:lnTo>
                    <a:pt x="480" y="92"/>
                  </a:lnTo>
                  <a:lnTo>
                    <a:pt x="496" y="110"/>
                  </a:lnTo>
                  <a:lnTo>
                    <a:pt x="512" y="129"/>
                  </a:lnTo>
                  <a:lnTo>
                    <a:pt x="526" y="149"/>
                  </a:lnTo>
                  <a:lnTo>
                    <a:pt x="540" y="171"/>
                  </a:lnTo>
                  <a:lnTo>
                    <a:pt x="553" y="192"/>
                  </a:lnTo>
                  <a:lnTo>
                    <a:pt x="565" y="214"/>
                  </a:lnTo>
                  <a:lnTo>
                    <a:pt x="575" y="234"/>
                  </a:lnTo>
                  <a:lnTo>
                    <a:pt x="584" y="256"/>
                  </a:lnTo>
                  <a:lnTo>
                    <a:pt x="591" y="276"/>
                  </a:lnTo>
                  <a:lnTo>
                    <a:pt x="597" y="295"/>
                  </a:lnTo>
                  <a:lnTo>
                    <a:pt x="600" y="313"/>
                  </a:lnTo>
                  <a:lnTo>
                    <a:pt x="601" y="331"/>
                  </a:lnTo>
                  <a:lnTo>
                    <a:pt x="601" y="343"/>
                  </a:lnTo>
                  <a:lnTo>
                    <a:pt x="600" y="356"/>
                  </a:lnTo>
                  <a:lnTo>
                    <a:pt x="599" y="368"/>
                  </a:lnTo>
                  <a:lnTo>
                    <a:pt x="597" y="380"/>
                  </a:lnTo>
                  <a:lnTo>
                    <a:pt x="593" y="391"/>
                  </a:lnTo>
                  <a:lnTo>
                    <a:pt x="591" y="401"/>
                  </a:lnTo>
                  <a:lnTo>
                    <a:pt x="587" y="412"/>
                  </a:lnTo>
                  <a:lnTo>
                    <a:pt x="583" y="422"/>
                  </a:lnTo>
                  <a:lnTo>
                    <a:pt x="578" y="431"/>
                  </a:lnTo>
                  <a:lnTo>
                    <a:pt x="572" y="441"/>
                  </a:lnTo>
                  <a:lnTo>
                    <a:pt x="567" y="449"/>
                  </a:lnTo>
                  <a:lnTo>
                    <a:pt x="560" y="458"/>
                  </a:lnTo>
                  <a:lnTo>
                    <a:pt x="553" y="465"/>
                  </a:lnTo>
                  <a:lnTo>
                    <a:pt x="545" y="473"/>
                  </a:lnTo>
                  <a:lnTo>
                    <a:pt x="537" y="480"/>
                  </a:lnTo>
                  <a:lnTo>
                    <a:pt x="528" y="488"/>
                  </a:lnTo>
                  <a:lnTo>
                    <a:pt x="520" y="494"/>
                  </a:lnTo>
                  <a:lnTo>
                    <a:pt x="509" y="500"/>
                  </a:lnTo>
                  <a:lnTo>
                    <a:pt x="499" y="506"/>
                  </a:lnTo>
                  <a:lnTo>
                    <a:pt x="489" y="510"/>
                  </a:lnTo>
                  <a:lnTo>
                    <a:pt x="477" y="516"/>
                  </a:lnTo>
                  <a:lnTo>
                    <a:pt x="465" y="520"/>
                  </a:lnTo>
                  <a:lnTo>
                    <a:pt x="452" y="524"/>
                  </a:lnTo>
                  <a:lnTo>
                    <a:pt x="439" y="528"/>
                  </a:lnTo>
                  <a:lnTo>
                    <a:pt x="411" y="534"/>
                  </a:lnTo>
                  <a:lnTo>
                    <a:pt x="381" y="537"/>
                  </a:lnTo>
                  <a:lnTo>
                    <a:pt x="349" y="540"/>
                  </a:lnTo>
                  <a:lnTo>
                    <a:pt x="316" y="542"/>
                  </a:lnTo>
                  <a:close/>
                  <a:moveTo>
                    <a:pt x="430" y="3"/>
                  </a:moveTo>
                  <a:lnTo>
                    <a:pt x="425" y="1"/>
                  </a:lnTo>
                  <a:lnTo>
                    <a:pt x="421" y="0"/>
                  </a:lnTo>
                  <a:lnTo>
                    <a:pt x="210" y="0"/>
                  </a:lnTo>
                  <a:lnTo>
                    <a:pt x="206" y="1"/>
                  </a:lnTo>
                  <a:lnTo>
                    <a:pt x="201" y="3"/>
                  </a:lnTo>
                  <a:lnTo>
                    <a:pt x="186" y="15"/>
                  </a:lnTo>
                  <a:lnTo>
                    <a:pt x="169" y="30"/>
                  </a:lnTo>
                  <a:lnTo>
                    <a:pt x="153" y="46"/>
                  </a:lnTo>
                  <a:lnTo>
                    <a:pt x="136" y="63"/>
                  </a:lnTo>
                  <a:lnTo>
                    <a:pt x="119" y="82"/>
                  </a:lnTo>
                  <a:lnTo>
                    <a:pt x="103" y="103"/>
                  </a:lnTo>
                  <a:lnTo>
                    <a:pt x="86" y="125"/>
                  </a:lnTo>
                  <a:lnTo>
                    <a:pt x="71" y="147"/>
                  </a:lnTo>
                  <a:lnTo>
                    <a:pt x="56" y="171"/>
                  </a:lnTo>
                  <a:lnTo>
                    <a:pt x="43" y="194"/>
                  </a:lnTo>
                  <a:lnTo>
                    <a:pt x="30" y="218"/>
                  </a:lnTo>
                  <a:lnTo>
                    <a:pt x="20" y="242"/>
                  </a:lnTo>
                  <a:lnTo>
                    <a:pt x="12" y="265"/>
                  </a:lnTo>
                  <a:lnTo>
                    <a:pt x="5" y="288"/>
                  </a:lnTo>
                  <a:lnTo>
                    <a:pt x="3" y="298"/>
                  </a:lnTo>
                  <a:lnTo>
                    <a:pt x="1" y="310"/>
                  </a:lnTo>
                  <a:lnTo>
                    <a:pt x="0" y="320"/>
                  </a:lnTo>
                  <a:lnTo>
                    <a:pt x="0" y="331"/>
                  </a:lnTo>
                  <a:lnTo>
                    <a:pt x="0" y="349"/>
                  </a:lnTo>
                  <a:lnTo>
                    <a:pt x="2" y="367"/>
                  </a:lnTo>
                  <a:lnTo>
                    <a:pt x="5" y="386"/>
                  </a:lnTo>
                  <a:lnTo>
                    <a:pt x="11" y="407"/>
                  </a:lnTo>
                  <a:lnTo>
                    <a:pt x="14" y="416"/>
                  </a:lnTo>
                  <a:lnTo>
                    <a:pt x="18" y="426"/>
                  </a:lnTo>
                  <a:lnTo>
                    <a:pt x="23" y="437"/>
                  </a:lnTo>
                  <a:lnTo>
                    <a:pt x="27" y="446"/>
                  </a:lnTo>
                  <a:lnTo>
                    <a:pt x="33" y="456"/>
                  </a:lnTo>
                  <a:lnTo>
                    <a:pt x="40" y="465"/>
                  </a:lnTo>
                  <a:lnTo>
                    <a:pt x="47" y="475"/>
                  </a:lnTo>
                  <a:lnTo>
                    <a:pt x="55" y="485"/>
                  </a:lnTo>
                  <a:lnTo>
                    <a:pt x="63" y="493"/>
                  </a:lnTo>
                  <a:lnTo>
                    <a:pt x="73" y="502"/>
                  </a:lnTo>
                  <a:lnTo>
                    <a:pt x="84" y="510"/>
                  </a:lnTo>
                  <a:lnTo>
                    <a:pt x="95" y="519"/>
                  </a:lnTo>
                  <a:lnTo>
                    <a:pt x="107" y="527"/>
                  </a:lnTo>
                  <a:lnTo>
                    <a:pt x="121" y="534"/>
                  </a:lnTo>
                  <a:lnTo>
                    <a:pt x="135" y="540"/>
                  </a:lnTo>
                  <a:lnTo>
                    <a:pt x="150" y="546"/>
                  </a:lnTo>
                  <a:lnTo>
                    <a:pt x="167" y="552"/>
                  </a:lnTo>
                  <a:lnTo>
                    <a:pt x="184" y="557"/>
                  </a:lnTo>
                  <a:lnTo>
                    <a:pt x="204" y="561"/>
                  </a:lnTo>
                  <a:lnTo>
                    <a:pt x="223" y="565"/>
                  </a:lnTo>
                  <a:lnTo>
                    <a:pt x="244" y="567"/>
                  </a:lnTo>
                  <a:lnTo>
                    <a:pt x="267" y="569"/>
                  </a:lnTo>
                  <a:lnTo>
                    <a:pt x="290" y="570"/>
                  </a:lnTo>
                  <a:lnTo>
                    <a:pt x="316" y="572"/>
                  </a:lnTo>
                  <a:lnTo>
                    <a:pt x="341" y="570"/>
                  </a:lnTo>
                  <a:lnTo>
                    <a:pt x="364" y="569"/>
                  </a:lnTo>
                  <a:lnTo>
                    <a:pt x="387" y="567"/>
                  </a:lnTo>
                  <a:lnTo>
                    <a:pt x="408" y="565"/>
                  </a:lnTo>
                  <a:lnTo>
                    <a:pt x="427" y="561"/>
                  </a:lnTo>
                  <a:lnTo>
                    <a:pt x="447" y="557"/>
                  </a:lnTo>
                  <a:lnTo>
                    <a:pt x="464" y="552"/>
                  </a:lnTo>
                  <a:lnTo>
                    <a:pt x="481" y="546"/>
                  </a:lnTo>
                  <a:lnTo>
                    <a:pt x="496" y="540"/>
                  </a:lnTo>
                  <a:lnTo>
                    <a:pt x="511" y="534"/>
                  </a:lnTo>
                  <a:lnTo>
                    <a:pt x="524" y="527"/>
                  </a:lnTo>
                  <a:lnTo>
                    <a:pt x="536" y="519"/>
                  </a:lnTo>
                  <a:lnTo>
                    <a:pt x="547" y="510"/>
                  </a:lnTo>
                  <a:lnTo>
                    <a:pt x="558" y="502"/>
                  </a:lnTo>
                  <a:lnTo>
                    <a:pt x="568" y="493"/>
                  </a:lnTo>
                  <a:lnTo>
                    <a:pt x="576" y="485"/>
                  </a:lnTo>
                  <a:lnTo>
                    <a:pt x="584" y="475"/>
                  </a:lnTo>
                  <a:lnTo>
                    <a:pt x="591" y="465"/>
                  </a:lnTo>
                  <a:lnTo>
                    <a:pt x="598" y="456"/>
                  </a:lnTo>
                  <a:lnTo>
                    <a:pt x="604" y="446"/>
                  </a:lnTo>
                  <a:lnTo>
                    <a:pt x="608" y="437"/>
                  </a:lnTo>
                  <a:lnTo>
                    <a:pt x="614" y="426"/>
                  </a:lnTo>
                  <a:lnTo>
                    <a:pt x="617" y="416"/>
                  </a:lnTo>
                  <a:lnTo>
                    <a:pt x="620" y="407"/>
                  </a:lnTo>
                  <a:lnTo>
                    <a:pt x="626" y="386"/>
                  </a:lnTo>
                  <a:lnTo>
                    <a:pt x="629" y="367"/>
                  </a:lnTo>
                  <a:lnTo>
                    <a:pt x="631" y="349"/>
                  </a:lnTo>
                  <a:lnTo>
                    <a:pt x="631" y="331"/>
                  </a:lnTo>
                  <a:lnTo>
                    <a:pt x="631" y="320"/>
                  </a:lnTo>
                  <a:lnTo>
                    <a:pt x="630" y="309"/>
                  </a:lnTo>
                  <a:lnTo>
                    <a:pt x="628" y="298"/>
                  </a:lnTo>
                  <a:lnTo>
                    <a:pt x="626" y="288"/>
                  </a:lnTo>
                  <a:lnTo>
                    <a:pt x="619" y="265"/>
                  </a:lnTo>
                  <a:lnTo>
                    <a:pt x="611" y="242"/>
                  </a:lnTo>
                  <a:lnTo>
                    <a:pt x="601" y="218"/>
                  </a:lnTo>
                  <a:lnTo>
                    <a:pt x="588" y="194"/>
                  </a:lnTo>
                  <a:lnTo>
                    <a:pt x="575" y="171"/>
                  </a:lnTo>
                  <a:lnTo>
                    <a:pt x="560" y="147"/>
                  </a:lnTo>
                  <a:lnTo>
                    <a:pt x="545" y="125"/>
                  </a:lnTo>
                  <a:lnTo>
                    <a:pt x="529" y="103"/>
                  </a:lnTo>
                  <a:lnTo>
                    <a:pt x="512" y="82"/>
                  </a:lnTo>
                  <a:lnTo>
                    <a:pt x="495" y="63"/>
                  </a:lnTo>
                  <a:lnTo>
                    <a:pt x="478" y="46"/>
                  </a:lnTo>
                  <a:lnTo>
                    <a:pt x="462" y="30"/>
                  </a:lnTo>
                  <a:lnTo>
                    <a:pt x="445" y="15"/>
                  </a:lnTo>
                  <a:lnTo>
                    <a:pt x="4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2" name="Freeform 194">
              <a:extLst>
                <a:ext uri="{FF2B5EF4-FFF2-40B4-BE49-F238E27FC236}">
                  <a16:creationId xmlns:a16="http://schemas.microsoft.com/office/drawing/2014/main" id="{F5EA708D-5822-448F-BE2F-C5B091A40D0C}"/>
                </a:ext>
              </a:extLst>
            </p:cNvPr>
            <p:cNvSpPr>
              <a:spLocks/>
            </p:cNvSpPr>
            <p:nvPr/>
          </p:nvSpPr>
          <p:spPr bwMode="auto">
            <a:xfrm>
              <a:off x="7700963" y="1439863"/>
              <a:ext cx="76200" cy="9525"/>
            </a:xfrm>
            <a:custGeom>
              <a:avLst/>
              <a:gdLst>
                <a:gd name="T0" fmla="*/ 15 w 241"/>
                <a:gd name="T1" fmla="*/ 0 h 30"/>
                <a:gd name="T2" fmla="*/ 12 w 241"/>
                <a:gd name="T3" fmla="*/ 1 h 30"/>
                <a:gd name="T4" fmla="*/ 10 w 241"/>
                <a:gd name="T5" fmla="*/ 1 h 30"/>
                <a:gd name="T6" fmla="*/ 6 w 241"/>
                <a:gd name="T7" fmla="*/ 3 h 30"/>
                <a:gd name="T8" fmla="*/ 4 w 241"/>
                <a:gd name="T9" fmla="*/ 4 h 30"/>
                <a:gd name="T10" fmla="*/ 3 w 241"/>
                <a:gd name="T11" fmla="*/ 7 h 30"/>
                <a:gd name="T12" fmla="*/ 1 w 241"/>
                <a:gd name="T13" fmla="*/ 9 h 30"/>
                <a:gd name="T14" fmla="*/ 1 w 241"/>
                <a:gd name="T15" fmla="*/ 12 h 30"/>
                <a:gd name="T16" fmla="*/ 0 w 241"/>
                <a:gd name="T17" fmla="*/ 15 h 30"/>
                <a:gd name="T18" fmla="*/ 1 w 241"/>
                <a:gd name="T19" fmla="*/ 18 h 30"/>
                <a:gd name="T20" fmla="*/ 1 w 241"/>
                <a:gd name="T21" fmla="*/ 21 h 30"/>
                <a:gd name="T22" fmla="*/ 3 w 241"/>
                <a:gd name="T23" fmla="*/ 23 h 30"/>
                <a:gd name="T24" fmla="*/ 4 w 241"/>
                <a:gd name="T25" fmla="*/ 25 h 30"/>
                <a:gd name="T26" fmla="*/ 6 w 241"/>
                <a:gd name="T27" fmla="*/ 27 h 30"/>
                <a:gd name="T28" fmla="*/ 10 w 241"/>
                <a:gd name="T29" fmla="*/ 28 h 30"/>
                <a:gd name="T30" fmla="*/ 12 w 241"/>
                <a:gd name="T31" fmla="*/ 30 h 30"/>
                <a:gd name="T32" fmla="*/ 15 w 241"/>
                <a:gd name="T33" fmla="*/ 30 h 30"/>
                <a:gd name="T34" fmla="*/ 226 w 241"/>
                <a:gd name="T35" fmla="*/ 30 h 30"/>
                <a:gd name="T36" fmla="*/ 229 w 241"/>
                <a:gd name="T37" fmla="*/ 30 h 30"/>
                <a:gd name="T38" fmla="*/ 231 w 241"/>
                <a:gd name="T39" fmla="*/ 28 h 30"/>
                <a:gd name="T40" fmla="*/ 235 w 241"/>
                <a:gd name="T41" fmla="*/ 27 h 30"/>
                <a:gd name="T42" fmla="*/ 237 w 241"/>
                <a:gd name="T43" fmla="*/ 25 h 30"/>
                <a:gd name="T44" fmla="*/ 238 w 241"/>
                <a:gd name="T45" fmla="*/ 23 h 30"/>
                <a:gd name="T46" fmla="*/ 240 w 241"/>
                <a:gd name="T47" fmla="*/ 21 h 30"/>
                <a:gd name="T48" fmla="*/ 241 w 241"/>
                <a:gd name="T49" fmla="*/ 18 h 30"/>
                <a:gd name="T50" fmla="*/ 241 w 241"/>
                <a:gd name="T51" fmla="*/ 15 h 30"/>
                <a:gd name="T52" fmla="*/ 241 w 241"/>
                <a:gd name="T53" fmla="*/ 11 h 30"/>
                <a:gd name="T54" fmla="*/ 240 w 241"/>
                <a:gd name="T55" fmla="*/ 9 h 30"/>
                <a:gd name="T56" fmla="*/ 238 w 241"/>
                <a:gd name="T57" fmla="*/ 6 h 30"/>
                <a:gd name="T58" fmla="*/ 237 w 241"/>
                <a:gd name="T59" fmla="*/ 4 h 30"/>
                <a:gd name="T60" fmla="*/ 235 w 241"/>
                <a:gd name="T61" fmla="*/ 3 h 30"/>
                <a:gd name="T62" fmla="*/ 231 w 241"/>
                <a:gd name="T63" fmla="*/ 1 h 30"/>
                <a:gd name="T64" fmla="*/ 229 w 241"/>
                <a:gd name="T65" fmla="*/ 1 h 30"/>
                <a:gd name="T66" fmla="*/ 226 w 241"/>
                <a:gd name="T67" fmla="*/ 0 h 30"/>
                <a:gd name="T68" fmla="*/ 15 w 24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0"/>
                  </a:moveTo>
                  <a:lnTo>
                    <a:pt x="12" y="1"/>
                  </a:lnTo>
                  <a:lnTo>
                    <a:pt x="10" y="1"/>
                  </a:lnTo>
                  <a:lnTo>
                    <a:pt x="6" y="3"/>
                  </a:lnTo>
                  <a:lnTo>
                    <a:pt x="4" y="4"/>
                  </a:lnTo>
                  <a:lnTo>
                    <a:pt x="3" y="7"/>
                  </a:lnTo>
                  <a:lnTo>
                    <a:pt x="1" y="9"/>
                  </a:lnTo>
                  <a:lnTo>
                    <a:pt x="1" y="12"/>
                  </a:lnTo>
                  <a:lnTo>
                    <a:pt x="0" y="15"/>
                  </a:lnTo>
                  <a:lnTo>
                    <a:pt x="1" y="18"/>
                  </a:lnTo>
                  <a:lnTo>
                    <a:pt x="1" y="21"/>
                  </a:lnTo>
                  <a:lnTo>
                    <a:pt x="3" y="23"/>
                  </a:lnTo>
                  <a:lnTo>
                    <a:pt x="4" y="25"/>
                  </a:lnTo>
                  <a:lnTo>
                    <a:pt x="6" y="27"/>
                  </a:lnTo>
                  <a:lnTo>
                    <a:pt x="10" y="28"/>
                  </a:lnTo>
                  <a:lnTo>
                    <a:pt x="12" y="30"/>
                  </a:lnTo>
                  <a:lnTo>
                    <a:pt x="15" y="30"/>
                  </a:lnTo>
                  <a:lnTo>
                    <a:pt x="226" y="30"/>
                  </a:lnTo>
                  <a:lnTo>
                    <a:pt x="229" y="30"/>
                  </a:lnTo>
                  <a:lnTo>
                    <a:pt x="231" y="28"/>
                  </a:lnTo>
                  <a:lnTo>
                    <a:pt x="235" y="27"/>
                  </a:lnTo>
                  <a:lnTo>
                    <a:pt x="237" y="25"/>
                  </a:lnTo>
                  <a:lnTo>
                    <a:pt x="238" y="23"/>
                  </a:lnTo>
                  <a:lnTo>
                    <a:pt x="240" y="21"/>
                  </a:lnTo>
                  <a:lnTo>
                    <a:pt x="241" y="18"/>
                  </a:lnTo>
                  <a:lnTo>
                    <a:pt x="241" y="15"/>
                  </a:lnTo>
                  <a:lnTo>
                    <a:pt x="241" y="11"/>
                  </a:lnTo>
                  <a:lnTo>
                    <a:pt x="240" y="9"/>
                  </a:lnTo>
                  <a:lnTo>
                    <a:pt x="238" y="6"/>
                  </a:lnTo>
                  <a:lnTo>
                    <a:pt x="237" y="4"/>
                  </a:lnTo>
                  <a:lnTo>
                    <a:pt x="235" y="3"/>
                  </a:lnTo>
                  <a:lnTo>
                    <a:pt x="231" y="1"/>
                  </a:lnTo>
                  <a:lnTo>
                    <a:pt x="229" y="1"/>
                  </a:lnTo>
                  <a:lnTo>
                    <a:pt x="226"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3" name="Freeform 195">
              <a:extLst>
                <a:ext uri="{FF2B5EF4-FFF2-40B4-BE49-F238E27FC236}">
                  <a16:creationId xmlns:a16="http://schemas.microsoft.com/office/drawing/2014/main" id="{4B384B10-F098-4AE4-A3A7-9AA229FB59B4}"/>
                </a:ext>
              </a:extLst>
            </p:cNvPr>
            <p:cNvSpPr>
              <a:spLocks noEditPoints="1"/>
            </p:cNvSpPr>
            <p:nvPr/>
          </p:nvSpPr>
          <p:spPr bwMode="auto">
            <a:xfrm>
              <a:off x="7681913" y="1354138"/>
              <a:ext cx="114300" cy="76200"/>
            </a:xfrm>
            <a:custGeom>
              <a:avLst/>
              <a:gdLst>
                <a:gd name="T0" fmla="*/ 136 w 361"/>
                <a:gd name="T1" fmla="*/ 120 h 240"/>
                <a:gd name="T2" fmla="*/ 146 w 361"/>
                <a:gd name="T3" fmla="*/ 115 h 240"/>
                <a:gd name="T4" fmla="*/ 181 w 361"/>
                <a:gd name="T5" fmla="*/ 48 h 240"/>
                <a:gd name="T6" fmla="*/ 215 w 361"/>
                <a:gd name="T7" fmla="*/ 115 h 240"/>
                <a:gd name="T8" fmla="*/ 225 w 361"/>
                <a:gd name="T9" fmla="*/ 120 h 240"/>
                <a:gd name="T10" fmla="*/ 304 w 361"/>
                <a:gd name="T11" fmla="*/ 91 h 240"/>
                <a:gd name="T12" fmla="*/ 289 w 361"/>
                <a:gd name="T13" fmla="*/ 116 h 240"/>
                <a:gd name="T14" fmla="*/ 275 w 361"/>
                <a:gd name="T15" fmla="*/ 146 h 240"/>
                <a:gd name="T16" fmla="*/ 264 w 361"/>
                <a:gd name="T17" fmla="*/ 177 h 240"/>
                <a:gd name="T18" fmla="*/ 257 w 361"/>
                <a:gd name="T19" fmla="*/ 210 h 240"/>
                <a:gd name="T20" fmla="*/ 102 w 361"/>
                <a:gd name="T21" fmla="*/ 193 h 240"/>
                <a:gd name="T22" fmla="*/ 92 w 361"/>
                <a:gd name="T23" fmla="*/ 161 h 240"/>
                <a:gd name="T24" fmla="*/ 79 w 361"/>
                <a:gd name="T25" fmla="*/ 130 h 240"/>
                <a:gd name="T26" fmla="*/ 64 w 361"/>
                <a:gd name="T27" fmla="*/ 103 h 240"/>
                <a:gd name="T28" fmla="*/ 131 w 361"/>
                <a:gd name="T29" fmla="*/ 118 h 240"/>
                <a:gd name="T30" fmla="*/ 76 w 361"/>
                <a:gd name="T31" fmla="*/ 228 h 240"/>
                <a:gd name="T32" fmla="*/ 78 w 361"/>
                <a:gd name="T33" fmla="*/ 233 h 240"/>
                <a:gd name="T34" fmla="*/ 81 w 361"/>
                <a:gd name="T35" fmla="*/ 237 h 240"/>
                <a:gd name="T36" fmla="*/ 88 w 361"/>
                <a:gd name="T37" fmla="*/ 240 h 240"/>
                <a:gd name="T38" fmla="*/ 271 w 361"/>
                <a:gd name="T39" fmla="*/ 240 h 240"/>
                <a:gd name="T40" fmla="*/ 276 w 361"/>
                <a:gd name="T41" fmla="*/ 238 h 240"/>
                <a:gd name="T42" fmla="*/ 282 w 361"/>
                <a:gd name="T43" fmla="*/ 235 h 240"/>
                <a:gd name="T44" fmla="*/ 285 w 361"/>
                <a:gd name="T45" fmla="*/ 231 h 240"/>
                <a:gd name="T46" fmla="*/ 286 w 361"/>
                <a:gd name="T47" fmla="*/ 225 h 240"/>
                <a:gd name="T48" fmla="*/ 289 w 361"/>
                <a:gd name="T49" fmla="*/ 199 h 240"/>
                <a:gd name="T50" fmla="*/ 297 w 361"/>
                <a:gd name="T51" fmla="*/ 171 h 240"/>
                <a:gd name="T52" fmla="*/ 309 w 361"/>
                <a:gd name="T53" fmla="*/ 145 h 240"/>
                <a:gd name="T54" fmla="*/ 321 w 361"/>
                <a:gd name="T55" fmla="*/ 122 h 240"/>
                <a:gd name="T56" fmla="*/ 358 w 361"/>
                <a:gd name="T57" fmla="*/ 69 h 240"/>
                <a:gd name="T58" fmla="*/ 361 w 361"/>
                <a:gd name="T59" fmla="*/ 60 h 240"/>
                <a:gd name="T60" fmla="*/ 358 w 361"/>
                <a:gd name="T61" fmla="*/ 51 h 240"/>
                <a:gd name="T62" fmla="*/ 350 w 361"/>
                <a:gd name="T63" fmla="*/ 45 h 240"/>
                <a:gd name="T64" fmla="*/ 341 w 361"/>
                <a:gd name="T65" fmla="*/ 46 h 240"/>
                <a:gd name="T66" fmla="*/ 194 w 361"/>
                <a:gd name="T67" fmla="*/ 7 h 240"/>
                <a:gd name="T68" fmla="*/ 189 w 361"/>
                <a:gd name="T69" fmla="*/ 2 h 240"/>
                <a:gd name="T70" fmla="*/ 180 w 361"/>
                <a:gd name="T71" fmla="*/ 0 h 240"/>
                <a:gd name="T72" fmla="*/ 172 w 361"/>
                <a:gd name="T73" fmla="*/ 2 h 240"/>
                <a:gd name="T74" fmla="*/ 167 w 361"/>
                <a:gd name="T75" fmla="*/ 7 h 240"/>
                <a:gd name="T76" fmla="*/ 20 w 361"/>
                <a:gd name="T77" fmla="*/ 46 h 240"/>
                <a:gd name="T78" fmla="*/ 11 w 361"/>
                <a:gd name="T79" fmla="*/ 45 h 240"/>
                <a:gd name="T80" fmla="*/ 3 w 361"/>
                <a:gd name="T81" fmla="*/ 51 h 240"/>
                <a:gd name="T82" fmla="*/ 0 w 361"/>
                <a:gd name="T83" fmla="*/ 60 h 240"/>
                <a:gd name="T84" fmla="*/ 3 w 361"/>
                <a:gd name="T85" fmla="*/ 69 h 240"/>
                <a:gd name="T86" fmla="*/ 40 w 361"/>
                <a:gd name="T87" fmla="*/ 122 h 240"/>
                <a:gd name="T88" fmla="*/ 52 w 361"/>
                <a:gd name="T89" fmla="*/ 145 h 240"/>
                <a:gd name="T90" fmla="*/ 64 w 361"/>
                <a:gd name="T91" fmla="*/ 171 h 240"/>
                <a:gd name="T92" fmla="*/ 72 w 361"/>
                <a:gd name="T93" fmla="*/ 199 h 240"/>
                <a:gd name="T94" fmla="*/ 75 w 361"/>
                <a:gd name="T95" fmla="*/ 2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1" h="240">
                  <a:moveTo>
                    <a:pt x="131" y="118"/>
                  </a:moveTo>
                  <a:lnTo>
                    <a:pt x="136" y="120"/>
                  </a:lnTo>
                  <a:lnTo>
                    <a:pt x="141" y="118"/>
                  </a:lnTo>
                  <a:lnTo>
                    <a:pt x="146" y="115"/>
                  </a:lnTo>
                  <a:lnTo>
                    <a:pt x="149" y="111"/>
                  </a:lnTo>
                  <a:lnTo>
                    <a:pt x="181" y="48"/>
                  </a:lnTo>
                  <a:lnTo>
                    <a:pt x="212" y="111"/>
                  </a:lnTo>
                  <a:lnTo>
                    <a:pt x="215" y="115"/>
                  </a:lnTo>
                  <a:lnTo>
                    <a:pt x="220" y="118"/>
                  </a:lnTo>
                  <a:lnTo>
                    <a:pt x="225" y="120"/>
                  </a:lnTo>
                  <a:lnTo>
                    <a:pt x="231" y="118"/>
                  </a:lnTo>
                  <a:lnTo>
                    <a:pt x="304" y="91"/>
                  </a:lnTo>
                  <a:lnTo>
                    <a:pt x="297" y="103"/>
                  </a:lnTo>
                  <a:lnTo>
                    <a:pt x="289" y="116"/>
                  </a:lnTo>
                  <a:lnTo>
                    <a:pt x="282" y="130"/>
                  </a:lnTo>
                  <a:lnTo>
                    <a:pt x="275" y="146"/>
                  </a:lnTo>
                  <a:lnTo>
                    <a:pt x="269" y="161"/>
                  </a:lnTo>
                  <a:lnTo>
                    <a:pt x="264" y="177"/>
                  </a:lnTo>
                  <a:lnTo>
                    <a:pt x="259" y="193"/>
                  </a:lnTo>
                  <a:lnTo>
                    <a:pt x="257" y="210"/>
                  </a:lnTo>
                  <a:lnTo>
                    <a:pt x="105" y="210"/>
                  </a:lnTo>
                  <a:lnTo>
                    <a:pt x="102" y="193"/>
                  </a:lnTo>
                  <a:lnTo>
                    <a:pt x="97" y="177"/>
                  </a:lnTo>
                  <a:lnTo>
                    <a:pt x="92" y="161"/>
                  </a:lnTo>
                  <a:lnTo>
                    <a:pt x="86" y="145"/>
                  </a:lnTo>
                  <a:lnTo>
                    <a:pt x="79" y="130"/>
                  </a:lnTo>
                  <a:lnTo>
                    <a:pt x="72" y="116"/>
                  </a:lnTo>
                  <a:lnTo>
                    <a:pt x="64" y="103"/>
                  </a:lnTo>
                  <a:lnTo>
                    <a:pt x="57" y="91"/>
                  </a:lnTo>
                  <a:lnTo>
                    <a:pt x="131" y="118"/>
                  </a:lnTo>
                  <a:close/>
                  <a:moveTo>
                    <a:pt x="75" y="225"/>
                  </a:moveTo>
                  <a:lnTo>
                    <a:pt x="76" y="228"/>
                  </a:lnTo>
                  <a:lnTo>
                    <a:pt x="76" y="231"/>
                  </a:lnTo>
                  <a:lnTo>
                    <a:pt x="78" y="233"/>
                  </a:lnTo>
                  <a:lnTo>
                    <a:pt x="79" y="235"/>
                  </a:lnTo>
                  <a:lnTo>
                    <a:pt x="81" y="237"/>
                  </a:lnTo>
                  <a:lnTo>
                    <a:pt x="85" y="238"/>
                  </a:lnTo>
                  <a:lnTo>
                    <a:pt x="88" y="240"/>
                  </a:lnTo>
                  <a:lnTo>
                    <a:pt x="90" y="240"/>
                  </a:lnTo>
                  <a:lnTo>
                    <a:pt x="271" y="240"/>
                  </a:lnTo>
                  <a:lnTo>
                    <a:pt x="274" y="240"/>
                  </a:lnTo>
                  <a:lnTo>
                    <a:pt x="276" y="238"/>
                  </a:lnTo>
                  <a:lnTo>
                    <a:pt x="280" y="237"/>
                  </a:lnTo>
                  <a:lnTo>
                    <a:pt x="282" y="235"/>
                  </a:lnTo>
                  <a:lnTo>
                    <a:pt x="283" y="233"/>
                  </a:lnTo>
                  <a:lnTo>
                    <a:pt x="285" y="231"/>
                  </a:lnTo>
                  <a:lnTo>
                    <a:pt x="285" y="228"/>
                  </a:lnTo>
                  <a:lnTo>
                    <a:pt x="286" y="225"/>
                  </a:lnTo>
                  <a:lnTo>
                    <a:pt x="287" y="212"/>
                  </a:lnTo>
                  <a:lnTo>
                    <a:pt x="289" y="199"/>
                  </a:lnTo>
                  <a:lnTo>
                    <a:pt x="292" y="185"/>
                  </a:lnTo>
                  <a:lnTo>
                    <a:pt x="297" y="171"/>
                  </a:lnTo>
                  <a:lnTo>
                    <a:pt x="302" y="158"/>
                  </a:lnTo>
                  <a:lnTo>
                    <a:pt x="309" y="145"/>
                  </a:lnTo>
                  <a:lnTo>
                    <a:pt x="315" y="133"/>
                  </a:lnTo>
                  <a:lnTo>
                    <a:pt x="321" y="122"/>
                  </a:lnTo>
                  <a:lnTo>
                    <a:pt x="346" y="84"/>
                  </a:lnTo>
                  <a:lnTo>
                    <a:pt x="358" y="69"/>
                  </a:lnTo>
                  <a:lnTo>
                    <a:pt x="360" y="65"/>
                  </a:lnTo>
                  <a:lnTo>
                    <a:pt x="361" y="60"/>
                  </a:lnTo>
                  <a:lnTo>
                    <a:pt x="360" y="55"/>
                  </a:lnTo>
                  <a:lnTo>
                    <a:pt x="358" y="51"/>
                  </a:lnTo>
                  <a:lnTo>
                    <a:pt x="355" y="47"/>
                  </a:lnTo>
                  <a:lnTo>
                    <a:pt x="350" y="45"/>
                  </a:lnTo>
                  <a:lnTo>
                    <a:pt x="346" y="45"/>
                  </a:lnTo>
                  <a:lnTo>
                    <a:pt x="341" y="46"/>
                  </a:lnTo>
                  <a:lnTo>
                    <a:pt x="234" y="85"/>
                  </a:lnTo>
                  <a:lnTo>
                    <a:pt x="194" y="7"/>
                  </a:lnTo>
                  <a:lnTo>
                    <a:pt x="192" y="4"/>
                  </a:lnTo>
                  <a:lnTo>
                    <a:pt x="189" y="2"/>
                  </a:lnTo>
                  <a:lnTo>
                    <a:pt x="184" y="1"/>
                  </a:lnTo>
                  <a:lnTo>
                    <a:pt x="180" y="0"/>
                  </a:lnTo>
                  <a:lnTo>
                    <a:pt x="177" y="1"/>
                  </a:lnTo>
                  <a:lnTo>
                    <a:pt x="172" y="2"/>
                  </a:lnTo>
                  <a:lnTo>
                    <a:pt x="169" y="4"/>
                  </a:lnTo>
                  <a:lnTo>
                    <a:pt x="167" y="7"/>
                  </a:lnTo>
                  <a:lnTo>
                    <a:pt x="129" y="85"/>
                  </a:lnTo>
                  <a:lnTo>
                    <a:pt x="20" y="46"/>
                  </a:lnTo>
                  <a:lnTo>
                    <a:pt x="15" y="45"/>
                  </a:lnTo>
                  <a:lnTo>
                    <a:pt x="11" y="45"/>
                  </a:lnTo>
                  <a:lnTo>
                    <a:pt x="6" y="47"/>
                  </a:lnTo>
                  <a:lnTo>
                    <a:pt x="3" y="51"/>
                  </a:lnTo>
                  <a:lnTo>
                    <a:pt x="1" y="55"/>
                  </a:lnTo>
                  <a:lnTo>
                    <a:pt x="0" y="60"/>
                  </a:lnTo>
                  <a:lnTo>
                    <a:pt x="1" y="65"/>
                  </a:lnTo>
                  <a:lnTo>
                    <a:pt x="3" y="69"/>
                  </a:lnTo>
                  <a:lnTo>
                    <a:pt x="15" y="84"/>
                  </a:lnTo>
                  <a:lnTo>
                    <a:pt x="40" y="122"/>
                  </a:lnTo>
                  <a:lnTo>
                    <a:pt x="46" y="133"/>
                  </a:lnTo>
                  <a:lnTo>
                    <a:pt x="52" y="145"/>
                  </a:lnTo>
                  <a:lnTo>
                    <a:pt x="59" y="158"/>
                  </a:lnTo>
                  <a:lnTo>
                    <a:pt x="64" y="171"/>
                  </a:lnTo>
                  <a:lnTo>
                    <a:pt x="69" y="185"/>
                  </a:lnTo>
                  <a:lnTo>
                    <a:pt x="72" y="199"/>
                  </a:lnTo>
                  <a:lnTo>
                    <a:pt x="75" y="212"/>
                  </a:lnTo>
                  <a:lnTo>
                    <a:pt x="75" y="225"/>
                  </a:lnTo>
                  <a:lnTo>
                    <a:pt x="7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34" name="Freeform 196">
              <a:extLst>
                <a:ext uri="{FF2B5EF4-FFF2-40B4-BE49-F238E27FC236}">
                  <a16:creationId xmlns:a16="http://schemas.microsoft.com/office/drawing/2014/main" id="{B8A78D13-C4B4-474B-92F9-35537606B2E3}"/>
                </a:ext>
              </a:extLst>
            </p:cNvPr>
            <p:cNvSpPr>
              <a:spLocks/>
            </p:cNvSpPr>
            <p:nvPr/>
          </p:nvSpPr>
          <p:spPr bwMode="auto">
            <a:xfrm>
              <a:off x="7715250" y="1501775"/>
              <a:ext cx="47625" cy="104775"/>
            </a:xfrm>
            <a:custGeom>
              <a:avLst/>
              <a:gdLst>
                <a:gd name="T0" fmla="*/ 101 w 151"/>
                <a:gd name="T1" fmla="*/ 67 h 331"/>
                <a:gd name="T2" fmla="*/ 120 w 151"/>
                <a:gd name="T3" fmla="*/ 96 h 331"/>
                <a:gd name="T4" fmla="*/ 123 w 151"/>
                <a:gd name="T5" fmla="*/ 113 h 331"/>
                <a:gd name="T6" fmla="*/ 133 w 151"/>
                <a:gd name="T7" fmla="*/ 120 h 331"/>
                <a:gd name="T8" fmla="*/ 145 w 151"/>
                <a:gd name="T9" fmla="*/ 117 h 331"/>
                <a:gd name="T10" fmla="*/ 150 w 151"/>
                <a:gd name="T11" fmla="*/ 108 h 331"/>
                <a:gd name="T12" fmla="*/ 148 w 151"/>
                <a:gd name="T13" fmla="*/ 85 h 331"/>
                <a:gd name="T14" fmla="*/ 137 w 151"/>
                <a:gd name="T15" fmla="*/ 62 h 331"/>
                <a:gd name="T16" fmla="*/ 109 w 151"/>
                <a:gd name="T17" fmla="*/ 37 h 331"/>
                <a:gd name="T18" fmla="*/ 91 w 151"/>
                <a:gd name="T19" fmla="*/ 15 h 331"/>
                <a:gd name="T20" fmla="*/ 86 w 151"/>
                <a:gd name="T21" fmla="*/ 4 h 331"/>
                <a:gd name="T22" fmla="*/ 76 w 151"/>
                <a:gd name="T23" fmla="*/ 0 h 331"/>
                <a:gd name="T24" fmla="*/ 65 w 151"/>
                <a:gd name="T25" fmla="*/ 4 h 331"/>
                <a:gd name="T26" fmla="*/ 60 w 151"/>
                <a:gd name="T27" fmla="*/ 15 h 331"/>
                <a:gd name="T28" fmla="*/ 42 w 151"/>
                <a:gd name="T29" fmla="*/ 37 h 331"/>
                <a:gd name="T30" fmla="*/ 14 w 151"/>
                <a:gd name="T31" fmla="*/ 62 h 331"/>
                <a:gd name="T32" fmla="*/ 3 w 151"/>
                <a:gd name="T33" fmla="*/ 85 h 331"/>
                <a:gd name="T34" fmla="*/ 1 w 151"/>
                <a:gd name="T35" fmla="*/ 112 h 331"/>
                <a:gd name="T36" fmla="*/ 10 w 151"/>
                <a:gd name="T37" fmla="*/ 140 h 331"/>
                <a:gd name="T38" fmla="*/ 28 w 151"/>
                <a:gd name="T39" fmla="*/ 162 h 331"/>
                <a:gd name="T40" fmla="*/ 54 w 151"/>
                <a:gd name="T41" fmla="*/ 176 h 331"/>
                <a:gd name="T42" fmla="*/ 85 w 151"/>
                <a:gd name="T43" fmla="*/ 181 h 331"/>
                <a:gd name="T44" fmla="*/ 112 w 151"/>
                <a:gd name="T45" fmla="*/ 200 h 331"/>
                <a:gd name="T46" fmla="*/ 120 w 151"/>
                <a:gd name="T47" fmla="*/ 234 h 331"/>
                <a:gd name="T48" fmla="*/ 101 w 151"/>
                <a:gd name="T49" fmla="*/ 262 h 331"/>
                <a:gd name="T50" fmla="*/ 66 w 151"/>
                <a:gd name="T51" fmla="*/ 269 h 331"/>
                <a:gd name="T52" fmla="*/ 39 w 151"/>
                <a:gd name="T53" fmla="*/ 250 h 331"/>
                <a:gd name="T54" fmla="*/ 30 w 151"/>
                <a:gd name="T55" fmla="*/ 221 h 331"/>
                <a:gd name="T56" fmla="*/ 24 w 151"/>
                <a:gd name="T57" fmla="*/ 213 h 331"/>
                <a:gd name="T58" fmla="*/ 13 w 151"/>
                <a:gd name="T59" fmla="*/ 211 h 331"/>
                <a:gd name="T60" fmla="*/ 3 w 151"/>
                <a:gd name="T61" fmla="*/ 216 h 331"/>
                <a:gd name="T62" fmla="*/ 1 w 151"/>
                <a:gd name="T63" fmla="*/ 232 h 331"/>
                <a:gd name="T64" fmla="*/ 7 w 151"/>
                <a:gd name="T65" fmla="*/ 257 h 331"/>
                <a:gd name="T66" fmla="*/ 27 w 151"/>
                <a:gd name="T67" fmla="*/ 281 h 331"/>
                <a:gd name="T68" fmla="*/ 55 w 151"/>
                <a:gd name="T69" fmla="*/ 297 h 331"/>
                <a:gd name="T70" fmla="*/ 62 w 151"/>
                <a:gd name="T71" fmla="*/ 321 h 331"/>
                <a:gd name="T72" fmla="*/ 70 w 151"/>
                <a:gd name="T73" fmla="*/ 328 h 331"/>
                <a:gd name="T74" fmla="*/ 81 w 151"/>
                <a:gd name="T75" fmla="*/ 328 h 331"/>
                <a:gd name="T76" fmla="*/ 89 w 151"/>
                <a:gd name="T77" fmla="*/ 321 h 331"/>
                <a:gd name="T78" fmla="*/ 96 w 151"/>
                <a:gd name="T79" fmla="*/ 297 h 331"/>
                <a:gd name="T80" fmla="*/ 124 w 151"/>
                <a:gd name="T81" fmla="*/ 281 h 331"/>
                <a:gd name="T82" fmla="*/ 144 w 151"/>
                <a:gd name="T83" fmla="*/ 257 h 331"/>
                <a:gd name="T84" fmla="*/ 150 w 151"/>
                <a:gd name="T85" fmla="*/ 232 h 331"/>
                <a:gd name="T86" fmla="*/ 148 w 151"/>
                <a:gd name="T87" fmla="*/ 202 h 331"/>
                <a:gd name="T88" fmla="*/ 134 w 151"/>
                <a:gd name="T89" fmla="*/ 177 h 331"/>
                <a:gd name="T90" fmla="*/ 111 w 151"/>
                <a:gd name="T91" fmla="*/ 159 h 331"/>
                <a:gd name="T92" fmla="*/ 84 w 151"/>
                <a:gd name="T93" fmla="*/ 150 h 331"/>
                <a:gd name="T94" fmla="*/ 50 w 151"/>
                <a:gd name="T95" fmla="*/ 142 h 331"/>
                <a:gd name="T96" fmla="*/ 31 w 151"/>
                <a:gd name="T97" fmla="*/ 113 h 331"/>
                <a:gd name="T98" fmla="*/ 39 w 151"/>
                <a:gd name="T99" fmla="*/ 79 h 331"/>
                <a:gd name="T100" fmla="*/ 66 w 151"/>
                <a:gd name="T101" fmla="*/ 6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331">
                  <a:moveTo>
                    <a:pt x="76" y="60"/>
                  </a:moveTo>
                  <a:lnTo>
                    <a:pt x="85" y="61"/>
                  </a:lnTo>
                  <a:lnTo>
                    <a:pt x="93" y="63"/>
                  </a:lnTo>
                  <a:lnTo>
                    <a:pt x="101" y="67"/>
                  </a:lnTo>
                  <a:lnTo>
                    <a:pt x="107" y="72"/>
                  </a:lnTo>
                  <a:lnTo>
                    <a:pt x="112" y="79"/>
                  </a:lnTo>
                  <a:lnTo>
                    <a:pt x="117" y="87"/>
                  </a:lnTo>
                  <a:lnTo>
                    <a:pt x="120" y="96"/>
                  </a:lnTo>
                  <a:lnTo>
                    <a:pt x="121" y="105"/>
                  </a:lnTo>
                  <a:lnTo>
                    <a:pt x="121" y="108"/>
                  </a:lnTo>
                  <a:lnTo>
                    <a:pt x="122" y="110"/>
                  </a:lnTo>
                  <a:lnTo>
                    <a:pt x="123" y="113"/>
                  </a:lnTo>
                  <a:lnTo>
                    <a:pt x="125" y="115"/>
                  </a:lnTo>
                  <a:lnTo>
                    <a:pt x="127" y="117"/>
                  </a:lnTo>
                  <a:lnTo>
                    <a:pt x="130" y="118"/>
                  </a:lnTo>
                  <a:lnTo>
                    <a:pt x="133" y="120"/>
                  </a:lnTo>
                  <a:lnTo>
                    <a:pt x="136" y="120"/>
                  </a:lnTo>
                  <a:lnTo>
                    <a:pt x="138" y="120"/>
                  </a:lnTo>
                  <a:lnTo>
                    <a:pt x="141" y="118"/>
                  </a:lnTo>
                  <a:lnTo>
                    <a:pt x="145" y="117"/>
                  </a:lnTo>
                  <a:lnTo>
                    <a:pt x="147" y="115"/>
                  </a:lnTo>
                  <a:lnTo>
                    <a:pt x="148" y="113"/>
                  </a:lnTo>
                  <a:lnTo>
                    <a:pt x="150" y="110"/>
                  </a:lnTo>
                  <a:lnTo>
                    <a:pt x="150" y="108"/>
                  </a:lnTo>
                  <a:lnTo>
                    <a:pt x="151" y="105"/>
                  </a:lnTo>
                  <a:lnTo>
                    <a:pt x="150" y="98"/>
                  </a:lnTo>
                  <a:lnTo>
                    <a:pt x="150" y="92"/>
                  </a:lnTo>
                  <a:lnTo>
                    <a:pt x="148" y="85"/>
                  </a:lnTo>
                  <a:lnTo>
                    <a:pt x="146" y="79"/>
                  </a:lnTo>
                  <a:lnTo>
                    <a:pt x="144" y="72"/>
                  </a:lnTo>
                  <a:lnTo>
                    <a:pt x="140" y="67"/>
                  </a:lnTo>
                  <a:lnTo>
                    <a:pt x="137" y="62"/>
                  </a:lnTo>
                  <a:lnTo>
                    <a:pt x="134" y="56"/>
                  </a:lnTo>
                  <a:lnTo>
                    <a:pt x="124" y="48"/>
                  </a:lnTo>
                  <a:lnTo>
                    <a:pt x="115" y="40"/>
                  </a:lnTo>
                  <a:lnTo>
                    <a:pt x="109" y="37"/>
                  </a:lnTo>
                  <a:lnTo>
                    <a:pt x="103" y="35"/>
                  </a:lnTo>
                  <a:lnTo>
                    <a:pt x="96" y="33"/>
                  </a:lnTo>
                  <a:lnTo>
                    <a:pt x="91" y="31"/>
                  </a:lnTo>
                  <a:lnTo>
                    <a:pt x="91" y="15"/>
                  </a:lnTo>
                  <a:lnTo>
                    <a:pt x="90" y="11"/>
                  </a:lnTo>
                  <a:lnTo>
                    <a:pt x="89" y="8"/>
                  </a:lnTo>
                  <a:lnTo>
                    <a:pt x="88" y="6"/>
                  </a:lnTo>
                  <a:lnTo>
                    <a:pt x="86" y="4"/>
                  </a:lnTo>
                  <a:lnTo>
                    <a:pt x="84" y="2"/>
                  </a:lnTo>
                  <a:lnTo>
                    <a:pt x="81" y="1"/>
                  </a:lnTo>
                  <a:lnTo>
                    <a:pt x="78" y="0"/>
                  </a:lnTo>
                  <a:lnTo>
                    <a:pt x="76" y="0"/>
                  </a:lnTo>
                  <a:lnTo>
                    <a:pt x="73" y="0"/>
                  </a:lnTo>
                  <a:lnTo>
                    <a:pt x="70" y="1"/>
                  </a:lnTo>
                  <a:lnTo>
                    <a:pt x="67" y="2"/>
                  </a:lnTo>
                  <a:lnTo>
                    <a:pt x="65" y="4"/>
                  </a:lnTo>
                  <a:lnTo>
                    <a:pt x="63" y="6"/>
                  </a:lnTo>
                  <a:lnTo>
                    <a:pt x="62" y="8"/>
                  </a:lnTo>
                  <a:lnTo>
                    <a:pt x="61" y="11"/>
                  </a:lnTo>
                  <a:lnTo>
                    <a:pt x="60" y="15"/>
                  </a:lnTo>
                  <a:lnTo>
                    <a:pt x="61" y="31"/>
                  </a:lnTo>
                  <a:lnTo>
                    <a:pt x="55" y="33"/>
                  </a:lnTo>
                  <a:lnTo>
                    <a:pt x="48" y="35"/>
                  </a:lnTo>
                  <a:lnTo>
                    <a:pt x="42" y="37"/>
                  </a:lnTo>
                  <a:lnTo>
                    <a:pt x="36" y="40"/>
                  </a:lnTo>
                  <a:lnTo>
                    <a:pt x="27" y="48"/>
                  </a:lnTo>
                  <a:lnTo>
                    <a:pt x="17" y="56"/>
                  </a:lnTo>
                  <a:lnTo>
                    <a:pt x="14" y="62"/>
                  </a:lnTo>
                  <a:lnTo>
                    <a:pt x="11" y="67"/>
                  </a:lnTo>
                  <a:lnTo>
                    <a:pt x="7" y="72"/>
                  </a:lnTo>
                  <a:lnTo>
                    <a:pt x="5" y="79"/>
                  </a:lnTo>
                  <a:lnTo>
                    <a:pt x="3" y="85"/>
                  </a:lnTo>
                  <a:lnTo>
                    <a:pt x="1" y="92"/>
                  </a:lnTo>
                  <a:lnTo>
                    <a:pt x="1" y="98"/>
                  </a:lnTo>
                  <a:lnTo>
                    <a:pt x="0" y="105"/>
                  </a:lnTo>
                  <a:lnTo>
                    <a:pt x="1" y="112"/>
                  </a:lnTo>
                  <a:lnTo>
                    <a:pt x="2" y="120"/>
                  </a:lnTo>
                  <a:lnTo>
                    <a:pt x="4" y="127"/>
                  </a:lnTo>
                  <a:lnTo>
                    <a:pt x="6" y="133"/>
                  </a:lnTo>
                  <a:lnTo>
                    <a:pt x="10" y="140"/>
                  </a:lnTo>
                  <a:lnTo>
                    <a:pt x="13" y="146"/>
                  </a:lnTo>
                  <a:lnTo>
                    <a:pt x="17" y="153"/>
                  </a:lnTo>
                  <a:lnTo>
                    <a:pt x="22" y="158"/>
                  </a:lnTo>
                  <a:lnTo>
                    <a:pt x="28" y="162"/>
                  </a:lnTo>
                  <a:lnTo>
                    <a:pt x="33" y="167"/>
                  </a:lnTo>
                  <a:lnTo>
                    <a:pt x="40" y="171"/>
                  </a:lnTo>
                  <a:lnTo>
                    <a:pt x="46" y="174"/>
                  </a:lnTo>
                  <a:lnTo>
                    <a:pt x="54" y="176"/>
                  </a:lnTo>
                  <a:lnTo>
                    <a:pt x="60" y="178"/>
                  </a:lnTo>
                  <a:lnTo>
                    <a:pt x="67" y="180"/>
                  </a:lnTo>
                  <a:lnTo>
                    <a:pt x="76" y="180"/>
                  </a:lnTo>
                  <a:lnTo>
                    <a:pt x="85" y="181"/>
                  </a:lnTo>
                  <a:lnTo>
                    <a:pt x="93" y="183"/>
                  </a:lnTo>
                  <a:lnTo>
                    <a:pt x="101" y="187"/>
                  </a:lnTo>
                  <a:lnTo>
                    <a:pt x="107" y="192"/>
                  </a:lnTo>
                  <a:lnTo>
                    <a:pt x="112" y="200"/>
                  </a:lnTo>
                  <a:lnTo>
                    <a:pt x="117" y="207"/>
                  </a:lnTo>
                  <a:lnTo>
                    <a:pt x="120" y="216"/>
                  </a:lnTo>
                  <a:lnTo>
                    <a:pt x="121" y="225"/>
                  </a:lnTo>
                  <a:lnTo>
                    <a:pt x="120" y="234"/>
                  </a:lnTo>
                  <a:lnTo>
                    <a:pt x="117" y="243"/>
                  </a:lnTo>
                  <a:lnTo>
                    <a:pt x="112" y="250"/>
                  </a:lnTo>
                  <a:lnTo>
                    <a:pt x="107" y="257"/>
                  </a:lnTo>
                  <a:lnTo>
                    <a:pt x="101" y="262"/>
                  </a:lnTo>
                  <a:lnTo>
                    <a:pt x="93" y="266"/>
                  </a:lnTo>
                  <a:lnTo>
                    <a:pt x="85" y="269"/>
                  </a:lnTo>
                  <a:lnTo>
                    <a:pt x="76" y="269"/>
                  </a:lnTo>
                  <a:lnTo>
                    <a:pt x="66" y="269"/>
                  </a:lnTo>
                  <a:lnTo>
                    <a:pt x="58" y="266"/>
                  </a:lnTo>
                  <a:lnTo>
                    <a:pt x="50" y="262"/>
                  </a:lnTo>
                  <a:lnTo>
                    <a:pt x="44" y="257"/>
                  </a:lnTo>
                  <a:lnTo>
                    <a:pt x="39" y="250"/>
                  </a:lnTo>
                  <a:lnTo>
                    <a:pt x="34" y="243"/>
                  </a:lnTo>
                  <a:lnTo>
                    <a:pt x="31" y="234"/>
                  </a:lnTo>
                  <a:lnTo>
                    <a:pt x="30" y="225"/>
                  </a:lnTo>
                  <a:lnTo>
                    <a:pt x="30" y="221"/>
                  </a:lnTo>
                  <a:lnTo>
                    <a:pt x="29" y="219"/>
                  </a:lnTo>
                  <a:lnTo>
                    <a:pt x="28" y="216"/>
                  </a:lnTo>
                  <a:lnTo>
                    <a:pt x="26" y="214"/>
                  </a:lnTo>
                  <a:lnTo>
                    <a:pt x="24" y="213"/>
                  </a:lnTo>
                  <a:lnTo>
                    <a:pt x="21" y="211"/>
                  </a:lnTo>
                  <a:lnTo>
                    <a:pt x="18" y="211"/>
                  </a:lnTo>
                  <a:lnTo>
                    <a:pt x="15" y="210"/>
                  </a:lnTo>
                  <a:lnTo>
                    <a:pt x="13" y="211"/>
                  </a:lnTo>
                  <a:lnTo>
                    <a:pt x="10" y="211"/>
                  </a:lnTo>
                  <a:lnTo>
                    <a:pt x="7" y="213"/>
                  </a:lnTo>
                  <a:lnTo>
                    <a:pt x="4" y="214"/>
                  </a:lnTo>
                  <a:lnTo>
                    <a:pt x="3" y="216"/>
                  </a:lnTo>
                  <a:lnTo>
                    <a:pt x="1" y="219"/>
                  </a:lnTo>
                  <a:lnTo>
                    <a:pt x="1" y="221"/>
                  </a:lnTo>
                  <a:lnTo>
                    <a:pt x="0" y="225"/>
                  </a:lnTo>
                  <a:lnTo>
                    <a:pt x="1" y="232"/>
                  </a:lnTo>
                  <a:lnTo>
                    <a:pt x="1" y="238"/>
                  </a:lnTo>
                  <a:lnTo>
                    <a:pt x="3" y="245"/>
                  </a:lnTo>
                  <a:lnTo>
                    <a:pt x="5" y="250"/>
                  </a:lnTo>
                  <a:lnTo>
                    <a:pt x="7" y="257"/>
                  </a:lnTo>
                  <a:lnTo>
                    <a:pt x="11" y="262"/>
                  </a:lnTo>
                  <a:lnTo>
                    <a:pt x="14" y="267"/>
                  </a:lnTo>
                  <a:lnTo>
                    <a:pt x="17" y="273"/>
                  </a:lnTo>
                  <a:lnTo>
                    <a:pt x="27" y="281"/>
                  </a:lnTo>
                  <a:lnTo>
                    <a:pt x="36" y="289"/>
                  </a:lnTo>
                  <a:lnTo>
                    <a:pt x="42" y="292"/>
                  </a:lnTo>
                  <a:lnTo>
                    <a:pt x="48" y="295"/>
                  </a:lnTo>
                  <a:lnTo>
                    <a:pt x="55" y="297"/>
                  </a:lnTo>
                  <a:lnTo>
                    <a:pt x="60" y="298"/>
                  </a:lnTo>
                  <a:lnTo>
                    <a:pt x="61" y="314"/>
                  </a:lnTo>
                  <a:lnTo>
                    <a:pt x="61" y="318"/>
                  </a:lnTo>
                  <a:lnTo>
                    <a:pt x="62" y="321"/>
                  </a:lnTo>
                  <a:lnTo>
                    <a:pt x="63" y="323"/>
                  </a:lnTo>
                  <a:lnTo>
                    <a:pt x="65" y="325"/>
                  </a:lnTo>
                  <a:lnTo>
                    <a:pt x="67" y="327"/>
                  </a:lnTo>
                  <a:lnTo>
                    <a:pt x="70" y="328"/>
                  </a:lnTo>
                  <a:lnTo>
                    <a:pt x="73" y="329"/>
                  </a:lnTo>
                  <a:lnTo>
                    <a:pt x="76" y="331"/>
                  </a:lnTo>
                  <a:lnTo>
                    <a:pt x="78" y="329"/>
                  </a:lnTo>
                  <a:lnTo>
                    <a:pt x="81" y="328"/>
                  </a:lnTo>
                  <a:lnTo>
                    <a:pt x="84" y="327"/>
                  </a:lnTo>
                  <a:lnTo>
                    <a:pt x="86" y="325"/>
                  </a:lnTo>
                  <a:lnTo>
                    <a:pt x="88" y="323"/>
                  </a:lnTo>
                  <a:lnTo>
                    <a:pt x="89" y="321"/>
                  </a:lnTo>
                  <a:lnTo>
                    <a:pt x="90" y="318"/>
                  </a:lnTo>
                  <a:lnTo>
                    <a:pt x="91" y="316"/>
                  </a:lnTo>
                  <a:lnTo>
                    <a:pt x="91" y="298"/>
                  </a:lnTo>
                  <a:lnTo>
                    <a:pt x="96" y="297"/>
                  </a:lnTo>
                  <a:lnTo>
                    <a:pt x="103" y="295"/>
                  </a:lnTo>
                  <a:lnTo>
                    <a:pt x="109" y="292"/>
                  </a:lnTo>
                  <a:lnTo>
                    <a:pt x="115" y="289"/>
                  </a:lnTo>
                  <a:lnTo>
                    <a:pt x="124" y="281"/>
                  </a:lnTo>
                  <a:lnTo>
                    <a:pt x="134" y="273"/>
                  </a:lnTo>
                  <a:lnTo>
                    <a:pt x="137" y="267"/>
                  </a:lnTo>
                  <a:lnTo>
                    <a:pt x="140" y="262"/>
                  </a:lnTo>
                  <a:lnTo>
                    <a:pt x="144" y="257"/>
                  </a:lnTo>
                  <a:lnTo>
                    <a:pt x="146" y="250"/>
                  </a:lnTo>
                  <a:lnTo>
                    <a:pt x="148" y="245"/>
                  </a:lnTo>
                  <a:lnTo>
                    <a:pt x="150" y="238"/>
                  </a:lnTo>
                  <a:lnTo>
                    <a:pt x="150" y="232"/>
                  </a:lnTo>
                  <a:lnTo>
                    <a:pt x="151" y="225"/>
                  </a:lnTo>
                  <a:lnTo>
                    <a:pt x="150" y="217"/>
                  </a:lnTo>
                  <a:lnTo>
                    <a:pt x="149" y="210"/>
                  </a:lnTo>
                  <a:lnTo>
                    <a:pt x="148" y="202"/>
                  </a:lnTo>
                  <a:lnTo>
                    <a:pt x="145" y="196"/>
                  </a:lnTo>
                  <a:lnTo>
                    <a:pt x="141" y="189"/>
                  </a:lnTo>
                  <a:lnTo>
                    <a:pt x="138" y="183"/>
                  </a:lnTo>
                  <a:lnTo>
                    <a:pt x="134" y="177"/>
                  </a:lnTo>
                  <a:lnTo>
                    <a:pt x="129" y="172"/>
                  </a:lnTo>
                  <a:lnTo>
                    <a:pt x="123" y="167"/>
                  </a:lnTo>
                  <a:lnTo>
                    <a:pt x="118" y="162"/>
                  </a:lnTo>
                  <a:lnTo>
                    <a:pt x="111" y="159"/>
                  </a:lnTo>
                  <a:lnTo>
                    <a:pt x="105" y="156"/>
                  </a:lnTo>
                  <a:lnTo>
                    <a:pt x="97" y="153"/>
                  </a:lnTo>
                  <a:lnTo>
                    <a:pt x="91" y="152"/>
                  </a:lnTo>
                  <a:lnTo>
                    <a:pt x="84" y="150"/>
                  </a:lnTo>
                  <a:lnTo>
                    <a:pt x="76" y="150"/>
                  </a:lnTo>
                  <a:lnTo>
                    <a:pt x="66" y="148"/>
                  </a:lnTo>
                  <a:lnTo>
                    <a:pt x="58" y="146"/>
                  </a:lnTo>
                  <a:lnTo>
                    <a:pt x="50" y="142"/>
                  </a:lnTo>
                  <a:lnTo>
                    <a:pt x="44" y="137"/>
                  </a:lnTo>
                  <a:lnTo>
                    <a:pt x="39" y="130"/>
                  </a:lnTo>
                  <a:lnTo>
                    <a:pt x="34" y="122"/>
                  </a:lnTo>
                  <a:lnTo>
                    <a:pt x="31" y="113"/>
                  </a:lnTo>
                  <a:lnTo>
                    <a:pt x="30" y="105"/>
                  </a:lnTo>
                  <a:lnTo>
                    <a:pt x="31" y="96"/>
                  </a:lnTo>
                  <a:lnTo>
                    <a:pt x="34" y="87"/>
                  </a:lnTo>
                  <a:lnTo>
                    <a:pt x="39" y="79"/>
                  </a:lnTo>
                  <a:lnTo>
                    <a:pt x="44" y="72"/>
                  </a:lnTo>
                  <a:lnTo>
                    <a:pt x="50" y="67"/>
                  </a:lnTo>
                  <a:lnTo>
                    <a:pt x="58" y="63"/>
                  </a:lnTo>
                  <a:lnTo>
                    <a:pt x="66" y="61"/>
                  </a:lnTo>
                  <a:lnTo>
                    <a:pt x="76" y="60"/>
                  </a:lnTo>
                  <a:lnTo>
                    <a:pt x="7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135" name="Group 13">
            <a:extLst>
              <a:ext uri="{FF2B5EF4-FFF2-40B4-BE49-F238E27FC236}">
                <a16:creationId xmlns:a16="http://schemas.microsoft.com/office/drawing/2014/main" id="{7B3AFE2C-3D12-4DE2-8AFE-AD1349B1AA6D}"/>
              </a:ext>
            </a:extLst>
          </p:cNvPr>
          <p:cNvGrpSpPr>
            <a:grpSpLocks noChangeAspect="1"/>
          </p:cNvGrpSpPr>
          <p:nvPr/>
        </p:nvGrpSpPr>
        <p:grpSpPr>
          <a:xfrm>
            <a:off x="1478842" y="2210376"/>
            <a:ext cx="285619" cy="285619"/>
            <a:chOff x="8164513" y="1354138"/>
            <a:chExt cx="285750" cy="285750"/>
          </a:xfrm>
          <a:solidFill>
            <a:schemeClr val="bg1"/>
          </a:solidFill>
          <a:effectLst/>
        </p:grpSpPr>
        <p:sp>
          <p:nvSpPr>
            <p:cNvPr id="1136" name="Freeform 197">
              <a:extLst>
                <a:ext uri="{FF2B5EF4-FFF2-40B4-BE49-F238E27FC236}">
                  <a16:creationId xmlns:a16="http://schemas.microsoft.com/office/drawing/2014/main" id="{5561FA67-378A-42F3-914A-6DB0ABD190B0}"/>
                </a:ext>
              </a:extLst>
            </p:cNvPr>
            <p:cNvSpPr>
              <a:spLocks noEditPoints="1"/>
            </p:cNvSpPr>
            <p:nvPr/>
          </p:nvSpPr>
          <p:spPr bwMode="auto">
            <a:xfrm>
              <a:off x="8164513" y="1354138"/>
              <a:ext cx="285750" cy="285750"/>
            </a:xfrm>
            <a:custGeom>
              <a:avLst/>
              <a:gdLst>
                <a:gd name="T0" fmla="*/ 508 w 902"/>
                <a:gd name="T1" fmla="*/ 554 h 902"/>
                <a:gd name="T2" fmla="*/ 419 w 902"/>
                <a:gd name="T3" fmla="*/ 500 h 902"/>
                <a:gd name="T4" fmla="*/ 357 w 902"/>
                <a:gd name="T5" fmla="*/ 417 h 902"/>
                <a:gd name="T6" fmla="*/ 331 w 902"/>
                <a:gd name="T7" fmla="*/ 313 h 902"/>
                <a:gd name="T8" fmla="*/ 347 w 902"/>
                <a:gd name="T9" fmla="*/ 207 h 902"/>
                <a:gd name="T10" fmla="*/ 401 w 902"/>
                <a:gd name="T11" fmla="*/ 118 h 902"/>
                <a:gd name="T12" fmla="*/ 484 w 902"/>
                <a:gd name="T13" fmla="*/ 56 h 902"/>
                <a:gd name="T14" fmla="*/ 587 w 902"/>
                <a:gd name="T15" fmla="*/ 30 h 902"/>
                <a:gd name="T16" fmla="*/ 694 w 902"/>
                <a:gd name="T17" fmla="*/ 46 h 902"/>
                <a:gd name="T18" fmla="*/ 783 w 902"/>
                <a:gd name="T19" fmla="*/ 99 h 902"/>
                <a:gd name="T20" fmla="*/ 845 w 902"/>
                <a:gd name="T21" fmla="*/ 183 h 902"/>
                <a:gd name="T22" fmla="*/ 871 w 902"/>
                <a:gd name="T23" fmla="*/ 286 h 902"/>
                <a:gd name="T24" fmla="*/ 855 w 902"/>
                <a:gd name="T25" fmla="*/ 393 h 902"/>
                <a:gd name="T26" fmla="*/ 801 w 902"/>
                <a:gd name="T27" fmla="*/ 482 h 902"/>
                <a:gd name="T28" fmla="*/ 718 w 902"/>
                <a:gd name="T29" fmla="*/ 544 h 902"/>
                <a:gd name="T30" fmla="*/ 615 w 902"/>
                <a:gd name="T31" fmla="*/ 571 h 902"/>
                <a:gd name="T32" fmla="*/ 559 w 902"/>
                <a:gd name="T33" fmla="*/ 681 h 902"/>
                <a:gd name="T34" fmla="*/ 509 w 902"/>
                <a:gd name="T35" fmla="*/ 773 h 902"/>
                <a:gd name="T36" fmla="*/ 430 w 902"/>
                <a:gd name="T37" fmla="*/ 838 h 902"/>
                <a:gd name="T38" fmla="*/ 328 w 902"/>
                <a:gd name="T39" fmla="*/ 869 h 902"/>
                <a:gd name="T40" fmla="*/ 220 w 902"/>
                <a:gd name="T41" fmla="*/ 859 h 902"/>
                <a:gd name="T42" fmla="*/ 129 w 902"/>
                <a:gd name="T43" fmla="*/ 809 h 902"/>
                <a:gd name="T44" fmla="*/ 62 w 902"/>
                <a:gd name="T45" fmla="*/ 729 h 902"/>
                <a:gd name="T46" fmla="*/ 31 w 902"/>
                <a:gd name="T47" fmla="*/ 628 h 902"/>
                <a:gd name="T48" fmla="*/ 42 w 902"/>
                <a:gd name="T49" fmla="*/ 520 h 902"/>
                <a:gd name="T50" fmla="*/ 91 w 902"/>
                <a:gd name="T51" fmla="*/ 428 h 902"/>
                <a:gd name="T52" fmla="*/ 171 w 902"/>
                <a:gd name="T53" fmla="*/ 363 h 902"/>
                <a:gd name="T54" fmla="*/ 273 w 902"/>
                <a:gd name="T55" fmla="*/ 332 h 902"/>
                <a:gd name="T56" fmla="*/ 312 w 902"/>
                <a:gd name="T57" fmla="*/ 382 h 902"/>
                <a:gd name="T58" fmla="*/ 356 w 902"/>
                <a:gd name="T59" fmla="*/ 474 h 902"/>
                <a:gd name="T60" fmla="*/ 471 w 902"/>
                <a:gd name="T61" fmla="*/ 571 h 902"/>
                <a:gd name="T62" fmla="*/ 571 w 902"/>
                <a:gd name="T63" fmla="*/ 599 h 902"/>
                <a:gd name="T64" fmla="*/ 526 w 902"/>
                <a:gd name="T65" fmla="*/ 9 h 902"/>
                <a:gd name="T66" fmla="*/ 421 w 902"/>
                <a:gd name="T67" fmla="*/ 60 h 902"/>
                <a:gd name="T68" fmla="*/ 344 w 902"/>
                <a:gd name="T69" fmla="*/ 144 h 902"/>
                <a:gd name="T70" fmla="*/ 304 w 902"/>
                <a:gd name="T71" fmla="*/ 255 h 902"/>
                <a:gd name="T72" fmla="*/ 225 w 902"/>
                <a:gd name="T73" fmla="*/ 309 h 902"/>
                <a:gd name="T74" fmla="*/ 121 w 902"/>
                <a:gd name="T75" fmla="*/ 360 h 902"/>
                <a:gd name="T76" fmla="*/ 43 w 902"/>
                <a:gd name="T77" fmla="*/ 445 h 902"/>
                <a:gd name="T78" fmla="*/ 3 w 902"/>
                <a:gd name="T79" fmla="*/ 554 h 902"/>
                <a:gd name="T80" fmla="*/ 10 w 902"/>
                <a:gd name="T81" fmla="*/ 676 h 902"/>
                <a:gd name="T82" fmla="*/ 59 w 902"/>
                <a:gd name="T83" fmla="*/ 780 h 902"/>
                <a:gd name="T84" fmla="*/ 145 w 902"/>
                <a:gd name="T85" fmla="*/ 858 h 902"/>
                <a:gd name="T86" fmla="*/ 255 w 902"/>
                <a:gd name="T87" fmla="*/ 898 h 902"/>
                <a:gd name="T88" fmla="*/ 375 w 902"/>
                <a:gd name="T89" fmla="*/ 892 h 902"/>
                <a:gd name="T90" fmla="*/ 480 w 902"/>
                <a:gd name="T91" fmla="*/ 842 h 902"/>
                <a:gd name="T92" fmla="*/ 557 w 902"/>
                <a:gd name="T93" fmla="*/ 756 h 902"/>
                <a:gd name="T94" fmla="*/ 598 w 902"/>
                <a:gd name="T95" fmla="*/ 647 h 902"/>
                <a:gd name="T96" fmla="*/ 676 w 902"/>
                <a:gd name="T97" fmla="*/ 591 h 902"/>
                <a:gd name="T98" fmla="*/ 781 w 902"/>
                <a:gd name="T99" fmla="*/ 541 h 902"/>
                <a:gd name="T100" fmla="*/ 858 w 902"/>
                <a:gd name="T101" fmla="*/ 456 h 902"/>
                <a:gd name="T102" fmla="*/ 899 w 902"/>
                <a:gd name="T103" fmla="*/ 346 h 902"/>
                <a:gd name="T104" fmla="*/ 892 w 902"/>
                <a:gd name="T105" fmla="*/ 225 h 902"/>
                <a:gd name="T106" fmla="*/ 842 w 902"/>
                <a:gd name="T107" fmla="*/ 120 h 902"/>
                <a:gd name="T108" fmla="*/ 757 w 902"/>
                <a:gd name="T109" fmla="*/ 42 h 902"/>
                <a:gd name="T110" fmla="*/ 647 w 902"/>
                <a:gd name="T111" fmla="*/ 3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902">
                  <a:moveTo>
                    <a:pt x="601" y="571"/>
                  </a:moveTo>
                  <a:lnTo>
                    <a:pt x="587" y="571"/>
                  </a:lnTo>
                  <a:lnTo>
                    <a:pt x="573" y="569"/>
                  </a:lnTo>
                  <a:lnTo>
                    <a:pt x="560" y="567"/>
                  </a:lnTo>
                  <a:lnTo>
                    <a:pt x="546" y="565"/>
                  </a:lnTo>
                  <a:lnTo>
                    <a:pt x="534" y="562"/>
                  </a:lnTo>
                  <a:lnTo>
                    <a:pt x="521" y="559"/>
                  </a:lnTo>
                  <a:lnTo>
                    <a:pt x="508" y="554"/>
                  </a:lnTo>
                  <a:lnTo>
                    <a:pt x="496" y="549"/>
                  </a:lnTo>
                  <a:lnTo>
                    <a:pt x="484" y="544"/>
                  </a:lnTo>
                  <a:lnTo>
                    <a:pt x="472" y="537"/>
                  </a:lnTo>
                  <a:lnTo>
                    <a:pt x="461" y="531"/>
                  </a:lnTo>
                  <a:lnTo>
                    <a:pt x="450" y="524"/>
                  </a:lnTo>
                  <a:lnTo>
                    <a:pt x="439" y="517"/>
                  </a:lnTo>
                  <a:lnTo>
                    <a:pt x="429" y="508"/>
                  </a:lnTo>
                  <a:lnTo>
                    <a:pt x="419" y="500"/>
                  </a:lnTo>
                  <a:lnTo>
                    <a:pt x="409" y="491"/>
                  </a:lnTo>
                  <a:lnTo>
                    <a:pt x="401" y="482"/>
                  </a:lnTo>
                  <a:lnTo>
                    <a:pt x="392" y="472"/>
                  </a:lnTo>
                  <a:lnTo>
                    <a:pt x="385" y="461"/>
                  </a:lnTo>
                  <a:lnTo>
                    <a:pt x="377" y="452"/>
                  </a:lnTo>
                  <a:lnTo>
                    <a:pt x="370" y="440"/>
                  </a:lnTo>
                  <a:lnTo>
                    <a:pt x="363" y="429"/>
                  </a:lnTo>
                  <a:lnTo>
                    <a:pt x="357" y="417"/>
                  </a:lnTo>
                  <a:lnTo>
                    <a:pt x="351" y="406"/>
                  </a:lnTo>
                  <a:lnTo>
                    <a:pt x="347" y="393"/>
                  </a:lnTo>
                  <a:lnTo>
                    <a:pt x="343" y="380"/>
                  </a:lnTo>
                  <a:lnTo>
                    <a:pt x="339" y="367"/>
                  </a:lnTo>
                  <a:lnTo>
                    <a:pt x="336" y="354"/>
                  </a:lnTo>
                  <a:lnTo>
                    <a:pt x="333" y="341"/>
                  </a:lnTo>
                  <a:lnTo>
                    <a:pt x="332" y="327"/>
                  </a:lnTo>
                  <a:lnTo>
                    <a:pt x="331" y="313"/>
                  </a:lnTo>
                  <a:lnTo>
                    <a:pt x="330" y="300"/>
                  </a:lnTo>
                  <a:lnTo>
                    <a:pt x="331" y="286"/>
                  </a:lnTo>
                  <a:lnTo>
                    <a:pt x="332" y="273"/>
                  </a:lnTo>
                  <a:lnTo>
                    <a:pt x="333" y="259"/>
                  </a:lnTo>
                  <a:lnTo>
                    <a:pt x="336" y="246"/>
                  </a:lnTo>
                  <a:lnTo>
                    <a:pt x="339" y="232"/>
                  </a:lnTo>
                  <a:lnTo>
                    <a:pt x="343" y="219"/>
                  </a:lnTo>
                  <a:lnTo>
                    <a:pt x="347" y="207"/>
                  </a:lnTo>
                  <a:lnTo>
                    <a:pt x="351" y="195"/>
                  </a:lnTo>
                  <a:lnTo>
                    <a:pt x="357" y="183"/>
                  </a:lnTo>
                  <a:lnTo>
                    <a:pt x="363" y="171"/>
                  </a:lnTo>
                  <a:lnTo>
                    <a:pt x="370" y="159"/>
                  </a:lnTo>
                  <a:lnTo>
                    <a:pt x="377" y="148"/>
                  </a:lnTo>
                  <a:lnTo>
                    <a:pt x="385" y="138"/>
                  </a:lnTo>
                  <a:lnTo>
                    <a:pt x="392" y="128"/>
                  </a:lnTo>
                  <a:lnTo>
                    <a:pt x="401" y="118"/>
                  </a:lnTo>
                  <a:lnTo>
                    <a:pt x="409" y="109"/>
                  </a:lnTo>
                  <a:lnTo>
                    <a:pt x="419" y="99"/>
                  </a:lnTo>
                  <a:lnTo>
                    <a:pt x="429" y="92"/>
                  </a:lnTo>
                  <a:lnTo>
                    <a:pt x="439" y="83"/>
                  </a:lnTo>
                  <a:lnTo>
                    <a:pt x="450" y="76"/>
                  </a:lnTo>
                  <a:lnTo>
                    <a:pt x="461" y="68"/>
                  </a:lnTo>
                  <a:lnTo>
                    <a:pt x="472" y="62"/>
                  </a:lnTo>
                  <a:lnTo>
                    <a:pt x="484" y="56"/>
                  </a:lnTo>
                  <a:lnTo>
                    <a:pt x="496" y="51"/>
                  </a:lnTo>
                  <a:lnTo>
                    <a:pt x="508" y="46"/>
                  </a:lnTo>
                  <a:lnTo>
                    <a:pt x="521" y="41"/>
                  </a:lnTo>
                  <a:lnTo>
                    <a:pt x="534" y="38"/>
                  </a:lnTo>
                  <a:lnTo>
                    <a:pt x="546" y="35"/>
                  </a:lnTo>
                  <a:lnTo>
                    <a:pt x="560" y="33"/>
                  </a:lnTo>
                  <a:lnTo>
                    <a:pt x="573" y="31"/>
                  </a:lnTo>
                  <a:lnTo>
                    <a:pt x="587" y="30"/>
                  </a:lnTo>
                  <a:lnTo>
                    <a:pt x="601" y="30"/>
                  </a:lnTo>
                  <a:lnTo>
                    <a:pt x="615" y="30"/>
                  </a:lnTo>
                  <a:lnTo>
                    <a:pt x="629" y="31"/>
                  </a:lnTo>
                  <a:lnTo>
                    <a:pt x="642" y="33"/>
                  </a:lnTo>
                  <a:lnTo>
                    <a:pt x="656" y="35"/>
                  </a:lnTo>
                  <a:lnTo>
                    <a:pt x="668" y="38"/>
                  </a:lnTo>
                  <a:lnTo>
                    <a:pt x="681" y="41"/>
                  </a:lnTo>
                  <a:lnTo>
                    <a:pt x="694" y="46"/>
                  </a:lnTo>
                  <a:lnTo>
                    <a:pt x="706" y="51"/>
                  </a:lnTo>
                  <a:lnTo>
                    <a:pt x="718" y="56"/>
                  </a:lnTo>
                  <a:lnTo>
                    <a:pt x="730" y="62"/>
                  </a:lnTo>
                  <a:lnTo>
                    <a:pt x="741" y="68"/>
                  </a:lnTo>
                  <a:lnTo>
                    <a:pt x="752" y="76"/>
                  </a:lnTo>
                  <a:lnTo>
                    <a:pt x="763" y="83"/>
                  </a:lnTo>
                  <a:lnTo>
                    <a:pt x="773" y="92"/>
                  </a:lnTo>
                  <a:lnTo>
                    <a:pt x="783" y="99"/>
                  </a:lnTo>
                  <a:lnTo>
                    <a:pt x="793" y="109"/>
                  </a:lnTo>
                  <a:lnTo>
                    <a:pt x="801" y="118"/>
                  </a:lnTo>
                  <a:lnTo>
                    <a:pt x="810" y="128"/>
                  </a:lnTo>
                  <a:lnTo>
                    <a:pt x="817" y="138"/>
                  </a:lnTo>
                  <a:lnTo>
                    <a:pt x="825" y="148"/>
                  </a:lnTo>
                  <a:lnTo>
                    <a:pt x="832" y="159"/>
                  </a:lnTo>
                  <a:lnTo>
                    <a:pt x="839" y="171"/>
                  </a:lnTo>
                  <a:lnTo>
                    <a:pt x="845" y="183"/>
                  </a:lnTo>
                  <a:lnTo>
                    <a:pt x="851" y="195"/>
                  </a:lnTo>
                  <a:lnTo>
                    <a:pt x="855" y="207"/>
                  </a:lnTo>
                  <a:lnTo>
                    <a:pt x="859" y="219"/>
                  </a:lnTo>
                  <a:lnTo>
                    <a:pt x="863" y="232"/>
                  </a:lnTo>
                  <a:lnTo>
                    <a:pt x="867" y="246"/>
                  </a:lnTo>
                  <a:lnTo>
                    <a:pt x="869" y="259"/>
                  </a:lnTo>
                  <a:lnTo>
                    <a:pt x="870" y="273"/>
                  </a:lnTo>
                  <a:lnTo>
                    <a:pt x="871" y="286"/>
                  </a:lnTo>
                  <a:lnTo>
                    <a:pt x="872" y="300"/>
                  </a:lnTo>
                  <a:lnTo>
                    <a:pt x="871" y="313"/>
                  </a:lnTo>
                  <a:lnTo>
                    <a:pt x="870" y="327"/>
                  </a:lnTo>
                  <a:lnTo>
                    <a:pt x="869" y="341"/>
                  </a:lnTo>
                  <a:lnTo>
                    <a:pt x="867" y="354"/>
                  </a:lnTo>
                  <a:lnTo>
                    <a:pt x="863" y="367"/>
                  </a:lnTo>
                  <a:lnTo>
                    <a:pt x="859" y="380"/>
                  </a:lnTo>
                  <a:lnTo>
                    <a:pt x="855" y="393"/>
                  </a:lnTo>
                  <a:lnTo>
                    <a:pt x="851" y="406"/>
                  </a:lnTo>
                  <a:lnTo>
                    <a:pt x="845" y="417"/>
                  </a:lnTo>
                  <a:lnTo>
                    <a:pt x="839" y="429"/>
                  </a:lnTo>
                  <a:lnTo>
                    <a:pt x="832" y="440"/>
                  </a:lnTo>
                  <a:lnTo>
                    <a:pt x="825" y="452"/>
                  </a:lnTo>
                  <a:lnTo>
                    <a:pt x="817" y="461"/>
                  </a:lnTo>
                  <a:lnTo>
                    <a:pt x="810" y="472"/>
                  </a:lnTo>
                  <a:lnTo>
                    <a:pt x="801" y="482"/>
                  </a:lnTo>
                  <a:lnTo>
                    <a:pt x="793" y="491"/>
                  </a:lnTo>
                  <a:lnTo>
                    <a:pt x="783" y="500"/>
                  </a:lnTo>
                  <a:lnTo>
                    <a:pt x="773" y="508"/>
                  </a:lnTo>
                  <a:lnTo>
                    <a:pt x="763" y="517"/>
                  </a:lnTo>
                  <a:lnTo>
                    <a:pt x="752" y="524"/>
                  </a:lnTo>
                  <a:lnTo>
                    <a:pt x="741" y="531"/>
                  </a:lnTo>
                  <a:lnTo>
                    <a:pt x="730" y="537"/>
                  </a:lnTo>
                  <a:lnTo>
                    <a:pt x="718" y="544"/>
                  </a:lnTo>
                  <a:lnTo>
                    <a:pt x="706" y="549"/>
                  </a:lnTo>
                  <a:lnTo>
                    <a:pt x="694" y="554"/>
                  </a:lnTo>
                  <a:lnTo>
                    <a:pt x="681" y="559"/>
                  </a:lnTo>
                  <a:lnTo>
                    <a:pt x="668" y="562"/>
                  </a:lnTo>
                  <a:lnTo>
                    <a:pt x="656" y="565"/>
                  </a:lnTo>
                  <a:lnTo>
                    <a:pt x="642" y="567"/>
                  </a:lnTo>
                  <a:lnTo>
                    <a:pt x="629" y="569"/>
                  </a:lnTo>
                  <a:lnTo>
                    <a:pt x="615" y="571"/>
                  </a:lnTo>
                  <a:lnTo>
                    <a:pt x="601" y="571"/>
                  </a:lnTo>
                  <a:close/>
                  <a:moveTo>
                    <a:pt x="571" y="601"/>
                  </a:moveTo>
                  <a:lnTo>
                    <a:pt x="571" y="614"/>
                  </a:lnTo>
                  <a:lnTo>
                    <a:pt x="570" y="628"/>
                  </a:lnTo>
                  <a:lnTo>
                    <a:pt x="568" y="641"/>
                  </a:lnTo>
                  <a:lnTo>
                    <a:pt x="566" y="655"/>
                  </a:lnTo>
                  <a:lnTo>
                    <a:pt x="562" y="668"/>
                  </a:lnTo>
                  <a:lnTo>
                    <a:pt x="559" y="681"/>
                  </a:lnTo>
                  <a:lnTo>
                    <a:pt x="555" y="694"/>
                  </a:lnTo>
                  <a:lnTo>
                    <a:pt x="550" y="706"/>
                  </a:lnTo>
                  <a:lnTo>
                    <a:pt x="544" y="717"/>
                  </a:lnTo>
                  <a:lnTo>
                    <a:pt x="538" y="729"/>
                  </a:lnTo>
                  <a:lnTo>
                    <a:pt x="531" y="741"/>
                  </a:lnTo>
                  <a:lnTo>
                    <a:pt x="525" y="752"/>
                  </a:lnTo>
                  <a:lnTo>
                    <a:pt x="517" y="762"/>
                  </a:lnTo>
                  <a:lnTo>
                    <a:pt x="509" y="773"/>
                  </a:lnTo>
                  <a:lnTo>
                    <a:pt x="500" y="783"/>
                  </a:lnTo>
                  <a:lnTo>
                    <a:pt x="492" y="792"/>
                  </a:lnTo>
                  <a:lnTo>
                    <a:pt x="482" y="801"/>
                  </a:lnTo>
                  <a:lnTo>
                    <a:pt x="472" y="809"/>
                  </a:lnTo>
                  <a:lnTo>
                    <a:pt x="462" y="817"/>
                  </a:lnTo>
                  <a:lnTo>
                    <a:pt x="451" y="824"/>
                  </a:lnTo>
                  <a:lnTo>
                    <a:pt x="440" y="832"/>
                  </a:lnTo>
                  <a:lnTo>
                    <a:pt x="430" y="838"/>
                  </a:lnTo>
                  <a:lnTo>
                    <a:pt x="418" y="845"/>
                  </a:lnTo>
                  <a:lnTo>
                    <a:pt x="406" y="850"/>
                  </a:lnTo>
                  <a:lnTo>
                    <a:pt x="393" y="854"/>
                  </a:lnTo>
                  <a:lnTo>
                    <a:pt x="380" y="859"/>
                  </a:lnTo>
                  <a:lnTo>
                    <a:pt x="367" y="863"/>
                  </a:lnTo>
                  <a:lnTo>
                    <a:pt x="355" y="866"/>
                  </a:lnTo>
                  <a:lnTo>
                    <a:pt x="342" y="868"/>
                  </a:lnTo>
                  <a:lnTo>
                    <a:pt x="328" y="869"/>
                  </a:lnTo>
                  <a:lnTo>
                    <a:pt x="314" y="870"/>
                  </a:lnTo>
                  <a:lnTo>
                    <a:pt x="300" y="872"/>
                  </a:lnTo>
                  <a:lnTo>
                    <a:pt x="286" y="870"/>
                  </a:lnTo>
                  <a:lnTo>
                    <a:pt x="273" y="869"/>
                  </a:lnTo>
                  <a:lnTo>
                    <a:pt x="259" y="868"/>
                  </a:lnTo>
                  <a:lnTo>
                    <a:pt x="245" y="866"/>
                  </a:lnTo>
                  <a:lnTo>
                    <a:pt x="232" y="863"/>
                  </a:lnTo>
                  <a:lnTo>
                    <a:pt x="220" y="859"/>
                  </a:lnTo>
                  <a:lnTo>
                    <a:pt x="208" y="854"/>
                  </a:lnTo>
                  <a:lnTo>
                    <a:pt x="195" y="850"/>
                  </a:lnTo>
                  <a:lnTo>
                    <a:pt x="183" y="845"/>
                  </a:lnTo>
                  <a:lnTo>
                    <a:pt x="171" y="838"/>
                  </a:lnTo>
                  <a:lnTo>
                    <a:pt x="160" y="832"/>
                  </a:lnTo>
                  <a:lnTo>
                    <a:pt x="149" y="824"/>
                  </a:lnTo>
                  <a:lnTo>
                    <a:pt x="138" y="817"/>
                  </a:lnTo>
                  <a:lnTo>
                    <a:pt x="129" y="809"/>
                  </a:lnTo>
                  <a:lnTo>
                    <a:pt x="119" y="801"/>
                  </a:lnTo>
                  <a:lnTo>
                    <a:pt x="109" y="792"/>
                  </a:lnTo>
                  <a:lnTo>
                    <a:pt x="100" y="783"/>
                  </a:lnTo>
                  <a:lnTo>
                    <a:pt x="91" y="773"/>
                  </a:lnTo>
                  <a:lnTo>
                    <a:pt x="84" y="762"/>
                  </a:lnTo>
                  <a:lnTo>
                    <a:pt x="76" y="752"/>
                  </a:lnTo>
                  <a:lnTo>
                    <a:pt x="69" y="741"/>
                  </a:lnTo>
                  <a:lnTo>
                    <a:pt x="62" y="729"/>
                  </a:lnTo>
                  <a:lnTo>
                    <a:pt x="57" y="717"/>
                  </a:lnTo>
                  <a:lnTo>
                    <a:pt x="51" y="706"/>
                  </a:lnTo>
                  <a:lnTo>
                    <a:pt x="46" y="694"/>
                  </a:lnTo>
                  <a:lnTo>
                    <a:pt x="42" y="681"/>
                  </a:lnTo>
                  <a:lnTo>
                    <a:pt x="39" y="668"/>
                  </a:lnTo>
                  <a:lnTo>
                    <a:pt x="35" y="655"/>
                  </a:lnTo>
                  <a:lnTo>
                    <a:pt x="33" y="641"/>
                  </a:lnTo>
                  <a:lnTo>
                    <a:pt x="31" y="628"/>
                  </a:lnTo>
                  <a:lnTo>
                    <a:pt x="30" y="614"/>
                  </a:lnTo>
                  <a:lnTo>
                    <a:pt x="30" y="601"/>
                  </a:lnTo>
                  <a:lnTo>
                    <a:pt x="30" y="587"/>
                  </a:lnTo>
                  <a:lnTo>
                    <a:pt x="31" y="573"/>
                  </a:lnTo>
                  <a:lnTo>
                    <a:pt x="33" y="560"/>
                  </a:lnTo>
                  <a:lnTo>
                    <a:pt x="35" y="546"/>
                  </a:lnTo>
                  <a:lnTo>
                    <a:pt x="39" y="533"/>
                  </a:lnTo>
                  <a:lnTo>
                    <a:pt x="42" y="520"/>
                  </a:lnTo>
                  <a:lnTo>
                    <a:pt x="46" y="507"/>
                  </a:lnTo>
                  <a:lnTo>
                    <a:pt x="51" y="496"/>
                  </a:lnTo>
                  <a:lnTo>
                    <a:pt x="57" y="484"/>
                  </a:lnTo>
                  <a:lnTo>
                    <a:pt x="62" y="472"/>
                  </a:lnTo>
                  <a:lnTo>
                    <a:pt x="69" y="460"/>
                  </a:lnTo>
                  <a:lnTo>
                    <a:pt x="76" y="449"/>
                  </a:lnTo>
                  <a:lnTo>
                    <a:pt x="84" y="439"/>
                  </a:lnTo>
                  <a:lnTo>
                    <a:pt x="91" y="428"/>
                  </a:lnTo>
                  <a:lnTo>
                    <a:pt x="100" y="418"/>
                  </a:lnTo>
                  <a:lnTo>
                    <a:pt x="109" y="409"/>
                  </a:lnTo>
                  <a:lnTo>
                    <a:pt x="119" y="400"/>
                  </a:lnTo>
                  <a:lnTo>
                    <a:pt x="129" y="392"/>
                  </a:lnTo>
                  <a:lnTo>
                    <a:pt x="138" y="384"/>
                  </a:lnTo>
                  <a:lnTo>
                    <a:pt x="149" y="377"/>
                  </a:lnTo>
                  <a:lnTo>
                    <a:pt x="160" y="369"/>
                  </a:lnTo>
                  <a:lnTo>
                    <a:pt x="171" y="363"/>
                  </a:lnTo>
                  <a:lnTo>
                    <a:pt x="183" y="356"/>
                  </a:lnTo>
                  <a:lnTo>
                    <a:pt x="195" y="351"/>
                  </a:lnTo>
                  <a:lnTo>
                    <a:pt x="208" y="347"/>
                  </a:lnTo>
                  <a:lnTo>
                    <a:pt x="220" y="342"/>
                  </a:lnTo>
                  <a:lnTo>
                    <a:pt x="232" y="338"/>
                  </a:lnTo>
                  <a:lnTo>
                    <a:pt x="245" y="336"/>
                  </a:lnTo>
                  <a:lnTo>
                    <a:pt x="259" y="333"/>
                  </a:lnTo>
                  <a:lnTo>
                    <a:pt x="273" y="332"/>
                  </a:lnTo>
                  <a:lnTo>
                    <a:pt x="286" y="331"/>
                  </a:lnTo>
                  <a:lnTo>
                    <a:pt x="300" y="330"/>
                  </a:lnTo>
                  <a:lnTo>
                    <a:pt x="301" y="330"/>
                  </a:lnTo>
                  <a:lnTo>
                    <a:pt x="302" y="331"/>
                  </a:lnTo>
                  <a:lnTo>
                    <a:pt x="303" y="343"/>
                  </a:lnTo>
                  <a:lnTo>
                    <a:pt x="305" y="356"/>
                  </a:lnTo>
                  <a:lnTo>
                    <a:pt x="309" y="369"/>
                  </a:lnTo>
                  <a:lnTo>
                    <a:pt x="312" y="382"/>
                  </a:lnTo>
                  <a:lnTo>
                    <a:pt x="315" y="394"/>
                  </a:lnTo>
                  <a:lnTo>
                    <a:pt x="319" y="407"/>
                  </a:lnTo>
                  <a:lnTo>
                    <a:pt x="325" y="418"/>
                  </a:lnTo>
                  <a:lnTo>
                    <a:pt x="330" y="430"/>
                  </a:lnTo>
                  <a:lnTo>
                    <a:pt x="335" y="441"/>
                  </a:lnTo>
                  <a:lnTo>
                    <a:pt x="342" y="453"/>
                  </a:lnTo>
                  <a:lnTo>
                    <a:pt x="348" y="463"/>
                  </a:lnTo>
                  <a:lnTo>
                    <a:pt x="356" y="474"/>
                  </a:lnTo>
                  <a:lnTo>
                    <a:pt x="372" y="493"/>
                  </a:lnTo>
                  <a:lnTo>
                    <a:pt x="389" y="513"/>
                  </a:lnTo>
                  <a:lnTo>
                    <a:pt x="407" y="530"/>
                  </a:lnTo>
                  <a:lnTo>
                    <a:pt x="427" y="545"/>
                  </a:lnTo>
                  <a:lnTo>
                    <a:pt x="438" y="552"/>
                  </a:lnTo>
                  <a:lnTo>
                    <a:pt x="449" y="559"/>
                  </a:lnTo>
                  <a:lnTo>
                    <a:pt x="460" y="565"/>
                  </a:lnTo>
                  <a:lnTo>
                    <a:pt x="471" y="571"/>
                  </a:lnTo>
                  <a:lnTo>
                    <a:pt x="483" y="576"/>
                  </a:lnTo>
                  <a:lnTo>
                    <a:pt x="495" y="581"/>
                  </a:lnTo>
                  <a:lnTo>
                    <a:pt x="507" y="586"/>
                  </a:lnTo>
                  <a:lnTo>
                    <a:pt x="520" y="590"/>
                  </a:lnTo>
                  <a:lnTo>
                    <a:pt x="531" y="593"/>
                  </a:lnTo>
                  <a:lnTo>
                    <a:pt x="544" y="595"/>
                  </a:lnTo>
                  <a:lnTo>
                    <a:pt x="558" y="597"/>
                  </a:lnTo>
                  <a:lnTo>
                    <a:pt x="571" y="599"/>
                  </a:lnTo>
                  <a:lnTo>
                    <a:pt x="571" y="599"/>
                  </a:lnTo>
                  <a:lnTo>
                    <a:pt x="571" y="601"/>
                  </a:lnTo>
                  <a:close/>
                  <a:moveTo>
                    <a:pt x="601" y="0"/>
                  </a:moveTo>
                  <a:lnTo>
                    <a:pt x="586" y="0"/>
                  </a:lnTo>
                  <a:lnTo>
                    <a:pt x="570" y="1"/>
                  </a:lnTo>
                  <a:lnTo>
                    <a:pt x="555" y="3"/>
                  </a:lnTo>
                  <a:lnTo>
                    <a:pt x="541" y="5"/>
                  </a:lnTo>
                  <a:lnTo>
                    <a:pt x="526" y="9"/>
                  </a:lnTo>
                  <a:lnTo>
                    <a:pt x="512" y="12"/>
                  </a:lnTo>
                  <a:lnTo>
                    <a:pt x="498" y="18"/>
                  </a:lnTo>
                  <a:lnTo>
                    <a:pt x="484" y="23"/>
                  </a:lnTo>
                  <a:lnTo>
                    <a:pt x="470" y="29"/>
                  </a:lnTo>
                  <a:lnTo>
                    <a:pt x="457" y="36"/>
                  </a:lnTo>
                  <a:lnTo>
                    <a:pt x="446" y="42"/>
                  </a:lnTo>
                  <a:lnTo>
                    <a:pt x="433" y="51"/>
                  </a:lnTo>
                  <a:lnTo>
                    <a:pt x="421" y="60"/>
                  </a:lnTo>
                  <a:lnTo>
                    <a:pt x="410" y="68"/>
                  </a:lnTo>
                  <a:lnTo>
                    <a:pt x="399" y="78"/>
                  </a:lnTo>
                  <a:lnTo>
                    <a:pt x="389" y="87"/>
                  </a:lnTo>
                  <a:lnTo>
                    <a:pt x="378" y="98"/>
                  </a:lnTo>
                  <a:lnTo>
                    <a:pt x="370" y="109"/>
                  </a:lnTo>
                  <a:lnTo>
                    <a:pt x="360" y="121"/>
                  </a:lnTo>
                  <a:lnTo>
                    <a:pt x="351" y="132"/>
                  </a:lnTo>
                  <a:lnTo>
                    <a:pt x="344" y="144"/>
                  </a:lnTo>
                  <a:lnTo>
                    <a:pt x="336" y="157"/>
                  </a:lnTo>
                  <a:lnTo>
                    <a:pt x="330" y="170"/>
                  </a:lnTo>
                  <a:lnTo>
                    <a:pt x="324" y="183"/>
                  </a:lnTo>
                  <a:lnTo>
                    <a:pt x="318" y="197"/>
                  </a:lnTo>
                  <a:lnTo>
                    <a:pt x="314" y="211"/>
                  </a:lnTo>
                  <a:lnTo>
                    <a:pt x="310" y="225"/>
                  </a:lnTo>
                  <a:lnTo>
                    <a:pt x="306" y="240"/>
                  </a:lnTo>
                  <a:lnTo>
                    <a:pt x="304" y="255"/>
                  </a:lnTo>
                  <a:lnTo>
                    <a:pt x="302" y="270"/>
                  </a:lnTo>
                  <a:lnTo>
                    <a:pt x="301" y="285"/>
                  </a:lnTo>
                  <a:lnTo>
                    <a:pt x="300" y="300"/>
                  </a:lnTo>
                  <a:lnTo>
                    <a:pt x="285" y="301"/>
                  </a:lnTo>
                  <a:lnTo>
                    <a:pt x="270" y="302"/>
                  </a:lnTo>
                  <a:lnTo>
                    <a:pt x="255" y="304"/>
                  </a:lnTo>
                  <a:lnTo>
                    <a:pt x="240" y="306"/>
                  </a:lnTo>
                  <a:lnTo>
                    <a:pt x="225" y="309"/>
                  </a:lnTo>
                  <a:lnTo>
                    <a:pt x="211" y="313"/>
                  </a:lnTo>
                  <a:lnTo>
                    <a:pt x="197" y="318"/>
                  </a:lnTo>
                  <a:lnTo>
                    <a:pt x="183" y="323"/>
                  </a:lnTo>
                  <a:lnTo>
                    <a:pt x="170" y="330"/>
                  </a:lnTo>
                  <a:lnTo>
                    <a:pt x="158" y="336"/>
                  </a:lnTo>
                  <a:lnTo>
                    <a:pt x="145" y="343"/>
                  </a:lnTo>
                  <a:lnTo>
                    <a:pt x="133" y="351"/>
                  </a:lnTo>
                  <a:lnTo>
                    <a:pt x="121" y="360"/>
                  </a:lnTo>
                  <a:lnTo>
                    <a:pt x="109" y="369"/>
                  </a:lnTo>
                  <a:lnTo>
                    <a:pt x="99" y="378"/>
                  </a:lnTo>
                  <a:lnTo>
                    <a:pt x="88" y="388"/>
                  </a:lnTo>
                  <a:lnTo>
                    <a:pt x="78" y="398"/>
                  </a:lnTo>
                  <a:lnTo>
                    <a:pt x="69" y="410"/>
                  </a:lnTo>
                  <a:lnTo>
                    <a:pt x="59" y="421"/>
                  </a:lnTo>
                  <a:lnTo>
                    <a:pt x="51" y="432"/>
                  </a:lnTo>
                  <a:lnTo>
                    <a:pt x="43" y="445"/>
                  </a:lnTo>
                  <a:lnTo>
                    <a:pt x="36" y="457"/>
                  </a:lnTo>
                  <a:lnTo>
                    <a:pt x="29" y="470"/>
                  </a:lnTo>
                  <a:lnTo>
                    <a:pt x="24" y="484"/>
                  </a:lnTo>
                  <a:lnTo>
                    <a:pt x="18" y="498"/>
                  </a:lnTo>
                  <a:lnTo>
                    <a:pt x="13" y="512"/>
                  </a:lnTo>
                  <a:lnTo>
                    <a:pt x="10" y="526"/>
                  </a:lnTo>
                  <a:lnTo>
                    <a:pt x="5" y="541"/>
                  </a:lnTo>
                  <a:lnTo>
                    <a:pt x="3" y="554"/>
                  </a:lnTo>
                  <a:lnTo>
                    <a:pt x="1" y="569"/>
                  </a:lnTo>
                  <a:lnTo>
                    <a:pt x="0" y="586"/>
                  </a:lnTo>
                  <a:lnTo>
                    <a:pt x="0" y="601"/>
                  </a:lnTo>
                  <a:lnTo>
                    <a:pt x="0" y="616"/>
                  </a:lnTo>
                  <a:lnTo>
                    <a:pt x="1" y="632"/>
                  </a:lnTo>
                  <a:lnTo>
                    <a:pt x="3" y="647"/>
                  </a:lnTo>
                  <a:lnTo>
                    <a:pt x="5" y="662"/>
                  </a:lnTo>
                  <a:lnTo>
                    <a:pt x="10" y="676"/>
                  </a:lnTo>
                  <a:lnTo>
                    <a:pt x="13" y="689"/>
                  </a:lnTo>
                  <a:lnTo>
                    <a:pt x="18" y="703"/>
                  </a:lnTo>
                  <a:lnTo>
                    <a:pt x="24" y="717"/>
                  </a:lnTo>
                  <a:lnTo>
                    <a:pt x="29" y="731"/>
                  </a:lnTo>
                  <a:lnTo>
                    <a:pt x="36" y="744"/>
                  </a:lnTo>
                  <a:lnTo>
                    <a:pt x="43" y="756"/>
                  </a:lnTo>
                  <a:lnTo>
                    <a:pt x="51" y="769"/>
                  </a:lnTo>
                  <a:lnTo>
                    <a:pt x="59" y="780"/>
                  </a:lnTo>
                  <a:lnTo>
                    <a:pt x="69" y="791"/>
                  </a:lnTo>
                  <a:lnTo>
                    <a:pt x="78" y="803"/>
                  </a:lnTo>
                  <a:lnTo>
                    <a:pt x="88" y="813"/>
                  </a:lnTo>
                  <a:lnTo>
                    <a:pt x="99" y="823"/>
                  </a:lnTo>
                  <a:lnTo>
                    <a:pt x="109" y="833"/>
                  </a:lnTo>
                  <a:lnTo>
                    <a:pt x="121" y="842"/>
                  </a:lnTo>
                  <a:lnTo>
                    <a:pt x="133" y="850"/>
                  </a:lnTo>
                  <a:lnTo>
                    <a:pt x="145" y="858"/>
                  </a:lnTo>
                  <a:lnTo>
                    <a:pt x="158" y="865"/>
                  </a:lnTo>
                  <a:lnTo>
                    <a:pt x="170" y="872"/>
                  </a:lnTo>
                  <a:lnTo>
                    <a:pt x="183" y="878"/>
                  </a:lnTo>
                  <a:lnTo>
                    <a:pt x="197" y="883"/>
                  </a:lnTo>
                  <a:lnTo>
                    <a:pt x="211" y="888"/>
                  </a:lnTo>
                  <a:lnTo>
                    <a:pt x="225" y="892"/>
                  </a:lnTo>
                  <a:lnTo>
                    <a:pt x="240" y="895"/>
                  </a:lnTo>
                  <a:lnTo>
                    <a:pt x="255" y="898"/>
                  </a:lnTo>
                  <a:lnTo>
                    <a:pt x="270" y="899"/>
                  </a:lnTo>
                  <a:lnTo>
                    <a:pt x="285" y="900"/>
                  </a:lnTo>
                  <a:lnTo>
                    <a:pt x="300" y="902"/>
                  </a:lnTo>
                  <a:lnTo>
                    <a:pt x="316" y="900"/>
                  </a:lnTo>
                  <a:lnTo>
                    <a:pt x="331" y="899"/>
                  </a:lnTo>
                  <a:lnTo>
                    <a:pt x="346" y="898"/>
                  </a:lnTo>
                  <a:lnTo>
                    <a:pt x="361" y="895"/>
                  </a:lnTo>
                  <a:lnTo>
                    <a:pt x="375" y="892"/>
                  </a:lnTo>
                  <a:lnTo>
                    <a:pt x="390" y="888"/>
                  </a:lnTo>
                  <a:lnTo>
                    <a:pt x="404" y="883"/>
                  </a:lnTo>
                  <a:lnTo>
                    <a:pt x="418" y="878"/>
                  </a:lnTo>
                  <a:lnTo>
                    <a:pt x="431" y="872"/>
                  </a:lnTo>
                  <a:lnTo>
                    <a:pt x="444" y="865"/>
                  </a:lnTo>
                  <a:lnTo>
                    <a:pt x="456" y="858"/>
                  </a:lnTo>
                  <a:lnTo>
                    <a:pt x="468" y="850"/>
                  </a:lnTo>
                  <a:lnTo>
                    <a:pt x="480" y="842"/>
                  </a:lnTo>
                  <a:lnTo>
                    <a:pt x="492" y="833"/>
                  </a:lnTo>
                  <a:lnTo>
                    <a:pt x="502" y="823"/>
                  </a:lnTo>
                  <a:lnTo>
                    <a:pt x="513" y="813"/>
                  </a:lnTo>
                  <a:lnTo>
                    <a:pt x="523" y="803"/>
                  </a:lnTo>
                  <a:lnTo>
                    <a:pt x="532" y="791"/>
                  </a:lnTo>
                  <a:lnTo>
                    <a:pt x="541" y="780"/>
                  </a:lnTo>
                  <a:lnTo>
                    <a:pt x="550" y="769"/>
                  </a:lnTo>
                  <a:lnTo>
                    <a:pt x="557" y="756"/>
                  </a:lnTo>
                  <a:lnTo>
                    <a:pt x="565" y="744"/>
                  </a:lnTo>
                  <a:lnTo>
                    <a:pt x="571" y="731"/>
                  </a:lnTo>
                  <a:lnTo>
                    <a:pt x="577" y="717"/>
                  </a:lnTo>
                  <a:lnTo>
                    <a:pt x="583" y="703"/>
                  </a:lnTo>
                  <a:lnTo>
                    <a:pt x="587" y="689"/>
                  </a:lnTo>
                  <a:lnTo>
                    <a:pt x="591" y="676"/>
                  </a:lnTo>
                  <a:lnTo>
                    <a:pt x="595" y="662"/>
                  </a:lnTo>
                  <a:lnTo>
                    <a:pt x="598" y="647"/>
                  </a:lnTo>
                  <a:lnTo>
                    <a:pt x="600" y="632"/>
                  </a:lnTo>
                  <a:lnTo>
                    <a:pt x="601" y="616"/>
                  </a:lnTo>
                  <a:lnTo>
                    <a:pt x="601" y="601"/>
                  </a:lnTo>
                  <a:lnTo>
                    <a:pt x="616" y="601"/>
                  </a:lnTo>
                  <a:lnTo>
                    <a:pt x="632" y="599"/>
                  </a:lnTo>
                  <a:lnTo>
                    <a:pt x="647" y="597"/>
                  </a:lnTo>
                  <a:lnTo>
                    <a:pt x="662" y="594"/>
                  </a:lnTo>
                  <a:lnTo>
                    <a:pt x="676" y="591"/>
                  </a:lnTo>
                  <a:lnTo>
                    <a:pt x="690" y="587"/>
                  </a:lnTo>
                  <a:lnTo>
                    <a:pt x="704" y="582"/>
                  </a:lnTo>
                  <a:lnTo>
                    <a:pt x="718" y="577"/>
                  </a:lnTo>
                  <a:lnTo>
                    <a:pt x="732" y="571"/>
                  </a:lnTo>
                  <a:lnTo>
                    <a:pt x="745" y="564"/>
                  </a:lnTo>
                  <a:lnTo>
                    <a:pt x="757" y="557"/>
                  </a:lnTo>
                  <a:lnTo>
                    <a:pt x="769" y="549"/>
                  </a:lnTo>
                  <a:lnTo>
                    <a:pt x="781" y="541"/>
                  </a:lnTo>
                  <a:lnTo>
                    <a:pt x="793" y="532"/>
                  </a:lnTo>
                  <a:lnTo>
                    <a:pt x="803" y="522"/>
                  </a:lnTo>
                  <a:lnTo>
                    <a:pt x="813" y="513"/>
                  </a:lnTo>
                  <a:lnTo>
                    <a:pt x="824" y="502"/>
                  </a:lnTo>
                  <a:lnTo>
                    <a:pt x="833" y="491"/>
                  </a:lnTo>
                  <a:lnTo>
                    <a:pt x="842" y="479"/>
                  </a:lnTo>
                  <a:lnTo>
                    <a:pt x="851" y="468"/>
                  </a:lnTo>
                  <a:lnTo>
                    <a:pt x="858" y="456"/>
                  </a:lnTo>
                  <a:lnTo>
                    <a:pt x="866" y="443"/>
                  </a:lnTo>
                  <a:lnTo>
                    <a:pt x="872" y="430"/>
                  </a:lnTo>
                  <a:lnTo>
                    <a:pt x="878" y="417"/>
                  </a:lnTo>
                  <a:lnTo>
                    <a:pt x="884" y="403"/>
                  </a:lnTo>
                  <a:lnTo>
                    <a:pt x="888" y="390"/>
                  </a:lnTo>
                  <a:lnTo>
                    <a:pt x="892" y="375"/>
                  </a:lnTo>
                  <a:lnTo>
                    <a:pt x="896" y="361"/>
                  </a:lnTo>
                  <a:lnTo>
                    <a:pt x="899" y="346"/>
                  </a:lnTo>
                  <a:lnTo>
                    <a:pt x="900" y="331"/>
                  </a:lnTo>
                  <a:lnTo>
                    <a:pt x="901" y="316"/>
                  </a:lnTo>
                  <a:lnTo>
                    <a:pt x="902" y="300"/>
                  </a:lnTo>
                  <a:lnTo>
                    <a:pt x="901" y="285"/>
                  </a:lnTo>
                  <a:lnTo>
                    <a:pt x="900" y="270"/>
                  </a:lnTo>
                  <a:lnTo>
                    <a:pt x="899" y="255"/>
                  </a:lnTo>
                  <a:lnTo>
                    <a:pt x="896" y="240"/>
                  </a:lnTo>
                  <a:lnTo>
                    <a:pt x="892" y="225"/>
                  </a:lnTo>
                  <a:lnTo>
                    <a:pt x="888" y="211"/>
                  </a:lnTo>
                  <a:lnTo>
                    <a:pt x="884" y="197"/>
                  </a:lnTo>
                  <a:lnTo>
                    <a:pt x="878" y="183"/>
                  </a:lnTo>
                  <a:lnTo>
                    <a:pt x="872" y="170"/>
                  </a:lnTo>
                  <a:lnTo>
                    <a:pt x="866" y="157"/>
                  </a:lnTo>
                  <a:lnTo>
                    <a:pt x="858" y="144"/>
                  </a:lnTo>
                  <a:lnTo>
                    <a:pt x="851" y="131"/>
                  </a:lnTo>
                  <a:lnTo>
                    <a:pt x="842" y="120"/>
                  </a:lnTo>
                  <a:lnTo>
                    <a:pt x="833" y="109"/>
                  </a:lnTo>
                  <a:lnTo>
                    <a:pt x="824" y="98"/>
                  </a:lnTo>
                  <a:lnTo>
                    <a:pt x="813" y="87"/>
                  </a:lnTo>
                  <a:lnTo>
                    <a:pt x="803" y="78"/>
                  </a:lnTo>
                  <a:lnTo>
                    <a:pt x="793" y="68"/>
                  </a:lnTo>
                  <a:lnTo>
                    <a:pt x="781" y="59"/>
                  </a:lnTo>
                  <a:lnTo>
                    <a:pt x="769" y="51"/>
                  </a:lnTo>
                  <a:lnTo>
                    <a:pt x="757" y="42"/>
                  </a:lnTo>
                  <a:lnTo>
                    <a:pt x="745" y="36"/>
                  </a:lnTo>
                  <a:lnTo>
                    <a:pt x="732" y="29"/>
                  </a:lnTo>
                  <a:lnTo>
                    <a:pt x="718" y="23"/>
                  </a:lnTo>
                  <a:lnTo>
                    <a:pt x="704" y="18"/>
                  </a:lnTo>
                  <a:lnTo>
                    <a:pt x="690" y="12"/>
                  </a:lnTo>
                  <a:lnTo>
                    <a:pt x="676" y="9"/>
                  </a:lnTo>
                  <a:lnTo>
                    <a:pt x="662" y="5"/>
                  </a:lnTo>
                  <a:lnTo>
                    <a:pt x="647" y="3"/>
                  </a:lnTo>
                  <a:lnTo>
                    <a:pt x="632" y="1"/>
                  </a:lnTo>
                  <a:lnTo>
                    <a:pt x="616" y="0"/>
                  </a:lnTo>
                  <a:lnTo>
                    <a:pt x="6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37" name="Freeform 198">
              <a:extLst>
                <a:ext uri="{FF2B5EF4-FFF2-40B4-BE49-F238E27FC236}">
                  <a16:creationId xmlns:a16="http://schemas.microsoft.com/office/drawing/2014/main" id="{A8B34E27-19D0-48D5-BCFA-D8DDF8192F2F}"/>
                </a:ext>
              </a:extLst>
            </p:cNvPr>
            <p:cNvSpPr>
              <a:spLocks/>
            </p:cNvSpPr>
            <p:nvPr/>
          </p:nvSpPr>
          <p:spPr bwMode="auto">
            <a:xfrm>
              <a:off x="8331200" y="1397000"/>
              <a:ext cx="47625" cy="104775"/>
            </a:xfrm>
            <a:custGeom>
              <a:avLst/>
              <a:gdLst>
                <a:gd name="T0" fmla="*/ 101 w 150"/>
                <a:gd name="T1" fmla="*/ 67 h 331"/>
                <a:gd name="T2" fmla="*/ 119 w 150"/>
                <a:gd name="T3" fmla="*/ 96 h 331"/>
                <a:gd name="T4" fmla="*/ 123 w 150"/>
                <a:gd name="T5" fmla="*/ 113 h 331"/>
                <a:gd name="T6" fmla="*/ 132 w 150"/>
                <a:gd name="T7" fmla="*/ 120 h 331"/>
                <a:gd name="T8" fmla="*/ 144 w 150"/>
                <a:gd name="T9" fmla="*/ 117 h 331"/>
                <a:gd name="T10" fmla="*/ 150 w 150"/>
                <a:gd name="T11" fmla="*/ 108 h 331"/>
                <a:gd name="T12" fmla="*/ 148 w 150"/>
                <a:gd name="T13" fmla="*/ 85 h 331"/>
                <a:gd name="T14" fmla="*/ 137 w 150"/>
                <a:gd name="T15" fmla="*/ 62 h 331"/>
                <a:gd name="T16" fmla="*/ 108 w 150"/>
                <a:gd name="T17" fmla="*/ 37 h 331"/>
                <a:gd name="T18" fmla="*/ 90 w 150"/>
                <a:gd name="T19" fmla="*/ 15 h 331"/>
                <a:gd name="T20" fmla="*/ 86 w 150"/>
                <a:gd name="T21" fmla="*/ 4 h 331"/>
                <a:gd name="T22" fmla="*/ 75 w 150"/>
                <a:gd name="T23" fmla="*/ 0 h 331"/>
                <a:gd name="T24" fmla="*/ 64 w 150"/>
                <a:gd name="T25" fmla="*/ 4 h 331"/>
                <a:gd name="T26" fmla="*/ 60 w 150"/>
                <a:gd name="T27" fmla="*/ 15 h 331"/>
                <a:gd name="T28" fmla="*/ 42 w 150"/>
                <a:gd name="T29" fmla="*/ 37 h 331"/>
                <a:gd name="T30" fmla="*/ 13 w 150"/>
                <a:gd name="T31" fmla="*/ 62 h 331"/>
                <a:gd name="T32" fmla="*/ 2 w 150"/>
                <a:gd name="T33" fmla="*/ 85 h 331"/>
                <a:gd name="T34" fmla="*/ 0 w 150"/>
                <a:gd name="T35" fmla="*/ 112 h 331"/>
                <a:gd name="T36" fmla="*/ 9 w 150"/>
                <a:gd name="T37" fmla="*/ 141 h 331"/>
                <a:gd name="T38" fmla="*/ 27 w 150"/>
                <a:gd name="T39" fmla="*/ 162 h 331"/>
                <a:gd name="T40" fmla="*/ 53 w 150"/>
                <a:gd name="T41" fmla="*/ 176 h 331"/>
                <a:gd name="T42" fmla="*/ 85 w 150"/>
                <a:gd name="T43" fmla="*/ 181 h 331"/>
                <a:gd name="T44" fmla="*/ 112 w 150"/>
                <a:gd name="T45" fmla="*/ 200 h 331"/>
                <a:gd name="T46" fmla="*/ 119 w 150"/>
                <a:gd name="T47" fmla="*/ 234 h 331"/>
                <a:gd name="T48" fmla="*/ 101 w 150"/>
                <a:gd name="T49" fmla="*/ 262 h 331"/>
                <a:gd name="T50" fmla="*/ 66 w 150"/>
                <a:gd name="T51" fmla="*/ 269 h 331"/>
                <a:gd name="T52" fmla="*/ 38 w 150"/>
                <a:gd name="T53" fmla="*/ 250 h 331"/>
                <a:gd name="T54" fmla="*/ 30 w 150"/>
                <a:gd name="T55" fmla="*/ 222 h 331"/>
                <a:gd name="T56" fmla="*/ 24 w 150"/>
                <a:gd name="T57" fmla="*/ 213 h 331"/>
                <a:gd name="T58" fmla="*/ 12 w 150"/>
                <a:gd name="T59" fmla="*/ 211 h 331"/>
                <a:gd name="T60" fmla="*/ 2 w 150"/>
                <a:gd name="T61" fmla="*/ 217 h 331"/>
                <a:gd name="T62" fmla="*/ 0 w 150"/>
                <a:gd name="T63" fmla="*/ 232 h 331"/>
                <a:gd name="T64" fmla="*/ 6 w 150"/>
                <a:gd name="T65" fmla="*/ 257 h 331"/>
                <a:gd name="T66" fmla="*/ 26 w 150"/>
                <a:gd name="T67" fmla="*/ 282 h 331"/>
                <a:gd name="T68" fmla="*/ 54 w 150"/>
                <a:gd name="T69" fmla="*/ 297 h 331"/>
                <a:gd name="T70" fmla="*/ 61 w 150"/>
                <a:gd name="T71" fmla="*/ 321 h 331"/>
                <a:gd name="T72" fmla="*/ 70 w 150"/>
                <a:gd name="T73" fmla="*/ 329 h 331"/>
                <a:gd name="T74" fmla="*/ 81 w 150"/>
                <a:gd name="T75" fmla="*/ 329 h 331"/>
                <a:gd name="T76" fmla="*/ 89 w 150"/>
                <a:gd name="T77" fmla="*/ 321 h 331"/>
                <a:gd name="T78" fmla="*/ 96 w 150"/>
                <a:gd name="T79" fmla="*/ 297 h 331"/>
                <a:gd name="T80" fmla="*/ 124 w 150"/>
                <a:gd name="T81" fmla="*/ 282 h 331"/>
                <a:gd name="T82" fmla="*/ 144 w 150"/>
                <a:gd name="T83" fmla="*/ 257 h 331"/>
                <a:gd name="T84" fmla="*/ 150 w 150"/>
                <a:gd name="T85" fmla="*/ 232 h 331"/>
                <a:gd name="T86" fmla="*/ 147 w 150"/>
                <a:gd name="T87" fmla="*/ 203 h 331"/>
                <a:gd name="T88" fmla="*/ 133 w 150"/>
                <a:gd name="T89" fmla="*/ 177 h 331"/>
                <a:gd name="T90" fmla="*/ 110 w 150"/>
                <a:gd name="T91" fmla="*/ 159 h 331"/>
                <a:gd name="T92" fmla="*/ 82 w 150"/>
                <a:gd name="T93" fmla="*/ 151 h 331"/>
                <a:gd name="T94" fmla="*/ 50 w 150"/>
                <a:gd name="T95" fmla="*/ 142 h 331"/>
                <a:gd name="T96" fmla="*/ 31 w 150"/>
                <a:gd name="T97" fmla="*/ 114 h 331"/>
                <a:gd name="T98" fmla="*/ 38 w 150"/>
                <a:gd name="T99" fmla="*/ 80 h 331"/>
                <a:gd name="T100" fmla="*/ 66 w 150"/>
                <a:gd name="T101" fmla="*/ 6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0" h="331">
                  <a:moveTo>
                    <a:pt x="75" y="60"/>
                  </a:moveTo>
                  <a:lnTo>
                    <a:pt x="85" y="61"/>
                  </a:lnTo>
                  <a:lnTo>
                    <a:pt x="92" y="63"/>
                  </a:lnTo>
                  <a:lnTo>
                    <a:pt x="101" y="67"/>
                  </a:lnTo>
                  <a:lnTo>
                    <a:pt x="107" y="72"/>
                  </a:lnTo>
                  <a:lnTo>
                    <a:pt x="112" y="80"/>
                  </a:lnTo>
                  <a:lnTo>
                    <a:pt x="117" y="87"/>
                  </a:lnTo>
                  <a:lnTo>
                    <a:pt x="119" y="96"/>
                  </a:lnTo>
                  <a:lnTo>
                    <a:pt x="120" y="105"/>
                  </a:lnTo>
                  <a:lnTo>
                    <a:pt x="120" y="108"/>
                  </a:lnTo>
                  <a:lnTo>
                    <a:pt x="121" y="111"/>
                  </a:lnTo>
                  <a:lnTo>
                    <a:pt x="123" y="113"/>
                  </a:lnTo>
                  <a:lnTo>
                    <a:pt x="124" y="115"/>
                  </a:lnTo>
                  <a:lnTo>
                    <a:pt x="126" y="117"/>
                  </a:lnTo>
                  <a:lnTo>
                    <a:pt x="130" y="118"/>
                  </a:lnTo>
                  <a:lnTo>
                    <a:pt x="132" y="120"/>
                  </a:lnTo>
                  <a:lnTo>
                    <a:pt x="135" y="120"/>
                  </a:lnTo>
                  <a:lnTo>
                    <a:pt x="138" y="120"/>
                  </a:lnTo>
                  <a:lnTo>
                    <a:pt x="141" y="118"/>
                  </a:lnTo>
                  <a:lnTo>
                    <a:pt x="144" y="117"/>
                  </a:lnTo>
                  <a:lnTo>
                    <a:pt x="146" y="115"/>
                  </a:lnTo>
                  <a:lnTo>
                    <a:pt x="148" y="113"/>
                  </a:lnTo>
                  <a:lnTo>
                    <a:pt x="149" y="111"/>
                  </a:lnTo>
                  <a:lnTo>
                    <a:pt x="150" y="108"/>
                  </a:lnTo>
                  <a:lnTo>
                    <a:pt x="150" y="105"/>
                  </a:lnTo>
                  <a:lnTo>
                    <a:pt x="150" y="98"/>
                  </a:lnTo>
                  <a:lnTo>
                    <a:pt x="149" y="92"/>
                  </a:lnTo>
                  <a:lnTo>
                    <a:pt x="148" y="85"/>
                  </a:lnTo>
                  <a:lnTo>
                    <a:pt x="146" y="79"/>
                  </a:lnTo>
                  <a:lnTo>
                    <a:pt x="144" y="73"/>
                  </a:lnTo>
                  <a:lnTo>
                    <a:pt x="140" y="67"/>
                  </a:lnTo>
                  <a:lnTo>
                    <a:pt x="137" y="62"/>
                  </a:lnTo>
                  <a:lnTo>
                    <a:pt x="133" y="57"/>
                  </a:lnTo>
                  <a:lnTo>
                    <a:pt x="124" y="48"/>
                  </a:lnTo>
                  <a:lnTo>
                    <a:pt x="114" y="40"/>
                  </a:lnTo>
                  <a:lnTo>
                    <a:pt x="108" y="37"/>
                  </a:lnTo>
                  <a:lnTo>
                    <a:pt x="103" y="35"/>
                  </a:lnTo>
                  <a:lnTo>
                    <a:pt x="96" y="33"/>
                  </a:lnTo>
                  <a:lnTo>
                    <a:pt x="90" y="31"/>
                  </a:lnTo>
                  <a:lnTo>
                    <a:pt x="90" y="15"/>
                  </a:lnTo>
                  <a:lnTo>
                    <a:pt x="90" y="11"/>
                  </a:lnTo>
                  <a:lnTo>
                    <a:pt x="89" y="9"/>
                  </a:lnTo>
                  <a:lnTo>
                    <a:pt x="88" y="6"/>
                  </a:lnTo>
                  <a:lnTo>
                    <a:pt x="86" y="4"/>
                  </a:lnTo>
                  <a:lnTo>
                    <a:pt x="84" y="2"/>
                  </a:lnTo>
                  <a:lnTo>
                    <a:pt x="81" y="1"/>
                  </a:lnTo>
                  <a:lnTo>
                    <a:pt x="78" y="0"/>
                  </a:lnTo>
                  <a:lnTo>
                    <a:pt x="75" y="0"/>
                  </a:lnTo>
                  <a:lnTo>
                    <a:pt x="72" y="0"/>
                  </a:lnTo>
                  <a:lnTo>
                    <a:pt x="70" y="1"/>
                  </a:lnTo>
                  <a:lnTo>
                    <a:pt x="66" y="2"/>
                  </a:lnTo>
                  <a:lnTo>
                    <a:pt x="64" y="4"/>
                  </a:lnTo>
                  <a:lnTo>
                    <a:pt x="62" y="6"/>
                  </a:lnTo>
                  <a:lnTo>
                    <a:pt x="61" y="9"/>
                  </a:lnTo>
                  <a:lnTo>
                    <a:pt x="60" y="11"/>
                  </a:lnTo>
                  <a:lnTo>
                    <a:pt x="60" y="15"/>
                  </a:lnTo>
                  <a:lnTo>
                    <a:pt x="60" y="31"/>
                  </a:lnTo>
                  <a:lnTo>
                    <a:pt x="54" y="33"/>
                  </a:lnTo>
                  <a:lnTo>
                    <a:pt x="47" y="35"/>
                  </a:lnTo>
                  <a:lnTo>
                    <a:pt x="42" y="37"/>
                  </a:lnTo>
                  <a:lnTo>
                    <a:pt x="36" y="40"/>
                  </a:lnTo>
                  <a:lnTo>
                    <a:pt x="26" y="48"/>
                  </a:lnTo>
                  <a:lnTo>
                    <a:pt x="17" y="57"/>
                  </a:lnTo>
                  <a:lnTo>
                    <a:pt x="13" y="62"/>
                  </a:lnTo>
                  <a:lnTo>
                    <a:pt x="10" y="67"/>
                  </a:lnTo>
                  <a:lnTo>
                    <a:pt x="6" y="73"/>
                  </a:lnTo>
                  <a:lnTo>
                    <a:pt x="4" y="79"/>
                  </a:lnTo>
                  <a:lnTo>
                    <a:pt x="2" y="85"/>
                  </a:lnTo>
                  <a:lnTo>
                    <a:pt x="1" y="92"/>
                  </a:lnTo>
                  <a:lnTo>
                    <a:pt x="0" y="98"/>
                  </a:lnTo>
                  <a:lnTo>
                    <a:pt x="0" y="105"/>
                  </a:lnTo>
                  <a:lnTo>
                    <a:pt x="0" y="112"/>
                  </a:lnTo>
                  <a:lnTo>
                    <a:pt x="1" y="120"/>
                  </a:lnTo>
                  <a:lnTo>
                    <a:pt x="3" y="127"/>
                  </a:lnTo>
                  <a:lnTo>
                    <a:pt x="5" y="135"/>
                  </a:lnTo>
                  <a:lnTo>
                    <a:pt x="9" y="141"/>
                  </a:lnTo>
                  <a:lnTo>
                    <a:pt x="13" y="146"/>
                  </a:lnTo>
                  <a:lnTo>
                    <a:pt x="17" y="153"/>
                  </a:lnTo>
                  <a:lnTo>
                    <a:pt x="21" y="158"/>
                  </a:lnTo>
                  <a:lnTo>
                    <a:pt x="27" y="162"/>
                  </a:lnTo>
                  <a:lnTo>
                    <a:pt x="33" y="167"/>
                  </a:lnTo>
                  <a:lnTo>
                    <a:pt x="40" y="171"/>
                  </a:lnTo>
                  <a:lnTo>
                    <a:pt x="46" y="174"/>
                  </a:lnTo>
                  <a:lnTo>
                    <a:pt x="53" y="176"/>
                  </a:lnTo>
                  <a:lnTo>
                    <a:pt x="60" y="178"/>
                  </a:lnTo>
                  <a:lnTo>
                    <a:pt x="67" y="180"/>
                  </a:lnTo>
                  <a:lnTo>
                    <a:pt x="75" y="180"/>
                  </a:lnTo>
                  <a:lnTo>
                    <a:pt x="85" y="181"/>
                  </a:lnTo>
                  <a:lnTo>
                    <a:pt x="92" y="184"/>
                  </a:lnTo>
                  <a:lnTo>
                    <a:pt x="101" y="188"/>
                  </a:lnTo>
                  <a:lnTo>
                    <a:pt x="107" y="193"/>
                  </a:lnTo>
                  <a:lnTo>
                    <a:pt x="112" y="200"/>
                  </a:lnTo>
                  <a:lnTo>
                    <a:pt x="117" y="207"/>
                  </a:lnTo>
                  <a:lnTo>
                    <a:pt x="119" y="216"/>
                  </a:lnTo>
                  <a:lnTo>
                    <a:pt x="120" y="226"/>
                  </a:lnTo>
                  <a:lnTo>
                    <a:pt x="119" y="234"/>
                  </a:lnTo>
                  <a:lnTo>
                    <a:pt x="117" y="243"/>
                  </a:lnTo>
                  <a:lnTo>
                    <a:pt x="112" y="250"/>
                  </a:lnTo>
                  <a:lnTo>
                    <a:pt x="107" y="257"/>
                  </a:lnTo>
                  <a:lnTo>
                    <a:pt x="101" y="262"/>
                  </a:lnTo>
                  <a:lnTo>
                    <a:pt x="92" y="266"/>
                  </a:lnTo>
                  <a:lnTo>
                    <a:pt x="85" y="269"/>
                  </a:lnTo>
                  <a:lnTo>
                    <a:pt x="75" y="271"/>
                  </a:lnTo>
                  <a:lnTo>
                    <a:pt x="66" y="269"/>
                  </a:lnTo>
                  <a:lnTo>
                    <a:pt x="58" y="266"/>
                  </a:lnTo>
                  <a:lnTo>
                    <a:pt x="50" y="262"/>
                  </a:lnTo>
                  <a:lnTo>
                    <a:pt x="43" y="257"/>
                  </a:lnTo>
                  <a:lnTo>
                    <a:pt x="38" y="250"/>
                  </a:lnTo>
                  <a:lnTo>
                    <a:pt x="33" y="243"/>
                  </a:lnTo>
                  <a:lnTo>
                    <a:pt x="31" y="234"/>
                  </a:lnTo>
                  <a:lnTo>
                    <a:pt x="30" y="226"/>
                  </a:lnTo>
                  <a:lnTo>
                    <a:pt x="30" y="222"/>
                  </a:lnTo>
                  <a:lnTo>
                    <a:pt x="29" y="219"/>
                  </a:lnTo>
                  <a:lnTo>
                    <a:pt x="28" y="217"/>
                  </a:lnTo>
                  <a:lnTo>
                    <a:pt x="26" y="215"/>
                  </a:lnTo>
                  <a:lnTo>
                    <a:pt x="24" y="213"/>
                  </a:lnTo>
                  <a:lnTo>
                    <a:pt x="20" y="212"/>
                  </a:lnTo>
                  <a:lnTo>
                    <a:pt x="18" y="211"/>
                  </a:lnTo>
                  <a:lnTo>
                    <a:pt x="15" y="210"/>
                  </a:lnTo>
                  <a:lnTo>
                    <a:pt x="12" y="211"/>
                  </a:lnTo>
                  <a:lnTo>
                    <a:pt x="9" y="212"/>
                  </a:lnTo>
                  <a:lnTo>
                    <a:pt x="6" y="213"/>
                  </a:lnTo>
                  <a:lnTo>
                    <a:pt x="4" y="215"/>
                  </a:lnTo>
                  <a:lnTo>
                    <a:pt x="2" y="217"/>
                  </a:lnTo>
                  <a:lnTo>
                    <a:pt x="1" y="219"/>
                  </a:lnTo>
                  <a:lnTo>
                    <a:pt x="0" y="222"/>
                  </a:lnTo>
                  <a:lnTo>
                    <a:pt x="0" y="226"/>
                  </a:lnTo>
                  <a:lnTo>
                    <a:pt x="0" y="232"/>
                  </a:lnTo>
                  <a:lnTo>
                    <a:pt x="1" y="238"/>
                  </a:lnTo>
                  <a:lnTo>
                    <a:pt x="2" y="245"/>
                  </a:lnTo>
                  <a:lnTo>
                    <a:pt x="4" y="251"/>
                  </a:lnTo>
                  <a:lnTo>
                    <a:pt x="6" y="257"/>
                  </a:lnTo>
                  <a:lnTo>
                    <a:pt x="10" y="262"/>
                  </a:lnTo>
                  <a:lnTo>
                    <a:pt x="13" y="267"/>
                  </a:lnTo>
                  <a:lnTo>
                    <a:pt x="17" y="273"/>
                  </a:lnTo>
                  <a:lnTo>
                    <a:pt x="26" y="282"/>
                  </a:lnTo>
                  <a:lnTo>
                    <a:pt x="36" y="290"/>
                  </a:lnTo>
                  <a:lnTo>
                    <a:pt x="42" y="292"/>
                  </a:lnTo>
                  <a:lnTo>
                    <a:pt x="47" y="295"/>
                  </a:lnTo>
                  <a:lnTo>
                    <a:pt x="54" y="297"/>
                  </a:lnTo>
                  <a:lnTo>
                    <a:pt x="60" y="298"/>
                  </a:lnTo>
                  <a:lnTo>
                    <a:pt x="60" y="316"/>
                  </a:lnTo>
                  <a:lnTo>
                    <a:pt x="60" y="319"/>
                  </a:lnTo>
                  <a:lnTo>
                    <a:pt x="61" y="321"/>
                  </a:lnTo>
                  <a:lnTo>
                    <a:pt x="62" y="324"/>
                  </a:lnTo>
                  <a:lnTo>
                    <a:pt x="64" y="326"/>
                  </a:lnTo>
                  <a:lnTo>
                    <a:pt x="66" y="327"/>
                  </a:lnTo>
                  <a:lnTo>
                    <a:pt x="70" y="329"/>
                  </a:lnTo>
                  <a:lnTo>
                    <a:pt x="72" y="329"/>
                  </a:lnTo>
                  <a:lnTo>
                    <a:pt x="75" y="331"/>
                  </a:lnTo>
                  <a:lnTo>
                    <a:pt x="78" y="329"/>
                  </a:lnTo>
                  <a:lnTo>
                    <a:pt x="81" y="329"/>
                  </a:lnTo>
                  <a:lnTo>
                    <a:pt x="84" y="327"/>
                  </a:lnTo>
                  <a:lnTo>
                    <a:pt x="86" y="326"/>
                  </a:lnTo>
                  <a:lnTo>
                    <a:pt x="88" y="324"/>
                  </a:lnTo>
                  <a:lnTo>
                    <a:pt x="89" y="321"/>
                  </a:lnTo>
                  <a:lnTo>
                    <a:pt x="90" y="319"/>
                  </a:lnTo>
                  <a:lnTo>
                    <a:pt x="90" y="316"/>
                  </a:lnTo>
                  <a:lnTo>
                    <a:pt x="90" y="298"/>
                  </a:lnTo>
                  <a:lnTo>
                    <a:pt x="96" y="297"/>
                  </a:lnTo>
                  <a:lnTo>
                    <a:pt x="103" y="295"/>
                  </a:lnTo>
                  <a:lnTo>
                    <a:pt x="108" y="292"/>
                  </a:lnTo>
                  <a:lnTo>
                    <a:pt x="114" y="290"/>
                  </a:lnTo>
                  <a:lnTo>
                    <a:pt x="124" y="282"/>
                  </a:lnTo>
                  <a:lnTo>
                    <a:pt x="133" y="273"/>
                  </a:lnTo>
                  <a:lnTo>
                    <a:pt x="137" y="267"/>
                  </a:lnTo>
                  <a:lnTo>
                    <a:pt x="140" y="262"/>
                  </a:lnTo>
                  <a:lnTo>
                    <a:pt x="144" y="257"/>
                  </a:lnTo>
                  <a:lnTo>
                    <a:pt x="146" y="251"/>
                  </a:lnTo>
                  <a:lnTo>
                    <a:pt x="148" y="245"/>
                  </a:lnTo>
                  <a:lnTo>
                    <a:pt x="149" y="238"/>
                  </a:lnTo>
                  <a:lnTo>
                    <a:pt x="150" y="232"/>
                  </a:lnTo>
                  <a:lnTo>
                    <a:pt x="150" y="226"/>
                  </a:lnTo>
                  <a:lnTo>
                    <a:pt x="150" y="217"/>
                  </a:lnTo>
                  <a:lnTo>
                    <a:pt x="149" y="210"/>
                  </a:lnTo>
                  <a:lnTo>
                    <a:pt x="147" y="203"/>
                  </a:lnTo>
                  <a:lnTo>
                    <a:pt x="145" y="196"/>
                  </a:lnTo>
                  <a:lnTo>
                    <a:pt x="141" y="189"/>
                  </a:lnTo>
                  <a:lnTo>
                    <a:pt x="137" y="183"/>
                  </a:lnTo>
                  <a:lnTo>
                    <a:pt x="133" y="177"/>
                  </a:lnTo>
                  <a:lnTo>
                    <a:pt x="129" y="172"/>
                  </a:lnTo>
                  <a:lnTo>
                    <a:pt x="123" y="167"/>
                  </a:lnTo>
                  <a:lnTo>
                    <a:pt x="117" y="162"/>
                  </a:lnTo>
                  <a:lnTo>
                    <a:pt x="110" y="159"/>
                  </a:lnTo>
                  <a:lnTo>
                    <a:pt x="104" y="156"/>
                  </a:lnTo>
                  <a:lnTo>
                    <a:pt x="97" y="154"/>
                  </a:lnTo>
                  <a:lnTo>
                    <a:pt x="90" y="152"/>
                  </a:lnTo>
                  <a:lnTo>
                    <a:pt x="82" y="151"/>
                  </a:lnTo>
                  <a:lnTo>
                    <a:pt x="75" y="150"/>
                  </a:lnTo>
                  <a:lnTo>
                    <a:pt x="66" y="148"/>
                  </a:lnTo>
                  <a:lnTo>
                    <a:pt x="58" y="146"/>
                  </a:lnTo>
                  <a:lnTo>
                    <a:pt x="50" y="142"/>
                  </a:lnTo>
                  <a:lnTo>
                    <a:pt x="43" y="137"/>
                  </a:lnTo>
                  <a:lnTo>
                    <a:pt x="38" y="130"/>
                  </a:lnTo>
                  <a:lnTo>
                    <a:pt x="33" y="123"/>
                  </a:lnTo>
                  <a:lnTo>
                    <a:pt x="31" y="114"/>
                  </a:lnTo>
                  <a:lnTo>
                    <a:pt x="30" y="105"/>
                  </a:lnTo>
                  <a:lnTo>
                    <a:pt x="31" y="96"/>
                  </a:lnTo>
                  <a:lnTo>
                    <a:pt x="33" y="87"/>
                  </a:lnTo>
                  <a:lnTo>
                    <a:pt x="38" y="80"/>
                  </a:lnTo>
                  <a:lnTo>
                    <a:pt x="43" y="72"/>
                  </a:lnTo>
                  <a:lnTo>
                    <a:pt x="50" y="67"/>
                  </a:lnTo>
                  <a:lnTo>
                    <a:pt x="58" y="63"/>
                  </a:lnTo>
                  <a:lnTo>
                    <a:pt x="66" y="61"/>
                  </a:lnTo>
                  <a:lnTo>
                    <a:pt x="7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138" name="Freeform 199">
              <a:extLst>
                <a:ext uri="{FF2B5EF4-FFF2-40B4-BE49-F238E27FC236}">
                  <a16:creationId xmlns:a16="http://schemas.microsoft.com/office/drawing/2014/main" id="{47BF68F6-841F-492C-8A48-DE0139947E4B}"/>
                </a:ext>
              </a:extLst>
            </p:cNvPr>
            <p:cNvSpPr>
              <a:spLocks/>
            </p:cNvSpPr>
            <p:nvPr/>
          </p:nvSpPr>
          <p:spPr bwMode="auto">
            <a:xfrm>
              <a:off x="8235950" y="1492250"/>
              <a:ext cx="47625" cy="104775"/>
            </a:xfrm>
            <a:custGeom>
              <a:avLst/>
              <a:gdLst>
                <a:gd name="T0" fmla="*/ 101 w 151"/>
                <a:gd name="T1" fmla="*/ 67 h 329"/>
                <a:gd name="T2" fmla="*/ 120 w 151"/>
                <a:gd name="T3" fmla="*/ 95 h 329"/>
                <a:gd name="T4" fmla="*/ 123 w 151"/>
                <a:gd name="T5" fmla="*/ 113 h 329"/>
                <a:gd name="T6" fmla="*/ 133 w 151"/>
                <a:gd name="T7" fmla="*/ 120 h 329"/>
                <a:gd name="T8" fmla="*/ 144 w 151"/>
                <a:gd name="T9" fmla="*/ 117 h 329"/>
                <a:gd name="T10" fmla="*/ 150 w 151"/>
                <a:gd name="T11" fmla="*/ 108 h 329"/>
                <a:gd name="T12" fmla="*/ 148 w 151"/>
                <a:gd name="T13" fmla="*/ 85 h 329"/>
                <a:gd name="T14" fmla="*/ 137 w 151"/>
                <a:gd name="T15" fmla="*/ 62 h 329"/>
                <a:gd name="T16" fmla="*/ 108 w 151"/>
                <a:gd name="T17" fmla="*/ 37 h 329"/>
                <a:gd name="T18" fmla="*/ 90 w 151"/>
                <a:gd name="T19" fmla="*/ 15 h 329"/>
                <a:gd name="T20" fmla="*/ 86 w 151"/>
                <a:gd name="T21" fmla="*/ 4 h 329"/>
                <a:gd name="T22" fmla="*/ 75 w 151"/>
                <a:gd name="T23" fmla="*/ 0 h 329"/>
                <a:gd name="T24" fmla="*/ 64 w 151"/>
                <a:gd name="T25" fmla="*/ 4 h 329"/>
                <a:gd name="T26" fmla="*/ 60 w 151"/>
                <a:gd name="T27" fmla="*/ 15 h 329"/>
                <a:gd name="T28" fmla="*/ 42 w 151"/>
                <a:gd name="T29" fmla="*/ 37 h 329"/>
                <a:gd name="T30" fmla="*/ 14 w 151"/>
                <a:gd name="T31" fmla="*/ 62 h 329"/>
                <a:gd name="T32" fmla="*/ 3 w 151"/>
                <a:gd name="T33" fmla="*/ 85 h 329"/>
                <a:gd name="T34" fmla="*/ 1 w 151"/>
                <a:gd name="T35" fmla="*/ 112 h 329"/>
                <a:gd name="T36" fmla="*/ 10 w 151"/>
                <a:gd name="T37" fmla="*/ 140 h 329"/>
                <a:gd name="T38" fmla="*/ 28 w 151"/>
                <a:gd name="T39" fmla="*/ 162 h 329"/>
                <a:gd name="T40" fmla="*/ 52 w 151"/>
                <a:gd name="T41" fmla="*/ 176 h 329"/>
                <a:gd name="T42" fmla="*/ 85 w 151"/>
                <a:gd name="T43" fmla="*/ 181 h 329"/>
                <a:gd name="T44" fmla="*/ 112 w 151"/>
                <a:gd name="T45" fmla="*/ 200 h 329"/>
                <a:gd name="T46" fmla="*/ 120 w 151"/>
                <a:gd name="T47" fmla="*/ 234 h 329"/>
                <a:gd name="T48" fmla="*/ 101 w 151"/>
                <a:gd name="T49" fmla="*/ 262 h 329"/>
                <a:gd name="T50" fmla="*/ 66 w 151"/>
                <a:gd name="T51" fmla="*/ 268 h 329"/>
                <a:gd name="T52" fmla="*/ 37 w 151"/>
                <a:gd name="T53" fmla="*/ 250 h 329"/>
                <a:gd name="T54" fmla="*/ 30 w 151"/>
                <a:gd name="T55" fmla="*/ 221 h 329"/>
                <a:gd name="T56" fmla="*/ 24 w 151"/>
                <a:gd name="T57" fmla="*/ 213 h 329"/>
                <a:gd name="T58" fmla="*/ 12 w 151"/>
                <a:gd name="T59" fmla="*/ 210 h 329"/>
                <a:gd name="T60" fmla="*/ 3 w 151"/>
                <a:gd name="T61" fmla="*/ 216 h 329"/>
                <a:gd name="T62" fmla="*/ 0 w 151"/>
                <a:gd name="T63" fmla="*/ 231 h 329"/>
                <a:gd name="T64" fmla="*/ 7 w 151"/>
                <a:gd name="T65" fmla="*/ 257 h 329"/>
                <a:gd name="T66" fmla="*/ 26 w 151"/>
                <a:gd name="T67" fmla="*/ 281 h 329"/>
                <a:gd name="T68" fmla="*/ 54 w 151"/>
                <a:gd name="T69" fmla="*/ 297 h 329"/>
                <a:gd name="T70" fmla="*/ 61 w 151"/>
                <a:gd name="T71" fmla="*/ 321 h 329"/>
                <a:gd name="T72" fmla="*/ 70 w 151"/>
                <a:gd name="T73" fmla="*/ 328 h 329"/>
                <a:gd name="T74" fmla="*/ 81 w 151"/>
                <a:gd name="T75" fmla="*/ 328 h 329"/>
                <a:gd name="T76" fmla="*/ 89 w 151"/>
                <a:gd name="T77" fmla="*/ 321 h 329"/>
                <a:gd name="T78" fmla="*/ 96 w 151"/>
                <a:gd name="T79" fmla="*/ 296 h 329"/>
                <a:gd name="T80" fmla="*/ 124 w 151"/>
                <a:gd name="T81" fmla="*/ 281 h 329"/>
                <a:gd name="T82" fmla="*/ 144 w 151"/>
                <a:gd name="T83" fmla="*/ 257 h 329"/>
                <a:gd name="T84" fmla="*/ 150 w 151"/>
                <a:gd name="T85" fmla="*/ 232 h 329"/>
                <a:gd name="T86" fmla="*/ 147 w 151"/>
                <a:gd name="T87" fmla="*/ 202 h 329"/>
                <a:gd name="T88" fmla="*/ 134 w 151"/>
                <a:gd name="T89" fmla="*/ 177 h 329"/>
                <a:gd name="T90" fmla="*/ 111 w 151"/>
                <a:gd name="T91" fmla="*/ 159 h 329"/>
                <a:gd name="T92" fmla="*/ 84 w 151"/>
                <a:gd name="T93" fmla="*/ 150 h 329"/>
                <a:gd name="T94" fmla="*/ 50 w 151"/>
                <a:gd name="T95" fmla="*/ 142 h 329"/>
                <a:gd name="T96" fmla="*/ 31 w 151"/>
                <a:gd name="T97" fmla="*/ 113 h 329"/>
                <a:gd name="T98" fmla="*/ 37 w 151"/>
                <a:gd name="T99" fmla="*/ 79 h 329"/>
                <a:gd name="T100" fmla="*/ 66 w 151"/>
                <a:gd name="T101" fmla="*/ 6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329">
                  <a:moveTo>
                    <a:pt x="75" y="60"/>
                  </a:moveTo>
                  <a:lnTo>
                    <a:pt x="85" y="61"/>
                  </a:lnTo>
                  <a:lnTo>
                    <a:pt x="93" y="63"/>
                  </a:lnTo>
                  <a:lnTo>
                    <a:pt x="101" y="67"/>
                  </a:lnTo>
                  <a:lnTo>
                    <a:pt x="107" y="72"/>
                  </a:lnTo>
                  <a:lnTo>
                    <a:pt x="112" y="79"/>
                  </a:lnTo>
                  <a:lnTo>
                    <a:pt x="117" y="87"/>
                  </a:lnTo>
                  <a:lnTo>
                    <a:pt x="120" y="95"/>
                  </a:lnTo>
                  <a:lnTo>
                    <a:pt x="120" y="105"/>
                  </a:lnTo>
                  <a:lnTo>
                    <a:pt x="121" y="108"/>
                  </a:lnTo>
                  <a:lnTo>
                    <a:pt x="122" y="110"/>
                  </a:lnTo>
                  <a:lnTo>
                    <a:pt x="123" y="113"/>
                  </a:lnTo>
                  <a:lnTo>
                    <a:pt x="125" y="115"/>
                  </a:lnTo>
                  <a:lnTo>
                    <a:pt x="127" y="117"/>
                  </a:lnTo>
                  <a:lnTo>
                    <a:pt x="130" y="118"/>
                  </a:lnTo>
                  <a:lnTo>
                    <a:pt x="133" y="120"/>
                  </a:lnTo>
                  <a:lnTo>
                    <a:pt x="135" y="120"/>
                  </a:lnTo>
                  <a:lnTo>
                    <a:pt x="138" y="120"/>
                  </a:lnTo>
                  <a:lnTo>
                    <a:pt x="141" y="118"/>
                  </a:lnTo>
                  <a:lnTo>
                    <a:pt x="144" y="117"/>
                  </a:lnTo>
                  <a:lnTo>
                    <a:pt x="146" y="115"/>
                  </a:lnTo>
                  <a:lnTo>
                    <a:pt x="148" y="113"/>
                  </a:lnTo>
                  <a:lnTo>
                    <a:pt x="149" y="110"/>
                  </a:lnTo>
                  <a:lnTo>
                    <a:pt x="150" y="108"/>
                  </a:lnTo>
                  <a:lnTo>
                    <a:pt x="151" y="105"/>
                  </a:lnTo>
                  <a:lnTo>
                    <a:pt x="150" y="98"/>
                  </a:lnTo>
                  <a:lnTo>
                    <a:pt x="149" y="91"/>
                  </a:lnTo>
                  <a:lnTo>
                    <a:pt x="148" y="85"/>
                  </a:lnTo>
                  <a:lnTo>
                    <a:pt x="146" y="79"/>
                  </a:lnTo>
                  <a:lnTo>
                    <a:pt x="144" y="72"/>
                  </a:lnTo>
                  <a:lnTo>
                    <a:pt x="140" y="67"/>
                  </a:lnTo>
                  <a:lnTo>
                    <a:pt x="137" y="62"/>
                  </a:lnTo>
                  <a:lnTo>
                    <a:pt x="133" y="56"/>
                  </a:lnTo>
                  <a:lnTo>
                    <a:pt x="124" y="48"/>
                  </a:lnTo>
                  <a:lnTo>
                    <a:pt x="115" y="40"/>
                  </a:lnTo>
                  <a:lnTo>
                    <a:pt x="108" y="37"/>
                  </a:lnTo>
                  <a:lnTo>
                    <a:pt x="103" y="35"/>
                  </a:lnTo>
                  <a:lnTo>
                    <a:pt x="96" y="33"/>
                  </a:lnTo>
                  <a:lnTo>
                    <a:pt x="90" y="31"/>
                  </a:lnTo>
                  <a:lnTo>
                    <a:pt x="90" y="15"/>
                  </a:lnTo>
                  <a:lnTo>
                    <a:pt x="90" y="11"/>
                  </a:lnTo>
                  <a:lnTo>
                    <a:pt x="89" y="8"/>
                  </a:lnTo>
                  <a:lnTo>
                    <a:pt x="88" y="6"/>
                  </a:lnTo>
                  <a:lnTo>
                    <a:pt x="86" y="4"/>
                  </a:lnTo>
                  <a:lnTo>
                    <a:pt x="84" y="2"/>
                  </a:lnTo>
                  <a:lnTo>
                    <a:pt x="81" y="1"/>
                  </a:lnTo>
                  <a:lnTo>
                    <a:pt x="78" y="0"/>
                  </a:lnTo>
                  <a:lnTo>
                    <a:pt x="75" y="0"/>
                  </a:lnTo>
                  <a:lnTo>
                    <a:pt x="73" y="0"/>
                  </a:lnTo>
                  <a:lnTo>
                    <a:pt x="70" y="1"/>
                  </a:lnTo>
                  <a:lnTo>
                    <a:pt x="67" y="2"/>
                  </a:lnTo>
                  <a:lnTo>
                    <a:pt x="64" y="4"/>
                  </a:lnTo>
                  <a:lnTo>
                    <a:pt x="63" y="6"/>
                  </a:lnTo>
                  <a:lnTo>
                    <a:pt x="61" y="8"/>
                  </a:lnTo>
                  <a:lnTo>
                    <a:pt x="61" y="11"/>
                  </a:lnTo>
                  <a:lnTo>
                    <a:pt x="60" y="15"/>
                  </a:lnTo>
                  <a:lnTo>
                    <a:pt x="60" y="31"/>
                  </a:lnTo>
                  <a:lnTo>
                    <a:pt x="54" y="33"/>
                  </a:lnTo>
                  <a:lnTo>
                    <a:pt x="48" y="35"/>
                  </a:lnTo>
                  <a:lnTo>
                    <a:pt x="42" y="37"/>
                  </a:lnTo>
                  <a:lnTo>
                    <a:pt x="36" y="40"/>
                  </a:lnTo>
                  <a:lnTo>
                    <a:pt x="26" y="48"/>
                  </a:lnTo>
                  <a:lnTo>
                    <a:pt x="17" y="56"/>
                  </a:lnTo>
                  <a:lnTo>
                    <a:pt x="14" y="62"/>
                  </a:lnTo>
                  <a:lnTo>
                    <a:pt x="11" y="67"/>
                  </a:lnTo>
                  <a:lnTo>
                    <a:pt x="7" y="72"/>
                  </a:lnTo>
                  <a:lnTo>
                    <a:pt x="4" y="79"/>
                  </a:lnTo>
                  <a:lnTo>
                    <a:pt x="3" y="85"/>
                  </a:lnTo>
                  <a:lnTo>
                    <a:pt x="1" y="92"/>
                  </a:lnTo>
                  <a:lnTo>
                    <a:pt x="0" y="98"/>
                  </a:lnTo>
                  <a:lnTo>
                    <a:pt x="0" y="105"/>
                  </a:lnTo>
                  <a:lnTo>
                    <a:pt x="1" y="112"/>
                  </a:lnTo>
                  <a:lnTo>
                    <a:pt x="2" y="120"/>
                  </a:lnTo>
                  <a:lnTo>
                    <a:pt x="3" y="127"/>
                  </a:lnTo>
                  <a:lnTo>
                    <a:pt x="6" y="133"/>
                  </a:lnTo>
                  <a:lnTo>
                    <a:pt x="10" y="140"/>
                  </a:lnTo>
                  <a:lnTo>
                    <a:pt x="13" y="146"/>
                  </a:lnTo>
                  <a:lnTo>
                    <a:pt x="17" y="153"/>
                  </a:lnTo>
                  <a:lnTo>
                    <a:pt x="22" y="158"/>
                  </a:lnTo>
                  <a:lnTo>
                    <a:pt x="28" y="162"/>
                  </a:lnTo>
                  <a:lnTo>
                    <a:pt x="33" y="167"/>
                  </a:lnTo>
                  <a:lnTo>
                    <a:pt x="40" y="171"/>
                  </a:lnTo>
                  <a:lnTo>
                    <a:pt x="46" y="174"/>
                  </a:lnTo>
                  <a:lnTo>
                    <a:pt x="52" y="176"/>
                  </a:lnTo>
                  <a:lnTo>
                    <a:pt x="60" y="178"/>
                  </a:lnTo>
                  <a:lnTo>
                    <a:pt x="67" y="180"/>
                  </a:lnTo>
                  <a:lnTo>
                    <a:pt x="75" y="180"/>
                  </a:lnTo>
                  <a:lnTo>
                    <a:pt x="85" y="181"/>
                  </a:lnTo>
                  <a:lnTo>
                    <a:pt x="93" y="183"/>
                  </a:lnTo>
                  <a:lnTo>
                    <a:pt x="101" y="187"/>
                  </a:lnTo>
                  <a:lnTo>
                    <a:pt x="107" y="192"/>
                  </a:lnTo>
                  <a:lnTo>
                    <a:pt x="112" y="200"/>
                  </a:lnTo>
                  <a:lnTo>
                    <a:pt x="117" y="207"/>
                  </a:lnTo>
                  <a:lnTo>
                    <a:pt x="120" y="216"/>
                  </a:lnTo>
                  <a:lnTo>
                    <a:pt x="120" y="225"/>
                  </a:lnTo>
                  <a:lnTo>
                    <a:pt x="120" y="234"/>
                  </a:lnTo>
                  <a:lnTo>
                    <a:pt x="117" y="243"/>
                  </a:lnTo>
                  <a:lnTo>
                    <a:pt x="112" y="250"/>
                  </a:lnTo>
                  <a:lnTo>
                    <a:pt x="107" y="257"/>
                  </a:lnTo>
                  <a:lnTo>
                    <a:pt x="101" y="262"/>
                  </a:lnTo>
                  <a:lnTo>
                    <a:pt x="93" y="266"/>
                  </a:lnTo>
                  <a:lnTo>
                    <a:pt x="85" y="268"/>
                  </a:lnTo>
                  <a:lnTo>
                    <a:pt x="75" y="270"/>
                  </a:lnTo>
                  <a:lnTo>
                    <a:pt x="66" y="268"/>
                  </a:lnTo>
                  <a:lnTo>
                    <a:pt x="58" y="266"/>
                  </a:lnTo>
                  <a:lnTo>
                    <a:pt x="50" y="262"/>
                  </a:lnTo>
                  <a:lnTo>
                    <a:pt x="44" y="257"/>
                  </a:lnTo>
                  <a:lnTo>
                    <a:pt x="37" y="250"/>
                  </a:lnTo>
                  <a:lnTo>
                    <a:pt x="34" y="243"/>
                  </a:lnTo>
                  <a:lnTo>
                    <a:pt x="31" y="234"/>
                  </a:lnTo>
                  <a:lnTo>
                    <a:pt x="30" y="225"/>
                  </a:lnTo>
                  <a:lnTo>
                    <a:pt x="30" y="221"/>
                  </a:lnTo>
                  <a:lnTo>
                    <a:pt x="29" y="219"/>
                  </a:lnTo>
                  <a:lnTo>
                    <a:pt x="28" y="216"/>
                  </a:lnTo>
                  <a:lnTo>
                    <a:pt x="26" y="214"/>
                  </a:lnTo>
                  <a:lnTo>
                    <a:pt x="24" y="213"/>
                  </a:lnTo>
                  <a:lnTo>
                    <a:pt x="21" y="211"/>
                  </a:lnTo>
                  <a:lnTo>
                    <a:pt x="18" y="210"/>
                  </a:lnTo>
                  <a:lnTo>
                    <a:pt x="15" y="210"/>
                  </a:lnTo>
                  <a:lnTo>
                    <a:pt x="12" y="210"/>
                  </a:lnTo>
                  <a:lnTo>
                    <a:pt x="10" y="211"/>
                  </a:lnTo>
                  <a:lnTo>
                    <a:pt x="6" y="213"/>
                  </a:lnTo>
                  <a:lnTo>
                    <a:pt x="4" y="214"/>
                  </a:lnTo>
                  <a:lnTo>
                    <a:pt x="3" y="216"/>
                  </a:lnTo>
                  <a:lnTo>
                    <a:pt x="1" y="219"/>
                  </a:lnTo>
                  <a:lnTo>
                    <a:pt x="0" y="221"/>
                  </a:lnTo>
                  <a:lnTo>
                    <a:pt x="0" y="225"/>
                  </a:lnTo>
                  <a:lnTo>
                    <a:pt x="0" y="231"/>
                  </a:lnTo>
                  <a:lnTo>
                    <a:pt x="1" y="238"/>
                  </a:lnTo>
                  <a:lnTo>
                    <a:pt x="3" y="245"/>
                  </a:lnTo>
                  <a:lnTo>
                    <a:pt x="4" y="250"/>
                  </a:lnTo>
                  <a:lnTo>
                    <a:pt x="7" y="257"/>
                  </a:lnTo>
                  <a:lnTo>
                    <a:pt x="11" y="262"/>
                  </a:lnTo>
                  <a:lnTo>
                    <a:pt x="14" y="267"/>
                  </a:lnTo>
                  <a:lnTo>
                    <a:pt x="17" y="273"/>
                  </a:lnTo>
                  <a:lnTo>
                    <a:pt x="26" y="281"/>
                  </a:lnTo>
                  <a:lnTo>
                    <a:pt x="36" y="289"/>
                  </a:lnTo>
                  <a:lnTo>
                    <a:pt x="42" y="292"/>
                  </a:lnTo>
                  <a:lnTo>
                    <a:pt x="48" y="295"/>
                  </a:lnTo>
                  <a:lnTo>
                    <a:pt x="54" y="297"/>
                  </a:lnTo>
                  <a:lnTo>
                    <a:pt x="60" y="298"/>
                  </a:lnTo>
                  <a:lnTo>
                    <a:pt x="60" y="314"/>
                  </a:lnTo>
                  <a:lnTo>
                    <a:pt x="61" y="318"/>
                  </a:lnTo>
                  <a:lnTo>
                    <a:pt x="61" y="321"/>
                  </a:lnTo>
                  <a:lnTo>
                    <a:pt x="63" y="323"/>
                  </a:lnTo>
                  <a:lnTo>
                    <a:pt x="64" y="325"/>
                  </a:lnTo>
                  <a:lnTo>
                    <a:pt x="67" y="327"/>
                  </a:lnTo>
                  <a:lnTo>
                    <a:pt x="70" y="328"/>
                  </a:lnTo>
                  <a:lnTo>
                    <a:pt x="73" y="329"/>
                  </a:lnTo>
                  <a:lnTo>
                    <a:pt x="75" y="329"/>
                  </a:lnTo>
                  <a:lnTo>
                    <a:pt x="78" y="329"/>
                  </a:lnTo>
                  <a:lnTo>
                    <a:pt x="81" y="328"/>
                  </a:lnTo>
                  <a:lnTo>
                    <a:pt x="84" y="327"/>
                  </a:lnTo>
                  <a:lnTo>
                    <a:pt x="86" y="325"/>
                  </a:lnTo>
                  <a:lnTo>
                    <a:pt x="88" y="323"/>
                  </a:lnTo>
                  <a:lnTo>
                    <a:pt x="89" y="321"/>
                  </a:lnTo>
                  <a:lnTo>
                    <a:pt x="90" y="318"/>
                  </a:lnTo>
                  <a:lnTo>
                    <a:pt x="90" y="314"/>
                  </a:lnTo>
                  <a:lnTo>
                    <a:pt x="90" y="298"/>
                  </a:lnTo>
                  <a:lnTo>
                    <a:pt x="96" y="296"/>
                  </a:lnTo>
                  <a:lnTo>
                    <a:pt x="103" y="294"/>
                  </a:lnTo>
                  <a:lnTo>
                    <a:pt x="108" y="292"/>
                  </a:lnTo>
                  <a:lnTo>
                    <a:pt x="115" y="289"/>
                  </a:lnTo>
                  <a:lnTo>
                    <a:pt x="124" y="281"/>
                  </a:lnTo>
                  <a:lnTo>
                    <a:pt x="133" y="273"/>
                  </a:lnTo>
                  <a:lnTo>
                    <a:pt x="137" y="267"/>
                  </a:lnTo>
                  <a:lnTo>
                    <a:pt x="140" y="262"/>
                  </a:lnTo>
                  <a:lnTo>
                    <a:pt x="144" y="257"/>
                  </a:lnTo>
                  <a:lnTo>
                    <a:pt x="146" y="250"/>
                  </a:lnTo>
                  <a:lnTo>
                    <a:pt x="148" y="245"/>
                  </a:lnTo>
                  <a:lnTo>
                    <a:pt x="149" y="238"/>
                  </a:lnTo>
                  <a:lnTo>
                    <a:pt x="150" y="232"/>
                  </a:lnTo>
                  <a:lnTo>
                    <a:pt x="151" y="225"/>
                  </a:lnTo>
                  <a:lnTo>
                    <a:pt x="150" y="217"/>
                  </a:lnTo>
                  <a:lnTo>
                    <a:pt x="149" y="210"/>
                  </a:lnTo>
                  <a:lnTo>
                    <a:pt x="147" y="202"/>
                  </a:lnTo>
                  <a:lnTo>
                    <a:pt x="145" y="196"/>
                  </a:lnTo>
                  <a:lnTo>
                    <a:pt x="141" y="189"/>
                  </a:lnTo>
                  <a:lnTo>
                    <a:pt x="138" y="183"/>
                  </a:lnTo>
                  <a:lnTo>
                    <a:pt x="134" y="177"/>
                  </a:lnTo>
                  <a:lnTo>
                    <a:pt x="129" y="172"/>
                  </a:lnTo>
                  <a:lnTo>
                    <a:pt x="123" y="167"/>
                  </a:lnTo>
                  <a:lnTo>
                    <a:pt x="118" y="162"/>
                  </a:lnTo>
                  <a:lnTo>
                    <a:pt x="111" y="159"/>
                  </a:lnTo>
                  <a:lnTo>
                    <a:pt x="105" y="156"/>
                  </a:lnTo>
                  <a:lnTo>
                    <a:pt x="97" y="153"/>
                  </a:lnTo>
                  <a:lnTo>
                    <a:pt x="90" y="151"/>
                  </a:lnTo>
                  <a:lnTo>
                    <a:pt x="84" y="150"/>
                  </a:lnTo>
                  <a:lnTo>
                    <a:pt x="75" y="150"/>
                  </a:lnTo>
                  <a:lnTo>
                    <a:pt x="66" y="148"/>
                  </a:lnTo>
                  <a:lnTo>
                    <a:pt x="58" y="146"/>
                  </a:lnTo>
                  <a:lnTo>
                    <a:pt x="50" y="142"/>
                  </a:lnTo>
                  <a:lnTo>
                    <a:pt x="44" y="137"/>
                  </a:lnTo>
                  <a:lnTo>
                    <a:pt x="37" y="129"/>
                  </a:lnTo>
                  <a:lnTo>
                    <a:pt x="34" y="122"/>
                  </a:lnTo>
                  <a:lnTo>
                    <a:pt x="31" y="113"/>
                  </a:lnTo>
                  <a:lnTo>
                    <a:pt x="30" y="105"/>
                  </a:lnTo>
                  <a:lnTo>
                    <a:pt x="31" y="95"/>
                  </a:lnTo>
                  <a:lnTo>
                    <a:pt x="34" y="87"/>
                  </a:lnTo>
                  <a:lnTo>
                    <a:pt x="37" y="79"/>
                  </a:lnTo>
                  <a:lnTo>
                    <a:pt x="44" y="72"/>
                  </a:lnTo>
                  <a:lnTo>
                    <a:pt x="50" y="67"/>
                  </a:lnTo>
                  <a:lnTo>
                    <a:pt x="58" y="63"/>
                  </a:lnTo>
                  <a:lnTo>
                    <a:pt x="66" y="61"/>
                  </a:lnTo>
                  <a:lnTo>
                    <a:pt x="75" y="60"/>
                  </a:lnTo>
                  <a:lnTo>
                    <a:pt x="7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139" name="Group 57">
            <a:extLst>
              <a:ext uri="{FF2B5EF4-FFF2-40B4-BE49-F238E27FC236}">
                <a16:creationId xmlns:a16="http://schemas.microsoft.com/office/drawing/2014/main" id="{8F43CECC-1F6B-4811-A878-F494B7B70A86}"/>
              </a:ext>
            </a:extLst>
          </p:cNvPr>
          <p:cNvGrpSpPr>
            <a:grpSpLocks noChangeAspect="1"/>
          </p:cNvGrpSpPr>
          <p:nvPr/>
        </p:nvGrpSpPr>
        <p:grpSpPr>
          <a:xfrm>
            <a:off x="1893888" y="2233310"/>
            <a:ext cx="285619" cy="285619"/>
            <a:chOff x="5370928" y="4037271"/>
            <a:chExt cx="664188" cy="664189"/>
          </a:xfrm>
          <a:solidFill>
            <a:schemeClr val="bg1"/>
          </a:solidFill>
          <a:effectLst/>
        </p:grpSpPr>
        <p:sp>
          <p:nvSpPr>
            <p:cNvPr id="1140" name="Freeform 41">
              <a:extLst>
                <a:ext uri="{FF2B5EF4-FFF2-40B4-BE49-F238E27FC236}">
                  <a16:creationId xmlns:a16="http://schemas.microsoft.com/office/drawing/2014/main" id="{1EDDFE4E-9174-4A75-A41D-84E3317798EE}"/>
                </a:ext>
              </a:extLst>
            </p:cNvPr>
            <p:cNvSpPr>
              <a:spLocks noEditPoints="1"/>
            </p:cNvSpPr>
            <p:nvPr/>
          </p:nvSpPr>
          <p:spPr bwMode="auto">
            <a:xfrm>
              <a:off x="5370928" y="4037271"/>
              <a:ext cx="664188" cy="664189"/>
            </a:xfrm>
            <a:custGeom>
              <a:avLst/>
              <a:gdLst>
                <a:gd name="T0" fmla="*/ 440 w 1081"/>
                <a:gd name="T1" fmla="*/ 51 h 1080"/>
                <a:gd name="T2" fmla="*/ 324 w 1081"/>
                <a:gd name="T3" fmla="*/ 90 h 1080"/>
                <a:gd name="T4" fmla="*/ 222 w 1081"/>
                <a:gd name="T5" fmla="*/ 154 h 1080"/>
                <a:gd name="T6" fmla="*/ 140 w 1081"/>
                <a:gd name="T7" fmla="*/ 241 h 1080"/>
                <a:gd name="T8" fmla="*/ 80 w 1081"/>
                <a:gd name="T9" fmla="*/ 346 h 1080"/>
                <a:gd name="T10" fmla="*/ 46 w 1081"/>
                <a:gd name="T11" fmla="*/ 465 h 1080"/>
                <a:gd name="T12" fmla="*/ 44 w 1081"/>
                <a:gd name="T13" fmla="*/ 591 h 1080"/>
                <a:gd name="T14" fmla="*/ 71 w 1081"/>
                <a:gd name="T15" fmla="*/ 712 h 1080"/>
                <a:gd name="T16" fmla="*/ 126 w 1081"/>
                <a:gd name="T17" fmla="*/ 820 h 1080"/>
                <a:gd name="T18" fmla="*/ 204 w 1081"/>
                <a:gd name="T19" fmla="*/ 911 h 1080"/>
                <a:gd name="T20" fmla="*/ 302 w 1081"/>
                <a:gd name="T21" fmla="*/ 980 h 1080"/>
                <a:gd name="T22" fmla="*/ 415 w 1081"/>
                <a:gd name="T23" fmla="*/ 1025 h 1080"/>
                <a:gd name="T24" fmla="*/ 540 w 1081"/>
                <a:gd name="T25" fmla="*/ 1040 h 1080"/>
                <a:gd name="T26" fmla="*/ 665 w 1081"/>
                <a:gd name="T27" fmla="*/ 1025 h 1080"/>
                <a:gd name="T28" fmla="*/ 779 w 1081"/>
                <a:gd name="T29" fmla="*/ 980 h 1080"/>
                <a:gd name="T30" fmla="*/ 876 w 1081"/>
                <a:gd name="T31" fmla="*/ 911 h 1080"/>
                <a:gd name="T32" fmla="*/ 955 w 1081"/>
                <a:gd name="T33" fmla="*/ 820 h 1080"/>
                <a:gd name="T34" fmla="*/ 1010 w 1081"/>
                <a:gd name="T35" fmla="*/ 712 h 1080"/>
                <a:gd name="T36" fmla="*/ 1037 w 1081"/>
                <a:gd name="T37" fmla="*/ 591 h 1080"/>
                <a:gd name="T38" fmla="*/ 1035 w 1081"/>
                <a:gd name="T39" fmla="*/ 465 h 1080"/>
                <a:gd name="T40" fmla="*/ 1001 w 1081"/>
                <a:gd name="T41" fmla="*/ 346 h 1080"/>
                <a:gd name="T42" fmla="*/ 940 w 1081"/>
                <a:gd name="T43" fmla="*/ 241 h 1080"/>
                <a:gd name="T44" fmla="*/ 858 w 1081"/>
                <a:gd name="T45" fmla="*/ 154 h 1080"/>
                <a:gd name="T46" fmla="*/ 756 w 1081"/>
                <a:gd name="T47" fmla="*/ 90 h 1080"/>
                <a:gd name="T48" fmla="*/ 641 w 1081"/>
                <a:gd name="T49" fmla="*/ 51 h 1080"/>
                <a:gd name="T50" fmla="*/ 540 w 1081"/>
                <a:gd name="T51" fmla="*/ 1080 h 1080"/>
                <a:gd name="T52" fmla="*/ 405 w 1081"/>
                <a:gd name="T53" fmla="*/ 1064 h 1080"/>
                <a:gd name="T54" fmla="*/ 283 w 1081"/>
                <a:gd name="T55" fmla="*/ 1015 h 1080"/>
                <a:gd name="T56" fmla="*/ 178 w 1081"/>
                <a:gd name="T57" fmla="*/ 939 h 1080"/>
                <a:gd name="T58" fmla="*/ 93 w 1081"/>
                <a:gd name="T59" fmla="*/ 842 h 1080"/>
                <a:gd name="T60" fmla="*/ 34 w 1081"/>
                <a:gd name="T61" fmla="*/ 726 h 1080"/>
                <a:gd name="T62" fmla="*/ 4 w 1081"/>
                <a:gd name="T63" fmla="*/ 595 h 1080"/>
                <a:gd name="T64" fmla="*/ 6 w 1081"/>
                <a:gd name="T65" fmla="*/ 459 h 1080"/>
                <a:gd name="T66" fmla="*/ 44 w 1081"/>
                <a:gd name="T67" fmla="*/ 331 h 1080"/>
                <a:gd name="T68" fmla="*/ 108 w 1081"/>
                <a:gd name="T69" fmla="*/ 218 h 1080"/>
                <a:gd name="T70" fmla="*/ 198 w 1081"/>
                <a:gd name="T71" fmla="*/ 124 h 1080"/>
                <a:gd name="T72" fmla="*/ 307 w 1081"/>
                <a:gd name="T73" fmla="*/ 54 h 1080"/>
                <a:gd name="T74" fmla="*/ 431 w 1081"/>
                <a:gd name="T75" fmla="*/ 11 h 1080"/>
                <a:gd name="T76" fmla="*/ 568 w 1081"/>
                <a:gd name="T77" fmla="*/ 1 h 1080"/>
                <a:gd name="T78" fmla="*/ 701 w 1081"/>
                <a:gd name="T79" fmla="*/ 25 h 1080"/>
                <a:gd name="T80" fmla="*/ 820 w 1081"/>
                <a:gd name="T81" fmla="*/ 78 h 1080"/>
                <a:gd name="T82" fmla="*/ 922 w 1081"/>
                <a:gd name="T83" fmla="*/ 159 h 1080"/>
                <a:gd name="T84" fmla="*/ 1002 w 1081"/>
                <a:gd name="T85" fmla="*/ 261 h 1080"/>
                <a:gd name="T86" fmla="*/ 1056 w 1081"/>
                <a:gd name="T87" fmla="*/ 380 h 1080"/>
                <a:gd name="T88" fmla="*/ 1079 w 1081"/>
                <a:gd name="T89" fmla="*/ 513 h 1080"/>
                <a:gd name="T90" fmla="*/ 1069 w 1081"/>
                <a:gd name="T91" fmla="*/ 649 h 1080"/>
                <a:gd name="T92" fmla="*/ 1027 w 1081"/>
                <a:gd name="T93" fmla="*/ 774 h 1080"/>
                <a:gd name="T94" fmla="*/ 956 w 1081"/>
                <a:gd name="T95" fmla="*/ 883 h 1080"/>
                <a:gd name="T96" fmla="*/ 863 w 1081"/>
                <a:gd name="T97" fmla="*/ 973 h 1080"/>
                <a:gd name="T98" fmla="*/ 750 w 1081"/>
                <a:gd name="T99" fmla="*/ 1038 h 1080"/>
                <a:gd name="T100" fmla="*/ 622 w 1081"/>
                <a:gd name="T101" fmla="*/ 1074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1" h="1080">
                  <a:moveTo>
                    <a:pt x="540" y="40"/>
                  </a:moveTo>
                  <a:lnTo>
                    <a:pt x="514" y="41"/>
                  </a:lnTo>
                  <a:lnTo>
                    <a:pt x="489" y="44"/>
                  </a:lnTo>
                  <a:lnTo>
                    <a:pt x="465" y="46"/>
                  </a:lnTo>
                  <a:lnTo>
                    <a:pt x="440" y="51"/>
                  </a:lnTo>
                  <a:lnTo>
                    <a:pt x="415" y="56"/>
                  </a:lnTo>
                  <a:lnTo>
                    <a:pt x="391" y="63"/>
                  </a:lnTo>
                  <a:lnTo>
                    <a:pt x="369" y="71"/>
                  </a:lnTo>
                  <a:lnTo>
                    <a:pt x="345" y="80"/>
                  </a:lnTo>
                  <a:lnTo>
                    <a:pt x="324" y="90"/>
                  </a:lnTo>
                  <a:lnTo>
                    <a:pt x="302" y="101"/>
                  </a:lnTo>
                  <a:lnTo>
                    <a:pt x="281" y="113"/>
                  </a:lnTo>
                  <a:lnTo>
                    <a:pt x="261" y="126"/>
                  </a:lnTo>
                  <a:lnTo>
                    <a:pt x="241" y="141"/>
                  </a:lnTo>
                  <a:lnTo>
                    <a:pt x="222" y="154"/>
                  </a:lnTo>
                  <a:lnTo>
                    <a:pt x="204" y="170"/>
                  </a:lnTo>
                  <a:lnTo>
                    <a:pt x="188" y="186"/>
                  </a:lnTo>
                  <a:lnTo>
                    <a:pt x="170" y="204"/>
                  </a:lnTo>
                  <a:lnTo>
                    <a:pt x="155" y="223"/>
                  </a:lnTo>
                  <a:lnTo>
                    <a:pt x="140" y="241"/>
                  </a:lnTo>
                  <a:lnTo>
                    <a:pt x="126" y="261"/>
                  </a:lnTo>
                  <a:lnTo>
                    <a:pt x="113" y="281"/>
                  </a:lnTo>
                  <a:lnTo>
                    <a:pt x="101" y="302"/>
                  </a:lnTo>
                  <a:lnTo>
                    <a:pt x="90" y="324"/>
                  </a:lnTo>
                  <a:lnTo>
                    <a:pt x="80" y="346"/>
                  </a:lnTo>
                  <a:lnTo>
                    <a:pt x="71" y="369"/>
                  </a:lnTo>
                  <a:lnTo>
                    <a:pt x="63" y="391"/>
                  </a:lnTo>
                  <a:lnTo>
                    <a:pt x="56" y="415"/>
                  </a:lnTo>
                  <a:lnTo>
                    <a:pt x="51" y="440"/>
                  </a:lnTo>
                  <a:lnTo>
                    <a:pt x="46" y="465"/>
                  </a:lnTo>
                  <a:lnTo>
                    <a:pt x="44" y="490"/>
                  </a:lnTo>
                  <a:lnTo>
                    <a:pt x="41" y="514"/>
                  </a:lnTo>
                  <a:lnTo>
                    <a:pt x="41" y="541"/>
                  </a:lnTo>
                  <a:lnTo>
                    <a:pt x="41" y="567"/>
                  </a:lnTo>
                  <a:lnTo>
                    <a:pt x="44" y="591"/>
                  </a:lnTo>
                  <a:lnTo>
                    <a:pt x="46" y="616"/>
                  </a:lnTo>
                  <a:lnTo>
                    <a:pt x="51" y="641"/>
                  </a:lnTo>
                  <a:lnTo>
                    <a:pt x="56" y="665"/>
                  </a:lnTo>
                  <a:lnTo>
                    <a:pt x="63" y="688"/>
                  </a:lnTo>
                  <a:lnTo>
                    <a:pt x="71" y="712"/>
                  </a:lnTo>
                  <a:lnTo>
                    <a:pt x="80" y="734"/>
                  </a:lnTo>
                  <a:lnTo>
                    <a:pt x="90" y="757"/>
                  </a:lnTo>
                  <a:lnTo>
                    <a:pt x="101" y="779"/>
                  </a:lnTo>
                  <a:lnTo>
                    <a:pt x="113" y="799"/>
                  </a:lnTo>
                  <a:lnTo>
                    <a:pt x="126" y="820"/>
                  </a:lnTo>
                  <a:lnTo>
                    <a:pt x="140" y="840"/>
                  </a:lnTo>
                  <a:lnTo>
                    <a:pt x="155" y="859"/>
                  </a:lnTo>
                  <a:lnTo>
                    <a:pt x="170" y="876"/>
                  </a:lnTo>
                  <a:lnTo>
                    <a:pt x="188" y="893"/>
                  </a:lnTo>
                  <a:lnTo>
                    <a:pt x="204" y="911"/>
                  </a:lnTo>
                  <a:lnTo>
                    <a:pt x="222" y="926"/>
                  </a:lnTo>
                  <a:lnTo>
                    <a:pt x="241" y="941"/>
                  </a:lnTo>
                  <a:lnTo>
                    <a:pt x="261" y="954"/>
                  </a:lnTo>
                  <a:lnTo>
                    <a:pt x="281" y="968"/>
                  </a:lnTo>
                  <a:lnTo>
                    <a:pt x="302" y="980"/>
                  </a:lnTo>
                  <a:lnTo>
                    <a:pt x="324" y="992"/>
                  </a:lnTo>
                  <a:lnTo>
                    <a:pt x="345" y="1001"/>
                  </a:lnTo>
                  <a:lnTo>
                    <a:pt x="369" y="1010"/>
                  </a:lnTo>
                  <a:lnTo>
                    <a:pt x="391" y="1018"/>
                  </a:lnTo>
                  <a:lnTo>
                    <a:pt x="415" y="1025"/>
                  </a:lnTo>
                  <a:lnTo>
                    <a:pt x="440" y="1030"/>
                  </a:lnTo>
                  <a:lnTo>
                    <a:pt x="465" y="1035"/>
                  </a:lnTo>
                  <a:lnTo>
                    <a:pt x="489" y="1038"/>
                  </a:lnTo>
                  <a:lnTo>
                    <a:pt x="514" y="1040"/>
                  </a:lnTo>
                  <a:lnTo>
                    <a:pt x="540" y="1040"/>
                  </a:lnTo>
                  <a:lnTo>
                    <a:pt x="566" y="1040"/>
                  </a:lnTo>
                  <a:lnTo>
                    <a:pt x="591" y="1038"/>
                  </a:lnTo>
                  <a:lnTo>
                    <a:pt x="616" y="1035"/>
                  </a:lnTo>
                  <a:lnTo>
                    <a:pt x="641" y="1030"/>
                  </a:lnTo>
                  <a:lnTo>
                    <a:pt x="665" y="1025"/>
                  </a:lnTo>
                  <a:lnTo>
                    <a:pt x="688" y="1018"/>
                  </a:lnTo>
                  <a:lnTo>
                    <a:pt x="712" y="1010"/>
                  </a:lnTo>
                  <a:lnTo>
                    <a:pt x="734" y="1001"/>
                  </a:lnTo>
                  <a:lnTo>
                    <a:pt x="756" y="992"/>
                  </a:lnTo>
                  <a:lnTo>
                    <a:pt x="779" y="980"/>
                  </a:lnTo>
                  <a:lnTo>
                    <a:pt x="799" y="968"/>
                  </a:lnTo>
                  <a:lnTo>
                    <a:pt x="820" y="954"/>
                  </a:lnTo>
                  <a:lnTo>
                    <a:pt x="840" y="941"/>
                  </a:lnTo>
                  <a:lnTo>
                    <a:pt x="858" y="926"/>
                  </a:lnTo>
                  <a:lnTo>
                    <a:pt x="876" y="911"/>
                  </a:lnTo>
                  <a:lnTo>
                    <a:pt x="893" y="893"/>
                  </a:lnTo>
                  <a:lnTo>
                    <a:pt x="910" y="876"/>
                  </a:lnTo>
                  <a:lnTo>
                    <a:pt x="925" y="859"/>
                  </a:lnTo>
                  <a:lnTo>
                    <a:pt x="940" y="840"/>
                  </a:lnTo>
                  <a:lnTo>
                    <a:pt x="955" y="820"/>
                  </a:lnTo>
                  <a:lnTo>
                    <a:pt x="968" y="799"/>
                  </a:lnTo>
                  <a:lnTo>
                    <a:pt x="980" y="779"/>
                  </a:lnTo>
                  <a:lnTo>
                    <a:pt x="991" y="757"/>
                  </a:lnTo>
                  <a:lnTo>
                    <a:pt x="1001" y="734"/>
                  </a:lnTo>
                  <a:lnTo>
                    <a:pt x="1010" y="712"/>
                  </a:lnTo>
                  <a:lnTo>
                    <a:pt x="1017" y="688"/>
                  </a:lnTo>
                  <a:lnTo>
                    <a:pt x="1025" y="665"/>
                  </a:lnTo>
                  <a:lnTo>
                    <a:pt x="1030" y="641"/>
                  </a:lnTo>
                  <a:lnTo>
                    <a:pt x="1035" y="616"/>
                  </a:lnTo>
                  <a:lnTo>
                    <a:pt x="1037" y="591"/>
                  </a:lnTo>
                  <a:lnTo>
                    <a:pt x="1040" y="567"/>
                  </a:lnTo>
                  <a:lnTo>
                    <a:pt x="1040" y="541"/>
                  </a:lnTo>
                  <a:lnTo>
                    <a:pt x="1040" y="514"/>
                  </a:lnTo>
                  <a:lnTo>
                    <a:pt x="1037" y="490"/>
                  </a:lnTo>
                  <a:lnTo>
                    <a:pt x="1035" y="465"/>
                  </a:lnTo>
                  <a:lnTo>
                    <a:pt x="1030" y="440"/>
                  </a:lnTo>
                  <a:lnTo>
                    <a:pt x="1025" y="415"/>
                  </a:lnTo>
                  <a:lnTo>
                    <a:pt x="1017" y="391"/>
                  </a:lnTo>
                  <a:lnTo>
                    <a:pt x="1010" y="369"/>
                  </a:lnTo>
                  <a:lnTo>
                    <a:pt x="1001" y="346"/>
                  </a:lnTo>
                  <a:lnTo>
                    <a:pt x="991" y="324"/>
                  </a:lnTo>
                  <a:lnTo>
                    <a:pt x="980" y="302"/>
                  </a:lnTo>
                  <a:lnTo>
                    <a:pt x="968" y="281"/>
                  </a:lnTo>
                  <a:lnTo>
                    <a:pt x="955" y="261"/>
                  </a:lnTo>
                  <a:lnTo>
                    <a:pt x="940" y="241"/>
                  </a:lnTo>
                  <a:lnTo>
                    <a:pt x="925" y="223"/>
                  </a:lnTo>
                  <a:lnTo>
                    <a:pt x="910" y="204"/>
                  </a:lnTo>
                  <a:lnTo>
                    <a:pt x="893" y="186"/>
                  </a:lnTo>
                  <a:lnTo>
                    <a:pt x="876" y="170"/>
                  </a:lnTo>
                  <a:lnTo>
                    <a:pt x="858" y="154"/>
                  </a:lnTo>
                  <a:lnTo>
                    <a:pt x="840" y="141"/>
                  </a:lnTo>
                  <a:lnTo>
                    <a:pt x="820" y="126"/>
                  </a:lnTo>
                  <a:lnTo>
                    <a:pt x="799" y="113"/>
                  </a:lnTo>
                  <a:lnTo>
                    <a:pt x="779" y="101"/>
                  </a:lnTo>
                  <a:lnTo>
                    <a:pt x="756" y="90"/>
                  </a:lnTo>
                  <a:lnTo>
                    <a:pt x="734" y="80"/>
                  </a:lnTo>
                  <a:lnTo>
                    <a:pt x="712" y="71"/>
                  </a:lnTo>
                  <a:lnTo>
                    <a:pt x="688" y="63"/>
                  </a:lnTo>
                  <a:lnTo>
                    <a:pt x="665" y="56"/>
                  </a:lnTo>
                  <a:lnTo>
                    <a:pt x="641" y="51"/>
                  </a:lnTo>
                  <a:lnTo>
                    <a:pt x="616" y="46"/>
                  </a:lnTo>
                  <a:lnTo>
                    <a:pt x="591" y="44"/>
                  </a:lnTo>
                  <a:lnTo>
                    <a:pt x="566" y="41"/>
                  </a:lnTo>
                  <a:lnTo>
                    <a:pt x="540" y="40"/>
                  </a:lnTo>
                  <a:close/>
                  <a:moveTo>
                    <a:pt x="540" y="1080"/>
                  </a:moveTo>
                  <a:lnTo>
                    <a:pt x="513" y="1080"/>
                  </a:lnTo>
                  <a:lnTo>
                    <a:pt x="486" y="1077"/>
                  </a:lnTo>
                  <a:lnTo>
                    <a:pt x="458" y="1074"/>
                  </a:lnTo>
                  <a:lnTo>
                    <a:pt x="431" y="1070"/>
                  </a:lnTo>
                  <a:lnTo>
                    <a:pt x="405" y="1064"/>
                  </a:lnTo>
                  <a:lnTo>
                    <a:pt x="380" y="1056"/>
                  </a:lnTo>
                  <a:lnTo>
                    <a:pt x="355" y="1047"/>
                  </a:lnTo>
                  <a:lnTo>
                    <a:pt x="330" y="1038"/>
                  </a:lnTo>
                  <a:lnTo>
                    <a:pt x="307" y="1028"/>
                  </a:lnTo>
                  <a:lnTo>
                    <a:pt x="283" y="1015"/>
                  </a:lnTo>
                  <a:lnTo>
                    <a:pt x="261" y="1001"/>
                  </a:lnTo>
                  <a:lnTo>
                    <a:pt x="239" y="988"/>
                  </a:lnTo>
                  <a:lnTo>
                    <a:pt x="217" y="973"/>
                  </a:lnTo>
                  <a:lnTo>
                    <a:pt x="198" y="957"/>
                  </a:lnTo>
                  <a:lnTo>
                    <a:pt x="178" y="939"/>
                  </a:lnTo>
                  <a:lnTo>
                    <a:pt x="159" y="922"/>
                  </a:lnTo>
                  <a:lnTo>
                    <a:pt x="140" y="903"/>
                  </a:lnTo>
                  <a:lnTo>
                    <a:pt x="124" y="883"/>
                  </a:lnTo>
                  <a:lnTo>
                    <a:pt x="108" y="864"/>
                  </a:lnTo>
                  <a:lnTo>
                    <a:pt x="93" y="842"/>
                  </a:lnTo>
                  <a:lnTo>
                    <a:pt x="78" y="820"/>
                  </a:lnTo>
                  <a:lnTo>
                    <a:pt x="66" y="798"/>
                  </a:lnTo>
                  <a:lnTo>
                    <a:pt x="54" y="774"/>
                  </a:lnTo>
                  <a:lnTo>
                    <a:pt x="44" y="751"/>
                  </a:lnTo>
                  <a:lnTo>
                    <a:pt x="34" y="726"/>
                  </a:lnTo>
                  <a:lnTo>
                    <a:pt x="25" y="701"/>
                  </a:lnTo>
                  <a:lnTo>
                    <a:pt x="17" y="675"/>
                  </a:lnTo>
                  <a:lnTo>
                    <a:pt x="11" y="649"/>
                  </a:lnTo>
                  <a:lnTo>
                    <a:pt x="6" y="623"/>
                  </a:lnTo>
                  <a:lnTo>
                    <a:pt x="4" y="595"/>
                  </a:lnTo>
                  <a:lnTo>
                    <a:pt x="1" y="568"/>
                  </a:lnTo>
                  <a:lnTo>
                    <a:pt x="0" y="541"/>
                  </a:lnTo>
                  <a:lnTo>
                    <a:pt x="1" y="513"/>
                  </a:lnTo>
                  <a:lnTo>
                    <a:pt x="4" y="486"/>
                  </a:lnTo>
                  <a:lnTo>
                    <a:pt x="6" y="459"/>
                  </a:lnTo>
                  <a:lnTo>
                    <a:pt x="11" y="431"/>
                  </a:lnTo>
                  <a:lnTo>
                    <a:pt x="17" y="405"/>
                  </a:lnTo>
                  <a:lnTo>
                    <a:pt x="25" y="380"/>
                  </a:lnTo>
                  <a:lnTo>
                    <a:pt x="34" y="355"/>
                  </a:lnTo>
                  <a:lnTo>
                    <a:pt x="44" y="331"/>
                  </a:lnTo>
                  <a:lnTo>
                    <a:pt x="54" y="307"/>
                  </a:lnTo>
                  <a:lnTo>
                    <a:pt x="66" y="283"/>
                  </a:lnTo>
                  <a:lnTo>
                    <a:pt x="78" y="261"/>
                  </a:lnTo>
                  <a:lnTo>
                    <a:pt x="93" y="239"/>
                  </a:lnTo>
                  <a:lnTo>
                    <a:pt x="108" y="218"/>
                  </a:lnTo>
                  <a:lnTo>
                    <a:pt x="124" y="198"/>
                  </a:lnTo>
                  <a:lnTo>
                    <a:pt x="140" y="178"/>
                  </a:lnTo>
                  <a:lnTo>
                    <a:pt x="159" y="159"/>
                  </a:lnTo>
                  <a:lnTo>
                    <a:pt x="178" y="141"/>
                  </a:lnTo>
                  <a:lnTo>
                    <a:pt x="198" y="124"/>
                  </a:lnTo>
                  <a:lnTo>
                    <a:pt x="217" y="108"/>
                  </a:lnTo>
                  <a:lnTo>
                    <a:pt x="239" y="93"/>
                  </a:lnTo>
                  <a:lnTo>
                    <a:pt x="261" y="78"/>
                  </a:lnTo>
                  <a:lnTo>
                    <a:pt x="283" y="66"/>
                  </a:lnTo>
                  <a:lnTo>
                    <a:pt x="307" y="54"/>
                  </a:lnTo>
                  <a:lnTo>
                    <a:pt x="330" y="42"/>
                  </a:lnTo>
                  <a:lnTo>
                    <a:pt x="355" y="34"/>
                  </a:lnTo>
                  <a:lnTo>
                    <a:pt x="380" y="25"/>
                  </a:lnTo>
                  <a:lnTo>
                    <a:pt x="405" y="18"/>
                  </a:lnTo>
                  <a:lnTo>
                    <a:pt x="431" y="11"/>
                  </a:lnTo>
                  <a:lnTo>
                    <a:pt x="458" y="6"/>
                  </a:lnTo>
                  <a:lnTo>
                    <a:pt x="486" y="4"/>
                  </a:lnTo>
                  <a:lnTo>
                    <a:pt x="513" y="1"/>
                  </a:lnTo>
                  <a:lnTo>
                    <a:pt x="540" y="0"/>
                  </a:lnTo>
                  <a:lnTo>
                    <a:pt x="568" y="1"/>
                  </a:lnTo>
                  <a:lnTo>
                    <a:pt x="595" y="4"/>
                  </a:lnTo>
                  <a:lnTo>
                    <a:pt x="622" y="6"/>
                  </a:lnTo>
                  <a:lnTo>
                    <a:pt x="648" y="11"/>
                  </a:lnTo>
                  <a:lnTo>
                    <a:pt x="675" y="18"/>
                  </a:lnTo>
                  <a:lnTo>
                    <a:pt x="701" y="25"/>
                  </a:lnTo>
                  <a:lnTo>
                    <a:pt x="725" y="34"/>
                  </a:lnTo>
                  <a:lnTo>
                    <a:pt x="750" y="42"/>
                  </a:lnTo>
                  <a:lnTo>
                    <a:pt x="774" y="54"/>
                  </a:lnTo>
                  <a:lnTo>
                    <a:pt x="797" y="66"/>
                  </a:lnTo>
                  <a:lnTo>
                    <a:pt x="820" y="78"/>
                  </a:lnTo>
                  <a:lnTo>
                    <a:pt x="842" y="93"/>
                  </a:lnTo>
                  <a:lnTo>
                    <a:pt x="863" y="108"/>
                  </a:lnTo>
                  <a:lnTo>
                    <a:pt x="883" y="124"/>
                  </a:lnTo>
                  <a:lnTo>
                    <a:pt x="903" y="141"/>
                  </a:lnTo>
                  <a:lnTo>
                    <a:pt x="922" y="159"/>
                  </a:lnTo>
                  <a:lnTo>
                    <a:pt x="940" y="178"/>
                  </a:lnTo>
                  <a:lnTo>
                    <a:pt x="956" y="198"/>
                  </a:lnTo>
                  <a:lnTo>
                    <a:pt x="973" y="218"/>
                  </a:lnTo>
                  <a:lnTo>
                    <a:pt x="987" y="239"/>
                  </a:lnTo>
                  <a:lnTo>
                    <a:pt x="1002" y="261"/>
                  </a:lnTo>
                  <a:lnTo>
                    <a:pt x="1015" y="283"/>
                  </a:lnTo>
                  <a:lnTo>
                    <a:pt x="1027" y="307"/>
                  </a:lnTo>
                  <a:lnTo>
                    <a:pt x="1037" y="331"/>
                  </a:lnTo>
                  <a:lnTo>
                    <a:pt x="1047" y="355"/>
                  </a:lnTo>
                  <a:lnTo>
                    <a:pt x="1056" y="380"/>
                  </a:lnTo>
                  <a:lnTo>
                    <a:pt x="1063" y="405"/>
                  </a:lnTo>
                  <a:lnTo>
                    <a:pt x="1069" y="431"/>
                  </a:lnTo>
                  <a:lnTo>
                    <a:pt x="1074" y="459"/>
                  </a:lnTo>
                  <a:lnTo>
                    <a:pt x="1077" y="486"/>
                  </a:lnTo>
                  <a:lnTo>
                    <a:pt x="1079" y="513"/>
                  </a:lnTo>
                  <a:lnTo>
                    <a:pt x="1081" y="541"/>
                  </a:lnTo>
                  <a:lnTo>
                    <a:pt x="1079" y="568"/>
                  </a:lnTo>
                  <a:lnTo>
                    <a:pt x="1077" y="595"/>
                  </a:lnTo>
                  <a:lnTo>
                    <a:pt x="1074" y="623"/>
                  </a:lnTo>
                  <a:lnTo>
                    <a:pt x="1069" y="649"/>
                  </a:lnTo>
                  <a:lnTo>
                    <a:pt x="1063" y="675"/>
                  </a:lnTo>
                  <a:lnTo>
                    <a:pt x="1056" y="701"/>
                  </a:lnTo>
                  <a:lnTo>
                    <a:pt x="1047" y="726"/>
                  </a:lnTo>
                  <a:lnTo>
                    <a:pt x="1037" y="751"/>
                  </a:lnTo>
                  <a:lnTo>
                    <a:pt x="1027" y="774"/>
                  </a:lnTo>
                  <a:lnTo>
                    <a:pt x="1015" y="798"/>
                  </a:lnTo>
                  <a:lnTo>
                    <a:pt x="1002" y="820"/>
                  </a:lnTo>
                  <a:lnTo>
                    <a:pt x="987" y="842"/>
                  </a:lnTo>
                  <a:lnTo>
                    <a:pt x="973" y="864"/>
                  </a:lnTo>
                  <a:lnTo>
                    <a:pt x="956" y="883"/>
                  </a:lnTo>
                  <a:lnTo>
                    <a:pt x="939" y="903"/>
                  </a:lnTo>
                  <a:lnTo>
                    <a:pt x="922" y="922"/>
                  </a:lnTo>
                  <a:lnTo>
                    <a:pt x="903" y="939"/>
                  </a:lnTo>
                  <a:lnTo>
                    <a:pt x="883" y="957"/>
                  </a:lnTo>
                  <a:lnTo>
                    <a:pt x="863" y="973"/>
                  </a:lnTo>
                  <a:lnTo>
                    <a:pt x="842" y="988"/>
                  </a:lnTo>
                  <a:lnTo>
                    <a:pt x="820" y="1001"/>
                  </a:lnTo>
                  <a:lnTo>
                    <a:pt x="797" y="1015"/>
                  </a:lnTo>
                  <a:lnTo>
                    <a:pt x="774" y="1028"/>
                  </a:lnTo>
                  <a:lnTo>
                    <a:pt x="750" y="1038"/>
                  </a:lnTo>
                  <a:lnTo>
                    <a:pt x="725" y="1047"/>
                  </a:lnTo>
                  <a:lnTo>
                    <a:pt x="701" y="1056"/>
                  </a:lnTo>
                  <a:lnTo>
                    <a:pt x="675" y="1064"/>
                  </a:lnTo>
                  <a:lnTo>
                    <a:pt x="648" y="1070"/>
                  </a:lnTo>
                  <a:lnTo>
                    <a:pt x="622" y="1074"/>
                  </a:lnTo>
                  <a:lnTo>
                    <a:pt x="595" y="1077"/>
                  </a:lnTo>
                  <a:lnTo>
                    <a:pt x="568" y="1080"/>
                  </a:lnTo>
                  <a:lnTo>
                    <a:pt x="540"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42">
              <a:extLst>
                <a:ext uri="{FF2B5EF4-FFF2-40B4-BE49-F238E27FC236}">
                  <a16:creationId xmlns:a16="http://schemas.microsoft.com/office/drawing/2014/main" id="{5D55EB98-6A81-4AFE-BED4-7710EFA5FC3E}"/>
                </a:ext>
              </a:extLst>
            </p:cNvPr>
            <p:cNvSpPr>
              <a:spLocks/>
            </p:cNvSpPr>
            <p:nvPr/>
          </p:nvSpPr>
          <p:spPr bwMode="auto">
            <a:xfrm>
              <a:off x="5594169" y="4146124"/>
              <a:ext cx="204791" cy="448327"/>
            </a:xfrm>
            <a:custGeom>
              <a:avLst/>
              <a:gdLst>
                <a:gd name="T0" fmla="*/ 117 w 333"/>
                <a:gd name="T1" fmla="*/ 639 h 730"/>
                <a:gd name="T2" fmla="*/ 61 w 333"/>
                <a:gd name="T3" fmla="*/ 628 h 730"/>
                <a:gd name="T4" fmla="*/ 14 w 333"/>
                <a:gd name="T5" fmla="*/ 609 h 730"/>
                <a:gd name="T6" fmla="*/ 35 w 333"/>
                <a:gd name="T7" fmla="*/ 549 h 730"/>
                <a:gd name="T8" fmla="*/ 79 w 333"/>
                <a:gd name="T9" fmla="*/ 568 h 730"/>
                <a:gd name="T10" fmla="*/ 132 w 333"/>
                <a:gd name="T11" fmla="*/ 578 h 730"/>
                <a:gd name="T12" fmla="*/ 173 w 333"/>
                <a:gd name="T13" fmla="*/ 578 h 730"/>
                <a:gd name="T14" fmla="*/ 202 w 333"/>
                <a:gd name="T15" fmla="*/ 569 h 730"/>
                <a:gd name="T16" fmla="*/ 226 w 333"/>
                <a:gd name="T17" fmla="*/ 554 h 730"/>
                <a:gd name="T18" fmla="*/ 243 w 333"/>
                <a:gd name="T19" fmla="*/ 535 h 730"/>
                <a:gd name="T20" fmla="*/ 253 w 333"/>
                <a:gd name="T21" fmla="*/ 511 h 730"/>
                <a:gd name="T22" fmla="*/ 255 w 333"/>
                <a:gd name="T23" fmla="*/ 484 h 730"/>
                <a:gd name="T24" fmla="*/ 248 w 333"/>
                <a:gd name="T25" fmla="*/ 459 h 730"/>
                <a:gd name="T26" fmla="*/ 236 w 333"/>
                <a:gd name="T27" fmla="*/ 438 h 730"/>
                <a:gd name="T28" fmla="*/ 216 w 333"/>
                <a:gd name="T29" fmla="*/ 419 h 730"/>
                <a:gd name="T30" fmla="*/ 179 w 333"/>
                <a:gd name="T31" fmla="*/ 397 h 730"/>
                <a:gd name="T32" fmla="*/ 94 w 333"/>
                <a:gd name="T33" fmla="*/ 358 h 730"/>
                <a:gd name="T34" fmla="*/ 58 w 333"/>
                <a:gd name="T35" fmla="*/ 335 h 730"/>
                <a:gd name="T36" fmla="*/ 31 w 333"/>
                <a:gd name="T37" fmla="*/ 306 h 730"/>
                <a:gd name="T38" fmla="*/ 15 w 333"/>
                <a:gd name="T39" fmla="*/ 272 h 730"/>
                <a:gd name="T40" fmla="*/ 9 w 333"/>
                <a:gd name="T41" fmla="*/ 233 h 730"/>
                <a:gd name="T42" fmla="*/ 14 w 333"/>
                <a:gd name="T43" fmla="*/ 193 h 730"/>
                <a:gd name="T44" fmla="*/ 30 w 333"/>
                <a:gd name="T45" fmla="*/ 159 h 730"/>
                <a:gd name="T46" fmla="*/ 55 w 333"/>
                <a:gd name="T47" fmla="*/ 130 h 730"/>
                <a:gd name="T48" fmla="*/ 87 w 333"/>
                <a:gd name="T49" fmla="*/ 107 h 730"/>
                <a:gd name="T50" fmla="*/ 128 w 333"/>
                <a:gd name="T51" fmla="*/ 92 h 730"/>
                <a:gd name="T52" fmla="*/ 197 w 333"/>
                <a:gd name="T53" fmla="*/ 0 h 730"/>
                <a:gd name="T54" fmla="*/ 235 w 333"/>
                <a:gd name="T55" fmla="*/ 90 h 730"/>
                <a:gd name="T56" fmla="*/ 279 w 333"/>
                <a:gd name="T57" fmla="*/ 101 h 730"/>
                <a:gd name="T58" fmla="*/ 313 w 333"/>
                <a:gd name="T59" fmla="*/ 117 h 730"/>
                <a:gd name="T60" fmla="*/ 250 w 333"/>
                <a:gd name="T61" fmla="*/ 157 h 730"/>
                <a:gd name="T62" fmla="*/ 200 w 333"/>
                <a:gd name="T63" fmla="*/ 147 h 730"/>
                <a:gd name="T64" fmla="*/ 155 w 333"/>
                <a:gd name="T65" fmla="*/ 148 h 730"/>
                <a:gd name="T66" fmla="*/ 127 w 333"/>
                <a:gd name="T67" fmla="*/ 157 h 730"/>
                <a:gd name="T68" fmla="*/ 107 w 333"/>
                <a:gd name="T69" fmla="*/ 171 h 730"/>
                <a:gd name="T70" fmla="*/ 93 w 333"/>
                <a:gd name="T71" fmla="*/ 189 h 730"/>
                <a:gd name="T72" fmla="*/ 86 w 333"/>
                <a:gd name="T73" fmla="*/ 209 h 730"/>
                <a:gd name="T74" fmla="*/ 86 w 333"/>
                <a:gd name="T75" fmla="*/ 230 h 730"/>
                <a:gd name="T76" fmla="*/ 91 w 333"/>
                <a:gd name="T77" fmla="*/ 253 h 730"/>
                <a:gd name="T78" fmla="*/ 104 w 333"/>
                <a:gd name="T79" fmla="*/ 272 h 730"/>
                <a:gd name="T80" fmla="*/ 145 w 333"/>
                <a:gd name="T81" fmla="*/ 301 h 730"/>
                <a:gd name="T82" fmla="*/ 211 w 333"/>
                <a:gd name="T83" fmla="*/ 331 h 730"/>
                <a:gd name="T84" fmla="*/ 255 w 333"/>
                <a:gd name="T85" fmla="*/ 353 h 730"/>
                <a:gd name="T86" fmla="*/ 289 w 333"/>
                <a:gd name="T87" fmla="*/ 379 h 730"/>
                <a:gd name="T88" fmla="*/ 313 w 333"/>
                <a:gd name="T89" fmla="*/ 410 h 730"/>
                <a:gd name="T90" fmla="*/ 328 w 333"/>
                <a:gd name="T91" fmla="*/ 445 h 730"/>
                <a:gd name="T92" fmla="*/ 333 w 333"/>
                <a:gd name="T93" fmla="*/ 486 h 730"/>
                <a:gd name="T94" fmla="*/ 328 w 333"/>
                <a:gd name="T95" fmla="*/ 525 h 730"/>
                <a:gd name="T96" fmla="*/ 313 w 333"/>
                <a:gd name="T97" fmla="*/ 561 h 730"/>
                <a:gd name="T98" fmla="*/ 287 w 333"/>
                <a:gd name="T99" fmla="*/ 592 h 730"/>
                <a:gd name="T100" fmla="*/ 253 w 333"/>
                <a:gd name="T101" fmla="*/ 617 h 730"/>
                <a:gd name="T102" fmla="*/ 209 w 333"/>
                <a:gd name="T103" fmla="*/ 634 h 730"/>
                <a:gd name="T104" fmla="*/ 137 w 333"/>
                <a:gd name="T10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3" h="730">
                  <a:moveTo>
                    <a:pt x="137" y="730"/>
                  </a:moveTo>
                  <a:lnTo>
                    <a:pt x="137" y="640"/>
                  </a:lnTo>
                  <a:lnTo>
                    <a:pt x="117" y="639"/>
                  </a:lnTo>
                  <a:lnTo>
                    <a:pt x="98" y="636"/>
                  </a:lnTo>
                  <a:lnTo>
                    <a:pt x="79" y="633"/>
                  </a:lnTo>
                  <a:lnTo>
                    <a:pt x="61" y="628"/>
                  </a:lnTo>
                  <a:lnTo>
                    <a:pt x="43" y="623"/>
                  </a:lnTo>
                  <a:lnTo>
                    <a:pt x="27" y="617"/>
                  </a:lnTo>
                  <a:lnTo>
                    <a:pt x="14" y="609"/>
                  </a:lnTo>
                  <a:lnTo>
                    <a:pt x="0" y="600"/>
                  </a:lnTo>
                  <a:lnTo>
                    <a:pt x="22" y="541"/>
                  </a:lnTo>
                  <a:lnTo>
                    <a:pt x="35" y="549"/>
                  </a:lnTo>
                  <a:lnTo>
                    <a:pt x="48" y="556"/>
                  </a:lnTo>
                  <a:lnTo>
                    <a:pt x="63" y="563"/>
                  </a:lnTo>
                  <a:lnTo>
                    <a:pt x="79" y="568"/>
                  </a:lnTo>
                  <a:lnTo>
                    <a:pt x="96" y="573"/>
                  </a:lnTo>
                  <a:lnTo>
                    <a:pt x="113" y="577"/>
                  </a:lnTo>
                  <a:lnTo>
                    <a:pt x="132" y="578"/>
                  </a:lnTo>
                  <a:lnTo>
                    <a:pt x="150" y="579"/>
                  </a:lnTo>
                  <a:lnTo>
                    <a:pt x="161" y="579"/>
                  </a:lnTo>
                  <a:lnTo>
                    <a:pt x="173" y="578"/>
                  </a:lnTo>
                  <a:lnTo>
                    <a:pt x="183" y="576"/>
                  </a:lnTo>
                  <a:lnTo>
                    <a:pt x="193" y="573"/>
                  </a:lnTo>
                  <a:lnTo>
                    <a:pt x="202" y="569"/>
                  </a:lnTo>
                  <a:lnTo>
                    <a:pt x="211" y="566"/>
                  </a:lnTo>
                  <a:lnTo>
                    <a:pt x="219" y="561"/>
                  </a:lnTo>
                  <a:lnTo>
                    <a:pt x="226" y="554"/>
                  </a:lnTo>
                  <a:lnTo>
                    <a:pt x="232" y="548"/>
                  </a:lnTo>
                  <a:lnTo>
                    <a:pt x="238" y="542"/>
                  </a:lnTo>
                  <a:lnTo>
                    <a:pt x="243" y="535"/>
                  </a:lnTo>
                  <a:lnTo>
                    <a:pt x="248" y="527"/>
                  </a:lnTo>
                  <a:lnTo>
                    <a:pt x="251" y="520"/>
                  </a:lnTo>
                  <a:lnTo>
                    <a:pt x="253" y="511"/>
                  </a:lnTo>
                  <a:lnTo>
                    <a:pt x="255" y="502"/>
                  </a:lnTo>
                  <a:lnTo>
                    <a:pt x="256" y="492"/>
                  </a:lnTo>
                  <a:lnTo>
                    <a:pt x="255" y="484"/>
                  </a:lnTo>
                  <a:lnTo>
                    <a:pt x="253" y="475"/>
                  </a:lnTo>
                  <a:lnTo>
                    <a:pt x="252" y="466"/>
                  </a:lnTo>
                  <a:lnTo>
                    <a:pt x="248" y="459"/>
                  </a:lnTo>
                  <a:lnTo>
                    <a:pt x="246" y="451"/>
                  </a:lnTo>
                  <a:lnTo>
                    <a:pt x="241" y="444"/>
                  </a:lnTo>
                  <a:lnTo>
                    <a:pt x="236" y="438"/>
                  </a:lnTo>
                  <a:lnTo>
                    <a:pt x="230" y="431"/>
                  </a:lnTo>
                  <a:lnTo>
                    <a:pt x="224" y="425"/>
                  </a:lnTo>
                  <a:lnTo>
                    <a:pt x="216" y="419"/>
                  </a:lnTo>
                  <a:lnTo>
                    <a:pt x="207" y="413"/>
                  </a:lnTo>
                  <a:lnTo>
                    <a:pt x="199" y="408"/>
                  </a:lnTo>
                  <a:lnTo>
                    <a:pt x="179" y="397"/>
                  </a:lnTo>
                  <a:lnTo>
                    <a:pt x="155" y="387"/>
                  </a:lnTo>
                  <a:lnTo>
                    <a:pt x="123" y="373"/>
                  </a:lnTo>
                  <a:lnTo>
                    <a:pt x="94" y="358"/>
                  </a:lnTo>
                  <a:lnTo>
                    <a:pt x="81" y="351"/>
                  </a:lnTo>
                  <a:lnTo>
                    <a:pt x="68" y="343"/>
                  </a:lnTo>
                  <a:lnTo>
                    <a:pt x="58" y="335"/>
                  </a:lnTo>
                  <a:lnTo>
                    <a:pt x="48" y="326"/>
                  </a:lnTo>
                  <a:lnTo>
                    <a:pt x="39" y="316"/>
                  </a:lnTo>
                  <a:lnTo>
                    <a:pt x="31" y="306"/>
                  </a:lnTo>
                  <a:lnTo>
                    <a:pt x="25" y="296"/>
                  </a:lnTo>
                  <a:lnTo>
                    <a:pt x="19" y="285"/>
                  </a:lnTo>
                  <a:lnTo>
                    <a:pt x="15" y="272"/>
                  </a:lnTo>
                  <a:lnTo>
                    <a:pt x="11" y="260"/>
                  </a:lnTo>
                  <a:lnTo>
                    <a:pt x="9" y="248"/>
                  </a:lnTo>
                  <a:lnTo>
                    <a:pt x="9" y="233"/>
                  </a:lnTo>
                  <a:lnTo>
                    <a:pt x="9" y="219"/>
                  </a:lnTo>
                  <a:lnTo>
                    <a:pt x="11" y="207"/>
                  </a:lnTo>
                  <a:lnTo>
                    <a:pt x="14" y="193"/>
                  </a:lnTo>
                  <a:lnTo>
                    <a:pt x="19" y="182"/>
                  </a:lnTo>
                  <a:lnTo>
                    <a:pt x="24" y="169"/>
                  </a:lnTo>
                  <a:lnTo>
                    <a:pt x="30" y="159"/>
                  </a:lnTo>
                  <a:lnTo>
                    <a:pt x="37" y="148"/>
                  </a:lnTo>
                  <a:lnTo>
                    <a:pt x="45" y="138"/>
                  </a:lnTo>
                  <a:lnTo>
                    <a:pt x="55" y="130"/>
                  </a:lnTo>
                  <a:lnTo>
                    <a:pt x="65" y="122"/>
                  </a:lnTo>
                  <a:lnTo>
                    <a:pt x="76" y="115"/>
                  </a:lnTo>
                  <a:lnTo>
                    <a:pt x="87" y="107"/>
                  </a:lnTo>
                  <a:lnTo>
                    <a:pt x="99" y="102"/>
                  </a:lnTo>
                  <a:lnTo>
                    <a:pt x="113" y="97"/>
                  </a:lnTo>
                  <a:lnTo>
                    <a:pt x="128" y="92"/>
                  </a:lnTo>
                  <a:lnTo>
                    <a:pt x="143" y="90"/>
                  </a:lnTo>
                  <a:lnTo>
                    <a:pt x="143" y="0"/>
                  </a:lnTo>
                  <a:lnTo>
                    <a:pt x="197" y="0"/>
                  </a:lnTo>
                  <a:lnTo>
                    <a:pt x="197" y="86"/>
                  </a:lnTo>
                  <a:lnTo>
                    <a:pt x="217" y="87"/>
                  </a:lnTo>
                  <a:lnTo>
                    <a:pt x="235" y="90"/>
                  </a:lnTo>
                  <a:lnTo>
                    <a:pt x="251" y="93"/>
                  </a:lnTo>
                  <a:lnTo>
                    <a:pt x="266" y="97"/>
                  </a:lnTo>
                  <a:lnTo>
                    <a:pt x="279" y="101"/>
                  </a:lnTo>
                  <a:lnTo>
                    <a:pt x="292" y="106"/>
                  </a:lnTo>
                  <a:lnTo>
                    <a:pt x="303" y="112"/>
                  </a:lnTo>
                  <a:lnTo>
                    <a:pt x="313" y="117"/>
                  </a:lnTo>
                  <a:lnTo>
                    <a:pt x="291" y="175"/>
                  </a:lnTo>
                  <a:lnTo>
                    <a:pt x="273" y="167"/>
                  </a:lnTo>
                  <a:lnTo>
                    <a:pt x="250" y="157"/>
                  </a:lnTo>
                  <a:lnTo>
                    <a:pt x="235" y="153"/>
                  </a:lnTo>
                  <a:lnTo>
                    <a:pt x="217" y="149"/>
                  </a:lnTo>
                  <a:lnTo>
                    <a:pt x="200" y="147"/>
                  </a:lnTo>
                  <a:lnTo>
                    <a:pt x="179" y="146"/>
                  </a:lnTo>
                  <a:lnTo>
                    <a:pt x="166" y="147"/>
                  </a:lnTo>
                  <a:lnTo>
                    <a:pt x="155" y="148"/>
                  </a:lnTo>
                  <a:lnTo>
                    <a:pt x="145" y="149"/>
                  </a:lnTo>
                  <a:lnTo>
                    <a:pt x="135" y="153"/>
                  </a:lnTo>
                  <a:lnTo>
                    <a:pt x="127" y="157"/>
                  </a:lnTo>
                  <a:lnTo>
                    <a:pt x="119" y="161"/>
                  </a:lnTo>
                  <a:lnTo>
                    <a:pt x="112" y="166"/>
                  </a:lnTo>
                  <a:lnTo>
                    <a:pt x="107" y="171"/>
                  </a:lnTo>
                  <a:lnTo>
                    <a:pt x="101" y="177"/>
                  </a:lnTo>
                  <a:lnTo>
                    <a:pt x="97" y="183"/>
                  </a:lnTo>
                  <a:lnTo>
                    <a:pt x="93" y="189"/>
                  </a:lnTo>
                  <a:lnTo>
                    <a:pt x="89" y="195"/>
                  </a:lnTo>
                  <a:lnTo>
                    <a:pt x="88" y="202"/>
                  </a:lnTo>
                  <a:lnTo>
                    <a:pt x="86" y="209"/>
                  </a:lnTo>
                  <a:lnTo>
                    <a:pt x="86" y="215"/>
                  </a:lnTo>
                  <a:lnTo>
                    <a:pt x="84" y="223"/>
                  </a:lnTo>
                  <a:lnTo>
                    <a:pt x="86" y="230"/>
                  </a:lnTo>
                  <a:lnTo>
                    <a:pt x="87" y="239"/>
                  </a:lnTo>
                  <a:lnTo>
                    <a:pt x="88" y="246"/>
                  </a:lnTo>
                  <a:lnTo>
                    <a:pt x="91" y="253"/>
                  </a:lnTo>
                  <a:lnTo>
                    <a:pt x="94" y="260"/>
                  </a:lnTo>
                  <a:lnTo>
                    <a:pt x="99" y="266"/>
                  </a:lnTo>
                  <a:lnTo>
                    <a:pt x="104" y="272"/>
                  </a:lnTo>
                  <a:lnTo>
                    <a:pt x="111" y="279"/>
                  </a:lnTo>
                  <a:lnTo>
                    <a:pt x="127" y="290"/>
                  </a:lnTo>
                  <a:lnTo>
                    <a:pt x="145" y="301"/>
                  </a:lnTo>
                  <a:lnTo>
                    <a:pt x="168" y="312"/>
                  </a:lnTo>
                  <a:lnTo>
                    <a:pt x="195" y="323"/>
                  </a:lnTo>
                  <a:lnTo>
                    <a:pt x="211" y="331"/>
                  </a:lnTo>
                  <a:lnTo>
                    <a:pt x="227" y="338"/>
                  </a:lnTo>
                  <a:lnTo>
                    <a:pt x="242" y="346"/>
                  </a:lnTo>
                  <a:lnTo>
                    <a:pt x="255" y="353"/>
                  </a:lnTo>
                  <a:lnTo>
                    <a:pt x="267" y="362"/>
                  </a:lnTo>
                  <a:lnTo>
                    <a:pt x="278" y="371"/>
                  </a:lnTo>
                  <a:lnTo>
                    <a:pt x="289" y="379"/>
                  </a:lnTo>
                  <a:lnTo>
                    <a:pt x="298" y="389"/>
                  </a:lnTo>
                  <a:lnTo>
                    <a:pt x="307" y="399"/>
                  </a:lnTo>
                  <a:lnTo>
                    <a:pt x="313" y="410"/>
                  </a:lnTo>
                  <a:lnTo>
                    <a:pt x="319" y="420"/>
                  </a:lnTo>
                  <a:lnTo>
                    <a:pt x="324" y="433"/>
                  </a:lnTo>
                  <a:lnTo>
                    <a:pt x="328" y="445"/>
                  </a:lnTo>
                  <a:lnTo>
                    <a:pt x="330" y="457"/>
                  </a:lnTo>
                  <a:lnTo>
                    <a:pt x="332" y="471"/>
                  </a:lnTo>
                  <a:lnTo>
                    <a:pt x="333" y="486"/>
                  </a:lnTo>
                  <a:lnTo>
                    <a:pt x="332" y="500"/>
                  </a:lnTo>
                  <a:lnTo>
                    <a:pt x="330" y="512"/>
                  </a:lnTo>
                  <a:lnTo>
                    <a:pt x="328" y="525"/>
                  </a:lnTo>
                  <a:lnTo>
                    <a:pt x="324" y="537"/>
                  </a:lnTo>
                  <a:lnTo>
                    <a:pt x="319" y="549"/>
                  </a:lnTo>
                  <a:lnTo>
                    <a:pt x="313" y="561"/>
                  </a:lnTo>
                  <a:lnTo>
                    <a:pt x="306" y="572"/>
                  </a:lnTo>
                  <a:lnTo>
                    <a:pt x="297" y="582"/>
                  </a:lnTo>
                  <a:lnTo>
                    <a:pt x="287" y="592"/>
                  </a:lnTo>
                  <a:lnTo>
                    <a:pt x="277" y="602"/>
                  </a:lnTo>
                  <a:lnTo>
                    <a:pt x="266" y="609"/>
                  </a:lnTo>
                  <a:lnTo>
                    <a:pt x="253" y="617"/>
                  </a:lnTo>
                  <a:lnTo>
                    <a:pt x="240" y="624"/>
                  </a:lnTo>
                  <a:lnTo>
                    <a:pt x="225" y="629"/>
                  </a:lnTo>
                  <a:lnTo>
                    <a:pt x="209" y="634"/>
                  </a:lnTo>
                  <a:lnTo>
                    <a:pt x="193" y="638"/>
                  </a:lnTo>
                  <a:lnTo>
                    <a:pt x="193" y="730"/>
                  </a:lnTo>
                  <a:lnTo>
                    <a:pt x="137" y="7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0" name="Group 29">
            <a:extLst>
              <a:ext uri="{FF2B5EF4-FFF2-40B4-BE49-F238E27FC236}">
                <a16:creationId xmlns:a16="http://schemas.microsoft.com/office/drawing/2014/main" id="{855971C7-C189-4395-8D06-123727ABE2F1}"/>
              </a:ext>
            </a:extLst>
          </p:cNvPr>
          <p:cNvGrpSpPr>
            <a:grpSpLocks noChangeAspect="1"/>
          </p:cNvGrpSpPr>
          <p:nvPr/>
        </p:nvGrpSpPr>
        <p:grpSpPr>
          <a:xfrm>
            <a:off x="2357320" y="2233311"/>
            <a:ext cx="199933" cy="285619"/>
            <a:chOff x="11637963" y="1925320"/>
            <a:chExt cx="200025" cy="285750"/>
          </a:xfrm>
          <a:solidFill>
            <a:schemeClr val="bg1"/>
          </a:solidFill>
          <a:effectLst/>
        </p:grpSpPr>
        <p:sp>
          <p:nvSpPr>
            <p:cNvPr id="1241" name="Freeform 209">
              <a:extLst>
                <a:ext uri="{FF2B5EF4-FFF2-40B4-BE49-F238E27FC236}">
                  <a16:creationId xmlns:a16="http://schemas.microsoft.com/office/drawing/2014/main" id="{28C88F96-769D-4406-9EAD-A39CC64E9027}"/>
                </a:ext>
              </a:extLst>
            </p:cNvPr>
            <p:cNvSpPr>
              <a:spLocks noEditPoints="1"/>
            </p:cNvSpPr>
            <p:nvPr/>
          </p:nvSpPr>
          <p:spPr bwMode="auto">
            <a:xfrm>
              <a:off x="11637963" y="1925320"/>
              <a:ext cx="200025" cy="285750"/>
            </a:xfrm>
            <a:custGeom>
              <a:avLst/>
              <a:gdLst>
                <a:gd name="T0" fmla="*/ 550 w 632"/>
                <a:gd name="T1" fmla="*/ 800 h 904"/>
                <a:gd name="T2" fmla="*/ 542 w 632"/>
                <a:gd name="T3" fmla="*/ 796 h 904"/>
                <a:gd name="T4" fmla="*/ 533 w 632"/>
                <a:gd name="T5" fmla="*/ 800 h 904"/>
                <a:gd name="T6" fmla="*/ 401 w 632"/>
                <a:gd name="T7" fmla="*/ 802 h 904"/>
                <a:gd name="T8" fmla="*/ 394 w 632"/>
                <a:gd name="T9" fmla="*/ 797 h 904"/>
                <a:gd name="T10" fmla="*/ 385 w 632"/>
                <a:gd name="T11" fmla="*/ 797 h 904"/>
                <a:gd name="T12" fmla="*/ 316 w 632"/>
                <a:gd name="T13" fmla="*/ 866 h 904"/>
                <a:gd name="T14" fmla="*/ 247 w 632"/>
                <a:gd name="T15" fmla="*/ 798 h 904"/>
                <a:gd name="T16" fmla="*/ 241 w 632"/>
                <a:gd name="T17" fmla="*/ 796 h 904"/>
                <a:gd name="T18" fmla="*/ 235 w 632"/>
                <a:gd name="T19" fmla="*/ 798 h 904"/>
                <a:gd name="T20" fmla="*/ 167 w 632"/>
                <a:gd name="T21" fmla="*/ 867 h 904"/>
                <a:gd name="T22" fmla="*/ 96 w 632"/>
                <a:gd name="T23" fmla="*/ 798 h 904"/>
                <a:gd name="T24" fmla="*/ 87 w 632"/>
                <a:gd name="T25" fmla="*/ 797 h 904"/>
                <a:gd name="T26" fmla="*/ 80 w 632"/>
                <a:gd name="T27" fmla="*/ 802 h 904"/>
                <a:gd name="T28" fmla="*/ 80 w 632"/>
                <a:gd name="T29" fmla="*/ 101 h 904"/>
                <a:gd name="T30" fmla="*/ 88 w 632"/>
                <a:gd name="T31" fmla="*/ 105 h 904"/>
                <a:gd name="T32" fmla="*/ 96 w 632"/>
                <a:gd name="T33" fmla="*/ 105 h 904"/>
                <a:gd name="T34" fmla="*/ 165 w 632"/>
                <a:gd name="T35" fmla="*/ 36 h 904"/>
                <a:gd name="T36" fmla="*/ 235 w 632"/>
                <a:gd name="T37" fmla="*/ 105 h 904"/>
                <a:gd name="T38" fmla="*/ 244 w 632"/>
                <a:gd name="T39" fmla="*/ 105 h 904"/>
                <a:gd name="T40" fmla="*/ 251 w 632"/>
                <a:gd name="T41" fmla="*/ 101 h 904"/>
                <a:gd name="T42" fmla="*/ 383 w 632"/>
                <a:gd name="T43" fmla="*/ 103 h 904"/>
                <a:gd name="T44" fmla="*/ 391 w 632"/>
                <a:gd name="T45" fmla="*/ 106 h 904"/>
                <a:gd name="T46" fmla="*/ 399 w 632"/>
                <a:gd name="T47" fmla="*/ 103 h 904"/>
                <a:gd name="T48" fmla="*/ 531 w 632"/>
                <a:gd name="T49" fmla="*/ 101 h 904"/>
                <a:gd name="T50" fmla="*/ 539 w 632"/>
                <a:gd name="T51" fmla="*/ 105 h 904"/>
                <a:gd name="T52" fmla="*/ 547 w 632"/>
                <a:gd name="T53" fmla="*/ 105 h 904"/>
                <a:gd name="T54" fmla="*/ 602 w 632"/>
                <a:gd name="T55" fmla="*/ 52 h 904"/>
                <a:gd name="T56" fmla="*/ 618 w 632"/>
                <a:gd name="T57" fmla="*/ 2 h 904"/>
                <a:gd name="T58" fmla="*/ 606 w 632"/>
                <a:gd name="T59" fmla="*/ 6 h 904"/>
                <a:gd name="T60" fmla="*/ 474 w 632"/>
                <a:gd name="T61" fmla="*/ 3 h 904"/>
                <a:gd name="T62" fmla="*/ 467 w 632"/>
                <a:gd name="T63" fmla="*/ 0 h 904"/>
                <a:gd name="T64" fmla="*/ 458 w 632"/>
                <a:gd name="T65" fmla="*/ 3 h 904"/>
                <a:gd name="T66" fmla="*/ 326 w 632"/>
                <a:gd name="T67" fmla="*/ 5 h 904"/>
                <a:gd name="T68" fmla="*/ 319 w 632"/>
                <a:gd name="T69" fmla="*/ 1 h 904"/>
                <a:gd name="T70" fmla="*/ 310 w 632"/>
                <a:gd name="T71" fmla="*/ 1 h 904"/>
                <a:gd name="T72" fmla="*/ 241 w 632"/>
                <a:gd name="T73" fmla="*/ 69 h 904"/>
                <a:gd name="T74" fmla="*/ 172 w 632"/>
                <a:gd name="T75" fmla="*/ 1 h 904"/>
                <a:gd name="T76" fmla="*/ 163 w 632"/>
                <a:gd name="T77" fmla="*/ 1 h 904"/>
                <a:gd name="T78" fmla="*/ 155 w 632"/>
                <a:gd name="T79" fmla="*/ 5 h 904"/>
                <a:gd name="T80" fmla="*/ 22 w 632"/>
                <a:gd name="T81" fmla="*/ 3 h 904"/>
                <a:gd name="T82" fmla="*/ 10 w 632"/>
                <a:gd name="T83" fmla="*/ 3 h 904"/>
                <a:gd name="T84" fmla="*/ 1 w 632"/>
                <a:gd name="T85" fmla="*/ 12 h 904"/>
                <a:gd name="T86" fmla="*/ 1 w 632"/>
                <a:gd name="T87" fmla="*/ 893 h 904"/>
                <a:gd name="T88" fmla="*/ 10 w 632"/>
                <a:gd name="T89" fmla="*/ 902 h 904"/>
                <a:gd name="T90" fmla="*/ 23 w 632"/>
                <a:gd name="T91" fmla="*/ 901 h 904"/>
                <a:gd name="T92" fmla="*/ 157 w 632"/>
                <a:gd name="T93" fmla="*/ 899 h 904"/>
                <a:gd name="T94" fmla="*/ 164 w 632"/>
                <a:gd name="T95" fmla="*/ 904 h 904"/>
                <a:gd name="T96" fmla="*/ 173 w 632"/>
                <a:gd name="T97" fmla="*/ 902 h 904"/>
                <a:gd name="T98" fmla="*/ 241 w 632"/>
                <a:gd name="T99" fmla="*/ 833 h 904"/>
                <a:gd name="T100" fmla="*/ 310 w 632"/>
                <a:gd name="T101" fmla="*/ 901 h 904"/>
                <a:gd name="T102" fmla="*/ 319 w 632"/>
                <a:gd name="T103" fmla="*/ 901 h 904"/>
                <a:gd name="T104" fmla="*/ 326 w 632"/>
                <a:gd name="T105" fmla="*/ 898 h 904"/>
                <a:gd name="T106" fmla="*/ 458 w 632"/>
                <a:gd name="T107" fmla="*/ 899 h 904"/>
                <a:gd name="T108" fmla="*/ 467 w 632"/>
                <a:gd name="T109" fmla="*/ 902 h 904"/>
                <a:gd name="T110" fmla="*/ 474 w 632"/>
                <a:gd name="T111" fmla="*/ 899 h 904"/>
                <a:gd name="T112" fmla="*/ 606 w 632"/>
                <a:gd name="T113" fmla="*/ 899 h 904"/>
                <a:gd name="T114" fmla="*/ 614 w 632"/>
                <a:gd name="T115" fmla="*/ 904 h 904"/>
                <a:gd name="T116" fmla="*/ 622 w 632"/>
                <a:gd name="T117" fmla="*/ 902 h 904"/>
                <a:gd name="T118" fmla="*/ 631 w 632"/>
                <a:gd name="T119" fmla="*/ 893 h 904"/>
                <a:gd name="T120" fmla="*/ 631 w 632"/>
                <a:gd name="T121" fmla="*/ 12 h 904"/>
                <a:gd name="T122" fmla="*/ 622 w 632"/>
                <a:gd name="T123" fmla="*/ 3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2" h="904">
                  <a:moveTo>
                    <a:pt x="602" y="851"/>
                  </a:moveTo>
                  <a:lnTo>
                    <a:pt x="553" y="802"/>
                  </a:lnTo>
                  <a:lnTo>
                    <a:pt x="550" y="800"/>
                  </a:lnTo>
                  <a:lnTo>
                    <a:pt x="547" y="798"/>
                  </a:lnTo>
                  <a:lnTo>
                    <a:pt x="544" y="797"/>
                  </a:lnTo>
                  <a:lnTo>
                    <a:pt x="542" y="796"/>
                  </a:lnTo>
                  <a:lnTo>
                    <a:pt x="539" y="797"/>
                  </a:lnTo>
                  <a:lnTo>
                    <a:pt x="535" y="797"/>
                  </a:lnTo>
                  <a:lnTo>
                    <a:pt x="533" y="800"/>
                  </a:lnTo>
                  <a:lnTo>
                    <a:pt x="531" y="802"/>
                  </a:lnTo>
                  <a:lnTo>
                    <a:pt x="467" y="866"/>
                  </a:lnTo>
                  <a:lnTo>
                    <a:pt x="401" y="802"/>
                  </a:lnTo>
                  <a:lnTo>
                    <a:pt x="399" y="800"/>
                  </a:lnTo>
                  <a:lnTo>
                    <a:pt x="397" y="797"/>
                  </a:lnTo>
                  <a:lnTo>
                    <a:pt x="394" y="797"/>
                  </a:lnTo>
                  <a:lnTo>
                    <a:pt x="391" y="796"/>
                  </a:lnTo>
                  <a:lnTo>
                    <a:pt x="389" y="797"/>
                  </a:lnTo>
                  <a:lnTo>
                    <a:pt x="385" y="797"/>
                  </a:lnTo>
                  <a:lnTo>
                    <a:pt x="383" y="800"/>
                  </a:lnTo>
                  <a:lnTo>
                    <a:pt x="381" y="802"/>
                  </a:lnTo>
                  <a:lnTo>
                    <a:pt x="316" y="866"/>
                  </a:lnTo>
                  <a:lnTo>
                    <a:pt x="251" y="802"/>
                  </a:lnTo>
                  <a:lnTo>
                    <a:pt x="249" y="800"/>
                  </a:lnTo>
                  <a:lnTo>
                    <a:pt x="247" y="798"/>
                  </a:lnTo>
                  <a:lnTo>
                    <a:pt x="244" y="797"/>
                  </a:lnTo>
                  <a:lnTo>
                    <a:pt x="241" y="796"/>
                  </a:lnTo>
                  <a:lnTo>
                    <a:pt x="241" y="796"/>
                  </a:lnTo>
                  <a:lnTo>
                    <a:pt x="241" y="796"/>
                  </a:lnTo>
                  <a:lnTo>
                    <a:pt x="237" y="797"/>
                  </a:lnTo>
                  <a:lnTo>
                    <a:pt x="235" y="798"/>
                  </a:lnTo>
                  <a:lnTo>
                    <a:pt x="232" y="800"/>
                  </a:lnTo>
                  <a:lnTo>
                    <a:pt x="230" y="802"/>
                  </a:lnTo>
                  <a:lnTo>
                    <a:pt x="167" y="867"/>
                  </a:lnTo>
                  <a:lnTo>
                    <a:pt x="101" y="802"/>
                  </a:lnTo>
                  <a:lnTo>
                    <a:pt x="99" y="800"/>
                  </a:lnTo>
                  <a:lnTo>
                    <a:pt x="96" y="798"/>
                  </a:lnTo>
                  <a:lnTo>
                    <a:pt x="94" y="797"/>
                  </a:lnTo>
                  <a:lnTo>
                    <a:pt x="90" y="796"/>
                  </a:lnTo>
                  <a:lnTo>
                    <a:pt x="87" y="797"/>
                  </a:lnTo>
                  <a:lnTo>
                    <a:pt x="84" y="798"/>
                  </a:lnTo>
                  <a:lnTo>
                    <a:pt x="82" y="800"/>
                  </a:lnTo>
                  <a:lnTo>
                    <a:pt x="80" y="802"/>
                  </a:lnTo>
                  <a:lnTo>
                    <a:pt x="30" y="851"/>
                  </a:lnTo>
                  <a:lnTo>
                    <a:pt x="30" y="52"/>
                  </a:lnTo>
                  <a:lnTo>
                    <a:pt x="80" y="101"/>
                  </a:lnTo>
                  <a:lnTo>
                    <a:pt x="82" y="103"/>
                  </a:lnTo>
                  <a:lnTo>
                    <a:pt x="85" y="105"/>
                  </a:lnTo>
                  <a:lnTo>
                    <a:pt x="88" y="105"/>
                  </a:lnTo>
                  <a:lnTo>
                    <a:pt x="90" y="106"/>
                  </a:lnTo>
                  <a:lnTo>
                    <a:pt x="94" y="105"/>
                  </a:lnTo>
                  <a:lnTo>
                    <a:pt x="96" y="105"/>
                  </a:lnTo>
                  <a:lnTo>
                    <a:pt x="99" y="103"/>
                  </a:lnTo>
                  <a:lnTo>
                    <a:pt x="101" y="101"/>
                  </a:lnTo>
                  <a:lnTo>
                    <a:pt x="165" y="36"/>
                  </a:lnTo>
                  <a:lnTo>
                    <a:pt x="230" y="101"/>
                  </a:lnTo>
                  <a:lnTo>
                    <a:pt x="233" y="103"/>
                  </a:lnTo>
                  <a:lnTo>
                    <a:pt x="235" y="105"/>
                  </a:lnTo>
                  <a:lnTo>
                    <a:pt x="238" y="105"/>
                  </a:lnTo>
                  <a:lnTo>
                    <a:pt x="241" y="106"/>
                  </a:lnTo>
                  <a:lnTo>
                    <a:pt x="244" y="105"/>
                  </a:lnTo>
                  <a:lnTo>
                    <a:pt x="247" y="105"/>
                  </a:lnTo>
                  <a:lnTo>
                    <a:pt x="249" y="103"/>
                  </a:lnTo>
                  <a:lnTo>
                    <a:pt x="251" y="101"/>
                  </a:lnTo>
                  <a:lnTo>
                    <a:pt x="316" y="36"/>
                  </a:lnTo>
                  <a:lnTo>
                    <a:pt x="381" y="101"/>
                  </a:lnTo>
                  <a:lnTo>
                    <a:pt x="383" y="103"/>
                  </a:lnTo>
                  <a:lnTo>
                    <a:pt x="385" y="105"/>
                  </a:lnTo>
                  <a:lnTo>
                    <a:pt x="389" y="105"/>
                  </a:lnTo>
                  <a:lnTo>
                    <a:pt x="391" y="106"/>
                  </a:lnTo>
                  <a:lnTo>
                    <a:pt x="394" y="105"/>
                  </a:lnTo>
                  <a:lnTo>
                    <a:pt x="397" y="105"/>
                  </a:lnTo>
                  <a:lnTo>
                    <a:pt x="399" y="103"/>
                  </a:lnTo>
                  <a:lnTo>
                    <a:pt x="401" y="101"/>
                  </a:lnTo>
                  <a:lnTo>
                    <a:pt x="467" y="36"/>
                  </a:lnTo>
                  <a:lnTo>
                    <a:pt x="531" y="101"/>
                  </a:lnTo>
                  <a:lnTo>
                    <a:pt x="533" y="103"/>
                  </a:lnTo>
                  <a:lnTo>
                    <a:pt x="535" y="105"/>
                  </a:lnTo>
                  <a:lnTo>
                    <a:pt x="539" y="105"/>
                  </a:lnTo>
                  <a:lnTo>
                    <a:pt x="542" y="106"/>
                  </a:lnTo>
                  <a:lnTo>
                    <a:pt x="544" y="105"/>
                  </a:lnTo>
                  <a:lnTo>
                    <a:pt x="547" y="105"/>
                  </a:lnTo>
                  <a:lnTo>
                    <a:pt x="549" y="103"/>
                  </a:lnTo>
                  <a:lnTo>
                    <a:pt x="551" y="101"/>
                  </a:lnTo>
                  <a:lnTo>
                    <a:pt x="602" y="52"/>
                  </a:lnTo>
                  <a:lnTo>
                    <a:pt x="602" y="851"/>
                  </a:lnTo>
                  <a:close/>
                  <a:moveTo>
                    <a:pt x="622" y="3"/>
                  </a:moveTo>
                  <a:lnTo>
                    <a:pt x="618" y="2"/>
                  </a:lnTo>
                  <a:lnTo>
                    <a:pt x="614" y="2"/>
                  </a:lnTo>
                  <a:lnTo>
                    <a:pt x="609" y="3"/>
                  </a:lnTo>
                  <a:lnTo>
                    <a:pt x="606" y="6"/>
                  </a:lnTo>
                  <a:lnTo>
                    <a:pt x="542" y="69"/>
                  </a:lnTo>
                  <a:lnTo>
                    <a:pt x="477" y="5"/>
                  </a:lnTo>
                  <a:lnTo>
                    <a:pt x="474" y="3"/>
                  </a:lnTo>
                  <a:lnTo>
                    <a:pt x="472" y="1"/>
                  </a:lnTo>
                  <a:lnTo>
                    <a:pt x="469" y="1"/>
                  </a:lnTo>
                  <a:lnTo>
                    <a:pt x="467" y="0"/>
                  </a:lnTo>
                  <a:lnTo>
                    <a:pt x="464" y="1"/>
                  </a:lnTo>
                  <a:lnTo>
                    <a:pt x="460" y="1"/>
                  </a:lnTo>
                  <a:lnTo>
                    <a:pt x="458" y="3"/>
                  </a:lnTo>
                  <a:lnTo>
                    <a:pt x="456" y="5"/>
                  </a:lnTo>
                  <a:lnTo>
                    <a:pt x="391" y="69"/>
                  </a:lnTo>
                  <a:lnTo>
                    <a:pt x="326" y="5"/>
                  </a:lnTo>
                  <a:lnTo>
                    <a:pt x="324" y="3"/>
                  </a:lnTo>
                  <a:lnTo>
                    <a:pt x="322" y="1"/>
                  </a:lnTo>
                  <a:lnTo>
                    <a:pt x="319" y="1"/>
                  </a:lnTo>
                  <a:lnTo>
                    <a:pt x="316" y="0"/>
                  </a:lnTo>
                  <a:lnTo>
                    <a:pt x="313" y="1"/>
                  </a:lnTo>
                  <a:lnTo>
                    <a:pt x="310" y="1"/>
                  </a:lnTo>
                  <a:lnTo>
                    <a:pt x="308" y="3"/>
                  </a:lnTo>
                  <a:lnTo>
                    <a:pt x="305" y="5"/>
                  </a:lnTo>
                  <a:lnTo>
                    <a:pt x="241" y="69"/>
                  </a:lnTo>
                  <a:lnTo>
                    <a:pt x="176" y="5"/>
                  </a:lnTo>
                  <a:lnTo>
                    <a:pt x="174" y="3"/>
                  </a:lnTo>
                  <a:lnTo>
                    <a:pt x="172" y="1"/>
                  </a:lnTo>
                  <a:lnTo>
                    <a:pt x="169" y="1"/>
                  </a:lnTo>
                  <a:lnTo>
                    <a:pt x="165" y="0"/>
                  </a:lnTo>
                  <a:lnTo>
                    <a:pt x="163" y="1"/>
                  </a:lnTo>
                  <a:lnTo>
                    <a:pt x="160" y="1"/>
                  </a:lnTo>
                  <a:lnTo>
                    <a:pt x="157" y="3"/>
                  </a:lnTo>
                  <a:lnTo>
                    <a:pt x="155" y="5"/>
                  </a:lnTo>
                  <a:lnTo>
                    <a:pt x="90" y="69"/>
                  </a:lnTo>
                  <a:lnTo>
                    <a:pt x="26" y="6"/>
                  </a:lnTo>
                  <a:lnTo>
                    <a:pt x="22" y="3"/>
                  </a:lnTo>
                  <a:lnTo>
                    <a:pt x="19" y="2"/>
                  </a:lnTo>
                  <a:lnTo>
                    <a:pt x="14" y="2"/>
                  </a:lnTo>
                  <a:lnTo>
                    <a:pt x="10" y="3"/>
                  </a:lnTo>
                  <a:lnTo>
                    <a:pt x="6" y="5"/>
                  </a:lnTo>
                  <a:lnTo>
                    <a:pt x="3" y="8"/>
                  </a:lnTo>
                  <a:lnTo>
                    <a:pt x="1" y="12"/>
                  </a:lnTo>
                  <a:lnTo>
                    <a:pt x="0" y="17"/>
                  </a:lnTo>
                  <a:lnTo>
                    <a:pt x="0" y="889"/>
                  </a:lnTo>
                  <a:lnTo>
                    <a:pt x="1" y="893"/>
                  </a:lnTo>
                  <a:lnTo>
                    <a:pt x="3" y="897"/>
                  </a:lnTo>
                  <a:lnTo>
                    <a:pt x="6" y="900"/>
                  </a:lnTo>
                  <a:lnTo>
                    <a:pt x="10" y="902"/>
                  </a:lnTo>
                  <a:lnTo>
                    <a:pt x="14" y="904"/>
                  </a:lnTo>
                  <a:lnTo>
                    <a:pt x="19" y="904"/>
                  </a:lnTo>
                  <a:lnTo>
                    <a:pt x="23" y="901"/>
                  </a:lnTo>
                  <a:lnTo>
                    <a:pt x="26" y="899"/>
                  </a:lnTo>
                  <a:lnTo>
                    <a:pt x="90" y="833"/>
                  </a:lnTo>
                  <a:lnTo>
                    <a:pt x="157" y="899"/>
                  </a:lnTo>
                  <a:lnTo>
                    <a:pt x="159" y="900"/>
                  </a:lnTo>
                  <a:lnTo>
                    <a:pt x="161" y="902"/>
                  </a:lnTo>
                  <a:lnTo>
                    <a:pt x="164" y="904"/>
                  </a:lnTo>
                  <a:lnTo>
                    <a:pt x="168" y="904"/>
                  </a:lnTo>
                  <a:lnTo>
                    <a:pt x="170" y="904"/>
                  </a:lnTo>
                  <a:lnTo>
                    <a:pt x="173" y="902"/>
                  </a:lnTo>
                  <a:lnTo>
                    <a:pt x="175" y="900"/>
                  </a:lnTo>
                  <a:lnTo>
                    <a:pt x="178" y="899"/>
                  </a:lnTo>
                  <a:lnTo>
                    <a:pt x="241" y="833"/>
                  </a:lnTo>
                  <a:lnTo>
                    <a:pt x="305" y="898"/>
                  </a:lnTo>
                  <a:lnTo>
                    <a:pt x="308" y="899"/>
                  </a:lnTo>
                  <a:lnTo>
                    <a:pt x="310" y="901"/>
                  </a:lnTo>
                  <a:lnTo>
                    <a:pt x="313" y="901"/>
                  </a:lnTo>
                  <a:lnTo>
                    <a:pt x="316" y="902"/>
                  </a:lnTo>
                  <a:lnTo>
                    <a:pt x="319" y="901"/>
                  </a:lnTo>
                  <a:lnTo>
                    <a:pt x="322" y="901"/>
                  </a:lnTo>
                  <a:lnTo>
                    <a:pt x="324" y="899"/>
                  </a:lnTo>
                  <a:lnTo>
                    <a:pt x="326" y="898"/>
                  </a:lnTo>
                  <a:lnTo>
                    <a:pt x="391" y="833"/>
                  </a:lnTo>
                  <a:lnTo>
                    <a:pt x="456" y="898"/>
                  </a:lnTo>
                  <a:lnTo>
                    <a:pt x="458" y="899"/>
                  </a:lnTo>
                  <a:lnTo>
                    <a:pt x="460" y="901"/>
                  </a:lnTo>
                  <a:lnTo>
                    <a:pt x="464" y="901"/>
                  </a:lnTo>
                  <a:lnTo>
                    <a:pt x="467" y="902"/>
                  </a:lnTo>
                  <a:lnTo>
                    <a:pt x="469" y="901"/>
                  </a:lnTo>
                  <a:lnTo>
                    <a:pt x="472" y="901"/>
                  </a:lnTo>
                  <a:lnTo>
                    <a:pt x="474" y="899"/>
                  </a:lnTo>
                  <a:lnTo>
                    <a:pt x="477" y="898"/>
                  </a:lnTo>
                  <a:lnTo>
                    <a:pt x="542" y="833"/>
                  </a:lnTo>
                  <a:lnTo>
                    <a:pt x="606" y="899"/>
                  </a:lnTo>
                  <a:lnTo>
                    <a:pt x="608" y="900"/>
                  </a:lnTo>
                  <a:lnTo>
                    <a:pt x="610" y="902"/>
                  </a:lnTo>
                  <a:lnTo>
                    <a:pt x="614" y="904"/>
                  </a:lnTo>
                  <a:lnTo>
                    <a:pt x="617" y="904"/>
                  </a:lnTo>
                  <a:lnTo>
                    <a:pt x="620" y="904"/>
                  </a:lnTo>
                  <a:lnTo>
                    <a:pt x="622" y="902"/>
                  </a:lnTo>
                  <a:lnTo>
                    <a:pt x="627" y="900"/>
                  </a:lnTo>
                  <a:lnTo>
                    <a:pt x="629" y="897"/>
                  </a:lnTo>
                  <a:lnTo>
                    <a:pt x="631" y="893"/>
                  </a:lnTo>
                  <a:lnTo>
                    <a:pt x="632" y="889"/>
                  </a:lnTo>
                  <a:lnTo>
                    <a:pt x="632" y="17"/>
                  </a:lnTo>
                  <a:lnTo>
                    <a:pt x="631" y="12"/>
                  </a:lnTo>
                  <a:lnTo>
                    <a:pt x="629" y="8"/>
                  </a:lnTo>
                  <a:lnTo>
                    <a:pt x="627" y="5"/>
                  </a:lnTo>
                  <a:lnTo>
                    <a:pt x="62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210">
              <a:extLst>
                <a:ext uri="{FF2B5EF4-FFF2-40B4-BE49-F238E27FC236}">
                  <a16:creationId xmlns:a16="http://schemas.microsoft.com/office/drawing/2014/main" id="{50750E81-BA3C-4C6F-A8B0-419FBDF4C584}"/>
                </a:ext>
              </a:extLst>
            </p:cNvPr>
            <p:cNvSpPr>
              <a:spLocks/>
            </p:cNvSpPr>
            <p:nvPr/>
          </p:nvSpPr>
          <p:spPr bwMode="auto">
            <a:xfrm>
              <a:off x="11672888" y="1991995"/>
              <a:ext cx="106363" cy="9525"/>
            </a:xfrm>
            <a:custGeom>
              <a:avLst/>
              <a:gdLst>
                <a:gd name="T0" fmla="*/ 333 w 333"/>
                <a:gd name="T1" fmla="*/ 15 h 30"/>
                <a:gd name="T2" fmla="*/ 333 w 333"/>
                <a:gd name="T3" fmla="*/ 12 h 30"/>
                <a:gd name="T4" fmla="*/ 332 w 333"/>
                <a:gd name="T5" fmla="*/ 8 h 30"/>
                <a:gd name="T6" fmla="*/ 331 w 333"/>
                <a:gd name="T7" fmla="*/ 6 h 30"/>
                <a:gd name="T8" fmla="*/ 329 w 333"/>
                <a:gd name="T9" fmla="*/ 4 h 30"/>
                <a:gd name="T10" fmla="*/ 327 w 333"/>
                <a:gd name="T11" fmla="*/ 2 h 30"/>
                <a:gd name="T12" fmla="*/ 324 w 333"/>
                <a:gd name="T13" fmla="*/ 1 h 30"/>
                <a:gd name="T14" fmla="*/ 322 w 333"/>
                <a:gd name="T15" fmla="*/ 0 h 30"/>
                <a:gd name="T16" fmla="*/ 318 w 333"/>
                <a:gd name="T17" fmla="*/ 0 h 30"/>
                <a:gd name="T18" fmla="*/ 15 w 333"/>
                <a:gd name="T19" fmla="*/ 0 h 30"/>
                <a:gd name="T20" fmla="*/ 12 w 333"/>
                <a:gd name="T21" fmla="*/ 0 h 30"/>
                <a:gd name="T22" fmla="*/ 10 w 333"/>
                <a:gd name="T23" fmla="*/ 1 h 30"/>
                <a:gd name="T24" fmla="*/ 6 w 333"/>
                <a:gd name="T25" fmla="*/ 2 h 30"/>
                <a:gd name="T26" fmla="*/ 4 w 333"/>
                <a:gd name="T27" fmla="*/ 4 h 30"/>
                <a:gd name="T28" fmla="*/ 2 w 333"/>
                <a:gd name="T29" fmla="*/ 6 h 30"/>
                <a:gd name="T30" fmla="*/ 1 w 333"/>
                <a:gd name="T31" fmla="*/ 8 h 30"/>
                <a:gd name="T32" fmla="*/ 0 w 333"/>
                <a:gd name="T33" fmla="*/ 12 h 30"/>
                <a:gd name="T34" fmla="*/ 0 w 333"/>
                <a:gd name="T35" fmla="*/ 15 h 30"/>
                <a:gd name="T36" fmla="*/ 0 w 333"/>
                <a:gd name="T37" fmla="*/ 18 h 30"/>
                <a:gd name="T38" fmla="*/ 1 w 333"/>
                <a:gd name="T39" fmla="*/ 20 h 30"/>
                <a:gd name="T40" fmla="*/ 2 w 333"/>
                <a:gd name="T41" fmla="*/ 23 h 30"/>
                <a:gd name="T42" fmla="*/ 4 w 333"/>
                <a:gd name="T43" fmla="*/ 26 h 30"/>
                <a:gd name="T44" fmla="*/ 6 w 333"/>
                <a:gd name="T45" fmla="*/ 27 h 30"/>
                <a:gd name="T46" fmla="*/ 10 w 333"/>
                <a:gd name="T47" fmla="*/ 29 h 30"/>
                <a:gd name="T48" fmla="*/ 12 w 333"/>
                <a:gd name="T49" fmla="*/ 29 h 30"/>
                <a:gd name="T50" fmla="*/ 15 w 333"/>
                <a:gd name="T51" fmla="*/ 30 h 30"/>
                <a:gd name="T52" fmla="*/ 318 w 333"/>
                <a:gd name="T53" fmla="*/ 30 h 30"/>
                <a:gd name="T54" fmla="*/ 322 w 333"/>
                <a:gd name="T55" fmla="*/ 29 h 30"/>
                <a:gd name="T56" fmla="*/ 324 w 333"/>
                <a:gd name="T57" fmla="*/ 29 h 30"/>
                <a:gd name="T58" fmla="*/ 327 w 333"/>
                <a:gd name="T59" fmla="*/ 27 h 30"/>
                <a:gd name="T60" fmla="*/ 329 w 333"/>
                <a:gd name="T61" fmla="*/ 26 h 30"/>
                <a:gd name="T62" fmla="*/ 331 w 333"/>
                <a:gd name="T63" fmla="*/ 23 h 30"/>
                <a:gd name="T64" fmla="*/ 332 w 333"/>
                <a:gd name="T65" fmla="*/ 20 h 30"/>
                <a:gd name="T66" fmla="*/ 333 w 333"/>
                <a:gd name="T67" fmla="*/ 18 h 30"/>
                <a:gd name="T68" fmla="*/ 333 w 333"/>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3" h="30">
                  <a:moveTo>
                    <a:pt x="333" y="15"/>
                  </a:moveTo>
                  <a:lnTo>
                    <a:pt x="333" y="12"/>
                  </a:lnTo>
                  <a:lnTo>
                    <a:pt x="332" y="8"/>
                  </a:lnTo>
                  <a:lnTo>
                    <a:pt x="331" y="6"/>
                  </a:lnTo>
                  <a:lnTo>
                    <a:pt x="329" y="4"/>
                  </a:lnTo>
                  <a:lnTo>
                    <a:pt x="327" y="2"/>
                  </a:lnTo>
                  <a:lnTo>
                    <a:pt x="324" y="1"/>
                  </a:lnTo>
                  <a:lnTo>
                    <a:pt x="322" y="0"/>
                  </a:lnTo>
                  <a:lnTo>
                    <a:pt x="318"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29"/>
                  </a:lnTo>
                  <a:lnTo>
                    <a:pt x="15" y="30"/>
                  </a:lnTo>
                  <a:lnTo>
                    <a:pt x="318" y="30"/>
                  </a:lnTo>
                  <a:lnTo>
                    <a:pt x="322" y="29"/>
                  </a:lnTo>
                  <a:lnTo>
                    <a:pt x="324" y="29"/>
                  </a:lnTo>
                  <a:lnTo>
                    <a:pt x="327" y="27"/>
                  </a:lnTo>
                  <a:lnTo>
                    <a:pt x="329" y="26"/>
                  </a:lnTo>
                  <a:lnTo>
                    <a:pt x="331" y="23"/>
                  </a:lnTo>
                  <a:lnTo>
                    <a:pt x="332" y="20"/>
                  </a:lnTo>
                  <a:lnTo>
                    <a:pt x="333" y="18"/>
                  </a:lnTo>
                  <a:lnTo>
                    <a:pt x="33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211">
              <a:extLst>
                <a:ext uri="{FF2B5EF4-FFF2-40B4-BE49-F238E27FC236}">
                  <a16:creationId xmlns:a16="http://schemas.microsoft.com/office/drawing/2014/main" id="{17D24D73-808D-4F7C-9104-51039356DE8E}"/>
                </a:ext>
              </a:extLst>
            </p:cNvPr>
            <p:cNvSpPr>
              <a:spLocks/>
            </p:cNvSpPr>
            <p:nvPr/>
          </p:nvSpPr>
          <p:spPr bwMode="auto">
            <a:xfrm>
              <a:off x="11672888" y="2030095"/>
              <a:ext cx="58738" cy="9525"/>
            </a:xfrm>
            <a:custGeom>
              <a:avLst/>
              <a:gdLst>
                <a:gd name="T0" fmla="*/ 166 w 181"/>
                <a:gd name="T1" fmla="*/ 0 h 30"/>
                <a:gd name="T2" fmla="*/ 15 w 181"/>
                <a:gd name="T3" fmla="*/ 0 h 30"/>
                <a:gd name="T4" fmla="*/ 12 w 181"/>
                <a:gd name="T5" fmla="*/ 0 h 30"/>
                <a:gd name="T6" fmla="*/ 10 w 181"/>
                <a:gd name="T7" fmla="*/ 1 h 30"/>
                <a:gd name="T8" fmla="*/ 6 w 181"/>
                <a:gd name="T9" fmla="*/ 2 h 30"/>
                <a:gd name="T10" fmla="*/ 4 w 181"/>
                <a:gd name="T11" fmla="*/ 4 h 30"/>
                <a:gd name="T12" fmla="*/ 2 w 181"/>
                <a:gd name="T13" fmla="*/ 6 h 30"/>
                <a:gd name="T14" fmla="*/ 1 w 181"/>
                <a:gd name="T15" fmla="*/ 9 h 30"/>
                <a:gd name="T16" fmla="*/ 0 w 181"/>
                <a:gd name="T17" fmla="*/ 12 h 30"/>
                <a:gd name="T18" fmla="*/ 0 w 181"/>
                <a:gd name="T19" fmla="*/ 15 h 30"/>
                <a:gd name="T20" fmla="*/ 0 w 181"/>
                <a:gd name="T21" fmla="*/ 18 h 30"/>
                <a:gd name="T22" fmla="*/ 1 w 181"/>
                <a:gd name="T23" fmla="*/ 20 h 30"/>
                <a:gd name="T24" fmla="*/ 2 w 181"/>
                <a:gd name="T25" fmla="*/ 24 h 30"/>
                <a:gd name="T26" fmla="*/ 4 w 181"/>
                <a:gd name="T27" fmla="*/ 26 h 30"/>
                <a:gd name="T28" fmla="*/ 6 w 181"/>
                <a:gd name="T29" fmla="*/ 28 h 30"/>
                <a:gd name="T30" fmla="*/ 10 w 181"/>
                <a:gd name="T31" fmla="*/ 29 h 30"/>
                <a:gd name="T32" fmla="*/ 12 w 181"/>
                <a:gd name="T33" fmla="*/ 30 h 30"/>
                <a:gd name="T34" fmla="*/ 15 w 181"/>
                <a:gd name="T35" fmla="*/ 30 h 30"/>
                <a:gd name="T36" fmla="*/ 166 w 181"/>
                <a:gd name="T37" fmla="*/ 30 h 30"/>
                <a:gd name="T38" fmla="*/ 169 w 181"/>
                <a:gd name="T39" fmla="*/ 30 h 30"/>
                <a:gd name="T40" fmla="*/ 173 w 181"/>
                <a:gd name="T41" fmla="*/ 29 h 30"/>
                <a:gd name="T42" fmla="*/ 175 w 181"/>
                <a:gd name="T43" fmla="*/ 28 h 30"/>
                <a:gd name="T44" fmla="*/ 177 w 181"/>
                <a:gd name="T45" fmla="*/ 26 h 30"/>
                <a:gd name="T46" fmla="*/ 179 w 181"/>
                <a:gd name="T47" fmla="*/ 24 h 30"/>
                <a:gd name="T48" fmla="*/ 180 w 181"/>
                <a:gd name="T49" fmla="*/ 20 h 30"/>
                <a:gd name="T50" fmla="*/ 181 w 181"/>
                <a:gd name="T51" fmla="*/ 18 h 30"/>
                <a:gd name="T52" fmla="*/ 181 w 181"/>
                <a:gd name="T53" fmla="*/ 15 h 30"/>
                <a:gd name="T54" fmla="*/ 181 w 181"/>
                <a:gd name="T55" fmla="*/ 12 h 30"/>
                <a:gd name="T56" fmla="*/ 180 w 181"/>
                <a:gd name="T57" fmla="*/ 9 h 30"/>
                <a:gd name="T58" fmla="*/ 179 w 181"/>
                <a:gd name="T59" fmla="*/ 6 h 30"/>
                <a:gd name="T60" fmla="*/ 177 w 181"/>
                <a:gd name="T61" fmla="*/ 4 h 30"/>
                <a:gd name="T62" fmla="*/ 175 w 181"/>
                <a:gd name="T63" fmla="*/ 2 h 30"/>
                <a:gd name="T64" fmla="*/ 173 w 181"/>
                <a:gd name="T65" fmla="*/ 1 h 30"/>
                <a:gd name="T66" fmla="*/ 169 w 181"/>
                <a:gd name="T67" fmla="*/ 0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0"/>
                  </a:lnTo>
                  <a:lnTo>
                    <a:pt x="10" y="1"/>
                  </a:lnTo>
                  <a:lnTo>
                    <a:pt x="6" y="2"/>
                  </a:lnTo>
                  <a:lnTo>
                    <a:pt x="4" y="4"/>
                  </a:lnTo>
                  <a:lnTo>
                    <a:pt x="2" y="6"/>
                  </a:lnTo>
                  <a:lnTo>
                    <a:pt x="1" y="9"/>
                  </a:lnTo>
                  <a:lnTo>
                    <a:pt x="0" y="12"/>
                  </a:lnTo>
                  <a:lnTo>
                    <a:pt x="0" y="15"/>
                  </a:lnTo>
                  <a:lnTo>
                    <a:pt x="0" y="18"/>
                  </a:lnTo>
                  <a:lnTo>
                    <a:pt x="1" y="20"/>
                  </a:lnTo>
                  <a:lnTo>
                    <a:pt x="2" y="24"/>
                  </a:lnTo>
                  <a:lnTo>
                    <a:pt x="4" y="26"/>
                  </a:lnTo>
                  <a:lnTo>
                    <a:pt x="6" y="28"/>
                  </a:lnTo>
                  <a:lnTo>
                    <a:pt x="10" y="29"/>
                  </a:lnTo>
                  <a:lnTo>
                    <a:pt x="12" y="30"/>
                  </a:lnTo>
                  <a:lnTo>
                    <a:pt x="15" y="30"/>
                  </a:lnTo>
                  <a:lnTo>
                    <a:pt x="166" y="30"/>
                  </a:lnTo>
                  <a:lnTo>
                    <a:pt x="169" y="30"/>
                  </a:lnTo>
                  <a:lnTo>
                    <a:pt x="173" y="29"/>
                  </a:lnTo>
                  <a:lnTo>
                    <a:pt x="175" y="28"/>
                  </a:lnTo>
                  <a:lnTo>
                    <a:pt x="177" y="26"/>
                  </a:lnTo>
                  <a:lnTo>
                    <a:pt x="179" y="24"/>
                  </a:lnTo>
                  <a:lnTo>
                    <a:pt x="180" y="20"/>
                  </a:lnTo>
                  <a:lnTo>
                    <a:pt x="181" y="18"/>
                  </a:lnTo>
                  <a:lnTo>
                    <a:pt x="181" y="15"/>
                  </a:lnTo>
                  <a:lnTo>
                    <a:pt x="181" y="12"/>
                  </a:lnTo>
                  <a:lnTo>
                    <a:pt x="180" y="9"/>
                  </a:lnTo>
                  <a:lnTo>
                    <a:pt x="179" y="6"/>
                  </a:lnTo>
                  <a:lnTo>
                    <a:pt x="177" y="4"/>
                  </a:lnTo>
                  <a:lnTo>
                    <a:pt x="175" y="2"/>
                  </a:lnTo>
                  <a:lnTo>
                    <a:pt x="173" y="1"/>
                  </a:lnTo>
                  <a:lnTo>
                    <a:pt x="169"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212">
              <a:extLst>
                <a:ext uri="{FF2B5EF4-FFF2-40B4-BE49-F238E27FC236}">
                  <a16:creationId xmlns:a16="http://schemas.microsoft.com/office/drawing/2014/main" id="{62545CF6-C5DC-4B9D-B16C-04F7A6F26EC8}"/>
                </a:ext>
              </a:extLst>
            </p:cNvPr>
            <p:cNvSpPr>
              <a:spLocks/>
            </p:cNvSpPr>
            <p:nvPr/>
          </p:nvSpPr>
          <p:spPr bwMode="auto">
            <a:xfrm>
              <a:off x="11672888" y="2068195"/>
              <a:ext cx="58738" cy="9525"/>
            </a:xfrm>
            <a:custGeom>
              <a:avLst/>
              <a:gdLst>
                <a:gd name="T0" fmla="*/ 166 w 181"/>
                <a:gd name="T1" fmla="*/ 0 h 30"/>
                <a:gd name="T2" fmla="*/ 15 w 181"/>
                <a:gd name="T3" fmla="*/ 0 h 30"/>
                <a:gd name="T4" fmla="*/ 12 w 181"/>
                <a:gd name="T5" fmla="*/ 0 h 30"/>
                <a:gd name="T6" fmla="*/ 10 w 181"/>
                <a:gd name="T7" fmla="*/ 1 h 30"/>
                <a:gd name="T8" fmla="*/ 6 w 181"/>
                <a:gd name="T9" fmla="*/ 2 h 30"/>
                <a:gd name="T10" fmla="*/ 4 w 181"/>
                <a:gd name="T11" fmla="*/ 4 h 30"/>
                <a:gd name="T12" fmla="*/ 2 w 181"/>
                <a:gd name="T13" fmla="*/ 6 h 30"/>
                <a:gd name="T14" fmla="*/ 1 w 181"/>
                <a:gd name="T15" fmla="*/ 10 h 30"/>
                <a:gd name="T16" fmla="*/ 0 w 181"/>
                <a:gd name="T17" fmla="*/ 12 h 30"/>
                <a:gd name="T18" fmla="*/ 0 w 181"/>
                <a:gd name="T19" fmla="*/ 15 h 30"/>
                <a:gd name="T20" fmla="*/ 0 w 181"/>
                <a:gd name="T21" fmla="*/ 18 h 30"/>
                <a:gd name="T22" fmla="*/ 1 w 181"/>
                <a:gd name="T23" fmla="*/ 20 h 30"/>
                <a:gd name="T24" fmla="*/ 2 w 181"/>
                <a:gd name="T25" fmla="*/ 24 h 30"/>
                <a:gd name="T26" fmla="*/ 4 w 181"/>
                <a:gd name="T27" fmla="*/ 26 h 30"/>
                <a:gd name="T28" fmla="*/ 6 w 181"/>
                <a:gd name="T29" fmla="*/ 28 h 30"/>
                <a:gd name="T30" fmla="*/ 10 w 181"/>
                <a:gd name="T31" fmla="*/ 29 h 30"/>
                <a:gd name="T32" fmla="*/ 12 w 181"/>
                <a:gd name="T33" fmla="*/ 30 h 30"/>
                <a:gd name="T34" fmla="*/ 15 w 181"/>
                <a:gd name="T35" fmla="*/ 30 h 30"/>
                <a:gd name="T36" fmla="*/ 166 w 181"/>
                <a:gd name="T37" fmla="*/ 30 h 30"/>
                <a:gd name="T38" fmla="*/ 169 w 181"/>
                <a:gd name="T39" fmla="*/ 30 h 30"/>
                <a:gd name="T40" fmla="*/ 173 w 181"/>
                <a:gd name="T41" fmla="*/ 29 h 30"/>
                <a:gd name="T42" fmla="*/ 175 w 181"/>
                <a:gd name="T43" fmla="*/ 28 h 30"/>
                <a:gd name="T44" fmla="*/ 177 w 181"/>
                <a:gd name="T45" fmla="*/ 26 h 30"/>
                <a:gd name="T46" fmla="*/ 179 w 181"/>
                <a:gd name="T47" fmla="*/ 24 h 30"/>
                <a:gd name="T48" fmla="*/ 180 w 181"/>
                <a:gd name="T49" fmla="*/ 21 h 30"/>
                <a:gd name="T50" fmla="*/ 181 w 181"/>
                <a:gd name="T51" fmla="*/ 18 h 30"/>
                <a:gd name="T52" fmla="*/ 181 w 181"/>
                <a:gd name="T53" fmla="*/ 15 h 30"/>
                <a:gd name="T54" fmla="*/ 181 w 181"/>
                <a:gd name="T55" fmla="*/ 12 h 30"/>
                <a:gd name="T56" fmla="*/ 180 w 181"/>
                <a:gd name="T57" fmla="*/ 10 h 30"/>
                <a:gd name="T58" fmla="*/ 179 w 181"/>
                <a:gd name="T59" fmla="*/ 6 h 30"/>
                <a:gd name="T60" fmla="*/ 177 w 181"/>
                <a:gd name="T61" fmla="*/ 4 h 30"/>
                <a:gd name="T62" fmla="*/ 175 w 181"/>
                <a:gd name="T63" fmla="*/ 2 h 30"/>
                <a:gd name="T64" fmla="*/ 173 w 181"/>
                <a:gd name="T65" fmla="*/ 1 h 30"/>
                <a:gd name="T66" fmla="*/ 169 w 181"/>
                <a:gd name="T67" fmla="*/ 0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0"/>
                  </a:lnTo>
                  <a:lnTo>
                    <a:pt x="10" y="1"/>
                  </a:lnTo>
                  <a:lnTo>
                    <a:pt x="6" y="2"/>
                  </a:lnTo>
                  <a:lnTo>
                    <a:pt x="4" y="4"/>
                  </a:lnTo>
                  <a:lnTo>
                    <a:pt x="2" y="6"/>
                  </a:lnTo>
                  <a:lnTo>
                    <a:pt x="1" y="10"/>
                  </a:lnTo>
                  <a:lnTo>
                    <a:pt x="0" y="12"/>
                  </a:lnTo>
                  <a:lnTo>
                    <a:pt x="0" y="15"/>
                  </a:lnTo>
                  <a:lnTo>
                    <a:pt x="0" y="18"/>
                  </a:lnTo>
                  <a:lnTo>
                    <a:pt x="1" y="20"/>
                  </a:lnTo>
                  <a:lnTo>
                    <a:pt x="2" y="24"/>
                  </a:lnTo>
                  <a:lnTo>
                    <a:pt x="4" y="26"/>
                  </a:lnTo>
                  <a:lnTo>
                    <a:pt x="6" y="28"/>
                  </a:lnTo>
                  <a:lnTo>
                    <a:pt x="10" y="29"/>
                  </a:lnTo>
                  <a:lnTo>
                    <a:pt x="12" y="30"/>
                  </a:lnTo>
                  <a:lnTo>
                    <a:pt x="15" y="30"/>
                  </a:lnTo>
                  <a:lnTo>
                    <a:pt x="166" y="30"/>
                  </a:lnTo>
                  <a:lnTo>
                    <a:pt x="169" y="30"/>
                  </a:lnTo>
                  <a:lnTo>
                    <a:pt x="173" y="29"/>
                  </a:lnTo>
                  <a:lnTo>
                    <a:pt x="175" y="28"/>
                  </a:lnTo>
                  <a:lnTo>
                    <a:pt x="177" y="26"/>
                  </a:lnTo>
                  <a:lnTo>
                    <a:pt x="179" y="24"/>
                  </a:lnTo>
                  <a:lnTo>
                    <a:pt x="180" y="21"/>
                  </a:lnTo>
                  <a:lnTo>
                    <a:pt x="181" y="18"/>
                  </a:lnTo>
                  <a:lnTo>
                    <a:pt x="181" y="15"/>
                  </a:lnTo>
                  <a:lnTo>
                    <a:pt x="181" y="12"/>
                  </a:lnTo>
                  <a:lnTo>
                    <a:pt x="180" y="10"/>
                  </a:lnTo>
                  <a:lnTo>
                    <a:pt x="179" y="6"/>
                  </a:lnTo>
                  <a:lnTo>
                    <a:pt x="177" y="4"/>
                  </a:lnTo>
                  <a:lnTo>
                    <a:pt x="175" y="2"/>
                  </a:lnTo>
                  <a:lnTo>
                    <a:pt x="173" y="1"/>
                  </a:lnTo>
                  <a:lnTo>
                    <a:pt x="169"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213">
              <a:extLst>
                <a:ext uri="{FF2B5EF4-FFF2-40B4-BE49-F238E27FC236}">
                  <a16:creationId xmlns:a16="http://schemas.microsoft.com/office/drawing/2014/main" id="{594DE7F8-F77B-4C01-8316-4CC2C7C91F4C}"/>
                </a:ext>
              </a:extLst>
            </p:cNvPr>
            <p:cNvSpPr>
              <a:spLocks/>
            </p:cNvSpPr>
            <p:nvPr/>
          </p:nvSpPr>
          <p:spPr bwMode="auto">
            <a:xfrm>
              <a:off x="11672888" y="2106295"/>
              <a:ext cx="46038" cy="9525"/>
            </a:xfrm>
            <a:custGeom>
              <a:avLst/>
              <a:gdLst>
                <a:gd name="T0" fmla="*/ 129 w 144"/>
                <a:gd name="T1" fmla="*/ 0 h 30"/>
                <a:gd name="T2" fmla="*/ 15 w 144"/>
                <a:gd name="T3" fmla="*/ 0 h 30"/>
                <a:gd name="T4" fmla="*/ 12 w 144"/>
                <a:gd name="T5" fmla="*/ 0 h 30"/>
                <a:gd name="T6" fmla="*/ 10 w 144"/>
                <a:gd name="T7" fmla="*/ 1 h 30"/>
                <a:gd name="T8" fmla="*/ 6 w 144"/>
                <a:gd name="T9" fmla="*/ 3 h 30"/>
                <a:gd name="T10" fmla="*/ 4 w 144"/>
                <a:gd name="T11" fmla="*/ 4 h 30"/>
                <a:gd name="T12" fmla="*/ 2 w 144"/>
                <a:gd name="T13" fmla="*/ 7 h 30"/>
                <a:gd name="T14" fmla="*/ 1 w 144"/>
                <a:gd name="T15" fmla="*/ 10 h 30"/>
                <a:gd name="T16" fmla="*/ 0 w 144"/>
                <a:gd name="T17" fmla="*/ 12 h 30"/>
                <a:gd name="T18" fmla="*/ 0 w 144"/>
                <a:gd name="T19" fmla="*/ 15 h 30"/>
                <a:gd name="T20" fmla="*/ 0 w 144"/>
                <a:gd name="T21" fmla="*/ 18 h 30"/>
                <a:gd name="T22" fmla="*/ 1 w 144"/>
                <a:gd name="T23" fmla="*/ 22 h 30"/>
                <a:gd name="T24" fmla="*/ 2 w 144"/>
                <a:gd name="T25" fmla="*/ 24 h 30"/>
                <a:gd name="T26" fmla="*/ 4 w 144"/>
                <a:gd name="T27" fmla="*/ 26 h 30"/>
                <a:gd name="T28" fmla="*/ 6 w 144"/>
                <a:gd name="T29" fmla="*/ 28 h 30"/>
                <a:gd name="T30" fmla="*/ 10 w 144"/>
                <a:gd name="T31" fmla="*/ 29 h 30"/>
                <a:gd name="T32" fmla="*/ 12 w 144"/>
                <a:gd name="T33" fmla="*/ 30 h 30"/>
                <a:gd name="T34" fmla="*/ 15 w 144"/>
                <a:gd name="T35" fmla="*/ 30 h 30"/>
                <a:gd name="T36" fmla="*/ 129 w 144"/>
                <a:gd name="T37" fmla="*/ 30 h 30"/>
                <a:gd name="T38" fmla="*/ 132 w 144"/>
                <a:gd name="T39" fmla="*/ 30 h 30"/>
                <a:gd name="T40" fmla="*/ 135 w 144"/>
                <a:gd name="T41" fmla="*/ 29 h 30"/>
                <a:gd name="T42" fmla="*/ 137 w 144"/>
                <a:gd name="T43" fmla="*/ 28 h 30"/>
                <a:gd name="T44" fmla="*/ 139 w 144"/>
                <a:gd name="T45" fmla="*/ 26 h 30"/>
                <a:gd name="T46" fmla="*/ 142 w 144"/>
                <a:gd name="T47" fmla="*/ 24 h 30"/>
                <a:gd name="T48" fmla="*/ 143 w 144"/>
                <a:gd name="T49" fmla="*/ 22 h 30"/>
                <a:gd name="T50" fmla="*/ 144 w 144"/>
                <a:gd name="T51" fmla="*/ 18 h 30"/>
                <a:gd name="T52" fmla="*/ 144 w 144"/>
                <a:gd name="T53" fmla="*/ 15 h 30"/>
                <a:gd name="T54" fmla="*/ 144 w 144"/>
                <a:gd name="T55" fmla="*/ 12 h 30"/>
                <a:gd name="T56" fmla="*/ 143 w 144"/>
                <a:gd name="T57" fmla="*/ 10 h 30"/>
                <a:gd name="T58" fmla="*/ 142 w 144"/>
                <a:gd name="T59" fmla="*/ 7 h 30"/>
                <a:gd name="T60" fmla="*/ 139 w 144"/>
                <a:gd name="T61" fmla="*/ 4 h 30"/>
                <a:gd name="T62" fmla="*/ 137 w 144"/>
                <a:gd name="T63" fmla="*/ 3 h 30"/>
                <a:gd name="T64" fmla="*/ 135 w 144"/>
                <a:gd name="T65" fmla="*/ 1 h 30"/>
                <a:gd name="T66" fmla="*/ 132 w 144"/>
                <a:gd name="T67" fmla="*/ 0 h 30"/>
                <a:gd name="T68" fmla="*/ 129 w 144"/>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30">
                  <a:moveTo>
                    <a:pt x="129" y="0"/>
                  </a:moveTo>
                  <a:lnTo>
                    <a:pt x="15" y="0"/>
                  </a:lnTo>
                  <a:lnTo>
                    <a:pt x="12" y="0"/>
                  </a:lnTo>
                  <a:lnTo>
                    <a:pt x="10" y="1"/>
                  </a:lnTo>
                  <a:lnTo>
                    <a:pt x="6" y="3"/>
                  </a:lnTo>
                  <a:lnTo>
                    <a:pt x="4" y="4"/>
                  </a:lnTo>
                  <a:lnTo>
                    <a:pt x="2" y="7"/>
                  </a:lnTo>
                  <a:lnTo>
                    <a:pt x="1" y="10"/>
                  </a:lnTo>
                  <a:lnTo>
                    <a:pt x="0" y="12"/>
                  </a:lnTo>
                  <a:lnTo>
                    <a:pt x="0" y="15"/>
                  </a:lnTo>
                  <a:lnTo>
                    <a:pt x="0" y="18"/>
                  </a:lnTo>
                  <a:lnTo>
                    <a:pt x="1" y="22"/>
                  </a:lnTo>
                  <a:lnTo>
                    <a:pt x="2" y="24"/>
                  </a:lnTo>
                  <a:lnTo>
                    <a:pt x="4" y="26"/>
                  </a:lnTo>
                  <a:lnTo>
                    <a:pt x="6" y="28"/>
                  </a:lnTo>
                  <a:lnTo>
                    <a:pt x="10" y="29"/>
                  </a:lnTo>
                  <a:lnTo>
                    <a:pt x="12" y="30"/>
                  </a:lnTo>
                  <a:lnTo>
                    <a:pt x="15" y="30"/>
                  </a:lnTo>
                  <a:lnTo>
                    <a:pt x="129" y="30"/>
                  </a:lnTo>
                  <a:lnTo>
                    <a:pt x="132" y="30"/>
                  </a:lnTo>
                  <a:lnTo>
                    <a:pt x="135" y="29"/>
                  </a:lnTo>
                  <a:lnTo>
                    <a:pt x="137" y="28"/>
                  </a:lnTo>
                  <a:lnTo>
                    <a:pt x="139" y="26"/>
                  </a:lnTo>
                  <a:lnTo>
                    <a:pt x="142" y="24"/>
                  </a:lnTo>
                  <a:lnTo>
                    <a:pt x="143" y="22"/>
                  </a:lnTo>
                  <a:lnTo>
                    <a:pt x="144" y="18"/>
                  </a:lnTo>
                  <a:lnTo>
                    <a:pt x="144" y="15"/>
                  </a:lnTo>
                  <a:lnTo>
                    <a:pt x="144" y="12"/>
                  </a:lnTo>
                  <a:lnTo>
                    <a:pt x="143" y="10"/>
                  </a:lnTo>
                  <a:lnTo>
                    <a:pt x="142" y="7"/>
                  </a:lnTo>
                  <a:lnTo>
                    <a:pt x="139" y="4"/>
                  </a:lnTo>
                  <a:lnTo>
                    <a:pt x="137" y="3"/>
                  </a:lnTo>
                  <a:lnTo>
                    <a:pt x="135" y="1"/>
                  </a:lnTo>
                  <a:lnTo>
                    <a:pt x="132"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214">
              <a:extLst>
                <a:ext uri="{FF2B5EF4-FFF2-40B4-BE49-F238E27FC236}">
                  <a16:creationId xmlns:a16="http://schemas.microsoft.com/office/drawing/2014/main" id="{CC2957F7-C844-4D86-838E-327718C8BA3F}"/>
                </a:ext>
              </a:extLst>
            </p:cNvPr>
            <p:cNvSpPr>
              <a:spLocks/>
            </p:cNvSpPr>
            <p:nvPr/>
          </p:nvSpPr>
          <p:spPr bwMode="auto">
            <a:xfrm>
              <a:off x="11758613" y="2044383"/>
              <a:ext cx="44450" cy="109538"/>
            </a:xfrm>
            <a:custGeom>
              <a:avLst/>
              <a:gdLst>
                <a:gd name="T0" fmla="*/ 88 w 144"/>
                <a:gd name="T1" fmla="*/ 76 h 345"/>
                <a:gd name="T2" fmla="*/ 106 w 144"/>
                <a:gd name="T3" fmla="*/ 91 h 345"/>
                <a:gd name="T4" fmla="*/ 114 w 144"/>
                <a:gd name="T5" fmla="*/ 115 h 345"/>
                <a:gd name="T6" fmla="*/ 116 w 144"/>
                <a:gd name="T7" fmla="*/ 122 h 345"/>
                <a:gd name="T8" fmla="*/ 122 w 144"/>
                <a:gd name="T9" fmla="*/ 129 h 345"/>
                <a:gd name="T10" fmla="*/ 131 w 144"/>
                <a:gd name="T11" fmla="*/ 129 h 345"/>
                <a:gd name="T12" fmla="*/ 138 w 144"/>
                <a:gd name="T13" fmla="*/ 125 h 345"/>
                <a:gd name="T14" fmla="*/ 143 w 144"/>
                <a:gd name="T15" fmla="*/ 117 h 345"/>
                <a:gd name="T16" fmla="*/ 143 w 144"/>
                <a:gd name="T17" fmla="*/ 102 h 345"/>
                <a:gd name="T18" fmla="*/ 134 w 144"/>
                <a:gd name="T19" fmla="*/ 78 h 345"/>
                <a:gd name="T20" fmla="*/ 109 w 144"/>
                <a:gd name="T21" fmla="*/ 54 h 345"/>
                <a:gd name="T22" fmla="*/ 87 w 144"/>
                <a:gd name="T23" fmla="*/ 15 h 345"/>
                <a:gd name="T24" fmla="*/ 84 w 144"/>
                <a:gd name="T25" fmla="*/ 6 h 345"/>
                <a:gd name="T26" fmla="*/ 77 w 144"/>
                <a:gd name="T27" fmla="*/ 1 h 345"/>
                <a:gd name="T28" fmla="*/ 69 w 144"/>
                <a:gd name="T29" fmla="*/ 0 h 345"/>
                <a:gd name="T30" fmla="*/ 61 w 144"/>
                <a:gd name="T31" fmla="*/ 4 h 345"/>
                <a:gd name="T32" fmla="*/ 57 w 144"/>
                <a:gd name="T33" fmla="*/ 12 h 345"/>
                <a:gd name="T34" fmla="*/ 45 w 144"/>
                <a:gd name="T35" fmla="*/ 47 h 345"/>
                <a:gd name="T36" fmla="*/ 16 w 144"/>
                <a:gd name="T37" fmla="*/ 69 h 345"/>
                <a:gd name="T38" fmla="*/ 2 w 144"/>
                <a:gd name="T39" fmla="*/ 95 h 345"/>
                <a:gd name="T40" fmla="*/ 0 w 144"/>
                <a:gd name="T41" fmla="*/ 115 h 345"/>
                <a:gd name="T42" fmla="*/ 3 w 144"/>
                <a:gd name="T43" fmla="*/ 136 h 345"/>
                <a:gd name="T44" fmla="*/ 12 w 144"/>
                <a:gd name="T45" fmla="*/ 154 h 345"/>
                <a:gd name="T46" fmla="*/ 26 w 144"/>
                <a:gd name="T47" fmla="*/ 169 h 345"/>
                <a:gd name="T48" fmla="*/ 43 w 144"/>
                <a:gd name="T49" fmla="*/ 180 h 345"/>
                <a:gd name="T50" fmla="*/ 64 w 144"/>
                <a:gd name="T51" fmla="*/ 185 h 345"/>
                <a:gd name="T52" fmla="*/ 88 w 144"/>
                <a:gd name="T53" fmla="*/ 190 h 345"/>
                <a:gd name="T54" fmla="*/ 106 w 144"/>
                <a:gd name="T55" fmla="*/ 205 h 345"/>
                <a:gd name="T56" fmla="*/ 114 w 144"/>
                <a:gd name="T57" fmla="*/ 228 h 345"/>
                <a:gd name="T58" fmla="*/ 106 w 144"/>
                <a:gd name="T59" fmla="*/ 251 h 345"/>
                <a:gd name="T60" fmla="*/ 88 w 144"/>
                <a:gd name="T61" fmla="*/ 267 h 345"/>
                <a:gd name="T62" fmla="*/ 63 w 144"/>
                <a:gd name="T63" fmla="*/ 269 h 345"/>
                <a:gd name="T64" fmla="*/ 42 w 144"/>
                <a:gd name="T65" fmla="*/ 257 h 345"/>
                <a:gd name="T66" fmla="*/ 30 w 144"/>
                <a:gd name="T67" fmla="*/ 236 h 345"/>
                <a:gd name="T68" fmla="*/ 28 w 144"/>
                <a:gd name="T69" fmla="*/ 222 h 345"/>
                <a:gd name="T70" fmla="*/ 22 w 144"/>
                <a:gd name="T71" fmla="*/ 216 h 345"/>
                <a:gd name="T72" fmla="*/ 15 w 144"/>
                <a:gd name="T73" fmla="*/ 213 h 345"/>
                <a:gd name="T74" fmla="*/ 6 w 144"/>
                <a:gd name="T75" fmla="*/ 216 h 345"/>
                <a:gd name="T76" fmla="*/ 1 w 144"/>
                <a:gd name="T77" fmla="*/ 222 h 345"/>
                <a:gd name="T78" fmla="*/ 0 w 144"/>
                <a:gd name="T79" fmla="*/ 235 h 345"/>
                <a:gd name="T80" fmla="*/ 4 w 144"/>
                <a:gd name="T81" fmla="*/ 253 h 345"/>
                <a:gd name="T82" fmla="*/ 24 w 144"/>
                <a:gd name="T83" fmla="*/ 282 h 345"/>
                <a:gd name="T84" fmla="*/ 57 w 144"/>
                <a:gd name="T85" fmla="*/ 298 h 345"/>
                <a:gd name="T86" fmla="*/ 58 w 144"/>
                <a:gd name="T87" fmla="*/ 337 h 345"/>
                <a:gd name="T88" fmla="*/ 63 w 144"/>
                <a:gd name="T89" fmla="*/ 343 h 345"/>
                <a:gd name="T90" fmla="*/ 72 w 144"/>
                <a:gd name="T91" fmla="*/ 345 h 345"/>
                <a:gd name="T92" fmla="*/ 79 w 144"/>
                <a:gd name="T93" fmla="*/ 343 h 345"/>
                <a:gd name="T94" fmla="*/ 85 w 144"/>
                <a:gd name="T95" fmla="*/ 337 h 345"/>
                <a:gd name="T96" fmla="*/ 87 w 144"/>
                <a:gd name="T97" fmla="*/ 298 h 345"/>
                <a:gd name="T98" fmla="*/ 119 w 144"/>
                <a:gd name="T99" fmla="*/ 282 h 345"/>
                <a:gd name="T100" fmla="*/ 139 w 144"/>
                <a:gd name="T101" fmla="*/ 253 h 345"/>
                <a:gd name="T102" fmla="*/ 143 w 144"/>
                <a:gd name="T103" fmla="*/ 235 h 345"/>
                <a:gd name="T104" fmla="*/ 141 w 144"/>
                <a:gd name="T105" fmla="*/ 213 h 345"/>
                <a:gd name="T106" fmla="*/ 134 w 144"/>
                <a:gd name="T107" fmla="*/ 194 h 345"/>
                <a:gd name="T108" fmla="*/ 122 w 144"/>
                <a:gd name="T109" fmla="*/ 177 h 345"/>
                <a:gd name="T110" fmla="*/ 106 w 144"/>
                <a:gd name="T111" fmla="*/ 165 h 345"/>
                <a:gd name="T112" fmla="*/ 86 w 144"/>
                <a:gd name="T113" fmla="*/ 158 h 345"/>
                <a:gd name="T114" fmla="*/ 63 w 144"/>
                <a:gd name="T115" fmla="*/ 155 h 345"/>
                <a:gd name="T116" fmla="*/ 42 w 144"/>
                <a:gd name="T117" fmla="*/ 144 h 345"/>
                <a:gd name="T118" fmla="*/ 30 w 144"/>
                <a:gd name="T119" fmla="*/ 122 h 345"/>
                <a:gd name="T120" fmla="*/ 33 w 144"/>
                <a:gd name="T121" fmla="*/ 98 h 345"/>
                <a:gd name="T122" fmla="*/ 48 w 144"/>
                <a:gd name="T123" fmla="*/ 79 h 345"/>
                <a:gd name="T124" fmla="*/ 72 w 144"/>
                <a:gd name="T125" fmla="*/ 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 h="345">
                  <a:moveTo>
                    <a:pt x="72" y="72"/>
                  </a:moveTo>
                  <a:lnTo>
                    <a:pt x="79" y="73"/>
                  </a:lnTo>
                  <a:lnTo>
                    <a:pt x="88" y="76"/>
                  </a:lnTo>
                  <a:lnTo>
                    <a:pt x="94" y="79"/>
                  </a:lnTo>
                  <a:lnTo>
                    <a:pt x="101" y="85"/>
                  </a:lnTo>
                  <a:lnTo>
                    <a:pt x="106" y="91"/>
                  </a:lnTo>
                  <a:lnTo>
                    <a:pt x="109" y="98"/>
                  </a:lnTo>
                  <a:lnTo>
                    <a:pt x="113" y="106"/>
                  </a:lnTo>
                  <a:lnTo>
                    <a:pt x="114" y="115"/>
                  </a:lnTo>
                  <a:lnTo>
                    <a:pt x="114" y="117"/>
                  </a:lnTo>
                  <a:lnTo>
                    <a:pt x="115" y="120"/>
                  </a:lnTo>
                  <a:lnTo>
                    <a:pt x="116" y="122"/>
                  </a:lnTo>
                  <a:lnTo>
                    <a:pt x="118" y="125"/>
                  </a:lnTo>
                  <a:lnTo>
                    <a:pt x="120" y="126"/>
                  </a:lnTo>
                  <a:lnTo>
                    <a:pt x="122" y="129"/>
                  </a:lnTo>
                  <a:lnTo>
                    <a:pt x="125" y="129"/>
                  </a:lnTo>
                  <a:lnTo>
                    <a:pt x="129" y="130"/>
                  </a:lnTo>
                  <a:lnTo>
                    <a:pt x="131" y="129"/>
                  </a:lnTo>
                  <a:lnTo>
                    <a:pt x="134" y="129"/>
                  </a:lnTo>
                  <a:lnTo>
                    <a:pt x="136" y="126"/>
                  </a:lnTo>
                  <a:lnTo>
                    <a:pt x="138" y="125"/>
                  </a:lnTo>
                  <a:lnTo>
                    <a:pt x="140" y="122"/>
                  </a:lnTo>
                  <a:lnTo>
                    <a:pt x="141" y="120"/>
                  </a:lnTo>
                  <a:lnTo>
                    <a:pt x="143" y="117"/>
                  </a:lnTo>
                  <a:lnTo>
                    <a:pt x="144" y="115"/>
                  </a:lnTo>
                  <a:lnTo>
                    <a:pt x="143" y="108"/>
                  </a:lnTo>
                  <a:lnTo>
                    <a:pt x="143" y="102"/>
                  </a:lnTo>
                  <a:lnTo>
                    <a:pt x="140" y="95"/>
                  </a:lnTo>
                  <a:lnTo>
                    <a:pt x="139" y="90"/>
                  </a:lnTo>
                  <a:lnTo>
                    <a:pt x="134" y="78"/>
                  </a:lnTo>
                  <a:lnTo>
                    <a:pt x="126" y="69"/>
                  </a:lnTo>
                  <a:lnTo>
                    <a:pt x="119" y="60"/>
                  </a:lnTo>
                  <a:lnTo>
                    <a:pt x="109" y="54"/>
                  </a:lnTo>
                  <a:lnTo>
                    <a:pt x="99" y="47"/>
                  </a:lnTo>
                  <a:lnTo>
                    <a:pt x="87" y="44"/>
                  </a:lnTo>
                  <a:lnTo>
                    <a:pt x="87" y="15"/>
                  </a:lnTo>
                  <a:lnTo>
                    <a:pt x="86" y="12"/>
                  </a:lnTo>
                  <a:lnTo>
                    <a:pt x="85" y="9"/>
                  </a:lnTo>
                  <a:lnTo>
                    <a:pt x="84" y="6"/>
                  </a:lnTo>
                  <a:lnTo>
                    <a:pt x="81" y="4"/>
                  </a:lnTo>
                  <a:lnTo>
                    <a:pt x="79" y="2"/>
                  </a:lnTo>
                  <a:lnTo>
                    <a:pt x="77" y="1"/>
                  </a:lnTo>
                  <a:lnTo>
                    <a:pt x="74" y="0"/>
                  </a:lnTo>
                  <a:lnTo>
                    <a:pt x="72" y="0"/>
                  </a:lnTo>
                  <a:lnTo>
                    <a:pt x="69" y="0"/>
                  </a:lnTo>
                  <a:lnTo>
                    <a:pt x="65" y="1"/>
                  </a:lnTo>
                  <a:lnTo>
                    <a:pt x="63" y="2"/>
                  </a:lnTo>
                  <a:lnTo>
                    <a:pt x="61" y="4"/>
                  </a:lnTo>
                  <a:lnTo>
                    <a:pt x="59" y="6"/>
                  </a:lnTo>
                  <a:lnTo>
                    <a:pt x="58" y="10"/>
                  </a:lnTo>
                  <a:lnTo>
                    <a:pt x="57" y="12"/>
                  </a:lnTo>
                  <a:lnTo>
                    <a:pt x="57" y="15"/>
                  </a:lnTo>
                  <a:lnTo>
                    <a:pt x="57" y="44"/>
                  </a:lnTo>
                  <a:lnTo>
                    <a:pt x="45" y="47"/>
                  </a:lnTo>
                  <a:lnTo>
                    <a:pt x="33" y="53"/>
                  </a:lnTo>
                  <a:lnTo>
                    <a:pt x="24" y="60"/>
                  </a:lnTo>
                  <a:lnTo>
                    <a:pt x="16" y="69"/>
                  </a:lnTo>
                  <a:lnTo>
                    <a:pt x="9" y="78"/>
                  </a:lnTo>
                  <a:lnTo>
                    <a:pt x="4" y="90"/>
                  </a:lnTo>
                  <a:lnTo>
                    <a:pt x="2" y="95"/>
                  </a:lnTo>
                  <a:lnTo>
                    <a:pt x="1" y="102"/>
                  </a:lnTo>
                  <a:lnTo>
                    <a:pt x="0" y="108"/>
                  </a:lnTo>
                  <a:lnTo>
                    <a:pt x="0" y="115"/>
                  </a:lnTo>
                  <a:lnTo>
                    <a:pt x="0" y="121"/>
                  </a:lnTo>
                  <a:lnTo>
                    <a:pt x="1" y="129"/>
                  </a:lnTo>
                  <a:lnTo>
                    <a:pt x="3" y="136"/>
                  </a:lnTo>
                  <a:lnTo>
                    <a:pt x="5" y="143"/>
                  </a:lnTo>
                  <a:lnTo>
                    <a:pt x="9" y="149"/>
                  </a:lnTo>
                  <a:lnTo>
                    <a:pt x="12" y="154"/>
                  </a:lnTo>
                  <a:lnTo>
                    <a:pt x="16" y="160"/>
                  </a:lnTo>
                  <a:lnTo>
                    <a:pt x="20" y="165"/>
                  </a:lnTo>
                  <a:lnTo>
                    <a:pt x="26" y="169"/>
                  </a:lnTo>
                  <a:lnTo>
                    <a:pt x="31" y="174"/>
                  </a:lnTo>
                  <a:lnTo>
                    <a:pt x="37" y="178"/>
                  </a:lnTo>
                  <a:lnTo>
                    <a:pt x="43" y="180"/>
                  </a:lnTo>
                  <a:lnTo>
                    <a:pt x="50" y="183"/>
                  </a:lnTo>
                  <a:lnTo>
                    <a:pt x="57" y="184"/>
                  </a:lnTo>
                  <a:lnTo>
                    <a:pt x="64" y="185"/>
                  </a:lnTo>
                  <a:lnTo>
                    <a:pt x="72" y="187"/>
                  </a:lnTo>
                  <a:lnTo>
                    <a:pt x="79" y="187"/>
                  </a:lnTo>
                  <a:lnTo>
                    <a:pt x="88" y="190"/>
                  </a:lnTo>
                  <a:lnTo>
                    <a:pt x="94" y="193"/>
                  </a:lnTo>
                  <a:lnTo>
                    <a:pt x="101" y="198"/>
                  </a:lnTo>
                  <a:lnTo>
                    <a:pt x="106" y="205"/>
                  </a:lnTo>
                  <a:lnTo>
                    <a:pt x="109" y="211"/>
                  </a:lnTo>
                  <a:lnTo>
                    <a:pt x="113" y="220"/>
                  </a:lnTo>
                  <a:lnTo>
                    <a:pt x="114" y="228"/>
                  </a:lnTo>
                  <a:lnTo>
                    <a:pt x="113" y="236"/>
                  </a:lnTo>
                  <a:lnTo>
                    <a:pt x="109" y="244"/>
                  </a:lnTo>
                  <a:lnTo>
                    <a:pt x="106" y="251"/>
                  </a:lnTo>
                  <a:lnTo>
                    <a:pt x="101" y="257"/>
                  </a:lnTo>
                  <a:lnTo>
                    <a:pt x="94" y="263"/>
                  </a:lnTo>
                  <a:lnTo>
                    <a:pt x="88" y="267"/>
                  </a:lnTo>
                  <a:lnTo>
                    <a:pt x="79" y="269"/>
                  </a:lnTo>
                  <a:lnTo>
                    <a:pt x="72" y="270"/>
                  </a:lnTo>
                  <a:lnTo>
                    <a:pt x="63" y="269"/>
                  </a:lnTo>
                  <a:lnTo>
                    <a:pt x="55" y="267"/>
                  </a:lnTo>
                  <a:lnTo>
                    <a:pt x="48" y="263"/>
                  </a:lnTo>
                  <a:lnTo>
                    <a:pt x="42" y="257"/>
                  </a:lnTo>
                  <a:lnTo>
                    <a:pt x="36" y="251"/>
                  </a:lnTo>
                  <a:lnTo>
                    <a:pt x="33" y="244"/>
                  </a:lnTo>
                  <a:lnTo>
                    <a:pt x="30" y="236"/>
                  </a:lnTo>
                  <a:lnTo>
                    <a:pt x="30" y="228"/>
                  </a:lnTo>
                  <a:lnTo>
                    <a:pt x="29" y="225"/>
                  </a:lnTo>
                  <a:lnTo>
                    <a:pt x="28" y="222"/>
                  </a:lnTo>
                  <a:lnTo>
                    <a:pt x="27" y="220"/>
                  </a:lnTo>
                  <a:lnTo>
                    <a:pt x="25" y="218"/>
                  </a:lnTo>
                  <a:lnTo>
                    <a:pt x="22" y="216"/>
                  </a:lnTo>
                  <a:lnTo>
                    <a:pt x="20" y="214"/>
                  </a:lnTo>
                  <a:lnTo>
                    <a:pt x="17" y="213"/>
                  </a:lnTo>
                  <a:lnTo>
                    <a:pt x="15" y="213"/>
                  </a:lnTo>
                  <a:lnTo>
                    <a:pt x="12" y="213"/>
                  </a:lnTo>
                  <a:lnTo>
                    <a:pt x="9" y="214"/>
                  </a:lnTo>
                  <a:lnTo>
                    <a:pt x="6" y="216"/>
                  </a:lnTo>
                  <a:lnTo>
                    <a:pt x="4" y="218"/>
                  </a:lnTo>
                  <a:lnTo>
                    <a:pt x="2" y="220"/>
                  </a:lnTo>
                  <a:lnTo>
                    <a:pt x="1" y="222"/>
                  </a:lnTo>
                  <a:lnTo>
                    <a:pt x="0" y="225"/>
                  </a:lnTo>
                  <a:lnTo>
                    <a:pt x="0" y="228"/>
                  </a:lnTo>
                  <a:lnTo>
                    <a:pt x="0" y="235"/>
                  </a:lnTo>
                  <a:lnTo>
                    <a:pt x="1" y="240"/>
                  </a:lnTo>
                  <a:lnTo>
                    <a:pt x="2" y="247"/>
                  </a:lnTo>
                  <a:lnTo>
                    <a:pt x="4" y="253"/>
                  </a:lnTo>
                  <a:lnTo>
                    <a:pt x="9" y="264"/>
                  </a:lnTo>
                  <a:lnTo>
                    <a:pt x="16" y="273"/>
                  </a:lnTo>
                  <a:lnTo>
                    <a:pt x="24" y="282"/>
                  </a:lnTo>
                  <a:lnTo>
                    <a:pt x="33" y="289"/>
                  </a:lnTo>
                  <a:lnTo>
                    <a:pt x="45" y="295"/>
                  </a:lnTo>
                  <a:lnTo>
                    <a:pt x="57" y="298"/>
                  </a:lnTo>
                  <a:lnTo>
                    <a:pt x="57" y="330"/>
                  </a:lnTo>
                  <a:lnTo>
                    <a:pt x="57" y="333"/>
                  </a:lnTo>
                  <a:lnTo>
                    <a:pt x="58" y="337"/>
                  </a:lnTo>
                  <a:lnTo>
                    <a:pt x="59" y="339"/>
                  </a:lnTo>
                  <a:lnTo>
                    <a:pt x="61" y="341"/>
                  </a:lnTo>
                  <a:lnTo>
                    <a:pt x="63" y="343"/>
                  </a:lnTo>
                  <a:lnTo>
                    <a:pt x="65" y="344"/>
                  </a:lnTo>
                  <a:lnTo>
                    <a:pt x="69" y="345"/>
                  </a:lnTo>
                  <a:lnTo>
                    <a:pt x="72" y="345"/>
                  </a:lnTo>
                  <a:lnTo>
                    <a:pt x="74" y="345"/>
                  </a:lnTo>
                  <a:lnTo>
                    <a:pt x="77" y="344"/>
                  </a:lnTo>
                  <a:lnTo>
                    <a:pt x="79" y="343"/>
                  </a:lnTo>
                  <a:lnTo>
                    <a:pt x="81" y="341"/>
                  </a:lnTo>
                  <a:lnTo>
                    <a:pt x="84" y="339"/>
                  </a:lnTo>
                  <a:lnTo>
                    <a:pt x="85" y="337"/>
                  </a:lnTo>
                  <a:lnTo>
                    <a:pt x="86" y="333"/>
                  </a:lnTo>
                  <a:lnTo>
                    <a:pt x="87" y="330"/>
                  </a:lnTo>
                  <a:lnTo>
                    <a:pt x="87" y="298"/>
                  </a:lnTo>
                  <a:lnTo>
                    <a:pt x="99" y="295"/>
                  </a:lnTo>
                  <a:lnTo>
                    <a:pt x="109" y="289"/>
                  </a:lnTo>
                  <a:lnTo>
                    <a:pt x="119" y="282"/>
                  </a:lnTo>
                  <a:lnTo>
                    <a:pt x="126" y="273"/>
                  </a:lnTo>
                  <a:lnTo>
                    <a:pt x="134" y="264"/>
                  </a:lnTo>
                  <a:lnTo>
                    <a:pt x="139" y="253"/>
                  </a:lnTo>
                  <a:lnTo>
                    <a:pt x="140" y="247"/>
                  </a:lnTo>
                  <a:lnTo>
                    <a:pt x="143" y="240"/>
                  </a:lnTo>
                  <a:lnTo>
                    <a:pt x="143" y="235"/>
                  </a:lnTo>
                  <a:lnTo>
                    <a:pt x="144" y="228"/>
                  </a:lnTo>
                  <a:lnTo>
                    <a:pt x="143" y="221"/>
                  </a:lnTo>
                  <a:lnTo>
                    <a:pt x="141" y="213"/>
                  </a:lnTo>
                  <a:lnTo>
                    <a:pt x="140" y="207"/>
                  </a:lnTo>
                  <a:lnTo>
                    <a:pt x="137" y="200"/>
                  </a:lnTo>
                  <a:lnTo>
                    <a:pt x="134" y="194"/>
                  </a:lnTo>
                  <a:lnTo>
                    <a:pt x="131" y="188"/>
                  </a:lnTo>
                  <a:lnTo>
                    <a:pt x="126" y="182"/>
                  </a:lnTo>
                  <a:lnTo>
                    <a:pt x="122" y="177"/>
                  </a:lnTo>
                  <a:lnTo>
                    <a:pt x="117" y="173"/>
                  </a:lnTo>
                  <a:lnTo>
                    <a:pt x="111" y="168"/>
                  </a:lnTo>
                  <a:lnTo>
                    <a:pt x="106" y="165"/>
                  </a:lnTo>
                  <a:lnTo>
                    <a:pt x="100" y="162"/>
                  </a:lnTo>
                  <a:lnTo>
                    <a:pt x="92" y="160"/>
                  </a:lnTo>
                  <a:lnTo>
                    <a:pt x="86" y="158"/>
                  </a:lnTo>
                  <a:lnTo>
                    <a:pt x="78" y="157"/>
                  </a:lnTo>
                  <a:lnTo>
                    <a:pt x="72" y="157"/>
                  </a:lnTo>
                  <a:lnTo>
                    <a:pt x="63" y="155"/>
                  </a:lnTo>
                  <a:lnTo>
                    <a:pt x="55" y="153"/>
                  </a:lnTo>
                  <a:lnTo>
                    <a:pt x="48" y="149"/>
                  </a:lnTo>
                  <a:lnTo>
                    <a:pt x="42" y="144"/>
                  </a:lnTo>
                  <a:lnTo>
                    <a:pt x="36" y="137"/>
                  </a:lnTo>
                  <a:lnTo>
                    <a:pt x="33" y="131"/>
                  </a:lnTo>
                  <a:lnTo>
                    <a:pt x="30" y="122"/>
                  </a:lnTo>
                  <a:lnTo>
                    <a:pt x="30" y="115"/>
                  </a:lnTo>
                  <a:lnTo>
                    <a:pt x="30" y="106"/>
                  </a:lnTo>
                  <a:lnTo>
                    <a:pt x="33" y="98"/>
                  </a:lnTo>
                  <a:lnTo>
                    <a:pt x="36" y="91"/>
                  </a:lnTo>
                  <a:lnTo>
                    <a:pt x="42" y="85"/>
                  </a:lnTo>
                  <a:lnTo>
                    <a:pt x="48" y="79"/>
                  </a:lnTo>
                  <a:lnTo>
                    <a:pt x="55" y="76"/>
                  </a:lnTo>
                  <a:lnTo>
                    <a:pt x="63" y="73"/>
                  </a:lnTo>
                  <a:lnTo>
                    <a:pt x="7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10" name="Group 17">
            <a:extLst>
              <a:ext uri="{FF2B5EF4-FFF2-40B4-BE49-F238E27FC236}">
                <a16:creationId xmlns:a16="http://schemas.microsoft.com/office/drawing/2014/main" id="{70A1784F-26BD-4222-8A64-88B9C8AA4D9C}"/>
              </a:ext>
            </a:extLst>
          </p:cNvPr>
          <p:cNvGrpSpPr>
            <a:grpSpLocks noChangeAspect="1"/>
          </p:cNvGrpSpPr>
          <p:nvPr/>
        </p:nvGrpSpPr>
        <p:grpSpPr>
          <a:xfrm>
            <a:off x="3202636" y="2233311"/>
            <a:ext cx="285619" cy="285619"/>
            <a:chOff x="9882188" y="1354138"/>
            <a:chExt cx="285750" cy="285750"/>
          </a:xfrm>
          <a:solidFill>
            <a:schemeClr val="bg1"/>
          </a:solidFill>
          <a:effectLst/>
        </p:grpSpPr>
        <p:sp>
          <p:nvSpPr>
            <p:cNvPr id="1511" name="Freeform 186">
              <a:extLst>
                <a:ext uri="{FF2B5EF4-FFF2-40B4-BE49-F238E27FC236}">
                  <a16:creationId xmlns:a16="http://schemas.microsoft.com/office/drawing/2014/main" id="{A257C8D7-4E41-487B-B242-484A21223E77}"/>
                </a:ext>
              </a:extLst>
            </p:cNvPr>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2" name="Freeform 187">
              <a:extLst>
                <a:ext uri="{FF2B5EF4-FFF2-40B4-BE49-F238E27FC236}">
                  <a16:creationId xmlns:a16="http://schemas.microsoft.com/office/drawing/2014/main" id="{C28A4711-E775-4B70-8811-9E0A8DAFC1E3}"/>
                </a:ext>
              </a:extLst>
            </p:cNvPr>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3" name="Freeform 188">
              <a:extLst>
                <a:ext uri="{FF2B5EF4-FFF2-40B4-BE49-F238E27FC236}">
                  <a16:creationId xmlns:a16="http://schemas.microsoft.com/office/drawing/2014/main" id="{AEDB0DBE-E9C7-4567-B095-5C4E5544A611}"/>
                </a:ext>
              </a:extLst>
            </p:cNvPr>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4" name="Freeform 189">
              <a:extLst>
                <a:ext uri="{FF2B5EF4-FFF2-40B4-BE49-F238E27FC236}">
                  <a16:creationId xmlns:a16="http://schemas.microsoft.com/office/drawing/2014/main" id="{83CE9CB3-71C5-498B-B077-146651D78A40}"/>
                </a:ext>
              </a:extLst>
            </p:cNvPr>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5" name="Freeform 190">
              <a:extLst>
                <a:ext uri="{FF2B5EF4-FFF2-40B4-BE49-F238E27FC236}">
                  <a16:creationId xmlns:a16="http://schemas.microsoft.com/office/drawing/2014/main" id="{FB005961-A5B6-49FE-A90E-C2F6C6B85B46}"/>
                </a:ext>
              </a:extLst>
            </p:cNvPr>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16" name="Freeform 191">
              <a:extLst>
                <a:ext uri="{FF2B5EF4-FFF2-40B4-BE49-F238E27FC236}">
                  <a16:creationId xmlns:a16="http://schemas.microsoft.com/office/drawing/2014/main" id="{AF8D6F15-6CF1-4389-B21B-5C7559C0D512}"/>
                </a:ext>
              </a:extLst>
            </p:cNvPr>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517" name="Group 33">
            <a:extLst>
              <a:ext uri="{FF2B5EF4-FFF2-40B4-BE49-F238E27FC236}">
                <a16:creationId xmlns:a16="http://schemas.microsoft.com/office/drawing/2014/main" id="{3E24C7BB-0E58-4597-A2F9-F10F4D1909E6}"/>
              </a:ext>
            </a:extLst>
          </p:cNvPr>
          <p:cNvGrpSpPr>
            <a:grpSpLocks noChangeAspect="1"/>
          </p:cNvGrpSpPr>
          <p:nvPr/>
        </p:nvGrpSpPr>
        <p:grpSpPr>
          <a:xfrm>
            <a:off x="3660754" y="2233311"/>
            <a:ext cx="285619" cy="285619"/>
            <a:chOff x="3714750" y="2567782"/>
            <a:chExt cx="571500" cy="571500"/>
          </a:xfrm>
          <a:solidFill>
            <a:schemeClr val="bg1"/>
          </a:solidFill>
          <a:effectLst/>
        </p:grpSpPr>
        <p:sp>
          <p:nvSpPr>
            <p:cNvPr id="1518" name="Freeform 53">
              <a:extLst>
                <a:ext uri="{FF2B5EF4-FFF2-40B4-BE49-F238E27FC236}">
                  <a16:creationId xmlns:a16="http://schemas.microsoft.com/office/drawing/2014/main" id="{182A1B69-8BBF-483E-A10A-ED6F81E39424}"/>
                </a:ext>
              </a:extLst>
            </p:cNvPr>
            <p:cNvSpPr>
              <a:spLocks noEditPoints="1"/>
            </p:cNvSpPr>
            <p:nvPr/>
          </p:nvSpPr>
          <p:spPr bwMode="auto">
            <a:xfrm>
              <a:off x="3714750" y="2567782"/>
              <a:ext cx="571500" cy="571500"/>
            </a:xfrm>
            <a:custGeom>
              <a:avLst/>
              <a:gdLst>
                <a:gd name="T0" fmla="*/ 144 w 216"/>
                <a:gd name="T1" fmla="*/ 4 h 217"/>
                <a:gd name="T2" fmla="*/ 141 w 216"/>
                <a:gd name="T3" fmla="*/ 2 h 217"/>
                <a:gd name="T4" fmla="*/ 135 w 216"/>
                <a:gd name="T5" fmla="*/ 0 h 217"/>
                <a:gd name="T6" fmla="*/ 132 w 216"/>
                <a:gd name="T7" fmla="*/ 1 h 217"/>
                <a:gd name="T8" fmla="*/ 125 w 216"/>
                <a:gd name="T9" fmla="*/ 4 h 217"/>
                <a:gd name="T10" fmla="*/ 124 w 216"/>
                <a:gd name="T11" fmla="*/ 7 h 217"/>
                <a:gd name="T12" fmla="*/ 122 w 216"/>
                <a:gd name="T13" fmla="*/ 10 h 217"/>
                <a:gd name="T14" fmla="*/ 116 w 216"/>
                <a:gd name="T15" fmla="*/ 24 h 217"/>
                <a:gd name="T16" fmla="*/ 105 w 216"/>
                <a:gd name="T17" fmla="*/ 37 h 217"/>
                <a:gd name="T18" fmla="*/ 97 w 216"/>
                <a:gd name="T19" fmla="*/ 44 h 217"/>
                <a:gd name="T20" fmla="*/ 67 w 216"/>
                <a:gd name="T21" fmla="*/ 64 h 217"/>
                <a:gd name="T22" fmla="*/ 44 w 216"/>
                <a:gd name="T23" fmla="*/ 77 h 217"/>
                <a:gd name="T24" fmla="*/ 23 w 216"/>
                <a:gd name="T25" fmla="*/ 94 h 217"/>
                <a:gd name="T26" fmla="*/ 15 w 216"/>
                <a:gd name="T27" fmla="*/ 103 h 217"/>
                <a:gd name="T28" fmla="*/ 4 w 216"/>
                <a:gd name="T29" fmla="*/ 122 h 217"/>
                <a:gd name="T30" fmla="*/ 0 w 216"/>
                <a:gd name="T31" fmla="*/ 132 h 217"/>
                <a:gd name="T32" fmla="*/ 0 w 216"/>
                <a:gd name="T33" fmla="*/ 140 h 217"/>
                <a:gd name="T34" fmla="*/ 3 w 216"/>
                <a:gd name="T35" fmla="*/ 146 h 217"/>
                <a:gd name="T36" fmla="*/ 72 w 216"/>
                <a:gd name="T37" fmla="*/ 213 h 217"/>
                <a:gd name="T38" fmla="*/ 77 w 216"/>
                <a:gd name="T39" fmla="*/ 217 h 217"/>
                <a:gd name="T40" fmla="*/ 84 w 216"/>
                <a:gd name="T41" fmla="*/ 217 h 217"/>
                <a:gd name="T42" fmla="*/ 87 w 216"/>
                <a:gd name="T43" fmla="*/ 215 h 217"/>
                <a:gd name="T44" fmla="*/ 90 w 216"/>
                <a:gd name="T45" fmla="*/ 213 h 217"/>
                <a:gd name="T46" fmla="*/ 94 w 216"/>
                <a:gd name="T47" fmla="*/ 208 h 217"/>
                <a:gd name="T48" fmla="*/ 96 w 216"/>
                <a:gd name="T49" fmla="*/ 201 h 217"/>
                <a:gd name="T50" fmla="*/ 104 w 216"/>
                <a:gd name="T51" fmla="*/ 188 h 217"/>
                <a:gd name="T52" fmla="*/ 110 w 216"/>
                <a:gd name="T53" fmla="*/ 182 h 217"/>
                <a:gd name="T54" fmla="*/ 128 w 216"/>
                <a:gd name="T55" fmla="*/ 167 h 217"/>
                <a:gd name="T56" fmla="*/ 148 w 216"/>
                <a:gd name="T57" fmla="*/ 155 h 217"/>
                <a:gd name="T58" fmla="*/ 182 w 216"/>
                <a:gd name="T59" fmla="*/ 132 h 217"/>
                <a:gd name="T60" fmla="*/ 193 w 216"/>
                <a:gd name="T61" fmla="*/ 123 h 217"/>
                <a:gd name="T62" fmla="*/ 207 w 216"/>
                <a:gd name="T63" fmla="*/ 106 h 217"/>
                <a:gd name="T64" fmla="*/ 216 w 216"/>
                <a:gd name="T65" fmla="*/ 86 h 217"/>
                <a:gd name="T66" fmla="*/ 216 w 216"/>
                <a:gd name="T67" fmla="*/ 82 h 217"/>
                <a:gd name="T68" fmla="*/ 215 w 216"/>
                <a:gd name="T69" fmla="*/ 75 h 217"/>
                <a:gd name="T70" fmla="*/ 212 w 216"/>
                <a:gd name="T71" fmla="*/ 72 h 217"/>
                <a:gd name="T72" fmla="*/ 81 w 216"/>
                <a:gd name="T73" fmla="*/ 204 h 217"/>
                <a:gd name="T74" fmla="*/ 13 w 216"/>
                <a:gd name="T75" fmla="*/ 136 h 217"/>
                <a:gd name="T76" fmla="*/ 22 w 216"/>
                <a:gd name="T77" fmla="*/ 116 h 217"/>
                <a:gd name="T78" fmla="*/ 38 w 216"/>
                <a:gd name="T79" fmla="*/ 100 h 217"/>
                <a:gd name="T80" fmla="*/ 55 w 216"/>
                <a:gd name="T81" fmla="*/ 86 h 217"/>
                <a:gd name="T82" fmla="*/ 93 w 216"/>
                <a:gd name="T83" fmla="*/ 64 h 217"/>
                <a:gd name="T84" fmla="*/ 111 w 216"/>
                <a:gd name="T85" fmla="*/ 50 h 217"/>
                <a:gd name="T86" fmla="*/ 125 w 216"/>
                <a:gd name="T87" fmla="*/ 35 h 217"/>
                <a:gd name="T88" fmla="*/ 135 w 216"/>
                <a:gd name="T89" fmla="*/ 14 h 217"/>
                <a:gd name="T90" fmla="*/ 203 w 216"/>
                <a:gd name="T91" fmla="*/ 82 h 217"/>
                <a:gd name="T92" fmla="*/ 199 w 216"/>
                <a:gd name="T93" fmla="*/ 92 h 217"/>
                <a:gd name="T94" fmla="*/ 186 w 216"/>
                <a:gd name="T95" fmla="*/ 111 h 217"/>
                <a:gd name="T96" fmla="*/ 170 w 216"/>
                <a:gd name="T97" fmla="*/ 125 h 217"/>
                <a:gd name="T98" fmla="*/ 141 w 216"/>
                <a:gd name="T99" fmla="*/ 143 h 217"/>
                <a:gd name="T100" fmla="*/ 114 w 216"/>
                <a:gd name="T101" fmla="*/ 161 h 217"/>
                <a:gd name="T102" fmla="*/ 97 w 216"/>
                <a:gd name="T103" fmla="*/ 174 h 217"/>
                <a:gd name="T104" fmla="*/ 85 w 216"/>
                <a:gd name="T105" fmla="*/ 193 h 217"/>
                <a:gd name="T106" fmla="*/ 81 w 216"/>
                <a:gd name="T107" fmla="*/ 20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217">
                  <a:moveTo>
                    <a:pt x="212" y="72"/>
                  </a:moveTo>
                  <a:lnTo>
                    <a:pt x="144" y="4"/>
                  </a:lnTo>
                  <a:lnTo>
                    <a:pt x="144" y="4"/>
                  </a:lnTo>
                  <a:lnTo>
                    <a:pt x="141" y="2"/>
                  </a:lnTo>
                  <a:lnTo>
                    <a:pt x="138" y="1"/>
                  </a:lnTo>
                  <a:lnTo>
                    <a:pt x="135" y="0"/>
                  </a:lnTo>
                  <a:lnTo>
                    <a:pt x="132" y="1"/>
                  </a:lnTo>
                  <a:lnTo>
                    <a:pt x="132" y="1"/>
                  </a:lnTo>
                  <a:lnTo>
                    <a:pt x="128" y="2"/>
                  </a:lnTo>
                  <a:lnTo>
                    <a:pt x="125" y="4"/>
                  </a:lnTo>
                  <a:lnTo>
                    <a:pt x="125" y="4"/>
                  </a:lnTo>
                  <a:lnTo>
                    <a:pt x="124" y="7"/>
                  </a:lnTo>
                  <a:lnTo>
                    <a:pt x="122" y="10"/>
                  </a:lnTo>
                  <a:lnTo>
                    <a:pt x="122" y="10"/>
                  </a:lnTo>
                  <a:lnTo>
                    <a:pt x="120" y="18"/>
                  </a:lnTo>
                  <a:lnTo>
                    <a:pt x="116" y="24"/>
                  </a:lnTo>
                  <a:lnTo>
                    <a:pt x="112" y="31"/>
                  </a:lnTo>
                  <a:lnTo>
                    <a:pt x="105" y="37"/>
                  </a:lnTo>
                  <a:lnTo>
                    <a:pt x="105" y="37"/>
                  </a:lnTo>
                  <a:lnTo>
                    <a:pt x="97" y="44"/>
                  </a:lnTo>
                  <a:lnTo>
                    <a:pt x="88" y="50"/>
                  </a:lnTo>
                  <a:lnTo>
                    <a:pt x="67" y="64"/>
                  </a:lnTo>
                  <a:lnTo>
                    <a:pt x="67" y="64"/>
                  </a:lnTo>
                  <a:lnTo>
                    <a:pt x="44" y="77"/>
                  </a:lnTo>
                  <a:lnTo>
                    <a:pt x="33" y="85"/>
                  </a:lnTo>
                  <a:lnTo>
                    <a:pt x="23" y="94"/>
                  </a:lnTo>
                  <a:lnTo>
                    <a:pt x="23" y="94"/>
                  </a:lnTo>
                  <a:lnTo>
                    <a:pt x="15" y="103"/>
                  </a:lnTo>
                  <a:lnTo>
                    <a:pt x="9" y="112"/>
                  </a:lnTo>
                  <a:lnTo>
                    <a:pt x="4" y="122"/>
                  </a:lnTo>
                  <a:lnTo>
                    <a:pt x="0" y="132"/>
                  </a:lnTo>
                  <a:lnTo>
                    <a:pt x="0" y="132"/>
                  </a:lnTo>
                  <a:lnTo>
                    <a:pt x="0" y="135"/>
                  </a:lnTo>
                  <a:lnTo>
                    <a:pt x="0" y="140"/>
                  </a:lnTo>
                  <a:lnTo>
                    <a:pt x="1" y="143"/>
                  </a:lnTo>
                  <a:lnTo>
                    <a:pt x="3" y="146"/>
                  </a:lnTo>
                  <a:lnTo>
                    <a:pt x="72" y="213"/>
                  </a:lnTo>
                  <a:lnTo>
                    <a:pt x="72" y="213"/>
                  </a:lnTo>
                  <a:lnTo>
                    <a:pt x="74" y="215"/>
                  </a:lnTo>
                  <a:lnTo>
                    <a:pt x="77" y="217"/>
                  </a:lnTo>
                  <a:lnTo>
                    <a:pt x="81" y="217"/>
                  </a:lnTo>
                  <a:lnTo>
                    <a:pt x="84" y="217"/>
                  </a:lnTo>
                  <a:lnTo>
                    <a:pt x="84" y="217"/>
                  </a:lnTo>
                  <a:lnTo>
                    <a:pt x="87" y="215"/>
                  </a:lnTo>
                  <a:lnTo>
                    <a:pt x="90" y="213"/>
                  </a:lnTo>
                  <a:lnTo>
                    <a:pt x="90" y="213"/>
                  </a:lnTo>
                  <a:lnTo>
                    <a:pt x="92" y="211"/>
                  </a:lnTo>
                  <a:lnTo>
                    <a:pt x="94" y="208"/>
                  </a:lnTo>
                  <a:lnTo>
                    <a:pt x="94" y="208"/>
                  </a:lnTo>
                  <a:lnTo>
                    <a:pt x="96" y="201"/>
                  </a:lnTo>
                  <a:lnTo>
                    <a:pt x="100" y="194"/>
                  </a:lnTo>
                  <a:lnTo>
                    <a:pt x="104" y="188"/>
                  </a:lnTo>
                  <a:lnTo>
                    <a:pt x="110" y="182"/>
                  </a:lnTo>
                  <a:lnTo>
                    <a:pt x="110" y="182"/>
                  </a:lnTo>
                  <a:lnTo>
                    <a:pt x="119" y="174"/>
                  </a:lnTo>
                  <a:lnTo>
                    <a:pt x="128" y="167"/>
                  </a:lnTo>
                  <a:lnTo>
                    <a:pt x="148" y="155"/>
                  </a:lnTo>
                  <a:lnTo>
                    <a:pt x="148" y="155"/>
                  </a:lnTo>
                  <a:lnTo>
                    <a:pt x="172" y="141"/>
                  </a:lnTo>
                  <a:lnTo>
                    <a:pt x="182" y="132"/>
                  </a:lnTo>
                  <a:lnTo>
                    <a:pt x="193" y="123"/>
                  </a:lnTo>
                  <a:lnTo>
                    <a:pt x="193" y="123"/>
                  </a:lnTo>
                  <a:lnTo>
                    <a:pt x="201" y="115"/>
                  </a:lnTo>
                  <a:lnTo>
                    <a:pt x="207" y="106"/>
                  </a:lnTo>
                  <a:lnTo>
                    <a:pt x="212" y="96"/>
                  </a:lnTo>
                  <a:lnTo>
                    <a:pt x="216" y="86"/>
                  </a:lnTo>
                  <a:lnTo>
                    <a:pt x="216" y="86"/>
                  </a:lnTo>
                  <a:lnTo>
                    <a:pt x="216" y="82"/>
                  </a:lnTo>
                  <a:lnTo>
                    <a:pt x="216" y="79"/>
                  </a:lnTo>
                  <a:lnTo>
                    <a:pt x="215" y="75"/>
                  </a:lnTo>
                  <a:lnTo>
                    <a:pt x="212" y="72"/>
                  </a:lnTo>
                  <a:lnTo>
                    <a:pt x="212" y="72"/>
                  </a:lnTo>
                  <a:close/>
                  <a:moveTo>
                    <a:pt x="81" y="204"/>
                  </a:moveTo>
                  <a:lnTo>
                    <a:pt x="81" y="204"/>
                  </a:lnTo>
                  <a:lnTo>
                    <a:pt x="13" y="136"/>
                  </a:lnTo>
                  <a:lnTo>
                    <a:pt x="13" y="136"/>
                  </a:lnTo>
                  <a:lnTo>
                    <a:pt x="17" y="125"/>
                  </a:lnTo>
                  <a:lnTo>
                    <a:pt x="22" y="116"/>
                  </a:lnTo>
                  <a:lnTo>
                    <a:pt x="29" y="107"/>
                  </a:lnTo>
                  <a:lnTo>
                    <a:pt x="38" y="100"/>
                  </a:lnTo>
                  <a:lnTo>
                    <a:pt x="46" y="92"/>
                  </a:lnTo>
                  <a:lnTo>
                    <a:pt x="55" y="86"/>
                  </a:lnTo>
                  <a:lnTo>
                    <a:pt x="74" y="75"/>
                  </a:lnTo>
                  <a:lnTo>
                    <a:pt x="93" y="64"/>
                  </a:lnTo>
                  <a:lnTo>
                    <a:pt x="102" y="58"/>
                  </a:lnTo>
                  <a:lnTo>
                    <a:pt x="111" y="50"/>
                  </a:lnTo>
                  <a:lnTo>
                    <a:pt x="118" y="43"/>
                  </a:lnTo>
                  <a:lnTo>
                    <a:pt x="125" y="35"/>
                  </a:lnTo>
                  <a:lnTo>
                    <a:pt x="131" y="25"/>
                  </a:lnTo>
                  <a:lnTo>
                    <a:pt x="135" y="14"/>
                  </a:lnTo>
                  <a:lnTo>
                    <a:pt x="135" y="14"/>
                  </a:lnTo>
                  <a:lnTo>
                    <a:pt x="203" y="82"/>
                  </a:lnTo>
                  <a:lnTo>
                    <a:pt x="203" y="82"/>
                  </a:lnTo>
                  <a:lnTo>
                    <a:pt x="199" y="92"/>
                  </a:lnTo>
                  <a:lnTo>
                    <a:pt x="193" y="103"/>
                  </a:lnTo>
                  <a:lnTo>
                    <a:pt x="186" y="111"/>
                  </a:lnTo>
                  <a:lnTo>
                    <a:pt x="178" y="118"/>
                  </a:lnTo>
                  <a:lnTo>
                    <a:pt x="170" y="125"/>
                  </a:lnTo>
                  <a:lnTo>
                    <a:pt x="161" y="131"/>
                  </a:lnTo>
                  <a:lnTo>
                    <a:pt x="141" y="143"/>
                  </a:lnTo>
                  <a:lnTo>
                    <a:pt x="123" y="154"/>
                  </a:lnTo>
                  <a:lnTo>
                    <a:pt x="114" y="161"/>
                  </a:lnTo>
                  <a:lnTo>
                    <a:pt x="105" y="167"/>
                  </a:lnTo>
                  <a:lnTo>
                    <a:pt x="97" y="174"/>
                  </a:lnTo>
                  <a:lnTo>
                    <a:pt x="91" y="184"/>
                  </a:lnTo>
                  <a:lnTo>
                    <a:pt x="85" y="193"/>
                  </a:lnTo>
                  <a:lnTo>
                    <a:pt x="81" y="204"/>
                  </a:lnTo>
                  <a:lnTo>
                    <a:pt x="81"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19" name="Freeform 54">
              <a:extLst>
                <a:ext uri="{FF2B5EF4-FFF2-40B4-BE49-F238E27FC236}">
                  <a16:creationId xmlns:a16="http://schemas.microsoft.com/office/drawing/2014/main" id="{3B21E53D-7AF9-49E0-A864-BFDAFE47B80F}"/>
                </a:ext>
              </a:extLst>
            </p:cNvPr>
            <p:cNvSpPr>
              <a:spLocks noEditPoints="1"/>
            </p:cNvSpPr>
            <p:nvPr/>
          </p:nvSpPr>
          <p:spPr bwMode="auto">
            <a:xfrm>
              <a:off x="3921125" y="2774157"/>
              <a:ext cx="150815" cy="158750"/>
            </a:xfrm>
            <a:custGeom>
              <a:avLst/>
              <a:gdLst>
                <a:gd name="T0" fmla="*/ 50 w 58"/>
                <a:gd name="T1" fmla="*/ 23 h 62"/>
                <a:gd name="T2" fmla="*/ 40 w 58"/>
                <a:gd name="T3" fmla="*/ 21 h 62"/>
                <a:gd name="T4" fmla="*/ 33 w 58"/>
                <a:gd name="T5" fmla="*/ 22 h 62"/>
                <a:gd name="T6" fmla="*/ 15 w 58"/>
                <a:gd name="T7" fmla="*/ 12 h 62"/>
                <a:gd name="T8" fmla="*/ 20 w 58"/>
                <a:gd name="T9" fmla="*/ 10 h 62"/>
                <a:gd name="T10" fmla="*/ 24 w 58"/>
                <a:gd name="T11" fmla="*/ 10 h 62"/>
                <a:gd name="T12" fmla="*/ 29 w 58"/>
                <a:gd name="T13" fmla="*/ 11 h 62"/>
                <a:gd name="T14" fmla="*/ 33 w 58"/>
                <a:gd name="T15" fmla="*/ 9 h 62"/>
                <a:gd name="T16" fmla="*/ 33 w 58"/>
                <a:gd name="T17" fmla="*/ 5 h 62"/>
                <a:gd name="T18" fmla="*/ 29 w 58"/>
                <a:gd name="T19" fmla="*/ 1 h 62"/>
                <a:gd name="T20" fmla="*/ 23 w 58"/>
                <a:gd name="T21" fmla="*/ 0 h 62"/>
                <a:gd name="T22" fmla="*/ 14 w 58"/>
                <a:gd name="T23" fmla="*/ 3 h 62"/>
                <a:gd name="T24" fmla="*/ 9 w 58"/>
                <a:gd name="T25" fmla="*/ 6 h 62"/>
                <a:gd name="T26" fmla="*/ 6 w 58"/>
                <a:gd name="T27" fmla="*/ 5 h 62"/>
                <a:gd name="T28" fmla="*/ 4 w 58"/>
                <a:gd name="T29" fmla="*/ 5 h 62"/>
                <a:gd name="T30" fmla="*/ 4 w 58"/>
                <a:gd name="T31" fmla="*/ 9 h 62"/>
                <a:gd name="T32" fmla="*/ 6 w 58"/>
                <a:gd name="T33" fmla="*/ 10 h 62"/>
                <a:gd name="T34" fmla="*/ 0 w 58"/>
                <a:gd name="T35" fmla="*/ 21 h 62"/>
                <a:gd name="T36" fmla="*/ 0 w 58"/>
                <a:gd name="T37" fmla="*/ 28 h 62"/>
                <a:gd name="T38" fmla="*/ 2 w 58"/>
                <a:gd name="T39" fmla="*/ 34 h 62"/>
                <a:gd name="T40" fmla="*/ 9 w 58"/>
                <a:gd name="T41" fmla="*/ 39 h 62"/>
                <a:gd name="T42" fmla="*/ 22 w 58"/>
                <a:gd name="T43" fmla="*/ 39 h 62"/>
                <a:gd name="T44" fmla="*/ 42 w 58"/>
                <a:gd name="T45" fmla="*/ 49 h 62"/>
                <a:gd name="T46" fmla="*/ 37 w 58"/>
                <a:gd name="T47" fmla="*/ 51 h 62"/>
                <a:gd name="T48" fmla="*/ 34 w 58"/>
                <a:gd name="T49" fmla="*/ 51 h 62"/>
                <a:gd name="T50" fmla="*/ 27 w 58"/>
                <a:gd name="T51" fmla="*/ 48 h 62"/>
                <a:gd name="T52" fmla="*/ 25 w 58"/>
                <a:gd name="T53" fmla="*/ 48 h 62"/>
                <a:gd name="T54" fmla="*/ 21 w 58"/>
                <a:gd name="T55" fmla="*/ 50 h 62"/>
                <a:gd name="T56" fmla="*/ 21 w 58"/>
                <a:gd name="T57" fmla="*/ 54 h 62"/>
                <a:gd name="T58" fmla="*/ 26 w 58"/>
                <a:gd name="T59" fmla="*/ 59 h 62"/>
                <a:gd name="T60" fmla="*/ 33 w 58"/>
                <a:gd name="T61" fmla="*/ 62 h 62"/>
                <a:gd name="T62" fmla="*/ 40 w 58"/>
                <a:gd name="T63" fmla="*/ 61 h 62"/>
                <a:gd name="T64" fmla="*/ 47 w 58"/>
                <a:gd name="T65" fmla="*/ 55 h 62"/>
                <a:gd name="T66" fmla="*/ 51 w 58"/>
                <a:gd name="T67" fmla="*/ 58 h 62"/>
                <a:gd name="T68" fmla="*/ 55 w 58"/>
                <a:gd name="T69" fmla="*/ 58 h 62"/>
                <a:gd name="T70" fmla="*/ 55 w 58"/>
                <a:gd name="T71" fmla="*/ 56 h 62"/>
                <a:gd name="T72" fmla="*/ 51 w 58"/>
                <a:gd name="T73" fmla="*/ 51 h 62"/>
                <a:gd name="T74" fmla="*/ 56 w 58"/>
                <a:gd name="T75" fmla="*/ 44 h 62"/>
                <a:gd name="T76" fmla="*/ 58 w 58"/>
                <a:gd name="T77" fmla="*/ 36 h 62"/>
                <a:gd name="T78" fmla="*/ 57 w 58"/>
                <a:gd name="T79" fmla="*/ 30 h 62"/>
                <a:gd name="T80" fmla="*/ 53 w 58"/>
                <a:gd name="T81" fmla="*/ 25 h 62"/>
                <a:gd name="T82" fmla="*/ 12 w 58"/>
                <a:gd name="T83" fmla="*/ 29 h 62"/>
                <a:gd name="T84" fmla="*/ 9 w 58"/>
                <a:gd name="T85" fmla="*/ 25 h 62"/>
                <a:gd name="T86" fmla="*/ 8 w 58"/>
                <a:gd name="T87" fmla="*/ 23 h 62"/>
                <a:gd name="T88" fmla="*/ 12 w 58"/>
                <a:gd name="T89" fmla="*/ 15 h 62"/>
                <a:gd name="T90" fmla="*/ 22 w 58"/>
                <a:gd name="T91" fmla="*/ 27 h 62"/>
                <a:gd name="T92" fmla="*/ 15 w 58"/>
                <a:gd name="T93" fmla="*/ 29 h 62"/>
                <a:gd name="T94" fmla="*/ 45 w 58"/>
                <a:gd name="T95" fmla="*/ 46 h 62"/>
                <a:gd name="T96" fmla="*/ 34 w 58"/>
                <a:gd name="T97" fmla="*/ 34 h 62"/>
                <a:gd name="T98" fmla="*/ 40 w 58"/>
                <a:gd name="T99" fmla="*/ 31 h 62"/>
                <a:gd name="T100" fmla="*/ 43 w 58"/>
                <a:gd name="T101" fmla="*/ 31 h 62"/>
                <a:gd name="T102" fmla="*/ 48 w 58"/>
                <a:gd name="T103" fmla="*/ 36 h 62"/>
                <a:gd name="T104" fmla="*/ 48 w 58"/>
                <a:gd name="T105" fmla="*/ 3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62">
                  <a:moveTo>
                    <a:pt x="53" y="25"/>
                  </a:moveTo>
                  <a:lnTo>
                    <a:pt x="53" y="25"/>
                  </a:lnTo>
                  <a:lnTo>
                    <a:pt x="50" y="23"/>
                  </a:lnTo>
                  <a:lnTo>
                    <a:pt x="46" y="21"/>
                  </a:lnTo>
                  <a:lnTo>
                    <a:pt x="46" y="21"/>
                  </a:lnTo>
                  <a:lnTo>
                    <a:pt x="40" y="21"/>
                  </a:lnTo>
                  <a:lnTo>
                    <a:pt x="40" y="21"/>
                  </a:lnTo>
                  <a:lnTo>
                    <a:pt x="33" y="22"/>
                  </a:lnTo>
                  <a:lnTo>
                    <a:pt x="33" y="22"/>
                  </a:lnTo>
                  <a:lnTo>
                    <a:pt x="26" y="25"/>
                  </a:lnTo>
                  <a:lnTo>
                    <a:pt x="26" y="25"/>
                  </a:lnTo>
                  <a:lnTo>
                    <a:pt x="15" y="12"/>
                  </a:lnTo>
                  <a:lnTo>
                    <a:pt x="15" y="12"/>
                  </a:lnTo>
                  <a:lnTo>
                    <a:pt x="17" y="10"/>
                  </a:lnTo>
                  <a:lnTo>
                    <a:pt x="20" y="10"/>
                  </a:lnTo>
                  <a:lnTo>
                    <a:pt x="20" y="10"/>
                  </a:lnTo>
                  <a:lnTo>
                    <a:pt x="24" y="10"/>
                  </a:lnTo>
                  <a:lnTo>
                    <a:pt x="24" y="10"/>
                  </a:lnTo>
                  <a:lnTo>
                    <a:pt x="28" y="11"/>
                  </a:lnTo>
                  <a:lnTo>
                    <a:pt x="28" y="11"/>
                  </a:lnTo>
                  <a:lnTo>
                    <a:pt x="29" y="11"/>
                  </a:lnTo>
                  <a:lnTo>
                    <a:pt x="32" y="10"/>
                  </a:lnTo>
                  <a:lnTo>
                    <a:pt x="32" y="10"/>
                  </a:lnTo>
                  <a:lnTo>
                    <a:pt x="33" y="9"/>
                  </a:lnTo>
                  <a:lnTo>
                    <a:pt x="33" y="7"/>
                  </a:lnTo>
                  <a:lnTo>
                    <a:pt x="33" y="7"/>
                  </a:lnTo>
                  <a:lnTo>
                    <a:pt x="33" y="5"/>
                  </a:lnTo>
                  <a:lnTo>
                    <a:pt x="32" y="3"/>
                  </a:lnTo>
                  <a:lnTo>
                    <a:pt x="32" y="3"/>
                  </a:lnTo>
                  <a:lnTo>
                    <a:pt x="29" y="1"/>
                  </a:lnTo>
                  <a:lnTo>
                    <a:pt x="26" y="0"/>
                  </a:lnTo>
                  <a:lnTo>
                    <a:pt x="26" y="0"/>
                  </a:lnTo>
                  <a:lnTo>
                    <a:pt x="23" y="0"/>
                  </a:lnTo>
                  <a:lnTo>
                    <a:pt x="20" y="1"/>
                  </a:lnTo>
                  <a:lnTo>
                    <a:pt x="20" y="1"/>
                  </a:lnTo>
                  <a:lnTo>
                    <a:pt x="14" y="3"/>
                  </a:lnTo>
                  <a:lnTo>
                    <a:pt x="14" y="3"/>
                  </a:lnTo>
                  <a:lnTo>
                    <a:pt x="9" y="6"/>
                  </a:lnTo>
                  <a:lnTo>
                    <a:pt x="9" y="6"/>
                  </a:lnTo>
                  <a:lnTo>
                    <a:pt x="8" y="5"/>
                  </a:lnTo>
                  <a:lnTo>
                    <a:pt x="8" y="5"/>
                  </a:lnTo>
                  <a:lnTo>
                    <a:pt x="6" y="5"/>
                  </a:lnTo>
                  <a:lnTo>
                    <a:pt x="6" y="5"/>
                  </a:lnTo>
                  <a:lnTo>
                    <a:pt x="4" y="5"/>
                  </a:lnTo>
                  <a:lnTo>
                    <a:pt x="4" y="5"/>
                  </a:lnTo>
                  <a:lnTo>
                    <a:pt x="4" y="7"/>
                  </a:lnTo>
                  <a:lnTo>
                    <a:pt x="4" y="7"/>
                  </a:lnTo>
                  <a:lnTo>
                    <a:pt x="4" y="9"/>
                  </a:lnTo>
                  <a:lnTo>
                    <a:pt x="4" y="9"/>
                  </a:lnTo>
                  <a:lnTo>
                    <a:pt x="6" y="10"/>
                  </a:lnTo>
                  <a:lnTo>
                    <a:pt x="6" y="10"/>
                  </a:lnTo>
                  <a:lnTo>
                    <a:pt x="2" y="17"/>
                  </a:lnTo>
                  <a:lnTo>
                    <a:pt x="2" y="17"/>
                  </a:lnTo>
                  <a:lnTo>
                    <a:pt x="0" y="21"/>
                  </a:lnTo>
                  <a:lnTo>
                    <a:pt x="0" y="25"/>
                  </a:lnTo>
                  <a:lnTo>
                    <a:pt x="0" y="25"/>
                  </a:lnTo>
                  <a:lnTo>
                    <a:pt x="0" y="28"/>
                  </a:lnTo>
                  <a:lnTo>
                    <a:pt x="0" y="31"/>
                  </a:lnTo>
                  <a:lnTo>
                    <a:pt x="0" y="31"/>
                  </a:lnTo>
                  <a:lnTo>
                    <a:pt x="2" y="34"/>
                  </a:lnTo>
                  <a:lnTo>
                    <a:pt x="4" y="36"/>
                  </a:lnTo>
                  <a:lnTo>
                    <a:pt x="4" y="36"/>
                  </a:lnTo>
                  <a:lnTo>
                    <a:pt x="9" y="39"/>
                  </a:lnTo>
                  <a:lnTo>
                    <a:pt x="15" y="40"/>
                  </a:lnTo>
                  <a:lnTo>
                    <a:pt x="15" y="40"/>
                  </a:lnTo>
                  <a:lnTo>
                    <a:pt x="22" y="39"/>
                  </a:lnTo>
                  <a:lnTo>
                    <a:pt x="29" y="36"/>
                  </a:lnTo>
                  <a:lnTo>
                    <a:pt x="29" y="36"/>
                  </a:lnTo>
                  <a:lnTo>
                    <a:pt x="42" y="49"/>
                  </a:lnTo>
                  <a:lnTo>
                    <a:pt x="42" y="49"/>
                  </a:lnTo>
                  <a:lnTo>
                    <a:pt x="39" y="51"/>
                  </a:lnTo>
                  <a:lnTo>
                    <a:pt x="37" y="51"/>
                  </a:lnTo>
                  <a:lnTo>
                    <a:pt x="37" y="51"/>
                  </a:lnTo>
                  <a:lnTo>
                    <a:pt x="34" y="51"/>
                  </a:lnTo>
                  <a:lnTo>
                    <a:pt x="34" y="51"/>
                  </a:lnTo>
                  <a:lnTo>
                    <a:pt x="31" y="50"/>
                  </a:lnTo>
                  <a:lnTo>
                    <a:pt x="31" y="50"/>
                  </a:lnTo>
                  <a:lnTo>
                    <a:pt x="27" y="48"/>
                  </a:lnTo>
                  <a:lnTo>
                    <a:pt x="27" y="48"/>
                  </a:lnTo>
                  <a:lnTo>
                    <a:pt x="25" y="48"/>
                  </a:lnTo>
                  <a:lnTo>
                    <a:pt x="25" y="48"/>
                  </a:lnTo>
                  <a:lnTo>
                    <a:pt x="22" y="49"/>
                  </a:lnTo>
                  <a:lnTo>
                    <a:pt x="22" y="49"/>
                  </a:lnTo>
                  <a:lnTo>
                    <a:pt x="21" y="50"/>
                  </a:lnTo>
                  <a:lnTo>
                    <a:pt x="20" y="52"/>
                  </a:lnTo>
                  <a:lnTo>
                    <a:pt x="20" y="52"/>
                  </a:lnTo>
                  <a:lnTo>
                    <a:pt x="21" y="54"/>
                  </a:lnTo>
                  <a:lnTo>
                    <a:pt x="22" y="56"/>
                  </a:lnTo>
                  <a:lnTo>
                    <a:pt x="22" y="56"/>
                  </a:lnTo>
                  <a:lnTo>
                    <a:pt x="26" y="59"/>
                  </a:lnTo>
                  <a:lnTo>
                    <a:pt x="26" y="59"/>
                  </a:lnTo>
                  <a:lnTo>
                    <a:pt x="29" y="61"/>
                  </a:lnTo>
                  <a:lnTo>
                    <a:pt x="33" y="62"/>
                  </a:lnTo>
                  <a:lnTo>
                    <a:pt x="33" y="62"/>
                  </a:lnTo>
                  <a:lnTo>
                    <a:pt x="37" y="62"/>
                  </a:lnTo>
                  <a:lnTo>
                    <a:pt x="40" y="61"/>
                  </a:lnTo>
                  <a:lnTo>
                    <a:pt x="40" y="61"/>
                  </a:lnTo>
                  <a:lnTo>
                    <a:pt x="44" y="58"/>
                  </a:lnTo>
                  <a:lnTo>
                    <a:pt x="47" y="55"/>
                  </a:lnTo>
                  <a:lnTo>
                    <a:pt x="47" y="55"/>
                  </a:lnTo>
                  <a:lnTo>
                    <a:pt x="51" y="58"/>
                  </a:lnTo>
                  <a:lnTo>
                    <a:pt x="51" y="58"/>
                  </a:lnTo>
                  <a:lnTo>
                    <a:pt x="53" y="58"/>
                  </a:lnTo>
                  <a:lnTo>
                    <a:pt x="53" y="58"/>
                  </a:lnTo>
                  <a:lnTo>
                    <a:pt x="55" y="58"/>
                  </a:lnTo>
                  <a:lnTo>
                    <a:pt x="55" y="58"/>
                  </a:lnTo>
                  <a:lnTo>
                    <a:pt x="55" y="56"/>
                  </a:lnTo>
                  <a:lnTo>
                    <a:pt x="55" y="56"/>
                  </a:lnTo>
                  <a:lnTo>
                    <a:pt x="54" y="54"/>
                  </a:lnTo>
                  <a:lnTo>
                    <a:pt x="54" y="54"/>
                  </a:lnTo>
                  <a:lnTo>
                    <a:pt x="51" y="51"/>
                  </a:lnTo>
                  <a:lnTo>
                    <a:pt x="51" y="51"/>
                  </a:lnTo>
                  <a:lnTo>
                    <a:pt x="56" y="44"/>
                  </a:lnTo>
                  <a:lnTo>
                    <a:pt x="56" y="44"/>
                  </a:lnTo>
                  <a:lnTo>
                    <a:pt x="57" y="40"/>
                  </a:lnTo>
                  <a:lnTo>
                    <a:pt x="58" y="36"/>
                  </a:lnTo>
                  <a:lnTo>
                    <a:pt x="58" y="36"/>
                  </a:lnTo>
                  <a:lnTo>
                    <a:pt x="58" y="33"/>
                  </a:lnTo>
                  <a:lnTo>
                    <a:pt x="57" y="30"/>
                  </a:lnTo>
                  <a:lnTo>
                    <a:pt x="57" y="30"/>
                  </a:lnTo>
                  <a:lnTo>
                    <a:pt x="55" y="27"/>
                  </a:lnTo>
                  <a:lnTo>
                    <a:pt x="53" y="25"/>
                  </a:lnTo>
                  <a:lnTo>
                    <a:pt x="53" y="25"/>
                  </a:lnTo>
                  <a:close/>
                  <a:moveTo>
                    <a:pt x="15" y="29"/>
                  </a:moveTo>
                  <a:lnTo>
                    <a:pt x="15" y="29"/>
                  </a:lnTo>
                  <a:lnTo>
                    <a:pt x="12" y="29"/>
                  </a:lnTo>
                  <a:lnTo>
                    <a:pt x="10" y="27"/>
                  </a:lnTo>
                  <a:lnTo>
                    <a:pt x="10" y="27"/>
                  </a:lnTo>
                  <a:lnTo>
                    <a:pt x="9" y="25"/>
                  </a:lnTo>
                  <a:lnTo>
                    <a:pt x="9" y="25"/>
                  </a:lnTo>
                  <a:lnTo>
                    <a:pt x="8" y="23"/>
                  </a:lnTo>
                  <a:lnTo>
                    <a:pt x="8" y="23"/>
                  </a:lnTo>
                  <a:lnTo>
                    <a:pt x="9" y="19"/>
                  </a:lnTo>
                  <a:lnTo>
                    <a:pt x="9" y="19"/>
                  </a:lnTo>
                  <a:lnTo>
                    <a:pt x="12" y="15"/>
                  </a:lnTo>
                  <a:lnTo>
                    <a:pt x="12" y="15"/>
                  </a:lnTo>
                  <a:lnTo>
                    <a:pt x="22" y="27"/>
                  </a:lnTo>
                  <a:lnTo>
                    <a:pt x="22" y="27"/>
                  </a:lnTo>
                  <a:lnTo>
                    <a:pt x="18" y="29"/>
                  </a:lnTo>
                  <a:lnTo>
                    <a:pt x="15" y="29"/>
                  </a:lnTo>
                  <a:lnTo>
                    <a:pt x="15" y="29"/>
                  </a:lnTo>
                  <a:close/>
                  <a:moveTo>
                    <a:pt x="47" y="43"/>
                  </a:moveTo>
                  <a:lnTo>
                    <a:pt x="47" y="43"/>
                  </a:lnTo>
                  <a:lnTo>
                    <a:pt x="45" y="46"/>
                  </a:lnTo>
                  <a:lnTo>
                    <a:pt x="45" y="46"/>
                  </a:lnTo>
                  <a:lnTo>
                    <a:pt x="34" y="34"/>
                  </a:lnTo>
                  <a:lnTo>
                    <a:pt x="34" y="34"/>
                  </a:lnTo>
                  <a:lnTo>
                    <a:pt x="37" y="32"/>
                  </a:lnTo>
                  <a:lnTo>
                    <a:pt x="37" y="32"/>
                  </a:lnTo>
                  <a:lnTo>
                    <a:pt x="40" y="31"/>
                  </a:lnTo>
                  <a:lnTo>
                    <a:pt x="40" y="31"/>
                  </a:lnTo>
                  <a:lnTo>
                    <a:pt x="43" y="31"/>
                  </a:lnTo>
                  <a:lnTo>
                    <a:pt x="43" y="31"/>
                  </a:lnTo>
                  <a:lnTo>
                    <a:pt x="46" y="33"/>
                  </a:lnTo>
                  <a:lnTo>
                    <a:pt x="46" y="33"/>
                  </a:lnTo>
                  <a:lnTo>
                    <a:pt x="48" y="36"/>
                  </a:lnTo>
                  <a:lnTo>
                    <a:pt x="48" y="36"/>
                  </a:lnTo>
                  <a:lnTo>
                    <a:pt x="48" y="39"/>
                  </a:lnTo>
                  <a:lnTo>
                    <a:pt x="48" y="39"/>
                  </a:lnTo>
                  <a:lnTo>
                    <a:pt x="47" y="43"/>
                  </a:lnTo>
                  <a:lnTo>
                    <a:pt x="47"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20" name="Freeform 55">
              <a:extLst>
                <a:ext uri="{FF2B5EF4-FFF2-40B4-BE49-F238E27FC236}">
                  <a16:creationId xmlns:a16="http://schemas.microsoft.com/office/drawing/2014/main" id="{D76D9037-08C4-4F89-AE7D-BF063910146F}"/>
                </a:ext>
              </a:extLst>
            </p:cNvPr>
            <p:cNvSpPr>
              <a:spLocks/>
            </p:cNvSpPr>
            <p:nvPr/>
          </p:nvSpPr>
          <p:spPr bwMode="auto">
            <a:xfrm>
              <a:off x="3905250" y="2964657"/>
              <a:ext cx="79375" cy="95250"/>
            </a:xfrm>
            <a:custGeom>
              <a:avLst/>
              <a:gdLst>
                <a:gd name="T0" fmla="*/ 27 w 32"/>
                <a:gd name="T1" fmla="*/ 1 h 35"/>
                <a:gd name="T2" fmla="*/ 27 w 32"/>
                <a:gd name="T3" fmla="*/ 1 h 35"/>
                <a:gd name="T4" fmla="*/ 27 w 32"/>
                <a:gd name="T5" fmla="*/ 1 h 35"/>
                <a:gd name="T6" fmla="*/ 15 w 32"/>
                <a:gd name="T7" fmla="*/ 11 h 35"/>
                <a:gd name="T8" fmla="*/ 15 w 32"/>
                <a:gd name="T9" fmla="*/ 11 h 35"/>
                <a:gd name="T10" fmla="*/ 5 w 32"/>
                <a:gd name="T11" fmla="*/ 23 h 35"/>
                <a:gd name="T12" fmla="*/ 1 w 32"/>
                <a:gd name="T13" fmla="*/ 30 h 35"/>
                <a:gd name="T14" fmla="*/ 1 w 32"/>
                <a:gd name="T15" fmla="*/ 30 h 35"/>
                <a:gd name="T16" fmla="*/ 1 w 32"/>
                <a:gd name="T17" fmla="*/ 30 h 35"/>
                <a:gd name="T18" fmla="*/ 0 w 32"/>
                <a:gd name="T19" fmla="*/ 32 h 35"/>
                <a:gd name="T20" fmla="*/ 1 w 32"/>
                <a:gd name="T21" fmla="*/ 34 h 35"/>
                <a:gd name="T22" fmla="*/ 1 w 32"/>
                <a:gd name="T23" fmla="*/ 34 h 35"/>
                <a:gd name="T24" fmla="*/ 4 w 32"/>
                <a:gd name="T25" fmla="*/ 35 h 35"/>
                <a:gd name="T26" fmla="*/ 6 w 32"/>
                <a:gd name="T27" fmla="*/ 34 h 35"/>
                <a:gd name="T28" fmla="*/ 6 w 32"/>
                <a:gd name="T29" fmla="*/ 34 h 35"/>
                <a:gd name="T30" fmla="*/ 6 w 32"/>
                <a:gd name="T31" fmla="*/ 33 h 35"/>
                <a:gd name="T32" fmla="*/ 11 w 32"/>
                <a:gd name="T33" fmla="*/ 27 h 35"/>
                <a:gd name="T34" fmla="*/ 11 w 32"/>
                <a:gd name="T35" fmla="*/ 27 h 35"/>
                <a:gd name="T36" fmla="*/ 20 w 32"/>
                <a:gd name="T37" fmla="*/ 16 h 35"/>
                <a:gd name="T38" fmla="*/ 20 w 32"/>
                <a:gd name="T39" fmla="*/ 16 h 35"/>
                <a:gd name="T40" fmla="*/ 31 w 32"/>
                <a:gd name="T41" fmla="*/ 6 h 35"/>
                <a:gd name="T42" fmla="*/ 31 w 32"/>
                <a:gd name="T43" fmla="*/ 6 h 35"/>
                <a:gd name="T44" fmla="*/ 31 w 32"/>
                <a:gd name="T45" fmla="*/ 6 h 35"/>
                <a:gd name="T46" fmla="*/ 31 w 32"/>
                <a:gd name="T47" fmla="*/ 6 h 35"/>
                <a:gd name="T48" fmla="*/ 31 w 32"/>
                <a:gd name="T49" fmla="*/ 6 h 35"/>
                <a:gd name="T50" fmla="*/ 32 w 32"/>
                <a:gd name="T51" fmla="*/ 4 h 35"/>
                <a:gd name="T52" fmla="*/ 31 w 32"/>
                <a:gd name="T53" fmla="*/ 1 h 35"/>
                <a:gd name="T54" fmla="*/ 31 w 32"/>
                <a:gd name="T55" fmla="*/ 1 h 35"/>
                <a:gd name="T56" fmla="*/ 29 w 32"/>
                <a:gd name="T57" fmla="*/ 0 h 35"/>
                <a:gd name="T58" fmla="*/ 27 w 32"/>
                <a:gd name="T59" fmla="*/ 1 h 35"/>
                <a:gd name="T60" fmla="*/ 27 w 32"/>
                <a:gd name="T6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35">
                  <a:moveTo>
                    <a:pt x="27" y="1"/>
                  </a:moveTo>
                  <a:lnTo>
                    <a:pt x="27" y="1"/>
                  </a:lnTo>
                  <a:lnTo>
                    <a:pt x="27" y="1"/>
                  </a:lnTo>
                  <a:lnTo>
                    <a:pt x="15" y="11"/>
                  </a:lnTo>
                  <a:lnTo>
                    <a:pt x="15" y="11"/>
                  </a:lnTo>
                  <a:lnTo>
                    <a:pt x="5" y="23"/>
                  </a:lnTo>
                  <a:lnTo>
                    <a:pt x="1" y="30"/>
                  </a:lnTo>
                  <a:lnTo>
                    <a:pt x="1" y="30"/>
                  </a:lnTo>
                  <a:lnTo>
                    <a:pt x="1" y="30"/>
                  </a:lnTo>
                  <a:lnTo>
                    <a:pt x="0" y="32"/>
                  </a:lnTo>
                  <a:lnTo>
                    <a:pt x="1" y="34"/>
                  </a:lnTo>
                  <a:lnTo>
                    <a:pt x="1" y="34"/>
                  </a:lnTo>
                  <a:lnTo>
                    <a:pt x="4" y="35"/>
                  </a:lnTo>
                  <a:lnTo>
                    <a:pt x="6" y="34"/>
                  </a:lnTo>
                  <a:lnTo>
                    <a:pt x="6" y="34"/>
                  </a:lnTo>
                  <a:lnTo>
                    <a:pt x="6" y="33"/>
                  </a:lnTo>
                  <a:lnTo>
                    <a:pt x="11" y="27"/>
                  </a:lnTo>
                  <a:lnTo>
                    <a:pt x="11" y="27"/>
                  </a:lnTo>
                  <a:lnTo>
                    <a:pt x="20" y="16"/>
                  </a:lnTo>
                  <a:lnTo>
                    <a:pt x="20" y="16"/>
                  </a:lnTo>
                  <a:lnTo>
                    <a:pt x="31" y="6"/>
                  </a:lnTo>
                  <a:lnTo>
                    <a:pt x="31" y="6"/>
                  </a:lnTo>
                  <a:lnTo>
                    <a:pt x="31" y="6"/>
                  </a:lnTo>
                  <a:lnTo>
                    <a:pt x="31" y="6"/>
                  </a:lnTo>
                  <a:lnTo>
                    <a:pt x="31" y="6"/>
                  </a:lnTo>
                  <a:lnTo>
                    <a:pt x="32" y="4"/>
                  </a:lnTo>
                  <a:lnTo>
                    <a:pt x="31" y="1"/>
                  </a:lnTo>
                  <a:lnTo>
                    <a:pt x="31" y="1"/>
                  </a:lnTo>
                  <a:lnTo>
                    <a:pt x="29" y="0"/>
                  </a:lnTo>
                  <a:lnTo>
                    <a:pt x="27" y="1"/>
                  </a:ln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521" name="Freeform 56">
              <a:extLst>
                <a:ext uri="{FF2B5EF4-FFF2-40B4-BE49-F238E27FC236}">
                  <a16:creationId xmlns:a16="http://schemas.microsoft.com/office/drawing/2014/main" id="{9A82F85B-085F-4D8E-B022-4AE5DDB881D3}"/>
                </a:ext>
              </a:extLst>
            </p:cNvPr>
            <p:cNvSpPr>
              <a:spLocks/>
            </p:cNvSpPr>
            <p:nvPr/>
          </p:nvSpPr>
          <p:spPr bwMode="auto">
            <a:xfrm>
              <a:off x="4008440" y="2655092"/>
              <a:ext cx="87315" cy="95250"/>
            </a:xfrm>
            <a:custGeom>
              <a:avLst/>
              <a:gdLst>
                <a:gd name="T0" fmla="*/ 13 w 33"/>
                <a:gd name="T1" fmla="*/ 18 h 35"/>
                <a:gd name="T2" fmla="*/ 13 w 33"/>
                <a:gd name="T3" fmla="*/ 18 h 35"/>
                <a:gd name="T4" fmla="*/ 2 w 33"/>
                <a:gd name="T5" fmla="*/ 29 h 35"/>
                <a:gd name="T6" fmla="*/ 2 w 33"/>
                <a:gd name="T7" fmla="*/ 29 h 35"/>
                <a:gd name="T8" fmla="*/ 1 w 33"/>
                <a:gd name="T9" fmla="*/ 30 h 35"/>
                <a:gd name="T10" fmla="*/ 1 w 33"/>
                <a:gd name="T11" fmla="*/ 30 h 35"/>
                <a:gd name="T12" fmla="*/ 0 w 33"/>
                <a:gd name="T13" fmla="*/ 32 h 35"/>
                <a:gd name="T14" fmla="*/ 1 w 33"/>
                <a:gd name="T15" fmla="*/ 34 h 35"/>
                <a:gd name="T16" fmla="*/ 1 w 33"/>
                <a:gd name="T17" fmla="*/ 34 h 35"/>
                <a:gd name="T18" fmla="*/ 4 w 33"/>
                <a:gd name="T19" fmla="*/ 35 h 35"/>
                <a:gd name="T20" fmla="*/ 6 w 33"/>
                <a:gd name="T21" fmla="*/ 34 h 35"/>
                <a:gd name="T22" fmla="*/ 6 w 33"/>
                <a:gd name="T23" fmla="*/ 34 h 35"/>
                <a:gd name="T24" fmla="*/ 6 w 33"/>
                <a:gd name="T25" fmla="*/ 34 h 35"/>
                <a:gd name="T26" fmla="*/ 18 w 33"/>
                <a:gd name="T27" fmla="*/ 24 h 35"/>
                <a:gd name="T28" fmla="*/ 18 w 33"/>
                <a:gd name="T29" fmla="*/ 24 h 35"/>
                <a:gd name="T30" fmla="*/ 27 w 33"/>
                <a:gd name="T31" fmla="*/ 12 h 35"/>
                <a:gd name="T32" fmla="*/ 32 w 33"/>
                <a:gd name="T33" fmla="*/ 6 h 35"/>
                <a:gd name="T34" fmla="*/ 32 w 33"/>
                <a:gd name="T35" fmla="*/ 6 h 35"/>
                <a:gd name="T36" fmla="*/ 32 w 33"/>
                <a:gd name="T37" fmla="*/ 6 h 35"/>
                <a:gd name="T38" fmla="*/ 33 w 33"/>
                <a:gd name="T39" fmla="*/ 3 h 35"/>
                <a:gd name="T40" fmla="*/ 32 w 33"/>
                <a:gd name="T41" fmla="*/ 1 h 35"/>
                <a:gd name="T42" fmla="*/ 32 w 33"/>
                <a:gd name="T43" fmla="*/ 1 h 35"/>
                <a:gd name="T44" fmla="*/ 29 w 33"/>
                <a:gd name="T45" fmla="*/ 0 h 35"/>
                <a:gd name="T46" fmla="*/ 27 w 33"/>
                <a:gd name="T47" fmla="*/ 1 h 35"/>
                <a:gd name="T48" fmla="*/ 27 w 33"/>
                <a:gd name="T49" fmla="*/ 1 h 35"/>
                <a:gd name="T50" fmla="*/ 26 w 33"/>
                <a:gd name="T51" fmla="*/ 2 h 35"/>
                <a:gd name="T52" fmla="*/ 22 w 33"/>
                <a:gd name="T53" fmla="*/ 8 h 35"/>
                <a:gd name="T54" fmla="*/ 22 w 33"/>
                <a:gd name="T55" fmla="*/ 8 h 35"/>
                <a:gd name="T56" fmla="*/ 13 w 33"/>
                <a:gd name="T57" fmla="*/ 18 h 35"/>
                <a:gd name="T58" fmla="*/ 13 w 33"/>
                <a:gd name="T59"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5">
                  <a:moveTo>
                    <a:pt x="13" y="18"/>
                  </a:moveTo>
                  <a:lnTo>
                    <a:pt x="13" y="18"/>
                  </a:lnTo>
                  <a:lnTo>
                    <a:pt x="2" y="29"/>
                  </a:lnTo>
                  <a:lnTo>
                    <a:pt x="2" y="29"/>
                  </a:lnTo>
                  <a:lnTo>
                    <a:pt x="1" y="30"/>
                  </a:lnTo>
                  <a:lnTo>
                    <a:pt x="1" y="30"/>
                  </a:lnTo>
                  <a:lnTo>
                    <a:pt x="0" y="32"/>
                  </a:lnTo>
                  <a:lnTo>
                    <a:pt x="1" y="34"/>
                  </a:lnTo>
                  <a:lnTo>
                    <a:pt x="1" y="34"/>
                  </a:lnTo>
                  <a:lnTo>
                    <a:pt x="4" y="35"/>
                  </a:lnTo>
                  <a:lnTo>
                    <a:pt x="6" y="34"/>
                  </a:lnTo>
                  <a:lnTo>
                    <a:pt x="6" y="34"/>
                  </a:lnTo>
                  <a:lnTo>
                    <a:pt x="6" y="34"/>
                  </a:lnTo>
                  <a:lnTo>
                    <a:pt x="18" y="24"/>
                  </a:lnTo>
                  <a:lnTo>
                    <a:pt x="18" y="24"/>
                  </a:lnTo>
                  <a:lnTo>
                    <a:pt x="27" y="12"/>
                  </a:lnTo>
                  <a:lnTo>
                    <a:pt x="32" y="6"/>
                  </a:lnTo>
                  <a:lnTo>
                    <a:pt x="32" y="6"/>
                  </a:lnTo>
                  <a:lnTo>
                    <a:pt x="32" y="6"/>
                  </a:lnTo>
                  <a:lnTo>
                    <a:pt x="33" y="3"/>
                  </a:lnTo>
                  <a:lnTo>
                    <a:pt x="32" y="1"/>
                  </a:lnTo>
                  <a:lnTo>
                    <a:pt x="32" y="1"/>
                  </a:lnTo>
                  <a:lnTo>
                    <a:pt x="29" y="0"/>
                  </a:lnTo>
                  <a:lnTo>
                    <a:pt x="27" y="1"/>
                  </a:lnTo>
                  <a:lnTo>
                    <a:pt x="27" y="1"/>
                  </a:lnTo>
                  <a:lnTo>
                    <a:pt x="26" y="2"/>
                  </a:lnTo>
                  <a:lnTo>
                    <a:pt x="22" y="8"/>
                  </a:lnTo>
                  <a:lnTo>
                    <a:pt x="22" y="8"/>
                  </a:lnTo>
                  <a:lnTo>
                    <a:pt x="13" y="18"/>
                  </a:lnTo>
                  <a:lnTo>
                    <a:pt x="13"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535" name="Group 47">
            <a:extLst>
              <a:ext uri="{FF2B5EF4-FFF2-40B4-BE49-F238E27FC236}">
                <a16:creationId xmlns:a16="http://schemas.microsoft.com/office/drawing/2014/main" id="{35A1477B-21D8-4EE8-9D05-455302C276C9}"/>
              </a:ext>
            </a:extLst>
          </p:cNvPr>
          <p:cNvGrpSpPr>
            <a:grpSpLocks noChangeAspect="1"/>
          </p:cNvGrpSpPr>
          <p:nvPr/>
        </p:nvGrpSpPr>
        <p:grpSpPr>
          <a:xfrm>
            <a:off x="4009982" y="2233311"/>
            <a:ext cx="354560" cy="285619"/>
            <a:chOff x="8164513" y="1982788"/>
            <a:chExt cx="285750" cy="230188"/>
          </a:xfrm>
          <a:solidFill>
            <a:schemeClr val="bg1"/>
          </a:solidFill>
          <a:effectLst/>
        </p:grpSpPr>
        <p:sp>
          <p:nvSpPr>
            <p:cNvPr id="1536" name="Freeform 142">
              <a:extLst>
                <a:ext uri="{FF2B5EF4-FFF2-40B4-BE49-F238E27FC236}">
                  <a16:creationId xmlns:a16="http://schemas.microsoft.com/office/drawing/2014/main" id="{F0AC9B01-E880-4F84-9D17-3BD047056830}"/>
                </a:ext>
              </a:extLst>
            </p:cNvPr>
            <p:cNvSpPr>
              <a:spLocks noEditPoints="1"/>
            </p:cNvSpPr>
            <p:nvPr/>
          </p:nvSpPr>
          <p:spPr bwMode="auto">
            <a:xfrm>
              <a:off x="8164513" y="1982788"/>
              <a:ext cx="285750" cy="230188"/>
            </a:xfrm>
            <a:custGeom>
              <a:avLst/>
              <a:gdLst>
                <a:gd name="T0" fmla="*/ 260 w 902"/>
                <a:gd name="T1" fmla="*/ 444 h 722"/>
                <a:gd name="T2" fmla="*/ 251 w 902"/>
                <a:gd name="T3" fmla="*/ 375 h 722"/>
                <a:gd name="T4" fmla="*/ 369 w 902"/>
                <a:gd name="T5" fmla="*/ 301 h 722"/>
                <a:gd name="T6" fmla="*/ 422 w 902"/>
                <a:gd name="T7" fmla="*/ 282 h 722"/>
                <a:gd name="T8" fmla="*/ 450 w 902"/>
                <a:gd name="T9" fmla="*/ 235 h 722"/>
                <a:gd name="T10" fmla="*/ 871 w 902"/>
                <a:gd name="T11" fmla="*/ 415 h 722"/>
                <a:gd name="T12" fmla="*/ 827 w 902"/>
                <a:gd name="T13" fmla="*/ 451 h 722"/>
                <a:gd name="T14" fmla="*/ 663 w 902"/>
                <a:gd name="T15" fmla="*/ 568 h 722"/>
                <a:gd name="T16" fmla="*/ 491 w 902"/>
                <a:gd name="T17" fmla="*/ 572 h 722"/>
                <a:gd name="T18" fmla="*/ 377 w 902"/>
                <a:gd name="T19" fmla="*/ 581 h 722"/>
                <a:gd name="T20" fmla="*/ 382 w 902"/>
                <a:gd name="T21" fmla="*/ 599 h 722"/>
                <a:gd name="T22" fmla="*/ 512 w 902"/>
                <a:gd name="T23" fmla="*/ 610 h 722"/>
                <a:gd name="T24" fmla="*/ 524 w 902"/>
                <a:gd name="T25" fmla="*/ 664 h 722"/>
                <a:gd name="T26" fmla="*/ 436 w 902"/>
                <a:gd name="T27" fmla="*/ 692 h 722"/>
                <a:gd name="T28" fmla="*/ 110 w 902"/>
                <a:gd name="T29" fmla="*/ 660 h 722"/>
                <a:gd name="T30" fmla="*/ 39 w 902"/>
                <a:gd name="T31" fmla="*/ 564 h 722"/>
                <a:gd name="T32" fmla="*/ 34 w 902"/>
                <a:gd name="T33" fmla="*/ 333 h 722"/>
                <a:gd name="T34" fmla="*/ 72 w 902"/>
                <a:gd name="T35" fmla="*/ 234 h 722"/>
                <a:gd name="T36" fmla="*/ 140 w 902"/>
                <a:gd name="T37" fmla="*/ 175 h 722"/>
                <a:gd name="T38" fmla="*/ 240 w 902"/>
                <a:gd name="T39" fmla="*/ 151 h 722"/>
                <a:gd name="T40" fmla="*/ 416 w 902"/>
                <a:gd name="T41" fmla="*/ 177 h 722"/>
                <a:gd name="T42" fmla="*/ 419 w 902"/>
                <a:gd name="T43" fmla="*/ 236 h 722"/>
                <a:gd name="T44" fmla="*/ 392 w 902"/>
                <a:gd name="T45" fmla="*/ 265 h 722"/>
                <a:gd name="T46" fmla="*/ 273 w 902"/>
                <a:gd name="T47" fmla="*/ 277 h 722"/>
                <a:gd name="T48" fmla="*/ 214 w 902"/>
                <a:gd name="T49" fmla="*/ 369 h 722"/>
                <a:gd name="T50" fmla="*/ 171 w 902"/>
                <a:gd name="T51" fmla="*/ 391 h 722"/>
                <a:gd name="T52" fmla="*/ 151 w 902"/>
                <a:gd name="T53" fmla="*/ 401 h 722"/>
                <a:gd name="T54" fmla="*/ 156 w 902"/>
                <a:gd name="T55" fmla="*/ 419 h 722"/>
                <a:gd name="T56" fmla="*/ 210 w 902"/>
                <a:gd name="T57" fmla="*/ 410 h 722"/>
                <a:gd name="T58" fmla="*/ 229 w 902"/>
                <a:gd name="T59" fmla="*/ 455 h 722"/>
                <a:gd name="T60" fmla="*/ 271 w 902"/>
                <a:gd name="T61" fmla="*/ 480 h 722"/>
                <a:gd name="T62" fmla="*/ 671 w 902"/>
                <a:gd name="T63" fmla="*/ 490 h 722"/>
                <a:gd name="T64" fmla="*/ 240 w 902"/>
                <a:gd name="T65" fmla="*/ 67 h 722"/>
                <a:gd name="T66" fmla="*/ 270 w 902"/>
                <a:gd name="T67" fmla="*/ 32 h 722"/>
                <a:gd name="T68" fmla="*/ 863 w 902"/>
                <a:gd name="T69" fmla="*/ 52 h 722"/>
                <a:gd name="T70" fmla="*/ 419 w 902"/>
                <a:gd name="T71" fmla="*/ 139 h 722"/>
                <a:gd name="T72" fmla="*/ 240 w 902"/>
                <a:gd name="T73" fmla="*/ 120 h 722"/>
                <a:gd name="T74" fmla="*/ 251 w 902"/>
                <a:gd name="T75" fmla="*/ 6 h 722"/>
                <a:gd name="T76" fmla="*/ 217 w 902"/>
                <a:gd name="T77" fmla="*/ 35 h 722"/>
                <a:gd name="T78" fmla="*/ 191 w 902"/>
                <a:gd name="T79" fmla="*/ 126 h 722"/>
                <a:gd name="T80" fmla="*/ 66 w 902"/>
                <a:gd name="T81" fmla="*/ 193 h 722"/>
                <a:gd name="T82" fmla="*/ 23 w 902"/>
                <a:gd name="T83" fmla="*/ 263 h 722"/>
                <a:gd name="T84" fmla="*/ 1 w 902"/>
                <a:gd name="T85" fmla="*/ 359 h 722"/>
                <a:gd name="T86" fmla="*/ 4 w 902"/>
                <a:gd name="T87" fmla="*/ 553 h 722"/>
                <a:gd name="T88" fmla="*/ 78 w 902"/>
                <a:gd name="T89" fmla="*/ 673 h 722"/>
                <a:gd name="T90" fmla="*/ 190 w 902"/>
                <a:gd name="T91" fmla="*/ 721 h 722"/>
                <a:gd name="T92" fmla="*/ 501 w 902"/>
                <a:gd name="T93" fmla="*/ 721 h 722"/>
                <a:gd name="T94" fmla="*/ 537 w 902"/>
                <a:gd name="T95" fmla="*/ 701 h 722"/>
                <a:gd name="T96" fmla="*/ 553 w 902"/>
                <a:gd name="T97" fmla="*/ 623 h 722"/>
                <a:gd name="T98" fmla="*/ 675 w 902"/>
                <a:gd name="T99" fmla="*/ 596 h 722"/>
                <a:gd name="T100" fmla="*/ 712 w 902"/>
                <a:gd name="T101" fmla="*/ 562 h 722"/>
                <a:gd name="T102" fmla="*/ 720 w 902"/>
                <a:gd name="T103" fmla="*/ 515 h 722"/>
                <a:gd name="T104" fmla="*/ 841 w 902"/>
                <a:gd name="T105" fmla="*/ 480 h 722"/>
                <a:gd name="T106" fmla="*/ 884 w 902"/>
                <a:gd name="T107" fmla="*/ 454 h 722"/>
                <a:gd name="T108" fmla="*/ 902 w 902"/>
                <a:gd name="T109" fmla="*/ 406 h 722"/>
                <a:gd name="T110" fmla="*/ 888 w 902"/>
                <a:gd name="T111" fmla="*/ 35 h 722"/>
                <a:gd name="T112" fmla="*/ 848 w 902"/>
                <a:gd name="T113" fmla="*/ 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2" h="722">
                  <a:moveTo>
                    <a:pt x="827" y="451"/>
                  </a:moveTo>
                  <a:lnTo>
                    <a:pt x="646" y="451"/>
                  </a:lnTo>
                  <a:lnTo>
                    <a:pt x="391" y="451"/>
                  </a:lnTo>
                  <a:lnTo>
                    <a:pt x="285" y="451"/>
                  </a:lnTo>
                  <a:lnTo>
                    <a:pt x="276" y="450"/>
                  </a:lnTo>
                  <a:lnTo>
                    <a:pt x="269" y="448"/>
                  </a:lnTo>
                  <a:lnTo>
                    <a:pt x="260" y="444"/>
                  </a:lnTo>
                  <a:lnTo>
                    <a:pt x="254" y="437"/>
                  </a:lnTo>
                  <a:lnTo>
                    <a:pt x="249" y="431"/>
                  </a:lnTo>
                  <a:lnTo>
                    <a:pt x="244" y="424"/>
                  </a:lnTo>
                  <a:lnTo>
                    <a:pt x="241" y="415"/>
                  </a:lnTo>
                  <a:lnTo>
                    <a:pt x="240" y="406"/>
                  </a:lnTo>
                  <a:lnTo>
                    <a:pt x="240" y="386"/>
                  </a:lnTo>
                  <a:lnTo>
                    <a:pt x="251" y="375"/>
                  </a:lnTo>
                  <a:lnTo>
                    <a:pt x="260" y="364"/>
                  </a:lnTo>
                  <a:lnTo>
                    <a:pt x="268" y="352"/>
                  </a:lnTo>
                  <a:lnTo>
                    <a:pt x="275" y="340"/>
                  </a:lnTo>
                  <a:lnTo>
                    <a:pt x="287" y="319"/>
                  </a:lnTo>
                  <a:lnTo>
                    <a:pt x="296" y="301"/>
                  </a:lnTo>
                  <a:lnTo>
                    <a:pt x="361" y="301"/>
                  </a:lnTo>
                  <a:lnTo>
                    <a:pt x="369" y="301"/>
                  </a:lnTo>
                  <a:lnTo>
                    <a:pt x="377" y="300"/>
                  </a:lnTo>
                  <a:lnTo>
                    <a:pt x="385" y="298"/>
                  </a:lnTo>
                  <a:lnTo>
                    <a:pt x="393" y="296"/>
                  </a:lnTo>
                  <a:lnTo>
                    <a:pt x="401" y="294"/>
                  </a:lnTo>
                  <a:lnTo>
                    <a:pt x="408" y="291"/>
                  </a:lnTo>
                  <a:lnTo>
                    <a:pt x="416" y="286"/>
                  </a:lnTo>
                  <a:lnTo>
                    <a:pt x="422" y="282"/>
                  </a:lnTo>
                  <a:lnTo>
                    <a:pt x="429" y="277"/>
                  </a:lnTo>
                  <a:lnTo>
                    <a:pt x="434" y="271"/>
                  </a:lnTo>
                  <a:lnTo>
                    <a:pt x="438" y="265"/>
                  </a:lnTo>
                  <a:lnTo>
                    <a:pt x="442" y="259"/>
                  </a:lnTo>
                  <a:lnTo>
                    <a:pt x="446" y="251"/>
                  </a:lnTo>
                  <a:lnTo>
                    <a:pt x="449" y="244"/>
                  </a:lnTo>
                  <a:lnTo>
                    <a:pt x="450" y="235"/>
                  </a:lnTo>
                  <a:lnTo>
                    <a:pt x="451" y="226"/>
                  </a:lnTo>
                  <a:lnTo>
                    <a:pt x="451" y="196"/>
                  </a:lnTo>
                  <a:lnTo>
                    <a:pt x="450" y="189"/>
                  </a:lnTo>
                  <a:lnTo>
                    <a:pt x="449" y="181"/>
                  </a:lnTo>
                  <a:lnTo>
                    <a:pt x="872" y="181"/>
                  </a:lnTo>
                  <a:lnTo>
                    <a:pt x="872" y="406"/>
                  </a:lnTo>
                  <a:lnTo>
                    <a:pt x="871" y="415"/>
                  </a:lnTo>
                  <a:lnTo>
                    <a:pt x="868" y="424"/>
                  </a:lnTo>
                  <a:lnTo>
                    <a:pt x="863" y="431"/>
                  </a:lnTo>
                  <a:lnTo>
                    <a:pt x="858" y="437"/>
                  </a:lnTo>
                  <a:lnTo>
                    <a:pt x="851" y="444"/>
                  </a:lnTo>
                  <a:lnTo>
                    <a:pt x="843" y="448"/>
                  </a:lnTo>
                  <a:lnTo>
                    <a:pt x="836" y="450"/>
                  </a:lnTo>
                  <a:lnTo>
                    <a:pt x="827" y="451"/>
                  </a:lnTo>
                  <a:close/>
                  <a:moveTo>
                    <a:pt x="691" y="526"/>
                  </a:moveTo>
                  <a:lnTo>
                    <a:pt x="690" y="535"/>
                  </a:lnTo>
                  <a:lnTo>
                    <a:pt x="688" y="544"/>
                  </a:lnTo>
                  <a:lnTo>
                    <a:pt x="683" y="551"/>
                  </a:lnTo>
                  <a:lnTo>
                    <a:pt x="677" y="559"/>
                  </a:lnTo>
                  <a:lnTo>
                    <a:pt x="671" y="564"/>
                  </a:lnTo>
                  <a:lnTo>
                    <a:pt x="663" y="568"/>
                  </a:lnTo>
                  <a:lnTo>
                    <a:pt x="655" y="571"/>
                  </a:lnTo>
                  <a:lnTo>
                    <a:pt x="646" y="572"/>
                  </a:lnTo>
                  <a:lnTo>
                    <a:pt x="496" y="572"/>
                  </a:lnTo>
                  <a:lnTo>
                    <a:pt x="495" y="572"/>
                  </a:lnTo>
                  <a:lnTo>
                    <a:pt x="494" y="572"/>
                  </a:lnTo>
                  <a:lnTo>
                    <a:pt x="493" y="572"/>
                  </a:lnTo>
                  <a:lnTo>
                    <a:pt x="491" y="572"/>
                  </a:lnTo>
                  <a:lnTo>
                    <a:pt x="391" y="572"/>
                  </a:lnTo>
                  <a:lnTo>
                    <a:pt x="388" y="572"/>
                  </a:lnTo>
                  <a:lnTo>
                    <a:pt x="385" y="574"/>
                  </a:lnTo>
                  <a:lnTo>
                    <a:pt x="382" y="575"/>
                  </a:lnTo>
                  <a:lnTo>
                    <a:pt x="380" y="577"/>
                  </a:lnTo>
                  <a:lnTo>
                    <a:pt x="378" y="579"/>
                  </a:lnTo>
                  <a:lnTo>
                    <a:pt x="377" y="581"/>
                  </a:lnTo>
                  <a:lnTo>
                    <a:pt x="376" y="584"/>
                  </a:lnTo>
                  <a:lnTo>
                    <a:pt x="376" y="587"/>
                  </a:lnTo>
                  <a:lnTo>
                    <a:pt x="376" y="590"/>
                  </a:lnTo>
                  <a:lnTo>
                    <a:pt x="377" y="593"/>
                  </a:lnTo>
                  <a:lnTo>
                    <a:pt x="378" y="595"/>
                  </a:lnTo>
                  <a:lnTo>
                    <a:pt x="380" y="598"/>
                  </a:lnTo>
                  <a:lnTo>
                    <a:pt x="382" y="599"/>
                  </a:lnTo>
                  <a:lnTo>
                    <a:pt x="385" y="601"/>
                  </a:lnTo>
                  <a:lnTo>
                    <a:pt x="388" y="601"/>
                  </a:lnTo>
                  <a:lnTo>
                    <a:pt x="391" y="602"/>
                  </a:lnTo>
                  <a:lnTo>
                    <a:pt x="491" y="602"/>
                  </a:lnTo>
                  <a:lnTo>
                    <a:pt x="499" y="604"/>
                  </a:lnTo>
                  <a:lnTo>
                    <a:pt x="506" y="606"/>
                  </a:lnTo>
                  <a:lnTo>
                    <a:pt x="512" y="610"/>
                  </a:lnTo>
                  <a:lnTo>
                    <a:pt x="517" y="616"/>
                  </a:lnTo>
                  <a:lnTo>
                    <a:pt x="521" y="623"/>
                  </a:lnTo>
                  <a:lnTo>
                    <a:pt x="524" y="630"/>
                  </a:lnTo>
                  <a:lnTo>
                    <a:pt x="525" y="639"/>
                  </a:lnTo>
                  <a:lnTo>
                    <a:pt x="526" y="647"/>
                  </a:lnTo>
                  <a:lnTo>
                    <a:pt x="525" y="656"/>
                  </a:lnTo>
                  <a:lnTo>
                    <a:pt x="524" y="664"/>
                  </a:lnTo>
                  <a:lnTo>
                    <a:pt x="521" y="671"/>
                  </a:lnTo>
                  <a:lnTo>
                    <a:pt x="516" y="679"/>
                  </a:lnTo>
                  <a:lnTo>
                    <a:pt x="512" y="684"/>
                  </a:lnTo>
                  <a:lnTo>
                    <a:pt x="506" y="688"/>
                  </a:lnTo>
                  <a:lnTo>
                    <a:pt x="499" y="691"/>
                  </a:lnTo>
                  <a:lnTo>
                    <a:pt x="491" y="692"/>
                  </a:lnTo>
                  <a:lnTo>
                    <a:pt x="436" y="692"/>
                  </a:lnTo>
                  <a:lnTo>
                    <a:pt x="210" y="692"/>
                  </a:lnTo>
                  <a:lnTo>
                    <a:pt x="192" y="691"/>
                  </a:lnTo>
                  <a:lnTo>
                    <a:pt x="175" y="688"/>
                  </a:lnTo>
                  <a:lnTo>
                    <a:pt x="158" y="684"/>
                  </a:lnTo>
                  <a:lnTo>
                    <a:pt x="141" y="677"/>
                  </a:lnTo>
                  <a:lnTo>
                    <a:pt x="125" y="670"/>
                  </a:lnTo>
                  <a:lnTo>
                    <a:pt x="110" y="660"/>
                  </a:lnTo>
                  <a:lnTo>
                    <a:pt x="96" y="650"/>
                  </a:lnTo>
                  <a:lnTo>
                    <a:pt x="84" y="638"/>
                  </a:lnTo>
                  <a:lnTo>
                    <a:pt x="72" y="625"/>
                  </a:lnTo>
                  <a:lnTo>
                    <a:pt x="61" y="611"/>
                  </a:lnTo>
                  <a:lnTo>
                    <a:pt x="53" y="596"/>
                  </a:lnTo>
                  <a:lnTo>
                    <a:pt x="44" y="581"/>
                  </a:lnTo>
                  <a:lnTo>
                    <a:pt x="39" y="564"/>
                  </a:lnTo>
                  <a:lnTo>
                    <a:pt x="33" y="547"/>
                  </a:lnTo>
                  <a:lnTo>
                    <a:pt x="31" y="530"/>
                  </a:lnTo>
                  <a:lnTo>
                    <a:pt x="30" y="511"/>
                  </a:lnTo>
                  <a:lnTo>
                    <a:pt x="30" y="391"/>
                  </a:lnTo>
                  <a:lnTo>
                    <a:pt x="30" y="371"/>
                  </a:lnTo>
                  <a:lnTo>
                    <a:pt x="32" y="351"/>
                  </a:lnTo>
                  <a:lnTo>
                    <a:pt x="34" y="333"/>
                  </a:lnTo>
                  <a:lnTo>
                    <a:pt x="38" y="315"/>
                  </a:lnTo>
                  <a:lnTo>
                    <a:pt x="42" y="299"/>
                  </a:lnTo>
                  <a:lnTo>
                    <a:pt x="46" y="284"/>
                  </a:lnTo>
                  <a:lnTo>
                    <a:pt x="51" y="270"/>
                  </a:lnTo>
                  <a:lnTo>
                    <a:pt x="58" y="258"/>
                  </a:lnTo>
                  <a:lnTo>
                    <a:pt x="64" y="246"/>
                  </a:lnTo>
                  <a:lnTo>
                    <a:pt x="72" y="234"/>
                  </a:lnTo>
                  <a:lnTo>
                    <a:pt x="79" y="224"/>
                  </a:lnTo>
                  <a:lnTo>
                    <a:pt x="87" y="215"/>
                  </a:lnTo>
                  <a:lnTo>
                    <a:pt x="95" y="206"/>
                  </a:lnTo>
                  <a:lnTo>
                    <a:pt x="104" y="199"/>
                  </a:lnTo>
                  <a:lnTo>
                    <a:pt x="113" y="192"/>
                  </a:lnTo>
                  <a:lnTo>
                    <a:pt x="122" y="186"/>
                  </a:lnTo>
                  <a:lnTo>
                    <a:pt x="140" y="175"/>
                  </a:lnTo>
                  <a:lnTo>
                    <a:pt x="159" y="166"/>
                  </a:lnTo>
                  <a:lnTo>
                    <a:pt x="176" y="161"/>
                  </a:lnTo>
                  <a:lnTo>
                    <a:pt x="193" y="157"/>
                  </a:lnTo>
                  <a:lnTo>
                    <a:pt x="208" y="154"/>
                  </a:lnTo>
                  <a:lnTo>
                    <a:pt x="221" y="153"/>
                  </a:lnTo>
                  <a:lnTo>
                    <a:pt x="232" y="151"/>
                  </a:lnTo>
                  <a:lnTo>
                    <a:pt x="240" y="151"/>
                  </a:lnTo>
                  <a:lnTo>
                    <a:pt x="361" y="151"/>
                  </a:lnTo>
                  <a:lnTo>
                    <a:pt x="372" y="151"/>
                  </a:lnTo>
                  <a:lnTo>
                    <a:pt x="382" y="154"/>
                  </a:lnTo>
                  <a:lnTo>
                    <a:pt x="392" y="158"/>
                  </a:lnTo>
                  <a:lnTo>
                    <a:pt x="402" y="163"/>
                  </a:lnTo>
                  <a:lnTo>
                    <a:pt x="409" y="170"/>
                  </a:lnTo>
                  <a:lnTo>
                    <a:pt x="416" y="177"/>
                  </a:lnTo>
                  <a:lnTo>
                    <a:pt x="418" y="181"/>
                  </a:lnTo>
                  <a:lnTo>
                    <a:pt x="419" y="186"/>
                  </a:lnTo>
                  <a:lnTo>
                    <a:pt x="420" y="191"/>
                  </a:lnTo>
                  <a:lnTo>
                    <a:pt x="421" y="196"/>
                  </a:lnTo>
                  <a:lnTo>
                    <a:pt x="421" y="226"/>
                  </a:lnTo>
                  <a:lnTo>
                    <a:pt x="420" y="232"/>
                  </a:lnTo>
                  <a:lnTo>
                    <a:pt x="419" y="236"/>
                  </a:lnTo>
                  <a:lnTo>
                    <a:pt x="418" y="241"/>
                  </a:lnTo>
                  <a:lnTo>
                    <a:pt x="416" y="246"/>
                  </a:lnTo>
                  <a:lnTo>
                    <a:pt x="412" y="250"/>
                  </a:lnTo>
                  <a:lnTo>
                    <a:pt x="409" y="253"/>
                  </a:lnTo>
                  <a:lnTo>
                    <a:pt x="406" y="256"/>
                  </a:lnTo>
                  <a:lnTo>
                    <a:pt x="402" y="260"/>
                  </a:lnTo>
                  <a:lnTo>
                    <a:pt x="392" y="265"/>
                  </a:lnTo>
                  <a:lnTo>
                    <a:pt x="382" y="268"/>
                  </a:lnTo>
                  <a:lnTo>
                    <a:pt x="372" y="270"/>
                  </a:lnTo>
                  <a:lnTo>
                    <a:pt x="360" y="271"/>
                  </a:lnTo>
                  <a:lnTo>
                    <a:pt x="285" y="271"/>
                  </a:lnTo>
                  <a:lnTo>
                    <a:pt x="281" y="273"/>
                  </a:lnTo>
                  <a:lnTo>
                    <a:pt x="276" y="274"/>
                  </a:lnTo>
                  <a:lnTo>
                    <a:pt x="273" y="277"/>
                  </a:lnTo>
                  <a:lnTo>
                    <a:pt x="271" y="281"/>
                  </a:lnTo>
                  <a:lnTo>
                    <a:pt x="267" y="291"/>
                  </a:lnTo>
                  <a:lnTo>
                    <a:pt x="256" y="313"/>
                  </a:lnTo>
                  <a:lnTo>
                    <a:pt x="249" y="327"/>
                  </a:lnTo>
                  <a:lnTo>
                    <a:pt x="239" y="342"/>
                  </a:lnTo>
                  <a:lnTo>
                    <a:pt x="227" y="356"/>
                  </a:lnTo>
                  <a:lnTo>
                    <a:pt x="214" y="369"/>
                  </a:lnTo>
                  <a:lnTo>
                    <a:pt x="214" y="369"/>
                  </a:lnTo>
                  <a:lnTo>
                    <a:pt x="214" y="370"/>
                  </a:lnTo>
                  <a:lnTo>
                    <a:pt x="204" y="379"/>
                  </a:lnTo>
                  <a:lnTo>
                    <a:pt x="192" y="385"/>
                  </a:lnTo>
                  <a:lnTo>
                    <a:pt x="185" y="388"/>
                  </a:lnTo>
                  <a:lnTo>
                    <a:pt x="179" y="390"/>
                  </a:lnTo>
                  <a:lnTo>
                    <a:pt x="171" y="391"/>
                  </a:lnTo>
                  <a:lnTo>
                    <a:pt x="165" y="391"/>
                  </a:lnTo>
                  <a:lnTo>
                    <a:pt x="162" y="391"/>
                  </a:lnTo>
                  <a:lnTo>
                    <a:pt x="160" y="393"/>
                  </a:lnTo>
                  <a:lnTo>
                    <a:pt x="156" y="395"/>
                  </a:lnTo>
                  <a:lnTo>
                    <a:pt x="154" y="396"/>
                  </a:lnTo>
                  <a:lnTo>
                    <a:pt x="152" y="398"/>
                  </a:lnTo>
                  <a:lnTo>
                    <a:pt x="151" y="401"/>
                  </a:lnTo>
                  <a:lnTo>
                    <a:pt x="150" y="403"/>
                  </a:lnTo>
                  <a:lnTo>
                    <a:pt x="150" y="406"/>
                  </a:lnTo>
                  <a:lnTo>
                    <a:pt x="150" y="410"/>
                  </a:lnTo>
                  <a:lnTo>
                    <a:pt x="151" y="413"/>
                  </a:lnTo>
                  <a:lnTo>
                    <a:pt x="152" y="415"/>
                  </a:lnTo>
                  <a:lnTo>
                    <a:pt x="154" y="417"/>
                  </a:lnTo>
                  <a:lnTo>
                    <a:pt x="156" y="419"/>
                  </a:lnTo>
                  <a:lnTo>
                    <a:pt x="160" y="420"/>
                  </a:lnTo>
                  <a:lnTo>
                    <a:pt x="162" y="421"/>
                  </a:lnTo>
                  <a:lnTo>
                    <a:pt x="165" y="421"/>
                  </a:lnTo>
                  <a:lnTo>
                    <a:pt x="177" y="420"/>
                  </a:lnTo>
                  <a:lnTo>
                    <a:pt x="189" y="418"/>
                  </a:lnTo>
                  <a:lnTo>
                    <a:pt x="200" y="414"/>
                  </a:lnTo>
                  <a:lnTo>
                    <a:pt x="210" y="410"/>
                  </a:lnTo>
                  <a:lnTo>
                    <a:pt x="211" y="416"/>
                  </a:lnTo>
                  <a:lnTo>
                    <a:pt x="212" y="424"/>
                  </a:lnTo>
                  <a:lnTo>
                    <a:pt x="214" y="430"/>
                  </a:lnTo>
                  <a:lnTo>
                    <a:pt x="217" y="437"/>
                  </a:lnTo>
                  <a:lnTo>
                    <a:pt x="221" y="443"/>
                  </a:lnTo>
                  <a:lnTo>
                    <a:pt x="224" y="449"/>
                  </a:lnTo>
                  <a:lnTo>
                    <a:pt x="229" y="455"/>
                  </a:lnTo>
                  <a:lnTo>
                    <a:pt x="234" y="460"/>
                  </a:lnTo>
                  <a:lnTo>
                    <a:pt x="239" y="465"/>
                  </a:lnTo>
                  <a:lnTo>
                    <a:pt x="244" y="470"/>
                  </a:lnTo>
                  <a:lnTo>
                    <a:pt x="251" y="473"/>
                  </a:lnTo>
                  <a:lnTo>
                    <a:pt x="257" y="476"/>
                  </a:lnTo>
                  <a:lnTo>
                    <a:pt x="264" y="478"/>
                  </a:lnTo>
                  <a:lnTo>
                    <a:pt x="271" y="480"/>
                  </a:lnTo>
                  <a:lnTo>
                    <a:pt x="279" y="481"/>
                  </a:lnTo>
                  <a:lnTo>
                    <a:pt x="285" y="481"/>
                  </a:lnTo>
                  <a:lnTo>
                    <a:pt x="391" y="481"/>
                  </a:lnTo>
                  <a:lnTo>
                    <a:pt x="646" y="481"/>
                  </a:lnTo>
                  <a:lnTo>
                    <a:pt x="655" y="482"/>
                  </a:lnTo>
                  <a:lnTo>
                    <a:pt x="663" y="486"/>
                  </a:lnTo>
                  <a:lnTo>
                    <a:pt x="671" y="490"/>
                  </a:lnTo>
                  <a:lnTo>
                    <a:pt x="677" y="495"/>
                  </a:lnTo>
                  <a:lnTo>
                    <a:pt x="683" y="503"/>
                  </a:lnTo>
                  <a:lnTo>
                    <a:pt x="688" y="510"/>
                  </a:lnTo>
                  <a:lnTo>
                    <a:pt x="690" y="518"/>
                  </a:lnTo>
                  <a:lnTo>
                    <a:pt x="691" y="527"/>
                  </a:lnTo>
                  <a:lnTo>
                    <a:pt x="691" y="526"/>
                  </a:lnTo>
                  <a:close/>
                  <a:moveTo>
                    <a:pt x="240" y="67"/>
                  </a:moveTo>
                  <a:lnTo>
                    <a:pt x="241" y="59"/>
                  </a:lnTo>
                  <a:lnTo>
                    <a:pt x="243" y="52"/>
                  </a:lnTo>
                  <a:lnTo>
                    <a:pt x="246" y="45"/>
                  </a:lnTo>
                  <a:lnTo>
                    <a:pt x="251" y="41"/>
                  </a:lnTo>
                  <a:lnTo>
                    <a:pt x="256" y="37"/>
                  </a:lnTo>
                  <a:lnTo>
                    <a:pt x="262" y="34"/>
                  </a:lnTo>
                  <a:lnTo>
                    <a:pt x="270" y="32"/>
                  </a:lnTo>
                  <a:lnTo>
                    <a:pt x="279" y="30"/>
                  </a:lnTo>
                  <a:lnTo>
                    <a:pt x="827" y="30"/>
                  </a:lnTo>
                  <a:lnTo>
                    <a:pt x="836" y="32"/>
                  </a:lnTo>
                  <a:lnTo>
                    <a:pt x="843" y="35"/>
                  </a:lnTo>
                  <a:lnTo>
                    <a:pt x="851" y="39"/>
                  </a:lnTo>
                  <a:lnTo>
                    <a:pt x="858" y="44"/>
                  </a:lnTo>
                  <a:lnTo>
                    <a:pt x="863" y="52"/>
                  </a:lnTo>
                  <a:lnTo>
                    <a:pt x="868" y="59"/>
                  </a:lnTo>
                  <a:lnTo>
                    <a:pt x="871" y="67"/>
                  </a:lnTo>
                  <a:lnTo>
                    <a:pt x="872" y="75"/>
                  </a:lnTo>
                  <a:lnTo>
                    <a:pt x="872" y="151"/>
                  </a:lnTo>
                  <a:lnTo>
                    <a:pt x="433" y="151"/>
                  </a:lnTo>
                  <a:lnTo>
                    <a:pt x="426" y="144"/>
                  </a:lnTo>
                  <a:lnTo>
                    <a:pt x="419" y="139"/>
                  </a:lnTo>
                  <a:lnTo>
                    <a:pt x="410" y="133"/>
                  </a:lnTo>
                  <a:lnTo>
                    <a:pt x="401" y="129"/>
                  </a:lnTo>
                  <a:lnTo>
                    <a:pt x="391" y="126"/>
                  </a:lnTo>
                  <a:lnTo>
                    <a:pt x="381" y="123"/>
                  </a:lnTo>
                  <a:lnTo>
                    <a:pt x="371" y="121"/>
                  </a:lnTo>
                  <a:lnTo>
                    <a:pt x="360" y="121"/>
                  </a:lnTo>
                  <a:lnTo>
                    <a:pt x="240" y="120"/>
                  </a:lnTo>
                  <a:lnTo>
                    <a:pt x="240" y="67"/>
                  </a:lnTo>
                  <a:close/>
                  <a:moveTo>
                    <a:pt x="827" y="0"/>
                  </a:moveTo>
                  <a:lnTo>
                    <a:pt x="279" y="0"/>
                  </a:lnTo>
                  <a:lnTo>
                    <a:pt x="271" y="2"/>
                  </a:lnTo>
                  <a:lnTo>
                    <a:pt x="264" y="2"/>
                  </a:lnTo>
                  <a:lnTo>
                    <a:pt x="257" y="4"/>
                  </a:lnTo>
                  <a:lnTo>
                    <a:pt x="251" y="6"/>
                  </a:lnTo>
                  <a:lnTo>
                    <a:pt x="244" y="8"/>
                  </a:lnTo>
                  <a:lnTo>
                    <a:pt x="239" y="11"/>
                  </a:lnTo>
                  <a:lnTo>
                    <a:pt x="234" y="15"/>
                  </a:lnTo>
                  <a:lnTo>
                    <a:pt x="229" y="20"/>
                  </a:lnTo>
                  <a:lnTo>
                    <a:pt x="225" y="24"/>
                  </a:lnTo>
                  <a:lnTo>
                    <a:pt x="221" y="29"/>
                  </a:lnTo>
                  <a:lnTo>
                    <a:pt x="217" y="35"/>
                  </a:lnTo>
                  <a:lnTo>
                    <a:pt x="215" y="40"/>
                  </a:lnTo>
                  <a:lnTo>
                    <a:pt x="213" y="47"/>
                  </a:lnTo>
                  <a:lnTo>
                    <a:pt x="211" y="53"/>
                  </a:lnTo>
                  <a:lnTo>
                    <a:pt x="210" y="60"/>
                  </a:lnTo>
                  <a:lnTo>
                    <a:pt x="210" y="68"/>
                  </a:lnTo>
                  <a:lnTo>
                    <a:pt x="210" y="123"/>
                  </a:lnTo>
                  <a:lnTo>
                    <a:pt x="191" y="126"/>
                  </a:lnTo>
                  <a:lnTo>
                    <a:pt x="171" y="130"/>
                  </a:lnTo>
                  <a:lnTo>
                    <a:pt x="152" y="136"/>
                  </a:lnTo>
                  <a:lnTo>
                    <a:pt x="134" y="144"/>
                  </a:lnTo>
                  <a:lnTo>
                    <a:pt x="116" y="154"/>
                  </a:lnTo>
                  <a:lnTo>
                    <a:pt x="99" y="165"/>
                  </a:lnTo>
                  <a:lnTo>
                    <a:pt x="81" y="178"/>
                  </a:lnTo>
                  <a:lnTo>
                    <a:pt x="66" y="193"/>
                  </a:lnTo>
                  <a:lnTo>
                    <a:pt x="59" y="202"/>
                  </a:lnTo>
                  <a:lnTo>
                    <a:pt x="53" y="210"/>
                  </a:lnTo>
                  <a:lnTo>
                    <a:pt x="45" y="220"/>
                  </a:lnTo>
                  <a:lnTo>
                    <a:pt x="39" y="230"/>
                  </a:lnTo>
                  <a:lnTo>
                    <a:pt x="33" y="240"/>
                  </a:lnTo>
                  <a:lnTo>
                    <a:pt x="28" y="251"/>
                  </a:lnTo>
                  <a:lnTo>
                    <a:pt x="23" y="263"/>
                  </a:lnTo>
                  <a:lnTo>
                    <a:pt x="18" y="275"/>
                  </a:lnTo>
                  <a:lnTo>
                    <a:pt x="14" y="288"/>
                  </a:lnTo>
                  <a:lnTo>
                    <a:pt x="11" y="300"/>
                  </a:lnTo>
                  <a:lnTo>
                    <a:pt x="8" y="314"/>
                  </a:lnTo>
                  <a:lnTo>
                    <a:pt x="4" y="328"/>
                  </a:lnTo>
                  <a:lnTo>
                    <a:pt x="2" y="343"/>
                  </a:lnTo>
                  <a:lnTo>
                    <a:pt x="1" y="359"/>
                  </a:lnTo>
                  <a:lnTo>
                    <a:pt x="0" y="375"/>
                  </a:lnTo>
                  <a:lnTo>
                    <a:pt x="0" y="391"/>
                  </a:lnTo>
                  <a:lnTo>
                    <a:pt x="0" y="511"/>
                  </a:lnTo>
                  <a:lnTo>
                    <a:pt x="0" y="522"/>
                  </a:lnTo>
                  <a:lnTo>
                    <a:pt x="1" y="533"/>
                  </a:lnTo>
                  <a:lnTo>
                    <a:pt x="2" y="542"/>
                  </a:lnTo>
                  <a:lnTo>
                    <a:pt x="4" y="553"/>
                  </a:lnTo>
                  <a:lnTo>
                    <a:pt x="10" y="572"/>
                  </a:lnTo>
                  <a:lnTo>
                    <a:pt x="17" y="592"/>
                  </a:lnTo>
                  <a:lnTo>
                    <a:pt x="26" y="610"/>
                  </a:lnTo>
                  <a:lnTo>
                    <a:pt x="36" y="628"/>
                  </a:lnTo>
                  <a:lnTo>
                    <a:pt x="49" y="644"/>
                  </a:lnTo>
                  <a:lnTo>
                    <a:pt x="63" y="659"/>
                  </a:lnTo>
                  <a:lnTo>
                    <a:pt x="78" y="673"/>
                  </a:lnTo>
                  <a:lnTo>
                    <a:pt x="94" y="685"/>
                  </a:lnTo>
                  <a:lnTo>
                    <a:pt x="111" y="696"/>
                  </a:lnTo>
                  <a:lnTo>
                    <a:pt x="130" y="705"/>
                  </a:lnTo>
                  <a:lnTo>
                    <a:pt x="149" y="713"/>
                  </a:lnTo>
                  <a:lnTo>
                    <a:pt x="169" y="718"/>
                  </a:lnTo>
                  <a:lnTo>
                    <a:pt x="179" y="720"/>
                  </a:lnTo>
                  <a:lnTo>
                    <a:pt x="190" y="721"/>
                  </a:lnTo>
                  <a:lnTo>
                    <a:pt x="199" y="722"/>
                  </a:lnTo>
                  <a:lnTo>
                    <a:pt x="210" y="722"/>
                  </a:lnTo>
                  <a:lnTo>
                    <a:pt x="436" y="722"/>
                  </a:lnTo>
                  <a:lnTo>
                    <a:pt x="491" y="722"/>
                  </a:lnTo>
                  <a:lnTo>
                    <a:pt x="496" y="722"/>
                  </a:lnTo>
                  <a:lnTo>
                    <a:pt x="499" y="722"/>
                  </a:lnTo>
                  <a:lnTo>
                    <a:pt x="501" y="721"/>
                  </a:lnTo>
                  <a:lnTo>
                    <a:pt x="508" y="720"/>
                  </a:lnTo>
                  <a:lnTo>
                    <a:pt x="513" y="718"/>
                  </a:lnTo>
                  <a:lnTo>
                    <a:pt x="519" y="716"/>
                  </a:lnTo>
                  <a:lnTo>
                    <a:pt x="524" y="713"/>
                  </a:lnTo>
                  <a:lnTo>
                    <a:pt x="528" y="710"/>
                  </a:lnTo>
                  <a:lnTo>
                    <a:pt x="532" y="705"/>
                  </a:lnTo>
                  <a:lnTo>
                    <a:pt x="537" y="701"/>
                  </a:lnTo>
                  <a:lnTo>
                    <a:pt x="541" y="697"/>
                  </a:lnTo>
                  <a:lnTo>
                    <a:pt x="547" y="686"/>
                  </a:lnTo>
                  <a:lnTo>
                    <a:pt x="552" y="674"/>
                  </a:lnTo>
                  <a:lnTo>
                    <a:pt x="555" y="661"/>
                  </a:lnTo>
                  <a:lnTo>
                    <a:pt x="556" y="647"/>
                  </a:lnTo>
                  <a:lnTo>
                    <a:pt x="555" y="635"/>
                  </a:lnTo>
                  <a:lnTo>
                    <a:pt x="553" y="623"/>
                  </a:lnTo>
                  <a:lnTo>
                    <a:pt x="549" y="612"/>
                  </a:lnTo>
                  <a:lnTo>
                    <a:pt x="543" y="602"/>
                  </a:lnTo>
                  <a:lnTo>
                    <a:pt x="646" y="602"/>
                  </a:lnTo>
                  <a:lnTo>
                    <a:pt x="653" y="601"/>
                  </a:lnTo>
                  <a:lnTo>
                    <a:pt x="661" y="600"/>
                  </a:lnTo>
                  <a:lnTo>
                    <a:pt x="668" y="598"/>
                  </a:lnTo>
                  <a:lnTo>
                    <a:pt x="675" y="596"/>
                  </a:lnTo>
                  <a:lnTo>
                    <a:pt x="681" y="593"/>
                  </a:lnTo>
                  <a:lnTo>
                    <a:pt x="688" y="589"/>
                  </a:lnTo>
                  <a:lnTo>
                    <a:pt x="693" y="584"/>
                  </a:lnTo>
                  <a:lnTo>
                    <a:pt x="698" y="580"/>
                  </a:lnTo>
                  <a:lnTo>
                    <a:pt x="704" y="575"/>
                  </a:lnTo>
                  <a:lnTo>
                    <a:pt x="708" y="568"/>
                  </a:lnTo>
                  <a:lnTo>
                    <a:pt x="712" y="562"/>
                  </a:lnTo>
                  <a:lnTo>
                    <a:pt x="716" y="555"/>
                  </a:lnTo>
                  <a:lnTo>
                    <a:pt x="718" y="549"/>
                  </a:lnTo>
                  <a:lnTo>
                    <a:pt x="720" y="541"/>
                  </a:lnTo>
                  <a:lnTo>
                    <a:pt x="721" y="534"/>
                  </a:lnTo>
                  <a:lnTo>
                    <a:pt x="721" y="527"/>
                  </a:lnTo>
                  <a:lnTo>
                    <a:pt x="721" y="521"/>
                  </a:lnTo>
                  <a:lnTo>
                    <a:pt x="720" y="515"/>
                  </a:lnTo>
                  <a:lnTo>
                    <a:pt x="719" y="508"/>
                  </a:lnTo>
                  <a:lnTo>
                    <a:pt x="717" y="503"/>
                  </a:lnTo>
                  <a:lnTo>
                    <a:pt x="711" y="492"/>
                  </a:lnTo>
                  <a:lnTo>
                    <a:pt x="705" y="481"/>
                  </a:lnTo>
                  <a:lnTo>
                    <a:pt x="827" y="481"/>
                  </a:lnTo>
                  <a:lnTo>
                    <a:pt x="835" y="481"/>
                  </a:lnTo>
                  <a:lnTo>
                    <a:pt x="841" y="480"/>
                  </a:lnTo>
                  <a:lnTo>
                    <a:pt x="848" y="478"/>
                  </a:lnTo>
                  <a:lnTo>
                    <a:pt x="855" y="476"/>
                  </a:lnTo>
                  <a:lnTo>
                    <a:pt x="861" y="473"/>
                  </a:lnTo>
                  <a:lnTo>
                    <a:pt x="868" y="469"/>
                  </a:lnTo>
                  <a:lnTo>
                    <a:pt x="874" y="464"/>
                  </a:lnTo>
                  <a:lnTo>
                    <a:pt x="880" y="459"/>
                  </a:lnTo>
                  <a:lnTo>
                    <a:pt x="884" y="454"/>
                  </a:lnTo>
                  <a:lnTo>
                    <a:pt x="888" y="448"/>
                  </a:lnTo>
                  <a:lnTo>
                    <a:pt x="892" y="442"/>
                  </a:lnTo>
                  <a:lnTo>
                    <a:pt x="896" y="435"/>
                  </a:lnTo>
                  <a:lnTo>
                    <a:pt x="898" y="429"/>
                  </a:lnTo>
                  <a:lnTo>
                    <a:pt x="900" y="421"/>
                  </a:lnTo>
                  <a:lnTo>
                    <a:pt x="901" y="414"/>
                  </a:lnTo>
                  <a:lnTo>
                    <a:pt x="902" y="406"/>
                  </a:lnTo>
                  <a:lnTo>
                    <a:pt x="902" y="75"/>
                  </a:lnTo>
                  <a:lnTo>
                    <a:pt x="901" y="69"/>
                  </a:lnTo>
                  <a:lnTo>
                    <a:pt x="900" y="62"/>
                  </a:lnTo>
                  <a:lnTo>
                    <a:pt x="898" y="54"/>
                  </a:lnTo>
                  <a:lnTo>
                    <a:pt x="896" y="48"/>
                  </a:lnTo>
                  <a:lnTo>
                    <a:pt x="892" y="41"/>
                  </a:lnTo>
                  <a:lnTo>
                    <a:pt x="888" y="35"/>
                  </a:lnTo>
                  <a:lnTo>
                    <a:pt x="884" y="29"/>
                  </a:lnTo>
                  <a:lnTo>
                    <a:pt x="878" y="24"/>
                  </a:lnTo>
                  <a:lnTo>
                    <a:pt x="873" y="19"/>
                  </a:lnTo>
                  <a:lnTo>
                    <a:pt x="868" y="14"/>
                  </a:lnTo>
                  <a:lnTo>
                    <a:pt x="861" y="10"/>
                  </a:lnTo>
                  <a:lnTo>
                    <a:pt x="855" y="7"/>
                  </a:lnTo>
                  <a:lnTo>
                    <a:pt x="848" y="5"/>
                  </a:lnTo>
                  <a:lnTo>
                    <a:pt x="841" y="3"/>
                  </a:lnTo>
                  <a:lnTo>
                    <a:pt x="833" y="2"/>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143">
              <a:extLst>
                <a:ext uri="{FF2B5EF4-FFF2-40B4-BE49-F238E27FC236}">
                  <a16:creationId xmlns:a16="http://schemas.microsoft.com/office/drawing/2014/main" id="{8F045AC0-0B65-423B-A9F8-C9EA19F28076}"/>
                </a:ext>
              </a:extLst>
            </p:cNvPr>
            <p:cNvSpPr>
              <a:spLocks/>
            </p:cNvSpPr>
            <p:nvPr/>
          </p:nvSpPr>
          <p:spPr bwMode="auto">
            <a:xfrm>
              <a:off x="8374063" y="2060575"/>
              <a:ext cx="47625" cy="9525"/>
            </a:xfrm>
            <a:custGeom>
              <a:avLst/>
              <a:gdLst>
                <a:gd name="T0" fmla="*/ 136 w 151"/>
                <a:gd name="T1" fmla="*/ 0 h 30"/>
                <a:gd name="T2" fmla="*/ 15 w 151"/>
                <a:gd name="T3" fmla="*/ 0 h 30"/>
                <a:gd name="T4" fmla="*/ 12 w 151"/>
                <a:gd name="T5" fmla="*/ 0 h 30"/>
                <a:gd name="T6" fmla="*/ 10 w 151"/>
                <a:gd name="T7" fmla="*/ 2 h 30"/>
                <a:gd name="T8" fmla="*/ 6 w 151"/>
                <a:gd name="T9" fmla="*/ 3 h 30"/>
                <a:gd name="T10" fmla="*/ 4 w 151"/>
                <a:gd name="T11" fmla="*/ 5 h 30"/>
                <a:gd name="T12" fmla="*/ 3 w 151"/>
                <a:gd name="T13" fmla="*/ 7 h 30"/>
                <a:gd name="T14" fmla="*/ 1 w 151"/>
                <a:gd name="T15" fmla="*/ 9 h 30"/>
                <a:gd name="T16" fmla="*/ 0 w 151"/>
                <a:gd name="T17" fmla="*/ 12 h 30"/>
                <a:gd name="T18" fmla="*/ 0 w 151"/>
                <a:gd name="T19" fmla="*/ 15 h 30"/>
                <a:gd name="T20" fmla="*/ 0 w 151"/>
                <a:gd name="T21" fmla="*/ 19 h 30"/>
                <a:gd name="T22" fmla="*/ 1 w 151"/>
                <a:gd name="T23" fmla="*/ 21 h 30"/>
                <a:gd name="T24" fmla="*/ 3 w 151"/>
                <a:gd name="T25" fmla="*/ 24 h 30"/>
                <a:gd name="T26" fmla="*/ 4 w 151"/>
                <a:gd name="T27" fmla="*/ 26 h 30"/>
                <a:gd name="T28" fmla="*/ 6 w 151"/>
                <a:gd name="T29" fmla="*/ 27 h 30"/>
                <a:gd name="T30" fmla="*/ 10 w 151"/>
                <a:gd name="T31" fmla="*/ 29 h 30"/>
                <a:gd name="T32" fmla="*/ 12 w 151"/>
                <a:gd name="T33" fmla="*/ 30 h 30"/>
                <a:gd name="T34" fmla="*/ 15 w 151"/>
                <a:gd name="T35" fmla="*/ 30 h 30"/>
                <a:gd name="T36" fmla="*/ 136 w 151"/>
                <a:gd name="T37" fmla="*/ 30 h 30"/>
                <a:gd name="T38" fmla="*/ 138 w 151"/>
                <a:gd name="T39" fmla="*/ 30 h 30"/>
                <a:gd name="T40" fmla="*/ 141 w 151"/>
                <a:gd name="T41" fmla="*/ 29 h 30"/>
                <a:gd name="T42" fmla="*/ 144 w 151"/>
                <a:gd name="T43" fmla="*/ 27 h 30"/>
                <a:gd name="T44" fmla="*/ 146 w 151"/>
                <a:gd name="T45" fmla="*/ 26 h 30"/>
                <a:gd name="T46" fmla="*/ 148 w 151"/>
                <a:gd name="T47" fmla="*/ 24 h 30"/>
                <a:gd name="T48" fmla="*/ 149 w 151"/>
                <a:gd name="T49" fmla="*/ 21 h 30"/>
                <a:gd name="T50" fmla="*/ 150 w 151"/>
                <a:gd name="T51" fmla="*/ 19 h 30"/>
                <a:gd name="T52" fmla="*/ 151 w 151"/>
                <a:gd name="T53" fmla="*/ 15 h 30"/>
                <a:gd name="T54" fmla="*/ 150 w 151"/>
                <a:gd name="T55" fmla="*/ 12 h 30"/>
                <a:gd name="T56" fmla="*/ 149 w 151"/>
                <a:gd name="T57" fmla="*/ 9 h 30"/>
                <a:gd name="T58" fmla="*/ 148 w 151"/>
                <a:gd name="T59" fmla="*/ 7 h 30"/>
                <a:gd name="T60" fmla="*/ 146 w 151"/>
                <a:gd name="T61" fmla="*/ 5 h 30"/>
                <a:gd name="T62" fmla="*/ 144 w 151"/>
                <a:gd name="T63" fmla="*/ 3 h 30"/>
                <a:gd name="T64" fmla="*/ 141 w 151"/>
                <a:gd name="T65" fmla="*/ 2 h 30"/>
                <a:gd name="T66" fmla="*/ 138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0"/>
                  </a:lnTo>
                  <a:lnTo>
                    <a:pt x="10" y="2"/>
                  </a:lnTo>
                  <a:lnTo>
                    <a:pt x="6" y="3"/>
                  </a:lnTo>
                  <a:lnTo>
                    <a:pt x="4" y="5"/>
                  </a:lnTo>
                  <a:lnTo>
                    <a:pt x="3" y="7"/>
                  </a:lnTo>
                  <a:lnTo>
                    <a:pt x="1" y="9"/>
                  </a:lnTo>
                  <a:lnTo>
                    <a:pt x="0" y="12"/>
                  </a:lnTo>
                  <a:lnTo>
                    <a:pt x="0" y="15"/>
                  </a:lnTo>
                  <a:lnTo>
                    <a:pt x="0" y="19"/>
                  </a:lnTo>
                  <a:lnTo>
                    <a:pt x="1" y="21"/>
                  </a:lnTo>
                  <a:lnTo>
                    <a:pt x="3" y="24"/>
                  </a:lnTo>
                  <a:lnTo>
                    <a:pt x="4" y="26"/>
                  </a:lnTo>
                  <a:lnTo>
                    <a:pt x="6" y="27"/>
                  </a:lnTo>
                  <a:lnTo>
                    <a:pt x="10" y="29"/>
                  </a:lnTo>
                  <a:lnTo>
                    <a:pt x="12" y="30"/>
                  </a:lnTo>
                  <a:lnTo>
                    <a:pt x="15" y="30"/>
                  </a:lnTo>
                  <a:lnTo>
                    <a:pt x="136" y="30"/>
                  </a:lnTo>
                  <a:lnTo>
                    <a:pt x="138" y="30"/>
                  </a:lnTo>
                  <a:lnTo>
                    <a:pt x="141" y="29"/>
                  </a:lnTo>
                  <a:lnTo>
                    <a:pt x="144" y="27"/>
                  </a:lnTo>
                  <a:lnTo>
                    <a:pt x="146" y="26"/>
                  </a:lnTo>
                  <a:lnTo>
                    <a:pt x="148" y="24"/>
                  </a:lnTo>
                  <a:lnTo>
                    <a:pt x="149" y="21"/>
                  </a:lnTo>
                  <a:lnTo>
                    <a:pt x="150" y="19"/>
                  </a:lnTo>
                  <a:lnTo>
                    <a:pt x="151" y="15"/>
                  </a:lnTo>
                  <a:lnTo>
                    <a:pt x="150" y="12"/>
                  </a:lnTo>
                  <a:lnTo>
                    <a:pt x="149" y="9"/>
                  </a:lnTo>
                  <a:lnTo>
                    <a:pt x="148" y="7"/>
                  </a:lnTo>
                  <a:lnTo>
                    <a:pt x="146" y="5"/>
                  </a:lnTo>
                  <a:lnTo>
                    <a:pt x="144" y="3"/>
                  </a:lnTo>
                  <a:lnTo>
                    <a:pt x="141" y="2"/>
                  </a:lnTo>
                  <a:lnTo>
                    <a:pt x="138"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38" name="Group 76">
            <a:extLst>
              <a:ext uri="{FF2B5EF4-FFF2-40B4-BE49-F238E27FC236}">
                <a16:creationId xmlns:a16="http://schemas.microsoft.com/office/drawing/2014/main" id="{5B53F866-7121-4B33-88A0-85FF058D43AE}"/>
              </a:ext>
            </a:extLst>
          </p:cNvPr>
          <p:cNvGrpSpPr>
            <a:grpSpLocks noChangeAspect="1"/>
          </p:cNvGrpSpPr>
          <p:nvPr/>
        </p:nvGrpSpPr>
        <p:grpSpPr>
          <a:xfrm>
            <a:off x="4907779" y="2233311"/>
            <a:ext cx="285619" cy="285619"/>
            <a:chOff x="884238" y="781050"/>
            <a:chExt cx="285750" cy="285750"/>
          </a:xfrm>
          <a:solidFill>
            <a:schemeClr val="bg1"/>
          </a:solidFill>
          <a:effectLst/>
        </p:grpSpPr>
        <p:sp>
          <p:nvSpPr>
            <p:cNvPr id="1539" name="Freeform 9">
              <a:extLst>
                <a:ext uri="{FF2B5EF4-FFF2-40B4-BE49-F238E27FC236}">
                  <a16:creationId xmlns:a16="http://schemas.microsoft.com/office/drawing/2014/main" id="{50FAA75E-C1AE-4FEF-8085-B12F9A94BC07}"/>
                </a:ext>
              </a:extLst>
            </p:cNvPr>
            <p:cNvSpPr>
              <a:spLocks noEditPoints="1"/>
            </p:cNvSpPr>
            <p:nvPr/>
          </p:nvSpPr>
          <p:spPr bwMode="auto">
            <a:xfrm>
              <a:off x="884238" y="809625"/>
              <a:ext cx="261938" cy="257175"/>
            </a:xfrm>
            <a:custGeom>
              <a:avLst/>
              <a:gdLst>
                <a:gd name="T0" fmla="*/ 545 w 826"/>
                <a:gd name="T1" fmla="*/ 776 h 812"/>
                <a:gd name="T2" fmla="*/ 30 w 826"/>
                <a:gd name="T3" fmla="*/ 264 h 812"/>
                <a:gd name="T4" fmla="*/ 30 w 826"/>
                <a:gd name="T5" fmla="*/ 30 h 812"/>
                <a:gd name="T6" fmla="*/ 279 w 826"/>
                <a:gd name="T7" fmla="*/ 30 h 812"/>
                <a:gd name="T8" fmla="*/ 790 w 826"/>
                <a:gd name="T9" fmla="*/ 532 h 812"/>
                <a:gd name="T10" fmla="*/ 545 w 826"/>
                <a:gd name="T11" fmla="*/ 776 h 812"/>
                <a:gd name="T12" fmla="*/ 296 w 826"/>
                <a:gd name="T13" fmla="*/ 5 h 812"/>
                <a:gd name="T14" fmla="*/ 294 w 826"/>
                <a:gd name="T15" fmla="*/ 2 h 812"/>
                <a:gd name="T16" fmla="*/ 291 w 826"/>
                <a:gd name="T17" fmla="*/ 1 h 812"/>
                <a:gd name="T18" fmla="*/ 289 w 826"/>
                <a:gd name="T19" fmla="*/ 0 h 812"/>
                <a:gd name="T20" fmla="*/ 286 w 826"/>
                <a:gd name="T21" fmla="*/ 0 h 812"/>
                <a:gd name="T22" fmla="*/ 15 w 826"/>
                <a:gd name="T23" fmla="*/ 0 h 812"/>
                <a:gd name="T24" fmla="*/ 12 w 826"/>
                <a:gd name="T25" fmla="*/ 0 h 812"/>
                <a:gd name="T26" fmla="*/ 9 w 826"/>
                <a:gd name="T27" fmla="*/ 1 h 812"/>
                <a:gd name="T28" fmla="*/ 7 w 826"/>
                <a:gd name="T29" fmla="*/ 2 h 812"/>
                <a:gd name="T30" fmla="*/ 5 w 826"/>
                <a:gd name="T31" fmla="*/ 5 h 812"/>
                <a:gd name="T32" fmla="*/ 2 w 826"/>
                <a:gd name="T33" fmla="*/ 7 h 812"/>
                <a:gd name="T34" fmla="*/ 1 w 826"/>
                <a:gd name="T35" fmla="*/ 10 h 812"/>
                <a:gd name="T36" fmla="*/ 0 w 826"/>
                <a:gd name="T37" fmla="*/ 12 h 812"/>
                <a:gd name="T38" fmla="*/ 0 w 826"/>
                <a:gd name="T39" fmla="*/ 15 h 812"/>
                <a:gd name="T40" fmla="*/ 0 w 826"/>
                <a:gd name="T41" fmla="*/ 271 h 812"/>
                <a:gd name="T42" fmla="*/ 0 w 826"/>
                <a:gd name="T43" fmla="*/ 274 h 812"/>
                <a:gd name="T44" fmla="*/ 1 w 826"/>
                <a:gd name="T45" fmla="*/ 277 h 812"/>
                <a:gd name="T46" fmla="*/ 2 w 826"/>
                <a:gd name="T47" fmla="*/ 279 h 812"/>
                <a:gd name="T48" fmla="*/ 5 w 826"/>
                <a:gd name="T49" fmla="*/ 281 h 812"/>
                <a:gd name="T50" fmla="*/ 535 w 826"/>
                <a:gd name="T51" fmla="*/ 808 h 812"/>
                <a:gd name="T52" fmla="*/ 538 w 826"/>
                <a:gd name="T53" fmla="*/ 810 h 812"/>
                <a:gd name="T54" fmla="*/ 540 w 826"/>
                <a:gd name="T55" fmla="*/ 811 h 812"/>
                <a:gd name="T56" fmla="*/ 543 w 826"/>
                <a:gd name="T57" fmla="*/ 812 h 812"/>
                <a:gd name="T58" fmla="*/ 546 w 826"/>
                <a:gd name="T59" fmla="*/ 812 h 812"/>
                <a:gd name="T60" fmla="*/ 548 w 826"/>
                <a:gd name="T61" fmla="*/ 812 h 812"/>
                <a:gd name="T62" fmla="*/ 552 w 826"/>
                <a:gd name="T63" fmla="*/ 811 h 812"/>
                <a:gd name="T64" fmla="*/ 554 w 826"/>
                <a:gd name="T65" fmla="*/ 810 h 812"/>
                <a:gd name="T66" fmla="*/ 556 w 826"/>
                <a:gd name="T67" fmla="*/ 808 h 812"/>
                <a:gd name="T68" fmla="*/ 822 w 826"/>
                <a:gd name="T69" fmla="*/ 542 h 812"/>
                <a:gd name="T70" fmla="*/ 824 w 826"/>
                <a:gd name="T71" fmla="*/ 540 h 812"/>
                <a:gd name="T72" fmla="*/ 825 w 826"/>
                <a:gd name="T73" fmla="*/ 537 h 812"/>
                <a:gd name="T74" fmla="*/ 826 w 826"/>
                <a:gd name="T75" fmla="*/ 534 h 812"/>
                <a:gd name="T76" fmla="*/ 826 w 826"/>
                <a:gd name="T77" fmla="*/ 531 h 812"/>
                <a:gd name="T78" fmla="*/ 826 w 826"/>
                <a:gd name="T79" fmla="*/ 529 h 812"/>
                <a:gd name="T80" fmla="*/ 825 w 826"/>
                <a:gd name="T81" fmla="*/ 526 h 812"/>
                <a:gd name="T82" fmla="*/ 824 w 826"/>
                <a:gd name="T83" fmla="*/ 524 h 812"/>
                <a:gd name="T84" fmla="*/ 822 w 826"/>
                <a:gd name="T85" fmla="*/ 520 h 812"/>
                <a:gd name="T86" fmla="*/ 296 w 826"/>
                <a:gd name="T87" fmla="*/ 5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6" h="812">
                  <a:moveTo>
                    <a:pt x="545" y="776"/>
                  </a:moveTo>
                  <a:lnTo>
                    <a:pt x="30" y="264"/>
                  </a:lnTo>
                  <a:lnTo>
                    <a:pt x="30" y="30"/>
                  </a:lnTo>
                  <a:lnTo>
                    <a:pt x="279" y="30"/>
                  </a:lnTo>
                  <a:lnTo>
                    <a:pt x="790" y="532"/>
                  </a:lnTo>
                  <a:lnTo>
                    <a:pt x="545" y="776"/>
                  </a:lnTo>
                  <a:close/>
                  <a:moveTo>
                    <a:pt x="296" y="5"/>
                  </a:moveTo>
                  <a:lnTo>
                    <a:pt x="294" y="2"/>
                  </a:lnTo>
                  <a:lnTo>
                    <a:pt x="291" y="1"/>
                  </a:lnTo>
                  <a:lnTo>
                    <a:pt x="289" y="0"/>
                  </a:lnTo>
                  <a:lnTo>
                    <a:pt x="286" y="0"/>
                  </a:lnTo>
                  <a:lnTo>
                    <a:pt x="15" y="0"/>
                  </a:lnTo>
                  <a:lnTo>
                    <a:pt x="12" y="0"/>
                  </a:lnTo>
                  <a:lnTo>
                    <a:pt x="9" y="1"/>
                  </a:lnTo>
                  <a:lnTo>
                    <a:pt x="7" y="2"/>
                  </a:lnTo>
                  <a:lnTo>
                    <a:pt x="5" y="5"/>
                  </a:lnTo>
                  <a:lnTo>
                    <a:pt x="2" y="7"/>
                  </a:lnTo>
                  <a:lnTo>
                    <a:pt x="1" y="10"/>
                  </a:lnTo>
                  <a:lnTo>
                    <a:pt x="0" y="12"/>
                  </a:lnTo>
                  <a:lnTo>
                    <a:pt x="0" y="15"/>
                  </a:lnTo>
                  <a:lnTo>
                    <a:pt x="0" y="271"/>
                  </a:lnTo>
                  <a:lnTo>
                    <a:pt x="0" y="274"/>
                  </a:lnTo>
                  <a:lnTo>
                    <a:pt x="1" y="277"/>
                  </a:lnTo>
                  <a:lnTo>
                    <a:pt x="2" y="279"/>
                  </a:lnTo>
                  <a:lnTo>
                    <a:pt x="5" y="281"/>
                  </a:lnTo>
                  <a:lnTo>
                    <a:pt x="535" y="808"/>
                  </a:lnTo>
                  <a:lnTo>
                    <a:pt x="538" y="810"/>
                  </a:lnTo>
                  <a:lnTo>
                    <a:pt x="540" y="811"/>
                  </a:lnTo>
                  <a:lnTo>
                    <a:pt x="543" y="812"/>
                  </a:lnTo>
                  <a:lnTo>
                    <a:pt x="546" y="812"/>
                  </a:lnTo>
                  <a:lnTo>
                    <a:pt x="548" y="812"/>
                  </a:lnTo>
                  <a:lnTo>
                    <a:pt x="552" y="811"/>
                  </a:lnTo>
                  <a:lnTo>
                    <a:pt x="554" y="810"/>
                  </a:lnTo>
                  <a:lnTo>
                    <a:pt x="556" y="808"/>
                  </a:lnTo>
                  <a:lnTo>
                    <a:pt x="822" y="542"/>
                  </a:lnTo>
                  <a:lnTo>
                    <a:pt x="824" y="540"/>
                  </a:lnTo>
                  <a:lnTo>
                    <a:pt x="825" y="537"/>
                  </a:lnTo>
                  <a:lnTo>
                    <a:pt x="826" y="534"/>
                  </a:lnTo>
                  <a:lnTo>
                    <a:pt x="826" y="531"/>
                  </a:lnTo>
                  <a:lnTo>
                    <a:pt x="826" y="529"/>
                  </a:lnTo>
                  <a:lnTo>
                    <a:pt x="825" y="526"/>
                  </a:lnTo>
                  <a:lnTo>
                    <a:pt x="824" y="524"/>
                  </a:lnTo>
                  <a:lnTo>
                    <a:pt x="822" y="520"/>
                  </a:lnTo>
                  <a:lnTo>
                    <a:pt x="29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Freeform 10">
              <a:extLst>
                <a:ext uri="{FF2B5EF4-FFF2-40B4-BE49-F238E27FC236}">
                  <a16:creationId xmlns:a16="http://schemas.microsoft.com/office/drawing/2014/main" id="{57980602-3853-40BB-AAA9-A6BAC154A76F}"/>
                </a:ext>
              </a:extLst>
            </p:cNvPr>
            <p:cNvSpPr>
              <a:spLocks/>
            </p:cNvSpPr>
            <p:nvPr/>
          </p:nvSpPr>
          <p:spPr bwMode="auto">
            <a:xfrm>
              <a:off x="922338" y="781050"/>
              <a:ext cx="247650" cy="180975"/>
            </a:xfrm>
            <a:custGeom>
              <a:avLst/>
              <a:gdLst>
                <a:gd name="T0" fmla="*/ 778 w 782"/>
                <a:gd name="T1" fmla="*/ 500 h 572"/>
                <a:gd name="T2" fmla="*/ 281 w 782"/>
                <a:gd name="T3" fmla="*/ 5 h 572"/>
                <a:gd name="T4" fmla="*/ 279 w 782"/>
                <a:gd name="T5" fmla="*/ 2 h 572"/>
                <a:gd name="T6" fmla="*/ 276 w 782"/>
                <a:gd name="T7" fmla="*/ 1 h 572"/>
                <a:gd name="T8" fmla="*/ 274 w 782"/>
                <a:gd name="T9" fmla="*/ 0 h 572"/>
                <a:gd name="T10" fmla="*/ 271 w 782"/>
                <a:gd name="T11" fmla="*/ 0 h 572"/>
                <a:gd name="T12" fmla="*/ 15 w 782"/>
                <a:gd name="T13" fmla="*/ 0 h 572"/>
                <a:gd name="T14" fmla="*/ 12 w 782"/>
                <a:gd name="T15" fmla="*/ 0 h 572"/>
                <a:gd name="T16" fmla="*/ 9 w 782"/>
                <a:gd name="T17" fmla="*/ 1 h 572"/>
                <a:gd name="T18" fmla="*/ 7 w 782"/>
                <a:gd name="T19" fmla="*/ 2 h 572"/>
                <a:gd name="T20" fmla="*/ 5 w 782"/>
                <a:gd name="T21" fmla="*/ 5 h 572"/>
                <a:gd name="T22" fmla="*/ 3 w 782"/>
                <a:gd name="T23" fmla="*/ 7 h 572"/>
                <a:gd name="T24" fmla="*/ 1 w 782"/>
                <a:gd name="T25" fmla="*/ 9 h 572"/>
                <a:gd name="T26" fmla="*/ 0 w 782"/>
                <a:gd name="T27" fmla="*/ 12 h 572"/>
                <a:gd name="T28" fmla="*/ 0 w 782"/>
                <a:gd name="T29" fmla="*/ 15 h 572"/>
                <a:gd name="T30" fmla="*/ 0 w 782"/>
                <a:gd name="T31" fmla="*/ 18 h 572"/>
                <a:gd name="T32" fmla="*/ 1 w 782"/>
                <a:gd name="T33" fmla="*/ 21 h 572"/>
                <a:gd name="T34" fmla="*/ 3 w 782"/>
                <a:gd name="T35" fmla="*/ 24 h 572"/>
                <a:gd name="T36" fmla="*/ 5 w 782"/>
                <a:gd name="T37" fmla="*/ 26 h 572"/>
                <a:gd name="T38" fmla="*/ 7 w 782"/>
                <a:gd name="T39" fmla="*/ 27 h 572"/>
                <a:gd name="T40" fmla="*/ 9 w 782"/>
                <a:gd name="T41" fmla="*/ 29 h 572"/>
                <a:gd name="T42" fmla="*/ 12 w 782"/>
                <a:gd name="T43" fmla="*/ 30 h 572"/>
                <a:gd name="T44" fmla="*/ 15 w 782"/>
                <a:gd name="T45" fmla="*/ 30 h 572"/>
                <a:gd name="T46" fmla="*/ 264 w 782"/>
                <a:gd name="T47" fmla="*/ 30 h 572"/>
                <a:gd name="T48" fmla="*/ 746 w 782"/>
                <a:gd name="T49" fmla="*/ 511 h 572"/>
                <a:gd name="T50" fmla="*/ 711 w 782"/>
                <a:gd name="T51" fmla="*/ 546 h 572"/>
                <a:gd name="T52" fmla="*/ 709 w 782"/>
                <a:gd name="T53" fmla="*/ 548 h 572"/>
                <a:gd name="T54" fmla="*/ 708 w 782"/>
                <a:gd name="T55" fmla="*/ 550 h 572"/>
                <a:gd name="T56" fmla="*/ 707 w 782"/>
                <a:gd name="T57" fmla="*/ 554 h 572"/>
                <a:gd name="T58" fmla="*/ 707 w 782"/>
                <a:gd name="T59" fmla="*/ 556 h 572"/>
                <a:gd name="T60" fmla="*/ 707 w 782"/>
                <a:gd name="T61" fmla="*/ 559 h 572"/>
                <a:gd name="T62" fmla="*/ 708 w 782"/>
                <a:gd name="T63" fmla="*/ 562 h 572"/>
                <a:gd name="T64" fmla="*/ 709 w 782"/>
                <a:gd name="T65" fmla="*/ 564 h 572"/>
                <a:gd name="T66" fmla="*/ 711 w 782"/>
                <a:gd name="T67" fmla="*/ 567 h 572"/>
                <a:gd name="T68" fmla="*/ 714 w 782"/>
                <a:gd name="T69" fmla="*/ 569 h 572"/>
                <a:gd name="T70" fmla="*/ 716 w 782"/>
                <a:gd name="T71" fmla="*/ 571 h 572"/>
                <a:gd name="T72" fmla="*/ 719 w 782"/>
                <a:gd name="T73" fmla="*/ 571 h 572"/>
                <a:gd name="T74" fmla="*/ 722 w 782"/>
                <a:gd name="T75" fmla="*/ 572 h 572"/>
                <a:gd name="T76" fmla="*/ 724 w 782"/>
                <a:gd name="T77" fmla="*/ 571 h 572"/>
                <a:gd name="T78" fmla="*/ 728 w 782"/>
                <a:gd name="T79" fmla="*/ 571 h 572"/>
                <a:gd name="T80" fmla="*/ 730 w 782"/>
                <a:gd name="T81" fmla="*/ 569 h 572"/>
                <a:gd name="T82" fmla="*/ 733 w 782"/>
                <a:gd name="T83" fmla="*/ 567 h 572"/>
                <a:gd name="T84" fmla="*/ 778 w 782"/>
                <a:gd name="T85" fmla="*/ 521 h 572"/>
                <a:gd name="T86" fmla="*/ 779 w 782"/>
                <a:gd name="T87" fmla="*/ 519 h 572"/>
                <a:gd name="T88" fmla="*/ 781 w 782"/>
                <a:gd name="T89" fmla="*/ 517 h 572"/>
                <a:gd name="T90" fmla="*/ 781 w 782"/>
                <a:gd name="T91" fmla="*/ 514 h 572"/>
                <a:gd name="T92" fmla="*/ 782 w 782"/>
                <a:gd name="T93" fmla="*/ 511 h 572"/>
                <a:gd name="T94" fmla="*/ 781 w 782"/>
                <a:gd name="T95" fmla="*/ 508 h 572"/>
                <a:gd name="T96" fmla="*/ 781 w 782"/>
                <a:gd name="T97" fmla="*/ 505 h 572"/>
                <a:gd name="T98" fmla="*/ 779 w 782"/>
                <a:gd name="T99" fmla="*/ 503 h 572"/>
                <a:gd name="T100" fmla="*/ 778 w 782"/>
                <a:gd name="T101" fmla="*/ 50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2" h="572">
                  <a:moveTo>
                    <a:pt x="778" y="500"/>
                  </a:moveTo>
                  <a:lnTo>
                    <a:pt x="281" y="5"/>
                  </a:lnTo>
                  <a:lnTo>
                    <a:pt x="279" y="2"/>
                  </a:lnTo>
                  <a:lnTo>
                    <a:pt x="276" y="1"/>
                  </a:lnTo>
                  <a:lnTo>
                    <a:pt x="274" y="0"/>
                  </a:lnTo>
                  <a:lnTo>
                    <a:pt x="271" y="0"/>
                  </a:lnTo>
                  <a:lnTo>
                    <a:pt x="15" y="0"/>
                  </a:lnTo>
                  <a:lnTo>
                    <a:pt x="12" y="0"/>
                  </a:lnTo>
                  <a:lnTo>
                    <a:pt x="9" y="1"/>
                  </a:lnTo>
                  <a:lnTo>
                    <a:pt x="7" y="2"/>
                  </a:lnTo>
                  <a:lnTo>
                    <a:pt x="5" y="5"/>
                  </a:lnTo>
                  <a:lnTo>
                    <a:pt x="3" y="7"/>
                  </a:lnTo>
                  <a:lnTo>
                    <a:pt x="1" y="9"/>
                  </a:lnTo>
                  <a:lnTo>
                    <a:pt x="0" y="12"/>
                  </a:lnTo>
                  <a:lnTo>
                    <a:pt x="0" y="15"/>
                  </a:lnTo>
                  <a:lnTo>
                    <a:pt x="0" y="18"/>
                  </a:lnTo>
                  <a:lnTo>
                    <a:pt x="1" y="21"/>
                  </a:lnTo>
                  <a:lnTo>
                    <a:pt x="3" y="24"/>
                  </a:lnTo>
                  <a:lnTo>
                    <a:pt x="5" y="26"/>
                  </a:lnTo>
                  <a:lnTo>
                    <a:pt x="7" y="27"/>
                  </a:lnTo>
                  <a:lnTo>
                    <a:pt x="9" y="29"/>
                  </a:lnTo>
                  <a:lnTo>
                    <a:pt x="12" y="30"/>
                  </a:lnTo>
                  <a:lnTo>
                    <a:pt x="15" y="30"/>
                  </a:lnTo>
                  <a:lnTo>
                    <a:pt x="264" y="30"/>
                  </a:lnTo>
                  <a:lnTo>
                    <a:pt x="746" y="511"/>
                  </a:lnTo>
                  <a:lnTo>
                    <a:pt x="711" y="546"/>
                  </a:lnTo>
                  <a:lnTo>
                    <a:pt x="709" y="548"/>
                  </a:lnTo>
                  <a:lnTo>
                    <a:pt x="708" y="550"/>
                  </a:lnTo>
                  <a:lnTo>
                    <a:pt x="707" y="554"/>
                  </a:lnTo>
                  <a:lnTo>
                    <a:pt x="707" y="556"/>
                  </a:lnTo>
                  <a:lnTo>
                    <a:pt x="707" y="559"/>
                  </a:lnTo>
                  <a:lnTo>
                    <a:pt x="708" y="562"/>
                  </a:lnTo>
                  <a:lnTo>
                    <a:pt x="709" y="564"/>
                  </a:lnTo>
                  <a:lnTo>
                    <a:pt x="711" y="567"/>
                  </a:lnTo>
                  <a:lnTo>
                    <a:pt x="714" y="569"/>
                  </a:lnTo>
                  <a:lnTo>
                    <a:pt x="716" y="571"/>
                  </a:lnTo>
                  <a:lnTo>
                    <a:pt x="719" y="571"/>
                  </a:lnTo>
                  <a:lnTo>
                    <a:pt x="722" y="572"/>
                  </a:lnTo>
                  <a:lnTo>
                    <a:pt x="724" y="571"/>
                  </a:lnTo>
                  <a:lnTo>
                    <a:pt x="728" y="571"/>
                  </a:lnTo>
                  <a:lnTo>
                    <a:pt x="730" y="569"/>
                  </a:lnTo>
                  <a:lnTo>
                    <a:pt x="733" y="567"/>
                  </a:lnTo>
                  <a:lnTo>
                    <a:pt x="778" y="521"/>
                  </a:lnTo>
                  <a:lnTo>
                    <a:pt x="779" y="519"/>
                  </a:lnTo>
                  <a:lnTo>
                    <a:pt x="781" y="517"/>
                  </a:lnTo>
                  <a:lnTo>
                    <a:pt x="781" y="514"/>
                  </a:lnTo>
                  <a:lnTo>
                    <a:pt x="782" y="511"/>
                  </a:lnTo>
                  <a:lnTo>
                    <a:pt x="781" y="508"/>
                  </a:lnTo>
                  <a:lnTo>
                    <a:pt x="781" y="505"/>
                  </a:lnTo>
                  <a:lnTo>
                    <a:pt x="779" y="503"/>
                  </a:lnTo>
                  <a:lnTo>
                    <a:pt x="778"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Freeform 11">
              <a:extLst>
                <a:ext uri="{FF2B5EF4-FFF2-40B4-BE49-F238E27FC236}">
                  <a16:creationId xmlns:a16="http://schemas.microsoft.com/office/drawing/2014/main" id="{8F0F41E7-2553-47D6-B01A-A9EE389E22F4}"/>
                </a:ext>
              </a:extLst>
            </p:cNvPr>
            <p:cNvSpPr>
              <a:spLocks noEditPoints="1"/>
            </p:cNvSpPr>
            <p:nvPr/>
          </p:nvSpPr>
          <p:spPr bwMode="auto">
            <a:xfrm>
              <a:off x="919163" y="841375"/>
              <a:ext cx="46038" cy="44450"/>
            </a:xfrm>
            <a:custGeom>
              <a:avLst/>
              <a:gdLst>
                <a:gd name="T0" fmla="*/ 63 w 144"/>
                <a:gd name="T1" fmla="*/ 113 h 144"/>
                <a:gd name="T2" fmla="*/ 48 w 144"/>
                <a:gd name="T3" fmla="*/ 106 h 144"/>
                <a:gd name="T4" fmla="*/ 36 w 144"/>
                <a:gd name="T5" fmla="*/ 94 h 144"/>
                <a:gd name="T6" fmla="*/ 30 w 144"/>
                <a:gd name="T7" fmla="*/ 79 h 144"/>
                <a:gd name="T8" fmla="*/ 30 w 144"/>
                <a:gd name="T9" fmla="*/ 63 h 144"/>
                <a:gd name="T10" fmla="*/ 36 w 144"/>
                <a:gd name="T11" fmla="*/ 48 h 144"/>
                <a:gd name="T12" fmla="*/ 48 w 144"/>
                <a:gd name="T13" fmla="*/ 36 h 144"/>
                <a:gd name="T14" fmla="*/ 63 w 144"/>
                <a:gd name="T15" fmla="*/ 30 h 144"/>
                <a:gd name="T16" fmla="*/ 80 w 144"/>
                <a:gd name="T17" fmla="*/ 30 h 144"/>
                <a:gd name="T18" fmla="*/ 94 w 144"/>
                <a:gd name="T19" fmla="*/ 36 h 144"/>
                <a:gd name="T20" fmla="*/ 106 w 144"/>
                <a:gd name="T21" fmla="*/ 48 h 144"/>
                <a:gd name="T22" fmla="*/ 113 w 144"/>
                <a:gd name="T23" fmla="*/ 63 h 144"/>
                <a:gd name="T24" fmla="*/ 113 w 144"/>
                <a:gd name="T25" fmla="*/ 79 h 144"/>
                <a:gd name="T26" fmla="*/ 106 w 144"/>
                <a:gd name="T27" fmla="*/ 94 h 144"/>
                <a:gd name="T28" fmla="*/ 94 w 144"/>
                <a:gd name="T29" fmla="*/ 106 h 144"/>
                <a:gd name="T30" fmla="*/ 80 w 144"/>
                <a:gd name="T31" fmla="*/ 113 h 144"/>
                <a:gd name="T32" fmla="*/ 72 w 144"/>
                <a:gd name="T33" fmla="*/ 114 h 144"/>
                <a:gd name="T34" fmla="*/ 64 w 144"/>
                <a:gd name="T35" fmla="*/ 0 h 144"/>
                <a:gd name="T36" fmla="*/ 50 w 144"/>
                <a:gd name="T37" fmla="*/ 3 h 144"/>
                <a:gd name="T38" fmla="*/ 37 w 144"/>
                <a:gd name="T39" fmla="*/ 9 h 144"/>
                <a:gd name="T40" fmla="*/ 26 w 144"/>
                <a:gd name="T41" fmla="*/ 16 h 144"/>
                <a:gd name="T42" fmla="*/ 16 w 144"/>
                <a:gd name="T43" fmla="*/ 26 h 144"/>
                <a:gd name="T44" fmla="*/ 9 w 144"/>
                <a:gd name="T45" fmla="*/ 38 h 144"/>
                <a:gd name="T46" fmla="*/ 3 w 144"/>
                <a:gd name="T47" fmla="*/ 50 h 144"/>
                <a:gd name="T48" fmla="*/ 0 w 144"/>
                <a:gd name="T49" fmla="*/ 64 h 144"/>
                <a:gd name="T50" fmla="*/ 0 w 144"/>
                <a:gd name="T51" fmla="*/ 78 h 144"/>
                <a:gd name="T52" fmla="*/ 3 w 144"/>
                <a:gd name="T53" fmla="*/ 93 h 144"/>
                <a:gd name="T54" fmla="*/ 9 w 144"/>
                <a:gd name="T55" fmla="*/ 106 h 144"/>
                <a:gd name="T56" fmla="*/ 16 w 144"/>
                <a:gd name="T57" fmla="*/ 117 h 144"/>
                <a:gd name="T58" fmla="*/ 26 w 144"/>
                <a:gd name="T59" fmla="*/ 127 h 144"/>
                <a:gd name="T60" fmla="*/ 37 w 144"/>
                <a:gd name="T61" fmla="*/ 135 h 144"/>
                <a:gd name="T62" fmla="*/ 50 w 144"/>
                <a:gd name="T63" fmla="*/ 140 h 144"/>
                <a:gd name="T64" fmla="*/ 64 w 144"/>
                <a:gd name="T65" fmla="*/ 143 h 144"/>
                <a:gd name="T66" fmla="*/ 78 w 144"/>
                <a:gd name="T67" fmla="*/ 143 h 144"/>
                <a:gd name="T68" fmla="*/ 93 w 144"/>
                <a:gd name="T69" fmla="*/ 140 h 144"/>
                <a:gd name="T70" fmla="*/ 106 w 144"/>
                <a:gd name="T71" fmla="*/ 135 h 144"/>
                <a:gd name="T72" fmla="*/ 117 w 144"/>
                <a:gd name="T73" fmla="*/ 127 h 144"/>
                <a:gd name="T74" fmla="*/ 126 w 144"/>
                <a:gd name="T75" fmla="*/ 117 h 144"/>
                <a:gd name="T76" fmla="*/ 135 w 144"/>
                <a:gd name="T77" fmla="*/ 106 h 144"/>
                <a:gd name="T78" fmla="*/ 140 w 144"/>
                <a:gd name="T79" fmla="*/ 93 h 144"/>
                <a:gd name="T80" fmla="*/ 143 w 144"/>
                <a:gd name="T81" fmla="*/ 78 h 144"/>
                <a:gd name="T82" fmla="*/ 143 w 144"/>
                <a:gd name="T83" fmla="*/ 64 h 144"/>
                <a:gd name="T84" fmla="*/ 140 w 144"/>
                <a:gd name="T85" fmla="*/ 50 h 144"/>
                <a:gd name="T86" fmla="*/ 135 w 144"/>
                <a:gd name="T87" fmla="*/ 38 h 144"/>
                <a:gd name="T88" fmla="*/ 126 w 144"/>
                <a:gd name="T89" fmla="*/ 26 h 144"/>
                <a:gd name="T90" fmla="*/ 117 w 144"/>
                <a:gd name="T91" fmla="*/ 16 h 144"/>
                <a:gd name="T92" fmla="*/ 106 w 144"/>
                <a:gd name="T93" fmla="*/ 9 h 144"/>
                <a:gd name="T94" fmla="*/ 93 w 144"/>
                <a:gd name="T95" fmla="*/ 3 h 144"/>
                <a:gd name="T96" fmla="*/ 78 w 144"/>
                <a:gd name="T97" fmla="*/ 0 h 144"/>
                <a:gd name="T98" fmla="*/ 72 w 144"/>
                <a:gd name="T9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144">
                  <a:moveTo>
                    <a:pt x="72" y="114"/>
                  </a:moveTo>
                  <a:lnTo>
                    <a:pt x="63" y="113"/>
                  </a:lnTo>
                  <a:lnTo>
                    <a:pt x="55" y="109"/>
                  </a:lnTo>
                  <a:lnTo>
                    <a:pt x="48" y="106"/>
                  </a:lnTo>
                  <a:lnTo>
                    <a:pt x="42" y="101"/>
                  </a:lnTo>
                  <a:lnTo>
                    <a:pt x="36" y="94"/>
                  </a:lnTo>
                  <a:lnTo>
                    <a:pt x="33" y="88"/>
                  </a:lnTo>
                  <a:lnTo>
                    <a:pt x="30" y="79"/>
                  </a:lnTo>
                  <a:lnTo>
                    <a:pt x="30" y="72"/>
                  </a:lnTo>
                  <a:lnTo>
                    <a:pt x="30" y="63"/>
                  </a:lnTo>
                  <a:lnTo>
                    <a:pt x="33" y="55"/>
                  </a:lnTo>
                  <a:lnTo>
                    <a:pt x="36" y="48"/>
                  </a:lnTo>
                  <a:lnTo>
                    <a:pt x="42" y="42"/>
                  </a:lnTo>
                  <a:lnTo>
                    <a:pt x="48" y="36"/>
                  </a:lnTo>
                  <a:lnTo>
                    <a:pt x="55" y="33"/>
                  </a:lnTo>
                  <a:lnTo>
                    <a:pt x="63" y="30"/>
                  </a:lnTo>
                  <a:lnTo>
                    <a:pt x="72" y="30"/>
                  </a:lnTo>
                  <a:lnTo>
                    <a:pt x="80" y="30"/>
                  </a:lnTo>
                  <a:lnTo>
                    <a:pt x="88" y="33"/>
                  </a:lnTo>
                  <a:lnTo>
                    <a:pt x="94" y="36"/>
                  </a:lnTo>
                  <a:lnTo>
                    <a:pt x="101" y="42"/>
                  </a:lnTo>
                  <a:lnTo>
                    <a:pt x="106" y="48"/>
                  </a:lnTo>
                  <a:lnTo>
                    <a:pt x="110" y="55"/>
                  </a:lnTo>
                  <a:lnTo>
                    <a:pt x="113" y="63"/>
                  </a:lnTo>
                  <a:lnTo>
                    <a:pt x="114" y="72"/>
                  </a:lnTo>
                  <a:lnTo>
                    <a:pt x="113" y="79"/>
                  </a:lnTo>
                  <a:lnTo>
                    <a:pt x="110" y="88"/>
                  </a:lnTo>
                  <a:lnTo>
                    <a:pt x="106" y="94"/>
                  </a:lnTo>
                  <a:lnTo>
                    <a:pt x="101" y="101"/>
                  </a:lnTo>
                  <a:lnTo>
                    <a:pt x="94" y="106"/>
                  </a:lnTo>
                  <a:lnTo>
                    <a:pt x="88" y="110"/>
                  </a:lnTo>
                  <a:lnTo>
                    <a:pt x="80" y="113"/>
                  </a:lnTo>
                  <a:lnTo>
                    <a:pt x="72" y="114"/>
                  </a:lnTo>
                  <a:lnTo>
                    <a:pt x="72" y="114"/>
                  </a:lnTo>
                  <a:close/>
                  <a:moveTo>
                    <a:pt x="72" y="0"/>
                  </a:moveTo>
                  <a:lnTo>
                    <a:pt x="64" y="0"/>
                  </a:lnTo>
                  <a:lnTo>
                    <a:pt x="57" y="1"/>
                  </a:lnTo>
                  <a:lnTo>
                    <a:pt x="50" y="3"/>
                  </a:lnTo>
                  <a:lnTo>
                    <a:pt x="44" y="5"/>
                  </a:lnTo>
                  <a:lnTo>
                    <a:pt x="37" y="9"/>
                  </a:lnTo>
                  <a:lnTo>
                    <a:pt x="31" y="12"/>
                  </a:lnTo>
                  <a:lnTo>
                    <a:pt x="26" y="16"/>
                  </a:lnTo>
                  <a:lnTo>
                    <a:pt x="20" y="20"/>
                  </a:lnTo>
                  <a:lnTo>
                    <a:pt x="16" y="26"/>
                  </a:lnTo>
                  <a:lnTo>
                    <a:pt x="12" y="31"/>
                  </a:lnTo>
                  <a:lnTo>
                    <a:pt x="9" y="38"/>
                  </a:lnTo>
                  <a:lnTo>
                    <a:pt x="5" y="44"/>
                  </a:lnTo>
                  <a:lnTo>
                    <a:pt x="3" y="50"/>
                  </a:lnTo>
                  <a:lnTo>
                    <a:pt x="1" y="57"/>
                  </a:lnTo>
                  <a:lnTo>
                    <a:pt x="0" y="64"/>
                  </a:lnTo>
                  <a:lnTo>
                    <a:pt x="0" y="72"/>
                  </a:lnTo>
                  <a:lnTo>
                    <a:pt x="0" y="78"/>
                  </a:lnTo>
                  <a:lnTo>
                    <a:pt x="1" y="86"/>
                  </a:lnTo>
                  <a:lnTo>
                    <a:pt x="3" y="93"/>
                  </a:lnTo>
                  <a:lnTo>
                    <a:pt x="5" y="100"/>
                  </a:lnTo>
                  <a:lnTo>
                    <a:pt x="9" y="106"/>
                  </a:lnTo>
                  <a:lnTo>
                    <a:pt x="12" y="112"/>
                  </a:lnTo>
                  <a:lnTo>
                    <a:pt x="16" y="117"/>
                  </a:lnTo>
                  <a:lnTo>
                    <a:pt x="20" y="122"/>
                  </a:lnTo>
                  <a:lnTo>
                    <a:pt x="26" y="127"/>
                  </a:lnTo>
                  <a:lnTo>
                    <a:pt x="31" y="131"/>
                  </a:lnTo>
                  <a:lnTo>
                    <a:pt x="37" y="135"/>
                  </a:lnTo>
                  <a:lnTo>
                    <a:pt x="44" y="137"/>
                  </a:lnTo>
                  <a:lnTo>
                    <a:pt x="50" y="140"/>
                  </a:lnTo>
                  <a:lnTo>
                    <a:pt x="57" y="142"/>
                  </a:lnTo>
                  <a:lnTo>
                    <a:pt x="64" y="143"/>
                  </a:lnTo>
                  <a:lnTo>
                    <a:pt x="72" y="144"/>
                  </a:lnTo>
                  <a:lnTo>
                    <a:pt x="78" y="143"/>
                  </a:lnTo>
                  <a:lnTo>
                    <a:pt x="86" y="142"/>
                  </a:lnTo>
                  <a:lnTo>
                    <a:pt x="93" y="140"/>
                  </a:lnTo>
                  <a:lnTo>
                    <a:pt x="100" y="137"/>
                  </a:lnTo>
                  <a:lnTo>
                    <a:pt x="106" y="135"/>
                  </a:lnTo>
                  <a:lnTo>
                    <a:pt x="111" y="131"/>
                  </a:lnTo>
                  <a:lnTo>
                    <a:pt x="117" y="127"/>
                  </a:lnTo>
                  <a:lnTo>
                    <a:pt x="122" y="122"/>
                  </a:lnTo>
                  <a:lnTo>
                    <a:pt x="126" y="117"/>
                  </a:lnTo>
                  <a:lnTo>
                    <a:pt x="131" y="112"/>
                  </a:lnTo>
                  <a:lnTo>
                    <a:pt x="135" y="106"/>
                  </a:lnTo>
                  <a:lnTo>
                    <a:pt x="137" y="100"/>
                  </a:lnTo>
                  <a:lnTo>
                    <a:pt x="140" y="93"/>
                  </a:lnTo>
                  <a:lnTo>
                    <a:pt x="142" y="86"/>
                  </a:lnTo>
                  <a:lnTo>
                    <a:pt x="143" y="78"/>
                  </a:lnTo>
                  <a:lnTo>
                    <a:pt x="144" y="72"/>
                  </a:lnTo>
                  <a:lnTo>
                    <a:pt x="143" y="64"/>
                  </a:lnTo>
                  <a:lnTo>
                    <a:pt x="142" y="57"/>
                  </a:lnTo>
                  <a:lnTo>
                    <a:pt x="140" y="50"/>
                  </a:lnTo>
                  <a:lnTo>
                    <a:pt x="137" y="44"/>
                  </a:lnTo>
                  <a:lnTo>
                    <a:pt x="135" y="38"/>
                  </a:lnTo>
                  <a:lnTo>
                    <a:pt x="131" y="31"/>
                  </a:lnTo>
                  <a:lnTo>
                    <a:pt x="126" y="26"/>
                  </a:lnTo>
                  <a:lnTo>
                    <a:pt x="122" y="20"/>
                  </a:lnTo>
                  <a:lnTo>
                    <a:pt x="117" y="16"/>
                  </a:lnTo>
                  <a:lnTo>
                    <a:pt x="111" y="12"/>
                  </a:lnTo>
                  <a:lnTo>
                    <a:pt x="106" y="9"/>
                  </a:lnTo>
                  <a:lnTo>
                    <a:pt x="100" y="5"/>
                  </a:lnTo>
                  <a:lnTo>
                    <a:pt x="93" y="3"/>
                  </a:lnTo>
                  <a:lnTo>
                    <a:pt x="86" y="1"/>
                  </a:lnTo>
                  <a:lnTo>
                    <a:pt x="78" y="0"/>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2" name="Group 111">
            <a:extLst>
              <a:ext uri="{FF2B5EF4-FFF2-40B4-BE49-F238E27FC236}">
                <a16:creationId xmlns:a16="http://schemas.microsoft.com/office/drawing/2014/main" id="{65358A04-CF74-4C4F-8627-99A3E5DE8128}"/>
              </a:ext>
            </a:extLst>
          </p:cNvPr>
          <p:cNvGrpSpPr>
            <a:grpSpLocks noChangeAspect="1"/>
          </p:cNvGrpSpPr>
          <p:nvPr/>
        </p:nvGrpSpPr>
        <p:grpSpPr>
          <a:xfrm>
            <a:off x="5377403" y="2233311"/>
            <a:ext cx="287206" cy="285619"/>
            <a:chOff x="8736013" y="4217988"/>
            <a:chExt cx="287338" cy="285750"/>
          </a:xfrm>
          <a:solidFill>
            <a:schemeClr val="bg1"/>
          </a:solidFill>
          <a:effectLst/>
        </p:grpSpPr>
        <p:sp>
          <p:nvSpPr>
            <p:cNvPr id="1543" name="Freeform 268">
              <a:extLst>
                <a:ext uri="{FF2B5EF4-FFF2-40B4-BE49-F238E27FC236}">
                  <a16:creationId xmlns:a16="http://schemas.microsoft.com/office/drawing/2014/main" id="{446F310A-B114-43E8-97A0-A40E81369F36}"/>
                </a:ext>
              </a:extLst>
            </p:cNvPr>
            <p:cNvSpPr>
              <a:spLocks/>
            </p:cNvSpPr>
            <p:nvPr/>
          </p:nvSpPr>
          <p:spPr bwMode="auto">
            <a:xfrm>
              <a:off x="8736013" y="4217988"/>
              <a:ext cx="287338" cy="285750"/>
            </a:xfrm>
            <a:custGeom>
              <a:avLst/>
              <a:gdLst>
                <a:gd name="T0" fmla="*/ 900 w 902"/>
                <a:gd name="T1" fmla="*/ 7 h 902"/>
                <a:gd name="T2" fmla="*/ 896 w 902"/>
                <a:gd name="T3" fmla="*/ 2 h 902"/>
                <a:gd name="T4" fmla="*/ 890 w 902"/>
                <a:gd name="T5" fmla="*/ 0 h 902"/>
                <a:gd name="T6" fmla="*/ 646 w 902"/>
                <a:gd name="T7" fmla="*/ 0 h 902"/>
                <a:gd name="T8" fmla="*/ 641 w 902"/>
                <a:gd name="T9" fmla="*/ 1 h 902"/>
                <a:gd name="T10" fmla="*/ 635 w 902"/>
                <a:gd name="T11" fmla="*/ 4 h 902"/>
                <a:gd name="T12" fmla="*/ 632 w 902"/>
                <a:gd name="T13" fmla="*/ 9 h 902"/>
                <a:gd name="T14" fmla="*/ 631 w 902"/>
                <a:gd name="T15" fmla="*/ 15 h 902"/>
                <a:gd name="T16" fmla="*/ 632 w 902"/>
                <a:gd name="T17" fmla="*/ 21 h 902"/>
                <a:gd name="T18" fmla="*/ 635 w 902"/>
                <a:gd name="T19" fmla="*/ 26 h 902"/>
                <a:gd name="T20" fmla="*/ 641 w 902"/>
                <a:gd name="T21" fmla="*/ 29 h 902"/>
                <a:gd name="T22" fmla="*/ 646 w 902"/>
                <a:gd name="T23" fmla="*/ 30 h 902"/>
                <a:gd name="T24" fmla="*/ 4 w 902"/>
                <a:gd name="T25" fmla="*/ 876 h 902"/>
                <a:gd name="T26" fmla="*/ 1 w 902"/>
                <a:gd name="T27" fmla="*/ 881 h 902"/>
                <a:gd name="T28" fmla="*/ 0 w 902"/>
                <a:gd name="T29" fmla="*/ 887 h 902"/>
                <a:gd name="T30" fmla="*/ 1 w 902"/>
                <a:gd name="T31" fmla="*/ 892 h 902"/>
                <a:gd name="T32" fmla="*/ 4 w 902"/>
                <a:gd name="T33" fmla="*/ 898 h 902"/>
                <a:gd name="T34" fmla="*/ 10 w 902"/>
                <a:gd name="T35" fmla="*/ 901 h 902"/>
                <a:gd name="T36" fmla="*/ 15 w 902"/>
                <a:gd name="T37" fmla="*/ 902 h 902"/>
                <a:gd name="T38" fmla="*/ 20 w 902"/>
                <a:gd name="T39" fmla="*/ 901 h 902"/>
                <a:gd name="T40" fmla="*/ 26 w 902"/>
                <a:gd name="T41" fmla="*/ 898 h 902"/>
                <a:gd name="T42" fmla="*/ 872 w 902"/>
                <a:gd name="T43" fmla="*/ 255 h 902"/>
                <a:gd name="T44" fmla="*/ 873 w 902"/>
                <a:gd name="T45" fmla="*/ 262 h 902"/>
                <a:gd name="T46" fmla="*/ 876 w 902"/>
                <a:gd name="T47" fmla="*/ 266 h 902"/>
                <a:gd name="T48" fmla="*/ 881 w 902"/>
                <a:gd name="T49" fmla="*/ 269 h 902"/>
                <a:gd name="T50" fmla="*/ 887 w 902"/>
                <a:gd name="T51" fmla="*/ 270 h 902"/>
                <a:gd name="T52" fmla="*/ 892 w 902"/>
                <a:gd name="T53" fmla="*/ 269 h 902"/>
                <a:gd name="T54" fmla="*/ 898 w 902"/>
                <a:gd name="T55" fmla="*/ 266 h 902"/>
                <a:gd name="T56" fmla="*/ 901 w 902"/>
                <a:gd name="T57" fmla="*/ 262 h 902"/>
                <a:gd name="T58" fmla="*/ 902 w 902"/>
                <a:gd name="T59" fmla="*/ 255 h 902"/>
                <a:gd name="T60" fmla="*/ 902 w 902"/>
                <a:gd name="T61" fmla="*/ 12 h 902"/>
                <a:gd name="T62" fmla="*/ 901 w 902"/>
                <a:gd name="T63" fmla="*/ 9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02" h="902">
                  <a:moveTo>
                    <a:pt x="901" y="9"/>
                  </a:moveTo>
                  <a:lnTo>
                    <a:pt x="900" y="7"/>
                  </a:lnTo>
                  <a:lnTo>
                    <a:pt x="898" y="4"/>
                  </a:lnTo>
                  <a:lnTo>
                    <a:pt x="896" y="2"/>
                  </a:lnTo>
                  <a:lnTo>
                    <a:pt x="892" y="1"/>
                  </a:lnTo>
                  <a:lnTo>
                    <a:pt x="890" y="0"/>
                  </a:lnTo>
                  <a:lnTo>
                    <a:pt x="887" y="0"/>
                  </a:lnTo>
                  <a:lnTo>
                    <a:pt x="646" y="0"/>
                  </a:lnTo>
                  <a:lnTo>
                    <a:pt x="644" y="0"/>
                  </a:lnTo>
                  <a:lnTo>
                    <a:pt x="641" y="1"/>
                  </a:lnTo>
                  <a:lnTo>
                    <a:pt x="638" y="2"/>
                  </a:lnTo>
                  <a:lnTo>
                    <a:pt x="635" y="4"/>
                  </a:lnTo>
                  <a:lnTo>
                    <a:pt x="634" y="7"/>
                  </a:lnTo>
                  <a:lnTo>
                    <a:pt x="632" y="9"/>
                  </a:lnTo>
                  <a:lnTo>
                    <a:pt x="632" y="12"/>
                  </a:lnTo>
                  <a:lnTo>
                    <a:pt x="631" y="15"/>
                  </a:lnTo>
                  <a:lnTo>
                    <a:pt x="632" y="18"/>
                  </a:lnTo>
                  <a:lnTo>
                    <a:pt x="632" y="21"/>
                  </a:lnTo>
                  <a:lnTo>
                    <a:pt x="634" y="24"/>
                  </a:lnTo>
                  <a:lnTo>
                    <a:pt x="635" y="26"/>
                  </a:lnTo>
                  <a:lnTo>
                    <a:pt x="638" y="27"/>
                  </a:lnTo>
                  <a:lnTo>
                    <a:pt x="641" y="29"/>
                  </a:lnTo>
                  <a:lnTo>
                    <a:pt x="644" y="29"/>
                  </a:lnTo>
                  <a:lnTo>
                    <a:pt x="646" y="30"/>
                  </a:lnTo>
                  <a:lnTo>
                    <a:pt x="851" y="30"/>
                  </a:lnTo>
                  <a:lnTo>
                    <a:pt x="4" y="876"/>
                  </a:lnTo>
                  <a:lnTo>
                    <a:pt x="2" y="879"/>
                  </a:lnTo>
                  <a:lnTo>
                    <a:pt x="1" y="881"/>
                  </a:lnTo>
                  <a:lnTo>
                    <a:pt x="0" y="884"/>
                  </a:lnTo>
                  <a:lnTo>
                    <a:pt x="0" y="887"/>
                  </a:lnTo>
                  <a:lnTo>
                    <a:pt x="0" y="889"/>
                  </a:lnTo>
                  <a:lnTo>
                    <a:pt x="1" y="892"/>
                  </a:lnTo>
                  <a:lnTo>
                    <a:pt x="2" y="895"/>
                  </a:lnTo>
                  <a:lnTo>
                    <a:pt x="4" y="898"/>
                  </a:lnTo>
                  <a:lnTo>
                    <a:pt x="6" y="899"/>
                  </a:lnTo>
                  <a:lnTo>
                    <a:pt x="10" y="901"/>
                  </a:lnTo>
                  <a:lnTo>
                    <a:pt x="12" y="901"/>
                  </a:lnTo>
                  <a:lnTo>
                    <a:pt x="15" y="902"/>
                  </a:lnTo>
                  <a:lnTo>
                    <a:pt x="18" y="901"/>
                  </a:lnTo>
                  <a:lnTo>
                    <a:pt x="20" y="901"/>
                  </a:lnTo>
                  <a:lnTo>
                    <a:pt x="24" y="899"/>
                  </a:lnTo>
                  <a:lnTo>
                    <a:pt x="26" y="898"/>
                  </a:lnTo>
                  <a:lnTo>
                    <a:pt x="872" y="50"/>
                  </a:lnTo>
                  <a:lnTo>
                    <a:pt x="872" y="255"/>
                  </a:lnTo>
                  <a:lnTo>
                    <a:pt x="872" y="258"/>
                  </a:lnTo>
                  <a:lnTo>
                    <a:pt x="873" y="262"/>
                  </a:lnTo>
                  <a:lnTo>
                    <a:pt x="874" y="264"/>
                  </a:lnTo>
                  <a:lnTo>
                    <a:pt x="876" y="266"/>
                  </a:lnTo>
                  <a:lnTo>
                    <a:pt x="878" y="268"/>
                  </a:lnTo>
                  <a:lnTo>
                    <a:pt x="881" y="269"/>
                  </a:lnTo>
                  <a:lnTo>
                    <a:pt x="884" y="270"/>
                  </a:lnTo>
                  <a:lnTo>
                    <a:pt x="887" y="270"/>
                  </a:lnTo>
                  <a:lnTo>
                    <a:pt x="890" y="270"/>
                  </a:lnTo>
                  <a:lnTo>
                    <a:pt x="892" y="269"/>
                  </a:lnTo>
                  <a:lnTo>
                    <a:pt x="896" y="268"/>
                  </a:lnTo>
                  <a:lnTo>
                    <a:pt x="898" y="266"/>
                  </a:lnTo>
                  <a:lnTo>
                    <a:pt x="900" y="264"/>
                  </a:lnTo>
                  <a:lnTo>
                    <a:pt x="901" y="262"/>
                  </a:lnTo>
                  <a:lnTo>
                    <a:pt x="902" y="258"/>
                  </a:lnTo>
                  <a:lnTo>
                    <a:pt x="902" y="255"/>
                  </a:lnTo>
                  <a:lnTo>
                    <a:pt x="902" y="15"/>
                  </a:lnTo>
                  <a:lnTo>
                    <a:pt x="902" y="12"/>
                  </a:lnTo>
                  <a:lnTo>
                    <a:pt x="901" y="9"/>
                  </a:lnTo>
                  <a:lnTo>
                    <a:pt x="90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269">
              <a:extLst>
                <a:ext uri="{FF2B5EF4-FFF2-40B4-BE49-F238E27FC236}">
                  <a16:creationId xmlns:a16="http://schemas.microsoft.com/office/drawing/2014/main" id="{6777074B-959B-478B-8744-41C0067DC40E}"/>
                </a:ext>
              </a:extLst>
            </p:cNvPr>
            <p:cNvSpPr>
              <a:spLocks noEditPoints="1"/>
            </p:cNvSpPr>
            <p:nvPr/>
          </p:nvSpPr>
          <p:spPr bwMode="auto">
            <a:xfrm>
              <a:off x="8745538" y="4227513"/>
              <a:ext cx="96838" cy="95250"/>
            </a:xfrm>
            <a:custGeom>
              <a:avLst/>
              <a:gdLst>
                <a:gd name="T0" fmla="*/ 175 w 301"/>
                <a:gd name="T1" fmla="*/ 32 h 300"/>
                <a:gd name="T2" fmla="*/ 208 w 301"/>
                <a:gd name="T3" fmla="*/ 44 h 300"/>
                <a:gd name="T4" fmla="*/ 236 w 301"/>
                <a:gd name="T5" fmla="*/ 65 h 300"/>
                <a:gd name="T6" fmla="*/ 256 w 301"/>
                <a:gd name="T7" fmla="*/ 93 h 300"/>
                <a:gd name="T8" fmla="*/ 268 w 301"/>
                <a:gd name="T9" fmla="*/ 125 h 300"/>
                <a:gd name="T10" fmla="*/ 270 w 301"/>
                <a:gd name="T11" fmla="*/ 163 h 300"/>
                <a:gd name="T12" fmla="*/ 261 w 301"/>
                <a:gd name="T13" fmla="*/ 197 h 300"/>
                <a:gd name="T14" fmla="*/ 243 w 301"/>
                <a:gd name="T15" fmla="*/ 226 h 300"/>
                <a:gd name="T16" fmla="*/ 217 w 301"/>
                <a:gd name="T17" fmla="*/ 250 h 300"/>
                <a:gd name="T18" fmla="*/ 186 w 301"/>
                <a:gd name="T19" fmla="*/ 265 h 300"/>
                <a:gd name="T20" fmla="*/ 150 w 301"/>
                <a:gd name="T21" fmla="*/ 270 h 300"/>
                <a:gd name="T22" fmla="*/ 115 w 301"/>
                <a:gd name="T23" fmla="*/ 265 h 300"/>
                <a:gd name="T24" fmla="*/ 84 w 301"/>
                <a:gd name="T25" fmla="*/ 250 h 300"/>
                <a:gd name="T26" fmla="*/ 58 w 301"/>
                <a:gd name="T27" fmla="*/ 226 h 300"/>
                <a:gd name="T28" fmla="*/ 40 w 301"/>
                <a:gd name="T29" fmla="*/ 197 h 300"/>
                <a:gd name="T30" fmla="*/ 31 w 301"/>
                <a:gd name="T31" fmla="*/ 163 h 300"/>
                <a:gd name="T32" fmla="*/ 32 w 301"/>
                <a:gd name="T33" fmla="*/ 125 h 300"/>
                <a:gd name="T34" fmla="*/ 45 w 301"/>
                <a:gd name="T35" fmla="*/ 93 h 300"/>
                <a:gd name="T36" fmla="*/ 65 w 301"/>
                <a:gd name="T37" fmla="*/ 65 h 300"/>
                <a:gd name="T38" fmla="*/ 93 w 301"/>
                <a:gd name="T39" fmla="*/ 44 h 300"/>
                <a:gd name="T40" fmla="*/ 126 w 301"/>
                <a:gd name="T41" fmla="*/ 32 h 300"/>
                <a:gd name="T42" fmla="*/ 150 w 301"/>
                <a:gd name="T43" fmla="*/ 300 h 300"/>
                <a:gd name="T44" fmla="*/ 195 w 301"/>
                <a:gd name="T45" fmla="*/ 294 h 300"/>
                <a:gd name="T46" fmla="*/ 235 w 301"/>
                <a:gd name="T47" fmla="*/ 274 h 300"/>
                <a:gd name="T48" fmla="*/ 267 w 301"/>
                <a:gd name="T49" fmla="*/ 245 h 300"/>
                <a:gd name="T50" fmla="*/ 289 w 301"/>
                <a:gd name="T51" fmla="*/ 209 h 300"/>
                <a:gd name="T52" fmla="*/ 300 w 301"/>
                <a:gd name="T53" fmla="*/ 165 h 300"/>
                <a:gd name="T54" fmla="*/ 298 w 301"/>
                <a:gd name="T55" fmla="*/ 120 h 300"/>
                <a:gd name="T56" fmla="*/ 283 w 301"/>
                <a:gd name="T57" fmla="*/ 78 h 300"/>
                <a:gd name="T58" fmla="*/ 256 w 301"/>
                <a:gd name="T59" fmla="*/ 44 h 300"/>
                <a:gd name="T60" fmla="*/ 222 w 301"/>
                <a:gd name="T61" fmla="*/ 18 h 300"/>
                <a:gd name="T62" fmla="*/ 181 w 301"/>
                <a:gd name="T63" fmla="*/ 3 h 300"/>
                <a:gd name="T64" fmla="*/ 135 w 301"/>
                <a:gd name="T65" fmla="*/ 0 h 300"/>
                <a:gd name="T66" fmla="*/ 92 w 301"/>
                <a:gd name="T67" fmla="*/ 12 h 300"/>
                <a:gd name="T68" fmla="*/ 55 w 301"/>
                <a:gd name="T69" fmla="*/ 34 h 300"/>
                <a:gd name="T70" fmla="*/ 26 w 301"/>
                <a:gd name="T71" fmla="*/ 67 h 300"/>
                <a:gd name="T72" fmla="*/ 6 w 301"/>
                <a:gd name="T73" fmla="*/ 105 h 300"/>
                <a:gd name="T74" fmla="*/ 0 w 301"/>
                <a:gd name="T75" fmla="*/ 150 h 300"/>
                <a:gd name="T76" fmla="*/ 6 w 301"/>
                <a:gd name="T77" fmla="*/ 195 h 300"/>
                <a:gd name="T78" fmla="*/ 26 w 301"/>
                <a:gd name="T79" fmla="*/ 234 h 300"/>
                <a:gd name="T80" fmla="*/ 55 w 301"/>
                <a:gd name="T81" fmla="*/ 266 h 300"/>
                <a:gd name="T82" fmla="*/ 92 w 301"/>
                <a:gd name="T83" fmla="*/ 288 h 300"/>
                <a:gd name="T84" fmla="*/ 135 w 301"/>
                <a:gd name="T8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0">
                  <a:moveTo>
                    <a:pt x="150" y="30"/>
                  </a:moveTo>
                  <a:lnTo>
                    <a:pt x="163" y="30"/>
                  </a:lnTo>
                  <a:lnTo>
                    <a:pt x="175" y="32"/>
                  </a:lnTo>
                  <a:lnTo>
                    <a:pt x="186" y="35"/>
                  </a:lnTo>
                  <a:lnTo>
                    <a:pt x="197" y="40"/>
                  </a:lnTo>
                  <a:lnTo>
                    <a:pt x="208" y="44"/>
                  </a:lnTo>
                  <a:lnTo>
                    <a:pt x="217" y="50"/>
                  </a:lnTo>
                  <a:lnTo>
                    <a:pt x="227" y="57"/>
                  </a:lnTo>
                  <a:lnTo>
                    <a:pt x="236" y="65"/>
                  </a:lnTo>
                  <a:lnTo>
                    <a:pt x="243" y="74"/>
                  </a:lnTo>
                  <a:lnTo>
                    <a:pt x="250" y="83"/>
                  </a:lnTo>
                  <a:lnTo>
                    <a:pt x="256" y="93"/>
                  </a:lnTo>
                  <a:lnTo>
                    <a:pt x="261" y="103"/>
                  </a:lnTo>
                  <a:lnTo>
                    <a:pt x="266" y="115"/>
                  </a:lnTo>
                  <a:lnTo>
                    <a:pt x="268" y="125"/>
                  </a:lnTo>
                  <a:lnTo>
                    <a:pt x="270" y="138"/>
                  </a:lnTo>
                  <a:lnTo>
                    <a:pt x="271" y="150"/>
                  </a:lnTo>
                  <a:lnTo>
                    <a:pt x="270" y="163"/>
                  </a:lnTo>
                  <a:lnTo>
                    <a:pt x="268" y="175"/>
                  </a:lnTo>
                  <a:lnTo>
                    <a:pt x="266" y="185"/>
                  </a:lnTo>
                  <a:lnTo>
                    <a:pt x="261" y="197"/>
                  </a:lnTo>
                  <a:lnTo>
                    <a:pt x="256" y="208"/>
                  </a:lnTo>
                  <a:lnTo>
                    <a:pt x="250" y="218"/>
                  </a:lnTo>
                  <a:lnTo>
                    <a:pt x="243" y="226"/>
                  </a:lnTo>
                  <a:lnTo>
                    <a:pt x="236" y="235"/>
                  </a:lnTo>
                  <a:lnTo>
                    <a:pt x="227" y="243"/>
                  </a:lnTo>
                  <a:lnTo>
                    <a:pt x="217" y="250"/>
                  </a:lnTo>
                  <a:lnTo>
                    <a:pt x="208" y="256"/>
                  </a:lnTo>
                  <a:lnTo>
                    <a:pt x="197" y="262"/>
                  </a:lnTo>
                  <a:lnTo>
                    <a:pt x="186" y="265"/>
                  </a:lnTo>
                  <a:lnTo>
                    <a:pt x="175" y="268"/>
                  </a:lnTo>
                  <a:lnTo>
                    <a:pt x="163" y="270"/>
                  </a:lnTo>
                  <a:lnTo>
                    <a:pt x="150" y="270"/>
                  </a:lnTo>
                  <a:lnTo>
                    <a:pt x="138" y="270"/>
                  </a:lnTo>
                  <a:lnTo>
                    <a:pt x="126" y="268"/>
                  </a:lnTo>
                  <a:lnTo>
                    <a:pt x="115" y="265"/>
                  </a:lnTo>
                  <a:lnTo>
                    <a:pt x="104" y="262"/>
                  </a:lnTo>
                  <a:lnTo>
                    <a:pt x="93" y="256"/>
                  </a:lnTo>
                  <a:lnTo>
                    <a:pt x="84" y="250"/>
                  </a:lnTo>
                  <a:lnTo>
                    <a:pt x="74" y="243"/>
                  </a:lnTo>
                  <a:lnTo>
                    <a:pt x="65" y="235"/>
                  </a:lnTo>
                  <a:lnTo>
                    <a:pt x="58" y="226"/>
                  </a:lnTo>
                  <a:lnTo>
                    <a:pt x="50" y="218"/>
                  </a:lnTo>
                  <a:lnTo>
                    <a:pt x="45" y="208"/>
                  </a:lnTo>
                  <a:lnTo>
                    <a:pt x="40" y="197"/>
                  </a:lnTo>
                  <a:lnTo>
                    <a:pt x="35" y="185"/>
                  </a:lnTo>
                  <a:lnTo>
                    <a:pt x="32" y="175"/>
                  </a:lnTo>
                  <a:lnTo>
                    <a:pt x="31" y="163"/>
                  </a:lnTo>
                  <a:lnTo>
                    <a:pt x="30" y="150"/>
                  </a:lnTo>
                  <a:lnTo>
                    <a:pt x="31" y="138"/>
                  </a:lnTo>
                  <a:lnTo>
                    <a:pt x="32" y="125"/>
                  </a:lnTo>
                  <a:lnTo>
                    <a:pt x="35" y="115"/>
                  </a:lnTo>
                  <a:lnTo>
                    <a:pt x="40" y="103"/>
                  </a:lnTo>
                  <a:lnTo>
                    <a:pt x="45" y="93"/>
                  </a:lnTo>
                  <a:lnTo>
                    <a:pt x="50" y="83"/>
                  </a:lnTo>
                  <a:lnTo>
                    <a:pt x="58" y="74"/>
                  </a:lnTo>
                  <a:lnTo>
                    <a:pt x="65" y="65"/>
                  </a:lnTo>
                  <a:lnTo>
                    <a:pt x="74" y="57"/>
                  </a:lnTo>
                  <a:lnTo>
                    <a:pt x="84" y="50"/>
                  </a:lnTo>
                  <a:lnTo>
                    <a:pt x="93" y="44"/>
                  </a:lnTo>
                  <a:lnTo>
                    <a:pt x="104" y="40"/>
                  </a:lnTo>
                  <a:lnTo>
                    <a:pt x="115" y="35"/>
                  </a:lnTo>
                  <a:lnTo>
                    <a:pt x="126" y="32"/>
                  </a:lnTo>
                  <a:lnTo>
                    <a:pt x="138" y="30"/>
                  </a:lnTo>
                  <a:lnTo>
                    <a:pt x="150" y="30"/>
                  </a:lnTo>
                  <a:close/>
                  <a:moveTo>
                    <a:pt x="150" y="300"/>
                  </a:moveTo>
                  <a:lnTo>
                    <a:pt x="166" y="300"/>
                  </a:lnTo>
                  <a:lnTo>
                    <a:pt x="181" y="298"/>
                  </a:lnTo>
                  <a:lnTo>
                    <a:pt x="195" y="294"/>
                  </a:lnTo>
                  <a:lnTo>
                    <a:pt x="209" y="288"/>
                  </a:lnTo>
                  <a:lnTo>
                    <a:pt x="222" y="282"/>
                  </a:lnTo>
                  <a:lnTo>
                    <a:pt x="235" y="274"/>
                  </a:lnTo>
                  <a:lnTo>
                    <a:pt x="245" y="266"/>
                  </a:lnTo>
                  <a:lnTo>
                    <a:pt x="256" y="256"/>
                  </a:lnTo>
                  <a:lnTo>
                    <a:pt x="267" y="245"/>
                  </a:lnTo>
                  <a:lnTo>
                    <a:pt x="275" y="234"/>
                  </a:lnTo>
                  <a:lnTo>
                    <a:pt x="283" y="222"/>
                  </a:lnTo>
                  <a:lnTo>
                    <a:pt x="289" y="209"/>
                  </a:lnTo>
                  <a:lnTo>
                    <a:pt x="294" y="195"/>
                  </a:lnTo>
                  <a:lnTo>
                    <a:pt x="298" y="180"/>
                  </a:lnTo>
                  <a:lnTo>
                    <a:pt x="300" y="165"/>
                  </a:lnTo>
                  <a:lnTo>
                    <a:pt x="301" y="150"/>
                  </a:lnTo>
                  <a:lnTo>
                    <a:pt x="300" y="135"/>
                  </a:lnTo>
                  <a:lnTo>
                    <a:pt x="298" y="120"/>
                  </a:lnTo>
                  <a:lnTo>
                    <a:pt x="294" y="105"/>
                  </a:lnTo>
                  <a:lnTo>
                    <a:pt x="289" y="91"/>
                  </a:lnTo>
                  <a:lnTo>
                    <a:pt x="283" y="78"/>
                  </a:lnTo>
                  <a:lnTo>
                    <a:pt x="275" y="67"/>
                  </a:lnTo>
                  <a:lnTo>
                    <a:pt x="267" y="55"/>
                  </a:lnTo>
                  <a:lnTo>
                    <a:pt x="256" y="44"/>
                  </a:lnTo>
                  <a:lnTo>
                    <a:pt x="245" y="34"/>
                  </a:lnTo>
                  <a:lnTo>
                    <a:pt x="235" y="26"/>
                  </a:lnTo>
                  <a:lnTo>
                    <a:pt x="222" y="18"/>
                  </a:lnTo>
                  <a:lnTo>
                    <a:pt x="209" y="12"/>
                  </a:lnTo>
                  <a:lnTo>
                    <a:pt x="195" y="7"/>
                  </a:lnTo>
                  <a:lnTo>
                    <a:pt x="181" y="3"/>
                  </a:lnTo>
                  <a:lnTo>
                    <a:pt x="166" y="0"/>
                  </a:lnTo>
                  <a:lnTo>
                    <a:pt x="150" y="0"/>
                  </a:lnTo>
                  <a:lnTo>
                    <a:pt x="135" y="0"/>
                  </a:lnTo>
                  <a:lnTo>
                    <a:pt x="120" y="3"/>
                  </a:lnTo>
                  <a:lnTo>
                    <a:pt x="106" y="7"/>
                  </a:lnTo>
                  <a:lnTo>
                    <a:pt x="92" y="12"/>
                  </a:lnTo>
                  <a:lnTo>
                    <a:pt x="78" y="18"/>
                  </a:lnTo>
                  <a:lnTo>
                    <a:pt x="66" y="26"/>
                  </a:lnTo>
                  <a:lnTo>
                    <a:pt x="55" y="34"/>
                  </a:lnTo>
                  <a:lnTo>
                    <a:pt x="44" y="44"/>
                  </a:lnTo>
                  <a:lnTo>
                    <a:pt x="34" y="55"/>
                  </a:lnTo>
                  <a:lnTo>
                    <a:pt x="26" y="67"/>
                  </a:lnTo>
                  <a:lnTo>
                    <a:pt x="18" y="78"/>
                  </a:lnTo>
                  <a:lnTo>
                    <a:pt x="12" y="91"/>
                  </a:lnTo>
                  <a:lnTo>
                    <a:pt x="6" y="105"/>
                  </a:lnTo>
                  <a:lnTo>
                    <a:pt x="3" y="120"/>
                  </a:lnTo>
                  <a:lnTo>
                    <a:pt x="1" y="135"/>
                  </a:lnTo>
                  <a:lnTo>
                    <a:pt x="0" y="150"/>
                  </a:lnTo>
                  <a:lnTo>
                    <a:pt x="1" y="165"/>
                  </a:lnTo>
                  <a:lnTo>
                    <a:pt x="3" y="180"/>
                  </a:lnTo>
                  <a:lnTo>
                    <a:pt x="6" y="195"/>
                  </a:lnTo>
                  <a:lnTo>
                    <a:pt x="12" y="209"/>
                  </a:lnTo>
                  <a:lnTo>
                    <a:pt x="18" y="222"/>
                  </a:lnTo>
                  <a:lnTo>
                    <a:pt x="26" y="234"/>
                  </a:lnTo>
                  <a:lnTo>
                    <a:pt x="34" y="245"/>
                  </a:lnTo>
                  <a:lnTo>
                    <a:pt x="44" y="256"/>
                  </a:lnTo>
                  <a:lnTo>
                    <a:pt x="55" y="266"/>
                  </a:lnTo>
                  <a:lnTo>
                    <a:pt x="66" y="274"/>
                  </a:lnTo>
                  <a:lnTo>
                    <a:pt x="78" y="282"/>
                  </a:lnTo>
                  <a:lnTo>
                    <a:pt x="92" y="288"/>
                  </a:lnTo>
                  <a:lnTo>
                    <a:pt x="106" y="294"/>
                  </a:lnTo>
                  <a:lnTo>
                    <a:pt x="120" y="298"/>
                  </a:lnTo>
                  <a:lnTo>
                    <a:pt x="135" y="300"/>
                  </a:lnTo>
                  <a:lnTo>
                    <a:pt x="15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270">
              <a:extLst>
                <a:ext uri="{FF2B5EF4-FFF2-40B4-BE49-F238E27FC236}">
                  <a16:creationId xmlns:a16="http://schemas.microsoft.com/office/drawing/2014/main" id="{C15FA921-5224-42BE-A9A2-0BEB9EFBE894}"/>
                </a:ext>
              </a:extLst>
            </p:cNvPr>
            <p:cNvSpPr>
              <a:spLocks noEditPoints="1"/>
            </p:cNvSpPr>
            <p:nvPr/>
          </p:nvSpPr>
          <p:spPr bwMode="auto">
            <a:xfrm>
              <a:off x="8918575" y="4398963"/>
              <a:ext cx="95250" cy="95250"/>
            </a:xfrm>
            <a:custGeom>
              <a:avLst/>
              <a:gdLst>
                <a:gd name="T0" fmla="*/ 126 w 301"/>
                <a:gd name="T1" fmla="*/ 268 h 301"/>
                <a:gd name="T2" fmla="*/ 93 w 301"/>
                <a:gd name="T3" fmla="*/ 256 h 301"/>
                <a:gd name="T4" fmla="*/ 65 w 301"/>
                <a:gd name="T5" fmla="*/ 236 h 301"/>
                <a:gd name="T6" fmla="*/ 45 w 301"/>
                <a:gd name="T7" fmla="*/ 208 h 301"/>
                <a:gd name="T8" fmla="*/ 33 w 301"/>
                <a:gd name="T9" fmla="*/ 175 h 301"/>
                <a:gd name="T10" fmla="*/ 31 w 301"/>
                <a:gd name="T11" fmla="*/ 138 h 301"/>
                <a:gd name="T12" fmla="*/ 40 w 301"/>
                <a:gd name="T13" fmla="*/ 104 h 301"/>
                <a:gd name="T14" fmla="*/ 58 w 301"/>
                <a:gd name="T15" fmla="*/ 74 h 301"/>
                <a:gd name="T16" fmla="*/ 84 w 301"/>
                <a:gd name="T17" fmla="*/ 50 h 301"/>
                <a:gd name="T18" fmla="*/ 115 w 301"/>
                <a:gd name="T19" fmla="*/ 35 h 301"/>
                <a:gd name="T20" fmla="*/ 151 w 301"/>
                <a:gd name="T21" fmla="*/ 30 h 301"/>
                <a:gd name="T22" fmla="*/ 186 w 301"/>
                <a:gd name="T23" fmla="*/ 35 h 301"/>
                <a:gd name="T24" fmla="*/ 217 w 301"/>
                <a:gd name="T25" fmla="*/ 50 h 301"/>
                <a:gd name="T26" fmla="*/ 243 w 301"/>
                <a:gd name="T27" fmla="*/ 74 h 301"/>
                <a:gd name="T28" fmla="*/ 261 w 301"/>
                <a:gd name="T29" fmla="*/ 104 h 301"/>
                <a:gd name="T30" fmla="*/ 270 w 301"/>
                <a:gd name="T31" fmla="*/ 138 h 301"/>
                <a:gd name="T32" fmla="*/ 269 w 301"/>
                <a:gd name="T33" fmla="*/ 175 h 301"/>
                <a:gd name="T34" fmla="*/ 256 w 301"/>
                <a:gd name="T35" fmla="*/ 208 h 301"/>
                <a:gd name="T36" fmla="*/ 236 w 301"/>
                <a:gd name="T37" fmla="*/ 236 h 301"/>
                <a:gd name="T38" fmla="*/ 208 w 301"/>
                <a:gd name="T39" fmla="*/ 256 h 301"/>
                <a:gd name="T40" fmla="*/ 175 w 301"/>
                <a:gd name="T41" fmla="*/ 268 h 301"/>
                <a:gd name="T42" fmla="*/ 151 w 301"/>
                <a:gd name="T43" fmla="*/ 0 h 301"/>
                <a:gd name="T44" fmla="*/ 106 w 301"/>
                <a:gd name="T45" fmla="*/ 7 h 301"/>
                <a:gd name="T46" fmla="*/ 66 w 301"/>
                <a:gd name="T47" fmla="*/ 26 h 301"/>
                <a:gd name="T48" fmla="*/ 34 w 301"/>
                <a:gd name="T49" fmla="*/ 55 h 301"/>
                <a:gd name="T50" fmla="*/ 12 w 301"/>
                <a:gd name="T51" fmla="*/ 92 h 301"/>
                <a:gd name="T52" fmla="*/ 1 w 301"/>
                <a:gd name="T53" fmla="*/ 135 h 301"/>
                <a:gd name="T54" fmla="*/ 3 w 301"/>
                <a:gd name="T55" fmla="*/ 181 h 301"/>
                <a:gd name="T56" fmla="*/ 18 w 301"/>
                <a:gd name="T57" fmla="*/ 222 h 301"/>
                <a:gd name="T58" fmla="*/ 44 w 301"/>
                <a:gd name="T59" fmla="*/ 257 h 301"/>
                <a:gd name="T60" fmla="*/ 79 w 301"/>
                <a:gd name="T61" fmla="*/ 283 h 301"/>
                <a:gd name="T62" fmla="*/ 120 w 301"/>
                <a:gd name="T63" fmla="*/ 298 h 301"/>
                <a:gd name="T64" fmla="*/ 166 w 301"/>
                <a:gd name="T65" fmla="*/ 300 h 301"/>
                <a:gd name="T66" fmla="*/ 209 w 301"/>
                <a:gd name="T67" fmla="*/ 289 h 301"/>
                <a:gd name="T68" fmla="*/ 246 w 301"/>
                <a:gd name="T69" fmla="*/ 267 h 301"/>
                <a:gd name="T70" fmla="*/ 275 w 301"/>
                <a:gd name="T71" fmla="*/ 235 h 301"/>
                <a:gd name="T72" fmla="*/ 295 w 301"/>
                <a:gd name="T73" fmla="*/ 195 h 301"/>
                <a:gd name="T74" fmla="*/ 301 w 301"/>
                <a:gd name="T75" fmla="*/ 150 h 301"/>
                <a:gd name="T76" fmla="*/ 295 w 301"/>
                <a:gd name="T77" fmla="*/ 106 h 301"/>
                <a:gd name="T78" fmla="*/ 275 w 301"/>
                <a:gd name="T79" fmla="*/ 67 h 301"/>
                <a:gd name="T80" fmla="*/ 246 w 301"/>
                <a:gd name="T81" fmla="*/ 34 h 301"/>
                <a:gd name="T82" fmla="*/ 209 w 301"/>
                <a:gd name="T83" fmla="*/ 12 h 301"/>
                <a:gd name="T84" fmla="*/ 166 w 301"/>
                <a:gd name="T85" fmla="*/ 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1" y="271"/>
                  </a:moveTo>
                  <a:lnTo>
                    <a:pt x="138" y="270"/>
                  </a:lnTo>
                  <a:lnTo>
                    <a:pt x="126" y="268"/>
                  </a:lnTo>
                  <a:lnTo>
                    <a:pt x="115" y="266"/>
                  </a:lnTo>
                  <a:lnTo>
                    <a:pt x="104" y="261"/>
                  </a:lnTo>
                  <a:lnTo>
                    <a:pt x="93" y="256"/>
                  </a:lnTo>
                  <a:lnTo>
                    <a:pt x="84" y="250"/>
                  </a:lnTo>
                  <a:lnTo>
                    <a:pt x="74" y="243"/>
                  </a:lnTo>
                  <a:lnTo>
                    <a:pt x="65" y="236"/>
                  </a:lnTo>
                  <a:lnTo>
                    <a:pt x="58" y="227"/>
                  </a:lnTo>
                  <a:lnTo>
                    <a:pt x="50" y="218"/>
                  </a:lnTo>
                  <a:lnTo>
                    <a:pt x="45" y="208"/>
                  </a:lnTo>
                  <a:lnTo>
                    <a:pt x="40" y="197"/>
                  </a:lnTo>
                  <a:lnTo>
                    <a:pt x="35" y="186"/>
                  </a:lnTo>
                  <a:lnTo>
                    <a:pt x="33" y="175"/>
                  </a:lnTo>
                  <a:lnTo>
                    <a:pt x="31" y="163"/>
                  </a:lnTo>
                  <a:lnTo>
                    <a:pt x="30" y="150"/>
                  </a:lnTo>
                  <a:lnTo>
                    <a:pt x="31" y="138"/>
                  </a:lnTo>
                  <a:lnTo>
                    <a:pt x="33" y="127"/>
                  </a:lnTo>
                  <a:lnTo>
                    <a:pt x="35" y="115"/>
                  </a:lnTo>
                  <a:lnTo>
                    <a:pt x="40" y="104"/>
                  </a:lnTo>
                  <a:lnTo>
                    <a:pt x="45" y="93"/>
                  </a:lnTo>
                  <a:lnTo>
                    <a:pt x="50" y="84"/>
                  </a:lnTo>
                  <a:lnTo>
                    <a:pt x="58" y="74"/>
                  </a:lnTo>
                  <a:lnTo>
                    <a:pt x="65" y="65"/>
                  </a:lnTo>
                  <a:lnTo>
                    <a:pt x="74" y="58"/>
                  </a:lnTo>
                  <a:lnTo>
                    <a:pt x="84" y="50"/>
                  </a:lnTo>
                  <a:lnTo>
                    <a:pt x="93" y="45"/>
                  </a:lnTo>
                  <a:lnTo>
                    <a:pt x="104" y="40"/>
                  </a:lnTo>
                  <a:lnTo>
                    <a:pt x="115" y="35"/>
                  </a:lnTo>
                  <a:lnTo>
                    <a:pt x="126" y="32"/>
                  </a:lnTo>
                  <a:lnTo>
                    <a:pt x="138" y="31"/>
                  </a:lnTo>
                  <a:lnTo>
                    <a:pt x="151" y="30"/>
                  </a:lnTo>
                  <a:lnTo>
                    <a:pt x="163" y="31"/>
                  </a:lnTo>
                  <a:lnTo>
                    <a:pt x="175" y="32"/>
                  </a:lnTo>
                  <a:lnTo>
                    <a:pt x="186" y="35"/>
                  </a:lnTo>
                  <a:lnTo>
                    <a:pt x="197" y="40"/>
                  </a:lnTo>
                  <a:lnTo>
                    <a:pt x="208" y="45"/>
                  </a:lnTo>
                  <a:lnTo>
                    <a:pt x="217" y="50"/>
                  </a:lnTo>
                  <a:lnTo>
                    <a:pt x="227" y="58"/>
                  </a:lnTo>
                  <a:lnTo>
                    <a:pt x="236" y="65"/>
                  </a:lnTo>
                  <a:lnTo>
                    <a:pt x="243" y="74"/>
                  </a:lnTo>
                  <a:lnTo>
                    <a:pt x="251" y="84"/>
                  </a:lnTo>
                  <a:lnTo>
                    <a:pt x="256" y="93"/>
                  </a:lnTo>
                  <a:lnTo>
                    <a:pt x="261" y="104"/>
                  </a:lnTo>
                  <a:lnTo>
                    <a:pt x="266" y="115"/>
                  </a:lnTo>
                  <a:lnTo>
                    <a:pt x="269" y="127"/>
                  </a:lnTo>
                  <a:lnTo>
                    <a:pt x="270" y="138"/>
                  </a:lnTo>
                  <a:lnTo>
                    <a:pt x="271" y="150"/>
                  </a:lnTo>
                  <a:lnTo>
                    <a:pt x="270" y="163"/>
                  </a:lnTo>
                  <a:lnTo>
                    <a:pt x="269" y="175"/>
                  </a:lnTo>
                  <a:lnTo>
                    <a:pt x="266" y="186"/>
                  </a:lnTo>
                  <a:lnTo>
                    <a:pt x="261" y="197"/>
                  </a:lnTo>
                  <a:lnTo>
                    <a:pt x="256" y="208"/>
                  </a:lnTo>
                  <a:lnTo>
                    <a:pt x="251" y="218"/>
                  </a:lnTo>
                  <a:lnTo>
                    <a:pt x="243" y="227"/>
                  </a:lnTo>
                  <a:lnTo>
                    <a:pt x="236" y="236"/>
                  </a:lnTo>
                  <a:lnTo>
                    <a:pt x="227" y="243"/>
                  </a:lnTo>
                  <a:lnTo>
                    <a:pt x="217" y="250"/>
                  </a:lnTo>
                  <a:lnTo>
                    <a:pt x="208" y="256"/>
                  </a:lnTo>
                  <a:lnTo>
                    <a:pt x="197" y="261"/>
                  </a:lnTo>
                  <a:lnTo>
                    <a:pt x="186" y="266"/>
                  </a:lnTo>
                  <a:lnTo>
                    <a:pt x="175" y="268"/>
                  </a:lnTo>
                  <a:lnTo>
                    <a:pt x="163" y="270"/>
                  </a:lnTo>
                  <a:lnTo>
                    <a:pt x="151" y="271"/>
                  </a:lnTo>
                  <a:close/>
                  <a:moveTo>
                    <a:pt x="151" y="0"/>
                  </a:moveTo>
                  <a:lnTo>
                    <a:pt x="135" y="1"/>
                  </a:lnTo>
                  <a:lnTo>
                    <a:pt x="120" y="3"/>
                  </a:lnTo>
                  <a:lnTo>
                    <a:pt x="106" y="7"/>
                  </a:lnTo>
                  <a:lnTo>
                    <a:pt x="92" y="12"/>
                  </a:lnTo>
                  <a:lnTo>
                    <a:pt x="79" y="18"/>
                  </a:lnTo>
                  <a:lnTo>
                    <a:pt x="66" y="26"/>
                  </a:lnTo>
                  <a:lnTo>
                    <a:pt x="55" y="34"/>
                  </a:lnTo>
                  <a:lnTo>
                    <a:pt x="44" y="44"/>
                  </a:lnTo>
                  <a:lnTo>
                    <a:pt x="34" y="55"/>
                  </a:lnTo>
                  <a:lnTo>
                    <a:pt x="26" y="67"/>
                  </a:lnTo>
                  <a:lnTo>
                    <a:pt x="18" y="78"/>
                  </a:lnTo>
                  <a:lnTo>
                    <a:pt x="12" y="92"/>
                  </a:lnTo>
                  <a:lnTo>
                    <a:pt x="7" y="106"/>
                  </a:lnTo>
                  <a:lnTo>
                    <a:pt x="3" y="120"/>
                  </a:lnTo>
                  <a:lnTo>
                    <a:pt x="1" y="135"/>
                  </a:lnTo>
                  <a:lnTo>
                    <a:pt x="0" y="150"/>
                  </a:lnTo>
                  <a:lnTo>
                    <a:pt x="1" y="166"/>
                  </a:lnTo>
                  <a:lnTo>
                    <a:pt x="3" y="181"/>
                  </a:lnTo>
                  <a:lnTo>
                    <a:pt x="7" y="195"/>
                  </a:lnTo>
                  <a:lnTo>
                    <a:pt x="12" y="209"/>
                  </a:lnTo>
                  <a:lnTo>
                    <a:pt x="18" y="222"/>
                  </a:lnTo>
                  <a:lnTo>
                    <a:pt x="26" y="235"/>
                  </a:lnTo>
                  <a:lnTo>
                    <a:pt x="34" y="246"/>
                  </a:lnTo>
                  <a:lnTo>
                    <a:pt x="44" y="257"/>
                  </a:lnTo>
                  <a:lnTo>
                    <a:pt x="55" y="267"/>
                  </a:lnTo>
                  <a:lnTo>
                    <a:pt x="66" y="275"/>
                  </a:lnTo>
                  <a:lnTo>
                    <a:pt x="79" y="283"/>
                  </a:lnTo>
                  <a:lnTo>
                    <a:pt x="92" y="289"/>
                  </a:lnTo>
                  <a:lnTo>
                    <a:pt x="106" y="294"/>
                  </a:lnTo>
                  <a:lnTo>
                    <a:pt x="120" y="298"/>
                  </a:lnTo>
                  <a:lnTo>
                    <a:pt x="135" y="300"/>
                  </a:lnTo>
                  <a:lnTo>
                    <a:pt x="151" y="301"/>
                  </a:lnTo>
                  <a:lnTo>
                    <a:pt x="166" y="300"/>
                  </a:lnTo>
                  <a:lnTo>
                    <a:pt x="181" y="298"/>
                  </a:lnTo>
                  <a:lnTo>
                    <a:pt x="195" y="294"/>
                  </a:lnTo>
                  <a:lnTo>
                    <a:pt x="209" y="289"/>
                  </a:lnTo>
                  <a:lnTo>
                    <a:pt x="222" y="283"/>
                  </a:lnTo>
                  <a:lnTo>
                    <a:pt x="235" y="275"/>
                  </a:lnTo>
                  <a:lnTo>
                    <a:pt x="246" y="267"/>
                  </a:lnTo>
                  <a:lnTo>
                    <a:pt x="257" y="257"/>
                  </a:lnTo>
                  <a:lnTo>
                    <a:pt x="267" y="246"/>
                  </a:lnTo>
                  <a:lnTo>
                    <a:pt x="275" y="235"/>
                  </a:lnTo>
                  <a:lnTo>
                    <a:pt x="283" y="222"/>
                  </a:lnTo>
                  <a:lnTo>
                    <a:pt x="289" y="209"/>
                  </a:lnTo>
                  <a:lnTo>
                    <a:pt x="295" y="195"/>
                  </a:lnTo>
                  <a:lnTo>
                    <a:pt x="298" y="181"/>
                  </a:lnTo>
                  <a:lnTo>
                    <a:pt x="300" y="166"/>
                  </a:lnTo>
                  <a:lnTo>
                    <a:pt x="301" y="150"/>
                  </a:lnTo>
                  <a:lnTo>
                    <a:pt x="300" y="135"/>
                  </a:lnTo>
                  <a:lnTo>
                    <a:pt x="298" y="120"/>
                  </a:lnTo>
                  <a:lnTo>
                    <a:pt x="295" y="106"/>
                  </a:lnTo>
                  <a:lnTo>
                    <a:pt x="289" y="92"/>
                  </a:lnTo>
                  <a:lnTo>
                    <a:pt x="283" y="78"/>
                  </a:lnTo>
                  <a:lnTo>
                    <a:pt x="275" y="67"/>
                  </a:lnTo>
                  <a:lnTo>
                    <a:pt x="267" y="55"/>
                  </a:lnTo>
                  <a:lnTo>
                    <a:pt x="257" y="44"/>
                  </a:lnTo>
                  <a:lnTo>
                    <a:pt x="246" y="34"/>
                  </a:lnTo>
                  <a:lnTo>
                    <a:pt x="235" y="26"/>
                  </a:lnTo>
                  <a:lnTo>
                    <a:pt x="222" y="18"/>
                  </a:lnTo>
                  <a:lnTo>
                    <a:pt x="209" y="12"/>
                  </a:lnTo>
                  <a:lnTo>
                    <a:pt x="195" y="7"/>
                  </a:lnTo>
                  <a:lnTo>
                    <a:pt x="181" y="3"/>
                  </a:lnTo>
                  <a:lnTo>
                    <a:pt x="166" y="1"/>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24" name="Group 29">
            <a:extLst>
              <a:ext uri="{FF2B5EF4-FFF2-40B4-BE49-F238E27FC236}">
                <a16:creationId xmlns:a16="http://schemas.microsoft.com/office/drawing/2014/main" id="{47496E78-5F8A-42B0-88AB-F8E0D10A6A22}"/>
              </a:ext>
            </a:extLst>
          </p:cNvPr>
          <p:cNvGrpSpPr>
            <a:grpSpLocks noChangeAspect="1"/>
          </p:cNvGrpSpPr>
          <p:nvPr/>
        </p:nvGrpSpPr>
        <p:grpSpPr>
          <a:xfrm>
            <a:off x="5791954" y="2233311"/>
            <a:ext cx="285619" cy="285619"/>
            <a:chOff x="7018338" y="3071813"/>
            <a:chExt cx="285750" cy="285750"/>
          </a:xfrm>
          <a:solidFill>
            <a:schemeClr val="bg1"/>
          </a:solidFill>
          <a:effectLst/>
        </p:grpSpPr>
        <p:sp>
          <p:nvSpPr>
            <p:cNvPr id="1625" name="Freeform 34">
              <a:extLst>
                <a:ext uri="{FF2B5EF4-FFF2-40B4-BE49-F238E27FC236}">
                  <a16:creationId xmlns:a16="http://schemas.microsoft.com/office/drawing/2014/main" id="{B79EB0EC-8613-4D01-93AF-4B0883B8A3AC}"/>
                </a:ext>
              </a:extLst>
            </p:cNvPr>
            <p:cNvSpPr>
              <a:spLocks noEditPoints="1"/>
            </p:cNvSpPr>
            <p:nvPr/>
          </p:nvSpPr>
          <p:spPr bwMode="auto">
            <a:xfrm>
              <a:off x="7018338" y="3071813"/>
              <a:ext cx="285750" cy="285750"/>
            </a:xfrm>
            <a:custGeom>
              <a:avLst/>
              <a:gdLst>
                <a:gd name="T0" fmla="*/ 832 w 902"/>
                <a:gd name="T1" fmla="*/ 553 h 902"/>
                <a:gd name="T2" fmla="*/ 802 w 902"/>
                <a:gd name="T3" fmla="*/ 647 h 902"/>
                <a:gd name="T4" fmla="*/ 755 w 902"/>
                <a:gd name="T5" fmla="*/ 672 h 902"/>
                <a:gd name="T6" fmla="*/ 721 w 902"/>
                <a:gd name="T7" fmla="*/ 765 h 902"/>
                <a:gd name="T8" fmla="*/ 649 w 902"/>
                <a:gd name="T9" fmla="*/ 763 h 902"/>
                <a:gd name="T10" fmla="*/ 602 w 902"/>
                <a:gd name="T11" fmla="*/ 843 h 902"/>
                <a:gd name="T12" fmla="*/ 523 w 902"/>
                <a:gd name="T13" fmla="*/ 811 h 902"/>
                <a:gd name="T14" fmla="*/ 462 w 902"/>
                <a:gd name="T15" fmla="*/ 871 h 902"/>
                <a:gd name="T16" fmla="*/ 387 w 902"/>
                <a:gd name="T17" fmla="*/ 815 h 902"/>
                <a:gd name="T18" fmla="*/ 341 w 902"/>
                <a:gd name="T19" fmla="*/ 838 h 902"/>
                <a:gd name="T20" fmla="*/ 253 w 902"/>
                <a:gd name="T21" fmla="*/ 793 h 902"/>
                <a:gd name="T22" fmla="*/ 221 w 902"/>
                <a:gd name="T23" fmla="*/ 762 h 902"/>
                <a:gd name="T24" fmla="*/ 136 w 902"/>
                <a:gd name="T25" fmla="*/ 712 h 902"/>
                <a:gd name="T26" fmla="*/ 135 w 902"/>
                <a:gd name="T27" fmla="*/ 648 h 902"/>
                <a:gd name="T28" fmla="*/ 58 w 902"/>
                <a:gd name="T29" fmla="*/ 592 h 902"/>
                <a:gd name="T30" fmla="*/ 90 w 902"/>
                <a:gd name="T31" fmla="*/ 519 h 902"/>
                <a:gd name="T32" fmla="*/ 30 w 902"/>
                <a:gd name="T33" fmla="*/ 451 h 902"/>
                <a:gd name="T34" fmla="*/ 90 w 902"/>
                <a:gd name="T35" fmla="*/ 385 h 902"/>
                <a:gd name="T36" fmla="*/ 58 w 902"/>
                <a:gd name="T37" fmla="*/ 311 h 902"/>
                <a:gd name="T38" fmla="*/ 124 w 902"/>
                <a:gd name="T39" fmla="*/ 253 h 902"/>
                <a:gd name="T40" fmla="*/ 137 w 902"/>
                <a:gd name="T41" fmla="*/ 211 h 902"/>
                <a:gd name="T42" fmla="*/ 201 w 902"/>
                <a:gd name="T43" fmla="*/ 136 h 902"/>
                <a:gd name="T44" fmla="*/ 254 w 902"/>
                <a:gd name="T45" fmla="*/ 131 h 902"/>
                <a:gd name="T46" fmla="*/ 321 w 902"/>
                <a:gd name="T47" fmla="*/ 59 h 902"/>
                <a:gd name="T48" fmla="*/ 387 w 902"/>
                <a:gd name="T49" fmla="*/ 88 h 902"/>
                <a:gd name="T50" fmla="*/ 462 w 902"/>
                <a:gd name="T51" fmla="*/ 31 h 902"/>
                <a:gd name="T52" fmla="*/ 523 w 902"/>
                <a:gd name="T53" fmla="*/ 92 h 902"/>
                <a:gd name="T54" fmla="*/ 602 w 902"/>
                <a:gd name="T55" fmla="*/ 59 h 902"/>
                <a:gd name="T56" fmla="*/ 649 w 902"/>
                <a:gd name="T57" fmla="*/ 140 h 902"/>
                <a:gd name="T58" fmla="*/ 721 w 902"/>
                <a:gd name="T59" fmla="*/ 138 h 902"/>
                <a:gd name="T60" fmla="*/ 755 w 902"/>
                <a:gd name="T61" fmla="*/ 232 h 902"/>
                <a:gd name="T62" fmla="*/ 793 w 902"/>
                <a:gd name="T63" fmla="*/ 254 h 902"/>
                <a:gd name="T64" fmla="*/ 842 w 902"/>
                <a:gd name="T65" fmla="*/ 331 h 902"/>
                <a:gd name="T66" fmla="*/ 818 w 902"/>
                <a:gd name="T67" fmla="*/ 390 h 902"/>
                <a:gd name="T68" fmla="*/ 868 w 902"/>
                <a:gd name="T69" fmla="*/ 473 h 902"/>
                <a:gd name="T70" fmla="*/ 889 w 902"/>
                <a:gd name="T71" fmla="*/ 404 h 902"/>
                <a:gd name="T72" fmla="*/ 872 w 902"/>
                <a:gd name="T73" fmla="*/ 291 h 902"/>
                <a:gd name="T74" fmla="*/ 796 w 902"/>
                <a:gd name="T75" fmla="*/ 200 h 902"/>
                <a:gd name="T76" fmla="*/ 732 w 902"/>
                <a:gd name="T77" fmla="*/ 110 h 902"/>
                <a:gd name="T78" fmla="*/ 645 w 902"/>
                <a:gd name="T79" fmla="*/ 47 h 902"/>
                <a:gd name="T80" fmla="*/ 525 w 902"/>
                <a:gd name="T81" fmla="*/ 38 h 902"/>
                <a:gd name="T82" fmla="*/ 404 w 902"/>
                <a:gd name="T83" fmla="*/ 14 h 902"/>
                <a:gd name="T84" fmla="*/ 290 w 902"/>
                <a:gd name="T85" fmla="*/ 31 h 902"/>
                <a:gd name="T86" fmla="*/ 196 w 902"/>
                <a:gd name="T87" fmla="*/ 106 h 902"/>
                <a:gd name="T88" fmla="*/ 111 w 902"/>
                <a:gd name="T89" fmla="*/ 164 h 902"/>
                <a:gd name="T90" fmla="*/ 47 w 902"/>
                <a:gd name="T91" fmla="*/ 257 h 902"/>
                <a:gd name="T92" fmla="*/ 38 w 902"/>
                <a:gd name="T93" fmla="*/ 377 h 902"/>
                <a:gd name="T94" fmla="*/ 13 w 902"/>
                <a:gd name="T95" fmla="*/ 498 h 902"/>
                <a:gd name="T96" fmla="*/ 30 w 902"/>
                <a:gd name="T97" fmla="*/ 612 h 902"/>
                <a:gd name="T98" fmla="*/ 105 w 902"/>
                <a:gd name="T99" fmla="*/ 704 h 902"/>
                <a:gd name="T100" fmla="*/ 169 w 902"/>
                <a:gd name="T101" fmla="*/ 793 h 902"/>
                <a:gd name="T102" fmla="*/ 257 w 902"/>
                <a:gd name="T103" fmla="*/ 855 h 902"/>
                <a:gd name="T104" fmla="*/ 377 w 902"/>
                <a:gd name="T105" fmla="*/ 865 h 902"/>
                <a:gd name="T106" fmla="*/ 498 w 902"/>
                <a:gd name="T107" fmla="*/ 889 h 902"/>
                <a:gd name="T108" fmla="*/ 612 w 902"/>
                <a:gd name="T109" fmla="*/ 872 h 902"/>
                <a:gd name="T110" fmla="*/ 706 w 902"/>
                <a:gd name="T111" fmla="*/ 797 h 902"/>
                <a:gd name="T112" fmla="*/ 791 w 902"/>
                <a:gd name="T113" fmla="*/ 739 h 902"/>
                <a:gd name="T114" fmla="*/ 855 w 902"/>
                <a:gd name="T115" fmla="*/ 645 h 902"/>
                <a:gd name="T116" fmla="*/ 865 w 902"/>
                <a:gd name="T117" fmla="*/ 52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902">
                  <a:moveTo>
                    <a:pt x="823" y="511"/>
                  </a:moveTo>
                  <a:lnTo>
                    <a:pt x="818" y="512"/>
                  </a:lnTo>
                  <a:lnTo>
                    <a:pt x="814" y="516"/>
                  </a:lnTo>
                  <a:lnTo>
                    <a:pt x="812" y="519"/>
                  </a:lnTo>
                  <a:lnTo>
                    <a:pt x="810" y="523"/>
                  </a:lnTo>
                  <a:lnTo>
                    <a:pt x="810" y="527"/>
                  </a:lnTo>
                  <a:lnTo>
                    <a:pt x="811" y="532"/>
                  </a:lnTo>
                  <a:lnTo>
                    <a:pt x="813" y="536"/>
                  </a:lnTo>
                  <a:lnTo>
                    <a:pt x="816" y="539"/>
                  </a:lnTo>
                  <a:lnTo>
                    <a:pt x="825" y="546"/>
                  </a:lnTo>
                  <a:lnTo>
                    <a:pt x="832" y="553"/>
                  </a:lnTo>
                  <a:lnTo>
                    <a:pt x="838" y="562"/>
                  </a:lnTo>
                  <a:lnTo>
                    <a:pt x="842" y="571"/>
                  </a:lnTo>
                  <a:lnTo>
                    <a:pt x="844" y="582"/>
                  </a:lnTo>
                  <a:lnTo>
                    <a:pt x="844" y="592"/>
                  </a:lnTo>
                  <a:lnTo>
                    <a:pt x="843" y="602"/>
                  </a:lnTo>
                  <a:lnTo>
                    <a:pt x="840" y="613"/>
                  </a:lnTo>
                  <a:lnTo>
                    <a:pt x="835" y="622"/>
                  </a:lnTo>
                  <a:lnTo>
                    <a:pt x="828" y="630"/>
                  </a:lnTo>
                  <a:lnTo>
                    <a:pt x="821" y="638"/>
                  </a:lnTo>
                  <a:lnTo>
                    <a:pt x="812" y="643"/>
                  </a:lnTo>
                  <a:lnTo>
                    <a:pt x="802" y="647"/>
                  </a:lnTo>
                  <a:lnTo>
                    <a:pt x="793" y="649"/>
                  </a:lnTo>
                  <a:lnTo>
                    <a:pt x="782" y="650"/>
                  </a:lnTo>
                  <a:lnTo>
                    <a:pt x="771" y="648"/>
                  </a:lnTo>
                  <a:lnTo>
                    <a:pt x="767" y="648"/>
                  </a:lnTo>
                  <a:lnTo>
                    <a:pt x="763" y="649"/>
                  </a:lnTo>
                  <a:lnTo>
                    <a:pt x="759" y="652"/>
                  </a:lnTo>
                  <a:lnTo>
                    <a:pt x="755" y="655"/>
                  </a:lnTo>
                  <a:lnTo>
                    <a:pt x="753" y="659"/>
                  </a:lnTo>
                  <a:lnTo>
                    <a:pt x="753" y="663"/>
                  </a:lnTo>
                  <a:lnTo>
                    <a:pt x="754" y="668"/>
                  </a:lnTo>
                  <a:lnTo>
                    <a:pt x="755" y="672"/>
                  </a:lnTo>
                  <a:lnTo>
                    <a:pt x="761" y="682"/>
                  </a:lnTo>
                  <a:lnTo>
                    <a:pt x="765" y="691"/>
                  </a:lnTo>
                  <a:lnTo>
                    <a:pt x="766" y="702"/>
                  </a:lnTo>
                  <a:lnTo>
                    <a:pt x="766" y="712"/>
                  </a:lnTo>
                  <a:lnTo>
                    <a:pt x="764" y="722"/>
                  </a:lnTo>
                  <a:lnTo>
                    <a:pt x="761" y="732"/>
                  </a:lnTo>
                  <a:lnTo>
                    <a:pt x="755" y="740"/>
                  </a:lnTo>
                  <a:lnTo>
                    <a:pt x="749" y="749"/>
                  </a:lnTo>
                  <a:lnTo>
                    <a:pt x="740" y="755"/>
                  </a:lnTo>
                  <a:lnTo>
                    <a:pt x="732" y="761"/>
                  </a:lnTo>
                  <a:lnTo>
                    <a:pt x="721" y="765"/>
                  </a:lnTo>
                  <a:lnTo>
                    <a:pt x="711" y="766"/>
                  </a:lnTo>
                  <a:lnTo>
                    <a:pt x="701" y="766"/>
                  </a:lnTo>
                  <a:lnTo>
                    <a:pt x="690" y="765"/>
                  </a:lnTo>
                  <a:lnTo>
                    <a:pt x="680" y="762"/>
                  </a:lnTo>
                  <a:lnTo>
                    <a:pt x="672" y="757"/>
                  </a:lnTo>
                  <a:lnTo>
                    <a:pt x="667" y="754"/>
                  </a:lnTo>
                  <a:lnTo>
                    <a:pt x="663" y="753"/>
                  </a:lnTo>
                  <a:lnTo>
                    <a:pt x="659" y="754"/>
                  </a:lnTo>
                  <a:lnTo>
                    <a:pt x="655" y="757"/>
                  </a:lnTo>
                  <a:lnTo>
                    <a:pt x="651" y="760"/>
                  </a:lnTo>
                  <a:lnTo>
                    <a:pt x="649" y="763"/>
                  </a:lnTo>
                  <a:lnTo>
                    <a:pt x="648" y="767"/>
                  </a:lnTo>
                  <a:lnTo>
                    <a:pt x="648" y="772"/>
                  </a:lnTo>
                  <a:lnTo>
                    <a:pt x="649" y="782"/>
                  </a:lnTo>
                  <a:lnTo>
                    <a:pt x="649" y="793"/>
                  </a:lnTo>
                  <a:lnTo>
                    <a:pt x="646" y="804"/>
                  </a:lnTo>
                  <a:lnTo>
                    <a:pt x="643" y="812"/>
                  </a:lnTo>
                  <a:lnTo>
                    <a:pt x="636" y="822"/>
                  </a:lnTo>
                  <a:lnTo>
                    <a:pt x="630" y="829"/>
                  </a:lnTo>
                  <a:lnTo>
                    <a:pt x="621" y="836"/>
                  </a:lnTo>
                  <a:lnTo>
                    <a:pt x="612" y="840"/>
                  </a:lnTo>
                  <a:lnTo>
                    <a:pt x="602" y="843"/>
                  </a:lnTo>
                  <a:lnTo>
                    <a:pt x="591" y="845"/>
                  </a:lnTo>
                  <a:lnTo>
                    <a:pt x="581" y="844"/>
                  </a:lnTo>
                  <a:lnTo>
                    <a:pt x="571" y="842"/>
                  </a:lnTo>
                  <a:lnTo>
                    <a:pt x="561" y="838"/>
                  </a:lnTo>
                  <a:lnTo>
                    <a:pt x="553" y="833"/>
                  </a:lnTo>
                  <a:lnTo>
                    <a:pt x="544" y="826"/>
                  </a:lnTo>
                  <a:lnTo>
                    <a:pt x="538" y="818"/>
                  </a:lnTo>
                  <a:lnTo>
                    <a:pt x="535" y="814"/>
                  </a:lnTo>
                  <a:lnTo>
                    <a:pt x="531" y="812"/>
                  </a:lnTo>
                  <a:lnTo>
                    <a:pt x="527" y="811"/>
                  </a:lnTo>
                  <a:lnTo>
                    <a:pt x="523" y="811"/>
                  </a:lnTo>
                  <a:lnTo>
                    <a:pt x="519" y="812"/>
                  </a:lnTo>
                  <a:lnTo>
                    <a:pt x="514" y="815"/>
                  </a:lnTo>
                  <a:lnTo>
                    <a:pt x="512" y="819"/>
                  </a:lnTo>
                  <a:lnTo>
                    <a:pt x="511" y="823"/>
                  </a:lnTo>
                  <a:lnTo>
                    <a:pt x="508" y="834"/>
                  </a:lnTo>
                  <a:lnTo>
                    <a:pt x="504" y="843"/>
                  </a:lnTo>
                  <a:lnTo>
                    <a:pt x="497" y="851"/>
                  </a:lnTo>
                  <a:lnTo>
                    <a:pt x="490" y="858"/>
                  </a:lnTo>
                  <a:lnTo>
                    <a:pt x="481" y="865"/>
                  </a:lnTo>
                  <a:lnTo>
                    <a:pt x="471" y="869"/>
                  </a:lnTo>
                  <a:lnTo>
                    <a:pt x="462" y="871"/>
                  </a:lnTo>
                  <a:lnTo>
                    <a:pt x="451" y="872"/>
                  </a:lnTo>
                  <a:lnTo>
                    <a:pt x="440" y="871"/>
                  </a:lnTo>
                  <a:lnTo>
                    <a:pt x="430" y="869"/>
                  </a:lnTo>
                  <a:lnTo>
                    <a:pt x="421" y="865"/>
                  </a:lnTo>
                  <a:lnTo>
                    <a:pt x="412" y="858"/>
                  </a:lnTo>
                  <a:lnTo>
                    <a:pt x="405" y="851"/>
                  </a:lnTo>
                  <a:lnTo>
                    <a:pt x="399" y="843"/>
                  </a:lnTo>
                  <a:lnTo>
                    <a:pt x="394" y="834"/>
                  </a:lnTo>
                  <a:lnTo>
                    <a:pt x="391" y="823"/>
                  </a:lnTo>
                  <a:lnTo>
                    <a:pt x="390" y="819"/>
                  </a:lnTo>
                  <a:lnTo>
                    <a:pt x="387" y="815"/>
                  </a:lnTo>
                  <a:lnTo>
                    <a:pt x="384" y="812"/>
                  </a:lnTo>
                  <a:lnTo>
                    <a:pt x="379" y="811"/>
                  </a:lnTo>
                  <a:lnTo>
                    <a:pt x="378" y="811"/>
                  </a:lnTo>
                  <a:lnTo>
                    <a:pt x="376" y="811"/>
                  </a:lnTo>
                  <a:lnTo>
                    <a:pt x="373" y="811"/>
                  </a:lnTo>
                  <a:lnTo>
                    <a:pt x="370" y="812"/>
                  </a:lnTo>
                  <a:lnTo>
                    <a:pt x="366" y="814"/>
                  </a:lnTo>
                  <a:lnTo>
                    <a:pt x="364" y="818"/>
                  </a:lnTo>
                  <a:lnTo>
                    <a:pt x="358" y="826"/>
                  </a:lnTo>
                  <a:lnTo>
                    <a:pt x="349" y="833"/>
                  </a:lnTo>
                  <a:lnTo>
                    <a:pt x="341" y="838"/>
                  </a:lnTo>
                  <a:lnTo>
                    <a:pt x="331" y="842"/>
                  </a:lnTo>
                  <a:lnTo>
                    <a:pt x="321" y="844"/>
                  </a:lnTo>
                  <a:lnTo>
                    <a:pt x="311" y="845"/>
                  </a:lnTo>
                  <a:lnTo>
                    <a:pt x="300" y="843"/>
                  </a:lnTo>
                  <a:lnTo>
                    <a:pt x="290" y="840"/>
                  </a:lnTo>
                  <a:lnTo>
                    <a:pt x="281" y="836"/>
                  </a:lnTo>
                  <a:lnTo>
                    <a:pt x="272" y="829"/>
                  </a:lnTo>
                  <a:lnTo>
                    <a:pt x="265" y="822"/>
                  </a:lnTo>
                  <a:lnTo>
                    <a:pt x="259" y="812"/>
                  </a:lnTo>
                  <a:lnTo>
                    <a:pt x="255" y="804"/>
                  </a:lnTo>
                  <a:lnTo>
                    <a:pt x="253" y="793"/>
                  </a:lnTo>
                  <a:lnTo>
                    <a:pt x="253" y="782"/>
                  </a:lnTo>
                  <a:lnTo>
                    <a:pt x="254" y="772"/>
                  </a:lnTo>
                  <a:lnTo>
                    <a:pt x="254" y="767"/>
                  </a:lnTo>
                  <a:lnTo>
                    <a:pt x="253" y="763"/>
                  </a:lnTo>
                  <a:lnTo>
                    <a:pt x="251" y="760"/>
                  </a:lnTo>
                  <a:lnTo>
                    <a:pt x="248" y="757"/>
                  </a:lnTo>
                  <a:lnTo>
                    <a:pt x="243" y="754"/>
                  </a:lnTo>
                  <a:lnTo>
                    <a:pt x="239" y="753"/>
                  </a:lnTo>
                  <a:lnTo>
                    <a:pt x="235" y="754"/>
                  </a:lnTo>
                  <a:lnTo>
                    <a:pt x="230" y="757"/>
                  </a:lnTo>
                  <a:lnTo>
                    <a:pt x="221" y="762"/>
                  </a:lnTo>
                  <a:lnTo>
                    <a:pt x="211" y="765"/>
                  </a:lnTo>
                  <a:lnTo>
                    <a:pt x="201" y="766"/>
                  </a:lnTo>
                  <a:lnTo>
                    <a:pt x="191" y="766"/>
                  </a:lnTo>
                  <a:lnTo>
                    <a:pt x="180" y="765"/>
                  </a:lnTo>
                  <a:lnTo>
                    <a:pt x="170" y="761"/>
                  </a:lnTo>
                  <a:lnTo>
                    <a:pt x="162" y="755"/>
                  </a:lnTo>
                  <a:lnTo>
                    <a:pt x="153" y="749"/>
                  </a:lnTo>
                  <a:lnTo>
                    <a:pt x="147" y="740"/>
                  </a:lnTo>
                  <a:lnTo>
                    <a:pt x="141" y="732"/>
                  </a:lnTo>
                  <a:lnTo>
                    <a:pt x="137" y="722"/>
                  </a:lnTo>
                  <a:lnTo>
                    <a:pt x="136" y="712"/>
                  </a:lnTo>
                  <a:lnTo>
                    <a:pt x="136" y="702"/>
                  </a:lnTo>
                  <a:lnTo>
                    <a:pt x="137" y="691"/>
                  </a:lnTo>
                  <a:lnTo>
                    <a:pt x="140" y="682"/>
                  </a:lnTo>
                  <a:lnTo>
                    <a:pt x="146" y="672"/>
                  </a:lnTo>
                  <a:lnTo>
                    <a:pt x="148" y="668"/>
                  </a:lnTo>
                  <a:lnTo>
                    <a:pt x="149" y="663"/>
                  </a:lnTo>
                  <a:lnTo>
                    <a:pt x="148" y="659"/>
                  </a:lnTo>
                  <a:lnTo>
                    <a:pt x="147" y="655"/>
                  </a:lnTo>
                  <a:lnTo>
                    <a:pt x="144" y="652"/>
                  </a:lnTo>
                  <a:lnTo>
                    <a:pt x="139" y="649"/>
                  </a:lnTo>
                  <a:lnTo>
                    <a:pt x="135" y="648"/>
                  </a:lnTo>
                  <a:lnTo>
                    <a:pt x="131" y="648"/>
                  </a:lnTo>
                  <a:lnTo>
                    <a:pt x="120" y="650"/>
                  </a:lnTo>
                  <a:lnTo>
                    <a:pt x="109" y="649"/>
                  </a:lnTo>
                  <a:lnTo>
                    <a:pt x="100" y="647"/>
                  </a:lnTo>
                  <a:lnTo>
                    <a:pt x="90" y="643"/>
                  </a:lnTo>
                  <a:lnTo>
                    <a:pt x="81" y="638"/>
                  </a:lnTo>
                  <a:lnTo>
                    <a:pt x="73" y="630"/>
                  </a:lnTo>
                  <a:lnTo>
                    <a:pt x="66" y="623"/>
                  </a:lnTo>
                  <a:lnTo>
                    <a:pt x="62" y="613"/>
                  </a:lnTo>
                  <a:lnTo>
                    <a:pt x="59" y="602"/>
                  </a:lnTo>
                  <a:lnTo>
                    <a:pt x="58" y="592"/>
                  </a:lnTo>
                  <a:lnTo>
                    <a:pt x="58" y="582"/>
                  </a:lnTo>
                  <a:lnTo>
                    <a:pt x="60" y="571"/>
                  </a:lnTo>
                  <a:lnTo>
                    <a:pt x="64" y="562"/>
                  </a:lnTo>
                  <a:lnTo>
                    <a:pt x="70" y="553"/>
                  </a:lnTo>
                  <a:lnTo>
                    <a:pt x="76" y="546"/>
                  </a:lnTo>
                  <a:lnTo>
                    <a:pt x="85" y="539"/>
                  </a:lnTo>
                  <a:lnTo>
                    <a:pt x="88" y="536"/>
                  </a:lnTo>
                  <a:lnTo>
                    <a:pt x="91" y="532"/>
                  </a:lnTo>
                  <a:lnTo>
                    <a:pt x="92" y="527"/>
                  </a:lnTo>
                  <a:lnTo>
                    <a:pt x="91" y="523"/>
                  </a:lnTo>
                  <a:lnTo>
                    <a:pt x="90" y="519"/>
                  </a:lnTo>
                  <a:lnTo>
                    <a:pt x="87" y="516"/>
                  </a:lnTo>
                  <a:lnTo>
                    <a:pt x="84" y="512"/>
                  </a:lnTo>
                  <a:lnTo>
                    <a:pt x="79" y="511"/>
                  </a:lnTo>
                  <a:lnTo>
                    <a:pt x="70" y="508"/>
                  </a:lnTo>
                  <a:lnTo>
                    <a:pt x="60" y="504"/>
                  </a:lnTo>
                  <a:lnTo>
                    <a:pt x="51" y="497"/>
                  </a:lnTo>
                  <a:lnTo>
                    <a:pt x="44" y="490"/>
                  </a:lnTo>
                  <a:lnTo>
                    <a:pt x="38" y="482"/>
                  </a:lnTo>
                  <a:lnTo>
                    <a:pt x="33" y="473"/>
                  </a:lnTo>
                  <a:lnTo>
                    <a:pt x="31" y="462"/>
                  </a:lnTo>
                  <a:lnTo>
                    <a:pt x="30" y="451"/>
                  </a:lnTo>
                  <a:lnTo>
                    <a:pt x="31" y="441"/>
                  </a:lnTo>
                  <a:lnTo>
                    <a:pt x="33" y="431"/>
                  </a:lnTo>
                  <a:lnTo>
                    <a:pt x="38" y="421"/>
                  </a:lnTo>
                  <a:lnTo>
                    <a:pt x="44" y="413"/>
                  </a:lnTo>
                  <a:lnTo>
                    <a:pt x="51" y="405"/>
                  </a:lnTo>
                  <a:lnTo>
                    <a:pt x="60" y="400"/>
                  </a:lnTo>
                  <a:lnTo>
                    <a:pt x="69" y="394"/>
                  </a:lnTo>
                  <a:lnTo>
                    <a:pt x="79" y="392"/>
                  </a:lnTo>
                  <a:lnTo>
                    <a:pt x="84" y="390"/>
                  </a:lnTo>
                  <a:lnTo>
                    <a:pt x="87" y="388"/>
                  </a:lnTo>
                  <a:lnTo>
                    <a:pt x="90" y="385"/>
                  </a:lnTo>
                  <a:lnTo>
                    <a:pt x="91" y="381"/>
                  </a:lnTo>
                  <a:lnTo>
                    <a:pt x="92" y="375"/>
                  </a:lnTo>
                  <a:lnTo>
                    <a:pt x="91" y="371"/>
                  </a:lnTo>
                  <a:lnTo>
                    <a:pt x="88" y="368"/>
                  </a:lnTo>
                  <a:lnTo>
                    <a:pt x="85" y="364"/>
                  </a:lnTo>
                  <a:lnTo>
                    <a:pt x="76" y="358"/>
                  </a:lnTo>
                  <a:lnTo>
                    <a:pt x="70" y="351"/>
                  </a:lnTo>
                  <a:lnTo>
                    <a:pt x="64" y="341"/>
                  </a:lnTo>
                  <a:lnTo>
                    <a:pt x="60" y="331"/>
                  </a:lnTo>
                  <a:lnTo>
                    <a:pt x="58" y="322"/>
                  </a:lnTo>
                  <a:lnTo>
                    <a:pt x="58" y="311"/>
                  </a:lnTo>
                  <a:lnTo>
                    <a:pt x="59" y="301"/>
                  </a:lnTo>
                  <a:lnTo>
                    <a:pt x="62" y="291"/>
                  </a:lnTo>
                  <a:lnTo>
                    <a:pt x="66" y="282"/>
                  </a:lnTo>
                  <a:lnTo>
                    <a:pt x="72" y="275"/>
                  </a:lnTo>
                  <a:lnTo>
                    <a:pt x="77" y="269"/>
                  </a:lnTo>
                  <a:lnTo>
                    <a:pt x="85" y="263"/>
                  </a:lnTo>
                  <a:lnTo>
                    <a:pt x="92" y="258"/>
                  </a:lnTo>
                  <a:lnTo>
                    <a:pt x="101" y="255"/>
                  </a:lnTo>
                  <a:lnTo>
                    <a:pt x="109" y="254"/>
                  </a:lnTo>
                  <a:lnTo>
                    <a:pt x="118" y="253"/>
                  </a:lnTo>
                  <a:lnTo>
                    <a:pt x="124" y="253"/>
                  </a:lnTo>
                  <a:lnTo>
                    <a:pt x="131" y="254"/>
                  </a:lnTo>
                  <a:lnTo>
                    <a:pt x="135" y="254"/>
                  </a:lnTo>
                  <a:lnTo>
                    <a:pt x="139" y="253"/>
                  </a:lnTo>
                  <a:lnTo>
                    <a:pt x="144" y="251"/>
                  </a:lnTo>
                  <a:lnTo>
                    <a:pt x="147" y="248"/>
                  </a:lnTo>
                  <a:lnTo>
                    <a:pt x="148" y="243"/>
                  </a:lnTo>
                  <a:lnTo>
                    <a:pt x="149" y="239"/>
                  </a:lnTo>
                  <a:lnTo>
                    <a:pt x="148" y="235"/>
                  </a:lnTo>
                  <a:lnTo>
                    <a:pt x="146" y="232"/>
                  </a:lnTo>
                  <a:lnTo>
                    <a:pt x="140" y="222"/>
                  </a:lnTo>
                  <a:lnTo>
                    <a:pt x="137" y="211"/>
                  </a:lnTo>
                  <a:lnTo>
                    <a:pt x="136" y="202"/>
                  </a:lnTo>
                  <a:lnTo>
                    <a:pt x="136" y="191"/>
                  </a:lnTo>
                  <a:lnTo>
                    <a:pt x="137" y="181"/>
                  </a:lnTo>
                  <a:lnTo>
                    <a:pt x="141" y="172"/>
                  </a:lnTo>
                  <a:lnTo>
                    <a:pt x="147" y="162"/>
                  </a:lnTo>
                  <a:lnTo>
                    <a:pt x="153" y="153"/>
                  </a:lnTo>
                  <a:lnTo>
                    <a:pt x="162" y="147"/>
                  </a:lnTo>
                  <a:lnTo>
                    <a:pt x="170" y="142"/>
                  </a:lnTo>
                  <a:lnTo>
                    <a:pt x="180" y="138"/>
                  </a:lnTo>
                  <a:lnTo>
                    <a:pt x="191" y="136"/>
                  </a:lnTo>
                  <a:lnTo>
                    <a:pt x="201" y="136"/>
                  </a:lnTo>
                  <a:lnTo>
                    <a:pt x="211" y="138"/>
                  </a:lnTo>
                  <a:lnTo>
                    <a:pt x="221" y="142"/>
                  </a:lnTo>
                  <a:lnTo>
                    <a:pt x="230" y="147"/>
                  </a:lnTo>
                  <a:lnTo>
                    <a:pt x="235" y="149"/>
                  </a:lnTo>
                  <a:lnTo>
                    <a:pt x="239" y="149"/>
                  </a:lnTo>
                  <a:lnTo>
                    <a:pt x="243" y="149"/>
                  </a:lnTo>
                  <a:lnTo>
                    <a:pt x="248" y="147"/>
                  </a:lnTo>
                  <a:lnTo>
                    <a:pt x="251" y="144"/>
                  </a:lnTo>
                  <a:lnTo>
                    <a:pt x="253" y="140"/>
                  </a:lnTo>
                  <a:lnTo>
                    <a:pt x="254" y="136"/>
                  </a:lnTo>
                  <a:lnTo>
                    <a:pt x="254" y="131"/>
                  </a:lnTo>
                  <a:lnTo>
                    <a:pt x="253" y="120"/>
                  </a:lnTo>
                  <a:lnTo>
                    <a:pt x="253" y="111"/>
                  </a:lnTo>
                  <a:lnTo>
                    <a:pt x="255" y="100"/>
                  </a:lnTo>
                  <a:lnTo>
                    <a:pt x="259" y="90"/>
                  </a:lnTo>
                  <a:lnTo>
                    <a:pt x="265" y="82"/>
                  </a:lnTo>
                  <a:lnTo>
                    <a:pt x="272" y="74"/>
                  </a:lnTo>
                  <a:lnTo>
                    <a:pt x="281" y="68"/>
                  </a:lnTo>
                  <a:lnTo>
                    <a:pt x="289" y="62"/>
                  </a:lnTo>
                  <a:lnTo>
                    <a:pt x="300" y="59"/>
                  </a:lnTo>
                  <a:lnTo>
                    <a:pt x="311" y="58"/>
                  </a:lnTo>
                  <a:lnTo>
                    <a:pt x="321" y="59"/>
                  </a:lnTo>
                  <a:lnTo>
                    <a:pt x="331" y="61"/>
                  </a:lnTo>
                  <a:lnTo>
                    <a:pt x="341" y="65"/>
                  </a:lnTo>
                  <a:lnTo>
                    <a:pt x="349" y="70"/>
                  </a:lnTo>
                  <a:lnTo>
                    <a:pt x="357" y="77"/>
                  </a:lnTo>
                  <a:lnTo>
                    <a:pt x="364" y="86"/>
                  </a:lnTo>
                  <a:lnTo>
                    <a:pt x="366" y="89"/>
                  </a:lnTo>
                  <a:lnTo>
                    <a:pt x="371" y="91"/>
                  </a:lnTo>
                  <a:lnTo>
                    <a:pt x="375" y="92"/>
                  </a:lnTo>
                  <a:lnTo>
                    <a:pt x="379" y="92"/>
                  </a:lnTo>
                  <a:lnTo>
                    <a:pt x="384" y="90"/>
                  </a:lnTo>
                  <a:lnTo>
                    <a:pt x="387" y="88"/>
                  </a:lnTo>
                  <a:lnTo>
                    <a:pt x="390" y="85"/>
                  </a:lnTo>
                  <a:lnTo>
                    <a:pt x="391" y="81"/>
                  </a:lnTo>
                  <a:lnTo>
                    <a:pt x="394" y="70"/>
                  </a:lnTo>
                  <a:lnTo>
                    <a:pt x="399" y="60"/>
                  </a:lnTo>
                  <a:lnTo>
                    <a:pt x="405" y="52"/>
                  </a:lnTo>
                  <a:lnTo>
                    <a:pt x="412" y="44"/>
                  </a:lnTo>
                  <a:lnTo>
                    <a:pt x="421" y="39"/>
                  </a:lnTo>
                  <a:lnTo>
                    <a:pt x="430" y="35"/>
                  </a:lnTo>
                  <a:lnTo>
                    <a:pt x="440" y="31"/>
                  </a:lnTo>
                  <a:lnTo>
                    <a:pt x="451" y="30"/>
                  </a:lnTo>
                  <a:lnTo>
                    <a:pt x="462" y="31"/>
                  </a:lnTo>
                  <a:lnTo>
                    <a:pt x="471" y="35"/>
                  </a:lnTo>
                  <a:lnTo>
                    <a:pt x="481" y="39"/>
                  </a:lnTo>
                  <a:lnTo>
                    <a:pt x="490" y="44"/>
                  </a:lnTo>
                  <a:lnTo>
                    <a:pt x="497" y="52"/>
                  </a:lnTo>
                  <a:lnTo>
                    <a:pt x="504" y="60"/>
                  </a:lnTo>
                  <a:lnTo>
                    <a:pt x="508" y="70"/>
                  </a:lnTo>
                  <a:lnTo>
                    <a:pt x="511" y="81"/>
                  </a:lnTo>
                  <a:lnTo>
                    <a:pt x="512" y="85"/>
                  </a:lnTo>
                  <a:lnTo>
                    <a:pt x="514" y="88"/>
                  </a:lnTo>
                  <a:lnTo>
                    <a:pt x="519" y="90"/>
                  </a:lnTo>
                  <a:lnTo>
                    <a:pt x="523" y="92"/>
                  </a:lnTo>
                  <a:lnTo>
                    <a:pt x="527" y="92"/>
                  </a:lnTo>
                  <a:lnTo>
                    <a:pt x="531" y="91"/>
                  </a:lnTo>
                  <a:lnTo>
                    <a:pt x="535" y="89"/>
                  </a:lnTo>
                  <a:lnTo>
                    <a:pt x="538" y="86"/>
                  </a:lnTo>
                  <a:lnTo>
                    <a:pt x="544" y="77"/>
                  </a:lnTo>
                  <a:lnTo>
                    <a:pt x="553" y="70"/>
                  </a:lnTo>
                  <a:lnTo>
                    <a:pt x="561" y="65"/>
                  </a:lnTo>
                  <a:lnTo>
                    <a:pt x="571" y="61"/>
                  </a:lnTo>
                  <a:lnTo>
                    <a:pt x="581" y="59"/>
                  </a:lnTo>
                  <a:lnTo>
                    <a:pt x="591" y="58"/>
                  </a:lnTo>
                  <a:lnTo>
                    <a:pt x="602" y="59"/>
                  </a:lnTo>
                  <a:lnTo>
                    <a:pt x="612" y="62"/>
                  </a:lnTo>
                  <a:lnTo>
                    <a:pt x="621" y="68"/>
                  </a:lnTo>
                  <a:lnTo>
                    <a:pt x="630" y="74"/>
                  </a:lnTo>
                  <a:lnTo>
                    <a:pt x="636" y="82"/>
                  </a:lnTo>
                  <a:lnTo>
                    <a:pt x="643" y="90"/>
                  </a:lnTo>
                  <a:lnTo>
                    <a:pt x="646" y="100"/>
                  </a:lnTo>
                  <a:lnTo>
                    <a:pt x="649" y="111"/>
                  </a:lnTo>
                  <a:lnTo>
                    <a:pt x="649" y="120"/>
                  </a:lnTo>
                  <a:lnTo>
                    <a:pt x="648" y="131"/>
                  </a:lnTo>
                  <a:lnTo>
                    <a:pt x="648" y="135"/>
                  </a:lnTo>
                  <a:lnTo>
                    <a:pt x="649" y="140"/>
                  </a:lnTo>
                  <a:lnTo>
                    <a:pt x="651" y="144"/>
                  </a:lnTo>
                  <a:lnTo>
                    <a:pt x="655" y="147"/>
                  </a:lnTo>
                  <a:lnTo>
                    <a:pt x="659" y="149"/>
                  </a:lnTo>
                  <a:lnTo>
                    <a:pt x="663" y="149"/>
                  </a:lnTo>
                  <a:lnTo>
                    <a:pt x="667" y="149"/>
                  </a:lnTo>
                  <a:lnTo>
                    <a:pt x="672" y="147"/>
                  </a:lnTo>
                  <a:lnTo>
                    <a:pt x="680" y="142"/>
                  </a:lnTo>
                  <a:lnTo>
                    <a:pt x="690" y="138"/>
                  </a:lnTo>
                  <a:lnTo>
                    <a:pt x="701" y="136"/>
                  </a:lnTo>
                  <a:lnTo>
                    <a:pt x="711" y="136"/>
                  </a:lnTo>
                  <a:lnTo>
                    <a:pt x="721" y="138"/>
                  </a:lnTo>
                  <a:lnTo>
                    <a:pt x="732" y="142"/>
                  </a:lnTo>
                  <a:lnTo>
                    <a:pt x="740" y="147"/>
                  </a:lnTo>
                  <a:lnTo>
                    <a:pt x="749" y="153"/>
                  </a:lnTo>
                  <a:lnTo>
                    <a:pt x="755" y="162"/>
                  </a:lnTo>
                  <a:lnTo>
                    <a:pt x="761" y="172"/>
                  </a:lnTo>
                  <a:lnTo>
                    <a:pt x="764" y="181"/>
                  </a:lnTo>
                  <a:lnTo>
                    <a:pt x="766" y="191"/>
                  </a:lnTo>
                  <a:lnTo>
                    <a:pt x="766" y="202"/>
                  </a:lnTo>
                  <a:lnTo>
                    <a:pt x="765" y="211"/>
                  </a:lnTo>
                  <a:lnTo>
                    <a:pt x="761" y="222"/>
                  </a:lnTo>
                  <a:lnTo>
                    <a:pt x="755" y="232"/>
                  </a:lnTo>
                  <a:lnTo>
                    <a:pt x="754" y="235"/>
                  </a:lnTo>
                  <a:lnTo>
                    <a:pt x="753" y="239"/>
                  </a:lnTo>
                  <a:lnTo>
                    <a:pt x="753" y="243"/>
                  </a:lnTo>
                  <a:lnTo>
                    <a:pt x="755" y="248"/>
                  </a:lnTo>
                  <a:lnTo>
                    <a:pt x="759" y="251"/>
                  </a:lnTo>
                  <a:lnTo>
                    <a:pt x="763" y="253"/>
                  </a:lnTo>
                  <a:lnTo>
                    <a:pt x="767" y="254"/>
                  </a:lnTo>
                  <a:lnTo>
                    <a:pt x="771" y="254"/>
                  </a:lnTo>
                  <a:lnTo>
                    <a:pt x="778" y="253"/>
                  </a:lnTo>
                  <a:lnTo>
                    <a:pt x="784" y="253"/>
                  </a:lnTo>
                  <a:lnTo>
                    <a:pt x="793" y="254"/>
                  </a:lnTo>
                  <a:lnTo>
                    <a:pt x="801" y="255"/>
                  </a:lnTo>
                  <a:lnTo>
                    <a:pt x="810" y="258"/>
                  </a:lnTo>
                  <a:lnTo>
                    <a:pt x="817" y="263"/>
                  </a:lnTo>
                  <a:lnTo>
                    <a:pt x="825" y="269"/>
                  </a:lnTo>
                  <a:lnTo>
                    <a:pt x="830" y="276"/>
                  </a:lnTo>
                  <a:lnTo>
                    <a:pt x="836" y="282"/>
                  </a:lnTo>
                  <a:lnTo>
                    <a:pt x="840" y="291"/>
                  </a:lnTo>
                  <a:lnTo>
                    <a:pt x="843" y="301"/>
                  </a:lnTo>
                  <a:lnTo>
                    <a:pt x="844" y="311"/>
                  </a:lnTo>
                  <a:lnTo>
                    <a:pt x="844" y="322"/>
                  </a:lnTo>
                  <a:lnTo>
                    <a:pt x="842" y="331"/>
                  </a:lnTo>
                  <a:lnTo>
                    <a:pt x="838" y="341"/>
                  </a:lnTo>
                  <a:lnTo>
                    <a:pt x="832" y="351"/>
                  </a:lnTo>
                  <a:lnTo>
                    <a:pt x="825" y="358"/>
                  </a:lnTo>
                  <a:lnTo>
                    <a:pt x="816" y="364"/>
                  </a:lnTo>
                  <a:lnTo>
                    <a:pt x="813" y="368"/>
                  </a:lnTo>
                  <a:lnTo>
                    <a:pt x="811" y="371"/>
                  </a:lnTo>
                  <a:lnTo>
                    <a:pt x="810" y="375"/>
                  </a:lnTo>
                  <a:lnTo>
                    <a:pt x="810" y="381"/>
                  </a:lnTo>
                  <a:lnTo>
                    <a:pt x="812" y="385"/>
                  </a:lnTo>
                  <a:lnTo>
                    <a:pt x="814" y="388"/>
                  </a:lnTo>
                  <a:lnTo>
                    <a:pt x="818" y="390"/>
                  </a:lnTo>
                  <a:lnTo>
                    <a:pt x="823" y="392"/>
                  </a:lnTo>
                  <a:lnTo>
                    <a:pt x="832" y="394"/>
                  </a:lnTo>
                  <a:lnTo>
                    <a:pt x="842" y="400"/>
                  </a:lnTo>
                  <a:lnTo>
                    <a:pt x="851" y="405"/>
                  </a:lnTo>
                  <a:lnTo>
                    <a:pt x="858" y="413"/>
                  </a:lnTo>
                  <a:lnTo>
                    <a:pt x="863" y="421"/>
                  </a:lnTo>
                  <a:lnTo>
                    <a:pt x="868" y="431"/>
                  </a:lnTo>
                  <a:lnTo>
                    <a:pt x="871" y="441"/>
                  </a:lnTo>
                  <a:lnTo>
                    <a:pt x="872" y="451"/>
                  </a:lnTo>
                  <a:lnTo>
                    <a:pt x="871" y="462"/>
                  </a:lnTo>
                  <a:lnTo>
                    <a:pt x="868" y="473"/>
                  </a:lnTo>
                  <a:lnTo>
                    <a:pt x="863" y="482"/>
                  </a:lnTo>
                  <a:lnTo>
                    <a:pt x="858" y="491"/>
                  </a:lnTo>
                  <a:lnTo>
                    <a:pt x="851" y="497"/>
                  </a:lnTo>
                  <a:lnTo>
                    <a:pt x="842" y="504"/>
                  </a:lnTo>
                  <a:lnTo>
                    <a:pt x="832" y="508"/>
                  </a:lnTo>
                  <a:lnTo>
                    <a:pt x="823" y="511"/>
                  </a:lnTo>
                  <a:close/>
                  <a:moveTo>
                    <a:pt x="902" y="451"/>
                  </a:moveTo>
                  <a:lnTo>
                    <a:pt x="901" y="438"/>
                  </a:lnTo>
                  <a:lnTo>
                    <a:pt x="899" y="427"/>
                  </a:lnTo>
                  <a:lnTo>
                    <a:pt x="895" y="415"/>
                  </a:lnTo>
                  <a:lnTo>
                    <a:pt x="889" y="404"/>
                  </a:lnTo>
                  <a:lnTo>
                    <a:pt x="882" y="394"/>
                  </a:lnTo>
                  <a:lnTo>
                    <a:pt x="873" y="386"/>
                  </a:lnTo>
                  <a:lnTo>
                    <a:pt x="865" y="378"/>
                  </a:lnTo>
                  <a:lnTo>
                    <a:pt x="854" y="372"/>
                  </a:lnTo>
                  <a:lnTo>
                    <a:pt x="861" y="361"/>
                  </a:lnTo>
                  <a:lnTo>
                    <a:pt x="867" y="351"/>
                  </a:lnTo>
                  <a:lnTo>
                    <a:pt x="871" y="340"/>
                  </a:lnTo>
                  <a:lnTo>
                    <a:pt x="873" y="328"/>
                  </a:lnTo>
                  <a:lnTo>
                    <a:pt x="874" y="315"/>
                  </a:lnTo>
                  <a:lnTo>
                    <a:pt x="874" y="303"/>
                  </a:lnTo>
                  <a:lnTo>
                    <a:pt x="872" y="291"/>
                  </a:lnTo>
                  <a:lnTo>
                    <a:pt x="868" y="279"/>
                  </a:lnTo>
                  <a:lnTo>
                    <a:pt x="862" y="268"/>
                  </a:lnTo>
                  <a:lnTo>
                    <a:pt x="855" y="257"/>
                  </a:lnTo>
                  <a:lnTo>
                    <a:pt x="847" y="249"/>
                  </a:lnTo>
                  <a:lnTo>
                    <a:pt x="838" y="240"/>
                  </a:lnTo>
                  <a:lnTo>
                    <a:pt x="827" y="234"/>
                  </a:lnTo>
                  <a:lnTo>
                    <a:pt x="816" y="230"/>
                  </a:lnTo>
                  <a:lnTo>
                    <a:pt x="805" y="225"/>
                  </a:lnTo>
                  <a:lnTo>
                    <a:pt x="793" y="223"/>
                  </a:lnTo>
                  <a:lnTo>
                    <a:pt x="795" y="211"/>
                  </a:lnTo>
                  <a:lnTo>
                    <a:pt x="796" y="200"/>
                  </a:lnTo>
                  <a:lnTo>
                    <a:pt x="796" y="188"/>
                  </a:lnTo>
                  <a:lnTo>
                    <a:pt x="794" y="175"/>
                  </a:lnTo>
                  <a:lnTo>
                    <a:pt x="791" y="164"/>
                  </a:lnTo>
                  <a:lnTo>
                    <a:pt x="785" y="152"/>
                  </a:lnTo>
                  <a:lnTo>
                    <a:pt x="778" y="143"/>
                  </a:lnTo>
                  <a:lnTo>
                    <a:pt x="770" y="133"/>
                  </a:lnTo>
                  <a:lnTo>
                    <a:pt x="763" y="127"/>
                  </a:lnTo>
                  <a:lnTo>
                    <a:pt x="756" y="121"/>
                  </a:lnTo>
                  <a:lnTo>
                    <a:pt x="749" y="117"/>
                  </a:lnTo>
                  <a:lnTo>
                    <a:pt x="740" y="113"/>
                  </a:lnTo>
                  <a:lnTo>
                    <a:pt x="732" y="110"/>
                  </a:lnTo>
                  <a:lnTo>
                    <a:pt x="723" y="107"/>
                  </a:lnTo>
                  <a:lnTo>
                    <a:pt x="715" y="106"/>
                  </a:lnTo>
                  <a:lnTo>
                    <a:pt x="706" y="106"/>
                  </a:lnTo>
                  <a:lnTo>
                    <a:pt x="692" y="107"/>
                  </a:lnTo>
                  <a:lnTo>
                    <a:pt x="679" y="110"/>
                  </a:lnTo>
                  <a:lnTo>
                    <a:pt x="677" y="98"/>
                  </a:lnTo>
                  <a:lnTo>
                    <a:pt x="674" y="86"/>
                  </a:lnTo>
                  <a:lnTo>
                    <a:pt x="669" y="75"/>
                  </a:lnTo>
                  <a:lnTo>
                    <a:pt x="662" y="66"/>
                  </a:lnTo>
                  <a:lnTo>
                    <a:pt x="655" y="56"/>
                  </a:lnTo>
                  <a:lnTo>
                    <a:pt x="645" y="47"/>
                  </a:lnTo>
                  <a:lnTo>
                    <a:pt x="635" y="41"/>
                  </a:lnTo>
                  <a:lnTo>
                    <a:pt x="624" y="35"/>
                  </a:lnTo>
                  <a:lnTo>
                    <a:pt x="612" y="31"/>
                  </a:lnTo>
                  <a:lnTo>
                    <a:pt x="600" y="29"/>
                  </a:lnTo>
                  <a:lnTo>
                    <a:pt x="587" y="28"/>
                  </a:lnTo>
                  <a:lnTo>
                    <a:pt x="575" y="29"/>
                  </a:lnTo>
                  <a:lnTo>
                    <a:pt x="564" y="31"/>
                  </a:lnTo>
                  <a:lnTo>
                    <a:pt x="552" y="36"/>
                  </a:lnTo>
                  <a:lnTo>
                    <a:pt x="541" y="42"/>
                  </a:lnTo>
                  <a:lnTo>
                    <a:pt x="531" y="48"/>
                  </a:lnTo>
                  <a:lnTo>
                    <a:pt x="525" y="38"/>
                  </a:lnTo>
                  <a:lnTo>
                    <a:pt x="516" y="29"/>
                  </a:lnTo>
                  <a:lnTo>
                    <a:pt x="508" y="21"/>
                  </a:lnTo>
                  <a:lnTo>
                    <a:pt x="498" y="14"/>
                  </a:lnTo>
                  <a:lnTo>
                    <a:pt x="487" y="8"/>
                  </a:lnTo>
                  <a:lnTo>
                    <a:pt x="476" y="3"/>
                  </a:lnTo>
                  <a:lnTo>
                    <a:pt x="464" y="1"/>
                  </a:lnTo>
                  <a:lnTo>
                    <a:pt x="451" y="0"/>
                  </a:lnTo>
                  <a:lnTo>
                    <a:pt x="438" y="1"/>
                  </a:lnTo>
                  <a:lnTo>
                    <a:pt x="426" y="3"/>
                  </a:lnTo>
                  <a:lnTo>
                    <a:pt x="415" y="8"/>
                  </a:lnTo>
                  <a:lnTo>
                    <a:pt x="404" y="14"/>
                  </a:lnTo>
                  <a:lnTo>
                    <a:pt x="394" y="21"/>
                  </a:lnTo>
                  <a:lnTo>
                    <a:pt x="385" y="29"/>
                  </a:lnTo>
                  <a:lnTo>
                    <a:pt x="377" y="39"/>
                  </a:lnTo>
                  <a:lnTo>
                    <a:pt x="371" y="48"/>
                  </a:lnTo>
                  <a:lnTo>
                    <a:pt x="361" y="42"/>
                  </a:lnTo>
                  <a:lnTo>
                    <a:pt x="350" y="36"/>
                  </a:lnTo>
                  <a:lnTo>
                    <a:pt x="339" y="31"/>
                  </a:lnTo>
                  <a:lnTo>
                    <a:pt x="327" y="29"/>
                  </a:lnTo>
                  <a:lnTo>
                    <a:pt x="315" y="28"/>
                  </a:lnTo>
                  <a:lnTo>
                    <a:pt x="302" y="29"/>
                  </a:lnTo>
                  <a:lnTo>
                    <a:pt x="290" y="31"/>
                  </a:lnTo>
                  <a:lnTo>
                    <a:pt x="279" y="35"/>
                  </a:lnTo>
                  <a:lnTo>
                    <a:pt x="267" y="41"/>
                  </a:lnTo>
                  <a:lnTo>
                    <a:pt x="257" y="47"/>
                  </a:lnTo>
                  <a:lnTo>
                    <a:pt x="248" y="56"/>
                  </a:lnTo>
                  <a:lnTo>
                    <a:pt x="240" y="66"/>
                  </a:lnTo>
                  <a:lnTo>
                    <a:pt x="234" y="75"/>
                  </a:lnTo>
                  <a:lnTo>
                    <a:pt x="228" y="86"/>
                  </a:lnTo>
                  <a:lnTo>
                    <a:pt x="225" y="98"/>
                  </a:lnTo>
                  <a:lnTo>
                    <a:pt x="223" y="110"/>
                  </a:lnTo>
                  <a:lnTo>
                    <a:pt x="210" y="107"/>
                  </a:lnTo>
                  <a:lnTo>
                    <a:pt x="196" y="106"/>
                  </a:lnTo>
                  <a:lnTo>
                    <a:pt x="188" y="106"/>
                  </a:lnTo>
                  <a:lnTo>
                    <a:pt x="178" y="107"/>
                  </a:lnTo>
                  <a:lnTo>
                    <a:pt x="169" y="110"/>
                  </a:lnTo>
                  <a:lnTo>
                    <a:pt x="162" y="113"/>
                  </a:lnTo>
                  <a:lnTo>
                    <a:pt x="153" y="117"/>
                  </a:lnTo>
                  <a:lnTo>
                    <a:pt x="146" y="121"/>
                  </a:lnTo>
                  <a:lnTo>
                    <a:pt x="138" y="127"/>
                  </a:lnTo>
                  <a:lnTo>
                    <a:pt x="132" y="133"/>
                  </a:lnTo>
                  <a:lnTo>
                    <a:pt x="123" y="143"/>
                  </a:lnTo>
                  <a:lnTo>
                    <a:pt x="117" y="152"/>
                  </a:lnTo>
                  <a:lnTo>
                    <a:pt x="111" y="164"/>
                  </a:lnTo>
                  <a:lnTo>
                    <a:pt x="108" y="175"/>
                  </a:lnTo>
                  <a:lnTo>
                    <a:pt x="106" y="188"/>
                  </a:lnTo>
                  <a:lnTo>
                    <a:pt x="105" y="200"/>
                  </a:lnTo>
                  <a:lnTo>
                    <a:pt x="107" y="211"/>
                  </a:lnTo>
                  <a:lnTo>
                    <a:pt x="109" y="223"/>
                  </a:lnTo>
                  <a:lnTo>
                    <a:pt x="98" y="225"/>
                  </a:lnTo>
                  <a:lnTo>
                    <a:pt x="86" y="230"/>
                  </a:lnTo>
                  <a:lnTo>
                    <a:pt x="74" y="234"/>
                  </a:lnTo>
                  <a:lnTo>
                    <a:pt x="64" y="240"/>
                  </a:lnTo>
                  <a:lnTo>
                    <a:pt x="55" y="249"/>
                  </a:lnTo>
                  <a:lnTo>
                    <a:pt x="47" y="257"/>
                  </a:lnTo>
                  <a:lnTo>
                    <a:pt x="40" y="268"/>
                  </a:lnTo>
                  <a:lnTo>
                    <a:pt x="34" y="279"/>
                  </a:lnTo>
                  <a:lnTo>
                    <a:pt x="30" y="291"/>
                  </a:lnTo>
                  <a:lnTo>
                    <a:pt x="28" y="303"/>
                  </a:lnTo>
                  <a:lnTo>
                    <a:pt x="28" y="315"/>
                  </a:lnTo>
                  <a:lnTo>
                    <a:pt x="29" y="328"/>
                  </a:lnTo>
                  <a:lnTo>
                    <a:pt x="31" y="340"/>
                  </a:lnTo>
                  <a:lnTo>
                    <a:pt x="35" y="351"/>
                  </a:lnTo>
                  <a:lnTo>
                    <a:pt x="41" y="361"/>
                  </a:lnTo>
                  <a:lnTo>
                    <a:pt x="48" y="372"/>
                  </a:lnTo>
                  <a:lnTo>
                    <a:pt x="38" y="377"/>
                  </a:lnTo>
                  <a:lnTo>
                    <a:pt x="28" y="386"/>
                  </a:lnTo>
                  <a:lnTo>
                    <a:pt x="20" y="394"/>
                  </a:lnTo>
                  <a:lnTo>
                    <a:pt x="13" y="404"/>
                  </a:lnTo>
                  <a:lnTo>
                    <a:pt x="8" y="415"/>
                  </a:lnTo>
                  <a:lnTo>
                    <a:pt x="3" y="427"/>
                  </a:lnTo>
                  <a:lnTo>
                    <a:pt x="1" y="438"/>
                  </a:lnTo>
                  <a:lnTo>
                    <a:pt x="0" y="451"/>
                  </a:lnTo>
                  <a:lnTo>
                    <a:pt x="1" y="464"/>
                  </a:lnTo>
                  <a:lnTo>
                    <a:pt x="3" y="476"/>
                  </a:lnTo>
                  <a:lnTo>
                    <a:pt x="8" y="488"/>
                  </a:lnTo>
                  <a:lnTo>
                    <a:pt x="13" y="498"/>
                  </a:lnTo>
                  <a:lnTo>
                    <a:pt x="20" y="509"/>
                  </a:lnTo>
                  <a:lnTo>
                    <a:pt x="28" y="518"/>
                  </a:lnTo>
                  <a:lnTo>
                    <a:pt x="38" y="525"/>
                  </a:lnTo>
                  <a:lnTo>
                    <a:pt x="48" y="532"/>
                  </a:lnTo>
                  <a:lnTo>
                    <a:pt x="41" y="541"/>
                  </a:lnTo>
                  <a:lnTo>
                    <a:pt x="35" y="552"/>
                  </a:lnTo>
                  <a:lnTo>
                    <a:pt x="31" y="564"/>
                  </a:lnTo>
                  <a:lnTo>
                    <a:pt x="28" y="576"/>
                  </a:lnTo>
                  <a:lnTo>
                    <a:pt x="27" y="587"/>
                  </a:lnTo>
                  <a:lnTo>
                    <a:pt x="28" y="600"/>
                  </a:lnTo>
                  <a:lnTo>
                    <a:pt x="30" y="612"/>
                  </a:lnTo>
                  <a:lnTo>
                    <a:pt x="34" y="624"/>
                  </a:lnTo>
                  <a:lnTo>
                    <a:pt x="40" y="636"/>
                  </a:lnTo>
                  <a:lnTo>
                    <a:pt x="47" y="645"/>
                  </a:lnTo>
                  <a:lnTo>
                    <a:pt x="55" y="655"/>
                  </a:lnTo>
                  <a:lnTo>
                    <a:pt x="64" y="662"/>
                  </a:lnTo>
                  <a:lnTo>
                    <a:pt x="74" y="669"/>
                  </a:lnTo>
                  <a:lnTo>
                    <a:pt x="86" y="674"/>
                  </a:lnTo>
                  <a:lnTo>
                    <a:pt x="98" y="677"/>
                  </a:lnTo>
                  <a:lnTo>
                    <a:pt x="109" y="679"/>
                  </a:lnTo>
                  <a:lnTo>
                    <a:pt x="107" y="691"/>
                  </a:lnTo>
                  <a:lnTo>
                    <a:pt x="105" y="704"/>
                  </a:lnTo>
                  <a:lnTo>
                    <a:pt x="106" y="716"/>
                  </a:lnTo>
                  <a:lnTo>
                    <a:pt x="108" y="728"/>
                  </a:lnTo>
                  <a:lnTo>
                    <a:pt x="111" y="739"/>
                  </a:lnTo>
                  <a:lnTo>
                    <a:pt x="117" y="750"/>
                  </a:lnTo>
                  <a:lnTo>
                    <a:pt x="123" y="761"/>
                  </a:lnTo>
                  <a:lnTo>
                    <a:pt x="132" y="770"/>
                  </a:lnTo>
                  <a:lnTo>
                    <a:pt x="138" y="777"/>
                  </a:lnTo>
                  <a:lnTo>
                    <a:pt x="146" y="782"/>
                  </a:lnTo>
                  <a:lnTo>
                    <a:pt x="153" y="787"/>
                  </a:lnTo>
                  <a:lnTo>
                    <a:pt x="162" y="790"/>
                  </a:lnTo>
                  <a:lnTo>
                    <a:pt x="169" y="793"/>
                  </a:lnTo>
                  <a:lnTo>
                    <a:pt x="178" y="795"/>
                  </a:lnTo>
                  <a:lnTo>
                    <a:pt x="188" y="796"/>
                  </a:lnTo>
                  <a:lnTo>
                    <a:pt x="196" y="797"/>
                  </a:lnTo>
                  <a:lnTo>
                    <a:pt x="210" y="796"/>
                  </a:lnTo>
                  <a:lnTo>
                    <a:pt x="223" y="793"/>
                  </a:lnTo>
                  <a:lnTo>
                    <a:pt x="225" y="805"/>
                  </a:lnTo>
                  <a:lnTo>
                    <a:pt x="228" y="817"/>
                  </a:lnTo>
                  <a:lnTo>
                    <a:pt x="234" y="827"/>
                  </a:lnTo>
                  <a:lnTo>
                    <a:pt x="240" y="838"/>
                  </a:lnTo>
                  <a:lnTo>
                    <a:pt x="248" y="848"/>
                  </a:lnTo>
                  <a:lnTo>
                    <a:pt x="257" y="855"/>
                  </a:lnTo>
                  <a:lnTo>
                    <a:pt x="267" y="863"/>
                  </a:lnTo>
                  <a:lnTo>
                    <a:pt x="279" y="868"/>
                  </a:lnTo>
                  <a:lnTo>
                    <a:pt x="290" y="872"/>
                  </a:lnTo>
                  <a:lnTo>
                    <a:pt x="302" y="874"/>
                  </a:lnTo>
                  <a:lnTo>
                    <a:pt x="315" y="875"/>
                  </a:lnTo>
                  <a:lnTo>
                    <a:pt x="327" y="874"/>
                  </a:lnTo>
                  <a:lnTo>
                    <a:pt x="339" y="871"/>
                  </a:lnTo>
                  <a:lnTo>
                    <a:pt x="350" y="867"/>
                  </a:lnTo>
                  <a:lnTo>
                    <a:pt x="361" y="862"/>
                  </a:lnTo>
                  <a:lnTo>
                    <a:pt x="371" y="854"/>
                  </a:lnTo>
                  <a:lnTo>
                    <a:pt x="377" y="865"/>
                  </a:lnTo>
                  <a:lnTo>
                    <a:pt x="385" y="874"/>
                  </a:lnTo>
                  <a:lnTo>
                    <a:pt x="394" y="883"/>
                  </a:lnTo>
                  <a:lnTo>
                    <a:pt x="404" y="889"/>
                  </a:lnTo>
                  <a:lnTo>
                    <a:pt x="415" y="895"/>
                  </a:lnTo>
                  <a:lnTo>
                    <a:pt x="426" y="899"/>
                  </a:lnTo>
                  <a:lnTo>
                    <a:pt x="438" y="902"/>
                  </a:lnTo>
                  <a:lnTo>
                    <a:pt x="451" y="902"/>
                  </a:lnTo>
                  <a:lnTo>
                    <a:pt x="464" y="902"/>
                  </a:lnTo>
                  <a:lnTo>
                    <a:pt x="476" y="899"/>
                  </a:lnTo>
                  <a:lnTo>
                    <a:pt x="487" y="895"/>
                  </a:lnTo>
                  <a:lnTo>
                    <a:pt x="498" y="889"/>
                  </a:lnTo>
                  <a:lnTo>
                    <a:pt x="508" y="882"/>
                  </a:lnTo>
                  <a:lnTo>
                    <a:pt x="516" y="874"/>
                  </a:lnTo>
                  <a:lnTo>
                    <a:pt x="525" y="865"/>
                  </a:lnTo>
                  <a:lnTo>
                    <a:pt x="531" y="854"/>
                  </a:lnTo>
                  <a:lnTo>
                    <a:pt x="541" y="862"/>
                  </a:lnTo>
                  <a:lnTo>
                    <a:pt x="552" y="867"/>
                  </a:lnTo>
                  <a:lnTo>
                    <a:pt x="564" y="871"/>
                  </a:lnTo>
                  <a:lnTo>
                    <a:pt x="575" y="874"/>
                  </a:lnTo>
                  <a:lnTo>
                    <a:pt x="587" y="875"/>
                  </a:lnTo>
                  <a:lnTo>
                    <a:pt x="600" y="874"/>
                  </a:lnTo>
                  <a:lnTo>
                    <a:pt x="612" y="872"/>
                  </a:lnTo>
                  <a:lnTo>
                    <a:pt x="624" y="868"/>
                  </a:lnTo>
                  <a:lnTo>
                    <a:pt x="635" y="863"/>
                  </a:lnTo>
                  <a:lnTo>
                    <a:pt x="645" y="855"/>
                  </a:lnTo>
                  <a:lnTo>
                    <a:pt x="655" y="848"/>
                  </a:lnTo>
                  <a:lnTo>
                    <a:pt x="662" y="838"/>
                  </a:lnTo>
                  <a:lnTo>
                    <a:pt x="669" y="828"/>
                  </a:lnTo>
                  <a:lnTo>
                    <a:pt x="674" y="817"/>
                  </a:lnTo>
                  <a:lnTo>
                    <a:pt x="677" y="805"/>
                  </a:lnTo>
                  <a:lnTo>
                    <a:pt x="679" y="793"/>
                  </a:lnTo>
                  <a:lnTo>
                    <a:pt x="692" y="796"/>
                  </a:lnTo>
                  <a:lnTo>
                    <a:pt x="706" y="797"/>
                  </a:lnTo>
                  <a:lnTo>
                    <a:pt x="715" y="796"/>
                  </a:lnTo>
                  <a:lnTo>
                    <a:pt x="723" y="795"/>
                  </a:lnTo>
                  <a:lnTo>
                    <a:pt x="732" y="793"/>
                  </a:lnTo>
                  <a:lnTo>
                    <a:pt x="740" y="790"/>
                  </a:lnTo>
                  <a:lnTo>
                    <a:pt x="749" y="787"/>
                  </a:lnTo>
                  <a:lnTo>
                    <a:pt x="756" y="782"/>
                  </a:lnTo>
                  <a:lnTo>
                    <a:pt x="763" y="777"/>
                  </a:lnTo>
                  <a:lnTo>
                    <a:pt x="770" y="770"/>
                  </a:lnTo>
                  <a:lnTo>
                    <a:pt x="778" y="761"/>
                  </a:lnTo>
                  <a:lnTo>
                    <a:pt x="785" y="750"/>
                  </a:lnTo>
                  <a:lnTo>
                    <a:pt x="791" y="739"/>
                  </a:lnTo>
                  <a:lnTo>
                    <a:pt x="794" y="728"/>
                  </a:lnTo>
                  <a:lnTo>
                    <a:pt x="796" y="716"/>
                  </a:lnTo>
                  <a:lnTo>
                    <a:pt x="796" y="704"/>
                  </a:lnTo>
                  <a:lnTo>
                    <a:pt x="795" y="691"/>
                  </a:lnTo>
                  <a:lnTo>
                    <a:pt x="793" y="679"/>
                  </a:lnTo>
                  <a:lnTo>
                    <a:pt x="805" y="677"/>
                  </a:lnTo>
                  <a:lnTo>
                    <a:pt x="816" y="674"/>
                  </a:lnTo>
                  <a:lnTo>
                    <a:pt x="827" y="669"/>
                  </a:lnTo>
                  <a:lnTo>
                    <a:pt x="838" y="662"/>
                  </a:lnTo>
                  <a:lnTo>
                    <a:pt x="847" y="655"/>
                  </a:lnTo>
                  <a:lnTo>
                    <a:pt x="855" y="645"/>
                  </a:lnTo>
                  <a:lnTo>
                    <a:pt x="862" y="636"/>
                  </a:lnTo>
                  <a:lnTo>
                    <a:pt x="868" y="624"/>
                  </a:lnTo>
                  <a:lnTo>
                    <a:pt x="872" y="612"/>
                  </a:lnTo>
                  <a:lnTo>
                    <a:pt x="874" y="600"/>
                  </a:lnTo>
                  <a:lnTo>
                    <a:pt x="874" y="587"/>
                  </a:lnTo>
                  <a:lnTo>
                    <a:pt x="873" y="576"/>
                  </a:lnTo>
                  <a:lnTo>
                    <a:pt x="871" y="564"/>
                  </a:lnTo>
                  <a:lnTo>
                    <a:pt x="867" y="552"/>
                  </a:lnTo>
                  <a:lnTo>
                    <a:pt x="861" y="541"/>
                  </a:lnTo>
                  <a:lnTo>
                    <a:pt x="854" y="532"/>
                  </a:lnTo>
                  <a:lnTo>
                    <a:pt x="865" y="525"/>
                  </a:lnTo>
                  <a:lnTo>
                    <a:pt x="873" y="518"/>
                  </a:lnTo>
                  <a:lnTo>
                    <a:pt x="882" y="509"/>
                  </a:lnTo>
                  <a:lnTo>
                    <a:pt x="889" y="498"/>
                  </a:lnTo>
                  <a:lnTo>
                    <a:pt x="895" y="488"/>
                  </a:lnTo>
                  <a:lnTo>
                    <a:pt x="899" y="476"/>
                  </a:lnTo>
                  <a:lnTo>
                    <a:pt x="901" y="464"/>
                  </a:lnTo>
                  <a:lnTo>
                    <a:pt x="902"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26" name="Freeform 35">
              <a:extLst>
                <a:ext uri="{FF2B5EF4-FFF2-40B4-BE49-F238E27FC236}">
                  <a16:creationId xmlns:a16="http://schemas.microsoft.com/office/drawing/2014/main" id="{19ECDD96-D756-4E5E-9406-B274089148F2}"/>
                </a:ext>
              </a:extLst>
            </p:cNvPr>
            <p:cNvSpPr>
              <a:spLocks noEditPoints="1"/>
            </p:cNvSpPr>
            <p:nvPr/>
          </p:nvSpPr>
          <p:spPr bwMode="auto">
            <a:xfrm>
              <a:off x="7127875" y="3133725"/>
              <a:ext cx="66675" cy="161925"/>
            </a:xfrm>
            <a:custGeom>
              <a:avLst/>
              <a:gdLst>
                <a:gd name="T0" fmla="*/ 176 w 211"/>
                <a:gd name="T1" fmla="*/ 372 h 511"/>
                <a:gd name="T2" fmla="*/ 154 w 211"/>
                <a:gd name="T3" fmla="*/ 403 h 511"/>
                <a:gd name="T4" fmla="*/ 120 w 211"/>
                <a:gd name="T5" fmla="*/ 419 h 511"/>
                <a:gd name="T6" fmla="*/ 145 w 211"/>
                <a:gd name="T7" fmla="*/ 281 h 511"/>
                <a:gd name="T8" fmla="*/ 174 w 211"/>
                <a:gd name="T9" fmla="*/ 314 h 511"/>
                <a:gd name="T10" fmla="*/ 180 w 211"/>
                <a:gd name="T11" fmla="*/ 346 h 511"/>
                <a:gd name="T12" fmla="*/ 34 w 211"/>
                <a:gd name="T13" fmla="*/ 140 h 511"/>
                <a:gd name="T14" fmla="*/ 56 w 211"/>
                <a:gd name="T15" fmla="*/ 109 h 511"/>
                <a:gd name="T16" fmla="*/ 90 w 211"/>
                <a:gd name="T17" fmla="*/ 91 h 511"/>
                <a:gd name="T18" fmla="*/ 66 w 211"/>
                <a:gd name="T19" fmla="*/ 230 h 511"/>
                <a:gd name="T20" fmla="*/ 37 w 211"/>
                <a:gd name="T21" fmla="*/ 197 h 511"/>
                <a:gd name="T22" fmla="*/ 30 w 211"/>
                <a:gd name="T23" fmla="*/ 165 h 511"/>
                <a:gd name="T24" fmla="*/ 183 w 211"/>
                <a:gd name="T25" fmla="*/ 174 h 511"/>
                <a:gd name="T26" fmla="*/ 196 w 211"/>
                <a:gd name="T27" fmla="*/ 180 h 511"/>
                <a:gd name="T28" fmla="*/ 208 w 211"/>
                <a:gd name="T29" fmla="*/ 174 h 511"/>
                <a:gd name="T30" fmla="*/ 209 w 211"/>
                <a:gd name="T31" fmla="*/ 146 h 511"/>
                <a:gd name="T32" fmla="*/ 191 w 211"/>
                <a:gd name="T33" fmla="*/ 103 h 511"/>
                <a:gd name="T34" fmla="*/ 156 w 211"/>
                <a:gd name="T35" fmla="*/ 73 h 511"/>
                <a:gd name="T36" fmla="*/ 120 w 211"/>
                <a:gd name="T37" fmla="*/ 15 h 511"/>
                <a:gd name="T38" fmla="*/ 114 w 211"/>
                <a:gd name="T39" fmla="*/ 2 h 511"/>
                <a:gd name="T40" fmla="*/ 100 w 211"/>
                <a:gd name="T41" fmla="*/ 1 h 511"/>
                <a:gd name="T42" fmla="*/ 91 w 211"/>
                <a:gd name="T43" fmla="*/ 12 h 511"/>
                <a:gd name="T44" fmla="*/ 63 w 211"/>
                <a:gd name="T45" fmla="*/ 69 h 511"/>
                <a:gd name="T46" fmla="*/ 26 w 211"/>
                <a:gd name="T47" fmla="*/ 97 h 511"/>
                <a:gd name="T48" fmla="*/ 4 w 211"/>
                <a:gd name="T49" fmla="*/ 136 h 511"/>
                <a:gd name="T50" fmla="*/ 2 w 211"/>
                <a:gd name="T51" fmla="*/ 185 h 511"/>
                <a:gd name="T52" fmla="*/ 20 w 211"/>
                <a:gd name="T53" fmla="*/ 227 h 511"/>
                <a:gd name="T54" fmla="*/ 55 w 211"/>
                <a:gd name="T55" fmla="*/ 257 h 511"/>
                <a:gd name="T56" fmla="*/ 90 w 211"/>
                <a:gd name="T57" fmla="*/ 419 h 511"/>
                <a:gd name="T58" fmla="*/ 56 w 211"/>
                <a:gd name="T59" fmla="*/ 403 h 511"/>
                <a:gd name="T60" fmla="*/ 34 w 211"/>
                <a:gd name="T61" fmla="*/ 372 h 511"/>
                <a:gd name="T62" fmla="*/ 30 w 211"/>
                <a:gd name="T63" fmla="*/ 343 h 511"/>
                <a:gd name="T64" fmla="*/ 21 w 211"/>
                <a:gd name="T65" fmla="*/ 332 h 511"/>
                <a:gd name="T66" fmla="*/ 6 w 211"/>
                <a:gd name="T67" fmla="*/ 333 h 511"/>
                <a:gd name="T68" fmla="*/ 0 w 211"/>
                <a:gd name="T69" fmla="*/ 346 h 511"/>
                <a:gd name="T70" fmla="*/ 11 w 211"/>
                <a:gd name="T71" fmla="*/ 392 h 511"/>
                <a:gd name="T72" fmla="*/ 40 w 211"/>
                <a:gd name="T73" fmla="*/ 428 h 511"/>
                <a:gd name="T74" fmla="*/ 80 w 211"/>
                <a:gd name="T75" fmla="*/ 448 h 511"/>
                <a:gd name="T76" fmla="*/ 93 w 211"/>
                <a:gd name="T77" fmla="*/ 505 h 511"/>
                <a:gd name="T78" fmla="*/ 105 w 211"/>
                <a:gd name="T79" fmla="*/ 511 h 511"/>
                <a:gd name="T80" fmla="*/ 118 w 211"/>
                <a:gd name="T81" fmla="*/ 505 h 511"/>
                <a:gd name="T82" fmla="*/ 130 w 211"/>
                <a:gd name="T83" fmla="*/ 448 h 511"/>
                <a:gd name="T84" fmla="*/ 171 w 211"/>
                <a:gd name="T85" fmla="*/ 428 h 511"/>
                <a:gd name="T86" fmla="*/ 200 w 211"/>
                <a:gd name="T87" fmla="*/ 392 h 511"/>
                <a:gd name="T88" fmla="*/ 211 w 211"/>
                <a:gd name="T89" fmla="*/ 346 h 511"/>
                <a:gd name="T90" fmla="*/ 200 w 211"/>
                <a:gd name="T91" fmla="*/ 299 h 511"/>
                <a:gd name="T92" fmla="*/ 171 w 211"/>
                <a:gd name="T93" fmla="*/ 264 h 511"/>
                <a:gd name="T94" fmla="*/ 130 w 211"/>
                <a:gd name="T95" fmla="*/ 243 h 511"/>
                <a:gd name="T96" fmla="*/ 138 w 211"/>
                <a:gd name="T97" fmla="*/ 98 h 511"/>
                <a:gd name="T98" fmla="*/ 170 w 211"/>
                <a:gd name="T99" fmla="*/ 128 h 511"/>
                <a:gd name="T100" fmla="*/ 180 w 211"/>
                <a:gd name="T101" fmla="*/ 159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1" h="511">
                  <a:moveTo>
                    <a:pt x="180" y="346"/>
                  </a:moveTo>
                  <a:lnTo>
                    <a:pt x="180" y="353"/>
                  </a:lnTo>
                  <a:lnTo>
                    <a:pt x="179" y="359"/>
                  </a:lnTo>
                  <a:lnTo>
                    <a:pt x="178" y="366"/>
                  </a:lnTo>
                  <a:lnTo>
                    <a:pt x="176" y="372"/>
                  </a:lnTo>
                  <a:lnTo>
                    <a:pt x="174" y="377"/>
                  </a:lnTo>
                  <a:lnTo>
                    <a:pt x="170" y="383"/>
                  </a:lnTo>
                  <a:lnTo>
                    <a:pt x="167" y="388"/>
                  </a:lnTo>
                  <a:lnTo>
                    <a:pt x="163" y="393"/>
                  </a:lnTo>
                  <a:lnTo>
                    <a:pt x="154" y="403"/>
                  </a:lnTo>
                  <a:lnTo>
                    <a:pt x="145" y="411"/>
                  </a:lnTo>
                  <a:lnTo>
                    <a:pt x="138" y="413"/>
                  </a:lnTo>
                  <a:lnTo>
                    <a:pt x="133" y="416"/>
                  </a:lnTo>
                  <a:lnTo>
                    <a:pt x="126" y="418"/>
                  </a:lnTo>
                  <a:lnTo>
                    <a:pt x="120" y="419"/>
                  </a:lnTo>
                  <a:lnTo>
                    <a:pt x="120" y="272"/>
                  </a:lnTo>
                  <a:lnTo>
                    <a:pt x="126" y="273"/>
                  </a:lnTo>
                  <a:lnTo>
                    <a:pt x="133" y="276"/>
                  </a:lnTo>
                  <a:lnTo>
                    <a:pt x="138" y="279"/>
                  </a:lnTo>
                  <a:lnTo>
                    <a:pt x="145" y="281"/>
                  </a:lnTo>
                  <a:lnTo>
                    <a:pt x="154" y="288"/>
                  </a:lnTo>
                  <a:lnTo>
                    <a:pt x="163" y="298"/>
                  </a:lnTo>
                  <a:lnTo>
                    <a:pt x="167" y="303"/>
                  </a:lnTo>
                  <a:lnTo>
                    <a:pt x="170" y="309"/>
                  </a:lnTo>
                  <a:lnTo>
                    <a:pt x="174" y="314"/>
                  </a:lnTo>
                  <a:lnTo>
                    <a:pt x="176" y="320"/>
                  </a:lnTo>
                  <a:lnTo>
                    <a:pt x="178" y="326"/>
                  </a:lnTo>
                  <a:lnTo>
                    <a:pt x="179" y="332"/>
                  </a:lnTo>
                  <a:lnTo>
                    <a:pt x="180" y="339"/>
                  </a:lnTo>
                  <a:lnTo>
                    <a:pt x="180" y="346"/>
                  </a:lnTo>
                  <a:close/>
                  <a:moveTo>
                    <a:pt x="30" y="165"/>
                  </a:moveTo>
                  <a:lnTo>
                    <a:pt x="30" y="159"/>
                  </a:lnTo>
                  <a:lnTo>
                    <a:pt x="31" y="152"/>
                  </a:lnTo>
                  <a:lnTo>
                    <a:pt x="33" y="146"/>
                  </a:lnTo>
                  <a:lnTo>
                    <a:pt x="34" y="140"/>
                  </a:lnTo>
                  <a:lnTo>
                    <a:pt x="37" y="133"/>
                  </a:lnTo>
                  <a:lnTo>
                    <a:pt x="40" y="128"/>
                  </a:lnTo>
                  <a:lnTo>
                    <a:pt x="44" y="122"/>
                  </a:lnTo>
                  <a:lnTo>
                    <a:pt x="47" y="117"/>
                  </a:lnTo>
                  <a:lnTo>
                    <a:pt x="56" y="109"/>
                  </a:lnTo>
                  <a:lnTo>
                    <a:pt x="66" y="101"/>
                  </a:lnTo>
                  <a:lnTo>
                    <a:pt x="72" y="98"/>
                  </a:lnTo>
                  <a:lnTo>
                    <a:pt x="78" y="96"/>
                  </a:lnTo>
                  <a:lnTo>
                    <a:pt x="84" y="94"/>
                  </a:lnTo>
                  <a:lnTo>
                    <a:pt x="90" y="91"/>
                  </a:lnTo>
                  <a:lnTo>
                    <a:pt x="90" y="239"/>
                  </a:lnTo>
                  <a:lnTo>
                    <a:pt x="84" y="237"/>
                  </a:lnTo>
                  <a:lnTo>
                    <a:pt x="78" y="235"/>
                  </a:lnTo>
                  <a:lnTo>
                    <a:pt x="72" y="233"/>
                  </a:lnTo>
                  <a:lnTo>
                    <a:pt x="66" y="230"/>
                  </a:lnTo>
                  <a:lnTo>
                    <a:pt x="56" y="222"/>
                  </a:lnTo>
                  <a:lnTo>
                    <a:pt x="47" y="213"/>
                  </a:lnTo>
                  <a:lnTo>
                    <a:pt x="44" y="208"/>
                  </a:lnTo>
                  <a:lnTo>
                    <a:pt x="40" y="203"/>
                  </a:lnTo>
                  <a:lnTo>
                    <a:pt x="37" y="197"/>
                  </a:lnTo>
                  <a:lnTo>
                    <a:pt x="34" y="191"/>
                  </a:lnTo>
                  <a:lnTo>
                    <a:pt x="33" y="185"/>
                  </a:lnTo>
                  <a:lnTo>
                    <a:pt x="31" y="179"/>
                  </a:lnTo>
                  <a:lnTo>
                    <a:pt x="30" y="172"/>
                  </a:lnTo>
                  <a:lnTo>
                    <a:pt x="30" y="165"/>
                  </a:lnTo>
                  <a:lnTo>
                    <a:pt x="30" y="165"/>
                  </a:lnTo>
                  <a:close/>
                  <a:moveTo>
                    <a:pt x="180" y="165"/>
                  </a:moveTo>
                  <a:lnTo>
                    <a:pt x="181" y="168"/>
                  </a:lnTo>
                  <a:lnTo>
                    <a:pt x="182" y="172"/>
                  </a:lnTo>
                  <a:lnTo>
                    <a:pt x="183" y="174"/>
                  </a:lnTo>
                  <a:lnTo>
                    <a:pt x="185" y="176"/>
                  </a:lnTo>
                  <a:lnTo>
                    <a:pt x="187" y="178"/>
                  </a:lnTo>
                  <a:lnTo>
                    <a:pt x="190" y="179"/>
                  </a:lnTo>
                  <a:lnTo>
                    <a:pt x="193" y="180"/>
                  </a:lnTo>
                  <a:lnTo>
                    <a:pt x="196" y="180"/>
                  </a:lnTo>
                  <a:lnTo>
                    <a:pt x="198" y="180"/>
                  </a:lnTo>
                  <a:lnTo>
                    <a:pt x="201" y="179"/>
                  </a:lnTo>
                  <a:lnTo>
                    <a:pt x="204" y="178"/>
                  </a:lnTo>
                  <a:lnTo>
                    <a:pt x="206" y="176"/>
                  </a:lnTo>
                  <a:lnTo>
                    <a:pt x="208" y="174"/>
                  </a:lnTo>
                  <a:lnTo>
                    <a:pt x="209" y="172"/>
                  </a:lnTo>
                  <a:lnTo>
                    <a:pt x="210" y="168"/>
                  </a:lnTo>
                  <a:lnTo>
                    <a:pt x="211" y="165"/>
                  </a:lnTo>
                  <a:lnTo>
                    <a:pt x="210" y="156"/>
                  </a:lnTo>
                  <a:lnTo>
                    <a:pt x="209" y="146"/>
                  </a:lnTo>
                  <a:lnTo>
                    <a:pt x="207" y="136"/>
                  </a:lnTo>
                  <a:lnTo>
                    <a:pt x="204" y="128"/>
                  </a:lnTo>
                  <a:lnTo>
                    <a:pt x="200" y="119"/>
                  </a:lnTo>
                  <a:lnTo>
                    <a:pt x="195" y="111"/>
                  </a:lnTo>
                  <a:lnTo>
                    <a:pt x="191" y="103"/>
                  </a:lnTo>
                  <a:lnTo>
                    <a:pt x="184" y="97"/>
                  </a:lnTo>
                  <a:lnTo>
                    <a:pt x="178" y="89"/>
                  </a:lnTo>
                  <a:lnTo>
                    <a:pt x="171" y="84"/>
                  </a:lnTo>
                  <a:lnTo>
                    <a:pt x="164" y="79"/>
                  </a:lnTo>
                  <a:lnTo>
                    <a:pt x="156" y="73"/>
                  </a:lnTo>
                  <a:lnTo>
                    <a:pt x="148" y="69"/>
                  </a:lnTo>
                  <a:lnTo>
                    <a:pt x="139" y="66"/>
                  </a:lnTo>
                  <a:lnTo>
                    <a:pt x="130" y="64"/>
                  </a:lnTo>
                  <a:lnTo>
                    <a:pt x="120" y="61"/>
                  </a:lnTo>
                  <a:lnTo>
                    <a:pt x="120" y="15"/>
                  </a:lnTo>
                  <a:lnTo>
                    <a:pt x="120" y="12"/>
                  </a:lnTo>
                  <a:lnTo>
                    <a:pt x="119" y="9"/>
                  </a:lnTo>
                  <a:lnTo>
                    <a:pt x="118" y="7"/>
                  </a:lnTo>
                  <a:lnTo>
                    <a:pt x="116" y="5"/>
                  </a:lnTo>
                  <a:lnTo>
                    <a:pt x="114" y="2"/>
                  </a:lnTo>
                  <a:lnTo>
                    <a:pt x="111" y="1"/>
                  </a:lnTo>
                  <a:lnTo>
                    <a:pt x="108" y="0"/>
                  </a:lnTo>
                  <a:lnTo>
                    <a:pt x="105" y="0"/>
                  </a:lnTo>
                  <a:lnTo>
                    <a:pt x="102" y="0"/>
                  </a:lnTo>
                  <a:lnTo>
                    <a:pt x="100" y="1"/>
                  </a:lnTo>
                  <a:lnTo>
                    <a:pt x="96" y="2"/>
                  </a:lnTo>
                  <a:lnTo>
                    <a:pt x="94" y="5"/>
                  </a:lnTo>
                  <a:lnTo>
                    <a:pt x="93" y="7"/>
                  </a:lnTo>
                  <a:lnTo>
                    <a:pt x="91" y="9"/>
                  </a:lnTo>
                  <a:lnTo>
                    <a:pt x="91" y="12"/>
                  </a:lnTo>
                  <a:lnTo>
                    <a:pt x="90" y="15"/>
                  </a:lnTo>
                  <a:lnTo>
                    <a:pt x="90" y="61"/>
                  </a:lnTo>
                  <a:lnTo>
                    <a:pt x="80" y="64"/>
                  </a:lnTo>
                  <a:lnTo>
                    <a:pt x="72" y="66"/>
                  </a:lnTo>
                  <a:lnTo>
                    <a:pt x="63" y="69"/>
                  </a:lnTo>
                  <a:lnTo>
                    <a:pt x="55" y="73"/>
                  </a:lnTo>
                  <a:lnTo>
                    <a:pt x="47" y="79"/>
                  </a:lnTo>
                  <a:lnTo>
                    <a:pt x="40" y="84"/>
                  </a:lnTo>
                  <a:lnTo>
                    <a:pt x="32" y="89"/>
                  </a:lnTo>
                  <a:lnTo>
                    <a:pt x="26" y="97"/>
                  </a:lnTo>
                  <a:lnTo>
                    <a:pt x="20" y="103"/>
                  </a:lnTo>
                  <a:lnTo>
                    <a:pt x="15" y="111"/>
                  </a:lnTo>
                  <a:lnTo>
                    <a:pt x="11" y="119"/>
                  </a:lnTo>
                  <a:lnTo>
                    <a:pt x="7" y="128"/>
                  </a:lnTo>
                  <a:lnTo>
                    <a:pt x="4" y="136"/>
                  </a:lnTo>
                  <a:lnTo>
                    <a:pt x="2" y="146"/>
                  </a:lnTo>
                  <a:lnTo>
                    <a:pt x="0" y="156"/>
                  </a:lnTo>
                  <a:lnTo>
                    <a:pt x="0" y="165"/>
                  </a:lnTo>
                  <a:lnTo>
                    <a:pt x="0" y="175"/>
                  </a:lnTo>
                  <a:lnTo>
                    <a:pt x="2" y="185"/>
                  </a:lnTo>
                  <a:lnTo>
                    <a:pt x="4" y="194"/>
                  </a:lnTo>
                  <a:lnTo>
                    <a:pt x="7" y="203"/>
                  </a:lnTo>
                  <a:lnTo>
                    <a:pt x="11" y="211"/>
                  </a:lnTo>
                  <a:lnTo>
                    <a:pt x="15" y="220"/>
                  </a:lnTo>
                  <a:lnTo>
                    <a:pt x="20" y="227"/>
                  </a:lnTo>
                  <a:lnTo>
                    <a:pt x="26" y="235"/>
                  </a:lnTo>
                  <a:lnTo>
                    <a:pt x="32" y="241"/>
                  </a:lnTo>
                  <a:lnTo>
                    <a:pt x="40" y="247"/>
                  </a:lnTo>
                  <a:lnTo>
                    <a:pt x="47" y="253"/>
                  </a:lnTo>
                  <a:lnTo>
                    <a:pt x="55" y="257"/>
                  </a:lnTo>
                  <a:lnTo>
                    <a:pt x="63" y="262"/>
                  </a:lnTo>
                  <a:lnTo>
                    <a:pt x="72" y="265"/>
                  </a:lnTo>
                  <a:lnTo>
                    <a:pt x="80" y="268"/>
                  </a:lnTo>
                  <a:lnTo>
                    <a:pt x="90" y="269"/>
                  </a:lnTo>
                  <a:lnTo>
                    <a:pt x="90" y="419"/>
                  </a:lnTo>
                  <a:lnTo>
                    <a:pt x="84" y="418"/>
                  </a:lnTo>
                  <a:lnTo>
                    <a:pt x="78" y="416"/>
                  </a:lnTo>
                  <a:lnTo>
                    <a:pt x="72" y="413"/>
                  </a:lnTo>
                  <a:lnTo>
                    <a:pt x="66" y="410"/>
                  </a:lnTo>
                  <a:lnTo>
                    <a:pt x="56" y="403"/>
                  </a:lnTo>
                  <a:lnTo>
                    <a:pt x="47" y="393"/>
                  </a:lnTo>
                  <a:lnTo>
                    <a:pt x="44" y="388"/>
                  </a:lnTo>
                  <a:lnTo>
                    <a:pt x="40" y="383"/>
                  </a:lnTo>
                  <a:lnTo>
                    <a:pt x="37" y="377"/>
                  </a:lnTo>
                  <a:lnTo>
                    <a:pt x="34" y="372"/>
                  </a:lnTo>
                  <a:lnTo>
                    <a:pt x="33" y="366"/>
                  </a:lnTo>
                  <a:lnTo>
                    <a:pt x="31" y="359"/>
                  </a:lnTo>
                  <a:lnTo>
                    <a:pt x="30" y="353"/>
                  </a:lnTo>
                  <a:lnTo>
                    <a:pt x="30" y="346"/>
                  </a:lnTo>
                  <a:lnTo>
                    <a:pt x="30" y="343"/>
                  </a:lnTo>
                  <a:lnTo>
                    <a:pt x="29" y="340"/>
                  </a:lnTo>
                  <a:lnTo>
                    <a:pt x="28" y="338"/>
                  </a:lnTo>
                  <a:lnTo>
                    <a:pt x="26" y="336"/>
                  </a:lnTo>
                  <a:lnTo>
                    <a:pt x="24" y="333"/>
                  </a:lnTo>
                  <a:lnTo>
                    <a:pt x="21" y="332"/>
                  </a:lnTo>
                  <a:lnTo>
                    <a:pt x="18" y="331"/>
                  </a:lnTo>
                  <a:lnTo>
                    <a:pt x="15" y="330"/>
                  </a:lnTo>
                  <a:lnTo>
                    <a:pt x="12" y="331"/>
                  </a:lnTo>
                  <a:lnTo>
                    <a:pt x="10" y="332"/>
                  </a:lnTo>
                  <a:lnTo>
                    <a:pt x="6" y="333"/>
                  </a:lnTo>
                  <a:lnTo>
                    <a:pt x="4" y="336"/>
                  </a:lnTo>
                  <a:lnTo>
                    <a:pt x="2" y="338"/>
                  </a:lnTo>
                  <a:lnTo>
                    <a:pt x="1" y="340"/>
                  </a:lnTo>
                  <a:lnTo>
                    <a:pt x="0" y="343"/>
                  </a:lnTo>
                  <a:lnTo>
                    <a:pt x="0" y="346"/>
                  </a:lnTo>
                  <a:lnTo>
                    <a:pt x="0" y="356"/>
                  </a:lnTo>
                  <a:lnTo>
                    <a:pt x="2" y="366"/>
                  </a:lnTo>
                  <a:lnTo>
                    <a:pt x="4" y="374"/>
                  </a:lnTo>
                  <a:lnTo>
                    <a:pt x="7" y="384"/>
                  </a:lnTo>
                  <a:lnTo>
                    <a:pt x="11" y="392"/>
                  </a:lnTo>
                  <a:lnTo>
                    <a:pt x="15" y="400"/>
                  </a:lnTo>
                  <a:lnTo>
                    <a:pt x="20" y="407"/>
                  </a:lnTo>
                  <a:lnTo>
                    <a:pt x="26" y="415"/>
                  </a:lnTo>
                  <a:lnTo>
                    <a:pt x="32" y="421"/>
                  </a:lnTo>
                  <a:lnTo>
                    <a:pt x="40" y="428"/>
                  </a:lnTo>
                  <a:lnTo>
                    <a:pt x="47" y="433"/>
                  </a:lnTo>
                  <a:lnTo>
                    <a:pt x="55" y="438"/>
                  </a:lnTo>
                  <a:lnTo>
                    <a:pt x="63" y="442"/>
                  </a:lnTo>
                  <a:lnTo>
                    <a:pt x="72" y="446"/>
                  </a:lnTo>
                  <a:lnTo>
                    <a:pt x="80" y="448"/>
                  </a:lnTo>
                  <a:lnTo>
                    <a:pt x="90" y="450"/>
                  </a:lnTo>
                  <a:lnTo>
                    <a:pt x="90" y="496"/>
                  </a:lnTo>
                  <a:lnTo>
                    <a:pt x="91" y="499"/>
                  </a:lnTo>
                  <a:lnTo>
                    <a:pt x="91" y="502"/>
                  </a:lnTo>
                  <a:lnTo>
                    <a:pt x="93" y="505"/>
                  </a:lnTo>
                  <a:lnTo>
                    <a:pt x="94" y="507"/>
                  </a:lnTo>
                  <a:lnTo>
                    <a:pt x="96" y="508"/>
                  </a:lnTo>
                  <a:lnTo>
                    <a:pt x="100" y="510"/>
                  </a:lnTo>
                  <a:lnTo>
                    <a:pt x="102" y="511"/>
                  </a:lnTo>
                  <a:lnTo>
                    <a:pt x="105" y="511"/>
                  </a:lnTo>
                  <a:lnTo>
                    <a:pt x="108" y="511"/>
                  </a:lnTo>
                  <a:lnTo>
                    <a:pt x="111" y="510"/>
                  </a:lnTo>
                  <a:lnTo>
                    <a:pt x="114" y="508"/>
                  </a:lnTo>
                  <a:lnTo>
                    <a:pt x="116" y="507"/>
                  </a:lnTo>
                  <a:lnTo>
                    <a:pt x="118" y="505"/>
                  </a:lnTo>
                  <a:lnTo>
                    <a:pt x="119" y="502"/>
                  </a:lnTo>
                  <a:lnTo>
                    <a:pt x="120" y="499"/>
                  </a:lnTo>
                  <a:lnTo>
                    <a:pt x="120" y="496"/>
                  </a:lnTo>
                  <a:lnTo>
                    <a:pt x="120" y="450"/>
                  </a:lnTo>
                  <a:lnTo>
                    <a:pt x="130" y="448"/>
                  </a:lnTo>
                  <a:lnTo>
                    <a:pt x="139" y="445"/>
                  </a:lnTo>
                  <a:lnTo>
                    <a:pt x="148" y="442"/>
                  </a:lnTo>
                  <a:lnTo>
                    <a:pt x="156" y="437"/>
                  </a:lnTo>
                  <a:lnTo>
                    <a:pt x="164" y="433"/>
                  </a:lnTo>
                  <a:lnTo>
                    <a:pt x="171" y="428"/>
                  </a:lnTo>
                  <a:lnTo>
                    <a:pt x="178" y="421"/>
                  </a:lnTo>
                  <a:lnTo>
                    <a:pt x="184" y="415"/>
                  </a:lnTo>
                  <a:lnTo>
                    <a:pt x="191" y="407"/>
                  </a:lnTo>
                  <a:lnTo>
                    <a:pt x="195" y="400"/>
                  </a:lnTo>
                  <a:lnTo>
                    <a:pt x="200" y="392"/>
                  </a:lnTo>
                  <a:lnTo>
                    <a:pt x="204" y="384"/>
                  </a:lnTo>
                  <a:lnTo>
                    <a:pt x="207" y="374"/>
                  </a:lnTo>
                  <a:lnTo>
                    <a:pt x="209" y="366"/>
                  </a:lnTo>
                  <a:lnTo>
                    <a:pt x="210" y="356"/>
                  </a:lnTo>
                  <a:lnTo>
                    <a:pt x="211" y="346"/>
                  </a:lnTo>
                  <a:lnTo>
                    <a:pt x="210" y="336"/>
                  </a:lnTo>
                  <a:lnTo>
                    <a:pt x="209" y="326"/>
                  </a:lnTo>
                  <a:lnTo>
                    <a:pt x="207" y="317"/>
                  </a:lnTo>
                  <a:lnTo>
                    <a:pt x="204" y="308"/>
                  </a:lnTo>
                  <a:lnTo>
                    <a:pt x="200" y="299"/>
                  </a:lnTo>
                  <a:lnTo>
                    <a:pt x="195" y="292"/>
                  </a:lnTo>
                  <a:lnTo>
                    <a:pt x="191" y="284"/>
                  </a:lnTo>
                  <a:lnTo>
                    <a:pt x="184" y="277"/>
                  </a:lnTo>
                  <a:lnTo>
                    <a:pt x="178" y="270"/>
                  </a:lnTo>
                  <a:lnTo>
                    <a:pt x="171" y="264"/>
                  </a:lnTo>
                  <a:lnTo>
                    <a:pt x="164" y="258"/>
                  </a:lnTo>
                  <a:lnTo>
                    <a:pt x="156" y="254"/>
                  </a:lnTo>
                  <a:lnTo>
                    <a:pt x="148" y="250"/>
                  </a:lnTo>
                  <a:lnTo>
                    <a:pt x="139" y="247"/>
                  </a:lnTo>
                  <a:lnTo>
                    <a:pt x="130" y="243"/>
                  </a:lnTo>
                  <a:lnTo>
                    <a:pt x="120" y="241"/>
                  </a:lnTo>
                  <a:lnTo>
                    <a:pt x="120" y="91"/>
                  </a:lnTo>
                  <a:lnTo>
                    <a:pt x="126" y="94"/>
                  </a:lnTo>
                  <a:lnTo>
                    <a:pt x="133" y="96"/>
                  </a:lnTo>
                  <a:lnTo>
                    <a:pt x="138" y="98"/>
                  </a:lnTo>
                  <a:lnTo>
                    <a:pt x="145" y="101"/>
                  </a:lnTo>
                  <a:lnTo>
                    <a:pt x="154" y="109"/>
                  </a:lnTo>
                  <a:lnTo>
                    <a:pt x="163" y="117"/>
                  </a:lnTo>
                  <a:lnTo>
                    <a:pt x="167" y="122"/>
                  </a:lnTo>
                  <a:lnTo>
                    <a:pt x="170" y="128"/>
                  </a:lnTo>
                  <a:lnTo>
                    <a:pt x="174" y="133"/>
                  </a:lnTo>
                  <a:lnTo>
                    <a:pt x="176" y="140"/>
                  </a:lnTo>
                  <a:lnTo>
                    <a:pt x="178" y="146"/>
                  </a:lnTo>
                  <a:lnTo>
                    <a:pt x="179" y="152"/>
                  </a:lnTo>
                  <a:lnTo>
                    <a:pt x="180" y="159"/>
                  </a:lnTo>
                  <a:lnTo>
                    <a:pt x="180" y="165"/>
                  </a:lnTo>
                  <a:lnTo>
                    <a:pt x="180"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627" name="Freeform 31">
            <a:extLst>
              <a:ext uri="{FF2B5EF4-FFF2-40B4-BE49-F238E27FC236}">
                <a16:creationId xmlns:a16="http://schemas.microsoft.com/office/drawing/2014/main" id="{82E0BDA0-6778-4DFA-82C7-7553407E3FFA}"/>
              </a:ext>
            </a:extLst>
          </p:cNvPr>
          <p:cNvSpPr>
            <a:spLocks noChangeAspect="1" noEditPoints="1"/>
          </p:cNvSpPr>
          <p:nvPr/>
        </p:nvSpPr>
        <p:spPr bwMode="auto">
          <a:xfrm>
            <a:off x="6186633" y="2233311"/>
            <a:ext cx="285619" cy="285619"/>
          </a:xfrm>
          <a:custGeom>
            <a:avLst/>
            <a:gdLst>
              <a:gd name="T0" fmla="*/ 782 w 902"/>
              <a:gd name="T1" fmla="*/ 467 h 903"/>
              <a:gd name="T2" fmla="*/ 737 w 902"/>
              <a:gd name="T3" fmla="*/ 361 h 903"/>
              <a:gd name="T4" fmla="*/ 774 w 902"/>
              <a:gd name="T5" fmla="*/ 261 h 903"/>
              <a:gd name="T6" fmla="*/ 769 w 902"/>
              <a:gd name="T7" fmla="*/ 198 h 903"/>
              <a:gd name="T8" fmla="*/ 746 w 902"/>
              <a:gd name="T9" fmla="*/ 92 h 903"/>
              <a:gd name="T10" fmla="*/ 140 w 902"/>
              <a:gd name="T11" fmla="*/ 98 h 903"/>
              <a:gd name="T12" fmla="*/ 148 w 902"/>
              <a:gd name="T13" fmla="*/ 207 h 903"/>
              <a:gd name="T14" fmla="*/ 121 w 902"/>
              <a:gd name="T15" fmla="*/ 277 h 903"/>
              <a:gd name="T16" fmla="*/ 196 w 902"/>
              <a:gd name="T17" fmla="*/ 692 h 903"/>
              <a:gd name="T18" fmla="*/ 124 w 902"/>
              <a:gd name="T19" fmla="*/ 785 h 903"/>
              <a:gd name="T20" fmla="*/ 403 w 902"/>
              <a:gd name="T21" fmla="*/ 782 h 903"/>
              <a:gd name="T22" fmla="*/ 395 w 902"/>
              <a:gd name="T23" fmla="*/ 726 h 903"/>
              <a:gd name="T24" fmla="*/ 511 w 902"/>
              <a:gd name="T25" fmla="*/ 733 h 903"/>
              <a:gd name="T26" fmla="*/ 406 w 902"/>
              <a:gd name="T27" fmla="*/ 632 h 903"/>
              <a:gd name="T28" fmla="*/ 394 w 902"/>
              <a:gd name="T29" fmla="*/ 578 h 903"/>
              <a:gd name="T30" fmla="*/ 510 w 902"/>
              <a:gd name="T31" fmla="*/ 580 h 903"/>
              <a:gd name="T32" fmla="*/ 406 w 902"/>
              <a:gd name="T33" fmla="*/ 632 h 903"/>
              <a:gd name="T34" fmla="*/ 392 w 902"/>
              <a:gd name="T35" fmla="*/ 129 h 903"/>
              <a:gd name="T36" fmla="*/ 509 w 902"/>
              <a:gd name="T37" fmla="*/ 127 h 903"/>
              <a:gd name="T38" fmla="*/ 496 w 902"/>
              <a:gd name="T39" fmla="*/ 181 h 903"/>
              <a:gd name="T40" fmla="*/ 271 w 902"/>
              <a:gd name="T41" fmla="*/ 169 h 903"/>
              <a:gd name="T42" fmla="*/ 155 w 902"/>
              <a:gd name="T43" fmla="*/ 176 h 903"/>
              <a:gd name="T44" fmla="*/ 163 w 902"/>
              <a:gd name="T45" fmla="*/ 121 h 903"/>
              <a:gd name="T46" fmla="*/ 271 w 902"/>
              <a:gd name="T47" fmla="*/ 316 h 903"/>
              <a:gd name="T48" fmla="*/ 157 w 902"/>
              <a:gd name="T49" fmla="*/ 328 h 903"/>
              <a:gd name="T50" fmla="*/ 160 w 902"/>
              <a:gd name="T51" fmla="*/ 272 h 903"/>
              <a:gd name="T52" fmla="*/ 301 w 902"/>
              <a:gd name="T53" fmla="*/ 767 h 903"/>
              <a:gd name="T54" fmla="*/ 256 w 902"/>
              <a:gd name="T55" fmla="*/ 361 h 903"/>
              <a:gd name="T56" fmla="*/ 294 w 902"/>
              <a:gd name="T57" fmla="*/ 261 h 903"/>
              <a:gd name="T58" fmla="*/ 288 w 902"/>
              <a:gd name="T59" fmla="*/ 198 h 903"/>
              <a:gd name="T60" fmla="*/ 265 w 902"/>
              <a:gd name="T61" fmla="*/ 92 h 903"/>
              <a:gd name="T62" fmla="*/ 364 w 902"/>
              <a:gd name="T63" fmla="*/ 117 h 903"/>
              <a:gd name="T64" fmla="*/ 436 w 902"/>
              <a:gd name="T65" fmla="*/ 211 h 903"/>
              <a:gd name="T66" fmla="*/ 362 w 902"/>
              <a:gd name="T67" fmla="*/ 625 h 903"/>
              <a:gd name="T68" fmla="*/ 389 w 902"/>
              <a:gd name="T69" fmla="*/ 695 h 903"/>
              <a:gd name="T70" fmla="*/ 381 w 902"/>
              <a:gd name="T71" fmla="*/ 804 h 903"/>
              <a:gd name="T72" fmla="*/ 265 w 902"/>
              <a:gd name="T73" fmla="*/ 725 h 903"/>
              <a:gd name="T74" fmla="*/ 261 w 902"/>
              <a:gd name="T75" fmla="*/ 781 h 903"/>
              <a:gd name="T76" fmla="*/ 151 w 902"/>
              <a:gd name="T77" fmla="*/ 737 h 903"/>
              <a:gd name="T78" fmla="*/ 641 w 902"/>
              <a:gd name="T79" fmla="*/ 480 h 903"/>
              <a:gd name="T80" fmla="*/ 638 w 902"/>
              <a:gd name="T81" fmla="*/ 424 h 903"/>
              <a:gd name="T82" fmla="*/ 752 w 902"/>
              <a:gd name="T83" fmla="*/ 437 h 903"/>
              <a:gd name="T84" fmla="*/ 644 w 902"/>
              <a:gd name="T85" fmla="*/ 331 h 903"/>
              <a:gd name="T86" fmla="*/ 636 w 902"/>
              <a:gd name="T87" fmla="*/ 275 h 903"/>
              <a:gd name="T88" fmla="*/ 752 w 902"/>
              <a:gd name="T89" fmla="*/ 282 h 903"/>
              <a:gd name="T90" fmla="*/ 647 w 902"/>
              <a:gd name="T91" fmla="*/ 91 h 903"/>
              <a:gd name="T92" fmla="*/ 610 w 902"/>
              <a:gd name="T93" fmla="*/ 190 h 903"/>
              <a:gd name="T94" fmla="*/ 615 w 902"/>
              <a:gd name="T95" fmla="*/ 253 h 903"/>
              <a:gd name="T96" fmla="*/ 637 w 902"/>
              <a:gd name="T97" fmla="*/ 360 h 903"/>
              <a:gd name="T98" fmla="*/ 602 w 902"/>
              <a:gd name="T99" fmla="*/ 437 h 903"/>
              <a:gd name="T100" fmla="*/ 466 w 902"/>
              <a:gd name="T101" fmla="*/ 872 h 903"/>
              <a:gd name="T102" fmla="*/ 541 w 902"/>
              <a:gd name="T103" fmla="*/ 728 h 903"/>
              <a:gd name="T104" fmla="*/ 514 w 902"/>
              <a:gd name="T105" fmla="*/ 658 h 903"/>
              <a:gd name="T106" fmla="*/ 522 w 902"/>
              <a:gd name="T107" fmla="*/ 549 h 903"/>
              <a:gd name="T108" fmla="*/ 538 w 902"/>
              <a:gd name="T109" fmla="*/ 183 h 903"/>
              <a:gd name="T110" fmla="*/ 466 w 902"/>
              <a:gd name="T111" fmla="*/ 91 h 903"/>
              <a:gd name="T112" fmla="*/ 632 w 902"/>
              <a:gd name="T113" fmla="*/ 169 h 903"/>
              <a:gd name="T114" fmla="*/ 740 w 902"/>
              <a:gd name="T115" fmla="*/ 121 h 903"/>
              <a:gd name="T116" fmla="*/ 748 w 902"/>
              <a:gd name="T117" fmla="*/ 176 h 903"/>
              <a:gd name="T118" fmla="*/ 3 w 902"/>
              <a:gd name="T119" fmla="*/ 7 h 903"/>
              <a:gd name="T120" fmla="*/ 15 w 902"/>
              <a:gd name="T121" fmla="*/ 903 h 903"/>
              <a:gd name="T122" fmla="*/ 901 w 902"/>
              <a:gd name="T123" fmla="*/ 9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903">
                <a:moveTo>
                  <a:pt x="872" y="872"/>
                </a:moveTo>
                <a:lnTo>
                  <a:pt x="707" y="872"/>
                </a:lnTo>
                <a:lnTo>
                  <a:pt x="707" y="512"/>
                </a:lnTo>
                <a:lnTo>
                  <a:pt x="737" y="512"/>
                </a:lnTo>
                <a:lnTo>
                  <a:pt x="746" y="511"/>
                </a:lnTo>
                <a:lnTo>
                  <a:pt x="754" y="507"/>
                </a:lnTo>
                <a:lnTo>
                  <a:pt x="762" y="503"/>
                </a:lnTo>
                <a:lnTo>
                  <a:pt x="769" y="498"/>
                </a:lnTo>
                <a:lnTo>
                  <a:pt x="774" y="491"/>
                </a:lnTo>
                <a:lnTo>
                  <a:pt x="779" y="484"/>
                </a:lnTo>
                <a:lnTo>
                  <a:pt x="781" y="475"/>
                </a:lnTo>
                <a:lnTo>
                  <a:pt x="782" y="467"/>
                </a:lnTo>
                <a:lnTo>
                  <a:pt x="782" y="436"/>
                </a:lnTo>
                <a:lnTo>
                  <a:pt x="781" y="427"/>
                </a:lnTo>
                <a:lnTo>
                  <a:pt x="779" y="418"/>
                </a:lnTo>
                <a:lnTo>
                  <a:pt x="774" y="411"/>
                </a:lnTo>
                <a:lnTo>
                  <a:pt x="769" y="405"/>
                </a:lnTo>
                <a:lnTo>
                  <a:pt x="762" y="399"/>
                </a:lnTo>
                <a:lnTo>
                  <a:pt x="754" y="395"/>
                </a:lnTo>
                <a:lnTo>
                  <a:pt x="746" y="392"/>
                </a:lnTo>
                <a:lnTo>
                  <a:pt x="737" y="391"/>
                </a:lnTo>
                <a:lnTo>
                  <a:pt x="707" y="391"/>
                </a:lnTo>
                <a:lnTo>
                  <a:pt x="707" y="361"/>
                </a:lnTo>
                <a:lnTo>
                  <a:pt x="737" y="361"/>
                </a:lnTo>
                <a:lnTo>
                  <a:pt x="746" y="360"/>
                </a:lnTo>
                <a:lnTo>
                  <a:pt x="754" y="357"/>
                </a:lnTo>
                <a:lnTo>
                  <a:pt x="762" y="353"/>
                </a:lnTo>
                <a:lnTo>
                  <a:pt x="769" y="348"/>
                </a:lnTo>
                <a:lnTo>
                  <a:pt x="774" y="341"/>
                </a:lnTo>
                <a:lnTo>
                  <a:pt x="779" y="334"/>
                </a:lnTo>
                <a:lnTo>
                  <a:pt x="781" y="325"/>
                </a:lnTo>
                <a:lnTo>
                  <a:pt x="782" y="316"/>
                </a:lnTo>
                <a:lnTo>
                  <a:pt x="782" y="286"/>
                </a:lnTo>
                <a:lnTo>
                  <a:pt x="781" y="277"/>
                </a:lnTo>
                <a:lnTo>
                  <a:pt x="779" y="268"/>
                </a:lnTo>
                <a:lnTo>
                  <a:pt x="774" y="261"/>
                </a:lnTo>
                <a:lnTo>
                  <a:pt x="769" y="253"/>
                </a:lnTo>
                <a:lnTo>
                  <a:pt x="762" y="248"/>
                </a:lnTo>
                <a:lnTo>
                  <a:pt x="754" y="244"/>
                </a:lnTo>
                <a:lnTo>
                  <a:pt x="746" y="242"/>
                </a:lnTo>
                <a:lnTo>
                  <a:pt x="737" y="241"/>
                </a:lnTo>
                <a:lnTo>
                  <a:pt x="707" y="241"/>
                </a:lnTo>
                <a:lnTo>
                  <a:pt x="707" y="211"/>
                </a:lnTo>
                <a:lnTo>
                  <a:pt x="737" y="211"/>
                </a:lnTo>
                <a:lnTo>
                  <a:pt x="746" y="210"/>
                </a:lnTo>
                <a:lnTo>
                  <a:pt x="754" y="207"/>
                </a:lnTo>
                <a:lnTo>
                  <a:pt x="762" y="203"/>
                </a:lnTo>
                <a:lnTo>
                  <a:pt x="769" y="198"/>
                </a:lnTo>
                <a:lnTo>
                  <a:pt x="774" y="190"/>
                </a:lnTo>
                <a:lnTo>
                  <a:pt x="779" y="183"/>
                </a:lnTo>
                <a:lnTo>
                  <a:pt x="781" y="174"/>
                </a:lnTo>
                <a:lnTo>
                  <a:pt x="782" y="166"/>
                </a:lnTo>
                <a:lnTo>
                  <a:pt x="782" y="136"/>
                </a:lnTo>
                <a:lnTo>
                  <a:pt x="781" y="126"/>
                </a:lnTo>
                <a:lnTo>
                  <a:pt x="779" y="117"/>
                </a:lnTo>
                <a:lnTo>
                  <a:pt x="774" y="110"/>
                </a:lnTo>
                <a:lnTo>
                  <a:pt x="769" y="104"/>
                </a:lnTo>
                <a:lnTo>
                  <a:pt x="762" y="98"/>
                </a:lnTo>
                <a:lnTo>
                  <a:pt x="754" y="94"/>
                </a:lnTo>
                <a:lnTo>
                  <a:pt x="746" y="92"/>
                </a:lnTo>
                <a:lnTo>
                  <a:pt x="737" y="91"/>
                </a:lnTo>
                <a:lnTo>
                  <a:pt x="707" y="91"/>
                </a:lnTo>
                <a:lnTo>
                  <a:pt x="707" y="30"/>
                </a:lnTo>
                <a:lnTo>
                  <a:pt x="872" y="30"/>
                </a:lnTo>
                <a:lnTo>
                  <a:pt x="872" y="872"/>
                </a:lnTo>
                <a:close/>
                <a:moveTo>
                  <a:pt x="30" y="30"/>
                </a:moveTo>
                <a:lnTo>
                  <a:pt x="196" y="30"/>
                </a:lnTo>
                <a:lnTo>
                  <a:pt x="196" y="91"/>
                </a:lnTo>
                <a:lnTo>
                  <a:pt x="166" y="91"/>
                </a:lnTo>
                <a:lnTo>
                  <a:pt x="156" y="92"/>
                </a:lnTo>
                <a:lnTo>
                  <a:pt x="148" y="94"/>
                </a:lnTo>
                <a:lnTo>
                  <a:pt x="140" y="98"/>
                </a:lnTo>
                <a:lnTo>
                  <a:pt x="134" y="104"/>
                </a:lnTo>
                <a:lnTo>
                  <a:pt x="129" y="110"/>
                </a:lnTo>
                <a:lnTo>
                  <a:pt x="124" y="117"/>
                </a:lnTo>
                <a:lnTo>
                  <a:pt x="121" y="126"/>
                </a:lnTo>
                <a:lnTo>
                  <a:pt x="121" y="136"/>
                </a:lnTo>
                <a:lnTo>
                  <a:pt x="121" y="166"/>
                </a:lnTo>
                <a:lnTo>
                  <a:pt x="121" y="174"/>
                </a:lnTo>
                <a:lnTo>
                  <a:pt x="124" y="183"/>
                </a:lnTo>
                <a:lnTo>
                  <a:pt x="129" y="190"/>
                </a:lnTo>
                <a:lnTo>
                  <a:pt x="134" y="198"/>
                </a:lnTo>
                <a:lnTo>
                  <a:pt x="140" y="203"/>
                </a:lnTo>
                <a:lnTo>
                  <a:pt x="148" y="207"/>
                </a:lnTo>
                <a:lnTo>
                  <a:pt x="156" y="210"/>
                </a:lnTo>
                <a:lnTo>
                  <a:pt x="166" y="211"/>
                </a:lnTo>
                <a:lnTo>
                  <a:pt x="196" y="211"/>
                </a:lnTo>
                <a:lnTo>
                  <a:pt x="196" y="241"/>
                </a:lnTo>
                <a:lnTo>
                  <a:pt x="166" y="241"/>
                </a:lnTo>
                <a:lnTo>
                  <a:pt x="156" y="242"/>
                </a:lnTo>
                <a:lnTo>
                  <a:pt x="148" y="244"/>
                </a:lnTo>
                <a:lnTo>
                  <a:pt x="140" y="248"/>
                </a:lnTo>
                <a:lnTo>
                  <a:pt x="134" y="253"/>
                </a:lnTo>
                <a:lnTo>
                  <a:pt x="129" y="261"/>
                </a:lnTo>
                <a:lnTo>
                  <a:pt x="124" y="268"/>
                </a:lnTo>
                <a:lnTo>
                  <a:pt x="121" y="277"/>
                </a:lnTo>
                <a:lnTo>
                  <a:pt x="121" y="286"/>
                </a:lnTo>
                <a:lnTo>
                  <a:pt x="121" y="316"/>
                </a:lnTo>
                <a:lnTo>
                  <a:pt x="121" y="325"/>
                </a:lnTo>
                <a:lnTo>
                  <a:pt x="124" y="334"/>
                </a:lnTo>
                <a:lnTo>
                  <a:pt x="129" y="341"/>
                </a:lnTo>
                <a:lnTo>
                  <a:pt x="134" y="348"/>
                </a:lnTo>
                <a:lnTo>
                  <a:pt x="140" y="353"/>
                </a:lnTo>
                <a:lnTo>
                  <a:pt x="148" y="357"/>
                </a:lnTo>
                <a:lnTo>
                  <a:pt x="156" y="360"/>
                </a:lnTo>
                <a:lnTo>
                  <a:pt x="166" y="361"/>
                </a:lnTo>
                <a:lnTo>
                  <a:pt x="196" y="361"/>
                </a:lnTo>
                <a:lnTo>
                  <a:pt x="196" y="692"/>
                </a:lnTo>
                <a:lnTo>
                  <a:pt x="166" y="692"/>
                </a:lnTo>
                <a:lnTo>
                  <a:pt x="156" y="693"/>
                </a:lnTo>
                <a:lnTo>
                  <a:pt x="148" y="695"/>
                </a:lnTo>
                <a:lnTo>
                  <a:pt x="140" y="699"/>
                </a:lnTo>
                <a:lnTo>
                  <a:pt x="134" y="704"/>
                </a:lnTo>
                <a:lnTo>
                  <a:pt x="129" y="712"/>
                </a:lnTo>
                <a:lnTo>
                  <a:pt x="124" y="719"/>
                </a:lnTo>
                <a:lnTo>
                  <a:pt x="121" y="728"/>
                </a:lnTo>
                <a:lnTo>
                  <a:pt x="121" y="737"/>
                </a:lnTo>
                <a:lnTo>
                  <a:pt x="121" y="767"/>
                </a:lnTo>
                <a:lnTo>
                  <a:pt x="121" y="776"/>
                </a:lnTo>
                <a:lnTo>
                  <a:pt x="124" y="785"/>
                </a:lnTo>
                <a:lnTo>
                  <a:pt x="129" y="792"/>
                </a:lnTo>
                <a:lnTo>
                  <a:pt x="134" y="799"/>
                </a:lnTo>
                <a:lnTo>
                  <a:pt x="140" y="804"/>
                </a:lnTo>
                <a:lnTo>
                  <a:pt x="148" y="808"/>
                </a:lnTo>
                <a:lnTo>
                  <a:pt x="156" y="812"/>
                </a:lnTo>
                <a:lnTo>
                  <a:pt x="166" y="812"/>
                </a:lnTo>
                <a:lnTo>
                  <a:pt x="196" y="812"/>
                </a:lnTo>
                <a:lnTo>
                  <a:pt x="196" y="872"/>
                </a:lnTo>
                <a:lnTo>
                  <a:pt x="30" y="872"/>
                </a:lnTo>
                <a:lnTo>
                  <a:pt x="30" y="30"/>
                </a:lnTo>
                <a:close/>
                <a:moveTo>
                  <a:pt x="406" y="782"/>
                </a:moveTo>
                <a:lnTo>
                  <a:pt x="403" y="782"/>
                </a:lnTo>
                <a:lnTo>
                  <a:pt x="401" y="781"/>
                </a:lnTo>
                <a:lnTo>
                  <a:pt x="397" y="779"/>
                </a:lnTo>
                <a:lnTo>
                  <a:pt x="395" y="777"/>
                </a:lnTo>
                <a:lnTo>
                  <a:pt x="394" y="775"/>
                </a:lnTo>
                <a:lnTo>
                  <a:pt x="392" y="773"/>
                </a:lnTo>
                <a:lnTo>
                  <a:pt x="391" y="770"/>
                </a:lnTo>
                <a:lnTo>
                  <a:pt x="391" y="767"/>
                </a:lnTo>
                <a:lnTo>
                  <a:pt x="391" y="737"/>
                </a:lnTo>
                <a:lnTo>
                  <a:pt x="391" y="733"/>
                </a:lnTo>
                <a:lnTo>
                  <a:pt x="392" y="731"/>
                </a:lnTo>
                <a:lnTo>
                  <a:pt x="394" y="728"/>
                </a:lnTo>
                <a:lnTo>
                  <a:pt x="395" y="726"/>
                </a:lnTo>
                <a:lnTo>
                  <a:pt x="397" y="725"/>
                </a:lnTo>
                <a:lnTo>
                  <a:pt x="401" y="723"/>
                </a:lnTo>
                <a:lnTo>
                  <a:pt x="403" y="722"/>
                </a:lnTo>
                <a:lnTo>
                  <a:pt x="406" y="722"/>
                </a:lnTo>
                <a:lnTo>
                  <a:pt x="496" y="722"/>
                </a:lnTo>
                <a:lnTo>
                  <a:pt x="499" y="722"/>
                </a:lnTo>
                <a:lnTo>
                  <a:pt x="502" y="723"/>
                </a:lnTo>
                <a:lnTo>
                  <a:pt x="505" y="725"/>
                </a:lnTo>
                <a:lnTo>
                  <a:pt x="507" y="726"/>
                </a:lnTo>
                <a:lnTo>
                  <a:pt x="509" y="728"/>
                </a:lnTo>
                <a:lnTo>
                  <a:pt x="510" y="731"/>
                </a:lnTo>
                <a:lnTo>
                  <a:pt x="511" y="733"/>
                </a:lnTo>
                <a:lnTo>
                  <a:pt x="511" y="737"/>
                </a:lnTo>
                <a:lnTo>
                  <a:pt x="511" y="767"/>
                </a:lnTo>
                <a:lnTo>
                  <a:pt x="511" y="770"/>
                </a:lnTo>
                <a:lnTo>
                  <a:pt x="510" y="773"/>
                </a:lnTo>
                <a:lnTo>
                  <a:pt x="509" y="775"/>
                </a:lnTo>
                <a:lnTo>
                  <a:pt x="507" y="777"/>
                </a:lnTo>
                <a:lnTo>
                  <a:pt x="505" y="779"/>
                </a:lnTo>
                <a:lnTo>
                  <a:pt x="502" y="781"/>
                </a:lnTo>
                <a:lnTo>
                  <a:pt x="499" y="782"/>
                </a:lnTo>
                <a:lnTo>
                  <a:pt x="496" y="782"/>
                </a:lnTo>
                <a:lnTo>
                  <a:pt x="406" y="782"/>
                </a:lnTo>
                <a:close/>
                <a:moveTo>
                  <a:pt x="406" y="632"/>
                </a:moveTo>
                <a:lnTo>
                  <a:pt x="403" y="632"/>
                </a:lnTo>
                <a:lnTo>
                  <a:pt x="401" y="631"/>
                </a:lnTo>
                <a:lnTo>
                  <a:pt x="397" y="629"/>
                </a:lnTo>
                <a:lnTo>
                  <a:pt x="395" y="627"/>
                </a:lnTo>
                <a:lnTo>
                  <a:pt x="394" y="625"/>
                </a:lnTo>
                <a:lnTo>
                  <a:pt x="392" y="622"/>
                </a:lnTo>
                <a:lnTo>
                  <a:pt x="391" y="620"/>
                </a:lnTo>
                <a:lnTo>
                  <a:pt x="391" y="617"/>
                </a:lnTo>
                <a:lnTo>
                  <a:pt x="391" y="587"/>
                </a:lnTo>
                <a:lnTo>
                  <a:pt x="391" y="583"/>
                </a:lnTo>
                <a:lnTo>
                  <a:pt x="392" y="580"/>
                </a:lnTo>
                <a:lnTo>
                  <a:pt x="394" y="578"/>
                </a:lnTo>
                <a:lnTo>
                  <a:pt x="395" y="576"/>
                </a:lnTo>
                <a:lnTo>
                  <a:pt x="397" y="574"/>
                </a:lnTo>
                <a:lnTo>
                  <a:pt x="401" y="573"/>
                </a:lnTo>
                <a:lnTo>
                  <a:pt x="403" y="572"/>
                </a:lnTo>
                <a:lnTo>
                  <a:pt x="406" y="572"/>
                </a:lnTo>
                <a:lnTo>
                  <a:pt x="496" y="572"/>
                </a:lnTo>
                <a:lnTo>
                  <a:pt x="499" y="572"/>
                </a:lnTo>
                <a:lnTo>
                  <a:pt x="502" y="573"/>
                </a:lnTo>
                <a:lnTo>
                  <a:pt x="505" y="574"/>
                </a:lnTo>
                <a:lnTo>
                  <a:pt x="507" y="576"/>
                </a:lnTo>
                <a:lnTo>
                  <a:pt x="509" y="578"/>
                </a:lnTo>
                <a:lnTo>
                  <a:pt x="510" y="580"/>
                </a:lnTo>
                <a:lnTo>
                  <a:pt x="511" y="583"/>
                </a:lnTo>
                <a:lnTo>
                  <a:pt x="511" y="587"/>
                </a:lnTo>
                <a:lnTo>
                  <a:pt x="511" y="617"/>
                </a:lnTo>
                <a:lnTo>
                  <a:pt x="511" y="620"/>
                </a:lnTo>
                <a:lnTo>
                  <a:pt x="510" y="622"/>
                </a:lnTo>
                <a:lnTo>
                  <a:pt x="509" y="625"/>
                </a:lnTo>
                <a:lnTo>
                  <a:pt x="507" y="627"/>
                </a:lnTo>
                <a:lnTo>
                  <a:pt x="505" y="629"/>
                </a:lnTo>
                <a:lnTo>
                  <a:pt x="502" y="631"/>
                </a:lnTo>
                <a:lnTo>
                  <a:pt x="499" y="632"/>
                </a:lnTo>
                <a:lnTo>
                  <a:pt x="496" y="632"/>
                </a:lnTo>
                <a:lnTo>
                  <a:pt x="406" y="632"/>
                </a:lnTo>
                <a:close/>
                <a:moveTo>
                  <a:pt x="406" y="181"/>
                </a:moveTo>
                <a:lnTo>
                  <a:pt x="403" y="181"/>
                </a:lnTo>
                <a:lnTo>
                  <a:pt x="401" y="180"/>
                </a:lnTo>
                <a:lnTo>
                  <a:pt x="397" y="179"/>
                </a:lnTo>
                <a:lnTo>
                  <a:pt x="395" y="176"/>
                </a:lnTo>
                <a:lnTo>
                  <a:pt x="394" y="174"/>
                </a:lnTo>
                <a:lnTo>
                  <a:pt x="392" y="171"/>
                </a:lnTo>
                <a:lnTo>
                  <a:pt x="391" y="169"/>
                </a:lnTo>
                <a:lnTo>
                  <a:pt x="391" y="166"/>
                </a:lnTo>
                <a:lnTo>
                  <a:pt x="391" y="136"/>
                </a:lnTo>
                <a:lnTo>
                  <a:pt x="391" y="132"/>
                </a:lnTo>
                <a:lnTo>
                  <a:pt x="392" y="129"/>
                </a:lnTo>
                <a:lnTo>
                  <a:pt x="394" y="127"/>
                </a:lnTo>
                <a:lnTo>
                  <a:pt x="395" y="125"/>
                </a:lnTo>
                <a:lnTo>
                  <a:pt x="397" y="123"/>
                </a:lnTo>
                <a:lnTo>
                  <a:pt x="401" y="122"/>
                </a:lnTo>
                <a:lnTo>
                  <a:pt x="403" y="121"/>
                </a:lnTo>
                <a:lnTo>
                  <a:pt x="406" y="121"/>
                </a:lnTo>
                <a:lnTo>
                  <a:pt x="496" y="121"/>
                </a:lnTo>
                <a:lnTo>
                  <a:pt x="499" y="121"/>
                </a:lnTo>
                <a:lnTo>
                  <a:pt x="502" y="122"/>
                </a:lnTo>
                <a:lnTo>
                  <a:pt x="505" y="123"/>
                </a:lnTo>
                <a:lnTo>
                  <a:pt x="507" y="125"/>
                </a:lnTo>
                <a:lnTo>
                  <a:pt x="509" y="127"/>
                </a:lnTo>
                <a:lnTo>
                  <a:pt x="510" y="129"/>
                </a:lnTo>
                <a:lnTo>
                  <a:pt x="511" y="132"/>
                </a:lnTo>
                <a:lnTo>
                  <a:pt x="511" y="136"/>
                </a:lnTo>
                <a:lnTo>
                  <a:pt x="511" y="166"/>
                </a:lnTo>
                <a:lnTo>
                  <a:pt x="511" y="169"/>
                </a:lnTo>
                <a:lnTo>
                  <a:pt x="510" y="171"/>
                </a:lnTo>
                <a:lnTo>
                  <a:pt x="509" y="174"/>
                </a:lnTo>
                <a:lnTo>
                  <a:pt x="507" y="176"/>
                </a:lnTo>
                <a:lnTo>
                  <a:pt x="505" y="177"/>
                </a:lnTo>
                <a:lnTo>
                  <a:pt x="502" y="180"/>
                </a:lnTo>
                <a:lnTo>
                  <a:pt x="499" y="181"/>
                </a:lnTo>
                <a:lnTo>
                  <a:pt x="496" y="181"/>
                </a:lnTo>
                <a:lnTo>
                  <a:pt x="406" y="181"/>
                </a:lnTo>
                <a:close/>
                <a:moveTo>
                  <a:pt x="256" y="121"/>
                </a:moveTo>
                <a:lnTo>
                  <a:pt x="259" y="121"/>
                </a:lnTo>
                <a:lnTo>
                  <a:pt x="261" y="122"/>
                </a:lnTo>
                <a:lnTo>
                  <a:pt x="265" y="123"/>
                </a:lnTo>
                <a:lnTo>
                  <a:pt x="267" y="125"/>
                </a:lnTo>
                <a:lnTo>
                  <a:pt x="268" y="127"/>
                </a:lnTo>
                <a:lnTo>
                  <a:pt x="270" y="129"/>
                </a:lnTo>
                <a:lnTo>
                  <a:pt x="271" y="132"/>
                </a:lnTo>
                <a:lnTo>
                  <a:pt x="271" y="136"/>
                </a:lnTo>
                <a:lnTo>
                  <a:pt x="271" y="166"/>
                </a:lnTo>
                <a:lnTo>
                  <a:pt x="271" y="169"/>
                </a:lnTo>
                <a:lnTo>
                  <a:pt x="270" y="171"/>
                </a:lnTo>
                <a:lnTo>
                  <a:pt x="268" y="174"/>
                </a:lnTo>
                <a:lnTo>
                  <a:pt x="267" y="176"/>
                </a:lnTo>
                <a:lnTo>
                  <a:pt x="265" y="177"/>
                </a:lnTo>
                <a:lnTo>
                  <a:pt x="261" y="180"/>
                </a:lnTo>
                <a:lnTo>
                  <a:pt x="259" y="181"/>
                </a:lnTo>
                <a:lnTo>
                  <a:pt x="256" y="181"/>
                </a:lnTo>
                <a:lnTo>
                  <a:pt x="166" y="181"/>
                </a:lnTo>
                <a:lnTo>
                  <a:pt x="163" y="181"/>
                </a:lnTo>
                <a:lnTo>
                  <a:pt x="160" y="180"/>
                </a:lnTo>
                <a:lnTo>
                  <a:pt x="157" y="179"/>
                </a:lnTo>
                <a:lnTo>
                  <a:pt x="155" y="176"/>
                </a:lnTo>
                <a:lnTo>
                  <a:pt x="153" y="174"/>
                </a:lnTo>
                <a:lnTo>
                  <a:pt x="152" y="171"/>
                </a:lnTo>
                <a:lnTo>
                  <a:pt x="151" y="169"/>
                </a:lnTo>
                <a:lnTo>
                  <a:pt x="151" y="166"/>
                </a:lnTo>
                <a:lnTo>
                  <a:pt x="151" y="136"/>
                </a:lnTo>
                <a:lnTo>
                  <a:pt x="151" y="132"/>
                </a:lnTo>
                <a:lnTo>
                  <a:pt x="152" y="129"/>
                </a:lnTo>
                <a:lnTo>
                  <a:pt x="153" y="127"/>
                </a:lnTo>
                <a:lnTo>
                  <a:pt x="155" y="125"/>
                </a:lnTo>
                <a:lnTo>
                  <a:pt x="157" y="123"/>
                </a:lnTo>
                <a:lnTo>
                  <a:pt x="160" y="122"/>
                </a:lnTo>
                <a:lnTo>
                  <a:pt x="163" y="121"/>
                </a:lnTo>
                <a:lnTo>
                  <a:pt x="166" y="121"/>
                </a:lnTo>
                <a:lnTo>
                  <a:pt x="256" y="121"/>
                </a:lnTo>
                <a:close/>
                <a:moveTo>
                  <a:pt x="256" y="271"/>
                </a:moveTo>
                <a:lnTo>
                  <a:pt x="259" y="271"/>
                </a:lnTo>
                <a:lnTo>
                  <a:pt x="261" y="272"/>
                </a:lnTo>
                <a:lnTo>
                  <a:pt x="265" y="273"/>
                </a:lnTo>
                <a:lnTo>
                  <a:pt x="267" y="275"/>
                </a:lnTo>
                <a:lnTo>
                  <a:pt x="268" y="277"/>
                </a:lnTo>
                <a:lnTo>
                  <a:pt x="270" y="280"/>
                </a:lnTo>
                <a:lnTo>
                  <a:pt x="271" y="282"/>
                </a:lnTo>
                <a:lnTo>
                  <a:pt x="271" y="286"/>
                </a:lnTo>
                <a:lnTo>
                  <a:pt x="271" y="316"/>
                </a:lnTo>
                <a:lnTo>
                  <a:pt x="271" y="319"/>
                </a:lnTo>
                <a:lnTo>
                  <a:pt x="270" y="322"/>
                </a:lnTo>
                <a:lnTo>
                  <a:pt x="268" y="324"/>
                </a:lnTo>
                <a:lnTo>
                  <a:pt x="267" y="326"/>
                </a:lnTo>
                <a:lnTo>
                  <a:pt x="265" y="328"/>
                </a:lnTo>
                <a:lnTo>
                  <a:pt x="261" y="330"/>
                </a:lnTo>
                <a:lnTo>
                  <a:pt x="259" y="331"/>
                </a:lnTo>
                <a:lnTo>
                  <a:pt x="256" y="331"/>
                </a:lnTo>
                <a:lnTo>
                  <a:pt x="166" y="331"/>
                </a:lnTo>
                <a:lnTo>
                  <a:pt x="163" y="331"/>
                </a:lnTo>
                <a:lnTo>
                  <a:pt x="160" y="330"/>
                </a:lnTo>
                <a:lnTo>
                  <a:pt x="157" y="328"/>
                </a:lnTo>
                <a:lnTo>
                  <a:pt x="155" y="326"/>
                </a:lnTo>
                <a:lnTo>
                  <a:pt x="153" y="324"/>
                </a:lnTo>
                <a:lnTo>
                  <a:pt x="152" y="322"/>
                </a:lnTo>
                <a:lnTo>
                  <a:pt x="151" y="319"/>
                </a:lnTo>
                <a:lnTo>
                  <a:pt x="151" y="316"/>
                </a:lnTo>
                <a:lnTo>
                  <a:pt x="151" y="286"/>
                </a:lnTo>
                <a:lnTo>
                  <a:pt x="151" y="282"/>
                </a:lnTo>
                <a:lnTo>
                  <a:pt x="152" y="280"/>
                </a:lnTo>
                <a:lnTo>
                  <a:pt x="153" y="277"/>
                </a:lnTo>
                <a:lnTo>
                  <a:pt x="155" y="275"/>
                </a:lnTo>
                <a:lnTo>
                  <a:pt x="157" y="273"/>
                </a:lnTo>
                <a:lnTo>
                  <a:pt x="160" y="272"/>
                </a:lnTo>
                <a:lnTo>
                  <a:pt x="163" y="271"/>
                </a:lnTo>
                <a:lnTo>
                  <a:pt x="166" y="271"/>
                </a:lnTo>
                <a:lnTo>
                  <a:pt x="256" y="271"/>
                </a:lnTo>
                <a:close/>
                <a:moveTo>
                  <a:pt x="256" y="812"/>
                </a:moveTo>
                <a:lnTo>
                  <a:pt x="265" y="811"/>
                </a:lnTo>
                <a:lnTo>
                  <a:pt x="273" y="808"/>
                </a:lnTo>
                <a:lnTo>
                  <a:pt x="281" y="804"/>
                </a:lnTo>
                <a:lnTo>
                  <a:pt x="288" y="799"/>
                </a:lnTo>
                <a:lnTo>
                  <a:pt x="294" y="792"/>
                </a:lnTo>
                <a:lnTo>
                  <a:pt x="298" y="785"/>
                </a:lnTo>
                <a:lnTo>
                  <a:pt x="300" y="776"/>
                </a:lnTo>
                <a:lnTo>
                  <a:pt x="301" y="767"/>
                </a:lnTo>
                <a:lnTo>
                  <a:pt x="301" y="737"/>
                </a:lnTo>
                <a:lnTo>
                  <a:pt x="300" y="728"/>
                </a:lnTo>
                <a:lnTo>
                  <a:pt x="298" y="719"/>
                </a:lnTo>
                <a:lnTo>
                  <a:pt x="294" y="712"/>
                </a:lnTo>
                <a:lnTo>
                  <a:pt x="288" y="704"/>
                </a:lnTo>
                <a:lnTo>
                  <a:pt x="281" y="699"/>
                </a:lnTo>
                <a:lnTo>
                  <a:pt x="273" y="695"/>
                </a:lnTo>
                <a:lnTo>
                  <a:pt x="265" y="693"/>
                </a:lnTo>
                <a:lnTo>
                  <a:pt x="256" y="692"/>
                </a:lnTo>
                <a:lnTo>
                  <a:pt x="226" y="692"/>
                </a:lnTo>
                <a:lnTo>
                  <a:pt x="226" y="361"/>
                </a:lnTo>
                <a:lnTo>
                  <a:pt x="256" y="361"/>
                </a:lnTo>
                <a:lnTo>
                  <a:pt x="265" y="360"/>
                </a:lnTo>
                <a:lnTo>
                  <a:pt x="273" y="357"/>
                </a:lnTo>
                <a:lnTo>
                  <a:pt x="281" y="353"/>
                </a:lnTo>
                <a:lnTo>
                  <a:pt x="288" y="348"/>
                </a:lnTo>
                <a:lnTo>
                  <a:pt x="294" y="341"/>
                </a:lnTo>
                <a:lnTo>
                  <a:pt x="298" y="334"/>
                </a:lnTo>
                <a:lnTo>
                  <a:pt x="300" y="325"/>
                </a:lnTo>
                <a:lnTo>
                  <a:pt x="301" y="316"/>
                </a:lnTo>
                <a:lnTo>
                  <a:pt x="301" y="286"/>
                </a:lnTo>
                <a:lnTo>
                  <a:pt x="300" y="277"/>
                </a:lnTo>
                <a:lnTo>
                  <a:pt x="298" y="268"/>
                </a:lnTo>
                <a:lnTo>
                  <a:pt x="294" y="261"/>
                </a:lnTo>
                <a:lnTo>
                  <a:pt x="288" y="253"/>
                </a:lnTo>
                <a:lnTo>
                  <a:pt x="281" y="248"/>
                </a:lnTo>
                <a:lnTo>
                  <a:pt x="273" y="244"/>
                </a:lnTo>
                <a:lnTo>
                  <a:pt x="265" y="242"/>
                </a:lnTo>
                <a:lnTo>
                  <a:pt x="256" y="241"/>
                </a:lnTo>
                <a:lnTo>
                  <a:pt x="226" y="241"/>
                </a:lnTo>
                <a:lnTo>
                  <a:pt x="226" y="211"/>
                </a:lnTo>
                <a:lnTo>
                  <a:pt x="256" y="211"/>
                </a:lnTo>
                <a:lnTo>
                  <a:pt x="265" y="210"/>
                </a:lnTo>
                <a:lnTo>
                  <a:pt x="273" y="207"/>
                </a:lnTo>
                <a:lnTo>
                  <a:pt x="281" y="203"/>
                </a:lnTo>
                <a:lnTo>
                  <a:pt x="288" y="198"/>
                </a:lnTo>
                <a:lnTo>
                  <a:pt x="294" y="190"/>
                </a:lnTo>
                <a:lnTo>
                  <a:pt x="298" y="183"/>
                </a:lnTo>
                <a:lnTo>
                  <a:pt x="300" y="174"/>
                </a:lnTo>
                <a:lnTo>
                  <a:pt x="301" y="166"/>
                </a:lnTo>
                <a:lnTo>
                  <a:pt x="301" y="136"/>
                </a:lnTo>
                <a:lnTo>
                  <a:pt x="300" y="126"/>
                </a:lnTo>
                <a:lnTo>
                  <a:pt x="298" y="117"/>
                </a:lnTo>
                <a:lnTo>
                  <a:pt x="294" y="110"/>
                </a:lnTo>
                <a:lnTo>
                  <a:pt x="288" y="104"/>
                </a:lnTo>
                <a:lnTo>
                  <a:pt x="281" y="98"/>
                </a:lnTo>
                <a:lnTo>
                  <a:pt x="273" y="94"/>
                </a:lnTo>
                <a:lnTo>
                  <a:pt x="265" y="92"/>
                </a:lnTo>
                <a:lnTo>
                  <a:pt x="256" y="91"/>
                </a:lnTo>
                <a:lnTo>
                  <a:pt x="226" y="91"/>
                </a:lnTo>
                <a:lnTo>
                  <a:pt x="226" y="30"/>
                </a:lnTo>
                <a:lnTo>
                  <a:pt x="436" y="30"/>
                </a:lnTo>
                <a:lnTo>
                  <a:pt x="436" y="91"/>
                </a:lnTo>
                <a:lnTo>
                  <a:pt x="406" y="91"/>
                </a:lnTo>
                <a:lnTo>
                  <a:pt x="397" y="92"/>
                </a:lnTo>
                <a:lnTo>
                  <a:pt x="389" y="94"/>
                </a:lnTo>
                <a:lnTo>
                  <a:pt x="381" y="98"/>
                </a:lnTo>
                <a:lnTo>
                  <a:pt x="374" y="104"/>
                </a:lnTo>
                <a:lnTo>
                  <a:pt x="368" y="110"/>
                </a:lnTo>
                <a:lnTo>
                  <a:pt x="364" y="117"/>
                </a:lnTo>
                <a:lnTo>
                  <a:pt x="362" y="126"/>
                </a:lnTo>
                <a:lnTo>
                  <a:pt x="361" y="136"/>
                </a:lnTo>
                <a:lnTo>
                  <a:pt x="361" y="166"/>
                </a:lnTo>
                <a:lnTo>
                  <a:pt x="362" y="174"/>
                </a:lnTo>
                <a:lnTo>
                  <a:pt x="364" y="183"/>
                </a:lnTo>
                <a:lnTo>
                  <a:pt x="368" y="190"/>
                </a:lnTo>
                <a:lnTo>
                  <a:pt x="374" y="198"/>
                </a:lnTo>
                <a:lnTo>
                  <a:pt x="381" y="203"/>
                </a:lnTo>
                <a:lnTo>
                  <a:pt x="389" y="207"/>
                </a:lnTo>
                <a:lnTo>
                  <a:pt x="397" y="210"/>
                </a:lnTo>
                <a:lnTo>
                  <a:pt x="406" y="211"/>
                </a:lnTo>
                <a:lnTo>
                  <a:pt x="436" y="211"/>
                </a:lnTo>
                <a:lnTo>
                  <a:pt x="436" y="542"/>
                </a:lnTo>
                <a:lnTo>
                  <a:pt x="406" y="542"/>
                </a:lnTo>
                <a:lnTo>
                  <a:pt x="397" y="543"/>
                </a:lnTo>
                <a:lnTo>
                  <a:pt x="389" y="545"/>
                </a:lnTo>
                <a:lnTo>
                  <a:pt x="381" y="549"/>
                </a:lnTo>
                <a:lnTo>
                  <a:pt x="374" y="554"/>
                </a:lnTo>
                <a:lnTo>
                  <a:pt x="368" y="561"/>
                </a:lnTo>
                <a:lnTo>
                  <a:pt x="364" y="568"/>
                </a:lnTo>
                <a:lnTo>
                  <a:pt x="362" y="577"/>
                </a:lnTo>
                <a:lnTo>
                  <a:pt x="361" y="587"/>
                </a:lnTo>
                <a:lnTo>
                  <a:pt x="361" y="617"/>
                </a:lnTo>
                <a:lnTo>
                  <a:pt x="362" y="625"/>
                </a:lnTo>
                <a:lnTo>
                  <a:pt x="364" y="634"/>
                </a:lnTo>
                <a:lnTo>
                  <a:pt x="368" y="641"/>
                </a:lnTo>
                <a:lnTo>
                  <a:pt x="374" y="649"/>
                </a:lnTo>
                <a:lnTo>
                  <a:pt x="381" y="654"/>
                </a:lnTo>
                <a:lnTo>
                  <a:pt x="389" y="658"/>
                </a:lnTo>
                <a:lnTo>
                  <a:pt x="397" y="661"/>
                </a:lnTo>
                <a:lnTo>
                  <a:pt x="406" y="662"/>
                </a:lnTo>
                <a:lnTo>
                  <a:pt x="436" y="662"/>
                </a:lnTo>
                <a:lnTo>
                  <a:pt x="436" y="692"/>
                </a:lnTo>
                <a:lnTo>
                  <a:pt x="406" y="692"/>
                </a:lnTo>
                <a:lnTo>
                  <a:pt x="397" y="693"/>
                </a:lnTo>
                <a:lnTo>
                  <a:pt x="389" y="695"/>
                </a:lnTo>
                <a:lnTo>
                  <a:pt x="381" y="699"/>
                </a:lnTo>
                <a:lnTo>
                  <a:pt x="374" y="704"/>
                </a:lnTo>
                <a:lnTo>
                  <a:pt x="368" y="712"/>
                </a:lnTo>
                <a:lnTo>
                  <a:pt x="364" y="719"/>
                </a:lnTo>
                <a:lnTo>
                  <a:pt x="362" y="728"/>
                </a:lnTo>
                <a:lnTo>
                  <a:pt x="361" y="737"/>
                </a:lnTo>
                <a:lnTo>
                  <a:pt x="361" y="767"/>
                </a:lnTo>
                <a:lnTo>
                  <a:pt x="362" y="776"/>
                </a:lnTo>
                <a:lnTo>
                  <a:pt x="364" y="785"/>
                </a:lnTo>
                <a:lnTo>
                  <a:pt x="368" y="792"/>
                </a:lnTo>
                <a:lnTo>
                  <a:pt x="374" y="799"/>
                </a:lnTo>
                <a:lnTo>
                  <a:pt x="381" y="804"/>
                </a:lnTo>
                <a:lnTo>
                  <a:pt x="389" y="808"/>
                </a:lnTo>
                <a:lnTo>
                  <a:pt x="397" y="812"/>
                </a:lnTo>
                <a:lnTo>
                  <a:pt x="406" y="812"/>
                </a:lnTo>
                <a:lnTo>
                  <a:pt x="436" y="812"/>
                </a:lnTo>
                <a:lnTo>
                  <a:pt x="436" y="872"/>
                </a:lnTo>
                <a:lnTo>
                  <a:pt x="226" y="872"/>
                </a:lnTo>
                <a:lnTo>
                  <a:pt x="226" y="812"/>
                </a:lnTo>
                <a:lnTo>
                  <a:pt x="256" y="812"/>
                </a:lnTo>
                <a:close/>
                <a:moveTo>
                  <a:pt x="256" y="722"/>
                </a:moveTo>
                <a:lnTo>
                  <a:pt x="259" y="722"/>
                </a:lnTo>
                <a:lnTo>
                  <a:pt x="261" y="723"/>
                </a:lnTo>
                <a:lnTo>
                  <a:pt x="265" y="725"/>
                </a:lnTo>
                <a:lnTo>
                  <a:pt x="267" y="726"/>
                </a:lnTo>
                <a:lnTo>
                  <a:pt x="268" y="728"/>
                </a:lnTo>
                <a:lnTo>
                  <a:pt x="270" y="731"/>
                </a:lnTo>
                <a:lnTo>
                  <a:pt x="271" y="733"/>
                </a:lnTo>
                <a:lnTo>
                  <a:pt x="271" y="737"/>
                </a:lnTo>
                <a:lnTo>
                  <a:pt x="271" y="767"/>
                </a:lnTo>
                <a:lnTo>
                  <a:pt x="271" y="770"/>
                </a:lnTo>
                <a:lnTo>
                  <a:pt x="270" y="773"/>
                </a:lnTo>
                <a:lnTo>
                  <a:pt x="268" y="775"/>
                </a:lnTo>
                <a:lnTo>
                  <a:pt x="267" y="777"/>
                </a:lnTo>
                <a:lnTo>
                  <a:pt x="265" y="779"/>
                </a:lnTo>
                <a:lnTo>
                  <a:pt x="261" y="781"/>
                </a:lnTo>
                <a:lnTo>
                  <a:pt x="259" y="782"/>
                </a:lnTo>
                <a:lnTo>
                  <a:pt x="256" y="782"/>
                </a:lnTo>
                <a:lnTo>
                  <a:pt x="166" y="782"/>
                </a:lnTo>
                <a:lnTo>
                  <a:pt x="163" y="782"/>
                </a:lnTo>
                <a:lnTo>
                  <a:pt x="160" y="781"/>
                </a:lnTo>
                <a:lnTo>
                  <a:pt x="157" y="779"/>
                </a:lnTo>
                <a:lnTo>
                  <a:pt x="155" y="777"/>
                </a:lnTo>
                <a:lnTo>
                  <a:pt x="153" y="775"/>
                </a:lnTo>
                <a:lnTo>
                  <a:pt x="152" y="773"/>
                </a:lnTo>
                <a:lnTo>
                  <a:pt x="151" y="770"/>
                </a:lnTo>
                <a:lnTo>
                  <a:pt x="151" y="767"/>
                </a:lnTo>
                <a:lnTo>
                  <a:pt x="151" y="737"/>
                </a:lnTo>
                <a:lnTo>
                  <a:pt x="151" y="733"/>
                </a:lnTo>
                <a:lnTo>
                  <a:pt x="152" y="731"/>
                </a:lnTo>
                <a:lnTo>
                  <a:pt x="153" y="728"/>
                </a:lnTo>
                <a:lnTo>
                  <a:pt x="155" y="726"/>
                </a:lnTo>
                <a:lnTo>
                  <a:pt x="157" y="725"/>
                </a:lnTo>
                <a:lnTo>
                  <a:pt x="160" y="723"/>
                </a:lnTo>
                <a:lnTo>
                  <a:pt x="163" y="722"/>
                </a:lnTo>
                <a:lnTo>
                  <a:pt x="166" y="722"/>
                </a:lnTo>
                <a:lnTo>
                  <a:pt x="256" y="722"/>
                </a:lnTo>
                <a:close/>
                <a:moveTo>
                  <a:pt x="647" y="482"/>
                </a:moveTo>
                <a:lnTo>
                  <a:pt x="644" y="481"/>
                </a:lnTo>
                <a:lnTo>
                  <a:pt x="641" y="480"/>
                </a:lnTo>
                <a:lnTo>
                  <a:pt x="638" y="478"/>
                </a:lnTo>
                <a:lnTo>
                  <a:pt x="636" y="476"/>
                </a:lnTo>
                <a:lnTo>
                  <a:pt x="634" y="474"/>
                </a:lnTo>
                <a:lnTo>
                  <a:pt x="633" y="472"/>
                </a:lnTo>
                <a:lnTo>
                  <a:pt x="632" y="469"/>
                </a:lnTo>
                <a:lnTo>
                  <a:pt x="632" y="467"/>
                </a:lnTo>
                <a:lnTo>
                  <a:pt x="632" y="436"/>
                </a:lnTo>
                <a:lnTo>
                  <a:pt x="632" y="433"/>
                </a:lnTo>
                <a:lnTo>
                  <a:pt x="633" y="430"/>
                </a:lnTo>
                <a:lnTo>
                  <a:pt x="634" y="428"/>
                </a:lnTo>
                <a:lnTo>
                  <a:pt x="636" y="426"/>
                </a:lnTo>
                <a:lnTo>
                  <a:pt x="638" y="424"/>
                </a:lnTo>
                <a:lnTo>
                  <a:pt x="641" y="423"/>
                </a:lnTo>
                <a:lnTo>
                  <a:pt x="644" y="422"/>
                </a:lnTo>
                <a:lnTo>
                  <a:pt x="647" y="421"/>
                </a:lnTo>
                <a:lnTo>
                  <a:pt x="737" y="421"/>
                </a:lnTo>
                <a:lnTo>
                  <a:pt x="740" y="422"/>
                </a:lnTo>
                <a:lnTo>
                  <a:pt x="742" y="422"/>
                </a:lnTo>
                <a:lnTo>
                  <a:pt x="746" y="424"/>
                </a:lnTo>
                <a:lnTo>
                  <a:pt x="748" y="426"/>
                </a:lnTo>
                <a:lnTo>
                  <a:pt x="750" y="428"/>
                </a:lnTo>
                <a:lnTo>
                  <a:pt x="751" y="430"/>
                </a:lnTo>
                <a:lnTo>
                  <a:pt x="752" y="433"/>
                </a:lnTo>
                <a:lnTo>
                  <a:pt x="752" y="437"/>
                </a:lnTo>
                <a:lnTo>
                  <a:pt x="752" y="467"/>
                </a:lnTo>
                <a:lnTo>
                  <a:pt x="752" y="469"/>
                </a:lnTo>
                <a:lnTo>
                  <a:pt x="751" y="472"/>
                </a:lnTo>
                <a:lnTo>
                  <a:pt x="750" y="474"/>
                </a:lnTo>
                <a:lnTo>
                  <a:pt x="748" y="476"/>
                </a:lnTo>
                <a:lnTo>
                  <a:pt x="746" y="478"/>
                </a:lnTo>
                <a:lnTo>
                  <a:pt x="742" y="481"/>
                </a:lnTo>
                <a:lnTo>
                  <a:pt x="740" y="481"/>
                </a:lnTo>
                <a:lnTo>
                  <a:pt x="737" y="482"/>
                </a:lnTo>
                <a:lnTo>
                  <a:pt x="647" y="482"/>
                </a:lnTo>
                <a:close/>
                <a:moveTo>
                  <a:pt x="647" y="331"/>
                </a:moveTo>
                <a:lnTo>
                  <a:pt x="644" y="331"/>
                </a:lnTo>
                <a:lnTo>
                  <a:pt x="641" y="330"/>
                </a:lnTo>
                <a:lnTo>
                  <a:pt x="638" y="328"/>
                </a:lnTo>
                <a:lnTo>
                  <a:pt x="636" y="326"/>
                </a:lnTo>
                <a:lnTo>
                  <a:pt x="634" y="324"/>
                </a:lnTo>
                <a:lnTo>
                  <a:pt x="633" y="322"/>
                </a:lnTo>
                <a:lnTo>
                  <a:pt x="632" y="319"/>
                </a:lnTo>
                <a:lnTo>
                  <a:pt x="632" y="316"/>
                </a:lnTo>
                <a:lnTo>
                  <a:pt x="632" y="286"/>
                </a:lnTo>
                <a:lnTo>
                  <a:pt x="632" y="282"/>
                </a:lnTo>
                <a:lnTo>
                  <a:pt x="633" y="280"/>
                </a:lnTo>
                <a:lnTo>
                  <a:pt x="634" y="277"/>
                </a:lnTo>
                <a:lnTo>
                  <a:pt x="636" y="275"/>
                </a:lnTo>
                <a:lnTo>
                  <a:pt x="638" y="273"/>
                </a:lnTo>
                <a:lnTo>
                  <a:pt x="641" y="272"/>
                </a:lnTo>
                <a:lnTo>
                  <a:pt x="644" y="271"/>
                </a:lnTo>
                <a:lnTo>
                  <a:pt x="647" y="271"/>
                </a:lnTo>
                <a:lnTo>
                  <a:pt x="737" y="271"/>
                </a:lnTo>
                <a:lnTo>
                  <a:pt x="740" y="271"/>
                </a:lnTo>
                <a:lnTo>
                  <a:pt x="742" y="272"/>
                </a:lnTo>
                <a:lnTo>
                  <a:pt x="746" y="273"/>
                </a:lnTo>
                <a:lnTo>
                  <a:pt x="748" y="275"/>
                </a:lnTo>
                <a:lnTo>
                  <a:pt x="750" y="277"/>
                </a:lnTo>
                <a:lnTo>
                  <a:pt x="751" y="280"/>
                </a:lnTo>
                <a:lnTo>
                  <a:pt x="752" y="282"/>
                </a:lnTo>
                <a:lnTo>
                  <a:pt x="752" y="286"/>
                </a:lnTo>
                <a:lnTo>
                  <a:pt x="752" y="316"/>
                </a:lnTo>
                <a:lnTo>
                  <a:pt x="752" y="319"/>
                </a:lnTo>
                <a:lnTo>
                  <a:pt x="751" y="322"/>
                </a:lnTo>
                <a:lnTo>
                  <a:pt x="750" y="324"/>
                </a:lnTo>
                <a:lnTo>
                  <a:pt x="748" y="326"/>
                </a:lnTo>
                <a:lnTo>
                  <a:pt x="746" y="328"/>
                </a:lnTo>
                <a:lnTo>
                  <a:pt x="742" y="330"/>
                </a:lnTo>
                <a:lnTo>
                  <a:pt x="740" y="331"/>
                </a:lnTo>
                <a:lnTo>
                  <a:pt x="737" y="331"/>
                </a:lnTo>
                <a:lnTo>
                  <a:pt x="647" y="331"/>
                </a:lnTo>
                <a:close/>
                <a:moveTo>
                  <a:pt x="647" y="91"/>
                </a:moveTo>
                <a:lnTo>
                  <a:pt x="637" y="92"/>
                </a:lnTo>
                <a:lnTo>
                  <a:pt x="629" y="94"/>
                </a:lnTo>
                <a:lnTo>
                  <a:pt x="621" y="98"/>
                </a:lnTo>
                <a:lnTo>
                  <a:pt x="615" y="104"/>
                </a:lnTo>
                <a:lnTo>
                  <a:pt x="610" y="110"/>
                </a:lnTo>
                <a:lnTo>
                  <a:pt x="605" y="117"/>
                </a:lnTo>
                <a:lnTo>
                  <a:pt x="603" y="126"/>
                </a:lnTo>
                <a:lnTo>
                  <a:pt x="602" y="136"/>
                </a:lnTo>
                <a:lnTo>
                  <a:pt x="602" y="166"/>
                </a:lnTo>
                <a:lnTo>
                  <a:pt x="603" y="174"/>
                </a:lnTo>
                <a:lnTo>
                  <a:pt x="605" y="183"/>
                </a:lnTo>
                <a:lnTo>
                  <a:pt x="610" y="190"/>
                </a:lnTo>
                <a:lnTo>
                  <a:pt x="615" y="198"/>
                </a:lnTo>
                <a:lnTo>
                  <a:pt x="621" y="203"/>
                </a:lnTo>
                <a:lnTo>
                  <a:pt x="629" y="207"/>
                </a:lnTo>
                <a:lnTo>
                  <a:pt x="637" y="210"/>
                </a:lnTo>
                <a:lnTo>
                  <a:pt x="647" y="211"/>
                </a:lnTo>
                <a:lnTo>
                  <a:pt x="677" y="211"/>
                </a:lnTo>
                <a:lnTo>
                  <a:pt x="677" y="241"/>
                </a:lnTo>
                <a:lnTo>
                  <a:pt x="647" y="241"/>
                </a:lnTo>
                <a:lnTo>
                  <a:pt x="637" y="242"/>
                </a:lnTo>
                <a:lnTo>
                  <a:pt x="629" y="244"/>
                </a:lnTo>
                <a:lnTo>
                  <a:pt x="621" y="248"/>
                </a:lnTo>
                <a:lnTo>
                  <a:pt x="615" y="253"/>
                </a:lnTo>
                <a:lnTo>
                  <a:pt x="610" y="261"/>
                </a:lnTo>
                <a:lnTo>
                  <a:pt x="605" y="268"/>
                </a:lnTo>
                <a:lnTo>
                  <a:pt x="603" y="277"/>
                </a:lnTo>
                <a:lnTo>
                  <a:pt x="602" y="286"/>
                </a:lnTo>
                <a:lnTo>
                  <a:pt x="602" y="316"/>
                </a:lnTo>
                <a:lnTo>
                  <a:pt x="603" y="325"/>
                </a:lnTo>
                <a:lnTo>
                  <a:pt x="605" y="334"/>
                </a:lnTo>
                <a:lnTo>
                  <a:pt x="610" y="341"/>
                </a:lnTo>
                <a:lnTo>
                  <a:pt x="615" y="348"/>
                </a:lnTo>
                <a:lnTo>
                  <a:pt x="621" y="353"/>
                </a:lnTo>
                <a:lnTo>
                  <a:pt x="629" y="357"/>
                </a:lnTo>
                <a:lnTo>
                  <a:pt x="637" y="360"/>
                </a:lnTo>
                <a:lnTo>
                  <a:pt x="647" y="361"/>
                </a:lnTo>
                <a:lnTo>
                  <a:pt x="677" y="361"/>
                </a:lnTo>
                <a:lnTo>
                  <a:pt x="677" y="391"/>
                </a:lnTo>
                <a:lnTo>
                  <a:pt x="647" y="391"/>
                </a:lnTo>
                <a:lnTo>
                  <a:pt x="637" y="392"/>
                </a:lnTo>
                <a:lnTo>
                  <a:pt x="629" y="395"/>
                </a:lnTo>
                <a:lnTo>
                  <a:pt x="621" y="399"/>
                </a:lnTo>
                <a:lnTo>
                  <a:pt x="615" y="405"/>
                </a:lnTo>
                <a:lnTo>
                  <a:pt x="610" y="411"/>
                </a:lnTo>
                <a:lnTo>
                  <a:pt x="605" y="418"/>
                </a:lnTo>
                <a:lnTo>
                  <a:pt x="603" y="427"/>
                </a:lnTo>
                <a:lnTo>
                  <a:pt x="602" y="437"/>
                </a:lnTo>
                <a:lnTo>
                  <a:pt x="602" y="467"/>
                </a:lnTo>
                <a:lnTo>
                  <a:pt x="603" y="475"/>
                </a:lnTo>
                <a:lnTo>
                  <a:pt x="605" y="484"/>
                </a:lnTo>
                <a:lnTo>
                  <a:pt x="610" y="491"/>
                </a:lnTo>
                <a:lnTo>
                  <a:pt x="615" y="498"/>
                </a:lnTo>
                <a:lnTo>
                  <a:pt x="621" y="503"/>
                </a:lnTo>
                <a:lnTo>
                  <a:pt x="629" y="507"/>
                </a:lnTo>
                <a:lnTo>
                  <a:pt x="637" y="511"/>
                </a:lnTo>
                <a:lnTo>
                  <a:pt x="647" y="512"/>
                </a:lnTo>
                <a:lnTo>
                  <a:pt x="677" y="512"/>
                </a:lnTo>
                <a:lnTo>
                  <a:pt x="677" y="872"/>
                </a:lnTo>
                <a:lnTo>
                  <a:pt x="466" y="872"/>
                </a:lnTo>
                <a:lnTo>
                  <a:pt x="466" y="812"/>
                </a:lnTo>
                <a:lnTo>
                  <a:pt x="496" y="812"/>
                </a:lnTo>
                <a:lnTo>
                  <a:pt x="506" y="811"/>
                </a:lnTo>
                <a:lnTo>
                  <a:pt x="514" y="808"/>
                </a:lnTo>
                <a:lnTo>
                  <a:pt x="522" y="804"/>
                </a:lnTo>
                <a:lnTo>
                  <a:pt x="528" y="799"/>
                </a:lnTo>
                <a:lnTo>
                  <a:pt x="533" y="792"/>
                </a:lnTo>
                <a:lnTo>
                  <a:pt x="538" y="785"/>
                </a:lnTo>
                <a:lnTo>
                  <a:pt x="541" y="776"/>
                </a:lnTo>
                <a:lnTo>
                  <a:pt x="542" y="767"/>
                </a:lnTo>
                <a:lnTo>
                  <a:pt x="542" y="737"/>
                </a:lnTo>
                <a:lnTo>
                  <a:pt x="541" y="728"/>
                </a:lnTo>
                <a:lnTo>
                  <a:pt x="538" y="719"/>
                </a:lnTo>
                <a:lnTo>
                  <a:pt x="533" y="712"/>
                </a:lnTo>
                <a:lnTo>
                  <a:pt x="528" y="704"/>
                </a:lnTo>
                <a:lnTo>
                  <a:pt x="522" y="699"/>
                </a:lnTo>
                <a:lnTo>
                  <a:pt x="514" y="695"/>
                </a:lnTo>
                <a:lnTo>
                  <a:pt x="506" y="693"/>
                </a:lnTo>
                <a:lnTo>
                  <a:pt x="496" y="692"/>
                </a:lnTo>
                <a:lnTo>
                  <a:pt x="466" y="692"/>
                </a:lnTo>
                <a:lnTo>
                  <a:pt x="466" y="662"/>
                </a:lnTo>
                <a:lnTo>
                  <a:pt x="496" y="662"/>
                </a:lnTo>
                <a:lnTo>
                  <a:pt x="506" y="661"/>
                </a:lnTo>
                <a:lnTo>
                  <a:pt x="514" y="658"/>
                </a:lnTo>
                <a:lnTo>
                  <a:pt x="522" y="654"/>
                </a:lnTo>
                <a:lnTo>
                  <a:pt x="528" y="649"/>
                </a:lnTo>
                <a:lnTo>
                  <a:pt x="533" y="641"/>
                </a:lnTo>
                <a:lnTo>
                  <a:pt x="538" y="634"/>
                </a:lnTo>
                <a:lnTo>
                  <a:pt x="541" y="625"/>
                </a:lnTo>
                <a:lnTo>
                  <a:pt x="542" y="617"/>
                </a:lnTo>
                <a:lnTo>
                  <a:pt x="542" y="587"/>
                </a:lnTo>
                <a:lnTo>
                  <a:pt x="541" y="577"/>
                </a:lnTo>
                <a:lnTo>
                  <a:pt x="538" y="568"/>
                </a:lnTo>
                <a:lnTo>
                  <a:pt x="533" y="561"/>
                </a:lnTo>
                <a:lnTo>
                  <a:pt x="528" y="554"/>
                </a:lnTo>
                <a:lnTo>
                  <a:pt x="522" y="549"/>
                </a:lnTo>
                <a:lnTo>
                  <a:pt x="514" y="545"/>
                </a:lnTo>
                <a:lnTo>
                  <a:pt x="506" y="543"/>
                </a:lnTo>
                <a:lnTo>
                  <a:pt x="496" y="542"/>
                </a:lnTo>
                <a:lnTo>
                  <a:pt x="466" y="542"/>
                </a:lnTo>
                <a:lnTo>
                  <a:pt x="466" y="211"/>
                </a:lnTo>
                <a:lnTo>
                  <a:pt x="496" y="211"/>
                </a:lnTo>
                <a:lnTo>
                  <a:pt x="506" y="210"/>
                </a:lnTo>
                <a:lnTo>
                  <a:pt x="514" y="207"/>
                </a:lnTo>
                <a:lnTo>
                  <a:pt x="522" y="203"/>
                </a:lnTo>
                <a:lnTo>
                  <a:pt x="528" y="198"/>
                </a:lnTo>
                <a:lnTo>
                  <a:pt x="533" y="190"/>
                </a:lnTo>
                <a:lnTo>
                  <a:pt x="538" y="183"/>
                </a:lnTo>
                <a:lnTo>
                  <a:pt x="541" y="174"/>
                </a:lnTo>
                <a:lnTo>
                  <a:pt x="542" y="166"/>
                </a:lnTo>
                <a:lnTo>
                  <a:pt x="542" y="136"/>
                </a:lnTo>
                <a:lnTo>
                  <a:pt x="541" y="126"/>
                </a:lnTo>
                <a:lnTo>
                  <a:pt x="538" y="117"/>
                </a:lnTo>
                <a:lnTo>
                  <a:pt x="533" y="110"/>
                </a:lnTo>
                <a:lnTo>
                  <a:pt x="528" y="104"/>
                </a:lnTo>
                <a:lnTo>
                  <a:pt x="522" y="98"/>
                </a:lnTo>
                <a:lnTo>
                  <a:pt x="514" y="94"/>
                </a:lnTo>
                <a:lnTo>
                  <a:pt x="506" y="92"/>
                </a:lnTo>
                <a:lnTo>
                  <a:pt x="496" y="91"/>
                </a:lnTo>
                <a:lnTo>
                  <a:pt x="466" y="91"/>
                </a:lnTo>
                <a:lnTo>
                  <a:pt x="466" y="30"/>
                </a:lnTo>
                <a:lnTo>
                  <a:pt x="677" y="30"/>
                </a:lnTo>
                <a:lnTo>
                  <a:pt x="677" y="91"/>
                </a:lnTo>
                <a:lnTo>
                  <a:pt x="647" y="91"/>
                </a:lnTo>
                <a:close/>
                <a:moveTo>
                  <a:pt x="647" y="181"/>
                </a:moveTo>
                <a:lnTo>
                  <a:pt x="644" y="181"/>
                </a:lnTo>
                <a:lnTo>
                  <a:pt x="641" y="180"/>
                </a:lnTo>
                <a:lnTo>
                  <a:pt x="638" y="179"/>
                </a:lnTo>
                <a:lnTo>
                  <a:pt x="636" y="176"/>
                </a:lnTo>
                <a:lnTo>
                  <a:pt x="634" y="174"/>
                </a:lnTo>
                <a:lnTo>
                  <a:pt x="633" y="171"/>
                </a:lnTo>
                <a:lnTo>
                  <a:pt x="632" y="169"/>
                </a:lnTo>
                <a:lnTo>
                  <a:pt x="632" y="166"/>
                </a:lnTo>
                <a:lnTo>
                  <a:pt x="632" y="136"/>
                </a:lnTo>
                <a:lnTo>
                  <a:pt x="632" y="132"/>
                </a:lnTo>
                <a:lnTo>
                  <a:pt x="633" y="129"/>
                </a:lnTo>
                <a:lnTo>
                  <a:pt x="634" y="127"/>
                </a:lnTo>
                <a:lnTo>
                  <a:pt x="636" y="125"/>
                </a:lnTo>
                <a:lnTo>
                  <a:pt x="638" y="123"/>
                </a:lnTo>
                <a:lnTo>
                  <a:pt x="641" y="122"/>
                </a:lnTo>
                <a:lnTo>
                  <a:pt x="644" y="121"/>
                </a:lnTo>
                <a:lnTo>
                  <a:pt x="647" y="121"/>
                </a:lnTo>
                <a:lnTo>
                  <a:pt x="737" y="121"/>
                </a:lnTo>
                <a:lnTo>
                  <a:pt x="740" y="121"/>
                </a:lnTo>
                <a:lnTo>
                  <a:pt x="742" y="122"/>
                </a:lnTo>
                <a:lnTo>
                  <a:pt x="746" y="123"/>
                </a:lnTo>
                <a:lnTo>
                  <a:pt x="748" y="125"/>
                </a:lnTo>
                <a:lnTo>
                  <a:pt x="750" y="127"/>
                </a:lnTo>
                <a:lnTo>
                  <a:pt x="751" y="129"/>
                </a:lnTo>
                <a:lnTo>
                  <a:pt x="752" y="132"/>
                </a:lnTo>
                <a:lnTo>
                  <a:pt x="752" y="136"/>
                </a:lnTo>
                <a:lnTo>
                  <a:pt x="752" y="166"/>
                </a:lnTo>
                <a:lnTo>
                  <a:pt x="752" y="169"/>
                </a:lnTo>
                <a:lnTo>
                  <a:pt x="751" y="171"/>
                </a:lnTo>
                <a:lnTo>
                  <a:pt x="750" y="174"/>
                </a:lnTo>
                <a:lnTo>
                  <a:pt x="748" y="176"/>
                </a:lnTo>
                <a:lnTo>
                  <a:pt x="746" y="177"/>
                </a:lnTo>
                <a:lnTo>
                  <a:pt x="742" y="180"/>
                </a:lnTo>
                <a:lnTo>
                  <a:pt x="740" y="181"/>
                </a:lnTo>
                <a:lnTo>
                  <a:pt x="737" y="181"/>
                </a:lnTo>
                <a:lnTo>
                  <a:pt x="647" y="181"/>
                </a:lnTo>
                <a:close/>
                <a:moveTo>
                  <a:pt x="887" y="0"/>
                </a:moveTo>
                <a:lnTo>
                  <a:pt x="15" y="0"/>
                </a:lnTo>
                <a:lnTo>
                  <a:pt x="12" y="1"/>
                </a:lnTo>
                <a:lnTo>
                  <a:pt x="10" y="2"/>
                </a:lnTo>
                <a:lnTo>
                  <a:pt x="6" y="3"/>
                </a:lnTo>
                <a:lnTo>
                  <a:pt x="4" y="5"/>
                </a:lnTo>
                <a:lnTo>
                  <a:pt x="3" y="7"/>
                </a:lnTo>
                <a:lnTo>
                  <a:pt x="1" y="9"/>
                </a:lnTo>
                <a:lnTo>
                  <a:pt x="1" y="12"/>
                </a:lnTo>
                <a:lnTo>
                  <a:pt x="0" y="16"/>
                </a:lnTo>
                <a:lnTo>
                  <a:pt x="0" y="888"/>
                </a:lnTo>
                <a:lnTo>
                  <a:pt x="1" y="890"/>
                </a:lnTo>
                <a:lnTo>
                  <a:pt x="1" y="893"/>
                </a:lnTo>
                <a:lnTo>
                  <a:pt x="3" y="895"/>
                </a:lnTo>
                <a:lnTo>
                  <a:pt x="4" y="897"/>
                </a:lnTo>
                <a:lnTo>
                  <a:pt x="6" y="899"/>
                </a:lnTo>
                <a:lnTo>
                  <a:pt x="10" y="900"/>
                </a:lnTo>
                <a:lnTo>
                  <a:pt x="12" y="902"/>
                </a:lnTo>
                <a:lnTo>
                  <a:pt x="15" y="903"/>
                </a:lnTo>
                <a:lnTo>
                  <a:pt x="887" y="903"/>
                </a:lnTo>
                <a:lnTo>
                  <a:pt x="890" y="902"/>
                </a:lnTo>
                <a:lnTo>
                  <a:pt x="893" y="900"/>
                </a:lnTo>
                <a:lnTo>
                  <a:pt x="896" y="899"/>
                </a:lnTo>
                <a:lnTo>
                  <a:pt x="898" y="897"/>
                </a:lnTo>
                <a:lnTo>
                  <a:pt x="900" y="895"/>
                </a:lnTo>
                <a:lnTo>
                  <a:pt x="901" y="893"/>
                </a:lnTo>
                <a:lnTo>
                  <a:pt x="902" y="890"/>
                </a:lnTo>
                <a:lnTo>
                  <a:pt x="902" y="888"/>
                </a:lnTo>
                <a:lnTo>
                  <a:pt x="902" y="15"/>
                </a:lnTo>
                <a:lnTo>
                  <a:pt x="902" y="12"/>
                </a:lnTo>
                <a:lnTo>
                  <a:pt x="901" y="9"/>
                </a:lnTo>
                <a:lnTo>
                  <a:pt x="900" y="7"/>
                </a:lnTo>
                <a:lnTo>
                  <a:pt x="898" y="5"/>
                </a:lnTo>
                <a:lnTo>
                  <a:pt x="896" y="3"/>
                </a:lnTo>
                <a:lnTo>
                  <a:pt x="893" y="2"/>
                </a:lnTo>
                <a:lnTo>
                  <a:pt x="890" y="1"/>
                </a:lnTo>
                <a:lnTo>
                  <a:pt x="887" y="0"/>
                </a:lnTo>
                <a:lnTo>
                  <a:pt x="887"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628" name="Group 24">
            <a:extLst>
              <a:ext uri="{FF2B5EF4-FFF2-40B4-BE49-F238E27FC236}">
                <a16:creationId xmlns:a16="http://schemas.microsoft.com/office/drawing/2014/main" id="{B0984C4E-6649-4DD4-8C22-DF2026B9A8C3}"/>
              </a:ext>
            </a:extLst>
          </p:cNvPr>
          <p:cNvGrpSpPr>
            <a:grpSpLocks noChangeAspect="1"/>
          </p:cNvGrpSpPr>
          <p:nvPr/>
        </p:nvGrpSpPr>
        <p:grpSpPr>
          <a:xfrm>
            <a:off x="6630146" y="2212214"/>
            <a:ext cx="300651" cy="233912"/>
            <a:chOff x="9385300" y="3071813"/>
            <a:chExt cx="736600" cy="573087"/>
          </a:xfrm>
          <a:solidFill>
            <a:schemeClr val="bg1"/>
          </a:solidFill>
          <a:effectLst/>
        </p:grpSpPr>
        <p:sp>
          <p:nvSpPr>
            <p:cNvPr id="1629" name="Freeform 10">
              <a:extLst>
                <a:ext uri="{FF2B5EF4-FFF2-40B4-BE49-F238E27FC236}">
                  <a16:creationId xmlns:a16="http://schemas.microsoft.com/office/drawing/2014/main" id="{920720C2-3B18-406B-8827-A23F5076FB1B}"/>
                </a:ext>
              </a:extLst>
            </p:cNvPr>
            <p:cNvSpPr>
              <a:spLocks/>
            </p:cNvSpPr>
            <p:nvPr/>
          </p:nvSpPr>
          <p:spPr bwMode="auto">
            <a:xfrm>
              <a:off x="9385300" y="3213100"/>
              <a:ext cx="736600" cy="431800"/>
            </a:xfrm>
            <a:custGeom>
              <a:avLst/>
              <a:gdLst>
                <a:gd name="T0" fmla="*/ 33 w 1856"/>
                <a:gd name="T1" fmla="*/ 1088 h 1088"/>
                <a:gd name="T2" fmla="*/ 20 w 1856"/>
                <a:gd name="T3" fmla="*/ 1085 h 1088"/>
                <a:gd name="T4" fmla="*/ 10 w 1856"/>
                <a:gd name="T5" fmla="*/ 1077 h 1088"/>
                <a:gd name="T6" fmla="*/ 2 w 1856"/>
                <a:gd name="T7" fmla="*/ 1067 h 1088"/>
                <a:gd name="T8" fmla="*/ 0 w 1856"/>
                <a:gd name="T9" fmla="*/ 1055 h 1088"/>
                <a:gd name="T10" fmla="*/ 1 w 1856"/>
                <a:gd name="T11" fmla="*/ 25 h 1088"/>
                <a:gd name="T12" fmla="*/ 6 w 1856"/>
                <a:gd name="T13" fmla="*/ 14 h 1088"/>
                <a:gd name="T14" fmla="*/ 14 w 1856"/>
                <a:gd name="T15" fmla="*/ 5 h 1088"/>
                <a:gd name="T16" fmla="*/ 25 w 1856"/>
                <a:gd name="T17" fmla="*/ 0 h 1088"/>
                <a:gd name="T18" fmla="*/ 1824 w 1856"/>
                <a:gd name="T19" fmla="*/ 0 h 1088"/>
                <a:gd name="T20" fmla="*/ 1837 w 1856"/>
                <a:gd name="T21" fmla="*/ 1 h 1088"/>
                <a:gd name="T22" fmla="*/ 1847 w 1856"/>
                <a:gd name="T23" fmla="*/ 9 h 1088"/>
                <a:gd name="T24" fmla="*/ 1853 w 1856"/>
                <a:gd name="T25" fmla="*/ 19 h 1088"/>
                <a:gd name="T26" fmla="*/ 1856 w 1856"/>
                <a:gd name="T27" fmla="*/ 31 h 1088"/>
                <a:gd name="T28" fmla="*/ 1855 w 1856"/>
                <a:gd name="T29" fmla="*/ 678 h 1088"/>
                <a:gd name="T30" fmla="*/ 1851 w 1856"/>
                <a:gd name="T31" fmla="*/ 689 h 1088"/>
                <a:gd name="T32" fmla="*/ 1842 w 1856"/>
                <a:gd name="T33" fmla="*/ 697 h 1088"/>
                <a:gd name="T34" fmla="*/ 1831 w 1856"/>
                <a:gd name="T35" fmla="*/ 702 h 1088"/>
                <a:gd name="T36" fmla="*/ 1818 w 1856"/>
                <a:gd name="T37" fmla="*/ 702 h 1088"/>
                <a:gd name="T38" fmla="*/ 1807 w 1856"/>
                <a:gd name="T39" fmla="*/ 697 h 1088"/>
                <a:gd name="T40" fmla="*/ 1798 w 1856"/>
                <a:gd name="T41" fmla="*/ 689 h 1088"/>
                <a:gd name="T42" fmla="*/ 1793 w 1856"/>
                <a:gd name="T43" fmla="*/ 678 h 1088"/>
                <a:gd name="T44" fmla="*/ 1793 w 1856"/>
                <a:gd name="T45" fmla="*/ 63 h 1088"/>
                <a:gd name="T46" fmla="*/ 64 w 1856"/>
                <a:gd name="T47" fmla="*/ 1023 h 1088"/>
                <a:gd name="T48" fmla="*/ 1318 w 1856"/>
                <a:gd name="T49" fmla="*/ 1024 h 1088"/>
                <a:gd name="T50" fmla="*/ 1330 w 1856"/>
                <a:gd name="T51" fmla="*/ 1028 h 1088"/>
                <a:gd name="T52" fmla="*/ 1339 w 1856"/>
                <a:gd name="T53" fmla="*/ 1037 h 1088"/>
                <a:gd name="T54" fmla="*/ 1344 w 1856"/>
                <a:gd name="T55" fmla="*/ 1048 h 1088"/>
                <a:gd name="T56" fmla="*/ 1344 w 1856"/>
                <a:gd name="T57" fmla="*/ 1061 h 1088"/>
                <a:gd name="T58" fmla="*/ 1339 w 1856"/>
                <a:gd name="T59" fmla="*/ 1072 h 1088"/>
                <a:gd name="T60" fmla="*/ 1330 w 1856"/>
                <a:gd name="T61" fmla="*/ 1081 h 1088"/>
                <a:gd name="T62" fmla="*/ 1318 w 1856"/>
                <a:gd name="T63" fmla="*/ 108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56" h="1088">
                  <a:moveTo>
                    <a:pt x="1312" y="1088"/>
                  </a:moveTo>
                  <a:lnTo>
                    <a:pt x="33" y="1088"/>
                  </a:lnTo>
                  <a:lnTo>
                    <a:pt x="25" y="1086"/>
                  </a:lnTo>
                  <a:lnTo>
                    <a:pt x="20" y="1085"/>
                  </a:lnTo>
                  <a:lnTo>
                    <a:pt x="14" y="1081"/>
                  </a:lnTo>
                  <a:lnTo>
                    <a:pt x="10" y="1077"/>
                  </a:lnTo>
                  <a:lnTo>
                    <a:pt x="6" y="1072"/>
                  </a:lnTo>
                  <a:lnTo>
                    <a:pt x="2" y="1067"/>
                  </a:lnTo>
                  <a:lnTo>
                    <a:pt x="1" y="1061"/>
                  </a:lnTo>
                  <a:lnTo>
                    <a:pt x="0" y="1055"/>
                  </a:lnTo>
                  <a:lnTo>
                    <a:pt x="0" y="31"/>
                  </a:lnTo>
                  <a:lnTo>
                    <a:pt x="1" y="25"/>
                  </a:lnTo>
                  <a:lnTo>
                    <a:pt x="2" y="19"/>
                  </a:lnTo>
                  <a:lnTo>
                    <a:pt x="6" y="14"/>
                  </a:lnTo>
                  <a:lnTo>
                    <a:pt x="10" y="9"/>
                  </a:lnTo>
                  <a:lnTo>
                    <a:pt x="14" y="5"/>
                  </a:lnTo>
                  <a:lnTo>
                    <a:pt x="20" y="1"/>
                  </a:lnTo>
                  <a:lnTo>
                    <a:pt x="25" y="0"/>
                  </a:lnTo>
                  <a:lnTo>
                    <a:pt x="33" y="0"/>
                  </a:lnTo>
                  <a:lnTo>
                    <a:pt x="1824" y="0"/>
                  </a:lnTo>
                  <a:lnTo>
                    <a:pt x="1831" y="0"/>
                  </a:lnTo>
                  <a:lnTo>
                    <a:pt x="1837" y="1"/>
                  </a:lnTo>
                  <a:lnTo>
                    <a:pt x="1842" y="5"/>
                  </a:lnTo>
                  <a:lnTo>
                    <a:pt x="1847" y="9"/>
                  </a:lnTo>
                  <a:lnTo>
                    <a:pt x="1851" y="14"/>
                  </a:lnTo>
                  <a:lnTo>
                    <a:pt x="1853" y="19"/>
                  </a:lnTo>
                  <a:lnTo>
                    <a:pt x="1855" y="25"/>
                  </a:lnTo>
                  <a:lnTo>
                    <a:pt x="1856" y="31"/>
                  </a:lnTo>
                  <a:lnTo>
                    <a:pt x="1856" y="670"/>
                  </a:lnTo>
                  <a:lnTo>
                    <a:pt x="1855" y="678"/>
                  </a:lnTo>
                  <a:lnTo>
                    <a:pt x="1853" y="683"/>
                  </a:lnTo>
                  <a:lnTo>
                    <a:pt x="1851" y="689"/>
                  </a:lnTo>
                  <a:lnTo>
                    <a:pt x="1847" y="693"/>
                  </a:lnTo>
                  <a:lnTo>
                    <a:pt x="1842" y="697"/>
                  </a:lnTo>
                  <a:lnTo>
                    <a:pt x="1837" y="701"/>
                  </a:lnTo>
                  <a:lnTo>
                    <a:pt x="1831" y="702"/>
                  </a:lnTo>
                  <a:lnTo>
                    <a:pt x="1824" y="703"/>
                  </a:lnTo>
                  <a:lnTo>
                    <a:pt x="1818" y="702"/>
                  </a:lnTo>
                  <a:lnTo>
                    <a:pt x="1812" y="701"/>
                  </a:lnTo>
                  <a:lnTo>
                    <a:pt x="1807" y="697"/>
                  </a:lnTo>
                  <a:lnTo>
                    <a:pt x="1801" y="693"/>
                  </a:lnTo>
                  <a:lnTo>
                    <a:pt x="1798" y="689"/>
                  </a:lnTo>
                  <a:lnTo>
                    <a:pt x="1794" y="683"/>
                  </a:lnTo>
                  <a:lnTo>
                    <a:pt x="1793" y="678"/>
                  </a:lnTo>
                  <a:lnTo>
                    <a:pt x="1793" y="670"/>
                  </a:lnTo>
                  <a:lnTo>
                    <a:pt x="1793" y="63"/>
                  </a:lnTo>
                  <a:lnTo>
                    <a:pt x="64" y="63"/>
                  </a:lnTo>
                  <a:lnTo>
                    <a:pt x="64" y="1023"/>
                  </a:lnTo>
                  <a:lnTo>
                    <a:pt x="1312" y="1023"/>
                  </a:lnTo>
                  <a:lnTo>
                    <a:pt x="1318" y="1024"/>
                  </a:lnTo>
                  <a:lnTo>
                    <a:pt x="1325" y="1025"/>
                  </a:lnTo>
                  <a:lnTo>
                    <a:pt x="1330" y="1028"/>
                  </a:lnTo>
                  <a:lnTo>
                    <a:pt x="1335" y="1032"/>
                  </a:lnTo>
                  <a:lnTo>
                    <a:pt x="1339" y="1037"/>
                  </a:lnTo>
                  <a:lnTo>
                    <a:pt x="1341" y="1042"/>
                  </a:lnTo>
                  <a:lnTo>
                    <a:pt x="1344" y="1048"/>
                  </a:lnTo>
                  <a:lnTo>
                    <a:pt x="1344" y="1055"/>
                  </a:lnTo>
                  <a:lnTo>
                    <a:pt x="1344" y="1061"/>
                  </a:lnTo>
                  <a:lnTo>
                    <a:pt x="1341" y="1067"/>
                  </a:lnTo>
                  <a:lnTo>
                    <a:pt x="1339" y="1072"/>
                  </a:lnTo>
                  <a:lnTo>
                    <a:pt x="1335" y="1077"/>
                  </a:lnTo>
                  <a:lnTo>
                    <a:pt x="1330" y="1081"/>
                  </a:lnTo>
                  <a:lnTo>
                    <a:pt x="1325" y="1085"/>
                  </a:lnTo>
                  <a:lnTo>
                    <a:pt x="1318" y="1086"/>
                  </a:lnTo>
                  <a:lnTo>
                    <a:pt x="1312" y="10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0" name="Freeform 11">
              <a:extLst>
                <a:ext uri="{FF2B5EF4-FFF2-40B4-BE49-F238E27FC236}">
                  <a16:creationId xmlns:a16="http://schemas.microsoft.com/office/drawing/2014/main" id="{D09A8813-9AAF-40DC-86CC-F7DBA3C428B7}"/>
                </a:ext>
              </a:extLst>
            </p:cNvPr>
            <p:cNvSpPr>
              <a:spLocks noEditPoints="1"/>
            </p:cNvSpPr>
            <p:nvPr/>
          </p:nvSpPr>
          <p:spPr bwMode="auto">
            <a:xfrm>
              <a:off x="9588500" y="3263900"/>
              <a:ext cx="330200" cy="330200"/>
            </a:xfrm>
            <a:custGeom>
              <a:avLst/>
              <a:gdLst>
                <a:gd name="T0" fmla="*/ 345 w 832"/>
                <a:gd name="T1" fmla="*/ 73 h 834"/>
                <a:gd name="T2" fmla="*/ 264 w 832"/>
                <a:gd name="T3" fmla="*/ 99 h 834"/>
                <a:gd name="T4" fmla="*/ 193 w 832"/>
                <a:gd name="T5" fmla="*/ 145 h 834"/>
                <a:gd name="T6" fmla="*/ 134 w 832"/>
                <a:gd name="T7" fmla="*/ 207 h 834"/>
                <a:gd name="T8" fmla="*/ 91 w 832"/>
                <a:gd name="T9" fmla="*/ 281 h 834"/>
                <a:gd name="T10" fmla="*/ 68 w 832"/>
                <a:gd name="T11" fmla="*/ 363 h 834"/>
                <a:gd name="T12" fmla="*/ 66 w 832"/>
                <a:gd name="T13" fmla="*/ 453 h 834"/>
                <a:gd name="T14" fmla="*/ 85 w 832"/>
                <a:gd name="T15" fmla="*/ 538 h 834"/>
                <a:gd name="T16" fmla="*/ 124 w 832"/>
                <a:gd name="T17" fmla="*/ 614 h 834"/>
                <a:gd name="T18" fmla="*/ 180 w 832"/>
                <a:gd name="T19" fmla="*/ 678 h 834"/>
                <a:gd name="T20" fmla="*/ 248 w 832"/>
                <a:gd name="T21" fmla="*/ 727 h 834"/>
                <a:gd name="T22" fmla="*/ 328 w 832"/>
                <a:gd name="T23" fmla="*/ 757 h 834"/>
                <a:gd name="T24" fmla="*/ 416 w 832"/>
                <a:gd name="T25" fmla="*/ 769 h 834"/>
                <a:gd name="T26" fmla="*/ 503 w 832"/>
                <a:gd name="T27" fmla="*/ 757 h 834"/>
                <a:gd name="T28" fmla="*/ 583 w 832"/>
                <a:gd name="T29" fmla="*/ 727 h 834"/>
                <a:gd name="T30" fmla="*/ 653 w 832"/>
                <a:gd name="T31" fmla="*/ 678 h 834"/>
                <a:gd name="T32" fmla="*/ 707 w 832"/>
                <a:gd name="T33" fmla="*/ 614 h 834"/>
                <a:gd name="T34" fmla="*/ 747 w 832"/>
                <a:gd name="T35" fmla="*/ 538 h 834"/>
                <a:gd name="T36" fmla="*/ 766 w 832"/>
                <a:gd name="T37" fmla="*/ 453 h 834"/>
                <a:gd name="T38" fmla="*/ 765 w 832"/>
                <a:gd name="T39" fmla="*/ 363 h 834"/>
                <a:gd name="T40" fmla="*/ 740 w 832"/>
                <a:gd name="T41" fmla="*/ 281 h 834"/>
                <a:gd name="T42" fmla="*/ 699 w 832"/>
                <a:gd name="T43" fmla="*/ 207 h 834"/>
                <a:gd name="T44" fmla="*/ 640 w 832"/>
                <a:gd name="T45" fmla="*/ 145 h 834"/>
                <a:gd name="T46" fmla="*/ 568 w 832"/>
                <a:gd name="T47" fmla="*/ 99 h 834"/>
                <a:gd name="T48" fmla="*/ 487 w 832"/>
                <a:gd name="T49" fmla="*/ 73 h 834"/>
                <a:gd name="T50" fmla="*/ 416 w 832"/>
                <a:gd name="T51" fmla="*/ 834 h 834"/>
                <a:gd name="T52" fmla="*/ 312 w 832"/>
                <a:gd name="T53" fmla="*/ 820 h 834"/>
                <a:gd name="T54" fmla="*/ 218 w 832"/>
                <a:gd name="T55" fmla="*/ 783 h 834"/>
                <a:gd name="T56" fmla="*/ 137 w 832"/>
                <a:gd name="T57" fmla="*/ 725 h 834"/>
                <a:gd name="T58" fmla="*/ 71 w 832"/>
                <a:gd name="T59" fmla="*/ 650 h 834"/>
                <a:gd name="T60" fmla="*/ 25 w 832"/>
                <a:gd name="T61" fmla="*/ 560 h 834"/>
                <a:gd name="T62" fmla="*/ 2 w 832"/>
                <a:gd name="T63" fmla="*/ 459 h 834"/>
                <a:gd name="T64" fmla="*/ 5 w 832"/>
                <a:gd name="T65" fmla="*/ 354 h 834"/>
                <a:gd name="T66" fmla="*/ 33 w 832"/>
                <a:gd name="T67" fmla="*/ 255 h 834"/>
                <a:gd name="T68" fmla="*/ 82 w 832"/>
                <a:gd name="T69" fmla="*/ 168 h 834"/>
                <a:gd name="T70" fmla="*/ 152 w 832"/>
                <a:gd name="T71" fmla="*/ 96 h 834"/>
                <a:gd name="T72" fmla="*/ 236 w 832"/>
                <a:gd name="T73" fmla="*/ 42 h 834"/>
                <a:gd name="T74" fmla="*/ 332 w 832"/>
                <a:gd name="T75" fmla="*/ 9 h 834"/>
                <a:gd name="T76" fmla="*/ 437 w 832"/>
                <a:gd name="T77" fmla="*/ 2 h 834"/>
                <a:gd name="T78" fmla="*/ 540 w 832"/>
                <a:gd name="T79" fmla="*/ 19 h 834"/>
                <a:gd name="T80" fmla="*/ 631 w 832"/>
                <a:gd name="T81" fmla="*/ 61 h 834"/>
                <a:gd name="T82" fmla="*/ 710 w 832"/>
                <a:gd name="T83" fmla="*/ 123 h 834"/>
                <a:gd name="T84" fmla="*/ 772 w 832"/>
                <a:gd name="T85" fmla="*/ 202 h 834"/>
                <a:gd name="T86" fmla="*/ 813 w 832"/>
                <a:gd name="T87" fmla="*/ 293 h 834"/>
                <a:gd name="T88" fmla="*/ 832 w 832"/>
                <a:gd name="T89" fmla="*/ 396 h 834"/>
                <a:gd name="T90" fmla="*/ 824 w 832"/>
                <a:gd name="T91" fmla="*/ 501 h 834"/>
                <a:gd name="T92" fmla="*/ 791 w 832"/>
                <a:gd name="T93" fmla="*/ 598 h 834"/>
                <a:gd name="T94" fmla="*/ 737 w 832"/>
                <a:gd name="T95" fmla="*/ 681 h 834"/>
                <a:gd name="T96" fmla="*/ 664 w 832"/>
                <a:gd name="T97" fmla="*/ 750 h 834"/>
                <a:gd name="T98" fmla="*/ 578 w 832"/>
                <a:gd name="T99" fmla="*/ 801 h 834"/>
                <a:gd name="T100" fmla="*/ 479 w 832"/>
                <a:gd name="T101" fmla="*/ 828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2" h="834">
                  <a:moveTo>
                    <a:pt x="416" y="65"/>
                  </a:moveTo>
                  <a:lnTo>
                    <a:pt x="398" y="65"/>
                  </a:lnTo>
                  <a:lnTo>
                    <a:pt x="380" y="66"/>
                  </a:lnTo>
                  <a:lnTo>
                    <a:pt x="363" y="69"/>
                  </a:lnTo>
                  <a:lnTo>
                    <a:pt x="345" y="73"/>
                  </a:lnTo>
                  <a:lnTo>
                    <a:pt x="328" y="77"/>
                  </a:lnTo>
                  <a:lnTo>
                    <a:pt x="312" y="80"/>
                  </a:lnTo>
                  <a:lnTo>
                    <a:pt x="295" y="87"/>
                  </a:lnTo>
                  <a:lnTo>
                    <a:pt x="279" y="93"/>
                  </a:lnTo>
                  <a:lnTo>
                    <a:pt x="264" y="99"/>
                  </a:lnTo>
                  <a:lnTo>
                    <a:pt x="248" y="107"/>
                  </a:lnTo>
                  <a:lnTo>
                    <a:pt x="233" y="116"/>
                  </a:lnTo>
                  <a:lnTo>
                    <a:pt x="219" y="125"/>
                  </a:lnTo>
                  <a:lnTo>
                    <a:pt x="205" y="135"/>
                  </a:lnTo>
                  <a:lnTo>
                    <a:pt x="193" y="145"/>
                  </a:lnTo>
                  <a:lnTo>
                    <a:pt x="180" y="156"/>
                  </a:lnTo>
                  <a:lnTo>
                    <a:pt x="167" y="168"/>
                  </a:lnTo>
                  <a:lnTo>
                    <a:pt x="156" y="181"/>
                  </a:lnTo>
                  <a:lnTo>
                    <a:pt x="144" y="193"/>
                  </a:lnTo>
                  <a:lnTo>
                    <a:pt x="134" y="207"/>
                  </a:lnTo>
                  <a:lnTo>
                    <a:pt x="124" y="220"/>
                  </a:lnTo>
                  <a:lnTo>
                    <a:pt x="115" y="235"/>
                  </a:lnTo>
                  <a:lnTo>
                    <a:pt x="106" y="249"/>
                  </a:lnTo>
                  <a:lnTo>
                    <a:pt x="99" y="264"/>
                  </a:lnTo>
                  <a:lnTo>
                    <a:pt x="91" y="281"/>
                  </a:lnTo>
                  <a:lnTo>
                    <a:pt x="85" y="296"/>
                  </a:lnTo>
                  <a:lnTo>
                    <a:pt x="80" y="312"/>
                  </a:lnTo>
                  <a:lnTo>
                    <a:pt x="75" y="329"/>
                  </a:lnTo>
                  <a:lnTo>
                    <a:pt x="71" y="347"/>
                  </a:lnTo>
                  <a:lnTo>
                    <a:pt x="68" y="363"/>
                  </a:lnTo>
                  <a:lnTo>
                    <a:pt x="66" y="381"/>
                  </a:lnTo>
                  <a:lnTo>
                    <a:pt x="65" y="399"/>
                  </a:lnTo>
                  <a:lnTo>
                    <a:pt x="65" y="418"/>
                  </a:lnTo>
                  <a:lnTo>
                    <a:pt x="65" y="435"/>
                  </a:lnTo>
                  <a:lnTo>
                    <a:pt x="66" y="453"/>
                  </a:lnTo>
                  <a:lnTo>
                    <a:pt x="68" y="471"/>
                  </a:lnTo>
                  <a:lnTo>
                    <a:pt x="71" y="487"/>
                  </a:lnTo>
                  <a:lnTo>
                    <a:pt x="75" y="505"/>
                  </a:lnTo>
                  <a:lnTo>
                    <a:pt x="80" y="522"/>
                  </a:lnTo>
                  <a:lnTo>
                    <a:pt x="85" y="538"/>
                  </a:lnTo>
                  <a:lnTo>
                    <a:pt x="91" y="553"/>
                  </a:lnTo>
                  <a:lnTo>
                    <a:pt x="99" y="570"/>
                  </a:lnTo>
                  <a:lnTo>
                    <a:pt x="106" y="585"/>
                  </a:lnTo>
                  <a:lnTo>
                    <a:pt x="115" y="599"/>
                  </a:lnTo>
                  <a:lnTo>
                    <a:pt x="124" y="614"/>
                  </a:lnTo>
                  <a:lnTo>
                    <a:pt x="134" y="627"/>
                  </a:lnTo>
                  <a:lnTo>
                    <a:pt x="144" y="641"/>
                  </a:lnTo>
                  <a:lnTo>
                    <a:pt x="156" y="653"/>
                  </a:lnTo>
                  <a:lnTo>
                    <a:pt x="167" y="666"/>
                  </a:lnTo>
                  <a:lnTo>
                    <a:pt x="180" y="678"/>
                  </a:lnTo>
                  <a:lnTo>
                    <a:pt x="193" y="689"/>
                  </a:lnTo>
                  <a:lnTo>
                    <a:pt x="205" y="699"/>
                  </a:lnTo>
                  <a:lnTo>
                    <a:pt x="219" y="709"/>
                  </a:lnTo>
                  <a:lnTo>
                    <a:pt x="233" y="718"/>
                  </a:lnTo>
                  <a:lnTo>
                    <a:pt x="248" y="727"/>
                  </a:lnTo>
                  <a:lnTo>
                    <a:pt x="264" y="735"/>
                  </a:lnTo>
                  <a:lnTo>
                    <a:pt x="279" y="741"/>
                  </a:lnTo>
                  <a:lnTo>
                    <a:pt x="295" y="747"/>
                  </a:lnTo>
                  <a:lnTo>
                    <a:pt x="312" y="754"/>
                  </a:lnTo>
                  <a:lnTo>
                    <a:pt x="328" y="757"/>
                  </a:lnTo>
                  <a:lnTo>
                    <a:pt x="345" y="761"/>
                  </a:lnTo>
                  <a:lnTo>
                    <a:pt x="363" y="765"/>
                  </a:lnTo>
                  <a:lnTo>
                    <a:pt x="380" y="768"/>
                  </a:lnTo>
                  <a:lnTo>
                    <a:pt x="398" y="769"/>
                  </a:lnTo>
                  <a:lnTo>
                    <a:pt x="416" y="769"/>
                  </a:lnTo>
                  <a:lnTo>
                    <a:pt x="434" y="769"/>
                  </a:lnTo>
                  <a:lnTo>
                    <a:pt x="451" y="768"/>
                  </a:lnTo>
                  <a:lnTo>
                    <a:pt x="469" y="765"/>
                  </a:lnTo>
                  <a:lnTo>
                    <a:pt x="487" y="761"/>
                  </a:lnTo>
                  <a:lnTo>
                    <a:pt x="503" y="757"/>
                  </a:lnTo>
                  <a:lnTo>
                    <a:pt x="521" y="754"/>
                  </a:lnTo>
                  <a:lnTo>
                    <a:pt x="536" y="747"/>
                  </a:lnTo>
                  <a:lnTo>
                    <a:pt x="553" y="741"/>
                  </a:lnTo>
                  <a:lnTo>
                    <a:pt x="568" y="735"/>
                  </a:lnTo>
                  <a:lnTo>
                    <a:pt x="583" y="727"/>
                  </a:lnTo>
                  <a:lnTo>
                    <a:pt x="598" y="718"/>
                  </a:lnTo>
                  <a:lnTo>
                    <a:pt x="612" y="709"/>
                  </a:lnTo>
                  <a:lnTo>
                    <a:pt x="626" y="699"/>
                  </a:lnTo>
                  <a:lnTo>
                    <a:pt x="640" y="689"/>
                  </a:lnTo>
                  <a:lnTo>
                    <a:pt x="653" y="678"/>
                  </a:lnTo>
                  <a:lnTo>
                    <a:pt x="664" y="666"/>
                  </a:lnTo>
                  <a:lnTo>
                    <a:pt x="677" y="653"/>
                  </a:lnTo>
                  <a:lnTo>
                    <a:pt x="687" y="641"/>
                  </a:lnTo>
                  <a:lnTo>
                    <a:pt x="699" y="627"/>
                  </a:lnTo>
                  <a:lnTo>
                    <a:pt x="707" y="614"/>
                  </a:lnTo>
                  <a:lnTo>
                    <a:pt x="716" y="599"/>
                  </a:lnTo>
                  <a:lnTo>
                    <a:pt x="725" y="585"/>
                  </a:lnTo>
                  <a:lnTo>
                    <a:pt x="733" y="570"/>
                  </a:lnTo>
                  <a:lnTo>
                    <a:pt x="740" y="553"/>
                  </a:lnTo>
                  <a:lnTo>
                    <a:pt x="747" y="538"/>
                  </a:lnTo>
                  <a:lnTo>
                    <a:pt x="752" y="522"/>
                  </a:lnTo>
                  <a:lnTo>
                    <a:pt x="757" y="505"/>
                  </a:lnTo>
                  <a:lnTo>
                    <a:pt x="761" y="487"/>
                  </a:lnTo>
                  <a:lnTo>
                    <a:pt x="765" y="471"/>
                  </a:lnTo>
                  <a:lnTo>
                    <a:pt x="766" y="453"/>
                  </a:lnTo>
                  <a:lnTo>
                    <a:pt x="767" y="435"/>
                  </a:lnTo>
                  <a:lnTo>
                    <a:pt x="768" y="418"/>
                  </a:lnTo>
                  <a:lnTo>
                    <a:pt x="767" y="399"/>
                  </a:lnTo>
                  <a:lnTo>
                    <a:pt x="766" y="381"/>
                  </a:lnTo>
                  <a:lnTo>
                    <a:pt x="765" y="363"/>
                  </a:lnTo>
                  <a:lnTo>
                    <a:pt x="761" y="347"/>
                  </a:lnTo>
                  <a:lnTo>
                    <a:pt x="757" y="329"/>
                  </a:lnTo>
                  <a:lnTo>
                    <a:pt x="752" y="312"/>
                  </a:lnTo>
                  <a:lnTo>
                    <a:pt x="747" y="296"/>
                  </a:lnTo>
                  <a:lnTo>
                    <a:pt x="740" y="281"/>
                  </a:lnTo>
                  <a:lnTo>
                    <a:pt x="733" y="264"/>
                  </a:lnTo>
                  <a:lnTo>
                    <a:pt x="725" y="249"/>
                  </a:lnTo>
                  <a:lnTo>
                    <a:pt x="716" y="235"/>
                  </a:lnTo>
                  <a:lnTo>
                    <a:pt x="707" y="220"/>
                  </a:lnTo>
                  <a:lnTo>
                    <a:pt x="699" y="207"/>
                  </a:lnTo>
                  <a:lnTo>
                    <a:pt x="687" y="193"/>
                  </a:lnTo>
                  <a:lnTo>
                    <a:pt x="677" y="181"/>
                  </a:lnTo>
                  <a:lnTo>
                    <a:pt x="664" y="168"/>
                  </a:lnTo>
                  <a:lnTo>
                    <a:pt x="653" y="156"/>
                  </a:lnTo>
                  <a:lnTo>
                    <a:pt x="640" y="145"/>
                  </a:lnTo>
                  <a:lnTo>
                    <a:pt x="626" y="135"/>
                  </a:lnTo>
                  <a:lnTo>
                    <a:pt x="612" y="125"/>
                  </a:lnTo>
                  <a:lnTo>
                    <a:pt x="598" y="116"/>
                  </a:lnTo>
                  <a:lnTo>
                    <a:pt x="583" y="107"/>
                  </a:lnTo>
                  <a:lnTo>
                    <a:pt x="568" y="99"/>
                  </a:lnTo>
                  <a:lnTo>
                    <a:pt x="553" y="93"/>
                  </a:lnTo>
                  <a:lnTo>
                    <a:pt x="536" y="87"/>
                  </a:lnTo>
                  <a:lnTo>
                    <a:pt x="521" y="80"/>
                  </a:lnTo>
                  <a:lnTo>
                    <a:pt x="503" y="77"/>
                  </a:lnTo>
                  <a:lnTo>
                    <a:pt x="487" y="73"/>
                  </a:lnTo>
                  <a:lnTo>
                    <a:pt x="469" y="69"/>
                  </a:lnTo>
                  <a:lnTo>
                    <a:pt x="451" y="66"/>
                  </a:lnTo>
                  <a:lnTo>
                    <a:pt x="434" y="65"/>
                  </a:lnTo>
                  <a:lnTo>
                    <a:pt x="416" y="65"/>
                  </a:lnTo>
                  <a:close/>
                  <a:moveTo>
                    <a:pt x="416" y="834"/>
                  </a:moveTo>
                  <a:lnTo>
                    <a:pt x="394" y="832"/>
                  </a:lnTo>
                  <a:lnTo>
                    <a:pt x="374" y="831"/>
                  </a:lnTo>
                  <a:lnTo>
                    <a:pt x="352" y="828"/>
                  </a:lnTo>
                  <a:lnTo>
                    <a:pt x="332" y="825"/>
                  </a:lnTo>
                  <a:lnTo>
                    <a:pt x="312" y="820"/>
                  </a:lnTo>
                  <a:lnTo>
                    <a:pt x="293" y="815"/>
                  </a:lnTo>
                  <a:lnTo>
                    <a:pt x="273" y="808"/>
                  </a:lnTo>
                  <a:lnTo>
                    <a:pt x="255" y="801"/>
                  </a:lnTo>
                  <a:lnTo>
                    <a:pt x="236" y="792"/>
                  </a:lnTo>
                  <a:lnTo>
                    <a:pt x="218" y="783"/>
                  </a:lnTo>
                  <a:lnTo>
                    <a:pt x="200" y="773"/>
                  </a:lnTo>
                  <a:lnTo>
                    <a:pt x="184" y="761"/>
                  </a:lnTo>
                  <a:lnTo>
                    <a:pt x="167" y="750"/>
                  </a:lnTo>
                  <a:lnTo>
                    <a:pt x="152" y="738"/>
                  </a:lnTo>
                  <a:lnTo>
                    <a:pt x="137" y="725"/>
                  </a:lnTo>
                  <a:lnTo>
                    <a:pt x="122" y="711"/>
                  </a:lnTo>
                  <a:lnTo>
                    <a:pt x="108" y="697"/>
                  </a:lnTo>
                  <a:lnTo>
                    <a:pt x="95" y="681"/>
                  </a:lnTo>
                  <a:lnTo>
                    <a:pt x="82" y="666"/>
                  </a:lnTo>
                  <a:lnTo>
                    <a:pt x="71" y="650"/>
                  </a:lnTo>
                  <a:lnTo>
                    <a:pt x="61" y="632"/>
                  </a:lnTo>
                  <a:lnTo>
                    <a:pt x="51" y="615"/>
                  </a:lnTo>
                  <a:lnTo>
                    <a:pt x="40" y="598"/>
                  </a:lnTo>
                  <a:lnTo>
                    <a:pt x="33" y="579"/>
                  </a:lnTo>
                  <a:lnTo>
                    <a:pt x="25" y="560"/>
                  </a:lnTo>
                  <a:lnTo>
                    <a:pt x="19" y="541"/>
                  </a:lnTo>
                  <a:lnTo>
                    <a:pt x="13" y="520"/>
                  </a:lnTo>
                  <a:lnTo>
                    <a:pt x="9" y="501"/>
                  </a:lnTo>
                  <a:lnTo>
                    <a:pt x="5" y="480"/>
                  </a:lnTo>
                  <a:lnTo>
                    <a:pt x="2" y="459"/>
                  </a:lnTo>
                  <a:lnTo>
                    <a:pt x="0" y="438"/>
                  </a:lnTo>
                  <a:lnTo>
                    <a:pt x="0" y="418"/>
                  </a:lnTo>
                  <a:lnTo>
                    <a:pt x="0" y="396"/>
                  </a:lnTo>
                  <a:lnTo>
                    <a:pt x="2" y="375"/>
                  </a:lnTo>
                  <a:lnTo>
                    <a:pt x="5" y="354"/>
                  </a:lnTo>
                  <a:lnTo>
                    <a:pt x="9" y="333"/>
                  </a:lnTo>
                  <a:lnTo>
                    <a:pt x="13" y="314"/>
                  </a:lnTo>
                  <a:lnTo>
                    <a:pt x="19" y="293"/>
                  </a:lnTo>
                  <a:lnTo>
                    <a:pt x="25" y="274"/>
                  </a:lnTo>
                  <a:lnTo>
                    <a:pt x="33" y="255"/>
                  </a:lnTo>
                  <a:lnTo>
                    <a:pt x="40" y="236"/>
                  </a:lnTo>
                  <a:lnTo>
                    <a:pt x="51" y="219"/>
                  </a:lnTo>
                  <a:lnTo>
                    <a:pt x="61" y="202"/>
                  </a:lnTo>
                  <a:lnTo>
                    <a:pt x="71" y="184"/>
                  </a:lnTo>
                  <a:lnTo>
                    <a:pt x="82" y="168"/>
                  </a:lnTo>
                  <a:lnTo>
                    <a:pt x="95" y="153"/>
                  </a:lnTo>
                  <a:lnTo>
                    <a:pt x="108" y="137"/>
                  </a:lnTo>
                  <a:lnTo>
                    <a:pt x="122" y="123"/>
                  </a:lnTo>
                  <a:lnTo>
                    <a:pt x="137" y="109"/>
                  </a:lnTo>
                  <a:lnTo>
                    <a:pt x="152" y="96"/>
                  </a:lnTo>
                  <a:lnTo>
                    <a:pt x="167" y="84"/>
                  </a:lnTo>
                  <a:lnTo>
                    <a:pt x="184" y="73"/>
                  </a:lnTo>
                  <a:lnTo>
                    <a:pt x="200" y="61"/>
                  </a:lnTo>
                  <a:lnTo>
                    <a:pt x="218" y="51"/>
                  </a:lnTo>
                  <a:lnTo>
                    <a:pt x="236" y="42"/>
                  </a:lnTo>
                  <a:lnTo>
                    <a:pt x="255" y="33"/>
                  </a:lnTo>
                  <a:lnTo>
                    <a:pt x="273" y="26"/>
                  </a:lnTo>
                  <a:lnTo>
                    <a:pt x="293" y="19"/>
                  </a:lnTo>
                  <a:lnTo>
                    <a:pt x="312" y="14"/>
                  </a:lnTo>
                  <a:lnTo>
                    <a:pt x="332" y="9"/>
                  </a:lnTo>
                  <a:lnTo>
                    <a:pt x="352" y="6"/>
                  </a:lnTo>
                  <a:lnTo>
                    <a:pt x="374" y="3"/>
                  </a:lnTo>
                  <a:lnTo>
                    <a:pt x="394" y="2"/>
                  </a:lnTo>
                  <a:lnTo>
                    <a:pt x="416" y="0"/>
                  </a:lnTo>
                  <a:lnTo>
                    <a:pt x="437" y="2"/>
                  </a:lnTo>
                  <a:lnTo>
                    <a:pt x="459" y="3"/>
                  </a:lnTo>
                  <a:lnTo>
                    <a:pt x="479" y="6"/>
                  </a:lnTo>
                  <a:lnTo>
                    <a:pt x="500" y="9"/>
                  </a:lnTo>
                  <a:lnTo>
                    <a:pt x="520" y="14"/>
                  </a:lnTo>
                  <a:lnTo>
                    <a:pt x="540" y="19"/>
                  </a:lnTo>
                  <a:lnTo>
                    <a:pt x="559" y="26"/>
                  </a:lnTo>
                  <a:lnTo>
                    <a:pt x="578" y="33"/>
                  </a:lnTo>
                  <a:lnTo>
                    <a:pt x="596" y="42"/>
                  </a:lnTo>
                  <a:lnTo>
                    <a:pt x="614" y="51"/>
                  </a:lnTo>
                  <a:lnTo>
                    <a:pt x="631" y="61"/>
                  </a:lnTo>
                  <a:lnTo>
                    <a:pt x="648" y="73"/>
                  </a:lnTo>
                  <a:lnTo>
                    <a:pt x="664" y="84"/>
                  </a:lnTo>
                  <a:lnTo>
                    <a:pt x="681" y="96"/>
                  </a:lnTo>
                  <a:lnTo>
                    <a:pt x="696" y="109"/>
                  </a:lnTo>
                  <a:lnTo>
                    <a:pt x="710" y="123"/>
                  </a:lnTo>
                  <a:lnTo>
                    <a:pt x="724" y="137"/>
                  </a:lnTo>
                  <a:lnTo>
                    <a:pt x="737" y="153"/>
                  </a:lnTo>
                  <a:lnTo>
                    <a:pt x="749" y="168"/>
                  </a:lnTo>
                  <a:lnTo>
                    <a:pt x="761" y="184"/>
                  </a:lnTo>
                  <a:lnTo>
                    <a:pt x="772" y="202"/>
                  </a:lnTo>
                  <a:lnTo>
                    <a:pt x="782" y="219"/>
                  </a:lnTo>
                  <a:lnTo>
                    <a:pt x="791" y="236"/>
                  </a:lnTo>
                  <a:lnTo>
                    <a:pt x="799" y="255"/>
                  </a:lnTo>
                  <a:lnTo>
                    <a:pt x="806" y="274"/>
                  </a:lnTo>
                  <a:lnTo>
                    <a:pt x="813" y="293"/>
                  </a:lnTo>
                  <a:lnTo>
                    <a:pt x="819" y="314"/>
                  </a:lnTo>
                  <a:lnTo>
                    <a:pt x="824" y="333"/>
                  </a:lnTo>
                  <a:lnTo>
                    <a:pt x="827" y="354"/>
                  </a:lnTo>
                  <a:lnTo>
                    <a:pt x="830" y="375"/>
                  </a:lnTo>
                  <a:lnTo>
                    <a:pt x="832" y="396"/>
                  </a:lnTo>
                  <a:lnTo>
                    <a:pt x="832" y="418"/>
                  </a:lnTo>
                  <a:lnTo>
                    <a:pt x="832" y="438"/>
                  </a:lnTo>
                  <a:lnTo>
                    <a:pt x="830" y="459"/>
                  </a:lnTo>
                  <a:lnTo>
                    <a:pt x="827" y="480"/>
                  </a:lnTo>
                  <a:lnTo>
                    <a:pt x="824" y="501"/>
                  </a:lnTo>
                  <a:lnTo>
                    <a:pt x="819" y="520"/>
                  </a:lnTo>
                  <a:lnTo>
                    <a:pt x="813" y="541"/>
                  </a:lnTo>
                  <a:lnTo>
                    <a:pt x="806" y="560"/>
                  </a:lnTo>
                  <a:lnTo>
                    <a:pt x="799" y="579"/>
                  </a:lnTo>
                  <a:lnTo>
                    <a:pt x="791" y="598"/>
                  </a:lnTo>
                  <a:lnTo>
                    <a:pt x="782" y="615"/>
                  </a:lnTo>
                  <a:lnTo>
                    <a:pt x="772" y="632"/>
                  </a:lnTo>
                  <a:lnTo>
                    <a:pt x="761" y="650"/>
                  </a:lnTo>
                  <a:lnTo>
                    <a:pt x="749" y="666"/>
                  </a:lnTo>
                  <a:lnTo>
                    <a:pt x="737" y="681"/>
                  </a:lnTo>
                  <a:lnTo>
                    <a:pt x="724" y="697"/>
                  </a:lnTo>
                  <a:lnTo>
                    <a:pt x="710" y="711"/>
                  </a:lnTo>
                  <a:lnTo>
                    <a:pt x="696" y="725"/>
                  </a:lnTo>
                  <a:lnTo>
                    <a:pt x="681" y="738"/>
                  </a:lnTo>
                  <a:lnTo>
                    <a:pt x="664" y="750"/>
                  </a:lnTo>
                  <a:lnTo>
                    <a:pt x="648" y="761"/>
                  </a:lnTo>
                  <a:lnTo>
                    <a:pt x="631" y="773"/>
                  </a:lnTo>
                  <a:lnTo>
                    <a:pt x="614" y="783"/>
                  </a:lnTo>
                  <a:lnTo>
                    <a:pt x="596" y="792"/>
                  </a:lnTo>
                  <a:lnTo>
                    <a:pt x="578" y="801"/>
                  </a:lnTo>
                  <a:lnTo>
                    <a:pt x="559" y="808"/>
                  </a:lnTo>
                  <a:lnTo>
                    <a:pt x="540" y="815"/>
                  </a:lnTo>
                  <a:lnTo>
                    <a:pt x="520" y="820"/>
                  </a:lnTo>
                  <a:lnTo>
                    <a:pt x="500" y="825"/>
                  </a:lnTo>
                  <a:lnTo>
                    <a:pt x="479" y="828"/>
                  </a:lnTo>
                  <a:lnTo>
                    <a:pt x="459" y="831"/>
                  </a:lnTo>
                  <a:lnTo>
                    <a:pt x="437" y="832"/>
                  </a:lnTo>
                  <a:lnTo>
                    <a:pt x="416" y="8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1" name="Freeform 12">
              <a:extLst>
                <a:ext uri="{FF2B5EF4-FFF2-40B4-BE49-F238E27FC236}">
                  <a16:creationId xmlns:a16="http://schemas.microsoft.com/office/drawing/2014/main" id="{7EF4B57E-7D5A-43DC-9D35-AB2684A7DFBE}"/>
                </a:ext>
              </a:extLst>
            </p:cNvPr>
            <p:cNvSpPr>
              <a:spLocks/>
            </p:cNvSpPr>
            <p:nvPr/>
          </p:nvSpPr>
          <p:spPr bwMode="auto">
            <a:xfrm>
              <a:off x="9694863" y="3305175"/>
              <a:ext cx="112713" cy="247650"/>
            </a:xfrm>
            <a:custGeom>
              <a:avLst/>
              <a:gdLst>
                <a:gd name="T0" fmla="*/ 99 w 283"/>
                <a:gd name="T1" fmla="*/ 544 h 621"/>
                <a:gd name="T2" fmla="*/ 51 w 283"/>
                <a:gd name="T3" fmla="*/ 535 h 621"/>
                <a:gd name="T4" fmla="*/ 11 w 283"/>
                <a:gd name="T5" fmla="*/ 518 h 621"/>
                <a:gd name="T6" fmla="*/ 30 w 283"/>
                <a:gd name="T7" fmla="*/ 468 h 621"/>
                <a:gd name="T8" fmla="*/ 68 w 283"/>
                <a:gd name="T9" fmla="*/ 484 h 621"/>
                <a:gd name="T10" fmla="*/ 112 w 283"/>
                <a:gd name="T11" fmla="*/ 493 h 621"/>
                <a:gd name="T12" fmla="*/ 146 w 283"/>
                <a:gd name="T13" fmla="*/ 492 h 621"/>
                <a:gd name="T14" fmla="*/ 172 w 283"/>
                <a:gd name="T15" fmla="*/ 484 h 621"/>
                <a:gd name="T16" fmla="*/ 193 w 283"/>
                <a:gd name="T17" fmla="*/ 473 h 621"/>
                <a:gd name="T18" fmla="*/ 207 w 283"/>
                <a:gd name="T19" fmla="*/ 455 h 621"/>
                <a:gd name="T20" fmla="*/ 216 w 283"/>
                <a:gd name="T21" fmla="*/ 435 h 621"/>
                <a:gd name="T22" fmla="*/ 217 w 283"/>
                <a:gd name="T23" fmla="*/ 412 h 621"/>
                <a:gd name="T24" fmla="*/ 212 w 283"/>
                <a:gd name="T25" fmla="*/ 390 h 621"/>
                <a:gd name="T26" fmla="*/ 201 w 283"/>
                <a:gd name="T27" fmla="*/ 373 h 621"/>
                <a:gd name="T28" fmla="*/ 169 w 283"/>
                <a:gd name="T29" fmla="*/ 347 h 621"/>
                <a:gd name="T30" fmla="*/ 104 w 283"/>
                <a:gd name="T31" fmla="*/ 318 h 621"/>
                <a:gd name="T32" fmla="*/ 59 w 283"/>
                <a:gd name="T33" fmla="*/ 291 h 621"/>
                <a:gd name="T34" fmla="*/ 33 w 283"/>
                <a:gd name="T35" fmla="*/ 269 h 621"/>
                <a:gd name="T36" fmla="*/ 16 w 283"/>
                <a:gd name="T37" fmla="*/ 242 h 621"/>
                <a:gd name="T38" fmla="*/ 8 w 283"/>
                <a:gd name="T39" fmla="*/ 210 h 621"/>
                <a:gd name="T40" fmla="*/ 9 w 283"/>
                <a:gd name="T41" fmla="*/ 176 h 621"/>
                <a:gd name="T42" fmla="*/ 19 w 283"/>
                <a:gd name="T43" fmla="*/ 144 h 621"/>
                <a:gd name="T44" fmla="*/ 39 w 283"/>
                <a:gd name="T45" fmla="*/ 118 h 621"/>
                <a:gd name="T46" fmla="*/ 64 w 283"/>
                <a:gd name="T47" fmla="*/ 97 h 621"/>
                <a:gd name="T48" fmla="*/ 97 w 283"/>
                <a:gd name="T49" fmla="*/ 82 h 621"/>
                <a:gd name="T50" fmla="*/ 121 w 283"/>
                <a:gd name="T51" fmla="*/ 0 h 621"/>
                <a:gd name="T52" fmla="*/ 184 w 283"/>
                <a:gd name="T53" fmla="*/ 75 h 621"/>
                <a:gd name="T54" fmla="*/ 226 w 283"/>
                <a:gd name="T55" fmla="*/ 82 h 621"/>
                <a:gd name="T56" fmla="*/ 258 w 283"/>
                <a:gd name="T57" fmla="*/ 95 h 621"/>
                <a:gd name="T58" fmla="*/ 233 w 283"/>
                <a:gd name="T59" fmla="*/ 142 h 621"/>
                <a:gd name="T60" fmla="*/ 186 w 283"/>
                <a:gd name="T61" fmla="*/ 126 h 621"/>
                <a:gd name="T62" fmla="*/ 142 w 283"/>
                <a:gd name="T63" fmla="*/ 124 h 621"/>
                <a:gd name="T64" fmla="*/ 116 w 283"/>
                <a:gd name="T65" fmla="*/ 130 h 621"/>
                <a:gd name="T66" fmla="*/ 96 w 283"/>
                <a:gd name="T67" fmla="*/ 140 h 621"/>
                <a:gd name="T68" fmla="*/ 83 w 283"/>
                <a:gd name="T69" fmla="*/ 156 h 621"/>
                <a:gd name="T70" fmla="*/ 73 w 283"/>
                <a:gd name="T71" fmla="*/ 177 h 621"/>
                <a:gd name="T72" fmla="*/ 74 w 283"/>
                <a:gd name="T73" fmla="*/ 203 h 621"/>
                <a:gd name="T74" fmla="*/ 80 w 283"/>
                <a:gd name="T75" fmla="*/ 222 h 621"/>
                <a:gd name="T76" fmla="*/ 94 w 283"/>
                <a:gd name="T77" fmla="*/ 237 h 621"/>
                <a:gd name="T78" fmla="*/ 144 w 283"/>
                <a:gd name="T79" fmla="*/ 266 h 621"/>
                <a:gd name="T80" fmla="*/ 217 w 283"/>
                <a:gd name="T81" fmla="*/ 301 h 621"/>
                <a:gd name="T82" fmla="*/ 246 w 283"/>
                <a:gd name="T83" fmla="*/ 323 h 621"/>
                <a:gd name="T84" fmla="*/ 267 w 283"/>
                <a:gd name="T85" fmla="*/ 348 h 621"/>
                <a:gd name="T86" fmla="*/ 279 w 283"/>
                <a:gd name="T87" fmla="*/ 379 h 621"/>
                <a:gd name="T88" fmla="*/ 283 w 283"/>
                <a:gd name="T89" fmla="*/ 414 h 621"/>
                <a:gd name="T90" fmla="*/ 279 w 283"/>
                <a:gd name="T91" fmla="*/ 447 h 621"/>
                <a:gd name="T92" fmla="*/ 265 w 283"/>
                <a:gd name="T93" fmla="*/ 478 h 621"/>
                <a:gd name="T94" fmla="*/ 245 w 283"/>
                <a:gd name="T95" fmla="*/ 504 h 621"/>
                <a:gd name="T96" fmla="*/ 215 w 283"/>
                <a:gd name="T97" fmla="*/ 525 h 621"/>
                <a:gd name="T98" fmla="*/ 178 w 283"/>
                <a:gd name="T99" fmla="*/ 540 h 621"/>
                <a:gd name="T100" fmla="*/ 116 w 283"/>
                <a:gd name="T101" fmla="*/ 62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3" h="621">
                  <a:moveTo>
                    <a:pt x="116" y="621"/>
                  </a:moveTo>
                  <a:lnTo>
                    <a:pt x="116" y="545"/>
                  </a:lnTo>
                  <a:lnTo>
                    <a:pt x="99" y="544"/>
                  </a:lnTo>
                  <a:lnTo>
                    <a:pt x="83" y="541"/>
                  </a:lnTo>
                  <a:lnTo>
                    <a:pt x="68" y="539"/>
                  </a:lnTo>
                  <a:lnTo>
                    <a:pt x="51" y="535"/>
                  </a:lnTo>
                  <a:lnTo>
                    <a:pt x="37" y="530"/>
                  </a:lnTo>
                  <a:lnTo>
                    <a:pt x="23" y="525"/>
                  </a:lnTo>
                  <a:lnTo>
                    <a:pt x="11" y="518"/>
                  </a:lnTo>
                  <a:lnTo>
                    <a:pt x="0" y="511"/>
                  </a:lnTo>
                  <a:lnTo>
                    <a:pt x="18" y="461"/>
                  </a:lnTo>
                  <a:lnTo>
                    <a:pt x="30" y="468"/>
                  </a:lnTo>
                  <a:lnTo>
                    <a:pt x="41" y="474"/>
                  </a:lnTo>
                  <a:lnTo>
                    <a:pt x="54" y="479"/>
                  </a:lnTo>
                  <a:lnTo>
                    <a:pt x="68" y="484"/>
                  </a:lnTo>
                  <a:lnTo>
                    <a:pt x="82" y="488"/>
                  </a:lnTo>
                  <a:lnTo>
                    <a:pt x="97" y="490"/>
                  </a:lnTo>
                  <a:lnTo>
                    <a:pt x="112" y="493"/>
                  </a:lnTo>
                  <a:lnTo>
                    <a:pt x="127" y="493"/>
                  </a:lnTo>
                  <a:lnTo>
                    <a:pt x="137" y="493"/>
                  </a:lnTo>
                  <a:lnTo>
                    <a:pt x="146" y="492"/>
                  </a:lnTo>
                  <a:lnTo>
                    <a:pt x="155" y="490"/>
                  </a:lnTo>
                  <a:lnTo>
                    <a:pt x="164" y="488"/>
                  </a:lnTo>
                  <a:lnTo>
                    <a:pt x="172" y="484"/>
                  </a:lnTo>
                  <a:lnTo>
                    <a:pt x="179" y="482"/>
                  </a:lnTo>
                  <a:lnTo>
                    <a:pt x="187" y="476"/>
                  </a:lnTo>
                  <a:lnTo>
                    <a:pt x="193" y="473"/>
                  </a:lnTo>
                  <a:lnTo>
                    <a:pt x="198" y="468"/>
                  </a:lnTo>
                  <a:lnTo>
                    <a:pt x="203" y="461"/>
                  </a:lnTo>
                  <a:lnTo>
                    <a:pt x="207" y="455"/>
                  </a:lnTo>
                  <a:lnTo>
                    <a:pt x="211" y="449"/>
                  </a:lnTo>
                  <a:lnTo>
                    <a:pt x="213" y="442"/>
                  </a:lnTo>
                  <a:lnTo>
                    <a:pt x="216" y="435"/>
                  </a:lnTo>
                  <a:lnTo>
                    <a:pt x="217" y="427"/>
                  </a:lnTo>
                  <a:lnTo>
                    <a:pt x="217" y="419"/>
                  </a:lnTo>
                  <a:lnTo>
                    <a:pt x="217" y="412"/>
                  </a:lnTo>
                  <a:lnTo>
                    <a:pt x="216" y="404"/>
                  </a:lnTo>
                  <a:lnTo>
                    <a:pt x="215" y="398"/>
                  </a:lnTo>
                  <a:lnTo>
                    <a:pt x="212" y="390"/>
                  </a:lnTo>
                  <a:lnTo>
                    <a:pt x="208" y="384"/>
                  </a:lnTo>
                  <a:lnTo>
                    <a:pt x="205" y="379"/>
                  </a:lnTo>
                  <a:lnTo>
                    <a:pt x="201" y="373"/>
                  </a:lnTo>
                  <a:lnTo>
                    <a:pt x="196" y="367"/>
                  </a:lnTo>
                  <a:lnTo>
                    <a:pt x="183" y="356"/>
                  </a:lnTo>
                  <a:lnTo>
                    <a:pt x="169" y="347"/>
                  </a:lnTo>
                  <a:lnTo>
                    <a:pt x="151" y="338"/>
                  </a:lnTo>
                  <a:lnTo>
                    <a:pt x="132" y="329"/>
                  </a:lnTo>
                  <a:lnTo>
                    <a:pt x="104" y="318"/>
                  </a:lnTo>
                  <a:lnTo>
                    <a:pt x="80" y="305"/>
                  </a:lnTo>
                  <a:lnTo>
                    <a:pt x="69" y="299"/>
                  </a:lnTo>
                  <a:lnTo>
                    <a:pt x="59" y="291"/>
                  </a:lnTo>
                  <a:lnTo>
                    <a:pt x="49" y="285"/>
                  </a:lnTo>
                  <a:lnTo>
                    <a:pt x="41" y="277"/>
                  </a:lnTo>
                  <a:lnTo>
                    <a:pt x="33" y="269"/>
                  </a:lnTo>
                  <a:lnTo>
                    <a:pt x="26" y="261"/>
                  </a:lnTo>
                  <a:lnTo>
                    <a:pt x="21" y="252"/>
                  </a:lnTo>
                  <a:lnTo>
                    <a:pt x="16" y="242"/>
                  </a:lnTo>
                  <a:lnTo>
                    <a:pt x="12" y="232"/>
                  </a:lnTo>
                  <a:lnTo>
                    <a:pt x="9" y="222"/>
                  </a:lnTo>
                  <a:lnTo>
                    <a:pt x="8" y="210"/>
                  </a:lnTo>
                  <a:lnTo>
                    <a:pt x="7" y="199"/>
                  </a:lnTo>
                  <a:lnTo>
                    <a:pt x="8" y="186"/>
                  </a:lnTo>
                  <a:lnTo>
                    <a:pt x="9" y="176"/>
                  </a:lnTo>
                  <a:lnTo>
                    <a:pt x="12" y="165"/>
                  </a:lnTo>
                  <a:lnTo>
                    <a:pt x="16" y="154"/>
                  </a:lnTo>
                  <a:lnTo>
                    <a:pt x="19" y="144"/>
                  </a:lnTo>
                  <a:lnTo>
                    <a:pt x="25" y="135"/>
                  </a:lnTo>
                  <a:lnTo>
                    <a:pt x="31" y="126"/>
                  </a:lnTo>
                  <a:lnTo>
                    <a:pt x="39" y="118"/>
                  </a:lnTo>
                  <a:lnTo>
                    <a:pt x="46" y="110"/>
                  </a:lnTo>
                  <a:lnTo>
                    <a:pt x="55" y="104"/>
                  </a:lnTo>
                  <a:lnTo>
                    <a:pt x="64" y="97"/>
                  </a:lnTo>
                  <a:lnTo>
                    <a:pt x="74" y="91"/>
                  </a:lnTo>
                  <a:lnTo>
                    <a:pt x="85" y="87"/>
                  </a:lnTo>
                  <a:lnTo>
                    <a:pt x="97" y="82"/>
                  </a:lnTo>
                  <a:lnTo>
                    <a:pt x="108" y="80"/>
                  </a:lnTo>
                  <a:lnTo>
                    <a:pt x="121" y="77"/>
                  </a:lnTo>
                  <a:lnTo>
                    <a:pt x="121" y="0"/>
                  </a:lnTo>
                  <a:lnTo>
                    <a:pt x="168" y="0"/>
                  </a:lnTo>
                  <a:lnTo>
                    <a:pt x="168" y="73"/>
                  </a:lnTo>
                  <a:lnTo>
                    <a:pt x="184" y="75"/>
                  </a:lnTo>
                  <a:lnTo>
                    <a:pt x="200" y="77"/>
                  </a:lnTo>
                  <a:lnTo>
                    <a:pt x="213" y="80"/>
                  </a:lnTo>
                  <a:lnTo>
                    <a:pt x="226" y="82"/>
                  </a:lnTo>
                  <a:lnTo>
                    <a:pt x="238" y="86"/>
                  </a:lnTo>
                  <a:lnTo>
                    <a:pt x="249" y="91"/>
                  </a:lnTo>
                  <a:lnTo>
                    <a:pt x="258" y="95"/>
                  </a:lnTo>
                  <a:lnTo>
                    <a:pt x="267" y="100"/>
                  </a:lnTo>
                  <a:lnTo>
                    <a:pt x="248" y="149"/>
                  </a:lnTo>
                  <a:lnTo>
                    <a:pt x="233" y="142"/>
                  </a:lnTo>
                  <a:lnTo>
                    <a:pt x="212" y="134"/>
                  </a:lnTo>
                  <a:lnTo>
                    <a:pt x="200" y="130"/>
                  </a:lnTo>
                  <a:lnTo>
                    <a:pt x="186" y="126"/>
                  </a:lnTo>
                  <a:lnTo>
                    <a:pt x="170" y="125"/>
                  </a:lnTo>
                  <a:lnTo>
                    <a:pt x="153" y="124"/>
                  </a:lnTo>
                  <a:lnTo>
                    <a:pt x="142" y="124"/>
                  </a:lnTo>
                  <a:lnTo>
                    <a:pt x="132" y="125"/>
                  </a:lnTo>
                  <a:lnTo>
                    <a:pt x="123" y="128"/>
                  </a:lnTo>
                  <a:lnTo>
                    <a:pt x="116" y="130"/>
                  </a:lnTo>
                  <a:lnTo>
                    <a:pt x="108" y="133"/>
                  </a:lnTo>
                  <a:lnTo>
                    <a:pt x="102" y="137"/>
                  </a:lnTo>
                  <a:lnTo>
                    <a:pt x="96" y="140"/>
                  </a:lnTo>
                  <a:lnTo>
                    <a:pt x="90" y="146"/>
                  </a:lnTo>
                  <a:lnTo>
                    <a:pt x="87" y="151"/>
                  </a:lnTo>
                  <a:lnTo>
                    <a:pt x="83" y="156"/>
                  </a:lnTo>
                  <a:lnTo>
                    <a:pt x="79" y="161"/>
                  </a:lnTo>
                  <a:lnTo>
                    <a:pt x="77" y="166"/>
                  </a:lnTo>
                  <a:lnTo>
                    <a:pt x="73" y="177"/>
                  </a:lnTo>
                  <a:lnTo>
                    <a:pt x="73" y="189"/>
                  </a:lnTo>
                  <a:lnTo>
                    <a:pt x="73" y="196"/>
                  </a:lnTo>
                  <a:lnTo>
                    <a:pt x="74" y="203"/>
                  </a:lnTo>
                  <a:lnTo>
                    <a:pt x="75" y="209"/>
                  </a:lnTo>
                  <a:lnTo>
                    <a:pt x="78" y="215"/>
                  </a:lnTo>
                  <a:lnTo>
                    <a:pt x="80" y="222"/>
                  </a:lnTo>
                  <a:lnTo>
                    <a:pt x="84" y="227"/>
                  </a:lnTo>
                  <a:lnTo>
                    <a:pt x="89" y="232"/>
                  </a:lnTo>
                  <a:lnTo>
                    <a:pt x="94" y="237"/>
                  </a:lnTo>
                  <a:lnTo>
                    <a:pt x="107" y="247"/>
                  </a:lnTo>
                  <a:lnTo>
                    <a:pt x="123" y="256"/>
                  </a:lnTo>
                  <a:lnTo>
                    <a:pt x="144" y="266"/>
                  </a:lnTo>
                  <a:lnTo>
                    <a:pt x="167" y="275"/>
                  </a:lnTo>
                  <a:lnTo>
                    <a:pt x="193" y="288"/>
                  </a:lnTo>
                  <a:lnTo>
                    <a:pt x="217" y="301"/>
                  </a:lnTo>
                  <a:lnTo>
                    <a:pt x="227" y="308"/>
                  </a:lnTo>
                  <a:lnTo>
                    <a:pt x="238" y="315"/>
                  </a:lnTo>
                  <a:lnTo>
                    <a:pt x="246" y="323"/>
                  </a:lnTo>
                  <a:lnTo>
                    <a:pt x="254" y="331"/>
                  </a:lnTo>
                  <a:lnTo>
                    <a:pt x="260" y="340"/>
                  </a:lnTo>
                  <a:lnTo>
                    <a:pt x="267" y="348"/>
                  </a:lnTo>
                  <a:lnTo>
                    <a:pt x="272" y="359"/>
                  </a:lnTo>
                  <a:lnTo>
                    <a:pt x="276" y="369"/>
                  </a:lnTo>
                  <a:lnTo>
                    <a:pt x="279" y="379"/>
                  </a:lnTo>
                  <a:lnTo>
                    <a:pt x="282" y="390"/>
                  </a:lnTo>
                  <a:lnTo>
                    <a:pt x="283" y="402"/>
                  </a:lnTo>
                  <a:lnTo>
                    <a:pt x="283" y="414"/>
                  </a:lnTo>
                  <a:lnTo>
                    <a:pt x="283" y="424"/>
                  </a:lnTo>
                  <a:lnTo>
                    <a:pt x="281" y="436"/>
                  </a:lnTo>
                  <a:lnTo>
                    <a:pt x="279" y="447"/>
                  </a:lnTo>
                  <a:lnTo>
                    <a:pt x="276" y="457"/>
                  </a:lnTo>
                  <a:lnTo>
                    <a:pt x="272" y="468"/>
                  </a:lnTo>
                  <a:lnTo>
                    <a:pt x="265" y="478"/>
                  </a:lnTo>
                  <a:lnTo>
                    <a:pt x="260" y="487"/>
                  </a:lnTo>
                  <a:lnTo>
                    <a:pt x="253" y="496"/>
                  </a:lnTo>
                  <a:lnTo>
                    <a:pt x="245" y="504"/>
                  </a:lnTo>
                  <a:lnTo>
                    <a:pt x="236" y="512"/>
                  </a:lnTo>
                  <a:lnTo>
                    <a:pt x="226" y="518"/>
                  </a:lnTo>
                  <a:lnTo>
                    <a:pt x="215" y="525"/>
                  </a:lnTo>
                  <a:lnTo>
                    <a:pt x="203" y="531"/>
                  </a:lnTo>
                  <a:lnTo>
                    <a:pt x="191" y="536"/>
                  </a:lnTo>
                  <a:lnTo>
                    <a:pt x="178" y="540"/>
                  </a:lnTo>
                  <a:lnTo>
                    <a:pt x="164" y="542"/>
                  </a:lnTo>
                  <a:lnTo>
                    <a:pt x="164" y="621"/>
                  </a:lnTo>
                  <a:lnTo>
                    <a:pt x="116" y="6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2" name="Freeform 15">
              <a:extLst>
                <a:ext uri="{FF2B5EF4-FFF2-40B4-BE49-F238E27FC236}">
                  <a16:creationId xmlns:a16="http://schemas.microsoft.com/office/drawing/2014/main" id="{AD775F01-0D34-4C81-A32E-B4F8F89F0DF8}"/>
                </a:ext>
              </a:extLst>
            </p:cNvPr>
            <p:cNvSpPr>
              <a:spLocks/>
            </p:cNvSpPr>
            <p:nvPr/>
          </p:nvSpPr>
          <p:spPr bwMode="auto">
            <a:xfrm>
              <a:off x="9436100" y="3136900"/>
              <a:ext cx="685800" cy="101600"/>
            </a:xfrm>
            <a:custGeom>
              <a:avLst/>
              <a:gdLst>
                <a:gd name="T0" fmla="*/ 31 w 1728"/>
                <a:gd name="T1" fmla="*/ 256 h 256"/>
                <a:gd name="T2" fmla="*/ 31 w 1728"/>
                <a:gd name="T3" fmla="*/ 256 h 256"/>
                <a:gd name="T4" fmla="*/ 30 w 1728"/>
                <a:gd name="T5" fmla="*/ 256 h 256"/>
                <a:gd name="T6" fmla="*/ 24 w 1728"/>
                <a:gd name="T7" fmla="*/ 255 h 256"/>
                <a:gd name="T8" fmla="*/ 17 w 1728"/>
                <a:gd name="T9" fmla="*/ 252 h 256"/>
                <a:gd name="T10" fmla="*/ 12 w 1728"/>
                <a:gd name="T11" fmla="*/ 250 h 256"/>
                <a:gd name="T12" fmla="*/ 9 w 1728"/>
                <a:gd name="T13" fmla="*/ 246 h 256"/>
                <a:gd name="T14" fmla="*/ 5 w 1728"/>
                <a:gd name="T15" fmla="*/ 241 h 256"/>
                <a:gd name="T16" fmla="*/ 2 w 1728"/>
                <a:gd name="T17" fmla="*/ 234 h 256"/>
                <a:gd name="T18" fmla="*/ 0 w 1728"/>
                <a:gd name="T19" fmla="*/ 229 h 256"/>
                <a:gd name="T20" fmla="*/ 0 w 1728"/>
                <a:gd name="T21" fmla="*/ 222 h 256"/>
                <a:gd name="T22" fmla="*/ 10 w 1728"/>
                <a:gd name="T23" fmla="*/ 30 h 256"/>
                <a:gd name="T24" fmla="*/ 11 w 1728"/>
                <a:gd name="T25" fmla="*/ 24 h 256"/>
                <a:gd name="T26" fmla="*/ 14 w 1728"/>
                <a:gd name="T27" fmla="*/ 18 h 256"/>
                <a:gd name="T28" fmla="*/ 16 w 1728"/>
                <a:gd name="T29" fmla="*/ 13 h 256"/>
                <a:gd name="T30" fmla="*/ 21 w 1728"/>
                <a:gd name="T31" fmla="*/ 8 h 256"/>
                <a:gd name="T32" fmla="*/ 26 w 1728"/>
                <a:gd name="T33" fmla="*/ 4 h 256"/>
                <a:gd name="T34" fmla="*/ 33 w 1728"/>
                <a:gd name="T35" fmla="*/ 1 h 256"/>
                <a:gd name="T36" fmla="*/ 39 w 1728"/>
                <a:gd name="T37" fmla="*/ 0 h 256"/>
                <a:gd name="T38" fmla="*/ 45 w 1728"/>
                <a:gd name="T39" fmla="*/ 0 h 256"/>
                <a:gd name="T40" fmla="*/ 1699 w 1728"/>
                <a:gd name="T41" fmla="*/ 174 h 256"/>
                <a:gd name="T42" fmla="*/ 1705 w 1728"/>
                <a:gd name="T43" fmla="*/ 175 h 256"/>
                <a:gd name="T44" fmla="*/ 1712 w 1728"/>
                <a:gd name="T45" fmla="*/ 177 h 256"/>
                <a:gd name="T46" fmla="*/ 1717 w 1728"/>
                <a:gd name="T47" fmla="*/ 181 h 256"/>
                <a:gd name="T48" fmla="*/ 1720 w 1728"/>
                <a:gd name="T49" fmla="*/ 186 h 256"/>
                <a:gd name="T50" fmla="*/ 1724 w 1728"/>
                <a:gd name="T51" fmla="*/ 191 h 256"/>
                <a:gd name="T52" fmla="*/ 1727 w 1728"/>
                <a:gd name="T53" fmla="*/ 196 h 256"/>
                <a:gd name="T54" fmla="*/ 1728 w 1728"/>
                <a:gd name="T55" fmla="*/ 203 h 256"/>
                <a:gd name="T56" fmla="*/ 1728 w 1728"/>
                <a:gd name="T57" fmla="*/ 209 h 256"/>
                <a:gd name="T58" fmla="*/ 1727 w 1728"/>
                <a:gd name="T59" fmla="*/ 215 h 256"/>
                <a:gd name="T60" fmla="*/ 1724 w 1728"/>
                <a:gd name="T61" fmla="*/ 222 h 256"/>
                <a:gd name="T62" fmla="*/ 1720 w 1728"/>
                <a:gd name="T63" fmla="*/ 227 h 256"/>
                <a:gd name="T64" fmla="*/ 1717 w 1728"/>
                <a:gd name="T65" fmla="*/ 231 h 256"/>
                <a:gd name="T66" fmla="*/ 1710 w 1728"/>
                <a:gd name="T67" fmla="*/ 234 h 256"/>
                <a:gd name="T68" fmla="*/ 1705 w 1728"/>
                <a:gd name="T69" fmla="*/ 237 h 256"/>
                <a:gd name="T70" fmla="*/ 1699 w 1728"/>
                <a:gd name="T71" fmla="*/ 238 h 256"/>
                <a:gd name="T72" fmla="*/ 1692 w 1728"/>
                <a:gd name="T73" fmla="*/ 238 h 256"/>
                <a:gd name="T74" fmla="*/ 72 w 1728"/>
                <a:gd name="T75" fmla="*/ 67 h 256"/>
                <a:gd name="T76" fmla="*/ 64 w 1728"/>
                <a:gd name="T77" fmla="*/ 226 h 256"/>
                <a:gd name="T78" fmla="*/ 63 w 1728"/>
                <a:gd name="T79" fmla="*/ 232 h 256"/>
                <a:gd name="T80" fmla="*/ 61 w 1728"/>
                <a:gd name="T81" fmla="*/ 237 h 256"/>
                <a:gd name="T82" fmla="*/ 58 w 1728"/>
                <a:gd name="T83" fmla="*/ 243 h 256"/>
                <a:gd name="T84" fmla="*/ 54 w 1728"/>
                <a:gd name="T85" fmla="*/ 247 h 256"/>
                <a:gd name="T86" fmla="*/ 49 w 1728"/>
                <a:gd name="T87" fmla="*/ 251 h 256"/>
                <a:gd name="T88" fmla="*/ 44 w 1728"/>
                <a:gd name="T89" fmla="*/ 254 h 256"/>
                <a:gd name="T90" fmla="*/ 38 w 1728"/>
                <a:gd name="T91" fmla="*/ 255 h 256"/>
                <a:gd name="T92" fmla="*/ 31 w 1728"/>
                <a:gd name="T9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8" h="256">
                  <a:moveTo>
                    <a:pt x="31" y="256"/>
                  </a:moveTo>
                  <a:lnTo>
                    <a:pt x="31" y="256"/>
                  </a:lnTo>
                  <a:lnTo>
                    <a:pt x="30" y="256"/>
                  </a:lnTo>
                  <a:lnTo>
                    <a:pt x="24" y="255"/>
                  </a:lnTo>
                  <a:lnTo>
                    <a:pt x="17" y="252"/>
                  </a:lnTo>
                  <a:lnTo>
                    <a:pt x="12" y="250"/>
                  </a:lnTo>
                  <a:lnTo>
                    <a:pt x="9" y="246"/>
                  </a:lnTo>
                  <a:lnTo>
                    <a:pt x="5" y="241"/>
                  </a:lnTo>
                  <a:lnTo>
                    <a:pt x="2" y="234"/>
                  </a:lnTo>
                  <a:lnTo>
                    <a:pt x="0" y="229"/>
                  </a:lnTo>
                  <a:lnTo>
                    <a:pt x="0" y="222"/>
                  </a:lnTo>
                  <a:lnTo>
                    <a:pt x="10" y="30"/>
                  </a:lnTo>
                  <a:lnTo>
                    <a:pt x="11" y="24"/>
                  </a:lnTo>
                  <a:lnTo>
                    <a:pt x="14" y="18"/>
                  </a:lnTo>
                  <a:lnTo>
                    <a:pt x="16" y="13"/>
                  </a:lnTo>
                  <a:lnTo>
                    <a:pt x="21" y="8"/>
                  </a:lnTo>
                  <a:lnTo>
                    <a:pt x="26" y="4"/>
                  </a:lnTo>
                  <a:lnTo>
                    <a:pt x="33" y="1"/>
                  </a:lnTo>
                  <a:lnTo>
                    <a:pt x="39" y="0"/>
                  </a:lnTo>
                  <a:lnTo>
                    <a:pt x="45" y="0"/>
                  </a:lnTo>
                  <a:lnTo>
                    <a:pt x="1699" y="174"/>
                  </a:lnTo>
                  <a:lnTo>
                    <a:pt x="1705" y="175"/>
                  </a:lnTo>
                  <a:lnTo>
                    <a:pt x="1712" y="177"/>
                  </a:lnTo>
                  <a:lnTo>
                    <a:pt x="1717" y="181"/>
                  </a:lnTo>
                  <a:lnTo>
                    <a:pt x="1720" y="186"/>
                  </a:lnTo>
                  <a:lnTo>
                    <a:pt x="1724" y="191"/>
                  </a:lnTo>
                  <a:lnTo>
                    <a:pt x="1727" y="196"/>
                  </a:lnTo>
                  <a:lnTo>
                    <a:pt x="1728" y="203"/>
                  </a:lnTo>
                  <a:lnTo>
                    <a:pt x="1728" y="209"/>
                  </a:lnTo>
                  <a:lnTo>
                    <a:pt x="1727" y="215"/>
                  </a:lnTo>
                  <a:lnTo>
                    <a:pt x="1724" y="222"/>
                  </a:lnTo>
                  <a:lnTo>
                    <a:pt x="1720" y="227"/>
                  </a:lnTo>
                  <a:lnTo>
                    <a:pt x="1717" y="231"/>
                  </a:lnTo>
                  <a:lnTo>
                    <a:pt x="1710" y="234"/>
                  </a:lnTo>
                  <a:lnTo>
                    <a:pt x="1705" y="237"/>
                  </a:lnTo>
                  <a:lnTo>
                    <a:pt x="1699" y="238"/>
                  </a:lnTo>
                  <a:lnTo>
                    <a:pt x="1692" y="238"/>
                  </a:lnTo>
                  <a:lnTo>
                    <a:pt x="72" y="67"/>
                  </a:lnTo>
                  <a:lnTo>
                    <a:pt x="64" y="226"/>
                  </a:lnTo>
                  <a:lnTo>
                    <a:pt x="63" y="232"/>
                  </a:lnTo>
                  <a:lnTo>
                    <a:pt x="61" y="237"/>
                  </a:lnTo>
                  <a:lnTo>
                    <a:pt x="58" y="243"/>
                  </a:lnTo>
                  <a:lnTo>
                    <a:pt x="54" y="247"/>
                  </a:lnTo>
                  <a:lnTo>
                    <a:pt x="49" y="251"/>
                  </a:lnTo>
                  <a:lnTo>
                    <a:pt x="44" y="254"/>
                  </a:lnTo>
                  <a:lnTo>
                    <a:pt x="38" y="255"/>
                  </a:lnTo>
                  <a:lnTo>
                    <a:pt x="31"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3" name="Freeform 16">
              <a:extLst>
                <a:ext uri="{FF2B5EF4-FFF2-40B4-BE49-F238E27FC236}">
                  <a16:creationId xmlns:a16="http://schemas.microsoft.com/office/drawing/2014/main" id="{5CAE3D62-F5EF-4B2E-A9AE-2029BD21C38B}"/>
                </a:ext>
              </a:extLst>
            </p:cNvPr>
            <p:cNvSpPr>
              <a:spLocks/>
            </p:cNvSpPr>
            <p:nvPr/>
          </p:nvSpPr>
          <p:spPr bwMode="auto">
            <a:xfrm>
              <a:off x="9512300" y="3071813"/>
              <a:ext cx="600075" cy="166688"/>
            </a:xfrm>
            <a:custGeom>
              <a:avLst/>
              <a:gdLst>
                <a:gd name="T0" fmla="*/ 1481 w 1513"/>
                <a:gd name="T1" fmla="*/ 421 h 421"/>
                <a:gd name="T2" fmla="*/ 1478 w 1513"/>
                <a:gd name="T3" fmla="*/ 421 h 421"/>
                <a:gd name="T4" fmla="*/ 1473 w 1513"/>
                <a:gd name="T5" fmla="*/ 420 h 421"/>
                <a:gd name="T6" fmla="*/ 107 w 1513"/>
                <a:gd name="T7" fmla="*/ 70 h 421"/>
                <a:gd name="T8" fmla="*/ 63 w 1513"/>
                <a:gd name="T9" fmla="*/ 207 h 421"/>
                <a:gd name="T10" fmla="*/ 60 w 1513"/>
                <a:gd name="T11" fmla="*/ 213 h 421"/>
                <a:gd name="T12" fmla="*/ 56 w 1513"/>
                <a:gd name="T13" fmla="*/ 218 h 421"/>
                <a:gd name="T14" fmla="*/ 51 w 1513"/>
                <a:gd name="T15" fmla="*/ 222 h 421"/>
                <a:gd name="T16" fmla="*/ 46 w 1513"/>
                <a:gd name="T17" fmla="*/ 226 h 421"/>
                <a:gd name="T18" fmla="*/ 41 w 1513"/>
                <a:gd name="T19" fmla="*/ 228 h 421"/>
                <a:gd name="T20" fmla="*/ 35 w 1513"/>
                <a:gd name="T21" fmla="*/ 228 h 421"/>
                <a:gd name="T22" fmla="*/ 28 w 1513"/>
                <a:gd name="T23" fmla="*/ 228 h 421"/>
                <a:gd name="T24" fmla="*/ 22 w 1513"/>
                <a:gd name="T25" fmla="*/ 227 h 421"/>
                <a:gd name="T26" fmla="*/ 16 w 1513"/>
                <a:gd name="T27" fmla="*/ 224 h 421"/>
                <a:gd name="T28" fmla="*/ 11 w 1513"/>
                <a:gd name="T29" fmla="*/ 221 h 421"/>
                <a:gd name="T30" fmla="*/ 7 w 1513"/>
                <a:gd name="T31" fmla="*/ 217 h 421"/>
                <a:gd name="T32" fmla="*/ 3 w 1513"/>
                <a:gd name="T33" fmla="*/ 212 h 421"/>
                <a:gd name="T34" fmla="*/ 2 w 1513"/>
                <a:gd name="T35" fmla="*/ 205 h 421"/>
                <a:gd name="T36" fmla="*/ 0 w 1513"/>
                <a:gd name="T37" fmla="*/ 199 h 421"/>
                <a:gd name="T38" fmla="*/ 0 w 1513"/>
                <a:gd name="T39" fmla="*/ 193 h 421"/>
                <a:gd name="T40" fmla="*/ 2 w 1513"/>
                <a:gd name="T41" fmla="*/ 186 h 421"/>
                <a:gd name="T42" fmla="*/ 55 w 1513"/>
                <a:gd name="T43" fmla="*/ 22 h 421"/>
                <a:gd name="T44" fmla="*/ 58 w 1513"/>
                <a:gd name="T45" fmla="*/ 17 h 421"/>
                <a:gd name="T46" fmla="*/ 61 w 1513"/>
                <a:gd name="T47" fmla="*/ 11 h 421"/>
                <a:gd name="T48" fmla="*/ 66 w 1513"/>
                <a:gd name="T49" fmla="*/ 8 h 421"/>
                <a:gd name="T50" fmla="*/ 70 w 1513"/>
                <a:gd name="T51" fmla="*/ 4 h 421"/>
                <a:gd name="T52" fmla="*/ 77 w 1513"/>
                <a:gd name="T53" fmla="*/ 1 h 421"/>
                <a:gd name="T54" fmla="*/ 82 w 1513"/>
                <a:gd name="T55" fmla="*/ 0 h 421"/>
                <a:gd name="T56" fmla="*/ 88 w 1513"/>
                <a:gd name="T57" fmla="*/ 0 h 421"/>
                <a:gd name="T58" fmla="*/ 94 w 1513"/>
                <a:gd name="T59" fmla="*/ 1 h 421"/>
                <a:gd name="T60" fmla="*/ 1489 w 1513"/>
                <a:gd name="T61" fmla="*/ 358 h 421"/>
                <a:gd name="T62" fmla="*/ 1495 w 1513"/>
                <a:gd name="T63" fmla="*/ 360 h 421"/>
                <a:gd name="T64" fmla="*/ 1500 w 1513"/>
                <a:gd name="T65" fmla="*/ 364 h 421"/>
                <a:gd name="T66" fmla="*/ 1506 w 1513"/>
                <a:gd name="T67" fmla="*/ 368 h 421"/>
                <a:gd name="T68" fmla="*/ 1508 w 1513"/>
                <a:gd name="T69" fmla="*/ 373 h 421"/>
                <a:gd name="T70" fmla="*/ 1511 w 1513"/>
                <a:gd name="T71" fmla="*/ 378 h 421"/>
                <a:gd name="T72" fmla="*/ 1513 w 1513"/>
                <a:gd name="T73" fmla="*/ 384 h 421"/>
                <a:gd name="T74" fmla="*/ 1513 w 1513"/>
                <a:gd name="T75" fmla="*/ 391 h 421"/>
                <a:gd name="T76" fmla="*/ 1512 w 1513"/>
                <a:gd name="T77" fmla="*/ 397 h 421"/>
                <a:gd name="T78" fmla="*/ 1511 w 1513"/>
                <a:gd name="T79" fmla="*/ 402 h 421"/>
                <a:gd name="T80" fmla="*/ 1508 w 1513"/>
                <a:gd name="T81" fmla="*/ 407 h 421"/>
                <a:gd name="T82" fmla="*/ 1504 w 1513"/>
                <a:gd name="T83" fmla="*/ 411 h 421"/>
                <a:gd name="T84" fmla="*/ 1500 w 1513"/>
                <a:gd name="T85" fmla="*/ 415 h 421"/>
                <a:gd name="T86" fmla="*/ 1497 w 1513"/>
                <a:gd name="T87" fmla="*/ 417 h 421"/>
                <a:gd name="T88" fmla="*/ 1492 w 1513"/>
                <a:gd name="T89" fmla="*/ 420 h 421"/>
                <a:gd name="T90" fmla="*/ 1487 w 1513"/>
                <a:gd name="T91" fmla="*/ 421 h 421"/>
                <a:gd name="T92" fmla="*/ 1481 w 1513"/>
                <a:gd name="T93"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13" h="421">
                  <a:moveTo>
                    <a:pt x="1481" y="421"/>
                  </a:moveTo>
                  <a:lnTo>
                    <a:pt x="1478" y="421"/>
                  </a:lnTo>
                  <a:lnTo>
                    <a:pt x="1473" y="420"/>
                  </a:lnTo>
                  <a:lnTo>
                    <a:pt x="107" y="70"/>
                  </a:lnTo>
                  <a:lnTo>
                    <a:pt x="63" y="207"/>
                  </a:lnTo>
                  <a:lnTo>
                    <a:pt x="60" y="213"/>
                  </a:lnTo>
                  <a:lnTo>
                    <a:pt x="56" y="218"/>
                  </a:lnTo>
                  <a:lnTo>
                    <a:pt x="51" y="222"/>
                  </a:lnTo>
                  <a:lnTo>
                    <a:pt x="46" y="226"/>
                  </a:lnTo>
                  <a:lnTo>
                    <a:pt x="41" y="228"/>
                  </a:lnTo>
                  <a:lnTo>
                    <a:pt x="35" y="228"/>
                  </a:lnTo>
                  <a:lnTo>
                    <a:pt x="28" y="228"/>
                  </a:lnTo>
                  <a:lnTo>
                    <a:pt x="22" y="227"/>
                  </a:lnTo>
                  <a:lnTo>
                    <a:pt x="16" y="224"/>
                  </a:lnTo>
                  <a:lnTo>
                    <a:pt x="11" y="221"/>
                  </a:lnTo>
                  <a:lnTo>
                    <a:pt x="7" y="217"/>
                  </a:lnTo>
                  <a:lnTo>
                    <a:pt x="3" y="212"/>
                  </a:lnTo>
                  <a:lnTo>
                    <a:pt x="2" y="205"/>
                  </a:lnTo>
                  <a:lnTo>
                    <a:pt x="0" y="199"/>
                  </a:lnTo>
                  <a:lnTo>
                    <a:pt x="0" y="193"/>
                  </a:lnTo>
                  <a:lnTo>
                    <a:pt x="2" y="186"/>
                  </a:lnTo>
                  <a:lnTo>
                    <a:pt x="55" y="22"/>
                  </a:lnTo>
                  <a:lnTo>
                    <a:pt x="58" y="17"/>
                  </a:lnTo>
                  <a:lnTo>
                    <a:pt x="61" y="11"/>
                  </a:lnTo>
                  <a:lnTo>
                    <a:pt x="66" y="8"/>
                  </a:lnTo>
                  <a:lnTo>
                    <a:pt x="70" y="4"/>
                  </a:lnTo>
                  <a:lnTo>
                    <a:pt x="77" y="1"/>
                  </a:lnTo>
                  <a:lnTo>
                    <a:pt x="82" y="0"/>
                  </a:lnTo>
                  <a:lnTo>
                    <a:pt x="88" y="0"/>
                  </a:lnTo>
                  <a:lnTo>
                    <a:pt x="94" y="1"/>
                  </a:lnTo>
                  <a:lnTo>
                    <a:pt x="1489" y="358"/>
                  </a:lnTo>
                  <a:lnTo>
                    <a:pt x="1495" y="360"/>
                  </a:lnTo>
                  <a:lnTo>
                    <a:pt x="1500" y="364"/>
                  </a:lnTo>
                  <a:lnTo>
                    <a:pt x="1506" y="368"/>
                  </a:lnTo>
                  <a:lnTo>
                    <a:pt x="1508" y="373"/>
                  </a:lnTo>
                  <a:lnTo>
                    <a:pt x="1511" y="378"/>
                  </a:lnTo>
                  <a:lnTo>
                    <a:pt x="1513" y="384"/>
                  </a:lnTo>
                  <a:lnTo>
                    <a:pt x="1513" y="391"/>
                  </a:lnTo>
                  <a:lnTo>
                    <a:pt x="1512" y="397"/>
                  </a:lnTo>
                  <a:lnTo>
                    <a:pt x="1511" y="402"/>
                  </a:lnTo>
                  <a:lnTo>
                    <a:pt x="1508" y="407"/>
                  </a:lnTo>
                  <a:lnTo>
                    <a:pt x="1504" y="411"/>
                  </a:lnTo>
                  <a:lnTo>
                    <a:pt x="1500" y="415"/>
                  </a:lnTo>
                  <a:lnTo>
                    <a:pt x="1497" y="417"/>
                  </a:lnTo>
                  <a:lnTo>
                    <a:pt x="1492" y="420"/>
                  </a:lnTo>
                  <a:lnTo>
                    <a:pt x="1487" y="421"/>
                  </a:lnTo>
                  <a:lnTo>
                    <a:pt x="1481"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4" name="Freeform 37">
              <a:extLst>
                <a:ext uri="{FF2B5EF4-FFF2-40B4-BE49-F238E27FC236}">
                  <a16:creationId xmlns:a16="http://schemas.microsoft.com/office/drawing/2014/main" id="{E0C64977-C3AE-472F-8AEF-269E73D6120A}"/>
                </a:ext>
              </a:extLst>
            </p:cNvPr>
            <p:cNvSpPr>
              <a:spLocks/>
            </p:cNvSpPr>
            <p:nvPr/>
          </p:nvSpPr>
          <p:spPr bwMode="auto">
            <a:xfrm>
              <a:off x="9944100" y="3619500"/>
              <a:ext cx="177800" cy="25400"/>
            </a:xfrm>
            <a:custGeom>
              <a:avLst/>
              <a:gdLst>
                <a:gd name="T0" fmla="*/ 416 w 448"/>
                <a:gd name="T1" fmla="*/ 65 h 65"/>
                <a:gd name="T2" fmla="*/ 32 w 448"/>
                <a:gd name="T3" fmla="*/ 65 h 65"/>
                <a:gd name="T4" fmla="*/ 26 w 448"/>
                <a:gd name="T5" fmla="*/ 63 h 65"/>
                <a:gd name="T6" fmla="*/ 19 w 448"/>
                <a:gd name="T7" fmla="*/ 62 h 65"/>
                <a:gd name="T8" fmla="*/ 14 w 448"/>
                <a:gd name="T9" fmla="*/ 58 h 65"/>
                <a:gd name="T10" fmla="*/ 9 w 448"/>
                <a:gd name="T11" fmla="*/ 54 h 65"/>
                <a:gd name="T12" fmla="*/ 5 w 448"/>
                <a:gd name="T13" fmla="*/ 49 h 65"/>
                <a:gd name="T14" fmla="*/ 3 w 448"/>
                <a:gd name="T15" fmla="*/ 44 h 65"/>
                <a:gd name="T16" fmla="*/ 0 w 448"/>
                <a:gd name="T17" fmla="*/ 38 h 65"/>
                <a:gd name="T18" fmla="*/ 0 w 448"/>
                <a:gd name="T19" fmla="*/ 32 h 65"/>
                <a:gd name="T20" fmla="*/ 0 w 448"/>
                <a:gd name="T21" fmla="*/ 25 h 65"/>
                <a:gd name="T22" fmla="*/ 3 w 448"/>
                <a:gd name="T23" fmla="*/ 19 h 65"/>
                <a:gd name="T24" fmla="*/ 5 w 448"/>
                <a:gd name="T25" fmla="*/ 14 h 65"/>
                <a:gd name="T26" fmla="*/ 9 w 448"/>
                <a:gd name="T27" fmla="*/ 9 h 65"/>
                <a:gd name="T28" fmla="*/ 14 w 448"/>
                <a:gd name="T29" fmla="*/ 5 h 65"/>
                <a:gd name="T30" fmla="*/ 19 w 448"/>
                <a:gd name="T31" fmla="*/ 2 h 65"/>
                <a:gd name="T32" fmla="*/ 26 w 448"/>
                <a:gd name="T33" fmla="*/ 1 h 65"/>
                <a:gd name="T34" fmla="*/ 32 w 448"/>
                <a:gd name="T35" fmla="*/ 0 h 65"/>
                <a:gd name="T36" fmla="*/ 416 w 448"/>
                <a:gd name="T37" fmla="*/ 0 h 65"/>
                <a:gd name="T38" fmla="*/ 423 w 448"/>
                <a:gd name="T39" fmla="*/ 1 h 65"/>
                <a:gd name="T40" fmla="*/ 429 w 448"/>
                <a:gd name="T41" fmla="*/ 2 h 65"/>
                <a:gd name="T42" fmla="*/ 434 w 448"/>
                <a:gd name="T43" fmla="*/ 5 h 65"/>
                <a:gd name="T44" fmla="*/ 439 w 448"/>
                <a:gd name="T45" fmla="*/ 9 h 65"/>
                <a:gd name="T46" fmla="*/ 443 w 448"/>
                <a:gd name="T47" fmla="*/ 14 h 65"/>
                <a:gd name="T48" fmla="*/ 445 w 448"/>
                <a:gd name="T49" fmla="*/ 19 h 65"/>
                <a:gd name="T50" fmla="*/ 447 w 448"/>
                <a:gd name="T51" fmla="*/ 25 h 65"/>
                <a:gd name="T52" fmla="*/ 448 w 448"/>
                <a:gd name="T53" fmla="*/ 32 h 65"/>
                <a:gd name="T54" fmla="*/ 447 w 448"/>
                <a:gd name="T55" fmla="*/ 38 h 65"/>
                <a:gd name="T56" fmla="*/ 445 w 448"/>
                <a:gd name="T57" fmla="*/ 44 h 65"/>
                <a:gd name="T58" fmla="*/ 443 w 448"/>
                <a:gd name="T59" fmla="*/ 49 h 65"/>
                <a:gd name="T60" fmla="*/ 439 w 448"/>
                <a:gd name="T61" fmla="*/ 54 h 65"/>
                <a:gd name="T62" fmla="*/ 434 w 448"/>
                <a:gd name="T63" fmla="*/ 58 h 65"/>
                <a:gd name="T64" fmla="*/ 429 w 448"/>
                <a:gd name="T65" fmla="*/ 62 h 65"/>
                <a:gd name="T66" fmla="*/ 423 w 448"/>
                <a:gd name="T67" fmla="*/ 63 h 65"/>
                <a:gd name="T68" fmla="*/ 416 w 448"/>
                <a:gd name="T6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5">
                  <a:moveTo>
                    <a:pt x="416" y="65"/>
                  </a:moveTo>
                  <a:lnTo>
                    <a:pt x="32" y="65"/>
                  </a:lnTo>
                  <a:lnTo>
                    <a:pt x="26" y="63"/>
                  </a:lnTo>
                  <a:lnTo>
                    <a:pt x="19" y="62"/>
                  </a:lnTo>
                  <a:lnTo>
                    <a:pt x="14" y="58"/>
                  </a:lnTo>
                  <a:lnTo>
                    <a:pt x="9" y="54"/>
                  </a:lnTo>
                  <a:lnTo>
                    <a:pt x="5" y="49"/>
                  </a:lnTo>
                  <a:lnTo>
                    <a:pt x="3" y="44"/>
                  </a:lnTo>
                  <a:lnTo>
                    <a:pt x="0" y="38"/>
                  </a:lnTo>
                  <a:lnTo>
                    <a:pt x="0" y="32"/>
                  </a:lnTo>
                  <a:lnTo>
                    <a:pt x="0" y="25"/>
                  </a:lnTo>
                  <a:lnTo>
                    <a:pt x="3" y="19"/>
                  </a:lnTo>
                  <a:lnTo>
                    <a:pt x="5" y="14"/>
                  </a:lnTo>
                  <a:lnTo>
                    <a:pt x="9" y="9"/>
                  </a:lnTo>
                  <a:lnTo>
                    <a:pt x="14" y="5"/>
                  </a:lnTo>
                  <a:lnTo>
                    <a:pt x="19" y="2"/>
                  </a:lnTo>
                  <a:lnTo>
                    <a:pt x="26" y="1"/>
                  </a:lnTo>
                  <a:lnTo>
                    <a:pt x="32" y="0"/>
                  </a:lnTo>
                  <a:lnTo>
                    <a:pt x="416" y="0"/>
                  </a:lnTo>
                  <a:lnTo>
                    <a:pt x="423" y="1"/>
                  </a:lnTo>
                  <a:lnTo>
                    <a:pt x="429" y="2"/>
                  </a:lnTo>
                  <a:lnTo>
                    <a:pt x="434" y="5"/>
                  </a:lnTo>
                  <a:lnTo>
                    <a:pt x="439" y="9"/>
                  </a:lnTo>
                  <a:lnTo>
                    <a:pt x="443" y="14"/>
                  </a:lnTo>
                  <a:lnTo>
                    <a:pt x="445" y="19"/>
                  </a:lnTo>
                  <a:lnTo>
                    <a:pt x="447" y="25"/>
                  </a:lnTo>
                  <a:lnTo>
                    <a:pt x="448" y="32"/>
                  </a:lnTo>
                  <a:lnTo>
                    <a:pt x="447" y="38"/>
                  </a:lnTo>
                  <a:lnTo>
                    <a:pt x="445" y="44"/>
                  </a:lnTo>
                  <a:lnTo>
                    <a:pt x="443" y="49"/>
                  </a:lnTo>
                  <a:lnTo>
                    <a:pt x="439" y="54"/>
                  </a:lnTo>
                  <a:lnTo>
                    <a:pt x="434" y="58"/>
                  </a:lnTo>
                  <a:lnTo>
                    <a:pt x="429" y="62"/>
                  </a:lnTo>
                  <a:lnTo>
                    <a:pt x="423" y="63"/>
                  </a:lnTo>
                  <a:lnTo>
                    <a:pt x="41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5" name="Freeform 38">
              <a:extLst>
                <a:ext uri="{FF2B5EF4-FFF2-40B4-BE49-F238E27FC236}">
                  <a16:creationId xmlns:a16="http://schemas.microsoft.com/office/drawing/2014/main" id="{A4A59B7E-CB68-4900-8333-F0D9EDAB8AD3}"/>
                </a:ext>
              </a:extLst>
            </p:cNvPr>
            <p:cNvSpPr>
              <a:spLocks/>
            </p:cNvSpPr>
            <p:nvPr/>
          </p:nvSpPr>
          <p:spPr bwMode="auto">
            <a:xfrm>
              <a:off x="9944100" y="3568700"/>
              <a:ext cx="177800" cy="25400"/>
            </a:xfrm>
            <a:custGeom>
              <a:avLst/>
              <a:gdLst>
                <a:gd name="T0" fmla="*/ 416 w 448"/>
                <a:gd name="T1" fmla="*/ 65 h 65"/>
                <a:gd name="T2" fmla="*/ 32 w 448"/>
                <a:gd name="T3" fmla="*/ 65 h 65"/>
                <a:gd name="T4" fmla="*/ 26 w 448"/>
                <a:gd name="T5" fmla="*/ 63 h 65"/>
                <a:gd name="T6" fmla="*/ 19 w 448"/>
                <a:gd name="T7" fmla="*/ 62 h 65"/>
                <a:gd name="T8" fmla="*/ 14 w 448"/>
                <a:gd name="T9" fmla="*/ 58 h 65"/>
                <a:gd name="T10" fmla="*/ 9 w 448"/>
                <a:gd name="T11" fmla="*/ 54 h 65"/>
                <a:gd name="T12" fmla="*/ 5 w 448"/>
                <a:gd name="T13" fmla="*/ 49 h 65"/>
                <a:gd name="T14" fmla="*/ 3 w 448"/>
                <a:gd name="T15" fmla="*/ 44 h 65"/>
                <a:gd name="T16" fmla="*/ 0 w 448"/>
                <a:gd name="T17" fmla="*/ 38 h 65"/>
                <a:gd name="T18" fmla="*/ 0 w 448"/>
                <a:gd name="T19" fmla="*/ 32 h 65"/>
                <a:gd name="T20" fmla="*/ 0 w 448"/>
                <a:gd name="T21" fmla="*/ 25 h 65"/>
                <a:gd name="T22" fmla="*/ 3 w 448"/>
                <a:gd name="T23" fmla="*/ 20 h 65"/>
                <a:gd name="T24" fmla="*/ 5 w 448"/>
                <a:gd name="T25" fmla="*/ 14 h 65"/>
                <a:gd name="T26" fmla="*/ 9 w 448"/>
                <a:gd name="T27" fmla="*/ 9 h 65"/>
                <a:gd name="T28" fmla="*/ 14 w 448"/>
                <a:gd name="T29" fmla="*/ 5 h 65"/>
                <a:gd name="T30" fmla="*/ 19 w 448"/>
                <a:gd name="T31" fmla="*/ 2 h 65"/>
                <a:gd name="T32" fmla="*/ 26 w 448"/>
                <a:gd name="T33" fmla="*/ 1 h 65"/>
                <a:gd name="T34" fmla="*/ 32 w 448"/>
                <a:gd name="T35" fmla="*/ 0 h 65"/>
                <a:gd name="T36" fmla="*/ 416 w 448"/>
                <a:gd name="T37" fmla="*/ 0 h 65"/>
                <a:gd name="T38" fmla="*/ 423 w 448"/>
                <a:gd name="T39" fmla="*/ 1 h 65"/>
                <a:gd name="T40" fmla="*/ 429 w 448"/>
                <a:gd name="T41" fmla="*/ 2 h 65"/>
                <a:gd name="T42" fmla="*/ 434 w 448"/>
                <a:gd name="T43" fmla="*/ 5 h 65"/>
                <a:gd name="T44" fmla="*/ 439 w 448"/>
                <a:gd name="T45" fmla="*/ 9 h 65"/>
                <a:gd name="T46" fmla="*/ 443 w 448"/>
                <a:gd name="T47" fmla="*/ 14 h 65"/>
                <a:gd name="T48" fmla="*/ 445 w 448"/>
                <a:gd name="T49" fmla="*/ 20 h 65"/>
                <a:gd name="T50" fmla="*/ 447 w 448"/>
                <a:gd name="T51" fmla="*/ 25 h 65"/>
                <a:gd name="T52" fmla="*/ 448 w 448"/>
                <a:gd name="T53" fmla="*/ 32 h 65"/>
                <a:gd name="T54" fmla="*/ 447 w 448"/>
                <a:gd name="T55" fmla="*/ 38 h 65"/>
                <a:gd name="T56" fmla="*/ 445 w 448"/>
                <a:gd name="T57" fmla="*/ 44 h 65"/>
                <a:gd name="T58" fmla="*/ 443 w 448"/>
                <a:gd name="T59" fmla="*/ 49 h 65"/>
                <a:gd name="T60" fmla="*/ 439 w 448"/>
                <a:gd name="T61" fmla="*/ 54 h 65"/>
                <a:gd name="T62" fmla="*/ 434 w 448"/>
                <a:gd name="T63" fmla="*/ 58 h 65"/>
                <a:gd name="T64" fmla="*/ 429 w 448"/>
                <a:gd name="T65" fmla="*/ 62 h 65"/>
                <a:gd name="T66" fmla="*/ 423 w 448"/>
                <a:gd name="T67" fmla="*/ 63 h 65"/>
                <a:gd name="T68" fmla="*/ 416 w 448"/>
                <a:gd name="T6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5">
                  <a:moveTo>
                    <a:pt x="416" y="65"/>
                  </a:moveTo>
                  <a:lnTo>
                    <a:pt x="32" y="65"/>
                  </a:lnTo>
                  <a:lnTo>
                    <a:pt x="26" y="63"/>
                  </a:lnTo>
                  <a:lnTo>
                    <a:pt x="19" y="62"/>
                  </a:lnTo>
                  <a:lnTo>
                    <a:pt x="14" y="58"/>
                  </a:lnTo>
                  <a:lnTo>
                    <a:pt x="9" y="54"/>
                  </a:lnTo>
                  <a:lnTo>
                    <a:pt x="5" y="49"/>
                  </a:lnTo>
                  <a:lnTo>
                    <a:pt x="3" y="44"/>
                  </a:lnTo>
                  <a:lnTo>
                    <a:pt x="0" y="38"/>
                  </a:lnTo>
                  <a:lnTo>
                    <a:pt x="0" y="32"/>
                  </a:lnTo>
                  <a:lnTo>
                    <a:pt x="0" y="25"/>
                  </a:lnTo>
                  <a:lnTo>
                    <a:pt x="3" y="20"/>
                  </a:lnTo>
                  <a:lnTo>
                    <a:pt x="5" y="14"/>
                  </a:lnTo>
                  <a:lnTo>
                    <a:pt x="9" y="9"/>
                  </a:lnTo>
                  <a:lnTo>
                    <a:pt x="14" y="5"/>
                  </a:lnTo>
                  <a:lnTo>
                    <a:pt x="19" y="2"/>
                  </a:lnTo>
                  <a:lnTo>
                    <a:pt x="26" y="1"/>
                  </a:lnTo>
                  <a:lnTo>
                    <a:pt x="32" y="0"/>
                  </a:lnTo>
                  <a:lnTo>
                    <a:pt x="416" y="0"/>
                  </a:lnTo>
                  <a:lnTo>
                    <a:pt x="423" y="1"/>
                  </a:lnTo>
                  <a:lnTo>
                    <a:pt x="429" y="2"/>
                  </a:lnTo>
                  <a:lnTo>
                    <a:pt x="434" y="5"/>
                  </a:lnTo>
                  <a:lnTo>
                    <a:pt x="439" y="9"/>
                  </a:lnTo>
                  <a:lnTo>
                    <a:pt x="443" y="14"/>
                  </a:lnTo>
                  <a:lnTo>
                    <a:pt x="445" y="20"/>
                  </a:lnTo>
                  <a:lnTo>
                    <a:pt x="447" y="25"/>
                  </a:lnTo>
                  <a:lnTo>
                    <a:pt x="448" y="32"/>
                  </a:lnTo>
                  <a:lnTo>
                    <a:pt x="447" y="38"/>
                  </a:lnTo>
                  <a:lnTo>
                    <a:pt x="445" y="44"/>
                  </a:lnTo>
                  <a:lnTo>
                    <a:pt x="443" y="49"/>
                  </a:lnTo>
                  <a:lnTo>
                    <a:pt x="439" y="54"/>
                  </a:lnTo>
                  <a:lnTo>
                    <a:pt x="434" y="58"/>
                  </a:lnTo>
                  <a:lnTo>
                    <a:pt x="429" y="62"/>
                  </a:lnTo>
                  <a:lnTo>
                    <a:pt x="423" y="63"/>
                  </a:lnTo>
                  <a:lnTo>
                    <a:pt x="416"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1636" name="Freeform 39">
              <a:extLst>
                <a:ext uri="{FF2B5EF4-FFF2-40B4-BE49-F238E27FC236}">
                  <a16:creationId xmlns:a16="http://schemas.microsoft.com/office/drawing/2014/main" id="{AA3D5B59-071C-4BCA-B5CD-6E89FF8E0B88}"/>
                </a:ext>
              </a:extLst>
            </p:cNvPr>
            <p:cNvSpPr>
              <a:spLocks/>
            </p:cNvSpPr>
            <p:nvPr/>
          </p:nvSpPr>
          <p:spPr bwMode="auto">
            <a:xfrm>
              <a:off x="9944100" y="3517900"/>
              <a:ext cx="177800" cy="25400"/>
            </a:xfrm>
            <a:custGeom>
              <a:avLst/>
              <a:gdLst>
                <a:gd name="T0" fmla="*/ 416 w 448"/>
                <a:gd name="T1" fmla="*/ 64 h 64"/>
                <a:gd name="T2" fmla="*/ 32 w 448"/>
                <a:gd name="T3" fmla="*/ 64 h 64"/>
                <a:gd name="T4" fmla="*/ 26 w 448"/>
                <a:gd name="T5" fmla="*/ 63 h 64"/>
                <a:gd name="T6" fmla="*/ 19 w 448"/>
                <a:gd name="T7" fmla="*/ 62 h 64"/>
                <a:gd name="T8" fmla="*/ 14 w 448"/>
                <a:gd name="T9" fmla="*/ 58 h 64"/>
                <a:gd name="T10" fmla="*/ 9 w 448"/>
                <a:gd name="T11" fmla="*/ 54 h 64"/>
                <a:gd name="T12" fmla="*/ 5 w 448"/>
                <a:gd name="T13" fmla="*/ 51 h 64"/>
                <a:gd name="T14" fmla="*/ 3 w 448"/>
                <a:gd name="T15" fmla="*/ 44 h 64"/>
                <a:gd name="T16" fmla="*/ 0 w 448"/>
                <a:gd name="T17" fmla="*/ 38 h 64"/>
                <a:gd name="T18" fmla="*/ 0 w 448"/>
                <a:gd name="T19" fmla="*/ 32 h 64"/>
                <a:gd name="T20" fmla="*/ 0 w 448"/>
                <a:gd name="T21" fmla="*/ 25 h 64"/>
                <a:gd name="T22" fmla="*/ 3 w 448"/>
                <a:gd name="T23" fmla="*/ 20 h 64"/>
                <a:gd name="T24" fmla="*/ 5 w 448"/>
                <a:gd name="T25" fmla="*/ 14 h 64"/>
                <a:gd name="T26" fmla="*/ 9 w 448"/>
                <a:gd name="T27" fmla="*/ 10 h 64"/>
                <a:gd name="T28" fmla="*/ 14 w 448"/>
                <a:gd name="T29" fmla="*/ 5 h 64"/>
                <a:gd name="T30" fmla="*/ 19 w 448"/>
                <a:gd name="T31" fmla="*/ 2 h 64"/>
                <a:gd name="T32" fmla="*/ 26 w 448"/>
                <a:gd name="T33" fmla="*/ 1 h 64"/>
                <a:gd name="T34" fmla="*/ 32 w 448"/>
                <a:gd name="T35" fmla="*/ 0 h 64"/>
                <a:gd name="T36" fmla="*/ 416 w 448"/>
                <a:gd name="T37" fmla="*/ 0 h 64"/>
                <a:gd name="T38" fmla="*/ 423 w 448"/>
                <a:gd name="T39" fmla="*/ 1 h 64"/>
                <a:gd name="T40" fmla="*/ 429 w 448"/>
                <a:gd name="T41" fmla="*/ 2 h 64"/>
                <a:gd name="T42" fmla="*/ 434 w 448"/>
                <a:gd name="T43" fmla="*/ 5 h 64"/>
                <a:gd name="T44" fmla="*/ 439 w 448"/>
                <a:gd name="T45" fmla="*/ 10 h 64"/>
                <a:gd name="T46" fmla="*/ 443 w 448"/>
                <a:gd name="T47" fmla="*/ 14 h 64"/>
                <a:gd name="T48" fmla="*/ 445 w 448"/>
                <a:gd name="T49" fmla="*/ 20 h 64"/>
                <a:gd name="T50" fmla="*/ 447 w 448"/>
                <a:gd name="T51" fmla="*/ 25 h 64"/>
                <a:gd name="T52" fmla="*/ 448 w 448"/>
                <a:gd name="T53" fmla="*/ 32 h 64"/>
                <a:gd name="T54" fmla="*/ 447 w 448"/>
                <a:gd name="T55" fmla="*/ 38 h 64"/>
                <a:gd name="T56" fmla="*/ 445 w 448"/>
                <a:gd name="T57" fmla="*/ 44 h 64"/>
                <a:gd name="T58" fmla="*/ 443 w 448"/>
                <a:gd name="T59" fmla="*/ 51 h 64"/>
                <a:gd name="T60" fmla="*/ 439 w 448"/>
                <a:gd name="T61" fmla="*/ 54 h 64"/>
                <a:gd name="T62" fmla="*/ 434 w 448"/>
                <a:gd name="T63" fmla="*/ 58 h 64"/>
                <a:gd name="T64" fmla="*/ 429 w 448"/>
                <a:gd name="T65" fmla="*/ 62 h 64"/>
                <a:gd name="T66" fmla="*/ 423 w 448"/>
                <a:gd name="T67" fmla="*/ 63 h 64"/>
                <a:gd name="T68" fmla="*/ 416 w 448"/>
                <a:gd name="T6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64">
                  <a:moveTo>
                    <a:pt x="416" y="64"/>
                  </a:moveTo>
                  <a:lnTo>
                    <a:pt x="32" y="64"/>
                  </a:lnTo>
                  <a:lnTo>
                    <a:pt x="26" y="63"/>
                  </a:lnTo>
                  <a:lnTo>
                    <a:pt x="19" y="62"/>
                  </a:lnTo>
                  <a:lnTo>
                    <a:pt x="14" y="58"/>
                  </a:lnTo>
                  <a:lnTo>
                    <a:pt x="9" y="54"/>
                  </a:lnTo>
                  <a:lnTo>
                    <a:pt x="5" y="51"/>
                  </a:lnTo>
                  <a:lnTo>
                    <a:pt x="3" y="44"/>
                  </a:lnTo>
                  <a:lnTo>
                    <a:pt x="0" y="38"/>
                  </a:lnTo>
                  <a:lnTo>
                    <a:pt x="0" y="32"/>
                  </a:lnTo>
                  <a:lnTo>
                    <a:pt x="0" y="25"/>
                  </a:lnTo>
                  <a:lnTo>
                    <a:pt x="3" y="20"/>
                  </a:lnTo>
                  <a:lnTo>
                    <a:pt x="5" y="14"/>
                  </a:lnTo>
                  <a:lnTo>
                    <a:pt x="9" y="10"/>
                  </a:lnTo>
                  <a:lnTo>
                    <a:pt x="14" y="5"/>
                  </a:lnTo>
                  <a:lnTo>
                    <a:pt x="19" y="2"/>
                  </a:lnTo>
                  <a:lnTo>
                    <a:pt x="26" y="1"/>
                  </a:lnTo>
                  <a:lnTo>
                    <a:pt x="32" y="0"/>
                  </a:lnTo>
                  <a:lnTo>
                    <a:pt x="416" y="0"/>
                  </a:lnTo>
                  <a:lnTo>
                    <a:pt x="423" y="1"/>
                  </a:lnTo>
                  <a:lnTo>
                    <a:pt x="429" y="2"/>
                  </a:lnTo>
                  <a:lnTo>
                    <a:pt x="434" y="5"/>
                  </a:lnTo>
                  <a:lnTo>
                    <a:pt x="439" y="10"/>
                  </a:lnTo>
                  <a:lnTo>
                    <a:pt x="443" y="14"/>
                  </a:lnTo>
                  <a:lnTo>
                    <a:pt x="445" y="20"/>
                  </a:lnTo>
                  <a:lnTo>
                    <a:pt x="447" y="25"/>
                  </a:lnTo>
                  <a:lnTo>
                    <a:pt x="448" y="32"/>
                  </a:lnTo>
                  <a:lnTo>
                    <a:pt x="447" y="38"/>
                  </a:lnTo>
                  <a:lnTo>
                    <a:pt x="445" y="44"/>
                  </a:lnTo>
                  <a:lnTo>
                    <a:pt x="443" y="51"/>
                  </a:lnTo>
                  <a:lnTo>
                    <a:pt x="439" y="54"/>
                  </a:lnTo>
                  <a:lnTo>
                    <a:pt x="434" y="58"/>
                  </a:lnTo>
                  <a:lnTo>
                    <a:pt x="429" y="62"/>
                  </a:lnTo>
                  <a:lnTo>
                    <a:pt x="423" y="63"/>
                  </a:lnTo>
                  <a:lnTo>
                    <a:pt x="41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653" name="Group 69">
            <a:extLst>
              <a:ext uri="{FF2B5EF4-FFF2-40B4-BE49-F238E27FC236}">
                <a16:creationId xmlns:a16="http://schemas.microsoft.com/office/drawing/2014/main" id="{9D22C665-3F93-49BD-9C1E-0FD145E51E30}"/>
              </a:ext>
            </a:extLst>
          </p:cNvPr>
          <p:cNvGrpSpPr>
            <a:grpSpLocks noChangeAspect="1"/>
          </p:cNvGrpSpPr>
          <p:nvPr/>
        </p:nvGrpSpPr>
        <p:grpSpPr>
          <a:xfrm>
            <a:off x="7876770" y="2233311"/>
            <a:ext cx="285619" cy="285619"/>
            <a:chOff x="8736013" y="1925320"/>
            <a:chExt cx="285750" cy="285750"/>
          </a:xfrm>
          <a:solidFill>
            <a:schemeClr val="bg1"/>
          </a:solidFill>
          <a:effectLst/>
        </p:grpSpPr>
        <p:sp>
          <p:nvSpPr>
            <p:cNvPr id="1654" name="Freeform 142">
              <a:extLst>
                <a:ext uri="{FF2B5EF4-FFF2-40B4-BE49-F238E27FC236}">
                  <a16:creationId xmlns:a16="http://schemas.microsoft.com/office/drawing/2014/main" id="{97FDD986-D881-4C98-832D-75B5F9D348DD}"/>
                </a:ext>
              </a:extLst>
            </p:cNvPr>
            <p:cNvSpPr>
              <a:spLocks noEditPoints="1"/>
            </p:cNvSpPr>
            <p:nvPr/>
          </p:nvSpPr>
          <p:spPr bwMode="auto">
            <a:xfrm>
              <a:off x="8736013" y="1925320"/>
              <a:ext cx="285750" cy="285750"/>
            </a:xfrm>
            <a:custGeom>
              <a:avLst/>
              <a:gdLst>
                <a:gd name="T0" fmla="*/ 869 w 902"/>
                <a:gd name="T1" fmla="*/ 609 h 904"/>
                <a:gd name="T2" fmla="*/ 855 w 902"/>
                <a:gd name="T3" fmla="*/ 634 h 904"/>
                <a:gd name="T4" fmla="*/ 833 w 902"/>
                <a:gd name="T5" fmla="*/ 653 h 904"/>
                <a:gd name="T6" fmla="*/ 804 w 902"/>
                <a:gd name="T7" fmla="*/ 661 h 904"/>
                <a:gd name="T8" fmla="*/ 736 w 902"/>
                <a:gd name="T9" fmla="*/ 361 h 904"/>
                <a:gd name="T10" fmla="*/ 746 w 902"/>
                <a:gd name="T11" fmla="*/ 357 h 904"/>
                <a:gd name="T12" fmla="*/ 751 w 902"/>
                <a:gd name="T13" fmla="*/ 346 h 904"/>
                <a:gd name="T14" fmla="*/ 746 w 902"/>
                <a:gd name="T15" fmla="*/ 335 h 904"/>
                <a:gd name="T16" fmla="*/ 736 w 902"/>
                <a:gd name="T17" fmla="*/ 331 h 904"/>
                <a:gd name="T18" fmla="*/ 659 w 902"/>
                <a:gd name="T19" fmla="*/ 294 h 904"/>
                <a:gd name="T20" fmla="*/ 644 w 902"/>
                <a:gd name="T21" fmla="*/ 254 h 904"/>
                <a:gd name="T22" fmla="*/ 619 w 902"/>
                <a:gd name="T23" fmla="*/ 219 h 904"/>
                <a:gd name="T24" fmla="*/ 583 w 902"/>
                <a:gd name="T25" fmla="*/ 195 h 904"/>
                <a:gd name="T26" fmla="*/ 736 w 902"/>
                <a:gd name="T27" fmla="*/ 151 h 904"/>
                <a:gd name="T28" fmla="*/ 746 w 902"/>
                <a:gd name="T29" fmla="*/ 146 h 904"/>
                <a:gd name="T30" fmla="*/ 751 w 902"/>
                <a:gd name="T31" fmla="*/ 136 h 904"/>
                <a:gd name="T32" fmla="*/ 746 w 902"/>
                <a:gd name="T33" fmla="*/ 125 h 904"/>
                <a:gd name="T34" fmla="*/ 736 w 902"/>
                <a:gd name="T35" fmla="*/ 121 h 904"/>
                <a:gd name="T36" fmla="*/ 64 w 902"/>
                <a:gd name="T37" fmla="*/ 42 h 904"/>
                <a:gd name="T38" fmla="*/ 91 w 902"/>
                <a:gd name="T39" fmla="*/ 32 h 904"/>
                <a:gd name="T40" fmla="*/ 804 w 902"/>
                <a:gd name="T41" fmla="*/ 31 h 904"/>
                <a:gd name="T42" fmla="*/ 833 w 902"/>
                <a:gd name="T43" fmla="*/ 39 h 904"/>
                <a:gd name="T44" fmla="*/ 855 w 902"/>
                <a:gd name="T45" fmla="*/ 57 h 904"/>
                <a:gd name="T46" fmla="*/ 869 w 902"/>
                <a:gd name="T47" fmla="*/ 83 h 904"/>
                <a:gd name="T48" fmla="*/ 872 w 902"/>
                <a:gd name="T49" fmla="*/ 586 h 904"/>
                <a:gd name="T50" fmla="*/ 628 w 902"/>
                <a:gd name="T51" fmla="*/ 837 h 904"/>
                <a:gd name="T52" fmla="*/ 617 w 902"/>
                <a:gd name="T53" fmla="*/ 859 h 904"/>
                <a:gd name="T54" fmla="*/ 595 w 902"/>
                <a:gd name="T55" fmla="*/ 871 h 904"/>
                <a:gd name="T56" fmla="*/ 569 w 902"/>
                <a:gd name="T57" fmla="*/ 872 h 904"/>
                <a:gd name="T58" fmla="*/ 91 w 902"/>
                <a:gd name="T59" fmla="*/ 757 h 904"/>
                <a:gd name="T60" fmla="*/ 64 w 902"/>
                <a:gd name="T61" fmla="*/ 738 h 904"/>
                <a:gd name="T62" fmla="*/ 44 w 902"/>
                <a:gd name="T63" fmla="*/ 712 h 904"/>
                <a:gd name="T64" fmla="*/ 32 w 902"/>
                <a:gd name="T65" fmla="*/ 682 h 904"/>
                <a:gd name="T66" fmla="*/ 31 w 902"/>
                <a:gd name="T67" fmla="*/ 98 h 904"/>
                <a:gd name="T68" fmla="*/ 555 w 902"/>
                <a:gd name="T69" fmla="*/ 216 h 904"/>
                <a:gd name="T70" fmla="*/ 584 w 902"/>
                <a:gd name="T71" fmla="*/ 230 h 904"/>
                <a:gd name="T72" fmla="*/ 609 w 902"/>
                <a:gd name="T73" fmla="*/ 254 h 904"/>
                <a:gd name="T74" fmla="*/ 625 w 902"/>
                <a:gd name="T75" fmla="*/ 283 h 904"/>
                <a:gd name="T76" fmla="*/ 632 w 902"/>
                <a:gd name="T77" fmla="*/ 315 h 904"/>
                <a:gd name="T78" fmla="*/ 94 w 902"/>
                <a:gd name="T79" fmla="*/ 1 h 904"/>
                <a:gd name="T80" fmla="*/ 56 w 902"/>
                <a:gd name="T81" fmla="*/ 12 h 904"/>
                <a:gd name="T82" fmla="*/ 25 w 902"/>
                <a:gd name="T83" fmla="*/ 38 h 904"/>
                <a:gd name="T84" fmla="*/ 5 w 902"/>
                <a:gd name="T85" fmla="*/ 74 h 904"/>
                <a:gd name="T86" fmla="*/ 0 w 902"/>
                <a:gd name="T87" fmla="*/ 665 h 904"/>
                <a:gd name="T88" fmla="*/ 8 w 902"/>
                <a:gd name="T89" fmla="*/ 707 h 904"/>
                <a:gd name="T90" fmla="*/ 29 w 902"/>
                <a:gd name="T91" fmla="*/ 745 h 904"/>
                <a:gd name="T92" fmla="*/ 61 w 902"/>
                <a:gd name="T93" fmla="*/ 774 h 904"/>
                <a:gd name="T94" fmla="*/ 100 w 902"/>
                <a:gd name="T95" fmla="*/ 791 h 904"/>
                <a:gd name="T96" fmla="*/ 587 w 902"/>
                <a:gd name="T97" fmla="*/ 904 h 904"/>
                <a:gd name="T98" fmla="*/ 612 w 902"/>
                <a:gd name="T99" fmla="*/ 897 h 904"/>
                <a:gd name="T100" fmla="*/ 637 w 902"/>
                <a:gd name="T101" fmla="*/ 880 h 904"/>
                <a:gd name="T102" fmla="*/ 657 w 902"/>
                <a:gd name="T103" fmla="*/ 848 h 904"/>
                <a:gd name="T104" fmla="*/ 662 w 902"/>
                <a:gd name="T105" fmla="*/ 691 h 904"/>
                <a:gd name="T106" fmla="*/ 828 w 902"/>
                <a:gd name="T107" fmla="*/ 687 h 904"/>
                <a:gd name="T108" fmla="*/ 864 w 902"/>
                <a:gd name="T109" fmla="*/ 668 h 904"/>
                <a:gd name="T110" fmla="*/ 889 w 902"/>
                <a:gd name="T111" fmla="*/ 637 h 904"/>
                <a:gd name="T112" fmla="*/ 902 w 902"/>
                <a:gd name="T113" fmla="*/ 597 h 904"/>
                <a:gd name="T114" fmla="*/ 900 w 902"/>
                <a:gd name="T115" fmla="*/ 84 h 904"/>
                <a:gd name="T116" fmla="*/ 885 w 902"/>
                <a:gd name="T117" fmla="*/ 47 h 904"/>
                <a:gd name="T118" fmla="*/ 856 w 902"/>
                <a:gd name="T119" fmla="*/ 18 h 904"/>
                <a:gd name="T120" fmla="*/ 818 w 902"/>
                <a:gd name="T121" fmla="*/ 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904">
                  <a:moveTo>
                    <a:pt x="872" y="586"/>
                  </a:moveTo>
                  <a:lnTo>
                    <a:pt x="872" y="594"/>
                  </a:lnTo>
                  <a:lnTo>
                    <a:pt x="871" y="601"/>
                  </a:lnTo>
                  <a:lnTo>
                    <a:pt x="869" y="609"/>
                  </a:lnTo>
                  <a:lnTo>
                    <a:pt x="866" y="615"/>
                  </a:lnTo>
                  <a:lnTo>
                    <a:pt x="863" y="623"/>
                  </a:lnTo>
                  <a:lnTo>
                    <a:pt x="859" y="628"/>
                  </a:lnTo>
                  <a:lnTo>
                    <a:pt x="855" y="634"/>
                  </a:lnTo>
                  <a:lnTo>
                    <a:pt x="850" y="640"/>
                  </a:lnTo>
                  <a:lnTo>
                    <a:pt x="845" y="644"/>
                  </a:lnTo>
                  <a:lnTo>
                    <a:pt x="838" y="648"/>
                  </a:lnTo>
                  <a:lnTo>
                    <a:pt x="833" y="653"/>
                  </a:lnTo>
                  <a:lnTo>
                    <a:pt x="826" y="656"/>
                  </a:lnTo>
                  <a:lnTo>
                    <a:pt x="819" y="658"/>
                  </a:lnTo>
                  <a:lnTo>
                    <a:pt x="812" y="660"/>
                  </a:lnTo>
                  <a:lnTo>
                    <a:pt x="804" y="661"/>
                  </a:lnTo>
                  <a:lnTo>
                    <a:pt x="797" y="661"/>
                  </a:lnTo>
                  <a:lnTo>
                    <a:pt x="662" y="661"/>
                  </a:lnTo>
                  <a:lnTo>
                    <a:pt x="662" y="361"/>
                  </a:lnTo>
                  <a:lnTo>
                    <a:pt x="736" y="361"/>
                  </a:lnTo>
                  <a:lnTo>
                    <a:pt x="739" y="361"/>
                  </a:lnTo>
                  <a:lnTo>
                    <a:pt x="741" y="360"/>
                  </a:lnTo>
                  <a:lnTo>
                    <a:pt x="744" y="359"/>
                  </a:lnTo>
                  <a:lnTo>
                    <a:pt x="746" y="357"/>
                  </a:lnTo>
                  <a:lnTo>
                    <a:pt x="748" y="355"/>
                  </a:lnTo>
                  <a:lnTo>
                    <a:pt x="750" y="351"/>
                  </a:lnTo>
                  <a:lnTo>
                    <a:pt x="751" y="349"/>
                  </a:lnTo>
                  <a:lnTo>
                    <a:pt x="751" y="346"/>
                  </a:lnTo>
                  <a:lnTo>
                    <a:pt x="751" y="343"/>
                  </a:lnTo>
                  <a:lnTo>
                    <a:pt x="750" y="340"/>
                  </a:lnTo>
                  <a:lnTo>
                    <a:pt x="748" y="337"/>
                  </a:lnTo>
                  <a:lnTo>
                    <a:pt x="746" y="335"/>
                  </a:lnTo>
                  <a:lnTo>
                    <a:pt x="744" y="333"/>
                  </a:lnTo>
                  <a:lnTo>
                    <a:pt x="741" y="332"/>
                  </a:lnTo>
                  <a:lnTo>
                    <a:pt x="739" y="331"/>
                  </a:lnTo>
                  <a:lnTo>
                    <a:pt x="736" y="331"/>
                  </a:lnTo>
                  <a:lnTo>
                    <a:pt x="662" y="331"/>
                  </a:lnTo>
                  <a:lnTo>
                    <a:pt x="662" y="315"/>
                  </a:lnTo>
                  <a:lnTo>
                    <a:pt x="662" y="304"/>
                  </a:lnTo>
                  <a:lnTo>
                    <a:pt x="659" y="294"/>
                  </a:lnTo>
                  <a:lnTo>
                    <a:pt x="657" y="284"/>
                  </a:lnTo>
                  <a:lnTo>
                    <a:pt x="654" y="273"/>
                  </a:lnTo>
                  <a:lnTo>
                    <a:pt x="650" y="263"/>
                  </a:lnTo>
                  <a:lnTo>
                    <a:pt x="644" y="254"/>
                  </a:lnTo>
                  <a:lnTo>
                    <a:pt x="639" y="244"/>
                  </a:lnTo>
                  <a:lnTo>
                    <a:pt x="633" y="235"/>
                  </a:lnTo>
                  <a:lnTo>
                    <a:pt x="626" y="227"/>
                  </a:lnTo>
                  <a:lnTo>
                    <a:pt x="619" y="219"/>
                  </a:lnTo>
                  <a:lnTo>
                    <a:pt x="610" y="212"/>
                  </a:lnTo>
                  <a:lnTo>
                    <a:pt x="602" y="205"/>
                  </a:lnTo>
                  <a:lnTo>
                    <a:pt x="593" y="199"/>
                  </a:lnTo>
                  <a:lnTo>
                    <a:pt x="583" y="195"/>
                  </a:lnTo>
                  <a:lnTo>
                    <a:pt x="574" y="190"/>
                  </a:lnTo>
                  <a:lnTo>
                    <a:pt x="563" y="187"/>
                  </a:lnTo>
                  <a:lnTo>
                    <a:pt x="426" y="151"/>
                  </a:lnTo>
                  <a:lnTo>
                    <a:pt x="736" y="151"/>
                  </a:lnTo>
                  <a:lnTo>
                    <a:pt x="739" y="150"/>
                  </a:lnTo>
                  <a:lnTo>
                    <a:pt x="741" y="150"/>
                  </a:lnTo>
                  <a:lnTo>
                    <a:pt x="744" y="148"/>
                  </a:lnTo>
                  <a:lnTo>
                    <a:pt x="746" y="146"/>
                  </a:lnTo>
                  <a:lnTo>
                    <a:pt x="748" y="143"/>
                  </a:lnTo>
                  <a:lnTo>
                    <a:pt x="750" y="141"/>
                  </a:lnTo>
                  <a:lnTo>
                    <a:pt x="751" y="138"/>
                  </a:lnTo>
                  <a:lnTo>
                    <a:pt x="751" y="136"/>
                  </a:lnTo>
                  <a:lnTo>
                    <a:pt x="751" y="133"/>
                  </a:lnTo>
                  <a:lnTo>
                    <a:pt x="750" y="129"/>
                  </a:lnTo>
                  <a:lnTo>
                    <a:pt x="748" y="127"/>
                  </a:lnTo>
                  <a:lnTo>
                    <a:pt x="746" y="125"/>
                  </a:lnTo>
                  <a:lnTo>
                    <a:pt x="744" y="123"/>
                  </a:lnTo>
                  <a:lnTo>
                    <a:pt x="741" y="122"/>
                  </a:lnTo>
                  <a:lnTo>
                    <a:pt x="739" y="121"/>
                  </a:lnTo>
                  <a:lnTo>
                    <a:pt x="736" y="121"/>
                  </a:lnTo>
                  <a:lnTo>
                    <a:pt x="313" y="121"/>
                  </a:lnTo>
                  <a:lnTo>
                    <a:pt x="54" y="51"/>
                  </a:lnTo>
                  <a:lnTo>
                    <a:pt x="59" y="47"/>
                  </a:lnTo>
                  <a:lnTo>
                    <a:pt x="64" y="42"/>
                  </a:lnTo>
                  <a:lnTo>
                    <a:pt x="71" y="39"/>
                  </a:lnTo>
                  <a:lnTo>
                    <a:pt x="77" y="36"/>
                  </a:lnTo>
                  <a:lnTo>
                    <a:pt x="84" y="34"/>
                  </a:lnTo>
                  <a:lnTo>
                    <a:pt x="91" y="32"/>
                  </a:lnTo>
                  <a:lnTo>
                    <a:pt x="98" y="31"/>
                  </a:lnTo>
                  <a:lnTo>
                    <a:pt x="105" y="31"/>
                  </a:lnTo>
                  <a:lnTo>
                    <a:pt x="797" y="30"/>
                  </a:lnTo>
                  <a:lnTo>
                    <a:pt x="804" y="31"/>
                  </a:lnTo>
                  <a:lnTo>
                    <a:pt x="812" y="32"/>
                  </a:lnTo>
                  <a:lnTo>
                    <a:pt x="819" y="34"/>
                  </a:lnTo>
                  <a:lnTo>
                    <a:pt x="826" y="36"/>
                  </a:lnTo>
                  <a:lnTo>
                    <a:pt x="833" y="39"/>
                  </a:lnTo>
                  <a:lnTo>
                    <a:pt x="838" y="42"/>
                  </a:lnTo>
                  <a:lnTo>
                    <a:pt x="845" y="48"/>
                  </a:lnTo>
                  <a:lnTo>
                    <a:pt x="850" y="52"/>
                  </a:lnTo>
                  <a:lnTo>
                    <a:pt x="855" y="57"/>
                  </a:lnTo>
                  <a:lnTo>
                    <a:pt x="859" y="63"/>
                  </a:lnTo>
                  <a:lnTo>
                    <a:pt x="863" y="69"/>
                  </a:lnTo>
                  <a:lnTo>
                    <a:pt x="866" y="76"/>
                  </a:lnTo>
                  <a:lnTo>
                    <a:pt x="869" y="83"/>
                  </a:lnTo>
                  <a:lnTo>
                    <a:pt x="871" y="90"/>
                  </a:lnTo>
                  <a:lnTo>
                    <a:pt x="872" y="97"/>
                  </a:lnTo>
                  <a:lnTo>
                    <a:pt x="872" y="106"/>
                  </a:lnTo>
                  <a:lnTo>
                    <a:pt x="872" y="586"/>
                  </a:lnTo>
                  <a:close/>
                  <a:moveTo>
                    <a:pt x="632" y="817"/>
                  </a:moveTo>
                  <a:lnTo>
                    <a:pt x="632" y="824"/>
                  </a:lnTo>
                  <a:lnTo>
                    <a:pt x="630" y="831"/>
                  </a:lnTo>
                  <a:lnTo>
                    <a:pt x="628" y="837"/>
                  </a:lnTo>
                  <a:lnTo>
                    <a:pt x="626" y="844"/>
                  </a:lnTo>
                  <a:lnTo>
                    <a:pt x="624" y="849"/>
                  </a:lnTo>
                  <a:lnTo>
                    <a:pt x="620" y="854"/>
                  </a:lnTo>
                  <a:lnTo>
                    <a:pt x="617" y="859"/>
                  </a:lnTo>
                  <a:lnTo>
                    <a:pt x="611" y="863"/>
                  </a:lnTo>
                  <a:lnTo>
                    <a:pt x="607" y="866"/>
                  </a:lnTo>
                  <a:lnTo>
                    <a:pt x="602" y="869"/>
                  </a:lnTo>
                  <a:lnTo>
                    <a:pt x="595" y="871"/>
                  </a:lnTo>
                  <a:lnTo>
                    <a:pt x="589" y="872"/>
                  </a:lnTo>
                  <a:lnTo>
                    <a:pt x="583" y="874"/>
                  </a:lnTo>
                  <a:lnTo>
                    <a:pt x="576" y="874"/>
                  </a:lnTo>
                  <a:lnTo>
                    <a:pt x="569" y="872"/>
                  </a:lnTo>
                  <a:lnTo>
                    <a:pt x="563" y="871"/>
                  </a:lnTo>
                  <a:lnTo>
                    <a:pt x="106" y="762"/>
                  </a:lnTo>
                  <a:lnTo>
                    <a:pt x="99" y="760"/>
                  </a:lnTo>
                  <a:lnTo>
                    <a:pt x="91" y="757"/>
                  </a:lnTo>
                  <a:lnTo>
                    <a:pt x="84" y="753"/>
                  </a:lnTo>
                  <a:lnTo>
                    <a:pt x="77" y="749"/>
                  </a:lnTo>
                  <a:lnTo>
                    <a:pt x="71" y="744"/>
                  </a:lnTo>
                  <a:lnTo>
                    <a:pt x="64" y="738"/>
                  </a:lnTo>
                  <a:lnTo>
                    <a:pt x="58" y="732"/>
                  </a:lnTo>
                  <a:lnTo>
                    <a:pt x="53" y="726"/>
                  </a:lnTo>
                  <a:lnTo>
                    <a:pt x="48" y="719"/>
                  </a:lnTo>
                  <a:lnTo>
                    <a:pt x="44" y="712"/>
                  </a:lnTo>
                  <a:lnTo>
                    <a:pt x="40" y="705"/>
                  </a:lnTo>
                  <a:lnTo>
                    <a:pt x="37" y="697"/>
                  </a:lnTo>
                  <a:lnTo>
                    <a:pt x="33" y="689"/>
                  </a:lnTo>
                  <a:lnTo>
                    <a:pt x="32" y="682"/>
                  </a:lnTo>
                  <a:lnTo>
                    <a:pt x="31" y="673"/>
                  </a:lnTo>
                  <a:lnTo>
                    <a:pt x="30" y="665"/>
                  </a:lnTo>
                  <a:lnTo>
                    <a:pt x="30" y="106"/>
                  </a:lnTo>
                  <a:lnTo>
                    <a:pt x="31" y="98"/>
                  </a:lnTo>
                  <a:lnTo>
                    <a:pt x="32" y="91"/>
                  </a:lnTo>
                  <a:lnTo>
                    <a:pt x="33" y="84"/>
                  </a:lnTo>
                  <a:lnTo>
                    <a:pt x="35" y="78"/>
                  </a:lnTo>
                  <a:lnTo>
                    <a:pt x="555" y="216"/>
                  </a:lnTo>
                  <a:lnTo>
                    <a:pt x="563" y="218"/>
                  </a:lnTo>
                  <a:lnTo>
                    <a:pt x="570" y="222"/>
                  </a:lnTo>
                  <a:lnTo>
                    <a:pt x="578" y="226"/>
                  </a:lnTo>
                  <a:lnTo>
                    <a:pt x="584" y="230"/>
                  </a:lnTo>
                  <a:lnTo>
                    <a:pt x="592" y="235"/>
                  </a:lnTo>
                  <a:lnTo>
                    <a:pt x="597" y="241"/>
                  </a:lnTo>
                  <a:lnTo>
                    <a:pt x="604" y="247"/>
                  </a:lnTo>
                  <a:lnTo>
                    <a:pt x="609" y="254"/>
                  </a:lnTo>
                  <a:lnTo>
                    <a:pt x="614" y="260"/>
                  </a:lnTo>
                  <a:lnTo>
                    <a:pt x="619" y="268"/>
                  </a:lnTo>
                  <a:lnTo>
                    <a:pt x="622" y="275"/>
                  </a:lnTo>
                  <a:lnTo>
                    <a:pt x="625" y="283"/>
                  </a:lnTo>
                  <a:lnTo>
                    <a:pt x="628" y="291"/>
                  </a:lnTo>
                  <a:lnTo>
                    <a:pt x="630" y="299"/>
                  </a:lnTo>
                  <a:lnTo>
                    <a:pt x="632" y="307"/>
                  </a:lnTo>
                  <a:lnTo>
                    <a:pt x="632" y="315"/>
                  </a:lnTo>
                  <a:lnTo>
                    <a:pt x="632" y="817"/>
                  </a:lnTo>
                  <a:close/>
                  <a:moveTo>
                    <a:pt x="797" y="0"/>
                  </a:moveTo>
                  <a:lnTo>
                    <a:pt x="105" y="0"/>
                  </a:lnTo>
                  <a:lnTo>
                    <a:pt x="94" y="1"/>
                  </a:lnTo>
                  <a:lnTo>
                    <a:pt x="85" y="2"/>
                  </a:lnTo>
                  <a:lnTo>
                    <a:pt x="74" y="5"/>
                  </a:lnTo>
                  <a:lnTo>
                    <a:pt x="64" y="8"/>
                  </a:lnTo>
                  <a:lnTo>
                    <a:pt x="56" y="12"/>
                  </a:lnTo>
                  <a:lnTo>
                    <a:pt x="46" y="18"/>
                  </a:lnTo>
                  <a:lnTo>
                    <a:pt x="39" y="24"/>
                  </a:lnTo>
                  <a:lnTo>
                    <a:pt x="31" y="31"/>
                  </a:lnTo>
                  <a:lnTo>
                    <a:pt x="25" y="38"/>
                  </a:lnTo>
                  <a:lnTo>
                    <a:pt x="18" y="47"/>
                  </a:lnTo>
                  <a:lnTo>
                    <a:pt x="13" y="55"/>
                  </a:lnTo>
                  <a:lnTo>
                    <a:pt x="9" y="64"/>
                  </a:lnTo>
                  <a:lnTo>
                    <a:pt x="5" y="74"/>
                  </a:lnTo>
                  <a:lnTo>
                    <a:pt x="2" y="84"/>
                  </a:lnTo>
                  <a:lnTo>
                    <a:pt x="1" y="95"/>
                  </a:lnTo>
                  <a:lnTo>
                    <a:pt x="0" y="106"/>
                  </a:lnTo>
                  <a:lnTo>
                    <a:pt x="0" y="665"/>
                  </a:lnTo>
                  <a:lnTo>
                    <a:pt x="1" y="676"/>
                  </a:lnTo>
                  <a:lnTo>
                    <a:pt x="2" y="687"/>
                  </a:lnTo>
                  <a:lnTo>
                    <a:pt x="4" y="697"/>
                  </a:lnTo>
                  <a:lnTo>
                    <a:pt x="8" y="707"/>
                  </a:lnTo>
                  <a:lnTo>
                    <a:pt x="12" y="717"/>
                  </a:lnTo>
                  <a:lnTo>
                    <a:pt x="17" y="727"/>
                  </a:lnTo>
                  <a:lnTo>
                    <a:pt x="23" y="735"/>
                  </a:lnTo>
                  <a:lnTo>
                    <a:pt x="29" y="745"/>
                  </a:lnTo>
                  <a:lnTo>
                    <a:pt x="37" y="752"/>
                  </a:lnTo>
                  <a:lnTo>
                    <a:pt x="44" y="761"/>
                  </a:lnTo>
                  <a:lnTo>
                    <a:pt x="53" y="767"/>
                  </a:lnTo>
                  <a:lnTo>
                    <a:pt x="61" y="774"/>
                  </a:lnTo>
                  <a:lnTo>
                    <a:pt x="70" y="779"/>
                  </a:lnTo>
                  <a:lnTo>
                    <a:pt x="79" y="785"/>
                  </a:lnTo>
                  <a:lnTo>
                    <a:pt x="89" y="789"/>
                  </a:lnTo>
                  <a:lnTo>
                    <a:pt x="100" y="791"/>
                  </a:lnTo>
                  <a:lnTo>
                    <a:pt x="555" y="900"/>
                  </a:lnTo>
                  <a:lnTo>
                    <a:pt x="567" y="902"/>
                  </a:lnTo>
                  <a:lnTo>
                    <a:pt x="579" y="904"/>
                  </a:lnTo>
                  <a:lnTo>
                    <a:pt x="587" y="904"/>
                  </a:lnTo>
                  <a:lnTo>
                    <a:pt x="593" y="902"/>
                  </a:lnTo>
                  <a:lnTo>
                    <a:pt x="599" y="901"/>
                  </a:lnTo>
                  <a:lnTo>
                    <a:pt x="606" y="899"/>
                  </a:lnTo>
                  <a:lnTo>
                    <a:pt x="612" y="897"/>
                  </a:lnTo>
                  <a:lnTo>
                    <a:pt x="619" y="894"/>
                  </a:lnTo>
                  <a:lnTo>
                    <a:pt x="624" y="891"/>
                  </a:lnTo>
                  <a:lnTo>
                    <a:pt x="630" y="886"/>
                  </a:lnTo>
                  <a:lnTo>
                    <a:pt x="637" y="880"/>
                  </a:lnTo>
                  <a:lnTo>
                    <a:pt x="643" y="872"/>
                  </a:lnTo>
                  <a:lnTo>
                    <a:pt x="649" y="865"/>
                  </a:lnTo>
                  <a:lnTo>
                    <a:pt x="653" y="856"/>
                  </a:lnTo>
                  <a:lnTo>
                    <a:pt x="657" y="848"/>
                  </a:lnTo>
                  <a:lnTo>
                    <a:pt x="659" y="838"/>
                  </a:lnTo>
                  <a:lnTo>
                    <a:pt x="662" y="827"/>
                  </a:lnTo>
                  <a:lnTo>
                    <a:pt x="662" y="817"/>
                  </a:lnTo>
                  <a:lnTo>
                    <a:pt x="662" y="691"/>
                  </a:lnTo>
                  <a:lnTo>
                    <a:pt x="797" y="691"/>
                  </a:lnTo>
                  <a:lnTo>
                    <a:pt x="807" y="691"/>
                  </a:lnTo>
                  <a:lnTo>
                    <a:pt x="818" y="689"/>
                  </a:lnTo>
                  <a:lnTo>
                    <a:pt x="828" y="687"/>
                  </a:lnTo>
                  <a:lnTo>
                    <a:pt x="837" y="684"/>
                  </a:lnTo>
                  <a:lnTo>
                    <a:pt x="847" y="678"/>
                  </a:lnTo>
                  <a:lnTo>
                    <a:pt x="856" y="674"/>
                  </a:lnTo>
                  <a:lnTo>
                    <a:pt x="864" y="668"/>
                  </a:lnTo>
                  <a:lnTo>
                    <a:pt x="872" y="661"/>
                  </a:lnTo>
                  <a:lnTo>
                    <a:pt x="878" y="654"/>
                  </a:lnTo>
                  <a:lnTo>
                    <a:pt x="885" y="645"/>
                  </a:lnTo>
                  <a:lnTo>
                    <a:pt x="889" y="637"/>
                  </a:lnTo>
                  <a:lnTo>
                    <a:pt x="894" y="627"/>
                  </a:lnTo>
                  <a:lnTo>
                    <a:pt x="897" y="617"/>
                  </a:lnTo>
                  <a:lnTo>
                    <a:pt x="900" y="608"/>
                  </a:lnTo>
                  <a:lnTo>
                    <a:pt x="902" y="597"/>
                  </a:lnTo>
                  <a:lnTo>
                    <a:pt x="902" y="586"/>
                  </a:lnTo>
                  <a:lnTo>
                    <a:pt x="902" y="106"/>
                  </a:lnTo>
                  <a:lnTo>
                    <a:pt x="902" y="95"/>
                  </a:lnTo>
                  <a:lnTo>
                    <a:pt x="900" y="84"/>
                  </a:lnTo>
                  <a:lnTo>
                    <a:pt x="897" y="74"/>
                  </a:lnTo>
                  <a:lnTo>
                    <a:pt x="894" y="64"/>
                  </a:lnTo>
                  <a:lnTo>
                    <a:pt x="889" y="55"/>
                  </a:lnTo>
                  <a:lnTo>
                    <a:pt x="885" y="47"/>
                  </a:lnTo>
                  <a:lnTo>
                    <a:pt x="878" y="38"/>
                  </a:lnTo>
                  <a:lnTo>
                    <a:pt x="872" y="31"/>
                  </a:lnTo>
                  <a:lnTo>
                    <a:pt x="864" y="24"/>
                  </a:lnTo>
                  <a:lnTo>
                    <a:pt x="856" y="18"/>
                  </a:lnTo>
                  <a:lnTo>
                    <a:pt x="847" y="12"/>
                  </a:lnTo>
                  <a:lnTo>
                    <a:pt x="837" y="8"/>
                  </a:lnTo>
                  <a:lnTo>
                    <a:pt x="828" y="5"/>
                  </a:lnTo>
                  <a:lnTo>
                    <a:pt x="818" y="2"/>
                  </a:lnTo>
                  <a:lnTo>
                    <a:pt x="807" y="1"/>
                  </a:lnTo>
                  <a:lnTo>
                    <a:pt x="7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5" name="Freeform 143">
              <a:extLst>
                <a:ext uri="{FF2B5EF4-FFF2-40B4-BE49-F238E27FC236}">
                  <a16:creationId xmlns:a16="http://schemas.microsoft.com/office/drawing/2014/main" id="{63E67087-B085-4C8D-9717-5C41025042B2}"/>
                </a:ext>
              </a:extLst>
            </p:cNvPr>
            <p:cNvSpPr>
              <a:spLocks noEditPoints="1"/>
            </p:cNvSpPr>
            <p:nvPr/>
          </p:nvSpPr>
          <p:spPr bwMode="auto">
            <a:xfrm>
              <a:off x="8869363" y="2063433"/>
              <a:ext cx="57150" cy="57150"/>
            </a:xfrm>
            <a:custGeom>
              <a:avLst/>
              <a:gdLst>
                <a:gd name="T0" fmla="*/ 79 w 181"/>
                <a:gd name="T1" fmla="*/ 149 h 180"/>
                <a:gd name="T2" fmla="*/ 62 w 181"/>
                <a:gd name="T3" fmla="*/ 143 h 180"/>
                <a:gd name="T4" fmla="*/ 48 w 181"/>
                <a:gd name="T5" fmla="*/ 133 h 180"/>
                <a:gd name="T6" fmla="*/ 38 w 181"/>
                <a:gd name="T7" fmla="*/ 119 h 180"/>
                <a:gd name="T8" fmla="*/ 32 w 181"/>
                <a:gd name="T9" fmla="*/ 102 h 180"/>
                <a:gd name="T10" fmla="*/ 30 w 181"/>
                <a:gd name="T11" fmla="*/ 84 h 180"/>
                <a:gd name="T12" fmla="*/ 35 w 181"/>
                <a:gd name="T13" fmla="*/ 66 h 180"/>
                <a:gd name="T14" fmla="*/ 44 w 181"/>
                <a:gd name="T15" fmla="*/ 51 h 180"/>
                <a:gd name="T16" fmla="*/ 57 w 181"/>
                <a:gd name="T17" fmla="*/ 41 h 180"/>
                <a:gd name="T18" fmla="*/ 72 w 181"/>
                <a:gd name="T19" fmla="*/ 33 h 180"/>
                <a:gd name="T20" fmla="*/ 90 w 181"/>
                <a:gd name="T21" fmla="*/ 30 h 180"/>
                <a:gd name="T22" fmla="*/ 109 w 181"/>
                <a:gd name="T23" fmla="*/ 33 h 180"/>
                <a:gd name="T24" fmla="*/ 124 w 181"/>
                <a:gd name="T25" fmla="*/ 41 h 180"/>
                <a:gd name="T26" fmla="*/ 137 w 181"/>
                <a:gd name="T27" fmla="*/ 51 h 180"/>
                <a:gd name="T28" fmla="*/ 146 w 181"/>
                <a:gd name="T29" fmla="*/ 66 h 180"/>
                <a:gd name="T30" fmla="*/ 151 w 181"/>
                <a:gd name="T31" fmla="*/ 84 h 180"/>
                <a:gd name="T32" fmla="*/ 149 w 181"/>
                <a:gd name="T33" fmla="*/ 102 h 180"/>
                <a:gd name="T34" fmla="*/ 143 w 181"/>
                <a:gd name="T35" fmla="*/ 119 h 180"/>
                <a:gd name="T36" fmla="*/ 132 w 181"/>
                <a:gd name="T37" fmla="*/ 133 h 180"/>
                <a:gd name="T38" fmla="*/ 119 w 181"/>
                <a:gd name="T39" fmla="*/ 143 h 180"/>
                <a:gd name="T40" fmla="*/ 102 w 181"/>
                <a:gd name="T41" fmla="*/ 149 h 180"/>
                <a:gd name="T42" fmla="*/ 90 w 181"/>
                <a:gd name="T43" fmla="*/ 0 h 180"/>
                <a:gd name="T44" fmla="*/ 64 w 181"/>
                <a:gd name="T45" fmla="*/ 4 h 180"/>
                <a:gd name="T46" fmla="*/ 40 w 181"/>
                <a:gd name="T47" fmla="*/ 15 h 180"/>
                <a:gd name="T48" fmla="*/ 21 w 181"/>
                <a:gd name="T49" fmla="*/ 33 h 180"/>
                <a:gd name="T50" fmla="*/ 7 w 181"/>
                <a:gd name="T51" fmla="*/ 55 h 180"/>
                <a:gd name="T52" fmla="*/ 0 w 181"/>
                <a:gd name="T53" fmla="*/ 82 h 180"/>
                <a:gd name="T54" fmla="*/ 1 w 181"/>
                <a:gd name="T55" fmla="*/ 108 h 180"/>
                <a:gd name="T56" fmla="*/ 11 w 181"/>
                <a:gd name="T57" fmla="*/ 133 h 180"/>
                <a:gd name="T58" fmla="*/ 26 w 181"/>
                <a:gd name="T59" fmla="*/ 154 h 180"/>
                <a:gd name="T60" fmla="*/ 48 w 181"/>
                <a:gd name="T61" fmla="*/ 169 h 180"/>
                <a:gd name="T62" fmla="*/ 72 w 181"/>
                <a:gd name="T63" fmla="*/ 179 h 180"/>
                <a:gd name="T64" fmla="*/ 99 w 181"/>
                <a:gd name="T65" fmla="*/ 180 h 180"/>
                <a:gd name="T66" fmla="*/ 126 w 181"/>
                <a:gd name="T67" fmla="*/ 174 h 180"/>
                <a:gd name="T68" fmla="*/ 147 w 181"/>
                <a:gd name="T69" fmla="*/ 160 h 180"/>
                <a:gd name="T70" fmla="*/ 166 w 181"/>
                <a:gd name="T71" fmla="*/ 140 h 180"/>
                <a:gd name="T72" fmla="*/ 176 w 181"/>
                <a:gd name="T73" fmla="*/ 117 h 180"/>
                <a:gd name="T74" fmla="*/ 181 w 181"/>
                <a:gd name="T75" fmla="*/ 90 h 180"/>
                <a:gd name="T76" fmla="*/ 176 w 181"/>
                <a:gd name="T77" fmla="*/ 63 h 180"/>
                <a:gd name="T78" fmla="*/ 166 w 181"/>
                <a:gd name="T79" fmla="*/ 40 h 180"/>
                <a:gd name="T80" fmla="*/ 147 w 181"/>
                <a:gd name="T81" fmla="*/ 20 h 180"/>
                <a:gd name="T82" fmla="*/ 126 w 181"/>
                <a:gd name="T83" fmla="*/ 8 h 180"/>
                <a:gd name="T84" fmla="*/ 99 w 181"/>
                <a:gd name="T8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0">
                  <a:moveTo>
                    <a:pt x="90" y="150"/>
                  </a:moveTo>
                  <a:lnTo>
                    <a:pt x="84" y="150"/>
                  </a:lnTo>
                  <a:lnTo>
                    <a:pt x="79" y="149"/>
                  </a:lnTo>
                  <a:lnTo>
                    <a:pt x="72" y="148"/>
                  </a:lnTo>
                  <a:lnTo>
                    <a:pt x="67" y="146"/>
                  </a:lnTo>
                  <a:lnTo>
                    <a:pt x="62" y="143"/>
                  </a:lnTo>
                  <a:lnTo>
                    <a:pt x="57" y="140"/>
                  </a:lnTo>
                  <a:lnTo>
                    <a:pt x="52" y="136"/>
                  </a:lnTo>
                  <a:lnTo>
                    <a:pt x="48" y="133"/>
                  </a:lnTo>
                  <a:lnTo>
                    <a:pt x="44" y="129"/>
                  </a:lnTo>
                  <a:lnTo>
                    <a:pt x="40" y="123"/>
                  </a:lnTo>
                  <a:lnTo>
                    <a:pt x="38" y="119"/>
                  </a:lnTo>
                  <a:lnTo>
                    <a:pt x="35" y="114"/>
                  </a:lnTo>
                  <a:lnTo>
                    <a:pt x="33" y="108"/>
                  </a:lnTo>
                  <a:lnTo>
                    <a:pt x="32" y="102"/>
                  </a:lnTo>
                  <a:lnTo>
                    <a:pt x="30" y="97"/>
                  </a:lnTo>
                  <a:lnTo>
                    <a:pt x="30" y="90"/>
                  </a:lnTo>
                  <a:lnTo>
                    <a:pt x="30" y="84"/>
                  </a:lnTo>
                  <a:lnTo>
                    <a:pt x="32" y="78"/>
                  </a:lnTo>
                  <a:lnTo>
                    <a:pt x="33" y="72"/>
                  </a:lnTo>
                  <a:lnTo>
                    <a:pt x="35" y="66"/>
                  </a:lnTo>
                  <a:lnTo>
                    <a:pt x="38" y="61"/>
                  </a:lnTo>
                  <a:lnTo>
                    <a:pt x="40" y="57"/>
                  </a:lnTo>
                  <a:lnTo>
                    <a:pt x="44" y="51"/>
                  </a:lnTo>
                  <a:lnTo>
                    <a:pt x="48" y="47"/>
                  </a:lnTo>
                  <a:lnTo>
                    <a:pt x="52" y="44"/>
                  </a:lnTo>
                  <a:lnTo>
                    <a:pt x="57" y="41"/>
                  </a:lnTo>
                  <a:lnTo>
                    <a:pt x="62" y="38"/>
                  </a:lnTo>
                  <a:lnTo>
                    <a:pt x="67" y="34"/>
                  </a:lnTo>
                  <a:lnTo>
                    <a:pt x="72" y="33"/>
                  </a:lnTo>
                  <a:lnTo>
                    <a:pt x="79" y="31"/>
                  </a:lnTo>
                  <a:lnTo>
                    <a:pt x="84" y="30"/>
                  </a:lnTo>
                  <a:lnTo>
                    <a:pt x="90" y="30"/>
                  </a:lnTo>
                  <a:lnTo>
                    <a:pt x="97" y="30"/>
                  </a:lnTo>
                  <a:lnTo>
                    <a:pt x="102" y="31"/>
                  </a:lnTo>
                  <a:lnTo>
                    <a:pt x="109" y="33"/>
                  </a:lnTo>
                  <a:lnTo>
                    <a:pt x="114" y="34"/>
                  </a:lnTo>
                  <a:lnTo>
                    <a:pt x="119" y="38"/>
                  </a:lnTo>
                  <a:lnTo>
                    <a:pt x="124" y="41"/>
                  </a:lnTo>
                  <a:lnTo>
                    <a:pt x="129" y="44"/>
                  </a:lnTo>
                  <a:lnTo>
                    <a:pt x="132" y="47"/>
                  </a:lnTo>
                  <a:lnTo>
                    <a:pt x="137" y="51"/>
                  </a:lnTo>
                  <a:lnTo>
                    <a:pt x="140" y="57"/>
                  </a:lnTo>
                  <a:lnTo>
                    <a:pt x="143" y="61"/>
                  </a:lnTo>
                  <a:lnTo>
                    <a:pt x="146" y="66"/>
                  </a:lnTo>
                  <a:lnTo>
                    <a:pt x="147" y="72"/>
                  </a:lnTo>
                  <a:lnTo>
                    <a:pt x="149" y="78"/>
                  </a:lnTo>
                  <a:lnTo>
                    <a:pt x="151" y="84"/>
                  </a:lnTo>
                  <a:lnTo>
                    <a:pt x="151" y="90"/>
                  </a:lnTo>
                  <a:lnTo>
                    <a:pt x="151" y="97"/>
                  </a:lnTo>
                  <a:lnTo>
                    <a:pt x="149" y="102"/>
                  </a:lnTo>
                  <a:lnTo>
                    <a:pt x="147" y="108"/>
                  </a:lnTo>
                  <a:lnTo>
                    <a:pt x="146" y="114"/>
                  </a:lnTo>
                  <a:lnTo>
                    <a:pt x="143" y="119"/>
                  </a:lnTo>
                  <a:lnTo>
                    <a:pt x="140" y="123"/>
                  </a:lnTo>
                  <a:lnTo>
                    <a:pt x="137" y="129"/>
                  </a:lnTo>
                  <a:lnTo>
                    <a:pt x="132" y="133"/>
                  </a:lnTo>
                  <a:lnTo>
                    <a:pt x="129" y="136"/>
                  </a:lnTo>
                  <a:lnTo>
                    <a:pt x="124" y="140"/>
                  </a:lnTo>
                  <a:lnTo>
                    <a:pt x="119" y="143"/>
                  </a:lnTo>
                  <a:lnTo>
                    <a:pt x="114" y="146"/>
                  </a:lnTo>
                  <a:lnTo>
                    <a:pt x="109" y="148"/>
                  </a:lnTo>
                  <a:lnTo>
                    <a:pt x="102" y="149"/>
                  </a:lnTo>
                  <a:lnTo>
                    <a:pt x="97" y="150"/>
                  </a:lnTo>
                  <a:lnTo>
                    <a:pt x="90" y="150"/>
                  </a:lnTo>
                  <a:close/>
                  <a:moveTo>
                    <a:pt x="90" y="0"/>
                  </a:moveTo>
                  <a:lnTo>
                    <a:pt x="81" y="0"/>
                  </a:lnTo>
                  <a:lnTo>
                    <a:pt x="72" y="2"/>
                  </a:lnTo>
                  <a:lnTo>
                    <a:pt x="64" y="4"/>
                  </a:lnTo>
                  <a:lnTo>
                    <a:pt x="55" y="8"/>
                  </a:lnTo>
                  <a:lnTo>
                    <a:pt x="48" y="11"/>
                  </a:lnTo>
                  <a:lnTo>
                    <a:pt x="40" y="15"/>
                  </a:lnTo>
                  <a:lnTo>
                    <a:pt x="33" y="20"/>
                  </a:lnTo>
                  <a:lnTo>
                    <a:pt x="26" y="27"/>
                  </a:lnTo>
                  <a:lnTo>
                    <a:pt x="21" y="33"/>
                  </a:lnTo>
                  <a:lnTo>
                    <a:pt x="15" y="40"/>
                  </a:lnTo>
                  <a:lnTo>
                    <a:pt x="11" y="47"/>
                  </a:lnTo>
                  <a:lnTo>
                    <a:pt x="7" y="55"/>
                  </a:lnTo>
                  <a:lnTo>
                    <a:pt x="5" y="63"/>
                  </a:lnTo>
                  <a:lnTo>
                    <a:pt x="1" y="72"/>
                  </a:lnTo>
                  <a:lnTo>
                    <a:pt x="0" y="82"/>
                  </a:lnTo>
                  <a:lnTo>
                    <a:pt x="0" y="90"/>
                  </a:lnTo>
                  <a:lnTo>
                    <a:pt x="0" y="100"/>
                  </a:lnTo>
                  <a:lnTo>
                    <a:pt x="1" y="108"/>
                  </a:lnTo>
                  <a:lnTo>
                    <a:pt x="5" y="117"/>
                  </a:lnTo>
                  <a:lnTo>
                    <a:pt x="7" y="125"/>
                  </a:lnTo>
                  <a:lnTo>
                    <a:pt x="11" y="133"/>
                  </a:lnTo>
                  <a:lnTo>
                    <a:pt x="15" y="140"/>
                  </a:lnTo>
                  <a:lnTo>
                    <a:pt x="21" y="148"/>
                  </a:lnTo>
                  <a:lnTo>
                    <a:pt x="26" y="154"/>
                  </a:lnTo>
                  <a:lnTo>
                    <a:pt x="33" y="160"/>
                  </a:lnTo>
                  <a:lnTo>
                    <a:pt x="40" y="165"/>
                  </a:lnTo>
                  <a:lnTo>
                    <a:pt x="48" y="169"/>
                  </a:lnTo>
                  <a:lnTo>
                    <a:pt x="55" y="174"/>
                  </a:lnTo>
                  <a:lnTo>
                    <a:pt x="64" y="176"/>
                  </a:lnTo>
                  <a:lnTo>
                    <a:pt x="72" y="179"/>
                  </a:lnTo>
                  <a:lnTo>
                    <a:pt x="81" y="180"/>
                  </a:lnTo>
                  <a:lnTo>
                    <a:pt x="90" y="180"/>
                  </a:lnTo>
                  <a:lnTo>
                    <a:pt x="99" y="180"/>
                  </a:lnTo>
                  <a:lnTo>
                    <a:pt x="109" y="179"/>
                  </a:lnTo>
                  <a:lnTo>
                    <a:pt x="117" y="176"/>
                  </a:lnTo>
                  <a:lnTo>
                    <a:pt x="126" y="174"/>
                  </a:lnTo>
                  <a:lnTo>
                    <a:pt x="133" y="169"/>
                  </a:lnTo>
                  <a:lnTo>
                    <a:pt x="141" y="165"/>
                  </a:lnTo>
                  <a:lnTo>
                    <a:pt x="147" y="160"/>
                  </a:lnTo>
                  <a:lnTo>
                    <a:pt x="154" y="154"/>
                  </a:lnTo>
                  <a:lnTo>
                    <a:pt x="160" y="148"/>
                  </a:lnTo>
                  <a:lnTo>
                    <a:pt x="166" y="140"/>
                  </a:lnTo>
                  <a:lnTo>
                    <a:pt x="170" y="133"/>
                  </a:lnTo>
                  <a:lnTo>
                    <a:pt x="173" y="125"/>
                  </a:lnTo>
                  <a:lnTo>
                    <a:pt x="176" y="117"/>
                  </a:lnTo>
                  <a:lnTo>
                    <a:pt x="178" y="108"/>
                  </a:lnTo>
                  <a:lnTo>
                    <a:pt x="181" y="100"/>
                  </a:lnTo>
                  <a:lnTo>
                    <a:pt x="181" y="90"/>
                  </a:lnTo>
                  <a:lnTo>
                    <a:pt x="181" y="82"/>
                  </a:lnTo>
                  <a:lnTo>
                    <a:pt x="178" y="72"/>
                  </a:lnTo>
                  <a:lnTo>
                    <a:pt x="176" y="63"/>
                  </a:lnTo>
                  <a:lnTo>
                    <a:pt x="173" y="55"/>
                  </a:lnTo>
                  <a:lnTo>
                    <a:pt x="170" y="47"/>
                  </a:lnTo>
                  <a:lnTo>
                    <a:pt x="166" y="40"/>
                  </a:lnTo>
                  <a:lnTo>
                    <a:pt x="160" y="33"/>
                  </a:lnTo>
                  <a:lnTo>
                    <a:pt x="154" y="27"/>
                  </a:lnTo>
                  <a:lnTo>
                    <a:pt x="147" y="20"/>
                  </a:lnTo>
                  <a:lnTo>
                    <a:pt x="141" y="15"/>
                  </a:lnTo>
                  <a:lnTo>
                    <a:pt x="133" y="11"/>
                  </a:lnTo>
                  <a:lnTo>
                    <a:pt x="126" y="8"/>
                  </a:lnTo>
                  <a:lnTo>
                    <a:pt x="117" y="4"/>
                  </a:lnTo>
                  <a:lnTo>
                    <a:pt x="109" y="2"/>
                  </a:lnTo>
                  <a:lnTo>
                    <a:pt x="99"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56" name="Group 71">
            <a:extLst>
              <a:ext uri="{FF2B5EF4-FFF2-40B4-BE49-F238E27FC236}">
                <a16:creationId xmlns:a16="http://schemas.microsoft.com/office/drawing/2014/main" id="{3331B5C5-ED9C-4CE5-BF91-8293F09B648C}"/>
              </a:ext>
            </a:extLst>
          </p:cNvPr>
          <p:cNvGrpSpPr>
            <a:grpSpLocks noChangeAspect="1"/>
          </p:cNvGrpSpPr>
          <p:nvPr/>
        </p:nvGrpSpPr>
        <p:grpSpPr>
          <a:xfrm>
            <a:off x="7071144" y="2233311"/>
            <a:ext cx="284042" cy="285619"/>
            <a:chOff x="8162925" y="2496820"/>
            <a:chExt cx="285751" cy="287338"/>
          </a:xfrm>
          <a:solidFill>
            <a:schemeClr val="bg1"/>
          </a:solidFill>
          <a:effectLst/>
        </p:grpSpPr>
        <p:sp>
          <p:nvSpPr>
            <p:cNvPr id="1657" name="Freeform 110">
              <a:extLst>
                <a:ext uri="{FF2B5EF4-FFF2-40B4-BE49-F238E27FC236}">
                  <a16:creationId xmlns:a16="http://schemas.microsoft.com/office/drawing/2014/main" id="{049AD97C-9E21-4822-811C-279B48F9184D}"/>
                </a:ext>
              </a:extLst>
            </p:cNvPr>
            <p:cNvSpPr>
              <a:spLocks noEditPoints="1"/>
            </p:cNvSpPr>
            <p:nvPr/>
          </p:nvSpPr>
          <p:spPr bwMode="auto">
            <a:xfrm>
              <a:off x="8162925" y="2496820"/>
              <a:ext cx="95250" cy="96838"/>
            </a:xfrm>
            <a:custGeom>
              <a:avLst/>
              <a:gdLst>
                <a:gd name="T0" fmla="*/ 270 w 300"/>
                <a:gd name="T1" fmla="*/ 271 h 301"/>
                <a:gd name="T2" fmla="*/ 30 w 300"/>
                <a:gd name="T3" fmla="*/ 271 h 301"/>
                <a:gd name="T4" fmla="*/ 30 w 300"/>
                <a:gd name="T5" fmla="*/ 30 h 301"/>
                <a:gd name="T6" fmla="*/ 270 w 300"/>
                <a:gd name="T7" fmla="*/ 30 h 301"/>
                <a:gd name="T8" fmla="*/ 270 w 300"/>
                <a:gd name="T9" fmla="*/ 271 h 301"/>
                <a:gd name="T10" fmla="*/ 285 w 300"/>
                <a:gd name="T11" fmla="*/ 0 h 301"/>
                <a:gd name="T12" fmla="*/ 15 w 300"/>
                <a:gd name="T13" fmla="*/ 0 h 301"/>
                <a:gd name="T14" fmla="*/ 11 w 300"/>
                <a:gd name="T15" fmla="*/ 0 h 301"/>
                <a:gd name="T16" fmla="*/ 8 w 300"/>
                <a:gd name="T17" fmla="*/ 1 h 301"/>
                <a:gd name="T18" fmla="*/ 6 w 300"/>
                <a:gd name="T19" fmla="*/ 2 h 301"/>
                <a:gd name="T20" fmla="*/ 4 w 300"/>
                <a:gd name="T21" fmla="*/ 5 h 301"/>
                <a:gd name="T22" fmla="*/ 2 w 300"/>
                <a:gd name="T23" fmla="*/ 7 h 301"/>
                <a:gd name="T24" fmla="*/ 1 w 300"/>
                <a:gd name="T25" fmla="*/ 9 h 301"/>
                <a:gd name="T26" fmla="*/ 0 w 300"/>
                <a:gd name="T27" fmla="*/ 12 h 301"/>
                <a:gd name="T28" fmla="*/ 0 w 300"/>
                <a:gd name="T29" fmla="*/ 15 h 301"/>
                <a:gd name="T30" fmla="*/ 0 w 300"/>
                <a:gd name="T31" fmla="*/ 286 h 301"/>
                <a:gd name="T32" fmla="*/ 0 w 300"/>
                <a:gd name="T33" fmla="*/ 289 h 301"/>
                <a:gd name="T34" fmla="*/ 1 w 300"/>
                <a:gd name="T35" fmla="*/ 292 h 301"/>
                <a:gd name="T36" fmla="*/ 2 w 300"/>
                <a:gd name="T37" fmla="*/ 294 h 301"/>
                <a:gd name="T38" fmla="*/ 4 w 300"/>
                <a:gd name="T39" fmla="*/ 296 h 301"/>
                <a:gd name="T40" fmla="*/ 6 w 300"/>
                <a:gd name="T41" fmla="*/ 298 h 301"/>
                <a:gd name="T42" fmla="*/ 8 w 300"/>
                <a:gd name="T43" fmla="*/ 300 h 301"/>
                <a:gd name="T44" fmla="*/ 11 w 300"/>
                <a:gd name="T45" fmla="*/ 301 h 301"/>
                <a:gd name="T46" fmla="*/ 15 w 300"/>
                <a:gd name="T47" fmla="*/ 301 h 301"/>
                <a:gd name="T48" fmla="*/ 285 w 300"/>
                <a:gd name="T49" fmla="*/ 301 h 301"/>
                <a:gd name="T50" fmla="*/ 288 w 300"/>
                <a:gd name="T51" fmla="*/ 301 h 301"/>
                <a:gd name="T52" fmla="*/ 291 w 300"/>
                <a:gd name="T53" fmla="*/ 300 h 301"/>
                <a:gd name="T54" fmla="*/ 293 w 300"/>
                <a:gd name="T55" fmla="*/ 298 h 301"/>
                <a:gd name="T56" fmla="*/ 296 w 300"/>
                <a:gd name="T57" fmla="*/ 296 h 301"/>
                <a:gd name="T58" fmla="*/ 298 w 300"/>
                <a:gd name="T59" fmla="*/ 294 h 301"/>
                <a:gd name="T60" fmla="*/ 299 w 300"/>
                <a:gd name="T61" fmla="*/ 292 h 301"/>
                <a:gd name="T62" fmla="*/ 300 w 300"/>
                <a:gd name="T63" fmla="*/ 289 h 301"/>
                <a:gd name="T64" fmla="*/ 300 w 300"/>
                <a:gd name="T65" fmla="*/ 286 h 301"/>
                <a:gd name="T66" fmla="*/ 300 w 300"/>
                <a:gd name="T67" fmla="*/ 15 h 301"/>
                <a:gd name="T68" fmla="*/ 300 w 300"/>
                <a:gd name="T69" fmla="*/ 12 h 301"/>
                <a:gd name="T70" fmla="*/ 299 w 300"/>
                <a:gd name="T71" fmla="*/ 9 h 301"/>
                <a:gd name="T72" fmla="*/ 298 w 300"/>
                <a:gd name="T73" fmla="*/ 7 h 301"/>
                <a:gd name="T74" fmla="*/ 296 w 300"/>
                <a:gd name="T75" fmla="*/ 5 h 301"/>
                <a:gd name="T76" fmla="*/ 293 w 300"/>
                <a:gd name="T77" fmla="*/ 2 h 301"/>
                <a:gd name="T78" fmla="*/ 291 w 300"/>
                <a:gd name="T79" fmla="*/ 1 h 301"/>
                <a:gd name="T80" fmla="*/ 288 w 300"/>
                <a:gd name="T81" fmla="*/ 0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0"/>
                  </a:lnTo>
                  <a:lnTo>
                    <a:pt x="270" y="30"/>
                  </a:lnTo>
                  <a:lnTo>
                    <a:pt x="270" y="271"/>
                  </a:lnTo>
                  <a:close/>
                  <a:moveTo>
                    <a:pt x="285" y="0"/>
                  </a:moveTo>
                  <a:lnTo>
                    <a:pt x="15" y="0"/>
                  </a:lnTo>
                  <a:lnTo>
                    <a:pt x="11" y="0"/>
                  </a:lnTo>
                  <a:lnTo>
                    <a:pt x="8" y="1"/>
                  </a:lnTo>
                  <a:lnTo>
                    <a:pt x="6" y="2"/>
                  </a:lnTo>
                  <a:lnTo>
                    <a:pt x="4" y="5"/>
                  </a:lnTo>
                  <a:lnTo>
                    <a:pt x="2" y="7"/>
                  </a:lnTo>
                  <a:lnTo>
                    <a:pt x="1" y="9"/>
                  </a:lnTo>
                  <a:lnTo>
                    <a:pt x="0" y="12"/>
                  </a:lnTo>
                  <a:lnTo>
                    <a:pt x="0" y="15"/>
                  </a:lnTo>
                  <a:lnTo>
                    <a:pt x="0" y="286"/>
                  </a:lnTo>
                  <a:lnTo>
                    <a:pt x="0" y="289"/>
                  </a:lnTo>
                  <a:lnTo>
                    <a:pt x="1" y="292"/>
                  </a:lnTo>
                  <a:lnTo>
                    <a:pt x="2" y="294"/>
                  </a:lnTo>
                  <a:lnTo>
                    <a:pt x="4" y="296"/>
                  </a:lnTo>
                  <a:lnTo>
                    <a:pt x="6" y="298"/>
                  </a:lnTo>
                  <a:lnTo>
                    <a:pt x="8" y="300"/>
                  </a:lnTo>
                  <a:lnTo>
                    <a:pt x="11" y="301"/>
                  </a:lnTo>
                  <a:lnTo>
                    <a:pt x="15" y="301"/>
                  </a:lnTo>
                  <a:lnTo>
                    <a:pt x="285" y="301"/>
                  </a:lnTo>
                  <a:lnTo>
                    <a:pt x="288" y="301"/>
                  </a:lnTo>
                  <a:lnTo>
                    <a:pt x="291" y="300"/>
                  </a:lnTo>
                  <a:lnTo>
                    <a:pt x="293" y="298"/>
                  </a:lnTo>
                  <a:lnTo>
                    <a:pt x="296" y="296"/>
                  </a:lnTo>
                  <a:lnTo>
                    <a:pt x="298" y="294"/>
                  </a:lnTo>
                  <a:lnTo>
                    <a:pt x="299" y="292"/>
                  </a:lnTo>
                  <a:lnTo>
                    <a:pt x="300" y="289"/>
                  </a:lnTo>
                  <a:lnTo>
                    <a:pt x="300" y="286"/>
                  </a:lnTo>
                  <a:lnTo>
                    <a:pt x="300" y="15"/>
                  </a:lnTo>
                  <a:lnTo>
                    <a:pt x="300" y="12"/>
                  </a:lnTo>
                  <a:lnTo>
                    <a:pt x="299" y="9"/>
                  </a:lnTo>
                  <a:lnTo>
                    <a:pt x="298" y="7"/>
                  </a:lnTo>
                  <a:lnTo>
                    <a:pt x="296" y="5"/>
                  </a:lnTo>
                  <a:lnTo>
                    <a:pt x="293" y="2"/>
                  </a:lnTo>
                  <a:lnTo>
                    <a:pt x="291" y="1"/>
                  </a:lnTo>
                  <a:lnTo>
                    <a:pt x="288"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8" name="Freeform 111">
              <a:extLst>
                <a:ext uri="{FF2B5EF4-FFF2-40B4-BE49-F238E27FC236}">
                  <a16:creationId xmlns:a16="http://schemas.microsoft.com/office/drawing/2014/main" id="{E39794D5-563A-408F-B1B2-E66635406E0F}"/>
                </a:ext>
              </a:extLst>
            </p:cNvPr>
            <p:cNvSpPr>
              <a:spLocks noEditPoints="1"/>
            </p:cNvSpPr>
            <p:nvPr/>
          </p:nvSpPr>
          <p:spPr bwMode="auto">
            <a:xfrm>
              <a:off x="8181975" y="2515870"/>
              <a:ext cx="57150" cy="58738"/>
            </a:xfrm>
            <a:custGeom>
              <a:avLst/>
              <a:gdLst>
                <a:gd name="T0" fmla="*/ 30 w 180"/>
                <a:gd name="T1" fmla="*/ 30 h 181"/>
                <a:gd name="T2" fmla="*/ 150 w 180"/>
                <a:gd name="T3" fmla="*/ 30 h 181"/>
                <a:gd name="T4" fmla="*/ 150 w 180"/>
                <a:gd name="T5" fmla="*/ 151 h 181"/>
                <a:gd name="T6" fmla="*/ 30 w 180"/>
                <a:gd name="T7" fmla="*/ 151 h 181"/>
                <a:gd name="T8" fmla="*/ 30 w 180"/>
                <a:gd name="T9" fmla="*/ 30 h 181"/>
                <a:gd name="T10" fmla="*/ 15 w 180"/>
                <a:gd name="T11" fmla="*/ 181 h 181"/>
                <a:gd name="T12" fmla="*/ 165 w 180"/>
                <a:gd name="T13" fmla="*/ 181 h 181"/>
                <a:gd name="T14" fmla="*/ 168 w 180"/>
                <a:gd name="T15" fmla="*/ 181 h 181"/>
                <a:gd name="T16" fmla="*/ 171 w 180"/>
                <a:gd name="T17" fmla="*/ 179 h 181"/>
                <a:gd name="T18" fmla="*/ 173 w 180"/>
                <a:gd name="T19" fmla="*/ 178 h 181"/>
                <a:gd name="T20" fmla="*/ 176 w 180"/>
                <a:gd name="T21" fmla="*/ 176 h 181"/>
                <a:gd name="T22" fmla="*/ 178 w 180"/>
                <a:gd name="T23" fmla="*/ 174 h 181"/>
                <a:gd name="T24" fmla="*/ 179 w 180"/>
                <a:gd name="T25" fmla="*/ 171 h 181"/>
                <a:gd name="T26" fmla="*/ 180 w 180"/>
                <a:gd name="T27" fmla="*/ 169 h 181"/>
                <a:gd name="T28" fmla="*/ 180 w 180"/>
                <a:gd name="T29" fmla="*/ 166 h 181"/>
                <a:gd name="T30" fmla="*/ 180 w 180"/>
                <a:gd name="T31" fmla="*/ 15 h 181"/>
                <a:gd name="T32" fmla="*/ 180 w 180"/>
                <a:gd name="T33" fmla="*/ 12 h 181"/>
                <a:gd name="T34" fmla="*/ 179 w 180"/>
                <a:gd name="T35" fmla="*/ 9 h 181"/>
                <a:gd name="T36" fmla="*/ 178 w 180"/>
                <a:gd name="T37" fmla="*/ 7 h 181"/>
                <a:gd name="T38" fmla="*/ 176 w 180"/>
                <a:gd name="T39" fmla="*/ 5 h 181"/>
                <a:gd name="T40" fmla="*/ 173 w 180"/>
                <a:gd name="T41" fmla="*/ 3 h 181"/>
                <a:gd name="T42" fmla="*/ 171 w 180"/>
                <a:gd name="T43" fmla="*/ 1 h 181"/>
                <a:gd name="T44" fmla="*/ 168 w 180"/>
                <a:gd name="T45" fmla="*/ 0 h 181"/>
                <a:gd name="T46" fmla="*/ 165 w 180"/>
                <a:gd name="T47" fmla="*/ 0 h 181"/>
                <a:gd name="T48" fmla="*/ 15 w 180"/>
                <a:gd name="T49" fmla="*/ 0 h 181"/>
                <a:gd name="T50" fmla="*/ 11 w 180"/>
                <a:gd name="T51" fmla="*/ 0 h 181"/>
                <a:gd name="T52" fmla="*/ 9 w 180"/>
                <a:gd name="T53" fmla="*/ 1 h 181"/>
                <a:gd name="T54" fmla="*/ 6 w 180"/>
                <a:gd name="T55" fmla="*/ 3 h 181"/>
                <a:gd name="T56" fmla="*/ 4 w 180"/>
                <a:gd name="T57" fmla="*/ 5 h 181"/>
                <a:gd name="T58" fmla="*/ 2 w 180"/>
                <a:gd name="T59" fmla="*/ 7 h 181"/>
                <a:gd name="T60" fmla="*/ 1 w 180"/>
                <a:gd name="T61" fmla="*/ 9 h 181"/>
                <a:gd name="T62" fmla="*/ 0 w 180"/>
                <a:gd name="T63" fmla="*/ 12 h 181"/>
                <a:gd name="T64" fmla="*/ 0 w 180"/>
                <a:gd name="T65" fmla="*/ 15 h 181"/>
                <a:gd name="T66" fmla="*/ 0 w 180"/>
                <a:gd name="T67" fmla="*/ 166 h 181"/>
                <a:gd name="T68" fmla="*/ 0 w 180"/>
                <a:gd name="T69" fmla="*/ 169 h 181"/>
                <a:gd name="T70" fmla="*/ 1 w 180"/>
                <a:gd name="T71" fmla="*/ 171 h 181"/>
                <a:gd name="T72" fmla="*/ 2 w 180"/>
                <a:gd name="T73" fmla="*/ 174 h 181"/>
                <a:gd name="T74" fmla="*/ 4 w 180"/>
                <a:gd name="T75" fmla="*/ 176 h 181"/>
                <a:gd name="T76" fmla="*/ 6 w 180"/>
                <a:gd name="T77" fmla="*/ 178 h 181"/>
                <a:gd name="T78" fmla="*/ 9 w 180"/>
                <a:gd name="T79" fmla="*/ 179 h 181"/>
                <a:gd name="T80" fmla="*/ 11 w 180"/>
                <a:gd name="T81" fmla="*/ 181 h 181"/>
                <a:gd name="T82" fmla="*/ 15 w 180"/>
                <a:gd name="T8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81">
                  <a:moveTo>
                    <a:pt x="30" y="30"/>
                  </a:moveTo>
                  <a:lnTo>
                    <a:pt x="150" y="30"/>
                  </a:lnTo>
                  <a:lnTo>
                    <a:pt x="150" y="151"/>
                  </a:lnTo>
                  <a:lnTo>
                    <a:pt x="30" y="151"/>
                  </a:lnTo>
                  <a:lnTo>
                    <a:pt x="30" y="30"/>
                  </a:lnTo>
                  <a:close/>
                  <a:moveTo>
                    <a:pt x="15" y="181"/>
                  </a:moveTo>
                  <a:lnTo>
                    <a:pt x="165" y="181"/>
                  </a:lnTo>
                  <a:lnTo>
                    <a:pt x="168" y="181"/>
                  </a:lnTo>
                  <a:lnTo>
                    <a:pt x="171" y="179"/>
                  </a:lnTo>
                  <a:lnTo>
                    <a:pt x="173" y="178"/>
                  </a:lnTo>
                  <a:lnTo>
                    <a:pt x="176" y="176"/>
                  </a:lnTo>
                  <a:lnTo>
                    <a:pt x="178" y="174"/>
                  </a:lnTo>
                  <a:lnTo>
                    <a:pt x="179" y="171"/>
                  </a:lnTo>
                  <a:lnTo>
                    <a:pt x="180" y="169"/>
                  </a:lnTo>
                  <a:lnTo>
                    <a:pt x="180" y="166"/>
                  </a:lnTo>
                  <a:lnTo>
                    <a:pt x="180" y="15"/>
                  </a:lnTo>
                  <a:lnTo>
                    <a:pt x="180" y="12"/>
                  </a:lnTo>
                  <a:lnTo>
                    <a:pt x="179" y="9"/>
                  </a:lnTo>
                  <a:lnTo>
                    <a:pt x="178" y="7"/>
                  </a:lnTo>
                  <a:lnTo>
                    <a:pt x="176" y="5"/>
                  </a:lnTo>
                  <a:lnTo>
                    <a:pt x="173" y="3"/>
                  </a:lnTo>
                  <a:lnTo>
                    <a:pt x="171" y="1"/>
                  </a:lnTo>
                  <a:lnTo>
                    <a:pt x="168" y="0"/>
                  </a:lnTo>
                  <a:lnTo>
                    <a:pt x="165" y="0"/>
                  </a:lnTo>
                  <a:lnTo>
                    <a:pt x="15" y="0"/>
                  </a:lnTo>
                  <a:lnTo>
                    <a:pt x="11" y="0"/>
                  </a:lnTo>
                  <a:lnTo>
                    <a:pt x="9" y="1"/>
                  </a:lnTo>
                  <a:lnTo>
                    <a:pt x="6" y="3"/>
                  </a:lnTo>
                  <a:lnTo>
                    <a:pt x="4" y="5"/>
                  </a:lnTo>
                  <a:lnTo>
                    <a:pt x="2" y="7"/>
                  </a:lnTo>
                  <a:lnTo>
                    <a:pt x="1" y="9"/>
                  </a:lnTo>
                  <a:lnTo>
                    <a:pt x="0" y="12"/>
                  </a:lnTo>
                  <a:lnTo>
                    <a:pt x="0" y="15"/>
                  </a:lnTo>
                  <a:lnTo>
                    <a:pt x="0" y="166"/>
                  </a:lnTo>
                  <a:lnTo>
                    <a:pt x="0" y="169"/>
                  </a:lnTo>
                  <a:lnTo>
                    <a:pt x="1" y="171"/>
                  </a:lnTo>
                  <a:lnTo>
                    <a:pt x="2" y="174"/>
                  </a:lnTo>
                  <a:lnTo>
                    <a:pt x="4" y="176"/>
                  </a:lnTo>
                  <a:lnTo>
                    <a:pt x="6" y="178"/>
                  </a:lnTo>
                  <a:lnTo>
                    <a:pt x="9" y="179"/>
                  </a:lnTo>
                  <a:lnTo>
                    <a:pt x="11" y="181"/>
                  </a:lnTo>
                  <a:lnTo>
                    <a:pt x="15"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9" name="Freeform 112">
              <a:extLst>
                <a:ext uri="{FF2B5EF4-FFF2-40B4-BE49-F238E27FC236}">
                  <a16:creationId xmlns:a16="http://schemas.microsoft.com/office/drawing/2014/main" id="{66CC78FB-7139-4FA4-B333-1A80AF7474E9}"/>
                </a:ext>
              </a:extLst>
            </p:cNvPr>
            <p:cNvSpPr>
              <a:spLocks noEditPoints="1"/>
            </p:cNvSpPr>
            <p:nvPr/>
          </p:nvSpPr>
          <p:spPr bwMode="auto">
            <a:xfrm>
              <a:off x="8162925" y="2688908"/>
              <a:ext cx="95250" cy="95250"/>
            </a:xfrm>
            <a:custGeom>
              <a:avLst/>
              <a:gdLst>
                <a:gd name="T0" fmla="*/ 270 w 300"/>
                <a:gd name="T1" fmla="*/ 271 h 301"/>
                <a:gd name="T2" fmla="*/ 30 w 300"/>
                <a:gd name="T3" fmla="*/ 271 h 301"/>
                <a:gd name="T4" fmla="*/ 30 w 300"/>
                <a:gd name="T5" fmla="*/ 31 h 301"/>
                <a:gd name="T6" fmla="*/ 270 w 300"/>
                <a:gd name="T7" fmla="*/ 31 h 301"/>
                <a:gd name="T8" fmla="*/ 270 w 300"/>
                <a:gd name="T9" fmla="*/ 271 h 301"/>
                <a:gd name="T10" fmla="*/ 285 w 300"/>
                <a:gd name="T11" fmla="*/ 0 h 301"/>
                <a:gd name="T12" fmla="*/ 15 w 300"/>
                <a:gd name="T13" fmla="*/ 0 h 301"/>
                <a:gd name="T14" fmla="*/ 11 w 300"/>
                <a:gd name="T15" fmla="*/ 1 h 301"/>
                <a:gd name="T16" fmla="*/ 8 w 300"/>
                <a:gd name="T17" fmla="*/ 2 h 301"/>
                <a:gd name="T18" fmla="*/ 6 w 300"/>
                <a:gd name="T19" fmla="*/ 3 h 301"/>
                <a:gd name="T20" fmla="*/ 4 w 300"/>
                <a:gd name="T21" fmla="*/ 5 h 301"/>
                <a:gd name="T22" fmla="*/ 2 w 300"/>
                <a:gd name="T23" fmla="*/ 7 h 301"/>
                <a:gd name="T24" fmla="*/ 1 w 300"/>
                <a:gd name="T25" fmla="*/ 9 h 301"/>
                <a:gd name="T26" fmla="*/ 0 w 300"/>
                <a:gd name="T27" fmla="*/ 13 h 301"/>
                <a:gd name="T28" fmla="*/ 0 w 300"/>
                <a:gd name="T29" fmla="*/ 16 h 301"/>
                <a:gd name="T30" fmla="*/ 0 w 300"/>
                <a:gd name="T31" fmla="*/ 286 h 301"/>
                <a:gd name="T32" fmla="*/ 0 w 300"/>
                <a:gd name="T33" fmla="*/ 289 h 301"/>
                <a:gd name="T34" fmla="*/ 1 w 300"/>
                <a:gd name="T35" fmla="*/ 292 h 301"/>
                <a:gd name="T36" fmla="*/ 2 w 300"/>
                <a:gd name="T37" fmla="*/ 295 h 301"/>
                <a:gd name="T38" fmla="*/ 4 w 300"/>
                <a:gd name="T39" fmla="*/ 297 h 301"/>
                <a:gd name="T40" fmla="*/ 6 w 300"/>
                <a:gd name="T41" fmla="*/ 298 h 301"/>
                <a:gd name="T42" fmla="*/ 8 w 300"/>
                <a:gd name="T43" fmla="*/ 300 h 301"/>
                <a:gd name="T44" fmla="*/ 11 w 300"/>
                <a:gd name="T45" fmla="*/ 301 h 301"/>
                <a:gd name="T46" fmla="*/ 15 w 300"/>
                <a:gd name="T47" fmla="*/ 301 h 301"/>
                <a:gd name="T48" fmla="*/ 285 w 300"/>
                <a:gd name="T49" fmla="*/ 301 h 301"/>
                <a:gd name="T50" fmla="*/ 288 w 300"/>
                <a:gd name="T51" fmla="*/ 301 h 301"/>
                <a:gd name="T52" fmla="*/ 291 w 300"/>
                <a:gd name="T53" fmla="*/ 300 h 301"/>
                <a:gd name="T54" fmla="*/ 293 w 300"/>
                <a:gd name="T55" fmla="*/ 298 h 301"/>
                <a:gd name="T56" fmla="*/ 296 w 300"/>
                <a:gd name="T57" fmla="*/ 297 h 301"/>
                <a:gd name="T58" fmla="*/ 298 w 300"/>
                <a:gd name="T59" fmla="*/ 295 h 301"/>
                <a:gd name="T60" fmla="*/ 299 w 300"/>
                <a:gd name="T61" fmla="*/ 292 h 301"/>
                <a:gd name="T62" fmla="*/ 300 w 300"/>
                <a:gd name="T63" fmla="*/ 289 h 301"/>
                <a:gd name="T64" fmla="*/ 300 w 300"/>
                <a:gd name="T65" fmla="*/ 286 h 301"/>
                <a:gd name="T66" fmla="*/ 300 w 300"/>
                <a:gd name="T67" fmla="*/ 15 h 301"/>
                <a:gd name="T68" fmla="*/ 300 w 300"/>
                <a:gd name="T69" fmla="*/ 13 h 301"/>
                <a:gd name="T70" fmla="*/ 299 w 300"/>
                <a:gd name="T71" fmla="*/ 9 h 301"/>
                <a:gd name="T72" fmla="*/ 298 w 300"/>
                <a:gd name="T73" fmla="*/ 7 h 301"/>
                <a:gd name="T74" fmla="*/ 296 w 300"/>
                <a:gd name="T75" fmla="*/ 5 h 301"/>
                <a:gd name="T76" fmla="*/ 293 w 300"/>
                <a:gd name="T77" fmla="*/ 3 h 301"/>
                <a:gd name="T78" fmla="*/ 291 w 300"/>
                <a:gd name="T79" fmla="*/ 2 h 301"/>
                <a:gd name="T80" fmla="*/ 288 w 300"/>
                <a:gd name="T81" fmla="*/ 1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1"/>
                  </a:lnTo>
                  <a:lnTo>
                    <a:pt x="270" y="31"/>
                  </a:lnTo>
                  <a:lnTo>
                    <a:pt x="270" y="271"/>
                  </a:lnTo>
                  <a:close/>
                  <a:moveTo>
                    <a:pt x="285" y="0"/>
                  </a:moveTo>
                  <a:lnTo>
                    <a:pt x="15" y="0"/>
                  </a:lnTo>
                  <a:lnTo>
                    <a:pt x="11" y="1"/>
                  </a:lnTo>
                  <a:lnTo>
                    <a:pt x="8" y="2"/>
                  </a:lnTo>
                  <a:lnTo>
                    <a:pt x="6" y="3"/>
                  </a:lnTo>
                  <a:lnTo>
                    <a:pt x="4" y="5"/>
                  </a:lnTo>
                  <a:lnTo>
                    <a:pt x="2" y="7"/>
                  </a:lnTo>
                  <a:lnTo>
                    <a:pt x="1" y="9"/>
                  </a:lnTo>
                  <a:lnTo>
                    <a:pt x="0" y="13"/>
                  </a:lnTo>
                  <a:lnTo>
                    <a:pt x="0" y="16"/>
                  </a:lnTo>
                  <a:lnTo>
                    <a:pt x="0" y="286"/>
                  </a:lnTo>
                  <a:lnTo>
                    <a:pt x="0" y="289"/>
                  </a:lnTo>
                  <a:lnTo>
                    <a:pt x="1" y="292"/>
                  </a:lnTo>
                  <a:lnTo>
                    <a:pt x="2" y="295"/>
                  </a:lnTo>
                  <a:lnTo>
                    <a:pt x="4" y="297"/>
                  </a:lnTo>
                  <a:lnTo>
                    <a:pt x="6" y="298"/>
                  </a:lnTo>
                  <a:lnTo>
                    <a:pt x="8" y="300"/>
                  </a:lnTo>
                  <a:lnTo>
                    <a:pt x="11" y="301"/>
                  </a:lnTo>
                  <a:lnTo>
                    <a:pt x="15" y="301"/>
                  </a:lnTo>
                  <a:lnTo>
                    <a:pt x="285" y="301"/>
                  </a:lnTo>
                  <a:lnTo>
                    <a:pt x="288" y="301"/>
                  </a:lnTo>
                  <a:lnTo>
                    <a:pt x="291" y="300"/>
                  </a:lnTo>
                  <a:lnTo>
                    <a:pt x="293" y="298"/>
                  </a:lnTo>
                  <a:lnTo>
                    <a:pt x="296" y="297"/>
                  </a:lnTo>
                  <a:lnTo>
                    <a:pt x="298" y="295"/>
                  </a:lnTo>
                  <a:lnTo>
                    <a:pt x="299" y="292"/>
                  </a:lnTo>
                  <a:lnTo>
                    <a:pt x="300" y="289"/>
                  </a:lnTo>
                  <a:lnTo>
                    <a:pt x="300" y="286"/>
                  </a:lnTo>
                  <a:lnTo>
                    <a:pt x="300" y="15"/>
                  </a:lnTo>
                  <a:lnTo>
                    <a:pt x="300" y="13"/>
                  </a:lnTo>
                  <a:lnTo>
                    <a:pt x="299" y="9"/>
                  </a:lnTo>
                  <a:lnTo>
                    <a:pt x="298" y="7"/>
                  </a:lnTo>
                  <a:lnTo>
                    <a:pt x="296" y="5"/>
                  </a:lnTo>
                  <a:lnTo>
                    <a:pt x="293" y="3"/>
                  </a:lnTo>
                  <a:lnTo>
                    <a:pt x="291" y="2"/>
                  </a:lnTo>
                  <a:lnTo>
                    <a:pt x="288" y="1"/>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0" name="Freeform 113">
              <a:extLst>
                <a:ext uri="{FF2B5EF4-FFF2-40B4-BE49-F238E27FC236}">
                  <a16:creationId xmlns:a16="http://schemas.microsoft.com/office/drawing/2014/main" id="{A930D7CB-95B4-4D6F-A25B-81F6383EF10A}"/>
                </a:ext>
              </a:extLst>
            </p:cNvPr>
            <p:cNvSpPr>
              <a:spLocks noEditPoints="1"/>
            </p:cNvSpPr>
            <p:nvPr/>
          </p:nvSpPr>
          <p:spPr bwMode="auto">
            <a:xfrm>
              <a:off x="8181975" y="2707958"/>
              <a:ext cx="57150" cy="57150"/>
            </a:xfrm>
            <a:custGeom>
              <a:avLst/>
              <a:gdLst>
                <a:gd name="T0" fmla="*/ 30 w 180"/>
                <a:gd name="T1" fmla="*/ 30 h 180"/>
                <a:gd name="T2" fmla="*/ 150 w 180"/>
                <a:gd name="T3" fmla="*/ 30 h 180"/>
                <a:gd name="T4" fmla="*/ 150 w 180"/>
                <a:gd name="T5" fmla="*/ 150 h 180"/>
                <a:gd name="T6" fmla="*/ 30 w 180"/>
                <a:gd name="T7" fmla="*/ 150 h 180"/>
                <a:gd name="T8" fmla="*/ 30 w 180"/>
                <a:gd name="T9" fmla="*/ 30 h 180"/>
                <a:gd name="T10" fmla="*/ 15 w 180"/>
                <a:gd name="T11" fmla="*/ 180 h 180"/>
                <a:gd name="T12" fmla="*/ 165 w 180"/>
                <a:gd name="T13" fmla="*/ 180 h 180"/>
                <a:gd name="T14" fmla="*/ 168 w 180"/>
                <a:gd name="T15" fmla="*/ 180 h 180"/>
                <a:gd name="T16" fmla="*/ 171 w 180"/>
                <a:gd name="T17" fmla="*/ 179 h 180"/>
                <a:gd name="T18" fmla="*/ 173 w 180"/>
                <a:gd name="T19" fmla="*/ 177 h 180"/>
                <a:gd name="T20" fmla="*/ 176 w 180"/>
                <a:gd name="T21" fmla="*/ 176 h 180"/>
                <a:gd name="T22" fmla="*/ 178 w 180"/>
                <a:gd name="T23" fmla="*/ 174 h 180"/>
                <a:gd name="T24" fmla="*/ 179 w 180"/>
                <a:gd name="T25" fmla="*/ 170 h 180"/>
                <a:gd name="T26" fmla="*/ 180 w 180"/>
                <a:gd name="T27" fmla="*/ 168 h 180"/>
                <a:gd name="T28" fmla="*/ 180 w 180"/>
                <a:gd name="T29" fmla="*/ 165 h 180"/>
                <a:gd name="T30" fmla="*/ 180 w 180"/>
                <a:gd name="T31" fmla="*/ 15 h 180"/>
                <a:gd name="T32" fmla="*/ 180 w 180"/>
                <a:gd name="T33" fmla="*/ 12 h 180"/>
                <a:gd name="T34" fmla="*/ 179 w 180"/>
                <a:gd name="T35" fmla="*/ 9 h 180"/>
                <a:gd name="T36" fmla="*/ 178 w 180"/>
                <a:gd name="T37" fmla="*/ 6 h 180"/>
                <a:gd name="T38" fmla="*/ 176 w 180"/>
                <a:gd name="T39" fmla="*/ 4 h 180"/>
                <a:gd name="T40" fmla="*/ 173 w 180"/>
                <a:gd name="T41" fmla="*/ 2 h 180"/>
                <a:gd name="T42" fmla="*/ 171 w 180"/>
                <a:gd name="T43" fmla="*/ 1 h 180"/>
                <a:gd name="T44" fmla="*/ 168 w 180"/>
                <a:gd name="T45" fmla="*/ 0 h 180"/>
                <a:gd name="T46" fmla="*/ 165 w 180"/>
                <a:gd name="T47" fmla="*/ 0 h 180"/>
                <a:gd name="T48" fmla="*/ 15 w 180"/>
                <a:gd name="T49" fmla="*/ 0 h 180"/>
                <a:gd name="T50" fmla="*/ 11 w 180"/>
                <a:gd name="T51" fmla="*/ 0 h 180"/>
                <a:gd name="T52" fmla="*/ 9 w 180"/>
                <a:gd name="T53" fmla="*/ 1 h 180"/>
                <a:gd name="T54" fmla="*/ 6 w 180"/>
                <a:gd name="T55" fmla="*/ 2 h 180"/>
                <a:gd name="T56" fmla="*/ 4 w 180"/>
                <a:gd name="T57" fmla="*/ 4 h 180"/>
                <a:gd name="T58" fmla="*/ 2 w 180"/>
                <a:gd name="T59" fmla="*/ 6 h 180"/>
                <a:gd name="T60" fmla="*/ 1 w 180"/>
                <a:gd name="T61" fmla="*/ 9 h 180"/>
                <a:gd name="T62" fmla="*/ 0 w 180"/>
                <a:gd name="T63" fmla="*/ 12 h 180"/>
                <a:gd name="T64" fmla="*/ 0 w 180"/>
                <a:gd name="T65" fmla="*/ 15 h 180"/>
                <a:gd name="T66" fmla="*/ 0 w 180"/>
                <a:gd name="T67" fmla="*/ 165 h 180"/>
                <a:gd name="T68" fmla="*/ 0 w 180"/>
                <a:gd name="T69" fmla="*/ 168 h 180"/>
                <a:gd name="T70" fmla="*/ 1 w 180"/>
                <a:gd name="T71" fmla="*/ 170 h 180"/>
                <a:gd name="T72" fmla="*/ 2 w 180"/>
                <a:gd name="T73" fmla="*/ 174 h 180"/>
                <a:gd name="T74" fmla="*/ 4 w 180"/>
                <a:gd name="T75" fmla="*/ 176 h 180"/>
                <a:gd name="T76" fmla="*/ 6 w 180"/>
                <a:gd name="T77" fmla="*/ 177 h 180"/>
                <a:gd name="T78" fmla="*/ 9 w 180"/>
                <a:gd name="T79" fmla="*/ 179 h 180"/>
                <a:gd name="T80" fmla="*/ 11 w 180"/>
                <a:gd name="T81" fmla="*/ 180 h 180"/>
                <a:gd name="T82" fmla="*/ 15 w 180"/>
                <a:gd name="T8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180">
                  <a:moveTo>
                    <a:pt x="30" y="30"/>
                  </a:moveTo>
                  <a:lnTo>
                    <a:pt x="150" y="30"/>
                  </a:lnTo>
                  <a:lnTo>
                    <a:pt x="150" y="150"/>
                  </a:lnTo>
                  <a:lnTo>
                    <a:pt x="30" y="150"/>
                  </a:lnTo>
                  <a:lnTo>
                    <a:pt x="30" y="30"/>
                  </a:lnTo>
                  <a:close/>
                  <a:moveTo>
                    <a:pt x="15" y="180"/>
                  </a:moveTo>
                  <a:lnTo>
                    <a:pt x="165" y="180"/>
                  </a:lnTo>
                  <a:lnTo>
                    <a:pt x="168" y="180"/>
                  </a:lnTo>
                  <a:lnTo>
                    <a:pt x="171" y="179"/>
                  </a:lnTo>
                  <a:lnTo>
                    <a:pt x="173" y="177"/>
                  </a:lnTo>
                  <a:lnTo>
                    <a:pt x="176" y="176"/>
                  </a:lnTo>
                  <a:lnTo>
                    <a:pt x="178" y="174"/>
                  </a:lnTo>
                  <a:lnTo>
                    <a:pt x="179" y="170"/>
                  </a:lnTo>
                  <a:lnTo>
                    <a:pt x="180" y="168"/>
                  </a:lnTo>
                  <a:lnTo>
                    <a:pt x="180" y="165"/>
                  </a:lnTo>
                  <a:lnTo>
                    <a:pt x="180" y="15"/>
                  </a:lnTo>
                  <a:lnTo>
                    <a:pt x="180" y="12"/>
                  </a:lnTo>
                  <a:lnTo>
                    <a:pt x="179" y="9"/>
                  </a:lnTo>
                  <a:lnTo>
                    <a:pt x="178" y="6"/>
                  </a:lnTo>
                  <a:lnTo>
                    <a:pt x="176" y="4"/>
                  </a:lnTo>
                  <a:lnTo>
                    <a:pt x="173" y="2"/>
                  </a:lnTo>
                  <a:lnTo>
                    <a:pt x="171" y="1"/>
                  </a:lnTo>
                  <a:lnTo>
                    <a:pt x="168" y="0"/>
                  </a:lnTo>
                  <a:lnTo>
                    <a:pt x="165" y="0"/>
                  </a:lnTo>
                  <a:lnTo>
                    <a:pt x="15" y="0"/>
                  </a:lnTo>
                  <a:lnTo>
                    <a:pt x="11" y="0"/>
                  </a:lnTo>
                  <a:lnTo>
                    <a:pt x="9" y="1"/>
                  </a:lnTo>
                  <a:lnTo>
                    <a:pt x="6" y="2"/>
                  </a:lnTo>
                  <a:lnTo>
                    <a:pt x="4" y="4"/>
                  </a:lnTo>
                  <a:lnTo>
                    <a:pt x="2" y="6"/>
                  </a:lnTo>
                  <a:lnTo>
                    <a:pt x="1" y="9"/>
                  </a:lnTo>
                  <a:lnTo>
                    <a:pt x="0" y="12"/>
                  </a:lnTo>
                  <a:lnTo>
                    <a:pt x="0" y="15"/>
                  </a:lnTo>
                  <a:lnTo>
                    <a:pt x="0" y="165"/>
                  </a:lnTo>
                  <a:lnTo>
                    <a:pt x="0" y="168"/>
                  </a:lnTo>
                  <a:lnTo>
                    <a:pt x="1" y="170"/>
                  </a:lnTo>
                  <a:lnTo>
                    <a:pt x="2" y="174"/>
                  </a:lnTo>
                  <a:lnTo>
                    <a:pt x="4" y="176"/>
                  </a:lnTo>
                  <a:lnTo>
                    <a:pt x="6" y="177"/>
                  </a:lnTo>
                  <a:lnTo>
                    <a:pt x="9" y="179"/>
                  </a:lnTo>
                  <a:lnTo>
                    <a:pt x="11" y="180"/>
                  </a:lnTo>
                  <a:lnTo>
                    <a:pt x="15"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1" name="Freeform 114">
              <a:extLst>
                <a:ext uri="{FF2B5EF4-FFF2-40B4-BE49-F238E27FC236}">
                  <a16:creationId xmlns:a16="http://schemas.microsoft.com/office/drawing/2014/main" id="{37E6FF2A-3F2E-4284-933C-0509FA4DCB68}"/>
                </a:ext>
              </a:extLst>
            </p:cNvPr>
            <p:cNvSpPr>
              <a:spLocks noEditPoints="1"/>
            </p:cNvSpPr>
            <p:nvPr/>
          </p:nvSpPr>
          <p:spPr bwMode="auto">
            <a:xfrm>
              <a:off x="8353425" y="2688908"/>
              <a:ext cx="47625" cy="47625"/>
            </a:xfrm>
            <a:custGeom>
              <a:avLst/>
              <a:gdLst>
                <a:gd name="T0" fmla="*/ 120 w 150"/>
                <a:gd name="T1" fmla="*/ 121 h 151"/>
                <a:gd name="T2" fmla="*/ 30 w 150"/>
                <a:gd name="T3" fmla="*/ 121 h 151"/>
                <a:gd name="T4" fmla="*/ 30 w 150"/>
                <a:gd name="T5" fmla="*/ 31 h 151"/>
                <a:gd name="T6" fmla="*/ 120 w 150"/>
                <a:gd name="T7" fmla="*/ 31 h 151"/>
                <a:gd name="T8" fmla="*/ 120 w 150"/>
                <a:gd name="T9" fmla="*/ 121 h 151"/>
                <a:gd name="T10" fmla="*/ 150 w 150"/>
                <a:gd name="T11" fmla="*/ 15 h 151"/>
                <a:gd name="T12" fmla="*/ 150 w 150"/>
                <a:gd name="T13" fmla="*/ 13 h 151"/>
                <a:gd name="T14" fmla="*/ 149 w 150"/>
                <a:gd name="T15" fmla="*/ 9 h 151"/>
                <a:gd name="T16" fmla="*/ 147 w 150"/>
                <a:gd name="T17" fmla="*/ 7 h 151"/>
                <a:gd name="T18" fmla="*/ 146 w 150"/>
                <a:gd name="T19" fmla="*/ 5 h 151"/>
                <a:gd name="T20" fmla="*/ 144 w 150"/>
                <a:gd name="T21" fmla="*/ 3 h 151"/>
                <a:gd name="T22" fmla="*/ 141 w 150"/>
                <a:gd name="T23" fmla="*/ 2 h 151"/>
                <a:gd name="T24" fmla="*/ 138 w 150"/>
                <a:gd name="T25" fmla="*/ 1 h 151"/>
                <a:gd name="T26" fmla="*/ 135 w 150"/>
                <a:gd name="T27" fmla="*/ 1 h 151"/>
                <a:gd name="T28" fmla="*/ 15 w 150"/>
                <a:gd name="T29" fmla="*/ 0 h 151"/>
                <a:gd name="T30" fmla="*/ 12 w 150"/>
                <a:gd name="T31" fmla="*/ 1 h 151"/>
                <a:gd name="T32" fmla="*/ 9 w 150"/>
                <a:gd name="T33" fmla="*/ 2 h 151"/>
                <a:gd name="T34" fmla="*/ 7 w 150"/>
                <a:gd name="T35" fmla="*/ 3 h 151"/>
                <a:gd name="T36" fmla="*/ 4 w 150"/>
                <a:gd name="T37" fmla="*/ 5 h 151"/>
                <a:gd name="T38" fmla="*/ 2 w 150"/>
                <a:gd name="T39" fmla="*/ 7 h 151"/>
                <a:gd name="T40" fmla="*/ 1 w 150"/>
                <a:gd name="T41" fmla="*/ 9 h 151"/>
                <a:gd name="T42" fmla="*/ 0 w 150"/>
                <a:gd name="T43" fmla="*/ 13 h 151"/>
                <a:gd name="T44" fmla="*/ 0 w 150"/>
                <a:gd name="T45" fmla="*/ 16 h 151"/>
                <a:gd name="T46" fmla="*/ 0 w 150"/>
                <a:gd name="T47" fmla="*/ 136 h 151"/>
                <a:gd name="T48" fmla="*/ 0 w 150"/>
                <a:gd name="T49" fmla="*/ 138 h 151"/>
                <a:gd name="T50" fmla="*/ 1 w 150"/>
                <a:gd name="T51" fmla="*/ 141 h 151"/>
                <a:gd name="T52" fmla="*/ 2 w 150"/>
                <a:gd name="T53" fmla="*/ 144 h 151"/>
                <a:gd name="T54" fmla="*/ 4 w 150"/>
                <a:gd name="T55" fmla="*/ 147 h 151"/>
                <a:gd name="T56" fmla="*/ 7 w 150"/>
                <a:gd name="T57" fmla="*/ 148 h 151"/>
                <a:gd name="T58" fmla="*/ 9 w 150"/>
                <a:gd name="T59" fmla="*/ 150 h 151"/>
                <a:gd name="T60" fmla="*/ 12 w 150"/>
                <a:gd name="T61" fmla="*/ 150 h 151"/>
                <a:gd name="T62" fmla="*/ 15 w 150"/>
                <a:gd name="T63" fmla="*/ 151 h 151"/>
                <a:gd name="T64" fmla="*/ 135 w 150"/>
                <a:gd name="T65" fmla="*/ 151 h 151"/>
                <a:gd name="T66" fmla="*/ 138 w 150"/>
                <a:gd name="T67" fmla="*/ 150 h 151"/>
                <a:gd name="T68" fmla="*/ 141 w 150"/>
                <a:gd name="T69" fmla="*/ 150 h 151"/>
                <a:gd name="T70" fmla="*/ 144 w 150"/>
                <a:gd name="T71" fmla="*/ 148 h 151"/>
                <a:gd name="T72" fmla="*/ 146 w 150"/>
                <a:gd name="T73" fmla="*/ 147 h 151"/>
                <a:gd name="T74" fmla="*/ 147 w 150"/>
                <a:gd name="T75" fmla="*/ 144 h 151"/>
                <a:gd name="T76" fmla="*/ 149 w 150"/>
                <a:gd name="T77" fmla="*/ 141 h 151"/>
                <a:gd name="T78" fmla="*/ 150 w 150"/>
                <a:gd name="T79" fmla="*/ 138 h 151"/>
                <a:gd name="T80" fmla="*/ 150 w 150"/>
                <a:gd name="T81" fmla="*/ 136 h 151"/>
                <a:gd name="T82" fmla="*/ 150 w 150"/>
                <a:gd name="T83"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51">
                  <a:moveTo>
                    <a:pt x="120" y="121"/>
                  </a:moveTo>
                  <a:lnTo>
                    <a:pt x="30" y="121"/>
                  </a:lnTo>
                  <a:lnTo>
                    <a:pt x="30" y="31"/>
                  </a:lnTo>
                  <a:lnTo>
                    <a:pt x="120" y="31"/>
                  </a:lnTo>
                  <a:lnTo>
                    <a:pt x="120" y="121"/>
                  </a:lnTo>
                  <a:close/>
                  <a:moveTo>
                    <a:pt x="150" y="15"/>
                  </a:moveTo>
                  <a:lnTo>
                    <a:pt x="150" y="13"/>
                  </a:lnTo>
                  <a:lnTo>
                    <a:pt x="149" y="9"/>
                  </a:lnTo>
                  <a:lnTo>
                    <a:pt x="147" y="7"/>
                  </a:lnTo>
                  <a:lnTo>
                    <a:pt x="146" y="5"/>
                  </a:lnTo>
                  <a:lnTo>
                    <a:pt x="144" y="3"/>
                  </a:lnTo>
                  <a:lnTo>
                    <a:pt x="141" y="2"/>
                  </a:lnTo>
                  <a:lnTo>
                    <a:pt x="138" y="1"/>
                  </a:lnTo>
                  <a:lnTo>
                    <a:pt x="135" y="1"/>
                  </a:lnTo>
                  <a:lnTo>
                    <a:pt x="15" y="0"/>
                  </a:lnTo>
                  <a:lnTo>
                    <a:pt x="12" y="1"/>
                  </a:lnTo>
                  <a:lnTo>
                    <a:pt x="9" y="2"/>
                  </a:lnTo>
                  <a:lnTo>
                    <a:pt x="7" y="3"/>
                  </a:lnTo>
                  <a:lnTo>
                    <a:pt x="4" y="5"/>
                  </a:lnTo>
                  <a:lnTo>
                    <a:pt x="2" y="7"/>
                  </a:lnTo>
                  <a:lnTo>
                    <a:pt x="1" y="9"/>
                  </a:lnTo>
                  <a:lnTo>
                    <a:pt x="0" y="13"/>
                  </a:lnTo>
                  <a:lnTo>
                    <a:pt x="0" y="16"/>
                  </a:lnTo>
                  <a:lnTo>
                    <a:pt x="0" y="136"/>
                  </a:lnTo>
                  <a:lnTo>
                    <a:pt x="0" y="138"/>
                  </a:lnTo>
                  <a:lnTo>
                    <a:pt x="1" y="141"/>
                  </a:lnTo>
                  <a:lnTo>
                    <a:pt x="2" y="144"/>
                  </a:lnTo>
                  <a:lnTo>
                    <a:pt x="4" y="147"/>
                  </a:lnTo>
                  <a:lnTo>
                    <a:pt x="7" y="148"/>
                  </a:lnTo>
                  <a:lnTo>
                    <a:pt x="9" y="150"/>
                  </a:lnTo>
                  <a:lnTo>
                    <a:pt x="12" y="150"/>
                  </a:lnTo>
                  <a:lnTo>
                    <a:pt x="15" y="151"/>
                  </a:lnTo>
                  <a:lnTo>
                    <a:pt x="135" y="151"/>
                  </a:lnTo>
                  <a:lnTo>
                    <a:pt x="138" y="150"/>
                  </a:lnTo>
                  <a:lnTo>
                    <a:pt x="141" y="150"/>
                  </a:lnTo>
                  <a:lnTo>
                    <a:pt x="144" y="148"/>
                  </a:lnTo>
                  <a:lnTo>
                    <a:pt x="146" y="147"/>
                  </a:lnTo>
                  <a:lnTo>
                    <a:pt x="147" y="144"/>
                  </a:lnTo>
                  <a:lnTo>
                    <a:pt x="149" y="141"/>
                  </a:lnTo>
                  <a:lnTo>
                    <a:pt x="150" y="138"/>
                  </a:lnTo>
                  <a:lnTo>
                    <a:pt x="150" y="136"/>
                  </a:lnTo>
                  <a:lnTo>
                    <a:pt x="15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2" name="Freeform 115">
              <a:extLst>
                <a:ext uri="{FF2B5EF4-FFF2-40B4-BE49-F238E27FC236}">
                  <a16:creationId xmlns:a16="http://schemas.microsoft.com/office/drawing/2014/main" id="{FA8D1F33-7B6A-4B35-86F4-CFF5A78C2BCD}"/>
                </a:ext>
              </a:extLst>
            </p:cNvPr>
            <p:cNvSpPr>
              <a:spLocks noEditPoints="1"/>
            </p:cNvSpPr>
            <p:nvPr/>
          </p:nvSpPr>
          <p:spPr bwMode="auto">
            <a:xfrm>
              <a:off x="8353425" y="2496820"/>
              <a:ext cx="95250" cy="96838"/>
            </a:xfrm>
            <a:custGeom>
              <a:avLst/>
              <a:gdLst>
                <a:gd name="T0" fmla="*/ 270 w 300"/>
                <a:gd name="T1" fmla="*/ 271 h 301"/>
                <a:gd name="T2" fmla="*/ 30 w 300"/>
                <a:gd name="T3" fmla="*/ 271 h 301"/>
                <a:gd name="T4" fmla="*/ 30 w 300"/>
                <a:gd name="T5" fmla="*/ 30 h 301"/>
                <a:gd name="T6" fmla="*/ 270 w 300"/>
                <a:gd name="T7" fmla="*/ 30 h 301"/>
                <a:gd name="T8" fmla="*/ 270 w 300"/>
                <a:gd name="T9" fmla="*/ 271 h 301"/>
                <a:gd name="T10" fmla="*/ 285 w 300"/>
                <a:gd name="T11" fmla="*/ 0 h 301"/>
                <a:gd name="T12" fmla="*/ 15 w 300"/>
                <a:gd name="T13" fmla="*/ 0 h 301"/>
                <a:gd name="T14" fmla="*/ 12 w 300"/>
                <a:gd name="T15" fmla="*/ 0 h 301"/>
                <a:gd name="T16" fmla="*/ 9 w 300"/>
                <a:gd name="T17" fmla="*/ 1 h 301"/>
                <a:gd name="T18" fmla="*/ 7 w 300"/>
                <a:gd name="T19" fmla="*/ 2 h 301"/>
                <a:gd name="T20" fmla="*/ 4 w 300"/>
                <a:gd name="T21" fmla="*/ 5 h 301"/>
                <a:gd name="T22" fmla="*/ 2 w 300"/>
                <a:gd name="T23" fmla="*/ 7 h 301"/>
                <a:gd name="T24" fmla="*/ 1 w 300"/>
                <a:gd name="T25" fmla="*/ 9 h 301"/>
                <a:gd name="T26" fmla="*/ 0 w 300"/>
                <a:gd name="T27" fmla="*/ 12 h 301"/>
                <a:gd name="T28" fmla="*/ 0 w 300"/>
                <a:gd name="T29" fmla="*/ 15 h 301"/>
                <a:gd name="T30" fmla="*/ 0 w 300"/>
                <a:gd name="T31" fmla="*/ 286 h 301"/>
                <a:gd name="T32" fmla="*/ 0 w 300"/>
                <a:gd name="T33" fmla="*/ 289 h 301"/>
                <a:gd name="T34" fmla="*/ 1 w 300"/>
                <a:gd name="T35" fmla="*/ 292 h 301"/>
                <a:gd name="T36" fmla="*/ 2 w 300"/>
                <a:gd name="T37" fmla="*/ 294 h 301"/>
                <a:gd name="T38" fmla="*/ 4 w 300"/>
                <a:gd name="T39" fmla="*/ 296 h 301"/>
                <a:gd name="T40" fmla="*/ 7 w 300"/>
                <a:gd name="T41" fmla="*/ 298 h 301"/>
                <a:gd name="T42" fmla="*/ 9 w 300"/>
                <a:gd name="T43" fmla="*/ 300 h 301"/>
                <a:gd name="T44" fmla="*/ 12 w 300"/>
                <a:gd name="T45" fmla="*/ 301 h 301"/>
                <a:gd name="T46" fmla="*/ 15 w 300"/>
                <a:gd name="T47" fmla="*/ 301 h 301"/>
                <a:gd name="T48" fmla="*/ 285 w 300"/>
                <a:gd name="T49" fmla="*/ 301 h 301"/>
                <a:gd name="T50" fmla="*/ 289 w 300"/>
                <a:gd name="T51" fmla="*/ 301 h 301"/>
                <a:gd name="T52" fmla="*/ 291 w 300"/>
                <a:gd name="T53" fmla="*/ 300 h 301"/>
                <a:gd name="T54" fmla="*/ 294 w 300"/>
                <a:gd name="T55" fmla="*/ 298 h 301"/>
                <a:gd name="T56" fmla="*/ 296 w 300"/>
                <a:gd name="T57" fmla="*/ 296 h 301"/>
                <a:gd name="T58" fmla="*/ 298 w 300"/>
                <a:gd name="T59" fmla="*/ 294 h 301"/>
                <a:gd name="T60" fmla="*/ 299 w 300"/>
                <a:gd name="T61" fmla="*/ 292 h 301"/>
                <a:gd name="T62" fmla="*/ 300 w 300"/>
                <a:gd name="T63" fmla="*/ 289 h 301"/>
                <a:gd name="T64" fmla="*/ 300 w 300"/>
                <a:gd name="T65" fmla="*/ 286 h 301"/>
                <a:gd name="T66" fmla="*/ 300 w 300"/>
                <a:gd name="T67" fmla="*/ 15 h 301"/>
                <a:gd name="T68" fmla="*/ 300 w 300"/>
                <a:gd name="T69" fmla="*/ 12 h 301"/>
                <a:gd name="T70" fmla="*/ 299 w 300"/>
                <a:gd name="T71" fmla="*/ 9 h 301"/>
                <a:gd name="T72" fmla="*/ 298 w 300"/>
                <a:gd name="T73" fmla="*/ 7 h 301"/>
                <a:gd name="T74" fmla="*/ 296 w 300"/>
                <a:gd name="T75" fmla="*/ 5 h 301"/>
                <a:gd name="T76" fmla="*/ 294 w 300"/>
                <a:gd name="T77" fmla="*/ 2 h 301"/>
                <a:gd name="T78" fmla="*/ 291 w 300"/>
                <a:gd name="T79" fmla="*/ 1 h 301"/>
                <a:gd name="T80" fmla="*/ 289 w 300"/>
                <a:gd name="T81" fmla="*/ 0 h 301"/>
                <a:gd name="T82" fmla="*/ 285 w 300"/>
                <a:gd name="T8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0" h="301">
                  <a:moveTo>
                    <a:pt x="270" y="271"/>
                  </a:moveTo>
                  <a:lnTo>
                    <a:pt x="30" y="271"/>
                  </a:lnTo>
                  <a:lnTo>
                    <a:pt x="30" y="30"/>
                  </a:lnTo>
                  <a:lnTo>
                    <a:pt x="270" y="30"/>
                  </a:lnTo>
                  <a:lnTo>
                    <a:pt x="270" y="271"/>
                  </a:lnTo>
                  <a:close/>
                  <a:moveTo>
                    <a:pt x="285" y="0"/>
                  </a:moveTo>
                  <a:lnTo>
                    <a:pt x="15" y="0"/>
                  </a:lnTo>
                  <a:lnTo>
                    <a:pt x="12" y="0"/>
                  </a:lnTo>
                  <a:lnTo>
                    <a:pt x="9" y="1"/>
                  </a:lnTo>
                  <a:lnTo>
                    <a:pt x="7" y="2"/>
                  </a:lnTo>
                  <a:lnTo>
                    <a:pt x="4" y="5"/>
                  </a:lnTo>
                  <a:lnTo>
                    <a:pt x="2" y="7"/>
                  </a:lnTo>
                  <a:lnTo>
                    <a:pt x="1" y="9"/>
                  </a:lnTo>
                  <a:lnTo>
                    <a:pt x="0" y="12"/>
                  </a:lnTo>
                  <a:lnTo>
                    <a:pt x="0" y="15"/>
                  </a:lnTo>
                  <a:lnTo>
                    <a:pt x="0" y="286"/>
                  </a:lnTo>
                  <a:lnTo>
                    <a:pt x="0" y="289"/>
                  </a:lnTo>
                  <a:lnTo>
                    <a:pt x="1" y="292"/>
                  </a:lnTo>
                  <a:lnTo>
                    <a:pt x="2" y="294"/>
                  </a:lnTo>
                  <a:lnTo>
                    <a:pt x="4" y="296"/>
                  </a:lnTo>
                  <a:lnTo>
                    <a:pt x="7" y="298"/>
                  </a:lnTo>
                  <a:lnTo>
                    <a:pt x="9" y="300"/>
                  </a:lnTo>
                  <a:lnTo>
                    <a:pt x="12" y="301"/>
                  </a:lnTo>
                  <a:lnTo>
                    <a:pt x="15" y="301"/>
                  </a:lnTo>
                  <a:lnTo>
                    <a:pt x="285" y="301"/>
                  </a:lnTo>
                  <a:lnTo>
                    <a:pt x="289" y="301"/>
                  </a:lnTo>
                  <a:lnTo>
                    <a:pt x="291" y="300"/>
                  </a:lnTo>
                  <a:lnTo>
                    <a:pt x="294" y="298"/>
                  </a:lnTo>
                  <a:lnTo>
                    <a:pt x="296" y="296"/>
                  </a:lnTo>
                  <a:lnTo>
                    <a:pt x="298" y="294"/>
                  </a:lnTo>
                  <a:lnTo>
                    <a:pt x="299" y="292"/>
                  </a:lnTo>
                  <a:lnTo>
                    <a:pt x="300" y="289"/>
                  </a:lnTo>
                  <a:lnTo>
                    <a:pt x="300" y="286"/>
                  </a:lnTo>
                  <a:lnTo>
                    <a:pt x="300" y="15"/>
                  </a:lnTo>
                  <a:lnTo>
                    <a:pt x="300" y="12"/>
                  </a:lnTo>
                  <a:lnTo>
                    <a:pt x="299" y="9"/>
                  </a:lnTo>
                  <a:lnTo>
                    <a:pt x="298" y="7"/>
                  </a:lnTo>
                  <a:lnTo>
                    <a:pt x="296" y="5"/>
                  </a:lnTo>
                  <a:lnTo>
                    <a:pt x="294" y="2"/>
                  </a:lnTo>
                  <a:lnTo>
                    <a:pt x="291" y="1"/>
                  </a:lnTo>
                  <a:lnTo>
                    <a:pt x="289"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3" name="Freeform 116">
              <a:extLst>
                <a:ext uri="{FF2B5EF4-FFF2-40B4-BE49-F238E27FC236}">
                  <a16:creationId xmlns:a16="http://schemas.microsoft.com/office/drawing/2014/main" id="{80E90F12-4EB6-4FE4-BE27-68FCFA9F61E0}"/>
                </a:ext>
              </a:extLst>
            </p:cNvPr>
            <p:cNvSpPr>
              <a:spLocks noEditPoints="1"/>
            </p:cNvSpPr>
            <p:nvPr/>
          </p:nvSpPr>
          <p:spPr bwMode="auto">
            <a:xfrm>
              <a:off x="8382000" y="2525395"/>
              <a:ext cx="38100" cy="39688"/>
            </a:xfrm>
            <a:custGeom>
              <a:avLst/>
              <a:gdLst>
                <a:gd name="T0" fmla="*/ 30 w 120"/>
                <a:gd name="T1" fmla="*/ 30 h 121"/>
                <a:gd name="T2" fmla="*/ 90 w 120"/>
                <a:gd name="T3" fmla="*/ 30 h 121"/>
                <a:gd name="T4" fmla="*/ 90 w 120"/>
                <a:gd name="T5" fmla="*/ 90 h 121"/>
                <a:gd name="T6" fmla="*/ 30 w 120"/>
                <a:gd name="T7" fmla="*/ 90 h 121"/>
                <a:gd name="T8" fmla="*/ 30 w 120"/>
                <a:gd name="T9" fmla="*/ 30 h 121"/>
                <a:gd name="T10" fmla="*/ 15 w 120"/>
                <a:gd name="T11" fmla="*/ 121 h 121"/>
                <a:gd name="T12" fmla="*/ 105 w 120"/>
                <a:gd name="T13" fmla="*/ 121 h 121"/>
                <a:gd name="T14" fmla="*/ 108 w 120"/>
                <a:gd name="T15" fmla="*/ 121 h 121"/>
                <a:gd name="T16" fmla="*/ 111 w 120"/>
                <a:gd name="T17" fmla="*/ 119 h 121"/>
                <a:gd name="T18" fmla="*/ 114 w 120"/>
                <a:gd name="T19" fmla="*/ 118 h 121"/>
                <a:gd name="T20" fmla="*/ 116 w 120"/>
                <a:gd name="T21" fmla="*/ 116 h 121"/>
                <a:gd name="T22" fmla="*/ 118 w 120"/>
                <a:gd name="T23" fmla="*/ 114 h 121"/>
                <a:gd name="T24" fmla="*/ 119 w 120"/>
                <a:gd name="T25" fmla="*/ 111 h 121"/>
                <a:gd name="T26" fmla="*/ 120 w 120"/>
                <a:gd name="T27" fmla="*/ 109 h 121"/>
                <a:gd name="T28" fmla="*/ 120 w 120"/>
                <a:gd name="T29" fmla="*/ 105 h 121"/>
                <a:gd name="T30" fmla="*/ 120 w 120"/>
                <a:gd name="T31" fmla="*/ 15 h 121"/>
                <a:gd name="T32" fmla="*/ 120 w 120"/>
                <a:gd name="T33" fmla="*/ 12 h 121"/>
                <a:gd name="T34" fmla="*/ 119 w 120"/>
                <a:gd name="T35" fmla="*/ 9 h 121"/>
                <a:gd name="T36" fmla="*/ 118 w 120"/>
                <a:gd name="T37" fmla="*/ 7 h 121"/>
                <a:gd name="T38" fmla="*/ 116 w 120"/>
                <a:gd name="T39" fmla="*/ 5 h 121"/>
                <a:gd name="T40" fmla="*/ 114 w 120"/>
                <a:gd name="T41" fmla="*/ 3 h 121"/>
                <a:gd name="T42" fmla="*/ 111 w 120"/>
                <a:gd name="T43" fmla="*/ 1 h 121"/>
                <a:gd name="T44" fmla="*/ 108 w 120"/>
                <a:gd name="T45" fmla="*/ 0 h 121"/>
                <a:gd name="T46" fmla="*/ 105 w 120"/>
                <a:gd name="T47" fmla="*/ 0 h 121"/>
                <a:gd name="T48" fmla="*/ 15 w 120"/>
                <a:gd name="T49" fmla="*/ 0 h 121"/>
                <a:gd name="T50" fmla="*/ 12 w 120"/>
                <a:gd name="T51" fmla="*/ 0 h 121"/>
                <a:gd name="T52" fmla="*/ 9 w 120"/>
                <a:gd name="T53" fmla="*/ 1 h 121"/>
                <a:gd name="T54" fmla="*/ 7 w 120"/>
                <a:gd name="T55" fmla="*/ 3 h 121"/>
                <a:gd name="T56" fmla="*/ 4 w 120"/>
                <a:gd name="T57" fmla="*/ 5 h 121"/>
                <a:gd name="T58" fmla="*/ 2 w 120"/>
                <a:gd name="T59" fmla="*/ 7 h 121"/>
                <a:gd name="T60" fmla="*/ 1 w 120"/>
                <a:gd name="T61" fmla="*/ 9 h 121"/>
                <a:gd name="T62" fmla="*/ 0 w 120"/>
                <a:gd name="T63" fmla="*/ 12 h 121"/>
                <a:gd name="T64" fmla="*/ 0 w 120"/>
                <a:gd name="T65" fmla="*/ 15 h 121"/>
                <a:gd name="T66" fmla="*/ 0 w 120"/>
                <a:gd name="T67" fmla="*/ 105 h 121"/>
                <a:gd name="T68" fmla="*/ 0 w 120"/>
                <a:gd name="T69" fmla="*/ 109 h 121"/>
                <a:gd name="T70" fmla="*/ 1 w 120"/>
                <a:gd name="T71" fmla="*/ 111 h 121"/>
                <a:gd name="T72" fmla="*/ 2 w 120"/>
                <a:gd name="T73" fmla="*/ 114 h 121"/>
                <a:gd name="T74" fmla="*/ 4 w 120"/>
                <a:gd name="T75" fmla="*/ 116 h 121"/>
                <a:gd name="T76" fmla="*/ 7 w 120"/>
                <a:gd name="T77" fmla="*/ 118 h 121"/>
                <a:gd name="T78" fmla="*/ 9 w 120"/>
                <a:gd name="T79" fmla="*/ 119 h 121"/>
                <a:gd name="T80" fmla="*/ 12 w 120"/>
                <a:gd name="T81" fmla="*/ 121 h 121"/>
                <a:gd name="T82" fmla="*/ 15 w 120"/>
                <a:gd name="T8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30" y="30"/>
                  </a:moveTo>
                  <a:lnTo>
                    <a:pt x="90" y="30"/>
                  </a:lnTo>
                  <a:lnTo>
                    <a:pt x="90" y="90"/>
                  </a:lnTo>
                  <a:lnTo>
                    <a:pt x="30" y="90"/>
                  </a:lnTo>
                  <a:lnTo>
                    <a:pt x="30" y="30"/>
                  </a:lnTo>
                  <a:close/>
                  <a:moveTo>
                    <a:pt x="15" y="121"/>
                  </a:moveTo>
                  <a:lnTo>
                    <a:pt x="105" y="121"/>
                  </a:lnTo>
                  <a:lnTo>
                    <a:pt x="108" y="121"/>
                  </a:lnTo>
                  <a:lnTo>
                    <a:pt x="111" y="119"/>
                  </a:lnTo>
                  <a:lnTo>
                    <a:pt x="114" y="118"/>
                  </a:lnTo>
                  <a:lnTo>
                    <a:pt x="116" y="116"/>
                  </a:lnTo>
                  <a:lnTo>
                    <a:pt x="118" y="114"/>
                  </a:lnTo>
                  <a:lnTo>
                    <a:pt x="119" y="111"/>
                  </a:lnTo>
                  <a:lnTo>
                    <a:pt x="120" y="109"/>
                  </a:lnTo>
                  <a:lnTo>
                    <a:pt x="120" y="105"/>
                  </a:lnTo>
                  <a:lnTo>
                    <a:pt x="120" y="15"/>
                  </a:lnTo>
                  <a:lnTo>
                    <a:pt x="120" y="12"/>
                  </a:lnTo>
                  <a:lnTo>
                    <a:pt x="119" y="9"/>
                  </a:lnTo>
                  <a:lnTo>
                    <a:pt x="118" y="7"/>
                  </a:lnTo>
                  <a:lnTo>
                    <a:pt x="116" y="5"/>
                  </a:lnTo>
                  <a:lnTo>
                    <a:pt x="114" y="3"/>
                  </a:lnTo>
                  <a:lnTo>
                    <a:pt x="111" y="1"/>
                  </a:lnTo>
                  <a:lnTo>
                    <a:pt x="108" y="0"/>
                  </a:lnTo>
                  <a:lnTo>
                    <a:pt x="105" y="0"/>
                  </a:lnTo>
                  <a:lnTo>
                    <a:pt x="15" y="0"/>
                  </a:lnTo>
                  <a:lnTo>
                    <a:pt x="12" y="0"/>
                  </a:lnTo>
                  <a:lnTo>
                    <a:pt x="9" y="1"/>
                  </a:lnTo>
                  <a:lnTo>
                    <a:pt x="7" y="3"/>
                  </a:lnTo>
                  <a:lnTo>
                    <a:pt x="4" y="5"/>
                  </a:lnTo>
                  <a:lnTo>
                    <a:pt x="2" y="7"/>
                  </a:lnTo>
                  <a:lnTo>
                    <a:pt x="1" y="9"/>
                  </a:lnTo>
                  <a:lnTo>
                    <a:pt x="0" y="12"/>
                  </a:lnTo>
                  <a:lnTo>
                    <a:pt x="0" y="15"/>
                  </a:lnTo>
                  <a:lnTo>
                    <a:pt x="0" y="105"/>
                  </a:lnTo>
                  <a:lnTo>
                    <a:pt x="0" y="109"/>
                  </a:lnTo>
                  <a:lnTo>
                    <a:pt x="1" y="111"/>
                  </a:lnTo>
                  <a:lnTo>
                    <a:pt x="2" y="114"/>
                  </a:lnTo>
                  <a:lnTo>
                    <a:pt x="4" y="116"/>
                  </a:lnTo>
                  <a:lnTo>
                    <a:pt x="7" y="118"/>
                  </a:lnTo>
                  <a:lnTo>
                    <a:pt x="9" y="119"/>
                  </a:lnTo>
                  <a:lnTo>
                    <a:pt x="12" y="121"/>
                  </a:lnTo>
                  <a:lnTo>
                    <a:pt x="1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4" name="Freeform 117">
              <a:extLst>
                <a:ext uri="{FF2B5EF4-FFF2-40B4-BE49-F238E27FC236}">
                  <a16:creationId xmlns:a16="http://schemas.microsoft.com/office/drawing/2014/main" id="{F579B8CB-1A68-4A2F-ABB3-50A8305F7637}"/>
                </a:ext>
              </a:extLst>
            </p:cNvPr>
            <p:cNvSpPr>
              <a:spLocks/>
            </p:cNvSpPr>
            <p:nvPr/>
          </p:nvSpPr>
          <p:spPr bwMode="auto">
            <a:xfrm>
              <a:off x="8270875" y="2603183"/>
              <a:ext cx="52388" cy="9525"/>
            </a:xfrm>
            <a:custGeom>
              <a:avLst/>
              <a:gdLst>
                <a:gd name="T0" fmla="*/ 163 w 163"/>
                <a:gd name="T1" fmla="*/ 15 h 30"/>
                <a:gd name="T2" fmla="*/ 163 w 163"/>
                <a:gd name="T3" fmla="*/ 11 h 30"/>
                <a:gd name="T4" fmla="*/ 161 w 163"/>
                <a:gd name="T5" fmla="*/ 9 h 30"/>
                <a:gd name="T6" fmla="*/ 159 w 163"/>
                <a:gd name="T7" fmla="*/ 6 h 30"/>
                <a:gd name="T8" fmla="*/ 158 w 163"/>
                <a:gd name="T9" fmla="*/ 4 h 30"/>
                <a:gd name="T10" fmla="*/ 156 w 163"/>
                <a:gd name="T11" fmla="*/ 3 h 30"/>
                <a:gd name="T12" fmla="*/ 153 w 163"/>
                <a:gd name="T13" fmla="*/ 1 h 30"/>
                <a:gd name="T14" fmla="*/ 151 w 163"/>
                <a:gd name="T15" fmla="*/ 0 h 30"/>
                <a:gd name="T16" fmla="*/ 148 w 163"/>
                <a:gd name="T17" fmla="*/ 0 h 30"/>
                <a:gd name="T18" fmla="*/ 15 w 163"/>
                <a:gd name="T19" fmla="*/ 0 h 30"/>
                <a:gd name="T20" fmla="*/ 11 w 163"/>
                <a:gd name="T21" fmla="*/ 0 h 30"/>
                <a:gd name="T22" fmla="*/ 9 w 163"/>
                <a:gd name="T23" fmla="*/ 1 h 30"/>
                <a:gd name="T24" fmla="*/ 6 w 163"/>
                <a:gd name="T25" fmla="*/ 3 h 30"/>
                <a:gd name="T26" fmla="*/ 4 w 163"/>
                <a:gd name="T27" fmla="*/ 4 h 30"/>
                <a:gd name="T28" fmla="*/ 2 w 163"/>
                <a:gd name="T29" fmla="*/ 6 h 30"/>
                <a:gd name="T30" fmla="*/ 1 w 163"/>
                <a:gd name="T31" fmla="*/ 9 h 30"/>
                <a:gd name="T32" fmla="*/ 0 w 163"/>
                <a:gd name="T33" fmla="*/ 11 h 30"/>
                <a:gd name="T34" fmla="*/ 0 w 163"/>
                <a:gd name="T35" fmla="*/ 15 h 30"/>
                <a:gd name="T36" fmla="*/ 0 w 163"/>
                <a:gd name="T37" fmla="*/ 18 h 30"/>
                <a:gd name="T38" fmla="*/ 1 w 163"/>
                <a:gd name="T39" fmla="*/ 21 h 30"/>
                <a:gd name="T40" fmla="*/ 2 w 163"/>
                <a:gd name="T41" fmla="*/ 23 h 30"/>
                <a:gd name="T42" fmla="*/ 4 w 163"/>
                <a:gd name="T43" fmla="*/ 25 h 30"/>
                <a:gd name="T44" fmla="*/ 6 w 163"/>
                <a:gd name="T45" fmla="*/ 27 h 30"/>
                <a:gd name="T46" fmla="*/ 9 w 163"/>
                <a:gd name="T47" fmla="*/ 29 h 30"/>
                <a:gd name="T48" fmla="*/ 11 w 163"/>
                <a:gd name="T49" fmla="*/ 30 h 30"/>
                <a:gd name="T50" fmla="*/ 15 w 163"/>
                <a:gd name="T51" fmla="*/ 30 h 30"/>
                <a:gd name="T52" fmla="*/ 148 w 163"/>
                <a:gd name="T53" fmla="*/ 30 h 30"/>
                <a:gd name="T54" fmla="*/ 151 w 163"/>
                <a:gd name="T55" fmla="*/ 30 h 30"/>
                <a:gd name="T56" fmla="*/ 153 w 163"/>
                <a:gd name="T57" fmla="*/ 29 h 30"/>
                <a:gd name="T58" fmla="*/ 156 w 163"/>
                <a:gd name="T59" fmla="*/ 27 h 30"/>
                <a:gd name="T60" fmla="*/ 158 w 163"/>
                <a:gd name="T61" fmla="*/ 25 h 30"/>
                <a:gd name="T62" fmla="*/ 159 w 163"/>
                <a:gd name="T63" fmla="*/ 23 h 30"/>
                <a:gd name="T64" fmla="*/ 161 w 163"/>
                <a:gd name="T65" fmla="*/ 21 h 30"/>
                <a:gd name="T66" fmla="*/ 163 w 163"/>
                <a:gd name="T67" fmla="*/ 18 h 30"/>
                <a:gd name="T68" fmla="*/ 163 w 163"/>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30">
                  <a:moveTo>
                    <a:pt x="163" y="15"/>
                  </a:moveTo>
                  <a:lnTo>
                    <a:pt x="163" y="11"/>
                  </a:lnTo>
                  <a:lnTo>
                    <a:pt x="161" y="9"/>
                  </a:lnTo>
                  <a:lnTo>
                    <a:pt x="159" y="6"/>
                  </a:lnTo>
                  <a:lnTo>
                    <a:pt x="158" y="4"/>
                  </a:lnTo>
                  <a:lnTo>
                    <a:pt x="156" y="3"/>
                  </a:lnTo>
                  <a:lnTo>
                    <a:pt x="153" y="1"/>
                  </a:lnTo>
                  <a:lnTo>
                    <a:pt x="151" y="0"/>
                  </a:lnTo>
                  <a:lnTo>
                    <a:pt x="148" y="0"/>
                  </a:lnTo>
                  <a:lnTo>
                    <a:pt x="15" y="0"/>
                  </a:lnTo>
                  <a:lnTo>
                    <a:pt x="11"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9"/>
                  </a:lnTo>
                  <a:lnTo>
                    <a:pt x="11" y="30"/>
                  </a:lnTo>
                  <a:lnTo>
                    <a:pt x="15" y="30"/>
                  </a:lnTo>
                  <a:lnTo>
                    <a:pt x="148" y="30"/>
                  </a:lnTo>
                  <a:lnTo>
                    <a:pt x="151" y="30"/>
                  </a:lnTo>
                  <a:lnTo>
                    <a:pt x="153" y="29"/>
                  </a:lnTo>
                  <a:lnTo>
                    <a:pt x="156" y="27"/>
                  </a:lnTo>
                  <a:lnTo>
                    <a:pt x="158" y="25"/>
                  </a:lnTo>
                  <a:lnTo>
                    <a:pt x="159" y="23"/>
                  </a:lnTo>
                  <a:lnTo>
                    <a:pt x="161" y="21"/>
                  </a:lnTo>
                  <a:lnTo>
                    <a:pt x="163" y="18"/>
                  </a:lnTo>
                  <a:lnTo>
                    <a:pt x="163"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5" name="Freeform 118">
              <a:extLst>
                <a:ext uri="{FF2B5EF4-FFF2-40B4-BE49-F238E27FC236}">
                  <a16:creationId xmlns:a16="http://schemas.microsoft.com/office/drawing/2014/main" id="{30F637AA-8836-4DF4-A5F1-C8B4136B8122}"/>
                </a:ext>
              </a:extLst>
            </p:cNvPr>
            <p:cNvSpPr>
              <a:spLocks/>
            </p:cNvSpPr>
            <p:nvPr/>
          </p:nvSpPr>
          <p:spPr bwMode="auto">
            <a:xfrm>
              <a:off x="8267700" y="2630170"/>
              <a:ext cx="55563" cy="49213"/>
            </a:xfrm>
            <a:custGeom>
              <a:avLst/>
              <a:gdLst>
                <a:gd name="T0" fmla="*/ 15 w 174"/>
                <a:gd name="T1" fmla="*/ 154 h 154"/>
                <a:gd name="T2" fmla="*/ 159 w 174"/>
                <a:gd name="T3" fmla="*/ 154 h 154"/>
                <a:gd name="T4" fmla="*/ 162 w 174"/>
                <a:gd name="T5" fmla="*/ 154 h 154"/>
                <a:gd name="T6" fmla="*/ 164 w 174"/>
                <a:gd name="T7" fmla="*/ 153 h 154"/>
                <a:gd name="T8" fmla="*/ 167 w 174"/>
                <a:gd name="T9" fmla="*/ 152 h 154"/>
                <a:gd name="T10" fmla="*/ 169 w 174"/>
                <a:gd name="T11" fmla="*/ 150 h 154"/>
                <a:gd name="T12" fmla="*/ 170 w 174"/>
                <a:gd name="T13" fmla="*/ 147 h 154"/>
                <a:gd name="T14" fmla="*/ 172 w 174"/>
                <a:gd name="T15" fmla="*/ 145 h 154"/>
                <a:gd name="T16" fmla="*/ 174 w 174"/>
                <a:gd name="T17" fmla="*/ 142 h 154"/>
                <a:gd name="T18" fmla="*/ 174 w 174"/>
                <a:gd name="T19" fmla="*/ 139 h 154"/>
                <a:gd name="T20" fmla="*/ 174 w 174"/>
                <a:gd name="T21" fmla="*/ 137 h 154"/>
                <a:gd name="T22" fmla="*/ 172 w 174"/>
                <a:gd name="T23" fmla="*/ 133 h 154"/>
                <a:gd name="T24" fmla="*/ 170 w 174"/>
                <a:gd name="T25" fmla="*/ 131 h 154"/>
                <a:gd name="T26" fmla="*/ 169 w 174"/>
                <a:gd name="T27" fmla="*/ 129 h 154"/>
                <a:gd name="T28" fmla="*/ 167 w 174"/>
                <a:gd name="T29" fmla="*/ 127 h 154"/>
                <a:gd name="T30" fmla="*/ 164 w 174"/>
                <a:gd name="T31" fmla="*/ 126 h 154"/>
                <a:gd name="T32" fmla="*/ 162 w 174"/>
                <a:gd name="T33" fmla="*/ 125 h 154"/>
                <a:gd name="T34" fmla="*/ 159 w 174"/>
                <a:gd name="T35" fmla="*/ 124 h 154"/>
                <a:gd name="T36" fmla="*/ 30 w 174"/>
                <a:gd name="T37" fmla="*/ 124 h 154"/>
                <a:gd name="T38" fmla="*/ 30 w 174"/>
                <a:gd name="T39" fmla="*/ 15 h 154"/>
                <a:gd name="T40" fmla="*/ 30 w 174"/>
                <a:gd name="T41" fmla="*/ 12 h 154"/>
                <a:gd name="T42" fmla="*/ 29 w 174"/>
                <a:gd name="T43" fmla="*/ 9 h 154"/>
                <a:gd name="T44" fmla="*/ 28 w 174"/>
                <a:gd name="T45" fmla="*/ 7 h 154"/>
                <a:gd name="T46" fmla="*/ 26 w 174"/>
                <a:gd name="T47" fmla="*/ 5 h 154"/>
                <a:gd name="T48" fmla="*/ 23 w 174"/>
                <a:gd name="T49" fmla="*/ 3 h 154"/>
                <a:gd name="T50" fmla="*/ 21 w 174"/>
                <a:gd name="T51" fmla="*/ 2 h 154"/>
                <a:gd name="T52" fmla="*/ 18 w 174"/>
                <a:gd name="T53" fmla="*/ 0 h 154"/>
                <a:gd name="T54" fmla="*/ 15 w 174"/>
                <a:gd name="T55" fmla="*/ 0 h 154"/>
                <a:gd name="T56" fmla="*/ 12 w 174"/>
                <a:gd name="T57" fmla="*/ 0 h 154"/>
                <a:gd name="T58" fmla="*/ 10 w 174"/>
                <a:gd name="T59" fmla="*/ 2 h 154"/>
                <a:gd name="T60" fmla="*/ 6 w 174"/>
                <a:gd name="T61" fmla="*/ 3 h 154"/>
                <a:gd name="T62" fmla="*/ 4 w 174"/>
                <a:gd name="T63" fmla="*/ 5 h 154"/>
                <a:gd name="T64" fmla="*/ 3 w 174"/>
                <a:gd name="T65" fmla="*/ 7 h 154"/>
                <a:gd name="T66" fmla="*/ 1 w 174"/>
                <a:gd name="T67" fmla="*/ 9 h 154"/>
                <a:gd name="T68" fmla="*/ 1 w 174"/>
                <a:gd name="T69" fmla="*/ 12 h 154"/>
                <a:gd name="T70" fmla="*/ 0 w 174"/>
                <a:gd name="T71" fmla="*/ 15 h 154"/>
                <a:gd name="T72" fmla="*/ 0 w 174"/>
                <a:gd name="T73" fmla="*/ 139 h 154"/>
                <a:gd name="T74" fmla="*/ 1 w 174"/>
                <a:gd name="T75" fmla="*/ 142 h 154"/>
                <a:gd name="T76" fmla="*/ 1 w 174"/>
                <a:gd name="T77" fmla="*/ 145 h 154"/>
                <a:gd name="T78" fmla="*/ 3 w 174"/>
                <a:gd name="T79" fmla="*/ 147 h 154"/>
                <a:gd name="T80" fmla="*/ 4 w 174"/>
                <a:gd name="T81" fmla="*/ 150 h 154"/>
                <a:gd name="T82" fmla="*/ 6 w 174"/>
                <a:gd name="T83" fmla="*/ 152 h 154"/>
                <a:gd name="T84" fmla="*/ 10 w 174"/>
                <a:gd name="T85" fmla="*/ 153 h 154"/>
                <a:gd name="T86" fmla="*/ 12 w 174"/>
                <a:gd name="T87" fmla="*/ 154 h 154"/>
                <a:gd name="T88" fmla="*/ 15 w 174"/>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154">
                  <a:moveTo>
                    <a:pt x="15" y="154"/>
                  </a:moveTo>
                  <a:lnTo>
                    <a:pt x="159" y="154"/>
                  </a:lnTo>
                  <a:lnTo>
                    <a:pt x="162" y="154"/>
                  </a:lnTo>
                  <a:lnTo>
                    <a:pt x="164" y="153"/>
                  </a:lnTo>
                  <a:lnTo>
                    <a:pt x="167" y="152"/>
                  </a:lnTo>
                  <a:lnTo>
                    <a:pt x="169" y="150"/>
                  </a:lnTo>
                  <a:lnTo>
                    <a:pt x="170" y="147"/>
                  </a:lnTo>
                  <a:lnTo>
                    <a:pt x="172" y="145"/>
                  </a:lnTo>
                  <a:lnTo>
                    <a:pt x="174" y="142"/>
                  </a:lnTo>
                  <a:lnTo>
                    <a:pt x="174" y="139"/>
                  </a:lnTo>
                  <a:lnTo>
                    <a:pt x="174" y="137"/>
                  </a:lnTo>
                  <a:lnTo>
                    <a:pt x="172" y="133"/>
                  </a:lnTo>
                  <a:lnTo>
                    <a:pt x="170" y="131"/>
                  </a:lnTo>
                  <a:lnTo>
                    <a:pt x="169" y="129"/>
                  </a:lnTo>
                  <a:lnTo>
                    <a:pt x="167" y="127"/>
                  </a:lnTo>
                  <a:lnTo>
                    <a:pt x="164" y="126"/>
                  </a:lnTo>
                  <a:lnTo>
                    <a:pt x="162" y="125"/>
                  </a:lnTo>
                  <a:lnTo>
                    <a:pt x="159" y="124"/>
                  </a:lnTo>
                  <a:lnTo>
                    <a:pt x="30" y="124"/>
                  </a:lnTo>
                  <a:lnTo>
                    <a:pt x="30" y="15"/>
                  </a:lnTo>
                  <a:lnTo>
                    <a:pt x="30" y="12"/>
                  </a:lnTo>
                  <a:lnTo>
                    <a:pt x="29" y="9"/>
                  </a:lnTo>
                  <a:lnTo>
                    <a:pt x="28" y="7"/>
                  </a:lnTo>
                  <a:lnTo>
                    <a:pt x="26" y="5"/>
                  </a:lnTo>
                  <a:lnTo>
                    <a:pt x="23" y="3"/>
                  </a:lnTo>
                  <a:lnTo>
                    <a:pt x="21" y="2"/>
                  </a:lnTo>
                  <a:lnTo>
                    <a:pt x="18" y="0"/>
                  </a:lnTo>
                  <a:lnTo>
                    <a:pt x="15" y="0"/>
                  </a:lnTo>
                  <a:lnTo>
                    <a:pt x="12" y="0"/>
                  </a:lnTo>
                  <a:lnTo>
                    <a:pt x="10" y="2"/>
                  </a:lnTo>
                  <a:lnTo>
                    <a:pt x="6" y="3"/>
                  </a:lnTo>
                  <a:lnTo>
                    <a:pt x="4" y="5"/>
                  </a:lnTo>
                  <a:lnTo>
                    <a:pt x="3" y="7"/>
                  </a:lnTo>
                  <a:lnTo>
                    <a:pt x="1" y="9"/>
                  </a:lnTo>
                  <a:lnTo>
                    <a:pt x="1" y="12"/>
                  </a:lnTo>
                  <a:lnTo>
                    <a:pt x="0" y="15"/>
                  </a:lnTo>
                  <a:lnTo>
                    <a:pt x="0" y="139"/>
                  </a:lnTo>
                  <a:lnTo>
                    <a:pt x="1" y="142"/>
                  </a:lnTo>
                  <a:lnTo>
                    <a:pt x="1" y="145"/>
                  </a:lnTo>
                  <a:lnTo>
                    <a:pt x="3" y="147"/>
                  </a:lnTo>
                  <a:lnTo>
                    <a:pt x="4" y="150"/>
                  </a:lnTo>
                  <a:lnTo>
                    <a:pt x="6" y="152"/>
                  </a:lnTo>
                  <a:lnTo>
                    <a:pt x="10" y="153"/>
                  </a:lnTo>
                  <a:lnTo>
                    <a:pt x="12" y="154"/>
                  </a:lnTo>
                  <a:lnTo>
                    <a:pt x="1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6" name="Freeform 119">
              <a:extLst>
                <a:ext uri="{FF2B5EF4-FFF2-40B4-BE49-F238E27FC236}">
                  <a16:creationId xmlns:a16="http://schemas.microsoft.com/office/drawing/2014/main" id="{9892B0CC-5136-464E-A0F2-E5D0FE443169}"/>
                </a:ext>
              </a:extLst>
            </p:cNvPr>
            <p:cNvSpPr>
              <a:spLocks/>
            </p:cNvSpPr>
            <p:nvPr/>
          </p:nvSpPr>
          <p:spPr bwMode="auto">
            <a:xfrm>
              <a:off x="8162925" y="2603183"/>
              <a:ext cx="95250" cy="36513"/>
            </a:xfrm>
            <a:custGeom>
              <a:avLst/>
              <a:gdLst>
                <a:gd name="T0" fmla="*/ 285 w 300"/>
                <a:gd name="T1" fmla="*/ 0 h 116"/>
                <a:gd name="T2" fmla="*/ 15 w 300"/>
                <a:gd name="T3" fmla="*/ 0 h 116"/>
                <a:gd name="T4" fmla="*/ 11 w 300"/>
                <a:gd name="T5" fmla="*/ 0 h 116"/>
                <a:gd name="T6" fmla="*/ 8 w 300"/>
                <a:gd name="T7" fmla="*/ 1 h 116"/>
                <a:gd name="T8" fmla="*/ 6 w 300"/>
                <a:gd name="T9" fmla="*/ 3 h 116"/>
                <a:gd name="T10" fmla="*/ 4 w 300"/>
                <a:gd name="T11" fmla="*/ 4 h 116"/>
                <a:gd name="T12" fmla="*/ 2 w 300"/>
                <a:gd name="T13" fmla="*/ 6 h 116"/>
                <a:gd name="T14" fmla="*/ 1 w 300"/>
                <a:gd name="T15" fmla="*/ 9 h 116"/>
                <a:gd name="T16" fmla="*/ 0 w 300"/>
                <a:gd name="T17" fmla="*/ 11 h 116"/>
                <a:gd name="T18" fmla="*/ 0 w 300"/>
                <a:gd name="T19" fmla="*/ 15 h 116"/>
                <a:gd name="T20" fmla="*/ 0 w 300"/>
                <a:gd name="T21" fmla="*/ 18 h 116"/>
                <a:gd name="T22" fmla="*/ 1 w 300"/>
                <a:gd name="T23" fmla="*/ 21 h 116"/>
                <a:gd name="T24" fmla="*/ 2 w 300"/>
                <a:gd name="T25" fmla="*/ 23 h 116"/>
                <a:gd name="T26" fmla="*/ 4 w 300"/>
                <a:gd name="T27" fmla="*/ 25 h 116"/>
                <a:gd name="T28" fmla="*/ 6 w 300"/>
                <a:gd name="T29" fmla="*/ 27 h 116"/>
                <a:gd name="T30" fmla="*/ 8 w 300"/>
                <a:gd name="T31" fmla="*/ 29 h 116"/>
                <a:gd name="T32" fmla="*/ 11 w 300"/>
                <a:gd name="T33" fmla="*/ 30 h 116"/>
                <a:gd name="T34" fmla="*/ 15 w 300"/>
                <a:gd name="T35" fmla="*/ 30 h 116"/>
                <a:gd name="T36" fmla="*/ 270 w 300"/>
                <a:gd name="T37" fmla="*/ 30 h 116"/>
                <a:gd name="T38" fmla="*/ 270 w 300"/>
                <a:gd name="T39" fmla="*/ 101 h 116"/>
                <a:gd name="T40" fmla="*/ 271 w 300"/>
                <a:gd name="T41" fmla="*/ 104 h 116"/>
                <a:gd name="T42" fmla="*/ 271 w 300"/>
                <a:gd name="T43" fmla="*/ 107 h 116"/>
                <a:gd name="T44" fmla="*/ 273 w 300"/>
                <a:gd name="T45" fmla="*/ 109 h 116"/>
                <a:gd name="T46" fmla="*/ 274 w 300"/>
                <a:gd name="T47" fmla="*/ 112 h 116"/>
                <a:gd name="T48" fmla="*/ 276 w 300"/>
                <a:gd name="T49" fmla="*/ 113 h 116"/>
                <a:gd name="T50" fmla="*/ 279 w 300"/>
                <a:gd name="T51" fmla="*/ 115 h 116"/>
                <a:gd name="T52" fmla="*/ 282 w 300"/>
                <a:gd name="T53" fmla="*/ 115 h 116"/>
                <a:gd name="T54" fmla="*/ 285 w 300"/>
                <a:gd name="T55" fmla="*/ 116 h 116"/>
                <a:gd name="T56" fmla="*/ 288 w 300"/>
                <a:gd name="T57" fmla="*/ 115 h 116"/>
                <a:gd name="T58" fmla="*/ 291 w 300"/>
                <a:gd name="T59" fmla="*/ 115 h 116"/>
                <a:gd name="T60" fmla="*/ 293 w 300"/>
                <a:gd name="T61" fmla="*/ 113 h 116"/>
                <a:gd name="T62" fmla="*/ 296 w 300"/>
                <a:gd name="T63" fmla="*/ 112 h 116"/>
                <a:gd name="T64" fmla="*/ 298 w 300"/>
                <a:gd name="T65" fmla="*/ 109 h 116"/>
                <a:gd name="T66" fmla="*/ 299 w 300"/>
                <a:gd name="T67" fmla="*/ 107 h 116"/>
                <a:gd name="T68" fmla="*/ 300 w 300"/>
                <a:gd name="T69" fmla="*/ 104 h 116"/>
                <a:gd name="T70" fmla="*/ 300 w 300"/>
                <a:gd name="T71" fmla="*/ 101 h 116"/>
                <a:gd name="T72" fmla="*/ 300 w 300"/>
                <a:gd name="T73" fmla="*/ 15 h 116"/>
                <a:gd name="T74" fmla="*/ 300 w 300"/>
                <a:gd name="T75" fmla="*/ 11 h 116"/>
                <a:gd name="T76" fmla="*/ 299 w 300"/>
                <a:gd name="T77" fmla="*/ 9 h 116"/>
                <a:gd name="T78" fmla="*/ 298 w 300"/>
                <a:gd name="T79" fmla="*/ 6 h 116"/>
                <a:gd name="T80" fmla="*/ 296 w 300"/>
                <a:gd name="T81" fmla="*/ 4 h 116"/>
                <a:gd name="T82" fmla="*/ 293 w 300"/>
                <a:gd name="T83" fmla="*/ 3 h 116"/>
                <a:gd name="T84" fmla="*/ 291 w 300"/>
                <a:gd name="T85" fmla="*/ 1 h 116"/>
                <a:gd name="T86" fmla="*/ 288 w 300"/>
                <a:gd name="T87" fmla="*/ 0 h 116"/>
                <a:gd name="T88" fmla="*/ 285 w 300"/>
                <a:gd name="T8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0" h="116">
                  <a:moveTo>
                    <a:pt x="285" y="0"/>
                  </a:moveTo>
                  <a:lnTo>
                    <a:pt x="15" y="0"/>
                  </a:lnTo>
                  <a:lnTo>
                    <a:pt x="11" y="0"/>
                  </a:lnTo>
                  <a:lnTo>
                    <a:pt x="8" y="1"/>
                  </a:lnTo>
                  <a:lnTo>
                    <a:pt x="6" y="3"/>
                  </a:lnTo>
                  <a:lnTo>
                    <a:pt x="4" y="4"/>
                  </a:lnTo>
                  <a:lnTo>
                    <a:pt x="2" y="6"/>
                  </a:lnTo>
                  <a:lnTo>
                    <a:pt x="1" y="9"/>
                  </a:lnTo>
                  <a:lnTo>
                    <a:pt x="0" y="11"/>
                  </a:lnTo>
                  <a:lnTo>
                    <a:pt x="0" y="15"/>
                  </a:lnTo>
                  <a:lnTo>
                    <a:pt x="0" y="18"/>
                  </a:lnTo>
                  <a:lnTo>
                    <a:pt x="1" y="21"/>
                  </a:lnTo>
                  <a:lnTo>
                    <a:pt x="2" y="23"/>
                  </a:lnTo>
                  <a:lnTo>
                    <a:pt x="4" y="25"/>
                  </a:lnTo>
                  <a:lnTo>
                    <a:pt x="6" y="27"/>
                  </a:lnTo>
                  <a:lnTo>
                    <a:pt x="8" y="29"/>
                  </a:lnTo>
                  <a:lnTo>
                    <a:pt x="11" y="30"/>
                  </a:lnTo>
                  <a:lnTo>
                    <a:pt x="15" y="30"/>
                  </a:lnTo>
                  <a:lnTo>
                    <a:pt x="270" y="30"/>
                  </a:lnTo>
                  <a:lnTo>
                    <a:pt x="270" y="101"/>
                  </a:lnTo>
                  <a:lnTo>
                    <a:pt x="271" y="104"/>
                  </a:lnTo>
                  <a:lnTo>
                    <a:pt x="271" y="107"/>
                  </a:lnTo>
                  <a:lnTo>
                    <a:pt x="273" y="109"/>
                  </a:lnTo>
                  <a:lnTo>
                    <a:pt x="274" y="112"/>
                  </a:lnTo>
                  <a:lnTo>
                    <a:pt x="276" y="113"/>
                  </a:lnTo>
                  <a:lnTo>
                    <a:pt x="279" y="115"/>
                  </a:lnTo>
                  <a:lnTo>
                    <a:pt x="282" y="115"/>
                  </a:lnTo>
                  <a:lnTo>
                    <a:pt x="285" y="116"/>
                  </a:lnTo>
                  <a:lnTo>
                    <a:pt x="288" y="115"/>
                  </a:lnTo>
                  <a:lnTo>
                    <a:pt x="291" y="115"/>
                  </a:lnTo>
                  <a:lnTo>
                    <a:pt x="293" y="113"/>
                  </a:lnTo>
                  <a:lnTo>
                    <a:pt x="296" y="112"/>
                  </a:lnTo>
                  <a:lnTo>
                    <a:pt x="298" y="109"/>
                  </a:lnTo>
                  <a:lnTo>
                    <a:pt x="299" y="107"/>
                  </a:lnTo>
                  <a:lnTo>
                    <a:pt x="300" y="104"/>
                  </a:lnTo>
                  <a:lnTo>
                    <a:pt x="300" y="101"/>
                  </a:lnTo>
                  <a:lnTo>
                    <a:pt x="300" y="15"/>
                  </a:lnTo>
                  <a:lnTo>
                    <a:pt x="300" y="11"/>
                  </a:lnTo>
                  <a:lnTo>
                    <a:pt x="299" y="9"/>
                  </a:lnTo>
                  <a:lnTo>
                    <a:pt x="298" y="6"/>
                  </a:lnTo>
                  <a:lnTo>
                    <a:pt x="296" y="4"/>
                  </a:lnTo>
                  <a:lnTo>
                    <a:pt x="293" y="3"/>
                  </a:lnTo>
                  <a:lnTo>
                    <a:pt x="291" y="1"/>
                  </a:lnTo>
                  <a:lnTo>
                    <a:pt x="288" y="0"/>
                  </a:lnTo>
                  <a:lnTo>
                    <a:pt x="2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7" name="Freeform 120">
              <a:extLst>
                <a:ext uri="{FF2B5EF4-FFF2-40B4-BE49-F238E27FC236}">
                  <a16:creationId xmlns:a16="http://schemas.microsoft.com/office/drawing/2014/main" id="{101CD998-6A55-462D-B7B5-06A0559BA185}"/>
                </a:ext>
              </a:extLst>
            </p:cNvPr>
            <p:cNvSpPr>
              <a:spLocks/>
            </p:cNvSpPr>
            <p:nvPr/>
          </p:nvSpPr>
          <p:spPr bwMode="auto">
            <a:xfrm>
              <a:off x="8421688" y="2603183"/>
              <a:ext cx="26988" cy="73025"/>
            </a:xfrm>
            <a:custGeom>
              <a:avLst/>
              <a:gdLst>
                <a:gd name="T0" fmla="*/ 72 w 87"/>
                <a:gd name="T1" fmla="*/ 0 h 230"/>
                <a:gd name="T2" fmla="*/ 16 w 87"/>
                <a:gd name="T3" fmla="*/ 0 h 230"/>
                <a:gd name="T4" fmla="*/ 12 w 87"/>
                <a:gd name="T5" fmla="*/ 0 h 230"/>
                <a:gd name="T6" fmla="*/ 10 w 87"/>
                <a:gd name="T7" fmla="*/ 1 h 230"/>
                <a:gd name="T8" fmla="*/ 7 w 87"/>
                <a:gd name="T9" fmla="*/ 3 h 230"/>
                <a:gd name="T10" fmla="*/ 5 w 87"/>
                <a:gd name="T11" fmla="*/ 4 h 230"/>
                <a:gd name="T12" fmla="*/ 3 w 87"/>
                <a:gd name="T13" fmla="*/ 6 h 230"/>
                <a:gd name="T14" fmla="*/ 2 w 87"/>
                <a:gd name="T15" fmla="*/ 9 h 230"/>
                <a:gd name="T16" fmla="*/ 0 w 87"/>
                <a:gd name="T17" fmla="*/ 11 h 230"/>
                <a:gd name="T18" fmla="*/ 0 w 87"/>
                <a:gd name="T19" fmla="*/ 15 h 230"/>
                <a:gd name="T20" fmla="*/ 0 w 87"/>
                <a:gd name="T21" fmla="*/ 215 h 230"/>
                <a:gd name="T22" fmla="*/ 0 w 87"/>
                <a:gd name="T23" fmla="*/ 217 h 230"/>
                <a:gd name="T24" fmla="*/ 2 w 87"/>
                <a:gd name="T25" fmla="*/ 221 h 230"/>
                <a:gd name="T26" fmla="*/ 3 w 87"/>
                <a:gd name="T27" fmla="*/ 223 h 230"/>
                <a:gd name="T28" fmla="*/ 5 w 87"/>
                <a:gd name="T29" fmla="*/ 226 h 230"/>
                <a:gd name="T30" fmla="*/ 7 w 87"/>
                <a:gd name="T31" fmla="*/ 227 h 230"/>
                <a:gd name="T32" fmla="*/ 10 w 87"/>
                <a:gd name="T33" fmla="*/ 229 h 230"/>
                <a:gd name="T34" fmla="*/ 12 w 87"/>
                <a:gd name="T35" fmla="*/ 229 h 230"/>
                <a:gd name="T36" fmla="*/ 16 w 87"/>
                <a:gd name="T37" fmla="*/ 230 h 230"/>
                <a:gd name="T38" fmla="*/ 19 w 87"/>
                <a:gd name="T39" fmla="*/ 229 h 230"/>
                <a:gd name="T40" fmla="*/ 21 w 87"/>
                <a:gd name="T41" fmla="*/ 229 h 230"/>
                <a:gd name="T42" fmla="*/ 24 w 87"/>
                <a:gd name="T43" fmla="*/ 227 h 230"/>
                <a:gd name="T44" fmla="*/ 26 w 87"/>
                <a:gd name="T45" fmla="*/ 226 h 230"/>
                <a:gd name="T46" fmla="*/ 28 w 87"/>
                <a:gd name="T47" fmla="*/ 224 h 230"/>
                <a:gd name="T48" fmla="*/ 29 w 87"/>
                <a:gd name="T49" fmla="*/ 221 h 230"/>
                <a:gd name="T50" fmla="*/ 31 w 87"/>
                <a:gd name="T51" fmla="*/ 217 h 230"/>
                <a:gd name="T52" fmla="*/ 31 w 87"/>
                <a:gd name="T53" fmla="*/ 215 h 230"/>
                <a:gd name="T54" fmla="*/ 31 w 87"/>
                <a:gd name="T55" fmla="*/ 30 h 230"/>
                <a:gd name="T56" fmla="*/ 72 w 87"/>
                <a:gd name="T57" fmla="*/ 30 h 230"/>
                <a:gd name="T58" fmla="*/ 76 w 87"/>
                <a:gd name="T59" fmla="*/ 30 h 230"/>
                <a:gd name="T60" fmla="*/ 78 w 87"/>
                <a:gd name="T61" fmla="*/ 29 h 230"/>
                <a:gd name="T62" fmla="*/ 81 w 87"/>
                <a:gd name="T63" fmla="*/ 27 h 230"/>
                <a:gd name="T64" fmla="*/ 83 w 87"/>
                <a:gd name="T65" fmla="*/ 25 h 230"/>
                <a:gd name="T66" fmla="*/ 85 w 87"/>
                <a:gd name="T67" fmla="*/ 23 h 230"/>
                <a:gd name="T68" fmla="*/ 86 w 87"/>
                <a:gd name="T69" fmla="*/ 21 h 230"/>
                <a:gd name="T70" fmla="*/ 87 w 87"/>
                <a:gd name="T71" fmla="*/ 18 h 230"/>
                <a:gd name="T72" fmla="*/ 87 w 87"/>
                <a:gd name="T73" fmla="*/ 15 h 230"/>
                <a:gd name="T74" fmla="*/ 87 w 87"/>
                <a:gd name="T75" fmla="*/ 11 h 230"/>
                <a:gd name="T76" fmla="*/ 86 w 87"/>
                <a:gd name="T77" fmla="*/ 9 h 230"/>
                <a:gd name="T78" fmla="*/ 85 w 87"/>
                <a:gd name="T79" fmla="*/ 6 h 230"/>
                <a:gd name="T80" fmla="*/ 83 w 87"/>
                <a:gd name="T81" fmla="*/ 4 h 230"/>
                <a:gd name="T82" fmla="*/ 81 w 87"/>
                <a:gd name="T83" fmla="*/ 3 h 230"/>
                <a:gd name="T84" fmla="*/ 78 w 87"/>
                <a:gd name="T85" fmla="*/ 1 h 230"/>
                <a:gd name="T86" fmla="*/ 76 w 87"/>
                <a:gd name="T87" fmla="*/ 0 h 230"/>
                <a:gd name="T88" fmla="*/ 72 w 87"/>
                <a:gd name="T8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230">
                  <a:moveTo>
                    <a:pt x="72" y="0"/>
                  </a:moveTo>
                  <a:lnTo>
                    <a:pt x="16" y="0"/>
                  </a:lnTo>
                  <a:lnTo>
                    <a:pt x="12" y="0"/>
                  </a:lnTo>
                  <a:lnTo>
                    <a:pt x="10" y="1"/>
                  </a:lnTo>
                  <a:lnTo>
                    <a:pt x="7" y="3"/>
                  </a:lnTo>
                  <a:lnTo>
                    <a:pt x="5" y="4"/>
                  </a:lnTo>
                  <a:lnTo>
                    <a:pt x="3" y="6"/>
                  </a:lnTo>
                  <a:lnTo>
                    <a:pt x="2" y="9"/>
                  </a:lnTo>
                  <a:lnTo>
                    <a:pt x="0" y="11"/>
                  </a:lnTo>
                  <a:lnTo>
                    <a:pt x="0" y="15"/>
                  </a:lnTo>
                  <a:lnTo>
                    <a:pt x="0" y="215"/>
                  </a:lnTo>
                  <a:lnTo>
                    <a:pt x="0" y="217"/>
                  </a:lnTo>
                  <a:lnTo>
                    <a:pt x="2" y="221"/>
                  </a:lnTo>
                  <a:lnTo>
                    <a:pt x="3" y="223"/>
                  </a:lnTo>
                  <a:lnTo>
                    <a:pt x="5" y="226"/>
                  </a:lnTo>
                  <a:lnTo>
                    <a:pt x="7" y="227"/>
                  </a:lnTo>
                  <a:lnTo>
                    <a:pt x="10" y="229"/>
                  </a:lnTo>
                  <a:lnTo>
                    <a:pt x="12" y="229"/>
                  </a:lnTo>
                  <a:lnTo>
                    <a:pt x="16" y="230"/>
                  </a:lnTo>
                  <a:lnTo>
                    <a:pt x="19" y="229"/>
                  </a:lnTo>
                  <a:lnTo>
                    <a:pt x="21" y="229"/>
                  </a:lnTo>
                  <a:lnTo>
                    <a:pt x="24" y="227"/>
                  </a:lnTo>
                  <a:lnTo>
                    <a:pt x="26" y="226"/>
                  </a:lnTo>
                  <a:lnTo>
                    <a:pt x="28" y="224"/>
                  </a:lnTo>
                  <a:lnTo>
                    <a:pt x="29" y="221"/>
                  </a:lnTo>
                  <a:lnTo>
                    <a:pt x="31" y="217"/>
                  </a:lnTo>
                  <a:lnTo>
                    <a:pt x="31" y="215"/>
                  </a:lnTo>
                  <a:lnTo>
                    <a:pt x="31" y="30"/>
                  </a:lnTo>
                  <a:lnTo>
                    <a:pt x="72" y="30"/>
                  </a:lnTo>
                  <a:lnTo>
                    <a:pt x="76" y="30"/>
                  </a:lnTo>
                  <a:lnTo>
                    <a:pt x="78" y="29"/>
                  </a:lnTo>
                  <a:lnTo>
                    <a:pt x="81" y="27"/>
                  </a:lnTo>
                  <a:lnTo>
                    <a:pt x="83" y="25"/>
                  </a:lnTo>
                  <a:lnTo>
                    <a:pt x="85" y="23"/>
                  </a:lnTo>
                  <a:lnTo>
                    <a:pt x="86" y="21"/>
                  </a:lnTo>
                  <a:lnTo>
                    <a:pt x="87" y="18"/>
                  </a:lnTo>
                  <a:lnTo>
                    <a:pt x="87" y="15"/>
                  </a:lnTo>
                  <a:lnTo>
                    <a:pt x="87" y="11"/>
                  </a:lnTo>
                  <a:lnTo>
                    <a:pt x="86" y="9"/>
                  </a:lnTo>
                  <a:lnTo>
                    <a:pt x="85" y="6"/>
                  </a:lnTo>
                  <a:lnTo>
                    <a:pt x="83" y="4"/>
                  </a:lnTo>
                  <a:lnTo>
                    <a:pt x="81" y="3"/>
                  </a:lnTo>
                  <a:lnTo>
                    <a:pt x="78" y="1"/>
                  </a:lnTo>
                  <a:lnTo>
                    <a:pt x="76"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8" name="Freeform 121">
              <a:extLst>
                <a:ext uri="{FF2B5EF4-FFF2-40B4-BE49-F238E27FC236}">
                  <a16:creationId xmlns:a16="http://schemas.microsoft.com/office/drawing/2014/main" id="{CB215CD3-50AE-4720-8F6B-95BCFFF6BE55}"/>
                </a:ext>
              </a:extLst>
            </p:cNvPr>
            <p:cNvSpPr>
              <a:spLocks/>
            </p:cNvSpPr>
            <p:nvPr/>
          </p:nvSpPr>
          <p:spPr bwMode="auto">
            <a:xfrm>
              <a:off x="8401050" y="2630170"/>
              <a:ext cx="9525" cy="46038"/>
            </a:xfrm>
            <a:custGeom>
              <a:avLst/>
              <a:gdLst>
                <a:gd name="T0" fmla="*/ 0 w 30"/>
                <a:gd name="T1" fmla="*/ 15 h 144"/>
                <a:gd name="T2" fmla="*/ 0 w 30"/>
                <a:gd name="T3" fmla="*/ 129 h 144"/>
                <a:gd name="T4" fmla="*/ 0 w 30"/>
                <a:gd name="T5" fmla="*/ 131 h 144"/>
                <a:gd name="T6" fmla="*/ 1 w 30"/>
                <a:gd name="T7" fmla="*/ 135 h 144"/>
                <a:gd name="T8" fmla="*/ 2 w 30"/>
                <a:gd name="T9" fmla="*/ 137 h 144"/>
                <a:gd name="T10" fmla="*/ 5 w 30"/>
                <a:gd name="T11" fmla="*/ 140 h 144"/>
                <a:gd name="T12" fmla="*/ 7 w 30"/>
                <a:gd name="T13" fmla="*/ 141 h 144"/>
                <a:gd name="T14" fmla="*/ 9 w 30"/>
                <a:gd name="T15" fmla="*/ 143 h 144"/>
                <a:gd name="T16" fmla="*/ 12 w 30"/>
                <a:gd name="T17" fmla="*/ 143 h 144"/>
                <a:gd name="T18" fmla="*/ 15 w 30"/>
                <a:gd name="T19" fmla="*/ 144 h 144"/>
                <a:gd name="T20" fmla="*/ 18 w 30"/>
                <a:gd name="T21" fmla="*/ 143 h 144"/>
                <a:gd name="T22" fmla="*/ 21 w 30"/>
                <a:gd name="T23" fmla="*/ 143 h 144"/>
                <a:gd name="T24" fmla="*/ 24 w 30"/>
                <a:gd name="T25" fmla="*/ 141 h 144"/>
                <a:gd name="T26" fmla="*/ 26 w 30"/>
                <a:gd name="T27" fmla="*/ 140 h 144"/>
                <a:gd name="T28" fmla="*/ 27 w 30"/>
                <a:gd name="T29" fmla="*/ 138 h 144"/>
                <a:gd name="T30" fmla="*/ 29 w 30"/>
                <a:gd name="T31" fmla="*/ 135 h 144"/>
                <a:gd name="T32" fmla="*/ 30 w 30"/>
                <a:gd name="T33" fmla="*/ 131 h 144"/>
                <a:gd name="T34" fmla="*/ 30 w 30"/>
                <a:gd name="T35" fmla="*/ 129 h 144"/>
                <a:gd name="T36" fmla="*/ 30 w 30"/>
                <a:gd name="T37" fmla="*/ 15 h 144"/>
                <a:gd name="T38" fmla="*/ 30 w 30"/>
                <a:gd name="T39" fmla="*/ 12 h 144"/>
                <a:gd name="T40" fmla="*/ 29 w 30"/>
                <a:gd name="T41" fmla="*/ 9 h 144"/>
                <a:gd name="T42" fmla="*/ 27 w 30"/>
                <a:gd name="T43" fmla="*/ 7 h 144"/>
                <a:gd name="T44" fmla="*/ 26 w 30"/>
                <a:gd name="T45" fmla="*/ 5 h 144"/>
                <a:gd name="T46" fmla="*/ 24 w 30"/>
                <a:gd name="T47" fmla="*/ 3 h 144"/>
                <a:gd name="T48" fmla="*/ 21 w 30"/>
                <a:gd name="T49" fmla="*/ 2 h 144"/>
                <a:gd name="T50" fmla="*/ 18 w 30"/>
                <a:gd name="T51" fmla="*/ 0 h 144"/>
                <a:gd name="T52" fmla="*/ 15 w 30"/>
                <a:gd name="T53" fmla="*/ 0 h 144"/>
                <a:gd name="T54" fmla="*/ 12 w 30"/>
                <a:gd name="T55" fmla="*/ 0 h 144"/>
                <a:gd name="T56" fmla="*/ 9 w 30"/>
                <a:gd name="T57" fmla="*/ 2 h 144"/>
                <a:gd name="T58" fmla="*/ 7 w 30"/>
                <a:gd name="T59" fmla="*/ 3 h 144"/>
                <a:gd name="T60" fmla="*/ 5 w 30"/>
                <a:gd name="T61" fmla="*/ 5 h 144"/>
                <a:gd name="T62" fmla="*/ 2 w 30"/>
                <a:gd name="T63" fmla="*/ 7 h 144"/>
                <a:gd name="T64" fmla="*/ 1 w 30"/>
                <a:gd name="T65" fmla="*/ 9 h 144"/>
                <a:gd name="T66" fmla="*/ 0 w 30"/>
                <a:gd name="T67" fmla="*/ 12 h 144"/>
                <a:gd name="T68" fmla="*/ 0 w 30"/>
                <a:gd name="T69" fmla="*/ 1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44">
                  <a:moveTo>
                    <a:pt x="0" y="15"/>
                  </a:moveTo>
                  <a:lnTo>
                    <a:pt x="0" y="129"/>
                  </a:lnTo>
                  <a:lnTo>
                    <a:pt x="0" y="131"/>
                  </a:lnTo>
                  <a:lnTo>
                    <a:pt x="1" y="135"/>
                  </a:lnTo>
                  <a:lnTo>
                    <a:pt x="2" y="137"/>
                  </a:lnTo>
                  <a:lnTo>
                    <a:pt x="5" y="140"/>
                  </a:lnTo>
                  <a:lnTo>
                    <a:pt x="7" y="141"/>
                  </a:lnTo>
                  <a:lnTo>
                    <a:pt x="9" y="143"/>
                  </a:lnTo>
                  <a:lnTo>
                    <a:pt x="12" y="143"/>
                  </a:lnTo>
                  <a:lnTo>
                    <a:pt x="15" y="144"/>
                  </a:lnTo>
                  <a:lnTo>
                    <a:pt x="18" y="143"/>
                  </a:lnTo>
                  <a:lnTo>
                    <a:pt x="21" y="143"/>
                  </a:lnTo>
                  <a:lnTo>
                    <a:pt x="24" y="141"/>
                  </a:lnTo>
                  <a:lnTo>
                    <a:pt x="26" y="140"/>
                  </a:lnTo>
                  <a:lnTo>
                    <a:pt x="27" y="138"/>
                  </a:lnTo>
                  <a:lnTo>
                    <a:pt x="29" y="135"/>
                  </a:lnTo>
                  <a:lnTo>
                    <a:pt x="30" y="131"/>
                  </a:lnTo>
                  <a:lnTo>
                    <a:pt x="30" y="129"/>
                  </a:lnTo>
                  <a:lnTo>
                    <a:pt x="30" y="15"/>
                  </a:lnTo>
                  <a:lnTo>
                    <a:pt x="30" y="12"/>
                  </a:lnTo>
                  <a:lnTo>
                    <a:pt x="29" y="9"/>
                  </a:lnTo>
                  <a:lnTo>
                    <a:pt x="27" y="7"/>
                  </a:lnTo>
                  <a:lnTo>
                    <a:pt x="26" y="5"/>
                  </a:lnTo>
                  <a:lnTo>
                    <a:pt x="24" y="3"/>
                  </a:lnTo>
                  <a:lnTo>
                    <a:pt x="21" y="2"/>
                  </a:lnTo>
                  <a:lnTo>
                    <a:pt x="18" y="0"/>
                  </a:lnTo>
                  <a:lnTo>
                    <a:pt x="15" y="0"/>
                  </a:lnTo>
                  <a:lnTo>
                    <a:pt x="12" y="0"/>
                  </a:lnTo>
                  <a:lnTo>
                    <a:pt x="9" y="2"/>
                  </a:lnTo>
                  <a:lnTo>
                    <a:pt x="7" y="3"/>
                  </a:lnTo>
                  <a:lnTo>
                    <a:pt x="5" y="5"/>
                  </a:lnTo>
                  <a:lnTo>
                    <a:pt x="2" y="7"/>
                  </a:lnTo>
                  <a:lnTo>
                    <a:pt x="1" y="9"/>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69" name="Freeform 122">
              <a:extLst>
                <a:ext uri="{FF2B5EF4-FFF2-40B4-BE49-F238E27FC236}">
                  <a16:creationId xmlns:a16="http://schemas.microsoft.com/office/drawing/2014/main" id="{FF59F2FD-17DD-44BB-B141-094ADFD8B850}"/>
                </a:ext>
              </a:extLst>
            </p:cNvPr>
            <p:cNvSpPr>
              <a:spLocks/>
            </p:cNvSpPr>
            <p:nvPr/>
          </p:nvSpPr>
          <p:spPr bwMode="auto">
            <a:xfrm>
              <a:off x="8334375" y="2603183"/>
              <a:ext cx="73025" cy="36513"/>
            </a:xfrm>
            <a:custGeom>
              <a:avLst/>
              <a:gdLst>
                <a:gd name="T0" fmla="*/ 212 w 227"/>
                <a:gd name="T1" fmla="*/ 0 h 116"/>
                <a:gd name="T2" fmla="*/ 15 w 227"/>
                <a:gd name="T3" fmla="*/ 0 h 116"/>
                <a:gd name="T4" fmla="*/ 12 w 227"/>
                <a:gd name="T5" fmla="*/ 0 h 116"/>
                <a:gd name="T6" fmla="*/ 9 w 227"/>
                <a:gd name="T7" fmla="*/ 1 h 116"/>
                <a:gd name="T8" fmla="*/ 7 w 227"/>
                <a:gd name="T9" fmla="*/ 3 h 116"/>
                <a:gd name="T10" fmla="*/ 4 w 227"/>
                <a:gd name="T11" fmla="*/ 4 h 116"/>
                <a:gd name="T12" fmla="*/ 2 w 227"/>
                <a:gd name="T13" fmla="*/ 6 h 116"/>
                <a:gd name="T14" fmla="*/ 1 w 227"/>
                <a:gd name="T15" fmla="*/ 9 h 116"/>
                <a:gd name="T16" fmla="*/ 0 w 227"/>
                <a:gd name="T17" fmla="*/ 11 h 116"/>
                <a:gd name="T18" fmla="*/ 0 w 227"/>
                <a:gd name="T19" fmla="*/ 15 h 116"/>
                <a:gd name="T20" fmla="*/ 0 w 227"/>
                <a:gd name="T21" fmla="*/ 101 h 116"/>
                <a:gd name="T22" fmla="*/ 0 w 227"/>
                <a:gd name="T23" fmla="*/ 104 h 116"/>
                <a:gd name="T24" fmla="*/ 1 w 227"/>
                <a:gd name="T25" fmla="*/ 107 h 116"/>
                <a:gd name="T26" fmla="*/ 2 w 227"/>
                <a:gd name="T27" fmla="*/ 109 h 116"/>
                <a:gd name="T28" fmla="*/ 4 w 227"/>
                <a:gd name="T29" fmla="*/ 112 h 116"/>
                <a:gd name="T30" fmla="*/ 7 w 227"/>
                <a:gd name="T31" fmla="*/ 113 h 116"/>
                <a:gd name="T32" fmla="*/ 9 w 227"/>
                <a:gd name="T33" fmla="*/ 115 h 116"/>
                <a:gd name="T34" fmla="*/ 12 w 227"/>
                <a:gd name="T35" fmla="*/ 115 h 116"/>
                <a:gd name="T36" fmla="*/ 15 w 227"/>
                <a:gd name="T37" fmla="*/ 116 h 116"/>
                <a:gd name="T38" fmla="*/ 17 w 227"/>
                <a:gd name="T39" fmla="*/ 115 h 116"/>
                <a:gd name="T40" fmla="*/ 20 w 227"/>
                <a:gd name="T41" fmla="*/ 115 h 116"/>
                <a:gd name="T42" fmla="*/ 23 w 227"/>
                <a:gd name="T43" fmla="*/ 113 h 116"/>
                <a:gd name="T44" fmla="*/ 26 w 227"/>
                <a:gd name="T45" fmla="*/ 112 h 116"/>
                <a:gd name="T46" fmla="*/ 27 w 227"/>
                <a:gd name="T47" fmla="*/ 109 h 116"/>
                <a:gd name="T48" fmla="*/ 29 w 227"/>
                <a:gd name="T49" fmla="*/ 107 h 116"/>
                <a:gd name="T50" fmla="*/ 29 w 227"/>
                <a:gd name="T51" fmla="*/ 104 h 116"/>
                <a:gd name="T52" fmla="*/ 30 w 227"/>
                <a:gd name="T53" fmla="*/ 101 h 116"/>
                <a:gd name="T54" fmla="*/ 30 w 227"/>
                <a:gd name="T55" fmla="*/ 30 h 116"/>
                <a:gd name="T56" fmla="*/ 212 w 227"/>
                <a:gd name="T57" fmla="*/ 30 h 116"/>
                <a:gd name="T58" fmla="*/ 216 w 227"/>
                <a:gd name="T59" fmla="*/ 30 h 116"/>
                <a:gd name="T60" fmla="*/ 219 w 227"/>
                <a:gd name="T61" fmla="*/ 29 h 116"/>
                <a:gd name="T62" fmla="*/ 221 w 227"/>
                <a:gd name="T63" fmla="*/ 27 h 116"/>
                <a:gd name="T64" fmla="*/ 223 w 227"/>
                <a:gd name="T65" fmla="*/ 25 h 116"/>
                <a:gd name="T66" fmla="*/ 225 w 227"/>
                <a:gd name="T67" fmla="*/ 23 h 116"/>
                <a:gd name="T68" fmla="*/ 226 w 227"/>
                <a:gd name="T69" fmla="*/ 21 h 116"/>
                <a:gd name="T70" fmla="*/ 227 w 227"/>
                <a:gd name="T71" fmla="*/ 18 h 116"/>
                <a:gd name="T72" fmla="*/ 227 w 227"/>
                <a:gd name="T73" fmla="*/ 15 h 116"/>
                <a:gd name="T74" fmla="*/ 227 w 227"/>
                <a:gd name="T75" fmla="*/ 11 h 116"/>
                <a:gd name="T76" fmla="*/ 226 w 227"/>
                <a:gd name="T77" fmla="*/ 9 h 116"/>
                <a:gd name="T78" fmla="*/ 225 w 227"/>
                <a:gd name="T79" fmla="*/ 6 h 116"/>
                <a:gd name="T80" fmla="*/ 223 w 227"/>
                <a:gd name="T81" fmla="*/ 4 h 116"/>
                <a:gd name="T82" fmla="*/ 221 w 227"/>
                <a:gd name="T83" fmla="*/ 3 h 116"/>
                <a:gd name="T84" fmla="*/ 219 w 227"/>
                <a:gd name="T85" fmla="*/ 1 h 116"/>
                <a:gd name="T86" fmla="*/ 216 w 227"/>
                <a:gd name="T87" fmla="*/ 0 h 116"/>
                <a:gd name="T88" fmla="*/ 212 w 227"/>
                <a:gd name="T8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 h="116">
                  <a:moveTo>
                    <a:pt x="212" y="0"/>
                  </a:moveTo>
                  <a:lnTo>
                    <a:pt x="15" y="0"/>
                  </a:lnTo>
                  <a:lnTo>
                    <a:pt x="12" y="0"/>
                  </a:lnTo>
                  <a:lnTo>
                    <a:pt x="9" y="1"/>
                  </a:lnTo>
                  <a:lnTo>
                    <a:pt x="7" y="3"/>
                  </a:lnTo>
                  <a:lnTo>
                    <a:pt x="4" y="4"/>
                  </a:lnTo>
                  <a:lnTo>
                    <a:pt x="2" y="6"/>
                  </a:lnTo>
                  <a:lnTo>
                    <a:pt x="1" y="9"/>
                  </a:lnTo>
                  <a:lnTo>
                    <a:pt x="0" y="11"/>
                  </a:lnTo>
                  <a:lnTo>
                    <a:pt x="0" y="15"/>
                  </a:lnTo>
                  <a:lnTo>
                    <a:pt x="0" y="101"/>
                  </a:lnTo>
                  <a:lnTo>
                    <a:pt x="0" y="104"/>
                  </a:lnTo>
                  <a:lnTo>
                    <a:pt x="1" y="107"/>
                  </a:lnTo>
                  <a:lnTo>
                    <a:pt x="2" y="109"/>
                  </a:lnTo>
                  <a:lnTo>
                    <a:pt x="4" y="112"/>
                  </a:lnTo>
                  <a:lnTo>
                    <a:pt x="7" y="113"/>
                  </a:lnTo>
                  <a:lnTo>
                    <a:pt x="9" y="115"/>
                  </a:lnTo>
                  <a:lnTo>
                    <a:pt x="12" y="115"/>
                  </a:lnTo>
                  <a:lnTo>
                    <a:pt x="15" y="116"/>
                  </a:lnTo>
                  <a:lnTo>
                    <a:pt x="17" y="115"/>
                  </a:lnTo>
                  <a:lnTo>
                    <a:pt x="20" y="115"/>
                  </a:lnTo>
                  <a:lnTo>
                    <a:pt x="23" y="113"/>
                  </a:lnTo>
                  <a:lnTo>
                    <a:pt x="26" y="112"/>
                  </a:lnTo>
                  <a:lnTo>
                    <a:pt x="27" y="109"/>
                  </a:lnTo>
                  <a:lnTo>
                    <a:pt x="29" y="107"/>
                  </a:lnTo>
                  <a:lnTo>
                    <a:pt x="29" y="104"/>
                  </a:lnTo>
                  <a:lnTo>
                    <a:pt x="30" y="101"/>
                  </a:lnTo>
                  <a:lnTo>
                    <a:pt x="30" y="30"/>
                  </a:lnTo>
                  <a:lnTo>
                    <a:pt x="212" y="30"/>
                  </a:lnTo>
                  <a:lnTo>
                    <a:pt x="216" y="30"/>
                  </a:lnTo>
                  <a:lnTo>
                    <a:pt x="219" y="29"/>
                  </a:lnTo>
                  <a:lnTo>
                    <a:pt x="221" y="27"/>
                  </a:lnTo>
                  <a:lnTo>
                    <a:pt x="223" y="25"/>
                  </a:lnTo>
                  <a:lnTo>
                    <a:pt x="225" y="23"/>
                  </a:lnTo>
                  <a:lnTo>
                    <a:pt x="226" y="21"/>
                  </a:lnTo>
                  <a:lnTo>
                    <a:pt x="227" y="18"/>
                  </a:lnTo>
                  <a:lnTo>
                    <a:pt x="227" y="15"/>
                  </a:lnTo>
                  <a:lnTo>
                    <a:pt x="227" y="11"/>
                  </a:lnTo>
                  <a:lnTo>
                    <a:pt x="226" y="9"/>
                  </a:lnTo>
                  <a:lnTo>
                    <a:pt x="225" y="6"/>
                  </a:lnTo>
                  <a:lnTo>
                    <a:pt x="223" y="4"/>
                  </a:lnTo>
                  <a:lnTo>
                    <a:pt x="221" y="3"/>
                  </a:lnTo>
                  <a:lnTo>
                    <a:pt x="219" y="1"/>
                  </a:lnTo>
                  <a:lnTo>
                    <a:pt x="216" y="0"/>
                  </a:lnTo>
                  <a:lnTo>
                    <a:pt x="2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0" name="Freeform 123">
              <a:extLst>
                <a:ext uri="{FF2B5EF4-FFF2-40B4-BE49-F238E27FC236}">
                  <a16:creationId xmlns:a16="http://schemas.microsoft.com/office/drawing/2014/main" id="{64309393-53F0-4B4F-A675-C32D2C1C67FA}"/>
                </a:ext>
              </a:extLst>
            </p:cNvPr>
            <p:cNvSpPr>
              <a:spLocks/>
            </p:cNvSpPr>
            <p:nvPr/>
          </p:nvSpPr>
          <p:spPr bwMode="auto">
            <a:xfrm>
              <a:off x="8307388" y="2520633"/>
              <a:ext cx="36513" cy="63500"/>
            </a:xfrm>
            <a:custGeom>
              <a:avLst/>
              <a:gdLst>
                <a:gd name="T0" fmla="*/ 87 w 117"/>
                <a:gd name="T1" fmla="*/ 15 h 196"/>
                <a:gd name="T2" fmla="*/ 87 w 117"/>
                <a:gd name="T3" fmla="*/ 166 h 196"/>
                <a:gd name="T4" fmla="*/ 30 w 117"/>
                <a:gd name="T5" fmla="*/ 166 h 196"/>
                <a:gd name="T6" fmla="*/ 30 w 117"/>
                <a:gd name="T7" fmla="*/ 92 h 196"/>
                <a:gd name="T8" fmla="*/ 30 w 117"/>
                <a:gd name="T9" fmla="*/ 88 h 196"/>
                <a:gd name="T10" fmla="*/ 29 w 117"/>
                <a:gd name="T11" fmla="*/ 86 h 196"/>
                <a:gd name="T12" fmla="*/ 28 w 117"/>
                <a:gd name="T13" fmla="*/ 83 h 196"/>
                <a:gd name="T14" fmla="*/ 26 w 117"/>
                <a:gd name="T15" fmla="*/ 81 h 196"/>
                <a:gd name="T16" fmla="*/ 24 w 117"/>
                <a:gd name="T17" fmla="*/ 80 h 196"/>
                <a:gd name="T18" fmla="*/ 22 w 117"/>
                <a:gd name="T19" fmla="*/ 78 h 196"/>
                <a:gd name="T20" fmla="*/ 18 w 117"/>
                <a:gd name="T21" fmla="*/ 77 h 196"/>
                <a:gd name="T22" fmla="*/ 15 w 117"/>
                <a:gd name="T23" fmla="*/ 77 h 196"/>
                <a:gd name="T24" fmla="*/ 12 w 117"/>
                <a:gd name="T25" fmla="*/ 77 h 196"/>
                <a:gd name="T26" fmla="*/ 10 w 117"/>
                <a:gd name="T27" fmla="*/ 78 h 196"/>
                <a:gd name="T28" fmla="*/ 7 w 117"/>
                <a:gd name="T29" fmla="*/ 80 h 196"/>
                <a:gd name="T30" fmla="*/ 5 w 117"/>
                <a:gd name="T31" fmla="*/ 81 h 196"/>
                <a:gd name="T32" fmla="*/ 3 w 117"/>
                <a:gd name="T33" fmla="*/ 83 h 196"/>
                <a:gd name="T34" fmla="*/ 1 w 117"/>
                <a:gd name="T35" fmla="*/ 86 h 196"/>
                <a:gd name="T36" fmla="*/ 0 w 117"/>
                <a:gd name="T37" fmla="*/ 88 h 196"/>
                <a:gd name="T38" fmla="*/ 0 w 117"/>
                <a:gd name="T39" fmla="*/ 92 h 196"/>
                <a:gd name="T40" fmla="*/ 0 w 117"/>
                <a:gd name="T41" fmla="*/ 181 h 196"/>
                <a:gd name="T42" fmla="*/ 0 w 117"/>
                <a:gd name="T43" fmla="*/ 184 h 196"/>
                <a:gd name="T44" fmla="*/ 1 w 117"/>
                <a:gd name="T45" fmla="*/ 186 h 196"/>
                <a:gd name="T46" fmla="*/ 3 w 117"/>
                <a:gd name="T47" fmla="*/ 189 h 196"/>
                <a:gd name="T48" fmla="*/ 5 w 117"/>
                <a:gd name="T49" fmla="*/ 191 h 196"/>
                <a:gd name="T50" fmla="*/ 7 w 117"/>
                <a:gd name="T51" fmla="*/ 193 h 196"/>
                <a:gd name="T52" fmla="*/ 10 w 117"/>
                <a:gd name="T53" fmla="*/ 194 h 196"/>
                <a:gd name="T54" fmla="*/ 12 w 117"/>
                <a:gd name="T55" fmla="*/ 196 h 196"/>
                <a:gd name="T56" fmla="*/ 15 w 117"/>
                <a:gd name="T57" fmla="*/ 196 h 196"/>
                <a:gd name="T58" fmla="*/ 102 w 117"/>
                <a:gd name="T59" fmla="*/ 196 h 196"/>
                <a:gd name="T60" fmla="*/ 104 w 117"/>
                <a:gd name="T61" fmla="*/ 196 h 196"/>
                <a:gd name="T62" fmla="*/ 107 w 117"/>
                <a:gd name="T63" fmla="*/ 194 h 196"/>
                <a:gd name="T64" fmla="*/ 110 w 117"/>
                <a:gd name="T65" fmla="*/ 193 h 196"/>
                <a:gd name="T66" fmla="*/ 113 w 117"/>
                <a:gd name="T67" fmla="*/ 191 h 196"/>
                <a:gd name="T68" fmla="*/ 114 w 117"/>
                <a:gd name="T69" fmla="*/ 189 h 196"/>
                <a:gd name="T70" fmla="*/ 116 w 117"/>
                <a:gd name="T71" fmla="*/ 187 h 196"/>
                <a:gd name="T72" fmla="*/ 116 w 117"/>
                <a:gd name="T73" fmla="*/ 184 h 196"/>
                <a:gd name="T74" fmla="*/ 117 w 117"/>
                <a:gd name="T75" fmla="*/ 181 h 196"/>
                <a:gd name="T76" fmla="*/ 117 w 117"/>
                <a:gd name="T77" fmla="*/ 15 h 196"/>
                <a:gd name="T78" fmla="*/ 116 w 117"/>
                <a:gd name="T79" fmla="*/ 13 h 196"/>
                <a:gd name="T80" fmla="*/ 116 w 117"/>
                <a:gd name="T81" fmla="*/ 10 h 196"/>
                <a:gd name="T82" fmla="*/ 114 w 117"/>
                <a:gd name="T83" fmla="*/ 8 h 196"/>
                <a:gd name="T84" fmla="*/ 113 w 117"/>
                <a:gd name="T85" fmla="*/ 6 h 196"/>
                <a:gd name="T86" fmla="*/ 110 w 117"/>
                <a:gd name="T87" fmla="*/ 4 h 196"/>
                <a:gd name="T88" fmla="*/ 107 w 117"/>
                <a:gd name="T89" fmla="*/ 3 h 196"/>
                <a:gd name="T90" fmla="*/ 104 w 117"/>
                <a:gd name="T91" fmla="*/ 1 h 196"/>
                <a:gd name="T92" fmla="*/ 102 w 117"/>
                <a:gd name="T93" fmla="*/ 0 h 196"/>
                <a:gd name="T94" fmla="*/ 99 w 117"/>
                <a:gd name="T95" fmla="*/ 1 h 196"/>
                <a:gd name="T96" fmla="*/ 96 w 117"/>
                <a:gd name="T97" fmla="*/ 1 h 196"/>
                <a:gd name="T98" fmla="*/ 94 w 117"/>
                <a:gd name="T99" fmla="*/ 4 h 196"/>
                <a:gd name="T100" fmla="*/ 91 w 117"/>
                <a:gd name="T101" fmla="*/ 6 h 196"/>
                <a:gd name="T102" fmla="*/ 89 w 117"/>
                <a:gd name="T103" fmla="*/ 8 h 196"/>
                <a:gd name="T104" fmla="*/ 88 w 117"/>
                <a:gd name="T105" fmla="*/ 10 h 196"/>
                <a:gd name="T106" fmla="*/ 87 w 117"/>
                <a:gd name="T107" fmla="*/ 13 h 196"/>
                <a:gd name="T108" fmla="*/ 87 w 117"/>
                <a:gd name="T109" fmla="*/ 1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7" h="196">
                  <a:moveTo>
                    <a:pt x="87" y="15"/>
                  </a:moveTo>
                  <a:lnTo>
                    <a:pt x="87" y="166"/>
                  </a:lnTo>
                  <a:lnTo>
                    <a:pt x="30" y="166"/>
                  </a:lnTo>
                  <a:lnTo>
                    <a:pt x="30" y="92"/>
                  </a:lnTo>
                  <a:lnTo>
                    <a:pt x="30" y="88"/>
                  </a:lnTo>
                  <a:lnTo>
                    <a:pt x="29" y="86"/>
                  </a:lnTo>
                  <a:lnTo>
                    <a:pt x="28" y="83"/>
                  </a:lnTo>
                  <a:lnTo>
                    <a:pt x="26" y="81"/>
                  </a:lnTo>
                  <a:lnTo>
                    <a:pt x="24" y="80"/>
                  </a:lnTo>
                  <a:lnTo>
                    <a:pt x="22" y="78"/>
                  </a:lnTo>
                  <a:lnTo>
                    <a:pt x="18" y="77"/>
                  </a:lnTo>
                  <a:lnTo>
                    <a:pt x="15" y="77"/>
                  </a:lnTo>
                  <a:lnTo>
                    <a:pt x="12" y="77"/>
                  </a:lnTo>
                  <a:lnTo>
                    <a:pt x="10" y="78"/>
                  </a:lnTo>
                  <a:lnTo>
                    <a:pt x="7" y="80"/>
                  </a:lnTo>
                  <a:lnTo>
                    <a:pt x="5" y="81"/>
                  </a:lnTo>
                  <a:lnTo>
                    <a:pt x="3" y="83"/>
                  </a:lnTo>
                  <a:lnTo>
                    <a:pt x="1" y="86"/>
                  </a:lnTo>
                  <a:lnTo>
                    <a:pt x="0" y="88"/>
                  </a:lnTo>
                  <a:lnTo>
                    <a:pt x="0" y="92"/>
                  </a:lnTo>
                  <a:lnTo>
                    <a:pt x="0" y="181"/>
                  </a:lnTo>
                  <a:lnTo>
                    <a:pt x="0" y="184"/>
                  </a:lnTo>
                  <a:lnTo>
                    <a:pt x="1" y="186"/>
                  </a:lnTo>
                  <a:lnTo>
                    <a:pt x="3" y="189"/>
                  </a:lnTo>
                  <a:lnTo>
                    <a:pt x="5" y="191"/>
                  </a:lnTo>
                  <a:lnTo>
                    <a:pt x="7" y="193"/>
                  </a:lnTo>
                  <a:lnTo>
                    <a:pt x="10" y="194"/>
                  </a:lnTo>
                  <a:lnTo>
                    <a:pt x="12" y="196"/>
                  </a:lnTo>
                  <a:lnTo>
                    <a:pt x="15" y="196"/>
                  </a:lnTo>
                  <a:lnTo>
                    <a:pt x="102" y="196"/>
                  </a:lnTo>
                  <a:lnTo>
                    <a:pt x="104" y="196"/>
                  </a:lnTo>
                  <a:lnTo>
                    <a:pt x="107" y="194"/>
                  </a:lnTo>
                  <a:lnTo>
                    <a:pt x="110" y="193"/>
                  </a:lnTo>
                  <a:lnTo>
                    <a:pt x="113" y="191"/>
                  </a:lnTo>
                  <a:lnTo>
                    <a:pt x="114" y="189"/>
                  </a:lnTo>
                  <a:lnTo>
                    <a:pt x="116" y="187"/>
                  </a:lnTo>
                  <a:lnTo>
                    <a:pt x="116" y="184"/>
                  </a:lnTo>
                  <a:lnTo>
                    <a:pt x="117" y="181"/>
                  </a:lnTo>
                  <a:lnTo>
                    <a:pt x="117" y="15"/>
                  </a:lnTo>
                  <a:lnTo>
                    <a:pt x="116" y="13"/>
                  </a:lnTo>
                  <a:lnTo>
                    <a:pt x="116" y="10"/>
                  </a:lnTo>
                  <a:lnTo>
                    <a:pt x="114" y="8"/>
                  </a:lnTo>
                  <a:lnTo>
                    <a:pt x="113" y="6"/>
                  </a:lnTo>
                  <a:lnTo>
                    <a:pt x="110" y="4"/>
                  </a:lnTo>
                  <a:lnTo>
                    <a:pt x="107" y="3"/>
                  </a:lnTo>
                  <a:lnTo>
                    <a:pt x="104" y="1"/>
                  </a:lnTo>
                  <a:lnTo>
                    <a:pt x="102" y="0"/>
                  </a:lnTo>
                  <a:lnTo>
                    <a:pt x="99" y="1"/>
                  </a:lnTo>
                  <a:lnTo>
                    <a:pt x="96" y="1"/>
                  </a:lnTo>
                  <a:lnTo>
                    <a:pt x="94" y="4"/>
                  </a:lnTo>
                  <a:lnTo>
                    <a:pt x="91" y="6"/>
                  </a:lnTo>
                  <a:lnTo>
                    <a:pt x="89" y="8"/>
                  </a:lnTo>
                  <a:lnTo>
                    <a:pt x="88" y="10"/>
                  </a:lnTo>
                  <a:lnTo>
                    <a:pt x="87" y="13"/>
                  </a:lnTo>
                  <a:lnTo>
                    <a:pt x="8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1" name="Freeform 124">
              <a:extLst>
                <a:ext uri="{FF2B5EF4-FFF2-40B4-BE49-F238E27FC236}">
                  <a16:creationId xmlns:a16="http://schemas.microsoft.com/office/drawing/2014/main" id="{3C435ECE-54B0-4162-B580-39548E70E0AB}"/>
                </a:ext>
              </a:extLst>
            </p:cNvPr>
            <p:cNvSpPr>
              <a:spLocks/>
            </p:cNvSpPr>
            <p:nvPr/>
          </p:nvSpPr>
          <p:spPr bwMode="auto">
            <a:xfrm>
              <a:off x="8267700" y="2546033"/>
              <a:ext cx="9525" cy="44450"/>
            </a:xfrm>
            <a:custGeom>
              <a:avLst/>
              <a:gdLst>
                <a:gd name="T0" fmla="*/ 15 w 30"/>
                <a:gd name="T1" fmla="*/ 143 h 143"/>
                <a:gd name="T2" fmla="*/ 18 w 30"/>
                <a:gd name="T3" fmla="*/ 143 h 143"/>
                <a:gd name="T4" fmla="*/ 21 w 30"/>
                <a:gd name="T5" fmla="*/ 142 h 143"/>
                <a:gd name="T6" fmla="*/ 23 w 30"/>
                <a:gd name="T7" fmla="*/ 141 h 143"/>
                <a:gd name="T8" fmla="*/ 26 w 30"/>
                <a:gd name="T9" fmla="*/ 139 h 143"/>
                <a:gd name="T10" fmla="*/ 28 w 30"/>
                <a:gd name="T11" fmla="*/ 137 h 143"/>
                <a:gd name="T12" fmla="*/ 29 w 30"/>
                <a:gd name="T13" fmla="*/ 135 h 143"/>
                <a:gd name="T14" fmla="*/ 30 w 30"/>
                <a:gd name="T15" fmla="*/ 131 h 143"/>
                <a:gd name="T16" fmla="*/ 30 w 30"/>
                <a:gd name="T17" fmla="*/ 128 h 143"/>
                <a:gd name="T18" fmla="*/ 30 w 30"/>
                <a:gd name="T19" fmla="*/ 15 h 143"/>
                <a:gd name="T20" fmla="*/ 30 w 30"/>
                <a:gd name="T21" fmla="*/ 11 h 143"/>
                <a:gd name="T22" fmla="*/ 29 w 30"/>
                <a:gd name="T23" fmla="*/ 9 h 143"/>
                <a:gd name="T24" fmla="*/ 28 w 30"/>
                <a:gd name="T25" fmla="*/ 6 h 143"/>
                <a:gd name="T26" fmla="*/ 26 w 30"/>
                <a:gd name="T27" fmla="*/ 4 h 143"/>
                <a:gd name="T28" fmla="*/ 23 w 30"/>
                <a:gd name="T29" fmla="*/ 3 h 143"/>
                <a:gd name="T30" fmla="*/ 21 w 30"/>
                <a:gd name="T31" fmla="*/ 1 h 143"/>
                <a:gd name="T32" fmla="*/ 18 w 30"/>
                <a:gd name="T33" fmla="*/ 0 h 143"/>
                <a:gd name="T34" fmla="*/ 15 w 30"/>
                <a:gd name="T35" fmla="*/ 0 h 143"/>
                <a:gd name="T36" fmla="*/ 12 w 30"/>
                <a:gd name="T37" fmla="*/ 0 h 143"/>
                <a:gd name="T38" fmla="*/ 10 w 30"/>
                <a:gd name="T39" fmla="*/ 1 h 143"/>
                <a:gd name="T40" fmla="*/ 6 w 30"/>
                <a:gd name="T41" fmla="*/ 3 h 143"/>
                <a:gd name="T42" fmla="*/ 4 w 30"/>
                <a:gd name="T43" fmla="*/ 4 h 143"/>
                <a:gd name="T44" fmla="*/ 3 w 30"/>
                <a:gd name="T45" fmla="*/ 6 h 143"/>
                <a:gd name="T46" fmla="*/ 1 w 30"/>
                <a:gd name="T47" fmla="*/ 9 h 143"/>
                <a:gd name="T48" fmla="*/ 1 w 30"/>
                <a:gd name="T49" fmla="*/ 11 h 143"/>
                <a:gd name="T50" fmla="*/ 0 w 30"/>
                <a:gd name="T51" fmla="*/ 15 h 143"/>
                <a:gd name="T52" fmla="*/ 0 w 30"/>
                <a:gd name="T53" fmla="*/ 128 h 143"/>
                <a:gd name="T54" fmla="*/ 1 w 30"/>
                <a:gd name="T55" fmla="*/ 131 h 143"/>
                <a:gd name="T56" fmla="*/ 1 w 30"/>
                <a:gd name="T57" fmla="*/ 135 h 143"/>
                <a:gd name="T58" fmla="*/ 3 w 30"/>
                <a:gd name="T59" fmla="*/ 137 h 143"/>
                <a:gd name="T60" fmla="*/ 4 w 30"/>
                <a:gd name="T61" fmla="*/ 139 h 143"/>
                <a:gd name="T62" fmla="*/ 6 w 30"/>
                <a:gd name="T63" fmla="*/ 141 h 143"/>
                <a:gd name="T64" fmla="*/ 10 w 30"/>
                <a:gd name="T65" fmla="*/ 142 h 143"/>
                <a:gd name="T66" fmla="*/ 12 w 30"/>
                <a:gd name="T67" fmla="*/ 143 h 143"/>
                <a:gd name="T68" fmla="*/ 15 w 30"/>
                <a:gd name="T6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143">
                  <a:moveTo>
                    <a:pt x="15" y="143"/>
                  </a:moveTo>
                  <a:lnTo>
                    <a:pt x="18" y="143"/>
                  </a:lnTo>
                  <a:lnTo>
                    <a:pt x="21" y="142"/>
                  </a:lnTo>
                  <a:lnTo>
                    <a:pt x="23" y="141"/>
                  </a:lnTo>
                  <a:lnTo>
                    <a:pt x="26" y="139"/>
                  </a:lnTo>
                  <a:lnTo>
                    <a:pt x="28" y="137"/>
                  </a:lnTo>
                  <a:lnTo>
                    <a:pt x="29" y="135"/>
                  </a:lnTo>
                  <a:lnTo>
                    <a:pt x="30" y="131"/>
                  </a:lnTo>
                  <a:lnTo>
                    <a:pt x="30" y="128"/>
                  </a:lnTo>
                  <a:lnTo>
                    <a:pt x="30" y="15"/>
                  </a:lnTo>
                  <a:lnTo>
                    <a:pt x="30" y="11"/>
                  </a:lnTo>
                  <a:lnTo>
                    <a:pt x="29" y="9"/>
                  </a:lnTo>
                  <a:lnTo>
                    <a:pt x="28" y="6"/>
                  </a:lnTo>
                  <a:lnTo>
                    <a:pt x="26" y="4"/>
                  </a:lnTo>
                  <a:lnTo>
                    <a:pt x="23" y="3"/>
                  </a:lnTo>
                  <a:lnTo>
                    <a:pt x="21" y="1"/>
                  </a:lnTo>
                  <a:lnTo>
                    <a:pt x="18" y="0"/>
                  </a:lnTo>
                  <a:lnTo>
                    <a:pt x="15" y="0"/>
                  </a:lnTo>
                  <a:lnTo>
                    <a:pt x="12" y="0"/>
                  </a:lnTo>
                  <a:lnTo>
                    <a:pt x="10" y="1"/>
                  </a:lnTo>
                  <a:lnTo>
                    <a:pt x="6" y="3"/>
                  </a:lnTo>
                  <a:lnTo>
                    <a:pt x="4" y="4"/>
                  </a:lnTo>
                  <a:lnTo>
                    <a:pt x="3" y="6"/>
                  </a:lnTo>
                  <a:lnTo>
                    <a:pt x="1" y="9"/>
                  </a:lnTo>
                  <a:lnTo>
                    <a:pt x="1" y="11"/>
                  </a:lnTo>
                  <a:lnTo>
                    <a:pt x="0" y="15"/>
                  </a:lnTo>
                  <a:lnTo>
                    <a:pt x="0" y="128"/>
                  </a:lnTo>
                  <a:lnTo>
                    <a:pt x="1" y="131"/>
                  </a:lnTo>
                  <a:lnTo>
                    <a:pt x="1" y="135"/>
                  </a:lnTo>
                  <a:lnTo>
                    <a:pt x="3" y="137"/>
                  </a:lnTo>
                  <a:lnTo>
                    <a:pt x="4" y="139"/>
                  </a:lnTo>
                  <a:lnTo>
                    <a:pt x="6" y="141"/>
                  </a:lnTo>
                  <a:lnTo>
                    <a:pt x="10" y="142"/>
                  </a:lnTo>
                  <a:lnTo>
                    <a:pt x="12" y="143"/>
                  </a:lnTo>
                  <a:lnTo>
                    <a:pt x="15"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2" name="Freeform 125">
              <a:extLst>
                <a:ext uri="{FF2B5EF4-FFF2-40B4-BE49-F238E27FC236}">
                  <a16:creationId xmlns:a16="http://schemas.microsoft.com/office/drawing/2014/main" id="{084B28C1-3D84-477F-BF35-CF39BFE9CCAC}"/>
                </a:ext>
              </a:extLst>
            </p:cNvPr>
            <p:cNvSpPr>
              <a:spLocks/>
            </p:cNvSpPr>
            <p:nvPr/>
          </p:nvSpPr>
          <p:spPr bwMode="auto">
            <a:xfrm>
              <a:off x="8296275" y="2496820"/>
              <a:ext cx="44450" cy="9525"/>
            </a:xfrm>
            <a:custGeom>
              <a:avLst/>
              <a:gdLst>
                <a:gd name="T0" fmla="*/ 15 w 143"/>
                <a:gd name="T1" fmla="*/ 30 h 30"/>
                <a:gd name="T2" fmla="*/ 128 w 143"/>
                <a:gd name="T3" fmla="*/ 30 h 30"/>
                <a:gd name="T4" fmla="*/ 132 w 143"/>
                <a:gd name="T5" fmla="*/ 29 h 30"/>
                <a:gd name="T6" fmla="*/ 134 w 143"/>
                <a:gd name="T7" fmla="*/ 29 h 30"/>
                <a:gd name="T8" fmla="*/ 137 w 143"/>
                <a:gd name="T9" fmla="*/ 27 h 30"/>
                <a:gd name="T10" fmla="*/ 139 w 143"/>
                <a:gd name="T11" fmla="*/ 26 h 30"/>
                <a:gd name="T12" fmla="*/ 140 w 143"/>
                <a:gd name="T13" fmla="*/ 24 h 30"/>
                <a:gd name="T14" fmla="*/ 142 w 143"/>
                <a:gd name="T15" fmla="*/ 21 h 30"/>
                <a:gd name="T16" fmla="*/ 143 w 143"/>
                <a:gd name="T17" fmla="*/ 19 h 30"/>
                <a:gd name="T18" fmla="*/ 143 w 143"/>
                <a:gd name="T19" fmla="*/ 15 h 30"/>
                <a:gd name="T20" fmla="*/ 143 w 143"/>
                <a:gd name="T21" fmla="*/ 12 h 30"/>
                <a:gd name="T22" fmla="*/ 142 w 143"/>
                <a:gd name="T23" fmla="*/ 9 h 30"/>
                <a:gd name="T24" fmla="*/ 140 w 143"/>
                <a:gd name="T25" fmla="*/ 7 h 30"/>
                <a:gd name="T26" fmla="*/ 139 w 143"/>
                <a:gd name="T27" fmla="*/ 5 h 30"/>
                <a:gd name="T28" fmla="*/ 137 w 143"/>
                <a:gd name="T29" fmla="*/ 2 h 30"/>
                <a:gd name="T30" fmla="*/ 134 w 143"/>
                <a:gd name="T31" fmla="*/ 1 h 30"/>
                <a:gd name="T32" fmla="*/ 132 w 143"/>
                <a:gd name="T33" fmla="*/ 0 h 30"/>
                <a:gd name="T34" fmla="*/ 128 w 143"/>
                <a:gd name="T35" fmla="*/ 0 h 30"/>
                <a:gd name="T36" fmla="*/ 15 w 143"/>
                <a:gd name="T37" fmla="*/ 0 h 30"/>
                <a:gd name="T38" fmla="*/ 12 w 143"/>
                <a:gd name="T39" fmla="*/ 0 h 30"/>
                <a:gd name="T40" fmla="*/ 8 w 143"/>
                <a:gd name="T41" fmla="*/ 1 h 30"/>
                <a:gd name="T42" fmla="*/ 6 w 143"/>
                <a:gd name="T43" fmla="*/ 2 h 30"/>
                <a:gd name="T44" fmla="*/ 4 w 143"/>
                <a:gd name="T45" fmla="*/ 5 h 30"/>
                <a:gd name="T46" fmla="*/ 2 w 143"/>
                <a:gd name="T47" fmla="*/ 7 h 30"/>
                <a:gd name="T48" fmla="*/ 1 w 143"/>
                <a:gd name="T49" fmla="*/ 9 h 30"/>
                <a:gd name="T50" fmla="*/ 0 w 143"/>
                <a:gd name="T51" fmla="*/ 12 h 30"/>
                <a:gd name="T52" fmla="*/ 0 w 143"/>
                <a:gd name="T53" fmla="*/ 15 h 30"/>
                <a:gd name="T54" fmla="*/ 0 w 143"/>
                <a:gd name="T55" fmla="*/ 19 h 30"/>
                <a:gd name="T56" fmla="*/ 1 w 143"/>
                <a:gd name="T57" fmla="*/ 21 h 30"/>
                <a:gd name="T58" fmla="*/ 2 w 143"/>
                <a:gd name="T59" fmla="*/ 24 h 30"/>
                <a:gd name="T60" fmla="*/ 4 w 143"/>
                <a:gd name="T61" fmla="*/ 26 h 30"/>
                <a:gd name="T62" fmla="*/ 6 w 143"/>
                <a:gd name="T63" fmla="*/ 27 h 30"/>
                <a:gd name="T64" fmla="*/ 8 w 143"/>
                <a:gd name="T65" fmla="*/ 29 h 30"/>
                <a:gd name="T66" fmla="*/ 12 w 143"/>
                <a:gd name="T67" fmla="*/ 29 h 30"/>
                <a:gd name="T68" fmla="*/ 15 w 14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30">
                  <a:moveTo>
                    <a:pt x="15" y="30"/>
                  </a:moveTo>
                  <a:lnTo>
                    <a:pt x="128" y="30"/>
                  </a:lnTo>
                  <a:lnTo>
                    <a:pt x="132" y="29"/>
                  </a:lnTo>
                  <a:lnTo>
                    <a:pt x="134" y="29"/>
                  </a:lnTo>
                  <a:lnTo>
                    <a:pt x="137" y="27"/>
                  </a:lnTo>
                  <a:lnTo>
                    <a:pt x="139" y="26"/>
                  </a:lnTo>
                  <a:lnTo>
                    <a:pt x="140" y="24"/>
                  </a:lnTo>
                  <a:lnTo>
                    <a:pt x="142" y="21"/>
                  </a:lnTo>
                  <a:lnTo>
                    <a:pt x="143" y="19"/>
                  </a:lnTo>
                  <a:lnTo>
                    <a:pt x="143" y="15"/>
                  </a:lnTo>
                  <a:lnTo>
                    <a:pt x="143" y="12"/>
                  </a:lnTo>
                  <a:lnTo>
                    <a:pt x="142" y="9"/>
                  </a:lnTo>
                  <a:lnTo>
                    <a:pt x="140" y="7"/>
                  </a:lnTo>
                  <a:lnTo>
                    <a:pt x="139" y="5"/>
                  </a:lnTo>
                  <a:lnTo>
                    <a:pt x="137" y="2"/>
                  </a:lnTo>
                  <a:lnTo>
                    <a:pt x="134" y="1"/>
                  </a:lnTo>
                  <a:lnTo>
                    <a:pt x="132" y="0"/>
                  </a:lnTo>
                  <a:lnTo>
                    <a:pt x="128" y="0"/>
                  </a:lnTo>
                  <a:lnTo>
                    <a:pt x="15" y="0"/>
                  </a:lnTo>
                  <a:lnTo>
                    <a:pt x="12" y="0"/>
                  </a:lnTo>
                  <a:lnTo>
                    <a:pt x="8" y="1"/>
                  </a:lnTo>
                  <a:lnTo>
                    <a:pt x="6" y="2"/>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3" name="Freeform 126">
              <a:extLst>
                <a:ext uri="{FF2B5EF4-FFF2-40B4-BE49-F238E27FC236}">
                  <a16:creationId xmlns:a16="http://schemas.microsoft.com/office/drawing/2014/main" id="{F6EFB314-00A2-4071-8AFD-E5F359C9370A}"/>
                </a:ext>
              </a:extLst>
            </p:cNvPr>
            <p:cNvSpPr>
              <a:spLocks/>
            </p:cNvSpPr>
            <p:nvPr/>
          </p:nvSpPr>
          <p:spPr bwMode="auto">
            <a:xfrm>
              <a:off x="8267700" y="2496820"/>
              <a:ext cx="38100" cy="38100"/>
            </a:xfrm>
            <a:custGeom>
              <a:avLst/>
              <a:gdLst>
                <a:gd name="T0" fmla="*/ 15 w 117"/>
                <a:gd name="T1" fmla="*/ 120 h 120"/>
                <a:gd name="T2" fmla="*/ 102 w 117"/>
                <a:gd name="T3" fmla="*/ 120 h 120"/>
                <a:gd name="T4" fmla="*/ 105 w 117"/>
                <a:gd name="T5" fmla="*/ 120 h 120"/>
                <a:gd name="T6" fmla="*/ 107 w 117"/>
                <a:gd name="T7" fmla="*/ 119 h 120"/>
                <a:gd name="T8" fmla="*/ 110 w 117"/>
                <a:gd name="T9" fmla="*/ 117 h 120"/>
                <a:gd name="T10" fmla="*/ 112 w 117"/>
                <a:gd name="T11" fmla="*/ 116 h 120"/>
                <a:gd name="T12" fmla="*/ 114 w 117"/>
                <a:gd name="T13" fmla="*/ 114 h 120"/>
                <a:gd name="T14" fmla="*/ 116 w 117"/>
                <a:gd name="T15" fmla="*/ 111 h 120"/>
                <a:gd name="T16" fmla="*/ 117 w 117"/>
                <a:gd name="T17" fmla="*/ 109 h 120"/>
                <a:gd name="T18" fmla="*/ 117 w 117"/>
                <a:gd name="T19" fmla="*/ 105 h 120"/>
                <a:gd name="T20" fmla="*/ 117 w 117"/>
                <a:gd name="T21" fmla="*/ 102 h 120"/>
                <a:gd name="T22" fmla="*/ 116 w 117"/>
                <a:gd name="T23" fmla="*/ 99 h 120"/>
                <a:gd name="T24" fmla="*/ 114 w 117"/>
                <a:gd name="T25" fmla="*/ 97 h 120"/>
                <a:gd name="T26" fmla="*/ 112 w 117"/>
                <a:gd name="T27" fmla="*/ 95 h 120"/>
                <a:gd name="T28" fmla="*/ 110 w 117"/>
                <a:gd name="T29" fmla="*/ 93 h 120"/>
                <a:gd name="T30" fmla="*/ 107 w 117"/>
                <a:gd name="T31" fmla="*/ 91 h 120"/>
                <a:gd name="T32" fmla="*/ 105 w 117"/>
                <a:gd name="T33" fmla="*/ 90 h 120"/>
                <a:gd name="T34" fmla="*/ 102 w 117"/>
                <a:gd name="T35" fmla="*/ 90 h 120"/>
                <a:gd name="T36" fmla="*/ 30 w 117"/>
                <a:gd name="T37" fmla="*/ 90 h 120"/>
                <a:gd name="T38" fmla="*/ 30 w 117"/>
                <a:gd name="T39" fmla="*/ 15 h 120"/>
                <a:gd name="T40" fmla="*/ 30 w 117"/>
                <a:gd name="T41" fmla="*/ 12 h 120"/>
                <a:gd name="T42" fmla="*/ 29 w 117"/>
                <a:gd name="T43" fmla="*/ 9 h 120"/>
                <a:gd name="T44" fmla="*/ 28 w 117"/>
                <a:gd name="T45" fmla="*/ 7 h 120"/>
                <a:gd name="T46" fmla="*/ 26 w 117"/>
                <a:gd name="T47" fmla="*/ 5 h 120"/>
                <a:gd name="T48" fmla="*/ 23 w 117"/>
                <a:gd name="T49" fmla="*/ 2 h 120"/>
                <a:gd name="T50" fmla="*/ 21 w 117"/>
                <a:gd name="T51" fmla="*/ 1 h 120"/>
                <a:gd name="T52" fmla="*/ 18 w 117"/>
                <a:gd name="T53" fmla="*/ 0 h 120"/>
                <a:gd name="T54" fmla="*/ 15 w 117"/>
                <a:gd name="T55" fmla="*/ 0 h 120"/>
                <a:gd name="T56" fmla="*/ 12 w 117"/>
                <a:gd name="T57" fmla="*/ 0 h 120"/>
                <a:gd name="T58" fmla="*/ 10 w 117"/>
                <a:gd name="T59" fmla="*/ 1 h 120"/>
                <a:gd name="T60" fmla="*/ 6 w 117"/>
                <a:gd name="T61" fmla="*/ 2 h 120"/>
                <a:gd name="T62" fmla="*/ 4 w 117"/>
                <a:gd name="T63" fmla="*/ 5 h 120"/>
                <a:gd name="T64" fmla="*/ 3 w 117"/>
                <a:gd name="T65" fmla="*/ 7 h 120"/>
                <a:gd name="T66" fmla="*/ 1 w 117"/>
                <a:gd name="T67" fmla="*/ 9 h 120"/>
                <a:gd name="T68" fmla="*/ 1 w 117"/>
                <a:gd name="T69" fmla="*/ 12 h 120"/>
                <a:gd name="T70" fmla="*/ 0 w 117"/>
                <a:gd name="T71" fmla="*/ 15 h 120"/>
                <a:gd name="T72" fmla="*/ 0 w 117"/>
                <a:gd name="T73" fmla="*/ 105 h 120"/>
                <a:gd name="T74" fmla="*/ 1 w 117"/>
                <a:gd name="T75" fmla="*/ 109 h 120"/>
                <a:gd name="T76" fmla="*/ 1 w 117"/>
                <a:gd name="T77" fmla="*/ 111 h 120"/>
                <a:gd name="T78" fmla="*/ 3 w 117"/>
                <a:gd name="T79" fmla="*/ 114 h 120"/>
                <a:gd name="T80" fmla="*/ 4 w 117"/>
                <a:gd name="T81" fmla="*/ 116 h 120"/>
                <a:gd name="T82" fmla="*/ 6 w 117"/>
                <a:gd name="T83" fmla="*/ 117 h 120"/>
                <a:gd name="T84" fmla="*/ 10 w 117"/>
                <a:gd name="T85" fmla="*/ 119 h 120"/>
                <a:gd name="T86" fmla="*/ 12 w 117"/>
                <a:gd name="T87" fmla="*/ 120 h 120"/>
                <a:gd name="T88" fmla="*/ 15 w 117"/>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20">
                  <a:moveTo>
                    <a:pt x="15" y="120"/>
                  </a:moveTo>
                  <a:lnTo>
                    <a:pt x="102" y="120"/>
                  </a:lnTo>
                  <a:lnTo>
                    <a:pt x="105" y="120"/>
                  </a:lnTo>
                  <a:lnTo>
                    <a:pt x="107" y="119"/>
                  </a:lnTo>
                  <a:lnTo>
                    <a:pt x="110" y="117"/>
                  </a:lnTo>
                  <a:lnTo>
                    <a:pt x="112" y="116"/>
                  </a:lnTo>
                  <a:lnTo>
                    <a:pt x="114" y="114"/>
                  </a:lnTo>
                  <a:lnTo>
                    <a:pt x="116" y="111"/>
                  </a:lnTo>
                  <a:lnTo>
                    <a:pt x="117" y="109"/>
                  </a:lnTo>
                  <a:lnTo>
                    <a:pt x="117" y="105"/>
                  </a:lnTo>
                  <a:lnTo>
                    <a:pt x="117" y="102"/>
                  </a:lnTo>
                  <a:lnTo>
                    <a:pt x="116" y="99"/>
                  </a:lnTo>
                  <a:lnTo>
                    <a:pt x="114" y="97"/>
                  </a:lnTo>
                  <a:lnTo>
                    <a:pt x="112" y="95"/>
                  </a:lnTo>
                  <a:lnTo>
                    <a:pt x="110" y="93"/>
                  </a:lnTo>
                  <a:lnTo>
                    <a:pt x="107" y="91"/>
                  </a:lnTo>
                  <a:lnTo>
                    <a:pt x="105" y="90"/>
                  </a:lnTo>
                  <a:lnTo>
                    <a:pt x="102" y="90"/>
                  </a:lnTo>
                  <a:lnTo>
                    <a:pt x="30" y="90"/>
                  </a:lnTo>
                  <a:lnTo>
                    <a:pt x="30" y="15"/>
                  </a:lnTo>
                  <a:lnTo>
                    <a:pt x="30" y="12"/>
                  </a:lnTo>
                  <a:lnTo>
                    <a:pt x="29" y="9"/>
                  </a:lnTo>
                  <a:lnTo>
                    <a:pt x="28" y="7"/>
                  </a:lnTo>
                  <a:lnTo>
                    <a:pt x="26" y="5"/>
                  </a:lnTo>
                  <a:lnTo>
                    <a:pt x="23" y="2"/>
                  </a:lnTo>
                  <a:lnTo>
                    <a:pt x="21" y="1"/>
                  </a:lnTo>
                  <a:lnTo>
                    <a:pt x="18" y="0"/>
                  </a:lnTo>
                  <a:lnTo>
                    <a:pt x="15" y="0"/>
                  </a:lnTo>
                  <a:lnTo>
                    <a:pt x="12" y="0"/>
                  </a:lnTo>
                  <a:lnTo>
                    <a:pt x="10" y="1"/>
                  </a:lnTo>
                  <a:lnTo>
                    <a:pt x="6" y="2"/>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2"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4" name="Freeform 127">
              <a:extLst>
                <a:ext uri="{FF2B5EF4-FFF2-40B4-BE49-F238E27FC236}">
                  <a16:creationId xmlns:a16="http://schemas.microsoft.com/office/drawing/2014/main" id="{9942B2EC-CF77-4274-AA6D-3A3FF59C43E6}"/>
                </a:ext>
              </a:extLst>
            </p:cNvPr>
            <p:cNvSpPr>
              <a:spLocks/>
            </p:cNvSpPr>
            <p:nvPr/>
          </p:nvSpPr>
          <p:spPr bwMode="auto">
            <a:xfrm>
              <a:off x="8186738" y="2641283"/>
              <a:ext cx="46038" cy="9525"/>
            </a:xfrm>
            <a:custGeom>
              <a:avLst/>
              <a:gdLst>
                <a:gd name="T0" fmla="*/ 128 w 143"/>
                <a:gd name="T1" fmla="*/ 0 h 30"/>
                <a:gd name="T2" fmla="*/ 15 w 143"/>
                <a:gd name="T3" fmla="*/ 0 h 30"/>
                <a:gd name="T4" fmla="*/ 12 w 143"/>
                <a:gd name="T5" fmla="*/ 0 h 30"/>
                <a:gd name="T6" fmla="*/ 8 w 143"/>
                <a:gd name="T7" fmla="*/ 1 h 30"/>
                <a:gd name="T8" fmla="*/ 6 w 143"/>
                <a:gd name="T9" fmla="*/ 2 h 30"/>
                <a:gd name="T10" fmla="*/ 4 w 143"/>
                <a:gd name="T11" fmla="*/ 4 h 30"/>
                <a:gd name="T12" fmla="*/ 2 w 143"/>
                <a:gd name="T13" fmla="*/ 6 h 30"/>
                <a:gd name="T14" fmla="*/ 1 w 143"/>
                <a:gd name="T15" fmla="*/ 10 h 30"/>
                <a:gd name="T16" fmla="*/ 0 w 143"/>
                <a:gd name="T17" fmla="*/ 12 h 30"/>
                <a:gd name="T18" fmla="*/ 0 w 143"/>
                <a:gd name="T19" fmla="*/ 15 h 30"/>
                <a:gd name="T20" fmla="*/ 0 w 143"/>
                <a:gd name="T21" fmla="*/ 18 h 30"/>
                <a:gd name="T22" fmla="*/ 1 w 143"/>
                <a:gd name="T23" fmla="*/ 20 h 30"/>
                <a:gd name="T24" fmla="*/ 2 w 143"/>
                <a:gd name="T25" fmla="*/ 24 h 30"/>
                <a:gd name="T26" fmla="*/ 4 w 143"/>
                <a:gd name="T27" fmla="*/ 26 h 30"/>
                <a:gd name="T28" fmla="*/ 6 w 143"/>
                <a:gd name="T29" fmla="*/ 28 h 30"/>
                <a:gd name="T30" fmla="*/ 8 w 143"/>
                <a:gd name="T31" fmla="*/ 29 h 30"/>
                <a:gd name="T32" fmla="*/ 12 w 143"/>
                <a:gd name="T33" fmla="*/ 30 h 30"/>
                <a:gd name="T34" fmla="*/ 15 w 143"/>
                <a:gd name="T35" fmla="*/ 30 h 30"/>
                <a:gd name="T36" fmla="*/ 128 w 143"/>
                <a:gd name="T37" fmla="*/ 30 h 30"/>
                <a:gd name="T38" fmla="*/ 131 w 143"/>
                <a:gd name="T39" fmla="*/ 30 h 30"/>
                <a:gd name="T40" fmla="*/ 134 w 143"/>
                <a:gd name="T41" fmla="*/ 29 h 30"/>
                <a:gd name="T42" fmla="*/ 136 w 143"/>
                <a:gd name="T43" fmla="*/ 28 h 30"/>
                <a:gd name="T44" fmla="*/ 139 w 143"/>
                <a:gd name="T45" fmla="*/ 26 h 30"/>
                <a:gd name="T46" fmla="*/ 140 w 143"/>
                <a:gd name="T47" fmla="*/ 24 h 30"/>
                <a:gd name="T48" fmla="*/ 142 w 143"/>
                <a:gd name="T49" fmla="*/ 20 h 30"/>
                <a:gd name="T50" fmla="*/ 142 w 143"/>
                <a:gd name="T51" fmla="*/ 18 h 30"/>
                <a:gd name="T52" fmla="*/ 143 w 143"/>
                <a:gd name="T53" fmla="*/ 15 h 30"/>
                <a:gd name="T54" fmla="*/ 142 w 143"/>
                <a:gd name="T55" fmla="*/ 12 h 30"/>
                <a:gd name="T56" fmla="*/ 142 w 143"/>
                <a:gd name="T57" fmla="*/ 10 h 30"/>
                <a:gd name="T58" fmla="*/ 140 w 143"/>
                <a:gd name="T59" fmla="*/ 6 h 30"/>
                <a:gd name="T60" fmla="*/ 139 w 143"/>
                <a:gd name="T61" fmla="*/ 4 h 30"/>
                <a:gd name="T62" fmla="*/ 136 w 143"/>
                <a:gd name="T63" fmla="*/ 2 h 30"/>
                <a:gd name="T64" fmla="*/ 134 w 143"/>
                <a:gd name="T65" fmla="*/ 1 h 30"/>
                <a:gd name="T66" fmla="*/ 131 w 143"/>
                <a:gd name="T67" fmla="*/ 0 h 30"/>
                <a:gd name="T68" fmla="*/ 128 w 143"/>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30">
                  <a:moveTo>
                    <a:pt x="128" y="0"/>
                  </a:moveTo>
                  <a:lnTo>
                    <a:pt x="15" y="0"/>
                  </a:lnTo>
                  <a:lnTo>
                    <a:pt x="12"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2" y="30"/>
                  </a:lnTo>
                  <a:lnTo>
                    <a:pt x="15" y="30"/>
                  </a:lnTo>
                  <a:lnTo>
                    <a:pt x="128" y="30"/>
                  </a:lnTo>
                  <a:lnTo>
                    <a:pt x="131" y="30"/>
                  </a:lnTo>
                  <a:lnTo>
                    <a:pt x="134" y="29"/>
                  </a:lnTo>
                  <a:lnTo>
                    <a:pt x="136" y="28"/>
                  </a:lnTo>
                  <a:lnTo>
                    <a:pt x="139" y="26"/>
                  </a:lnTo>
                  <a:lnTo>
                    <a:pt x="140" y="24"/>
                  </a:lnTo>
                  <a:lnTo>
                    <a:pt x="142" y="20"/>
                  </a:lnTo>
                  <a:lnTo>
                    <a:pt x="142" y="18"/>
                  </a:lnTo>
                  <a:lnTo>
                    <a:pt x="143" y="15"/>
                  </a:lnTo>
                  <a:lnTo>
                    <a:pt x="142" y="12"/>
                  </a:lnTo>
                  <a:lnTo>
                    <a:pt x="142" y="10"/>
                  </a:lnTo>
                  <a:lnTo>
                    <a:pt x="140" y="6"/>
                  </a:lnTo>
                  <a:lnTo>
                    <a:pt x="139" y="4"/>
                  </a:lnTo>
                  <a:lnTo>
                    <a:pt x="136" y="2"/>
                  </a:lnTo>
                  <a:lnTo>
                    <a:pt x="134" y="1"/>
                  </a:lnTo>
                  <a:lnTo>
                    <a:pt x="131" y="0"/>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5" name="Freeform 128">
              <a:extLst>
                <a:ext uri="{FF2B5EF4-FFF2-40B4-BE49-F238E27FC236}">
                  <a16:creationId xmlns:a16="http://schemas.microsoft.com/office/drawing/2014/main" id="{2E3A18EF-3F6D-4EDB-8D09-988EE8BB6F83}"/>
                </a:ext>
              </a:extLst>
            </p:cNvPr>
            <p:cNvSpPr>
              <a:spLocks/>
            </p:cNvSpPr>
            <p:nvPr/>
          </p:nvSpPr>
          <p:spPr bwMode="auto">
            <a:xfrm>
              <a:off x="8162925" y="2630170"/>
              <a:ext cx="33338" cy="49213"/>
            </a:xfrm>
            <a:custGeom>
              <a:avLst/>
              <a:gdLst>
                <a:gd name="T0" fmla="*/ 15 w 106"/>
                <a:gd name="T1" fmla="*/ 154 h 154"/>
                <a:gd name="T2" fmla="*/ 91 w 106"/>
                <a:gd name="T3" fmla="*/ 154 h 154"/>
                <a:gd name="T4" fmla="*/ 93 w 106"/>
                <a:gd name="T5" fmla="*/ 154 h 154"/>
                <a:gd name="T6" fmla="*/ 96 w 106"/>
                <a:gd name="T7" fmla="*/ 153 h 154"/>
                <a:gd name="T8" fmla="*/ 98 w 106"/>
                <a:gd name="T9" fmla="*/ 152 h 154"/>
                <a:gd name="T10" fmla="*/ 101 w 106"/>
                <a:gd name="T11" fmla="*/ 150 h 154"/>
                <a:gd name="T12" fmla="*/ 103 w 106"/>
                <a:gd name="T13" fmla="*/ 147 h 154"/>
                <a:gd name="T14" fmla="*/ 105 w 106"/>
                <a:gd name="T15" fmla="*/ 145 h 154"/>
                <a:gd name="T16" fmla="*/ 105 w 106"/>
                <a:gd name="T17" fmla="*/ 142 h 154"/>
                <a:gd name="T18" fmla="*/ 106 w 106"/>
                <a:gd name="T19" fmla="*/ 139 h 154"/>
                <a:gd name="T20" fmla="*/ 105 w 106"/>
                <a:gd name="T21" fmla="*/ 137 h 154"/>
                <a:gd name="T22" fmla="*/ 105 w 106"/>
                <a:gd name="T23" fmla="*/ 133 h 154"/>
                <a:gd name="T24" fmla="*/ 103 w 106"/>
                <a:gd name="T25" fmla="*/ 131 h 154"/>
                <a:gd name="T26" fmla="*/ 101 w 106"/>
                <a:gd name="T27" fmla="*/ 129 h 154"/>
                <a:gd name="T28" fmla="*/ 98 w 106"/>
                <a:gd name="T29" fmla="*/ 127 h 154"/>
                <a:gd name="T30" fmla="*/ 96 w 106"/>
                <a:gd name="T31" fmla="*/ 126 h 154"/>
                <a:gd name="T32" fmla="*/ 93 w 106"/>
                <a:gd name="T33" fmla="*/ 125 h 154"/>
                <a:gd name="T34" fmla="*/ 91 w 106"/>
                <a:gd name="T35" fmla="*/ 124 h 154"/>
                <a:gd name="T36" fmla="*/ 30 w 106"/>
                <a:gd name="T37" fmla="*/ 124 h 154"/>
                <a:gd name="T38" fmla="*/ 30 w 106"/>
                <a:gd name="T39" fmla="*/ 15 h 154"/>
                <a:gd name="T40" fmla="*/ 30 w 106"/>
                <a:gd name="T41" fmla="*/ 12 h 154"/>
                <a:gd name="T42" fmla="*/ 29 w 106"/>
                <a:gd name="T43" fmla="*/ 9 h 154"/>
                <a:gd name="T44" fmla="*/ 28 w 106"/>
                <a:gd name="T45" fmla="*/ 7 h 154"/>
                <a:gd name="T46" fmla="*/ 25 w 106"/>
                <a:gd name="T47" fmla="*/ 5 h 154"/>
                <a:gd name="T48" fmla="*/ 23 w 106"/>
                <a:gd name="T49" fmla="*/ 3 h 154"/>
                <a:gd name="T50" fmla="*/ 20 w 106"/>
                <a:gd name="T51" fmla="*/ 2 h 154"/>
                <a:gd name="T52" fmla="*/ 18 w 106"/>
                <a:gd name="T53" fmla="*/ 0 h 154"/>
                <a:gd name="T54" fmla="*/ 15 w 106"/>
                <a:gd name="T55" fmla="*/ 0 h 154"/>
                <a:gd name="T56" fmla="*/ 11 w 106"/>
                <a:gd name="T57" fmla="*/ 0 h 154"/>
                <a:gd name="T58" fmla="*/ 8 w 106"/>
                <a:gd name="T59" fmla="*/ 2 h 154"/>
                <a:gd name="T60" fmla="*/ 6 w 106"/>
                <a:gd name="T61" fmla="*/ 3 h 154"/>
                <a:gd name="T62" fmla="*/ 4 w 106"/>
                <a:gd name="T63" fmla="*/ 5 h 154"/>
                <a:gd name="T64" fmla="*/ 2 w 106"/>
                <a:gd name="T65" fmla="*/ 7 h 154"/>
                <a:gd name="T66" fmla="*/ 1 w 106"/>
                <a:gd name="T67" fmla="*/ 9 h 154"/>
                <a:gd name="T68" fmla="*/ 0 w 106"/>
                <a:gd name="T69" fmla="*/ 12 h 154"/>
                <a:gd name="T70" fmla="*/ 0 w 106"/>
                <a:gd name="T71" fmla="*/ 15 h 154"/>
                <a:gd name="T72" fmla="*/ 0 w 106"/>
                <a:gd name="T73" fmla="*/ 139 h 154"/>
                <a:gd name="T74" fmla="*/ 0 w 106"/>
                <a:gd name="T75" fmla="*/ 142 h 154"/>
                <a:gd name="T76" fmla="*/ 1 w 106"/>
                <a:gd name="T77" fmla="*/ 145 h 154"/>
                <a:gd name="T78" fmla="*/ 2 w 106"/>
                <a:gd name="T79" fmla="*/ 147 h 154"/>
                <a:gd name="T80" fmla="*/ 4 w 106"/>
                <a:gd name="T81" fmla="*/ 150 h 154"/>
                <a:gd name="T82" fmla="*/ 6 w 106"/>
                <a:gd name="T83" fmla="*/ 152 h 154"/>
                <a:gd name="T84" fmla="*/ 8 w 106"/>
                <a:gd name="T85" fmla="*/ 153 h 154"/>
                <a:gd name="T86" fmla="*/ 11 w 106"/>
                <a:gd name="T87" fmla="*/ 154 h 154"/>
                <a:gd name="T88" fmla="*/ 15 w 106"/>
                <a:gd name="T8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54">
                  <a:moveTo>
                    <a:pt x="15" y="154"/>
                  </a:moveTo>
                  <a:lnTo>
                    <a:pt x="91" y="154"/>
                  </a:lnTo>
                  <a:lnTo>
                    <a:pt x="93" y="154"/>
                  </a:lnTo>
                  <a:lnTo>
                    <a:pt x="96" y="153"/>
                  </a:lnTo>
                  <a:lnTo>
                    <a:pt x="98" y="152"/>
                  </a:lnTo>
                  <a:lnTo>
                    <a:pt x="101" y="150"/>
                  </a:lnTo>
                  <a:lnTo>
                    <a:pt x="103" y="147"/>
                  </a:lnTo>
                  <a:lnTo>
                    <a:pt x="105" y="145"/>
                  </a:lnTo>
                  <a:lnTo>
                    <a:pt x="105" y="142"/>
                  </a:lnTo>
                  <a:lnTo>
                    <a:pt x="106" y="139"/>
                  </a:lnTo>
                  <a:lnTo>
                    <a:pt x="105" y="137"/>
                  </a:lnTo>
                  <a:lnTo>
                    <a:pt x="105" y="133"/>
                  </a:lnTo>
                  <a:lnTo>
                    <a:pt x="103" y="131"/>
                  </a:lnTo>
                  <a:lnTo>
                    <a:pt x="101" y="129"/>
                  </a:lnTo>
                  <a:lnTo>
                    <a:pt x="98" y="127"/>
                  </a:lnTo>
                  <a:lnTo>
                    <a:pt x="96" y="126"/>
                  </a:lnTo>
                  <a:lnTo>
                    <a:pt x="93" y="125"/>
                  </a:lnTo>
                  <a:lnTo>
                    <a:pt x="91" y="124"/>
                  </a:lnTo>
                  <a:lnTo>
                    <a:pt x="30" y="124"/>
                  </a:lnTo>
                  <a:lnTo>
                    <a:pt x="30" y="15"/>
                  </a:lnTo>
                  <a:lnTo>
                    <a:pt x="30" y="12"/>
                  </a:lnTo>
                  <a:lnTo>
                    <a:pt x="29" y="9"/>
                  </a:lnTo>
                  <a:lnTo>
                    <a:pt x="28" y="7"/>
                  </a:lnTo>
                  <a:lnTo>
                    <a:pt x="25" y="5"/>
                  </a:lnTo>
                  <a:lnTo>
                    <a:pt x="23" y="3"/>
                  </a:lnTo>
                  <a:lnTo>
                    <a:pt x="20" y="2"/>
                  </a:lnTo>
                  <a:lnTo>
                    <a:pt x="18" y="0"/>
                  </a:lnTo>
                  <a:lnTo>
                    <a:pt x="15" y="0"/>
                  </a:lnTo>
                  <a:lnTo>
                    <a:pt x="11" y="0"/>
                  </a:lnTo>
                  <a:lnTo>
                    <a:pt x="8" y="2"/>
                  </a:lnTo>
                  <a:lnTo>
                    <a:pt x="6" y="3"/>
                  </a:lnTo>
                  <a:lnTo>
                    <a:pt x="4" y="5"/>
                  </a:lnTo>
                  <a:lnTo>
                    <a:pt x="2" y="7"/>
                  </a:lnTo>
                  <a:lnTo>
                    <a:pt x="1" y="9"/>
                  </a:lnTo>
                  <a:lnTo>
                    <a:pt x="0" y="12"/>
                  </a:lnTo>
                  <a:lnTo>
                    <a:pt x="0" y="15"/>
                  </a:lnTo>
                  <a:lnTo>
                    <a:pt x="0" y="139"/>
                  </a:lnTo>
                  <a:lnTo>
                    <a:pt x="0" y="142"/>
                  </a:lnTo>
                  <a:lnTo>
                    <a:pt x="1" y="145"/>
                  </a:lnTo>
                  <a:lnTo>
                    <a:pt x="2" y="147"/>
                  </a:lnTo>
                  <a:lnTo>
                    <a:pt x="4" y="150"/>
                  </a:lnTo>
                  <a:lnTo>
                    <a:pt x="6" y="152"/>
                  </a:lnTo>
                  <a:lnTo>
                    <a:pt x="8" y="153"/>
                  </a:lnTo>
                  <a:lnTo>
                    <a:pt x="11" y="154"/>
                  </a:lnTo>
                  <a:lnTo>
                    <a:pt x="1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6" name="Freeform 129">
              <a:extLst>
                <a:ext uri="{FF2B5EF4-FFF2-40B4-BE49-F238E27FC236}">
                  <a16:creationId xmlns:a16="http://schemas.microsoft.com/office/drawing/2014/main" id="{E0FCB5C9-97C0-46D5-955D-E2ACBE595C9D}"/>
                </a:ext>
              </a:extLst>
            </p:cNvPr>
            <p:cNvSpPr>
              <a:spLocks/>
            </p:cNvSpPr>
            <p:nvPr/>
          </p:nvSpPr>
          <p:spPr bwMode="auto">
            <a:xfrm>
              <a:off x="8307388" y="2688908"/>
              <a:ext cx="141288" cy="95250"/>
            </a:xfrm>
            <a:custGeom>
              <a:avLst/>
              <a:gdLst>
                <a:gd name="T0" fmla="*/ 342 w 447"/>
                <a:gd name="T1" fmla="*/ 0 h 301"/>
                <a:gd name="T2" fmla="*/ 336 w 447"/>
                <a:gd name="T3" fmla="*/ 2 h 301"/>
                <a:gd name="T4" fmla="*/ 332 w 447"/>
                <a:gd name="T5" fmla="*/ 5 h 301"/>
                <a:gd name="T6" fmla="*/ 328 w 447"/>
                <a:gd name="T7" fmla="*/ 9 h 301"/>
                <a:gd name="T8" fmla="*/ 327 w 447"/>
                <a:gd name="T9" fmla="*/ 16 h 301"/>
                <a:gd name="T10" fmla="*/ 15 w 447"/>
                <a:gd name="T11" fmla="*/ 271 h 301"/>
                <a:gd name="T12" fmla="*/ 10 w 447"/>
                <a:gd name="T13" fmla="*/ 272 h 301"/>
                <a:gd name="T14" fmla="*/ 5 w 447"/>
                <a:gd name="T15" fmla="*/ 275 h 301"/>
                <a:gd name="T16" fmla="*/ 1 w 447"/>
                <a:gd name="T17" fmla="*/ 280 h 301"/>
                <a:gd name="T18" fmla="*/ 0 w 447"/>
                <a:gd name="T19" fmla="*/ 286 h 301"/>
                <a:gd name="T20" fmla="*/ 1 w 447"/>
                <a:gd name="T21" fmla="*/ 292 h 301"/>
                <a:gd name="T22" fmla="*/ 5 w 447"/>
                <a:gd name="T23" fmla="*/ 297 h 301"/>
                <a:gd name="T24" fmla="*/ 10 w 447"/>
                <a:gd name="T25" fmla="*/ 300 h 301"/>
                <a:gd name="T26" fmla="*/ 15 w 447"/>
                <a:gd name="T27" fmla="*/ 301 h 301"/>
                <a:gd name="T28" fmla="*/ 345 w 447"/>
                <a:gd name="T29" fmla="*/ 301 h 301"/>
                <a:gd name="T30" fmla="*/ 351 w 447"/>
                <a:gd name="T31" fmla="*/ 298 h 301"/>
                <a:gd name="T32" fmla="*/ 355 w 447"/>
                <a:gd name="T33" fmla="*/ 295 h 301"/>
                <a:gd name="T34" fmla="*/ 357 w 447"/>
                <a:gd name="T35" fmla="*/ 289 h 301"/>
                <a:gd name="T36" fmla="*/ 357 w 447"/>
                <a:gd name="T37" fmla="*/ 31 h 301"/>
                <a:gd name="T38" fmla="*/ 417 w 447"/>
                <a:gd name="T39" fmla="*/ 134 h 301"/>
                <a:gd name="T40" fmla="*/ 418 w 447"/>
                <a:gd name="T41" fmla="*/ 140 h 301"/>
                <a:gd name="T42" fmla="*/ 422 w 447"/>
                <a:gd name="T43" fmla="*/ 145 h 301"/>
                <a:gd name="T44" fmla="*/ 427 w 447"/>
                <a:gd name="T45" fmla="*/ 148 h 301"/>
                <a:gd name="T46" fmla="*/ 432 w 447"/>
                <a:gd name="T47" fmla="*/ 149 h 301"/>
                <a:gd name="T48" fmla="*/ 438 w 447"/>
                <a:gd name="T49" fmla="*/ 148 h 301"/>
                <a:gd name="T50" fmla="*/ 443 w 447"/>
                <a:gd name="T51" fmla="*/ 145 h 301"/>
                <a:gd name="T52" fmla="*/ 446 w 447"/>
                <a:gd name="T53" fmla="*/ 140 h 301"/>
                <a:gd name="T54" fmla="*/ 447 w 447"/>
                <a:gd name="T55" fmla="*/ 134 h 301"/>
                <a:gd name="T56" fmla="*/ 447 w 447"/>
                <a:gd name="T57" fmla="*/ 13 h 301"/>
                <a:gd name="T58" fmla="*/ 445 w 447"/>
                <a:gd name="T59" fmla="*/ 7 h 301"/>
                <a:gd name="T60" fmla="*/ 441 w 447"/>
                <a:gd name="T61" fmla="*/ 3 h 301"/>
                <a:gd name="T62" fmla="*/ 436 w 447"/>
                <a:gd name="T63" fmla="*/ 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7" h="301">
                  <a:moveTo>
                    <a:pt x="432" y="0"/>
                  </a:moveTo>
                  <a:lnTo>
                    <a:pt x="342" y="0"/>
                  </a:lnTo>
                  <a:lnTo>
                    <a:pt x="339" y="1"/>
                  </a:lnTo>
                  <a:lnTo>
                    <a:pt x="336" y="2"/>
                  </a:lnTo>
                  <a:lnTo>
                    <a:pt x="334" y="3"/>
                  </a:lnTo>
                  <a:lnTo>
                    <a:pt x="332" y="5"/>
                  </a:lnTo>
                  <a:lnTo>
                    <a:pt x="329" y="7"/>
                  </a:lnTo>
                  <a:lnTo>
                    <a:pt x="328" y="9"/>
                  </a:lnTo>
                  <a:lnTo>
                    <a:pt x="327" y="13"/>
                  </a:lnTo>
                  <a:lnTo>
                    <a:pt x="327" y="16"/>
                  </a:lnTo>
                  <a:lnTo>
                    <a:pt x="327" y="271"/>
                  </a:lnTo>
                  <a:lnTo>
                    <a:pt x="15" y="271"/>
                  </a:lnTo>
                  <a:lnTo>
                    <a:pt x="12" y="271"/>
                  </a:lnTo>
                  <a:lnTo>
                    <a:pt x="10" y="272"/>
                  </a:lnTo>
                  <a:lnTo>
                    <a:pt x="7" y="273"/>
                  </a:lnTo>
                  <a:lnTo>
                    <a:pt x="5" y="275"/>
                  </a:lnTo>
                  <a:lnTo>
                    <a:pt x="3" y="278"/>
                  </a:lnTo>
                  <a:lnTo>
                    <a:pt x="1" y="280"/>
                  </a:lnTo>
                  <a:lnTo>
                    <a:pt x="0" y="283"/>
                  </a:lnTo>
                  <a:lnTo>
                    <a:pt x="0" y="286"/>
                  </a:lnTo>
                  <a:lnTo>
                    <a:pt x="0" y="289"/>
                  </a:lnTo>
                  <a:lnTo>
                    <a:pt x="1" y="292"/>
                  </a:lnTo>
                  <a:lnTo>
                    <a:pt x="3" y="295"/>
                  </a:lnTo>
                  <a:lnTo>
                    <a:pt x="5" y="297"/>
                  </a:lnTo>
                  <a:lnTo>
                    <a:pt x="7" y="298"/>
                  </a:lnTo>
                  <a:lnTo>
                    <a:pt x="10" y="300"/>
                  </a:lnTo>
                  <a:lnTo>
                    <a:pt x="12" y="301"/>
                  </a:lnTo>
                  <a:lnTo>
                    <a:pt x="15" y="301"/>
                  </a:lnTo>
                  <a:lnTo>
                    <a:pt x="342" y="301"/>
                  </a:lnTo>
                  <a:lnTo>
                    <a:pt x="345" y="301"/>
                  </a:lnTo>
                  <a:lnTo>
                    <a:pt x="348" y="300"/>
                  </a:lnTo>
                  <a:lnTo>
                    <a:pt x="351" y="298"/>
                  </a:lnTo>
                  <a:lnTo>
                    <a:pt x="353" y="297"/>
                  </a:lnTo>
                  <a:lnTo>
                    <a:pt x="355" y="295"/>
                  </a:lnTo>
                  <a:lnTo>
                    <a:pt x="356" y="292"/>
                  </a:lnTo>
                  <a:lnTo>
                    <a:pt x="357" y="289"/>
                  </a:lnTo>
                  <a:lnTo>
                    <a:pt x="357" y="286"/>
                  </a:lnTo>
                  <a:lnTo>
                    <a:pt x="357" y="31"/>
                  </a:lnTo>
                  <a:lnTo>
                    <a:pt x="417" y="31"/>
                  </a:lnTo>
                  <a:lnTo>
                    <a:pt x="417" y="134"/>
                  </a:lnTo>
                  <a:lnTo>
                    <a:pt x="417" y="137"/>
                  </a:lnTo>
                  <a:lnTo>
                    <a:pt x="418" y="140"/>
                  </a:lnTo>
                  <a:lnTo>
                    <a:pt x="419" y="142"/>
                  </a:lnTo>
                  <a:lnTo>
                    <a:pt x="422" y="145"/>
                  </a:lnTo>
                  <a:lnTo>
                    <a:pt x="424" y="147"/>
                  </a:lnTo>
                  <a:lnTo>
                    <a:pt x="427" y="148"/>
                  </a:lnTo>
                  <a:lnTo>
                    <a:pt x="429" y="149"/>
                  </a:lnTo>
                  <a:lnTo>
                    <a:pt x="432" y="149"/>
                  </a:lnTo>
                  <a:lnTo>
                    <a:pt x="436" y="149"/>
                  </a:lnTo>
                  <a:lnTo>
                    <a:pt x="438" y="148"/>
                  </a:lnTo>
                  <a:lnTo>
                    <a:pt x="441" y="147"/>
                  </a:lnTo>
                  <a:lnTo>
                    <a:pt x="443" y="145"/>
                  </a:lnTo>
                  <a:lnTo>
                    <a:pt x="445" y="142"/>
                  </a:lnTo>
                  <a:lnTo>
                    <a:pt x="446" y="140"/>
                  </a:lnTo>
                  <a:lnTo>
                    <a:pt x="447" y="137"/>
                  </a:lnTo>
                  <a:lnTo>
                    <a:pt x="447" y="134"/>
                  </a:lnTo>
                  <a:lnTo>
                    <a:pt x="447" y="15"/>
                  </a:lnTo>
                  <a:lnTo>
                    <a:pt x="447" y="13"/>
                  </a:lnTo>
                  <a:lnTo>
                    <a:pt x="446" y="9"/>
                  </a:lnTo>
                  <a:lnTo>
                    <a:pt x="445" y="7"/>
                  </a:lnTo>
                  <a:lnTo>
                    <a:pt x="443" y="5"/>
                  </a:lnTo>
                  <a:lnTo>
                    <a:pt x="441" y="3"/>
                  </a:lnTo>
                  <a:lnTo>
                    <a:pt x="438" y="2"/>
                  </a:lnTo>
                  <a:lnTo>
                    <a:pt x="436" y="1"/>
                  </a:lnTo>
                  <a:lnTo>
                    <a:pt x="4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7" name="Freeform 130">
              <a:extLst>
                <a:ext uri="{FF2B5EF4-FFF2-40B4-BE49-F238E27FC236}">
                  <a16:creationId xmlns:a16="http://schemas.microsoft.com/office/drawing/2014/main" id="{649F0B19-4419-46AC-8037-3EC6CD2C6E0C}"/>
                </a:ext>
              </a:extLst>
            </p:cNvPr>
            <p:cNvSpPr>
              <a:spLocks/>
            </p:cNvSpPr>
            <p:nvPr/>
          </p:nvSpPr>
          <p:spPr bwMode="auto">
            <a:xfrm>
              <a:off x="8267700" y="2701608"/>
              <a:ext cx="49213" cy="63500"/>
            </a:xfrm>
            <a:custGeom>
              <a:avLst/>
              <a:gdLst>
                <a:gd name="T0" fmla="*/ 154 w 154"/>
                <a:gd name="T1" fmla="*/ 182 h 197"/>
                <a:gd name="T2" fmla="*/ 154 w 154"/>
                <a:gd name="T3" fmla="*/ 179 h 197"/>
                <a:gd name="T4" fmla="*/ 153 w 154"/>
                <a:gd name="T5" fmla="*/ 176 h 197"/>
                <a:gd name="T6" fmla="*/ 152 w 154"/>
                <a:gd name="T7" fmla="*/ 174 h 197"/>
                <a:gd name="T8" fmla="*/ 150 w 154"/>
                <a:gd name="T9" fmla="*/ 171 h 197"/>
                <a:gd name="T10" fmla="*/ 148 w 154"/>
                <a:gd name="T11" fmla="*/ 169 h 197"/>
                <a:gd name="T12" fmla="*/ 146 w 154"/>
                <a:gd name="T13" fmla="*/ 168 h 197"/>
                <a:gd name="T14" fmla="*/ 142 w 154"/>
                <a:gd name="T15" fmla="*/ 167 h 197"/>
                <a:gd name="T16" fmla="*/ 139 w 154"/>
                <a:gd name="T17" fmla="*/ 167 h 197"/>
                <a:gd name="T18" fmla="*/ 30 w 154"/>
                <a:gd name="T19" fmla="*/ 167 h 197"/>
                <a:gd name="T20" fmla="*/ 30 w 154"/>
                <a:gd name="T21" fmla="*/ 15 h 197"/>
                <a:gd name="T22" fmla="*/ 30 w 154"/>
                <a:gd name="T23" fmla="*/ 12 h 197"/>
                <a:gd name="T24" fmla="*/ 29 w 154"/>
                <a:gd name="T25" fmla="*/ 8 h 197"/>
                <a:gd name="T26" fmla="*/ 28 w 154"/>
                <a:gd name="T27" fmla="*/ 6 h 197"/>
                <a:gd name="T28" fmla="*/ 26 w 154"/>
                <a:gd name="T29" fmla="*/ 4 h 197"/>
                <a:gd name="T30" fmla="*/ 23 w 154"/>
                <a:gd name="T31" fmla="*/ 2 h 197"/>
                <a:gd name="T32" fmla="*/ 21 w 154"/>
                <a:gd name="T33" fmla="*/ 1 h 197"/>
                <a:gd name="T34" fmla="*/ 18 w 154"/>
                <a:gd name="T35" fmla="*/ 0 h 197"/>
                <a:gd name="T36" fmla="*/ 15 w 154"/>
                <a:gd name="T37" fmla="*/ 0 h 197"/>
                <a:gd name="T38" fmla="*/ 12 w 154"/>
                <a:gd name="T39" fmla="*/ 0 h 197"/>
                <a:gd name="T40" fmla="*/ 10 w 154"/>
                <a:gd name="T41" fmla="*/ 1 h 197"/>
                <a:gd name="T42" fmla="*/ 6 w 154"/>
                <a:gd name="T43" fmla="*/ 2 h 197"/>
                <a:gd name="T44" fmla="*/ 4 w 154"/>
                <a:gd name="T45" fmla="*/ 4 h 197"/>
                <a:gd name="T46" fmla="*/ 3 w 154"/>
                <a:gd name="T47" fmla="*/ 6 h 197"/>
                <a:gd name="T48" fmla="*/ 1 w 154"/>
                <a:gd name="T49" fmla="*/ 8 h 197"/>
                <a:gd name="T50" fmla="*/ 1 w 154"/>
                <a:gd name="T51" fmla="*/ 12 h 197"/>
                <a:gd name="T52" fmla="*/ 0 w 154"/>
                <a:gd name="T53" fmla="*/ 15 h 197"/>
                <a:gd name="T54" fmla="*/ 0 w 154"/>
                <a:gd name="T55" fmla="*/ 182 h 197"/>
                <a:gd name="T56" fmla="*/ 1 w 154"/>
                <a:gd name="T57" fmla="*/ 185 h 197"/>
                <a:gd name="T58" fmla="*/ 1 w 154"/>
                <a:gd name="T59" fmla="*/ 187 h 197"/>
                <a:gd name="T60" fmla="*/ 3 w 154"/>
                <a:gd name="T61" fmla="*/ 191 h 197"/>
                <a:gd name="T62" fmla="*/ 4 w 154"/>
                <a:gd name="T63" fmla="*/ 193 h 197"/>
                <a:gd name="T64" fmla="*/ 6 w 154"/>
                <a:gd name="T65" fmla="*/ 194 h 197"/>
                <a:gd name="T66" fmla="*/ 10 w 154"/>
                <a:gd name="T67" fmla="*/ 196 h 197"/>
                <a:gd name="T68" fmla="*/ 12 w 154"/>
                <a:gd name="T69" fmla="*/ 197 h 197"/>
                <a:gd name="T70" fmla="*/ 15 w 154"/>
                <a:gd name="T71" fmla="*/ 197 h 197"/>
                <a:gd name="T72" fmla="*/ 139 w 154"/>
                <a:gd name="T73" fmla="*/ 197 h 197"/>
                <a:gd name="T74" fmla="*/ 142 w 154"/>
                <a:gd name="T75" fmla="*/ 197 h 197"/>
                <a:gd name="T76" fmla="*/ 146 w 154"/>
                <a:gd name="T77" fmla="*/ 196 h 197"/>
                <a:gd name="T78" fmla="*/ 148 w 154"/>
                <a:gd name="T79" fmla="*/ 194 h 197"/>
                <a:gd name="T80" fmla="*/ 150 w 154"/>
                <a:gd name="T81" fmla="*/ 193 h 197"/>
                <a:gd name="T82" fmla="*/ 152 w 154"/>
                <a:gd name="T83" fmla="*/ 191 h 197"/>
                <a:gd name="T84" fmla="*/ 153 w 154"/>
                <a:gd name="T85" fmla="*/ 187 h 197"/>
                <a:gd name="T86" fmla="*/ 154 w 154"/>
                <a:gd name="T87" fmla="*/ 185 h 197"/>
                <a:gd name="T88" fmla="*/ 154 w 154"/>
                <a:gd name="T89" fmla="*/ 18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 h="197">
                  <a:moveTo>
                    <a:pt x="154" y="182"/>
                  </a:moveTo>
                  <a:lnTo>
                    <a:pt x="154" y="179"/>
                  </a:lnTo>
                  <a:lnTo>
                    <a:pt x="153" y="176"/>
                  </a:lnTo>
                  <a:lnTo>
                    <a:pt x="152" y="174"/>
                  </a:lnTo>
                  <a:lnTo>
                    <a:pt x="150" y="171"/>
                  </a:lnTo>
                  <a:lnTo>
                    <a:pt x="148" y="169"/>
                  </a:lnTo>
                  <a:lnTo>
                    <a:pt x="146" y="168"/>
                  </a:lnTo>
                  <a:lnTo>
                    <a:pt x="142" y="167"/>
                  </a:lnTo>
                  <a:lnTo>
                    <a:pt x="139" y="167"/>
                  </a:lnTo>
                  <a:lnTo>
                    <a:pt x="30" y="167"/>
                  </a:lnTo>
                  <a:lnTo>
                    <a:pt x="30" y="15"/>
                  </a:lnTo>
                  <a:lnTo>
                    <a:pt x="30" y="12"/>
                  </a:lnTo>
                  <a:lnTo>
                    <a:pt x="29" y="8"/>
                  </a:lnTo>
                  <a:lnTo>
                    <a:pt x="28" y="6"/>
                  </a:lnTo>
                  <a:lnTo>
                    <a:pt x="26" y="4"/>
                  </a:lnTo>
                  <a:lnTo>
                    <a:pt x="23" y="2"/>
                  </a:lnTo>
                  <a:lnTo>
                    <a:pt x="21" y="1"/>
                  </a:lnTo>
                  <a:lnTo>
                    <a:pt x="18" y="0"/>
                  </a:lnTo>
                  <a:lnTo>
                    <a:pt x="15" y="0"/>
                  </a:lnTo>
                  <a:lnTo>
                    <a:pt x="12" y="0"/>
                  </a:lnTo>
                  <a:lnTo>
                    <a:pt x="10" y="1"/>
                  </a:lnTo>
                  <a:lnTo>
                    <a:pt x="6" y="2"/>
                  </a:lnTo>
                  <a:lnTo>
                    <a:pt x="4" y="4"/>
                  </a:lnTo>
                  <a:lnTo>
                    <a:pt x="3" y="6"/>
                  </a:lnTo>
                  <a:lnTo>
                    <a:pt x="1" y="8"/>
                  </a:lnTo>
                  <a:lnTo>
                    <a:pt x="1" y="12"/>
                  </a:lnTo>
                  <a:lnTo>
                    <a:pt x="0" y="15"/>
                  </a:lnTo>
                  <a:lnTo>
                    <a:pt x="0" y="182"/>
                  </a:lnTo>
                  <a:lnTo>
                    <a:pt x="1" y="185"/>
                  </a:lnTo>
                  <a:lnTo>
                    <a:pt x="1" y="187"/>
                  </a:lnTo>
                  <a:lnTo>
                    <a:pt x="3" y="191"/>
                  </a:lnTo>
                  <a:lnTo>
                    <a:pt x="4" y="193"/>
                  </a:lnTo>
                  <a:lnTo>
                    <a:pt x="6" y="194"/>
                  </a:lnTo>
                  <a:lnTo>
                    <a:pt x="10" y="196"/>
                  </a:lnTo>
                  <a:lnTo>
                    <a:pt x="12" y="197"/>
                  </a:lnTo>
                  <a:lnTo>
                    <a:pt x="15" y="197"/>
                  </a:lnTo>
                  <a:lnTo>
                    <a:pt x="139" y="197"/>
                  </a:lnTo>
                  <a:lnTo>
                    <a:pt x="142" y="197"/>
                  </a:lnTo>
                  <a:lnTo>
                    <a:pt x="146" y="196"/>
                  </a:lnTo>
                  <a:lnTo>
                    <a:pt x="148" y="194"/>
                  </a:lnTo>
                  <a:lnTo>
                    <a:pt x="150" y="193"/>
                  </a:lnTo>
                  <a:lnTo>
                    <a:pt x="152" y="191"/>
                  </a:lnTo>
                  <a:lnTo>
                    <a:pt x="153" y="187"/>
                  </a:lnTo>
                  <a:lnTo>
                    <a:pt x="154" y="185"/>
                  </a:lnTo>
                  <a:lnTo>
                    <a:pt x="15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8" name="Freeform 131">
              <a:extLst>
                <a:ext uri="{FF2B5EF4-FFF2-40B4-BE49-F238E27FC236}">
                  <a16:creationId xmlns:a16="http://schemas.microsoft.com/office/drawing/2014/main" id="{021668C0-E974-4578-8B7B-93D7D6422B58}"/>
                </a:ext>
              </a:extLst>
            </p:cNvPr>
            <p:cNvSpPr>
              <a:spLocks/>
            </p:cNvSpPr>
            <p:nvPr/>
          </p:nvSpPr>
          <p:spPr bwMode="auto">
            <a:xfrm>
              <a:off x="8334375" y="2720658"/>
              <a:ext cx="66675" cy="44450"/>
            </a:xfrm>
            <a:custGeom>
              <a:avLst/>
              <a:gdLst>
                <a:gd name="T0" fmla="*/ 15 w 209"/>
                <a:gd name="T1" fmla="*/ 140 h 140"/>
                <a:gd name="T2" fmla="*/ 194 w 209"/>
                <a:gd name="T3" fmla="*/ 140 h 140"/>
                <a:gd name="T4" fmla="*/ 196 w 209"/>
                <a:gd name="T5" fmla="*/ 140 h 140"/>
                <a:gd name="T6" fmla="*/ 200 w 209"/>
                <a:gd name="T7" fmla="*/ 139 h 140"/>
                <a:gd name="T8" fmla="*/ 202 w 209"/>
                <a:gd name="T9" fmla="*/ 137 h 140"/>
                <a:gd name="T10" fmla="*/ 205 w 209"/>
                <a:gd name="T11" fmla="*/ 136 h 140"/>
                <a:gd name="T12" fmla="*/ 206 w 209"/>
                <a:gd name="T13" fmla="*/ 134 h 140"/>
                <a:gd name="T14" fmla="*/ 208 w 209"/>
                <a:gd name="T15" fmla="*/ 130 h 140"/>
                <a:gd name="T16" fmla="*/ 208 w 209"/>
                <a:gd name="T17" fmla="*/ 128 h 140"/>
                <a:gd name="T18" fmla="*/ 209 w 209"/>
                <a:gd name="T19" fmla="*/ 125 h 140"/>
                <a:gd name="T20" fmla="*/ 208 w 209"/>
                <a:gd name="T21" fmla="*/ 122 h 140"/>
                <a:gd name="T22" fmla="*/ 208 w 209"/>
                <a:gd name="T23" fmla="*/ 119 h 140"/>
                <a:gd name="T24" fmla="*/ 206 w 209"/>
                <a:gd name="T25" fmla="*/ 117 h 140"/>
                <a:gd name="T26" fmla="*/ 205 w 209"/>
                <a:gd name="T27" fmla="*/ 114 h 140"/>
                <a:gd name="T28" fmla="*/ 202 w 209"/>
                <a:gd name="T29" fmla="*/ 112 h 140"/>
                <a:gd name="T30" fmla="*/ 200 w 209"/>
                <a:gd name="T31" fmla="*/ 111 h 140"/>
                <a:gd name="T32" fmla="*/ 196 w 209"/>
                <a:gd name="T33" fmla="*/ 110 h 140"/>
                <a:gd name="T34" fmla="*/ 194 w 209"/>
                <a:gd name="T35" fmla="*/ 110 h 140"/>
                <a:gd name="T36" fmla="*/ 30 w 209"/>
                <a:gd name="T37" fmla="*/ 110 h 140"/>
                <a:gd name="T38" fmla="*/ 30 w 209"/>
                <a:gd name="T39" fmla="*/ 15 h 140"/>
                <a:gd name="T40" fmla="*/ 29 w 209"/>
                <a:gd name="T41" fmla="*/ 11 h 140"/>
                <a:gd name="T42" fmla="*/ 29 w 209"/>
                <a:gd name="T43" fmla="*/ 8 h 140"/>
                <a:gd name="T44" fmla="*/ 27 w 209"/>
                <a:gd name="T45" fmla="*/ 6 h 140"/>
                <a:gd name="T46" fmla="*/ 26 w 209"/>
                <a:gd name="T47" fmla="*/ 4 h 140"/>
                <a:gd name="T48" fmla="*/ 23 w 209"/>
                <a:gd name="T49" fmla="*/ 2 h 140"/>
                <a:gd name="T50" fmla="*/ 20 w 209"/>
                <a:gd name="T51" fmla="*/ 1 h 140"/>
                <a:gd name="T52" fmla="*/ 17 w 209"/>
                <a:gd name="T53" fmla="*/ 0 h 140"/>
                <a:gd name="T54" fmla="*/ 15 w 209"/>
                <a:gd name="T55" fmla="*/ 0 h 140"/>
                <a:gd name="T56" fmla="*/ 12 w 209"/>
                <a:gd name="T57" fmla="*/ 0 h 140"/>
                <a:gd name="T58" fmla="*/ 9 w 209"/>
                <a:gd name="T59" fmla="*/ 1 h 140"/>
                <a:gd name="T60" fmla="*/ 7 w 209"/>
                <a:gd name="T61" fmla="*/ 2 h 140"/>
                <a:gd name="T62" fmla="*/ 4 w 209"/>
                <a:gd name="T63" fmla="*/ 4 h 140"/>
                <a:gd name="T64" fmla="*/ 2 w 209"/>
                <a:gd name="T65" fmla="*/ 6 h 140"/>
                <a:gd name="T66" fmla="*/ 1 w 209"/>
                <a:gd name="T67" fmla="*/ 8 h 140"/>
                <a:gd name="T68" fmla="*/ 0 w 209"/>
                <a:gd name="T69" fmla="*/ 11 h 140"/>
                <a:gd name="T70" fmla="*/ 0 w 209"/>
                <a:gd name="T71" fmla="*/ 15 h 140"/>
                <a:gd name="T72" fmla="*/ 0 w 209"/>
                <a:gd name="T73" fmla="*/ 125 h 140"/>
                <a:gd name="T74" fmla="*/ 0 w 209"/>
                <a:gd name="T75" fmla="*/ 128 h 140"/>
                <a:gd name="T76" fmla="*/ 1 w 209"/>
                <a:gd name="T77" fmla="*/ 130 h 140"/>
                <a:gd name="T78" fmla="*/ 2 w 209"/>
                <a:gd name="T79" fmla="*/ 134 h 140"/>
                <a:gd name="T80" fmla="*/ 4 w 209"/>
                <a:gd name="T81" fmla="*/ 136 h 140"/>
                <a:gd name="T82" fmla="*/ 7 w 209"/>
                <a:gd name="T83" fmla="*/ 137 h 140"/>
                <a:gd name="T84" fmla="*/ 9 w 209"/>
                <a:gd name="T85" fmla="*/ 139 h 140"/>
                <a:gd name="T86" fmla="*/ 12 w 209"/>
                <a:gd name="T87" fmla="*/ 140 h 140"/>
                <a:gd name="T88" fmla="*/ 15 w 209"/>
                <a:gd name="T8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9" h="140">
                  <a:moveTo>
                    <a:pt x="15" y="140"/>
                  </a:moveTo>
                  <a:lnTo>
                    <a:pt x="194" y="140"/>
                  </a:lnTo>
                  <a:lnTo>
                    <a:pt x="196" y="140"/>
                  </a:lnTo>
                  <a:lnTo>
                    <a:pt x="200" y="139"/>
                  </a:lnTo>
                  <a:lnTo>
                    <a:pt x="202" y="137"/>
                  </a:lnTo>
                  <a:lnTo>
                    <a:pt x="205" y="136"/>
                  </a:lnTo>
                  <a:lnTo>
                    <a:pt x="206" y="134"/>
                  </a:lnTo>
                  <a:lnTo>
                    <a:pt x="208" y="130"/>
                  </a:lnTo>
                  <a:lnTo>
                    <a:pt x="208" y="128"/>
                  </a:lnTo>
                  <a:lnTo>
                    <a:pt x="209" y="125"/>
                  </a:lnTo>
                  <a:lnTo>
                    <a:pt x="208" y="122"/>
                  </a:lnTo>
                  <a:lnTo>
                    <a:pt x="208" y="119"/>
                  </a:lnTo>
                  <a:lnTo>
                    <a:pt x="206" y="117"/>
                  </a:lnTo>
                  <a:lnTo>
                    <a:pt x="205" y="114"/>
                  </a:lnTo>
                  <a:lnTo>
                    <a:pt x="202" y="112"/>
                  </a:lnTo>
                  <a:lnTo>
                    <a:pt x="200" y="111"/>
                  </a:lnTo>
                  <a:lnTo>
                    <a:pt x="196" y="110"/>
                  </a:lnTo>
                  <a:lnTo>
                    <a:pt x="194" y="110"/>
                  </a:lnTo>
                  <a:lnTo>
                    <a:pt x="30" y="110"/>
                  </a:lnTo>
                  <a:lnTo>
                    <a:pt x="30" y="15"/>
                  </a:lnTo>
                  <a:lnTo>
                    <a:pt x="29" y="11"/>
                  </a:lnTo>
                  <a:lnTo>
                    <a:pt x="29" y="8"/>
                  </a:lnTo>
                  <a:lnTo>
                    <a:pt x="27" y="6"/>
                  </a:lnTo>
                  <a:lnTo>
                    <a:pt x="26" y="4"/>
                  </a:lnTo>
                  <a:lnTo>
                    <a:pt x="23" y="2"/>
                  </a:lnTo>
                  <a:lnTo>
                    <a:pt x="20" y="1"/>
                  </a:lnTo>
                  <a:lnTo>
                    <a:pt x="17" y="0"/>
                  </a:lnTo>
                  <a:lnTo>
                    <a:pt x="15" y="0"/>
                  </a:lnTo>
                  <a:lnTo>
                    <a:pt x="12" y="0"/>
                  </a:lnTo>
                  <a:lnTo>
                    <a:pt x="9" y="1"/>
                  </a:lnTo>
                  <a:lnTo>
                    <a:pt x="7" y="2"/>
                  </a:lnTo>
                  <a:lnTo>
                    <a:pt x="4" y="4"/>
                  </a:lnTo>
                  <a:lnTo>
                    <a:pt x="2" y="6"/>
                  </a:lnTo>
                  <a:lnTo>
                    <a:pt x="1" y="8"/>
                  </a:lnTo>
                  <a:lnTo>
                    <a:pt x="0" y="11"/>
                  </a:lnTo>
                  <a:lnTo>
                    <a:pt x="0" y="15"/>
                  </a:lnTo>
                  <a:lnTo>
                    <a:pt x="0" y="125"/>
                  </a:lnTo>
                  <a:lnTo>
                    <a:pt x="0" y="128"/>
                  </a:lnTo>
                  <a:lnTo>
                    <a:pt x="1" y="130"/>
                  </a:lnTo>
                  <a:lnTo>
                    <a:pt x="2" y="134"/>
                  </a:lnTo>
                  <a:lnTo>
                    <a:pt x="4" y="136"/>
                  </a:lnTo>
                  <a:lnTo>
                    <a:pt x="7" y="137"/>
                  </a:lnTo>
                  <a:lnTo>
                    <a:pt x="9" y="139"/>
                  </a:lnTo>
                  <a:lnTo>
                    <a:pt x="12" y="140"/>
                  </a:lnTo>
                  <a:lnTo>
                    <a:pt x="1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79" name="Freeform 132">
              <a:extLst>
                <a:ext uri="{FF2B5EF4-FFF2-40B4-BE49-F238E27FC236}">
                  <a16:creationId xmlns:a16="http://schemas.microsoft.com/office/drawing/2014/main" id="{565D57ED-847A-44BD-9CDC-E7F1496E755E}"/>
                </a:ext>
              </a:extLst>
            </p:cNvPr>
            <p:cNvSpPr>
              <a:spLocks/>
            </p:cNvSpPr>
            <p:nvPr/>
          </p:nvSpPr>
          <p:spPr bwMode="auto">
            <a:xfrm>
              <a:off x="8305800" y="2688908"/>
              <a:ext cx="34925" cy="46038"/>
            </a:xfrm>
            <a:custGeom>
              <a:avLst/>
              <a:gdLst>
                <a:gd name="T0" fmla="*/ 0 w 110"/>
                <a:gd name="T1" fmla="*/ 15 h 149"/>
                <a:gd name="T2" fmla="*/ 0 w 110"/>
                <a:gd name="T3" fmla="*/ 134 h 149"/>
                <a:gd name="T4" fmla="*/ 1 w 110"/>
                <a:gd name="T5" fmla="*/ 137 h 149"/>
                <a:gd name="T6" fmla="*/ 2 w 110"/>
                <a:gd name="T7" fmla="*/ 140 h 149"/>
                <a:gd name="T8" fmla="*/ 3 w 110"/>
                <a:gd name="T9" fmla="*/ 142 h 149"/>
                <a:gd name="T10" fmla="*/ 5 w 110"/>
                <a:gd name="T11" fmla="*/ 145 h 149"/>
                <a:gd name="T12" fmla="*/ 7 w 110"/>
                <a:gd name="T13" fmla="*/ 147 h 149"/>
                <a:gd name="T14" fmla="*/ 10 w 110"/>
                <a:gd name="T15" fmla="*/ 148 h 149"/>
                <a:gd name="T16" fmla="*/ 13 w 110"/>
                <a:gd name="T17" fmla="*/ 149 h 149"/>
                <a:gd name="T18" fmla="*/ 15 w 110"/>
                <a:gd name="T19" fmla="*/ 149 h 149"/>
                <a:gd name="T20" fmla="*/ 18 w 110"/>
                <a:gd name="T21" fmla="*/ 149 h 149"/>
                <a:gd name="T22" fmla="*/ 21 w 110"/>
                <a:gd name="T23" fmla="*/ 148 h 149"/>
                <a:gd name="T24" fmla="*/ 24 w 110"/>
                <a:gd name="T25" fmla="*/ 147 h 149"/>
                <a:gd name="T26" fmla="*/ 26 w 110"/>
                <a:gd name="T27" fmla="*/ 145 h 149"/>
                <a:gd name="T28" fmla="*/ 28 w 110"/>
                <a:gd name="T29" fmla="*/ 142 h 149"/>
                <a:gd name="T30" fmla="*/ 29 w 110"/>
                <a:gd name="T31" fmla="*/ 140 h 149"/>
                <a:gd name="T32" fmla="*/ 30 w 110"/>
                <a:gd name="T33" fmla="*/ 137 h 149"/>
                <a:gd name="T34" fmla="*/ 30 w 110"/>
                <a:gd name="T35" fmla="*/ 134 h 149"/>
                <a:gd name="T36" fmla="*/ 30 w 110"/>
                <a:gd name="T37" fmla="*/ 31 h 149"/>
                <a:gd name="T38" fmla="*/ 95 w 110"/>
                <a:gd name="T39" fmla="*/ 31 h 149"/>
                <a:gd name="T40" fmla="*/ 99 w 110"/>
                <a:gd name="T41" fmla="*/ 30 h 149"/>
                <a:gd name="T42" fmla="*/ 101 w 110"/>
                <a:gd name="T43" fmla="*/ 29 h 149"/>
                <a:gd name="T44" fmla="*/ 104 w 110"/>
                <a:gd name="T45" fmla="*/ 28 h 149"/>
                <a:gd name="T46" fmla="*/ 106 w 110"/>
                <a:gd name="T47" fmla="*/ 26 h 149"/>
                <a:gd name="T48" fmla="*/ 107 w 110"/>
                <a:gd name="T49" fmla="*/ 23 h 149"/>
                <a:gd name="T50" fmla="*/ 109 w 110"/>
                <a:gd name="T51" fmla="*/ 21 h 149"/>
                <a:gd name="T52" fmla="*/ 110 w 110"/>
                <a:gd name="T53" fmla="*/ 18 h 149"/>
                <a:gd name="T54" fmla="*/ 110 w 110"/>
                <a:gd name="T55" fmla="*/ 16 h 149"/>
                <a:gd name="T56" fmla="*/ 110 w 110"/>
                <a:gd name="T57" fmla="*/ 13 h 149"/>
                <a:gd name="T58" fmla="*/ 109 w 110"/>
                <a:gd name="T59" fmla="*/ 9 h 149"/>
                <a:gd name="T60" fmla="*/ 107 w 110"/>
                <a:gd name="T61" fmla="*/ 7 h 149"/>
                <a:gd name="T62" fmla="*/ 106 w 110"/>
                <a:gd name="T63" fmla="*/ 5 h 149"/>
                <a:gd name="T64" fmla="*/ 104 w 110"/>
                <a:gd name="T65" fmla="*/ 3 h 149"/>
                <a:gd name="T66" fmla="*/ 101 w 110"/>
                <a:gd name="T67" fmla="*/ 2 h 149"/>
                <a:gd name="T68" fmla="*/ 99 w 110"/>
                <a:gd name="T69" fmla="*/ 1 h 149"/>
                <a:gd name="T70" fmla="*/ 95 w 110"/>
                <a:gd name="T71" fmla="*/ 1 h 149"/>
                <a:gd name="T72" fmla="*/ 15 w 110"/>
                <a:gd name="T73" fmla="*/ 0 h 149"/>
                <a:gd name="T74" fmla="*/ 13 w 110"/>
                <a:gd name="T75" fmla="*/ 1 h 149"/>
                <a:gd name="T76" fmla="*/ 10 w 110"/>
                <a:gd name="T77" fmla="*/ 2 h 149"/>
                <a:gd name="T78" fmla="*/ 7 w 110"/>
                <a:gd name="T79" fmla="*/ 3 h 149"/>
                <a:gd name="T80" fmla="*/ 5 w 110"/>
                <a:gd name="T81" fmla="*/ 5 h 149"/>
                <a:gd name="T82" fmla="*/ 3 w 110"/>
                <a:gd name="T83" fmla="*/ 7 h 149"/>
                <a:gd name="T84" fmla="*/ 2 w 110"/>
                <a:gd name="T85" fmla="*/ 9 h 149"/>
                <a:gd name="T86" fmla="*/ 1 w 110"/>
                <a:gd name="T87" fmla="*/ 13 h 149"/>
                <a:gd name="T88" fmla="*/ 0 w 110"/>
                <a:gd name="T89" fmla="*/ 1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149">
                  <a:moveTo>
                    <a:pt x="0" y="15"/>
                  </a:moveTo>
                  <a:lnTo>
                    <a:pt x="0" y="134"/>
                  </a:lnTo>
                  <a:lnTo>
                    <a:pt x="1" y="137"/>
                  </a:lnTo>
                  <a:lnTo>
                    <a:pt x="2" y="140"/>
                  </a:lnTo>
                  <a:lnTo>
                    <a:pt x="3" y="142"/>
                  </a:lnTo>
                  <a:lnTo>
                    <a:pt x="5" y="145"/>
                  </a:lnTo>
                  <a:lnTo>
                    <a:pt x="7" y="147"/>
                  </a:lnTo>
                  <a:lnTo>
                    <a:pt x="10" y="148"/>
                  </a:lnTo>
                  <a:lnTo>
                    <a:pt x="13" y="149"/>
                  </a:lnTo>
                  <a:lnTo>
                    <a:pt x="15" y="149"/>
                  </a:lnTo>
                  <a:lnTo>
                    <a:pt x="18" y="149"/>
                  </a:lnTo>
                  <a:lnTo>
                    <a:pt x="21" y="148"/>
                  </a:lnTo>
                  <a:lnTo>
                    <a:pt x="24" y="147"/>
                  </a:lnTo>
                  <a:lnTo>
                    <a:pt x="26" y="145"/>
                  </a:lnTo>
                  <a:lnTo>
                    <a:pt x="28" y="142"/>
                  </a:lnTo>
                  <a:lnTo>
                    <a:pt x="29" y="140"/>
                  </a:lnTo>
                  <a:lnTo>
                    <a:pt x="30" y="137"/>
                  </a:lnTo>
                  <a:lnTo>
                    <a:pt x="30" y="134"/>
                  </a:lnTo>
                  <a:lnTo>
                    <a:pt x="30" y="31"/>
                  </a:lnTo>
                  <a:lnTo>
                    <a:pt x="95" y="31"/>
                  </a:lnTo>
                  <a:lnTo>
                    <a:pt x="99" y="30"/>
                  </a:lnTo>
                  <a:lnTo>
                    <a:pt x="101" y="29"/>
                  </a:lnTo>
                  <a:lnTo>
                    <a:pt x="104" y="28"/>
                  </a:lnTo>
                  <a:lnTo>
                    <a:pt x="106" y="26"/>
                  </a:lnTo>
                  <a:lnTo>
                    <a:pt x="107" y="23"/>
                  </a:lnTo>
                  <a:lnTo>
                    <a:pt x="109" y="21"/>
                  </a:lnTo>
                  <a:lnTo>
                    <a:pt x="110" y="18"/>
                  </a:lnTo>
                  <a:lnTo>
                    <a:pt x="110" y="16"/>
                  </a:lnTo>
                  <a:lnTo>
                    <a:pt x="110" y="13"/>
                  </a:lnTo>
                  <a:lnTo>
                    <a:pt x="109" y="9"/>
                  </a:lnTo>
                  <a:lnTo>
                    <a:pt x="107" y="7"/>
                  </a:lnTo>
                  <a:lnTo>
                    <a:pt x="106" y="5"/>
                  </a:lnTo>
                  <a:lnTo>
                    <a:pt x="104" y="3"/>
                  </a:lnTo>
                  <a:lnTo>
                    <a:pt x="101" y="2"/>
                  </a:lnTo>
                  <a:lnTo>
                    <a:pt x="99" y="1"/>
                  </a:lnTo>
                  <a:lnTo>
                    <a:pt x="95" y="1"/>
                  </a:lnTo>
                  <a:lnTo>
                    <a:pt x="15" y="0"/>
                  </a:lnTo>
                  <a:lnTo>
                    <a:pt x="13" y="1"/>
                  </a:lnTo>
                  <a:lnTo>
                    <a:pt x="10" y="2"/>
                  </a:lnTo>
                  <a:lnTo>
                    <a:pt x="7" y="3"/>
                  </a:lnTo>
                  <a:lnTo>
                    <a:pt x="5" y="5"/>
                  </a:lnTo>
                  <a:lnTo>
                    <a:pt x="3" y="7"/>
                  </a:lnTo>
                  <a:lnTo>
                    <a:pt x="2" y="9"/>
                  </a:lnTo>
                  <a:lnTo>
                    <a:pt x="1" y="13"/>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0" name="Freeform 133">
              <a:extLst>
                <a:ext uri="{FF2B5EF4-FFF2-40B4-BE49-F238E27FC236}">
                  <a16:creationId xmlns:a16="http://schemas.microsoft.com/office/drawing/2014/main" id="{F3EEBAEC-291D-4B94-BED9-C99FF9C2CA83}"/>
                </a:ext>
              </a:extLst>
            </p:cNvPr>
            <p:cNvSpPr>
              <a:spLocks/>
            </p:cNvSpPr>
            <p:nvPr/>
          </p:nvSpPr>
          <p:spPr bwMode="auto">
            <a:xfrm>
              <a:off x="8223250" y="2669858"/>
              <a:ext cx="33338" cy="9525"/>
            </a:xfrm>
            <a:custGeom>
              <a:avLst/>
              <a:gdLst>
                <a:gd name="T0" fmla="*/ 0 w 105"/>
                <a:gd name="T1" fmla="*/ 15 h 30"/>
                <a:gd name="T2" fmla="*/ 0 w 105"/>
                <a:gd name="T3" fmla="*/ 18 h 30"/>
                <a:gd name="T4" fmla="*/ 1 w 105"/>
                <a:gd name="T5" fmla="*/ 21 h 30"/>
                <a:gd name="T6" fmla="*/ 3 w 105"/>
                <a:gd name="T7" fmla="*/ 23 h 30"/>
                <a:gd name="T8" fmla="*/ 5 w 105"/>
                <a:gd name="T9" fmla="*/ 26 h 30"/>
                <a:gd name="T10" fmla="*/ 7 w 105"/>
                <a:gd name="T11" fmla="*/ 28 h 30"/>
                <a:gd name="T12" fmla="*/ 9 w 105"/>
                <a:gd name="T13" fmla="*/ 29 h 30"/>
                <a:gd name="T14" fmla="*/ 12 w 105"/>
                <a:gd name="T15" fmla="*/ 30 h 30"/>
                <a:gd name="T16" fmla="*/ 15 w 105"/>
                <a:gd name="T17" fmla="*/ 30 h 30"/>
                <a:gd name="T18" fmla="*/ 90 w 105"/>
                <a:gd name="T19" fmla="*/ 30 h 30"/>
                <a:gd name="T20" fmla="*/ 94 w 105"/>
                <a:gd name="T21" fmla="*/ 30 h 30"/>
                <a:gd name="T22" fmla="*/ 97 w 105"/>
                <a:gd name="T23" fmla="*/ 29 h 30"/>
                <a:gd name="T24" fmla="*/ 99 w 105"/>
                <a:gd name="T25" fmla="*/ 28 h 30"/>
                <a:gd name="T26" fmla="*/ 101 w 105"/>
                <a:gd name="T27" fmla="*/ 26 h 30"/>
                <a:gd name="T28" fmla="*/ 103 w 105"/>
                <a:gd name="T29" fmla="*/ 23 h 30"/>
                <a:gd name="T30" fmla="*/ 104 w 105"/>
                <a:gd name="T31" fmla="*/ 21 h 30"/>
                <a:gd name="T32" fmla="*/ 105 w 105"/>
                <a:gd name="T33" fmla="*/ 18 h 30"/>
                <a:gd name="T34" fmla="*/ 105 w 105"/>
                <a:gd name="T35" fmla="*/ 15 h 30"/>
                <a:gd name="T36" fmla="*/ 105 w 105"/>
                <a:gd name="T37" fmla="*/ 13 h 30"/>
                <a:gd name="T38" fmla="*/ 104 w 105"/>
                <a:gd name="T39" fmla="*/ 9 h 30"/>
                <a:gd name="T40" fmla="*/ 103 w 105"/>
                <a:gd name="T41" fmla="*/ 7 h 30"/>
                <a:gd name="T42" fmla="*/ 101 w 105"/>
                <a:gd name="T43" fmla="*/ 5 h 30"/>
                <a:gd name="T44" fmla="*/ 99 w 105"/>
                <a:gd name="T45" fmla="*/ 3 h 30"/>
                <a:gd name="T46" fmla="*/ 97 w 105"/>
                <a:gd name="T47" fmla="*/ 2 h 30"/>
                <a:gd name="T48" fmla="*/ 94 w 105"/>
                <a:gd name="T49" fmla="*/ 1 h 30"/>
                <a:gd name="T50" fmla="*/ 90 w 105"/>
                <a:gd name="T51" fmla="*/ 0 h 30"/>
                <a:gd name="T52" fmla="*/ 15 w 105"/>
                <a:gd name="T53" fmla="*/ 0 h 30"/>
                <a:gd name="T54" fmla="*/ 12 w 105"/>
                <a:gd name="T55" fmla="*/ 1 h 30"/>
                <a:gd name="T56" fmla="*/ 9 w 105"/>
                <a:gd name="T57" fmla="*/ 1 h 30"/>
                <a:gd name="T58" fmla="*/ 7 w 105"/>
                <a:gd name="T59" fmla="*/ 3 h 30"/>
                <a:gd name="T60" fmla="*/ 5 w 105"/>
                <a:gd name="T61" fmla="*/ 5 h 30"/>
                <a:gd name="T62" fmla="*/ 3 w 105"/>
                <a:gd name="T63" fmla="*/ 7 h 30"/>
                <a:gd name="T64" fmla="*/ 1 w 105"/>
                <a:gd name="T65" fmla="*/ 9 h 30"/>
                <a:gd name="T66" fmla="*/ 0 w 105"/>
                <a:gd name="T67" fmla="*/ 13 h 30"/>
                <a:gd name="T68" fmla="*/ 0 w 105"/>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0">
                  <a:moveTo>
                    <a:pt x="0" y="15"/>
                  </a:moveTo>
                  <a:lnTo>
                    <a:pt x="0" y="18"/>
                  </a:lnTo>
                  <a:lnTo>
                    <a:pt x="1" y="21"/>
                  </a:lnTo>
                  <a:lnTo>
                    <a:pt x="3" y="23"/>
                  </a:lnTo>
                  <a:lnTo>
                    <a:pt x="5" y="26"/>
                  </a:lnTo>
                  <a:lnTo>
                    <a:pt x="7" y="28"/>
                  </a:lnTo>
                  <a:lnTo>
                    <a:pt x="9" y="29"/>
                  </a:lnTo>
                  <a:lnTo>
                    <a:pt x="12" y="30"/>
                  </a:lnTo>
                  <a:lnTo>
                    <a:pt x="15" y="30"/>
                  </a:lnTo>
                  <a:lnTo>
                    <a:pt x="90" y="30"/>
                  </a:lnTo>
                  <a:lnTo>
                    <a:pt x="94" y="30"/>
                  </a:lnTo>
                  <a:lnTo>
                    <a:pt x="97" y="29"/>
                  </a:lnTo>
                  <a:lnTo>
                    <a:pt x="99" y="28"/>
                  </a:lnTo>
                  <a:lnTo>
                    <a:pt x="101" y="26"/>
                  </a:lnTo>
                  <a:lnTo>
                    <a:pt x="103" y="23"/>
                  </a:lnTo>
                  <a:lnTo>
                    <a:pt x="104" y="21"/>
                  </a:lnTo>
                  <a:lnTo>
                    <a:pt x="105" y="18"/>
                  </a:lnTo>
                  <a:lnTo>
                    <a:pt x="105" y="15"/>
                  </a:lnTo>
                  <a:lnTo>
                    <a:pt x="105" y="13"/>
                  </a:lnTo>
                  <a:lnTo>
                    <a:pt x="104" y="9"/>
                  </a:lnTo>
                  <a:lnTo>
                    <a:pt x="103" y="7"/>
                  </a:lnTo>
                  <a:lnTo>
                    <a:pt x="101" y="5"/>
                  </a:lnTo>
                  <a:lnTo>
                    <a:pt x="99" y="3"/>
                  </a:lnTo>
                  <a:lnTo>
                    <a:pt x="97" y="2"/>
                  </a:lnTo>
                  <a:lnTo>
                    <a:pt x="94" y="1"/>
                  </a:lnTo>
                  <a:lnTo>
                    <a:pt x="90" y="0"/>
                  </a:lnTo>
                  <a:lnTo>
                    <a:pt x="15" y="0"/>
                  </a:lnTo>
                  <a:lnTo>
                    <a:pt x="12" y="1"/>
                  </a:lnTo>
                  <a:lnTo>
                    <a:pt x="9" y="1"/>
                  </a:lnTo>
                  <a:lnTo>
                    <a:pt x="7" y="3"/>
                  </a:lnTo>
                  <a:lnTo>
                    <a:pt x="5" y="5"/>
                  </a:lnTo>
                  <a:lnTo>
                    <a:pt x="3" y="7"/>
                  </a:lnTo>
                  <a:lnTo>
                    <a:pt x="1" y="9"/>
                  </a:lnTo>
                  <a:lnTo>
                    <a:pt x="0" y="13"/>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1" name="Freeform 134">
              <a:extLst>
                <a:ext uri="{FF2B5EF4-FFF2-40B4-BE49-F238E27FC236}">
                  <a16:creationId xmlns:a16="http://schemas.microsoft.com/office/drawing/2014/main" id="{C58A0D51-F604-4981-9676-EC8F35F64E64}"/>
                </a:ext>
              </a:extLst>
            </p:cNvPr>
            <p:cNvSpPr>
              <a:spLocks/>
            </p:cNvSpPr>
            <p:nvPr/>
          </p:nvSpPr>
          <p:spPr bwMode="auto">
            <a:xfrm>
              <a:off x="8289925" y="2631758"/>
              <a:ext cx="33338" cy="9525"/>
            </a:xfrm>
            <a:custGeom>
              <a:avLst/>
              <a:gdLst>
                <a:gd name="T0" fmla="*/ 15 w 107"/>
                <a:gd name="T1" fmla="*/ 30 h 30"/>
                <a:gd name="T2" fmla="*/ 92 w 107"/>
                <a:gd name="T3" fmla="*/ 30 h 30"/>
                <a:gd name="T4" fmla="*/ 95 w 107"/>
                <a:gd name="T5" fmla="*/ 30 h 30"/>
                <a:gd name="T6" fmla="*/ 97 w 107"/>
                <a:gd name="T7" fmla="*/ 29 h 30"/>
                <a:gd name="T8" fmla="*/ 100 w 107"/>
                <a:gd name="T9" fmla="*/ 28 h 30"/>
                <a:gd name="T10" fmla="*/ 102 w 107"/>
                <a:gd name="T11" fmla="*/ 25 h 30"/>
                <a:gd name="T12" fmla="*/ 103 w 107"/>
                <a:gd name="T13" fmla="*/ 23 h 30"/>
                <a:gd name="T14" fmla="*/ 105 w 107"/>
                <a:gd name="T15" fmla="*/ 21 h 30"/>
                <a:gd name="T16" fmla="*/ 107 w 107"/>
                <a:gd name="T17" fmla="*/ 18 h 30"/>
                <a:gd name="T18" fmla="*/ 107 w 107"/>
                <a:gd name="T19" fmla="*/ 15 h 30"/>
                <a:gd name="T20" fmla="*/ 107 w 107"/>
                <a:gd name="T21" fmla="*/ 11 h 30"/>
                <a:gd name="T22" fmla="*/ 105 w 107"/>
                <a:gd name="T23" fmla="*/ 9 h 30"/>
                <a:gd name="T24" fmla="*/ 103 w 107"/>
                <a:gd name="T25" fmla="*/ 6 h 30"/>
                <a:gd name="T26" fmla="*/ 102 w 107"/>
                <a:gd name="T27" fmla="*/ 4 h 30"/>
                <a:gd name="T28" fmla="*/ 100 w 107"/>
                <a:gd name="T29" fmla="*/ 3 h 30"/>
                <a:gd name="T30" fmla="*/ 97 w 107"/>
                <a:gd name="T31" fmla="*/ 1 h 30"/>
                <a:gd name="T32" fmla="*/ 95 w 107"/>
                <a:gd name="T33" fmla="*/ 1 h 30"/>
                <a:gd name="T34" fmla="*/ 92 w 107"/>
                <a:gd name="T35" fmla="*/ 0 h 30"/>
                <a:gd name="T36" fmla="*/ 15 w 107"/>
                <a:gd name="T37" fmla="*/ 0 h 30"/>
                <a:gd name="T38" fmla="*/ 12 w 107"/>
                <a:gd name="T39" fmla="*/ 1 h 30"/>
                <a:gd name="T40" fmla="*/ 10 w 107"/>
                <a:gd name="T41" fmla="*/ 1 h 30"/>
                <a:gd name="T42" fmla="*/ 7 w 107"/>
                <a:gd name="T43" fmla="*/ 3 h 30"/>
                <a:gd name="T44" fmla="*/ 5 w 107"/>
                <a:gd name="T45" fmla="*/ 4 h 30"/>
                <a:gd name="T46" fmla="*/ 3 w 107"/>
                <a:gd name="T47" fmla="*/ 6 h 30"/>
                <a:gd name="T48" fmla="*/ 1 w 107"/>
                <a:gd name="T49" fmla="*/ 9 h 30"/>
                <a:gd name="T50" fmla="*/ 0 w 107"/>
                <a:gd name="T51" fmla="*/ 11 h 30"/>
                <a:gd name="T52" fmla="*/ 0 w 107"/>
                <a:gd name="T53" fmla="*/ 15 h 30"/>
                <a:gd name="T54" fmla="*/ 0 w 107"/>
                <a:gd name="T55" fmla="*/ 18 h 30"/>
                <a:gd name="T56" fmla="*/ 1 w 107"/>
                <a:gd name="T57" fmla="*/ 21 h 30"/>
                <a:gd name="T58" fmla="*/ 3 w 107"/>
                <a:gd name="T59" fmla="*/ 23 h 30"/>
                <a:gd name="T60" fmla="*/ 5 w 107"/>
                <a:gd name="T61" fmla="*/ 25 h 30"/>
                <a:gd name="T62" fmla="*/ 7 w 107"/>
                <a:gd name="T63" fmla="*/ 28 h 30"/>
                <a:gd name="T64" fmla="*/ 10 w 107"/>
                <a:gd name="T65" fmla="*/ 29 h 30"/>
                <a:gd name="T66" fmla="*/ 12 w 107"/>
                <a:gd name="T67" fmla="*/ 30 h 30"/>
                <a:gd name="T68" fmla="*/ 15 w 107"/>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30">
                  <a:moveTo>
                    <a:pt x="15" y="30"/>
                  </a:moveTo>
                  <a:lnTo>
                    <a:pt x="92" y="30"/>
                  </a:lnTo>
                  <a:lnTo>
                    <a:pt x="95" y="30"/>
                  </a:lnTo>
                  <a:lnTo>
                    <a:pt x="97" y="29"/>
                  </a:lnTo>
                  <a:lnTo>
                    <a:pt x="100" y="28"/>
                  </a:lnTo>
                  <a:lnTo>
                    <a:pt x="102" y="25"/>
                  </a:lnTo>
                  <a:lnTo>
                    <a:pt x="103" y="23"/>
                  </a:lnTo>
                  <a:lnTo>
                    <a:pt x="105" y="21"/>
                  </a:lnTo>
                  <a:lnTo>
                    <a:pt x="107" y="18"/>
                  </a:lnTo>
                  <a:lnTo>
                    <a:pt x="107" y="15"/>
                  </a:lnTo>
                  <a:lnTo>
                    <a:pt x="107" y="11"/>
                  </a:lnTo>
                  <a:lnTo>
                    <a:pt x="105" y="9"/>
                  </a:lnTo>
                  <a:lnTo>
                    <a:pt x="103" y="6"/>
                  </a:lnTo>
                  <a:lnTo>
                    <a:pt x="102" y="4"/>
                  </a:lnTo>
                  <a:lnTo>
                    <a:pt x="100" y="3"/>
                  </a:lnTo>
                  <a:lnTo>
                    <a:pt x="97" y="1"/>
                  </a:lnTo>
                  <a:lnTo>
                    <a:pt x="95" y="1"/>
                  </a:lnTo>
                  <a:lnTo>
                    <a:pt x="92" y="0"/>
                  </a:lnTo>
                  <a:lnTo>
                    <a:pt x="15" y="0"/>
                  </a:lnTo>
                  <a:lnTo>
                    <a:pt x="12" y="1"/>
                  </a:lnTo>
                  <a:lnTo>
                    <a:pt x="10" y="1"/>
                  </a:lnTo>
                  <a:lnTo>
                    <a:pt x="7" y="3"/>
                  </a:lnTo>
                  <a:lnTo>
                    <a:pt x="5" y="4"/>
                  </a:lnTo>
                  <a:lnTo>
                    <a:pt x="3" y="6"/>
                  </a:lnTo>
                  <a:lnTo>
                    <a:pt x="1" y="9"/>
                  </a:lnTo>
                  <a:lnTo>
                    <a:pt x="0" y="11"/>
                  </a:lnTo>
                  <a:lnTo>
                    <a:pt x="0" y="15"/>
                  </a:lnTo>
                  <a:lnTo>
                    <a:pt x="0" y="18"/>
                  </a:lnTo>
                  <a:lnTo>
                    <a:pt x="1" y="21"/>
                  </a:lnTo>
                  <a:lnTo>
                    <a:pt x="3" y="23"/>
                  </a:lnTo>
                  <a:lnTo>
                    <a:pt x="5" y="25"/>
                  </a:lnTo>
                  <a:lnTo>
                    <a:pt x="7"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2" name="Freeform 135">
              <a:extLst>
                <a:ext uri="{FF2B5EF4-FFF2-40B4-BE49-F238E27FC236}">
                  <a16:creationId xmlns:a16="http://schemas.microsoft.com/office/drawing/2014/main" id="{DF97F944-114A-47F0-90CA-D4ED29F9164B}"/>
                </a:ext>
              </a:extLst>
            </p:cNvPr>
            <p:cNvSpPr>
              <a:spLocks/>
            </p:cNvSpPr>
            <p:nvPr/>
          </p:nvSpPr>
          <p:spPr bwMode="auto">
            <a:xfrm>
              <a:off x="8337550" y="2641283"/>
              <a:ext cx="46038" cy="38100"/>
            </a:xfrm>
            <a:custGeom>
              <a:avLst/>
              <a:gdLst>
                <a:gd name="T0" fmla="*/ 66 w 143"/>
                <a:gd name="T1" fmla="*/ 0 h 116"/>
                <a:gd name="T2" fmla="*/ 63 w 143"/>
                <a:gd name="T3" fmla="*/ 0 h 116"/>
                <a:gd name="T4" fmla="*/ 60 w 143"/>
                <a:gd name="T5" fmla="*/ 1 h 116"/>
                <a:gd name="T6" fmla="*/ 58 w 143"/>
                <a:gd name="T7" fmla="*/ 2 h 116"/>
                <a:gd name="T8" fmla="*/ 55 w 143"/>
                <a:gd name="T9" fmla="*/ 4 h 116"/>
                <a:gd name="T10" fmla="*/ 53 w 143"/>
                <a:gd name="T11" fmla="*/ 6 h 116"/>
                <a:gd name="T12" fmla="*/ 52 w 143"/>
                <a:gd name="T13" fmla="*/ 10 h 116"/>
                <a:gd name="T14" fmla="*/ 51 w 143"/>
                <a:gd name="T15" fmla="*/ 12 h 116"/>
                <a:gd name="T16" fmla="*/ 51 w 143"/>
                <a:gd name="T17" fmla="*/ 15 h 116"/>
                <a:gd name="T18" fmla="*/ 51 w 143"/>
                <a:gd name="T19" fmla="*/ 86 h 116"/>
                <a:gd name="T20" fmla="*/ 15 w 143"/>
                <a:gd name="T21" fmla="*/ 86 h 116"/>
                <a:gd name="T22" fmla="*/ 11 w 143"/>
                <a:gd name="T23" fmla="*/ 87 h 116"/>
                <a:gd name="T24" fmla="*/ 8 w 143"/>
                <a:gd name="T25" fmla="*/ 87 h 116"/>
                <a:gd name="T26" fmla="*/ 6 w 143"/>
                <a:gd name="T27" fmla="*/ 89 h 116"/>
                <a:gd name="T28" fmla="*/ 4 w 143"/>
                <a:gd name="T29" fmla="*/ 91 h 116"/>
                <a:gd name="T30" fmla="*/ 2 w 143"/>
                <a:gd name="T31" fmla="*/ 93 h 116"/>
                <a:gd name="T32" fmla="*/ 1 w 143"/>
                <a:gd name="T33" fmla="*/ 95 h 116"/>
                <a:gd name="T34" fmla="*/ 0 w 143"/>
                <a:gd name="T35" fmla="*/ 99 h 116"/>
                <a:gd name="T36" fmla="*/ 0 w 143"/>
                <a:gd name="T37" fmla="*/ 101 h 116"/>
                <a:gd name="T38" fmla="*/ 0 w 143"/>
                <a:gd name="T39" fmla="*/ 104 h 116"/>
                <a:gd name="T40" fmla="*/ 1 w 143"/>
                <a:gd name="T41" fmla="*/ 107 h 116"/>
                <a:gd name="T42" fmla="*/ 2 w 143"/>
                <a:gd name="T43" fmla="*/ 109 h 116"/>
                <a:gd name="T44" fmla="*/ 4 w 143"/>
                <a:gd name="T45" fmla="*/ 112 h 116"/>
                <a:gd name="T46" fmla="*/ 6 w 143"/>
                <a:gd name="T47" fmla="*/ 114 h 116"/>
                <a:gd name="T48" fmla="*/ 8 w 143"/>
                <a:gd name="T49" fmla="*/ 115 h 116"/>
                <a:gd name="T50" fmla="*/ 11 w 143"/>
                <a:gd name="T51" fmla="*/ 116 h 116"/>
                <a:gd name="T52" fmla="*/ 15 w 143"/>
                <a:gd name="T53" fmla="*/ 116 h 116"/>
                <a:gd name="T54" fmla="*/ 128 w 143"/>
                <a:gd name="T55" fmla="*/ 116 h 116"/>
                <a:gd name="T56" fmla="*/ 130 w 143"/>
                <a:gd name="T57" fmla="*/ 116 h 116"/>
                <a:gd name="T58" fmla="*/ 134 w 143"/>
                <a:gd name="T59" fmla="*/ 115 h 116"/>
                <a:gd name="T60" fmla="*/ 136 w 143"/>
                <a:gd name="T61" fmla="*/ 114 h 116"/>
                <a:gd name="T62" fmla="*/ 138 w 143"/>
                <a:gd name="T63" fmla="*/ 112 h 116"/>
                <a:gd name="T64" fmla="*/ 140 w 143"/>
                <a:gd name="T65" fmla="*/ 109 h 116"/>
                <a:gd name="T66" fmla="*/ 141 w 143"/>
                <a:gd name="T67" fmla="*/ 107 h 116"/>
                <a:gd name="T68" fmla="*/ 142 w 143"/>
                <a:gd name="T69" fmla="*/ 104 h 116"/>
                <a:gd name="T70" fmla="*/ 143 w 143"/>
                <a:gd name="T71" fmla="*/ 101 h 116"/>
                <a:gd name="T72" fmla="*/ 142 w 143"/>
                <a:gd name="T73" fmla="*/ 99 h 116"/>
                <a:gd name="T74" fmla="*/ 141 w 143"/>
                <a:gd name="T75" fmla="*/ 95 h 116"/>
                <a:gd name="T76" fmla="*/ 140 w 143"/>
                <a:gd name="T77" fmla="*/ 93 h 116"/>
                <a:gd name="T78" fmla="*/ 138 w 143"/>
                <a:gd name="T79" fmla="*/ 91 h 116"/>
                <a:gd name="T80" fmla="*/ 136 w 143"/>
                <a:gd name="T81" fmla="*/ 89 h 116"/>
                <a:gd name="T82" fmla="*/ 134 w 143"/>
                <a:gd name="T83" fmla="*/ 88 h 116"/>
                <a:gd name="T84" fmla="*/ 130 w 143"/>
                <a:gd name="T85" fmla="*/ 87 h 116"/>
                <a:gd name="T86" fmla="*/ 128 w 143"/>
                <a:gd name="T87" fmla="*/ 86 h 116"/>
                <a:gd name="T88" fmla="*/ 81 w 143"/>
                <a:gd name="T89" fmla="*/ 86 h 116"/>
                <a:gd name="T90" fmla="*/ 81 w 143"/>
                <a:gd name="T91" fmla="*/ 15 h 116"/>
                <a:gd name="T92" fmla="*/ 80 w 143"/>
                <a:gd name="T93" fmla="*/ 12 h 116"/>
                <a:gd name="T94" fmla="*/ 80 w 143"/>
                <a:gd name="T95" fmla="*/ 10 h 116"/>
                <a:gd name="T96" fmla="*/ 78 w 143"/>
                <a:gd name="T97" fmla="*/ 6 h 116"/>
                <a:gd name="T98" fmla="*/ 77 w 143"/>
                <a:gd name="T99" fmla="*/ 4 h 116"/>
                <a:gd name="T100" fmla="*/ 75 w 143"/>
                <a:gd name="T101" fmla="*/ 2 h 116"/>
                <a:gd name="T102" fmla="*/ 71 w 143"/>
                <a:gd name="T103" fmla="*/ 1 h 116"/>
                <a:gd name="T104" fmla="*/ 68 w 143"/>
                <a:gd name="T105" fmla="*/ 0 h 116"/>
                <a:gd name="T106" fmla="*/ 66 w 143"/>
                <a:gd name="T10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116">
                  <a:moveTo>
                    <a:pt x="66" y="0"/>
                  </a:moveTo>
                  <a:lnTo>
                    <a:pt x="63" y="0"/>
                  </a:lnTo>
                  <a:lnTo>
                    <a:pt x="60" y="1"/>
                  </a:lnTo>
                  <a:lnTo>
                    <a:pt x="58" y="2"/>
                  </a:lnTo>
                  <a:lnTo>
                    <a:pt x="55" y="4"/>
                  </a:lnTo>
                  <a:lnTo>
                    <a:pt x="53" y="6"/>
                  </a:lnTo>
                  <a:lnTo>
                    <a:pt x="52" y="10"/>
                  </a:lnTo>
                  <a:lnTo>
                    <a:pt x="51" y="12"/>
                  </a:lnTo>
                  <a:lnTo>
                    <a:pt x="51" y="15"/>
                  </a:lnTo>
                  <a:lnTo>
                    <a:pt x="51" y="86"/>
                  </a:lnTo>
                  <a:lnTo>
                    <a:pt x="15" y="86"/>
                  </a:lnTo>
                  <a:lnTo>
                    <a:pt x="11" y="87"/>
                  </a:lnTo>
                  <a:lnTo>
                    <a:pt x="8" y="87"/>
                  </a:lnTo>
                  <a:lnTo>
                    <a:pt x="6" y="89"/>
                  </a:lnTo>
                  <a:lnTo>
                    <a:pt x="4" y="91"/>
                  </a:lnTo>
                  <a:lnTo>
                    <a:pt x="2" y="93"/>
                  </a:lnTo>
                  <a:lnTo>
                    <a:pt x="1" y="95"/>
                  </a:lnTo>
                  <a:lnTo>
                    <a:pt x="0" y="99"/>
                  </a:lnTo>
                  <a:lnTo>
                    <a:pt x="0" y="101"/>
                  </a:lnTo>
                  <a:lnTo>
                    <a:pt x="0" y="104"/>
                  </a:lnTo>
                  <a:lnTo>
                    <a:pt x="1" y="107"/>
                  </a:lnTo>
                  <a:lnTo>
                    <a:pt x="2" y="109"/>
                  </a:lnTo>
                  <a:lnTo>
                    <a:pt x="4" y="112"/>
                  </a:lnTo>
                  <a:lnTo>
                    <a:pt x="6" y="114"/>
                  </a:lnTo>
                  <a:lnTo>
                    <a:pt x="8" y="115"/>
                  </a:lnTo>
                  <a:lnTo>
                    <a:pt x="11" y="116"/>
                  </a:lnTo>
                  <a:lnTo>
                    <a:pt x="15" y="116"/>
                  </a:lnTo>
                  <a:lnTo>
                    <a:pt x="128" y="116"/>
                  </a:lnTo>
                  <a:lnTo>
                    <a:pt x="130" y="116"/>
                  </a:lnTo>
                  <a:lnTo>
                    <a:pt x="134" y="115"/>
                  </a:lnTo>
                  <a:lnTo>
                    <a:pt x="136" y="114"/>
                  </a:lnTo>
                  <a:lnTo>
                    <a:pt x="138" y="112"/>
                  </a:lnTo>
                  <a:lnTo>
                    <a:pt x="140" y="109"/>
                  </a:lnTo>
                  <a:lnTo>
                    <a:pt x="141" y="107"/>
                  </a:lnTo>
                  <a:lnTo>
                    <a:pt x="142" y="104"/>
                  </a:lnTo>
                  <a:lnTo>
                    <a:pt x="143" y="101"/>
                  </a:lnTo>
                  <a:lnTo>
                    <a:pt x="142" y="99"/>
                  </a:lnTo>
                  <a:lnTo>
                    <a:pt x="141" y="95"/>
                  </a:lnTo>
                  <a:lnTo>
                    <a:pt x="140" y="93"/>
                  </a:lnTo>
                  <a:lnTo>
                    <a:pt x="138" y="91"/>
                  </a:lnTo>
                  <a:lnTo>
                    <a:pt x="136" y="89"/>
                  </a:lnTo>
                  <a:lnTo>
                    <a:pt x="134" y="88"/>
                  </a:lnTo>
                  <a:lnTo>
                    <a:pt x="130" y="87"/>
                  </a:lnTo>
                  <a:lnTo>
                    <a:pt x="128" y="86"/>
                  </a:lnTo>
                  <a:lnTo>
                    <a:pt x="81" y="86"/>
                  </a:lnTo>
                  <a:lnTo>
                    <a:pt x="81" y="15"/>
                  </a:lnTo>
                  <a:lnTo>
                    <a:pt x="80" y="12"/>
                  </a:lnTo>
                  <a:lnTo>
                    <a:pt x="80" y="10"/>
                  </a:lnTo>
                  <a:lnTo>
                    <a:pt x="78" y="6"/>
                  </a:lnTo>
                  <a:lnTo>
                    <a:pt x="77" y="4"/>
                  </a:lnTo>
                  <a:lnTo>
                    <a:pt x="75" y="2"/>
                  </a:lnTo>
                  <a:lnTo>
                    <a:pt x="71" y="1"/>
                  </a:lnTo>
                  <a:lnTo>
                    <a:pt x="68" y="0"/>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83" name="Group 75">
            <a:extLst>
              <a:ext uri="{FF2B5EF4-FFF2-40B4-BE49-F238E27FC236}">
                <a16:creationId xmlns:a16="http://schemas.microsoft.com/office/drawing/2014/main" id="{1208BE37-C121-4D95-B47F-D19CBB76B8B7}"/>
              </a:ext>
            </a:extLst>
          </p:cNvPr>
          <p:cNvGrpSpPr>
            <a:grpSpLocks noChangeAspect="1"/>
          </p:cNvGrpSpPr>
          <p:nvPr/>
        </p:nvGrpSpPr>
        <p:grpSpPr>
          <a:xfrm>
            <a:off x="7471899" y="2233311"/>
            <a:ext cx="285619" cy="285619"/>
            <a:chOff x="6445250" y="781050"/>
            <a:chExt cx="285750" cy="285750"/>
          </a:xfrm>
          <a:solidFill>
            <a:schemeClr val="bg1"/>
          </a:solidFill>
          <a:effectLst/>
        </p:grpSpPr>
        <p:sp>
          <p:nvSpPr>
            <p:cNvPr id="1684" name="Freeform 82">
              <a:extLst>
                <a:ext uri="{FF2B5EF4-FFF2-40B4-BE49-F238E27FC236}">
                  <a16:creationId xmlns:a16="http://schemas.microsoft.com/office/drawing/2014/main" id="{8CE2CB9E-9375-4B5C-A753-F1FB30CDD6EC}"/>
                </a:ext>
              </a:extLst>
            </p:cNvPr>
            <p:cNvSpPr>
              <a:spLocks noEditPoints="1"/>
            </p:cNvSpPr>
            <p:nvPr/>
          </p:nvSpPr>
          <p:spPr bwMode="auto">
            <a:xfrm>
              <a:off x="6445250" y="781050"/>
              <a:ext cx="285750" cy="285750"/>
            </a:xfrm>
            <a:custGeom>
              <a:avLst/>
              <a:gdLst>
                <a:gd name="T0" fmla="*/ 30 w 902"/>
                <a:gd name="T1" fmla="*/ 722 h 903"/>
                <a:gd name="T2" fmla="*/ 116 w 902"/>
                <a:gd name="T3" fmla="*/ 482 h 903"/>
                <a:gd name="T4" fmla="*/ 36 w 902"/>
                <a:gd name="T5" fmla="*/ 692 h 903"/>
                <a:gd name="T6" fmla="*/ 782 w 902"/>
                <a:gd name="T7" fmla="*/ 241 h 903"/>
                <a:gd name="T8" fmla="*/ 120 w 902"/>
                <a:gd name="T9" fmla="*/ 241 h 903"/>
                <a:gd name="T10" fmla="*/ 361 w 902"/>
                <a:gd name="T11" fmla="*/ 211 h 903"/>
                <a:gd name="T12" fmla="*/ 571 w 902"/>
                <a:gd name="T13" fmla="*/ 106 h 903"/>
                <a:gd name="T14" fmla="*/ 572 w 902"/>
                <a:gd name="T15" fmla="*/ 39 h 903"/>
                <a:gd name="T16" fmla="*/ 578 w 902"/>
                <a:gd name="T17" fmla="*/ 33 h 903"/>
                <a:gd name="T18" fmla="*/ 586 w 902"/>
                <a:gd name="T19" fmla="*/ 31 h 903"/>
                <a:gd name="T20" fmla="*/ 772 w 902"/>
                <a:gd name="T21" fmla="*/ 32 h 903"/>
                <a:gd name="T22" fmla="*/ 779 w 902"/>
                <a:gd name="T23" fmla="*/ 37 h 903"/>
                <a:gd name="T24" fmla="*/ 782 w 902"/>
                <a:gd name="T25" fmla="*/ 46 h 903"/>
                <a:gd name="T26" fmla="*/ 781 w 902"/>
                <a:gd name="T27" fmla="*/ 111 h 903"/>
                <a:gd name="T28" fmla="*/ 776 w 902"/>
                <a:gd name="T29" fmla="*/ 117 h 903"/>
                <a:gd name="T30" fmla="*/ 767 w 902"/>
                <a:gd name="T31" fmla="*/ 121 h 903"/>
                <a:gd name="T32" fmla="*/ 581 w 902"/>
                <a:gd name="T33" fmla="*/ 120 h 903"/>
                <a:gd name="T34" fmla="*/ 574 w 902"/>
                <a:gd name="T35" fmla="*/ 114 h 903"/>
                <a:gd name="T36" fmla="*/ 571 w 902"/>
                <a:gd name="T37" fmla="*/ 106 h 903"/>
                <a:gd name="T38" fmla="*/ 901 w 902"/>
                <a:gd name="T39" fmla="*/ 701 h 903"/>
                <a:gd name="T40" fmla="*/ 812 w 902"/>
                <a:gd name="T41" fmla="*/ 222 h 903"/>
                <a:gd name="T42" fmla="*/ 808 w 902"/>
                <a:gd name="T43" fmla="*/ 215 h 903"/>
                <a:gd name="T44" fmla="*/ 800 w 902"/>
                <a:gd name="T45" fmla="*/ 211 h 903"/>
                <a:gd name="T46" fmla="*/ 692 w 902"/>
                <a:gd name="T47" fmla="*/ 151 h 903"/>
                <a:gd name="T48" fmla="*/ 784 w 902"/>
                <a:gd name="T49" fmla="*/ 146 h 903"/>
                <a:gd name="T50" fmla="*/ 805 w 902"/>
                <a:gd name="T51" fmla="*/ 130 h 903"/>
                <a:gd name="T52" fmla="*/ 812 w 902"/>
                <a:gd name="T53" fmla="*/ 106 h 903"/>
                <a:gd name="T54" fmla="*/ 809 w 902"/>
                <a:gd name="T55" fmla="*/ 27 h 903"/>
                <a:gd name="T56" fmla="*/ 792 w 902"/>
                <a:gd name="T57" fmla="*/ 8 h 903"/>
                <a:gd name="T58" fmla="*/ 767 w 902"/>
                <a:gd name="T59" fmla="*/ 0 h 903"/>
                <a:gd name="T60" fmla="*/ 569 w 902"/>
                <a:gd name="T61" fmla="*/ 4 h 903"/>
                <a:gd name="T62" fmla="*/ 550 w 902"/>
                <a:gd name="T63" fmla="*/ 20 h 903"/>
                <a:gd name="T64" fmla="*/ 541 w 902"/>
                <a:gd name="T65" fmla="*/ 46 h 903"/>
                <a:gd name="T66" fmla="*/ 545 w 902"/>
                <a:gd name="T67" fmla="*/ 123 h 903"/>
                <a:gd name="T68" fmla="*/ 561 w 902"/>
                <a:gd name="T69" fmla="*/ 143 h 903"/>
                <a:gd name="T70" fmla="*/ 586 w 902"/>
                <a:gd name="T71" fmla="*/ 151 h 903"/>
                <a:gd name="T72" fmla="*/ 391 w 902"/>
                <a:gd name="T73" fmla="*/ 211 h 903"/>
                <a:gd name="T74" fmla="*/ 389 w 902"/>
                <a:gd name="T75" fmla="*/ 68 h 903"/>
                <a:gd name="T76" fmla="*/ 381 w 902"/>
                <a:gd name="T77" fmla="*/ 61 h 903"/>
                <a:gd name="T78" fmla="*/ 371 w 902"/>
                <a:gd name="T79" fmla="*/ 62 h 903"/>
                <a:gd name="T80" fmla="*/ 213 w 902"/>
                <a:gd name="T81" fmla="*/ 127 h 903"/>
                <a:gd name="T82" fmla="*/ 211 w 902"/>
                <a:gd name="T83" fmla="*/ 211 h 903"/>
                <a:gd name="T84" fmla="*/ 100 w 902"/>
                <a:gd name="T85" fmla="*/ 212 h 903"/>
                <a:gd name="T86" fmla="*/ 93 w 902"/>
                <a:gd name="T87" fmla="*/ 217 h 903"/>
                <a:gd name="T88" fmla="*/ 90 w 902"/>
                <a:gd name="T89" fmla="*/ 226 h 903"/>
                <a:gd name="T90" fmla="*/ 0 w 902"/>
                <a:gd name="T91" fmla="*/ 703 h 903"/>
                <a:gd name="T92" fmla="*/ 0 w 902"/>
                <a:gd name="T93" fmla="*/ 707 h 903"/>
                <a:gd name="T94" fmla="*/ 1 w 902"/>
                <a:gd name="T95" fmla="*/ 893 h 903"/>
                <a:gd name="T96" fmla="*/ 6 w 902"/>
                <a:gd name="T97" fmla="*/ 899 h 903"/>
                <a:gd name="T98" fmla="*/ 15 w 902"/>
                <a:gd name="T99" fmla="*/ 903 h 903"/>
                <a:gd name="T100" fmla="*/ 893 w 902"/>
                <a:gd name="T101" fmla="*/ 900 h 903"/>
                <a:gd name="T102" fmla="*/ 900 w 902"/>
                <a:gd name="T103" fmla="*/ 895 h 903"/>
                <a:gd name="T104" fmla="*/ 902 w 902"/>
                <a:gd name="T105" fmla="*/ 888 h 903"/>
                <a:gd name="T106" fmla="*/ 902 w 902"/>
                <a:gd name="T107" fmla="*/ 707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2" h="903">
                  <a:moveTo>
                    <a:pt x="872" y="872"/>
                  </a:moveTo>
                  <a:lnTo>
                    <a:pt x="30" y="872"/>
                  </a:lnTo>
                  <a:lnTo>
                    <a:pt x="30" y="722"/>
                  </a:lnTo>
                  <a:lnTo>
                    <a:pt x="872" y="722"/>
                  </a:lnTo>
                  <a:lnTo>
                    <a:pt x="872" y="872"/>
                  </a:lnTo>
                  <a:close/>
                  <a:moveTo>
                    <a:pt x="116" y="482"/>
                  </a:moveTo>
                  <a:lnTo>
                    <a:pt x="786" y="482"/>
                  </a:lnTo>
                  <a:lnTo>
                    <a:pt x="866" y="692"/>
                  </a:lnTo>
                  <a:lnTo>
                    <a:pt x="36" y="692"/>
                  </a:lnTo>
                  <a:lnTo>
                    <a:pt x="116" y="482"/>
                  </a:lnTo>
                  <a:close/>
                  <a:moveTo>
                    <a:pt x="120" y="241"/>
                  </a:moveTo>
                  <a:lnTo>
                    <a:pt x="782" y="241"/>
                  </a:lnTo>
                  <a:lnTo>
                    <a:pt x="782" y="452"/>
                  </a:lnTo>
                  <a:lnTo>
                    <a:pt x="120" y="452"/>
                  </a:lnTo>
                  <a:lnTo>
                    <a:pt x="120" y="241"/>
                  </a:lnTo>
                  <a:close/>
                  <a:moveTo>
                    <a:pt x="241" y="145"/>
                  </a:moveTo>
                  <a:lnTo>
                    <a:pt x="361" y="97"/>
                  </a:lnTo>
                  <a:lnTo>
                    <a:pt x="361" y="211"/>
                  </a:lnTo>
                  <a:lnTo>
                    <a:pt x="241" y="211"/>
                  </a:lnTo>
                  <a:lnTo>
                    <a:pt x="241" y="145"/>
                  </a:lnTo>
                  <a:close/>
                  <a:moveTo>
                    <a:pt x="571" y="106"/>
                  </a:moveTo>
                  <a:lnTo>
                    <a:pt x="571" y="46"/>
                  </a:lnTo>
                  <a:lnTo>
                    <a:pt x="572" y="42"/>
                  </a:lnTo>
                  <a:lnTo>
                    <a:pt x="572" y="39"/>
                  </a:lnTo>
                  <a:lnTo>
                    <a:pt x="574" y="37"/>
                  </a:lnTo>
                  <a:lnTo>
                    <a:pt x="575" y="35"/>
                  </a:lnTo>
                  <a:lnTo>
                    <a:pt x="578" y="33"/>
                  </a:lnTo>
                  <a:lnTo>
                    <a:pt x="581" y="32"/>
                  </a:lnTo>
                  <a:lnTo>
                    <a:pt x="584" y="31"/>
                  </a:lnTo>
                  <a:lnTo>
                    <a:pt x="586" y="31"/>
                  </a:lnTo>
                  <a:lnTo>
                    <a:pt x="767" y="30"/>
                  </a:lnTo>
                  <a:lnTo>
                    <a:pt x="770" y="31"/>
                  </a:lnTo>
                  <a:lnTo>
                    <a:pt x="772" y="32"/>
                  </a:lnTo>
                  <a:lnTo>
                    <a:pt x="776" y="33"/>
                  </a:lnTo>
                  <a:lnTo>
                    <a:pt x="778" y="35"/>
                  </a:lnTo>
                  <a:lnTo>
                    <a:pt x="779" y="37"/>
                  </a:lnTo>
                  <a:lnTo>
                    <a:pt x="781" y="39"/>
                  </a:lnTo>
                  <a:lnTo>
                    <a:pt x="782" y="42"/>
                  </a:lnTo>
                  <a:lnTo>
                    <a:pt x="782" y="46"/>
                  </a:lnTo>
                  <a:lnTo>
                    <a:pt x="782" y="106"/>
                  </a:lnTo>
                  <a:lnTo>
                    <a:pt x="782" y="108"/>
                  </a:lnTo>
                  <a:lnTo>
                    <a:pt x="781" y="111"/>
                  </a:lnTo>
                  <a:lnTo>
                    <a:pt x="779" y="114"/>
                  </a:lnTo>
                  <a:lnTo>
                    <a:pt x="778" y="116"/>
                  </a:lnTo>
                  <a:lnTo>
                    <a:pt x="776" y="117"/>
                  </a:lnTo>
                  <a:lnTo>
                    <a:pt x="772" y="120"/>
                  </a:lnTo>
                  <a:lnTo>
                    <a:pt x="770" y="120"/>
                  </a:lnTo>
                  <a:lnTo>
                    <a:pt x="767" y="121"/>
                  </a:lnTo>
                  <a:lnTo>
                    <a:pt x="586" y="121"/>
                  </a:lnTo>
                  <a:lnTo>
                    <a:pt x="584" y="120"/>
                  </a:lnTo>
                  <a:lnTo>
                    <a:pt x="581" y="120"/>
                  </a:lnTo>
                  <a:lnTo>
                    <a:pt x="578" y="117"/>
                  </a:lnTo>
                  <a:lnTo>
                    <a:pt x="575" y="116"/>
                  </a:lnTo>
                  <a:lnTo>
                    <a:pt x="574" y="114"/>
                  </a:lnTo>
                  <a:lnTo>
                    <a:pt x="572" y="111"/>
                  </a:lnTo>
                  <a:lnTo>
                    <a:pt x="572" y="109"/>
                  </a:lnTo>
                  <a:lnTo>
                    <a:pt x="571" y="106"/>
                  </a:lnTo>
                  <a:close/>
                  <a:moveTo>
                    <a:pt x="902" y="707"/>
                  </a:moveTo>
                  <a:lnTo>
                    <a:pt x="902" y="703"/>
                  </a:lnTo>
                  <a:lnTo>
                    <a:pt x="901" y="701"/>
                  </a:lnTo>
                  <a:lnTo>
                    <a:pt x="812" y="463"/>
                  </a:lnTo>
                  <a:lnTo>
                    <a:pt x="812" y="226"/>
                  </a:lnTo>
                  <a:lnTo>
                    <a:pt x="812" y="222"/>
                  </a:lnTo>
                  <a:lnTo>
                    <a:pt x="811" y="220"/>
                  </a:lnTo>
                  <a:lnTo>
                    <a:pt x="810" y="217"/>
                  </a:lnTo>
                  <a:lnTo>
                    <a:pt x="808" y="215"/>
                  </a:lnTo>
                  <a:lnTo>
                    <a:pt x="806" y="213"/>
                  </a:lnTo>
                  <a:lnTo>
                    <a:pt x="802" y="212"/>
                  </a:lnTo>
                  <a:lnTo>
                    <a:pt x="800" y="211"/>
                  </a:lnTo>
                  <a:lnTo>
                    <a:pt x="797" y="211"/>
                  </a:lnTo>
                  <a:lnTo>
                    <a:pt x="692" y="211"/>
                  </a:lnTo>
                  <a:lnTo>
                    <a:pt x="692" y="151"/>
                  </a:lnTo>
                  <a:lnTo>
                    <a:pt x="767" y="151"/>
                  </a:lnTo>
                  <a:lnTo>
                    <a:pt x="776" y="150"/>
                  </a:lnTo>
                  <a:lnTo>
                    <a:pt x="784" y="146"/>
                  </a:lnTo>
                  <a:lnTo>
                    <a:pt x="792" y="143"/>
                  </a:lnTo>
                  <a:lnTo>
                    <a:pt x="799" y="137"/>
                  </a:lnTo>
                  <a:lnTo>
                    <a:pt x="805" y="130"/>
                  </a:lnTo>
                  <a:lnTo>
                    <a:pt x="809" y="123"/>
                  </a:lnTo>
                  <a:lnTo>
                    <a:pt x="811" y="114"/>
                  </a:lnTo>
                  <a:lnTo>
                    <a:pt x="812" y="106"/>
                  </a:lnTo>
                  <a:lnTo>
                    <a:pt x="812" y="46"/>
                  </a:lnTo>
                  <a:lnTo>
                    <a:pt x="811" y="36"/>
                  </a:lnTo>
                  <a:lnTo>
                    <a:pt x="809" y="27"/>
                  </a:lnTo>
                  <a:lnTo>
                    <a:pt x="805" y="20"/>
                  </a:lnTo>
                  <a:lnTo>
                    <a:pt x="799" y="14"/>
                  </a:lnTo>
                  <a:lnTo>
                    <a:pt x="792" y="8"/>
                  </a:lnTo>
                  <a:lnTo>
                    <a:pt x="784" y="4"/>
                  </a:lnTo>
                  <a:lnTo>
                    <a:pt x="776" y="1"/>
                  </a:lnTo>
                  <a:lnTo>
                    <a:pt x="767" y="0"/>
                  </a:lnTo>
                  <a:lnTo>
                    <a:pt x="586" y="0"/>
                  </a:lnTo>
                  <a:lnTo>
                    <a:pt x="577" y="1"/>
                  </a:lnTo>
                  <a:lnTo>
                    <a:pt x="569" y="4"/>
                  </a:lnTo>
                  <a:lnTo>
                    <a:pt x="561" y="8"/>
                  </a:lnTo>
                  <a:lnTo>
                    <a:pt x="555" y="14"/>
                  </a:lnTo>
                  <a:lnTo>
                    <a:pt x="550" y="20"/>
                  </a:lnTo>
                  <a:lnTo>
                    <a:pt x="545" y="27"/>
                  </a:lnTo>
                  <a:lnTo>
                    <a:pt x="542" y="36"/>
                  </a:lnTo>
                  <a:lnTo>
                    <a:pt x="541" y="46"/>
                  </a:lnTo>
                  <a:lnTo>
                    <a:pt x="541" y="106"/>
                  </a:lnTo>
                  <a:lnTo>
                    <a:pt x="542" y="114"/>
                  </a:lnTo>
                  <a:lnTo>
                    <a:pt x="545" y="123"/>
                  </a:lnTo>
                  <a:lnTo>
                    <a:pt x="550" y="130"/>
                  </a:lnTo>
                  <a:lnTo>
                    <a:pt x="555" y="137"/>
                  </a:lnTo>
                  <a:lnTo>
                    <a:pt x="561" y="143"/>
                  </a:lnTo>
                  <a:lnTo>
                    <a:pt x="569" y="147"/>
                  </a:lnTo>
                  <a:lnTo>
                    <a:pt x="577" y="150"/>
                  </a:lnTo>
                  <a:lnTo>
                    <a:pt x="586" y="151"/>
                  </a:lnTo>
                  <a:lnTo>
                    <a:pt x="662" y="151"/>
                  </a:lnTo>
                  <a:lnTo>
                    <a:pt x="662" y="211"/>
                  </a:lnTo>
                  <a:lnTo>
                    <a:pt x="391" y="211"/>
                  </a:lnTo>
                  <a:lnTo>
                    <a:pt x="391" y="76"/>
                  </a:lnTo>
                  <a:lnTo>
                    <a:pt x="391" y="71"/>
                  </a:lnTo>
                  <a:lnTo>
                    <a:pt x="389" y="68"/>
                  </a:lnTo>
                  <a:lnTo>
                    <a:pt x="387" y="65"/>
                  </a:lnTo>
                  <a:lnTo>
                    <a:pt x="385" y="63"/>
                  </a:lnTo>
                  <a:lnTo>
                    <a:pt x="381" y="61"/>
                  </a:lnTo>
                  <a:lnTo>
                    <a:pt x="377" y="61"/>
                  </a:lnTo>
                  <a:lnTo>
                    <a:pt x="374" y="61"/>
                  </a:lnTo>
                  <a:lnTo>
                    <a:pt x="371" y="62"/>
                  </a:lnTo>
                  <a:lnTo>
                    <a:pt x="220" y="122"/>
                  </a:lnTo>
                  <a:lnTo>
                    <a:pt x="216" y="124"/>
                  </a:lnTo>
                  <a:lnTo>
                    <a:pt x="213" y="127"/>
                  </a:lnTo>
                  <a:lnTo>
                    <a:pt x="211" y="131"/>
                  </a:lnTo>
                  <a:lnTo>
                    <a:pt x="211" y="136"/>
                  </a:lnTo>
                  <a:lnTo>
                    <a:pt x="211" y="211"/>
                  </a:lnTo>
                  <a:lnTo>
                    <a:pt x="105" y="211"/>
                  </a:lnTo>
                  <a:lnTo>
                    <a:pt x="102" y="211"/>
                  </a:lnTo>
                  <a:lnTo>
                    <a:pt x="100" y="212"/>
                  </a:lnTo>
                  <a:lnTo>
                    <a:pt x="96" y="213"/>
                  </a:lnTo>
                  <a:lnTo>
                    <a:pt x="94" y="215"/>
                  </a:lnTo>
                  <a:lnTo>
                    <a:pt x="93" y="217"/>
                  </a:lnTo>
                  <a:lnTo>
                    <a:pt x="91" y="220"/>
                  </a:lnTo>
                  <a:lnTo>
                    <a:pt x="91" y="222"/>
                  </a:lnTo>
                  <a:lnTo>
                    <a:pt x="90" y="226"/>
                  </a:lnTo>
                  <a:lnTo>
                    <a:pt x="90" y="463"/>
                  </a:lnTo>
                  <a:lnTo>
                    <a:pt x="1" y="701"/>
                  </a:lnTo>
                  <a:lnTo>
                    <a:pt x="0" y="703"/>
                  </a:lnTo>
                  <a:lnTo>
                    <a:pt x="0" y="707"/>
                  </a:lnTo>
                  <a:lnTo>
                    <a:pt x="0" y="707"/>
                  </a:lnTo>
                  <a:lnTo>
                    <a:pt x="0" y="707"/>
                  </a:lnTo>
                  <a:lnTo>
                    <a:pt x="0" y="888"/>
                  </a:lnTo>
                  <a:lnTo>
                    <a:pt x="0" y="890"/>
                  </a:lnTo>
                  <a:lnTo>
                    <a:pt x="1" y="893"/>
                  </a:lnTo>
                  <a:lnTo>
                    <a:pt x="2" y="895"/>
                  </a:lnTo>
                  <a:lnTo>
                    <a:pt x="4" y="897"/>
                  </a:lnTo>
                  <a:lnTo>
                    <a:pt x="6" y="899"/>
                  </a:lnTo>
                  <a:lnTo>
                    <a:pt x="10" y="900"/>
                  </a:lnTo>
                  <a:lnTo>
                    <a:pt x="12" y="902"/>
                  </a:lnTo>
                  <a:lnTo>
                    <a:pt x="15" y="903"/>
                  </a:lnTo>
                  <a:lnTo>
                    <a:pt x="887" y="903"/>
                  </a:lnTo>
                  <a:lnTo>
                    <a:pt x="890" y="902"/>
                  </a:lnTo>
                  <a:lnTo>
                    <a:pt x="893" y="900"/>
                  </a:lnTo>
                  <a:lnTo>
                    <a:pt x="896" y="899"/>
                  </a:lnTo>
                  <a:lnTo>
                    <a:pt x="898" y="897"/>
                  </a:lnTo>
                  <a:lnTo>
                    <a:pt x="900" y="895"/>
                  </a:lnTo>
                  <a:lnTo>
                    <a:pt x="901" y="893"/>
                  </a:lnTo>
                  <a:lnTo>
                    <a:pt x="902" y="890"/>
                  </a:lnTo>
                  <a:lnTo>
                    <a:pt x="902" y="888"/>
                  </a:lnTo>
                  <a:lnTo>
                    <a:pt x="902" y="707"/>
                  </a:lnTo>
                  <a:lnTo>
                    <a:pt x="902" y="707"/>
                  </a:lnTo>
                  <a:lnTo>
                    <a:pt x="902" y="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5" name="Freeform 83">
              <a:extLst>
                <a:ext uri="{FF2B5EF4-FFF2-40B4-BE49-F238E27FC236}">
                  <a16:creationId xmlns:a16="http://schemas.microsoft.com/office/drawing/2014/main" id="{F2AA0172-F042-4D01-A2C4-7467A320F728}"/>
                </a:ext>
              </a:extLst>
            </p:cNvPr>
            <p:cNvSpPr>
              <a:spLocks/>
            </p:cNvSpPr>
            <p:nvPr/>
          </p:nvSpPr>
          <p:spPr bwMode="auto">
            <a:xfrm>
              <a:off x="6540500" y="1019175"/>
              <a:ext cx="85725" cy="19050"/>
            </a:xfrm>
            <a:custGeom>
              <a:avLst/>
              <a:gdLst>
                <a:gd name="T0" fmla="*/ 15 w 270"/>
                <a:gd name="T1" fmla="*/ 60 h 60"/>
                <a:gd name="T2" fmla="*/ 18 w 270"/>
                <a:gd name="T3" fmla="*/ 60 h 60"/>
                <a:gd name="T4" fmla="*/ 20 w 270"/>
                <a:gd name="T5" fmla="*/ 59 h 60"/>
                <a:gd name="T6" fmla="*/ 24 w 270"/>
                <a:gd name="T7" fmla="*/ 57 h 60"/>
                <a:gd name="T8" fmla="*/ 26 w 270"/>
                <a:gd name="T9" fmla="*/ 55 h 60"/>
                <a:gd name="T10" fmla="*/ 27 w 270"/>
                <a:gd name="T11" fmla="*/ 53 h 60"/>
                <a:gd name="T12" fmla="*/ 29 w 270"/>
                <a:gd name="T13" fmla="*/ 51 h 60"/>
                <a:gd name="T14" fmla="*/ 30 w 270"/>
                <a:gd name="T15" fmla="*/ 48 h 60"/>
                <a:gd name="T16" fmla="*/ 30 w 270"/>
                <a:gd name="T17" fmla="*/ 45 h 60"/>
                <a:gd name="T18" fmla="*/ 30 w 270"/>
                <a:gd name="T19" fmla="*/ 30 h 60"/>
                <a:gd name="T20" fmla="*/ 240 w 270"/>
                <a:gd name="T21" fmla="*/ 30 h 60"/>
                <a:gd name="T22" fmla="*/ 240 w 270"/>
                <a:gd name="T23" fmla="*/ 45 h 60"/>
                <a:gd name="T24" fmla="*/ 241 w 270"/>
                <a:gd name="T25" fmla="*/ 48 h 60"/>
                <a:gd name="T26" fmla="*/ 241 w 270"/>
                <a:gd name="T27" fmla="*/ 51 h 60"/>
                <a:gd name="T28" fmla="*/ 243 w 270"/>
                <a:gd name="T29" fmla="*/ 53 h 60"/>
                <a:gd name="T30" fmla="*/ 244 w 270"/>
                <a:gd name="T31" fmla="*/ 55 h 60"/>
                <a:gd name="T32" fmla="*/ 247 w 270"/>
                <a:gd name="T33" fmla="*/ 57 h 60"/>
                <a:gd name="T34" fmla="*/ 250 w 270"/>
                <a:gd name="T35" fmla="*/ 59 h 60"/>
                <a:gd name="T36" fmla="*/ 253 w 270"/>
                <a:gd name="T37" fmla="*/ 60 h 60"/>
                <a:gd name="T38" fmla="*/ 255 w 270"/>
                <a:gd name="T39" fmla="*/ 60 h 60"/>
                <a:gd name="T40" fmla="*/ 258 w 270"/>
                <a:gd name="T41" fmla="*/ 60 h 60"/>
                <a:gd name="T42" fmla="*/ 261 w 270"/>
                <a:gd name="T43" fmla="*/ 59 h 60"/>
                <a:gd name="T44" fmla="*/ 264 w 270"/>
                <a:gd name="T45" fmla="*/ 57 h 60"/>
                <a:gd name="T46" fmla="*/ 266 w 270"/>
                <a:gd name="T47" fmla="*/ 55 h 60"/>
                <a:gd name="T48" fmla="*/ 268 w 270"/>
                <a:gd name="T49" fmla="*/ 53 h 60"/>
                <a:gd name="T50" fmla="*/ 269 w 270"/>
                <a:gd name="T51" fmla="*/ 51 h 60"/>
                <a:gd name="T52" fmla="*/ 270 w 270"/>
                <a:gd name="T53" fmla="*/ 48 h 60"/>
                <a:gd name="T54" fmla="*/ 270 w 270"/>
                <a:gd name="T55" fmla="*/ 45 h 60"/>
                <a:gd name="T56" fmla="*/ 270 w 270"/>
                <a:gd name="T57" fmla="*/ 15 h 60"/>
                <a:gd name="T58" fmla="*/ 270 w 270"/>
                <a:gd name="T59" fmla="*/ 11 h 60"/>
                <a:gd name="T60" fmla="*/ 269 w 270"/>
                <a:gd name="T61" fmla="*/ 9 h 60"/>
                <a:gd name="T62" fmla="*/ 268 w 270"/>
                <a:gd name="T63" fmla="*/ 6 h 60"/>
                <a:gd name="T64" fmla="*/ 266 w 270"/>
                <a:gd name="T65" fmla="*/ 4 h 60"/>
                <a:gd name="T66" fmla="*/ 264 w 270"/>
                <a:gd name="T67" fmla="*/ 3 h 60"/>
                <a:gd name="T68" fmla="*/ 261 w 270"/>
                <a:gd name="T69" fmla="*/ 1 h 60"/>
                <a:gd name="T70" fmla="*/ 258 w 270"/>
                <a:gd name="T71" fmla="*/ 1 h 60"/>
                <a:gd name="T72" fmla="*/ 255 w 270"/>
                <a:gd name="T73" fmla="*/ 0 h 60"/>
                <a:gd name="T74" fmla="*/ 15 w 270"/>
                <a:gd name="T75" fmla="*/ 0 h 60"/>
                <a:gd name="T76" fmla="*/ 12 w 270"/>
                <a:gd name="T77" fmla="*/ 0 h 60"/>
                <a:gd name="T78" fmla="*/ 9 w 270"/>
                <a:gd name="T79" fmla="*/ 1 h 60"/>
                <a:gd name="T80" fmla="*/ 6 w 270"/>
                <a:gd name="T81" fmla="*/ 3 h 60"/>
                <a:gd name="T82" fmla="*/ 4 w 270"/>
                <a:gd name="T83" fmla="*/ 4 h 60"/>
                <a:gd name="T84" fmla="*/ 2 w 270"/>
                <a:gd name="T85" fmla="*/ 6 h 60"/>
                <a:gd name="T86" fmla="*/ 1 w 270"/>
                <a:gd name="T87" fmla="*/ 9 h 60"/>
                <a:gd name="T88" fmla="*/ 0 w 270"/>
                <a:gd name="T89" fmla="*/ 11 h 60"/>
                <a:gd name="T90" fmla="*/ 0 w 270"/>
                <a:gd name="T91" fmla="*/ 15 h 60"/>
                <a:gd name="T92" fmla="*/ 0 w 270"/>
                <a:gd name="T93" fmla="*/ 45 h 60"/>
                <a:gd name="T94" fmla="*/ 0 w 270"/>
                <a:gd name="T95" fmla="*/ 48 h 60"/>
                <a:gd name="T96" fmla="*/ 1 w 270"/>
                <a:gd name="T97" fmla="*/ 51 h 60"/>
                <a:gd name="T98" fmla="*/ 2 w 270"/>
                <a:gd name="T99" fmla="*/ 53 h 60"/>
                <a:gd name="T100" fmla="*/ 4 w 270"/>
                <a:gd name="T101" fmla="*/ 55 h 60"/>
                <a:gd name="T102" fmla="*/ 6 w 270"/>
                <a:gd name="T103" fmla="*/ 57 h 60"/>
                <a:gd name="T104" fmla="*/ 9 w 270"/>
                <a:gd name="T105" fmla="*/ 59 h 60"/>
                <a:gd name="T106" fmla="*/ 12 w 270"/>
                <a:gd name="T107" fmla="*/ 60 h 60"/>
                <a:gd name="T108" fmla="*/ 15 w 270"/>
                <a:gd name="T109" fmla="*/ 60 h 60"/>
                <a:gd name="T110" fmla="*/ 15 w 270"/>
                <a:gd name="T11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0" h="60">
                  <a:moveTo>
                    <a:pt x="15" y="60"/>
                  </a:moveTo>
                  <a:lnTo>
                    <a:pt x="18" y="60"/>
                  </a:lnTo>
                  <a:lnTo>
                    <a:pt x="20" y="59"/>
                  </a:lnTo>
                  <a:lnTo>
                    <a:pt x="24" y="57"/>
                  </a:lnTo>
                  <a:lnTo>
                    <a:pt x="26" y="55"/>
                  </a:lnTo>
                  <a:lnTo>
                    <a:pt x="27" y="53"/>
                  </a:lnTo>
                  <a:lnTo>
                    <a:pt x="29" y="51"/>
                  </a:lnTo>
                  <a:lnTo>
                    <a:pt x="30" y="48"/>
                  </a:lnTo>
                  <a:lnTo>
                    <a:pt x="30" y="45"/>
                  </a:lnTo>
                  <a:lnTo>
                    <a:pt x="30" y="30"/>
                  </a:lnTo>
                  <a:lnTo>
                    <a:pt x="240" y="30"/>
                  </a:lnTo>
                  <a:lnTo>
                    <a:pt x="240" y="45"/>
                  </a:lnTo>
                  <a:lnTo>
                    <a:pt x="241" y="48"/>
                  </a:lnTo>
                  <a:lnTo>
                    <a:pt x="241" y="51"/>
                  </a:lnTo>
                  <a:lnTo>
                    <a:pt x="243" y="53"/>
                  </a:lnTo>
                  <a:lnTo>
                    <a:pt x="244" y="55"/>
                  </a:lnTo>
                  <a:lnTo>
                    <a:pt x="247" y="57"/>
                  </a:lnTo>
                  <a:lnTo>
                    <a:pt x="250" y="59"/>
                  </a:lnTo>
                  <a:lnTo>
                    <a:pt x="253" y="60"/>
                  </a:lnTo>
                  <a:lnTo>
                    <a:pt x="255" y="60"/>
                  </a:lnTo>
                  <a:lnTo>
                    <a:pt x="258" y="60"/>
                  </a:lnTo>
                  <a:lnTo>
                    <a:pt x="261" y="59"/>
                  </a:lnTo>
                  <a:lnTo>
                    <a:pt x="264" y="57"/>
                  </a:lnTo>
                  <a:lnTo>
                    <a:pt x="266" y="55"/>
                  </a:lnTo>
                  <a:lnTo>
                    <a:pt x="268" y="53"/>
                  </a:lnTo>
                  <a:lnTo>
                    <a:pt x="269" y="51"/>
                  </a:lnTo>
                  <a:lnTo>
                    <a:pt x="270" y="48"/>
                  </a:lnTo>
                  <a:lnTo>
                    <a:pt x="270" y="45"/>
                  </a:lnTo>
                  <a:lnTo>
                    <a:pt x="270" y="15"/>
                  </a:lnTo>
                  <a:lnTo>
                    <a:pt x="270" y="11"/>
                  </a:lnTo>
                  <a:lnTo>
                    <a:pt x="269" y="9"/>
                  </a:lnTo>
                  <a:lnTo>
                    <a:pt x="268" y="6"/>
                  </a:lnTo>
                  <a:lnTo>
                    <a:pt x="266" y="4"/>
                  </a:lnTo>
                  <a:lnTo>
                    <a:pt x="264" y="3"/>
                  </a:lnTo>
                  <a:lnTo>
                    <a:pt x="261" y="1"/>
                  </a:lnTo>
                  <a:lnTo>
                    <a:pt x="258" y="1"/>
                  </a:lnTo>
                  <a:lnTo>
                    <a:pt x="255" y="0"/>
                  </a:lnTo>
                  <a:lnTo>
                    <a:pt x="15" y="0"/>
                  </a:lnTo>
                  <a:lnTo>
                    <a:pt x="12" y="0"/>
                  </a:lnTo>
                  <a:lnTo>
                    <a:pt x="9" y="1"/>
                  </a:lnTo>
                  <a:lnTo>
                    <a:pt x="6" y="3"/>
                  </a:lnTo>
                  <a:lnTo>
                    <a:pt x="4" y="4"/>
                  </a:lnTo>
                  <a:lnTo>
                    <a:pt x="2" y="6"/>
                  </a:lnTo>
                  <a:lnTo>
                    <a:pt x="1" y="9"/>
                  </a:lnTo>
                  <a:lnTo>
                    <a:pt x="0" y="11"/>
                  </a:lnTo>
                  <a:lnTo>
                    <a:pt x="0" y="15"/>
                  </a:lnTo>
                  <a:lnTo>
                    <a:pt x="0" y="45"/>
                  </a:lnTo>
                  <a:lnTo>
                    <a:pt x="0" y="48"/>
                  </a:lnTo>
                  <a:lnTo>
                    <a:pt x="1" y="51"/>
                  </a:lnTo>
                  <a:lnTo>
                    <a:pt x="2" y="53"/>
                  </a:lnTo>
                  <a:lnTo>
                    <a:pt x="4" y="55"/>
                  </a:lnTo>
                  <a:lnTo>
                    <a:pt x="6" y="57"/>
                  </a:lnTo>
                  <a:lnTo>
                    <a:pt x="9" y="59"/>
                  </a:lnTo>
                  <a:lnTo>
                    <a:pt x="12" y="60"/>
                  </a:lnTo>
                  <a:lnTo>
                    <a:pt x="15" y="60"/>
                  </a:ln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6" name="Rectangle 84">
              <a:extLst>
                <a:ext uri="{FF2B5EF4-FFF2-40B4-BE49-F238E27FC236}">
                  <a16:creationId xmlns:a16="http://schemas.microsoft.com/office/drawing/2014/main" id="{854ED9D4-FF9E-4FF0-AF6C-621825DB2C45}"/>
                </a:ext>
              </a:extLst>
            </p:cNvPr>
            <p:cNvSpPr>
              <a:spLocks noChangeArrowheads="1"/>
            </p:cNvSpPr>
            <p:nvPr/>
          </p:nvSpPr>
          <p:spPr bwMode="auto">
            <a:xfrm>
              <a:off x="6510338"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7" name="Rectangle 85">
              <a:extLst>
                <a:ext uri="{FF2B5EF4-FFF2-40B4-BE49-F238E27FC236}">
                  <a16:creationId xmlns:a16="http://schemas.microsoft.com/office/drawing/2014/main" id="{86300B1F-AC06-43FE-8EA0-916364A79A40}"/>
                </a:ext>
              </a:extLst>
            </p:cNvPr>
            <p:cNvSpPr>
              <a:spLocks noChangeArrowheads="1"/>
            </p:cNvSpPr>
            <p:nvPr/>
          </p:nvSpPr>
          <p:spPr bwMode="auto">
            <a:xfrm>
              <a:off x="6546850"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8" name="Rectangle 86">
              <a:extLst>
                <a:ext uri="{FF2B5EF4-FFF2-40B4-BE49-F238E27FC236}">
                  <a16:creationId xmlns:a16="http://schemas.microsoft.com/office/drawing/2014/main" id="{095D9EF1-1937-43C1-B062-191B3C233CB2}"/>
                </a:ext>
              </a:extLst>
            </p:cNvPr>
            <p:cNvSpPr>
              <a:spLocks noChangeArrowheads="1"/>
            </p:cNvSpPr>
            <p:nvPr/>
          </p:nvSpPr>
          <p:spPr bwMode="auto">
            <a:xfrm>
              <a:off x="6581775" y="971550"/>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89" name="Rectangle 87">
              <a:extLst>
                <a:ext uri="{FF2B5EF4-FFF2-40B4-BE49-F238E27FC236}">
                  <a16:creationId xmlns:a16="http://schemas.microsoft.com/office/drawing/2014/main" id="{E6B6D071-81A7-4FF2-AFA5-F0FACD67724B}"/>
                </a:ext>
              </a:extLst>
            </p:cNvPr>
            <p:cNvSpPr>
              <a:spLocks noChangeArrowheads="1"/>
            </p:cNvSpPr>
            <p:nvPr/>
          </p:nvSpPr>
          <p:spPr bwMode="auto">
            <a:xfrm>
              <a:off x="6618288" y="971550"/>
              <a:ext cx="127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0" name="Rectangle 88">
              <a:extLst>
                <a:ext uri="{FF2B5EF4-FFF2-40B4-BE49-F238E27FC236}">
                  <a16:creationId xmlns:a16="http://schemas.microsoft.com/office/drawing/2014/main" id="{B10491E2-955B-4ED9-8222-7CF951FEEA13}"/>
                </a:ext>
              </a:extLst>
            </p:cNvPr>
            <p:cNvSpPr>
              <a:spLocks noChangeArrowheads="1"/>
            </p:cNvSpPr>
            <p:nvPr/>
          </p:nvSpPr>
          <p:spPr bwMode="auto">
            <a:xfrm>
              <a:off x="6654800" y="971550"/>
              <a:ext cx="1111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1" name="Rectangle 89">
              <a:extLst>
                <a:ext uri="{FF2B5EF4-FFF2-40B4-BE49-F238E27FC236}">
                  <a16:creationId xmlns:a16="http://schemas.microsoft.com/office/drawing/2014/main" id="{1FBD1490-F85C-42AA-9A15-B15E9EDB9F82}"/>
                </a:ext>
              </a:extLst>
            </p:cNvPr>
            <p:cNvSpPr>
              <a:spLocks noChangeArrowheads="1"/>
            </p:cNvSpPr>
            <p:nvPr/>
          </p:nvSpPr>
          <p:spPr bwMode="auto">
            <a:xfrm>
              <a:off x="6637338" y="954088"/>
              <a:ext cx="11113"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2" name="Rectangle 90">
              <a:extLst>
                <a:ext uri="{FF2B5EF4-FFF2-40B4-BE49-F238E27FC236}">
                  <a16:creationId xmlns:a16="http://schemas.microsoft.com/office/drawing/2014/main" id="{BDA54E70-EDF7-4EFD-ACFA-9C67FEE3E94D}"/>
                </a:ext>
              </a:extLst>
            </p:cNvPr>
            <p:cNvSpPr>
              <a:spLocks noChangeArrowheads="1"/>
            </p:cNvSpPr>
            <p:nvPr/>
          </p:nvSpPr>
          <p:spPr bwMode="auto">
            <a:xfrm>
              <a:off x="6600825" y="954088"/>
              <a:ext cx="11113"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3" name="Rectangle 91">
              <a:extLst>
                <a:ext uri="{FF2B5EF4-FFF2-40B4-BE49-F238E27FC236}">
                  <a16:creationId xmlns:a16="http://schemas.microsoft.com/office/drawing/2014/main" id="{4C59DAD5-9AE1-4DDF-8458-C1E3067956AF}"/>
                </a:ext>
              </a:extLst>
            </p:cNvPr>
            <p:cNvSpPr>
              <a:spLocks noChangeArrowheads="1"/>
            </p:cNvSpPr>
            <p:nvPr/>
          </p:nvSpPr>
          <p:spPr bwMode="auto">
            <a:xfrm>
              <a:off x="6564313" y="954088"/>
              <a:ext cx="1270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4" name="Rectangle 92">
              <a:extLst>
                <a:ext uri="{FF2B5EF4-FFF2-40B4-BE49-F238E27FC236}">
                  <a16:creationId xmlns:a16="http://schemas.microsoft.com/office/drawing/2014/main" id="{3823D01C-46F6-4C72-A42E-1C6D15477B80}"/>
                </a:ext>
              </a:extLst>
            </p:cNvPr>
            <p:cNvSpPr>
              <a:spLocks noChangeArrowheads="1"/>
            </p:cNvSpPr>
            <p:nvPr/>
          </p:nvSpPr>
          <p:spPr bwMode="auto">
            <a:xfrm>
              <a:off x="6527800" y="954088"/>
              <a:ext cx="12700"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5" name="Freeform 93">
              <a:extLst>
                <a:ext uri="{FF2B5EF4-FFF2-40B4-BE49-F238E27FC236}">
                  <a16:creationId xmlns:a16="http://schemas.microsoft.com/office/drawing/2014/main" id="{BB4D84B1-D34C-4A13-8DBC-D593B5DD1BEE}"/>
                </a:ext>
              </a:extLst>
            </p:cNvPr>
            <p:cNvSpPr>
              <a:spLocks noEditPoints="1"/>
            </p:cNvSpPr>
            <p:nvPr/>
          </p:nvSpPr>
          <p:spPr bwMode="auto">
            <a:xfrm>
              <a:off x="6502400" y="866775"/>
              <a:ext cx="76200" cy="47625"/>
            </a:xfrm>
            <a:custGeom>
              <a:avLst/>
              <a:gdLst>
                <a:gd name="T0" fmla="*/ 211 w 241"/>
                <a:gd name="T1" fmla="*/ 120 h 150"/>
                <a:gd name="T2" fmla="*/ 31 w 241"/>
                <a:gd name="T3" fmla="*/ 120 h 150"/>
                <a:gd name="T4" fmla="*/ 31 w 241"/>
                <a:gd name="T5" fmla="*/ 30 h 150"/>
                <a:gd name="T6" fmla="*/ 211 w 241"/>
                <a:gd name="T7" fmla="*/ 30 h 150"/>
                <a:gd name="T8" fmla="*/ 211 w 241"/>
                <a:gd name="T9" fmla="*/ 120 h 150"/>
                <a:gd name="T10" fmla="*/ 226 w 241"/>
                <a:gd name="T11" fmla="*/ 0 h 150"/>
                <a:gd name="T12" fmla="*/ 15 w 241"/>
                <a:gd name="T13" fmla="*/ 0 h 150"/>
                <a:gd name="T14" fmla="*/ 13 w 241"/>
                <a:gd name="T15" fmla="*/ 0 h 150"/>
                <a:gd name="T16" fmla="*/ 10 w 241"/>
                <a:gd name="T17" fmla="*/ 1 h 150"/>
                <a:gd name="T18" fmla="*/ 7 w 241"/>
                <a:gd name="T19" fmla="*/ 2 h 150"/>
                <a:gd name="T20" fmla="*/ 5 w 241"/>
                <a:gd name="T21" fmla="*/ 4 h 150"/>
                <a:gd name="T22" fmla="*/ 3 w 241"/>
                <a:gd name="T23" fmla="*/ 6 h 150"/>
                <a:gd name="T24" fmla="*/ 2 w 241"/>
                <a:gd name="T25" fmla="*/ 9 h 150"/>
                <a:gd name="T26" fmla="*/ 1 w 241"/>
                <a:gd name="T27" fmla="*/ 11 h 150"/>
                <a:gd name="T28" fmla="*/ 0 w 241"/>
                <a:gd name="T29" fmla="*/ 15 h 150"/>
                <a:gd name="T30" fmla="*/ 0 w 241"/>
                <a:gd name="T31" fmla="*/ 135 h 150"/>
                <a:gd name="T32" fmla="*/ 1 w 241"/>
                <a:gd name="T33" fmla="*/ 138 h 150"/>
                <a:gd name="T34" fmla="*/ 2 w 241"/>
                <a:gd name="T35" fmla="*/ 141 h 150"/>
                <a:gd name="T36" fmla="*/ 3 w 241"/>
                <a:gd name="T37" fmla="*/ 143 h 150"/>
                <a:gd name="T38" fmla="*/ 5 w 241"/>
                <a:gd name="T39" fmla="*/ 145 h 150"/>
                <a:gd name="T40" fmla="*/ 7 w 241"/>
                <a:gd name="T41" fmla="*/ 147 h 150"/>
                <a:gd name="T42" fmla="*/ 10 w 241"/>
                <a:gd name="T43" fmla="*/ 149 h 150"/>
                <a:gd name="T44" fmla="*/ 13 w 241"/>
                <a:gd name="T45" fmla="*/ 150 h 150"/>
                <a:gd name="T46" fmla="*/ 15 w 241"/>
                <a:gd name="T47" fmla="*/ 150 h 150"/>
                <a:gd name="T48" fmla="*/ 226 w 241"/>
                <a:gd name="T49" fmla="*/ 150 h 150"/>
                <a:gd name="T50" fmla="*/ 229 w 241"/>
                <a:gd name="T51" fmla="*/ 150 h 150"/>
                <a:gd name="T52" fmla="*/ 231 w 241"/>
                <a:gd name="T53" fmla="*/ 149 h 150"/>
                <a:gd name="T54" fmla="*/ 235 w 241"/>
                <a:gd name="T55" fmla="*/ 147 h 150"/>
                <a:gd name="T56" fmla="*/ 237 w 241"/>
                <a:gd name="T57" fmla="*/ 145 h 150"/>
                <a:gd name="T58" fmla="*/ 239 w 241"/>
                <a:gd name="T59" fmla="*/ 143 h 150"/>
                <a:gd name="T60" fmla="*/ 240 w 241"/>
                <a:gd name="T61" fmla="*/ 141 h 150"/>
                <a:gd name="T62" fmla="*/ 241 w 241"/>
                <a:gd name="T63" fmla="*/ 138 h 150"/>
                <a:gd name="T64" fmla="*/ 241 w 241"/>
                <a:gd name="T65" fmla="*/ 135 h 150"/>
                <a:gd name="T66" fmla="*/ 241 w 241"/>
                <a:gd name="T67" fmla="*/ 15 h 150"/>
                <a:gd name="T68" fmla="*/ 241 w 241"/>
                <a:gd name="T69" fmla="*/ 11 h 150"/>
                <a:gd name="T70" fmla="*/ 240 w 241"/>
                <a:gd name="T71" fmla="*/ 9 h 150"/>
                <a:gd name="T72" fmla="*/ 239 w 241"/>
                <a:gd name="T73" fmla="*/ 6 h 150"/>
                <a:gd name="T74" fmla="*/ 237 w 241"/>
                <a:gd name="T75" fmla="*/ 4 h 150"/>
                <a:gd name="T76" fmla="*/ 235 w 241"/>
                <a:gd name="T77" fmla="*/ 2 h 150"/>
                <a:gd name="T78" fmla="*/ 231 w 241"/>
                <a:gd name="T79" fmla="*/ 1 h 150"/>
                <a:gd name="T80" fmla="*/ 229 w 241"/>
                <a:gd name="T81" fmla="*/ 0 h 150"/>
                <a:gd name="T82" fmla="*/ 226 w 241"/>
                <a:gd name="T83" fmla="*/ 0 h 150"/>
                <a:gd name="T84" fmla="*/ 226 w 241"/>
                <a:gd name="T8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150">
                  <a:moveTo>
                    <a:pt x="211" y="120"/>
                  </a:moveTo>
                  <a:lnTo>
                    <a:pt x="31" y="120"/>
                  </a:lnTo>
                  <a:lnTo>
                    <a:pt x="31" y="30"/>
                  </a:lnTo>
                  <a:lnTo>
                    <a:pt x="211" y="30"/>
                  </a:lnTo>
                  <a:lnTo>
                    <a:pt x="211" y="120"/>
                  </a:lnTo>
                  <a:close/>
                  <a:moveTo>
                    <a:pt x="226" y="0"/>
                  </a:moveTo>
                  <a:lnTo>
                    <a:pt x="15" y="0"/>
                  </a:lnTo>
                  <a:lnTo>
                    <a:pt x="13" y="0"/>
                  </a:lnTo>
                  <a:lnTo>
                    <a:pt x="10" y="1"/>
                  </a:lnTo>
                  <a:lnTo>
                    <a:pt x="7" y="2"/>
                  </a:lnTo>
                  <a:lnTo>
                    <a:pt x="5" y="4"/>
                  </a:lnTo>
                  <a:lnTo>
                    <a:pt x="3" y="6"/>
                  </a:lnTo>
                  <a:lnTo>
                    <a:pt x="2" y="9"/>
                  </a:lnTo>
                  <a:lnTo>
                    <a:pt x="1" y="11"/>
                  </a:lnTo>
                  <a:lnTo>
                    <a:pt x="0" y="15"/>
                  </a:lnTo>
                  <a:lnTo>
                    <a:pt x="0" y="135"/>
                  </a:lnTo>
                  <a:lnTo>
                    <a:pt x="1" y="138"/>
                  </a:lnTo>
                  <a:lnTo>
                    <a:pt x="2" y="141"/>
                  </a:lnTo>
                  <a:lnTo>
                    <a:pt x="3" y="143"/>
                  </a:lnTo>
                  <a:lnTo>
                    <a:pt x="5" y="145"/>
                  </a:lnTo>
                  <a:lnTo>
                    <a:pt x="7" y="147"/>
                  </a:lnTo>
                  <a:lnTo>
                    <a:pt x="10" y="149"/>
                  </a:lnTo>
                  <a:lnTo>
                    <a:pt x="13" y="150"/>
                  </a:lnTo>
                  <a:lnTo>
                    <a:pt x="15" y="150"/>
                  </a:lnTo>
                  <a:lnTo>
                    <a:pt x="226" y="150"/>
                  </a:lnTo>
                  <a:lnTo>
                    <a:pt x="229" y="150"/>
                  </a:lnTo>
                  <a:lnTo>
                    <a:pt x="231" y="149"/>
                  </a:lnTo>
                  <a:lnTo>
                    <a:pt x="235" y="147"/>
                  </a:lnTo>
                  <a:lnTo>
                    <a:pt x="237" y="145"/>
                  </a:lnTo>
                  <a:lnTo>
                    <a:pt x="239" y="143"/>
                  </a:lnTo>
                  <a:lnTo>
                    <a:pt x="240" y="141"/>
                  </a:lnTo>
                  <a:lnTo>
                    <a:pt x="241" y="138"/>
                  </a:lnTo>
                  <a:lnTo>
                    <a:pt x="241" y="135"/>
                  </a:lnTo>
                  <a:lnTo>
                    <a:pt x="241" y="15"/>
                  </a:lnTo>
                  <a:lnTo>
                    <a:pt x="241" y="11"/>
                  </a:lnTo>
                  <a:lnTo>
                    <a:pt x="240" y="9"/>
                  </a:lnTo>
                  <a:lnTo>
                    <a:pt x="239" y="6"/>
                  </a:lnTo>
                  <a:lnTo>
                    <a:pt x="237" y="4"/>
                  </a:lnTo>
                  <a:lnTo>
                    <a:pt x="235" y="2"/>
                  </a:lnTo>
                  <a:lnTo>
                    <a:pt x="231" y="1"/>
                  </a:lnTo>
                  <a:lnTo>
                    <a:pt x="229" y="0"/>
                  </a:lnTo>
                  <a:lnTo>
                    <a:pt x="226"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6" name="Freeform 94">
              <a:extLst>
                <a:ext uri="{FF2B5EF4-FFF2-40B4-BE49-F238E27FC236}">
                  <a16:creationId xmlns:a16="http://schemas.microsoft.com/office/drawing/2014/main" id="{4C2A5FA8-C765-4600-BDF5-D662D7C84743}"/>
                </a:ext>
              </a:extLst>
            </p:cNvPr>
            <p:cNvSpPr>
              <a:spLocks/>
            </p:cNvSpPr>
            <p:nvPr/>
          </p:nvSpPr>
          <p:spPr bwMode="auto">
            <a:xfrm>
              <a:off x="6611938" y="885825"/>
              <a:ext cx="57150" cy="9525"/>
            </a:xfrm>
            <a:custGeom>
              <a:avLst/>
              <a:gdLst>
                <a:gd name="T0" fmla="*/ 166 w 181"/>
                <a:gd name="T1" fmla="*/ 0 h 30"/>
                <a:gd name="T2" fmla="*/ 15 w 181"/>
                <a:gd name="T3" fmla="*/ 0 h 30"/>
                <a:gd name="T4" fmla="*/ 12 w 181"/>
                <a:gd name="T5" fmla="*/ 1 h 30"/>
                <a:gd name="T6" fmla="*/ 10 w 181"/>
                <a:gd name="T7" fmla="*/ 1 h 30"/>
                <a:gd name="T8" fmla="*/ 6 w 181"/>
                <a:gd name="T9" fmla="*/ 3 h 30"/>
                <a:gd name="T10" fmla="*/ 4 w 181"/>
                <a:gd name="T11" fmla="*/ 4 h 30"/>
                <a:gd name="T12" fmla="*/ 3 w 181"/>
                <a:gd name="T13" fmla="*/ 6 h 30"/>
                <a:gd name="T14" fmla="*/ 1 w 181"/>
                <a:gd name="T15" fmla="*/ 9 h 30"/>
                <a:gd name="T16" fmla="*/ 1 w 181"/>
                <a:gd name="T17" fmla="*/ 11 h 30"/>
                <a:gd name="T18" fmla="*/ 0 w 181"/>
                <a:gd name="T19" fmla="*/ 15 h 30"/>
                <a:gd name="T20" fmla="*/ 1 w 181"/>
                <a:gd name="T21" fmla="*/ 18 h 30"/>
                <a:gd name="T22" fmla="*/ 1 w 181"/>
                <a:gd name="T23" fmla="*/ 21 h 30"/>
                <a:gd name="T24" fmla="*/ 3 w 181"/>
                <a:gd name="T25" fmla="*/ 23 h 30"/>
                <a:gd name="T26" fmla="*/ 4 w 181"/>
                <a:gd name="T27" fmla="*/ 25 h 30"/>
                <a:gd name="T28" fmla="*/ 6 w 181"/>
                <a:gd name="T29" fmla="*/ 27 h 30"/>
                <a:gd name="T30" fmla="*/ 10 w 181"/>
                <a:gd name="T31" fmla="*/ 29 h 30"/>
                <a:gd name="T32" fmla="*/ 12 w 181"/>
                <a:gd name="T33" fmla="*/ 30 h 30"/>
                <a:gd name="T34" fmla="*/ 15 w 181"/>
                <a:gd name="T35" fmla="*/ 30 h 30"/>
                <a:gd name="T36" fmla="*/ 166 w 181"/>
                <a:gd name="T37" fmla="*/ 30 h 30"/>
                <a:gd name="T38" fmla="*/ 168 w 181"/>
                <a:gd name="T39" fmla="*/ 30 h 30"/>
                <a:gd name="T40" fmla="*/ 171 w 181"/>
                <a:gd name="T41" fmla="*/ 29 h 30"/>
                <a:gd name="T42" fmla="*/ 174 w 181"/>
                <a:gd name="T43" fmla="*/ 27 h 30"/>
                <a:gd name="T44" fmla="*/ 177 w 181"/>
                <a:gd name="T45" fmla="*/ 25 h 30"/>
                <a:gd name="T46" fmla="*/ 178 w 181"/>
                <a:gd name="T47" fmla="*/ 23 h 30"/>
                <a:gd name="T48" fmla="*/ 180 w 181"/>
                <a:gd name="T49" fmla="*/ 21 h 30"/>
                <a:gd name="T50" fmla="*/ 180 w 181"/>
                <a:gd name="T51" fmla="*/ 18 h 30"/>
                <a:gd name="T52" fmla="*/ 181 w 181"/>
                <a:gd name="T53" fmla="*/ 15 h 30"/>
                <a:gd name="T54" fmla="*/ 180 w 181"/>
                <a:gd name="T55" fmla="*/ 11 h 30"/>
                <a:gd name="T56" fmla="*/ 180 w 181"/>
                <a:gd name="T57" fmla="*/ 9 h 30"/>
                <a:gd name="T58" fmla="*/ 178 w 181"/>
                <a:gd name="T59" fmla="*/ 6 h 30"/>
                <a:gd name="T60" fmla="*/ 177 w 181"/>
                <a:gd name="T61" fmla="*/ 4 h 30"/>
                <a:gd name="T62" fmla="*/ 174 w 181"/>
                <a:gd name="T63" fmla="*/ 3 h 30"/>
                <a:gd name="T64" fmla="*/ 171 w 181"/>
                <a:gd name="T65" fmla="*/ 1 h 30"/>
                <a:gd name="T66" fmla="*/ 168 w 181"/>
                <a:gd name="T67" fmla="*/ 1 h 30"/>
                <a:gd name="T68" fmla="*/ 166 w 18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66" y="0"/>
                  </a:moveTo>
                  <a:lnTo>
                    <a:pt x="15" y="0"/>
                  </a:lnTo>
                  <a:lnTo>
                    <a:pt x="12" y="1"/>
                  </a:lnTo>
                  <a:lnTo>
                    <a:pt x="10" y="1"/>
                  </a:lnTo>
                  <a:lnTo>
                    <a:pt x="6" y="3"/>
                  </a:lnTo>
                  <a:lnTo>
                    <a:pt x="4" y="4"/>
                  </a:lnTo>
                  <a:lnTo>
                    <a:pt x="3" y="6"/>
                  </a:lnTo>
                  <a:lnTo>
                    <a:pt x="1" y="9"/>
                  </a:lnTo>
                  <a:lnTo>
                    <a:pt x="1" y="11"/>
                  </a:lnTo>
                  <a:lnTo>
                    <a:pt x="0" y="15"/>
                  </a:lnTo>
                  <a:lnTo>
                    <a:pt x="1" y="18"/>
                  </a:lnTo>
                  <a:lnTo>
                    <a:pt x="1" y="21"/>
                  </a:lnTo>
                  <a:lnTo>
                    <a:pt x="3" y="23"/>
                  </a:lnTo>
                  <a:lnTo>
                    <a:pt x="4" y="25"/>
                  </a:lnTo>
                  <a:lnTo>
                    <a:pt x="6" y="27"/>
                  </a:lnTo>
                  <a:lnTo>
                    <a:pt x="10" y="29"/>
                  </a:lnTo>
                  <a:lnTo>
                    <a:pt x="12" y="30"/>
                  </a:lnTo>
                  <a:lnTo>
                    <a:pt x="15" y="30"/>
                  </a:lnTo>
                  <a:lnTo>
                    <a:pt x="166" y="30"/>
                  </a:lnTo>
                  <a:lnTo>
                    <a:pt x="168" y="30"/>
                  </a:lnTo>
                  <a:lnTo>
                    <a:pt x="171" y="29"/>
                  </a:lnTo>
                  <a:lnTo>
                    <a:pt x="174" y="27"/>
                  </a:lnTo>
                  <a:lnTo>
                    <a:pt x="177" y="25"/>
                  </a:lnTo>
                  <a:lnTo>
                    <a:pt x="178" y="23"/>
                  </a:lnTo>
                  <a:lnTo>
                    <a:pt x="180" y="21"/>
                  </a:lnTo>
                  <a:lnTo>
                    <a:pt x="180" y="18"/>
                  </a:lnTo>
                  <a:lnTo>
                    <a:pt x="181" y="15"/>
                  </a:lnTo>
                  <a:lnTo>
                    <a:pt x="180" y="11"/>
                  </a:lnTo>
                  <a:lnTo>
                    <a:pt x="180" y="9"/>
                  </a:lnTo>
                  <a:lnTo>
                    <a:pt x="178" y="6"/>
                  </a:lnTo>
                  <a:lnTo>
                    <a:pt x="177" y="4"/>
                  </a:lnTo>
                  <a:lnTo>
                    <a:pt x="174" y="3"/>
                  </a:lnTo>
                  <a:lnTo>
                    <a:pt x="171" y="1"/>
                  </a:lnTo>
                  <a:lnTo>
                    <a:pt x="168" y="1"/>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106" name="Group 71">
            <a:extLst>
              <a:ext uri="{FF2B5EF4-FFF2-40B4-BE49-F238E27FC236}">
                <a16:creationId xmlns:a16="http://schemas.microsoft.com/office/drawing/2014/main" id="{A4C79041-600D-49D9-8753-1D9E9CF11CF7}"/>
              </a:ext>
            </a:extLst>
          </p:cNvPr>
          <p:cNvGrpSpPr>
            <a:grpSpLocks noChangeAspect="1"/>
          </p:cNvGrpSpPr>
          <p:nvPr/>
        </p:nvGrpSpPr>
        <p:grpSpPr>
          <a:xfrm>
            <a:off x="284400" y="4340505"/>
            <a:ext cx="329560" cy="285619"/>
            <a:chOff x="9309100" y="817245"/>
            <a:chExt cx="285750" cy="247650"/>
          </a:xfrm>
          <a:solidFill>
            <a:schemeClr val="bg1"/>
          </a:solidFill>
          <a:effectLst/>
        </p:grpSpPr>
        <p:sp>
          <p:nvSpPr>
            <p:cNvPr id="1107" name="Freeform 183">
              <a:extLst>
                <a:ext uri="{FF2B5EF4-FFF2-40B4-BE49-F238E27FC236}">
                  <a16:creationId xmlns:a16="http://schemas.microsoft.com/office/drawing/2014/main" id="{6B41A3E0-E55C-4FB7-984D-4BC482911E7B}"/>
                </a:ext>
              </a:extLst>
            </p:cNvPr>
            <p:cNvSpPr>
              <a:spLocks/>
            </p:cNvSpPr>
            <p:nvPr/>
          </p:nvSpPr>
          <p:spPr bwMode="auto">
            <a:xfrm>
              <a:off x="9309100" y="817245"/>
              <a:ext cx="285750" cy="190500"/>
            </a:xfrm>
            <a:custGeom>
              <a:avLst/>
              <a:gdLst>
                <a:gd name="T0" fmla="*/ 777 w 901"/>
                <a:gd name="T1" fmla="*/ 5 h 602"/>
                <a:gd name="T2" fmla="*/ 755 w 901"/>
                <a:gd name="T3" fmla="*/ 30 h 602"/>
                <a:gd name="T4" fmla="*/ 129 w 901"/>
                <a:gd name="T5" fmla="*/ 571 h 602"/>
                <a:gd name="T6" fmla="*/ 107 w 901"/>
                <a:gd name="T7" fmla="*/ 551 h 602"/>
                <a:gd name="T8" fmla="*/ 110 w 901"/>
                <a:gd name="T9" fmla="*/ 527 h 602"/>
                <a:gd name="T10" fmla="*/ 135 w 901"/>
                <a:gd name="T11" fmla="*/ 512 h 602"/>
                <a:gd name="T12" fmla="*/ 592 w 901"/>
                <a:gd name="T13" fmla="*/ 506 h 602"/>
                <a:gd name="T14" fmla="*/ 627 w 901"/>
                <a:gd name="T15" fmla="*/ 468 h 602"/>
                <a:gd name="T16" fmla="*/ 629 w 901"/>
                <a:gd name="T17" fmla="*/ 440 h 602"/>
                <a:gd name="T18" fmla="*/ 602 w 901"/>
                <a:gd name="T19" fmla="*/ 402 h 602"/>
                <a:gd name="T20" fmla="*/ 570 w 901"/>
                <a:gd name="T21" fmla="*/ 392 h 602"/>
                <a:gd name="T22" fmla="*/ 84 w 901"/>
                <a:gd name="T23" fmla="*/ 384 h 602"/>
                <a:gd name="T24" fmla="*/ 75 w 901"/>
                <a:gd name="T25" fmla="*/ 356 h 602"/>
                <a:gd name="T26" fmla="*/ 94 w 901"/>
                <a:gd name="T27" fmla="*/ 334 h 602"/>
                <a:gd name="T28" fmla="*/ 612 w 901"/>
                <a:gd name="T29" fmla="*/ 330 h 602"/>
                <a:gd name="T30" fmla="*/ 649 w 901"/>
                <a:gd name="T31" fmla="*/ 303 h 602"/>
                <a:gd name="T32" fmla="*/ 660 w 901"/>
                <a:gd name="T33" fmla="*/ 271 h 602"/>
                <a:gd name="T34" fmla="*/ 649 w 901"/>
                <a:gd name="T35" fmla="*/ 238 h 602"/>
                <a:gd name="T36" fmla="*/ 613 w 901"/>
                <a:gd name="T37" fmla="*/ 213 h 602"/>
                <a:gd name="T38" fmla="*/ 49 w 901"/>
                <a:gd name="T39" fmla="*/ 208 h 602"/>
                <a:gd name="T40" fmla="*/ 30 w 901"/>
                <a:gd name="T41" fmla="*/ 186 h 602"/>
                <a:gd name="T42" fmla="*/ 39 w 901"/>
                <a:gd name="T43" fmla="*/ 161 h 602"/>
                <a:gd name="T44" fmla="*/ 660 w 901"/>
                <a:gd name="T45" fmla="*/ 150 h 602"/>
                <a:gd name="T46" fmla="*/ 673 w 901"/>
                <a:gd name="T47" fmla="*/ 144 h 602"/>
                <a:gd name="T48" fmla="*/ 674 w 901"/>
                <a:gd name="T49" fmla="*/ 130 h 602"/>
                <a:gd name="T50" fmla="*/ 663 w 901"/>
                <a:gd name="T51" fmla="*/ 121 h 602"/>
                <a:gd name="T52" fmla="*/ 42 w 901"/>
                <a:gd name="T53" fmla="*/ 124 h 602"/>
                <a:gd name="T54" fmla="*/ 4 w 901"/>
                <a:gd name="T55" fmla="*/ 159 h 602"/>
                <a:gd name="T56" fmla="*/ 0 w 901"/>
                <a:gd name="T57" fmla="*/ 186 h 602"/>
                <a:gd name="T58" fmla="*/ 18 w 901"/>
                <a:gd name="T59" fmla="*/ 222 h 602"/>
                <a:gd name="T60" fmla="*/ 53 w 901"/>
                <a:gd name="T61" fmla="*/ 240 h 602"/>
                <a:gd name="T62" fmla="*/ 616 w 901"/>
                <a:gd name="T63" fmla="*/ 247 h 602"/>
                <a:gd name="T64" fmla="*/ 630 w 901"/>
                <a:gd name="T65" fmla="*/ 271 h 602"/>
                <a:gd name="T66" fmla="*/ 615 w 901"/>
                <a:gd name="T67" fmla="*/ 295 h 602"/>
                <a:gd name="T68" fmla="*/ 99 w 901"/>
                <a:gd name="T69" fmla="*/ 302 h 602"/>
                <a:gd name="T70" fmla="*/ 63 w 901"/>
                <a:gd name="T71" fmla="*/ 320 h 602"/>
                <a:gd name="T72" fmla="*/ 45 w 901"/>
                <a:gd name="T73" fmla="*/ 355 h 602"/>
                <a:gd name="T74" fmla="*/ 50 w 901"/>
                <a:gd name="T75" fmla="*/ 387 h 602"/>
                <a:gd name="T76" fmla="*/ 72 w 901"/>
                <a:gd name="T77" fmla="*/ 412 h 602"/>
                <a:gd name="T78" fmla="*/ 575 w 901"/>
                <a:gd name="T79" fmla="*/ 422 h 602"/>
                <a:gd name="T80" fmla="*/ 598 w 901"/>
                <a:gd name="T81" fmla="*/ 441 h 602"/>
                <a:gd name="T82" fmla="*/ 595 w 901"/>
                <a:gd name="T83" fmla="*/ 467 h 602"/>
                <a:gd name="T84" fmla="*/ 570 w 901"/>
                <a:gd name="T85" fmla="*/ 482 h 602"/>
                <a:gd name="T86" fmla="*/ 112 w 901"/>
                <a:gd name="T87" fmla="*/ 487 h 602"/>
                <a:gd name="T88" fmla="*/ 77 w 901"/>
                <a:gd name="T89" fmla="*/ 525 h 602"/>
                <a:gd name="T90" fmla="*/ 76 w 901"/>
                <a:gd name="T91" fmla="*/ 553 h 602"/>
                <a:gd name="T92" fmla="*/ 102 w 901"/>
                <a:gd name="T93" fmla="*/ 590 h 602"/>
                <a:gd name="T94" fmla="*/ 135 w 901"/>
                <a:gd name="T95" fmla="*/ 602 h 602"/>
                <a:gd name="T96" fmla="*/ 708 w 901"/>
                <a:gd name="T97" fmla="*/ 593 h 602"/>
                <a:gd name="T98" fmla="*/ 784 w 901"/>
                <a:gd name="T99" fmla="*/ 35 h 602"/>
                <a:gd name="T100" fmla="*/ 892 w 901"/>
                <a:gd name="T101" fmla="*/ 29 h 602"/>
                <a:gd name="T102" fmla="*/ 900 w 901"/>
                <a:gd name="T103" fmla="*/ 19 h 602"/>
                <a:gd name="T104" fmla="*/ 897 w 901"/>
                <a:gd name="T105" fmla="*/ 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602">
                  <a:moveTo>
                    <a:pt x="886" y="0"/>
                  </a:moveTo>
                  <a:lnTo>
                    <a:pt x="796" y="0"/>
                  </a:lnTo>
                  <a:lnTo>
                    <a:pt x="790" y="0"/>
                  </a:lnTo>
                  <a:lnTo>
                    <a:pt x="783" y="2"/>
                  </a:lnTo>
                  <a:lnTo>
                    <a:pt x="777" y="5"/>
                  </a:lnTo>
                  <a:lnTo>
                    <a:pt x="770" y="8"/>
                  </a:lnTo>
                  <a:lnTo>
                    <a:pt x="765" y="12"/>
                  </a:lnTo>
                  <a:lnTo>
                    <a:pt x="761" y="17"/>
                  </a:lnTo>
                  <a:lnTo>
                    <a:pt x="757" y="23"/>
                  </a:lnTo>
                  <a:lnTo>
                    <a:pt x="755" y="30"/>
                  </a:lnTo>
                  <a:lnTo>
                    <a:pt x="690" y="569"/>
                  </a:lnTo>
                  <a:lnTo>
                    <a:pt x="689" y="571"/>
                  </a:lnTo>
                  <a:lnTo>
                    <a:pt x="687" y="572"/>
                  </a:lnTo>
                  <a:lnTo>
                    <a:pt x="135" y="572"/>
                  </a:lnTo>
                  <a:lnTo>
                    <a:pt x="129" y="571"/>
                  </a:lnTo>
                  <a:lnTo>
                    <a:pt x="124" y="569"/>
                  </a:lnTo>
                  <a:lnTo>
                    <a:pt x="120" y="565"/>
                  </a:lnTo>
                  <a:lnTo>
                    <a:pt x="114" y="561"/>
                  </a:lnTo>
                  <a:lnTo>
                    <a:pt x="110" y="557"/>
                  </a:lnTo>
                  <a:lnTo>
                    <a:pt x="107" y="551"/>
                  </a:lnTo>
                  <a:lnTo>
                    <a:pt x="105" y="546"/>
                  </a:lnTo>
                  <a:lnTo>
                    <a:pt x="105" y="542"/>
                  </a:lnTo>
                  <a:lnTo>
                    <a:pt x="105" y="536"/>
                  </a:lnTo>
                  <a:lnTo>
                    <a:pt x="107" y="531"/>
                  </a:lnTo>
                  <a:lnTo>
                    <a:pt x="110" y="527"/>
                  </a:lnTo>
                  <a:lnTo>
                    <a:pt x="114" y="521"/>
                  </a:lnTo>
                  <a:lnTo>
                    <a:pt x="120" y="517"/>
                  </a:lnTo>
                  <a:lnTo>
                    <a:pt x="124" y="514"/>
                  </a:lnTo>
                  <a:lnTo>
                    <a:pt x="129" y="512"/>
                  </a:lnTo>
                  <a:lnTo>
                    <a:pt x="135" y="512"/>
                  </a:lnTo>
                  <a:lnTo>
                    <a:pt x="570" y="512"/>
                  </a:lnTo>
                  <a:lnTo>
                    <a:pt x="575" y="511"/>
                  </a:lnTo>
                  <a:lnTo>
                    <a:pt x="581" y="510"/>
                  </a:lnTo>
                  <a:lnTo>
                    <a:pt x="587" y="509"/>
                  </a:lnTo>
                  <a:lnTo>
                    <a:pt x="592" y="506"/>
                  </a:lnTo>
                  <a:lnTo>
                    <a:pt x="602" y="500"/>
                  </a:lnTo>
                  <a:lnTo>
                    <a:pt x="612" y="492"/>
                  </a:lnTo>
                  <a:lnTo>
                    <a:pt x="619" y="483"/>
                  </a:lnTo>
                  <a:lnTo>
                    <a:pt x="625" y="473"/>
                  </a:lnTo>
                  <a:lnTo>
                    <a:pt x="627" y="468"/>
                  </a:lnTo>
                  <a:lnTo>
                    <a:pt x="629" y="462"/>
                  </a:lnTo>
                  <a:lnTo>
                    <a:pt x="630" y="457"/>
                  </a:lnTo>
                  <a:lnTo>
                    <a:pt x="630" y="452"/>
                  </a:lnTo>
                  <a:lnTo>
                    <a:pt x="630" y="445"/>
                  </a:lnTo>
                  <a:lnTo>
                    <a:pt x="629" y="440"/>
                  </a:lnTo>
                  <a:lnTo>
                    <a:pt x="627" y="435"/>
                  </a:lnTo>
                  <a:lnTo>
                    <a:pt x="625" y="429"/>
                  </a:lnTo>
                  <a:lnTo>
                    <a:pt x="619" y="420"/>
                  </a:lnTo>
                  <a:lnTo>
                    <a:pt x="612" y="410"/>
                  </a:lnTo>
                  <a:lnTo>
                    <a:pt x="602" y="402"/>
                  </a:lnTo>
                  <a:lnTo>
                    <a:pt x="592" y="396"/>
                  </a:lnTo>
                  <a:lnTo>
                    <a:pt x="587" y="394"/>
                  </a:lnTo>
                  <a:lnTo>
                    <a:pt x="581" y="393"/>
                  </a:lnTo>
                  <a:lnTo>
                    <a:pt x="575" y="392"/>
                  </a:lnTo>
                  <a:lnTo>
                    <a:pt x="570" y="392"/>
                  </a:lnTo>
                  <a:lnTo>
                    <a:pt x="105" y="392"/>
                  </a:lnTo>
                  <a:lnTo>
                    <a:pt x="99" y="391"/>
                  </a:lnTo>
                  <a:lnTo>
                    <a:pt x="95" y="390"/>
                  </a:lnTo>
                  <a:lnTo>
                    <a:pt x="90" y="387"/>
                  </a:lnTo>
                  <a:lnTo>
                    <a:pt x="84" y="384"/>
                  </a:lnTo>
                  <a:lnTo>
                    <a:pt x="81" y="380"/>
                  </a:lnTo>
                  <a:lnTo>
                    <a:pt x="77" y="376"/>
                  </a:lnTo>
                  <a:lnTo>
                    <a:pt x="75" y="369"/>
                  </a:lnTo>
                  <a:lnTo>
                    <a:pt x="75" y="362"/>
                  </a:lnTo>
                  <a:lnTo>
                    <a:pt x="75" y="356"/>
                  </a:lnTo>
                  <a:lnTo>
                    <a:pt x="77" y="351"/>
                  </a:lnTo>
                  <a:lnTo>
                    <a:pt x="80" y="346"/>
                  </a:lnTo>
                  <a:lnTo>
                    <a:pt x="84" y="341"/>
                  </a:lnTo>
                  <a:lnTo>
                    <a:pt x="90" y="337"/>
                  </a:lnTo>
                  <a:lnTo>
                    <a:pt x="94" y="334"/>
                  </a:lnTo>
                  <a:lnTo>
                    <a:pt x="99" y="332"/>
                  </a:lnTo>
                  <a:lnTo>
                    <a:pt x="105" y="331"/>
                  </a:lnTo>
                  <a:lnTo>
                    <a:pt x="600" y="331"/>
                  </a:lnTo>
                  <a:lnTo>
                    <a:pt x="605" y="331"/>
                  </a:lnTo>
                  <a:lnTo>
                    <a:pt x="612" y="330"/>
                  </a:lnTo>
                  <a:lnTo>
                    <a:pt x="617" y="328"/>
                  </a:lnTo>
                  <a:lnTo>
                    <a:pt x="622" y="326"/>
                  </a:lnTo>
                  <a:lnTo>
                    <a:pt x="632" y="320"/>
                  </a:lnTo>
                  <a:lnTo>
                    <a:pt x="642" y="312"/>
                  </a:lnTo>
                  <a:lnTo>
                    <a:pt x="649" y="303"/>
                  </a:lnTo>
                  <a:lnTo>
                    <a:pt x="655" y="293"/>
                  </a:lnTo>
                  <a:lnTo>
                    <a:pt x="658" y="288"/>
                  </a:lnTo>
                  <a:lnTo>
                    <a:pt x="659" y="282"/>
                  </a:lnTo>
                  <a:lnTo>
                    <a:pt x="660" y="277"/>
                  </a:lnTo>
                  <a:lnTo>
                    <a:pt x="660" y="271"/>
                  </a:lnTo>
                  <a:lnTo>
                    <a:pt x="660" y="265"/>
                  </a:lnTo>
                  <a:lnTo>
                    <a:pt x="659" y="260"/>
                  </a:lnTo>
                  <a:lnTo>
                    <a:pt x="658" y="254"/>
                  </a:lnTo>
                  <a:lnTo>
                    <a:pt x="656" y="249"/>
                  </a:lnTo>
                  <a:lnTo>
                    <a:pt x="649" y="238"/>
                  </a:lnTo>
                  <a:lnTo>
                    <a:pt x="642" y="230"/>
                  </a:lnTo>
                  <a:lnTo>
                    <a:pt x="633" y="222"/>
                  </a:lnTo>
                  <a:lnTo>
                    <a:pt x="624" y="216"/>
                  </a:lnTo>
                  <a:lnTo>
                    <a:pt x="618" y="214"/>
                  </a:lnTo>
                  <a:lnTo>
                    <a:pt x="613" y="213"/>
                  </a:lnTo>
                  <a:lnTo>
                    <a:pt x="607" y="212"/>
                  </a:lnTo>
                  <a:lnTo>
                    <a:pt x="602" y="210"/>
                  </a:lnTo>
                  <a:lnTo>
                    <a:pt x="60" y="210"/>
                  </a:lnTo>
                  <a:lnTo>
                    <a:pt x="54" y="210"/>
                  </a:lnTo>
                  <a:lnTo>
                    <a:pt x="49" y="208"/>
                  </a:lnTo>
                  <a:lnTo>
                    <a:pt x="45" y="205"/>
                  </a:lnTo>
                  <a:lnTo>
                    <a:pt x="39" y="201"/>
                  </a:lnTo>
                  <a:lnTo>
                    <a:pt x="35" y="195"/>
                  </a:lnTo>
                  <a:lnTo>
                    <a:pt x="32" y="191"/>
                  </a:lnTo>
                  <a:lnTo>
                    <a:pt x="30" y="186"/>
                  </a:lnTo>
                  <a:lnTo>
                    <a:pt x="30" y="180"/>
                  </a:lnTo>
                  <a:lnTo>
                    <a:pt x="30" y="176"/>
                  </a:lnTo>
                  <a:lnTo>
                    <a:pt x="32" y="171"/>
                  </a:lnTo>
                  <a:lnTo>
                    <a:pt x="35" y="165"/>
                  </a:lnTo>
                  <a:lnTo>
                    <a:pt x="39" y="161"/>
                  </a:lnTo>
                  <a:lnTo>
                    <a:pt x="45" y="157"/>
                  </a:lnTo>
                  <a:lnTo>
                    <a:pt x="49" y="154"/>
                  </a:lnTo>
                  <a:lnTo>
                    <a:pt x="54" y="151"/>
                  </a:lnTo>
                  <a:lnTo>
                    <a:pt x="60" y="150"/>
                  </a:lnTo>
                  <a:lnTo>
                    <a:pt x="660" y="150"/>
                  </a:lnTo>
                  <a:lnTo>
                    <a:pt x="663" y="150"/>
                  </a:lnTo>
                  <a:lnTo>
                    <a:pt x="666" y="149"/>
                  </a:lnTo>
                  <a:lnTo>
                    <a:pt x="669" y="148"/>
                  </a:lnTo>
                  <a:lnTo>
                    <a:pt x="671" y="146"/>
                  </a:lnTo>
                  <a:lnTo>
                    <a:pt x="673" y="144"/>
                  </a:lnTo>
                  <a:lnTo>
                    <a:pt x="674" y="142"/>
                  </a:lnTo>
                  <a:lnTo>
                    <a:pt x="675" y="139"/>
                  </a:lnTo>
                  <a:lnTo>
                    <a:pt x="675" y="135"/>
                  </a:lnTo>
                  <a:lnTo>
                    <a:pt x="675" y="132"/>
                  </a:lnTo>
                  <a:lnTo>
                    <a:pt x="674" y="130"/>
                  </a:lnTo>
                  <a:lnTo>
                    <a:pt x="673" y="127"/>
                  </a:lnTo>
                  <a:lnTo>
                    <a:pt x="671" y="125"/>
                  </a:lnTo>
                  <a:lnTo>
                    <a:pt x="669" y="124"/>
                  </a:lnTo>
                  <a:lnTo>
                    <a:pt x="666" y="121"/>
                  </a:lnTo>
                  <a:lnTo>
                    <a:pt x="663" y="121"/>
                  </a:lnTo>
                  <a:lnTo>
                    <a:pt x="660" y="120"/>
                  </a:lnTo>
                  <a:lnTo>
                    <a:pt x="60" y="120"/>
                  </a:lnTo>
                  <a:lnTo>
                    <a:pt x="53" y="121"/>
                  </a:lnTo>
                  <a:lnTo>
                    <a:pt x="48" y="121"/>
                  </a:lnTo>
                  <a:lnTo>
                    <a:pt x="42" y="124"/>
                  </a:lnTo>
                  <a:lnTo>
                    <a:pt x="37" y="126"/>
                  </a:lnTo>
                  <a:lnTo>
                    <a:pt x="27" y="132"/>
                  </a:lnTo>
                  <a:lnTo>
                    <a:pt x="18" y="140"/>
                  </a:lnTo>
                  <a:lnTo>
                    <a:pt x="10" y="149"/>
                  </a:lnTo>
                  <a:lnTo>
                    <a:pt x="4" y="159"/>
                  </a:lnTo>
                  <a:lnTo>
                    <a:pt x="2" y="164"/>
                  </a:lnTo>
                  <a:lnTo>
                    <a:pt x="1" y="170"/>
                  </a:lnTo>
                  <a:lnTo>
                    <a:pt x="0" y="175"/>
                  </a:lnTo>
                  <a:lnTo>
                    <a:pt x="0" y="180"/>
                  </a:lnTo>
                  <a:lnTo>
                    <a:pt x="0" y="186"/>
                  </a:lnTo>
                  <a:lnTo>
                    <a:pt x="1" y="192"/>
                  </a:lnTo>
                  <a:lnTo>
                    <a:pt x="2" y="198"/>
                  </a:lnTo>
                  <a:lnTo>
                    <a:pt x="4" y="203"/>
                  </a:lnTo>
                  <a:lnTo>
                    <a:pt x="10" y="213"/>
                  </a:lnTo>
                  <a:lnTo>
                    <a:pt x="18" y="222"/>
                  </a:lnTo>
                  <a:lnTo>
                    <a:pt x="27" y="230"/>
                  </a:lnTo>
                  <a:lnTo>
                    <a:pt x="37" y="235"/>
                  </a:lnTo>
                  <a:lnTo>
                    <a:pt x="42" y="238"/>
                  </a:lnTo>
                  <a:lnTo>
                    <a:pt x="48" y="239"/>
                  </a:lnTo>
                  <a:lnTo>
                    <a:pt x="53" y="240"/>
                  </a:lnTo>
                  <a:lnTo>
                    <a:pt x="60" y="240"/>
                  </a:lnTo>
                  <a:lnTo>
                    <a:pt x="602" y="240"/>
                  </a:lnTo>
                  <a:lnTo>
                    <a:pt x="606" y="242"/>
                  </a:lnTo>
                  <a:lnTo>
                    <a:pt x="612" y="244"/>
                  </a:lnTo>
                  <a:lnTo>
                    <a:pt x="616" y="247"/>
                  </a:lnTo>
                  <a:lnTo>
                    <a:pt x="620" y="251"/>
                  </a:lnTo>
                  <a:lnTo>
                    <a:pt x="625" y="256"/>
                  </a:lnTo>
                  <a:lnTo>
                    <a:pt x="628" y="261"/>
                  </a:lnTo>
                  <a:lnTo>
                    <a:pt x="630" y="266"/>
                  </a:lnTo>
                  <a:lnTo>
                    <a:pt x="630" y="271"/>
                  </a:lnTo>
                  <a:lnTo>
                    <a:pt x="630" y="276"/>
                  </a:lnTo>
                  <a:lnTo>
                    <a:pt x="628" y="281"/>
                  </a:lnTo>
                  <a:lnTo>
                    <a:pt x="625" y="286"/>
                  </a:lnTo>
                  <a:lnTo>
                    <a:pt x="620" y="291"/>
                  </a:lnTo>
                  <a:lnTo>
                    <a:pt x="615" y="295"/>
                  </a:lnTo>
                  <a:lnTo>
                    <a:pt x="611" y="298"/>
                  </a:lnTo>
                  <a:lnTo>
                    <a:pt x="605" y="301"/>
                  </a:lnTo>
                  <a:lnTo>
                    <a:pt x="600" y="301"/>
                  </a:lnTo>
                  <a:lnTo>
                    <a:pt x="105" y="301"/>
                  </a:lnTo>
                  <a:lnTo>
                    <a:pt x="99" y="302"/>
                  </a:lnTo>
                  <a:lnTo>
                    <a:pt x="93" y="303"/>
                  </a:lnTo>
                  <a:lnTo>
                    <a:pt x="87" y="304"/>
                  </a:lnTo>
                  <a:lnTo>
                    <a:pt x="82" y="306"/>
                  </a:lnTo>
                  <a:lnTo>
                    <a:pt x="72" y="312"/>
                  </a:lnTo>
                  <a:lnTo>
                    <a:pt x="63" y="320"/>
                  </a:lnTo>
                  <a:lnTo>
                    <a:pt x="55" y="330"/>
                  </a:lnTo>
                  <a:lnTo>
                    <a:pt x="50" y="339"/>
                  </a:lnTo>
                  <a:lnTo>
                    <a:pt x="47" y="345"/>
                  </a:lnTo>
                  <a:lnTo>
                    <a:pt x="46" y="350"/>
                  </a:lnTo>
                  <a:lnTo>
                    <a:pt x="45" y="355"/>
                  </a:lnTo>
                  <a:lnTo>
                    <a:pt x="45" y="362"/>
                  </a:lnTo>
                  <a:lnTo>
                    <a:pt x="45" y="368"/>
                  </a:lnTo>
                  <a:lnTo>
                    <a:pt x="46" y="375"/>
                  </a:lnTo>
                  <a:lnTo>
                    <a:pt x="47" y="381"/>
                  </a:lnTo>
                  <a:lnTo>
                    <a:pt x="50" y="387"/>
                  </a:lnTo>
                  <a:lnTo>
                    <a:pt x="52" y="393"/>
                  </a:lnTo>
                  <a:lnTo>
                    <a:pt x="55" y="397"/>
                  </a:lnTo>
                  <a:lnTo>
                    <a:pt x="60" y="401"/>
                  </a:lnTo>
                  <a:lnTo>
                    <a:pt x="63" y="406"/>
                  </a:lnTo>
                  <a:lnTo>
                    <a:pt x="72" y="412"/>
                  </a:lnTo>
                  <a:lnTo>
                    <a:pt x="82" y="417"/>
                  </a:lnTo>
                  <a:lnTo>
                    <a:pt x="93" y="421"/>
                  </a:lnTo>
                  <a:lnTo>
                    <a:pt x="105" y="422"/>
                  </a:lnTo>
                  <a:lnTo>
                    <a:pt x="570" y="422"/>
                  </a:lnTo>
                  <a:lnTo>
                    <a:pt x="575" y="422"/>
                  </a:lnTo>
                  <a:lnTo>
                    <a:pt x="581" y="424"/>
                  </a:lnTo>
                  <a:lnTo>
                    <a:pt x="585" y="427"/>
                  </a:lnTo>
                  <a:lnTo>
                    <a:pt x="590" y="431"/>
                  </a:lnTo>
                  <a:lnTo>
                    <a:pt x="595" y="437"/>
                  </a:lnTo>
                  <a:lnTo>
                    <a:pt x="598" y="441"/>
                  </a:lnTo>
                  <a:lnTo>
                    <a:pt x="600" y="446"/>
                  </a:lnTo>
                  <a:lnTo>
                    <a:pt x="600" y="452"/>
                  </a:lnTo>
                  <a:lnTo>
                    <a:pt x="600" y="456"/>
                  </a:lnTo>
                  <a:lnTo>
                    <a:pt x="598" y="461"/>
                  </a:lnTo>
                  <a:lnTo>
                    <a:pt x="595" y="467"/>
                  </a:lnTo>
                  <a:lnTo>
                    <a:pt x="590" y="471"/>
                  </a:lnTo>
                  <a:lnTo>
                    <a:pt x="585" y="475"/>
                  </a:lnTo>
                  <a:lnTo>
                    <a:pt x="581" y="479"/>
                  </a:lnTo>
                  <a:lnTo>
                    <a:pt x="575" y="481"/>
                  </a:lnTo>
                  <a:lnTo>
                    <a:pt x="570" y="482"/>
                  </a:lnTo>
                  <a:lnTo>
                    <a:pt x="135" y="482"/>
                  </a:lnTo>
                  <a:lnTo>
                    <a:pt x="129" y="482"/>
                  </a:lnTo>
                  <a:lnTo>
                    <a:pt x="123" y="483"/>
                  </a:lnTo>
                  <a:lnTo>
                    <a:pt x="117" y="484"/>
                  </a:lnTo>
                  <a:lnTo>
                    <a:pt x="112" y="487"/>
                  </a:lnTo>
                  <a:lnTo>
                    <a:pt x="102" y="492"/>
                  </a:lnTo>
                  <a:lnTo>
                    <a:pt x="93" y="500"/>
                  </a:lnTo>
                  <a:lnTo>
                    <a:pt x="85" y="510"/>
                  </a:lnTo>
                  <a:lnTo>
                    <a:pt x="80" y="519"/>
                  </a:lnTo>
                  <a:lnTo>
                    <a:pt x="77" y="525"/>
                  </a:lnTo>
                  <a:lnTo>
                    <a:pt x="76" y="531"/>
                  </a:lnTo>
                  <a:lnTo>
                    <a:pt x="75" y="536"/>
                  </a:lnTo>
                  <a:lnTo>
                    <a:pt x="75" y="542"/>
                  </a:lnTo>
                  <a:lnTo>
                    <a:pt x="75" y="547"/>
                  </a:lnTo>
                  <a:lnTo>
                    <a:pt x="76" y="553"/>
                  </a:lnTo>
                  <a:lnTo>
                    <a:pt x="77" y="558"/>
                  </a:lnTo>
                  <a:lnTo>
                    <a:pt x="80" y="563"/>
                  </a:lnTo>
                  <a:lnTo>
                    <a:pt x="85" y="573"/>
                  </a:lnTo>
                  <a:lnTo>
                    <a:pt x="93" y="583"/>
                  </a:lnTo>
                  <a:lnTo>
                    <a:pt x="102" y="590"/>
                  </a:lnTo>
                  <a:lnTo>
                    <a:pt x="112" y="597"/>
                  </a:lnTo>
                  <a:lnTo>
                    <a:pt x="117" y="599"/>
                  </a:lnTo>
                  <a:lnTo>
                    <a:pt x="123" y="601"/>
                  </a:lnTo>
                  <a:lnTo>
                    <a:pt x="129" y="602"/>
                  </a:lnTo>
                  <a:lnTo>
                    <a:pt x="135" y="602"/>
                  </a:lnTo>
                  <a:lnTo>
                    <a:pt x="687" y="602"/>
                  </a:lnTo>
                  <a:lnTo>
                    <a:pt x="692" y="601"/>
                  </a:lnTo>
                  <a:lnTo>
                    <a:pt x="699" y="600"/>
                  </a:lnTo>
                  <a:lnTo>
                    <a:pt x="704" y="597"/>
                  </a:lnTo>
                  <a:lnTo>
                    <a:pt x="708" y="593"/>
                  </a:lnTo>
                  <a:lnTo>
                    <a:pt x="713" y="589"/>
                  </a:lnTo>
                  <a:lnTo>
                    <a:pt x="716" y="584"/>
                  </a:lnTo>
                  <a:lnTo>
                    <a:pt x="719" y="578"/>
                  </a:lnTo>
                  <a:lnTo>
                    <a:pt x="720" y="572"/>
                  </a:lnTo>
                  <a:lnTo>
                    <a:pt x="784" y="35"/>
                  </a:lnTo>
                  <a:lnTo>
                    <a:pt x="790" y="31"/>
                  </a:lnTo>
                  <a:lnTo>
                    <a:pt x="796" y="30"/>
                  </a:lnTo>
                  <a:lnTo>
                    <a:pt x="886" y="30"/>
                  </a:lnTo>
                  <a:lnTo>
                    <a:pt x="888" y="30"/>
                  </a:lnTo>
                  <a:lnTo>
                    <a:pt x="892" y="29"/>
                  </a:lnTo>
                  <a:lnTo>
                    <a:pt x="895" y="28"/>
                  </a:lnTo>
                  <a:lnTo>
                    <a:pt x="897" y="26"/>
                  </a:lnTo>
                  <a:lnTo>
                    <a:pt x="898" y="24"/>
                  </a:lnTo>
                  <a:lnTo>
                    <a:pt x="900" y="22"/>
                  </a:lnTo>
                  <a:lnTo>
                    <a:pt x="900" y="19"/>
                  </a:lnTo>
                  <a:lnTo>
                    <a:pt x="901" y="15"/>
                  </a:lnTo>
                  <a:lnTo>
                    <a:pt x="900" y="12"/>
                  </a:lnTo>
                  <a:lnTo>
                    <a:pt x="900" y="10"/>
                  </a:lnTo>
                  <a:lnTo>
                    <a:pt x="898" y="7"/>
                  </a:lnTo>
                  <a:lnTo>
                    <a:pt x="897" y="5"/>
                  </a:lnTo>
                  <a:lnTo>
                    <a:pt x="895" y="2"/>
                  </a:lnTo>
                  <a:lnTo>
                    <a:pt x="892" y="1"/>
                  </a:lnTo>
                  <a:lnTo>
                    <a:pt x="888" y="0"/>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84">
              <a:extLst>
                <a:ext uri="{FF2B5EF4-FFF2-40B4-BE49-F238E27FC236}">
                  <a16:creationId xmlns:a16="http://schemas.microsoft.com/office/drawing/2014/main" id="{D38B389B-338F-4E48-AB66-F40480EFC4CF}"/>
                </a:ext>
              </a:extLst>
            </p:cNvPr>
            <p:cNvSpPr>
              <a:spLocks noEditPoints="1"/>
            </p:cNvSpPr>
            <p:nvPr/>
          </p:nvSpPr>
          <p:spPr bwMode="auto">
            <a:xfrm>
              <a:off x="9485313" y="1017270"/>
              <a:ext cx="47625" cy="47625"/>
            </a:xfrm>
            <a:custGeom>
              <a:avLst/>
              <a:gdLst>
                <a:gd name="T0" fmla="*/ 66 w 150"/>
                <a:gd name="T1" fmla="*/ 119 h 150"/>
                <a:gd name="T2" fmla="*/ 50 w 150"/>
                <a:gd name="T3" fmla="*/ 113 h 150"/>
                <a:gd name="T4" fmla="*/ 37 w 150"/>
                <a:gd name="T5" fmla="*/ 100 h 150"/>
                <a:gd name="T6" fmla="*/ 31 w 150"/>
                <a:gd name="T7" fmla="*/ 84 h 150"/>
                <a:gd name="T8" fmla="*/ 31 w 150"/>
                <a:gd name="T9" fmla="*/ 65 h 150"/>
                <a:gd name="T10" fmla="*/ 37 w 150"/>
                <a:gd name="T11" fmla="*/ 49 h 150"/>
                <a:gd name="T12" fmla="*/ 50 w 150"/>
                <a:gd name="T13" fmla="*/ 37 h 150"/>
                <a:gd name="T14" fmla="*/ 66 w 150"/>
                <a:gd name="T15" fmla="*/ 31 h 150"/>
                <a:gd name="T16" fmla="*/ 85 w 150"/>
                <a:gd name="T17" fmla="*/ 31 h 150"/>
                <a:gd name="T18" fmla="*/ 101 w 150"/>
                <a:gd name="T19" fmla="*/ 37 h 150"/>
                <a:gd name="T20" fmla="*/ 113 w 150"/>
                <a:gd name="T21" fmla="*/ 49 h 150"/>
                <a:gd name="T22" fmla="*/ 120 w 150"/>
                <a:gd name="T23" fmla="*/ 65 h 150"/>
                <a:gd name="T24" fmla="*/ 120 w 150"/>
                <a:gd name="T25" fmla="*/ 84 h 150"/>
                <a:gd name="T26" fmla="*/ 113 w 150"/>
                <a:gd name="T27" fmla="*/ 100 h 150"/>
                <a:gd name="T28" fmla="*/ 101 w 150"/>
                <a:gd name="T29" fmla="*/ 113 h 150"/>
                <a:gd name="T30" fmla="*/ 85 w 150"/>
                <a:gd name="T31" fmla="*/ 119 h 150"/>
                <a:gd name="T32" fmla="*/ 75 w 150"/>
                <a:gd name="T33" fmla="*/ 0 h 150"/>
                <a:gd name="T34" fmla="*/ 60 w 150"/>
                <a:gd name="T35" fmla="*/ 1 h 150"/>
                <a:gd name="T36" fmla="*/ 46 w 150"/>
                <a:gd name="T37" fmla="*/ 5 h 150"/>
                <a:gd name="T38" fmla="*/ 33 w 150"/>
                <a:gd name="T39" fmla="*/ 13 h 150"/>
                <a:gd name="T40" fmla="*/ 22 w 150"/>
                <a:gd name="T41" fmla="*/ 21 h 150"/>
                <a:gd name="T42" fmla="*/ 13 w 150"/>
                <a:gd name="T43" fmla="*/ 33 h 150"/>
                <a:gd name="T44" fmla="*/ 6 w 150"/>
                <a:gd name="T45" fmla="*/ 46 h 150"/>
                <a:gd name="T46" fmla="*/ 2 w 150"/>
                <a:gd name="T47" fmla="*/ 60 h 150"/>
                <a:gd name="T48" fmla="*/ 0 w 150"/>
                <a:gd name="T49" fmla="*/ 75 h 150"/>
                <a:gd name="T50" fmla="*/ 2 w 150"/>
                <a:gd name="T51" fmla="*/ 90 h 150"/>
                <a:gd name="T52" fmla="*/ 6 w 150"/>
                <a:gd name="T53" fmla="*/ 104 h 150"/>
                <a:gd name="T54" fmla="*/ 13 w 150"/>
                <a:gd name="T55" fmla="*/ 117 h 150"/>
                <a:gd name="T56" fmla="*/ 22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5 w 150"/>
                <a:gd name="T69" fmla="*/ 145 h 150"/>
                <a:gd name="T70" fmla="*/ 117 w 150"/>
                <a:gd name="T71" fmla="*/ 137 h 150"/>
                <a:gd name="T72" fmla="*/ 129 w 150"/>
                <a:gd name="T73" fmla="*/ 128 h 150"/>
                <a:gd name="T74" fmla="*/ 137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1 h 150"/>
                <a:gd name="T90" fmla="*/ 117 w 150"/>
                <a:gd name="T91" fmla="*/ 13 h 150"/>
                <a:gd name="T92" fmla="*/ 105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7"/>
                  </a:lnTo>
                  <a:lnTo>
                    <a:pt x="50" y="113"/>
                  </a:lnTo>
                  <a:lnTo>
                    <a:pt x="44" y="107"/>
                  </a:lnTo>
                  <a:lnTo>
                    <a:pt x="37" y="100"/>
                  </a:lnTo>
                  <a:lnTo>
                    <a:pt x="34" y="92"/>
                  </a:lnTo>
                  <a:lnTo>
                    <a:pt x="31" y="84"/>
                  </a:lnTo>
                  <a:lnTo>
                    <a:pt x="30" y="75"/>
                  </a:lnTo>
                  <a:lnTo>
                    <a:pt x="31" y="65"/>
                  </a:lnTo>
                  <a:lnTo>
                    <a:pt x="34" y="58"/>
                  </a:lnTo>
                  <a:lnTo>
                    <a:pt x="37" y="49"/>
                  </a:lnTo>
                  <a:lnTo>
                    <a:pt x="44" y="43"/>
                  </a:lnTo>
                  <a:lnTo>
                    <a:pt x="50" y="37"/>
                  </a:lnTo>
                  <a:lnTo>
                    <a:pt x="58" y="33"/>
                  </a:lnTo>
                  <a:lnTo>
                    <a:pt x="66" y="31"/>
                  </a:lnTo>
                  <a:lnTo>
                    <a:pt x="75" y="30"/>
                  </a:lnTo>
                  <a:lnTo>
                    <a:pt x="85" y="31"/>
                  </a:lnTo>
                  <a:lnTo>
                    <a:pt x="93" y="33"/>
                  </a:lnTo>
                  <a:lnTo>
                    <a:pt x="101" y="37"/>
                  </a:lnTo>
                  <a:lnTo>
                    <a:pt x="107" y="43"/>
                  </a:lnTo>
                  <a:lnTo>
                    <a:pt x="113" y="49"/>
                  </a:lnTo>
                  <a:lnTo>
                    <a:pt x="117" y="58"/>
                  </a:lnTo>
                  <a:lnTo>
                    <a:pt x="120" y="65"/>
                  </a:lnTo>
                  <a:lnTo>
                    <a:pt x="120" y="75"/>
                  </a:lnTo>
                  <a:lnTo>
                    <a:pt x="120" y="84"/>
                  </a:lnTo>
                  <a:lnTo>
                    <a:pt x="117" y="92"/>
                  </a:lnTo>
                  <a:lnTo>
                    <a:pt x="113" y="100"/>
                  </a:lnTo>
                  <a:lnTo>
                    <a:pt x="107" y="107"/>
                  </a:lnTo>
                  <a:lnTo>
                    <a:pt x="101" y="113"/>
                  </a:lnTo>
                  <a:lnTo>
                    <a:pt x="93" y="117"/>
                  </a:lnTo>
                  <a:lnTo>
                    <a:pt x="85" y="119"/>
                  </a:lnTo>
                  <a:lnTo>
                    <a:pt x="75" y="120"/>
                  </a:lnTo>
                  <a:close/>
                  <a:moveTo>
                    <a:pt x="75" y="0"/>
                  </a:moveTo>
                  <a:lnTo>
                    <a:pt x="67" y="0"/>
                  </a:lnTo>
                  <a:lnTo>
                    <a:pt x="60" y="1"/>
                  </a:lnTo>
                  <a:lnTo>
                    <a:pt x="54" y="3"/>
                  </a:lnTo>
                  <a:lnTo>
                    <a:pt x="46" y="5"/>
                  </a:lnTo>
                  <a:lnTo>
                    <a:pt x="40" y="8"/>
                  </a:lnTo>
                  <a:lnTo>
                    <a:pt x="33" y="13"/>
                  </a:lnTo>
                  <a:lnTo>
                    <a:pt x="28" y="17"/>
                  </a:lnTo>
                  <a:lnTo>
                    <a:pt x="22" y="21"/>
                  </a:lnTo>
                  <a:lnTo>
                    <a:pt x="17" y="27"/>
                  </a:lnTo>
                  <a:lnTo>
                    <a:pt x="13" y="33"/>
                  </a:lnTo>
                  <a:lnTo>
                    <a:pt x="10" y="40"/>
                  </a:lnTo>
                  <a:lnTo>
                    <a:pt x="6" y="46"/>
                  </a:lnTo>
                  <a:lnTo>
                    <a:pt x="3" y="52"/>
                  </a:lnTo>
                  <a:lnTo>
                    <a:pt x="2" y="60"/>
                  </a:lnTo>
                  <a:lnTo>
                    <a:pt x="1" y="67"/>
                  </a:lnTo>
                  <a:lnTo>
                    <a:pt x="0" y="75"/>
                  </a:lnTo>
                  <a:lnTo>
                    <a:pt x="1" y="82"/>
                  </a:lnTo>
                  <a:lnTo>
                    <a:pt x="2" y="90"/>
                  </a:lnTo>
                  <a:lnTo>
                    <a:pt x="3" y="97"/>
                  </a:lnTo>
                  <a:lnTo>
                    <a:pt x="6" y="104"/>
                  </a:lnTo>
                  <a:lnTo>
                    <a:pt x="10" y="110"/>
                  </a:lnTo>
                  <a:lnTo>
                    <a:pt x="13" y="117"/>
                  </a:lnTo>
                  <a:lnTo>
                    <a:pt x="17" y="122"/>
                  </a:lnTo>
                  <a:lnTo>
                    <a:pt x="22" y="128"/>
                  </a:lnTo>
                  <a:lnTo>
                    <a:pt x="28" y="133"/>
                  </a:lnTo>
                  <a:lnTo>
                    <a:pt x="33" y="137"/>
                  </a:lnTo>
                  <a:lnTo>
                    <a:pt x="40" y="141"/>
                  </a:lnTo>
                  <a:lnTo>
                    <a:pt x="46" y="145"/>
                  </a:lnTo>
                  <a:lnTo>
                    <a:pt x="54" y="147"/>
                  </a:lnTo>
                  <a:lnTo>
                    <a:pt x="60" y="149"/>
                  </a:lnTo>
                  <a:lnTo>
                    <a:pt x="67" y="150"/>
                  </a:lnTo>
                  <a:lnTo>
                    <a:pt x="75" y="150"/>
                  </a:lnTo>
                  <a:lnTo>
                    <a:pt x="82" y="150"/>
                  </a:lnTo>
                  <a:lnTo>
                    <a:pt x="90" y="149"/>
                  </a:lnTo>
                  <a:lnTo>
                    <a:pt x="98" y="147"/>
                  </a:lnTo>
                  <a:lnTo>
                    <a:pt x="105" y="145"/>
                  </a:lnTo>
                  <a:lnTo>
                    <a:pt x="111" y="141"/>
                  </a:lnTo>
                  <a:lnTo>
                    <a:pt x="117" y="137"/>
                  </a:lnTo>
                  <a:lnTo>
                    <a:pt x="123" y="133"/>
                  </a:lnTo>
                  <a:lnTo>
                    <a:pt x="129" y="128"/>
                  </a:lnTo>
                  <a:lnTo>
                    <a:pt x="133" y="122"/>
                  </a:lnTo>
                  <a:lnTo>
                    <a:pt x="137" y="117"/>
                  </a:lnTo>
                  <a:lnTo>
                    <a:pt x="141" y="110"/>
                  </a:lnTo>
                  <a:lnTo>
                    <a:pt x="145" y="104"/>
                  </a:lnTo>
                  <a:lnTo>
                    <a:pt x="147" y="97"/>
                  </a:lnTo>
                  <a:lnTo>
                    <a:pt x="149" y="90"/>
                  </a:lnTo>
                  <a:lnTo>
                    <a:pt x="150" y="82"/>
                  </a:lnTo>
                  <a:lnTo>
                    <a:pt x="150" y="75"/>
                  </a:lnTo>
                  <a:lnTo>
                    <a:pt x="150" y="67"/>
                  </a:lnTo>
                  <a:lnTo>
                    <a:pt x="149" y="60"/>
                  </a:lnTo>
                  <a:lnTo>
                    <a:pt x="147" y="52"/>
                  </a:lnTo>
                  <a:lnTo>
                    <a:pt x="145" y="46"/>
                  </a:lnTo>
                  <a:lnTo>
                    <a:pt x="141" y="40"/>
                  </a:lnTo>
                  <a:lnTo>
                    <a:pt x="137" y="33"/>
                  </a:lnTo>
                  <a:lnTo>
                    <a:pt x="133" y="27"/>
                  </a:lnTo>
                  <a:lnTo>
                    <a:pt x="129" y="21"/>
                  </a:lnTo>
                  <a:lnTo>
                    <a:pt x="123" y="17"/>
                  </a:lnTo>
                  <a:lnTo>
                    <a:pt x="117" y="13"/>
                  </a:lnTo>
                  <a:lnTo>
                    <a:pt x="111" y="8"/>
                  </a:lnTo>
                  <a:lnTo>
                    <a:pt x="105" y="5"/>
                  </a:lnTo>
                  <a:lnTo>
                    <a:pt x="98"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185">
              <a:extLst>
                <a:ext uri="{FF2B5EF4-FFF2-40B4-BE49-F238E27FC236}">
                  <a16:creationId xmlns:a16="http://schemas.microsoft.com/office/drawing/2014/main" id="{1BE5A6C0-7E83-4EC3-9ADE-B8C3051F2C77}"/>
                </a:ext>
              </a:extLst>
            </p:cNvPr>
            <p:cNvSpPr>
              <a:spLocks noEditPoints="1"/>
            </p:cNvSpPr>
            <p:nvPr/>
          </p:nvSpPr>
          <p:spPr bwMode="auto">
            <a:xfrm>
              <a:off x="9347200" y="1017270"/>
              <a:ext cx="47625" cy="47625"/>
            </a:xfrm>
            <a:custGeom>
              <a:avLst/>
              <a:gdLst>
                <a:gd name="T0" fmla="*/ 65 w 150"/>
                <a:gd name="T1" fmla="*/ 119 h 150"/>
                <a:gd name="T2" fmla="*/ 49 w 150"/>
                <a:gd name="T3" fmla="*/ 113 h 150"/>
                <a:gd name="T4" fmla="*/ 37 w 150"/>
                <a:gd name="T5" fmla="*/ 100 h 150"/>
                <a:gd name="T6" fmla="*/ 31 w 150"/>
                <a:gd name="T7" fmla="*/ 84 h 150"/>
                <a:gd name="T8" fmla="*/ 31 w 150"/>
                <a:gd name="T9" fmla="*/ 65 h 150"/>
                <a:gd name="T10" fmla="*/ 37 w 150"/>
                <a:gd name="T11" fmla="*/ 49 h 150"/>
                <a:gd name="T12" fmla="*/ 49 w 150"/>
                <a:gd name="T13" fmla="*/ 37 h 150"/>
                <a:gd name="T14" fmla="*/ 65 w 150"/>
                <a:gd name="T15" fmla="*/ 31 h 150"/>
                <a:gd name="T16" fmla="*/ 83 w 150"/>
                <a:gd name="T17" fmla="*/ 31 h 150"/>
                <a:gd name="T18" fmla="*/ 99 w 150"/>
                <a:gd name="T19" fmla="*/ 37 h 150"/>
                <a:gd name="T20" fmla="*/ 112 w 150"/>
                <a:gd name="T21" fmla="*/ 49 h 150"/>
                <a:gd name="T22" fmla="*/ 119 w 150"/>
                <a:gd name="T23" fmla="*/ 65 h 150"/>
                <a:gd name="T24" fmla="*/ 119 w 150"/>
                <a:gd name="T25" fmla="*/ 84 h 150"/>
                <a:gd name="T26" fmla="*/ 112 w 150"/>
                <a:gd name="T27" fmla="*/ 100 h 150"/>
                <a:gd name="T28" fmla="*/ 99 w 150"/>
                <a:gd name="T29" fmla="*/ 113 h 150"/>
                <a:gd name="T30" fmla="*/ 83 w 150"/>
                <a:gd name="T31" fmla="*/ 119 h 150"/>
                <a:gd name="T32" fmla="*/ 75 w 150"/>
                <a:gd name="T33" fmla="*/ 0 h 150"/>
                <a:gd name="T34" fmla="*/ 60 w 150"/>
                <a:gd name="T35" fmla="*/ 1 h 150"/>
                <a:gd name="T36" fmla="*/ 46 w 150"/>
                <a:gd name="T37" fmla="*/ 5 h 150"/>
                <a:gd name="T38" fmla="*/ 33 w 150"/>
                <a:gd name="T39" fmla="*/ 13 h 150"/>
                <a:gd name="T40" fmla="*/ 21 w 150"/>
                <a:gd name="T41" fmla="*/ 21 h 150"/>
                <a:gd name="T42" fmla="*/ 12 w 150"/>
                <a:gd name="T43" fmla="*/ 33 h 150"/>
                <a:gd name="T44" fmla="*/ 5 w 150"/>
                <a:gd name="T45" fmla="*/ 46 h 150"/>
                <a:gd name="T46" fmla="*/ 1 w 150"/>
                <a:gd name="T47" fmla="*/ 60 h 150"/>
                <a:gd name="T48" fmla="*/ 0 w 150"/>
                <a:gd name="T49" fmla="*/ 75 h 150"/>
                <a:gd name="T50" fmla="*/ 1 w 150"/>
                <a:gd name="T51" fmla="*/ 90 h 150"/>
                <a:gd name="T52" fmla="*/ 5 w 150"/>
                <a:gd name="T53" fmla="*/ 104 h 150"/>
                <a:gd name="T54" fmla="*/ 12 w 150"/>
                <a:gd name="T55" fmla="*/ 117 h 150"/>
                <a:gd name="T56" fmla="*/ 21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6 w 150"/>
                <a:gd name="T71" fmla="*/ 137 h 150"/>
                <a:gd name="T72" fmla="*/ 127 w 150"/>
                <a:gd name="T73" fmla="*/ 128 h 150"/>
                <a:gd name="T74" fmla="*/ 137 w 150"/>
                <a:gd name="T75" fmla="*/ 117 h 150"/>
                <a:gd name="T76" fmla="*/ 143 w 150"/>
                <a:gd name="T77" fmla="*/ 104 h 150"/>
                <a:gd name="T78" fmla="*/ 148 w 150"/>
                <a:gd name="T79" fmla="*/ 90 h 150"/>
                <a:gd name="T80" fmla="*/ 150 w 150"/>
                <a:gd name="T81" fmla="*/ 75 h 150"/>
                <a:gd name="T82" fmla="*/ 148 w 150"/>
                <a:gd name="T83" fmla="*/ 60 h 150"/>
                <a:gd name="T84" fmla="*/ 143 w 150"/>
                <a:gd name="T85" fmla="*/ 46 h 150"/>
                <a:gd name="T86" fmla="*/ 137 w 150"/>
                <a:gd name="T87" fmla="*/ 33 h 150"/>
                <a:gd name="T88" fmla="*/ 127 w 150"/>
                <a:gd name="T89" fmla="*/ 21 h 150"/>
                <a:gd name="T90" fmla="*/ 116 w 150"/>
                <a:gd name="T91" fmla="*/ 13 h 150"/>
                <a:gd name="T92" fmla="*/ 104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5" y="119"/>
                  </a:lnTo>
                  <a:lnTo>
                    <a:pt x="56" y="117"/>
                  </a:lnTo>
                  <a:lnTo>
                    <a:pt x="49" y="113"/>
                  </a:lnTo>
                  <a:lnTo>
                    <a:pt x="43" y="107"/>
                  </a:lnTo>
                  <a:lnTo>
                    <a:pt x="37" y="100"/>
                  </a:lnTo>
                  <a:lnTo>
                    <a:pt x="33" y="92"/>
                  </a:lnTo>
                  <a:lnTo>
                    <a:pt x="31" y="84"/>
                  </a:lnTo>
                  <a:lnTo>
                    <a:pt x="30" y="75"/>
                  </a:lnTo>
                  <a:lnTo>
                    <a:pt x="31" y="65"/>
                  </a:lnTo>
                  <a:lnTo>
                    <a:pt x="33" y="58"/>
                  </a:lnTo>
                  <a:lnTo>
                    <a:pt x="37" y="49"/>
                  </a:lnTo>
                  <a:lnTo>
                    <a:pt x="43" y="43"/>
                  </a:lnTo>
                  <a:lnTo>
                    <a:pt x="49" y="37"/>
                  </a:lnTo>
                  <a:lnTo>
                    <a:pt x="56" y="33"/>
                  </a:lnTo>
                  <a:lnTo>
                    <a:pt x="65" y="31"/>
                  </a:lnTo>
                  <a:lnTo>
                    <a:pt x="75" y="30"/>
                  </a:lnTo>
                  <a:lnTo>
                    <a:pt x="83" y="31"/>
                  </a:lnTo>
                  <a:lnTo>
                    <a:pt x="92" y="33"/>
                  </a:lnTo>
                  <a:lnTo>
                    <a:pt x="99" y="37"/>
                  </a:lnTo>
                  <a:lnTo>
                    <a:pt x="107" y="43"/>
                  </a:lnTo>
                  <a:lnTo>
                    <a:pt x="112" y="49"/>
                  </a:lnTo>
                  <a:lnTo>
                    <a:pt x="116" y="58"/>
                  </a:lnTo>
                  <a:lnTo>
                    <a:pt x="119" y="65"/>
                  </a:lnTo>
                  <a:lnTo>
                    <a:pt x="120" y="75"/>
                  </a:lnTo>
                  <a:lnTo>
                    <a:pt x="119" y="84"/>
                  </a:lnTo>
                  <a:lnTo>
                    <a:pt x="116" y="92"/>
                  </a:lnTo>
                  <a:lnTo>
                    <a:pt x="112" y="100"/>
                  </a:lnTo>
                  <a:lnTo>
                    <a:pt x="107" y="107"/>
                  </a:lnTo>
                  <a:lnTo>
                    <a:pt x="99" y="113"/>
                  </a:lnTo>
                  <a:lnTo>
                    <a:pt x="92" y="117"/>
                  </a:lnTo>
                  <a:lnTo>
                    <a:pt x="83" y="119"/>
                  </a:lnTo>
                  <a:lnTo>
                    <a:pt x="75" y="120"/>
                  </a:lnTo>
                  <a:close/>
                  <a:moveTo>
                    <a:pt x="75" y="0"/>
                  </a:moveTo>
                  <a:lnTo>
                    <a:pt x="67" y="0"/>
                  </a:lnTo>
                  <a:lnTo>
                    <a:pt x="60" y="1"/>
                  </a:lnTo>
                  <a:lnTo>
                    <a:pt x="52" y="3"/>
                  </a:lnTo>
                  <a:lnTo>
                    <a:pt x="46" y="5"/>
                  </a:lnTo>
                  <a:lnTo>
                    <a:pt x="38" y="8"/>
                  </a:lnTo>
                  <a:lnTo>
                    <a:pt x="33" y="13"/>
                  </a:lnTo>
                  <a:lnTo>
                    <a:pt x="26" y="17"/>
                  </a:lnTo>
                  <a:lnTo>
                    <a:pt x="21" y="21"/>
                  </a:lnTo>
                  <a:lnTo>
                    <a:pt x="17" y="27"/>
                  </a:lnTo>
                  <a:lnTo>
                    <a:pt x="12" y="33"/>
                  </a:lnTo>
                  <a:lnTo>
                    <a:pt x="8" y="40"/>
                  </a:lnTo>
                  <a:lnTo>
                    <a:pt x="5" y="46"/>
                  </a:lnTo>
                  <a:lnTo>
                    <a:pt x="3" y="52"/>
                  </a:lnTo>
                  <a:lnTo>
                    <a:pt x="1" y="60"/>
                  </a:lnTo>
                  <a:lnTo>
                    <a:pt x="0" y="67"/>
                  </a:lnTo>
                  <a:lnTo>
                    <a:pt x="0" y="75"/>
                  </a:lnTo>
                  <a:lnTo>
                    <a:pt x="0" y="82"/>
                  </a:lnTo>
                  <a:lnTo>
                    <a:pt x="1" y="90"/>
                  </a:lnTo>
                  <a:lnTo>
                    <a:pt x="3" y="97"/>
                  </a:lnTo>
                  <a:lnTo>
                    <a:pt x="5" y="104"/>
                  </a:lnTo>
                  <a:lnTo>
                    <a:pt x="8" y="110"/>
                  </a:lnTo>
                  <a:lnTo>
                    <a:pt x="12" y="117"/>
                  </a:lnTo>
                  <a:lnTo>
                    <a:pt x="17" y="122"/>
                  </a:lnTo>
                  <a:lnTo>
                    <a:pt x="21" y="128"/>
                  </a:lnTo>
                  <a:lnTo>
                    <a:pt x="26" y="133"/>
                  </a:lnTo>
                  <a:lnTo>
                    <a:pt x="33" y="137"/>
                  </a:lnTo>
                  <a:lnTo>
                    <a:pt x="38" y="141"/>
                  </a:lnTo>
                  <a:lnTo>
                    <a:pt x="46" y="145"/>
                  </a:lnTo>
                  <a:lnTo>
                    <a:pt x="52" y="147"/>
                  </a:lnTo>
                  <a:lnTo>
                    <a:pt x="60" y="149"/>
                  </a:lnTo>
                  <a:lnTo>
                    <a:pt x="67" y="150"/>
                  </a:lnTo>
                  <a:lnTo>
                    <a:pt x="75" y="150"/>
                  </a:lnTo>
                  <a:lnTo>
                    <a:pt x="82" y="150"/>
                  </a:lnTo>
                  <a:lnTo>
                    <a:pt x="90" y="149"/>
                  </a:lnTo>
                  <a:lnTo>
                    <a:pt x="97" y="147"/>
                  </a:lnTo>
                  <a:lnTo>
                    <a:pt x="104" y="145"/>
                  </a:lnTo>
                  <a:lnTo>
                    <a:pt x="110" y="141"/>
                  </a:lnTo>
                  <a:lnTo>
                    <a:pt x="116" y="137"/>
                  </a:lnTo>
                  <a:lnTo>
                    <a:pt x="122" y="133"/>
                  </a:lnTo>
                  <a:lnTo>
                    <a:pt x="127" y="128"/>
                  </a:lnTo>
                  <a:lnTo>
                    <a:pt x="133" y="122"/>
                  </a:lnTo>
                  <a:lnTo>
                    <a:pt x="137" y="117"/>
                  </a:lnTo>
                  <a:lnTo>
                    <a:pt x="140" y="110"/>
                  </a:lnTo>
                  <a:lnTo>
                    <a:pt x="143" y="104"/>
                  </a:lnTo>
                  <a:lnTo>
                    <a:pt x="147" y="97"/>
                  </a:lnTo>
                  <a:lnTo>
                    <a:pt x="148" y="90"/>
                  </a:lnTo>
                  <a:lnTo>
                    <a:pt x="150" y="82"/>
                  </a:lnTo>
                  <a:lnTo>
                    <a:pt x="150" y="75"/>
                  </a:lnTo>
                  <a:lnTo>
                    <a:pt x="150" y="67"/>
                  </a:lnTo>
                  <a:lnTo>
                    <a:pt x="148" y="60"/>
                  </a:lnTo>
                  <a:lnTo>
                    <a:pt x="147" y="52"/>
                  </a:lnTo>
                  <a:lnTo>
                    <a:pt x="143" y="46"/>
                  </a:lnTo>
                  <a:lnTo>
                    <a:pt x="140" y="40"/>
                  </a:lnTo>
                  <a:lnTo>
                    <a:pt x="137" y="33"/>
                  </a:lnTo>
                  <a:lnTo>
                    <a:pt x="133" y="27"/>
                  </a:lnTo>
                  <a:lnTo>
                    <a:pt x="127" y="21"/>
                  </a:lnTo>
                  <a:lnTo>
                    <a:pt x="122" y="17"/>
                  </a:lnTo>
                  <a:lnTo>
                    <a:pt x="116" y="13"/>
                  </a:lnTo>
                  <a:lnTo>
                    <a:pt x="110" y="8"/>
                  </a:lnTo>
                  <a:lnTo>
                    <a:pt x="104" y="5"/>
                  </a:lnTo>
                  <a:lnTo>
                    <a:pt x="97" y="3"/>
                  </a:lnTo>
                  <a:lnTo>
                    <a:pt x="90" y="1"/>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0" name="Group 75">
            <a:extLst>
              <a:ext uri="{FF2B5EF4-FFF2-40B4-BE49-F238E27FC236}">
                <a16:creationId xmlns:a16="http://schemas.microsoft.com/office/drawing/2014/main" id="{D01FAE35-6C6B-4352-A8BD-978F8DC81A60}"/>
              </a:ext>
            </a:extLst>
          </p:cNvPr>
          <p:cNvGrpSpPr>
            <a:grpSpLocks noChangeAspect="1"/>
          </p:cNvGrpSpPr>
          <p:nvPr/>
        </p:nvGrpSpPr>
        <p:grpSpPr>
          <a:xfrm>
            <a:off x="671290" y="4340505"/>
            <a:ext cx="285619" cy="285619"/>
            <a:chOff x="7018338" y="779145"/>
            <a:chExt cx="285750" cy="285750"/>
          </a:xfrm>
          <a:solidFill>
            <a:schemeClr val="bg1"/>
          </a:solidFill>
          <a:effectLst/>
        </p:grpSpPr>
        <p:sp>
          <p:nvSpPr>
            <p:cNvPr id="1111" name="Freeform 194">
              <a:extLst>
                <a:ext uri="{FF2B5EF4-FFF2-40B4-BE49-F238E27FC236}">
                  <a16:creationId xmlns:a16="http://schemas.microsoft.com/office/drawing/2014/main" id="{4780AEC8-A1C2-493F-AFE1-E275408BEA7F}"/>
                </a:ext>
              </a:extLst>
            </p:cNvPr>
            <p:cNvSpPr>
              <a:spLocks noEditPoints="1"/>
            </p:cNvSpPr>
            <p:nvPr/>
          </p:nvSpPr>
          <p:spPr bwMode="auto">
            <a:xfrm>
              <a:off x="7018338" y="779145"/>
              <a:ext cx="285750" cy="285750"/>
            </a:xfrm>
            <a:custGeom>
              <a:avLst/>
              <a:gdLst>
                <a:gd name="T0" fmla="*/ 30 w 901"/>
                <a:gd name="T1" fmla="*/ 451 h 902"/>
                <a:gd name="T2" fmla="*/ 871 w 901"/>
                <a:gd name="T3" fmla="*/ 421 h 902"/>
                <a:gd name="T4" fmla="*/ 70 w 901"/>
                <a:gd name="T5" fmla="*/ 481 h 902"/>
                <a:gd name="T6" fmla="*/ 107 w 901"/>
                <a:gd name="T7" fmla="*/ 222 h 902"/>
                <a:gd name="T8" fmla="*/ 140 w 901"/>
                <a:gd name="T9" fmla="*/ 156 h 902"/>
                <a:gd name="T10" fmla="*/ 189 w 901"/>
                <a:gd name="T11" fmla="*/ 104 h 902"/>
                <a:gd name="T12" fmla="*/ 252 w 901"/>
                <a:gd name="T13" fmla="*/ 71 h 902"/>
                <a:gd name="T14" fmla="*/ 306 w 901"/>
                <a:gd name="T15" fmla="*/ 67 h 902"/>
                <a:gd name="T16" fmla="*/ 330 w 901"/>
                <a:gd name="T17" fmla="*/ 85 h 902"/>
                <a:gd name="T18" fmla="*/ 541 w 901"/>
                <a:gd name="T19" fmla="*/ 90 h 902"/>
                <a:gd name="T20" fmla="*/ 580 w 901"/>
                <a:gd name="T21" fmla="*/ 82 h 902"/>
                <a:gd name="T22" fmla="*/ 598 w 901"/>
                <a:gd name="T23" fmla="*/ 61 h 902"/>
                <a:gd name="T24" fmla="*/ 667 w 901"/>
                <a:gd name="T25" fmla="*/ 77 h 902"/>
                <a:gd name="T26" fmla="*/ 727 w 901"/>
                <a:gd name="T27" fmla="*/ 115 h 902"/>
                <a:gd name="T28" fmla="*/ 772 w 901"/>
                <a:gd name="T29" fmla="*/ 172 h 902"/>
                <a:gd name="T30" fmla="*/ 800 w 901"/>
                <a:gd name="T31" fmla="*/ 241 h 902"/>
                <a:gd name="T32" fmla="*/ 361 w 901"/>
                <a:gd name="T33" fmla="*/ 30 h 902"/>
                <a:gd name="T34" fmla="*/ 565 w 901"/>
                <a:gd name="T35" fmla="*/ 36 h 902"/>
                <a:gd name="T36" fmla="*/ 570 w 901"/>
                <a:gd name="T37" fmla="*/ 50 h 902"/>
                <a:gd name="T38" fmla="*/ 551 w 901"/>
                <a:gd name="T39" fmla="*/ 60 h 902"/>
                <a:gd name="T40" fmla="*/ 342 w 901"/>
                <a:gd name="T41" fmla="*/ 58 h 902"/>
                <a:gd name="T42" fmla="*/ 331 w 901"/>
                <a:gd name="T43" fmla="*/ 45 h 902"/>
                <a:gd name="T44" fmla="*/ 341 w 901"/>
                <a:gd name="T45" fmla="*/ 33 h 902"/>
                <a:gd name="T46" fmla="*/ 861 w 901"/>
                <a:gd name="T47" fmla="*/ 391 h 902"/>
                <a:gd name="T48" fmla="*/ 807 w 901"/>
                <a:gd name="T49" fmla="*/ 174 h 902"/>
                <a:gd name="T50" fmla="*/ 760 w 901"/>
                <a:gd name="T51" fmla="*/ 106 h 902"/>
                <a:gd name="T52" fmla="*/ 696 w 901"/>
                <a:gd name="T53" fmla="*/ 58 h 902"/>
                <a:gd name="T54" fmla="*/ 618 w 901"/>
                <a:gd name="T55" fmla="*/ 32 h 902"/>
                <a:gd name="T56" fmla="*/ 583 w 901"/>
                <a:gd name="T57" fmla="*/ 12 h 902"/>
                <a:gd name="T58" fmla="*/ 550 w 901"/>
                <a:gd name="T59" fmla="*/ 0 h 902"/>
                <a:gd name="T60" fmla="*/ 343 w 901"/>
                <a:gd name="T61" fmla="*/ 2 h 902"/>
                <a:gd name="T62" fmla="*/ 313 w 901"/>
                <a:gd name="T63" fmla="*/ 17 h 902"/>
                <a:gd name="T64" fmla="*/ 263 w 901"/>
                <a:gd name="T65" fmla="*/ 37 h 902"/>
                <a:gd name="T66" fmla="*/ 189 w 901"/>
                <a:gd name="T67" fmla="*/ 68 h 902"/>
                <a:gd name="T68" fmla="*/ 128 w 901"/>
                <a:gd name="T69" fmla="*/ 121 h 902"/>
                <a:gd name="T70" fmla="*/ 85 w 901"/>
                <a:gd name="T71" fmla="*/ 193 h 902"/>
                <a:gd name="T72" fmla="*/ 15 w 901"/>
                <a:gd name="T73" fmla="*/ 391 h 902"/>
                <a:gd name="T74" fmla="*/ 4 w 901"/>
                <a:gd name="T75" fmla="*/ 396 h 902"/>
                <a:gd name="T76" fmla="*/ 0 w 901"/>
                <a:gd name="T77" fmla="*/ 406 h 902"/>
                <a:gd name="T78" fmla="*/ 3 w 901"/>
                <a:gd name="T79" fmla="*/ 474 h 902"/>
                <a:gd name="T80" fmla="*/ 12 w 901"/>
                <a:gd name="T81" fmla="*/ 481 h 902"/>
                <a:gd name="T82" fmla="*/ 116 w 901"/>
                <a:gd name="T83" fmla="*/ 895 h 902"/>
                <a:gd name="T84" fmla="*/ 773 w 901"/>
                <a:gd name="T85" fmla="*/ 902 h 902"/>
                <a:gd name="T86" fmla="*/ 788 w 901"/>
                <a:gd name="T87" fmla="*/ 890 h 902"/>
                <a:gd name="T88" fmla="*/ 893 w 901"/>
                <a:gd name="T89" fmla="*/ 480 h 902"/>
                <a:gd name="T90" fmla="*/ 900 w 901"/>
                <a:gd name="T91" fmla="*/ 472 h 902"/>
                <a:gd name="T92" fmla="*/ 901 w 901"/>
                <a:gd name="T93" fmla="*/ 403 h 902"/>
                <a:gd name="T94" fmla="*/ 895 w 901"/>
                <a:gd name="T95" fmla="*/ 39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1" h="902">
                  <a:moveTo>
                    <a:pt x="871" y="451"/>
                  </a:moveTo>
                  <a:lnTo>
                    <a:pt x="849" y="451"/>
                  </a:lnTo>
                  <a:lnTo>
                    <a:pt x="53" y="451"/>
                  </a:lnTo>
                  <a:lnTo>
                    <a:pt x="30" y="451"/>
                  </a:lnTo>
                  <a:lnTo>
                    <a:pt x="30" y="421"/>
                  </a:lnTo>
                  <a:lnTo>
                    <a:pt x="53" y="421"/>
                  </a:lnTo>
                  <a:lnTo>
                    <a:pt x="849" y="421"/>
                  </a:lnTo>
                  <a:lnTo>
                    <a:pt x="871" y="421"/>
                  </a:lnTo>
                  <a:lnTo>
                    <a:pt x="871" y="451"/>
                  </a:lnTo>
                  <a:close/>
                  <a:moveTo>
                    <a:pt x="761" y="872"/>
                  </a:moveTo>
                  <a:lnTo>
                    <a:pt x="141" y="872"/>
                  </a:lnTo>
                  <a:lnTo>
                    <a:pt x="70" y="481"/>
                  </a:lnTo>
                  <a:lnTo>
                    <a:pt x="831" y="481"/>
                  </a:lnTo>
                  <a:lnTo>
                    <a:pt x="761" y="872"/>
                  </a:lnTo>
                  <a:close/>
                  <a:moveTo>
                    <a:pt x="103" y="241"/>
                  </a:moveTo>
                  <a:lnTo>
                    <a:pt x="107" y="222"/>
                  </a:lnTo>
                  <a:lnTo>
                    <a:pt x="113" y="205"/>
                  </a:lnTo>
                  <a:lnTo>
                    <a:pt x="121" y="188"/>
                  </a:lnTo>
                  <a:lnTo>
                    <a:pt x="129" y="172"/>
                  </a:lnTo>
                  <a:lnTo>
                    <a:pt x="140" y="156"/>
                  </a:lnTo>
                  <a:lnTo>
                    <a:pt x="151" y="142"/>
                  </a:lnTo>
                  <a:lnTo>
                    <a:pt x="163" y="128"/>
                  </a:lnTo>
                  <a:lnTo>
                    <a:pt x="176" y="115"/>
                  </a:lnTo>
                  <a:lnTo>
                    <a:pt x="189" y="104"/>
                  </a:lnTo>
                  <a:lnTo>
                    <a:pt x="203" y="93"/>
                  </a:lnTo>
                  <a:lnTo>
                    <a:pt x="220" y="85"/>
                  </a:lnTo>
                  <a:lnTo>
                    <a:pt x="235" y="77"/>
                  </a:lnTo>
                  <a:lnTo>
                    <a:pt x="252" y="71"/>
                  </a:lnTo>
                  <a:lnTo>
                    <a:pt x="269" y="66"/>
                  </a:lnTo>
                  <a:lnTo>
                    <a:pt x="286" y="62"/>
                  </a:lnTo>
                  <a:lnTo>
                    <a:pt x="303" y="61"/>
                  </a:lnTo>
                  <a:lnTo>
                    <a:pt x="306" y="67"/>
                  </a:lnTo>
                  <a:lnTo>
                    <a:pt x="311" y="72"/>
                  </a:lnTo>
                  <a:lnTo>
                    <a:pt x="316" y="77"/>
                  </a:lnTo>
                  <a:lnTo>
                    <a:pt x="321" y="82"/>
                  </a:lnTo>
                  <a:lnTo>
                    <a:pt x="330" y="85"/>
                  </a:lnTo>
                  <a:lnTo>
                    <a:pt x="339" y="88"/>
                  </a:lnTo>
                  <a:lnTo>
                    <a:pt x="349" y="89"/>
                  </a:lnTo>
                  <a:lnTo>
                    <a:pt x="361" y="90"/>
                  </a:lnTo>
                  <a:lnTo>
                    <a:pt x="541" y="90"/>
                  </a:lnTo>
                  <a:lnTo>
                    <a:pt x="553" y="89"/>
                  </a:lnTo>
                  <a:lnTo>
                    <a:pt x="564" y="88"/>
                  </a:lnTo>
                  <a:lnTo>
                    <a:pt x="572" y="85"/>
                  </a:lnTo>
                  <a:lnTo>
                    <a:pt x="580" y="82"/>
                  </a:lnTo>
                  <a:lnTo>
                    <a:pt x="586" y="77"/>
                  </a:lnTo>
                  <a:lnTo>
                    <a:pt x="592" y="72"/>
                  </a:lnTo>
                  <a:lnTo>
                    <a:pt x="596" y="67"/>
                  </a:lnTo>
                  <a:lnTo>
                    <a:pt x="598" y="61"/>
                  </a:lnTo>
                  <a:lnTo>
                    <a:pt x="616" y="62"/>
                  </a:lnTo>
                  <a:lnTo>
                    <a:pt x="633" y="66"/>
                  </a:lnTo>
                  <a:lnTo>
                    <a:pt x="651" y="71"/>
                  </a:lnTo>
                  <a:lnTo>
                    <a:pt x="667" y="77"/>
                  </a:lnTo>
                  <a:lnTo>
                    <a:pt x="683" y="85"/>
                  </a:lnTo>
                  <a:lnTo>
                    <a:pt x="698" y="93"/>
                  </a:lnTo>
                  <a:lnTo>
                    <a:pt x="713" y="104"/>
                  </a:lnTo>
                  <a:lnTo>
                    <a:pt x="727" y="115"/>
                  </a:lnTo>
                  <a:lnTo>
                    <a:pt x="740" y="128"/>
                  </a:lnTo>
                  <a:lnTo>
                    <a:pt x="751" y="142"/>
                  </a:lnTo>
                  <a:lnTo>
                    <a:pt x="762" y="156"/>
                  </a:lnTo>
                  <a:lnTo>
                    <a:pt x="772" y="172"/>
                  </a:lnTo>
                  <a:lnTo>
                    <a:pt x="780" y="188"/>
                  </a:lnTo>
                  <a:lnTo>
                    <a:pt x="789" y="205"/>
                  </a:lnTo>
                  <a:lnTo>
                    <a:pt x="794" y="222"/>
                  </a:lnTo>
                  <a:lnTo>
                    <a:pt x="800" y="241"/>
                  </a:lnTo>
                  <a:lnTo>
                    <a:pt x="831" y="391"/>
                  </a:lnTo>
                  <a:lnTo>
                    <a:pt x="72" y="391"/>
                  </a:lnTo>
                  <a:lnTo>
                    <a:pt x="103" y="241"/>
                  </a:lnTo>
                  <a:close/>
                  <a:moveTo>
                    <a:pt x="361" y="30"/>
                  </a:moveTo>
                  <a:lnTo>
                    <a:pt x="541" y="30"/>
                  </a:lnTo>
                  <a:lnTo>
                    <a:pt x="551" y="31"/>
                  </a:lnTo>
                  <a:lnTo>
                    <a:pt x="560" y="33"/>
                  </a:lnTo>
                  <a:lnTo>
                    <a:pt x="565" y="36"/>
                  </a:lnTo>
                  <a:lnTo>
                    <a:pt x="568" y="39"/>
                  </a:lnTo>
                  <a:lnTo>
                    <a:pt x="570" y="42"/>
                  </a:lnTo>
                  <a:lnTo>
                    <a:pt x="571" y="45"/>
                  </a:lnTo>
                  <a:lnTo>
                    <a:pt x="570" y="50"/>
                  </a:lnTo>
                  <a:lnTo>
                    <a:pt x="568" y="53"/>
                  </a:lnTo>
                  <a:lnTo>
                    <a:pt x="565" y="56"/>
                  </a:lnTo>
                  <a:lnTo>
                    <a:pt x="560" y="58"/>
                  </a:lnTo>
                  <a:lnTo>
                    <a:pt x="551" y="60"/>
                  </a:lnTo>
                  <a:lnTo>
                    <a:pt x="541" y="60"/>
                  </a:lnTo>
                  <a:lnTo>
                    <a:pt x="361" y="60"/>
                  </a:lnTo>
                  <a:lnTo>
                    <a:pt x="351" y="59"/>
                  </a:lnTo>
                  <a:lnTo>
                    <a:pt x="342" y="58"/>
                  </a:lnTo>
                  <a:lnTo>
                    <a:pt x="337" y="56"/>
                  </a:lnTo>
                  <a:lnTo>
                    <a:pt x="334" y="53"/>
                  </a:lnTo>
                  <a:lnTo>
                    <a:pt x="331" y="50"/>
                  </a:lnTo>
                  <a:lnTo>
                    <a:pt x="331" y="45"/>
                  </a:lnTo>
                  <a:lnTo>
                    <a:pt x="331" y="42"/>
                  </a:lnTo>
                  <a:lnTo>
                    <a:pt x="333" y="39"/>
                  </a:lnTo>
                  <a:lnTo>
                    <a:pt x="336" y="36"/>
                  </a:lnTo>
                  <a:lnTo>
                    <a:pt x="341" y="33"/>
                  </a:lnTo>
                  <a:lnTo>
                    <a:pt x="350" y="31"/>
                  </a:lnTo>
                  <a:lnTo>
                    <a:pt x="361" y="30"/>
                  </a:lnTo>
                  <a:close/>
                  <a:moveTo>
                    <a:pt x="886" y="391"/>
                  </a:moveTo>
                  <a:lnTo>
                    <a:pt x="861" y="391"/>
                  </a:lnTo>
                  <a:lnTo>
                    <a:pt x="829" y="235"/>
                  </a:lnTo>
                  <a:lnTo>
                    <a:pt x="823" y="214"/>
                  </a:lnTo>
                  <a:lnTo>
                    <a:pt x="816" y="193"/>
                  </a:lnTo>
                  <a:lnTo>
                    <a:pt x="807" y="174"/>
                  </a:lnTo>
                  <a:lnTo>
                    <a:pt x="797" y="156"/>
                  </a:lnTo>
                  <a:lnTo>
                    <a:pt x="786" y="137"/>
                  </a:lnTo>
                  <a:lnTo>
                    <a:pt x="774" y="121"/>
                  </a:lnTo>
                  <a:lnTo>
                    <a:pt x="760" y="106"/>
                  </a:lnTo>
                  <a:lnTo>
                    <a:pt x="745" y="92"/>
                  </a:lnTo>
                  <a:lnTo>
                    <a:pt x="729" y="80"/>
                  </a:lnTo>
                  <a:lnTo>
                    <a:pt x="713" y="68"/>
                  </a:lnTo>
                  <a:lnTo>
                    <a:pt x="696" y="58"/>
                  </a:lnTo>
                  <a:lnTo>
                    <a:pt x="677" y="48"/>
                  </a:lnTo>
                  <a:lnTo>
                    <a:pt x="658" y="42"/>
                  </a:lnTo>
                  <a:lnTo>
                    <a:pt x="639" y="37"/>
                  </a:lnTo>
                  <a:lnTo>
                    <a:pt x="618" y="32"/>
                  </a:lnTo>
                  <a:lnTo>
                    <a:pt x="598" y="31"/>
                  </a:lnTo>
                  <a:lnTo>
                    <a:pt x="595" y="24"/>
                  </a:lnTo>
                  <a:lnTo>
                    <a:pt x="589" y="17"/>
                  </a:lnTo>
                  <a:lnTo>
                    <a:pt x="583" y="12"/>
                  </a:lnTo>
                  <a:lnTo>
                    <a:pt x="575" y="8"/>
                  </a:lnTo>
                  <a:lnTo>
                    <a:pt x="568" y="4"/>
                  </a:lnTo>
                  <a:lnTo>
                    <a:pt x="559" y="2"/>
                  </a:lnTo>
                  <a:lnTo>
                    <a:pt x="550" y="0"/>
                  </a:lnTo>
                  <a:lnTo>
                    <a:pt x="541" y="0"/>
                  </a:lnTo>
                  <a:lnTo>
                    <a:pt x="361" y="0"/>
                  </a:lnTo>
                  <a:lnTo>
                    <a:pt x="351" y="0"/>
                  </a:lnTo>
                  <a:lnTo>
                    <a:pt x="343" y="2"/>
                  </a:lnTo>
                  <a:lnTo>
                    <a:pt x="334" y="4"/>
                  </a:lnTo>
                  <a:lnTo>
                    <a:pt x="326" y="8"/>
                  </a:lnTo>
                  <a:lnTo>
                    <a:pt x="319" y="12"/>
                  </a:lnTo>
                  <a:lnTo>
                    <a:pt x="313" y="17"/>
                  </a:lnTo>
                  <a:lnTo>
                    <a:pt x="307" y="24"/>
                  </a:lnTo>
                  <a:lnTo>
                    <a:pt x="303" y="31"/>
                  </a:lnTo>
                  <a:lnTo>
                    <a:pt x="283" y="32"/>
                  </a:lnTo>
                  <a:lnTo>
                    <a:pt x="263" y="37"/>
                  </a:lnTo>
                  <a:lnTo>
                    <a:pt x="244" y="42"/>
                  </a:lnTo>
                  <a:lnTo>
                    <a:pt x="225" y="48"/>
                  </a:lnTo>
                  <a:lnTo>
                    <a:pt x="207" y="58"/>
                  </a:lnTo>
                  <a:lnTo>
                    <a:pt x="189" y="68"/>
                  </a:lnTo>
                  <a:lnTo>
                    <a:pt x="172" y="80"/>
                  </a:lnTo>
                  <a:lnTo>
                    <a:pt x="156" y="92"/>
                  </a:lnTo>
                  <a:lnTo>
                    <a:pt x="142" y="106"/>
                  </a:lnTo>
                  <a:lnTo>
                    <a:pt x="128" y="121"/>
                  </a:lnTo>
                  <a:lnTo>
                    <a:pt x="116" y="139"/>
                  </a:lnTo>
                  <a:lnTo>
                    <a:pt x="105" y="156"/>
                  </a:lnTo>
                  <a:lnTo>
                    <a:pt x="94" y="174"/>
                  </a:lnTo>
                  <a:lnTo>
                    <a:pt x="85" y="193"/>
                  </a:lnTo>
                  <a:lnTo>
                    <a:pt x="78" y="214"/>
                  </a:lnTo>
                  <a:lnTo>
                    <a:pt x="73" y="235"/>
                  </a:lnTo>
                  <a:lnTo>
                    <a:pt x="40" y="391"/>
                  </a:lnTo>
                  <a:lnTo>
                    <a:pt x="15" y="391"/>
                  </a:lnTo>
                  <a:lnTo>
                    <a:pt x="12" y="392"/>
                  </a:lnTo>
                  <a:lnTo>
                    <a:pt x="9" y="392"/>
                  </a:lnTo>
                  <a:lnTo>
                    <a:pt x="6" y="394"/>
                  </a:lnTo>
                  <a:lnTo>
                    <a:pt x="4" y="396"/>
                  </a:lnTo>
                  <a:lnTo>
                    <a:pt x="3" y="398"/>
                  </a:lnTo>
                  <a:lnTo>
                    <a:pt x="1" y="400"/>
                  </a:lnTo>
                  <a:lnTo>
                    <a:pt x="1" y="403"/>
                  </a:lnTo>
                  <a:lnTo>
                    <a:pt x="0" y="406"/>
                  </a:lnTo>
                  <a:lnTo>
                    <a:pt x="0" y="466"/>
                  </a:lnTo>
                  <a:lnTo>
                    <a:pt x="1" y="469"/>
                  </a:lnTo>
                  <a:lnTo>
                    <a:pt x="1" y="472"/>
                  </a:lnTo>
                  <a:lnTo>
                    <a:pt x="3" y="474"/>
                  </a:lnTo>
                  <a:lnTo>
                    <a:pt x="4" y="476"/>
                  </a:lnTo>
                  <a:lnTo>
                    <a:pt x="6" y="478"/>
                  </a:lnTo>
                  <a:lnTo>
                    <a:pt x="9" y="480"/>
                  </a:lnTo>
                  <a:lnTo>
                    <a:pt x="12" y="481"/>
                  </a:lnTo>
                  <a:lnTo>
                    <a:pt x="15" y="482"/>
                  </a:lnTo>
                  <a:lnTo>
                    <a:pt x="40" y="481"/>
                  </a:lnTo>
                  <a:lnTo>
                    <a:pt x="113" y="890"/>
                  </a:lnTo>
                  <a:lnTo>
                    <a:pt x="116" y="895"/>
                  </a:lnTo>
                  <a:lnTo>
                    <a:pt x="119" y="899"/>
                  </a:lnTo>
                  <a:lnTo>
                    <a:pt x="123" y="901"/>
                  </a:lnTo>
                  <a:lnTo>
                    <a:pt x="128" y="902"/>
                  </a:lnTo>
                  <a:lnTo>
                    <a:pt x="773" y="902"/>
                  </a:lnTo>
                  <a:lnTo>
                    <a:pt x="778" y="901"/>
                  </a:lnTo>
                  <a:lnTo>
                    <a:pt x="782" y="899"/>
                  </a:lnTo>
                  <a:lnTo>
                    <a:pt x="786" y="895"/>
                  </a:lnTo>
                  <a:lnTo>
                    <a:pt x="788" y="890"/>
                  </a:lnTo>
                  <a:lnTo>
                    <a:pt x="862" y="481"/>
                  </a:lnTo>
                  <a:lnTo>
                    <a:pt x="886" y="481"/>
                  </a:lnTo>
                  <a:lnTo>
                    <a:pt x="890" y="481"/>
                  </a:lnTo>
                  <a:lnTo>
                    <a:pt x="893" y="480"/>
                  </a:lnTo>
                  <a:lnTo>
                    <a:pt x="895" y="478"/>
                  </a:lnTo>
                  <a:lnTo>
                    <a:pt x="897" y="476"/>
                  </a:lnTo>
                  <a:lnTo>
                    <a:pt x="899" y="474"/>
                  </a:lnTo>
                  <a:lnTo>
                    <a:pt x="900" y="472"/>
                  </a:lnTo>
                  <a:lnTo>
                    <a:pt x="901" y="469"/>
                  </a:lnTo>
                  <a:lnTo>
                    <a:pt x="901" y="467"/>
                  </a:lnTo>
                  <a:lnTo>
                    <a:pt x="901" y="406"/>
                  </a:lnTo>
                  <a:lnTo>
                    <a:pt x="901" y="403"/>
                  </a:lnTo>
                  <a:lnTo>
                    <a:pt x="900" y="400"/>
                  </a:lnTo>
                  <a:lnTo>
                    <a:pt x="899" y="398"/>
                  </a:lnTo>
                  <a:lnTo>
                    <a:pt x="897" y="396"/>
                  </a:lnTo>
                  <a:lnTo>
                    <a:pt x="895" y="394"/>
                  </a:lnTo>
                  <a:lnTo>
                    <a:pt x="893" y="393"/>
                  </a:lnTo>
                  <a:lnTo>
                    <a:pt x="890" y="392"/>
                  </a:lnTo>
                  <a:lnTo>
                    <a:pt x="886"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95">
              <a:extLst>
                <a:ext uri="{FF2B5EF4-FFF2-40B4-BE49-F238E27FC236}">
                  <a16:creationId xmlns:a16="http://schemas.microsoft.com/office/drawing/2014/main" id="{66785397-5460-4E12-B96D-DBCD3FB44BA1}"/>
                </a:ext>
              </a:extLst>
            </p:cNvPr>
            <p:cNvSpPr>
              <a:spLocks/>
            </p:cNvSpPr>
            <p:nvPr/>
          </p:nvSpPr>
          <p:spPr bwMode="auto">
            <a:xfrm>
              <a:off x="7189788" y="947420"/>
              <a:ext cx="9525" cy="82550"/>
            </a:xfrm>
            <a:custGeom>
              <a:avLst/>
              <a:gdLst>
                <a:gd name="T0" fmla="*/ 15 w 30"/>
                <a:gd name="T1" fmla="*/ 257 h 257"/>
                <a:gd name="T2" fmla="*/ 18 w 30"/>
                <a:gd name="T3" fmla="*/ 257 h 257"/>
                <a:gd name="T4" fmla="*/ 21 w 30"/>
                <a:gd name="T5" fmla="*/ 256 h 257"/>
                <a:gd name="T6" fmla="*/ 24 w 30"/>
                <a:gd name="T7" fmla="*/ 255 h 257"/>
                <a:gd name="T8" fmla="*/ 26 w 30"/>
                <a:gd name="T9" fmla="*/ 253 h 257"/>
                <a:gd name="T10" fmla="*/ 28 w 30"/>
                <a:gd name="T11" fmla="*/ 251 h 257"/>
                <a:gd name="T12" fmla="*/ 29 w 30"/>
                <a:gd name="T13" fmla="*/ 248 h 257"/>
                <a:gd name="T14" fmla="*/ 30 w 30"/>
                <a:gd name="T15" fmla="*/ 246 h 257"/>
                <a:gd name="T16" fmla="*/ 30 w 30"/>
                <a:gd name="T17" fmla="*/ 242 h 257"/>
                <a:gd name="T18" fmla="*/ 30 w 30"/>
                <a:gd name="T19" fmla="*/ 15 h 257"/>
                <a:gd name="T20" fmla="*/ 30 w 30"/>
                <a:gd name="T21" fmla="*/ 12 h 257"/>
                <a:gd name="T22" fmla="*/ 29 w 30"/>
                <a:gd name="T23" fmla="*/ 9 h 257"/>
                <a:gd name="T24" fmla="*/ 28 w 30"/>
                <a:gd name="T25" fmla="*/ 6 h 257"/>
                <a:gd name="T26" fmla="*/ 26 w 30"/>
                <a:gd name="T27" fmla="*/ 4 h 257"/>
                <a:gd name="T28" fmla="*/ 24 w 30"/>
                <a:gd name="T29" fmla="*/ 2 h 257"/>
                <a:gd name="T30" fmla="*/ 21 w 30"/>
                <a:gd name="T31" fmla="*/ 1 h 257"/>
                <a:gd name="T32" fmla="*/ 18 w 30"/>
                <a:gd name="T33" fmla="*/ 0 h 257"/>
                <a:gd name="T34" fmla="*/ 15 w 30"/>
                <a:gd name="T35" fmla="*/ 0 h 257"/>
                <a:gd name="T36" fmla="*/ 12 w 30"/>
                <a:gd name="T37" fmla="*/ 0 h 257"/>
                <a:gd name="T38" fmla="*/ 9 w 30"/>
                <a:gd name="T39" fmla="*/ 1 h 257"/>
                <a:gd name="T40" fmla="*/ 7 w 30"/>
                <a:gd name="T41" fmla="*/ 2 h 257"/>
                <a:gd name="T42" fmla="*/ 4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4 w 30"/>
                <a:gd name="T61" fmla="*/ 253 h 257"/>
                <a:gd name="T62" fmla="*/ 7 w 30"/>
                <a:gd name="T63" fmla="*/ 255 h 257"/>
                <a:gd name="T64" fmla="*/ 9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8" y="257"/>
                  </a:lnTo>
                  <a:lnTo>
                    <a:pt x="21" y="256"/>
                  </a:lnTo>
                  <a:lnTo>
                    <a:pt x="24" y="255"/>
                  </a:lnTo>
                  <a:lnTo>
                    <a:pt x="26" y="253"/>
                  </a:lnTo>
                  <a:lnTo>
                    <a:pt x="28" y="251"/>
                  </a:lnTo>
                  <a:lnTo>
                    <a:pt x="29" y="248"/>
                  </a:lnTo>
                  <a:lnTo>
                    <a:pt x="30" y="246"/>
                  </a:lnTo>
                  <a:lnTo>
                    <a:pt x="30" y="242"/>
                  </a:lnTo>
                  <a:lnTo>
                    <a:pt x="30" y="15"/>
                  </a:lnTo>
                  <a:lnTo>
                    <a:pt x="30" y="12"/>
                  </a:lnTo>
                  <a:lnTo>
                    <a:pt x="29" y="9"/>
                  </a:lnTo>
                  <a:lnTo>
                    <a:pt x="28" y="6"/>
                  </a:lnTo>
                  <a:lnTo>
                    <a:pt x="26" y="4"/>
                  </a:lnTo>
                  <a:lnTo>
                    <a:pt x="24" y="2"/>
                  </a:lnTo>
                  <a:lnTo>
                    <a:pt x="21" y="1"/>
                  </a:lnTo>
                  <a:lnTo>
                    <a:pt x="18" y="0"/>
                  </a:lnTo>
                  <a:lnTo>
                    <a:pt x="15" y="0"/>
                  </a:lnTo>
                  <a:lnTo>
                    <a:pt x="12" y="0"/>
                  </a:lnTo>
                  <a:lnTo>
                    <a:pt x="9" y="1"/>
                  </a:lnTo>
                  <a:lnTo>
                    <a:pt x="7" y="2"/>
                  </a:lnTo>
                  <a:lnTo>
                    <a:pt x="4" y="4"/>
                  </a:lnTo>
                  <a:lnTo>
                    <a:pt x="2" y="6"/>
                  </a:lnTo>
                  <a:lnTo>
                    <a:pt x="1" y="9"/>
                  </a:lnTo>
                  <a:lnTo>
                    <a:pt x="0" y="12"/>
                  </a:lnTo>
                  <a:lnTo>
                    <a:pt x="0" y="15"/>
                  </a:lnTo>
                  <a:lnTo>
                    <a:pt x="0" y="242"/>
                  </a:lnTo>
                  <a:lnTo>
                    <a:pt x="0" y="246"/>
                  </a:lnTo>
                  <a:lnTo>
                    <a:pt x="1" y="248"/>
                  </a:lnTo>
                  <a:lnTo>
                    <a:pt x="2" y="251"/>
                  </a:lnTo>
                  <a:lnTo>
                    <a:pt x="4" y="253"/>
                  </a:lnTo>
                  <a:lnTo>
                    <a:pt x="7" y="255"/>
                  </a:lnTo>
                  <a:lnTo>
                    <a:pt x="9"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96">
              <a:extLst>
                <a:ext uri="{FF2B5EF4-FFF2-40B4-BE49-F238E27FC236}">
                  <a16:creationId xmlns:a16="http://schemas.microsoft.com/office/drawing/2014/main" id="{155432B9-278B-44CA-90C6-BC672B17C9FC}"/>
                </a:ext>
              </a:extLst>
            </p:cNvPr>
            <p:cNvSpPr>
              <a:spLocks/>
            </p:cNvSpPr>
            <p:nvPr/>
          </p:nvSpPr>
          <p:spPr bwMode="auto">
            <a:xfrm>
              <a:off x="7227888" y="947420"/>
              <a:ext cx="9525" cy="82550"/>
            </a:xfrm>
            <a:custGeom>
              <a:avLst/>
              <a:gdLst>
                <a:gd name="T0" fmla="*/ 15 w 30"/>
                <a:gd name="T1" fmla="*/ 257 h 257"/>
                <a:gd name="T2" fmla="*/ 18 w 30"/>
                <a:gd name="T3" fmla="*/ 257 h 257"/>
                <a:gd name="T4" fmla="*/ 22 w 30"/>
                <a:gd name="T5" fmla="*/ 256 h 257"/>
                <a:gd name="T6" fmla="*/ 24 w 30"/>
                <a:gd name="T7" fmla="*/ 255 h 257"/>
                <a:gd name="T8" fmla="*/ 26 w 30"/>
                <a:gd name="T9" fmla="*/ 253 h 257"/>
                <a:gd name="T10" fmla="*/ 28 w 30"/>
                <a:gd name="T11" fmla="*/ 251 h 257"/>
                <a:gd name="T12" fmla="*/ 29 w 30"/>
                <a:gd name="T13" fmla="*/ 248 h 257"/>
                <a:gd name="T14" fmla="*/ 30 w 30"/>
                <a:gd name="T15" fmla="*/ 246 h 257"/>
                <a:gd name="T16" fmla="*/ 30 w 30"/>
                <a:gd name="T17" fmla="*/ 242 h 257"/>
                <a:gd name="T18" fmla="*/ 30 w 30"/>
                <a:gd name="T19" fmla="*/ 15 h 257"/>
                <a:gd name="T20" fmla="*/ 30 w 30"/>
                <a:gd name="T21" fmla="*/ 12 h 257"/>
                <a:gd name="T22" fmla="*/ 29 w 30"/>
                <a:gd name="T23" fmla="*/ 9 h 257"/>
                <a:gd name="T24" fmla="*/ 28 w 30"/>
                <a:gd name="T25" fmla="*/ 6 h 257"/>
                <a:gd name="T26" fmla="*/ 26 w 30"/>
                <a:gd name="T27" fmla="*/ 4 h 257"/>
                <a:gd name="T28" fmla="*/ 24 w 30"/>
                <a:gd name="T29" fmla="*/ 2 h 257"/>
                <a:gd name="T30" fmla="*/ 22 w 30"/>
                <a:gd name="T31" fmla="*/ 1 h 257"/>
                <a:gd name="T32" fmla="*/ 18 w 30"/>
                <a:gd name="T33" fmla="*/ 0 h 257"/>
                <a:gd name="T34" fmla="*/ 15 w 30"/>
                <a:gd name="T35" fmla="*/ 0 h 257"/>
                <a:gd name="T36" fmla="*/ 12 w 30"/>
                <a:gd name="T37" fmla="*/ 0 h 257"/>
                <a:gd name="T38" fmla="*/ 10 w 30"/>
                <a:gd name="T39" fmla="*/ 1 h 257"/>
                <a:gd name="T40" fmla="*/ 7 w 30"/>
                <a:gd name="T41" fmla="*/ 2 h 257"/>
                <a:gd name="T42" fmla="*/ 5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5 w 30"/>
                <a:gd name="T61" fmla="*/ 253 h 257"/>
                <a:gd name="T62" fmla="*/ 7 w 30"/>
                <a:gd name="T63" fmla="*/ 255 h 257"/>
                <a:gd name="T64" fmla="*/ 10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8" y="257"/>
                  </a:lnTo>
                  <a:lnTo>
                    <a:pt x="22" y="256"/>
                  </a:lnTo>
                  <a:lnTo>
                    <a:pt x="24" y="255"/>
                  </a:lnTo>
                  <a:lnTo>
                    <a:pt x="26" y="253"/>
                  </a:lnTo>
                  <a:lnTo>
                    <a:pt x="28" y="251"/>
                  </a:lnTo>
                  <a:lnTo>
                    <a:pt x="29" y="248"/>
                  </a:lnTo>
                  <a:lnTo>
                    <a:pt x="30" y="246"/>
                  </a:lnTo>
                  <a:lnTo>
                    <a:pt x="30" y="242"/>
                  </a:lnTo>
                  <a:lnTo>
                    <a:pt x="30" y="15"/>
                  </a:lnTo>
                  <a:lnTo>
                    <a:pt x="30" y="12"/>
                  </a:lnTo>
                  <a:lnTo>
                    <a:pt x="29" y="9"/>
                  </a:lnTo>
                  <a:lnTo>
                    <a:pt x="28" y="6"/>
                  </a:lnTo>
                  <a:lnTo>
                    <a:pt x="26" y="4"/>
                  </a:lnTo>
                  <a:lnTo>
                    <a:pt x="24" y="2"/>
                  </a:lnTo>
                  <a:lnTo>
                    <a:pt x="22" y="1"/>
                  </a:lnTo>
                  <a:lnTo>
                    <a:pt x="18" y="0"/>
                  </a:lnTo>
                  <a:lnTo>
                    <a:pt x="15" y="0"/>
                  </a:lnTo>
                  <a:lnTo>
                    <a:pt x="12" y="0"/>
                  </a:lnTo>
                  <a:lnTo>
                    <a:pt x="10" y="1"/>
                  </a:lnTo>
                  <a:lnTo>
                    <a:pt x="7" y="2"/>
                  </a:lnTo>
                  <a:lnTo>
                    <a:pt x="5" y="4"/>
                  </a:lnTo>
                  <a:lnTo>
                    <a:pt x="2" y="6"/>
                  </a:lnTo>
                  <a:lnTo>
                    <a:pt x="1" y="9"/>
                  </a:lnTo>
                  <a:lnTo>
                    <a:pt x="0" y="12"/>
                  </a:lnTo>
                  <a:lnTo>
                    <a:pt x="0" y="15"/>
                  </a:lnTo>
                  <a:lnTo>
                    <a:pt x="0" y="242"/>
                  </a:lnTo>
                  <a:lnTo>
                    <a:pt x="0" y="246"/>
                  </a:lnTo>
                  <a:lnTo>
                    <a:pt x="1" y="248"/>
                  </a:lnTo>
                  <a:lnTo>
                    <a:pt x="2" y="251"/>
                  </a:lnTo>
                  <a:lnTo>
                    <a:pt x="5" y="253"/>
                  </a:lnTo>
                  <a:lnTo>
                    <a:pt x="7" y="255"/>
                  </a:lnTo>
                  <a:lnTo>
                    <a:pt x="10"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97">
              <a:extLst>
                <a:ext uri="{FF2B5EF4-FFF2-40B4-BE49-F238E27FC236}">
                  <a16:creationId xmlns:a16="http://schemas.microsoft.com/office/drawing/2014/main" id="{7BB615E8-77B8-49BA-9F75-5B1BC1B53E6D}"/>
                </a:ext>
              </a:extLst>
            </p:cNvPr>
            <p:cNvSpPr>
              <a:spLocks/>
            </p:cNvSpPr>
            <p:nvPr/>
          </p:nvSpPr>
          <p:spPr bwMode="auto">
            <a:xfrm>
              <a:off x="7123113" y="947420"/>
              <a:ext cx="9525" cy="82550"/>
            </a:xfrm>
            <a:custGeom>
              <a:avLst/>
              <a:gdLst>
                <a:gd name="T0" fmla="*/ 15 w 30"/>
                <a:gd name="T1" fmla="*/ 257 h 257"/>
                <a:gd name="T2" fmla="*/ 17 w 30"/>
                <a:gd name="T3" fmla="*/ 257 h 257"/>
                <a:gd name="T4" fmla="*/ 20 w 30"/>
                <a:gd name="T5" fmla="*/ 256 h 257"/>
                <a:gd name="T6" fmla="*/ 23 w 30"/>
                <a:gd name="T7" fmla="*/ 255 h 257"/>
                <a:gd name="T8" fmla="*/ 26 w 30"/>
                <a:gd name="T9" fmla="*/ 253 h 257"/>
                <a:gd name="T10" fmla="*/ 27 w 30"/>
                <a:gd name="T11" fmla="*/ 251 h 257"/>
                <a:gd name="T12" fmla="*/ 29 w 30"/>
                <a:gd name="T13" fmla="*/ 248 h 257"/>
                <a:gd name="T14" fmla="*/ 29 w 30"/>
                <a:gd name="T15" fmla="*/ 246 h 257"/>
                <a:gd name="T16" fmla="*/ 30 w 30"/>
                <a:gd name="T17" fmla="*/ 242 h 257"/>
                <a:gd name="T18" fmla="*/ 30 w 30"/>
                <a:gd name="T19" fmla="*/ 15 h 257"/>
                <a:gd name="T20" fmla="*/ 29 w 30"/>
                <a:gd name="T21" fmla="*/ 12 h 257"/>
                <a:gd name="T22" fmla="*/ 29 w 30"/>
                <a:gd name="T23" fmla="*/ 9 h 257"/>
                <a:gd name="T24" fmla="*/ 27 w 30"/>
                <a:gd name="T25" fmla="*/ 6 h 257"/>
                <a:gd name="T26" fmla="*/ 26 w 30"/>
                <a:gd name="T27" fmla="*/ 4 h 257"/>
                <a:gd name="T28" fmla="*/ 23 w 30"/>
                <a:gd name="T29" fmla="*/ 2 h 257"/>
                <a:gd name="T30" fmla="*/ 20 w 30"/>
                <a:gd name="T31" fmla="*/ 1 h 257"/>
                <a:gd name="T32" fmla="*/ 17 w 30"/>
                <a:gd name="T33" fmla="*/ 0 h 257"/>
                <a:gd name="T34" fmla="*/ 15 w 30"/>
                <a:gd name="T35" fmla="*/ 0 h 257"/>
                <a:gd name="T36" fmla="*/ 12 w 30"/>
                <a:gd name="T37" fmla="*/ 0 h 257"/>
                <a:gd name="T38" fmla="*/ 9 w 30"/>
                <a:gd name="T39" fmla="*/ 1 h 257"/>
                <a:gd name="T40" fmla="*/ 6 w 30"/>
                <a:gd name="T41" fmla="*/ 2 h 257"/>
                <a:gd name="T42" fmla="*/ 4 w 30"/>
                <a:gd name="T43" fmla="*/ 4 h 257"/>
                <a:gd name="T44" fmla="*/ 2 w 30"/>
                <a:gd name="T45" fmla="*/ 6 h 257"/>
                <a:gd name="T46" fmla="*/ 1 w 30"/>
                <a:gd name="T47" fmla="*/ 9 h 257"/>
                <a:gd name="T48" fmla="*/ 0 w 30"/>
                <a:gd name="T49" fmla="*/ 12 h 257"/>
                <a:gd name="T50" fmla="*/ 0 w 30"/>
                <a:gd name="T51" fmla="*/ 15 h 257"/>
                <a:gd name="T52" fmla="*/ 0 w 30"/>
                <a:gd name="T53" fmla="*/ 242 h 257"/>
                <a:gd name="T54" fmla="*/ 0 w 30"/>
                <a:gd name="T55" fmla="*/ 246 h 257"/>
                <a:gd name="T56" fmla="*/ 1 w 30"/>
                <a:gd name="T57" fmla="*/ 248 h 257"/>
                <a:gd name="T58" fmla="*/ 2 w 30"/>
                <a:gd name="T59" fmla="*/ 251 h 257"/>
                <a:gd name="T60" fmla="*/ 4 w 30"/>
                <a:gd name="T61" fmla="*/ 253 h 257"/>
                <a:gd name="T62" fmla="*/ 6 w 30"/>
                <a:gd name="T63" fmla="*/ 255 h 257"/>
                <a:gd name="T64" fmla="*/ 9 w 30"/>
                <a:gd name="T65" fmla="*/ 256 h 257"/>
                <a:gd name="T66" fmla="*/ 12 w 30"/>
                <a:gd name="T67" fmla="*/ 257 h 257"/>
                <a:gd name="T68" fmla="*/ 15 w 30"/>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257">
                  <a:moveTo>
                    <a:pt x="15" y="257"/>
                  </a:moveTo>
                  <a:lnTo>
                    <a:pt x="17" y="257"/>
                  </a:lnTo>
                  <a:lnTo>
                    <a:pt x="20" y="256"/>
                  </a:lnTo>
                  <a:lnTo>
                    <a:pt x="23" y="255"/>
                  </a:lnTo>
                  <a:lnTo>
                    <a:pt x="26" y="253"/>
                  </a:lnTo>
                  <a:lnTo>
                    <a:pt x="27" y="251"/>
                  </a:lnTo>
                  <a:lnTo>
                    <a:pt x="29" y="248"/>
                  </a:lnTo>
                  <a:lnTo>
                    <a:pt x="29" y="246"/>
                  </a:lnTo>
                  <a:lnTo>
                    <a:pt x="30" y="242"/>
                  </a:lnTo>
                  <a:lnTo>
                    <a:pt x="30" y="15"/>
                  </a:lnTo>
                  <a:lnTo>
                    <a:pt x="29" y="12"/>
                  </a:lnTo>
                  <a:lnTo>
                    <a:pt x="29" y="9"/>
                  </a:lnTo>
                  <a:lnTo>
                    <a:pt x="27" y="6"/>
                  </a:lnTo>
                  <a:lnTo>
                    <a:pt x="26" y="4"/>
                  </a:lnTo>
                  <a:lnTo>
                    <a:pt x="23" y="2"/>
                  </a:lnTo>
                  <a:lnTo>
                    <a:pt x="20" y="1"/>
                  </a:lnTo>
                  <a:lnTo>
                    <a:pt x="17" y="0"/>
                  </a:lnTo>
                  <a:lnTo>
                    <a:pt x="15" y="0"/>
                  </a:lnTo>
                  <a:lnTo>
                    <a:pt x="12" y="0"/>
                  </a:lnTo>
                  <a:lnTo>
                    <a:pt x="9" y="1"/>
                  </a:lnTo>
                  <a:lnTo>
                    <a:pt x="6" y="2"/>
                  </a:lnTo>
                  <a:lnTo>
                    <a:pt x="4" y="4"/>
                  </a:lnTo>
                  <a:lnTo>
                    <a:pt x="2" y="6"/>
                  </a:lnTo>
                  <a:lnTo>
                    <a:pt x="1" y="9"/>
                  </a:lnTo>
                  <a:lnTo>
                    <a:pt x="0" y="12"/>
                  </a:lnTo>
                  <a:lnTo>
                    <a:pt x="0" y="15"/>
                  </a:lnTo>
                  <a:lnTo>
                    <a:pt x="0" y="242"/>
                  </a:lnTo>
                  <a:lnTo>
                    <a:pt x="0" y="246"/>
                  </a:lnTo>
                  <a:lnTo>
                    <a:pt x="1" y="248"/>
                  </a:lnTo>
                  <a:lnTo>
                    <a:pt x="2" y="251"/>
                  </a:lnTo>
                  <a:lnTo>
                    <a:pt x="4" y="253"/>
                  </a:lnTo>
                  <a:lnTo>
                    <a:pt x="6" y="255"/>
                  </a:lnTo>
                  <a:lnTo>
                    <a:pt x="9" y="256"/>
                  </a:lnTo>
                  <a:lnTo>
                    <a:pt x="12" y="257"/>
                  </a:lnTo>
                  <a:lnTo>
                    <a:pt x="15"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98">
              <a:extLst>
                <a:ext uri="{FF2B5EF4-FFF2-40B4-BE49-F238E27FC236}">
                  <a16:creationId xmlns:a16="http://schemas.microsoft.com/office/drawing/2014/main" id="{695F44A0-52FC-434D-B095-AD52104CFD81}"/>
                </a:ext>
              </a:extLst>
            </p:cNvPr>
            <p:cNvSpPr>
              <a:spLocks/>
            </p:cNvSpPr>
            <p:nvPr/>
          </p:nvSpPr>
          <p:spPr bwMode="auto">
            <a:xfrm>
              <a:off x="7085013" y="947420"/>
              <a:ext cx="9525" cy="82550"/>
            </a:xfrm>
            <a:custGeom>
              <a:avLst/>
              <a:gdLst>
                <a:gd name="T0" fmla="*/ 16 w 31"/>
                <a:gd name="T1" fmla="*/ 257 h 257"/>
                <a:gd name="T2" fmla="*/ 18 w 31"/>
                <a:gd name="T3" fmla="*/ 257 h 257"/>
                <a:gd name="T4" fmla="*/ 21 w 31"/>
                <a:gd name="T5" fmla="*/ 256 h 257"/>
                <a:gd name="T6" fmla="*/ 23 w 31"/>
                <a:gd name="T7" fmla="*/ 255 h 257"/>
                <a:gd name="T8" fmla="*/ 26 w 31"/>
                <a:gd name="T9" fmla="*/ 253 h 257"/>
                <a:gd name="T10" fmla="*/ 28 w 31"/>
                <a:gd name="T11" fmla="*/ 251 h 257"/>
                <a:gd name="T12" fmla="*/ 29 w 31"/>
                <a:gd name="T13" fmla="*/ 248 h 257"/>
                <a:gd name="T14" fmla="*/ 30 w 31"/>
                <a:gd name="T15" fmla="*/ 246 h 257"/>
                <a:gd name="T16" fmla="*/ 31 w 31"/>
                <a:gd name="T17" fmla="*/ 242 h 257"/>
                <a:gd name="T18" fmla="*/ 31 w 31"/>
                <a:gd name="T19" fmla="*/ 15 h 257"/>
                <a:gd name="T20" fmla="*/ 30 w 31"/>
                <a:gd name="T21" fmla="*/ 12 h 257"/>
                <a:gd name="T22" fmla="*/ 29 w 31"/>
                <a:gd name="T23" fmla="*/ 9 h 257"/>
                <a:gd name="T24" fmla="*/ 28 w 31"/>
                <a:gd name="T25" fmla="*/ 6 h 257"/>
                <a:gd name="T26" fmla="*/ 26 w 31"/>
                <a:gd name="T27" fmla="*/ 4 h 257"/>
                <a:gd name="T28" fmla="*/ 23 w 31"/>
                <a:gd name="T29" fmla="*/ 2 h 257"/>
                <a:gd name="T30" fmla="*/ 21 w 31"/>
                <a:gd name="T31" fmla="*/ 1 h 257"/>
                <a:gd name="T32" fmla="*/ 18 w 31"/>
                <a:gd name="T33" fmla="*/ 0 h 257"/>
                <a:gd name="T34" fmla="*/ 16 w 31"/>
                <a:gd name="T35" fmla="*/ 0 h 257"/>
                <a:gd name="T36" fmla="*/ 13 w 31"/>
                <a:gd name="T37" fmla="*/ 0 h 257"/>
                <a:gd name="T38" fmla="*/ 10 w 31"/>
                <a:gd name="T39" fmla="*/ 1 h 257"/>
                <a:gd name="T40" fmla="*/ 7 w 31"/>
                <a:gd name="T41" fmla="*/ 2 h 257"/>
                <a:gd name="T42" fmla="*/ 5 w 31"/>
                <a:gd name="T43" fmla="*/ 4 h 257"/>
                <a:gd name="T44" fmla="*/ 3 w 31"/>
                <a:gd name="T45" fmla="*/ 6 h 257"/>
                <a:gd name="T46" fmla="*/ 2 w 31"/>
                <a:gd name="T47" fmla="*/ 9 h 257"/>
                <a:gd name="T48" fmla="*/ 1 w 31"/>
                <a:gd name="T49" fmla="*/ 12 h 257"/>
                <a:gd name="T50" fmla="*/ 0 w 31"/>
                <a:gd name="T51" fmla="*/ 15 h 257"/>
                <a:gd name="T52" fmla="*/ 0 w 31"/>
                <a:gd name="T53" fmla="*/ 242 h 257"/>
                <a:gd name="T54" fmla="*/ 1 w 31"/>
                <a:gd name="T55" fmla="*/ 246 h 257"/>
                <a:gd name="T56" fmla="*/ 2 w 31"/>
                <a:gd name="T57" fmla="*/ 248 h 257"/>
                <a:gd name="T58" fmla="*/ 3 w 31"/>
                <a:gd name="T59" fmla="*/ 251 h 257"/>
                <a:gd name="T60" fmla="*/ 5 w 31"/>
                <a:gd name="T61" fmla="*/ 253 h 257"/>
                <a:gd name="T62" fmla="*/ 7 w 31"/>
                <a:gd name="T63" fmla="*/ 255 h 257"/>
                <a:gd name="T64" fmla="*/ 10 w 31"/>
                <a:gd name="T65" fmla="*/ 256 h 257"/>
                <a:gd name="T66" fmla="*/ 13 w 31"/>
                <a:gd name="T67" fmla="*/ 257 h 257"/>
                <a:gd name="T68" fmla="*/ 16 w 31"/>
                <a:gd name="T69"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57">
                  <a:moveTo>
                    <a:pt x="16" y="257"/>
                  </a:moveTo>
                  <a:lnTo>
                    <a:pt x="18" y="257"/>
                  </a:lnTo>
                  <a:lnTo>
                    <a:pt x="21" y="256"/>
                  </a:lnTo>
                  <a:lnTo>
                    <a:pt x="23" y="255"/>
                  </a:lnTo>
                  <a:lnTo>
                    <a:pt x="26" y="253"/>
                  </a:lnTo>
                  <a:lnTo>
                    <a:pt x="28" y="251"/>
                  </a:lnTo>
                  <a:lnTo>
                    <a:pt x="29" y="248"/>
                  </a:lnTo>
                  <a:lnTo>
                    <a:pt x="30" y="246"/>
                  </a:lnTo>
                  <a:lnTo>
                    <a:pt x="31" y="242"/>
                  </a:lnTo>
                  <a:lnTo>
                    <a:pt x="31" y="15"/>
                  </a:lnTo>
                  <a:lnTo>
                    <a:pt x="30" y="12"/>
                  </a:lnTo>
                  <a:lnTo>
                    <a:pt x="29" y="9"/>
                  </a:lnTo>
                  <a:lnTo>
                    <a:pt x="28" y="6"/>
                  </a:lnTo>
                  <a:lnTo>
                    <a:pt x="26" y="4"/>
                  </a:lnTo>
                  <a:lnTo>
                    <a:pt x="23" y="2"/>
                  </a:lnTo>
                  <a:lnTo>
                    <a:pt x="21" y="1"/>
                  </a:lnTo>
                  <a:lnTo>
                    <a:pt x="18" y="0"/>
                  </a:lnTo>
                  <a:lnTo>
                    <a:pt x="16" y="0"/>
                  </a:lnTo>
                  <a:lnTo>
                    <a:pt x="13" y="0"/>
                  </a:lnTo>
                  <a:lnTo>
                    <a:pt x="10" y="1"/>
                  </a:lnTo>
                  <a:lnTo>
                    <a:pt x="7" y="2"/>
                  </a:lnTo>
                  <a:lnTo>
                    <a:pt x="5" y="4"/>
                  </a:lnTo>
                  <a:lnTo>
                    <a:pt x="3" y="6"/>
                  </a:lnTo>
                  <a:lnTo>
                    <a:pt x="2" y="9"/>
                  </a:lnTo>
                  <a:lnTo>
                    <a:pt x="1" y="12"/>
                  </a:lnTo>
                  <a:lnTo>
                    <a:pt x="0" y="15"/>
                  </a:lnTo>
                  <a:lnTo>
                    <a:pt x="0" y="242"/>
                  </a:lnTo>
                  <a:lnTo>
                    <a:pt x="1" y="246"/>
                  </a:lnTo>
                  <a:lnTo>
                    <a:pt x="2" y="248"/>
                  </a:lnTo>
                  <a:lnTo>
                    <a:pt x="3" y="251"/>
                  </a:lnTo>
                  <a:lnTo>
                    <a:pt x="5" y="253"/>
                  </a:lnTo>
                  <a:lnTo>
                    <a:pt x="7" y="255"/>
                  </a:lnTo>
                  <a:lnTo>
                    <a:pt x="10" y="256"/>
                  </a:lnTo>
                  <a:lnTo>
                    <a:pt x="13" y="257"/>
                  </a:lnTo>
                  <a:lnTo>
                    <a:pt x="16"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8" name="Group 290">
            <a:extLst>
              <a:ext uri="{FF2B5EF4-FFF2-40B4-BE49-F238E27FC236}">
                <a16:creationId xmlns:a16="http://schemas.microsoft.com/office/drawing/2014/main" id="{7949E59F-6A88-4655-9A8A-CD9C868B706F}"/>
              </a:ext>
            </a:extLst>
          </p:cNvPr>
          <p:cNvGrpSpPr>
            <a:grpSpLocks noChangeAspect="1"/>
          </p:cNvGrpSpPr>
          <p:nvPr/>
        </p:nvGrpSpPr>
        <p:grpSpPr>
          <a:xfrm>
            <a:off x="1074069" y="4340505"/>
            <a:ext cx="290459" cy="285619"/>
            <a:chOff x="7018338" y="1356995"/>
            <a:chExt cx="285750" cy="280988"/>
          </a:xfrm>
          <a:solidFill>
            <a:schemeClr val="bg1"/>
          </a:solidFill>
          <a:effectLst/>
        </p:grpSpPr>
        <p:sp>
          <p:nvSpPr>
            <p:cNvPr id="1189" name="Freeform 231">
              <a:extLst>
                <a:ext uri="{FF2B5EF4-FFF2-40B4-BE49-F238E27FC236}">
                  <a16:creationId xmlns:a16="http://schemas.microsoft.com/office/drawing/2014/main" id="{73DC3B26-E8BB-48FD-978B-65FE03A5D967}"/>
                </a:ext>
              </a:extLst>
            </p:cNvPr>
            <p:cNvSpPr>
              <a:spLocks noEditPoints="1"/>
            </p:cNvSpPr>
            <p:nvPr/>
          </p:nvSpPr>
          <p:spPr bwMode="auto">
            <a:xfrm>
              <a:off x="7185025" y="1590358"/>
              <a:ext cx="47625" cy="47625"/>
            </a:xfrm>
            <a:custGeom>
              <a:avLst/>
              <a:gdLst>
                <a:gd name="T0" fmla="*/ 67 w 150"/>
                <a:gd name="T1" fmla="*/ 119 h 150"/>
                <a:gd name="T2" fmla="*/ 49 w 150"/>
                <a:gd name="T3" fmla="*/ 112 h 150"/>
                <a:gd name="T4" fmla="*/ 38 w 150"/>
                <a:gd name="T5" fmla="*/ 100 h 150"/>
                <a:gd name="T6" fmla="*/ 31 w 150"/>
                <a:gd name="T7" fmla="*/ 84 h 150"/>
                <a:gd name="T8" fmla="*/ 31 w 150"/>
                <a:gd name="T9" fmla="*/ 66 h 150"/>
                <a:gd name="T10" fmla="*/ 38 w 150"/>
                <a:gd name="T11" fmla="*/ 50 h 150"/>
                <a:gd name="T12" fmla="*/ 49 w 150"/>
                <a:gd name="T13" fmla="*/ 37 h 150"/>
                <a:gd name="T14" fmla="*/ 67 w 150"/>
                <a:gd name="T15" fmla="*/ 31 h 150"/>
                <a:gd name="T16" fmla="*/ 84 w 150"/>
                <a:gd name="T17" fmla="*/ 31 h 150"/>
                <a:gd name="T18" fmla="*/ 100 w 150"/>
                <a:gd name="T19" fmla="*/ 37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19 h 150"/>
                <a:gd name="T32" fmla="*/ 75 w 150"/>
                <a:gd name="T33" fmla="*/ 0 h 150"/>
                <a:gd name="T34" fmla="*/ 60 w 150"/>
                <a:gd name="T35" fmla="*/ 2 h 150"/>
                <a:gd name="T36" fmla="*/ 46 w 150"/>
                <a:gd name="T37" fmla="*/ 6 h 150"/>
                <a:gd name="T38" fmla="*/ 33 w 150"/>
                <a:gd name="T39" fmla="*/ 12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6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9 w 150"/>
                <a:gd name="T73" fmla="*/ 128 h 150"/>
                <a:gd name="T74" fmla="*/ 137 w 150"/>
                <a:gd name="T75" fmla="*/ 116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7" y="119"/>
                  </a:lnTo>
                  <a:lnTo>
                    <a:pt x="58" y="116"/>
                  </a:lnTo>
                  <a:lnTo>
                    <a:pt x="49" y="112"/>
                  </a:lnTo>
                  <a:lnTo>
                    <a:pt x="43" y="107"/>
                  </a:lnTo>
                  <a:lnTo>
                    <a:pt x="38" y="100"/>
                  </a:lnTo>
                  <a:lnTo>
                    <a:pt x="33" y="93"/>
                  </a:lnTo>
                  <a:lnTo>
                    <a:pt x="31" y="84"/>
                  </a:lnTo>
                  <a:lnTo>
                    <a:pt x="30" y="75"/>
                  </a:lnTo>
                  <a:lnTo>
                    <a:pt x="31" y="66"/>
                  </a:lnTo>
                  <a:lnTo>
                    <a:pt x="33" y="58"/>
                  </a:lnTo>
                  <a:lnTo>
                    <a:pt x="38" y="50"/>
                  </a:lnTo>
                  <a:lnTo>
                    <a:pt x="43" y="42"/>
                  </a:lnTo>
                  <a:lnTo>
                    <a:pt x="49" y="37"/>
                  </a:lnTo>
                  <a:lnTo>
                    <a:pt x="58" y="33"/>
                  </a:lnTo>
                  <a:lnTo>
                    <a:pt x="67" y="31"/>
                  </a:lnTo>
                  <a:lnTo>
                    <a:pt x="75" y="30"/>
                  </a:lnTo>
                  <a:lnTo>
                    <a:pt x="84" y="31"/>
                  </a:lnTo>
                  <a:lnTo>
                    <a:pt x="92" y="33"/>
                  </a:lnTo>
                  <a:lnTo>
                    <a:pt x="100" y="37"/>
                  </a:lnTo>
                  <a:lnTo>
                    <a:pt x="107" y="42"/>
                  </a:lnTo>
                  <a:lnTo>
                    <a:pt x="113" y="50"/>
                  </a:lnTo>
                  <a:lnTo>
                    <a:pt x="117" y="58"/>
                  </a:lnTo>
                  <a:lnTo>
                    <a:pt x="119" y="66"/>
                  </a:lnTo>
                  <a:lnTo>
                    <a:pt x="120" y="75"/>
                  </a:lnTo>
                  <a:lnTo>
                    <a:pt x="119" y="84"/>
                  </a:lnTo>
                  <a:lnTo>
                    <a:pt x="117" y="93"/>
                  </a:lnTo>
                  <a:lnTo>
                    <a:pt x="113" y="100"/>
                  </a:lnTo>
                  <a:lnTo>
                    <a:pt x="107" y="107"/>
                  </a:lnTo>
                  <a:lnTo>
                    <a:pt x="100" y="112"/>
                  </a:lnTo>
                  <a:lnTo>
                    <a:pt x="92" y="116"/>
                  </a:lnTo>
                  <a:lnTo>
                    <a:pt x="84" y="119"/>
                  </a:lnTo>
                  <a:lnTo>
                    <a:pt x="75" y="120"/>
                  </a:lnTo>
                  <a:close/>
                  <a:moveTo>
                    <a:pt x="75" y="0"/>
                  </a:moveTo>
                  <a:lnTo>
                    <a:pt x="68" y="0"/>
                  </a:lnTo>
                  <a:lnTo>
                    <a:pt x="60" y="2"/>
                  </a:lnTo>
                  <a:lnTo>
                    <a:pt x="53" y="3"/>
                  </a:lnTo>
                  <a:lnTo>
                    <a:pt x="46" y="6"/>
                  </a:lnTo>
                  <a:lnTo>
                    <a:pt x="40" y="9"/>
                  </a:lnTo>
                  <a:lnTo>
                    <a:pt x="33" y="12"/>
                  </a:lnTo>
                  <a:lnTo>
                    <a:pt x="27" y="17"/>
                  </a:lnTo>
                  <a:lnTo>
                    <a:pt x="22" y="22"/>
                  </a:lnTo>
                  <a:lnTo>
                    <a:pt x="17" y="27"/>
                  </a:lnTo>
                  <a:lnTo>
                    <a:pt x="13" y="33"/>
                  </a:lnTo>
                  <a:lnTo>
                    <a:pt x="9" y="39"/>
                  </a:lnTo>
                  <a:lnTo>
                    <a:pt x="6" y="46"/>
                  </a:lnTo>
                  <a:lnTo>
                    <a:pt x="3" y="52"/>
                  </a:lnTo>
                  <a:lnTo>
                    <a:pt x="1" y="60"/>
                  </a:lnTo>
                  <a:lnTo>
                    <a:pt x="0" y="67"/>
                  </a:lnTo>
                  <a:lnTo>
                    <a:pt x="0" y="75"/>
                  </a:lnTo>
                  <a:lnTo>
                    <a:pt x="0" y="82"/>
                  </a:lnTo>
                  <a:lnTo>
                    <a:pt x="1" y="90"/>
                  </a:lnTo>
                  <a:lnTo>
                    <a:pt x="3" y="97"/>
                  </a:lnTo>
                  <a:lnTo>
                    <a:pt x="6" y="104"/>
                  </a:lnTo>
                  <a:lnTo>
                    <a:pt x="9" y="111"/>
                  </a:lnTo>
                  <a:lnTo>
                    <a:pt x="13" y="116"/>
                  </a:lnTo>
                  <a:lnTo>
                    <a:pt x="17" y="123"/>
                  </a:lnTo>
                  <a:lnTo>
                    <a:pt x="22" y="128"/>
                  </a:lnTo>
                  <a:lnTo>
                    <a:pt x="27" y="133"/>
                  </a:lnTo>
                  <a:lnTo>
                    <a:pt x="33" y="137"/>
                  </a:lnTo>
                  <a:lnTo>
                    <a:pt x="40" y="141"/>
                  </a:lnTo>
                  <a:lnTo>
                    <a:pt x="46" y="144"/>
                  </a:lnTo>
                  <a:lnTo>
                    <a:pt x="53" y="147"/>
                  </a:lnTo>
                  <a:lnTo>
                    <a:pt x="60" y="149"/>
                  </a:lnTo>
                  <a:lnTo>
                    <a:pt x="68" y="150"/>
                  </a:lnTo>
                  <a:lnTo>
                    <a:pt x="75" y="150"/>
                  </a:lnTo>
                  <a:lnTo>
                    <a:pt x="83" y="150"/>
                  </a:lnTo>
                  <a:lnTo>
                    <a:pt x="90" y="149"/>
                  </a:lnTo>
                  <a:lnTo>
                    <a:pt x="98" y="147"/>
                  </a:lnTo>
                  <a:lnTo>
                    <a:pt x="104" y="144"/>
                  </a:lnTo>
                  <a:lnTo>
                    <a:pt x="111" y="141"/>
                  </a:lnTo>
                  <a:lnTo>
                    <a:pt x="117" y="137"/>
                  </a:lnTo>
                  <a:lnTo>
                    <a:pt x="123" y="133"/>
                  </a:lnTo>
                  <a:lnTo>
                    <a:pt x="129" y="128"/>
                  </a:lnTo>
                  <a:lnTo>
                    <a:pt x="133" y="123"/>
                  </a:lnTo>
                  <a:lnTo>
                    <a:pt x="137" y="116"/>
                  </a:lnTo>
                  <a:lnTo>
                    <a:pt x="142" y="111"/>
                  </a:lnTo>
                  <a:lnTo>
                    <a:pt x="145" y="104"/>
                  </a:lnTo>
                  <a:lnTo>
                    <a:pt x="147" y="97"/>
                  </a:lnTo>
                  <a:lnTo>
                    <a:pt x="149" y="90"/>
                  </a:lnTo>
                  <a:lnTo>
                    <a:pt x="150" y="82"/>
                  </a:lnTo>
                  <a:lnTo>
                    <a:pt x="150" y="75"/>
                  </a:lnTo>
                  <a:lnTo>
                    <a:pt x="150" y="67"/>
                  </a:lnTo>
                  <a:lnTo>
                    <a:pt x="149" y="60"/>
                  </a:lnTo>
                  <a:lnTo>
                    <a:pt x="147" y="52"/>
                  </a:lnTo>
                  <a:lnTo>
                    <a:pt x="145" y="46"/>
                  </a:lnTo>
                  <a:lnTo>
                    <a:pt x="142" y="39"/>
                  </a:lnTo>
                  <a:lnTo>
                    <a:pt x="137" y="33"/>
                  </a:lnTo>
                  <a:lnTo>
                    <a:pt x="133" y="27"/>
                  </a:lnTo>
                  <a:lnTo>
                    <a:pt x="129" y="22"/>
                  </a:lnTo>
                  <a:lnTo>
                    <a:pt x="123" y="17"/>
                  </a:lnTo>
                  <a:lnTo>
                    <a:pt x="117" y="12"/>
                  </a:lnTo>
                  <a:lnTo>
                    <a:pt x="111" y="9"/>
                  </a:lnTo>
                  <a:lnTo>
                    <a:pt x="104" y="6"/>
                  </a:lnTo>
                  <a:lnTo>
                    <a:pt x="98" y="3"/>
                  </a:lnTo>
                  <a:lnTo>
                    <a:pt x="90"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232">
              <a:extLst>
                <a:ext uri="{FF2B5EF4-FFF2-40B4-BE49-F238E27FC236}">
                  <a16:creationId xmlns:a16="http://schemas.microsoft.com/office/drawing/2014/main" id="{A77E58CD-51D3-4CF0-B143-F4F9222EC35A}"/>
                </a:ext>
              </a:extLst>
            </p:cNvPr>
            <p:cNvSpPr>
              <a:spLocks noEditPoints="1"/>
            </p:cNvSpPr>
            <p:nvPr/>
          </p:nvSpPr>
          <p:spPr bwMode="auto">
            <a:xfrm>
              <a:off x="7046913" y="1590358"/>
              <a:ext cx="47625" cy="47625"/>
            </a:xfrm>
            <a:custGeom>
              <a:avLst/>
              <a:gdLst>
                <a:gd name="T0" fmla="*/ 66 w 151"/>
                <a:gd name="T1" fmla="*/ 119 h 150"/>
                <a:gd name="T2" fmla="*/ 50 w 151"/>
                <a:gd name="T3" fmla="*/ 112 h 150"/>
                <a:gd name="T4" fmla="*/ 38 w 151"/>
                <a:gd name="T5" fmla="*/ 100 h 150"/>
                <a:gd name="T6" fmla="*/ 31 w 151"/>
                <a:gd name="T7" fmla="*/ 84 h 150"/>
                <a:gd name="T8" fmla="*/ 31 w 151"/>
                <a:gd name="T9" fmla="*/ 66 h 150"/>
                <a:gd name="T10" fmla="*/ 38 w 151"/>
                <a:gd name="T11" fmla="*/ 50 h 150"/>
                <a:gd name="T12" fmla="*/ 50 w 151"/>
                <a:gd name="T13" fmla="*/ 37 h 150"/>
                <a:gd name="T14" fmla="*/ 66 w 151"/>
                <a:gd name="T15" fmla="*/ 31 h 150"/>
                <a:gd name="T16" fmla="*/ 84 w 151"/>
                <a:gd name="T17" fmla="*/ 31 h 150"/>
                <a:gd name="T18" fmla="*/ 101 w 151"/>
                <a:gd name="T19" fmla="*/ 37 h 150"/>
                <a:gd name="T20" fmla="*/ 112 w 151"/>
                <a:gd name="T21" fmla="*/ 50 h 150"/>
                <a:gd name="T22" fmla="*/ 120 w 151"/>
                <a:gd name="T23" fmla="*/ 66 h 150"/>
                <a:gd name="T24" fmla="*/ 120 w 151"/>
                <a:gd name="T25" fmla="*/ 84 h 150"/>
                <a:gd name="T26" fmla="*/ 112 w 151"/>
                <a:gd name="T27" fmla="*/ 100 h 150"/>
                <a:gd name="T28" fmla="*/ 101 w 151"/>
                <a:gd name="T29" fmla="*/ 112 h 150"/>
                <a:gd name="T30" fmla="*/ 84 w 151"/>
                <a:gd name="T31" fmla="*/ 119 h 150"/>
                <a:gd name="T32" fmla="*/ 75 w 151"/>
                <a:gd name="T33" fmla="*/ 0 h 150"/>
                <a:gd name="T34" fmla="*/ 60 w 151"/>
                <a:gd name="T35" fmla="*/ 2 h 150"/>
                <a:gd name="T36" fmla="*/ 46 w 151"/>
                <a:gd name="T37" fmla="*/ 6 h 150"/>
                <a:gd name="T38" fmla="*/ 33 w 151"/>
                <a:gd name="T39" fmla="*/ 12 h 150"/>
                <a:gd name="T40" fmla="*/ 22 w 151"/>
                <a:gd name="T41" fmla="*/ 22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6 h 150"/>
                <a:gd name="T56" fmla="*/ 22 w 151"/>
                <a:gd name="T57" fmla="*/ 128 h 150"/>
                <a:gd name="T58" fmla="*/ 33 w 151"/>
                <a:gd name="T59" fmla="*/ 137 h 150"/>
                <a:gd name="T60" fmla="*/ 46 w 151"/>
                <a:gd name="T61" fmla="*/ 144 h 150"/>
                <a:gd name="T62" fmla="*/ 60 w 151"/>
                <a:gd name="T63" fmla="*/ 149 h 150"/>
                <a:gd name="T64" fmla="*/ 75 w 151"/>
                <a:gd name="T65" fmla="*/ 150 h 150"/>
                <a:gd name="T66" fmla="*/ 91 w 151"/>
                <a:gd name="T67" fmla="*/ 149 h 150"/>
                <a:gd name="T68" fmla="*/ 105 w 151"/>
                <a:gd name="T69" fmla="*/ 144 h 150"/>
                <a:gd name="T70" fmla="*/ 118 w 151"/>
                <a:gd name="T71" fmla="*/ 137 h 150"/>
                <a:gd name="T72" fmla="*/ 128 w 151"/>
                <a:gd name="T73" fmla="*/ 128 h 150"/>
                <a:gd name="T74" fmla="*/ 138 w 151"/>
                <a:gd name="T75" fmla="*/ 116 h 150"/>
                <a:gd name="T76" fmla="*/ 145 w 151"/>
                <a:gd name="T77" fmla="*/ 104 h 150"/>
                <a:gd name="T78" fmla="*/ 149 w 151"/>
                <a:gd name="T79" fmla="*/ 90 h 150"/>
                <a:gd name="T80" fmla="*/ 151 w 151"/>
                <a:gd name="T81" fmla="*/ 75 h 150"/>
                <a:gd name="T82" fmla="*/ 149 w 151"/>
                <a:gd name="T83" fmla="*/ 60 h 150"/>
                <a:gd name="T84" fmla="*/ 145 w 151"/>
                <a:gd name="T85" fmla="*/ 46 h 150"/>
                <a:gd name="T86" fmla="*/ 138 w 151"/>
                <a:gd name="T87" fmla="*/ 33 h 150"/>
                <a:gd name="T88" fmla="*/ 128 w 151"/>
                <a:gd name="T89" fmla="*/ 22 h 150"/>
                <a:gd name="T90" fmla="*/ 118 w 151"/>
                <a:gd name="T91" fmla="*/ 12 h 150"/>
                <a:gd name="T92" fmla="*/ 105 w 151"/>
                <a:gd name="T93" fmla="*/ 6 h 150"/>
                <a:gd name="T94" fmla="*/ 91 w 151"/>
                <a:gd name="T95" fmla="*/ 2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6" y="119"/>
                  </a:lnTo>
                  <a:lnTo>
                    <a:pt x="58" y="116"/>
                  </a:lnTo>
                  <a:lnTo>
                    <a:pt x="50" y="112"/>
                  </a:lnTo>
                  <a:lnTo>
                    <a:pt x="44" y="107"/>
                  </a:lnTo>
                  <a:lnTo>
                    <a:pt x="38" y="100"/>
                  </a:lnTo>
                  <a:lnTo>
                    <a:pt x="34" y="93"/>
                  </a:lnTo>
                  <a:lnTo>
                    <a:pt x="31" y="84"/>
                  </a:lnTo>
                  <a:lnTo>
                    <a:pt x="30" y="75"/>
                  </a:lnTo>
                  <a:lnTo>
                    <a:pt x="31" y="66"/>
                  </a:lnTo>
                  <a:lnTo>
                    <a:pt x="34" y="58"/>
                  </a:lnTo>
                  <a:lnTo>
                    <a:pt x="38" y="50"/>
                  </a:lnTo>
                  <a:lnTo>
                    <a:pt x="44" y="42"/>
                  </a:lnTo>
                  <a:lnTo>
                    <a:pt x="50" y="37"/>
                  </a:lnTo>
                  <a:lnTo>
                    <a:pt x="58" y="33"/>
                  </a:lnTo>
                  <a:lnTo>
                    <a:pt x="66" y="31"/>
                  </a:lnTo>
                  <a:lnTo>
                    <a:pt x="75" y="30"/>
                  </a:lnTo>
                  <a:lnTo>
                    <a:pt x="84" y="31"/>
                  </a:lnTo>
                  <a:lnTo>
                    <a:pt x="93" y="33"/>
                  </a:lnTo>
                  <a:lnTo>
                    <a:pt x="101" y="37"/>
                  </a:lnTo>
                  <a:lnTo>
                    <a:pt x="107" y="42"/>
                  </a:lnTo>
                  <a:lnTo>
                    <a:pt x="112" y="50"/>
                  </a:lnTo>
                  <a:lnTo>
                    <a:pt x="117" y="58"/>
                  </a:lnTo>
                  <a:lnTo>
                    <a:pt x="120" y="66"/>
                  </a:lnTo>
                  <a:lnTo>
                    <a:pt x="120" y="75"/>
                  </a:lnTo>
                  <a:lnTo>
                    <a:pt x="120" y="84"/>
                  </a:lnTo>
                  <a:lnTo>
                    <a:pt x="117" y="93"/>
                  </a:lnTo>
                  <a:lnTo>
                    <a:pt x="112" y="100"/>
                  </a:lnTo>
                  <a:lnTo>
                    <a:pt x="107" y="107"/>
                  </a:lnTo>
                  <a:lnTo>
                    <a:pt x="101" y="112"/>
                  </a:lnTo>
                  <a:lnTo>
                    <a:pt x="93" y="116"/>
                  </a:lnTo>
                  <a:lnTo>
                    <a:pt x="84" y="119"/>
                  </a:lnTo>
                  <a:lnTo>
                    <a:pt x="75" y="120"/>
                  </a:lnTo>
                  <a:close/>
                  <a:moveTo>
                    <a:pt x="75" y="0"/>
                  </a:moveTo>
                  <a:lnTo>
                    <a:pt x="67" y="0"/>
                  </a:lnTo>
                  <a:lnTo>
                    <a:pt x="60" y="2"/>
                  </a:lnTo>
                  <a:lnTo>
                    <a:pt x="53" y="3"/>
                  </a:lnTo>
                  <a:lnTo>
                    <a:pt x="46" y="6"/>
                  </a:lnTo>
                  <a:lnTo>
                    <a:pt x="39" y="9"/>
                  </a:lnTo>
                  <a:lnTo>
                    <a:pt x="33" y="12"/>
                  </a:lnTo>
                  <a:lnTo>
                    <a:pt x="28" y="17"/>
                  </a:lnTo>
                  <a:lnTo>
                    <a:pt x="22" y="22"/>
                  </a:lnTo>
                  <a:lnTo>
                    <a:pt x="17" y="27"/>
                  </a:lnTo>
                  <a:lnTo>
                    <a:pt x="13" y="33"/>
                  </a:lnTo>
                  <a:lnTo>
                    <a:pt x="9" y="39"/>
                  </a:lnTo>
                  <a:lnTo>
                    <a:pt x="6" y="46"/>
                  </a:lnTo>
                  <a:lnTo>
                    <a:pt x="3" y="52"/>
                  </a:lnTo>
                  <a:lnTo>
                    <a:pt x="2" y="60"/>
                  </a:lnTo>
                  <a:lnTo>
                    <a:pt x="1" y="67"/>
                  </a:lnTo>
                  <a:lnTo>
                    <a:pt x="0" y="75"/>
                  </a:lnTo>
                  <a:lnTo>
                    <a:pt x="1" y="82"/>
                  </a:lnTo>
                  <a:lnTo>
                    <a:pt x="2" y="90"/>
                  </a:lnTo>
                  <a:lnTo>
                    <a:pt x="3" y="97"/>
                  </a:lnTo>
                  <a:lnTo>
                    <a:pt x="6" y="104"/>
                  </a:lnTo>
                  <a:lnTo>
                    <a:pt x="9" y="111"/>
                  </a:lnTo>
                  <a:lnTo>
                    <a:pt x="13" y="116"/>
                  </a:lnTo>
                  <a:lnTo>
                    <a:pt x="17" y="123"/>
                  </a:lnTo>
                  <a:lnTo>
                    <a:pt x="22" y="128"/>
                  </a:lnTo>
                  <a:lnTo>
                    <a:pt x="28" y="133"/>
                  </a:lnTo>
                  <a:lnTo>
                    <a:pt x="33" y="137"/>
                  </a:lnTo>
                  <a:lnTo>
                    <a:pt x="39" y="141"/>
                  </a:lnTo>
                  <a:lnTo>
                    <a:pt x="46" y="144"/>
                  </a:lnTo>
                  <a:lnTo>
                    <a:pt x="53" y="147"/>
                  </a:lnTo>
                  <a:lnTo>
                    <a:pt x="60" y="149"/>
                  </a:lnTo>
                  <a:lnTo>
                    <a:pt x="67" y="150"/>
                  </a:lnTo>
                  <a:lnTo>
                    <a:pt x="75" y="150"/>
                  </a:lnTo>
                  <a:lnTo>
                    <a:pt x="83" y="150"/>
                  </a:lnTo>
                  <a:lnTo>
                    <a:pt x="91" y="149"/>
                  </a:lnTo>
                  <a:lnTo>
                    <a:pt x="97" y="147"/>
                  </a:lnTo>
                  <a:lnTo>
                    <a:pt x="105" y="144"/>
                  </a:lnTo>
                  <a:lnTo>
                    <a:pt x="111" y="141"/>
                  </a:lnTo>
                  <a:lnTo>
                    <a:pt x="118" y="137"/>
                  </a:lnTo>
                  <a:lnTo>
                    <a:pt x="123" y="133"/>
                  </a:lnTo>
                  <a:lnTo>
                    <a:pt x="128" y="128"/>
                  </a:lnTo>
                  <a:lnTo>
                    <a:pt x="134" y="123"/>
                  </a:lnTo>
                  <a:lnTo>
                    <a:pt x="138" y="116"/>
                  </a:lnTo>
                  <a:lnTo>
                    <a:pt x="141" y="111"/>
                  </a:lnTo>
                  <a:lnTo>
                    <a:pt x="145" y="104"/>
                  </a:lnTo>
                  <a:lnTo>
                    <a:pt x="147" y="97"/>
                  </a:lnTo>
                  <a:lnTo>
                    <a:pt x="149" y="90"/>
                  </a:lnTo>
                  <a:lnTo>
                    <a:pt x="150" y="82"/>
                  </a:lnTo>
                  <a:lnTo>
                    <a:pt x="151" y="75"/>
                  </a:lnTo>
                  <a:lnTo>
                    <a:pt x="150" y="67"/>
                  </a:lnTo>
                  <a:lnTo>
                    <a:pt x="149" y="60"/>
                  </a:lnTo>
                  <a:lnTo>
                    <a:pt x="147" y="52"/>
                  </a:lnTo>
                  <a:lnTo>
                    <a:pt x="145" y="46"/>
                  </a:lnTo>
                  <a:lnTo>
                    <a:pt x="141" y="39"/>
                  </a:lnTo>
                  <a:lnTo>
                    <a:pt x="138" y="33"/>
                  </a:lnTo>
                  <a:lnTo>
                    <a:pt x="134" y="27"/>
                  </a:lnTo>
                  <a:lnTo>
                    <a:pt x="128" y="22"/>
                  </a:lnTo>
                  <a:lnTo>
                    <a:pt x="123" y="17"/>
                  </a:lnTo>
                  <a:lnTo>
                    <a:pt x="118" y="12"/>
                  </a:lnTo>
                  <a:lnTo>
                    <a:pt x="111" y="9"/>
                  </a:lnTo>
                  <a:lnTo>
                    <a:pt x="105" y="6"/>
                  </a:lnTo>
                  <a:lnTo>
                    <a:pt x="97" y="3"/>
                  </a:lnTo>
                  <a:lnTo>
                    <a:pt x="91"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Freeform 233">
              <a:extLst>
                <a:ext uri="{FF2B5EF4-FFF2-40B4-BE49-F238E27FC236}">
                  <a16:creationId xmlns:a16="http://schemas.microsoft.com/office/drawing/2014/main" id="{F6B7E23F-38B1-43DD-B9ED-7EE60A4AD9D1}"/>
                </a:ext>
              </a:extLst>
            </p:cNvPr>
            <p:cNvSpPr>
              <a:spLocks/>
            </p:cNvSpPr>
            <p:nvPr/>
          </p:nvSpPr>
          <p:spPr bwMode="auto">
            <a:xfrm>
              <a:off x="7018338" y="1390333"/>
              <a:ext cx="285750" cy="190500"/>
            </a:xfrm>
            <a:custGeom>
              <a:avLst/>
              <a:gdLst>
                <a:gd name="T0" fmla="*/ 886 w 901"/>
                <a:gd name="T1" fmla="*/ 0 h 602"/>
                <a:gd name="T2" fmla="*/ 830 w 901"/>
                <a:gd name="T3" fmla="*/ 0 h 602"/>
                <a:gd name="T4" fmla="*/ 824 w 901"/>
                <a:gd name="T5" fmla="*/ 1 h 602"/>
                <a:gd name="T6" fmla="*/ 820 w 901"/>
                <a:gd name="T7" fmla="*/ 4 h 602"/>
                <a:gd name="T8" fmla="*/ 817 w 901"/>
                <a:gd name="T9" fmla="*/ 9 h 602"/>
                <a:gd name="T10" fmla="*/ 815 w 901"/>
                <a:gd name="T11" fmla="*/ 14 h 602"/>
                <a:gd name="T12" fmla="*/ 741 w 901"/>
                <a:gd name="T13" fmla="*/ 572 h 602"/>
                <a:gd name="T14" fmla="*/ 15 w 901"/>
                <a:gd name="T15" fmla="*/ 572 h 602"/>
                <a:gd name="T16" fmla="*/ 12 w 901"/>
                <a:gd name="T17" fmla="*/ 572 h 602"/>
                <a:gd name="T18" fmla="*/ 9 w 901"/>
                <a:gd name="T19" fmla="*/ 573 h 602"/>
                <a:gd name="T20" fmla="*/ 6 w 901"/>
                <a:gd name="T21" fmla="*/ 574 h 602"/>
                <a:gd name="T22" fmla="*/ 4 w 901"/>
                <a:gd name="T23" fmla="*/ 576 h 602"/>
                <a:gd name="T24" fmla="*/ 3 w 901"/>
                <a:gd name="T25" fmla="*/ 578 h 602"/>
                <a:gd name="T26" fmla="*/ 1 w 901"/>
                <a:gd name="T27" fmla="*/ 581 h 602"/>
                <a:gd name="T28" fmla="*/ 1 w 901"/>
                <a:gd name="T29" fmla="*/ 583 h 602"/>
                <a:gd name="T30" fmla="*/ 0 w 901"/>
                <a:gd name="T31" fmla="*/ 587 h 602"/>
                <a:gd name="T32" fmla="*/ 1 w 901"/>
                <a:gd name="T33" fmla="*/ 590 h 602"/>
                <a:gd name="T34" fmla="*/ 1 w 901"/>
                <a:gd name="T35" fmla="*/ 593 h 602"/>
                <a:gd name="T36" fmla="*/ 3 w 901"/>
                <a:gd name="T37" fmla="*/ 595 h 602"/>
                <a:gd name="T38" fmla="*/ 4 w 901"/>
                <a:gd name="T39" fmla="*/ 597 h 602"/>
                <a:gd name="T40" fmla="*/ 6 w 901"/>
                <a:gd name="T41" fmla="*/ 599 h 602"/>
                <a:gd name="T42" fmla="*/ 9 w 901"/>
                <a:gd name="T43" fmla="*/ 600 h 602"/>
                <a:gd name="T44" fmla="*/ 12 w 901"/>
                <a:gd name="T45" fmla="*/ 602 h 602"/>
                <a:gd name="T46" fmla="*/ 15 w 901"/>
                <a:gd name="T47" fmla="*/ 602 h 602"/>
                <a:gd name="T48" fmla="*/ 755 w 901"/>
                <a:gd name="T49" fmla="*/ 602 h 602"/>
                <a:gd name="T50" fmla="*/ 760 w 901"/>
                <a:gd name="T51" fmla="*/ 600 h 602"/>
                <a:gd name="T52" fmla="*/ 764 w 901"/>
                <a:gd name="T53" fmla="*/ 598 h 602"/>
                <a:gd name="T54" fmla="*/ 767 w 901"/>
                <a:gd name="T55" fmla="*/ 594 h 602"/>
                <a:gd name="T56" fmla="*/ 770 w 901"/>
                <a:gd name="T57" fmla="*/ 589 h 602"/>
                <a:gd name="T58" fmla="*/ 844 w 901"/>
                <a:gd name="T59" fmla="*/ 30 h 602"/>
                <a:gd name="T60" fmla="*/ 886 w 901"/>
                <a:gd name="T61" fmla="*/ 30 h 602"/>
                <a:gd name="T62" fmla="*/ 890 w 901"/>
                <a:gd name="T63" fmla="*/ 30 h 602"/>
                <a:gd name="T64" fmla="*/ 893 w 901"/>
                <a:gd name="T65" fmla="*/ 29 h 602"/>
                <a:gd name="T66" fmla="*/ 895 w 901"/>
                <a:gd name="T67" fmla="*/ 28 h 602"/>
                <a:gd name="T68" fmla="*/ 897 w 901"/>
                <a:gd name="T69" fmla="*/ 26 h 602"/>
                <a:gd name="T70" fmla="*/ 899 w 901"/>
                <a:gd name="T71" fmla="*/ 24 h 602"/>
                <a:gd name="T72" fmla="*/ 900 w 901"/>
                <a:gd name="T73" fmla="*/ 21 h 602"/>
                <a:gd name="T74" fmla="*/ 901 w 901"/>
                <a:gd name="T75" fmla="*/ 18 h 602"/>
                <a:gd name="T76" fmla="*/ 901 w 901"/>
                <a:gd name="T77" fmla="*/ 15 h 602"/>
                <a:gd name="T78" fmla="*/ 901 w 901"/>
                <a:gd name="T79" fmla="*/ 13 h 602"/>
                <a:gd name="T80" fmla="*/ 900 w 901"/>
                <a:gd name="T81" fmla="*/ 10 h 602"/>
                <a:gd name="T82" fmla="*/ 899 w 901"/>
                <a:gd name="T83" fmla="*/ 7 h 602"/>
                <a:gd name="T84" fmla="*/ 897 w 901"/>
                <a:gd name="T85" fmla="*/ 4 h 602"/>
                <a:gd name="T86" fmla="*/ 895 w 901"/>
                <a:gd name="T87" fmla="*/ 3 h 602"/>
                <a:gd name="T88" fmla="*/ 893 w 901"/>
                <a:gd name="T89" fmla="*/ 1 h 602"/>
                <a:gd name="T90" fmla="*/ 890 w 901"/>
                <a:gd name="T91" fmla="*/ 1 h 602"/>
                <a:gd name="T92" fmla="*/ 886 w 901"/>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602">
                  <a:moveTo>
                    <a:pt x="886" y="0"/>
                  </a:moveTo>
                  <a:lnTo>
                    <a:pt x="830" y="0"/>
                  </a:lnTo>
                  <a:lnTo>
                    <a:pt x="824" y="1"/>
                  </a:lnTo>
                  <a:lnTo>
                    <a:pt x="820" y="4"/>
                  </a:lnTo>
                  <a:lnTo>
                    <a:pt x="817" y="9"/>
                  </a:lnTo>
                  <a:lnTo>
                    <a:pt x="815" y="14"/>
                  </a:lnTo>
                  <a:lnTo>
                    <a:pt x="741" y="572"/>
                  </a:lnTo>
                  <a:lnTo>
                    <a:pt x="15" y="572"/>
                  </a:lnTo>
                  <a:lnTo>
                    <a:pt x="12" y="572"/>
                  </a:lnTo>
                  <a:lnTo>
                    <a:pt x="9" y="573"/>
                  </a:lnTo>
                  <a:lnTo>
                    <a:pt x="6" y="574"/>
                  </a:lnTo>
                  <a:lnTo>
                    <a:pt x="4" y="576"/>
                  </a:lnTo>
                  <a:lnTo>
                    <a:pt x="3" y="578"/>
                  </a:lnTo>
                  <a:lnTo>
                    <a:pt x="1" y="581"/>
                  </a:lnTo>
                  <a:lnTo>
                    <a:pt x="1" y="583"/>
                  </a:lnTo>
                  <a:lnTo>
                    <a:pt x="0" y="587"/>
                  </a:lnTo>
                  <a:lnTo>
                    <a:pt x="1" y="590"/>
                  </a:lnTo>
                  <a:lnTo>
                    <a:pt x="1" y="593"/>
                  </a:lnTo>
                  <a:lnTo>
                    <a:pt x="3" y="595"/>
                  </a:lnTo>
                  <a:lnTo>
                    <a:pt x="4" y="597"/>
                  </a:lnTo>
                  <a:lnTo>
                    <a:pt x="6" y="599"/>
                  </a:lnTo>
                  <a:lnTo>
                    <a:pt x="9" y="600"/>
                  </a:lnTo>
                  <a:lnTo>
                    <a:pt x="12" y="602"/>
                  </a:lnTo>
                  <a:lnTo>
                    <a:pt x="15" y="602"/>
                  </a:lnTo>
                  <a:lnTo>
                    <a:pt x="755" y="602"/>
                  </a:lnTo>
                  <a:lnTo>
                    <a:pt x="760" y="600"/>
                  </a:lnTo>
                  <a:lnTo>
                    <a:pt x="764" y="598"/>
                  </a:lnTo>
                  <a:lnTo>
                    <a:pt x="767" y="594"/>
                  </a:lnTo>
                  <a:lnTo>
                    <a:pt x="770" y="589"/>
                  </a:lnTo>
                  <a:lnTo>
                    <a:pt x="844" y="30"/>
                  </a:lnTo>
                  <a:lnTo>
                    <a:pt x="886" y="30"/>
                  </a:lnTo>
                  <a:lnTo>
                    <a:pt x="890" y="30"/>
                  </a:lnTo>
                  <a:lnTo>
                    <a:pt x="893" y="29"/>
                  </a:lnTo>
                  <a:lnTo>
                    <a:pt x="895" y="28"/>
                  </a:lnTo>
                  <a:lnTo>
                    <a:pt x="897" y="26"/>
                  </a:lnTo>
                  <a:lnTo>
                    <a:pt x="899" y="24"/>
                  </a:lnTo>
                  <a:lnTo>
                    <a:pt x="900" y="21"/>
                  </a:lnTo>
                  <a:lnTo>
                    <a:pt x="901" y="18"/>
                  </a:lnTo>
                  <a:lnTo>
                    <a:pt x="901" y="15"/>
                  </a:lnTo>
                  <a:lnTo>
                    <a:pt x="901" y="13"/>
                  </a:lnTo>
                  <a:lnTo>
                    <a:pt x="900" y="10"/>
                  </a:lnTo>
                  <a:lnTo>
                    <a:pt x="899" y="7"/>
                  </a:lnTo>
                  <a:lnTo>
                    <a:pt x="897" y="4"/>
                  </a:lnTo>
                  <a:lnTo>
                    <a:pt x="895" y="3"/>
                  </a:lnTo>
                  <a:lnTo>
                    <a:pt x="893" y="1"/>
                  </a:lnTo>
                  <a:lnTo>
                    <a:pt x="890" y="1"/>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234">
              <a:extLst>
                <a:ext uri="{FF2B5EF4-FFF2-40B4-BE49-F238E27FC236}">
                  <a16:creationId xmlns:a16="http://schemas.microsoft.com/office/drawing/2014/main" id="{6CB2FACC-FDE8-4438-B82E-5426BD457938}"/>
                </a:ext>
              </a:extLst>
            </p:cNvPr>
            <p:cNvSpPr>
              <a:spLocks/>
            </p:cNvSpPr>
            <p:nvPr/>
          </p:nvSpPr>
          <p:spPr bwMode="auto">
            <a:xfrm>
              <a:off x="7070725" y="1356995"/>
              <a:ext cx="128588" cy="176213"/>
            </a:xfrm>
            <a:custGeom>
              <a:avLst/>
              <a:gdLst>
                <a:gd name="T0" fmla="*/ 196 w 406"/>
                <a:gd name="T1" fmla="*/ 51 h 556"/>
                <a:gd name="T2" fmla="*/ 196 w 406"/>
                <a:gd name="T3" fmla="*/ 545 h 556"/>
                <a:gd name="T4" fmla="*/ 198 w 406"/>
                <a:gd name="T5" fmla="*/ 550 h 556"/>
                <a:gd name="T6" fmla="*/ 202 w 406"/>
                <a:gd name="T7" fmla="*/ 553 h 556"/>
                <a:gd name="T8" fmla="*/ 208 w 406"/>
                <a:gd name="T9" fmla="*/ 556 h 556"/>
                <a:gd name="T10" fmla="*/ 214 w 406"/>
                <a:gd name="T11" fmla="*/ 556 h 556"/>
                <a:gd name="T12" fmla="*/ 220 w 406"/>
                <a:gd name="T13" fmla="*/ 553 h 556"/>
                <a:gd name="T14" fmla="*/ 223 w 406"/>
                <a:gd name="T15" fmla="*/ 550 h 556"/>
                <a:gd name="T16" fmla="*/ 225 w 406"/>
                <a:gd name="T17" fmla="*/ 545 h 556"/>
                <a:gd name="T18" fmla="*/ 226 w 406"/>
                <a:gd name="T19" fmla="*/ 54 h 556"/>
                <a:gd name="T20" fmla="*/ 383 w 406"/>
                <a:gd name="T21" fmla="*/ 223 h 556"/>
                <a:gd name="T22" fmla="*/ 388 w 406"/>
                <a:gd name="T23" fmla="*/ 225 h 556"/>
                <a:gd name="T24" fmla="*/ 397 w 406"/>
                <a:gd name="T25" fmla="*/ 225 h 556"/>
                <a:gd name="T26" fmla="*/ 403 w 406"/>
                <a:gd name="T27" fmla="*/ 220 h 556"/>
                <a:gd name="T28" fmla="*/ 406 w 406"/>
                <a:gd name="T29" fmla="*/ 214 h 556"/>
                <a:gd name="T30" fmla="*/ 406 w 406"/>
                <a:gd name="T31" fmla="*/ 208 h 556"/>
                <a:gd name="T32" fmla="*/ 404 w 406"/>
                <a:gd name="T33" fmla="*/ 203 h 556"/>
                <a:gd name="T34" fmla="*/ 222 w 406"/>
                <a:gd name="T35" fmla="*/ 5 h 556"/>
                <a:gd name="T36" fmla="*/ 222 w 406"/>
                <a:gd name="T37" fmla="*/ 5 h 556"/>
                <a:gd name="T38" fmla="*/ 219 w 406"/>
                <a:gd name="T39" fmla="*/ 2 h 556"/>
                <a:gd name="T40" fmla="*/ 216 w 406"/>
                <a:gd name="T41" fmla="*/ 1 h 556"/>
                <a:gd name="T42" fmla="*/ 213 w 406"/>
                <a:gd name="T43" fmla="*/ 1 h 556"/>
                <a:gd name="T44" fmla="*/ 211 w 406"/>
                <a:gd name="T45" fmla="*/ 0 h 556"/>
                <a:gd name="T46" fmla="*/ 211 w 406"/>
                <a:gd name="T47" fmla="*/ 0 h 556"/>
                <a:gd name="T48" fmla="*/ 211 w 406"/>
                <a:gd name="T49" fmla="*/ 0 h 556"/>
                <a:gd name="T50" fmla="*/ 205 w 406"/>
                <a:gd name="T51" fmla="*/ 1 h 556"/>
                <a:gd name="T52" fmla="*/ 200 w 406"/>
                <a:gd name="T53" fmla="*/ 4 h 556"/>
                <a:gd name="T54" fmla="*/ 3 w 406"/>
                <a:gd name="T55" fmla="*/ 203 h 556"/>
                <a:gd name="T56" fmla="*/ 1 w 406"/>
                <a:gd name="T57" fmla="*/ 208 h 556"/>
                <a:gd name="T58" fmla="*/ 1 w 406"/>
                <a:gd name="T59" fmla="*/ 213 h 556"/>
                <a:gd name="T60" fmla="*/ 3 w 406"/>
                <a:gd name="T61" fmla="*/ 219 h 556"/>
                <a:gd name="T62" fmla="*/ 7 w 406"/>
                <a:gd name="T63" fmla="*/ 223 h 556"/>
                <a:gd name="T64" fmla="*/ 13 w 406"/>
                <a:gd name="T65" fmla="*/ 225 h 556"/>
                <a:gd name="T66" fmla="*/ 18 w 406"/>
                <a:gd name="T67" fmla="*/ 225 h 556"/>
                <a:gd name="T68" fmla="*/ 23 w 406"/>
                <a:gd name="T69" fmla="*/ 223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556">
                  <a:moveTo>
                    <a:pt x="26" y="221"/>
                  </a:moveTo>
                  <a:lnTo>
                    <a:pt x="196" y="51"/>
                  </a:lnTo>
                  <a:lnTo>
                    <a:pt x="196" y="541"/>
                  </a:lnTo>
                  <a:lnTo>
                    <a:pt x="196" y="545"/>
                  </a:lnTo>
                  <a:lnTo>
                    <a:pt x="197" y="547"/>
                  </a:lnTo>
                  <a:lnTo>
                    <a:pt x="198" y="550"/>
                  </a:lnTo>
                  <a:lnTo>
                    <a:pt x="200" y="552"/>
                  </a:lnTo>
                  <a:lnTo>
                    <a:pt x="202" y="553"/>
                  </a:lnTo>
                  <a:lnTo>
                    <a:pt x="205" y="555"/>
                  </a:lnTo>
                  <a:lnTo>
                    <a:pt x="208" y="556"/>
                  </a:lnTo>
                  <a:lnTo>
                    <a:pt x="211" y="556"/>
                  </a:lnTo>
                  <a:lnTo>
                    <a:pt x="214" y="556"/>
                  </a:lnTo>
                  <a:lnTo>
                    <a:pt x="216" y="555"/>
                  </a:lnTo>
                  <a:lnTo>
                    <a:pt x="220" y="553"/>
                  </a:lnTo>
                  <a:lnTo>
                    <a:pt x="222" y="552"/>
                  </a:lnTo>
                  <a:lnTo>
                    <a:pt x="223" y="550"/>
                  </a:lnTo>
                  <a:lnTo>
                    <a:pt x="225" y="547"/>
                  </a:lnTo>
                  <a:lnTo>
                    <a:pt x="225" y="545"/>
                  </a:lnTo>
                  <a:lnTo>
                    <a:pt x="226" y="541"/>
                  </a:lnTo>
                  <a:lnTo>
                    <a:pt x="226" y="54"/>
                  </a:lnTo>
                  <a:lnTo>
                    <a:pt x="380" y="221"/>
                  </a:lnTo>
                  <a:lnTo>
                    <a:pt x="383" y="223"/>
                  </a:lnTo>
                  <a:lnTo>
                    <a:pt x="385" y="224"/>
                  </a:lnTo>
                  <a:lnTo>
                    <a:pt x="388" y="225"/>
                  </a:lnTo>
                  <a:lnTo>
                    <a:pt x="391" y="226"/>
                  </a:lnTo>
                  <a:lnTo>
                    <a:pt x="397" y="225"/>
                  </a:lnTo>
                  <a:lnTo>
                    <a:pt x="401" y="222"/>
                  </a:lnTo>
                  <a:lnTo>
                    <a:pt x="403" y="220"/>
                  </a:lnTo>
                  <a:lnTo>
                    <a:pt x="405" y="217"/>
                  </a:lnTo>
                  <a:lnTo>
                    <a:pt x="406" y="214"/>
                  </a:lnTo>
                  <a:lnTo>
                    <a:pt x="406" y="211"/>
                  </a:lnTo>
                  <a:lnTo>
                    <a:pt x="406" y="208"/>
                  </a:lnTo>
                  <a:lnTo>
                    <a:pt x="405" y="206"/>
                  </a:lnTo>
                  <a:lnTo>
                    <a:pt x="404" y="203"/>
                  </a:lnTo>
                  <a:lnTo>
                    <a:pt x="402" y="200"/>
                  </a:lnTo>
                  <a:lnTo>
                    <a:pt x="222" y="5"/>
                  </a:lnTo>
                  <a:lnTo>
                    <a:pt x="222" y="5"/>
                  </a:lnTo>
                  <a:lnTo>
                    <a:pt x="222" y="5"/>
                  </a:lnTo>
                  <a:lnTo>
                    <a:pt x="220" y="3"/>
                  </a:lnTo>
                  <a:lnTo>
                    <a:pt x="219" y="2"/>
                  </a:lnTo>
                  <a:lnTo>
                    <a:pt x="217" y="2"/>
                  </a:lnTo>
                  <a:lnTo>
                    <a:pt x="216" y="1"/>
                  </a:lnTo>
                  <a:lnTo>
                    <a:pt x="215" y="1"/>
                  </a:lnTo>
                  <a:lnTo>
                    <a:pt x="213" y="1"/>
                  </a:lnTo>
                  <a:lnTo>
                    <a:pt x="212" y="0"/>
                  </a:lnTo>
                  <a:lnTo>
                    <a:pt x="211" y="0"/>
                  </a:lnTo>
                  <a:lnTo>
                    <a:pt x="211" y="0"/>
                  </a:lnTo>
                  <a:lnTo>
                    <a:pt x="211" y="0"/>
                  </a:lnTo>
                  <a:lnTo>
                    <a:pt x="211" y="0"/>
                  </a:lnTo>
                  <a:lnTo>
                    <a:pt x="211" y="0"/>
                  </a:lnTo>
                  <a:lnTo>
                    <a:pt x="208" y="0"/>
                  </a:lnTo>
                  <a:lnTo>
                    <a:pt x="205" y="1"/>
                  </a:lnTo>
                  <a:lnTo>
                    <a:pt x="202" y="3"/>
                  </a:lnTo>
                  <a:lnTo>
                    <a:pt x="200" y="4"/>
                  </a:lnTo>
                  <a:lnTo>
                    <a:pt x="5" y="200"/>
                  </a:lnTo>
                  <a:lnTo>
                    <a:pt x="3" y="203"/>
                  </a:lnTo>
                  <a:lnTo>
                    <a:pt x="1" y="205"/>
                  </a:lnTo>
                  <a:lnTo>
                    <a:pt x="1" y="208"/>
                  </a:lnTo>
                  <a:lnTo>
                    <a:pt x="0" y="210"/>
                  </a:lnTo>
                  <a:lnTo>
                    <a:pt x="1" y="213"/>
                  </a:lnTo>
                  <a:lnTo>
                    <a:pt x="1" y="217"/>
                  </a:lnTo>
                  <a:lnTo>
                    <a:pt x="3" y="219"/>
                  </a:lnTo>
                  <a:lnTo>
                    <a:pt x="5" y="221"/>
                  </a:lnTo>
                  <a:lnTo>
                    <a:pt x="7" y="223"/>
                  </a:lnTo>
                  <a:lnTo>
                    <a:pt x="9" y="225"/>
                  </a:lnTo>
                  <a:lnTo>
                    <a:pt x="13" y="225"/>
                  </a:lnTo>
                  <a:lnTo>
                    <a:pt x="15" y="226"/>
                  </a:lnTo>
                  <a:lnTo>
                    <a:pt x="18" y="225"/>
                  </a:lnTo>
                  <a:lnTo>
                    <a:pt x="21" y="224"/>
                  </a:lnTo>
                  <a:lnTo>
                    <a:pt x="23" y="223"/>
                  </a:lnTo>
                  <a:lnTo>
                    <a:pt x="26"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3" name="Group 307">
            <a:extLst>
              <a:ext uri="{FF2B5EF4-FFF2-40B4-BE49-F238E27FC236}">
                <a16:creationId xmlns:a16="http://schemas.microsoft.com/office/drawing/2014/main" id="{3C437671-F6B9-4B2E-AA6C-C76B8ED4F754}"/>
              </a:ext>
            </a:extLst>
          </p:cNvPr>
          <p:cNvGrpSpPr>
            <a:grpSpLocks noChangeAspect="1"/>
          </p:cNvGrpSpPr>
          <p:nvPr/>
        </p:nvGrpSpPr>
        <p:grpSpPr>
          <a:xfrm>
            <a:off x="1449328" y="4340505"/>
            <a:ext cx="344646" cy="285619"/>
            <a:chOff x="9880600" y="826770"/>
            <a:chExt cx="287338" cy="238125"/>
          </a:xfrm>
          <a:solidFill>
            <a:schemeClr val="bg1"/>
          </a:solidFill>
          <a:effectLst/>
        </p:grpSpPr>
        <p:sp>
          <p:nvSpPr>
            <p:cNvPr id="1194" name="Freeform 179">
              <a:extLst>
                <a:ext uri="{FF2B5EF4-FFF2-40B4-BE49-F238E27FC236}">
                  <a16:creationId xmlns:a16="http://schemas.microsoft.com/office/drawing/2014/main" id="{58EE99FA-71F0-4CFA-BA1E-CF31F497D512}"/>
                </a:ext>
              </a:extLst>
            </p:cNvPr>
            <p:cNvSpPr>
              <a:spLocks/>
            </p:cNvSpPr>
            <p:nvPr/>
          </p:nvSpPr>
          <p:spPr bwMode="auto">
            <a:xfrm>
              <a:off x="9880600" y="826770"/>
              <a:ext cx="287338" cy="180975"/>
            </a:xfrm>
            <a:custGeom>
              <a:avLst/>
              <a:gdLst>
                <a:gd name="T0" fmla="*/ 784 w 902"/>
                <a:gd name="T1" fmla="*/ 1 h 572"/>
                <a:gd name="T2" fmla="*/ 768 w 902"/>
                <a:gd name="T3" fmla="*/ 9 h 572"/>
                <a:gd name="T4" fmla="*/ 757 w 902"/>
                <a:gd name="T5" fmla="*/ 24 h 572"/>
                <a:gd name="T6" fmla="*/ 742 w 902"/>
                <a:gd name="T7" fmla="*/ 137 h 572"/>
                <a:gd name="T8" fmla="*/ 735 w 902"/>
                <a:gd name="T9" fmla="*/ 146 h 572"/>
                <a:gd name="T10" fmla="*/ 725 w 902"/>
                <a:gd name="T11" fmla="*/ 152 h 572"/>
                <a:gd name="T12" fmla="*/ 63 w 902"/>
                <a:gd name="T13" fmla="*/ 153 h 572"/>
                <a:gd name="T14" fmla="*/ 40 w 902"/>
                <a:gd name="T15" fmla="*/ 160 h 572"/>
                <a:gd name="T16" fmla="*/ 19 w 902"/>
                <a:gd name="T17" fmla="*/ 175 h 572"/>
                <a:gd name="T18" fmla="*/ 5 w 902"/>
                <a:gd name="T19" fmla="*/ 197 h 572"/>
                <a:gd name="T20" fmla="*/ 0 w 902"/>
                <a:gd name="T21" fmla="*/ 220 h 572"/>
                <a:gd name="T22" fmla="*/ 3 w 902"/>
                <a:gd name="T23" fmla="*/ 245 h 572"/>
                <a:gd name="T24" fmla="*/ 66 w 902"/>
                <a:gd name="T25" fmla="*/ 445 h 572"/>
                <a:gd name="T26" fmla="*/ 81 w 902"/>
                <a:gd name="T27" fmla="*/ 465 h 572"/>
                <a:gd name="T28" fmla="*/ 113 w 902"/>
                <a:gd name="T29" fmla="*/ 481 h 572"/>
                <a:gd name="T30" fmla="*/ 130 w 902"/>
                <a:gd name="T31" fmla="*/ 482 h 572"/>
                <a:gd name="T32" fmla="*/ 681 w 902"/>
                <a:gd name="T33" fmla="*/ 483 h 572"/>
                <a:gd name="T34" fmla="*/ 688 w 902"/>
                <a:gd name="T35" fmla="*/ 494 h 572"/>
                <a:gd name="T36" fmla="*/ 692 w 902"/>
                <a:gd name="T37" fmla="*/ 517 h 572"/>
                <a:gd name="T38" fmla="*/ 687 w 902"/>
                <a:gd name="T39" fmla="*/ 530 h 572"/>
                <a:gd name="T40" fmla="*/ 679 w 902"/>
                <a:gd name="T41" fmla="*/ 539 h 572"/>
                <a:gd name="T42" fmla="*/ 145 w 902"/>
                <a:gd name="T43" fmla="*/ 542 h 572"/>
                <a:gd name="T44" fmla="*/ 137 w 902"/>
                <a:gd name="T45" fmla="*/ 546 h 572"/>
                <a:gd name="T46" fmla="*/ 133 w 902"/>
                <a:gd name="T47" fmla="*/ 554 h 572"/>
                <a:gd name="T48" fmla="*/ 134 w 902"/>
                <a:gd name="T49" fmla="*/ 562 h 572"/>
                <a:gd name="T50" fmla="*/ 139 w 902"/>
                <a:gd name="T51" fmla="*/ 569 h 572"/>
                <a:gd name="T52" fmla="*/ 148 w 902"/>
                <a:gd name="T53" fmla="*/ 572 h 572"/>
                <a:gd name="T54" fmla="*/ 694 w 902"/>
                <a:gd name="T55" fmla="*/ 565 h 572"/>
                <a:gd name="T56" fmla="*/ 713 w 902"/>
                <a:gd name="T57" fmla="*/ 546 h 572"/>
                <a:gd name="T58" fmla="*/ 720 w 902"/>
                <a:gd name="T59" fmla="*/ 521 h 572"/>
                <a:gd name="T60" fmla="*/ 718 w 902"/>
                <a:gd name="T61" fmla="*/ 489 h 572"/>
                <a:gd name="T62" fmla="*/ 704 w 902"/>
                <a:gd name="T63" fmla="*/ 464 h 572"/>
                <a:gd name="T64" fmla="*/ 681 w 902"/>
                <a:gd name="T65" fmla="*/ 452 h 572"/>
                <a:gd name="T66" fmla="*/ 126 w 902"/>
                <a:gd name="T67" fmla="*/ 452 h 572"/>
                <a:gd name="T68" fmla="*/ 107 w 902"/>
                <a:gd name="T69" fmla="*/ 446 h 572"/>
                <a:gd name="T70" fmla="*/ 93 w 902"/>
                <a:gd name="T71" fmla="*/ 432 h 572"/>
                <a:gd name="T72" fmla="*/ 31 w 902"/>
                <a:gd name="T73" fmla="*/ 232 h 572"/>
                <a:gd name="T74" fmla="*/ 30 w 902"/>
                <a:gd name="T75" fmla="*/ 217 h 572"/>
                <a:gd name="T76" fmla="*/ 35 w 902"/>
                <a:gd name="T77" fmla="*/ 203 h 572"/>
                <a:gd name="T78" fmla="*/ 45 w 902"/>
                <a:gd name="T79" fmla="*/ 192 h 572"/>
                <a:gd name="T80" fmla="*/ 57 w 902"/>
                <a:gd name="T81" fmla="*/ 185 h 572"/>
                <a:gd name="T82" fmla="*/ 72 w 902"/>
                <a:gd name="T83" fmla="*/ 183 h 572"/>
                <a:gd name="T84" fmla="*/ 740 w 902"/>
                <a:gd name="T85" fmla="*/ 178 h 572"/>
                <a:gd name="T86" fmla="*/ 762 w 902"/>
                <a:gd name="T87" fmla="*/ 162 h 572"/>
                <a:gd name="T88" fmla="*/ 773 w 902"/>
                <a:gd name="T89" fmla="*/ 135 h 572"/>
                <a:gd name="T90" fmla="*/ 790 w 902"/>
                <a:gd name="T91" fmla="*/ 30 h 572"/>
                <a:gd name="T92" fmla="*/ 892 w 902"/>
                <a:gd name="T93" fmla="*/ 29 h 572"/>
                <a:gd name="T94" fmla="*/ 900 w 902"/>
                <a:gd name="T95" fmla="*/ 24 h 572"/>
                <a:gd name="T96" fmla="*/ 902 w 902"/>
                <a:gd name="T97" fmla="*/ 15 h 572"/>
                <a:gd name="T98" fmla="*/ 900 w 902"/>
                <a:gd name="T99" fmla="*/ 7 h 572"/>
                <a:gd name="T100" fmla="*/ 892 w 902"/>
                <a:gd name="T101" fmla="*/ 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2" h="572">
                  <a:moveTo>
                    <a:pt x="887" y="0"/>
                  </a:moveTo>
                  <a:lnTo>
                    <a:pt x="790" y="0"/>
                  </a:lnTo>
                  <a:lnTo>
                    <a:pt x="784" y="1"/>
                  </a:lnTo>
                  <a:lnTo>
                    <a:pt x="777" y="2"/>
                  </a:lnTo>
                  <a:lnTo>
                    <a:pt x="772" y="6"/>
                  </a:lnTo>
                  <a:lnTo>
                    <a:pt x="768" y="9"/>
                  </a:lnTo>
                  <a:lnTo>
                    <a:pt x="763" y="13"/>
                  </a:lnTo>
                  <a:lnTo>
                    <a:pt x="760" y="19"/>
                  </a:lnTo>
                  <a:lnTo>
                    <a:pt x="757" y="24"/>
                  </a:lnTo>
                  <a:lnTo>
                    <a:pt x="756" y="30"/>
                  </a:lnTo>
                  <a:lnTo>
                    <a:pt x="743" y="132"/>
                  </a:lnTo>
                  <a:lnTo>
                    <a:pt x="742" y="137"/>
                  </a:lnTo>
                  <a:lnTo>
                    <a:pt x="741" y="140"/>
                  </a:lnTo>
                  <a:lnTo>
                    <a:pt x="739" y="143"/>
                  </a:lnTo>
                  <a:lnTo>
                    <a:pt x="735" y="146"/>
                  </a:lnTo>
                  <a:lnTo>
                    <a:pt x="732" y="148"/>
                  </a:lnTo>
                  <a:lnTo>
                    <a:pt x="729" y="150"/>
                  </a:lnTo>
                  <a:lnTo>
                    <a:pt x="725" y="152"/>
                  </a:lnTo>
                  <a:lnTo>
                    <a:pt x="720" y="153"/>
                  </a:lnTo>
                  <a:lnTo>
                    <a:pt x="72" y="153"/>
                  </a:lnTo>
                  <a:lnTo>
                    <a:pt x="63" y="153"/>
                  </a:lnTo>
                  <a:lnTo>
                    <a:pt x="55" y="154"/>
                  </a:lnTo>
                  <a:lnTo>
                    <a:pt x="47" y="157"/>
                  </a:lnTo>
                  <a:lnTo>
                    <a:pt x="40" y="160"/>
                  </a:lnTo>
                  <a:lnTo>
                    <a:pt x="32" y="164"/>
                  </a:lnTo>
                  <a:lnTo>
                    <a:pt x="26" y="169"/>
                  </a:lnTo>
                  <a:lnTo>
                    <a:pt x="19" y="175"/>
                  </a:lnTo>
                  <a:lnTo>
                    <a:pt x="14" y="182"/>
                  </a:lnTo>
                  <a:lnTo>
                    <a:pt x="10" y="189"/>
                  </a:lnTo>
                  <a:lnTo>
                    <a:pt x="5" y="197"/>
                  </a:lnTo>
                  <a:lnTo>
                    <a:pt x="3" y="204"/>
                  </a:lnTo>
                  <a:lnTo>
                    <a:pt x="1" y="213"/>
                  </a:lnTo>
                  <a:lnTo>
                    <a:pt x="0" y="220"/>
                  </a:lnTo>
                  <a:lnTo>
                    <a:pt x="0" y="229"/>
                  </a:lnTo>
                  <a:lnTo>
                    <a:pt x="1" y="237"/>
                  </a:lnTo>
                  <a:lnTo>
                    <a:pt x="3" y="245"/>
                  </a:lnTo>
                  <a:lnTo>
                    <a:pt x="62" y="435"/>
                  </a:lnTo>
                  <a:lnTo>
                    <a:pt x="64" y="440"/>
                  </a:lnTo>
                  <a:lnTo>
                    <a:pt x="66" y="445"/>
                  </a:lnTo>
                  <a:lnTo>
                    <a:pt x="70" y="451"/>
                  </a:lnTo>
                  <a:lnTo>
                    <a:pt x="73" y="456"/>
                  </a:lnTo>
                  <a:lnTo>
                    <a:pt x="81" y="465"/>
                  </a:lnTo>
                  <a:lnTo>
                    <a:pt x="91" y="471"/>
                  </a:lnTo>
                  <a:lnTo>
                    <a:pt x="101" y="476"/>
                  </a:lnTo>
                  <a:lnTo>
                    <a:pt x="113" y="481"/>
                  </a:lnTo>
                  <a:lnTo>
                    <a:pt x="118" y="482"/>
                  </a:lnTo>
                  <a:lnTo>
                    <a:pt x="124" y="482"/>
                  </a:lnTo>
                  <a:lnTo>
                    <a:pt x="130" y="482"/>
                  </a:lnTo>
                  <a:lnTo>
                    <a:pt x="136" y="482"/>
                  </a:lnTo>
                  <a:lnTo>
                    <a:pt x="677" y="482"/>
                  </a:lnTo>
                  <a:lnTo>
                    <a:pt x="681" y="483"/>
                  </a:lnTo>
                  <a:lnTo>
                    <a:pt x="684" y="486"/>
                  </a:lnTo>
                  <a:lnTo>
                    <a:pt x="686" y="489"/>
                  </a:lnTo>
                  <a:lnTo>
                    <a:pt x="688" y="494"/>
                  </a:lnTo>
                  <a:lnTo>
                    <a:pt x="690" y="502"/>
                  </a:lnTo>
                  <a:lnTo>
                    <a:pt x="692" y="512"/>
                  </a:lnTo>
                  <a:lnTo>
                    <a:pt x="692" y="517"/>
                  </a:lnTo>
                  <a:lnTo>
                    <a:pt x="690" y="521"/>
                  </a:lnTo>
                  <a:lnTo>
                    <a:pt x="689" y="526"/>
                  </a:lnTo>
                  <a:lnTo>
                    <a:pt x="687" y="530"/>
                  </a:lnTo>
                  <a:lnTo>
                    <a:pt x="685" y="533"/>
                  </a:lnTo>
                  <a:lnTo>
                    <a:pt x="682" y="536"/>
                  </a:lnTo>
                  <a:lnTo>
                    <a:pt x="679" y="539"/>
                  </a:lnTo>
                  <a:lnTo>
                    <a:pt x="674" y="542"/>
                  </a:lnTo>
                  <a:lnTo>
                    <a:pt x="148" y="542"/>
                  </a:lnTo>
                  <a:lnTo>
                    <a:pt x="145" y="542"/>
                  </a:lnTo>
                  <a:lnTo>
                    <a:pt x="141" y="543"/>
                  </a:lnTo>
                  <a:lnTo>
                    <a:pt x="139" y="544"/>
                  </a:lnTo>
                  <a:lnTo>
                    <a:pt x="137" y="546"/>
                  </a:lnTo>
                  <a:lnTo>
                    <a:pt x="135" y="548"/>
                  </a:lnTo>
                  <a:lnTo>
                    <a:pt x="134" y="550"/>
                  </a:lnTo>
                  <a:lnTo>
                    <a:pt x="133" y="554"/>
                  </a:lnTo>
                  <a:lnTo>
                    <a:pt x="133" y="557"/>
                  </a:lnTo>
                  <a:lnTo>
                    <a:pt x="133" y="560"/>
                  </a:lnTo>
                  <a:lnTo>
                    <a:pt x="134" y="562"/>
                  </a:lnTo>
                  <a:lnTo>
                    <a:pt x="135" y="565"/>
                  </a:lnTo>
                  <a:lnTo>
                    <a:pt x="137" y="568"/>
                  </a:lnTo>
                  <a:lnTo>
                    <a:pt x="139" y="569"/>
                  </a:lnTo>
                  <a:lnTo>
                    <a:pt x="141" y="571"/>
                  </a:lnTo>
                  <a:lnTo>
                    <a:pt x="145" y="572"/>
                  </a:lnTo>
                  <a:lnTo>
                    <a:pt x="148" y="572"/>
                  </a:lnTo>
                  <a:lnTo>
                    <a:pt x="682" y="572"/>
                  </a:lnTo>
                  <a:lnTo>
                    <a:pt x="685" y="570"/>
                  </a:lnTo>
                  <a:lnTo>
                    <a:pt x="694" y="565"/>
                  </a:lnTo>
                  <a:lnTo>
                    <a:pt x="701" y="559"/>
                  </a:lnTo>
                  <a:lnTo>
                    <a:pt x="708" y="554"/>
                  </a:lnTo>
                  <a:lnTo>
                    <a:pt x="713" y="546"/>
                  </a:lnTo>
                  <a:lnTo>
                    <a:pt x="716" y="539"/>
                  </a:lnTo>
                  <a:lnTo>
                    <a:pt x="719" y="531"/>
                  </a:lnTo>
                  <a:lnTo>
                    <a:pt x="720" y="521"/>
                  </a:lnTo>
                  <a:lnTo>
                    <a:pt x="722" y="512"/>
                  </a:lnTo>
                  <a:lnTo>
                    <a:pt x="720" y="500"/>
                  </a:lnTo>
                  <a:lnTo>
                    <a:pt x="718" y="489"/>
                  </a:lnTo>
                  <a:lnTo>
                    <a:pt x="715" y="480"/>
                  </a:lnTo>
                  <a:lnTo>
                    <a:pt x="711" y="471"/>
                  </a:lnTo>
                  <a:lnTo>
                    <a:pt x="704" y="464"/>
                  </a:lnTo>
                  <a:lnTo>
                    <a:pt x="698" y="458"/>
                  </a:lnTo>
                  <a:lnTo>
                    <a:pt x="690" y="454"/>
                  </a:lnTo>
                  <a:lnTo>
                    <a:pt x="681" y="452"/>
                  </a:lnTo>
                  <a:lnTo>
                    <a:pt x="135" y="452"/>
                  </a:lnTo>
                  <a:lnTo>
                    <a:pt x="133" y="452"/>
                  </a:lnTo>
                  <a:lnTo>
                    <a:pt x="126" y="452"/>
                  </a:lnTo>
                  <a:lnTo>
                    <a:pt x="120" y="451"/>
                  </a:lnTo>
                  <a:lnTo>
                    <a:pt x="114" y="450"/>
                  </a:lnTo>
                  <a:lnTo>
                    <a:pt x="107" y="446"/>
                  </a:lnTo>
                  <a:lnTo>
                    <a:pt x="102" y="442"/>
                  </a:lnTo>
                  <a:lnTo>
                    <a:pt x="98" y="438"/>
                  </a:lnTo>
                  <a:lnTo>
                    <a:pt x="93" y="432"/>
                  </a:lnTo>
                  <a:lnTo>
                    <a:pt x="91" y="426"/>
                  </a:lnTo>
                  <a:lnTo>
                    <a:pt x="32" y="236"/>
                  </a:lnTo>
                  <a:lnTo>
                    <a:pt x="31" y="232"/>
                  </a:lnTo>
                  <a:lnTo>
                    <a:pt x="30" y="227"/>
                  </a:lnTo>
                  <a:lnTo>
                    <a:pt x="30" y="222"/>
                  </a:lnTo>
                  <a:lnTo>
                    <a:pt x="30" y="217"/>
                  </a:lnTo>
                  <a:lnTo>
                    <a:pt x="31" y="213"/>
                  </a:lnTo>
                  <a:lnTo>
                    <a:pt x="33" y="207"/>
                  </a:lnTo>
                  <a:lnTo>
                    <a:pt x="35" y="203"/>
                  </a:lnTo>
                  <a:lnTo>
                    <a:pt x="37" y="199"/>
                  </a:lnTo>
                  <a:lnTo>
                    <a:pt x="41" y="195"/>
                  </a:lnTo>
                  <a:lnTo>
                    <a:pt x="45" y="192"/>
                  </a:lnTo>
                  <a:lnTo>
                    <a:pt x="48" y="189"/>
                  </a:lnTo>
                  <a:lnTo>
                    <a:pt x="52" y="187"/>
                  </a:lnTo>
                  <a:lnTo>
                    <a:pt x="57" y="185"/>
                  </a:lnTo>
                  <a:lnTo>
                    <a:pt x="62" y="184"/>
                  </a:lnTo>
                  <a:lnTo>
                    <a:pt x="66" y="183"/>
                  </a:lnTo>
                  <a:lnTo>
                    <a:pt x="72" y="183"/>
                  </a:lnTo>
                  <a:lnTo>
                    <a:pt x="720" y="183"/>
                  </a:lnTo>
                  <a:lnTo>
                    <a:pt x="730" y="182"/>
                  </a:lnTo>
                  <a:lnTo>
                    <a:pt x="740" y="178"/>
                  </a:lnTo>
                  <a:lnTo>
                    <a:pt x="748" y="174"/>
                  </a:lnTo>
                  <a:lnTo>
                    <a:pt x="756" y="169"/>
                  </a:lnTo>
                  <a:lnTo>
                    <a:pt x="762" y="162"/>
                  </a:lnTo>
                  <a:lnTo>
                    <a:pt x="768" y="154"/>
                  </a:lnTo>
                  <a:lnTo>
                    <a:pt x="771" y="145"/>
                  </a:lnTo>
                  <a:lnTo>
                    <a:pt x="773" y="135"/>
                  </a:lnTo>
                  <a:lnTo>
                    <a:pt x="786" y="34"/>
                  </a:lnTo>
                  <a:lnTo>
                    <a:pt x="787" y="31"/>
                  </a:lnTo>
                  <a:lnTo>
                    <a:pt x="790" y="30"/>
                  </a:lnTo>
                  <a:lnTo>
                    <a:pt x="887" y="30"/>
                  </a:lnTo>
                  <a:lnTo>
                    <a:pt x="890" y="30"/>
                  </a:lnTo>
                  <a:lnTo>
                    <a:pt x="892" y="29"/>
                  </a:lnTo>
                  <a:lnTo>
                    <a:pt x="895" y="28"/>
                  </a:lnTo>
                  <a:lnTo>
                    <a:pt x="897" y="26"/>
                  </a:lnTo>
                  <a:lnTo>
                    <a:pt x="900" y="24"/>
                  </a:lnTo>
                  <a:lnTo>
                    <a:pt x="901" y="22"/>
                  </a:lnTo>
                  <a:lnTo>
                    <a:pt x="902" y="19"/>
                  </a:lnTo>
                  <a:lnTo>
                    <a:pt x="902" y="15"/>
                  </a:lnTo>
                  <a:lnTo>
                    <a:pt x="902" y="12"/>
                  </a:lnTo>
                  <a:lnTo>
                    <a:pt x="901" y="10"/>
                  </a:lnTo>
                  <a:lnTo>
                    <a:pt x="900" y="7"/>
                  </a:lnTo>
                  <a:lnTo>
                    <a:pt x="897" y="5"/>
                  </a:lnTo>
                  <a:lnTo>
                    <a:pt x="895" y="4"/>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Freeform 180">
              <a:extLst>
                <a:ext uri="{FF2B5EF4-FFF2-40B4-BE49-F238E27FC236}">
                  <a16:creationId xmlns:a16="http://schemas.microsoft.com/office/drawing/2014/main" id="{99363912-CE4D-4C4E-A335-104C1E3DC183}"/>
                </a:ext>
              </a:extLst>
            </p:cNvPr>
            <p:cNvSpPr>
              <a:spLocks/>
            </p:cNvSpPr>
            <p:nvPr/>
          </p:nvSpPr>
          <p:spPr bwMode="auto">
            <a:xfrm>
              <a:off x="10104438" y="899795"/>
              <a:ext cx="14288" cy="63500"/>
            </a:xfrm>
            <a:custGeom>
              <a:avLst/>
              <a:gdLst>
                <a:gd name="T0" fmla="*/ 36 w 49"/>
                <a:gd name="T1" fmla="*/ 0 h 200"/>
                <a:gd name="T2" fmla="*/ 32 w 49"/>
                <a:gd name="T3" fmla="*/ 0 h 200"/>
                <a:gd name="T4" fmla="*/ 30 w 49"/>
                <a:gd name="T5" fmla="*/ 1 h 200"/>
                <a:gd name="T6" fmla="*/ 27 w 49"/>
                <a:gd name="T7" fmla="*/ 2 h 200"/>
                <a:gd name="T8" fmla="*/ 25 w 49"/>
                <a:gd name="T9" fmla="*/ 3 h 200"/>
                <a:gd name="T10" fmla="*/ 23 w 49"/>
                <a:gd name="T11" fmla="*/ 5 h 200"/>
                <a:gd name="T12" fmla="*/ 21 w 49"/>
                <a:gd name="T13" fmla="*/ 7 h 200"/>
                <a:gd name="T14" fmla="*/ 19 w 49"/>
                <a:gd name="T15" fmla="*/ 10 h 200"/>
                <a:gd name="T16" fmla="*/ 19 w 49"/>
                <a:gd name="T17" fmla="*/ 14 h 200"/>
                <a:gd name="T18" fmla="*/ 0 w 49"/>
                <a:gd name="T19" fmla="*/ 184 h 200"/>
                <a:gd name="T20" fmla="*/ 0 w 49"/>
                <a:gd name="T21" fmla="*/ 187 h 200"/>
                <a:gd name="T22" fmla="*/ 0 w 49"/>
                <a:gd name="T23" fmla="*/ 189 h 200"/>
                <a:gd name="T24" fmla="*/ 1 w 49"/>
                <a:gd name="T25" fmla="*/ 193 h 200"/>
                <a:gd name="T26" fmla="*/ 3 w 49"/>
                <a:gd name="T27" fmla="*/ 195 h 200"/>
                <a:gd name="T28" fmla="*/ 6 w 49"/>
                <a:gd name="T29" fmla="*/ 197 h 200"/>
                <a:gd name="T30" fmla="*/ 8 w 49"/>
                <a:gd name="T31" fmla="*/ 199 h 200"/>
                <a:gd name="T32" fmla="*/ 11 w 49"/>
                <a:gd name="T33" fmla="*/ 200 h 200"/>
                <a:gd name="T34" fmla="*/ 13 w 49"/>
                <a:gd name="T35" fmla="*/ 200 h 200"/>
                <a:gd name="T36" fmla="*/ 14 w 49"/>
                <a:gd name="T37" fmla="*/ 200 h 200"/>
                <a:gd name="T38" fmla="*/ 15 w 49"/>
                <a:gd name="T39" fmla="*/ 200 h 200"/>
                <a:gd name="T40" fmla="*/ 21 w 49"/>
                <a:gd name="T41" fmla="*/ 199 h 200"/>
                <a:gd name="T42" fmla="*/ 25 w 49"/>
                <a:gd name="T43" fmla="*/ 197 h 200"/>
                <a:gd name="T44" fmla="*/ 28 w 49"/>
                <a:gd name="T45" fmla="*/ 193 h 200"/>
                <a:gd name="T46" fmla="*/ 30 w 49"/>
                <a:gd name="T47" fmla="*/ 187 h 200"/>
                <a:gd name="T48" fmla="*/ 49 w 49"/>
                <a:gd name="T49" fmla="*/ 17 h 200"/>
                <a:gd name="T50" fmla="*/ 49 w 49"/>
                <a:gd name="T51" fmla="*/ 14 h 200"/>
                <a:gd name="T52" fmla="*/ 48 w 49"/>
                <a:gd name="T53" fmla="*/ 10 h 200"/>
                <a:gd name="T54" fmla="*/ 47 w 49"/>
                <a:gd name="T55" fmla="*/ 8 h 200"/>
                <a:gd name="T56" fmla="*/ 46 w 49"/>
                <a:gd name="T57" fmla="*/ 5 h 200"/>
                <a:gd name="T58" fmla="*/ 44 w 49"/>
                <a:gd name="T59" fmla="*/ 4 h 200"/>
                <a:gd name="T60" fmla="*/ 41 w 49"/>
                <a:gd name="T61" fmla="*/ 2 h 200"/>
                <a:gd name="T62" fmla="*/ 39 w 49"/>
                <a:gd name="T63" fmla="*/ 1 h 200"/>
                <a:gd name="T64" fmla="*/ 36 w 49"/>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200">
                  <a:moveTo>
                    <a:pt x="36" y="0"/>
                  </a:moveTo>
                  <a:lnTo>
                    <a:pt x="32" y="0"/>
                  </a:lnTo>
                  <a:lnTo>
                    <a:pt x="30" y="1"/>
                  </a:lnTo>
                  <a:lnTo>
                    <a:pt x="27" y="2"/>
                  </a:lnTo>
                  <a:lnTo>
                    <a:pt x="25" y="3"/>
                  </a:lnTo>
                  <a:lnTo>
                    <a:pt x="23" y="5"/>
                  </a:lnTo>
                  <a:lnTo>
                    <a:pt x="21" y="7"/>
                  </a:lnTo>
                  <a:lnTo>
                    <a:pt x="19" y="10"/>
                  </a:lnTo>
                  <a:lnTo>
                    <a:pt x="19" y="14"/>
                  </a:lnTo>
                  <a:lnTo>
                    <a:pt x="0" y="184"/>
                  </a:lnTo>
                  <a:lnTo>
                    <a:pt x="0" y="187"/>
                  </a:lnTo>
                  <a:lnTo>
                    <a:pt x="0" y="189"/>
                  </a:lnTo>
                  <a:lnTo>
                    <a:pt x="1" y="193"/>
                  </a:lnTo>
                  <a:lnTo>
                    <a:pt x="3" y="195"/>
                  </a:lnTo>
                  <a:lnTo>
                    <a:pt x="6" y="197"/>
                  </a:lnTo>
                  <a:lnTo>
                    <a:pt x="8" y="199"/>
                  </a:lnTo>
                  <a:lnTo>
                    <a:pt x="11" y="200"/>
                  </a:lnTo>
                  <a:lnTo>
                    <a:pt x="13" y="200"/>
                  </a:lnTo>
                  <a:lnTo>
                    <a:pt x="14" y="200"/>
                  </a:lnTo>
                  <a:lnTo>
                    <a:pt x="15" y="200"/>
                  </a:lnTo>
                  <a:lnTo>
                    <a:pt x="21" y="199"/>
                  </a:lnTo>
                  <a:lnTo>
                    <a:pt x="25" y="197"/>
                  </a:lnTo>
                  <a:lnTo>
                    <a:pt x="28" y="193"/>
                  </a:lnTo>
                  <a:lnTo>
                    <a:pt x="30" y="187"/>
                  </a:lnTo>
                  <a:lnTo>
                    <a:pt x="49" y="17"/>
                  </a:lnTo>
                  <a:lnTo>
                    <a:pt x="49" y="14"/>
                  </a:lnTo>
                  <a:lnTo>
                    <a:pt x="48" y="10"/>
                  </a:lnTo>
                  <a:lnTo>
                    <a:pt x="47" y="8"/>
                  </a:lnTo>
                  <a:lnTo>
                    <a:pt x="46" y="5"/>
                  </a:lnTo>
                  <a:lnTo>
                    <a:pt x="44" y="4"/>
                  </a:lnTo>
                  <a:lnTo>
                    <a:pt x="41" y="2"/>
                  </a:lnTo>
                  <a:lnTo>
                    <a:pt x="39" y="1"/>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81">
              <a:extLst>
                <a:ext uri="{FF2B5EF4-FFF2-40B4-BE49-F238E27FC236}">
                  <a16:creationId xmlns:a16="http://schemas.microsoft.com/office/drawing/2014/main" id="{E845053F-57FE-43C1-B6AA-9F53B9723646}"/>
                </a:ext>
              </a:extLst>
            </p:cNvPr>
            <p:cNvSpPr>
              <a:spLocks noEditPoints="1"/>
            </p:cNvSpPr>
            <p:nvPr/>
          </p:nvSpPr>
          <p:spPr bwMode="auto">
            <a:xfrm>
              <a:off x="10063163" y="1017270"/>
              <a:ext cx="47625" cy="47625"/>
            </a:xfrm>
            <a:custGeom>
              <a:avLst/>
              <a:gdLst>
                <a:gd name="T0" fmla="*/ 66 w 151"/>
                <a:gd name="T1" fmla="*/ 119 h 150"/>
                <a:gd name="T2" fmla="*/ 50 w 151"/>
                <a:gd name="T3" fmla="*/ 113 h 150"/>
                <a:gd name="T4" fmla="*/ 38 w 151"/>
                <a:gd name="T5" fmla="*/ 100 h 150"/>
                <a:gd name="T6" fmla="*/ 30 w 151"/>
                <a:gd name="T7" fmla="*/ 84 h 150"/>
                <a:gd name="T8" fmla="*/ 30 w 151"/>
                <a:gd name="T9" fmla="*/ 65 h 150"/>
                <a:gd name="T10" fmla="*/ 38 w 151"/>
                <a:gd name="T11" fmla="*/ 49 h 150"/>
                <a:gd name="T12" fmla="*/ 50 w 151"/>
                <a:gd name="T13" fmla="*/ 37 h 150"/>
                <a:gd name="T14" fmla="*/ 66 w 151"/>
                <a:gd name="T15" fmla="*/ 31 h 150"/>
                <a:gd name="T16" fmla="*/ 84 w 151"/>
                <a:gd name="T17" fmla="*/ 31 h 150"/>
                <a:gd name="T18" fmla="*/ 100 w 151"/>
                <a:gd name="T19" fmla="*/ 37 h 150"/>
                <a:gd name="T20" fmla="*/ 113 w 151"/>
                <a:gd name="T21" fmla="*/ 49 h 150"/>
                <a:gd name="T22" fmla="*/ 119 w 151"/>
                <a:gd name="T23" fmla="*/ 65 h 150"/>
                <a:gd name="T24" fmla="*/ 119 w 151"/>
                <a:gd name="T25" fmla="*/ 84 h 150"/>
                <a:gd name="T26" fmla="*/ 113 w 151"/>
                <a:gd name="T27" fmla="*/ 100 h 150"/>
                <a:gd name="T28" fmla="*/ 100 w 151"/>
                <a:gd name="T29" fmla="*/ 113 h 150"/>
                <a:gd name="T30" fmla="*/ 84 w 151"/>
                <a:gd name="T31" fmla="*/ 119 h 150"/>
                <a:gd name="T32" fmla="*/ 75 w 151"/>
                <a:gd name="T33" fmla="*/ 0 h 150"/>
                <a:gd name="T34" fmla="*/ 60 w 151"/>
                <a:gd name="T35" fmla="*/ 1 h 150"/>
                <a:gd name="T36" fmla="*/ 45 w 151"/>
                <a:gd name="T37" fmla="*/ 5 h 150"/>
                <a:gd name="T38" fmla="*/ 34 w 151"/>
                <a:gd name="T39" fmla="*/ 13 h 150"/>
                <a:gd name="T40" fmla="*/ 22 w 151"/>
                <a:gd name="T41" fmla="*/ 21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7 h 150"/>
                <a:gd name="T56" fmla="*/ 22 w 151"/>
                <a:gd name="T57" fmla="*/ 128 h 150"/>
                <a:gd name="T58" fmla="*/ 34 w 151"/>
                <a:gd name="T59" fmla="*/ 137 h 150"/>
                <a:gd name="T60" fmla="*/ 45 w 151"/>
                <a:gd name="T61" fmla="*/ 145 h 150"/>
                <a:gd name="T62" fmla="*/ 60 w 151"/>
                <a:gd name="T63" fmla="*/ 149 h 150"/>
                <a:gd name="T64" fmla="*/ 75 w 151"/>
                <a:gd name="T65" fmla="*/ 150 h 150"/>
                <a:gd name="T66" fmla="*/ 90 w 151"/>
                <a:gd name="T67" fmla="*/ 149 h 150"/>
                <a:gd name="T68" fmla="*/ 104 w 151"/>
                <a:gd name="T69" fmla="*/ 145 h 150"/>
                <a:gd name="T70" fmla="*/ 117 w 151"/>
                <a:gd name="T71" fmla="*/ 137 h 150"/>
                <a:gd name="T72" fmla="*/ 128 w 151"/>
                <a:gd name="T73" fmla="*/ 128 h 150"/>
                <a:gd name="T74" fmla="*/ 138 w 151"/>
                <a:gd name="T75" fmla="*/ 117 h 150"/>
                <a:gd name="T76" fmla="*/ 144 w 151"/>
                <a:gd name="T77" fmla="*/ 104 h 150"/>
                <a:gd name="T78" fmla="*/ 148 w 151"/>
                <a:gd name="T79" fmla="*/ 90 h 150"/>
                <a:gd name="T80" fmla="*/ 151 w 151"/>
                <a:gd name="T81" fmla="*/ 75 h 150"/>
                <a:gd name="T82" fmla="*/ 148 w 151"/>
                <a:gd name="T83" fmla="*/ 60 h 150"/>
                <a:gd name="T84" fmla="*/ 144 w 151"/>
                <a:gd name="T85" fmla="*/ 46 h 150"/>
                <a:gd name="T86" fmla="*/ 138 w 151"/>
                <a:gd name="T87" fmla="*/ 33 h 150"/>
                <a:gd name="T88" fmla="*/ 128 w 151"/>
                <a:gd name="T89" fmla="*/ 21 h 150"/>
                <a:gd name="T90" fmla="*/ 117 w 151"/>
                <a:gd name="T91" fmla="*/ 13 h 150"/>
                <a:gd name="T92" fmla="*/ 104 w 151"/>
                <a:gd name="T93" fmla="*/ 5 h 150"/>
                <a:gd name="T94" fmla="*/ 90 w 151"/>
                <a:gd name="T95" fmla="*/ 1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6" y="119"/>
                  </a:lnTo>
                  <a:lnTo>
                    <a:pt x="57" y="117"/>
                  </a:lnTo>
                  <a:lnTo>
                    <a:pt x="50" y="113"/>
                  </a:lnTo>
                  <a:lnTo>
                    <a:pt x="43" y="107"/>
                  </a:lnTo>
                  <a:lnTo>
                    <a:pt x="38" y="100"/>
                  </a:lnTo>
                  <a:lnTo>
                    <a:pt x="34" y="92"/>
                  </a:lnTo>
                  <a:lnTo>
                    <a:pt x="30" y="84"/>
                  </a:lnTo>
                  <a:lnTo>
                    <a:pt x="30" y="75"/>
                  </a:lnTo>
                  <a:lnTo>
                    <a:pt x="30" y="65"/>
                  </a:lnTo>
                  <a:lnTo>
                    <a:pt x="34" y="58"/>
                  </a:lnTo>
                  <a:lnTo>
                    <a:pt x="38" y="49"/>
                  </a:lnTo>
                  <a:lnTo>
                    <a:pt x="43" y="43"/>
                  </a:lnTo>
                  <a:lnTo>
                    <a:pt x="50" y="37"/>
                  </a:lnTo>
                  <a:lnTo>
                    <a:pt x="57" y="33"/>
                  </a:lnTo>
                  <a:lnTo>
                    <a:pt x="66" y="31"/>
                  </a:lnTo>
                  <a:lnTo>
                    <a:pt x="75" y="30"/>
                  </a:lnTo>
                  <a:lnTo>
                    <a:pt x="84" y="31"/>
                  </a:lnTo>
                  <a:lnTo>
                    <a:pt x="93" y="33"/>
                  </a:lnTo>
                  <a:lnTo>
                    <a:pt x="100" y="37"/>
                  </a:lnTo>
                  <a:lnTo>
                    <a:pt x="107" y="43"/>
                  </a:lnTo>
                  <a:lnTo>
                    <a:pt x="113" y="49"/>
                  </a:lnTo>
                  <a:lnTo>
                    <a:pt x="116" y="58"/>
                  </a:lnTo>
                  <a:lnTo>
                    <a:pt x="119" y="65"/>
                  </a:lnTo>
                  <a:lnTo>
                    <a:pt x="121" y="75"/>
                  </a:lnTo>
                  <a:lnTo>
                    <a:pt x="119" y="84"/>
                  </a:lnTo>
                  <a:lnTo>
                    <a:pt x="116" y="92"/>
                  </a:lnTo>
                  <a:lnTo>
                    <a:pt x="113" y="100"/>
                  </a:lnTo>
                  <a:lnTo>
                    <a:pt x="107" y="107"/>
                  </a:lnTo>
                  <a:lnTo>
                    <a:pt x="100" y="113"/>
                  </a:lnTo>
                  <a:lnTo>
                    <a:pt x="93" y="117"/>
                  </a:lnTo>
                  <a:lnTo>
                    <a:pt x="84" y="119"/>
                  </a:lnTo>
                  <a:lnTo>
                    <a:pt x="75" y="120"/>
                  </a:lnTo>
                  <a:close/>
                  <a:moveTo>
                    <a:pt x="75" y="0"/>
                  </a:moveTo>
                  <a:lnTo>
                    <a:pt x="68" y="0"/>
                  </a:lnTo>
                  <a:lnTo>
                    <a:pt x="60" y="1"/>
                  </a:lnTo>
                  <a:lnTo>
                    <a:pt x="53" y="3"/>
                  </a:lnTo>
                  <a:lnTo>
                    <a:pt x="45" y="5"/>
                  </a:lnTo>
                  <a:lnTo>
                    <a:pt x="39" y="8"/>
                  </a:lnTo>
                  <a:lnTo>
                    <a:pt x="34" y="13"/>
                  </a:lnTo>
                  <a:lnTo>
                    <a:pt x="27" y="17"/>
                  </a:lnTo>
                  <a:lnTo>
                    <a:pt x="22" y="21"/>
                  </a:lnTo>
                  <a:lnTo>
                    <a:pt x="18" y="27"/>
                  </a:lnTo>
                  <a:lnTo>
                    <a:pt x="13" y="33"/>
                  </a:lnTo>
                  <a:lnTo>
                    <a:pt x="9" y="40"/>
                  </a:lnTo>
                  <a:lnTo>
                    <a:pt x="6" y="46"/>
                  </a:lnTo>
                  <a:lnTo>
                    <a:pt x="4" y="52"/>
                  </a:lnTo>
                  <a:lnTo>
                    <a:pt x="2" y="60"/>
                  </a:lnTo>
                  <a:lnTo>
                    <a:pt x="0" y="67"/>
                  </a:lnTo>
                  <a:lnTo>
                    <a:pt x="0" y="75"/>
                  </a:lnTo>
                  <a:lnTo>
                    <a:pt x="0" y="82"/>
                  </a:lnTo>
                  <a:lnTo>
                    <a:pt x="2" y="90"/>
                  </a:lnTo>
                  <a:lnTo>
                    <a:pt x="4" y="97"/>
                  </a:lnTo>
                  <a:lnTo>
                    <a:pt x="6" y="104"/>
                  </a:lnTo>
                  <a:lnTo>
                    <a:pt x="9" y="110"/>
                  </a:lnTo>
                  <a:lnTo>
                    <a:pt x="13" y="117"/>
                  </a:lnTo>
                  <a:lnTo>
                    <a:pt x="18" y="122"/>
                  </a:lnTo>
                  <a:lnTo>
                    <a:pt x="22" y="128"/>
                  </a:lnTo>
                  <a:lnTo>
                    <a:pt x="27" y="133"/>
                  </a:lnTo>
                  <a:lnTo>
                    <a:pt x="34" y="137"/>
                  </a:lnTo>
                  <a:lnTo>
                    <a:pt x="39" y="141"/>
                  </a:lnTo>
                  <a:lnTo>
                    <a:pt x="45" y="145"/>
                  </a:lnTo>
                  <a:lnTo>
                    <a:pt x="53" y="147"/>
                  </a:lnTo>
                  <a:lnTo>
                    <a:pt x="60" y="149"/>
                  </a:lnTo>
                  <a:lnTo>
                    <a:pt x="68" y="150"/>
                  </a:lnTo>
                  <a:lnTo>
                    <a:pt x="75" y="150"/>
                  </a:lnTo>
                  <a:lnTo>
                    <a:pt x="83" y="150"/>
                  </a:lnTo>
                  <a:lnTo>
                    <a:pt x="90" y="149"/>
                  </a:lnTo>
                  <a:lnTo>
                    <a:pt x="97" y="147"/>
                  </a:lnTo>
                  <a:lnTo>
                    <a:pt x="104" y="145"/>
                  </a:lnTo>
                  <a:lnTo>
                    <a:pt x="111" y="141"/>
                  </a:lnTo>
                  <a:lnTo>
                    <a:pt x="117" y="137"/>
                  </a:lnTo>
                  <a:lnTo>
                    <a:pt x="123" y="133"/>
                  </a:lnTo>
                  <a:lnTo>
                    <a:pt x="128" y="128"/>
                  </a:lnTo>
                  <a:lnTo>
                    <a:pt x="133" y="122"/>
                  </a:lnTo>
                  <a:lnTo>
                    <a:pt x="138" y="117"/>
                  </a:lnTo>
                  <a:lnTo>
                    <a:pt x="141" y="110"/>
                  </a:lnTo>
                  <a:lnTo>
                    <a:pt x="144" y="104"/>
                  </a:lnTo>
                  <a:lnTo>
                    <a:pt x="147" y="97"/>
                  </a:lnTo>
                  <a:lnTo>
                    <a:pt x="148" y="90"/>
                  </a:lnTo>
                  <a:lnTo>
                    <a:pt x="149" y="82"/>
                  </a:lnTo>
                  <a:lnTo>
                    <a:pt x="151" y="75"/>
                  </a:lnTo>
                  <a:lnTo>
                    <a:pt x="149" y="67"/>
                  </a:lnTo>
                  <a:lnTo>
                    <a:pt x="148" y="60"/>
                  </a:lnTo>
                  <a:lnTo>
                    <a:pt x="147" y="52"/>
                  </a:lnTo>
                  <a:lnTo>
                    <a:pt x="144" y="46"/>
                  </a:lnTo>
                  <a:lnTo>
                    <a:pt x="141" y="40"/>
                  </a:lnTo>
                  <a:lnTo>
                    <a:pt x="138" y="33"/>
                  </a:lnTo>
                  <a:lnTo>
                    <a:pt x="133" y="27"/>
                  </a:lnTo>
                  <a:lnTo>
                    <a:pt x="128" y="21"/>
                  </a:lnTo>
                  <a:lnTo>
                    <a:pt x="123" y="17"/>
                  </a:lnTo>
                  <a:lnTo>
                    <a:pt x="117" y="13"/>
                  </a:lnTo>
                  <a:lnTo>
                    <a:pt x="111" y="8"/>
                  </a:lnTo>
                  <a:lnTo>
                    <a:pt x="104" y="5"/>
                  </a:lnTo>
                  <a:lnTo>
                    <a:pt x="97"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Freeform 182">
              <a:extLst>
                <a:ext uri="{FF2B5EF4-FFF2-40B4-BE49-F238E27FC236}">
                  <a16:creationId xmlns:a16="http://schemas.microsoft.com/office/drawing/2014/main" id="{4FCBA2B5-ACE8-4937-A0A6-709B7C6C39A2}"/>
                </a:ext>
              </a:extLst>
            </p:cNvPr>
            <p:cNvSpPr>
              <a:spLocks noEditPoints="1"/>
            </p:cNvSpPr>
            <p:nvPr/>
          </p:nvSpPr>
          <p:spPr bwMode="auto">
            <a:xfrm>
              <a:off x="9928225" y="1017270"/>
              <a:ext cx="47625" cy="47625"/>
            </a:xfrm>
            <a:custGeom>
              <a:avLst/>
              <a:gdLst>
                <a:gd name="T0" fmla="*/ 67 w 150"/>
                <a:gd name="T1" fmla="*/ 119 h 150"/>
                <a:gd name="T2" fmla="*/ 50 w 150"/>
                <a:gd name="T3" fmla="*/ 113 h 150"/>
                <a:gd name="T4" fmla="*/ 38 w 150"/>
                <a:gd name="T5" fmla="*/ 100 h 150"/>
                <a:gd name="T6" fmla="*/ 31 w 150"/>
                <a:gd name="T7" fmla="*/ 84 h 150"/>
                <a:gd name="T8" fmla="*/ 31 w 150"/>
                <a:gd name="T9" fmla="*/ 65 h 150"/>
                <a:gd name="T10" fmla="*/ 38 w 150"/>
                <a:gd name="T11" fmla="*/ 49 h 150"/>
                <a:gd name="T12" fmla="*/ 50 w 150"/>
                <a:gd name="T13" fmla="*/ 37 h 150"/>
                <a:gd name="T14" fmla="*/ 67 w 150"/>
                <a:gd name="T15" fmla="*/ 31 h 150"/>
                <a:gd name="T16" fmla="*/ 85 w 150"/>
                <a:gd name="T17" fmla="*/ 31 h 150"/>
                <a:gd name="T18" fmla="*/ 101 w 150"/>
                <a:gd name="T19" fmla="*/ 37 h 150"/>
                <a:gd name="T20" fmla="*/ 113 w 150"/>
                <a:gd name="T21" fmla="*/ 49 h 150"/>
                <a:gd name="T22" fmla="*/ 119 w 150"/>
                <a:gd name="T23" fmla="*/ 65 h 150"/>
                <a:gd name="T24" fmla="*/ 119 w 150"/>
                <a:gd name="T25" fmla="*/ 84 h 150"/>
                <a:gd name="T26" fmla="*/ 113 w 150"/>
                <a:gd name="T27" fmla="*/ 100 h 150"/>
                <a:gd name="T28" fmla="*/ 101 w 150"/>
                <a:gd name="T29" fmla="*/ 113 h 150"/>
                <a:gd name="T30" fmla="*/ 85 w 150"/>
                <a:gd name="T31" fmla="*/ 119 h 150"/>
                <a:gd name="T32" fmla="*/ 75 w 150"/>
                <a:gd name="T33" fmla="*/ 0 h 150"/>
                <a:gd name="T34" fmla="*/ 60 w 150"/>
                <a:gd name="T35" fmla="*/ 1 h 150"/>
                <a:gd name="T36" fmla="*/ 46 w 150"/>
                <a:gd name="T37" fmla="*/ 5 h 150"/>
                <a:gd name="T38" fmla="*/ 33 w 150"/>
                <a:gd name="T39" fmla="*/ 13 h 150"/>
                <a:gd name="T40" fmla="*/ 23 w 150"/>
                <a:gd name="T41" fmla="*/ 21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7 h 150"/>
                <a:gd name="T56" fmla="*/ 23 w 150"/>
                <a:gd name="T57" fmla="*/ 128 h 150"/>
                <a:gd name="T58" fmla="*/ 33 w 150"/>
                <a:gd name="T59" fmla="*/ 137 h 150"/>
                <a:gd name="T60" fmla="*/ 46 w 150"/>
                <a:gd name="T61" fmla="*/ 145 h 150"/>
                <a:gd name="T62" fmla="*/ 60 w 150"/>
                <a:gd name="T63" fmla="*/ 149 h 150"/>
                <a:gd name="T64" fmla="*/ 75 w 150"/>
                <a:gd name="T65" fmla="*/ 150 h 150"/>
                <a:gd name="T66" fmla="*/ 90 w 150"/>
                <a:gd name="T67" fmla="*/ 149 h 150"/>
                <a:gd name="T68" fmla="*/ 104 w 150"/>
                <a:gd name="T69" fmla="*/ 145 h 150"/>
                <a:gd name="T70" fmla="*/ 117 w 150"/>
                <a:gd name="T71" fmla="*/ 137 h 150"/>
                <a:gd name="T72" fmla="*/ 129 w 150"/>
                <a:gd name="T73" fmla="*/ 128 h 150"/>
                <a:gd name="T74" fmla="*/ 137 w 150"/>
                <a:gd name="T75" fmla="*/ 117 h 150"/>
                <a:gd name="T76" fmla="*/ 145 w 150"/>
                <a:gd name="T77" fmla="*/ 104 h 150"/>
                <a:gd name="T78" fmla="*/ 149 w 150"/>
                <a:gd name="T79" fmla="*/ 90 h 150"/>
                <a:gd name="T80" fmla="*/ 150 w 150"/>
                <a:gd name="T81" fmla="*/ 75 h 150"/>
                <a:gd name="T82" fmla="*/ 149 w 150"/>
                <a:gd name="T83" fmla="*/ 60 h 150"/>
                <a:gd name="T84" fmla="*/ 145 w 150"/>
                <a:gd name="T85" fmla="*/ 46 h 150"/>
                <a:gd name="T86" fmla="*/ 137 w 150"/>
                <a:gd name="T87" fmla="*/ 33 h 150"/>
                <a:gd name="T88" fmla="*/ 129 w 150"/>
                <a:gd name="T89" fmla="*/ 21 h 150"/>
                <a:gd name="T90" fmla="*/ 117 w 150"/>
                <a:gd name="T91" fmla="*/ 13 h 150"/>
                <a:gd name="T92" fmla="*/ 104 w 150"/>
                <a:gd name="T93" fmla="*/ 5 h 150"/>
                <a:gd name="T94" fmla="*/ 90 w 150"/>
                <a:gd name="T95" fmla="*/ 1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7" y="119"/>
                  </a:lnTo>
                  <a:lnTo>
                    <a:pt x="58" y="117"/>
                  </a:lnTo>
                  <a:lnTo>
                    <a:pt x="50" y="113"/>
                  </a:lnTo>
                  <a:lnTo>
                    <a:pt x="43" y="107"/>
                  </a:lnTo>
                  <a:lnTo>
                    <a:pt x="38" y="100"/>
                  </a:lnTo>
                  <a:lnTo>
                    <a:pt x="33" y="92"/>
                  </a:lnTo>
                  <a:lnTo>
                    <a:pt x="31" y="84"/>
                  </a:lnTo>
                  <a:lnTo>
                    <a:pt x="30" y="75"/>
                  </a:lnTo>
                  <a:lnTo>
                    <a:pt x="31" y="65"/>
                  </a:lnTo>
                  <a:lnTo>
                    <a:pt x="33" y="58"/>
                  </a:lnTo>
                  <a:lnTo>
                    <a:pt x="38" y="49"/>
                  </a:lnTo>
                  <a:lnTo>
                    <a:pt x="43" y="43"/>
                  </a:lnTo>
                  <a:lnTo>
                    <a:pt x="50" y="37"/>
                  </a:lnTo>
                  <a:lnTo>
                    <a:pt x="58" y="33"/>
                  </a:lnTo>
                  <a:lnTo>
                    <a:pt x="67" y="31"/>
                  </a:lnTo>
                  <a:lnTo>
                    <a:pt x="75" y="30"/>
                  </a:lnTo>
                  <a:lnTo>
                    <a:pt x="85" y="31"/>
                  </a:lnTo>
                  <a:lnTo>
                    <a:pt x="92" y="33"/>
                  </a:lnTo>
                  <a:lnTo>
                    <a:pt x="101" y="37"/>
                  </a:lnTo>
                  <a:lnTo>
                    <a:pt x="107" y="43"/>
                  </a:lnTo>
                  <a:lnTo>
                    <a:pt x="113" y="49"/>
                  </a:lnTo>
                  <a:lnTo>
                    <a:pt x="117" y="58"/>
                  </a:lnTo>
                  <a:lnTo>
                    <a:pt x="119" y="65"/>
                  </a:lnTo>
                  <a:lnTo>
                    <a:pt x="120" y="75"/>
                  </a:lnTo>
                  <a:lnTo>
                    <a:pt x="119" y="84"/>
                  </a:lnTo>
                  <a:lnTo>
                    <a:pt x="117" y="92"/>
                  </a:lnTo>
                  <a:lnTo>
                    <a:pt x="113" y="100"/>
                  </a:lnTo>
                  <a:lnTo>
                    <a:pt x="107" y="107"/>
                  </a:lnTo>
                  <a:lnTo>
                    <a:pt x="101" y="113"/>
                  </a:lnTo>
                  <a:lnTo>
                    <a:pt x="92" y="117"/>
                  </a:lnTo>
                  <a:lnTo>
                    <a:pt x="85" y="119"/>
                  </a:lnTo>
                  <a:lnTo>
                    <a:pt x="75" y="120"/>
                  </a:lnTo>
                  <a:close/>
                  <a:moveTo>
                    <a:pt x="75" y="0"/>
                  </a:moveTo>
                  <a:lnTo>
                    <a:pt x="68" y="0"/>
                  </a:lnTo>
                  <a:lnTo>
                    <a:pt x="60" y="1"/>
                  </a:lnTo>
                  <a:lnTo>
                    <a:pt x="53" y="3"/>
                  </a:lnTo>
                  <a:lnTo>
                    <a:pt x="46" y="5"/>
                  </a:lnTo>
                  <a:lnTo>
                    <a:pt x="40" y="8"/>
                  </a:lnTo>
                  <a:lnTo>
                    <a:pt x="33" y="13"/>
                  </a:lnTo>
                  <a:lnTo>
                    <a:pt x="28" y="17"/>
                  </a:lnTo>
                  <a:lnTo>
                    <a:pt x="23" y="21"/>
                  </a:lnTo>
                  <a:lnTo>
                    <a:pt x="17" y="27"/>
                  </a:lnTo>
                  <a:lnTo>
                    <a:pt x="13" y="33"/>
                  </a:lnTo>
                  <a:lnTo>
                    <a:pt x="10" y="40"/>
                  </a:lnTo>
                  <a:lnTo>
                    <a:pt x="6" y="46"/>
                  </a:lnTo>
                  <a:lnTo>
                    <a:pt x="3" y="52"/>
                  </a:lnTo>
                  <a:lnTo>
                    <a:pt x="1" y="60"/>
                  </a:lnTo>
                  <a:lnTo>
                    <a:pt x="0" y="67"/>
                  </a:lnTo>
                  <a:lnTo>
                    <a:pt x="0" y="75"/>
                  </a:lnTo>
                  <a:lnTo>
                    <a:pt x="0" y="82"/>
                  </a:lnTo>
                  <a:lnTo>
                    <a:pt x="1" y="90"/>
                  </a:lnTo>
                  <a:lnTo>
                    <a:pt x="3" y="97"/>
                  </a:lnTo>
                  <a:lnTo>
                    <a:pt x="6" y="104"/>
                  </a:lnTo>
                  <a:lnTo>
                    <a:pt x="10" y="110"/>
                  </a:lnTo>
                  <a:lnTo>
                    <a:pt x="13" y="117"/>
                  </a:lnTo>
                  <a:lnTo>
                    <a:pt x="17" y="122"/>
                  </a:lnTo>
                  <a:lnTo>
                    <a:pt x="23" y="128"/>
                  </a:lnTo>
                  <a:lnTo>
                    <a:pt x="28" y="133"/>
                  </a:lnTo>
                  <a:lnTo>
                    <a:pt x="33" y="137"/>
                  </a:lnTo>
                  <a:lnTo>
                    <a:pt x="40" y="141"/>
                  </a:lnTo>
                  <a:lnTo>
                    <a:pt x="46" y="145"/>
                  </a:lnTo>
                  <a:lnTo>
                    <a:pt x="53" y="147"/>
                  </a:lnTo>
                  <a:lnTo>
                    <a:pt x="60" y="149"/>
                  </a:lnTo>
                  <a:lnTo>
                    <a:pt x="68" y="150"/>
                  </a:lnTo>
                  <a:lnTo>
                    <a:pt x="75" y="150"/>
                  </a:lnTo>
                  <a:lnTo>
                    <a:pt x="83" y="150"/>
                  </a:lnTo>
                  <a:lnTo>
                    <a:pt x="90" y="149"/>
                  </a:lnTo>
                  <a:lnTo>
                    <a:pt x="98" y="147"/>
                  </a:lnTo>
                  <a:lnTo>
                    <a:pt x="104" y="145"/>
                  </a:lnTo>
                  <a:lnTo>
                    <a:pt x="112" y="141"/>
                  </a:lnTo>
                  <a:lnTo>
                    <a:pt x="117" y="137"/>
                  </a:lnTo>
                  <a:lnTo>
                    <a:pt x="123" y="133"/>
                  </a:lnTo>
                  <a:lnTo>
                    <a:pt x="129" y="128"/>
                  </a:lnTo>
                  <a:lnTo>
                    <a:pt x="133" y="122"/>
                  </a:lnTo>
                  <a:lnTo>
                    <a:pt x="137" y="117"/>
                  </a:lnTo>
                  <a:lnTo>
                    <a:pt x="142" y="110"/>
                  </a:lnTo>
                  <a:lnTo>
                    <a:pt x="145" y="104"/>
                  </a:lnTo>
                  <a:lnTo>
                    <a:pt x="147" y="97"/>
                  </a:lnTo>
                  <a:lnTo>
                    <a:pt x="149" y="90"/>
                  </a:lnTo>
                  <a:lnTo>
                    <a:pt x="150" y="82"/>
                  </a:lnTo>
                  <a:lnTo>
                    <a:pt x="150" y="75"/>
                  </a:lnTo>
                  <a:lnTo>
                    <a:pt x="150" y="67"/>
                  </a:lnTo>
                  <a:lnTo>
                    <a:pt x="149" y="60"/>
                  </a:lnTo>
                  <a:lnTo>
                    <a:pt x="147" y="52"/>
                  </a:lnTo>
                  <a:lnTo>
                    <a:pt x="145" y="46"/>
                  </a:lnTo>
                  <a:lnTo>
                    <a:pt x="142" y="40"/>
                  </a:lnTo>
                  <a:lnTo>
                    <a:pt x="137" y="33"/>
                  </a:lnTo>
                  <a:lnTo>
                    <a:pt x="133" y="27"/>
                  </a:lnTo>
                  <a:lnTo>
                    <a:pt x="129" y="21"/>
                  </a:lnTo>
                  <a:lnTo>
                    <a:pt x="123" y="17"/>
                  </a:lnTo>
                  <a:lnTo>
                    <a:pt x="117" y="13"/>
                  </a:lnTo>
                  <a:lnTo>
                    <a:pt x="112" y="8"/>
                  </a:lnTo>
                  <a:lnTo>
                    <a:pt x="104" y="5"/>
                  </a:lnTo>
                  <a:lnTo>
                    <a:pt x="98" y="3"/>
                  </a:lnTo>
                  <a:lnTo>
                    <a:pt x="90" y="1"/>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10" name="Group 81">
            <a:extLst>
              <a:ext uri="{FF2B5EF4-FFF2-40B4-BE49-F238E27FC236}">
                <a16:creationId xmlns:a16="http://schemas.microsoft.com/office/drawing/2014/main" id="{6B291C5D-BE7B-4AB1-9381-5052C8190AD3}"/>
              </a:ext>
            </a:extLst>
          </p:cNvPr>
          <p:cNvGrpSpPr>
            <a:grpSpLocks noChangeAspect="1"/>
          </p:cNvGrpSpPr>
          <p:nvPr/>
        </p:nvGrpSpPr>
        <p:grpSpPr>
          <a:xfrm>
            <a:off x="1868328" y="4340505"/>
            <a:ext cx="336738" cy="285619"/>
            <a:chOff x="5522913" y="1498601"/>
            <a:chExt cx="658813" cy="558800"/>
          </a:xfrm>
          <a:solidFill>
            <a:schemeClr val="bg1"/>
          </a:solidFill>
          <a:effectLst/>
        </p:grpSpPr>
        <p:sp>
          <p:nvSpPr>
            <p:cNvPr id="1211" name="Freeform 21">
              <a:extLst>
                <a:ext uri="{FF2B5EF4-FFF2-40B4-BE49-F238E27FC236}">
                  <a16:creationId xmlns:a16="http://schemas.microsoft.com/office/drawing/2014/main" id="{E41E7381-524D-4EA0-8F98-CE1C6F0E552D}"/>
                </a:ext>
              </a:extLst>
            </p:cNvPr>
            <p:cNvSpPr>
              <a:spLocks/>
            </p:cNvSpPr>
            <p:nvPr/>
          </p:nvSpPr>
          <p:spPr bwMode="auto">
            <a:xfrm>
              <a:off x="5740400" y="1574801"/>
              <a:ext cx="184150" cy="139700"/>
            </a:xfrm>
            <a:custGeom>
              <a:avLst/>
              <a:gdLst>
                <a:gd name="T0" fmla="*/ 578 w 578"/>
                <a:gd name="T1" fmla="*/ 57 h 443"/>
                <a:gd name="T2" fmla="*/ 521 w 578"/>
                <a:gd name="T3" fmla="*/ 0 h 443"/>
                <a:gd name="T4" fmla="*/ 191 w 578"/>
                <a:gd name="T5" fmla="*/ 330 h 443"/>
                <a:gd name="T6" fmla="*/ 57 w 578"/>
                <a:gd name="T7" fmla="*/ 196 h 443"/>
                <a:gd name="T8" fmla="*/ 0 w 578"/>
                <a:gd name="T9" fmla="*/ 252 h 443"/>
                <a:gd name="T10" fmla="*/ 191 w 578"/>
                <a:gd name="T11" fmla="*/ 443 h 443"/>
                <a:gd name="T12" fmla="*/ 578 w 578"/>
                <a:gd name="T13" fmla="*/ 57 h 443"/>
              </a:gdLst>
              <a:ahLst/>
              <a:cxnLst>
                <a:cxn ang="0">
                  <a:pos x="T0" y="T1"/>
                </a:cxn>
                <a:cxn ang="0">
                  <a:pos x="T2" y="T3"/>
                </a:cxn>
                <a:cxn ang="0">
                  <a:pos x="T4" y="T5"/>
                </a:cxn>
                <a:cxn ang="0">
                  <a:pos x="T6" y="T7"/>
                </a:cxn>
                <a:cxn ang="0">
                  <a:pos x="T8" y="T9"/>
                </a:cxn>
                <a:cxn ang="0">
                  <a:pos x="T10" y="T11"/>
                </a:cxn>
                <a:cxn ang="0">
                  <a:pos x="T12" y="T13"/>
                </a:cxn>
              </a:cxnLst>
              <a:rect l="0" t="0" r="r" b="b"/>
              <a:pathLst>
                <a:path w="578" h="443">
                  <a:moveTo>
                    <a:pt x="578" y="57"/>
                  </a:moveTo>
                  <a:lnTo>
                    <a:pt x="521" y="0"/>
                  </a:lnTo>
                  <a:lnTo>
                    <a:pt x="191" y="330"/>
                  </a:lnTo>
                  <a:lnTo>
                    <a:pt x="57" y="196"/>
                  </a:lnTo>
                  <a:lnTo>
                    <a:pt x="0" y="252"/>
                  </a:lnTo>
                  <a:lnTo>
                    <a:pt x="191" y="443"/>
                  </a:lnTo>
                  <a:lnTo>
                    <a:pt x="57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22">
              <a:extLst>
                <a:ext uri="{FF2B5EF4-FFF2-40B4-BE49-F238E27FC236}">
                  <a16:creationId xmlns:a16="http://schemas.microsoft.com/office/drawing/2014/main" id="{B7BEB4BA-6504-499B-AB93-079DCA5D46C7}"/>
                </a:ext>
              </a:extLst>
            </p:cNvPr>
            <p:cNvSpPr>
              <a:spLocks noEditPoints="1"/>
            </p:cNvSpPr>
            <p:nvPr/>
          </p:nvSpPr>
          <p:spPr bwMode="auto">
            <a:xfrm>
              <a:off x="5522913" y="1498601"/>
              <a:ext cx="658813" cy="558800"/>
            </a:xfrm>
            <a:custGeom>
              <a:avLst/>
              <a:gdLst>
                <a:gd name="T0" fmla="*/ 508 w 2078"/>
                <a:gd name="T1" fmla="*/ 645 h 1760"/>
                <a:gd name="T2" fmla="*/ 620 w 2078"/>
                <a:gd name="T3" fmla="*/ 820 h 1760"/>
                <a:gd name="T4" fmla="*/ 794 w 2078"/>
                <a:gd name="T5" fmla="*/ 931 h 1760"/>
                <a:gd name="T6" fmla="*/ 1008 w 2078"/>
                <a:gd name="T7" fmla="*/ 958 h 1760"/>
                <a:gd name="T8" fmla="*/ 1207 w 2078"/>
                <a:gd name="T9" fmla="*/ 890 h 1760"/>
                <a:gd name="T10" fmla="*/ 1356 w 2078"/>
                <a:gd name="T11" fmla="*/ 748 h 1760"/>
                <a:gd name="T12" fmla="*/ 1433 w 2078"/>
                <a:gd name="T13" fmla="*/ 553 h 1760"/>
                <a:gd name="T14" fmla="*/ 979 w 2078"/>
                <a:gd name="T15" fmla="*/ 81 h 1760"/>
                <a:gd name="T16" fmla="*/ 1149 w 2078"/>
                <a:gd name="T17" fmla="*/ 129 h 1760"/>
                <a:gd name="T18" fmla="*/ 1279 w 2078"/>
                <a:gd name="T19" fmla="*/ 241 h 1760"/>
                <a:gd name="T20" fmla="*/ 1351 w 2078"/>
                <a:gd name="T21" fmla="*/ 400 h 1760"/>
                <a:gd name="T22" fmla="*/ 1346 w 2078"/>
                <a:gd name="T23" fmla="*/ 580 h 1760"/>
                <a:gd name="T24" fmla="*/ 1268 w 2078"/>
                <a:gd name="T25" fmla="*/ 735 h 1760"/>
                <a:gd name="T26" fmla="*/ 1132 w 2078"/>
                <a:gd name="T27" fmla="*/ 841 h 1760"/>
                <a:gd name="T28" fmla="*/ 959 w 2078"/>
                <a:gd name="T29" fmla="*/ 880 h 1760"/>
                <a:gd name="T30" fmla="*/ 785 w 2078"/>
                <a:gd name="T31" fmla="*/ 841 h 1760"/>
                <a:gd name="T32" fmla="*/ 650 w 2078"/>
                <a:gd name="T33" fmla="*/ 735 h 1760"/>
                <a:gd name="T34" fmla="*/ 572 w 2078"/>
                <a:gd name="T35" fmla="*/ 580 h 1760"/>
                <a:gd name="T36" fmla="*/ 567 w 2078"/>
                <a:gd name="T37" fmla="*/ 400 h 1760"/>
                <a:gd name="T38" fmla="*/ 639 w 2078"/>
                <a:gd name="T39" fmla="*/ 241 h 1760"/>
                <a:gd name="T40" fmla="*/ 769 w 2078"/>
                <a:gd name="T41" fmla="*/ 129 h 1760"/>
                <a:gd name="T42" fmla="*/ 939 w 2078"/>
                <a:gd name="T43" fmla="*/ 81 h 1760"/>
                <a:gd name="T44" fmla="*/ 1500 w 2078"/>
                <a:gd name="T45" fmla="*/ 1652 h 1760"/>
                <a:gd name="T46" fmla="*/ 1439 w 2078"/>
                <a:gd name="T47" fmla="*/ 1681 h 1760"/>
                <a:gd name="T48" fmla="*/ 1377 w 2078"/>
                <a:gd name="T49" fmla="*/ 1652 h 1760"/>
                <a:gd name="T50" fmla="*/ 1361 w 2078"/>
                <a:gd name="T51" fmla="*/ 1584 h 1760"/>
                <a:gd name="T52" fmla="*/ 1401 w 2078"/>
                <a:gd name="T53" fmla="*/ 1530 h 1760"/>
                <a:gd name="T54" fmla="*/ 1470 w 2078"/>
                <a:gd name="T55" fmla="*/ 1526 h 1760"/>
                <a:gd name="T56" fmla="*/ 1515 w 2078"/>
                <a:gd name="T57" fmla="*/ 1577 h 1760"/>
                <a:gd name="T58" fmla="*/ 630 w 2078"/>
                <a:gd name="T59" fmla="*/ 1638 h 1760"/>
                <a:gd name="T60" fmla="*/ 575 w 2078"/>
                <a:gd name="T61" fmla="*/ 1678 h 1760"/>
                <a:gd name="T62" fmla="*/ 508 w 2078"/>
                <a:gd name="T63" fmla="*/ 1662 h 1760"/>
                <a:gd name="T64" fmla="*/ 479 w 2078"/>
                <a:gd name="T65" fmla="*/ 1600 h 1760"/>
                <a:gd name="T66" fmla="*/ 508 w 2078"/>
                <a:gd name="T67" fmla="*/ 1538 h 1760"/>
                <a:gd name="T68" fmla="*/ 575 w 2078"/>
                <a:gd name="T69" fmla="*/ 1522 h 1760"/>
                <a:gd name="T70" fmla="*/ 630 w 2078"/>
                <a:gd name="T71" fmla="*/ 1562 h 1760"/>
                <a:gd name="T72" fmla="*/ 1703 w 2078"/>
                <a:gd name="T73" fmla="*/ 164 h 1760"/>
                <a:gd name="T74" fmla="*/ 1428 w 2078"/>
                <a:gd name="T75" fmla="*/ 379 h 1760"/>
                <a:gd name="T76" fmla="*/ 1353 w 2078"/>
                <a:gd name="T77" fmla="*/ 208 h 1760"/>
                <a:gd name="T78" fmla="*/ 1221 w 2078"/>
                <a:gd name="T79" fmla="*/ 78 h 1760"/>
                <a:gd name="T80" fmla="*/ 1046 w 2078"/>
                <a:gd name="T81" fmla="*/ 8 h 1760"/>
                <a:gd name="T82" fmla="*/ 851 w 2078"/>
                <a:gd name="T83" fmla="*/ 13 h 1760"/>
                <a:gd name="T84" fmla="*/ 680 w 2078"/>
                <a:gd name="T85" fmla="*/ 90 h 1760"/>
                <a:gd name="T86" fmla="*/ 554 w 2078"/>
                <a:gd name="T87" fmla="*/ 224 h 1760"/>
                <a:gd name="T88" fmla="*/ 487 w 2078"/>
                <a:gd name="T89" fmla="*/ 400 h 1760"/>
                <a:gd name="T90" fmla="*/ 6 w 2078"/>
                <a:gd name="T91" fmla="*/ 417 h 1760"/>
                <a:gd name="T92" fmla="*/ 321 w 2078"/>
                <a:gd name="T93" fmla="*/ 1334 h 1760"/>
                <a:gd name="T94" fmla="*/ 1678 w 2078"/>
                <a:gd name="T95" fmla="*/ 1360 h 1760"/>
                <a:gd name="T96" fmla="*/ 457 w 2078"/>
                <a:gd name="T97" fmla="*/ 1477 h 1760"/>
                <a:gd name="T98" fmla="*/ 399 w 2078"/>
                <a:gd name="T99" fmla="*/ 1600 h 1760"/>
                <a:gd name="T100" fmla="*/ 457 w 2078"/>
                <a:gd name="T101" fmla="*/ 1723 h 1760"/>
                <a:gd name="T102" fmla="*/ 591 w 2078"/>
                <a:gd name="T103" fmla="*/ 1757 h 1760"/>
                <a:gd name="T104" fmla="*/ 699 w 2078"/>
                <a:gd name="T105" fmla="*/ 1676 h 1760"/>
                <a:gd name="T106" fmla="*/ 713 w 2078"/>
                <a:gd name="T107" fmla="*/ 1559 h 1760"/>
                <a:gd name="T108" fmla="*/ 1285 w 2078"/>
                <a:gd name="T109" fmla="*/ 1559 h 1760"/>
                <a:gd name="T110" fmla="*/ 1298 w 2078"/>
                <a:gd name="T111" fmla="*/ 1676 h 1760"/>
                <a:gd name="T112" fmla="*/ 1406 w 2078"/>
                <a:gd name="T113" fmla="*/ 1757 h 1760"/>
                <a:gd name="T114" fmla="*/ 1541 w 2078"/>
                <a:gd name="T115" fmla="*/ 1723 h 1760"/>
                <a:gd name="T116" fmla="*/ 1599 w 2078"/>
                <a:gd name="T117" fmla="*/ 1600 h 1760"/>
                <a:gd name="T118" fmla="*/ 1719 w 2078"/>
                <a:gd name="T119" fmla="*/ 1521 h 1760"/>
                <a:gd name="T120" fmla="*/ 1759 w 2078"/>
                <a:gd name="T121" fmla="*/ 1320 h 1760"/>
                <a:gd name="T122" fmla="*/ 2076 w 2078"/>
                <a:gd name="T123" fmla="*/ 215 h 1760"/>
                <a:gd name="T124" fmla="*/ 2047 w 2078"/>
                <a:gd name="T125" fmla="*/ 16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8" h="1760">
                  <a:moveTo>
                    <a:pt x="96" y="481"/>
                  </a:moveTo>
                  <a:lnTo>
                    <a:pt x="479" y="481"/>
                  </a:lnTo>
                  <a:lnTo>
                    <a:pt x="480" y="505"/>
                  </a:lnTo>
                  <a:lnTo>
                    <a:pt x="481" y="529"/>
                  </a:lnTo>
                  <a:lnTo>
                    <a:pt x="484" y="553"/>
                  </a:lnTo>
                  <a:lnTo>
                    <a:pt x="489" y="577"/>
                  </a:lnTo>
                  <a:lnTo>
                    <a:pt x="494" y="600"/>
                  </a:lnTo>
                  <a:lnTo>
                    <a:pt x="501" y="623"/>
                  </a:lnTo>
                  <a:lnTo>
                    <a:pt x="508" y="645"/>
                  </a:lnTo>
                  <a:lnTo>
                    <a:pt x="517" y="666"/>
                  </a:lnTo>
                  <a:lnTo>
                    <a:pt x="527" y="688"/>
                  </a:lnTo>
                  <a:lnTo>
                    <a:pt x="537" y="709"/>
                  </a:lnTo>
                  <a:lnTo>
                    <a:pt x="548" y="729"/>
                  </a:lnTo>
                  <a:lnTo>
                    <a:pt x="562" y="748"/>
                  </a:lnTo>
                  <a:lnTo>
                    <a:pt x="575" y="767"/>
                  </a:lnTo>
                  <a:lnTo>
                    <a:pt x="588" y="785"/>
                  </a:lnTo>
                  <a:lnTo>
                    <a:pt x="604" y="803"/>
                  </a:lnTo>
                  <a:lnTo>
                    <a:pt x="620" y="820"/>
                  </a:lnTo>
                  <a:lnTo>
                    <a:pt x="637" y="835"/>
                  </a:lnTo>
                  <a:lnTo>
                    <a:pt x="653" y="850"/>
                  </a:lnTo>
                  <a:lnTo>
                    <a:pt x="672" y="865"/>
                  </a:lnTo>
                  <a:lnTo>
                    <a:pt x="690" y="878"/>
                  </a:lnTo>
                  <a:lnTo>
                    <a:pt x="710" y="890"/>
                  </a:lnTo>
                  <a:lnTo>
                    <a:pt x="731" y="903"/>
                  </a:lnTo>
                  <a:lnTo>
                    <a:pt x="751" y="913"/>
                  </a:lnTo>
                  <a:lnTo>
                    <a:pt x="772" y="923"/>
                  </a:lnTo>
                  <a:lnTo>
                    <a:pt x="794" y="931"/>
                  </a:lnTo>
                  <a:lnTo>
                    <a:pt x="817" y="938"/>
                  </a:lnTo>
                  <a:lnTo>
                    <a:pt x="839" y="945"/>
                  </a:lnTo>
                  <a:lnTo>
                    <a:pt x="863" y="951"/>
                  </a:lnTo>
                  <a:lnTo>
                    <a:pt x="886" y="955"/>
                  </a:lnTo>
                  <a:lnTo>
                    <a:pt x="910" y="958"/>
                  </a:lnTo>
                  <a:lnTo>
                    <a:pt x="934" y="960"/>
                  </a:lnTo>
                  <a:lnTo>
                    <a:pt x="959" y="960"/>
                  </a:lnTo>
                  <a:lnTo>
                    <a:pt x="983" y="960"/>
                  </a:lnTo>
                  <a:lnTo>
                    <a:pt x="1008" y="958"/>
                  </a:lnTo>
                  <a:lnTo>
                    <a:pt x="1032" y="955"/>
                  </a:lnTo>
                  <a:lnTo>
                    <a:pt x="1055" y="951"/>
                  </a:lnTo>
                  <a:lnTo>
                    <a:pt x="1079" y="945"/>
                  </a:lnTo>
                  <a:lnTo>
                    <a:pt x="1101" y="938"/>
                  </a:lnTo>
                  <a:lnTo>
                    <a:pt x="1123" y="931"/>
                  </a:lnTo>
                  <a:lnTo>
                    <a:pt x="1146" y="923"/>
                  </a:lnTo>
                  <a:lnTo>
                    <a:pt x="1167" y="913"/>
                  </a:lnTo>
                  <a:lnTo>
                    <a:pt x="1187" y="903"/>
                  </a:lnTo>
                  <a:lnTo>
                    <a:pt x="1207" y="890"/>
                  </a:lnTo>
                  <a:lnTo>
                    <a:pt x="1227" y="878"/>
                  </a:lnTo>
                  <a:lnTo>
                    <a:pt x="1245" y="865"/>
                  </a:lnTo>
                  <a:lnTo>
                    <a:pt x="1264" y="850"/>
                  </a:lnTo>
                  <a:lnTo>
                    <a:pt x="1281" y="835"/>
                  </a:lnTo>
                  <a:lnTo>
                    <a:pt x="1298" y="820"/>
                  </a:lnTo>
                  <a:lnTo>
                    <a:pt x="1314" y="803"/>
                  </a:lnTo>
                  <a:lnTo>
                    <a:pt x="1329" y="785"/>
                  </a:lnTo>
                  <a:lnTo>
                    <a:pt x="1343" y="767"/>
                  </a:lnTo>
                  <a:lnTo>
                    <a:pt x="1356" y="748"/>
                  </a:lnTo>
                  <a:lnTo>
                    <a:pt x="1370" y="729"/>
                  </a:lnTo>
                  <a:lnTo>
                    <a:pt x="1381" y="709"/>
                  </a:lnTo>
                  <a:lnTo>
                    <a:pt x="1391" y="688"/>
                  </a:lnTo>
                  <a:lnTo>
                    <a:pt x="1401" y="666"/>
                  </a:lnTo>
                  <a:lnTo>
                    <a:pt x="1410" y="645"/>
                  </a:lnTo>
                  <a:lnTo>
                    <a:pt x="1417" y="623"/>
                  </a:lnTo>
                  <a:lnTo>
                    <a:pt x="1423" y="600"/>
                  </a:lnTo>
                  <a:lnTo>
                    <a:pt x="1429" y="577"/>
                  </a:lnTo>
                  <a:lnTo>
                    <a:pt x="1433" y="553"/>
                  </a:lnTo>
                  <a:lnTo>
                    <a:pt x="1437" y="529"/>
                  </a:lnTo>
                  <a:lnTo>
                    <a:pt x="1438" y="505"/>
                  </a:lnTo>
                  <a:lnTo>
                    <a:pt x="1439" y="481"/>
                  </a:lnTo>
                  <a:lnTo>
                    <a:pt x="1678" y="481"/>
                  </a:lnTo>
                  <a:lnTo>
                    <a:pt x="1678" y="1280"/>
                  </a:lnTo>
                  <a:lnTo>
                    <a:pt x="387" y="1280"/>
                  </a:lnTo>
                  <a:lnTo>
                    <a:pt x="96" y="481"/>
                  </a:lnTo>
                  <a:close/>
                  <a:moveTo>
                    <a:pt x="959" y="80"/>
                  </a:moveTo>
                  <a:lnTo>
                    <a:pt x="979" y="81"/>
                  </a:lnTo>
                  <a:lnTo>
                    <a:pt x="999" y="82"/>
                  </a:lnTo>
                  <a:lnTo>
                    <a:pt x="1019" y="86"/>
                  </a:lnTo>
                  <a:lnTo>
                    <a:pt x="1039" y="89"/>
                  </a:lnTo>
                  <a:lnTo>
                    <a:pt x="1058" y="93"/>
                  </a:lnTo>
                  <a:lnTo>
                    <a:pt x="1077" y="98"/>
                  </a:lnTo>
                  <a:lnTo>
                    <a:pt x="1096" y="105"/>
                  </a:lnTo>
                  <a:lnTo>
                    <a:pt x="1114" y="112"/>
                  </a:lnTo>
                  <a:lnTo>
                    <a:pt x="1132" y="120"/>
                  </a:lnTo>
                  <a:lnTo>
                    <a:pt x="1149" y="129"/>
                  </a:lnTo>
                  <a:lnTo>
                    <a:pt x="1166" y="138"/>
                  </a:lnTo>
                  <a:lnTo>
                    <a:pt x="1183" y="148"/>
                  </a:lnTo>
                  <a:lnTo>
                    <a:pt x="1198" y="159"/>
                  </a:lnTo>
                  <a:lnTo>
                    <a:pt x="1213" y="172"/>
                  </a:lnTo>
                  <a:lnTo>
                    <a:pt x="1227" y="184"/>
                  </a:lnTo>
                  <a:lnTo>
                    <a:pt x="1242" y="197"/>
                  </a:lnTo>
                  <a:lnTo>
                    <a:pt x="1254" y="212"/>
                  </a:lnTo>
                  <a:lnTo>
                    <a:pt x="1268" y="227"/>
                  </a:lnTo>
                  <a:lnTo>
                    <a:pt x="1279" y="241"/>
                  </a:lnTo>
                  <a:lnTo>
                    <a:pt x="1290" y="257"/>
                  </a:lnTo>
                  <a:lnTo>
                    <a:pt x="1301" y="274"/>
                  </a:lnTo>
                  <a:lnTo>
                    <a:pt x="1310" y="290"/>
                  </a:lnTo>
                  <a:lnTo>
                    <a:pt x="1319" y="307"/>
                  </a:lnTo>
                  <a:lnTo>
                    <a:pt x="1327" y="325"/>
                  </a:lnTo>
                  <a:lnTo>
                    <a:pt x="1335" y="343"/>
                  </a:lnTo>
                  <a:lnTo>
                    <a:pt x="1340" y="362"/>
                  </a:lnTo>
                  <a:lnTo>
                    <a:pt x="1346" y="381"/>
                  </a:lnTo>
                  <a:lnTo>
                    <a:pt x="1351" y="400"/>
                  </a:lnTo>
                  <a:lnTo>
                    <a:pt x="1354" y="419"/>
                  </a:lnTo>
                  <a:lnTo>
                    <a:pt x="1356" y="439"/>
                  </a:lnTo>
                  <a:lnTo>
                    <a:pt x="1358" y="459"/>
                  </a:lnTo>
                  <a:lnTo>
                    <a:pt x="1358" y="481"/>
                  </a:lnTo>
                  <a:lnTo>
                    <a:pt x="1358" y="501"/>
                  </a:lnTo>
                  <a:lnTo>
                    <a:pt x="1356" y="521"/>
                  </a:lnTo>
                  <a:lnTo>
                    <a:pt x="1354" y="541"/>
                  </a:lnTo>
                  <a:lnTo>
                    <a:pt x="1351" y="561"/>
                  </a:lnTo>
                  <a:lnTo>
                    <a:pt x="1346" y="580"/>
                  </a:lnTo>
                  <a:lnTo>
                    <a:pt x="1340" y="599"/>
                  </a:lnTo>
                  <a:lnTo>
                    <a:pt x="1335" y="617"/>
                  </a:lnTo>
                  <a:lnTo>
                    <a:pt x="1327" y="636"/>
                  </a:lnTo>
                  <a:lnTo>
                    <a:pt x="1319" y="653"/>
                  </a:lnTo>
                  <a:lnTo>
                    <a:pt x="1310" y="671"/>
                  </a:lnTo>
                  <a:lnTo>
                    <a:pt x="1301" y="688"/>
                  </a:lnTo>
                  <a:lnTo>
                    <a:pt x="1290" y="703"/>
                  </a:lnTo>
                  <a:lnTo>
                    <a:pt x="1279" y="719"/>
                  </a:lnTo>
                  <a:lnTo>
                    <a:pt x="1268" y="735"/>
                  </a:lnTo>
                  <a:lnTo>
                    <a:pt x="1254" y="749"/>
                  </a:lnTo>
                  <a:lnTo>
                    <a:pt x="1242" y="763"/>
                  </a:lnTo>
                  <a:lnTo>
                    <a:pt x="1227" y="776"/>
                  </a:lnTo>
                  <a:lnTo>
                    <a:pt x="1213" y="788"/>
                  </a:lnTo>
                  <a:lnTo>
                    <a:pt x="1198" y="801"/>
                  </a:lnTo>
                  <a:lnTo>
                    <a:pt x="1183" y="812"/>
                  </a:lnTo>
                  <a:lnTo>
                    <a:pt x="1166" y="822"/>
                  </a:lnTo>
                  <a:lnTo>
                    <a:pt x="1149" y="832"/>
                  </a:lnTo>
                  <a:lnTo>
                    <a:pt x="1132" y="841"/>
                  </a:lnTo>
                  <a:lnTo>
                    <a:pt x="1114" y="849"/>
                  </a:lnTo>
                  <a:lnTo>
                    <a:pt x="1096" y="856"/>
                  </a:lnTo>
                  <a:lnTo>
                    <a:pt x="1077" y="862"/>
                  </a:lnTo>
                  <a:lnTo>
                    <a:pt x="1058" y="868"/>
                  </a:lnTo>
                  <a:lnTo>
                    <a:pt x="1039" y="872"/>
                  </a:lnTo>
                  <a:lnTo>
                    <a:pt x="1019" y="876"/>
                  </a:lnTo>
                  <a:lnTo>
                    <a:pt x="999" y="878"/>
                  </a:lnTo>
                  <a:lnTo>
                    <a:pt x="979" y="880"/>
                  </a:lnTo>
                  <a:lnTo>
                    <a:pt x="959" y="880"/>
                  </a:lnTo>
                  <a:lnTo>
                    <a:pt x="939" y="880"/>
                  </a:lnTo>
                  <a:lnTo>
                    <a:pt x="919" y="878"/>
                  </a:lnTo>
                  <a:lnTo>
                    <a:pt x="898" y="876"/>
                  </a:lnTo>
                  <a:lnTo>
                    <a:pt x="878" y="872"/>
                  </a:lnTo>
                  <a:lnTo>
                    <a:pt x="859" y="868"/>
                  </a:lnTo>
                  <a:lnTo>
                    <a:pt x="840" y="862"/>
                  </a:lnTo>
                  <a:lnTo>
                    <a:pt x="821" y="856"/>
                  </a:lnTo>
                  <a:lnTo>
                    <a:pt x="803" y="849"/>
                  </a:lnTo>
                  <a:lnTo>
                    <a:pt x="785" y="841"/>
                  </a:lnTo>
                  <a:lnTo>
                    <a:pt x="769" y="832"/>
                  </a:lnTo>
                  <a:lnTo>
                    <a:pt x="752" y="822"/>
                  </a:lnTo>
                  <a:lnTo>
                    <a:pt x="735" y="812"/>
                  </a:lnTo>
                  <a:lnTo>
                    <a:pt x="719" y="801"/>
                  </a:lnTo>
                  <a:lnTo>
                    <a:pt x="705" y="788"/>
                  </a:lnTo>
                  <a:lnTo>
                    <a:pt x="690" y="776"/>
                  </a:lnTo>
                  <a:lnTo>
                    <a:pt x="676" y="763"/>
                  </a:lnTo>
                  <a:lnTo>
                    <a:pt x="663" y="749"/>
                  </a:lnTo>
                  <a:lnTo>
                    <a:pt x="650" y="735"/>
                  </a:lnTo>
                  <a:lnTo>
                    <a:pt x="639" y="719"/>
                  </a:lnTo>
                  <a:lnTo>
                    <a:pt x="628" y="703"/>
                  </a:lnTo>
                  <a:lnTo>
                    <a:pt x="618" y="688"/>
                  </a:lnTo>
                  <a:lnTo>
                    <a:pt x="607" y="671"/>
                  </a:lnTo>
                  <a:lnTo>
                    <a:pt x="598" y="653"/>
                  </a:lnTo>
                  <a:lnTo>
                    <a:pt x="591" y="636"/>
                  </a:lnTo>
                  <a:lnTo>
                    <a:pt x="583" y="617"/>
                  </a:lnTo>
                  <a:lnTo>
                    <a:pt x="577" y="599"/>
                  </a:lnTo>
                  <a:lnTo>
                    <a:pt x="572" y="580"/>
                  </a:lnTo>
                  <a:lnTo>
                    <a:pt x="567" y="561"/>
                  </a:lnTo>
                  <a:lnTo>
                    <a:pt x="564" y="541"/>
                  </a:lnTo>
                  <a:lnTo>
                    <a:pt x="562" y="521"/>
                  </a:lnTo>
                  <a:lnTo>
                    <a:pt x="559" y="501"/>
                  </a:lnTo>
                  <a:lnTo>
                    <a:pt x="559" y="481"/>
                  </a:lnTo>
                  <a:lnTo>
                    <a:pt x="559" y="459"/>
                  </a:lnTo>
                  <a:lnTo>
                    <a:pt x="562" y="439"/>
                  </a:lnTo>
                  <a:lnTo>
                    <a:pt x="564" y="419"/>
                  </a:lnTo>
                  <a:lnTo>
                    <a:pt x="567" y="400"/>
                  </a:lnTo>
                  <a:lnTo>
                    <a:pt x="572" y="381"/>
                  </a:lnTo>
                  <a:lnTo>
                    <a:pt x="577" y="362"/>
                  </a:lnTo>
                  <a:lnTo>
                    <a:pt x="583" y="343"/>
                  </a:lnTo>
                  <a:lnTo>
                    <a:pt x="591" y="325"/>
                  </a:lnTo>
                  <a:lnTo>
                    <a:pt x="598" y="307"/>
                  </a:lnTo>
                  <a:lnTo>
                    <a:pt x="607" y="290"/>
                  </a:lnTo>
                  <a:lnTo>
                    <a:pt x="618" y="274"/>
                  </a:lnTo>
                  <a:lnTo>
                    <a:pt x="628" y="257"/>
                  </a:lnTo>
                  <a:lnTo>
                    <a:pt x="639" y="241"/>
                  </a:lnTo>
                  <a:lnTo>
                    <a:pt x="650" y="227"/>
                  </a:lnTo>
                  <a:lnTo>
                    <a:pt x="663" y="212"/>
                  </a:lnTo>
                  <a:lnTo>
                    <a:pt x="676" y="197"/>
                  </a:lnTo>
                  <a:lnTo>
                    <a:pt x="690" y="184"/>
                  </a:lnTo>
                  <a:lnTo>
                    <a:pt x="705" y="172"/>
                  </a:lnTo>
                  <a:lnTo>
                    <a:pt x="719" y="159"/>
                  </a:lnTo>
                  <a:lnTo>
                    <a:pt x="735" y="148"/>
                  </a:lnTo>
                  <a:lnTo>
                    <a:pt x="752" y="138"/>
                  </a:lnTo>
                  <a:lnTo>
                    <a:pt x="769" y="129"/>
                  </a:lnTo>
                  <a:lnTo>
                    <a:pt x="785" y="120"/>
                  </a:lnTo>
                  <a:lnTo>
                    <a:pt x="803" y="112"/>
                  </a:lnTo>
                  <a:lnTo>
                    <a:pt x="821" y="105"/>
                  </a:lnTo>
                  <a:lnTo>
                    <a:pt x="840" y="98"/>
                  </a:lnTo>
                  <a:lnTo>
                    <a:pt x="859" y="93"/>
                  </a:lnTo>
                  <a:lnTo>
                    <a:pt x="878" y="89"/>
                  </a:lnTo>
                  <a:lnTo>
                    <a:pt x="898" y="86"/>
                  </a:lnTo>
                  <a:lnTo>
                    <a:pt x="919" y="82"/>
                  </a:lnTo>
                  <a:lnTo>
                    <a:pt x="939" y="81"/>
                  </a:lnTo>
                  <a:lnTo>
                    <a:pt x="959" y="80"/>
                  </a:lnTo>
                  <a:close/>
                  <a:moveTo>
                    <a:pt x="1518" y="1600"/>
                  </a:moveTo>
                  <a:lnTo>
                    <a:pt x="1518" y="1608"/>
                  </a:lnTo>
                  <a:lnTo>
                    <a:pt x="1517" y="1617"/>
                  </a:lnTo>
                  <a:lnTo>
                    <a:pt x="1515" y="1624"/>
                  </a:lnTo>
                  <a:lnTo>
                    <a:pt x="1513" y="1631"/>
                  </a:lnTo>
                  <a:lnTo>
                    <a:pt x="1509" y="1638"/>
                  </a:lnTo>
                  <a:lnTo>
                    <a:pt x="1505" y="1645"/>
                  </a:lnTo>
                  <a:lnTo>
                    <a:pt x="1500" y="1652"/>
                  </a:lnTo>
                  <a:lnTo>
                    <a:pt x="1495" y="1657"/>
                  </a:lnTo>
                  <a:lnTo>
                    <a:pt x="1489" y="1662"/>
                  </a:lnTo>
                  <a:lnTo>
                    <a:pt x="1484" y="1666"/>
                  </a:lnTo>
                  <a:lnTo>
                    <a:pt x="1477" y="1671"/>
                  </a:lnTo>
                  <a:lnTo>
                    <a:pt x="1470" y="1674"/>
                  </a:lnTo>
                  <a:lnTo>
                    <a:pt x="1462" y="1676"/>
                  </a:lnTo>
                  <a:lnTo>
                    <a:pt x="1455" y="1678"/>
                  </a:lnTo>
                  <a:lnTo>
                    <a:pt x="1447" y="1679"/>
                  </a:lnTo>
                  <a:lnTo>
                    <a:pt x="1439" y="1681"/>
                  </a:lnTo>
                  <a:lnTo>
                    <a:pt x="1430" y="1679"/>
                  </a:lnTo>
                  <a:lnTo>
                    <a:pt x="1422" y="1678"/>
                  </a:lnTo>
                  <a:lnTo>
                    <a:pt x="1415" y="1676"/>
                  </a:lnTo>
                  <a:lnTo>
                    <a:pt x="1408" y="1674"/>
                  </a:lnTo>
                  <a:lnTo>
                    <a:pt x="1401" y="1671"/>
                  </a:lnTo>
                  <a:lnTo>
                    <a:pt x="1394" y="1666"/>
                  </a:lnTo>
                  <a:lnTo>
                    <a:pt x="1387" y="1662"/>
                  </a:lnTo>
                  <a:lnTo>
                    <a:pt x="1382" y="1657"/>
                  </a:lnTo>
                  <a:lnTo>
                    <a:pt x="1377" y="1652"/>
                  </a:lnTo>
                  <a:lnTo>
                    <a:pt x="1373" y="1645"/>
                  </a:lnTo>
                  <a:lnTo>
                    <a:pt x="1368" y="1638"/>
                  </a:lnTo>
                  <a:lnTo>
                    <a:pt x="1365" y="1631"/>
                  </a:lnTo>
                  <a:lnTo>
                    <a:pt x="1363" y="1624"/>
                  </a:lnTo>
                  <a:lnTo>
                    <a:pt x="1361" y="1617"/>
                  </a:lnTo>
                  <a:lnTo>
                    <a:pt x="1359" y="1608"/>
                  </a:lnTo>
                  <a:lnTo>
                    <a:pt x="1358" y="1600"/>
                  </a:lnTo>
                  <a:lnTo>
                    <a:pt x="1359" y="1592"/>
                  </a:lnTo>
                  <a:lnTo>
                    <a:pt x="1361" y="1584"/>
                  </a:lnTo>
                  <a:lnTo>
                    <a:pt x="1363" y="1577"/>
                  </a:lnTo>
                  <a:lnTo>
                    <a:pt x="1365" y="1569"/>
                  </a:lnTo>
                  <a:lnTo>
                    <a:pt x="1368" y="1562"/>
                  </a:lnTo>
                  <a:lnTo>
                    <a:pt x="1373" y="1555"/>
                  </a:lnTo>
                  <a:lnTo>
                    <a:pt x="1377" y="1550"/>
                  </a:lnTo>
                  <a:lnTo>
                    <a:pt x="1382" y="1544"/>
                  </a:lnTo>
                  <a:lnTo>
                    <a:pt x="1387" y="1538"/>
                  </a:lnTo>
                  <a:lnTo>
                    <a:pt x="1394" y="1534"/>
                  </a:lnTo>
                  <a:lnTo>
                    <a:pt x="1401" y="1530"/>
                  </a:lnTo>
                  <a:lnTo>
                    <a:pt x="1408" y="1526"/>
                  </a:lnTo>
                  <a:lnTo>
                    <a:pt x="1415" y="1524"/>
                  </a:lnTo>
                  <a:lnTo>
                    <a:pt x="1422" y="1522"/>
                  </a:lnTo>
                  <a:lnTo>
                    <a:pt x="1430" y="1521"/>
                  </a:lnTo>
                  <a:lnTo>
                    <a:pt x="1439" y="1521"/>
                  </a:lnTo>
                  <a:lnTo>
                    <a:pt x="1447" y="1521"/>
                  </a:lnTo>
                  <a:lnTo>
                    <a:pt x="1455" y="1522"/>
                  </a:lnTo>
                  <a:lnTo>
                    <a:pt x="1462" y="1524"/>
                  </a:lnTo>
                  <a:lnTo>
                    <a:pt x="1470" y="1526"/>
                  </a:lnTo>
                  <a:lnTo>
                    <a:pt x="1477" y="1530"/>
                  </a:lnTo>
                  <a:lnTo>
                    <a:pt x="1484" y="1534"/>
                  </a:lnTo>
                  <a:lnTo>
                    <a:pt x="1489" y="1538"/>
                  </a:lnTo>
                  <a:lnTo>
                    <a:pt x="1495" y="1544"/>
                  </a:lnTo>
                  <a:lnTo>
                    <a:pt x="1500" y="1550"/>
                  </a:lnTo>
                  <a:lnTo>
                    <a:pt x="1505" y="1555"/>
                  </a:lnTo>
                  <a:lnTo>
                    <a:pt x="1509" y="1562"/>
                  </a:lnTo>
                  <a:lnTo>
                    <a:pt x="1513" y="1569"/>
                  </a:lnTo>
                  <a:lnTo>
                    <a:pt x="1515" y="1577"/>
                  </a:lnTo>
                  <a:lnTo>
                    <a:pt x="1517" y="1584"/>
                  </a:lnTo>
                  <a:lnTo>
                    <a:pt x="1518" y="1592"/>
                  </a:lnTo>
                  <a:lnTo>
                    <a:pt x="1518" y="1600"/>
                  </a:lnTo>
                  <a:close/>
                  <a:moveTo>
                    <a:pt x="639" y="1600"/>
                  </a:moveTo>
                  <a:lnTo>
                    <a:pt x="639" y="1608"/>
                  </a:lnTo>
                  <a:lnTo>
                    <a:pt x="638" y="1617"/>
                  </a:lnTo>
                  <a:lnTo>
                    <a:pt x="635" y="1624"/>
                  </a:lnTo>
                  <a:lnTo>
                    <a:pt x="633" y="1631"/>
                  </a:lnTo>
                  <a:lnTo>
                    <a:pt x="630" y="1638"/>
                  </a:lnTo>
                  <a:lnTo>
                    <a:pt x="625" y="1645"/>
                  </a:lnTo>
                  <a:lnTo>
                    <a:pt x="621" y="1652"/>
                  </a:lnTo>
                  <a:lnTo>
                    <a:pt x="615" y="1657"/>
                  </a:lnTo>
                  <a:lnTo>
                    <a:pt x="610" y="1662"/>
                  </a:lnTo>
                  <a:lnTo>
                    <a:pt x="604" y="1666"/>
                  </a:lnTo>
                  <a:lnTo>
                    <a:pt x="597" y="1671"/>
                  </a:lnTo>
                  <a:lnTo>
                    <a:pt x="591" y="1674"/>
                  </a:lnTo>
                  <a:lnTo>
                    <a:pt x="583" y="1676"/>
                  </a:lnTo>
                  <a:lnTo>
                    <a:pt x="575" y="1678"/>
                  </a:lnTo>
                  <a:lnTo>
                    <a:pt x="567" y="1679"/>
                  </a:lnTo>
                  <a:lnTo>
                    <a:pt x="559" y="1681"/>
                  </a:lnTo>
                  <a:lnTo>
                    <a:pt x="550" y="1679"/>
                  </a:lnTo>
                  <a:lnTo>
                    <a:pt x="543" y="1678"/>
                  </a:lnTo>
                  <a:lnTo>
                    <a:pt x="535" y="1676"/>
                  </a:lnTo>
                  <a:lnTo>
                    <a:pt x="528" y="1674"/>
                  </a:lnTo>
                  <a:lnTo>
                    <a:pt x="521" y="1671"/>
                  </a:lnTo>
                  <a:lnTo>
                    <a:pt x="515" y="1666"/>
                  </a:lnTo>
                  <a:lnTo>
                    <a:pt x="508" y="1662"/>
                  </a:lnTo>
                  <a:lnTo>
                    <a:pt x="502" y="1657"/>
                  </a:lnTo>
                  <a:lnTo>
                    <a:pt x="498" y="1652"/>
                  </a:lnTo>
                  <a:lnTo>
                    <a:pt x="492" y="1645"/>
                  </a:lnTo>
                  <a:lnTo>
                    <a:pt x="489" y="1638"/>
                  </a:lnTo>
                  <a:lnTo>
                    <a:pt x="485" y="1631"/>
                  </a:lnTo>
                  <a:lnTo>
                    <a:pt x="482" y="1624"/>
                  </a:lnTo>
                  <a:lnTo>
                    <a:pt x="481" y="1617"/>
                  </a:lnTo>
                  <a:lnTo>
                    <a:pt x="480" y="1608"/>
                  </a:lnTo>
                  <a:lnTo>
                    <a:pt x="479" y="1600"/>
                  </a:lnTo>
                  <a:lnTo>
                    <a:pt x="480" y="1592"/>
                  </a:lnTo>
                  <a:lnTo>
                    <a:pt x="481" y="1584"/>
                  </a:lnTo>
                  <a:lnTo>
                    <a:pt x="482" y="1577"/>
                  </a:lnTo>
                  <a:lnTo>
                    <a:pt x="485" y="1569"/>
                  </a:lnTo>
                  <a:lnTo>
                    <a:pt x="489" y="1562"/>
                  </a:lnTo>
                  <a:lnTo>
                    <a:pt x="492" y="1555"/>
                  </a:lnTo>
                  <a:lnTo>
                    <a:pt x="498" y="1550"/>
                  </a:lnTo>
                  <a:lnTo>
                    <a:pt x="502" y="1544"/>
                  </a:lnTo>
                  <a:lnTo>
                    <a:pt x="508" y="1538"/>
                  </a:lnTo>
                  <a:lnTo>
                    <a:pt x="515" y="1534"/>
                  </a:lnTo>
                  <a:lnTo>
                    <a:pt x="521" y="1530"/>
                  </a:lnTo>
                  <a:lnTo>
                    <a:pt x="528" y="1526"/>
                  </a:lnTo>
                  <a:lnTo>
                    <a:pt x="535" y="1524"/>
                  </a:lnTo>
                  <a:lnTo>
                    <a:pt x="543" y="1522"/>
                  </a:lnTo>
                  <a:lnTo>
                    <a:pt x="550" y="1521"/>
                  </a:lnTo>
                  <a:lnTo>
                    <a:pt x="559" y="1521"/>
                  </a:lnTo>
                  <a:lnTo>
                    <a:pt x="567" y="1521"/>
                  </a:lnTo>
                  <a:lnTo>
                    <a:pt x="575" y="1522"/>
                  </a:lnTo>
                  <a:lnTo>
                    <a:pt x="583" y="1524"/>
                  </a:lnTo>
                  <a:lnTo>
                    <a:pt x="591" y="1526"/>
                  </a:lnTo>
                  <a:lnTo>
                    <a:pt x="597" y="1530"/>
                  </a:lnTo>
                  <a:lnTo>
                    <a:pt x="604" y="1534"/>
                  </a:lnTo>
                  <a:lnTo>
                    <a:pt x="610" y="1538"/>
                  </a:lnTo>
                  <a:lnTo>
                    <a:pt x="615" y="1544"/>
                  </a:lnTo>
                  <a:lnTo>
                    <a:pt x="621" y="1550"/>
                  </a:lnTo>
                  <a:lnTo>
                    <a:pt x="625" y="1555"/>
                  </a:lnTo>
                  <a:lnTo>
                    <a:pt x="630" y="1562"/>
                  </a:lnTo>
                  <a:lnTo>
                    <a:pt x="633" y="1569"/>
                  </a:lnTo>
                  <a:lnTo>
                    <a:pt x="635" y="1577"/>
                  </a:lnTo>
                  <a:lnTo>
                    <a:pt x="638" y="1584"/>
                  </a:lnTo>
                  <a:lnTo>
                    <a:pt x="639" y="1592"/>
                  </a:lnTo>
                  <a:lnTo>
                    <a:pt x="639" y="1600"/>
                  </a:lnTo>
                  <a:close/>
                  <a:moveTo>
                    <a:pt x="2039" y="161"/>
                  </a:moveTo>
                  <a:lnTo>
                    <a:pt x="1719" y="161"/>
                  </a:lnTo>
                  <a:lnTo>
                    <a:pt x="1711" y="162"/>
                  </a:lnTo>
                  <a:lnTo>
                    <a:pt x="1703" y="164"/>
                  </a:lnTo>
                  <a:lnTo>
                    <a:pt x="1696" y="167"/>
                  </a:lnTo>
                  <a:lnTo>
                    <a:pt x="1691" y="172"/>
                  </a:lnTo>
                  <a:lnTo>
                    <a:pt x="1685" y="178"/>
                  </a:lnTo>
                  <a:lnTo>
                    <a:pt x="1682" y="185"/>
                  </a:lnTo>
                  <a:lnTo>
                    <a:pt x="1680" y="192"/>
                  </a:lnTo>
                  <a:lnTo>
                    <a:pt x="1678" y="201"/>
                  </a:lnTo>
                  <a:lnTo>
                    <a:pt x="1678" y="400"/>
                  </a:lnTo>
                  <a:lnTo>
                    <a:pt x="1431" y="400"/>
                  </a:lnTo>
                  <a:lnTo>
                    <a:pt x="1428" y="379"/>
                  </a:lnTo>
                  <a:lnTo>
                    <a:pt x="1422" y="359"/>
                  </a:lnTo>
                  <a:lnTo>
                    <a:pt x="1417" y="338"/>
                  </a:lnTo>
                  <a:lnTo>
                    <a:pt x="1410" y="318"/>
                  </a:lnTo>
                  <a:lnTo>
                    <a:pt x="1402" y="298"/>
                  </a:lnTo>
                  <a:lnTo>
                    <a:pt x="1394" y="279"/>
                  </a:lnTo>
                  <a:lnTo>
                    <a:pt x="1385" y="260"/>
                  </a:lnTo>
                  <a:lnTo>
                    <a:pt x="1375" y="242"/>
                  </a:lnTo>
                  <a:lnTo>
                    <a:pt x="1364" y="224"/>
                  </a:lnTo>
                  <a:lnTo>
                    <a:pt x="1353" y="208"/>
                  </a:lnTo>
                  <a:lnTo>
                    <a:pt x="1340" y="191"/>
                  </a:lnTo>
                  <a:lnTo>
                    <a:pt x="1328" y="174"/>
                  </a:lnTo>
                  <a:lnTo>
                    <a:pt x="1314" y="158"/>
                  </a:lnTo>
                  <a:lnTo>
                    <a:pt x="1300" y="144"/>
                  </a:lnTo>
                  <a:lnTo>
                    <a:pt x="1286" y="129"/>
                  </a:lnTo>
                  <a:lnTo>
                    <a:pt x="1270" y="116"/>
                  </a:lnTo>
                  <a:lnTo>
                    <a:pt x="1254" y="102"/>
                  </a:lnTo>
                  <a:lnTo>
                    <a:pt x="1238" y="90"/>
                  </a:lnTo>
                  <a:lnTo>
                    <a:pt x="1221" y="78"/>
                  </a:lnTo>
                  <a:lnTo>
                    <a:pt x="1203" y="68"/>
                  </a:lnTo>
                  <a:lnTo>
                    <a:pt x="1185" y="56"/>
                  </a:lnTo>
                  <a:lnTo>
                    <a:pt x="1166" y="47"/>
                  </a:lnTo>
                  <a:lnTo>
                    <a:pt x="1147" y="38"/>
                  </a:lnTo>
                  <a:lnTo>
                    <a:pt x="1128" y="31"/>
                  </a:lnTo>
                  <a:lnTo>
                    <a:pt x="1108" y="24"/>
                  </a:lnTo>
                  <a:lnTo>
                    <a:pt x="1088" y="18"/>
                  </a:lnTo>
                  <a:lnTo>
                    <a:pt x="1066" y="13"/>
                  </a:lnTo>
                  <a:lnTo>
                    <a:pt x="1046" y="8"/>
                  </a:lnTo>
                  <a:lnTo>
                    <a:pt x="1025" y="5"/>
                  </a:lnTo>
                  <a:lnTo>
                    <a:pt x="1002" y="3"/>
                  </a:lnTo>
                  <a:lnTo>
                    <a:pt x="981" y="0"/>
                  </a:lnTo>
                  <a:lnTo>
                    <a:pt x="959" y="0"/>
                  </a:lnTo>
                  <a:lnTo>
                    <a:pt x="936" y="0"/>
                  </a:lnTo>
                  <a:lnTo>
                    <a:pt x="915" y="3"/>
                  </a:lnTo>
                  <a:lnTo>
                    <a:pt x="893" y="5"/>
                  </a:lnTo>
                  <a:lnTo>
                    <a:pt x="872" y="8"/>
                  </a:lnTo>
                  <a:lnTo>
                    <a:pt x="851" y="13"/>
                  </a:lnTo>
                  <a:lnTo>
                    <a:pt x="830" y="18"/>
                  </a:lnTo>
                  <a:lnTo>
                    <a:pt x="810" y="24"/>
                  </a:lnTo>
                  <a:lnTo>
                    <a:pt x="790" y="31"/>
                  </a:lnTo>
                  <a:lnTo>
                    <a:pt x="771" y="38"/>
                  </a:lnTo>
                  <a:lnTo>
                    <a:pt x="752" y="47"/>
                  </a:lnTo>
                  <a:lnTo>
                    <a:pt x="733" y="56"/>
                  </a:lnTo>
                  <a:lnTo>
                    <a:pt x="715" y="68"/>
                  </a:lnTo>
                  <a:lnTo>
                    <a:pt x="697" y="78"/>
                  </a:lnTo>
                  <a:lnTo>
                    <a:pt x="680" y="90"/>
                  </a:lnTo>
                  <a:lnTo>
                    <a:pt x="663" y="102"/>
                  </a:lnTo>
                  <a:lnTo>
                    <a:pt x="648" y="116"/>
                  </a:lnTo>
                  <a:lnTo>
                    <a:pt x="632" y="129"/>
                  </a:lnTo>
                  <a:lnTo>
                    <a:pt x="618" y="144"/>
                  </a:lnTo>
                  <a:lnTo>
                    <a:pt x="604" y="158"/>
                  </a:lnTo>
                  <a:lnTo>
                    <a:pt x="590" y="174"/>
                  </a:lnTo>
                  <a:lnTo>
                    <a:pt x="577" y="191"/>
                  </a:lnTo>
                  <a:lnTo>
                    <a:pt x="565" y="208"/>
                  </a:lnTo>
                  <a:lnTo>
                    <a:pt x="554" y="224"/>
                  </a:lnTo>
                  <a:lnTo>
                    <a:pt x="543" y="242"/>
                  </a:lnTo>
                  <a:lnTo>
                    <a:pt x="532" y="260"/>
                  </a:lnTo>
                  <a:lnTo>
                    <a:pt x="524" y="279"/>
                  </a:lnTo>
                  <a:lnTo>
                    <a:pt x="516" y="298"/>
                  </a:lnTo>
                  <a:lnTo>
                    <a:pt x="508" y="318"/>
                  </a:lnTo>
                  <a:lnTo>
                    <a:pt x="501" y="338"/>
                  </a:lnTo>
                  <a:lnTo>
                    <a:pt x="496" y="359"/>
                  </a:lnTo>
                  <a:lnTo>
                    <a:pt x="490" y="379"/>
                  </a:lnTo>
                  <a:lnTo>
                    <a:pt x="487" y="400"/>
                  </a:lnTo>
                  <a:lnTo>
                    <a:pt x="39" y="400"/>
                  </a:lnTo>
                  <a:lnTo>
                    <a:pt x="34" y="400"/>
                  </a:lnTo>
                  <a:lnTo>
                    <a:pt x="30" y="401"/>
                  </a:lnTo>
                  <a:lnTo>
                    <a:pt x="26" y="403"/>
                  </a:lnTo>
                  <a:lnTo>
                    <a:pt x="21" y="405"/>
                  </a:lnTo>
                  <a:lnTo>
                    <a:pt x="17" y="407"/>
                  </a:lnTo>
                  <a:lnTo>
                    <a:pt x="13" y="410"/>
                  </a:lnTo>
                  <a:lnTo>
                    <a:pt x="10" y="413"/>
                  </a:lnTo>
                  <a:lnTo>
                    <a:pt x="6" y="417"/>
                  </a:lnTo>
                  <a:lnTo>
                    <a:pt x="4" y="421"/>
                  </a:lnTo>
                  <a:lnTo>
                    <a:pt x="2" y="426"/>
                  </a:lnTo>
                  <a:lnTo>
                    <a:pt x="1" y="430"/>
                  </a:lnTo>
                  <a:lnTo>
                    <a:pt x="0" y="435"/>
                  </a:lnTo>
                  <a:lnTo>
                    <a:pt x="0" y="440"/>
                  </a:lnTo>
                  <a:lnTo>
                    <a:pt x="0" y="445"/>
                  </a:lnTo>
                  <a:lnTo>
                    <a:pt x="0" y="449"/>
                  </a:lnTo>
                  <a:lnTo>
                    <a:pt x="2" y="454"/>
                  </a:lnTo>
                  <a:lnTo>
                    <a:pt x="321" y="1334"/>
                  </a:lnTo>
                  <a:lnTo>
                    <a:pt x="324" y="1339"/>
                  </a:lnTo>
                  <a:lnTo>
                    <a:pt x="328" y="1345"/>
                  </a:lnTo>
                  <a:lnTo>
                    <a:pt x="331" y="1349"/>
                  </a:lnTo>
                  <a:lnTo>
                    <a:pt x="337" y="1353"/>
                  </a:lnTo>
                  <a:lnTo>
                    <a:pt x="341" y="1356"/>
                  </a:lnTo>
                  <a:lnTo>
                    <a:pt x="347" y="1358"/>
                  </a:lnTo>
                  <a:lnTo>
                    <a:pt x="353" y="1359"/>
                  </a:lnTo>
                  <a:lnTo>
                    <a:pt x="359" y="1360"/>
                  </a:lnTo>
                  <a:lnTo>
                    <a:pt x="1678" y="1360"/>
                  </a:lnTo>
                  <a:lnTo>
                    <a:pt x="1678" y="1440"/>
                  </a:lnTo>
                  <a:lnTo>
                    <a:pt x="559" y="1440"/>
                  </a:lnTo>
                  <a:lnTo>
                    <a:pt x="543" y="1441"/>
                  </a:lnTo>
                  <a:lnTo>
                    <a:pt x="527" y="1443"/>
                  </a:lnTo>
                  <a:lnTo>
                    <a:pt x="511" y="1448"/>
                  </a:lnTo>
                  <a:lnTo>
                    <a:pt x="497" y="1452"/>
                  </a:lnTo>
                  <a:lnTo>
                    <a:pt x="483" y="1460"/>
                  </a:lnTo>
                  <a:lnTo>
                    <a:pt x="470" y="1468"/>
                  </a:lnTo>
                  <a:lnTo>
                    <a:pt x="457" y="1477"/>
                  </a:lnTo>
                  <a:lnTo>
                    <a:pt x="446" y="1487"/>
                  </a:lnTo>
                  <a:lnTo>
                    <a:pt x="435" y="1498"/>
                  </a:lnTo>
                  <a:lnTo>
                    <a:pt x="426" y="1510"/>
                  </a:lnTo>
                  <a:lnTo>
                    <a:pt x="418" y="1524"/>
                  </a:lnTo>
                  <a:lnTo>
                    <a:pt x="412" y="1538"/>
                  </a:lnTo>
                  <a:lnTo>
                    <a:pt x="406" y="1553"/>
                  </a:lnTo>
                  <a:lnTo>
                    <a:pt x="403" y="1568"/>
                  </a:lnTo>
                  <a:lnTo>
                    <a:pt x="400" y="1584"/>
                  </a:lnTo>
                  <a:lnTo>
                    <a:pt x="399" y="1600"/>
                  </a:lnTo>
                  <a:lnTo>
                    <a:pt x="400" y="1617"/>
                  </a:lnTo>
                  <a:lnTo>
                    <a:pt x="403" y="1632"/>
                  </a:lnTo>
                  <a:lnTo>
                    <a:pt x="406" y="1648"/>
                  </a:lnTo>
                  <a:lnTo>
                    <a:pt x="412" y="1663"/>
                  </a:lnTo>
                  <a:lnTo>
                    <a:pt x="418" y="1676"/>
                  </a:lnTo>
                  <a:lnTo>
                    <a:pt x="426" y="1690"/>
                  </a:lnTo>
                  <a:lnTo>
                    <a:pt x="435" y="1702"/>
                  </a:lnTo>
                  <a:lnTo>
                    <a:pt x="446" y="1713"/>
                  </a:lnTo>
                  <a:lnTo>
                    <a:pt x="457" y="1723"/>
                  </a:lnTo>
                  <a:lnTo>
                    <a:pt x="470" y="1733"/>
                  </a:lnTo>
                  <a:lnTo>
                    <a:pt x="483" y="1741"/>
                  </a:lnTo>
                  <a:lnTo>
                    <a:pt x="497" y="1748"/>
                  </a:lnTo>
                  <a:lnTo>
                    <a:pt x="511" y="1753"/>
                  </a:lnTo>
                  <a:lnTo>
                    <a:pt x="527" y="1757"/>
                  </a:lnTo>
                  <a:lnTo>
                    <a:pt x="543" y="1759"/>
                  </a:lnTo>
                  <a:lnTo>
                    <a:pt x="559" y="1760"/>
                  </a:lnTo>
                  <a:lnTo>
                    <a:pt x="575" y="1759"/>
                  </a:lnTo>
                  <a:lnTo>
                    <a:pt x="591" y="1757"/>
                  </a:lnTo>
                  <a:lnTo>
                    <a:pt x="606" y="1753"/>
                  </a:lnTo>
                  <a:lnTo>
                    <a:pt x="621" y="1748"/>
                  </a:lnTo>
                  <a:lnTo>
                    <a:pt x="635" y="1741"/>
                  </a:lnTo>
                  <a:lnTo>
                    <a:pt x="649" y="1733"/>
                  </a:lnTo>
                  <a:lnTo>
                    <a:pt x="661" y="1723"/>
                  </a:lnTo>
                  <a:lnTo>
                    <a:pt x="672" y="1713"/>
                  </a:lnTo>
                  <a:lnTo>
                    <a:pt x="682" y="1702"/>
                  </a:lnTo>
                  <a:lnTo>
                    <a:pt x="691" y="1690"/>
                  </a:lnTo>
                  <a:lnTo>
                    <a:pt x="699" y="1676"/>
                  </a:lnTo>
                  <a:lnTo>
                    <a:pt x="706" y="1663"/>
                  </a:lnTo>
                  <a:lnTo>
                    <a:pt x="712" y="1648"/>
                  </a:lnTo>
                  <a:lnTo>
                    <a:pt x="716" y="1632"/>
                  </a:lnTo>
                  <a:lnTo>
                    <a:pt x="718" y="1617"/>
                  </a:lnTo>
                  <a:lnTo>
                    <a:pt x="719" y="1600"/>
                  </a:lnTo>
                  <a:lnTo>
                    <a:pt x="718" y="1589"/>
                  </a:lnTo>
                  <a:lnTo>
                    <a:pt x="717" y="1579"/>
                  </a:lnTo>
                  <a:lnTo>
                    <a:pt x="716" y="1569"/>
                  </a:lnTo>
                  <a:lnTo>
                    <a:pt x="713" y="1559"/>
                  </a:lnTo>
                  <a:lnTo>
                    <a:pt x="709" y="1549"/>
                  </a:lnTo>
                  <a:lnTo>
                    <a:pt x="706" y="1538"/>
                  </a:lnTo>
                  <a:lnTo>
                    <a:pt x="701" y="1530"/>
                  </a:lnTo>
                  <a:lnTo>
                    <a:pt x="697" y="1521"/>
                  </a:lnTo>
                  <a:lnTo>
                    <a:pt x="1301" y="1521"/>
                  </a:lnTo>
                  <a:lnTo>
                    <a:pt x="1296" y="1530"/>
                  </a:lnTo>
                  <a:lnTo>
                    <a:pt x="1291" y="1538"/>
                  </a:lnTo>
                  <a:lnTo>
                    <a:pt x="1288" y="1549"/>
                  </a:lnTo>
                  <a:lnTo>
                    <a:pt x="1285" y="1559"/>
                  </a:lnTo>
                  <a:lnTo>
                    <a:pt x="1282" y="1569"/>
                  </a:lnTo>
                  <a:lnTo>
                    <a:pt x="1280" y="1579"/>
                  </a:lnTo>
                  <a:lnTo>
                    <a:pt x="1279" y="1589"/>
                  </a:lnTo>
                  <a:lnTo>
                    <a:pt x="1279" y="1600"/>
                  </a:lnTo>
                  <a:lnTo>
                    <a:pt x="1280" y="1617"/>
                  </a:lnTo>
                  <a:lnTo>
                    <a:pt x="1282" y="1632"/>
                  </a:lnTo>
                  <a:lnTo>
                    <a:pt x="1286" y="1648"/>
                  </a:lnTo>
                  <a:lnTo>
                    <a:pt x="1291" y="1663"/>
                  </a:lnTo>
                  <a:lnTo>
                    <a:pt x="1298" y="1676"/>
                  </a:lnTo>
                  <a:lnTo>
                    <a:pt x="1306" y="1690"/>
                  </a:lnTo>
                  <a:lnTo>
                    <a:pt x="1316" y="1702"/>
                  </a:lnTo>
                  <a:lnTo>
                    <a:pt x="1326" y="1713"/>
                  </a:lnTo>
                  <a:lnTo>
                    <a:pt x="1337" y="1723"/>
                  </a:lnTo>
                  <a:lnTo>
                    <a:pt x="1349" y="1733"/>
                  </a:lnTo>
                  <a:lnTo>
                    <a:pt x="1363" y="1741"/>
                  </a:lnTo>
                  <a:lnTo>
                    <a:pt x="1376" y="1748"/>
                  </a:lnTo>
                  <a:lnTo>
                    <a:pt x="1391" y="1753"/>
                  </a:lnTo>
                  <a:lnTo>
                    <a:pt x="1406" y="1757"/>
                  </a:lnTo>
                  <a:lnTo>
                    <a:pt x="1422" y="1759"/>
                  </a:lnTo>
                  <a:lnTo>
                    <a:pt x="1439" y="1760"/>
                  </a:lnTo>
                  <a:lnTo>
                    <a:pt x="1455" y="1759"/>
                  </a:lnTo>
                  <a:lnTo>
                    <a:pt x="1471" y="1757"/>
                  </a:lnTo>
                  <a:lnTo>
                    <a:pt x="1486" y="1753"/>
                  </a:lnTo>
                  <a:lnTo>
                    <a:pt x="1500" y="1748"/>
                  </a:lnTo>
                  <a:lnTo>
                    <a:pt x="1515" y="1741"/>
                  </a:lnTo>
                  <a:lnTo>
                    <a:pt x="1528" y="1733"/>
                  </a:lnTo>
                  <a:lnTo>
                    <a:pt x="1541" y="1723"/>
                  </a:lnTo>
                  <a:lnTo>
                    <a:pt x="1552" y="1713"/>
                  </a:lnTo>
                  <a:lnTo>
                    <a:pt x="1562" y="1702"/>
                  </a:lnTo>
                  <a:lnTo>
                    <a:pt x="1571" y="1690"/>
                  </a:lnTo>
                  <a:lnTo>
                    <a:pt x="1579" y="1676"/>
                  </a:lnTo>
                  <a:lnTo>
                    <a:pt x="1586" y="1663"/>
                  </a:lnTo>
                  <a:lnTo>
                    <a:pt x="1591" y="1648"/>
                  </a:lnTo>
                  <a:lnTo>
                    <a:pt x="1596" y="1632"/>
                  </a:lnTo>
                  <a:lnTo>
                    <a:pt x="1598" y="1617"/>
                  </a:lnTo>
                  <a:lnTo>
                    <a:pt x="1599" y="1600"/>
                  </a:lnTo>
                  <a:lnTo>
                    <a:pt x="1598" y="1589"/>
                  </a:lnTo>
                  <a:lnTo>
                    <a:pt x="1597" y="1579"/>
                  </a:lnTo>
                  <a:lnTo>
                    <a:pt x="1596" y="1569"/>
                  </a:lnTo>
                  <a:lnTo>
                    <a:pt x="1592" y="1559"/>
                  </a:lnTo>
                  <a:lnTo>
                    <a:pt x="1589" y="1549"/>
                  </a:lnTo>
                  <a:lnTo>
                    <a:pt x="1586" y="1538"/>
                  </a:lnTo>
                  <a:lnTo>
                    <a:pt x="1581" y="1530"/>
                  </a:lnTo>
                  <a:lnTo>
                    <a:pt x="1577" y="1521"/>
                  </a:lnTo>
                  <a:lnTo>
                    <a:pt x="1719" y="1521"/>
                  </a:lnTo>
                  <a:lnTo>
                    <a:pt x="1727" y="1519"/>
                  </a:lnTo>
                  <a:lnTo>
                    <a:pt x="1734" y="1517"/>
                  </a:lnTo>
                  <a:lnTo>
                    <a:pt x="1741" y="1514"/>
                  </a:lnTo>
                  <a:lnTo>
                    <a:pt x="1747" y="1508"/>
                  </a:lnTo>
                  <a:lnTo>
                    <a:pt x="1751" y="1503"/>
                  </a:lnTo>
                  <a:lnTo>
                    <a:pt x="1756" y="1496"/>
                  </a:lnTo>
                  <a:lnTo>
                    <a:pt x="1758" y="1488"/>
                  </a:lnTo>
                  <a:lnTo>
                    <a:pt x="1759" y="1480"/>
                  </a:lnTo>
                  <a:lnTo>
                    <a:pt x="1759" y="1320"/>
                  </a:lnTo>
                  <a:lnTo>
                    <a:pt x="1759" y="440"/>
                  </a:lnTo>
                  <a:lnTo>
                    <a:pt x="1759" y="240"/>
                  </a:lnTo>
                  <a:lnTo>
                    <a:pt x="2039" y="240"/>
                  </a:lnTo>
                  <a:lnTo>
                    <a:pt x="2047" y="240"/>
                  </a:lnTo>
                  <a:lnTo>
                    <a:pt x="2054" y="237"/>
                  </a:lnTo>
                  <a:lnTo>
                    <a:pt x="2061" y="233"/>
                  </a:lnTo>
                  <a:lnTo>
                    <a:pt x="2067" y="229"/>
                  </a:lnTo>
                  <a:lnTo>
                    <a:pt x="2071" y="223"/>
                  </a:lnTo>
                  <a:lnTo>
                    <a:pt x="2076" y="215"/>
                  </a:lnTo>
                  <a:lnTo>
                    <a:pt x="2078" y="209"/>
                  </a:lnTo>
                  <a:lnTo>
                    <a:pt x="2078" y="201"/>
                  </a:lnTo>
                  <a:lnTo>
                    <a:pt x="2078" y="192"/>
                  </a:lnTo>
                  <a:lnTo>
                    <a:pt x="2076" y="185"/>
                  </a:lnTo>
                  <a:lnTo>
                    <a:pt x="2071" y="178"/>
                  </a:lnTo>
                  <a:lnTo>
                    <a:pt x="2067" y="172"/>
                  </a:lnTo>
                  <a:lnTo>
                    <a:pt x="2061" y="167"/>
                  </a:lnTo>
                  <a:lnTo>
                    <a:pt x="2054" y="164"/>
                  </a:lnTo>
                  <a:lnTo>
                    <a:pt x="2047" y="162"/>
                  </a:lnTo>
                  <a:lnTo>
                    <a:pt x="2039"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5" name="Freeform 313">
            <a:extLst>
              <a:ext uri="{FF2B5EF4-FFF2-40B4-BE49-F238E27FC236}">
                <a16:creationId xmlns:a16="http://schemas.microsoft.com/office/drawing/2014/main" id="{09E29DC9-ED45-4366-BD36-77988C21D72F}"/>
              </a:ext>
            </a:extLst>
          </p:cNvPr>
          <p:cNvSpPr>
            <a:spLocks noChangeAspect="1" noEditPoints="1"/>
          </p:cNvSpPr>
          <p:nvPr/>
        </p:nvSpPr>
        <p:spPr bwMode="auto">
          <a:xfrm>
            <a:off x="2301496" y="4340505"/>
            <a:ext cx="311583" cy="285619"/>
          </a:xfrm>
          <a:custGeom>
            <a:avLst/>
            <a:gdLst>
              <a:gd name="T0" fmla="*/ 140 w 902"/>
              <a:gd name="T1" fmla="*/ 617 h 827"/>
              <a:gd name="T2" fmla="*/ 35 w 902"/>
              <a:gd name="T3" fmla="*/ 68 h 827"/>
              <a:gd name="T4" fmla="*/ 361 w 902"/>
              <a:gd name="T5" fmla="*/ 165 h 827"/>
              <a:gd name="T6" fmla="*/ 541 w 902"/>
              <a:gd name="T7" fmla="*/ 161 h 827"/>
              <a:gd name="T8" fmla="*/ 569 w 902"/>
              <a:gd name="T9" fmla="*/ 794 h 827"/>
              <a:gd name="T10" fmla="*/ 542 w 902"/>
              <a:gd name="T11" fmla="*/ 761 h 827"/>
              <a:gd name="T12" fmla="*/ 555 w 902"/>
              <a:gd name="T13" fmla="*/ 720 h 827"/>
              <a:gd name="T14" fmla="*/ 595 w 902"/>
              <a:gd name="T15" fmla="*/ 708 h 827"/>
              <a:gd name="T16" fmla="*/ 628 w 902"/>
              <a:gd name="T17" fmla="*/ 735 h 827"/>
              <a:gd name="T18" fmla="*/ 623 w 902"/>
              <a:gd name="T19" fmla="*/ 777 h 827"/>
              <a:gd name="T20" fmla="*/ 587 w 902"/>
              <a:gd name="T21" fmla="*/ 797 h 827"/>
              <a:gd name="T22" fmla="*/ 213 w 902"/>
              <a:gd name="T23" fmla="*/ 784 h 827"/>
              <a:gd name="T24" fmla="*/ 172 w 902"/>
              <a:gd name="T25" fmla="*/ 796 h 827"/>
              <a:gd name="T26" fmla="*/ 139 w 902"/>
              <a:gd name="T27" fmla="*/ 769 h 827"/>
              <a:gd name="T28" fmla="*/ 143 w 902"/>
              <a:gd name="T29" fmla="*/ 726 h 827"/>
              <a:gd name="T30" fmla="*/ 180 w 902"/>
              <a:gd name="T31" fmla="*/ 707 h 827"/>
              <a:gd name="T32" fmla="*/ 218 w 902"/>
              <a:gd name="T33" fmla="*/ 726 h 827"/>
              <a:gd name="T34" fmla="*/ 754 w 902"/>
              <a:gd name="T35" fmla="*/ 45 h 827"/>
              <a:gd name="T36" fmla="*/ 693 w 902"/>
              <a:gd name="T37" fmla="*/ 249 h 827"/>
              <a:gd name="T38" fmla="*/ 565 w 902"/>
              <a:gd name="T39" fmla="*/ 102 h 827"/>
              <a:gd name="T40" fmla="*/ 525 w 902"/>
              <a:gd name="T41" fmla="*/ 135 h 827"/>
              <a:gd name="T42" fmla="*/ 335 w 902"/>
              <a:gd name="T43" fmla="*/ 140 h 827"/>
              <a:gd name="T44" fmla="*/ 331 w 902"/>
              <a:gd name="T45" fmla="*/ 255 h 827"/>
              <a:gd name="T46" fmla="*/ 118 w 902"/>
              <a:gd name="T47" fmla="*/ 2 h 827"/>
              <a:gd name="T48" fmla="*/ 103 w 902"/>
              <a:gd name="T49" fmla="*/ 1 h 827"/>
              <a:gd name="T50" fmla="*/ 1 w 902"/>
              <a:gd name="T51" fmla="*/ 55 h 827"/>
              <a:gd name="T52" fmla="*/ 83 w 902"/>
              <a:gd name="T53" fmla="*/ 255 h 827"/>
              <a:gd name="T54" fmla="*/ 2 w 902"/>
              <a:gd name="T55" fmla="*/ 262 h 827"/>
              <a:gd name="T56" fmla="*/ 115 w 902"/>
              <a:gd name="T57" fmla="*/ 636 h 827"/>
              <a:gd name="T58" fmla="*/ 596 w 902"/>
              <a:gd name="T59" fmla="*/ 647 h 827"/>
              <a:gd name="T60" fmla="*/ 158 w 902"/>
              <a:gd name="T61" fmla="*/ 680 h 827"/>
              <a:gd name="T62" fmla="*/ 128 w 902"/>
              <a:gd name="T63" fmla="*/ 698 h 827"/>
              <a:gd name="T64" fmla="*/ 109 w 902"/>
              <a:gd name="T65" fmla="*/ 729 h 827"/>
              <a:gd name="T66" fmla="*/ 106 w 902"/>
              <a:gd name="T67" fmla="*/ 767 h 827"/>
              <a:gd name="T68" fmla="*/ 123 w 902"/>
              <a:gd name="T69" fmla="*/ 799 h 827"/>
              <a:gd name="T70" fmla="*/ 151 w 902"/>
              <a:gd name="T71" fmla="*/ 822 h 827"/>
              <a:gd name="T72" fmla="*/ 188 w 902"/>
              <a:gd name="T73" fmla="*/ 827 h 827"/>
              <a:gd name="T74" fmla="*/ 222 w 902"/>
              <a:gd name="T75" fmla="*/ 814 h 827"/>
              <a:gd name="T76" fmla="*/ 247 w 902"/>
              <a:gd name="T77" fmla="*/ 787 h 827"/>
              <a:gd name="T78" fmla="*/ 255 w 902"/>
              <a:gd name="T79" fmla="*/ 752 h 827"/>
              <a:gd name="T80" fmla="*/ 527 w 902"/>
              <a:gd name="T81" fmla="*/ 707 h 827"/>
              <a:gd name="T82" fmla="*/ 512 w 902"/>
              <a:gd name="T83" fmla="*/ 759 h 827"/>
              <a:gd name="T84" fmla="*/ 524 w 902"/>
              <a:gd name="T85" fmla="*/ 794 h 827"/>
              <a:gd name="T86" fmla="*/ 550 w 902"/>
              <a:gd name="T87" fmla="*/ 818 h 827"/>
              <a:gd name="T88" fmla="*/ 587 w 902"/>
              <a:gd name="T89" fmla="*/ 827 h 827"/>
              <a:gd name="T90" fmla="*/ 622 w 902"/>
              <a:gd name="T91" fmla="*/ 818 h 827"/>
              <a:gd name="T92" fmla="*/ 649 w 902"/>
              <a:gd name="T93" fmla="*/ 794 h 827"/>
              <a:gd name="T94" fmla="*/ 661 w 902"/>
              <a:gd name="T95" fmla="*/ 759 h 827"/>
              <a:gd name="T96" fmla="*/ 650 w 902"/>
              <a:gd name="T97" fmla="*/ 711 h 827"/>
              <a:gd name="T98" fmla="*/ 630 w 902"/>
              <a:gd name="T99" fmla="*/ 638 h 827"/>
              <a:gd name="T100" fmla="*/ 766 w 902"/>
              <a:gd name="T101" fmla="*/ 75 h 827"/>
              <a:gd name="T102" fmla="*/ 898 w 902"/>
              <a:gd name="T103" fmla="*/ 71 h 827"/>
              <a:gd name="T104" fmla="*/ 902 w 902"/>
              <a:gd name="T105" fmla="*/ 57 h 827"/>
              <a:gd name="T106" fmla="*/ 892 w 902"/>
              <a:gd name="T107" fmla="*/ 46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2" h="827">
                <a:moveTo>
                  <a:pt x="140" y="617"/>
                </a:moveTo>
                <a:lnTo>
                  <a:pt x="36" y="285"/>
                </a:lnTo>
                <a:lnTo>
                  <a:pt x="684" y="285"/>
                </a:lnTo>
                <a:lnTo>
                  <a:pt x="604" y="617"/>
                </a:lnTo>
                <a:lnTo>
                  <a:pt x="140" y="617"/>
                </a:lnTo>
                <a:close/>
                <a:moveTo>
                  <a:pt x="35" y="68"/>
                </a:moveTo>
                <a:lnTo>
                  <a:pt x="102" y="36"/>
                </a:lnTo>
                <a:lnTo>
                  <a:pt x="202" y="255"/>
                </a:lnTo>
                <a:lnTo>
                  <a:pt x="115" y="255"/>
                </a:lnTo>
                <a:lnTo>
                  <a:pt x="35" y="68"/>
                </a:lnTo>
                <a:close/>
                <a:moveTo>
                  <a:pt x="361" y="165"/>
                </a:moveTo>
                <a:lnTo>
                  <a:pt x="493" y="165"/>
                </a:lnTo>
                <a:lnTo>
                  <a:pt x="400" y="255"/>
                </a:lnTo>
                <a:lnTo>
                  <a:pt x="361" y="255"/>
                </a:lnTo>
                <a:lnTo>
                  <a:pt x="361" y="165"/>
                </a:lnTo>
                <a:close/>
                <a:moveTo>
                  <a:pt x="563" y="140"/>
                </a:moveTo>
                <a:lnTo>
                  <a:pt x="660" y="255"/>
                </a:lnTo>
                <a:lnTo>
                  <a:pt x="443" y="255"/>
                </a:lnTo>
                <a:lnTo>
                  <a:pt x="541" y="161"/>
                </a:lnTo>
                <a:lnTo>
                  <a:pt x="541" y="161"/>
                </a:lnTo>
                <a:lnTo>
                  <a:pt x="541" y="161"/>
                </a:lnTo>
                <a:lnTo>
                  <a:pt x="563" y="140"/>
                </a:lnTo>
                <a:close/>
                <a:moveTo>
                  <a:pt x="587" y="797"/>
                </a:moveTo>
                <a:lnTo>
                  <a:pt x="577" y="796"/>
                </a:lnTo>
                <a:lnTo>
                  <a:pt x="569" y="794"/>
                </a:lnTo>
                <a:lnTo>
                  <a:pt x="561" y="790"/>
                </a:lnTo>
                <a:lnTo>
                  <a:pt x="555" y="784"/>
                </a:lnTo>
                <a:lnTo>
                  <a:pt x="549" y="777"/>
                </a:lnTo>
                <a:lnTo>
                  <a:pt x="545" y="769"/>
                </a:lnTo>
                <a:lnTo>
                  <a:pt x="542" y="761"/>
                </a:lnTo>
                <a:lnTo>
                  <a:pt x="542" y="752"/>
                </a:lnTo>
                <a:lnTo>
                  <a:pt x="542" y="742"/>
                </a:lnTo>
                <a:lnTo>
                  <a:pt x="545" y="735"/>
                </a:lnTo>
                <a:lnTo>
                  <a:pt x="549" y="726"/>
                </a:lnTo>
                <a:lnTo>
                  <a:pt x="555" y="720"/>
                </a:lnTo>
                <a:lnTo>
                  <a:pt x="561" y="714"/>
                </a:lnTo>
                <a:lnTo>
                  <a:pt x="569" y="710"/>
                </a:lnTo>
                <a:lnTo>
                  <a:pt x="577" y="708"/>
                </a:lnTo>
                <a:lnTo>
                  <a:pt x="587" y="707"/>
                </a:lnTo>
                <a:lnTo>
                  <a:pt x="595" y="708"/>
                </a:lnTo>
                <a:lnTo>
                  <a:pt x="604" y="710"/>
                </a:lnTo>
                <a:lnTo>
                  <a:pt x="611" y="714"/>
                </a:lnTo>
                <a:lnTo>
                  <a:pt x="618" y="720"/>
                </a:lnTo>
                <a:lnTo>
                  <a:pt x="623" y="726"/>
                </a:lnTo>
                <a:lnTo>
                  <a:pt x="628" y="735"/>
                </a:lnTo>
                <a:lnTo>
                  <a:pt x="631" y="742"/>
                </a:lnTo>
                <a:lnTo>
                  <a:pt x="632" y="752"/>
                </a:lnTo>
                <a:lnTo>
                  <a:pt x="631" y="761"/>
                </a:lnTo>
                <a:lnTo>
                  <a:pt x="628" y="769"/>
                </a:lnTo>
                <a:lnTo>
                  <a:pt x="623" y="777"/>
                </a:lnTo>
                <a:lnTo>
                  <a:pt x="618" y="784"/>
                </a:lnTo>
                <a:lnTo>
                  <a:pt x="611" y="790"/>
                </a:lnTo>
                <a:lnTo>
                  <a:pt x="604" y="794"/>
                </a:lnTo>
                <a:lnTo>
                  <a:pt x="595" y="796"/>
                </a:lnTo>
                <a:lnTo>
                  <a:pt x="587" y="797"/>
                </a:lnTo>
                <a:close/>
                <a:moveTo>
                  <a:pt x="225" y="752"/>
                </a:moveTo>
                <a:lnTo>
                  <a:pt x="224" y="761"/>
                </a:lnTo>
                <a:lnTo>
                  <a:pt x="222" y="769"/>
                </a:lnTo>
                <a:lnTo>
                  <a:pt x="218" y="777"/>
                </a:lnTo>
                <a:lnTo>
                  <a:pt x="213" y="784"/>
                </a:lnTo>
                <a:lnTo>
                  <a:pt x="206" y="790"/>
                </a:lnTo>
                <a:lnTo>
                  <a:pt x="198" y="794"/>
                </a:lnTo>
                <a:lnTo>
                  <a:pt x="190" y="796"/>
                </a:lnTo>
                <a:lnTo>
                  <a:pt x="180" y="797"/>
                </a:lnTo>
                <a:lnTo>
                  <a:pt x="172" y="796"/>
                </a:lnTo>
                <a:lnTo>
                  <a:pt x="163" y="794"/>
                </a:lnTo>
                <a:lnTo>
                  <a:pt x="156" y="790"/>
                </a:lnTo>
                <a:lnTo>
                  <a:pt x="148" y="784"/>
                </a:lnTo>
                <a:lnTo>
                  <a:pt x="143" y="777"/>
                </a:lnTo>
                <a:lnTo>
                  <a:pt x="139" y="769"/>
                </a:lnTo>
                <a:lnTo>
                  <a:pt x="136" y="761"/>
                </a:lnTo>
                <a:lnTo>
                  <a:pt x="135" y="752"/>
                </a:lnTo>
                <a:lnTo>
                  <a:pt x="136" y="742"/>
                </a:lnTo>
                <a:lnTo>
                  <a:pt x="139" y="735"/>
                </a:lnTo>
                <a:lnTo>
                  <a:pt x="143" y="726"/>
                </a:lnTo>
                <a:lnTo>
                  <a:pt x="148" y="720"/>
                </a:lnTo>
                <a:lnTo>
                  <a:pt x="156" y="714"/>
                </a:lnTo>
                <a:lnTo>
                  <a:pt x="163" y="710"/>
                </a:lnTo>
                <a:lnTo>
                  <a:pt x="172" y="708"/>
                </a:lnTo>
                <a:lnTo>
                  <a:pt x="180" y="707"/>
                </a:lnTo>
                <a:lnTo>
                  <a:pt x="190" y="708"/>
                </a:lnTo>
                <a:lnTo>
                  <a:pt x="198" y="710"/>
                </a:lnTo>
                <a:lnTo>
                  <a:pt x="206" y="714"/>
                </a:lnTo>
                <a:lnTo>
                  <a:pt x="213" y="720"/>
                </a:lnTo>
                <a:lnTo>
                  <a:pt x="218" y="726"/>
                </a:lnTo>
                <a:lnTo>
                  <a:pt x="222" y="735"/>
                </a:lnTo>
                <a:lnTo>
                  <a:pt x="224" y="742"/>
                </a:lnTo>
                <a:lnTo>
                  <a:pt x="225" y="752"/>
                </a:lnTo>
                <a:close/>
                <a:moveTo>
                  <a:pt x="887" y="45"/>
                </a:moveTo>
                <a:lnTo>
                  <a:pt x="754" y="45"/>
                </a:lnTo>
                <a:lnTo>
                  <a:pt x="750" y="46"/>
                </a:lnTo>
                <a:lnTo>
                  <a:pt x="745" y="49"/>
                </a:lnTo>
                <a:lnTo>
                  <a:pt x="741" y="52"/>
                </a:lnTo>
                <a:lnTo>
                  <a:pt x="740" y="57"/>
                </a:lnTo>
                <a:lnTo>
                  <a:pt x="693" y="249"/>
                </a:lnTo>
                <a:lnTo>
                  <a:pt x="576" y="107"/>
                </a:lnTo>
                <a:lnTo>
                  <a:pt x="574" y="105"/>
                </a:lnTo>
                <a:lnTo>
                  <a:pt x="572" y="104"/>
                </a:lnTo>
                <a:lnTo>
                  <a:pt x="569" y="103"/>
                </a:lnTo>
                <a:lnTo>
                  <a:pt x="565" y="102"/>
                </a:lnTo>
                <a:lnTo>
                  <a:pt x="562" y="102"/>
                </a:lnTo>
                <a:lnTo>
                  <a:pt x="560" y="103"/>
                </a:lnTo>
                <a:lnTo>
                  <a:pt x="557" y="104"/>
                </a:lnTo>
                <a:lnTo>
                  <a:pt x="555" y="106"/>
                </a:lnTo>
                <a:lnTo>
                  <a:pt x="525" y="135"/>
                </a:lnTo>
                <a:lnTo>
                  <a:pt x="346" y="135"/>
                </a:lnTo>
                <a:lnTo>
                  <a:pt x="342" y="135"/>
                </a:lnTo>
                <a:lnTo>
                  <a:pt x="340" y="136"/>
                </a:lnTo>
                <a:lnTo>
                  <a:pt x="337" y="139"/>
                </a:lnTo>
                <a:lnTo>
                  <a:pt x="335" y="140"/>
                </a:lnTo>
                <a:lnTo>
                  <a:pt x="334" y="142"/>
                </a:lnTo>
                <a:lnTo>
                  <a:pt x="332" y="145"/>
                </a:lnTo>
                <a:lnTo>
                  <a:pt x="332" y="147"/>
                </a:lnTo>
                <a:lnTo>
                  <a:pt x="331" y="150"/>
                </a:lnTo>
                <a:lnTo>
                  <a:pt x="331" y="255"/>
                </a:lnTo>
                <a:lnTo>
                  <a:pt x="235" y="255"/>
                </a:lnTo>
                <a:lnTo>
                  <a:pt x="124" y="9"/>
                </a:lnTo>
                <a:lnTo>
                  <a:pt x="123" y="7"/>
                </a:lnTo>
                <a:lnTo>
                  <a:pt x="120" y="5"/>
                </a:lnTo>
                <a:lnTo>
                  <a:pt x="118" y="2"/>
                </a:lnTo>
                <a:lnTo>
                  <a:pt x="115" y="1"/>
                </a:lnTo>
                <a:lnTo>
                  <a:pt x="112" y="0"/>
                </a:lnTo>
                <a:lnTo>
                  <a:pt x="110" y="0"/>
                </a:lnTo>
                <a:lnTo>
                  <a:pt x="106" y="0"/>
                </a:lnTo>
                <a:lnTo>
                  <a:pt x="103" y="1"/>
                </a:lnTo>
                <a:lnTo>
                  <a:pt x="9" y="46"/>
                </a:lnTo>
                <a:lnTo>
                  <a:pt x="6" y="49"/>
                </a:lnTo>
                <a:lnTo>
                  <a:pt x="4" y="51"/>
                </a:lnTo>
                <a:lnTo>
                  <a:pt x="2" y="53"/>
                </a:lnTo>
                <a:lnTo>
                  <a:pt x="1" y="55"/>
                </a:lnTo>
                <a:lnTo>
                  <a:pt x="0" y="58"/>
                </a:lnTo>
                <a:lnTo>
                  <a:pt x="0" y="60"/>
                </a:lnTo>
                <a:lnTo>
                  <a:pt x="0" y="64"/>
                </a:lnTo>
                <a:lnTo>
                  <a:pt x="1" y="67"/>
                </a:lnTo>
                <a:lnTo>
                  <a:pt x="83" y="255"/>
                </a:lnTo>
                <a:lnTo>
                  <a:pt x="15" y="255"/>
                </a:lnTo>
                <a:lnTo>
                  <a:pt x="12" y="257"/>
                </a:lnTo>
                <a:lnTo>
                  <a:pt x="8" y="258"/>
                </a:lnTo>
                <a:lnTo>
                  <a:pt x="6" y="260"/>
                </a:lnTo>
                <a:lnTo>
                  <a:pt x="2" y="262"/>
                </a:lnTo>
                <a:lnTo>
                  <a:pt x="1" y="265"/>
                </a:lnTo>
                <a:lnTo>
                  <a:pt x="0" y="268"/>
                </a:lnTo>
                <a:lnTo>
                  <a:pt x="0" y="272"/>
                </a:lnTo>
                <a:lnTo>
                  <a:pt x="1" y="276"/>
                </a:lnTo>
                <a:lnTo>
                  <a:pt x="115" y="636"/>
                </a:lnTo>
                <a:lnTo>
                  <a:pt x="117" y="640"/>
                </a:lnTo>
                <a:lnTo>
                  <a:pt x="120" y="644"/>
                </a:lnTo>
                <a:lnTo>
                  <a:pt x="124" y="646"/>
                </a:lnTo>
                <a:lnTo>
                  <a:pt x="129" y="647"/>
                </a:lnTo>
                <a:lnTo>
                  <a:pt x="596" y="647"/>
                </a:lnTo>
                <a:lnTo>
                  <a:pt x="590" y="677"/>
                </a:lnTo>
                <a:lnTo>
                  <a:pt x="180" y="677"/>
                </a:lnTo>
                <a:lnTo>
                  <a:pt x="173" y="677"/>
                </a:lnTo>
                <a:lnTo>
                  <a:pt x="165" y="678"/>
                </a:lnTo>
                <a:lnTo>
                  <a:pt x="158" y="680"/>
                </a:lnTo>
                <a:lnTo>
                  <a:pt x="151" y="682"/>
                </a:lnTo>
                <a:lnTo>
                  <a:pt x="145" y="685"/>
                </a:lnTo>
                <a:lnTo>
                  <a:pt x="139" y="690"/>
                </a:lnTo>
                <a:lnTo>
                  <a:pt x="132" y="694"/>
                </a:lnTo>
                <a:lnTo>
                  <a:pt x="128" y="698"/>
                </a:lnTo>
                <a:lnTo>
                  <a:pt x="123" y="704"/>
                </a:lnTo>
                <a:lnTo>
                  <a:pt x="118" y="710"/>
                </a:lnTo>
                <a:lnTo>
                  <a:pt x="114" y="717"/>
                </a:lnTo>
                <a:lnTo>
                  <a:pt x="111" y="723"/>
                </a:lnTo>
                <a:lnTo>
                  <a:pt x="109" y="729"/>
                </a:lnTo>
                <a:lnTo>
                  <a:pt x="106" y="737"/>
                </a:lnTo>
                <a:lnTo>
                  <a:pt x="105" y="744"/>
                </a:lnTo>
                <a:lnTo>
                  <a:pt x="105" y="752"/>
                </a:lnTo>
                <a:lnTo>
                  <a:pt x="105" y="759"/>
                </a:lnTo>
                <a:lnTo>
                  <a:pt x="106" y="767"/>
                </a:lnTo>
                <a:lnTo>
                  <a:pt x="109" y="774"/>
                </a:lnTo>
                <a:lnTo>
                  <a:pt x="111" y="781"/>
                </a:lnTo>
                <a:lnTo>
                  <a:pt x="114" y="787"/>
                </a:lnTo>
                <a:lnTo>
                  <a:pt x="118" y="794"/>
                </a:lnTo>
                <a:lnTo>
                  <a:pt x="123" y="799"/>
                </a:lnTo>
                <a:lnTo>
                  <a:pt x="128" y="805"/>
                </a:lnTo>
                <a:lnTo>
                  <a:pt x="132" y="810"/>
                </a:lnTo>
                <a:lnTo>
                  <a:pt x="139" y="814"/>
                </a:lnTo>
                <a:lnTo>
                  <a:pt x="145" y="818"/>
                </a:lnTo>
                <a:lnTo>
                  <a:pt x="151" y="822"/>
                </a:lnTo>
                <a:lnTo>
                  <a:pt x="158" y="824"/>
                </a:lnTo>
                <a:lnTo>
                  <a:pt x="165" y="826"/>
                </a:lnTo>
                <a:lnTo>
                  <a:pt x="173" y="827"/>
                </a:lnTo>
                <a:lnTo>
                  <a:pt x="180" y="827"/>
                </a:lnTo>
                <a:lnTo>
                  <a:pt x="188" y="827"/>
                </a:lnTo>
                <a:lnTo>
                  <a:pt x="195" y="826"/>
                </a:lnTo>
                <a:lnTo>
                  <a:pt x="203" y="824"/>
                </a:lnTo>
                <a:lnTo>
                  <a:pt x="209" y="822"/>
                </a:lnTo>
                <a:lnTo>
                  <a:pt x="216" y="818"/>
                </a:lnTo>
                <a:lnTo>
                  <a:pt x="222" y="814"/>
                </a:lnTo>
                <a:lnTo>
                  <a:pt x="229" y="810"/>
                </a:lnTo>
                <a:lnTo>
                  <a:pt x="234" y="805"/>
                </a:lnTo>
                <a:lnTo>
                  <a:pt x="238" y="799"/>
                </a:lnTo>
                <a:lnTo>
                  <a:pt x="243" y="794"/>
                </a:lnTo>
                <a:lnTo>
                  <a:pt x="247" y="787"/>
                </a:lnTo>
                <a:lnTo>
                  <a:pt x="250" y="781"/>
                </a:lnTo>
                <a:lnTo>
                  <a:pt x="252" y="774"/>
                </a:lnTo>
                <a:lnTo>
                  <a:pt x="254" y="767"/>
                </a:lnTo>
                <a:lnTo>
                  <a:pt x="255" y="759"/>
                </a:lnTo>
                <a:lnTo>
                  <a:pt x="255" y="752"/>
                </a:lnTo>
                <a:lnTo>
                  <a:pt x="254" y="739"/>
                </a:lnTo>
                <a:lnTo>
                  <a:pt x="251" y="727"/>
                </a:lnTo>
                <a:lnTo>
                  <a:pt x="247" y="717"/>
                </a:lnTo>
                <a:lnTo>
                  <a:pt x="240" y="707"/>
                </a:lnTo>
                <a:lnTo>
                  <a:pt x="527" y="707"/>
                </a:lnTo>
                <a:lnTo>
                  <a:pt x="520" y="717"/>
                </a:lnTo>
                <a:lnTo>
                  <a:pt x="515" y="727"/>
                </a:lnTo>
                <a:lnTo>
                  <a:pt x="512" y="739"/>
                </a:lnTo>
                <a:lnTo>
                  <a:pt x="511" y="752"/>
                </a:lnTo>
                <a:lnTo>
                  <a:pt x="512" y="759"/>
                </a:lnTo>
                <a:lnTo>
                  <a:pt x="513" y="767"/>
                </a:lnTo>
                <a:lnTo>
                  <a:pt x="515" y="774"/>
                </a:lnTo>
                <a:lnTo>
                  <a:pt x="517" y="781"/>
                </a:lnTo>
                <a:lnTo>
                  <a:pt x="520" y="787"/>
                </a:lnTo>
                <a:lnTo>
                  <a:pt x="524" y="794"/>
                </a:lnTo>
                <a:lnTo>
                  <a:pt x="529" y="799"/>
                </a:lnTo>
                <a:lnTo>
                  <a:pt x="533" y="805"/>
                </a:lnTo>
                <a:lnTo>
                  <a:pt x="539" y="810"/>
                </a:lnTo>
                <a:lnTo>
                  <a:pt x="544" y="814"/>
                </a:lnTo>
                <a:lnTo>
                  <a:pt x="550" y="818"/>
                </a:lnTo>
                <a:lnTo>
                  <a:pt x="557" y="822"/>
                </a:lnTo>
                <a:lnTo>
                  <a:pt x="564" y="824"/>
                </a:lnTo>
                <a:lnTo>
                  <a:pt x="571" y="826"/>
                </a:lnTo>
                <a:lnTo>
                  <a:pt x="578" y="827"/>
                </a:lnTo>
                <a:lnTo>
                  <a:pt x="587" y="827"/>
                </a:lnTo>
                <a:lnTo>
                  <a:pt x="594" y="827"/>
                </a:lnTo>
                <a:lnTo>
                  <a:pt x="602" y="826"/>
                </a:lnTo>
                <a:lnTo>
                  <a:pt x="608" y="824"/>
                </a:lnTo>
                <a:lnTo>
                  <a:pt x="616" y="822"/>
                </a:lnTo>
                <a:lnTo>
                  <a:pt x="622" y="818"/>
                </a:lnTo>
                <a:lnTo>
                  <a:pt x="629" y="814"/>
                </a:lnTo>
                <a:lnTo>
                  <a:pt x="634" y="810"/>
                </a:lnTo>
                <a:lnTo>
                  <a:pt x="639" y="805"/>
                </a:lnTo>
                <a:lnTo>
                  <a:pt x="645" y="799"/>
                </a:lnTo>
                <a:lnTo>
                  <a:pt x="649" y="794"/>
                </a:lnTo>
                <a:lnTo>
                  <a:pt x="652" y="787"/>
                </a:lnTo>
                <a:lnTo>
                  <a:pt x="655" y="781"/>
                </a:lnTo>
                <a:lnTo>
                  <a:pt x="659" y="774"/>
                </a:lnTo>
                <a:lnTo>
                  <a:pt x="660" y="767"/>
                </a:lnTo>
                <a:lnTo>
                  <a:pt x="661" y="759"/>
                </a:lnTo>
                <a:lnTo>
                  <a:pt x="662" y="752"/>
                </a:lnTo>
                <a:lnTo>
                  <a:pt x="661" y="741"/>
                </a:lnTo>
                <a:lnTo>
                  <a:pt x="659" y="731"/>
                </a:lnTo>
                <a:lnTo>
                  <a:pt x="654" y="721"/>
                </a:lnTo>
                <a:lnTo>
                  <a:pt x="650" y="711"/>
                </a:lnTo>
                <a:lnTo>
                  <a:pt x="644" y="703"/>
                </a:lnTo>
                <a:lnTo>
                  <a:pt x="636" y="696"/>
                </a:lnTo>
                <a:lnTo>
                  <a:pt x="628" y="690"/>
                </a:lnTo>
                <a:lnTo>
                  <a:pt x="619" y="684"/>
                </a:lnTo>
                <a:lnTo>
                  <a:pt x="630" y="638"/>
                </a:lnTo>
                <a:lnTo>
                  <a:pt x="631" y="635"/>
                </a:lnTo>
                <a:lnTo>
                  <a:pt x="632" y="632"/>
                </a:lnTo>
                <a:lnTo>
                  <a:pt x="632" y="632"/>
                </a:lnTo>
                <a:lnTo>
                  <a:pt x="632" y="632"/>
                </a:lnTo>
                <a:lnTo>
                  <a:pt x="766" y="75"/>
                </a:lnTo>
                <a:lnTo>
                  <a:pt x="887" y="75"/>
                </a:lnTo>
                <a:lnTo>
                  <a:pt x="890" y="75"/>
                </a:lnTo>
                <a:lnTo>
                  <a:pt x="892" y="74"/>
                </a:lnTo>
                <a:lnTo>
                  <a:pt x="896" y="73"/>
                </a:lnTo>
                <a:lnTo>
                  <a:pt x="898" y="71"/>
                </a:lnTo>
                <a:lnTo>
                  <a:pt x="900" y="69"/>
                </a:lnTo>
                <a:lnTo>
                  <a:pt x="901" y="67"/>
                </a:lnTo>
                <a:lnTo>
                  <a:pt x="902" y="64"/>
                </a:lnTo>
                <a:lnTo>
                  <a:pt x="902" y="60"/>
                </a:lnTo>
                <a:lnTo>
                  <a:pt x="902" y="57"/>
                </a:lnTo>
                <a:lnTo>
                  <a:pt x="901" y="55"/>
                </a:lnTo>
                <a:lnTo>
                  <a:pt x="900" y="52"/>
                </a:lnTo>
                <a:lnTo>
                  <a:pt x="898" y="50"/>
                </a:lnTo>
                <a:lnTo>
                  <a:pt x="896" y="47"/>
                </a:lnTo>
                <a:lnTo>
                  <a:pt x="892" y="46"/>
                </a:lnTo>
                <a:lnTo>
                  <a:pt x="890" y="45"/>
                </a:lnTo>
                <a:lnTo>
                  <a:pt x="887" y="4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496" name="Group 18">
            <a:extLst>
              <a:ext uri="{FF2B5EF4-FFF2-40B4-BE49-F238E27FC236}">
                <a16:creationId xmlns:a16="http://schemas.microsoft.com/office/drawing/2014/main" id="{31703C3D-4AD5-41D9-A700-8B0786AA8E49}"/>
              </a:ext>
            </a:extLst>
          </p:cNvPr>
          <p:cNvGrpSpPr>
            <a:grpSpLocks noChangeAspect="1"/>
          </p:cNvGrpSpPr>
          <p:nvPr/>
        </p:nvGrpSpPr>
        <p:grpSpPr>
          <a:xfrm>
            <a:off x="2714288" y="4340505"/>
            <a:ext cx="329560" cy="285619"/>
            <a:chOff x="8162925" y="1390333"/>
            <a:chExt cx="285750" cy="247650"/>
          </a:xfrm>
          <a:solidFill>
            <a:schemeClr val="bg1"/>
          </a:solidFill>
          <a:effectLst/>
        </p:grpSpPr>
        <p:sp>
          <p:nvSpPr>
            <p:cNvPr id="1497" name="Freeform 265">
              <a:extLst>
                <a:ext uri="{FF2B5EF4-FFF2-40B4-BE49-F238E27FC236}">
                  <a16:creationId xmlns:a16="http://schemas.microsoft.com/office/drawing/2014/main" id="{563E5A6A-6433-4422-A9E8-ECF71B48AA73}"/>
                </a:ext>
              </a:extLst>
            </p:cNvPr>
            <p:cNvSpPr>
              <a:spLocks noEditPoints="1"/>
            </p:cNvSpPr>
            <p:nvPr/>
          </p:nvSpPr>
          <p:spPr bwMode="auto">
            <a:xfrm>
              <a:off x="8329613" y="1590358"/>
              <a:ext cx="47625" cy="47625"/>
            </a:xfrm>
            <a:custGeom>
              <a:avLst/>
              <a:gdLst>
                <a:gd name="T0" fmla="*/ 65 w 150"/>
                <a:gd name="T1" fmla="*/ 119 h 150"/>
                <a:gd name="T2" fmla="*/ 49 w 150"/>
                <a:gd name="T3" fmla="*/ 112 h 150"/>
                <a:gd name="T4" fmla="*/ 38 w 150"/>
                <a:gd name="T5" fmla="*/ 100 h 150"/>
                <a:gd name="T6" fmla="*/ 30 w 150"/>
                <a:gd name="T7" fmla="*/ 84 h 150"/>
                <a:gd name="T8" fmla="*/ 30 w 150"/>
                <a:gd name="T9" fmla="*/ 66 h 150"/>
                <a:gd name="T10" fmla="*/ 38 w 150"/>
                <a:gd name="T11" fmla="*/ 50 h 150"/>
                <a:gd name="T12" fmla="*/ 49 w 150"/>
                <a:gd name="T13" fmla="*/ 37 h 150"/>
                <a:gd name="T14" fmla="*/ 65 w 150"/>
                <a:gd name="T15" fmla="*/ 31 h 150"/>
                <a:gd name="T16" fmla="*/ 84 w 150"/>
                <a:gd name="T17" fmla="*/ 31 h 150"/>
                <a:gd name="T18" fmla="*/ 100 w 150"/>
                <a:gd name="T19" fmla="*/ 37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19 h 150"/>
                <a:gd name="T32" fmla="*/ 75 w 150"/>
                <a:gd name="T33" fmla="*/ 0 h 150"/>
                <a:gd name="T34" fmla="*/ 60 w 150"/>
                <a:gd name="T35" fmla="*/ 2 h 150"/>
                <a:gd name="T36" fmla="*/ 45 w 150"/>
                <a:gd name="T37" fmla="*/ 6 h 150"/>
                <a:gd name="T38" fmla="*/ 32 w 150"/>
                <a:gd name="T39" fmla="*/ 12 h 150"/>
                <a:gd name="T40" fmla="*/ 22 w 150"/>
                <a:gd name="T41" fmla="*/ 22 h 150"/>
                <a:gd name="T42" fmla="*/ 13 w 150"/>
                <a:gd name="T43" fmla="*/ 33 h 150"/>
                <a:gd name="T44" fmla="*/ 5 w 150"/>
                <a:gd name="T45" fmla="*/ 46 h 150"/>
                <a:gd name="T46" fmla="*/ 1 w 150"/>
                <a:gd name="T47" fmla="*/ 60 h 150"/>
                <a:gd name="T48" fmla="*/ 0 w 150"/>
                <a:gd name="T49" fmla="*/ 75 h 150"/>
                <a:gd name="T50" fmla="*/ 1 w 150"/>
                <a:gd name="T51" fmla="*/ 90 h 150"/>
                <a:gd name="T52" fmla="*/ 5 w 150"/>
                <a:gd name="T53" fmla="*/ 104 h 150"/>
                <a:gd name="T54" fmla="*/ 13 w 150"/>
                <a:gd name="T55" fmla="*/ 116 h 150"/>
                <a:gd name="T56" fmla="*/ 22 w 150"/>
                <a:gd name="T57" fmla="*/ 128 h 150"/>
                <a:gd name="T58" fmla="*/ 32 w 150"/>
                <a:gd name="T59" fmla="*/ 137 h 150"/>
                <a:gd name="T60" fmla="*/ 45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8 w 150"/>
                <a:gd name="T73" fmla="*/ 128 h 150"/>
                <a:gd name="T74" fmla="*/ 137 w 150"/>
                <a:gd name="T75" fmla="*/ 116 h 150"/>
                <a:gd name="T76" fmla="*/ 144 w 150"/>
                <a:gd name="T77" fmla="*/ 104 h 150"/>
                <a:gd name="T78" fmla="*/ 148 w 150"/>
                <a:gd name="T79" fmla="*/ 90 h 150"/>
                <a:gd name="T80" fmla="*/ 150 w 150"/>
                <a:gd name="T81" fmla="*/ 75 h 150"/>
                <a:gd name="T82" fmla="*/ 148 w 150"/>
                <a:gd name="T83" fmla="*/ 60 h 150"/>
                <a:gd name="T84" fmla="*/ 144 w 150"/>
                <a:gd name="T85" fmla="*/ 46 h 150"/>
                <a:gd name="T86" fmla="*/ 137 w 150"/>
                <a:gd name="T87" fmla="*/ 33 h 150"/>
                <a:gd name="T88" fmla="*/ 128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5" y="119"/>
                  </a:lnTo>
                  <a:lnTo>
                    <a:pt x="57" y="116"/>
                  </a:lnTo>
                  <a:lnTo>
                    <a:pt x="49" y="112"/>
                  </a:lnTo>
                  <a:lnTo>
                    <a:pt x="43" y="107"/>
                  </a:lnTo>
                  <a:lnTo>
                    <a:pt x="38" y="100"/>
                  </a:lnTo>
                  <a:lnTo>
                    <a:pt x="33" y="93"/>
                  </a:lnTo>
                  <a:lnTo>
                    <a:pt x="30" y="84"/>
                  </a:lnTo>
                  <a:lnTo>
                    <a:pt x="30" y="75"/>
                  </a:lnTo>
                  <a:lnTo>
                    <a:pt x="30" y="66"/>
                  </a:lnTo>
                  <a:lnTo>
                    <a:pt x="33" y="58"/>
                  </a:lnTo>
                  <a:lnTo>
                    <a:pt x="38" y="50"/>
                  </a:lnTo>
                  <a:lnTo>
                    <a:pt x="43" y="42"/>
                  </a:lnTo>
                  <a:lnTo>
                    <a:pt x="49" y="37"/>
                  </a:lnTo>
                  <a:lnTo>
                    <a:pt x="57" y="33"/>
                  </a:lnTo>
                  <a:lnTo>
                    <a:pt x="65" y="31"/>
                  </a:lnTo>
                  <a:lnTo>
                    <a:pt x="75" y="30"/>
                  </a:lnTo>
                  <a:lnTo>
                    <a:pt x="84" y="31"/>
                  </a:lnTo>
                  <a:lnTo>
                    <a:pt x="92" y="33"/>
                  </a:lnTo>
                  <a:lnTo>
                    <a:pt x="100" y="37"/>
                  </a:lnTo>
                  <a:lnTo>
                    <a:pt x="106" y="42"/>
                  </a:lnTo>
                  <a:lnTo>
                    <a:pt x="113" y="50"/>
                  </a:lnTo>
                  <a:lnTo>
                    <a:pt x="116" y="58"/>
                  </a:lnTo>
                  <a:lnTo>
                    <a:pt x="119" y="66"/>
                  </a:lnTo>
                  <a:lnTo>
                    <a:pt x="120" y="75"/>
                  </a:lnTo>
                  <a:lnTo>
                    <a:pt x="119" y="84"/>
                  </a:lnTo>
                  <a:lnTo>
                    <a:pt x="116" y="93"/>
                  </a:lnTo>
                  <a:lnTo>
                    <a:pt x="113" y="100"/>
                  </a:lnTo>
                  <a:lnTo>
                    <a:pt x="106" y="107"/>
                  </a:lnTo>
                  <a:lnTo>
                    <a:pt x="100" y="112"/>
                  </a:lnTo>
                  <a:lnTo>
                    <a:pt x="92" y="116"/>
                  </a:lnTo>
                  <a:lnTo>
                    <a:pt x="84" y="119"/>
                  </a:lnTo>
                  <a:lnTo>
                    <a:pt x="75" y="120"/>
                  </a:lnTo>
                  <a:close/>
                  <a:moveTo>
                    <a:pt x="75" y="0"/>
                  </a:moveTo>
                  <a:lnTo>
                    <a:pt x="67" y="0"/>
                  </a:lnTo>
                  <a:lnTo>
                    <a:pt x="60" y="2"/>
                  </a:lnTo>
                  <a:lnTo>
                    <a:pt x="53" y="3"/>
                  </a:lnTo>
                  <a:lnTo>
                    <a:pt x="45" y="6"/>
                  </a:lnTo>
                  <a:lnTo>
                    <a:pt x="39" y="9"/>
                  </a:lnTo>
                  <a:lnTo>
                    <a:pt x="32" y="12"/>
                  </a:lnTo>
                  <a:lnTo>
                    <a:pt x="27" y="17"/>
                  </a:lnTo>
                  <a:lnTo>
                    <a:pt x="22" y="22"/>
                  </a:lnTo>
                  <a:lnTo>
                    <a:pt x="17" y="27"/>
                  </a:lnTo>
                  <a:lnTo>
                    <a:pt x="13" y="33"/>
                  </a:lnTo>
                  <a:lnTo>
                    <a:pt x="9" y="39"/>
                  </a:lnTo>
                  <a:lnTo>
                    <a:pt x="5" y="46"/>
                  </a:lnTo>
                  <a:lnTo>
                    <a:pt x="3" y="52"/>
                  </a:lnTo>
                  <a:lnTo>
                    <a:pt x="1" y="60"/>
                  </a:lnTo>
                  <a:lnTo>
                    <a:pt x="0" y="67"/>
                  </a:lnTo>
                  <a:lnTo>
                    <a:pt x="0" y="75"/>
                  </a:lnTo>
                  <a:lnTo>
                    <a:pt x="0" y="82"/>
                  </a:lnTo>
                  <a:lnTo>
                    <a:pt x="1" y="90"/>
                  </a:lnTo>
                  <a:lnTo>
                    <a:pt x="3" y="97"/>
                  </a:lnTo>
                  <a:lnTo>
                    <a:pt x="5" y="104"/>
                  </a:lnTo>
                  <a:lnTo>
                    <a:pt x="9" y="111"/>
                  </a:lnTo>
                  <a:lnTo>
                    <a:pt x="13" y="116"/>
                  </a:lnTo>
                  <a:lnTo>
                    <a:pt x="17" y="123"/>
                  </a:lnTo>
                  <a:lnTo>
                    <a:pt x="22" y="128"/>
                  </a:lnTo>
                  <a:lnTo>
                    <a:pt x="27" y="133"/>
                  </a:lnTo>
                  <a:lnTo>
                    <a:pt x="32" y="137"/>
                  </a:lnTo>
                  <a:lnTo>
                    <a:pt x="39" y="141"/>
                  </a:lnTo>
                  <a:lnTo>
                    <a:pt x="45" y="144"/>
                  </a:lnTo>
                  <a:lnTo>
                    <a:pt x="53" y="147"/>
                  </a:lnTo>
                  <a:lnTo>
                    <a:pt x="60" y="149"/>
                  </a:lnTo>
                  <a:lnTo>
                    <a:pt x="67" y="150"/>
                  </a:lnTo>
                  <a:lnTo>
                    <a:pt x="75" y="150"/>
                  </a:lnTo>
                  <a:lnTo>
                    <a:pt x="83" y="150"/>
                  </a:lnTo>
                  <a:lnTo>
                    <a:pt x="90" y="149"/>
                  </a:lnTo>
                  <a:lnTo>
                    <a:pt x="97" y="147"/>
                  </a:lnTo>
                  <a:lnTo>
                    <a:pt x="104" y="144"/>
                  </a:lnTo>
                  <a:lnTo>
                    <a:pt x="111" y="141"/>
                  </a:lnTo>
                  <a:lnTo>
                    <a:pt x="117" y="137"/>
                  </a:lnTo>
                  <a:lnTo>
                    <a:pt x="122" y="133"/>
                  </a:lnTo>
                  <a:lnTo>
                    <a:pt x="128" y="128"/>
                  </a:lnTo>
                  <a:lnTo>
                    <a:pt x="133" y="123"/>
                  </a:lnTo>
                  <a:lnTo>
                    <a:pt x="137" y="116"/>
                  </a:lnTo>
                  <a:lnTo>
                    <a:pt x="141" y="111"/>
                  </a:lnTo>
                  <a:lnTo>
                    <a:pt x="144" y="104"/>
                  </a:lnTo>
                  <a:lnTo>
                    <a:pt x="147" y="97"/>
                  </a:lnTo>
                  <a:lnTo>
                    <a:pt x="148" y="90"/>
                  </a:lnTo>
                  <a:lnTo>
                    <a:pt x="149" y="82"/>
                  </a:lnTo>
                  <a:lnTo>
                    <a:pt x="150" y="75"/>
                  </a:lnTo>
                  <a:lnTo>
                    <a:pt x="149" y="67"/>
                  </a:lnTo>
                  <a:lnTo>
                    <a:pt x="148" y="60"/>
                  </a:lnTo>
                  <a:lnTo>
                    <a:pt x="147" y="52"/>
                  </a:lnTo>
                  <a:lnTo>
                    <a:pt x="144" y="46"/>
                  </a:lnTo>
                  <a:lnTo>
                    <a:pt x="141" y="39"/>
                  </a:lnTo>
                  <a:lnTo>
                    <a:pt x="137" y="33"/>
                  </a:lnTo>
                  <a:lnTo>
                    <a:pt x="133" y="27"/>
                  </a:lnTo>
                  <a:lnTo>
                    <a:pt x="128" y="22"/>
                  </a:lnTo>
                  <a:lnTo>
                    <a:pt x="122" y="17"/>
                  </a:lnTo>
                  <a:lnTo>
                    <a:pt x="117" y="12"/>
                  </a:lnTo>
                  <a:lnTo>
                    <a:pt x="111" y="9"/>
                  </a:lnTo>
                  <a:lnTo>
                    <a:pt x="104" y="6"/>
                  </a:lnTo>
                  <a:lnTo>
                    <a:pt x="97" y="3"/>
                  </a:lnTo>
                  <a:lnTo>
                    <a:pt x="90" y="2"/>
                  </a:lnTo>
                  <a:lnTo>
                    <a:pt x="83"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266">
              <a:extLst>
                <a:ext uri="{FF2B5EF4-FFF2-40B4-BE49-F238E27FC236}">
                  <a16:creationId xmlns:a16="http://schemas.microsoft.com/office/drawing/2014/main" id="{08DE0529-AF62-4E4F-AF2F-E5F992E07796}"/>
                </a:ext>
              </a:extLst>
            </p:cNvPr>
            <p:cNvSpPr>
              <a:spLocks noEditPoints="1"/>
            </p:cNvSpPr>
            <p:nvPr/>
          </p:nvSpPr>
          <p:spPr bwMode="auto">
            <a:xfrm>
              <a:off x="8191500" y="1590358"/>
              <a:ext cx="47625" cy="47625"/>
            </a:xfrm>
            <a:custGeom>
              <a:avLst/>
              <a:gdLst>
                <a:gd name="T0" fmla="*/ 66 w 150"/>
                <a:gd name="T1" fmla="*/ 119 h 150"/>
                <a:gd name="T2" fmla="*/ 50 w 150"/>
                <a:gd name="T3" fmla="*/ 112 h 150"/>
                <a:gd name="T4" fmla="*/ 37 w 150"/>
                <a:gd name="T5" fmla="*/ 100 h 150"/>
                <a:gd name="T6" fmla="*/ 31 w 150"/>
                <a:gd name="T7" fmla="*/ 84 h 150"/>
                <a:gd name="T8" fmla="*/ 31 w 150"/>
                <a:gd name="T9" fmla="*/ 66 h 150"/>
                <a:gd name="T10" fmla="*/ 37 w 150"/>
                <a:gd name="T11" fmla="*/ 50 h 150"/>
                <a:gd name="T12" fmla="*/ 50 w 150"/>
                <a:gd name="T13" fmla="*/ 37 h 150"/>
                <a:gd name="T14" fmla="*/ 66 w 150"/>
                <a:gd name="T15" fmla="*/ 31 h 150"/>
                <a:gd name="T16" fmla="*/ 84 w 150"/>
                <a:gd name="T17" fmla="*/ 31 h 150"/>
                <a:gd name="T18" fmla="*/ 100 w 150"/>
                <a:gd name="T19" fmla="*/ 37 h 150"/>
                <a:gd name="T20" fmla="*/ 112 w 150"/>
                <a:gd name="T21" fmla="*/ 50 h 150"/>
                <a:gd name="T22" fmla="*/ 119 w 150"/>
                <a:gd name="T23" fmla="*/ 66 h 150"/>
                <a:gd name="T24" fmla="*/ 119 w 150"/>
                <a:gd name="T25" fmla="*/ 84 h 150"/>
                <a:gd name="T26" fmla="*/ 112 w 150"/>
                <a:gd name="T27" fmla="*/ 100 h 150"/>
                <a:gd name="T28" fmla="*/ 100 w 150"/>
                <a:gd name="T29" fmla="*/ 112 h 150"/>
                <a:gd name="T30" fmla="*/ 84 w 150"/>
                <a:gd name="T31" fmla="*/ 119 h 150"/>
                <a:gd name="T32" fmla="*/ 75 w 150"/>
                <a:gd name="T33" fmla="*/ 0 h 150"/>
                <a:gd name="T34" fmla="*/ 60 w 150"/>
                <a:gd name="T35" fmla="*/ 2 h 150"/>
                <a:gd name="T36" fmla="*/ 46 w 150"/>
                <a:gd name="T37" fmla="*/ 6 h 150"/>
                <a:gd name="T38" fmla="*/ 33 w 150"/>
                <a:gd name="T39" fmla="*/ 12 h 150"/>
                <a:gd name="T40" fmla="*/ 22 w 150"/>
                <a:gd name="T41" fmla="*/ 22 h 150"/>
                <a:gd name="T42" fmla="*/ 13 w 150"/>
                <a:gd name="T43" fmla="*/ 33 h 150"/>
                <a:gd name="T44" fmla="*/ 6 w 150"/>
                <a:gd name="T45" fmla="*/ 46 h 150"/>
                <a:gd name="T46" fmla="*/ 1 w 150"/>
                <a:gd name="T47" fmla="*/ 60 h 150"/>
                <a:gd name="T48" fmla="*/ 0 w 150"/>
                <a:gd name="T49" fmla="*/ 75 h 150"/>
                <a:gd name="T50" fmla="*/ 1 w 150"/>
                <a:gd name="T51" fmla="*/ 90 h 150"/>
                <a:gd name="T52" fmla="*/ 6 w 150"/>
                <a:gd name="T53" fmla="*/ 104 h 150"/>
                <a:gd name="T54" fmla="*/ 13 w 150"/>
                <a:gd name="T55" fmla="*/ 116 h 150"/>
                <a:gd name="T56" fmla="*/ 22 w 150"/>
                <a:gd name="T57" fmla="*/ 128 h 150"/>
                <a:gd name="T58" fmla="*/ 33 w 150"/>
                <a:gd name="T59" fmla="*/ 137 h 150"/>
                <a:gd name="T60" fmla="*/ 46 w 150"/>
                <a:gd name="T61" fmla="*/ 144 h 150"/>
                <a:gd name="T62" fmla="*/ 60 w 150"/>
                <a:gd name="T63" fmla="*/ 149 h 150"/>
                <a:gd name="T64" fmla="*/ 75 w 150"/>
                <a:gd name="T65" fmla="*/ 150 h 150"/>
                <a:gd name="T66" fmla="*/ 90 w 150"/>
                <a:gd name="T67" fmla="*/ 149 h 150"/>
                <a:gd name="T68" fmla="*/ 104 w 150"/>
                <a:gd name="T69" fmla="*/ 144 h 150"/>
                <a:gd name="T70" fmla="*/ 117 w 150"/>
                <a:gd name="T71" fmla="*/ 137 h 150"/>
                <a:gd name="T72" fmla="*/ 128 w 150"/>
                <a:gd name="T73" fmla="*/ 128 h 150"/>
                <a:gd name="T74" fmla="*/ 137 w 150"/>
                <a:gd name="T75" fmla="*/ 116 h 150"/>
                <a:gd name="T76" fmla="*/ 144 w 150"/>
                <a:gd name="T77" fmla="*/ 104 h 150"/>
                <a:gd name="T78" fmla="*/ 149 w 150"/>
                <a:gd name="T79" fmla="*/ 90 h 150"/>
                <a:gd name="T80" fmla="*/ 150 w 150"/>
                <a:gd name="T81" fmla="*/ 75 h 150"/>
                <a:gd name="T82" fmla="*/ 149 w 150"/>
                <a:gd name="T83" fmla="*/ 60 h 150"/>
                <a:gd name="T84" fmla="*/ 144 w 150"/>
                <a:gd name="T85" fmla="*/ 46 h 150"/>
                <a:gd name="T86" fmla="*/ 137 w 150"/>
                <a:gd name="T87" fmla="*/ 33 h 150"/>
                <a:gd name="T88" fmla="*/ 128 w 150"/>
                <a:gd name="T89" fmla="*/ 22 h 150"/>
                <a:gd name="T90" fmla="*/ 117 w 150"/>
                <a:gd name="T91" fmla="*/ 12 h 150"/>
                <a:gd name="T92" fmla="*/ 104 w 150"/>
                <a:gd name="T93" fmla="*/ 6 h 150"/>
                <a:gd name="T94" fmla="*/ 90 w 150"/>
                <a:gd name="T95" fmla="*/ 2 h 150"/>
                <a:gd name="T96" fmla="*/ 75 w 150"/>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0">
                  <a:moveTo>
                    <a:pt x="75" y="120"/>
                  </a:moveTo>
                  <a:lnTo>
                    <a:pt x="66" y="119"/>
                  </a:lnTo>
                  <a:lnTo>
                    <a:pt x="58" y="116"/>
                  </a:lnTo>
                  <a:lnTo>
                    <a:pt x="50" y="112"/>
                  </a:lnTo>
                  <a:lnTo>
                    <a:pt x="43" y="107"/>
                  </a:lnTo>
                  <a:lnTo>
                    <a:pt x="37" y="100"/>
                  </a:lnTo>
                  <a:lnTo>
                    <a:pt x="33" y="93"/>
                  </a:lnTo>
                  <a:lnTo>
                    <a:pt x="31" y="84"/>
                  </a:lnTo>
                  <a:lnTo>
                    <a:pt x="30" y="75"/>
                  </a:lnTo>
                  <a:lnTo>
                    <a:pt x="31" y="66"/>
                  </a:lnTo>
                  <a:lnTo>
                    <a:pt x="33" y="58"/>
                  </a:lnTo>
                  <a:lnTo>
                    <a:pt x="37" y="50"/>
                  </a:lnTo>
                  <a:lnTo>
                    <a:pt x="43" y="42"/>
                  </a:lnTo>
                  <a:lnTo>
                    <a:pt x="50" y="37"/>
                  </a:lnTo>
                  <a:lnTo>
                    <a:pt x="58" y="33"/>
                  </a:lnTo>
                  <a:lnTo>
                    <a:pt x="66" y="31"/>
                  </a:lnTo>
                  <a:lnTo>
                    <a:pt x="75" y="30"/>
                  </a:lnTo>
                  <a:lnTo>
                    <a:pt x="84" y="31"/>
                  </a:lnTo>
                  <a:lnTo>
                    <a:pt x="92" y="33"/>
                  </a:lnTo>
                  <a:lnTo>
                    <a:pt x="100" y="37"/>
                  </a:lnTo>
                  <a:lnTo>
                    <a:pt x="107" y="42"/>
                  </a:lnTo>
                  <a:lnTo>
                    <a:pt x="112" y="50"/>
                  </a:lnTo>
                  <a:lnTo>
                    <a:pt x="117" y="58"/>
                  </a:lnTo>
                  <a:lnTo>
                    <a:pt x="119" y="66"/>
                  </a:lnTo>
                  <a:lnTo>
                    <a:pt x="120" y="75"/>
                  </a:lnTo>
                  <a:lnTo>
                    <a:pt x="119" y="84"/>
                  </a:lnTo>
                  <a:lnTo>
                    <a:pt x="117" y="93"/>
                  </a:lnTo>
                  <a:lnTo>
                    <a:pt x="112" y="100"/>
                  </a:lnTo>
                  <a:lnTo>
                    <a:pt x="107" y="107"/>
                  </a:lnTo>
                  <a:lnTo>
                    <a:pt x="100" y="112"/>
                  </a:lnTo>
                  <a:lnTo>
                    <a:pt x="92" y="116"/>
                  </a:lnTo>
                  <a:lnTo>
                    <a:pt x="84" y="119"/>
                  </a:lnTo>
                  <a:lnTo>
                    <a:pt x="75" y="120"/>
                  </a:lnTo>
                  <a:close/>
                  <a:moveTo>
                    <a:pt x="75" y="0"/>
                  </a:moveTo>
                  <a:lnTo>
                    <a:pt x="67" y="0"/>
                  </a:lnTo>
                  <a:lnTo>
                    <a:pt x="60" y="2"/>
                  </a:lnTo>
                  <a:lnTo>
                    <a:pt x="52" y="3"/>
                  </a:lnTo>
                  <a:lnTo>
                    <a:pt x="46" y="6"/>
                  </a:lnTo>
                  <a:lnTo>
                    <a:pt x="39" y="9"/>
                  </a:lnTo>
                  <a:lnTo>
                    <a:pt x="33" y="12"/>
                  </a:lnTo>
                  <a:lnTo>
                    <a:pt x="28" y="17"/>
                  </a:lnTo>
                  <a:lnTo>
                    <a:pt x="22" y="22"/>
                  </a:lnTo>
                  <a:lnTo>
                    <a:pt x="17" y="27"/>
                  </a:lnTo>
                  <a:lnTo>
                    <a:pt x="13" y="33"/>
                  </a:lnTo>
                  <a:lnTo>
                    <a:pt x="8" y="39"/>
                  </a:lnTo>
                  <a:lnTo>
                    <a:pt x="6" y="46"/>
                  </a:lnTo>
                  <a:lnTo>
                    <a:pt x="3" y="52"/>
                  </a:lnTo>
                  <a:lnTo>
                    <a:pt x="1" y="60"/>
                  </a:lnTo>
                  <a:lnTo>
                    <a:pt x="0" y="67"/>
                  </a:lnTo>
                  <a:lnTo>
                    <a:pt x="0" y="75"/>
                  </a:lnTo>
                  <a:lnTo>
                    <a:pt x="0" y="82"/>
                  </a:lnTo>
                  <a:lnTo>
                    <a:pt x="1" y="90"/>
                  </a:lnTo>
                  <a:lnTo>
                    <a:pt x="3" y="97"/>
                  </a:lnTo>
                  <a:lnTo>
                    <a:pt x="6" y="104"/>
                  </a:lnTo>
                  <a:lnTo>
                    <a:pt x="8" y="111"/>
                  </a:lnTo>
                  <a:lnTo>
                    <a:pt x="13" y="116"/>
                  </a:lnTo>
                  <a:lnTo>
                    <a:pt x="17" y="123"/>
                  </a:lnTo>
                  <a:lnTo>
                    <a:pt x="22" y="128"/>
                  </a:lnTo>
                  <a:lnTo>
                    <a:pt x="28" y="133"/>
                  </a:lnTo>
                  <a:lnTo>
                    <a:pt x="33" y="137"/>
                  </a:lnTo>
                  <a:lnTo>
                    <a:pt x="39" y="141"/>
                  </a:lnTo>
                  <a:lnTo>
                    <a:pt x="46" y="144"/>
                  </a:lnTo>
                  <a:lnTo>
                    <a:pt x="52" y="147"/>
                  </a:lnTo>
                  <a:lnTo>
                    <a:pt x="60" y="149"/>
                  </a:lnTo>
                  <a:lnTo>
                    <a:pt x="67" y="150"/>
                  </a:lnTo>
                  <a:lnTo>
                    <a:pt x="75" y="150"/>
                  </a:lnTo>
                  <a:lnTo>
                    <a:pt x="82" y="150"/>
                  </a:lnTo>
                  <a:lnTo>
                    <a:pt x="90" y="149"/>
                  </a:lnTo>
                  <a:lnTo>
                    <a:pt x="97" y="147"/>
                  </a:lnTo>
                  <a:lnTo>
                    <a:pt x="104" y="144"/>
                  </a:lnTo>
                  <a:lnTo>
                    <a:pt x="110" y="141"/>
                  </a:lnTo>
                  <a:lnTo>
                    <a:pt x="117" y="137"/>
                  </a:lnTo>
                  <a:lnTo>
                    <a:pt x="123" y="133"/>
                  </a:lnTo>
                  <a:lnTo>
                    <a:pt x="128" y="128"/>
                  </a:lnTo>
                  <a:lnTo>
                    <a:pt x="133" y="123"/>
                  </a:lnTo>
                  <a:lnTo>
                    <a:pt x="137" y="116"/>
                  </a:lnTo>
                  <a:lnTo>
                    <a:pt x="141" y="111"/>
                  </a:lnTo>
                  <a:lnTo>
                    <a:pt x="144" y="104"/>
                  </a:lnTo>
                  <a:lnTo>
                    <a:pt x="147" y="97"/>
                  </a:lnTo>
                  <a:lnTo>
                    <a:pt x="149" y="90"/>
                  </a:lnTo>
                  <a:lnTo>
                    <a:pt x="150" y="82"/>
                  </a:lnTo>
                  <a:lnTo>
                    <a:pt x="150" y="75"/>
                  </a:lnTo>
                  <a:lnTo>
                    <a:pt x="150" y="67"/>
                  </a:lnTo>
                  <a:lnTo>
                    <a:pt x="149" y="60"/>
                  </a:lnTo>
                  <a:lnTo>
                    <a:pt x="147" y="52"/>
                  </a:lnTo>
                  <a:lnTo>
                    <a:pt x="144" y="46"/>
                  </a:lnTo>
                  <a:lnTo>
                    <a:pt x="141" y="39"/>
                  </a:lnTo>
                  <a:lnTo>
                    <a:pt x="137" y="33"/>
                  </a:lnTo>
                  <a:lnTo>
                    <a:pt x="133" y="27"/>
                  </a:lnTo>
                  <a:lnTo>
                    <a:pt x="128" y="22"/>
                  </a:lnTo>
                  <a:lnTo>
                    <a:pt x="123" y="17"/>
                  </a:lnTo>
                  <a:lnTo>
                    <a:pt x="117" y="12"/>
                  </a:lnTo>
                  <a:lnTo>
                    <a:pt x="110" y="9"/>
                  </a:lnTo>
                  <a:lnTo>
                    <a:pt x="104" y="6"/>
                  </a:lnTo>
                  <a:lnTo>
                    <a:pt x="97" y="3"/>
                  </a:lnTo>
                  <a:lnTo>
                    <a:pt x="90" y="2"/>
                  </a:lnTo>
                  <a:lnTo>
                    <a:pt x="82"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267">
              <a:extLst>
                <a:ext uri="{FF2B5EF4-FFF2-40B4-BE49-F238E27FC236}">
                  <a16:creationId xmlns:a16="http://schemas.microsoft.com/office/drawing/2014/main" id="{68EDA35E-EB24-4B23-AC0D-9C6AD2EA7B48}"/>
                </a:ext>
              </a:extLst>
            </p:cNvPr>
            <p:cNvSpPr>
              <a:spLocks/>
            </p:cNvSpPr>
            <p:nvPr/>
          </p:nvSpPr>
          <p:spPr bwMode="auto">
            <a:xfrm>
              <a:off x="8162925" y="1390333"/>
              <a:ext cx="285750" cy="190500"/>
            </a:xfrm>
            <a:custGeom>
              <a:avLst/>
              <a:gdLst>
                <a:gd name="T0" fmla="*/ 886 w 901"/>
                <a:gd name="T1" fmla="*/ 0 h 602"/>
                <a:gd name="T2" fmla="*/ 830 w 901"/>
                <a:gd name="T3" fmla="*/ 0 h 602"/>
                <a:gd name="T4" fmla="*/ 824 w 901"/>
                <a:gd name="T5" fmla="*/ 1 h 602"/>
                <a:gd name="T6" fmla="*/ 820 w 901"/>
                <a:gd name="T7" fmla="*/ 4 h 602"/>
                <a:gd name="T8" fmla="*/ 817 w 901"/>
                <a:gd name="T9" fmla="*/ 9 h 602"/>
                <a:gd name="T10" fmla="*/ 814 w 901"/>
                <a:gd name="T11" fmla="*/ 14 h 602"/>
                <a:gd name="T12" fmla="*/ 741 w 901"/>
                <a:gd name="T13" fmla="*/ 572 h 602"/>
                <a:gd name="T14" fmla="*/ 15 w 901"/>
                <a:gd name="T15" fmla="*/ 572 h 602"/>
                <a:gd name="T16" fmla="*/ 11 w 901"/>
                <a:gd name="T17" fmla="*/ 572 h 602"/>
                <a:gd name="T18" fmla="*/ 8 w 901"/>
                <a:gd name="T19" fmla="*/ 573 h 602"/>
                <a:gd name="T20" fmla="*/ 6 w 901"/>
                <a:gd name="T21" fmla="*/ 574 h 602"/>
                <a:gd name="T22" fmla="*/ 4 w 901"/>
                <a:gd name="T23" fmla="*/ 576 h 602"/>
                <a:gd name="T24" fmla="*/ 2 w 901"/>
                <a:gd name="T25" fmla="*/ 578 h 602"/>
                <a:gd name="T26" fmla="*/ 1 w 901"/>
                <a:gd name="T27" fmla="*/ 581 h 602"/>
                <a:gd name="T28" fmla="*/ 0 w 901"/>
                <a:gd name="T29" fmla="*/ 583 h 602"/>
                <a:gd name="T30" fmla="*/ 0 w 901"/>
                <a:gd name="T31" fmla="*/ 587 h 602"/>
                <a:gd name="T32" fmla="*/ 0 w 901"/>
                <a:gd name="T33" fmla="*/ 590 h 602"/>
                <a:gd name="T34" fmla="*/ 1 w 901"/>
                <a:gd name="T35" fmla="*/ 593 h 602"/>
                <a:gd name="T36" fmla="*/ 2 w 901"/>
                <a:gd name="T37" fmla="*/ 595 h 602"/>
                <a:gd name="T38" fmla="*/ 4 w 901"/>
                <a:gd name="T39" fmla="*/ 597 h 602"/>
                <a:gd name="T40" fmla="*/ 6 w 901"/>
                <a:gd name="T41" fmla="*/ 599 h 602"/>
                <a:gd name="T42" fmla="*/ 8 w 901"/>
                <a:gd name="T43" fmla="*/ 600 h 602"/>
                <a:gd name="T44" fmla="*/ 11 w 901"/>
                <a:gd name="T45" fmla="*/ 602 h 602"/>
                <a:gd name="T46" fmla="*/ 15 w 901"/>
                <a:gd name="T47" fmla="*/ 602 h 602"/>
                <a:gd name="T48" fmla="*/ 753 w 901"/>
                <a:gd name="T49" fmla="*/ 602 h 602"/>
                <a:gd name="T50" fmla="*/ 759 w 901"/>
                <a:gd name="T51" fmla="*/ 600 h 602"/>
                <a:gd name="T52" fmla="*/ 764 w 901"/>
                <a:gd name="T53" fmla="*/ 598 h 602"/>
                <a:gd name="T54" fmla="*/ 767 w 901"/>
                <a:gd name="T55" fmla="*/ 594 h 602"/>
                <a:gd name="T56" fmla="*/ 768 w 901"/>
                <a:gd name="T57" fmla="*/ 589 h 602"/>
                <a:gd name="T58" fmla="*/ 842 w 901"/>
                <a:gd name="T59" fmla="*/ 30 h 602"/>
                <a:gd name="T60" fmla="*/ 886 w 901"/>
                <a:gd name="T61" fmla="*/ 30 h 602"/>
                <a:gd name="T62" fmla="*/ 890 w 901"/>
                <a:gd name="T63" fmla="*/ 30 h 602"/>
                <a:gd name="T64" fmla="*/ 892 w 901"/>
                <a:gd name="T65" fmla="*/ 29 h 602"/>
                <a:gd name="T66" fmla="*/ 895 w 901"/>
                <a:gd name="T67" fmla="*/ 28 h 602"/>
                <a:gd name="T68" fmla="*/ 897 w 901"/>
                <a:gd name="T69" fmla="*/ 26 h 602"/>
                <a:gd name="T70" fmla="*/ 899 w 901"/>
                <a:gd name="T71" fmla="*/ 24 h 602"/>
                <a:gd name="T72" fmla="*/ 900 w 901"/>
                <a:gd name="T73" fmla="*/ 21 h 602"/>
                <a:gd name="T74" fmla="*/ 901 w 901"/>
                <a:gd name="T75" fmla="*/ 18 h 602"/>
                <a:gd name="T76" fmla="*/ 901 w 901"/>
                <a:gd name="T77" fmla="*/ 15 h 602"/>
                <a:gd name="T78" fmla="*/ 901 w 901"/>
                <a:gd name="T79" fmla="*/ 13 h 602"/>
                <a:gd name="T80" fmla="*/ 900 w 901"/>
                <a:gd name="T81" fmla="*/ 10 h 602"/>
                <a:gd name="T82" fmla="*/ 899 w 901"/>
                <a:gd name="T83" fmla="*/ 7 h 602"/>
                <a:gd name="T84" fmla="*/ 897 w 901"/>
                <a:gd name="T85" fmla="*/ 4 h 602"/>
                <a:gd name="T86" fmla="*/ 895 w 901"/>
                <a:gd name="T87" fmla="*/ 3 h 602"/>
                <a:gd name="T88" fmla="*/ 892 w 901"/>
                <a:gd name="T89" fmla="*/ 1 h 602"/>
                <a:gd name="T90" fmla="*/ 890 w 901"/>
                <a:gd name="T91" fmla="*/ 1 h 602"/>
                <a:gd name="T92" fmla="*/ 886 w 901"/>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1" h="602">
                  <a:moveTo>
                    <a:pt x="886" y="0"/>
                  </a:moveTo>
                  <a:lnTo>
                    <a:pt x="830" y="0"/>
                  </a:lnTo>
                  <a:lnTo>
                    <a:pt x="824" y="1"/>
                  </a:lnTo>
                  <a:lnTo>
                    <a:pt x="820" y="4"/>
                  </a:lnTo>
                  <a:lnTo>
                    <a:pt x="817" y="9"/>
                  </a:lnTo>
                  <a:lnTo>
                    <a:pt x="814" y="14"/>
                  </a:lnTo>
                  <a:lnTo>
                    <a:pt x="741" y="572"/>
                  </a:lnTo>
                  <a:lnTo>
                    <a:pt x="15" y="572"/>
                  </a:lnTo>
                  <a:lnTo>
                    <a:pt x="11" y="572"/>
                  </a:lnTo>
                  <a:lnTo>
                    <a:pt x="8" y="573"/>
                  </a:lnTo>
                  <a:lnTo>
                    <a:pt x="6" y="574"/>
                  </a:lnTo>
                  <a:lnTo>
                    <a:pt x="4" y="576"/>
                  </a:lnTo>
                  <a:lnTo>
                    <a:pt x="2" y="578"/>
                  </a:lnTo>
                  <a:lnTo>
                    <a:pt x="1" y="581"/>
                  </a:lnTo>
                  <a:lnTo>
                    <a:pt x="0" y="583"/>
                  </a:lnTo>
                  <a:lnTo>
                    <a:pt x="0" y="587"/>
                  </a:lnTo>
                  <a:lnTo>
                    <a:pt x="0" y="590"/>
                  </a:lnTo>
                  <a:lnTo>
                    <a:pt x="1" y="593"/>
                  </a:lnTo>
                  <a:lnTo>
                    <a:pt x="2" y="595"/>
                  </a:lnTo>
                  <a:lnTo>
                    <a:pt x="4" y="597"/>
                  </a:lnTo>
                  <a:lnTo>
                    <a:pt x="6" y="599"/>
                  </a:lnTo>
                  <a:lnTo>
                    <a:pt x="8" y="600"/>
                  </a:lnTo>
                  <a:lnTo>
                    <a:pt x="11" y="602"/>
                  </a:lnTo>
                  <a:lnTo>
                    <a:pt x="15" y="602"/>
                  </a:lnTo>
                  <a:lnTo>
                    <a:pt x="753" y="602"/>
                  </a:lnTo>
                  <a:lnTo>
                    <a:pt x="759" y="600"/>
                  </a:lnTo>
                  <a:lnTo>
                    <a:pt x="764" y="598"/>
                  </a:lnTo>
                  <a:lnTo>
                    <a:pt x="767" y="594"/>
                  </a:lnTo>
                  <a:lnTo>
                    <a:pt x="768" y="589"/>
                  </a:lnTo>
                  <a:lnTo>
                    <a:pt x="842" y="30"/>
                  </a:lnTo>
                  <a:lnTo>
                    <a:pt x="886" y="30"/>
                  </a:lnTo>
                  <a:lnTo>
                    <a:pt x="890" y="30"/>
                  </a:lnTo>
                  <a:lnTo>
                    <a:pt x="892" y="29"/>
                  </a:lnTo>
                  <a:lnTo>
                    <a:pt x="895" y="28"/>
                  </a:lnTo>
                  <a:lnTo>
                    <a:pt x="897" y="26"/>
                  </a:lnTo>
                  <a:lnTo>
                    <a:pt x="899" y="24"/>
                  </a:lnTo>
                  <a:lnTo>
                    <a:pt x="900" y="21"/>
                  </a:lnTo>
                  <a:lnTo>
                    <a:pt x="901" y="18"/>
                  </a:lnTo>
                  <a:lnTo>
                    <a:pt x="901" y="15"/>
                  </a:lnTo>
                  <a:lnTo>
                    <a:pt x="901" y="13"/>
                  </a:lnTo>
                  <a:lnTo>
                    <a:pt x="900" y="10"/>
                  </a:lnTo>
                  <a:lnTo>
                    <a:pt x="899" y="7"/>
                  </a:lnTo>
                  <a:lnTo>
                    <a:pt x="897" y="4"/>
                  </a:lnTo>
                  <a:lnTo>
                    <a:pt x="895" y="3"/>
                  </a:lnTo>
                  <a:lnTo>
                    <a:pt x="892" y="1"/>
                  </a:lnTo>
                  <a:lnTo>
                    <a:pt x="890" y="1"/>
                  </a:lnTo>
                  <a:lnTo>
                    <a:pt x="8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268">
              <a:extLst>
                <a:ext uri="{FF2B5EF4-FFF2-40B4-BE49-F238E27FC236}">
                  <a16:creationId xmlns:a16="http://schemas.microsoft.com/office/drawing/2014/main" id="{65A41D80-DBB1-47EB-BEDA-94D37C638641}"/>
                </a:ext>
              </a:extLst>
            </p:cNvPr>
            <p:cNvSpPr>
              <a:spLocks noEditPoints="1"/>
            </p:cNvSpPr>
            <p:nvPr/>
          </p:nvSpPr>
          <p:spPr bwMode="auto">
            <a:xfrm>
              <a:off x="8172450" y="1409383"/>
              <a:ext cx="200025" cy="142875"/>
            </a:xfrm>
            <a:custGeom>
              <a:avLst/>
              <a:gdLst>
                <a:gd name="T0" fmla="*/ 75 w 631"/>
                <a:gd name="T1" fmla="*/ 301 h 451"/>
                <a:gd name="T2" fmla="*/ 360 w 631"/>
                <a:gd name="T3" fmla="*/ 301 h 451"/>
                <a:gd name="T4" fmla="*/ 30 w 631"/>
                <a:gd name="T5" fmla="*/ 421 h 451"/>
                <a:gd name="T6" fmla="*/ 90 w 631"/>
                <a:gd name="T7" fmla="*/ 181 h 451"/>
                <a:gd name="T8" fmla="*/ 270 w 631"/>
                <a:gd name="T9" fmla="*/ 271 h 451"/>
                <a:gd name="T10" fmla="*/ 90 w 631"/>
                <a:gd name="T11" fmla="*/ 181 h 451"/>
                <a:gd name="T12" fmla="*/ 601 w 631"/>
                <a:gd name="T13" fmla="*/ 30 h 451"/>
                <a:gd name="T14" fmla="*/ 390 w 631"/>
                <a:gd name="T15" fmla="*/ 421 h 451"/>
                <a:gd name="T16" fmla="*/ 390 w 631"/>
                <a:gd name="T17" fmla="*/ 30 h 451"/>
                <a:gd name="T18" fmla="*/ 375 w 631"/>
                <a:gd name="T19" fmla="*/ 451 h 451"/>
                <a:gd name="T20" fmla="*/ 619 w 631"/>
                <a:gd name="T21" fmla="*/ 451 h 451"/>
                <a:gd name="T22" fmla="*/ 625 w 631"/>
                <a:gd name="T23" fmla="*/ 449 h 451"/>
                <a:gd name="T24" fmla="*/ 628 w 631"/>
                <a:gd name="T25" fmla="*/ 445 h 451"/>
                <a:gd name="T26" fmla="*/ 630 w 631"/>
                <a:gd name="T27" fmla="*/ 440 h 451"/>
                <a:gd name="T28" fmla="*/ 631 w 631"/>
                <a:gd name="T29" fmla="*/ 15 h 451"/>
                <a:gd name="T30" fmla="*/ 630 w 631"/>
                <a:gd name="T31" fmla="*/ 10 h 451"/>
                <a:gd name="T32" fmla="*/ 627 w 631"/>
                <a:gd name="T33" fmla="*/ 5 h 451"/>
                <a:gd name="T34" fmla="*/ 622 w 631"/>
                <a:gd name="T35" fmla="*/ 2 h 451"/>
                <a:gd name="T36" fmla="*/ 616 w 631"/>
                <a:gd name="T37" fmla="*/ 0 h 451"/>
                <a:gd name="T38" fmla="*/ 373 w 631"/>
                <a:gd name="T39" fmla="*/ 1 h 451"/>
                <a:gd name="T40" fmla="*/ 367 w 631"/>
                <a:gd name="T41" fmla="*/ 3 h 451"/>
                <a:gd name="T42" fmla="*/ 363 w 631"/>
                <a:gd name="T43" fmla="*/ 8 h 451"/>
                <a:gd name="T44" fmla="*/ 361 w 631"/>
                <a:gd name="T45" fmla="*/ 13 h 451"/>
                <a:gd name="T46" fmla="*/ 360 w 631"/>
                <a:gd name="T47" fmla="*/ 271 h 451"/>
                <a:gd name="T48" fmla="*/ 300 w 631"/>
                <a:gd name="T49" fmla="*/ 166 h 451"/>
                <a:gd name="T50" fmla="*/ 299 w 631"/>
                <a:gd name="T51" fmla="*/ 160 h 451"/>
                <a:gd name="T52" fmla="*/ 296 w 631"/>
                <a:gd name="T53" fmla="*/ 156 h 451"/>
                <a:gd name="T54" fmla="*/ 291 w 631"/>
                <a:gd name="T55" fmla="*/ 152 h 451"/>
                <a:gd name="T56" fmla="*/ 285 w 631"/>
                <a:gd name="T57" fmla="*/ 151 h 451"/>
                <a:gd name="T58" fmla="*/ 71 w 631"/>
                <a:gd name="T59" fmla="*/ 151 h 451"/>
                <a:gd name="T60" fmla="*/ 66 w 631"/>
                <a:gd name="T61" fmla="*/ 153 h 451"/>
                <a:gd name="T62" fmla="*/ 62 w 631"/>
                <a:gd name="T63" fmla="*/ 158 h 451"/>
                <a:gd name="T64" fmla="*/ 60 w 631"/>
                <a:gd name="T65" fmla="*/ 163 h 451"/>
                <a:gd name="T66" fmla="*/ 60 w 631"/>
                <a:gd name="T67" fmla="*/ 271 h 451"/>
                <a:gd name="T68" fmla="*/ 11 w 631"/>
                <a:gd name="T69" fmla="*/ 271 h 451"/>
                <a:gd name="T70" fmla="*/ 6 w 631"/>
                <a:gd name="T71" fmla="*/ 273 h 451"/>
                <a:gd name="T72" fmla="*/ 2 w 631"/>
                <a:gd name="T73" fmla="*/ 278 h 451"/>
                <a:gd name="T74" fmla="*/ 0 w 631"/>
                <a:gd name="T75" fmla="*/ 283 h 451"/>
                <a:gd name="T76" fmla="*/ 0 w 631"/>
                <a:gd name="T77" fmla="*/ 436 h 451"/>
                <a:gd name="T78" fmla="*/ 1 w 631"/>
                <a:gd name="T79" fmla="*/ 442 h 451"/>
                <a:gd name="T80" fmla="*/ 4 w 631"/>
                <a:gd name="T81" fmla="*/ 447 h 451"/>
                <a:gd name="T82" fmla="*/ 8 w 631"/>
                <a:gd name="T83" fmla="*/ 450 h 451"/>
                <a:gd name="T84" fmla="*/ 15 w 631"/>
                <a:gd name="T85" fmla="*/ 45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1" h="451">
                  <a:moveTo>
                    <a:pt x="30" y="301"/>
                  </a:moveTo>
                  <a:lnTo>
                    <a:pt x="75" y="301"/>
                  </a:lnTo>
                  <a:lnTo>
                    <a:pt x="285" y="301"/>
                  </a:lnTo>
                  <a:lnTo>
                    <a:pt x="360" y="301"/>
                  </a:lnTo>
                  <a:lnTo>
                    <a:pt x="360" y="421"/>
                  </a:lnTo>
                  <a:lnTo>
                    <a:pt x="30" y="421"/>
                  </a:lnTo>
                  <a:lnTo>
                    <a:pt x="30" y="301"/>
                  </a:lnTo>
                  <a:close/>
                  <a:moveTo>
                    <a:pt x="90" y="181"/>
                  </a:moveTo>
                  <a:lnTo>
                    <a:pt x="270" y="181"/>
                  </a:lnTo>
                  <a:lnTo>
                    <a:pt x="270" y="271"/>
                  </a:lnTo>
                  <a:lnTo>
                    <a:pt x="90" y="271"/>
                  </a:lnTo>
                  <a:lnTo>
                    <a:pt x="90" y="181"/>
                  </a:lnTo>
                  <a:close/>
                  <a:moveTo>
                    <a:pt x="390" y="30"/>
                  </a:moveTo>
                  <a:lnTo>
                    <a:pt x="601" y="30"/>
                  </a:lnTo>
                  <a:lnTo>
                    <a:pt x="601" y="421"/>
                  </a:lnTo>
                  <a:lnTo>
                    <a:pt x="390" y="421"/>
                  </a:lnTo>
                  <a:lnTo>
                    <a:pt x="390" y="286"/>
                  </a:lnTo>
                  <a:lnTo>
                    <a:pt x="390" y="30"/>
                  </a:lnTo>
                  <a:close/>
                  <a:moveTo>
                    <a:pt x="15" y="451"/>
                  </a:moveTo>
                  <a:lnTo>
                    <a:pt x="375" y="451"/>
                  </a:lnTo>
                  <a:lnTo>
                    <a:pt x="616" y="451"/>
                  </a:lnTo>
                  <a:lnTo>
                    <a:pt x="619" y="451"/>
                  </a:lnTo>
                  <a:lnTo>
                    <a:pt x="622" y="450"/>
                  </a:lnTo>
                  <a:lnTo>
                    <a:pt x="625" y="449"/>
                  </a:lnTo>
                  <a:lnTo>
                    <a:pt x="627" y="447"/>
                  </a:lnTo>
                  <a:lnTo>
                    <a:pt x="628" y="445"/>
                  </a:lnTo>
                  <a:lnTo>
                    <a:pt x="630" y="442"/>
                  </a:lnTo>
                  <a:lnTo>
                    <a:pt x="630" y="440"/>
                  </a:lnTo>
                  <a:lnTo>
                    <a:pt x="631" y="436"/>
                  </a:lnTo>
                  <a:lnTo>
                    <a:pt x="631" y="15"/>
                  </a:lnTo>
                  <a:lnTo>
                    <a:pt x="630" y="13"/>
                  </a:lnTo>
                  <a:lnTo>
                    <a:pt x="630" y="10"/>
                  </a:lnTo>
                  <a:lnTo>
                    <a:pt x="628" y="8"/>
                  </a:lnTo>
                  <a:lnTo>
                    <a:pt x="627" y="5"/>
                  </a:lnTo>
                  <a:lnTo>
                    <a:pt x="625" y="3"/>
                  </a:lnTo>
                  <a:lnTo>
                    <a:pt x="622" y="2"/>
                  </a:lnTo>
                  <a:lnTo>
                    <a:pt x="619" y="1"/>
                  </a:lnTo>
                  <a:lnTo>
                    <a:pt x="616" y="0"/>
                  </a:lnTo>
                  <a:lnTo>
                    <a:pt x="375" y="0"/>
                  </a:lnTo>
                  <a:lnTo>
                    <a:pt x="373" y="1"/>
                  </a:lnTo>
                  <a:lnTo>
                    <a:pt x="370" y="2"/>
                  </a:lnTo>
                  <a:lnTo>
                    <a:pt x="367" y="3"/>
                  </a:lnTo>
                  <a:lnTo>
                    <a:pt x="364" y="5"/>
                  </a:lnTo>
                  <a:lnTo>
                    <a:pt x="363" y="8"/>
                  </a:lnTo>
                  <a:lnTo>
                    <a:pt x="361" y="10"/>
                  </a:lnTo>
                  <a:lnTo>
                    <a:pt x="361" y="13"/>
                  </a:lnTo>
                  <a:lnTo>
                    <a:pt x="360" y="15"/>
                  </a:lnTo>
                  <a:lnTo>
                    <a:pt x="360" y="271"/>
                  </a:lnTo>
                  <a:lnTo>
                    <a:pt x="300" y="271"/>
                  </a:lnTo>
                  <a:lnTo>
                    <a:pt x="300" y="166"/>
                  </a:lnTo>
                  <a:lnTo>
                    <a:pt x="300" y="163"/>
                  </a:lnTo>
                  <a:lnTo>
                    <a:pt x="299" y="160"/>
                  </a:lnTo>
                  <a:lnTo>
                    <a:pt x="298" y="158"/>
                  </a:lnTo>
                  <a:lnTo>
                    <a:pt x="296" y="156"/>
                  </a:lnTo>
                  <a:lnTo>
                    <a:pt x="293" y="153"/>
                  </a:lnTo>
                  <a:lnTo>
                    <a:pt x="291" y="152"/>
                  </a:lnTo>
                  <a:lnTo>
                    <a:pt x="288" y="151"/>
                  </a:lnTo>
                  <a:lnTo>
                    <a:pt x="285" y="151"/>
                  </a:lnTo>
                  <a:lnTo>
                    <a:pt x="75" y="151"/>
                  </a:lnTo>
                  <a:lnTo>
                    <a:pt x="71" y="151"/>
                  </a:lnTo>
                  <a:lnTo>
                    <a:pt x="69" y="152"/>
                  </a:lnTo>
                  <a:lnTo>
                    <a:pt x="66" y="153"/>
                  </a:lnTo>
                  <a:lnTo>
                    <a:pt x="64" y="156"/>
                  </a:lnTo>
                  <a:lnTo>
                    <a:pt x="62" y="158"/>
                  </a:lnTo>
                  <a:lnTo>
                    <a:pt x="61" y="160"/>
                  </a:lnTo>
                  <a:lnTo>
                    <a:pt x="60" y="163"/>
                  </a:lnTo>
                  <a:lnTo>
                    <a:pt x="60" y="166"/>
                  </a:lnTo>
                  <a:lnTo>
                    <a:pt x="60" y="271"/>
                  </a:lnTo>
                  <a:lnTo>
                    <a:pt x="15" y="271"/>
                  </a:lnTo>
                  <a:lnTo>
                    <a:pt x="11" y="271"/>
                  </a:lnTo>
                  <a:lnTo>
                    <a:pt x="8" y="272"/>
                  </a:lnTo>
                  <a:lnTo>
                    <a:pt x="6" y="273"/>
                  </a:lnTo>
                  <a:lnTo>
                    <a:pt x="4" y="276"/>
                  </a:lnTo>
                  <a:lnTo>
                    <a:pt x="2" y="278"/>
                  </a:lnTo>
                  <a:lnTo>
                    <a:pt x="1" y="280"/>
                  </a:lnTo>
                  <a:lnTo>
                    <a:pt x="0" y="283"/>
                  </a:lnTo>
                  <a:lnTo>
                    <a:pt x="0" y="286"/>
                  </a:lnTo>
                  <a:lnTo>
                    <a:pt x="0" y="436"/>
                  </a:lnTo>
                  <a:lnTo>
                    <a:pt x="0" y="440"/>
                  </a:lnTo>
                  <a:lnTo>
                    <a:pt x="1" y="442"/>
                  </a:lnTo>
                  <a:lnTo>
                    <a:pt x="2" y="445"/>
                  </a:lnTo>
                  <a:lnTo>
                    <a:pt x="4" y="447"/>
                  </a:lnTo>
                  <a:lnTo>
                    <a:pt x="6" y="449"/>
                  </a:lnTo>
                  <a:lnTo>
                    <a:pt x="8" y="450"/>
                  </a:lnTo>
                  <a:lnTo>
                    <a:pt x="11" y="451"/>
                  </a:lnTo>
                  <a:lnTo>
                    <a:pt x="15" y="4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1" name="Group 19">
            <a:extLst>
              <a:ext uri="{FF2B5EF4-FFF2-40B4-BE49-F238E27FC236}">
                <a16:creationId xmlns:a16="http://schemas.microsoft.com/office/drawing/2014/main" id="{3947FF6F-962A-418B-8176-39E9E59B5BC0}"/>
              </a:ext>
            </a:extLst>
          </p:cNvPr>
          <p:cNvGrpSpPr>
            <a:grpSpLocks noChangeAspect="1"/>
          </p:cNvGrpSpPr>
          <p:nvPr/>
        </p:nvGrpSpPr>
        <p:grpSpPr>
          <a:xfrm>
            <a:off x="3202636" y="4340505"/>
            <a:ext cx="285619" cy="285619"/>
            <a:chOff x="11026775" y="779145"/>
            <a:chExt cx="285750" cy="285750"/>
          </a:xfrm>
          <a:solidFill>
            <a:schemeClr val="bg1"/>
          </a:solidFill>
          <a:effectLst/>
        </p:grpSpPr>
        <p:sp>
          <p:nvSpPr>
            <p:cNvPr id="1502" name="Freeform 165">
              <a:extLst>
                <a:ext uri="{FF2B5EF4-FFF2-40B4-BE49-F238E27FC236}">
                  <a16:creationId xmlns:a16="http://schemas.microsoft.com/office/drawing/2014/main" id="{5EB23A26-8D5B-4BEB-B12D-D8A8FAD5E09B}"/>
                </a:ext>
              </a:extLst>
            </p:cNvPr>
            <p:cNvSpPr>
              <a:spLocks noEditPoints="1"/>
            </p:cNvSpPr>
            <p:nvPr/>
          </p:nvSpPr>
          <p:spPr bwMode="auto">
            <a:xfrm>
              <a:off x="11026775" y="817245"/>
              <a:ext cx="285750" cy="247650"/>
            </a:xfrm>
            <a:custGeom>
              <a:avLst/>
              <a:gdLst>
                <a:gd name="T0" fmla="*/ 604 w 902"/>
                <a:gd name="T1" fmla="*/ 572 h 782"/>
                <a:gd name="T2" fmla="*/ 568 w 902"/>
                <a:gd name="T3" fmla="*/ 749 h 782"/>
                <a:gd name="T4" fmla="*/ 545 w 902"/>
                <a:gd name="T5" fmla="*/ 724 h 782"/>
                <a:gd name="T6" fmla="*/ 545 w 902"/>
                <a:gd name="T7" fmla="*/ 690 h 782"/>
                <a:gd name="T8" fmla="*/ 568 w 902"/>
                <a:gd name="T9" fmla="*/ 665 h 782"/>
                <a:gd name="T10" fmla="*/ 604 w 902"/>
                <a:gd name="T11" fmla="*/ 665 h 782"/>
                <a:gd name="T12" fmla="*/ 627 w 902"/>
                <a:gd name="T13" fmla="*/ 690 h 782"/>
                <a:gd name="T14" fmla="*/ 627 w 902"/>
                <a:gd name="T15" fmla="*/ 724 h 782"/>
                <a:gd name="T16" fmla="*/ 604 w 902"/>
                <a:gd name="T17" fmla="*/ 749 h 782"/>
                <a:gd name="T18" fmla="*/ 224 w 902"/>
                <a:gd name="T19" fmla="*/ 716 h 782"/>
                <a:gd name="T20" fmla="*/ 205 w 902"/>
                <a:gd name="T21" fmla="*/ 745 h 782"/>
                <a:gd name="T22" fmla="*/ 170 w 902"/>
                <a:gd name="T23" fmla="*/ 751 h 782"/>
                <a:gd name="T24" fmla="*/ 142 w 902"/>
                <a:gd name="T25" fmla="*/ 732 h 782"/>
                <a:gd name="T26" fmla="*/ 136 w 902"/>
                <a:gd name="T27" fmla="*/ 697 h 782"/>
                <a:gd name="T28" fmla="*/ 154 w 902"/>
                <a:gd name="T29" fmla="*/ 669 h 782"/>
                <a:gd name="T30" fmla="*/ 189 w 902"/>
                <a:gd name="T31" fmla="*/ 663 h 782"/>
                <a:gd name="T32" fmla="*/ 218 w 902"/>
                <a:gd name="T33" fmla="*/ 681 h 782"/>
                <a:gd name="T34" fmla="*/ 887 w 902"/>
                <a:gd name="T35" fmla="*/ 0 h 782"/>
                <a:gd name="T36" fmla="*/ 741 w 902"/>
                <a:gd name="T37" fmla="*/ 7 h 782"/>
                <a:gd name="T38" fmla="*/ 11 w 902"/>
                <a:gd name="T39" fmla="*/ 212 h 782"/>
                <a:gd name="T40" fmla="*/ 1 w 902"/>
                <a:gd name="T41" fmla="*/ 220 h 782"/>
                <a:gd name="T42" fmla="*/ 114 w 902"/>
                <a:gd name="T43" fmla="*/ 591 h 782"/>
                <a:gd name="T44" fmla="*/ 129 w 902"/>
                <a:gd name="T45" fmla="*/ 602 h 782"/>
                <a:gd name="T46" fmla="*/ 172 w 902"/>
                <a:gd name="T47" fmla="*/ 632 h 782"/>
                <a:gd name="T48" fmla="*/ 144 w 902"/>
                <a:gd name="T49" fmla="*/ 640 h 782"/>
                <a:gd name="T50" fmla="*/ 122 w 902"/>
                <a:gd name="T51" fmla="*/ 659 h 782"/>
                <a:gd name="T52" fmla="*/ 108 w 902"/>
                <a:gd name="T53" fmla="*/ 684 h 782"/>
                <a:gd name="T54" fmla="*/ 105 w 902"/>
                <a:gd name="T55" fmla="*/ 714 h 782"/>
                <a:gd name="T56" fmla="*/ 114 w 902"/>
                <a:gd name="T57" fmla="*/ 742 h 782"/>
                <a:gd name="T58" fmla="*/ 132 w 902"/>
                <a:gd name="T59" fmla="*/ 765 h 782"/>
                <a:gd name="T60" fmla="*/ 157 w 902"/>
                <a:gd name="T61" fmla="*/ 779 h 782"/>
                <a:gd name="T62" fmla="*/ 188 w 902"/>
                <a:gd name="T63" fmla="*/ 782 h 782"/>
                <a:gd name="T64" fmla="*/ 215 w 902"/>
                <a:gd name="T65" fmla="*/ 773 h 782"/>
                <a:gd name="T66" fmla="*/ 238 w 902"/>
                <a:gd name="T67" fmla="*/ 754 h 782"/>
                <a:gd name="T68" fmla="*/ 252 w 902"/>
                <a:gd name="T69" fmla="*/ 729 h 782"/>
                <a:gd name="T70" fmla="*/ 254 w 902"/>
                <a:gd name="T71" fmla="*/ 694 h 782"/>
                <a:gd name="T72" fmla="*/ 525 w 902"/>
                <a:gd name="T73" fmla="*/ 662 h 782"/>
                <a:gd name="T74" fmla="*/ 510 w 902"/>
                <a:gd name="T75" fmla="*/ 707 h 782"/>
                <a:gd name="T76" fmla="*/ 517 w 902"/>
                <a:gd name="T77" fmla="*/ 736 h 782"/>
                <a:gd name="T78" fmla="*/ 533 w 902"/>
                <a:gd name="T79" fmla="*/ 760 h 782"/>
                <a:gd name="T80" fmla="*/ 556 w 902"/>
                <a:gd name="T81" fmla="*/ 777 h 782"/>
                <a:gd name="T82" fmla="*/ 585 w 902"/>
                <a:gd name="T83" fmla="*/ 782 h 782"/>
                <a:gd name="T84" fmla="*/ 615 w 902"/>
                <a:gd name="T85" fmla="*/ 777 h 782"/>
                <a:gd name="T86" fmla="*/ 639 w 902"/>
                <a:gd name="T87" fmla="*/ 760 h 782"/>
                <a:gd name="T88" fmla="*/ 655 w 902"/>
                <a:gd name="T89" fmla="*/ 736 h 782"/>
                <a:gd name="T90" fmla="*/ 660 w 902"/>
                <a:gd name="T91" fmla="*/ 707 h 782"/>
                <a:gd name="T92" fmla="*/ 649 w 902"/>
                <a:gd name="T93" fmla="*/ 666 h 782"/>
                <a:gd name="T94" fmla="*/ 617 w 902"/>
                <a:gd name="T95" fmla="*/ 639 h 782"/>
                <a:gd name="T96" fmla="*/ 630 w 902"/>
                <a:gd name="T97" fmla="*/ 587 h 782"/>
                <a:gd name="T98" fmla="*/ 889 w 902"/>
                <a:gd name="T99" fmla="*/ 30 h 782"/>
                <a:gd name="T100" fmla="*/ 898 w 902"/>
                <a:gd name="T101" fmla="*/ 24 h 782"/>
                <a:gd name="T102" fmla="*/ 901 w 902"/>
                <a:gd name="T103" fmla="*/ 12 h 782"/>
                <a:gd name="T104" fmla="*/ 894 w 902"/>
                <a:gd name="T105" fmla="*/ 2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782">
                  <a:moveTo>
                    <a:pt x="139" y="572"/>
                  </a:moveTo>
                  <a:lnTo>
                    <a:pt x="35" y="240"/>
                  </a:lnTo>
                  <a:lnTo>
                    <a:pt x="684" y="240"/>
                  </a:lnTo>
                  <a:lnTo>
                    <a:pt x="604" y="572"/>
                  </a:lnTo>
                  <a:lnTo>
                    <a:pt x="139" y="572"/>
                  </a:lnTo>
                  <a:close/>
                  <a:moveTo>
                    <a:pt x="585" y="752"/>
                  </a:moveTo>
                  <a:lnTo>
                    <a:pt x="577" y="751"/>
                  </a:lnTo>
                  <a:lnTo>
                    <a:pt x="568" y="749"/>
                  </a:lnTo>
                  <a:lnTo>
                    <a:pt x="561" y="745"/>
                  </a:lnTo>
                  <a:lnTo>
                    <a:pt x="554" y="739"/>
                  </a:lnTo>
                  <a:lnTo>
                    <a:pt x="548" y="732"/>
                  </a:lnTo>
                  <a:lnTo>
                    <a:pt x="545" y="724"/>
                  </a:lnTo>
                  <a:lnTo>
                    <a:pt x="541" y="716"/>
                  </a:lnTo>
                  <a:lnTo>
                    <a:pt x="540" y="707"/>
                  </a:lnTo>
                  <a:lnTo>
                    <a:pt x="541" y="697"/>
                  </a:lnTo>
                  <a:lnTo>
                    <a:pt x="545" y="690"/>
                  </a:lnTo>
                  <a:lnTo>
                    <a:pt x="548" y="681"/>
                  </a:lnTo>
                  <a:lnTo>
                    <a:pt x="554" y="675"/>
                  </a:lnTo>
                  <a:lnTo>
                    <a:pt x="561" y="669"/>
                  </a:lnTo>
                  <a:lnTo>
                    <a:pt x="568" y="665"/>
                  </a:lnTo>
                  <a:lnTo>
                    <a:pt x="577" y="663"/>
                  </a:lnTo>
                  <a:lnTo>
                    <a:pt x="585" y="662"/>
                  </a:lnTo>
                  <a:lnTo>
                    <a:pt x="595" y="663"/>
                  </a:lnTo>
                  <a:lnTo>
                    <a:pt x="604" y="665"/>
                  </a:lnTo>
                  <a:lnTo>
                    <a:pt x="611" y="669"/>
                  </a:lnTo>
                  <a:lnTo>
                    <a:pt x="617" y="675"/>
                  </a:lnTo>
                  <a:lnTo>
                    <a:pt x="623" y="681"/>
                  </a:lnTo>
                  <a:lnTo>
                    <a:pt x="627" y="690"/>
                  </a:lnTo>
                  <a:lnTo>
                    <a:pt x="629" y="697"/>
                  </a:lnTo>
                  <a:lnTo>
                    <a:pt x="630" y="707"/>
                  </a:lnTo>
                  <a:lnTo>
                    <a:pt x="629" y="716"/>
                  </a:lnTo>
                  <a:lnTo>
                    <a:pt x="627" y="724"/>
                  </a:lnTo>
                  <a:lnTo>
                    <a:pt x="623" y="732"/>
                  </a:lnTo>
                  <a:lnTo>
                    <a:pt x="617" y="739"/>
                  </a:lnTo>
                  <a:lnTo>
                    <a:pt x="611" y="745"/>
                  </a:lnTo>
                  <a:lnTo>
                    <a:pt x="604" y="749"/>
                  </a:lnTo>
                  <a:lnTo>
                    <a:pt x="595" y="751"/>
                  </a:lnTo>
                  <a:lnTo>
                    <a:pt x="585" y="752"/>
                  </a:lnTo>
                  <a:close/>
                  <a:moveTo>
                    <a:pt x="225" y="707"/>
                  </a:moveTo>
                  <a:lnTo>
                    <a:pt x="224" y="716"/>
                  </a:lnTo>
                  <a:lnTo>
                    <a:pt x="221" y="724"/>
                  </a:lnTo>
                  <a:lnTo>
                    <a:pt x="218" y="732"/>
                  </a:lnTo>
                  <a:lnTo>
                    <a:pt x="211" y="739"/>
                  </a:lnTo>
                  <a:lnTo>
                    <a:pt x="205" y="745"/>
                  </a:lnTo>
                  <a:lnTo>
                    <a:pt x="197" y="749"/>
                  </a:lnTo>
                  <a:lnTo>
                    <a:pt x="189" y="751"/>
                  </a:lnTo>
                  <a:lnTo>
                    <a:pt x="180" y="752"/>
                  </a:lnTo>
                  <a:lnTo>
                    <a:pt x="170" y="751"/>
                  </a:lnTo>
                  <a:lnTo>
                    <a:pt x="162" y="749"/>
                  </a:lnTo>
                  <a:lnTo>
                    <a:pt x="154" y="745"/>
                  </a:lnTo>
                  <a:lnTo>
                    <a:pt x="148" y="739"/>
                  </a:lnTo>
                  <a:lnTo>
                    <a:pt x="142" y="732"/>
                  </a:lnTo>
                  <a:lnTo>
                    <a:pt x="138" y="724"/>
                  </a:lnTo>
                  <a:lnTo>
                    <a:pt x="136" y="716"/>
                  </a:lnTo>
                  <a:lnTo>
                    <a:pt x="135" y="707"/>
                  </a:lnTo>
                  <a:lnTo>
                    <a:pt x="136" y="697"/>
                  </a:lnTo>
                  <a:lnTo>
                    <a:pt x="138" y="690"/>
                  </a:lnTo>
                  <a:lnTo>
                    <a:pt x="142" y="681"/>
                  </a:lnTo>
                  <a:lnTo>
                    <a:pt x="148" y="675"/>
                  </a:lnTo>
                  <a:lnTo>
                    <a:pt x="154" y="669"/>
                  </a:lnTo>
                  <a:lnTo>
                    <a:pt x="162" y="665"/>
                  </a:lnTo>
                  <a:lnTo>
                    <a:pt x="170" y="663"/>
                  </a:lnTo>
                  <a:lnTo>
                    <a:pt x="180" y="662"/>
                  </a:lnTo>
                  <a:lnTo>
                    <a:pt x="189" y="663"/>
                  </a:lnTo>
                  <a:lnTo>
                    <a:pt x="197" y="665"/>
                  </a:lnTo>
                  <a:lnTo>
                    <a:pt x="205" y="669"/>
                  </a:lnTo>
                  <a:lnTo>
                    <a:pt x="211" y="675"/>
                  </a:lnTo>
                  <a:lnTo>
                    <a:pt x="218" y="681"/>
                  </a:lnTo>
                  <a:lnTo>
                    <a:pt x="221" y="690"/>
                  </a:lnTo>
                  <a:lnTo>
                    <a:pt x="224" y="697"/>
                  </a:lnTo>
                  <a:lnTo>
                    <a:pt x="225" y="707"/>
                  </a:lnTo>
                  <a:close/>
                  <a:moveTo>
                    <a:pt x="887" y="0"/>
                  </a:moveTo>
                  <a:lnTo>
                    <a:pt x="754" y="0"/>
                  </a:lnTo>
                  <a:lnTo>
                    <a:pt x="748" y="1"/>
                  </a:lnTo>
                  <a:lnTo>
                    <a:pt x="744" y="4"/>
                  </a:lnTo>
                  <a:lnTo>
                    <a:pt x="741" y="7"/>
                  </a:lnTo>
                  <a:lnTo>
                    <a:pt x="739" y="12"/>
                  </a:lnTo>
                  <a:lnTo>
                    <a:pt x="690" y="210"/>
                  </a:lnTo>
                  <a:lnTo>
                    <a:pt x="15" y="210"/>
                  </a:lnTo>
                  <a:lnTo>
                    <a:pt x="11" y="212"/>
                  </a:lnTo>
                  <a:lnTo>
                    <a:pt x="7" y="213"/>
                  </a:lnTo>
                  <a:lnTo>
                    <a:pt x="4" y="215"/>
                  </a:lnTo>
                  <a:lnTo>
                    <a:pt x="2" y="217"/>
                  </a:lnTo>
                  <a:lnTo>
                    <a:pt x="1" y="220"/>
                  </a:lnTo>
                  <a:lnTo>
                    <a:pt x="0" y="223"/>
                  </a:lnTo>
                  <a:lnTo>
                    <a:pt x="0" y="227"/>
                  </a:lnTo>
                  <a:lnTo>
                    <a:pt x="0" y="231"/>
                  </a:lnTo>
                  <a:lnTo>
                    <a:pt x="114" y="591"/>
                  </a:lnTo>
                  <a:lnTo>
                    <a:pt x="116" y="595"/>
                  </a:lnTo>
                  <a:lnTo>
                    <a:pt x="119" y="599"/>
                  </a:lnTo>
                  <a:lnTo>
                    <a:pt x="123" y="601"/>
                  </a:lnTo>
                  <a:lnTo>
                    <a:pt x="129" y="602"/>
                  </a:lnTo>
                  <a:lnTo>
                    <a:pt x="596" y="602"/>
                  </a:lnTo>
                  <a:lnTo>
                    <a:pt x="589" y="632"/>
                  </a:lnTo>
                  <a:lnTo>
                    <a:pt x="180" y="632"/>
                  </a:lnTo>
                  <a:lnTo>
                    <a:pt x="172" y="632"/>
                  </a:lnTo>
                  <a:lnTo>
                    <a:pt x="165" y="633"/>
                  </a:lnTo>
                  <a:lnTo>
                    <a:pt x="157" y="635"/>
                  </a:lnTo>
                  <a:lnTo>
                    <a:pt x="150" y="637"/>
                  </a:lnTo>
                  <a:lnTo>
                    <a:pt x="144" y="640"/>
                  </a:lnTo>
                  <a:lnTo>
                    <a:pt x="138" y="645"/>
                  </a:lnTo>
                  <a:lnTo>
                    <a:pt x="132" y="649"/>
                  </a:lnTo>
                  <a:lnTo>
                    <a:pt x="126" y="653"/>
                  </a:lnTo>
                  <a:lnTo>
                    <a:pt x="122" y="659"/>
                  </a:lnTo>
                  <a:lnTo>
                    <a:pt x="118" y="665"/>
                  </a:lnTo>
                  <a:lnTo>
                    <a:pt x="114" y="672"/>
                  </a:lnTo>
                  <a:lnTo>
                    <a:pt x="110" y="678"/>
                  </a:lnTo>
                  <a:lnTo>
                    <a:pt x="108" y="684"/>
                  </a:lnTo>
                  <a:lnTo>
                    <a:pt x="106" y="692"/>
                  </a:lnTo>
                  <a:lnTo>
                    <a:pt x="105" y="699"/>
                  </a:lnTo>
                  <a:lnTo>
                    <a:pt x="105" y="707"/>
                  </a:lnTo>
                  <a:lnTo>
                    <a:pt x="105" y="714"/>
                  </a:lnTo>
                  <a:lnTo>
                    <a:pt x="106" y="722"/>
                  </a:lnTo>
                  <a:lnTo>
                    <a:pt x="108" y="729"/>
                  </a:lnTo>
                  <a:lnTo>
                    <a:pt x="110" y="736"/>
                  </a:lnTo>
                  <a:lnTo>
                    <a:pt x="114" y="742"/>
                  </a:lnTo>
                  <a:lnTo>
                    <a:pt x="118" y="749"/>
                  </a:lnTo>
                  <a:lnTo>
                    <a:pt x="122" y="754"/>
                  </a:lnTo>
                  <a:lnTo>
                    <a:pt x="126" y="760"/>
                  </a:lnTo>
                  <a:lnTo>
                    <a:pt x="132" y="765"/>
                  </a:lnTo>
                  <a:lnTo>
                    <a:pt x="138" y="769"/>
                  </a:lnTo>
                  <a:lnTo>
                    <a:pt x="144" y="773"/>
                  </a:lnTo>
                  <a:lnTo>
                    <a:pt x="150" y="777"/>
                  </a:lnTo>
                  <a:lnTo>
                    <a:pt x="157" y="779"/>
                  </a:lnTo>
                  <a:lnTo>
                    <a:pt x="165" y="781"/>
                  </a:lnTo>
                  <a:lnTo>
                    <a:pt x="172" y="782"/>
                  </a:lnTo>
                  <a:lnTo>
                    <a:pt x="180" y="782"/>
                  </a:lnTo>
                  <a:lnTo>
                    <a:pt x="188" y="782"/>
                  </a:lnTo>
                  <a:lnTo>
                    <a:pt x="195" y="781"/>
                  </a:lnTo>
                  <a:lnTo>
                    <a:pt x="203" y="779"/>
                  </a:lnTo>
                  <a:lnTo>
                    <a:pt x="209" y="777"/>
                  </a:lnTo>
                  <a:lnTo>
                    <a:pt x="215" y="773"/>
                  </a:lnTo>
                  <a:lnTo>
                    <a:pt x="222" y="769"/>
                  </a:lnTo>
                  <a:lnTo>
                    <a:pt x="227" y="765"/>
                  </a:lnTo>
                  <a:lnTo>
                    <a:pt x="233" y="760"/>
                  </a:lnTo>
                  <a:lnTo>
                    <a:pt x="238" y="754"/>
                  </a:lnTo>
                  <a:lnTo>
                    <a:pt x="242" y="749"/>
                  </a:lnTo>
                  <a:lnTo>
                    <a:pt x="245" y="742"/>
                  </a:lnTo>
                  <a:lnTo>
                    <a:pt x="249" y="736"/>
                  </a:lnTo>
                  <a:lnTo>
                    <a:pt x="252" y="729"/>
                  </a:lnTo>
                  <a:lnTo>
                    <a:pt x="253" y="722"/>
                  </a:lnTo>
                  <a:lnTo>
                    <a:pt x="254" y="714"/>
                  </a:lnTo>
                  <a:lnTo>
                    <a:pt x="255" y="707"/>
                  </a:lnTo>
                  <a:lnTo>
                    <a:pt x="254" y="694"/>
                  </a:lnTo>
                  <a:lnTo>
                    <a:pt x="251" y="682"/>
                  </a:lnTo>
                  <a:lnTo>
                    <a:pt x="245" y="672"/>
                  </a:lnTo>
                  <a:lnTo>
                    <a:pt x="239" y="662"/>
                  </a:lnTo>
                  <a:lnTo>
                    <a:pt x="525" y="662"/>
                  </a:lnTo>
                  <a:lnTo>
                    <a:pt x="520" y="672"/>
                  </a:lnTo>
                  <a:lnTo>
                    <a:pt x="515" y="682"/>
                  </a:lnTo>
                  <a:lnTo>
                    <a:pt x="511" y="694"/>
                  </a:lnTo>
                  <a:lnTo>
                    <a:pt x="510" y="707"/>
                  </a:lnTo>
                  <a:lnTo>
                    <a:pt x="511" y="714"/>
                  </a:lnTo>
                  <a:lnTo>
                    <a:pt x="512" y="722"/>
                  </a:lnTo>
                  <a:lnTo>
                    <a:pt x="513" y="729"/>
                  </a:lnTo>
                  <a:lnTo>
                    <a:pt x="517" y="736"/>
                  </a:lnTo>
                  <a:lnTo>
                    <a:pt x="520" y="742"/>
                  </a:lnTo>
                  <a:lnTo>
                    <a:pt x="523" y="749"/>
                  </a:lnTo>
                  <a:lnTo>
                    <a:pt x="527" y="754"/>
                  </a:lnTo>
                  <a:lnTo>
                    <a:pt x="533" y="760"/>
                  </a:lnTo>
                  <a:lnTo>
                    <a:pt x="538" y="765"/>
                  </a:lnTo>
                  <a:lnTo>
                    <a:pt x="543" y="769"/>
                  </a:lnTo>
                  <a:lnTo>
                    <a:pt x="550" y="773"/>
                  </a:lnTo>
                  <a:lnTo>
                    <a:pt x="556" y="777"/>
                  </a:lnTo>
                  <a:lnTo>
                    <a:pt x="563" y="779"/>
                  </a:lnTo>
                  <a:lnTo>
                    <a:pt x="570" y="781"/>
                  </a:lnTo>
                  <a:lnTo>
                    <a:pt x="578" y="782"/>
                  </a:lnTo>
                  <a:lnTo>
                    <a:pt x="585" y="782"/>
                  </a:lnTo>
                  <a:lnTo>
                    <a:pt x="593" y="782"/>
                  </a:lnTo>
                  <a:lnTo>
                    <a:pt x="600" y="781"/>
                  </a:lnTo>
                  <a:lnTo>
                    <a:pt x="608" y="779"/>
                  </a:lnTo>
                  <a:lnTo>
                    <a:pt x="615" y="777"/>
                  </a:lnTo>
                  <a:lnTo>
                    <a:pt x="622" y="773"/>
                  </a:lnTo>
                  <a:lnTo>
                    <a:pt x="627" y="769"/>
                  </a:lnTo>
                  <a:lnTo>
                    <a:pt x="634" y="765"/>
                  </a:lnTo>
                  <a:lnTo>
                    <a:pt x="639" y="760"/>
                  </a:lnTo>
                  <a:lnTo>
                    <a:pt x="643" y="754"/>
                  </a:lnTo>
                  <a:lnTo>
                    <a:pt x="647" y="749"/>
                  </a:lnTo>
                  <a:lnTo>
                    <a:pt x="652" y="742"/>
                  </a:lnTo>
                  <a:lnTo>
                    <a:pt x="655" y="736"/>
                  </a:lnTo>
                  <a:lnTo>
                    <a:pt x="657" y="729"/>
                  </a:lnTo>
                  <a:lnTo>
                    <a:pt x="659" y="722"/>
                  </a:lnTo>
                  <a:lnTo>
                    <a:pt x="660" y="714"/>
                  </a:lnTo>
                  <a:lnTo>
                    <a:pt x="660" y="707"/>
                  </a:lnTo>
                  <a:lnTo>
                    <a:pt x="660" y="696"/>
                  </a:lnTo>
                  <a:lnTo>
                    <a:pt x="657" y="686"/>
                  </a:lnTo>
                  <a:lnTo>
                    <a:pt x="654" y="676"/>
                  </a:lnTo>
                  <a:lnTo>
                    <a:pt x="649" y="666"/>
                  </a:lnTo>
                  <a:lnTo>
                    <a:pt x="642" y="658"/>
                  </a:lnTo>
                  <a:lnTo>
                    <a:pt x="636" y="651"/>
                  </a:lnTo>
                  <a:lnTo>
                    <a:pt x="627" y="645"/>
                  </a:lnTo>
                  <a:lnTo>
                    <a:pt x="617" y="639"/>
                  </a:lnTo>
                  <a:lnTo>
                    <a:pt x="629" y="593"/>
                  </a:lnTo>
                  <a:lnTo>
                    <a:pt x="630" y="590"/>
                  </a:lnTo>
                  <a:lnTo>
                    <a:pt x="630" y="587"/>
                  </a:lnTo>
                  <a:lnTo>
                    <a:pt x="630" y="587"/>
                  </a:lnTo>
                  <a:lnTo>
                    <a:pt x="630" y="587"/>
                  </a:lnTo>
                  <a:lnTo>
                    <a:pt x="765" y="30"/>
                  </a:lnTo>
                  <a:lnTo>
                    <a:pt x="887" y="30"/>
                  </a:lnTo>
                  <a:lnTo>
                    <a:pt x="889" y="30"/>
                  </a:lnTo>
                  <a:lnTo>
                    <a:pt x="892" y="29"/>
                  </a:lnTo>
                  <a:lnTo>
                    <a:pt x="894" y="28"/>
                  </a:lnTo>
                  <a:lnTo>
                    <a:pt x="897" y="26"/>
                  </a:lnTo>
                  <a:lnTo>
                    <a:pt x="898" y="24"/>
                  </a:lnTo>
                  <a:lnTo>
                    <a:pt x="901" y="22"/>
                  </a:lnTo>
                  <a:lnTo>
                    <a:pt x="901" y="19"/>
                  </a:lnTo>
                  <a:lnTo>
                    <a:pt x="902" y="15"/>
                  </a:lnTo>
                  <a:lnTo>
                    <a:pt x="901" y="12"/>
                  </a:lnTo>
                  <a:lnTo>
                    <a:pt x="901" y="10"/>
                  </a:lnTo>
                  <a:lnTo>
                    <a:pt x="898" y="7"/>
                  </a:lnTo>
                  <a:lnTo>
                    <a:pt x="897" y="5"/>
                  </a:lnTo>
                  <a:lnTo>
                    <a:pt x="894" y="2"/>
                  </a:lnTo>
                  <a:lnTo>
                    <a:pt x="892" y="1"/>
                  </a:lnTo>
                  <a:lnTo>
                    <a:pt x="889"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166">
              <a:extLst>
                <a:ext uri="{FF2B5EF4-FFF2-40B4-BE49-F238E27FC236}">
                  <a16:creationId xmlns:a16="http://schemas.microsoft.com/office/drawing/2014/main" id="{786F475D-D4BF-4AD2-8045-2021CADC6AE2}"/>
                </a:ext>
              </a:extLst>
            </p:cNvPr>
            <p:cNvSpPr>
              <a:spLocks/>
            </p:cNvSpPr>
            <p:nvPr/>
          </p:nvSpPr>
          <p:spPr bwMode="auto">
            <a:xfrm>
              <a:off x="11107738" y="779145"/>
              <a:ext cx="76200" cy="95250"/>
            </a:xfrm>
            <a:custGeom>
              <a:avLst/>
              <a:gdLst>
                <a:gd name="T0" fmla="*/ 109 w 240"/>
                <a:gd name="T1" fmla="*/ 296 h 300"/>
                <a:gd name="T2" fmla="*/ 110 w 240"/>
                <a:gd name="T3" fmla="*/ 297 h 300"/>
                <a:gd name="T4" fmla="*/ 114 w 240"/>
                <a:gd name="T5" fmla="*/ 299 h 300"/>
                <a:gd name="T6" fmla="*/ 117 w 240"/>
                <a:gd name="T7" fmla="*/ 300 h 300"/>
                <a:gd name="T8" fmla="*/ 123 w 240"/>
                <a:gd name="T9" fmla="*/ 300 h 300"/>
                <a:gd name="T10" fmla="*/ 127 w 240"/>
                <a:gd name="T11" fmla="*/ 299 h 300"/>
                <a:gd name="T12" fmla="*/ 130 w 240"/>
                <a:gd name="T13" fmla="*/ 297 h 300"/>
                <a:gd name="T14" fmla="*/ 131 w 240"/>
                <a:gd name="T15" fmla="*/ 296 h 300"/>
                <a:gd name="T16" fmla="*/ 237 w 240"/>
                <a:gd name="T17" fmla="*/ 175 h 300"/>
                <a:gd name="T18" fmla="*/ 239 w 240"/>
                <a:gd name="T19" fmla="*/ 171 h 300"/>
                <a:gd name="T20" fmla="*/ 240 w 240"/>
                <a:gd name="T21" fmla="*/ 164 h 300"/>
                <a:gd name="T22" fmla="*/ 239 w 240"/>
                <a:gd name="T23" fmla="*/ 159 h 300"/>
                <a:gd name="T24" fmla="*/ 235 w 240"/>
                <a:gd name="T25" fmla="*/ 155 h 300"/>
                <a:gd name="T26" fmla="*/ 231 w 240"/>
                <a:gd name="T27" fmla="*/ 151 h 300"/>
                <a:gd name="T28" fmla="*/ 224 w 240"/>
                <a:gd name="T29" fmla="*/ 150 h 300"/>
                <a:gd name="T30" fmla="*/ 219 w 240"/>
                <a:gd name="T31" fmla="*/ 151 h 300"/>
                <a:gd name="T32" fmla="*/ 214 w 240"/>
                <a:gd name="T33" fmla="*/ 156 h 300"/>
                <a:gd name="T34" fmla="*/ 135 w 240"/>
                <a:gd name="T35" fmla="*/ 15 h 300"/>
                <a:gd name="T36" fmla="*/ 134 w 240"/>
                <a:gd name="T37" fmla="*/ 9 h 300"/>
                <a:gd name="T38" fmla="*/ 131 w 240"/>
                <a:gd name="T39" fmla="*/ 4 h 300"/>
                <a:gd name="T40" fmla="*/ 125 w 240"/>
                <a:gd name="T41" fmla="*/ 1 h 300"/>
                <a:gd name="T42" fmla="*/ 120 w 240"/>
                <a:gd name="T43" fmla="*/ 0 h 300"/>
                <a:gd name="T44" fmla="*/ 115 w 240"/>
                <a:gd name="T45" fmla="*/ 1 h 300"/>
                <a:gd name="T46" fmla="*/ 109 w 240"/>
                <a:gd name="T47" fmla="*/ 4 h 300"/>
                <a:gd name="T48" fmla="*/ 106 w 240"/>
                <a:gd name="T49" fmla="*/ 9 h 300"/>
                <a:gd name="T50" fmla="*/ 105 w 240"/>
                <a:gd name="T51" fmla="*/ 15 h 300"/>
                <a:gd name="T52" fmla="*/ 26 w 240"/>
                <a:gd name="T53" fmla="*/ 156 h 300"/>
                <a:gd name="T54" fmla="*/ 21 w 240"/>
                <a:gd name="T55" fmla="*/ 151 h 300"/>
                <a:gd name="T56" fmla="*/ 16 w 240"/>
                <a:gd name="T57" fmla="*/ 150 h 300"/>
                <a:gd name="T58" fmla="*/ 10 w 240"/>
                <a:gd name="T59" fmla="*/ 151 h 300"/>
                <a:gd name="T60" fmla="*/ 5 w 240"/>
                <a:gd name="T61" fmla="*/ 155 h 300"/>
                <a:gd name="T62" fmla="*/ 1 w 240"/>
                <a:gd name="T63" fmla="*/ 159 h 300"/>
                <a:gd name="T64" fmla="*/ 0 w 240"/>
                <a:gd name="T65" fmla="*/ 164 h 300"/>
                <a:gd name="T66" fmla="*/ 1 w 240"/>
                <a:gd name="T67" fmla="*/ 171 h 300"/>
                <a:gd name="T68" fmla="*/ 3 w 240"/>
                <a:gd name="T69" fmla="*/ 17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300">
                  <a:moveTo>
                    <a:pt x="108" y="295"/>
                  </a:moveTo>
                  <a:lnTo>
                    <a:pt x="109" y="296"/>
                  </a:lnTo>
                  <a:lnTo>
                    <a:pt x="109" y="296"/>
                  </a:lnTo>
                  <a:lnTo>
                    <a:pt x="110" y="297"/>
                  </a:lnTo>
                  <a:lnTo>
                    <a:pt x="113" y="298"/>
                  </a:lnTo>
                  <a:lnTo>
                    <a:pt x="114" y="299"/>
                  </a:lnTo>
                  <a:lnTo>
                    <a:pt x="114" y="299"/>
                  </a:lnTo>
                  <a:lnTo>
                    <a:pt x="117" y="300"/>
                  </a:lnTo>
                  <a:lnTo>
                    <a:pt x="120" y="300"/>
                  </a:lnTo>
                  <a:lnTo>
                    <a:pt x="123" y="300"/>
                  </a:lnTo>
                  <a:lnTo>
                    <a:pt x="127" y="299"/>
                  </a:lnTo>
                  <a:lnTo>
                    <a:pt x="127" y="299"/>
                  </a:lnTo>
                  <a:lnTo>
                    <a:pt x="128" y="298"/>
                  </a:lnTo>
                  <a:lnTo>
                    <a:pt x="130" y="297"/>
                  </a:lnTo>
                  <a:lnTo>
                    <a:pt x="131" y="296"/>
                  </a:lnTo>
                  <a:lnTo>
                    <a:pt x="131" y="296"/>
                  </a:lnTo>
                  <a:lnTo>
                    <a:pt x="132" y="296"/>
                  </a:lnTo>
                  <a:lnTo>
                    <a:pt x="237" y="175"/>
                  </a:lnTo>
                  <a:lnTo>
                    <a:pt x="238" y="173"/>
                  </a:lnTo>
                  <a:lnTo>
                    <a:pt x="239" y="171"/>
                  </a:lnTo>
                  <a:lnTo>
                    <a:pt x="240" y="167"/>
                  </a:lnTo>
                  <a:lnTo>
                    <a:pt x="240" y="164"/>
                  </a:lnTo>
                  <a:lnTo>
                    <a:pt x="240" y="162"/>
                  </a:lnTo>
                  <a:lnTo>
                    <a:pt x="239" y="159"/>
                  </a:lnTo>
                  <a:lnTo>
                    <a:pt x="237" y="157"/>
                  </a:lnTo>
                  <a:lnTo>
                    <a:pt x="235" y="155"/>
                  </a:lnTo>
                  <a:lnTo>
                    <a:pt x="233" y="152"/>
                  </a:lnTo>
                  <a:lnTo>
                    <a:pt x="231" y="151"/>
                  </a:lnTo>
                  <a:lnTo>
                    <a:pt x="227" y="150"/>
                  </a:lnTo>
                  <a:lnTo>
                    <a:pt x="224" y="150"/>
                  </a:lnTo>
                  <a:lnTo>
                    <a:pt x="222" y="151"/>
                  </a:lnTo>
                  <a:lnTo>
                    <a:pt x="219" y="151"/>
                  </a:lnTo>
                  <a:lnTo>
                    <a:pt x="217" y="154"/>
                  </a:lnTo>
                  <a:lnTo>
                    <a:pt x="214" y="156"/>
                  </a:lnTo>
                  <a:lnTo>
                    <a:pt x="135" y="246"/>
                  </a:lnTo>
                  <a:lnTo>
                    <a:pt x="135" y="15"/>
                  </a:lnTo>
                  <a:lnTo>
                    <a:pt x="135" y="12"/>
                  </a:lnTo>
                  <a:lnTo>
                    <a:pt x="134" y="9"/>
                  </a:lnTo>
                  <a:lnTo>
                    <a:pt x="133" y="7"/>
                  </a:lnTo>
                  <a:lnTo>
                    <a:pt x="131" y="4"/>
                  </a:lnTo>
                  <a:lnTo>
                    <a:pt x="129" y="2"/>
                  </a:lnTo>
                  <a:lnTo>
                    <a:pt x="125" y="1"/>
                  </a:lnTo>
                  <a:lnTo>
                    <a:pt x="123" y="0"/>
                  </a:lnTo>
                  <a:lnTo>
                    <a:pt x="120" y="0"/>
                  </a:lnTo>
                  <a:lnTo>
                    <a:pt x="117" y="0"/>
                  </a:lnTo>
                  <a:lnTo>
                    <a:pt x="115" y="1"/>
                  </a:lnTo>
                  <a:lnTo>
                    <a:pt x="112" y="2"/>
                  </a:lnTo>
                  <a:lnTo>
                    <a:pt x="109" y="4"/>
                  </a:lnTo>
                  <a:lnTo>
                    <a:pt x="107" y="7"/>
                  </a:lnTo>
                  <a:lnTo>
                    <a:pt x="106" y="9"/>
                  </a:lnTo>
                  <a:lnTo>
                    <a:pt x="105" y="12"/>
                  </a:lnTo>
                  <a:lnTo>
                    <a:pt x="105" y="15"/>
                  </a:lnTo>
                  <a:lnTo>
                    <a:pt x="105" y="246"/>
                  </a:lnTo>
                  <a:lnTo>
                    <a:pt x="26" y="156"/>
                  </a:lnTo>
                  <a:lnTo>
                    <a:pt x="24" y="154"/>
                  </a:lnTo>
                  <a:lnTo>
                    <a:pt x="21" y="151"/>
                  </a:lnTo>
                  <a:lnTo>
                    <a:pt x="18" y="151"/>
                  </a:lnTo>
                  <a:lnTo>
                    <a:pt x="16" y="150"/>
                  </a:lnTo>
                  <a:lnTo>
                    <a:pt x="13" y="150"/>
                  </a:lnTo>
                  <a:lnTo>
                    <a:pt x="10" y="151"/>
                  </a:lnTo>
                  <a:lnTo>
                    <a:pt x="8" y="152"/>
                  </a:lnTo>
                  <a:lnTo>
                    <a:pt x="5" y="155"/>
                  </a:lnTo>
                  <a:lnTo>
                    <a:pt x="3" y="157"/>
                  </a:lnTo>
                  <a:lnTo>
                    <a:pt x="1" y="159"/>
                  </a:lnTo>
                  <a:lnTo>
                    <a:pt x="0" y="162"/>
                  </a:lnTo>
                  <a:lnTo>
                    <a:pt x="0" y="164"/>
                  </a:lnTo>
                  <a:lnTo>
                    <a:pt x="0" y="167"/>
                  </a:lnTo>
                  <a:lnTo>
                    <a:pt x="1" y="171"/>
                  </a:lnTo>
                  <a:lnTo>
                    <a:pt x="2" y="173"/>
                  </a:lnTo>
                  <a:lnTo>
                    <a:pt x="3" y="175"/>
                  </a:lnTo>
                  <a:lnTo>
                    <a:pt x="108"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4" name="Group 28">
            <a:extLst>
              <a:ext uri="{FF2B5EF4-FFF2-40B4-BE49-F238E27FC236}">
                <a16:creationId xmlns:a16="http://schemas.microsoft.com/office/drawing/2014/main" id="{41C23128-C638-4985-8047-EB3ADC949E04}"/>
              </a:ext>
            </a:extLst>
          </p:cNvPr>
          <p:cNvGrpSpPr>
            <a:grpSpLocks noChangeAspect="1"/>
          </p:cNvGrpSpPr>
          <p:nvPr/>
        </p:nvGrpSpPr>
        <p:grpSpPr>
          <a:xfrm>
            <a:off x="3671069" y="4340505"/>
            <a:ext cx="264991" cy="285619"/>
            <a:chOff x="10463213" y="1352233"/>
            <a:chExt cx="265113" cy="285750"/>
          </a:xfrm>
          <a:solidFill>
            <a:schemeClr val="bg1"/>
          </a:solidFill>
          <a:effectLst/>
        </p:grpSpPr>
        <p:sp>
          <p:nvSpPr>
            <p:cNvPr id="1505" name="Freeform 167">
              <a:extLst>
                <a:ext uri="{FF2B5EF4-FFF2-40B4-BE49-F238E27FC236}">
                  <a16:creationId xmlns:a16="http://schemas.microsoft.com/office/drawing/2014/main" id="{06361D4C-E6B1-4DB4-94F7-EF6B3FF8E555}"/>
                </a:ext>
              </a:extLst>
            </p:cNvPr>
            <p:cNvSpPr>
              <a:spLocks/>
            </p:cNvSpPr>
            <p:nvPr/>
          </p:nvSpPr>
          <p:spPr bwMode="auto">
            <a:xfrm>
              <a:off x="10463213" y="1457008"/>
              <a:ext cx="228600" cy="180975"/>
            </a:xfrm>
            <a:custGeom>
              <a:avLst/>
              <a:gdLst>
                <a:gd name="T0" fmla="*/ 607 w 722"/>
                <a:gd name="T1" fmla="*/ 0 h 571"/>
                <a:gd name="T2" fmla="*/ 601 w 722"/>
                <a:gd name="T3" fmla="*/ 1 h 571"/>
                <a:gd name="T4" fmla="*/ 597 w 722"/>
                <a:gd name="T5" fmla="*/ 5 h 571"/>
                <a:gd name="T6" fmla="*/ 593 w 722"/>
                <a:gd name="T7" fmla="*/ 9 h 571"/>
                <a:gd name="T8" fmla="*/ 592 w 722"/>
                <a:gd name="T9" fmla="*/ 15 h 571"/>
                <a:gd name="T10" fmla="*/ 593 w 722"/>
                <a:gd name="T11" fmla="*/ 21 h 571"/>
                <a:gd name="T12" fmla="*/ 597 w 722"/>
                <a:gd name="T13" fmla="*/ 26 h 571"/>
                <a:gd name="T14" fmla="*/ 601 w 722"/>
                <a:gd name="T15" fmla="*/ 29 h 571"/>
                <a:gd name="T16" fmla="*/ 607 w 722"/>
                <a:gd name="T17" fmla="*/ 30 h 571"/>
                <a:gd name="T18" fmla="*/ 692 w 722"/>
                <a:gd name="T19" fmla="*/ 541 h 571"/>
                <a:gd name="T20" fmla="*/ 30 w 722"/>
                <a:gd name="T21" fmla="*/ 30 h 571"/>
                <a:gd name="T22" fmla="*/ 117 w 722"/>
                <a:gd name="T23" fmla="*/ 29 h 571"/>
                <a:gd name="T24" fmla="*/ 123 w 722"/>
                <a:gd name="T25" fmla="*/ 27 h 571"/>
                <a:gd name="T26" fmla="*/ 127 w 722"/>
                <a:gd name="T27" fmla="*/ 23 h 571"/>
                <a:gd name="T28" fmla="*/ 129 w 722"/>
                <a:gd name="T29" fmla="*/ 17 h 571"/>
                <a:gd name="T30" fmla="*/ 129 w 722"/>
                <a:gd name="T31" fmla="*/ 12 h 571"/>
                <a:gd name="T32" fmla="*/ 127 w 722"/>
                <a:gd name="T33" fmla="*/ 7 h 571"/>
                <a:gd name="T34" fmla="*/ 123 w 722"/>
                <a:gd name="T35" fmla="*/ 2 h 571"/>
                <a:gd name="T36" fmla="*/ 117 w 722"/>
                <a:gd name="T37" fmla="*/ 0 h 571"/>
                <a:gd name="T38" fmla="*/ 15 w 722"/>
                <a:gd name="T39" fmla="*/ 0 h 571"/>
                <a:gd name="T40" fmla="*/ 10 w 722"/>
                <a:gd name="T41" fmla="*/ 1 h 571"/>
                <a:gd name="T42" fmla="*/ 5 w 722"/>
                <a:gd name="T43" fmla="*/ 5 h 571"/>
                <a:gd name="T44" fmla="*/ 1 w 722"/>
                <a:gd name="T45" fmla="*/ 9 h 571"/>
                <a:gd name="T46" fmla="*/ 0 w 722"/>
                <a:gd name="T47" fmla="*/ 15 h 571"/>
                <a:gd name="T48" fmla="*/ 1 w 722"/>
                <a:gd name="T49" fmla="*/ 559 h 571"/>
                <a:gd name="T50" fmla="*/ 4 w 722"/>
                <a:gd name="T51" fmla="*/ 564 h 571"/>
                <a:gd name="T52" fmla="*/ 7 w 722"/>
                <a:gd name="T53" fmla="*/ 569 h 571"/>
                <a:gd name="T54" fmla="*/ 12 w 722"/>
                <a:gd name="T55" fmla="*/ 571 h 571"/>
                <a:gd name="T56" fmla="*/ 707 w 722"/>
                <a:gd name="T57" fmla="*/ 571 h 571"/>
                <a:gd name="T58" fmla="*/ 713 w 722"/>
                <a:gd name="T59" fmla="*/ 570 h 571"/>
                <a:gd name="T60" fmla="*/ 718 w 722"/>
                <a:gd name="T61" fmla="*/ 566 h 571"/>
                <a:gd name="T62" fmla="*/ 721 w 722"/>
                <a:gd name="T63" fmla="*/ 562 h 571"/>
                <a:gd name="T64" fmla="*/ 722 w 722"/>
                <a:gd name="T65" fmla="*/ 556 h 571"/>
                <a:gd name="T66" fmla="*/ 722 w 722"/>
                <a:gd name="T67" fmla="*/ 12 h 571"/>
                <a:gd name="T68" fmla="*/ 720 w 722"/>
                <a:gd name="T69" fmla="*/ 7 h 571"/>
                <a:gd name="T70" fmla="*/ 716 w 722"/>
                <a:gd name="T71" fmla="*/ 2 h 571"/>
                <a:gd name="T72" fmla="*/ 710 w 722"/>
                <a:gd name="T7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2" h="571">
                  <a:moveTo>
                    <a:pt x="707" y="0"/>
                  </a:moveTo>
                  <a:lnTo>
                    <a:pt x="607" y="0"/>
                  </a:lnTo>
                  <a:lnTo>
                    <a:pt x="604" y="0"/>
                  </a:lnTo>
                  <a:lnTo>
                    <a:pt x="601" y="1"/>
                  </a:lnTo>
                  <a:lnTo>
                    <a:pt x="599" y="2"/>
                  </a:lnTo>
                  <a:lnTo>
                    <a:pt x="597" y="5"/>
                  </a:lnTo>
                  <a:lnTo>
                    <a:pt x="594" y="7"/>
                  </a:lnTo>
                  <a:lnTo>
                    <a:pt x="593" y="9"/>
                  </a:lnTo>
                  <a:lnTo>
                    <a:pt x="592" y="12"/>
                  </a:lnTo>
                  <a:lnTo>
                    <a:pt x="592" y="15"/>
                  </a:lnTo>
                  <a:lnTo>
                    <a:pt x="592" y="17"/>
                  </a:lnTo>
                  <a:lnTo>
                    <a:pt x="593" y="21"/>
                  </a:lnTo>
                  <a:lnTo>
                    <a:pt x="594" y="23"/>
                  </a:lnTo>
                  <a:lnTo>
                    <a:pt x="597" y="26"/>
                  </a:lnTo>
                  <a:lnTo>
                    <a:pt x="599" y="27"/>
                  </a:lnTo>
                  <a:lnTo>
                    <a:pt x="601" y="29"/>
                  </a:lnTo>
                  <a:lnTo>
                    <a:pt x="604" y="29"/>
                  </a:lnTo>
                  <a:lnTo>
                    <a:pt x="607" y="30"/>
                  </a:lnTo>
                  <a:lnTo>
                    <a:pt x="692" y="30"/>
                  </a:lnTo>
                  <a:lnTo>
                    <a:pt x="692" y="541"/>
                  </a:lnTo>
                  <a:lnTo>
                    <a:pt x="30" y="541"/>
                  </a:lnTo>
                  <a:lnTo>
                    <a:pt x="30" y="30"/>
                  </a:lnTo>
                  <a:lnTo>
                    <a:pt x="114" y="30"/>
                  </a:lnTo>
                  <a:lnTo>
                    <a:pt x="117" y="29"/>
                  </a:lnTo>
                  <a:lnTo>
                    <a:pt x="120" y="29"/>
                  </a:lnTo>
                  <a:lnTo>
                    <a:pt x="123" y="27"/>
                  </a:lnTo>
                  <a:lnTo>
                    <a:pt x="125" y="26"/>
                  </a:lnTo>
                  <a:lnTo>
                    <a:pt x="127" y="23"/>
                  </a:lnTo>
                  <a:lnTo>
                    <a:pt x="128" y="21"/>
                  </a:lnTo>
                  <a:lnTo>
                    <a:pt x="129" y="17"/>
                  </a:lnTo>
                  <a:lnTo>
                    <a:pt x="129" y="15"/>
                  </a:lnTo>
                  <a:lnTo>
                    <a:pt x="129" y="12"/>
                  </a:lnTo>
                  <a:lnTo>
                    <a:pt x="128" y="9"/>
                  </a:lnTo>
                  <a:lnTo>
                    <a:pt x="127" y="7"/>
                  </a:lnTo>
                  <a:lnTo>
                    <a:pt x="125" y="5"/>
                  </a:lnTo>
                  <a:lnTo>
                    <a:pt x="123" y="2"/>
                  </a:lnTo>
                  <a:lnTo>
                    <a:pt x="120" y="1"/>
                  </a:lnTo>
                  <a:lnTo>
                    <a:pt x="117" y="0"/>
                  </a:lnTo>
                  <a:lnTo>
                    <a:pt x="114" y="0"/>
                  </a:lnTo>
                  <a:lnTo>
                    <a:pt x="15" y="0"/>
                  </a:lnTo>
                  <a:lnTo>
                    <a:pt x="12" y="0"/>
                  </a:lnTo>
                  <a:lnTo>
                    <a:pt x="10" y="1"/>
                  </a:lnTo>
                  <a:lnTo>
                    <a:pt x="7" y="2"/>
                  </a:lnTo>
                  <a:lnTo>
                    <a:pt x="5" y="5"/>
                  </a:lnTo>
                  <a:lnTo>
                    <a:pt x="4" y="7"/>
                  </a:lnTo>
                  <a:lnTo>
                    <a:pt x="1" y="9"/>
                  </a:lnTo>
                  <a:lnTo>
                    <a:pt x="0" y="12"/>
                  </a:lnTo>
                  <a:lnTo>
                    <a:pt x="0" y="15"/>
                  </a:lnTo>
                  <a:lnTo>
                    <a:pt x="0" y="556"/>
                  </a:lnTo>
                  <a:lnTo>
                    <a:pt x="1" y="559"/>
                  </a:lnTo>
                  <a:lnTo>
                    <a:pt x="1" y="562"/>
                  </a:lnTo>
                  <a:lnTo>
                    <a:pt x="4" y="564"/>
                  </a:lnTo>
                  <a:lnTo>
                    <a:pt x="5" y="566"/>
                  </a:lnTo>
                  <a:lnTo>
                    <a:pt x="7" y="569"/>
                  </a:lnTo>
                  <a:lnTo>
                    <a:pt x="10" y="570"/>
                  </a:lnTo>
                  <a:lnTo>
                    <a:pt x="12" y="571"/>
                  </a:lnTo>
                  <a:lnTo>
                    <a:pt x="15" y="571"/>
                  </a:lnTo>
                  <a:lnTo>
                    <a:pt x="707" y="571"/>
                  </a:lnTo>
                  <a:lnTo>
                    <a:pt x="710" y="571"/>
                  </a:lnTo>
                  <a:lnTo>
                    <a:pt x="713" y="570"/>
                  </a:lnTo>
                  <a:lnTo>
                    <a:pt x="716" y="569"/>
                  </a:lnTo>
                  <a:lnTo>
                    <a:pt x="718" y="566"/>
                  </a:lnTo>
                  <a:lnTo>
                    <a:pt x="720" y="564"/>
                  </a:lnTo>
                  <a:lnTo>
                    <a:pt x="721" y="562"/>
                  </a:lnTo>
                  <a:lnTo>
                    <a:pt x="722" y="559"/>
                  </a:lnTo>
                  <a:lnTo>
                    <a:pt x="722" y="556"/>
                  </a:lnTo>
                  <a:lnTo>
                    <a:pt x="722" y="15"/>
                  </a:lnTo>
                  <a:lnTo>
                    <a:pt x="722" y="12"/>
                  </a:lnTo>
                  <a:lnTo>
                    <a:pt x="721" y="9"/>
                  </a:lnTo>
                  <a:lnTo>
                    <a:pt x="720" y="7"/>
                  </a:lnTo>
                  <a:lnTo>
                    <a:pt x="718" y="5"/>
                  </a:lnTo>
                  <a:lnTo>
                    <a:pt x="716" y="2"/>
                  </a:lnTo>
                  <a:lnTo>
                    <a:pt x="713" y="1"/>
                  </a:lnTo>
                  <a:lnTo>
                    <a:pt x="710" y="0"/>
                  </a:lnTo>
                  <a:lnTo>
                    <a:pt x="7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6" name="Freeform 168">
              <a:extLst>
                <a:ext uri="{FF2B5EF4-FFF2-40B4-BE49-F238E27FC236}">
                  <a16:creationId xmlns:a16="http://schemas.microsoft.com/office/drawing/2014/main" id="{52D907F4-1C87-4B7E-AA99-5310E4804A73}"/>
                </a:ext>
              </a:extLst>
            </p:cNvPr>
            <p:cNvSpPr>
              <a:spLocks/>
            </p:cNvSpPr>
            <p:nvPr/>
          </p:nvSpPr>
          <p:spPr bwMode="auto">
            <a:xfrm>
              <a:off x="10520363" y="1352233"/>
              <a:ext cx="114300" cy="128588"/>
            </a:xfrm>
            <a:custGeom>
              <a:avLst/>
              <a:gdLst>
                <a:gd name="T0" fmla="*/ 1 w 361"/>
                <a:gd name="T1" fmla="*/ 393 h 406"/>
                <a:gd name="T2" fmla="*/ 3 w 361"/>
                <a:gd name="T3" fmla="*/ 399 h 406"/>
                <a:gd name="T4" fmla="*/ 7 w 361"/>
                <a:gd name="T5" fmla="*/ 403 h 406"/>
                <a:gd name="T6" fmla="*/ 12 w 361"/>
                <a:gd name="T7" fmla="*/ 405 h 406"/>
                <a:gd name="T8" fmla="*/ 18 w 361"/>
                <a:gd name="T9" fmla="*/ 405 h 406"/>
                <a:gd name="T10" fmla="*/ 23 w 361"/>
                <a:gd name="T11" fmla="*/ 403 h 406"/>
                <a:gd name="T12" fmla="*/ 27 w 361"/>
                <a:gd name="T13" fmla="*/ 400 h 406"/>
                <a:gd name="T14" fmla="*/ 30 w 361"/>
                <a:gd name="T15" fmla="*/ 395 h 406"/>
                <a:gd name="T16" fmla="*/ 30 w 361"/>
                <a:gd name="T17" fmla="*/ 184 h 406"/>
                <a:gd name="T18" fmla="*/ 32 w 361"/>
                <a:gd name="T19" fmla="*/ 155 h 406"/>
                <a:gd name="T20" fmla="*/ 38 w 361"/>
                <a:gd name="T21" fmla="*/ 127 h 406"/>
                <a:gd name="T22" fmla="*/ 51 w 361"/>
                <a:gd name="T23" fmla="*/ 101 h 406"/>
                <a:gd name="T24" fmla="*/ 68 w 361"/>
                <a:gd name="T25" fmla="*/ 78 h 406"/>
                <a:gd name="T26" fmla="*/ 92 w 361"/>
                <a:gd name="T27" fmla="*/ 58 h 406"/>
                <a:gd name="T28" fmla="*/ 119 w 361"/>
                <a:gd name="T29" fmla="*/ 43 h 406"/>
                <a:gd name="T30" fmla="*/ 149 w 361"/>
                <a:gd name="T31" fmla="*/ 33 h 406"/>
                <a:gd name="T32" fmla="*/ 180 w 361"/>
                <a:gd name="T33" fmla="*/ 30 h 406"/>
                <a:gd name="T34" fmla="*/ 211 w 361"/>
                <a:gd name="T35" fmla="*/ 33 h 406"/>
                <a:gd name="T36" fmla="*/ 240 w 361"/>
                <a:gd name="T37" fmla="*/ 43 h 406"/>
                <a:gd name="T38" fmla="*/ 268 w 361"/>
                <a:gd name="T39" fmla="*/ 57 h 406"/>
                <a:gd name="T40" fmla="*/ 290 w 361"/>
                <a:gd name="T41" fmla="*/ 77 h 406"/>
                <a:gd name="T42" fmla="*/ 309 w 361"/>
                <a:gd name="T43" fmla="*/ 101 h 406"/>
                <a:gd name="T44" fmla="*/ 322 w 361"/>
                <a:gd name="T45" fmla="*/ 127 h 406"/>
                <a:gd name="T46" fmla="*/ 329 w 361"/>
                <a:gd name="T47" fmla="*/ 155 h 406"/>
                <a:gd name="T48" fmla="*/ 331 w 361"/>
                <a:gd name="T49" fmla="*/ 185 h 406"/>
                <a:gd name="T50" fmla="*/ 331 w 361"/>
                <a:gd name="T51" fmla="*/ 393 h 406"/>
                <a:gd name="T52" fmla="*/ 333 w 361"/>
                <a:gd name="T53" fmla="*/ 399 h 406"/>
                <a:gd name="T54" fmla="*/ 337 w 361"/>
                <a:gd name="T55" fmla="*/ 403 h 406"/>
                <a:gd name="T56" fmla="*/ 343 w 361"/>
                <a:gd name="T57" fmla="*/ 405 h 406"/>
                <a:gd name="T58" fmla="*/ 349 w 361"/>
                <a:gd name="T59" fmla="*/ 405 h 406"/>
                <a:gd name="T60" fmla="*/ 354 w 361"/>
                <a:gd name="T61" fmla="*/ 403 h 406"/>
                <a:gd name="T62" fmla="*/ 359 w 361"/>
                <a:gd name="T63" fmla="*/ 400 h 406"/>
                <a:gd name="T64" fmla="*/ 361 w 361"/>
                <a:gd name="T65" fmla="*/ 395 h 406"/>
                <a:gd name="T66" fmla="*/ 361 w 361"/>
                <a:gd name="T67" fmla="*/ 186 h 406"/>
                <a:gd name="T68" fmla="*/ 359 w 361"/>
                <a:gd name="T69" fmla="*/ 150 h 406"/>
                <a:gd name="T70" fmla="*/ 350 w 361"/>
                <a:gd name="T71" fmla="*/ 117 h 406"/>
                <a:gd name="T72" fmla="*/ 334 w 361"/>
                <a:gd name="T73" fmla="*/ 85 h 406"/>
                <a:gd name="T74" fmla="*/ 313 w 361"/>
                <a:gd name="T75" fmla="*/ 57 h 406"/>
                <a:gd name="T76" fmla="*/ 285 w 361"/>
                <a:gd name="T77" fmla="*/ 32 h 406"/>
                <a:gd name="T78" fmla="*/ 253 w 361"/>
                <a:gd name="T79" fmla="*/ 15 h 406"/>
                <a:gd name="T80" fmla="*/ 217 w 361"/>
                <a:gd name="T81" fmla="*/ 4 h 406"/>
                <a:gd name="T82" fmla="*/ 180 w 361"/>
                <a:gd name="T83" fmla="*/ 0 h 406"/>
                <a:gd name="T84" fmla="*/ 142 w 361"/>
                <a:gd name="T85" fmla="*/ 4 h 406"/>
                <a:gd name="T86" fmla="*/ 107 w 361"/>
                <a:gd name="T87" fmla="*/ 15 h 406"/>
                <a:gd name="T88" fmla="*/ 75 w 361"/>
                <a:gd name="T89" fmla="*/ 33 h 406"/>
                <a:gd name="T90" fmla="*/ 47 w 361"/>
                <a:gd name="T91" fmla="*/ 57 h 406"/>
                <a:gd name="T92" fmla="*/ 25 w 361"/>
                <a:gd name="T93" fmla="*/ 86 h 406"/>
                <a:gd name="T94" fmla="*/ 10 w 361"/>
                <a:gd name="T95" fmla="*/ 117 h 406"/>
                <a:gd name="T96" fmla="*/ 2 w 361"/>
                <a:gd name="T97" fmla="*/ 151 h 406"/>
                <a:gd name="T98" fmla="*/ 0 w 361"/>
                <a:gd name="T99"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406">
                  <a:moveTo>
                    <a:pt x="0" y="391"/>
                  </a:moveTo>
                  <a:lnTo>
                    <a:pt x="1" y="393"/>
                  </a:lnTo>
                  <a:lnTo>
                    <a:pt x="2" y="397"/>
                  </a:lnTo>
                  <a:lnTo>
                    <a:pt x="3" y="399"/>
                  </a:lnTo>
                  <a:lnTo>
                    <a:pt x="5" y="402"/>
                  </a:lnTo>
                  <a:lnTo>
                    <a:pt x="7" y="403"/>
                  </a:lnTo>
                  <a:lnTo>
                    <a:pt x="9" y="405"/>
                  </a:lnTo>
                  <a:lnTo>
                    <a:pt x="12" y="405"/>
                  </a:lnTo>
                  <a:lnTo>
                    <a:pt x="15" y="406"/>
                  </a:lnTo>
                  <a:lnTo>
                    <a:pt x="18" y="405"/>
                  </a:lnTo>
                  <a:lnTo>
                    <a:pt x="21" y="405"/>
                  </a:lnTo>
                  <a:lnTo>
                    <a:pt x="23" y="403"/>
                  </a:lnTo>
                  <a:lnTo>
                    <a:pt x="25" y="402"/>
                  </a:lnTo>
                  <a:lnTo>
                    <a:pt x="27" y="400"/>
                  </a:lnTo>
                  <a:lnTo>
                    <a:pt x="28" y="397"/>
                  </a:lnTo>
                  <a:lnTo>
                    <a:pt x="30" y="395"/>
                  </a:lnTo>
                  <a:lnTo>
                    <a:pt x="30" y="391"/>
                  </a:lnTo>
                  <a:lnTo>
                    <a:pt x="30" y="184"/>
                  </a:lnTo>
                  <a:lnTo>
                    <a:pt x="30" y="169"/>
                  </a:lnTo>
                  <a:lnTo>
                    <a:pt x="32" y="155"/>
                  </a:lnTo>
                  <a:lnTo>
                    <a:pt x="34" y="141"/>
                  </a:lnTo>
                  <a:lnTo>
                    <a:pt x="38" y="127"/>
                  </a:lnTo>
                  <a:lnTo>
                    <a:pt x="43" y="114"/>
                  </a:lnTo>
                  <a:lnTo>
                    <a:pt x="51" y="101"/>
                  </a:lnTo>
                  <a:lnTo>
                    <a:pt x="58" y="89"/>
                  </a:lnTo>
                  <a:lnTo>
                    <a:pt x="68" y="78"/>
                  </a:lnTo>
                  <a:lnTo>
                    <a:pt x="80" y="67"/>
                  </a:lnTo>
                  <a:lnTo>
                    <a:pt x="92" y="58"/>
                  </a:lnTo>
                  <a:lnTo>
                    <a:pt x="105" y="49"/>
                  </a:lnTo>
                  <a:lnTo>
                    <a:pt x="119" y="43"/>
                  </a:lnTo>
                  <a:lnTo>
                    <a:pt x="134" y="37"/>
                  </a:lnTo>
                  <a:lnTo>
                    <a:pt x="149" y="33"/>
                  </a:lnTo>
                  <a:lnTo>
                    <a:pt x="164" y="31"/>
                  </a:lnTo>
                  <a:lnTo>
                    <a:pt x="180" y="30"/>
                  </a:lnTo>
                  <a:lnTo>
                    <a:pt x="196" y="31"/>
                  </a:lnTo>
                  <a:lnTo>
                    <a:pt x="211" y="33"/>
                  </a:lnTo>
                  <a:lnTo>
                    <a:pt x="226" y="37"/>
                  </a:lnTo>
                  <a:lnTo>
                    <a:pt x="240" y="43"/>
                  </a:lnTo>
                  <a:lnTo>
                    <a:pt x="254" y="49"/>
                  </a:lnTo>
                  <a:lnTo>
                    <a:pt x="268" y="57"/>
                  </a:lnTo>
                  <a:lnTo>
                    <a:pt x="279" y="66"/>
                  </a:lnTo>
                  <a:lnTo>
                    <a:pt x="290" y="77"/>
                  </a:lnTo>
                  <a:lnTo>
                    <a:pt x="301" y="89"/>
                  </a:lnTo>
                  <a:lnTo>
                    <a:pt x="309" y="101"/>
                  </a:lnTo>
                  <a:lnTo>
                    <a:pt x="316" y="114"/>
                  </a:lnTo>
                  <a:lnTo>
                    <a:pt x="322" y="127"/>
                  </a:lnTo>
                  <a:lnTo>
                    <a:pt x="327" y="141"/>
                  </a:lnTo>
                  <a:lnTo>
                    <a:pt x="329" y="155"/>
                  </a:lnTo>
                  <a:lnTo>
                    <a:pt x="331" y="170"/>
                  </a:lnTo>
                  <a:lnTo>
                    <a:pt x="331" y="185"/>
                  </a:lnTo>
                  <a:lnTo>
                    <a:pt x="331" y="391"/>
                  </a:lnTo>
                  <a:lnTo>
                    <a:pt x="331" y="393"/>
                  </a:lnTo>
                  <a:lnTo>
                    <a:pt x="332" y="397"/>
                  </a:lnTo>
                  <a:lnTo>
                    <a:pt x="333" y="399"/>
                  </a:lnTo>
                  <a:lnTo>
                    <a:pt x="335" y="402"/>
                  </a:lnTo>
                  <a:lnTo>
                    <a:pt x="337" y="403"/>
                  </a:lnTo>
                  <a:lnTo>
                    <a:pt x="339" y="405"/>
                  </a:lnTo>
                  <a:lnTo>
                    <a:pt x="343" y="405"/>
                  </a:lnTo>
                  <a:lnTo>
                    <a:pt x="346" y="406"/>
                  </a:lnTo>
                  <a:lnTo>
                    <a:pt x="349" y="405"/>
                  </a:lnTo>
                  <a:lnTo>
                    <a:pt x="351" y="405"/>
                  </a:lnTo>
                  <a:lnTo>
                    <a:pt x="354" y="403"/>
                  </a:lnTo>
                  <a:lnTo>
                    <a:pt x="357" y="402"/>
                  </a:lnTo>
                  <a:lnTo>
                    <a:pt x="359" y="400"/>
                  </a:lnTo>
                  <a:lnTo>
                    <a:pt x="360" y="397"/>
                  </a:lnTo>
                  <a:lnTo>
                    <a:pt x="361" y="395"/>
                  </a:lnTo>
                  <a:lnTo>
                    <a:pt x="361" y="391"/>
                  </a:lnTo>
                  <a:lnTo>
                    <a:pt x="361" y="186"/>
                  </a:lnTo>
                  <a:lnTo>
                    <a:pt x="361" y="168"/>
                  </a:lnTo>
                  <a:lnTo>
                    <a:pt x="359" y="150"/>
                  </a:lnTo>
                  <a:lnTo>
                    <a:pt x="355" y="133"/>
                  </a:lnTo>
                  <a:lnTo>
                    <a:pt x="350" y="117"/>
                  </a:lnTo>
                  <a:lnTo>
                    <a:pt x="343" y="101"/>
                  </a:lnTo>
                  <a:lnTo>
                    <a:pt x="334" y="85"/>
                  </a:lnTo>
                  <a:lnTo>
                    <a:pt x="324" y="71"/>
                  </a:lnTo>
                  <a:lnTo>
                    <a:pt x="313" y="57"/>
                  </a:lnTo>
                  <a:lnTo>
                    <a:pt x="299" y="44"/>
                  </a:lnTo>
                  <a:lnTo>
                    <a:pt x="285" y="32"/>
                  </a:lnTo>
                  <a:lnTo>
                    <a:pt x="269" y="22"/>
                  </a:lnTo>
                  <a:lnTo>
                    <a:pt x="253" y="15"/>
                  </a:lnTo>
                  <a:lnTo>
                    <a:pt x="234" y="8"/>
                  </a:lnTo>
                  <a:lnTo>
                    <a:pt x="217" y="4"/>
                  </a:lnTo>
                  <a:lnTo>
                    <a:pt x="198" y="1"/>
                  </a:lnTo>
                  <a:lnTo>
                    <a:pt x="180" y="0"/>
                  </a:lnTo>
                  <a:lnTo>
                    <a:pt x="161" y="1"/>
                  </a:lnTo>
                  <a:lnTo>
                    <a:pt x="142" y="4"/>
                  </a:lnTo>
                  <a:lnTo>
                    <a:pt x="124" y="8"/>
                  </a:lnTo>
                  <a:lnTo>
                    <a:pt x="107" y="15"/>
                  </a:lnTo>
                  <a:lnTo>
                    <a:pt x="91" y="23"/>
                  </a:lnTo>
                  <a:lnTo>
                    <a:pt x="75" y="33"/>
                  </a:lnTo>
                  <a:lnTo>
                    <a:pt x="61" y="44"/>
                  </a:lnTo>
                  <a:lnTo>
                    <a:pt x="47" y="57"/>
                  </a:lnTo>
                  <a:lnTo>
                    <a:pt x="35" y="71"/>
                  </a:lnTo>
                  <a:lnTo>
                    <a:pt x="25" y="86"/>
                  </a:lnTo>
                  <a:lnTo>
                    <a:pt x="17" y="101"/>
                  </a:lnTo>
                  <a:lnTo>
                    <a:pt x="10" y="117"/>
                  </a:lnTo>
                  <a:lnTo>
                    <a:pt x="5" y="134"/>
                  </a:lnTo>
                  <a:lnTo>
                    <a:pt x="2" y="151"/>
                  </a:lnTo>
                  <a:lnTo>
                    <a:pt x="0" y="168"/>
                  </a:lnTo>
                  <a:lnTo>
                    <a:pt x="0" y="185"/>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7" name="Freeform 169">
              <a:extLst>
                <a:ext uri="{FF2B5EF4-FFF2-40B4-BE49-F238E27FC236}">
                  <a16:creationId xmlns:a16="http://schemas.microsoft.com/office/drawing/2014/main" id="{2A063867-8794-46F8-8C97-23CE53FE2E0C}"/>
                </a:ext>
              </a:extLst>
            </p:cNvPr>
            <p:cNvSpPr>
              <a:spLocks/>
            </p:cNvSpPr>
            <p:nvPr/>
          </p:nvSpPr>
          <p:spPr bwMode="auto">
            <a:xfrm>
              <a:off x="10544175" y="1457008"/>
              <a:ext cx="66675" cy="9525"/>
            </a:xfrm>
            <a:custGeom>
              <a:avLst/>
              <a:gdLst>
                <a:gd name="T0" fmla="*/ 195 w 210"/>
                <a:gd name="T1" fmla="*/ 30 h 30"/>
                <a:gd name="T2" fmla="*/ 198 w 210"/>
                <a:gd name="T3" fmla="*/ 29 h 30"/>
                <a:gd name="T4" fmla="*/ 200 w 210"/>
                <a:gd name="T5" fmla="*/ 29 h 30"/>
                <a:gd name="T6" fmla="*/ 203 w 210"/>
                <a:gd name="T7" fmla="*/ 27 h 30"/>
                <a:gd name="T8" fmla="*/ 206 w 210"/>
                <a:gd name="T9" fmla="*/ 26 h 30"/>
                <a:gd name="T10" fmla="*/ 207 w 210"/>
                <a:gd name="T11" fmla="*/ 23 h 30"/>
                <a:gd name="T12" fmla="*/ 209 w 210"/>
                <a:gd name="T13" fmla="*/ 21 h 30"/>
                <a:gd name="T14" fmla="*/ 210 w 210"/>
                <a:gd name="T15" fmla="*/ 17 h 30"/>
                <a:gd name="T16" fmla="*/ 210 w 210"/>
                <a:gd name="T17" fmla="*/ 15 h 30"/>
                <a:gd name="T18" fmla="*/ 210 w 210"/>
                <a:gd name="T19" fmla="*/ 12 h 30"/>
                <a:gd name="T20" fmla="*/ 209 w 210"/>
                <a:gd name="T21" fmla="*/ 9 h 30"/>
                <a:gd name="T22" fmla="*/ 207 w 210"/>
                <a:gd name="T23" fmla="*/ 7 h 30"/>
                <a:gd name="T24" fmla="*/ 206 w 210"/>
                <a:gd name="T25" fmla="*/ 5 h 30"/>
                <a:gd name="T26" fmla="*/ 203 w 210"/>
                <a:gd name="T27" fmla="*/ 2 h 30"/>
                <a:gd name="T28" fmla="*/ 200 w 210"/>
                <a:gd name="T29" fmla="*/ 1 h 30"/>
                <a:gd name="T30" fmla="*/ 198 w 210"/>
                <a:gd name="T31" fmla="*/ 0 h 30"/>
                <a:gd name="T32" fmla="*/ 195 w 210"/>
                <a:gd name="T33" fmla="*/ 0 h 30"/>
                <a:gd name="T34" fmla="*/ 15 w 210"/>
                <a:gd name="T35" fmla="*/ 0 h 30"/>
                <a:gd name="T36" fmla="*/ 11 w 210"/>
                <a:gd name="T37" fmla="*/ 0 h 30"/>
                <a:gd name="T38" fmla="*/ 8 w 210"/>
                <a:gd name="T39" fmla="*/ 1 h 30"/>
                <a:gd name="T40" fmla="*/ 6 w 210"/>
                <a:gd name="T41" fmla="*/ 2 h 30"/>
                <a:gd name="T42" fmla="*/ 4 w 210"/>
                <a:gd name="T43" fmla="*/ 5 h 30"/>
                <a:gd name="T44" fmla="*/ 2 w 210"/>
                <a:gd name="T45" fmla="*/ 7 h 30"/>
                <a:gd name="T46" fmla="*/ 1 w 210"/>
                <a:gd name="T47" fmla="*/ 9 h 30"/>
                <a:gd name="T48" fmla="*/ 0 w 210"/>
                <a:gd name="T49" fmla="*/ 12 h 30"/>
                <a:gd name="T50" fmla="*/ 0 w 210"/>
                <a:gd name="T51" fmla="*/ 15 h 30"/>
                <a:gd name="T52" fmla="*/ 0 w 210"/>
                <a:gd name="T53" fmla="*/ 17 h 30"/>
                <a:gd name="T54" fmla="*/ 1 w 210"/>
                <a:gd name="T55" fmla="*/ 21 h 30"/>
                <a:gd name="T56" fmla="*/ 2 w 210"/>
                <a:gd name="T57" fmla="*/ 23 h 30"/>
                <a:gd name="T58" fmla="*/ 4 w 210"/>
                <a:gd name="T59" fmla="*/ 26 h 30"/>
                <a:gd name="T60" fmla="*/ 6 w 210"/>
                <a:gd name="T61" fmla="*/ 27 h 30"/>
                <a:gd name="T62" fmla="*/ 8 w 210"/>
                <a:gd name="T63" fmla="*/ 29 h 30"/>
                <a:gd name="T64" fmla="*/ 11 w 210"/>
                <a:gd name="T65" fmla="*/ 29 h 30"/>
                <a:gd name="T66" fmla="*/ 15 w 210"/>
                <a:gd name="T67" fmla="*/ 30 h 30"/>
                <a:gd name="T68" fmla="*/ 195 w 21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30"/>
                  </a:moveTo>
                  <a:lnTo>
                    <a:pt x="198" y="29"/>
                  </a:lnTo>
                  <a:lnTo>
                    <a:pt x="200" y="29"/>
                  </a:lnTo>
                  <a:lnTo>
                    <a:pt x="203" y="27"/>
                  </a:lnTo>
                  <a:lnTo>
                    <a:pt x="206" y="26"/>
                  </a:lnTo>
                  <a:lnTo>
                    <a:pt x="207" y="23"/>
                  </a:lnTo>
                  <a:lnTo>
                    <a:pt x="209" y="21"/>
                  </a:lnTo>
                  <a:lnTo>
                    <a:pt x="210" y="17"/>
                  </a:lnTo>
                  <a:lnTo>
                    <a:pt x="210" y="15"/>
                  </a:lnTo>
                  <a:lnTo>
                    <a:pt x="210" y="12"/>
                  </a:lnTo>
                  <a:lnTo>
                    <a:pt x="209" y="9"/>
                  </a:lnTo>
                  <a:lnTo>
                    <a:pt x="207" y="7"/>
                  </a:lnTo>
                  <a:lnTo>
                    <a:pt x="206" y="5"/>
                  </a:lnTo>
                  <a:lnTo>
                    <a:pt x="203" y="2"/>
                  </a:lnTo>
                  <a:lnTo>
                    <a:pt x="200" y="1"/>
                  </a:lnTo>
                  <a:lnTo>
                    <a:pt x="198" y="0"/>
                  </a:lnTo>
                  <a:lnTo>
                    <a:pt x="195" y="0"/>
                  </a:lnTo>
                  <a:lnTo>
                    <a:pt x="15" y="0"/>
                  </a:lnTo>
                  <a:lnTo>
                    <a:pt x="11" y="0"/>
                  </a:lnTo>
                  <a:lnTo>
                    <a:pt x="8" y="1"/>
                  </a:lnTo>
                  <a:lnTo>
                    <a:pt x="6" y="2"/>
                  </a:lnTo>
                  <a:lnTo>
                    <a:pt x="4" y="5"/>
                  </a:lnTo>
                  <a:lnTo>
                    <a:pt x="2" y="7"/>
                  </a:lnTo>
                  <a:lnTo>
                    <a:pt x="1" y="9"/>
                  </a:lnTo>
                  <a:lnTo>
                    <a:pt x="0" y="12"/>
                  </a:lnTo>
                  <a:lnTo>
                    <a:pt x="0" y="15"/>
                  </a:lnTo>
                  <a:lnTo>
                    <a:pt x="0" y="17"/>
                  </a:lnTo>
                  <a:lnTo>
                    <a:pt x="1" y="21"/>
                  </a:lnTo>
                  <a:lnTo>
                    <a:pt x="2" y="23"/>
                  </a:lnTo>
                  <a:lnTo>
                    <a:pt x="4" y="26"/>
                  </a:lnTo>
                  <a:lnTo>
                    <a:pt x="6" y="27"/>
                  </a:lnTo>
                  <a:lnTo>
                    <a:pt x="8" y="29"/>
                  </a:lnTo>
                  <a:lnTo>
                    <a:pt x="11" y="29"/>
                  </a:lnTo>
                  <a:lnTo>
                    <a:pt x="15" y="30"/>
                  </a:lnTo>
                  <a:lnTo>
                    <a:pt x="19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8" name="Freeform 170">
              <a:extLst>
                <a:ext uri="{FF2B5EF4-FFF2-40B4-BE49-F238E27FC236}">
                  <a16:creationId xmlns:a16="http://schemas.microsoft.com/office/drawing/2014/main" id="{D852C474-8DDB-4C7D-8829-1801D2178F5B}"/>
                </a:ext>
              </a:extLst>
            </p:cNvPr>
            <p:cNvSpPr>
              <a:spLocks noEditPoints="1"/>
            </p:cNvSpPr>
            <p:nvPr/>
          </p:nvSpPr>
          <p:spPr bwMode="auto">
            <a:xfrm>
              <a:off x="10529888" y="1504633"/>
              <a:ext cx="95250" cy="85725"/>
            </a:xfrm>
            <a:custGeom>
              <a:avLst/>
              <a:gdLst>
                <a:gd name="T0" fmla="*/ 31 w 301"/>
                <a:gd name="T1" fmla="*/ 30 h 271"/>
                <a:gd name="T2" fmla="*/ 271 w 301"/>
                <a:gd name="T3" fmla="*/ 30 h 271"/>
                <a:gd name="T4" fmla="*/ 271 w 301"/>
                <a:gd name="T5" fmla="*/ 241 h 271"/>
                <a:gd name="T6" fmla="*/ 31 w 301"/>
                <a:gd name="T7" fmla="*/ 241 h 271"/>
                <a:gd name="T8" fmla="*/ 31 w 301"/>
                <a:gd name="T9" fmla="*/ 30 h 271"/>
                <a:gd name="T10" fmla="*/ 0 w 301"/>
                <a:gd name="T11" fmla="*/ 271 h 271"/>
                <a:gd name="T12" fmla="*/ 301 w 301"/>
                <a:gd name="T13" fmla="*/ 271 h 271"/>
                <a:gd name="T14" fmla="*/ 301 w 301"/>
                <a:gd name="T15" fmla="*/ 0 h 271"/>
                <a:gd name="T16" fmla="*/ 0 w 301"/>
                <a:gd name="T17" fmla="*/ 0 h 271"/>
                <a:gd name="T18" fmla="*/ 0 w 301"/>
                <a:gd name="T1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271">
                  <a:moveTo>
                    <a:pt x="31" y="30"/>
                  </a:moveTo>
                  <a:lnTo>
                    <a:pt x="271" y="30"/>
                  </a:lnTo>
                  <a:lnTo>
                    <a:pt x="271" y="241"/>
                  </a:lnTo>
                  <a:lnTo>
                    <a:pt x="31" y="241"/>
                  </a:lnTo>
                  <a:lnTo>
                    <a:pt x="31" y="30"/>
                  </a:lnTo>
                  <a:close/>
                  <a:moveTo>
                    <a:pt x="0" y="271"/>
                  </a:moveTo>
                  <a:lnTo>
                    <a:pt x="301" y="271"/>
                  </a:lnTo>
                  <a:lnTo>
                    <a:pt x="301" y="0"/>
                  </a:lnTo>
                  <a:lnTo>
                    <a:pt x="0" y="0"/>
                  </a:lnTo>
                  <a:lnTo>
                    <a:pt x="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509" name="Freeform 171">
              <a:extLst>
                <a:ext uri="{FF2B5EF4-FFF2-40B4-BE49-F238E27FC236}">
                  <a16:creationId xmlns:a16="http://schemas.microsoft.com/office/drawing/2014/main" id="{FA11AB7F-2A51-4BCE-BE9C-D33A2D779CBC}"/>
                </a:ext>
              </a:extLst>
            </p:cNvPr>
            <p:cNvSpPr>
              <a:spLocks noEditPoints="1"/>
            </p:cNvSpPr>
            <p:nvPr/>
          </p:nvSpPr>
          <p:spPr bwMode="auto">
            <a:xfrm>
              <a:off x="10653713" y="1368108"/>
              <a:ext cx="74613" cy="79375"/>
            </a:xfrm>
            <a:custGeom>
              <a:avLst/>
              <a:gdLst>
                <a:gd name="T0" fmla="*/ 84 w 235"/>
                <a:gd name="T1" fmla="*/ 220 h 250"/>
                <a:gd name="T2" fmla="*/ 30 w 235"/>
                <a:gd name="T3" fmla="*/ 220 h 250"/>
                <a:gd name="T4" fmla="*/ 30 w 235"/>
                <a:gd name="T5" fmla="*/ 165 h 250"/>
                <a:gd name="T6" fmla="*/ 140 w 235"/>
                <a:gd name="T7" fmla="*/ 37 h 250"/>
                <a:gd name="T8" fmla="*/ 198 w 235"/>
                <a:gd name="T9" fmla="*/ 96 h 250"/>
                <a:gd name="T10" fmla="*/ 84 w 235"/>
                <a:gd name="T11" fmla="*/ 220 h 250"/>
                <a:gd name="T12" fmla="*/ 230 w 235"/>
                <a:gd name="T13" fmla="*/ 85 h 250"/>
                <a:gd name="T14" fmla="*/ 150 w 235"/>
                <a:gd name="T15" fmla="*/ 5 h 250"/>
                <a:gd name="T16" fmla="*/ 148 w 235"/>
                <a:gd name="T17" fmla="*/ 2 h 250"/>
                <a:gd name="T18" fmla="*/ 145 w 235"/>
                <a:gd name="T19" fmla="*/ 1 h 250"/>
                <a:gd name="T20" fmla="*/ 141 w 235"/>
                <a:gd name="T21" fmla="*/ 0 h 250"/>
                <a:gd name="T22" fmla="*/ 138 w 235"/>
                <a:gd name="T23" fmla="*/ 0 h 250"/>
                <a:gd name="T24" fmla="*/ 135 w 235"/>
                <a:gd name="T25" fmla="*/ 0 h 250"/>
                <a:gd name="T26" fmla="*/ 133 w 235"/>
                <a:gd name="T27" fmla="*/ 1 h 250"/>
                <a:gd name="T28" fmla="*/ 130 w 235"/>
                <a:gd name="T29" fmla="*/ 2 h 250"/>
                <a:gd name="T30" fmla="*/ 127 w 235"/>
                <a:gd name="T31" fmla="*/ 5 h 250"/>
                <a:gd name="T32" fmla="*/ 3 w 235"/>
                <a:gd name="T33" fmla="*/ 149 h 250"/>
                <a:gd name="T34" fmla="*/ 1 w 235"/>
                <a:gd name="T35" fmla="*/ 155 h 250"/>
                <a:gd name="T36" fmla="*/ 0 w 235"/>
                <a:gd name="T37" fmla="*/ 159 h 250"/>
                <a:gd name="T38" fmla="*/ 0 w 235"/>
                <a:gd name="T39" fmla="*/ 235 h 250"/>
                <a:gd name="T40" fmla="*/ 0 w 235"/>
                <a:gd name="T41" fmla="*/ 237 h 250"/>
                <a:gd name="T42" fmla="*/ 1 w 235"/>
                <a:gd name="T43" fmla="*/ 241 h 250"/>
                <a:gd name="T44" fmla="*/ 2 w 235"/>
                <a:gd name="T45" fmla="*/ 243 h 250"/>
                <a:gd name="T46" fmla="*/ 4 w 235"/>
                <a:gd name="T47" fmla="*/ 245 h 250"/>
                <a:gd name="T48" fmla="*/ 6 w 235"/>
                <a:gd name="T49" fmla="*/ 247 h 250"/>
                <a:gd name="T50" fmla="*/ 10 w 235"/>
                <a:gd name="T51" fmla="*/ 248 h 250"/>
                <a:gd name="T52" fmla="*/ 12 w 235"/>
                <a:gd name="T53" fmla="*/ 249 h 250"/>
                <a:gd name="T54" fmla="*/ 15 w 235"/>
                <a:gd name="T55" fmla="*/ 250 h 250"/>
                <a:gd name="T56" fmla="*/ 90 w 235"/>
                <a:gd name="T57" fmla="*/ 250 h 250"/>
                <a:gd name="T58" fmla="*/ 93 w 235"/>
                <a:gd name="T59" fmla="*/ 249 h 250"/>
                <a:gd name="T60" fmla="*/ 96 w 235"/>
                <a:gd name="T61" fmla="*/ 248 h 250"/>
                <a:gd name="T62" fmla="*/ 99 w 235"/>
                <a:gd name="T63" fmla="*/ 247 h 250"/>
                <a:gd name="T64" fmla="*/ 101 w 235"/>
                <a:gd name="T65" fmla="*/ 245 h 250"/>
                <a:gd name="T66" fmla="*/ 230 w 235"/>
                <a:gd name="T67" fmla="*/ 105 h 250"/>
                <a:gd name="T68" fmla="*/ 233 w 235"/>
                <a:gd name="T69" fmla="*/ 103 h 250"/>
                <a:gd name="T70" fmla="*/ 234 w 235"/>
                <a:gd name="T71" fmla="*/ 101 h 250"/>
                <a:gd name="T72" fmla="*/ 235 w 235"/>
                <a:gd name="T73" fmla="*/ 98 h 250"/>
                <a:gd name="T74" fmla="*/ 235 w 235"/>
                <a:gd name="T75" fmla="*/ 95 h 250"/>
                <a:gd name="T76" fmla="*/ 235 w 235"/>
                <a:gd name="T77" fmla="*/ 93 h 250"/>
                <a:gd name="T78" fmla="*/ 234 w 235"/>
                <a:gd name="T79" fmla="*/ 89 h 250"/>
                <a:gd name="T80" fmla="*/ 233 w 235"/>
                <a:gd name="T81" fmla="*/ 87 h 250"/>
                <a:gd name="T82" fmla="*/ 230 w 235"/>
                <a:gd name="T83"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250">
                  <a:moveTo>
                    <a:pt x="84" y="220"/>
                  </a:moveTo>
                  <a:lnTo>
                    <a:pt x="30" y="220"/>
                  </a:lnTo>
                  <a:lnTo>
                    <a:pt x="30" y="165"/>
                  </a:lnTo>
                  <a:lnTo>
                    <a:pt x="140" y="37"/>
                  </a:lnTo>
                  <a:lnTo>
                    <a:pt x="198" y="96"/>
                  </a:lnTo>
                  <a:lnTo>
                    <a:pt x="84" y="220"/>
                  </a:lnTo>
                  <a:close/>
                  <a:moveTo>
                    <a:pt x="230" y="85"/>
                  </a:moveTo>
                  <a:lnTo>
                    <a:pt x="150" y="5"/>
                  </a:lnTo>
                  <a:lnTo>
                    <a:pt x="148" y="2"/>
                  </a:lnTo>
                  <a:lnTo>
                    <a:pt x="145" y="1"/>
                  </a:lnTo>
                  <a:lnTo>
                    <a:pt x="141" y="0"/>
                  </a:lnTo>
                  <a:lnTo>
                    <a:pt x="138" y="0"/>
                  </a:lnTo>
                  <a:lnTo>
                    <a:pt x="135" y="0"/>
                  </a:lnTo>
                  <a:lnTo>
                    <a:pt x="133" y="1"/>
                  </a:lnTo>
                  <a:lnTo>
                    <a:pt x="130" y="2"/>
                  </a:lnTo>
                  <a:lnTo>
                    <a:pt x="127" y="5"/>
                  </a:lnTo>
                  <a:lnTo>
                    <a:pt x="3" y="149"/>
                  </a:lnTo>
                  <a:lnTo>
                    <a:pt x="1" y="155"/>
                  </a:lnTo>
                  <a:lnTo>
                    <a:pt x="0" y="159"/>
                  </a:lnTo>
                  <a:lnTo>
                    <a:pt x="0" y="235"/>
                  </a:lnTo>
                  <a:lnTo>
                    <a:pt x="0" y="237"/>
                  </a:lnTo>
                  <a:lnTo>
                    <a:pt x="1" y="241"/>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3"/>
                  </a:lnTo>
                  <a:lnTo>
                    <a:pt x="234" y="89"/>
                  </a:lnTo>
                  <a:lnTo>
                    <a:pt x="233" y="87"/>
                  </a:lnTo>
                  <a:lnTo>
                    <a:pt x="23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638" name="Group 7">
            <a:extLst>
              <a:ext uri="{FF2B5EF4-FFF2-40B4-BE49-F238E27FC236}">
                <a16:creationId xmlns:a16="http://schemas.microsoft.com/office/drawing/2014/main" id="{162107FA-4300-48DE-AEDC-78F8EE1B6CC7}"/>
              </a:ext>
            </a:extLst>
          </p:cNvPr>
          <p:cNvGrpSpPr>
            <a:grpSpLocks noChangeAspect="1"/>
          </p:cNvGrpSpPr>
          <p:nvPr/>
        </p:nvGrpSpPr>
        <p:grpSpPr>
          <a:xfrm>
            <a:off x="4907779" y="4340505"/>
            <a:ext cx="285619" cy="285619"/>
            <a:chOff x="6445250" y="1925320"/>
            <a:chExt cx="285750" cy="285750"/>
          </a:xfrm>
          <a:solidFill>
            <a:schemeClr val="bg1"/>
          </a:solidFill>
          <a:effectLst/>
        </p:grpSpPr>
        <p:sp>
          <p:nvSpPr>
            <p:cNvPr id="1639" name="Freeform 54">
              <a:extLst>
                <a:ext uri="{FF2B5EF4-FFF2-40B4-BE49-F238E27FC236}">
                  <a16:creationId xmlns:a16="http://schemas.microsoft.com/office/drawing/2014/main" id="{39D1AD96-3C15-46CC-9A16-DB6A0BF6521A}"/>
                </a:ext>
              </a:extLst>
            </p:cNvPr>
            <p:cNvSpPr>
              <a:spLocks noEditPoints="1"/>
            </p:cNvSpPr>
            <p:nvPr/>
          </p:nvSpPr>
          <p:spPr bwMode="auto">
            <a:xfrm>
              <a:off x="6445250" y="1925320"/>
              <a:ext cx="285750" cy="285750"/>
            </a:xfrm>
            <a:custGeom>
              <a:avLst/>
              <a:gdLst>
                <a:gd name="T0" fmla="*/ 729 w 902"/>
                <a:gd name="T1" fmla="*/ 812 h 902"/>
                <a:gd name="T2" fmla="*/ 786 w 902"/>
                <a:gd name="T3" fmla="*/ 745 h 902"/>
                <a:gd name="T4" fmla="*/ 872 w 902"/>
                <a:gd name="T5" fmla="*/ 714 h 902"/>
                <a:gd name="T6" fmla="*/ 860 w 902"/>
                <a:gd name="T7" fmla="*/ 816 h 902"/>
                <a:gd name="T8" fmla="*/ 819 w 902"/>
                <a:gd name="T9" fmla="*/ 859 h 902"/>
                <a:gd name="T10" fmla="*/ 30 w 902"/>
                <a:gd name="T11" fmla="*/ 766 h 902"/>
                <a:gd name="T12" fmla="*/ 103 w 902"/>
                <a:gd name="T13" fmla="*/ 736 h 902"/>
                <a:gd name="T14" fmla="*/ 165 w 902"/>
                <a:gd name="T15" fmla="*/ 800 h 902"/>
                <a:gd name="T16" fmla="*/ 129 w 902"/>
                <a:gd name="T17" fmla="*/ 872 h 902"/>
                <a:gd name="T18" fmla="*/ 74 w 902"/>
                <a:gd name="T19" fmla="*/ 853 h 902"/>
                <a:gd name="T20" fmla="*/ 38 w 902"/>
                <a:gd name="T21" fmla="*/ 807 h 902"/>
                <a:gd name="T22" fmla="*/ 240 w 902"/>
                <a:gd name="T23" fmla="*/ 361 h 902"/>
                <a:gd name="T24" fmla="*/ 247 w 902"/>
                <a:gd name="T25" fmla="*/ 445 h 902"/>
                <a:gd name="T26" fmla="*/ 264 w 902"/>
                <a:gd name="T27" fmla="*/ 445 h 902"/>
                <a:gd name="T28" fmla="*/ 270 w 902"/>
                <a:gd name="T29" fmla="*/ 361 h 902"/>
                <a:gd name="T30" fmla="*/ 636 w 902"/>
                <a:gd name="T31" fmla="*/ 442 h 902"/>
                <a:gd name="T32" fmla="*/ 652 w 902"/>
                <a:gd name="T33" fmla="*/ 446 h 902"/>
                <a:gd name="T34" fmla="*/ 662 w 902"/>
                <a:gd name="T35" fmla="*/ 432 h 902"/>
                <a:gd name="T36" fmla="*/ 782 w 902"/>
                <a:gd name="T37" fmla="*/ 379 h 902"/>
                <a:gd name="T38" fmla="*/ 847 w 902"/>
                <a:gd name="T39" fmla="*/ 439 h 902"/>
                <a:gd name="T40" fmla="*/ 872 w 902"/>
                <a:gd name="T41" fmla="*/ 527 h 902"/>
                <a:gd name="T42" fmla="*/ 785 w 902"/>
                <a:gd name="T43" fmla="*/ 709 h 902"/>
                <a:gd name="T44" fmla="*/ 710 w 902"/>
                <a:gd name="T45" fmla="*/ 785 h 902"/>
                <a:gd name="T46" fmla="*/ 219 w 902"/>
                <a:gd name="T47" fmla="*/ 872 h 902"/>
                <a:gd name="T48" fmla="*/ 183 w 902"/>
                <a:gd name="T49" fmla="*/ 770 h 902"/>
                <a:gd name="T50" fmla="*/ 101 w 902"/>
                <a:gd name="T51" fmla="*/ 702 h 902"/>
                <a:gd name="T52" fmla="*/ 31 w 902"/>
                <a:gd name="T53" fmla="*/ 511 h 902"/>
                <a:gd name="T54" fmla="*/ 64 w 902"/>
                <a:gd name="T55" fmla="*/ 426 h 902"/>
                <a:gd name="T56" fmla="*/ 135 w 902"/>
                <a:gd name="T57" fmla="*/ 373 h 902"/>
                <a:gd name="T58" fmla="*/ 276 w 902"/>
                <a:gd name="T59" fmla="*/ 170 h 902"/>
                <a:gd name="T60" fmla="*/ 327 w 902"/>
                <a:gd name="T61" fmla="*/ 81 h 902"/>
                <a:gd name="T62" fmla="*/ 416 w 902"/>
                <a:gd name="T63" fmla="*/ 34 h 902"/>
                <a:gd name="T64" fmla="*/ 519 w 902"/>
                <a:gd name="T65" fmla="*/ 44 h 902"/>
                <a:gd name="T66" fmla="*/ 598 w 902"/>
                <a:gd name="T67" fmla="*/ 107 h 902"/>
                <a:gd name="T68" fmla="*/ 632 w 902"/>
                <a:gd name="T69" fmla="*/ 204 h 902"/>
                <a:gd name="T70" fmla="*/ 722 w 902"/>
                <a:gd name="T71" fmla="*/ 331 h 902"/>
                <a:gd name="T72" fmla="*/ 641 w 902"/>
                <a:gd name="T73" fmla="*/ 124 h 902"/>
                <a:gd name="T74" fmla="*/ 565 w 902"/>
                <a:gd name="T75" fmla="*/ 34 h 902"/>
                <a:gd name="T76" fmla="*/ 451 w 902"/>
                <a:gd name="T77" fmla="*/ 0 h 902"/>
                <a:gd name="T78" fmla="*/ 337 w 902"/>
                <a:gd name="T79" fmla="*/ 35 h 902"/>
                <a:gd name="T80" fmla="*/ 261 w 902"/>
                <a:gd name="T81" fmla="*/ 124 h 902"/>
                <a:gd name="T82" fmla="*/ 180 w 902"/>
                <a:gd name="T83" fmla="*/ 331 h 902"/>
                <a:gd name="T84" fmla="*/ 108 w 902"/>
                <a:gd name="T85" fmla="*/ 352 h 902"/>
                <a:gd name="T86" fmla="*/ 30 w 902"/>
                <a:gd name="T87" fmla="*/ 424 h 902"/>
                <a:gd name="T88" fmla="*/ 0 w 902"/>
                <a:gd name="T89" fmla="*/ 527 h 902"/>
                <a:gd name="T90" fmla="*/ 16 w 902"/>
                <a:gd name="T91" fmla="*/ 831 h 902"/>
                <a:gd name="T92" fmla="*/ 68 w 902"/>
                <a:gd name="T93" fmla="*/ 885 h 902"/>
                <a:gd name="T94" fmla="*/ 773 w 902"/>
                <a:gd name="T95" fmla="*/ 902 h 902"/>
                <a:gd name="T96" fmla="*/ 845 w 902"/>
                <a:gd name="T97" fmla="*/ 879 h 902"/>
                <a:gd name="T98" fmla="*/ 891 w 902"/>
                <a:gd name="T99" fmla="*/ 819 h 902"/>
                <a:gd name="T100" fmla="*/ 901 w 902"/>
                <a:gd name="T101" fmla="*/ 508 h 902"/>
                <a:gd name="T102" fmla="*/ 862 w 902"/>
                <a:gd name="T103" fmla="*/ 409 h 902"/>
                <a:gd name="T104" fmla="*/ 778 w 902"/>
                <a:gd name="T105" fmla="*/ 34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902">
                  <a:moveTo>
                    <a:pt x="773" y="872"/>
                  </a:moveTo>
                  <a:lnTo>
                    <a:pt x="713" y="872"/>
                  </a:lnTo>
                  <a:lnTo>
                    <a:pt x="715" y="856"/>
                  </a:lnTo>
                  <a:lnTo>
                    <a:pt x="719" y="841"/>
                  </a:lnTo>
                  <a:lnTo>
                    <a:pt x="723" y="826"/>
                  </a:lnTo>
                  <a:lnTo>
                    <a:pt x="729" y="812"/>
                  </a:lnTo>
                  <a:lnTo>
                    <a:pt x="736" y="800"/>
                  </a:lnTo>
                  <a:lnTo>
                    <a:pt x="744" y="787"/>
                  </a:lnTo>
                  <a:lnTo>
                    <a:pt x="754" y="775"/>
                  </a:lnTo>
                  <a:lnTo>
                    <a:pt x="764" y="764"/>
                  </a:lnTo>
                  <a:lnTo>
                    <a:pt x="774" y="753"/>
                  </a:lnTo>
                  <a:lnTo>
                    <a:pt x="786" y="745"/>
                  </a:lnTo>
                  <a:lnTo>
                    <a:pt x="799" y="736"/>
                  </a:lnTo>
                  <a:lnTo>
                    <a:pt x="813" y="729"/>
                  </a:lnTo>
                  <a:lnTo>
                    <a:pt x="827" y="723"/>
                  </a:lnTo>
                  <a:lnTo>
                    <a:pt x="841" y="719"/>
                  </a:lnTo>
                  <a:lnTo>
                    <a:pt x="856" y="715"/>
                  </a:lnTo>
                  <a:lnTo>
                    <a:pt x="872" y="714"/>
                  </a:lnTo>
                  <a:lnTo>
                    <a:pt x="872" y="766"/>
                  </a:lnTo>
                  <a:lnTo>
                    <a:pt x="872" y="777"/>
                  </a:lnTo>
                  <a:lnTo>
                    <a:pt x="870" y="788"/>
                  </a:lnTo>
                  <a:lnTo>
                    <a:pt x="868" y="797"/>
                  </a:lnTo>
                  <a:lnTo>
                    <a:pt x="864" y="807"/>
                  </a:lnTo>
                  <a:lnTo>
                    <a:pt x="860" y="816"/>
                  </a:lnTo>
                  <a:lnTo>
                    <a:pt x="855" y="824"/>
                  </a:lnTo>
                  <a:lnTo>
                    <a:pt x="848" y="833"/>
                  </a:lnTo>
                  <a:lnTo>
                    <a:pt x="842" y="840"/>
                  </a:lnTo>
                  <a:lnTo>
                    <a:pt x="836" y="848"/>
                  </a:lnTo>
                  <a:lnTo>
                    <a:pt x="828" y="853"/>
                  </a:lnTo>
                  <a:lnTo>
                    <a:pt x="819" y="859"/>
                  </a:lnTo>
                  <a:lnTo>
                    <a:pt x="811" y="864"/>
                  </a:lnTo>
                  <a:lnTo>
                    <a:pt x="802" y="867"/>
                  </a:lnTo>
                  <a:lnTo>
                    <a:pt x="793" y="870"/>
                  </a:lnTo>
                  <a:lnTo>
                    <a:pt x="783" y="871"/>
                  </a:lnTo>
                  <a:lnTo>
                    <a:pt x="773" y="872"/>
                  </a:lnTo>
                  <a:close/>
                  <a:moveTo>
                    <a:pt x="30" y="766"/>
                  </a:moveTo>
                  <a:lnTo>
                    <a:pt x="30" y="714"/>
                  </a:lnTo>
                  <a:lnTo>
                    <a:pt x="45" y="715"/>
                  </a:lnTo>
                  <a:lnTo>
                    <a:pt x="61" y="719"/>
                  </a:lnTo>
                  <a:lnTo>
                    <a:pt x="75" y="723"/>
                  </a:lnTo>
                  <a:lnTo>
                    <a:pt x="89" y="729"/>
                  </a:lnTo>
                  <a:lnTo>
                    <a:pt x="103" y="736"/>
                  </a:lnTo>
                  <a:lnTo>
                    <a:pt x="116" y="745"/>
                  </a:lnTo>
                  <a:lnTo>
                    <a:pt x="128" y="753"/>
                  </a:lnTo>
                  <a:lnTo>
                    <a:pt x="139" y="764"/>
                  </a:lnTo>
                  <a:lnTo>
                    <a:pt x="148" y="775"/>
                  </a:lnTo>
                  <a:lnTo>
                    <a:pt x="158" y="787"/>
                  </a:lnTo>
                  <a:lnTo>
                    <a:pt x="165" y="800"/>
                  </a:lnTo>
                  <a:lnTo>
                    <a:pt x="173" y="812"/>
                  </a:lnTo>
                  <a:lnTo>
                    <a:pt x="179" y="826"/>
                  </a:lnTo>
                  <a:lnTo>
                    <a:pt x="184" y="841"/>
                  </a:lnTo>
                  <a:lnTo>
                    <a:pt x="187" y="856"/>
                  </a:lnTo>
                  <a:lnTo>
                    <a:pt x="189" y="872"/>
                  </a:lnTo>
                  <a:lnTo>
                    <a:pt x="129" y="872"/>
                  </a:lnTo>
                  <a:lnTo>
                    <a:pt x="119" y="871"/>
                  </a:lnTo>
                  <a:lnTo>
                    <a:pt x="110" y="870"/>
                  </a:lnTo>
                  <a:lnTo>
                    <a:pt x="100" y="867"/>
                  </a:lnTo>
                  <a:lnTo>
                    <a:pt x="91" y="864"/>
                  </a:lnTo>
                  <a:lnTo>
                    <a:pt x="83" y="859"/>
                  </a:lnTo>
                  <a:lnTo>
                    <a:pt x="74" y="853"/>
                  </a:lnTo>
                  <a:lnTo>
                    <a:pt x="67" y="848"/>
                  </a:lnTo>
                  <a:lnTo>
                    <a:pt x="60" y="840"/>
                  </a:lnTo>
                  <a:lnTo>
                    <a:pt x="54" y="833"/>
                  </a:lnTo>
                  <a:lnTo>
                    <a:pt x="47" y="824"/>
                  </a:lnTo>
                  <a:lnTo>
                    <a:pt x="42" y="816"/>
                  </a:lnTo>
                  <a:lnTo>
                    <a:pt x="38" y="807"/>
                  </a:lnTo>
                  <a:lnTo>
                    <a:pt x="35" y="797"/>
                  </a:lnTo>
                  <a:lnTo>
                    <a:pt x="32" y="788"/>
                  </a:lnTo>
                  <a:lnTo>
                    <a:pt x="30" y="777"/>
                  </a:lnTo>
                  <a:lnTo>
                    <a:pt x="30" y="766"/>
                  </a:lnTo>
                  <a:close/>
                  <a:moveTo>
                    <a:pt x="181" y="361"/>
                  </a:moveTo>
                  <a:lnTo>
                    <a:pt x="240" y="361"/>
                  </a:lnTo>
                  <a:lnTo>
                    <a:pt x="240" y="432"/>
                  </a:lnTo>
                  <a:lnTo>
                    <a:pt x="240" y="435"/>
                  </a:lnTo>
                  <a:lnTo>
                    <a:pt x="242" y="438"/>
                  </a:lnTo>
                  <a:lnTo>
                    <a:pt x="244" y="440"/>
                  </a:lnTo>
                  <a:lnTo>
                    <a:pt x="245" y="442"/>
                  </a:lnTo>
                  <a:lnTo>
                    <a:pt x="247" y="445"/>
                  </a:lnTo>
                  <a:lnTo>
                    <a:pt x="250" y="446"/>
                  </a:lnTo>
                  <a:lnTo>
                    <a:pt x="252" y="447"/>
                  </a:lnTo>
                  <a:lnTo>
                    <a:pt x="255" y="447"/>
                  </a:lnTo>
                  <a:lnTo>
                    <a:pt x="259" y="447"/>
                  </a:lnTo>
                  <a:lnTo>
                    <a:pt x="262" y="446"/>
                  </a:lnTo>
                  <a:lnTo>
                    <a:pt x="264" y="445"/>
                  </a:lnTo>
                  <a:lnTo>
                    <a:pt x="266" y="442"/>
                  </a:lnTo>
                  <a:lnTo>
                    <a:pt x="268" y="440"/>
                  </a:lnTo>
                  <a:lnTo>
                    <a:pt x="269" y="438"/>
                  </a:lnTo>
                  <a:lnTo>
                    <a:pt x="270" y="435"/>
                  </a:lnTo>
                  <a:lnTo>
                    <a:pt x="270" y="432"/>
                  </a:lnTo>
                  <a:lnTo>
                    <a:pt x="270" y="361"/>
                  </a:lnTo>
                  <a:lnTo>
                    <a:pt x="632" y="361"/>
                  </a:lnTo>
                  <a:lnTo>
                    <a:pt x="632" y="432"/>
                  </a:lnTo>
                  <a:lnTo>
                    <a:pt x="632" y="435"/>
                  </a:lnTo>
                  <a:lnTo>
                    <a:pt x="633" y="438"/>
                  </a:lnTo>
                  <a:lnTo>
                    <a:pt x="634" y="440"/>
                  </a:lnTo>
                  <a:lnTo>
                    <a:pt x="636" y="442"/>
                  </a:lnTo>
                  <a:lnTo>
                    <a:pt x="638" y="445"/>
                  </a:lnTo>
                  <a:lnTo>
                    <a:pt x="640" y="446"/>
                  </a:lnTo>
                  <a:lnTo>
                    <a:pt x="644" y="447"/>
                  </a:lnTo>
                  <a:lnTo>
                    <a:pt x="647" y="447"/>
                  </a:lnTo>
                  <a:lnTo>
                    <a:pt x="650" y="447"/>
                  </a:lnTo>
                  <a:lnTo>
                    <a:pt x="652" y="446"/>
                  </a:lnTo>
                  <a:lnTo>
                    <a:pt x="655" y="445"/>
                  </a:lnTo>
                  <a:lnTo>
                    <a:pt x="658" y="442"/>
                  </a:lnTo>
                  <a:lnTo>
                    <a:pt x="659" y="440"/>
                  </a:lnTo>
                  <a:lnTo>
                    <a:pt x="661" y="438"/>
                  </a:lnTo>
                  <a:lnTo>
                    <a:pt x="661" y="435"/>
                  </a:lnTo>
                  <a:lnTo>
                    <a:pt x="662" y="432"/>
                  </a:lnTo>
                  <a:lnTo>
                    <a:pt x="662" y="361"/>
                  </a:lnTo>
                  <a:lnTo>
                    <a:pt x="721" y="361"/>
                  </a:lnTo>
                  <a:lnTo>
                    <a:pt x="737" y="363"/>
                  </a:lnTo>
                  <a:lnTo>
                    <a:pt x="753" y="367"/>
                  </a:lnTo>
                  <a:lnTo>
                    <a:pt x="767" y="373"/>
                  </a:lnTo>
                  <a:lnTo>
                    <a:pt x="782" y="379"/>
                  </a:lnTo>
                  <a:lnTo>
                    <a:pt x="795" y="387"/>
                  </a:lnTo>
                  <a:lnTo>
                    <a:pt x="808" y="395"/>
                  </a:lnTo>
                  <a:lnTo>
                    <a:pt x="818" y="405"/>
                  </a:lnTo>
                  <a:lnTo>
                    <a:pt x="829" y="416"/>
                  </a:lnTo>
                  <a:lnTo>
                    <a:pt x="839" y="426"/>
                  </a:lnTo>
                  <a:lnTo>
                    <a:pt x="847" y="439"/>
                  </a:lnTo>
                  <a:lnTo>
                    <a:pt x="855" y="452"/>
                  </a:lnTo>
                  <a:lnTo>
                    <a:pt x="860" y="466"/>
                  </a:lnTo>
                  <a:lnTo>
                    <a:pt x="866" y="480"/>
                  </a:lnTo>
                  <a:lnTo>
                    <a:pt x="869" y="495"/>
                  </a:lnTo>
                  <a:lnTo>
                    <a:pt x="871" y="511"/>
                  </a:lnTo>
                  <a:lnTo>
                    <a:pt x="872" y="527"/>
                  </a:lnTo>
                  <a:lnTo>
                    <a:pt x="872" y="683"/>
                  </a:lnTo>
                  <a:lnTo>
                    <a:pt x="854" y="686"/>
                  </a:lnTo>
                  <a:lnTo>
                    <a:pt x="836" y="689"/>
                  </a:lnTo>
                  <a:lnTo>
                    <a:pt x="817" y="694"/>
                  </a:lnTo>
                  <a:lnTo>
                    <a:pt x="801" y="702"/>
                  </a:lnTo>
                  <a:lnTo>
                    <a:pt x="785" y="709"/>
                  </a:lnTo>
                  <a:lnTo>
                    <a:pt x="770" y="719"/>
                  </a:lnTo>
                  <a:lnTo>
                    <a:pt x="756" y="731"/>
                  </a:lnTo>
                  <a:lnTo>
                    <a:pt x="742" y="743"/>
                  </a:lnTo>
                  <a:lnTo>
                    <a:pt x="730" y="756"/>
                  </a:lnTo>
                  <a:lnTo>
                    <a:pt x="720" y="770"/>
                  </a:lnTo>
                  <a:lnTo>
                    <a:pt x="710" y="785"/>
                  </a:lnTo>
                  <a:lnTo>
                    <a:pt x="702" y="801"/>
                  </a:lnTo>
                  <a:lnTo>
                    <a:pt x="695" y="818"/>
                  </a:lnTo>
                  <a:lnTo>
                    <a:pt x="690" y="835"/>
                  </a:lnTo>
                  <a:lnTo>
                    <a:pt x="685" y="853"/>
                  </a:lnTo>
                  <a:lnTo>
                    <a:pt x="683" y="872"/>
                  </a:lnTo>
                  <a:lnTo>
                    <a:pt x="219" y="872"/>
                  </a:lnTo>
                  <a:lnTo>
                    <a:pt x="217" y="853"/>
                  </a:lnTo>
                  <a:lnTo>
                    <a:pt x="213" y="835"/>
                  </a:lnTo>
                  <a:lnTo>
                    <a:pt x="207" y="818"/>
                  </a:lnTo>
                  <a:lnTo>
                    <a:pt x="201" y="801"/>
                  </a:lnTo>
                  <a:lnTo>
                    <a:pt x="192" y="785"/>
                  </a:lnTo>
                  <a:lnTo>
                    <a:pt x="183" y="770"/>
                  </a:lnTo>
                  <a:lnTo>
                    <a:pt x="172" y="756"/>
                  </a:lnTo>
                  <a:lnTo>
                    <a:pt x="160" y="743"/>
                  </a:lnTo>
                  <a:lnTo>
                    <a:pt x="146" y="731"/>
                  </a:lnTo>
                  <a:lnTo>
                    <a:pt x="132" y="719"/>
                  </a:lnTo>
                  <a:lnTo>
                    <a:pt x="117" y="709"/>
                  </a:lnTo>
                  <a:lnTo>
                    <a:pt x="101" y="702"/>
                  </a:lnTo>
                  <a:lnTo>
                    <a:pt x="85" y="694"/>
                  </a:lnTo>
                  <a:lnTo>
                    <a:pt x="67" y="689"/>
                  </a:lnTo>
                  <a:lnTo>
                    <a:pt x="49" y="686"/>
                  </a:lnTo>
                  <a:lnTo>
                    <a:pt x="30" y="683"/>
                  </a:lnTo>
                  <a:lnTo>
                    <a:pt x="30" y="527"/>
                  </a:lnTo>
                  <a:lnTo>
                    <a:pt x="31" y="511"/>
                  </a:lnTo>
                  <a:lnTo>
                    <a:pt x="34" y="495"/>
                  </a:lnTo>
                  <a:lnTo>
                    <a:pt x="37" y="480"/>
                  </a:lnTo>
                  <a:lnTo>
                    <a:pt x="41" y="466"/>
                  </a:lnTo>
                  <a:lnTo>
                    <a:pt x="47" y="452"/>
                  </a:lnTo>
                  <a:lnTo>
                    <a:pt x="55" y="439"/>
                  </a:lnTo>
                  <a:lnTo>
                    <a:pt x="64" y="426"/>
                  </a:lnTo>
                  <a:lnTo>
                    <a:pt x="73" y="416"/>
                  </a:lnTo>
                  <a:lnTo>
                    <a:pt x="84" y="405"/>
                  </a:lnTo>
                  <a:lnTo>
                    <a:pt x="95" y="395"/>
                  </a:lnTo>
                  <a:lnTo>
                    <a:pt x="108" y="387"/>
                  </a:lnTo>
                  <a:lnTo>
                    <a:pt x="120" y="379"/>
                  </a:lnTo>
                  <a:lnTo>
                    <a:pt x="135" y="373"/>
                  </a:lnTo>
                  <a:lnTo>
                    <a:pt x="149" y="367"/>
                  </a:lnTo>
                  <a:lnTo>
                    <a:pt x="165" y="363"/>
                  </a:lnTo>
                  <a:lnTo>
                    <a:pt x="181" y="361"/>
                  </a:lnTo>
                  <a:close/>
                  <a:moveTo>
                    <a:pt x="270" y="205"/>
                  </a:moveTo>
                  <a:lnTo>
                    <a:pt x="273" y="187"/>
                  </a:lnTo>
                  <a:lnTo>
                    <a:pt x="276" y="170"/>
                  </a:lnTo>
                  <a:lnTo>
                    <a:pt x="281" y="153"/>
                  </a:lnTo>
                  <a:lnTo>
                    <a:pt x="288" y="137"/>
                  </a:lnTo>
                  <a:lnTo>
                    <a:pt x="296" y="121"/>
                  </a:lnTo>
                  <a:lnTo>
                    <a:pt x="305" y="107"/>
                  </a:lnTo>
                  <a:lnTo>
                    <a:pt x="316" y="93"/>
                  </a:lnTo>
                  <a:lnTo>
                    <a:pt x="327" y="81"/>
                  </a:lnTo>
                  <a:lnTo>
                    <a:pt x="340" y="69"/>
                  </a:lnTo>
                  <a:lnTo>
                    <a:pt x="353" y="60"/>
                  </a:lnTo>
                  <a:lnTo>
                    <a:pt x="368" y="51"/>
                  </a:lnTo>
                  <a:lnTo>
                    <a:pt x="383" y="44"/>
                  </a:lnTo>
                  <a:lnTo>
                    <a:pt x="399" y="38"/>
                  </a:lnTo>
                  <a:lnTo>
                    <a:pt x="416" y="34"/>
                  </a:lnTo>
                  <a:lnTo>
                    <a:pt x="433" y="31"/>
                  </a:lnTo>
                  <a:lnTo>
                    <a:pt x="451" y="31"/>
                  </a:lnTo>
                  <a:lnTo>
                    <a:pt x="469" y="31"/>
                  </a:lnTo>
                  <a:lnTo>
                    <a:pt x="486" y="34"/>
                  </a:lnTo>
                  <a:lnTo>
                    <a:pt x="503" y="38"/>
                  </a:lnTo>
                  <a:lnTo>
                    <a:pt x="519" y="44"/>
                  </a:lnTo>
                  <a:lnTo>
                    <a:pt x="534" y="51"/>
                  </a:lnTo>
                  <a:lnTo>
                    <a:pt x="549" y="60"/>
                  </a:lnTo>
                  <a:lnTo>
                    <a:pt x="562" y="69"/>
                  </a:lnTo>
                  <a:lnTo>
                    <a:pt x="575" y="81"/>
                  </a:lnTo>
                  <a:lnTo>
                    <a:pt x="587" y="93"/>
                  </a:lnTo>
                  <a:lnTo>
                    <a:pt x="598" y="107"/>
                  </a:lnTo>
                  <a:lnTo>
                    <a:pt x="606" y="121"/>
                  </a:lnTo>
                  <a:lnTo>
                    <a:pt x="615" y="136"/>
                  </a:lnTo>
                  <a:lnTo>
                    <a:pt x="621" y="152"/>
                  </a:lnTo>
                  <a:lnTo>
                    <a:pt x="626" y="169"/>
                  </a:lnTo>
                  <a:lnTo>
                    <a:pt x="630" y="186"/>
                  </a:lnTo>
                  <a:lnTo>
                    <a:pt x="632" y="204"/>
                  </a:lnTo>
                  <a:lnTo>
                    <a:pt x="632" y="331"/>
                  </a:lnTo>
                  <a:lnTo>
                    <a:pt x="270" y="331"/>
                  </a:lnTo>
                  <a:lnTo>
                    <a:pt x="270" y="205"/>
                  </a:lnTo>
                  <a:close/>
                  <a:moveTo>
                    <a:pt x="723" y="331"/>
                  </a:moveTo>
                  <a:lnTo>
                    <a:pt x="723" y="331"/>
                  </a:lnTo>
                  <a:lnTo>
                    <a:pt x="722" y="331"/>
                  </a:lnTo>
                  <a:lnTo>
                    <a:pt x="662" y="331"/>
                  </a:lnTo>
                  <a:lnTo>
                    <a:pt x="662" y="203"/>
                  </a:lnTo>
                  <a:lnTo>
                    <a:pt x="660" y="183"/>
                  </a:lnTo>
                  <a:lnTo>
                    <a:pt x="655" y="163"/>
                  </a:lnTo>
                  <a:lnTo>
                    <a:pt x="649" y="142"/>
                  </a:lnTo>
                  <a:lnTo>
                    <a:pt x="641" y="124"/>
                  </a:lnTo>
                  <a:lnTo>
                    <a:pt x="633" y="106"/>
                  </a:lnTo>
                  <a:lnTo>
                    <a:pt x="621" y="89"/>
                  </a:lnTo>
                  <a:lnTo>
                    <a:pt x="609" y="74"/>
                  </a:lnTo>
                  <a:lnTo>
                    <a:pt x="595" y="59"/>
                  </a:lnTo>
                  <a:lnTo>
                    <a:pt x="581" y="46"/>
                  </a:lnTo>
                  <a:lnTo>
                    <a:pt x="565" y="34"/>
                  </a:lnTo>
                  <a:lnTo>
                    <a:pt x="548" y="24"/>
                  </a:lnTo>
                  <a:lnTo>
                    <a:pt x="530" y="16"/>
                  </a:lnTo>
                  <a:lnTo>
                    <a:pt x="512" y="9"/>
                  </a:lnTo>
                  <a:lnTo>
                    <a:pt x="492" y="4"/>
                  </a:lnTo>
                  <a:lnTo>
                    <a:pt x="472" y="1"/>
                  </a:lnTo>
                  <a:lnTo>
                    <a:pt x="451" y="0"/>
                  </a:lnTo>
                  <a:lnTo>
                    <a:pt x="430" y="1"/>
                  </a:lnTo>
                  <a:lnTo>
                    <a:pt x="410" y="4"/>
                  </a:lnTo>
                  <a:lnTo>
                    <a:pt x="391" y="9"/>
                  </a:lnTo>
                  <a:lnTo>
                    <a:pt x="372" y="16"/>
                  </a:lnTo>
                  <a:lnTo>
                    <a:pt x="354" y="24"/>
                  </a:lnTo>
                  <a:lnTo>
                    <a:pt x="337" y="35"/>
                  </a:lnTo>
                  <a:lnTo>
                    <a:pt x="321" y="46"/>
                  </a:lnTo>
                  <a:lnTo>
                    <a:pt x="307" y="60"/>
                  </a:lnTo>
                  <a:lnTo>
                    <a:pt x="293" y="74"/>
                  </a:lnTo>
                  <a:lnTo>
                    <a:pt x="281" y="90"/>
                  </a:lnTo>
                  <a:lnTo>
                    <a:pt x="269" y="106"/>
                  </a:lnTo>
                  <a:lnTo>
                    <a:pt x="261" y="124"/>
                  </a:lnTo>
                  <a:lnTo>
                    <a:pt x="253" y="143"/>
                  </a:lnTo>
                  <a:lnTo>
                    <a:pt x="247" y="163"/>
                  </a:lnTo>
                  <a:lnTo>
                    <a:pt x="243" y="183"/>
                  </a:lnTo>
                  <a:lnTo>
                    <a:pt x="240" y="204"/>
                  </a:lnTo>
                  <a:lnTo>
                    <a:pt x="240" y="331"/>
                  </a:lnTo>
                  <a:lnTo>
                    <a:pt x="180" y="331"/>
                  </a:lnTo>
                  <a:lnTo>
                    <a:pt x="179" y="331"/>
                  </a:lnTo>
                  <a:lnTo>
                    <a:pt x="179" y="331"/>
                  </a:lnTo>
                  <a:lnTo>
                    <a:pt x="160" y="334"/>
                  </a:lnTo>
                  <a:lnTo>
                    <a:pt x="142" y="338"/>
                  </a:lnTo>
                  <a:lnTo>
                    <a:pt x="125" y="345"/>
                  </a:lnTo>
                  <a:lnTo>
                    <a:pt x="108" y="352"/>
                  </a:lnTo>
                  <a:lnTo>
                    <a:pt x="93" y="361"/>
                  </a:lnTo>
                  <a:lnTo>
                    <a:pt x="77" y="372"/>
                  </a:lnTo>
                  <a:lnTo>
                    <a:pt x="64" y="382"/>
                  </a:lnTo>
                  <a:lnTo>
                    <a:pt x="52" y="395"/>
                  </a:lnTo>
                  <a:lnTo>
                    <a:pt x="40" y="409"/>
                  </a:lnTo>
                  <a:lnTo>
                    <a:pt x="30" y="424"/>
                  </a:lnTo>
                  <a:lnTo>
                    <a:pt x="21" y="439"/>
                  </a:lnTo>
                  <a:lnTo>
                    <a:pt x="14" y="455"/>
                  </a:lnTo>
                  <a:lnTo>
                    <a:pt x="8" y="472"/>
                  </a:lnTo>
                  <a:lnTo>
                    <a:pt x="4" y="490"/>
                  </a:lnTo>
                  <a:lnTo>
                    <a:pt x="1" y="508"/>
                  </a:lnTo>
                  <a:lnTo>
                    <a:pt x="0" y="527"/>
                  </a:lnTo>
                  <a:lnTo>
                    <a:pt x="0" y="766"/>
                  </a:lnTo>
                  <a:lnTo>
                    <a:pt x="1" y="780"/>
                  </a:lnTo>
                  <a:lnTo>
                    <a:pt x="2" y="793"/>
                  </a:lnTo>
                  <a:lnTo>
                    <a:pt x="6" y="806"/>
                  </a:lnTo>
                  <a:lnTo>
                    <a:pt x="11" y="819"/>
                  </a:lnTo>
                  <a:lnTo>
                    <a:pt x="16" y="831"/>
                  </a:lnTo>
                  <a:lnTo>
                    <a:pt x="23" y="841"/>
                  </a:lnTo>
                  <a:lnTo>
                    <a:pt x="30" y="852"/>
                  </a:lnTo>
                  <a:lnTo>
                    <a:pt x="39" y="862"/>
                  </a:lnTo>
                  <a:lnTo>
                    <a:pt x="47" y="870"/>
                  </a:lnTo>
                  <a:lnTo>
                    <a:pt x="57" y="879"/>
                  </a:lnTo>
                  <a:lnTo>
                    <a:pt x="68" y="885"/>
                  </a:lnTo>
                  <a:lnTo>
                    <a:pt x="80" y="892"/>
                  </a:lnTo>
                  <a:lnTo>
                    <a:pt x="91" y="896"/>
                  </a:lnTo>
                  <a:lnTo>
                    <a:pt x="103" y="899"/>
                  </a:lnTo>
                  <a:lnTo>
                    <a:pt x="116" y="901"/>
                  </a:lnTo>
                  <a:lnTo>
                    <a:pt x="129" y="902"/>
                  </a:lnTo>
                  <a:lnTo>
                    <a:pt x="773" y="902"/>
                  </a:lnTo>
                  <a:lnTo>
                    <a:pt x="786" y="901"/>
                  </a:lnTo>
                  <a:lnTo>
                    <a:pt x="799" y="899"/>
                  </a:lnTo>
                  <a:lnTo>
                    <a:pt x="811" y="896"/>
                  </a:lnTo>
                  <a:lnTo>
                    <a:pt x="823" y="891"/>
                  </a:lnTo>
                  <a:lnTo>
                    <a:pt x="834" y="885"/>
                  </a:lnTo>
                  <a:lnTo>
                    <a:pt x="845" y="879"/>
                  </a:lnTo>
                  <a:lnTo>
                    <a:pt x="855" y="870"/>
                  </a:lnTo>
                  <a:lnTo>
                    <a:pt x="863" y="862"/>
                  </a:lnTo>
                  <a:lnTo>
                    <a:pt x="872" y="852"/>
                  </a:lnTo>
                  <a:lnTo>
                    <a:pt x="879" y="841"/>
                  </a:lnTo>
                  <a:lnTo>
                    <a:pt x="886" y="831"/>
                  </a:lnTo>
                  <a:lnTo>
                    <a:pt x="891" y="819"/>
                  </a:lnTo>
                  <a:lnTo>
                    <a:pt x="897" y="806"/>
                  </a:lnTo>
                  <a:lnTo>
                    <a:pt x="900" y="794"/>
                  </a:lnTo>
                  <a:lnTo>
                    <a:pt x="901" y="780"/>
                  </a:lnTo>
                  <a:lnTo>
                    <a:pt x="902" y="766"/>
                  </a:lnTo>
                  <a:lnTo>
                    <a:pt x="902" y="527"/>
                  </a:lnTo>
                  <a:lnTo>
                    <a:pt x="901" y="508"/>
                  </a:lnTo>
                  <a:lnTo>
                    <a:pt x="899" y="490"/>
                  </a:lnTo>
                  <a:lnTo>
                    <a:pt x="895" y="472"/>
                  </a:lnTo>
                  <a:lnTo>
                    <a:pt x="888" y="455"/>
                  </a:lnTo>
                  <a:lnTo>
                    <a:pt x="882" y="439"/>
                  </a:lnTo>
                  <a:lnTo>
                    <a:pt x="872" y="423"/>
                  </a:lnTo>
                  <a:lnTo>
                    <a:pt x="862" y="409"/>
                  </a:lnTo>
                  <a:lnTo>
                    <a:pt x="851" y="395"/>
                  </a:lnTo>
                  <a:lnTo>
                    <a:pt x="839" y="382"/>
                  </a:lnTo>
                  <a:lnTo>
                    <a:pt x="825" y="372"/>
                  </a:lnTo>
                  <a:lnTo>
                    <a:pt x="810" y="361"/>
                  </a:lnTo>
                  <a:lnTo>
                    <a:pt x="795" y="352"/>
                  </a:lnTo>
                  <a:lnTo>
                    <a:pt x="778" y="345"/>
                  </a:lnTo>
                  <a:lnTo>
                    <a:pt x="760" y="338"/>
                  </a:lnTo>
                  <a:lnTo>
                    <a:pt x="742" y="334"/>
                  </a:lnTo>
                  <a:lnTo>
                    <a:pt x="72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0" name="Freeform 55">
              <a:extLst>
                <a:ext uri="{FF2B5EF4-FFF2-40B4-BE49-F238E27FC236}">
                  <a16:creationId xmlns:a16="http://schemas.microsoft.com/office/drawing/2014/main" id="{A451F898-260D-4355-BEA0-3BC90107FFE4}"/>
                </a:ext>
              </a:extLst>
            </p:cNvPr>
            <p:cNvSpPr>
              <a:spLocks/>
            </p:cNvSpPr>
            <p:nvPr/>
          </p:nvSpPr>
          <p:spPr bwMode="auto">
            <a:xfrm>
              <a:off x="6469063" y="2096770"/>
              <a:ext cx="238125" cy="9525"/>
            </a:xfrm>
            <a:custGeom>
              <a:avLst/>
              <a:gdLst>
                <a:gd name="T0" fmla="*/ 15 w 750"/>
                <a:gd name="T1" fmla="*/ 30 h 30"/>
                <a:gd name="T2" fmla="*/ 735 w 750"/>
                <a:gd name="T3" fmla="*/ 30 h 30"/>
                <a:gd name="T4" fmla="*/ 738 w 750"/>
                <a:gd name="T5" fmla="*/ 30 h 30"/>
                <a:gd name="T6" fmla="*/ 741 w 750"/>
                <a:gd name="T7" fmla="*/ 29 h 30"/>
                <a:gd name="T8" fmla="*/ 743 w 750"/>
                <a:gd name="T9" fmla="*/ 28 h 30"/>
                <a:gd name="T10" fmla="*/ 746 w 750"/>
                <a:gd name="T11" fmla="*/ 26 h 30"/>
                <a:gd name="T12" fmla="*/ 748 w 750"/>
                <a:gd name="T13" fmla="*/ 24 h 30"/>
                <a:gd name="T14" fmla="*/ 749 w 750"/>
                <a:gd name="T15" fmla="*/ 22 h 30"/>
                <a:gd name="T16" fmla="*/ 750 w 750"/>
                <a:gd name="T17" fmla="*/ 18 h 30"/>
                <a:gd name="T18" fmla="*/ 750 w 750"/>
                <a:gd name="T19" fmla="*/ 15 h 30"/>
                <a:gd name="T20" fmla="*/ 750 w 750"/>
                <a:gd name="T21" fmla="*/ 12 h 30"/>
                <a:gd name="T22" fmla="*/ 749 w 750"/>
                <a:gd name="T23" fmla="*/ 10 h 30"/>
                <a:gd name="T24" fmla="*/ 748 w 750"/>
                <a:gd name="T25" fmla="*/ 7 h 30"/>
                <a:gd name="T26" fmla="*/ 746 w 750"/>
                <a:gd name="T27" fmla="*/ 4 h 30"/>
                <a:gd name="T28" fmla="*/ 743 w 750"/>
                <a:gd name="T29" fmla="*/ 3 h 30"/>
                <a:gd name="T30" fmla="*/ 741 w 750"/>
                <a:gd name="T31" fmla="*/ 1 h 30"/>
                <a:gd name="T32" fmla="*/ 738 w 750"/>
                <a:gd name="T33" fmla="*/ 0 h 30"/>
                <a:gd name="T34" fmla="*/ 735 w 750"/>
                <a:gd name="T35" fmla="*/ 0 h 30"/>
                <a:gd name="T36" fmla="*/ 15 w 750"/>
                <a:gd name="T37" fmla="*/ 0 h 30"/>
                <a:gd name="T38" fmla="*/ 12 w 750"/>
                <a:gd name="T39" fmla="*/ 0 h 30"/>
                <a:gd name="T40" fmla="*/ 9 w 750"/>
                <a:gd name="T41" fmla="*/ 1 h 30"/>
                <a:gd name="T42" fmla="*/ 7 w 750"/>
                <a:gd name="T43" fmla="*/ 3 h 30"/>
                <a:gd name="T44" fmla="*/ 5 w 750"/>
                <a:gd name="T45" fmla="*/ 4 h 30"/>
                <a:gd name="T46" fmla="*/ 3 w 750"/>
                <a:gd name="T47" fmla="*/ 7 h 30"/>
                <a:gd name="T48" fmla="*/ 1 w 750"/>
                <a:gd name="T49" fmla="*/ 10 h 30"/>
                <a:gd name="T50" fmla="*/ 0 w 750"/>
                <a:gd name="T51" fmla="*/ 12 h 30"/>
                <a:gd name="T52" fmla="*/ 0 w 750"/>
                <a:gd name="T53" fmla="*/ 15 h 30"/>
                <a:gd name="T54" fmla="*/ 0 w 750"/>
                <a:gd name="T55" fmla="*/ 18 h 30"/>
                <a:gd name="T56" fmla="*/ 1 w 750"/>
                <a:gd name="T57" fmla="*/ 22 h 30"/>
                <a:gd name="T58" fmla="*/ 3 w 750"/>
                <a:gd name="T59" fmla="*/ 24 h 30"/>
                <a:gd name="T60" fmla="*/ 5 w 750"/>
                <a:gd name="T61" fmla="*/ 26 h 30"/>
                <a:gd name="T62" fmla="*/ 7 w 750"/>
                <a:gd name="T63" fmla="*/ 28 h 30"/>
                <a:gd name="T64" fmla="*/ 9 w 750"/>
                <a:gd name="T65" fmla="*/ 29 h 30"/>
                <a:gd name="T66" fmla="*/ 12 w 750"/>
                <a:gd name="T67" fmla="*/ 30 h 30"/>
                <a:gd name="T68" fmla="*/ 15 w 75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0" h="30">
                  <a:moveTo>
                    <a:pt x="15" y="30"/>
                  </a:moveTo>
                  <a:lnTo>
                    <a:pt x="735" y="30"/>
                  </a:lnTo>
                  <a:lnTo>
                    <a:pt x="738" y="30"/>
                  </a:lnTo>
                  <a:lnTo>
                    <a:pt x="741" y="29"/>
                  </a:lnTo>
                  <a:lnTo>
                    <a:pt x="743" y="28"/>
                  </a:lnTo>
                  <a:lnTo>
                    <a:pt x="746" y="26"/>
                  </a:lnTo>
                  <a:lnTo>
                    <a:pt x="748" y="24"/>
                  </a:lnTo>
                  <a:lnTo>
                    <a:pt x="749" y="22"/>
                  </a:lnTo>
                  <a:lnTo>
                    <a:pt x="750" y="18"/>
                  </a:lnTo>
                  <a:lnTo>
                    <a:pt x="750" y="15"/>
                  </a:lnTo>
                  <a:lnTo>
                    <a:pt x="750" y="12"/>
                  </a:lnTo>
                  <a:lnTo>
                    <a:pt x="749" y="10"/>
                  </a:lnTo>
                  <a:lnTo>
                    <a:pt x="748" y="7"/>
                  </a:lnTo>
                  <a:lnTo>
                    <a:pt x="746" y="4"/>
                  </a:lnTo>
                  <a:lnTo>
                    <a:pt x="743" y="3"/>
                  </a:lnTo>
                  <a:lnTo>
                    <a:pt x="741" y="1"/>
                  </a:lnTo>
                  <a:lnTo>
                    <a:pt x="738" y="0"/>
                  </a:lnTo>
                  <a:lnTo>
                    <a:pt x="735" y="0"/>
                  </a:lnTo>
                  <a:lnTo>
                    <a:pt x="15" y="0"/>
                  </a:lnTo>
                  <a:lnTo>
                    <a:pt x="12" y="0"/>
                  </a:lnTo>
                  <a:lnTo>
                    <a:pt x="9" y="1"/>
                  </a:lnTo>
                  <a:lnTo>
                    <a:pt x="7" y="3"/>
                  </a:lnTo>
                  <a:lnTo>
                    <a:pt x="5" y="4"/>
                  </a:lnTo>
                  <a:lnTo>
                    <a:pt x="3" y="7"/>
                  </a:lnTo>
                  <a:lnTo>
                    <a:pt x="1" y="10"/>
                  </a:lnTo>
                  <a:lnTo>
                    <a:pt x="0" y="12"/>
                  </a:lnTo>
                  <a:lnTo>
                    <a:pt x="0" y="15"/>
                  </a:lnTo>
                  <a:lnTo>
                    <a:pt x="0" y="18"/>
                  </a:lnTo>
                  <a:lnTo>
                    <a:pt x="1" y="22"/>
                  </a:lnTo>
                  <a:lnTo>
                    <a:pt x="3"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1" name="Freeform 56">
              <a:extLst>
                <a:ext uri="{FF2B5EF4-FFF2-40B4-BE49-F238E27FC236}">
                  <a16:creationId xmlns:a16="http://schemas.microsoft.com/office/drawing/2014/main" id="{8E4197D6-49D4-4986-9A69-A970F22FFD73}"/>
                </a:ext>
              </a:extLst>
            </p:cNvPr>
            <p:cNvSpPr>
              <a:spLocks/>
            </p:cNvSpPr>
            <p:nvPr/>
          </p:nvSpPr>
          <p:spPr bwMode="auto">
            <a:xfrm>
              <a:off x="6492875" y="2111058"/>
              <a:ext cx="9525" cy="22225"/>
            </a:xfrm>
            <a:custGeom>
              <a:avLst/>
              <a:gdLst>
                <a:gd name="T0" fmla="*/ 15 w 30"/>
                <a:gd name="T1" fmla="*/ 0 h 69"/>
                <a:gd name="T2" fmla="*/ 13 w 30"/>
                <a:gd name="T3" fmla="*/ 1 h 69"/>
                <a:gd name="T4" fmla="*/ 10 w 30"/>
                <a:gd name="T5" fmla="*/ 2 h 69"/>
                <a:gd name="T6" fmla="*/ 7 w 30"/>
                <a:gd name="T7" fmla="*/ 3 h 69"/>
                <a:gd name="T8" fmla="*/ 5 w 30"/>
                <a:gd name="T9" fmla="*/ 6 h 69"/>
                <a:gd name="T10" fmla="*/ 4 w 30"/>
                <a:gd name="T11" fmla="*/ 8 h 69"/>
                <a:gd name="T12" fmla="*/ 2 w 30"/>
                <a:gd name="T13" fmla="*/ 10 h 69"/>
                <a:gd name="T14" fmla="*/ 2 w 30"/>
                <a:gd name="T15" fmla="*/ 13 h 69"/>
                <a:gd name="T16" fmla="*/ 0 w 30"/>
                <a:gd name="T17" fmla="*/ 15 h 69"/>
                <a:gd name="T18" fmla="*/ 0 w 30"/>
                <a:gd name="T19" fmla="*/ 54 h 69"/>
                <a:gd name="T20" fmla="*/ 2 w 30"/>
                <a:gd name="T21" fmla="*/ 57 h 69"/>
                <a:gd name="T22" fmla="*/ 2 w 30"/>
                <a:gd name="T23" fmla="*/ 59 h 69"/>
                <a:gd name="T24" fmla="*/ 4 w 30"/>
                <a:gd name="T25" fmla="*/ 62 h 69"/>
                <a:gd name="T26" fmla="*/ 5 w 30"/>
                <a:gd name="T27" fmla="*/ 65 h 69"/>
                <a:gd name="T28" fmla="*/ 7 w 30"/>
                <a:gd name="T29" fmla="*/ 66 h 69"/>
                <a:gd name="T30" fmla="*/ 10 w 30"/>
                <a:gd name="T31" fmla="*/ 68 h 69"/>
                <a:gd name="T32" fmla="*/ 13 w 30"/>
                <a:gd name="T33" fmla="*/ 69 h 69"/>
                <a:gd name="T34" fmla="*/ 15 w 30"/>
                <a:gd name="T35" fmla="*/ 69 h 69"/>
                <a:gd name="T36" fmla="*/ 19 w 30"/>
                <a:gd name="T37" fmla="*/ 69 h 69"/>
                <a:gd name="T38" fmla="*/ 22 w 30"/>
                <a:gd name="T39" fmla="*/ 68 h 69"/>
                <a:gd name="T40" fmla="*/ 24 w 30"/>
                <a:gd name="T41" fmla="*/ 66 h 69"/>
                <a:gd name="T42" fmla="*/ 26 w 30"/>
                <a:gd name="T43" fmla="*/ 65 h 69"/>
                <a:gd name="T44" fmla="*/ 28 w 30"/>
                <a:gd name="T45" fmla="*/ 62 h 69"/>
                <a:gd name="T46" fmla="*/ 29 w 30"/>
                <a:gd name="T47" fmla="*/ 59 h 69"/>
                <a:gd name="T48" fmla="*/ 30 w 30"/>
                <a:gd name="T49" fmla="*/ 57 h 69"/>
                <a:gd name="T50" fmla="*/ 30 w 30"/>
                <a:gd name="T51" fmla="*/ 54 h 69"/>
                <a:gd name="T52" fmla="*/ 30 w 30"/>
                <a:gd name="T53" fmla="*/ 15 h 69"/>
                <a:gd name="T54" fmla="*/ 30 w 30"/>
                <a:gd name="T55" fmla="*/ 13 h 69"/>
                <a:gd name="T56" fmla="*/ 29 w 30"/>
                <a:gd name="T57" fmla="*/ 10 h 69"/>
                <a:gd name="T58" fmla="*/ 28 w 30"/>
                <a:gd name="T59" fmla="*/ 8 h 69"/>
                <a:gd name="T60" fmla="*/ 26 w 30"/>
                <a:gd name="T61" fmla="*/ 6 h 69"/>
                <a:gd name="T62" fmla="*/ 24 w 30"/>
                <a:gd name="T63" fmla="*/ 3 h 69"/>
                <a:gd name="T64" fmla="*/ 22 w 30"/>
                <a:gd name="T65" fmla="*/ 2 h 69"/>
                <a:gd name="T66" fmla="*/ 19 w 30"/>
                <a:gd name="T67" fmla="*/ 1 h 69"/>
                <a:gd name="T68" fmla="*/ 15 w 30"/>
                <a:gd name="T6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69">
                  <a:moveTo>
                    <a:pt x="15" y="0"/>
                  </a:moveTo>
                  <a:lnTo>
                    <a:pt x="13" y="1"/>
                  </a:lnTo>
                  <a:lnTo>
                    <a:pt x="10" y="2"/>
                  </a:lnTo>
                  <a:lnTo>
                    <a:pt x="7" y="3"/>
                  </a:lnTo>
                  <a:lnTo>
                    <a:pt x="5" y="6"/>
                  </a:lnTo>
                  <a:lnTo>
                    <a:pt x="4" y="8"/>
                  </a:lnTo>
                  <a:lnTo>
                    <a:pt x="2" y="10"/>
                  </a:lnTo>
                  <a:lnTo>
                    <a:pt x="2" y="13"/>
                  </a:lnTo>
                  <a:lnTo>
                    <a:pt x="0" y="15"/>
                  </a:lnTo>
                  <a:lnTo>
                    <a:pt x="0" y="54"/>
                  </a:lnTo>
                  <a:lnTo>
                    <a:pt x="2" y="57"/>
                  </a:lnTo>
                  <a:lnTo>
                    <a:pt x="2" y="59"/>
                  </a:lnTo>
                  <a:lnTo>
                    <a:pt x="4" y="62"/>
                  </a:lnTo>
                  <a:lnTo>
                    <a:pt x="5" y="65"/>
                  </a:lnTo>
                  <a:lnTo>
                    <a:pt x="7" y="66"/>
                  </a:lnTo>
                  <a:lnTo>
                    <a:pt x="10" y="68"/>
                  </a:lnTo>
                  <a:lnTo>
                    <a:pt x="13" y="69"/>
                  </a:lnTo>
                  <a:lnTo>
                    <a:pt x="15" y="69"/>
                  </a:lnTo>
                  <a:lnTo>
                    <a:pt x="19" y="69"/>
                  </a:lnTo>
                  <a:lnTo>
                    <a:pt x="22" y="68"/>
                  </a:lnTo>
                  <a:lnTo>
                    <a:pt x="24" y="66"/>
                  </a:lnTo>
                  <a:lnTo>
                    <a:pt x="26" y="65"/>
                  </a:lnTo>
                  <a:lnTo>
                    <a:pt x="28" y="62"/>
                  </a:lnTo>
                  <a:lnTo>
                    <a:pt x="29" y="59"/>
                  </a:lnTo>
                  <a:lnTo>
                    <a:pt x="30" y="57"/>
                  </a:lnTo>
                  <a:lnTo>
                    <a:pt x="30" y="54"/>
                  </a:lnTo>
                  <a:lnTo>
                    <a:pt x="30" y="15"/>
                  </a:lnTo>
                  <a:lnTo>
                    <a:pt x="30" y="13"/>
                  </a:lnTo>
                  <a:lnTo>
                    <a:pt x="29" y="10"/>
                  </a:lnTo>
                  <a:lnTo>
                    <a:pt x="28" y="8"/>
                  </a:lnTo>
                  <a:lnTo>
                    <a:pt x="26" y="6"/>
                  </a:lnTo>
                  <a:lnTo>
                    <a:pt x="24" y="3"/>
                  </a:lnTo>
                  <a:lnTo>
                    <a:pt x="22" y="2"/>
                  </a:lnTo>
                  <a:lnTo>
                    <a:pt x="19"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42" name="Group 11">
            <a:extLst>
              <a:ext uri="{FF2B5EF4-FFF2-40B4-BE49-F238E27FC236}">
                <a16:creationId xmlns:a16="http://schemas.microsoft.com/office/drawing/2014/main" id="{0D70D168-9744-4DAE-AF33-DCE04ED7D08F}"/>
              </a:ext>
            </a:extLst>
          </p:cNvPr>
          <p:cNvGrpSpPr>
            <a:grpSpLocks noChangeAspect="1"/>
          </p:cNvGrpSpPr>
          <p:nvPr/>
        </p:nvGrpSpPr>
        <p:grpSpPr>
          <a:xfrm>
            <a:off x="4428208" y="4340505"/>
            <a:ext cx="329561" cy="285619"/>
            <a:chOff x="8736013" y="1390333"/>
            <a:chExt cx="285750" cy="247650"/>
          </a:xfrm>
          <a:solidFill>
            <a:schemeClr val="bg1"/>
          </a:solidFill>
          <a:effectLst/>
        </p:grpSpPr>
        <p:sp>
          <p:nvSpPr>
            <p:cNvPr id="1643" name="Freeform 47">
              <a:extLst>
                <a:ext uri="{FF2B5EF4-FFF2-40B4-BE49-F238E27FC236}">
                  <a16:creationId xmlns:a16="http://schemas.microsoft.com/office/drawing/2014/main" id="{26FBE61A-7238-49CC-A5EE-2C324C22793E}"/>
                </a:ext>
              </a:extLst>
            </p:cNvPr>
            <p:cNvSpPr>
              <a:spLocks noEditPoints="1"/>
            </p:cNvSpPr>
            <p:nvPr/>
          </p:nvSpPr>
          <p:spPr bwMode="auto">
            <a:xfrm>
              <a:off x="8902700" y="1590358"/>
              <a:ext cx="47625" cy="47625"/>
            </a:xfrm>
            <a:custGeom>
              <a:avLst/>
              <a:gdLst>
                <a:gd name="T0" fmla="*/ 67 w 151"/>
                <a:gd name="T1" fmla="*/ 119 h 150"/>
                <a:gd name="T2" fmla="*/ 50 w 151"/>
                <a:gd name="T3" fmla="*/ 112 h 150"/>
                <a:gd name="T4" fmla="*/ 38 w 151"/>
                <a:gd name="T5" fmla="*/ 100 h 150"/>
                <a:gd name="T6" fmla="*/ 32 w 151"/>
                <a:gd name="T7" fmla="*/ 84 h 150"/>
                <a:gd name="T8" fmla="*/ 32 w 151"/>
                <a:gd name="T9" fmla="*/ 66 h 150"/>
                <a:gd name="T10" fmla="*/ 38 w 151"/>
                <a:gd name="T11" fmla="*/ 50 h 150"/>
                <a:gd name="T12" fmla="*/ 50 w 151"/>
                <a:gd name="T13" fmla="*/ 37 h 150"/>
                <a:gd name="T14" fmla="*/ 67 w 151"/>
                <a:gd name="T15" fmla="*/ 31 h 150"/>
                <a:gd name="T16" fmla="*/ 84 w 151"/>
                <a:gd name="T17" fmla="*/ 31 h 150"/>
                <a:gd name="T18" fmla="*/ 100 w 151"/>
                <a:gd name="T19" fmla="*/ 37 h 150"/>
                <a:gd name="T20" fmla="*/ 113 w 151"/>
                <a:gd name="T21" fmla="*/ 50 h 150"/>
                <a:gd name="T22" fmla="*/ 120 w 151"/>
                <a:gd name="T23" fmla="*/ 66 h 150"/>
                <a:gd name="T24" fmla="*/ 120 w 151"/>
                <a:gd name="T25" fmla="*/ 84 h 150"/>
                <a:gd name="T26" fmla="*/ 113 w 151"/>
                <a:gd name="T27" fmla="*/ 100 h 150"/>
                <a:gd name="T28" fmla="*/ 100 w 151"/>
                <a:gd name="T29" fmla="*/ 112 h 150"/>
                <a:gd name="T30" fmla="*/ 84 w 151"/>
                <a:gd name="T31" fmla="*/ 119 h 150"/>
                <a:gd name="T32" fmla="*/ 76 w 151"/>
                <a:gd name="T33" fmla="*/ 0 h 150"/>
                <a:gd name="T34" fmla="*/ 61 w 151"/>
                <a:gd name="T35" fmla="*/ 2 h 150"/>
                <a:gd name="T36" fmla="*/ 47 w 151"/>
                <a:gd name="T37" fmla="*/ 6 h 150"/>
                <a:gd name="T38" fmla="*/ 34 w 151"/>
                <a:gd name="T39" fmla="*/ 12 h 150"/>
                <a:gd name="T40" fmla="*/ 22 w 151"/>
                <a:gd name="T41" fmla="*/ 22 h 150"/>
                <a:gd name="T42" fmla="*/ 13 w 151"/>
                <a:gd name="T43" fmla="*/ 33 h 150"/>
                <a:gd name="T44" fmla="*/ 6 w 151"/>
                <a:gd name="T45" fmla="*/ 46 h 150"/>
                <a:gd name="T46" fmla="*/ 2 w 151"/>
                <a:gd name="T47" fmla="*/ 60 h 150"/>
                <a:gd name="T48" fmla="*/ 0 w 151"/>
                <a:gd name="T49" fmla="*/ 75 h 150"/>
                <a:gd name="T50" fmla="*/ 2 w 151"/>
                <a:gd name="T51" fmla="*/ 90 h 150"/>
                <a:gd name="T52" fmla="*/ 6 w 151"/>
                <a:gd name="T53" fmla="*/ 104 h 150"/>
                <a:gd name="T54" fmla="*/ 13 w 151"/>
                <a:gd name="T55" fmla="*/ 116 h 150"/>
                <a:gd name="T56" fmla="*/ 22 w 151"/>
                <a:gd name="T57" fmla="*/ 128 h 150"/>
                <a:gd name="T58" fmla="*/ 34 w 151"/>
                <a:gd name="T59" fmla="*/ 137 h 150"/>
                <a:gd name="T60" fmla="*/ 47 w 151"/>
                <a:gd name="T61" fmla="*/ 144 h 150"/>
                <a:gd name="T62" fmla="*/ 61 w 151"/>
                <a:gd name="T63" fmla="*/ 149 h 150"/>
                <a:gd name="T64" fmla="*/ 76 w 151"/>
                <a:gd name="T65" fmla="*/ 150 h 150"/>
                <a:gd name="T66" fmla="*/ 91 w 151"/>
                <a:gd name="T67" fmla="*/ 149 h 150"/>
                <a:gd name="T68" fmla="*/ 104 w 151"/>
                <a:gd name="T69" fmla="*/ 144 h 150"/>
                <a:gd name="T70" fmla="*/ 117 w 151"/>
                <a:gd name="T71" fmla="*/ 137 h 150"/>
                <a:gd name="T72" fmla="*/ 129 w 151"/>
                <a:gd name="T73" fmla="*/ 128 h 150"/>
                <a:gd name="T74" fmla="*/ 138 w 151"/>
                <a:gd name="T75" fmla="*/ 116 h 150"/>
                <a:gd name="T76" fmla="*/ 145 w 151"/>
                <a:gd name="T77" fmla="*/ 104 h 150"/>
                <a:gd name="T78" fmla="*/ 150 w 151"/>
                <a:gd name="T79" fmla="*/ 90 h 150"/>
                <a:gd name="T80" fmla="*/ 151 w 151"/>
                <a:gd name="T81" fmla="*/ 75 h 150"/>
                <a:gd name="T82" fmla="*/ 150 w 151"/>
                <a:gd name="T83" fmla="*/ 60 h 150"/>
                <a:gd name="T84" fmla="*/ 145 w 151"/>
                <a:gd name="T85" fmla="*/ 46 h 150"/>
                <a:gd name="T86" fmla="*/ 138 w 151"/>
                <a:gd name="T87" fmla="*/ 33 h 150"/>
                <a:gd name="T88" fmla="*/ 129 w 151"/>
                <a:gd name="T89" fmla="*/ 22 h 150"/>
                <a:gd name="T90" fmla="*/ 117 w 151"/>
                <a:gd name="T91" fmla="*/ 12 h 150"/>
                <a:gd name="T92" fmla="*/ 104 w 151"/>
                <a:gd name="T93" fmla="*/ 6 h 150"/>
                <a:gd name="T94" fmla="*/ 91 w 151"/>
                <a:gd name="T95" fmla="*/ 2 h 150"/>
                <a:gd name="T96" fmla="*/ 76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6" y="120"/>
                  </a:moveTo>
                  <a:lnTo>
                    <a:pt x="67" y="119"/>
                  </a:lnTo>
                  <a:lnTo>
                    <a:pt x="58" y="116"/>
                  </a:lnTo>
                  <a:lnTo>
                    <a:pt x="50" y="112"/>
                  </a:lnTo>
                  <a:lnTo>
                    <a:pt x="43" y="107"/>
                  </a:lnTo>
                  <a:lnTo>
                    <a:pt x="38" y="100"/>
                  </a:lnTo>
                  <a:lnTo>
                    <a:pt x="34" y="93"/>
                  </a:lnTo>
                  <a:lnTo>
                    <a:pt x="32" y="84"/>
                  </a:lnTo>
                  <a:lnTo>
                    <a:pt x="31" y="75"/>
                  </a:lnTo>
                  <a:lnTo>
                    <a:pt x="32" y="66"/>
                  </a:lnTo>
                  <a:lnTo>
                    <a:pt x="34" y="58"/>
                  </a:lnTo>
                  <a:lnTo>
                    <a:pt x="38" y="50"/>
                  </a:lnTo>
                  <a:lnTo>
                    <a:pt x="43" y="42"/>
                  </a:lnTo>
                  <a:lnTo>
                    <a:pt x="50" y="37"/>
                  </a:lnTo>
                  <a:lnTo>
                    <a:pt x="58" y="33"/>
                  </a:lnTo>
                  <a:lnTo>
                    <a:pt x="67" y="31"/>
                  </a:lnTo>
                  <a:lnTo>
                    <a:pt x="76" y="30"/>
                  </a:lnTo>
                  <a:lnTo>
                    <a:pt x="84" y="31"/>
                  </a:lnTo>
                  <a:lnTo>
                    <a:pt x="93" y="33"/>
                  </a:lnTo>
                  <a:lnTo>
                    <a:pt x="100" y="37"/>
                  </a:lnTo>
                  <a:lnTo>
                    <a:pt x="108" y="42"/>
                  </a:lnTo>
                  <a:lnTo>
                    <a:pt x="113" y="50"/>
                  </a:lnTo>
                  <a:lnTo>
                    <a:pt x="117" y="58"/>
                  </a:lnTo>
                  <a:lnTo>
                    <a:pt x="120" y="66"/>
                  </a:lnTo>
                  <a:lnTo>
                    <a:pt x="121" y="75"/>
                  </a:lnTo>
                  <a:lnTo>
                    <a:pt x="120" y="84"/>
                  </a:lnTo>
                  <a:lnTo>
                    <a:pt x="117" y="93"/>
                  </a:lnTo>
                  <a:lnTo>
                    <a:pt x="113" y="100"/>
                  </a:lnTo>
                  <a:lnTo>
                    <a:pt x="108" y="107"/>
                  </a:lnTo>
                  <a:lnTo>
                    <a:pt x="100" y="112"/>
                  </a:lnTo>
                  <a:lnTo>
                    <a:pt x="93" y="116"/>
                  </a:lnTo>
                  <a:lnTo>
                    <a:pt x="84" y="119"/>
                  </a:lnTo>
                  <a:lnTo>
                    <a:pt x="76" y="120"/>
                  </a:lnTo>
                  <a:close/>
                  <a:moveTo>
                    <a:pt x="76" y="0"/>
                  </a:moveTo>
                  <a:lnTo>
                    <a:pt x="68" y="0"/>
                  </a:lnTo>
                  <a:lnTo>
                    <a:pt x="61" y="2"/>
                  </a:lnTo>
                  <a:lnTo>
                    <a:pt x="53" y="3"/>
                  </a:lnTo>
                  <a:lnTo>
                    <a:pt x="47" y="6"/>
                  </a:lnTo>
                  <a:lnTo>
                    <a:pt x="40" y="9"/>
                  </a:lnTo>
                  <a:lnTo>
                    <a:pt x="34" y="12"/>
                  </a:lnTo>
                  <a:lnTo>
                    <a:pt x="27" y="17"/>
                  </a:lnTo>
                  <a:lnTo>
                    <a:pt x="22" y="22"/>
                  </a:lnTo>
                  <a:lnTo>
                    <a:pt x="18" y="27"/>
                  </a:lnTo>
                  <a:lnTo>
                    <a:pt x="13" y="33"/>
                  </a:lnTo>
                  <a:lnTo>
                    <a:pt x="9" y="39"/>
                  </a:lnTo>
                  <a:lnTo>
                    <a:pt x="6" y="46"/>
                  </a:lnTo>
                  <a:lnTo>
                    <a:pt x="4" y="52"/>
                  </a:lnTo>
                  <a:lnTo>
                    <a:pt x="2" y="60"/>
                  </a:lnTo>
                  <a:lnTo>
                    <a:pt x="0" y="67"/>
                  </a:lnTo>
                  <a:lnTo>
                    <a:pt x="0" y="75"/>
                  </a:lnTo>
                  <a:lnTo>
                    <a:pt x="0" y="82"/>
                  </a:lnTo>
                  <a:lnTo>
                    <a:pt x="2" y="90"/>
                  </a:lnTo>
                  <a:lnTo>
                    <a:pt x="4" y="97"/>
                  </a:lnTo>
                  <a:lnTo>
                    <a:pt x="6" y="104"/>
                  </a:lnTo>
                  <a:lnTo>
                    <a:pt x="9" y="111"/>
                  </a:lnTo>
                  <a:lnTo>
                    <a:pt x="13" y="116"/>
                  </a:lnTo>
                  <a:lnTo>
                    <a:pt x="18" y="123"/>
                  </a:lnTo>
                  <a:lnTo>
                    <a:pt x="22" y="128"/>
                  </a:lnTo>
                  <a:lnTo>
                    <a:pt x="27" y="133"/>
                  </a:lnTo>
                  <a:lnTo>
                    <a:pt x="34" y="137"/>
                  </a:lnTo>
                  <a:lnTo>
                    <a:pt x="40" y="141"/>
                  </a:lnTo>
                  <a:lnTo>
                    <a:pt x="47" y="144"/>
                  </a:lnTo>
                  <a:lnTo>
                    <a:pt x="53" y="147"/>
                  </a:lnTo>
                  <a:lnTo>
                    <a:pt x="61" y="149"/>
                  </a:lnTo>
                  <a:lnTo>
                    <a:pt x="68" y="150"/>
                  </a:lnTo>
                  <a:lnTo>
                    <a:pt x="76" y="150"/>
                  </a:lnTo>
                  <a:lnTo>
                    <a:pt x="83" y="150"/>
                  </a:lnTo>
                  <a:lnTo>
                    <a:pt x="91" y="149"/>
                  </a:lnTo>
                  <a:lnTo>
                    <a:pt x="98" y="147"/>
                  </a:lnTo>
                  <a:lnTo>
                    <a:pt x="104" y="144"/>
                  </a:lnTo>
                  <a:lnTo>
                    <a:pt x="111" y="141"/>
                  </a:lnTo>
                  <a:lnTo>
                    <a:pt x="117" y="137"/>
                  </a:lnTo>
                  <a:lnTo>
                    <a:pt x="124" y="133"/>
                  </a:lnTo>
                  <a:lnTo>
                    <a:pt x="129" y="128"/>
                  </a:lnTo>
                  <a:lnTo>
                    <a:pt x="133" y="123"/>
                  </a:lnTo>
                  <a:lnTo>
                    <a:pt x="138" y="116"/>
                  </a:lnTo>
                  <a:lnTo>
                    <a:pt x="142" y="111"/>
                  </a:lnTo>
                  <a:lnTo>
                    <a:pt x="145" y="104"/>
                  </a:lnTo>
                  <a:lnTo>
                    <a:pt x="147" y="97"/>
                  </a:lnTo>
                  <a:lnTo>
                    <a:pt x="150" y="90"/>
                  </a:lnTo>
                  <a:lnTo>
                    <a:pt x="151" y="82"/>
                  </a:lnTo>
                  <a:lnTo>
                    <a:pt x="151" y="75"/>
                  </a:lnTo>
                  <a:lnTo>
                    <a:pt x="151" y="67"/>
                  </a:lnTo>
                  <a:lnTo>
                    <a:pt x="150" y="60"/>
                  </a:lnTo>
                  <a:lnTo>
                    <a:pt x="147" y="52"/>
                  </a:lnTo>
                  <a:lnTo>
                    <a:pt x="145" y="46"/>
                  </a:lnTo>
                  <a:lnTo>
                    <a:pt x="142" y="39"/>
                  </a:lnTo>
                  <a:lnTo>
                    <a:pt x="138" y="33"/>
                  </a:lnTo>
                  <a:lnTo>
                    <a:pt x="133" y="27"/>
                  </a:lnTo>
                  <a:lnTo>
                    <a:pt x="129" y="22"/>
                  </a:lnTo>
                  <a:lnTo>
                    <a:pt x="124" y="17"/>
                  </a:lnTo>
                  <a:lnTo>
                    <a:pt x="117" y="12"/>
                  </a:lnTo>
                  <a:lnTo>
                    <a:pt x="111" y="9"/>
                  </a:lnTo>
                  <a:lnTo>
                    <a:pt x="104" y="6"/>
                  </a:lnTo>
                  <a:lnTo>
                    <a:pt x="98" y="3"/>
                  </a:lnTo>
                  <a:lnTo>
                    <a:pt x="91" y="2"/>
                  </a:lnTo>
                  <a:lnTo>
                    <a:pt x="83"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4" name="Freeform 48">
              <a:extLst>
                <a:ext uri="{FF2B5EF4-FFF2-40B4-BE49-F238E27FC236}">
                  <a16:creationId xmlns:a16="http://schemas.microsoft.com/office/drawing/2014/main" id="{5899FB09-1113-40AA-B1B5-CD78EFF43B9B}"/>
                </a:ext>
              </a:extLst>
            </p:cNvPr>
            <p:cNvSpPr>
              <a:spLocks noEditPoints="1"/>
            </p:cNvSpPr>
            <p:nvPr/>
          </p:nvSpPr>
          <p:spPr bwMode="auto">
            <a:xfrm>
              <a:off x="8764588" y="1590358"/>
              <a:ext cx="47625" cy="47625"/>
            </a:xfrm>
            <a:custGeom>
              <a:avLst/>
              <a:gdLst>
                <a:gd name="T0" fmla="*/ 67 w 151"/>
                <a:gd name="T1" fmla="*/ 119 h 150"/>
                <a:gd name="T2" fmla="*/ 51 w 151"/>
                <a:gd name="T3" fmla="*/ 112 h 150"/>
                <a:gd name="T4" fmla="*/ 39 w 151"/>
                <a:gd name="T5" fmla="*/ 100 h 150"/>
                <a:gd name="T6" fmla="*/ 31 w 151"/>
                <a:gd name="T7" fmla="*/ 84 h 150"/>
                <a:gd name="T8" fmla="*/ 31 w 151"/>
                <a:gd name="T9" fmla="*/ 66 h 150"/>
                <a:gd name="T10" fmla="*/ 39 w 151"/>
                <a:gd name="T11" fmla="*/ 50 h 150"/>
                <a:gd name="T12" fmla="*/ 51 w 151"/>
                <a:gd name="T13" fmla="*/ 37 h 150"/>
                <a:gd name="T14" fmla="*/ 67 w 151"/>
                <a:gd name="T15" fmla="*/ 31 h 150"/>
                <a:gd name="T16" fmla="*/ 85 w 151"/>
                <a:gd name="T17" fmla="*/ 31 h 150"/>
                <a:gd name="T18" fmla="*/ 101 w 151"/>
                <a:gd name="T19" fmla="*/ 37 h 150"/>
                <a:gd name="T20" fmla="*/ 113 w 151"/>
                <a:gd name="T21" fmla="*/ 50 h 150"/>
                <a:gd name="T22" fmla="*/ 120 w 151"/>
                <a:gd name="T23" fmla="*/ 66 h 150"/>
                <a:gd name="T24" fmla="*/ 120 w 151"/>
                <a:gd name="T25" fmla="*/ 84 h 150"/>
                <a:gd name="T26" fmla="*/ 113 w 151"/>
                <a:gd name="T27" fmla="*/ 100 h 150"/>
                <a:gd name="T28" fmla="*/ 101 w 151"/>
                <a:gd name="T29" fmla="*/ 112 h 150"/>
                <a:gd name="T30" fmla="*/ 85 w 151"/>
                <a:gd name="T31" fmla="*/ 119 h 150"/>
                <a:gd name="T32" fmla="*/ 75 w 151"/>
                <a:gd name="T33" fmla="*/ 0 h 150"/>
                <a:gd name="T34" fmla="*/ 60 w 151"/>
                <a:gd name="T35" fmla="*/ 2 h 150"/>
                <a:gd name="T36" fmla="*/ 46 w 151"/>
                <a:gd name="T37" fmla="*/ 6 h 150"/>
                <a:gd name="T38" fmla="*/ 33 w 151"/>
                <a:gd name="T39" fmla="*/ 12 h 150"/>
                <a:gd name="T40" fmla="*/ 23 w 151"/>
                <a:gd name="T41" fmla="*/ 22 h 150"/>
                <a:gd name="T42" fmla="*/ 13 w 151"/>
                <a:gd name="T43" fmla="*/ 33 h 150"/>
                <a:gd name="T44" fmla="*/ 7 w 151"/>
                <a:gd name="T45" fmla="*/ 46 h 150"/>
                <a:gd name="T46" fmla="*/ 2 w 151"/>
                <a:gd name="T47" fmla="*/ 60 h 150"/>
                <a:gd name="T48" fmla="*/ 0 w 151"/>
                <a:gd name="T49" fmla="*/ 75 h 150"/>
                <a:gd name="T50" fmla="*/ 2 w 151"/>
                <a:gd name="T51" fmla="*/ 90 h 150"/>
                <a:gd name="T52" fmla="*/ 7 w 151"/>
                <a:gd name="T53" fmla="*/ 104 h 150"/>
                <a:gd name="T54" fmla="*/ 13 w 151"/>
                <a:gd name="T55" fmla="*/ 116 h 150"/>
                <a:gd name="T56" fmla="*/ 23 w 151"/>
                <a:gd name="T57" fmla="*/ 128 h 150"/>
                <a:gd name="T58" fmla="*/ 33 w 151"/>
                <a:gd name="T59" fmla="*/ 137 h 150"/>
                <a:gd name="T60" fmla="*/ 46 w 151"/>
                <a:gd name="T61" fmla="*/ 144 h 150"/>
                <a:gd name="T62" fmla="*/ 60 w 151"/>
                <a:gd name="T63" fmla="*/ 149 h 150"/>
                <a:gd name="T64" fmla="*/ 75 w 151"/>
                <a:gd name="T65" fmla="*/ 150 h 150"/>
                <a:gd name="T66" fmla="*/ 91 w 151"/>
                <a:gd name="T67" fmla="*/ 149 h 150"/>
                <a:gd name="T68" fmla="*/ 105 w 151"/>
                <a:gd name="T69" fmla="*/ 144 h 150"/>
                <a:gd name="T70" fmla="*/ 118 w 151"/>
                <a:gd name="T71" fmla="*/ 137 h 150"/>
                <a:gd name="T72" fmla="*/ 129 w 151"/>
                <a:gd name="T73" fmla="*/ 128 h 150"/>
                <a:gd name="T74" fmla="*/ 138 w 151"/>
                <a:gd name="T75" fmla="*/ 116 h 150"/>
                <a:gd name="T76" fmla="*/ 145 w 151"/>
                <a:gd name="T77" fmla="*/ 104 h 150"/>
                <a:gd name="T78" fmla="*/ 149 w 151"/>
                <a:gd name="T79" fmla="*/ 90 h 150"/>
                <a:gd name="T80" fmla="*/ 151 w 151"/>
                <a:gd name="T81" fmla="*/ 75 h 150"/>
                <a:gd name="T82" fmla="*/ 149 w 151"/>
                <a:gd name="T83" fmla="*/ 60 h 150"/>
                <a:gd name="T84" fmla="*/ 145 w 151"/>
                <a:gd name="T85" fmla="*/ 46 h 150"/>
                <a:gd name="T86" fmla="*/ 138 w 151"/>
                <a:gd name="T87" fmla="*/ 33 h 150"/>
                <a:gd name="T88" fmla="*/ 129 w 151"/>
                <a:gd name="T89" fmla="*/ 22 h 150"/>
                <a:gd name="T90" fmla="*/ 118 w 151"/>
                <a:gd name="T91" fmla="*/ 12 h 150"/>
                <a:gd name="T92" fmla="*/ 105 w 151"/>
                <a:gd name="T93" fmla="*/ 6 h 150"/>
                <a:gd name="T94" fmla="*/ 91 w 151"/>
                <a:gd name="T95" fmla="*/ 2 h 150"/>
                <a:gd name="T96" fmla="*/ 75 w 151"/>
                <a:gd name="T9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120"/>
                  </a:moveTo>
                  <a:lnTo>
                    <a:pt x="67" y="119"/>
                  </a:lnTo>
                  <a:lnTo>
                    <a:pt x="58" y="116"/>
                  </a:lnTo>
                  <a:lnTo>
                    <a:pt x="51" y="112"/>
                  </a:lnTo>
                  <a:lnTo>
                    <a:pt x="44" y="107"/>
                  </a:lnTo>
                  <a:lnTo>
                    <a:pt x="39" y="100"/>
                  </a:lnTo>
                  <a:lnTo>
                    <a:pt x="34" y="93"/>
                  </a:lnTo>
                  <a:lnTo>
                    <a:pt x="31" y="84"/>
                  </a:lnTo>
                  <a:lnTo>
                    <a:pt x="30" y="75"/>
                  </a:lnTo>
                  <a:lnTo>
                    <a:pt x="31" y="66"/>
                  </a:lnTo>
                  <a:lnTo>
                    <a:pt x="34" y="58"/>
                  </a:lnTo>
                  <a:lnTo>
                    <a:pt x="39" y="50"/>
                  </a:lnTo>
                  <a:lnTo>
                    <a:pt x="44" y="42"/>
                  </a:lnTo>
                  <a:lnTo>
                    <a:pt x="51" y="37"/>
                  </a:lnTo>
                  <a:lnTo>
                    <a:pt x="58" y="33"/>
                  </a:lnTo>
                  <a:lnTo>
                    <a:pt x="67" y="31"/>
                  </a:lnTo>
                  <a:lnTo>
                    <a:pt x="75" y="30"/>
                  </a:lnTo>
                  <a:lnTo>
                    <a:pt x="85" y="31"/>
                  </a:lnTo>
                  <a:lnTo>
                    <a:pt x="93" y="33"/>
                  </a:lnTo>
                  <a:lnTo>
                    <a:pt x="101" y="37"/>
                  </a:lnTo>
                  <a:lnTo>
                    <a:pt x="107" y="42"/>
                  </a:lnTo>
                  <a:lnTo>
                    <a:pt x="113" y="50"/>
                  </a:lnTo>
                  <a:lnTo>
                    <a:pt x="117" y="58"/>
                  </a:lnTo>
                  <a:lnTo>
                    <a:pt x="120" y="66"/>
                  </a:lnTo>
                  <a:lnTo>
                    <a:pt x="120" y="75"/>
                  </a:lnTo>
                  <a:lnTo>
                    <a:pt x="120" y="84"/>
                  </a:lnTo>
                  <a:lnTo>
                    <a:pt x="117" y="93"/>
                  </a:lnTo>
                  <a:lnTo>
                    <a:pt x="113" y="100"/>
                  </a:lnTo>
                  <a:lnTo>
                    <a:pt x="107" y="107"/>
                  </a:lnTo>
                  <a:lnTo>
                    <a:pt x="101" y="112"/>
                  </a:lnTo>
                  <a:lnTo>
                    <a:pt x="93" y="116"/>
                  </a:lnTo>
                  <a:lnTo>
                    <a:pt x="85" y="119"/>
                  </a:lnTo>
                  <a:lnTo>
                    <a:pt x="75" y="120"/>
                  </a:lnTo>
                  <a:close/>
                  <a:moveTo>
                    <a:pt x="75" y="0"/>
                  </a:moveTo>
                  <a:lnTo>
                    <a:pt x="68" y="0"/>
                  </a:lnTo>
                  <a:lnTo>
                    <a:pt x="60" y="2"/>
                  </a:lnTo>
                  <a:lnTo>
                    <a:pt x="54" y="3"/>
                  </a:lnTo>
                  <a:lnTo>
                    <a:pt x="46" y="6"/>
                  </a:lnTo>
                  <a:lnTo>
                    <a:pt x="40" y="9"/>
                  </a:lnTo>
                  <a:lnTo>
                    <a:pt x="33" y="12"/>
                  </a:lnTo>
                  <a:lnTo>
                    <a:pt x="28" y="17"/>
                  </a:lnTo>
                  <a:lnTo>
                    <a:pt x="23" y="22"/>
                  </a:lnTo>
                  <a:lnTo>
                    <a:pt x="17" y="27"/>
                  </a:lnTo>
                  <a:lnTo>
                    <a:pt x="13" y="33"/>
                  </a:lnTo>
                  <a:lnTo>
                    <a:pt x="10" y="39"/>
                  </a:lnTo>
                  <a:lnTo>
                    <a:pt x="7" y="46"/>
                  </a:lnTo>
                  <a:lnTo>
                    <a:pt x="3" y="52"/>
                  </a:lnTo>
                  <a:lnTo>
                    <a:pt x="2" y="60"/>
                  </a:lnTo>
                  <a:lnTo>
                    <a:pt x="1" y="67"/>
                  </a:lnTo>
                  <a:lnTo>
                    <a:pt x="0" y="75"/>
                  </a:lnTo>
                  <a:lnTo>
                    <a:pt x="1" y="82"/>
                  </a:lnTo>
                  <a:lnTo>
                    <a:pt x="2" y="90"/>
                  </a:lnTo>
                  <a:lnTo>
                    <a:pt x="3" y="97"/>
                  </a:lnTo>
                  <a:lnTo>
                    <a:pt x="7" y="104"/>
                  </a:lnTo>
                  <a:lnTo>
                    <a:pt x="10" y="111"/>
                  </a:lnTo>
                  <a:lnTo>
                    <a:pt x="13" y="116"/>
                  </a:lnTo>
                  <a:lnTo>
                    <a:pt x="17" y="123"/>
                  </a:lnTo>
                  <a:lnTo>
                    <a:pt x="23" y="128"/>
                  </a:lnTo>
                  <a:lnTo>
                    <a:pt x="28" y="133"/>
                  </a:lnTo>
                  <a:lnTo>
                    <a:pt x="33" y="137"/>
                  </a:lnTo>
                  <a:lnTo>
                    <a:pt x="40" y="141"/>
                  </a:lnTo>
                  <a:lnTo>
                    <a:pt x="46" y="144"/>
                  </a:lnTo>
                  <a:lnTo>
                    <a:pt x="54" y="147"/>
                  </a:lnTo>
                  <a:lnTo>
                    <a:pt x="60" y="149"/>
                  </a:lnTo>
                  <a:lnTo>
                    <a:pt x="68" y="150"/>
                  </a:lnTo>
                  <a:lnTo>
                    <a:pt x="75" y="150"/>
                  </a:lnTo>
                  <a:lnTo>
                    <a:pt x="84" y="150"/>
                  </a:lnTo>
                  <a:lnTo>
                    <a:pt x="91" y="149"/>
                  </a:lnTo>
                  <a:lnTo>
                    <a:pt x="98" y="147"/>
                  </a:lnTo>
                  <a:lnTo>
                    <a:pt x="105" y="144"/>
                  </a:lnTo>
                  <a:lnTo>
                    <a:pt x="112" y="141"/>
                  </a:lnTo>
                  <a:lnTo>
                    <a:pt x="118" y="137"/>
                  </a:lnTo>
                  <a:lnTo>
                    <a:pt x="123" y="133"/>
                  </a:lnTo>
                  <a:lnTo>
                    <a:pt x="129" y="128"/>
                  </a:lnTo>
                  <a:lnTo>
                    <a:pt x="133" y="123"/>
                  </a:lnTo>
                  <a:lnTo>
                    <a:pt x="138" y="116"/>
                  </a:lnTo>
                  <a:lnTo>
                    <a:pt x="142" y="111"/>
                  </a:lnTo>
                  <a:lnTo>
                    <a:pt x="145" y="104"/>
                  </a:lnTo>
                  <a:lnTo>
                    <a:pt x="147" y="97"/>
                  </a:lnTo>
                  <a:lnTo>
                    <a:pt x="149" y="90"/>
                  </a:lnTo>
                  <a:lnTo>
                    <a:pt x="150" y="82"/>
                  </a:lnTo>
                  <a:lnTo>
                    <a:pt x="151" y="75"/>
                  </a:lnTo>
                  <a:lnTo>
                    <a:pt x="150" y="67"/>
                  </a:lnTo>
                  <a:lnTo>
                    <a:pt x="149" y="60"/>
                  </a:lnTo>
                  <a:lnTo>
                    <a:pt x="147" y="52"/>
                  </a:lnTo>
                  <a:lnTo>
                    <a:pt x="145" y="46"/>
                  </a:lnTo>
                  <a:lnTo>
                    <a:pt x="142" y="39"/>
                  </a:lnTo>
                  <a:lnTo>
                    <a:pt x="138" y="33"/>
                  </a:lnTo>
                  <a:lnTo>
                    <a:pt x="133" y="27"/>
                  </a:lnTo>
                  <a:lnTo>
                    <a:pt x="129" y="22"/>
                  </a:lnTo>
                  <a:lnTo>
                    <a:pt x="123" y="17"/>
                  </a:lnTo>
                  <a:lnTo>
                    <a:pt x="118" y="12"/>
                  </a:lnTo>
                  <a:lnTo>
                    <a:pt x="112" y="9"/>
                  </a:lnTo>
                  <a:lnTo>
                    <a:pt x="105" y="6"/>
                  </a:lnTo>
                  <a:lnTo>
                    <a:pt x="98" y="3"/>
                  </a:lnTo>
                  <a:lnTo>
                    <a:pt x="91" y="2"/>
                  </a:lnTo>
                  <a:lnTo>
                    <a:pt x="84"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5" name="Freeform 49">
              <a:extLst>
                <a:ext uri="{FF2B5EF4-FFF2-40B4-BE49-F238E27FC236}">
                  <a16:creationId xmlns:a16="http://schemas.microsoft.com/office/drawing/2014/main" id="{5CA02337-C357-4A5F-BD58-3963CE981C8E}"/>
                </a:ext>
              </a:extLst>
            </p:cNvPr>
            <p:cNvSpPr>
              <a:spLocks/>
            </p:cNvSpPr>
            <p:nvPr/>
          </p:nvSpPr>
          <p:spPr bwMode="auto">
            <a:xfrm>
              <a:off x="8736013" y="1390333"/>
              <a:ext cx="285750" cy="190500"/>
            </a:xfrm>
            <a:custGeom>
              <a:avLst/>
              <a:gdLst>
                <a:gd name="T0" fmla="*/ 887 w 902"/>
                <a:gd name="T1" fmla="*/ 0 h 602"/>
                <a:gd name="T2" fmla="*/ 830 w 902"/>
                <a:gd name="T3" fmla="*/ 0 h 602"/>
                <a:gd name="T4" fmla="*/ 825 w 902"/>
                <a:gd name="T5" fmla="*/ 1 h 602"/>
                <a:gd name="T6" fmla="*/ 820 w 902"/>
                <a:gd name="T7" fmla="*/ 4 h 602"/>
                <a:gd name="T8" fmla="*/ 817 w 902"/>
                <a:gd name="T9" fmla="*/ 9 h 602"/>
                <a:gd name="T10" fmla="*/ 815 w 902"/>
                <a:gd name="T11" fmla="*/ 14 h 602"/>
                <a:gd name="T12" fmla="*/ 741 w 902"/>
                <a:gd name="T13" fmla="*/ 572 h 602"/>
                <a:gd name="T14" fmla="*/ 15 w 902"/>
                <a:gd name="T15" fmla="*/ 572 h 602"/>
                <a:gd name="T16" fmla="*/ 12 w 902"/>
                <a:gd name="T17" fmla="*/ 572 h 602"/>
                <a:gd name="T18" fmla="*/ 10 w 902"/>
                <a:gd name="T19" fmla="*/ 573 h 602"/>
                <a:gd name="T20" fmla="*/ 6 w 902"/>
                <a:gd name="T21" fmla="*/ 574 h 602"/>
                <a:gd name="T22" fmla="*/ 4 w 902"/>
                <a:gd name="T23" fmla="*/ 576 h 602"/>
                <a:gd name="T24" fmla="*/ 3 w 902"/>
                <a:gd name="T25" fmla="*/ 578 h 602"/>
                <a:gd name="T26" fmla="*/ 1 w 902"/>
                <a:gd name="T27" fmla="*/ 581 h 602"/>
                <a:gd name="T28" fmla="*/ 0 w 902"/>
                <a:gd name="T29" fmla="*/ 583 h 602"/>
                <a:gd name="T30" fmla="*/ 0 w 902"/>
                <a:gd name="T31" fmla="*/ 587 h 602"/>
                <a:gd name="T32" fmla="*/ 0 w 902"/>
                <a:gd name="T33" fmla="*/ 590 h 602"/>
                <a:gd name="T34" fmla="*/ 1 w 902"/>
                <a:gd name="T35" fmla="*/ 593 h 602"/>
                <a:gd name="T36" fmla="*/ 3 w 902"/>
                <a:gd name="T37" fmla="*/ 595 h 602"/>
                <a:gd name="T38" fmla="*/ 4 w 902"/>
                <a:gd name="T39" fmla="*/ 597 h 602"/>
                <a:gd name="T40" fmla="*/ 6 w 902"/>
                <a:gd name="T41" fmla="*/ 599 h 602"/>
                <a:gd name="T42" fmla="*/ 10 w 902"/>
                <a:gd name="T43" fmla="*/ 600 h 602"/>
                <a:gd name="T44" fmla="*/ 12 w 902"/>
                <a:gd name="T45" fmla="*/ 602 h 602"/>
                <a:gd name="T46" fmla="*/ 15 w 902"/>
                <a:gd name="T47" fmla="*/ 602 h 602"/>
                <a:gd name="T48" fmla="*/ 755 w 902"/>
                <a:gd name="T49" fmla="*/ 602 h 602"/>
                <a:gd name="T50" fmla="*/ 760 w 902"/>
                <a:gd name="T51" fmla="*/ 600 h 602"/>
                <a:gd name="T52" fmla="*/ 765 w 902"/>
                <a:gd name="T53" fmla="*/ 598 h 602"/>
                <a:gd name="T54" fmla="*/ 768 w 902"/>
                <a:gd name="T55" fmla="*/ 594 h 602"/>
                <a:gd name="T56" fmla="*/ 769 w 902"/>
                <a:gd name="T57" fmla="*/ 589 h 602"/>
                <a:gd name="T58" fmla="*/ 844 w 902"/>
                <a:gd name="T59" fmla="*/ 30 h 602"/>
                <a:gd name="T60" fmla="*/ 887 w 902"/>
                <a:gd name="T61" fmla="*/ 30 h 602"/>
                <a:gd name="T62" fmla="*/ 890 w 902"/>
                <a:gd name="T63" fmla="*/ 30 h 602"/>
                <a:gd name="T64" fmla="*/ 893 w 902"/>
                <a:gd name="T65" fmla="*/ 29 h 602"/>
                <a:gd name="T66" fmla="*/ 895 w 902"/>
                <a:gd name="T67" fmla="*/ 28 h 602"/>
                <a:gd name="T68" fmla="*/ 897 w 902"/>
                <a:gd name="T69" fmla="*/ 26 h 602"/>
                <a:gd name="T70" fmla="*/ 900 w 902"/>
                <a:gd name="T71" fmla="*/ 24 h 602"/>
                <a:gd name="T72" fmla="*/ 901 w 902"/>
                <a:gd name="T73" fmla="*/ 21 h 602"/>
                <a:gd name="T74" fmla="*/ 902 w 902"/>
                <a:gd name="T75" fmla="*/ 18 h 602"/>
                <a:gd name="T76" fmla="*/ 902 w 902"/>
                <a:gd name="T77" fmla="*/ 15 h 602"/>
                <a:gd name="T78" fmla="*/ 902 w 902"/>
                <a:gd name="T79" fmla="*/ 13 h 602"/>
                <a:gd name="T80" fmla="*/ 901 w 902"/>
                <a:gd name="T81" fmla="*/ 10 h 602"/>
                <a:gd name="T82" fmla="*/ 900 w 902"/>
                <a:gd name="T83" fmla="*/ 7 h 602"/>
                <a:gd name="T84" fmla="*/ 897 w 902"/>
                <a:gd name="T85" fmla="*/ 4 h 602"/>
                <a:gd name="T86" fmla="*/ 895 w 902"/>
                <a:gd name="T87" fmla="*/ 3 h 602"/>
                <a:gd name="T88" fmla="*/ 893 w 902"/>
                <a:gd name="T89" fmla="*/ 1 h 602"/>
                <a:gd name="T90" fmla="*/ 890 w 902"/>
                <a:gd name="T91" fmla="*/ 1 h 602"/>
                <a:gd name="T92" fmla="*/ 887 w 902"/>
                <a:gd name="T93"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2">
                  <a:moveTo>
                    <a:pt x="887" y="0"/>
                  </a:moveTo>
                  <a:lnTo>
                    <a:pt x="830" y="0"/>
                  </a:lnTo>
                  <a:lnTo>
                    <a:pt x="825" y="1"/>
                  </a:lnTo>
                  <a:lnTo>
                    <a:pt x="820" y="4"/>
                  </a:lnTo>
                  <a:lnTo>
                    <a:pt x="817" y="9"/>
                  </a:lnTo>
                  <a:lnTo>
                    <a:pt x="815" y="14"/>
                  </a:lnTo>
                  <a:lnTo>
                    <a:pt x="741" y="572"/>
                  </a:lnTo>
                  <a:lnTo>
                    <a:pt x="15" y="572"/>
                  </a:lnTo>
                  <a:lnTo>
                    <a:pt x="12" y="572"/>
                  </a:lnTo>
                  <a:lnTo>
                    <a:pt x="10" y="573"/>
                  </a:lnTo>
                  <a:lnTo>
                    <a:pt x="6" y="574"/>
                  </a:lnTo>
                  <a:lnTo>
                    <a:pt x="4" y="576"/>
                  </a:lnTo>
                  <a:lnTo>
                    <a:pt x="3" y="578"/>
                  </a:lnTo>
                  <a:lnTo>
                    <a:pt x="1" y="581"/>
                  </a:lnTo>
                  <a:lnTo>
                    <a:pt x="0" y="583"/>
                  </a:lnTo>
                  <a:lnTo>
                    <a:pt x="0" y="587"/>
                  </a:lnTo>
                  <a:lnTo>
                    <a:pt x="0" y="590"/>
                  </a:lnTo>
                  <a:lnTo>
                    <a:pt x="1" y="593"/>
                  </a:lnTo>
                  <a:lnTo>
                    <a:pt x="3" y="595"/>
                  </a:lnTo>
                  <a:lnTo>
                    <a:pt x="4" y="597"/>
                  </a:lnTo>
                  <a:lnTo>
                    <a:pt x="6" y="599"/>
                  </a:lnTo>
                  <a:lnTo>
                    <a:pt x="10" y="600"/>
                  </a:lnTo>
                  <a:lnTo>
                    <a:pt x="12" y="602"/>
                  </a:lnTo>
                  <a:lnTo>
                    <a:pt x="15" y="602"/>
                  </a:lnTo>
                  <a:lnTo>
                    <a:pt x="755" y="602"/>
                  </a:lnTo>
                  <a:lnTo>
                    <a:pt x="760" y="600"/>
                  </a:lnTo>
                  <a:lnTo>
                    <a:pt x="765" y="598"/>
                  </a:lnTo>
                  <a:lnTo>
                    <a:pt x="768" y="594"/>
                  </a:lnTo>
                  <a:lnTo>
                    <a:pt x="769" y="589"/>
                  </a:lnTo>
                  <a:lnTo>
                    <a:pt x="844" y="30"/>
                  </a:lnTo>
                  <a:lnTo>
                    <a:pt x="887" y="30"/>
                  </a:lnTo>
                  <a:lnTo>
                    <a:pt x="890" y="30"/>
                  </a:lnTo>
                  <a:lnTo>
                    <a:pt x="893" y="29"/>
                  </a:lnTo>
                  <a:lnTo>
                    <a:pt x="895" y="28"/>
                  </a:lnTo>
                  <a:lnTo>
                    <a:pt x="897" y="26"/>
                  </a:lnTo>
                  <a:lnTo>
                    <a:pt x="900" y="24"/>
                  </a:lnTo>
                  <a:lnTo>
                    <a:pt x="901" y="21"/>
                  </a:lnTo>
                  <a:lnTo>
                    <a:pt x="902" y="18"/>
                  </a:lnTo>
                  <a:lnTo>
                    <a:pt x="902" y="15"/>
                  </a:lnTo>
                  <a:lnTo>
                    <a:pt x="902" y="13"/>
                  </a:lnTo>
                  <a:lnTo>
                    <a:pt x="901" y="10"/>
                  </a:lnTo>
                  <a:lnTo>
                    <a:pt x="900" y="7"/>
                  </a:lnTo>
                  <a:lnTo>
                    <a:pt x="897" y="4"/>
                  </a:lnTo>
                  <a:lnTo>
                    <a:pt x="895" y="3"/>
                  </a:lnTo>
                  <a:lnTo>
                    <a:pt x="893" y="1"/>
                  </a:lnTo>
                  <a:lnTo>
                    <a:pt x="890" y="1"/>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6" name="Freeform 50">
              <a:extLst>
                <a:ext uri="{FF2B5EF4-FFF2-40B4-BE49-F238E27FC236}">
                  <a16:creationId xmlns:a16="http://schemas.microsoft.com/office/drawing/2014/main" id="{EDCB1E8C-6FE7-42A9-9CF3-53264958673B}"/>
                </a:ext>
              </a:extLst>
            </p:cNvPr>
            <p:cNvSpPr>
              <a:spLocks noEditPoints="1"/>
            </p:cNvSpPr>
            <p:nvPr/>
          </p:nvSpPr>
          <p:spPr bwMode="auto">
            <a:xfrm>
              <a:off x="8755063" y="1390333"/>
              <a:ext cx="190500" cy="161925"/>
            </a:xfrm>
            <a:custGeom>
              <a:avLst/>
              <a:gdLst>
                <a:gd name="T0" fmla="*/ 34 w 602"/>
                <a:gd name="T1" fmla="*/ 177 h 510"/>
                <a:gd name="T2" fmla="*/ 50 w 602"/>
                <a:gd name="T3" fmla="*/ 158 h 510"/>
                <a:gd name="T4" fmla="*/ 75 w 602"/>
                <a:gd name="T5" fmla="*/ 150 h 510"/>
                <a:gd name="T6" fmla="*/ 544 w 602"/>
                <a:gd name="T7" fmla="*/ 153 h 510"/>
                <a:gd name="T8" fmla="*/ 564 w 602"/>
                <a:gd name="T9" fmla="*/ 169 h 510"/>
                <a:gd name="T10" fmla="*/ 572 w 602"/>
                <a:gd name="T11" fmla="*/ 195 h 510"/>
                <a:gd name="T12" fmla="*/ 568 w 602"/>
                <a:gd name="T13" fmla="*/ 453 h 510"/>
                <a:gd name="T14" fmla="*/ 551 w 602"/>
                <a:gd name="T15" fmla="*/ 473 h 510"/>
                <a:gd name="T16" fmla="*/ 527 w 602"/>
                <a:gd name="T17" fmla="*/ 480 h 510"/>
                <a:gd name="T18" fmla="*/ 58 w 602"/>
                <a:gd name="T19" fmla="*/ 477 h 510"/>
                <a:gd name="T20" fmla="*/ 39 w 602"/>
                <a:gd name="T21" fmla="*/ 460 h 510"/>
                <a:gd name="T22" fmla="*/ 30 w 602"/>
                <a:gd name="T23" fmla="*/ 435 h 510"/>
                <a:gd name="T24" fmla="*/ 211 w 602"/>
                <a:gd name="T25" fmla="*/ 54 h 510"/>
                <a:gd name="T26" fmla="*/ 220 w 602"/>
                <a:gd name="T27" fmla="*/ 39 h 510"/>
                <a:gd name="T28" fmla="*/ 235 w 602"/>
                <a:gd name="T29" fmla="*/ 31 h 510"/>
                <a:gd name="T30" fmla="*/ 367 w 602"/>
                <a:gd name="T31" fmla="*/ 30 h 510"/>
                <a:gd name="T32" fmla="*/ 383 w 602"/>
                <a:gd name="T33" fmla="*/ 39 h 510"/>
                <a:gd name="T34" fmla="*/ 390 w 602"/>
                <a:gd name="T35" fmla="*/ 54 h 510"/>
                <a:gd name="T36" fmla="*/ 211 w 602"/>
                <a:gd name="T37" fmla="*/ 120 h 510"/>
                <a:gd name="T38" fmla="*/ 527 w 602"/>
                <a:gd name="T39" fmla="*/ 510 h 510"/>
                <a:gd name="T40" fmla="*/ 549 w 602"/>
                <a:gd name="T41" fmla="*/ 507 h 510"/>
                <a:gd name="T42" fmla="*/ 568 w 602"/>
                <a:gd name="T43" fmla="*/ 498 h 510"/>
                <a:gd name="T44" fmla="*/ 584 w 602"/>
                <a:gd name="T45" fmla="*/ 483 h 510"/>
                <a:gd name="T46" fmla="*/ 596 w 602"/>
                <a:gd name="T47" fmla="*/ 464 h 510"/>
                <a:gd name="T48" fmla="*/ 602 w 602"/>
                <a:gd name="T49" fmla="*/ 443 h 510"/>
                <a:gd name="T50" fmla="*/ 602 w 602"/>
                <a:gd name="T51" fmla="*/ 187 h 510"/>
                <a:gd name="T52" fmla="*/ 596 w 602"/>
                <a:gd name="T53" fmla="*/ 165 h 510"/>
                <a:gd name="T54" fmla="*/ 584 w 602"/>
                <a:gd name="T55" fmla="*/ 147 h 510"/>
                <a:gd name="T56" fmla="*/ 568 w 602"/>
                <a:gd name="T57" fmla="*/ 132 h 510"/>
                <a:gd name="T58" fmla="*/ 549 w 602"/>
                <a:gd name="T59" fmla="*/ 123 h 510"/>
                <a:gd name="T60" fmla="*/ 527 w 602"/>
                <a:gd name="T61" fmla="*/ 120 h 510"/>
                <a:gd name="T62" fmla="*/ 421 w 602"/>
                <a:gd name="T63" fmla="*/ 54 h 510"/>
                <a:gd name="T64" fmla="*/ 416 w 602"/>
                <a:gd name="T65" fmla="*/ 37 h 510"/>
                <a:gd name="T66" fmla="*/ 408 w 602"/>
                <a:gd name="T67" fmla="*/ 21 h 510"/>
                <a:gd name="T68" fmla="*/ 395 w 602"/>
                <a:gd name="T69" fmla="*/ 11 h 510"/>
                <a:gd name="T70" fmla="*/ 379 w 602"/>
                <a:gd name="T71" fmla="*/ 2 h 510"/>
                <a:gd name="T72" fmla="*/ 361 w 602"/>
                <a:gd name="T73" fmla="*/ 0 h 510"/>
                <a:gd name="T74" fmla="*/ 228 w 602"/>
                <a:gd name="T75" fmla="*/ 1 h 510"/>
                <a:gd name="T76" fmla="*/ 212 w 602"/>
                <a:gd name="T77" fmla="*/ 8 h 510"/>
                <a:gd name="T78" fmla="*/ 198 w 602"/>
                <a:gd name="T79" fmla="*/ 17 h 510"/>
                <a:gd name="T80" fmla="*/ 188 w 602"/>
                <a:gd name="T81" fmla="*/ 31 h 510"/>
                <a:gd name="T82" fmla="*/ 182 w 602"/>
                <a:gd name="T83" fmla="*/ 48 h 510"/>
                <a:gd name="T84" fmla="*/ 181 w 602"/>
                <a:gd name="T85" fmla="*/ 120 h 510"/>
                <a:gd name="T86" fmla="*/ 60 w 602"/>
                <a:gd name="T87" fmla="*/ 121 h 510"/>
                <a:gd name="T88" fmla="*/ 40 w 602"/>
                <a:gd name="T89" fmla="*/ 129 h 510"/>
                <a:gd name="T90" fmla="*/ 23 w 602"/>
                <a:gd name="T91" fmla="*/ 142 h 510"/>
                <a:gd name="T92" fmla="*/ 10 w 602"/>
                <a:gd name="T93" fmla="*/ 159 h 510"/>
                <a:gd name="T94" fmla="*/ 2 w 602"/>
                <a:gd name="T95" fmla="*/ 179 h 510"/>
                <a:gd name="T96" fmla="*/ 0 w 602"/>
                <a:gd name="T97" fmla="*/ 435 h 510"/>
                <a:gd name="T98" fmla="*/ 3 w 602"/>
                <a:gd name="T99" fmla="*/ 458 h 510"/>
                <a:gd name="T100" fmla="*/ 13 w 602"/>
                <a:gd name="T101" fmla="*/ 477 h 510"/>
                <a:gd name="T102" fmla="*/ 28 w 602"/>
                <a:gd name="T103" fmla="*/ 493 h 510"/>
                <a:gd name="T104" fmla="*/ 46 w 602"/>
                <a:gd name="T105" fmla="*/ 504 h 510"/>
                <a:gd name="T106" fmla="*/ 68 w 602"/>
                <a:gd name="T107"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2" h="510">
                  <a:moveTo>
                    <a:pt x="30" y="195"/>
                  </a:moveTo>
                  <a:lnTo>
                    <a:pt x="31" y="186"/>
                  </a:lnTo>
                  <a:lnTo>
                    <a:pt x="34" y="177"/>
                  </a:lnTo>
                  <a:lnTo>
                    <a:pt x="39" y="169"/>
                  </a:lnTo>
                  <a:lnTo>
                    <a:pt x="44" y="163"/>
                  </a:lnTo>
                  <a:lnTo>
                    <a:pt x="50" y="158"/>
                  </a:lnTo>
                  <a:lnTo>
                    <a:pt x="58" y="153"/>
                  </a:lnTo>
                  <a:lnTo>
                    <a:pt x="67" y="150"/>
                  </a:lnTo>
                  <a:lnTo>
                    <a:pt x="75" y="150"/>
                  </a:lnTo>
                  <a:lnTo>
                    <a:pt x="527" y="150"/>
                  </a:lnTo>
                  <a:lnTo>
                    <a:pt x="535" y="150"/>
                  </a:lnTo>
                  <a:lnTo>
                    <a:pt x="544" y="153"/>
                  </a:lnTo>
                  <a:lnTo>
                    <a:pt x="551" y="158"/>
                  </a:lnTo>
                  <a:lnTo>
                    <a:pt x="559" y="163"/>
                  </a:lnTo>
                  <a:lnTo>
                    <a:pt x="564" y="169"/>
                  </a:lnTo>
                  <a:lnTo>
                    <a:pt x="568" y="177"/>
                  </a:lnTo>
                  <a:lnTo>
                    <a:pt x="570" y="186"/>
                  </a:lnTo>
                  <a:lnTo>
                    <a:pt x="572" y="195"/>
                  </a:lnTo>
                  <a:lnTo>
                    <a:pt x="572" y="435"/>
                  </a:lnTo>
                  <a:lnTo>
                    <a:pt x="570" y="444"/>
                  </a:lnTo>
                  <a:lnTo>
                    <a:pt x="568" y="453"/>
                  </a:lnTo>
                  <a:lnTo>
                    <a:pt x="564" y="460"/>
                  </a:lnTo>
                  <a:lnTo>
                    <a:pt x="559" y="468"/>
                  </a:lnTo>
                  <a:lnTo>
                    <a:pt x="551" y="473"/>
                  </a:lnTo>
                  <a:lnTo>
                    <a:pt x="544" y="477"/>
                  </a:lnTo>
                  <a:lnTo>
                    <a:pt x="535" y="479"/>
                  </a:lnTo>
                  <a:lnTo>
                    <a:pt x="527" y="480"/>
                  </a:lnTo>
                  <a:lnTo>
                    <a:pt x="75" y="480"/>
                  </a:lnTo>
                  <a:lnTo>
                    <a:pt x="67" y="479"/>
                  </a:lnTo>
                  <a:lnTo>
                    <a:pt x="58" y="477"/>
                  </a:lnTo>
                  <a:lnTo>
                    <a:pt x="50" y="473"/>
                  </a:lnTo>
                  <a:lnTo>
                    <a:pt x="44" y="468"/>
                  </a:lnTo>
                  <a:lnTo>
                    <a:pt x="39" y="460"/>
                  </a:lnTo>
                  <a:lnTo>
                    <a:pt x="34" y="453"/>
                  </a:lnTo>
                  <a:lnTo>
                    <a:pt x="31" y="444"/>
                  </a:lnTo>
                  <a:lnTo>
                    <a:pt x="30" y="435"/>
                  </a:lnTo>
                  <a:lnTo>
                    <a:pt x="30" y="195"/>
                  </a:lnTo>
                  <a:close/>
                  <a:moveTo>
                    <a:pt x="211" y="60"/>
                  </a:moveTo>
                  <a:lnTo>
                    <a:pt x="211" y="54"/>
                  </a:lnTo>
                  <a:lnTo>
                    <a:pt x="213" y="48"/>
                  </a:lnTo>
                  <a:lnTo>
                    <a:pt x="216" y="43"/>
                  </a:lnTo>
                  <a:lnTo>
                    <a:pt x="220" y="39"/>
                  </a:lnTo>
                  <a:lnTo>
                    <a:pt x="224" y="35"/>
                  </a:lnTo>
                  <a:lnTo>
                    <a:pt x="230" y="32"/>
                  </a:lnTo>
                  <a:lnTo>
                    <a:pt x="235" y="31"/>
                  </a:lnTo>
                  <a:lnTo>
                    <a:pt x="241" y="30"/>
                  </a:lnTo>
                  <a:lnTo>
                    <a:pt x="361" y="30"/>
                  </a:lnTo>
                  <a:lnTo>
                    <a:pt x="367" y="30"/>
                  </a:lnTo>
                  <a:lnTo>
                    <a:pt x="373" y="32"/>
                  </a:lnTo>
                  <a:lnTo>
                    <a:pt x="378" y="35"/>
                  </a:lnTo>
                  <a:lnTo>
                    <a:pt x="383" y="39"/>
                  </a:lnTo>
                  <a:lnTo>
                    <a:pt x="386" y="43"/>
                  </a:lnTo>
                  <a:lnTo>
                    <a:pt x="389" y="48"/>
                  </a:lnTo>
                  <a:lnTo>
                    <a:pt x="390" y="54"/>
                  </a:lnTo>
                  <a:lnTo>
                    <a:pt x="391" y="60"/>
                  </a:lnTo>
                  <a:lnTo>
                    <a:pt x="391" y="120"/>
                  </a:lnTo>
                  <a:lnTo>
                    <a:pt x="211" y="120"/>
                  </a:lnTo>
                  <a:lnTo>
                    <a:pt x="211" y="60"/>
                  </a:lnTo>
                  <a:close/>
                  <a:moveTo>
                    <a:pt x="75" y="510"/>
                  </a:moveTo>
                  <a:lnTo>
                    <a:pt x="527" y="510"/>
                  </a:lnTo>
                  <a:lnTo>
                    <a:pt x="534" y="510"/>
                  </a:lnTo>
                  <a:lnTo>
                    <a:pt x="542" y="509"/>
                  </a:lnTo>
                  <a:lnTo>
                    <a:pt x="549" y="507"/>
                  </a:lnTo>
                  <a:lnTo>
                    <a:pt x="555" y="504"/>
                  </a:lnTo>
                  <a:lnTo>
                    <a:pt x="562" y="501"/>
                  </a:lnTo>
                  <a:lnTo>
                    <a:pt x="568" y="498"/>
                  </a:lnTo>
                  <a:lnTo>
                    <a:pt x="575" y="493"/>
                  </a:lnTo>
                  <a:lnTo>
                    <a:pt x="579" y="488"/>
                  </a:lnTo>
                  <a:lnTo>
                    <a:pt x="584" y="483"/>
                  </a:lnTo>
                  <a:lnTo>
                    <a:pt x="589" y="477"/>
                  </a:lnTo>
                  <a:lnTo>
                    <a:pt x="593" y="471"/>
                  </a:lnTo>
                  <a:lnTo>
                    <a:pt x="596" y="464"/>
                  </a:lnTo>
                  <a:lnTo>
                    <a:pt x="598" y="458"/>
                  </a:lnTo>
                  <a:lnTo>
                    <a:pt x="601" y="450"/>
                  </a:lnTo>
                  <a:lnTo>
                    <a:pt x="602" y="443"/>
                  </a:lnTo>
                  <a:lnTo>
                    <a:pt x="602" y="435"/>
                  </a:lnTo>
                  <a:lnTo>
                    <a:pt x="602" y="195"/>
                  </a:lnTo>
                  <a:lnTo>
                    <a:pt x="602" y="187"/>
                  </a:lnTo>
                  <a:lnTo>
                    <a:pt x="601" y="179"/>
                  </a:lnTo>
                  <a:lnTo>
                    <a:pt x="598" y="173"/>
                  </a:lnTo>
                  <a:lnTo>
                    <a:pt x="596" y="165"/>
                  </a:lnTo>
                  <a:lnTo>
                    <a:pt x="593" y="159"/>
                  </a:lnTo>
                  <a:lnTo>
                    <a:pt x="589" y="152"/>
                  </a:lnTo>
                  <a:lnTo>
                    <a:pt x="584" y="147"/>
                  </a:lnTo>
                  <a:lnTo>
                    <a:pt x="579" y="142"/>
                  </a:lnTo>
                  <a:lnTo>
                    <a:pt x="575" y="136"/>
                  </a:lnTo>
                  <a:lnTo>
                    <a:pt x="568" y="132"/>
                  </a:lnTo>
                  <a:lnTo>
                    <a:pt x="562" y="129"/>
                  </a:lnTo>
                  <a:lnTo>
                    <a:pt x="555" y="126"/>
                  </a:lnTo>
                  <a:lnTo>
                    <a:pt x="549" y="123"/>
                  </a:lnTo>
                  <a:lnTo>
                    <a:pt x="542" y="121"/>
                  </a:lnTo>
                  <a:lnTo>
                    <a:pt x="534" y="120"/>
                  </a:lnTo>
                  <a:lnTo>
                    <a:pt x="527" y="120"/>
                  </a:lnTo>
                  <a:lnTo>
                    <a:pt x="421" y="120"/>
                  </a:lnTo>
                  <a:lnTo>
                    <a:pt x="421" y="60"/>
                  </a:lnTo>
                  <a:lnTo>
                    <a:pt x="421" y="54"/>
                  </a:lnTo>
                  <a:lnTo>
                    <a:pt x="420" y="48"/>
                  </a:lnTo>
                  <a:lnTo>
                    <a:pt x="418" y="42"/>
                  </a:lnTo>
                  <a:lnTo>
                    <a:pt x="416" y="37"/>
                  </a:lnTo>
                  <a:lnTo>
                    <a:pt x="414" y="31"/>
                  </a:lnTo>
                  <a:lnTo>
                    <a:pt x="411" y="27"/>
                  </a:lnTo>
                  <a:lnTo>
                    <a:pt x="408" y="21"/>
                  </a:lnTo>
                  <a:lnTo>
                    <a:pt x="403" y="17"/>
                  </a:lnTo>
                  <a:lnTo>
                    <a:pt x="399" y="14"/>
                  </a:lnTo>
                  <a:lnTo>
                    <a:pt x="395" y="11"/>
                  </a:lnTo>
                  <a:lnTo>
                    <a:pt x="389" y="8"/>
                  </a:lnTo>
                  <a:lnTo>
                    <a:pt x="385" y="4"/>
                  </a:lnTo>
                  <a:lnTo>
                    <a:pt x="379" y="2"/>
                  </a:lnTo>
                  <a:lnTo>
                    <a:pt x="373" y="1"/>
                  </a:lnTo>
                  <a:lnTo>
                    <a:pt x="367" y="0"/>
                  </a:lnTo>
                  <a:lnTo>
                    <a:pt x="361" y="0"/>
                  </a:lnTo>
                  <a:lnTo>
                    <a:pt x="241" y="0"/>
                  </a:lnTo>
                  <a:lnTo>
                    <a:pt x="235" y="0"/>
                  </a:lnTo>
                  <a:lnTo>
                    <a:pt x="228" y="1"/>
                  </a:lnTo>
                  <a:lnTo>
                    <a:pt x="223" y="2"/>
                  </a:lnTo>
                  <a:lnTo>
                    <a:pt x="218" y="4"/>
                  </a:lnTo>
                  <a:lnTo>
                    <a:pt x="212" y="8"/>
                  </a:lnTo>
                  <a:lnTo>
                    <a:pt x="207" y="11"/>
                  </a:lnTo>
                  <a:lnTo>
                    <a:pt x="203" y="14"/>
                  </a:lnTo>
                  <a:lnTo>
                    <a:pt x="198" y="17"/>
                  </a:lnTo>
                  <a:lnTo>
                    <a:pt x="194" y="21"/>
                  </a:lnTo>
                  <a:lnTo>
                    <a:pt x="191" y="27"/>
                  </a:lnTo>
                  <a:lnTo>
                    <a:pt x="188" y="31"/>
                  </a:lnTo>
                  <a:lnTo>
                    <a:pt x="186" y="37"/>
                  </a:lnTo>
                  <a:lnTo>
                    <a:pt x="183" y="42"/>
                  </a:lnTo>
                  <a:lnTo>
                    <a:pt x="182" y="48"/>
                  </a:lnTo>
                  <a:lnTo>
                    <a:pt x="181" y="54"/>
                  </a:lnTo>
                  <a:lnTo>
                    <a:pt x="181" y="60"/>
                  </a:lnTo>
                  <a:lnTo>
                    <a:pt x="181" y="120"/>
                  </a:lnTo>
                  <a:lnTo>
                    <a:pt x="75" y="120"/>
                  </a:lnTo>
                  <a:lnTo>
                    <a:pt x="68" y="120"/>
                  </a:lnTo>
                  <a:lnTo>
                    <a:pt x="60" y="121"/>
                  </a:lnTo>
                  <a:lnTo>
                    <a:pt x="54" y="123"/>
                  </a:lnTo>
                  <a:lnTo>
                    <a:pt x="46" y="126"/>
                  </a:lnTo>
                  <a:lnTo>
                    <a:pt x="40" y="129"/>
                  </a:lnTo>
                  <a:lnTo>
                    <a:pt x="33" y="132"/>
                  </a:lnTo>
                  <a:lnTo>
                    <a:pt x="28" y="137"/>
                  </a:lnTo>
                  <a:lnTo>
                    <a:pt x="23" y="142"/>
                  </a:lnTo>
                  <a:lnTo>
                    <a:pt x="17" y="147"/>
                  </a:lnTo>
                  <a:lnTo>
                    <a:pt x="13" y="152"/>
                  </a:lnTo>
                  <a:lnTo>
                    <a:pt x="10" y="159"/>
                  </a:lnTo>
                  <a:lnTo>
                    <a:pt x="7" y="165"/>
                  </a:lnTo>
                  <a:lnTo>
                    <a:pt x="3" y="173"/>
                  </a:lnTo>
                  <a:lnTo>
                    <a:pt x="2" y="179"/>
                  </a:lnTo>
                  <a:lnTo>
                    <a:pt x="1" y="187"/>
                  </a:lnTo>
                  <a:lnTo>
                    <a:pt x="0" y="195"/>
                  </a:lnTo>
                  <a:lnTo>
                    <a:pt x="0" y="435"/>
                  </a:lnTo>
                  <a:lnTo>
                    <a:pt x="1" y="443"/>
                  </a:lnTo>
                  <a:lnTo>
                    <a:pt x="2" y="450"/>
                  </a:lnTo>
                  <a:lnTo>
                    <a:pt x="3" y="458"/>
                  </a:lnTo>
                  <a:lnTo>
                    <a:pt x="7" y="464"/>
                  </a:lnTo>
                  <a:lnTo>
                    <a:pt x="10" y="471"/>
                  </a:lnTo>
                  <a:lnTo>
                    <a:pt x="13" y="477"/>
                  </a:lnTo>
                  <a:lnTo>
                    <a:pt x="17" y="483"/>
                  </a:lnTo>
                  <a:lnTo>
                    <a:pt x="23" y="488"/>
                  </a:lnTo>
                  <a:lnTo>
                    <a:pt x="28" y="493"/>
                  </a:lnTo>
                  <a:lnTo>
                    <a:pt x="33" y="498"/>
                  </a:lnTo>
                  <a:lnTo>
                    <a:pt x="40" y="501"/>
                  </a:lnTo>
                  <a:lnTo>
                    <a:pt x="46" y="504"/>
                  </a:lnTo>
                  <a:lnTo>
                    <a:pt x="54" y="507"/>
                  </a:lnTo>
                  <a:lnTo>
                    <a:pt x="60" y="509"/>
                  </a:lnTo>
                  <a:lnTo>
                    <a:pt x="68" y="510"/>
                  </a:lnTo>
                  <a:lnTo>
                    <a:pt x="75"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7" name="Freeform 51">
              <a:extLst>
                <a:ext uri="{FF2B5EF4-FFF2-40B4-BE49-F238E27FC236}">
                  <a16:creationId xmlns:a16="http://schemas.microsoft.com/office/drawing/2014/main" id="{0DBEFCC3-CD1A-417A-9C2F-EE1B3ABE5286}"/>
                </a:ext>
              </a:extLst>
            </p:cNvPr>
            <p:cNvSpPr>
              <a:spLocks/>
            </p:cNvSpPr>
            <p:nvPr/>
          </p:nvSpPr>
          <p:spPr bwMode="auto">
            <a:xfrm>
              <a:off x="8783638" y="1457008"/>
              <a:ext cx="133350" cy="9525"/>
            </a:xfrm>
            <a:custGeom>
              <a:avLst/>
              <a:gdLst>
                <a:gd name="T0" fmla="*/ 15 w 420"/>
                <a:gd name="T1" fmla="*/ 30 h 30"/>
                <a:gd name="T2" fmla="*/ 405 w 420"/>
                <a:gd name="T3" fmla="*/ 30 h 30"/>
                <a:gd name="T4" fmla="*/ 408 w 420"/>
                <a:gd name="T5" fmla="*/ 29 h 30"/>
                <a:gd name="T6" fmla="*/ 410 w 420"/>
                <a:gd name="T7" fmla="*/ 29 h 30"/>
                <a:gd name="T8" fmla="*/ 413 w 420"/>
                <a:gd name="T9" fmla="*/ 27 h 30"/>
                <a:gd name="T10" fmla="*/ 415 w 420"/>
                <a:gd name="T11" fmla="*/ 26 h 30"/>
                <a:gd name="T12" fmla="*/ 417 w 420"/>
                <a:gd name="T13" fmla="*/ 23 h 30"/>
                <a:gd name="T14" fmla="*/ 418 w 420"/>
                <a:gd name="T15" fmla="*/ 21 h 30"/>
                <a:gd name="T16" fmla="*/ 420 w 420"/>
                <a:gd name="T17" fmla="*/ 17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2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2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7 h 30"/>
                <a:gd name="T56" fmla="*/ 1 w 420"/>
                <a:gd name="T57" fmla="*/ 21 h 30"/>
                <a:gd name="T58" fmla="*/ 2 w 420"/>
                <a:gd name="T59" fmla="*/ 23 h 30"/>
                <a:gd name="T60" fmla="*/ 5 w 420"/>
                <a:gd name="T61" fmla="*/ 26 h 30"/>
                <a:gd name="T62" fmla="*/ 7 w 420"/>
                <a:gd name="T63" fmla="*/ 27 h 30"/>
                <a:gd name="T64" fmla="*/ 9 w 420"/>
                <a:gd name="T65" fmla="*/ 29 h 30"/>
                <a:gd name="T66" fmla="*/ 12 w 420"/>
                <a:gd name="T67" fmla="*/ 29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29"/>
                  </a:lnTo>
                  <a:lnTo>
                    <a:pt x="410" y="29"/>
                  </a:lnTo>
                  <a:lnTo>
                    <a:pt x="413" y="27"/>
                  </a:lnTo>
                  <a:lnTo>
                    <a:pt x="415" y="26"/>
                  </a:lnTo>
                  <a:lnTo>
                    <a:pt x="417" y="23"/>
                  </a:lnTo>
                  <a:lnTo>
                    <a:pt x="418" y="21"/>
                  </a:lnTo>
                  <a:lnTo>
                    <a:pt x="420" y="17"/>
                  </a:lnTo>
                  <a:lnTo>
                    <a:pt x="420" y="15"/>
                  </a:lnTo>
                  <a:lnTo>
                    <a:pt x="420" y="12"/>
                  </a:lnTo>
                  <a:lnTo>
                    <a:pt x="418" y="9"/>
                  </a:lnTo>
                  <a:lnTo>
                    <a:pt x="417" y="7"/>
                  </a:lnTo>
                  <a:lnTo>
                    <a:pt x="415" y="5"/>
                  </a:lnTo>
                  <a:lnTo>
                    <a:pt x="413" y="2"/>
                  </a:lnTo>
                  <a:lnTo>
                    <a:pt x="410" y="1"/>
                  </a:lnTo>
                  <a:lnTo>
                    <a:pt x="408" y="0"/>
                  </a:lnTo>
                  <a:lnTo>
                    <a:pt x="405" y="0"/>
                  </a:lnTo>
                  <a:lnTo>
                    <a:pt x="15" y="0"/>
                  </a:lnTo>
                  <a:lnTo>
                    <a:pt x="12" y="0"/>
                  </a:lnTo>
                  <a:lnTo>
                    <a:pt x="9" y="1"/>
                  </a:lnTo>
                  <a:lnTo>
                    <a:pt x="7" y="2"/>
                  </a:lnTo>
                  <a:lnTo>
                    <a:pt x="5" y="5"/>
                  </a:lnTo>
                  <a:lnTo>
                    <a:pt x="2" y="7"/>
                  </a:lnTo>
                  <a:lnTo>
                    <a:pt x="1" y="9"/>
                  </a:lnTo>
                  <a:lnTo>
                    <a:pt x="0" y="12"/>
                  </a:lnTo>
                  <a:lnTo>
                    <a:pt x="0" y="15"/>
                  </a:lnTo>
                  <a:lnTo>
                    <a:pt x="0" y="17"/>
                  </a:lnTo>
                  <a:lnTo>
                    <a:pt x="1" y="21"/>
                  </a:lnTo>
                  <a:lnTo>
                    <a:pt x="2" y="23"/>
                  </a:lnTo>
                  <a:lnTo>
                    <a:pt x="5" y="26"/>
                  </a:lnTo>
                  <a:lnTo>
                    <a:pt x="7"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8" name="Freeform 52">
              <a:extLst>
                <a:ext uri="{FF2B5EF4-FFF2-40B4-BE49-F238E27FC236}">
                  <a16:creationId xmlns:a16="http://schemas.microsoft.com/office/drawing/2014/main" id="{B48A76DC-95C0-4C90-82A8-3D242BBA682E}"/>
                </a:ext>
              </a:extLst>
            </p:cNvPr>
            <p:cNvSpPr>
              <a:spLocks/>
            </p:cNvSpPr>
            <p:nvPr/>
          </p:nvSpPr>
          <p:spPr bwMode="auto">
            <a:xfrm>
              <a:off x="8783638" y="1485583"/>
              <a:ext cx="133350" cy="9525"/>
            </a:xfrm>
            <a:custGeom>
              <a:avLst/>
              <a:gdLst>
                <a:gd name="T0" fmla="*/ 15 w 420"/>
                <a:gd name="T1" fmla="*/ 30 h 30"/>
                <a:gd name="T2" fmla="*/ 405 w 420"/>
                <a:gd name="T3" fmla="*/ 30 h 30"/>
                <a:gd name="T4" fmla="*/ 408 w 420"/>
                <a:gd name="T5" fmla="*/ 29 h 30"/>
                <a:gd name="T6" fmla="*/ 410 w 420"/>
                <a:gd name="T7" fmla="*/ 29 h 30"/>
                <a:gd name="T8" fmla="*/ 413 w 420"/>
                <a:gd name="T9" fmla="*/ 27 h 30"/>
                <a:gd name="T10" fmla="*/ 415 w 420"/>
                <a:gd name="T11" fmla="*/ 26 h 30"/>
                <a:gd name="T12" fmla="*/ 417 w 420"/>
                <a:gd name="T13" fmla="*/ 24 h 30"/>
                <a:gd name="T14" fmla="*/ 418 w 420"/>
                <a:gd name="T15" fmla="*/ 21 h 30"/>
                <a:gd name="T16" fmla="*/ 420 w 420"/>
                <a:gd name="T17" fmla="*/ 19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2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2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9 h 30"/>
                <a:gd name="T56" fmla="*/ 1 w 420"/>
                <a:gd name="T57" fmla="*/ 21 h 30"/>
                <a:gd name="T58" fmla="*/ 2 w 420"/>
                <a:gd name="T59" fmla="*/ 24 h 30"/>
                <a:gd name="T60" fmla="*/ 5 w 420"/>
                <a:gd name="T61" fmla="*/ 26 h 30"/>
                <a:gd name="T62" fmla="*/ 7 w 420"/>
                <a:gd name="T63" fmla="*/ 27 h 30"/>
                <a:gd name="T64" fmla="*/ 9 w 420"/>
                <a:gd name="T65" fmla="*/ 29 h 30"/>
                <a:gd name="T66" fmla="*/ 12 w 420"/>
                <a:gd name="T67" fmla="*/ 29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29"/>
                  </a:lnTo>
                  <a:lnTo>
                    <a:pt x="410" y="29"/>
                  </a:lnTo>
                  <a:lnTo>
                    <a:pt x="413" y="27"/>
                  </a:lnTo>
                  <a:lnTo>
                    <a:pt x="415" y="26"/>
                  </a:lnTo>
                  <a:lnTo>
                    <a:pt x="417" y="24"/>
                  </a:lnTo>
                  <a:lnTo>
                    <a:pt x="418" y="21"/>
                  </a:lnTo>
                  <a:lnTo>
                    <a:pt x="420" y="19"/>
                  </a:lnTo>
                  <a:lnTo>
                    <a:pt x="420" y="15"/>
                  </a:lnTo>
                  <a:lnTo>
                    <a:pt x="420" y="12"/>
                  </a:lnTo>
                  <a:lnTo>
                    <a:pt x="418" y="9"/>
                  </a:lnTo>
                  <a:lnTo>
                    <a:pt x="417" y="7"/>
                  </a:lnTo>
                  <a:lnTo>
                    <a:pt x="415" y="5"/>
                  </a:lnTo>
                  <a:lnTo>
                    <a:pt x="413" y="2"/>
                  </a:lnTo>
                  <a:lnTo>
                    <a:pt x="410" y="1"/>
                  </a:lnTo>
                  <a:lnTo>
                    <a:pt x="408" y="0"/>
                  </a:lnTo>
                  <a:lnTo>
                    <a:pt x="405" y="0"/>
                  </a:lnTo>
                  <a:lnTo>
                    <a:pt x="15" y="0"/>
                  </a:lnTo>
                  <a:lnTo>
                    <a:pt x="12" y="0"/>
                  </a:lnTo>
                  <a:lnTo>
                    <a:pt x="9" y="1"/>
                  </a:lnTo>
                  <a:lnTo>
                    <a:pt x="7" y="2"/>
                  </a:lnTo>
                  <a:lnTo>
                    <a:pt x="5" y="5"/>
                  </a:lnTo>
                  <a:lnTo>
                    <a:pt x="2" y="7"/>
                  </a:lnTo>
                  <a:lnTo>
                    <a:pt x="1" y="9"/>
                  </a:lnTo>
                  <a:lnTo>
                    <a:pt x="0" y="12"/>
                  </a:lnTo>
                  <a:lnTo>
                    <a:pt x="0" y="15"/>
                  </a:lnTo>
                  <a:lnTo>
                    <a:pt x="0" y="19"/>
                  </a:lnTo>
                  <a:lnTo>
                    <a:pt x="1" y="21"/>
                  </a:lnTo>
                  <a:lnTo>
                    <a:pt x="2" y="24"/>
                  </a:lnTo>
                  <a:lnTo>
                    <a:pt x="5" y="26"/>
                  </a:lnTo>
                  <a:lnTo>
                    <a:pt x="7"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49" name="Freeform 53">
              <a:extLst>
                <a:ext uri="{FF2B5EF4-FFF2-40B4-BE49-F238E27FC236}">
                  <a16:creationId xmlns:a16="http://schemas.microsoft.com/office/drawing/2014/main" id="{BEEC7E02-1245-4F58-8B46-82E24938B6EA}"/>
                </a:ext>
              </a:extLst>
            </p:cNvPr>
            <p:cNvSpPr>
              <a:spLocks/>
            </p:cNvSpPr>
            <p:nvPr/>
          </p:nvSpPr>
          <p:spPr bwMode="auto">
            <a:xfrm>
              <a:off x="8783638" y="1514158"/>
              <a:ext cx="133350" cy="9525"/>
            </a:xfrm>
            <a:custGeom>
              <a:avLst/>
              <a:gdLst>
                <a:gd name="T0" fmla="*/ 15 w 420"/>
                <a:gd name="T1" fmla="*/ 30 h 30"/>
                <a:gd name="T2" fmla="*/ 405 w 420"/>
                <a:gd name="T3" fmla="*/ 30 h 30"/>
                <a:gd name="T4" fmla="*/ 408 w 420"/>
                <a:gd name="T5" fmla="*/ 30 h 30"/>
                <a:gd name="T6" fmla="*/ 410 w 420"/>
                <a:gd name="T7" fmla="*/ 29 h 30"/>
                <a:gd name="T8" fmla="*/ 413 w 420"/>
                <a:gd name="T9" fmla="*/ 27 h 30"/>
                <a:gd name="T10" fmla="*/ 415 w 420"/>
                <a:gd name="T11" fmla="*/ 26 h 30"/>
                <a:gd name="T12" fmla="*/ 417 w 420"/>
                <a:gd name="T13" fmla="*/ 24 h 30"/>
                <a:gd name="T14" fmla="*/ 418 w 420"/>
                <a:gd name="T15" fmla="*/ 21 h 30"/>
                <a:gd name="T16" fmla="*/ 420 w 420"/>
                <a:gd name="T17" fmla="*/ 19 h 30"/>
                <a:gd name="T18" fmla="*/ 420 w 420"/>
                <a:gd name="T19" fmla="*/ 15 h 30"/>
                <a:gd name="T20" fmla="*/ 420 w 420"/>
                <a:gd name="T21" fmla="*/ 12 h 30"/>
                <a:gd name="T22" fmla="*/ 418 w 420"/>
                <a:gd name="T23" fmla="*/ 9 h 30"/>
                <a:gd name="T24" fmla="*/ 417 w 420"/>
                <a:gd name="T25" fmla="*/ 7 h 30"/>
                <a:gd name="T26" fmla="*/ 415 w 420"/>
                <a:gd name="T27" fmla="*/ 5 h 30"/>
                <a:gd name="T28" fmla="*/ 413 w 420"/>
                <a:gd name="T29" fmla="*/ 3 h 30"/>
                <a:gd name="T30" fmla="*/ 410 w 420"/>
                <a:gd name="T31" fmla="*/ 1 h 30"/>
                <a:gd name="T32" fmla="*/ 408 w 420"/>
                <a:gd name="T33" fmla="*/ 0 h 30"/>
                <a:gd name="T34" fmla="*/ 405 w 420"/>
                <a:gd name="T35" fmla="*/ 0 h 30"/>
                <a:gd name="T36" fmla="*/ 15 w 420"/>
                <a:gd name="T37" fmla="*/ 0 h 30"/>
                <a:gd name="T38" fmla="*/ 12 w 420"/>
                <a:gd name="T39" fmla="*/ 0 h 30"/>
                <a:gd name="T40" fmla="*/ 9 w 420"/>
                <a:gd name="T41" fmla="*/ 1 h 30"/>
                <a:gd name="T42" fmla="*/ 7 w 420"/>
                <a:gd name="T43" fmla="*/ 3 h 30"/>
                <a:gd name="T44" fmla="*/ 5 w 420"/>
                <a:gd name="T45" fmla="*/ 5 h 30"/>
                <a:gd name="T46" fmla="*/ 2 w 420"/>
                <a:gd name="T47" fmla="*/ 7 h 30"/>
                <a:gd name="T48" fmla="*/ 1 w 420"/>
                <a:gd name="T49" fmla="*/ 9 h 30"/>
                <a:gd name="T50" fmla="*/ 0 w 420"/>
                <a:gd name="T51" fmla="*/ 12 h 30"/>
                <a:gd name="T52" fmla="*/ 0 w 420"/>
                <a:gd name="T53" fmla="*/ 15 h 30"/>
                <a:gd name="T54" fmla="*/ 0 w 420"/>
                <a:gd name="T55" fmla="*/ 19 h 30"/>
                <a:gd name="T56" fmla="*/ 1 w 420"/>
                <a:gd name="T57" fmla="*/ 21 h 30"/>
                <a:gd name="T58" fmla="*/ 2 w 420"/>
                <a:gd name="T59" fmla="*/ 24 h 30"/>
                <a:gd name="T60" fmla="*/ 5 w 420"/>
                <a:gd name="T61" fmla="*/ 26 h 30"/>
                <a:gd name="T62" fmla="*/ 7 w 420"/>
                <a:gd name="T63" fmla="*/ 27 h 30"/>
                <a:gd name="T64" fmla="*/ 9 w 420"/>
                <a:gd name="T65" fmla="*/ 29 h 30"/>
                <a:gd name="T66" fmla="*/ 12 w 420"/>
                <a:gd name="T67" fmla="*/ 30 h 30"/>
                <a:gd name="T68" fmla="*/ 15 w 4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15" y="30"/>
                  </a:moveTo>
                  <a:lnTo>
                    <a:pt x="405" y="30"/>
                  </a:lnTo>
                  <a:lnTo>
                    <a:pt x="408" y="30"/>
                  </a:lnTo>
                  <a:lnTo>
                    <a:pt x="410" y="29"/>
                  </a:lnTo>
                  <a:lnTo>
                    <a:pt x="413" y="27"/>
                  </a:lnTo>
                  <a:lnTo>
                    <a:pt x="415" y="26"/>
                  </a:lnTo>
                  <a:lnTo>
                    <a:pt x="417" y="24"/>
                  </a:lnTo>
                  <a:lnTo>
                    <a:pt x="418" y="21"/>
                  </a:lnTo>
                  <a:lnTo>
                    <a:pt x="420" y="19"/>
                  </a:lnTo>
                  <a:lnTo>
                    <a:pt x="420" y="15"/>
                  </a:lnTo>
                  <a:lnTo>
                    <a:pt x="420" y="12"/>
                  </a:lnTo>
                  <a:lnTo>
                    <a:pt x="418" y="9"/>
                  </a:lnTo>
                  <a:lnTo>
                    <a:pt x="417" y="7"/>
                  </a:lnTo>
                  <a:lnTo>
                    <a:pt x="415" y="5"/>
                  </a:lnTo>
                  <a:lnTo>
                    <a:pt x="413" y="3"/>
                  </a:lnTo>
                  <a:lnTo>
                    <a:pt x="410" y="1"/>
                  </a:lnTo>
                  <a:lnTo>
                    <a:pt x="408" y="0"/>
                  </a:lnTo>
                  <a:lnTo>
                    <a:pt x="405" y="0"/>
                  </a:lnTo>
                  <a:lnTo>
                    <a:pt x="15" y="0"/>
                  </a:lnTo>
                  <a:lnTo>
                    <a:pt x="12" y="0"/>
                  </a:lnTo>
                  <a:lnTo>
                    <a:pt x="9" y="1"/>
                  </a:lnTo>
                  <a:lnTo>
                    <a:pt x="7" y="3"/>
                  </a:lnTo>
                  <a:lnTo>
                    <a:pt x="5" y="5"/>
                  </a:lnTo>
                  <a:lnTo>
                    <a:pt x="2" y="7"/>
                  </a:lnTo>
                  <a:lnTo>
                    <a:pt x="1" y="9"/>
                  </a:lnTo>
                  <a:lnTo>
                    <a:pt x="0" y="12"/>
                  </a:lnTo>
                  <a:lnTo>
                    <a:pt x="0" y="15"/>
                  </a:lnTo>
                  <a:lnTo>
                    <a:pt x="0" y="19"/>
                  </a:lnTo>
                  <a:lnTo>
                    <a:pt x="1" y="21"/>
                  </a:lnTo>
                  <a:lnTo>
                    <a:pt x="2" y="24"/>
                  </a:lnTo>
                  <a:lnTo>
                    <a:pt x="5" y="26"/>
                  </a:lnTo>
                  <a:lnTo>
                    <a:pt x="7" y="27"/>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50" name="Group 25">
            <a:extLst>
              <a:ext uri="{FF2B5EF4-FFF2-40B4-BE49-F238E27FC236}">
                <a16:creationId xmlns:a16="http://schemas.microsoft.com/office/drawing/2014/main" id="{E33F46E6-28CA-44C4-BC26-7CE3C8BCCC3D}"/>
              </a:ext>
            </a:extLst>
          </p:cNvPr>
          <p:cNvGrpSpPr>
            <a:grpSpLocks noChangeAspect="1"/>
          </p:cNvGrpSpPr>
          <p:nvPr/>
        </p:nvGrpSpPr>
        <p:grpSpPr>
          <a:xfrm>
            <a:off x="4007759" y="4340505"/>
            <a:ext cx="359006" cy="285619"/>
            <a:chOff x="9880600" y="1409383"/>
            <a:chExt cx="287338" cy="228600"/>
          </a:xfrm>
          <a:solidFill>
            <a:schemeClr val="bg1"/>
          </a:solidFill>
          <a:effectLst/>
        </p:grpSpPr>
        <p:sp>
          <p:nvSpPr>
            <p:cNvPr id="1651" name="Freeform 26">
              <a:extLst>
                <a:ext uri="{FF2B5EF4-FFF2-40B4-BE49-F238E27FC236}">
                  <a16:creationId xmlns:a16="http://schemas.microsoft.com/office/drawing/2014/main" id="{00AAA931-462E-4C83-B31D-4A3C21BD77AB}"/>
                </a:ext>
              </a:extLst>
            </p:cNvPr>
            <p:cNvSpPr>
              <a:spLocks/>
            </p:cNvSpPr>
            <p:nvPr/>
          </p:nvSpPr>
          <p:spPr bwMode="auto">
            <a:xfrm>
              <a:off x="9880600" y="1471295"/>
              <a:ext cx="287338" cy="166688"/>
            </a:xfrm>
            <a:custGeom>
              <a:avLst/>
              <a:gdLst>
                <a:gd name="T0" fmla="*/ 720 w 902"/>
                <a:gd name="T1" fmla="*/ 12 h 526"/>
                <a:gd name="T2" fmla="*/ 717 w 902"/>
                <a:gd name="T3" fmla="*/ 5 h 526"/>
                <a:gd name="T4" fmla="*/ 710 w 902"/>
                <a:gd name="T5" fmla="*/ 0 h 526"/>
                <a:gd name="T6" fmla="*/ 700 w 902"/>
                <a:gd name="T7" fmla="*/ 1 h 526"/>
                <a:gd name="T8" fmla="*/ 694 w 902"/>
                <a:gd name="T9" fmla="*/ 7 h 526"/>
                <a:gd name="T10" fmla="*/ 692 w 902"/>
                <a:gd name="T11" fmla="*/ 15 h 526"/>
                <a:gd name="T12" fmla="*/ 722 w 902"/>
                <a:gd name="T13" fmla="*/ 105 h 526"/>
                <a:gd name="T14" fmla="*/ 767 w 902"/>
                <a:gd name="T15" fmla="*/ 117 h 526"/>
                <a:gd name="T16" fmla="*/ 807 w 902"/>
                <a:gd name="T17" fmla="*/ 142 h 526"/>
                <a:gd name="T18" fmla="*/ 841 w 902"/>
                <a:gd name="T19" fmla="*/ 180 h 526"/>
                <a:gd name="T20" fmla="*/ 863 w 902"/>
                <a:gd name="T21" fmla="*/ 234 h 526"/>
                <a:gd name="T22" fmla="*/ 872 w 902"/>
                <a:gd name="T23" fmla="*/ 303 h 526"/>
                <a:gd name="T24" fmla="*/ 863 w 902"/>
                <a:gd name="T25" fmla="*/ 360 h 526"/>
                <a:gd name="T26" fmla="*/ 838 w 902"/>
                <a:gd name="T27" fmla="*/ 411 h 526"/>
                <a:gd name="T28" fmla="*/ 801 w 902"/>
                <a:gd name="T29" fmla="*/ 452 h 526"/>
                <a:gd name="T30" fmla="*/ 753 w 902"/>
                <a:gd name="T31" fmla="*/ 481 h 526"/>
                <a:gd name="T32" fmla="*/ 696 w 902"/>
                <a:gd name="T33" fmla="*/ 495 h 526"/>
                <a:gd name="T34" fmla="*/ 206 w 902"/>
                <a:gd name="T35" fmla="*/ 495 h 526"/>
                <a:gd name="T36" fmla="*/ 149 w 902"/>
                <a:gd name="T37" fmla="*/ 481 h 526"/>
                <a:gd name="T38" fmla="*/ 101 w 902"/>
                <a:gd name="T39" fmla="*/ 452 h 526"/>
                <a:gd name="T40" fmla="*/ 63 w 902"/>
                <a:gd name="T41" fmla="*/ 411 h 526"/>
                <a:gd name="T42" fmla="*/ 39 w 902"/>
                <a:gd name="T43" fmla="*/ 360 h 526"/>
                <a:gd name="T44" fmla="*/ 30 w 902"/>
                <a:gd name="T45" fmla="*/ 303 h 526"/>
                <a:gd name="T46" fmla="*/ 39 w 902"/>
                <a:gd name="T47" fmla="*/ 234 h 526"/>
                <a:gd name="T48" fmla="*/ 60 w 902"/>
                <a:gd name="T49" fmla="*/ 180 h 526"/>
                <a:gd name="T50" fmla="*/ 93 w 902"/>
                <a:gd name="T51" fmla="*/ 142 h 526"/>
                <a:gd name="T52" fmla="*/ 135 w 902"/>
                <a:gd name="T53" fmla="*/ 117 h 526"/>
                <a:gd name="T54" fmla="*/ 180 w 902"/>
                <a:gd name="T55" fmla="*/ 105 h 526"/>
                <a:gd name="T56" fmla="*/ 210 w 902"/>
                <a:gd name="T57" fmla="*/ 15 h 526"/>
                <a:gd name="T58" fmla="*/ 208 w 902"/>
                <a:gd name="T59" fmla="*/ 7 h 526"/>
                <a:gd name="T60" fmla="*/ 202 w 902"/>
                <a:gd name="T61" fmla="*/ 1 h 526"/>
                <a:gd name="T62" fmla="*/ 192 w 902"/>
                <a:gd name="T63" fmla="*/ 0 h 526"/>
                <a:gd name="T64" fmla="*/ 184 w 902"/>
                <a:gd name="T65" fmla="*/ 5 h 526"/>
                <a:gd name="T66" fmla="*/ 180 w 902"/>
                <a:gd name="T67" fmla="*/ 12 h 526"/>
                <a:gd name="T68" fmla="*/ 161 w 902"/>
                <a:gd name="T69" fmla="*/ 77 h 526"/>
                <a:gd name="T70" fmla="*/ 107 w 902"/>
                <a:gd name="T71" fmla="*/ 97 h 526"/>
                <a:gd name="T72" fmla="*/ 62 w 902"/>
                <a:gd name="T73" fmla="*/ 130 h 526"/>
                <a:gd name="T74" fmla="*/ 29 w 902"/>
                <a:gd name="T75" fmla="*/ 176 h 526"/>
                <a:gd name="T76" fmla="*/ 7 w 902"/>
                <a:gd name="T77" fmla="*/ 235 h 526"/>
                <a:gd name="T78" fmla="*/ 0 w 902"/>
                <a:gd name="T79" fmla="*/ 303 h 526"/>
                <a:gd name="T80" fmla="*/ 2 w 902"/>
                <a:gd name="T81" fmla="*/ 337 h 526"/>
                <a:gd name="T82" fmla="*/ 10 w 902"/>
                <a:gd name="T83" fmla="*/ 369 h 526"/>
                <a:gd name="T84" fmla="*/ 27 w 902"/>
                <a:gd name="T85" fmla="*/ 409 h 526"/>
                <a:gd name="T86" fmla="*/ 66 w 902"/>
                <a:gd name="T87" fmla="*/ 460 h 526"/>
                <a:gd name="T88" fmla="*/ 118 w 902"/>
                <a:gd name="T89" fmla="*/ 499 h 526"/>
                <a:gd name="T90" fmla="*/ 159 w 902"/>
                <a:gd name="T91" fmla="*/ 516 h 526"/>
                <a:gd name="T92" fmla="*/ 191 w 902"/>
                <a:gd name="T93" fmla="*/ 524 h 526"/>
                <a:gd name="T94" fmla="*/ 225 w 902"/>
                <a:gd name="T95" fmla="*/ 526 h 526"/>
                <a:gd name="T96" fmla="*/ 699 w 902"/>
                <a:gd name="T97" fmla="*/ 525 h 526"/>
                <a:gd name="T98" fmla="*/ 732 w 902"/>
                <a:gd name="T99" fmla="*/ 519 h 526"/>
                <a:gd name="T100" fmla="*/ 763 w 902"/>
                <a:gd name="T101" fmla="*/ 509 h 526"/>
                <a:gd name="T102" fmla="*/ 819 w 902"/>
                <a:gd name="T103" fmla="*/ 475 h 526"/>
                <a:gd name="T104" fmla="*/ 863 w 902"/>
                <a:gd name="T105" fmla="*/ 427 h 526"/>
                <a:gd name="T106" fmla="*/ 888 w 902"/>
                <a:gd name="T107" fmla="*/ 379 h 526"/>
                <a:gd name="T108" fmla="*/ 897 w 902"/>
                <a:gd name="T109" fmla="*/ 348 h 526"/>
                <a:gd name="T110" fmla="*/ 902 w 902"/>
                <a:gd name="T111" fmla="*/ 314 h 526"/>
                <a:gd name="T112" fmla="*/ 898 w 902"/>
                <a:gd name="T113" fmla="*/ 257 h 526"/>
                <a:gd name="T114" fmla="*/ 881 w 902"/>
                <a:gd name="T115" fmla="*/ 194 h 526"/>
                <a:gd name="T116" fmla="*/ 851 w 902"/>
                <a:gd name="T117" fmla="*/ 144 h 526"/>
                <a:gd name="T118" fmla="*/ 811 w 902"/>
                <a:gd name="T119" fmla="*/ 105 h 526"/>
                <a:gd name="T120" fmla="*/ 760 w 902"/>
                <a:gd name="T121" fmla="*/ 82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526">
                  <a:moveTo>
                    <a:pt x="722" y="75"/>
                  </a:moveTo>
                  <a:lnTo>
                    <a:pt x="722" y="15"/>
                  </a:lnTo>
                  <a:lnTo>
                    <a:pt x="720" y="12"/>
                  </a:lnTo>
                  <a:lnTo>
                    <a:pt x="720" y="9"/>
                  </a:lnTo>
                  <a:lnTo>
                    <a:pt x="718" y="7"/>
                  </a:lnTo>
                  <a:lnTo>
                    <a:pt x="717" y="5"/>
                  </a:lnTo>
                  <a:lnTo>
                    <a:pt x="715" y="2"/>
                  </a:lnTo>
                  <a:lnTo>
                    <a:pt x="712" y="1"/>
                  </a:lnTo>
                  <a:lnTo>
                    <a:pt x="710" y="0"/>
                  </a:lnTo>
                  <a:lnTo>
                    <a:pt x="707" y="0"/>
                  </a:lnTo>
                  <a:lnTo>
                    <a:pt x="703" y="0"/>
                  </a:lnTo>
                  <a:lnTo>
                    <a:pt x="700" y="1"/>
                  </a:lnTo>
                  <a:lnTo>
                    <a:pt x="698" y="2"/>
                  </a:lnTo>
                  <a:lnTo>
                    <a:pt x="696" y="5"/>
                  </a:lnTo>
                  <a:lnTo>
                    <a:pt x="694" y="7"/>
                  </a:lnTo>
                  <a:lnTo>
                    <a:pt x="693" y="9"/>
                  </a:lnTo>
                  <a:lnTo>
                    <a:pt x="692" y="12"/>
                  </a:lnTo>
                  <a:lnTo>
                    <a:pt x="692" y="15"/>
                  </a:lnTo>
                  <a:lnTo>
                    <a:pt x="692" y="105"/>
                  </a:lnTo>
                  <a:lnTo>
                    <a:pt x="707" y="105"/>
                  </a:lnTo>
                  <a:lnTo>
                    <a:pt x="722" y="105"/>
                  </a:lnTo>
                  <a:lnTo>
                    <a:pt x="737" y="108"/>
                  </a:lnTo>
                  <a:lnTo>
                    <a:pt x="752" y="112"/>
                  </a:lnTo>
                  <a:lnTo>
                    <a:pt x="767" y="117"/>
                  </a:lnTo>
                  <a:lnTo>
                    <a:pt x="782" y="124"/>
                  </a:lnTo>
                  <a:lnTo>
                    <a:pt x="794" y="132"/>
                  </a:lnTo>
                  <a:lnTo>
                    <a:pt x="807" y="142"/>
                  </a:lnTo>
                  <a:lnTo>
                    <a:pt x="820" y="153"/>
                  </a:lnTo>
                  <a:lnTo>
                    <a:pt x="831" y="165"/>
                  </a:lnTo>
                  <a:lnTo>
                    <a:pt x="841" y="180"/>
                  </a:lnTo>
                  <a:lnTo>
                    <a:pt x="850" y="197"/>
                  </a:lnTo>
                  <a:lnTo>
                    <a:pt x="858" y="214"/>
                  </a:lnTo>
                  <a:lnTo>
                    <a:pt x="863" y="234"/>
                  </a:lnTo>
                  <a:lnTo>
                    <a:pt x="867" y="254"/>
                  </a:lnTo>
                  <a:lnTo>
                    <a:pt x="871" y="278"/>
                  </a:lnTo>
                  <a:lnTo>
                    <a:pt x="872" y="303"/>
                  </a:lnTo>
                  <a:lnTo>
                    <a:pt x="871" y="322"/>
                  </a:lnTo>
                  <a:lnTo>
                    <a:pt x="867" y="341"/>
                  </a:lnTo>
                  <a:lnTo>
                    <a:pt x="863" y="360"/>
                  </a:lnTo>
                  <a:lnTo>
                    <a:pt x="857" y="378"/>
                  </a:lnTo>
                  <a:lnTo>
                    <a:pt x="848" y="395"/>
                  </a:lnTo>
                  <a:lnTo>
                    <a:pt x="838" y="411"/>
                  </a:lnTo>
                  <a:lnTo>
                    <a:pt x="827" y="426"/>
                  </a:lnTo>
                  <a:lnTo>
                    <a:pt x="815" y="439"/>
                  </a:lnTo>
                  <a:lnTo>
                    <a:pt x="801" y="452"/>
                  </a:lnTo>
                  <a:lnTo>
                    <a:pt x="786" y="462"/>
                  </a:lnTo>
                  <a:lnTo>
                    <a:pt x="770" y="472"/>
                  </a:lnTo>
                  <a:lnTo>
                    <a:pt x="753" y="481"/>
                  </a:lnTo>
                  <a:lnTo>
                    <a:pt x="734" y="487"/>
                  </a:lnTo>
                  <a:lnTo>
                    <a:pt x="715" y="492"/>
                  </a:lnTo>
                  <a:lnTo>
                    <a:pt x="696" y="495"/>
                  </a:lnTo>
                  <a:lnTo>
                    <a:pt x="677" y="496"/>
                  </a:lnTo>
                  <a:lnTo>
                    <a:pt x="225" y="496"/>
                  </a:lnTo>
                  <a:lnTo>
                    <a:pt x="206" y="495"/>
                  </a:lnTo>
                  <a:lnTo>
                    <a:pt x="185" y="492"/>
                  </a:lnTo>
                  <a:lnTo>
                    <a:pt x="167" y="487"/>
                  </a:lnTo>
                  <a:lnTo>
                    <a:pt x="149" y="481"/>
                  </a:lnTo>
                  <a:lnTo>
                    <a:pt x="132" y="472"/>
                  </a:lnTo>
                  <a:lnTo>
                    <a:pt x="116" y="462"/>
                  </a:lnTo>
                  <a:lnTo>
                    <a:pt x="101" y="452"/>
                  </a:lnTo>
                  <a:lnTo>
                    <a:pt x="87" y="439"/>
                  </a:lnTo>
                  <a:lnTo>
                    <a:pt x="75" y="426"/>
                  </a:lnTo>
                  <a:lnTo>
                    <a:pt x="63" y="411"/>
                  </a:lnTo>
                  <a:lnTo>
                    <a:pt x="54" y="395"/>
                  </a:lnTo>
                  <a:lnTo>
                    <a:pt x="45" y="378"/>
                  </a:lnTo>
                  <a:lnTo>
                    <a:pt x="39" y="360"/>
                  </a:lnTo>
                  <a:lnTo>
                    <a:pt x="34" y="341"/>
                  </a:lnTo>
                  <a:lnTo>
                    <a:pt x="31" y="322"/>
                  </a:lnTo>
                  <a:lnTo>
                    <a:pt x="30" y="303"/>
                  </a:lnTo>
                  <a:lnTo>
                    <a:pt x="31" y="278"/>
                  </a:lnTo>
                  <a:lnTo>
                    <a:pt x="33" y="254"/>
                  </a:lnTo>
                  <a:lnTo>
                    <a:pt x="39" y="234"/>
                  </a:lnTo>
                  <a:lnTo>
                    <a:pt x="44" y="214"/>
                  </a:lnTo>
                  <a:lnTo>
                    <a:pt x="51" y="197"/>
                  </a:lnTo>
                  <a:lnTo>
                    <a:pt x="60" y="180"/>
                  </a:lnTo>
                  <a:lnTo>
                    <a:pt x="71" y="165"/>
                  </a:lnTo>
                  <a:lnTo>
                    <a:pt x="81" y="153"/>
                  </a:lnTo>
                  <a:lnTo>
                    <a:pt x="93" y="142"/>
                  </a:lnTo>
                  <a:lnTo>
                    <a:pt x="107" y="132"/>
                  </a:lnTo>
                  <a:lnTo>
                    <a:pt x="120" y="124"/>
                  </a:lnTo>
                  <a:lnTo>
                    <a:pt x="135" y="117"/>
                  </a:lnTo>
                  <a:lnTo>
                    <a:pt x="149" y="112"/>
                  </a:lnTo>
                  <a:lnTo>
                    <a:pt x="164" y="109"/>
                  </a:lnTo>
                  <a:lnTo>
                    <a:pt x="180" y="105"/>
                  </a:lnTo>
                  <a:lnTo>
                    <a:pt x="195" y="105"/>
                  </a:lnTo>
                  <a:lnTo>
                    <a:pt x="210" y="105"/>
                  </a:lnTo>
                  <a:lnTo>
                    <a:pt x="210" y="15"/>
                  </a:lnTo>
                  <a:lnTo>
                    <a:pt x="210" y="12"/>
                  </a:lnTo>
                  <a:lnTo>
                    <a:pt x="209" y="9"/>
                  </a:lnTo>
                  <a:lnTo>
                    <a:pt x="208" y="7"/>
                  </a:lnTo>
                  <a:lnTo>
                    <a:pt x="206" y="5"/>
                  </a:lnTo>
                  <a:lnTo>
                    <a:pt x="204" y="2"/>
                  </a:lnTo>
                  <a:lnTo>
                    <a:pt x="202" y="1"/>
                  </a:lnTo>
                  <a:lnTo>
                    <a:pt x="198" y="0"/>
                  </a:lnTo>
                  <a:lnTo>
                    <a:pt x="195" y="0"/>
                  </a:lnTo>
                  <a:lnTo>
                    <a:pt x="192" y="0"/>
                  </a:lnTo>
                  <a:lnTo>
                    <a:pt x="190" y="1"/>
                  </a:lnTo>
                  <a:lnTo>
                    <a:pt x="187" y="2"/>
                  </a:lnTo>
                  <a:lnTo>
                    <a:pt x="184" y="5"/>
                  </a:lnTo>
                  <a:lnTo>
                    <a:pt x="182" y="7"/>
                  </a:lnTo>
                  <a:lnTo>
                    <a:pt x="181" y="9"/>
                  </a:lnTo>
                  <a:lnTo>
                    <a:pt x="180" y="12"/>
                  </a:lnTo>
                  <a:lnTo>
                    <a:pt x="180" y="15"/>
                  </a:lnTo>
                  <a:lnTo>
                    <a:pt x="180" y="75"/>
                  </a:lnTo>
                  <a:lnTo>
                    <a:pt x="161" y="77"/>
                  </a:lnTo>
                  <a:lnTo>
                    <a:pt x="141" y="82"/>
                  </a:lnTo>
                  <a:lnTo>
                    <a:pt x="124" y="88"/>
                  </a:lnTo>
                  <a:lnTo>
                    <a:pt x="107" y="97"/>
                  </a:lnTo>
                  <a:lnTo>
                    <a:pt x="91" y="105"/>
                  </a:lnTo>
                  <a:lnTo>
                    <a:pt x="76" y="117"/>
                  </a:lnTo>
                  <a:lnTo>
                    <a:pt x="62" y="130"/>
                  </a:lnTo>
                  <a:lnTo>
                    <a:pt x="50" y="144"/>
                  </a:lnTo>
                  <a:lnTo>
                    <a:pt x="39" y="160"/>
                  </a:lnTo>
                  <a:lnTo>
                    <a:pt x="29" y="176"/>
                  </a:lnTo>
                  <a:lnTo>
                    <a:pt x="20" y="194"/>
                  </a:lnTo>
                  <a:lnTo>
                    <a:pt x="13" y="214"/>
                  </a:lnTo>
                  <a:lnTo>
                    <a:pt x="7" y="235"/>
                  </a:lnTo>
                  <a:lnTo>
                    <a:pt x="3" y="257"/>
                  </a:lnTo>
                  <a:lnTo>
                    <a:pt x="1" y="279"/>
                  </a:lnTo>
                  <a:lnTo>
                    <a:pt x="0" y="303"/>
                  </a:lnTo>
                  <a:lnTo>
                    <a:pt x="0" y="314"/>
                  </a:lnTo>
                  <a:lnTo>
                    <a:pt x="1" y="325"/>
                  </a:lnTo>
                  <a:lnTo>
                    <a:pt x="2" y="337"/>
                  </a:lnTo>
                  <a:lnTo>
                    <a:pt x="4" y="348"/>
                  </a:lnTo>
                  <a:lnTo>
                    <a:pt x="6" y="358"/>
                  </a:lnTo>
                  <a:lnTo>
                    <a:pt x="10" y="369"/>
                  </a:lnTo>
                  <a:lnTo>
                    <a:pt x="14" y="379"/>
                  </a:lnTo>
                  <a:lnTo>
                    <a:pt x="17" y="390"/>
                  </a:lnTo>
                  <a:lnTo>
                    <a:pt x="27" y="409"/>
                  </a:lnTo>
                  <a:lnTo>
                    <a:pt x="39" y="427"/>
                  </a:lnTo>
                  <a:lnTo>
                    <a:pt x="51" y="444"/>
                  </a:lnTo>
                  <a:lnTo>
                    <a:pt x="66" y="460"/>
                  </a:lnTo>
                  <a:lnTo>
                    <a:pt x="81" y="475"/>
                  </a:lnTo>
                  <a:lnTo>
                    <a:pt x="100" y="488"/>
                  </a:lnTo>
                  <a:lnTo>
                    <a:pt x="118" y="499"/>
                  </a:lnTo>
                  <a:lnTo>
                    <a:pt x="137" y="509"/>
                  </a:lnTo>
                  <a:lnTo>
                    <a:pt x="148" y="513"/>
                  </a:lnTo>
                  <a:lnTo>
                    <a:pt x="159" y="516"/>
                  </a:lnTo>
                  <a:lnTo>
                    <a:pt x="169" y="519"/>
                  </a:lnTo>
                  <a:lnTo>
                    <a:pt x="180" y="521"/>
                  </a:lnTo>
                  <a:lnTo>
                    <a:pt x="191" y="524"/>
                  </a:lnTo>
                  <a:lnTo>
                    <a:pt x="203" y="525"/>
                  </a:lnTo>
                  <a:lnTo>
                    <a:pt x="213" y="526"/>
                  </a:lnTo>
                  <a:lnTo>
                    <a:pt x="225" y="526"/>
                  </a:lnTo>
                  <a:lnTo>
                    <a:pt x="677" y="526"/>
                  </a:lnTo>
                  <a:lnTo>
                    <a:pt x="688" y="526"/>
                  </a:lnTo>
                  <a:lnTo>
                    <a:pt x="699" y="525"/>
                  </a:lnTo>
                  <a:lnTo>
                    <a:pt x="711" y="524"/>
                  </a:lnTo>
                  <a:lnTo>
                    <a:pt x="722" y="521"/>
                  </a:lnTo>
                  <a:lnTo>
                    <a:pt x="732" y="519"/>
                  </a:lnTo>
                  <a:lnTo>
                    <a:pt x="743" y="516"/>
                  </a:lnTo>
                  <a:lnTo>
                    <a:pt x="754" y="513"/>
                  </a:lnTo>
                  <a:lnTo>
                    <a:pt x="763" y="509"/>
                  </a:lnTo>
                  <a:lnTo>
                    <a:pt x="784" y="499"/>
                  </a:lnTo>
                  <a:lnTo>
                    <a:pt x="802" y="488"/>
                  </a:lnTo>
                  <a:lnTo>
                    <a:pt x="819" y="475"/>
                  </a:lnTo>
                  <a:lnTo>
                    <a:pt x="835" y="460"/>
                  </a:lnTo>
                  <a:lnTo>
                    <a:pt x="850" y="444"/>
                  </a:lnTo>
                  <a:lnTo>
                    <a:pt x="863" y="427"/>
                  </a:lnTo>
                  <a:lnTo>
                    <a:pt x="875" y="409"/>
                  </a:lnTo>
                  <a:lnTo>
                    <a:pt x="883" y="390"/>
                  </a:lnTo>
                  <a:lnTo>
                    <a:pt x="888" y="379"/>
                  </a:lnTo>
                  <a:lnTo>
                    <a:pt x="892" y="369"/>
                  </a:lnTo>
                  <a:lnTo>
                    <a:pt x="894" y="358"/>
                  </a:lnTo>
                  <a:lnTo>
                    <a:pt x="897" y="348"/>
                  </a:lnTo>
                  <a:lnTo>
                    <a:pt x="900" y="337"/>
                  </a:lnTo>
                  <a:lnTo>
                    <a:pt x="901" y="325"/>
                  </a:lnTo>
                  <a:lnTo>
                    <a:pt x="902" y="314"/>
                  </a:lnTo>
                  <a:lnTo>
                    <a:pt x="902" y="303"/>
                  </a:lnTo>
                  <a:lnTo>
                    <a:pt x="901" y="279"/>
                  </a:lnTo>
                  <a:lnTo>
                    <a:pt x="898" y="257"/>
                  </a:lnTo>
                  <a:lnTo>
                    <a:pt x="894" y="235"/>
                  </a:lnTo>
                  <a:lnTo>
                    <a:pt x="889" y="214"/>
                  </a:lnTo>
                  <a:lnTo>
                    <a:pt x="881" y="194"/>
                  </a:lnTo>
                  <a:lnTo>
                    <a:pt x="873" y="176"/>
                  </a:lnTo>
                  <a:lnTo>
                    <a:pt x="863" y="160"/>
                  </a:lnTo>
                  <a:lnTo>
                    <a:pt x="851" y="144"/>
                  </a:lnTo>
                  <a:lnTo>
                    <a:pt x="839" y="130"/>
                  </a:lnTo>
                  <a:lnTo>
                    <a:pt x="826" y="117"/>
                  </a:lnTo>
                  <a:lnTo>
                    <a:pt x="811" y="105"/>
                  </a:lnTo>
                  <a:lnTo>
                    <a:pt x="794" y="97"/>
                  </a:lnTo>
                  <a:lnTo>
                    <a:pt x="777" y="88"/>
                  </a:lnTo>
                  <a:lnTo>
                    <a:pt x="760" y="82"/>
                  </a:lnTo>
                  <a:lnTo>
                    <a:pt x="741" y="77"/>
                  </a:lnTo>
                  <a:lnTo>
                    <a:pt x="7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52" name="Freeform 27">
              <a:extLst>
                <a:ext uri="{FF2B5EF4-FFF2-40B4-BE49-F238E27FC236}">
                  <a16:creationId xmlns:a16="http://schemas.microsoft.com/office/drawing/2014/main" id="{B4BB474B-7CD9-48E9-A434-5E474A3C894E}"/>
                </a:ext>
              </a:extLst>
            </p:cNvPr>
            <p:cNvSpPr>
              <a:spLocks noEditPoints="1"/>
            </p:cNvSpPr>
            <p:nvPr/>
          </p:nvSpPr>
          <p:spPr bwMode="auto">
            <a:xfrm>
              <a:off x="9918700" y="1409383"/>
              <a:ext cx="211138" cy="73025"/>
            </a:xfrm>
            <a:custGeom>
              <a:avLst/>
              <a:gdLst>
                <a:gd name="T0" fmla="*/ 203 w 662"/>
                <a:gd name="T1" fmla="*/ 50 h 231"/>
                <a:gd name="T2" fmla="*/ 232 w 662"/>
                <a:gd name="T3" fmla="*/ 31 h 231"/>
                <a:gd name="T4" fmla="*/ 266 w 662"/>
                <a:gd name="T5" fmla="*/ 39 h 231"/>
                <a:gd name="T6" fmla="*/ 285 w 662"/>
                <a:gd name="T7" fmla="*/ 67 h 231"/>
                <a:gd name="T8" fmla="*/ 278 w 662"/>
                <a:gd name="T9" fmla="*/ 101 h 231"/>
                <a:gd name="T10" fmla="*/ 250 w 662"/>
                <a:gd name="T11" fmla="*/ 120 h 231"/>
                <a:gd name="T12" fmla="*/ 216 w 662"/>
                <a:gd name="T13" fmla="*/ 113 h 231"/>
                <a:gd name="T14" fmla="*/ 196 w 662"/>
                <a:gd name="T15" fmla="*/ 85 h 231"/>
                <a:gd name="T16" fmla="*/ 365 w 662"/>
                <a:gd name="T17" fmla="*/ 58 h 231"/>
                <a:gd name="T18" fmla="*/ 389 w 662"/>
                <a:gd name="T19" fmla="*/ 34 h 231"/>
                <a:gd name="T20" fmla="*/ 424 w 662"/>
                <a:gd name="T21" fmla="*/ 34 h 231"/>
                <a:gd name="T22" fmla="*/ 448 w 662"/>
                <a:gd name="T23" fmla="*/ 58 h 231"/>
                <a:gd name="T24" fmla="*/ 448 w 662"/>
                <a:gd name="T25" fmla="*/ 93 h 231"/>
                <a:gd name="T26" fmla="*/ 424 w 662"/>
                <a:gd name="T27" fmla="*/ 117 h 231"/>
                <a:gd name="T28" fmla="*/ 389 w 662"/>
                <a:gd name="T29" fmla="*/ 117 h 231"/>
                <a:gd name="T30" fmla="*/ 365 w 662"/>
                <a:gd name="T31" fmla="*/ 93 h 231"/>
                <a:gd name="T32" fmla="*/ 18 w 662"/>
                <a:gd name="T33" fmla="*/ 231 h 231"/>
                <a:gd name="T34" fmla="*/ 28 w 662"/>
                <a:gd name="T35" fmla="*/ 224 h 231"/>
                <a:gd name="T36" fmla="*/ 30 w 662"/>
                <a:gd name="T37" fmla="*/ 181 h 231"/>
                <a:gd name="T38" fmla="*/ 39 w 662"/>
                <a:gd name="T39" fmla="*/ 163 h 231"/>
                <a:gd name="T40" fmla="*/ 75 w 662"/>
                <a:gd name="T41" fmla="*/ 151 h 231"/>
                <a:gd name="T42" fmla="*/ 617 w 662"/>
                <a:gd name="T43" fmla="*/ 159 h 231"/>
                <a:gd name="T44" fmla="*/ 630 w 662"/>
                <a:gd name="T45" fmla="*/ 178 h 231"/>
                <a:gd name="T46" fmla="*/ 633 w 662"/>
                <a:gd name="T47" fmla="*/ 217 h 231"/>
                <a:gd name="T48" fmla="*/ 640 w 662"/>
                <a:gd name="T49" fmla="*/ 225 h 231"/>
                <a:gd name="T50" fmla="*/ 652 w 662"/>
                <a:gd name="T51" fmla="*/ 225 h 231"/>
                <a:gd name="T52" fmla="*/ 661 w 662"/>
                <a:gd name="T53" fmla="*/ 217 h 231"/>
                <a:gd name="T54" fmla="*/ 661 w 662"/>
                <a:gd name="T55" fmla="*/ 172 h 231"/>
                <a:gd name="T56" fmla="*/ 648 w 662"/>
                <a:gd name="T57" fmla="*/ 146 h 231"/>
                <a:gd name="T58" fmla="*/ 626 w 662"/>
                <a:gd name="T59" fmla="*/ 130 h 231"/>
                <a:gd name="T60" fmla="*/ 596 w 662"/>
                <a:gd name="T61" fmla="*/ 121 h 231"/>
                <a:gd name="T62" fmla="*/ 477 w 662"/>
                <a:gd name="T63" fmla="*/ 100 h 231"/>
                <a:gd name="T64" fmla="*/ 480 w 662"/>
                <a:gd name="T65" fmla="*/ 60 h 231"/>
                <a:gd name="T66" fmla="*/ 469 w 662"/>
                <a:gd name="T67" fmla="*/ 33 h 231"/>
                <a:gd name="T68" fmla="*/ 448 w 662"/>
                <a:gd name="T69" fmla="*/ 13 h 231"/>
                <a:gd name="T70" fmla="*/ 421 w 662"/>
                <a:gd name="T71" fmla="*/ 2 h 231"/>
                <a:gd name="T72" fmla="*/ 391 w 662"/>
                <a:gd name="T73" fmla="*/ 2 h 231"/>
                <a:gd name="T74" fmla="*/ 365 w 662"/>
                <a:gd name="T75" fmla="*/ 13 h 231"/>
                <a:gd name="T76" fmla="*/ 344 w 662"/>
                <a:gd name="T77" fmla="*/ 33 h 231"/>
                <a:gd name="T78" fmla="*/ 332 w 662"/>
                <a:gd name="T79" fmla="*/ 60 h 231"/>
                <a:gd name="T80" fmla="*/ 336 w 662"/>
                <a:gd name="T81" fmla="*/ 100 h 231"/>
                <a:gd name="T82" fmla="*/ 307 w 662"/>
                <a:gd name="T83" fmla="*/ 110 h 231"/>
                <a:gd name="T84" fmla="*/ 315 w 662"/>
                <a:gd name="T85" fmla="*/ 68 h 231"/>
                <a:gd name="T86" fmla="*/ 307 w 662"/>
                <a:gd name="T87" fmla="*/ 40 h 231"/>
                <a:gd name="T88" fmla="*/ 288 w 662"/>
                <a:gd name="T89" fmla="*/ 17 h 231"/>
                <a:gd name="T90" fmla="*/ 263 w 662"/>
                <a:gd name="T91" fmla="*/ 4 h 231"/>
                <a:gd name="T92" fmla="*/ 233 w 662"/>
                <a:gd name="T93" fmla="*/ 1 h 231"/>
                <a:gd name="T94" fmla="*/ 205 w 662"/>
                <a:gd name="T95" fmla="*/ 10 h 231"/>
                <a:gd name="T96" fmla="*/ 182 w 662"/>
                <a:gd name="T97" fmla="*/ 28 h 231"/>
                <a:gd name="T98" fmla="*/ 168 w 662"/>
                <a:gd name="T99" fmla="*/ 54 h 231"/>
                <a:gd name="T100" fmla="*/ 166 w 662"/>
                <a:gd name="T101" fmla="*/ 88 h 231"/>
                <a:gd name="T102" fmla="*/ 75 w 662"/>
                <a:gd name="T103" fmla="*/ 121 h 231"/>
                <a:gd name="T104" fmla="*/ 42 w 662"/>
                <a:gd name="T105" fmla="*/ 127 h 231"/>
                <a:gd name="T106" fmla="*/ 18 w 662"/>
                <a:gd name="T107" fmla="*/ 142 h 231"/>
                <a:gd name="T108" fmla="*/ 4 w 662"/>
                <a:gd name="T109" fmla="*/ 161 h 231"/>
                <a:gd name="T110" fmla="*/ 0 w 662"/>
                <a:gd name="T111" fmla="*/ 219 h 231"/>
                <a:gd name="T112" fmla="*/ 6 w 662"/>
                <a:gd name="T113" fmla="*/ 2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2" h="231">
                  <a:moveTo>
                    <a:pt x="195" y="76"/>
                  </a:moveTo>
                  <a:lnTo>
                    <a:pt x="196" y="67"/>
                  </a:lnTo>
                  <a:lnTo>
                    <a:pt x="199" y="58"/>
                  </a:lnTo>
                  <a:lnTo>
                    <a:pt x="203" y="50"/>
                  </a:lnTo>
                  <a:lnTo>
                    <a:pt x="209" y="44"/>
                  </a:lnTo>
                  <a:lnTo>
                    <a:pt x="216" y="39"/>
                  </a:lnTo>
                  <a:lnTo>
                    <a:pt x="223" y="34"/>
                  </a:lnTo>
                  <a:lnTo>
                    <a:pt x="232" y="31"/>
                  </a:lnTo>
                  <a:lnTo>
                    <a:pt x="240" y="30"/>
                  </a:lnTo>
                  <a:lnTo>
                    <a:pt x="250" y="31"/>
                  </a:lnTo>
                  <a:lnTo>
                    <a:pt x="258" y="34"/>
                  </a:lnTo>
                  <a:lnTo>
                    <a:pt x="266" y="39"/>
                  </a:lnTo>
                  <a:lnTo>
                    <a:pt x="272" y="44"/>
                  </a:lnTo>
                  <a:lnTo>
                    <a:pt x="278" y="50"/>
                  </a:lnTo>
                  <a:lnTo>
                    <a:pt x="282" y="58"/>
                  </a:lnTo>
                  <a:lnTo>
                    <a:pt x="285" y="67"/>
                  </a:lnTo>
                  <a:lnTo>
                    <a:pt x="285" y="76"/>
                  </a:lnTo>
                  <a:lnTo>
                    <a:pt x="285" y="85"/>
                  </a:lnTo>
                  <a:lnTo>
                    <a:pt x="282" y="93"/>
                  </a:lnTo>
                  <a:lnTo>
                    <a:pt x="278" y="101"/>
                  </a:lnTo>
                  <a:lnTo>
                    <a:pt x="272" y="107"/>
                  </a:lnTo>
                  <a:lnTo>
                    <a:pt x="266" y="113"/>
                  </a:lnTo>
                  <a:lnTo>
                    <a:pt x="258" y="117"/>
                  </a:lnTo>
                  <a:lnTo>
                    <a:pt x="250" y="120"/>
                  </a:lnTo>
                  <a:lnTo>
                    <a:pt x="240" y="121"/>
                  </a:lnTo>
                  <a:lnTo>
                    <a:pt x="232" y="120"/>
                  </a:lnTo>
                  <a:lnTo>
                    <a:pt x="223" y="117"/>
                  </a:lnTo>
                  <a:lnTo>
                    <a:pt x="216" y="113"/>
                  </a:lnTo>
                  <a:lnTo>
                    <a:pt x="209" y="107"/>
                  </a:lnTo>
                  <a:lnTo>
                    <a:pt x="203" y="101"/>
                  </a:lnTo>
                  <a:lnTo>
                    <a:pt x="199" y="93"/>
                  </a:lnTo>
                  <a:lnTo>
                    <a:pt x="196" y="85"/>
                  </a:lnTo>
                  <a:lnTo>
                    <a:pt x="195" y="76"/>
                  </a:lnTo>
                  <a:close/>
                  <a:moveTo>
                    <a:pt x="361" y="76"/>
                  </a:moveTo>
                  <a:lnTo>
                    <a:pt x="362" y="67"/>
                  </a:lnTo>
                  <a:lnTo>
                    <a:pt x="365" y="58"/>
                  </a:lnTo>
                  <a:lnTo>
                    <a:pt x="369" y="50"/>
                  </a:lnTo>
                  <a:lnTo>
                    <a:pt x="374" y="44"/>
                  </a:lnTo>
                  <a:lnTo>
                    <a:pt x="382" y="39"/>
                  </a:lnTo>
                  <a:lnTo>
                    <a:pt x="389" y="34"/>
                  </a:lnTo>
                  <a:lnTo>
                    <a:pt x="398" y="31"/>
                  </a:lnTo>
                  <a:lnTo>
                    <a:pt x="406" y="30"/>
                  </a:lnTo>
                  <a:lnTo>
                    <a:pt x="416" y="31"/>
                  </a:lnTo>
                  <a:lnTo>
                    <a:pt x="424" y="34"/>
                  </a:lnTo>
                  <a:lnTo>
                    <a:pt x="432" y="39"/>
                  </a:lnTo>
                  <a:lnTo>
                    <a:pt x="439" y="44"/>
                  </a:lnTo>
                  <a:lnTo>
                    <a:pt x="444" y="50"/>
                  </a:lnTo>
                  <a:lnTo>
                    <a:pt x="448" y="58"/>
                  </a:lnTo>
                  <a:lnTo>
                    <a:pt x="450" y="67"/>
                  </a:lnTo>
                  <a:lnTo>
                    <a:pt x="451" y="76"/>
                  </a:lnTo>
                  <a:lnTo>
                    <a:pt x="450" y="85"/>
                  </a:lnTo>
                  <a:lnTo>
                    <a:pt x="448" y="93"/>
                  </a:lnTo>
                  <a:lnTo>
                    <a:pt x="444" y="101"/>
                  </a:lnTo>
                  <a:lnTo>
                    <a:pt x="439" y="107"/>
                  </a:lnTo>
                  <a:lnTo>
                    <a:pt x="432" y="113"/>
                  </a:lnTo>
                  <a:lnTo>
                    <a:pt x="424" y="117"/>
                  </a:lnTo>
                  <a:lnTo>
                    <a:pt x="416" y="120"/>
                  </a:lnTo>
                  <a:lnTo>
                    <a:pt x="406" y="121"/>
                  </a:lnTo>
                  <a:lnTo>
                    <a:pt x="398" y="120"/>
                  </a:lnTo>
                  <a:lnTo>
                    <a:pt x="389" y="117"/>
                  </a:lnTo>
                  <a:lnTo>
                    <a:pt x="382" y="113"/>
                  </a:lnTo>
                  <a:lnTo>
                    <a:pt x="374" y="107"/>
                  </a:lnTo>
                  <a:lnTo>
                    <a:pt x="369" y="101"/>
                  </a:lnTo>
                  <a:lnTo>
                    <a:pt x="365" y="93"/>
                  </a:lnTo>
                  <a:lnTo>
                    <a:pt x="362" y="85"/>
                  </a:lnTo>
                  <a:lnTo>
                    <a:pt x="361" y="76"/>
                  </a:lnTo>
                  <a:close/>
                  <a:moveTo>
                    <a:pt x="15" y="231"/>
                  </a:moveTo>
                  <a:lnTo>
                    <a:pt x="18" y="231"/>
                  </a:lnTo>
                  <a:lnTo>
                    <a:pt x="20" y="230"/>
                  </a:lnTo>
                  <a:lnTo>
                    <a:pt x="24" y="228"/>
                  </a:lnTo>
                  <a:lnTo>
                    <a:pt x="26" y="226"/>
                  </a:lnTo>
                  <a:lnTo>
                    <a:pt x="28" y="224"/>
                  </a:lnTo>
                  <a:lnTo>
                    <a:pt x="29" y="221"/>
                  </a:lnTo>
                  <a:lnTo>
                    <a:pt x="30" y="219"/>
                  </a:lnTo>
                  <a:lnTo>
                    <a:pt x="30" y="216"/>
                  </a:lnTo>
                  <a:lnTo>
                    <a:pt x="30" y="181"/>
                  </a:lnTo>
                  <a:lnTo>
                    <a:pt x="30" y="178"/>
                  </a:lnTo>
                  <a:lnTo>
                    <a:pt x="32" y="174"/>
                  </a:lnTo>
                  <a:lnTo>
                    <a:pt x="34" y="168"/>
                  </a:lnTo>
                  <a:lnTo>
                    <a:pt x="39" y="163"/>
                  </a:lnTo>
                  <a:lnTo>
                    <a:pt x="44" y="159"/>
                  </a:lnTo>
                  <a:lnTo>
                    <a:pt x="53" y="154"/>
                  </a:lnTo>
                  <a:lnTo>
                    <a:pt x="62" y="152"/>
                  </a:lnTo>
                  <a:lnTo>
                    <a:pt x="75" y="151"/>
                  </a:lnTo>
                  <a:lnTo>
                    <a:pt x="587" y="151"/>
                  </a:lnTo>
                  <a:lnTo>
                    <a:pt x="599" y="152"/>
                  </a:lnTo>
                  <a:lnTo>
                    <a:pt x="609" y="154"/>
                  </a:lnTo>
                  <a:lnTo>
                    <a:pt x="617" y="159"/>
                  </a:lnTo>
                  <a:lnTo>
                    <a:pt x="623" y="163"/>
                  </a:lnTo>
                  <a:lnTo>
                    <a:pt x="627" y="168"/>
                  </a:lnTo>
                  <a:lnTo>
                    <a:pt x="629" y="174"/>
                  </a:lnTo>
                  <a:lnTo>
                    <a:pt x="630" y="178"/>
                  </a:lnTo>
                  <a:lnTo>
                    <a:pt x="632" y="181"/>
                  </a:lnTo>
                  <a:lnTo>
                    <a:pt x="632" y="211"/>
                  </a:lnTo>
                  <a:lnTo>
                    <a:pt x="632" y="213"/>
                  </a:lnTo>
                  <a:lnTo>
                    <a:pt x="633" y="217"/>
                  </a:lnTo>
                  <a:lnTo>
                    <a:pt x="634" y="219"/>
                  </a:lnTo>
                  <a:lnTo>
                    <a:pt x="636" y="222"/>
                  </a:lnTo>
                  <a:lnTo>
                    <a:pt x="638" y="223"/>
                  </a:lnTo>
                  <a:lnTo>
                    <a:pt x="640" y="225"/>
                  </a:lnTo>
                  <a:lnTo>
                    <a:pt x="643" y="225"/>
                  </a:lnTo>
                  <a:lnTo>
                    <a:pt x="647" y="226"/>
                  </a:lnTo>
                  <a:lnTo>
                    <a:pt x="650" y="225"/>
                  </a:lnTo>
                  <a:lnTo>
                    <a:pt x="652" y="225"/>
                  </a:lnTo>
                  <a:lnTo>
                    <a:pt x="655" y="223"/>
                  </a:lnTo>
                  <a:lnTo>
                    <a:pt x="657" y="222"/>
                  </a:lnTo>
                  <a:lnTo>
                    <a:pt x="658" y="220"/>
                  </a:lnTo>
                  <a:lnTo>
                    <a:pt x="661" y="217"/>
                  </a:lnTo>
                  <a:lnTo>
                    <a:pt x="662" y="215"/>
                  </a:lnTo>
                  <a:lnTo>
                    <a:pt x="662" y="211"/>
                  </a:lnTo>
                  <a:lnTo>
                    <a:pt x="662" y="181"/>
                  </a:lnTo>
                  <a:lnTo>
                    <a:pt x="661" y="172"/>
                  </a:lnTo>
                  <a:lnTo>
                    <a:pt x="657" y="161"/>
                  </a:lnTo>
                  <a:lnTo>
                    <a:pt x="654" y="156"/>
                  </a:lnTo>
                  <a:lnTo>
                    <a:pt x="651" y="151"/>
                  </a:lnTo>
                  <a:lnTo>
                    <a:pt x="648" y="146"/>
                  </a:lnTo>
                  <a:lnTo>
                    <a:pt x="643" y="142"/>
                  </a:lnTo>
                  <a:lnTo>
                    <a:pt x="638" y="137"/>
                  </a:lnTo>
                  <a:lnTo>
                    <a:pt x="633" y="133"/>
                  </a:lnTo>
                  <a:lnTo>
                    <a:pt x="626" y="130"/>
                  </a:lnTo>
                  <a:lnTo>
                    <a:pt x="620" y="127"/>
                  </a:lnTo>
                  <a:lnTo>
                    <a:pt x="612" y="124"/>
                  </a:lnTo>
                  <a:lnTo>
                    <a:pt x="605" y="122"/>
                  </a:lnTo>
                  <a:lnTo>
                    <a:pt x="596" y="121"/>
                  </a:lnTo>
                  <a:lnTo>
                    <a:pt x="587" y="121"/>
                  </a:lnTo>
                  <a:lnTo>
                    <a:pt x="466" y="121"/>
                  </a:lnTo>
                  <a:lnTo>
                    <a:pt x="473" y="110"/>
                  </a:lnTo>
                  <a:lnTo>
                    <a:pt x="477" y="100"/>
                  </a:lnTo>
                  <a:lnTo>
                    <a:pt x="480" y="88"/>
                  </a:lnTo>
                  <a:lnTo>
                    <a:pt x="481" y="76"/>
                  </a:lnTo>
                  <a:lnTo>
                    <a:pt x="481" y="68"/>
                  </a:lnTo>
                  <a:lnTo>
                    <a:pt x="480" y="60"/>
                  </a:lnTo>
                  <a:lnTo>
                    <a:pt x="478" y="54"/>
                  </a:lnTo>
                  <a:lnTo>
                    <a:pt x="476" y="46"/>
                  </a:lnTo>
                  <a:lnTo>
                    <a:pt x="473" y="40"/>
                  </a:lnTo>
                  <a:lnTo>
                    <a:pt x="469" y="33"/>
                  </a:lnTo>
                  <a:lnTo>
                    <a:pt x="464" y="28"/>
                  </a:lnTo>
                  <a:lnTo>
                    <a:pt x="460" y="23"/>
                  </a:lnTo>
                  <a:lnTo>
                    <a:pt x="455" y="17"/>
                  </a:lnTo>
                  <a:lnTo>
                    <a:pt x="448" y="13"/>
                  </a:lnTo>
                  <a:lnTo>
                    <a:pt x="443" y="10"/>
                  </a:lnTo>
                  <a:lnTo>
                    <a:pt x="435" y="6"/>
                  </a:lnTo>
                  <a:lnTo>
                    <a:pt x="429" y="4"/>
                  </a:lnTo>
                  <a:lnTo>
                    <a:pt x="421" y="2"/>
                  </a:lnTo>
                  <a:lnTo>
                    <a:pt x="414" y="1"/>
                  </a:lnTo>
                  <a:lnTo>
                    <a:pt x="406" y="0"/>
                  </a:lnTo>
                  <a:lnTo>
                    <a:pt x="399" y="1"/>
                  </a:lnTo>
                  <a:lnTo>
                    <a:pt x="391" y="2"/>
                  </a:lnTo>
                  <a:lnTo>
                    <a:pt x="384" y="4"/>
                  </a:lnTo>
                  <a:lnTo>
                    <a:pt x="377" y="6"/>
                  </a:lnTo>
                  <a:lnTo>
                    <a:pt x="371" y="10"/>
                  </a:lnTo>
                  <a:lnTo>
                    <a:pt x="365" y="13"/>
                  </a:lnTo>
                  <a:lnTo>
                    <a:pt x="359" y="17"/>
                  </a:lnTo>
                  <a:lnTo>
                    <a:pt x="354" y="23"/>
                  </a:lnTo>
                  <a:lnTo>
                    <a:pt x="349" y="28"/>
                  </a:lnTo>
                  <a:lnTo>
                    <a:pt x="344" y="33"/>
                  </a:lnTo>
                  <a:lnTo>
                    <a:pt x="341" y="40"/>
                  </a:lnTo>
                  <a:lnTo>
                    <a:pt x="338" y="46"/>
                  </a:lnTo>
                  <a:lnTo>
                    <a:pt x="335" y="54"/>
                  </a:lnTo>
                  <a:lnTo>
                    <a:pt x="332" y="60"/>
                  </a:lnTo>
                  <a:lnTo>
                    <a:pt x="331" y="68"/>
                  </a:lnTo>
                  <a:lnTo>
                    <a:pt x="331" y="76"/>
                  </a:lnTo>
                  <a:lnTo>
                    <a:pt x="332" y="88"/>
                  </a:lnTo>
                  <a:lnTo>
                    <a:pt x="336" y="100"/>
                  </a:lnTo>
                  <a:lnTo>
                    <a:pt x="340" y="110"/>
                  </a:lnTo>
                  <a:lnTo>
                    <a:pt x="346" y="121"/>
                  </a:lnTo>
                  <a:lnTo>
                    <a:pt x="300" y="121"/>
                  </a:lnTo>
                  <a:lnTo>
                    <a:pt x="307" y="110"/>
                  </a:lnTo>
                  <a:lnTo>
                    <a:pt x="312" y="100"/>
                  </a:lnTo>
                  <a:lnTo>
                    <a:pt x="314" y="88"/>
                  </a:lnTo>
                  <a:lnTo>
                    <a:pt x="315" y="76"/>
                  </a:lnTo>
                  <a:lnTo>
                    <a:pt x="315" y="68"/>
                  </a:lnTo>
                  <a:lnTo>
                    <a:pt x="314" y="60"/>
                  </a:lnTo>
                  <a:lnTo>
                    <a:pt x="312" y="54"/>
                  </a:lnTo>
                  <a:lnTo>
                    <a:pt x="310" y="46"/>
                  </a:lnTo>
                  <a:lnTo>
                    <a:pt x="307" y="40"/>
                  </a:lnTo>
                  <a:lnTo>
                    <a:pt x="302" y="33"/>
                  </a:lnTo>
                  <a:lnTo>
                    <a:pt x="298" y="28"/>
                  </a:lnTo>
                  <a:lnTo>
                    <a:pt x="294" y="23"/>
                  </a:lnTo>
                  <a:lnTo>
                    <a:pt x="288" y="17"/>
                  </a:lnTo>
                  <a:lnTo>
                    <a:pt x="282" y="13"/>
                  </a:lnTo>
                  <a:lnTo>
                    <a:pt x="277" y="10"/>
                  </a:lnTo>
                  <a:lnTo>
                    <a:pt x="270" y="6"/>
                  </a:lnTo>
                  <a:lnTo>
                    <a:pt x="263" y="4"/>
                  </a:lnTo>
                  <a:lnTo>
                    <a:pt x="255" y="2"/>
                  </a:lnTo>
                  <a:lnTo>
                    <a:pt x="248" y="1"/>
                  </a:lnTo>
                  <a:lnTo>
                    <a:pt x="240" y="0"/>
                  </a:lnTo>
                  <a:lnTo>
                    <a:pt x="233" y="1"/>
                  </a:lnTo>
                  <a:lnTo>
                    <a:pt x="225" y="2"/>
                  </a:lnTo>
                  <a:lnTo>
                    <a:pt x="218" y="4"/>
                  </a:lnTo>
                  <a:lnTo>
                    <a:pt x="211" y="6"/>
                  </a:lnTo>
                  <a:lnTo>
                    <a:pt x="205" y="10"/>
                  </a:lnTo>
                  <a:lnTo>
                    <a:pt x="198" y="13"/>
                  </a:lnTo>
                  <a:lnTo>
                    <a:pt x="193" y="17"/>
                  </a:lnTo>
                  <a:lnTo>
                    <a:pt x="188" y="23"/>
                  </a:lnTo>
                  <a:lnTo>
                    <a:pt x="182" y="28"/>
                  </a:lnTo>
                  <a:lnTo>
                    <a:pt x="178" y="33"/>
                  </a:lnTo>
                  <a:lnTo>
                    <a:pt x="175" y="40"/>
                  </a:lnTo>
                  <a:lnTo>
                    <a:pt x="172" y="46"/>
                  </a:lnTo>
                  <a:lnTo>
                    <a:pt x="168" y="54"/>
                  </a:lnTo>
                  <a:lnTo>
                    <a:pt x="167" y="60"/>
                  </a:lnTo>
                  <a:lnTo>
                    <a:pt x="166" y="68"/>
                  </a:lnTo>
                  <a:lnTo>
                    <a:pt x="165" y="76"/>
                  </a:lnTo>
                  <a:lnTo>
                    <a:pt x="166" y="88"/>
                  </a:lnTo>
                  <a:lnTo>
                    <a:pt x="169" y="100"/>
                  </a:lnTo>
                  <a:lnTo>
                    <a:pt x="175" y="110"/>
                  </a:lnTo>
                  <a:lnTo>
                    <a:pt x="181" y="121"/>
                  </a:lnTo>
                  <a:lnTo>
                    <a:pt x="75" y="121"/>
                  </a:lnTo>
                  <a:lnTo>
                    <a:pt x="65" y="121"/>
                  </a:lnTo>
                  <a:lnTo>
                    <a:pt x="57" y="122"/>
                  </a:lnTo>
                  <a:lnTo>
                    <a:pt x="49" y="124"/>
                  </a:lnTo>
                  <a:lnTo>
                    <a:pt x="42" y="127"/>
                  </a:lnTo>
                  <a:lnTo>
                    <a:pt x="34" y="130"/>
                  </a:lnTo>
                  <a:lnTo>
                    <a:pt x="29" y="133"/>
                  </a:lnTo>
                  <a:lnTo>
                    <a:pt x="24" y="137"/>
                  </a:lnTo>
                  <a:lnTo>
                    <a:pt x="18" y="142"/>
                  </a:lnTo>
                  <a:lnTo>
                    <a:pt x="14" y="146"/>
                  </a:lnTo>
                  <a:lnTo>
                    <a:pt x="10" y="151"/>
                  </a:lnTo>
                  <a:lnTo>
                    <a:pt x="8" y="156"/>
                  </a:lnTo>
                  <a:lnTo>
                    <a:pt x="4" y="161"/>
                  </a:lnTo>
                  <a:lnTo>
                    <a:pt x="1" y="172"/>
                  </a:lnTo>
                  <a:lnTo>
                    <a:pt x="0" y="181"/>
                  </a:lnTo>
                  <a:lnTo>
                    <a:pt x="0" y="216"/>
                  </a:lnTo>
                  <a:lnTo>
                    <a:pt x="0" y="219"/>
                  </a:lnTo>
                  <a:lnTo>
                    <a:pt x="1" y="221"/>
                  </a:lnTo>
                  <a:lnTo>
                    <a:pt x="2" y="224"/>
                  </a:lnTo>
                  <a:lnTo>
                    <a:pt x="4" y="226"/>
                  </a:lnTo>
                  <a:lnTo>
                    <a:pt x="6" y="228"/>
                  </a:lnTo>
                  <a:lnTo>
                    <a:pt x="10" y="230"/>
                  </a:lnTo>
                  <a:lnTo>
                    <a:pt x="12" y="231"/>
                  </a:lnTo>
                  <a:lnTo>
                    <a:pt x="15"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697" name="Group 73">
            <a:extLst>
              <a:ext uri="{FF2B5EF4-FFF2-40B4-BE49-F238E27FC236}">
                <a16:creationId xmlns:a16="http://schemas.microsoft.com/office/drawing/2014/main" id="{E0611D74-A9FA-434F-A8EF-582E02D8D754}"/>
              </a:ext>
            </a:extLst>
          </p:cNvPr>
          <p:cNvGrpSpPr>
            <a:grpSpLocks noChangeAspect="1"/>
          </p:cNvGrpSpPr>
          <p:nvPr/>
        </p:nvGrpSpPr>
        <p:grpSpPr>
          <a:xfrm>
            <a:off x="5378197" y="4340505"/>
            <a:ext cx="285619" cy="285619"/>
            <a:chOff x="8162925" y="779145"/>
            <a:chExt cx="285750" cy="285750"/>
          </a:xfrm>
          <a:solidFill>
            <a:schemeClr val="bg1"/>
          </a:solidFill>
          <a:effectLst/>
        </p:grpSpPr>
        <p:sp>
          <p:nvSpPr>
            <p:cNvPr id="1698" name="Freeform 100">
              <a:extLst>
                <a:ext uri="{FF2B5EF4-FFF2-40B4-BE49-F238E27FC236}">
                  <a16:creationId xmlns:a16="http://schemas.microsoft.com/office/drawing/2014/main" id="{AD0DBCA7-80C9-4B99-B73E-1993B6009B6C}"/>
                </a:ext>
              </a:extLst>
            </p:cNvPr>
            <p:cNvSpPr>
              <a:spLocks noEditPoints="1"/>
            </p:cNvSpPr>
            <p:nvPr/>
          </p:nvSpPr>
          <p:spPr bwMode="auto">
            <a:xfrm>
              <a:off x="8162925" y="864870"/>
              <a:ext cx="247650" cy="142875"/>
            </a:xfrm>
            <a:custGeom>
              <a:avLst/>
              <a:gdLst>
                <a:gd name="T0" fmla="*/ 30 w 781"/>
                <a:gd name="T1" fmla="*/ 30 h 452"/>
                <a:gd name="T2" fmla="*/ 751 w 781"/>
                <a:gd name="T3" fmla="*/ 30 h 452"/>
                <a:gd name="T4" fmla="*/ 751 w 781"/>
                <a:gd name="T5" fmla="*/ 60 h 452"/>
                <a:gd name="T6" fmla="*/ 735 w 781"/>
                <a:gd name="T7" fmla="*/ 60 h 452"/>
                <a:gd name="T8" fmla="*/ 52 w 781"/>
                <a:gd name="T9" fmla="*/ 60 h 452"/>
                <a:gd name="T10" fmla="*/ 30 w 781"/>
                <a:gd name="T11" fmla="*/ 60 h 452"/>
                <a:gd name="T12" fmla="*/ 30 w 781"/>
                <a:gd name="T13" fmla="*/ 30 h 452"/>
                <a:gd name="T14" fmla="*/ 71 w 781"/>
                <a:gd name="T15" fmla="*/ 90 h 452"/>
                <a:gd name="T16" fmla="*/ 716 w 781"/>
                <a:gd name="T17" fmla="*/ 90 h 452"/>
                <a:gd name="T18" fmla="*/ 699 w 781"/>
                <a:gd name="T19" fmla="*/ 178 h 452"/>
                <a:gd name="T20" fmla="*/ 729 w 781"/>
                <a:gd name="T21" fmla="*/ 184 h 452"/>
                <a:gd name="T22" fmla="*/ 747 w 781"/>
                <a:gd name="T23" fmla="*/ 90 h 452"/>
                <a:gd name="T24" fmla="*/ 766 w 781"/>
                <a:gd name="T25" fmla="*/ 90 h 452"/>
                <a:gd name="T26" fmla="*/ 769 w 781"/>
                <a:gd name="T27" fmla="*/ 90 h 452"/>
                <a:gd name="T28" fmla="*/ 772 w 781"/>
                <a:gd name="T29" fmla="*/ 89 h 452"/>
                <a:gd name="T30" fmla="*/ 775 w 781"/>
                <a:gd name="T31" fmla="*/ 88 h 452"/>
                <a:gd name="T32" fmla="*/ 777 w 781"/>
                <a:gd name="T33" fmla="*/ 86 h 452"/>
                <a:gd name="T34" fmla="*/ 778 w 781"/>
                <a:gd name="T35" fmla="*/ 84 h 452"/>
                <a:gd name="T36" fmla="*/ 780 w 781"/>
                <a:gd name="T37" fmla="*/ 82 h 452"/>
                <a:gd name="T38" fmla="*/ 781 w 781"/>
                <a:gd name="T39" fmla="*/ 79 h 452"/>
                <a:gd name="T40" fmla="*/ 781 w 781"/>
                <a:gd name="T41" fmla="*/ 75 h 452"/>
                <a:gd name="T42" fmla="*/ 781 w 781"/>
                <a:gd name="T43" fmla="*/ 15 h 452"/>
                <a:gd name="T44" fmla="*/ 781 w 781"/>
                <a:gd name="T45" fmla="*/ 12 h 452"/>
                <a:gd name="T46" fmla="*/ 780 w 781"/>
                <a:gd name="T47" fmla="*/ 10 h 452"/>
                <a:gd name="T48" fmla="*/ 778 w 781"/>
                <a:gd name="T49" fmla="*/ 7 h 452"/>
                <a:gd name="T50" fmla="*/ 777 w 781"/>
                <a:gd name="T51" fmla="*/ 5 h 452"/>
                <a:gd name="T52" fmla="*/ 775 w 781"/>
                <a:gd name="T53" fmla="*/ 4 h 452"/>
                <a:gd name="T54" fmla="*/ 772 w 781"/>
                <a:gd name="T55" fmla="*/ 1 h 452"/>
                <a:gd name="T56" fmla="*/ 769 w 781"/>
                <a:gd name="T57" fmla="*/ 1 h 452"/>
                <a:gd name="T58" fmla="*/ 766 w 781"/>
                <a:gd name="T59" fmla="*/ 0 h 452"/>
                <a:gd name="T60" fmla="*/ 15 w 781"/>
                <a:gd name="T61" fmla="*/ 0 h 452"/>
                <a:gd name="T62" fmla="*/ 11 w 781"/>
                <a:gd name="T63" fmla="*/ 1 h 452"/>
                <a:gd name="T64" fmla="*/ 8 w 781"/>
                <a:gd name="T65" fmla="*/ 1 h 452"/>
                <a:gd name="T66" fmla="*/ 6 w 781"/>
                <a:gd name="T67" fmla="*/ 4 h 452"/>
                <a:gd name="T68" fmla="*/ 4 w 781"/>
                <a:gd name="T69" fmla="*/ 5 h 452"/>
                <a:gd name="T70" fmla="*/ 2 w 781"/>
                <a:gd name="T71" fmla="*/ 7 h 452"/>
                <a:gd name="T72" fmla="*/ 1 w 781"/>
                <a:gd name="T73" fmla="*/ 10 h 452"/>
                <a:gd name="T74" fmla="*/ 0 w 781"/>
                <a:gd name="T75" fmla="*/ 12 h 452"/>
                <a:gd name="T76" fmla="*/ 0 w 781"/>
                <a:gd name="T77" fmla="*/ 15 h 452"/>
                <a:gd name="T78" fmla="*/ 0 w 781"/>
                <a:gd name="T79" fmla="*/ 75 h 452"/>
                <a:gd name="T80" fmla="*/ 0 w 781"/>
                <a:gd name="T81" fmla="*/ 79 h 452"/>
                <a:gd name="T82" fmla="*/ 1 w 781"/>
                <a:gd name="T83" fmla="*/ 82 h 452"/>
                <a:gd name="T84" fmla="*/ 2 w 781"/>
                <a:gd name="T85" fmla="*/ 84 h 452"/>
                <a:gd name="T86" fmla="*/ 4 w 781"/>
                <a:gd name="T87" fmla="*/ 86 h 452"/>
                <a:gd name="T88" fmla="*/ 6 w 781"/>
                <a:gd name="T89" fmla="*/ 88 h 452"/>
                <a:gd name="T90" fmla="*/ 8 w 781"/>
                <a:gd name="T91" fmla="*/ 89 h 452"/>
                <a:gd name="T92" fmla="*/ 11 w 781"/>
                <a:gd name="T93" fmla="*/ 90 h 452"/>
                <a:gd name="T94" fmla="*/ 15 w 781"/>
                <a:gd name="T95" fmla="*/ 90 h 452"/>
                <a:gd name="T96" fmla="*/ 40 w 781"/>
                <a:gd name="T97" fmla="*/ 90 h 452"/>
                <a:gd name="T98" fmla="*/ 113 w 781"/>
                <a:gd name="T99" fmla="*/ 440 h 452"/>
                <a:gd name="T100" fmla="*/ 115 w 781"/>
                <a:gd name="T101" fmla="*/ 444 h 452"/>
                <a:gd name="T102" fmla="*/ 119 w 781"/>
                <a:gd name="T103" fmla="*/ 449 h 452"/>
                <a:gd name="T104" fmla="*/ 123 w 781"/>
                <a:gd name="T105" fmla="*/ 451 h 452"/>
                <a:gd name="T106" fmla="*/ 128 w 781"/>
                <a:gd name="T107" fmla="*/ 452 h 452"/>
                <a:gd name="T108" fmla="*/ 432 w 781"/>
                <a:gd name="T109" fmla="*/ 452 h 452"/>
                <a:gd name="T110" fmla="*/ 432 w 781"/>
                <a:gd name="T111" fmla="*/ 422 h 452"/>
                <a:gd name="T112" fmla="*/ 140 w 781"/>
                <a:gd name="T113" fmla="*/ 422 h 452"/>
                <a:gd name="T114" fmla="*/ 71 w 781"/>
                <a:gd name="T115" fmla="*/ 9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1" h="452">
                  <a:moveTo>
                    <a:pt x="30" y="30"/>
                  </a:moveTo>
                  <a:lnTo>
                    <a:pt x="751" y="30"/>
                  </a:lnTo>
                  <a:lnTo>
                    <a:pt x="751" y="60"/>
                  </a:lnTo>
                  <a:lnTo>
                    <a:pt x="735" y="60"/>
                  </a:lnTo>
                  <a:lnTo>
                    <a:pt x="52" y="60"/>
                  </a:lnTo>
                  <a:lnTo>
                    <a:pt x="30" y="60"/>
                  </a:lnTo>
                  <a:lnTo>
                    <a:pt x="30" y="30"/>
                  </a:lnTo>
                  <a:close/>
                  <a:moveTo>
                    <a:pt x="71" y="90"/>
                  </a:moveTo>
                  <a:lnTo>
                    <a:pt x="716" y="90"/>
                  </a:lnTo>
                  <a:lnTo>
                    <a:pt x="699" y="178"/>
                  </a:lnTo>
                  <a:lnTo>
                    <a:pt x="729" y="184"/>
                  </a:lnTo>
                  <a:lnTo>
                    <a:pt x="747" y="90"/>
                  </a:lnTo>
                  <a:lnTo>
                    <a:pt x="766" y="90"/>
                  </a:lnTo>
                  <a:lnTo>
                    <a:pt x="769" y="90"/>
                  </a:lnTo>
                  <a:lnTo>
                    <a:pt x="772" y="89"/>
                  </a:lnTo>
                  <a:lnTo>
                    <a:pt x="775" y="88"/>
                  </a:lnTo>
                  <a:lnTo>
                    <a:pt x="777" y="86"/>
                  </a:lnTo>
                  <a:lnTo>
                    <a:pt x="778" y="84"/>
                  </a:lnTo>
                  <a:lnTo>
                    <a:pt x="780" y="82"/>
                  </a:lnTo>
                  <a:lnTo>
                    <a:pt x="781" y="79"/>
                  </a:lnTo>
                  <a:lnTo>
                    <a:pt x="781" y="75"/>
                  </a:lnTo>
                  <a:lnTo>
                    <a:pt x="781" y="15"/>
                  </a:lnTo>
                  <a:lnTo>
                    <a:pt x="781" y="12"/>
                  </a:lnTo>
                  <a:lnTo>
                    <a:pt x="780" y="10"/>
                  </a:lnTo>
                  <a:lnTo>
                    <a:pt x="778" y="7"/>
                  </a:lnTo>
                  <a:lnTo>
                    <a:pt x="777" y="5"/>
                  </a:lnTo>
                  <a:lnTo>
                    <a:pt x="775" y="4"/>
                  </a:lnTo>
                  <a:lnTo>
                    <a:pt x="772" y="1"/>
                  </a:lnTo>
                  <a:lnTo>
                    <a:pt x="769" y="1"/>
                  </a:lnTo>
                  <a:lnTo>
                    <a:pt x="766" y="0"/>
                  </a:lnTo>
                  <a:lnTo>
                    <a:pt x="15" y="0"/>
                  </a:lnTo>
                  <a:lnTo>
                    <a:pt x="11" y="1"/>
                  </a:lnTo>
                  <a:lnTo>
                    <a:pt x="8" y="1"/>
                  </a:lnTo>
                  <a:lnTo>
                    <a:pt x="6" y="4"/>
                  </a:lnTo>
                  <a:lnTo>
                    <a:pt x="4" y="5"/>
                  </a:lnTo>
                  <a:lnTo>
                    <a:pt x="2" y="7"/>
                  </a:lnTo>
                  <a:lnTo>
                    <a:pt x="1" y="10"/>
                  </a:lnTo>
                  <a:lnTo>
                    <a:pt x="0" y="12"/>
                  </a:lnTo>
                  <a:lnTo>
                    <a:pt x="0" y="15"/>
                  </a:lnTo>
                  <a:lnTo>
                    <a:pt x="0" y="75"/>
                  </a:lnTo>
                  <a:lnTo>
                    <a:pt x="0" y="79"/>
                  </a:lnTo>
                  <a:lnTo>
                    <a:pt x="1" y="82"/>
                  </a:lnTo>
                  <a:lnTo>
                    <a:pt x="2" y="84"/>
                  </a:lnTo>
                  <a:lnTo>
                    <a:pt x="4" y="86"/>
                  </a:lnTo>
                  <a:lnTo>
                    <a:pt x="6" y="88"/>
                  </a:lnTo>
                  <a:lnTo>
                    <a:pt x="8" y="89"/>
                  </a:lnTo>
                  <a:lnTo>
                    <a:pt x="11" y="90"/>
                  </a:lnTo>
                  <a:lnTo>
                    <a:pt x="15" y="90"/>
                  </a:lnTo>
                  <a:lnTo>
                    <a:pt x="40" y="90"/>
                  </a:lnTo>
                  <a:lnTo>
                    <a:pt x="113" y="440"/>
                  </a:lnTo>
                  <a:lnTo>
                    <a:pt x="115" y="444"/>
                  </a:lnTo>
                  <a:lnTo>
                    <a:pt x="119" y="449"/>
                  </a:lnTo>
                  <a:lnTo>
                    <a:pt x="123" y="451"/>
                  </a:lnTo>
                  <a:lnTo>
                    <a:pt x="128" y="452"/>
                  </a:lnTo>
                  <a:lnTo>
                    <a:pt x="432" y="452"/>
                  </a:lnTo>
                  <a:lnTo>
                    <a:pt x="432" y="422"/>
                  </a:lnTo>
                  <a:lnTo>
                    <a:pt x="140" y="422"/>
                  </a:lnTo>
                  <a:lnTo>
                    <a:pt x="71"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99" name="Freeform 101">
              <a:extLst>
                <a:ext uri="{FF2B5EF4-FFF2-40B4-BE49-F238E27FC236}">
                  <a16:creationId xmlns:a16="http://schemas.microsoft.com/office/drawing/2014/main" id="{DD7189C7-C048-46DB-91F8-D968D85F3A1F}"/>
                </a:ext>
              </a:extLst>
            </p:cNvPr>
            <p:cNvSpPr>
              <a:spLocks/>
            </p:cNvSpPr>
            <p:nvPr/>
          </p:nvSpPr>
          <p:spPr bwMode="auto">
            <a:xfrm>
              <a:off x="8199438" y="779145"/>
              <a:ext cx="80963" cy="69850"/>
            </a:xfrm>
            <a:custGeom>
              <a:avLst/>
              <a:gdLst>
                <a:gd name="T0" fmla="*/ 15 w 258"/>
                <a:gd name="T1" fmla="*/ 220 h 220"/>
                <a:gd name="T2" fmla="*/ 21 w 258"/>
                <a:gd name="T3" fmla="*/ 219 h 220"/>
                <a:gd name="T4" fmla="*/ 25 w 258"/>
                <a:gd name="T5" fmla="*/ 217 h 220"/>
                <a:gd name="T6" fmla="*/ 252 w 258"/>
                <a:gd name="T7" fmla="*/ 27 h 220"/>
                <a:gd name="T8" fmla="*/ 254 w 258"/>
                <a:gd name="T9" fmla="*/ 25 h 220"/>
                <a:gd name="T10" fmla="*/ 257 w 258"/>
                <a:gd name="T11" fmla="*/ 22 h 220"/>
                <a:gd name="T12" fmla="*/ 258 w 258"/>
                <a:gd name="T13" fmla="*/ 19 h 220"/>
                <a:gd name="T14" fmla="*/ 258 w 258"/>
                <a:gd name="T15" fmla="*/ 16 h 220"/>
                <a:gd name="T16" fmla="*/ 258 w 258"/>
                <a:gd name="T17" fmla="*/ 13 h 220"/>
                <a:gd name="T18" fmla="*/ 257 w 258"/>
                <a:gd name="T19" fmla="*/ 11 h 220"/>
                <a:gd name="T20" fmla="*/ 255 w 258"/>
                <a:gd name="T21" fmla="*/ 8 h 220"/>
                <a:gd name="T22" fmla="*/ 254 w 258"/>
                <a:gd name="T23" fmla="*/ 6 h 220"/>
                <a:gd name="T24" fmla="*/ 252 w 258"/>
                <a:gd name="T25" fmla="*/ 3 h 220"/>
                <a:gd name="T26" fmla="*/ 249 w 258"/>
                <a:gd name="T27" fmla="*/ 1 h 220"/>
                <a:gd name="T28" fmla="*/ 247 w 258"/>
                <a:gd name="T29" fmla="*/ 0 h 220"/>
                <a:gd name="T30" fmla="*/ 244 w 258"/>
                <a:gd name="T31" fmla="*/ 0 h 220"/>
                <a:gd name="T32" fmla="*/ 242 w 258"/>
                <a:gd name="T33" fmla="*/ 0 h 220"/>
                <a:gd name="T34" fmla="*/ 238 w 258"/>
                <a:gd name="T35" fmla="*/ 1 h 220"/>
                <a:gd name="T36" fmla="*/ 235 w 258"/>
                <a:gd name="T37" fmla="*/ 2 h 220"/>
                <a:gd name="T38" fmla="*/ 233 w 258"/>
                <a:gd name="T39" fmla="*/ 3 h 220"/>
                <a:gd name="T40" fmla="*/ 6 w 258"/>
                <a:gd name="T41" fmla="*/ 193 h 220"/>
                <a:gd name="T42" fmla="*/ 3 w 258"/>
                <a:gd name="T43" fmla="*/ 195 h 220"/>
                <a:gd name="T44" fmla="*/ 1 w 258"/>
                <a:gd name="T45" fmla="*/ 198 h 220"/>
                <a:gd name="T46" fmla="*/ 0 w 258"/>
                <a:gd name="T47" fmla="*/ 201 h 220"/>
                <a:gd name="T48" fmla="*/ 0 w 258"/>
                <a:gd name="T49" fmla="*/ 203 h 220"/>
                <a:gd name="T50" fmla="*/ 0 w 258"/>
                <a:gd name="T51" fmla="*/ 206 h 220"/>
                <a:gd name="T52" fmla="*/ 1 w 258"/>
                <a:gd name="T53" fmla="*/ 209 h 220"/>
                <a:gd name="T54" fmla="*/ 2 w 258"/>
                <a:gd name="T55" fmla="*/ 211 h 220"/>
                <a:gd name="T56" fmla="*/ 3 w 258"/>
                <a:gd name="T57" fmla="*/ 215 h 220"/>
                <a:gd name="T58" fmla="*/ 6 w 258"/>
                <a:gd name="T59" fmla="*/ 217 h 220"/>
                <a:gd name="T60" fmla="*/ 9 w 258"/>
                <a:gd name="T61" fmla="*/ 218 h 220"/>
                <a:gd name="T62" fmla="*/ 12 w 258"/>
                <a:gd name="T63" fmla="*/ 219 h 220"/>
                <a:gd name="T64" fmla="*/ 15 w 258"/>
                <a:gd name="T6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8" h="220">
                  <a:moveTo>
                    <a:pt x="15" y="220"/>
                  </a:moveTo>
                  <a:lnTo>
                    <a:pt x="21" y="219"/>
                  </a:lnTo>
                  <a:lnTo>
                    <a:pt x="25" y="217"/>
                  </a:lnTo>
                  <a:lnTo>
                    <a:pt x="252" y="27"/>
                  </a:lnTo>
                  <a:lnTo>
                    <a:pt x="254" y="25"/>
                  </a:lnTo>
                  <a:lnTo>
                    <a:pt x="257" y="22"/>
                  </a:lnTo>
                  <a:lnTo>
                    <a:pt x="258" y="19"/>
                  </a:lnTo>
                  <a:lnTo>
                    <a:pt x="258" y="16"/>
                  </a:lnTo>
                  <a:lnTo>
                    <a:pt x="258" y="13"/>
                  </a:lnTo>
                  <a:lnTo>
                    <a:pt x="257" y="11"/>
                  </a:lnTo>
                  <a:lnTo>
                    <a:pt x="255" y="8"/>
                  </a:lnTo>
                  <a:lnTo>
                    <a:pt x="254" y="6"/>
                  </a:lnTo>
                  <a:lnTo>
                    <a:pt x="252" y="3"/>
                  </a:lnTo>
                  <a:lnTo>
                    <a:pt x="249" y="1"/>
                  </a:lnTo>
                  <a:lnTo>
                    <a:pt x="247" y="0"/>
                  </a:lnTo>
                  <a:lnTo>
                    <a:pt x="244" y="0"/>
                  </a:lnTo>
                  <a:lnTo>
                    <a:pt x="242" y="0"/>
                  </a:lnTo>
                  <a:lnTo>
                    <a:pt x="238" y="1"/>
                  </a:lnTo>
                  <a:lnTo>
                    <a:pt x="235" y="2"/>
                  </a:lnTo>
                  <a:lnTo>
                    <a:pt x="233" y="3"/>
                  </a:lnTo>
                  <a:lnTo>
                    <a:pt x="6" y="193"/>
                  </a:lnTo>
                  <a:lnTo>
                    <a:pt x="3" y="195"/>
                  </a:lnTo>
                  <a:lnTo>
                    <a:pt x="1" y="198"/>
                  </a:lnTo>
                  <a:lnTo>
                    <a:pt x="0" y="201"/>
                  </a:lnTo>
                  <a:lnTo>
                    <a:pt x="0" y="203"/>
                  </a:lnTo>
                  <a:lnTo>
                    <a:pt x="0" y="206"/>
                  </a:lnTo>
                  <a:lnTo>
                    <a:pt x="1" y="209"/>
                  </a:lnTo>
                  <a:lnTo>
                    <a:pt x="2" y="211"/>
                  </a:lnTo>
                  <a:lnTo>
                    <a:pt x="3" y="215"/>
                  </a:lnTo>
                  <a:lnTo>
                    <a:pt x="6" y="217"/>
                  </a:lnTo>
                  <a:lnTo>
                    <a:pt x="9" y="218"/>
                  </a:lnTo>
                  <a:lnTo>
                    <a:pt x="12" y="219"/>
                  </a:lnTo>
                  <a:lnTo>
                    <a:pt x="15"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0" name="Freeform 102">
              <a:extLst>
                <a:ext uri="{FF2B5EF4-FFF2-40B4-BE49-F238E27FC236}">
                  <a16:creationId xmlns:a16="http://schemas.microsoft.com/office/drawing/2014/main" id="{95E4E4D8-D946-4266-8644-D3D0422D1972}"/>
                </a:ext>
              </a:extLst>
            </p:cNvPr>
            <p:cNvSpPr>
              <a:spLocks/>
            </p:cNvSpPr>
            <p:nvPr/>
          </p:nvSpPr>
          <p:spPr bwMode="auto">
            <a:xfrm>
              <a:off x="8296275" y="779145"/>
              <a:ext cx="80963" cy="69850"/>
            </a:xfrm>
            <a:custGeom>
              <a:avLst/>
              <a:gdLst>
                <a:gd name="T0" fmla="*/ 232 w 257"/>
                <a:gd name="T1" fmla="*/ 216 h 220"/>
                <a:gd name="T2" fmla="*/ 237 w 257"/>
                <a:gd name="T3" fmla="*/ 219 h 220"/>
                <a:gd name="T4" fmla="*/ 242 w 257"/>
                <a:gd name="T5" fmla="*/ 220 h 220"/>
                <a:gd name="T6" fmla="*/ 245 w 257"/>
                <a:gd name="T7" fmla="*/ 219 h 220"/>
                <a:gd name="T8" fmla="*/ 248 w 257"/>
                <a:gd name="T9" fmla="*/ 218 h 220"/>
                <a:gd name="T10" fmla="*/ 251 w 257"/>
                <a:gd name="T11" fmla="*/ 217 h 220"/>
                <a:gd name="T12" fmla="*/ 254 w 257"/>
                <a:gd name="T13" fmla="*/ 215 h 220"/>
                <a:gd name="T14" fmla="*/ 255 w 257"/>
                <a:gd name="T15" fmla="*/ 211 h 220"/>
                <a:gd name="T16" fmla="*/ 256 w 257"/>
                <a:gd name="T17" fmla="*/ 209 h 220"/>
                <a:gd name="T18" fmla="*/ 257 w 257"/>
                <a:gd name="T19" fmla="*/ 206 h 220"/>
                <a:gd name="T20" fmla="*/ 257 w 257"/>
                <a:gd name="T21" fmla="*/ 203 h 220"/>
                <a:gd name="T22" fmla="*/ 256 w 257"/>
                <a:gd name="T23" fmla="*/ 201 h 220"/>
                <a:gd name="T24" fmla="*/ 255 w 257"/>
                <a:gd name="T25" fmla="*/ 198 h 220"/>
                <a:gd name="T26" fmla="*/ 254 w 257"/>
                <a:gd name="T27" fmla="*/ 195 h 220"/>
                <a:gd name="T28" fmla="*/ 252 w 257"/>
                <a:gd name="T29" fmla="*/ 193 h 220"/>
                <a:gd name="T30" fmla="*/ 24 w 257"/>
                <a:gd name="T31" fmla="*/ 3 h 220"/>
                <a:gd name="T32" fmla="*/ 21 w 257"/>
                <a:gd name="T33" fmla="*/ 2 h 220"/>
                <a:gd name="T34" fmla="*/ 19 w 257"/>
                <a:gd name="T35" fmla="*/ 0 h 220"/>
                <a:gd name="T36" fmla="*/ 16 w 257"/>
                <a:gd name="T37" fmla="*/ 0 h 220"/>
                <a:gd name="T38" fmla="*/ 14 w 257"/>
                <a:gd name="T39" fmla="*/ 0 h 220"/>
                <a:gd name="T40" fmla="*/ 10 w 257"/>
                <a:gd name="T41" fmla="*/ 0 h 220"/>
                <a:gd name="T42" fmla="*/ 7 w 257"/>
                <a:gd name="T43" fmla="*/ 1 h 220"/>
                <a:gd name="T44" fmla="*/ 5 w 257"/>
                <a:gd name="T45" fmla="*/ 3 h 220"/>
                <a:gd name="T46" fmla="*/ 3 w 257"/>
                <a:gd name="T47" fmla="*/ 6 h 220"/>
                <a:gd name="T48" fmla="*/ 1 w 257"/>
                <a:gd name="T49" fmla="*/ 8 h 220"/>
                <a:gd name="T50" fmla="*/ 0 w 257"/>
                <a:gd name="T51" fmla="*/ 11 h 220"/>
                <a:gd name="T52" fmla="*/ 0 w 257"/>
                <a:gd name="T53" fmla="*/ 13 h 220"/>
                <a:gd name="T54" fmla="*/ 0 w 257"/>
                <a:gd name="T55" fmla="*/ 16 h 220"/>
                <a:gd name="T56" fmla="*/ 0 w 257"/>
                <a:gd name="T57" fmla="*/ 19 h 220"/>
                <a:gd name="T58" fmla="*/ 1 w 257"/>
                <a:gd name="T59" fmla="*/ 22 h 220"/>
                <a:gd name="T60" fmla="*/ 3 w 257"/>
                <a:gd name="T61" fmla="*/ 25 h 220"/>
                <a:gd name="T62" fmla="*/ 5 w 257"/>
                <a:gd name="T63" fmla="*/ 27 h 220"/>
                <a:gd name="T64" fmla="*/ 232 w 257"/>
                <a:gd name="T65" fmla="*/ 2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232" y="216"/>
                  </a:moveTo>
                  <a:lnTo>
                    <a:pt x="237" y="219"/>
                  </a:lnTo>
                  <a:lnTo>
                    <a:pt x="242" y="220"/>
                  </a:lnTo>
                  <a:lnTo>
                    <a:pt x="245" y="219"/>
                  </a:lnTo>
                  <a:lnTo>
                    <a:pt x="248" y="218"/>
                  </a:lnTo>
                  <a:lnTo>
                    <a:pt x="251" y="217"/>
                  </a:lnTo>
                  <a:lnTo>
                    <a:pt x="254" y="215"/>
                  </a:lnTo>
                  <a:lnTo>
                    <a:pt x="255" y="211"/>
                  </a:lnTo>
                  <a:lnTo>
                    <a:pt x="256" y="209"/>
                  </a:lnTo>
                  <a:lnTo>
                    <a:pt x="257" y="206"/>
                  </a:lnTo>
                  <a:lnTo>
                    <a:pt x="257" y="203"/>
                  </a:lnTo>
                  <a:lnTo>
                    <a:pt x="256" y="201"/>
                  </a:lnTo>
                  <a:lnTo>
                    <a:pt x="255" y="198"/>
                  </a:lnTo>
                  <a:lnTo>
                    <a:pt x="254" y="195"/>
                  </a:lnTo>
                  <a:lnTo>
                    <a:pt x="252" y="193"/>
                  </a:lnTo>
                  <a:lnTo>
                    <a:pt x="24" y="3"/>
                  </a:lnTo>
                  <a:lnTo>
                    <a:pt x="21" y="2"/>
                  </a:lnTo>
                  <a:lnTo>
                    <a:pt x="19" y="0"/>
                  </a:lnTo>
                  <a:lnTo>
                    <a:pt x="16" y="0"/>
                  </a:lnTo>
                  <a:lnTo>
                    <a:pt x="14" y="0"/>
                  </a:lnTo>
                  <a:lnTo>
                    <a:pt x="10" y="0"/>
                  </a:lnTo>
                  <a:lnTo>
                    <a:pt x="7" y="1"/>
                  </a:lnTo>
                  <a:lnTo>
                    <a:pt x="5" y="3"/>
                  </a:lnTo>
                  <a:lnTo>
                    <a:pt x="3" y="6"/>
                  </a:lnTo>
                  <a:lnTo>
                    <a:pt x="1" y="8"/>
                  </a:lnTo>
                  <a:lnTo>
                    <a:pt x="0" y="11"/>
                  </a:lnTo>
                  <a:lnTo>
                    <a:pt x="0" y="13"/>
                  </a:lnTo>
                  <a:lnTo>
                    <a:pt x="0" y="16"/>
                  </a:lnTo>
                  <a:lnTo>
                    <a:pt x="0" y="19"/>
                  </a:lnTo>
                  <a:lnTo>
                    <a:pt x="1" y="22"/>
                  </a:lnTo>
                  <a:lnTo>
                    <a:pt x="3" y="25"/>
                  </a:lnTo>
                  <a:lnTo>
                    <a:pt x="5" y="27"/>
                  </a:lnTo>
                  <a:lnTo>
                    <a:pt x="23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1" name="Freeform 103">
              <a:extLst>
                <a:ext uri="{FF2B5EF4-FFF2-40B4-BE49-F238E27FC236}">
                  <a16:creationId xmlns:a16="http://schemas.microsoft.com/office/drawing/2014/main" id="{2047426C-EB76-424E-899C-F732A9824FA9}"/>
                </a:ext>
              </a:extLst>
            </p:cNvPr>
            <p:cNvSpPr>
              <a:spLocks noEditPoints="1"/>
            </p:cNvSpPr>
            <p:nvPr/>
          </p:nvSpPr>
          <p:spPr bwMode="auto">
            <a:xfrm>
              <a:off x="8324850" y="941070"/>
              <a:ext cx="123825" cy="123825"/>
            </a:xfrm>
            <a:custGeom>
              <a:avLst/>
              <a:gdLst>
                <a:gd name="T0" fmla="*/ 162 w 390"/>
                <a:gd name="T1" fmla="*/ 357 h 390"/>
                <a:gd name="T2" fmla="*/ 116 w 390"/>
                <a:gd name="T3" fmla="*/ 340 h 390"/>
                <a:gd name="T4" fmla="*/ 78 w 390"/>
                <a:gd name="T5" fmla="*/ 312 h 390"/>
                <a:gd name="T6" fmla="*/ 49 w 390"/>
                <a:gd name="T7" fmla="*/ 273 h 390"/>
                <a:gd name="T8" fmla="*/ 33 w 390"/>
                <a:gd name="T9" fmla="*/ 228 h 390"/>
                <a:gd name="T10" fmla="*/ 30 w 390"/>
                <a:gd name="T11" fmla="*/ 178 h 390"/>
                <a:gd name="T12" fmla="*/ 43 w 390"/>
                <a:gd name="T13" fmla="*/ 131 h 390"/>
                <a:gd name="T14" fmla="*/ 68 w 390"/>
                <a:gd name="T15" fmla="*/ 90 h 390"/>
                <a:gd name="T16" fmla="*/ 103 w 390"/>
                <a:gd name="T17" fmla="*/ 58 h 390"/>
                <a:gd name="T18" fmla="*/ 146 w 390"/>
                <a:gd name="T19" fmla="*/ 37 h 390"/>
                <a:gd name="T20" fmla="*/ 195 w 390"/>
                <a:gd name="T21" fmla="*/ 30 h 390"/>
                <a:gd name="T22" fmla="*/ 245 w 390"/>
                <a:gd name="T23" fmla="*/ 37 h 390"/>
                <a:gd name="T24" fmla="*/ 287 w 390"/>
                <a:gd name="T25" fmla="*/ 58 h 390"/>
                <a:gd name="T26" fmla="*/ 323 w 390"/>
                <a:gd name="T27" fmla="*/ 90 h 390"/>
                <a:gd name="T28" fmla="*/ 347 w 390"/>
                <a:gd name="T29" fmla="*/ 131 h 390"/>
                <a:gd name="T30" fmla="*/ 359 w 390"/>
                <a:gd name="T31" fmla="*/ 178 h 390"/>
                <a:gd name="T32" fmla="*/ 357 w 390"/>
                <a:gd name="T33" fmla="*/ 228 h 390"/>
                <a:gd name="T34" fmla="*/ 340 w 390"/>
                <a:gd name="T35" fmla="*/ 273 h 390"/>
                <a:gd name="T36" fmla="*/ 312 w 390"/>
                <a:gd name="T37" fmla="*/ 312 h 390"/>
                <a:gd name="T38" fmla="*/ 273 w 390"/>
                <a:gd name="T39" fmla="*/ 340 h 390"/>
                <a:gd name="T40" fmla="*/ 228 w 390"/>
                <a:gd name="T41" fmla="*/ 357 h 390"/>
                <a:gd name="T42" fmla="*/ 195 w 390"/>
                <a:gd name="T43" fmla="*/ 0 h 390"/>
                <a:gd name="T44" fmla="*/ 137 w 390"/>
                <a:gd name="T45" fmla="*/ 8 h 390"/>
                <a:gd name="T46" fmla="*/ 86 w 390"/>
                <a:gd name="T47" fmla="*/ 33 h 390"/>
                <a:gd name="T48" fmla="*/ 44 w 390"/>
                <a:gd name="T49" fmla="*/ 70 h 390"/>
                <a:gd name="T50" fmla="*/ 15 w 390"/>
                <a:gd name="T51" fmla="*/ 119 h 390"/>
                <a:gd name="T52" fmla="*/ 0 w 390"/>
                <a:gd name="T53" fmla="*/ 174 h 390"/>
                <a:gd name="T54" fmla="*/ 3 w 390"/>
                <a:gd name="T55" fmla="*/ 233 h 390"/>
                <a:gd name="T56" fmla="*/ 24 w 390"/>
                <a:gd name="T57" fmla="*/ 288 h 390"/>
                <a:gd name="T58" fmla="*/ 57 w 390"/>
                <a:gd name="T59" fmla="*/ 333 h 390"/>
                <a:gd name="T60" fmla="*/ 102 w 390"/>
                <a:gd name="T61" fmla="*/ 366 h 390"/>
                <a:gd name="T62" fmla="*/ 156 w 390"/>
                <a:gd name="T63" fmla="*/ 386 h 390"/>
                <a:gd name="T64" fmla="*/ 215 w 390"/>
                <a:gd name="T65" fmla="*/ 389 h 390"/>
                <a:gd name="T66" fmla="*/ 271 w 390"/>
                <a:gd name="T67" fmla="*/ 375 h 390"/>
                <a:gd name="T68" fmla="*/ 320 w 390"/>
                <a:gd name="T69" fmla="*/ 345 h 390"/>
                <a:gd name="T70" fmla="*/ 357 w 390"/>
                <a:gd name="T71" fmla="*/ 304 h 390"/>
                <a:gd name="T72" fmla="*/ 382 w 390"/>
                <a:gd name="T73" fmla="*/ 253 h 390"/>
                <a:gd name="T74" fmla="*/ 390 w 390"/>
                <a:gd name="T75" fmla="*/ 195 h 390"/>
                <a:gd name="T76" fmla="*/ 382 w 390"/>
                <a:gd name="T77" fmla="*/ 137 h 390"/>
                <a:gd name="T78" fmla="*/ 357 w 390"/>
                <a:gd name="T79" fmla="*/ 85 h 390"/>
                <a:gd name="T80" fmla="*/ 320 w 390"/>
                <a:gd name="T81" fmla="*/ 44 h 390"/>
                <a:gd name="T82" fmla="*/ 271 w 390"/>
                <a:gd name="T83" fmla="*/ 15 h 390"/>
                <a:gd name="T84" fmla="*/ 215 w 390"/>
                <a:gd name="T8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390">
                  <a:moveTo>
                    <a:pt x="195" y="360"/>
                  </a:moveTo>
                  <a:lnTo>
                    <a:pt x="178" y="359"/>
                  </a:lnTo>
                  <a:lnTo>
                    <a:pt x="162" y="357"/>
                  </a:lnTo>
                  <a:lnTo>
                    <a:pt x="146" y="353"/>
                  </a:lnTo>
                  <a:lnTo>
                    <a:pt x="131" y="347"/>
                  </a:lnTo>
                  <a:lnTo>
                    <a:pt x="116" y="340"/>
                  </a:lnTo>
                  <a:lnTo>
                    <a:pt x="103" y="332"/>
                  </a:lnTo>
                  <a:lnTo>
                    <a:pt x="90" y="322"/>
                  </a:lnTo>
                  <a:lnTo>
                    <a:pt x="78" y="312"/>
                  </a:lnTo>
                  <a:lnTo>
                    <a:pt x="68" y="300"/>
                  </a:lnTo>
                  <a:lnTo>
                    <a:pt x="58" y="287"/>
                  </a:lnTo>
                  <a:lnTo>
                    <a:pt x="49" y="273"/>
                  </a:lnTo>
                  <a:lnTo>
                    <a:pt x="43" y="259"/>
                  </a:lnTo>
                  <a:lnTo>
                    <a:pt x="38" y="244"/>
                  </a:lnTo>
                  <a:lnTo>
                    <a:pt x="33" y="228"/>
                  </a:lnTo>
                  <a:lnTo>
                    <a:pt x="30" y="212"/>
                  </a:lnTo>
                  <a:lnTo>
                    <a:pt x="30" y="195"/>
                  </a:lnTo>
                  <a:lnTo>
                    <a:pt x="30" y="178"/>
                  </a:lnTo>
                  <a:lnTo>
                    <a:pt x="33" y="162"/>
                  </a:lnTo>
                  <a:lnTo>
                    <a:pt x="38" y="146"/>
                  </a:lnTo>
                  <a:lnTo>
                    <a:pt x="43" y="131"/>
                  </a:lnTo>
                  <a:lnTo>
                    <a:pt x="49" y="116"/>
                  </a:lnTo>
                  <a:lnTo>
                    <a:pt x="58" y="103"/>
                  </a:lnTo>
                  <a:lnTo>
                    <a:pt x="68" y="90"/>
                  </a:lnTo>
                  <a:lnTo>
                    <a:pt x="78" y="78"/>
                  </a:lnTo>
                  <a:lnTo>
                    <a:pt x="90" y="67"/>
                  </a:lnTo>
                  <a:lnTo>
                    <a:pt x="103" y="58"/>
                  </a:lnTo>
                  <a:lnTo>
                    <a:pt x="116" y="49"/>
                  </a:lnTo>
                  <a:lnTo>
                    <a:pt x="131" y="43"/>
                  </a:lnTo>
                  <a:lnTo>
                    <a:pt x="146" y="37"/>
                  </a:lnTo>
                  <a:lnTo>
                    <a:pt x="162" y="33"/>
                  </a:lnTo>
                  <a:lnTo>
                    <a:pt x="178" y="30"/>
                  </a:lnTo>
                  <a:lnTo>
                    <a:pt x="195" y="30"/>
                  </a:lnTo>
                  <a:lnTo>
                    <a:pt x="212" y="30"/>
                  </a:lnTo>
                  <a:lnTo>
                    <a:pt x="228" y="33"/>
                  </a:lnTo>
                  <a:lnTo>
                    <a:pt x="245" y="37"/>
                  </a:lnTo>
                  <a:lnTo>
                    <a:pt x="260" y="43"/>
                  </a:lnTo>
                  <a:lnTo>
                    <a:pt x="273" y="49"/>
                  </a:lnTo>
                  <a:lnTo>
                    <a:pt x="287" y="58"/>
                  </a:lnTo>
                  <a:lnTo>
                    <a:pt x="300" y="67"/>
                  </a:lnTo>
                  <a:lnTo>
                    <a:pt x="312" y="78"/>
                  </a:lnTo>
                  <a:lnTo>
                    <a:pt x="323" y="90"/>
                  </a:lnTo>
                  <a:lnTo>
                    <a:pt x="332" y="103"/>
                  </a:lnTo>
                  <a:lnTo>
                    <a:pt x="340" y="116"/>
                  </a:lnTo>
                  <a:lnTo>
                    <a:pt x="347" y="131"/>
                  </a:lnTo>
                  <a:lnTo>
                    <a:pt x="353" y="146"/>
                  </a:lnTo>
                  <a:lnTo>
                    <a:pt x="357" y="162"/>
                  </a:lnTo>
                  <a:lnTo>
                    <a:pt x="359" y="178"/>
                  </a:lnTo>
                  <a:lnTo>
                    <a:pt x="360" y="195"/>
                  </a:lnTo>
                  <a:lnTo>
                    <a:pt x="359" y="212"/>
                  </a:lnTo>
                  <a:lnTo>
                    <a:pt x="357" y="228"/>
                  </a:lnTo>
                  <a:lnTo>
                    <a:pt x="353" y="244"/>
                  </a:lnTo>
                  <a:lnTo>
                    <a:pt x="347" y="259"/>
                  </a:lnTo>
                  <a:lnTo>
                    <a:pt x="340" y="273"/>
                  </a:lnTo>
                  <a:lnTo>
                    <a:pt x="332" y="287"/>
                  </a:lnTo>
                  <a:lnTo>
                    <a:pt x="323" y="300"/>
                  </a:lnTo>
                  <a:lnTo>
                    <a:pt x="312" y="312"/>
                  </a:lnTo>
                  <a:lnTo>
                    <a:pt x="300" y="322"/>
                  </a:lnTo>
                  <a:lnTo>
                    <a:pt x="287" y="332"/>
                  </a:lnTo>
                  <a:lnTo>
                    <a:pt x="273" y="340"/>
                  </a:lnTo>
                  <a:lnTo>
                    <a:pt x="260" y="347"/>
                  </a:lnTo>
                  <a:lnTo>
                    <a:pt x="245" y="353"/>
                  </a:lnTo>
                  <a:lnTo>
                    <a:pt x="228" y="357"/>
                  </a:lnTo>
                  <a:lnTo>
                    <a:pt x="212" y="359"/>
                  </a:lnTo>
                  <a:lnTo>
                    <a:pt x="195" y="360"/>
                  </a:lnTo>
                  <a:close/>
                  <a:moveTo>
                    <a:pt x="195" y="0"/>
                  </a:moveTo>
                  <a:lnTo>
                    <a:pt x="175" y="0"/>
                  </a:lnTo>
                  <a:lnTo>
                    <a:pt x="156" y="3"/>
                  </a:lnTo>
                  <a:lnTo>
                    <a:pt x="137" y="8"/>
                  </a:lnTo>
                  <a:lnTo>
                    <a:pt x="119" y="15"/>
                  </a:lnTo>
                  <a:lnTo>
                    <a:pt x="102" y="23"/>
                  </a:lnTo>
                  <a:lnTo>
                    <a:pt x="86" y="33"/>
                  </a:lnTo>
                  <a:lnTo>
                    <a:pt x="71" y="44"/>
                  </a:lnTo>
                  <a:lnTo>
                    <a:pt x="57" y="57"/>
                  </a:lnTo>
                  <a:lnTo>
                    <a:pt x="44" y="70"/>
                  </a:lnTo>
                  <a:lnTo>
                    <a:pt x="33" y="85"/>
                  </a:lnTo>
                  <a:lnTo>
                    <a:pt x="24" y="102"/>
                  </a:lnTo>
                  <a:lnTo>
                    <a:pt x="15" y="119"/>
                  </a:lnTo>
                  <a:lnTo>
                    <a:pt x="9" y="137"/>
                  </a:lnTo>
                  <a:lnTo>
                    <a:pt x="3" y="155"/>
                  </a:lnTo>
                  <a:lnTo>
                    <a:pt x="0" y="174"/>
                  </a:lnTo>
                  <a:lnTo>
                    <a:pt x="0" y="195"/>
                  </a:lnTo>
                  <a:lnTo>
                    <a:pt x="0" y="214"/>
                  </a:lnTo>
                  <a:lnTo>
                    <a:pt x="3" y="233"/>
                  </a:lnTo>
                  <a:lnTo>
                    <a:pt x="9" y="253"/>
                  </a:lnTo>
                  <a:lnTo>
                    <a:pt x="15" y="271"/>
                  </a:lnTo>
                  <a:lnTo>
                    <a:pt x="24" y="288"/>
                  </a:lnTo>
                  <a:lnTo>
                    <a:pt x="33" y="304"/>
                  </a:lnTo>
                  <a:lnTo>
                    <a:pt x="44" y="319"/>
                  </a:lnTo>
                  <a:lnTo>
                    <a:pt x="57" y="333"/>
                  </a:lnTo>
                  <a:lnTo>
                    <a:pt x="71" y="345"/>
                  </a:lnTo>
                  <a:lnTo>
                    <a:pt x="86" y="357"/>
                  </a:lnTo>
                  <a:lnTo>
                    <a:pt x="102" y="366"/>
                  </a:lnTo>
                  <a:lnTo>
                    <a:pt x="119" y="375"/>
                  </a:lnTo>
                  <a:lnTo>
                    <a:pt x="137" y="381"/>
                  </a:lnTo>
                  <a:lnTo>
                    <a:pt x="156" y="386"/>
                  </a:lnTo>
                  <a:lnTo>
                    <a:pt x="175" y="389"/>
                  </a:lnTo>
                  <a:lnTo>
                    <a:pt x="195" y="390"/>
                  </a:lnTo>
                  <a:lnTo>
                    <a:pt x="215" y="389"/>
                  </a:lnTo>
                  <a:lnTo>
                    <a:pt x="234" y="386"/>
                  </a:lnTo>
                  <a:lnTo>
                    <a:pt x="253" y="381"/>
                  </a:lnTo>
                  <a:lnTo>
                    <a:pt x="271" y="375"/>
                  </a:lnTo>
                  <a:lnTo>
                    <a:pt x="288" y="366"/>
                  </a:lnTo>
                  <a:lnTo>
                    <a:pt x="305" y="357"/>
                  </a:lnTo>
                  <a:lnTo>
                    <a:pt x="320" y="345"/>
                  </a:lnTo>
                  <a:lnTo>
                    <a:pt x="334" y="333"/>
                  </a:lnTo>
                  <a:lnTo>
                    <a:pt x="345" y="319"/>
                  </a:lnTo>
                  <a:lnTo>
                    <a:pt x="357" y="304"/>
                  </a:lnTo>
                  <a:lnTo>
                    <a:pt x="367" y="288"/>
                  </a:lnTo>
                  <a:lnTo>
                    <a:pt x="375" y="271"/>
                  </a:lnTo>
                  <a:lnTo>
                    <a:pt x="382" y="253"/>
                  </a:lnTo>
                  <a:lnTo>
                    <a:pt x="386" y="235"/>
                  </a:lnTo>
                  <a:lnTo>
                    <a:pt x="389" y="214"/>
                  </a:lnTo>
                  <a:lnTo>
                    <a:pt x="390" y="195"/>
                  </a:lnTo>
                  <a:lnTo>
                    <a:pt x="389" y="174"/>
                  </a:lnTo>
                  <a:lnTo>
                    <a:pt x="386" y="155"/>
                  </a:lnTo>
                  <a:lnTo>
                    <a:pt x="382" y="137"/>
                  </a:lnTo>
                  <a:lnTo>
                    <a:pt x="375" y="119"/>
                  </a:lnTo>
                  <a:lnTo>
                    <a:pt x="367" y="102"/>
                  </a:lnTo>
                  <a:lnTo>
                    <a:pt x="357" y="85"/>
                  </a:lnTo>
                  <a:lnTo>
                    <a:pt x="345" y="70"/>
                  </a:lnTo>
                  <a:lnTo>
                    <a:pt x="334" y="57"/>
                  </a:lnTo>
                  <a:lnTo>
                    <a:pt x="320" y="44"/>
                  </a:lnTo>
                  <a:lnTo>
                    <a:pt x="305" y="33"/>
                  </a:lnTo>
                  <a:lnTo>
                    <a:pt x="288" y="23"/>
                  </a:lnTo>
                  <a:lnTo>
                    <a:pt x="271" y="15"/>
                  </a:lnTo>
                  <a:lnTo>
                    <a:pt x="253" y="8"/>
                  </a:lnTo>
                  <a:lnTo>
                    <a:pt x="234" y="3"/>
                  </a:lnTo>
                  <a:lnTo>
                    <a:pt x="215" y="0"/>
                  </a:lnTo>
                  <a:lnTo>
                    <a:pt x="1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2" name="Freeform 104">
              <a:extLst>
                <a:ext uri="{FF2B5EF4-FFF2-40B4-BE49-F238E27FC236}">
                  <a16:creationId xmlns:a16="http://schemas.microsoft.com/office/drawing/2014/main" id="{DD7C1A90-C9C1-494D-92BC-DF6CB8FCB50D}"/>
                </a:ext>
              </a:extLst>
            </p:cNvPr>
            <p:cNvSpPr>
              <a:spLocks/>
            </p:cNvSpPr>
            <p:nvPr/>
          </p:nvSpPr>
          <p:spPr bwMode="auto">
            <a:xfrm>
              <a:off x="8353425" y="969645"/>
              <a:ext cx="66675" cy="66675"/>
            </a:xfrm>
            <a:custGeom>
              <a:avLst/>
              <a:gdLst>
                <a:gd name="T0" fmla="*/ 120 w 210"/>
                <a:gd name="T1" fmla="*/ 90 h 210"/>
                <a:gd name="T2" fmla="*/ 120 w 210"/>
                <a:gd name="T3" fmla="*/ 12 h 210"/>
                <a:gd name="T4" fmla="*/ 117 w 210"/>
                <a:gd name="T5" fmla="*/ 6 h 210"/>
                <a:gd name="T6" fmla="*/ 114 w 210"/>
                <a:gd name="T7" fmla="*/ 2 h 210"/>
                <a:gd name="T8" fmla="*/ 108 w 210"/>
                <a:gd name="T9" fmla="*/ 0 h 210"/>
                <a:gd name="T10" fmla="*/ 102 w 210"/>
                <a:gd name="T11" fmla="*/ 0 h 210"/>
                <a:gd name="T12" fmla="*/ 97 w 210"/>
                <a:gd name="T13" fmla="*/ 2 h 210"/>
                <a:gd name="T14" fmla="*/ 92 w 210"/>
                <a:gd name="T15" fmla="*/ 6 h 210"/>
                <a:gd name="T16" fmla="*/ 90 w 210"/>
                <a:gd name="T17" fmla="*/ 12 h 210"/>
                <a:gd name="T18" fmla="*/ 90 w 210"/>
                <a:gd name="T19" fmla="*/ 90 h 210"/>
                <a:gd name="T20" fmla="*/ 12 w 210"/>
                <a:gd name="T21" fmla="*/ 90 h 210"/>
                <a:gd name="T22" fmla="*/ 7 w 210"/>
                <a:gd name="T23" fmla="*/ 92 h 210"/>
                <a:gd name="T24" fmla="*/ 2 w 210"/>
                <a:gd name="T25" fmla="*/ 96 h 210"/>
                <a:gd name="T26" fmla="*/ 0 w 210"/>
                <a:gd name="T27" fmla="*/ 102 h 210"/>
                <a:gd name="T28" fmla="*/ 0 w 210"/>
                <a:gd name="T29" fmla="*/ 108 h 210"/>
                <a:gd name="T30" fmla="*/ 2 w 210"/>
                <a:gd name="T31" fmla="*/ 113 h 210"/>
                <a:gd name="T32" fmla="*/ 7 w 210"/>
                <a:gd name="T33" fmla="*/ 117 h 210"/>
                <a:gd name="T34" fmla="*/ 12 w 210"/>
                <a:gd name="T35" fmla="*/ 120 h 210"/>
                <a:gd name="T36" fmla="*/ 90 w 210"/>
                <a:gd name="T37" fmla="*/ 120 h 210"/>
                <a:gd name="T38" fmla="*/ 90 w 210"/>
                <a:gd name="T39" fmla="*/ 198 h 210"/>
                <a:gd name="T40" fmla="*/ 92 w 210"/>
                <a:gd name="T41" fmla="*/ 204 h 210"/>
                <a:gd name="T42" fmla="*/ 97 w 210"/>
                <a:gd name="T43" fmla="*/ 208 h 210"/>
                <a:gd name="T44" fmla="*/ 102 w 210"/>
                <a:gd name="T45" fmla="*/ 210 h 210"/>
                <a:gd name="T46" fmla="*/ 108 w 210"/>
                <a:gd name="T47" fmla="*/ 210 h 210"/>
                <a:gd name="T48" fmla="*/ 114 w 210"/>
                <a:gd name="T49" fmla="*/ 208 h 210"/>
                <a:gd name="T50" fmla="*/ 117 w 210"/>
                <a:gd name="T51" fmla="*/ 204 h 210"/>
                <a:gd name="T52" fmla="*/ 120 w 210"/>
                <a:gd name="T53" fmla="*/ 198 h 210"/>
                <a:gd name="T54" fmla="*/ 120 w 210"/>
                <a:gd name="T55" fmla="*/ 120 h 210"/>
                <a:gd name="T56" fmla="*/ 198 w 210"/>
                <a:gd name="T57" fmla="*/ 120 h 210"/>
                <a:gd name="T58" fmla="*/ 204 w 210"/>
                <a:gd name="T59" fmla="*/ 117 h 210"/>
                <a:gd name="T60" fmla="*/ 208 w 210"/>
                <a:gd name="T61" fmla="*/ 113 h 210"/>
                <a:gd name="T62" fmla="*/ 210 w 210"/>
                <a:gd name="T63" fmla="*/ 108 h 210"/>
                <a:gd name="T64" fmla="*/ 210 w 210"/>
                <a:gd name="T65" fmla="*/ 102 h 210"/>
                <a:gd name="T66" fmla="*/ 208 w 210"/>
                <a:gd name="T67" fmla="*/ 96 h 210"/>
                <a:gd name="T68" fmla="*/ 204 w 210"/>
                <a:gd name="T69" fmla="*/ 92 h 210"/>
                <a:gd name="T70" fmla="*/ 198 w 210"/>
                <a:gd name="T71" fmla="*/ 9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 h="210">
                  <a:moveTo>
                    <a:pt x="195" y="90"/>
                  </a:moveTo>
                  <a:lnTo>
                    <a:pt x="120" y="90"/>
                  </a:lnTo>
                  <a:lnTo>
                    <a:pt x="120" y="15"/>
                  </a:lnTo>
                  <a:lnTo>
                    <a:pt x="120" y="12"/>
                  </a:lnTo>
                  <a:lnTo>
                    <a:pt x="119" y="8"/>
                  </a:lnTo>
                  <a:lnTo>
                    <a:pt x="117" y="6"/>
                  </a:lnTo>
                  <a:lnTo>
                    <a:pt x="116" y="4"/>
                  </a:lnTo>
                  <a:lnTo>
                    <a:pt x="114" y="2"/>
                  </a:lnTo>
                  <a:lnTo>
                    <a:pt x="111" y="1"/>
                  </a:lnTo>
                  <a:lnTo>
                    <a:pt x="108" y="0"/>
                  </a:lnTo>
                  <a:lnTo>
                    <a:pt x="105" y="0"/>
                  </a:lnTo>
                  <a:lnTo>
                    <a:pt x="102" y="0"/>
                  </a:lnTo>
                  <a:lnTo>
                    <a:pt x="99" y="1"/>
                  </a:lnTo>
                  <a:lnTo>
                    <a:pt x="97" y="2"/>
                  </a:lnTo>
                  <a:lnTo>
                    <a:pt x="94" y="4"/>
                  </a:lnTo>
                  <a:lnTo>
                    <a:pt x="92" y="6"/>
                  </a:lnTo>
                  <a:lnTo>
                    <a:pt x="91" y="8"/>
                  </a:lnTo>
                  <a:lnTo>
                    <a:pt x="90" y="12"/>
                  </a:lnTo>
                  <a:lnTo>
                    <a:pt x="90" y="15"/>
                  </a:lnTo>
                  <a:lnTo>
                    <a:pt x="90" y="90"/>
                  </a:lnTo>
                  <a:lnTo>
                    <a:pt x="15" y="90"/>
                  </a:lnTo>
                  <a:lnTo>
                    <a:pt x="12" y="90"/>
                  </a:lnTo>
                  <a:lnTo>
                    <a:pt x="9" y="91"/>
                  </a:lnTo>
                  <a:lnTo>
                    <a:pt x="7" y="92"/>
                  </a:lnTo>
                  <a:lnTo>
                    <a:pt x="4" y="94"/>
                  </a:lnTo>
                  <a:lnTo>
                    <a:pt x="2" y="96"/>
                  </a:lnTo>
                  <a:lnTo>
                    <a:pt x="1" y="98"/>
                  </a:lnTo>
                  <a:lnTo>
                    <a:pt x="0" y="102"/>
                  </a:lnTo>
                  <a:lnTo>
                    <a:pt x="0" y="105"/>
                  </a:lnTo>
                  <a:lnTo>
                    <a:pt x="0" y="108"/>
                  </a:lnTo>
                  <a:lnTo>
                    <a:pt x="1" y="110"/>
                  </a:lnTo>
                  <a:lnTo>
                    <a:pt x="2" y="113"/>
                  </a:lnTo>
                  <a:lnTo>
                    <a:pt x="4" y="116"/>
                  </a:lnTo>
                  <a:lnTo>
                    <a:pt x="7" y="117"/>
                  </a:lnTo>
                  <a:lnTo>
                    <a:pt x="9" y="119"/>
                  </a:lnTo>
                  <a:lnTo>
                    <a:pt x="12" y="120"/>
                  </a:lnTo>
                  <a:lnTo>
                    <a:pt x="15" y="120"/>
                  </a:lnTo>
                  <a:lnTo>
                    <a:pt x="90" y="120"/>
                  </a:lnTo>
                  <a:lnTo>
                    <a:pt x="90" y="195"/>
                  </a:lnTo>
                  <a:lnTo>
                    <a:pt x="90" y="198"/>
                  </a:lnTo>
                  <a:lnTo>
                    <a:pt x="91" y="200"/>
                  </a:lnTo>
                  <a:lnTo>
                    <a:pt x="92" y="204"/>
                  </a:lnTo>
                  <a:lnTo>
                    <a:pt x="94" y="206"/>
                  </a:lnTo>
                  <a:lnTo>
                    <a:pt x="97" y="208"/>
                  </a:lnTo>
                  <a:lnTo>
                    <a:pt x="99" y="209"/>
                  </a:lnTo>
                  <a:lnTo>
                    <a:pt x="102" y="210"/>
                  </a:lnTo>
                  <a:lnTo>
                    <a:pt x="105" y="210"/>
                  </a:lnTo>
                  <a:lnTo>
                    <a:pt x="108" y="210"/>
                  </a:lnTo>
                  <a:lnTo>
                    <a:pt x="111" y="209"/>
                  </a:lnTo>
                  <a:lnTo>
                    <a:pt x="114" y="208"/>
                  </a:lnTo>
                  <a:lnTo>
                    <a:pt x="116" y="206"/>
                  </a:lnTo>
                  <a:lnTo>
                    <a:pt x="117" y="204"/>
                  </a:lnTo>
                  <a:lnTo>
                    <a:pt x="119" y="200"/>
                  </a:lnTo>
                  <a:lnTo>
                    <a:pt x="120" y="198"/>
                  </a:lnTo>
                  <a:lnTo>
                    <a:pt x="120" y="195"/>
                  </a:lnTo>
                  <a:lnTo>
                    <a:pt x="120" y="120"/>
                  </a:lnTo>
                  <a:lnTo>
                    <a:pt x="195" y="120"/>
                  </a:lnTo>
                  <a:lnTo>
                    <a:pt x="198" y="120"/>
                  </a:lnTo>
                  <a:lnTo>
                    <a:pt x="201" y="119"/>
                  </a:lnTo>
                  <a:lnTo>
                    <a:pt x="204" y="117"/>
                  </a:lnTo>
                  <a:lnTo>
                    <a:pt x="206" y="116"/>
                  </a:lnTo>
                  <a:lnTo>
                    <a:pt x="208" y="113"/>
                  </a:lnTo>
                  <a:lnTo>
                    <a:pt x="209" y="110"/>
                  </a:lnTo>
                  <a:lnTo>
                    <a:pt x="210" y="108"/>
                  </a:lnTo>
                  <a:lnTo>
                    <a:pt x="210" y="105"/>
                  </a:lnTo>
                  <a:lnTo>
                    <a:pt x="210" y="102"/>
                  </a:lnTo>
                  <a:lnTo>
                    <a:pt x="209" y="98"/>
                  </a:lnTo>
                  <a:lnTo>
                    <a:pt x="208" y="96"/>
                  </a:lnTo>
                  <a:lnTo>
                    <a:pt x="206" y="94"/>
                  </a:lnTo>
                  <a:lnTo>
                    <a:pt x="204" y="92"/>
                  </a:lnTo>
                  <a:lnTo>
                    <a:pt x="201" y="91"/>
                  </a:lnTo>
                  <a:lnTo>
                    <a:pt x="198" y="90"/>
                  </a:lnTo>
                  <a:lnTo>
                    <a:pt x="19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03" name="Group 74">
            <a:extLst>
              <a:ext uri="{FF2B5EF4-FFF2-40B4-BE49-F238E27FC236}">
                <a16:creationId xmlns:a16="http://schemas.microsoft.com/office/drawing/2014/main" id="{C917479D-FD8C-421F-9049-E69AFA8D20E5}"/>
              </a:ext>
            </a:extLst>
          </p:cNvPr>
          <p:cNvGrpSpPr>
            <a:grpSpLocks noChangeAspect="1"/>
          </p:cNvGrpSpPr>
          <p:nvPr/>
        </p:nvGrpSpPr>
        <p:grpSpPr>
          <a:xfrm>
            <a:off x="5791954" y="4340505"/>
            <a:ext cx="285619" cy="285619"/>
            <a:chOff x="8736013" y="779145"/>
            <a:chExt cx="285750" cy="285750"/>
          </a:xfrm>
          <a:solidFill>
            <a:schemeClr val="bg1"/>
          </a:solidFill>
          <a:effectLst/>
        </p:grpSpPr>
        <p:sp>
          <p:nvSpPr>
            <p:cNvPr id="1704" name="Freeform 95">
              <a:extLst>
                <a:ext uri="{FF2B5EF4-FFF2-40B4-BE49-F238E27FC236}">
                  <a16:creationId xmlns:a16="http://schemas.microsoft.com/office/drawing/2014/main" id="{24EE4054-2246-4EFC-B96B-FC1770E0C25D}"/>
                </a:ext>
              </a:extLst>
            </p:cNvPr>
            <p:cNvSpPr>
              <a:spLocks noEditPoints="1"/>
            </p:cNvSpPr>
            <p:nvPr/>
          </p:nvSpPr>
          <p:spPr bwMode="auto">
            <a:xfrm>
              <a:off x="8736013" y="864870"/>
              <a:ext cx="247650" cy="142875"/>
            </a:xfrm>
            <a:custGeom>
              <a:avLst/>
              <a:gdLst>
                <a:gd name="T0" fmla="*/ 30 w 782"/>
                <a:gd name="T1" fmla="*/ 30 h 452"/>
                <a:gd name="T2" fmla="*/ 752 w 782"/>
                <a:gd name="T3" fmla="*/ 30 h 452"/>
                <a:gd name="T4" fmla="*/ 752 w 782"/>
                <a:gd name="T5" fmla="*/ 60 h 452"/>
                <a:gd name="T6" fmla="*/ 736 w 782"/>
                <a:gd name="T7" fmla="*/ 60 h 452"/>
                <a:gd name="T8" fmla="*/ 54 w 782"/>
                <a:gd name="T9" fmla="*/ 60 h 452"/>
                <a:gd name="T10" fmla="*/ 30 w 782"/>
                <a:gd name="T11" fmla="*/ 60 h 452"/>
                <a:gd name="T12" fmla="*/ 30 w 782"/>
                <a:gd name="T13" fmla="*/ 30 h 452"/>
                <a:gd name="T14" fmla="*/ 72 w 782"/>
                <a:gd name="T15" fmla="*/ 90 h 452"/>
                <a:gd name="T16" fmla="*/ 717 w 782"/>
                <a:gd name="T17" fmla="*/ 90 h 452"/>
                <a:gd name="T18" fmla="*/ 700 w 782"/>
                <a:gd name="T19" fmla="*/ 178 h 452"/>
                <a:gd name="T20" fmla="*/ 729 w 782"/>
                <a:gd name="T21" fmla="*/ 184 h 452"/>
                <a:gd name="T22" fmla="*/ 747 w 782"/>
                <a:gd name="T23" fmla="*/ 90 h 452"/>
                <a:gd name="T24" fmla="*/ 767 w 782"/>
                <a:gd name="T25" fmla="*/ 90 h 452"/>
                <a:gd name="T26" fmla="*/ 770 w 782"/>
                <a:gd name="T27" fmla="*/ 90 h 452"/>
                <a:gd name="T28" fmla="*/ 773 w 782"/>
                <a:gd name="T29" fmla="*/ 89 h 452"/>
                <a:gd name="T30" fmla="*/ 775 w 782"/>
                <a:gd name="T31" fmla="*/ 88 h 452"/>
                <a:gd name="T32" fmla="*/ 777 w 782"/>
                <a:gd name="T33" fmla="*/ 86 h 452"/>
                <a:gd name="T34" fmla="*/ 780 w 782"/>
                <a:gd name="T35" fmla="*/ 84 h 452"/>
                <a:gd name="T36" fmla="*/ 781 w 782"/>
                <a:gd name="T37" fmla="*/ 82 h 452"/>
                <a:gd name="T38" fmla="*/ 782 w 782"/>
                <a:gd name="T39" fmla="*/ 79 h 452"/>
                <a:gd name="T40" fmla="*/ 782 w 782"/>
                <a:gd name="T41" fmla="*/ 75 h 452"/>
                <a:gd name="T42" fmla="*/ 782 w 782"/>
                <a:gd name="T43" fmla="*/ 15 h 452"/>
                <a:gd name="T44" fmla="*/ 782 w 782"/>
                <a:gd name="T45" fmla="*/ 12 h 452"/>
                <a:gd name="T46" fmla="*/ 781 w 782"/>
                <a:gd name="T47" fmla="*/ 10 h 452"/>
                <a:gd name="T48" fmla="*/ 780 w 782"/>
                <a:gd name="T49" fmla="*/ 7 h 452"/>
                <a:gd name="T50" fmla="*/ 777 w 782"/>
                <a:gd name="T51" fmla="*/ 5 h 452"/>
                <a:gd name="T52" fmla="*/ 775 w 782"/>
                <a:gd name="T53" fmla="*/ 4 h 452"/>
                <a:gd name="T54" fmla="*/ 773 w 782"/>
                <a:gd name="T55" fmla="*/ 1 h 452"/>
                <a:gd name="T56" fmla="*/ 770 w 782"/>
                <a:gd name="T57" fmla="*/ 1 h 452"/>
                <a:gd name="T58" fmla="*/ 767 w 782"/>
                <a:gd name="T59" fmla="*/ 0 h 452"/>
                <a:gd name="T60" fmla="*/ 15 w 782"/>
                <a:gd name="T61" fmla="*/ 0 h 452"/>
                <a:gd name="T62" fmla="*/ 12 w 782"/>
                <a:gd name="T63" fmla="*/ 1 h 452"/>
                <a:gd name="T64" fmla="*/ 10 w 782"/>
                <a:gd name="T65" fmla="*/ 1 h 452"/>
                <a:gd name="T66" fmla="*/ 6 w 782"/>
                <a:gd name="T67" fmla="*/ 4 h 452"/>
                <a:gd name="T68" fmla="*/ 4 w 782"/>
                <a:gd name="T69" fmla="*/ 5 h 452"/>
                <a:gd name="T70" fmla="*/ 3 w 782"/>
                <a:gd name="T71" fmla="*/ 7 h 452"/>
                <a:gd name="T72" fmla="*/ 1 w 782"/>
                <a:gd name="T73" fmla="*/ 10 h 452"/>
                <a:gd name="T74" fmla="*/ 0 w 782"/>
                <a:gd name="T75" fmla="*/ 12 h 452"/>
                <a:gd name="T76" fmla="*/ 0 w 782"/>
                <a:gd name="T77" fmla="*/ 15 h 452"/>
                <a:gd name="T78" fmla="*/ 0 w 782"/>
                <a:gd name="T79" fmla="*/ 75 h 452"/>
                <a:gd name="T80" fmla="*/ 0 w 782"/>
                <a:gd name="T81" fmla="*/ 79 h 452"/>
                <a:gd name="T82" fmla="*/ 1 w 782"/>
                <a:gd name="T83" fmla="*/ 82 h 452"/>
                <a:gd name="T84" fmla="*/ 3 w 782"/>
                <a:gd name="T85" fmla="*/ 84 h 452"/>
                <a:gd name="T86" fmla="*/ 4 w 782"/>
                <a:gd name="T87" fmla="*/ 86 h 452"/>
                <a:gd name="T88" fmla="*/ 6 w 782"/>
                <a:gd name="T89" fmla="*/ 88 h 452"/>
                <a:gd name="T90" fmla="*/ 10 w 782"/>
                <a:gd name="T91" fmla="*/ 89 h 452"/>
                <a:gd name="T92" fmla="*/ 12 w 782"/>
                <a:gd name="T93" fmla="*/ 90 h 452"/>
                <a:gd name="T94" fmla="*/ 15 w 782"/>
                <a:gd name="T95" fmla="*/ 90 h 452"/>
                <a:gd name="T96" fmla="*/ 41 w 782"/>
                <a:gd name="T97" fmla="*/ 90 h 452"/>
                <a:gd name="T98" fmla="*/ 115 w 782"/>
                <a:gd name="T99" fmla="*/ 440 h 452"/>
                <a:gd name="T100" fmla="*/ 116 w 782"/>
                <a:gd name="T101" fmla="*/ 444 h 452"/>
                <a:gd name="T102" fmla="*/ 119 w 782"/>
                <a:gd name="T103" fmla="*/ 449 h 452"/>
                <a:gd name="T104" fmla="*/ 124 w 782"/>
                <a:gd name="T105" fmla="*/ 451 h 452"/>
                <a:gd name="T106" fmla="*/ 129 w 782"/>
                <a:gd name="T107" fmla="*/ 452 h 452"/>
                <a:gd name="T108" fmla="*/ 432 w 782"/>
                <a:gd name="T109" fmla="*/ 452 h 452"/>
                <a:gd name="T110" fmla="*/ 432 w 782"/>
                <a:gd name="T111" fmla="*/ 422 h 452"/>
                <a:gd name="T112" fmla="*/ 142 w 782"/>
                <a:gd name="T113" fmla="*/ 422 h 452"/>
                <a:gd name="T114" fmla="*/ 72 w 782"/>
                <a:gd name="T115" fmla="*/ 9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2" h="452">
                  <a:moveTo>
                    <a:pt x="30" y="30"/>
                  </a:moveTo>
                  <a:lnTo>
                    <a:pt x="752" y="30"/>
                  </a:lnTo>
                  <a:lnTo>
                    <a:pt x="752" y="60"/>
                  </a:lnTo>
                  <a:lnTo>
                    <a:pt x="736" y="60"/>
                  </a:lnTo>
                  <a:lnTo>
                    <a:pt x="54" y="60"/>
                  </a:lnTo>
                  <a:lnTo>
                    <a:pt x="30" y="60"/>
                  </a:lnTo>
                  <a:lnTo>
                    <a:pt x="30" y="30"/>
                  </a:lnTo>
                  <a:close/>
                  <a:moveTo>
                    <a:pt x="72" y="90"/>
                  </a:moveTo>
                  <a:lnTo>
                    <a:pt x="717" y="90"/>
                  </a:lnTo>
                  <a:lnTo>
                    <a:pt x="700" y="178"/>
                  </a:lnTo>
                  <a:lnTo>
                    <a:pt x="729" y="184"/>
                  </a:lnTo>
                  <a:lnTo>
                    <a:pt x="747" y="90"/>
                  </a:lnTo>
                  <a:lnTo>
                    <a:pt x="767" y="90"/>
                  </a:lnTo>
                  <a:lnTo>
                    <a:pt x="770" y="90"/>
                  </a:lnTo>
                  <a:lnTo>
                    <a:pt x="773" y="89"/>
                  </a:lnTo>
                  <a:lnTo>
                    <a:pt x="775" y="88"/>
                  </a:lnTo>
                  <a:lnTo>
                    <a:pt x="777" y="86"/>
                  </a:lnTo>
                  <a:lnTo>
                    <a:pt x="780" y="84"/>
                  </a:lnTo>
                  <a:lnTo>
                    <a:pt x="781" y="82"/>
                  </a:lnTo>
                  <a:lnTo>
                    <a:pt x="782" y="79"/>
                  </a:lnTo>
                  <a:lnTo>
                    <a:pt x="782" y="75"/>
                  </a:lnTo>
                  <a:lnTo>
                    <a:pt x="782" y="15"/>
                  </a:lnTo>
                  <a:lnTo>
                    <a:pt x="782" y="12"/>
                  </a:lnTo>
                  <a:lnTo>
                    <a:pt x="781" y="10"/>
                  </a:lnTo>
                  <a:lnTo>
                    <a:pt x="780" y="7"/>
                  </a:lnTo>
                  <a:lnTo>
                    <a:pt x="777" y="5"/>
                  </a:lnTo>
                  <a:lnTo>
                    <a:pt x="775" y="4"/>
                  </a:lnTo>
                  <a:lnTo>
                    <a:pt x="773" y="1"/>
                  </a:lnTo>
                  <a:lnTo>
                    <a:pt x="770" y="1"/>
                  </a:lnTo>
                  <a:lnTo>
                    <a:pt x="767" y="0"/>
                  </a:lnTo>
                  <a:lnTo>
                    <a:pt x="15" y="0"/>
                  </a:lnTo>
                  <a:lnTo>
                    <a:pt x="12" y="1"/>
                  </a:lnTo>
                  <a:lnTo>
                    <a:pt x="10" y="1"/>
                  </a:lnTo>
                  <a:lnTo>
                    <a:pt x="6" y="4"/>
                  </a:lnTo>
                  <a:lnTo>
                    <a:pt x="4" y="5"/>
                  </a:lnTo>
                  <a:lnTo>
                    <a:pt x="3" y="7"/>
                  </a:lnTo>
                  <a:lnTo>
                    <a:pt x="1" y="10"/>
                  </a:lnTo>
                  <a:lnTo>
                    <a:pt x="0" y="12"/>
                  </a:lnTo>
                  <a:lnTo>
                    <a:pt x="0" y="15"/>
                  </a:lnTo>
                  <a:lnTo>
                    <a:pt x="0" y="75"/>
                  </a:lnTo>
                  <a:lnTo>
                    <a:pt x="0" y="79"/>
                  </a:lnTo>
                  <a:lnTo>
                    <a:pt x="1" y="82"/>
                  </a:lnTo>
                  <a:lnTo>
                    <a:pt x="3" y="84"/>
                  </a:lnTo>
                  <a:lnTo>
                    <a:pt x="4" y="86"/>
                  </a:lnTo>
                  <a:lnTo>
                    <a:pt x="6" y="88"/>
                  </a:lnTo>
                  <a:lnTo>
                    <a:pt x="10" y="89"/>
                  </a:lnTo>
                  <a:lnTo>
                    <a:pt x="12" y="90"/>
                  </a:lnTo>
                  <a:lnTo>
                    <a:pt x="15" y="90"/>
                  </a:lnTo>
                  <a:lnTo>
                    <a:pt x="41" y="90"/>
                  </a:lnTo>
                  <a:lnTo>
                    <a:pt x="115" y="440"/>
                  </a:lnTo>
                  <a:lnTo>
                    <a:pt x="116" y="444"/>
                  </a:lnTo>
                  <a:lnTo>
                    <a:pt x="119" y="449"/>
                  </a:lnTo>
                  <a:lnTo>
                    <a:pt x="124" y="451"/>
                  </a:lnTo>
                  <a:lnTo>
                    <a:pt x="129" y="452"/>
                  </a:lnTo>
                  <a:lnTo>
                    <a:pt x="432" y="452"/>
                  </a:lnTo>
                  <a:lnTo>
                    <a:pt x="432" y="422"/>
                  </a:lnTo>
                  <a:lnTo>
                    <a:pt x="142" y="422"/>
                  </a:lnTo>
                  <a:lnTo>
                    <a:pt x="7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5" name="Freeform 96">
              <a:extLst>
                <a:ext uri="{FF2B5EF4-FFF2-40B4-BE49-F238E27FC236}">
                  <a16:creationId xmlns:a16="http://schemas.microsoft.com/office/drawing/2014/main" id="{70C9857D-F6C1-4773-A255-D8F726530D44}"/>
                </a:ext>
              </a:extLst>
            </p:cNvPr>
            <p:cNvSpPr>
              <a:spLocks/>
            </p:cNvSpPr>
            <p:nvPr/>
          </p:nvSpPr>
          <p:spPr bwMode="auto">
            <a:xfrm>
              <a:off x="8772525" y="779145"/>
              <a:ext cx="80963" cy="69850"/>
            </a:xfrm>
            <a:custGeom>
              <a:avLst/>
              <a:gdLst>
                <a:gd name="T0" fmla="*/ 15 w 257"/>
                <a:gd name="T1" fmla="*/ 220 h 220"/>
                <a:gd name="T2" fmla="*/ 20 w 257"/>
                <a:gd name="T3" fmla="*/ 219 h 220"/>
                <a:gd name="T4" fmla="*/ 24 w 257"/>
                <a:gd name="T5" fmla="*/ 217 h 220"/>
                <a:gd name="T6" fmla="*/ 252 w 257"/>
                <a:gd name="T7" fmla="*/ 27 h 220"/>
                <a:gd name="T8" fmla="*/ 254 w 257"/>
                <a:gd name="T9" fmla="*/ 25 h 220"/>
                <a:gd name="T10" fmla="*/ 256 w 257"/>
                <a:gd name="T11" fmla="*/ 22 h 220"/>
                <a:gd name="T12" fmla="*/ 257 w 257"/>
                <a:gd name="T13" fmla="*/ 19 h 220"/>
                <a:gd name="T14" fmla="*/ 257 w 257"/>
                <a:gd name="T15" fmla="*/ 16 h 220"/>
                <a:gd name="T16" fmla="*/ 257 w 257"/>
                <a:gd name="T17" fmla="*/ 13 h 220"/>
                <a:gd name="T18" fmla="*/ 257 w 257"/>
                <a:gd name="T19" fmla="*/ 11 h 220"/>
                <a:gd name="T20" fmla="*/ 256 w 257"/>
                <a:gd name="T21" fmla="*/ 8 h 220"/>
                <a:gd name="T22" fmla="*/ 254 w 257"/>
                <a:gd name="T23" fmla="*/ 6 h 220"/>
                <a:gd name="T24" fmla="*/ 252 w 257"/>
                <a:gd name="T25" fmla="*/ 3 h 220"/>
                <a:gd name="T26" fmla="*/ 250 w 257"/>
                <a:gd name="T27" fmla="*/ 1 h 220"/>
                <a:gd name="T28" fmla="*/ 246 w 257"/>
                <a:gd name="T29" fmla="*/ 0 h 220"/>
                <a:gd name="T30" fmla="*/ 244 w 257"/>
                <a:gd name="T31" fmla="*/ 0 h 220"/>
                <a:gd name="T32" fmla="*/ 241 w 257"/>
                <a:gd name="T33" fmla="*/ 0 h 220"/>
                <a:gd name="T34" fmla="*/ 238 w 257"/>
                <a:gd name="T35" fmla="*/ 1 h 220"/>
                <a:gd name="T36" fmla="*/ 236 w 257"/>
                <a:gd name="T37" fmla="*/ 2 h 220"/>
                <a:gd name="T38" fmla="*/ 232 w 257"/>
                <a:gd name="T39" fmla="*/ 3 h 220"/>
                <a:gd name="T40" fmla="*/ 5 w 257"/>
                <a:gd name="T41" fmla="*/ 193 h 220"/>
                <a:gd name="T42" fmla="*/ 3 w 257"/>
                <a:gd name="T43" fmla="*/ 195 h 220"/>
                <a:gd name="T44" fmla="*/ 2 w 257"/>
                <a:gd name="T45" fmla="*/ 198 h 220"/>
                <a:gd name="T46" fmla="*/ 1 w 257"/>
                <a:gd name="T47" fmla="*/ 201 h 220"/>
                <a:gd name="T48" fmla="*/ 0 w 257"/>
                <a:gd name="T49" fmla="*/ 203 h 220"/>
                <a:gd name="T50" fmla="*/ 0 w 257"/>
                <a:gd name="T51" fmla="*/ 206 h 220"/>
                <a:gd name="T52" fmla="*/ 1 w 257"/>
                <a:gd name="T53" fmla="*/ 209 h 220"/>
                <a:gd name="T54" fmla="*/ 2 w 257"/>
                <a:gd name="T55" fmla="*/ 211 h 220"/>
                <a:gd name="T56" fmla="*/ 4 w 257"/>
                <a:gd name="T57" fmla="*/ 215 h 220"/>
                <a:gd name="T58" fmla="*/ 6 w 257"/>
                <a:gd name="T59" fmla="*/ 217 h 220"/>
                <a:gd name="T60" fmla="*/ 8 w 257"/>
                <a:gd name="T61" fmla="*/ 218 h 220"/>
                <a:gd name="T62" fmla="*/ 11 w 257"/>
                <a:gd name="T63" fmla="*/ 219 h 220"/>
                <a:gd name="T64" fmla="*/ 15 w 257"/>
                <a:gd name="T65"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15" y="220"/>
                  </a:moveTo>
                  <a:lnTo>
                    <a:pt x="20" y="219"/>
                  </a:lnTo>
                  <a:lnTo>
                    <a:pt x="24" y="217"/>
                  </a:lnTo>
                  <a:lnTo>
                    <a:pt x="252" y="27"/>
                  </a:lnTo>
                  <a:lnTo>
                    <a:pt x="254" y="25"/>
                  </a:lnTo>
                  <a:lnTo>
                    <a:pt x="256" y="22"/>
                  </a:lnTo>
                  <a:lnTo>
                    <a:pt x="257" y="19"/>
                  </a:lnTo>
                  <a:lnTo>
                    <a:pt x="257" y="16"/>
                  </a:lnTo>
                  <a:lnTo>
                    <a:pt x="257" y="13"/>
                  </a:lnTo>
                  <a:lnTo>
                    <a:pt x="257" y="11"/>
                  </a:lnTo>
                  <a:lnTo>
                    <a:pt x="256" y="8"/>
                  </a:lnTo>
                  <a:lnTo>
                    <a:pt x="254" y="6"/>
                  </a:lnTo>
                  <a:lnTo>
                    <a:pt x="252" y="3"/>
                  </a:lnTo>
                  <a:lnTo>
                    <a:pt x="250" y="1"/>
                  </a:lnTo>
                  <a:lnTo>
                    <a:pt x="246" y="0"/>
                  </a:lnTo>
                  <a:lnTo>
                    <a:pt x="244" y="0"/>
                  </a:lnTo>
                  <a:lnTo>
                    <a:pt x="241" y="0"/>
                  </a:lnTo>
                  <a:lnTo>
                    <a:pt x="238" y="1"/>
                  </a:lnTo>
                  <a:lnTo>
                    <a:pt x="236" y="2"/>
                  </a:lnTo>
                  <a:lnTo>
                    <a:pt x="232" y="3"/>
                  </a:lnTo>
                  <a:lnTo>
                    <a:pt x="5" y="193"/>
                  </a:lnTo>
                  <a:lnTo>
                    <a:pt x="3" y="195"/>
                  </a:lnTo>
                  <a:lnTo>
                    <a:pt x="2" y="198"/>
                  </a:lnTo>
                  <a:lnTo>
                    <a:pt x="1" y="201"/>
                  </a:lnTo>
                  <a:lnTo>
                    <a:pt x="0" y="203"/>
                  </a:lnTo>
                  <a:lnTo>
                    <a:pt x="0" y="206"/>
                  </a:lnTo>
                  <a:lnTo>
                    <a:pt x="1" y="209"/>
                  </a:lnTo>
                  <a:lnTo>
                    <a:pt x="2" y="211"/>
                  </a:lnTo>
                  <a:lnTo>
                    <a:pt x="4" y="215"/>
                  </a:lnTo>
                  <a:lnTo>
                    <a:pt x="6" y="217"/>
                  </a:lnTo>
                  <a:lnTo>
                    <a:pt x="8" y="218"/>
                  </a:lnTo>
                  <a:lnTo>
                    <a:pt x="11" y="219"/>
                  </a:lnTo>
                  <a:lnTo>
                    <a:pt x="15"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6" name="Freeform 97">
              <a:extLst>
                <a:ext uri="{FF2B5EF4-FFF2-40B4-BE49-F238E27FC236}">
                  <a16:creationId xmlns:a16="http://schemas.microsoft.com/office/drawing/2014/main" id="{6FB164E5-B655-441E-AFA4-3479E97160F7}"/>
                </a:ext>
              </a:extLst>
            </p:cNvPr>
            <p:cNvSpPr>
              <a:spLocks/>
            </p:cNvSpPr>
            <p:nvPr/>
          </p:nvSpPr>
          <p:spPr bwMode="auto">
            <a:xfrm>
              <a:off x="8867775" y="779145"/>
              <a:ext cx="82550" cy="69850"/>
            </a:xfrm>
            <a:custGeom>
              <a:avLst/>
              <a:gdLst>
                <a:gd name="T0" fmla="*/ 233 w 257"/>
                <a:gd name="T1" fmla="*/ 216 h 220"/>
                <a:gd name="T2" fmla="*/ 238 w 257"/>
                <a:gd name="T3" fmla="*/ 219 h 220"/>
                <a:gd name="T4" fmla="*/ 242 w 257"/>
                <a:gd name="T5" fmla="*/ 220 h 220"/>
                <a:gd name="T6" fmla="*/ 246 w 257"/>
                <a:gd name="T7" fmla="*/ 219 h 220"/>
                <a:gd name="T8" fmla="*/ 249 w 257"/>
                <a:gd name="T9" fmla="*/ 218 h 220"/>
                <a:gd name="T10" fmla="*/ 252 w 257"/>
                <a:gd name="T11" fmla="*/ 217 h 220"/>
                <a:gd name="T12" fmla="*/ 254 w 257"/>
                <a:gd name="T13" fmla="*/ 215 h 220"/>
                <a:gd name="T14" fmla="*/ 256 w 257"/>
                <a:gd name="T15" fmla="*/ 211 h 220"/>
                <a:gd name="T16" fmla="*/ 257 w 257"/>
                <a:gd name="T17" fmla="*/ 209 h 220"/>
                <a:gd name="T18" fmla="*/ 257 w 257"/>
                <a:gd name="T19" fmla="*/ 206 h 220"/>
                <a:gd name="T20" fmla="*/ 257 w 257"/>
                <a:gd name="T21" fmla="*/ 203 h 220"/>
                <a:gd name="T22" fmla="*/ 257 w 257"/>
                <a:gd name="T23" fmla="*/ 201 h 220"/>
                <a:gd name="T24" fmla="*/ 256 w 257"/>
                <a:gd name="T25" fmla="*/ 198 h 220"/>
                <a:gd name="T26" fmla="*/ 254 w 257"/>
                <a:gd name="T27" fmla="*/ 195 h 220"/>
                <a:gd name="T28" fmla="*/ 252 w 257"/>
                <a:gd name="T29" fmla="*/ 193 h 220"/>
                <a:gd name="T30" fmla="*/ 25 w 257"/>
                <a:gd name="T31" fmla="*/ 3 h 220"/>
                <a:gd name="T32" fmla="*/ 23 w 257"/>
                <a:gd name="T33" fmla="*/ 2 h 220"/>
                <a:gd name="T34" fmla="*/ 19 w 257"/>
                <a:gd name="T35" fmla="*/ 0 h 220"/>
                <a:gd name="T36" fmla="*/ 17 w 257"/>
                <a:gd name="T37" fmla="*/ 0 h 220"/>
                <a:gd name="T38" fmla="*/ 14 w 257"/>
                <a:gd name="T39" fmla="*/ 0 h 220"/>
                <a:gd name="T40" fmla="*/ 11 w 257"/>
                <a:gd name="T41" fmla="*/ 0 h 220"/>
                <a:gd name="T42" fmla="*/ 9 w 257"/>
                <a:gd name="T43" fmla="*/ 1 h 220"/>
                <a:gd name="T44" fmla="*/ 5 w 257"/>
                <a:gd name="T45" fmla="*/ 3 h 220"/>
                <a:gd name="T46" fmla="*/ 3 w 257"/>
                <a:gd name="T47" fmla="*/ 6 h 220"/>
                <a:gd name="T48" fmla="*/ 2 w 257"/>
                <a:gd name="T49" fmla="*/ 8 h 220"/>
                <a:gd name="T50" fmla="*/ 1 w 257"/>
                <a:gd name="T51" fmla="*/ 11 h 220"/>
                <a:gd name="T52" fmla="*/ 0 w 257"/>
                <a:gd name="T53" fmla="*/ 13 h 220"/>
                <a:gd name="T54" fmla="*/ 0 w 257"/>
                <a:gd name="T55" fmla="*/ 16 h 220"/>
                <a:gd name="T56" fmla="*/ 1 w 257"/>
                <a:gd name="T57" fmla="*/ 19 h 220"/>
                <a:gd name="T58" fmla="*/ 2 w 257"/>
                <a:gd name="T59" fmla="*/ 22 h 220"/>
                <a:gd name="T60" fmla="*/ 3 w 257"/>
                <a:gd name="T61" fmla="*/ 25 h 220"/>
                <a:gd name="T62" fmla="*/ 5 w 257"/>
                <a:gd name="T63" fmla="*/ 27 h 220"/>
                <a:gd name="T64" fmla="*/ 233 w 257"/>
                <a:gd name="T65" fmla="*/ 2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7" h="220">
                  <a:moveTo>
                    <a:pt x="233" y="216"/>
                  </a:moveTo>
                  <a:lnTo>
                    <a:pt x="238" y="219"/>
                  </a:lnTo>
                  <a:lnTo>
                    <a:pt x="242" y="220"/>
                  </a:lnTo>
                  <a:lnTo>
                    <a:pt x="246" y="219"/>
                  </a:lnTo>
                  <a:lnTo>
                    <a:pt x="249" y="218"/>
                  </a:lnTo>
                  <a:lnTo>
                    <a:pt x="252" y="217"/>
                  </a:lnTo>
                  <a:lnTo>
                    <a:pt x="254" y="215"/>
                  </a:lnTo>
                  <a:lnTo>
                    <a:pt x="256" y="211"/>
                  </a:lnTo>
                  <a:lnTo>
                    <a:pt x="257" y="209"/>
                  </a:lnTo>
                  <a:lnTo>
                    <a:pt x="257" y="206"/>
                  </a:lnTo>
                  <a:lnTo>
                    <a:pt x="257" y="203"/>
                  </a:lnTo>
                  <a:lnTo>
                    <a:pt x="257" y="201"/>
                  </a:lnTo>
                  <a:lnTo>
                    <a:pt x="256" y="198"/>
                  </a:lnTo>
                  <a:lnTo>
                    <a:pt x="254" y="195"/>
                  </a:lnTo>
                  <a:lnTo>
                    <a:pt x="252" y="193"/>
                  </a:lnTo>
                  <a:lnTo>
                    <a:pt x="25" y="3"/>
                  </a:lnTo>
                  <a:lnTo>
                    <a:pt x="23" y="2"/>
                  </a:lnTo>
                  <a:lnTo>
                    <a:pt x="19" y="0"/>
                  </a:lnTo>
                  <a:lnTo>
                    <a:pt x="17" y="0"/>
                  </a:lnTo>
                  <a:lnTo>
                    <a:pt x="14" y="0"/>
                  </a:lnTo>
                  <a:lnTo>
                    <a:pt x="11" y="0"/>
                  </a:lnTo>
                  <a:lnTo>
                    <a:pt x="9" y="1"/>
                  </a:lnTo>
                  <a:lnTo>
                    <a:pt x="5" y="3"/>
                  </a:lnTo>
                  <a:lnTo>
                    <a:pt x="3" y="6"/>
                  </a:lnTo>
                  <a:lnTo>
                    <a:pt x="2" y="8"/>
                  </a:lnTo>
                  <a:lnTo>
                    <a:pt x="1" y="11"/>
                  </a:lnTo>
                  <a:lnTo>
                    <a:pt x="0" y="13"/>
                  </a:lnTo>
                  <a:lnTo>
                    <a:pt x="0" y="16"/>
                  </a:lnTo>
                  <a:lnTo>
                    <a:pt x="1" y="19"/>
                  </a:lnTo>
                  <a:lnTo>
                    <a:pt x="2" y="22"/>
                  </a:lnTo>
                  <a:lnTo>
                    <a:pt x="3" y="25"/>
                  </a:lnTo>
                  <a:lnTo>
                    <a:pt x="5" y="27"/>
                  </a:lnTo>
                  <a:lnTo>
                    <a:pt x="233"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7" name="Freeform 98">
              <a:extLst>
                <a:ext uri="{FF2B5EF4-FFF2-40B4-BE49-F238E27FC236}">
                  <a16:creationId xmlns:a16="http://schemas.microsoft.com/office/drawing/2014/main" id="{ACE0BD99-EC25-4C12-AACD-BB8A5B0551B3}"/>
                </a:ext>
              </a:extLst>
            </p:cNvPr>
            <p:cNvSpPr>
              <a:spLocks noEditPoints="1"/>
            </p:cNvSpPr>
            <p:nvPr/>
          </p:nvSpPr>
          <p:spPr bwMode="auto">
            <a:xfrm>
              <a:off x="8897938" y="941070"/>
              <a:ext cx="123825" cy="123825"/>
            </a:xfrm>
            <a:custGeom>
              <a:avLst/>
              <a:gdLst>
                <a:gd name="T0" fmla="*/ 162 w 391"/>
                <a:gd name="T1" fmla="*/ 357 h 390"/>
                <a:gd name="T2" fmla="*/ 117 w 391"/>
                <a:gd name="T3" fmla="*/ 340 h 390"/>
                <a:gd name="T4" fmla="*/ 79 w 391"/>
                <a:gd name="T5" fmla="*/ 312 h 390"/>
                <a:gd name="T6" fmla="*/ 51 w 391"/>
                <a:gd name="T7" fmla="*/ 273 h 390"/>
                <a:gd name="T8" fmla="*/ 34 w 391"/>
                <a:gd name="T9" fmla="*/ 228 h 390"/>
                <a:gd name="T10" fmla="*/ 32 w 391"/>
                <a:gd name="T11" fmla="*/ 178 h 390"/>
                <a:gd name="T12" fmla="*/ 43 w 391"/>
                <a:gd name="T13" fmla="*/ 131 h 390"/>
                <a:gd name="T14" fmla="*/ 68 w 391"/>
                <a:gd name="T15" fmla="*/ 90 h 390"/>
                <a:gd name="T16" fmla="*/ 103 w 391"/>
                <a:gd name="T17" fmla="*/ 58 h 390"/>
                <a:gd name="T18" fmla="*/ 146 w 391"/>
                <a:gd name="T19" fmla="*/ 37 h 390"/>
                <a:gd name="T20" fmla="*/ 196 w 391"/>
                <a:gd name="T21" fmla="*/ 30 h 390"/>
                <a:gd name="T22" fmla="*/ 245 w 391"/>
                <a:gd name="T23" fmla="*/ 37 h 390"/>
                <a:gd name="T24" fmla="*/ 288 w 391"/>
                <a:gd name="T25" fmla="*/ 58 h 390"/>
                <a:gd name="T26" fmla="*/ 323 w 391"/>
                <a:gd name="T27" fmla="*/ 90 h 390"/>
                <a:gd name="T28" fmla="*/ 348 w 391"/>
                <a:gd name="T29" fmla="*/ 131 h 390"/>
                <a:gd name="T30" fmla="*/ 361 w 391"/>
                <a:gd name="T31" fmla="*/ 178 h 390"/>
                <a:gd name="T32" fmla="*/ 358 w 391"/>
                <a:gd name="T33" fmla="*/ 228 h 390"/>
                <a:gd name="T34" fmla="*/ 341 w 391"/>
                <a:gd name="T35" fmla="*/ 273 h 390"/>
                <a:gd name="T36" fmla="*/ 312 w 391"/>
                <a:gd name="T37" fmla="*/ 312 h 390"/>
                <a:gd name="T38" fmla="*/ 275 w 391"/>
                <a:gd name="T39" fmla="*/ 340 h 390"/>
                <a:gd name="T40" fmla="*/ 229 w 391"/>
                <a:gd name="T41" fmla="*/ 357 h 390"/>
                <a:gd name="T42" fmla="*/ 196 w 391"/>
                <a:gd name="T43" fmla="*/ 0 h 390"/>
                <a:gd name="T44" fmla="*/ 138 w 391"/>
                <a:gd name="T45" fmla="*/ 8 h 390"/>
                <a:gd name="T46" fmla="*/ 86 w 391"/>
                <a:gd name="T47" fmla="*/ 33 h 390"/>
                <a:gd name="T48" fmla="*/ 46 w 391"/>
                <a:gd name="T49" fmla="*/ 70 h 390"/>
                <a:gd name="T50" fmla="*/ 15 w 391"/>
                <a:gd name="T51" fmla="*/ 119 h 390"/>
                <a:gd name="T52" fmla="*/ 2 w 391"/>
                <a:gd name="T53" fmla="*/ 174 h 390"/>
                <a:gd name="T54" fmla="*/ 5 w 391"/>
                <a:gd name="T55" fmla="*/ 233 h 390"/>
                <a:gd name="T56" fmla="*/ 24 w 391"/>
                <a:gd name="T57" fmla="*/ 288 h 390"/>
                <a:gd name="T58" fmla="*/ 57 w 391"/>
                <a:gd name="T59" fmla="*/ 333 h 390"/>
                <a:gd name="T60" fmla="*/ 102 w 391"/>
                <a:gd name="T61" fmla="*/ 366 h 390"/>
                <a:gd name="T62" fmla="*/ 156 w 391"/>
                <a:gd name="T63" fmla="*/ 386 h 390"/>
                <a:gd name="T64" fmla="*/ 216 w 391"/>
                <a:gd name="T65" fmla="*/ 389 h 390"/>
                <a:gd name="T66" fmla="*/ 272 w 391"/>
                <a:gd name="T67" fmla="*/ 375 h 390"/>
                <a:gd name="T68" fmla="*/ 320 w 391"/>
                <a:gd name="T69" fmla="*/ 345 h 390"/>
                <a:gd name="T70" fmla="*/ 358 w 391"/>
                <a:gd name="T71" fmla="*/ 304 h 390"/>
                <a:gd name="T72" fmla="*/ 382 w 391"/>
                <a:gd name="T73" fmla="*/ 253 h 390"/>
                <a:gd name="T74" fmla="*/ 391 w 391"/>
                <a:gd name="T75" fmla="*/ 195 h 390"/>
                <a:gd name="T76" fmla="*/ 382 w 391"/>
                <a:gd name="T77" fmla="*/ 137 h 390"/>
                <a:gd name="T78" fmla="*/ 358 w 391"/>
                <a:gd name="T79" fmla="*/ 85 h 390"/>
                <a:gd name="T80" fmla="*/ 320 w 391"/>
                <a:gd name="T81" fmla="*/ 44 h 390"/>
                <a:gd name="T82" fmla="*/ 272 w 391"/>
                <a:gd name="T83" fmla="*/ 15 h 390"/>
                <a:gd name="T84" fmla="*/ 216 w 391"/>
                <a:gd name="T85"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0">
                  <a:moveTo>
                    <a:pt x="196" y="360"/>
                  </a:moveTo>
                  <a:lnTo>
                    <a:pt x="178" y="359"/>
                  </a:lnTo>
                  <a:lnTo>
                    <a:pt x="162" y="357"/>
                  </a:lnTo>
                  <a:lnTo>
                    <a:pt x="146" y="353"/>
                  </a:lnTo>
                  <a:lnTo>
                    <a:pt x="131" y="347"/>
                  </a:lnTo>
                  <a:lnTo>
                    <a:pt x="117" y="340"/>
                  </a:lnTo>
                  <a:lnTo>
                    <a:pt x="103" y="332"/>
                  </a:lnTo>
                  <a:lnTo>
                    <a:pt x="91" y="322"/>
                  </a:lnTo>
                  <a:lnTo>
                    <a:pt x="79" y="312"/>
                  </a:lnTo>
                  <a:lnTo>
                    <a:pt x="68" y="300"/>
                  </a:lnTo>
                  <a:lnTo>
                    <a:pt x="58" y="287"/>
                  </a:lnTo>
                  <a:lnTo>
                    <a:pt x="51" y="273"/>
                  </a:lnTo>
                  <a:lnTo>
                    <a:pt x="43" y="259"/>
                  </a:lnTo>
                  <a:lnTo>
                    <a:pt x="38" y="244"/>
                  </a:lnTo>
                  <a:lnTo>
                    <a:pt x="34" y="228"/>
                  </a:lnTo>
                  <a:lnTo>
                    <a:pt x="32" y="212"/>
                  </a:lnTo>
                  <a:lnTo>
                    <a:pt x="31" y="195"/>
                  </a:lnTo>
                  <a:lnTo>
                    <a:pt x="32" y="178"/>
                  </a:lnTo>
                  <a:lnTo>
                    <a:pt x="34" y="162"/>
                  </a:lnTo>
                  <a:lnTo>
                    <a:pt x="38" y="146"/>
                  </a:lnTo>
                  <a:lnTo>
                    <a:pt x="43" y="131"/>
                  </a:lnTo>
                  <a:lnTo>
                    <a:pt x="51" y="116"/>
                  </a:lnTo>
                  <a:lnTo>
                    <a:pt x="58" y="103"/>
                  </a:lnTo>
                  <a:lnTo>
                    <a:pt x="68" y="90"/>
                  </a:lnTo>
                  <a:lnTo>
                    <a:pt x="79" y="78"/>
                  </a:lnTo>
                  <a:lnTo>
                    <a:pt x="91" y="67"/>
                  </a:lnTo>
                  <a:lnTo>
                    <a:pt x="103" y="58"/>
                  </a:lnTo>
                  <a:lnTo>
                    <a:pt x="117" y="49"/>
                  </a:lnTo>
                  <a:lnTo>
                    <a:pt x="131" y="43"/>
                  </a:lnTo>
                  <a:lnTo>
                    <a:pt x="146" y="37"/>
                  </a:lnTo>
                  <a:lnTo>
                    <a:pt x="162" y="33"/>
                  </a:lnTo>
                  <a:lnTo>
                    <a:pt x="178" y="30"/>
                  </a:lnTo>
                  <a:lnTo>
                    <a:pt x="196" y="30"/>
                  </a:lnTo>
                  <a:lnTo>
                    <a:pt x="213" y="30"/>
                  </a:lnTo>
                  <a:lnTo>
                    <a:pt x="229" y="33"/>
                  </a:lnTo>
                  <a:lnTo>
                    <a:pt x="245" y="37"/>
                  </a:lnTo>
                  <a:lnTo>
                    <a:pt x="260" y="43"/>
                  </a:lnTo>
                  <a:lnTo>
                    <a:pt x="275" y="49"/>
                  </a:lnTo>
                  <a:lnTo>
                    <a:pt x="288" y="58"/>
                  </a:lnTo>
                  <a:lnTo>
                    <a:pt x="301" y="67"/>
                  </a:lnTo>
                  <a:lnTo>
                    <a:pt x="312" y="78"/>
                  </a:lnTo>
                  <a:lnTo>
                    <a:pt x="323" y="90"/>
                  </a:lnTo>
                  <a:lnTo>
                    <a:pt x="333" y="103"/>
                  </a:lnTo>
                  <a:lnTo>
                    <a:pt x="341" y="116"/>
                  </a:lnTo>
                  <a:lnTo>
                    <a:pt x="348" y="131"/>
                  </a:lnTo>
                  <a:lnTo>
                    <a:pt x="353" y="146"/>
                  </a:lnTo>
                  <a:lnTo>
                    <a:pt x="358" y="162"/>
                  </a:lnTo>
                  <a:lnTo>
                    <a:pt x="361" y="178"/>
                  </a:lnTo>
                  <a:lnTo>
                    <a:pt x="361" y="195"/>
                  </a:lnTo>
                  <a:lnTo>
                    <a:pt x="361" y="212"/>
                  </a:lnTo>
                  <a:lnTo>
                    <a:pt x="358" y="228"/>
                  </a:lnTo>
                  <a:lnTo>
                    <a:pt x="353" y="244"/>
                  </a:lnTo>
                  <a:lnTo>
                    <a:pt x="348" y="259"/>
                  </a:lnTo>
                  <a:lnTo>
                    <a:pt x="341" y="273"/>
                  </a:lnTo>
                  <a:lnTo>
                    <a:pt x="333" y="287"/>
                  </a:lnTo>
                  <a:lnTo>
                    <a:pt x="323" y="300"/>
                  </a:lnTo>
                  <a:lnTo>
                    <a:pt x="312" y="312"/>
                  </a:lnTo>
                  <a:lnTo>
                    <a:pt x="301" y="322"/>
                  </a:lnTo>
                  <a:lnTo>
                    <a:pt x="288" y="332"/>
                  </a:lnTo>
                  <a:lnTo>
                    <a:pt x="275" y="340"/>
                  </a:lnTo>
                  <a:lnTo>
                    <a:pt x="260" y="347"/>
                  </a:lnTo>
                  <a:lnTo>
                    <a:pt x="245" y="353"/>
                  </a:lnTo>
                  <a:lnTo>
                    <a:pt x="229" y="357"/>
                  </a:lnTo>
                  <a:lnTo>
                    <a:pt x="213" y="359"/>
                  </a:lnTo>
                  <a:lnTo>
                    <a:pt x="196" y="360"/>
                  </a:lnTo>
                  <a:close/>
                  <a:moveTo>
                    <a:pt x="196" y="0"/>
                  </a:moveTo>
                  <a:lnTo>
                    <a:pt x="176" y="0"/>
                  </a:lnTo>
                  <a:lnTo>
                    <a:pt x="156" y="3"/>
                  </a:lnTo>
                  <a:lnTo>
                    <a:pt x="138" y="8"/>
                  </a:lnTo>
                  <a:lnTo>
                    <a:pt x="119" y="15"/>
                  </a:lnTo>
                  <a:lnTo>
                    <a:pt x="102" y="23"/>
                  </a:lnTo>
                  <a:lnTo>
                    <a:pt x="86" y="33"/>
                  </a:lnTo>
                  <a:lnTo>
                    <a:pt x="71" y="44"/>
                  </a:lnTo>
                  <a:lnTo>
                    <a:pt x="57" y="57"/>
                  </a:lnTo>
                  <a:lnTo>
                    <a:pt x="46" y="70"/>
                  </a:lnTo>
                  <a:lnTo>
                    <a:pt x="34" y="85"/>
                  </a:lnTo>
                  <a:lnTo>
                    <a:pt x="24" y="102"/>
                  </a:lnTo>
                  <a:lnTo>
                    <a:pt x="15" y="119"/>
                  </a:lnTo>
                  <a:lnTo>
                    <a:pt x="9" y="137"/>
                  </a:lnTo>
                  <a:lnTo>
                    <a:pt x="5" y="155"/>
                  </a:lnTo>
                  <a:lnTo>
                    <a:pt x="2" y="174"/>
                  </a:lnTo>
                  <a:lnTo>
                    <a:pt x="0" y="195"/>
                  </a:lnTo>
                  <a:lnTo>
                    <a:pt x="2" y="214"/>
                  </a:lnTo>
                  <a:lnTo>
                    <a:pt x="5" y="233"/>
                  </a:lnTo>
                  <a:lnTo>
                    <a:pt x="9" y="253"/>
                  </a:lnTo>
                  <a:lnTo>
                    <a:pt x="15" y="271"/>
                  </a:lnTo>
                  <a:lnTo>
                    <a:pt x="24" y="288"/>
                  </a:lnTo>
                  <a:lnTo>
                    <a:pt x="34" y="304"/>
                  </a:lnTo>
                  <a:lnTo>
                    <a:pt x="46" y="319"/>
                  </a:lnTo>
                  <a:lnTo>
                    <a:pt x="57" y="333"/>
                  </a:lnTo>
                  <a:lnTo>
                    <a:pt x="71" y="345"/>
                  </a:lnTo>
                  <a:lnTo>
                    <a:pt x="86" y="357"/>
                  </a:lnTo>
                  <a:lnTo>
                    <a:pt x="102" y="366"/>
                  </a:lnTo>
                  <a:lnTo>
                    <a:pt x="119" y="375"/>
                  </a:lnTo>
                  <a:lnTo>
                    <a:pt x="138" y="381"/>
                  </a:lnTo>
                  <a:lnTo>
                    <a:pt x="156" y="386"/>
                  </a:lnTo>
                  <a:lnTo>
                    <a:pt x="175" y="389"/>
                  </a:lnTo>
                  <a:lnTo>
                    <a:pt x="196" y="390"/>
                  </a:lnTo>
                  <a:lnTo>
                    <a:pt x="216" y="389"/>
                  </a:lnTo>
                  <a:lnTo>
                    <a:pt x="235" y="386"/>
                  </a:lnTo>
                  <a:lnTo>
                    <a:pt x="254" y="381"/>
                  </a:lnTo>
                  <a:lnTo>
                    <a:pt x="272" y="375"/>
                  </a:lnTo>
                  <a:lnTo>
                    <a:pt x="289" y="366"/>
                  </a:lnTo>
                  <a:lnTo>
                    <a:pt x="305" y="357"/>
                  </a:lnTo>
                  <a:lnTo>
                    <a:pt x="320" y="345"/>
                  </a:lnTo>
                  <a:lnTo>
                    <a:pt x="334" y="333"/>
                  </a:lnTo>
                  <a:lnTo>
                    <a:pt x="347" y="319"/>
                  </a:lnTo>
                  <a:lnTo>
                    <a:pt x="358" y="304"/>
                  </a:lnTo>
                  <a:lnTo>
                    <a:pt x="367" y="288"/>
                  </a:lnTo>
                  <a:lnTo>
                    <a:pt x="376" y="271"/>
                  </a:lnTo>
                  <a:lnTo>
                    <a:pt x="382" y="253"/>
                  </a:lnTo>
                  <a:lnTo>
                    <a:pt x="388" y="235"/>
                  </a:lnTo>
                  <a:lnTo>
                    <a:pt x="390" y="214"/>
                  </a:lnTo>
                  <a:lnTo>
                    <a:pt x="391" y="195"/>
                  </a:lnTo>
                  <a:lnTo>
                    <a:pt x="390" y="174"/>
                  </a:lnTo>
                  <a:lnTo>
                    <a:pt x="388" y="155"/>
                  </a:lnTo>
                  <a:lnTo>
                    <a:pt x="382" y="137"/>
                  </a:lnTo>
                  <a:lnTo>
                    <a:pt x="376" y="119"/>
                  </a:lnTo>
                  <a:lnTo>
                    <a:pt x="367" y="102"/>
                  </a:lnTo>
                  <a:lnTo>
                    <a:pt x="358" y="85"/>
                  </a:lnTo>
                  <a:lnTo>
                    <a:pt x="347" y="70"/>
                  </a:lnTo>
                  <a:lnTo>
                    <a:pt x="334" y="57"/>
                  </a:lnTo>
                  <a:lnTo>
                    <a:pt x="320" y="44"/>
                  </a:lnTo>
                  <a:lnTo>
                    <a:pt x="305" y="33"/>
                  </a:lnTo>
                  <a:lnTo>
                    <a:pt x="289" y="23"/>
                  </a:lnTo>
                  <a:lnTo>
                    <a:pt x="272" y="15"/>
                  </a:lnTo>
                  <a:lnTo>
                    <a:pt x="254" y="8"/>
                  </a:lnTo>
                  <a:lnTo>
                    <a:pt x="235" y="3"/>
                  </a:lnTo>
                  <a:lnTo>
                    <a:pt x="216" y="0"/>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08" name="Freeform 99">
              <a:extLst>
                <a:ext uri="{FF2B5EF4-FFF2-40B4-BE49-F238E27FC236}">
                  <a16:creationId xmlns:a16="http://schemas.microsoft.com/office/drawing/2014/main" id="{746C1310-6E5E-4156-B369-BD8047D7C770}"/>
                </a:ext>
              </a:extLst>
            </p:cNvPr>
            <p:cNvSpPr>
              <a:spLocks/>
            </p:cNvSpPr>
            <p:nvPr/>
          </p:nvSpPr>
          <p:spPr bwMode="auto">
            <a:xfrm>
              <a:off x="8926513" y="998220"/>
              <a:ext cx="66675" cy="9525"/>
            </a:xfrm>
            <a:custGeom>
              <a:avLst/>
              <a:gdLst>
                <a:gd name="T0" fmla="*/ 195 w 210"/>
                <a:gd name="T1" fmla="*/ 0 h 30"/>
                <a:gd name="T2" fmla="*/ 15 w 210"/>
                <a:gd name="T3" fmla="*/ 0 h 30"/>
                <a:gd name="T4" fmla="*/ 11 w 210"/>
                <a:gd name="T5" fmla="*/ 0 h 30"/>
                <a:gd name="T6" fmla="*/ 9 w 210"/>
                <a:gd name="T7" fmla="*/ 1 h 30"/>
                <a:gd name="T8" fmla="*/ 6 w 210"/>
                <a:gd name="T9" fmla="*/ 2 h 30"/>
                <a:gd name="T10" fmla="*/ 4 w 210"/>
                <a:gd name="T11" fmla="*/ 4 h 30"/>
                <a:gd name="T12" fmla="*/ 2 w 210"/>
                <a:gd name="T13" fmla="*/ 6 h 30"/>
                <a:gd name="T14" fmla="*/ 1 w 210"/>
                <a:gd name="T15" fmla="*/ 8 h 30"/>
                <a:gd name="T16" fmla="*/ 0 w 210"/>
                <a:gd name="T17" fmla="*/ 12 h 30"/>
                <a:gd name="T18" fmla="*/ 0 w 210"/>
                <a:gd name="T19" fmla="*/ 15 h 30"/>
                <a:gd name="T20" fmla="*/ 0 w 210"/>
                <a:gd name="T21" fmla="*/ 18 h 30"/>
                <a:gd name="T22" fmla="*/ 1 w 210"/>
                <a:gd name="T23" fmla="*/ 20 h 30"/>
                <a:gd name="T24" fmla="*/ 2 w 210"/>
                <a:gd name="T25" fmla="*/ 23 h 30"/>
                <a:gd name="T26" fmla="*/ 4 w 210"/>
                <a:gd name="T27" fmla="*/ 26 h 30"/>
                <a:gd name="T28" fmla="*/ 6 w 210"/>
                <a:gd name="T29" fmla="*/ 27 h 30"/>
                <a:gd name="T30" fmla="*/ 9 w 210"/>
                <a:gd name="T31" fmla="*/ 29 h 30"/>
                <a:gd name="T32" fmla="*/ 11 w 210"/>
                <a:gd name="T33" fmla="*/ 30 h 30"/>
                <a:gd name="T34" fmla="*/ 15 w 210"/>
                <a:gd name="T35" fmla="*/ 30 h 30"/>
                <a:gd name="T36" fmla="*/ 195 w 210"/>
                <a:gd name="T37" fmla="*/ 30 h 30"/>
                <a:gd name="T38" fmla="*/ 198 w 210"/>
                <a:gd name="T39" fmla="*/ 30 h 30"/>
                <a:gd name="T40" fmla="*/ 201 w 210"/>
                <a:gd name="T41" fmla="*/ 29 h 30"/>
                <a:gd name="T42" fmla="*/ 203 w 210"/>
                <a:gd name="T43" fmla="*/ 27 h 30"/>
                <a:gd name="T44" fmla="*/ 205 w 210"/>
                <a:gd name="T45" fmla="*/ 26 h 30"/>
                <a:gd name="T46" fmla="*/ 208 w 210"/>
                <a:gd name="T47" fmla="*/ 23 h 30"/>
                <a:gd name="T48" fmla="*/ 209 w 210"/>
                <a:gd name="T49" fmla="*/ 20 h 30"/>
                <a:gd name="T50" fmla="*/ 210 w 210"/>
                <a:gd name="T51" fmla="*/ 18 h 30"/>
                <a:gd name="T52" fmla="*/ 210 w 210"/>
                <a:gd name="T53" fmla="*/ 15 h 30"/>
                <a:gd name="T54" fmla="*/ 210 w 210"/>
                <a:gd name="T55" fmla="*/ 12 h 30"/>
                <a:gd name="T56" fmla="*/ 209 w 210"/>
                <a:gd name="T57" fmla="*/ 8 h 30"/>
                <a:gd name="T58" fmla="*/ 208 w 210"/>
                <a:gd name="T59" fmla="*/ 6 h 30"/>
                <a:gd name="T60" fmla="*/ 205 w 210"/>
                <a:gd name="T61" fmla="*/ 4 h 30"/>
                <a:gd name="T62" fmla="*/ 203 w 210"/>
                <a:gd name="T63" fmla="*/ 2 h 30"/>
                <a:gd name="T64" fmla="*/ 201 w 210"/>
                <a:gd name="T65" fmla="*/ 1 h 30"/>
                <a:gd name="T66" fmla="*/ 198 w 210"/>
                <a:gd name="T67" fmla="*/ 0 h 30"/>
                <a:gd name="T68" fmla="*/ 195 w 21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0"/>
                  </a:moveTo>
                  <a:lnTo>
                    <a:pt x="15" y="0"/>
                  </a:lnTo>
                  <a:lnTo>
                    <a:pt x="11" y="0"/>
                  </a:lnTo>
                  <a:lnTo>
                    <a:pt x="9" y="1"/>
                  </a:lnTo>
                  <a:lnTo>
                    <a:pt x="6" y="2"/>
                  </a:lnTo>
                  <a:lnTo>
                    <a:pt x="4" y="4"/>
                  </a:lnTo>
                  <a:lnTo>
                    <a:pt x="2" y="6"/>
                  </a:lnTo>
                  <a:lnTo>
                    <a:pt x="1" y="8"/>
                  </a:lnTo>
                  <a:lnTo>
                    <a:pt x="0" y="12"/>
                  </a:lnTo>
                  <a:lnTo>
                    <a:pt x="0" y="15"/>
                  </a:lnTo>
                  <a:lnTo>
                    <a:pt x="0" y="18"/>
                  </a:lnTo>
                  <a:lnTo>
                    <a:pt x="1" y="20"/>
                  </a:lnTo>
                  <a:lnTo>
                    <a:pt x="2" y="23"/>
                  </a:lnTo>
                  <a:lnTo>
                    <a:pt x="4" y="26"/>
                  </a:lnTo>
                  <a:lnTo>
                    <a:pt x="6" y="27"/>
                  </a:lnTo>
                  <a:lnTo>
                    <a:pt x="9" y="29"/>
                  </a:lnTo>
                  <a:lnTo>
                    <a:pt x="11" y="30"/>
                  </a:lnTo>
                  <a:lnTo>
                    <a:pt x="15" y="30"/>
                  </a:lnTo>
                  <a:lnTo>
                    <a:pt x="195" y="30"/>
                  </a:lnTo>
                  <a:lnTo>
                    <a:pt x="198" y="30"/>
                  </a:lnTo>
                  <a:lnTo>
                    <a:pt x="201" y="29"/>
                  </a:lnTo>
                  <a:lnTo>
                    <a:pt x="203" y="27"/>
                  </a:lnTo>
                  <a:lnTo>
                    <a:pt x="205" y="26"/>
                  </a:lnTo>
                  <a:lnTo>
                    <a:pt x="208" y="23"/>
                  </a:lnTo>
                  <a:lnTo>
                    <a:pt x="209" y="20"/>
                  </a:lnTo>
                  <a:lnTo>
                    <a:pt x="210" y="18"/>
                  </a:lnTo>
                  <a:lnTo>
                    <a:pt x="210" y="15"/>
                  </a:lnTo>
                  <a:lnTo>
                    <a:pt x="210" y="12"/>
                  </a:lnTo>
                  <a:lnTo>
                    <a:pt x="209" y="8"/>
                  </a:lnTo>
                  <a:lnTo>
                    <a:pt x="208" y="6"/>
                  </a:lnTo>
                  <a:lnTo>
                    <a:pt x="205" y="4"/>
                  </a:lnTo>
                  <a:lnTo>
                    <a:pt x="203" y="2"/>
                  </a:lnTo>
                  <a:lnTo>
                    <a:pt x="201" y="1"/>
                  </a:lnTo>
                  <a:lnTo>
                    <a:pt x="198" y="0"/>
                  </a:lnTo>
                  <a:lnTo>
                    <a:pt x="1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26" name="Group 14">
            <a:extLst>
              <a:ext uri="{FF2B5EF4-FFF2-40B4-BE49-F238E27FC236}">
                <a16:creationId xmlns:a16="http://schemas.microsoft.com/office/drawing/2014/main" id="{522C6530-47B1-40E9-BC34-AE7D8301B943}"/>
              </a:ext>
            </a:extLst>
          </p:cNvPr>
          <p:cNvGrpSpPr>
            <a:grpSpLocks noChangeAspect="1"/>
          </p:cNvGrpSpPr>
          <p:nvPr/>
        </p:nvGrpSpPr>
        <p:grpSpPr>
          <a:xfrm>
            <a:off x="6166006" y="4340505"/>
            <a:ext cx="326873" cy="285619"/>
            <a:chOff x="2013401" y="5221325"/>
            <a:chExt cx="449901" cy="393118"/>
          </a:xfrm>
          <a:solidFill>
            <a:schemeClr val="bg1"/>
          </a:solidFill>
          <a:effectLst/>
        </p:grpSpPr>
        <p:sp>
          <p:nvSpPr>
            <p:cNvPr id="1727" name="Freeform 445">
              <a:extLst>
                <a:ext uri="{FF2B5EF4-FFF2-40B4-BE49-F238E27FC236}">
                  <a16:creationId xmlns:a16="http://schemas.microsoft.com/office/drawing/2014/main" id="{DC2D293B-9210-47AB-9F70-A6033A13010F}"/>
                </a:ext>
              </a:extLst>
            </p:cNvPr>
            <p:cNvSpPr>
              <a:spLocks noEditPoints="1"/>
            </p:cNvSpPr>
            <p:nvPr/>
          </p:nvSpPr>
          <p:spPr bwMode="auto">
            <a:xfrm>
              <a:off x="2070184" y="5538731"/>
              <a:ext cx="74256" cy="75712"/>
            </a:xfrm>
            <a:custGeom>
              <a:avLst/>
              <a:gdLst>
                <a:gd name="T0" fmla="*/ 69 w 154"/>
                <a:gd name="T1" fmla="*/ 39 h 155"/>
                <a:gd name="T2" fmla="*/ 55 w 154"/>
                <a:gd name="T3" fmla="*/ 46 h 155"/>
                <a:gd name="T4" fmla="*/ 45 w 154"/>
                <a:gd name="T5" fmla="*/ 57 h 155"/>
                <a:gd name="T6" fmla="*/ 39 w 154"/>
                <a:gd name="T7" fmla="*/ 70 h 155"/>
                <a:gd name="T8" fmla="*/ 39 w 154"/>
                <a:gd name="T9" fmla="*/ 85 h 155"/>
                <a:gd name="T10" fmla="*/ 45 w 154"/>
                <a:gd name="T11" fmla="*/ 100 h 155"/>
                <a:gd name="T12" fmla="*/ 55 w 154"/>
                <a:gd name="T13" fmla="*/ 110 h 155"/>
                <a:gd name="T14" fmla="*/ 69 w 154"/>
                <a:gd name="T15" fmla="*/ 116 h 155"/>
                <a:gd name="T16" fmla="*/ 85 w 154"/>
                <a:gd name="T17" fmla="*/ 116 h 155"/>
                <a:gd name="T18" fmla="*/ 98 w 154"/>
                <a:gd name="T19" fmla="*/ 110 h 155"/>
                <a:gd name="T20" fmla="*/ 108 w 154"/>
                <a:gd name="T21" fmla="*/ 100 h 155"/>
                <a:gd name="T22" fmla="*/ 114 w 154"/>
                <a:gd name="T23" fmla="*/ 85 h 155"/>
                <a:gd name="T24" fmla="*/ 114 w 154"/>
                <a:gd name="T25" fmla="*/ 70 h 155"/>
                <a:gd name="T26" fmla="*/ 108 w 154"/>
                <a:gd name="T27" fmla="*/ 57 h 155"/>
                <a:gd name="T28" fmla="*/ 98 w 154"/>
                <a:gd name="T29" fmla="*/ 46 h 155"/>
                <a:gd name="T30" fmla="*/ 85 w 154"/>
                <a:gd name="T31" fmla="*/ 39 h 155"/>
                <a:gd name="T32" fmla="*/ 76 w 154"/>
                <a:gd name="T33" fmla="*/ 155 h 155"/>
                <a:gd name="T34" fmla="*/ 61 w 154"/>
                <a:gd name="T35" fmla="*/ 153 h 155"/>
                <a:gd name="T36" fmla="*/ 46 w 154"/>
                <a:gd name="T37" fmla="*/ 149 h 155"/>
                <a:gd name="T38" fmla="*/ 22 w 154"/>
                <a:gd name="T39" fmla="*/ 133 h 155"/>
                <a:gd name="T40" fmla="*/ 6 w 154"/>
                <a:gd name="T41" fmla="*/ 108 h 155"/>
                <a:gd name="T42" fmla="*/ 2 w 154"/>
                <a:gd name="T43" fmla="*/ 94 h 155"/>
                <a:gd name="T44" fmla="*/ 0 w 154"/>
                <a:gd name="T45" fmla="*/ 78 h 155"/>
                <a:gd name="T46" fmla="*/ 2 w 154"/>
                <a:gd name="T47" fmla="*/ 62 h 155"/>
                <a:gd name="T48" fmla="*/ 6 w 154"/>
                <a:gd name="T49" fmla="*/ 48 h 155"/>
                <a:gd name="T50" fmla="*/ 22 w 154"/>
                <a:gd name="T51" fmla="*/ 23 h 155"/>
                <a:gd name="T52" fmla="*/ 46 w 154"/>
                <a:gd name="T53" fmla="*/ 6 h 155"/>
                <a:gd name="T54" fmla="*/ 61 w 154"/>
                <a:gd name="T55" fmla="*/ 2 h 155"/>
                <a:gd name="T56" fmla="*/ 76 w 154"/>
                <a:gd name="T57" fmla="*/ 0 h 155"/>
                <a:gd name="T58" fmla="*/ 92 w 154"/>
                <a:gd name="T59" fmla="*/ 2 h 155"/>
                <a:gd name="T60" fmla="*/ 107 w 154"/>
                <a:gd name="T61" fmla="*/ 6 h 155"/>
                <a:gd name="T62" fmla="*/ 131 w 154"/>
                <a:gd name="T63" fmla="*/ 23 h 155"/>
                <a:gd name="T64" fmla="*/ 148 w 154"/>
                <a:gd name="T65" fmla="*/ 48 h 155"/>
                <a:gd name="T66" fmla="*/ 153 w 154"/>
                <a:gd name="T67" fmla="*/ 62 h 155"/>
                <a:gd name="T68" fmla="*/ 154 w 154"/>
                <a:gd name="T69" fmla="*/ 78 h 155"/>
                <a:gd name="T70" fmla="*/ 153 w 154"/>
                <a:gd name="T71" fmla="*/ 94 h 155"/>
                <a:gd name="T72" fmla="*/ 148 w 154"/>
                <a:gd name="T73" fmla="*/ 108 h 155"/>
                <a:gd name="T74" fmla="*/ 131 w 154"/>
                <a:gd name="T75" fmla="*/ 133 h 155"/>
                <a:gd name="T76" fmla="*/ 107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5" y="46"/>
                  </a:lnTo>
                  <a:lnTo>
                    <a:pt x="49" y="51"/>
                  </a:lnTo>
                  <a:lnTo>
                    <a:pt x="45" y="57"/>
                  </a:lnTo>
                  <a:lnTo>
                    <a:pt x="40" y="62"/>
                  </a:lnTo>
                  <a:lnTo>
                    <a:pt x="39" y="70"/>
                  </a:lnTo>
                  <a:lnTo>
                    <a:pt x="38" y="78"/>
                  </a:lnTo>
                  <a:lnTo>
                    <a:pt x="39" y="85"/>
                  </a:lnTo>
                  <a:lnTo>
                    <a:pt x="40" y="93"/>
                  </a:lnTo>
                  <a:lnTo>
                    <a:pt x="45" y="100"/>
                  </a:lnTo>
                  <a:lnTo>
                    <a:pt x="49" y="106"/>
                  </a:lnTo>
                  <a:lnTo>
                    <a:pt x="55" y="110"/>
                  </a:lnTo>
                  <a:lnTo>
                    <a:pt x="62" y="113"/>
                  </a:lnTo>
                  <a:lnTo>
                    <a:pt x="69" y="116"/>
                  </a:lnTo>
                  <a:lnTo>
                    <a:pt x="76" y="117"/>
                  </a:lnTo>
                  <a:lnTo>
                    <a:pt x="85" y="116"/>
                  </a:lnTo>
                  <a:lnTo>
                    <a:pt x="92" y="113"/>
                  </a:lnTo>
                  <a:lnTo>
                    <a:pt x="98" y="110"/>
                  </a:lnTo>
                  <a:lnTo>
                    <a:pt x="104" y="106"/>
                  </a:lnTo>
                  <a:lnTo>
                    <a:pt x="108" y="100"/>
                  </a:lnTo>
                  <a:lnTo>
                    <a:pt x="112" y="93"/>
                  </a:lnTo>
                  <a:lnTo>
                    <a:pt x="114" y="85"/>
                  </a:lnTo>
                  <a:lnTo>
                    <a:pt x="115" y="78"/>
                  </a:lnTo>
                  <a:lnTo>
                    <a:pt x="114" y="70"/>
                  </a:lnTo>
                  <a:lnTo>
                    <a:pt x="112" y="62"/>
                  </a:lnTo>
                  <a:lnTo>
                    <a:pt x="108" y="57"/>
                  </a:lnTo>
                  <a:lnTo>
                    <a:pt x="104" y="51"/>
                  </a:lnTo>
                  <a:lnTo>
                    <a:pt x="98" y="46"/>
                  </a:lnTo>
                  <a:lnTo>
                    <a:pt x="92" y="42"/>
                  </a:lnTo>
                  <a:lnTo>
                    <a:pt x="85" y="39"/>
                  </a:lnTo>
                  <a:lnTo>
                    <a:pt x="76" y="39"/>
                  </a:lnTo>
                  <a:close/>
                  <a:moveTo>
                    <a:pt x="76" y="155"/>
                  </a:moveTo>
                  <a:lnTo>
                    <a:pt x="69" y="155"/>
                  </a:lnTo>
                  <a:lnTo>
                    <a:pt x="61" y="153"/>
                  </a:lnTo>
                  <a:lnTo>
                    <a:pt x="53" y="152"/>
                  </a:lnTo>
                  <a:lnTo>
                    <a:pt x="46" y="149"/>
                  </a:lnTo>
                  <a:lnTo>
                    <a:pt x="33" y="142"/>
                  </a:lnTo>
                  <a:lnTo>
                    <a:pt x="22" y="133"/>
                  </a:lnTo>
                  <a:lnTo>
                    <a:pt x="13" y="121"/>
                  </a:lnTo>
                  <a:lnTo>
                    <a:pt x="6" y="108"/>
                  </a:lnTo>
                  <a:lnTo>
                    <a:pt x="3" y="101"/>
                  </a:lnTo>
                  <a:lnTo>
                    <a:pt x="2" y="94"/>
                  </a:lnTo>
                  <a:lnTo>
                    <a:pt x="0" y="85"/>
                  </a:lnTo>
                  <a:lnTo>
                    <a:pt x="0" y="78"/>
                  </a:lnTo>
                  <a:lnTo>
                    <a:pt x="0" y="70"/>
                  </a:lnTo>
                  <a:lnTo>
                    <a:pt x="2" y="62"/>
                  </a:lnTo>
                  <a:lnTo>
                    <a:pt x="3" y="55"/>
                  </a:lnTo>
                  <a:lnTo>
                    <a:pt x="6" y="48"/>
                  </a:lnTo>
                  <a:lnTo>
                    <a:pt x="13" y="35"/>
                  </a:lnTo>
                  <a:lnTo>
                    <a:pt x="22" y="23"/>
                  </a:lnTo>
                  <a:lnTo>
                    <a:pt x="33" y="13"/>
                  </a:lnTo>
                  <a:lnTo>
                    <a:pt x="46" y="6"/>
                  </a:lnTo>
                  <a:lnTo>
                    <a:pt x="53" y="5"/>
                  </a:lnTo>
                  <a:lnTo>
                    <a:pt x="61" y="2"/>
                  </a:lnTo>
                  <a:lnTo>
                    <a:pt x="69" y="0"/>
                  </a:lnTo>
                  <a:lnTo>
                    <a:pt x="76" y="0"/>
                  </a:lnTo>
                  <a:lnTo>
                    <a:pt x="85" y="0"/>
                  </a:lnTo>
                  <a:lnTo>
                    <a:pt x="92" y="2"/>
                  </a:lnTo>
                  <a:lnTo>
                    <a:pt x="100" y="5"/>
                  </a:lnTo>
                  <a:lnTo>
                    <a:pt x="107" y="6"/>
                  </a:lnTo>
                  <a:lnTo>
                    <a:pt x="120" y="13"/>
                  </a:lnTo>
                  <a:lnTo>
                    <a:pt x="131" y="23"/>
                  </a:lnTo>
                  <a:lnTo>
                    <a:pt x="141" y="35"/>
                  </a:lnTo>
                  <a:lnTo>
                    <a:pt x="148" y="48"/>
                  </a:lnTo>
                  <a:lnTo>
                    <a:pt x="150" y="55"/>
                  </a:lnTo>
                  <a:lnTo>
                    <a:pt x="153" y="62"/>
                  </a:lnTo>
                  <a:lnTo>
                    <a:pt x="154" y="70"/>
                  </a:lnTo>
                  <a:lnTo>
                    <a:pt x="154" y="78"/>
                  </a:lnTo>
                  <a:lnTo>
                    <a:pt x="154" y="85"/>
                  </a:lnTo>
                  <a:lnTo>
                    <a:pt x="153" y="94"/>
                  </a:lnTo>
                  <a:lnTo>
                    <a:pt x="150" y="101"/>
                  </a:lnTo>
                  <a:lnTo>
                    <a:pt x="148" y="108"/>
                  </a:lnTo>
                  <a:lnTo>
                    <a:pt x="141" y="121"/>
                  </a:lnTo>
                  <a:lnTo>
                    <a:pt x="131" y="133"/>
                  </a:lnTo>
                  <a:lnTo>
                    <a:pt x="120" y="142"/>
                  </a:lnTo>
                  <a:lnTo>
                    <a:pt x="107" y="149"/>
                  </a:lnTo>
                  <a:lnTo>
                    <a:pt x="100" y="152"/>
                  </a:lnTo>
                  <a:lnTo>
                    <a:pt x="92" y="153"/>
                  </a:lnTo>
                  <a:lnTo>
                    <a:pt x="85" y="155"/>
                  </a:lnTo>
                  <a:lnTo>
                    <a:pt x="76" y="1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28" name="Freeform 446">
              <a:extLst>
                <a:ext uri="{FF2B5EF4-FFF2-40B4-BE49-F238E27FC236}">
                  <a16:creationId xmlns:a16="http://schemas.microsoft.com/office/drawing/2014/main" id="{7CC66F0D-CC9A-4576-9D30-061F7271DCE2}"/>
                </a:ext>
              </a:extLst>
            </p:cNvPr>
            <p:cNvSpPr>
              <a:spLocks noEditPoints="1"/>
            </p:cNvSpPr>
            <p:nvPr/>
          </p:nvSpPr>
          <p:spPr bwMode="auto">
            <a:xfrm>
              <a:off x="2275479" y="5538731"/>
              <a:ext cx="75712" cy="75712"/>
            </a:xfrm>
            <a:custGeom>
              <a:avLst/>
              <a:gdLst>
                <a:gd name="T0" fmla="*/ 69 w 154"/>
                <a:gd name="T1" fmla="*/ 39 h 155"/>
                <a:gd name="T2" fmla="*/ 55 w 154"/>
                <a:gd name="T3" fmla="*/ 46 h 155"/>
                <a:gd name="T4" fmla="*/ 45 w 154"/>
                <a:gd name="T5" fmla="*/ 57 h 155"/>
                <a:gd name="T6" fmla="*/ 39 w 154"/>
                <a:gd name="T7" fmla="*/ 70 h 155"/>
                <a:gd name="T8" fmla="*/ 39 w 154"/>
                <a:gd name="T9" fmla="*/ 85 h 155"/>
                <a:gd name="T10" fmla="*/ 45 w 154"/>
                <a:gd name="T11" fmla="*/ 100 h 155"/>
                <a:gd name="T12" fmla="*/ 55 w 154"/>
                <a:gd name="T13" fmla="*/ 110 h 155"/>
                <a:gd name="T14" fmla="*/ 69 w 154"/>
                <a:gd name="T15" fmla="*/ 116 h 155"/>
                <a:gd name="T16" fmla="*/ 85 w 154"/>
                <a:gd name="T17" fmla="*/ 116 h 155"/>
                <a:gd name="T18" fmla="*/ 98 w 154"/>
                <a:gd name="T19" fmla="*/ 110 h 155"/>
                <a:gd name="T20" fmla="*/ 108 w 154"/>
                <a:gd name="T21" fmla="*/ 100 h 155"/>
                <a:gd name="T22" fmla="*/ 114 w 154"/>
                <a:gd name="T23" fmla="*/ 85 h 155"/>
                <a:gd name="T24" fmla="*/ 114 w 154"/>
                <a:gd name="T25" fmla="*/ 70 h 155"/>
                <a:gd name="T26" fmla="*/ 108 w 154"/>
                <a:gd name="T27" fmla="*/ 57 h 155"/>
                <a:gd name="T28" fmla="*/ 98 w 154"/>
                <a:gd name="T29" fmla="*/ 46 h 155"/>
                <a:gd name="T30" fmla="*/ 85 w 154"/>
                <a:gd name="T31" fmla="*/ 39 h 155"/>
                <a:gd name="T32" fmla="*/ 76 w 154"/>
                <a:gd name="T33" fmla="*/ 155 h 155"/>
                <a:gd name="T34" fmla="*/ 60 w 154"/>
                <a:gd name="T35" fmla="*/ 153 h 155"/>
                <a:gd name="T36" fmla="*/ 46 w 154"/>
                <a:gd name="T37" fmla="*/ 149 h 155"/>
                <a:gd name="T38" fmla="*/ 22 w 154"/>
                <a:gd name="T39" fmla="*/ 133 h 155"/>
                <a:gd name="T40" fmla="*/ 6 w 154"/>
                <a:gd name="T41" fmla="*/ 108 h 155"/>
                <a:gd name="T42" fmla="*/ 1 w 154"/>
                <a:gd name="T43" fmla="*/ 94 h 155"/>
                <a:gd name="T44" fmla="*/ 0 w 154"/>
                <a:gd name="T45" fmla="*/ 78 h 155"/>
                <a:gd name="T46" fmla="*/ 1 w 154"/>
                <a:gd name="T47" fmla="*/ 62 h 155"/>
                <a:gd name="T48" fmla="*/ 6 w 154"/>
                <a:gd name="T49" fmla="*/ 48 h 155"/>
                <a:gd name="T50" fmla="*/ 22 w 154"/>
                <a:gd name="T51" fmla="*/ 23 h 155"/>
                <a:gd name="T52" fmla="*/ 46 w 154"/>
                <a:gd name="T53" fmla="*/ 6 h 155"/>
                <a:gd name="T54" fmla="*/ 60 w 154"/>
                <a:gd name="T55" fmla="*/ 2 h 155"/>
                <a:gd name="T56" fmla="*/ 76 w 154"/>
                <a:gd name="T57" fmla="*/ 0 h 155"/>
                <a:gd name="T58" fmla="*/ 92 w 154"/>
                <a:gd name="T59" fmla="*/ 2 h 155"/>
                <a:gd name="T60" fmla="*/ 107 w 154"/>
                <a:gd name="T61" fmla="*/ 6 h 155"/>
                <a:gd name="T62" fmla="*/ 131 w 154"/>
                <a:gd name="T63" fmla="*/ 23 h 155"/>
                <a:gd name="T64" fmla="*/ 148 w 154"/>
                <a:gd name="T65" fmla="*/ 48 h 155"/>
                <a:gd name="T66" fmla="*/ 153 w 154"/>
                <a:gd name="T67" fmla="*/ 62 h 155"/>
                <a:gd name="T68" fmla="*/ 154 w 154"/>
                <a:gd name="T69" fmla="*/ 78 h 155"/>
                <a:gd name="T70" fmla="*/ 153 w 154"/>
                <a:gd name="T71" fmla="*/ 94 h 155"/>
                <a:gd name="T72" fmla="*/ 148 w 154"/>
                <a:gd name="T73" fmla="*/ 108 h 155"/>
                <a:gd name="T74" fmla="*/ 131 w 154"/>
                <a:gd name="T75" fmla="*/ 133 h 155"/>
                <a:gd name="T76" fmla="*/ 107 w 154"/>
                <a:gd name="T77" fmla="*/ 149 h 155"/>
                <a:gd name="T78" fmla="*/ 92 w 154"/>
                <a:gd name="T79" fmla="*/ 153 h 155"/>
                <a:gd name="T80" fmla="*/ 76 w 154"/>
                <a:gd name="T8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155">
                  <a:moveTo>
                    <a:pt x="76" y="39"/>
                  </a:moveTo>
                  <a:lnTo>
                    <a:pt x="69" y="39"/>
                  </a:lnTo>
                  <a:lnTo>
                    <a:pt x="62" y="42"/>
                  </a:lnTo>
                  <a:lnTo>
                    <a:pt x="55" y="46"/>
                  </a:lnTo>
                  <a:lnTo>
                    <a:pt x="49" y="51"/>
                  </a:lnTo>
                  <a:lnTo>
                    <a:pt x="45" y="57"/>
                  </a:lnTo>
                  <a:lnTo>
                    <a:pt x="40" y="62"/>
                  </a:lnTo>
                  <a:lnTo>
                    <a:pt x="39" y="70"/>
                  </a:lnTo>
                  <a:lnTo>
                    <a:pt x="37" y="78"/>
                  </a:lnTo>
                  <a:lnTo>
                    <a:pt x="39" y="85"/>
                  </a:lnTo>
                  <a:lnTo>
                    <a:pt x="40" y="93"/>
                  </a:lnTo>
                  <a:lnTo>
                    <a:pt x="45" y="100"/>
                  </a:lnTo>
                  <a:lnTo>
                    <a:pt x="49" y="106"/>
                  </a:lnTo>
                  <a:lnTo>
                    <a:pt x="55" y="110"/>
                  </a:lnTo>
                  <a:lnTo>
                    <a:pt x="62" y="113"/>
                  </a:lnTo>
                  <a:lnTo>
                    <a:pt x="69" y="116"/>
                  </a:lnTo>
                  <a:lnTo>
                    <a:pt x="76" y="117"/>
                  </a:lnTo>
                  <a:lnTo>
                    <a:pt x="85" y="116"/>
                  </a:lnTo>
                  <a:lnTo>
                    <a:pt x="92" y="113"/>
                  </a:lnTo>
                  <a:lnTo>
                    <a:pt x="98" y="110"/>
                  </a:lnTo>
                  <a:lnTo>
                    <a:pt x="104" y="106"/>
                  </a:lnTo>
                  <a:lnTo>
                    <a:pt x="108" y="100"/>
                  </a:lnTo>
                  <a:lnTo>
                    <a:pt x="112" y="93"/>
                  </a:lnTo>
                  <a:lnTo>
                    <a:pt x="114" y="85"/>
                  </a:lnTo>
                  <a:lnTo>
                    <a:pt x="115" y="78"/>
                  </a:lnTo>
                  <a:lnTo>
                    <a:pt x="114" y="70"/>
                  </a:lnTo>
                  <a:lnTo>
                    <a:pt x="112" y="62"/>
                  </a:lnTo>
                  <a:lnTo>
                    <a:pt x="108" y="57"/>
                  </a:lnTo>
                  <a:lnTo>
                    <a:pt x="104" y="51"/>
                  </a:lnTo>
                  <a:lnTo>
                    <a:pt x="98" y="46"/>
                  </a:lnTo>
                  <a:lnTo>
                    <a:pt x="92" y="42"/>
                  </a:lnTo>
                  <a:lnTo>
                    <a:pt x="85" y="39"/>
                  </a:lnTo>
                  <a:lnTo>
                    <a:pt x="76" y="39"/>
                  </a:lnTo>
                  <a:close/>
                  <a:moveTo>
                    <a:pt x="76" y="155"/>
                  </a:moveTo>
                  <a:lnTo>
                    <a:pt x="69" y="155"/>
                  </a:lnTo>
                  <a:lnTo>
                    <a:pt x="60" y="153"/>
                  </a:lnTo>
                  <a:lnTo>
                    <a:pt x="53" y="152"/>
                  </a:lnTo>
                  <a:lnTo>
                    <a:pt x="46" y="149"/>
                  </a:lnTo>
                  <a:lnTo>
                    <a:pt x="33" y="142"/>
                  </a:lnTo>
                  <a:lnTo>
                    <a:pt x="22" y="133"/>
                  </a:lnTo>
                  <a:lnTo>
                    <a:pt x="13" y="121"/>
                  </a:lnTo>
                  <a:lnTo>
                    <a:pt x="6" y="108"/>
                  </a:lnTo>
                  <a:lnTo>
                    <a:pt x="3" y="101"/>
                  </a:lnTo>
                  <a:lnTo>
                    <a:pt x="1" y="94"/>
                  </a:lnTo>
                  <a:lnTo>
                    <a:pt x="0" y="85"/>
                  </a:lnTo>
                  <a:lnTo>
                    <a:pt x="0" y="78"/>
                  </a:lnTo>
                  <a:lnTo>
                    <a:pt x="0" y="70"/>
                  </a:lnTo>
                  <a:lnTo>
                    <a:pt x="1" y="62"/>
                  </a:lnTo>
                  <a:lnTo>
                    <a:pt x="3" y="55"/>
                  </a:lnTo>
                  <a:lnTo>
                    <a:pt x="6" y="48"/>
                  </a:lnTo>
                  <a:lnTo>
                    <a:pt x="13" y="35"/>
                  </a:lnTo>
                  <a:lnTo>
                    <a:pt x="22" y="23"/>
                  </a:lnTo>
                  <a:lnTo>
                    <a:pt x="33" y="13"/>
                  </a:lnTo>
                  <a:lnTo>
                    <a:pt x="46" y="6"/>
                  </a:lnTo>
                  <a:lnTo>
                    <a:pt x="53" y="5"/>
                  </a:lnTo>
                  <a:lnTo>
                    <a:pt x="60" y="2"/>
                  </a:lnTo>
                  <a:lnTo>
                    <a:pt x="69" y="0"/>
                  </a:lnTo>
                  <a:lnTo>
                    <a:pt x="76" y="0"/>
                  </a:lnTo>
                  <a:lnTo>
                    <a:pt x="85" y="0"/>
                  </a:lnTo>
                  <a:lnTo>
                    <a:pt x="92" y="2"/>
                  </a:lnTo>
                  <a:lnTo>
                    <a:pt x="99" y="5"/>
                  </a:lnTo>
                  <a:lnTo>
                    <a:pt x="107" y="6"/>
                  </a:lnTo>
                  <a:lnTo>
                    <a:pt x="119" y="13"/>
                  </a:lnTo>
                  <a:lnTo>
                    <a:pt x="131" y="23"/>
                  </a:lnTo>
                  <a:lnTo>
                    <a:pt x="141" y="35"/>
                  </a:lnTo>
                  <a:lnTo>
                    <a:pt x="148" y="48"/>
                  </a:lnTo>
                  <a:lnTo>
                    <a:pt x="150" y="55"/>
                  </a:lnTo>
                  <a:lnTo>
                    <a:pt x="153" y="62"/>
                  </a:lnTo>
                  <a:lnTo>
                    <a:pt x="154" y="70"/>
                  </a:lnTo>
                  <a:lnTo>
                    <a:pt x="154" y="78"/>
                  </a:lnTo>
                  <a:lnTo>
                    <a:pt x="154" y="85"/>
                  </a:lnTo>
                  <a:lnTo>
                    <a:pt x="153" y="94"/>
                  </a:lnTo>
                  <a:lnTo>
                    <a:pt x="150" y="101"/>
                  </a:lnTo>
                  <a:lnTo>
                    <a:pt x="148" y="108"/>
                  </a:lnTo>
                  <a:lnTo>
                    <a:pt x="141" y="121"/>
                  </a:lnTo>
                  <a:lnTo>
                    <a:pt x="131" y="133"/>
                  </a:lnTo>
                  <a:lnTo>
                    <a:pt x="119" y="142"/>
                  </a:lnTo>
                  <a:lnTo>
                    <a:pt x="107" y="149"/>
                  </a:lnTo>
                  <a:lnTo>
                    <a:pt x="99" y="152"/>
                  </a:lnTo>
                  <a:lnTo>
                    <a:pt x="92" y="153"/>
                  </a:lnTo>
                  <a:lnTo>
                    <a:pt x="85" y="155"/>
                  </a:lnTo>
                  <a:lnTo>
                    <a:pt x="76" y="15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29" name="Freeform 449">
              <a:extLst>
                <a:ext uri="{FF2B5EF4-FFF2-40B4-BE49-F238E27FC236}">
                  <a16:creationId xmlns:a16="http://schemas.microsoft.com/office/drawing/2014/main" id="{CA78C4F0-8679-4E88-96B3-BD402A587966}"/>
                </a:ext>
              </a:extLst>
            </p:cNvPr>
            <p:cNvSpPr>
              <a:spLocks/>
            </p:cNvSpPr>
            <p:nvPr/>
          </p:nvSpPr>
          <p:spPr bwMode="auto">
            <a:xfrm>
              <a:off x="2097848" y="5221325"/>
              <a:ext cx="365454" cy="336334"/>
            </a:xfrm>
            <a:custGeom>
              <a:avLst/>
              <a:gdLst>
                <a:gd name="T0" fmla="*/ 443 w 753"/>
                <a:gd name="T1" fmla="*/ 695 h 695"/>
                <a:gd name="T2" fmla="*/ 18 w 753"/>
                <a:gd name="T3" fmla="*/ 695 h 695"/>
                <a:gd name="T4" fmla="*/ 14 w 753"/>
                <a:gd name="T5" fmla="*/ 695 h 695"/>
                <a:gd name="T6" fmla="*/ 11 w 753"/>
                <a:gd name="T7" fmla="*/ 694 h 695"/>
                <a:gd name="T8" fmla="*/ 8 w 753"/>
                <a:gd name="T9" fmla="*/ 692 h 695"/>
                <a:gd name="T10" fmla="*/ 6 w 753"/>
                <a:gd name="T11" fmla="*/ 690 h 695"/>
                <a:gd name="T12" fmla="*/ 3 w 753"/>
                <a:gd name="T13" fmla="*/ 687 h 695"/>
                <a:gd name="T14" fmla="*/ 1 w 753"/>
                <a:gd name="T15" fmla="*/ 684 h 695"/>
                <a:gd name="T16" fmla="*/ 0 w 753"/>
                <a:gd name="T17" fmla="*/ 679 h 695"/>
                <a:gd name="T18" fmla="*/ 0 w 753"/>
                <a:gd name="T19" fmla="*/ 677 h 695"/>
                <a:gd name="T20" fmla="*/ 0 w 753"/>
                <a:gd name="T21" fmla="*/ 672 h 695"/>
                <a:gd name="T22" fmla="*/ 1 w 753"/>
                <a:gd name="T23" fmla="*/ 668 h 695"/>
                <a:gd name="T24" fmla="*/ 3 w 753"/>
                <a:gd name="T25" fmla="*/ 665 h 695"/>
                <a:gd name="T26" fmla="*/ 6 w 753"/>
                <a:gd name="T27" fmla="*/ 662 h 695"/>
                <a:gd name="T28" fmla="*/ 8 w 753"/>
                <a:gd name="T29" fmla="*/ 659 h 695"/>
                <a:gd name="T30" fmla="*/ 11 w 753"/>
                <a:gd name="T31" fmla="*/ 658 h 695"/>
                <a:gd name="T32" fmla="*/ 14 w 753"/>
                <a:gd name="T33" fmla="*/ 656 h 695"/>
                <a:gd name="T34" fmla="*/ 18 w 753"/>
                <a:gd name="T35" fmla="*/ 656 h 695"/>
                <a:gd name="T36" fmla="*/ 429 w 753"/>
                <a:gd name="T37" fmla="*/ 656 h 695"/>
                <a:gd name="T38" fmla="*/ 579 w 753"/>
                <a:gd name="T39" fmla="*/ 15 h 695"/>
                <a:gd name="T40" fmla="*/ 582 w 753"/>
                <a:gd name="T41" fmla="*/ 8 h 695"/>
                <a:gd name="T42" fmla="*/ 586 w 753"/>
                <a:gd name="T43" fmla="*/ 4 h 695"/>
                <a:gd name="T44" fmla="*/ 592 w 753"/>
                <a:gd name="T45" fmla="*/ 1 h 695"/>
                <a:gd name="T46" fmla="*/ 597 w 753"/>
                <a:gd name="T47" fmla="*/ 0 h 695"/>
                <a:gd name="T48" fmla="*/ 733 w 753"/>
                <a:gd name="T49" fmla="*/ 0 h 695"/>
                <a:gd name="T50" fmla="*/ 737 w 753"/>
                <a:gd name="T51" fmla="*/ 0 h 695"/>
                <a:gd name="T52" fmla="*/ 741 w 753"/>
                <a:gd name="T53" fmla="*/ 1 h 695"/>
                <a:gd name="T54" fmla="*/ 744 w 753"/>
                <a:gd name="T55" fmla="*/ 2 h 695"/>
                <a:gd name="T56" fmla="*/ 747 w 753"/>
                <a:gd name="T57" fmla="*/ 5 h 695"/>
                <a:gd name="T58" fmla="*/ 749 w 753"/>
                <a:gd name="T59" fmla="*/ 8 h 695"/>
                <a:gd name="T60" fmla="*/ 751 w 753"/>
                <a:gd name="T61" fmla="*/ 11 h 695"/>
                <a:gd name="T62" fmla="*/ 751 w 753"/>
                <a:gd name="T63" fmla="*/ 15 h 695"/>
                <a:gd name="T64" fmla="*/ 753 w 753"/>
                <a:gd name="T65" fmla="*/ 20 h 695"/>
                <a:gd name="T66" fmla="*/ 751 w 753"/>
                <a:gd name="T67" fmla="*/ 23 h 695"/>
                <a:gd name="T68" fmla="*/ 751 w 753"/>
                <a:gd name="T69" fmla="*/ 27 h 695"/>
                <a:gd name="T70" fmla="*/ 749 w 753"/>
                <a:gd name="T71" fmla="*/ 30 h 695"/>
                <a:gd name="T72" fmla="*/ 747 w 753"/>
                <a:gd name="T73" fmla="*/ 33 h 695"/>
                <a:gd name="T74" fmla="*/ 744 w 753"/>
                <a:gd name="T75" fmla="*/ 36 h 695"/>
                <a:gd name="T76" fmla="*/ 741 w 753"/>
                <a:gd name="T77" fmla="*/ 37 h 695"/>
                <a:gd name="T78" fmla="*/ 737 w 753"/>
                <a:gd name="T79" fmla="*/ 38 h 695"/>
                <a:gd name="T80" fmla="*/ 733 w 753"/>
                <a:gd name="T81" fmla="*/ 38 h 695"/>
                <a:gd name="T82" fmla="*/ 613 w 753"/>
                <a:gd name="T83" fmla="*/ 38 h 695"/>
                <a:gd name="T84" fmla="*/ 462 w 753"/>
                <a:gd name="T85" fmla="*/ 681 h 695"/>
                <a:gd name="T86" fmla="*/ 459 w 753"/>
                <a:gd name="T87" fmla="*/ 687 h 695"/>
                <a:gd name="T88" fmla="*/ 455 w 753"/>
                <a:gd name="T89" fmla="*/ 691 h 695"/>
                <a:gd name="T90" fmla="*/ 450 w 753"/>
                <a:gd name="T91" fmla="*/ 694 h 695"/>
                <a:gd name="T92" fmla="*/ 443 w 753"/>
                <a:gd name="T93"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3" h="695">
                  <a:moveTo>
                    <a:pt x="443" y="695"/>
                  </a:moveTo>
                  <a:lnTo>
                    <a:pt x="18" y="695"/>
                  </a:lnTo>
                  <a:lnTo>
                    <a:pt x="14" y="695"/>
                  </a:lnTo>
                  <a:lnTo>
                    <a:pt x="11" y="694"/>
                  </a:lnTo>
                  <a:lnTo>
                    <a:pt x="8" y="692"/>
                  </a:lnTo>
                  <a:lnTo>
                    <a:pt x="6" y="690"/>
                  </a:lnTo>
                  <a:lnTo>
                    <a:pt x="3" y="687"/>
                  </a:lnTo>
                  <a:lnTo>
                    <a:pt x="1" y="684"/>
                  </a:lnTo>
                  <a:lnTo>
                    <a:pt x="0" y="679"/>
                  </a:lnTo>
                  <a:lnTo>
                    <a:pt x="0" y="677"/>
                  </a:lnTo>
                  <a:lnTo>
                    <a:pt x="0" y="672"/>
                  </a:lnTo>
                  <a:lnTo>
                    <a:pt x="1" y="668"/>
                  </a:lnTo>
                  <a:lnTo>
                    <a:pt x="3" y="665"/>
                  </a:lnTo>
                  <a:lnTo>
                    <a:pt x="6" y="662"/>
                  </a:lnTo>
                  <a:lnTo>
                    <a:pt x="8" y="659"/>
                  </a:lnTo>
                  <a:lnTo>
                    <a:pt x="11" y="658"/>
                  </a:lnTo>
                  <a:lnTo>
                    <a:pt x="14" y="656"/>
                  </a:lnTo>
                  <a:lnTo>
                    <a:pt x="18" y="656"/>
                  </a:lnTo>
                  <a:lnTo>
                    <a:pt x="429" y="656"/>
                  </a:lnTo>
                  <a:lnTo>
                    <a:pt x="579" y="15"/>
                  </a:lnTo>
                  <a:lnTo>
                    <a:pt x="582" y="8"/>
                  </a:lnTo>
                  <a:lnTo>
                    <a:pt x="586" y="4"/>
                  </a:lnTo>
                  <a:lnTo>
                    <a:pt x="592" y="1"/>
                  </a:lnTo>
                  <a:lnTo>
                    <a:pt x="597" y="0"/>
                  </a:lnTo>
                  <a:lnTo>
                    <a:pt x="733" y="0"/>
                  </a:lnTo>
                  <a:lnTo>
                    <a:pt x="737" y="0"/>
                  </a:lnTo>
                  <a:lnTo>
                    <a:pt x="741" y="1"/>
                  </a:lnTo>
                  <a:lnTo>
                    <a:pt x="744" y="2"/>
                  </a:lnTo>
                  <a:lnTo>
                    <a:pt x="747" y="5"/>
                  </a:lnTo>
                  <a:lnTo>
                    <a:pt x="749" y="8"/>
                  </a:lnTo>
                  <a:lnTo>
                    <a:pt x="751" y="11"/>
                  </a:lnTo>
                  <a:lnTo>
                    <a:pt x="751" y="15"/>
                  </a:lnTo>
                  <a:lnTo>
                    <a:pt x="753" y="20"/>
                  </a:lnTo>
                  <a:lnTo>
                    <a:pt x="751" y="23"/>
                  </a:lnTo>
                  <a:lnTo>
                    <a:pt x="751" y="27"/>
                  </a:lnTo>
                  <a:lnTo>
                    <a:pt x="749" y="30"/>
                  </a:lnTo>
                  <a:lnTo>
                    <a:pt x="747" y="33"/>
                  </a:lnTo>
                  <a:lnTo>
                    <a:pt x="744" y="36"/>
                  </a:lnTo>
                  <a:lnTo>
                    <a:pt x="741" y="37"/>
                  </a:lnTo>
                  <a:lnTo>
                    <a:pt x="737" y="38"/>
                  </a:lnTo>
                  <a:lnTo>
                    <a:pt x="733" y="38"/>
                  </a:lnTo>
                  <a:lnTo>
                    <a:pt x="613" y="38"/>
                  </a:lnTo>
                  <a:lnTo>
                    <a:pt x="462" y="681"/>
                  </a:lnTo>
                  <a:lnTo>
                    <a:pt x="459" y="687"/>
                  </a:lnTo>
                  <a:lnTo>
                    <a:pt x="455" y="691"/>
                  </a:lnTo>
                  <a:lnTo>
                    <a:pt x="450" y="694"/>
                  </a:lnTo>
                  <a:lnTo>
                    <a:pt x="443" y="6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730" name="Freeform 450">
              <a:extLst>
                <a:ext uri="{FF2B5EF4-FFF2-40B4-BE49-F238E27FC236}">
                  <a16:creationId xmlns:a16="http://schemas.microsoft.com/office/drawing/2014/main" id="{D8619783-3BF6-4AB4-83E7-A7EBFCDE3685}"/>
                </a:ext>
              </a:extLst>
            </p:cNvPr>
            <p:cNvSpPr>
              <a:spLocks/>
            </p:cNvSpPr>
            <p:nvPr/>
          </p:nvSpPr>
          <p:spPr bwMode="auto">
            <a:xfrm>
              <a:off x="2013401" y="5333436"/>
              <a:ext cx="356718" cy="187823"/>
            </a:xfrm>
            <a:custGeom>
              <a:avLst/>
              <a:gdLst>
                <a:gd name="T0" fmla="*/ 637 w 734"/>
                <a:gd name="T1" fmla="*/ 387 h 387"/>
                <a:gd name="T2" fmla="*/ 135 w 734"/>
                <a:gd name="T3" fmla="*/ 387 h 387"/>
                <a:gd name="T4" fmla="*/ 129 w 734"/>
                <a:gd name="T5" fmla="*/ 387 h 387"/>
                <a:gd name="T6" fmla="*/ 123 w 734"/>
                <a:gd name="T7" fmla="*/ 384 h 387"/>
                <a:gd name="T8" fmla="*/ 119 w 734"/>
                <a:gd name="T9" fmla="*/ 379 h 387"/>
                <a:gd name="T10" fmla="*/ 116 w 734"/>
                <a:gd name="T11" fmla="*/ 374 h 387"/>
                <a:gd name="T12" fmla="*/ 1 w 734"/>
                <a:gd name="T13" fmla="*/ 26 h 387"/>
                <a:gd name="T14" fmla="*/ 0 w 734"/>
                <a:gd name="T15" fmla="*/ 22 h 387"/>
                <a:gd name="T16" fmla="*/ 0 w 734"/>
                <a:gd name="T17" fmla="*/ 16 h 387"/>
                <a:gd name="T18" fmla="*/ 1 w 734"/>
                <a:gd name="T19" fmla="*/ 12 h 387"/>
                <a:gd name="T20" fmla="*/ 4 w 734"/>
                <a:gd name="T21" fmla="*/ 9 h 387"/>
                <a:gd name="T22" fmla="*/ 7 w 734"/>
                <a:gd name="T23" fmla="*/ 5 h 387"/>
                <a:gd name="T24" fmla="*/ 10 w 734"/>
                <a:gd name="T25" fmla="*/ 3 h 387"/>
                <a:gd name="T26" fmla="*/ 14 w 734"/>
                <a:gd name="T27" fmla="*/ 0 h 387"/>
                <a:gd name="T28" fmla="*/ 18 w 734"/>
                <a:gd name="T29" fmla="*/ 0 h 387"/>
                <a:gd name="T30" fmla="*/ 714 w 734"/>
                <a:gd name="T31" fmla="*/ 0 h 387"/>
                <a:gd name="T32" fmla="*/ 718 w 734"/>
                <a:gd name="T33" fmla="*/ 0 h 387"/>
                <a:gd name="T34" fmla="*/ 721 w 734"/>
                <a:gd name="T35" fmla="*/ 2 h 387"/>
                <a:gd name="T36" fmla="*/ 725 w 734"/>
                <a:gd name="T37" fmla="*/ 3 h 387"/>
                <a:gd name="T38" fmla="*/ 728 w 734"/>
                <a:gd name="T39" fmla="*/ 6 h 387"/>
                <a:gd name="T40" fmla="*/ 730 w 734"/>
                <a:gd name="T41" fmla="*/ 9 h 387"/>
                <a:gd name="T42" fmla="*/ 732 w 734"/>
                <a:gd name="T43" fmla="*/ 12 h 387"/>
                <a:gd name="T44" fmla="*/ 732 w 734"/>
                <a:gd name="T45" fmla="*/ 16 h 387"/>
                <a:gd name="T46" fmla="*/ 734 w 734"/>
                <a:gd name="T47" fmla="*/ 21 h 387"/>
                <a:gd name="T48" fmla="*/ 732 w 734"/>
                <a:gd name="T49" fmla="*/ 24 h 387"/>
                <a:gd name="T50" fmla="*/ 732 w 734"/>
                <a:gd name="T51" fmla="*/ 28 h 387"/>
                <a:gd name="T52" fmla="*/ 730 w 734"/>
                <a:gd name="T53" fmla="*/ 31 h 387"/>
                <a:gd name="T54" fmla="*/ 728 w 734"/>
                <a:gd name="T55" fmla="*/ 34 h 387"/>
                <a:gd name="T56" fmla="*/ 725 w 734"/>
                <a:gd name="T57" fmla="*/ 36 h 387"/>
                <a:gd name="T58" fmla="*/ 721 w 734"/>
                <a:gd name="T59" fmla="*/ 38 h 387"/>
                <a:gd name="T60" fmla="*/ 718 w 734"/>
                <a:gd name="T61" fmla="*/ 39 h 387"/>
                <a:gd name="T62" fmla="*/ 714 w 734"/>
                <a:gd name="T63" fmla="*/ 39 h 387"/>
                <a:gd name="T64" fmla="*/ 46 w 734"/>
                <a:gd name="T65" fmla="*/ 39 h 387"/>
                <a:gd name="T66" fmla="*/ 149 w 734"/>
                <a:gd name="T67" fmla="*/ 348 h 387"/>
                <a:gd name="T68" fmla="*/ 637 w 734"/>
                <a:gd name="T69" fmla="*/ 348 h 387"/>
                <a:gd name="T70" fmla="*/ 640 w 734"/>
                <a:gd name="T71" fmla="*/ 349 h 387"/>
                <a:gd name="T72" fmla="*/ 645 w 734"/>
                <a:gd name="T73" fmla="*/ 350 h 387"/>
                <a:gd name="T74" fmla="*/ 648 w 734"/>
                <a:gd name="T75" fmla="*/ 352 h 387"/>
                <a:gd name="T76" fmla="*/ 650 w 734"/>
                <a:gd name="T77" fmla="*/ 353 h 387"/>
                <a:gd name="T78" fmla="*/ 653 w 734"/>
                <a:gd name="T79" fmla="*/ 356 h 387"/>
                <a:gd name="T80" fmla="*/ 655 w 734"/>
                <a:gd name="T81" fmla="*/ 361 h 387"/>
                <a:gd name="T82" fmla="*/ 656 w 734"/>
                <a:gd name="T83" fmla="*/ 363 h 387"/>
                <a:gd name="T84" fmla="*/ 656 w 734"/>
                <a:gd name="T85" fmla="*/ 368 h 387"/>
                <a:gd name="T86" fmla="*/ 656 w 734"/>
                <a:gd name="T87" fmla="*/ 372 h 387"/>
                <a:gd name="T88" fmla="*/ 655 w 734"/>
                <a:gd name="T89" fmla="*/ 375 h 387"/>
                <a:gd name="T90" fmla="*/ 653 w 734"/>
                <a:gd name="T91" fmla="*/ 378 h 387"/>
                <a:gd name="T92" fmla="*/ 650 w 734"/>
                <a:gd name="T93" fmla="*/ 381 h 387"/>
                <a:gd name="T94" fmla="*/ 648 w 734"/>
                <a:gd name="T95" fmla="*/ 384 h 387"/>
                <a:gd name="T96" fmla="*/ 645 w 734"/>
                <a:gd name="T97" fmla="*/ 385 h 387"/>
                <a:gd name="T98" fmla="*/ 640 w 734"/>
                <a:gd name="T99" fmla="*/ 387 h 387"/>
                <a:gd name="T100" fmla="*/ 637 w 734"/>
                <a:gd name="T101"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4" h="387">
                  <a:moveTo>
                    <a:pt x="637" y="387"/>
                  </a:moveTo>
                  <a:lnTo>
                    <a:pt x="135" y="387"/>
                  </a:lnTo>
                  <a:lnTo>
                    <a:pt x="129" y="387"/>
                  </a:lnTo>
                  <a:lnTo>
                    <a:pt x="123" y="384"/>
                  </a:lnTo>
                  <a:lnTo>
                    <a:pt x="119" y="379"/>
                  </a:lnTo>
                  <a:lnTo>
                    <a:pt x="116" y="374"/>
                  </a:lnTo>
                  <a:lnTo>
                    <a:pt x="1" y="26"/>
                  </a:lnTo>
                  <a:lnTo>
                    <a:pt x="0" y="22"/>
                  </a:lnTo>
                  <a:lnTo>
                    <a:pt x="0" y="16"/>
                  </a:lnTo>
                  <a:lnTo>
                    <a:pt x="1" y="12"/>
                  </a:lnTo>
                  <a:lnTo>
                    <a:pt x="4" y="9"/>
                  </a:lnTo>
                  <a:lnTo>
                    <a:pt x="7" y="5"/>
                  </a:lnTo>
                  <a:lnTo>
                    <a:pt x="10" y="3"/>
                  </a:lnTo>
                  <a:lnTo>
                    <a:pt x="14" y="0"/>
                  </a:lnTo>
                  <a:lnTo>
                    <a:pt x="18" y="0"/>
                  </a:lnTo>
                  <a:lnTo>
                    <a:pt x="714" y="0"/>
                  </a:lnTo>
                  <a:lnTo>
                    <a:pt x="718" y="0"/>
                  </a:lnTo>
                  <a:lnTo>
                    <a:pt x="721" y="2"/>
                  </a:lnTo>
                  <a:lnTo>
                    <a:pt x="725" y="3"/>
                  </a:lnTo>
                  <a:lnTo>
                    <a:pt x="728" y="6"/>
                  </a:lnTo>
                  <a:lnTo>
                    <a:pt x="730" y="9"/>
                  </a:lnTo>
                  <a:lnTo>
                    <a:pt x="732" y="12"/>
                  </a:lnTo>
                  <a:lnTo>
                    <a:pt x="732" y="16"/>
                  </a:lnTo>
                  <a:lnTo>
                    <a:pt x="734" y="21"/>
                  </a:lnTo>
                  <a:lnTo>
                    <a:pt x="732" y="24"/>
                  </a:lnTo>
                  <a:lnTo>
                    <a:pt x="732" y="28"/>
                  </a:lnTo>
                  <a:lnTo>
                    <a:pt x="730" y="31"/>
                  </a:lnTo>
                  <a:lnTo>
                    <a:pt x="728" y="34"/>
                  </a:lnTo>
                  <a:lnTo>
                    <a:pt x="725" y="36"/>
                  </a:lnTo>
                  <a:lnTo>
                    <a:pt x="721" y="38"/>
                  </a:lnTo>
                  <a:lnTo>
                    <a:pt x="718" y="39"/>
                  </a:lnTo>
                  <a:lnTo>
                    <a:pt x="714" y="39"/>
                  </a:lnTo>
                  <a:lnTo>
                    <a:pt x="46" y="39"/>
                  </a:lnTo>
                  <a:lnTo>
                    <a:pt x="149" y="348"/>
                  </a:lnTo>
                  <a:lnTo>
                    <a:pt x="637" y="348"/>
                  </a:lnTo>
                  <a:lnTo>
                    <a:pt x="640" y="349"/>
                  </a:lnTo>
                  <a:lnTo>
                    <a:pt x="645" y="350"/>
                  </a:lnTo>
                  <a:lnTo>
                    <a:pt x="648" y="352"/>
                  </a:lnTo>
                  <a:lnTo>
                    <a:pt x="650" y="353"/>
                  </a:lnTo>
                  <a:lnTo>
                    <a:pt x="653" y="356"/>
                  </a:lnTo>
                  <a:lnTo>
                    <a:pt x="655" y="361"/>
                  </a:lnTo>
                  <a:lnTo>
                    <a:pt x="656" y="363"/>
                  </a:lnTo>
                  <a:lnTo>
                    <a:pt x="656" y="368"/>
                  </a:lnTo>
                  <a:lnTo>
                    <a:pt x="656" y="372"/>
                  </a:lnTo>
                  <a:lnTo>
                    <a:pt x="655" y="375"/>
                  </a:lnTo>
                  <a:lnTo>
                    <a:pt x="653" y="378"/>
                  </a:lnTo>
                  <a:lnTo>
                    <a:pt x="650" y="381"/>
                  </a:lnTo>
                  <a:lnTo>
                    <a:pt x="648" y="384"/>
                  </a:lnTo>
                  <a:lnTo>
                    <a:pt x="645" y="385"/>
                  </a:lnTo>
                  <a:lnTo>
                    <a:pt x="640" y="387"/>
                  </a:lnTo>
                  <a:lnTo>
                    <a:pt x="637" y="3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1803" name="Freeform 135">
            <a:extLst>
              <a:ext uri="{FF2B5EF4-FFF2-40B4-BE49-F238E27FC236}">
                <a16:creationId xmlns:a16="http://schemas.microsoft.com/office/drawing/2014/main" id="{FCD921F0-8A78-4324-81AD-CD0F9DFBEA39}"/>
              </a:ext>
            </a:extLst>
          </p:cNvPr>
          <p:cNvSpPr>
            <a:spLocks noChangeAspect="1" noEditPoints="1"/>
          </p:cNvSpPr>
          <p:nvPr/>
        </p:nvSpPr>
        <p:spPr bwMode="auto">
          <a:xfrm>
            <a:off x="6637662" y="4879041"/>
            <a:ext cx="285619" cy="285619"/>
          </a:xfrm>
          <a:custGeom>
            <a:avLst/>
            <a:gdLst>
              <a:gd name="T0" fmla="*/ 783 w 903"/>
              <a:gd name="T1" fmla="*/ 533 h 903"/>
              <a:gd name="T2" fmla="*/ 853 w 903"/>
              <a:gd name="T3" fmla="*/ 505 h 903"/>
              <a:gd name="T4" fmla="*/ 853 w 903"/>
              <a:gd name="T5" fmla="*/ 580 h 903"/>
              <a:gd name="T6" fmla="*/ 435 w 903"/>
              <a:gd name="T7" fmla="*/ 504 h 903"/>
              <a:gd name="T8" fmla="*/ 376 w 903"/>
              <a:gd name="T9" fmla="*/ 392 h 903"/>
              <a:gd name="T10" fmla="*/ 435 w 903"/>
              <a:gd name="T11" fmla="*/ 280 h 903"/>
              <a:gd name="T12" fmla="*/ 564 w 903"/>
              <a:gd name="T13" fmla="*/ 267 h 903"/>
              <a:gd name="T14" fmla="*/ 644 w 903"/>
              <a:gd name="T15" fmla="*/ 365 h 903"/>
              <a:gd name="T16" fmla="*/ 607 w 903"/>
              <a:gd name="T17" fmla="*/ 488 h 903"/>
              <a:gd name="T18" fmla="*/ 65 w 903"/>
              <a:gd name="T19" fmla="*/ 873 h 903"/>
              <a:gd name="T20" fmla="*/ 37 w 903"/>
              <a:gd name="T21" fmla="*/ 803 h 903"/>
              <a:gd name="T22" fmla="*/ 112 w 903"/>
              <a:gd name="T23" fmla="*/ 803 h 903"/>
              <a:gd name="T24" fmla="*/ 84 w 903"/>
              <a:gd name="T25" fmla="*/ 873 h 903"/>
              <a:gd name="T26" fmla="*/ 873 w 903"/>
              <a:gd name="T27" fmla="*/ 76 h 903"/>
              <a:gd name="T28" fmla="*/ 810 w 903"/>
              <a:gd name="T29" fmla="*/ 117 h 903"/>
              <a:gd name="T30" fmla="*/ 796 w 903"/>
              <a:gd name="T31" fmla="*/ 44 h 903"/>
              <a:gd name="T32" fmla="*/ 559 w 903"/>
              <a:gd name="T33" fmla="*/ 860 h 903"/>
              <a:gd name="T34" fmla="*/ 485 w 903"/>
              <a:gd name="T35" fmla="*/ 846 h 903"/>
              <a:gd name="T36" fmla="*/ 526 w 903"/>
              <a:gd name="T37" fmla="*/ 783 h 903"/>
              <a:gd name="T38" fmla="*/ 65 w 903"/>
              <a:gd name="T39" fmla="*/ 255 h 903"/>
              <a:gd name="T40" fmla="*/ 37 w 903"/>
              <a:gd name="T41" fmla="*/ 186 h 903"/>
              <a:gd name="T42" fmla="*/ 112 w 903"/>
              <a:gd name="T43" fmla="*/ 186 h 903"/>
              <a:gd name="T44" fmla="*/ 84 w 903"/>
              <a:gd name="T45" fmla="*/ 255 h 903"/>
              <a:gd name="T46" fmla="*/ 768 w 903"/>
              <a:gd name="T47" fmla="*/ 498 h 903"/>
              <a:gd name="T48" fmla="*/ 662 w 903"/>
              <a:gd name="T49" fmla="*/ 322 h 903"/>
              <a:gd name="T50" fmla="*/ 843 w 903"/>
              <a:gd name="T51" fmla="*/ 149 h 903"/>
              <a:gd name="T52" fmla="*/ 896 w 903"/>
              <a:gd name="T53" fmla="*/ 105 h 903"/>
              <a:gd name="T54" fmla="*/ 890 w 903"/>
              <a:gd name="T55" fmla="*/ 33 h 903"/>
              <a:gd name="T56" fmla="*/ 828 w 903"/>
              <a:gd name="T57" fmla="*/ 0 h 903"/>
              <a:gd name="T58" fmla="*/ 765 w 903"/>
              <a:gd name="T59" fmla="*/ 33 h 903"/>
              <a:gd name="T60" fmla="*/ 765 w 903"/>
              <a:gd name="T61" fmla="*/ 117 h 903"/>
              <a:gd name="T62" fmla="*/ 500 w 903"/>
              <a:gd name="T63" fmla="*/ 226 h 903"/>
              <a:gd name="T64" fmla="*/ 399 w 903"/>
              <a:gd name="T65" fmla="*/ 272 h 903"/>
              <a:gd name="T66" fmla="*/ 149 w 903"/>
              <a:gd name="T67" fmla="*/ 196 h 903"/>
              <a:gd name="T68" fmla="*/ 104 w 903"/>
              <a:gd name="T69" fmla="*/ 142 h 903"/>
              <a:gd name="T70" fmla="*/ 33 w 903"/>
              <a:gd name="T71" fmla="*/ 149 h 903"/>
              <a:gd name="T72" fmla="*/ 0 w 903"/>
              <a:gd name="T73" fmla="*/ 211 h 903"/>
              <a:gd name="T74" fmla="*/ 33 w 903"/>
              <a:gd name="T75" fmla="*/ 274 h 903"/>
              <a:gd name="T76" fmla="*/ 110 w 903"/>
              <a:gd name="T77" fmla="*/ 278 h 903"/>
              <a:gd name="T78" fmla="*/ 346 w 903"/>
              <a:gd name="T79" fmla="*/ 407 h 903"/>
              <a:gd name="T80" fmla="*/ 96 w 903"/>
              <a:gd name="T81" fmla="*/ 756 h 903"/>
              <a:gd name="T82" fmla="*/ 21 w 903"/>
              <a:gd name="T83" fmla="*/ 776 h 903"/>
              <a:gd name="T84" fmla="*/ 1 w 903"/>
              <a:gd name="T85" fmla="*/ 843 h 903"/>
              <a:gd name="T86" fmla="*/ 46 w 903"/>
              <a:gd name="T87" fmla="*/ 898 h 903"/>
              <a:gd name="T88" fmla="*/ 117 w 903"/>
              <a:gd name="T89" fmla="*/ 890 h 903"/>
              <a:gd name="T90" fmla="*/ 150 w 903"/>
              <a:gd name="T91" fmla="*/ 828 h 903"/>
              <a:gd name="T92" fmla="*/ 467 w 903"/>
              <a:gd name="T93" fmla="*/ 551 h 903"/>
              <a:gd name="T94" fmla="*/ 469 w 903"/>
              <a:gd name="T95" fmla="*/ 781 h 903"/>
              <a:gd name="T96" fmla="*/ 452 w 903"/>
              <a:gd name="T97" fmla="*/ 843 h 903"/>
              <a:gd name="T98" fmla="*/ 498 w 903"/>
              <a:gd name="T99" fmla="*/ 898 h 903"/>
              <a:gd name="T100" fmla="*/ 568 w 903"/>
              <a:gd name="T101" fmla="*/ 890 h 903"/>
              <a:gd name="T102" fmla="*/ 602 w 903"/>
              <a:gd name="T103" fmla="*/ 828 h 903"/>
              <a:gd name="T104" fmla="*/ 565 w 903"/>
              <a:gd name="T105" fmla="*/ 764 h 903"/>
              <a:gd name="T106" fmla="*/ 620 w 903"/>
              <a:gd name="T107" fmla="*/ 516 h 903"/>
              <a:gd name="T108" fmla="*/ 758 w 903"/>
              <a:gd name="T109" fmla="*/ 572 h 903"/>
              <a:gd name="T110" fmla="*/ 812 w 903"/>
              <a:gd name="T111" fmla="*/ 616 h 903"/>
              <a:gd name="T112" fmla="*/ 880 w 903"/>
              <a:gd name="T113" fmla="*/ 595 h 903"/>
              <a:gd name="T114" fmla="*/ 901 w 903"/>
              <a:gd name="T115" fmla="*/ 528 h 903"/>
              <a:gd name="T116" fmla="*/ 857 w 903"/>
              <a:gd name="T117" fmla="*/ 4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903">
                <a:moveTo>
                  <a:pt x="828" y="588"/>
                </a:moveTo>
                <a:lnTo>
                  <a:pt x="818" y="587"/>
                </a:lnTo>
                <a:lnTo>
                  <a:pt x="810" y="584"/>
                </a:lnTo>
                <a:lnTo>
                  <a:pt x="802" y="580"/>
                </a:lnTo>
                <a:lnTo>
                  <a:pt x="796" y="574"/>
                </a:lnTo>
                <a:lnTo>
                  <a:pt x="790" y="567"/>
                </a:lnTo>
                <a:lnTo>
                  <a:pt x="786" y="560"/>
                </a:lnTo>
                <a:lnTo>
                  <a:pt x="783" y="551"/>
                </a:lnTo>
                <a:lnTo>
                  <a:pt x="783" y="543"/>
                </a:lnTo>
                <a:lnTo>
                  <a:pt x="783" y="533"/>
                </a:lnTo>
                <a:lnTo>
                  <a:pt x="786" y="525"/>
                </a:lnTo>
                <a:lnTo>
                  <a:pt x="790" y="517"/>
                </a:lnTo>
                <a:lnTo>
                  <a:pt x="796" y="511"/>
                </a:lnTo>
                <a:lnTo>
                  <a:pt x="802" y="505"/>
                </a:lnTo>
                <a:lnTo>
                  <a:pt x="810" y="501"/>
                </a:lnTo>
                <a:lnTo>
                  <a:pt x="818" y="498"/>
                </a:lnTo>
                <a:lnTo>
                  <a:pt x="828" y="498"/>
                </a:lnTo>
                <a:lnTo>
                  <a:pt x="836" y="498"/>
                </a:lnTo>
                <a:lnTo>
                  <a:pt x="845" y="501"/>
                </a:lnTo>
                <a:lnTo>
                  <a:pt x="853" y="505"/>
                </a:lnTo>
                <a:lnTo>
                  <a:pt x="859" y="511"/>
                </a:lnTo>
                <a:lnTo>
                  <a:pt x="864" y="517"/>
                </a:lnTo>
                <a:lnTo>
                  <a:pt x="869" y="525"/>
                </a:lnTo>
                <a:lnTo>
                  <a:pt x="872" y="533"/>
                </a:lnTo>
                <a:lnTo>
                  <a:pt x="873" y="543"/>
                </a:lnTo>
                <a:lnTo>
                  <a:pt x="872" y="551"/>
                </a:lnTo>
                <a:lnTo>
                  <a:pt x="869" y="560"/>
                </a:lnTo>
                <a:lnTo>
                  <a:pt x="865" y="567"/>
                </a:lnTo>
                <a:lnTo>
                  <a:pt x="859" y="574"/>
                </a:lnTo>
                <a:lnTo>
                  <a:pt x="853" y="580"/>
                </a:lnTo>
                <a:lnTo>
                  <a:pt x="845" y="584"/>
                </a:lnTo>
                <a:lnTo>
                  <a:pt x="836" y="587"/>
                </a:lnTo>
                <a:lnTo>
                  <a:pt x="828" y="588"/>
                </a:lnTo>
                <a:close/>
                <a:moveTo>
                  <a:pt x="511" y="528"/>
                </a:moveTo>
                <a:lnTo>
                  <a:pt x="498" y="527"/>
                </a:lnTo>
                <a:lnTo>
                  <a:pt x="484" y="525"/>
                </a:lnTo>
                <a:lnTo>
                  <a:pt x="471" y="521"/>
                </a:lnTo>
                <a:lnTo>
                  <a:pt x="459" y="517"/>
                </a:lnTo>
                <a:lnTo>
                  <a:pt x="447" y="511"/>
                </a:lnTo>
                <a:lnTo>
                  <a:pt x="435" y="504"/>
                </a:lnTo>
                <a:lnTo>
                  <a:pt x="426" y="497"/>
                </a:lnTo>
                <a:lnTo>
                  <a:pt x="416" y="488"/>
                </a:lnTo>
                <a:lnTo>
                  <a:pt x="406" y="478"/>
                </a:lnTo>
                <a:lnTo>
                  <a:pt x="399" y="468"/>
                </a:lnTo>
                <a:lnTo>
                  <a:pt x="392" y="456"/>
                </a:lnTo>
                <a:lnTo>
                  <a:pt x="387" y="444"/>
                </a:lnTo>
                <a:lnTo>
                  <a:pt x="382" y="432"/>
                </a:lnTo>
                <a:lnTo>
                  <a:pt x="378" y="420"/>
                </a:lnTo>
                <a:lnTo>
                  <a:pt x="376" y="406"/>
                </a:lnTo>
                <a:lnTo>
                  <a:pt x="376" y="392"/>
                </a:lnTo>
                <a:lnTo>
                  <a:pt x="376" y="378"/>
                </a:lnTo>
                <a:lnTo>
                  <a:pt x="378" y="365"/>
                </a:lnTo>
                <a:lnTo>
                  <a:pt x="382" y="352"/>
                </a:lnTo>
                <a:lnTo>
                  <a:pt x="387" y="339"/>
                </a:lnTo>
                <a:lnTo>
                  <a:pt x="392" y="327"/>
                </a:lnTo>
                <a:lnTo>
                  <a:pt x="399" y="317"/>
                </a:lnTo>
                <a:lnTo>
                  <a:pt x="406" y="306"/>
                </a:lnTo>
                <a:lnTo>
                  <a:pt x="416" y="296"/>
                </a:lnTo>
                <a:lnTo>
                  <a:pt x="426" y="288"/>
                </a:lnTo>
                <a:lnTo>
                  <a:pt x="435" y="280"/>
                </a:lnTo>
                <a:lnTo>
                  <a:pt x="447" y="273"/>
                </a:lnTo>
                <a:lnTo>
                  <a:pt x="459" y="267"/>
                </a:lnTo>
                <a:lnTo>
                  <a:pt x="471" y="263"/>
                </a:lnTo>
                <a:lnTo>
                  <a:pt x="484" y="260"/>
                </a:lnTo>
                <a:lnTo>
                  <a:pt x="498" y="258"/>
                </a:lnTo>
                <a:lnTo>
                  <a:pt x="511" y="257"/>
                </a:lnTo>
                <a:lnTo>
                  <a:pt x="525" y="258"/>
                </a:lnTo>
                <a:lnTo>
                  <a:pt x="538" y="260"/>
                </a:lnTo>
                <a:lnTo>
                  <a:pt x="551" y="263"/>
                </a:lnTo>
                <a:lnTo>
                  <a:pt x="564" y="267"/>
                </a:lnTo>
                <a:lnTo>
                  <a:pt x="576" y="273"/>
                </a:lnTo>
                <a:lnTo>
                  <a:pt x="587" y="280"/>
                </a:lnTo>
                <a:lnTo>
                  <a:pt x="597" y="288"/>
                </a:lnTo>
                <a:lnTo>
                  <a:pt x="607" y="296"/>
                </a:lnTo>
                <a:lnTo>
                  <a:pt x="615" y="306"/>
                </a:lnTo>
                <a:lnTo>
                  <a:pt x="624" y="317"/>
                </a:lnTo>
                <a:lnTo>
                  <a:pt x="630" y="327"/>
                </a:lnTo>
                <a:lnTo>
                  <a:pt x="636" y="339"/>
                </a:lnTo>
                <a:lnTo>
                  <a:pt x="640" y="352"/>
                </a:lnTo>
                <a:lnTo>
                  <a:pt x="644" y="365"/>
                </a:lnTo>
                <a:lnTo>
                  <a:pt x="647" y="378"/>
                </a:lnTo>
                <a:lnTo>
                  <a:pt x="647" y="392"/>
                </a:lnTo>
                <a:lnTo>
                  <a:pt x="647" y="406"/>
                </a:lnTo>
                <a:lnTo>
                  <a:pt x="644" y="420"/>
                </a:lnTo>
                <a:lnTo>
                  <a:pt x="640" y="432"/>
                </a:lnTo>
                <a:lnTo>
                  <a:pt x="636" y="444"/>
                </a:lnTo>
                <a:lnTo>
                  <a:pt x="630" y="456"/>
                </a:lnTo>
                <a:lnTo>
                  <a:pt x="624" y="468"/>
                </a:lnTo>
                <a:lnTo>
                  <a:pt x="615" y="478"/>
                </a:lnTo>
                <a:lnTo>
                  <a:pt x="607" y="488"/>
                </a:lnTo>
                <a:lnTo>
                  <a:pt x="597" y="497"/>
                </a:lnTo>
                <a:lnTo>
                  <a:pt x="587" y="504"/>
                </a:lnTo>
                <a:lnTo>
                  <a:pt x="576" y="511"/>
                </a:lnTo>
                <a:lnTo>
                  <a:pt x="564" y="517"/>
                </a:lnTo>
                <a:lnTo>
                  <a:pt x="551" y="521"/>
                </a:lnTo>
                <a:lnTo>
                  <a:pt x="538" y="525"/>
                </a:lnTo>
                <a:lnTo>
                  <a:pt x="525" y="527"/>
                </a:lnTo>
                <a:lnTo>
                  <a:pt x="511" y="528"/>
                </a:lnTo>
                <a:close/>
                <a:moveTo>
                  <a:pt x="75" y="873"/>
                </a:moveTo>
                <a:lnTo>
                  <a:pt x="65" y="873"/>
                </a:lnTo>
                <a:lnTo>
                  <a:pt x="58" y="870"/>
                </a:lnTo>
                <a:lnTo>
                  <a:pt x="49" y="866"/>
                </a:lnTo>
                <a:lnTo>
                  <a:pt x="43" y="860"/>
                </a:lnTo>
                <a:lnTo>
                  <a:pt x="37" y="854"/>
                </a:lnTo>
                <a:lnTo>
                  <a:pt x="33" y="846"/>
                </a:lnTo>
                <a:lnTo>
                  <a:pt x="31" y="838"/>
                </a:lnTo>
                <a:lnTo>
                  <a:pt x="30" y="828"/>
                </a:lnTo>
                <a:lnTo>
                  <a:pt x="31" y="819"/>
                </a:lnTo>
                <a:lnTo>
                  <a:pt x="33" y="811"/>
                </a:lnTo>
                <a:lnTo>
                  <a:pt x="37" y="803"/>
                </a:lnTo>
                <a:lnTo>
                  <a:pt x="43" y="796"/>
                </a:lnTo>
                <a:lnTo>
                  <a:pt x="49" y="791"/>
                </a:lnTo>
                <a:lnTo>
                  <a:pt x="58" y="786"/>
                </a:lnTo>
                <a:lnTo>
                  <a:pt x="65" y="784"/>
                </a:lnTo>
                <a:lnTo>
                  <a:pt x="75" y="783"/>
                </a:lnTo>
                <a:lnTo>
                  <a:pt x="84" y="784"/>
                </a:lnTo>
                <a:lnTo>
                  <a:pt x="92" y="787"/>
                </a:lnTo>
                <a:lnTo>
                  <a:pt x="100" y="791"/>
                </a:lnTo>
                <a:lnTo>
                  <a:pt x="107" y="797"/>
                </a:lnTo>
                <a:lnTo>
                  <a:pt x="112" y="803"/>
                </a:lnTo>
                <a:lnTo>
                  <a:pt x="117" y="811"/>
                </a:lnTo>
                <a:lnTo>
                  <a:pt x="119" y="819"/>
                </a:lnTo>
                <a:lnTo>
                  <a:pt x="120" y="828"/>
                </a:lnTo>
                <a:lnTo>
                  <a:pt x="119" y="838"/>
                </a:lnTo>
                <a:lnTo>
                  <a:pt x="117" y="846"/>
                </a:lnTo>
                <a:lnTo>
                  <a:pt x="112" y="854"/>
                </a:lnTo>
                <a:lnTo>
                  <a:pt x="107" y="860"/>
                </a:lnTo>
                <a:lnTo>
                  <a:pt x="100" y="866"/>
                </a:lnTo>
                <a:lnTo>
                  <a:pt x="92" y="870"/>
                </a:lnTo>
                <a:lnTo>
                  <a:pt x="84" y="873"/>
                </a:lnTo>
                <a:lnTo>
                  <a:pt x="75" y="873"/>
                </a:lnTo>
                <a:close/>
                <a:moveTo>
                  <a:pt x="828" y="30"/>
                </a:moveTo>
                <a:lnTo>
                  <a:pt x="836" y="31"/>
                </a:lnTo>
                <a:lnTo>
                  <a:pt x="845" y="35"/>
                </a:lnTo>
                <a:lnTo>
                  <a:pt x="853" y="39"/>
                </a:lnTo>
                <a:lnTo>
                  <a:pt x="859" y="44"/>
                </a:lnTo>
                <a:lnTo>
                  <a:pt x="864" y="51"/>
                </a:lnTo>
                <a:lnTo>
                  <a:pt x="869" y="58"/>
                </a:lnTo>
                <a:lnTo>
                  <a:pt x="872" y="67"/>
                </a:lnTo>
                <a:lnTo>
                  <a:pt x="873" y="76"/>
                </a:lnTo>
                <a:lnTo>
                  <a:pt x="872" y="85"/>
                </a:lnTo>
                <a:lnTo>
                  <a:pt x="869" y="94"/>
                </a:lnTo>
                <a:lnTo>
                  <a:pt x="865" y="101"/>
                </a:lnTo>
                <a:lnTo>
                  <a:pt x="859" y="107"/>
                </a:lnTo>
                <a:lnTo>
                  <a:pt x="853" y="113"/>
                </a:lnTo>
                <a:lnTo>
                  <a:pt x="845" y="117"/>
                </a:lnTo>
                <a:lnTo>
                  <a:pt x="836" y="120"/>
                </a:lnTo>
                <a:lnTo>
                  <a:pt x="828" y="121"/>
                </a:lnTo>
                <a:lnTo>
                  <a:pt x="818" y="120"/>
                </a:lnTo>
                <a:lnTo>
                  <a:pt x="810" y="117"/>
                </a:lnTo>
                <a:lnTo>
                  <a:pt x="802" y="113"/>
                </a:lnTo>
                <a:lnTo>
                  <a:pt x="796" y="107"/>
                </a:lnTo>
                <a:lnTo>
                  <a:pt x="790" y="101"/>
                </a:lnTo>
                <a:lnTo>
                  <a:pt x="786" y="94"/>
                </a:lnTo>
                <a:lnTo>
                  <a:pt x="783" y="85"/>
                </a:lnTo>
                <a:lnTo>
                  <a:pt x="783" y="76"/>
                </a:lnTo>
                <a:lnTo>
                  <a:pt x="783" y="67"/>
                </a:lnTo>
                <a:lnTo>
                  <a:pt x="786" y="58"/>
                </a:lnTo>
                <a:lnTo>
                  <a:pt x="790" y="51"/>
                </a:lnTo>
                <a:lnTo>
                  <a:pt x="796" y="44"/>
                </a:lnTo>
                <a:lnTo>
                  <a:pt x="802" y="39"/>
                </a:lnTo>
                <a:lnTo>
                  <a:pt x="810" y="35"/>
                </a:lnTo>
                <a:lnTo>
                  <a:pt x="818" y="31"/>
                </a:lnTo>
                <a:lnTo>
                  <a:pt x="828" y="30"/>
                </a:lnTo>
                <a:lnTo>
                  <a:pt x="828" y="30"/>
                </a:lnTo>
                <a:close/>
                <a:moveTo>
                  <a:pt x="572" y="828"/>
                </a:moveTo>
                <a:lnTo>
                  <a:pt x="570" y="838"/>
                </a:lnTo>
                <a:lnTo>
                  <a:pt x="568" y="846"/>
                </a:lnTo>
                <a:lnTo>
                  <a:pt x="564" y="854"/>
                </a:lnTo>
                <a:lnTo>
                  <a:pt x="559" y="860"/>
                </a:lnTo>
                <a:lnTo>
                  <a:pt x="551" y="866"/>
                </a:lnTo>
                <a:lnTo>
                  <a:pt x="544" y="870"/>
                </a:lnTo>
                <a:lnTo>
                  <a:pt x="535" y="873"/>
                </a:lnTo>
                <a:lnTo>
                  <a:pt x="526" y="873"/>
                </a:lnTo>
                <a:lnTo>
                  <a:pt x="517" y="873"/>
                </a:lnTo>
                <a:lnTo>
                  <a:pt x="509" y="870"/>
                </a:lnTo>
                <a:lnTo>
                  <a:pt x="501" y="866"/>
                </a:lnTo>
                <a:lnTo>
                  <a:pt x="494" y="860"/>
                </a:lnTo>
                <a:lnTo>
                  <a:pt x="489" y="854"/>
                </a:lnTo>
                <a:lnTo>
                  <a:pt x="485" y="846"/>
                </a:lnTo>
                <a:lnTo>
                  <a:pt x="482" y="838"/>
                </a:lnTo>
                <a:lnTo>
                  <a:pt x="481" y="828"/>
                </a:lnTo>
                <a:lnTo>
                  <a:pt x="482" y="819"/>
                </a:lnTo>
                <a:lnTo>
                  <a:pt x="485" y="811"/>
                </a:lnTo>
                <a:lnTo>
                  <a:pt x="489" y="803"/>
                </a:lnTo>
                <a:lnTo>
                  <a:pt x="494" y="796"/>
                </a:lnTo>
                <a:lnTo>
                  <a:pt x="501" y="791"/>
                </a:lnTo>
                <a:lnTo>
                  <a:pt x="509" y="786"/>
                </a:lnTo>
                <a:lnTo>
                  <a:pt x="517" y="784"/>
                </a:lnTo>
                <a:lnTo>
                  <a:pt x="526" y="783"/>
                </a:lnTo>
                <a:lnTo>
                  <a:pt x="535" y="784"/>
                </a:lnTo>
                <a:lnTo>
                  <a:pt x="544" y="787"/>
                </a:lnTo>
                <a:lnTo>
                  <a:pt x="551" y="791"/>
                </a:lnTo>
                <a:lnTo>
                  <a:pt x="559" y="797"/>
                </a:lnTo>
                <a:lnTo>
                  <a:pt x="564" y="803"/>
                </a:lnTo>
                <a:lnTo>
                  <a:pt x="568" y="811"/>
                </a:lnTo>
                <a:lnTo>
                  <a:pt x="570" y="819"/>
                </a:lnTo>
                <a:lnTo>
                  <a:pt x="572" y="828"/>
                </a:lnTo>
                <a:close/>
                <a:moveTo>
                  <a:pt x="75" y="257"/>
                </a:moveTo>
                <a:lnTo>
                  <a:pt x="65" y="255"/>
                </a:lnTo>
                <a:lnTo>
                  <a:pt x="58" y="253"/>
                </a:lnTo>
                <a:lnTo>
                  <a:pt x="49" y="249"/>
                </a:lnTo>
                <a:lnTo>
                  <a:pt x="43" y="244"/>
                </a:lnTo>
                <a:lnTo>
                  <a:pt x="37" y="236"/>
                </a:lnTo>
                <a:lnTo>
                  <a:pt x="33" y="229"/>
                </a:lnTo>
                <a:lnTo>
                  <a:pt x="31" y="220"/>
                </a:lnTo>
                <a:lnTo>
                  <a:pt x="30" y="211"/>
                </a:lnTo>
                <a:lnTo>
                  <a:pt x="31" y="202"/>
                </a:lnTo>
                <a:lnTo>
                  <a:pt x="33" y="193"/>
                </a:lnTo>
                <a:lnTo>
                  <a:pt x="37" y="186"/>
                </a:lnTo>
                <a:lnTo>
                  <a:pt x="43" y="179"/>
                </a:lnTo>
                <a:lnTo>
                  <a:pt x="49" y="174"/>
                </a:lnTo>
                <a:lnTo>
                  <a:pt x="58" y="170"/>
                </a:lnTo>
                <a:lnTo>
                  <a:pt x="65" y="168"/>
                </a:lnTo>
                <a:lnTo>
                  <a:pt x="75" y="166"/>
                </a:lnTo>
                <a:lnTo>
                  <a:pt x="84" y="168"/>
                </a:lnTo>
                <a:lnTo>
                  <a:pt x="92" y="170"/>
                </a:lnTo>
                <a:lnTo>
                  <a:pt x="100" y="174"/>
                </a:lnTo>
                <a:lnTo>
                  <a:pt x="107" y="179"/>
                </a:lnTo>
                <a:lnTo>
                  <a:pt x="112" y="186"/>
                </a:lnTo>
                <a:lnTo>
                  <a:pt x="117" y="193"/>
                </a:lnTo>
                <a:lnTo>
                  <a:pt x="119" y="202"/>
                </a:lnTo>
                <a:lnTo>
                  <a:pt x="120" y="211"/>
                </a:lnTo>
                <a:lnTo>
                  <a:pt x="119" y="220"/>
                </a:lnTo>
                <a:lnTo>
                  <a:pt x="117" y="229"/>
                </a:lnTo>
                <a:lnTo>
                  <a:pt x="112" y="236"/>
                </a:lnTo>
                <a:lnTo>
                  <a:pt x="107" y="244"/>
                </a:lnTo>
                <a:lnTo>
                  <a:pt x="100" y="249"/>
                </a:lnTo>
                <a:lnTo>
                  <a:pt x="92" y="253"/>
                </a:lnTo>
                <a:lnTo>
                  <a:pt x="84" y="255"/>
                </a:lnTo>
                <a:lnTo>
                  <a:pt x="75" y="257"/>
                </a:lnTo>
                <a:close/>
                <a:moveTo>
                  <a:pt x="828" y="467"/>
                </a:moveTo>
                <a:lnTo>
                  <a:pt x="818" y="468"/>
                </a:lnTo>
                <a:lnTo>
                  <a:pt x="810" y="469"/>
                </a:lnTo>
                <a:lnTo>
                  <a:pt x="801" y="472"/>
                </a:lnTo>
                <a:lnTo>
                  <a:pt x="794" y="475"/>
                </a:lnTo>
                <a:lnTo>
                  <a:pt x="786" y="480"/>
                </a:lnTo>
                <a:lnTo>
                  <a:pt x="780" y="485"/>
                </a:lnTo>
                <a:lnTo>
                  <a:pt x="773" y="490"/>
                </a:lnTo>
                <a:lnTo>
                  <a:pt x="768" y="498"/>
                </a:lnTo>
                <a:lnTo>
                  <a:pt x="667" y="450"/>
                </a:lnTo>
                <a:lnTo>
                  <a:pt x="671" y="436"/>
                </a:lnTo>
                <a:lnTo>
                  <a:pt x="674" y="422"/>
                </a:lnTo>
                <a:lnTo>
                  <a:pt x="677" y="407"/>
                </a:lnTo>
                <a:lnTo>
                  <a:pt x="677" y="392"/>
                </a:lnTo>
                <a:lnTo>
                  <a:pt x="677" y="377"/>
                </a:lnTo>
                <a:lnTo>
                  <a:pt x="674" y="363"/>
                </a:lnTo>
                <a:lnTo>
                  <a:pt x="671" y="349"/>
                </a:lnTo>
                <a:lnTo>
                  <a:pt x="667" y="335"/>
                </a:lnTo>
                <a:lnTo>
                  <a:pt x="662" y="322"/>
                </a:lnTo>
                <a:lnTo>
                  <a:pt x="654" y="309"/>
                </a:lnTo>
                <a:lnTo>
                  <a:pt x="647" y="297"/>
                </a:lnTo>
                <a:lnTo>
                  <a:pt x="638" y="285"/>
                </a:lnTo>
                <a:lnTo>
                  <a:pt x="786" y="139"/>
                </a:lnTo>
                <a:lnTo>
                  <a:pt x="796" y="144"/>
                </a:lnTo>
                <a:lnTo>
                  <a:pt x="805" y="148"/>
                </a:lnTo>
                <a:lnTo>
                  <a:pt x="816" y="150"/>
                </a:lnTo>
                <a:lnTo>
                  <a:pt x="828" y="151"/>
                </a:lnTo>
                <a:lnTo>
                  <a:pt x="835" y="150"/>
                </a:lnTo>
                <a:lnTo>
                  <a:pt x="843" y="149"/>
                </a:lnTo>
                <a:lnTo>
                  <a:pt x="849" y="148"/>
                </a:lnTo>
                <a:lnTo>
                  <a:pt x="857" y="145"/>
                </a:lnTo>
                <a:lnTo>
                  <a:pt x="863" y="142"/>
                </a:lnTo>
                <a:lnTo>
                  <a:pt x="870" y="139"/>
                </a:lnTo>
                <a:lnTo>
                  <a:pt x="875" y="134"/>
                </a:lnTo>
                <a:lnTo>
                  <a:pt x="880" y="129"/>
                </a:lnTo>
                <a:lnTo>
                  <a:pt x="886" y="124"/>
                </a:lnTo>
                <a:lnTo>
                  <a:pt x="890" y="118"/>
                </a:lnTo>
                <a:lnTo>
                  <a:pt x="893" y="112"/>
                </a:lnTo>
                <a:lnTo>
                  <a:pt x="896" y="105"/>
                </a:lnTo>
                <a:lnTo>
                  <a:pt x="900" y="98"/>
                </a:lnTo>
                <a:lnTo>
                  <a:pt x="901" y="91"/>
                </a:lnTo>
                <a:lnTo>
                  <a:pt x="902" y="84"/>
                </a:lnTo>
                <a:lnTo>
                  <a:pt x="903" y="76"/>
                </a:lnTo>
                <a:lnTo>
                  <a:pt x="902" y="68"/>
                </a:lnTo>
                <a:lnTo>
                  <a:pt x="901" y="60"/>
                </a:lnTo>
                <a:lnTo>
                  <a:pt x="900" y="54"/>
                </a:lnTo>
                <a:lnTo>
                  <a:pt x="896" y="46"/>
                </a:lnTo>
                <a:lnTo>
                  <a:pt x="893" y="40"/>
                </a:lnTo>
                <a:lnTo>
                  <a:pt x="890" y="33"/>
                </a:lnTo>
                <a:lnTo>
                  <a:pt x="886" y="28"/>
                </a:lnTo>
                <a:lnTo>
                  <a:pt x="880" y="23"/>
                </a:lnTo>
                <a:lnTo>
                  <a:pt x="875" y="17"/>
                </a:lnTo>
                <a:lnTo>
                  <a:pt x="870" y="13"/>
                </a:lnTo>
                <a:lnTo>
                  <a:pt x="863" y="10"/>
                </a:lnTo>
                <a:lnTo>
                  <a:pt x="857" y="7"/>
                </a:lnTo>
                <a:lnTo>
                  <a:pt x="849" y="5"/>
                </a:lnTo>
                <a:lnTo>
                  <a:pt x="843" y="2"/>
                </a:lnTo>
                <a:lnTo>
                  <a:pt x="835" y="1"/>
                </a:lnTo>
                <a:lnTo>
                  <a:pt x="828" y="0"/>
                </a:lnTo>
                <a:lnTo>
                  <a:pt x="819" y="1"/>
                </a:lnTo>
                <a:lnTo>
                  <a:pt x="812" y="2"/>
                </a:lnTo>
                <a:lnTo>
                  <a:pt x="805" y="5"/>
                </a:lnTo>
                <a:lnTo>
                  <a:pt x="798" y="7"/>
                </a:lnTo>
                <a:lnTo>
                  <a:pt x="791" y="10"/>
                </a:lnTo>
                <a:lnTo>
                  <a:pt x="785" y="13"/>
                </a:lnTo>
                <a:lnTo>
                  <a:pt x="780" y="17"/>
                </a:lnTo>
                <a:lnTo>
                  <a:pt x="774" y="23"/>
                </a:lnTo>
                <a:lnTo>
                  <a:pt x="769" y="28"/>
                </a:lnTo>
                <a:lnTo>
                  <a:pt x="765" y="33"/>
                </a:lnTo>
                <a:lnTo>
                  <a:pt x="761" y="40"/>
                </a:lnTo>
                <a:lnTo>
                  <a:pt x="758" y="46"/>
                </a:lnTo>
                <a:lnTo>
                  <a:pt x="756" y="54"/>
                </a:lnTo>
                <a:lnTo>
                  <a:pt x="754" y="60"/>
                </a:lnTo>
                <a:lnTo>
                  <a:pt x="753" y="68"/>
                </a:lnTo>
                <a:lnTo>
                  <a:pt x="752" y="76"/>
                </a:lnTo>
                <a:lnTo>
                  <a:pt x="753" y="87"/>
                </a:lnTo>
                <a:lnTo>
                  <a:pt x="756" y="98"/>
                </a:lnTo>
                <a:lnTo>
                  <a:pt x="759" y="107"/>
                </a:lnTo>
                <a:lnTo>
                  <a:pt x="765" y="117"/>
                </a:lnTo>
                <a:lnTo>
                  <a:pt x="618" y="265"/>
                </a:lnTo>
                <a:lnTo>
                  <a:pt x="606" y="257"/>
                </a:lnTo>
                <a:lnTo>
                  <a:pt x="594" y="249"/>
                </a:lnTo>
                <a:lnTo>
                  <a:pt x="581" y="243"/>
                </a:lnTo>
                <a:lnTo>
                  <a:pt x="568" y="236"/>
                </a:lnTo>
                <a:lnTo>
                  <a:pt x="554" y="232"/>
                </a:lnTo>
                <a:lnTo>
                  <a:pt x="540" y="229"/>
                </a:lnTo>
                <a:lnTo>
                  <a:pt x="526" y="228"/>
                </a:lnTo>
                <a:lnTo>
                  <a:pt x="511" y="226"/>
                </a:lnTo>
                <a:lnTo>
                  <a:pt x="500" y="226"/>
                </a:lnTo>
                <a:lnTo>
                  <a:pt x="488" y="228"/>
                </a:lnTo>
                <a:lnTo>
                  <a:pt x="476" y="230"/>
                </a:lnTo>
                <a:lnTo>
                  <a:pt x="465" y="233"/>
                </a:lnTo>
                <a:lnTo>
                  <a:pt x="455" y="236"/>
                </a:lnTo>
                <a:lnTo>
                  <a:pt x="444" y="240"/>
                </a:lnTo>
                <a:lnTo>
                  <a:pt x="434" y="246"/>
                </a:lnTo>
                <a:lnTo>
                  <a:pt x="425" y="251"/>
                </a:lnTo>
                <a:lnTo>
                  <a:pt x="415" y="258"/>
                </a:lnTo>
                <a:lnTo>
                  <a:pt x="406" y="264"/>
                </a:lnTo>
                <a:lnTo>
                  <a:pt x="399" y="272"/>
                </a:lnTo>
                <a:lnTo>
                  <a:pt x="390" y="279"/>
                </a:lnTo>
                <a:lnTo>
                  <a:pt x="383" y="288"/>
                </a:lnTo>
                <a:lnTo>
                  <a:pt x="376" y="296"/>
                </a:lnTo>
                <a:lnTo>
                  <a:pt x="370" y="306"/>
                </a:lnTo>
                <a:lnTo>
                  <a:pt x="365" y="315"/>
                </a:lnTo>
                <a:lnTo>
                  <a:pt x="149" y="225"/>
                </a:lnTo>
                <a:lnTo>
                  <a:pt x="150" y="219"/>
                </a:lnTo>
                <a:lnTo>
                  <a:pt x="150" y="211"/>
                </a:lnTo>
                <a:lnTo>
                  <a:pt x="150" y="204"/>
                </a:lnTo>
                <a:lnTo>
                  <a:pt x="149" y="196"/>
                </a:lnTo>
                <a:lnTo>
                  <a:pt x="147" y="189"/>
                </a:lnTo>
                <a:lnTo>
                  <a:pt x="145" y="183"/>
                </a:lnTo>
                <a:lnTo>
                  <a:pt x="141" y="175"/>
                </a:lnTo>
                <a:lnTo>
                  <a:pt x="137" y="170"/>
                </a:lnTo>
                <a:lnTo>
                  <a:pt x="133" y="163"/>
                </a:lnTo>
                <a:lnTo>
                  <a:pt x="127" y="158"/>
                </a:lnTo>
                <a:lnTo>
                  <a:pt x="122" y="154"/>
                </a:lnTo>
                <a:lnTo>
                  <a:pt x="117" y="149"/>
                </a:lnTo>
                <a:lnTo>
                  <a:pt x="110" y="145"/>
                </a:lnTo>
                <a:lnTo>
                  <a:pt x="104" y="142"/>
                </a:lnTo>
                <a:lnTo>
                  <a:pt x="97" y="140"/>
                </a:lnTo>
                <a:lnTo>
                  <a:pt x="90" y="137"/>
                </a:lnTo>
                <a:lnTo>
                  <a:pt x="82" y="136"/>
                </a:lnTo>
                <a:lnTo>
                  <a:pt x="75" y="136"/>
                </a:lnTo>
                <a:lnTo>
                  <a:pt x="67" y="136"/>
                </a:lnTo>
                <a:lnTo>
                  <a:pt x="60" y="137"/>
                </a:lnTo>
                <a:lnTo>
                  <a:pt x="52" y="140"/>
                </a:lnTo>
                <a:lnTo>
                  <a:pt x="46" y="142"/>
                </a:lnTo>
                <a:lnTo>
                  <a:pt x="38" y="145"/>
                </a:lnTo>
                <a:lnTo>
                  <a:pt x="33" y="149"/>
                </a:lnTo>
                <a:lnTo>
                  <a:pt x="27" y="154"/>
                </a:lnTo>
                <a:lnTo>
                  <a:pt x="21" y="158"/>
                </a:lnTo>
                <a:lnTo>
                  <a:pt x="17" y="163"/>
                </a:lnTo>
                <a:lnTo>
                  <a:pt x="13" y="170"/>
                </a:lnTo>
                <a:lnTo>
                  <a:pt x="8" y="175"/>
                </a:lnTo>
                <a:lnTo>
                  <a:pt x="5" y="183"/>
                </a:lnTo>
                <a:lnTo>
                  <a:pt x="3" y="189"/>
                </a:lnTo>
                <a:lnTo>
                  <a:pt x="1" y="196"/>
                </a:lnTo>
                <a:lnTo>
                  <a:pt x="0" y="204"/>
                </a:lnTo>
                <a:lnTo>
                  <a:pt x="0" y="211"/>
                </a:lnTo>
                <a:lnTo>
                  <a:pt x="0" y="219"/>
                </a:lnTo>
                <a:lnTo>
                  <a:pt x="1" y="226"/>
                </a:lnTo>
                <a:lnTo>
                  <a:pt x="3" y="234"/>
                </a:lnTo>
                <a:lnTo>
                  <a:pt x="5" y="240"/>
                </a:lnTo>
                <a:lnTo>
                  <a:pt x="8" y="247"/>
                </a:lnTo>
                <a:lnTo>
                  <a:pt x="13" y="253"/>
                </a:lnTo>
                <a:lnTo>
                  <a:pt x="17" y="259"/>
                </a:lnTo>
                <a:lnTo>
                  <a:pt x="21" y="264"/>
                </a:lnTo>
                <a:lnTo>
                  <a:pt x="27" y="269"/>
                </a:lnTo>
                <a:lnTo>
                  <a:pt x="33" y="274"/>
                </a:lnTo>
                <a:lnTo>
                  <a:pt x="38" y="278"/>
                </a:lnTo>
                <a:lnTo>
                  <a:pt x="46" y="281"/>
                </a:lnTo>
                <a:lnTo>
                  <a:pt x="52" y="283"/>
                </a:lnTo>
                <a:lnTo>
                  <a:pt x="60" y="285"/>
                </a:lnTo>
                <a:lnTo>
                  <a:pt x="67" y="287"/>
                </a:lnTo>
                <a:lnTo>
                  <a:pt x="75" y="287"/>
                </a:lnTo>
                <a:lnTo>
                  <a:pt x="85" y="285"/>
                </a:lnTo>
                <a:lnTo>
                  <a:pt x="93" y="284"/>
                </a:lnTo>
                <a:lnTo>
                  <a:pt x="103" y="281"/>
                </a:lnTo>
                <a:lnTo>
                  <a:pt x="110" y="278"/>
                </a:lnTo>
                <a:lnTo>
                  <a:pt x="118" y="273"/>
                </a:lnTo>
                <a:lnTo>
                  <a:pt x="125" y="267"/>
                </a:lnTo>
                <a:lnTo>
                  <a:pt x="132" y="261"/>
                </a:lnTo>
                <a:lnTo>
                  <a:pt x="137" y="253"/>
                </a:lnTo>
                <a:lnTo>
                  <a:pt x="353" y="342"/>
                </a:lnTo>
                <a:lnTo>
                  <a:pt x="350" y="354"/>
                </a:lnTo>
                <a:lnTo>
                  <a:pt x="347" y="367"/>
                </a:lnTo>
                <a:lnTo>
                  <a:pt x="346" y="379"/>
                </a:lnTo>
                <a:lnTo>
                  <a:pt x="345" y="392"/>
                </a:lnTo>
                <a:lnTo>
                  <a:pt x="346" y="407"/>
                </a:lnTo>
                <a:lnTo>
                  <a:pt x="348" y="422"/>
                </a:lnTo>
                <a:lnTo>
                  <a:pt x="352" y="436"/>
                </a:lnTo>
                <a:lnTo>
                  <a:pt x="356" y="450"/>
                </a:lnTo>
                <a:lnTo>
                  <a:pt x="361" y="462"/>
                </a:lnTo>
                <a:lnTo>
                  <a:pt x="368" y="474"/>
                </a:lnTo>
                <a:lnTo>
                  <a:pt x="375" y="487"/>
                </a:lnTo>
                <a:lnTo>
                  <a:pt x="384" y="498"/>
                </a:lnTo>
                <a:lnTo>
                  <a:pt x="116" y="766"/>
                </a:lnTo>
                <a:lnTo>
                  <a:pt x="107" y="761"/>
                </a:lnTo>
                <a:lnTo>
                  <a:pt x="96" y="756"/>
                </a:lnTo>
                <a:lnTo>
                  <a:pt x="86" y="754"/>
                </a:lnTo>
                <a:lnTo>
                  <a:pt x="75" y="753"/>
                </a:lnTo>
                <a:lnTo>
                  <a:pt x="67" y="753"/>
                </a:lnTo>
                <a:lnTo>
                  <a:pt x="60" y="755"/>
                </a:lnTo>
                <a:lnTo>
                  <a:pt x="52" y="756"/>
                </a:lnTo>
                <a:lnTo>
                  <a:pt x="46" y="759"/>
                </a:lnTo>
                <a:lnTo>
                  <a:pt x="38" y="763"/>
                </a:lnTo>
                <a:lnTo>
                  <a:pt x="33" y="766"/>
                </a:lnTo>
                <a:lnTo>
                  <a:pt x="27" y="770"/>
                </a:lnTo>
                <a:lnTo>
                  <a:pt x="21" y="776"/>
                </a:lnTo>
                <a:lnTo>
                  <a:pt x="17" y="781"/>
                </a:lnTo>
                <a:lnTo>
                  <a:pt x="13" y="786"/>
                </a:lnTo>
                <a:lnTo>
                  <a:pt x="8" y="793"/>
                </a:lnTo>
                <a:lnTo>
                  <a:pt x="5" y="799"/>
                </a:lnTo>
                <a:lnTo>
                  <a:pt x="3" y="806"/>
                </a:lnTo>
                <a:lnTo>
                  <a:pt x="1" y="813"/>
                </a:lnTo>
                <a:lnTo>
                  <a:pt x="0" y="821"/>
                </a:lnTo>
                <a:lnTo>
                  <a:pt x="0" y="828"/>
                </a:lnTo>
                <a:lnTo>
                  <a:pt x="0" y="836"/>
                </a:lnTo>
                <a:lnTo>
                  <a:pt x="1" y="843"/>
                </a:lnTo>
                <a:lnTo>
                  <a:pt x="3" y="851"/>
                </a:lnTo>
                <a:lnTo>
                  <a:pt x="5" y="858"/>
                </a:lnTo>
                <a:lnTo>
                  <a:pt x="8" y="865"/>
                </a:lnTo>
                <a:lnTo>
                  <a:pt x="13" y="870"/>
                </a:lnTo>
                <a:lnTo>
                  <a:pt x="17" y="876"/>
                </a:lnTo>
                <a:lnTo>
                  <a:pt x="21" y="882"/>
                </a:lnTo>
                <a:lnTo>
                  <a:pt x="27" y="886"/>
                </a:lnTo>
                <a:lnTo>
                  <a:pt x="33" y="890"/>
                </a:lnTo>
                <a:lnTo>
                  <a:pt x="38" y="895"/>
                </a:lnTo>
                <a:lnTo>
                  <a:pt x="46" y="898"/>
                </a:lnTo>
                <a:lnTo>
                  <a:pt x="52" y="900"/>
                </a:lnTo>
                <a:lnTo>
                  <a:pt x="60" y="902"/>
                </a:lnTo>
                <a:lnTo>
                  <a:pt x="67" y="903"/>
                </a:lnTo>
                <a:lnTo>
                  <a:pt x="75" y="903"/>
                </a:lnTo>
                <a:lnTo>
                  <a:pt x="82" y="903"/>
                </a:lnTo>
                <a:lnTo>
                  <a:pt x="90" y="902"/>
                </a:lnTo>
                <a:lnTo>
                  <a:pt x="97" y="900"/>
                </a:lnTo>
                <a:lnTo>
                  <a:pt x="104" y="898"/>
                </a:lnTo>
                <a:lnTo>
                  <a:pt x="110" y="895"/>
                </a:lnTo>
                <a:lnTo>
                  <a:pt x="117" y="890"/>
                </a:lnTo>
                <a:lnTo>
                  <a:pt x="122" y="886"/>
                </a:lnTo>
                <a:lnTo>
                  <a:pt x="127" y="882"/>
                </a:lnTo>
                <a:lnTo>
                  <a:pt x="133" y="876"/>
                </a:lnTo>
                <a:lnTo>
                  <a:pt x="137" y="870"/>
                </a:lnTo>
                <a:lnTo>
                  <a:pt x="141" y="865"/>
                </a:lnTo>
                <a:lnTo>
                  <a:pt x="145" y="858"/>
                </a:lnTo>
                <a:lnTo>
                  <a:pt x="147" y="851"/>
                </a:lnTo>
                <a:lnTo>
                  <a:pt x="149" y="843"/>
                </a:lnTo>
                <a:lnTo>
                  <a:pt x="150" y="836"/>
                </a:lnTo>
                <a:lnTo>
                  <a:pt x="150" y="828"/>
                </a:lnTo>
                <a:lnTo>
                  <a:pt x="149" y="817"/>
                </a:lnTo>
                <a:lnTo>
                  <a:pt x="147" y="807"/>
                </a:lnTo>
                <a:lnTo>
                  <a:pt x="143" y="796"/>
                </a:lnTo>
                <a:lnTo>
                  <a:pt x="137" y="787"/>
                </a:lnTo>
                <a:lnTo>
                  <a:pt x="405" y="519"/>
                </a:lnTo>
                <a:lnTo>
                  <a:pt x="417" y="528"/>
                </a:lnTo>
                <a:lnTo>
                  <a:pt x="429" y="535"/>
                </a:lnTo>
                <a:lnTo>
                  <a:pt x="441" y="542"/>
                </a:lnTo>
                <a:lnTo>
                  <a:pt x="454" y="547"/>
                </a:lnTo>
                <a:lnTo>
                  <a:pt x="467" y="551"/>
                </a:lnTo>
                <a:lnTo>
                  <a:pt x="481" y="555"/>
                </a:lnTo>
                <a:lnTo>
                  <a:pt x="496" y="557"/>
                </a:lnTo>
                <a:lnTo>
                  <a:pt x="511" y="558"/>
                </a:lnTo>
                <a:lnTo>
                  <a:pt x="511" y="754"/>
                </a:lnTo>
                <a:lnTo>
                  <a:pt x="505" y="756"/>
                </a:lnTo>
                <a:lnTo>
                  <a:pt x="499" y="758"/>
                </a:lnTo>
                <a:lnTo>
                  <a:pt x="493" y="761"/>
                </a:lnTo>
                <a:lnTo>
                  <a:pt x="488" y="764"/>
                </a:lnTo>
                <a:lnTo>
                  <a:pt x="477" y="771"/>
                </a:lnTo>
                <a:lnTo>
                  <a:pt x="469" y="781"/>
                </a:lnTo>
                <a:lnTo>
                  <a:pt x="464" y="785"/>
                </a:lnTo>
                <a:lnTo>
                  <a:pt x="461" y="791"/>
                </a:lnTo>
                <a:lnTo>
                  <a:pt x="458" y="797"/>
                </a:lnTo>
                <a:lnTo>
                  <a:pt x="456" y="802"/>
                </a:lnTo>
                <a:lnTo>
                  <a:pt x="454" y="809"/>
                </a:lnTo>
                <a:lnTo>
                  <a:pt x="452" y="815"/>
                </a:lnTo>
                <a:lnTo>
                  <a:pt x="451" y="822"/>
                </a:lnTo>
                <a:lnTo>
                  <a:pt x="451" y="828"/>
                </a:lnTo>
                <a:lnTo>
                  <a:pt x="451" y="836"/>
                </a:lnTo>
                <a:lnTo>
                  <a:pt x="452" y="843"/>
                </a:lnTo>
                <a:lnTo>
                  <a:pt x="455" y="851"/>
                </a:lnTo>
                <a:lnTo>
                  <a:pt x="457" y="858"/>
                </a:lnTo>
                <a:lnTo>
                  <a:pt x="460" y="865"/>
                </a:lnTo>
                <a:lnTo>
                  <a:pt x="464" y="870"/>
                </a:lnTo>
                <a:lnTo>
                  <a:pt x="469" y="876"/>
                </a:lnTo>
                <a:lnTo>
                  <a:pt x="473" y="882"/>
                </a:lnTo>
                <a:lnTo>
                  <a:pt x="478" y="886"/>
                </a:lnTo>
                <a:lnTo>
                  <a:pt x="485" y="890"/>
                </a:lnTo>
                <a:lnTo>
                  <a:pt x="490" y="895"/>
                </a:lnTo>
                <a:lnTo>
                  <a:pt x="498" y="898"/>
                </a:lnTo>
                <a:lnTo>
                  <a:pt x="504" y="900"/>
                </a:lnTo>
                <a:lnTo>
                  <a:pt x="511" y="902"/>
                </a:lnTo>
                <a:lnTo>
                  <a:pt x="519" y="903"/>
                </a:lnTo>
                <a:lnTo>
                  <a:pt x="526" y="903"/>
                </a:lnTo>
                <a:lnTo>
                  <a:pt x="534" y="903"/>
                </a:lnTo>
                <a:lnTo>
                  <a:pt x="541" y="902"/>
                </a:lnTo>
                <a:lnTo>
                  <a:pt x="549" y="900"/>
                </a:lnTo>
                <a:lnTo>
                  <a:pt x="555" y="898"/>
                </a:lnTo>
                <a:lnTo>
                  <a:pt x="562" y="895"/>
                </a:lnTo>
                <a:lnTo>
                  <a:pt x="568" y="890"/>
                </a:lnTo>
                <a:lnTo>
                  <a:pt x="575" y="886"/>
                </a:lnTo>
                <a:lnTo>
                  <a:pt x="580" y="882"/>
                </a:lnTo>
                <a:lnTo>
                  <a:pt x="584" y="876"/>
                </a:lnTo>
                <a:lnTo>
                  <a:pt x="589" y="870"/>
                </a:lnTo>
                <a:lnTo>
                  <a:pt x="593" y="865"/>
                </a:lnTo>
                <a:lnTo>
                  <a:pt x="596" y="858"/>
                </a:lnTo>
                <a:lnTo>
                  <a:pt x="598" y="851"/>
                </a:lnTo>
                <a:lnTo>
                  <a:pt x="600" y="843"/>
                </a:lnTo>
                <a:lnTo>
                  <a:pt x="602" y="836"/>
                </a:lnTo>
                <a:lnTo>
                  <a:pt x="602" y="828"/>
                </a:lnTo>
                <a:lnTo>
                  <a:pt x="602" y="822"/>
                </a:lnTo>
                <a:lnTo>
                  <a:pt x="600" y="815"/>
                </a:lnTo>
                <a:lnTo>
                  <a:pt x="599" y="809"/>
                </a:lnTo>
                <a:lnTo>
                  <a:pt x="597" y="802"/>
                </a:lnTo>
                <a:lnTo>
                  <a:pt x="595" y="797"/>
                </a:lnTo>
                <a:lnTo>
                  <a:pt x="592" y="791"/>
                </a:lnTo>
                <a:lnTo>
                  <a:pt x="589" y="785"/>
                </a:lnTo>
                <a:lnTo>
                  <a:pt x="584" y="781"/>
                </a:lnTo>
                <a:lnTo>
                  <a:pt x="576" y="771"/>
                </a:lnTo>
                <a:lnTo>
                  <a:pt x="565" y="764"/>
                </a:lnTo>
                <a:lnTo>
                  <a:pt x="560" y="761"/>
                </a:lnTo>
                <a:lnTo>
                  <a:pt x="554" y="758"/>
                </a:lnTo>
                <a:lnTo>
                  <a:pt x="548" y="756"/>
                </a:lnTo>
                <a:lnTo>
                  <a:pt x="541" y="755"/>
                </a:lnTo>
                <a:lnTo>
                  <a:pt x="541" y="555"/>
                </a:lnTo>
                <a:lnTo>
                  <a:pt x="559" y="550"/>
                </a:lnTo>
                <a:lnTo>
                  <a:pt x="576" y="544"/>
                </a:lnTo>
                <a:lnTo>
                  <a:pt x="592" y="536"/>
                </a:lnTo>
                <a:lnTo>
                  <a:pt x="606" y="527"/>
                </a:lnTo>
                <a:lnTo>
                  <a:pt x="620" y="516"/>
                </a:lnTo>
                <a:lnTo>
                  <a:pt x="633" y="504"/>
                </a:lnTo>
                <a:lnTo>
                  <a:pt x="643" y="490"/>
                </a:lnTo>
                <a:lnTo>
                  <a:pt x="653" y="476"/>
                </a:lnTo>
                <a:lnTo>
                  <a:pt x="755" y="525"/>
                </a:lnTo>
                <a:lnTo>
                  <a:pt x="753" y="533"/>
                </a:lnTo>
                <a:lnTo>
                  <a:pt x="752" y="543"/>
                </a:lnTo>
                <a:lnTo>
                  <a:pt x="753" y="550"/>
                </a:lnTo>
                <a:lnTo>
                  <a:pt x="754" y="558"/>
                </a:lnTo>
                <a:lnTo>
                  <a:pt x="756" y="564"/>
                </a:lnTo>
                <a:lnTo>
                  <a:pt x="758" y="572"/>
                </a:lnTo>
                <a:lnTo>
                  <a:pt x="761" y="578"/>
                </a:lnTo>
                <a:lnTo>
                  <a:pt x="765" y="585"/>
                </a:lnTo>
                <a:lnTo>
                  <a:pt x="769" y="590"/>
                </a:lnTo>
                <a:lnTo>
                  <a:pt x="774" y="595"/>
                </a:lnTo>
                <a:lnTo>
                  <a:pt x="780" y="601"/>
                </a:lnTo>
                <a:lnTo>
                  <a:pt x="785" y="605"/>
                </a:lnTo>
                <a:lnTo>
                  <a:pt x="791" y="608"/>
                </a:lnTo>
                <a:lnTo>
                  <a:pt x="798" y="611"/>
                </a:lnTo>
                <a:lnTo>
                  <a:pt x="805" y="615"/>
                </a:lnTo>
                <a:lnTo>
                  <a:pt x="812" y="616"/>
                </a:lnTo>
                <a:lnTo>
                  <a:pt x="819" y="617"/>
                </a:lnTo>
                <a:lnTo>
                  <a:pt x="828" y="618"/>
                </a:lnTo>
                <a:lnTo>
                  <a:pt x="835" y="617"/>
                </a:lnTo>
                <a:lnTo>
                  <a:pt x="843" y="616"/>
                </a:lnTo>
                <a:lnTo>
                  <a:pt x="849" y="615"/>
                </a:lnTo>
                <a:lnTo>
                  <a:pt x="857" y="611"/>
                </a:lnTo>
                <a:lnTo>
                  <a:pt x="863" y="608"/>
                </a:lnTo>
                <a:lnTo>
                  <a:pt x="870" y="605"/>
                </a:lnTo>
                <a:lnTo>
                  <a:pt x="875" y="601"/>
                </a:lnTo>
                <a:lnTo>
                  <a:pt x="880" y="595"/>
                </a:lnTo>
                <a:lnTo>
                  <a:pt x="886" y="590"/>
                </a:lnTo>
                <a:lnTo>
                  <a:pt x="890" y="585"/>
                </a:lnTo>
                <a:lnTo>
                  <a:pt x="893" y="578"/>
                </a:lnTo>
                <a:lnTo>
                  <a:pt x="896" y="572"/>
                </a:lnTo>
                <a:lnTo>
                  <a:pt x="900" y="564"/>
                </a:lnTo>
                <a:lnTo>
                  <a:pt x="901" y="558"/>
                </a:lnTo>
                <a:lnTo>
                  <a:pt x="902" y="550"/>
                </a:lnTo>
                <a:lnTo>
                  <a:pt x="903" y="543"/>
                </a:lnTo>
                <a:lnTo>
                  <a:pt x="902" y="534"/>
                </a:lnTo>
                <a:lnTo>
                  <a:pt x="901" y="528"/>
                </a:lnTo>
                <a:lnTo>
                  <a:pt x="900" y="520"/>
                </a:lnTo>
                <a:lnTo>
                  <a:pt x="896" y="513"/>
                </a:lnTo>
                <a:lnTo>
                  <a:pt x="893" y="506"/>
                </a:lnTo>
                <a:lnTo>
                  <a:pt x="890" y="500"/>
                </a:lnTo>
                <a:lnTo>
                  <a:pt x="886" y="495"/>
                </a:lnTo>
                <a:lnTo>
                  <a:pt x="880" y="489"/>
                </a:lnTo>
                <a:lnTo>
                  <a:pt x="875" y="484"/>
                </a:lnTo>
                <a:lnTo>
                  <a:pt x="870" y="480"/>
                </a:lnTo>
                <a:lnTo>
                  <a:pt x="863" y="476"/>
                </a:lnTo>
                <a:lnTo>
                  <a:pt x="857" y="473"/>
                </a:lnTo>
                <a:lnTo>
                  <a:pt x="849" y="471"/>
                </a:lnTo>
                <a:lnTo>
                  <a:pt x="843" y="469"/>
                </a:lnTo>
                <a:lnTo>
                  <a:pt x="835" y="468"/>
                </a:lnTo>
                <a:lnTo>
                  <a:pt x="828" y="4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62" name="Group 90">
            <a:extLst>
              <a:ext uri="{FF2B5EF4-FFF2-40B4-BE49-F238E27FC236}">
                <a16:creationId xmlns:a16="http://schemas.microsoft.com/office/drawing/2014/main" id="{180F34D1-CE16-4F5A-A439-EE0537F25B60}"/>
              </a:ext>
            </a:extLst>
          </p:cNvPr>
          <p:cNvGrpSpPr>
            <a:grpSpLocks noChangeAspect="1"/>
          </p:cNvGrpSpPr>
          <p:nvPr/>
        </p:nvGrpSpPr>
        <p:grpSpPr>
          <a:xfrm>
            <a:off x="284400" y="3801969"/>
            <a:ext cx="258211" cy="285619"/>
            <a:chOff x="3182936" y="1336675"/>
            <a:chExt cx="284163" cy="285750"/>
          </a:xfrm>
          <a:solidFill>
            <a:schemeClr val="bg1"/>
          </a:solidFill>
          <a:effectLst/>
        </p:grpSpPr>
        <p:sp>
          <p:nvSpPr>
            <p:cNvPr id="1163" name="Rectangle 62">
              <a:extLst>
                <a:ext uri="{FF2B5EF4-FFF2-40B4-BE49-F238E27FC236}">
                  <a16:creationId xmlns:a16="http://schemas.microsoft.com/office/drawing/2014/main" id="{5ED31AE5-2005-4B32-B8FB-EED7C4D8D277}"/>
                </a:ext>
              </a:extLst>
            </p:cNvPr>
            <p:cNvSpPr>
              <a:spLocks noChangeArrowheads="1"/>
            </p:cNvSpPr>
            <p:nvPr/>
          </p:nvSpPr>
          <p:spPr bwMode="auto">
            <a:xfrm>
              <a:off x="3336925" y="1365250"/>
              <a:ext cx="5397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4" name="Rectangle 63">
              <a:extLst>
                <a:ext uri="{FF2B5EF4-FFF2-40B4-BE49-F238E27FC236}">
                  <a16:creationId xmlns:a16="http://schemas.microsoft.com/office/drawing/2014/main" id="{30AA35B7-52D2-4405-890B-123B0D1848AA}"/>
                </a:ext>
              </a:extLst>
            </p:cNvPr>
            <p:cNvSpPr>
              <a:spLocks noChangeArrowheads="1"/>
            </p:cNvSpPr>
            <p:nvPr/>
          </p:nvSpPr>
          <p:spPr bwMode="auto">
            <a:xfrm>
              <a:off x="3336925" y="1384300"/>
              <a:ext cx="84138"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5" name="Freeform 64">
              <a:extLst>
                <a:ext uri="{FF2B5EF4-FFF2-40B4-BE49-F238E27FC236}">
                  <a16:creationId xmlns:a16="http://schemas.microsoft.com/office/drawing/2014/main" id="{CCEF71F3-19F0-4A93-93C8-38097F4F584C}"/>
                </a:ext>
              </a:extLst>
            </p:cNvPr>
            <p:cNvSpPr>
              <a:spLocks noEditPoints="1"/>
            </p:cNvSpPr>
            <p:nvPr/>
          </p:nvSpPr>
          <p:spPr bwMode="auto">
            <a:xfrm>
              <a:off x="3182936" y="1336675"/>
              <a:ext cx="284163" cy="285750"/>
            </a:xfrm>
            <a:custGeom>
              <a:avLst/>
              <a:gdLst>
                <a:gd name="T0" fmla="*/ 861 w 898"/>
                <a:gd name="T1" fmla="*/ 759 h 900"/>
                <a:gd name="T2" fmla="*/ 832 w 898"/>
                <a:gd name="T3" fmla="*/ 778 h 900"/>
                <a:gd name="T4" fmla="*/ 823 w 898"/>
                <a:gd name="T5" fmla="*/ 240 h 900"/>
                <a:gd name="T6" fmla="*/ 846 w 898"/>
                <a:gd name="T7" fmla="*/ 244 h 900"/>
                <a:gd name="T8" fmla="*/ 867 w 898"/>
                <a:gd name="T9" fmla="*/ 268 h 900"/>
                <a:gd name="T10" fmla="*/ 449 w 898"/>
                <a:gd name="T11" fmla="*/ 30 h 900"/>
                <a:gd name="T12" fmla="*/ 449 w 898"/>
                <a:gd name="T13" fmla="*/ 210 h 900"/>
                <a:gd name="T14" fmla="*/ 328 w 898"/>
                <a:gd name="T15" fmla="*/ 822 h 900"/>
                <a:gd name="T16" fmla="*/ 320 w 898"/>
                <a:gd name="T17" fmla="*/ 843 h 900"/>
                <a:gd name="T18" fmla="*/ 304 w 898"/>
                <a:gd name="T19" fmla="*/ 859 h 900"/>
                <a:gd name="T20" fmla="*/ 282 w 898"/>
                <a:gd name="T21" fmla="*/ 868 h 900"/>
                <a:gd name="T22" fmla="*/ 139 w 898"/>
                <a:gd name="T23" fmla="*/ 869 h 900"/>
                <a:gd name="T24" fmla="*/ 109 w 898"/>
                <a:gd name="T25" fmla="*/ 861 h 900"/>
                <a:gd name="T26" fmla="*/ 93 w 898"/>
                <a:gd name="T27" fmla="*/ 844 h 900"/>
                <a:gd name="T28" fmla="*/ 90 w 898"/>
                <a:gd name="T29" fmla="*/ 195 h 900"/>
                <a:gd name="T30" fmla="*/ 97 w 898"/>
                <a:gd name="T31" fmla="*/ 168 h 900"/>
                <a:gd name="T32" fmla="*/ 115 w 898"/>
                <a:gd name="T33" fmla="*/ 155 h 900"/>
                <a:gd name="T34" fmla="*/ 150 w 898"/>
                <a:gd name="T35" fmla="*/ 150 h 900"/>
                <a:gd name="T36" fmla="*/ 288 w 898"/>
                <a:gd name="T37" fmla="*/ 152 h 900"/>
                <a:gd name="T38" fmla="*/ 309 w 898"/>
                <a:gd name="T39" fmla="*/ 163 h 900"/>
                <a:gd name="T40" fmla="*/ 323 w 898"/>
                <a:gd name="T41" fmla="*/ 180 h 900"/>
                <a:gd name="T42" fmla="*/ 329 w 898"/>
                <a:gd name="T43" fmla="*/ 203 h 900"/>
                <a:gd name="T44" fmla="*/ 48 w 898"/>
                <a:gd name="T45" fmla="*/ 793 h 900"/>
                <a:gd name="T46" fmla="*/ 34 w 898"/>
                <a:gd name="T47" fmla="*/ 783 h 900"/>
                <a:gd name="T48" fmla="*/ 30 w 898"/>
                <a:gd name="T49" fmla="*/ 279 h 900"/>
                <a:gd name="T50" fmla="*/ 36 w 898"/>
                <a:gd name="T51" fmla="*/ 263 h 900"/>
                <a:gd name="T52" fmla="*/ 52 w 898"/>
                <a:gd name="T53" fmla="*/ 257 h 900"/>
                <a:gd name="T54" fmla="*/ 823 w 898"/>
                <a:gd name="T55" fmla="*/ 210 h 900"/>
                <a:gd name="T56" fmla="*/ 419 w 898"/>
                <a:gd name="T57" fmla="*/ 0 h 900"/>
                <a:gd name="T58" fmla="*/ 357 w 898"/>
                <a:gd name="T59" fmla="*/ 192 h 900"/>
                <a:gd name="T60" fmla="*/ 344 w 898"/>
                <a:gd name="T61" fmla="*/ 158 h 900"/>
                <a:gd name="T62" fmla="*/ 321 w 898"/>
                <a:gd name="T63" fmla="*/ 135 h 900"/>
                <a:gd name="T64" fmla="*/ 288 w 898"/>
                <a:gd name="T65" fmla="*/ 122 h 900"/>
                <a:gd name="T66" fmla="*/ 150 w 898"/>
                <a:gd name="T67" fmla="*/ 15 h 900"/>
                <a:gd name="T68" fmla="*/ 145 w 898"/>
                <a:gd name="T69" fmla="*/ 4 h 900"/>
                <a:gd name="T70" fmla="*/ 135 w 898"/>
                <a:gd name="T71" fmla="*/ 0 h 900"/>
                <a:gd name="T72" fmla="*/ 124 w 898"/>
                <a:gd name="T73" fmla="*/ 4 h 900"/>
                <a:gd name="T74" fmla="*/ 120 w 898"/>
                <a:gd name="T75" fmla="*/ 15 h 900"/>
                <a:gd name="T76" fmla="*/ 89 w 898"/>
                <a:gd name="T77" fmla="*/ 136 h 900"/>
                <a:gd name="T78" fmla="*/ 71 w 898"/>
                <a:gd name="T79" fmla="*/ 152 h 900"/>
                <a:gd name="T80" fmla="*/ 62 w 898"/>
                <a:gd name="T81" fmla="*/ 174 h 900"/>
                <a:gd name="T82" fmla="*/ 60 w 898"/>
                <a:gd name="T83" fmla="*/ 227 h 900"/>
                <a:gd name="T84" fmla="*/ 23 w 898"/>
                <a:gd name="T85" fmla="*/ 235 h 900"/>
                <a:gd name="T86" fmla="*/ 1 w 898"/>
                <a:gd name="T87" fmla="*/ 269 h 900"/>
                <a:gd name="T88" fmla="*/ 4 w 898"/>
                <a:gd name="T89" fmla="*/ 792 h 900"/>
                <a:gd name="T90" fmla="*/ 32 w 898"/>
                <a:gd name="T91" fmla="*/ 820 h 900"/>
                <a:gd name="T92" fmla="*/ 60 w 898"/>
                <a:gd name="T93" fmla="*/ 824 h 900"/>
                <a:gd name="T94" fmla="*/ 66 w 898"/>
                <a:gd name="T95" fmla="*/ 856 h 900"/>
                <a:gd name="T96" fmla="*/ 83 w 898"/>
                <a:gd name="T97" fmla="*/ 879 h 900"/>
                <a:gd name="T98" fmla="*/ 111 w 898"/>
                <a:gd name="T99" fmla="*/ 894 h 900"/>
                <a:gd name="T100" fmla="*/ 150 w 898"/>
                <a:gd name="T101" fmla="*/ 900 h 900"/>
                <a:gd name="T102" fmla="*/ 297 w 898"/>
                <a:gd name="T103" fmla="*/ 895 h 900"/>
                <a:gd name="T104" fmla="*/ 327 w 898"/>
                <a:gd name="T105" fmla="*/ 879 h 900"/>
                <a:gd name="T106" fmla="*/ 349 w 898"/>
                <a:gd name="T107" fmla="*/ 854 h 900"/>
                <a:gd name="T108" fmla="*/ 359 w 898"/>
                <a:gd name="T109" fmla="*/ 818 h 900"/>
                <a:gd name="T110" fmla="*/ 838 w 898"/>
                <a:gd name="T111" fmla="*/ 808 h 900"/>
                <a:gd name="T112" fmla="*/ 864 w 898"/>
                <a:gd name="T113" fmla="*/ 796 h 900"/>
                <a:gd name="T114" fmla="*/ 886 w 898"/>
                <a:gd name="T115" fmla="*/ 775 h 900"/>
                <a:gd name="T116" fmla="*/ 897 w 898"/>
                <a:gd name="T117" fmla="*/ 749 h 900"/>
                <a:gd name="T118" fmla="*/ 898 w 898"/>
                <a:gd name="T119" fmla="*/ 269 h 900"/>
                <a:gd name="T120" fmla="*/ 886 w 898"/>
                <a:gd name="T121" fmla="*/ 240 h 900"/>
                <a:gd name="T122" fmla="*/ 865 w 898"/>
                <a:gd name="T123" fmla="*/ 220 h 900"/>
                <a:gd name="T124" fmla="*/ 834 w 898"/>
                <a:gd name="T125" fmla="*/ 211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900">
                  <a:moveTo>
                    <a:pt x="868" y="734"/>
                  </a:moveTo>
                  <a:lnTo>
                    <a:pt x="867" y="742"/>
                  </a:lnTo>
                  <a:lnTo>
                    <a:pt x="865" y="751"/>
                  </a:lnTo>
                  <a:lnTo>
                    <a:pt x="861" y="759"/>
                  </a:lnTo>
                  <a:lnTo>
                    <a:pt x="854" y="765"/>
                  </a:lnTo>
                  <a:lnTo>
                    <a:pt x="848" y="771"/>
                  </a:lnTo>
                  <a:lnTo>
                    <a:pt x="841" y="776"/>
                  </a:lnTo>
                  <a:lnTo>
                    <a:pt x="832" y="778"/>
                  </a:lnTo>
                  <a:lnTo>
                    <a:pt x="823" y="779"/>
                  </a:lnTo>
                  <a:lnTo>
                    <a:pt x="359" y="779"/>
                  </a:lnTo>
                  <a:lnTo>
                    <a:pt x="359" y="240"/>
                  </a:lnTo>
                  <a:lnTo>
                    <a:pt x="823" y="240"/>
                  </a:lnTo>
                  <a:lnTo>
                    <a:pt x="830" y="240"/>
                  </a:lnTo>
                  <a:lnTo>
                    <a:pt x="836" y="241"/>
                  </a:lnTo>
                  <a:lnTo>
                    <a:pt x="842" y="242"/>
                  </a:lnTo>
                  <a:lnTo>
                    <a:pt x="846" y="244"/>
                  </a:lnTo>
                  <a:lnTo>
                    <a:pt x="853" y="248"/>
                  </a:lnTo>
                  <a:lnTo>
                    <a:pt x="860" y="255"/>
                  </a:lnTo>
                  <a:lnTo>
                    <a:pt x="864" y="261"/>
                  </a:lnTo>
                  <a:lnTo>
                    <a:pt x="867" y="268"/>
                  </a:lnTo>
                  <a:lnTo>
                    <a:pt x="868" y="274"/>
                  </a:lnTo>
                  <a:lnTo>
                    <a:pt x="868" y="279"/>
                  </a:lnTo>
                  <a:lnTo>
                    <a:pt x="868" y="734"/>
                  </a:lnTo>
                  <a:close/>
                  <a:moveTo>
                    <a:pt x="449" y="30"/>
                  </a:moveTo>
                  <a:lnTo>
                    <a:pt x="713" y="30"/>
                  </a:lnTo>
                  <a:lnTo>
                    <a:pt x="779" y="96"/>
                  </a:lnTo>
                  <a:lnTo>
                    <a:pt x="779" y="210"/>
                  </a:lnTo>
                  <a:lnTo>
                    <a:pt x="449" y="210"/>
                  </a:lnTo>
                  <a:lnTo>
                    <a:pt x="449" y="30"/>
                  </a:lnTo>
                  <a:close/>
                  <a:moveTo>
                    <a:pt x="329" y="809"/>
                  </a:moveTo>
                  <a:lnTo>
                    <a:pt x="329" y="815"/>
                  </a:lnTo>
                  <a:lnTo>
                    <a:pt x="328" y="822"/>
                  </a:lnTo>
                  <a:lnTo>
                    <a:pt x="327" y="827"/>
                  </a:lnTo>
                  <a:lnTo>
                    <a:pt x="325" y="833"/>
                  </a:lnTo>
                  <a:lnTo>
                    <a:pt x="323" y="839"/>
                  </a:lnTo>
                  <a:lnTo>
                    <a:pt x="320" y="843"/>
                  </a:lnTo>
                  <a:lnTo>
                    <a:pt x="316" y="848"/>
                  </a:lnTo>
                  <a:lnTo>
                    <a:pt x="312" y="853"/>
                  </a:lnTo>
                  <a:lnTo>
                    <a:pt x="309" y="856"/>
                  </a:lnTo>
                  <a:lnTo>
                    <a:pt x="304" y="859"/>
                  </a:lnTo>
                  <a:lnTo>
                    <a:pt x="299" y="862"/>
                  </a:lnTo>
                  <a:lnTo>
                    <a:pt x="294" y="864"/>
                  </a:lnTo>
                  <a:lnTo>
                    <a:pt x="288" y="867"/>
                  </a:lnTo>
                  <a:lnTo>
                    <a:pt x="282" y="868"/>
                  </a:lnTo>
                  <a:lnTo>
                    <a:pt x="276" y="869"/>
                  </a:lnTo>
                  <a:lnTo>
                    <a:pt x="269" y="870"/>
                  </a:lnTo>
                  <a:lnTo>
                    <a:pt x="150" y="869"/>
                  </a:lnTo>
                  <a:lnTo>
                    <a:pt x="139" y="869"/>
                  </a:lnTo>
                  <a:lnTo>
                    <a:pt x="129" y="868"/>
                  </a:lnTo>
                  <a:lnTo>
                    <a:pt x="122" y="867"/>
                  </a:lnTo>
                  <a:lnTo>
                    <a:pt x="115" y="863"/>
                  </a:lnTo>
                  <a:lnTo>
                    <a:pt x="109" y="861"/>
                  </a:lnTo>
                  <a:lnTo>
                    <a:pt x="105" y="858"/>
                  </a:lnTo>
                  <a:lnTo>
                    <a:pt x="100" y="855"/>
                  </a:lnTo>
                  <a:lnTo>
                    <a:pt x="97" y="852"/>
                  </a:lnTo>
                  <a:lnTo>
                    <a:pt x="93" y="844"/>
                  </a:lnTo>
                  <a:lnTo>
                    <a:pt x="91" y="837"/>
                  </a:lnTo>
                  <a:lnTo>
                    <a:pt x="90" y="830"/>
                  </a:lnTo>
                  <a:lnTo>
                    <a:pt x="90" y="824"/>
                  </a:lnTo>
                  <a:lnTo>
                    <a:pt x="90" y="195"/>
                  </a:lnTo>
                  <a:lnTo>
                    <a:pt x="90" y="189"/>
                  </a:lnTo>
                  <a:lnTo>
                    <a:pt x="91" y="183"/>
                  </a:lnTo>
                  <a:lnTo>
                    <a:pt x="93" y="176"/>
                  </a:lnTo>
                  <a:lnTo>
                    <a:pt x="97" y="168"/>
                  </a:lnTo>
                  <a:lnTo>
                    <a:pt x="100" y="164"/>
                  </a:lnTo>
                  <a:lnTo>
                    <a:pt x="105" y="161"/>
                  </a:lnTo>
                  <a:lnTo>
                    <a:pt x="109" y="157"/>
                  </a:lnTo>
                  <a:lnTo>
                    <a:pt x="115" y="155"/>
                  </a:lnTo>
                  <a:lnTo>
                    <a:pt x="122" y="153"/>
                  </a:lnTo>
                  <a:lnTo>
                    <a:pt x="129" y="151"/>
                  </a:lnTo>
                  <a:lnTo>
                    <a:pt x="139" y="150"/>
                  </a:lnTo>
                  <a:lnTo>
                    <a:pt x="150" y="150"/>
                  </a:lnTo>
                  <a:lnTo>
                    <a:pt x="269" y="150"/>
                  </a:lnTo>
                  <a:lnTo>
                    <a:pt x="276" y="150"/>
                  </a:lnTo>
                  <a:lnTo>
                    <a:pt x="282" y="151"/>
                  </a:lnTo>
                  <a:lnTo>
                    <a:pt x="288" y="152"/>
                  </a:lnTo>
                  <a:lnTo>
                    <a:pt x="294" y="154"/>
                  </a:lnTo>
                  <a:lnTo>
                    <a:pt x="299" y="156"/>
                  </a:lnTo>
                  <a:lnTo>
                    <a:pt x="304" y="159"/>
                  </a:lnTo>
                  <a:lnTo>
                    <a:pt x="309" y="163"/>
                  </a:lnTo>
                  <a:lnTo>
                    <a:pt x="312" y="167"/>
                  </a:lnTo>
                  <a:lnTo>
                    <a:pt x="316" y="171"/>
                  </a:lnTo>
                  <a:lnTo>
                    <a:pt x="320" y="176"/>
                  </a:lnTo>
                  <a:lnTo>
                    <a:pt x="323" y="180"/>
                  </a:lnTo>
                  <a:lnTo>
                    <a:pt x="325" y="185"/>
                  </a:lnTo>
                  <a:lnTo>
                    <a:pt x="327" y="192"/>
                  </a:lnTo>
                  <a:lnTo>
                    <a:pt x="328" y="197"/>
                  </a:lnTo>
                  <a:lnTo>
                    <a:pt x="329" y="203"/>
                  </a:lnTo>
                  <a:lnTo>
                    <a:pt x="329" y="210"/>
                  </a:lnTo>
                  <a:lnTo>
                    <a:pt x="329" y="809"/>
                  </a:lnTo>
                  <a:close/>
                  <a:moveTo>
                    <a:pt x="52" y="794"/>
                  </a:moveTo>
                  <a:lnTo>
                    <a:pt x="48" y="793"/>
                  </a:lnTo>
                  <a:lnTo>
                    <a:pt x="44" y="792"/>
                  </a:lnTo>
                  <a:lnTo>
                    <a:pt x="39" y="790"/>
                  </a:lnTo>
                  <a:lnTo>
                    <a:pt x="36" y="786"/>
                  </a:lnTo>
                  <a:lnTo>
                    <a:pt x="34" y="783"/>
                  </a:lnTo>
                  <a:lnTo>
                    <a:pt x="32" y="780"/>
                  </a:lnTo>
                  <a:lnTo>
                    <a:pt x="30" y="776"/>
                  </a:lnTo>
                  <a:lnTo>
                    <a:pt x="30" y="770"/>
                  </a:lnTo>
                  <a:lnTo>
                    <a:pt x="30" y="279"/>
                  </a:lnTo>
                  <a:lnTo>
                    <a:pt x="30" y="275"/>
                  </a:lnTo>
                  <a:lnTo>
                    <a:pt x="32" y="271"/>
                  </a:lnTo>
                  <a:lnTo>
                    <a:pt x="34" y="266"/>
                  </a:lnTo>
                  <a:lnTo>
                    <a:pt x="36" y="263"/>
                  </a:lnTo>
                  <a:lnTo>
                    <a:pt x="39" y="261"/>
                  </a:lnTo>
                  <a:lnTo>
                    <a:pt x="44" y="259"/>
                  </a:lnTo>
                  <a:lnTo>
                    <a:pt x="48" y="257"/>
                  </a:lnTo>
                  <a:lnTo>
                    <a:pt x="52" y="257"/>
                  </a:lnTo>
                  <a:lnTo>
                    <a:pt x="60" y="257"/>
                  </a:lnTo>
                  <a:lnTo>
                    <a:pt x="60" y="794"/>
                  </a:lnTo>
                  <a:lnTo>
                    <a:pt x="52" y="794"/>
                  </a:lnTo>
                  <a:close/>
                  <a:moveTo>
                    <a:pt x="823" y="210"/>
                  </a:moveTo>
                  <a:lnTo>
                    <a:pt x="808" y="210"/>
                  </a:lnTo>
                  <a:lnTo>
                    <a:pt x="808" y="84"/>
                  </a:lnTo>
                  <a:lnTo>
                    <a:pt x="725" y="0"/>
                  </a:lnTo>
                  <a:lnTo>
                    <a:pt x="419" y="0"/>
                  </a:lnTo>
                  <a:lnTo>
                    <a:pt x="419" y="210"/>
                  </a:lnTo>
                  <a:lnTo>
                    <a:pt x="359" y="210"/>
                  </a:lnTo>
                  <a:lnTo>
                    <a:pt x="359" y="200"/>
                  </a:lnTo>
                  <a:lnTo>
                    <a:pt x="357" y="192"/>
                  </a:lnTo>
                  <a:lnTo>
                    <a:pt x="355" y="182"/>
                  </a:lnTo>
                  <a:lnTo>
                    <a:pt x="353" y="174"/>
                  </a:lnTo>
                  <a:lnTo>
                    <a:pt x="349" y="166"/>
                  </a:lnTo>
                  <a:lnTo>
                    <a:pt x="344" y="158"/>
                  </a:lnTo>
                  <a:lnTo>
                    <a:pt x="339" y="152"/>
                  </a:lnTo>
                  <a:lnTo>
                    <a:pt x="334" y="146"/>
                  </a:lnTo>
                  <a:lnTo>
                    <a:pt x="327" y="140"/>
                  </a:lnTo>
                  <a:lnTo>
                    <a:pt x="321" y="135"/>
                  </a:lnTo>
                  <a:lnTo>
                    <a:pt x="313" y="131"/>
                  </a:lnTo>
                  <a:lnTo>
                    <a:pt x="305" y="126"/>
                  </a:lnTo>
                  <a:lnTo>
                    <a:pt x="297" y="124"/>
                  </a:lnTo>
                  <a:lnTo>
                    <a:pt x="288" y="122"/>
                  </a:lnTo>
                  <a:lnTo>
                    <a:pt x="279" y="120"/>
                  </a:lnTo>
                  <a:lnTo>
                    <a:pt x="269" y="120"/>
                  </a:lnTo>
                  <a:lnTo>
                    <a:pt x="150" y="120"/>
                  </a:lnTo>
                  <a:lnTo>
                    <a:pt x="150" y="15"/>
                  </a:lnTo>
                  <a:lnTo>
                    <a:pt x="150" y="12"/>
                  </a:lnTo>
                  <a:lnTo>
                    <a:pt x="149" y="10"/>
                  </a:lnTo>
                  <a:lnTo>
                    <a:pt x="147" y="7"/>
                  </a:lnTo>
                  <a:lnTo>
                    <a:pt x="145" y="4"/>
                  </a:lnTo>
                  <a:lnTo>
                    <a:pt x="143" y="2"/>
                  </a:lnTo>
                  <a:lnTo>
                    <a:pt x="140" y="1"/>
                  </a:lnTo>
                  <a:lnTo>
                    <a:pt x="138" y="0"/>
                  </a:lnTo>
                  <a:lnTo>
                    <a:pt x="135" y="0"/>
                  </a:lnTo>
                  <a:lnTo>
                    <a:pt x="131" y="0"/>
                  </a:lnTo>
                  <a:lnTo>
                    <a:pt x="129" y="1"/>
                  </a:lnTo>
                  <a:lnTo>
                    <a:pt x="126" y="2"/>
                  </a:lnTo>
                  <a:lnTo>
                    <a:pt x="124" y="4"/>
                  </a:lnTo>
                  <a:lnTo>
                    <a:pt x="122" y="7"/>
                  </a:lnTo>
                  <a:lnTo>
                    <a:pt x="121" y="10"/>
                  </a:lnTo>
                  <a:lnTo>
                    <a:pt x="120" y="12"/>
                  </a:lnTo>
                  <a:lnTo>
                    <a:pt x="120" y="15"/>
                  </a:lnTo>
                  <a:lnTo>
                    <a:pt x="120" y="123"/>
                  </a:lnTo>
                  <a:lnTo>
                    <a:pt x="106" y="127"/>
                  </a:lnTo>
                  <a:lnTo>
                    <a:pt x="94" y="133"/>
                  </a:lnTo>
                  <a:lnTo>
                    <a:pt x="89" y="136"/>
                  </a:lnTo>
                  <a:lnTo>
                    <a:pt x="83" y="139"/>
                  </a:lnTo>
                  <a:lnTo>
                    <a:pt x="79" y="143"/>
                  </a:lnTo>
                  <a:lnTo>
                    <a:pt x="76" y="148"/>
                  </a:lnTo>
                  <a:lnTo>
                    <a:pt x="71" y="152"/>
                  </a:lnTo>
                  <a:lnTo>
                    <a:pt x="68" y="157"/>
                  </a:lnTo>
                  <a:lnTo>
                    <a:pt x="66" y="163"/>
                  </a:lnTo>
                  <a:lnTo>
                    <a:pt x="64" y="169"/>
                  </a:lnTo>
                  <a:lnTo>
                    <a:pt x="62" y="174"/>
                  </a:lnTo>
                  <a:lnTo>
                    <a:pt x="61" y="181"/>
                  </a:lnTo>
                  <a:lnTo>
                    <a:pt x="60" y="187"/>
                  </a:lnTo>
                  <a:lnTo>
                    <a:pt x="60" y="195"/>
                  </a:lnTo>
                  <a:lnTo>
                    <a:pt x="60" y="227"/>
                  </a:lnTo>
                  <a:lnTo>
                    <a:pt x="52" y="227"/>
                  </a:lnTo>
                  <a:lnTo>
                    <a:pt x="42" y="228"/>
                  </a:lnTo>
                  <a:lnTo>
                    <a:pt x="32" y="231"/>
                  </a:lnTo>
                  <a:lnTo>
                    <a:pt x="23" y="235"/>
                  </a:lnTo>
                  <a:lnTo>
                    <a:pt x="15" y="242"/>
                  </a:lnTo>
                  <a:lnTo>
                    <a:pt x="8" y="250"/>
                  </a:lnTo>
                  <a:lnTo>
                    <a:pt x="4" y="259"/>
                  </a:lnTo>
                  <a:lnTo>
                    <a:pt x="1" y="269"/>
                  </a:lnTo>
                  <a:lnTo>
                    <a:pt x="0" y="279"/>
                  </a:lnTo>
                  <a:lnTo>
                    <a:pt x="0" y="770"/>
                  </a:lnTo>
                  <a:lnTo>
                    <a:pt x="1" y="781"/>
                  </a:lnTo>
                  <a:lnTo>
                    <a:pt x="4" y="792"/>
                  </a:lnTo>
                  <a:lnTo>
                    <a:pt x="8" y="800"/>
                  </a:lnTo>
                  <a:lnTo>
                    <a:pt x="15" y="808"/>
                  </a:lnTo>
                  <a:lnTo>
                    <a:pt x="23" y="814"/>
                  </a:lnTo>
                  <a:lnTo>
                    <a:pt x="32" y="820"/>
                  </a:lnTo>
                  <a:lnTo>
                    <a:pt x="42" y="823"/>
                  </a:lnTo>
                  <a:lnTo>
                    <a:pt x="52" y="824"/>
                  </a:lnTo>
                  <a:lnTo>
                    <a:pt x="60" y="824"/>
                  </a:lnTo>
                  <a:lnTo>
                    <a:pt x="60" y="824"/>
                  </a:lnTo>
                  <a:lnTo>
                    <a:pt x="60" y="833"/>
                  </a:lnTo>
                  <a:lnTo>
                    <a:pt x="61" y="841"/>
                  </a:lnTo>
                  <a:lnTo>
                    <a:pt x="63" y="848"/>
                  </a:lnTo>
                  <a:lnTo>
                    <a:pt x="66" y="856"/>
                  </a:lnTo>
                  <a:lnTo>
                    <a:pt x="69" y="862"/>
                  </a:lnTo>
                  <a:lnTo>
                    <a:pt x="73" y="869"/>
                  </a:lnTo>
                  <a:lnTo>
                    <a:pt x="78" y="874"/>
                  </a:lnTo>
                  <a:lnTo>
                    <a:pt x="83" y="879"/>
                  </a:lnTo>
                  <a:lnTo>
                    <a:pt x="90" y="884"/>
                  </a:lnTo>
                  <a:lnTo>
                    <a:pt x="96" y="888"/>
                  </a:lnTo>
                  <a:lnTo>
                    <a:pt x="104" y="891"/>
                  </a:lnTo>
                  <a:lnTo>
                    <a:pt x="111" y="894"/>
                  </a:lnTo>
                  <a:lnTo>
                    <a:pt x="120" y="897"/>
                  </a:lnTo>
                  <a:lnTo>
                    <a:pt x="129" y="898"/>
                  </a:lnTo>
                  <a:lnTo>
                    <a:pt x="139" y="899"/>
                  </a:lnTo>
                  <a:lnTo>
                    <a:pt x="150" y="900"/>
                  </a:lnTo>
                  <a:lnTo>
                    <a:pt x="269" y="899"/>
                  </a:lnTo>
                  <a:lnTo>
                    <a:pt x="279" y="899"/>
                  </a:lnTo>
                  <a:lnTo>
                    <a:pt x="289" y="898"/>
                  </a:lnTo>
                  <a:lnTo>
                    <a:pt x="297" y="895"/>
                  </a:lnTo>
                  <a:lnTo>
                    <a:pt x="306" y="892"/>
                  </a:lnTo>
                  <a:lnTo>
                    <a:pt x="313" y="889"/>
                  </a:lnTo>
                  <a:lnTo>
                    <a:pt x="321" y="885"/>
                  </a:lnTo>
                  <a:lnTo>
                    <a:pt x="327" y="879"/>
                  </a:lnTo>
                  <a:lnTo>
                    <a:pt x="334" y="874"/>
                  </a:lnTo>
                  <a:lnTo>
                    <a:pt x="339" y="868"/>
                  </a:lnTo>
                  <a:lnTo>
                    <a:pt x="344" y="860"/>
                  </a:lnTo>
                  <a:lnTo>
                    <a:pt x="349" y="854"/>
                  </a:lnTo>
                  <a:lnTo>
                    <a:pt x="353" y="845"/>
                  </a:lnTo>
                  <a:lnTo>
                    <a:pt x="355" y="837"/>
                  </a:lnTo>
                  <a:lnTo>
                    <a:pt x="357" y="828"/>
                  </a:lnTo>
                  <a:lnTo>
                    <a:pt x="359" y="818"/>
                  </a:lnTo>
                  <a:lnTo>
                    <a:pt x="359" y="809"/>
                  </a:lnTo>
                  <a:lnTo>
                    <a:pt x="823" y="809"/>
                  </a:lnTo>
                  <a:lnTo>
                    <a:pt x="831" y="809"/>
                  </a:lnTo>
                  <a:lnTo>
                    <a:pt x="838" y="808"/>
                  </a:lnTo>
                  <a:lnTo>
                    <a:pt x="845" y="806"/>
                  </a:lnTo>
                  <a:lnTo>
                    <a:pt x="852" y="803"/>
                  </a:lnTo>
                  <a:lnTo>
                    <a:pt x="859" y="799"/>
                  </a:lnTo>
                  <a:lnTo>
                    <a:pt x="864" y="796"/>
                  </a:lnTo>
                  <a:lnTo>
                    <a:pt x="871" y="792"/>
                  </a:lnTo>
                  <a:lnTo>
                    <a:pt x="876" y="786"/>
                  </a:lnTo>
                  <a:lnTo>
                    <a:pt x="881" y="781"/>
                  </a:lnTo>
                  <a:lnTo>
                    <a:pt x="886" y="775"/>
                  </a:lnTo>
                  <a:lnTo>
                    <a:pt x="889" y="769"/>
                  </a:lnTo>
                  <a:lnTo>
                    <a:pt x="893" y="763"/>
                  </a:lnTo>
                  <a:lnTo>
                    <a:pt x="895" y="755"/>
                  </a:lnTo>
                  <a:lnTo>
                    <a:pt x="897" y="749"/>
                  </a:lnTo>
                  <a:lnTo>
                    <a:pt x="898" y="741"/>
                  </a:lnTo>
                  <a:lnTo>
                    <a:pt x="898" y="734"/>
                  </a:lnTo>
                  <a:lnTo>
                    <a:pt x="898" y="279"/>
                  </a:lnTo>
                  <a:lnTo>
                    <a:pt x="898" y="269"/>
                  </a:lnTo>
                  <a:lnTo>
                    <a:pt x="895" y="257"/>
                  </a:lnTo>
                  <a:lnTo>
                    <a:pt x="892" y="251"/>
                  </a:lnTo>
                  <a:lnTo>
                    <a:pt x="890" y="246"/>
                  </a:lnTo>
                  <a:lnTo>
                    <a:pt x="886" y="240"/>
                  </a:lnTo>
                  <a:lnTo>
                    <a:pt x="882" y="234"/>
                  </a:lnTo>
                  <a:lnTo>
                    <a:pt x="877" y="229"/>
                  </a:lnTo>
                  <a:lnTo>
                    <a:pt x="872" y="225"/>
                  </a:lnTo>
                  <a:lnTo>
                    <a:pt x="865" y="220"/>
                  </a:lnTo>
                  <a:lnTo>
                    <a:pt x="859" y="217"/>
                  </a:lnTo>
                  <a:lnTo>
                    <a:pt x="851" y="214"/>
                  </a:lnTo>
                  <a:lnTo>
                    <a:pt x="843" y="212"/>
                  </a:lnTo>
                  <a:lnTo>
                    <a:pt x="834" y="211"/>
                  </a:lnTo>
                  <a:lnTo>
                    <a:pt x="823" y="210"/>
                  </a:lnTo>
                  <a:lnTo>
                    <a:pt x="82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6" name="Freeform 65">
              <a:extLst>
                <a:ext uri="{FF2B5EF4-FFF2-40B4-BE49-F238E27FC236}">
                  <a16:creationId xmlns:a16="http://schemas.microsoft.com/office/drawing/2014/main" id="{091A95A8-7D24-4A31-9427-FB93779E961E}"/>
                </a:ext>
              </a:extLst>
            </p:cNvPr>
            <p:cNvSpPr>
              <a:spLocks noEditPoints="1"/>
            </p:cNvSpPr>
            <p:nvPr/>
          </p:nvSpPr>
          <p:spPr bwMode="auto">
            <a:xfrm>
              <a:off x="3333750" y="1433513"/>
              <a:ext cx="85725" cy="36513"/>
            </a:xfrm>
            <a:custGeom>
              <a:avLst/>
              <a:gdLst>
                <a:gd name="T0" fmla="*/ 239 w 269"/>
                <a:gd name="T1" fmla="*/ 86 h 116"/>
                <a:gd name="T2" fmla="*/ 30 w 269"/>
                <a:gd name="T3" fmla="*/ 86 h 116"/>
                <a:gd name="T4" fmla="*/ 30 w 269"/>
                <a:gd name="T5" fmla="*/ 30 h 116"/>
                <a:gd name="T6" fmla="*/ 239 w 269"/>
                <a:gd name="T7" fmla="*/ 30 h 116"/>
                <a:gd name="T8" fmla="*/ 239 w 269"/>
                <a:gd name="T9" fmla="*/ 86 h 116"/>
                <a:gd name="T10" fmla="*/ 269 w 269"/>
                <a:gd name="T11" fmla="*/ 0 h 116"/>
                <a:gd name="T12" fmla="*/ 0 w 269"/>
                <a:gd name="T13" fmla="*/ 0 h 116"/>
                <a:gd name="T14" fmla="*/ 0 w 269"/>
                <a:gd name="T15" fmla="*/ 116 h 116"/>
                <a:gd name="T16" fmla="*/ 269 w 269"/>
                <a:gd name="T17" fmla="*/ 116 h 116"/>
                <a:gd name="T18" fmla="*/ 269 w 269"/>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116">
                  <a:moveTo>
                    <a:pt x="239" y="86"/>
                  </a:moveTo>
                  <a:lnTo>
                    <a:pt x="30" y="86"/>
                  </a:lnTo>
                  <a:lnTo>
                    <a:pt x="30" y="30"/>
                  </a:lnTo>
                  <a:lnTo>
                    <a:pt x="239" y="30"/>
                  </a:lnTo>
                  <a:lnTo>
                    <a:pt x="239" y="86"/>
                  </a:lnTo>
                  <a:close/>
                  <a:moveTo>
                    <a:pt x="269" y="0"/>
                  </a:moveTo>
                  <a:lnTo>
                    <a:pt x="0" y="0"/>
                  </a:lnTo>
                  <a:lnTo>
                    <a:pt x="0" y="116"/>
                  </a:lnTo>
                  <a:lnTo>
                    <a:pt x="269" y="116"/>
                  </a:lnTo>
                  <a:lnTo>
                    <a:pt x="2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7" name="Rectangle 66">
              <a:extLst>
                <a:ext uri="{FF2B5EF4-FFF2-40B4-BE49-F238E27FC236}">
                  <a16:creationId xmlns:a16="http://schemas.microsoft.com/office/drawing/2014/main" id="{DB315F17-E0D5-4843-8E93-83F3EA61A531}"/>
                </a:ext>
              </a:extLst>
            </p:cNvPr>
            <p:cNvSpPr>
              <a:spLocks noChangeArrowheads="1"/>
            </p:cNvSpPr>
            <p:nvPr/>
          </p:nvSpPr>
          <p:spPr bwMode="auto">
            <a:xfrm>
              <a:off x="33337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8" name="Rectangle 67">
              <a:extLst>
                <a:ext uri="{FF2B5EF4-FFF2-40B4-BE49-F238E27FC236}">
                  <a16:creationId xmlns:a16="http://schemas.microsoft.com/office/drawing/2014/main" id="{85B0B193-7A4D-4C4C-B552-F5D06A26308D}"/>
                </a:ext>
              </a:extLst>
            </p:cNvPr>
            <p:cNvSpPr>
              <a:spLocks noChangeArrowheads="1"/>
            </p:cNvSpPr>
            <p:nvPr/>
          </p:nvSpPr>
          <p:spPr bwMode="auto">
            <a:xfrm>
              <a:off x="33718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9" name="Rectangle 68">
              <a:extLst>
                <a:ext uri="{FF2B5EF4-FFF2-40B4-BE49-F238E27FC236}">
                  <a16:creationId xmlns:a16="http://schemas.microsoft.com/office/drawing/2014/main" id="{F78FC0E4-B9F7-4789-ABAB-793A59EEF485}"/>
                </a:ext>
              </a:extLst>
            </p:cNvPr>
            <p:cNvSpPr>
              <a:spLocks noChangeArrowheads="1"/>
            </p:cNvSpPr>
            <p:nvPr/>
          </p:nvSpPr>
          <p:spPr bwMode="auto">
            <a:xfrm>
              <a:off x="3409950" y="148907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0" name="Rectangle 69">
              <a:extLst>
                <a:ext uri="{FF2B5EF4-FFF2-40B4-BE49-F238E27FC236}">
                  <a16:creationId xmlns:a16="http://schemas.microsoft.com/office/drawing/2014/main" id="{E5F39A5B-C3E3-4409-9965-B911AEC92F5C}"/>
                </a:ext>
              </a:extLst>
            </p:cNvPr>
            <p:cNvSpPr>
              <a:spLocks noChangeArrowheads="1"/>
            </p:cNvSpPr>
            <p:nvPr/>
          </p:nvSpPr>
          <p:spPr bwMode="auto">
            <a:xfrm>
              <a:off x="33337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1" name="Rectangle 70">
              <a:extLst>
                <a:ext uri="{FF2B5EF4-FFF2-40B4-BE49-F238E27FC236}">
                  <a16:creationId xmlns:a16="http://schemas.microsoft.com/office/drawing/2014/main" id="{0B347312-797F-47BC-887D-503D1E9CABFD}"/>
                </a:ext>
              </a:extLst>
            </p:cNvPr>
            <p:cNvSpPr>
              <a:spLocks noChangeArrowheads="1"/>
            </p:cNvSpPr>
            <p:nvPr/>
          </p:nvSpPr>
          <p:spPr bwMode="auto">
            <a:xfrm>
              <a:off x="33718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2" name="Rectangle 71">
              <a:extLst>
                <a:ext uri="{FF2B5EF4-FFF2-40B4-BE49-F238E27FC236}">
                  <a16:creationId xmlns:a16="http://schemas.microsoft.com/office/drawing/2014/main" id="{8F02ABB5-D364-40B7-9B36-FF2694AFB2BE}"/>
                </a:ext>
              </a:extLst>
            </p:cNvPr>
            <p:cNvSpPr>
              <a:spLocks noChangeArrowheads="1"/>
            </p:cNvSpPr>
            <p:nvPr/>
          </p:nvSpPr>
          <p:spPr bwMode="auto">
            <a:xfrm>
              <a:off x="3409950" y="15176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3" name="Rectangle 72">
              <a:extLst>
                <a:ext uri="{FF2B5EF4-FFF2-40B4-BE49-F238E27FC236}">
                  <a16:creationId xmlns:a16="http://schemas.microsoft.com/office/drawing/2014/main" id="{CBA0BB1C-57C1-4EA6-AB9C-3277526D58B3}"/>
                </a:ext>
              </a:extLst>
            </p:cNvPr>
            <p:cNvSpPr>
              <a:spLocks noChangeArrowheads="1"/>
            </p:cNvSpPr>
            <p:nvPr/>
          </p:nvSpPr>
          <p:spPr bwMode="auto">
            <a:xfrm>
              <a:off x="33337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4" name="Rectangle 73">
              <a:extLst>
                <a:ext uri="{FF2B5EF4-FFF2-40B4-BE49-F238E27FC236}">
                  <a16:creationId xmlns:a16="http://schemas.microsoft.com/office/drawing/2014/main" id="{3332486A-5279-44EB-91F9-3A1EE2C54D99}"/>
                </a:ext>
              </a:extLst>
            </p:cNvPr>
            <p:cNvSpPr>
              <a:spLocks noChangeArrowheads="1"/>
            </p:cNvSpPr>
            <p:nvPr/>
          </p:nvSpPr>
          <p:spPr bwMode="auto">
            <a:xfrm>
              <a:off x="33718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75" name="Rectangle 74">
              <a:extLst>
                <a:ext uri="{FF2B5EF4-FFF2-40B4-BE49-F238E27FC236}">
                  <a16:creationId xmlns:a16="http://schemas.microsoft.com/office/drawing/2014/main" id="{9D33B5A2-052A-4EBA-8337-59B3775566CD}"/>
                </a:ext>
              </a:extLst>
            </p:cNvPr>
            <p:cNvSpPr>
              <a:spLocks noChangeArrowheads="1"/>
            </p:cNvSpPr>
            <p:nvPr/>
          </p:nvSpPr>
          <p:spPr bwMode="auto">
            <a:xfrm>
              <a:off x="3409950" y="15462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176" name="Group 75">
            <a:extLst>
              <a:ext uri="{FF2B5EF4-FFF2-40B4-BE49-F238E27FC236}">
                <a16:creationId xmlns:a16="http://schemas.microsoft.com/office/drawing/2014/main" id="{E655561F-1C83-436E-8AAE-28F45B8E7EC4}"/>
              </a:ext>
            </a:extLst>
          </p:cNvPr>
          <p:cNvGrpSpPr>
            <a:grpSpLocks noChangeAspect="1"/>
          </p:cNvGrpSpPr>
          <p:nvPr/>
        </p:nvGrpSpPr>
        <p:grpSpPr>
          <a:xfrm>
            <a:off x="671290" y="3801969"/>
            <a:ext cx="285619" cy="285619"/>
            <a:chOff x="1470025" y="766763"/>
            <a:chExt cx="284163" cy="284163"/>
          </a:xfrm>
          <a:solidFill>
            <a:schemeClr val="bg1"/>
          </a:solidFill>
          <a:effectLst/>
        </p:grpSpPr>
        <p:sp>
          <p:nvSpPr>
            <p:cNvPr id="1177" name="Freeform 5">
              <a:extLst>
                <a:ext uri="{FF2B5EF4-FFF2-40B4-BE49-F238E27FC236}">
                  <a16:creationId xmlns:a16="http://schemas.microsoft.com/office/drawing/2014/main" id="{3B5D7A7B-9E95-462B-8B86-FE5A98FBFFCA}"/>
                </a:ext>
              </a:extLst>
            </p:cNvPr>
            <p:cNvSpPr>
              <a:spLocks noEditPoints="1"/>
            </p:cNvSpPr>
            <p:nvPr/>
          </p:nvSpPr>
          <p:spPr bwMode="auto">
            <a:xfrm>
              <a:off x="1470025" y="814388"/>
              <a:ext cx="236538" cy="236538"/>
            </a:xfrm>
            <a:custGeom>
              <a:avLst/>
              <a:gdLst>
                <a:gd name="T0" fmla="*/ 634 w 749"/>
                <a:gd name="T1" fmla="*/ 708 h 748"/>
                <a:gd name="T2" fmla="*/ 588 w 749"/>
                <a:gd name="T3" fmla="*/ 718 h 748"/>
                <a:gd name="T4" fmla="*/ 540 w 749"/>
                <a:gd name="T5" fmla="*/ 707 h 748"/>
                <a:gd name="T6" fmla="*/ 394 w 749"/>
                <a:gd name="T7" fmla="*/ 600 h 748"/>
                <a:gd name="T8" fmla="*/ 235 w 749"/>
                <a:gd name="T9" fmla="*/ 452 h 748"/>
                <a:gd name="T10" fmla="*/ 96 w 749"/>
                <a:gd name="T11" fmla="*/ 286 h 748"/>
                <a:gd name="T12" fmla="*/ 35 w 749"/>
                <a:gd name="T13" fmla="*/ 192 h 748"/>
                <a:gd name="T14" fmla="*/ 30 w 749"/>
                <a:gd name="T15" fmla="*/ 152 h 748"/>
                <a:gd name="T16" fmla="*/ 43 w 749"/>
                <a:gd name="T17" fmla="*/ 112 h 748"/>
                <a:gd name="T18" fmla="*/ 107 w 749"/>
                <a:gd name="T19" fmla="*/ 44 h 748"/>
                <a:gd name="T20" fmla="*/ 133 w 749"/>
                <a:gd name="T21" fmla="*/ 31 h 748"/>
                <a:gd name="T22" fmla="*/ 163 w 749"/>
                <a:gd name="T23" fmla="*/ 33 h 748"/>
                <a:gd name="T24" fmla="*/ 189 w 749"/>
                <a:gd name="T25" fmla="*/ 48 h 748"/>
                <a:gd name="T26" fmla="*/ 282 w 749"/>
                <a:gd name="T27" fmla="*/ 148 h 748"/>
                <a:gd name="T28" fmla="*/ 286 w 749"/>
                <a:gd name="T29" fmla="*/ 176 h 748"/>
                <a:gd name="T30" fmla="*/ 276 w 749"/>
                <a:gd name="T31" fmla="*/ 204 h 748"/>
                <a:gd name="T32" fmla="*/ 238 w 749"/>
                <a:gd name="T33" fmla="*/ 250 h 748"/>
                <a:gd name="T34" fmla="*/ 328 w 749"/>
                <a:gd name="T35" fmla="*/ 359 h 748"/>
                <a:gd name="T36" fmla="*/ 488 w 749"/>
                <a:gd name="T37" fmla="*/ 508 h 748"/>
                <a:gd name="T38" fmla="*/ 535 w 749"/>
                <a:gd name="T39" fmla="*/ 480 h 748"/>
                <a:gd name="T40" fmla="*/ 560 w 749"/>
                <a:gd name="T41" fmla="*/ 465 h 748"/>
                <a:gd name="T42" fmla="*/ 590 w 749"/>
                <a:gd name="T43" fmla="*/ 464 h 748"/>
                <a:gd name="T44" fmla="*/ 617 w 749"/>
                <a:gd name="T45" fmla="*/ 477 h 748"/>
                <a:gd name="T46" fmla="*/ 712 w 749"/>
                <a:gd name="T47" fmla="*/ 575 h 748"/>
                <a:gd name="T48" fmla="*/ 719 w 749"/>
                <a:gd name="T49" fmla="*/ 603 h 748"/>
                <a:gd name="T50" fmla="*/ 712 w 749"/>
                <a:gd name="T51" fmla="*/ 632 h 748"/>
                <a:gd name="T52" fmla="*/ 636 w 749"/>
                <a:gd name="T53" fmla="*/ 453 h 748"/>
                <a:gd name="T54" fmla="*/ 596 w 749"/>
                <a:gd name="T55" fmla="*/ 434 h 748"/>
                <a:gd name="T56" fmla="*/ 551 w 749"/>
                <a:gd name="T57" fmla="*/ 436 h 748"/>
                <a:gd name="T58" fmla="*/ 514 w 749"/>
                <a:gd name="T59" fmla="*/ 460 h 748"/>
                <a:gd name="T60" fmla="*/ 380 w 749"/>
                <a:gd name="T61" fmla="*/ 369 h 748"/>
                <a:gd name="T62" fmla="*/ 289 w 749"/>
                <a:gd name="T63" fmla="*/ 235 h 748"/>
                <a:gd name="T64" fmla="*/ 313 w 749"/>
                <a:gd name="T65" fmla="*/ 196 h 748"/>
                <a:gd name="T66" fmla="*/ 315 w 749"/>
                <a:gd name="T67" fmla="*/ 154 h 748"/>
                <a:gd name="T68" fmla="*/ 296 w 749"/>
                <a:gd name="T69" fmla="*/ 113 h 748"/>
                <a:gd name="T70" fmla="*/ 188 w 749"/>
                <a:gd name="T71" fmla="*/ 10 h 748"/>
                <a:gd name="T72" fmla="*/ 146 w 749"/>
                <a:gd name="T73" fmla="*/ 0 h 748"/>
                <a:gd name="T74" fmla="*/ 103 w 749"/>
                <a:gd name="T75" fmla="*/ 10 h 748"/>
                <a:gd name="T76" fmla="*/ 29 w 749"/>
                <a:gd name="T77" fmla="*/ 79 h 748"/>
                <a:gd name="T78" fmla="*/ 5 w 749"/>
                <a:gd name="T79" fmla="*/ 127 h 748"/>
                <a:gd name="T80" fmla="*/ 1 w 749"/>
                <a:gd name="T81" fmla="*/ 180 h 748"/>
                <a:gd name="T82" fmla="*/ 21 w 749"/>
                <a:gd name="T83" fmla="*/ 232 h 748"/>
                <a:gd name="T84" fmla="*/ 154 w 749"/>
                <a:gd name="T85" fmla="*/ 407 h 748"/>
                <a:gd name="T86" fmla="*/ 308 w 749"/>
                <a:gd name="T87" fmla="*/ 566 h 748"/>
                <a:gd name="T88" fmla="*/ 481 w 749"/>
                <a:gd name="T89" fmla="*/ 702 h 748"/>
                <a:gd name="T90" fmla="*/ 550 w 749"/>
                <a:gd name="T91" fmla="*/ 743 h 748"/>
                <a:gd name="T92" fmla="*/ 600 w 749"/>
                <a:gd name="T93" fmla="*/ 748 h 748"/>
                <a:gd name="T94" fmla="*/ 658 w 749"/>
                <a:gd name="T95" fmla="*/ 727 h 748"/>
                <a:gd name="T96" fmla="*/ 734 w 749"/>
                <a:gd name="T97" fmla="*/ 653 h 748"/>
                <a:gd name="T98" fmla="*/ 748 w 749"/>
                <a:gd name="T99" fmla="*/ 612 h 748"/>
                <a:gd name="T100" fmla="*/ 742 w 749"/>
                <a:gd name="T101" fmla="*/ 569 h 748"/>
                <a:gd name="T102" fmla="*/ 642 w 749"/>
                <a:gd name="T103" fmla="*/ 45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748">
                  <a:moveTo>
                    <a:pt x="701" y="646"/>
                  </a:moveTo>
                  <a:lnTo>
                    <a:pt x="657" y="691"/>
                  </a:lnTo>
                  <a:lnTo>
                    <a:pt x="650" y="697"/>
                  </a:lnTo>
                  <a:lnTo>
                    <a:pt x="642" y="702"/>
                  </a:lnTo>
                  <a:lnTo>
                    <a:pt x="634" y="708"/>
                  </a:lnTo>
                  <a:lnTo>
                    <a:pt x="625" y="711"/>
                  </a:lnTo>
                  <a:lnTo>
                    <a:pt x="617" y="714"/>
                  </a:lnTo>
                  <a:lnTo>
                    <a:pt x="607" y="717"/>
                  </a:lnTo>
                  <a:lnTo>
                    <a:pt x="597" y="718"/>
                  </a:lnTo>
                  <a:lnTo>
                    <a:pt x="588" y="718"/>
                  </a:lnTo>
                  <a:lnTo>
                    <a:pt x="573" y="717"/>
                  </a:lnTo>
                  <a:lnTo>
                    <a:pt x="559" y="714"/>
                  </a:lnTo>
                  <a:lnTo>
                    <a:pt x="552" y="712"/>
                  </a:lnTo>
                  <a:lnTo>
                    <a:pt x="546" y="710"/>
                  </a:lnTo>
                  <a:lnTo>
                    <a:pt x="540" y="707"/>
                  </a:lnTo>
                  <a:lnTo>
                    <a:pt x="533" y="702"/>
                  </a:lnTo>
                  <a:lnTo>
                    <a:pt x="498" y="678"/>
                  </a:lnTo>
                  <a:lnTo>
                    <a:pt x="462" y="653"/>
                  </a:lnTo>
                  <a:lnTo>
                    <a:pt x="428" y="627"/>
                  </a:lnTo>
                  <a:lnTo>
                    <a:pt x="394" y="600"/>
                  </a:lnTo>
                  <a:lnTo>
                    <a:pt x="361" y="572"/>
                  </a:lnTo>
                  <a:lnTo>
                    <a:pt x="329" y="543"/>
                  </a:lnTo>
                  <a:lnTo>
                    <a:pt x="297" y="514"/>
                  </a:lnTo>
                  <a:lnTo>
                    <a:pt x="266" y="483"/>
                  </a:lnTo>
                  <a:lnTo>
                    <a:pt x="235" y="452"/>
                  </a:lnTo>
                  <a:lnTo>
                    <a:pt x="206" y="420"/>
                  </a:lnTo>
                  <a:lnTo>
                    <a:pt x="177" y="388"/>
                  </a:lnTo>
                  <a:lnTo>
                    <a:pt x="149" y="355"/>
                  </a:lnTo>
                  <a:lnTo>
                    <a:pt x="122" y="321"/>
                  </a:lnTo>
                  <a:lnTo>
                    <a:pt x="96" y="286"/>
                  </a:lnTo>
                  <a:lnTo>
                    <a:pt x="71" y="251"/>
                  </a:lnTo>
                  <a:lnTo>
                    <a:pt x="46" y="216"/>
                  </a:lnTo>
                  <a:lnTo>
                    <a:pt x="42" y="208"/>
                  </a:lnTo>
                  <a:lnTo>
                    <a:pt x="38" y="201"/>
                  </a:lnTo>
                  <a:lnTo>
                    <a:pt x="35" y="192"/>
                  </a:lnTo>
                  <a:lnTo>
                    <a:pt x="32" y="185"/>
                  </a:lnTo>
                  <a:lnTo>
                    <a:pt x="31" y="176"/>
                  </a:lnTo>
                  <a:lnTo>
                    <a:pt x="30" y="168"/>
                  </a:lnTo>
                  <a:lnTo>
                    <a:pt x="30" y="160"/>
                  </a:lnTo>
                  <a:lnTo>
                    <a:pt x="30" y="152"/>
                  </a:lnTo>
                  <a:lnTo>
                    <a:pt x="31" y="143"/>
                  </a:lnTo>
                  <a:lnTo>
                    <a:pt x="34" y="135"/>
                  </a:lnTo>
                  <a:lnTo>
                    <a:pt x="36" y="127"/>
                  </a:lnTo>
                  <a:lnTo>
                    <a:pt x="39" y="119"/>
                  </a:lnTo>
                  <a:lnTo>
                    <a:pt x="43" y="112"/>
                  </a:lnTo>
                  <a:lnTo>
                    <a:pt x="47" y="104"/>
                  </a:lnTo>
                  <a:lnTo>
                    <a:pt x="53" y="98"/>
                  </a:lnTo>
                  <a:lnTo>
                    <a:pt x="58" y="92"/>
                  </a:lnTo>
                  <a:lnTo>
                    <a:pt x="103" y="48"/>
                  </a:lnTo>
                  <a:lnTo>
                    <a:pt x="107" y="44"/>
                  </a:lnTo>
                  <a:lnTo>
                    <a:pt x="112" y="40"/>
                  </a:lnTo>
                  <a:lnTo>
                    <a:pt x="117" y="37"/>
                  </a:lnTo>
                  <a:lnTo>
                    <a:pt x="122" y="35"/>
                  </a:lnTo>
                  <a:lnTo>
                    <a:pt x="128" y="33"/>
                  </a:lnTo>
                  <a:lnTo>
                    <a:pt x="133" y="31"/>
                  </a:lnTo>
                  <a:lnTo>
                    <a:pt x="139" y="31"/>
                  </a:lnTo>
                  <a:lnTo>
                    <a:pt x="146" y="30"/>
                  </a:lnTo>
                  <a:lnTo>
                    <a:pt x="151" y="31"/>
                  </a:lnTo>
                  <a:lnTo>
                    <a:pt x="158" y="31"/>
                  </a:lnTo>
                  <a:lnTo>
                    <a:pt x="163" y="33"/>
                  </a:lnTo>
                  <a:lnTo>
                    <a:pt x="168" y="35"/>
                  </a:lnTo>
                  <a:lnTo>
                    <a:pt x="174" y="37"/>
                  </a:lnTo>
                  <a:lnTo>
                    <a:pt x="179" y="40"/>
                  </a:lnTo>
                  <a:lnTo>
                    <a:pt x="183" y="44"/>
                  </a:lnTo>
                  <a:lnTo>
                    <a:pt x="189" y="48"/>
                  </a:lnTo>
                  <a:lnTo>
                    <a:pt x="269" y="128"/>
                  </a:lnTo>
                  <a:lnTo>
                    <a:pt x="272" y="132"/>
                  </a:lnTo>
                  <a:lnTo>
                    <a:pt x="276" y="138"/>
                  </a:lnTo>
                  <a:lnTo>
                    <a:pt x="280" y="143"/>
                  </a:lnTo>
                  <a:lnTo>
                    <a:pt x="282" y="148"/>
                  </a:lnTo>
                  <a:lnTo>
                    <a:pt x="284" y="154"/>
                  </a:lnTo>
                  <a:lnTo>
                    <a:pt x="285" y="159"/>
                  </a:lnTo>
                  <a:lnTo>
                    <a:pt x="286" y="164"/>
                  </a:lnTo>
                  <a:lnTo>
                    <a:pt x="286" y="171"/>
                  </a:lnTo>
                  <a:lnTo>
                    <a:pt x="286" y="176"/>
                  </a:lnTo>
                  <a:lnTo>
                    <a:pt x="285" y="183"/>
                  </a:lnTo>
                  <a:lnTo>
                    <a:pt x="284" y="188"/>
                  </a:lnTo>
                  <a:lnTo>
                    <a:pt x="282" y="193"/>
                  </a:lnTo>
                  <a:lnTo>
                    <a:pt x="280" y="199"/>
                  </a:lnTo>
                  <a:lnTo>
                    <a:pt x="276" y="204"/>
                  </a:lnTo>
                  <a:lnTo>
                    <a:pt x="272" y="209"/>
                  </a:lnTo>
                  <a:lnTo>
                    <a:pt x="269" y="214"/>
                  </a:lnTo>
                  <a:lnTo>
                    <a:pt x="242" y="240"/>
                  </a:lnTo>
                  <a:lnTo>
                    <a:pt x="239" y="245"/>
                  </a:lnTo>
                  <a:lnTo>
                    <a:pt x="238" y="250"/>
                  </a:lnTo>
                  <a:lnTo>
                    <a:pt x="238" y="255"/>
                  </a:lnTo>
                  <a:lnTo>
                    <a:pt x="241" y="261"/>
                  </a:lnTo>
                  <a:lnTo>
                    <a:pt x="269" y="294"/>
                  </a:lnTo>
                  <a:lnTo>
                    <a:pt x="298" y="326"/>
                  </a:lnTo>
                  <a:lnTo>
                    <a:pt x="328" y="359"/>
                  </a:lnTo>
                  <a:lnTo>
                    <a:pt x="359" y="390"/>
                  </a:lnTo>
                  <a:lnTo>
                    <a:pt x="390" y="421"/>
                  </a:lnTo>
                  <a:lnTo>
                    <a:pt x="422" y="451"/>
                  </a:lnTo>
                  <a:lnTo>
                    <a:pt x="455" y="480"/>
                  </a:lnTo>
                  <a:lnTo>
                    <a:pt x="488" y="508"/>
                  </a:lnTo>
                  <a:lnTo>
                    <a:pt x="494" y="511"/>
                  </a:lnTo>
                  <a:lnTo>
                    <a:pt x="499" y="511"/>
                  </a:lnTo>
                  <a:lnTo>
                    <a:pt x="504" y="510"/>
                  </a:lnTo>
                  <a:lnTo>
                    <a:pt x="508" y="507"/>
                  </a:lnTo>
                  <a:lnTo>
                    <a:pt x="535" y="480"/>
                  </a:lnTo>
                  <a:lnTo>
                    <a:pt x="540" y="476"/>
                  </a:lnTo>
                  <a:lnTo>
                    <a:pt x="545" y="472"/>
                  </a:lnTo>
                  <a:lnTo>
                    <a:pt x="549" y="469"/>
                  </a:lnTo>
                  <a:lnTo>
                    <a:pt x="554" y="467"/>
                  </a:lnTo>
                  <a:lnTo>
                    <a:pt x="560" y="465"/>
                  </a:lnTo>
                  <a:lnTo>
                    <a:pt x="566" y="464"/>
                  </a:lnTo>
                  <a:lnTo>
                    <a:pt x="572" y="463"/>
                  </a:lnTo>
                  <a:lnTo>
                    <a:pt x="578" y="463"/>
                  </a:lnTo>
                  <a:lnTo>
                    <a:pt x="584" y="463"/>
                  </a:lnTo>
                  <a:lnTo>
                    <a:pt x="590" y="464"/>
                  </a:lnTo>
                  <a:lnTo>
                    <a:pt x="595" y="465"/>
                  </a:lnTo>
                  <a:lnTo>
                    <a:pt x="602" y="467"/>
                  </a:lnTo>
                  <a:lnTo>
                    <a:pt x="607" y="469"/>
                  </a:lnTo>
                  <a:lnTo>
                    <a:pt x="611" y="472"/>
                  </a:lnTo>
                  <a:lnTo>
                    <a:pt x="617" y="477"/>
                  </a:lnTo>
                  <a:lnTo>
                    <a:pt x="621" y="480"/>
                  </a:lnTo>
                  <a:lnTo>
                    <a:pt x="701" y="560"/>
                  </a:lnTo>
                  <a:lnTo>
                    <a:pt x="705" y="564"/>
                  </a:lnTo>
                  <a:lnTo>
                    <a:pt x="709" y="570"/>
                  </a:lnTo>
                  <a:lnTo>
                    <a:pt x="712" y="575"/>
                  </a:lnTo>
                  <a:lnTo>
                    <a:pt x="714" y="581"/>
                  </a:lnTo>
                  <a:lnTo>
                    <a:pt x="716" y="586"/>
                  </a:lnTo>
                  <a:lnTo>
                    <a:pt x="717" y="591"/>
                  </a:lnTo>
                  <a:lnTo>
                    <a:pt x="718" y="598"/>
                  </a:lnTo>
                  <a:lnTo>
                    <a:pt x="719" y="603"/>
                  </a:lnTo>
                  <a:lnTo>
                    <a:pt x="718" y="609"/>
                  </a:lnTo>
                  <a:lnTo>
                    <a:pt x="717" y="615"/>
                  </a:lnTo>
                  <a:lnTo>
                    <a:pt x="716" y="620"/>
                  </a:lnTo>
                  <a:lnTo>
                    <a:pt x="714" y="627"/>
                  </a:lnTo>
                  <a:lnTo>
                    <a:pt x="712" y="632"/>
                  </a:lnTo>
                  <a:lnTo>
                    <a:pt x="709" y="636"/>
                  </a:lnTo>
                  <a:lnTo>
                    <a:pt x="705" y="641"/>
                  </a:lnTo>
                  <a:lnTo>
                    <a:pt x="701" y="646"/>
                  </a:lnTo>
                  <a:close/>
                  <a:moveTo>
                    <a:pt x="642" y="459"/>
                  </a:moveTo>
                  <a:lnTo>
                    <a:pt x="636" y="453"/>
                  </a:lnTo>
                  <a:lnTo>
                    <a:pt x="628" y="448"/>
                  </a:lnTo>
                  <a:lnTo>
                    <a:pt x="621" y="444"/>
                  </a:lnTo>
                  <a:lnTo>
                    <a:pt x="612" y="439"/>
                  </a:lnTo>
                  <a:lnTo>
                    <a:pt x="605" y="436"/>
                  </a:lnTo>
                  <a:lnTo>
                    <a:pt x="596" y="434"/>
                  </a:lnTo>
                  <a:lnTo>
                    <a:pt x="587" y="433"/>
                  </a:lnTo>
                  <a:lnTo>
                    <a:pt x="578" y="433"/>
                  </a:lnTo>
                  <a:lnTo>
                    <a:pt x="569" y="433"/>
                  </a:lnTo>
                  <a:lnTo>
                    <a:pt x="560" y="434"/>
                  </a:lnTo>
                  <a:lnTo>
                    <a:pt x="551" y="436"/>
                  </a:lnTo>
                  <a:lnTo>
                    <a:pt x="544" y="439"/>
                  </a:lnTo>
                  <a:lnTo>
                    <a:pt x="535" y="444"/>
                  </a:lnTo>
                  <a:lnTo>
                    <a:pt x="528" y="448"/>
                  </a:lnTo>
                  <a:lnTo>
                    <a:pt x="520" y="453"/>
                  </a:lnTo>
                  <a:lnTo>
                    <a:pt x="514" y="460"/>
                  </a:lnTo>
                  <a:lnTo>
                    <a:pt x="497" y="476"/>
                  </a:lnTo>
                  <a:lnTo>
                    <a:pt x="467" y="451"/>
                  </a:lnTo>
                  <a:lnTo>
                    <a:pt x="437" y="424"/>
                  </a:lnTo>
                  <a:lnTo>
                    <a:pt x="408" y="397"/>
                  </a:lnTo>
                  <a:lnTo>
                    <a:pt x="380" y="369"/>
                  </a:lnTo>
                  <a:lnTo>
                    <a:pt x="351" y="341"/>
                  </a:lnTo>
                  <a:lnTo>
                    <a:pt x="324" y="311"/>
                  </a:lnTo>
                  <a:lnTo>
                    <a:pt x="298" y="282"/>
                  </a:lnTo>
                  <a:lnTo>
                    <a:pt x="272" y="252"/>
                  </a:lnTo>
                  <a:lnTo>
                    <a:pt x="289" y="235"/>
                  </a:lnTo>
                  <a:lnTo>
                    <a:pt x="296" y="227"/>
                  </a:lnTo>
                  <a:lnTo>
                    <a:pt x="301" y="220"/>
                  </a:lnTo>
                  <a:lnTo>
                    <a:pt x="305" y="213"/>
                  </a:lnTo>
                  <a:lnTo>
                    <a:pt x="310" y="205"/>
                  </a:lnTo>
                  <a:lnTo>
                    <a:pt x="313" y="196"/>
                  </a:lnTo>
                  <a:lnTo>
                    <a:pt x="315" y="188"/>
                  </a:lnTo>
                  <a:lnTo>
                    <a:pt x="316" y="179"/>
                  </a:lnTo>
                  <a:lnTo>
                    <a:pt x="316" y="171"/>
                  </a:lnTo>
                  <a:lnTo>
                    <a:pt x="316" y="162"/>
                  </a:lnTo>
                  <a:lnTo>
                    <a:pt x="315" y="154"/>
                  </a:lnTo>
                  <a:lnTo>
                    <a:pt x="313" y="145"/>
                  </a:lnTo>
                  <a:lnTo>
                    <a:pt x="310" y="137"/>
                  </a:lnTo>
                  <a:lnTo>
                    <a:pt x="305" y="129"/>
                  </a:lnTo>
                  <a:lnTo>
                    <a:pt x="301" y="121"/>
                  </a:lnTo>
                  <a:lnTo>
                    <a:pt x="296" y="113"/>
                  </a:lnTo>
                  <a:lnTo>
                    <a:pt x="289" y="107"/>
                  </a:lnTo>
                  <a:lnTo>
                    <a:pt x="209" y="26"/>
                  </a:lnTo>
                  <a:lnTo>
                    <a:pt x="203" y="20"/>
                  </a:lnTo>
                  <a:lnTo>
                    <a:pt x="196" y="15"/>
                  </a:lnTo>
                  <a:lnTo>
                    <a:pt x="188" y="10"/>
                  </a:lnTo>
                  <a:lnTo>
                    <a:pt x="180" y="7"/>
                  </a:lnTo>
                  <a:lnTo>
                    <a:pt x="172" y="4"/>
                  </a:lnTo>
                  <a:lnTo>
                    <a:pt x="163" y="2"/>
                  </a:lnTo>
                  <a:lnTo>
                    <a:pt x="154" y="1"/>
                  </a:lnTo>
                  <a:lnTo>
                    <a:pt x="146" y="0"/>
                  </a:lnTo>
                  <a:lnTo>
                    <a:pt x="136" y="1"/>
                  </a:lnTo>
                  <a:lnTo>
                    <a:pt x="128" y="2"/>
                  </a:lnTo>
                  <a:lnTo>
                    <a:pt x="119" y="4"/>
                  </a:lnTo>
                  <a:lnTo>
                    <a:pt x="111" y="7"/>
                  </a:lnTo>
                  <a:lnTo>
                    <a:pt x="103" y="10"/>
                  </a:lnTo>
                  <a:lnTo>
                    <a:pt x="96" y="15"/>
                  </a:lnTo>
                  <a:lnTo>
                    <a:pt x="88" y="20"/>
                  </a:lnTo>
                  <a:lnTo>
                    <a:pt x="82" y="26"/>
                  </a:lnTo>
                  <a:lnTo>
                    <a:pt x="38" y="70"/>
                  </a:lnTo>
                  <a:lnTo>
                    <a:pt x="29" y="79"/>
                  </a:lnTo>
                  <a:lnTo>
                    <a:pt x="23" y="87"/>
                  </a:lnTo>
                  <a:lnTo>
                    <a:pt x="17" y="97"/>
                  </a:lnTo>
                  <a:lnTo>
                    <a:pt x="12" y="107"/>
                  </a:lnTo>
                  <a:lnTo>
                    <a:pt x="8" y="116"/>
                  </a:lnTo>
                  <a:lnTo>
                    <a:pt x="5" y="127"/>
                  </a:lnTo>
                  <a:lnTo>
                    <a:pt x="3" y="138"/>
                  </a:lnTo>
                  <a:lnTo>
                    <a:pt x="0" y="148"/>
                  </a:lnTo>
                  <a:lnTo>
                    <a:pt x="0" y="159"/>
                  </a:lnTo>
                  <a:lnTo>
                    <a:pt x="0" y="170"/>
                  </a:lnTo>
                  <a:lnTo>
                    <a:pt x="1" y="180"/>
                  </a:lnTo>
                  <a:lnTo>
                    <a:pt x="4" y="191"/>
                  </a:lnTo>
                  <a:lnTo>
                    <a:pt x="7" y="202"/>
                  </a:lnTo>
                  <a:lnTo>
                    <a:pt x="10" y="213"/>
                  </a:lnTo>
                  <a:lnTo>
                    <a:pt x="15" y="222"/>
                  </a:lnTo>
                  <a:lnTo>
                    <a:pt x="21" y="232"/>
                  </a:lnTo>
                  <a:lnTo>
                    <a:pt x="46" y="268"/>
                  </a:lnTo>
                  <a:lnTo>
                    <a:pt x="72" y="305"/>
                  </a:lnTo>
                  <a:lnTo>
                    <a:pt x="98" y="339"/>
                  </a:lnTo>
                  <a:lnTo>
                    <a:pt x="126" y="374"/>
                  </a:lnTo>
                  <a:lnTo>
                    <a:pt x="154" y="407"/>
                  </a:lnTo>
                  <a:lnTo>
                    <a:pt x="183" y="440"/>
                  </a:lnTo>
                  <a:lnTo>
                    <a:pt x="213" y="472"/>
                  </a:lnTo>
                  <a:lnTo>
                    <a:pt x="244" y="505"/>
                  </a:lnTo>
                  <a:lnTo>
                    <a:pt x="275" y="536"/>
                  </a:lnTo>
                  <a:lnTo>
                    <a:pt x="308" y="566"/>
                  </a:lnTo>
                  <a:lnTo>
                    <a:pt x="342" y="594"/>
                  </a:lnTo>
                  <a:lnTo>
                    <a:pt x="375" y="623"/>
                  </a:lnTo>
                  <a:lnTo>
                    <a:pt x="410" y="651"/>
                  </a:lnTo>
                  <a:lnTo>
                    <a:pt x="444" y="677"/>
                  </a:lnTo>
                  <a:lnTo>
                    <a:pt x="481" y="702"/>
                  </a:lnTo>
                  <a:lnTo>
                    <a:pt x="517" y="727"/>
                  </a:lnTo>
                  <a:lnTo>
                    <a:pt x="525" y="732"/>
                  </a:lnTo>
                  <a:lnTo>
                    <a:pt x="533" y="737"/>
                  </a:lnTo>
                  <a:lnTo>
                    <a:pt x="542" y="740"/>
                  </a:lnTo>
                  <a:lnTo>
                    <a:pt x="550" y="743"/>
                  </a:lnTo>
                  <a:lnTo>
                    <a:pt x="560" y="745"/>
                  </a:lnTo>
                  <a:lnTo>
                    <a:pt x="568" y="747"/>
                  </a:lnTo>
                  <a:lnTo>
                    <a:pt x="578" y="748"/>
                  </a:lnTo>
                  <a:lnTo>
                    <a:pt x="588" y="748"/>
                  </a:lnTo>
                  <a:lnTo>
                    <a:pt x="600" y="748"/>
                  </a:lnTo>
                  <a:lnTo>
                    <a:pt x="612" y="746"/>
                  </a:lnTo>
                  <a:lnTo>
                    <a:pt x="625" y="743"/>
                  </a:lnTo>
                  <a:lnTo>
                    <a:pt x="637" y="739"/>
                  </a:lnTo>
                  <a:lnTo>
                    <a:pt x="648" y="733"/>
                  </a:lnTo>
                  <a:lnTo>
                    <a:pt x="658" y="727"/>
                  </a:lnTo>
                  <a:lnTo>
                    <a:pt x="669" y="720"/>
                  </a:lnTo>
                  <a:lnTo>
                    <a:pt x="679" y="711"/>
                  </a:lnTo>
                  <a:lnTo>
                    <a:pt x="722" y="667"/>
                  </a:lnTo>
                  <a:lnTo>
                    <a:pt x="729" y="661"/>
                  </a:lnTo>
                  <a:lnTo>
                    <a:pt x="734" y="653"/>
                  </a:lnTo>
                  <a:lnTo>
                    <a:pt x="738" y="646"/>
                  </a:lnTo>
                  <a:lnTo>
                    <a:pt x="742" y="637"/>
                  </a:lnTo>
                  <a:lnTo>
                    <a:pt x="745" y="629"/>
                  </a:lnTo>
                  <a:lnTo>
                    <a:pt x="747" y="620"/>
                  </a:lnTo>
                  <a:lnTo>
                    <a:pt x="748" y="612"/>
                  </a:lnTo>
                  <a:lnTo>
                    <a:pt x="749" y="603"/>
                  </a:lnTo>
                  <a:lnTo>
                    <a:pt x="748" y="594"/>
                  </a:lnTo>
                  <a:lnTo>
                    <a:pt x="747" y="586"/>
                  </a:lnTo>
                  <a:lnTo>
                    <a:pt x="745" y="577"/>
                  </a:lnTo>
                  <a:lnTo>
                    <a:pt x="742" y="569"/>
                  </a:lnTo>
                  <a:lnTo>
                    <a:pt x="738" y="561"/>
                  </a:lnTo>
                  <a:lnTo>
                    <a:pt x="734" y="554"/>
                  </a:lnTo>
                  <a:lnTo>
                    <a:pt x="729" y="546"/>
                  </a:lnTo>
                  <a:lnTo>
                    <a:pt x="722" y="539"/>
                  </a:lnTo>
                  <a:lnTo>
                    <a:pt x="642"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6">
              <a:extLst>
                <a:ext uri="{FF2B5EF4-FFF2-40B4-BE49-F238E27FC236}">
                  <a16:creationId xmlns:a16="http://schemas.microsoft.com/office/drawing/2014/main" id="{34BD75DD-CED4-4D08-91E1-C2D995935497}"/>
                </a:ext>
              </a:extLst>
            </p:cNvPr>
            <p:cNvSpPr>
              <a:spLocks/>
            </p:cNvSpPr>
            <p:nvPr/>
          </p:nvSpPr>
          <p:spPr bwMode="auto">
            <a:xfrm>
              <a:off x="1608138" y="766763"/>
              <a:ext cx="146050" cy="146050"/>
            </a:xfrm>
            <a:custGeom>
              <a:avLst/>
              <a:gdLst>
                <a:gd name="T0" fmla="*/ 11 w 464"/>
                <a:gd name="T1" fmla="*/ 0 h 464"/>
                <a:gd name="T2" fmla="*/ 6 w 464"/>
                <a:gd name="T3" fmla="*/ 2 h 464"/>
                <a:gd name="T4" fmla="*/ 2 w 464"/>
                <a:gd name="T5" fmla="*/ 6 h 464"/>
                <a:gd name="T6" fmla="*/ 0 w 464"/>
                <a:gd name="T7" fmla="*/ 12 h 464"/>
                <a:gd name="T8" fmla="*/ 0 w 464"/>
                <a:gd name="T9" fmla="*/ 18 h 464"/>
                <a:gd name="T10" fmla="*/ 2 w 464"/>
                <a:gd name="T11" fmla="*/ 23 h 464"/>
                <a:gd name="T12" fmla="*/ 6 w 464"/>
                <a:gd name="T13" fmla="*/ 28 h 464"/>
                <a:gd name="T14" fmla="*/ 11 w 464"/>
                <a:gd name="T15" fmla="*/ 30 h 464"/>
                <a:gd name="T16" fmla="*/ 36 w 464"/>
                <a:gd name="T17" fmla="*/ 30 h 464"/>
                <a:gd name="T18" fmla="*/ 78 w 464"/>
                <a:gd name="T19" fmla="*/ 34 h 464"/>
                <a:gd name="T20" fmla="*/ 119 w 464"/>
                <a:gd name="T21" fmla="*/ 43 h 464"/>
                <a:gd name="T22" fmla="*/ 158 w 464"/>
                <a:gd name="T23" fmla="*/ 56 h 464"/>
                <a:gd name="T24" fmla="*/ 196 w 464"/>
                <a:gd name="T25" fmla="*/ 72 h 464"/>
                <a:gd name="T26" fmla="*/ 232 w 464"/>
                <a:gd name="T27" fmla="*/ 91 h 464"/>
                <a:gd name="T28" fmla="*/ 265 w 464"/>
                <a:gd name="T29" fmla="*/ 113 h 464"/>
                <a:gd name="T30" fmla="*/ 296 w 464"/>
                <a:gd name="T31" fmla="*/ 139 h 464"/>
                <a:gd name="T32" fmla="*/ 325 w 464"/>
                <a:gd name="T33" fmla="*/ 168 h 464"/>
                <a:gd name="T34" fmla="*/ 351 w 464"/>
                <a:gd name="T35" fmla="*/ 199 h 464"/>
                <a:gd name="T36" fmla="*/ 373 w 464"/>
                <a:gd name="T37" fmla="*/ 232 h 464"/>
                <a:gd name="T38" fmla="*/ 392 w 464"/>
                <a:gd name="T39" fmla="*/ 267 h 464"/>
                <a:gd name="T40" fmla="*/ 408 w 464"/>
                <a:gd name="T41" fmla="*/ 305 h 464"/>
                <a:gd name="T42" fmla="*/ 421 w 464"/>
                <a:gd name="T43" fmla="*/ 344 h 464"/>
                <a:gd name="T44" fmla="*/ 429 w 464"/>
                <a:gd name="T45" fmla="*/ 386 h 464"/>
                <a:gd name="T46" fmla="*/ 434 w 464"/>
                <a:gd name="T47" fmla="*/ 428 h 464"/>
                <a:gd name="T48" fmla="*/ 434 w 464"/>
                <a:gd name="T49" fmla="*/ 452 h 464"/>
                <a:gd name="T50" fmla="*/ 436 w 464"/>
                <a:gd name="T51" fmla="*/ 458 h 464"/>
                <a:gd name="T52" fmla="*/ 440 w 464"/>
                <a:gd name="T53" fmla="*/ 462 h 464"/>
                <a:gd name="T54" fmla="*/ 446 w 464"/>
                <a:gd name="T55" fmla="*/ 464 h 464"/>
                <a:gd name="T56" fmla="*/ 452 w 464"/>
                <a:gd name="T57" fmla="*/ 464 h 464"/>
                <a:gd name="T58" fmla="*/ 457 w 464"/>
                <a:gd name="T59" fmla="*/ 462 h 464"/>
                <a:gd name="T60" fmla="*/ 462 w 464"/>
                <a:gd name="T61" fmla="*/ 458 h 464"/>
                <a:gd name="T62" fmla="*/ 464 w 464"/>
                <a:gd name="T63" fmla="*/ 452 h 464"/>
                <a:gd name="T64" fmla="*/ 463 w 464"/>
                <a:gd name="T65" fmla="*/ 427 h 464"/>
                <a:gd name="T66" fmla="*/ 459 w 464"/>
                <a:gd name="T67" fmla="*/ 381 h 464"/>
                <a:gd name="T68" fmla="*/ 450 w 464"/>
                <a:gd name="T69" fmla="*/ 337 h 464"/>
                <a:gd name="T70" fmla="*/ 436 w 464"/>
                <a:gd name="T71" fmla="*/ 295 h 464"/>
                <a:gd name="T72" fmla="*/ 420 w 464"/>
                <a:gd name="T73" fmla="*/ 254 h 464"/>
                <a:gd name="T74" fmla="*/ 399 w 464"/>
                <a:gd name="T75" fmla="*/ 216 h 464"/>
                <a:gd name="T76" fmla="*/ 374 w 464"/>
                <a:gd name="T77" fmla="*/ 181 h 464"/>
                <a:gd name="T78" fmla="*/ 347 w 464"/>
                <a:gd name="T79" fmla="*/ 148 h 464"/>
                <a:gd name="T80" fmla="*/ 316 w 464"/>
                <a:gd name="T81" fmla="*/ 116 h 464"/>
                <a:gd name="T82" fmla="*/ 283 w 464"/>
                <a:gd name="T83" fmla="*/ 90 h 464"/>
                <a:gd name="T84" fmla="*/ 248 w 464"/>
                <a:gd name="T85" fmla="*/ 65 h 464"/>
                <a:gd name="T86" fmla="*/ 209 w 464"/>
                <a:gd name="T87" fmla="*/ 44 h 464"/>
                <a:gd name="T88" fmla="*/ 169 w 464"/>
                <a:gd name="T89" fmla="*/ 27 h 464"/>
                <a:gd name="T90" fmla="*/ 127 w 464"/>
                <a:gd name="T91" fmla="*/ 14 h 464"/>
                <a:gd name="T92" fmla="*/ 83 w 464"/>
                <a:gd name="T93" fmla="*/ 5 h 464"/>
                <a:gd name="T94" fmla="*/ 37 w 464"/>
                <a:gd name="T95" fmla="*/ 0 h 464"/>
                <a:gd name="T96" fmla="*/ 15 w 464"/>
                <a:gd name="T97"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4" h="464">
                  <a:moveTo>
                    <a:pt x="15" y="0"/>
                  </a:moveTo>
                  <a:lnTo>
                    <a:pt x="11" y="0"/>
                  </a:lnTo>
                  <a:lnTo>
                    <a:pt x="8" y="1"/>
                  </a:lnTo>
                  <a:lnTo>
                    <a:pt x="6" y="2"/>
                  </a:lnTo>
                  <a:lnTo>
                    <a:pt x="4" y="4"/>
                  </a:lnTo>
                  <a:lnTo>
                    <a:pt x="2" y="6"/>
                  </a:lnTo>
                  <a:lnTo>
                    <a:pt x="1" y="8"/>
                  </a:lnTo>
                  <a:lnTo>
                    <a:pt x="0" y="12"/>
                  </a:lnTo>
                  <a:lnTo>
                    <a:pt x="0" y="15"/>
                  </a:lnTo>
                  <a:lnTo>
                    <a:pt x="0" y="18"/>
                  </a:lnTo>
                  <a:lnTo>
                    <a:pt x="1" y="20"/>
                  </a:lnTo>
                  <a:lnTo>
                    <a:pt x="2" y="23"/>
                  </a:lnTo>
                  <a:lnTo>
                    <a:pt x="4" y="26"/>
                  </a:lnTo>
                  <a:lnTo>
                    <a:pt x="6" y="28"/>
                  </a:lnTo>
                  <a:lnTo>
                    <a:pt x="8" y="29"/>
                  </a:lnTo>
                  <a:lnTo>
                    <a:pt x="11" y="30"/>
                  </a:lnTo>
                  <a:lnTo>
                    <a:pt x="15" y="30"/>
                  </a:lnTo>
                  <a:lnTo>
                    <a:pt x="36" y="30"/>
                  </a:lnTo>
                  <a:lnTo>
                    <a:pt x="57" y="32"/>
                  </a:lnTo>
                  <a:lnTo>
                    <a:pt x="78" y="34"/>
                  </a:lnTo>
                  <a:lnTo>
                    <a:pt x="99" y="38"/>
                  </a:lnTo>
                  <a:lnTo>
                    <a:pt x="119" y="43"/>
                  </a:lnTo>
                  <a:lnTo>
                    <a:pt x="139" y="49"/>
                  </a:lnTo>
                  <a:lnTo>
                    <a:pt x="158" y="56"/>
                  </a:lnTo>
                  <a:lnTo>
                    <a:pt x="177" y="63"/>
                  </a:lnTo>
                  <a:lnTo>
                    <a:pt x="196" y="72"/>
                  </a:lnTo>
                  <a:lnTo>
                    <a:pt x="215" y="80"/>
                  </a:lnTo>
                  <a:lnTo>
                    <a:pt x="232" y="91"/>
                  </a:lnTo>
                  <a:lnTo>
                    <a:pt x="249" y="102"/>
                  </a:lnTo>
                  <a:lnTo>
                    <a:pt x="265" y="113"/>
                  </a:lnTo>
                  <a:lnTo>
                    <a:pt x="281" y="126"/>
                  </a:lnTo>
                  <a:lnTo>
                    <a:pt x="296" y="139"/>
                  </a:lnTo>
                  <a:lnTo>
                    <a:pt x="311" y="153"/>
                  </a:lnTo>
                  <a:lnTo>
                    <a:pt x="325" y="168"/>
                  </a:lnTo>
                  <a:lnTo>
                    <a:pt x="338" y="183"/>
                  </a:lnTo>
                  <a:lnTo>
                    <a:pt x="351" y="199"/>
                  </a:lnTo>
                  <a:lnTo>
                    <a:pt x="362" y="215"/>
                  </a:lnTo>
                  <a:lnTo>
                    <a:pt x="373" y="232"/>
                  </a:lnTo>
                  <a:lnTo>
                    <a:pt x="384" y="249"/>
                  </a:lnTo>
                  <a:lnTo>
                    <a:pt x="392" y="267"/>
                  </a:lnTo>
                  <a:lnTo>
                    <a:pt x="401" y="287"/>
                  </a:lnTo>
                  <a:lnTo>
                    <a:pt x="408" y="305"/>
                  </a:lnTo>
                  <a:lnTo>
                    <a:pt x="415" y="325"/>
                  </a:lnTo>
                  <a:lnTo>
                    <a:pt x="421" y="344"/>
                  </a:lnTo>
                  <a:lnTo>
                    <a:pt x="425" y="365"/>
                  </a:lnTo>
                  <a:lnTo>
                    <a:pt x="429" y="386"/>
                  </a:lnTo>
                  <a:lnTo>
                    <a:pt x="432" y="406"/>
                  </a:lnTo>
                  <a:lnTo>
                    <a:pt x="434" y="428"/>
                  </a:lnTo>
                  <a:lnTo>
                    <a:pt x="434" y="449"/>
                  </a:lnTo>
                  <a:lnTo>
                    <a:pt x="434" y="452"/>
                  </a:lnTo>
                  <a:lnTo>
                    <a:pt x="435" y="456"/>
                  </a:lnTo>
                  <a:lnTo>
                    <a:pt x="436" y="458"/>
                  </a:lnTo>
                  <a:lnTo>
                    <a:pt x="438" y="460"/>
                  </a:lnTo>
                  <a:lnTo>
                    <a:pt x="440" y="462"/>
                  </a:lnTo>
                  <a:lnTo>
                    <a:pt x="444" y="463"/>
                  </a:lnTo>
                  <a:lnTo>
                    <a:pt x="446" y="464"/>
                  </a:lnTo>
                  <a:lnTo>
                    <a:pt x="449" y="464"/>
                  </a:lnTo>
                  <a:lnTo>
                    <a:pt x="452" y="464"/>
                  </a:lnTo>
                  <a:lnTo>
                    <a:pt x="454" y="463"/>
                  </a:lnTo>
                  <a:lnTo>
                    <a:pt x="457" y="462"/>
                  </a:lnTo>
                  <a:lnTo>
                    <a:pt x="460" y="460"/>
                  </a:lnTo>
                  <a:lnTo>
                    <a:pt x="462" y="458"/>
                  </a:lnTo>
                  <a:lnTo>
                    <a:pt x="463" y="456"/>
                  </a:lnTo>
                  <a:lnTo>
                    <a:pt x="464" y="452"/>
                  </a:lnTo>
                  <a:lnTo>
                    <a:pt x="464" y="449"/>
                  </a:lnTo>
                  <a:lnTo>
                    <a:pt x="463" y="427"/>
                  </a:lnTo>
                  <a:lnTo>
                    <a:pt x="462" y="403"/>
                  </a:lnTo>
                  <a:lnTo>
                    <a:pt x="459" y="381"/>
                  </a:lnTo>
                  <a:lnTo>
                    <a:pt x="454" y="359"/>
                  </a:lnTo>
                  <a:lnTo>
                    <a:pt x="450" y="337"/>
                  </a:lnTo>
                  <a:lnTo>
                    <a:pt x="444" y="315"/>
                  </a:lnTo>
                  <a:lnTo>
                    <a:pt x="436" y="295"/>
                  </a:lnTo>
                  <a:lnTo>
                    <a:pt x="429" y="275"/>
                  </a:lnTo>
                  <a:lnTo>
                    <a:pt x="420" y="254"/>
                  </a:lnTo>
                  <a:lnTo>
                    <a:pt x="409" y="235"/>
                  </a:lnTo>
                  <a:lnTo>
                    <a:pt x="399" y="216"/>
                  </a:lnTo>
                  <a:lnTo>
                    <a:pt x="387" y="198"/>
                  </a:lnTo>
                  <a:lnTo>
                    <a:pt x="374" y="181"/>
                  </a:lnTo>
                  <a:lnTo>
                    <a:pt x="361" y="164"/>
                  </a:lnTo>
                  <a:lnTo>
                    <a:pt x="347" y="148"/>
                  </a:lnTo>
                  <a:lnTo>
                    <a:pt x="332" y="131"/>
                  </a:lnTo>
                  <a:lnTo>
                    <a:pt x="316" y="116"/>
                  </a:lnTo>
                  <a:lnTo>
                    <a:pt x="300" y="103"/>
                  </a:lnTo>
                  <a:lnTo>
                    <a:pt x="283" y="90"/>
                  </a:lnTo>
                  <a:lnTo>
                    <a:pt x="266" y="77"/>
                  </a:lnTo>
                  <a:lnTo>
                    <a:pt x="248" y="65"/>
                  </a:lnTo>
                  <a:lnTo>
                    <a:pt x="229" y="54"/>
                  </a:lnTo>
                  <a:lnTo>
                    <a:pt x="209" y="44"/>
                  </a:lnTo>
                  <a:lnTo>
                    <a:pt x="189" y="35"/>
                  </a:lnTo>
                  <a:lnTo>
                    <a:pt x="169" y="27"/>
                  </a:lnTo>
                  <a:lnTo>
                    <a:pt x="148" y="20"/>
                  </a:lnTo>
                  <a:lnTo>
                    <a:pt x="127" y="14"/>
                  </a:lnTo>
                  <a:lnTo>
                    <a:pt x="105" y="8"/>
                  </a:lnTo>
                  <a:lnTo>
                    <a:pt x="83" y="5"/>
                  </a:lnTo>
                  <a:lnTo>
                    <a:pt x="61" y="2"/>
                  </a:lnTo>
                  <a:lnTo>
                    <a:pt x="37"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7">
              <a:extLst>
                <a:ext uri="{FF2B5EF4-FFF2-40B4-BE49-F238E27FC236}">
                  <a16:creationId xmlns:a16="http://schemas.microsoft.com/office/drawing/2014/main" id="{8752C96D-36B3-4AB7-B981-3E167BDB631C}"/>
                </a:ext>
              </a:extLst>
            </p:cNvPr>
            <p:cNvSpPr>
              <a:spLocks/>
            </p:cNvSpPr>
            <p:nvPr/>
          </p:nvSpPr>
          <p:spPr bwMode="auto">
            <a:xfrm>
              <a:off x="1608138" y="814388"/>
              <a:ext cx="98425" cy="98425"/>
            </a:xfrm>
            <a:custGeom>
              <a:avLst/>
              <a:gdLst>
                <a:gd name="T0" fmla="*/ 29 w 313"/>
                <a:gd name="T1" fmla="*/ 31 h 313"/>
                <a:gd name="T2" fmla="*/ 55 w 313"/>
                <a:gd name="T3" fmla="*/ 33 h 313"/>
                <a:gd name="T4" fmla="*/ 81 w 313"/>
                <a:gd name="T5" fmla="*/ 38 h 313"/>
                <a:gd name="T6" fmla="*/ 107 w 313"/>
                <a:gd name="T7" fmla="*/ 46 h 313"/>
                <a:gd name="T8" fmla="*/ 130 w 313"/>
                <a:gd name="T9" fmla="*/ 56 h 313"/>
                <a:gd name="T10" fmla="*/ 154 w 313"/>
                <a:gd name="T11" fmla="*/ 69 h 313"/>
                <a:gd name="T12" fmla="*/ 175 w 313"/>
                <a:gd name="T13" fmla="*/ 83 h 313"/>
                <a:gd name="T14" fmla="*/ 194 w 313"/>
                <a:gd name="T15" fmla="*/ 99 h 313"/>
                <a:gd name="T16" fmla="*/ 213 w 313"/>
                <a:gd name="T17" fmla="*/ 118 h 313"/>
                <a:gd name="T18" fmla="*/ 230 w 313"/>
                <a:gd name="T19" fmla="*/ 138 h 313"/>
                <a:gd name="T20" fmla="*/ 244 w 313"/>
                <a:gd name="T21" fmla="*/ 159 h 313"/>
                <a:gd name="T22" fmla="*/ 256 w 313"/>
                <a:gd name="T23" fmla="*/ 182 h 313"/>
                <a:gd name="T24" fmla="*/ 266 w 313"/>
                <a:gd name="T25" fmla="*/ 206 h 313"/>
                <a:gd name="T26" fmla="*/ 275 w 313"/>
                <a:gd name="T27" fmla="*/ 232 h 313"/>
                <a:gd name="T28" fmla="*/ 280 w 313"/>
                <a:gd name="T29" fmla="*/ 258 h 313"/>
                <a:gd name="T30" fmla="*/ 282 w 313"/>
                <a:gd name="T31" fmla="*/ 284 h 313"/>
                <a:gd name="T32" fmla="*/ 283 w 313"/>
                <a:gd name="T33" fmla="*/ 301 h 313"/>
                <a:gd name="T34" fmla="*/ 285 w 313"/>
                <a:gd name="T35" fmla="*/ 307 h 313"/>
                <a:gd name="T36" fmla="*/ 290 w 313"/>
                <a:gd name="T37" fmla="*/ 311 h 313"/>
                <a:gd name="T38" fmla="*/ 295 w 313"/>
                <a:gd name="T39" fmla="*/ 313 h 313"/>
                <a:gd name="T40" fmla="*/ 301 w 313"/>
                <a:gd name="T41" fmla="*/ 313 h 313"/>
                <a:gd name="T42" fmla="*/ 307 w 313"/>
                <a:gd name="T43" fmla="*/ 311 h 313"/>
                <a:gd name="T44" fmla="*/ 310 w 313"/>
                <a:gd name="T45" fmla="*/ 307 h 313"/>
                <a:gd name="T46" fmla="*/ 312 w 313"/>
                <a:gd name="T47" fmla="*/ 301 h 313"/>
                <a:gd name="T48" fmla="*/ 312 w 313"/>
                <a:gd name="T49" fmla="*/ 283 h 313"/>
                <a:gd name="T50" fmla="*/ 309 w 313"/>
                <a:gd name="T51" fmla="*/ 253 h 313"/>
                <a:gd name="T52" fmla="*/ 303 w 313"/>
                <a:gd name="T53" fmla="*/ 224 h 313"/>
                <a:gd name="T54" fmla="*/ 295 w 313"/>
                <a:gd name="T55" fmla="*/ 195 h 313"/>
                <a:gd name="T56" fmla="*/ 283 w 313"/>
                <a:gd name="T57" fmla="*/ 169 h 313"/>
                <a:gd name="T58" fmla="*/ 269 w 313"/>
                <a:gd name="T59" fmla="*/ 144 h 313"/>
                <a:gd name="T60" fmla="*/ 253 w 313"/>
                <a:gd name="T61" fmla="*/ 120 h 313"/>
                <a:gd name="T62" fmla="*/ 235 w 313"/>
                <a:gd name="T63" fmla="*/ 98 h 313"/>
                <a:gd name="T64" fmla="*/ 215 w 313"/>
                <a:gd name="T65" fmla="*/ 78 h 313"/>
                <a:gd name="T66" fmla="*/ 193 w 313"/>
                <a:gd name="T67" fmla="*/ 60 h 313"/>
                <a:gd name="T68" fmla="*/ 169 w 313"/>
                <a:gd name="T69" fmla="*/ 44 h 313"/>
                <a:gd name="T70" fmla="*/ 144 w 313"/>
                <a:gd name="T71" fmla="*/ 30 h 313"/>
                <a:gd name="T72" fmla="*/ 117 w 313"/>
                <a:gd name="T73" fmla="*/ 18 h 313"/>
                <a:gd name="T74" fmla="*/ 88 w 313"/>
                <a:gd name="T75" fmla="*/ 9 h 313"/>
                <a:gd name="T76" fmla="*/ 60 w 313"/>
                <a:gd name="T77" fmla="*/ 3 h 313"/>
                <a:gd name="T78" fmla="*/ 30 w 313"/>
                <a:gd name="T79" fmla="*/ 1 h 313"/>
                <a:gd name="T80" fmla="*/ 11 w 313"/>
                <a:gd name="T81" fmla="*/ 1 h 313"/>
                <a:gd name="T82" fmla="*/ 6 w 313"/>
                <a:gd name="T83" fmla="*/ 3 h 313"/>
                <a:gd name="T84" fmla="*/ 2 w 313"/>
                <a:gd name="T85" fmla="*/ 6 h 313"/>
                <a:gd name="T86" fmla="*/ 0 w 313"/>
                <a:gd name="T87" fmla="*/ 11 h 313"/>
                <a:gd name="T88" fmla="*/ 0 w 313"/>
                <a:gd name="T89" fmla="*/ 18 h 313"/>
                <a:gd name="T90" fmla="*/ 2 w 313"/>
                <a:gd name="T91" fmla="*/ 23 h 313"/>
                <a:gd name="T92" fmla="*/ 6 w 313"/>
                <a:gd name="T93" fmla="*/ 28 h 313"/>
                <a:gd name="T94" fmla="*/ 11 w 313"/>
                <a:gd name="T95" fmla="*/ 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3" h="313">
                  <a:moveTo>
                    <a:pt x="15" y="30"/>
                  </a:moveTo>
                  <a:lnTo>
                    <a:pt x="29" y="31"/>
                  </a:lnTo>
                  <a:lnTo>
                    <a:pt x="41" y="32"/>
                  </a:lnTo>
                  <a:lnTo>
                    <a:pt x="55" y="33"/>
                  </a:lnTo>
                  <a:lnTo>
                    <a:pt x="68" y="35"/>
                  </a:lnTo>
                  <a:lnTo>
                    <a:pt x="81" y="38"/>
                  </a:lnTo>
                  <a:lnTo>
                    <a:pt x="94" y="43"/>
                  </a:lnTo>
                  <a:lnTo>
                    <a:pt x="107" y="46"/>
                  </a:lnTo>
                  <a:lnTo>
                    <a:pt x="118" y="51"/>
                  </a:lnTo>
                  <a:lnTo>
                    <a:pt x="130" y="56"/>
                  </a:lnTo>
                  <a:lnTo>
                    <a:pt x="142" y="63"/>
                  </a:lnTo>
                  <a:lnTo>
                    <a:pt x="154" y="69"/>
                  </a:lnTo>
                  <a:lnTo>
                    <a:pt x="164" y="76"/>
                  </a:lnTo>
                  <a:lnTo>
                    <a:pt x="175" y="83"/>
                  </a:lnTo>
                  <a:lnTo>
                    <a:pt x="185" y="92"/>
                  </a:lnTo>
                  <a:lnTo>
                    <a:pt x="194" y="99"/>
                  </a:lnTo>
                  <a:lnTo>
                    <a:pt x="204" y="109"/>
                  </a:lnTo>
                  <a:lnTo>
                    <a:pt x="213" y="118"/>
                  </a:lnTo>
                  <a:lnTo>
                    <a:pt x="221" y="128"/>
                  </a:lnTo>
                  <a:lnTo>
                    <a:pt x="230" y="138"/>
                  </a:lnTo>
                  <a:lnTo>
                    <a:pt x="237" y="148"/>
                  </a:lnTo>
                  <a:lnTo>
                    <a:pt x="244" y="159"/>
                  </a:lnTo>
                  <a:lnTo>
                    <a:pt x="250" y="171"/>
                  </a:lnTo>
                  <a:lnTo>
                    <a:pt x="256" y="182"/>
                  </a:lnTo>
                  <a:lnTo>
                    <a:pt x="262" y="194"/>
                  </a:lnTo>
                  <a:lnTo>
                    <a:pt x="266" y="206"/>
                  </a:lnTo>
                  <a:lnTo>
                    <a:pt x="270" y="219"/>
                  </a:lnTo>
                  <a:lnTo>
                    <a:pt x="275" y="232"/>
                  </a:lnTo>
                  <a:lnTo>
                    <a:pt x="278" y="245"/>
                  </a:lnTo>
                  <a:lnTo>
                    <a:pt x="280" y="258"/>
                  </a:lnTo>
                  <a:lnTo>
                    <a:pt x="281" y="271"/>
                  </a:lnTo>
                  <a:lnTo>
                    <a:pt x="282" y="284"/>
                  </a:lnTo>
                  <a:lnTo>
                    <a:pt x="283" y="298"/>
                  </a:lnTo>
                  <a:lnTo>
                    <a:pt x="283" y="301"/>
                  </a:lnTo>
                  <a:lnTo>
                    <a:pt x="284" y="305"/>
                  </a:lnTo>
                  <a:lnTo>
                    <a:pt x="285" y="307"/>
                  </a:lnTo>
                  <a:lnTo>
                    <a:pt x="287" y="309"/>
                  </a:lnTo>
                  <a:lnTo>
                    <a:pt x="290" y="311"/>
                  </a:lnTo>
                  <a:lnTo>
                    <a:pt x="292" y="312"/>
                  </a:lnTo>
                  <a:lnTo>
                    <a:pt x="295" y="313"/>
                  </a:lnTo>
                  <a:lnTo>
                    <a:pt x="298" y="313"/>
                  </a:lnTo>
                  <a:lnTo>
                    <a:pt x="301" y="313"/>
                  </a:lnTo>
                  <a:lnTo>
                    <a:pt x="303" y="312"/>
                  </a:lnTo>
                  <a:lnTo>
                    <a:pt x="307" y="311"/>
                  </a:lnTo>
                  <a:lnTo>
                    <a:pt x="309" y="309"/>
                  </a:lnTo>
                  <a:lnTo>
                    <a:pt x="310" y="307"/>
                  </a:lnTo>
                  <a:lnTo>
                    <a:pt x="312" y="305"/>
                  </a:lnTo>
                  <a:lnTo>
                    <a:pt x="312" y="301"/>
                  </a:lnTo>
                  <a:lnTo>
                    <a:pt x="313" y="298"/>
                  </a:lnTo>
                  <a:lnTo>
                    <a:pt x="312" y="283"/>
                  </a:lnTo>
                  <a:lnTo>
                    <a:pt x="311" y="268"/>
                  </a:lnTo>
                  <a:lnTo>
                    <a:pt x="309" y="253"/>
                  </a:lnTo>
                  <a:lnTo>
                    <a:pt x="307" y="238"/>
                  </a:lnTo>
                  <a:lnTo>
                    <a:pt x="303" y="224"/>
                  </a:lnTo>
                  <a:lnTo>
                    <a:pt x="299" y="209"/>
                  </a:lnTo>
                  <a:lnTo>
                    <a:pt x="295" y="195"/>
                  </a:lnTo>
                  <a:lnTo>
                    <a:pt x="290" y="183"/>
                  </a:lnTo>
                  <a:lnTo>
                    <a:pt x="283" y="169"/>
                  </a:lnTo>
                  <a:lnTo>
                    <a:pt x="277" y="156"/>
                  </a:lnTo>
                  <a:lnTo>
                    <a:pt x="269" y="144"/>
                  </a:lnTo>
                  <a:lnTo>
                    <a:pt x="262" y="131"/>
                  </a:lnTo>
                  <a:lnTo>
                    <a:pt x="253" y="120"/>
                  </a:lnTo>
                  <a:lnTo>
                    <a:pt x="245" y="109"/>
                  </a:lnTo>
                  <a:lnTo>
                    <a:pt x="235" y="98"/>
                  </a:lnTo>
                  <a:lnTo>
                    <a:pt x="225" y="87"/>
                  </a:lnTo>
                  <a:lnTo>
                    <a:pt x="215" y="78"/>
                  </a:lnTo>
                  <a:lnTo>
                    <a:pt x="204" y="68"/>
                  </a:lnTo>
                  <a:lnTo>
                    <a:pt x="193" y="60"/>
                  </a:lnTo>
                  <a:lnTo>
                    <a:pt x="182" y="51"/>
                  </a:lnTo>
                  <a:lnTo>
                    <a:pt x="169" y="44"/>
                  </a:lnTo>
                  <a:lnTo>
                    <a:pt x="157" y="36"/>
                  </a:lnTo>
                  <a:lnTo>
                    <a:pt x="144" y="30"/>
                  </a:lnTo>
                  <a:lnTo>
                    <a:pt x="130" y="23"/>
                  </a:lnTo>
                  <a:lnTo>
                    <a:pt x="117" y="18"/>
                  </a:lnTo>
                  <a:lnTo>
                    <a:pt x="103" y="14"/>
                  </a:lnTo>
                  <a:lnTo>
                    <a:pt x="88" y="9"/>
                  </a:lnTo>
                  <a:lnTo>
                    <a:pt x="75" y="6"/>
                  </a:lnTo>
                  <a:lnTo>
                    <a:pt x="60" y="3"/>
                  </a:lnTo>
                  <a:lnTo>
                    <a:pt x="45" y="2"/>
                  </a:lnTo>
                  <a:lnTo>
                    <a:pt x="30" y="1"/>
                  </a:lnTo>
                  <a:lnTo>
                    <a:pt x="15" y="0"/>
                  </a:lnTo>
                  <a:lnTo>
                    <a:pt x="11" y="1"/>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8">
              <a:extLst>
                <a:ext uri="{FF2B5EF4-FFF2-40B4-BE49-F238E27FC236}">
                  <a16:creationId xmlns:a16="http://schemas.microsoft.com/office/drawing/2014/main" id="{13D4B481-4960-45AB-BC0A-6BF582F6117B}"/>
                </a:ext>
              </a:extLst>
            </p:cNvPr>
            <p:cNvSpPr>
              <a:spLocks/>
            </p:cNvSpPr>
            <p:nvPr/>
          </p:nvSpPr>
          <p:spPr bwMode="auto">
            <a:xfrm>
              <a:off x="1608138" y="862013"/>
              <a:ext cx="50800" cy="50800"/>
            </a:xfrm>
            <a:custGeom>
              <a:avLst/>
              <a:gdLst>
                <a:gd name="T0" fmla="*/ 26 w 161"/>
                <a:gd name="T1" fmla="*/ 31 h 162"/>
                <a:gd name="T2" fmla="*/ 49 w 161"/>
                <a:gd name="T3" fmla="*/ 35 h 162"/>
                <a:gd name="T4" fmla="*/ 70 w 161"/>
                <a:gd name="T5" fmla="*/ 44 h 162"/>
                <a:gd name="T6" fmla="*/ 88 w 161"/>
                <a:gd name="T7" fmla="*/ 57 h 162"/>
                <a:gd name="T8" fmla="*/ 105 w 161"/>
                <a:gd name="T9" fmla="*/ 72 h 162"/>
                <a:gd name="T10" fmla="*/ 117 w 161"/>
                <a:gd name="T11" fmla="*/ 92 h 162"/>
                <a:gd name="T12" fmla="*/ 126 w 161"/>
                <a:gd name="T13" fmla="*/ 113 h 162"/>
                <a:gd name="T14" fmla="*/ 131 w 161"/>
                <a:gd name="T15" fmla="*/ 135 h 162"/>
                <a:gd name="T16" fmla="*/ 132 w 161"/>
                <a:gd name="T17" fmla="*/ 150 h 162"/>
                <a:gd name="T18" fmla="*/ 134 w 161"/>
                <a:gd name="T19" fmla="*/ 156 h 162"/>
                <a:gd name="T20" fmla="*/ 139 w 161"/>
                <a:gd name="T21" fmla="*/ 160 h 162"/>
                <a:gd name="T22" fmla="*/ 144 w 161"/>
                <a:gd name="T23" fmla="*/ 162 h 162"/>
                <a:gd name="T24" fmla="*/ 149 w 161"/>
                <a:gd name="T25" fmla="*/ 162 h 162"/>
                <a:gd name="T26" fmla="*/ 155 w 161"/>
                <a:gd name="T27" fmla="*/ 160 h 162"/>
                <a:gd name="T28" fmla="*/ 159 w 161"/>
                <a:gd name="T29" fmla="*/ 156 h 162"/>
                <a:gd name="T30" fmla="*/ 161 w 161"/>
                <a:gd name="T31" fmla="*/ 150 h 162"/>
                <a:gd name="T32" fmla="*/ 161 w 161"/>
                <a:gd name="T33" fmla="*/ 132 h 162"/>
                <a:gd name="T34" fmla="*/ 155 w 161"/>
                <a:gd name="T35" fmla="*/ 103 h 162"/>
                <a:gd name="T36" fmla="*/ 144 w 161"/>
                <a:gd name="T37" fmla="*/ 78 h 162"/>
                <a:gd name="T38" fmla="*/ 128 w 161"/>
                <a:gd name="T39" fmla="*/ 54 h 162"/>
                <a:gd name="T40" fmla="*/ 108 w 161"/>
                <a:gd name="T41" fmla="*/ 34 h 162"/>
                <a:gd name="T42" fmla="*/ 84 w 161"/>
                <a:gd name="T43" fmla="*/ 18 h 162"/>
                <a:gd name="T44" fmla="*/ 59 w 161"/>
                <a:gd name="T45" fmla="*/ 7 h 162"/>
                <a:gd name="T46" fmla="*/ 30 w 161"/>
                <a:gd name="T47" fmla="*/ 1 h 162"/>
                <a:gd name="T48" fmla="*/ 11 w 161"/>
                <a:gd name="T49" fmla="*/ 1 h 162"/>
                <a:gd name="T50" fmla="*/ 6 w 161"/>
                <a:gd name="T51" fmla="*/ 3 h 162"/>
                <a:gd name="T52" fmla="*/ 2 w 161"/>
                <a:gd name="T53" fmla="*/ 7 h 162"/>
                <a:gd name="T54" fmla="*/ 0 w 161"/>
                <a:gd name="T55" fmla="*/ 12 h 162"/>
                <a:gd name="T56" fmla="*/ 0 w 161"/>
                <a:gd name="T57" fmla="*/ 18 h 162"/>
                <a:gd name="T58" fmla="*/ 2 w 161"/>
                <a:gd name="T59" fmla="*/ 23 h 162"/>
                <a:gd name="T60" fmla="*/ 6 w 161"/>
                <a:gd name="T61" fmla="*/ 27 h 162"/>
                <a:gd name="T62" fmla="*/ 11 w 161"/>
                <a:gd name="T63" fmla="*/ 2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1" h="162">
                  <a:moveTo>
                    <a:pt x="15" y="29"/>
                  </a:moveTo>
                  <a:lnTo>
                    <a:pt x="26" y="31"/>
                  </a:lnTo>
                  <a:lnTo>
                    <a:pt x="38" y="33"/>
                  </a:lnTo>
                  <a:lnTo>
                    <a:pt x="49" y="35"/>
                  </a:lnTo>
                  <a:lnTo>
                    <a:pt x="60" y="39"/>
                  </a:lnTo>
                  <a:lnTo>
                    <a:pt x="70" y="44"/>
                  </a:lnTo>
                  <a:lnTo>
                    <a:pt x="80" y="50"/>
                  </a:lnTo>
                  <a:lnTo>
                    <a:pt x="88" y="57"/>
                  </a:lnTo>
                  <a:lnTo>
                    <a:pt x="97" y="65"/>
                  </a:lnTo>
                  <a:lnTo>
                    <a:pt x="105" y="72"/>
                  </a:lnTo>
                  <a:lnTo>
                    <a:pt x="112" y="82"/>
                  </a:lnTo>
                  <a:lnTo>
                    <a:pt x="117" y="92"/>
                  </a:lnTo>
                  <a:lnTo>
                    <a:pt x="123" y="102"/>
                  </a:lnTo>
                  <a:lnTo>
                    <a:pt x="126" y="113"/>
                  </a:lnTo>
                  <a:lnTo>
                    <a:pt x="129" y="124"/>
                  </a:lnTo>
                  <a:lnTo>
                    <a:pt x="131" y="135"/>
                  </a:lnTo>
                  <a:lnTo>
                    <a:pt x="131" y="147"/>
                  </a:lnTo>
                  <a:lnTo>
                    <a:pt x="132" y="150"/>
                  </a:lnTo>
                  <a:lnTo>
                    <a:pt x="132" y="154"/>
                  </a:lnTo>
                  <a:lnTo>
                    <a:pt x="134" y="156"/>
                  </a:lnTo>
                  <a:lnTo>
                    <a:pt x="136" y="158"/>
                  </a:lnTo>
                  <a:lnTo>
                    <a:pt x="139" y="160"/>
                  </a:lnTo>
                  <a:lnTo>
                    <a:pt x="141" y="161"/>
                  </a:lnTo>
                  <a:lnTo>
                    <a:pt x="144" y="162"/>
                  </a:lnTo>
                  <a:lnTo>
                    <a:pt x="146" y="162"/>
                  </a:lnTo>
                  <a:lnTo>
                    <a:pt x="149" y="162"/>
                  </a:lnTo>
                  <a:lnTo>
                    <a:pt x="153" y="161"/>
                  </a:lnTo>
                  <a:lnTo>
                    <a:pt x="155" y="160"/>
                  </a:lnTo>
                  <a:lnTo>
                    <a:pt x="157" y="158"/>
                  </a:lnTo>
                  <a:lnTo>
                    <a:pt x="159" y="156"/>
                  </a:lnTo>
                  <a:lnTo>
                    <a:pt x="160" y="154"/>
                  </a:lnTo>
                  <a:lnTo>
                    <a:pt x="161" y="150"/>
                  </a:lnTo>
                  <a:lnTo>
                    <a:pt x="161" y="147"/>
                  </a:lnTo>
                  <a:lnTo>
                    <a:pt x="161" y="132"/>
                  </a:lnTo>
                  <a:lnTo>
                    <a:pt x="159" y="117"/>
                  </a:lnTo>
                  <a:lnTo>
                    <a:pt x="155" y="103"/>
                  </a:lnTo>
                  <a:lnTo>
                    <a:pt x="150" y="90"/>
                  </a:lnTo>
                  <a:lnTo>
                    <a:pt x="144" y="78"/>
                  </a:lnTo>
                  <a:lnTo>
                    <a:pt x="137" y="65"/>
                  </a:lnTo>
                  <a:lnTo>
                    <a:pt x="128" y="54"/>
                  </a:lnTo>
                  <a:lnTo>
                    <a:pt x="118" y="43"/>
                  </a:lnTo>
                  <a:lnTo>
                    <a:pt x="108" y="34"/>
                  </a:lnTo>
                  <a:lnTo>
                    <a:pt x="97" y="25"/>
                  </a:lnTo>
                  <a:lnTo>
                    <a:pt x="84" y="18"/>
                  </a:lnTo>
                  <a:lnTo>
                    <a:pt x="71" y="11"/>
                  </a:lnTo>
                  <a:lnTo>
                    <a:pt x="59" y="7"/>
                  </a:lnTo>
                  <a:lnTo>
                    <a:pt x="44" y="3"/>
                  </a:lnTo>
                  <a:lnTo>
                    <a:pt x="30" y="1"/>
                  </a:lnTo>
                  <a:lnTo>
                    <a:pt x="15" y="0"/>
                  </a:lnTo>
                  <a:lnTo>
                    <a:pt x="11" y="1"/>
                  </a:lnTo>
                  <a:lnTo>
                    <a:pt x="8" y="2"/>
                  </a:lnTo>
                  <a:lnTo>
                    <a:pt x="6" y="3"/>
                  </a:lnTo>
                  <a:lnTo>
                    <a:pt x="4" y="5"/>
                  </a:lnTo>
                  <a:lnTo>
                    <a:pt x="2" y="7"/>
                  </a:lnTo>
                  <a:lnTo>
                    <a:pt x="1" y="9"/>
                  </a:lnTo>
                  <a:lnTo>
                    <a:pt x="0" y="12"/>
                  </a:lnTo>
                  <a:lnTo>
                    <a:pt x="0" y="15"/>
                  </a:lnTo>
                  <a:lnTo>
                    <a:pt x="0" y="18"/>
                  </a:lnTo>
                  <a:lnTo>
                    <a:pt x="1" y="21"/>
                  </a:lnTo>
                  <a:lnTo>
                    <a:pt x="2" y="23"/>
                  </a:lnTo>
                  <a:lnTo>
                    <a:pt x="4" y="25"/>
                  </a:lnTo>
                  <a:lnTo>
                    <a:pt x="6" y="27"/>
                  </a:lnTo>
                  <a:lnTo>
                    <a:pt x="8" y="28"/>
                  </a:lnTo>
                  <a:lnTo>
                    <a:pt x="11" y="29"/>
                  </a:lnTo>
                  <a:lnTo>
                    <a:pt x="1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77" name="Freeform 16">
            <a:extLst>
              <a:ext uri="{FF2B5EF4-FFF2-40B4-BE49-F238E27FC236}">
                <a16:creationId xmlns:a16="http://schemas.microsoft.com/office/drawing/2014/main" id="{6AD09B02-044B-4AEF-84B7-9CF0D3633C34}"/>
              </a:ext>
            </a:extLst>
          </p:cNvPr>
          <p:cNvSpPr>
            <a:spLocks noChangeAspect="1" noEditPoints="1"/>
          </p:cNvSpPr>
          <p:nvPr/>
        </p:nvSpPr>
        <p:spPr bwMode="auto">
          <a:xfrm>
            <a:off x="1075692" y="3801969"/>
            <a:ext cx="287214" cy="285619"/>
          </a:xfrm>
          <a:custGeom>
            <a:avLst/>
            <a:gdLst>
              <a:gd name="T0" fmla="*/ 483 w 900"/>
              <a:gd name="T1" fmla="*/ 639 h 898"/>
              <a:gd name="T2" fmla="*/ 300 w 900"/>
              <a:gd name="T3" fmla="*/ 465 h 898"/>
              <a:gd name="T4" fmla="*/ 199 w 900"/>
              <a:gd name="T5" fmla="*/ 322 h 898"/>
              <a:gd name="T6" fmla="*/ 257 w 900"/>
              <a:gd name="T7" fmla="*/ 211 h 898"/>
              <a:gd name="T8" fmla="*/ 318 w 900"/>
              <a:gd name="T9" fmla="*/ 206 h 898"/>
              <a:gd name="T10" fmla="*/ 378 w 900"/>
              <a:gd name="T11" fmla="*/ 320 h 898"/>
              <a:gd name="T12" fmla="*/ 391 w 900"/>
              <a:gd name="T13" fmla="*/ 417 h 898"/>
              <a:gd name="T14" fmla="*/ 541 w 900"/>
              <a:gd name="T15" fmla="*/ 553 h 898"/>
              <a:gd name="T16" fmla="*/ 612 w 900"/>
              <a:gd name="T17" fmla="*/ 512 h 898"/>
              <a:gd name="T18" fmla="*/ 703 w 900"/>
              <a:gd name="T19" fmla="*/ 611 h 898"/>
              <a:gd name="T20" fmla="*/ 633 w 900"/>
              <a:gd name="T21" fmla="*/ 693 h 898"/>
              <a:gd name="T22" fmla="*/ 404 w 900"/>
              <a:gd name="T23" fmla="*/ 2 h 898"/>
              <a:gd name="T24" fmla="*/ 236 w 900"/>
              <a:gd name="T25" fmla="*/ 54 h 898"/>
              <a:gd name="T26" fmla="*/ 103 w 900"/>
              <a:gd name="T27" fmla="*/ 164 h 898"/>
              <a:gd name="T28" fmla="*/ 21 w 900"/>
              <a:gd name="T29" fmla="*/ 315 h 898"/>
              <a:gd name="T30" fmla="*/ 2 w 900"/>
              <a:gd name="T31" fmla="*/ 495 h 898"/>
              <a:gd name="T32" fmla="*/ 55 w 900"/>
              <a:gd name="T33" fmla="*/ 663 h 898"/>
              <a:gd name="T34" fmla="*/ 164 w 900"/>
              <a:gd name="T35" fmla="*/ 796 h 898"/>
              <a:gd name="T36" fmla="*/ 316 w 900"/>
              <a:gd name="T37" fmla="*/ 879 h 898"/>
              <a:gd name="T38" fmla="*/ 506 w 900"/>
              <a:gd name="T39" fmla="*/ 896 h 898"/>
              <a:gd name="T40" fmla="*/ 651 w 900"/>
              <a:gd name="T41" fmla="*/ 845 h 898"/>
              <a:gd name="T42" fmla="*/ 703 w 900"/>
              <a:gd name="T43" fmla="*/ 755 h 898"/>
              <a:gd name="T44" fmla="*/ 715 w 900"/>
              <a:gd name="T45" fmla="*/ 658 h 898"/>
              <a:gd name="T46" fmla="*/ 733 w 900"/>
              <a:gd name="T47" fmla="*/ 604 h 898"/>
              <a:gd name="T48" fmla="*/ 655 w 900"/>
              <a:gd name="T49" fmla="*/ 502 h 898"/>
              <a:gd name="T50" fmla="*/ 607 w 900"/>
              <a:gd name="T51" fmla="*/ 482 h 898"/>
              <a:gd name="T52" fmla="*/ 551 w 900"/>
              <a:gd name="T53" fmla="*/ 506 h 898"/>
              <a:gd name="T54" fmla="*/ 399 w 900"/>
              <a:gd name="T55" fmla="*/ 381 h 898"/>
              <a:gd name="T56" fmla="*/ 415 w 900"/>
              <a:gd name="T57" fmla="*/ 310 h 898"/>
              <a:gd name="T58" fmla="*/ 407 w 900"/>
              <a:gd name="T59" fmla="*/ 254 h 898"/>
              <a:gd name="T60" fmla="*/ 312 w 900"/>
              <a:gd name="T61" fmla="*/ 169 h 898"/>
              <a:gd name="T62" fmla="*/ 255 w 900"/>
              <a:gd name="T63" fmla="*/ 175 h 898"/>
              <a:gd name="T64" fmla="*/ 179 w 900"/>
              <a:gd name="T65" fmla="*/ 256 h 898"/>
              <a:gd name="T66" fmla="*/ 168 w 900"/>
              <a:gd name="T67" fmla="*/ 323 h 898"/>
              <a:gd name="T68" fmla="*/ 256 w 900"/>
              <a:gd name="T69" fmla="*/ 460 h 898"/>
              <a:gd name="T70" fmla="*/ 439 w 900"/>
              <a:gd name="T71" fmla="*/ 643 h 898"/>
              <a:gd name="T72" fmla="*/ 595 w 900"/>
              <a:gd name="T73" fmla="*/ 733 h 898"/>
              <a:gd name="T74" fmla="*/ 671 w 900"/>
              <a:gd name="T75" fmla="*/ 702 h 898"/>
              <a:gd name="T76" fmla="*/ 663 w 900"/>
              <a:gd name="T77" fmla="*/ 781 h 898"/>
              <a:gd name="T78" fmla="*/ 589 w 900"/>
              <a:gd name="T79" fmla="*/ 846 h 898"/>
              <a:gd name="T80" fmla="*/ 450 w 900"/>
              <a:gd name="T81" fmla="*/ 868 h 898"/>
              <a:gd name="T82" fmla="*/ 287 w 900"/>
              <a:gd name="T83" fmla="*/ 836 h 898"/>
              <a:gd name="T84" fmla="*/ 153 w 900"/>
              <a:gd name="T85" fmla="*/ 745 h 898"/>
              <a:gd name="T86" fmla="*/ 63 w 900"/>
              <a:gd name="T87" fmla="*/ 613 h 898"/>
              <a:gd name="T88" fmla="*/ 30 w 900"/>
              <a:gd name="T89" fmla="*/ 449 h 898"/>
              <a:gd name="T90" fmla="*/ 63 w 900"/>
              <a:gd name="T91" fmla="*/ 287 h 898"/>
              <a:gd name="T92" fmla="*/ 153 w 900"/>
              <a:gd name="T93" fmla="*/ 153 h 898"/>
              <a:gd name="T94" fmla="*/ 287 w 900"/>
              <a:gd name="T95" fmla="*/ 63 h 898"/>
              <a:gd name="T96" fmla="*/ 450 w 900"/>
              <a:gd name="T97" fmla="*/ 30 h 898"/>
              <a:gd name="T98" fmla="*/ 613 w 900"/>
              <a:gd name="T99" fmla="*/ 63 h 898"/>
              <a:gd name="T100" fmla="*/ 746 w 900"/>
              <a:gd name="T101" fmla="*/ 153 h 898"/>
              <a:gd name="T102" fmla="*/ 837 w 900"/>
              <a:gd name="T103" fmla="*/ 287 h 898"/>
              <a:gd name="T104" fmla="*/ 869 w 900"/>
              <a:gd name="T105" fmla="*/ 449 h 898"/>
              <a:gd name="T106" fmla="*/ 851 w 900"/>
              <a:gd name="T107" fmla="*/ 573 h 898"/>
              <a:gd name="T108" fmla="*/ 796 w 900"/>
              <a:gd name="T109" fmla="*/ 687 h 898"/>
              <a:gd name="T110" fmla="*/ 800 w 900"/>
              <a:gd name="T111" fmla="*/ 707 h 898"/>
              <a:gd name="T112" fmla="*/ 821 w 900"/>
              <a:gd name="T113" fmla="*/ 704 h 898"/>
              <a:gd name="T114" fmla="*/ 880 w 900"/>
              <a:gd name="T115" fmla="*/ 583 h 898"/>
              <a:gd name="T116" fmla="*/ 900 w 900"/>
              <a:gd name="T117" fmla="*/ 449 h 898"/>
              <a:gd name="T118" fmla="*/ 863 w 900"/>
              <a:gd name="T119" fmla="*/ 275 h 898"/>
              <a:gd name="T120" fmla="*/ 767 w 900"/>
              <a:gd name="T121" fmla="*/ 131 h 898"/>
              <a:gd name="T122" fmla="*/ 625 w 900"/>
              <a:gd name="T123" fmla="*/ 35 h 898"/>
              <a:gd name="T124" fmla="*/ 450 w 900"/>
              <a:gd name="T12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0" h="898">
                <a:moveTo>
                  <a:pt x="595" y="703"/>
                </a:moveTo>
                <a:lnTo>
                  <a:pt x="586" y="702"/>
                </a:lnTo>
                <a:lnTo>
                  <a:pt x="577" y="701"/>
                </a:lnTo>
                <a:lnTo>
                  <a:pt x="568" y="697"/>
                </a:lnTo>
                <a:lnTo>
                  <a:pt x="561" y="693"/>
                </a:lnTo>
                <a:lnTo>
                  <a:pt x="534" y="676"/>
                </a:lnTo>
                <a:lnTo>
                  <a:pt x="508" y="658"/>
                </a:lnTo>
                <a:lnTo>
                  <a:pt x="483" y="639"/>
                </a:lnTo>
                <a:lnTo>
                  <a:pt x="458" y="619"/>
                </a:lnTo>
                <a:lnTo>
                  <a:pt x="433" y="600"/>
                </a:lnTo>
                <a:lnTo>
                  <a:pt x="410" y="579"/>
                </a:lnTo>
                <a:lnTo>
                  <a:pt x="386" y="557"/>
                </a:lnTo>
                <a:lnTo>
                  <a:pt x="364" y="536"/>
                </a:lnTo>
                <a:lnTo>
                  <a:pt x="341" y="512"/>
                </a:lnTo>
                <a:lnTo>
                  <a:pt x="320" y="490"/>
                </a:lnTo>
                <a:lnTo>
                  <a:pt x="300" y="465"/>
                </a:lnTo>
                <a:lnTo>
                  <a:pt x="279" y="442"/>
                </a:lnTo>
                <a:lnTo>
                  <a:pt x="260" y="416"/>
                </a:lnTo>
                <a:lnTo>
                  <a:pt x="241" y="391"/>
                </a:lnTo>
                <a:lnTo>
                  <a:pt x="224" y="365"/>
                </a:lnTo>
                <a:lnTo>
                  <a:pt x="207" y="339"/>
                </a:lnTo>
                <a:lnTo>
                  <a:pt x="203" y="334"/>
                </a:lnTo>
                <a:lnTo>
                  <a:pt x="201" y="328"/>
                </a:lnTo>
                <a:lnTo>
                  <a:pt x="199" y="322"/>
                </a:lnTo>
                <a:lnTo>
                  <a:pt x="198" y="317"/>
                </a:lnTo>
                <a:lnTo>
                  <a:pt x="197" y="305"/>
                </a:lnTo>
                <a:lnTo>
                  <a:pt x="197" y="292"/>
                </a:lnTo>
                <a:lnTo>
                  <a:pt x="200" y="280"/>
                </a:lnTo>
                <a:lnTo>
                  <a:pt x="206" y="268"/>
                </a:lnTo>
                <a:lnTo>
                  <a:pt x="212" y="257"/>
                </a:lnTo>
                <a:lnTo>
                  <a:pt x="221" y="247"/>
                </a:lnTo>
                <a:lnTo>
                  <a:pt x="257" y="211"/>
                </a:lnTo>
                <a:lnTo>
                  <a:pt x="264" y="204"/>
                </a:lnTo>
                <a:lnTo>
                  <a:pt x="273" y="200"/>
                </a:lnTo>
                <a:lnTo>
                  <a:pt x="282" y="197"/>
                </a:lnTo>
                <a:lnTo>
                  <a:pt x="291" y="196"/>
                </a:lnTo>
                <a:lnTo>
                  <a:pt x="299" y="197"/>
                </a:lnTo>
                <a:lnTo>
                  <a:pt x="306" y="199"/>
                </a:lnTo>
                <a:lnTo>
                  <a:pt x="313" y="202"/>
                </a:lnTo>
                <a:lnTo>
                  <a:pt x="318" y="206"/>
                </a:lnTo>
                <a:lnTo>
                  <a:pt x="377" y="265"/>
                </a:lnTo>
                <a:lnTo>
                  <a:pt x="381" y="272"/>
                </a:lnTo>
                <a:lnTo>
                  <a:pt x="384" y="278"/>
                </a:lnTo>
                <a:lnTo>
                  <a:pt x="386" y="285"/>
                </a:lnTo>
                <a:lnTo>
                  <a:pt x="387" y="294"/>
                </a:lnTo>
                <a:lnTo>
                  <a:pt x="385" y="303"/>
                </a:lnTo>
                <a:lnTo>
                  <a:pt x="383" y="311"/>
                </a:lnTo>
                <a:lnTo>
                  <a:pt x="378" y="320"/>
                </a:lnTo>
                <a:lnTo>
                  <a:pt x="372" y="326"/>
                </a:lnTo>
                <a:lnTo>
                  <a:pt x="350" y="348"/>
                </a:lnTo>
                <a:lnTo>
                  <a:pt x="347" y="353"/>
                </a:lnTo>
                <a:lnTo>
                  <a:pt x="346" y="358"/>
                </a:lnTo>
                <a:lnTo>
                  <a:pt x="347" y="364"/>
                </a:lnTo>
                <a:lnTo>
                  <a:pt x="349" y="368"/>
                </a:lnTo>
                <a:lnTo>
                  <a:pt x="369" y="392"/>
                </a:lnTo>
                <a:lnTo>
                  <a:pt x="391" y="417"/>
                </a:lnTo>
                <a:lnTo>
                  <a:pt x="413" y="441"/>
                </a:lnTo>
                <a:lnTo>
                  <a:pt x="436" y="464"/>
                </a:lnTo>
                <a:lnTo>
                  <a:pt x="458" y="487"/>
                </a:lnTo>
                <a:lnTo>
                  <a:pt x="483" y="508"/>
                </a:lnTo>
                <a:lnTo>
                  <a:pt x="506" y="529"/>
                </a:lnTo>
                <a:lnTo>
                  <a:pt x="531" y="550"/>
                </a:lnTo>
                <a:lnTo>
                  <a:pt x="536" y="552"/>
                </a:lnTo>
                <a:lnTo>
                  <a:pt x="541" y="553"/>
                </a:lnTo>
                <a:lnTo>
                  <a:pt x="547" y="552"/>
                </a:lnTo>
                <a:lnTo>
                  <a:pt x="551" y="549"/>
                </a:lnTo>
                <a:lnTo>
                  <a:pt x="573" y="527"/>
                </a:lnTo>
                <a:lnTo>
                  <a:pt x="580" y="521"/>
                </a:lnTo>
                <a:lnTo>
                  <a:pt x="587" y="517"/>
                </a:lnTo>
                <a:lnTo>
                  <a:pt x="596" y="514"/>
                </a:lnTo>
                <a:lnTo>
                  <a:pt x="605" y="512"/>
                </a:lnTo>
                <a:lnTo>
                  <a:pt x="612" y="512"/>
                </a:lnTo>
                <a:lnTo>
                  <a:pt x="621" y="514"/>
                </a:lnTo>
                <a:lnTo>
                  <a:pt x="628" y="518"/>
                </a:lnTo>
                <a:lnTo>
                  <a:pt x="633" y="523"/>
                </a:lnTo>
                <a:lnTo>
                  <a:pt x="692" y="581"/>
                </a:lnTo>
                <a:lnTo>
                  <a:pt x="698" y="587"/>
                </a:lnTo>
                <a:lnTo>
                  <a:pt x="701" y="595"/>
                </a:lnTo>
                <a:lnTo>
                  <a:pt x="703" y="602"/>
                </a:lnTo>
                <a:lnTo>
                  <a:pt x="703" y="611"/>
                </a:lnTo>
                <a:lnTo>
                  <a:pt x="702" y="619"/>
                </a:lnTo>
                <a:lnTo>
                  <a:pt x="699" y="628"/>
                </a:lnTo>
                <a:lnTo>
                  <a:pt x="694" y="635"/>
                </a:lnTo>
                <a:lnTo>
                  <a:pt x="688" y="643"/>
                </a:lnTo>
                <a:lnTo>
                  <a:pt x="653" y="678"/>
                </a:lnTo>
                <a:lnTo>
                  <a:pt x="646" y="683"/>
                </a:lnTo>
                <a:lnTo>
                  <a:pt x="640" y="689"/>
                </a:lnTo>
                <a:lnTo>
                  <a:pt x="633" y="693"/>
                </a:lnTo>
                <a:lnTo>
                  <a:pt x="626" y="696"/>
                </a:lnTo>
                <a:lnTo>
                  <a:pt x="619" y="698"/>
                </a:lnTo>
                <a:lnTo>
                  <a:pt x="611" y="701"/>
                </a:lnTo>
                <a:lnTo>
                  <a:pt x="604" y="703"/>
                </a:lnTo>
                <a:lnTo>
                  <a:pt x="595" y="703"/>
                </a:lnTo>
                <a:close/>
                <a:moveTo>
                  <a:pt x="450" y="0"/>
                </a:moveTo>
                <a:lnTo>
                  <a:pt x="427" y="0"/>
                </a:lnTo>
                <a:lnTo>
                  <a:pt x="404" y="2"/>
                </a:lnTo>
                <a:lnTo>
                  <a:pt x="381" y="5"/>
                </a:lnTo>
                <a:lnTo>
                  <a:pt x="360" y="8"/>
                </a:lnTo>
                <a:lnTo>
                  <a:pt x="337" y="14"/>
                </a:lnTo>
                <a:lnTo>
                  <a:pt x="316" y="20"/>
                </a:lnTo>
                <a:lnTo>
                  <a:pt x="295" y="27"/>
                </a:lnTo>
                <a:lnTo>
                  <a:pt x="275" y="35"/>
                </a:lnTo>
                <a:lnTo>
                  <a:pt x="255" y="44"/>
                </a:lnTo>
                <a:lnTo>
                  <a:pt x="236" y="54"/>
                </a:lnTo>
                <a:lnTo>
                  <a:pt x="216" y="65"/>
                </a:lnTo>
                <a:lnTo>
                  <a:pt x="198" y="77"/>
                </a:lnTo>
                <a:lnTo>
                  <a:pt x="181" y="89"/>
                </a:lnTo>
                <a:lnTo>
                  <a:pt x="164" y="103"/>
                </a:lnTo>
                <a:lnTo>
                  <a:pt x="148" y="116"/>
                </a:lnTo>
                <a:lnTo>
                  <a:pt x="132" y="131"/>
                </a:lnTo>
                <a:lnTo>
                  <a:pt x="117" y="148"/>
                </a:lnTo>
                <a:lnTo>
                  <a:pt x="103" y="164"/>
                </a:lnTo>
                <a:lnTo>
                  <a:pt x="90" y="181"/>
                </a:lnTo>
                <a:lnTo>
                  <a:pt x="77" y="198"/>
                </a:lnTo>
                <a:lnTo>
                  <a:pt x="65" y="216"/>
                </a:lnTo>
                <a:lnTo>
                  <a:pt x="55" y="235"/>
                </a:lnTo>
                <a:lnTo>
                  <a:pt x="44" y="254"/>
                </a:lnTo>
                <a:lnTo>
                  <a:pt x="36" y="275"/>
                </a:lnTo>
                <a:lnTo>
                  <a:pt x="27" y="295"/>
                </a:lnTo>
                <a:lnTo>
                  <a:pt x="21" y="315"/>
                </a:lnTo>
                <a:lnTo>
                  <a:pt x="14" y="337"/>
                </a:lnTo>
                <a:lnTo>
                  <a:pt x="10" y="359"/>
                </a:lnTo>
                <a:lnTo>
                  <a:pt x="6" y="381"/>
                </a:lnTo>
                <a:lnTo>
                  <a:pt x="2" y="403"/>
                </a:lnTo>
                <a:lnTo>
                  <a:pt x="0" y="427"/>
                </a:lnTo>
                <a:lnTo>
                  <a:pt x="0" y="449"/>
                </a:lnTo>
                <a:lnTo>
                  <a:pt x="0" y="473"/>
                </a:lnTo>
                <a:lnTo>
                  <a:pt x="2" y="495"/>
                </a:lnTo>
                <a:lnTo>
                  <a:pt x="6" y="518"/>
                </a:lnTo>
                <a:lnTo>
                  <a:pt x="10" y="540"/>
                </a:lnTo>
                <a:lnTo>
                  <a:pt x="14" y="561"/>
                </a:lnTo>
                <a:lnTo>
                  <a:pt x="21" y="583"/>
                </a:lnTo>
                <a:lnTo>
                  <a:pt x="27" y="604"/>
                </a:lnTo>
                <a:lnTo>
                  <a:pt x="36" y="625"/>
                </a:lnTo>
                <a:lnTo>
                  <a:pt x="44" y="644"/>
                </a:lnTo>
                <a:lnTo>
                  <a:pt x="55" y="663"/>
                </a:lnTo>
                <a:lnTo>
                  <a:pt x="65" y="682"/>
                </a:lnTo>
                <a:lnTo>
                  <a:pt x="77" y="701"/>
                </a:lnTo>
                <a:lnTo>
                  <a:pt x="90" y="718"/>
                </a:lnTo>
                <a:lnTo>
                  <a:pt x="103" y="735"/>
                </a:lnTo>
                <a:lnTo>
                  <a:pt x="117" y="752"/>
                </a:lnTo>
                <a:lnTo>
                  <a:pt x="132" y="767"/>
                </a:lnTo>
                <a:lnTo>
                  <a:pt x="148" y="782"/>
                </a:lnTo>
                <a:lnTo>
                  <a:pt x="164" y="796"/>
                </a:lnTo>
                <a:lnTo>
                  <a:pt x="181" y="810"/>
                </a:lnTo>
                <a:lnTo>
                  <a:pt x="198" y="823"/>
                </a:lnTo>
                <a:lnTo>
                  <a:pt x="216" y="834"/>
                </a:lnTo>
                <a:lnTo>
                  <a:pt x="236" y="845"/>
                </a:lnTo>
                <a:lnTo>
                  <a:pt x="255" y="855"/>
                </a:lnTo>
                <a:lnTo>
                  <a:pt x="275" y="863"/>
                </a:lnTo>
                <a:lnTo>
                  <a:pt x="295" y="872"/>
                </a:lnTo>
                <a:lnTo>
                  <a:pt x="316" y="879"/>
                </a:lnTo>
                <a:lnTo>
                  <a:pt x="337" y="885"/>
                </a:lnTo>
                <a:lnTo>
                  <a:pt x="360" y="890"/>
                </a:lnTo>
                <a:lnTo>
                  <a:pt x="381" y="894"/>
                </a:lnTo>
                <a:lnTo>
                  <a:pt x="404" y="896"/>
                </a:lnTo>
                <a:lnTo>
                  <a:pt x="427" y="898"/>
                </a:lnTo>
                <a:lnTo>
                  <a:pt x="450" y="898"/>
                </a:lnTo>
                <a:lnTo>
                  <a:pt x="479" y="898"/>
                </a:lnTo>
                <a:lnTo>
                  <a:pt x="506" y="896"/>
                </a:lnTo>
                <a:lnTo>
                  <a:pt x="531" y="893"/>
                </a:lnTo>
                <a:lnTo>
                  <a:pt x="553" y="889"/>
                </a:lnTo>
                <a:lnTo>
                  <a:pt x="575" y="883"/>
                </a:lnTo>
                <a:lnTo>
                  <a:pt x="593" y="877"/>
                </a:lnTo>
                <a:lnTo>
                  <a:pt x="610" y="870"/>
                </a:lnTo>
                <a:lnTo>
                  <a:pt x="625" y="862"/>
                </a:lnTo>
                <a:lnTo>
                  <a:pt x="639" y="854"/>
                </a:lnTo>
                <a:lnTo>
                  <a:pt x="651" y="845"/>
                </a:lnTo>
                <a:lnTo>
                  <a:pt x="660" y="835"/>
                </a:lnTo>
                <a:lnTo>
                  <a:pt x="670" y="826"/>
                </a:lnTo>
                <a:lnTo>
                  <a:pt x="677" y="816"/>
                </a:lnTo>
                <a:lnTo>
                  <a:pt x="684" y="806"/>
                </a:lnTo>
                <a:lnTo>
                  <a:pt x="689" y="797"/>
                </a:lnTo>
                <a:lnTo>
                  <a:pt x="693" y="787"/>
                </a:lnTo>
                <a:lnTo>
                  <a:pt x="699" y="771"/>
                </a:lnTo>
                <a:lnTo>
                  <a:pt x="703" y="755"/>
                </a:lnTo>
                <a:lnTo>
                  <a:pt x="704" y="740"/>
                </a:lnTo>
                <a:lnTo>
                  <a:pt x="705" y="725"/>
                </a:lnTo>
                <a:lnTo>
                  <a:pt x="704" y="711"/>
                </a:lnTo>
                <a:lnTo>
                  <a:pt x="702" y="698"/>
                </a:lnTo>
                <a:lnTo>
                  <a:pt x="699" y="688"/>
                </a:lnTo>
                <a:lnTo>
                  <a:pt x="694" y="678"/>
                </a:lnTo>
                <a:lnTo>
                  <a:pt x="709" y="663"/>
                </a:lnTo>
                <a:lnTo>
                  <a:pt x="715" y="658"/>
                </a:lnTo>
                <a:lnTo>
                  <a:pt x="719" y="652"/>
                </a:lnTo>
                <a:lnTo>
                  <a:pt x="722" y="646"/>
                </a:lnTo>
                <a:lnTo>
                  <a:pt x="727" y="640"/>
                </a:lnTo>
                <a:lnTo>
                  <a:pt x="729" y="633"/>
                </a:lnTo>
                <a:lnTo>
                  <a:pt x="731" y="626"/>
                </a:lnTo>
                <a:lnTo>
                  <a:pt x="732" y="619"/>
                </a:lnTo>
                <a:lnTo>
                  <a:pt x="733" y="612"/>
                </a:lnTo>
                <a:lnTo>
                  <a:pt x="733" y="604"/>
                </a:lnTo>
                <a:lnTo>
                  <a:pt x="732" y="597"/>
                </a:lnTo>
                <a:lnTo>
                  <a:pt x="731" y="590"/>
                </a:lnTo>
                <a:lnTo>
                  <a:pt x="729" y="583"/>
                </a:lnTo>
                <a:lnTo>
                  <a:pt x="725" y="576"/>
                </a:lnTo>
                <a:lnTo>
                  <a:pt x="722" y="571"/>
                </a:lnTo>
                <a:lnTo>
                  <a:pt x="718" y="566"/>
                </a:lnTo>
                <a:lnTo>
                  <a:pt x="714" y="560"/>
                </a:lnTo>
                <a:lnTo>
                  <a:pt x="655" y="502"/>
                </a:lnTo>
                <a:lnTo>
                  <a:pt x="651" y="497"/>
                </a:lnTo>
                <a:lnTo>
                  <a:pt x="645" y="493"/>
                </a:lnTo>
                <a:lnTo>
                  <a:pt x="639" y="490"/>
                </a:lnTo>
                <a:lnTo>
                  <a:pt x="633" y="487"/>
                </a:lnTo>
                <a:lnTo>
                  <a:pt x="627" y="484"/>
                </a:lnTo>
                <a:lnTo>
                  <a:pt x="621" y="483"/>
                </a:lnTo>
                <a:lnTo>
                  <a:pt x="614" y="482"/>
                </a:lnTo>
                <a:lnTo>
                  <a:pt x="607" y="482"/>
                </a:lnTo>
                <a:lnTo>
                  <a:pt x="599" y="482"/>
                </a:lnTo>
                <a:lnTo>
                  <a:pt x="592" y="483"/>
                </a:lnTo>
                <a:lnTo>
                  <a:pt x="584" y="486"/>
                </a:lnTo>
                <a:lnTo>
                  <a:pt x="578" y="489"/>
                </a:lnTo>
                <a:lnTo>
                  <a:pt x="570" y="492"/>
                </a:lnTo>
                <a:lnTo>
                  <a:pt x="564" y="495"/>
                </a:lnTo>
                <a:lnTo>
                  <a:pt x="558" y="501"/>
                </a:lnTo>
                <a:lnTo>
                  <a:pt x="551" y="506"/>
                </a:lnTo>
                <a:lnTo>
                  <a:pt x="539" y="518"/>
                </a:lnTo>
                <a:lnTo>
                  <a:pt x="518" y="499"/>
                </a:lnTo>
                <a:lnTo>
                  <a:pt x="498" y="481"/>
                </a:lnTo>
                <a:lnTo>
                  <a:pt x="476" y="462"/>
                </a:lnTo>
                <a:lnTo>
                  <a:pt x="457" y="443"/>
                </a:lnTo>
                <a:lnTo>
                  <a:pt x="437" y="422"/>
                </a:lnTo>
                <a:lnTo>
                  <a:pt x="417" y="402"/>
                </a:lnTo>
                <a:lnTo>
                  <a:pt x="399" y="381"/>
                </a:lnTo>
                <a:lnTo>
                  <a:pt x="381" y="359"/>
                </a:lnTo>
                <a:lnTo>
                  <a:pt x="393" y="348"/>
                </a:lnTo>
                <a:lnTo>
                  <a:pt x="398" y="342"/>
                </a:lnTo>
                <a:lnTo>
                  <a:pt x="402" y="336"/>
                </a:lnTo>
                <a:lnTo>
                  <a:pt x="407" y="330"/>
                </a:lnTo>
                <a:lnTo>
                  <a:pt x="410" y="324"/>
                </a:lnTo>
                <a:lnTo>
                  <a:pt x="413" y="317"/>
                </a:lnTo>
                <a:lnTo>
                  <a:pt x="415" y="310"/>
                </a:lnTo>
                <a:lnTo>
                  <a:pt x="416" y="303"/>
                </a:lnTo>
                <a:lnTo>
                  <a:pt x="417" y="296"/>
                </a:lnTo>
                <a:lnTo>
                  <a:pt x="417" y="289"/>
                </a:lnTo>
                <a:lnTo>
                  <a:pt x="416" y="281"/>
                </a:lnTo>
                <a:lnTo>
                  <a:pt x="415" y="274"/>
                </a:lnTo>
                <a:lnTo>
                  <a:pt x="413" y="267"/>
                </a:lnTo>
                <a:lnTo>
                  <a:pt x="410" y="261"/>
                </a:lnTo>
                <a:lnTo>
                  <a:pt x="407" y="254"/>
                </a:lnTo>
                <a:lnTo>
                  <a:pt x="402" y="249"/>
                </a:lnTo>
                <a:lnTo>
                  <a:pt x="398" y="244"/>
                </a:lnTo>
                <a:lnTo>
                  <a:pt x="339" y="185"/>
                </a:lnTo>
                <a:lnTo>
                  <a:pt x="334" y="181"/>
                </a:lnTo>
                <a:lnTo>
                  <a:pt x="329" y="177"/>
                </a:lnTo>
                <a:lnTo>
                  <a:pt x="323" y="174"/>
                </a:lnTo>
                <a:lnTo>
                  <a:pt x="317" y="171"/>
                </a:lnTo>
                <a:lnTo>
                  <a:pt x="312" y="169"/>
                </a:lnTo>
                <a:lnTo>
                  <a:pt x="305" y="168"/>
                </a:lnTo>
                <a:lnTo>
                  <a:pt x="298" y="167"/>
                </a:lnTo>
                <a:lnTo>
                  <a:pt x="291" y="166"/>
                </a:lnTo>
                <a:lnTo>
                  <a:pt x="284" y="167"/>
                </a:lnTo>
                <a:lnTo>
                  <a:pt x="276" y="168"/>
                </a:lnTo>
                <a:lnTo>
                  <a:pt x="269" y="170"/>
                </a:lnTo>
                <a:lnTo>
                  <a:pt x="261" y="172"/>
                </a:lnTo>
                <a:lnTo>
                  <a:pt x="255" y="175"/>
                </a:lnTo>
                <a:lnTo>
                  <a:pt x="247" y="180"/>
                </a:lnTo>
                <a:lnTo>
                  <a:pt x="241" y="185"/>
                </a:lnTo>
                <a:lnTo>
                  <a:pt x="236" y="190"/>
                </a:lnTo>
                <a:lnTo>
                  <a:pt x="200" y="226"/>
                </a:lnTo>
                <a:lnTo>
                  <a:pt x="194" y="232"/>
                </a:lnTo>
                <a:lnTo>
                  <a:pt x="187" y="239"/>
                </a:lnTo>
                <a:lnTo>
                  <a:pt x="183" y="247"/>
                </a:lnTo>
                <a:lnTo>
                  <a:pt x="179" y="256"/>
                </a:lnTo>
                <a:lnTo>
                  <a:pt x="175" y="263"/>
                </a:lnTo>
                <a:lnTo>
                  <a:pt x="171" y="272"/>
                </a:lnTo>
                <a:lnTo>
                  <a:pt x="169" y="280"/>
                </a:lnTo>
                <a:lnTo>
                  <a:pt x="168" y="289"/>
                </a:lnTo>
                <a:lnTo>
                  <a:pt x="167" y="297"/>
                </a:lnTo>
                <a:lnTo>
                  <a:pt x="167" y="306"/>
                </a:lnTo>
                <a:lnTo>
                  <a:pt x="167" y="314"/>
                </a:lnTo>
                <a:lnTo>
                  <a:pt x="168" y="323"/>
                </a:lnTo>
                <a:lnTo>
                  <a:pt x="170" y="331"/>
                </a:lnTo>
                <a:lnTo>
                  <a:pt x="174" y="339"/>
                </a:lnTo>
                <a:lnTo>
                  <a:pt x="177" y="348"/>
                </a:lnTo>
                <a:lnTo>
                  <a:pt x="181" y="355"/>
                </a:lnTo>
                <a:lnTo>
                  <a:pt x="198" y="382"/>
                </a:lnTo>
                <a:lnTo>
                  <a:pt x="217" y="409"/>
                </a:lnTo>
                <a:lnTo>
                  <a:pt x="237" y="434"/>
                </a:lnTo>
                <a:lnTo>
                  <a:pt x="256" y="460"/>
                </a:lnTo>
                <a:lnTo>
                  <a:pt x="276" y="486"/>
                </a:lnTo>
                <a:lnTo>
                  <a:pt x="298" y="509"/>
                </a:lnTo>
                <a:lnTo>
                  <a:pt x="320" y="534"/>
                </a:lnTo>
                <a:lnTo>
                  <a:pt x="343" y="556"/>
                </a:lnTo>
                <a:lnTo>
                  <a:pt x="366" y="580"/>
                </a:lnTo>
                <a:lnTo>
                  <a:pt x="390" y="601"/>
                </a:lnTo>
                <a:lnTo>
                  <a:pt x="414" y="622"/>
                </a:lnTo>
                <a:lnTo>
                  <a:pt x="439" y="643"/>
                </a:lnTo>
                <a:lnTo>
                  <a:pt x="464" y="663"/>
                </a:lnTo>
                <a:lnTo>
                  <a:pt x="491" y="682"/>
                </a:lnTo>
                <a:lnTo>
                  <a:pt x="517" y="701"/>
                </a:lnTo>
                <a:lnTo>
                  <a:pt x="545" y="718"/>
                </a:lnTo>
                <a:lnTo>
                  <a:pt x="556" y="724"/>
                </a:lnTo>
                <a:lnTo>
                  <a:pt x="568" y="729"/>
                </a:lnTo>
                <a:lnTo>
                  <a:pt x="582" y="732"/>
                </a:lnTo>
                <a:lnTo>
                  <a:pt x="595" y="733"/>
                </a:lnTo>
                <a:lnTo>
                  <a:pt x="606" y="732"/>
                </a:lnTo>
                <a:lnTo>
                  <a:pt x="616" y="731"/>
                </a:lnTo>
                <a:lnTo>
                  <a:pt x="626" y="728"/>
                </a:lnTo>
                <a:lnTo>
                  <a:pt x="636" y="724"/>
                </a:lnTo>
                <a:lnTo>
                  <a:pt x="645" y="720"/>
                </a:lnTo>
                <a:lnTo>
                  <a:pt x="655" y="714"/>
                </a:lnTo>
                <a:lnTo>
                  <a:pt x="663" y="708"/>
                </a:lnTo>
                <a:lnTo>
                  <a:pt x="671" y="702"/>
                </a:lnTo>
                <a:lnTo>
                  <a:pt x="673" y="708"/>
                </a:lnTo>
                <a:lnTo>
                  <a:pt x="674" y="717"/>
                </a:lnTo>
                <a:lnTo>
                  <a:pt x="675" y="726"/>
                </a:lnTo>
                <a:lnTo>
                  <a:pt x="675" y="736"/>
                </a:lnTo>
                <a:lnTo>
                  <a:pt x="674" y="747"/>
                </a:lnTo>
                <a:lnTo>
                  <a:pt x="672" y="757"/>
                </a:lnTo>
                <a:lnTo>
                  <a:pt x="669" y="769"/>
                </a:lnTo>
                <a:lnTo>
                  <a:pt x="663" y="781"/>
                </a:lnTo>
                <a:lnTo>
                  <a:pt x="658" y="791"/>
                </a:lnTo>
                <a:lnTo>
                  <a:pt x="652" y="801"/>
                </a:lnTo>
                <a:lnTo>
                  <a:pt x="643" y="811"/>
                </a:lnTo>
                <a:lnTo>
                  <a:pt x="635" y="819"/>
                </a:lnTo>
                <a:lnTo>
                  <a:pt x="625" y="827"/>
                </a:lnTo>
                <a:lnTo>
                  <a:pt x="614" y="834"/>
                </a:lnTo>
                <a:lnTo>
                  <a:pt x="601" y="841"/>
                </a:lnTo>
                <a:lnTo>
                  <a:pt x="589" y="846"/>
                </a:lnTo>
                <a:lnTo>
                  <a:pt x="575" y="851"/>
                </a:lnTo>
                <a:lnTo>
                  <a:pt x="560" y="857"/>
                </a:lnTo>
                <a:lnTo>
                  <a:pt x="544" y="860"/>
                </a:lnTo>
                <a:lnTo>
                  <a:pt x="527" y="863"/>
                </a:lnTo>
                <a:lnTo>
                  <a:pt x="509" y="865"/>
                </a:lnTo>
                <a:lnTo>
                  <a:pt x="490" y="867"/>
                </a:lnTo>
                <a:lnTo>
                  <a:pt x="471" y="868"/>
                </a:lnTo>
                <a:lnTo>
                  <a:pt x="450" y="868"/>
                </a:lnTo>
                <a:lnTo>
                  <a:pt x="428" y="868"/>
                </a:lnTo>
                <a:lnTo>
                  <a:pt x="407" y="866"/>
                </a:lnTo>
                <a:lnTo>
                  <a:pt x="386" y="864"/>
                </a:lnTo>
                <a:lnTo>
                  <a:pt x="365" y="860"/>
                </a:lnTo>
                <a:lnTo>
                  <a:pt x="345" y="856"/>
                </a:lnTo>
                <a:lnTo>
                  <a:pt x="325" y="850"/>
                </a:lnTo>
                <a:lnTo>
                  <a:pt x="305" y="844"/>
                </a:lnTo>
                <a:lnTo>
                  <a:pt x="287" y="836"/>
                </a:lnTo>
                <a:lnTo>
                  <a:pt x="268" y="828"/>
                </a:lnTo>
                <a:lnTo>
                  <a:pt x="249" y="818"/>
                </a:lnTo>
                <a:lnTo>
                  <a:pt x="232" y="809"/>
                </a:lnTo>
                <a:lnTo>
                  <a:pt x="215" y="797"/>
                </a:lnTo>
                <a:lnTo>
                  <a:pt x="199" y="785"/>
                </a:lnTo>
                <a:lnTo>
                  <a:pt x="183" y="773"/>
                </a:lnTo>
                <a:lnTo>
                  <a:pt x="168" y="759"/>
                </a:lnTo>
                <a:lnTo>
                  <a:pt x="153" y="745"/>
                </a:lnTo>
                <a:lnTo>
                  <a:pt x="139" y="732"/>
                </a:lnTo>
                <a:lnTo>
                  <a:pt x="126" y="717"/>
                </a:lnTo>
                <a:lnTo>
                  <a:pt x="114" y="701"/>
                </a:lnTo>
                <a:lnTo>
                  <a:pt x="102" y="683"/>
                </a:lnTo>
                <a:lnTo>
                  <a:pt x="91" y="666"/>
                </a:lnTo>
                <a:lnTo>
                  <a:pt x="80" y="649"/>
                </a:lnTo>
                <a:lnTo>
                  <a:pt x="72" y="631"/>
                </a:lnTo>
                <a:lnTo>
                  <a:pt x="63" y="613"/>
                </a:lnTo>
                <a:lnTo>
                  <a:pt x="56" y="594"/>
                </a:lnTo>
                <a:lnTo>
                  <a:pt x="49" y="574"/>
                </a:lnTo>
                <a:lnTo>
                  <a:pt x="43" y="554"/>
                </a:lnTo>
                <a:lnTo>
                  <a:pt x="39" y="534"/>
                </a:lnTo>
                <a:lnTo>
                  <a:pt x="34" y="513"/>
                </a:lnTo>
                <a:lnTo>
                  <a:pt x="32" y="492"/>
                </a:lnTo>
                <a:lnTo>
                  <a:pt x="30" y="471"/>
                </a:lnTo>
                <a:lnTo>
                  <a:pt x="30" y="449"/>
                </a:lnTo>
                <a:lnTo>
                  <a:pt x="30" y="428"/>
                </a:lnTo>
                <a:lnTo>
                  <a:pt x="32" y="406"/>
                </a:lnTo>
                <a:lnTo>
                  <a:pt x="34" y="386"/>
                </a:lnTo>
                <a:lnTo>
                  <a:pt x="39" y="365"/>
                </a:lnTo>
                <a:lnTo>
                  <a:pt x="43" y="344"/>
                </a:lnTo>
                <a:lnTo>
                  <a:pt x="49" y="325"/>
                </a:lnTo>
                <a:lnTo>
                  <a:pt x="56" y="305"/>
                </a:lnTo>
                <a:lnTo>
                  <a:pt x="63" y="287"/>
                </a:lnTo>
                <a:lnTo>
                  <a:pt x="72" y="267"/>
                </a:lnTo>
                <a:lnTo>
                  <a:pt x="80" y="249"/>
                </a:lnTo>
                <a:lnTo>
                  <a:pt x="91" y="232"/>
                </a:lnTo>
                <a:lnTo>
                  <a:pt x="102" y="215"/>
                </a:lnTo>
                <a:lnTo>
                  <a:pt x="114" y="199"/>
                </a:lnTo>
                <a:lnTo>
                  <a:pt x="126" y="183"/>
                </a:lnTo>
                <a:lnTo>
                  <a:pt x="139" y="168"/>
                </a:lnTo>
                <a:lnTo>
                  <a:pt x="153" y="153"/>
                </a:lnTo>
                <a:lnTo>
                  <a:pt x="168" y="139"/>
                </a:lnTo>
                <a:lnTo>
                  <a:pt x="183" y="126"/>
                </a:lnTo>
                <a:lnTo>
                  <a:pt x="199" y="113"/>
                </a:lnTo>
                <a:lnTo>
                  <a:pt x="215" y="102"/>
                </a:lnTo>
                <a:lnTo>
                  <a:pt x="232" y="91"/>
                </a:lnTo>
                <a:lnTo>
                  <a:pt x="249" y="80"/>
                </a:lnTo>
                <a:lnTo>
                  <a:pt x="268" y="72"/>
                </a:lnTo>
                <a:lnTo>
                  <a:pt x="287" y="63"/>
                </a:lnTo>
                <a:lnTo>
                  <a:pt x="305" y="56"/>
                </a:lnTo>
                <a:lnTo>
                  <a:pt x="325" y="49"/>
                </a:lnTo>
                <a:lnTo>
                  <a:pt x="345" y="43"/>
                </a:lnTo>
                <a:lnTo>
                  <a:pt x="365" y="38"/>
                </a:lnTo>
                <a:lnTo>
                  <a:pt x="386" y="34"/>
                </a:lnTo>
                <a:lnTo>
                  <a:pt x="407" y="32"/>
                </a:lnTo>
                <a:lnTo>
                  <a:pt x="428" y="30"/>
                </a:lnTo>
                <a:lnTo>
                  <a:pt x="450" y="30"/>
                </a:lnTo>
                <a:lnTo>
                  <a:pt x="471" y="30"/>
                </a:lnTo>
                <a:lnTo>
                  <a:pt x="492" y="32"/>
                </a:lnTo>
                <a:lnTo>
                  <a:pt x="514" y="34"/>
                </a:lnTo>
                <a:lnTo>
                  <a:pt x="534" y="38"/>
                </a:lnTo>
                <a:lnTo>
                  <a:pt x="554" y="43"/>
                </a:lnTo>
                <a:lnTo>
                  <a:pt x="575" y="49"/>
                </a:lnTo>
                <a:lnTo>
                  <a:pt x="594" y="56"/>
                </a:lnTo>
                <a:lnTo>
                  <a:pt x="613" y="63"/>
                </a:lnTo>
                <a:lnTo>
                  <a:pt x="631" y="72"/>
                </a:lnTo>
                <a:lnTo>
                  <a:pt x="650" y="80"/>
                </a:lnTo>
                <a:lnTo>
                  <a:pt x="667" y="91"/>
                </a:lnTo>
                <a:lnTo>
                  <a:pt x="684" y="102"/>
                </a:lnTo>
                <a:lnTo>
                  <a:pt x="701" y="113"/>
                </a:lnTo>
                <a:lnTo>
                  <a:pt x="717" y="126"/>
                </a:lnTo>
                <a:lnTo>
                  <a:pt x="732" y="139"/>
                </a:lnTo>
                <a:lnTo>
                  <a:pt x="746" y="153"/>
                </a:lnTo>
                <a:lnTo>
                  <a:pt x="760" y="168"/>
                </a:lnTo>
                <a:lnTo>
                  <a:pt x="774" y="183"/>
                </a:lnTo>
                <a:lnTo>
                  <a:pt x="785" y="199"/>
                </a:lnTo>
                <a:lnTo>
                  <a:pt x="797" y="215"/>
                </a:lnTo>
                <a:lnTo>
                  <a:pt x="809" y="232"/>
                </a:lnTo>
                <a:lnTo>
                  <a:pt x="819" y="249"/>
                </a:lnTo>
                <a:lnTo>
                  <a:pt x="828" y="267"/>
                </a:lnTo>
                <a:lnTo>
                  <a:pt x="837" y="287"/>
                </a:lnTo>
                <a:lnTo>
                  <a:pt x="844" y="305"/>
                </a:lnTo>
                <a:lnTo>
                  <a:pt x="851" y="325"/>
                </a:lnTo>
                <a:lnTo>
                  <a:pt x="856" y="344"/>
                </a:lnTo>
                <a:lnTo>
                  <a:pt x="861" y="365"/>
                </a:lnTo>
                <a:lnTo>
                  <a:pt x="865" y="386"/>
                </a:lnTo>
                <a:lnTo>
                  <a:pt x="867" y="406"/>
                </a:lnTo>
                <a:lnTo>
                  <a:pt x="869" y="428"/>
                </a:lnTo>
                <a:lnTo>
                  <a:pt x="869" y="449"/>
                </a:lnTo>
                <a:lnTo>
                  <a:pt x="869" y="465"/>
                </a:lnTo>
                <a:lnTo>
                  <a:pt x="868" y="481"/>
                </a:lnTo>
                <a:lnTo>
                  <a:pt x="867" y="497"/>
                </a:lnTo>
                <a:lnTo>
                  <a:pt x="865" y="512"/>
                </a:lnTo>
                <a:lnTo>
                  <a:pt x="862" y="528"/>
                </a:lnTo>
                <a:lnTo>
                  <a:pt x="859" y="543"/>
                </a:lnTo>
                <a:lnTo>
                  <a:pt x="855" y="558"/>
                </a:lnTo>
                <a:lnTo>
                  <a:pt x="851" y="573"/>
                </a:lnTo>
                <a:lnTo>
                  <a:pt x="845" y="588"/>
                </a:lnTo>
                <a:lnTo>
                  <a:pt x="840" y="603"/>
                </a:lnTo>
                <a:lnTo>
                  <a:pt x="835" y="617"/>
                </a:lnTo>
                <a:lnTo>
                  <a:pt x="828" y="632"/>
                </a:lnTo>
                <a:lnTo>
                  <a:pt x="821" y="646"/>
                </a:lnTo>
                <a:lnTo>
                  <a:pt x="813" y="660"/>
                </a:lnTo>
                <a:lnTo>
                  <a:pt x="805" y="673"/>
                </a:lnTo>
                <a:lnTo>
                  <a:pt x="796" y="687"/>
                </a:lnTo>
                <a:lnTo>
                  <a:pt x="795" y="689"/>
                </a:lnTo>
                <a:lnTo>
                  <a:pt x="794" y="692"/>
                </a:lnTo>
                <a:lnTo>
                  <a:pt x="793" y="695"/>
                </a:lnTo>
                <a:lnTo>
                  <a:pt x="794" y="697"/>
                </a:lnTo>
                <a:lnTo>
                  <a:pt x="794" y="701"/>
                </a:lnTo>
                <a:lnTo>
                  <a:pt x="796" y="703"/>
                </a:lnTo>
                <a:lnTo>
                  <a:pt x="797" y="705"/>
                </a:lnTo>
                <a:lnTo>
                  <a:pt x="800" y="707"/>
                </a:lnTo>
                <a:lnTo>
                  <a:pt x="803" y="709"/>
                </a:lnTo>
                <a:lnTo>
                  <a:pt x="806" y="710"/>
                </a:lnTo>
                <a:lnTo>
                  <a:pt x="808" y="710"/>
                </a:lnTo>
                <a:lnTo>
                  <a:pt x="811" y="710"/>
                </a:lnTo>
                <a:lnTo>
                  <a:pt x="814" y="709"/>
                </a:lnTo>
                <a:lnTo>
                  <a:pt x="816" y="708"/>
                </a:lnTo>
                <a:lnTo>
                  <a:pt x="819" y="706"/>
                </a:lnTo>
                <a:lnTo>
                  <a:pt x="821" y="704"/>
                </a:lnTo>
                <a:lnTo>
                  <a:pt x="830" y="689"/>
                </a:lnTo>
                <a:lnTo>
                  <a:pt x="839" y="675"/>
                </a:lnTo>
                <a:lnTo>
                  <a:pt x="847" y="660"/>
                </a:lnTo>
                <a:lnTo>
                  <a:pt x="855" y="645"/>
                </a:lnTo>
                <a:lnTo>
                  <a:pt x="861" y="630"/>
                </a:lnTo>
                <a:lnTo>
                  <a:pt x="868" y="614"/>
                </a:lnTo>
                <a:lnTo>
                  <a:pt x="874" y="599"/>
                </a:lnTo>
                <a:lnTo>
                  <a:pt x="880" y="583"/>
                </a:lnTo>
                <a:lnTo>
                  <a:pt x="884" y="567"/>
                </a:lnTo>
                <a:lnTo>
                  <a:pt x="888" y="550"/>
                </a:lnTo>
                <a:lnTo>
                  <a:pt x="891" y="534"/>
                </a:lnTo>
                <a:lnTo>
                  <a:pt x="894" y="517"/>
                </a:lnTo>
                <a:lnTo>
                  <a:pt x="897" y="501"/>
                </a:lnTo>
                <a:lnTo>
                  <a:pt x="898" y="483"/>
                </a:lnTo>
                <a:lnTo>
                  <a:pt x="899" y="466"/>
                </a:lnTo>
                <a:lnTo>
                  <a:pt x="900" y="449"/>
                </a:lnTo>
                <a:lnTo>
                  <a:pt x="899" y="427"/>
                </a:lnTo>
                <a:lnTo>
                  <a:pt x="897" y="403"/>
                </a:lnTo>
                <a:lnTo>
                  <a:pt x="894" y="381"/>
                </a:lnTo>
                <a:lnTo>
                  <a:pt x="890" y="359"/>
                </a:lnTo>
                <a:lnTo>
                  <a:pt x="885" y="337"/>
                </a:lnTo>
                <a:lnTo>
                  <a:pt x="880" y="315"/>
                </a:lnTo>
                <a:lnTo>
                  <a:pt x="872" y="295"/>
                </a:lnTo>
                <a:lnTo>
                  <a:pt x="863" y="275"/>
                </a:lnTo>
                <a:lnTo>
                  <a:pt x="855" y="254"/>
                </a:lnTo>
                <a:lnTo>
                  <a:pt x="845" y="235"/>
                </a:lnTo>
                <a:lnTo>
                  <a:pt x="835" y="216"/>
                </a:lnTo>
                <a:lnTo>
                  <a:pt x="823" y="198"/>
                </a:lnTo>
                <a:lnTo>
                  <a:pt x="810" y="181"/>
                </a:lnTo>
                <a:lnTo>
                  <a:pt x="796" y="164"/>
                </a:lnTo>
                <a:lnTo>
                  <a:pt x="782" y="148"/>
                </a:lnTo>
                <a:lnTo>
                  <a:pt x="767" y="131"/>
                </a:lnTo>
                <a:lnTo>
                  <a:pt x="752" y="116"/>
                </a:lnTo>
                <a:lnTo>
                  <a:pt x="735" y="103"/>
                </a:lnTo>
                <a:lnTo>
                  <a:pt x="719" y="90"/>
                </a:lnTo>
                <a:lnTo>
                  <a:pt x="701" y="77"/>
                </a:lnTo>
                <a:lnTo>
                  <a:pt x="683" y="65"/>
                </a:lnTo>
                <a:lnTo>
                  <a:pt x="663" y="54"/>
                </a:lnTo>
                <a:lnTo>
                  <a:pt x="644" y="44"/>
                </a:lnTo>
                <a:lnTo>
                  <a:pt x="625" y="35"/>
                </a:lnTo>
                <a:lnTo>
                  <a:pt x="605" y="27"/>
                </a:lnTo>
                <a:lnTo>
                  <a:pt x="583" y="20"/>
                </a:lnTo>
                <a:lnTo>
                  <a:pt x="562" y="14"/>
                </a:lnTo>
                <a:lnTo>
                  <a:pt x="540" y="8"/>
                </a:lnTo>
                <a:lnTo>
                  <a:pt x="518" y="5"/>
                </a:lnTo>
                <a:lnTo>
                  <a:pt x="496" y="2"/>
                </a:lnTo>
                <a:lnTo>
                  <a:pt x="473" y="0"/>
                </a:lnTo>
                <a:lnTo>
                  <a:pt x="450" y="0"/>
                </a:lnTo>
                <a:lnTo>
                  <a:pt x="450"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1473" name="Freeform 168">
            <a:extLst>
              <a:ext uri="{FF2B5EF4-FFF2-40B4-BE49-F238E27FC236}">
                <a16:creationId xmlns:a16="http://schemas.microsoft.com/office/drawing/2014/main" id="{F9BEAF0F-7C99-4046-9C63-B19451CC1A26}"/>
              </a:ext>
            </a:extLst>
          </p:cNvPr>
          <p:cNvSpPr>
            <a:spLocks noChangeAspect="1" noEditPoints="1"/>
          </p:cNvSpPr>
          <p:nvPr/>
        </p:nvSpPr>
        <p:spPr bwMode="auto">
          <a:xfrm>
            <a:off x="1478842" y="3801969"/>
            <a:ext cx="285619" cy="285619"/>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804" name="Group 77">
            <a:extLst>
              <a:ext uri="{FF2B5EF4-FFF2-40B4-BE49-F238E27FC236}">
                <a16:creationId xmlns:a16="http://schemas.microsoft.com/office/drawing/2014/main" id="{45A53BC4-D307-4281-A5D6-80C85B44DBEB}"/>
              </a:ext>
            </a:extLst>
          </p:cNvPr>
          <p:cNvGrpSpPr>
            <a:grpSpLocks noChangeAspect="1"/>
          </p:cNvGrpSpPr>
          <p:nvPr/>
        </p:nvGrpSpPr>
        <p:grpSpPr>
          <a:xfrm>
            <a:off x="1907592" y="3824501"/>
            <a:ext cx="258211" cy="240555"/>
            <a:chOff x="-619125" y="2546350"/>
            <a:chExt cx="371475" cy="346075"/>
          </a:xfrm>
          <a:solidFill>
            <a:schemeClr val="bg1"/>
          </a:solidFill>
        </p:grpSpPr>
        <p:sp>
          <p:nvSpPr>
            <p:cNvPr id="1805" name="Freeform 10">
              <a:extLst>
                <a:ext uri="{FF2B5EF4-FFF2-40B4-BE49-F238E27FC236}">
                  <a16:creationId xmlns:a16="http://schemas.microsoft.com/office/drawing/2014/main" id="{06811F6F-7B82-4AA9-B471-BE18459210E9}"/>
                </a:ext>
              </a:extLst>
            </p:cNvPr>
            <p:cNvSpPr>
              <a:spLocks noEditPoints="1"/>
            </p:cNvSpPr>
            <p:nvPr/>
          </p:nvSpPr>
          <p:spPr bwMode="auto">
            <a:xfrm>
              <a:off x="-619125" y="2546350"/>
              <a:ext cx="371475" cy="144463"/>
            </a:xfrm>
            <a:custGeom>
              <a:avLst/>
              <a:gdLst>
                <a:gd name="T0" fmla="*/ 86 w 96"/>
                <a:gd name="T1" fmla="*/ 37 h 37"/>
                <a:gd name="T2" fmla="*/ 74 w 96"/>
                <a:gd name="T3" fmla="*/ 37 h 37"/>
                <a:gd name="T4" fmla="*/ 64 w 96"/>
                <a:gd name="T5" fmla="*/ 27 h 37"/>
                <a:gd name="T6" fmla="*/ 64 w 96"/>
                <a:gd name="T7" fmla="*/ 23 h 37"/>
                <a:gd name="T8" fmla="*/ 32 w 96"/>
                <a:gd name="T9" fmla="*/ 23 h 37"/>
                <a:gd name="T10" fmla="*/ 32 w 96"/>
                <a:gd name="T11" fmla="*/ 27 h 37"/>
                <a:gd name="T12" fmla="*/ 22 w 96"/>
                <a:gd name="T13" fmla="*/ 37 h 37"/>
                <a:gd name="T14" fmla="*/ 10 w 96"/>
                <a:gd name="T15" fmla="*/ 37 h 37"/>
                <a:gd name="T16" fmla="*/ 0 w 96"/>
                <a:gd name="T17" fmla="*/ 27 h 37"/>
                <a:gd name="T18" fmla="*/ 0 w 96"/>
                <a:gd name="T19" fmla="*/ 19 h 37"/>
                <a:gd name="T20" fmla="*/ 12 w 96"/>
                <a:gd name="T21" fmla="*/ 5 h 37"/>
                <a:gd name="T22" fmla="*/ 84 w 96"/>
                <a:gd name="T23" fmla="*/ 5 h 37"/>
                <a:gd name="T24" fmla="*/ 96 w 96"/>
                <a:gd name="T25" fmla="*/ 19 h 37"/>
                <a:gd name="T26" fmla="*/ 96 w 96"/>
                <a:gd name="T27" fmla="*/ 27 h 37"/>
                <a:gd name="T28" fmla="*/ 86 w 96"/>
                <a:gd name="T29" fmla="*/ 37 h 37"/>
                <a:gd name="T30" fmla="*/ 48 w 96"/>
                <a:gd name="T31" fmla="*/ 18 h 37"/>
                <a:gd name="T32" fmla="*/ 66 w 96"/>
                <a:gd name="T33" fmla="*/ 19 h 37"/>
                <a:gd name="T34" fmla="*/ 68 w 96"/>
                <a:gd name="T35" fmla="*/ 21 h 37"/>
                <a:gd name="T36" fmla="*/ 68 w 96"/>
                <a:gd name="T37" fmla="*/ 27 h 37"/>
                <a:gd name="T38" fmla="*/ 74 w 96"/>
                <a:gd name="T39" fmla="*/ 33 h 37"/>
                <a:gd name="T40" fmla="*/ 86 w 96"/>
                <a:gd name="T41" fmla="*/ 33 h 37"/>
                <a:gd name="T42" fmla="*/ 92 w 96"/>
                <a:gd name="T43" fmla="*/ 27 h 37"/>
                <a:gd name="T44" fmla="*/ 92 w 96"/>
                <a:gd name="T45" fmla="*/ 19 h 37"/>
                <a:gd name="T46" fmla="*/ 84 w 96"/>
                <a:gd name="T47" fmla="*/ 9 h 37"/>
                <a:gd name="T48" fmla="*/ 12 w 96"/>
                <a:gd name="T49" fmla="*/ 9 h 37"/>
                <a:gd name="T50" fmla="*/ 4 w 96"/>
                <a:gd name="T51" fmla="*/ 19 h 37"/>
                <a:gd name="T52" fmla="*/ 4 w 96"/>
                <a:gd name="T53" fmla="*/ 27 h 37"/>
                <a:gd name="T54" fmla="*/ 10 w 96"/>
                <a:gd name="T55" fmla="*/ 33 h 37"/>
                <a:gd name="T56" fmla="*/ 22 w 96"/>
                <a:gd name="T57" fmla="*/ 33 h 37"/>
                <a:gd name="T58" fmla="*/ 28 w 96"/>
                <a:gd name="T59" fmla="*/ 27 h 37"/>
                <a:gd name="T60" fmla="*/ 28 w 96"/>
                <a:gd name="T61" fmla="*/ 21 h 37"/>
                <a:gd name="T62" fmla="*/ 30 w 96"/>
                <a:gd name="T63" fmla="*/ 19 h 37"/>
                <a:gd name="T64" fmla="*/ 48 w 96"/>
                <a:gd name="T65"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37">
                  <a:moveTo>
                    <a:pt x="86" y="37"/>
                  </a:moveTo>
                  <a:cubicBezTo>
                    <a:pt x="74" y="37"/>
                    <a:pt x="74" y="37"/>
                    <a:pt x="74" y="37"/>
                  </a:cubicBezTo>
                  <a:cubicBezTo>
                    <a:pt x="68" y="37"/>
                    <a:pt x="64" y="33"/>
                    <a:pt x="64" y="27"/>
                  </a:cubicBezTo>
                  <a:cubicBezTo>
                    <a:pt x="64" y="23"/>
                    <a:pt x="64" y="23"/>
                    <a:pt x="64" y="23"/>
                  </a:cubicBezTo>
                  <a:cubicBezTo>
                    <a:pt x="53" y="22"/>
                    <a:pt x="43" y="22"/>
                    <a:pt x="32" y="23"/>
                  </a:cubicBezTo>
                  <a:cubicBezTo>
                    <a:pt x="32" y="27"/>
                    <a:pt x="32" y="27"/>
                    <a:pt x="32" y="27"/>
                  </a:cubicBezTo>
                  <a:cubicBezTo>
                    <a:pt x="32" y="33"/>
                    <a:pt x="28" y="37"/>
                    <a:pt x="22" y="37"/>
                  </a:cubicBezTo>
                  <a:cubicBezTo>
                    <a:pt x="10" y="37"/>
                    <a:pt x="10" y="37"/>
                    <a:pt x="10" y="37"/>
                  </a:cubicBezTo>
                  <a:cubicBezTo>
                    <a:pt x="4" y="37"/>
                    <a:pt x="0" y="33"/>
                    <a:pt x="0" y="27"/>
                  </a:cubicBezTo>
                  <a:cubicBezTo>
                    <a:pt x="0" y="19"/>
                    <a:pt x="0" y="19"/>
                    <a:pt x="0" y="19"/>
                  </a:cubicBezTo>
                  <a:cubicBezTo>
                    <a:pt x="0" y="12"/>
                    <a:pt x="5" y="6"/>
                    <a:pt x="12" y="5"/>
                  </a:cubicBezTo>
                  <a:cubicBezTo>
                    <a:pt x="36" y="0"/>
                    <a:pt x="60" y="0"/>
                    <a:pt x="84" y="5"/>
                  </a:cubicBezTo>
                  <a:cubicBezTo>
                    <a:pt x="91" y="6"/>
                    <a:pt x="96" y="12"/>
                    <a:pt x="96" y="19"/>
                  </a:cubicBezTo>
                  <a:cubicBezTo>
                    <a:pt x="96" y="27"/>
                    <a:pt x="96" y="27"/>
                    <a:pt x="96" y="27"/>
                  </a:cubicBezTo>
                  <a:cubicBezTo>
                    <a:pt x="96" y="33"/>
                    <a:pt x="92" y="37"/>
                    <a:pt x="86" y="37"/>
                  </a:cubicBezTo>
                  <a:close/>
                  <a:moveTo>
                    <a:pt x="48" y="18"/>
                  </a:moveTo>
                  <a:cubicBezTo>
                    <a:pt x="54" y="18"/>
                    <a:pt x="60" y="18"/>
                    <a:pt x="66" y="19"/>
                  </a:cubicBezTo>
                  <a:cubicBezTo>
                    <a:pt x="67" y="19"/>
                    <a:pt x="68" y="20"/>
                    <a:pt x="68" y="21"/>
                  </a:cubicBezTo>
                  <a:cubicBezTo>
                    <a:pt x="68" y="27"/>
                    <a:pt x="68" y="27"/>
                    <a:pt x="68" y="27"/>
                  </a:cubicBezTo>
                  <a:cubicBezTo>
                    <a:pt x="68" y="30"/>
                    <a:pt x="71" y="33"/>
                    <a:pt x="74" y="33"/>
                  </a:cubicBezTo>
                  <a:cubicBezTo>
                    <a:pt x="86" y="33"/>
                    <a:pt x="86" y="33"/>
                    <a:pt x="86" y="33"/>
                  </a:cubicBezTo>
                  <a:cubicBezTo>
                    <a:pt x="89" y="33"/>
                    <a:pt x="92" y="30"/>
                    <a:pt x="92" y="27"/>
                  </a:cubicBezTo>
                  <a:cubicBezTo>
                    <a:pt x="92" y="19"/>
                    <a:pt x="92" y="19"/>
                    <a:pt x="92" y="19"/>
                  </a:cubicBezTo>
                  <a:cubicBezTo>
                    <a:pt x="92" y="14"/>
                    <a:pt x="88" y="10"/>
                    <a:pt x="84" y="9"/>
                  </a:cubicBezTo>
                  <a:cubicBezTo>
                    <a:pt x="60" y="4"/>
                    <a:pt x="36" y="4"/>
                    <a:pt x="12" y="9"/>
                  </a:cubicBezTo>
                  <a:cubicBezTo>
                    <a:pt x="8" y="10"/>
                    <a:pt x="4" y="14"/>
                    <a:pt x="4" y="19"/>
                  </a:cubicBezTo>
                  <a:cubicBezTo>
                    <a:pt x="4" y="27"/>
                    <a:pt x="4" y="27"/>
                    <a:pt x="4" y="27"/>
                  </a:cubicBezTo>
                  <a:cubicBezTo>
                    <a:pt x="4" y="30"/>
                    <a:pt x="7" y="33"/>
                    <a:pt x="10" y="33"/>
                  </a:cubicBezTo>
                  <a:cubicBezTo>
                    <a:pt x="22" y="33"/>
                    <a:pt x="22" y="33"/>
                    <a:pt x="22" y="33"/>
                  </a:cubicBezTo>
                  <a:cubicBezTo>
                    <a:pt x="25" y="33"/>
                    <a:pt x="28" y="30"/>
                    <a:pt x="28" y="27"/>
                  </a:cubicBezTo>
                  <a:cubicBezTo>
                    <a:pt x="28" y="21"/>
                    <a:pt x="28" y="21"/>
                    <a:pt x="28" y="21"/>
                  </a:cubicBezTo>
                  <a:cubicBezTo>
                    <a:pt x="28" y="20"/>
                    <a:pt x="29" y="19"/>
                    <a:pt x="30" y="19"/>
                  </a:cubicBezTo>
                  <a:cubicBezTo>
                    <a:pt x="36" y="18"/>
                    <a:pt x="42" y="18"/>
                    <a:pt x="4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6" name="Freeform 11">
              <a:extLst>
                <a:ext uri="{FF2B5EF4-FFF2-40B4-BE49-F238E27FC236}">
                  <a16:creationId xmlns:a16="http://schemas.microsoft.com/office/drawing/2014/main" id="{F69E9477-DC85-4E60-B5BE-2A2603883DAC}"/>
                </a:ext>
              </a:extLst>
            </p:cNvPr>
            <p:cNvSpPr>
              <a:spLocks noEditPoints="1"/>
            </p:cNvSpPr>
            <p:nvPr/>
          </p:nvSpPr>
          <p:spPr bwMode="auto">
            <a:xfrm>
              <a:off x="-541338"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7" name="Freeform 12">
              <a:extLst>
                <a:ext uri="{FF2B5EF4-FFF2-40B4-BE49-F238E27FC236}">
                  <a16:creationId xmlns:a16="http://schemas.microsoft.com/office/drawing/2014/main" id="{66FA6387-A6DD-4DF4-B0DC-4959DCDBC8C1}"/>
                </a:ext>
              </a:extLst>
            </p:cNvPr>
            <p:cNvSpPr>
              <a:spLocks noEditPoints="1"/>
            </p:cNvSpPr>
            <p:nvPr/>
          </p:nvSpPr>
          <p:spPr bwMode="auto">
            <a:xfrm>
              <a:off x="-463550"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8" name="Freeform 13">
              <a:extLst>
                <a:ext uri="{FF2B5EF4-FFF2-40B4-BE49-F238E27FC236}">
                  <a16:creationId xmlns:a16="http://schemas.microsoft.com/office/drawing/2014/main" id="{03C65A5A-138B-4E95-AB34-5FAC61AA5708}"/>
                </a:ext>
              </a:extLst>
            </p:cNvPr>
            <p:cNvSpPr>
              <a:spLocks noEditPoints="1"/>
            </p:cNvSpPr>
            <p:nvPr/>
          </p:nvSpPr>
          <p:spPr bwMode="auto">
            <a:xfrm>
              <a:off x="-387350" y="2720975"/>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09" name="Freeform 14">
              <a:extLst>
                <a:ext uri="{FF2B5EF4-FFF2-40B4-BE49-F238E27FC236}">
                  <a16:creationId xmlns:a16="http://schemas.microsoft.com/office/drawing/2014/main" id="{F8F45951-8948-4C51-94BD-75F3450A3B89}"/>
                </a:ext>
              </a:extLst>
            </p:cNvPr>
            <p:cNvSpPr>
              <a:spLocks noEditPoints="1"/>
            </p:cNvSpPr>
            <p:nvPr/>
          </p:nvSpPr>
          <p:spPr bwMode="auto">
            <a:xfrm>
              <a:off x="-541338"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0" name="Freeform 15">
              <a:extLst>
                <a:ext uri="{FF2B5EF4-FFF2-40B4-BE49-F238E27FC236}">
                  <a16:creationId xmlns:a16="http://schemas.microsoft.com/office/drawing/2014/main" id="{78E7D0AB-12E1-485B-9E43-95069E86AC53}"/>
                </a:ext>
              </a:extLst>
            </p:cNvPr>
            <p:cNvSpPr>
              <a:spLocks noEditPoints="1"/>
            </p:cNvSpPr>
            <p:nvPr/>
          </p:nvSpPr>
          <p:spPr bwMode="auto">
            <a:xfrm>
              <a:off x="-463550"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1" name="Freeform 16">
              <a:extLst>
                <a:ext uri="{FF2B5EF4-FFF2-40B4-BE49-F238E27FC236}">
                  <a16:creationId xmlns:a16="http://schemas.microsoft.com/office/drawing/2014/main" id="{2D0FEC19-77B3-4FCC-820C-5AD42936295D}"/>
                </a:ext>
              </a:extLst>
            </p:cNvPr>
            <p:cNvSpPr>
              <a:spLocks noEditPoints="1"/>
            </p:cNvSpPr>
            <p:nvPr/>
          </p:nvSpPr>
          <p:spPr bwMode="auto">
            <a:xfrm>
              <a:off x="-387350" y="2782888"/>
              <a:ext cx="61913" cy="46038"/>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2" name="Freeform 17">
              <a:extLst>
                <a:ext uri="{FF2B5EF4-FFF2-40B4-BE49-F238E27FC236}">
                  <a16:creationId xmlns:a16="http://schemas.microsoft.com/office/drawing/2014/main" id="{8FC7ECE5-A0EF-4B83-BA91-F8A365112800}"/>
                </a:ext>
              </a:extLst>
            </p:cNvPr>
            <p:cNvSpPr>
              <a:spLocks noEditPoints="1"/>
            </p:cNvSpPr>
            <p:nvPr/>
          </p:nvSpPr>
          <p:spPr bwMode="auto">
            <a:xfrm>
              <a:off x="-541338"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3" name="Freeform 18">
              <a:extLst>
                <a:ext uri="{FF2B5EF4-FFF2-40B4-BE49-F238E27FC236}">
                  <a16:creationId xmlns:a16="http://schemas.microsoft.com/office/drawing/2014/main" id="{E193A0C6-FB86-4347-AADF-9A5FD2271713}"/>
                </a:ext>
              </a:extLst>
            </p:cNvPr>
            <p:cNvSpPr>
              <a:spLocks noEditPoints="1"/>
            </p:cNvSpPr>
            <p:nvPr/>
          </p:nvSpPr>
          <p:spPr bwMode="auto">
            <a:xfrm>
              <a:off x="-463550"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14" name="Freeform 19">
              <a:extLst>
                <a:ext uri="{FF2B5EF4-FFF2-40B4-BE49-F238E27FC236}">
                  <a16:creationId xmlns:a16="http://schemas.microsoft.com/office/drawing/2014/main" id="{12830DED-E43E-463B-9DD6-345B8873E114}"/>
                </a:ext>
              </a:extLst>
            </p:cNvPr>
            <p:cNvSpPr>
              <a:spLocks noEditPoints="1"/>
            </p:cNvSpPr>
            <p:nvPr/>
          </p:nvSpPr>
          <p:spPr bwMode="auto">
            <a:xfrm>
              <a:off x="-387350" y="2844800"/>
              <a:ext cx="61913" cy="47625"/>
            </a:xfrm>
            <a:custGeom>
              <a:avLst/>
              <a:gdLst>
                <a:gd name="T0" fmla="*/ 14 w 16"/>
                <a:gd name="T1" fmla="*/ 12 h 12"/>
                <a:gd name="T2" fmla="*/ 2 w 16"/>
                <a:gd name="T3" fmla="*/ 12 h 12"/>
                <a:gd name="T4" fmla="*/ 0 w 16"/>
                <a:gd name="T5" fmla="*/ 10 h 12"/>
                <a:gd name="T6" fmla="*/ 0 w 16"/>
                <a:gd name="T7" fmla="*/ 2 h 12"/>
                <a:gd name="T8" fmla="*/ 2 w 16"/>
                <a:gd name="T9" fmla="*/ 0 h 12"/>
                <a:gd name="T10" fmla="*/ 14 w 16"/>
                <a:gd name="T11" fmla="*/ 0 h 12"/>
                <a:gd name="T12" fmla="*/ 16 w 16"/>
                <a:gd name="T13" fmla="*/ 2 h 12"/>
                <a:gd name="T14" fmla="*/ 16 w 16"/>
                <a:gd name="T15" fmla="*/ 10 h 12"/>
                <a:gd name="T16" fmla="*/ 14 w 16"/>
                <a:gd name="T17" fmla="*/ 12 h 12"/>
                <a:gd name="T18" fmla="*/ 4 w 16"/>
                <a:gd name="T19" fmla="*/ 8 h 12"/>
                <a:gd name="T20" fmla="*/ 12 w 16"/>
                <a:gd name="T21" fmla="*/ 8 h 12"/>
                <a:gd name="T22" fmla="*/ 12 w 16"/>
                <a:gd name="T23" fmla="*/ 4 h 12"/>
                <a:gd name="T24" fmla="*/ 4 w 16"/>
                <a:gd name="T25" fmla="*/ 4 h 12"/>
                <a:gd name="T26" fmla="*/ 4 w 16"/>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2">
                  <a:moveTo>
                    <a:pt x="14" y="12"/>
                  </a:moveTo>
                  <a:cubicBezTo>
                    <a:pt x="2" y="12"/>
                    <a:pt x="2" y="12"/>
                    <a:pt x="2" y="12"/>
                  </a:cubicBezTo>
                  <a:cubicBezTo>
                    <a:pt x="1" y="12"/>
                    <a:pt x="0" y="11"/>
                    <a:pt x="0" y="10"/>
                  </a:cubicBezTo>
                  <a:cubicBezTo>
                    <a:pt x="0" y="2"/>
                    <a:pt x="0" y="2"/>
                    <a:pt x="0" y="2"/>
                  </a:cubicBezTo>
                  <a:cubicBezTo>
                    <a:pt x="0" y="1"/>
                    <a:pt x="1" y="0"/>
                    <a:pt x="2" y="0"/>
                  </a:cubicBezTo>
                  <a:cubicBezTo>
                    <a:pt x="14" y="0"/>
                    <a:pt x="14" y="0"/>
                    <a:pt x="14" y="0"/>
                  </a:cubicBezTo>
                  <a:cubicBezTo>
                    <a:pt x="15" y="0"/>
                    <a:pt x="16" y="1"/>
                    <a:pt x="16" y="2"/>
                  </a:cubicBezTo>
                  <a:cubicBezTo>
                    <a:pt x="16" y="10"/>
                    <a:pt x="16" y="10"/>
                    <a:pt x="16" y="10"/>
                  </a:cubicBezTo>
                  <a:cubicBezTo>
                    <a:pt x="16" y="11"/>
                    <a:pt x="15" y="12"/>
                    <a:pt x="14" y="12"/>
                  </a:cubicBezTo>
                  <a:close/>
                  <a:moveTo>
                    <a:pt x="4" y="8"/>
                  </a:moveTo>
                  <a:cubicBezTo>
                    <a:pt x="12" y="8"/>
                    <a:pt x="12" y="8"/>
                    <a:pt x="12" y="8"/>
                  </a:cubicBezTo>
                  <a:cubicBezTo>
                    <a:pt x="12" y="4"/>
                    <a:pt x="12" y="4"/>
                    <a:pt x="12"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74" name="Group 19">
            <a:extLst>
              <a:ext uri="{FF2B5EF4-FFF2-40B4-BE49-F238E27FC236}">
                <a16:creationId xmlns:a16="http://schemas.microsoft.com/office/drawing/2014/main" id="{E752D77E-960B-49C1-BD70-07C8625A7487}"/>
              </a:ext>
            </a:extLst>
          </p:cNvPr>
          <p:cNvGrpSpPr>
            <a:grpSpLocks noChangeAspect="1"/>
          </p:cNvGrpSpPr>
          <p:nvPr/>
        </p:nvGrpSpPr>
        <p:grpSpPr>
          <a:xfrm>
            <a:off x="284400" y="3263433"/>
            <a:ext cx="285619" cy="285619"/>
            <a:chOff x="8743951" y="1343025"/>
            <a:chExt cx="287338" cy="287338"/>
          </a:xfrm>
          <a:solidFill>
            <a:schemeClr val="bg1"/>
          </a:solidFill>
          <a:effectLst/>
        </p:grpSpPr>
        <p:sp>
          <p:nvSpPr>
            <p:cNvPr id="1075" name="Freeform 369">
              <a:extLst>
                <a:ext uri="{FF2B5EF4-FFF2-40B4-BE49-F238E27FC236}">
                  <a16:creationId xmlns:a16="http://schemas.microsoft.com/office/drawing/2014/main" id="{54411F7C-8D74-44F6-B561-F2D292C5CBCC}"/>
                </a:ext>
              </a:extLst>
            </p:cNvPr>
            <p:cNvSpPr>
              <a:spLocks noEditPoints="1"/>
            </p:cNvSpPr>
            <p:nvPr/>
          </p:nvSpPr>
          <p:spPr bwMode="auto">
            <a:xfrm>
              <a:off x="8767763" y="1343025"/>
              <a:ext cx="171450" cy="53975"/>
            </a:xfrm>
            <a:custGeom>
              <a:avLst/>
              <a:gdLst>
                <a:gd name="T0" fmla="*/ 209 w 541"/>
                <a:gd name="T1" fmla="*/ 33 h 167"/>
                <a:gd name="T2" fmla="*/ 267 w 541"/>
                <a:gd name="T3" fmla="*/ 47 h 167"/>
                <a:gd name="T4" fmla="*/ 356 w 541"/>
                <a:gd name="T5" fmla="*/ 75 h 167"/>
                <a:gd name="T6" fmla="*/ 402 w 541"/>
                <a:gd name="T7" fmla="*/ 84 h 167"/>
                <a:gd name="T8" fmla="*/ 442 w 541"/>
                <a:gd name="T9" fmla="*/ 83 h 167"/>
                <a:gd name="T10" fmla="*/ 449 w 541"/>
                <a:gd name="T11" fmla="*/ 92 h 167"/>
                <a:gd name="T12" fmla="*/ 398 w 541"/>
                <a:gd name="T13" fmla="*/ 122 h 167"/>
                <a:gd name="T14" fmla="*/ 344 w 541"/>
                <a:gd name="T15" fmla="*/ 136 h 167"/>
                <a:gd name="T16" fmla="*/ 289 w 541"/>
                <a:gd name="T17" fmla="*/ 134 h 167"/>
                <a:gd name="T18" fmla="*/ 218 w 541"/>
                <a:gd name="T19" fmla="*/ 116 h 167"/>
                <a:gd name="T20" fmla="*/ 125 w 541"/>
                <a:gd name="T21" fmla="*/ 85 h 167"/>
                <a:gd name="T22" fmla="*/ 82 w 541"/>
                <a:gd name="T23" fmla="*/ 77 h 167"/>
                <a:gd name="T24" fmla="*/ 66 w 541"/>
                <a:gd name="T25" fmla="*/ 76 h 167"/>
                <a:gd name="T26" fmla="*/ 108 w 541"/>
                <a:gd name="T27" fmla="*/ 48 h 167"/>
                <a:gd name="T28" fmla="*/ 151 w 541"/>
                <a:gd name="T29" fmla="*/ 33 h 167"/>
                <a:gd name="T30" fmla="*/ 181 w 541"/>
                <a:gd name="T31" fmla="*/ 31 h 167"/>
                <a:gd name="T32" fmla="*/ 43 w 541"/>
                <a:gd name="T33" fmla="*/ 109 h 167"/>
                <a:gd name="T34" fmla="*/ 80 w 541"/>
                <a:gd name="T35" fmla="*/ 107 h 167"/>
                <a:gd name="T36" fmla="*/ 119 w 541"/>
                <a:gd name="T37" fmla="*/ 115 h 167"/>
                <a:gd name="T38" fmla="*/ 210 w 541"/>
                <a:gd name="T39" fmla="*/ 145 h 167"/>
                <a:gd name="T40" fmla="*/ 285 w 541"/>
                <a:gd name="T41" fmla="*/ 164 h 167"/>
                <a:gd name="T42" fmla="*/ 339 w 541"/>
                <a:gd name="T43" fmla="*/ 166 h 167"/>
                <a:gd name="T44" fmla="*/ 383 w 541"/>
                <a:gd name="T45" fmla="*/ 159 h 167"/>
                <a:gd name="T46" fmla="*/ 425 w 541"/>
                <a:gd name="T47" fmla="*/ 143 h 167"/>
                <a:gd name="T48" fmla="*/ 465 w 541"/>
                <a:gd name="T49" fmla="*/ 118 h 167"/>
                <a:gd name="T50" fmla="*/ 503 w 541"/>
                <a:gd name="T51" fmla="*/ 84 h 167"/>
                <a:gd name="T52" fmla="*/ 539 w 541"/>
                <a:gd name="T53" fmla="*/ 40 h 167"/>
                <a:gd name="T54" fmla="*/ 540 w 541"/>
                <a:gd name="T55" fmla="*/ 25 h 167"/>
                <a:gd name="T56" fmla="*/ 527 w 541"/>
                <a:gd name="T57" fmla="*/ 16 h 167"/>
                <a:gd name="T58" fmla="*/ 506 w 541"/>
                <a:gd name="T59" fmla="*/ 27 h 167"/>
                <a:gd name="T60" fmla="*/ 469 w 541"/>
                <a:gd name="T61" fmla="*/ 45 h 167"/>
                <a:gd name="T62" fmla="*/ 432 w 541"/>
                <a:gd name="T63" fmla="*/ 54 h 167"/>
                <a:gd name="T64" fmla="*/ 390 w 541"/>
                <a:gd name="T65" fmla="*/ 51 h 167"/>
                <a:gd name="T66" fmla="*/ 333 w 541"/>
                <a:gd name="T67" fmla="*/ 37 h 167"/>
                <a:gd name="T68" fmla="*/ 244 w 541"/>
                <a:gd name="T69" fmla="*/ 10 h 167"/>
                <a:gd name="T70" fmla="*/ 197 w 541"/>
                <a:gd name="T71" fmla="*/ 1 h 167"/>
                <a:gd name="T72" fmla="*/ 156 w 541"/>
                <a:gd name="T73" fmla="*/ 2 h 167"/>
                <a:gd name="T74" fmla="*/ 122 w 541"/>
                <a:gd name="T75" fmla="*/ 10 h 167"/>
                <a:gd name="T76" fmla="*/ 89 w 541"/>
                <a:gd name="T77" fmla="*/ 24 h 167"/>
                <a:gd name="T78" fmla="*/ 56 w 541"/>
                <a:gd name="T79" fmla="*/ 45 h 167"/>
                <a:gd name="T80" fmla="*/ 24 w 541"/>
                <a:gd name="T81" fmla="*/ 73 h 167"/>
                <a:gd name="T82" fmla="*/ 1 w 541"/>
                <a:gd name="T83" fmla="*/ 101 h 167"/>
                <a:gd name="T84" fmla="*/ 3 w 541"/>
                <a:gd name="T85" fmla="*/ 116 h 167"/>
                <a:gd name="T86" fmla="*/ 18 w 541"/>
                <a:gd name="T87" fmla="*/ 12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1" h="167">
                  <a:moveTo>
                    <a:pt x="181" y="31"/>
                  </a:moveTo>
                  <a:lnTo>
                    <a:pt x="195" y="31"/>
                  </a:lnTo>
                  <a:lnTo>
                    <a:pt x="209" y="33"/>
                  </a:lnTo>
                  <a:lnTo>
                    <a:pt x="224" y="35"/>
                  </a:lnTo>
                  <a:lnTo>
                    <a:pt x="238" y="39"/>
                  </a:lnTo>
                  <a:lnTo>
                    <a:pt x="267" y="47"/>
                  </a:lnTo>
                  <a:lnTo>
                    <a:pt x="296" y="57"/>
                  </a:lnTo>
                  <a:lnTo>
                    <a:pt x="324" y="66"/>
                  </a:lnTo>
                  <a:lnTo>
                    <a:pt x="356" y="75"/>
                  </a:lnTo>
                  <a:lnTo>
                    <a:pt x="371" y="78"/>
                  </a:lnTo>
                  <a:lnTo>
                    <a:pt x="387" y="81"/>
                  </a:lnTo>
                  <a:lnTo>
                    <a:pt x="402" y="84"/>
                  </a:lnTo>
                  <a:lnTo>
                    <a:pt x="418" y="84"/>
                  </a:lnTo>
                  <a:lnTo>
                    <a:pt x="430" y="84"/>
                  </a:lnTo>
                  <a:lnTo>
                    <a:pt x="442" y="83"/>
                  </a:lnTo>
                  <a:lnTo>
                    <a:pt x="453" y="80"/>
                  </a:lnTo>
                  <a:lnTo>
                    <a:pt x="465" y="77"/>
                  </a:lnTo>
                  <a:lnTo>
                    <a:pt x="449" y="92"/>
                  </a:lnTo>
                  <a:lnTo>
                    <a:pt x="433" y="104"/>
                  </a:lnTo>
                  <a:lnTo>
                    <a:pt x="416" y="114"/>
                  </a:lnTo>
                  <a:lnTo>
                    <a:pt x="398" y="122"/>
                  </a:lnTo>
                  <a:lnTo>
                    <a:pt x="380" y="129"/>
                  </a:lnTo>
                  <a:lnTo>
                    <a:pt x="363" y="133"/>
                  </a:lnTo>
                  <a:lnTo>
                    <a:pt x="344" y="136"/>
                  </a:lnTo>
                  <a:lnTo>
                    <a:pt x="324" y="137"/>
                  </a:lnTo>
                  <a:lnTo>
                    <a:pt x="307" y="136"/>
                  </a:lnTo>
                  <a:lnTo>
                    <a:pt x="289" y="134"/>
                  </a:lnTo>
                  <a:lnTo>
                    <a:pt x="271" y="131"/>
                  </a:lnTo>
                  <a:lnTo>
                    <a:pt x="254" y="127"/>
                  </a:lnTo>
                  <a:lnTo>
                    <a:pt x="218" y="116"/>
                  </a:lnTo>
                  <a:lnTo>
                    <a:pt x="184" y="104"/>
                  </a:lnTo>
                  <a:lnTo>
                    <a:pt x="154" y="94"/>
                  </a:lnTo>
                  <a:lnTo>
                    <a:pt x="125" y="85"/>
                  </a:lnTo>
                  <a:lnTo>
                    <a:pt x="110" y="81"/>
                  </a:lnTo>
                  <a:lnTo>
                    <a:pt x="96" y="78"/>
                  </a:lnTo>
                  <a:lnTo>
                    <a:pt x="82" y="77"/>
                  </a:lnTo>
                  <a:lnTo>
                    <a:pt x="68" y="76"/>
                  </a:lnTo>
                  <a:lnTo>
                    <a:pt x="67" y="76"/>
                  </a:lnTo>
                  <a:lnTo>
                    <a:pt x="66" y="76"/>
                  </a:lnTo>
                  <a:lnTo>
                    <a:pt x="80" y="65"/>
                  </a:lnTo>
                  <a:lnTo>
                    <a:pt x="94" y="56"/>
                  </a:lnTo>
                  <a:lnTo>
                    <a:pt x="108" y="48"/>
                  </a:lnTo>
                  <a:lnTo>
                    <a:pt x="122" y="42"/>
                  </a:lnTo>
                  <a:lnTo>
                    <a:pt x="136" y="36"/>
                  </a:lnTo>
                  <a:lnTo>
                    <a:pt x="151" y="33"/>
                  </a:lnTo>
                  <a:lnTo>
                    <a:pt x="166" y="31"/>
                  </a:lnTo>
                  <a:lnTo>
                    <a:pt x="181" y="31"/>
                  </a:lnTo>
                  <a:lnTo>
                    <a:pt x="181" y="31"/>
                  </a:lnTo>
                  <a:close/>
                  <a:moveTo>
                    <a:pt x="23" y="119"/>
                  </a:moveTo>
                  <a:lnTo>
                    <a:pt x="33" y="114"/>
                  </a:lnTo>
                  <a:lnTo>
                    <a:pt x="43" y="109"/>
                  </a:lnTo>
                  <a:lnTo>
                    <a:pt x="55" y="107"/>
                  </a:lnTo>
                  <a:lnTo>
                    <a:pt x="68" y="106"/>
                  </a:lnTo>
                  <a:lnTo>
                    <a:pt x="80" y="107"/>
                  </a:lnTo>
                  <a:lnTo>
                    <a:pt x="93" y="108"/>
                  </a:lnTo>
                  <a:lnTo>
                    <a:pt x="106" y="112"/>
                  </a:lnTo>
                  <a:lnTo>
                    <a:pt x="119" y="115"/>
                  </a:lnTo>
                  <a:lnTo>
                    <a:pt x="145" y="123"/>
                  </a:lnTo>
                  <a:lnTo>
                    <a:pt x="174" y="133"/>
                  </a:lnTo>
                  <a:lnTo>
                    <a:pt x="210" y="145"/>
                  </a:lnTo>
                  <a:lnTo>
                    <a:pt x="246" y="155"/>
                  </a:lnTo>
                  <a:lnTo>
                    <a:pt x="265" y="161"/>
                  </a:lnTo>
                  <a:lnTo>
                    <a:pt x="285" y="164"/>
                  </a:lnTo>
                  <a:lnTo>
                    <a:pt x="305" y="166"/>
                  </a:lnTo>
                  <a:lnTo>
                    <a:pt x="324" y="167"/>
                  </a:lnTo>
                  <a:lnTo>
                    <a:pt x="339" y="166"/>
                  </a:lnTo>
                  <a:lnTo>
                    <a:pt x="355" y="165"/>
                  </a:lnTo>
                  <a:lnTo>
                    <a:pt x="370" y="163"/>
                  </a:lnTo>
                  <a:lnTo>
                    <a:pt x="383" y="159"/>
                  </a:lnTo>
                  <a:lnTo>
                    <a:pt x="397" y="154"/>
                  </a:lnTo>
                  <a:lnTo>
                    <a:pt x="411" y="149"/>
                  </a:lnTo>
                  <a:lnTo>
                    <a:pt x="425" y="143"/>
                  </a:lnTo>
                  <a:lnTo>
                    <a:pt x="438" y="135"/>
                  </a:lnTo>
                  <a:lnTo>
                    <a:pt x="451" y="127"/>
                  </a:lnTo>
                  <a:lnTo>
                    <a:pt x="465" y="118"/>
                  </a:lnTo>
                  <a:lnTo>
                    <a:pt x="478" y="107"/>
                  </a:lnTo>
                  <a:lnTo>
                    <a:pt x="490" y="95"/>
                  </a:lnTo>
                  <a:lnTo>
                    <a:pt x="503" y="84"/>
                  </a:lnTo>
                  <a:lnTo>
                    <a:pt x="514" y="70"/>
                  </a:lnTo>
                  <a:lnTo>
                    <a:pt x="527" y="55"/>
                  </a:lnTo>
                  <a:lnTo>
                    <a:pt x="539" y="40"/>
                  </a:lnTo>
                  <a:lnTo>
                    <a:pt x="541" y="34"/>
                  </a:lnTo>
                  <a:lnTo>
                    <a:pt x="541" y="29"/>
                  </a:lnTo>
                  <a:lnTo>
                    <a:pt x="540" y="25"/>
                  </a:lnTo>
                  <a:lnTo>
                    <a:pt x="537" y="20"/>
                  </a:lnTo>
                  <a:lnTo>
                    <a:pt x="533" y="17"/>
                  </a:lnTo>
                  <a:lnTo>
                    <a:pt x="527" y="16"/>
                  </a:lnTo>
                  <a:lnTo>
                    <a:pt x="522" y="16"/>
                  </a:lnTo>
                  <a:lnTo>
                    <a:pt x="518" y="18"/>
                  </a:lnTo>
                  <a:lnTo>
                    <a:pt x="506" y="27"/>
                  </a:lnTo>
                  <a:lnTo>
                    <a:pt x="493" y="34"/>
                  </a:lnTo>
                  <a:lnTo>
                    <a:pt x="481" y="41"/>
                  </a:lnTo>
                  <a:lnTo>
                    <a:pt x="469" y="45"/>
                  </a:lnTo>
                  <a:lnTo>
                    <a:pt x="456" y="49"/>
                  </a:lnTo>
                  <a:lnTo>
                    <a:pt x="445" y="51"/>
                  </a:lnTo>
                  <a:lnTo>
                    <a:pt x="432" y="54"/>
                  </a:lnTo>
                  <a:lnTo>
                    <a:pt x="418" y="54"/>
                  </a:lnTo>
                  <a:lnTo>
                    <a:pt x="404" y="54"/>
                  </a:lnTo>
                  <a:lnTo>
                    <a:pt x="390" y="51"/>
                  </a:lnTo>
                  <a:lnTo>
                    <a:pt x="376" y="49"/>
                  </a:lnTo>
                  <a:lnTo>
                    <a:pt x="362" y="46"/>
                  </a:lnTo>
                  <a:lnTo>
                    <a:pt x="333" y="37"/>
                  </a:lnTo>
                  <a:lnTo>
                    <a:pt x="305" y="28"/>
                  </a:lnTo>
                  <a:lnTo>
                    <a:pt x="275" y="18"/>
                  </a:lnTo>
                  <a:lnTo>
                    <a:pt x="244" y="10"/>
                  </a:lnTo>
                  <a:lnTo>
                    <a:pt x="228" y="5"/>
                  </a:lnTo>
                  <a:lnTo>
                    <a:pt x="213" y="3"/>
                  </a:lnTo>
                  <a:lnTo>
                    <a:pt x="197" y="1"/>
                  </a:lnTo>
                  <a:lnTo>
                    <a:pt x="181" y="0"/>
                  </a:lnTo>
                  <a:lnTo>
                    <a:pt x="168" y="1"/>
                  </a:lnTo>
                  <a:lnTo>
                    <a:pt x="156" y="2"/>
                  </a:lnTo>
                  <a:lnTo>
                    <a:pt x="145" y="3"/>
                  </a:lnTo>
                  <a:lnTo>
                    <a:pt x="134" y="6"/>
                  </a:lnTo>
                  <a:lnTo>
                    <a:pt x="122" y="10"/>
                  </a:lnTo>
                  <a:lnTo>
                    <a:pt x="111" y="14"/>
                  </a:lnTo>
                  <a:lnTo>
                    <a:pt x="99" y="18"/>
                  </a:lnTo>
                  <a:lnTo>
                    <a:pt x="89" y="24"/>
                  </a:lnTo>
                  <a:lnTo>
                    <a:pt x="78" y="30"/>
                  </a:lnTo>
                  <a:lnTo>
                    <a:pt x="67" y="37"/>
                  </a:lnTo>
                  <a:lnTo>
                    <a:pt x="56" y="45"/>
                  </a:lnTo>
                  <a:lnTo>
                    <a:pt x="46" y="54"/>
                  </a:lnTo>
                  <a:lnTo>
                    <a:pt x="35" y="63"/>
                  </a:lnTo>
                  <a:lnTo>
                    <a:pt x="24" y="73"/>
                  </a:lnTo>
                  <a:lnTo>
                    <a:pt x="13" y="84"/>
                  </a:lnTo>
                  <a:lnTo>
                    <a:pt x="3" y="95"/>
                  </a:lnTo>
                  <a:lnTo>
                    <a:pt x="1" y="101"/>
                  </a:lnTo>
                  <a:lnTo>
                    <a:pt x="0" y="106"/>
                  </a:lnTo>
                  <a:lnTo>
                    <a:pt x="1" y="110"/>
                  </a:lnTo>
                  <a:lnTo>
                    <a:pt x="3" y="116"/>
                  </a:lnTo>
                  <a:lnTo>
                    <a:pt x="7" y="119"/>
                  </a:lnTo>
                  <a:lnTo>
                    <a:pt x="12" y="121"/>
                  </a:lnTo>
                  <a:lnTo>
                    <a:pt x="18" y="120"/>
                  </a:lnTo>
                  <a:lnTo>
                    <a:pt x="2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370">
              <a:extLst>
                <a:ext uri="{FF2B5EF4-FFF2-40B4-BE49-F238E27FC236}">
                  <a16:creationId xmlns:a16="http://schemas.microsoft.com/office/drawing/2014/main" id="{EA533EEF-E124-49D1-B701-DC7BA7AB5763}"/>
                </a:ext>
              </a:extLst>
            </p:cNvPr>
            <p:cNvSpPr>
              <a:spLocks/>
            </p:cNvSpPr>
            <p:nvPr/>
          </p:nvSpPr>
          <p:spPr bwMode="auto">
            <a:xfrm>
              <a:off x="8829676" y="1563688"/>
              <a:ext cx="28575" cy="9525"/>
            </a:xfrm>
            <a:custGeom>
              <a:avLst/>
              <a:gdLst>
                <a:gd name="T0" fmla="*/ 76 w 91"/>
                <a:gd name="T1" fmla="*/ 0 h 30"/>
                <a:gd name="T2" fmla="*/ 16 w 91"/>
                <a:gd name="T3" fmla="*/ 0 h 30"/>
                <a:gd name="T4" fmla="*/ 13 w 91"/>
                <a:gd name="T5" fmla="*/ 0 h 30"/>
                <a:gd name="T6" fmla="*/ 9 w 91"/>
                <a:gd name="T7" fmla="*/ 1 h 30"/>
                <a:gd name="T8" fmla="*/ 7 w 91"/>
                <a:gd name="T9" fmla="*/ 2 h 30"/>
                <a:gd name="T10" fmla="*/ 5 w 91"/>
                <a:gd name="T11" fmla="*/ 4 h 30"/>
                <a:gd name="T12" fmla="*/ 3 w 91"/>
                <a:gd name="T13" fmla="*/ 6 h 30"/>
                <a:gd name="T14" fmla="*/ 2 w 91"/>
                <a:gd name="T15" fmla="*/ 10 h 30"/>
                <a:gd name="T16" fmla="*/ 1 w 91"/>
                <a:gd name="T17" fmla="*/ 12 h 30"/>
                <a:gd name="T18" fmla="*/ 0 w 91"/>
                <a:gd name="T19" fmla="*/ 15 h 30"/>
                <a:gd name="T20" fmla="*/ 1 w 91"/>
                <a:gd name="T21" fmla="*/ 18 h 30"/>
                <a:gd name="T22" fmla="*/ 2 w 91"/>
                <a:gd name="T23" fmla="*/ 21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1 h 30"/>
                <a:gd name="T50" fmla="*/ 90 w 91"/>
                <a:gd name="T51" fmla="*/ 18 h 30"/>
                <a:gd name="T52" fmla="*/ 91 w 91"/>
                <a:gd name="T53" fmla="*/ 15 h 30"/>
                <a:gd name="T54" fmla="*/ 90 w 91"/>
                <a:gd name="T55" fmla="*/ 12 h 30"/>
                <a:gd name="T56" fmla="*/ 90 w 91"/>
                <a:gd name="T57" fmla="*/ 10 h 30"/>
                <a:gd name="T58" fmla="*/ 88 w 91"/>
                <a:gd name="T59" fmla="*/ 6 h 30"/>
                <a:gd name="T60" fmla="*/ 87 w 91"/>
                <a:gd name="T61" fmla="*/ 4 h 30"/>
                <a:gd name="T62" fmla="*/ 83 w 91"/>
                <a:gd name="T63" fmla="*/ 2 h 30"/>
                <a:gd name="T64" fmla="*/ 81 w 91"/>
                <a:gd name="T65" fmla="*/ 1 h 30"/>
                <a:gd name="T66" fmla="*/ 78 w 91"/>
                <a:gd name="T67" fmla="*/ 0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0"/>
                  </a:lnTo>
                  <a:lnTo>
                    <a:pt x="9" y="1"/>
                  </a:lnTo>
                  <a:lnTo>
                    <a:pt x="7" y="2"/>
                  </a:lnTo>
                  <a:lnTo>
                    <a:pt x="5" y="4"/>
                  </a:lnTo>
                  <a:lnTo>
                    <a:pt x="3" y="6"/>
                  </a:lnTo>
                  <a:lnTo>
                    <a:pt x="2" y="10"/>
                  </a:lnTo>
                  <a:lnTo>
                    <a:pt x="1" y="12"/>
                  </a:lnTo>
                  <a:lnTo>
                    <a:pt x="0" y="15"/>
                  </a:lnTo>
                  <a:lnTo>
                    <a:pt x="1" y="18"/>
                  </a:lnTo>
                  <a:lnTo>
                    <a:pt x="2" y="21"/>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1"/>
                  </a:lnTo>
                  <a:lnTo>
                    <a:pt x="90" y="18"/>
                  </a:lnTo>
                  <a:lnTo>
                    <a:pt x="91" y="15"/>
                  </a:lnTo>
                  <a:lnTo>
                    <a:pt x="90" y="12"/>
                  </a:lnTo>
                  <a:lnTo>
                    <a:pt x="90" y="10"/>
                  </a:lnTo>
                  <a:lnTo>
                    <a:pt x="88" y="6"/>
                  </a:lnTo>
                  <a:lnTo>
                    <a:pt x="87" y="4"/>
                  </a:lnTo>
                  <a:lnTo>
                    <a:pt x="83" y="2"/>
                  </a:lnTo>
                  <a:lnTo>
                    <a:pt x="81" y="1"/>
                  </a:lnTo>
                  <a:lnTo>
                    <a:pt x="78"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371">
              <a:extLst>
                <a:ext uri="{FF2B5EF4-FFF2-40B4-BE49-F238E27FC236}">
                  <a16:creationId xmlns:a16="http://schemas.microsoft.com/office/drawing/2014/main" id="{64CA3CA8-39C2-4603-AB8A-2BBFA38FF93C}"/>
                </a:ext>
              </a:extLst>
            </p:cNvPr>
            <p:cNvSpPr>
              <a:spLocks/>
            </p:cNvSpPr>
            <p:nvPr/>
          </p:nvSpPr>
          <p:spPr bwMode="auto">
            <a:xfrm>
              <a:off x="8829676" y="1592263"/>
              <a:ext cx="28575" cy="9525"/>
            </a:xfrm>
            <a:custGeom>
              <a:avLst/>
              <a:gdLst>
                <a:gd name="T0" fmla="*/ 76 w 91"/>
                <a:gd name="T1" fmla="*/ 0 h 30"/>
                <a:gd name="T2" fmla="*/ 16 w 91"/>
                <a:gd name="T3" fmla="*/ 0 h 30"/>
                <a:gd name="T4" fmla="*/ 13 w 91"/>
                <a:gd name="T5" fmla="*/ 1 h 30"/>
                <a:gd name="T6" fmla="*/ 9 w 91"/>
                <a:gd name="T7" fmla="*/ 1 h 30"/>
                <a:gd name="T8" fmla="*/ 7 w 91"/>
                <a:gd name="T9" fmla="*/ 3 h 30"/>
                <a:gd name="T10" fmla="*/ 5 w 91"/>
                <a:gd name="T11" fmla="*/ 4 h 30"/>
                <a:gd name="T12" fmla="*/ 3 w 91"/>
                <a:gd name="T13" fmla="*/ 8 h 30"/>
                <a:gd name="T14" fmla="*/ 2 w 91"/>
                <a:gd name="T15" fmla="*/ 10 h 30"/>
                <a:gd name="T16" fmla="*/ 1 w 91"/>
                <a:gd name="T17" fmla="*/ 13 h 30"/>
                <a:gd name="T18" fmla="*/ 0 w 91"/>
                <a:gd name="T19" fmla="*/ 15 h 30"/>
                <a:gd name="T20" fmla="*/ 1 w 91"/>
                <a:gd name="T21" fmla="*/ 18 h 30"/>
                <a:gd name="T22" fmla="*/ 2 w 91"/>
                <a:gd name="T23" fmla="*/ 22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2 h 30"/>
                <a:gd name="T50" fmla="*/ 90 w 91"/>
                <a:gd name="T51" fmla="*/ 18 h 30"/>
                <a:gd name="T52" fmla="*/ 91 w 91"/>
                <a:gd name="T53" fmla="*/ 15 h 30"/>
                <a:gd name="T54" fmla="*/ 90 w 91"/>
                <a:gd name="T55" fmla="*/ 13 h 30"/>
                <a:gd name="T56" fmla="*/ 90 w 91"/>
                <a:gd name="T57" fmla="*/ 10 h 30"/>
                <a:gd name="T58" fmla="*/ 88 w 91"/>
                <a:gd name="T59" fmla="*/ 8 h 30"/>
                <a:gd name="T60" fmla="*/ 87 w 91"/>
                <a:gd name="T61" fmla="*/ 4 h 30"/>
                <a:gd name="T62" fmla="*/ 83 w 91"/>
                <a:gd name="T63" fmla="*/ 3 h 30"/>
                <a:gd name="T64" fmla="*/ 81 w 91"/>
                <a:gd name="T65" fmla="*/ 1 h 30"/>
                <a:gd name="T66" fmla="*/ 78 w 91"/>
                <a:gd name="T67" fmla="*/ 1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1"/>
                  </a:lnTo>
                  <a:lnTo>
                    <a:pt x="9" y="1"/>
                  </a:lnTo>
                  <a:lnTo>
                    <a:pt x="7" y="3"/>
                  </a:lnTo>
                  <a:lnTo>
                    <a:pt x="5" y="4"/>
                  </a:lnTo>
                  <a:lnTo>
                    <a:pt x="3" y="8"/>
                  </a:lnTo>
                  <a:lnTo>
                    <a:pt x="2" y="10"/>
                  </a:lnTo>
                  <a:lnTo>
                    <a:pt x="1" y="13"/>
                  </a:lnTo>
                  <a:lnTo>
                    <a:pt x="0" y="15"/>
                  </a:lnTo>
                  <a:lnTo>
                    <a:pt x="1" y="18"/>
                  </a:lnTo>
                  <a:lnTo>
                    <a:pt x="2" y="22"/>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2"/>
                  </a:lnTo>
                  <a:lnTo>
                    <a:pt x="90" y="18"/>
                  </a:lnTo>
                  <a:lnTo>
                    <a:pt x="91" y="15"/>
                  </a:lnTo>
                  <a:lnTo>
                    <a:pt x="90" y="13"/>
                  </a:lnTo>
                  <a:lnTo>
                    <a:pt x="90" y="10"/>
                  </a:lnTo>
                  <a:lnTo>
                    <a:pt x="88" y="8"/>
                  </a:lnTo>
                  <a:lnTo>
                    <a:pt x="87" y="4"/>
                  </a:lnTo>
                  <a:lnTo>
                    <a:pt x="83" y="3"/>
                  </a:lnTo>
                  <a:lnTo>
                    <a:pt x="81" y="1"/>
                  </a:lnTo>
                  <a:lnTo>
                    <a:pt x="78"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372">
              <a:extLst>
                <a:ext uri="{FF2B5EF4-FFF2-40B4-BE49-F238E27FC236}">
                  <a16:creationId xmlns:a16="http://schemas.microsoft.com/office/drawing/2014/main" id="{748C1B01-6C92-4A02-937D-204D89240CF3}"/>
                </a:ext>
              </a:extLst>
            </p:cNvPr>
            <p:cNvSpPr>
              <a:spLocks/>
            </p:cNvSpPr>
            <p:nvPr/>
          </p:nvSpPr>
          <p:spPr bwMode="auto">
            <a:xfrm>
              <a:off x="8901113" y="15636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2 h 30"/>
                <a:gd name="T10" fmla="*/ 4 w 90"/>
                <a:gd name="T11" fmla="*/ 4 h 30"/>
                <a:gd name="T12" fmla="*/ 2 w 90"/>
                <a:gd name="T13" fmla="*/ 6 h 30"/>
                <a:gd name="T14" fmla="*/ 1 w 90"/>
                <a:gd name="T15" fmla="*/ 10 h 30"/>
                <a:gd name="T16" fmla="*/ 0 w 90"/>
                <a:gd name="T17" fmla="*/ 12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1 h 30"/>
                <a:gd name="T50" fmla="*/ 90 w 90"/>
                <a:gd name="T51" fmla="*/ 18 h 30"/>
                <a:gd name="T52" fmla="*/ 90 w 90"/>
                <a:gd name="T53" fmla="*/ 15 h 30"/>
                <a:gd name="T54" fmla="*/ 90 w 90"/>
                <a:gd name="T55" fmla="*/ 12 h 30"/>
                <a:gd name="T56" fmla="*/ 89 w 90"/>
                <a:gd name="T57" fmla="*/ 10 h 30"/>
                <a:gd name="T58" fmla="*/ 88 w 90"/>
                <a:gd name="T59" fmla="*/ 6 h 30"/>
                <a:gd name="T60" fmla="*/ 86 w 90"/>
                <a:gd name="T61" fmla="*/ 4 h 30"/>
                <a:gd name="T62" fmla="*/ 84 w 90"/>
                <a:gd name="T63" fmla="*/ 2 h 30"/>
                <a:gd name="T64" fmla="*/ 82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10" y="1"/>
                  </a:lnTo>
                  <a:lnTo>
                    <a:pt x="6" y="2"/>
                  </a:lnTo>
                  <a:lnTo>
                    <a:pt x="4" y="4"/>
                  </a:lnTo>
                  <a:lnTo>
                    <a:pt x="2" y="6"/>
                  </a:lnTo>
                  <a:lnTo>
                    <a:pt x="1" y="10"/>
                  </a:lnTo>
                  <a:lnTo>
                    <a:pt x="0" y="12"/>
                  </a:lnTo>
                  <a:lnTo>
                    <a:pt x="0" y="15"/>
                  </a:lnTo>
                  <a:lnTo>
                    <a:pt x="0" y="18"/>
                  </a:lnTo>
                  <a:lnTo>
                    <a:pt x="1" y="21"/>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1"/>
                  </a:lnTo>
                  <a:lnTo>
                    <a:pt x="90" y="18"/>
                  </a:lnTo>
                  <a:lnTo>
                    <a:pt x="90" y="15"/>
                  </a:lnTo>
                  <a:lnTo>
                    <a:pt x="90" y="12"/>
                  </a:lnTo>
                  <a:lnTo>
                    <a:pt x="89" y="10"/>
                  </a:lnTo>
                  <a:lnTo>
                    <a:pt x="88" y="6"/>
                  </a:lnTo>
                  <a:lnTo>
                    <a:pt x="86" y="4"/>
                  </a:lnTo>
                  <a:lnTo>
                    <a:pt x="84" y="2"/>
                  </a:lnTo>
                  <a:lnTo>
                    <a:pt x="82"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373">
              <a:extLst>
                <a:ext uri="{FF2B5EF4-FFF2-40B4-BE49-F238E27FC236}">
                  <a16:creationId xmlns:a16="http://schemas.microsoft.com/office/drawing/2014/main" id="{C1AEAC9C-73E6-4A21-885C-8FEC03DEA1AA}"/>
                </a:ext>
              </a:extLst>
            </p:cNvPr>
            <p:cNvSpPr>
              <a:spLocks/>
            </p:cNvSpPr>
            <p:nvPr/>
          </p:nvSpPr>
          <p:spPr bwMode="auto">
            <a:xfrm>
              <a:off x="8901113" y="1592263"/>
              <a:ext cx="28575" cy="9525"/>
            </a:xfrm>
            <a:custGeom>
              <a:avLst/>
              <a:gdLst>
                <a:gd name="T0" fmla="*/ 75 w 90"/>
                <a:gd name="T1" fmla="*/ 0 h 30"/>
                <a:gd name="T2" fmla="*/ 15 w 90"/>
                <a:gd name="T3" fmla="*/ 0 h 30"/>
                <a:gd name="T4" fmla="*/ 12 w 90"/>
                <a:gd name="T5" fmla="*/ 1 h 30"/>
                <a:gd name="T6" fmla="*/ 10 w 90"/>
                <a:gd name="T7" fmla="*/ 1 h 30"/>
                <a:gd name="T8" fmla="*/ 6 w 90"/>
                <a:gd name="T9" fmla="*/ 3 h 30"/>
                <a:gd name="T10" fmla="*/ 4 w 90"/>
                <a:gd name="T11" fmla="*/ 4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2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2 h 30"/>
                <a:gd name="T50" fmla="*/ 90 w 90"/>
                <a:gd name="T51" fmla="*/ 18 h 30"/>
                <a:gd name="T52" fmla="*/ 90 w 90"/>
                <a:gd name="T53" fmla="*/ 15 h 30"/>
                <a:gd name="T54" fmla="*/ 90 w 90"/>
                <a:gd name="T55" fmla="*/ 13 h 30"/>
                <a:gd name="T56" fmla="*/ 89 w 90"/>
                <a:gd name="T57" fmla="*/ 10 h 30"/>
                <a:gd name="T58" fmla="*/ 88 w 90"/>
                <a:gd name="T59" fmla="*/ 8 h 30"/>
                <a:gd name="T60" fmla="*/ 86 w 90"/>
                <a:gd name="T61" fmla="*/ 4 h 30"/>
                <a:gd name="T62" fmla="*/ 84 w 90"/>
                <a:gd name="T63" fmla="*/ 3 h 30"/>
                <a:gd name="T64" fmla="*/ 82 w 90"/>
                <a:gd name="T65" fmla="*/ 1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10" y="1"/>
                  </a:lnTo>
                  <a:lnTo>
                    <a:pt x="6" y="3"/>
                  </a:lnTo>
                  <a:lnTo>
                    <a:pt x="4" y="4"/>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2"/>
                  </a:lnTo>
                  <a:lnTo>
                    <a:pt x="90" y="18"/>
                  </a:lnTo>
                  <a:lnTo>
                    <a:pt x="90" y="15"/>
                  </a:lnTo>
                  <a:lnTo>
                    <a:pt x="90" y="13"/>
                  </a:lnTo>
                  <a:lnTo>
                    <a:pt x="89" y="10"/>
                  </a:lnTo>
                  <a:lnTo>
                    <a:pt x="88" y="8"/>
                  </a:lnTo>
                  <a:lnTo>
                    <a:pt x="86" y="4"/>
                  </a:lnTo>
                  <a:lnTo>
                    <a:pt x="84" y="3"/>
                  </a:lnTo>
                  <a:lnTo>
                    <a:pt x="82" y="1"/>
                  </a:lnTo>
                  <a:lnTo>
                    <a:pt x="78" y="1"/>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374">
              <a:extLst>
                <a:ext uri="{FF2B5EF4-FFF2-40B4-BE49-F238E27FC236}">
                  <a16:creationId xmlns:a16="http://schemas.microsoft.com/office/drawing/2014/main" id="{2598B2A1-2DA4-4247-AF0C-EDAF141BB556}"/>
                </a:ext>
              </a:extLst>
            </p:cNvPr>
            <p:cNvSpPr>
              <a:spLocks/>
            </p:cNvSpPr>
            <p:nvPr/>
          </p:nvSpPr>
          <p:spPr bwMode="auto">
            <a:xfrm>
              <a:off x="8974138" y="1563688"/>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1 h 30"/>
                <a:gd name="T16" fmla="*/ 89 w 90"/>
                <a:gd name="T17" fmla="*/ 18 h 30"/>
                <a:gd name="T18" fmla="*/ 90 w 90"/>
                <a:gd name="T19" fmla="*/ 15 h 30"/>
                <a:gd name="T20" fmla="*/ 89 w 90"/>
                <a:gd name="T21" fmla="*/ 12 h 30"/>
                <a:gd name="T22" fmla="*/ 89 w 90"/>
                <a:gd name="T23" fmla="*/ 10 h 30"/>
                <a:gd name="T24" fmla="*/ 87 w 90"/>
                <a:gd name="T25" fmla="*/ 6 h 30"/>
                <a:gd name="T26" fmla="*/ 86 w 90"/>
                <a:gd name="T27" fmla="*/ 4 h 30"/>
                <a:gd name="T28" fmla="*/ 84 w 90"/>
                <a:gd name="T29" fmla="*/ 3 h 30"/>
                <a:gd name="T30" fmla="*/ 81 w 90"/>
                <a:gd name="T31" fmla="*/ 1 h 30"/>
                <a:gd name="T32" fmla="*/ 79 w 90"/>
                <a:gd name="T33" fmla="*/ 0 h 30"/>
                <a:gd name="T34" fmla="*/ 75 w 90"/>
                <a:gd name="T35" fmla="*/ 0 h 30"/>
                <a:gd name="T36" fmla="*/ 15 w 90"/>
                <a:gd name="T37" fmla="*/ 0 h 30"/>
                <a:gd name="T38" fmla="*/ 12 w 90"/>
                <a:gd name="T39" fmla="*/ 0 h 30"/>
                <a:gd name="T40" fmla="*/ 9 w 90"/>
                <a:gd name="T41" fmla="*/ 1 h 30"/>
                <a:gd name="T42" fmla="*/ 7 w 90"/>
                <a:gd name="T43" fmla="*/ 2 h 30"/>
                <a:gd name="T44" fmla="*/ 5 w 90"/>
                <a:gd name="T45" fmla="*/ 4 h 30"/>
                <a:gd name="T46" fmla="*/ 2 w 90"/>
                <a:gd name="T47" fmla="*/ 6 h 30"/>
                <a:gd name="T48" fmla="*/ 1 w 90"/>
                <a:gd name="T49" fmla="*/ 10 h 30"/>
                <a:gd name="T50" fmla="*/ 0 w 90"/>
                <a:gd name="T51" fmla="*/ 12 h 30"/>
                <a:gd name="T52" fmla="*/ 0 w 90"/>
                <a:gd name="T53" fmla="*/ 15 h 30"/>
                <a:gd name="T54" fmla="*/ 0 w 90"/>
                <a:gd name="T55" fmla="*/ 18 h 30"/>
                <a:gd name="T56" fmla="*/ 1 w 90"/>
                <a:gd name="T57" fmla="*/ 21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 name="T70" fmla="*/ 15 w 9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15" y="30"/>
                  </a:moveTo>
                  <a:lnTo>
                    <a:pt x="75" y="30"/>
                  </a:lnTo>
                  <a:lnTo>
                    <a:pt x="79" y="30"/>
                  </a:lnTo>
                  <a:lnTo>
                    <a:pt x="81" y="29"/>
                  </a:lnTo>
                  <a:lnTo>
                    <a:pt x="84" y="28"/>
                  </a:lnTo>
                  <a:lnTo>
                    <a:pt x="86" y="26"/>
                  </a:lnTo>
                  <a:lnTo>
                    <a:pt x="87" y="24"/>
                  </a:lnTo>
                  <a:lnTo>
                    <a:pt x="89" y="21"/>
                  </a:lnTo>
                  <a:lnTo>
                    <a:pt x="89" y="18"/>
                  </a:lnTo>
                  <a:lnTo>
                    <a:pt x="90" y="15"/>
                  </a:lnTo>
                  <a:lnTo>
                    <a:pt x="89" y="12"/>
                  </a:lnTo>
                  <a:lnTo>
                    <a:pt x="89" y="10"/>
                  </a:lnTo>
                  <a:lnTo>
                    <a:pt x="87" y="6"/>
                  </a:lnTo>
                  <a:lnTo>
                    <a:pt x="86" y="4"/>
                  </a:lnTo>
                  <a:lnTo>
                    <a:pt x="84" y="3"/>
                  </a:lnTo>
                  <a:lnTo>
                    <a:pt x="81" y="1"/>
                  </a:lnTo>
                  <a:lnTo>
                    <a:pt x="79" y="0"/>
                  </a:lnTo>
                  <a:lnTo>
                    <a:pt x="75" y="0"/>
                  </a:lnTo>
                  <a:lnTo>
                    <a:pt x="15" y="0"/>
                  </a:lnTo>
                  <a:lnTo>
                    <a:pt x="12" y="0"/>
                  </a:lnTo>
                  <a:lnTo>
                    <a:pt x="9" y="1"/>
                  </a:lnTo>
                  <a:lnTo>
                    <a:pt x="7" y="2"/>
                  </a:lnTo>
                  <a:lnTo>
                    <a:pt x="5" y="4"/>
                  </a:lnTo>
                  <a:lnTo>
                    <a:pt x="2" y="6"/>
                  </a:lnTo>
                  <a:lnTo>
                    <a:pt x="1" y="10"/>
                  </a:lnTo>
                  <a:lnTo>
                    <a:pt x="0" y="12"/>
                  </a:lnTo>
                  <a:lnTo>
                    <a:pt x="0" y="15"/>
                  </a:lnTo>
                  <a:lnTo>
                    <a:pt x="0" y="18"/>
                  </a:lnTo>
                  <a:lnTo>
                    <a:pt x="1" y="21"/>
                  </a:lnTo>
                  <a:lnTo>
                    <a:pt x="2" y="24"/>
                  </a:lnTo>
                  <a:lnTo>
                    <a:pt x="5" y="26"/>
                  </a:lnTo>
                  <a:lnTo>
                    <a:pt x="7" y="28"/>
                  </a:lnTo>
                  <a:lnTo>
                    <a:pt x="9"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375">
              <a:extLst>
                <a:ext uri="{FF2B5EF4-FFF2-40B4-BE49-F238E27FC236}">
                  <a16:creationId xmlns:a16="http://schemas.microsoft.com/office/drawing/2014/main" id="{483C1D15-E0B0-4CCD-8747-B968F1CC2908}"/>
                </a:ext>
              </a:extLst>
            </p:cNvPr>
            <p:cNvSpPr>
              <a:spLocks/>
            </p:cNvSpPr>
            <p:nvPr/>
          </p:nvSpPr>
          <p:spPr bwMode="auto">
            <a:xfrm>
              <a:off x="8974138" y="1592263"/>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2 h 30"/>
                <a:gd name="T16" fmla="*/ 89 w 90"/>
                <a:gd name="T17" fmla="*/ 18 h 30"/>
                <a:gd name="T18" fmla="*/ 90 w 90"/>
                <a:gd name="T19" fmla="*/ 15 h 30"/>
                <a:gd name="T20" fmla="*/ 89 w 90"/>
                <a:gd name="T21" fmla="*/ 13 h 30"/>
                <a:gd name="T22" fmla="*/ 89 w 90"/>
                <a:gd name="T23" fmla="*/ 10 h 30"/>
                <a:gd name="T24" fmla="*/ 87 w 90"/>
                <a:gd name="T25" fmla="*/ 8 h 30"/>
                <a:gd name="T26" fmla="*/ 86 w 90"/>
                <a:gd name="T27" fmla="*/ 4 h 30"/>
                <a:gd name="T28" fmla="*/ 84 w 90"/>
                <a:gd name="T29" fmla="*/ 3 h 30"/>
                <a:gd name="T30" fmla="*/ 81 w 90"/>
                <a:gd name="T31" fmla="*/ 1 h 30"/>
                <a:gd name="T32" fmla="*/ 79 w 90"/>
                <a:gd name="T33" fmla="*/ 1 h 30"/>
                <a:gd name="T34" fmla="*/ 75 w 90"/>
                <a:gd name="T35" fmla="*/ 0 h 30"/>
                <a:gd name="T36" fmla="*/ 15 w 90"/>
                <a:gd name="T37" fmla="*/ 0 h 30"/>
                <a:gd name="T38" fmla="*/ 12 w 90"/>
                <a:gd name="T39" fmla="*/ 1 h 30"/>
                <a:gd name="T40" fmla="*/ 9 w 90"/>
                <a:gd name="T41" fmla="*/ 1 h 30"/>
                <a:gd name="T42" fmla="*/ 7 w 90"/>
                <a:gd name="T43" fmla="*/ 3 h 30"/>
                <a:gd name="T44" fmla="*/ 5 w 90"/>
                <a:gd name="T45" fmla="*/ 4 h 30"/>
                <a:gd name="T46" fmla="*/ 2 w 90"/>
                <a:gd name="T47" fmla="*/ 8 h 30"/>
                <a:gd name="T48" fmla="*/ 1 w 90"/>
                <a:gd name="T49" fmla="*/ 10 h 30"/>
                <a:gd name="T50" fmla="*/ 0 w 90"/>
                <a:gd name="T51" fmla="*/ 13 h 30"/>
                <a:gd name="T52" fmla="*/ 0 w 90"/>
                <a:gd name="T53" fmla="*/ 15 h 30"/>
                <a:gd name="T54" fmla="*/ 0 w 90"/>
                <a:gd name="T55" fmla="*/ 18 h 30"/>
                <a:gd name="T56" fmla="*/ 1 w 90"/>
                <a:gd name="T57" fmla="*/ 22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15" y="30"/>
                  </a:moveTo>
                  <a:lnTo>
                    <a:pt x="75" y="30"/>
                  </a:lnTo>
                  <a:lnTo>
                    <a:pt x="79" y="30"/>
                  </a:lnTo>
                  <a:lnTo>
                    <a:pt x="81" y="29"/>
                  </a:lnTo>
                  <a:lnTo>
                    <a:pt x="84" y="28"/>
                  </a:lnTo>
                  <a:lnTo>
                    <a:pt x="86" y="26"/>
                  </a:lnTo>
                  <a:lnTo>
                    <a:pt x="87" y="24"/>
                  </a:lnTo>
                  <a:lnTo>
                    <a:pt x="89" y="22"/>
                  </a:lnTo>
                  <a:lnTo>
                    <a:pt x="89" y="18"/>
                  </a:lnTo>
                  <a:lnTo>
                    <a:pt x="90" y="15"/>
                  </a:lnTo>
                  <a:lnTo>
                    <a:pt x="89" y="13"/>
                  </a:lnTo>
                  <a:lnTo>
                    <a:pt x="89" y="10"/>
                  </a:lnTo>
                  <a:lnTo>
                    <a:pt x="87" y="8"/>
                  </a:lnTo>
                  <a:lnTo>
                    <a:pt x="86" y="4"/>
                  </a:lnTo>
                  <a:lnTo>
                    <a:pt x="84" y="3"/>
                  </a:lnTo>
                  <a:lnTo>
                    <a:pt x="81" y="1"/>
                  </a:lnTo>
                  <a:lnTo>
                    <a:pt x="79" y="1"/>
                  </a:lnTo>
                  <a:lnTo>
                    <a:pt x="75" y="0"/>
                  </a:lnTo>
                  <a:lnTo>
                    <a:pt x="15" y="0"/>
                  </a:lnTo>
                  <a:lnTo>
                    <a:pt x="12" y="1"/>
                  </a:lnTo>
                  <a:lnTo>
                    <a:pt x="9" y="1"/>
                  </a:lnTo>
                  <a:lnTo>
                    <a:pt x="7" y="3"/>
                  </a:lnTo>
                  <a:lnTo>
                    <a:pt x="5" y="4"/>
                  </a:lnTo>
                  <a:lnTo>
                    <a:pt x="2" y="8"/>
                  </a:lnTo>
                  <a:lnTo>
                    <a:pt x="1" y="10"/>
                  </a:lnTo>
                  <a:lnTo>
                    <a:pt x="0" y="13"/>
                  </a:lnTo>
                  <a:lnTo>
                    <a:pt x="0" y="15"/>
                  </a:lnTo>
                  <a:lnTo>
                    <a:pt x="0" y="18"/>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376">
              <a:extLst>
                <a:ext uri="{FF2B5EF4-FFF2-40B4-BE49-F238E27FC236}">
                  <a16:creationId xmlns:a16="http://schemas.microsoft.com/office/drawing/2014/main" id="{73823160-ACCE-4CD5-BBFF-361E9C61D6C2}"/>
                </a:ext>
              </a:extLst>
            </p:cNvPr>
            <p:cNvSpPr>
              <a:spLocks noEditPoints="1"/>
            </p:cNvSpPr>
            <p:nvPr/>
          </p:nvSpPr>
          <p:spPr bwMode="auto">
            <a:xfrm>
              <a:off x="8743951" y="1401763"/>
              <a:ext cx="287338" cy="228600"/>
            </a:xfrm>
            <a:custGeom>
              <a:avLst/>
              <a:gdLst>
                <a:gd name="T0" fmla="*/ 873 w 903"/>
                <a:gd name="T1" fmla="*/ 692 h 722"/>
                <a:gd name="T2" fmla="*/ 30 w 903"/>
                <a:gd name="T3" fmla="*/ 692 h 722"/>
                <a:gd name="T4" fmla="*/ 30 w 903"/>
                <a:gd name="T5" fmla="*/ 394 h 722"/>
                <a:gd name="T6" fmla="*/ 86 w 903"/>
                <a:gd name="T7" fmla="*/ 30 h 722"/>
                <a:gd name="T8" fmla="*/ 126 w 903"/>
                <a:gd name="T9" fmla="*/ 30 h 722"/>
                <a:gd name="T10" fmla="*/ 197 w 903"/>
                <a:gd name="T11" fmla="*/ 397 h 722"/>
                <a:gd name="T12" fmla="*/ 205 w 903"/>
                <a:gd name="T13" fmla="*/ 442 h 722"/>
                <a:gd name="T14" fmla="*/ 243 w 903"/>
                <a:gd name="T15" fmla="*/ 417 h 722"/>
                <a:gd name="T16" fmla="*/ 422 w 903"/>
                <a:gd name="T17" fmla="*/ 297 h 722"/>
                <a:gd name="T18" fmla="*/ 422 w 903"/>
                <a:gd name="T19" fmla="*/ 392 h 722"/>
                <a:gd name="T20" fmla="*/ 422 w 903"/>
                <a:gd name="T21" fmla="*/ 448 h 722"/>
                <a:gd name="T22" fmla="*/ 468 w 903"/>
                <a:gd name="T23" fmla="*/ 417 h 722"/>
                <a:gd name="T24" fmla="*/ 647 w 903"/>
                <a:gd name="T25" fmla="*/ 297 h 722"/>
                <a:gd name="T26" fmla="*/ 647 w 903"/>
                <a:gd name="T27" fmla="*/ 392 h 722"/>
                <a:gd name="T28" fmla="*/ 647 w 903"/>
                <a:gd name="T29" fmla="*/ 448 h 722"/>
                <a:gd name="T30" fmla="*/ 694 w 903"/>
                <a:gd name="T31" fmla="*/ 417 h 722"/>
                <a:gd name="T32" fmla="*/ 873 w 903"/>
                <a:gd name="T33" fmla="*/ 297 h 722"/>
                <a:gd name="T34" fmla="*/ 873 w 903"/>
                <a:gd name="T35" fmla="*/ 692 h 722"/>
                <a:gd name="T36" fmla="*/ 677 w 903"/>
                <a:gd name="T37" fmla="*/ 392 h 722"/>
                <a:gd name="T38" fmla="*/ 677 w 903"/>
                <a:gd name="T39" fmla="*/ 241 h 722"/>
                <a:gd name="T40" fmla="*/ 452 w 903"/>
                <a:gd name="T41" fmla="*/ 392 h 722"/>
                <a:gd name="T42" fmla="*/ 452 w 903"/>
                <a:gd name="T43" fmla="*/ 241 h 722"/>
                <a:gd name="T44" fmla="*/ 226 w 903"/>
                <a:gd name="T45" fmla="*/ 392 h 722"/>
                <a:gd name="T46" fmla="*/ 151 w 903"/>
                <a:gd name="T47" fmla="*/ 0 h 722"/>
                <a:gd name="T48" fmla="*/ 60 w 903"/>
                <a:gd name="T49" fmla="*/ 0 h 722"/>
                <a:gd name="T50" fmla="*/ 0 w 903"/>
                <a:gd name="T51" fmla="*/ 392 h 722"/>
                <a:gd name="T52" fmla="*/ 0 w 903"/>
                <a:gd name="T53" fmla="*/ 722 h 722"/>
                <a:gd name="T54" fmla="*/ 903 w 903"/>
                <a:gd name="T55" fmla="*/ 722 h 722"/>
                <a:gd name="T56" fmla="*/ 903 w 903"/>
                <a:gd name="T57" fmla="*/ 241 h 722"/>
                <a:gd name="T58" fmla="*/ 677 w 903"/>
                <a:gd name="T59" fmla="*/ 39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3" h="722">
                  <a:moveTo>
                    <a:pt x="873" y="692"/>
                  </a:moveTo>
                  <a:lnTo>
                    <a:pt x="30" y="692"/>
                  </a:lnTo>
                  <a:lnTo>
                    <a:pt x="30" y="394"/>
                  </a:lnTo>
                  <a:lnTo>
                    <a:pt x="86" y="30"/>
                  </a:lnTo>
                  <a:lnTo>
                    <a:pt x="126" y="30"/>
                  </a:lnTo>
                  <a:lnTo>
                    <a:pt x="197" y="397"/>
                  </a:lnTo>
                  <a:lnTo>
                    <a:pt x="205" y="442"/>
                  </a:lnTo>
                  <a:lnTo>
                    <a:pt x="243" y="417"/>
                  </a:lnTo>
                  <a:lnTo>
                    <a:pt x="422" y="297"/>
                  </a:lnTo>
                  <a:lnTo>
                    <a:pt x="422" y="392"/>
                  </a:lnTo>
                  <a:lnTo>
                    <a:pt x="422" y="448"/>
                  </a:lnTo>
                  <a:lnTo>
                    <a:pt x="468" y="417"/>
                  </a:lnTo>
                  <a:lnTo>
                    <a:pt x="647" y="297"/>
                  </a:lnTo>
                  <a:lnTo>
                    <a:pt x="647" y="392"/>
                  </a:lnTo>
                  <a:lnTo>
                    <a:pt x="647" y="448"/>
                  </a:lnTo>
                  <a:lnTo>
                    <a:pt x="694" y="417"/>
                  </a:lnTo>
                  <a:lnTo>
                    <a:pt x="873" y="297"/>
                  </a:lnTo>
                  <a:lnTo>
                    <a:pt x="873" y="692"/>
                  </a:lnTo>
                  <a:close/>
                  <a:moveTo>
                    <a:pt x="677" y="392"/>
                  </a:moveTo>
                  <a:lnTo>
                    <a:pt x="677" y="241"/>
                  </a:lnTo>
                  <a:lnTo>
                    <a:pt x="452" y="392"/>
                  </a:lnTo>
                  <a:lnTo>
                    <a:pt x="452" y="241"/>
                  </a:lnTo>
                  <a:lnTo>
                    <a:pt x="226" y="392"/>
                  </a:lnTo>
                  <a:lnTo>
                    <a:pt x="151" y="0"/>
                  </a:lnTo>
                  <a:lnTo>
                    <a:pt x="60" y="0"/>
                  </a:lnTo>
                  <a:lnTo>
                    <a:pt x="0" y="392"/>
                  </a:lnTo>
                  <a:lnTo>
                    <a:pt x="0" y="722"/>
                  </a:lnTo>
                  <a:lnTo>
                    <a:pt x="903" y="722"/>
                  </a:lnTo>
                  <a:lnTo>
                    <a:pt x="903" y="241"/>
                  </a:lnTo>
                  <a:lnTo>
                    <a:pt x="67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1" name="Group 227">
            <a:extLst>
              <a:ext uri="{FF2B5EF4-FFF2-40B4-BE49-F238E27FC236}">
                <a16:creationId xmlns:a16="http://schemas.microsoft.com/office/drawing/2014/main" id="{77082F66-C021-4991-BCB2-AF399B1C12FF}"/>
              </a:ext>
            </a:extLst>
          </p:cNvPr>
          <p:cNvGrpSpPr>
            <a:grpSpLocks noChangeAspect="1"/>
          </p:cNvGrpSpPr>
          <p:nvPr/>
        </p:nvGrpSpPr>
        <p:grpSpPr>
          <a:xfrm>
            <a:off x="671290" y="3263433"/>
            <a:ext cx="285619" cy="285619"/>
            <a:chOff x="7023101" y="1343025"/>
            <a:chExt cx="287338" cy="287338"/>
          </a:xfrm>
          <a:solidFill>
            <a:schemeClr val="bg1"/>
          </a:solidFill>
          <a:effectLst/>
        </p:grpSpPr>
        <p:sp>
          <p:nvSpPr>
            <p:cNvPr id="1182" name="Freeform 252">
              <a:extLst>
                <a:ext uri="{FF2B5EF4-FFF2-40B4-BE49-F238E27FC236}">
                  <a16:creationId xmlns:a16="http://schemas.microsoft.com/office/drawing/2014/main" id="{D53BB6FF-7BC1-4CBE-B0F5-4EF45542072F}"/>
                </a:ext>
              </a:extLst>
            </p:cNvPr>
            <p:cNvSpPr>
              <a:spLocks/>
            </p:cNvSpPr>
            <p:nvPr/>
          </p:nvSpPr>
          <p:spPr bwMode="auto">
            <a:xfrm>
              <a:off x="7023101" y="1620838"/>
              <a:ext cx="287338" cy="9525"/>
            </a:xfrm>
            <a:custGeom>
              <a:avLst/>
              <a:gdLst>
                <a:gd name="T0" fmla="*/ 888 w 903"/>
                <a:gd name="T1" fmla="*/ 0 h 31"/>
                <a:gd name="T2" fmla="*/ 15 w 903"/>
                <a:gd name="T3" fmla="*/ 0 h 31"/>
                <a:gd name="T4" fmla="*/ 12 w 903"/>
                <a:gd name="T5" fmla="*/ 1 h 31"/>
                <a:gd name="T6" fmla="*/ 10 w 903"/>
                <a:gd name="T7" fmla="*/ 2 h 31"/>
                <a:gd name="T8" fmla="*/ 7 w 903"/>
                <a:gd name="T9" fmla="*/ 4 h 31"/>
                <a:gd name="T10" fmla="*/ 4 w 903"/>
                <a:gd name="T11" fmla="*/ 6 h 31"/>
                <a:gd name="T12" fmla="*/ 3 w 903"/>
                <a:gd name="T13" fmla="*/ 8 h 31"/>
                <a:gd name="T14" fmla="*/ 1 w 903"/>
                <a:gd name="T15" fmla="*/ 10 h 31"/>
                <a:gd name="T16" fmla="*/ 1 w 903"/>
                <a:gd name="T17" fmla="*/ 13 h 31"/>
                <a:gd name="T18" fmla="*/ 0 w 903"/>
                <a:gd name="T19" fmla="*/ 16 h 31"/>
                <a:gd name="T20" fmla="*/ 1 w 903"/>
                <a:gd name="T21" fmla="*/ 19 h 31"/>
                <a:gd name="T22" fmla="*/ 1 w 903"/>
                <a:gd name="T23" fmla="*/ 22 h 31"/>
                <a:gd name="T24" fmla="*/ 3 w 903"/>
                <a:gd name="T25" fmla="*/ 24 h 31"/>
                <a:gd name="T26" fmla="*/ 4 w 903"/>
                <a:gd name="T27" fmla="*/ 26 h 31"/>
                <a:gd name="T28" fmla="*/ 7 w 903"/>
                <a:gd name="T29" fmla="*/ 28 h 31"/>
                <a:gd name="T30" fmla="*/ 10 w 903"/>
                <a:gd name="T31" fmla="*/ 29 h 31"/>
                <a:gd name="T32" fmla="*/ 12 w 903"/>
                <a:gd name="T33" fmla="*/ 30 h 31"/>
                <a:gd name="T34" fmla="*/ 15 w 903"/>
                <a:gd name="T35" fmla="*/ 31 h 31"/>
                <a:gd name="T36" fmla="*/ 888 w 903"/>
                <a:gd name="T37" fmla="*/ 30 h 31"/>
                <a:gd name="T38" fmla="*/ 891 w 903"/>
                <a:gd name="T39" fmla="*/ 30 h 31"/>
                <a:gd name="T40" fmla="*/ 895 w 903"/>
                <a:gd name="T41" fmla="*/ 29 h 31"/>
                <a:gd name="T42" fmla="*/ 897 w 903"/>
                <a:gd name="T43" fmla="*/ 28 h 31"/>
                <a:gd name="T44" fmla="*/ 899 w 903"/>
                <a:gd name="T45" fmla="*/ 26 h 31"/>
                <a:gd name="T46" fmla="*/ 901 w 903"/>
                <a:gd name="T47" fmla="*/ 24 h 31"/>
                <a:gd name="T48" fmla="*/ 902 w 903"/>
                <a:gd name="T49" fmla="*/ 22 h 31"/>
                <a:gd name="T50" fmla="*/ 903 w 903"/>
                <a:gd name="T51" fmla="*/ 19 h 31"/>
                <a:gd name="T52" fmla="*/ 903 w 903"/>
                <a:gd name="T53" fmla="*/ 16 h 31"/>
                <a:gd name="T54" fmla="*/ 903 w 903"/>
                <a:gd name="T55" fmla="*/ 13 h 31"/>
                <a:gd name="T56" fmla="*/ 902 w 903"/>
                <a:gd name="T57" fmla="*/ 10 h 31"/>
                <a:gd name="T58" fmla="*/ 901 w 903"/>
                <a:gd name="T59" fmla="*/ 8 h 31"/>
                <a:gd name="T60" fmla="*/ 899 w 903"/>
                <a:gd name="T61" fmla="*/ 6 h 31"/>
                <a:gd name="T62" fmla="*/ 897 w 903"/>
                <a:gd name="T63" fmla="*/ 4 h 31"/>
                <a:gd name="T64" fmla="*/ 895 w 903"/>
                <a:gd name="T65" fmla="*/ 2 h 31"/>
                <a:gd name="T66" fmla="*/ 891 w 903"/>
                <a:gd name="T67" fmla="*/ 1 h 31"/>
                <a:gd name="T68" fmla="*/ 888 w 903"/>
                <a:gd name="T69" fmla="*/ 1 h 31"/>
                <a:gd name="T70" fmla="*/ 888 w 903"/>
                <a:gd name="T7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3" h="31">
                  <a:moveTo>
                    <a:pt x="888" y="0"/>
                  </a:moveTo>
                  <a:lnTo>
                    <a:pt x="15" y="0"/>
                  </a:lnTo>
                  <a:lnTo>
                    <a:pt x="12" y="1"/>
                  </a:lnTo>
                  <a:lnTo>
                    <a:pt x="10" y="2"/>
                  </a:lnTo>
                  <a:lnTo>
                    <a:pt x="7" y="4"/>
                  </a:lnTo>
                  <a:lnTo>
                    <a:pt x="4" y="6"/>
                  </a:lnTo>
                  <a:lnTo>
                    <a:pt x="3" y="8"/>
                  </a:lnTo>
                  <a:lnTo>
                    <a:pt x="1" y="10"/>
                  </a:lnTo>
                  <a:lnTo>
                    <a:pt x="1" y="13"/>
                  </a:lnTo>
                  <a:lnTo>
                    <a:pt x="0" y="16"/>
                  </a:lnTo>
                  <a:lnTo>
                    <a:pt x="1" y="19"/>
                  </a:lnTo>
                  <a:lnTo>
                    <a:pt x="1" y="22"/>
                  </a:lnTo>
                  <a:lnTo>
                    <a:pt x="3" y="24"/>
                  </a:lnTo>
                  <a:lnTo>
                    <a:pt x="4" y="26"/>
                  </a:lnTo>
                  <a:lnTo>
                    <a:pt x="7" y="28"/>
                  </a:lnTo>
                  <a:lnTo>
                    <a:pt x="10" y="29"/>
                  </a:lnTo>
                  <a:lnTo>
                    <a:pt x="12" y="30"/>
                  </a:lnTo>
                  <a:lnTo>
                    <a:pt x="15" y="31"/>
                  </a:lnTo>
                  <a:lnTo>
                    <a:pt x="888" y="30"/>
                  </a:lnTo>
                  <a:lnTo>
                    <a:pt x="891" y="30"/>
                  </a:lnTo>
                  <a:lnTo>
                    <a:pt x="895" y="29"/>
                  </a:lnTo>
                  <a:lnTo>
                    <a:pt x="897" y="28"/>
                  </a:lnTo>
                  <a:lnTo>
                    <a:pt x="899" y="26"/>
                  </a:lnTo>
                  <a:lnTo>
                    <a:pt x="901" y="24"/>
                  </a:lnTo>
                  <a:lnTo>
                    <a:pt x="902" y="22"/>
                  </a:lnTo>
                  <a:lnTo>
                    <a:pt x="903" y="19"/>
                  </a:lnTo>
                  <a:lnTo>
                    <a:pt x="903" y="16"/>
                  </a:lnTo>
                  <a:lnTo>
                    <a:pt x="903" y="13"/>
                  </a:lnTo>
                  <a:lnTo>
                    <a:pt x="902" y="10"/>
                  </a:lnTo>
                  <a:lnTo>
                    <a:pt x="901" y="8"/>
                  </a:lnTo>
                  <a:lnTo>
                    <a:pt x="899" y="6"/>
                  </a:lnTo>
                  <a:lnTo>
                    <a:pt x="897" y="4"/>
                  </a:lnTo>
                  <a:lnTo>
                    <a:pt x="895" y="2"/>
                  </a:lnTo>
                  <a:lnTo>
                    <a:pt x="891" y="1"/>
                  </a:lnTo>
                  <a:lnTo>
                    <a:pt x="888" y="1"/>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Freeform 253">
              <a:extLst>
                <a:ext uri="{FF2B5EF4-FFF2-40B4-BE49-F238E27FC236}">
                  <a16:creationId xmlns:a16="http://schemas.microsoft.com/office/drawing/2014/main" id="{8BB0BA25-1618-4A02-BB54-94BD0BAAEB30}"/>
                </a:ext>
              </a:extLst>
            </p:cNvPr>
            <p:cNvSpPr>
              <a:spLocks noEditPoints="1"/>
            </p:cNvSpPr>
            <p:nvPr/>
          </p:nvSpPr>
          <p:spPr bwMode="auto">
            <a:xfrm>
              <a:off x="7023101" y="1343025"/>
              <a:ext cx="287338" cy="258762"/>
            </a:xfrm>
            <a:custGeom>
              <a:avLst/>
              <a:gdLst>
                <a:gd name="T0" fmla="*/ 768 w 903"/>
                <a:gd name="T1" fmla="*/ 723 h 813"/>
                <a:gd name="T2" fmla="*/ 90 w 903"/>
                <a:gd name="T3" fmla="*/ 783 h 813"/>
                <a:gd name="T4" fmla="*/ 181 w 903"/>
                <a:gd name="T5" fmla="*/ 331 h 813"/>
                <a:gd name="T6" fmla="*/ 151 w 903"/>
                <a:gd name="T7" fmla="*/ 331 h 813"/>
                <a:gd name="T8" fmla="*/ 843 w 903"/>
                <a:gd name="T9" fmla="*/ 301 h 813"/>
                <a:gd name="T10" fmla="*/ 60 w 903"/>
                <a:gd name="T11" fmla="*/ 301 h 813"/>
                <a:gd name="T12" fmla="*/ 797 w 903"/>
                <a:gd name="T13" fmla="*/ 211 h 813"/>
                <a:gd name="T14" fmla="*/ 211 w 903"/>
                <a:gd name="T15" fmla="*/ 693 h 813"/>
                <a:gd name="T16" fmla="*/ 301 w 903"/>
                <a:gd name="T17" fmla="*/ 693 h 813"/>
                <a:gd name="T18" fmla="*/ 331 w 903"/>
                <a:gd name="T19" fmla="*/ 331 h 813"/>
                <a:gd name="T20" fmla="*/ 331 w 903"/>
                <a:gd name="T21" fmla="*/ 693 h 813"/>
                <a:gd name="T22" fmla="*/ 512 w 903"/>
                <a:gd name="T23" fmla="*/ 331 h 813"/>
                <a:gd name="T24" fmla="*/ 542 w 903"/>
                <a:gd name="T25" fmla="*/ 693 h 813"/>
                <a:gd name="T26" fmla="*/ 573 w 903"/>
                <a:gd name="T27" fmla="*/ 693 h 813"/>
                <a:gd name="T28" fmla="*/ 603 w 903"/>
                <a:gd name="T29" fmla="*/ 331 h 813"/>
                <a:gd name="T30" fmla="*/ 603 w 903"/>
                <a:gd name="T31" fmla="*/ 693 h 813"/>
                <a:gd name="T32" fmla="*/ 723 w 903"/>
                <a:gd name="T33" fmla="*/ 331 h 813"/>
                <a:gd name="T34" fmla="*/ 15 w 903"/>
                <a:gd name="T35" fmla="*/ 813 h 813"/>
                <a:gd name="T36" fmla="*/ 888 w 903"/>
                <a:gd name="T37" fmla="*/ 813 h 813"/>
                <a:gd name="T38" fmla="*/ 897 w 903"/>
                <a:gd name="T39" fmla="*/ 811 h 813"/>
                <a:gd name="T40" fmla="*/ 902 w 903"/>
                <a:gd name="T41" fmla="*/ 805 h 813"/>
                <a:gd name="T42" fmla="*/ 903 w 903"/>
                <a:gd name="T43" fmla="*/ 796 h 813"/>
                <a:gd name="T44" fmla="*/ 899 w 903"/>
                <a:gd name="T45" fmla="*/ 787 h 813"/>
                <a:gd name="T46" fmla="*/ 891 w 903"/>
                <a:gd name="T47" fmla="*/ 784 h 813"/>
                <a:gd name="T48" fmla="*/ 843 w 903"/>
                <a:gd name="T49" fmla="*/ 708 h 813"/>
                <a:gd name="T50" fmla="*/ 841 w 903"/>
                <a:gd name="T51" fmla="*/ 699 h 813"/>
                <a:gd name="T52" fmla="*/ 834 w 903"/>
                <a:gd name="T53" fmla="*/ 694 h 813"/>
                <a:gd name="T54" fmla="*/ 783 w 903"/>
                <a:gd name="T55" fmla="*/ 693 h 813"/>
                <a:gd name="T56" fmla="*/ 861 w 903"/>
                <a:gd name="T57" fmla="*/ 331 h 813"/>
                <a:gd name="T58" fmla="*/ 869 w 903"/>
                <a:gd name="T59" fmla="*/ 327 h 813"/>
                <a:gd name="T60" fmla="*/ 873 w 903"/>
                <a:gd name="T61" fmla="*/ 320 h 813"/>
                <a:gd name="T62" fmla="*/ 873 w 903"/>
                <a:gd name="T63" fmla="*/ 227 h 813"/>
                <a:gd name="T64" fmla="*/ 871 w 903"/>
                <a:gd name="T65" fmla="*/ 218 h 813"/>
                <a:gd name="T66" fmla="*/ 459 w 903"/>
                <a:gd name="T67" fmla="*/ 2 h 813"/>
                <a:gd name="T68" fmla="*/ 448 w 903"/>
                <a:gd name="T69" fmla="*/ 1 h 813"/>
                <a:gd name="T70" fmla="*/ 38 w 903"/>
                <a:gd name="T71" fmla="*/ 213 h 813"/>
                <a:gd name="T72" fmla="*/ 34 w 903"/>
                <a:gd name="T73" fmla="*/ 216 h 813"/>
                <a:gd name="T74" fmla="*/ 31 w 903"/>
                <a:gd name="T75" fmla="*/ 221 h 813"/>
                <a:gd name="T76" fmla="*/ 30 w 903"/>
                <a:gd name="T77" fmla="*/ 225 h 813"/>
                <a:gd name="T78" fmla="*/ 30 w 903"/>
                <a:gd name="T79" fmla="*/ 316 h 813"/>
                <a:gd name="T80" fmla="*/ 33 w 903"/>
                <a:gd name="T81" fmla="*/ 325 h 813"/>
                <a:gd name="T82" fmla="*/ 40 w 903"/>
                <a:gd name="T83" fmla="*/ 330 h 813"/>
                <a:gd name="T84" fmla="*/ 121 w 903"/>
                <a:gd name="T85" fmla="*/ 331 h 813"/>
                <a:gd name="T86" fmla="*/ 73 w 903"/>
                <a:gd name="T87" fmla="*/ 693 h 813"/>
                <a:gd name="T88" fmla="*/ 64 w 903"/>
                <a:gd name="T89" fmla="*/ 697 h 813"/>
                <a:gd name="T90" fmla="*/ 61 w 903"/>
                <a:gd name="T91" fmla="*/ 705 h 813"/>
                <a:gd name="T92" fmla="*/ 15 w 903"/>
                <a:gd name="T93" fmla="*/ 783 h 813"/>
                <a:gd name="T94" fmla="*/ 7 w 903"/>
                <a:gd name="T95" fmla="*/ 786 h 813"/>
                <a:gd name="T96" fmla="*/ 1 w 903"/>
                <a:gd name="T97" fmla="*/ 793 h 813"/>
                <a:gd name="T98" fmla="*/ 1 w 903"/>
                <a:gd name="T99" fmla="*/ 801 h 813"/>
                <a:gd name="T100" fmla="*/ 4 w 903"/>
                <a:gd name="T101" fmla="*/ 809 h 813"/>
                <a:gd name="T102" fmla="*/ 12 w 903"/>
                <a:gd name="T103"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3" h="813">
                  <a:moveTo>
                    <a:pt x="90" y="723"/>
                  </a:moveTo>
                  <a:lnTo>
                    <a:pt x="136" y="723"/>
                  </a:lnTo>
                  <a:lnTo>
                    <a:pt x="768" y="723"/>
                  </a:lnTo>
                  <a:lnTo>
                    <a:pt x="813" y="723"/>
                  </a:lnTo>
                  <a:lnTo>
                    <a:pt x="813" y="783"/>
                  </a:lnTo>
                  <a:lnTo>
                    <a:pt x="90" y="783"/>
                  </a:lnTo>
                  <a:lnTo>
                    <a:pt x="90" y="723"/>
                  </a:lnTo>
                  <a:close/>
                  <a:moveTo>
                    <a:pt x="151" y="331"/>
                  </a:moveTo>
                  <a:lnTo>
                    <a:pt x="181" y="331"/>
                  </a:lnTo>
                  <a:lnTo>
                    <a:pt x="181" y="693"/>
                  </a:lnTo>
                  <a:lnTo>
                    <a:pt x="151" y="693"/>
                  </a:lnTo>
                  <a:lnTo>
                    <a:pt x="151" y="331"/>
                  </a:lnTo>
                  <a:close/>
                  <a:moveTo>
                    <a:pt x="60" y="241"/>
                  </a:moveTo>
                  <a:lnTo>
                    <a:pt x="843" y="241"/>
                  </a:lnTo>
                  <a:lnTo>
                    <a:pt x="843" y="301"/>
                  </a:lnTo>
                  <a:lnTo>
                    <a:pt x="768" y="301"/>
                  </a:lnTo>
                  <a:lnTo>
                    <a:pt x="136" y="301"/>
                  </a:lnTo>
                  <a:lnTo>
                    <a:pt x="60" y="301"/>
                  </a:lnTo>
                  <a:lnTo>
                    <a:pt x="60" y="241"/>
                  </a:lnTo>
                  <a:close/>
                  <a:moveTo>
                    <a:pt x="452" y="32"/>
                  </a:moveTo>
                  <a:lnTo>
                    <a:pt x="797" y="211"/>
                  </a:lnTo>
                  <a:lnTo>
                    <a:pt x="107" y="211"/>
                  </a:lnTo>
                  <a:lnTo>
                    <a:pt x="452" y="32"/>
                  </a:lnTo>
                  <a:close/>
                  <a:moveTo>
                    <a:pt x="211" y="693"/>
                  </a:moveTo>
                  <a:lnTo>
                    <a:pt x="211" y="331"/>
                  </a:lnTo>
                  <a:lnTo>
                    <a:pt x="301" y="331"/>
                  </a:lnTo>
                  <a:lnTo>
                    <a:pt x="301" y="693"/>
                  </a:lnTo>
                  <a:lnTo>
                    <a:pt x="211" y="693"/>
                  </a:lnTo>
                  <a:close/>
                  <a:moveTo>
                    <a:pt x="331" y="693"/>
                  </a:moveTo>
                  <a:lnTo>
                    <a:pt x="331" y="331"/>
                  </a:lnTo>
                  <a:lnTo>
                    <a:pt x="362" y="331"/>
                  </a:lnTo>
                  <a:lnTo>
                    <a:pt x="362" y="693"/>
                  </a:lnTo>
                  <a:lnTo>
                    <a:pt x="331" y="693"/>
                  </a:lnTo>
                  <a:close/>
                  <a:moveTo>
                    <a:pt x="392" y="693"/>
                  </a:moveTo>
                  <a:lnTo>
                    <a:pt x="392" y="331"/>
                  </a:lnTo>
                  <a:lnTo>
                    <a:pt x="512" y="331"/>
                  </a:lnTo>
                  <a:lnTo>
                    <a:pt x="512" y="693"/>
                  </a:lnTo>
                  <a:lnTo>
                    <a:pt x="392" y="693"/>
                  </a:lnTo>
                  <a:close/>
                  <a:moveTo>
                    <a:pt x="542" y="693"/>
                  </a:moveTo>
                  <a:lnTo>
                    <a:pt x="542" y="331"/>
                  </a:lnTo>
                  <a:lnTo>
                    <a:pt x="573" y="331"/>
                  </a:lnTo>
                  <a:lnTo>
                    <a:pt x="573" y="693"/>
                  </a:lnTo>
                  <a:lnTo>
                    <a:pt x="542" y="693"/>
                  </a:lnTo>
                  <a:close/>
                  <a:moveTo>
                    <a:pt x="603" y="693"/>
                  </a:moveTo>
                  <a:lnTo>
                    <a:pt x="603" y="331"/>
                  </a:lnTo>
                  <a:lnTo>
                    <a:pt x="693" y="331"/>
                  </a:lnTo>
                  <a:lnTo>
                    <a:pt x="693" y="693"/>
                  </a:lnTo>
                  <a:lnTo>
                    <a:pt x="603" y="693"/>
                  </a:lnTo>
                  <a:close/>
                  <a:moveTo>
                    <a:pt x="753" y="693"/>
                  </a:moveTo>
                  <a:lnTo>
                    <a:pt x="723" y="693"/>
                  </a:lnTo>
                  <a:lnTo>
                    <a:pt x="723" y="331"/>
                  </a:lnTo>
                  <a:lnTo>
                    <a:pt x="753" y="331"/>
                  </a:lnTo>
                  <a:lnTo>
                    <a:pt x="753" y="693"/>
                  </a:lnTo>
                  <a:close/>
                  <a:moveTo>
                    <a:pt x="15" y="813"/>
                  </a:moveTo>
                  <a:lnTo>
                    <a:pt x="75" y="813"/>
                  </a:lnTo>
                  <a:lnTo>
                    <a:pt x="828" y="813"/>
                  </a:lnTo>
                  <a:lnTo>
                    <a:pt x="888" y="813"/>
                  </a:lnTo>
                  <a:lnTo>
                    <a:pt x="891" y="813"/>
                  </a:lnTo>
                  <a:lnTo>
                    <a:pt x="895" y="812"/>
                  </a:lnTo>
                  <a:lnTo>
                    <a:pt x="897" y="811"/>
                  </a:lnTo>
                  <a:lnTo>
                    <a:pt x="899" y="809"/>
                  </a:lnTo>
                  <a:lnTo>
                    <a:pt x="901" y="807"/>
                  </a:lnTo>
                  <a:lnTo>
                    <a:pt x="902" y="805"/>
                  </a:lnTo>
                  <a:lnTo>
                    <a:pt x="903" y="801"/>
                  </a:lnTo>
                  <a:lnTo>
                    <a:pt x="903" y="798"/>
                  </a:lnTo>
                  <a:lnTo>
                    <a:pt x="903" y="796"/>
                  </a:lnTo>
                  <a:lnTo>
                    <a:pt x="902" y="793"/>
                  </a:lnTo>
                  <a:lnTo>
                    <a:pt x="901" y="791"/>
                  </a:lnTo>
                  <a:lnTo>
                    <a:pt x="899" y="787"/>
                  </a:lnTo>
                  <a:lnTo>
                    <a:pt x="897" y="786"/>
                  </a:lnTo>
                  <a:lnTo>
                    <a:pt x="895" y="784"/>
                  </a:lnTo>
                  <a:lnTo>
                    <a:pt x="891" y="784"/>
                  </a:lnTo>
                  <a:lnTo>
                    <a:pt x="888" y="783"/>
                  </a:lnTo>
                  <a:lnTo>
                    <a:pt x="843" y="783"/>
                  </a:lnTo>
                  <a:lnTo>
                    <a:pt x="843" y="708"/>
                  </a:lnTo>
                  <a:lnTo>
                    <a:pt x="843" y="705"/>
                  </a:lnTo>
                  <a:lnTo>
                    <a:pt x="842" y="703"/>
                  </a:lnTo>
                  <a:lnTo>
                    <a:pt x="841" y="699"/>
                  </a:lnTo>
                  <a:lnTo>
                    <a:pt x="839" y="697"/>
                  </a:lnTo>
                  <a:lnTo>
                    <a:pt x="837" y="696"/>
                  </a:lnTo>
                  <a:lnTo>
                    <a:pt x="834" y="694"/>
                  </a:lnTo>
                  <a:lnTo>
                    <a:pt x="831" y="693"/>
                  </a:lnTo>
                  <a:lnTo>
                    <a:pt x="828" y="693"/>
                  </a:lnTo>
                  <a:lnTo>
                    <a:pt x="783" y="693"/>
                  </a:lnTo>
                  <a:lnTo>
                    <a:pt x="783" y="331"/>
                  </a:lnTo>
                  <a:lnTo>
                    <a:pt x="858" y="331"/>
                  </a:lnTo>
                  <a:lnTo>
                    <a:pt x="861" y="331"/>
                  </a:lnTo>
                  <a:lnTo>
                    <a:pt x="865" y="330"/>
                  </a:lnTo>
                  <a:lnTo>
                    <a:pt x="867" y="329"/>
                  </a:lnTo>
                  <a:lnTo>
                    <a:pt x="869" y="327"/>
                  </a:lnTo>
                  <a:lnTo>
                    <a:pt x="871" y="325"/>
                  </a:lnTo>
                  <a:lnTo>
                    <a:pt x="872" y="323"/>
                  </a:lnTo>
                  <a:lnTo>
                    <a:pt x="873" y="320"/>
                  </a:lnTo>
                  <a:lnTo>
                    <a:pt x="873" y="316"/>
                  </a:lnTo>
                  <a:lnTo>
                    <a:pt x="873" y="227"/>
                  </a:lnTo>
                  <a:lnTo>
                    <a:pt x="873" y="227"/>
                  </a:lnTo>
                  <a:lnTo>
                    <a:pt x="874" y="226"/>
                  </a:lnTo>
                  <a:lnTo>
                    <a:pt x="873" y="222"/>
                  </a:lnTo>
                  <a:lnTo>
                    <a:pt x="871" y="218"/>
                  </a:lnTo>
                  <a:lnTo>
                    <a:pt x="868" y="215"/>
                  </a:lnTo>
                  <a:lnTo>
                    <a:pt x="863" y="212"/>
                  </a:lnTo>
                  <a:lnTo>
                    <a:pt x="459" y="2"/>
                  </a:lnTo>
                  <a:lnTo>
                    <a:pt x="456" y="1"/>
                  </a:lnTo>
                  <a:lnTo>
                    <a:pt x="452" y="0"/>
                  </a:lnTo>
                  <a:lnTo>
                    <a:pt x="448" y="1"/>
                  </a:lnTo>
                  <a:lnTo>
                    <a:pt x="445" y="2"/>
                  </a:lnTo>
                  <a:lnTo>
                    <a:pt x="39" y="213"/>
                  </a:lnTo>
                  <a:lnTo>
                    <a:pt x="38" y="213"/>
                  </a:lnTo>
                  <a:lnTo>
                    <a:pt x="35" y="215"/>
                  </a:lnTo>
                  <a:lnTo>
                    <a:pt x="35" y="216"/>
                  </a:lnTo>
                  <a:lnTo>
                    <a:pt x="34" y="216"/>
                  </a:lnTo>
                  <a:lnTo>
                    <a:pt x="33" y="218"/>
                  </a:lnTo>
                  <a:lnTo>
                    <a:pt x="32" y="220"/>
                  </a:lnTo>
                  <a:lnTo>
                    <a:pt x="31" y="221"/>
                  </a:lnTo>
                  <a:lnTo>
                    <a:pt x="31" y="222"/>
                  </a:lnTo>
                  <a:lnTo>
                    <a:pt x="31" y="223"/>
                  </a:lnTo>
                  <a:lnTo>
                    <a:pt x="30" y="225"/>
                  </a:lnTo>
                  <a:lnTo>
                    <a:pt x="30" y="226"/>
                  </a:lnTo>
                  <a:lnTo>
                    <a:pt x="30" y="226"/>
                  </a:lnTo>
                  <a:lnTo>
                    <a:pt x="30" y="316"/>
                  </a:lnTo>
                  <a:lnTo>
                    <a:pt x="31" y="320"/>
                  </a:lnTo>
                  <a:lnTo>
                    <a:pt x="31" y="323"/>
                  </a:lnTo>
                  <a:lnTo>
                    <a:pt x="33" y="325"/>
                  </a:lnTo>
                  <a:lnTo>
                    <a:pt x="34" y="327"/>
                  </a:lnTo>
                  <a:lnTo>
                    <a:pt x="38" y="329"/>
                  </a:lnTo>
                  <a:lnTo>
                    <a:pt x="40" y="330"/>
                  </a:lnTo>
                  <a:lnTo>
                    <a:pt x="43" y="331"/>
                  </a:lnTo>
                  <a:lnTo>
                    <a:pt x="45" y="331"/>
                  </a:lnTo>
                  <a:lnTo>
                    <a:pt x="121" y="331"/>
                  </a:lnTo>
                  <a:lnTo>
                    <a:pt x="121" y="693"/>
                  </a:lnTo>
                  <a:lnTo>
                    <a:pt x="75" y="693"/>
                  </a:lnTo>
                  <a:lnTo>
                    <a:pt x="73" y="693"/>
                  </a:lnTo>
                  <a:lnTo>
                    <a:pt x="70" y="694"/>
                  </a:lnTo>
                  <a:lnTo>
                    <a:pt x="68" y="695"/>
                  </a:lnTo>
                  <a:lnTo>
                    <a:pt x="64" y="697"/>
                  </a:lnTo>
                  <a:lnTo>
                    <a:pt x="63" y="699"/>
                  </a:lnTo>
                  <a:lnTo>
                    <a:pt x="61" y="703"/>
                  </a:lnTo>
                  <a:lnTo>
                    <a:pt x="61" y="705"/>
                  </a:lnTo>
                  <a:lnTo>
                    <a:pt x="60" y="708"/>
                  </a:lnTo>
                  <a:lnTo>
                    <a:pt x="60" y="783"/>
                  </a:lnTo>
                  <a:lnTo>
                    <a:pt x="15" y="783"/>
                  </a:lnTo>
                  <a:lnTo>
                    <a:pt x="12" y="784"/>
                  </a:lnTo>
                  <a:lnTo>
                    <a:pt x="10" y="784"/>
                  </a:lnTo>
                  <a:lnTo>
                    <a:pt x="7" y="786"/>
                  </a:lnTo>
                  <a:lnTo>
                    <a:pt x="4" y="787"/>
                  </a:lnTo>
                  <a:lnTo>
                    <a:pt x="3" y="791"/>
                  </a:lnTo>
                  <a:lnTo>
                    <a:pt x="1" y="793"/>
                  </a:lnTo>
                  <a:lnTo>
                    <a:pt x="1" y="796"/>
                  </a:lnTo>
                  <a:lnTo>
                    <a:pt x="0" y="798"/>
                  </a:lnTo>
                  <a:lnTo>
                    <a:pt x="1" y="801"/>
                  </a:lnTo>
                  <a:lnTo>
                    <a:pt x="1" y="805"/>
                  </a:lnTo>
                  <a:lnTo>
                    <a:pt x="3" y="807"/>
                  </a:lnTo>
                  <a:lnTo>
                    <a:pt x="4" y="809"/>
                  </a:lnTo>
                  <a:lnTo>
                    <a:pt x="7" y="811"/>
                  </a:lnTo>
                  <a:lnTo>
                    <a:pt x="10" y="812"/>
                  </a:lnTo>
                  <a:lnTo>
                    <a:pt x="12" y="813"/>
                  </a:lnTo>
                  <a:lnTo>
                    <a:pt x="15"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4" name="Group 230">
            <a:extLst>
              <a:ext uri="{FF2B5EF4-FFF2-40B4-BE49-F238E27FC236}">
                <a16:creationId xmlns:a16="http://schemas.microsoft.com/office/drawing/2014/main" id="{9E922A3F-E57E-4554-A4B7-4DF5C38FC2FD}"/>
              </a:ext>
            </a:extLst>
          </p:cNvPr>
          <p:cNvGrpSpPr>
            <a:grpSpLocks noChangeAspect="1"/>
          </p:cNvGrpSpPr>
          <p:nvPr/>
        </p:nvGrpSpPr>
        <p:grpSpPr>
          <a:xfrm>
            <a:off x="1066348" y="3263433"/>
            <a:ext cx="305901" cy="285619"/>
            <a:chOff x="8743951" y="788988"/>
            <a:chExt cx="287338" cy="268287"/>
          </a:xfrm>
          <a:solidFill>
            <a:schemeClr val="bg1"/>
          </a:solidFill>
          <a:effectLst/>
        </p:grpSpPr>
        <p:sp>
          <p:nvSpPr>
            <p:cNvPr id="1185" name="Freeform 314">
              <a:extLst>
                <a:ext uri="{FF2B5EF4-FFF2-40B4-BE49-F238E27FC236}">
                  <a16:creationId xmlns:a16="http://schemas.microsoft.com/office/drawing/2014/main" id="{EB484E7F-7631-4078-A8E3-CADC34D466D2}"/>
                </a:ext>
              </a:extLst>
            </p:cNvPr>
            <p:cNvSpPr>
              <a:spLocks/>
            </p:cNvSpPr>
            <p:nvPr/>
          </p:nvSpPr>
          <p:spPr bwMode="auto">
            <a:xfrm>
              <a:off x="8782051" y="931863"/>
              <a:ext cx="211138" cy="125412"/>
            </a:xfrm>
            <a:custGeom>
              <a:avLst/>
              <a:gdLst>
                <a:gd name="T0" fmla="*/ 647 w 662"/>
                <a:gd name="T1" fmla="*/ 0 h 392"/>
                <a:gd name="T2" fmla="*/ 644 w 662"/>
                <a:gd name="T3" fmla="*/ 1 h 392"/>
                <a:gd name="T4" fmla="*/ 641 w 662"/>
                <a:gd name="T5" fmla="*/ 2 h 392"/>
                <a:gd name="T6" fmla="*/ 639 w 662"/>
                <a:gd name="T7" fmla="*/ 3 h 392"/>
                <a:gd name="T8" fmla="*/ 637 w 662"/>
                <a:gd name="T9" fmla="*/ 5 h 392"/>
                <a:gd name="T10" fmla="*/ 634 w 662"/>
                <a:gd name="T11" fmla="*/ 7 h 392"/>
                <a:gd name="T12" fmla="*/ 633 w 662"/>
                <a:gd name="T13" fmla="*/ 10 h 392"/>
                <a:gd name="T14" fmla="*/ 632 w 662"/>
                <a:gd name="T15" fmla="*/ 13 h 392"/>
                <a:gd name="T16" fmla="*/ 632 w 662"/>
                <a:gd name="T17" fmla="*/ 16 h 392"/>
                <a:gd name="T18" fmla="*/ 632 w 662"/>
                <a:gd name="T19" fmla="*/ 361 h 392"/>
                <a:gd name="T20" fmla="*/ 451 w 662"/>
                <a:gd name="T21" fmla="*/ 361 h 392"/>
                <a:gd name="T22" fmla="*/ 451 w 662"/>
                <a:gd name="T23" fmla="*/ 91 h 392"/>
                <a:gd name="T24" fmla="*/ 211 w 662"/>
                <a:gd name="T25" fmla="*/ 91 h 392"/>
                <a:gd name="T26" fmla="*/ 211 w 662"/>
                <a:gd name="T27" fmla="*/ 361 h 392"/>
                <a:gd name="T28" fmla="*/ 30 w 662"/>
                <a:gd name="T29" fmla="*/ 361 h 392"/>
                <a:gd name="T30" fmla="*/ 30 w 662"/>
                <a:gd name="T31" fmla="*/ 15 h 392"/>
                <a:gd name="T32" fmla="*/ 30 w 662"/>
                <a:gd name="T33" fmla="*/ 13 h 392"/>
                <a:gd name="T34" fmla="*/ 29 w 662"/>
                <a:gd name="T35" fmla="*/ 10 h 392"/>
                <a:gd name="T36" fmla="*/ 27 w 662"/>
                <a:gd name="T37" fmla="*/ 7 h 392"/>
                <a:gd name="T38" fmla="*/ 25 w 662"/>
                <a:gd name="T39" fmla="*/ 5 h 392"/>
                <a:gd name="T40" fmla="*/ 23 w 662"/>
                <a:gd name="T41" fmla="*/ 3 h 392"/>
                <a:gd name="T42" fmla="*/ 21 w 662"/>
                <a:gd name="T43" fmla="*/ 2 h 392"/>
                <a:gd name="T44" fmla="*/ 18 w 662"/>
                <a:gd name="T45" fmla="*/ 1 h 392"/>
                <a:gd name="T46" fmla="*/ 15 w 662"/>
                <a:gd name="T47" fmla="*/ 0 h 392"/>
                <a:gd name="T48" fmla="*/ 11 w 662"/>
                <a:gd name="T49" fmla="*/ 1 h 392"/>
                <a:gd name="T50" fmla="*/ 9 w 662"/>
                <a:gd name="T51" fmla="*/ 2 h 392"/>
                <a:gd name="T52" fmla="*/ 6 w 662"/>
                <a:gd name="T53" fmla="*/ 3 h 392"/>
                <a:gd name="T54" fmla="*/ 4 w 662"/>
                <a:gd name="T55" fmla="*/ 5 h 392"/>
                <a:gd name="T56" fmla="*/ 3 w 662"/>
                <a:gd name="T57" fmla="*/ 7 h 392"/>
                <a:gd name="T58" fmla="*/ 1 w 662"/>
                <a:gd name="T59" fmla="*/ 10 h 392"/>
                <a:gd name="T60" fmla="*/ 0 w 662"/>
                <a:gd name="T61" fmla="*/ 13 h 392"/>
                <a:gd name="T62" fmla="*/ 0 w 662"/>
                <a:gd name="T63" fmla="*/ 16 h 392"/>
                <a:gd name="T64" fmla="*/ 0 w 662"/>
                <a:gd name="T65" fmla="*/ 392 h 392"/>
                <a:gd name="T66" fmla="*/ 241 w 662"/>
                <a:gd name="T67" fmla="*/ 392 h 392"/>
                <a:gd name="T68" fmla="*/ 241 w 662"/>
                <a:gd name="T69" fmla="*/ 121 h 392"/>
                <a:gd name="T70" fmla="*/ 421 w 662"/>
                <a:gd name="T71" fmla="*/ 121 h 392"/>
                <a:gd name="T72" fmla="*/ 421 w 662"/>
                <a:gd name="T73" fmla="*/ 392 h 392"/>
                <a:gd name="T74" fmla="*/ 662 w 662"/>
                <a:gd name="T75" fmla="*/ 392 h 392"/>
                <a:gd name="T76" fmla="*/ 662 w 662"/>
                <a:gd name="T77" fmla="*/ 15 h 392"/>
                <a:gd name="T78" fmla="*/ 661 w 662"/>
                <a:gd name="T79" fmla="*/ 13 h 392"/>
                <a:gd name="T80" fmla="*/ 661 w 662"/>
                <a:gd name="T81" fmla="*/ 10 h 392"/>
                <a:gd name="T82" fmla="*/ 659 w 662"/>
                <a:gd name="T83" fmla="*/ 7 h 392"/>
                <a:gd name="T84" fmla="*/ 658 w 662"/>
                <a:gd name="T85" fmla="*/ 5 h 392"/>
                <a:gd name="T86" fmla="*/ 655 w 662"/>
                <a:gd name="T87" fmla="*/ 3 h 392"/>
                <a:gd name="T88" fmla="*/ 653 w 662"/>
                <a:gd name="T89" fmla="*/ 2 h 392"/>
                <a:gd name="T90" fmla="*/ 649 w 662"/>
                <a:gd name="T91" fmla="*/ 1 h 392"/>
                <a:gd name="T92" fmla="*/ 647 w 662"/>
                <a:gd name="T93" fmla="*/ 0 h 392"/>
                <a:gd name="T94" fmla="*/ 647 w 662"/>
                <a:gd name="T95" fmla="*/ 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2" h="392">
                  <a:moveTo>
                    <a:pt x="647" y="0"/>
                  </a:moveTo>
                  <a:lnTo>
                    <a:pt x="644" y="1"/>
                  </a:lnTo>
                  <a:lnTo>
                    <a:pt x="641" y="2"/>
                  </a:lnTo>
                  <a:lnTo>
                    <a:pt x="639" y="3"/>
                  </a:lnTo>
                  <a:lnTo>
                    <a:pt x="637" y="5"/>
                  </a:lnTo>
                  <a:lnTo>
                    <a:pt x="634" y="7"/>
                  </a:lnTo>
                  <a:lnTo>
                    <a:pt x="633" y="10"/>
                  </a:lnTo>
                  <a:lnTo>
                    <a:pt x="632" y="13"/>
                  </a:lnTo>
                  <a:lnTo>
                    <a:pt x="632" y="16"/>
                  </a:lnTo>
                  <a:lnTo>
                    <a:pt x="632" y="361"/>
                  </a:lnTo>
                  <a:lnTo>
                    <a:pt x="451" y="361"/>
                  </a:lnTo>
                  <a:lnTo>
                    <a:pt x="451" y="91"/>
                  </a:lnTo>
                  <a:lnTo>
                    <a:pt x="211" y="91"/>
                  </a:lnTo>
                  <a:lnTo>
                    <a:pt x="211" y="361"/>
                  </a:lnTo>
                  <a:lnTo>
                    <a:pt x="30" y="361"/>
                  </a:lnTo>
                  <a:lnTo>
                    <a:pt x="30" y="15"/>
                  </a:lnTo>
                  <a:lnTo>
                    <a:pt x="30" y="13"/>
                  </a:lnTo>
                  <a:lnTo>
                    <a:pt x="29" y="10"/>
                  </a:lnTo>
                  <a:lnTo>
                    <a:pt x="27" y="7"/>
                  </a:lnTo>
                  <a:lnTo>
                    <a:pt x="25" y="5"/>
                  </a:lnTo>
                  <a:lnTo>
                    <a:pt x="23" y="3"/>
                  </a:lnTo>
                  <a:lnTo>
                    <a:pt x="21" y="2"/>
                  </a:lnTo>
                  <a:lnTo>
                    <a:pt x="18" y="1"/>
                  </a:lnTo>
                  <a:lnTo>
                    <a:pt x="15" y="0"/>
                  </a:lnTo>
                  <a:lnTo>
                    <a:pt x="11" y="1"/>
                  </a:lnTo>
                  <a:lnTo>
                    <a:pt x="9" y="2"/>
                  </a:lnTo>
                  <a:lnTo>
                    <a:pt x="6" y="3"/>
                  </a:lnTo>
                  <a:lnTo>
                    <a:pt x="4" y="5"/>
                  </a:lnTo>
                  <a:lnTo>
                    <a:pt x="3" y="7"/>
                  </a:lnTo>
                  <a:lnTo>
                    <a:pt x="1" y="10"/>
                  </a:lnTo>
                  <a:lnTo>
                    <a:pt x="0" y="13"/>
                  </a:lnTo>
                  <a:lnTo>
                    <a:pt x="0" y="16"/>
                  </a:lnTo>
                  <a:lnTo>
                    <a:pt x="0" y="392"/>
                  </a:lnTo>
                  <a:lnTo>
                    <a:pt x="241" y="392"/>
                  </a:lnTo>
                  <a:lnTo>
                    <a:pt x="241" y="121"/>
                  </a:lnTo>
                  <a:lnTo>
                    <a:pt x="421" y="121"/>
                  </a:lnTo>
                  <a:lnTo>
                    <a:pt x="421" y="392"/>
                  </a:lnTo>
                  <a:lnTo>
                    <a:pt x="662" y="392"/>
                  </a:lnTo>
                  <a:lnTo>
                    <a:pt x="662" y="15"/>
                  </a:lnTo>
                  <a:lnTo>
                    <a:pt x="661" y="13"/>
                  </a:lnTo>
                  <a:lnTo>
                    <a:pt x="661" y="10"/>
                  </a:lnTo>
                  <a:lnTo>
                    <a:pt x="659" y="7"/>
                  </a:lnTo>
                  <a:lnTo>
                    <a:pt x="658" y="5"/>
                  </a:lnTo>
                  <a:lnTo>
                    <a:pt x="655" y="3"/>
                  </a:lnTo>
                  <a:lnTo>
                    <a:pt x="653" y="2"/>
                  </a:lnTo>
                  <a:lnTo>
                    <a:pt x="649" y="1"/>
                  </a:lnTo>
                  <a:lnTo>
                    <a:pt x="647" y="0"/>
                  </a:lnTo>
                  <a:lnTo>
                    <a:pt x="6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315">
              <a:extLst>
                <a:ext uri="{FF2B5EF4-FFF2-40B4-BE49-F238E27FC236}">
                  <a16:creationId xmlns:a16="http://schemas.microsoft.com/office/drawing/2014/main" id="{248BF3E7-A149-45C8-B21C-BDCAB4779A02}"/>
                </a:ext>
              </a:extLst>
            </p:cNvPr>
            <p:cNvSpPr>
              <a:spLocks/>
            </p:cNvSpPr>
            <p:nvPr/>
          </p:nvSpPr>
          <p:spPr bwMode="auto">
            <a:xfrm>
              <a:off x="8743951" y="788988"/>
              <a:ext cx="287338" cy="149225"/>
            </a:xfrm>
            <a:custGeom>
              <a:avLst/>
              <a:gdLst>
                <a:gd name="T0" fmla="*/ 899 w 903"/>
                <a:gd name="T1" fmla="*/ 441 h 468"/>
                <a:gd name="T2" fmla="*/ 463 w 903"/>
                <a:gd name="T3" fmla="*/ 4 h 468"/>
                <a:gd name="T4" fmla="*/ 461 w 903"/>
                <a:gd name="T5" fmla="*/ 3 h 468"/>
                <a:gd name="T6" fmla="*/ 457 w 903"/>
                <a:gd name="T7" fmla="*/ 1 h 468"/>
                <a:gd name="T8" fmla="*/ 455 w 903"/>
                <a:gd name="T9" fmla="*/ 1 h 468"/>
                <a:gd name="T10" fmla="*/ 452 w 903"/>
                <a:gd name="T11" fmla="*/ 0 h 468"/>
                <a:gd name="T12" fmla="*/ 449 w 903"/>
                <a:gd name="T13" fmla="*/ 1 h 468"/>
                <a:gd name="T14" fmla="*/ 447 w 903"/>
                <a:gd name="T15" fmla="*/ 1 h 468"/>
                <a:gd name="T16" fmla="*/ 443 w 903"/>
                <a:gd name="T17" fmla="*/ 3 h 468"/>
                <a:gd name="T18" fmla="*/ 441 w 903"/>
                <a:gd name="T19" fmla="*/ 4 h 468"/>
                <a:gd name="T20" fmla="*/ 5 w 903"/>
                <a:gd name="T21" fmla="*/ 441 h 468"/>
                <a:gd name="T22" fmla="*/ 3 w 903"/>
                <a:gd name="T23" fmla="*/ 444 h 468"/>
                <a:gd name="T24" fmla="*/ 2 w 903"/>
                <a:gd name="T25" fmla="*/ 447 h 468"/>
                <a:gd name="T26" fmla="*/ 0 w 903"/>
                <a:gd name="T27" fmla="*/ 450 h 468"/>
                <a:gd name="T28" fmla="*/ 0 w 903"/>
                <a:gd name="T29" fmla="*/ 452 h 468"/>
                <a:gd name="T30" fmla="*/ 0 w 903"/>
                <a:gd name="T31" fmla="*/ 455 h 468"/>
                <a:gd name="T32" fmla="*/ 2 w 903"/>
                <a:gd name="T33" fmla="*/ 458 h 468"/>
                <a:gd name="T34" fmla="*/ 3 w 903"/>
                <a:gd name="T35" fmla="*/ 460 h 468"/>
                <a:gd name="T36" fmla="*/ 5 w 903"/>
                <a:gd name="T37" fmla="*/ 463 h 468"/>
                <a:gd name="T38" fmla="*/ 7 w 903"/>
                <a:gd name="T39" fmla="*/ 465 h 468"/>
                <a:gd name="T40" fmla="*/ 10 w 903"/>
                <a:gd name="T41" fmla="*/ 466 h 468"/>
                <a:gd name="T42" fmla="*/ 12 w 903"/>
                <a:gd name="T43" fmla="*/ 467 h 468"/>
                <a:gd name="T44" fmla="*/ 15 w 903"/>
                <a:gd name="T45" fmla="*/ 468 h 468"/>
                <a:gd name="T46" fmla="*/ 19 w 903"/>
                <a:gd name="T47" fmla="*/ 467 h 468"/>
                <a:gd name="T48" fmla="*/ 21 w 903"/>
                <a:gd name="T49" fmla="*/ 467 h 468"/>
                <a:gd name="T50" fmla="*/ 24 w 903"/>
                <a:gd name="T51" fmla="*/ 465 h 468"/>
                <a:gd name="T52" fmla="*/ 26 w 903"/>
                <a:gd name="T53" fmla="*/ 463 h 468"/>
                <a:gd name="T54" fmla="*/ 452 w 903"/>
                <a:gd name="T55" fmla="*/ 37 h 468"/>
                <a:gd name="T56" fmla="*/ 878 w 903"/>
                <a:gd name="T57" fmla="*/ 463 h 468"/>
                <a:gd name="T58" fmla="*/ 880 w 903"/>
                <a:gd name="T59" fmla="*/ 465 h 468"/>
                <a:gd name="T60" fmla="*/ 883 w 903"/>
                <a:gd name="T61" fmla="*/ 466 h 468"/>
                <a:gd name="T62" fmla="*/ 885 w 903"/>
                <a:gd name="T63" fmla="*/ 467 h 468"/>
                <a:gd name="T64" fmla="*/ 888 w 903"/>
                <a:gd name="T65" fmla="*/ 468 h 468"/>
                <a:gd name="T66" fmla="*/ 892 w 903"/>
                <a:gd name="T67" fmla="*/ 467 h 468"/>
                <a:gd name="T68" fmla="*/ 894 w 903"/>
                <a:gd name="T69" fmla="*/ 466 h 468"/>
                <a:gd name="T70" fmla="*/ 897 w 903"/>
                <a:gd name="T71" fmla="*/ 465 h 468"/>
                <a:gd name="T72" fmla="*/ 899 w 903"/>
                <a:gd name="T73" fmla="*/ 463 h 468"/>
                <a:gd name="T74" fmla="*/ 901 w 903"/>
                <a:gd name="T75" fmla="*/ 460 h 468"/>
                <a:gd name="T76" fmla="*/ 902 w 903"/>
                <a:gd name="T77" fmla="*/ 458 h 468"/>
                <a:gd name="T78" fmla="*/ 903 w 903"/>
                <a:gd name="T79" fmla="*/ 455 h 468"/>
                <a:gd name="T80" fmla="*/ 903 w 903"/>
                <a:gd name="T81" fmla="*/ 452 h 468"/>
                <a:gd name="T82" fmla="*/ 903 w 903"/>
                <a:gd name="T83" fmla="*/ 450 h 468"/>
                <a:gd name="T84" fmla="*/ 902 w 903"/>
                <a:gd name="T85" fmla="*/ 447 h 468"/>
                <a:gd name="T86" fmla="*/ 901 w 903"/>
                <a:gd name="T87" fmla="*/ 444 h 468"/>
                <a:gd name="T88" fmla="*/ 899 w 903"/>
                <a:gd name="T89" fmla="*/ 442 h 468"/>
                <a:gd name="T90" fmla="*/ 899 w 903"/>
                <a:gd name="T91" fmla="*/ 44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3" h="468">
                  <a:moveTo>
                    <a:pt x="899" y="441"/>
                  </a:moveTo>
                  <a:lnTo>
                    <a:pt x="463" y="4"/>
                  </a:lnTo>
                  <a:lnTo>
                    <a:pt x="461" y="3"/>
                  </a:lnTo>
                  <a:lnTo>
                    <a:pt x="457" y="1"/>
                  </a:lnTo>
                  <a:lnTo>
                    <a:pt x="455" y="1"/>
                  </a:lnTo>
                  <a:lnTo>
                    <a:pt x="452" y="0"/>
                  </a:lnTo>
                  <a:lnTo>
                    <a:pt x="449" y="1"/>
                  </a:lnTo>
                  <a:lnTo>
                    <a:pt x="447" y="1"/>
                  </a:lnTo>
                  <a:lnTo>
                    <a:pt x="443" y="3"/>
                  </a:lnTo>
                  <a:lnTo>
                    <a:pt x="441" y="4"/>
                  </a:lnTo>
                  <a:lnTo>
                    <a:pt x="5" y="441"/>
                  </a:lnTo>
                  <a:lnTo>
                    <a:pt x="3" y="444"/>
                  </a:lnTo>
                  <a:lnTo>
                    <a:pt x="2" y="447"/>
                  </a:lnTo>
                  <a:lnTo>
                    <a:pt x="0" y="450"/>
                  </a:lnTo>
                  <a:lnTo>
                    <a:pt x="0" y="452"/>
                  </a:lnTo>
                  <a:lnTo>
                    <a:pt x="0" y="455"/>
                  </a:lnTo>
                  <a:lnTo>
                    <a:pt x="2" y="458"/>
                  </a:lnTo>
                  <a:lnTo>
                    <a:pt x="3" y="460"/>
                  </a:lnTo>
                  <a:lnTo>
                    <a:pt x="5" y="463"/>
                  </a:lnTo>
                  <a:lnTo>
                    <a:pt x="7" y="465"/>
                  </a:lnTo>
                  <a:lnTo>
                    <a:pt x="10" y="466"/>
                  </a:lnTo>
                  <a:lnTo>
                    <a:pt x="12" y="467"/>
                  </a:lnTo>
                  <a:lnTo>
                    <a:pt x="15" y="468"/>
                  </a:lnTo>
                  <a:lnTo>
                    <a:pt x="19" y="467"/>
                  </a:lnTo>
                  <a:lnTo>
                    <a:pt x="21" y="467"/>
                  </a:lnTo>
                  <a:lnTo>
                    <a:pt x="24" y="465"/>
                  </a:lnTo>
                  <a:lnTo>
                    <a:pt x="26" y="463"/>
                  </a:lnTo>
                  <a:lnTo>
                    <a:pt x="452" y="37"/>
                  </a:lnTo>
                  <a:lnTo>
                    <a:pt x="878" y="463"/>
                  </a:lnTo>
                  <a:lnTo>
                    <a:pt x="880" y="465"/>
                  </a:lnTo>
                  <a:lnTo>
                    <a:pt x="883" y="466"/>
                  </a:lnTo>
                  <a:lnTo>
                    <a:pt x="885" y="467"/>
                  </a:lnTo>
                  <a:lnTo>
                    <a:pt x="888" y="468"/>
                  </a:lnTo>
                  <a:lnTo>
                    <a:pt x="892" y="467"/>
                  </a:lnTo>
                  <a:lnTo>
                    <a:pt x="894" y="466"/>
                  </a:lnTo>
                  <a:lnTo>
                    <a:pt x="897" y="465"/>
                  </a:lnTo>
                  <a:lnTo>
                    <a:pt x="899" y="463"/>
                  </a:lnTo>
                  <a:lnTo>
                    <a:pt x="901" y="460"/>
                  </a:lnTo>
                  <a:lnTo>
                    <a:pt x="902" y="458"/>
                  </a:lnTo>
                  <a:lnTo>
                    <a:pt x="903" y="455"/>
                  </a:lnTo>
                  <a:lnTo>
                    <a:pt x="903" y="452"/>
                  </a:lnTo>
                  <a:lnTo>
                    <a:pt x="903" y="450"/>
                  </a:lnTo>
                  <a:lnTo>
                    <a:pt x="902" y="447"/>
                  </a:lnTo>
                  <a:lnTo>
                    <a:pt x="901" y="444"/>
                  </a:lnTo>
                  <a:lnTo>
                    <a:pt x="899" y="442"/>
                  </a:lnTo>
                  <a:lnTo>
                    <a:pt x="899" y="4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Freeform 316">
              <a:extLst>
                <a:ext uri="{FF2B5EF4-FFF2-40B4-BE49-F238E27FC236}">
                  <a16:creationId xmlns:a16="http://schemas.microsoft.com/office/drawing/2014/main" id="{E7C10D47-E0E8-445D-B03C-C9C284B1ACBE}"/>
                </a:ext>
              </a:extLst>
            </p:cNvPr>
            <p:cNvSpPr>
              <a:spLocks/>
            </p:cNvSpPr>
            <p:nvPr/>
          </p:nvSpPr>
          <p:spPr bwMode="auto">
            <a:xfrm>
              <a:off x="8924926" y="798513"/>
              <a:ext cx="58738" cy="57150"/>
            </a:xfrm>
            <a:custGeom>
              <a:avLst/>
              <a:gdLst>
                <a:gd name="T0" fmla="*/ 15 w 181"/>
                <a:gd name="T1" fmla="*/ 30 h 182"/>
                <a:gd name="T2" fmla="*/ 151 w 181"/>
                <a:gd name="T3" fmla="*/ 30 h 182"/>
                <a:gd name="T4" fmla="*/ 151 w 181"/>
                <a:gd name="T5" fmla="*/ 167 h 182"/>
                <a:gd name="T6" fmla="*/ 151 w 181"/>
                <a:gd name="T7" fmla="*/ 170 h 182"/>
                <a:gd name="T8" fmla="*/ 152 w 181"/>
                <a:gd name="T9" fmla="*/ 172 h 182"/>
                <a:gd name="T10" fmla="*/ 153 w 181"/>
                <a:gd name="T11" fmla="*/ 175 h 182"/>
                <a:gd name="T12" fmla="*/ 156 w 181"/>
                <a:gd name="T13" fmla="*/ 177 h 182"/>
                <a:gd name="T14" fmla="*/ 158 w 181"/>
                <a:gd name="T15" fmla="*/ 178 h 182"/>
                <a:gd name="T16" fmla="*/ 160 w 181"/>
                <a:gd name="T17" fmla="*/ 180 h 182"/>
                <a:gd name="T18" fmla="*/ 163 w 181"/>
                <a:gd name="T19" fmla="*/ 182 h 182"/>
                <a:gd name="T20" fmla="*/ 166 w 181"/>
                <a:gd name="T21" fmla="*/ 182 h 182"/>
                <a:gd name="T22" fmla="*/ 168 w 181"/>
                <a:gd name="T23" fmla="*/ 182 h 182"/>
                <a:gd name="T24" fmla="*/ 172 w 181"/>
                <a:gd name="T25" fmla="*/ 180 h 182"/>
                <a:gd name="T26" fmla="*/ 174 w 181"/>
                <a:gd name="T27" fmla="*/ 178 h 182"/>
                <a:gd name="T28" fmla="*/ 176 w 181"/>
                <a:gd name="T29" fmla="*/ 177 h 182"/>
                <a:gd name="T30" fmla="*/ 178 w 181"/>
                <a:gd name="T31" fmla="*/ 175 h 182"/>
                <a:gd name="T32" fmla="*/ 179 w 181"/>
                <a:gd name="T33" fmla="*/ 172 h 182"/>
                <a:gd name="T34" fmla="*/ 180 w 181"/>
                <a:gd name="T35" fmla="*/ 170 h 182"/>
                <a:gd name="T36" fmla="*/ 181 w 181"/>
                <a:gd name="T37" fmla="*/ 167 h 182"/>
                <a:gd name="T38" fmla="*/ 181 w 181"/>
                <a:gd name="T39" fmla="*/ 0 h 182"/>
                <a:gd name="T40" fmla="*/ 15 w 181"/>
                <a:gd name="T41" fmla="*/ 0 h 182"/>
                <a:gd name="T42" fmla="*/ 12 w 181"/>
                <a:gd name="T43" fmla="*/ 1 h 182"/>
                <a:gd name="T44" fmla="*/ 10 w 181"/>
                <a:gd name="T45" fmla="*/ 2 h 182"/>
                <a:gd name="T46" fmla="*/ 7 w 181"/>
                <a:gd name="T47" fmla="*/ 3 h 182"/>
                <a:gd name="T48" fmla="*/ 4 w 181"/>
                <a:gd name="T49" fmla="*/ 6 h 182"/>
                <a:gd name="T50" fmla="*/ 3 w 181"/>
                <a:gd name="T51" fmla="*/ 8 h 182"/>
                <a:gd name="T52" fmla="*/ 1 w 181"/>
                <a:gd name="T53" fmla="*/ 10 h 182"/>
                <a:gd name="T54" fmla="*/ 0 w 181"/>
                <a:gd name="T55" fmla="*/ 13 h 182"/>
                <a:gd name="T56" fmla="*/ 0 w 181"/>
                <a:gd name="T57" fmla="*/ 16 h 182"/>
                <a:gd name="T58" fmla="*/ 0 w 181"/>
                <a:gd name="T59" fmla="*/ 18 h 182"/>
                <a:gd name="T60" fmla="*/ 1 w 181"/>
                <a:gd name="T61" fmla="*/ 22 h 182"/>
                <a:gd name="T62" fmla="*/ 3 w 181"/>
                <a:gd name="T63" fmla="*/ 24 h 182"/>
                <a:gd name="T64" fmla="*/ 4 w 181"/>
                <a:gd name="T65" fmla="*/ 26 h 182"/>
                <a:gd name="T66" fmla="*/ 7 w 181"/>
                <a:gd name="T67" fmla="*/ 28 h 182"/>
                <a:gd name="T68" fmla="*/ 10 w 181"/>
                <a:gd name="T69" fmla="*/ 29 h 182"/>
                <a:gd name="T70" fmla="*/ 12 w 181"/>
                <a:gd name="T71" fmla="*/ 30 h 182"/>
                <a:gd name="T72" fmla="*/ 15 w 181"/>
                <a:gd name="T73" fmla="*/ 31 h 182"/>
                <a:gd name="T74" fmla="*/ 15 w 181"/>
                <a:gd name="T75" fmla="*/ 3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15" y="30"/>
                  </a:moveTo>
                  <a:lnTo>
                    <a:pt x="151" y="30"/>
                  </a:lnTo>
                  <a:lnTo>
                    <a:pt x="151" y="167"/>
                  </a:lnTo>
                  <a:lnTo>
                    <a:pt x="151" y="170"/>
                  </a:lnTo>
                  <a:lnTo>
                    <a:pt x="152" y="172"/>
                  </a:lnTo>
                  <a:lnTo>
                    <a:pt x="153" y="175"/>
                  </a:lnTo>
                  <a:lnTo>
                    <a:pt x="156" y="177"/>
                  </a:lnTo>
                  <a:lnTo>
                    <a:pt x="158" y="178"/>
                  </a:lnTo>
                  <a:lnTo>
                    <a:pt x="160" y="180"/>
                  </a:lnTo>
                  <a:lnTo>
                    <a:pt x="163" y="182"/>
                  </a:lnTo>
                  <a:lnTo>
                    <a:pt x="166" y="182"/>
                  </a:lnTo>
                  <a:lnTo>
                    <a:pt x="168" y="182"/>
                  </a:lnTo>
                  <a:lnTo>
                    <a:pt x="172" y="180"/>
                  </a:lnTo>
                  <a:lnTo>
                    <a:pt x="174" y="178"/>
                  </a:lnTo>
                  <a:lnTo>
                    <a:pt x="176" y="177"/>
                  </a:lnTo>
                  <a:lnTo>
                    <a:pt x="178" y="175"/>
                  </a:lnTo>
                  <a:lnTo>
                    <a:pt x="179" y="172"/>
                  </a:lnTo>
                  <a:lnTo>
                    <a:pt x="180" y="170"/>
                  </a:lnTo>
                  <a:lnTo>
                    <a:pt x="181" y="167"/>
                  </a:lnTo>
                  <a:lnTo>
                    <a:pt x="181" y="0"/>
                  </a:lnTo>
                  <a:lnTo>
                    <a:pt x="15" y="0"/>
                  </a:lnTo>
                  <a:lnTo>
                    <a:pt x="12" y="1"/>
                  </a:lnTo>
                  <a:lnTo>
                    <a:pt x="10" y="2"/>
                  </a:lnTo>
                  <a:lnTo>
                    <a:pt x="7" y="3"/>
                  </a:lnTo>
                  <a:lnTo>
                    <a:pt x="4" y="6"/>
                  </a:lnTo>
                  <a:lnTo>
                    <a:pt x="3" y="8"/>
                  </a:lnTo>
                  <a:lnTo>
                    <a:pt x="1" y="10"/>
                  </a:lnTo>
                  <a:lnTo>
                    <a:pt x="0" y="13"/>
                  </a:lnTo>
                  <a:lnTo>
                    <a:pt x="0" y="16"/>
                  </a:lnTo>
                  <a:lnTo>
                    <a:pt x="0" y="18"/>
                  </a:lnTo>
                  <a:lnTo>
                    <a:pt x="1" y="22"/>
                  </a:lnTo>
                  <a:lnTo>
                    <a:pt x="3" y="24"/>
                  </a:lnTo>
                  <a:lnTo>
                    <a:pt x="4" y="26"/>
                  </a:lnTo>
                  <a:lnTo>
                    <a:pt x="7" y="28"/>
                  </a:lnTo>
                  <a:lnTo>
                    <a:pt x="10" y="29"/>
                  </a:lnTo>
                  <a:lnTo>
                    <a:pt x="12" y="30"/>
                  </a:lnTo>
                  <a:lnTo>
                    <a:pt x="15" y="31"/>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1" name="Freeform 253">
            <a:extLst>
              <a:ext uri="{FF2B5EF4-FFF2-40B4-BE49-F238E27FC236}">
                <a16:creationId xmlns:a16="http://schemas.microsoft.com/office/drawing/2014/main" id="{606905B5-0F03-4500-B61C-46528D18B6A9}"/>
              </a:ext>
            </a:extLst>
          </p:cNvPr>
          <p:cNvSpPr>
            <a:spLocks noChangeAspect="1" noEditPoints="1"/>
          </p:cNvSpPr>
          <p:nvPr/>
        </p:nvSpPr>
        <p:spPr bwMode="auto">
          <a:xfrm>
            <a:off x="1463070" y="3263433"/>
            <a:ext cx="317161" cy="285619"/>
          </a:xfrm>
          <a:custGeom>
            <a:avLst/>
            <a:gdLst>
              <a:gd name="T0" fmla="*/ 768 w 903"/>
              <a:gd name="T1" fmla="*/ 723 h 813"/>
              <a:gd name="T2" fmla="*/ 90 w 903"/>
              <a:gd name="T3" fmla="*/ 783 h 813"/>
              <a:gd name="T4" fmla="*/ 181 w 903"/>
              <a:gd name="T5" fmla="*/ 331 h 813"/>
              <a:gd name="T6" fmla="*/ 151 w 903"/>
              <a:gd name="T7" fmla="*/ 331 h 813"/>
              <a:gd name="T8" fmla="*/ 843 w 903"/>
              <a:gd name="T9" fmla="*/ 301 h 813"/>
              <a:gd name="T10" fmla="*/ 60 w 903"/>
              <a:gd name="T11" fmla="*/ 301 h 813"/>
              <a:gd name="T12" fmla="*/ 797 w 903"/>
              <a:gd name="T13" fmla="*/ 211 h 813"/>
              <a:gd name="T14" fmla="*/ 211 w 903"/>
              <a:gd name="T15" fmla="*/ 693 h 813"/>
              <a:gd name="T16" fmla="*/ 301 w 903"/>
              <a:gd name="T17" fmla="*/ 693 h 813"/>
              <a:gd name="T18" fmla="*/ 331 w 903"/>
              <a:gd name="T19" fmla="*/ 331 h 813"/>
              <a:gd name="T20" fmla="*/ 331 w 903"/>
              <a:gd name="T21" fmla="*/ 693 h 813"/>
              <a:gd name="T22" fmla="*/ 512 w 903"/>
              <a:gd name="T23" fmla="*/ 331 h 813"/>
              <a:gd name="T24" fmla="*/ 542 w 903"/>
              <a:gd name="T25" fmla="*/ 693 h 813"/>
              <a:gd name="T26" fmla="*/ 573 w 903"/>
              <a:gd name="T27" fmla="*/ 693 h 813"/>
              <a:gd name="T28" fmla="*/ 603 w 903"/>
              <a:gd name="T29" fmla="*/ 331 h 813"/>
              <a:gd name="T30" fmla="*/ 603 w 903"/>
              <a:gd name="T31" fmla="*/ 693 h 813"/>
              <a:gd name="T32" fmla="*/ 723 w 903"/>
              <a:gd name="T33" fmla="*/ 331 h 813"/>
              <a:gd name="T34" fmla="*/ 15 w 903"/>
              <a:gd name="T35" fmla="*/ 813 h 813"/>
              <a:gd name="T36" fmla="*/ 888 w 903"/>
              <a:gd name="T37" fmla="*/ 813 h 813"/>
              <a:gd name="T38" fmla="*/ 897 w 903"/>
              <a:gd name="T39" fmla="*/ 811 h 813"/>
              <a:gd name="T40" fmla="*/ 902 w 903"/>
              <a:gd name="T41" fmla="*/ 805 h 813"/>
              <a:gd name="T42" fmla="*/ 903 w 903"/>
              <a:gd name="T43" fmla="*/ 796 h 813"/>
              <a:gd name="T44" fmla="*/ 899 w 903"/>
              <a:gd name="T45" fmla="*/ 787 h 813"/>
              <a:gd name="T46" fmla="*/ 891 w 903"/>
              <a:gd name="T47" fmla="*/ 784 h 813"/>
              <a:gd name="T48" fmla="*/ 843 w 903"/>
              <a:gd name="T49" fmla="*/ 708 h 813"/>
              <a:gd name="T50" fmla="*/ 841 w 903"/>
              <a:gd name="T51" fmla="*/ 699 h 813"/>
              <a:gd name="T52" fmla="*/ 834 w 903"/>
              <a:gd name="T53" fmla="*/ 694 h 813"/>
              <a:gd name="T54" fmla="*/ 783 w 903"/>
              <a:gd name="T55" fmla="*/ 693 h 813"/>
              <a:gd name="T56" fmla="*/ 861 w 903"/>
              <a:gd name="T57" fmla="*/ 331 h 813"/>
              <a:gd name="T58" fmla="*/ 869 w 903"/>
              <a:gd name="T59" fmla="*/ 327 h 813"/>
              <a:gd name="T60" fmla="*/ 873 w 903"/>
              <a:gd name="T61" fmla="*/ 320 h 813"/>
              <a:gd name="T62" fmla="*/ 873 w 903"/>
              <a:gd name="T63" fmla="*/ 227 h 813"/>
              <a:gd name="T64" fmla="*/ 871 w 903"/>
              <a:gd name="T65" fmla="*/ 218 h 813"/>
              <a:gd name="T66" fmla="*/ 459 w 903"/>
              <a:gd name="T67" fmla="*/ 2 h 813"/>
              <a:gd name="T68" fmla="*/ 448 w 903"/>
              <a:gd name="T69" fmla="*/ 1 h 813"/>
              <a:gd name="T70" fmla="*/ 38 w 903"/>
              <a:gd name="T71" fmla="*/ 213 h 813"/>
              <a:gd name="T72" fmla="*/ 34 w 903"/>
              <a:gd name="T73" fmla="*/ 216 h 813"/>
              <a:gd name="T74" fmla="*/ 31 w 903"/>
              <a:gd name="T75" fmla="*/ 221 h 813"/>
              <a:gd name="T76" fmla="*/ 30 w 903"/>
              <a:gd name="T77" fmla="*/ 225 h 813"/>
              <a:gd name="T78" fmla="*/ 30 w 903"/>
              <a:gd name="T79" fmla="*/ 316 h 813"/>
              <a:gd name="T80" fmla="*/ 33 w 903"/>
              <a:gd name="T81" fmla="*/ 325 h 813"/>
              <a:gd name="T82" fmla="*/ 40 w 903"/>
              <a:gd name="T83" fmla="*/ 330 h 813"/>
              <a:gd name="T84" fmla="*/ 121 w 903"/>
              <a:gd name="T85" fmla="*/ 331 h 813"/>
              <a:gd name="T86" fmla="*/ 73 w 903"/>
              <a:gd name="T87" fmla="*/ 693 h 813"/>
              <a:gd name="T88" fmla="*/ 64 w 903"/>
              <a:gd name="T89" fmla="*/ 697 h 813"/>
              <a:gd name="T90" fmla="*/ 61 w 903"/>
              <a:gd name="T91" fmla="*/ 705 h 813"/>
              <a:gd name="T92" fmla="*/ 15 w 903"/>
              <a:gd name="T93" fmla="*/ 783 h 813"/>
              <a:gd name="T94" fmla="*/ 7 w 903"/>
              <a:gd name="T95" fmla="*/ 786 h 813"/>
              <a:gd name="T96" fmla="*/ 1 w 903"/>
              <a:gd name="T97" fmla="*/ 793 h 813"/>
              <a:gd name="T98" fmla="*/ 1 w 903"/>
              <a:gd name="T99" fmla="*/ 801 h 813"/>
              <a:gd name="T100" fmla="*/ 4 w 903"/>
              <a:gd name="T101" fmla="*/ 809 h 813"/>
              <a:gd name="T102" fmla="*/ 12 w 903"/>
              <a:gd name="T103"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3" h="813">
                <a:moveTo>
                  <a:pt x="90" y="723"/>
                </a:moveTo>
                <a:lnTo>
                  <a:pt x="136" y="723"/>
                </a:lnTo>
                <a:lnTo>
                  <a:pt x="768" y="723"/>
                </a:lnTo>
                <a:lnTo>
                  <a:pt x="813" y="723"/>
                </a:lnTo>
                <a:lnTo>
                  <a:pt x="813" y="783"/>
                </a:lnTo>
                <a:lnTo>
                  <a:pt x="90" y="783"/>
                </a:lnTo>
                <a:lnTo>
                  <a:pt x="90" y="723"/>
                </a:lnTo>
                <a:close/>
                <a:moveTo>
                  <a:pt x="151" y="331"/>
                </a:moveTo>
                <a:lnTo>
                  <a:pt x="181" y="331"/>
                </a:lnTo>
                <a:lnTo>
                  <a:pt x="181" y="693"/>
                </a:lnTo>
                <a:lnTo>
                  <a:pt x="151" y="693"/>
                </a:lnTo>
                <a:lnTo>
                  <a:pt x="151" y="331"/>
                </a:lnTo>
                <a:close/>
                <a:moveTo>
                  <a:pt x="60" y="241"/>
                </a:moveTo>
                <a:lnTo>
                  <a:pt x="843" y="241"/>
                </a:lnTo>
                <a:lnTo>
                  <a:pt x="843" y="301"/>
                </a:lnTo>
                <a:lnTo>
                  <a:pt x="768" y="301"/>
                </a:lnTo>
                <a:lnTo>
                  <a:pt x="136" y="301"/>
                </a:lnTo>
                <a:lnTo>
                  <a:pt x="60" y="301"/>
                </a:lnTo>
                <a:lnTo>
                  <a:pt x="60" y="241"/>
                </a:lnTo>
                <a:close/>
                <a:moveTo>
                  <a:pt x="452" y="32"/>
                </a:moveTo>
                <a:lnTo>
                  <a:pt x="797" y="211"/>
                </a:lnTo>
                <a:lnTo>
                  <a:pt x="107" y="211"/>
                </a:lnTo>
                <a:lnTo>
                  <a:pt x="452" y="32"/>
                </a:lnTo>
                <a:close/>
                <a:moveTo>
                  <a:pt x="211" y="693"/>
                </a:moveTo>
                <a:lnTo>
                  <a:pt x="211" y="331"/>
                </a:lnTo>
                <a:lnTo>
                  <a:pt x="301" y="331"/>
                </a:lnTo>
                <a:lnTo>
                  <a:pt x="301" y="693"/>
                </a:lnTo>
                <a:lnTo>
                  <a:pt x="211" y="693"/>
                </a:lnTo>
                <a:close/>
                <a:moveTo>
                  <a:pt x="331" y="693"/>
                </a:moveTo>
                <a:lnTo>
                  <a:pt x="331" y="331"/>
                </a:lnTo>
                <a:lnTo>
                  <a:pt x="362" y="331"/>
                </a:lnTo>
                <a:lnTo>
                  <a:pt x="362" y="693"/>
                </a:lnTo>
                <a:lnTo>
                  <a:pt x="331" y="693"/>
                </a:lnTo>
                <a:close/>
                <a:moveTo>
                  <a:pt x="392" y="693"/>
                </a:moveTo>
                <a:lnTo>
                  <a:pt x="392" y="331"/>
                </a:lnTo>
                <a:lnTo>
                  <a:pt x="512" y="331"/>
                </a:lnTo>
                <a:lnTo>
                  <a:pt x="512" y="693"/>
                </a:lnTo>
                <a:lnTo>
                  <a:pt x="392" y="693"/>
                </a:lnTo>
                <a:close/>
                <a:moveTo>
                  <a:pt x="542" y="693"/>
                </a:moveTo>
                <a:lnTo>
                  <a:pt x="542" y="331"/>
                </a:lnTo>
                <a:lnTo>
                  <a:pt x="573" y="331"/>
                </a:lnTo>
                <a:lnTo>
                  <a:pt x="573" y="693"/>
                </a:lnTo>
                <a:lnTo>
                  <a:pt x="542" y="693"/>
                </a:lnTo>
                <a:close/>
                <a:moveTo>
                  <a:pt x="603" y="693"/>
                </a:moveTo>
                <a:lnTo>
                  <a:pt x="603" y="331"/>
                </a:lnTo>
                <a:lnTo>
                  <a:pt x="693" y="331"/>
                </a:lnTo>
                <a:lnTo>
                  <a:pt x="693" y="693"/>
                </a:lnTo>
                <a:lnTo>
                  <a:pt x="603" y="693"/>
                </a:lnTo>
                <a:close/>
                <a:moveTo>
                  <a:pt x="753" y="693"/>
                </a:moveTo>
                <a:lnTo>
                  <a:pt x="723" y="693"/>
                </a:lnTo>
                <a:lnTo>
                  <a:pt x="723" y="331"/>
                </a:lnTo>
                <a:lnTo>
                  <a:pt x="753" y="331"/>
                </a:lnTo>
                <a:lnTo>
                  <a:pt x="753" y="693"/>
                </a:lnTo>
                <a:close/>
                <a:moveTo>
                  <a:pt x="15" y="813"/>
                </a:moveTo>
                <a:lnTo>
                  <a:pt x="75" y="813"/>
                </a:lnTo>
                <a:lnTo>
                  <a:pt x="828" y="813"/>
                </a:lnTo>
                <a:lnTo>
                  <a:pt x="888" y="813"/>
                </a:lnTo>
                <a:lnTo>
                  <a:pt x="891" y="813"/>
                </a:lnTo>
                <a:lnTo>
                  <a:pt x="895" y="812"/>
                </a:lnTo>
                <a:lnTo>
                  <a:pt x="897" y="811"/>
                </a:lnTo>
                <a:lnTo>
                  <a:pt x="899" y="809"/>
                </a:lnTo>
                <a:lnTo>
                  <a:pt x="901" y="807"/>
                </a:lnTo>
                <a:lnTo>
                  <a:pt x="902" y="805"/>
                </a:lnTo>
                <a:lnTo>
                  <a:pt x="903" y="801"/>
                </a:lnTo>
                <a:lnTo>
                  <a:pt x="903" y="798"/>
                </a:lnTo>
                <a:lnTo>
                  <a:pt x="903" y="796"/>
                </a:lnTo>
                <a:lnTo>
                  <a:pt x="902" y="793"/>
                </a:lnTo>
                <a:lnTo>
                  <a:pt x="901" y="791"/>
                </a:lnTo>
                <a:lnTo>
                  <a:pt x="899" y="787"/>
                </a:lnTo>
                <a:lnTo>
                  <a:pt x="897" y="786"/>
                </a:lnTo>
                <a:lnTo>
                  <a:pt x="895" y="784"/>
                </a:lnTo>
                <a:lnTo>
                  <a:pt x="891" y="784"/>
                </a:lnTo>
                <a:lnTo>
                  <a:pt x="888" y="783"/>
                </a:lnTo>
                <a:lnTo>
                  <a:pt x="843" y="783"/>
                </a:lnTo>
                <a:lnTo>
                  <a:pt x="843" y="708"/>
                </a:lnTo>
                <a:lnTo>
                  <a:pt x="843" y="705"/>
                </a:lnTo>
                <a:lnTo>
                  <a:pt x="842" y="703"/>
                </a:lnTo>
                <a:lnTo>
                  <a:pt x="841" y="699"/>
                </a:lnTo>
                <a:lnTo>
                  <a:pt x="839" y="697"/>
                </a:lnTo>
                <a:lnTo>
                  <a:pt x="837" y="696"/>
                </a:lnTo>
                <a:lnTo>
                  <a:pt x="834" y="694"/>
                </a:lnTo>
                <a:lnTo>
                  <a:pt x="831" y="693"/>
                </a:lnTo>
                <a:lnTo>
                  <a:pt x="828" y="693"/>
                </a:lnTo>
                <a:lnTo>
                  <a:pt x="783" y="693"/>
                </a:lnTo>
                <a:lnTo>
                  <a:pt x="783" y="331"/>
                </a:lnTo>
                <a:lnTo>
                  <a:pt x="858" y="331"/>
                </a:lnTo>
                <a:lnTo>
                  <a:pt x="861" y="331"/>
                </a:lnTo>
                <a:lnTo>
                  <a:pt x="865" y="330"/>
                </a:lnTo>
                <a:lnTo>
                  <a:pt x="867" y="329"/>
                </a:lnTo>
                <a:lnTo>
                  <a:pt x="869" y="327"/>
                </a:lnTo>
                <a:lnTo>
                  <a:pt x="871" y="325"/>
                </a:lnTo>
                <a:lnTo>
                  <a:pt x="872" y="323"/>
                </a:lnTo>
                <a:lnTo>
                  <a:pt x="873" y="320"/>
                </a:lnTo>
                <a:lnTo>
                  <a:pt x="873" y="316"/>
                </a:lnTo>
                <a:lnTo>
                  <a:pt x="873" y="227"/>
                </a:lnTo>
                <a:lnTo>
                  <a:pt x="873" y="227"/>
                </a:lnTo>
                <a:lnTo>
                  <a:pt x="874" y="226"/>
                </a:lnTo>
                <a:lnTo>
                  <a:pt x="873" y="222"/>
                </a:lnTo>
                <a:lnTo>
                  <a:pt x="871" y="218"/>
                </a:lnTo>
                <a:lnTo>
                  <a:pt x="868" y="215"/>
                </a:lnTo>
                <a:lnTo>
                  <a:pt x="863" y="212"/>
                </a:lnTo>
                <a:lnTo>
                  <a:pt x="459" y="2"/>
                </a:lnTo>
                <a:lnTo>
                  <a:pt x="456" y="1"/>
                </a:lnTo>
                <a:lnTo>
                  <a:pt x="452" y="0"/>
                </a:lnTo>
                <a:lnTo>
                  <a:pt x="448" y="1"/>
                </a:lnTo>
                <a:lnTo>
                  <a:pt x="445" y="2"/>
                </a:lnTo>
                <a:lnTo>
                  <a:pt x="39" y="213"/>
                </a:lnTo>
                <a:lnTo>
                  <a:pt x="38" y="213"/>
                </a:lnTo>
                <a:lnTo>
                  <a:pt x="35" y="215"/>
                </a:lnTo>
                <a:lnTo>
                  <a:pt x="35" y="216"/>
                </a:lnTo>
                <a:lnTo>
                  <a:pt x="34" y="216"/>
                </a:lnTo>
                <a:lnTo>
                  <a:pt x="33" y="218"/>
                </a:lnTo>
                <a:lnTo>
                  <a:pt x="32" y="220"/>
                </a:lnTo>
                <a:lnTo>
                  <a:pt x="31" y="221"/>
                </a:lnTo>
                <a:lnTo>
                  <a:pt x="31" y="222"/>
                </a:lnTo>
                <a:lnTo>
                  <a:pt x="31" y="223"/>
                </a:lnTo>
                <a:lnTo>
                  <a:pt x="30" y="225"/>
                </a:lnTo>
                <a:lnTo>
                  <a:pt x="30" y="226"/>
                </a:lnTo>
                <a:lnTo>
                  <a:pt x="30" y="226"/>
                </a:lnTo>
                <a:lnTo>
                  <a:pt x="30" y="316"/>
                </a:lnTo>
                <a:lnTo>
                  <a:pt x="31" y="320"/>
                </a:lnTo>
                <a:lnTo>
                  <a:pt x="31" y="323"/>
                </a:lnTo>
                <a:lnTo>
                  <a:pt x="33" y="325"/>
                </a:lnTo>
                <a:lnTo>
                  <a:pt x="34" y="327"/>
                </a:lnTo>
                <a:lnTo>
                  <a:pt x="38" y="329"/>
                </a:lnTo>
                <a:lnTo>
                  <a:pt x="40" y="330"/>
                </a:lnTo>
                <a:lnTo>
                  <a:pt x="43" y="331"/>
                </a:lnTo>
                <a:lnTo>
                  <a:pt x="45" y="331"/>
                </a:lnTo>
                <a:lnTo>
                  <a:pt x="121" y="331"/>
                </a:lnTo>
                <a:lnTo>
                  <a:pt x="121" y="693"/>
                </a:lnTo>
                <a:lnTo>
                  <a:pt x="75" y="693"/>
                </a:lnTo>
                <a:lnTo>
                  <a:pt x="73" y="693"/>
                </a:lnTo>
                <a:lnTo>
                  <a:pt x="70" y="694"/>
                </a:lnTo>
                <a:lnTo>
                  <a:pt x="68" y="695"/>
                </a:lnTo>
                <a:lnTo>
                  <a:pt x="64" y="697"/>
                </a:lnTo>
                <a:lnTo>
                  <a:pt x="63" y="699"/>
                </a:lnTo>
                <a:lnTo>
                  <a:pt x="61" y="703"/>
                </a:lnTo>
                <a:lnTo>
                  <a:pt x="61" y="705"/>
                </a:lnTo>
                <a:lnTo>
                  <a:pt x="60" y="708"/>
                </a:lnTo>
                <a:lnTo>
                  <a:pt x="60" y="783"/>
                </a:lnTo>
                <a:lnTo>
                  <a:pt x="15" y="783"/>
                </a:lnTo>
                <a:lnTo>
                  <a:pt x="12" y="784"/>
                </a:lnTo>
                <a:lnTo>
                  <a:pt x="10" y="784"/>
                </a:lnTo>
                <a:lnTo>
                  <a:pt x="7" y="786"/>
                </a:lnTo>
                <a:lnTo>
                  <a:pt x="4" y="787"/>
                </a:lnTo>
                <a:lnTo>
                  <a:pt x="3" y="791"/>
                </a:lnTo>
                <a:lnTo>
                  <a:pt x="1" y="793"/>
                </a:lnTo>
                <a:lnTo>
                  <a:pt x="1" y="796"/>
                </a:lnTo>
                <a:lnTo>
                  <a:pt x="0" y="798"/>
                </a:lnTo>
                <a:lnTo>
                  <a:pt x="1" y="801"/>
                </a:lnTo>
                <a:lnTo>
                  <a:pt x="1" y="805"/>
                </a:lnTo>
                <a:lnTo>
                  <a:pt x="3" y="807"/>
                </a:lnTo>
                <a:lnTo>
                  <a:pt x="4" y="809"/>
                </a:lnTo>
                <a:lnTo>
                  <a:pt x="7" y="811"/>
                </a:lnTo>
                <a:lnTo>
                  <a:pt x="10" y="812"/>
                </a:lnTo>
                <a:lnTo>
                  <a:pt x="12" y="813"/>
                </a:lnTo>
                <a:lnTo>
                  <a:pt x="15" y="81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dirty="0"/>
          </a:p>
        </p:txBody>
      </p:sp>
      <p:sp>
        <p:nvSpPr>
          <p:cNvPr id="1205" name="Freeform 247">
            <a:extLst>
              <a:ext uri="{FF2B5EF4-FFF2-40B4-BE49-F238E27FC236}">
                <a16:creationId xmlns:a16="http://schemas.microsoft.com/office/drawing/2014/main" id="{FCC74621-4AA3-414E-8DE7-DD831C72F052}"/>
              </a:ext>
            </a:extLst>
          </p:cNvPr>
          <p:cNvSpPr>
            <a:spLocks noChangeAspect="1" noEditPoints="1"/>
          </p:cNvSpPr>
          <p:nvPr/>
        </p:nvSpPr>
        <p:spPr bwMode="auto">
          <a:xfrm>
            <a:off x="1922291" y="3263433"/>
            <a:ext cx="228812" cy="285619"/>
          </a:xfrm>
          <a:custGeom>
            <a:avLst/>
            <a:gdLst>
              <a:gd name="T0" fmla="*/ 632 w 723"/>
              <a:gd name="T1" fmla="*/ 765 h 904"/>
              <a:gd name="T2" fmla="*/ 625 w 723"/>
              <a:gd name="T3" fmla="*/ 756 h 904"/>
              <a:gd name="T4" fmla="*/ 497 w 723"/>
              <a:gd name="T5" fmla="*/ 753 h 904"/>
              <a:gd name="T6" fmla="*/ 486 w 723"/>
              <a:gd name="T7" fmla="*/ 757 h 904"/>
              <a:gd name="T8" fmla="*/ 482 w 723"/>
              <a:gd name="T9" fmla="*/ 768 h 904"/>
              <a:gd name="T10" fmla="*/ 421 w 723"/>
              <a:gd name="T11" fmla="*/ 343 h 904"/>
              <a:gd name="T12" fmla="*/ 415 w 723"/>
              <a:gd name="T13" fmla="*/ 335 h 904"/>
              <a:gd name="T14" fmla="*/ 331 w 723"/>
              <a:gd name="T15" fmla="*/ 331 h 904"/>
              <a:gd name="T16" fmla="*/ 442 w 723"/>
              <a:gd name="T17" fmla="*/ 300 h 904"/>
              <a:gd name="T18" fmla="*/ 450 w 723"/>
              <a:gd name="T19" fmla="*/ 293 h 904"/>
              <a:gd name="T20" fmla="*/ 450 w 723"/>
              <a:gd name="T21" fmla="*/ 281 h 904"/>
              <a:gd name="T22" fmla="*/ 442 w 723"/>
              <a:gd name="T23" fmla="*/ 272 h 904"/>
              <a:gd name="T24" fmla="*/ 331 w 723"/>
              <a:gd name="T25" fmla="*/ 211 h 904"/>
              <a:gd name="T26" fmla="*/ 505 w 723"/>
              <a:gd name="T27" fmla="*/ 209 h 904"/>
              <a:gd name="T28" fmla="*/ 512 w 723"/>
              <a:gd name="T29" fmla="*/ 199 h 904"/>
              <a:gd name="T30" fmla="*/ 509 w 723"/>
              <a:gd name="T31" fmla="*/ 188 h 904"/>
              <a:gd name="T32" fmla="*/ 500 w 723"/>
              <a:gd name="T33" fmla="*/ 181 h 904"/>
              <a:gd name="T34" fmla="*/ 557 w 723"/>
              <a:gd name="T35" fmla="*/ 121 h 904"/>
              <a:gd name="T36" fmla="*/ 567 w 723"/>
              <a:gd name="T37" fmla="*/ 117 h 904"/>
              <a:gd name="T38" fmla="*/ 572 w 723"/>
              <a:gd name="T39" fmla="*/ 106 h 904"/>
              <a:gd name="T40" fmla="*/ 567 w 723"/>
              <a:gd name="T41" fmla="*/ 95 h 904"/>
              <a:gd name="T42" fmla="*/ 557 w 723"/>
              <a:gd name="T43" fmla="*/ 91 h 904"/>
              <a:gd name="T44" fmla="*/ 693 w 723"/>
              <a:gd name="T45" fmla="*/ 873 h 904"/>
              <a:gd name="T46" fmla="*/ 602 w 723"/>
              <a:gd name="T47" fmla="*/ 873 h 904"/>
              <a:gd name="T48" fmla="*/ 210 w 723"/>
              <a:gd name="T49" fmla="*/ 783 h 904"/>
              <a:gd name="T50" fmla="*/ 105 w 723"/>
              <a:gd name="T51" fmla="*/ 633 h 904"/>
              <a:gd name="T52" fmla="*/ 116 w 723"/>
              <a:gd name="T53" fmla="*/ 629 h 904"/>
              <a:gd name="T54" fmla="*/ 120 w 723"/>
              <a:gd name="T55" fmla="*/ 618 h 904"/>
              <a:gd name="T56" fmla="*/ 116 w 723"/>
              <a:gd name="T57" fmla="*/ 607 h 904"/>
              <a:gd name="T58" fmla="*/ 105 w 723"/>
              <a:gd name="T59" fmla="*/ 603 h 904"/>
              <a:gd name="T60" fmla="*/ 168 w 723"/>
              <a:gd name="T61" fmla="*/ 542 h 904"/>
              <a:gd name="T62" fmla="*/ 178 w 723"/>
              <a:gd name="T63" fmla="*/ 536 h 904"/>
              <a:gd name="T64" fmla="*/ 180 w 723"/>
              <a:gd name="T65" fmla="*/ 525 h 904"/>
              <a:gd name="T66" fmla="*/ 174 w 723"/>
              <a:gd name="T67" fmla="*/ 515 h 904"/>
              <a:gd name="T68" fmla="*/ 30 w 723"/>
              <a:gd name="T69" fmla="*/ 513 h 904"/>
              <a:gd name="T70" fmla="*/ 202 w 723"/>
              <a:gd name="T71" fmla="*/ 451 h 904"/>
              <a:gd name="T72" fmla="*/ 209 w 723"/>
              <a:gd name="T73" fmla="*/ 443 h 904"/>
              <a:gd name="T74" fmla="*/ 209 w 723"/>
              <a:gd name="T75" fmla="*/ 431 h 904"/>
              <a:gd name="T76" fmla="*/ 202 w 723"/>
              <a:gd name="T77" fmla="*/ 424 h 904"/>
              <a:gd name="T78" fmla="*/ 30 w 723"/>
              <a:gd name="T79" fmla="*/ 361 h 904"/>
              <a:gd name="T80" fmla="*/ 241 w 723"/>
              <a:gd name="T81" fmla="*/ 768 h 904"/>
              <a:gd name="T82" fmla="*/ 236 w 723"/>
              <a:gd name="T83" fmla="*/ 757 h 904"/>
              <a:gd name="T84" fmla="*/ 225 w 723"/>
              <a:gd name="T85" fmla="*/ 753 h 904"/>
              <a:gd name="T86" fmla="*/ 97 w 723"/>
              <a:gd name="T87" fmla="*/ 756 h 904"/>
              <a:gd name="T88" fmla="*/ 90 w 723"/>
              <a:gd name="T89" fmla="*/ 765 h 904"/>
              <a:gd name="T90" fmla="*/ 30 w 723"/>
              <a:gd name="T91" fmla="*/ 633 h 904"/>
              <a:gd name="T92" fmla="*/ 310 w 723"/>
              <a:gd name="T93" fmla="*/ 2 h 904"/>
              <a:gd name="T94" fmla="*/ 302 w 723"/>
              <a:gd name="T95" fmla="*/ 10 h 904"/>
              <a:gd name="T96" fmla="*/ 15 w 723"/>
              <a:gd name="T97" fmla="*/ 331 h 904"/>
              <a:gd name="T98" fmla="*/ 4 w 723"/>
              <a:gd name="T99" fmla="*/ 336 h 904"/>
              <a:gd name="T100" fmla="*/ 0 w 723"/>
              <a:gd name="T101" fmla="*/ 346 h 904"/>
              <a:gd name="T102" fmla="*/ 2 w 723"/>
              <a:gd name="T103" fmla="*/ 897 h 904"/>
              <a:gd name="T104" fmla="*/ 12 w 723"/>
              <a:gd name="T105" fmla="*/ 903 h 904"/>
              <a:gd name="T106" fmla="*/ 406 w 723"/>
              <a:gd name="T107" fmla="*/ 903 h 904"/>
              <a:gd name="T108" fmla="*/ 710 w 723"/>
              <a:gd name="T109" fmla="*/ 903 h 904"/>
              <a:gd name="T110" fmla="*/ 720 w 723"/>
              <a:gd name="T111" fmla="*/ 897 h 904"/>
              <a:gd name="T112" fmla="*/ 723 w 723"/>
              <a:gd name="T113" fmla="*/ 15 h 904"/>
              <a:gd name="T114" fmla="*/ 719 w 723"/>
              <a:gd name="T115" fmla="*/ 5 h 904"/>
              <a:gd name="T116" fmla="*/ 708 w 723"/>
              <a:gd name="T1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3" h="904">
                <a:moveTo>
                  <a:pt x="693" y="873"/>
                </a:moveTo>
                <a:lnTo>
                  <a:pt x="632" y="873"/>
                </a:lnTo>
                <a:lnTo>
                  <a:pt x="632" y="768"/>
                </a:lnTo>
                <a:lnTo>
                  <a:pt x="632" y="765"/>
                </a:lnTo>
                <a:lnTo>
                  <a:pt x="631" y="763"/>
                </a:lnTo>
                <a:lnTo>
                  <a:pt x="630" y="760"/>
                </a:lnTo>
                <a:lnTo>
                  <a:pt x="627" y="757"/>
                </a:lnTo>
                <a:lnTo>
                  <a:pt x="625" y="756"/>
                </a:lnTo>
                <a:lnTo>
                  <a:pt x="623" y="754"/>
                </a:lnTo>
                <a:lnTo>
                  <a:pt x="620" y="754"/>
                </a:lnTo>
                <a:lnTo>
                  <a:pt x="617" y="753"/>
                </a:lnTo>
                <a:lnTo>
                  <a:pt x="497" y="753"/>
                </a:lnTo>
                <a:lnTo>
                  <a:pt x="493" y="753"/>
                </a:lnTo>
                <a:lnTo>
                  <a:pt x="491" y="754"/>
                </a:lnTo>
                <a:lnTo>
                  <a:pt x="488" y="756"/>
                </a:lnTo>
                <a:lnTo>
                  <a:pt x="486" y="757"/>
                </a:lnTo>
                <a:lnTo>
                  <a:pt x="484" y="760"/>
                </a:lnTo>
                <a:lnTo>
                  <a:pt x="483" y="763"/>
                </a:lnTo>
                <a:lnTo>
                  <a:pt x="482" y="765"/>
                </a:lnTo>
                <a:lnTo>
                  <a:pt x="482" y="768"/>
                </a:lnTo>
                <a:lnTo>
                  <a:pt x="482" y="873"/>
                </a:lnTo>
                <a:lnTo>
                  <a:pt x="421" y="873"/>
                </a:lnTo>
                <a:lnTo>
                  <a:pt x="421" y="346"/>
                </a:lnTo>
                <a:lnTo>
                  <a:pt x="421" y="343"/>
                </a:lnTo>
                <a:lnTo>
                  <a:pt x="420" y="341"/>
                </a:lnTo>
                <a:lnTo>
                  <a:pt x="419" y="338"/>
                </a:lnTo>
                <a:lnTo>
                  <a:pt x="417" y="336"/>
                </a:lnTo>
                <a:lnTo>
                  <a:pt x="415" y="335"/>
                </a:lnTo>
                <a:lnTo>
                  <a:pt x="412" y="333"/>
                </a:lnTo>
                <a:lnTo>
                  <a:pt x="410" y="333"/>
                </a:lnTo>
                <a:lnTo>
                  <a:pt x="406" y="331"/>
                </a:lnTo>
                <a:lnTo>
                  <a:pt x="331" y="331"/>
                </a:lnTo>
                <a:lnTo>
                  <a:pt x="331" y="301"/>
                </a:lnTo>
                <a:lnTo>
                  <a:pt x="436" y="301"/>
                </a:lnTo>
                <a:lnTo>
                  <a:pt x="440" y="301"/>
                </a:lnTo>
                <a:lnTo>
                  <a:pt x="442" y="300"/>
                </a:lnTo>
                <a:lnTo>
                  <a:pt x="445" y="299"/>
                </a:lnTo>
                <a:lnTo>
                  <a:pt x="447" y="297"/>
                </a:lnTo>
                <a:lnTo>
                  <a:pt x="449" y="295"/>
                </a:lnTo>
                <a:lnTo>
                  <a:pt x="450" y="293"/>
                </a:lnTo>
                <a:lnTo>
                  <a:pt x="452" y="290"/>
                </a:lnTo>
                <a:lnTo>
                  <a:pt x="452" y="286"/>
                </a:lnTo>
                <a:lnTo>
                  <a:pt x="452" y="283"/>
                </a:lnTo>
                <a:lnTo>
                  <a:pt x="450" y="281"/>
                </a:lnTo>
                <a:lnTo>
                  <a:pt x="449" y="278"/>
                </a:lnTo>
                <a:lnTo>
                  <a:pt x="447" y="276"/>
                </a:lnTo>
                <a:lnTo>
                  <a:pt x="445" y="275"/>
                </a:lnTo>
                <a:lnTo>
                  <a:pt x="442" y="272"/>
                </a:lnTo>
                <a:lnTo>
                  <a:pt x="440" y="271"/>
                </a:lnTo>
                <a:lnTo>
                  <a:pt x="436" y="271"/>
                </a:lnTo>
                <a:lnTo>
                  <a:pt x="331" y="271"/>
                </a:lnTo>
                <a:lnTo>
                  <a:pt x="331" y="211"/>
                </a:lnTo>
                <a:lnTo>
                  <a:pt x="497" y="211"/>
                </a:lnTo>
                <a:lnTo>
                  <a:pt x="500" y="211"/>
                </a:lnTo>
                <a:lnTo>
                  <a:pt x="503" y="210"/>
                </a:lnTo>
                <a:lnTo>
                  <a:pt x="505" y="209"/>
                </a:lnTo>
                <a:lnTo>
                  <a:pt x="507" y="207"/>
                </a:lnTo>
                <a:lnTo>
                  <a:pt x="509" y="205"/>
                </a:lnTo>
                <a:lnTo>
                  <a:pt x="510" y="202"/>
                </a:lnTo>
                <a:lnTo>
                  <a:pt x="512" y="199"/>
                </a:lnTo>
                <a:lnTo>
                  <a:pt x="512" y="196"/>
                </a:lnTo>
                <a:lnTo>
                  <a:pt x="512" y="193"/>
                </a:lnTo>
                <a:lnTo>
                  <a:pt x="510" y="190"/>
                </a:lnTo>
                <a:lnTo>
                  <a:pt x="509" y="188"/>
                </a:lnTo>
                <a:lnTo>
                  <a:pt x="507" y="186"/>
                </a:lnTo>
                <a:lnTo>
                  <a:pt x="505" y="183"/>
                </a:lnTo>
                <a:lnTo>
                  <a:pt x="503" y="182"/>
                </a:lnTo>
                <a:lnTo>
                  <a:pt x="500" y="181"/>
                </a:lnTo>
                <a:lnTo>
                  <a:pt x="497" y="181"/>
                </a:lnTo>
                <a:lnTo>
                  <a:pt x="331" y="181"/>
                </a:lnTo>
                <a:lnTo>
                  <a:pt x="331" y="121"/>
                </a:lnTo>
                <a:lnTo>
                  <a:pt x="557" y="121"/>
                </a:lnTo>
                <a:lnTo>
                  <a:pt x="560" y="120"/>
                </a:lnTo>
                <a:lnTo>
                  <a:pt x="563" y="120"/>
                </a:lnTo>
                <a:lnTo>
                  <a:pt x="565" y="118"/>
                </a:lnTo>
                <a:lnTo>
                  <a:pt x="567" y="117"/>
                </a:lnTo>
                <a:lnTo>
                  <a:pt x="569" y="115"/>
                </a:lnTo>
                <a:lnTo>
                  <a:pt x="571" y="112"/>
                </a:lnTo>
                <a:lnTo>
                  <a:pt x="572" y="109"/>
                </a:lnTo>
                <a:lnTo>
                  <a:pt x="572" y="106"/>
                </a:lnTo>
                <a:lnTo>
                  <a:pt x="572" y="103"/>
                </a:lnTo>
                <a:lnTo>
                  <a:pt x="571" y="100"/>
                </a:lnTo>
                <a:lnTo>
                  <a:pt x="569" y="98"/>
                </a:lnTo>
                <a:lnTo>
                  <a:pt x="567" y="95"/>
                </a:lnTo>
                <a:lnTo>
                  <a:pt x="565" y="93"/>
                </a:lnTo>
                <a:lnTo>
                  <a:pt x="563" y="92"/>
                </a:lnTo>
                <a:lnTo>
                  <a:pt x="560" y="91"/>
                </a:lnTo>
                <a:lnTo>
                  <a:pt x="557" y="91"/>
                </a:lnTo>
                <a:lnTo>
                  <a:pt x="331" y="91"/>
                </a:lnTo>
                <a:lnTo>
                  <a:pt x="331" y="31"/>
                </a:lnTo>
                <a:lnTo>
                  <a:pt x="693" y="31"/>
                </a:lnTo>
                <a:lnTo>
                  <a:pt x="693" y="873"/>
                </a:lnTo>
                <a:close/>
                <a:moveTo>
                  <a:pt x="512" y="873"/>
                </a:moveTo>
                <a:lnTo>
                  <a:pt x="512" y="783"/>
                </a:lnTo>
                <a:lnTo>
                  <a:pt x="602" y="783"/>
                </a:lnTo>
                <a:lnTo>
                  <a:pt x="602" y="873"/>
                </a:lnTo>
                <a:lnTo>
                  <a:pt x="512" y="873"/>
                </a:lnTo>
                <a:close/>
                <a:moveTo>
                  <a:pt x="120" y="873"/>
                </a:moveTo>
                <a:lnTo>
                  <a:pt x="120" y="783"/>
                </a:lnTo>
                <a:lnTo>
                  <a:pt x="210" y="783"/>
                </a:lnTo>
                <a:lnTo>
                  <a:pt x="210" y="873"/>
                </a:lnTo>
                <a:lnTo>
                  <a:pt x="120" y="873"/>
                </a:lnTo>
                <a:close/>
                <a:moveTo>
                  <a:pt x="30" y="633"/>
                </a:moveTo>
                <a:lnTo>
                  <a:pt x="105" y="633"/>
                </a:lnTo>
                <a:lnTo>
                  <a:pt x="108" y="633"/>
                </a:lnTo>
                <a:lnTo>
                  <a:pt x="112" y="632"/>
                </a:lnTo>
                <a:lnTo>
                  <a:pt x="114" y="630"/>
                </a:lnTo>
                <a:lnTo>
                  <a:pt x="116" y="629"/>
                </a:lnTo>
                <a:lnTo>
                  <a:pt x="118" y="627"/>
                </a:lnTo>
                <a:lnTo>
                  <a:pt x="119" y="623"/>
                </a:lnTo>
                <a:lnTo>
                  <a:pt x="120" y="621"/>
                </a:lnTo>
                <a:lnTo>
                  <a:pt x="120" y="618"/>
                </a:lnTo>
                <a:lnTo>
                  <a:pt x="120" y="615"/>
                </a:lnTo>
                <a:lnTo>
                  <a:pt x="119" y="611"/>
                </a:lnTo>
                <a:lnTo>
                  <a:pt x="118" y="609"/>
                </a:lnTo>
                <a:lnTo>
                  <a:pt x="116" y="607"/>
                </a:lnTo>
                <a:lnTo>
                  <a:pt x="114" y="605"/>
                </a:lnTo>
                <a:lnTo>
                  <a:pt x="112" y="604"/>
                </a:lnTo>
                <a:lnTo>
                  <a:pt x="108" y="603"/>
                </a:lnTo>
                <a:lnTo>
                  <a:pt x="105" y="603"/>
                </a:lnTo>
                <a:lnTo>
                  <a:pt x="30" y="603"/>
                </a:lnTo>
                <a:lnTo>
                  <a:pt x="30" y="543"/>
                </a:lnTo>
                <a:lnTo>
                  <a:pt x="165" y="543"/>
                </a:lnTo>
                <a:lnTo>
                  <a:pt x="168" y="542"/>
                </a:lnTo>
                <a:lnTo>
                  <a:pt x="172" y="542"/>
                </a:lnTo>
                <a:lnTo>
                  <a:pt x="174" y="540"/>
                </a:lnTo>
                <a:lnTo>
                  <a:pt x="176" y="539"/>
                </a:lnTo>
                <a:lnTo>
                  <a:pt x="178" y="536"/>
                </a:lnTo>
                <a:lnTo>
                  <a:pt x="179" y="533"/>
                </a:lnTo>
                <a:lnTo>
                  <a:pt x="180" y="531"/>
                </a:lnTo>
                <a:lnTo>
                  <a:pt x="180" y="528"/>
                </a:lnTo>
                <a:lnTo>
                  <a:pt x="180" y="525"/>
                </a:lnTo>
                <a:lnTo>
                  <a:pt x="179" y="521"/>
                </a:lnTo>
                <a:lnTo>
                  <a:pt x="178" y="519"/>
                </a:lnTo>
                <a:lnTo>
                  <a:pt x="176" y="517"/>
                </a:lnTo>
                <a:lnTo>
                  <a:pt x="174" y="515"/>
                </a:lnTo>
                <a:lnTo>
                  <a:pt x="172" y="514"/>
                </a:lnTo>
                <a:lnTo>
                  <a:pt x="168" y="513"/>
                </a:lnTo>
                <a:lnTo>
                  <a:pt x="165" y="513"/>
                </a:lnTo>
                <a:lnTo>
                  <a:pt x="30" y="513"/>
                </a:lnTo>
                <a:lnTo>
                  <a:pt x="30" y="452"/>
                </a:lnTo>
                <a:lnTo>
                  <a:pt x="195" y="452"/>
                </a:lnTo>
                <a:lnTo>
                  <a:pt x="198" y="452"/>
                </a:lnTo>
                <a:lnTo>
                  <a:pt x="202" y="451"/>
                </a:lnTo>
                <a:lnTo>
                  <a:pt x="204" y="449"/>
                </a:lnTo>
                <a:lnTo>
                  <a:pt x="206" y="447"/>
                </a:lnTo>
                <a:lnTo>
                  <a:pt x="208" y="445"/>
                </a:lnTo>
                <a:lnTo>
                  <a:pt x="209" y="443"/>
                </a:lnTo>
                <a:lnTo>
                  <a:pt x="210" y="440"/>
                </a:lnTo>
                <a:lnTo>
                  <a:pt x="210" y="438"/>
                </a:lnTo>
                <a:lnTo>
                  <a:pt x="210" y="434"/>
                </a:lnTo>
                <a:lnTo>
                  <a:pt x="209" y="431"/>
                </a:lnTo>
                <a:lnTo>
                  <a:pt x="208" y="429"/>
                </a:lnTo>
                <a:lnTo>
                  <a:pt x="206" y="427"/>
                </a:lnTo>
                <a:lnTo>
                  <a:pt x="204" y="425"/>
                </a:lnTo>
                <a:lnTo>
                  <a:pt x="202" y="424"/>
                </a:lnTo>
                <a:lnTo>
                  <a:pt x="198" y="423"/>
                </a:lnTo>
                <a:lnTo>
                  <a:pt x="195" y="422"/>
                </a:lnTo>
                <a:lnTo>
                  <a:pt x="30" y="422"/>
                </a:lnTo>
                <a:lnTo>
                  <a:pt x="30" y="361"/>
                </a:lnTo>
                <a:lnTo>
                  <a:pt x="391" y="361"/>
                </a:lnTo>
                <a:lnTo>
                  <a:pt x="391" y="873"/>
                </a:lnTo>
                <a:lnTo>
                  <a:pt x="241" y="873"/>
                </a:lnTo>
                <a:lnTo>
                  <a:pt x="241" y="768"/>
                </a:lnTo>
                <a:lnTo>
                  <a:pt x="240" y="765"/>
                </a:lnTo>
                <a:lnTo>
                  <a:pt x="239" y="763"/>
                </a:lnTo>
                <a:lnTo>
                  <a:pt x="238" y="760"/>
                </a:lnTo>
                <a:lnTo>
                  <a:pt x="236" y="757"/>
                </a:lnTo>
                <a:lnTo>
                  <a:pt x="234" y="756"/>
                </a:lnTo>
                <a:lnTo>
                  <a:pt x="232" y="754"/>
                </a:lnTo>
                <a:lnTo>
                  <a:pt x="228" y="754"/>
                </a:lnTo>
                <a:lnTo>
                  <a:pt x="225" y="753"/>
                </a:lnTo>
                <a:lnTo>
                  <a:pt x="105" y="753"/>
                </a:lnTo>
                <a:lnTo>
                  <a:pt x="102" y="753"/>
                </a:lnTo>
                <a:lnTo>
                  <a:pt x="100" y="754"/>
                </a:lnTo>
                <a:lnTo>
                  <a:pt x="97" y="756"/>
                </a:lnTo>
                <a:lnTo>
                  <a:pt x="94" y="757"/>
                </a:lnTo>
                <a:lnTo>
                  <a:pt x="93" y="760"/>
                </a:lnTo>
                <a:lnTo>
                  <a:pt x="91" y="763"/>
                </a:lnTo>
                <a:lnTo>
                  <a:pt x="90" y="765"/>
                </a:lnTo>
                <a:lnTo>
                  <a:pt x="90" y="768"/>
                </a:lnTo>
                <a:lnTo>
                  <a:pt x="90" y="873"/>
                </a:lnTo>
                <a:lnTo>
                  <a:pt x="30" y="873"/>
                </a:lnTo>
                <a:lnTo>
                  <a:pt x="30" y="633"/>
                </a:lnTo>
                <a:close/>
                <a:moveTo>
                  <a:pt x="708" y="0"/>
                </a:moveTo>
                <a:lnTo>
                  <a:pt x="316" y="0"/>
                </a:lnTo>
                <a:lnTo>
                  <a:pt x="313" y="1"/>
                </a:lnTo>
                <a:lnTo>
                  <a:pt x="310" y="2"/>
                </a:lnTo>
                <a:lnTo>
                  <a:pt x="308" y="3"/>
                </a:lnTo>
                <a:lnTo>
                  <a:pt x="306" y="5"/>
                </a:lnTo>
                <a:lnTo>
                  <a:pt x="304" y="7"/>
                </a:lnTo>
                <a:lnTo>
                  <a:pt x="302" y="10"/>
                </a:lnTo>
                <a:lnTo>
                  <a:pt x="301" y="13"/>
                </a:lnTo>
                <a:lnTo>
                  <a:pt x="301" y="16"/>
                </a:lnTo>
                <a:lnTo>
                  <a:pt x="301" y="331"/>
                </a:lnTo>
                <a:lnTo>
                  <a:pt x="15" y="331"/>
                </a:lnTo>
                <a:lnTo>
                  <a:pt x="12" y="331"/>
                </a:lnTo>
                <a:lnTo>
                  <a:pt x="10" y="333"/>
                </a:lnTo>
                <a:lnTo>
                  <a:pt x="6" y="335"/>
                </a:lnTo>
                <a:lnTo>
                  <a:pt x="4" y="336"/>
                </a:lnTo>
                <a:lnTo>
                  <a:pt x="2" y="338"/>
                </a:lnTo>
                <a:lnTo>
                  <a:pt x="1" y="341"/>
                </a:lnTo>
                <a:lnTo>
                  <a:pt x="0" y="343"/>
                </a:lnTo>
                <a:lnTo>
                  <a:pt x="0" y="346"/>
                </a:lnTo>
                <a:lnTo>
                  <a:pt x="0" y="888"/>
                </a:lnTo>
                <a:lnTo>
                  <a:pt x="0" y="892"/>
                </a:lnTo>
                <a:lnTo>
                  <a:pt x="1" y="895"/>
                </a:lnTo>
                <a:lnTo>
                  <a:pt x="2" y="897"/>
                </a:lnTo>
                <a:lnTo>
                  <a:pt x="4" y="899"/>
                </a:lnTo>
                <a:lnTo>
                  <a:pt x="6" y="901"/>
                </a:lnTo>
                <a:lnTo>
                  <a:pt x="10" y="902"/>
                </a:lnTo>
                <a:lnTo>
                  <a:pt x="12" y="903"/>
                </a:lnTo>
                <a:lnTo>
                  <a:pt x="15" y="904"/>
                </a:lnTo>
                <a:lnTo>
                  <a:pt x="105" y="903"/>
                </a:lnTo>
                <a:lnTo>
                  <a:pt x="225" y="903"/>
                </a:lnTo>
                <a:lnTo>
                  <a:pt x="406" y="903"/>
                </a:lnTo>
                <a:lnTo>
                  <a:pt x="497" y="903"/>
                </a:lnTo>
                <a:lnTo>
                  <a:pt x="617" y="903"/>
                </a:lnTo>
                <a:lnTo>
                  <a:pt x="708" y="903"/>
                </a:lnTo>
                <a:lnTo>
                  <a:pt x="710" y="903"/>
                </a:lnTo>
                <a:lnTo>
                  <a:pt x="713" y="902"/>
                </a:lnTo>
                <a:lnTo>
                  <a:pt x="715" y="901"/>
                </a:lnTo>
                <a:lnTo>
                  <a:pt x="719" y="899"/>
                </a:lnTo>
                <a:lnTo>
                  <a:pt x="720" y="897"/>
                </a:lnTo>
                <a:lnTo>
                  <a:pt x="722" y="895"/>
                </a:lnTo>
                <a:lnTo>
                  <a:pt x="722" y="892"/>
                </a:lnTo>
                <a:lnTo>
                  <a:pt x="723" y="889"/>
                </a:lnTo>
                <a:lnTo>
                  <a:pt x="723" y="15"/>
                </a:lnTo>
                <a:lnTo>
                  <a:pt x="722" y="13"/>
                </a:lnTo>
                <a:lnTo>
                  <a:pt x="722" y="10"/>
                </a:lnTo>
                <a:lnTo>
                  <a:pt x="720" y="7"/>
                </a:lnTo>
                <a:lnTo>
                  <a:pt x="719" y="5"/>
                </a:lnTo>
                <a:lnTo>
                  <a:pt x="715" y="3"/>
                </a:lnTo>
                <a:lnTo>
                  <a:pt x="713" y="2"/>
                </a:lnTo>
                <a:lnTo>
                  <a:pt x="710" y="1"/>
                </a:lnTo>
                <a:lnTo>
                  <a:pt x="708" y="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1206" name="Group 225">
            <a:extLst>
              <a:ext uri="{FF2B5EF4-FFF2-40B4-BE49-F238E27FC236}">
                <a16:creationId xmlns:a16="http://schemas.microsoft.com/office/drawing/2014/main" id="{A1309CA3-4FA1-4353-9E62-B96DFE38E752}"/>
              </a:ext>
            </a:extLst>
          </p:cNvPr>
          <p:cNvGrpSpPr>
            <a:grpSpLocks noChangeAspect="1"/>
          </p:cNvGrpSpPr>
          <p:nvPr/>
        </p:nvGrpSpPr>
        <p:grpSpPr>
          <a:xfrm>
            <a:off x="2286104" y="3263433"/>
            <a:ext cx="342365" cy="285619"/>
            <a:chOff x="10464801" y="817563"/>
            <a:chExt cx="287338" cy="239712"/>
          </a:xfrm>
          <a:solidFill>
            <a:schemeClr val="bg1"/>
          </a:solidFill>
          <a:effectLst/>
        </p:grpSpPr>
        <p:sp>
          <p:nvSpPr>
            <p:cNvPr id="1207" name="Freeform 334">
              <a:extLst>
                <a:ext uri="{FF2B5EF4-FFF2-40B4-BE49-F238E27FC236}">
                  <a16:creationId xmlns:a16="http://schemas.microsoft.com/office/drawing/2014/main" id="{D62DCDAD-B7BE-451C-A418-A7BFFBFD7FC1}"/>
                </a:ext>
              </a:extLst>
            </p:cNvPr>
            <p:cNvSpPr>
              <a:spLocks noEditPoints="1"/>
            </p:cNvSpPr>
            <p:nvPr/>
          </p:nvSpPr>
          <p:spPr bwMode="auto">
            <a:xfrm>
              <a:off x="10464801" y="817563"/>
              <a:ext cx="287338" cy="239712"/>
            </a:xfrm>
            <a:custGeom>
              <a:avLst/>
              <a:gdLst>
                <a:gd name="T0" fmla="*/ 723 w 904"/>
                <a:gd name="T1" fmla="*/ 602 h 753"/>
                <a:gd name="T2" fmla="*/ 512 w 904"/>
                <a:gd name="T3" fmla="*/ 602 h 753"/>
                <a:gd name="T4" fmla="*/ 512 w 904"/>
                <a:gd name="T5" fmla="*/ 722 h 753"/>
                <a:gd name="T6" fmla="*/ 181 w 904"/>
                <a:gd name="T7" fmla="*/ 542 h 753"/>
                <a:gd name="T8" fmla="*/ 181 w 904"/>
                <a:gd name="T9" fmla="*/ 722 h 753"/>
                <a:gd name="T10" fmla="*/ 391 w 904"/>
                <a:gd name="T11" fmla="*/ 722 h 753"/>
                <a:gd name="T12" fmla="*/ 331 w 904"/>
                <a:gd name="T13" fmla="*/ 524 h 753"/>
                <a:gd name="T14" fmla="*/ 327 w 904"/>
                <a:gd name="T15" fmla="*/ 516 h 753"/>
                <a:gd name="T16" fmla="*/ 319 w 904"/>
                <a:gd name="T17" fmla="*/ 512 h 753"/>
                <a:gd name="T18" fmla="*/ 163 w 904"/>
                <a:gd name="T19" fmla="*/ 512 h 753"/>
                <a:gd name="T20" fmla="*/ 155 w 904"/>
                <a:gd name="T21" fmla="*/ 516 h 753"/>
                <a:gd name="T22" fmla="*/ 151 w 904"/>
                <a:gd name="T23" fmla="*/ 524 h 753"/>
                <a:gd name="T24" fmla="*/ 91 w 904"/>
                <a:gd name="T25" fmla="*/ 722 h 753"/>
                <a:gd name="T26" fmla="*/ 813 w 904"/>
                <a:gd name="T27" fmla="*/ 722 h 753"/>
                <a:gd name="T28" fmla="*/ 753 w 904"/>
                <a:gd name="T29" fmla="*/ 584 h 753"/>
                <a:gd name="T30" fmla="*/ 748 w 904"/>
                <a:gd name="T31" fmla="*/ 577 h 753"/>
                <a:gd name="T32" fmla="*/ 741 w 904"/>
                <a:gd name="T33" fmla="*/ 572 h 753"/>
                <a:gd name="T34" fmla="*/ 494 w 904"/>
                <a:gd name="T35" fmla="*/ 572 h 753"/>
                <a:gd name="T36" fmla="*/ 487 w 904"/>
                <a:gd name="T37" fmla="*/ 577 h 753"/>
                <a:gd name="T38" fmla="*/ 482 w 904"/>
                <a:gd name="T39" fmla="*/ 584 h 753"/>
                <a:gd name="T40" fmla="*/ 421 w 904"/>
                <a:gd name="T41" fmla="*/ 722 h 753"/>
                <a:gd name="T42" fmla="*/ 723 w 904"/>
                <a:gd name="T43" fmla="*/ 121 h 753"/>
                <a:gd name="T44" fmla="*/ 723 w 904"/>
                <a:gd name="T45" fmla="*/ 241 h 753"/>
                <a:gd name="T46" fmla="*/ 843 w 904"/>
                <a:gd name="T47" fmla="*/ 722 h 753"/>
                <a:gd name="T48" fmla="*/ 885 w 904"/>
                <a:gd name="T49" fmla="*/ 376 h 753"/>
                <a:gd name="T50" fmla="*/ 895 w 904"/>
                <a:gd name="T51" fmla="*/ 375 h 753"/>
                <a:gd name="T52" fmla="*/ 903 w 904"/>
                <a:gd name="T53" fmla="*/ 366 h 753"/>
                <a:gd name="T54" fmla="*/ 903 w 904"/>
                <a:gd name="T55" fmla="*/ 358 h 753"/>
                <a:gd name="T56" fmla="*/ 898 w 904"/>
                <a:gd name="T57" fmla="*/ 350 h 753"/>
                <a:gd name="T58" fmla="*/ 813 w 904"/>
                <a:gd name="T59" fmla="*/ 106 h 753"/>
                <a:gd name="T60" fmla="*/ 811 w 904"/>
                <a:gd name="T61" fmla="*/ 97 h 753"/>
                <a:gd name="T62" fmla="*/ 804 w 904"/>
                <a:gd name="T63" fmla="*/ 92 h 753"/>
                <a:gd name="T64" fmla="*/ 708 w 904"/>
                <a:gd name="T65" fmla="*/ 91 h 753"/>
                <a:gd name="T66" fmla="*/ 699 w 904"/>
                <a:gd name="T67" fmla="*/ 93 h 753"/>
                <a:gd name="T68" fmla="*/ 694 w 904"/>
                <a:gd name="T69" fmla="*/ 99 h 753"/>
                <a:gd name="T70" fmla="*/ 693 w 904"/>
                <a:gd name="T71" fmla="*/ 221 h 753"/>
                <a:gd name="T72" fmla="*/ 333 w 904"/>
                <a:gd name="T73" fmla="*/ 0 h 753"/>
                <a:gd name="T74" fmla="*/ 325 w 904"/>
                <a:gd name="T75" fmla="*/ 1 h 753"/>
                <a:gd name="T76" fmla="*/ 318 w 904"/>
                <a:gd name="T77" fmla="*/ 7 h 753"/>
                <a:gd name="T78" fmla="*/ 316 w 904"/>
                <a:gd name="T79" fmla="*/ 15 h 753"/>
                <a:gd name="T80" fmla="*/ 319 w 904"/>
                <a:gd name="T81" fmla="*/ 24 h 753"/>
                <a:gd name="T82" fmla="*/ 391 w 904"/>
                <a:gd name="T83" fmla="*/ 70 h 753"/>
                <a:gd name="T84" fmla="*/ 69 w 904"/>
                <a:gd name="T85" fmla="*/ 394 h 753"/>
                <a:gd name="T86" fmla="*/ 6 w 904"/>
                <a:gd name="T87" fmla="*/ 424 h 753"/>
                <a:gd name="T88" fmla="*/ 1 w 904"/>
                <a:gd name="T89" fmla="*/ 432 h 753"/>
                <a:gd name="T90" fmla="*/ 1 w 904"/>
                <a:gd name="T91" fmla="*/ 440 h 753"/>
                <a:gd name="T92" fmla="*/ 7 w 904"/>
                <a:gd name="T93" fmla="*/ 450 h 753"/>
                <a:gd name="T94" fmla="*/ 19 w 904"/>
                <a:gd name="T95" fmla="*/ 451 h 753"/>
                <a:gd name="T96" fmla="*/ 61 w 904"/>
                <a:gd name="T97" fmla="*/ 722 h 753"/>
                <a:gd name="T98" fmla="*/ 9 w 904"/>
                <a:gd name="T99" fmla="*/ 724 h 753"/>
                <a:gd name="T100" fmla="*/ 3 w 904"/>
                <a:gd name="T101" fmla="*/ 730 h 753"/>
                <a:gd name="T102" fmla="*/ 0 w 904"/>
                <a:gd name="T103" fmla="*/ 738 h 753"/>
                <a:gd name="T104" fmla="*/ 3 w 904"/>
                <a:gd name="T105" fmla="*/ 746 h 753"/>
                <a:gd name="T106" fmla="*/ 9 w 904"/>
                <a:gd name="T107" fmla="*/ 751 h 753"/>
                <a:gd name="T108" fmla="*/ 166 w 904"/>
                <a:gd name="T109" fmla="*/ 753 h 753"/>
                <a:gd name="T110" fmla="*/ 738 w 904"/>
                <a:gd name="T111" fmla="*/ 753 h 753"/>
                <a:gd name="T112" fmla="*/ 894 w 904"/>
                <a:gd name="T113" fmla="*/ 751 h 753"/>
                <a:gd name="T114" fmla="*/ 901 w 904"/>
                <a:gd name="T115" fmla="*/ 746 h 753"/>
                <a:gd name="T116" fmla="*/ 904 w 904"/>
                <a:gd name="T117" fmla="*/ 738 h 753"/>
                <a:gd name="T118" fmla="*/ 901 w 904"/>
                <a:gd name="T119" fmla="*/ 730 h 753"/>
                <a:gd name="T120" fmla="*/ 894 w 904"/>
                <a:gd name="T121" fmla="*/ 72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753">
                  <a:moveTo>
                    <a:pt x="632" y="722"/>
                  </a:moveTo>
                  <a:lnTo>
                    <a:pt x="632" y="602"/>
                  </a:lnTo>
                  <a:lnTo>
                    <a:pt x="723" y="602"/>
                  </a:lnTo>
                  <a:lnTo>
                    <a:pt x="723" y="722"/>
                  </a:lnTo>
                  <a:lnTo>
                    <a:pt x="632" y="722"/>
                  </a:lnTo>
                  <a:close/>
                  <a:moveTo>
                    <a:pt x="512" y="602"/>
                  </a:moveTo>
                  <a:lnTo>
                    <a:pt x="602" y="602"/>
                  </a:lnTo>
                  <a:lnTo>
                    <a:pt x="602" y="722"/>
                  </a:lnTo>
                  <a:lnTo>
                    <a:pt x="512" y="722"/>
                  </a:lnTo>
                  <a:lnTo>
                    <a:pt x="512" y="602"/>
                  </a:lnTo>
                  <a:close/>
                  <a:moveTo>
                    <a:pt x="181" y="722"/>
                  </a:moveTo>
                  <a:lnTo>
                    <a:pt x="181" y="542"/>
                  </a:lnTo>
                  <a:lnTo>
                    <a:pt x="301" y="542"/>
                  </a:lnTo>
                  <a:lnTo>
                    <a:pt x="301" y="722"/>
                  </a:lnTo>
                  <a:lnTo>
                    <a:pt x="181" y="722"/>
                  </a:lnTo>
                  <a:close/>
                  <a:moveTo>
                    <a:pt x="91" y="417"/>
                  </a:moveTo>
                  <a:lnTo>
                    <a:pt x="391" y="273"/>
                  </a:lnTo>
                  <a:lnTo>
                    <a:pt x="391" y="722"/>
                  </a:lnTo>
                  <a:lnTo>
                    <a:pt x="331" y="722"/>
                  </a:lnTo>
                  <a:lnTo>
                    <a:pt x="331" y="527"/>
                  </a:lnTo>
                  <a:lnTo>
                    <a:pt x="331" y="524"/>
                  </a:lnTo>
                  <a:lnTo>
                    <a:pt x="330" y="521"/>
                  </a:lnTo>
                  <a:lnTo>
                    <a:pt x="329" y="519"/>
                  </a:lnTo>
                  <a:lnTo>
                    <a:pt x="327" y="516"/>
                  </a:lnTo>
                  <a:lnTo>
                    <a:pt x="325" y="514"/>
                  </a:lnTo>
                  <a:lnTo>
                    <a:pt x="323" y="513"/>
                  </a:lnTo>
                  <a:lnTo>
                    <a:pt x="319" y="512"/>
                  </a:lnTo>
                  <a:lnTo>
                    <a:pt x="316" y="512"/>
                  </a:lnTo>
                  <a:lnTo>
                    <a:pt x="166" y="512"/>
                  </a:lnTo>
                  <a:lnTo>
                    <a:pt x="163" y="512"/>
                  </a:lnTo>
                  <a:lnTo>
                    <a:pt x="160" y="513"/>
                  </a:lnTo>
                  <a:lnTo>
                    <a:pt x="157" y="514"/>
                  </a:lnTo>
                  <a:lnTo>
                    <a:pt x="155" y="516"/>
                  </a:lnTo>
                  <a:lnTo>
                    <a:pt x="153" y="519"/>
                  </a:lnTo>
                  <a:lnTo>
                    <a:pt x="152" y="521"/>
                  </a:lnTo>
                  <a:lnTo>
                    <a:pt x="151" y="524"/>
                  </a:lnTo>
                  <a:lnTo>
                    <a:pt x="151" y="527"/>
                  </a:lnTo>
                  <a:lnTo>
                    <a:pt x="151" y="722"/>
                  </a:lnTo>
                  <a:lnTo>
                    <a:pt x="91" y="722"/>
                  </a:lnTo>
                  <a:lnTo>
                    <a:pt x="91" y="417"/>
                  </a:lnTo>
                  <a:close/>
                  <a:moveTo>
                    <a:pt x="813" y="332"/>
                  </a:moveTo>
                  <a:lnTo>
                    <a:pt x="813" y="722"/>
                  </a:lnTo>
                  <a:lnTo>
                    <a:pt x="753" y="722"/>
                  </a:lnTo>
                  <a:lnTo>
                    <a:pt x="753" y="587"/>
                  </a:lnTo>
                  <a:lnTo>
                    <a:pt x="753" y="584"/>
                  </a:lnTo>
                  <a:lnTo>
                    <a:pt x="752" y="582"/>
                  </a:lnTo>
                  <a:lnTo>
                    <a:pt x="750" y="579"/>
                  </a:lnTo>
                  <a:lnTo>
                    <a:pt x="748" y="577"/>
                  </a:lnTo>
                  <a:lnTo>
                    <a:pt x="746" y="574"/>
                  </a:lnTo>
                  <a:lnTo>
                    <a:pt x="744" y="573"/>
                  </a:lnTo>
                  <a:lnTo>
                    <a:pt x="741" y="572"/>
                  </a:lnTo>
                  <a:lnTo>
                    <a:pt x="738" y="572"/>
                  </a:lnTo>
                  <a:lnTo>
                    <a:pt x="497" y="572"/>
                  </a:lnTo>
                  <a:lnTo>
                    <a:pt x="494" y="572"/>
                  </a:lnTo>
                  <a:lnTo>
                    <a:pt x="491" y="573"/>
                  </a:lnTo>
                  <a:lnTo>
                    <a:pt x="489" y="574"/>
                  </a:lnTo>
                  <a:lnTo>
                    <a:pt x="487" y="577"/>
                  </a:lnTo>
                  <a:lnTo>
                    <a:pt x="484" y="579"/>
                  </a:lnTo>
                  <a:lnTo>
                    <a:pt x="483" y="582"/>
                  </a:lnTo>
                  <a:lnTo>
                    <a:pt x="482" y="584"/>
                  </a:lnTo>
                  <a:lnTo>
                    <a:pt x="482" y="587"/>
                  </a:lnTo>
                  <a:lnTo>
                    <a:pt x="482" y="722"/>
                  </a:lnTo>
                  <a:lnTo>
                    <a:pt x="421" y="722"/>
                  </a:lnTo>
                  <a:lnTo>
                    <a:pt x="421" y="89"/>
                  </a:lnTo>
                  <a:lnTo>
                    <a:pt x="813" y="332"/>
                  </a:lnTo>
                  <a:close/>
                  <a:moveTo>
                    <a:pt x="723" y="121"/>
                  </a:moveTo>
                  <a:lnTo>
                    <a:pt x="783" y="121"/>
                  </a:lnTo>
                  <a:lnTo>
                    <a:pt x="783" y="278"/>
                  </a:lnTo>
                  <a:lnTo>
                    <a:pt x="723" y="241"/>
                  </a:lnTo>
                  <a:lnTo>
                    <a:pt x="723" y="121"/>
                  </a:lnTo>
                  <a:close/>
                  <a:moveTo>
                    <a:pt x="889" y="722"/>
                  </a:moveTo>
                  <a:lnTo>
                    <a:pt x="843" y="722"/>
                  </a:lnTo>
                  <a:lnTo>
                    <a:pt x="843" y="351"/>
                  </a:lnTo>
                  <a:lnTo>
                    <a:pt x="880" y="374"/>
                  </a:lnTo>
                  <a:lnTo>
                    <a:pt x="885" y="376"/>
                  </a:lnTo>
                  <a:lnTo>
                    <a:pt x="889" y="377"/>
                  </a:lnTo>
                  <a:lnTo>
                    <a:pt x="892" y="376"/>
                  </a:lnTo>
                  <a:lnTo>
                    <a:pt x="895" y="375"/>
                  </a:lnTo>
                  <a:lnTo>
                    <a:pt x="898" y="373"/>
                  </a:lnTo>
                  <a:lnTo>
                    <a:pt x="901" y="369"/>
                  </a:lnTo>
                  <a:lnTo>
                    <a:pt x="903" y="366"/>
                  </a:lnTo>
                  <a:lnTo>
                    <a:pt x="903" y="364"/>
                  </a:lnTo>
                  <a:lnTo>
                    <a:pt x="904" y="361"/>
                  </a:lnTo>
                  <a:lnTo>
                    <a:pt x="903" y="358"/>
                  </a:lnTo>
                  <a:lnTo>
                    <a:pt x="902" y="356"/>
                  </a:lnTo>
                  <a:lnTo>
                    <a:pt x="901" y="352"/>
                  </a:lnTo>
                  <a:lnTo>
                    <a:pt x="898" y="350"/>
                  </a:lnTo>
                  <a:lnTo>
                    <a:pt x="896" y="349"/>
                  </a:lnTo>
                  <a:lnTo>
                    <a:pt x="813" y="297"/>
                  </a:lnTo>
                  <a:lnTo>
                    <a:pt x="813" y="106"/>
                  </a:lnTo>
                  <a:lnTo>
                    <a:pt x="813" y="102"/>
                  </a:lnTo>
                  <a:lnTo>
                    <a:pt x="812" y="99"/>
                  </a:lnTo>
                  <a:lnTo>
                    <a:pt x="811" y="97"/>
                  </a:lnTo>
                  <a:lnTo>
                    <a:pt x="808" y="95"/>
                  </a:lnTo>
                  <a:lnTo>
                    <a:pt x="806" y="93"/>
                  </a:lnTo>
                  <a:lnTo>
                    <a:pt x="804" y="92"/>
                  </a:lnTo>
                  <a:lnTo>
                    <a:pt x="801" y="91"/>
                  </a:lnTo>
                  <a:lnTo>
                    <a:pt x="798" y="91"/>
                  </a:lnTo>
                  <a:lnTo>
                    <a:pt x="708" y="91"/>
                  </a:lnTo>
                  <a:lnTo>
                    <a:pt x="704" y="91"/>
                  </a:lnTo>
                  <a:lnTo>
                    <a:pt x="702" y="92"/>
                  </a:lnTo>
                  <a:lnTo>
                    <a:pt x="699" y="93"/>
                  </a:lnTo>
                  <a:lnTo>
                    <a:pt x="697" y="95"/>
                  </a:lnTo>
                  <a:lnTo>
                    <a:pt x="695" y="97"/>
                  </a:lnTo>
                  <a:lnTo>
                    <a:pt x="694" y="99"/>
                  </a:lnTo>
                  <a:lnTo>
                    <a:pt x="693" y="102"/>
                  </a:lnTo>
                  <a:lnTo>
                    <a:pt x="693" y="106"/>
                  </a:lnTo>
                  <a:lnTo>
                    <a:pt x="693" y="221"/>
                  </a:lnTo>
                  <a:lnTo>
                    <a:pt x="340" y="3"/>
                  </a:lnTo>
                  <a:lnTo>
                    <a:pt x="336" y="0"/>
                  </a:lnTo>
                  <a:lnTo>
                    <a:pt x="333" y="0"/>
                  </a:lnTo>
                  <a:lnTo>
                    <a:pt x="331" y="0"/>
                  </a:lnTo>
                  <a:lnTo>
                    <a:pt x="328" y="0"/>
                  </a:lnTo>
                  <a:lnTo>
                    <a:pt x="325" y="1"/>
                  </a:lnTo>
                  <a:lnTo>
                    <a:pt x="323" y="3"/>
                  </a:lnTo>
                  <a:lnTo>
                    <a:pt x="320" y="5"/>
                  </a:lnTo>
                  <a:lnTo>
                    <a:pt x="318" y="7"/>
                  </a:lnTo>
                  <a:lnTo>
                    <a:pt x="317" y="10"/>
                  </a:lnTo>
                  <a:lnTo>
                    <a:pt x="316" y="12"/>
                  </a:lnTo>
                  <a:lnTo>
                    <a:pt x="316" y="15"/>
                  </a:lnTo>
                  <a:lnTo>
                    <a:pt x="317" y="19"/>
                  </a:lnTo>
                  <a:lnTo>
                    <a:pt x="317" y="21"/>
                  </a:lnTo>
                  <a:lnTo>
                    <a:pt x="319" y="24"/>
                  </a:lnTo>
                  <a:lnTo>
                    <a:pt x="321" y="26"/>
                  </a:lnTo>
                  <a:lnTo>
                    <a:pt x="324" y="28"/>
                  </a:lnTo>
                  <a:lnTo>
                    <a:pt x="391" y="70"/>
                  </a:lnTo>
                  <a:lnTo>
                    <a:pt x="391" y="239"/>
                  </a:lnTo>
                  <a:lnTo>
                    <a:pt x="72" y="393"/>
                  </a:lnTo>
                  <a:lnTo>
                    <a:pt x="69" y="394"/>
                  </a:lnTo>
                  <a:lnTo>
                    <a:pt x="67" y="395"/>
                  </a:lnTo>
                  <a:lnTo>
                    <a:pt x="8" y="423"/>
                  </a:lnTo>
                  <a:lnTo>
                    <a:pt x="6" y="424"/>
                  </a:lnTo>
                  <a:lnTo>
                    <a:pt x="4" y="426"/>
                  </a:lnTo>
                  <a:lnTo>
                    <a:pt x="2" y="429"/>
                  </a:lnTo>
                  <a:lnTo>
                    <a:pt x="1" y="432"/>
                  </a:lnTo>
                  <a:lnTo>
                    <a:pt x="1" y="435"/>
                  </a:lnTo>
                  <a:lnTo>
                    <a:pt x="1" y="437"/>
                  </a:lnTo>
                  <a:lnTo>
                    <a:pt x="1" y="440"/>
                  </a:lnTo>
                  <a:lnTo>
                    <a:pt x="2" y="444"/>
                  </a:lnTo>
                  <a:lnTo>
                    <a:pt x="4" y="447"/>
                  </a:lnTo>
                  <a:lnTo>
                    <a:pt x="7" y="450"/>
                  </a:lnTo>
                  <a:lnTo>
                    <a:pt x="12" y="451"/>
                  </a:lnTo>
                  <a:lnTo>
                    <a:pt x="16" y="452"/>
                  </a:lnTo>
                  <a:lnTo>
                    <a:pt x="19" y="451"/>
                  </a:lnTo>
                  <a:lnTo>
                    <a:pt x="22" y="450"/>
                  </a:lnTo>
                  <a:lnTo>
                    <a:pt x="61" y="432"/>
                  </a:lnTo>
                  <a:lnTo>
                    <a:pt x="61" y="722"/>
                  </a:lnTo>
                  <a:lnTo>
                    <a:pt x="16" y="722"/>
                  </a:lnTo>
                  <a:lnTo>
                    <a:pt x="13" y="724"/>
                  </a:lnTo>
                  <a:lnTo>
                    <a:pt x="9" y="724"/>
                  </a:lnTo>
                  <a:lnTo>
                    <a:pt x="7" y="726"/>
                  </a:lnTo>
                  <a:lnTo>
                    <a:pt x="5" y="727"/>
                  </a:lnTo>
                  <a:lnTo>
                    <a:pt x="3" y="730"/>
                  </a:lnTo>
                  <a:lnTo>
                    <a:pt x="2" y="732"/>
                  </a:lnTo>
                  <a:lnTo>
                    <a:pt x="1" y="735"/>
                  </a:lnTo>
                  <a:lnTo>
                    <a:pt x="0" y="738"/>
                  </a:lnTo>
                  <a:lnTo>
                    <a:pt x="1" y="741"/>
                  </a:lnTo>
                  <a:lnTo>
                    <a:pt x="2" y="744"/>
                  </a:lnTo>
                  <a:lnTo>
                    <a:pt x="3" y="746"/>
                  </a:lnTo>
                  <a:lnTo>
                    <a:pt x="5" y="748"/>
                  </a:lnTo>
                  <a:lnTo>
                    <a:pt x="7" y="750"/>
                  </a:lnTo>
                  <a:lnTo>
                    <a:pt x="9" y="751"/>
                  </a:lnTo>
                  <a:lnTo>
                    <a:pt x="13" y="753"/>
                  </a:lnTo>
                  <a:lnTo>
                    <a:pt x="16" y="753"/>
                  </a:lnTo>
                  <a:lnTo>
                    <a:pt x="166" y="753"/>
                  </a:lnTo>
                  <a:lnTo>
                    <a:pt x="316" y="753"/>
                  </a:lnTo>
                  <a:lnTo>
                    <a:pt x="497" y="753"/>
                  </a:lnTo>
                  <a:lnTo>
                    <a:pt x="738" y="753"/>
                  </a:lnTo>
                  <a:lnTo>
                    <a:pt x="889" y="753"/>
                  </a:lnTo>
                  <a:lnTo>
                    <a:pt x="891" y="753"/>
                  </a:lnTo>
                  <a:lnTo>
                    <a:pt x="894" y="751"/>
                  </a:lnTo>
                  <a:lnTo>
                    <a:pt x="896" y="750"/>
                  </a:lnTo>
                  <a:lnTo>
                    <a:pt x="898" y="748"/>
                  </a:lnTo>
                  <a:lnTo>
                    <a:pt x="901" y="746"/>
                  </a:lnTo>
                  <a:lnTo>
                    <a:pt x="902" y="744"/>
                  </a:lnTo>
                  <a:lnTo>
                    <a:pt x="903" y="741"/>
                  </a:lnTo>
                  <a:lnTo>
                    <a:pt x="904" y="738"/>
                  </a:lnTo>
                  <a:lnTo>
                    <a:pt x="903" y="735"/>
                  </a:lnTo>
                  <a:lnTo>
                    <a:pt x="902" y="732"/>
                  </a:lnTo>
                  <a:lnTo>
                    <a:pt x="901" y="730"/>
                  </a:lnTo>
                  <a:lnTo>
                    <a:pt x="898" y="727"/>
                  </a:lnTo>
                  <a:lnTo>
                    <a:pt x="896" y="726"/>
                  </a:lnTo>
                  <a:lnTo>
                    <a:pt x="894" y="724"/>
                  </a:lnTo>
                  <a:lnTo>
                    <a:pt x="891" y="724"/>
                  </a:lnTo>
                  <a:lnTo>
                    <a:pt x="889" y="7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8" name="Freeform 335">
              <a:extLst>
                <a:ext uri="{FF2B5EF4-FFF2-40B4-BE49-F238E27FC236}">
                  <a16:creationId xmlns:a16="http://schemas.microsoft.com/office/drawing/2014/main" id="{4DE69F77-2743-43DE-B4A7-40FBDD13ADDF}"/>
                </a:ext>
              </a:extLst>
            </p:cNvPr>
            <p:cNvSpPr>
              <a:spLocks/>
            </p:cNvSpPr>
            <p:nvPr/>
          </p:nvSpPr>
          <p:spPr bwMode="auto">
            <a:xfrm>
              <a:off x="10512426" y="962025"/>
              <a:ext cx="57150" cy="9525"/>
            </a:xfrm>
            <a:custGeom>
              <a:avLst/>
              <a:gdLst>
                <a:gd name="T0" fmla="*/ 15 w 180"/>
                <a:gd name="T1" fmla="*/ 30 h 30"/>
                <a:gd name="T2" fmla="*/ 165 w 180"/>
                <a:gd name="T3" fmla="*/ 30 h 30"/>
                <a:gd name="T4" fmla="*/ 168 w 180"/>
                <a:gd name="T5" fmla="*/ 29 h 30"/>
                <a:gd name="T6" fmla="*/ 172 w 180"/>
                <a:gd name="T7" fmla="*/ 29 h 30"/>
                <a:gd name="T8" fmla="*/ 174 w 180"/>
                <a:gd name="T9" fmla="*/ 27 h 30"/>
                <a:gd name="T10" fmla="*/ 176 w 180"/>
                <a:gd name="T11" fmla="*/ 26 h 30"/>
                <a:gd name="T12" fmla="*/ 178 w 180"/>
                <a:gd name="T13" fmla="*/ 24 h 30"/>
                <a:gd name="T14" fmla="*/ 179 w 180"/>
                <a:gd name="T15" fmla="*/ 20 h 30"/>
                <a:gd name="T16" fmla="*/ 180 w 180"/>
                <a:gd name="T17" fmla="*/ 18 h 30"/>
                <a:gd name="T18" fmla="*/ 180 w 180"/>
                <a:gd name="T19" fmla="*/ 15 h 30"/>
                <a:gd name="T20" fmla="*/ 180 w 180"/>
                <a:gd name="T21" fmla="*/ 12 h 30"/>
                <a:gd name="T22" fmla="*/ 179 w 180"/>
                <a:gd name="T23" fmla="*/ 9 h 30"/>
                <a:gd name="T24" fmla="*/ 178 w 180"/>
                <a:gd name="T25" fmla="*/ 7 h 30"/>
                <a:gd name="T26" fmla="*/ 176 w 180"/>
                <a:gd name="T27" fmla="*/ 4 h 30"/>
                <a:gd name="T28" fmla="*/ 174 w 180"/>
                <a:gd name="T29" fmla="*/ 2 h 30"/>
                <a:gd name="T30" fmla="*/ 172 w 180"/>
                <a:gd name="T31" fmla="*/ 1 h 30"/>
                <a:gd name="T32" fmla="*/ 168 w 180"/>
                <a:gd name="T33" fmla="*/ 0 h 30"/>
                <a:gd name="T34" fmla="*/ 165 w 180"/>
                <a:gd name="T35" fmla="*/ 0 h 30"/>
                <a:gd name="T36" fmla="*/ 15 w 180"/>
                <a:gd name="T37" fmla="*/ 0 h 30"/>
                <a:gd name="T38" fmla="*/ 12 w 180"/>
                <a:gd name="T39" fmla="*/ 0 h 30"/>
                <a:gd name="T40" fmla="*/ 9 w 180"/>
                <a:gd name="T41" fmla="*/ 1 h 30"/>
                <a:gd name="T42" fmla="*/ 6 w 180"/>
                <a:gd name="T43" fmla="*/ 2 h 30"/>
                <a:gd name="T44" fmla="*/ 4 w 180"/>
                <a:gd name="T45" fmla="*/ 4 h 30"/>
                <a:gd name="T46" fmla="*/ 2 w 180"/>
                <a:gd name="T47" fmla="*/ 7 h 30"/>
                <a:gd name="T48" fmla="*/ 1 w 180"/>
                <a:gd name="T49" fmla="*/ 9 h 30"/>
                <a:gd name="T50" fmla="*/ 0 w 180"/>
                <a:gd name="T51" fmla="*/ 12 h 30"/>
                <a:gd name="T52" fmla="*/ 0 w 180"/>
                <a:gd name="T53" fmla="*/ 15 h 30"/>
                <a:gd name="T54" fmla="*/ 0 w 180"/>
                <a:gd name="T55" fmla="*/ 18 h 30"/>
                <a:gd name="T56" fmla="*/ 1 w 180"/>
                <a:gd name="T57" fmla="*/ 20 h 30"/>
                <a:gd name="T58" fmla="*/ 2 w 180"/>
                <a:gd name="T59" fmla="*/ 24 h 30"/>
                <a:gd name="T60" fmla="*/ 4 w 180"/>
                <a:gd name="T61" fmla="*/ 26 h 30"/>
                <a:gd name="T62" fmla="*/ 6 w 180"/>
                <a:gd name="T63" fmla="*/ 27 h 30"/>
                <a:gd name="T64" fmla="*/ 9 w 180"/>
                <a:gd name="T65" fmla="*/ 29 h 30"/>
                <a:gd name="T66" fmla="*/ 12 w 180"/>
                <a:gd name="T67" fmla="*/ 29 h 30"/>
                <a:gd name="T68" fmla="*/ 15 w 180"/>
                <a:gd name="T69" fmla="*/ 30 h 30"/>
                <a:gd name="T70" fmla="*/ 15 w 18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5" y="30"/>
                  </a:moveTo>
                  <a:lnTo>
                    <a:pt x="165" y="30"/>
                  </a:lnTo>
                  <a:lnTo>
                    <a:pt x="168" y="29"/>
                  </a:lnTo>
                  <a:lnTo>
                    <a:pt x="172" y="29"/>
                  </a:lnTo>
                  <a:lnTo>
                    <a:pt x="174" y="27"/>
                  </a:lnTo>
                  <a:lnTo>
                    <a:pt x="176" y="26"/>
                  </a:lnTo>
                  <a:lnTo>
                    <a:pt x="178" y="24"/>
                  </a:lnTo>
                  <a:lnTo>
                    <a:pt x="179" y="20"/>
                  </a:lnTo>
                  <a:lnTo>
                    <a:pt x="180" y="18"/>
                  </a:lnTo>
                  <a:lnTo>
                    <a:pt x="180" y="15"/>
                  </a:lnTo>
                  <a:lnTo>
                    <a:pt x="180" y="12"/>
                  </a:lnTo>
                  <a:lnTo>
                    <a:pt x="179" y="9"/>
                  </a:lnTo>
                  <a:lnTo>
                    <a:pt x="178" y="7"/>
                  </a:lnTo>
                  <a:lnTo>
                    <a:pt x="176" y="4"/>
                  </a:lnTo>
                  <a:lnTo>
                    <a:pt x="174" y="2"/>
                  </a:lnTo>
                  <a:lnTo>
                    <a:pt x="172" y="1"/>
                  </a:lnTo>
                  <a:lnTo>
                    <a:pt x="168" y="0"/>
                  </a:lnTo>
                  <a:lnTo>
                    <a:pt x="165" y="0"/>
                  </a:lnTo>
                  <a:lnTo>
                    <a:pt x="15" y="0"/>
                  </a:lnTo>
                  <a:lnTo>
                    <a:pt x="12" y="0"/>
                  </a:lnTo>
                  <a:lnTo>
                    <a:pt x="9" y="1"/>
                  </a:lnTo>
                  <a:lnTo>
                    <a:pt x="6" y="2"/>
                  </a:lnTo>
                  <a:lnTo>
                    <a:pt x="4" y="4"/>
                  </a:lnTo>
                  <a:lnTo>
                    <a:pt x="2" y="7"/>
                  </a:lnTo>
                  <a:lnTo>
                    <a:pt x="1" y="9"/>
                  </a:lnTo>
                  <a:lnTo>
                    <a:pt x="0" y="12"/>
                  </a:lnTo>
                  <a:lnTo>
                    <a:pt x="0" y="15"/>
                  </a:lnTo>
                  <a:lnTo>
                    <a:pt x="0" y="18"/>
                  </a:lnTo>
                  <a:lnTo>
                    <a:pt x="1" y="20"/>
                  </a:lnTo>
                  <a:lnTo>
                    <a:pt x="2" y="24"/>
                  </a:lnTo>
                  <a:lnTo>
                    <a:pt x="4" y="26"/>
                  </a:lnTo>
                  <a:lnTo>
                    <a:pt x="6" y="27"/>
                  </a:lnTo>
                  <a:lnTo>
                    <a:pt x="9" y="29"/>
                  </a:lnTo>
                  <a:lnTo>
                    <a:pt x="12" y="29"/>
                  </a:lnTo>
                  <a:lnTo>
                    <a:pt x="15" y="30"/>
                  </a:lnTo>
                  <a:lnTo>
                    <a:pt x="15" y="3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9" name="Freeform 336">
              <a:extLst>
                <a:ext uri="{FF2B5EF4-FFF2-40B4-BE49-F238E27FC236}">
                  <a16:creationId xmlns:a16="http://schemas.microsoft.com/office/drawing/2014/main" id="{3B976C17-8837-4426-A37A-4578295FFDB5}"/>
                </a:ext>
              </a:extLst>
            </p:cNvPr>
            <p:cNvSpPr>
              <a:spLocks noEditPoints="1"/>
            </p:cNvSpPr>
            <p:nvPr/>
          </p:nvSpPr>
          <p:spPr bwMode="auto">
            <a:xfrm>
              <a:off x="10607676" y="893763"/>
              <a:ext cx="47625" cy="49212"/>
            </a:xfrm>
            <a:custGeom>
              <a:avLst/>
              <a:gdLst>
                <a:gd name="T0" fmla="*/ 84 w 150"/>
                <a:gd name="T1" fmla="*/ 31 h 151"/>
                <a:gd name="T2" fmla="*/ 100 w 150"/>
                <a:gd name="T3" fmla="*/ 37 h 151"/>
                <a:gd name="T4" fmla="*/ 113 w 150"/>
                <a:gd name="T5" fmla="*/ 50 h 151"/>
                <a:gd name="T6" fmla="*/ 119 w 150"/>
                <a:gd name="T7" fmla="*/ 66 h 151"/>
                <a:gd name="T8" fmla="*/ 119 w 150"/>
                <a:gd name="T9" fmla="*/ 84 h 151"/>
                <a:gd name="T10" fmla="*/ 113 w 150"/>
                <a:gd name="T11" fmla="*/ 101 h 151"/>
                <a:gd name="T12" fmla="*/ 100 w 150"/>
                <a:gd name="T13" fmla="*/ 112 h 151"/>
                <a:gd name="T14" fmla="*/ 84 w 150"/>
                <a:gd name="T15" fmla="*/ 120 h 151"/>
                <a:gd name="T16" fmla="*/ 66 w 150"/>
                <a:gd name="T17" fmla="*/ 120 h 151"/>
                <a:gd name="T18" fmla="*/ 50 w 150"/>
                <a:gd name="T19" fmla="*/ 112 h 151"/>
                <a:gd name="T20" fmla="*/ 38 w 150"/>
                <a:gd name="T21" fmla="*/ 101 h 151"/>
                <a:gd name="T22" fmla="*/ 30 w 150"/>
                <a:gd name="T23" fmla="*/ 84 h 151"/>
                <a:gd name="T24" fmla="*/ 30 w 150"/>
                <a:gd name="T25" fmla="*/ 66 h 151"/>
                <a:gd name="T26" fmla="*/ 38 w 150"/>
                <a:gd name="T27" fmla="*/ 50 h 151"/>
                <a:gd name="T28" fmla="*/ 50 w 150"/>
                <a:gd name="T29" fmla="*/ 37 h 151"/>
                <a:gd name="T30" fmla="*/ 66 w 150"/>
                <a:gd name="T31" fmla="*/ 31 h 151"/>
                <a:gd name="T32" fmla="*/ 75 w 150"/>
                <a:gd name="T33" fmla="*/ 150 h 151"/>
                <a:gd name="T34" fmla="*/ 90 w 150"/>
                <a:gd name="T35" fmla="*/ 149 h 151"/>
                <a:gd name="T36" fmla="*/ 104 w 150"/>
                <a:gd name="T37" fmla="*/ 145 h 151"/>
                <a:gd name="T38" fmla="*/ 117 w 150"/>
                <a:gd name="T39" fmla="*/ 137 h 151"/>
                <a:gd name="T40" fmla="*/ 128 w 150"/>
                <a:gd name="T41" fmla="*/ 128 h 151"/>
                <a:gd name="T42" fmla="*/ 138 w 150"/>
                <a:gd name="T43" fmla="*/ 118 h 151"/>
                <a:gd name="T44" fmla="*/ 144 w 150"/>
                <a:gd name="T45" fmla="*/ 105 h 151"/>
                <a:gd name="T46" fmla="*/ 148 w 150"/>
                <a:gd name="T47" fmla="*/ 90 h 151"/>
                <a:gd name="T48" fmla="*/ 150 w 150"/>
                <a:gd name="T49" fmla="*/ 75 h 151"/>
                <a:gd name="T50" fmla="*/ 148 w 150"/>
                <a:gd name="T51" fmla="*/ 60 h 151"/>
                <a:gd name="T52" fmla="*/ 144 w 150"/>
                <a:gd name="T53" fmla="*/ 46 h 151"/>
                <a:gd name="T54" fmla="*/ 138 w 150"/>
                <a:gd name="T55" fmla="*/ 33 h 151"/>
                <a:gd name="T56" fmla="*/ 128 w 150"/>
                <a:gd name="T57" fmla="*/ 22 h 151"/>
                <a:gd name="T58" fmla="*/ 117 w 150"/>
                <a:gd name="T59" fmla="*/ 13 h 151"/>
                <a:gd name="T60" fmla="*/ 104 w 150"/>
                <a:gd name="T61" fmla="*/ 6 h 151"/>
                <a:gd name="T62" fmla="*/ 90 w 150"/>
                <a:gd name="T63" fmla="*/ 2 h 151"/>
                <a:gd name="T64" fmla="*/ 75 w 150"/>
                <a:gd name="T65" fmla="*/ 0 h 151"/>
                <a:gd name="T66" fmla="*/ 60 w 150"/>
                <a:gd name="T67" fmla="*/ 2 h 151"/>
                <a:gd name="T68" fmla="*/ 45 w 150"/>
                <a:gd name="T69" fmla="*/ 6 h 151"/>
                <a:gd name="T70" fmla="*/ 32 w 150"/>
                <a:gd name="T71" fmla="*/ 13 h 151"/>
                <a:gd name="T72" fmla="*/ 22 w 150"/>
                <a:gd name="T73" fmla="*/ 22 h 151"/>
                <a:gd name="T74" fmla="*/ 13 w 150"/>
                <a:gd name="T75" fmla="*/ 33 h 151"/>
                <a:gd name="T76" fmla="*/ 6 w 150"/>
                <a:gd name="T77" fmla="*/ 46 h 151"/>
                <a:gd name="T78" fmla="*/ 1 w 150"/>
                <a:gd name="T79" fmla="*/ 60 h 151"/>
                <a:gd name="T80" fmla="*/ 0 w 150"/>
                <a:gd name="T81" fmla="*/ 75 h 151"/>
                <a:gd name="T82" fmla="*/ 1 w 150"/>
                <a:gd name="T83" fmla="*/ 90 h 151"/>
                <a:gd name="T84" fmla="*/ 6 w 150"/>
                <a:gd name="T85" fmla="*/ 105 h 151"/>
                <a:gd name="T86" fmla="*/ 13 w 150"/>
                <a:gd name="T87" fmla="*/ 117 h 151"/>
                <a:gd name="T88" fmla="*/ 22 w 150"/>
                <a:gd name="T89" fmla="*/ 128 h 151"/>
                <a:gd name="T90" fmla="*/ 32 w 150"/>
                <a:gd name="T91" fmla="*/ 137 h 151"/>
                <a:gd name="T92" fmla="*/ 45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0" y="37"/>
                  </a:lnTo>
                  <a:lnTo>
                    <a:pt x="106" y="44"/>
                  </a:lnTo>
                  <a:lnTo>
                    <a:pt x="113" y="50"/>
                  </a:lnTo>
                  <a:lnTo>
                    <a:pt x="116" y="58"/>
                  </a:lnTo>
                  <a:lnTo>
                    <a:pt x="119" y="66"/>
                  </a:lnTo>
                  <a:lnTo>
                    <a:pt x="120" y="75"/>
                  </a:lnTo>
                  <a:lnTo>
                    <a:pt x="119" y="84"/>
                  </a:lnTo>
                  <a:lnTo>
                    <a:pt x="116" y="93"/>
                  </a:lnTo>
                  <a:lnTo>
                    <a:pt x="113" y="101"/>
                  </a:lnTo>
                  <a:lnTo>
                    <a:pt x="106" y="107"/>
                  </a:lnTo>
                  <a:lnTo>
                    <a:pt x="100" y="112"/>
                  </a:lnTo>
                  <a:lnTo>
                    <a:pt x="93" y="117"/>
                  </a:lnTo>
                  <a:lnTo>
                    <a:pt x="84" y="120"/>
                  </a:lnTo>
                  <a:lnTo>
                    <a:pt x="75" y="120"/>
                  </a:lnTo>
                  <a:lnTo>
                    <a:pt x="66" y="120"/>
                  </a:lnTo>
                  <a:lnTo>
                    <a:pt x="57" y="117"/>
                  </a:lnTo>
                  <a:lnTo>
                    <a:pt x="50" y="112"/>
                  </a:lnTo>
                  <a:lnTo>
                    <a:pt x="43" y="107"/>
                  </a:lnTo>
                  <a:lnTo>
                    <a:pt x="38" y="101"/>
                  </a:lnTo>
                  <a:lnTo>
                    <a:pt x="34" y="93"/>
                  </a:lnTo>
                  <a:lnTo>
                    <a:pt x="30" y="84"/>
                  </a:lnTo>
                  <a:lnTo>
                    <a:pt x="30" y="75"/>
                  </a:lnTo>
                  <a:lnTo>
                    <a:pt x="30" y="66"/>
                  </a:lnTo>
                  <a:lnTo>
                    <a:pt x="34" y="58"/>
                  </a:lnTo>
                  <a:lnTo>
                    <a:pt x="38" y="50"/>
                  </a:lnTo>
                  <a:lnTo>
                    <a:pt x="43" y="44"/>
                  </a:lnTo>
                  <a:lnTo>
                    <a:pt x="50" y="37"/>
                  </a:lnTo>
                  <a:lnTo>
                    <a:pt x="57" y="34"/>
                  </a:lnTo>
                  <a:lnTo>
                    <a:pt x="66" y="31"/>
                  </a:lnTo>
                  <a:lnTo>
                    <a:pt x="75" y="30"/>
                  </a:lnTo>
                  <a:close/>
                  <a:moveTo>
                    <a:pt x="75" y="150"/>
                  </a:moveTo>
                  <a:lnTo>
                    <a:pt x="83" y="150"/>
                  </a:lnTo>
                  <a:lnTo>
                    <a:pt x="90" y="149"/>
                  </a:lnTo>
                  <a:lnTo>
                    <a:pt x="98" y="147"/>
                  </a:lnTo>
                  <a:lnTo>
                    <a:pt x="104" y="145"/>
                  </a:lnTo>
                  <a:lnTo>
                    <a:pt x="111" y="141"/>
                  </a:lnTo>
                  <a:lnTo>
                    <a:pt x="117" y="137"/>
                  </a:lnTo>
                  <a:lnTo>
                    <a:pt x="123" y="133"/>
                  </a:lnTo>
                  <a:lnTo>
                    <a:pt x="128" y="128"/>
                  </a:lnTo>
                  <a:lnTo>
                    <a:pt x="133" y="123"/>
                  </a:lnTo>
                  <a:lnTo>
                    <a:pt x="138" y="118"/>
                  </a:lnTo>
                  <a:lnTo>
                    <a:pt x="141" y="111"/>
                  </a:lnTo>
                  <a:lnTo>
                    <a:pt x="144" y="105"/>
                  </a:lnTo>
                  <a:lnTo>
                    <a:pt x="147" y="97"/>
                  </a:lnTo>
                  <a:lnTo>
                    <a:pt x="148" y="90"/>
                  </a:lnTo>
                  <a:lnTo>
                    <a:pt x="150" y="83"/>
                  </a:lnTo>
                  <a:lnTo>
                    <a:pt x="150" y="75"/>
                  </a:lnTo>
                  <a:lnTo>
                    <a:pt x="150" y="67"/>
                  </a:lnTo>
                  <a:lnTo>
                    <a:pt x="148" y="60"/>
                  </a:lnTo>
                  <a:lnTo>
                    <a:pt x="147" y="52"/>
                  </a:lnTo>
                  <a:lnTo>
                    <a:pt x="144" y="46"/>
                  </a:lnTo>
                  <a:lnTo>
                    <a:pt x="141" y="39"/>
                  </a:lnTo>
                  <a:lnTo>
                    <a:pt x="138" y="33"/>
                  </a:lnTo>
                  <a:lnTo>
                    <a:pt x="133" y="28"/>
                  </a:lnTo>
                  <a:lnTo>
                    <a:pt x="128" y="22"/>
                  </a:lnTo>
                  <a:lnTo>
                    <a:pt x="123" y="17"/>
                  </a:lnTo>
                  <a:lnTo>
                    <a:pt x="117" y="13"/>
                  </a:lnTo>
                  <a:lnTo>
                    <a:pt x="111" y="9"/>
                  </a:lnTo>
                  <a:lnTo>
                    <a:pt x="104" y="6"/>
                  </a:lnTo>
                  <a:lnTo>
                    <a:pt x="98" y="3"/>
                  </a:lnTo>
                  <a:lnTo>
                    <a:pt x="90" y="2"/>
                  </a:lnTo>
                  <a:lnTo>
                    <a:pt x="83" y="1"/>
                  </a:lnTo>
                  <a:lnTo>
                    <a:pt x="75" y="0"/>
                  </a:lnTo>
                  <a:lnTo>
                    <a:pt x="68" y="1"/>
                  </a:lnTo>
                  <a:lnTo>
                    <a:pt x="60" y="2"/>
                  </a:lnTo>
                  <a:lnTo>
                    <a:pt x="53" y="3"/>
                  </a:lnTo>
                  <a:lnTo>
                    <a:pt x="45" y="6"/>
                  </a:lnTo>
                  <a:lnTo>
                    <a:pt x="39" y="9"/>
                  </a:lnTo>
                  <a:lnTo>
                    <a:pt x="32" y="13"/>
                  </a:lnTo>
                  <a:lnTo>
                    <a:pt x="27" y="17"/>
                  </a:lnTo>
                  <a:lnTo>
                    <a:pt x="22" y="22"/>
                  </a:lnTo>
                  <a:lnTo>
                    <a:pt x="17" y="28"/>
                  </a:lnTo>
                  <a:lnTo>
                    <a:pt x="13" y="33"/>
                  </a:lnTo>
                  <a:lnTo>
                    <a:pt x="9" y="39"/>
                  </a:lnTo>
                  <a:lnTo>
                    <a:pt x="6" y="46"/>
                  </a:lnTo>
                  <a:lnTo>
                    <a:pt x="4" y="53"/>
                  </a:lnTo>
                  <a:lnTo>
                    <a:pt x="1" y="60"/>
                  </a:lnTo>
                  <a:lnTo>
                    <a:pt x="0" y="67"/>
                  </a:lnTo>
                  <a:lnTo>
                    <a:pt x="0" y="75"/>
                  </a:lnTo>
                  <a:lnTo>
                    <a:pt x="0" y="83"/>
                  </a:lnTo>
                  <a:lnTo>
                    <a:pt x="1" y="90"/>
                  </a:lnTo>
                  <a:lnTo>
                    <a:pt x="4" y="97"/>
                  </a:lnTo>
                  <a:lnTo>
                    <a:pt x="6" y="105"/>
                  </a:lnTo>
                  <a:lnTo>
                    <a:pt x="9" y="111"/>
                  </a:lnTo>
                  <a:lnTo>
                    <a:pt x="13" y="117"/>
                  </a:lnTo>
                  <a:lnTo>
                    <a:pt x="17" y="123"/>
                  </a:lnTo>
                  <a:lnTo>
                    <a:pt x="22" y="128"/>
                  </a:lnTo>
                  <a:lnTo>
                    <a:pt x="27" y="133"/>
                  </a:lnTo>
                  <a:lnTo>
                    <a:pt x="32" y="137"/>
                  </a:lnTo>
                  <a:lnTo>
                    <a:pt x="39" y="141"/>
                  </a:lnTo>
                  <a:lnTo>
                    <a:pt x="45" y="145"/>
                  </a:lnTo>
                  <a:lnTo>
                    <a:pt x="53" y="147"/>
                  </a:lnTo>
                  <a:lnTo>
                    <a:pt x="60" y="149"/>
                  </a:lnTo>
                  <a:lnTo>
                    <a:pt x="68" y="150"/>
                  </a:lnTo>
                  <a:lnTo>
                    <a:pt x="75" y="151"/>
                  </a:lnTo>
                  <a:lnTo>
                    <a:pt x="75" y="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1221" name="Group 68">
            <a:extLst>
              <a:ext uri="{FF2B5EF4-FFF2-40B4-BE49-F238E27FC236}">
                <a16:creationId xmlns:a16="http://schemas.microsoft.com/office/drawing/2014/main" id="{47C4E5DC-E1AA-44BE-A99A-F117699CEABA}"/>
              </a:ext>
            </a:extLst>
          </p:cNvPr>
          <p:cNvGrpSpPr>
            <a:grpSpLocks noChangeAspect="1"/>
          </p:cNvGrpSpPr>
          <p:nvPr/>
        </p:nvGrpSpPr>
        <p:grpSpPr>
          <a:xfrm>
            <a:off x="2736259" y="3263433"/>
            <a:ext cx="285619" cy="285619"/>
            <a:chOff x="7023101" y="1917700"/>
            <a:chExt cx="287338" cy="287337"/>
          </a:xfrm>
          <a:solidFill>
            <a:schemeClr val="bg1"/>
          </a:solidFill>
          <a:effectLst/>
        </p:grpSpPr>
        <p:sp>
          <p:nvSpPr>
            <p:cNvPr id="1222" name="Freeform 274">
              <a:extLst>
                <a:ext uri="{FF2B5EF4-FFF2-40B4-BE49-F238E27FC236}">
                  <a16:creationId xmlns:a16="http://schemas.microsoft.com/office/drawing/2014/main" id="{09F566A6-AEC6-44ED-8B59-11DB909E4F08}"/>
                </a:ext>
              </a:extLst>
            </p:cNvPr>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3" name="Freeform 275">
              <a:extLst>
                <a:ext uri="{FF2B5EF4-FFF2-40B4-BE49-F238E27FC236}">
                  <a16:creationId xmlns:a16="http://schemas.microsoft.com/office/drawing/2014/main" id="{F0FB00A3-D2C1-496D-968A-0CCCA348E755}"/>
                </a:ext>
              </a:extLst>
            </p:cNvPr>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4" name="Freeform 276">
              <a:extLst>
                <a:ext uri="{FF2B5EF4-FFF2-40B4-BE49-F238E27FC236}">
                  <a16:creationId xmlns:a16="http://schemas.microsoft.com/office/drawing/2014/main" id="{DDB542B5-4786-4706-B6C4-26E85EED06CD}"/>
                </a:ext>
              </a:extLst>
            </p:cNvPr>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5" name="Freeform 277">
              <a:extLst>
                <a:ext uri="{FF2B5EF4-FFF2-40B4-BE49-F238E27FC236}">
                  <a16:creationId xmlns:a16="http://schemas.microsoft.com/office/drawing/2014/main" id="{90DBCFAC-C0D9-4A2C-AF0E-5EB71C73DA3F}"/>
                </a:ext>
              </a:extLst>
            </p:cNvPr>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6" name="Freeform 278">
              <a:extLst>
                <a:ext uri="{FF2B5EF4-FFF2-40B4-BE49-F238E27FC236}">
                  <a16:creationId xmlns:a16="http://schemas.microsoft.com/office/drawing/2014/main" id="{F2285B84-CC38-46C0-BC22-64467E93CF90}"/>
                </a:ext>
              </a:extLst>
            </p:cNvPr>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7" name="Freeform 279">
              <a:extLst>
                <a:ext uri="{FF2B5EF4-FFF2-40B4-BE49-F238E27FC236}">
                  <a16:creationId xmlns:a16="http://schemas.microsoft.com/office/drawing/2014/main" id="{4537EA8E-27D9-4A53-A888-9E6E959F9C10}"/>
                </a:ext>
              </a:extLst>
            </p:cNvPr>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8" name="Freeform 280">
              <a:extLst>
                <a:ext uri="{FF2B5EF4-FFF2-40B4-BE49-F238E27FC236}">
                  <a16:creationId xmlns:a16="http://schemas.microsoft.com/office/drawing/2014/main" id="{EA53B19D-D332-47E0-A8C2-E15B27F7D362}"/>
                </a:ext>
              </a:extLst>
            </p:cNvPr>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29" name="Freeform 281">
              <a:extLst>
                <a:ext uri="{FF2B5EF4-FFF2-40B4-BE49-F238E27FC236}">
                  <a16:creationId xmlns:a16="http://schemas.microsoft.com/office/drawing/2014/main" id="{0E39AD85-2DDE-457D-983F-A075C43443F5}"/>
                </a:ext>
              </a:extLst>
            </p:cNvPr>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0" name="Freeform 282">
              <a:extLst>
                <a:ext uri="{FF2B5EF4-FFF2-40B4-BE49-F238E27FC236}">
                  <a16:creationId xmlns:a16="http://schemas.microsoft.com/office/drawing/2014/main" id="{2365B7EE-8AB8-4BF7-9859-0CA6CCCED22F}"/>
                </a:ext>
              </a:extLst>
            </p:cNvPr>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1" name="Freeform 283">
              <a:extLst>
                <a:ext uri="{FF2B5EF4-FFF2-40B4-BE49-F238E27FC236}">
                  <a16:creationId xmlns:a16="http://schemas.microsoft.com/office/drawing/2014/main" id="{776ED6CC-9EB2-48C7-855B-5248237E03A0}"/>
                </a:ext>
              </a:extLst>
            </p:cNvPr>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2" name="Freeform 284">
              <a:extLst>
                <a:ext uri="{FF2B5EF4-FFF2-40B4-BE49-F238E27FC236}">
                  <a16:creationId xmlns:a16="http://schemas.microsoft.com/office/drawing/2014/main" id="{905D19F1-8D2C-423A-990F-F55C75EFD8E5}"/>
                </a:ext>
              </a:extLst>
            </p:cNvPr>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3" name="Freeform 285">
              <a:extLst>
                <a:ext uri="{FF2B5EF4-FFF2-40B4-BE49-F238E27FC236}">
                  <a16:creationId xmlns:a16="http://schemas.microsoft.com/office/drawing/2014/main" id="{1E300682-5D5F-4083-8F3B-A710C4450C53}"/>
                </a:ext>
              </a:extLst>
            </p:cNvPr>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4" name="Freeform 286">
              <a:extLst>
                <a:ext uri="{FF2B5EF4-FFF2-40B4-BE49-F238E27FC236}">
                  <a16:creationId xmlns:a16="http://schemas.microsoft.com/office/drawing/2014/main" id="{807117C4-7C5A-407F-9D83-0ADEDF2291F6}"/>
                </a:ext>
              </a:extLst>
            </p:cNvPr>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5" name="Freeform 287">
              <a:extLst>
                <a:ext uri="{FF2B5EF4-FFF2-40B4-BE49-F238E27FC236}">
                  <a16:creationId xmlns:a16="http://schemas.microsoft.com/office/drawing/2014/main" id="{351C8248-4E30-4F5D-AC02-F62BC1CA919B}"/>
                </a:ext>
              </a:extLst>
            </p:cNvPr>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6" name="Freeform 288">
              <a:extLst>
                <a:ext uri="{FF2B5EF4-FFF2-40B4-BE49-F238E27FC236}">
                  <a16:creationId xmlns:a16="http://schemas.microsoft.com/office/drawing/2014/main" id="{15F67F18-002E-427A-999D-7B9C2824B2F5}"/>
                </a:ext>
              </a:extLst>
            </p:cNvPr>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7" name="Freeform 289">
              <a:extLst>
                <a:ext uri="{FF2B5EF4-FFF2-40B4-BE49-F238E27FC236}">
                  <a16:creationId xmlns:a16="http://schemas.microsoft.com/office/drawing/2014/main" id="{EA04B3BB-2D66-40D3-A677-F3EBC8639D0A}"/>
                </a:ext>
              </a:extLst>
            </p:cNvPr>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8" name="Freeform 290">
              <a:extLst>
                <a:ext uri="{FF2B5EF4-FFF2-40B4-BE49-F238E27FC236}">
                  <a16:creationId xmlns:a16="http://schemas.microsoft.com/office/drawing/2014/main" id="{05D6C7F4-5895-4BA3-8BC6-04913CFD3315}"/>
                </a:ext>
              </a:extLst>
            </p:cNvPr>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239" name="Freeform 291">
              <a:extLst>
                <a:ext uri="{FF2B5EF4-FFF2-40B4-BE49-F238E27FC236}">
                  <a16:creationId xmlns:a16="http://schemas.microsoft.com/office/drawing/2014/main" id="{DD2C63BE-D90F-4869-BCAB-8338E18DFD25}"/>
                </a:ext>
              </a:extLst>
            </p:cNvPr>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250" name="Group 150">
            <a:extLst>
              <a:ext uri="{FF2B5EF4-FFF2-40B4-BE49-F238E27FC236}">
                <a16:creationId xmlns:a16="http://schemas.microsoft.com/office/drawing/2014/main" id="{670C676D-BB4C-4D4F-8607-68CED3F35001}"/>
              </a:ext>
            </a:extLst>
          </p:cNvPr>
          <p:cNvGrpSpPr>
            <a:grpSpLocks noChangeAspect="1"/>
          </p:cNvGrpSpPr>
          <p:nvPr/>
        </p:nvGrpSpPr>
        <p:grpSpPr>
          <a:xfrm>
            <a:off x="3262047" y="3263433"/>
            <a:ext cx="166795" cy="285619"/>
            <a:chOff x="-14534" y="5587044"/>
            <a:chExt cx="416963" cy="714003"/>
          </a:xfrm>
          <a:solidFill>
            <a:schemeClr val="bg1"/>
          </a:solidFill>
          <a:effectLst/>
        </p:grpSpPr>
        <p:sp>
          <p:nvSpPr>
            <p:cNvPr id="1251" name="Freeform 14">
              <a:extLst>
                <a:ext uri="{FF2B5EF4-FFF2-40B4-BE49-F238E27FC236}">
                  <a16:creationId xmlns:a16="http://schemas.microsoft.com/office/drawing/2014/main" id="{56957B95-3F9E-4AE1-BCD9-543AEF31717E}"/>
                </a:ext>
              </a:extLst>
            </p:cNvPr>
            <p:cNvSpPr>
              <a:spLocks noEditPoints="1"/>
            </p:cNvSpPr>
            <p:nvPr/>
          </p:nvSpPr>
          <p:spPr bwMode="auto">
            <a:xfrm>
              <a:off x="-14534" y="5736487"/>
              <a:ext cx="416963" cy="564560"/>
            </a:xfrm>
            <a:custGeom>
              <a:avLst/>
              <a:gdLst>
                <a:gd name="T0" fmla="*/ 40 w 679"/>
                <a:gd name="T1" fmla="*/ 879 h 919"/>
                <a:gd name="T2" fmla="*/ 640 w 679"/>
                <a:gd name="T3" fmla="*/ 879 h 919"/>
                <a:gd name="T4" fmla="*/ 640 w 679"/>
                <a:gd name="T5" fmla="*/ 39 h 919"/>
                <a:gd name="T6" fmla="*/ 40 w 679"/>
                <a:gd name="T7" fmla="*/ 39 h 919"/>
                <a:gd name="T8" fmla="*/ 40 w 679"/>
                <a:gd name="T9" fmla="*/ 879 h 919"/>
                <a:gd name="T10" fmla="*/ 660 w 679"/>
                <a:gd name="T11" fmla="*/ 919 h 919"/>
                <a:gd name="T12" fmla="*/ 20 w 679"/>
                <a:gd name="T13" fmla="*/ 919 h 919"/>
                <a:gd name="T14" fmla="*/ 16 w 679"/>
                <a:gd name="T15" fmla="*/ 919 h 919"/>
                <a:gd name="T16" fmla="*/ 12 w 679"/>
                <a:gd name="T17" fmla="*/ 918 h 919"/>
                <a:gd name="T18" fmla="*/ 9 w 679"/>
                <a:gd name="T19" fmla="*/ 915 h 919"/>
                <a:gd name="T20" fmla="*/ 6 w 679"/>
                <a:gd name="T21" fmla="*/ 913 h 919"/>
                <a:gd name="T22" fmla="*/ 4 w 679"/>
                <a:gd name="T23" fmla="*/ 910 h 919"/>
                <a:gd name="T24" fmla="*/ 1 w 679"/>
                <a:gd name="T25" fmla="*/ 907 h 919"/>
                <a:gd name="T26" fmla="*/ 0 w 679"/>
                <a:gd name="T27" fmla="*/ 903 h 919"/>
                <a:gd name="T28" fmla="*/ 0 w 679"/>
                <a:gd name="T29" fmla="*/ 899 h 919"/>
                <a:gd name="T30" fmla="*/ 0 w 679"/>
                <a:gd name="T31" fmla="*/ 20 h 919"/>
                <a:gd name="T32" fmla="*/ 0 w 679"/>
                <a:gd name="T33" fmla="*/ 15 h 919"/>
                <a:gd name="T34" fmla="*/ 1 w 679"/>
                <a:gd name="T35" fmla="*/ 11 h 919"/>
                <a:gd name="T36" fmla="*/ 4 w 679"/>
                <a:gd name="T37" fmla="*/ 8 h 919"/>
                <a:gd name="T38" fmla="*/ 6 w 679"/>
                <a:gd name="T39" fmla="*/ 5 h 919"/>
                <a:gd name="T40" fmla="*/ 9 w 679"/>
                <a:gd name="T41" fmla="*/ 2 h 919"/>
                <a:gd name="T42" fmla="*/ 12 w 679"/>
                <a:gd name="T43" fmla="*/ 1 h 919"/>
                <a:gd name="T44" fmla="*/ 16 w 679"/>
                <a:gd name="T45" fmla="*/ 0 h 919"/>
                <a:gd name="T46" fmla="*/ 20 w 679"/>
                <a:gd name="T47" fmla="*/ 0 h 919"/>
                <a:gd name="T48" fmla="*/ 660 w 679"/>
                <a:gd name="T49" fmla="*/ 0 h 919"/>
                <a:gd name="T50" fmla="*/ 663 w 679"/>
                <a:gd name="T51" fmla="*/ 0 h 919"/>
                <a:gd name="T52" fmla="*/ 667 w 679"/>
                <a:gd name="T53" fmla="*/ 1 h 919"/>
                <a:gd name="T54" fmla="*/ 671 w 679"/>
                <a:gd name="T55" fmla="*/ 2 h 919"/>
                <a:gd name="T56" fmla="*/ 674 w 679"/>
                <a:gd name="T57" fmla="*/ 5 h 919"/>
                <a:gd name="T58" fmla="*/ 677 w 679"/>
                <a:gd name="T59" fmla="*/ 8 h 919"/>
                <a:gd name="T60" fmla="*/ 678 w 679"/>
                <a:gd name="T61" fmla="*/ 11 h 919"/>
                <a:gd name="T62" fmla="*/ 679 w 679"/>
                <a:gd name="T63" fmla="*/ 15 h 919"/>
                <a:gd name="T64" fmla="*/ 679 w 679"/>
                <a:gd name="T65" fmla="*/ 20 h 919"/>
                <a:gd name="T66" fmla="*/ 679 w 679"/>
                <a:gd name="T67" fmla="*/ 899 h 919"/>
                <a:gd name="T68" fmla="*/ 679 w 679"/>
                <a:gd name="T69" fmla="*/ 903 h 919"/>
                <a:gd name="T70" fmla="*/ 678 w 679"/>
                <a:gd name="T71" fmla="*/ 907 h 919"/>
                <a:gd name="T72" fmla="*/ 677 w 679"/>
                <a:gd name="T73" fmla="*/ 910 h 919"/>
                <a:gd name="T74" fmla="*/ 674 w 679"/>
                <a:gd name="T75" fmla="*/ 913 h 919"/>
                <a:gd name="T76" fmla="*/ 671 w 679"/>
                <a:gd name="T77" fmla="*/ 915 h 919"/>
                <a:gd name="T78" fmla="*/ 667 w 679"/>
                <a:gd name="T79" fmla="*/ 918 h 919"/>
                <a:gd name="T80" fmla="*/ 663 w 679"/>
                <a:gd name="T81" fmla="*/ 919 h 919"/>
                <a:gd name="T82" fmla="*/ 660 w 679"/>
                <a:gd name="T83"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9" h="919">
                  <a:moveTo>
                    <a:pt x="40" y="879"/>
                  </a:moveTo>
                  <a:lnTo>
                    <a:pt x="640" y="879"/>
                  </a:lnTo>
                  <a:lnTo>
                    <a:pt x="640" y="39"/>
                  </a:lnTo>
                  <a:lnTo>
                    <a:pt x="40" y="39"/>
                  </a:lnTo>
                  <a:lnTo>
                    <a:pt x="40" y="879"/>
                  </a:lnTo>
                  <a:close/>
                  <a:moveTo>
                    <a:pt x="660" y="919"/>
                  </a:moveTo>
                  <a:lnTo>
                    <a:pt x="20" y="919"/>
                  </a:lnTo>
                  <a:lnTo>
                    <a:pt x="16" y="919"/>
                  </a:lnTo>
                  <a:lnTo>
                    <a:pt x="12" y="918"/>
                  </a:lnTo>
                  <a:lnTo>
                    <a:pt x="9" y="915"/>
                  </a:lnTo>
                  <a:lnTo>
                    <a:pt x="6" y="913"/>
                  </a:lnTo>
                  <a:lnTo>
                    <a:pt x="4" y="910"/>
                  </a:lnTo>
                  <a:lnTo>
                    <a:pt x="1" y="907"/>
                  </a:lnTo>
                  <a:lnTo>
                    <a:pt x="0" y="903"/>
                  </a:lnTo>
                  <a:lnTo>
                    <a:pt x="0" y="899"/>
                  </a:lnTo>
                  <a:lnTo>
                    <a:pt x="0" y="20"/>
                  </a:lnTo>
                  <a:lnTo>
                    <a:pt x="0" y="15"/>
                  </a:lnTo>
                  <a:lnTo>
                    <a:pt x="1" y="11"/>
                  </a:lnTo>
                  <a:lnTo>
                    <a:pt x="4" y="8"/>
                  </a:lnTo>
                  <a:lnTo>
                    <a:pt x="6" y="5"/>
                  </a:lnTo>
                  <a:lnTo>
                    <a:pt x="9" y="2"/>
                  </a:lnTo>
                  <a:lnTo>
                    <a:pt x="12" y="1"/>
                  </a:lnTo>
                  <a:lnTo>
                    <a:pt x="16" y="0"/>
                  </a:lnTo>
                  <a:lnTo>
                    <a:pt x="20" y="0"/>
                  </a:lnTo>
                  <a:lnTo>
                    <a:pt x="660" y="0"/>
                  </a:lnTo>
                  <a:lnTo>
                    <a:pt x="663" y="0"/>
                  </a:lnTo>
                  <a:lnTo>
                    <a:pt x="667" y="1"/>
                  </a:lnTo>
                  <a:lnTo>
                    <a:pt x="671" y="2"/>
                  </a:lnTo>
                  <a:lnTo>
                    <a:pt x="674" y="5"/>
                  </a:lnTo>
                  <a:lnTo>
                    <a:pt x="677" y="8"/>
                  </a:lnTo>
                  <a:lnTo>
                    <a:pt x="678" y="11"/>
                  </a:lnTo>
                  <a:lnTo>
                    <a:pt x="679" y="15"/>
                  </a:lnTo>
                  <a:lnTo>
                    <a:pt x="679" y="20"/>
                  </a:lnTo>
                  <a:lnTo>
                    <a:pt x="679" y="899"/>
                  </a:lnTo>
                  <a:lnTo>
                    <a:pt x="679" y="903"/>
                  </a:lnTo>
                  <a:lnTo>
                    <a:pt x="678" y="907"/>
                  </a:lnTo>
                  <a:lnTo>
                    <a:pt x="677" y="910"/>
                  </a:lnTo>
                  <a:lnTo>
                    <a:pt x="674" y="913"/>
                  </a:lnTo>
                  <a:lnTo>
                    <a:pt x="671" y="915"/>
                  </a:lnTo>
                  <a:lnTo>
                    <a:pt x="667" y="918"/>
                  </a:lnTo>
                  <a:lnTo>
                    <a:pt x="663" y="919"/>
                  </a:lnTo>
                  <a:lnTo>
                    <a:pt x="660" y="9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5">
              <a:extLst>
                <a:ext uri="{FF2B5EF4-FFF2-40B4-BE49-F238E27FC236}">
                  <a16:creationId xmlns:a16="http://schemas.microsoft.com/office/drawing/2014/main" id="{5759053D-93ED-41FE-8CAB-9F39F9F338DB}"/>
                </a:ext>
              </a:extLst>
            </p:cNvPr>
            <p:cNvSpPr>
              <a:spLocks noEditPoints="1"/>
            </p:cNvSpPr>
            <p:nvPr/>
          </p:nvSpPr>
          <p:spPr bwMode="auto">
            <a:xfrm>
              <a:off x="33435" y="6029837"/>
              <a:ext cx="321024" cy="73799"/>
            </a:xfrm>
            <a:custGeom>
              <a:avLst/>
              <a:gdLst>
                <a:gd name="T0" fmla="*/ 41 w 521"/>
                <a:gd name="T1" fmla="*/ 80 h 119"/>
                <a:gd name="T2" fmla="*/ 481 w 521"/>
                <a:gd name="T3" fmla="*/ 80 h 119"/>
                <a:gd name="T4" fmla="*/ 481 w 521"/>
                <a:gd name="T5" fmla="*/ 40 h 119"/>
                <a:gd name="T6" fmla="*/ 41 w 521"/>
                <a:gd name="T7" fmla="*/ 40 h 119"/>
                <a:gd name="T8" fmla="*/ 41 w 521"/>
                <a:gd name="T9" fmla="*/ 80 h 119"/>
                <a:gd name="T10" fmla="*/ 501 w 521"/>
                <a:gd name="T11" fmla="*/ 119 h 119"/>
                <a:gd name="T12" fmla="*/ 20 w 521"/>
                <a:gd name="T13" fmla="*/ 119 h 119"/>
                <a:gd name="T14" fmla="*/ 17 w 521"/>
                <a:gd name="T15" fmla="*/ 119 h 119"/>
                <a:gd name="T16" fmla="*/ 13 w 521"/>
                <a:gd name="T17" fmla="*/ 118 h 119"/>
                <a:gd name="T18" fmla="*/ 9 w 521"/>
                <a:gd name="T19" fmla="*/ 117 h 119"/>
                <a:gd name="T20" fmla="*/ 7 w 521"/>
                <a:gd name="T21" fmla="*/ 115 h 119"/>
                <a:gd name="T22" fmla="*/ 4 w 521"/>
                <a:gd name="T23" fmla="*/ 111 h 119"/>
                <a:gd name="T24" fmla="*/ 3 w 521"/>
                <a:gd name="T25" fmla="*/ 108 h 119"/>
                <a:gd name="T26" fmla="*/ 2 w 521"/>
                <a:gd name="T27" fmla="*/ 105 h 119"/>
                <a:gd name="T28" fmla="*/ 0 w 521"/>
                <a:gd name="T29" fmla="*/ 100 h 119"/>
                <a:gd name="T30" fmla="*/ 0 w 521"/>
                <a:gd name="T31" fmla="*/ 20 h 119"/>
                <a:gd name="T32" fmla="*/ 2 w 521"/>
                <a:gd name="T33" fmla="*/ 16 h 119"/>
                <a:gd name="T34" fmla="*/ 3 w 521"/>
                <a:gd name="T35" fmla="*/ 13 h 119"/>
                <a:gd name="T36" fmla="*/ 4 w 521"/>
                <a:gd name="T37" fmla="*/ 9 h 119"/>
                <a:gd name="T38" fmla="*/ 7 w 521"/>
                <a:gd name="T39" fmla="*/ 6 h 119"/>
                <a:gd name="T40" fmla="*/ 9 w 521"/>
                <a:gd name="T41" fmla="*/ 4 h 119"/>
                <a:gd name="T42" fmla="*/ 13 w 521"/>
                <a:gd name="T43" fmla="*/ 1 h 119"/>
                <a:gd name="T44" fmla="*/ 17 w 521"/>
                <a:gd name="T45" fmla="*/ 0 h 119"/>
                <a:gd name="T46" fmla="*/ 20 w 521"/>
                <a:gd name="T47" fmla="*/ 0 h 119"/>
                <a:gd name="T48" fmla="*/ 501 w 521"/>
                <a:gd name="T49" fmla="*/ 0 h 119"/>
                <a:gd name="T50" fmla="*/ 505 w 521"/>
                <a:gd name="T51" fmla="*/ 0 h 119"/>
                <a:gd name="T52" fmla="*/ 508 w 521"/>
                <a:gd name="T53" fmla="*/ 1 h 119"/>
                <a:gd name="T54" fmla="*/ 512 w 521"/>
                <a:gd name="T55" fmla="*/ 4 h 119"/>
                <a:gd name="T56" fmla="*/ 515 w 521"/>
                <a:gd name="T57" fmla="*/ 6 h 119"/>
                <a:gd name="T58" fmla="*/ 517 w 521"/>
                <a:gd name="T59" fmla="*/ 9 h 119"/>
                <a:gd name="T60" fmla="*/ 520 w 521"/>
                <a:gd name="T61" fmla="*/ 13 h 119"/>
                <a:gd name="T62" fmla="*/ 521 w 521"/>
                <a:gd name="T63" fmla="*/ 16 h 119"/>
                <a:gd name="T64" fmla="*/ 521 w 521"/>
                <a:gd name="T65" fmla="*/ 20 h 119"/>
                <a:gd name="T66" fmla="*/ 521 w 521"/>
                <a:gd name="T67" fmla="*/ 100 h 119"/>
                <a:gd name="T68" fmla="*/ 521 w 521"/>
                <a:gd name="T69" fmla="*/ 105 h 119"/>
                <a:gd name="T70" fmla="*/ 520 w 521"/>
                <a:gd name="T71" fmla="*/ 108 h 119"/>
                <a:gd name="T72" fmla="*/ 517 w 521"/>
                <a:gd name="T73" fmla="*/ 111 h 119"/>
                <a:gd name="T74" fmla="*/ 515 w 521"/>
                <a:gd name="T75" fmla="*/ 115 h 119"/>
                <a:gd name="T76" fmla="*/ 512 w 521"/>
                <a:gd name="T77" fmla="*/ 117 h 119"/>
                <a:gd name="T78" fmla="*/ 508 w 521"/>
                <a:gd name="T79" fmla="*/ 118 h 119"/>
                <a:gd name="T80" fmla="*/ 505 w 521"/>
                <a:gd name="T81" fmla="*/ 119 h 119"/>
                <a:gd name="T82" fmla="*/ 501 w 521"/>
                <a:gd name="T8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19">
                  <a:moveTo>
                    <a:pt x="41" y="80"/>
                  </a:moveTo>
                  <a:lnTo>
                    <a:pt x="481" y="80"/>
                  </a:lnTo>
                  <a:lnTo>
                    <a:pt x="481" y="40"/>
                  </a:lnTo>
                  <a:lnTo>
                    <a:pt x="41" y="40"/>
                  </a:lnTo>
                  <a:lnTo>
                    <a:pt x="41" y="80"/>
                  </a:lnTo>
                  <a:close/>
                  <a:moveTo>
                    <a:pt x="501" y="119"/>
                  </a:moveTo>
                  <a:lnTo>
                    <a:pt x="20" y="119"/>
                  </a:lnTo>
                  <a:lnTo>
                    <a:pt x="17" y="119"/>
                  </a:lnTo>
                  <a:lnTo>
                    <a:pt x="13" y="118"/>
                  </a:lnTo>
                  <a:lnTo>
                    <a:pt x="9" y="117"/>
                  </a:lnTo>
                  <a:lnTo>
                    <a:pt x="7" y="115"/>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5"/>
                  </a:lnTo>
                  <a:lnTo>
                    <a:pt x="512" y="117"/>
                  </a:lnTo>
                  <a:lnTo>
                    <a:pt x="508" y="118"/>
                  </a:lnTo>
                  <a:lnTo>
                    <a:pt x="505" y="119"/>
                  </a:lnTo>
                  <a:lnTo>
                    <a:pt x="50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6">
              <a:extLst>
                <a:ext uri="{FF2B5EF4-FFF2-40B4-BE49-F238E27FC236}">
                  <a16:creationId xmlns:a16="http://schemas.microsoft.com/office/drawing/2014/main" id="{9E038B16-A190-40DD-AAC2-B0FF1A948A95}"/>
                </a:ext>
              </a:extLst>
            </p:cNvPr>
            <p:cNvSpPr>
              <a:spLocks noEditPoints="1"/>
            </p:cNvSpPr>
            <p:nvPr/>
          </p:nvSpPr>
          <p:spPr bwMode="auto">
            <a:xfrm>
              <a:off x="33435" y="5908069"/>
              <a:ext cx="321024" cy="71954"/>
            </a:xfrm>
            <a:custGeom>
              <a:avLst/>
              <a:gdLst>
                <a:gd name="T0" fmla="*/ 41 w 521"/>
                <a:gd name="T1" fmla="*/ 80 h 119"/>
                <a:gd name="T2" fmla="*/ 481 w 521"/>
                <a:gd name="T3" fmla="*/ 80 h 119"/>
                <a:gd name="T4" fmla="*/ 481 w 521"/>
                <a:gd name="T5" fmla="*/ 40 h 119"/>
                <a:gd name="T6" fmla="*/ 41 w 521"/>
                <a:gd name="T7" fmla="*/ 40 h 119"/>
                <a:gd name="T8" fmla="*/ 41 w 521"/>
                <a:gd name="T9" fmla="*/ 80 h 119"/>
                <a:gd name="T10" fmla="*/ 501 w 521"/>
                <a:gd name="T11" fmla="*/ 119 h 119"/>
                <a:gd name="T12" fmla="*/ 20 w 521"/>
                <a:gd name="T13" fmla="*/ 119 h 119"/>
                <a:gd name="T14" fmla="*/ 17 w 521"/>
                <a:gd name="T15" fmla="*/ 119 h 119"/>
                <a:gd name="T16" fmla="*/ 13 w 521"/>
                <a:gd name="T17" fmla="*/ 118 h 119"/>
                <a:gd name="T18" fmla="*/ 9 w 521"/>
                <a:gd name="T19" fmla="*/ 117 h 119"/>
                <a:gd name="T20" fmla="*/ 7 w 521"/>
                <a:gd name="T21" fmla="*/ 114 h 119"/>
                <a:gd name="T22" fmla="*/ 4 w 521"/>
                <a:gd name="T23" fmla="*/ 111 h 119"/>
                <a:gd name="T24" fmla="*/ 3 w 521"/>
                <a:gd name="T25" fmla="*/ 108 h 119"/>
                <a:gd name="T26" fmla="*/ 2 w 521"/>
                <a:gd name="T27" fmla="*/ 105 h 119"/>
                <a:gd name="T28" fmla="*/ 0 w 521"/>
                <a:gd name="T29" fmla="*/ 100 h 119"/>
                <a:gd name="T30" fmla="*/ 0 w 521"/>
                <a:gd name="T31" fmla="*/ 20 h 119"/>
                <a:gd name="T32" fmla="*/ 2 w 521"/>
                <a:gd name="T33" fmla="*/ 16 h 119"/>
                <a:gd name="T34" fmla="*/ 3 w 521"/>
                <a:gd name="T35" fmla="*/ 13 h 119"/>
                <a:gd name="T36" fmla="*/ 4 w 521"/>
                <a:gd name="T37" fmla="*/ 9 h 119"/>
                <a:gd name="T38" fmla="*/ 7 w 521"/>
                <a:gd name="T39" fmla="*/ 6 h 119"/>
                <a:gd name="T40" fmla="*/ 9 w 521"/>
                <a:gd name="T41" fmla="*/ 4 h 119"/>
                <a:gd name="T42" fmla="*/ 13 w 521"/>
                <a:gd name="T43" fmla="*/ 1 h 119"/>
                <a:gd name="T44" fmla="*/ 17 w 521"/>
                <a:gd name="T45" fmla="*/ 0 h 119"/>
                <a:gd name="T46" fmla="*/ 20 w 521"/>
                <a:gd name="T47" fmla="*/ 0 h 119"/>
                <a:gd name="T48" fmla="*/ 501 w 521"/>
                <a:gd name="T49" fmla="*/ 0 h 119"/>
                <a:gd name="T50" fmla="*/ 505 w 521"/>
                <a:gd name="T51" fmla="*/ 0 h 119"/>
                <a:gd name="T52" fmla="*/ 508 w 521"/>
                <a:gd name="T53" fmla="*/ 1 h 119"/>
                <a:gd name="T54" fmla="*/ 512 w 521"/>
                <a:gd name="T55" fmla="*/ 4 h 119"/>
                <a:gd name="T56" fmla="*/ 515 w 521"/>
                <a:gd name="T57" fmla="*/ 6 h 119"/>
                <a:gd name="T58" fmla="*/ 517 w 521"/>
                <a:gd name="T59" fmla="*/ 9 h 119"/>
                <a:gd name="T60" fmla="*/ 520 w 521"/>
                <a:gd name="T61" fmla="*/ 13 h 119"/>
                <a:gd name="T62" fmla="*/ 521 w 521"/>
                <a:gd name="T63" fmla="*/ 16 h 119"/>
                <a:gd name="T64" fmla="*/ 521 w 521"/>
                <a:gd name="T65" fmla="*/ 20 h 119"/>
                <a:gd name="T66" fmla="*/ 521 w 521"/>
                <a:gd name="T67" fmla="*/ 100 h 119"/>
                <a:gd name="T68" fmla="*/ 521 w 521"/>
                <a:gd name="T69" fmla="*/ 105 h 119"/>
                <a:gd name="T70" fmla="*/ 520 w 521"/>
                <a:gd name="T71" fmla="*/ 108 h 119"/>
                <a:gd name="T72" fmla="*/ 517 w 521"/>
                <a:gd name="T73" fmla="*/ 111 h 119"/>
                <a:gd name="T74" fmla="*/ 515 w 521"/>
                <a:gd name="T75" fmla="*/ 114 h 119"/>
                <a:gd name="T76" fmla="*/ 512 w 521"/>
                <a:gd name="T77" fmla="*/ 117 h 119"/>
                <a:gd name="T78" fmla="*/ 508 w 521"/>
                <a:gd name="T79" fmla="*/ 118 h 119"/>
                <a:gd name="T80" fmla="*/ 505 w 521"/>
                <a:gd name="T81" fmla="*/ 119 h 119"/>
                <a:gd name="T82" fmla="*/ 501 w 521"/>
                <a:gd name="T8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19">
                  <a:moveTo>
                    <a:pt x="41" y="80"/>
                  </a:moveTo>
                  <a:lnTo>
                    <a:pt x="481" y="80"/>
                  </a:lnTo>
                  <a:lnTo>
                    <a:pt x="481" y="40"/>
                  </a:lnTo>
                  <a:lnTo>
                    <a:pt x="41" y="40"/>
                  </a:lnTo>
                  <a:lnTo>
                    <a:pt x="41" y="80"/>
                  </a:lnTo>
                  <a:close/>
                  <a:moveTo>
                    <a:pt x="501" y="119"/>
                  </a:moveTo>
                  <a:lnTo>
                    <a:pt x="20" y="119"/>
                  </a:lnTo>
                  <a:lnTo>
                    <a:pt x="17" y="119"/>
                  </a:lnTo>
                  <a:lnTo>
                    <a:pt x="13" y="118"/>
                  </a:lnTo>
                  <a:lnTo>
                    <a:pt x="9" y="117"/>
                  </a:lnTo>
                  <a:lnTo>
                    <a:pt x="7" y="114"/>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4"/>
                  </a:lnTo>
                  <a:lnTo>
                    <a:pt x="512" y="117"/>
                  </a:lnTo>
                  <a:lnTo>
                    <a:pt x="508" y="118"/>
                  </a:lnTo>
                  <a:lnTo>
                    <a:pt x="505" y="119"/>
                  </a:lnTo>
                  <a:lnTo>
                    <a:pt x="501"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7">
              <a:extLst>
                <a:ext uri="{FF2B5EF4-FFF2-40B4-BE49-F238E27FC236}">
                  <a16:creationId xmlns:a16="http://schemas.microsoft.com/office/drawing/2014/main" id="{56F63943-38D6-42C5-A411-52015BFCB11F}"/>
                </a:ext>
              </a:extLst>
            </p:cNvPr>
            <p:cNvSpPr>
              <a:spLocks noEditPoints="1"/>
            </p:cNvSpPr>
            <p:nvPr/>
          </p:nvSpPr>
          <p:spPr bwMode="auto">
            <a:xfrm>
              <a:off x="33435" y="5784456"/>
              <a:ext cx="321024" cy="73799"/>
            </a:xfrm>
            <a:custGeom>
              <a:avLst/>
              <a:gdLst>
                <a:gd name="T0" fmla="*/ 41 w 521"/>
                <a:gd name="T1" fmla="*/ 80 h 121"/>
                <a:gd name="T2" fmla="*/ 481 w 521"/>
                <a:gd name="T3" fmla="*/ 80 h 121"/>
                <a:gd name="T4" fmla="*/ 481 w 521"/>
                <a:gd name="T5" fmla="*/ 40 h 121"/>
                <a:gd name="T6" fmla="*/ 41 w 521"/>
                <a:gd name="T7" fmla="*/ 40 h 121"/>
                <a:gd name="T8" fmla="*/ 41 w 521"/>
                <a:gd name="T9" fmla="*/ 80 h 121"/>
                <a:gd name="T10" fmla="*/ 501 w 521"/>
                <a:gd name="T11" fmla="*/ 121 h 121"/>
                <a:gd name="T12" fmla="*/ 20 w 521"/>
                <a:gd name="T13" fmla="*/ 121 h 121"/>
                <a:gd name="T14" fmla="*/ 17 w 521"/>
                <a:gd name="T15" fmla="*/ 119 h 121"/>
                <a:gd name="T16" fmla="*/ 13 w 521"/>
                <a:gd name="T17" fmla="*/ 118 h 121"/>
                <a:gd name="T18" fmla="*/ 9 w 521"/>
                <a:gd name="T19" fmla="*/ 117 h 121"/>
                <a:gd name="T20" fmla="*/ 7 w 521"/>
                <a:gd name="T21" fmla="*/ 114 h 121"/>
                <a:gd name="T22" fmla="*/ 4 w 521"/>
                <a:gd name="T23" fmla="*/ 111 h 121"/>
                <a:gd name="T24" fmla="*/ 3 w 521"/>
                <a:gd name="T25" fmla="*/ 108 h 121"/>
                <a:gd name="T26" fmla="*/ 2 w 521"/>
                <a:gd name="T27" fmla="*/ 105 h 121"/>
                <a:gd name="T28" fmla="*/ 0 w 521"/>
                <a:gd name="T29" fmla="*/ 100 h 121"/>
                <a:gd name="T30" fmla="*/ 0 w 521"/>
                <a:gd name="T31" fmla="*/ 20 h 121"/>
                <a:gd name="T32" fmla="*/ 2 w 521"/>
                <a:gd name="T33" fmla="*/ 16 h 121"/>
                <a:gd name="T34" fmla="*/ 3 w 521"/>
                <a:gd name="T35" fmla="*/ 13 h 121"/>
                <a:gd name="T36" fmla="*/ 4 w 521"/>
                <a:gd name="T37" fmla="*/ 9 h 121"/>
                <a:gd name="T38" fmla="*/ 7 w 521"/>
                <a:gd name="T39" fmla="*/ 6 h 121"/>
                <a:gd name="T40" fmla="*/ 9 w 521"/>
                <a:gd name="T41" fmla="*/ 4 h 121"/>
                <a:gd name="T42" fmla="*/ 13 w 521"/>
                <a:gd name="T43" fmla="*/ 1 h 121"/>
                <a:gd name="T44" fmla="*/ 17 w 521"/>
                <a:gd name="T45" fmla="*/ 0 h 121"/>
                <a:gd name="T46" fmla="*/ 20 w 521"/>
                <a:gd name="T47" fmla="*/ 0 h 121"/>
                <a:gd name="T48" fmla="*/ 501 w 521"/>
                <a:gd name="T49" fmla="*/ 0 h 121"/>
                <a:gd name="T50" fmla="*/ 505 w 521"/>
                <a:gd name="T51" fmla="*/ 0 h 121"/>
                <a:gd name="T52" fmla="*/ 508 w 521"/>
                <a:gd name="T53" fmla="*/ 1 h 121"/>
                <a:gd name="T54" fmla="*/ 512 w 521"/>
                <a:gd name="T55" fmla="*/ 4 h 121"/>
                <a:gd name="T56" fmla="*/ 515 w 521"/>
                <a:gd name="T57" fmla="*/ 6 h 121"/>
                <a:gd name="T58" fmla="*/ 517 w 521"/>
                <a:gd name="T59" fmla="*/ 9 h 121"/>
                <a:gd name="T60" fmla="*/ 520 w 521"/>
                <a:gd name="T61" fmla="*/ 13 h 121"/>
                <a:gd name="T62" fmla="*/ 521 w 521"/>
                <a:gd name="T63" fmla="*/ 16 h 121"/>
                <a:gd name="T64" fmla="*/ 521 w 521"/>
                <a:gd name="T65" fmla="*/ 20 h 121"/>
                <a:gd name="T66" fmla="*/ 521 w 521"/>
                <a:gd name="T67" fmla="*/ 100 h 121"/>
                <a:gd name="T68" fmla="*/ 521 w 521"/>
                <a:gd name="T69" fmla="*/ 105 h 121"/>
                <a:gd name="T70" fmla="*/ 520 w 521"/>
                <a:gd name="T71" fmla="*/ 108 h 121"/>
                <a:gd name="T72" fmla="*/ 517 w 521"/>
                <a:gd name="T73" fmla="*/ 111 h 121"/>
                <a:gd name="T74" fmla="*/ 515 w 521"/>
                <a:gd name="T75" fmla="*/ 114 h 121"/>
                <a:gd name="T76" fmla="*/ 512 w 521"/>
                <a:gd name="T77" fmla="*/ 117 h 121"/>
                <a:gd name="T78" fmla="*/ 508 w 521"/>
                <a:gd name="T79" fmla="*/ 118 h 121"/>
                <a:gd name="T80" fmla="*/ 505 w 521"/>
                <a:gd name="T81" fmla="*/ 119 h 121"/>
                <a:gd name="T82" fmla="*/ 501 w 521"/>
                <a:gd name="T8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121">
                  <a:moveTo>
                    <a:pt x="41" y="80"/>
                  </a:moveTo>
                  <a:lnTo>
                    <a:pt x="481" y="80"/>
                  </a:lnTo>
                  <a:lnTo>
                    <a:pt x="481" y="40"/>
                  </a:lnTo>
                  <a:lnTo>
                    <a:pt x="41" y="40"/>
                  </a:lnTo>
                  <a:lnTo>
                    <a:pt x="41" y="80"/>
                  </a:lnTo>
                  <a:close/>
                  <a:moveTo>
                    <a:pt x="501" y="121"/>
                  </a:moveTo>
                  <a:lnTo>
                    <a:pt x="20" y="121"/>
                  </a:lnTo>
                  <a:lnTo>
                    <a:pt x="17" y="119"/>
                  </a:lnTo>
                  <a:lnTo>
                    <a:pt x="13" y="118"/>
                  </a:lnTo>
                  <a:lnTo>
                    <a:pt x="9" y="117"/>
                  </a:lnTo>
                  <a:lnTo>
                    <a:pt x="7" y="114"/>
                  </a:lnTo>
                  <a:lnTo>
                    <a:pt x="4" y="111"/>
                  </a:lnTo>
                  <a:lnTo>
                    <a:pt x="3" y="108"/>
                  </a:lnTo>
                  <a:lnTo>
                    <a:pt x="2" y="105"/>
                  </a:lnTo>
                  <a:lnTo>
                    <a:pt x="0" y="100"/>
                  </a:lnTo>
                  <a:lnTo>
                    <a:pt x="0" y="20"/>
                  </a:lnTo>
                  <a:lnTo>
                    <a:pt x="2" y="16"/>
                  </a:lnTo>
                  <a:lnTo>
                    <a:pt x="3" y="13"/>
                  </a:lnTo>
                  <a:lnTo>
                    <a:pt x="4" y="9"/>
                  </a:lnTo>
                  <a:lnTo>
                    <a:pt x="7" y="6"/>
                  </a:lnTo>
                  <a:lnTo>
                    <a:pt x="9" y="4"/>
                  </a:lnTo>
                  <a:lnTo>
                    <a:pt x="13" y="1"/>
                  </a:lnTo>
                  <a:lnTo>
                    <a:pt x="17" y="0"/>
                  </a:lnTo>
                  <a:lnTo>
                    <a:pt x="20" y="0"/>
                  </a:lnTo>
                  <a:lnTo>
                    <a:pt x="501" y="0"/>
                  </a:lnTo>
                  <a:lnTo>
                    <a:pt x="505" y="0"/>
                  </a:lnTo>
                  <a:lnTo>
                    <a:pt x="508" y="1"/>
                  </a:lnTo>
                  <a:lnTo>
                    <a:pt x="512" y="4"/>
                  </a:lnTo>
                  <a:lnTo>
                    <a:pt x="515" y="6"/>
                  </a:lnTo>
                  <a:lnTo>
                    <a:pt x="517" y="9"/>
                  </a:lnTo>
                  <a:lnTo>
                    <a:pt x="520" y="13"/>
                  </a:lnTo>
                  <a:lnTo>
                    <a:pt x="521" y="16"/>
                  </a:lnTo>
                  <a:lnTo>
                    <a:pt x="521" y="20"/>
                  </a:lnTo>
                  <a:lnTo>
                    <a:pt x="521" y="100"/>
                  </a:lnTo>
                  <a:lnTo>
                    <a:pt x="521" y="105"/>
                  </a:lnTo>
                  <a:lnTo>
                    <a:pt x="520" y="108"/>
                  </a:lnTo>
                  <a:lnTo>
                    <a:pt x="517" y="111"/>
                  </a:lnTo>
                  <a:lnTo>
                    <a:pt x="515" y="114"/>
                  </a:lnTo>
                  <a:lnTo>
                    <a:pt x="512" y="117"/>
                  </a:lnTo>
                  <a:lnTo>
                    <a:pt x="508" y="118"/>
                  </a:lnTo>
                  <a:lnTo>
                    <a:pt x="505" y="119"/>
                  </a:lnTo>
                  <a:lnTo>
                    <a:pt x="50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8">
              <a:extLst>
                <a:ext uri="{FF2B5EF4-FFF2-40B4-BE49-F238E27FC236}">
                  <a16:creationId xmlns:a16="http://schemas.microsoft.com/office/drawing/2014/main" id="{0968E398-0594-4A72-9CA4-11DD70FC5ABD}"/>
                </a:ext>
              </a:extLst>
            </p:cNvPr>
            <p:cNvSpPr>
              <a:spLocks noEditPoints="1"/>
            </p:cNvSpPr>
            <p:nvPr/>
          </p:nvSpPr>
          <p:spPr bwMode="auto">
            <a:xfrm>
              <a:off x="109079" y="6129465"/>
              <a:ext cx="171582" cy="171582"/>
            </a:xfrm>
            <a:custGeom>
              <a:avLst/>
              <a:gdLst>
                <a:gd name="T0" fmla="*/ 40 w 279"/>
                <a:gd name="T1" fmla="*/ 240 h 280"/>
                <a:gd name="T2" fmla="*/ 240 w 279"/>
                <a:gd name="T3" fmla="*/ 240 h 280"/>
                <a:gd name="T4" fmla="*/ 240 w 279"/>
                <a:gd name="T5" fmla="*/ 40 h 280"/>
                <a:gd name="T6" fmla="*/ 40 w 279"/>
                <a:gd name="T7" fmla="*/ 40 h 280"/>
                <a:gd name="T8" fmla="*/ 40 w 279"/>
                <a:gd name="T9" fmla="*/ 240 h 280"/>
                <a:gd name="T10" fmla="*/ 260 w 279"/>
                <a:gd name="T11" fmla="*/ 280 h 280"/>
                <a:gd name="T12" fmla="*/ 20 w 279"/>
                <a:gd name="T13" fmla="*/ 280 h 280"/>
                <a:gd name="T14" fmla="*/ 16 w 279"/>
                <a:gd name="T15" fmla="*/ 280 h 280"/>
                <a:gd name="T16" fmla="*/ 12 w 279"/>
                <a:gd name="T17" fmla="*/ 279 h 280"/>
                <a:gd name="T18" fmla="*/ 9 w 279"/>
                <a:gd name="T19" fmla="*/ 276 h 280"/>
                <a:gd name="T20" fmla="*/ 6 w 279"/>
                <a:gd name="T21" fmla="*/ 274 h 280"/>
                <a:gd name="T22" fmla="*/ 4 w 279"/>
                <a:gd name="T23" fmla="*/ 271 h 280"/>
                <a:gd name="T24" fmla="*/ 1 w 279"/>
                <a:gd name="T25" fmla="*/ 268 h 280"/>
                <a:gd name="T26" fmla="*/ 0 w 279"/>
                <a:gd name="T27" fmla="*/ 264 h 280"/>
                <a:gd name="T28" fmla="*/ 0 w 279"/>
                <a:gd name="T29" fmla="*/ 260 h 280"/>
                <a:gd name="T30" fmla="*/ 0 w 279"/>
                <a:gd name="T31" fmla="*/ 20 h 280"/>
                <a:gd name="T32" fmla="*/ 0 w 279"/>
                <a:gd name="T33" fmla="*/ 17 h 280"/>
                <a:gd name="T34" fmla="*/ 1 w 279"/>
                <a:gd name="T35" fmla="*/ 12 h 280"/>
                <a:gd name="T36" fmla="*/ 4 w 279"/>
                <a:gd name="T37" fmla="*/ 9 h 280"/>
                <a:gd name="T38" fmla="*/ 6 w 279"/>
                <a:gd name="T39" fmla="*/ 5 h 280"/>
                <a:gd name="T40" fmla="*/ 9 w 279"/>
                <a:gd name="T41" fmla="*/ 3 h 280"/>
                <a:gd name="T42" fmla="*/ 12 w 279"/>
                <a:gd name="T43" fmla="*/ 2 h 280"/>
                <a:gd name="T44" fmla="*/ 16 w 279"/>
                <a:gd name="T45" fmla="*/ 0 h 280"/>
                <a:gd name="T46" fmla="*/ 20 w 279"/>
                <a:gd name="T47" fmla="*/ 0 h 280"/>
                <a:gd name="T48" fmla="*/ 260 w 279"/>
                <a:gd name="T49" fmla="*/ 0 h 280"/>
                <a:gd name="T50" fmla="*/ 263 w 279"/>
                <a:gd name="T51" fmla="*/ 0 h 280"/>
                <a:gd name="T52" fmla="*/ 267 w 279"/>
                <a:gd name="T53" fmla="*/ 2 h 280"/>
                <a:gd name="T54" fmla="*/ 271 w 279"/>
                <a:gd name="T55" fmla="*/ 3 h 280"/>
                <a:gd name="T56" fmla="*/ 274 w 279"/>
                <a:gd name="T57" fmla="*/ 5 h 280"/>
                <a:gd name="T58" fmla="*/ 277 w 279"/>
                <a:gd name="T59" fmla="*/ 9 h 280"/>
                <a:gd name="T60" fmla="*/ 278 w 279"/>
                <a:gd name="T61" fmla="*/ 12 h 280"/>
                <a:gd name="T62" fmla="*/ 279 w 279"/>
                <a:gd name="T63" fmla="*/ 17 h 280"/>
                <a:gd name="T64" fmla="*/ 279 w 279"/>
                <a:gd name="T65" fmla="*/ 20 h 280"/>
                <a:gd name="T66" fmla="*/ 279 w 279"/>
                <a:gd name="T67" fmla="*/ 260 h 280"/>
                <a:gd name="T68" fmla="*/ 279 w 279"/>
                <a:gd name="T69" fmla="*/ 264 h 280"/>
                <a:gd name="T70" fmla="*/ 278 w 279"/>
                <a:gd name="T71" fmla="*/ 268 h 280"/>
                <a:gd name="T72" fmla="*/ 277 w 279"/>
                <a:gd name="T73" fmla="*/ 271 h 280"/>
                <a:gd name="T74" fmla="*/ 274 w 279"/>
                <a:gd name="T75" fmla="*/ 274 h 280"/>
                <a:gd name="T76" fmla="*/ 271 w 279"/>
                <a:gd name="T77" fmla="*/ 276 h 280"/>
                <a:gd name="T78" fmla="*/ 267 w 279"/>
                <a:gd name="T79" fmla="*/ 279 h 280"/>
                <a:gd name="T80" fmla="*/ 263 w 279"/>
                <a:gd name="T81" fmla="*/ 280 h 280"/>
                <a:gd name="T82" fmla="*/ 260 w 279"/>
                <a:gd name="T83"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9" h="280">
                  <a:moveTo>
                    <a:pt x="40" y="240"/>
                  </a:moveTo>
                  <a:lnTo>
                    <a:pt x="240" y="240"/>
                  </a:lnTo>
                  <a:lnTo>
                    <a:pt x="240" y="40"/>
                  </a:lnTo>
                  <a:lnTo>
                    <a:pt x="40" y="40"/>
                  </a:lnTo>
                  <a:lnTo>
                    <a:pt x="40" y="240"/>
                  </a:lnTo>
                  <a:close/>
                  <a:moveTo>
                    <a:pt x="260" y="280"/>
                  </a:moveTo>
                  <a:lnTo>
                    <a:pt x="20" y="280"/>
                  </a:lnTo>
                  <a:lnTo>
                    <a:pt x="16" y="280"/>
                  </a:lnTo>
                  <a:lnTo>
                    <a:pt x="12" y="279"/>
                  </a:lnTo>
                  <a:lnTo>
                    <a:pt x="9" y="276"/>
                  </a:lnTo>
                  <a:lnTo>
                    <a:pt x="6" y="274"/>
                  </a:lnTo>
                  <a:lnTo>
                    <a:pt x="4" y="271"/>
                  </a:lnTo>
                  <a:lnTo>
                    <a:pt x="1" y="268"/>
                  </a:lnTo>
                  <a:lnTo>
                    <a:pt x="0" y="264"/>
                  </a:lnTo>
                  <a:lnTo>
                    <a:pt x="0" y="260"/>
                  </a:lnTo>
                  <a:lnTo>
                    <a:pt x="0" y="20"/>
                  </a:lnTo>
                  <a:lnTo>
                    <a:pt x="0" y="17"/>
                  </a:lnTo>
                  <a:lnTo>
                    <a:pt x="1" y="12"/>
                  </a:lnTo>
                  <a:lnTo>
                    <a:pt x="4" y="9"/>
                  </a:lnTo>
                  <a:lnTo>
                    <a:pt x="6" y="5"/>
                  </a:lnTo>
                  <a:lnTo>
                    <a:pt x="9" y="3"/>
                  </a:lnTo>
                  <a:lnTo>
                    <a:pt x="12" y="2"/>
                  </a:lnTo>
                  <a:lnTo>
                    <a:pt x="16" y="0"/>
                  </a:lnTo>
                  <a:lnTo>
                    <a:pt x="20" y="0"/>
                  </a:lnTo>
                  <a:lnTo>
                    <a:pt x="260" y="0"/>
                  </a:lnTo>
                  <a:lnTo>
                    <a:pt x="263" y="0"/>
                  </a:lnTo>
                  <a:lnTo>
                    <a:pt x="267" y="2"/>
                  </a:lnTo>
                  <a:lnTo>
                    <a:pt x="271" y="3"/>
                  </a:lnTo>
                  <a:lnTo>
                    <a:pt x="274" y="5"/>
                  </a:lnTo>
                  <a:lnTo>
                    <a:pt x="277" y="9"/>
                  </a:lnTo>
                  <a:lnTo>
                    <a:pt x="278" y="12"/>
                  </a:lnTo>
                  <a:lnTo>
                    <a:pt x="279" y="17"/>
                  </a:lnTo>
                  <a:lnTo>
                    <a:pt x="279" y="20"/>
                  </a:lnTo>
                  <a:lnTo>
                    <a:pt x="279" y="260"/>
                  </a:lnTo>
                  <a:lnTo>
                    <a:pt x="279" y="264"/>
                  </a:lnTo>
                  <a:lnTo>
                    <a:pt x="278" y="268"/>
                  </a:lnTo>
                  <a:lnTo>
                    <a:pt x="277" y="271"/>
                  </a:lnTo>
                  <a:lnTo>
                    <a:pt x="274" y="274"/>
                  </a:lnTo>
                  <a:lnTo>
                    <a:pt x="271" y="276"/>
                  </a:lnTo>
                  <a:lnTo>
                    <a:pt x="267" y="279"/>
                  </a:lnTo>
                  <a:lnTo>
                    <a:pt x="263" y="280"/>
                  </a:lnTo>
                  <a:lnTo>
                    <a:pt x="26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9">
              <a:extLst>
                <a:ext uri="{FF2B5EF4-FFF2-40B4-BE49-F238E27FC236}">
                  <a16:creationId xmlns:a16="http://schemas.microsoft.com/office/drawing/2014/main" id="{43ACA7DF-EDAB-404B-8CCA-F28A18F45FBE}"/>
                </a:ext>
              </a:extLst>
            </p:cNvPr>
            <p:cNvSpPr>
              <a:spLocks noEditPoints="1"/>
            </p:cNvSpPr>
            <p:nvPr/>
          </p:nvSpPr>
          <p:spPr bwMode="auto">
            <a:xfrm>
              <a:off x="59265" y="5686673"/>
              <a:ext cx="271210" cy="73799"/>
            </a:xfrm>
            <a:custGeom>
              <a:avLst/>
              <a:gdLst>
                <a:gd name="T0" fmla="*/ 40 w 440"/>
                <a:gd name="T1" fmla="*/ 81 h 120"/>
                <a:gd name="T2" fmla="*/ 400 w 440"/>
                <a:gd name="T3" fmla="*/ 81 h 120"/>
                <a:gd name="T4" fmla="*/ 400 w 440"/>
                <a:gd name="T5" fmla="*/ 40 h 120"/>
                <a:gd name="T6" fmla="*/ 40 w 440"/>
                <a:gd name="T7" fmla="*/ 40 h 120"/>
                <a:gd name="T8" fmla="*/ 40 w 440"/>
                <a:gd name="T9" fmla="*/ 81 h 120"/>
                <a:gd name="T10" fmla="*/ 420 w 440"/>
                <a:gd name="T11" fmla="*/ 120 h 120"/>
                <a:gd name="T12" fmla="*/ 20 w 440"/>
                <a:gd name="T13" fmla="*/ 120 h 120"/>
                <a:gd name="T14" fmla="*/ 15 w 440"/>
                <a:gd name="T15" fmla="*/ 119 h 120"/>
                <a:gd name="T16" fmla="*/ 12 w 440"/>
                <a:gd name="T17" fmla="*/ 119 h 120"/>
                <a:gd name="T18" fmla="*/ 9 w 440"/>
                <a:gd name="T19" fmla="*/ 117 h 120"/>
                <a:gd name="T20" fmla="*/ 5 w 440"/>
                <a:gd name="T21" fmla="*/ 114 h 120"/>
                <a:gd name="T22" fmla="*/ 3 w 440"/>
                <a:gd name="T23" fmla="*/ 112 h 120"/>
                <a:gd name="T24" fmla="*/ 2 w 440"/>
                <a:gd name="T25" fmla="*/ 108 h 120"/>
                <a:gd name="T26" fmla="*/ 0 w 440"/>
                <a:gd name="T27" fmla="*/ 104 h 120"/>
                <a:gd name="T28" fmla="*/ 0 w 440"/>
                <a:gd name="T29" fmla="*/ 101 h 120"/>
                <a:gd name="T30" fmla="*/ 0 w 440"/>
                <a:gd name="T31" fmla="*/ 20 h 120"/>
                <a:gd name="T32" fmla="*/ 0 w 440"/>
                <a:gd name="T33" fmla="*/ 16 h 120"/>
                <a:gd name="T34" fmla="*/ 2 w 440"/>
                <a:gd name="T35" fmla="*/ 12 h 120"/>
                <a:gd name="T36" fmla="*/ 3 w 440"/>
                <a:gd name="T37" fmla="*/ 9 h 120"/>
                <a:gd name="T38" fmla="*/ 5 w 440"/>
                <a:gd name="T39" fmla="*/ 6 h 120"/>
                <a:gd name="T40" fmla="*/ 9 w 440"/>
                <a:gd name="T41" fmla="*/ 4 h 120"/>
                <a:gd name="T42" fmla="*/ 12 w 440"/>
                <a:gd name="T43" fmla="*/ 1 h 120"/>
                <a:gd name="T44" fmla="*/ 15 w 440"/>
                <a:gd name="T45" fmla="*/ 1 h 120"/>
                <a:gd name="T46" fmla="*/ 20 w 440"/>
                <a:gd name="T47" fmla="*/ 0 h 120"/>
                <a:gd name="T48" fmla="*/ 420 w 440"/>
                <a:gd name="T49" fmla="*/ 0 h 120"/>
                <a:gd name="T50" fmla="*/ 424 w 440"/>
                <a:gd name="T51" fmla="*/ 1 h 120"/>
                <a:gd name="T52" fmla="*/ 428 w 440"/>
                <a:gd name="T53" fmla="*/ 1 h 120"/>
                <a:gd name="T54" fmla="*/ 431 w 440"/>
                <a:gd name="T55" fmla="*/ 4 h 120"/>
                <a:gd name="T56" fmla="*/ 434 w 440"/>
                <a:gd name="T57" fmla="*/ 6 h 120"/>
                <a:gd name="T58" fmla="*/ 436 w 440"/>
                <a:gd name="T59" fmla="*/ 9 h 120"/>
                <a:gd name="T60" fmla="*/ 438 w 440"/>
                <a:gd name="T61" fmla="*/ 12 h 120"/>
                <a:gd name="T62" fmla="*/ 439 w 440"/>
                <a:gd name="T63" fmla="*/ 16 h 120"/>
                <a:gd name="T64" fmla="*/ 440 w 440"/>
                <a:gd name="T65" fmla="*/ 20 h 120"/>
                <a:gd name="T66" fmla="*/ 440 w 440"/>
                <a:gd name="T67" fmla="*/ 101 h 120"/>
                <a:gd name="T68" fmla="*/ 439 w 440"/>
                <a:gd name="T69" fmla="*/ 104 h 120"/>
                <a:gd name="T70" fmla="*/ 438 w 440"/>
                <a:gd name="T71" fmla="*/ 108 h 120"/>
                <a:gd name="T72" fmla="*/ 436 w 440"/>
                <a:gd name="T73" fmla="*/ 112 h 120"/>
                <a:gd name="T74" fmla="*/ 434 w 440"/>
                <a:gd name="T75" fmla="*/ 114 h 120"/>
                <a:gd name="T76" fmla="*/ 431 w 440"/>
                <a:gd name="T77" fmla="*/ 117 h 120"/>
                <a:gd name="T78" fmla="*/ 428 w 440"/>
                <a:gd name="T79" fmla="*/ 119 h 120"/>
                <a:gd name="T80" fmla="*/ 424 w 440"/>
                <a:gd name="T81" fmla="*/ 119 h 120"/>
                <a:gd name="T82" fmla="*/ 420 w 440"/>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0" h="120">
                  <a:moveTo>
                    <a:pt x="40" y="81"/>
                  </a:moveTo>
                  <a:lnTo>
                    <a:pt x="400" y="81"/>
                  </a:lnTo>
                  <a:lnTo>
                    <a:pt x="400" y="40"/>
                  </a:lnTo>
                  <a:lnTo>
                    <a:pt x="40" y="40"/>
                  </a:lnTo>
                  <a:lnTo>
                    <a:pt x="40" y="81"/>
                  </a:lnTo>
                  <a:close/>
                  <a:moveTo>
                    <a:pt x="420" y="120"/>
                  </a:moveTo>
                  <a:lnTo>
                    <a:pt x="20" y="120"/>
                  </a:lnTo>
                  <a:lnTo>
                    <a:pt x="15" y="119"/>
                  </a:lnTo>
                  <a:lnTo>
                    <a:pt x="12" y="119"/>
                  </a:lnTo>
                  <a:lnTo>
                    <a:pt x="9" y="117"/>
                  </a:lnTo>
                  <a:lnTo>
                    <a:pt x="5" y="114"/>
                  </a:lnTo>
                  <a:lnTo>
                    <a:pt x="3" y="112"/>
                  </a:lnTo>
                  <a:lnTo>
                    <a:pt x="2" y="108"/>
                  </a:lnTo>
                  <a:lnTo>
                    <a:pt x="0" y="104"/>
                  </a:lnTo>
                  <a:lnTo>
                    <a:pt x="0" y="101"/>
                  </a:lnTo>
                  <a:lnTo>
                    <a:pt x="0" y="20"/>
                  </a:lnTo>
                  <a:lnTo>
                    <a:pt x="0" y="16"/>
                  </a:lnTo>
                  <a:lnTo>
                    <a:pt x="2" y="12"/>
                  </a:lnTo>
                  <a:lnTo>
                    <a:pt x="3" y="9"/>
                  </a:lnTo>
                  <a:lnTo>
                    <a:pt x="5" y="6"/>
                  </a:lnTo>
                  <a:lnTo>
                    <a:pt x="9" y="4"/>
                  </a:lnTo>
                  <a:lnTo>
                    <a:pt x="12" y="1"/>
                  </a:lnTo>
                  <a:lnTo>
                    <a:pt x="15" y="1"/>
                  </a:lnTo>
                  <a:lnTo>
                    <a:pt x="20" y="0"/>
                  </a:lnTo>
                  <a:lnTo>
                    <a:pt x="420" y="0"/>
                  </a:lnTo>
                  <a:lnTo>
                    <a:pt x="424" y="1"/>
                  </a:lnTo>
                  <a:lnTo>
                    <a:pt x="428" y="1"/>
                  </a:lnTo>
                  <a:lnTo>
                    <a:pt x="431" y="4"/>
                  </a:lnTo>
                  <a:lnTo>
                    <a:pt x="434" y="6"/>
                  </a:lnTo>
                  <a:lnTo>
                    <a:pt x="436" y="9"/>
                  </a:lnTo>
                  <a:lnTo>
                    <a:pt x="438" y="12"/>
                  </a:lnTo>
                  <a:lnTo>
                    <a:pt x="439" y="16"/>
                  </a:lnTo>
                  <a:lnTo>
                    <a:pt x="440" y="20"/>
                  </a:lnTo>
                  <a:lnTo>
                    <a:pt x="440" y="101"/>
                  </a:lnTo>
                  <a:lnTo>
                    <a:pt x="439" y="104"/>
                  </a:lnTo>
                  <a:lnTo>
                    <a:pt x="438" y="108"/>
                  </a:lnTo>
                  <a:lnTo>
                    <a:pt x="436" y="112"/>
                  </a:lnTo>
                  <a:lnTo>
                    <a:pt x="434" y="114"/>
                  </a:lnTo>
                  <a:lnTo>
                    <a:pt x="431" y="117"/>
                  </a:lnTo>
                  <a:lnTo>
                    <a:pt x="428" y="119"/>
                  </a:lnTo>
                  <a:lnTo>
                    <a:pt x="424" y="119"/>
                  </a:lnTo>
                  <a:lnTo>
                    <a:pt x="42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20">
              <a:extLst>
                <a:ext uri="{FF2B5EF4-FFF2-40B4-BE49-F238E27FC236}">
                  <a16:creationId xmlns:a16="http://schemas.microsoft.com/office/drawing/2014/main" id="{F4F1EF61-2DE2-49CE-83BE-D204E0A11898}"/>
                </a:ext>
              </a:extLst>
            </p:cNvPr>
            <p:cNvSpPr>
              <a:spLocks/>
            </p:cNvSpPr>
            <p:nvPr/>
          </p:nvSpPr>
          <p:spPr bwMode="auto">
            <a:xfrm>
              <a:off x="182878" y="5587044"/>
              <a:ext cx="23985" cy="123613"/>
            </a:xfrm>
            <a:custGeom>
              <a:avLst/>
              <a:gdLst>
                <a:gd name="T0" fmla="*/ 20 w 40"/>
                <a:gd name="T1" fmla="*/ 200 h 200"/>
                <a:gd name="T2" fmla="*/ 15 w 40"/>
                <a:gd name="T3" fmla="*/ 200 h 200"/>
                <a:gd name="T4" fmla="*/ 12 w 40"/>
                <a:gd name="T5" fmla="*/ 198 h 200"/>
                <a:gd name="T6" fmla="*/ 9 w 40"/>
                <a:gd name="T7" fmla="*/ 197 h 200"/>
                <a:gd name="T8" fmla="*/ 5 w 40"/>
                <a:gd name="T9" fmla="*/ 195 h 200"/>
                <a:gd name="T10" fmla="*/ 3 w 40"/>
                <a:gd name="T11" fmla="*/ 191 h 200"/>
                <a:gd name="T12" fmla="*/ 2 w 40"/>
                <a:gd name="T13" fmla="*/ 188 h 200"/>
                <a:gd name="T14" fmla="*/ 0 w 40"/>
                <a:gd name="T15" fmla="*/ 185 h 200"/>
                <a:gd name="T16" fmla="*/ 0 w 40"/>
                <a:gd name="T17" fmla="*/ 180 h 200"/>
                <a:gd name="T18" fmla="*/ 0 w 40"/>
                <a:gd name="T19" fmla="*/ 21 h 200"/>
                <a:gd name="T20" fmla="*/ 0 w 40"/>
                <a:gd name="T21" fmla="*/ 16 h 200"/>
                <a:gd name="T22" fmla="*/ 2 w 40"/>
                <a:gd name="T23" fmla="*/ 12 h 200"/>
                <a:gd name="T24" fmla="*/ 3 w 40"/>
                <a:gd name="T25" fmla="*/ 10 h 200"/>
                <a:gd name="T26" fmla="*/ 5 w 40"/>
                <a:gd name="T27" fmla="*/ 6 h 200"/>
                <a:gd name="T28" fmla="*/ 9 w 40"/>
                <a:gd name="T29" fmla="*/ 3 h 200"/>
                <a:gd name="T30" fmla="*/ 12 w 40"/>
                <a:gd name="T31" fmla="*/ 2 h 200"/>
                <a:gd name="T32" fmla="*/ 15 w 40"/>
                <a:gd name="T33" fmla="*/ 1 h 200"/>
                <a:gd name="T34" fmla="*/ 20 w 40"/>
                <a:gd name="T35" fmla="*/ 0 h 200"/>
                <a:gd name="T36" fmla="*/ 24 w 40"/>
                <a:gd name="T37" fmla="*/ 1 h 200"/>
                <a:gd name="T38" fmla="*/ 28 w 40"/>
                <a:gd name="T39" fmla="*/ 2 h 200"/>
                <a:gd name="T40" fmla="*/ 31 w 40"/>
                <a:gd name="T41" fmla="*/ 3 h 200"/>
                <a:gd name="T42" fmla="*/ 34 w 40"/>
                <a:gd name="T43" fmla="*/ 6 h 200"/>
                <a:gd name="T44" fmla="*/ 36 w 40"/>
                <a:gd name="T45" fmla="*/ 10 h 200"/>
                <a:gd name="T46" fmla="*/ 38 w 40"/>
                <a:gd name="T47" fmla="*/ 12 h 200"/>
                <a:gd name="T48" fmla="*/ 39 w 40"/>
                <a:gd name="T49" fmla="*/ 16 h 200"/>
                <a:gd name="T50" fmla="*/ 40 w 40"/>
                <a:gd name="T51" fmla="*/ 21 h 200"/>
                <a:gd name="T52" fmla="*/ 40 w 40"/>
                <a:gd name="T53" fmla="*/ 180 h 200"/>
                <a:gd name="T54" fmla="*/ 39 w 40"/>
                <a:gd name="T55" fmla="*/ 185 h 200"/>
                <a:gd name="T56" fmla="*/ 38 w 40"/>
                <a:gd name="T57" fmla="*/ 188 h 200"/>
                <a:gd name="T58" fmla="*/ 36 w 40"/>
                <a:gd name="T59" fmla="*/ 191 h 200"/>
                <a:gd name="T60" fmla="*/ 34 w 40"/>
                <a:gd name="T61" fmla="*/ 195 h 200"/>
                <a:gd name="T62" fmla="*/ 31 w 40"/>
                <a:gd name="T63" fmla="*/ 197 h 200"/>
                <a:gd name="T64" fmla="*/ 28 w 40"/>
                <a:gd name="T65" fmla="*/ 198 h 200"/>
                <a:gd name="T66" fmla="*/ 24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5" y="200"/>
                  </a:lnTo>
                  <a:lnTo>
                    <a:pt x="12" y="198"/>
                  </a:lnTo>
                  <a:lnTo>
                    <a:pt x="9" y="197"/>
                  </a:lnTo>
                  <a:lnTo>
                    <a:pt x="5" y="195"/>
                  </a:lnTo>
                  <a:lnTo>
                    <a:pt x="3" y="191"/>
                  </a:lnTo>
                  <a:lnTo>
                    <a:pt x="2" y="188"/>
                  </a:lnTo>
                  <a:lnTo>
                    <a:pt x="0" y="185"/>
                  </a:lnTo>
                  <a:lnTo>
                    <a:pt x="0" y="180"/>
                  </a:lnTo>
                  <a:lnTo>
                    <a:pt x="0" y="21"/>
                  </a:lnTo>
                  <a:lnTo>
                    <a:pt x="0" y="16"/>
                  </a:lnTo>
                  <a:lnTo>
                    <a:pt x="2" y="12"/>
                  </a:lnTo>
                  <a:lnTo>
                    <a:pt x="3" y="10"/>
                  </a:lnTo>
                  <a:lnTo>
                    <a:pt x="5" y="6"/>
                  </a:lnTo>
                  <a:lnTo>
                    <a:pt x="9" y="3"/>
                  </a:lnTo>
                  <a:lnTo>
                    <a:pt x="12" y="2"/>
                  </a:lnTo>
                  <a:lnTo>
                    <a:pt x="15" y="1"/>
                  </a:lnTo>
                  <a:lnTo>
                    <a:pt x="20" y="0"/>
                  </a:lnTo>
                  <a:lnTo>
                    <a:pt x="24" y="1"/>
                  </a:lnTo>
                  <a:lnTo>
                    <a:pt x="28" y="2"/>
                  </a:lnTo>
                  <a:lnTo>
                    <a:pt x="31" y="3"/>
                  </a:lnTo>
                  <a:lnTo>
                    <a:pt x="34" y="6"/>
                  </a:lnTo>
                  <a:lnTo>
                    <a:pt x="36" y="10"/>
                  </a:lnTo>
                  <a:lnTo>
                    <a:pt x="38" y="12"/>
                  </a:lnTo>
                  <a:lnTo>
                    <a:pt x="39" y="16"/>
                  </a:lnTo>
                  <a:lnTo>
                    <a:pt x="40" y="21"/>
                  </a:lnTo>
                  <a:lnTo>
                    <a:pt x="40" y="180"/>
                  </a:lnTo>
                  <a:lnTo>
                    <a:pt x="39" y="185"/>
                  </a:lnTo>
                  <a:lnTo>
                    <a:pt x="38" y="188"/>
                  </a:lnTo>
                  <a:lnTo>
                    <a:pt x="36" y="191"/>
                  </a:lnTo>
                  <a:lnTo>
                    <a:pt x="34" y="195"/>
                  </a:lnTo>
                  <a:lnTo>
                    <a:pt x="31" y="197"/>
                  </a:lnTo>
                  <a:lnTo>
                    <a:pt x="28" y="198"/>
                  </a:lnTo>
                  <a:lnTo>
                    <a:pt x="24"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Rectangle 21">
              <a:extLst>
                <a:ext uri="{FF2B5EF4-FFF2-40B4-BE49-F238E27FC236}">
                  <a16:creationId xmlns:a16="http://schemas.microsoft.com/office/drawing/2014/main" id="{D3DAB7CB-7D1C-4C17-B922-A841C09577F4}"/>
                </a:ext>
              </a:extLst>
            </p:cNvPr>
            <p:cNvSpPr>
              <a:spLocks noChangeArrowheads="1"/>
            </p:cNvSpPr>
            <p:nvPr/>
          </p:nvSpPr>
          <p:spPr bwMode="auto">
            <a:xfrm>
              <a:off x="182878" y="6140535"/>
              <a:ext cx="23985" cy="1475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59" name="Group 159">
            <a:extLst>
              <a:ext uri="{FF2B5EF4-FFF2-40B4-BE49-F238E27FC236}">
                <a16:creationId xmlns:a16="http://schemas.microsoft.com/office/drawing/2014/main" id="{85C7FACE-473C-48D8-8E81-A5B15CA1F150}"/>
              </a:ext>
            </a:extLst>
          </p:cNvPr>
          <p:cNvGrpSpPr>
            <a:grpSpLocks noChangeAspect="1"/>
          </p:cNvGrpSpPr>
          <p:nvPr/>
        </p:nvGrpSpPr>
        <p:grpSpPr>
          <a:xfrm>
            <a:off x="3680681" y="3263433"/>
            <a:ext cx="245766" cy="285619"/>
            <a:chOff x="673639" y="5587044"/>
            <a:chExt cx="614374" cy="714003"/>
          </a:xfrm>
          <a:solidFill>
            <a:schemeClr val="bg1"/>
          </a:solidFill>
          <a:effectLst/>
        </p:grpSpPr>
        <p:sp>
          <p:nvSpPr>
            <p:cNvPr id="1260" name="Freeform 22">
              <a:extLst>
                <a:ext uri="{FF2B5EF4-FFF2-40B4-BE49-F238E27FC236}">
                  <a16:creationId xmlns:a16="http://schemas.microsoft.com/office/drawing/2014/main" id="{AC5E5469-6598-4456-BB42-EA5AE80189D1}"/>
                </a:ext>
              </a:extLst>
            </p:cNvPr>
            <p:cNvSpPr>
              <a:spLocks noEditPoints="1"/>
            </p:cNvSpPr>
            <p:nvPr/>
          </p:nvSpPr>
          <p:spPr bwMode="auto">
            <a:xfrm>
              <a:off x="821237" y="5736487"/>
              <a:ext cx="319179" cy="564560"/>
            </a:xfrm>
            <a:custGeom>
              <a:avLst/>
              <a:gdLst>
                <a:gd name="T0" fmla="*/ 40 w 519"/>
                <a:gd name="T1" fmla="*/ 879 h 919"/>
                <a:gd name="T2" fmla="*/ 479 w 519"/>
                <a:gd name="T3" fmla="*/ 879 h 919"/>
                <a:gd name="T4" fmla="*/ 479 w 519"/>
                <a:gd name="T5" fmla="*/ 39 h 919"/>
                <a:gd name="T6" fmla="*/ 40 w 519"/>
                <a:gd name="T7" fmla="*/ 39 h 919"/>
                <a:gd name="T8" fmla="*/ 40 w 519"/>
                <a:gd name="T9" fmla="*/ 879 h 919"/>
                <a:gd name="T10" fmla="*/ 499 w 519"/>
                <a:gd name="T11" fmla="*/ 919 h 919"/>
                <a:gd name="T12" fmla="*/ 20 w 519"/>
                <a:gd name="T13" fmla="*/ 919 h 919"/>
                <a:gd name="T14" fmla="*/ 15 w 519"/>
                <a:gd name="T15" fmla="*/ 919 h 919"/>
                <a:gd name="T16" fmla="*/ 11 w 519"/>
                <a:gd name="T17" fmla="*/ 918 h 919"/>
                <a:gd name="T18" fmla="*/ 9 w 519"/>
                <a:gd name="T19" fmla="*/ 915 h 919"/>
                <a:gd name="T20" fmla="*/ 5 w 519"/>
                <a:gd name="T21" fmla="*/ 913 h 919"/>
                <a:gd name="T22" fmla="*/ 2 w 519"/>
                <a:gd name="T23" fmla="*/ 910 h 919"/>
                <a:gd name="T24" fmla="*/ 1 w 519"/>
                <a:gd name="T25" fmla="*/ 907 h 919"/>
                <a:gd name="T26" fmla="*/ 0 w 519"/>
                <a:gd name="T27" fmla="*/ 903 h 919"/>
                <a:gd name="T28" fmla="*/ 0 w 519"/>
                <a:gd name="T29" fmla="*/ 899 h 919"/>
                <a:gd name="T30" fmla="*/ 0 w 519"/>
                <a:gd name="T31" fmla="*/ 20 h 919"/>
                <a:gd name="T32" fmla="*/ 0 w 519"/>
                <a:gd name="T33" fmla="*/ 15 h 919"/>
                <a:gd name="T34" fmla="*/ 1 w 519"/>
                <a:gd name="T35" fmla="*/ 11 h 919"/>
                <a:gd name="T36" fmla="*/ 2 w 519"/>
                <a:gd name="T37" fmla="*/ 8 h 919"/>
                <a:gd name="T38" fmla="*/ 5 w 519"/>
                <a:gd name="T39" fmla="*/ 5 h 919"/>
                <a:gd name="T40" fmla="*/ 9 w 519"/>
                <a:gd name="T41" fmla="*/ 2 h 919"/>
                <a:gd name="T42" fmla="*/ 11 w 519"/>
                <a:gd name="T43" fmla="*/ 1 h 919"/>
                <a:gd name="T44" fmla="*/ 15 w 519"/>
                <a:gd name="T45" fmla="*/ 0 h 919"/>
                <a:gd name="T46" fmla="*/ 20 w 519"/>
                <a:gd name="T47" fmla="*/ 0 h 919"/>
                <a:gd name="T48" fmla="*/ 499 w 519"/>
                <a:gd name="T49" fmla="*/ 0 h 919"/>
                <a:gd name="T50" fmla="*/ 503 w 519"/>
                <a:gd name="T51" fmla="*/ 0 h 919"/>
                <a:gd name="T52" fmla="*/ 507 w 519"/>
                <a:gd name="T53" fmla="*/ 1 h 919"/>
                <a:gd name="T54" fmla="*/ 510 w 519"/>
                <a:gd name="T55" fmla="*/ 2 h 919"/>
                <a:gd name="T56" fmla="*/ 513 w 519"/>
                <a:gd name="T57" fmla="*/ 5 h 919"/>
                <a:gd name="T58" fmla="*/ 515 w 519"/>
                <a:gd name="T59" fmla="*/ 8 h 919"/>
                <a:gd name="T60" fmla="*/ 518 w 519"/>
                <a:gd name="T61" fmla="*/ 11 h 919"/>
                <a:gd name="T62" fmla="*/ 519 w 519"/>
                <a:gd name="T63" fmla="*/ 15 h 919"/>
                <a:gd name="T64" fmla="*/ 519 w 519"/>
                <a:gd name="T65" fmla="*/ 20 h 919"/>
                <a:gd name="T66" fmla="*/ 519 w 519"/>
                <a:gd name="T67" fmla="*/ 899 h 919"/>
                <a:gd name="T68" fmla="*/ 519 w 519"/>
                <a:gd name="T69" fmla="*/ 903 h 919"/>
                <a:gd name="T70" fmla="*/ 518 w 519"/>
                <a:gd name="T71" fmla="*/ 907 h 919"/>
                <a:gd name="T72" fmla="*/ 515 w 519"/>
                <a:gd name="T73" fmla="*/ 910 h 919"/>
                <a:gd name="T74" fmla="*/ 513 w 519"/>
                <a:gd name="T75" fmla="*/ 913 h 919"/>
                <a:gd name="T76" fmla="*/ 510 w 519"/>
                <a:gd name="T77" fmla="*/ 915 h 919"/>
                <a:gd name="T78" fmla="*/ 507 w 519"/>
                <a:gd name="T79" fmla="*/ 918 h 919"/>
                <a:gd name="T80" fmla="*/ 503 w 519"/>
                <a:gd name="T81" fmla="*/ 919 h 919"/>
                <a:gd name="T82" fmla="*/ 499 w 519"/>
                <a:gd name="T83"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9" h="919">
                  <a:moveTo>
                    <a:pt x="40" y="879"/>
                  </a:moveTo>
                  <a:lnTo>
                    <a:pt x="479" y="879"/>
                  </a:lnTo>
                  <a:lnTo>
                    <a:pt x="479" y="39"/>
                  </a:lnTo>
                  <a:lnTo>
                    <a:pt x="40" y="39"/>
                  </a:lnTo>
                  <a:lnTo>
                    <a:pt x="40" y="879"/>
                  </a:lnTo>
                  <a:close/>
                  <a:moveTo>
                    <a:pt x="499" y="919"/>
                  </a:moveTo>
                  <a:lnTo>
                    <a:pt x="20" y="919"/>
                  </a:lnTo>
                  <a:lnTo>
                    <a:pt x="15" y="919"/>
                  </a:lnTo>
                  <a:lnTo>
                    <a:pt x="11" y="918"/>
                  </a:lnTo>
                  <a:lnTo>
                    <a:pt x="9" y="915"/>
                  </a:lnTo>
                  <a:lnTo>
                    <a:pt x="5" y="913"/>
                  </a:lnTo>
                  <a:lnTo>
                    <a:pt x="2" y="910"/>
                  </a:lnTo>
                  <a:lnTo>
                    <a:pt x="1" y="907"/>
                  </a:lnTo>
                  <a:lnTo>
                    <a:pt x="0" y="903"/>
                  </a:lnTo>
                  <a:lnTo>
                    <a:pt x="0" y="899"/>
                  </a:lnTo>
                  <a:lnTo>
                    <a:pt x="0" y="20"/>
                  </a:lnTo>
                  <a:lnTo>
                    <a:pt x="0" y="15"/>
                  </a:lnTo>
                  <a:lnTo>
                    <a:pt x="1" y="11"/>
                  </a:lnTo>
                  <a:lnTo>
                    <a:pt x="2" y="8"/>
                  </a:lnTo>
                  <a:lnTo>
                    <a:pt x="5" y="5"/>
                  </a:lnTo>
                  <a:lnTo>
                    <a:pt x="9" y="2"/>
                  </a:lnTo>
                  <a:lnTo>
                    <a:pt x="11" y="1"/>
                  </a:lnTo>
                  <a:lnTo>
                    <a:pt x="15" y="0"/>
                  </a:lnTo>
                  <a:lnTo>
                    <a:pt x="20" y="0"/>
                  </a:lnTo>
                  <a:lnTo>
                    <a:pt x="499" y="0"/>
                  </a:lnTo>
                  <a:lnTo>
                    <a:pt x="503" y="0"/>
                  </a:lnTo>
                  <a:lnTo>
                    <a:pt x="507" y="1"/>
                  </a:lnTo>
                  <a:lnTo>
                    <a:pt x="510" y="2"/>
                  </a:lnTo>
                  <a:lnTo>
                    <a:pt x="513" y="5"/>
                  </a:lnTo>
                  <a:lnTo>
                    <a:pt x="515" y="8"/>
                  </a:lnTo>
                  <a:lnTo>
                    <a:pt x="518" y="11"/>
                  </a:lnTo>
                  <a:lnTo>
                    <a:pt x="519" y="15"/>
                  </a:lnTo>
                  <a:lnTo>
                    <a:pt x="519" y="20"/>
                  </a:lnTo>
                  <a:lnTo>
                    <a:pt x="519" y="899"/>
                  </a:lnTo>
                  <a:lnTo>
                    <a:pt x="519" y="903"/>
                  </a:lnTo>
                  <a:lnTo>
                    <a:pt x="518" y="907"/>
                  </a:lnTo>
                  <a:lnTo>
                    <a:pt x="515" y="910"/>
                  </a:lnTo>
                  <a:lnTo>
                    <a:pt x="513" y="913"/>
                  </a:lnTo>
                  <a:lnTo>
                    <a:pt x="510" y="915"/>
                  </a:lnTo>
                  <a:lnTo>
                    <a:pt x="507" y="918"/>
                  </a:lnTo>
                  <a:lnTo>
                    <a:pt x="503" y="919"/>
                  </a:lnTo>
                  <a:lnTo>
                    <a:pt x="499" y="9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Freeform 23">
              <a:extLst>
                <a:ext uri="{FF2B5EF4-FFF2-40B4-BE49-F238E27FC236}">
                  <a16:creationId xmlns:a16="http://schemas.microsoft.com/office/drawing/2014/main" id="{4A27BC91-50C0-48DC-B120-3DB30ED30DC0}"/>
                </a:ext>
              </a:extLst>
            </p:cNvPr>
            <p:cNvSpPr>
              <a:spLocks noEditPoints="1"/>
            </p:cNvSpPr>
            <p:nvPr/>
          </p:nvSpPr>
          <p:spPr bwMode="auto">
            <a:xfrm>
              <a:off x="673639" y="5882239"/>
              <a:ext cx="173427" cy="418808"/>
            </a:xfrm>
            <a:custGeom>
              <a:avLst/>
              <a:gdLst>
                <a:gd name="T0" fmla="*/ 41 w 281"/>
                <a:gd name="T1" fmla="*/ 640 h 680"/>
                <a:gd name="T2" fmla="*/ 241 w 281"/>
                <a:gd name="T3" fmla="*/ 640 h 680"/>
                <a:gd name="T4" fmla="*/ 241 w 281"/>
                <a:gd name="T5" fmla="*/ 40 h 680"/>
                <a:gd name="T6" fmla="*/ 41 w 281"/>
                <a:gd name="T7" fmla="*/ 40 h 680"/>
                <a:gd name="T8" fmla="*/ 41 w 281"/>
                <a:gd name="T9" fmla="*/ 640 h 680"/>
                <a:gd name="T10" fmla="*/ 261 w 281"/>
                <a:gd name="T11" fmla="*/ 680 h 680"/>
                <a:gd name="T12" fmla="*/ 21 w 281"/>
                <a:gd name="T13" fmla="*/ 680 h 680"/>
                <a:gd name="T14" fmla="*/ 16 w 281"/>
                <a:gd name="T15" fmla="*/ 680 h 680"/>
                <a:gd name="T16" fmla="*/ 12 w 281"/>
                <a:gd name="T17" fmla="*/ 679 h 680"/>
                <a:gd name="T18" fmla="*/ 10 w 281"/>
                <a:gd name="T19" fmla="*/ 676 h 680"/>
                <a:gd name="T20" fmla="*/ 6 w 281"/>
                <a:gd name="T21" fmla="*/ 674 h 680"/>
                <a:gd name="T22" fmla="*/ 4 w 281"/>
                <a:gd name="T23" fmla="*/ 671 h 680"/>
                <a:gd name="T24" fmla="*/ 3 w 281"/>
                <a:gd name="T25" fmla="*/ 668 h 680"/>
                <a:gd name="T26" fmla="*/ 1 w 281"/>
                <a:gd name="T27" fmla="*/ 664 h 680"/>
                <a:gd name="T28" fmla="*/ 0 w 281"/>
                <a:gd name="T29" fmla="*/ 660 h 680"/>
                <a:gd name="T30" fmla="*/ 0 w 281"/>
                <a:gd name="T31" fmla="*/ 20 h 680"/>
                <a:gd name="T32" fmla="*/ 1 w 281"/>
                <a:gd name="T33" fmla="*/ 17 h 680"/>
                <a:gd name="T34" fmla="*/ 3 w 281"/>
                <a:gd name="T35" fmla="*/ 13 h 680"/>
                <a:gd name="T36" fmla="*/ 4 w 281"/>
                <a:gd name="T37" fmla="*/ 9 h 680"/>
                <a:gd name="T38" fmla="*/ 6 w 281"/>
                <a:gd name="T39" fmla="*/ 5 h 680"/>
                <a:gd name="T40" fmla="*/ 10 w 281"/>
                <a:gd name="T41" fmla="*/ 3 h 680"/>
                <a:gd name="T42" fmla="*/ 12 w 281"/>
                <a:gd name="T43" fmla="*/ 2 h 680"/>
                <a:gd name="T44" fmla="*/ 16 w 281"/>
                <a:gd name="T45" fmla="*/ 0 h 680"/>
                <a:gd name="T46" fmla="*/ 21 w 281"/>
                <a:gd name="T47" fmla="*/ 0 h 680"/>
                <a:gd name="T48" fmla="*/ 261 w 281"/>
                <a:gd name="T49" fmla="*/ 0 h 680"/>
                <a:gd name="T50" fmla="*/ 265 w 281"/>
                <a:gd name="T51" fmla="*/ 0 h 680"/>
                <a:gd name="T52" fmla="*/ 268 w 281"/>
                <a:gd name="T53" fmla="*/ 2 h 680"/>
                <a:gd name="T54" fmla="*/ 272 w 281"/>
                <a:gd name="T55" fmla="*/ 3 h 680"/>
                <a:gd name="T56" fmla="*/ 275 w 281"/>
                <a:gd name="T57" fmla="*/ 5 h 680"/>
                <a:gd name="T58" fmla="*/ 277 w 281"/>
                <a:gd name="T59" fmla="*/ 9 h 680"/>
                <a:gd name="T60" fmla="*/ 278 w 281"/>
                <a:gd name="T61" fmla="*/ 13 h 680"/>
                <a:gd name="T62" fmla="*/ 279 w 281"/>
                <a:gd name="T63" fmla="*/ 17 h 680"/>
                <a:gd name="T64" fmla="*/ 281 w 281"/>
                <a:gd name="T65" fmla="*/ 20 h 680"/>
                <a:gd name="T66" fmla="*/ 281 w 281"/>
                <a:gd name="T67" fmla="*/ 660 h 680"/>
                <a:gd name="T68" fmla="*/ 279 w 281"/>
                <a:gd name="T69" fmla="*/ 664 h 680"/>
                <a:gd name="T70" fmla="*/ 278 w 281"/>
                <a:gd name="T71" fmla="*/ 668 h 680"/>
                <a:gd name="T72" fmla="*/ 277 w 281"/>
                <a:gd name="T73" fmla="*/ 671 h 680"/>
                <a:gd name="T74" fmla="*/ 275 w 281"/>
                <a:gd name="T75" fmla="*/ 674 h 680"/>
                <a:gd name="T76" fmla="*/ 272 w 281"/>
                <a:gd name="T77" fmla="*/ 676 h 680"/>
                <a:gd name="T78" fmla="*/ 268 w 281"/>
                <a:gd name="T79" fmla="*/ 679 h 680"/>
                <a:gd name="T80" fmla="*/ 265 w 281"/>
                <a:gd name="T81" fmla="*/ 680 h 680"/>
                <a:gd name="T82" fmla="*/ 261 w 281"/>
                <a:gd name="T8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1" h="680">
                  <a:moveTo>
                    <a:pt x="41" y="640"/>
                  </a:moveTo>
                  <a:lnTo>
                    <a:pt x="241" y="640"/>
                  </a:lnTo>
                  <a:lnTo>
                    <a:pt x="241" y="40"/>
                  </a:lnTo>
                  <a:lnTo>
                    <a:pt x="41" y="40"/>
                  </a:lnTo>
                  <a:lnTo>
                    <a:pt x="41" y="640"/>
                  </a:lnTo>
                  <a:close/>
                  <a:moveTo>
                    <a:pt x="261" y="680"/>
                  </a:moveTo>
                  <a:lnTo>
                    <a:pt x="21" y="680"/>
                  </a:lnTo>
                  <a:lnTo>
                    <a:pt x="16" y="680"/>
                  </a:lnTo>
                  <a:lnTo>
                    <a:pt x="12" y="679"/>
                  </a:lnTo>
                  <a:lnTo>
                    <a:pt x="10" y="676"/>
                  </a:lnTo>
                  <a:lnTo>
                    <a:pt x="6" y="674"/>
                  </a:lnTo>
                  <a:lnTo>
                    <a:pt x="4" y="671"/>
                  </a:lnTo>
                  <a:lnTo>
                    <a:pt x="3" y="668"/>
                  </a:lnTo>
                  <a:lnTo>
                    <a:pt x="1" y="664"/>
                  </a:lnTo>
                  <a:lnTo>
                    <a:pt x="0" y="660"/>
                  </a:lnTo>
                  <a:lnTo>
                    <a:pt x="0" y="20"/>
                  </a:lnTo>
                  <a:lnTo>
                    <a:pt x="1" y="17"/>
                  </a:lnTo>
                  <a:lnTo>
                    <a:pt x="3" y="13"/>
                  </a:lnTo>
                  <a:lnTo>
                    <a:pt x="4" y="9"/>
                  </a:lnTo>
                  <a:lnTo>
                    <a:pt x="6" y="5"/>
                  </a:lnTo>
                  <a:lnTo>
                    <a:pt x="10" y="3"/>
                  </a:lnTo>
                  <a:lnTo>
                    <a:pt x="12" y="2"/>
                  </a:lnTo>
                  <a:lnTo>
                    <a:pt x="16" y="0"/>
                  </a:lnTo>
                  <a:lnTo>
                    <a:pt x="21" y="0"/>
                  </a:lnTo>
                  <a:lnTo>
                    <a:pt x="261" y="0"/>
                  </a:lnTo>
                  <a:lnTo>
                    <a:pt x="265" y="0"/>
                  </a:lnTo>
                  <a:lnTo>
                    <a:pt x="268" y="2"/>
                  </a:lnTo>
                  <a:lnTo>
                    <a:pt x="272" y="3"/>
                  </a:lnTo>
                  <a:lnTo>
                    <a:pt x="275" y="5"/>
                  </a:lnTo>
                  <a:lnTo>
                    <a:pt x="277" y="9"/>
                  </a:lnTo>
                  <a:lnTo>
                    <a:pt x="278" y="13"/>
                  </a:lnTo>
                  <a:lnTo>
                    <a:pt x="279" y="17"/>
                  </a:lnTo>
                  <a:lnTo>
                    <a:pt x="281" y="20"/>
                  </a:lnTo>
                  <a:lnTo>
                    <a:pt x="281" y="660"/>
                  </a:lnTo>
                  <a:lnTo>
                    <a:pt x="279" y="664"/>
                  </a:lnTo>
                  <a:lnTo>
                    <a:pt x="278" y="668"/>
                  </a:lnTo>
                  <a:lnTo>
                    <a:pt x="277" y="671"/>
                  </a:lnTo>
                  <a:lnTo>
                    <a:pt x="275" y="674"/>
                  </a:lnTo>
                  <a:lnTo>
                    <a:pt x="272" y="676"/>
                  </a:lnTo>
                  <a:lnTo>
                    <a:pt x="268" y="679"/>
                  </a:lnTo>
                  <a:lnTo>
                    <a:pt x="265" y="680"/>
                  </a:lnTo>
                  <a:lnTo>
                    <a:pt x="261" y="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24">
              <a:extLst>
                <a:ext uri="{FF2B5EF4-FFF2-40B4-BE49-F238E27FC236}">
                  <a16:creationId xmlns:a16="http://schemas.microsoft.com/office/drawing/2014/main" id="{54955747-8E94-471E-A7DA-E8A7D7519D77}"/>
                </a:ext>
              </a:extLst>
            </p:cNvPr>
            <p:cNvSpPr>
              <a:spLocks noEditPoints="1"/>
            </p:cNvSpPr>
            <p:nvPr/>
          </p:nvSpPr>
          <p:spPr bwMode="auto">
            <a:xfrm>
              <a:off x="1116431" y="5932053"/>
              <a:ext cx="171582" cy="368994"/>
            </a:xfrm>
            <a:custGeom>
              <a:avLst/>
              <a:gdLst>
                <a:gd name="T0" fmla="*/ 40 w 280"/>
                <a:gd name="T1" fmla="*/ 560 h 600"/>
                <a:gd name="T2" fmla="*/ 240 w 280"/>
                <a:gd name="T3" fmla="*/ 560 h 600"/>
                <a:gd name="T4" fmla="*/ 240 w 280"/>
                <a:gd name="T5" fmla="*/ 40 h 600"/>
                <a:gd name="T6" fmla="*/ 40 w 280"/>
                <a:gd name="T7" fmla="*/ 40 h 600"/>
                <a:gd name="T8" fmla="*/ 40 w 280"/>
                <a:gd name="T9" fmla="*/ 560 h 600"/>
                <a:gd name="T10" fmla="*/ 260 w 280"/>
                <a:gd name="T11" fmla="*/ 600 h 600"/>
                <a:gd name="T12" fmla="*/ 20 w 280"/>
                <a:gd name="T13" fmla="*/ 600 h 600"/>
                <a:gd name="T14" fmla="*/ 17 w 280"/>
                <a:gd name="T15" fmla="*/ 600 h 600"/>
                <a:gd name="T16" fmla="*/ 13 w 280"/>
                <a:gd name="T17" fmla="*/ 599 h 600"/>
                <a:gd name="T18" fmla="*/ 9 w 280"/>
                <a:gd name="T19" fmla="*/ 596 h 600"/>
                <a:gd name="T20" fmla="*/ 7 w 280"/>
                <a:gd name="T21" fmla="*/ 594 h 600"/>
                <a:gd name="T22" fmla="*/ 4 w 280"/>
                <a:gd name="T23" fmla="*/ 591 h 600"/>
                <a:gd name="T24" fmla="*/ 2 w 280"/>
                <a:gd name="T25" fmla="*/ 588 h 600"/>
                <a:gd name="T26" fmla="*/ 0 w 280"/>
                <a:gd name="T27" fmla="*/ 584 h 600"/>
                <a:gd name="T28" fmla="*/ 0 w 280"/>
                <a:gd name="T29" fmla="*/ 580 h 600"/>
                <a:gd name="T30" fmla="*/ 0 w 280"/>
                <a:gd name="T31" fmla="*/ 20 h 600"/>
                <a:gd name="T32" fmla="*/ 0 w 280"/>
                <a:gd name="T33" fmla="*/ 16 h 600"/>
                <a:gd name="T34" fmla="*/ 2 w 280"/>
                <a:gd name="T35" fmla="*/ 12 h 600"/>
                <a:gd name="T36" fmla="*/ 4 w 280"/>
                <a:gd name="T37" fmla="*/ 9 h 600"/>
                <a:gd name="T38" fmla="*/ 7 w 280"/>
                <a:gd name="T39" fmla="*/ 6 h 600"/>
                <a:gd name="T40" fmla="*/ 9 w 280"/>
                <a:gd name="T41" fmla="*/ 4 h 600"/>
                <a:gd name="T42" fmla="*/ 13 w 280"/>
                <a:gd name="T43" fmla="*/ 1 h 600"/>
                <a:gd name="T44" fmla="*/ 17 w 280"/>
                <a:gd name="T45" fmla="*/ 0 h 600"/>
                <a:gd name="T46" fmla="*/ 20 w 280"/>
                <a:gd name="T47" fmla="*/ 0 h 600"/>
                <a:gd name="T48" fmla="*/ 260 w 280"/>
                <a:gd name="T49" fmla="*/ 0 h 600"/>
                <a:gd name="T50" fmla="*/ 264 w 280"/>
                <a:gd name="T51" fmla="*/ 0 h 600"/>
                <a:gd name="T52" fmla="*/ 267 w 280"/>
                <a:gd name="T53" fmla="*/ 1 h 600"/>
                <a:gd name="T54" fmla="*/ 271 w 280"/>
                <a:gd name="T55" fmla="*/ 4 h 600"/>
                <a:gd name="T56" fmla="*/ 275 w 280"/>
                <a:gd name="T57" fmla="*/ 6 h 600"/>
                <a:gd name="T58" fmla="*/ 276 w 280"/>
                <a:gd name="T59" fmla="*/ 9 h 600"/>
                <a:gd name="T60" fmla="*/ 279 w 280"/>
                <a:gd name="T61" fmla="*/ 12 h 600"/>
                <a:gd name="T62" fmla="*/ 280 w 280"/>
                <a:gd name="T63" fmla="*/ 16 h 600"/>
                <a:gd name="T64" fmla="*/ 280 w 280"/>
                <a:gd name="T65" fmla="*/ 20 h 600"/>
                <a:gd name="T66" fmla="*/ 280 w 280"/>
                <a:gd name="T67" fmla="*/ 580 h 600"/>
                <a:gd name="T68" fmla="*/ 280 w 280"/>
                <a:gd name="T69" fmla="*/ 584 h 600"/>
                <a:gd name="T70" fmla="*/ 279 w 280"/>
                <a:gd name="T71" fmla="*/ 588 h 600"/>
                <a:gd name="T72" fmla="*/ 276 w 280"/>
                <a:gd name="T73" fmla="*/ 591 h 600"/>
                <a:gd name="T74" fmla="*/ 275 w 280"/>
                <a:gd name="T75" fmla="*/ 594 h 600"/>
                <a:gd name="T76" fmla="*/ 271 w 280"/>
                <a:gd name="T77" fmla="*/ 596 h 600"/>
                <a:gd name="T78" fmla="*/ 267 w 280"/>
                <a:gd name="T79" fmla="*/ 599 h 600"/>
                <a:gd name="T80" fmla="*/ 264 w 280"/>
                <a:gd name="T81" fmla="*/ 600 h 600"/>
                <a:gd name="T82" fmla="*/ 260 w 280"/>
                <a:gd name="T83"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0" h="600">
                  <a:moveTo>
                    <a:pt x="40" y="560"/>
                  </a:moveTo>
                  <a:lnTo>
                    <a:pt x="240" y="560"/>
                  </a:lnTo>
                  <a:lnTo>
                    <a:pt x="240" y="40"/>
                  </a:lnTo>
                  <a:lnTo>
                    <a:pt x="40" y="40"/>
                  </a:lnTo>
                  <a:lnTo>
                    <a:pt x="40" y="560"/>
                  </a:lnTo>
                  <a:close/>
                  <a:moveTo>
                    <a:pt x="260" y="600"/>
                  </a:moveTo>
                  <a:lnTo>
                    <a:pt x="20" y="600"/>
                  </a:lnTo>
                  <a:lnTo>
                    <a:pt x="17" y="600"/>
                  </a:lnTo>
                  <a:lnTo>
                    <a:pt x="13" y="599"/>
                  </a:lnTo>
                  <a:lnTo>
                    <a:pt x="9" y="596"/>
                  </a:lnTo>
                  <a:lnTo>
                    <a:pt x="7" y="594"/>
                  </a:lnTo>
                  <a:lnTo>
                    <a:pt x="4" y="591"/>
                  </a:lnTo>
                  <a:lnTo>
                    <a:pt x="2" y="588"/>
                  </a:lnTo>
                  <a:lnTo>
                    <a:pt x="0" y="584"/>
                  </a:lnTo>
                  <a:lnTo>
                    <a:pt x="0" y="580"/>
                  </a:lnTo>
                  <a:lnTo>
                    <a:pt x="0" y="20"/>
                  </a:lnTo>
                  <a:lnTo>
                    <a:pt x="0" y="16"/>
                  </a:lnTo>
                  <a:lnTo>
                    <a:pt x="2" y="12"/>
                  </a:lnTo>
                  <a:lnTo>
                    <a:pt x="4" y="9"/>
                  </a:lnTo>
                  <a:lnTo>
                    <a:pt x="7" y="6"/>
                  </a:lnTo>
                  <a:lnTo>
                    <a:pt x="9" y="4"/>
                  </a:lnTo>
                  <a:lnTo>
                    <a:pt x="13" y="1"/>
                  </a:lnTo>
                  <a:lnTo>
                    <a:pt x="17" y="0"/>
                  </a:lnTo>
                  <a:lnTo>
                    <a:pt x="20" y="0"/>
                  </a:lnTo>
                  <a:lnTo>
                    <a:pt x="260" y="0"/>
                  </a:lnTo>
                  <a:lnTo>
                    <a:pt x="264" y="0"/>
                  </a:lnTo>
                  <a:lnTo>
                    <a:pt x="267" y="1"/>
                  </a:lnTo>
                  <a:lnTo>
                    <a:pt x="271" y="4"/>
                  </a:lnTo>
                  <a:lnTo>
                    <a:pt x="275" y="6"/>
                  </a:lnTo>
                  <a:lnTo>
                    <a:pt x="276" y="9"/>
                  </a:lnTo>
                  <a:lnTo>
                    <a:pt x="279" y="12"/>
                  </a:lnTo>
                  <a:lnTo>
                    <a:pt x="280" y="16"/>
                  </a:lnTo>
                  <a:lnTo>
                    <a:pt x="280" y="20"/>
                  </a:lnTo>
                  <a:lnTo>
                    <a:pt x="280" y="580"/>
                  </a:lnTo>
                  <a:lnTo>
                    <a:pt x="280" y="584"/>
                  </a:lnTo>
                  <a:lnTo>
                    <a:pt x="279" y="588"/>
                  </a:lnTo>
                  <a:lnTo>
                    <a:pt x="276" y="591"/>
                  </a:lnTo>
                  <a:lnTo>
                    <a:pt x="275" y="594"/>
                  </a:lnTo>
                  <a:lnTo>
                    <a:pt x="271" y="596"/>
                  </a:lnTo>
                  <a:lnTo>
                    <a:pt x="267" y="599"/>
                  </a:lnTo>
                  <a:lnTo>
                    <a:pt x="264" y="600"/>
                  </a:lnTo>
                  <a:lnTo>
                    <a:pt x="260"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25">
              <a:extLst>
                <a:ext uri="{FF2B5EF4-FFF2-40B4-BE49-F238E27FC236}">
                  <a16:creationId xmlns:a16="http://schemas.microsoft.com/office/drawing/2014/main" id="{82C50A53-C705-40BA-A452-0B482A333452}"/>
                </a:ext>
              </a:extLst>
            </p:cNvPr>
            <p:cNvSpPr>
              <a:spLocks noEditPoints="1"/>
            </p:cNvSpPr>
            <p:nvPr/>
          </p:nvSpPr>
          <p:spPr bwMode="auto">
            <a:xfrm>
              <a:off x="1116431" y="5882239"/>
              <a:ext cx="123613" cy="73799"/>
            </a:xfrm>
            <a:custGeom>
              <a:avLst/>
              <a:gdLst>
                <a:gd name="T0" fmla="*/ 40 w 200"/>
                <a:gd name="T1" fmla="*/ 80 h 120"/>
                <a:gd name="T2" fmla="*/ 161 w 200"/>
                <a:gd name="T3" fmla="*/ 80 h 120"/>
                <a:gd name="T4" fmla="*/ 161 w 200"/>
                <a:gd name="T5" fmla="*/ 40 h 120"/>
                <a:gd name="T6" fmla="*/ 40 w 200"/>
                <a:gd name="T7" fmla="*/ 40 h 120"/>
                <a:gd name="T8" fmla="*/ 40 w 200"/>
                <a:gd name="T9" fmla="*/ 80 h 120"/>
                <a:gd name="T10" fmla="*/ 180 w 200"/>
                <a:gd name="T11" fmla="*/ 120 h 120"/>
                <a:gd name="T12" fmla="*/ 20 w 200"/>
                <a:gd name="T13" fmla="*/ 120 h 120"/>
                <a:gd name="T14" fmla="*/ 17 w 200"/>
                <a:gd name="T15" fmla="*/ 120 h 120"/>
                <a:gd name="T16" fmla="*/ 13 w 200"/>
                <a:gd name="T17" fmla="*/ 118 h 120"/>
                <a:gd name="T18" fmla="*/ 9 w 200"/>
                <a:gd name="T19" fmla="*/ 117 h 120"/>
                <a:gd name="T20" fmla="*/ 7 w 200"/>
                <a:gd name="T21" fmla="*/ 115 h 120"/>
                <a:gd name="T22" fmla="*/ 4 w 200"/>
                <a:gd name="T23" fmla="*/ 111 h 120"/>
                <a:gd name="T24" fmla="*/ 2 w 200"/>
                <a:gd name="T25" fmla="*/ 107 h 120"/>
                <a:gd name="T26" fmla="*/ 0 w 200"/>
                <a:gd name="T27" fmla="*/ 104 h 120"/>
                <a:gd name="T28" fmla="*/ 0 w 200"/>
                <a:gd name="T29" fmla="*/ 100 h 120"/>
                <a:gd name="T30" fmla="*/ 0 w 200"/>
                <a:gd name="T31" fmla="*/ 20 h 120"/>
                <a:gd name="T32" fmla="*/ 0 w 200"/>
                <a:gd name="T33" fmla="*/ 17 h 120"/>
                <a:gd name="T34" fmla="*/ 2 w 200"/>
                <a:gd name="T35" fmla="*/ 13 h 120"/>
                <a:gd name="T36" fmla="*/ 4 w 200"/>
                <a:gd name="T37" fmla="*/ 9 h 120"/>
                <a:gd name="T38" fmla="*/ 7 w 200"/>
                <a:gd name="T39" fmla="*/ 5 h 120"/>
                <a:gd name="T40" fmla="*/ 9 w 200"/>
                <a:gd name="T41" fmla="*/ 3 h 120"/>
                <a:gd name="T42" fmla="*/ 13 w 200"/>
                <a:gd name="T43" fmla="*/ 2 h 120"/>
                <a:gd name="T44" fmla="*/ 17 w 200"/>
                <a:gd name="T45" fmla="*/ 0 h 120"/>
                <a:gd name="T46" fmla="*/ 20 w 200"/>
                <a:gd name="T47" fmla="*/ 0 h 120"/>
                <a:gd name="T48" fmla="*/ 180 w 200"/>
                <a:gd name="T49" fmla="*/ 0 h 120"/>
                <a:gd name="T50" fmla="*/ 184 w 200"/>
                <a:gd name="T51" fmla="*/ 0 h 120"/>
                <a:gd name="T52" fmla="*/ 188 w 200"/>
                <a:gd name="T53" fmla="*/ 2 h 120"/>
                <a:gd name="T54" fmla="*/ 192 w 200"/>
                <a:gd name="T55" fmla="*/ 3 h 120"/>
                <a:gd name="T56" fmla="*/ 194 w 200"/>
                <a:gd name="T57" fmla="*/ 5 h 120"/>
                <a:gd name="T58" fmla="*/ 197 w 200"/>
                <a:gd name="T59" fmla="*/ 9 h 120"/>
                <a:gd name="T60" fmla="*/ 199 w 200"/>
                <a:gd name="T61" fmla="*/ 13 h 120"/>
                <a:gd name="T62" fmla="*/ 200 w 200"/>
                <a:gd name="T63" fmla="*/ 17 h 120"/>
                <a:gd name="T64" fmla="*/ 200 w 200"/>
                <a:gd name="T65" fmla="*/ 20 h 120"/>
                <a:gd name="T66" fmla="*/ 200 w 200"/>
                <a:gd name="T67" fmla="*/ 100 h 120"/>
                <a:gd name="T68" fmla="*/ 200 w 200"/>
                <a:gd name="T69" fmla="*/ 104 h 120"/>
                <a:gd name="T70" fmla="*/ 199 w 200"/>
                <a:gd name="T71" fmla="*/ 107 h 120"/>
                <a:gd name="T72" fmla="*/ 197 w 200"/>
                <a:gd name="T73" fmla="*/ 111 h 120"/>
                <a:gd name="T74" fmla="*/ 194 w 200"/>
                <a:gd name="T75" fmla="*/ 115 h 120"/>
                <a:gd name="T76" fmla="*/ 192 w 200"/>
                <a:gd name="T77" fmla="*/ 117 h 120"/>
                <a:gd name="T78" fmla="*/ 188 w 200"/>
                <a:gd name="T79" fmla="*/ 118 h 120"/>
                <a:gd name="T80" fmla="*/ 184 w 200"/>
                <a:gd name="T81" fmla="*/ 120 h 120"/>
                <a:gd name="T82" fmla="*/ 180 w 200"/>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 h="120">
                  <a:moveTo>
                    <a:pt x="40" y="80"/>
                  </a:moveTo>
                  <a:lnTo>
                    <a:pt x="161" y="80"/>
                  </a:lnTo>
                  <a:lnTo>
                    <a:pt x="161" y="40"/>
                  </a:lnTo>
                  <a:lnTo>
                    <a:pt x="40" y="40"/>
                  </a:lnTo>
                  <a:lnTo>
                    <a:pt x="40" y="80"/>
                  </a:lnTo>
                  <a:close/>
                  <a:moveTo>
                    <a:pt x="180" y="120"/>
                  </a:moveTo>
                  <a:lnTo>
                    <a:pt x="20" y="120"/>
                  </a:lnTo>
                  <a:lnTo>
                    <a:pt x="17" y="120"/>
                  </a:lnTo>
                  <a:lnTo>
                    <a:pt x="13" y="118"/>
                  </a:lnTo>
                  <a:lnTo>
                    <a:pt x="9" y="117"/>
                  </a:lnTo>
                  <a:lnTo>
                    <a:pt x="7" y="115"/>
                  </a:lnTo>
                  <a:lnTo>
                    <a:pt x="4" y="111"/>
                  </a:lnTo>
                  <a:lnTo>
                    <a:pt x="2" y="107"/>
                  </a:lnTo>
                  <a:lnTo>
                    <a:pt x="0" y="104"/>
                  </a:lnTo>
                  <a:lnTo>
                    <a:pt x="0" y="100"/>
                  </a:lnTo>
                  <a:lnTo>
                    <a:pt x="0" y="20"/>
                  </a:lnTo>
                  <a:lnTo>
                    <a:pt x="0" y="17"/>
                  </a:lnTo>
                  <a:lnTo>
                    <a:pt x="2" y="13"/>
                  </a:lnTo>
                  <a:lnTo>
                    <a:pt x="4" y="9"/>
                  </a:lnTo>
                  <a:lnTo>
                    <a:pt x="7" y="5"/>
                  </a:lnTo>
                  <a:lnTo>
                    <a:pt x="9" y="3"/>
                  </a:lnTo>
                  <a:lnTo>
                    <a:pt x="13" y="2"/>
                  </a:lnTo>
                  <a:lnTo>
                    <a:pt x="17" y="0"/>
                  </a:lnTo>
                  <a:lnTo>
                    <a:pt x="20" y="0"/>
                  </a:lnTo>
                  <a:lnTo>
                    <a:pt x="180" y="0"/>
                  </a:lnTo>
                  <a:lnTo>
                    <a:pt x="184" y="0"/>
                  </a:lnTo>
                  <a:lnTo>
                    <a:pt x="188" y="2"/>
                  </a:lnTo>
                  <a:lnTo>
                    <a:pt x="192" y="3"/>
                  </a:lnTo>
                  <a:lnTo>
                    <a:pt x="194" y="5"/>
                  </a:lnTo>
                  <a:lnTo>
                    <a:pt x="197" y="9"/>
                  </a:lnTo>
                  <a:lnTo>
                    <a:pt x="199" y="13"/>
                  </a:lnTo>
                  <a:lnTo>
                    <a:pt x="200" y="17"/>
                  </a:lnTo>
                  <a:lnTo>
                    <a:pt x="200" y="20"/>
                  </a:lnTo>
                  <a:lnTo>
                    <a:pt x="200" y="100"/>
                  </a:lnTo>
                  <a:lnTo>
                    <a:pt x="200" y="104"/>
                  </a:lnTo>
                  <a:lnTo>
                    <a:pt x="199" y="107"/>
                  </a:lnTo>
                  <a:lnTo>
                    <a:pt x="197" y="111"/>
                  </a:lnTo>
                  <a:lnTo>
                    <a:pt x="194" y="115"/>
                  </a:lnTo>
                  <a:lnTo>
                    <a:pt x="192" y="117"/>
                  </a:lnTo>
                  <a:lnTo>
                    <a:pt x="188" y="118"/>
                  </a:lnTo>
                  <a:lnTo>
                    <a:pt x="184" y="120"/>
                  </a:lnTo>
                  <a:lnTo>
                    <a:pt x="1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26">
              <a:extLst>
                <a:ext uri="{FF2B5EF4-FFF2-40B4-BE49-F238E27FC236}">
                  <a16:creationId xmlns:a16="http://schemas.microsoft.com/office/drawing/2014/main" id="{66C151DE-1059-440B-ABFF-2611ABC861B4}"/>
                </a:ext>
              </a:extLst>
            </p:cNvPr>
            <p:cNvSpPr>
              <a:spLocks noEditPoints="1"/>
            </p:cNvSpPr>
            <p:nvPr/>
          </p:nvSpPr>
          <p:spPr bwMode="auto">
            <a:xfrm>
              <a:off x="871051" y="5686673"/>
              <a:ext cx="221396" cy="73799"/>
            </a:xfrm>
            <a:custGeom>
              <a:avLst/>
              <a:gdLst>
                <a:gd name="T0" fmla="*/ 40 w 361"/>
                <a:gd name="T1" fmla="*/ 81 h 120"/>
                <a:gd name="T2" fmla="*/ 321 w 361"/>
                <a:gd name="T3" fmla="*/ 81 h 120"/>
                <a:gd name="T4" fmla="*/ 321 w 361"/>
                <a:gd name="T5" fmla="*/ 40 h 120"/>
                <a:gd name="T6" fmla="*/ 40 w 361"/>
                <a:gd name="T7" fmla="*/ 40 h 120"/>
                <a:gd name="T8" fmla="*/ 40 w 361"/>
                <a:gd name="T9" fmla="*/ 81 h 120"/>
                <a:gd name="T10" fmla="*/ 341 w 361"/>
                <a:gd name="T11" fmla="*/ 120 h 120"/>
                <a:gd name="T12" fmla="*/ 20 w 361"/>
                <a:gd name="T13" fmla="*/ 120 h 120"/>
                <a:gd name="T14" fmla="*/ 17 w 361"/>
                <a:gd name="T15" fmla="*/ 119 h 120"/>
                <a:gd name="T16" fmla="*/ 13 w 361"/>
                <a:gd name="T17" fmla="*/ 119 h 120"/>
                <a:gd name="T18" fmla="*/ 9 w 361"/>
                <a:gd name="T19" fmla="*/ 117 h 120"/>
                <a:gd name="T20" fmla="*/ 7 w 361"/>
                <a:gd name="T21" fmla="*/ 114 h 120"/>
                <a:gd name="T22" fmla="*/ 4 w 361"/>
                <a:gd name="T23" fmla="*/ 112 h 120"/>
                <a:gd name="T24" fmla="*/ 2 w 361"/>
                <a:gd name="T25" fmla="*/ 108 h 120"/>
                <a:gd name="T26" fmla="*/ 0 w 361"/>
                <a:gd name="T27" fmla="*/ 104 h 120"/>
                <a:gd name="T28" fmla="*/ 0 w 361"/>
                <a:gd name="T29" fmla="*/ 101 h 120"/>
                <a:gd name="T30" fmla="*/ 0 w 361"/>
                <a:gd name="T31" fmla="*/ 20 h 120"/>
                <a:gd name="T32" fmla="*/ 0 w 361"/>
                <a:gd name="T33" fmla="*/ 16 h 120"/>
                <a:gd name="T34" fmla="*/ 2 w 361"/>
                <a:gd name="T35" fmla="*/ 12 h 120"/>
                <a:gd name="T36" fmla="*/ 4 w 361"/>
                <a:gd name="T37" fmla="*/ 9 h 120"/>
                <a:gd name="T38" fmla="*/ 7 w 361"/>
                <a:gd name="T39" fmla="*/ 6 h 120"/>
                <a:gd name="T40" fmla="*/ 9 w 361"/>
                <a:gd name="T41" fmla="*/ 4 h 120"/>
                <a:gd name="T42" fmla="*/ 13 w 361"/>
                <a:gd name="T43" fmla="*/ 1 h 120"/>
                <a:gd name="T44" fmla="*/ 17 w 361"/>
                <a:gd name="T45" fmla="*/ 1 h 120"/>
                <a:gd name="T46" fmla="*/ 20 w 361"/>
                <a:gd name="T47" fmla="*/ 0 h 120"/>
                <a:gd name="T48" fmla="*/ 341 w 361"/>
                <a:gd name="T49" fmla="*/ 0 h 120"/>
                <a:gd name="T50" fmla="*/ 345 w 361"/>
                <a:gd name="T51" fmla="*/ 1 h 120"/>
                <a:gd name="T52" fmla="*/ 348 w 361"/>
                <a:gd name="T53" fmla="*/ 1 h 120"/>
                <a:gd name="T54" fmla="*/ 352 w 361"/>
                <a:gd name="T55" fmla="*/ 4 h 120"/>
                <a:gd name="T56" fmla="*/ 354 w 361"/>
                <a:gd name="T57" fmla="*/ 6 h 120"/>
                <a:gd name="T58" fmla="*/ 357 w 361"/>
                <a:gd name="T59" fmla="*/ 9 h 120"/>
                <a:gd name="T60" fmla="*/ 358 w 361"/>
                <a:gd name="T61" fmla="*/ 12 h 120"/>
                <a:gd name="T62" fmla="*/ 359 w 361"/>
                <a:gd name="T63" fmla="*/ 16 h 120"/>
                <a:gd name="T64" fmla="*/ 361 w 361"/>
                <a:gd name="T65" fmla="*/ 20 h 120"/>
                <a:gd name="T66" fmla="*/ 361 w 361"/>
                <a:gd name="T67" fmla="*/ 101 h 120"/>
                <a:gd name="T68" fmla="*/ 359 w 361"/>
                <a:gd name="T69" fmla="*/ 104 h 120"/>
                <a:gd name="T70" fmla="*/ 358 w 361"/>
                <a:gd name="T71" fmla="*/ 108 h 120"/>
                <a:gd name="T72" fmla="*/ 357 w 361"/>
                <a:gd name="T73" fmla="*/ 112 h 120"/>
                <a:gd name="T74" fmla="*/ 354 w 361"/>
                <a:gd name="T75" fmla="*/ 114 h 120"/>
                <a:gd name="T76" fmla="*/ 352 w 361"/>
                <a:gd name="T77" fmla="*/ 117 h 120"/>
                <a:gd name="T78" fmla="*/ 348 w 361"/>
                <a:gd name="T79" fmla="*/ 119 h 120"/>
                <a:gd name="T80" fmla="*/ 345 w 361"/>
                <a:gd name="T81" fmla="*/ 119 h 120"/>
                <a:gd name="T82" fmla="*/ 341 w 361"/>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120">
                  <a:moveTo>
                    <a:pt x="40" y="81"/>
                  </a:moveTo>
                  <a:lnTo>
                    <a:pt x="321" y="81"/>
                  </a:lnTo>
                  <a:lnTo>
                    <a:pt x="321" y="40"/>
                  </a:lnTo>
                  <a:lnTo>
                    <a:pt x="40" y="40"/>
                  </a:lnTo>
                  <a:lnTo>
                    <a:pt x="40" y="81"/>
                  </a:lnTo>
                  <a:close/>
                  <a:moveTo>
                    <a:pt x="341" y="120"/>
                  </a:moveTo>
                  <a:lnTo>
                    <a:pt x="20" y="120"/>
                  </a:lnTo>
                  <a:lnTo>
                    <a:pt x="17" y="119"/>
                  </a:lnTo>
                  <a:lnTo>
                    <a:pt x="13" y="119"/>
                  </a:lnTo>
                  <a:lnTo>
                    <a:pt x="9" y="117"/>
                  </a:lnTo>
                  <a:lnTo>
                    <a:pt x="7" y="114"/>
                  </a:lnTo>
                  <a:lnTo>
                    <a:pt x="4" y="112"/>
                  </a:lnTo>
                  <a:lnTo>
                    <a:pt x="2" y="108"/>
                  </a:lnTo>
                  <a:lnTo>
                    <a:pt x="0" y="104"/>
                  </a:lnTo>
                  <a:lnTo>
                    <a:pt x="0" y="101"/>
                  </a:lnTo>
                  <a:lnTo>
                    <a:pt x="0" y="20"/>
                  </a:lnTo>
                  <a:lnTo>
                    <a:pt x="0" y="16"/>
                  </a:lnTo>
                  <a:lnTo>
                    <a:pt x="2" y="12"/>
                  </a:lnTo>
                  <a:lnTo>
                    <a:pt x="4" y="9"/>
                  </a:lnTo>
                  <a:lnTo>
                    <a:pt x="7" y="6"/>
                  </a:lnTo>
                  <a:lnTo>
                    <a:pt x="9" y="4"/>
                  </a:lnTo>
                  <a:lnTo>
                    <a:pt x="13" y="1"/>
                  </a:lnTo>
                  <a:lnTo>
                    <a:pt x="17" y="1"/>
                  </a:lnTo>
                  <a:lnTo>
                    <a:pt x="20" y="0"/>
                  </a:lnTo>
                  <a:lnTo>
                    <a:pt x="341" y="0"/>
                  </a:lnTo>
                  <a:lnTo>
                    <a:pt x="345" y="1"/>
                  </a:lnTo>
                  <a:lnTo>
                    <a:pt x="348" y="1"/>
                  </a:lnTo>
                  <a:lnTo>
                    <a:pt x="352" y="4"/>
                  </a:lnTo>
                  <a:lnTo>
                    <a:pt x="354" y="6"/>
                  </a:lnTo>
                  <a:lnTo>
                    <a:pt x="357" y="9"/>
                  </a:lnTo>
                  <a:lnTo>
                    <a:pt x="358" y="12"/>
                  </a:lnTo>
                  <a:lnTo>
                    <a:pt x="359" y="16"/>
                  </a:lnTo>
                  <a:lnTo>
                    <a:pt x="361" y="20"/>
                  </a:lnTo>
                  <a:lnTo>
                    <a:pt x="361" y="101"/>
                  </a:lnTo>
                  <a:lnTo>
                    <a:pt x="359" y="104"/>
                  </a:lnTo>
                  <a:lnTo>
                    <a:pt x="358" y="108"/>
                  </a:lnTo>
                  <a:lnTo>
                    <a:pt x="357" y="112"/>
                  </a:lnTo>
                  <a:lnTo>
                    <a:pt x="354" y="114"/>
                  </a:lnTo>
                  <a:lnTo>
                    <a:pt x="352" y="117"/>
                  </a:lnTo>
                  <a:lnTo>
                    <a:pt x="348" y="119"/>
                  </a:lnTo>
                  <a:lnTo>
                    <a:pt x="345" y="119"/>
                  </a:lnTo>
                  <a:lnTo>
                    <a:pt x="341"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27">
              <a:extLst>
                <a:ext uri="{FF2B5EF4-FFF2-40B4-BE49-F238E27FC236}">
                  <a16:creationId xmlns:a16="http://schemas.microsoft.com/office/drawing/2014/main" id="{2170AD33-5154-4D67-9B07-B4B6E1CF32FC}"/>
                </a:ext>
              </a:extLst>
            </p:cNvPr>
            <p:cNvSpPr>
              <a:spLocks/>
            </p:cNvSpPr>
            <p:nvPr/>
          </p:nvSpPr>
          <p:spPr bwMode="auto">
            <a:xfrm>
              <a:off x="968834" y="5587044"/>
              <a:ext cx="23985" cy="123613"/>
            </a:xfrm>
            <a:custGeom>
              <a:avLst/>
              <a:gdLst>
                <a:gd name="T0" fmla="*/ 20 w 39"/>
                <a:gd name="T1" fmla="*/ 200 h 200"/>
                <a:gd name="T2" fmla="*/ 16 w 39"/>
                <a:gd name="T3" fmla="*/ 200 h 200"/>
                <a:gd name="T4" fmla="*/ 12 w 39"/>
                <a:gd name="T5" fmla="*/ 198 h 200"/>
                <a:gd name="T6" fmla="*/ 8 w 39"/>
                <a:gd name="T7" fmla="*/ 197 h 200"/>
                <a:gd name="T8" fmla="*/ 5 w 39"/>
                <a:gd name="T9" fmla="*/ 195 h 200"/>
                <a:gd name="T10" fmla="*/ 2 w 39"/>
                <a:gd name="T11" fmla="*/ 191 h 200"/>
                <a:gd name="T12" fmla="*/ 1 w 39"/>
                <a:gd name="T13" fmla="*/ 188 h 200"/>
                <a:gd name="T14" fmla="*/ 0 w 39"/>
                <a:gd name="T15" fmla="*/ 185 h 200"/>
                <a:gd name="T16" fmla="*/ 0 w 39"/>
                <a:gd name="T17" fmla="*/ 180 h 200"/>
                <a:gd name="T18" fmla="*/ 0 w 39"/>
                <a:gd name="T19" fmla="*/ 21 h 200"/>
                <a:gd name="T20" fmla="*/ 0 w 39"/>
                <a:gd name="T21" fmla="*/ 16 h 200"/>
                <a:gd name="T22" fmla="*/ 1 w 39"/>
                <a:gd name="T23" fmla="*/ 12 h 200"/>
                <a:gd name="T24" fmla="*/ 2 w 39"/>
                <a:gd name="T25" fmla="*/ 10 h 200"/>
                <a:gd name="T26" fmla="*/ 5 w 39"/>
                <a:gd name="T27" fmla="*/ 6 h 200"/>
                <a:gd name="T28" fmla="*/ 8 w 39"/>
                <a:gd name="T29" fmla="*/ 3 h 200"/>
                <a:gd name="T30" fmla="*/ 12 w 39"/>
                <a:gd name="T31" fmla="*/ 2 h 200"/>
                <a:gd name="T32" fmla="*/ 16 w 39"/>
                <a:gd name="T33" fmla="*/ 1 h 200"/>
                <a:gd name="T34" fmla="*/ 20 w 39"/>
                <a:gd name="T35" fmla="*/ 0 h 200"/>
                <a:gd name="T36" fmla="*/ 23 w 39"/>
                <a:gd name="T37" fmla="*/ 1 h 200"/>
                <a:gd name="T38" fmla="*/ 27 w 39"/>
                <a:gd name="T39" fmla="*/ 2 h 200"/>
                <a:gd name="T40" fmla="*/ 31 w 39"/>
                <a:gd name="T41" fmla="*/ 3 h 200"/>
                <a:gd name="T42" fmla="*/ 33 w 39"/>
                <a:gd name="T43" fmla="*/ 6 h 200"/>
                <a:gd name="T44" fmla="*/ 36 w 39"/>
                <a:gd name="T45" fmla="*/ 10 h 200"/>
                <a:gd name="T46" fmla="*/ 38 w 39"/>
                <a:gd name="T47" fmla="*/ 12 h 200"/>
                <a:gd name="T48" fmla="*/ 39 w 39"/>
                <a:gd name="T49" fmla="*/ 16 h 200"/>
                <a:gd name="T50" fmla="*/ 39 w 39"/>
                <a:gd name="T51" fmla="*/ 21 h 200"/>
                <a:gd name="T52" fmla="*/ 39 w 39"/>
                <a:gd name="T53" fmla="*/ 180 h 200"/>
                <a:gd name="T54" fmla="*/ 39 w 39"/>
                <a:gd name="T55" fmla="*/ 185 h 200"/>
                <a:gd name="T56" fmla="*/ 38 w 39"/>
                <a:gd name="T57" fmla="*/ 188 h 200"/>
                <a:gd name="T58" fmla="*/ 36 w 39"/>
                <a:gd name="T59" fmla="*/ 191 h 200"/>
                <a:gd name="T60" fmla="*/ 33 w 39"/>
                <a:gd name="T61" fmla="*/ 195 h 200"/>
                <a:gd name="T62" fmla="*/ 31 w 39"/>
                <a:gd name="T63" fmla="*/ 197 h 200"/>
                <a:gd name="T64" fmla="*/ 27 w 39"/>
                <a:gd name="T65" fmla="*/ 198 h 200"/>
                <a:gd name="T66" fmla="*/ 23 w 39"/>
                <a:gd name="T67" fmla="*/ 200 h 200"/>
                <a:gd name="T68" fmla="*/ 20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20" y="200"/>
                  </a:moveTo>
                  <a:lnTo>
                    <a:pt x="16" y="200"/>
                  </a:lnTo>
                  <a:lnTo>
                    <a:pt x="12" y="198"/>
                  </a:lnTo>
                  <a:lnTo>
                    <a:pt x="8" y="197"/>
                  </a:lnTo>
                  <a:lnTo>
                    <a:pt x="5" y="195"/>
                  </a:lnTo>
                  <a:lnTo>
                    <a:pt x="2" y="191"/>
                  </a:lnTo>
                  <a:lnTo>
                    <a:pt x="1" y="188"/>
                  </a:lnTo>
                  <a:lnTo>
                    <a:pt x="0" y="185"/>
                  </a:lnTo>
                  <a:lnTo>
                    <a:pt x="0" y="180"/>
                  </a:lnTo>
                  <a:lnTo>
                    <a:pt x="0" y="21"/>
                  </a:lnTo>
                  <a:lnTo>
                    <a:pt x="0" y="16"/>
                  </a:lnTo>
                  <a:lnTo>
                    <a:pt x="1" y="12"/>
                  </a:lnTo>
                  <a:lnTo>
                    <a:pt x="2" y="10"/>
                  </a:lnTo>
                  <a:lnTo>
                    <a:pt x="5" y="6"/>
                  </a:lnTo>
                  <a:lnTo>
                    <a:pt x="8" y="3"/>
                  </a:lnTo>
                  <a:lnTo>
                    <a:pt x="12" y="2"/>
                  </a:lnTo>
                  <a:lnTo>
                    <a:pt x="16" y="1"/>
                  </a:lnTo>
                  <a:lnTo>
                    <a:pt x="20" y="0"/>
                  </a:lnTo>
                  <a:lnTo>
                    <a:pt x="23" y="1"/>
                  </a:lnTo>
                  <a:lnTo>
                    <a:pt x="27" y="2"/>
                  </a:lnTo>
                  <a:lnTo>
                    <a:pt x="31" y="3"/>
                  </a:lnTo>
                  <a:lnTo>
                    <a:pt x="33" y="6"/>
                  </a:lnTo>
                  <a:lnTo>
                    <a:pt x="36" y="10"/>
                  </a:lnTo>
                  <a:lnTo>
                    <a:pt x="38" y="12"/>
                  </a:lnTo>
                  <a:lnTo>
                    <a:pt x="39" y="16"/>
                  </a:lnTo>
                  <a:lnTo>
                    <a:pt x="39" y="21"/>
                  </a:lnTo>
                  <a:lnTo>
                    <a:pt x="39" y="180"/>
                  </a:lnTo>
                  <a:lnTo>
                    <a:pt x="39" y="185"/>
                  </a:lnTo>
                  <a:lnTo>
                    <a:pt x="38" y="188"/>
                  </a:lnTo>
                  <a:lnTo>
                    <a:pt x="36" y="191"/>
                  </a:lnTo>
                  <a:lnTo>
                    <a:pt x="33" y="195"/>
                  </a:lnTo>
                  <a:lnTo>
                    <a:pt x="31" y="197"/>
                  </a:lnTo>
                  <a:lnTo>
                    <a:pt x="27" y="198"/>
                  </a:lnTo>
                  <a:lnTo>
                    <a:pt x="23"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28">
              <a:extLst>
                <a:ext uri="{FF2B5EF4-FFF2-40B4-BE49-F238E27FC236}">
                  <a16:creationId xmlns:a16="http://schemas.microsoft.com/office/drawing/2014/main" id="{FBD5B190-EB53-479F-BF1B-06B0A5216887}"/>
                </a:ext>
              </a:extLst>
            </p:cNvPr>
            <p:cNvSpPr>
              <a:spLocks/>
            </p:cNvSpPr>
            <p:nvPr/>
          </p:nvSpPr>
          <p:spPr bwMode="auto">
            <a:xfrm>
              <a:off x="747438" y="5784456"/>
              <a:ext cx="23985" cy="123613"/>
            </a:xfrm>
            <a:custGeom>
              <a:avLst/>
              <a:gdLst>
                <a:gd name="T0" fmla="*/ 19 w 39"/>
                <a:gd name="T1" fmla="*/ 200 h 200"/>
                <a:gd name="T2" fmla="*/ 16 w 39"/>
                <a:gd name="T3" fmla="*/ 200 h 200"/>
                <a:gd name="T4" fmla="*/ 12 w 39"/>
                <a:gd name="T5" fmla="*/ 199 h 200"/>
                <a:gd name="T6" fmla="*/ 8 w 39"/>
                <a:gd name="T7" fmla="*/ 196 h 200"/>
                <a:gd name="T8" fmla="*/ 6 w 39"/>
                <a:gd name="T9" fmla="*/ 194 h 200"/>
                <a:gd name="T10" fmla="*/ 3 w 39"/>
                <a:gd name="T11" fmla="*/ 191 h 200"/>
                <a:gd name="T12" fmla="*/ 1 w 39"/>
                <a:gd name="T13" fmla="*/ 188 h 200"/>
                <a:gd name="T14" fmla="*/ 0 w 39"/>
                <a:gd name="T15" fmla="*/ 184 h 200"/>
                <a:gd name="T16" fmla="*/ 0 w 39"/>
                <a:gd name="T17" fmla="*/ 180 h 200"/>
                <a:gd name="T18" fmla="*/ 0 w 39"/>
                <a:gd name="T19" fmla="*/ 20 h 200"/>
                <a:gd name="T20" fmla="*/ 0 w 39"/>
                <a:gd name="T21" fmla="*/ 16 h 200"/>
                <a:gd name="T22" fmla="*/ 1 w 39"/>
                <a:gd name="T23" fmla="*/ 13 h 200"/>
                <a:gd name="T24" fmla="*/ 3 w 39"/>
                <a:gd name="T25" fmla="*/ 9 h 200"/>
                <a:gd name="T26" fmla="*/ 6 w 39"/>
                <a:gd name="T27" fmla="*/ 6 h 200"/>
                <a:gd name="T28" fmla="*/ 8 w 39"/>
                <a:gd name="T29" fmla="*/ 4 h 200"/>
                <a:gd name="T30" fmla="*/ 12 w 39"/>
                <a:gd name="T31" fmla="*/ 1 h 200"/>
                <a:gd name="T32" fmla="*/ 16 w 39"/>
                <a:gd name="T33" fmla="*/ 0 h 200"/>
                <a:gd name="T34" fmla="*/ 19 w 39"/>
                <a:gd name="T35" fmla="*/ 0 h 200"/>
                <a:gd name="T36" fmla="*/ 23 w 39"/>
                <a:gd name="T37" fmla="*/ 0 h 200"/>
                <a:gd name="T38" fmla="*/ 27 w 39"/>
                <a:gd name="T39" fmla="*/ 1 h 200"/>
                <a:gd name="T40" fmla="*/ 31 w 39"/>
                <a:gd name="T41" fmla="*/ 4 h 200"/>
                <a:gd name="T42" fmla="*/ 33 w 39"/>
                <a:gd name="T43" fmla="*/ 6 h 200"/>
                <a:gd name="T44" fmla="*/ 36 w 39"/>
                <a:gd name="T45" fmla="*/ 9 h 200"/>
                <a:gd name="T46" fmla="*/ 38 w 39"/>
                <a:gd name="T47" fmla="*/ 13 h 200"/>
                <a:gd name="T48" fmla="*/ 39 w 39"/>
                <a:gd name="T49" fmla="*/ 16 h 200"/>
                <a:gd name="T50" fmla="*/ 39 w 39"/>
                <a:gd name="T51" fmla="*/ 20 h 200"/>
                <a:gd name="T52" fmla="*/ 39 w 39"/>
                <a:gd name="T53" fmla="*/ 180 h 200"/>
                <a:gd name="T54" fmla="*/ 39 w 39"/>
                <a:gd name="T55" fmla="*/ 184 h 200"/>
                <a:gd name="T56" fmla="*/ 38 w 39"/>
                <a:gd name="T57" fmla="*/ 188 h 200"/>
                <a:gd name="T58" fmla="*/ 36 w 39"/>
                <a:gd name="T59" fmla="*/ 191 h 200"/>
                <a:gd name="T60" fmla="*/ 33 w 39"/>
                <a:gd name="T61" fmla="*/ 194 h 200"/>
                <a:gd name="T62" fmla="*/ 31 w 39"/>
                <a:gd name="T63" fmla="*/ 196 h 200"/>
                <a:gd name="T64" fmla="*/ 27 w 39"/>
                <a:gd name="T65" fmla="*/ 199 h 200"/>
                <a:gd name="T66" fmla="*/ 23 w 39"/>
                <a:gd name="T67" fmla="*/ 200 h 200"/>
                <a:gd name="T68" fmla="*/ 19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19" y="200"/>
                  </a:moveTo>
                  <a:lnTo>
                    <a:pt x="16" y="200"/>
                  </a:lnTo>
                  <a:lnTo>
                    <a:pt x="12" y="199"/>
                  </a:lnTo>
                  <a:lnTo>
                    <a:pt x="8" y="196"/>
                  </a:lnTo>
                  <a:lnTo>
                    <a:pt x="6" y="194"/>
                  </a:lnTo>
                  <a:lnTo>
                    <a:pt x="3" y="191"/>
                  </a:lnTo>
                  <a:lnTo>
                    <a:pt x="1" y="188"/>
                  </a:lnTo>
                  <a:lnTo>
                    <a:pt x="0" y="184"/>
                  </a:lnTo>
                  <a:lnTo>
                    <a:pt x="0" y="180"/>
                  </a:lnTo>
                  <a:lnTo>
                    <a:pt x="0" y="20"/>
                  </a:lnTo>
                  <a:lnTo>
                    <a:pt x="0" y="16"/>
                  </a:lnTo>
                  <a:lnTo>
                    <a:pt x="1" y="13"/>
                  </a:lnTo>
                  <a:lnTo>
                    <a:pt x="3" y="9"/>
                  </a:lnTo>
                  <a:lnTo>
                    <a:pt x="6" y="6"/>
                  </a:lnTo>
                  <a:lnTo>
                    <a:pt x="8" y="4"/>
                  </a:lnTo>
                  <a:lnTo>
                    <a:pt x="12" y="1"/>
                  </a:lnTo>
                  <a:lnTo>
                    <a:pt x="16" y="0"/>
                  </a:lnTo>
                  <a:lnTo>
                    <a:pt x="19" y="0"/>
                  </a:lnTo>
                  <a:lnTo>
                    <a:pt x="23" y="0"/>
                  </a:lnTo>
                  <a:lnTo>
                    <a:pt x="27" y="1"/>
                  </a:lnTo>
                  <a:lnTo>
                    <a:pt x="31" y="4"/>
                  </a:lnTo>
                  <a:lnTo>
                    <a:pt x="33" y="6"/>
                  </a:lnTo>
                  <a:lnTo>
                    <a:pt x="36" y="9"/>
                  </a:lnTo>
                  <a:lnTo>
                    <a:pt x="38" y="13"/>
                  </a:lnTo>
                  <a:lnTo>
                    <a:pt x="39" y="16"/>
                  </a:lnTo>
                  <a:lnTo>
                    <a:pt x="39" y="20"/>
                  </a:lnTo>
                  <a:lnTo>
                    <a:pt x="39" y="180"/>
                  </a:lnTo>
                  <a:lnTo>
                    <a:pt x="39" y="184"/>
                  </a:lnTo>
                  <a:lnTo>
                    <a:pt x="38" y="188"/>
                  </a:lnTo>
                  <a:lnTo>
                    <a:pt x="36" y="191"/>
                  </a:lnTo>
                  <a:lnTo>
                    <a:pt x="33" y="194"/>
                  </a:lnTo>
                  <a:lnTo>
                    <a:pt x="31" y="196"/>
                  </a:lnTo>
                  <a:lnTo>
                    <a:pt x="27" y="199"/>
                  </a:lnTo>
                  <a:lnTo>
                    <a:pt x="23" y="200"/>
                  </a:lnTo>
                  <a:lnTo>
                    <a:pt x="19"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29">
              <a:extLst>
                <a:ext uri="{FF2B5EF4-FFF2-40B4-BE49-F238E27FC236}">
                  <a16:creationId xmlns:a16="http://schemas.microsoft.com/office/drawing/2014/main" id="{81F6732C-5DB5-493E-B775-7062B97859A4}"/>
                </a:ext>
              </a:extLst>
            </p:cNvPr>
            <p:cNvSpPr>
              <a:spLocks/>
            </p:cNvSpPr>
            <p:nvPr/>
          </p:nvSpPr>
          <p:spPr bwMode="auto">
            <a:xfrm>
              <a:off x="1166246" y="5784456"/>
              <a:ext cx="23985" cy="123613"/>
            </a:xfrm>
            <a:custGeom>
              <a:avLst/>
              <a:gdLst>
                <a:gd name="T0" fmla="*/ 20 w 40"/>
                <a:gd name="T1" fmla="*/ 200 h 200"/>
                <a:gd name="T2" fmla="*/ 16 w 40"/>
                <a:gd name="T3" fmla="*/ 200 h 200"/>
                <a:gd name="T4" fmla="*/ 12 w 40"/>
                <a:gd name="T5" fmla="*/ 199 h 200"/>
                <a:gd name="T6" fmla="*/ 9 w 40"/>
                <a:gd name="T7" fmla="*/ 196 h 200"/>
                <a:gd name="T8" fmla="*/ 6 w 40"/>
                <a:gd name="T9" fmla="*/ 194 h 200"/>
                <a:gd name="T10" fmla="*/ 4 w 40"/>
                <a:gd name="T11" fmla="*/ 191 h 200"/>
                <a:gd name="T12" fmla="*/ 2 w 40"/>
                <a:gd name="T13" fmla="*/ 188 h 200"/>
                <a:gd name="T14" fmla="*/ 1 w 40"/>
                <a:gd name="T15" fmla="*/ 184 h 200"/>
                <a:gd name="T16" fmla="*/ 0 w 40"/>
                <a:gd name="T17" fmla="*/ 180 h 200"/>
                <a:gd name="T18" fmla="*/ 0 w 40"/>
                <a:gd name="T19" fmla="*/ 20 h 200"/>
                <a:gd name="T20" fmla="*/ 1 w 40"/>
                <a:gd name="T21" fmla="*/ 16 h 200"/>
                <a:gd name="T22" fmla="*/ 2 w 40"/>
                <a:gd name="T23" fmla="*/ 13 h 200"/>
                <a:gd name="T24" fmla="*/ 4 w 40"/>
                <a:gd name="T25" fmla="*/ 9 h 200"/>
                <a:gd name="T26" fmla="*/ 6 w 40"/>
                <a:gd name="T27" fmla="*/ 6 h 200"/>
                <a:gd name="T28" fmla="*/ 9 w 40"/>
                <a:gd name="T29" fmla="*/ 4 h 200"/>
                <a:gd name="T30" fmla="*/ 12 w 40"/>
                <a:gd name="T31" fmla="*/ 1 h 200"/>
                <a:gd name="T32" fmla="*/ 16 w 40"/>
                <a:gd name="T33" fmla="*/ 0 h 200"/>
                <a:gd name="T34" fmla="*/ 20 w 40"/>
                <a:gd name="T35" fmla="*/ 0 h 200"/>
                <a:gd name="T36" fmla="*/ 25 w 40"/>
                <a:gd name="T37" fmla="*/ 0 h 200"/>
                <a:gd name="T38" fmla="*/ 28 w 40"/>
                <a:gd name="T39" fmla="*/ 1 h 200"/>
                <a:gd name="T40" fmla="*/ 31 w 40"/>
                <a:gd name="T41" fmla="*/ 4 h 200"/>
                <a:gd name="T42" fmla="*/ 35 w 40"/>
                <a:gd name="T43" fmla="*/ 6 h 200"/>
                <a:gd name="T44" fmla="*/ 37 w 40"/>
                <a:gd name="T45" fmla="*/ 9 h 200"/>
                <a:gd name="T46" fmla="*/ 38 w 40"/>
                <a:gd name="T47" fmla="*/ 13 h 200"/>
                <a:gd name="T48" fmla="*/ 40 w 40"/>
                <a:gd name="T49" fmla="*/ 16 h 200"/>
                <a:gd name="T50" fmla="*/ 40 w 40"/>
                <a:gd name="T51" fmla="*/ 20 h 200"/>
                <a:gd name="T52" fmla="*/ 40 w 40"/>
                <a:gd name="T53" fmla="*/ 180 h 200"/>
                <a:gd name="T54" fmla="*/ 40 w 40"/>
                <a:gd name="T55" fmla="*/ 184 h 200"/>
                <a:gd name="T56" fmla="*/ 38 w 40"/>
                <a:gd name="T57" fmla="*/ 188 h 200"/>
                <a:gd name="T58" fmla="*/ 37 w 40"/>
                <a:gd name="T59" fmla="*/ 191 h 200"/>
                <a:gd name="T60" fmla="*/ 35 w 40"/>
                <a:gd name="T61" fmla="*/ 194 h 200"/>
                <a:gd name="T62" fmla="*/ 31 w 40"/>
                <a:gd name="T63" fmla="*/ 196 h 200"/>
                <a:gd name="T64" fmla="*/ 28 w 40"/>
                <a:gd name="T65" fmla="*/ 199 h 200"/>
                <a:gd name="T66" fmla="*/ 25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6" y="200"/>
                  </a:lnTo>
                  <a:lnTo>
                    <a:pt x="12" y="199"/>
                  </a:lnTo>
                  <a:lnTo>
                    <a:pt x="9" y="196"/>
                  </a:lnTo>
                  <a:lnTo>
                    <a:pt x="6" y="194"/>
                  </a:lnTo>
                  <a:lnTo>
                    <a:pt x="4" y="191"/>
                  </a:lnTo>
                  <a:lnTo>
                    <a:pt x="2" y="188"/>
                  </a:lnTo>
                  <a:lnTo>
                    <a:pt x="1" y="184"/>
                  </a:lnTo>
                  <a:lnTo>
                    <a:pt x="0" y="180"/>
                  </a:lnTo>
                  <a:lnTo>
                    <a:pt x="0" y="20"/>
                  </a:lnTo>
                  <a:lnTo>
                    <a:pt x="1" y="16"/>
                  </a:lnTo>
                  <a:lnTo>
                    <a:pt x="2" y="13"/>
                  </a:lnTo>
                  <a:lnTo>
                    <a:pt x="4" y="9"/>
                  </a:lnTo>
                  <a:lnTo>
                    <a:pt x="6" y="6"/>
                  </a:lnTo>
                  <a:lnTo>
                    <a:pt x="9" y="4"/>
                  </a:lnTo>
                  <a:lnTo>
                    <a:pt x="12" y="1"/>
                  </a:lnTo>
                  <a:lnTo>
                    <a:pt x="16" y="0"/>
                  </a:lnTo>
                  <a:lnTo>
                    <a:pt x="20" y="0"/>
                  </a:lnTo>
                  <a:lnTo>
                    <a:pt x="25" y="0"/>
                  </a:lnTo>
                  <a:lnTo>
                    <a:pt x="28" y="1"/>
                  </a:lnTo>
                  <a:lnTo>
                    <a:pt x="31" y="4"/>
                  </a:lnTo>
                  <a:lnTo>
                    <a:pt x="35" y="6"/>
                  </a:lnTo>
                  <a:lnTo>
                    <a:pt x="37" y="9"/>
                  </a:lnTo>
                  <a:lnTo>
                    <a:pt x="38" y="13"/>
                  </a:lnTo>
                  <a:lnTo>
                    <a:pt x="40" y="16"/>
                  </a:lnTo>
                  <a:lnTo>
                    <a:pt x="40" y="20"/>
                  </a:lnTo>
                  <a:lnTo>
                    <a:pt x="40" y="180"/>
                  </a:lnTo>
                  <a:lnTo>
                    <a:pt x="40" y="184"/>
                  </a:lnTo>
                  <a:lnTo>
                    <a:pt x="38" y="188"/>
                  </a:lnTo>
                  <a:lnTo>
                    <a:pt x="37" y="191"/>
                  </a:lnTo>
                  <a:lnTo>
                    <a:pt x="35" y="194"/>
                  </a:lnTo>
                  <a:lnTo>
                    <a:pt x="31" y="196"/>
                  </a:lnTo>
                  <a:lnTo>
                    <a:pt x="28" y="199"/>
                  </a:lnTo>
                  <a:lnTo>
                    <a:pt x="25"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30">
              <a:extLst>
                <a:ext uri="{FF2B5EF4-FFF2-40B4-BE49-F238E27FC236}">
                  <a16:creationId xmlns:a16="http://schemas.microsoft.com/office/drawing/2014/main" id="{24AA73C6-BF5F-429E-8396-7E27B9111B37}"/>
                </a:ext>
              </a:extLst>
            </p:cNvPr>
            <p:cNvSpPr>
              <a:spLocks/>
            </p:cNvSpPr>
            <p:nvPr/>
          </p:nvSpPr>
          <p:spPr bwMode="auto">
            <a:xfrm>
              <a:off x="871051" y="5808440"/>
              <a:ext cx="221396" cy="25830"/>
            </a:xfrm>
            <a:custGeom>
              <a:avLst/>
              <a:gdLst>
                <a:gd name="T0" fmla="*/ 341 w 361"/>
                <a:gd name="T1" fmla="*/ 40 h 40"/>
                <a:gd name="T2" fmla="*/ 20 w 361"/>
                <a:gd name="T3" fmla="*/ 40 h 40"/>
                <a:gd name="T4" fmla="*/ 17 w 361"/>
                <a:gd name="T5" fmla="*/ 40 h 40"/>
                <a:gd name="T6" fmla="*/ 13 w 361"/>
                <a:gd name="T7" fmla="*/ 38 h 40"/>
                <a:gd name="T8" fmla="*/ 9 w 361"/>
                <a:gd name="T9" fmla="*/ 37 h 40"/>
                <a:gd name="T10" fmla="*/ 7 w 361"/>
                <a:gd name="T11" fmla="*/ 35 h 40"/>
                <a:gd name="T12" fmla="*/ 4 w 361"/>
                <a:gd name="T13" fmla="*/ 31 h 40"/>
                <a:gd name="T14" fmla="*/ 2 w 361"/>
                <a:gd name="T15" fmla="*/ 28 h 40"/>
                <a:gd name="T16" fmla="*/ 0 w 361"/>
                <a:gd name="T17" fmla="*/ 24 h 40"/>
                <a:gd name="T18" fmla="*/ 0 w 361"/>
                <a:gd name="T19" fmla="*/ 20 h 40"/>
                <a:gd name="T20" fmla="*/ 0 w 361"/>
                <a:gd name="T21" fmla="*/ 16 h 40"/>
                <a:gd name="T22" fmla="*/ 2 w 361"/>
                <a:gd name="T23" fmla="*/ 12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2 h 40"/>
                <a:gd name="T50" fmla="*/ 359 w 361"/>
                <a:gd name="T51" fmla="*/ 16 h 40"/>
                <a:gd name="T52" fmla="*/ 361 w 361"/>
                <a:gd name="T53" fmla="*/ 20 h 40"/>
                <a:gd name="T54" fmla="*/ 359 w 361"/>
                <a:gd name="T55" fmla="*/ 24 h 40"/>
                <a:gd name="T56" fmla="*/ 358 w 361"/>
                <a:gd name="T57" fmla="*/ 28 h 40"/>
                <a:gd name="T58" fmla="*/ 357 w 361"/>
                <a:gd name="T59" fmla="*/ 31 h 40"/>
                <a:gd name="T60" fmla="*/ 354 w 361"/>
                <a:gd name="T61" fmla="*/ 35 h 40"/>
                <a:gd name="T62" fmla="*/ 352 w 361"/>
                <a:gd name="T63" fmla="*/ 37 h 40"/>
                <a:gd name="T64" fmla="*/ 348 w 361"/>
                <a:gd name="T65" fmla="*/ 38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8"/>
                  </a:lnTo>
                  <a:lnTo>
                    <a:pt x="9" y="37"/>
                  </a:lnTo>
                  <a:lnTo>
                    <a:pt x="7" y="35"/>
                  </a:lnTo>
                  <a:lnTo>
                    <a:pt x="4" y="31"/>
                  </a:lnTo>
                  <a:lnTo>
                    <a:pt x="2" y="28"/>
                  </a:lnTo>
                  <a:lnTo>
                    <a:pt x="0" y="24"/>
                  </a:lnTo>
                  <a:lnTo>
                    <a:pt x="0" y="20"/>
                  </a:lnTo>
                  <a:lnTo>
                    <a:pt x="0" y="16"/>
                  </a:lnTo>
                  <a:lnTo>
                    <a:pt x="2" y="12"/>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2"/>
                  </a:lnTo>
                  <a:lnTo>
                    <a:pt x="359" y="16"/>
                  </a:lnTo>
                  <a:lnTo>
                    <a:pt x="361" y="20"/>
                  </a:lnTo>
                  <a:lnTo>
                    <a:pt x="359" y="24"/>
                  </a:lnTo>
                  <a:lnTo>
                    <a:pt x="358" y="28"/>
                  </a:lnTo>
                  <a:lnTo>
                    <a:pt x="357" y="31"/>
                  </a:lnTo>
                  <a:lnTo>
                    <a:pt x="354" y="35"/>
                  </a:lnTo>
                  <a:lnTo>
                    <a:pt x="352" y="37"/>
                  </a:lnTo>
                  <a:lnTo>
                    <a:pt x="348" y="38"/>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31">
              <a:extLst>
                <a:ext uri="{FF2B5EF4-FFF2-40B4-BE49-F238E27FC236}">
                  <a16:creationId xmlns:a16="http://schemas.microsoft.com/office/drawing/2014/main" id="{3DDB219B-0030-48B6-91B9-04B360E9E172}"/>
                </a:ext>
              </a:extLst>
            </p:cNvPr>
            <p:cNvSpPr>
              <a:spLocks/>
            </p:cNvSpPr>
            <p:nvPr/>
          </p:nvSpPr>
          <p:spPr bwMode="auto">
            <a:xfrm>
              <a:off x="871051" y="5882239"/>
              <a:ext cx="221396" cy="25830"/>
            </a:xfrm>
            <a:custGeom>
              <a:avLst/>
              <a:gdLst>
                <a:gd name="T0" fmla="*/ 341 w 361"/>
                <a:gd name="T1" fmla="*/ 40 h 40"/>
                <a:gd name="T2" fmla="*/ 20 w 361"/>
                <a:gd name="T3" fmla="*/ 40 h 40"/>
                <a:gd name="T4" fmla="*/ 17 w 361"/>
                <a:gd name="T5" fmla="*/ 40 h 40"/>
                <a:gd name="T6" fmla="*/ 13 w 361"/>
                <a:gd name="T7" fmla="*/ 39 h 40"/>
                <a:gd name="T8" fmla="*/ 9 w 361"/>
                <a:gd name="T9" fmla="*/ 36 h 40"/>
                <a:gd name="T10" fmla="*/ 7 w 361"/>
                <a:gd name="T11" fmla="*/ 34 h 40"/>
                <a:gd name="T12" fmla="*/ 4 w 361"/>
                <a:gd name="T13" fmla="*/ 31 h 40"/>
                <a:gd name="T14" fmla="*/ 2 w 361"/>
                <a:gd name="T15" fmla="*/ 28 h 40"/>
                <a:gd name="T16" fmla="*/ 0 w 361"/>
                <a:gd name="T17" fmla="*/ 24 h 40"/>
                <a:gd name="T18" fmla="*/ 0 w 361"/>
                <a:gd name="T19" fmla="*/ 20 h 40"/>
                <a:gd name="T20" fmla="*/ 0 w 361"/>
                <a:gd name="T21" fmla="*/ 17 h 40"/>
                <a:gd name="T22" fmla="*/ 2 w 361"/>
                <a:gd name="T23" fmla="*/ 13 h 40"/>
                <a:gd name="T24" fmla="*/ 4 w 361"/>
                <a:gd name="T25" fmla="*/ 9 h 40"/>
                <a:gd name="T26" fmla="*/ 7 w 361"/>
                <a:gd name="T27" fmla="*/ 5 h 40"/>
                <a:gd name="T28" fmla="*/ 9 w 361"/>
                <a:gd name="T29" fmla="*/ 3 h 40"/>
                <a:gd name="T30" fmla="*/ 13 w 361"/>
                <a:gd name="T31" fmla="*/ 2 h 40"/>
                <a:gd name="T32" fmla="*/ 17 w 361"/>
                <a:gd name="T33" fmla="*/ 0 h 40"/>
                <a:gd name="T34" fmla="*/ 20 w 361"/>
                <a:gd name="T35" fmla="*/ 0 h 40"/>
                <a:gd name="T36" fmla="*/ 341 w 361"/>
                <a:gd name="T37" fmla="*/ 0 h 40"/>
                <a:gd name="T38" fmla="*/ 345 w 361"/>
                <a:gd name="T39" fmla="*/ 0 h 40"/>
                <a:gd name="T40" fmla="*/ 348 w 361"/>
                <a:gd name="T41" fmla="*/ 2 h 40"/>
                <a:gd name="T42" fmla="*/ 352 w 361"/>
                <a:gd name="T43" fmla="*/ 3 h 40"/>
                <a:gd name="T44" fmla="*/ 354 w 361"/>
                <a:gd name="T45" fmla="*/ 5 h 40"/>
                <a:gd name="T46" fmla="*/ 357 w 361"/>
                <a:gd name="T47" fmla="*/ 9 h 40"/>
                <a:gd name="T48" fmla="*/ 358 w 361"/>
                <a:gd name="T49" fmla="*/ 13 h 40"/>
                <a:gd name="T50" fmla="*/ 359 w 361"/>
                <a:gd name="T51" fmla="*/ 17 h 40"/>
                <a:gd name="T52" fmla="*/ 361 w 361"/>
                <a:gd name="T53" fmla="*/ 20 h 40"/>
                <a:gd name="T54" fmla="*/ 359 w 361"/>
                <a:gd name="T55" fmla="*/ 24 h 40"/>
                <a:gd name="T56" fmla="*/ 358 w 361"/>
                <a:gd name="T57" fmla="*/ 28 h 40"/>
                <a:gd name="T58" fmla="*/ 357 w 361"/>
                <a:gd name="T59" fmla="*/ 31 h 40"/>
                <a:gd name="T60" fmla="*/ 354 w 361"/>
                <a:gd name="T61" fmla="*/ 34 h 40"/>
                <a:gd name="T62" fmla="*/ 352 w 361"/>
                <a:gd name="T63" fmla="*/ 36 h 40"/>
                <a:gd name="T64" fmla="*/ 348 w 361"/>
                <a:gd name="T65" fmla="*/ 39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9"/>
                  </a:lnTo>
                  <a:lnTo>
                    <a:pt x="9" y="36"/>
                  </a:lnTo>
                  <a:lnTo>
                    <a:pt x="7" y="34"/>
                  </a:lnTo>
                  <a:lnTo>
                    <a:pt x="4" y="31"/>
                  </a:lnTo>
                  <a:lnTo>
                    <a:pt x="2" y="28"/>
                  </a:lnTo>
                  <a:lnTo>
                    <a:pt x="0" y="24"/>
                  </a:lnTo>
                  <a:lnTo>
                    <a:pt x="0" y="20"/>
                  </a:lnTo>
                  <a:lnTo>
                    <a:pt x="0" y="17"/>
                  </a:lnTo>
                  <a:lnTo>
                    <a:pt x="2" y="13"/>
                  </a:lnTo>
                  <a:lnTo>
                    <a:pt x="4" y="9"/>
                  </a:lnTo>
                  <a:lnTo>
                    <a:pt x="7" y="5"/>
                  </a:lnTo>
                  <a:lnTo>
                    <a:pt x="9" y="3"/>
                  </a:lnTo>
                  <a:lnTo>
                    <a:pt x="13" y="2"/>
                  </a:lnTo>
                  <a:lnTo>
                    <a:pt x="17" y="0"/>
                  </a:lnTo>
                  <a:lnTo>
                    <a:pt x="20" y="0"/>
                  </a:lnTo>
                  <a:lnTo>
                    <a:pt x="341" y="0"/>
                  </a:lnTo>
                  <a:lnTo>
                    <a:pt x="345" y="0"/>
                  </a:lnTo>
                  <a:lnTo>
                    <a:pt x="348" y="2"/>
                  </a:lnTo>
                  <a:lnTo>
                    <a:pt x="352" y="3"/>
                  </a:lnTo>
                  <a:lnTo>
                    <a:pt x="354" y="5"/>
                  </a:lnTo>
                  <a:lnTo>
                    <a:pt x="357" y="9"/>
                  </a:lnTo>
                  <a:lnTo>
                    <a:pt x="358" y="13"/>
                  </a:lnTo>
                  <a:lnTo>
                    <a:pt x="359" y="17"/>
                  </a:lnTo>
                  <a:lnTo>
                    <a:pt x="361" y="20"/>
                  </a:lnTo>
                  <a:lnTo>
                    <a:pt x="359" y="24"/>
                  </a:lnTo>
                  <a:lnTo>
                    <a:pt x="358" y="28"/>
                  </a:lnTo>
                  <a:lnTo>
                    <a:pt x="357" y="31"/>
                  </a:lnTo>
                  <a:lnTo>
                    <a:pt x="354" y="34"/>
                  </a:lnTo>
                  <a:lnTo>
                    <a:pt x="352" y="36"/>
                  </a:lnTo>
                  <a:lnTo>
                    <a:pt x="348" y="39"/>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32">
              <a:extLst>
                <a:ext uri="{FF2B5EF4-FFF2-40B4-BE49-F238E27FC236}">
                  <a16:creationId xmlns:a16="http://schemas.microsoft.com/office/drawing/2014/main" id="{C0FF3F62-65DD-4DDE-90F1-5877F0FD1849}"/>
                </a:ext>
              </a:extLst>
            </p:cNvPr>
            <p:cNvSpPr>
              <a:spLocks/>
            </p:cNvSpPr>
            <p:nvPr/>
          </p:nvSpPr>
          <p:spPr bwMode="auto">
            <a:xfrm>
              <a:off x="871051" y="5956038"/>
              <a:ext cx="221396" cy="23985"/>
            </a:xfrm>
            <a:custGeom>
              <a:avLst/>
              <a:gdLst>
                <a:gd name="T0" fmla="*/ 341 w 361"/>
                <a:gd name="T1" fmla="*/ 39 h 39"/>
                <a:gd name="T2" fmla="*/ 20 w 361"/>
                <a:gd name="T3" fmla="*/ 39 h 39"/>
                <a:gd name="T4" fmla="*/ 17 w 361"/>
                <a:gd name="T5" fmla="*/ 39 h 39"/>
                <a:gd name="T6" fmla="*/ 13 w 361"/>
                <a:gd name="T7" fmla="*/ 38 h 39"/>
                <a:gd name="T8" fmla="*/ 9 w 361"/>
                <a:gd name="T9" fmla="*/ 37 h 39"/>
                <a:gd name="T10" fmla="*/ 7 w 361"/>
                <a:gd name="T11" fmla="*/ 34 h 39"/>
                <a:gd name="T12" fmla="*/ 4 w 361"/>
                <a:gd name="T13" fmla="*/ 31 h 39"/>
                <a:gd name="T14" fmla="*/ 2 w 361"/>
                <a:gd name="T15" fmla="*/ 28 h 39"/>
                <a:gd name="T16" fmla="*/ 0 w 361"/>
                <a:gd name="T17" fmla="*/ 25 h 39"/>
                <a:gd name="T18" fmla="*/ 0 w 361"/>
                <a:gd name="T19" fmla="*/ 20 h 39"/>
                <a:gd name="T20" fmla="*/ 0 w 361"/>
                <a:gd name="T21" fmla="*/ 16 h 39"/>
                <a:gd name="T22" fmla="*/ 2 w 361"/>
                <a:gd name="T23" fmla="*/ 12 h 39"/>
                <a:gd name="T24" fmla="*/ 4 w 361"/>
                <a:gd name="T25" fmla="*/ 8 h 39"/>
                <a:gd name="T26" fmla="*/ 7 w 361"/>
                <a:gd name="T27" fmla="*/ 6 h 39"/>
                <a:gd name="T28" fmla="*/ 9 w 361"/>
                <a:gd name="T29" fmla="*/ 3 h 39"/>
                <a:gd name="T30" fmla="*/ 13 w 361"/>
                <a:gd name="T31" fmla="*/ 2 h 39"/>
                <a:gd name="T32" fmla="*/ 17 w 361"/>
                <a:gd name="T33" fmla="*/ 1 h 39"/>
                <a:gd name="T34" fmla="*/ 20 w 361"/>
                <a:gd name="T35" fmla="*/ 0 h 39"/>
                <a:gd name="T36" fmla="*/ 341 w 361"/>
                <a:gd name="T37" fmla="*/ 0 h 39"/>
                <a:gd name="T38" fmla="*/ 345 w 361"/>
                <a:gd name="T39" fmla="*/ 1 h 39"/>
                <a:gd name="T40" fmla="*/ 348 w 361"/>
                <a:gd name="T41" fmla="*/ 2 h 39"/>
                <a:gd name="T42" fmla="*/ 352 w 361"/>
                <a:gd name="T43" fmla="*/ 3 h 39"/>
                <a:gd name="T44" fmla="*/ 354 w 361"/>
                <a:gd name="T45" fmla="*/ 6 h 39"/>
                <a:gd name="T46" fmla="*/ 357 w 361"/>
                <a:gd name="T47" fmla="*/ 8 h 39"/>
                <a:gd name="T48" fmla="*/ 358 w 361"/>
                <a:gd name="T49" fmla="*/ 12 h 39"/>
                <a:gd name="T50" fmla="*/ 359 w 361"/>
                <a:gd name="T51" fmla="*/ 16 h 39"/>
                <a:gd name="T52" fmla="*/ 361 w 361"/>
                <a:gd name="T53" fmla="*/ 20 h 39"/>
                <a:gd name="T54" fmla="*/ 359 w 361"/>
                <a:gd name="T55" fmla="*/ 25 h 39"/>
                <a:gd name="T56" fmla="*/ 358 w 361"/>
                <a:gd name="T57" fmla="*/ 28 h 39"/>
                <a:gd name="T58" fmla="*/ 357 w 361"/>
                <a:gd name="T59" fmla="*/ 31 h 39"/>
                <a:gd name="T60" fmla="*/ 354 w 361"/>
                <a:gd name="T61" fmla="*/ 34 h 39"/>
                <a:gd name="T62" fmla="*/ 352 w 361"/>
                <a:gd name="T63" fmla="*/ 37 h 39"/>
                <a:gd name="T64" fmla="*/ 348 w 361"/>
                <a:gd name="T65" fmla="*/ 38 h 39"/>
                <a:gd name="T66" fmla="*/ 345 w 361"/>
                <a:gd name="T67" fmla="*/ 39 h 39"/>
                <a:gd name="T68" fmla="*/ 341 w 361"/>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9">
                  <a:moveTo>
                    <a:pt x="341" y="39"/>
                  </a:moveTo>
                  <a:lnTo>
                    <a:pt x="20" y="39"/>
                  </a:lnTo>
                  <a:lnTo>
                    <a:pt x="17" y="39"/>
                  </a:lnTo>
                  <a:lnTo>
                    <a:pt x="13" y="38"/>
                  </a:lnTo>
                  <a:lnTo>
                    <a:pt x="9" y="37"/>
                  </a:lnTo>
                  <a:lnTo>
                    <a:pt x="7" y="34"/>
                  </a:lnTo>
                  <a:lnTo>
                    <a:pt x="4" y="31"/>
                  </a:lnTo>
                  <a:lnTo>
                    <a:pt x="2" y="28"/>
                  </a:lnTo>
                  <a:lnTo>
                    <a:pt x="0" y="25"/>
                  </a:lnTo>
                  <a:lnTo>
                    <a:pt x="0" y="20"/>
                  </a:lnTo>
                  <a:lnTo>
                    <a:pt x="0" y="16"/>
                  </a:lnTo>
                  <a:lnTo>
                    <a:pt x="2" y="12"/>
                  </a:lnTo>
                  <a:lnTo>
                    <a:pt x="4" y="8"/>
                  </a:lnTo>
                  <a:lnTo>
                    <a:pt x="7" y="6"/>
                  </a:lnTo>
                  <a:lnTo>
                    <a:pt x="9" y="3"/>
                  </a:lnTo>
                  <a:lnTo>
                    <a:pt x="13" y="2"/>
                  </a:lnTo>
                  <a:lnTo>
                    <a:pt x="17" y="1"/>
                  </a:lnTo>
                  <a:lnTo>
                    <a:pt x="20" y="0"/>
                  </a:lnTo>
                  <a:lnTo>
                    <a:pt x="341" y="0"/>
                  </a:lnTo>
                  <a:lnTo>
                    <a:pt x="345" y="1"/>
                  </a:lnTo>
                  <a:lnTo>
                    <a:pt x="348" y="2"/>
                  </a:lnTo>
                  <a:lnTo>
                    <a:pt x="352" y="3"/>
                  </a:lnTo>
                  <a:lnTo>
                    <a:pt x="354" y="6"/>
                  </a:lnTo>
                  <a:lnTo>
                    <a:pt x="357" y="8"/>
                  </a:lnTo>
                  <a:lnTo>
                    <a:pt x="358" y="12"/>
                  </a:lnTo>
                  <a:lnTo>
                    <a:pt x="359" y="16"/>
                  </a:lnTo>
                  <a:lnTo>
                    <a:pt x="361" y="20"/>
                  </a:lnTo>
                  <a:lnTo>
                    <a:pt x="359" y="25"/>
                  </a:lnTo>
                  <a:lnTo>
                    <a:pt x="358" y="28"/>
                  </a:lnTo>
                  <a:lnTo>
                    <a:pt x="357" y="31"/>
                  </a:lnTo>
                  <a:lnTo>
                    <a:pt x="354" y="34"/>
                  </a:lnTo>
                  <a:lnTo>
                    <a:pt x="352" y="37"/>
                  </a:lnTo>
                  <a:lnTo>
                    <a:pt x="348" y="38"/>
                  </a:lnTo>
                  <a:lnTo>
                    <a:pt x="345" y="39"/>
                  </a:lnTo>
                  <a:lnTo>
                    <a:pt x="341"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33">
              <a:extLst>
                <a:ext uri="{FF2B5EF4-FFF2-40B4-BE49-F238E27FC236}">
                  <a16:creationId xmlns:a16="http://schemas.microsoft.com/office/drawing/2014/main" id="{EE31C8AA-8AE5-4A6B-9D95-1C8E2282ECA6}"/>
                </a:ext>
              </a:extLst>
            </p:cNvPr>
            <p:cNvSpPr>
              <a:spLocks/>
            </p:cNvSpPr>
            <p:nvPr/>
          </p:nvSpPr>
          <p:spPr bwMode="auto">
            <a:xfrm>
              <a:off x="871051" y="6029837"/>
              <a:ext cx="221396" cy="25830"/>
            </a:xfrm>
            <a:custGeom>
              <a:avLst/>
              <a:gdLst>
                <a:gd name="T0" fmla="*/ 341 w 361"/>
                <a:gd name="T1" fmla="*/ 40 h 40"/>
                <a:gd name="T2" fmla="*/ 20 w 361"/>
                <a:gd name="T3" fmla="*/ 40 h 40"/>
                <a:gd name="T4" fmla="*/ 17 w 361"/>
                <a:gd name="T5" fmla="*/ 40 h 40"/>
                <a:gd name="T6" fmla="*/ 13 w 361"/>
                <a:gd name="T7" fmla="*/ 39 h 40"/>
                <a:gd name="T8" fmla="*/ 9 w 361"/>
                <a:gd name="T9" fmla="*/ 36 h 40"/>
                <a:gd name="T10" fmla="*/ 7 w 361"/>
                <a:gd name="T11" fmla="*/ 34 h 40"/>
                <a:gd name="T12" fmla="*/ 4 w 361"/>
                <a:gd name="T13" fmla="*/ 31 h 40"/>
                <a:gd name="T14" fmla="*/ 2 w 361"/>
                <a:gd name="T15" fmla="*/ 28 h 40"/>
                <a:gd name="T16" fmla="*/ 0 w 361"/>
                <a:gd name="T17" fmla="*/ 24 h 40"/>
                <a:gd name="T18" fmla="*/ 0 w 361"/>
                <a:gd name="T19" fmla="*/ 20 h 40"/>
                <a:gd name="T20" fmla="*/ 0 w 361"/>
                <a:gd name="T21" fmla="*/ 16 h 40"/>
                <a:gd name="T22" fmla="*/ 2 w 361"/>
                <a:gd name="T23" fmla="*/ 13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3 h 40"/>
                <a:gd name="T50" fmla="*/ 359 w 361"/>
                <a:gd name="T51" fmla="*/ 16 h 40"/>
                <a:gd name="T52" fmla="*/ 361 w 361"/>
                <a:gd name="T53" fmla="*/ 20 h 40"/>
                <a:gd name="T54" fmla="*/ 359 w 361"/>
                <a:gd name="T55" fmla="*/ 24 h 40"/>
                <a:gd name="T56" fmla="*/ 358 w 361"/>
                <a:gd name="T57" fmla="*/ 28 h 40"/>
                <a:gd name="T58" fmla="*/ 357 w 361"/>
                <a:gd name="T59" fmla="*/ 31 h 40"/>
                <a:gd name="T60" fmla="*/ 354 w 361"/>
                <a:gd name="T61" fmla="*/ 34 h 40"/>
                <a:gd name="T62" fmla="*/ 352 w 361"/>
                <a:gd name="T63" fmla="*/ 36 h 40"/>
                <a:gd name="T64" fmla="*/ 348 w 361"/>
                <a:gd name="T65" fmla="*/ 39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9"/>
                  </a:lnTo>
                  <a:lnTo>
                    <a:pt x="9" y="36"/>
                  </a:lnTo>
                  <a:lnTo>
                    <a:pt x="7" y="34"/>
                  </a:lnTo>
                  <a:lnTo>
                    <a:pt x="4" y="31"/>
                  </a:lnTo>
                  <a:lnTo>
                    <a:pt x="2" y="28"/>
                  </a:lnTo>
                  <a:lnTo>
                    <a:pt x="0" y="24"/>
                  </a:lnTo>
                  <a:lnTo>
                    <a:pt x="0" y="20"/>
                  </a:lnTo>
                  <a:lnTo>
                    <a:pt x="0" y="16"/>
                  </a:lnTo>
                  <a:lnTo>
                    <a:pt x="2" y="13"/>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3"/>
                  </a:lnTo>
                  <a:lnTo>
                    <a:pt x="359" y="16"/>
                  </a:lnTo>
                  <a:lnTo>
                    <a:pt x="361" y="20"/>
                  </a:lnTo>
                  <a:lnTo>
                    <a:pt x="359" y="24"/>
                  </a:lnTo>
                  <a:lnTo>
                    <a:pt x="358" y="28"/>
                  </a:lnTo>
                  <a:lnTo>
                    <a:pt x="357" y="31"/>
                  </a:lnTo>
                  <a:lnTo>
                    <a:pt x="354" y="34"/>
                  </a:lnTo>
                  <a:lnTo>
                    <a:pt x="352" y="36"/>
                  </a:lnTo>
                  <a:lnTo>
                    <a:pt x="348" y="39"/>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34">
              <a:extLst>
                <a:ext uri="{FF2B5EF4-FFF2-40B4-BE49-F238E27FC236}">
                  <a16:creationId xmlns:a16="http://schemas.microsoft.com/office/drawing/2014/main" id="{F10498A9-838A-4B43-B75D-ACC36053CE3D}"/>
                </a:ext>
              </a:extLst>
            </p:cNvPr>
            <p:cNvSpPr>
              <a:spLocks/>
            </p:cNvSpPr>
            <p:nvPr/>
          </p:nvSpPr>
          <p:spPr bwMode="auto">
            <a:xfrm>
              <a:off x="871051" y="6103635"/>
              <a:ext cx="221396" cy="25830"/>
            </a:xfrm>
            <a:custGeom>
              <a:avLst/>
              <a:gdLst>
                <a:gd name="T0" fmla="*/ 341 w 361"/>
                <a:gd name="T1" fmla="*/ 41 h 41"/>
                <a:gd name="T2" fmla="*/ 20 w 361"/>
                <a:gd name="T3" fmla="*/ 41 h 41"/>
                <a:gd name="T4" fmla="*/ 17 w 361"/>
                <a:gd name="T5" fmla="*/ 40 h 41"/>
                <a:gd name="T6" fmla="*/ 13 w 361"/>
                <a:gd name="T7" fmla="*/ 39 h 41"/>
                <a:gd name="T8" fmla="*/ 9 w 361"/>
                <a:gd name="T9" fmla="*/ 38 h 41"/>
                <a:gd name="T10" fmla="*/ 7 w 361"/>
                <a:gd name="T11" fmla="*/ 35 h 41"/>
                <a:gd name="T12" fmla="*/ 4 w 361"/>
                <a:gd name="T13" fmla="*/ 33 h 41"/>
                <a:gd name="T14" fmla="*/ 2 w 361"/>
                <a:gd name="T15" fmla="*/ 29 h 41"/>
                <a:gd name="T16" fmla="*/ 0 w 361"/>
                <a:gd name="T17" fmla="*/ 25 h 41"/>
                <a:gd name="T18" fmla="*/ 0 w 361"/>
                <a:gd name="T19" fmla="*/ 22 h 41"/>
                <a:gd name="T20" fmla="*/ 0 w 361"/>
                <a:gd name="T21" fmla="*/ 17 h 41"/>
                <a:gd name="T22" fmla="*/ 2 w 361"/>
                <a:gd name="T23" fmla="*/ 13 h 41"/>
                <a:gd name="T24" fmla="*/ 4 w 361"/>
                <a:gd name="T25" fmla="*/ 10 h 41"/>
                <a:gd name="T26" fmla="*/ 7 w 361"/>
                <a:gd name="T27" fmla="*/ 7 h 41"/>
                <a:gd name="T28" fmla="*/ 9 w 361"/>
                <a:gd name="T29" fmla="*/ 4 h 41"/>
                <a:gd name="T30" fmla="*/ 13 w 361"/>
                <a:gd name="T31" fmla="*/ 3 h 41"/>
                <a:gd name="T32" fmla="*/ 17 w 361"/>
                <a:gd name="T33" fmla="*/ 2 h 41"/>
                <a:gd name="T34" fmla="*/ 20 w 361"/>
                <a:gd name="T35" fmla="*/ 0 h 41"/>
                <a:gd name="T36" fmla="*/ 341 w 361"/>
                <a:gd name="T37" fmla="*/ 0 h 41"/>
                <a:gd name="T38" fmla="*/ 345 w 361"/>
                <a:gd name="T39" fmla="*/ 2 h 41"/>
                <a:gd name="T40" fmla="*/ 348 w 361"/>
                <a:gd name="T41" fmla="*/ 3 h 41"/>
                <a:gd name="T42" fmla="*/ 352 w 361"/>
                <a:gd name="T43" fmla="*/ 4 h 41"/>
                <a:gd name="T44" fmla="*/ 354 w 361"/>
                <a:gd name="T45" fmla="*/ 7 h 41"/>
                <a:gd name="T46" fmla="*/ 357 w 361"/>
                <a:gd name="T47" fmla="*/ 10 h 41"/>
                <a:gd name="T48" fmla="*/ 358 w 361"/>
                <a:gd name="T49" fmla="*/ 13 h 41"/>
                <a:gd name="T50" fmla="*/ 359 w 361"/>
                <a:gd name="T51" fmla="*/ 17 h 41"/>
                <a:gd name="T52" fmla="*/ 361 w 361"/>
                <a:gd name="T53" fmla="*/ 22 h 41"/>
                <a:gd name="T54" fmla="*/ 359 w 361"/>
                <a:gd name="T55" fmla="*/ 25 h 41"/>
                <a:gd name="T56" fmla="*/ 358 w 361"/>
                <a:gd name="T57" fmla="*/ 29 h 41"/>
                <a:gd name="T58" fmla="*/ 357 w 361"/>
                <a:gd name="T59" fmla="*/ 33 h 41"/>
                <a:gd name="T60" fmla="*/ 354 w 361"/>
                <a:gd name="T61" fmla="*/ 35 h 41"/>
                <a:gd name="T62" fmla="*/ 352 w 361"/>
                <a:gd name="T63" fmla="*/ 38 h 41"/>
                <a:gd name="T64" fmla="*/ 348 w 361"/>
                <a:gd name="T65" fmla="*/ 39 h 41"/>
                <a:gd name="T66" fmla="*/ 345 w 361"/>
                <a:gd name="T67" fmla="*/ 40 h 41"/>
                <a:gd name="T68" fmla="*/ 341 w 361"/>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1">
                  <a:moveTo>
                    <a:pt x="341" y="41"/>
                  </a:moveTo>
                  <a:lnTo>
                    <a:pt x="20" y="41"/>
                  </a:lnTo>
                  <a:lnTo>
                    <a:pt x="17" y="40"/>
                  </a:lnTo>
                  <a:lnTo>
                    <a:pt x="13" y="39"/>
                  </a:lnTo>
                  <a:lnTo>
                    <a:pt x="9" y="38"/>
                  </a:lnTo>
                  <a:lnTo>
                    <a:pt x="7" y="35"/>
                  </a:lnTo>
                  <a:lnTo>
                    <a:pt x="4" y="33"/>
                  </a:lnTo>
                  <a:lnTo>
                    <a:pt x="2" y="29"/>
                  </a:lnTo>
                  <a:lnTo>
                    <a:pt x="0" y="25"/>
                  </a:lnTo>
                  <a:lnTo>
                    <a:pt x="0" y="22"/>
                  </a:lnTo>
                  <a:lnTo>
                    <a:pt x="0" y="17"/>
                  </a:lnTo>
                  <a:lnTo>
                    <a:pt x="2" y="13"/>
                  </a:lnTo>
                  <a:lnTo>
                    <a:pt x="4" y="10"/>
                  </a:lnTo>
                  <a:lnTo>
                    <a:pt x="7" y="7"/>
                  </a:lnTo>
                  <a:lnTo>
                    <a:pt x="9" y="4"/>
                  </a:lnTo>
                  <a:lnTo>
                    <a:pt x="13" y="3"/>
                  </a:lnTo>
                  <a:lnTo>
                    <a:pt x="17" y="2"/>
                  </a:lnTo>
                  <a:lnTo>
                    <a:pt x="20" y="0"/>
                  </a:lnTo>
                  <a:lnTo>
                    <a:pt x="341" y="0"/>
                  </a:lnTo>
                  <a:lnTo>
                    <a:pt x="345" y="2"/>
                  </a:lnTo>
                  <a:lnTo>
                    <a:pt x="348" y="3"/>
                  </a:lnTo>
                  <a:lnTo>
                    <a:pt x="352" y="4"/>
                  </a:lnTo>
                  <a:lnTo>
                    <a:pt x="354" y="7"/>
                  </a:lnTo>
                  <a:lnTo>
                    <a:pt x="357" y="10"/>
                  </a:lnTo>
                  <a:lnTo>
                    <a:pt x="358" y="13"/>
                  </a:lnTo>
                  <a:lnTo>
                    <a:pt x="359" y="17"/>
                  </a:lnTo>
                  <a:lnTo>
                    <a:pt x="361" y="22"/>
                  </a:lnTo>
                  <a:lnTo>
                    <a:pt x="359" y="25"/>
                  </a:lnTo>
                  <a:lnTo>
                    <a:pt x="358" y="29"/>
                  </a:lnTo>
                  <a:lnTo>
                    <a:pt x="357" y="33"/>
                  </a:lnTo>
                  <a:lnTo>
                    <a:pt x="354" y="35"/>
                  </a:lnTo>
                  <a:lnTo>
                    <a:pt x="352" y="38"/>
                  </a:lnTo>
                  <a:lnTo>
                    <a:pt x="348" y="39"/>
                  </a:lnTo>
                  <a:lnTo>
                    <a:pt x="345" y="40"/>
                  </a:lnTo>
                  <a:lnTo>
                    <a:pt x="341"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35">
              <a:extLst>
                <a:ext uri="{FF2B5EF4-FFF2-40B4-BE49-F238E27FC236}">
                  <a16:creationId xmlns:a16="http://schemas.microsoft.com/office/drawing/2014/main" id="{D1926B08-8891-4604-9FB5-43B0D63B3672}"/>
                </a:ext>
              </a:extLst>
            </p:cNvPr>
            <p:cNvSpPr>
              <a:spLocks/>
            </p:cNvSpPr>
            <p:nvPr/>
          </p:nvSpPr>
          <p:spPr bwMode="auto">
            <a:xfrm>
              <a:off x="871051" y="6177434"/>
              <a:ext cx="221396" cy="25830"/>
            </a:xfrm>
            <a:custGeom>
              <a:avLst/>
              <a:gdLst>
                <a:gd name="T0" fmla="*/ 341 w 361"/>
                <a:gd name="T1" fmla="*/ 40 h 40"/>
                <a:gd name="T2" fmla="*/ 20 w 361"/>
                <a:gd name="T3" fmla="*/ 40 h 40"/>
                <a:gd name="T4" fmla="*/ 17 w 361"/>
                <a:gd name="T5" fmla="*/ 40 h 40"/>
                <a:gd name="T6" fmla="*/ 13 w 361"/>
                <a:gd name="T7" fmla="*/ 38 h 40"/>
                <a:gd name="T8" fmla="*/ 9 w 361"/>
                <a:gd name="T9" fmla="*/ 36 h 40"/>
                <a:gd name="T10" fmla="*/ 7 w 361"/>
                <a:gd name="T11" fmla="*/ 35 h 40"/>
                <a:gd name="T12" fmla="*/ 4 w 361"/>
                <a:gd name="T13" fmla="*/ 31 h 40"/>
                <a:gd name="T14" fmla="*/ 2 w 361"/>
                <a:gd name="T15" fmla="*/ 27 h 40"/>
                <a:gd name="T16" fmla="*/ 0 w 361"/>
                <a:gd name="T17" fmla="*/ 24 h 40"/>
                <a:gd name="T18" fmla="*/ 0 w 361"/>
                <a:gd name="T19" fmla="*/ 20 h 40"/>
                <a:gd name="T20" fmla="*/ 0 w 361"/>
                <a:gd name="T21" fmla="*/ 16 h 40"/>
                <a:gd name="T22" fmla="*/ 2 w 361"/>
                <a:gd name="T23" fmla="*/ 12 h 40"/>
                <a:gd name="T24" fmla="*/ 4 w 361"/>
                <a:gd name="T25" fmla="*/ 9 h 40"/>
                <a:gd name="T26" fmla="*/ 7 w 361"/>
                <a:gd name="T27" fmla="*/ 6 h 40"/>
                <a:gd name="T28" fmla="*/ 9 w 361"/>
                <a:gd name="T29" fmla="*/ 4 h 40"/>
                <a:gd name="T30" fmla="*/ 13 w 361"/>
                <a:gd name="T31" fmla="*/ 1 h 40"/>
                <a:gd name="T32" fmla="*/ 17 w 361"/>
                <a:gd name="T33" fmla="*/ 0 h 40"/>
                <a:gd name="T34" fmla="*/ 20 w 361"/>
                <a:gd name="T35" fmla="*/ 0 h 40"/>
                <a:gd name="T36" fmla="*/ 341 w 361"/>
                <a:gd name="T37" fmla="*/ 0 h 40"/>
                <a:gd name="T38" fmla="*/ 345 w 361"/>
                <a:gd name="T39" fmla="*/ 0 h 40"/>
                <a:gd name="T40" fmla="*/ 348 w 361"/>
                <a:gd name="T41" fmla="*/ 1 h 40"/>
                <a:gd name="T42" fmla="*/ 352 w 361"/>
                <a:gd name="T43" fmla="*/ 4 h 40"/>
                <a:gd name="T44" fmla="*/ 354 w 361"/>
                <a:gd name="T45" fmla="*/ 6 h 40"/>
                <a:gd name="T46" fmla="*/ 357 w 361"/>
                <a:gd name="T47" fmla="*/ 9 h 40"/>
                <a:gd name="T48" fmla="*/ 358 w 361"/>
                <a:gd name="T49" fmla="*/ 12 h 40"/>
                <a:gd name="T50" fmla="*/ 359 w 361"/>
                <a:gd name="T51" fmla="*/ 16 h 40"/>
                <a:gd name="T52" fmla="*/ 361 w 361"/>
                <a:gd name="T53" fmla="*/ 20 h 40"/>
                <a:gd name="T54" fmla="*/ 359 w 361"/>
                <a:gd name="T55" fmla="*/ 24 h 40"/>
                <a:gd name="T56" fmla="*/ 358 w 361"/>
                <a:gd name="T57" fmla="*/ 27 h 40"/>
                <a:gd name="T58" fmla="*/ 357 w 361"/>
                <a:gd name="T59" fmla="*/ 31 h 40"/>
                <a:gd name="T60" fmla="*/ 354 w 361"/>
                <a:gd name="T61" fmla="*/ 35 h 40"/>
                <a:gd name="T62" fmla="*/ 352 w 361"/>
                <a:gd name="T63" fmla="*/ 36 h 40"/>
                <a:gd name="T64" fmla="*/ 348 w 361"/>
                <a:gd name="T65" fmla="*/ 38 h 40"/>
                <a:gd name="T66" fmla="*/ 345 w 361"/>
                <a:gd name="T67" fmla="*/ 40 h 40"/>
                <a:gd name="T68" fmla="*/ 341 w 361"/>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40">
                  <a:moveTo>
                    <a:pt x="341" y="40"/>
                  </a:moveTo>
                  <a:lnTo>
                    <a:pt x="20" y="40"/>
                  </a:lnTo>
                  <a:lnTo>
                    <a:pt x="17" y="40"/>
                  </a:lnTo>
                  <a:lnTo>
                    <a:pt x="13" y="38"/>
                  </a:lnTo>
                  <a:lnTo>
                    <a:pt x="9" y="36"/>
                  </a:lnTo>
                  <a:lnTo>
                    <a:pt x="7" y="35"/>
                  </a:lnTo>
                  <a:lnTo>
                    <a:pt x="4" y="31"/>
                  </a:lnTo>
                  <a:lnTo>
                    <a:pt x="2" y="27"/>
                  </a:lnTo>
                  <a:lnTo>
                    <a:pt x="0" y="24"/>
                  </a:lnTo>
                  <a:lnTo>
                    <a:pt x="0" y="20"/>
                  </a:lnTo>
                  <a:lnTo>
                    <a:pt x="0" y="16"/>
                  </a:lnTo>
                  <a:lnTo>
                    <a:pt x="2" y="12"/>
                  </a:lnTo>
                  <a:lnTo>
                    <a:pt x="4" y="9"/>
                  </a:lnTo>
                  <a:lnTo>
                    <a:pt x="7" y="6"/>
                  </a:lnTo>
                  <a:lnTo>
                    <a:pt x="9" y="4"/>
                  </a:lnTo>
                  <a:lnTo>
                    <a:pt x="13" y="1"/>
                  </a:lnTo>
                  <a:lnTo>
                    <a:pt x="17" y="0"/>
                  </a:lnTo>
                  <a:lnTo>
                    <a:pt x="20" y="0"/>
                  </a:lnTo>
                  <a:lnTo>
                    <a:pt x="341" y="0"/>
                  </a:lnTo>
                  <a:lnTo>
                    <a:pt x="345" y="0"/>
                  </a:lnTo>
                  <a:lnTo>
                    <a:pt x="348" y="1"/>
                  </a:lnTo>
                  <a:lnTo>
                    <a:pt x="352" y="4"/>
                  </a:lnTo>
                  <a:lnTo>
                    <a:pt x="354" y="6"/>
                  </a:lnTo>
                  <a:lnTo>
                    <a:pt x="357" y="9"/>
                  </a:lnTo>
                  <a:lnTo>
                    <a:pt x="358" y="12"/>
                  </a:lnTo>
                  <a:lnTo>
                    <a:pt x="359" y="16"/>
                  </a:lnTo>
                  <a:lnTo>
                    <a:pt x="361" y="20"/>
                  </a:lnTo>
                  <a:lnTo>
                    <a:pt x="359" y="24"/>
                  </a:lnTo>
                  <a:lnTo>
                    <a:pt x="358" y="27"/>
                  </a:lnTo>
                  <a:lnTo>
                    <a:pt x="357" y="31"/>
                  </a:lnTo>
                  <a:lnTo>
                    <a:pt x="354" y="35"/>
                  </a:lnTo>
                  <a:lnTo>
                    <a:pt x="352" y="36"/>
                  </a:lnTo>
                  <a:lnTo>
                    <a:pt x="348" y="38"/>
                  </a:lnTo>
                  <a:lnTo>
                    <a:pt x="345" y="40"/>
                  </a:lnTo>
                  <a:lnTo>
                    <a:pt x="34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74" name="Group 174">
            <a:extLst>
              <a:ext uri="{FF2B5EF4-FFF2-40B4-BE49-F238E27FC236}">
                <a16:creationId xmlns:a16="http://schemas.microsoft.com/office/drawing/2014/main" id="{50C5CB37-1491-4A90-B773-66D9591CB254}"/>
              </a:ext>
            </a:extLst>
          </p:cNvPr>
          <p:cNvGrpSpPr>
            <a:grpSpLocks noChangeAspect="1"/>
          </p:cNvGrpSpPr>
          <p:nvPr/>
        </p:nvGrpSpPr>
        <p:grpSpPr>
          <a:xfrm>
            <a:off x="4026601" y="3263433"/>
            <a:ext cx="321323" cy="285619"/>
            <a:chOff x="1435611" y="5636858"/>
            <a:chExt cx="664188" cy="590390"/>
          </a:xfrm>
          <a:solidFill>
            <a:schemeClr val="bg1"/>
          </a:solidFill>
          <a:effectLst/>
        </p:grpSpPr>
        <p:sp>
          <p:nvSpPr>
            <p:cNvPr id="1275" name="Freeform 36">
              <a:extLst>
                <a:ext uri="{FF2B5EF4-FFF2-40B4-BE49-F238E27FC236}">
                  <a16:creationId xmlns:a16="http://schemas.microsoft.com/office/drawing/2014/main" id="{5BC246DC-F888-4BB4-94F2-92849D6A1C0F}"/>
                </a:ext>
              </a:extLst>
            </p:cNvPr>
            <p:cNvSpPr>
              <a:spLocks noEditPoints="1"/>
            </p:cNvSpPr>
            <p:nvPr/>
          </p:nvSpPr>
          <p:spPr bwMode="auto">
            <a:xfrm>
              <a:off x="1435611" y="5636858"/>
              <a:ext cx="664188" cy="590390"/>
            </a:xfrm>
            <a:custGeom>
              <a:avLst/>
              <a:gdLst>
                <a:gd name="T0" fmla="*/ 1039 w 1080"/>
                <a:gd name="T1" fmla="*/ 480 h 959"/>
                <a:gd name="T2" fmla="*/ 932 w 1080"/>
                <a:gd name="T3" fmla="*/ 479 h 959"/>
                <a:gd name="T4" fmla="*/ 760 w 1080"/>
                <a:gd name="T5" fmla="*/ 308 h 959"/>
                <a:gd name="T6" fmla="*/ 756 w 1080"/>
                <a:gd name="T7" fmla="*/ 471 h 959"/>
                <a:gd name="T8" fmla="*/ 742 w 1080"/>
                <a:gd name="T9" fmla="*/ 480 h 959"/>
                <a:gd name="T10" fmla="*/ 726 w 1080"/>
                <a:gd name="T11" fmla="*/ 474 h 959"/>
                <a:gd name="T12" fmla="*/ 560 w 1080"/>
                <a:gd name="T13" fmla="*/ 464 h 959"/>
                <a:gd name="T14" fmla="*/ 553 w 1080"/>
                <a:gd name="T15" fmla="*/ 474 h 959"/>
                <a:gd name="T16" fmla="*/ 544 w 1080"/>
                <a:gd name="T17" fmla="*/ 480 h 959"/>
                <a:gd name="T18" fmla="*/ 376 w 1080"/>
                <a:gd name="T19" fmla="*/ 480 h 959"/>
                <a:gd name="T20" fmla="*/ 366 w 1080"/>
                <a:gd name="T21" fmla="*/ 474 h 959"/>
                <a:gd name="T22" fmla="*/ 360 w 1080"/>
                <a:gd name="T23" fmla="*/ 464 h 959"/>
                <a:gd name="T24" fmla="*/ 280 w 1080"/>
                <a:gd name="T25" fmla="*/ 40 h 959"/>
                <a:gd name="T26" fmla="*/ 278 w 1080"/>
                <a:gd name="T27" fmla="*/ 468 h 959"/>
                <a:gd name="T28" fmla="*/ 272 w 1080"/>
                <a:gd name="T29" fmla="*/ 476 h 959"/>
                <a:gd name="T30" fmla="*/ 260 w 1080"/>
                <a:gd name="T31" fmla="*/ 480 h 959"/>
                <a:gd name="T32" fmla="*/ 132 w 1080"/>
                <a:gd name="T33" fmla="*/ 479 h 959"/>
                <a:gd name="T34" fmla="*/ 124 w 1080"/>
                <a:gd name="T35" fmla="*/ 471 h 959"/>
                <a:gd name="T36" fmla="*/ 120 w 1080"/>
                <a:gd name="T37" fmla="*/ 460 h 959"/>
                <a:gd name="T38" fmla="*/ 41 w 1080"/>
                <a:gd name="T39" fmla="*/ 920 h 959"/>
                <a:gd name="T40" fmla="*/ 16 w 1080"/>
                <a:gd name="T41" fmla="*/ 959 h 959"/>
                <a:gd name="T42" fmla="*/ 6 w 1080"/>
                <a:gd name="T43" fmla="*/ 955 h 959"/>
                <a:gd name="T44" fmla="*/ 1 w 1080"/>
                <a:gd name="T45" fmla="*/ 945 h 959"/>
                <a:gd name="T46" fmla="*/ 1 w 1080"/>
                <a:gd name="T47" fmla="*/ 17 h 959"/>
                <a:gd name="T48" fmla="*/ 6 w 1080"/>
                <a:gd name="T49" fmla="*/ 7 h 959"/>
                <a:gd name="T50" fmla="*/ 16 w 1080"/>
                <a:gd name="T51" fmla="*/ 0 h 959"/>
                <a:gd name="T52" fmla="*/ 144 w 1080"/>
                <a:gd name="T53" fmla="*/ 0 h 959"/>
                <a:gd name="T54" fmla="*/ 154 w 1080"/>
                <a:gd name="T55" fmla="*/ 7 h 959"/>
                <a:gd name="T56" fmla="*/ 160 w 1080"/>
                <a:gd name="T57" fmla="*/ 17 h 959"/>
                <a:gd name="T58" fmla="*/ 241 w 1080"/>
                <a:gd name="T59" fmla="*/ 440 h 959"/>
                <a:gd name="T60" fmla="*/ 242 w 1080"/>
                <a:gd name="T61" fmla="*/ 13 h 959"/>
                <a:gd name="T62" fmla="*/ 249 w 1080"/>
                <a:gd name="T63" fmla="*/ 4 h 959"/>
                <a:gd name="T64" fmla="*/ 260 w 1080"/>
                <a:gd name="T65" fmla="*/ 0 h 959"/>
                <a:gd name="T66" fmla="*/ 388 w 1080"/>
                <a:gd name="T67" fmla="*/ 2 h 959"/>
                <a:gd name="T68" fmla="*/ 397 w 1080"/>
                <a:gd name="T69" fmla="*/ 9 h 959"/>
                <a:gd name="T70" fmla="*/ 399 w 1080"/>
                <a:gd name="T71" fmla="*/ 20 h 959"/>
                <a:gd name="T72" fmla="*/ 520 w 1080"/>
                <a:gd name="T73" fmla="*/ 260 h 959"/>
                <a:gd name="T74" fmla="*/ 527 w 1080"/>
                <a:gd name="T75" fmla="*/ 245 h 959"/>
                <a:gd name="T76" fmla="*/ 544 w 1080"/>
                <a:gd name="T77" fmla="*/ 240 h 959"/>
                <a:gd name="T78" fmla="*/ 720 w 1080"/>
                <a:gd name="T79" fmla="*/ 412 h 959"/>
                <a:gd name="T80" fmla="*/ 724 w 1080"/>
                <a:gd name="T81" fmla="*/ 249 h 959"/>
                <a:gd name="T82" fmla="*/ 737 w 1080"/>
                <a:gd name="T83" fmla="*/ 240 h 959"/>
                <a:gd name="T84" fmla="*/ 753 w 1080"/>
                <a:gd name="T85" fmla="*/ 246 h 959"/>
                <a:gd name="T86" fmla="*/ 1064 w 1080"/>
                <a:gd name="T87" fmla="*/ 440 h 959"/>
                <a:gd name="T88" fmla="*/ 1074 w 1080"/>
                <a:gd name="T89" fmla="*/ 446 h 959"/>
                <a:gd name="T90" fmla="*/ 1079 w 1080"/>
                <a:gd name="T91" fmla="*/ 456 h 959"/>
                <a:gd name="T92" fmla="*/ 1079 w 1080"/>
                <a:gd name="T93" fmla="*/ 945 h 959"/>
                <a:gd name="T94" fmla="*/ 1074 w 1080"/>
                <a:gd name="T95" fmla="*/ 955 h 959"/>
                <a:gd name="T96" fmla="*/ 1064 w 1080"/>
                <a:gd name="T97"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0" h="959">
                  <a:moveTo>
                    <a:pt x="41" y="920"/>
                  </a:moveTo>
                  <a:lnTo>
                    <a:pt x="1039" y="920"/>
                  </a:lnTo>
                  <a:lnTo>
                    <a:pt x="1039" y="480"/>
                  </a:lnTo>
                  <a:lnTo>
                    <a:pt x="940" y="480"/>
                  </a:lnTo>
                  <a:lnTo>
                    <a:pt x="936" y="480"/>
                  </a:lnTo>
                  <a:lnTo>
                    <a:pt x="932" y="479"/>
                  </a:lnTo>
                  <a:lnTo>
                    <a:pt x="929" y="476"/>
                  </a:lnTo>
                  <a:lnTo>
                    <a:pt x="926" y="474"/>
                  </a:lnTo>
                  <a:lnTo>
                    <a:pt x="760" y="308"/>
                  </a:lnTo>
                  <a:lnTo>
                    <a:pt x="760" y="460"/>
                  </a:lnTo>
                  <a:lnTo>
                    <a:pt x="758" y="466"/>
                  </a:lnTo>
                  <a:lnTo>
                    <a:pt x="756" y="471"/>
                  </a:lnTo>
                  <a:lnTo>
                    <a:pt x="752" y="475"/>
                  </a:lnTo>
                  <a:lnTo>
                    <a:pt x="747" y="479"/>
                  </a:lnTo>
                  <a:lnTo>
                    <a:pt x="742" y="480"/>
                  </a:lnTo>
                  <a:lnTo>
                    <a:pt x="736" y="480"/>
                  </a:lnTo>
                  <a:lnTo>
                    <a:pt x="730" y="477"/>
                  </a:lnTo>
                  <a:lnTo>
                    <a:pt x="726" y="474"/>
                  </a:lnTo>
                  <a:lnTo>
                    <a:pt x="560" y="308"/>
                  </a:lnTo>
                  <a:lnTo>
                    <a:pt x="560" y="460"/>
                  </a:lnTo>
                  <a:lnTo>
                    <a:pt x="560" y="464"/>
                  </a:lnTo>
                  <a:lnTo>
                    <a:pt x="558" y="468"/>
                  </a:lnTo>
                  <a:lnTo>
                    <a:pt x="556" y="471"/>
                  </a:lnTo>
                  <a:lnTo>
                    <a:pt x="553" y="474"/>
                  </a:lnTo>
                  <a:lnTo>
                    <a:pt x="551" y="476"/>
                  </a:lnTo>
                  <a:lnTo>
                    <a:pt x="547" y="479"/>
                  </a:lnTo>
                  <a:lnTo>
                    <a:pt x="544" y="480"/>
                  </a:lnTo>
                  <a:lnTo>
                    <a:pt x="540" y="480"/>
                  </a:lnTo>
                  <a:lnTo>
                    <a:pt x="380" y="480"/>
                  </a:lnTo>
                  <a:lnTo>
                    <a:pt x="376" y="480"/>
                  </a:lnTo>
                  <a:lnTo>
                    <a:pt x="372" y="479"/>
                  </a:lnTo>
                  <a:lnTo>
                    <a:pt x="368" y="476"/>
                  </a:lnTo>
                  <a:lnTo>
                    <a:pt x="366" y="474"/>
                  </a:lnTo>
                  <a:lnTo>
                    <a:pt x="363" y="471"/>
                  </a:lnTo>
                  <a:lnTo>
                    <a:pt x="361" y="468"/>
                  </a:lnTo>
                  <a:lnTo>
                    <a:pt x="360" y="464"/>
                  </a:lnTo>
                  <a:lnTo>
                    <a:pt x="360" y="460"/>
                  </a:lnTo>
                  <a:lnTo>
                    <a:pt x="360" y="40"/>
                  </a:lnTo>
                  <a:lnTo>
                    <a:pt x="280" y="40"/>
                  </a:lnTo>
                  <a:lnTo>
                    <a:pt x="280" y="460"/>
                  </a:lnTo>
                  <a:lnTo>
                    <a:pt x="279" y="464"/>
                  </a:lnTo>
                  <a:lnTo>
                    <a:pt x="278" y="468"/>
                  </a:lnTo>
                  <a:lnTo>
                    <a:pt x="277" y="471"/>
                  </a:lnTo>
                  <a:lnTo>
                    <a:pt x="274" y="474"/>
                  </a:lnTo>
                  <a:lnTo>
                    <a:pt x="272" y="476"/>
                  </a:lnTo>
                  <a:lnTo>
                    <a:pt x="268" y="479"/>
                  </a:lnTo>
                  <a:lnTo>
                    <a:pt x="264" y="480"/>
                  </a:lnTo>
                  <a:lnTo>
                    <a:pt x="260" y="480"/>
                  </a:lnTo>
                  <a:lnTo>
                    <a:pt x="140" y="480"/>
                  </a:lnTo>
                  <a:lnTo>
                    <a:pt x="136" y="480"/>
                  </a:lnTo>
                  <a:lnTo>
                    <a:pt x="132" y="479"/>
                  </a:lnTo>
                  <a:lnTo>
                    <a:pt x="129" y="476"/>
                  </a:lnTo>
                  <a:lnTo>
                    <a:pt x="126" y="474"/>
                  </a:lnTo>
                  <a:lnTo>
                    <a:pt x="124" y="471"/>
                  </a:lnTo>
                  <a:lnTo>
                    <a:pt x="121" y="468"/>
                  </a:lnTo>
                  <a:lnTo>
                    <a:pt x="120" y="464"/>
                  </a:lnTo>
                  <a:lnTo>
                    <a:pt x="120" y="460"/>
                  </a:lnTo>
                  <a:lnTo>
                    <a:pt x="120" y="40"/>
                  </a:lnTo>
                  <a:lnTo>
                    <a:pt x="41" y="40"/>
                  </a:lnTo>
                  <a:lnTo>
                    <a:pt x="41" y="920"/>
                  </a:lnTo>
                  <a:close/>
                  <a:moveTo>
                    <a:pt x="1060" y="959"/>
                  </a:moveTo>
                  <a:lnTo>
                    <a:pt x="21" y="959"/>
                  </a:lnTo>
                  <a:lnTo>
                    <a:pt x="16" y="959"/>
                  </a:lnTo>
                  <a:lnTo>
                    <a:pt x="12" y="958"/>
                  </a:lnTo>
                  <a:lnTo>
                    <a:pt x="8" y="957"/>
                  </a:lnTo>
                  <a:lnTo>
                    <a:pt x="6" y="955"/>
                  </a:lnTo>
                  <a:lnTo>
                    <a:pt x="3" y="951"/>
                  </a:lnTo>
                  <a:lnTo>
                    <a:pt x="2" y="948"/>
                  </a:lnTo>
                  <a:lnTo>
                    <a:pt x="1" y="945"/>
                  </a:lnTo>
                  <a:lnTo>
                    <a:pt x="0" y="940"/>
                  </a:lnTo>
                  <a:lnTo>
                    <a:pt x="0" y="20"/>
                  </a:lnTo>
                  <a:lnTo>
                    <a:pt x="1" y="17"/>
                  </a:lnTo>
                  <a:lnTo>
                    <a:pt x="2" y="13"/>
                  </a:lnTo>
                  <a:lnTo>
                    <a:pt x="3" y="9"/>
                  </a:lnTo>
                  <a:lnTo>
                    <a:pt x="6" y="7"/>
                  </a:lnTo>
                  <a:lnTo>
                    <a:pt x="8" y="4"/>
                  </a:lnTo>
                  <a:lnTo>
                    <a:pt x="12" y="2"/>
                  </a:lnTo>
                  <a:lnTo>
                    <a:pt x="16" y="0"/>
                  </a:lnTo>
                  <a:lnTo>
                    <a:pt x="21" y="0"/>
                  </a:lnTo>
                  <a:lnTo>
                    <a:pt x="140" y="0"/>
                  </a:lnTo>
                  <a:lnTo>
                    <a:pt x="144" y="0"/>
                  </a:lnTo>
                  <a:lnTo>
                    <a:pt x="147" y="2"/>
                  </a:lnTo>
                  <a:lnTo>
                    <a:pt x="151" y="4"/>
                  </a:lnTo>
                  <a:lnTo>
                    <a:pt x="154" y="7"/>
                  </a:lnTo>
                  <a:lnTo>
                    <a:pt x="156" y="9"/>
                  </a:lnTo>
                  <a:lnTo>
                    <a:pt x="159" y="13"/>
                  </a:lnTo>
                  <a:lnTo>
                    <a:pt x="160" y="17"/>
                  </a:lnTo>
                  <a:lnTo>
                    <a:pt x="160" y="20"/>
                  </a:lnTo>
                  <a:lnTo>
                    <a:pt x="160" y="440"/>
                  </a:lnTo>
                  <a:lnTo>
                    <a:pt x="241" y="440"/>
                  </a:lnTo>
                  <a:lnTo>
                    <a:pt x="241" y="20"/>
                  </a:lnTo>
                  <a:lnTo>
                    <a:pt x="241" y="17"/>
                  </a:lnTo>
                  <a:lnTo>
                    <a:pt x="242" y="13"/>
                  </a:lnTo>
                  <a:lnTo>
                    <a:pt x="243" y="9"/>
                  </a:lnTo>
                  <a:lnTo>
                    <a:pt x="245" y="7"/>
                  </a:lnTo>
                  <a:lnTo>
                    <a:pt x="249" y="4"/>
                  </a:lnTo>
                  <a:lnTo>
                    <a:pt x="252" y="2"/>
                  </a:lnTo>
                  <a:lnTo>
                    <a:pt x="255" y="0"/>
                  </a:lnTo>
                  <a:lnTo>
                    <a:pt x="260" y="0"/>
                  </a:lnTo>
                  <a:lnTo>
                    <a:pt x="380" y="0"/>
                  </a:lnTo>
                  <a:lnTo>
                    <a:pt x="383" y="0"/>
                  </a:lnTo>
                  <a:lnTo>
                    <a:pt x="388" y="2"/>
                  </a:lnTo>
                  <a:lnTo>
                    <a:pt x="391" y="4"/>
                  </a:lnTo>
                  <a:lnTo>
                    <a:pt x="395" y="7"/>
                  </a:lnTo>
                  <a:lnTo>
                    <a:pt x="397" y="9"/>
                  </a:lnTo>
                  <a:lnTo>
                    <a:pt x="398" y="13"/>
                  </a:lnTo>
                  <a:lnTo>
                    <a:pt x="399" y="17"/>
                  </a:lnTo>
                  <a:lnTo>
                    <a:pt x="399" y="20"/>
                  </a:lnTo>
                  <a:lnTo>
                    <a:pt x="399" y="440"/>
                  </a:lnTo>
                  <a:lnTo>
                    <a:pt x="520" y="440"/>
                  </a:lnTo>
                  <a:lnTo>
                    <a:pt x="520" y="260"/>
                  </a:lnTo>
                  <a:lnTo>
                    <a:pt x="521" y="254"/>
                  </a:lnTo>
                  <a:lnTo>
                    <a:pt x="524" y="249"/>
                  </a:lnTo>
                  <a:lnTo>
                    <a:pt x="527" y="245"/>
                  </a:lnTo>
                  <a:lnTo>
                    <a:pt x="532" y="241"/>
                  </a:lnTo>
                  <a:lnTo>
                    <a:pt x="537" y="240"/>
                  </a:lnTo>
                  <a:lnTo>
                    <a:pt x="544" y="240"/>
                  </a:lnTo>
                  <a:lnTo>
                    <a:pt x="550" y="243"/>
                  </a:lnTo>
                  <a:lnTo>
                    <a:pt x="553" y="246"/>
                  </a:lnTo>
                  <a:lnTo>
                    <a:pt x="720" y="412"/>
                  </a:lnTo>
                  <a:lnTo>
                    <a:pt x="720" y="260"/>
                  </a:lnTo>
                  <a:lnTo>
                    <a:pt x="721" y="254"/>
                  </a:lnTo>
                  <a:lnTo>
                    <a:pt x="724" y="249"/>
                  </a:lnTo>
                  <a:lnTo>
                    <a:pt x="727" y="245"/>
                  </a:lnTo>
                  <a:lnTo>
                    <a:pt x="732" y="241"/>
                  </a:lnTo>
                  <a:lnTo>
                    <a:pt x="737" y="240"/>
                  </a:lnTo>
                  <a:lnTo>
                    <a:pt x="744" y="240"/>
                  </a:lnTo>
                  <a:lnTo>
                    <a:pt x="750" y="243"/>
                  </a:lnTo>
                  <a:lnTo>
                    <a:pt x="753" y="246"/>
                  </a:lnTo>
                  <a:lnTo>
                    <a:pt x="948" y="440"/>
                  </a:lnTo>
                  <a:lnTo>
                    <a:pt x="1060" y="440"/>
                  </a:lnTo>
                  <a:lnTo>
                    <a:pt x="1064" y="440"/>
                  </a:lnTo>
                  <a:lnTo>
                    <a:pt x="1068" y="441"/>
                  </a:lnTo>
                  <a:lnTo>
                    <a:pt x="1071" y="444"/>
                  </a:lnTo>
                  <a:lnTo>
                    <a:pt x="1074" y="446"/>
                  </a:lnTo>
                  <a:lnTo>
                    <a:pt x="1076" y="449"/>
                  </a:lnTo>
                  <a:lnTo>
                    <a:pt x="1078" y="453"/>
                  </a:lnTo>
                  <a:lnTo>
                    <a:pt x="1079" y="456"/>
                  </a:lnTo>
                  <a:lnTo>
                    <a:pt x="1080" y="460"/>
                  </a:lnTo>
                  <a:lnTo>
                    <a:pt x="1080" y="940"/>
                  </a:lnTo>
                  <a:lnTo>
                    <a:pt x="1079" y="945"/>
                  </a:lnTo>
                  <a:lnTo>
                    <a:pt x="1078" y="948"/>
                  </a:lnTo>
                  <a:lnTo>
                    <a:pt x="1076" y="951"/>
                  </a:lnTo>
                  <a:lnTo>
                    <a:pt x="1074" y="955"/>
                  </a:lnTo>
                  <a:lnTo>
                    <a:pt x="1071" y="957"/>
                  </a:lnTo>
                  <a:lnTo>
                    <a:pt x="1068" y="958"/>
                  </a:lnTo>
                  <a:lnTo>
                    <a:pt x="1064" y="959"/>
                  </a:lnTo>
                  <a:lnTo>
                    <a:pt x="1060" y="9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37">
              <a:extLst>
                <a:ext uri="{FF2B5EF4-FFF2-40B4-BE49-F238E27FC236}">
                  <a16:creationId xmlns:a16="http://schemas.microsoft.com/office/drawing/2014/main" id="{003F62E9-C13C-4665-8FD9-3AF779AF5C31}"/>
                </a:ext>
              </a:extLst>
            </p:cNvPr>
            <p:cNvSpPr>
              <a:spLocks noEditPoints="1"/>
            </p:cNvSpPr>
            <p:nvPr/>
          </p:nvSpPr>
          <p:spPr bwMode="auto">
            <a:xfrm>
              <a:off x="1509410" y="5980023"/>
              <a:ext cx="394823" cy="99628"/>
            </a:xfrm>
            <a:custGeom>
              <a:avLst/>
              <a:gdLst>
                <a:gd name="T0" fmla="*/ 40 w 640"/>
                <a:gd name="T1" fmla="*/ 121 h 161"/>
                <a:gd name="T2" fmla="*/ 600 w 640"/>
                <a:gd name="T3" fmla="*/ 121 h 161"/>
                <a:gd name="T4" fmla="*/ 600 w 640"/>
                <a:gd name="T5" fmla="*/ 41 h 161"/>
                <a:gd name="T6" fmla="*/ 40 w 640"/>
                <a:gd name="T7" fmla="*/ 41 h 161"/>
                <a:gd name="T8" fmla="*/ 40 w 640"/>
                <a:gd name="T9" fmla="*/ 121 h 161"/>
                <a:gd name="T10" fmla="*/ 620 w 640"/>
                <a:gd name="T11" fmla="*/ 161 h 161"/>
                <a:gd name="T12" fmla="*/ 20 w 640"/>
                <a:gd name="T13" fmla="*/ 161 h 161"/>
                <a:gd name="T14" fmla="*/ 16 w 640"/>
                <a:gd name="T15" fmla="*/ 161 h 161"/>
                <a:gd name="T16" fmla="*/ 12 w 640"/>
                <a:gd name="T17" fmla="*/ 159 h 161"/>
                <a:gd name="T18" fmla="*/ 9 w 640"/>
                <a:gd name="T19" fmla="*/ 158 h 161"/>
                <a:gd name="T20" fmla="*/ 6 w 640"/>
                <a:gd name="T21" fmla="*/ 156 h 161"/>
                <a:gd name="T22" fmla="*/ 4 w 640"/>
                <a:gd name="T23" fmla="*/ 152 h 161"/>
                <a:gd name="T24" fmla="*/ 1 w 640"/>
                <a:gd name="T25" fmla="*/ 148 h 161"/>
                <a:gd name="T26" fmla="*/ 0 w 640"/>
                <a:gd name="T27" fmla="*/ 145 h 161"/>
                <a:gd name="T28" fmla="*/ 0 w 640"/>
                <a:gd name="T29" fmla="*/ 141 h 161"/>
                <a:gd name="T30" fmla="*/ 0 w 640"/>
                <a:gd name="T31" fmla="*/ 22 h 161"/>
                <a:gd name="T32" fmla="*/ 0 w 640"/>
                <a:gd name="T33" fmla="*/ 17 h 161"/>
                <a:gd name="T34" fmla="*/ 1 w 640"/>
                <a:gd name="T35" fmla="*/ 13 h 161"/>
                <a:gd name="T36" fmla="*/ 4 w 640"/>
                <a:gd name="T37" fmla="*/ 10 h 161"/>
                <a:gd name="T38" fmla="*/ 6 w 640"/>
                <a:gd name="T39" fmla="*/ 7 h 161"/>
                <a:gd name="T40" fmla="*/ 9 w 640"/>
                <a:gd name="T41" fmla="*/ 4 h 161"/>
                <a:gd name="T42" fmla="*/ 12 w 640"/>
                <a:gd name="T43" fmla="*/ 3 h 161"/>
                <a:gd name="T44" fmla="*/ 16 w 640"/>
                <a:gd name="T45" fmla="*/ 2 h 161"/>
                <a:gd name="T46" fmla="*/ 20 w 640"/>
                <a:gd name="T47" fmla="*/ 0 h 161"/>
                <a:gd name="T48" fmla="*/ 620 w 640"/>
                <a:gd name="T49" fmla="*/ 0 h 161"/>
                <a:gd name="T50" fmla="*/ 624 w 640"/>
                <a:gd name="T51" fmla="*/ 2 h 161"/>
                <a:gd name="T52" fmla="*/ 627 w 640"/>
                <a:gd name="T53" fmla="*/ 3 h 161"/>
                <a:gd name="T54" fmla="*/ 631 w 640"/>
                <a:gd name="T55" fmla="*/ 4 h 161"/>
                <a:gd name="T56" fmla="*/ 633 w 640"/>
                <a:gd name="T57" fmla="*/ 7 h 161"/>
                <a:gd name="T58" fmla="*/ 636 w 640"/>
                <a:gd name="T59" fmla="*/ 10 h 161"/>
                <a:gd name="T60" fmla="*/ 638 w 640"/>
                <a:gd name="T61" fmla="*/ 13 h 161"/>
                <a:gd name="T62" fmla="*/ 640 w 640"/>
                <a:gd name="T63" fmla="*/ 17 h 161"/>
                <a:gd name="T64" fmla="*/ 640 w 640"/>
                <a:gd name="T65" fmla="*/ 22 h 161"/>
                <a:gd name="T66" fmla="*/ 640 w 640"/>
                <a:gd name="T67" fmla="*/ 141 h 161"/>
                <a:gd name="T68" fmla="*/ 640 w 640"/>
                <a:gd name="T69" fmla="*/ 145 h 161"/>
                <a:gd name="T70" fmla="*/ 638 w 640"/>
                <a:gd name="T71" fmla="*/ 148 h 161"/>
                <a:gd name="T72" fmla="*/ 636 w 640"/>
                <a:gd name="T73" fmla="*/ 152 h 161"/>
                <a:gd name="T74" fmla="*/ 633 w 640"/>
                <a:gd name="T75" fmla="*/ 156 h 161"/>
                <a:gd name="T76" fmla="*/ 631 w 640"/>
                <a:gd name="T77" fmla="*/ 158 h 161"/>
                <a:gd name="T78" fmla="*/ 627 w 640"/>
                <a:gd name="T79" fmla="*/ 159 h 161"/>
                <a:gd name="T80" fmla="*/ 624 w 640"/>
                <a:gd name="T81" fmla="*/ 161 h 161"/>
                <a:gd name="T82" fmla="*/ 620 w 640"/>
                <a:gd name="T8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 h="161">
                  <a:moveTo>
                    <a:pt x="40" y="121"/>
                  </a:moveTo>
                  <a:lnTo>
                    <a:pt x="600" y="121"/>
                  </a:lnTo>
                  <a:lnTo>
                    <a:pt x="600" y="41"/>
                  </a:lnTo>
                  <a:lnTo>
                    <a:pt x="40" y="41"/>
                  </a:lnTo>
                  <a:lnTo>
                    <a:pt x="40" y="121"/>
                  </a:lnTo>
                  <a:close/>
                  <a:moveTo>
                    <a:pt x="620" y="161"/>
                  </a:moveTo>
                  <a:lnTo>
                    <a:pt x="20" y="161"/>
                  </a:lnTo>
                  <a:lnTo>
                    <a:pt x="16" y="161"/>
                  </a:lnTo>
                  <a:lnTo>
                    <a:pt x="12" y="159"/>
                  </a:lnTo>
                  <a:lnTo>
                    <a:pt x="9" y="158"/>
                  </a:lnTo>
                  <a:lnTo>
                    <a:pt x="6" y="156"/>
                  </a:lnTo>
                  <a:lnTo>
                    <a:pt x="4" y="152"/>
                  </a:lnTo>
                  <a:lnTo>
                    <a:pt x="1" y="148"/>
                  </a:lnTo>
                  <a:lnTo>
                    <a:pt x="0" y="145"/>
                  </a:lnTo>
                  <a:lnTo>
                    <a:pt x="0" y="141"/>
                  </a:lnTo>
                  <a:lnTo>
                    <a:pt x="0" y="22"/>
                  </a:lnTo>
                  <a:lnTo>
                    <a:pt x="0" y="17"/>
                  </a:lnTo>
                  <a:lnTo>
                    <a:pt x="1" y="13"/>
                  </a:lnTo>
                  <a:lnTo>
                    <a:pt x="4" y="10"/>
                  </a:lnTo>
                  <a:lnTo>
                    <a:pt x="6" y="7"/>
                  </a:lnTo>
                  <a:lnTo>
                    <a:pt x="9" y="4"/>
                  </a:lnTo>
                  <a:lnTo>
                    <a:pt x="12" y="3"/>
                  </a:lnTo>
                  <a:lnTo>
                    <a:pt x="16" y="2"/>
                  </a:lnTo>
                  <a:lnTo>
                    <a:pt x="20" y="0"/>
                  </a:lnTo>
                  <a:lnTo>
                    <a:pt x="620" y="0"/>
                  </a:lnTo>
                  <a:lnTo>
                    <a:pt x="624" y="2"/>
                  </a:lnTo>
                  <a:lnTo>
                    <a:pt x="627" y="3"/>
                  </a:lnTo>
                  <a:lnTo>
                    <a:pt x="631" y="4"/>
                  </a:lnTo>
                  <a:lnTo>
                    <a:pt x="633" y="7"/>
                  </a:lnTo>
                  <a:lnTo>
                    <a:pt x="636" y="10"/>
                  </a:lnTo>
                  <a:lnTo>
                    <a:pt x="638" y="13"/>
                  </a:lnTo>
                  <a:lnTo>
                    <a:pt x="640" y="17"/>
                  </a:lnTo>
                  <a:lnTo>
                    <a:pt x="640" y="22"/>
                  </a:lnTo>
                  <a:lnTo>
                    <a:pt x="640" y="141"/>
                  </a:lnTo>
                  <a:lnTo>
                    <a:pt x="640" y="145"/>
                  </a:lnTo>
                  <a:lnTo>
                    <a:pt x="638" y="148"/>
                  </a:lnTo>
                  <a:lnTo>
                    <a:pt x="636" y="152"/>
                  </a:lnTo>
                  <a:lnTo>
                    <a:pt x="633" y="156"/>
                  </a:lnTo>
                  <a:lnTo>
                    <a:pt x="631" y="158"/>
                  </a:lnTo>
                  <a:lnTo>
                    <a:pt x="627" y="159"/>
                  </a:lnTo>
                  <a:lnTo>
                    <a:pt x="624" y="161"/>
                  </a:lnTo>
                  <a:lnTo>
                    <a:pt x="620"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82" name="Group 46">
            <a:extLst>
              <a:ext uri="{FF2B5EF4-FFF2-40B4-BE49-F238E27FC236}">
                <a16:creationId xmlns:a16="http://schemas.microsoft.com/office/drawing/2014/main" id="{DF79E703-50BB-4645-8513-5E2BAECA7035}"/>
              </a:ext>
            </a:extLst>
          </p:cNvPr>
          <p:cNvGrpSpPr>
            <a:grpSpLocks noChangeAspect="1"/>
          </p:cNvGrpSpPr>
          <p:nvPr/>
        </p:nvGrpSpPr>
        <p:grpSpPr>
          <a:xfrm>
            <a:off x="4450180" y="3312604"/>
            <a:ext cx="285619" cy="187278"/>
            <a:chOff x="3921126" y="2395538"/>
            <a:chExt cx="530225" cy="347663"/>
          </a:xfrm>
          <a:solidFill>
            <a:schemeClr val="bg1"/>
          </a:solidFill>
          <a:effectLst/>
        </p:grpSpPr>
        <p:sp>
          <p:nvSpPr>
            <p:cNvPr id="1283" name="Freeform 12">
              <a:extLst>
                <a:ext uri="{FF2B5EF4-FFF2-40B4-BE49-F238E27FC236}">
                  <a16:creationId xmlns:a16="http://schemas.microsoft.com/office/drawing/2014/main" id="{DD6E0DF4-F0C5-417D-B961-054B99B096D7}"/>
                </a:ext>
              </a:extLst>
            </p:cNvPr>
            <p:cNvSpPr>
              <a:spLocks noEditPoints="1"/>
            </p:cNvSpPr>
            <p:nvPr/>
          </p:nvSpPr>
          <p:spPr bwMode="auto">
            <a:xfrm>
              <a:off x="3994151" y="2395538"/>
              <a:ext cx="384175" cy="73025"/>
            </a:xfrm>
            <a:custGeom>
              <a:avLst/>
              <a:gdLst>
                <a:gd name="T0" fmla="*/ 46 w 967"/>
                <a:gd name="T1" fmla="*/ 139 h 184"/>
                <a:gd name="T2" fmla="*/ 922 w 967"/>
                <a:gd name="T3" fmla="*/ 139 h 184"/>
                <a:gd name="T4" fmla="*/ 922 w 967"/>
                <a:gd name="T5" fmla="*/ 47 h 184"/>
                <a:gd name="T6" fmla="*/ 46 w 967"/>
                <a:gd name="T7" fmla="*/ 47 h 184"/>
                <a:gd name="T8" fmla="*/ 46 w 967"/>
                <a:gd name="T9" fmla="*/ 139 h 184"/>
                <a:gd name="T10" fmla="*/ 944 w 967"/>
                <a:gd name="T11" fmla="*/ 184 h 184"/>
                <a:gd name="T12" fmla="*/ 23 w 967"/>
                <a:gd name="T13" fmla="*/ 184 h 184"/>
                <a:gd name="T14" fmla="*/ 18 w 967"/>
                <a:gd name="T15" fmla="*/ 184 h 184"/>
                <a:gd name="T16" fmla="*/ 14 w 967"/>
                <a:gd name="T17" fmla="*/ 183 h 184"/>
                <a:gd name="T18" fmla="*/ 11 w 967"/>
                <a:gd name="T19" fmla="*/ 181 h 184"/>
                <a:gd name="T20" fmla="*/ 7 w 967"/>
                <a:gd name="T21" fmla="*/ 178 h 184"/>
                <a:gd name="T22" fmla="*/ 3 w 967"/>
                <a:gd name="T23" fmla="*/ 175 h 184"/>
                <a:gd name="T24" fmla="*/ 2 w 967"/>
                <a:gd name="T25" fmla="*/ 171 h 184"/>
                <a:gd name="T26" fmla="*/ 1 w 967"/>
                <a:gd name="T27" fmla="*/ 166 h 184"/>
                <a:gd name="T28" fmla="*/ 0 w 967"/>
                <a:gd name="T29" fmla="*/ 162 h 184"/>
                <a:gd name="T30" fmla="*/ 0 w 967"/>
                <a:gd name="T31" fmla="*/ 24 h 184"/>
                <a:gd name="T32" fmla="*/ 1 w 967"/>
                <a:gd name="T33" fmla="*/ 19 h 184"/>
                <a:gd name="T34" fmla="*/ 2 w 967"/>
                <a:gd name="T35" fmla="*/ 15 h 184"/>
                <a:gd name="T36" fmla="*/ 3 w 967"/>
                <a:gd name="T37" fmla="*/ 10 h 184"/>
                <a:gd name="T38" fmla="*/ 7 w 967"/>
                <a:gd name="T39" fmla="*/ 8 h 184"/>
                <a:gd name="T40" fmla="*/ 11 w 967"/>
                <a:gd name="T41" fmla="*/ 4 h 184"/>
                <a:gd name="T42" fmla="*/ 14 w 967"/>
                <a:gd name="T43" fmla="*/ 3 h 184"/>
                <a:gd name="T44" fmla="*/ 18 w 967"/>
                <a:gd name="T45" fmla="*/ 0 h 184"/>
                <a:gd name="T46" fmla="*/ 23 w 967"/>
                <a:gd name="T47" fmla="*/ 0 h 184"/>
                <a:gd name="T48" fmla="*/ 944 w 967"/>
                <a:gd name="T49" fmla="*/ 0 h 184"/>
                <a:gd name="T50" fmla="*/ 949 w 967"/>
                <a:gd name="T51" fmla="*/ 0 h 184"/>
                <a:gd name="T52" fmla="*/ 954 w 967"/>
                <a:gd name="T53" fmla="*/ 3 h 184"/>
                <a:gd name="T54" fmla="*/ 958 w 967"/>
                <a:gd name="T55" fmla="*/ 4 h 184"/>
                <a:gd name="T56" fmla="*/ 961 w 967"/>
                <a:gd name="T57" fmla="*/ 8 h 184"/>
                <a:gd name="T58" fmla="*/ 964 w 967"/>
                <a:gd name="T59" fmla="*/ 10 h 184"/>
                <a:gd name="T60" fmla="*/ 966 w 967"/>
                <a:gd name="T61" fmla="*/ 15 h 184"/>
                <a:gd name="T62" fmla="*/ 967 w 967"/>
                <a:gd name="T63" fmla="*/ 19 h 184"/>
                <a:gd name="T64" fmla="*/ 967 w 967"/>
                <a:gd name="T65" fmla="*/ 24 h 184"/>
                <a:gd name="T66" fmla="*/ 967 w 967"/>
                <a:gd name="T67" fmla="*/ 162 h 184"/>
                <a:gd name="T68" fmla="*/ 967 w 967"/>
                <a:gd name="T69" fmla="*/ 166 h 184"/>
                <a:gd name="T70" fmla="*/ 966 w 967"/>
                <a:gd name="T71" fmla="*/ 171 h 184"/>
                <a:gd name="T72" fmla="*/ 964 w 967"/>
                <a:gd name="T73" fmla="*/ 175 h 184"/>
                <a:gd name="T74" fmla="*/ 961 w 967"/>
                <a:gd name="T75" fmla="*/ 178 h 184"/>
                <a:gd name="T76" fmla="*/ 958 w 967"/>
                <a:gd name="T77" fmla="*/ 181 h 184"/>
                <a:gd name="T78" fmla="*/ 954 w 967"/>
                <a:gd name="T79" fmla="*/ 183 h 184"/>
                <a:gd name="T80" fmla="*/ 949 w 967"/>
                <a:gd name="T81" fmla="*/ 184 h 184"/>
                <a:gd name="T82" fmla="*/ 944 w 967"/>
                <a:gd name="T8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7" h="184">
                  <a:moveTo>
                    <a:pt x="46" y="139"/>
                  </a:moveTo>
                  <a:lnTo>
                    <a:pt x="922" y="139"/>
                  </a:lnTo>
                  <a:lnTo>
                    <a:pt x="922" y="47"/>
                  </a:lnTo>
                  <a:lnTo>
                    <a:pt x="46" y="47"/>
                  </a:lnTo>
                  <a:lnTo>
                    <a:pt x="46" y="139"/>
                  </a:lnTo>
                  <a:close/>
                  <a:moveTo>
                    <a:pt x="944" y="184"/>
                  </a:moveTo>
                  <a:lnTo>
                    <a:pt x="23" y="184"/>
                  </a:lnTo>
                  <a:lnTo>
                    <a:pt x="18" y="184"/>
                  </a:lnTo>
                  <a:lnTo>
                    <a:pt x="14" y="183"/>
                  </a:lnTo>
                  <a:lnTo>
                    <a:pt x="11" y="181"/>
                  </a:lnTo>
                  <a:lnTo>
                    <a:pt x="7" y="178"/>
                  </a:lnTo>
                  <a:lnTo>
                    <a:pt x="3" y="175"/>
                  </a:lnTo>
                  <a:lnTo>
                    <a:pt x="2" y="171"/>
                  </a:lnTo>
                  <a:lnTo>
                    <a:pt x="1" y="166"/>
                  </a:lnTo>
                  <a:lnTo>
                    <a:pt x="0" y="162"/>
                  </a:lnTo>
                  <a:lnTo>
                    <a:pt x="0" y="24"/>
                  </a:lnTo>
                  <a:lnTo>
                    <a:pt x="1" y="19"/>
                  </a:lnTo>
                  <a:lnTo>
                    <a:pt x="2" y="15"/>
                  </a:lnTo>
                  <a:lnTo>
                    <a:pt x="3" y="10"/>
                  </a:lnTo>
                  <a:lnTo>
                    <a:pt x="7" y="8"/>
                  </a:lnTo>
                  <a:lnTo>
                    <a:pt x="11" y="4"/>
                  </a:lnTo>
                  <a:lnTo>
                    <a:pt x="14" y="3"/>
                  </a:lnTo>
                  <a:lnTo>
                    <a:pt x="18" y="0"/>
                  </a:lnTo>
                  <a:lnTo>
                    <a:pt x="23" y="0"/>
                  </a:lnTo>
                  <a:lnTo>
                    <a:pt x="944" y="0"/>
                  </a:lnTo>
                  <a:lnTo>
                    <a:pt x="949" y="0"/>
                  </a:lnTo>
                  <a:lnTo>
                    <a:pt x="954" y="3"/>
                  </a:lnTo>
                  <a:lnTo>
                    <a:pt x="958" y="4"/>
                  </a:lnTo>
                  <a:lnTo>
                    <a:pt x="961" y="8"/>
                  </a:lnTo>
                  <a:lnTo>
                    <a:pt x="964" y="10"/>
                  </a:lnTo>
                  <a:lnTo>
                    <a:pt x="966" y="15"/>
                  </a:lnTo>
                  <a:lnTo>
                    <a:pt x="967" y="19"/>
                  </a:lnTo>
                  <a:lnTo>
                    <a:pt x="967" y="24"/>
                  </a:lnTo>
                  <a:lnTo>
                    <a:pt x="967" y="162"/>
                  </a:lnTo>
                  <a:lnTo>
                    <a:pt x="967" y="166"/>
                  </a:lnTo>
                  <a:lnTo>
                    <a:pt x="966" y="171"/>
                  </a:lnTo>
                  <a:lnTo>
                    <a:pt x="964" y="175"/>
                  </a:lnTo>
                  <a:lnTo>
                    <a:pt x="961" y="178"/>
                  </a:lnTo>
                  <a:lnTo>
                    <a:pt x="958" y="181"/>
                  </a:lnTo>
                  <a:lnTo>
                    <a:pt x="954" y="183"/>
                  </a:lnTo>
                  <a:lnTo>
                    <a:pt x="949" y="184"/>
                  </a:lnTo>
                  <a:lnTo>
                    <a:pt x="94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13">
              <a:extLst>
                <a:ext uri="{FF2B5EF4-FFF2-40B4-BE49-F238E27FC236}">
                  <a16:creationId xmlns:a16="http://schemas.microsoft.com/office/drawing/2014/main" id="{D4C54BEB-B95E-4B74-83C8-F5346CE99EA5}"/>
                </a:ext>
              </a:extLst>
            </p:cNvPr>
            <p:cNvSpPr>
              <a:spLocks noEditPoints="1"/>
            </p:cNvSpPr>
            <p:nvPr/>
          </p:nvSpPr>
          <p:spPr bwMode="auto">
            <a:xfrm>
              <a:off x="3994151" y="2541588"/>
              <a:ext cx="384175" cy="201613"/>
            </a:xfrm>
            <a:custGeom>
              <a:avLst/>
              <a:gdLst>
                <a:gd name="T0" fmla="*/ 46 w 967"/>
                <a:gd name="T1" fmla="*/ 460 h 506"/>
                <a:gd name="T2" fmla="*/ 922 w 967"/>
                <a:gd name="T3" fmla="*/ 460 h 506"/>
                <a:gd name="T4" fmla="*/ 922 w 967"/>
                <a:gd name="T5" fmla="*/ 45 h 506"/>
                <a:gd name="T6" fmla="*/ 46 w 967"/>
                <a:gd name="T7" fmla="*/ 45 h 506"/>
                <a:gd name="T8" fmla="*/ 46 w 967"/>
                <a:gd name="T9" fmla="*/ 460 h 506"/>
                <a:gd name="T10" fmla="*/ 944 w 967"/>
                <a:gd name="T11" fmla="*/ 506 h 506"/>
                <a:gd name="T12" fmla="*/ 23 w 967"/>
                <a:gd name="T13" fmla="*/ 506 h 506"/>
                <a:gd name="T14" fmla="*/ 18 w 967"/>
                <a:gd name="T15" fmla="*/ 505 h 506"/>
                <a:gd name="T16" fmla="*/ 14 w 967"/>
                <a:gd name="T17" fmla="*/ 504 h 506"/>
                <a:gd name="T18" fmla="*/ 11 w 967"/>
                <a:gd name="T19" fmla="*/ 503 h 506"/>
                <a:gd name="T20" fmla="*/ 7 w 967"/>
                <a:gd name="T21" fmla="*/ 499 h 506"/>
                <a:gd name="T22" fmla="*/ 3 w 967"/>
                <a:gd name="T23" fmla="*/ 496 h 506"/>
                <a:gd name="T24" fmla="*/ 2 w 967"/>
                <a:gd name="T25" fmla="*/ 492 h 506"/>
                <a:gd name="T26" fmla="*/ 1 w 967"/>
                <a:gd name="T27" fmla="*/ 488 h 506"/>
                <a:gd name="T28" fmla="*/ 0 w 967"/>
                <a:gd name="T29" fmla="*/ 483 h 506"/>
                <a:gd name="T30" fmla="*/ 0 w 967"/>
                <a:gd name="T31" fmla="*/ 22 h 506"/>
                <a:gd name="T32" fmla="*/ 1 w 967"/>
                <a:gd name="T33" fmla="*/ 18 h 506"/>
                <a:gd name="T34" fmla="*/ 2 w 967"/>
                <a:gd name="T35" fmla="*/ 13 h 506"/>
                <a:gd name="T36" fmla="*/ 3 w 967"/>
                <a:gd name="T37" fmla="*/ 9 h 506"/>
                <a:gd name="T38" fmla="*/ 7 w 967"/>
                <a:gd name="T39" fmla="*/ 6 h 506"/>
                <a:gd name="T40" fmla="*/ 11 w 967"/>
                <a:gd name="T41" fmla="*/ 3 h 506"/>
                <a:gd name="T42" fmla="*/ 14 w 967"/>
                <a:gd name="T43" fmla="*/ 1 h 506"/>
                <a:gd name="T44" fmla="*/ 18 w 967"/>
                <a:gd name="T45" fmla="*/ 0 h 506"/>
                <a:gd name="T46" fmla="*/ 23 w 967"/>
                <a:gd name="T47" fmla="*/ 0 h 506"/>
                <a:gd name="T48" fmla="*/ 944 w 967"/>
                <a:gd name="T49" fmla="*/ 0 h 506"/>
                <a:gd name="T50" fmla="*/ 949 w 967"/>
                <a:gd name="T51" fmla="*/ 0 h 506"/>
                <a:gd name="T52" fmla="*/ 954 w 967"/>
                <a:gd name="T53" fmla="*/ 1 h 506"/>
                <a:gd name="T54" fmla="*/ 958 w 967"/>
                <a:gd name="T55" fmla="*/ 3 h 506"/>
                <a:gd name="T56" fmla="*/ 961 w 967"/>
                <a:gd name="T57" fmla="*/ 6 h 506"/>
                <a:gd name="T58" fmla="*/ 964 w 967"/>
                <a:gd name="T59" fmla="*/ 9 h 506"/>
                <a:gd name="T60" fmla="*/ 966 w 967"/>
                <a:gd name="T61" fmla="*/ 13 h 506"/>
                <a:gd name="T62" fmla="*/ 967 w 967"/>
                <a:gd name="T63" fmla="*/ 18 h 506"/>
                <a:gd name="T64" fmla="*/ 967 w 967"/>
                <a:gd name="T65" fmla="*/ 22 h 506"/>
                <a:gd name="T66" fmla="*/ 967 w 967"/>
                <a:gd name="T67" fmla="*/ 483 h 506"/>
                <a:gd name="T68" fmla="*/ 967 w 967"/>
                <a:gd name="T69" fmla="*/ 488 h 506"/>
                <a:gd name="T70" fmla="*/ 966 w 967"/>
                <a:gd name="T71" fmla="*/ 492 h 506"/>
                <a:gd name="T72" fmla="*/ 964 w 967"/>
                <a:gd name="T73" fmla="*/ 496 h 506"/>
                <a:gd name="T74" fmla="*/ 961 w 967"/>
                <a:gd name="T75" fmla="*/ 499 h 506"/>
                <a:gd name="T76" fmla="*/ 958 w 967"/>
                <a:gd name="T77" fmla="*/ 503 h 506"/>
                <a:gd name="T78" fmla="*/ 954 w 967"/>
                <a:gd name="T79" fmla="*/ 504 h 506"/>
                <a:gd name="T80" fmla="*/ 949 w 967"/>
                <a:gd name="T81" fmla="*/ 505 h 506"/>
                <a:gd name="T82" fmla="*/ 944 w 967"/>
                <a:gd name="T83" fmla="*/ 50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7" h="506">
                  <a:moveTo>
                    <a:pt x="46" y="460"/>
                  </a:moveTo>
                  <a:lnTo>
                    <a:pt x="922" y="460"/>
                  </a:lnTo>
                  <a:lnTo>
                    <a:pt x="922" y="45"/>
                  </a:lnTo>
                  <a:lnTo>
                    <a:pt x="46" y="45"/>
                  </a:lnTo>
                  <a:lnTo>
                    <a:pt x="46" y="460"/>
                  </a:lnTo>
                  <a:close/>
                  <a:moveTo>
                    <a:pt x="944" y="506"/>
                  </a:moveTo>
                  <a:lnTo>
                    <a:pt x="23" y="506"/>
                  </a:lnTo>
                  <a:lnTo>
                    <a:pt x="18" y="505"/>
                  </a:lnTo>
                  <a:lnTo>
                    <a:pt x="14" y="504"/>
                  </a:lnTo>
                  <a:lnTo>
                    <a:pt x="11" y="503"/>
                  </a:lnTo>
                  <a:lnTo>
                    <a:pt x="7" y="499"/>
                  </a:lnTo>
                  <a:lnTo>
                    <a:pt x="3" y="496"/>
                  </a:lnTo>
                  <a:lnTo>
                    <a:pt x="2" y="492"/>
                  </a:lnTo>
                  <a:lnTo>
                    <a:pt x="1" y="488"/>
                  </a:lnTo>
                  <a:lnTo>
                    <a:pt x="0" y="483"/>
                  </a:lnTo>
                  <a:lnTo>
                    <a:pt x="0" y="22"/>
                  </a:lnTo>
                  <a:lnTo>
                    <a:pt x="1" y="18"/>
                  </a:lnTo>
                  <a:lnTo>
                    <a:pt x="2" y="13"/>
                  </a:lnTo>
                  <a:lnTo>
                    <a:pt x="3" y="9"/>
                  </a:lnTo>
                  <a:lnTo>
                    <a:pt x="7" y="6"/>
                  </a:lnTo>
                  <a:lnTo>
                    <a:pt x="11" y="3"/>
                  </a:lnTo>
                  <a:lnTo>
                    <a:pt x="14" y="1"/>
                  </a:lnTo>
                  <a:lnTo>
                    <a:pt x="18" y="0"/>
                  </a:lnTo>
                  <a:lnTo>
                    <a:pt x="23" y="0"/>
                  </a:lnTo>
                  <a:lnTo>
                    <a:pt x="944" y="0"/>
                  </a:lnTo>
                  <a:lnTo>
                    <a:pt x="949" y="0"/>
                  </a:lnTo>
                  <a:lnTo>
                    <a:pt x="954" y="1"/>
                  </a:lnTo>
                  <a:lnTo>
                    <a:pt x="958" y="3"/>
                  </a:lnTo>
                  <a:lnTo>
                    <a:pt x="961" y="6"/>
                  </a:lnTo>
                  <a:lnTo>
                    <a:pt x="964" y="9"/>
                  </a:lnTo>
                  <a:lnTo>
                    <a:pt x="966" y="13"/>
                  </a:lnTo>
                  <a:lnTo>
                    <a:pt x="967" y="18"/>
                  </a:lnTo>
                  <a:lnTo>
                    <a:pt x="967" y="22"/>
                  </a:lnTo>
                  <a:lnTo>
                    <a:pt x="967" y="483"/>
                  </a:lnTo>
                  <a:lnTo>
                    <a:pt x="967" y="488"/>
                  </a:lnTo>
                  <a:lnTo>
                    <a:pt x="966" y="492"/>
                  </a:lnTo>
                  <a:lnTo>
                    <a:pt x="964" y="496"/>
                  </a:lnTo>
                  <a:lnTo>
                    <a:pt x="961" y="499"/>
                  </a:lnTo>
                  <a:lnTo>
                    <a:pt x="958" y="503"/>
                  </a:lnTo>
                  <a:lnTo>
                    <a:pt x="954" y="504"/>
                  </a:lnTo>
                  <a:lnTo>
                    <a:pt x="949" y="505"/>
                  </a:lnTo>
                  <a:lnTo>
                    <a:pt x="944"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14">
              <a:extLst>
                <a:ext uri="{FF2B5EF4-FFF2-40B4-BE49-F238E27FC236}">
                  <a16:creationId xmlns:a16="http://schemas.microsoft.com/office/drawing/2014/main" id="{0EC8CCD5-7BC5-4277-8BEB-FB05B9EAF2CD}"/>
                </a:ext>
              </a:extLst>
            </p:cNvPr>
            <p:cNvSpPr>
              <a:spLocks noEditPoints="1"/>
            </p:cNvSpPr>
            <p:nvPr/>
          </p:nvSpPr>
          <p:spPr bwMode="auto">
            <a:xfrm>
              <a:off x="3921126" y="2451100"/>
              <a:ext cx="530225" cy="109538"/>
            </a:xfrm>
            <a:custGeom>
              <a:avLst/>
              <a:gdLst>
                <a:gd name="T0" fmla="*/ 71 w 1337"/>
                <a:gd name="T1" fmla="*/ 231 h 276"/>
                <a:gd name="T2" fmla="*/ 1264 w 1337"/>
                <a:gd name="T3" fmla="*/ 231 h 276"/>
                <a:gd name="T4" fmla="*/ 1117 w 1337"/>
                <a:gd name="T5" fmla="*/ 45 h 276"/>
                <a:gd name="T6" fmla="*/ 218 w 1337"/>
                <a:gd name="T7" fmla="*/ 45 h 276"/>
                <a:gd name="T8" fmla="*/ 71 w 1337"/>
                <a:gd name="T9" fmla="*/ 231 h 276"/>
                <a:gd name="T10" fmla="*/ 1313 w 1337"/>
                <a:gd name="T11" fmla="*/ 276 h 276"/>
                <a:gd name="T12" fmla="*/ 1313 w 1337"/>
                <a:gd name="T13" fmla="*/ 276 h 276"/>
                <a:gd name="T14" fmla="*/ 1313 w 1337"/>
                <a:gd name="T15" fmla="*/ 276 h 276"/>
                <a:gd name="T16" fmla="*/ 23 w 1337"/>
                <a:gd name="T17" fmla="*/ 276 h 276"/>
                <a:gd name="T18" fmla="*/ 17 w 1337"/>
                <a:gd name="T19" fmla="*/ 275 h 276"/>
                <a:gd name="T20" fmla="*/ 11 w 1337"/>
                <a:gd name="T21" fmla="*/ 272 h 276"/>
                <a:gd name="T22" fmla="*/ 6 w 1337"/>
                <a:gd name="T23" fmla="*/ 269 h 276"/>
                <a:gd name="T24" fmla="*/ 2 w 1337"/>
                <a:gd name="T25" fmla="*/ 264 h 276"/>
                <a:gd name="T26" fmla="*/ 0 w 1337"/>
                <a:gd name="T27" fmla="*/ 256 h 276"/>
                <a:gd name="T28" fmla="*/ 0 w 1337"/>
                <a:gd name="T29" fmla="*/ 250 h 276"/>
                <a:gd name="T30" fmla="*/ 1 w 1337"/>
                <a:gd name="T31" fmla="*/ 244 h 276"/>
                <a:gd name="T32" fmla="*/ 5 w 1337"/>
                <a:gd name="T33" fmla="*/ 239 h 276"/>
                <a:gd name="T34" fmla="*/ 189 w 1337"/>
                <a:gd name="T35" fmla="*/ 9 h 276"/>
                <a:gd name="T36" fmla="*/ 192 w 1337"/>
                <a:gd name="T37" fmla="*/ 5 h 276"/>
                <a:gd name="T38" fmla="*/ 197 w 1337"/>
                <a:gd name="T39" fmla="*/ 2 h 276"/>
                <a:gd name="T40" fmla="*/ 202 w 1337"/>
                <a:gd name="T41" fmla="*/ 0 h 276"/>
                <a:gd name="T42" fmla="*/ 207 w 1337"/>
                <a:gd name="T43" fmla="*/ 0 h 276"/>
                <a:gd name="T44" fmla="*/ 1128 w 1337"/>
                <a:gd name="T45" fmla="*/ 0 h 276"/>
                <a:gd name="T46" fmla="*/ 1134 w 1337"/>
                <a:gd name="T47" fmla="*/ 0 h 276"/>
                <a:gd name="T48" fmla="*/ 1138 w 1337"/>
                <a:gd name="T49" fmla="*/ 2 h 276"/>
                <a:gd name="T50" fmla="*/ 1143 w 1337"/>
                <a:gd name="T51" fmla="*/ 5 h 276"/>
                <a:gd name="T52" fmla="*/ 1147 w 1337"/>
                <a:gd name="T53" fmla="*/ 9 h 276"/>
                <a:gd name="T54" fmla="*/ 1328 w 1337"/>
                <a:gd name="T55" fmla="*/ 236 h 276"/>
                <a:gd name="T56" fmla="*/ 1332 w 1337"/>
                <a:gd name="T57" fmla="*/ 239 h 276"/>
                <a:gd name="T58" fmla="*/ 1334 w 1337"/>
                <a:gd name="T59" fmla="*/ 244 h 276"/>
                <a:gd name="T60" fmla="*/ 1335 w 1337"/>
                <a:gd name="T61" fmla="*/ 248 h 276"/>
                <a:gd name="T62" fmla="*/ 1337 w 1337"/>
                <a:gd name="T63" fmla="*/ 253 h 276"/>
                <a:gd name="T64" fmla="*/ 1335 w 1337"/>
                <a:gd name="T65" fmla="*/ 258 h 276"/>
                <a:gd name="T66" fmla="*/ 1334 w 1337"/>
                <a:gd name="T67" fmla="*/ 263 h 276"/>
                <a:gd name="T68" fmla="*/ 1333 w 1337"/>
                <a:gd name="T69" fmla="*/ 266 h 276"/>
                <a:gd name="T70" fmla="*/ 1329 w 1337"/>
                <a:gd name="T71" fmla="*/ 270 h 276"/>
                <a:gd name="T72" fmla="*/ 1326 w 1337"/>
                <a:gd name="T73" fmla="*/ 272 h 276"/>
                <a:gd name="T74" fmla="*/ 1322 w 1337"/>
                <a:gd name="T75" fmla="*/ 275 h 276"/>
                <a:gd name="T76" fmla="*/ 1318 w 1337"/>
                <a:gd name="T77" fmla="*/ 276 h 276"/>
                <a:gd name="T78" fmla="*/ 1313 w 1337"/>
                <a:gd name="T7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7" h="276">
                  <a:moveTo>
                    <a:pt x="71" y="231"/>
                  </a:moveTo>
                  <a:lnTo>
                    <a:pt x="1264" y="231"/>
                  </a:lnTo>
                  <a:lnTo>
                    <a:pt x="1117" y="45"/>
                  </a:lnTo>
                  <a:lnTo>
                    <a:pt x="218" y="45"/>
                  </a:lnTo>
                  <a:lnTo>
                    <a:pt x="71" y="231"/>
                  </a:lnTo>
                  <a:close/>
                  <a:moveTo>
                    <a:pt x="1313" y="276"/>
                  </a:moveTo>
                  <a:lnTo>
                    <a:pt x="1313" y="276"/>
                  </a:lnTo>
                  <a:lnTo>
                    <a:pt x="1313" y="276"/>
                  </a:lnTo>
                  <a:lnTo>
                    <a:pt x="23" y="276"/>
                  </a:lnTo>
                  <a:lnTo>
                    <a:pt x="17" y="275"/>
                  </a:lnTo>
                  <a:lnTo>
                    <a:pt x="11" y="272"/>
                  </a:lnTo>
                  <a:lnTo>
                    <a:pt x="6" y="269"/>
                  </a:lnTo>
                  <a:lnTo>
                    <a:pt x="2" y="264"/>
                  </a:lnTo>
                  <a:lnTo>
                    <a:pt x="0" y="256"/>
                  </a:lnTo>
                  <a:lnTo>
                    <a:pt x="0" y="250"/>
                  </a:lnTo>
                  <a:lnTo>
                    <a:pt x="1" y="244"/>
                  </a:lnTo>
                  <a:lnTo>
                    <a:pt x="5" y="239"/>
                  </a:lnTo>
                  <a:lnTo>
                    <a:pt x="189" y="9"/>
                  </a:lnTo>
                  <a:lnTo>
                    <a:pt x="192" y="5"/>
                  </a:lnTo>
                  <a:lnTo>
                    <a:pt x="197" y="2"/>
                  </a:lnTo>
                  <a:lnTo>
                    <a:pt x="202" y="0"/>
                  </a:lnTo>
                  <a:lnTo>
                    <a:pt x="207" y="0"/>
                  </a:lnTo>
                  <a:lnTo>
                    <a:pt x="1128" y="0"/>
                  </a:lnTo>
                  <a:lnTo>
                    <a:pt x="1134" y="0"/>
                  </a:lnTo>
                  <a:lnTo>
                    <a:pt x="1138" y="2"/>
                  </a:lnTo>
                  <a:lnTo>
                    <a:pt x="1143" y="5"/>
                  </a:lnTo>
                  <a:lnTo>
                    <a:pt x="1147" y="9"/>
                  </a:lnTo>
                  <a:lnTo>
                    <a:pt x="1328" y="236"/>
                  </a:lnTo>
                  <a:lnTo>
                    <a:pt x="1332" y="239"/>
                  </a:lnTo>
                  <a:lnTo>
                    <a:pt x="1334" y="244"/>
                  </a:lnTo>
                  <a:lnTo>
                    <a:pt x="1335" y="248"/>
                  </a:lnTo>
                  <a:lnTo>
                    <a:pt x="1337" y="253"/>
                  </a:lnTo>
                  <a:lnTo>
                    <a:pt x="1335" y="258"/>
                  </a:lnTo>
                  <a:lnTo>
                    <a:pt x="1334" y="263"/>
                  </a:lnTo>
                  <a:lnTo>
                    <a:pt x="1333" y="266"/>
                  </a:lnTo>
                  <a:lnTo>
                    <a:pt x="1329" y="270"/>
                  </a:lnTo>
                  <a:lnTo>
                    <a:pt x="1326" y="272"/>
                  </a:lnTo>
                  <a:lnTo>
                    <a:pt x="1322" y="275"/>
                  </a:lnTo>
                  <a:lnTo>
                    <a:pt x="1318" y="276"/>
                  </a:lnTo>
                  <a:lnTo>
                    <a:pt x="131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15">
              <a:extLst>
                <a:ext uri="{FF2B5EF4-FFF2-40B4-BE49-F238E27FC236}">
                  <a16:creationId xmlns:a16="http://schemas.microsoft.com/office/drawing/2014/main" id="{A99B3659-6E7B-49DE-BC11-9C92F23368E3}"/>
                </a:ext>
              </a:extLst>
            </p:cNvPr>
            <p:cNvSpPr>
              <a:spLocks noEditPoints="1"/>
            </p:cNvSpPr>
            <p:nvPr/>
          </p:nvSpPr>
          <p:spPr bwMode="auto">
            <a:xfrm>
              <a:off x="4030663" y="2541588"/>
              <a:ext cx="311150" cy="165100"/>
            </a:xfrm>
            <a:custGeom>
              <a:avLst/>
              <a:gdLst>
                <a:gd name="T0" fmla="*/ 46 w 783"/>
                <a:gd name="T1" fmla="*/ 368 h 414"/>
                <a:gd name="T2" fmla="*/ 737 w 783"/>
                <a:gd name="T3" fmla="*/ 368 h 414"/>
                <a:gd name="T4" fmla="*/ 737 w 783"/>
                <a:gd name="T5" fmla="*/ 45 h 414"/>
                <a:gd name="T6" fmla="*/ 46 w 783"/>
                <a:gd name="T7" fmla="*/ 45 h 414"/>
                <a:gd name="T8" fmla="*/ 46 w 783"/>
                <a:gd name="T9" fmla="*/ 368 h 414"/>
                <a:gd name="T10" fmla="*/ 760 w 783"/>
                <a:gd name="T11" fmla="*/ 414 h 414"/>
                <a:gd name="T12" fmla="*/ 23 w 783"/>
                <a:gd name="T13" fmla="*/ 414 h 414"/>
                <a:gd name="T14" fmla="*/ 18 w 783"/>
                <a:gd name="T15" fmla="*/ 413 h 414"/>
                <a:gd name="T16" fmla="*/ 14 w 783"/>
                <a:gd name="T17" fmla="*/ 412 h 414"/>
                <a:gd name="T18" fmla="*/ 11 w 783"/>
                <a:gd name="T19" fmla="*/ 409 h 414"/>
                <a:gd name="T20" fmla="*/ 7 w 783"/>
                <a:gd name="T21" fmla="*/ 407 h 414"/>
                <a:gd name="T22" fmla="*/ 5 w 783"/>
                <a:gd name="T23" fmla="*/ 403 h 414"/>
                <a:gd name="T24" fmla="*/ 2 w 783"/>
                <a:gd name="T25" fmla="*/ 400 h 414"/>
                <a:gd name="T26" fmla="*/ 1 w 783"/>
                <a:gd name="T27" fmla="*/ 396 h 414"/>
                <a:gd name="T28" fmla="*/ 0 w 783"/>
                <a:gd name="T29" fmla="*/ 391 h 414"/>
                <a:gd name="T30" fmla="*/ 0 w 783"/>
                <a:gd name="T31" fmla="*/ 22 h 414"/>
                <a:gd name="T32" fmla="*/ 1 w 783"/>
                <a:gd name="T33" fmla="*/ 18 h 414"/>
                <a:gd name="T34" fmla="*/ 2 w 783"/>
                <a:gd name="T35" fmla="*/ 13 h 414"/>
                <a:gd name="T36" fmla="*/ 5 w 783"/>
                <a:gd name="T37" fmla="*/ 9 h 414"/>
                <a:gd name="T38" fmla="*/ 7 w 783"/>
                <a:gd name="T39" fmla="*/ 6 h 414"/>
                <a:gd name="T40" fmla="*/ 11 w 783"/>
                <a:gd name="T41" fmla="*/ 3 h 414"/>
                <a:gd name="T42" fmla="*/ 14 w 783"/>
                <a:gd name="T43" fmla="*/ 1 h 414"/>
                <a:gd name="T44" fmla="*/ 18 w 783"/>
                <a:gd name="T45" fmla="*/ 0 h 414"/>
                <a:gd name="T46" fmla="*/ 23 w 783"/>
                <a:gd name="T47" fmla="*/ 0 h 414"/>
                <a:gd name="T48" fmla="*/ 760 w 783"/>
                <a:gd name="T49" fmla="*/ 0 h 414"/>
                <a:gd name="T50" fmla="*/ 765 w 783"/>
                <a:gd name="T51" fmla="*/ 0 h 414"/>
                <a:gd name="T52" fmla="*/ 770 w 783"/>
                <a:gd name="T53" fmla="*/ 1 h 414"/>
                <a:gd name="T54" fmla="*/ 774 w 783"/>
                <a:gd name="T55" fmla="*/ 3 h 414"/>
                <a:gd name="T56" fmla="*/ 776 w 783"/>
                <a:gd name="T57" fmla="*/ 6 h 414"/>
                <a:gd name="T58" fmla="*/ 780 w 783"/>
                <a:gd name="T59" fmla="*/ 9 h 414"/>
                <a:gd name="T60" fmla="*/ 782 w 783"/>
                <a:gd name="T61" fmla="*/ 13 h 414"/>
                <a:gd name="T62" fmla="*/ 783 w 783"/>
                <a:gd name="T63" fmla="*/ 18 h 414"/>
                <a:gd name="T64" fmla="*/ 783 w 783"/>
                <a:gd name="T65" fmla="*/ 22 h 414"/>
                <a:gd name="T66" fmla="*/ 783 w 783"/>
                <a:gd name="T67" fmla="*/ 391 h 414"/>
                <a:gd name="T68" fmla="*/ 783 w 783"/>
                <a:gd name="T69" fmla="*/ 396 h 414"/>
                <a:gd name="T70" fmla="*/ 782 w 783"/>
                <a:gd name="T71" fmla="*/ 400 h 414"/>
                <a:gd name="T72" fmla="*/ 780 w 783"/>
                <a:gd name="T73" fmla="*/ 403 h 414"/>
                <a:gd name="T74" fmla="*/ 776 w 783"/>
                <a:gd name="T75" fmla="*/ 407 h 414"/>
                <a:gd name="T76" fmla="*/ 774 w 783"/>
                <a:gd name="T77" fmla="*/ 409 h 414"/>
                <a:gd name="T78" fmla="*/ 770 w 783"/>
                <a:gd name="T79" fmla="*/ 412 h 414"/>
                <a:gd name="T80" fmla="*/ 765 w 783"/>
                <a:gd name="T81" fmla="*/ 413 h 414"/>
                <a:gd name="T82" fmla="*/ 760 w 783"/>
                <a:gd name="T83"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3" h="414">
                  <a:moveTo>
                    <a:pt x="46" y="368"/>
                  </a:moveTo>
                  <a:lnTo>
                    <a:pt x="737" y="368"/>
                  </a:lnTo>
                  <a:lnTo>
                    <a:pt x="737" y="45"/>
                  </a:lnTo>
                  <a:lnTo>
                    <a:pt x="46" y="45"/>
                  </a:lnTo>
                  <a:lnTo>
                    <a:pt x="46" y="368"/>
                  </a:lnTo>
                  <a:close/>
                  <a:moveTo>
                    <a:pt x="760" y="414"/>
                  </a:moveTo>
                  <a:lnTo>
                    <a:pt x="23" y="414"/>
                  </a:lnTo>
                  <a:lnTo>
                    <a:pt x="18" y="413"/>
                  </a:lnTo>
                  <a:lnTo>
                    <a:pt x="14" y="412"/>
                  </a:lnTo>
                  <a:lnTo>
                    <a:pt x="11" y="409"/>
                  </a:lnTo>
                  <a:lnTo>
                    <a:pt x="7" y="407"/>
                  </a:lnTo>
                  <a:lnTo>
                    <a:pt x="5" y="403"/>
                  </a:lnTo>
                  <a:lnTo>
                    <a:pt x="2" y="400"/>
                  </a:lnTo>
                  <a:lnTo>
                    <a:pt x="1" y="396"/>
                  </a:lnTo>
                  <a:lnTo>
                    <a:pt x="0" y="391"/>
                  </a:lnTo>
                  <a:lnTo>
                    <a:pt x="0" y="22"/>
                  </a:lnTo>
                  <a:lnTo>
                    <a:pt x="1" y="18"/>
                  </a:lnTo>
                  <a:lnTo>
                    <a:pt x="2" y="13"/>
                  </a:lnTo>
                  <a:lnTo>
                    <a:pt x="5" y="9"/>
                  </a:lnTo>
                  <a:lnTo>
                    <a:pt x="7" y="6"/>
                  </a:lnTo>
                  <a:lnTo>
                    <a:pt x="11" y="3"/>
                  </a:lnTo>
                  <a:lnTo>
                    <a:pt x="14" y="1"/>
                  </a:lnTo>
                  <a:lnTo>
                    <a:pt x="18" y="0"/>
                  </a:lnTo>
                  <a:lnTo>
                    <a:pt x="23" y="0"/>
                  </a:lnTo>
                  <a:lnTo>
                    <a:pt x="760" y="0"/>
                  </a:lnTo>
                  <a:lnTo>
                    <a:pt x="765" y="0"/>
                  </a:lnTo>
                  <a:lnTo>
                    <a:pt x="770" y="1"/>
                  </a:lnTo>
                  <a:lnTo>
                    <a:pt x="774" y="3"/>
                  </a:lnTo>
                  <a:lnTo>
                    <a:pt x="776" y="6"/>
                  </a:lnTo>
                  <a:lnTo>
                    <a:pt x="780" y="9"/>
                  </a:lnTo>
                  <a:lnTo>
                    <a:pt x="782" y="13"/>
                  </a:lnTo>
                  <a:lnTo>
                    <a:pt x="783" y="18"/>
                  </a:lnTo>
                  <a:lnTo>
                    <a:pt x="783" y="22"/>
                  </a:lnTo>
                  <a:lnTo>
                    <a:pt x="783" y="391"/>
                  </a:lnTo>
                  <a:lnTo>
                    <a:pt x="783" y="396"/>
                  </a:lnTo>
                  <a:lnTo>
                    <a:pt x="782" y="400"/>
                  </a:lnTo>
                  <a:lnTo>
                    <a:pt x="780" y="403"/>
                  </a:lnTo>
                  <a:lnTo>
                    <a:pt x="776" y="407"/>
                  </a:lnTo>
                  <a:lnTo>
                    <a:pt x="774" y="409"/>
                  </a:lnTo>
                  <a:lnTo>
                    <a:pt x="770" y="412"/>
                  </a:lnTo>
                  <a:lnTo>
                    <a:pt x="765" y="413"/>
                  </a:lnTo>
                  <a:lnTo>
                    <a:pt x="760"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25">
              <a:extLst>
                <a:ext uri="{FF2B5EF4-FFF2-40B4-BE49-F238E27FC236}">
                  <a16:creationId xmlns:a16="http://schemas.microsoft.com/office/drawing/2014/main" id="{AC8A83F4-7195-4B94-8753-202EBA21894D}"/>
                </a:ext>
              </a:extLst>
            </p:cNvPr>
            <p:cNvSpPr>
              <a:spLocks/>
            </p:cNvSpPr>
            <p:nvPr/>
          </p:nvSpPr>
          <p:spPr bwMode="auto">
            <a:xfrm>
              <a:off x="4011613" y="2451100"/>
              <a:ext cx="73025" cy="109538"/>
            </a:xfrm>
            <a:custGeom>
              <a:avLst/>
              <a:gdLst>
                <a:gd name="T0" fmla="*/ 24 w 184"/>
                <a:gd name="T1" fmla="*/ 276 h 276"/>
                <a:gd name="T2" fmla="*/ 18 w 184"/>
                <a:gd name="T3" fmla="*/ 276 h 276"/>
                <a:gd name="T4" fmla="*/ 11 w 184"/>
                <a:gd name="T5" fmla="*/ 272 h 276"/>
                <a:gd name="T6" fmla="*/ 8 w 184"/>
                <a:gd name="T7" fmla="*/ 270 h 276"/>
                <a:gd name="T8" fmla="*/ 4 w 184"/>
                <a:gd name="T9" fmla="*/ 266 h 276"/>
                <a:gd name="T10" fmla="*/ 3 w 184"/>
                <a:gd name="T11" fmla="*/ 263 h 276"/>
                <a:gd name="T12" fmla="*/ 0 w 184"/>
                <a:gd name="T13" fmla="*/ 259 h 276"/>
                <a:gd name="T14" fmla="*/ 0 w 184"/>
                <a:gd name="T15" fmla="*/ 254 h 276"/>
                <a:gd name="T16" fmla="*/ 0 w 184"/>
                <a:gd name="T17" fmla="*/ 250 h 276"/>
                <a:gd name="T18" fmla="*/ 2 w 184"/>
                <a:gd name="T19" fmla="*/ 245 h 276"/>
                <a:gd name="T20" fmla="*/ 4 w 184"/>
                <a:gd name="T21" fmla="*/ 242 h 276"/>
                <a:gd name="T22" fmla="*/ 141 w 184"/>
                <a:gd name="T23" fmla="*/ 11 h 276"/>
                <a:gd name="T24" fmla="*/ 144 w 184"/>
                <a:gd name="T25" fmla="*/ 7 h 276"/>
                <a:gd name="T26" fmla="*/ 148 w 184"/>
                <a:gd name="T27" fmla="*/ 4 h 276"/>
                <a:gd name="T28" fmla="*/ 151 w 184"/>
                <a:gd name="T29" fmla="*/ 2 h 276"/>
                <a:gd name="T30" fmla="*/ 156 w 184"/>
                <a:gd name="T31" fmla="*/ 0 h 276"/>
                <a:gd name="T32" fmla="*/ 160 w 184"/>
                <a:gd name="T33" fmla="*/ 0 h 276"/>
                <a:gd name="T34" fmla="*/ 165 w 184"/>
                <a:gd name="T35" fmla="*/ 0 h 276"/>
                <a:gd name="T36" fmla="*/ 170 w 184"/>
                <a:gd name="T37" fmla="*/ 1 h 276"/>
                <a:gd name="T38" fmla="*/ 173 w 184"/>
                <a:gd name="T39" fmla="*/ 2 h 276"/>
                <a:gd name="T40" fmla="*/ 177 w 184"/>
                <a:gd name="T41" fmla="*/ 6 h 276"/>
                <a:gd name="T42" fmla="*/ 179 w 184"/>
                <a:gd name="T43" fmla="*/ 9 h 276"/>
                <a:gd name="T44" fmla="*/ 182 w 184"/>
                <a:gd name="T45" fmla="*/ 14 h 276"/>
                <a:gd name="T46" fmla="*/ 184 w 184"/>
                <a:gd name="T47" fmla="*/ 17 h 276"/>
                <a:gd name="T48" fmla="*/ 184 w 184"/>
                <a:gd name="T49" fmla="*/ 22 h 276"/>
                <a:gd name="T50" fmla="*/ 184 w 184"/>
                <a:gd name="T51" fmla="*/ 26 h 276"/>
                <a:gd name="T52" fmla="*/ 183 w 184"/>
                <a:gd name="T53" fmla="*/ 31 h 276"/>
                <a:gd name="T54" fmla="*/ 181 w 184"/>
                <a:gd name="T55" fmla="*/ 34 h 276"/>
                <a:gd name="T56" fmla="*/ 43 w 184"/>
                <a:gd name="T57" fmla="*/ 265 h 276"/>
                <a:gd name="T58" fmla="*/ 40 w 184"/>
                <a:gd name="T59" fmla="*/ 270 h 276"/>
                <a:gd name="T60" fmla="*/ 35 w 184"/>
                <a:gd name="T61" fmla="*/ 274 h 276"/>
                <a:gd name="T62" fmla="*/ 29 w 184"/>
                <a:gd name="T63" fmla="*/ 276 h 276"/>
                <a:gd name="T64" fmla="*/ 24 w 184"/>
                <a:gd name="T6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276">
                  <a:moveTo>
                    <a:pt x="24" y="276"/>
                  </a:moveTo>
                  <a:lnTo>
                    <a:pt x="18" y="276"/>
                  </a:lnTo>
                  <a:lnTo>
                    <a:pt x="11" y="272"/>
                  </a:lnTo>
                  <a:lnTo>
                    <a:pt x="8" y="270"/>
                  </a:lnTo>
                  <a:lnTo>
                    <a:pt x="4" y="266"/>
                  </a:lnTo>
                  <a:lnTo>
                    <a:pt x="3" y="263"/>
                  </a:lnTo>
                  <a:lnTo>
                    <a:pt x="0" y="259"/>
                  </a:lnTo>
                  <a:lnTo>
                    <a:pt x="0" y="254"/>
                  </a:lnTo>
                  <a:lnTo>
                    <a:pt x="0" y="250"/>
                  </a:lnTo>
                  <a:lnTo>
                    <a:pt x="2" y="245"/>
                  </a:lnTo>
                  <a:lnTo>
                    <a:pt x="4" y="242"/>
                  </a:lnTo>
                  <a:lnTo>
                    <a:pt x="141" y="11"/>
                  </a:lnTo>
                  <a:lnTo>
                    <a:pt x="144" y="7"/>
                  </a:lnTo>
                  <a:lnTo>
                    <a:pt x="148" y="4"/>
                  </a:lnTo>
                  <a:lnTo>
                    <a:pt x="151" y="2"/>
                  </a:lnTo>
                  <a:lnTo>
                    <a:pt x="156" y="0"/>
                  </a:lnTo>
                  <a:lnTo>
                    <a:pt x="160" y="0"/>
                  </a:lnTo>
                  <a:lnTo>
                    <a:pt x="165" y="0"/>
                  </a:lnTo>
                  <a:lnTo>
                    <a:pt x="170" y="1"/>
                  </a:lnTo>
                  <a:lnTo>
                    <a:pt x="173" y="2"/>
                  </a:lnTo>
                  <a:lnTo>
                    <a:pt x="177" y="6"/>
                  </a:lnTo>
                  <a:lnTo>
                    <a:pt x="179" y="9"/>
                  </a:lnTo>
                  <a:lnTo>
                    <a:pt x="182" y="14"/>
                  </a:lnTo>
                  <a:lnTo>
                    <a:pt x="184" y="17"/>
                  </a:lnTo>
                  <a:lnTo>
                    <a:pt x="184" y="22"/>
                  </a:lnTo>
                  <a:lnTo>
                    <a:pt x="184" y="26"/>
                  </a:lnTo>
                  <a:lnTo>
                    <a:pt x="183" y="31"/>
                  </a:lnTo>
                  <a:lnTo>
                    <a:pt x="181" y="34"/>
                  </a:lnTo>
                  <a:lnTo>
                    <a:pt x="43" y="265"/>
                  </a:lnTo>
                  <a:lnTo>
                    <a:pt x="40" y="270"/>
                  </a:lnTo>
                  <a:lnTo>
                    <a:pt x="35" y="274"/>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26">
              <a:extLst>
                <a:ext uri="{FF2B5EF4-FFF2-40B4-BE49-F238E27FC236}">
                  <a16:creationId xmlns:a16="http://schemas.microsoft.com/office/drawing/2014/main" id="{436F9F41-5926-416D-BDEA-CDADD003B435}"/>
                </a:ext>
              </a:extLst>
            </p:cNvPr>
            <p:cNvSpPr>
              <a:spLocks/>
            </p:cNvSpPr>
            <p:nvPr/>
          </p:nvSpPr>
          <p:spPr bwMode="auto">
            <a:xfrm>
              <a:off x="4286251" y="2451100"/>
              <a:ext cx="73025" cy="109538"/>
            </a:xfrm>
            <a:custGeom>
              <a:avLst/>
              <a:gdLst>
                <a:gd name="T0" fmla="*/ 162 w 185"/>
                <a:gd name="T1" fmla="*/ 276 h 276"/>
                <a:gd name="T2" fmla="*/ 156 w 185"/>
                <a:gd name="T3" fmla="*/ 276 h 276"/>
                <a:gd name="T4" fmla="*/ 151 w 185"/>
                <a:gd name="T5" fmla="*/ 274 h 276"/>
                <a:gd name="T6" fmla="*/ 146 w 185"/>
                <a:gd name="T7" fmla="*/ 270 h 276"/>
                <a:gd name="T8" fmla="*/ 142 w 185"/>
                <a:gd name="T9" fmla="*/ 265 h 276"/>
                <a:gd name="T10" fmla="*/ 4 w 185"/>
                <a:gd name="T11" fmla="*/ 34 h 276"/>
                <a:gd name="T12" fmla="*/ 1 w 185"/>
                <a:gd name="T13" fmla="*/ 31 h 276"/>
                <a:gd name="T14" fmla="*/ 0 w 185"/>
                <a:gd name="T15" fmla="*/ 26 h 276"/>
                <a:gd name="T16" fmla="*/ 0 w 185"/>
                <a:gd name="T17" fmla="*/ 22 h 276"/>
                <a:gd name="T18" fmla="*/ 1 w 185"/>
                <a:gd name="T19" fmla="*/ 17 h 276"/>
                <a:gd name="T20" fmla="*/ 2 w 185"/>
                <a:gd name="T21" fmla="*/ 14 h 276"/>
                <a:gd name="T22" fmla="*/ 5 w 185"/>
                <a:gd name="T23" fmla="*/ 9 h 276"/>
                <a:gd name="T24" fmla="*/ 7 w 185"/>
                <a:gd name="T25" fmla="*/ 6 h 276"/>
                <a:gd name="T26" fmla="*/ 11 w 185"/>
                <a:gd name="T27" fmla="*/ 2 h 276"/>
                <a:gd name="T28" fmla="*/ 16 w 185"/>
                <a:gd name="T29" fmla="*/ 1 h 276"/>
                <a:gd name="T30" fmla="*/ 19 w 185"/>
                <a:gd name="T31" fmla="*/ 0 h 276"/>
                <a:gd name="T32" fmla="*/ 24 w 185"/>
                <a:gd name="T33" fmla="*/ 0 h 276"/>
                <a:gd name="T34" fmla="*/ 29 w 185"/>
                <a:gd name="T35" fmla="*/ 0 h 276"/>
                <a:gd name="T36" fmla="*/ 33 w 185"/>
                <a:gd name="T37" fmla="*/ 2 h 276"/>
                <a:gd name="T38" fmla="*/ 37 w 185"/>
                <a:gd name="T39" fmla="*/ 4 h 276"/>
                <a:gd name="T40" fmla="*/ 40 w 185"/>
                <a:gd name="T41" fmla="*/ 7 h 276"/>
                <a:gd name="T42" fmla="*/ 43 w 185"/>
                <a:gd name="T43" fmla="*/ 11 h 276"/>
                <a:gd name="T44" fmla="*/ 181 w 185"/>
                <a:gd name="T45" fmla="*/ 242 h 276"/>
                <a:gd name="T46" fmla="*/ 183 w 185"/>
                <a:gd name="T47" fmla="*/ 245 h 276"/>
                <a:gd name="T48" fmla="*/ 184 w 185"/>
                <a:gd name="T49" fmla="*/ 250 h 276"/>
                <a:gd name="T50" fmla="*/ 185 w 185"/>
                <a:gd name="T51" fmla="*/ 254 h 276"/>
                <a:gd name="T52" fmla="*/ 184 w 185"/>
                <a:gd name="T53" fmla="*/ 259 h 276"/>
                <a:gd name="T54" fmla="*/ 183 w 185"/>
                <a:gd name="T55" fmla="*/ 263 h 276"/>
                <a:gd name="T56" fmla="*/ 180 w 185"/>
                <a:gd name="T57" fmla="*/ 266 h 276"/>
                <a:gd name="T58" fmla="*/ 176 w 185"/>
                <a:gd name="T59" fmla="*/ 270 h 276"/>
                <a:gd name="T60" fmla="*/ 173 w 185"/>
                <a:gd name="T61" fmla="*/ 272 h 276"/>
                <a:gd name="T62" fmla="*/ 168 w 185"/>
                <a:gd name="T63" fmla="*/ 276 h 276"/>
                <a:gd name="T64" fmla="*/ 162 w 185"/>
                <a:gd name="T6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276">
                  <a:moveTo>
                    <a:pt x="162" y="276"/>
                  </a:moveTo>
                  <a:lnTo>
                    <a:pt x="156" y="276"/>
                  </a:lnTo>
                  <a:lnTo>
                    <a:pt x="151" y="274"/>
                  </a:lnTo>
                  <a:lnTo>
                    <a:pt x="146" y="270"/>
                  </a:lnTo>
                  <a:lnTo>
                    <a:pt x="142" y="265"/>
                  </a:lnTo>
                  <a:lnTo>
                    <a:pt x="4" y="34"/>
                  </a:lnTo>
                  <a:lnTo>
                    <a:pt x="1" y="31"/>
                  </a:lnTo>
                  <a:lnTo>
                    <a:pt x="0" y="26"/>
                  </a:lnTo>
                  <a:lnTo>
                    <a:pt x="0" y="22"/>
                  </a:lnTo>
                  <a:lnTo>
                    <a:pt x="1" y="17"/>
                  </a:lnTo>
                  <a:lnTo>
                    <a:pt x="2" y="14"/>
                  </a:lnTo>
                  <a:lnTo>
                    <a:pt x="5" y="9"/>
                  </a:lnTo>
                  <a:lnTo>
                    <a:pt x="7" y="6"/>
                  </a:lnTo>
                  <a:lnTo>
                    <a:pt x="11" y="2"/>
                  </a:lnTo>
                  <a:lnTo>
                    <a:pt x="16" y="1"/>
                  </a:lnTo>
                  <a:lnTo>
                    <a:pt x="19" y="0"/>
                  </a:lnTo>
                  <a:lnTo>
                    <a:pt x="24" y="0"/>
                  </a:lnTo>
                  <a:lnTo>
                    <a:pt x="29" y="0"/>
                  </a:lnTo>
                  <a:lnTo>
                    <a:pt x="33" y="2"/>
                  </a:lnTo>
                  <a:lnTo>
                    <a:pt x="37" y="4"/>
                  </a:lnTo>
                  <a:lnTo>
                    <a:pt x="40" y="7"/>
                  </a:lnTo>
                  <a:lnTo>
                    <a:pt x="43" y="11"/>
                  </a:lnTo>
                  <a:lnTo>
                    <a:pt x="181" y="242"/>
                  </a:lnTo>
                  <a:lnTo>
                    <a:pt x="183" y="245"/>
                  </a:lnTo>
                  <a:lnTo>
                    <a:pt x="184" y="250"/>
                  </a:lnTo>
                  <a:lnTo>
                    <a:pt x="185" y="254"/>
                  </a:lnTo>
                  <a:lnTo>
                    <a:pt x="184" y="259"/>
                  </a:lnTo>
                  <a:lnTo>
                    <a:pt x="183" y="263"/>
                  </a:lnTo>
                  <a:lnTo>
                    <a:pt x="180" y="266"/>
                  </a:lnTo>
                  <a:lnTo>
                    <a:pt x="176" y="270"/>
                  </a:lnTo>
                  <a:lnTo>
                    <a:pt x="173" y="272"/>
                  </a:lnTo>
                  <a:lnTo>
                    <a:pt x="168" y="276"/>
                  </a:lnTo>
                  <a:lnTo>
                    <a:pt x="16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27">
              <a:extLst>
                <a:ext uri="{FF2B5EF4-FFF2-40B4-BE49-F238E27FC236}">
                  <a16:creationId xmlns:a16="http://schemas.microsoft.com/office/drawing/2014/main" id="{48EA4920-4434-410A-8469-8DC9A0712F76}"/>
                </a:ext>
              </a:extLst>
            </p:cNvPr>
            <p:cNvSpPr>
              <a:spLocks/>
            </p:cNvSpPr>
            <p:nvPr/>
          </p:nvSpPr>
          <p:spPr bwMode="auto">
            <a:xfrm>
              <a:off x="4176713" y="2451100"/>
              <a:ext cx="17463" cy="109538"/>
            </a:xfrm>
            <a:custGeom>
              <a:avLst/>
              <a:gdLst>
                <a:gd name="T0" fmla="*/ 23 w 45"/>
                <a:gd name="T1" fmla="*/ 276 h 276"/>
                <a:gd name="T2" fmla="*/ 18 w 45"/>
                <a:gd name="T3" fmla="*/ 276 h 276"/>
                <a:gd name="T4" fmla="*/ 13 w 45"/>
                <a:gd name="T5" fmla="*/ 275 h 276"/>
                <a:gd name="T6" fmla="*/ 10 w 45"/>
                <a:gd name="T7" fmla="*/ 272 h 276"/>
                <a:gd name="T8" fmla="*/ 6 w 45"/>
                <a:gd name="T9" fmla="*/ 270 h 276"/>
                <a:gd name="T10" fmla="*/ 4 w 45"/>
                <a:gd name="T11" fmla="*/ 266 h 276"/>
                <a:gd name="T12" fmla="*/ 1 w 45"/>
                <a:gd name="T13" fmla="*/ 263 h 276"/>
                <a:gd name="T14" fmla="*/ 0 w 45"/>
                <a:gd name="T15" fmla="*/ 258 h 276"/>
                <a:gd name="T16" fmla="*/ 0 w 45"/>
                <a:gd name="T17" fmla="*/ 253 h 276"/>
                <a:gd name="T18" fmla="*/ 0 w 45"/>
                <a:gd name="T19" fmla="*/ 23 h 276"/>
                <a:gd name="T20" fmla="*/ 0 w 45"/>
                <a:gd name="T21" fmla="*/ 18 h 276"/>
                <a:gd name="T22" fmla="*/ 1 w 45"/>
                <a:gd name="T23" fmla="*/ 14 h 276"/>
                <a:gd name="T24" fmla="*/ 4 w 45"/>
                <a:gd name="T25" fmla="*/ 10 h 276"/>
                <a:gd name="T26" fmla="*/ 6 w 45"/>
                <a:gd name="T27" fmla="*/ 6 h 276"/>
                <a:gd name="T28" fmla="*/ 10 w 45"/>
                <a:gd name="T29" fmla="*/ 4 h 276"/>
                <a:gd name="T30" fmla="*/ 13 w 45"/>
                <a:gd name="T31" fmla="*/ 1 h 276"/>
                <a:gd name="T32" fmla="*/ 18 w 45"/>
                <a:gd name="T33" fmla="*/ 0 h 276"/>
                <a:gd name="T34" fmla="*/ 23 w 45"/>
                <a:gd name="T35" fmla="*/ 0 h 276"/>
                <a:gd name="T36" fmla="*/ 27 w 45"/>
                <a:gd name="T37" fmla="*/ 0 h 276"/>
                <a:gd name="T38" fmla="*/ 32 w 45"/>
                <a:gd name="T39" fmla="*/ 1 h 276"/>
                <a:gd name="T40" fmla="*/ 35 w 45"/>
                <a:gd name="T41" fmla="*/ 4 h 276"/>
                <a:gd name="T42" fmla="*/ 39 w 45"/>
                <a:gd name="T43" fmla="*/ 6 h 276"/>
                <a:gd name="T44" fmla="*/ 42 w 45"/>
                <a:gd name="T45" fmla="*/ 10 h 276"/>
                <a:gd name="T46" fmla="*/ 44 w 45"/>
                <a:gd name="T47" fmla="*/ 14 h 276"/>
                <a:gd name="T48" fmla="*/ 45 w 45"/>
                <a:gd name="T49" fmla="*/ 18 h 276"/>
                <a:gd name="T50" fmla="*/ 45 w 45"/>
                <a:gd name="T51" fmla="*/ 23 h 276"/>
                <a:gd name="T52" fmla="*/ 45 w 45"/>
                <a:gd name="T53" fmla="*/ 253 h 276"/>
                <a:gd name="T54" fmla="*/ 45 w 45"/>
                <a:gd name="T55" fmla="*/ 258 h 276"/>
                <a:gd name="T56" fmla="*/ 44 w 45"/>
                <a:gd name="T57" fmla="*/ 263 h 276"/>
                <a:gd name="T58" fmla="*/ 42 w 45"/>
                <a:gd name="T59" fmla="*/ 266 h 276"/>
                <a:gd name="T60" fmla="*/ 39 w 45"/>
                <a:gd name="T61" fmla="*/ 270 h 276"/>
                <a:gd name="T62" fmla="*/ 35 w 45"/>
                <a:gd name="T63" fmla="*/ 272 h 276"/>
                <a:gd name="T64" fmla="*/ 32 w 45"/>
                <a:gd name="T65" fmla="*/ 275 h 276"/>
                <a:gd name="T66" fmla="*/ 27 w 45"/>
                <a:gd name="T67" fmla="*/ 276 h 276"/>
                <a:gd name="T68" fmla="*/ 23 w 45"/>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276">
                  <a:moveTo>
                    <a:pt x="23" y="276"/>
                  </a:moveTo>
                  <a:lnTo>
                    <a:pt x="18" y="276"/>
                  </a:lnTo>
                  <a:lnTo>
                    <a:pt x="13" y="275"/>
                  </a:lnTo>
                  <a:lnTo>
                    <a:pt x="10" y="272"/>
                  </a:lnTo>
                  <a:lnTo>
                    <a:pt x="6" y="270"/>
                  </a:lnTo>
                  <a:lnTo>
                    <a:pt x="4" y="266"/>
                  </a:lnTo>
                  <a:lnTo>
                    <a:pt x="1" y="263"/>
                  </a:lnTo>
                  <a:lnTo>
                    <a:pt x="0" y="258"/>
                  </a:lnTo>
                  <a:lnTo>
                    <a:pt x="0" y="253"/>
                  </a:lnTo>
                  <a:lnTo>
                    <a:pt x="0" y="23"/>
                  </a:lnTo>
                  <a:lnTo>
                    <a:pt x="0" y="18"/>
                  </a:lnTo>
                  <a:lnTo>
                    <a:pt x="1" y="14"/>
                  </a:lnTo>
                  <a:lnTo>
                    <a:pt x="4" y="10"/>
                  </a:lnTo>
                  <a:lnTo>
                    <a:pt x="6" y="6"/>
                  </a:lnTo>
                  <a:lnTo>
                    <a:pt x="10" y="4"/>
                  </a:lnTo>
                  <a:lnTo>
                    <a:pt x="13" y="1"/>
                  </a:lnTo>
                  <a:lnTo>
                    <a:pt x="18" y="0"/>
                  </a:lnTo>
                  <a:lnTo>
                    <a:pt x="23" y="0"/>
                  </a:lnTo>
                  <a:lnTo>
                    <a:pt x="27" y="0"/>
                  </a:lnTo>
                  <a:lnTo>
                    <a:pt x="32" y="1"/>
                  </a:lnTo>
                  <a:lnTo>
                    <a:pt x="35" y="4"/>
                  </a:lnTo>
                  <a:lnTo>
                    <a:pt x="39" y="6"/>
                  </a:lnTo>
                  <a:lnTo>
                    <a:pt x="42" y="10"/>
                  </a:lnTo>
                  <a:lnTo>
                    <a:pt x="44" y="14"/>
                  </a:lnTo>
                  <a:lnTo>
                    <a:pt x="45" y="18"/>
                  </a:lnTo>
                  <a:lnTo>
                    <a:pt x="45" y="23"/>
                  </a:lnTo>
                  <a:lnTo>
                    <a:pt x="45" y="253"/>
                  </a:lnTo>
                  <a:lnTo>
                    <a:pt x="45" y="258"/>
                  </a:lnTo>
                  <a:lnTo>
                    <a:pt x="44" y="263"/>
                  </a:lnTo>
                  <a:lnTo>
                    <a:pt x="42" y="266"/>
                  </a:lnTo>
                  <a:lnTo>
                    <a:pt x="39" y="270"/>
                  </a:lnTo>
                  <a:lnTo>
                    <a:pt x="35" y="272"/>
                  </a:lnTo>
                  <a:lnTo>
                    <a:pt x="32" y="275"/>
                  </a:lnTo>
                  <a:lnTo>
                    <a:pt x="27" y="276"/>
                  </a:lnTo>
                  <a:lnTo>
                    <a:pt x="2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28">
              <a:extLst>
                <a:ext uri="{FF2B5EF4-FFF2-40B4-BE49-F238E27FC236}">
                  <a16:creationId xmlns:a16="http://schemas.microsoft.com/office/drawing/2014/main" id="{A52972F2-AADB-4913-84A8-0389EDA574DD}"/>
                </a:ext>
              </a:extLst>
            </p:cNvPr>
            <p:cNvSpPr>
              <a:spLocks/>
            </p:cNvSpPr>
            <p:nvPr/>
          </p:nvSpPr>
          <p:spPr bwMode="auto">
            <a:xfrm>
              <a:off x="4103688" y="2451100"/>
              <a:ext cx="36513" cy="109538"/>
            </a:xfrm>
            <a:custGeom>
              <a:avLst/>
              <a:gdLst>
                <a:gd name="T0" fmla="*/ 22 w 92"/>
                <a:gd name="T1" fmla="*/ 276 h 276"/>
                <a:gd name="T2" fmla="*/ 21 w 92"/>
                <a:gd name="T3" fmla="*/ 276 h 276"/>
                <a:gd name="T4" fmla="*/ 18 w 92"/>
                <a:gd name="T5" fmla="*/ 276 h 276"/>
                <a:gd name="T6" fmla="*/ 13 w 92"/>
                <a:gd name="T7" fmla="*/ 275 h 276"/>
                <a:gd name="T8" fmla="*/ 10 w 92"/>
                <a:gd name="T9" fmla="*/ 272 h 276"/>
                <a:gd name="T10" fmla="*/ 6 w 92"/>
                <a:gd name="T11" fmla="*/ 270 h 276"/>
                <a:gd name="T12" fmla="*/ 4 w 92"/>
                <a:gd name="T13" fmla="*/ 266 h 276"/>
                <a:gd name="T14" fmla="*/ 1 w 92"/>
                <a:gd name="T15" fmla="*/ 263 h 276"/>
                <a:gd name="T16" fmla="*/ 0 w 92"/>
                <a:gd name="T17" fmla="*/ 258 h 276"/>
                <a:gd name="T18" fmla="*/ 0 w 92"/>
                <a:gd name="T19" fmla="*/ 253 h 276"/>
                <a:gd name="T20" fmla="*/ 0 w 92"/>
                <a:gd name="T21" fmla="*/ 249 h 276"/>
                <a:gd name="T22" fmla="*/ 47 w 92"/>
                <a:gd name="T23" fmla="*/ 18 h 276"/>
                <a:gd name="T24" fmla="*/ 48 w 92"/>
                <a:gd name="T25" fmla="*/ 14 h 276"/>
                <a:gd name="T26" fmla="*/ 49 w 92"/>
                <a:gd name="T27" fmla="*/ 10 h 276"/>
                <a:gd name="T28" fmla="*/ 53 w 92"/>
                <a:gd name="T29" fmla="*/ 6 h 276"/>
                <a:gd name="T30" fmla="*/ 56 w 92"/>
                <a:gd name="T31" fmla="*/ 4 h 276"/>
                <a:gd name="T32" fmla="*/ 60 w 92"/>
                <a:gd name="T33" fmla="*/ 1 h 276"/>
                <a:gd name="T34" fmla="*/ 64 w 92"/>
                <a:gd name="T35" fmla="*/ 0 h 276"/>
                <a:gd name="T36" fmla="*/ 69 w 92"/>
                <a:gd name="T37" fmla="*/ 0 h 276"/>
                <a:gd name="T38" fmla="*/ 74 w 92"/>
                <a:gd name="T39" fmla="*/ 0 h 276"/>
                <a:gd name="T40" fmla="*/ 77 w 92"/>
                <a:gd name="T41" fmla="*/ 1 h 276"/>
                <a:gd name="T42" fmla="*/ 82 w 92"/>
                <a:gd name="T43" fmla="*/ 4 h 276"/>
                <a:gd name="T44" fmla="*/ 85 w 92"/>
                <a:gd name="T45" fmla="*/ 6 h 276"/>
                <a:gd name="T46" fmla="*/ 88 w 92"/>
                <a:gd name="T47" fmla="*/ 10 h 276"/>
                <a:gd name="T48" fmla="*/ 89 w 92"/>
                <a:gd name="T49" fmla="*/ 14 h 276"/>
                <a:gd name="T50" fmla="*/ 91 w 92"/>
                <a:gd name="T51" fmla="*/ 18 h 276"/>
                <a:gd name="T52" fmla="*/ 92 w 92"/>
                <a:gd name="T53" fmla="*/ 22 h 276"/>
                <a:gd name="T54" fmla="*/ 91 w 92"/>
                <a:gd name="T55" fmla="*/ 27 h 276"/>
                <a:gd name="T56" fmla="*/ 45 w 92"/>
                <a:gd name="T57" fmla="*/ 258 h 276"/>
                <a:gd name="T58" fmla="*/ 44 w 92"/>
                <a:gd name="T59" fmla="*/ 261 h 276"/>
                <a:gd name="T60" fmla="*/ 42 w 92"/>
                <a:gd name="T61" fmla="*/ 265 h 276"/>
                <a:gd name="T62" fmla="*/ 40 w 92"/>
                <a:gd name="T63" fmla="*/ 269 h 276"/>
                <a:gd name="T64" fmla="*/ 37 w 92"/>
                <a:gd name="T65" fmla="*/ 271 h 276"/>
                <a:gd name="T66" fmla="*/ 34 w 92"/>
                <a:gd name="T67" fmla="*/ 274 h 276"/>
                <a:gd name="T68" fmla="*/ 31 w 92"/>
                <a:gd name="T69" fmla="*/ 275 h 276"/>
                <a:gd name="T70" fmla="*/ 27 w 92"/>
                <a:gd name="T71" fmla="*/ 276 h 276"/>
                <a:gd name="T72" fmla="*/ 22 w 92"/>
                <a:gd name="T7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276">
                  <a:moveTo>
                    <a:pt x="22" y="276"/>
                  </a:moveTo>
                  <a:lnTo>
                    <a:pt x="21" y="276"/>
                  </a:lnTo>
                  <a:lnTo>
                    <a:pt x="18" y="276"/>
                  </a:lnTo>
                  <a:lnTo>
                    <a:pt x="13" y="275"/>
                  </a:lnTo>
                  <a:lnTo>
                    <a:pt x="10" y="272"/>
                  </a:lnTo>
                  <a:lnTo>
                    <a:pt x="6" y="270"/>
                  </a:lnTo>
                  <a:lnTo>
                    <a:pt x="4" y="266"/>
                  </a:lnTo>
                  <a:lnTo>
                    <a:pt x="1" y="263"/>
                  </a:lnTo>
                  <a:lnTo>
                    <a:pt x="0" y="258"/>
                  </a:lnTo>
                  <a:lnTo>
                    <a:pt x="0" y="253"/>
                  </a:lnTo>
                  <a:lnTo>
                    <a:pt x="0" y="249"/>
                  </a:lnTo>
                  <a:lnTo>
                    <a:pt x="47" y="18"/>
                  </a:lnTo>
                  <a:lnTo>
                    <a:pt x="48" y="14"/>
                  </a:lnTo>
                  <a:lnTo>
                    <a:pt x="49" y="10"/>
                  </a:lnTo>
                  <a:lnTo>
                    <a:pt x="53" y="6"/>
                  </a:lnTo>
                  <a:lnTo>
                    <a:pt x="56" y="4"/>
                  </a:lnTo>
                  <a:lnTo>
                    <a:pt x="60" y="1"/>
                  </a:lnTo>
                  <a:lnTo>
                    <a:pt x="64" y="0"/>
                  </a:lnTo>
                  <a:lnTo>
                    <a:pt x="69" y="0"/>
                  </a:lnTo>
                  <a:lnTo>
                    <a:pt x="74" y="0"/>
                  </a:lnTo>
                  <a:lnTo>
                    <a:pt x="77" y="1"/>
                  </a:lnTo>
                  <a:lnTo>
                    <a:pt x="82" y="4"/>
                  </a:lnTo>
                  <a:lnTo>
                    <a:pt x="85" y="6"/>
                  </a:lnTo>
                  <a:lnTo>
                    <a:pt x="88" y="10"/>
                  </a:lnTo>
                  <a:lnTo>
                    <a:pt x="89" y="14"/>
                  </a:lnTo>
                  <a:lnTo>
                    <a:pt x="91" y="18"/>
                  </a:lnTo>
                  <a:lnTo>
                    <a:pt x="92" y="22"/>
                  </a:lnTo>
                  <a:lnTo>
                    <a:pt x="91" y="27"/>
                  </a:lnTo>
                  <a:lnTo>
                    <a:pt x="45" y="258"/>
                  </a:lnTo>
                  <a:lnTo>
                    <a:pt x="44" y="261"/>
                  </a:lnTo>
                  <a:lnTo>
                    <a:pt x="42" y="265"/>
                  </a:lnTo>
                  <a:lnTo>
                    <a:pt x="40" y="269"/>
                  </a:lnTo>
                  <a:lnTo>
                    <a:pt x="37" y="271"/>
                  </a:lnTo>
                  <a:lnTo>
                    <a:pt x="34" y="274"/>
                  </a:lnTo>
                  <a:lnTo>
                    <a:pt x="31" y="275"/>
                  </a:lnTo>
                  <a:lnTo>
                    <a:pt x="27" y="276"/>
                  </a:lnTo>
                  <a:lnTo>
                    <a:pt x="2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29">
              <a:extLst>
                <a:ext uri="{FF2B5EF4-FFF2-40B4-BE49-F238E27FC236}">
                  <a16:creationId xmlns:a16="http://schemas.microsoft.com/office/drawing/2014/main" id="{F9774A64-3E67-48CC-98C5-0090E4D0D142}"/>
                </a:ext>
              </a:extLst>
            </p:cNvPr>
            <p:cNvSpPr>
              <a:spLocks/>
            </p:cNvSpPr>
            <p:nvPr/>
          </p:nvSpPr>
          <p:spPr bwMode="auto">
            <a:xfrm>
              <a:off x="4232276" y="2451100"/>
              <a:ext cx="36513" cy="109538"/>
            </a:xfrm>
            <a:custGeom>
              <a:avLst/>
              <a:gdLst>
                <a:gd name="T0" fmla="*/ 68 w 91"/>
                <a:gd name="T1" fmla="*/ 276 h 276"/>
                <a:gd name="T2" fmla="*/ 65 w 91"/>
                <a:gd name="T3" fmla="*/ 276 h 276"/>
                <a:gd name="T4" fmla="*/ 61 w 91"/>
                <a:gd name="T5" fmla="*/ 275 h 276"/>
                <a:gd name="T6" fmla="*/ 57 w 91"/>
                <a:gd name="T7" fmla="*/ 274 h 276"/>
                <a:gd name="T8" fmla="*/ 53 w 91"/>
                <a:gd name="T9" fmla="*/ 271 h 276"/>
                <a:gd name="T10" fmla="*/ 51 w 91"/>
                <a:gd name="T11" fmla="*/ 269 h 276"/>
                <a:gd name="T12" fmla="*/ 49 w 91"/>
                <a:gd name="T13" fmla="*/ 265 h 276"/>
                <a:gd name="T14" fmla="*/ 46 w 91"/>
                <a:gd name="T15" fmla="*/ 261 h 276"/>
                <a:gd name="T16" fmla="*/ 46 w 91"/>
                <a:gd name="T17" fmla="*/ 258 h 276"/>
                <a:gd name="T18" fmla="*/ 0 w 91"/>
                <a:gd name="T19" fmla="*/ 27 h 276"/>
                <a:gd name="T20" fmla="*/ 0 w 91"/>
                <a:gd name="T21" fmla="*/ 22 h 276"/>
                <a:gd name="T22" fmla="*/ 0 w 91"/>
                <a:gd name="T23" fmla="*/ 18 h 276"/>
                <a:gd name="T24" fmla="*/ 1 w 91"/>
                <a:gd name="T25" fmla="*/ 14 h 276"/>
                <a:gd name="T26" fmla="*/ 3 w 91"/>
                <a:gd name="T27" fmla="*/ 10 h 276"/>
                <a:gd name="T28" fmla="*/ 6 w 91"/>
                <a:gd name="T29" fmla="*/ 6 h 276"/>
                <a:gd name="T30" fmla="*/ 9 w 91"/>
                <a:gd name="T31" fmla="*/ 4 h 276"/>
                <a:gd name="T32" fmla="*/ 13 w 91"/>
                <a:gd name="T33" fmla="*/ 1 h 276"/>
                <a:gd name="T34" fmla="*/ 18 w 91"/>
                <a:gd name="T35" fmla="*/ 0 h 276"/>
                <a:gd name="T36" fmla="*/ 22 w 91"/>
                <a:gd name="T37" fmla="*/ 0 h 276"/>
                <a:gd name="T38" fmla="*/ 26 w 91"/>
                <a:gd name="T39" fmla="*/ 0 h 276"/>
                <a:gd name="T40" fmla="*/ 31 w 91"/>
                <a:gd name="T41" fmla="*/ 1 h 276"/>
                <a:gd name="T42" fmla="*/ 35 w 91"/>
                <a:gd name="T43" fmla="*/ 4 h 276"/>
                <a:gd name="T44" fmla="*/ 39 w 91"/>
                <a:gd name="T45" fmla="*/ 6 h 276"/>
                <a:gd name="T46" fmla="*/ 41 w 91"/>
                <a:gd name="T47" fmla="*/ 10 h 276"/>
                <a:gd name="T48" fmla="*/ 44 w 91"/>
                <a:gd name="T49" fmla="*/ 14 h 276"/>
                <a:gd name="T50" fmla="*/ 45 w 91"/>
                <a:gd name="T51" fmla="*/ 18 h 276"/>
                <a:gd name="T52" fmla="*/ 90 w 91"/>
                <a:gd name="T53" fmla="*/ 249 h 276"/>
                <a:gd name="T54" fmla="*/ 91 w 91"/>
                <a:gd name="T55" fmla="*/ 253 h 276"/>
                <a:gd name="T56" fmla="*/ 90 w 91"/>
                <a:gd name="T57" fmla="*/ 258 h 276"/>
                <a:gd name="T58" fmla="*/ 89 w 91"/>
                <a:gd name="T59" fmla="*/ 263 h 276"/>
                <a:gd name="T60" fmla="*/ 88 w 91"/>
                <a:gd name="T61" fmla="*/ 266 h 276"/>
                <a:gd name="T62" fmla="*/ 84 w 91"/>
                <a:gd name="T63" fmla="*/ 270 h 276"/>
                <a:gd name="T64" fmla="*/ 82 w 91"/>
                <a:gd name="T65" fmla="*/ 272 h 276"/>
                <a:gd name="T66" fmla="*/ 77 w 91"/>
                <a:gd name="T67" fmla="*/ 275 h 276"/>
                <a:gd name="T68" fmla="*/ 73 w 91"/>
                <a:gd name="T69" fmla="*/ 276 h 276"/>
                <a:gd name="T70" fmla="*/ 71 w 91"/>
                <a:gd name="T71" fmla="*/ 276 h 276"/>
                <a:gd name="T72" fmla="*/ 68 w 91"/>
                <a:gd name="T7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1" h="276">
                  <a:moveTo>
                    <a:pt x="68" y="276"/>
                  </a:moveTo>
                  <a:lnTo>
                    <a:pt x="65" y="276"/>
                  </a:lnTo>
                  <a:lnTo>
                    <a:pt x="61" y="275"/>
                  </a:lnTo>
                  <a:lnTo>
                    <a:pt x="57" y="274"/>
                  </a:lnTo>
                  <a:lnTo>
                    <a:pt x="53" y="271"/>
                  </a:lnTo>
                  <a:lnTo>
                    <a:pt x="51" y="269"/>
                  </a:lnTo>
                  <a:lnTo>
                    <a:pt x="49" y="265"/>
                  </a:lnTo>
                  <a:lnTo>
                    <a:pt x="46" y="261"/>
                  </a:lnTo>
                  <a:lnTo>
                    <a:pt x="46" y="258"/>
                  </a:lnTo>
                  <a:lnTo>
                    <a:pt x="0" y="27"/>
                  </a:lnTo>
                  <a:lnTo>
                    <a:pt x="0" y="22"/>
                  </a:lnTo>
                  <a:lnTo>
                    <a:pt x="0" y="18"/>
                  </a:lnTo>
                  <a:lnTo>
                    <a:pt x="1" y="14"/>
                  </a:lnTo>
                  <a:lnTo>
                    <a:pt x="3" y="10"/>
                  </a:lnTo>
                  <a:lnTo>
                    <a:pt x="6" y="6"/>
                  </a:lnTo>
                  <a:lnTo>
                    <a:pt x="9" y="4"/>
                  </a:lnTo>
                  <a:lnTo>
                    <a:pt x="13" y="1"/>
                  </a:lnTo>
                  <a:lnTo>
                    <a:pt x="18" y="0"/>
                  </a:lnTo>
                  <a:lnTo>
                    <a:pt x="22" y="0"/>
                  </a:lnTo>
                  <a:lnTo>
                    <a:pt x="26" y="0"/>
                  </a:lnTo>
                  <a:lnTo>
                    <a:pt x="31" y="1"/>
                  </a:lnTo>
                  <a:lnTo>
                    <a:pt x="35" y="4"/>
                  </a:lnTo>
                  <a:lnTo>
                    <a:pt x="39" y="6"/>
                  </a:lnTo>
                  <a:lnTo>
                    <a:pt x="41" y="10"/>
                  </a:lnTo>
                  <a:lnTo>
                    <a:pt x="44" y="14"/>
                  </a:lnTo>
                  <a:lnTo>
                    <a:pt x="45" y="18"/>
                  </a:lnTo>
                  <a:lnTo>
                    <a:pt x="90" y="249"/>
                  </a:lnTo>
                  <a:lnTo>
                    <a:pt x="91" y="253"/>
                  </a:lnTo>
                  <a:lnTo>
                    <a:pt x="90" y="258"/>
                  </a:lnTo>
                  <a:lnTo>
                    <a:pt x="89" y="263"/>
                  </a:lnTo>
                  <a:lnTo>
                    <a:pt x="88" y="266"/>
                  </a:lnTo>
                  <a:lnTo>
                    <a:pt x="84" y="270"/>
                  </a:lnTo>
                  <a:lnTo>
                    <a:pt x="82" y="272"/>
                  </a:lnTo>
                  <a:lnTo>
                    <a:pt x="77" y="275"/>
                  </a:lnTo>
                  <a:lnTo>
                    <a:pt x="73" y="276"/>
                  </a:lnTo>
                  <a:lnTo>
                    <a:pt x="71" y="276"/>
                  </a:lnTo>
                  <a:lnTo>
                    <a:pt x="6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92" name="Gruppieren 1291">
            <a:extLst>
              <a:ext uri="{FF2B5EF4-FFF2-40B4-BE49-F238E27FC236}">
                <a16:creationId xmlns:a16="http://schemas.microsoft.com/office/drawing/2014/main" id="{1BDFB40E-A42E-46C8-BA9E-71B06A4D5939}"/>
              </a:ext>
            </a:extLst>
          </p:cNvPr>
          <p:cNvGrpSpPr>
            <a:grpSpLocks noChangeAspect="1"/>
          </p:cNvGrpSpPr>
          <p:nvPr/>
        </p:nvGrpSpPr>
        <p:grpSpPr>
          <a:xfrm>
            <a:off x="4886197" y="3263433"/>
            <a:ext cx="328783" cy="285619"/>
            <a:chOff x="6493104" y="5207792"/>
            <a:chExt cx="568325" cy="493713"/>
          </a:xfrm>
          <a:solidFill>
            <a:schemeClr val="bg1"/>
          </a:solidFill>
          <a:effectLst/>
        </p:grpSpPr>
        <p:sp>
          <p:nvSpPr>
            <p:cNvPr id="1293" name="Freeform 36">
              <a:extLst>
                <a:ext uri="{FF2B5EF4-FFF2-40B4-BE49-F238E27FC236}">
                  <a16:creationId xmlns:a16="http://schemas.microsoft.com/office/drawing/2014/main" id="{C8C656B5-29FD-4C1D-9CF5-F97533927C9B}"/>
                </a:ext>
              </a:extLst>
            </p:cNvPr>
            <p:cNvSpPr>
              <a:spLocks noEditPoints="1"/>
            </p:cNvSpPr>
            <p:nvPr/>
          </p:nvSpPr>
          <p:spPr bwMode="auto">
            <a:xfrm>
              <a:off x="6677254" y="5207792"/>
              <a:ext cx="200025" cy="55563"/>
            </a:xfrm>
            <a:custGeom>
              <a:avLst/>
              <a:gdLst>
                <a:gd name="T0" fmla="*/ 46 w 501"/>
                <a:gd name="T1" fmla="*/ 95 h 141"/>
                <a:gd name="T2" fmla="*/ 455 w 501"/>
                <a:gd name="T3" fmla="*/ 95 h 141"/>
                <a:gd name="T4" fmla="*/ 455 w 501"/>
                <a:gd name="T5" fmla="*/ 46 h 141"/>
                <a:gd name="T6" fmla="*/ 46 w 501"/>
                <a:gd name="T7" fmla="*/ 46 h 141"/>
                <a:gd name="T8" fmla="*/ 46 w 501"/>
                <a:gd name="T9" fmla="*/ 95 h 141"/>
                <a:gd name="T10" fmla="*/ 478 w 501"/>
                <a:gd name="T11" fmla="*/ 141 h 141"/>
                <a:gd name="T12" fmla="*/ 23 w 501"/>
                <a:gd name="T13" fmla="*/ 141 h 141"/>
                <a:gd name="T14" fmla="*/ 18 w 501"/>
                <a:gd name="T15" fmla="*/ 140 h 141"/>
                <a:gd name="T16" fmla="*/ 15 w 501"/>
                <a:gd name="T17" fmla="*/ 139 h 141"/>
                <a:gd name="T18" fmla="*/ 10 w 501"/>
                <a:gd name="T19" fmla="*/ 138 h 141"/>
                <a:gd name="T20" fmla="*/ 7 w 501"/>
                <a:gd name="T21" fmla="*/ 134 h 141"/>
                <a:gd name="T22" fmla="*/ 4 w 501"/>
                <a:gd name="T23" fmla="*/ 130 h 141"/>
                <a:gd name="T24" fmla="*/ 2 w 501"/>
                <a:gd name="T25" fmla="*/ 127 h 141"/>
                <a:gd name="T26" fmla="*/ 1 w 501"/>
                <a:gd name="T27" fmla="*/ 123 h 141"/>
                <a:gd name="T28" fmla="*/ 0 w 501"/>
                <a:gd name="T29" fmla="*/ 118 h 141"/>
                <a:gd name="T30" fmla="*/ 0 w 501"/>
                <a:gd name="T31" fmla="*/ 24 h 141"/>
                <a:gd name="T32" fmla="*/ 1 w 501"/>
                <a:gd name="T33" fmla="*/ 19 h 141"/>
                <a:gd name="T34" fmla="*/ 2 w 501"/>
                <a:gd name="T35" fmla="*/ 14 h 141"/>
                <a:gd name="T36" fmla="*/ 4 w 501"/>
                <a:gd name="T37" fmla="*/ 10 h 141"/>
                <a:gd name="T38" fmla="*/ 7 w 501"/>
                <a:gd name="T39" fmla="*/ 7 h 141"/>
                <a:gd name="T40" fmla="*/ 10 w 501"/>
                <a:gd name="T41" fmla="*/ 4 h 141"/>
                <a:gd name="T42" fmla="*/ 15 w 501"/>
                <a:gd name="T43" fmla="*/ 2 h 141"/>
                <a:gd name="T44" fmla="*/ 18 w 501"/>
                <a:gd name="T45" fmla="*/ 0 h 141"/>
                <a:gd name="T46" fmla="*/ 23 w 501"/>
                <a:gd name="T47" fmla="*/ 0 h 141"/>
                <a:gd name="T48" fmla="*/ 478 w 501"/>
                <a:gd name="T49" fmla="*/ 0 h 141"/>
                <a:gd name="T50" fmla="*/ 483 w 501"/>
                <a:gd name="T51" fmla="*/ 0 h 141"/>
                <a:gd name="T52" fmla="*/ 487 w 501"/>
                <a:gd name="T53" fmla="*/ 2 h 141"/>
                <a:gd name="T54" fmla="*/ 492 w 501"/>
                <a:gd name="T55" fmla="*/ 4 h 141"/>
                <a:gd name="T56" fmla="*/ 494 w 501"/>
                <a:gd name="T57" fmla="*/ 7 h 141"/>
                <a:gd name="T58" fmla="*/ 498 w 501"/>
                <a:gd name="T59" fmla="*/ 10 h 141"/>
                <a:gd name="T60" fmla="*/ 499 w 501"/>
                <a:gd name="T61" fmla="*/ 14 h 141"/>
                <a:gd name="T62" fmla="*/ 501 w 501"/>
                <a:gd name="T63" fmla="*/ 19 h 141"/>
                <a:gd name="T64" fmla="*/ 501 w 501"/>
                <a:gd name="T65" fmla="*/ 24 h 141"/>
                <a:gd name="T66" fmla="*/ 501 w 501"/>
                <a:gd name="T67" fmla="*/ 118 h 141"/>
                <a:gd name="T68" fmla="*/ 501 w 501"/>
                <a:gd name="T69" fmla="*/ 123 h 141"/>
                <a:gd name="T70" fmla="*/ 499 w 501"/>
                <a:gd name="T71" fmla="*/ 127 h 141"/>
                <a:gd name="T72" fmla="*/ 498 w 501"/>
                <a:gd name="T73" fmla="*/ 130 h 141"/>
                <a:gd name="T74" fmla="*/ 494 w 501"/>
                <a:gd name="T75" fmla="*/ 134 h 141"/>
                <a:gd name="T76" fmla="*/ 492 w 501"/>
                <a:gd name="T77" fmla="*/ 138 h 141"/>
                <a:gd name="T78" fmla="*/ 487 w 501"/>
                <a:gd name="T79" fmla="*/ 139 h 141"/>
                <a:gd name="T80" fmla="*/ 483 w 501"/>
                <a:gd name="T81" fmla="*/ 140 h 141"/>
                <a:gd name="T82" fmla="*/ 478 w 501"/>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1" h="141">
                  <a:moveTo>
                    <a:pt x="46" y="95"/>
                  </a:moveTo>
                  <a:lnTo>
                    <a:pt x="455" y="95"/>
                  </a:lnTo>
                  <a:lnTo>
                    <a:pt x="455" y="46"/>
                  </a:lnTo>
                  <a:lnTo>
                    <a:pt x="46" y="46"/>
                  </a:lnTo>
                  <a:lnTo>
                    <a:pt x="46" y="95"/>
                  </a:lnTo>
                  <a:close/>
                  <a:moveTo>
                    <a:pt x="478" y="141"/>
                  </a:moveTo>
                  <a:lnTo>
                    <a:pt x="23" y="141"/>
                  </a:lnTo>
                  <a:lnTo>
                    <a:pt x="18" y="140"/>
                  </a:lnTo>
                  <a:lnTo>
                    <a:pt x="15" y="139"/>
                  </a:lnTo>
                  <a:lnTo>
                    <a:pt x="10" y="138"/>
                  </a:lnTo>
                  <a:lnTo>
                    <a:pt x="7" y="134"/>
                  </a:lnTo>
                  <a:lnTo>
                    <a:pt x="4" y="130"/>
                  </a:lnTo>
                  <a:lnTo>
                    <a:pt x="2" y="127"/>
                  </a:lnTo>
                  <a:lnTo>
                    <a:pt x="1" y="123"/>
                  </a:lnTo>
                  <a:lnTo>
                    <a:pt x="0" y="118"/>
                  </a:lnTo>
                  <a:lnTo>
                    <a:pt x="0" y="24"/>
                  </a:lnTo>
                  <a:lnTo>
                    <a:pt x="1" y="19"/>
                  </a:lnTo>
                  <a:lnTo>
                    <a:pt x="2" y="14"/>
                  </a:lnTo>
                  <a:lnTo>
                    <a:pt x="4" y="10"/>
                  </a:lnTo>
                  <a:lnTo>
                    <a:pt x="7" y="7"/>
                  </a:lnTo>
                  <a:lnTo>
                    <a:pt x="10" y="4"/>
                  </a:lnTo>
                  <a:lnTo>
                    <a:pt x="15" y="2"/>
                  </a:lnTo>
                  <a:lnTo>
                    <a:pt x="18" y="0"/>
                  </a:lnTo>
                  <a:lnTo>
                    <a:pt x="23" y="0"/>
                  </a:lnTo>
                  <a:lnTo>
                    <a:pt x="478" y="0"/>
                  </a:lnTo>
                  <a:lnTo>
                    <a:pt x="483" y="0"/>
                  </a:lnTo>
                  <a:lnTo>
                    <a:pt x="487" y="2"/>
                  </a:lnTo>
                  <a:lnTo>
                    <a:pt x="492" y="4"/>
                  </a:lnTo>
                  <a:lnTo>
                    <a:pt x="494" y="7"/>
                  </a:lnTo>
                  <a:lnTo>
                    <a:pt x="498" y="10"/>
                  </a:lnTo>
                  <a:lnTo>
                    <a:pt x="499" y="14"/>
                  </a:lnTo>
                  <a:lnTo>
                    <a:pt x="501" y="19"/>
                  </a:lnTo>
                  <a:lnTo>
                    <a:pt x="501" y="24"/>
                  </a:lnTo>
                  <a:lnTo>
                    <a:pt x="501" y="118"/>
                  </a:lnTo>
                  <a:lnTo>
                    <a:pt x="501" y="123"/>
                  </a:lnTo>
                  <a:lnTo>
                    <a:pt x="499" y="127"/>
                  </a:lnTo>
                  <a:lnTo>
                    <a:pt x="498" y="130"/>
                  </a:lnTo>
                  <a:lnTo>
                    <a:pt x="494" y="134"/>
                  </a:lnTo>
                  <a:lnTo>
                    <a:pt x="492" y="138"/>
                  </a:lnTo>
                  <a:lnTo>
                    <a:pt x="487" y="139"/>
                  </a:lnTo>
                  <a:lnTo>
                    <a:pt x="483" y="140"/>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37">
              <a:extLst>
                <a:ext uri="{FF2B5EF4-FFF2-40B4-BE49-F238E27FC236}">
                  <a16:creationId xmlns:a16="http://schemas.microsoft.com/office/drawing/2014/main" id="{9AC19AC4-5552-42FD-8AEB-0ED580368E96}"/>
                </a:ext>
              </a:extLst>
            </p:cNvPr>
            <p:cNvSpPr>
              <a:spLocks noEditPoints="1"/>
            </p:cNvSpPr>
            <p:nvPr/>
          </p:nvSpPr>
          <p:spPr bwMode="auto">
            <a:xfrm>
              <a:off x="6677254" y="5299867"/>
              <a:ext cx="200025" cy="109538"/>
            </a:xfrm>
            <a:custGeom>
              <a:avLst/>
              <a:gdLst>
                <a:gd name="T0" fmla="*/ 46 w 501"/>
                <a:gd name="T1" fmla="*/ 229 h 276"/>
                <a:gd name="T2" fmla="*/ 455 w 501"/>
                <a:gd name="T3" fmla="*/ 229 h 276"/>
                <a:gd name="T4" fmla="*/ 455 w 501"/>
                <a:gd name="T5" fmla="*/ 45 h 276"/>
                <a:gd name="T6" fmla="*/ 46 w 501"/>
                <a:gd name="T7" fmla="*/ 45 h 276"/>
                <a:gd name="T8" fmla="*/ 46 w 501"/>
                <a:gd name="T9" fmla="*/ 229 h 276"/>
                <a:gd name="T10" fmla="*/ 478 w 501"/>
                <a:gd name="T11" fmla="*/ 276 h 276"/>
                <a:gd name="T12" fmla="*/ 23 w 501"/>
                <a:gd name="T13" fmla="*/ 276 h 276"/>
                <a:gd name="T14" fmla="*/ 18 w 501"/>
                <a:gd name="T15" fmla="*/ 276 h 276"/>
                <a:gd name="T16" fmla="*/ 15 w 501"/>
                <a:gd name="T17" fmla="*/ 275 h 276"/>
                <a:gd name="T18" fmla="*/ 10 w 501"/>
                <a:gd name="T19" fmla="*/ 272 h 276"/>
                <a:gd name="T20" fmla="*/ 7 w 501"/>
                <a:gd name="T21" fmla="*/ 270 h 276"/>
                <a:gd name="T22" fmla="*/ 4 w 501"/>
                <a:gd name="T23" fmla="*/ 266 h 276"/>
                <a:gd name="T24" fmla="*/ 2 w 501"/>
                <a:gd name="T25" fmla="*/ 263 h 276"/>
                <a:gd name="T26" fmla="*/ 1 w 501"/>
                <a:gd name="T27" fmla="*/ 258 h 276"/>
                <a:gd name="T28" fmla="*/ 0 w 501"/>
                <a:gd name="T29" fmla="*/ 253 h 276"/>
                <a:gd name="T30" fmla="*/ 0 w 501"/>
                <a:gd name="T31" fmla="*/ 22 h 276"/>
                <a:gd name="T32" fmla="*/ 1 w 501"/>
                <a:gd name="T33" fmla="*/ 18 h 276"/>
                <a:gd name="T34" fmla="*/ 2 w 501"/>
                <a:gd name="T35" fmla="*/ 14 h 276"/>
                <a:gd name="T36" fmla="*/ 4 w 501"/>
                <a:gd name="T37" fmla="*/ 10 h 276"/>
                <a:gd name="T38" fmla="*/ 7 w 501"/>
                <a:gd name="T39" fmla="*/ 6 h 276"/>
                <a:gd name="T40" fmla="*/ 10 w 501"/>
                <a:gd name="T41" fmla="*/ 4 h 276"/>
                <a:gd name="T42" fmla="*/ 15 w 501"/>
                <a:gd name="T43" fmla="*/ 1 h 276"/>
                <a:gd name="T44" fmla="*/ 18 w 501"/>
                <a:gd name="T45" fmla="*/ 0 h 276"/>
                <a:gd name="T46" fmla="*/ 23 w 501"/>
                <a:gd name="T47" fmla="*/ 0 h 276"/>
                <a:gd name="T48" fmla="*/ 478 w 501"/>
                <a:gd name="T49" fmla="*/ 0 h 276"/>
                <a:gd name="T50" fmla="*/ 483 w 501"/>
                <a:gd name="T51" fmla="*/ 0 h 276"/>
                <a:gd name="T52" fmla="*/ 487 w 501"/>
                <a:gd name="T53" fmla="*/ 1 h 276"/>
                <a:gd name="T54" fmla="*/ 492 w 501"/>
                <a:gd name="T55" fmla="*/ 4 h 276"/>
                <a:gd name="T56" fmla="*/ 494 w 501"/>
                <a:gd name="T57" fmla="*/ 6 h 276"/>
                <a:gd name="T58" fmla="*/ 498 w 501"/>
                <a:gd name="T59" fmla="*/ 10 h 276"/>
                <a:gd name="T60" fmla="*/ 499 w 501"/>
                <a:gd name="T61" fmla="*/ 14 h 276"/>
                <a:gd name="T62" fmla="*/ 501 w 501"/>
                <a:gd name="T63" fmla="*/ 18 h 276"/>
                <a:gd name="T64" fmla="*/ 501 w 501"/>
                <a:gd name="T65" fmla="*/ 22 h 276"/>
                <a:gd name="T66" fmla="*/ 501 w 501"/>
                <a:gd name="T67" fmla="*/ 253 h 276"/>
                <a:gd name="T68" fmla="*/ 501 w 501"/>
                <a:gd name="T69" fmla="*/ 258 h 276"/>
                <a:gd name="T70" fmla="*/ 499 w 501"/>
                <a:gd name="T71" fmla="*/ 263 h 276"/>
                <a:gd name="T72" fmla="*/ 498 w 501"/>
                <a:gd name="T73" fmla="*/ 266 h 276"/>
                <a:gd name="T74" fmla="*/ 494 w 501"/>
                <a:gd name="T75" fmla="*/ 270 h 276"/>
                <a:gd name="T76" fmla="*/ 492 w 501"/>
                <a:gd name="T77" fmla="*/ 272 h 276"/>
                <a:gd name="T78" fmla="*/ 487 w 501"/>
                <a:gd name="T79" fmla="*/ 275 h 276"/>
                <a:gd name="T80" fmla="*/ 483 w 501"/>
                <a:gd name="T81" fmla="*/ 276 h 276"/>
                <a:gd name="T82" fmla="*/ 478 w 501"/>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1" h="276">
                  <a:moveTo>
                    <a:pt x="46" y="229"/>
                  </a:moveTo>
                  <a:lnTo>
                    <a:pt x="455" y="229"/>
                  </a:lnTo>
                  <a:lnTo>
                    <a:pt x="455" y="45"/>
                  </a:lnTo>
                  <a:lnTo>
                    <a:pt x="46" y="45"/>
                  </a:lnTo>
                  <a:lnTo>
                    <a:pt x="46" y="229"/>
                  </a:lnTo>
                  <a:close/>
                  <a:moveTo>
                    <a:pt x="478" y="276"/>
                  </a:moveTo>
                  <a:lnTo>
                    <a:pt x="23" y="276"/>
                  </a:lnTo>
                  <a:lnTo>
                    <a:pt x="18" y="276"/>
                  </a:lnTo>
                  <a:lnTo>
                    <a:pt x="15" y="275"/>
                  </a:lnTo>
                  <a:lnTo>
                    <a:pt x="10" y="272"/>
                  </a:lnTo>
                  <a:lnTo>
                    <a:pt x="7" y="270"/>
                  </a:lnTo>
                  <a:lnTo>
                    <a:pt x="4" y="266"/>
                  </a:lnTo>
                  <a:lnTo>
                    <a:pt x="2" y="263"/>
                  </a:lnTo>
                  <a:lnTo>
                    <a:pt x="1" y="258"/>
                  </a:lnTo>
                  <a:lnTo>
                    <a:pt x="0" y="253"/>
                  </a:lnTo>
                  <a:lnTo>
                    <a:pt x="0" y="22"/>
                  </a:lnTo>
                  <a:lnTo>
                    <a:pt x="1" y="18"/>
                  </a:lnTo>
                  <a:lnTo>
                    <a:pt x="2" y="14"/>
                  </a:lnTo>
                  <a:lnTo>
                    <a:pt x="4" y="10"/>
                  </a:lnTo>
                  <a:lnTo>
                    <a:pt x="7" y="6"/>
                  </a:lnTo>
                  <a:lnTo>
                    <a:pt x="10" y="4"/>
                  </a:lnTo>
                  <a:lnTo>
                    <a:pt x="15" y="1"/>
                  </a:lnTo>
                  <a:lnTo>
                    <a:pt x="18" y="0"/>
                  </a:lnTo>
                  <a:lnTo>
                    <a:pt x="23" y="0"/>
                  </a:lnTo>
                  <a:lnTo>
                    <a:pt x="478" y="0"/>
                  </a:lnTo>
                  <a:lnTo>
                    <a:pt x="483" y="0"/>
                  </a:lnTo>
                  <a:lnTo>
                    <a:pt x="487" y="1"/>
                  </a:lnTo>
                  <a:lnTo>
                    <a:pt x="492" y="4"/>
                  </a:lnTo>
                  <a:lnTo>
                    <a:pt x="494" y="6"/>
                  </a:lnTo>
                  <a:lnTo>
                    <a:pt x="498" y="10"/>
                  </a:lnTo>
                  <a:lnTo>
                    <a:pt x="499" y="14"/>
                  </a:lnTo>
                  <a:lnTo>
                    <a:pt x="501" y="18"/>
                  </a:lnTo>
                  <a:lnTo>
                    <a:pt x="501" y="22"/>
                  </a:lnTo>
                  <a:lnTo>
                    <a:pt x="501" y="253"/>
                  </a:lnTo>
                  <a:lnTo>
                    <a:pt x="501" y="258"/>
                  </a:lnTo>
                  <a:lnTo>
                    <a:pt x="499" y="263"/>
                  </a:lnTo>
                  <a:lnTo>
                    <a:pt x="498" y="266"/>
                  </a:lnTo>
                  <a:lnTo>
                    <a:pt x="494" y="270"/>
                  </a:lnTo>
                  <a:lnTo>
                    <a:pt x="492" y="272"/>
                  </a:lnTo>
                  <a:lnTo>
                    <a:pt x="487" y="275"/>
                  </a:lnTo>
                  <a:lnTo>
                    <a:pt x="483"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38">
              <a:extLst>
                <a:ext uri="{FF2B5EF4-FFF2-40B4-BE49-F238E27FC236}">
                  <a16:creationId xmlns:a16="http://schemas.microsoft.com/office/drawing/2014/main" id="{F1CB15AE-A9B8-4FD9-9ADA-0D04DFD63E47}"/>
                </a:ext>
              </a:extLst>
            </p:cNvPr>
            <p:cNvSpPr>
              <a:spLocks noEditPoints="1"/>
            </p:cNvSpPr>
            <p:nvPr/>
          </p:nvSpPr>
          <p:spPr bwMode="auto">
            <a:xfrm>
              <a:off x="6639154" y="5245892"/>
              <a:ext cx="276225" cy="71438"/>
            </a:xfrm>
            <a:custGeom>
              <a:avLst/>
              <a:gdLst>
                <a:gd name="T0" fmla="*/ 67 w 697"/>
                <a:gd name="T1" fmla="*/ 136 h 181"/>
                <a:gd name="T2" fmla="*/ 628 w 697"/>
                <a:gd name="T3" fmla="*/ 136 h 181"/>
                <a:gd name="T4" fmla="*/ 564 w 697"/>
                <a:gd name="T5" fmla="*/ 46 h 181"/>
                <a:gd name="T6" fmla="*/ 132 w 697"/>
                <a:gd name="T7" fmla="*/ 46 h 181"/>
                <a:gd name="T8" fmla="*/ 67 w 697"/>
                <a:gd name="T9" fmla="*/ 136 h 181"/>
                <a:gd name="T10" fmla="*/ 673 w 697"/>
                <a:gd name="T11" fmla="*/ 181 h 181"/>
                <a:gd name="T12" fmla="*/ 673 w 697"/>
                <a:gd name="T13" fmla="*/ 181 h 181"/>
                <a:gd name="T14" fmla="*/ 673 w 697"/>
                <a:gd name="T15" fmla="*/ 181 h 181"/>
                <a:gd name="T16" fmla="*/ 22 w 697"/>
                <a:gd name="T17" fmla="*/ 181 h 181"/>
                <a:gd name="T18" fmla="*/ 16 w 697"/>
                <a:gd name="T19" fmla="*/ 180 h 181"/>
                <a:gd name="T20" fmla="*/ 11 w 697"/>
                <a:gd name="T21" fmla="*/ 178 h 181"/>
                <a:gd name="T22" fmla="*/ 6 w 697"/>
                <a:gd name="T23" fmla="*/ 174 h 181"/>
                <a:gd name="T24" fmla="*/ 2 w 697"/>
                <a:gd name="T25" fmla="*/ 169 h 181"/>
                <a:gd name="T26" fmla="*/ 0 w 697"/>
                <a:gd name="T27" fmla="*/ 163 h 181"/>
                <a:gd name="T28" fmla="*/ 0 w 697"/>
                <a:gd name="T29" fmla="*/ 157 h 181"/>
                <a:gd name="T30" fmla="*/ 1 w 697"/>
                <a:gd name="T31" fmla="*/ 151 h 181"/>
                <a:gd name="T32" fmla="*/ 4 w 697"/>
                <a:gd name="T33" fmla="*/ 145 h 181"/>
                <a:gd name="T34" fmla="*/ 102 w 697"/>
                <a:gd name="T35" fmla="*/ 10 h 181"/>
                <a:gd name="T36" fmla="*/ 105 w 697"/>
                <a:gd name="T37" fmla="*/ 6 h 181"/>
                <a:gd name="T38" fmla="*/ 109 w 697"/>
                <a:gd name="T39" fmla="*/ 2 h 181"/>
                <a:gd name="T40" fmla="*/ 115 w 697"/>
                <a:gd name="T41" fmla="*/ 1 h 181"/>
                <a:gd name="T42" fmla="*/ 120 w 697"/>
                <a:gd name="T43" fmla="*/ 0 h 181"/>
                <a:gd name="T44" fmla="*/ 575 w 697"/>
                <a:gd name="T45" fmla="*/ 0 h 181"/>
                <a:gd name="T46" fmla="*/ 581 w 697"/>
                <a:gd name="T47" fmla="*/ 1 h 181"/>
                <a:gd name="T48" fmla="*/ 586 w 697"/>
                <a:gd name="T49" fmla="*/ 2 h 181"/>
                <a:gd name="T50" fmla="*/ 590 w 697"/>
                <a:gd name="T51" fmla="*/ 6 h 181"/>
                <a:gd name="T52" fmla="*/ 594 w 697"/>
                <a:gd name="T53" fmla="*/ 10 h 181"/>
                <a:gd name="T54" fmla="*/ 689 w 697"/>
                <a:gd name="T55" fmla="*/ 142 h 181"/>
                <a:gd name="T56" fmla="*/ 693 w 697"/>
                <a:gd name="T57" fmla="*/ 146 h 181"/>
                <a:gd name="T58" fmla="*/ 694 w 697"/>
                <a:gd name="T59" fmla="*/ 150 h 181"/>
                <a:gd name="T60" fmla="*/ 695 w 697"/>
                <a:gd name="T61" fmla="*/ 154 h 181"/>
                <a:gd name="T62" fmla="*/ 697 w 697"/>
                <a:gd name="T63" fmla="*/ 158 h 181"/>
                <a:gd name="T64" fmla="*/ 695 w 697"/>
                <a:gd name="T65" fmla="*/ 163 h 181"/>
                <a:gd name="T66" fmla="*/ 694 w 697"/>
                <a:gd name="T67" fmla="*/ 168 h 181"/>
                <a:gd name="T68" fmla="*/ 693 w 697"/>
                <a:gd name="T69" fmla="*/ 172 h 181"/>
                <a:gd name="T70" fmla="*/ 689 w 697"/>
                <a:gd name="T71" fmla="*/ 175 h 181"/>
                <a:gd name="T72" fmla="*/ 687 w 697"/>
                <a:gd name="T73" fmla="*/ 178 h 181"/>
                <a:gd name="T74" fmla="*/ 682 w 697"/>
                <a:gd name="T75" fmla="*/ 180 h 181"/>
                <a:gd name="T76" fmla="*/ 678 w 697"/>
                <a:gd name="T77" fmla="*/ 181 h 181"/>
                <a:gd name="T78" fmla="*/ 673 w 697"/>
                <a:gd name="T7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7" h="181">
                  <a:moveTo>
                    <a:pt x="67" y="136"/>
                  </a:moveTo>
                  <a:lnTo>
                    <a:pt x="628" y="136"/>
                  </a:lnTo>
                  <a:lnTo>
                    <a:pt x="564" y="46"/>
                  </a:lnTo>
                  <a:lnTo>
                    <a:pt x="132" y="46"/>
                  </a:lnTo>
                  <a:lnTo>
                    <a:pt x="67" y="136"/>
                  </a:lnTo>
                  <a:close/>
                  <a:moveTo>
                    <a:pt x="673" y="181"/>
                  </a:moveTo>
                  <a:lnTo>
                    <a:pt x="673" y="181"/>
                  </a:lnTo>
                  <a:lnTo>
                    <a:pt x="673" y="181"/>
                  </a:lnTo>
                  <a:lnTo>
                    <a:pt x="22" y="181"/>
                  </a:lnTo>
                  <a:lnTo>
                    <a:pt x="16" y="180"/>
                  </a:lnTo>
                  <a:lnTo>
                    <a:pt x="11" y="178"/>
                  </a:lnTo>
                  <a:lnTo>
                    <a:pt x="6" y="174"/>
                  </a:lnTo>
                  <a:lnTo>
                    <a:pt x="2" y="169"/>
                  </a:lnTo>
                  <a:lnTo>
                    <a:pt x="0" y="163"/>
                  </a:lnTo>
                  <a:lnTo>
                    <a:pt x="0" y="157"/>
                  </a:lnTo>
                  <a:lnTo>
                    <a:pt x="1" y="151"/>
                  </a:lnTo>
                  <a:lnTo>
                    <a:pt x="4" y="145"/>
                  </a:lnTo>
                  <a:lnTo>
                    <a:pt x="102" y="10"/>
                  </a:lnTo>
                  <a:lnTo>
                    <a:pt x="105" y="6"/>
                  </a:lnTo>
                  <a:lnTo>
                    <a:pt x="109" y="2"/>
                  </a:lnTo>
                  <a:lnTo>
                    <a:pt x="115" y="1"/>
                  </a:lnTo>
                  <a:lnTo>
                    <a:pt x="120" y="0"/>
                  </a:lnTo>
                  <a:lnTo>
                    <a:pt x="575" y="0"/>
                  </a:lnTo>
                  <a:lnTo>
                    <a:pt x="581" y="1"/>
                  </a:lnTo>
                  <a:lnTo>
                    <a:pt x="586" y="2"/>
                  </a:lnTo>
                  <a:lnTo>
                    <a:pt x="590" y="6"/>
                  </a:lnTo>
                  <a:lnTo>
                    <a:pt x="594" y="10"/>
                  </a:lnTo>
                  <a:lnTo>
                    <a:pt x="689" y="142"/>
                  </a:lnTo>
                  <a:lnTo>
                    <a:pt x="693" y="146"/>
                  </a:lnTo>
                  <a:lnTo>
                    <a:pt x="694" y="150"/>
                  </a:lnTo>
                  <a:lnTo>
                    <a:pt x="695" y="154"/>
                  </a:lnTo>
                  <a:lnTo>
                    <a:pt x="697" y="158"/>
                  </a:lnTo>
                  <a:lnTo>
                    <a:pt x="695" y="163"/>
                  </a:lnTo>
                  <a:lnTo>
                    <a:pt x="694" y="168"/>
                  </a:lnTo>
                  <a:lnTo>
                    <a:pt x="693" y="172"/>
                  </a:lnTo>
                  <a:lnTo>
                    <a:pt x="689" y="175"/>
                  </a:lnTo>
                  <a:lnTo>
                    <a:pt x="687" y="178"/>
                  </a:lnTo>
                  <a:lnTo>
                    <a:pt x="682" y="180"/>
                  </a:lnTo>
                  <a:lnTo>
                    <a:pt x="678" y="181"/>
                  </a:lnTo>
                  <a:lnTo>
                    <a:pt x="67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39">
              <a:extLst>
                <a:ext uri="{FF2B5EF4-FFF2-40B4-BE49-F238E27FC236}">
                  <a16:creationId xmlns:a16="http://schemas.microsoft.com/office/drawing/2014/main" id="{1D262C8C-4788-47BC-A668-C84A7CC197DD}"/>
                </a:ext>
              </a:extLst>
            </p:cNvPr>
            <p:cNvSpPr>
              <a:spLocks/>
            </p:cNvSpPr>
            <p:nvPr/>
          </p:nvSpPr>
          <p:spPr bwMode="auto">
            <a:xfrm>
              <a:off x="6804254" y="5299867"/>
              <a:ext cx="17463" cy="109538"/>
            </a:xfrm>
            <a:custGeom>
              <a:avLst/>
              <a:gdLst>
                <a:gd name="T0" fmla="*/ 23 w 46"/>
                <a:gd name="T1" fmla="*/ 276 h 276"/>
                <a:gd name="T2" fmla="*/ 19 w 46"/>
                <a:gd name="T3" fmla="*/ 276 h 276"/>
                <a:gd name="T4" fmla="*/ 14 w 46"/>
                <a:gd name="T5" fmla="*/ 275 h 276"/>
                <a:gd name="T6" fmla="*/ 10 w 46"/>
                <a:gd name="T7" fmla="*/ 272 h 276"/>
                <a:gd name="T8" fmla="*/ 7 w 46"/>
                <a:gd name="T9" fmla="*/ 270 h 276"/>
                <a:gd name="T10" fmla="*/ 4 w 46"/>
                <a:gd name="T11" fmla="*/ 266 h 276"/>
                <a:gd name="T12" fmla="*/ 2 w 46"/>
                <a:gd name="T13" fmla="*/ 263 h 276"/>
                <a:gd name="T14" fmla="*/ 0 w 46"/>
                <a:gd name="T15" fmla="*/ 258 h 276"/>
                <a:gd name="T16" fmla="*/ 0 w 46"/>
                <a:gd name="T17" fmla="*/ 253 h 276"/>
                <a:gd name="T18" fmla="*/ 0 w 46"/>
                <a:gd name="T19" fmla="*/ 22 h 276"/>
                <a:gd name="T20" fmla="*/ 0 w 46"/>
                <a:gd name="T21" fmla="*/ 18 h 276"/>
                <a:gd name="T22" fmla="*/ 2 w 46"/>
                <a:gd name="T23" fmla="*/ 14 h 276"/>
                <a:gd name="T24" fmla="*/ 4 w 46"/>
                <a:gd name="T25" fmla="*/ 10 h 276"/>
                <a:gd name="T26" fmla="*/ 7 w 46"/>
                <a:gd name="T27" fmla="*/ 6 h 276"/>
                <a:gd name="T28" fmla="*/ 10 w 46"/>
                <a:gd name="T29" fmla="*/ 4 h 276"/>
                <a:gd name="T30" fmla="*/ 14 w 46"/>
                <a:gd name="T31" fmla="*/ 1 h 276"/>
                <a:gd name="T32" fmla="*/ 19 w 46"/>
                <a:gd name="T33" fmla="*/ 0 h 276"/>
                <a:gd name="T34" fmla="*/ 23 w 46"/>
                <a:gd name="T35" fmla="*/ 0 h 276"/>
                <a:gd name="T36" fmla="*/ 27 w 46"/>
                <a:gd name="T37" fmla="*/ 0 h 276"/>
                <a:gd name="T38" fmla="*/ 32 w 46"/>
                <a:gd name="T39" fmla="*/ 1 h 276"/>
                <a:gd name="T40" fmla="*/ 36 w 46"/>
                <a:gd name="T41" fmla="*/ 4 h 276"/>
                <a:gd name="T42" fmla="*/ 40 w 46"/>
                <a:gd name="T43" fmla="*/ 6 h 276"/>
                <a:gd name="T44" fmla="*/ 42 w 46"/>
                <a:gd name="T45" fmla="*/ 10 h 276"/>
                <a:gd name="T46" fmla="*/ 45 w 46"/>
                <a:gd name="T47" fmla="*/ 14 h 276"/>
                <a:gd name="T48" fmla="*/ 46 w 46"/>
                <a:gd name="T49" fmla="*/ 18 h 276"/>
                <a:gd name="T50" fmla="*/ 46 w 46"/>
                <a:gd name="T51" fmla="*/ 22 h 276"/>
                <a:gd name="T52" fmla="*/ 46 w 46"/>
                <a:gd name="T53" fmla="*/ 253 h 276"/>
                <a:gd name="T54" fmla="*/ 46 w 46"/>
                <a:gd name="T55" fmla="*/ 258 h 276"/>
                <a:gd name="T56" fmla="*/ 45 w 46"/>
                <a:gd name="T57" fmla="*/ 263 h 276"/>
                <a:gd name="T58" fmla="*/ 42 w 46"/>
                <a:gd name="T59" fmla="*/ 266 h 276"/>
                <a:gd name="T60" fmla="*/ 40 w 46"/>
                <a:gd name="T61" fmla="*/ 270 h 276"/>
                <a:gd name="T62" fmla="*/ 36 w 46"/>
                <a:gd name="T63" fmla="*/ 272 h 276"/>
                <a:gd name="T64" fmla="*/ 32 w 46"/>
                <a:gd name="T65" fmla="*/ 275 h 276"/>
                <a:gd name="T66" fmla="*/ 27 w 46"/>
                <a:gd name="T67" fmla="*/ 276 h 276"/>
                <a:gd name="T68" fmla="*/ 23 w 46"/>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276">
                  <a:moveTo>
                    <a:pt x="23" y="276"/>
                  </a:moveTo>
                  <a:lnTo>
                    <a:pt x="19" y="276"/>
                  </a:lnTo>
                  <a:lnTo>
                    <a:pt x="14" y="275"/>
                  </a:lnTo>
                  <a:lnTo>
                    <a:pt x="10" y="272"/>
                  </a:lnTo>
                  <a:lnTo>
                    <a:pt x="7" y="270"/>
                  </a:lnTo>
                  <a:lnTo>
                    <a:pt x="4" y="266"/>
                  </a:lnTo>
                  <a:lnTo>
                    <a:pt x="2" y="263"/>
                  </a:lnTo>
                  <a:lnTo>
                    <a:pt x="0" y="258"/>
                  </a:lnTo>
                  <a:lnTo>
                    <a:pt x="0" y="253"/>
                  </a:lnTo>
                  <a:lnTo>
                    <a:pt x="0" y="22"/>
                  </a:lnTo>
                  <a:lnTo>
                    <a:pt x="0" y="18"/>
                  </a:lnTo>
                  <a:lnTo>
                    <a:pt x="2" y="14"/>
                  </a:lnTo>
                  <a:lnTo>
                    <a:pt x="4" y="10"/>
                  </a:lnTo>
                  <a:lnTo>
                    <a:pt x="7" y="6"/>
                  </a:lnTo>
                  <a:lnTo>
                    <a:pt x="10" y="4"/>
                  </a:lnTo>
                  <a:lnTo>
                    <a:pt x="14" y="1"/>
                  </a:lnTo>
                  <a:lnTo>
                    <a:pt x="19" y="0"/>
                  </a:lnTo>
                  <a:lnTo>
                    <a:pt x="23" y="0"/>
                  </a:lnTo>
                  <a:lnTo>
                    <a:pt x="27" y="0"/>
                  </a:lnTo>
                  <a:lnTo>
                    <a:pt x="32" y="1"/>
                  </a:lnTo>
                  <a:lnTo>
                    <a:pt x="36" y="4"/>
                  </a:lnTo>
                  <a:lnTo>
                    <a:pt x="40" y="6"/>
                  </a:lnTo>
                  <a:lnTo>
                    <a:pt x="42" y="10"/>
                  </a:lnTo>
                  <a:lnTo>
                    <a:pt x="45" y="14"/>
                  </a:lnTo>
                  <a:lnTo>
                    <a:pt x="46" y="18"/>
                  </a:lnTo>
                  <a:lnTo>
                    <a:pt x="46" y="22"/>
                  </a:lnTo>
                  <a:lnTo>
                    <a:pt x="46" y="253"/>
                  </a:lnTo>
                  <a:lnTo>
                    <a:pt x="46" y="258"/>
                  </a:lnTo>
                  <a:lnTo>
                    <a:pt x="45" y="263"/>
                  </a:lnTo>
                  <a:lnTo>
                    <a:pt x="42" y="266"/>
                  </a:lnTo>
                  <a:lnTo>
                    <a:pt x="40" y="270"/>
                  </a:lnTo>
                  <a:lnTo>
                    <a:pt x="36" y="272"/>
                  </a:lnTo>
                  <a:lnTo>
                    <a:pt x="32" y="275"/>
                  </a:lnTo>
                  <a:lnTo>
                    <a:pt x="27" y="276"/>
                  </a:lnTo>
                  <a:lnTo>
                    <a:pt x="23"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40">
              <a:extLst>
                <a:ext uri="{FF2B5EF4-FFF2-40B4-BE49-F238E27FC236}">
                  <a16:creationId xmlns:a16="http://schemas.microsoft.com/office/drawing/2014/main" id="{46590584-D67A-4F3D-A83B-C6E4B55F0B9E}"/>
                </a:ext>
              </a:extLst>
            </p:cNvPr>
            <p:cNvSpPr>
              <a:spLocks/>
            </p:cNvSpPr>
            <p:nvPr/>
          </p:nvSpPr>
          <p:spPr bwMode="auto">
            <a:xfrm>
              <a:off x="6712179" y="5336379"/>
              <a:ext cx="73025" cy="17463"/>
            </a:xfrm>
            <a:custGeom>
              <a:avLst/>
              <a:gdLst>
                <a:gd name="T0" fmla="*/ 161 w 184"/>
                <a:gd name="T1" fmla="*/ 45 h 45"/>
                <a:gd name="T2" fmla="*/ 23 w 184"/>
                <a:gd name="T3" fmla="*/ 45 h 45"/>
                <a:gd name="T4" fmla="*/ 18 w 184"/>
                <a:gd name="T5" fmla="*/ 45 h 45"/>
                <a:gd name="T6" fmla="*/ 13 w 184"/>
                <a:gd name="T7" fmla="*/ 44 h 45"/>
                <a:gd name="T8" fmla="*/ 10 w 184"/>
                <a:gd name="T9" fmla="*/ 42 h 45"/>
                <a:gd name="T10" fmla="*/ 6 w 184"/>
                <a:gd name="T11" fmla="*/ 39 h 45"/>
                <a:gd name="T12" fmla="*/ 4 w 184"/>
                <a:gd name="T13" fmla="*/ 36 h 45"/>
                <a:gd name="T14" fmla="*/ 1 w 184"/>
                <a:gd name="T15" fmla="*/ 32 h 45"/>
                <a:gd name="T16" fmla="*/ 0 w 184"/>
                <a:gd name="T17" fmla="*/ 27 h 45"/>
                <a:gd name="T18" fmla="*/ 0 w 184"/>
                <a:gd name="T19" fmla="*/ 23 h 45"/>
                <a:gd name="T20" fmla="*/ 0 w 184"/>
                <a:gd name="T21" fmla="*/ 18 h 45"/>
                <a:gd name="T22" fmla="*/ 1 w 184"/>
                <a:gd name="T23" fmla="*/ 14 h 45"/>
                <a:gd name="T24" fmla="*/ 4 w 184"/>
                <a:gd name="T25" fmla="*/ 10 h 45"/>
                <a:gd name="T26" fmla="*/ 6 w 184"/>
                <a:gd name="T27" fmla="*/ 6 h 45"/>
                <a:gd name="T28" fmla="*/ 10 w 184"/>
                <a:gd name="T29" fmla="*/ 4 h 45"/>
                <a:gd name="T30" fmla="*/ 13 w 184"/>
                <a:gd name="T31" fmla="*/ 1 h 45"/>
                <a:gd name="T32" fmla="*/ 18 w 184"/>
                <a:gd name="T33" fmla="*/ 0 h 45"/>
                <a:gd name="T34" fmla="*/ 23 w 184"/>
                <a:gd name="T35" fmla="*/ 0 h 45"/>
                <a:gd name="T36" fmla="*/ 161 w 184"/>
                <a:gd name="T37" fmla="*/ 0 h 45"/>
                <a:gd name="T38" fmla="*/ 165 w 184"/>
                <a:gd name="T39" fmla="*/ 0 h 45"/>
                <a:gd name="T40" fmla="*/ 170 w 184"/>
                <a:gd name="T41" fmla="*/ 1 h 45"/>
                <a:gd name="T42" fmla="*/ 174 w 184"/>
                <a:gd name="T43" fmla="*/ 4 h 45"/>
                <a:gd name="T44" fmla="*/ 178 w 184"/>
                <a:gd name="T45" fmla="*/ 6 h 45"/>
                <a:gd name="T46" fmla="*/ 180 w 184"/>
                <a:gd name="T47" fmla="*/ 10 h 45"/>
                <a:gd name="T48" fmla="*/ 183 w 184"/>
                <a:gd name="T49" fmla="*/ 14 h 45"/>
                <a:gd name="T50" fmla="*/ 184 w 184"/>
                <a:gd name="T51" fmla="*/ 18 h 45"/>
                <a:gd name="T52" fmla="*/ 184 w 184"/>
                <a:gd name="T53" fmla="*/ 23 h 45"/>
                <a:gd name="T54" fmla="*/ 184 w 184"/>
                <a:gd name="T55" fmla="*/ 27 h 45"/>
                <a:gd name="T56" fmla="*/ 183 w 184"/>
                <a:gd name="T57" fmla="*/ 32 h 45"/>
                <a:gd name="T58" fmla="*/ 180 w 184"/>
                <a:gd name="T59" fmla="*/ 36 h 45"/>
                <a:gd name="T60" fmla="*/ 178 w 184"/>
                <a:gd name="T61" fmla="*/ 39 h 45"/>
                <a:gd name="T62" fmla="*/ 174 w 184"/>
                <a:gd name="T63" fmla="*/ 42 h 45"/>
                <a:gd name="T64" fmla="*/ 170 w 184"/>
                <a:gd name="T65" fmla="*/ 44 h 45"/>
                <a:gd name="T66" fmla="*/ 165 w 184"/>
                <a:gd name="T67" fmla="*/ 45 h 45"/>
                <a:gd name="T68" fmla="*/ 161 w 184"/>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45">
                  <a:moveTo>
                    <a:pt x="161" y="45"/>
                  </a:moveTo>
                  <a:lnTo>
                    <a:pt x="23" y="45"/>
                  </a:lnTo>
                  <a:lnTo>
                    <a:pt x="18" y="45"/>
                  </a:lnTo>
                  <a:lnTo>
                    <a:pt x="13" y="44"/>
                  </a:lnTo>
                  <a:lnTo>
                    <a:pt x="10" y="42"/>
                  </a:lnTo>
                  <a:lnTo>
                    <a:pt x="6" y="39"/>
                  </a:lnTo>
                  <a:lnTo>
                    <a:pt x="4" y="36"/>
                  </a:lnTo>
                  <a:lnTo>
                    <a:pt x="1" y="32"/>
                  </a:lnTo>
                  <a:lnTo>
                    <a:pt x="0" y="27"/>
                  </a:lnTo>
                  <a:lnTo>
                    <a:pt x="0" y="23"/>
                  </a:lnTo>
                  <a:lnTo>
                    <a:pt x="0" y="18"/>
                  </a:lnTo>
                  <a:lnTo>
                    <a:pt x="1" y="14"/>
                  </a:lnTo>
                  <a:lnTo>
                    <a:pt x="4" y="10"/>
                  </a:lnTo>
                  <a:lnTo>
                    <a:pt x="6" y="6"/>
                  </a:lnTo>
                  <a:lnTo>
                    <a:pt x="10" y="4"/>
                  </a:lnTo>
                  <a:lnTo>
                    <a:pt x="13" y="1"/>
                  </a:lnTo>
                  <a:lnTo>
                    <a:pt x="18" y="0"/>
                  </a:lnTo>
                  <a:lnTo>
                    <a:pt x="23" y="0"/>
                  </a:lnTo>
                  <a:lnTo>
                    <a:pt x="161" y="0"/>
                  </a:lnTo>
                  <a:lnTo>
                    <a:pt x="165" y="0"/>
                  </a:lnTo>
                  <a:lnTo>
                    <a:pt x="170" y="1"/>
                  </a:lnTo>
                  <a:lnTo>
                    <a:pt x="174" y="4"/>
                  </a:lnTo>
                  <a:lnTo>
                    <a:pt x="178" y="6"/>
                  </a:lnTo>
                  <a:lnTo>
                    <a:pt x="180" y="10"/>
                  </a:lnTo>
                  <a:lnTo>
                    <a:pt x="183" y="14"/>
                  </a:lnTo>
                  <a:lnTo>
                    <a:pt x="184" y="18"/>
                  </a:lnTo>
                  <a:lnTo>
                    <a:pt x="184" y="23"/>
                  </a:lnTo>
                  <a:lnTo>
                    <a:pt x="184" y="27"/>
                  </a:lnTo>
                  <a:lnTo>
                    <a:pt x="183" y="32"/>
                  </a:lnTo>
                  <a:lnTo>
                    <a:pt x="180" y="36"/>
                  </a:lnTo>
                  <a:lnTo>
                    <a:pt x="178" y="39"/>
                  </a:lnTo>
                  <a:lnTo>
                    <a:pt x="174" y="42"/>
                  </a:lnTo>
                  <a:lnTo>
                    <a:pt x="170" y="44"/>
                  </a:lnTo>
                  <a:lnTo>
                    <a:pt x="165" y="45"/>
                  </a:lnTo>
                  <a:lnTo>
                    <a:pt x="16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41">
              <a:extLst>
                <a:ext uri="{FF2B5EF4-FFF2-40B4-BE49-F238E27FC236}">
                  <a16:creationId xmlns:a16="http://schemas.microsoft.com/office/drawing/2014/main" id="{45E08AA1-AA54-44A9-B769-8C619932980F}"/>
                </a:ext>
              </a:extLst>
            </p:cNvPr>
            <p:cNvSpPr>
              <a:spLocks noEditPoints="1"/>
            </p:cNvSpPr>
            <p:nvPr/>
          </p:nvSpPr>
          <p:spPr bwMode="auto">
            <a:xfrm>
              <a:off x="6531204" y="5499892"/>
              <a:ext cx="200025" cy="57150"/>
            </a:xfrm>
            <a:custGeom>
              <a:avLst/>
              <a:gdLst>
                <a:gd name="T0" fmla="*/ 45 w 500"/>
                <a:gd name="T1" fmla="*/ 94 h 141"/>
                <a:gd name="T2" fmla="*/ 455 w 500"/>
                <a:gd name="T3" fmla="*/ 94 h 141"/>
                <a:gd name="T4" fmla="*/ 455 w 500"/>
                <a:gd name="T5" fmla="*/ 45 h 141"/>
                <a:gd name="T6" fmla="*/ 45 w 500"/>
                <a:gd name="T7" fmla="*/ 45 h 141"/>
                <a:gd name="T8" fmla="*/ 45 w 500"/>
                <a:gd name="T9" fmla="*/ 94 h 141"/>
                <a:gd name="T10" fmla="*/ 478 w 500"/>
                <a:gd name="T11" fmla="*/ 141 h 141"/>
                <a:gd name="T12" fmla="*/ 22 w 500"/>
                <a:gd name="T13" fmla="*/ 141 h 141"/>
                <a:gd name="T14" fmla="*/ 18 w 500"/>
                <a:gd name="T15" fmla="*/ 139 h 141"/>
                <a:gd name="T16" fmla="*/ 13 w 500"/>
                <a:gd name="T17" fmla="*/ 138 h 141"/>
                <a:gd name="T18" fmla="*/ 10 w 500"/>
                <a:gd name="T19" fmla="*/ 137 h 141"/>
                <a:gd name="T20" fmla="*/ 6 w 500"/>
                <a:gd name="T21" fmla="*/ 133 h 141"/>
                <a:gd name="T22" fmla="*/ 4 w 500"/>
                <a:gd name="T23" fmla="*/ 130 h 141"/>
                <a:gd name="T24" fmla="*/ 1 w 500"/>
                <a:gd name="T25" fmla="*/ 126 h 141"/>
                <a:gd name="T26" fmla="*/ 0 w 500"/>
                <a:gd name="T27" fmla="*/ 122 h 141"/>
                <a:gd name="T28" fmla="*/ 0 w 500"/>
                <a:gd name="T29" fmla="*/ 117 h 141"/>
                <a:gd name="T30" fmla="*/ 0 w 500"/>
                <a:gd name="T31" fmla="*/ 23 h 141"/>
                <a:gd name="T32" fmla="*/ 0 w 500"/>
                <a:gd name="T33" fmla="*/ 18 h 141"/>
                <a:gd name="T34" fmla="*/ 1 w 500"/>
                <a:gd name="T35" fmla="*/ 13 h 141"/>
                <a:gd name="T36" fmla="*/ 4 w 500"/>
                <a:gd name="T37" fmla="*/ 9 h 141"/>
                <a:gd name="T38" fmla="*/ 6 w 500"/>
                <a:gd name="T39" fmla="*/ 6 h 141"/>
                <a:gd name="T40" fmla="*/ 10 w 500"/>
                <a:gd name="T41" fmla="*/ 3 h 141"/>
                <a:gd name="T42" fmla="*/ 13 w 500"/>
                <a:gd name="T43" fmla="*/ 1 h 141"/>
                <a:gd name="T44" fmla="*/ 18 w 500"/>
                <a:gd name="T45" fmla="*/ 0 h 141"/>
                <a:gd name="T46" fmla="*/ 22 w 500"/>
                <a:gd name="T47" fmla="*/ 0 h 141"/>
                <a:gd name="T48" fmla="*/ 478 w 500"/>
                <a:gd name="T49" fmla="*/ 0 h 141"/>
                <a:gd name="T50" fmla="*/ 482 w 500"/>
                <a:gd name="T51" fmla="*/ 0 h 141"/>
                <a:gd name="T52" fmla="*/ 487 w 500"/>
                <a:gd name="T53" fmla="*/ 1 h 141"/>
                <a:gd name="T54" fmla="*/ 490 w 500"/>
                <a:gd name="T55" fmla="*/ 3 h 141"/>
                <a:gd name="T56" fmla="*/ 494 w 500"/>
                <a:gd name="T57" fmla="*/ 6 h 141"/>
                <a:gd name="T58" fmla="*/ 497 w 500"/>
                <a:gd name="T59" fmla="*/ 9 h 141"/>
                <a:gd name="T60" fmla="*/ 499 w 500"/>
                <a:gd name="T61" fmla="*/ 13 h 141"/>
                <a:gd name="T62" fmla="*/ 500 w 500"/>
                <a:gd name="T63" fmla="*/ 18 h 141"/>
                <a:gd name="T64" fmla="*/ 500 w 500"/>
                <a:gd name="T65" fmla="*/ 23 h 141"/>
                <a:gd name="T66" fmla="*/ 500 w 500"/>
                <a:gd name="T67" fmla="*/ 117 h 141"/>
                <a:gd name="T68" fmla="*/ 500 w 500"/>
                <a:gd name="T69" fmla="*/ 122 h 141"/>
                <a:gd name="T70" fmla="*/ 499 w 500"/>
                <a:gd name="T71" fmla="*/ 126 h 141"/>
                <a:gd name="T72" fmla="*/ 497 w 500"/>
                <a:gd name="T73" fmla="*/ 130 h 141"/>
                <a:gd name="T74" fmla="*/ 494 w 500"/>
                <a:gd name="T75" fmla="*/ 133 h 141"/>
                <a:gd name="T76" fmla="*/ 490 w 500"/>
                <a:gd name="T77" fmla="*/ 137 h 141"/>
                <a:gd name="T78" fmla="*/ 487 w 500"/>
                <a:gd name="T79" fmla="*/ 138 h 141"/>
                <a:gd name="T80" fmla="*/ 482 w 500"/>
                <a:gd name="T81" fmla="*/ 139 h 141"/>
                <a:gd name="T82" fmla="*/ 478 w 500"/>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141">
                  <a:moveTo>
                    <a:pt x="45" y="94"/>
                  </a:moveTo>
                  <a:lnTo>
                    <a:pt x="455" y="94"/>
                  </a:lnTo>
                  <a:lnTo>
                    <a:pt x="455" y="45"/>
                  </a:lnTo>
                  <a:lnTo>
                    <a:pt x="45" y="45"/>
                  </a:lnTo>
                  <a:lnTo>
                    <a:pt x="45" y="94"/>
                  </a:lnTo>
                  <a:close/>
                  <a:moveTo>
                    <a:pt x="478" y="141"/>
                  </a:moveTo>
                  <a:lnTo>
                    <a:pt x="22" y="141"/>
                  </a:lnTo>
                  <a:lnTo>
                    <a:pt x="18" y="139"/>
                  </a:lnTo>
                  <a:lnTo>
                    <a:pt x="13" y="138"/>
                  </a:lnTo>
                  <a:lnTo>
                    <a:pt x="10" y="137"/>
                  </a:lnTo>
                  <a:lnTo>
                    <a:pt x="6" y="133"/>
                  </a:lnTo>
                  <a:lnTo>
                    <a:pt x="4" y="130"/>
                  </a:lnTo>
                  <a:lnTo>
                    <a:pt x="1" y="126"/>
                  </a:lnTo>
                  <a:lnTo>
                    <a:pt x="0" y="122"/>
                  </a:lnTo>
                  <a:lnTo>
                    <a:pt x="0" y="117"/>
                  </a:lnTo>
                  <a:lnTo>
                    <a:pt x="0" y="23"/>
                  </a:lnTo>
                  <a:lnTo>
                    <a:pt x="0" y="18"/>
                  </a:lnTo>
                  <a:lnTo>
                    <a:pt x="1" y="13"/>
                  </a:lnTo>
                  <a:lnTo>
                    <a:pt x="4" y="9"/>
                  </a:lnTo>
                  <a:lnTo>
                    <a:pt x="6" y="6"/>
                  </a:lnTo>
                  <a:lnTo>
                    <a:pt x="10" y="3"/>
                  </a:lnTo>
                  <a:lnTo>
                    <a:pt x="13" y="1"/>
                  </a:lnTo>
                  <a:lnTo>
                    <a:pt x="18" y="0"/>
                  </a:lnTo>
                  <a:lnTo>
                    <a:pt x="22" y="0"/>
                  </a:lnTo>
                  <a:lnTo>
                    <a:pt x="478" y="0"/>
                  </a:lnTo>
                  <a:lnTo>
                    <a:pt x="482" y="0"/>
                  </a:lnTo>
                  <a:lnTo>
                    <a:pt x="487" y="1"/>
                  </a:lnTo>
                  <a:lnTo>
                    <a:pt x="490" y="3"/>
                  </a:lnTo>
                  <a:lnTo>
                    <a:pt x="494" y="6"/>
                  </a:lnTo>
                  <a:lnTo>
                    <a:pt x="497" y="9"/>
                  </a:lnTo>
                  <a:lnTo>
                    <a:pt x="499" y="13"/>
                  </a:lnTo>
                  <a:lnTo>
                    <a:pt x="500" y="18"/>
                  </a:lnTo>
                  <a:lnTo>
                    <a:pt x="500" y="23"/>
                  </a:lnTo>
                  <a:lnTo>
                    <a:pt x="500" y="117"/>
                  </a:lnTo>
                  <a:lnTo>
                    <a:pt x="500" y="122"/>
                  </a:lnTo>
                  <a:lnTo>
                    <a:pt x="499" y="126"/>
                  </a:lnTo>
                  <a:lnTo>
                    <a:pt x="497" y="130"/>
                  </a:lnTo>
                  <a:lnTo>
                    <a:pt x="494" y="133"/>
                  </a:lnTo>
                  <a:lnTo>
                    <a:pt x="490" y="137"/>
                  </a:lnTo>
                  <a:lnTo>
                    <a:pt x="487" y="138"/>
                  </a:lnTo>
                  <a:lnTo>
                    <a:pt x="482" y="139"/>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42">
              <a:extLst>
                <a:ext uri="{FF2B5EF4-FFF2-40B4-BE49-F238E27FC236}">
                  <a16:creationId xmlns:a16="http://schemas.microsoft.com/office/drawing/2014/main" id="{B8426704-07A0-4CE1-A6BB-CEEB8BA2DDEF}"/>
                </a:ext>
              </a:extLst>
            </p:cNvPr>
            <p:cNvSpPr>
              <a:spLocks noEditPoints="1"/>
            </p:cNvSpPr>
            <p:nvPr/>
          </p:nvSpPr>
          <p:spPr bwMode="auto">
            <a:xfrm>
              <a:off x="6531204" y="5591967"/>
              <a:ext cx="200025" cy="109538"/>
            </a:xfrm>
            <a:custGeom>
              <a:avLst/>
              <a:gdLst>
                <a:gd name="T0" fmla="*/ 45 w 500"/>
                <a:gd name="T1" fmla="*/ 231 h 276"/>
                <a:gd name="T2" fmla="*/ 455 w 500"/>
                <a:gd name="T3" fmla="*/ 231 h 276"/>
                <a:gd name="T4" fmla="*/ 455 w 500"/>
                <a:gd name="T5" fmla="*/ 46 h 276"/>
                <a:gd name="T6" fmla="*/ 45 w 500"/>
                <a:gd name="T7" fmla="*/ 46 h 276"/>
                <a:gd name="T8" fmla="*/ 45 w 500"/>
                <a:gd name="T9" fmla="*/ 231 h 276"/>
                <a:gd name="T10" fmla="*/ 478 w 500"/>
                <a:gd name="T11" fmla="*/ 276 h 276"/>
                <a:gd name="T12" fmla="*/ 22 w 500"/>
                <a:gd name="T13" fmla="*/ 276 h 276"/>
                <a:gd name="T14" fmla="*/ 18 w 500"/>
                <a:gd name="T15" fmla="*/ 276 h 276"/>
                <a:gd name="T16" fmla="*/ 13 w 500"/>
                <a:gd name="T17" fmla="*/ 275 h 276"/>
                <a:gd name="T18" fmla="*/ 10 w 500"/>
                <a:gd name="T19" fmla="*/ 273 h 276"/>
                <a:gd name="T20" fmla="*/ 6 w 500"/>
                <a:gd name="T21" fmla="*/ 270 h 276"/>
                <a:gd name="T22" fmla="*/ 4 w 500"/>
                <a:gd name="T23" fmla="*/ 266 h 276"/>
                <a:gd name="T24" fmla="*/ 1 w 500"/>
                <a:gd name="T25" fmla="*/ 263 h 276"/>
                <a:gd name="T26" fmla="*/ 0 w 500"/>
                <a:gd name="T27" fmla="*/ 258 h 276"/>
                <a:gd name="T28" fmla="*/ 0 w 500"/>
                <a:gd name="T29" fmla="*/ 253 h 276"/>
                <a:gd name="T30" fmla="*/ 0 w 500"/>
                <a:gd name="T31" fmla="*/ 22 h 276"/>
                <a:gd name="T32" fmla="*/ 0 w 500"/>
                <a:gd name="T33" fmla="*/ 19 h 276"/>
                <a:gd name="T34" fmla="*/ 1 w 500"/>
                <a:gd name="T35" fmla="*/ 14 h 276"/>
                <a:gd name="T36" fmla="*/ 4 w 500"/>
                <a:gd name="T37" fmla="*/ 10 h 276"/>
                <a:gd name="T38" fmla="*/ 6 w 500"/>
                <a:gd name="T39" fmla="*/ 6 h 276"/>
                <a:gd name="T40" fmla="*/ 10 w 500"/>
                <a:gd name="T41" fmla="*/ 4 h 276"/>
                <a:gd name="T42" fmla="*/ 13 w 500"/>
                <a:gd name="T43" fmla="*/ 1 h 276"/>
                <a:gd name="T44" fmla="*/ 18 w 500"/>
                <a:gd name="T45" fmla="*/ 0 h 276"/>
                <a:gd name="T46" fmla="*/ 22 w 500"/>
                <a:gd name="T47" fmla="*/ 0 h 276"/>
                <a:gd name="T48" fmla="*/ 478 w 500"/>
                <a:gd name="T49" fmla="*/ 0 h 276"/>
                <a:gd name="T50" fmla="*/ 482 w 500"/>
                <a:gd name="T51" fmla="*/ 0 h 276"/>
                <a:gd name="T52" fmla="*/ 487 w 500"/>
                <a:gd name="T53" fmla="*/ 1 h 276"/>
                <a:gd name="T54" fmla="*/ 490 w 500"/>
                <a:gd name="T55" fmla="*/ 4 h 276"/>
                <a:gd name="T56" fmla="*/ 494 w 500"/>
                <a:gd name="T57" fmla="*/ 6 h 276"/>
                <a:gd name="T58" fmla="*/ 497 w 500"/>
                <a:gd name="T59" fmla="*/ 10 h 276"/>
                <a:gd name="T60" fmla="*/ 499 w 500"/>
                <a:gd name="T61" fmla="*/ 14 h 276"/>
                <a:gd name="T62" fmla="*/ 500 w 500"/>
                <a:gd name="T63" fmla="*/ 19 h 276"/>
                <a:gd name="T64" fmla="*/ 500 w 500"/>
                <a:gd name="T65" fmla="*/ 22 h 276"/>
                <a:gd name="T66" fmla="*/ 500 w 500"/>
                <a:gd name="T67" fmla="*/ 253 h 276"/>
                <a:gd name="T68" fmla="*/ 500 w 500"/>
                <a:gd name="T69" fmla="*/ 258 h 276"/>
                <a:gd name="T70" fmla="*/ 499 w 500"/>
                <a:gd name="T71" fmla="*/ 263 h 276"/>
                <a:gd name="T72" fmla="*/ 497 w 500"/>
                <a:gd name="T73" fmla="*/ 266 h 276"/>
                <a:gd name="T74" fmla="*/ 494 w 500"/>
                <a:gd name="T75" fmla="*/ 270 h 276"/>
                <a:gd name="T76" fmla="*/ 490 w 500"/>
                <a:gd name="T77" fmla="*/ 273 h 276"/>
                <a:gd name="T78" fmla="*/ 487 w 500"/>
                <a:gd name="T79" fmla="*/ 275 h 276"/>
                <a:gd name="T80" fmla="*/ 482 w 500"/>
                <a:gd name="T81" fmla="*/ 276 h 276"/>
                <a:gd name="T82" fmla="*/ 478 w 500"/>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276">
                  <a:moveTo>
                    <a:pt x="45" y="231"/>
                  </a:moveTo>
                  <a:lnTo>
                    <a:pt x="455" y="231"/>
                  </a:lnTo>
                  <a:lnTo>
                    <a:pt x="455" y="46"/>
                  </a:lnTo>
                  <a:lnTo>
                    <a:pt x="45" y="46"/>
                  </a:lnTo>
                  <a:lnTo>
                    <a:pt x="45" y="231"/>
                  </a:lnTo>
                  <a:close/>
                  <a:moveTo>
                    <a:pt x="478" y="276"/>
                  </a:moveTo>
                  <a:lnTo>
                    <a:pt x="22" y="276"/>
                  </a:lnTo>
                  <a:lnTo>
                    <a:pt x="18" y="276"/>
                  </a:lnTo>
                  <a:lnTo>
                    <a:pt x="13" y="275"/>
                  </a:lnTo>
                  <a:lnTo>
                    <a:pt x="10" y="273"/>
                  </a:lnTo>
                  <a:lnTo>
                    <a:pt x="6" y="270"/>
                  </a:lnTo>
                  <a:lnTo>
                    <a:pt x="4" y="266"/>
                  </a:lnTo>
                  <a:lnTo>
                    <a:pt x="1" y="263"/>
                  </a:lnTo>
                  <a:lnTo>
                    <a:pt x="0" y="258"/>
                  </a:lnTo>
                  <a:lnTo>
                    <a:pt x="0" y="253"/>
                  </a:lnTo>
                  <a:lnTo>
                    <a:pt x="0" y="22"/>
                  </a:lnTo>
                  <a:lnTo>
                    <a:pt x="0" y="19"/>
                  </a:lnTo>
                  <a:lnTo>
                    <a:pt x="1" y="14"/>
                  </a:lnTo>
                  <a:lnTo>
                    <a:pt x="4" y="10"/>
                  </a:lnTo>
                  <a:lnTo>
                    <a:pt x="6" y="6"/>
                  </a:lnTo>
                  <a:lnTo>
                    <a:pt x="10" y="4"/>
                  </a:lnTo>
                  <a:lnTo>
                    <a:pt x="13" y="1"/>
                  </a:lnTo>
                  <a:lnTo>
                    <a:pt x="18" y="0"/>
                  </a:lnTo>
                  <a:lnTo>
                    <a:pt x="22" y="0"/>
                  </a:lnTo>
                  <a:lnTo>
                    <a:pt x="478" y="0"/>
                  </a:lnTo>
                  <a:lnTo>
                    <a:pt x="482" y="0"/>
                  </a:lnTo>
                  <a:lnTo>
                    <a:pt x="487" y="1"/>
                  </a:lnTo>
                  <a:lnTo>
                    <a:pt x="490" y="4"/>
                  </a:lnTo>
                  <a:lnTo>
                    <a:pt x="494" y="6"/>
                  </a:lnTo>
                  <a:lnTo>
                    <a:pt x="497" y="10"/>
                  </a:lnTo>
                  <a:lnTo>
                    <a:pt x="499" y="14"/>
                  </a:lnTo>
                  <a:lnTo>
                    <a:pt x="500" y="19"/>
                  </a:lnTo>
                  <a:lnTo>
                    <a:pt x="500" y="22"/>
                  </a:lnTo>
                  <a:lnTo>
                    <a:pt x="500" y="253"/>
                  </a:lnTo>
                  <a:lnTo>
                    <a:pt x="500" y="258"/>
                  </a:lnTo>
                  <a:lnTo>
                    <a:pt x="499" y="263"/>
                  </a:lnTo>
                  <a:lnTo>
                    <a:pt x="497" y="266"/>
                  </a:lnTo>
                  <a:lnTo>
                    <a:pt x="494" y="270"/>
                  </a:lnTo>
                  <a:lnTo>
                    <a:pt x="490" y="273"/>
                  </a:lnTo>
                  <a:lnTo>
                    <a:pt x="487" y="275"/>
                  </a:lnTo>
                  <a:lnTo>
                    <a:pt x="482"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43">
              <a:extLst>
                <a:ext uri="{FF2B5EF4-FFF2-40B4-BE49-F238E27FC236}">
                  <a16:creationId xmlns:a16="http://schemas.microsoft.com/office/drawing/2014/main" id="{8A88A269-CD0F-4227-BEF9-A75609449CEC}"/>
                </a:ext>
              </a:extLst>
            </p:cNvPr>
            <p:cNvSpPr>
              <a:spLocks noEditPoints="1"/>
            </p:cNvSpPr>
            <p:nvPr/>
          </p:nvSpPr>
          <p:spPr bwMode="auto">
            <a:xfrm>
              <a:off x="6493104" y="5537992"/>
              <a:ext cx="276225" cy="71438"/>
            </a:xfrm>
            <a:custGeom>
              <a:avLst/>
              <a:gdLst>
                <a:gd name="T0" fmla="*/ 68 w 696"/>
                <a:gd name="T1" fmla="*/ 136 h 182"/>
                <a:gd name="T2" fmla="*/ 629 w 696"/>
                <a:gd name="T3" fmla="*/ 136 h 182"/>
                <a:gd name="T4" fmla="*/ 564 w 696"/>
                <a:gd name="T5" fmla="*/ 47 h 182"/>
                <a:gd name="T6" fmla="*/ 132 w 696"/>
                <a:gd name="T7" fmla="*/ 47 h 182"/>
                <a:gd name="T8" fmla="*/ 68 w 696"/>
                <a:gd name="T9" fmla="*/ 136 h 182"/>
                <a:gd name="T10" fmla="*/ 674 w 696"/>
                <a:gd name="T11" fmla="*/ 182 h 182"/>
                <a:gd name="T12" fmla="*/ 673 w 696"/>
                <a:gd name="T13" fmla="*/ 182 h 182"/>
                <a:gd name="T14" fmla="*/ 673 w 696"/>
                <a:gd name="T15" fmla="*/ 182 h 182"/>
                <a:gd name="T16" fmla="*/ 23 w 696"/>
                <a:gd name="T17" fmla="*/ 182 h 182"/>
                <a:gd name="T18" fmla="*/ 17 w 696"/>
                <a:gd name="T19" fmla="*/ 182 h 182"/>
                <a:gd name="T20" fmla="*/ 11 w 696"/>
                <a:gd name="T21" fmla="*/ 179 h 182"/>
                <a:gd name="T22" fmla="*/ 6 w 696"/>
                <a:gd name="T23" fmla="*/ 174 h 182"/>
                <a:gd name="T24" fmla="*/ 2 w 696"/>
                <a:gd name="T25" fmla="*/ 169 h 182"/>
                <a:gd name="T26" fmla="*/ 0 w 696"/>
                <a:gd name="T27" fmla="*/ 163 h 182"/>
                <a:gd name="T28" fmla="*/ 0 w 696"/>
                <a:gd name="T29" fmla="*/ 157 h 182"/>
                <a:gd name="T30" fmla="*/ 1 w 696"/>
                <a:gd name="T31" fmla="*/ 151 h 182"/>
                <a:gd name="T32" fmla="*/ 5 w 696"/>
                <a:gd name="T33" fmla="*/ 145 h 182"/>
                <a:gd name="T34" fmla="*/ 102 w 696"/>
                <a:gd name="T35" fmla="*/ 10 h 182"/>
                <a:gd name="T36" fmla="*/ 105 w 696"/>
                <a:gd name="T37" fmla="*/ 6 h 182"/>
                <a:gd name="T38" fmla="*/ 110 w 696"/>
                <a:gd name="T39" fmla="*/ 3 h 182"/>
                <a:gd name="T40" fmla="*/ 115 w 696"/>
                <a:gd name="T41" fmla="*/ 1 h 182"/>
                <a:gd name="T42" fmla="*/ 120 w 696"/>
                <a:gd name="T43" fmla="*/ 0 h 182"/>
                <a:gd name="T44" fmla="*/ 576 w 696"/>
                <a:gd name="T45" fmla="*/ 0 h 182"/>
                <a:gd name="T46" fmla="*/ 581 w 696"/>
                <a:gd name="T47" fmla="*/ 1 h 182"/>
                <a:gd name="T48" fmla="*/ 586 w 696"/>
                <a:gd name="T49" fmla="*/ 3 h 182"/>
                <a:gd name="T50" fmla="*/ 591 w 696"/>
                <a:gd name="T51" fmla="*/ 6 h 182"/>
                <a:gd name="T52" fmla="*/ 595 w 696"/>
                <a:gd name="T53" fmla="*/ 10 h 182"/>
                <a:gd name="T54" fmla="*/ 690 w 696"/>
                <a:gd name="T55" fmla="*/ 142 h 182"/>
                <a:gd name="T56" fmla="*/ 693 w 696"/>
                <a:gd name="T57" fmla="*/ 146 h 182"/>
                <a:gd name="T58" fmla="*/ 695 w 696"/>
                <a:gd name="T59" fmla="*/ 150 h 182"/>
                <a:gd name="T60" fmla="*/ 696 w 696"/>
                <a:gd name="T61" fmla="*/ 155 h 182"/>
                <a:gd name="T62" fmla="*/ 696 w 696"/>
                <a:gd name="T63" fmla="*/ 158 h 182"/>
                <a:gd name="T64" fmla="*/ 696 w 696"/>
                <a:gd name="T65" fmla="*/ 163 h 182"/>
                <a:gd name="T66" fmla="*/ 695 w 696"/>
                <a:gd name="T67" fmla="*/ 168 h 182"/>
                <a:gd name="T68" fmla="*/ 693 w 696"/>
                <a:gd name="T69" fmla="*/ 172 h 182"/>
                <a:gd name="T70" fmla="*/ 690 w 696"/>
                <a:gd name="T71" fmla="*/ 175 h 182"/>
                <a:gd name="T72" fmla="*/ 687 w 696"/>
                <a:gd name="T73" fmla="*/ 178 h 182"/>
                <a:gd name="T74" fmla="*/ 683 w 696"/>
                <a:gd name="T75" fmla="*/ 180 h 182"/>
                <a:gd name="T76" fmla="*/ 678 w 696"/>
                <a:gd name="T77" fmla="*/ 182 h 182"/>
                <a:gd name="T78" fmla="*/ 674 w 696"/>
                <a:gd name="T7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6" h="182">
                  <a:moveTo>
                    <a:pt x="68" y="136"/>
                  </a:moveTo>
                  <a:lnTo>
                    <a:pt x="629" y="136"/>
                  </a:lnTo>
                  <a:lnTo>
                    <a:pt x="564" y="47"/>
                  </a:lnTo>
                  <a:lnTo>
                    <a:pt x="132" y="47"/>
                  </a:lnTo>
                  <a:lnTo>
                    <a:pt x="68" y="136"/>
                  </a:lnTo>
                  <a:close/>
                  <a:moveTo>
                    <a:pt x="674" y="182"/>
                  </a:moveTo>
                  <a:lnTo>
                    <a:pt x="673" y="182"/>
                  </a:lnTo>
                  <a:lnTo>
                    <a:pt x="673" y="182"/>
                  </a:lnTo>
                  <a:lnTo>
                    <a:pt x="23" y="182"/>
                  </a:lnTo>
                  <a:lnTo>
                    <a:pt x="17" y="182"/>
                  </a:lnTo>
                  <a:lnTo>
                    <a:pt x="11" y="179"/>
                  </a:lnTo>
                  <a:lnTo>
                    <a:pt x="6" y="174"/>
                  </a:lnTo>
                  <a:lnTo>
                    <a:pt x="2" y="169"/>
                  </a:lnTo>
                  <a:lnTo>
                    <a:pt x="0" y="163"/>
                  </a:lnTo>
                  <a:lnTo>
                    <a:pt x="0" y="157"/>
                  </a:lnTo>
                  <a:lnTo>
                    <a:pt x="1" y="151"/>
                  </a:lnTo>
                  <a:lnTo>
                    <a:pt x="5" y="145"/>
                  </a:lnTo>
                  <a:lnTo>
                    <a:pt x="102" y="10"/>
                  </a:lnTo>
                  <a:lnTo>
                    <a:pt x="105" y="6"/>
                  </a:lnTo>
                  <a:lnTo>
                    <a:pt x="110" y="3"/>
                  </a:lnTo>
                  <a:lnTo>
                    <a:pt x="115" y="1"/>
                  </a:lnTo>
                  <a:lnTo>
                    <a:pt x="120" y="0"/>
                  </a:lnTo>
                  <a:lnTo>
                    <a:pt x="576" y="0"/>
                  </a:lnTo>
                  <a:lnTo>
                    <a:pt x="581" y="1"/>
                  </a:lnTo>
                  <a:lnTo>
                    <a:pt x="586" y="3"/>
                  </a:lnTo>
                  <a:lnTo>
                    <a:pt x="591" y="6"/>
                  </a:lnTo>
                  <a:lnTo>
                    <a:pt x="595" y="10"/>
                  </a:lnTo>
                  <a:lnTo>
                    <a:pt x="690" y="142"/>
                  </a:lnTo>
                  <a:lnTo>
                    <a:pt x="693" y="146"/>
                  </a:lnTo>
                  <a:lnTo>
                    <a:pt x="695" y="150"/>
                  </a:lnTo>
                  <a:lnTo>
                    <a:pt x="696" y="155"/>
                  </a:lnTo>
                  <a:lnTo>
                    <a:pt x="696" y="158"/>
                  </a:lnTo>
                  <a:lnTo>
                    <a:pt x="696" y="163"/>
                  </a:lnTo>
                  <a:lnTo>
                    <a:pt x="695" y="168"/>
                  </a:lnTo>
                  <a:lnTo>
                    <a:pt x="693" y="172"/>
                  </a:lnTo>
                  <a:lnTo>
                    <a:pt x="690" y="175"/>
                  </a:lnTo>
                  <a:lnTo>
                    <a:pt x="687" y="178"/>
                  </a:lnTo>
                  <a:lnTo>
                    <a:pt x="683" y="180"/>
                  </a:lnTo>
                  <a:lnTo>
                    <a:pt x="678" y="182"/>
                  </a:lnTo>
                  <a:lnTo>
                    <a:pt x="67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44">
              <a:extLst>
                <a:ext uri="{FF2B5EF4-FFF2-40B4-BE49-F238E27FC236}">
                  <a16:creationId xmlns:a16="http://schemas.microsoft.com/office/drawing/2014/main" id="{A371C939-EEB4-44C6-BA30-E17D8AC51773}"/>
                </a:ext>
              </a:extLst>
            </p:cNvPr>
            <p:cNvSpPr>
              <a:spLocks/>
            </p:cNvSpPr>
            <p:nvPr/>
          </p:nvSpPr>
          <p:spPr bwMode="auto">
            <a:xfrm>
              <a:off x="6658204" y="5591967"/>
              <a:ext cx="17463" cy="109538"/>
            </a:xfrm>
            <a:custGeom>
              <a:avLst/>
              <a:gdLst>
                <a:gd name="T0" fmla="*/ 24 w 47"/>
                <a:gd name="T1" fmla="*/ 276 h 276"/>
                <a:gd name="T2" fmla="*/ 19 w 47"/>
                <a:gd name="T3" fmla="*/ 276 h 276"/>
                <a:gd name="T4" fmla="*/ 15 w 47"/>
                <a:gd name="T5" fmla="*/ 275 h 276"/>
                <a:gd name="T6" fmla="*/ 10 w 47"/>
                <a:gd name="T7" fmla="*/ 273 h 276"/>
                <a:gd name="T8" fmla="*/ 8 w 47"/>
                <a:gd name="T9" fmla="*/ 270 h 276"/>
                <a:gd name="T10" fmla="*/ 4 w 47"/>
                <a:gd name="T11" fmla="*/ 266 h 276"/>
                <a:gd name="T12" fmla="*/ 3 w 47"/>
                <a:gd name="T13" fmla="*/ 263 h 276"/>
                <a:gd name="T14" fmla="*/ 2 w 47"/>
                <a:gd name="T15" fmla="*/ 258 h 276"/>
                <a:gd name="T16" fmla="*/ 0 w 47"/>
                <a:gd name="T17" fmla="*/ 253 h 276"/>
                <a:gd name="T18" fmla="*/ 0 w 47"/>
                <a:gd name="T19" fmla="*/ 22 h 276"/>
                <a:gd name="T20" fmla="*/ 2 w 47"/>
                <a:gd name="T21" fmla="*/ 19 h 276"/>
                <a:gd name="T22" fmla="*/ 3 w 47"/>
                <a:gd name="T23" fmla="*/ 14 h 276"/>
                <a:gd name="T24" fmla="*/ 4 w 47"/>
                <a:gd name="T25" fmla="*/ 10 h 276"/>
                <a:gd name="T26" fmla="*/ 8 w 47"/>
                <a:gd name="T27" fmla="*/ 6 h 276"/>
                <a:gd name="T28" fmla="*/ 10 w 47"/>
                <a:gd name="T29" fmla="*/ 4 h 276"/>
                <a:gd name="T30" fmla="*/ 15 w 47"/>
                <a:gd name="T31" fmla="*/ 1 h 276"/>
                <a:gd name="T32" fmla="*/ 19 w 47"/>
                <a:gd name="T33" fmla="*/ 0 h 276"/>
                <a:gd name="T34" fmla="*/ 24 w 47"/>
                <a:gd name="T35" fmla="*/ 0 h 276"/>
                <a:gd name="T36" fmla="*/ 29 w 47"/>
                <a:gd name="T37" fmla="*/ 0 h 276"/>
                <a:gd name="T38" fmla="*/ 32 w 47"/>
                <a:gd name="T39" fmla="*/ 1 h 276"/>
                <a:gd name="T40" fmla="*/ 36 w 47"/>
                <a:gd name="T41" fmla="*/ 4 h 276"/>
                <a:gd name="T42" fmla="*/ 40 w 47"/>
                <a:gd name="T43" fmla="*/ 6 h 276"/>
                <a:gd name="T44" fmla="*/ 43 w 47"/>
                <a:gd name="T45" fmla="*/ 10 h 276"/>
                <a:gd name="T46" fmla="*/ 44 w 47"/>
                <a:gd name="T47" fmla="*/ 14 h 276"/>
                <a:gd name="T48" fmla="*/ 46 w 47"/>
                <a:gd name="T49" fmla="*/ 19 h 276"/>
                <a:gd name="T50" fmla="*/ 47 w 47"/>
                <a:gd name="T51" fmla="*/ 22 h 276"/>
                <a:gd name="T52" fmla="*/ 47 w 47"/>
                <a:gd name="T53" fmla="*/ 253 h 276"/>
                <a:gd name="T54" fmla="*/ 46 w 47"/>
                <a:gd name="T55" fmla="*/ 258 h 276"/>
                <a:gd name="T56" fmla="*/ 44 w 47"/>
                <a:gd name="T57" fmla="*/ 263 h 276"/>
                <a:gd name="T58" fmla="*/ 43 w 47"/>
                <a:gd name="T59" fmla="*/ 266 h 276"/>
                <a:gd name="T60" fmla="*/ 40 w 47"/>
                <a:gd name="T61" fmla="*/ 270 h 276"/>
                <a:gd name="T62" fmla="*/ 36 w 47"/>
                <a:gd name="T63" fmla="*/ 273 h 276"/>
                <a:gd name="T64" fmla="*/ 32 w 47"/>
                <a:gd name="T65" fmla="*/ 275 h 276"/>
                <a:gd name="T66" fmla="*/ 29 w 47"/>
                <a:gd name="T67" fmla="*/ 276 h 276"/>
                <a:gd name="T68" fmla="*/ 24 w 47"/>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276">
                  <a:moveTo>
                    <a:pt x="24" y="276"/>
                  </a:moveTo>
                  <a:lnTo>
                    <a:pt x="19" y="276"/>
                  </a:lnTo>
                  <a:lnTo>
                    <a:pt x="15" y="275"/>
                  </a:lnTo>
                  <a:lnTo>
                    <a:pt x="10" y="273"/>
                  </a:lnTo>
                  <a:lnTo>
                    <a:pt x="8" y="270"/>
                  </a:lnTo>
                  <a:lnTo>
                    <a:pt x="4" y="266"/>
                  </a:lnTo>
                  <a:lnTo>
                    <a:pt x="3" y="263"/>
                  </a:lnTo>
                  <a:lnTo>
                    <a:pt x="2" y="258"/>
                  </a:lnTo>
                  <a:lnTo>
                    <a:pt x="0" y="253"/>
                  </a:lnTo>
                  <a:lnTo>
                    <a:pt x="0" y="22"/>
                  </a:lnTo>
                  <a:lnTo>
                    <a:pt x="2" y="19"/>
                  </a:lnTo>
                  <a:lnTo>
                    <a:pt x="3" y="14"/>
                  </a:lnTo>
                  <a:lnTo>
                    <a:pt x="4" y="10"/>
                  </a:lnTo>
                  <a:lnTo>
                    <a:pt x="8" y="6"/>
                  </a:lnTo>
                  <a:lnTo>
                    <a:pt x="10" y="4"/>
                  </a:lnTo>
                  <a:lnTo>
                    <a:pt x="15" y="1"/>
                  </a:lnTo>
                  <a:lnTo>
                    <a:pt x="19" y="0"/>
                  </a:lnTo>
                  <a:lnTo>
                    <a:pt x="24" y="0"/>
                  </a:lnTo>
                  <a:lnTo>
                    <a:pt x="29" y="0"/>
                  </a:lnTo>
                  <a:lnTo>
                    <a:pt x="32" y="1"/>
                  </a:lnTo>
                  <a:lnTo>
                    <a:pt x="36" y="4"/>
                  </a:lnTo>
                  <a:lnTo>
                    <a:pt x="40" y="6"/>
                  </a:lnTo>
                  <a:lnTo>
                    <a:pt x="43" y="10"/>
                  </a:lnTo>
                  <a:lnTo>
                    <a:pt x="44" y="14"/>
                  </a:lnTo>
                  <a:lnTo>
                    <a:pt x="46" y="19"/>
                  </a:lnTo>
                  <a:lnTo>
                    <a:pt x="47" y="22"/>
                  </a:lnTo>
                  <a:lnTo>
                    <a:pt x="47" y="253"/>
                  </a:lnTo>
                  <a:lnTo>
                    <a:pt x="46" y="258"/>
                  </a:lnTo>
                  <a:lnTo>
                    <a:pt x="44" y="263"/>
                  </a:lnTo>
                  <a:lnTo>
                    <a:pt x="43" y="266"/>
                  </a:lnTo>
                  <a:lnTo>
                    <a:pt x="40" y="270"/>
                  </a:lnTo>
                  <a:lnTo>
                    <a:pt x="36" y="273"/>
                  </a:lnTo>
                  <a:lnTo>
                    <a:pt x="32" y="275"/>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45">
              <a:extLst>
                <a:ext uri="{FF2B5EF4-FFF2-40B4-BE49-F238E27FC236}">
                  <a16:creationId xmlns:a16="http://schemas.microsoft.com/office/drawing/2014/main" id="{52022794-6244-46D8-9D0C-71321F0559E4}"/>
                </a:ext>
              </a:extLst>
            </p:cNvPr>
            <p:cNvSpPr>
              <a:spLocks/>
            </p:cNvSpPr>
            <p:nvPr/>
          </p:nvSpPr>
          <p:spPr bwMode="auto">
            <a:xfrm>
              <a:off x="6566129" y="5628479"/>
              <a:ext cx="73025" cy="17463"/>
            </a:xfrm>
            <a:custGeom>
              <a:avLst/>
              <a:gdLst>
                <a:gd name="T0" fmla="*/ 162 w 185"/>
                <a:gd name="T1" fmla="*/ 46 h 46"/>
                <a:gd name="T2" fmla="*/ 23 w 185"/>
                <a:gd name="T3" fmla="*/ 46 h 46"/>
                <a:gd name="T4" fmla="*/ 18 w 185"/>
                <a:gd name="T5" fmla="*/ 46 h 46"/>
                <a:gd name="T6" fmla="*/ 14 w 185"/>
                <a:gd name="T7" fmla="*/ 44 h 46"/>
                <a:gd name="T8" fmla="*/ 11 w 185"/>
                <a:gd name="T9" fmla="*/ 42 h 46"/>
                <a:gd name="T10" fmla="*/ 7 w 185"/>
                <a:gd name="T11" fmla="*/ 39 h 46"/>
                <a:gd name="T12" fmla="*/ 5 w 185"/>
                <a:gd name="T13" fmla="*/ 36 h 46"/>
                <a:gd name="T14" fmla="*/ 2 w 185"/>
                <a:gd name="T15" fmla="*/ 32 h 46"/>
                <a:gd name="T16" fmla="*/ 1 w 185"/>
                <a:gd name="T17" fmla="*/ 27 h 46"/>
                <a:gd name="T18" fmla="*/ 0 w 185"/>
                <a:gd name="T19" fmla="*/ 24 h 46"/>
                <a:gd name="T20" fmla="*/ 1 w 185"/>
                <a:gd name="T21" fmla="*/ 19 h 46"/>
                <a:gd name="T22" fmla="*/ 2 w 185"/>
                <a:gd name="T23" fmla="*/ 14 h 46"/>
                <a:gd name="T24" fmla="*/ 5 w 185"/>
                <a:gd name="T25" fmla="*/ 10 h 46"/>
                <a:gd name="T26" fmla="*/ 7 w 185"/>
                <a:gd name="T27" fmla="*/ 6 h 46"/>
                <a:gd name="T28" fmla="*/ 11 w 185"/>
                <a:gd name="T29" fmla="*/ 4 h 46"/>
                <a:gd name="T30" fmla="*/ 14 w 185"/>
                <a:gd name="T31" fmla="*/ 1 h 46"/>
                <a:gd name="T32" fmla="*/ 18 w 185"/>
                <a:gd name="T33" fmla="*/ 0 h 46"/>
                <a:gd name="T34" fmla="*/ 23 w 185"/>
                <a:gd name="T35" fmla="*/ 0 h 46"/>
                <a:gd name="T36" fmla="*/ 162 w 185"/>
                <a:gd name="T37" fmla="*/ 0 h 46"/>
                <a:gd name="T38" fmla="*/ 167 w 185"/>
                <a:gd name="T39" fmla="*/ 0 h 46"/>
                <a:gd name="T40" fmla="*/ 170 w 185"/>
                <a:gd name="T41" fmla="*/ 1 h 46"/>
                <a:gd name="T42" fmla="*/ 174 w 185"/>
                <a:gd name="T43" fmla="*/ 4 h 46"/>
                <a:gd name="T44" fmla="*/ 178 w 185"/>
                <a:gd name="T45" fmla="*/ 6 h 46"/>
                <a:gd name="T46" fmla="*/ 180 w 185"/>
                <a:gd name="T47" fmla="*/ 10 h 46"/>
                <a:gd name="T48" fmla="*/ 182 w 185"/>
                <a:gd name="T49" fmla="*/ 14 h 46"/>
                <a:gd name="T50" fmla="*/ 184 w 185"/>
                <a:gd name="T51" fmla="*/ 19 h 46"/>
                <a:gd name="T52" fmla="*/ 185 w 185"/>
                <a:gd name="T53" fmla="*/ 24 h 46"/>
                <a:gd name="T54" fmla="*/ 184 w 185"/>
                <a:gd name="T55" fmla="*/ 27 h 46"/>
                <a:gd name="T56" fmla="*/ 182 w 185"/>
                <a:gd name="T57" fmla="*/ 32 h 46"/>
                <a:gd name="T58" fmla="*/ 180 w 185"/>
                <a:gd name="T59" fmla="*/ 36 h 46"/>
                <a:gd name="T60" fmla="*/ 178 w 185"/>
                <a:gd name="T61" fmla="*/ 39 h 46"/>
                <a:gd name="T62" fmla="*/ 174 w 185"/>
                <a:gd name="T63" fmla="*/ 42 h 46"/>
                <a:gd name="T64" fmla="*/ 170 w 185"/>
                <a:gd name="T65" fmla="*/ 44 h 46"/>
                <a:gd name="T66" fmla="*/ 167 w 185"/>
                <a:gd name="T67" fmla="*/ 46 h 46"/>
                <a:gd name="T68" fmla="*/ 162 w 185"/>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 h="46">
                  <a:moveTo>
                    <a:pt x="162" y="46"/>
                  </a:moveTo>
                  <a:lnTo>
                    <a:pt x="23" y="46"/>
                  </a:lnTo>
                  <a:lnTo>
                    <a:pt x="18" y="46"/>
                  </a:lnTo>
                  <a:lnTo>
                    <a:pt x="14" y="44"/>
                  </a:lnTo>
                  <a:lnTo>
                    <a:pt x="11" y="42"/>
                  </a:lnTo>
                  <a:lnTo>
                    <a:pt x="7" y="39"/>
                  </a:lnTo>
                  <a:lnTo>
                    <a:pt x="5" y="36"/>
                  </a:lnTo>
                  <a:lnTo>
                    <a:pt x="2" y="32"/>
                  </a:lnTo>
                  <a:lnTo>
                    <a:pt x="1" y="27"/>
                  </a:lnTo>
                  <a:lnTo>
                    <a:pt x="0" y="24"/>
                  </a:lnTo>
                  <a:lnTo>
                    <a:pt x="1" y="19"/>
                  </a:lnTo>
                  <a:lnTo>
                    <a:pt x="2" y="14"/>
                  </a:lnTo>
                  <a:lnTo>
                    <a:pt x="5" y="10"/>
                  </a:lnTo>
                  <a:lnTo>
                    <a:pt x="7" y="6"/>
                  </a:lnTo>
                  <a:lnTo>
                    <a:pt x="11" y="4"/>
                  </a:lnTo>
                  <a:lnTo>
                    <a:pt x="14" y="1"/>
                  </a:lnTo>
                  <a:lnTo>
                    <a:pt x="18" y="0"/>
                  </a:lnTo>
                  <a:lnTo>
                    <a:pt x="23" y="0"/>
                  </a:lnTo>
                  <a:lnTo>
                    <a:pt x="162" y="0"/>
                  </a:lnTo>
                  <a:lnTo>
                    <a:pt x="167" y="0"/>
                  </a:lnTo>
                  <a:lnTo>
                    <a:pt x="170" y="1"/>
                  </a:lnTo>
                  <a:lnTo>
                    <a:pt x="174" y="4"/>
                  </a:lnTo>
                  <a:lnTo>
                    <a:pt x="178" y="6"/>
                  </a:lnTo>
                  <a:lnTo>
                    <a:pt x="180" y="10"/>
                  </a:lnTo>
                  <a:lnTo>
                    <a:pt x="182" y="14"/>
                  </a:lnTo>
                  <a:lnTo>
                    <a:pt x="184" y="19"/>
                  </a:lnTo>
                  <a:lnTo>
                    <a:pt x="185" y="24"/>
                  </a:lnTo>
                  <a:lnTo>
                    <a:pt x="184" y="27"/>
                  </a:lnTo>
                  <a:lnTo>
                    <a:pt x="182" y="32"/>
                  </a:lnTo>
                  <a:lnTo>
                    <a:pt x="180" y="36"/>
                  </a:lnTo>
                  <a:lnTo>
                    <a:pt x="178" y="39"/>
                  </a:lnTo>
                  <a:lnTo>
                    <a:pt x="174" y="42"/>
                  </a:lnTo>
                  <a:lnTo>
                    <a:pt x="170" y="44"/>
                  </a:lnTo>
                  <a:lnTo>
                    <a:pt x="167" y="46"/>
                  </a:lnTo>
                  <a:lnTo>
                    <a:pt x="16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46">
              <a:extLst>
                <a:ext uri="{FF2B5EF4-FFF2-40B4-BE49-F238E27FC236}">
                  <a16:creationId xmlns:a16="http://schemas.microsoft.com/office/drawing/2014/main" id="{1B0B92CE-A060-4E20-A68A-904503A2D93D}"/>
                </a:ext>
              </a:extLst>
            </p:cNvPr>
            <p:cNvSpPr>
              <a:spLocks noEditPoints="1"/>
            </p:cNvSpPr>
            <p:nvPr/>
          </p:nvSpPr>
          <p:spPr bwMode="auto">
            <a:xfrm>
              <a:off x="6824891" y="5499892"/>
              <a:ext cx="198438" cy="57150"/>
            </a:xfrm>
            <a:custGeom>
              <a:avLst/>
              <a:gdLst>
                <a:gd name="T0" fmla="*/ 45 w 500"/>
                <a:gd name="T1" fmla="*/ 94 h 141"/>
                <a:gd name="T2" fmla="*/ 455 w 500"/>
                <a:gd name="T3" fmla="*/ 94 h 141"/>
                <a:gd name="T4" fmla="*/ 455 w 500"/>
                <a:gd name="T5" fmla="*/ 45 h 141"/>
                <a:gd name="T6" fmla="*/ 45 w 500"/>
                <a:gd name="T7" fmla="*/ 45 h 141"/>
                <a:gd name="T8" fmla="*/ 45 w 500"/>
                <a:gd name="T9" fmla="*/ 94 h 141"/>
                <a:gd name="T10" fmla="*/ 478 w 500"/>
                <a:gd name="T11" fmla="*/ 141 h 141"/>
                <a:gd name="T12" fmla="*/ 22 w 500"/>
                <a:gd name="T13" fmla="*/ 141 h 141"/>
                <a:gd name="T14" fmla="*/ 18 w 500"/>
                <a:gd name="T15" fmla="*/ 139 h 141"/>
                <a:gd name="T16" fmla="*/ 14 w 500"/>
                <a:gd name="T17" fmla="*/ 138 h 141"/>
                <a:gd name="T18" fmla="*/ 10 w 500"/>
                <a:gd name="T19" fmla="*/ 137 h 141"/>
                <a:gd name="T20" fmla="*/ 6 w 500"/>
                <a:gd name="T21" fmla="*/ 133 h 141"/>
                <a:gd name="T22" fmla="*/ 4 w 500"/>
                <a:gd name="T23" fmla="*/ 130 h 141"/>
                <a:gd name="T24" fmla="*/ 1 w 500"/>
                <a:gd name="T25" fmla="*/ 126 h 141"/>
                <a:gd name="T26" fmla="*/ 0 w 500"/>
                <a:gd name="T27" fmla="*/ 122 h 141"/>
                <a:gd name="T28" fmla="*/ 0 w 500"/>
                <a:gd name="T29" fmla="*/ 117 h 141"/>
                <a:gd name="T30" fmla="*/ 0 w 500"/>
                <a:gd name="T31" fmla="*/ 23 h 141"/>
                <a:gd name="T32" fmla="*/ 0 w 500"/>
                <a:gd name="T33" fmla="*/ 18 h 141"/>
                <a:gd name="T34" fmla="*/ 1 w 500"/>
                <a:gd name="T35" fmla="*/ 13 h 141"/>
                <a:gd name="T36" fmla="*/ 4 w 500"/>
                <a:gd name="T37" fmla="*/ 9 h 141"/>
                <a:gd name="T38" fmla="*/ 6 w 500"/>
                <a:gd name="T39" fmla="*/ 6 h 141"/>
                <a:gd name="T40" fmla="*/ 10 w 500"/>
                <a:gd name="T41" fmla="*/ 3 h 141"/>
                <a:gd name="T42" fmla="*/ 14 w 500"/>
                <a:gd name="T43" fmla="*/ 1 h 141"/>
                <a:gd name="T44" fmla="*/ 18 w 500"/>
                <a:gd name="T45" fmla="*/ 0 h 141"/>
                <a:gd name="T46" fmla="*/ 22 w 500"/>
                <a:gd name="T47" fmla="*/ 0 h 141"/>
                <a:gd name="T48" fmla="*/ 478 w 500"/>
                <a:gd name="T49" fmla="*/ 0 h 141"/>
                <a:gd name="T50" fmla="*/ 482 w 500"/>
                <a:gd name="T51" fmla="*/ 0 h 141"/>
                <a:gd name="T52" fmla="*/ 487 w 500"/>
                <a:gd name="T53" fmla="*/ 1 h 141"/>
                <a:gd name="T54" fmla="*/ 491 w 500"/>
                <a:gd name="T55" fmla="*/ 3 h 141"/>
                <a:gd name="T56" fmla="*/ 494 w 500"/>
                <a:gd name="T57" fmla="*/ 6 h 141"/>
                <a:gd name="T58" fmla="*/ 497 w 500"/>
                <a:gd name="T59" fmla="*/ 9 h 141"/>
                <a:gd name="T60" fmla="*/ 499 w 500"/>
                <a:gd name="T61" fmla="*/ 13 h 141"/>
                <a:gd name="T62" fmla="*/ 500 w 500"/>
                <a:gd name="T63" fmla="*/ 18 h 141"/>
                <a:gd name="T64" fmla="*/ 500 w 500"/>
                <a:gd name="T65" fmla="*/ 23 h 141"/>
                <a:gd name="T66" fmla="*/ 500 w 500"/>
                <a:gd name="T67" fmla="*/ 117 h 141"/>
                <a:gd name="T68" fmla="*/ 500 w 500"/>
                <a:gd name="T69" fmla="*/ 122 h 141"/>
                <a:gd name="T70" fmla="*/ 499 w 500"/>
                <a:gd name="T71" fmla="*/ 126 h 141"/>
                <a:gd name="T72" fmla="*/ 497 w 500"/>
                <a:gd name="T73" fmla="*/ 130 h 141"/>
                <a:gd name="T74" fmla="*/ 494 w 500"/>
                <a:gd name="T75" fmla="*/ 133 h 141"/>
                <a:gd name="T76" fmla="*/ 491 w 500"/>
                <a:gd name="T77" fmla="*/ 137 h 141"/>
                <a:gd name="T78" fmla="*/ 487 w 500"/>
                <a:gd name="T79" fmla="*/ 138 h 141"/>
                <a:gd name="T80" fmla="*/ 482 w 500"/>
                <a:gd name="T81" fmla="*/ 139 h 141"/>
                <a:gd name="T82" fmla="*/ 478 w 500"/>
                <a:gd name="T83"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141">
                  <a:moveTo>
                    <a:pt x="45" y="94"/>
                  </a:moveTo>
                  <a:lnTo>
                    <a:pt x="455" y="94"/>
                  </a:lnTo>
                  <a:lnTo>
                    <a:pt x="455" y="45"/>
                  </a:lnTo>
                  <a:lnTo>
                    <a:pt x="45" y="45"/>
                  </a:lnTo>
                  <a:lnTo>
                    <a:pt x="45" y="94"/>
                  </a:lnTo>
                  <a:close/>
                  <a:moveTo>
                    <a:pt x="478" y="141"/>
                  </a:moveTo>
                  <a:lnTo>
                    <a:pt x="22" y="141"/>
                  </a:lnTo>
                  <a:lnTo>
                    <a:pt x="18" y="139"/>
                  </a:lnTo>
                  <a:lnTo>
                    <a:pt x="14" y="138"/>
                  </a:lnTo>
                  <a:lnTo>
                    <a:pt x="10" y="137"/>
                  </a:lnTo>
                  <a:lnTo>
                    <a:pt x="6" y="133"/>
                  </a:lnTo>
                  <a:lnTo>
                    <a:pt x="4" y="130"/>
                  </a:lnTo>
                  <a:lnTo>
                    <a:pt x="1" y="126"/>
                  </a:lnTo>
                  <a:lnTo>
                    <a:pt x="0" y="122"/>
                  </a:lnTo>
                  <a:lnTo>
                    <a:pt x="0" y="117"/>
                  </a:lnTo>
                  <a:lnTo>
                    <a:pt x="0" y="23"/>
                  </a:lnTo>
                  <a:lnTo>
                    <a:pt x="0" y="18"/>
                  </a:lnTo>
                  <a:lnTo>
                    <a:pt x="1" y="13"/>
                  </a:lnTo>
                  <a:lnTo>
                    <a:pt x="4" y="9"/>
                  </a:lnTo>
                  <a:lnTo>
                    <a:pt x="6" y="6"/>
                  </a:lnTo>
                  <a:lnTo>
                    <a:pt x="10" y="3"/>
                  </a:lnTo>
                  <a:lnTo>
                    <a:pt x="14" y="1"/>
                  </a:lnTo>
                  <a:lnTo>
                    <a:pt x="18" y="0"/>
                  </a:lnTo>
                  <a:lnTo>
                    <a:pt x="22" y="0"/>
                  </a:lnTo>
                  <a:lnTo>
                    <a:pt x="478" y="0"/>
                  </a:lnTo>
                  <a:lnTo>
                    <a:pt x="482" y="0"/>
                  </a:lnTo>
                  <a:lnTo>
                    <a:pt x="487" y="1"/>
                  </a:lnTo>
                  <a:lnTo>
                    <a:pt x="491" y="3"/>
                  </a:lnTo>
                  <a:lnTo>
                    <a:pt x="494" y="6"/>
                  </a:lnTo>
                  <a:lnTo>
                    <a:pt x="497" y="9"/>
                  </a:lnTo>
                  <a:lnTo>
                    <a:pt x="499" y="13"/>
                  </a:lnTo>
                  <a:lnTo>
                    <a:pt x="500" y="18"/>
                  </a:lnTo>
                  <a:lnTo>
                    <a:pt x="500" y="23"/>
                  </a:lnTo>
                  <a:lnTo>
                    <a:pt x="500" y="117"/>
                  </a:lnTo>
                  <a:lnTo>
                    <a:pt x="500" y="122"/>
                  </a:lnTo>
                  <a:lnTo>
                    <a:pt x="499" y="126"/>
                  </a:lnTo>
                  <a:lnTo>
                    <a:pt x="497" y="130"/>
                  </a:lnTo>
                  <a:lnTo>
                    <a:pt x="494" y="133"/>
                  </a:lnTo>
                  <a:lnTo>
                    <a:pt x="491" y="137"/>
                  </a:lnTo>
                  <a:lnTo>
                    <a:pt x="487" y="138"/>
                  </a:lnTo>
                  <a:lnTo>
                    <a:pt x="482" y="139"/>
                  </a:lnTo>
                  <a:lnTo>
                    <a:pt x="47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47">
              <a:extLst>
                <a:ext uri="{FF2B5EF4-FFF2-40B4-BE49-F238E27FC236}">
                  <a16:creationId xmlns:a16="http://schemas.microsoft.com/office/drawing/2014/main" id="{C9B24C3E-AA47-40FA-AE63-97474688023D}"/>
                </a:ext>
              </a:extLst>
            </p:cNvPr>
            <p:cNvSpPr>
              <a:spLocks noEditPoints="1"/>
            </p:cNvSpPr>
            <p:nvPr/>
          </p:nvSpPr>
          <p:spPr bwMode="auto">
            <a:xfrm>
              <a:off x="6824891" y="5591967"/>
              <a:ext cx="198438" cy="109538"/>
            </a:xfrm>
            <a:custGeom>
              <a:avLst/>
              <a:gdLst>
                <a:gd name="T0" fmla="*/ 45 w 500"/>
                <a:gd name="T1" fmla="*/ 231 h 276"/>
                <a:gd name="T2" fmla="*/ 455 w 500"/>
                <a:gd name="T3" fmla="*/ 231 h 276"/>
                <a:gd name="T4" fmla="*/ 455 w 500"/>
                <a:gd name="T5" fmla="*/ 46 h 276"/>
                <a:gd name="T6" fmla="*/ 45 w 500"/>
                <a:gd name="T7" fmla="*/ 46 h 276"/>
                <a:gd name="T8" fmla="*/ 45 w 500"/>
                <a:gd name="T9" fmla="*/ 231 h 276"/>
                <a:gd name="T10" fmla="*/ 478 w 500"/>
                <a:gd name="T11" fmla="*/ 276 h 276"/>
                <a:gd name="T12" fmla="*/ 22 w 500"/>
                <a:gd name="T13" fmla="*/ 276 h 276"/>
                <a:gd name="T14" fmla="*/ 18 w 500"/>
                <a:gd name="T15" fmla="*/ 276 h 276"/>
                <a:gd name="T16" fmla="*/ 14 w 500"/>
                <a:gd name="T17" fmla="*/ 275 h 276"/>
                <a:gd name="T18" fmla="*/ 10 w 500"/>
                <a:gd name="T19" fmla="*/ 273 h 276"/>
                <a:gd name="T20" fmla="*/ 6 w 500"/>
                <a:gd name="T21" fmla="*/ 270 h 276"/>
                <a:gd name="T22" fmla="*/ 4 w 500"/>
                <a:gd name="T23" fmla="*/ 266 h 276"/>
                <a:gd name="T24" fmla="*/ 1 w 500"/>
                <a:gd name="T25" fmla="*/ 263 h 276"/>
                <a:gd name="T26" fmla="*/ 0 w 500"/>
                <a:gd name="T27" fmla="*/ 258 h 276"/>
                <a:gd name="T28" fmla="*/ 0 w 500"/>
                <a:gd name="T29" fmla="*/ 253 h 276"/>
                <a:gd name="T30" fmla="*/ 0 w 500"/>
                <a:gd name="T31" fmla="*/ 22 h 276"/>
                <a:gd name="T32" fmla="*/ 0 w 500"/>
                <a:gd name="T33" fmla="*/ 19 h 276"/>
                <a:gd name="T34" fmla="*/ 1 w 500"/>
                <a:gd name="T35" fmla="*/ 14 h 276"/>
                <a:gd name="T36" fmla="*/ 4 w 500"/>
                <a:gd name="T37" fmla="*/ 10 h 276"/>
                <a:gd name="T38" fmla="*/ 6 w 500"/>
                <a:gd name="T39" fmla="*/ 6 h 276"/>
                <a:gd name="T40" fmla="*/ 10 w 500"/>
                <a:gd name="T41" fmla="*/ 4 h 276"/>
                <a:gd name="T42" fmla="*/ 14 w 500"/>
                <a:gd name="T43" fmla="*/ 1 h 276"/>
                <a:gd name="T44" fmla="*/ 18 w 500"/>
                <a:gd name="T45" fmla="*/ 0 h 276"/>
                <a:gd name="T46" fmla="*/ 22 w 500"/>
                <a:gd name="T47" fmla="*/ 0 h 276"/>
                <a:gd name="T48" fmla="*/ 478 w 500"/>
                <a:gd name="T49" fmla="*/ 0 h 276"/>
                <a:gd name="T50" fmla="*/ 482 w 500"/>
                <a:gd name="T51" fmla="*/ 0 h 276"/>
                <a:gd name="T52" fmla="*/ 487 w 500"/>
                <a:gd name="T53" fmla="*/ 1 h 276"/>
                <a:gd name="T54" fmla="*/ 491 w 500"/>
                <a:gd name="T55" fmla="*/ 4 h 276"/>
                <a:gd name="T56" fmla="*/ 494 w 500"/>
                <a:gd name="T57" fmla="*/ 6 h 276"/>
                <a:gd name="T58" fmla="*/ 497 w 500"/>
                <a:gd name="T59" fmla="*/ 10 h 276"/>
                <a:gd name="T60" fmla="*/ 499 w 500"/>
                <a:gd name="T61" fmla="*/ 14 h 276"/>
                <a:gd name="T62" fmla="*/ 500 w 500"/>
                <a:gd name="T63" fmla="*/ 19 h 276"/>
                <a:gd name="T64" fmla="*/ 500 w 500"/>
                <a:gd name="T65" fmla="*/ 22 h 276"/>
                <a:gd name="T66" fmla="*/ 500 w 500"/>
                <a:gd name="T67" fmla="*/ 253 h 276"/>
                <a:gd name="T68" fmla="*/ 500 w 500"/>
                <a:gd name="T69" fmla="*/ 258 h 276"/>
                <a:gd name="T70" fmla="*/ 499 w 500"/>
                <a:gd name="T71" fmla="*/ 263 h 276"/>
                <a:gd name="T72" fmla="*/ 497 w 500"/>
                <a:gd name="T73" fmla="*/ 266 h 276"/>
                <a:gd name="T74" fmla="*/ 494 w 500"/>
                <a:gd name="T75" fmla="*/ 270 h 276"/>
                <a:gd name="T76" fmla="*/ 491 w 500"/>
                <a:gd name="T77" fmla="*/ 273 h 276"/>
                <a:gd name="T78" fmla="*/ 487 w 500"/>
                <a:gd name="T79" fmla="*/ 275 h 276"/>
                <a:gd name="T80" fmla="*/ 482 w 500"/>
                <a:gd name="T81" fmla="*/ 276 h 276"/>
                <a:gd name="T82" fmla="*/ 478 w 500"/>
                <a:gd name="T83"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0" h="276">
                  <a:moveTo>
                    <a:pt x="45" y="231"/>
                  </a:moveTo>
                  <a:lnTo>
                    <a:pt x="455" y="231"/>
                  </a:lnTo>
                  <a:lnTo>
                    <a:pt x="455" y="46"/>
                  </a:lnTo>
                  <a:lnTo>
                    <a:pt x="45" y="46"/>
                  </a:lnTo>
                  <a:lnTo>
                    <a:pt x="45" y="231"/>
                  </a:lnTo>
                  <a:close/>
                  <a:moveTo>
                    <a:pt x="478" y="276"/>
                  </a:moveTo>
                  <a:lnTo>
                    <a:pt x="22" y="276"/>
                  </a:lnTo>
                  <a:lnTo>
                    <a:pt x="18" y="276"/>
                  </a:lnTo>
                  <a:lnTo>
                    <a:pt x="14" y="275"/>
                  </a:lnTo>
                  <a:lnTo>
                    <a:pt x="10" y="273"/>
                  </a:lnTo>
                  <a:lnTo>
                    <a:pt x="6" y="270"/>
                  </a:lnTo>
                  <a:lnTo>
                    <a:pt x="4" y="266"/>
                  </a:lnTo>
                  <a:lnTo>
                    <a:pt x="1" y="263"/>
                  </a:lnTo>
                  <a:lnTo>
                    <a:pt x="0" y="258"/>
                  </a:lnTo>
                  <a:lnTo>
                    <a:pt x="0" y="253"/>
                  </a:lnTo>
                  <a:lnTo>
                    <a:pt x="0" y="22"/>
                  </a:lnTo>
                  <a:lnTo>
                    <a:pt x="0" y="19"/>
                  </a:lnTo>
                  <a:lnTo>
                    <a:pt x="1" y="14"/>
                  </a:lnTo>
                  <a:lnTo>
                    <a:pt x="4" y="10"/>
                  </a:lnTo>
                  <a:lnTo>
                    <a:pt x="6" y="6"/>
                  </a:lnTo>
                  <a:lnTo>
                    <a:pt x="10" y="4"/>
                  </a:lnTo>
                  <a:lnTo>
                    <a:pt x="14" y="1"/>
                  </a:lnTo>
                  <a:lnTo>
                    <a:pt x="18" y="0"/>
                  </a:lnTo>
                  <a:lnTo>
                    <a:pt x="22" y="0"/>
                  </a:lnTo>
                  <a:lnTo>
                    <a:pt x="478" y="0"/>
                  </a:lnTo>
                  <a:lnTo>
                    <a:pt x="482" y="0"/>
                  </a:lnTo>
                  <a:lnTo>
                    <a:pt x="487" y="1"/>
                  </a:lnTo>
                  <a:lnTo>
                    <a:pt x="491" y="4"/>
                  </a:lnTo>
                  <a:lnTo>
                    <a:pt x="494" y="6"/>
                  </a:lnTo>
                  <a:lnTo>
                    <a:pt x="497" y="10"/>
                  </a:lnTo>
                  <a:lnTo>
                    <a:pt x="499" y="14"/>
                  </a:lnTo>
                  <a:lnTo>
                    <a:pt x="500" y="19"/>
                  </a:lnTo>
                  <a:lnTo>
                    <a:pt x="500" y="22"/>
                  </a:lnTo>
                  <a:lnTo>
                    <a:pt x="500" y="253"/>
                  </a:lnTo>
                  <a:lnTo>
                    <a:pt x="500" y="258"/>
                  </a:lnTo>
                  <a:lnTo>
                    <a:pt x="499" y="263"/>
                  </a:lnTo>
                  <a:lnTo>
                    <a:pt x="497" y="266"/>
                  </a:lnTo>
                  <a:lnTo>
                    <a:pt x="494" y="270"/>
                  </a:lnTo>
                  <a:lnTo>
                    <a:pt x="491" y="273"/>
                  </a:lnTo>
                  <a:lnTo>
                    <a:pt x="487" y="275"/>
                  </a:lnTo>
                  <a:lnTo>
                    <a:pt x="482" y="276"/>
                  </a:lnTo>
                  <a:lnTo>
                    <a:pt x="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48">
              <a:extLst>
                <a:ext uri="{FF2B5EF4-FFF2-40B4-BE49-F238E27FC236}">
                  <a16:creationId xmlns:a16="http://schemas.microsoft.com/office/drawing/2014/main" id="{6E8B750D-9399-40A4-9BD3-0CEE7DEA96E1}"/>
                </a:ext>
              </a:extLst>
            </p:cNvPr>
            <p:cNvSpPr>
              <a:spLocks noEditPoints="1"/>
            </p:cNvSpPr>
            <p:nvPr/>
          </p:nvSpPr>
          <p:spPr bwMode="auto">
            <a:xfrm>
              <a:off x="6785204" y="5537992"/>
              <a:ext cx="276225" cy="71438"/>
            </a:xfrm>
            <a:custGeom>
              <a:avLst/>
              <a:gdLst>
                <a:gd name="T0" fmla="*/ 69 w 697"/>
                <a:gd name="T1" fmla="*/ 136 h 182"/>
                <a:gd name="T2" fmla="*/ 629 w 697"/>
                <a:gd name="T3" fmla="*/ 136 h 182"/>
                <a:gd name="T4" fmla="*/ 564 w 697"/>
                <a:gd name="T5" fmla="*/ 47 h 182"/>
                <a:gd name="T6" fmla="*/ 132 w 697"/>
                <a:gd name="T7" fmla="*/ 47 h 182"/>
                <a:gd name="T8" fmla="*/ 69 w 697"/>
                <a:gd name="T9" fmla="*/ 136 h 182"/>
                <a:gd name="T10" fmla="*/ 674 w 697"/>
                <a:gd name="T11" fmla="*/ 182 h 182"/>
                <a:gd name="T12" fmla="*/ 673 w 697"/>
                <a:gd name="T13" fmla="*/ 182 h 182"/>
                <a:gd name="T14" fmla="*/ 673 w 697"/>
                <a:gd name="T15" fmla="*/ 182 h 182"/>
                <a:gd name="T16" fmla="*/ 23 w 697"/>
                <a:gd name="T17" fmla="*/ 182 h 182"/>
                <a:gd name="T18" fmla="*/ 17 w 697"/>
                <a:gd name="T19" fmla="*/ 182 h 182"/>
                <a:gd name="T20" fmla="*/ 11 w 697"/>
                <a:gd name="T21" fmla="*/ 179 h 182"/>
                <a:gd name="T22" fmla="*/ 6 w 697"/>
                <a:gd name="T23" fmla="*/ 174 h 182"/>
                <a:gd name="T24" fmla="*/ 2 w 697"/>
                <a:gd name="T25" fmla="*/ 169 h 182"/>
                <a:gd name="T26" fmla="*/ 1 w 697"/>
                <a:gd name="T27" fmla="*/ 163 h 182"/>
                <a:gd name="T28" fmla="*/ 0 w 697"/>
                <a:gd name="T29" fmla="*/ 157 h 182"/>
                <a:gd name="T30" fmla="*/ 1 w 697"/>
                <a:gd name="T31" fmla="*/ 151 h 182"/>
                <a:gd name="T32" fmla="*/ 5 w 697"/>
                <a:gd name="T33" fmla="*/ 145 h 182"/>
                <a:gd name="T34" fmla="*/ 102 w 697"/>
                <a:gd name="T35" fmla="*/ 10 h 182"/>
                <a:gd name="T36" fmla="*/ 105 w 697"/>
                <a:gd name="T37" fmla="*/ 6 h 182"/>
                <a:gd name="T38" fmla="*/ 110 w 697"/>
                <a:gd name="T39" fmla="*/ 3 h 182"/>
                <a:gd name="T40" fmla="*/ 115 w 697"/>
                <a:gd name="T41" fmla="*/ 1 h 182"/>
                <a:gd name="T42" fmla="*/ 120 w 697"/>
                <a:gd name="T43" fmla="*/ 0 h 182"/>
                <a:gd name="T44" fmla="*/ 576 w 697"/>
                <a:gd name="T45" fmla="*/ 0 h 182"/>
                <a:gd name="T46" fmla="*/ 581 w 697"/>
                <a:gd name="T47" fmla="*/ 1 h 182"/>
                <a:gd name="T48" fmla="*/ 586 w 697"/>
                <a:gd name="T49" fmla="*/ 3 h 182"/>
                <a:gd name="T50" fmla="*/ 591 w 697"/>
                <a:gd name="T51" fmla="*/ 6 h 182"/>
                <a:gd name="T52" fmla="*/ 595 w 697"/>
                <a:gd name="T53" fmla="*/ 10 h 182"/>
                <a:gd name="T54" fmla="*/ 690 w 697"/>
                <a:gd name="T55" fmla="*/ 142 h 182"/>
                <a:gd name="T56" fmla="*/ 693 w 697"/>
                <a:gd name="T57" fmla="*/ 146 h 182"/>
                <a:gd name="T58" fmla="*/ 695 w 697"/>
                <a:gd name="T59" fmla="*/ 150 h 182"/>
                <a:gd name="T60" fmla="*/ 697 w 697"/>
                <a:gd name="T61" fmla="*/ 155 h 182"/>
                <a:gd name="T62" fmla="*/ 697 w 697"/>
                <a:gd name="T63" fmla="*/ 158 h 182"/>
                <a:gd name="T64" fmla="*/ 697 w 697"/>
                <a:gd name="T65" fmla="*/ 163 h 182"/>
                <a:gd name="T66" fmla="*/ 695 w 697"/>
                <a:gd name="T67" fmla="*/ 168 h 182"/>
                <a:gd name="T68" fmla="*/ 693 w 697"/>
                <a:gd name="T69" fmla="*/ 172 h 182"/>
                <a:gd name="T70" fmla="*/ 690 w 697"/>
                <a:gd name="T71" fmla="*/ 175 h 182"/>
                <a:gd name="T72" fmla="*/ 687 w 697"/>
                <a:gd name="T73" fmla="*/ 178 h 182"/>
                <a:gd name="T74" fmla="*/ 683 w 697"/>
                <a:gd name="T75" fmla="*/ 180 h 182"/>
                <a:gd name="T76" fmla="*/ 678 w 697"/>
                <a:gd name="T77" fmla="*/ 182 h 182"/>
                <a:gd name="T78" fmla="*/ 674 w 697"/>
                <a:gd name="T79"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7" h="182">
                  <a:moveTo>
                    <a:pt x="69" y="136"/>
                  </a:moveTo>
                  <a:lnTo>
                    <a:pt x="629" y="136"/>
                  </a:lnTo>
                  <a:lnTo>
                    <a:pt x="564" y="47"/>
                  </a:lnTo>
                  <a:lnTo>
                    <a:pt x="132" y="47"/>
                  </a:lnTo>
                  <a:lnTo>
                    <a:pt x="69" y="136"/>
                  </a:lnTo>
                  <a:close/>
                  <a:moveTo>
                    <a:pt x="674" y="182"/>
                  </a:moveTo>
                  <a:lnTo>
                    <a:pt x="673" y="182"/>
                  </a:lnTo>
                  <a:lnTo>
                    <a:pt x="673" y="182"/>
                  </a:lnTo>
                  <a:lnTo>
                    <a:pt x="23" y="182"/>
                  </a:lnTo>
                  <a:lnTo>
                    <a:pt x="17" y="182"/>
                  </a:lnTo>
                  <a:lnTo>
                    <a:pt x="11" y="179"/>
                  </a:lnTo>
                  <a:lnTo>
                    <a:pt x="6" y="174"/>
                  </a:lnTo>
                  <a:lnTo>
                    <a:pt x="2" y="169"/>
                  </a:lnTo>
                  <a:lnTo>
                    <a:pt x="1" y="163"/>
                  </a:lnTo>
                  <a:lnTo>
                    <a:pt x="0" y="157"/>
                  </a:lnTo>
                  <a:lnTo>
                    <a:pt x="1" y="151"/>
                  </a:lnTo>
                  <a:lnTo>
                    <a:pt x="5" y="145"/>
                  </a:lnTo>
                  <a:lnTo>
                    <a:pt x="102" y="10"/>
                  </a:lnTo>
                  <a:lnTo>
                    <a:pt x="105" y="6"/>
                  </a:lnTo>
                  <a:lnTo>
                    <a:pt x="110" y="3"/>
                  </a:lnTo>
                  <a:lnTo>
                    <a:pt x="115" y="1"/>
                  </a:lnTo>
                  <a:lnTo>
                    <a:pt x="120" y="0"/>
                  </a:lnTo>
                  <a:lnTo>
                    <a:pt x="576" y="0"/>
                  </a:lnTo>
                  <a:lnTo>
                    <a:pt x="581" y="1"/>
                  </a:lnTo>
                  <a:lnTo>
                    <a:pt x="586" y="3"/>
                  </a:lnTo>
                  <a:lnTo>
                    <a:pt x="591" y="6"/>
                  </a:lnTo>
                  <a:lnTo>
                    <a:pt x="595" y="10"/>
                  </a:lnTo>
                  <a:lnTo>
                    <a:pt x="690" y="142"/>
                  </a:lnTo>
                  <a:lnTo>
                    <a:pt x="693" y="146"/>
                  </a:lnTo>
                  <a:lnTo>
                    <a:pt x="695" y="150"/>
                  </a:lnTo>
                  <a:lnTo>
                    <a:pt x="697" y="155"/>
                  </a:lnTo>
                  <a:lnTo>
                    <a:pt x="697" y="158"/>
                  </a:lnTo>
                  <a:lnTo>
                    <a:pt x="697" y="163"/>
                  </a:lnTo>
                  <a:lnTo>
                    <a:pt x="695" y="168"/>
                  </a:lnTo>
                  <a:lnTo>
                    <a:pt x="693" y="172"/>
                  </a:lnTo>
                  <a:lnTo>
                    <a:pt x="690" y="175"/>
                  </a:lnTo>
                  <a:lnTo>
                    <a:pt x="687" y="178"/>
                  </a:lnTo>
                  <a:lnTo>
                    <a:pt x="683" y="180"/>
                  </a:lnTo>
                  <a:lnTo>
                    <a:pt x="678" y="182"/>
                  </a:lnTo>
                  <a:lnTo>
                    <a:pt x="67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49">
              <a:extLst>
                <a:ext uri="{FF2B5EF4-FFF2-40B4-BE49-F238E27FC236}">
                  <a16:creationId xmlns:a16="http://schemas.microsoft.com/office/drawing/2014/main" id="{51901ECF-33A1-4459-8F3E-EEF8C5BC86C4}"/>
                </a:ext>
              </a:extLst>
            </p:cNvPr>
            <p:cNvSpPr>
              <a:spLocks/>
            </p:cNvSpPr>
            <p:nvPr/>
          </p:nvSpPr>
          <p:spPr bwMode="auto">
            <a:xfrm>
              <a:off x="6950304" y="5591967"/>
              <a:ext cx="19050" cy="109538"/>
            </a:xfrm>
            <a:custGeom>
              <a:avLst/>
              <a:gdLst>
                <a:gd name="T0" fmla="*/ 24 w 47"/>
                <a:gd name="T1" fmla="*/ 276 h 276"/>
                <a:gd name="T2" fmla="*/ 19 w 47"/>
                <a:gd name="T3" fmla="*/ 276 h 276"/>
                <a:gd name="T4" fmla="*/ 15 w 47"/>
                <a:gd name="T5" fmla="*/ 275 h 276"/>
                <a:gd name="T6" fmla="*/ 10 w 47"/>
                <a:gd name="T7" fmla="*/ 273 h 276"/>
                <a:gd name="T8" fmla="*/ 8 w 47"/>
                <a:gd name="T9" fmla="*/ 270 h 276"/>
                <a:gd name="T10" fmla="*/ 4 w 47"/>
                <a:gd name="T11" fmla="*/ 266 h 276"/>
                <a:gd name="T12" fmla="*/ 3 w 47"/>
                <a:gd name="T13" fmla="*/ 263 h 276"/>
                <a:gd name="T14" fmla="*/ 2 w 47"/>
                <a:gd name="T15" fmla="*/ 258 h 276"/>
                <a:gd name="T16" fmla="*/ 0 w 47"/>
                <a:gd name="T17" fmla="*/ 253 h 276"/>
                <a:gd name="T18" fmla="*/ 0 w 47"/>
                <a:gd name="T19" fmla="*/ 22 h 276"/>
                <a:gd name="T20" fmla="*/ 2 w 47"/>
                <a:gd name="T21" fmla="*/ 19 h 276"/>
                <a:gd name="T22" fmla="*/ 3 w 47"/>
                <a:gd name="T23" fmla="*/ 14 h 276"/>
                <a:gd name="T24" fmla="*/ 4 w 47"/>
                <a:gd name="T25" fmla="*/ 10 h 276"/>
                <a:gd name="T26" fmla="*/ 8 w 47"/>
                <a:gd name="T27" fmla="*/ 6 h 276"/>
                <a:gd name="T28" fmla="*/ 10 w 47"/>
                <a:gd name="T29" fmla="*/ 4 h 276"/>
                <a:gd name="T30" fmla="*/ 15 w 47"/>
                <a:gd name="T31" fmla="*/ 1 h 276"/>
                <a:gd name="T32" fmla="*/ 19 w 47"/>
                <a:gd name="T33" fmla="*/ 0 h 276"/>
                <a:gd name="T34" fmla="*/ 24 w 47"/>
                <a:gd name="T35" fmla="*/ 0 h 276"/>
                <a:gd name="T36" fmla="*/ 29 w 47"/>
                <a:gd name="T37" fmla="*/ 0 h 276"/>
                <a:gd name="T38" fmla="*/ 32 w 47"/>
                <a:gd name="T39" fmla="*/ 1 h 276"/>
                <a:gd name="T40" fmla="*/ 36 w 47"/>
                <a:gd name="T41" fmla="*/ 4 h 276"/>
                <a:gd name="T42" fmla="*/ 40 w 47"/>
                <a:gd name="T43" fmla="*/ 6 h 276"/>
                <a:gd name="T44" fmla="*/ 43 w 47"/>
                <a:gd name="T45" fmla="*/ 10 h 276"/>
                <a:gd name="T46" fmla="*/ 45 w 47"/>
                <a:gd name="T47" fmla="*/ 14 h 276"/>
                <a:gd name="T48" fmla="*/ 46 w 47"/>
                <a:gd name="T49" fmla="*/ 19 h 276"/>
                <a:gd name="T50" fmla="*/ 47 w 47"/>
                <a:gd name="T51" fmla="*/ 22 h 276"/>
                <a:gd name="T52" fmla="*/ 47 w 47"/>
                <a:gd name="T53" fmla="*/ 253 h 276"/>
                <a:gd name="T54" fmla="*/ 46 w 47"/>
                <a:gd name="T55" fmla="*/ 258 h 276"/>
                <a:gd name="T56" fmla="*/ 45 w 47"/>
                <a:gd name="T57" fmla="*/ 263 h 276"/>
                <a:gd name="T58" fmla="*/ 43 w 47"/>
                <a:gd name="T59" fmla="*/ 266 h 276"/>
                <a:gd name="T60" fmla="*/ 40 w 47"/>
                <a:gd name="T61" fmla="*/ 270 h 276"/>
                <a:gd name="T62" fmla="*/ 37 w 47"/>
                <a:gd name="T63" fmla="*/ 273 h 276"/>
                <a:gd name="T64" fmla="*/ 32 w 47"/>
                <a:gd name="T65" fmla="*/ 275 h 276"/>
                <a:gd name="T66" fmla="*/ 29 w 47"/>
                <a:gd name="T67" fmla="*/ 276 h 276"/>
                <a:gd name="T68" fmla="*/ 24 w 47"/>
                <a:gd name="T69"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276">
                  <a:moveTo>
                    <a:pt x="24" y="276"/>
                  </a:moveTo>
                  <a:lnTo>
                    <a:pt x="19" y="276"/>
                  </a:lnTo>
                  <a:lnTo>
                    <a:pt x="15" y="275"/>
                  </a:lnTo>
                  <a:lnTo>
                    <a:pt x="10" y="273"/>
                  </a:lnTo>
                  <a:lnTo>
                    <a:pt x="8" y="270"/>
                  </a:lnTo>
                  <a:lnTo>
                    <a:pt x="4" y="266"/>
                  </a:lnTo>
                  <a:lnTo>
                    <a:pt x="3" y="263"/>
                  </a:lnTo>
                  <a:lnTo>
                    <a:pt x="2" y="258"/>
                  </a:lnTo>
                  <a:lnTo>
                    <a:pt x="0" y="253"/>
                  </a:lnTo>
                  <a:lnTo>
                    <a:pt x="0" y="22"/>
                  </a:lnTo>
                  <a:lnTo>
                    <a:pt x="2" y="19"/>
                  </a:lnTo>
                  <a:lnTo>
                    <a:pt x="3" y="14"/>
                  </a:lnTo>
                  <a:lnTo>
                    <a:pt x="4" y="10"/>
                  </a:lnTo>
                  <a:lnTo>
                    <a:pt x="8" y="6"/>
                  </a:lnTo>
                  <a:lnTo>
                    <a:pt x="10" y="4"/>
                  </a:lnTo>
                  <a:lnTo>
                    <a:pt x="15" y="1"/>
                  </a:lnTo>
                  <a:lnTo>
                    <a:pt x="19" y="0"/>
                  </a:lnTo>
                  <a:lnTo>
                    <a:pt x="24" y="0"/>
                  </a:lnTo>
                  <a:lnTo>
                    <a:pt x="29" y="0"/>
                  </a:lnTo>
                  <a:lnTo>
                    <a:pt x="32" y="1"/>
                  </a:lnTo>
                  <a:lnTo>
                    <a:pt x="36" y="4"/>
                  </a:lnTo>
                  <a:lnTo>
                    <a:pt x="40" y="6"/>
                  </a:lnTo>
                  <a:lnTo>
                    <a:pt x="43" y="10"/>
                  </a:lnTo>
                  <a:lnTo>
                    <a:pt x="45" y="14"/>
                  </a:lnTo>
                  <a:lnTo>
                    <a:pt x="46" y="19"/>
                  </a:lnTo>
                  <a:lnTo>
                    <a:pt x="47" y="22"/>
                  </a:lnTo>
                  <a:lnTo>
                    <a:pt x="47" y="253"/>
                  </a:lnTo>
                  <a:lnTo>
                    <a:pt x="46" y="258"/>
                  </a:lnTo>
                  <a:lnTo>
                    <a:pt x="45" y="263"/>
                  </a:lnTo>
                  <a:lnTo>
                    <a:pt x="43" y="266"/>
                  </a:lnTo>
                  <a:lnTo>
                    <a:pt x="40" y="270"/>
                  </a:lnTo>
                  <a:lnTo>
                    <a:pt x="37" y="273"/>
                  </a:lnTo>
                  <a:lnTo>
                    <a:pt x="32" y="275"/>
                  </a:lnTo>
                  <a:lnTo>
                    <a:pt x="29" y="276"/>
                  </a:lnTo>
                  <a:lnTo>
                    <a:pt x="24"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50">
              <a:extLst>
                <a:ext uri="{FF2B5EF4-FFF2-40B4-BE49-F238E27FC236}">
                  <a16:creationId xmlns:a16="http://schemas.microsoft.com/office/drawing/2014/main" id="{011225D7-83B2-4EB6-AF01-24F2CD61C7E3}"/>
                </a:ext>
              </a:extLst>
            </p:cNvPr>
            <p:cNvSpPr>
              <a:spLocks/>
            </p:cNvSpPr>
            <p:nvPr/>
          </p:nvSpPr>
          <p:spPr bwMode="auto">
            <a:xfrm>
              <a:off x="6858229" y="5628479"/>
              <a:ext cx="74613" cy="17463"/>
            </a:xfrm>
            <a:custGeom>
              <a:avLst/>
              <a:gdLst>
                <a:gd name="T0" fmla="*/ 162 w 185"/>
                <a:gd name="T1" fmla="*/ 46 h 46"/>
                <a:gd name="T2" fmla="*/ 23 w 185"/>
                <a:gd name="T3" fmla="*/ 46 h 46"/>
                <a:gd name="T4" fmla="*/ 18 w 185"/>
                <a:gd name="T5" fmla="*/ 46 h 46"/>
                <a:gd name="T6" fmla="*/ 15 w 185"/>
                <a:gd name="T7" fmla="*/ 44 h 46"/>
                <a:gd name="T8" fmla="*/ 11 w 185"/>
                <a:gd name="T9" fmla="*/ 42 h 46"/>
                <a:gd name="T10" fmla="*/ 7 w 185"/>
                <a:gd name="T11" fmla="*/ 39 h 46"/>
                <a:gd name="T12" fmla="*/ 5 w 185"/>
                <a:gd name="T13" fmla="*/ 36 h 46"/>
                <a:gd name="T14" fmla="*/ 2 w 185"/>
                <a:gd name="T15" fmla="*/ 32 h 46"/>
                <a:gd name="T16" fmla="*/ 1 w 185"/>
                <a:gd name="T17" fmla="*/ 27 h 46"/>
                <a:gd name="T18" fmla="*/ 0 w 185"/>
                <a:gd name="T19" fmla="*/ 24 h 46"/>
                <a:gd name="T20" fmla="*/ 1 w 185"/>
                <a:gd name="T21" fmla="*/ 19 h 46"/>
                <a:gd name="T22" fmla="*/ 2 w 185"/>
                <a:gd name="T23" fmla="*/ 14 h 46"/>
                <a:gd name="T24" fmla="*/ 5 w 185"/>
                <a:gd name="T25" fmla="*/ 10 h 46"/>
                <a:gd name="T26" fmla="*/ 7 w 185"/>
                <a:gd name="T27" fmla="*/ 6 h 46"/>
                <a:gd name="T28" fmla="*/ 11 w 185"/>
                <a:gd name="T29" fmla="*/ 4 h 46"/>
                <a:gd name="T30" fmla="*/ 15 w 185"/>
                <a:gd name="T31" fmla="*/ 1 h 46"/>
                <a:gd name="T32" fmla="*/ 18 w 185"/>
                <a:gd name="T33" fmla="*/ 0 h 46"/>
                <a:gd name="T34" fmla="*/ 23 w 185"/>
                <a:gd name="T35" fmla="*/ 0 h 46"/>
                <a:gd name="T36" fmla="*/ 162 w 185"/>
                <a:gd name="T37" fmla="*/ 0 h 46"/>
                <a:gd name="T38" fmla="*/ 167 w 185"/>
                <a:gd name="T39" fmla="*/ 0 h 46"/>
                <a:gd name="T40" fmla="*/ 170 w 185"/>
                <a:gd name="T41" fmla="*/ 1 h 46"/>
                <a:gd name="T42" fmla="*/ 174 w 185"/>
                <a:gd name="T43" fmla="*/ 4 h 46"/>
                <a:gd name="T44" fmla="*/ 178 w 185"/>
                <a:gd name="T45" fmla="*/ 6 h 46"/>
                <a:gd name="T46" fmla="*/ 180 w 185"/>
                <a:gd name="T47" fmla="*/ 10 h 46"/>
                <a:gd name="T48" fmla="*/ 183 w 185"/>
                <a:gd name="T49" fmla="*/ 14 h 46"/>
                <a:gd name="T50" fmla="*/ 184 w 185"/>
                <a:gd name="T51" fmla="*/ 19 h 46"/>
                <a:gd name="T52" fmla="*/ 185 w 185"/>
                <a:gd name="T53" fmla="*/ 24 h 46"/>
                <a:gd name="T54" fmla="*/ 184 w 185"/>
                <a:gd name="T55" fmla="*/ 27 h 46"/>
                <a:gd name="T56" fmla="*/ 183 w 185"/>
                <a:gd name="T57" fmla="*/ 32 h 46"/>
                <a:gd name="T58" fmla="*/ 180 w 185"/>
                <a:gd name="T59" fmla="*/ 36 h 46"/>
                <a:gd name="T60" fmla="*/ 178 w 185"/>
                <a:gd name="T61" fmla="*/ 39 h 46"/>
                <a:gd name="T62" fmla="*/ 174 w 185"/>
                <a:gd name="T63" fmla="*/ 42 h 46"/>
                <a:gd name="T64" fmla="*/ 170 w 185"/>
                <a:gd name="T65" fmla="*/ 44 h 46"/>
                <a:gd name="T66" fmla="*/ 167 w 185"/>
                <a:gd name="T67" fmla="*/ 46 h 46"/>
                <a:gd name="T68" fmla="*/ 162 w 185"/>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 h="46">
                  <a:moveTo>
                    <a:pt x="162" y="46"/>
                  </a:moveTo>
                  <a:lnTo>
                    <a:pt x="23" y="46"/>
                  </a:lnTo>
                  <a:lnTo>
                    <a:pt x="18" y="46"/>
                  </a:lnTo>
                  <a:lnTo>
                    <a:pt x="15" y="44"/>
                  </a:lnTo>
                  <a:lnTo>
                    <a:pt x="11" y="42"/>
                  </a:lnTo>
                  <a:lnTo>
                    <a:pt x="7" y="39"/>
                  </a:lnTo>
                  <a:lnTo>
                    <a:pt x="5" y="36"/>
                  </a:lnTo>
                  <a:lnTo>
                    <a:pt x="2" y="32"/>
                  </a:lnTo>
                  <a:lnTo>
                    <a:pt x="1" y="27"/>
                  </a:lnTo>
                  <a:lnTo>
                    <a:pt x="0" y="24"/>
                  </a:lnTo>
                  <a:lnTo>
                    <a:pt x="1" y="19"/>
                  </a:lnTo>
                  <a:lnTo>
                    <a:pt x="2" y="14"/>
                  </a:lnTo>
                  <a:lnTo>
                    <a:pt x="5" y="10"/>
                  </a:lnTo>
                  <a:lnTo>
                    <a:pt x="7" y="6"/>
                  </a:lnTo>
                  <a:lnTo>
                    <a:pt x="11" y="4"/>
                  </a:lnTo>
                  <a:lnTo>
                    <a:pt x="15" y="1"/>
                  </a:lnTo>
                  <a:lnTo>
                    <a:pt x="18" y="0"/>
                  </a:lnTo>
                  <a:lnTo>
                    <a:pt x="23" y="0"/>
                  </a:lnTo>
                  <a:lnTo>
                    <a:pt x="162" y="0"/>
                  </a:lnTo>
                  <a:lnTo>
                    <a:pt x="167" y="0"/>
                  </a:lnTo>
                  <a:lnTo>
                    <a:pt x="170" y="1"/>
                  </a:lnTo>
                  <a:lnTo>
                    <a:pt x="174" y="4"/>
                  </a:lnTo>
                  <a:lnTo>
                    <a:pt x="178" y="6"/>
                  </a:lnTo>
                  <a:lnTo>
                    <a:pt x="180" y="10"/>
                  </a:lnTo>
                  <a:lnTo>
                    <a:pt x="183" y="14"/>
                  </a:lnTo>
                  <a:lnTo>
                    <a:pt x="184" y="19"/>
                  </a:lnTo>
                  <a:lnTo>
                    <a:pt x="185" y="24"/>
                  </a:lnTo>
                  <a:lnTo>
                    <a:pt x="184" y="27"/>
                  </a:lnTo>
                  <a:lnTo>
                    <a:pt x="183" y="32"/>
                  </a:lnTo>
                  <a:lnTo>
                    <a:pt x="180" y="36"/>
                  </a:lnTo>
                  <a:lnTo>
                    <a:pt x="178" y="39"/>
                  </a:lnTo>
                  <a:lnTo>
                    <a:pt x="174" y="42"/>
                  </a:lnTo>
                  <a:lnTo>
                    <a:pt x="170" y="44"/>
                  </a:lnTo>
                  <a:lnTo>
                    <a:pt x="167" y="46"/>
                  </a:lnTo>
                  <a:lnTo>
                    <a:pt x="162"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51">
              <a:extLst>
                <a:ext uri="{FF2B5EF4-FFF2-40B4-BE49-F238E27FC236}">
                  <a16:creationId xmlns:a16="http://schemas.microsoft.com/office/drawing/2014/main" id="{19DEE7A8-6C47-4896-8BE4-54F599717BA4}"/>
                </a:ext>
              </a:extLst>
            </p:cNvPr>
            <p:cNvSpPr>
              <a:spLocks/>
            </p:cNvSpPr>
            <p:nvPr/>
          </p:nvSpPr>
          <p:spPr bwMode="auto">
            <a:xfrm>
              <a:off x="6621691" y="5445917"/>
              <a:ext cx="311150" cy="73025"/>
            </a:xfrm>
            <a:custGeom>
              <a:avLst/>
              <a:gdLst>
                <a:gd name="T0" fmla="*/ 761 w 784"/>
                <a:gd name="T1" fmla="*/ 184 h 184"/>
                <a:gd name="T2" fmla="*/ 756 w 784"/>
                <a:gd name="T3" fmla="*/ 184 h 184"/>
                <a:gd name="T4" fmla="*/ 752 w 784"/>
                <a:gd name="T5" fmla="*/ 183 h 184"/>
                <a:gd name="T6" fmla="*/ 747 w 784"/>
                <a:gd name="T7" fmla="*/ 180 h 184"/>
                <a:gd name="T8" fmla="*/ 745 w 784"/>
                <a:gd name="T9" fmla="*/ 178 h 184"/>
                <a:gd name="T10" fmla="*/ 741 w 784"/>
                <a:gd name="T11" fmla="*/ 174 h 184"/>
                <a:gd name="T12" fmla="*/ 740 w 784"/>
                <a:gd name="T13" fmla="*/ 171 h 184"/>
                <a:gd name="T14" fmla="*/ 737 w 784"/>
                <a:gd name="T15" fmla="*/ 166 h 184"/>
                <a:gd name="T16" fmla="*/ 737 w 784"/>
                <a:gd name="T17" fmla="*/ 162 h 184"/>
                <a:gd name="T18" fmla="*/ 737 w 784"/>
                <a:gd name="T19" fmla="*/ 47 h 184"/>
                <a:gd name="T20" fmla="*/ 47 w 784"/>
                <a:gd name="T21" fmla="*/ 47 h 184"/>
                <a:gd name="T22" fmla="*/ 47 w 784"/>
                <a:gd name="T23" fmla="*/ 162 h 184"/>
                <a:gd name="T24" fmla="*/ 46 w 784"/>
                <a:gd name="T25" fmla="*/ 166 h 184"/>
                <a:gd name="T26" fmla="*/ 44 w 784"/>
                <a:gd name="T27" fmla="*/ 171 h 184"/>
                <a:gd name="T28" fmla="*/ 42 w 784"/>
                <a:gd name="T29" fmla="*/ 174 h 184"/>
                <a:gd name="T30" fmla="*/ 40 w 784"/>
                <a:gd name="T31" fmla="*/ 178 h 184"/>
                <a:gd name="T32" fmla="*/ 36 w 784"/>
                <a:gd name="T33" fmla="*/ 180 h 184"/>
                <a:gd name="T34" fmla="*/ 32 w 784"/>
                <a:gd name="T35" fmla="*/ 183 h 184"/>
                <a:gd name="T36" fmla="*/ 29 w 784"/>
                <a:gd name="T37" fmla="*/ 184 h 184"/>
                <a:gd name="T38" fmla="*/ 24 w 784"/>
                <a:gd name="T39" fmla="*/ 184 h 184"/>
                <a:gd name="T40" fmla="*/ 19 w 784"/>
                <a:gd name="T41" fmla="*/ 184 h 184"/>
                <a:gd name="T42" fmla="*/ 15 w 784"/>
                <a:gd name="T43" fmla="*/ 183 h 184"/>
                <a:gd name="T44" fmla="*/ 10 w 784"/>
                <a:gd name="T45" fmla="*/ 180 h 184"/>
                <a:gd name="T46" fmla="*/ 8 w 784"/>
                <a:gd name="T47" fmla="*/ 178 h 184"/>
                <a:gd name="T48" fmla="*/ 4 w 784"/>
                <a:gd name="T49" fmla="*/ 174 h 184"/>
                <a:gd name="T50" fmla="*/ 3 w 784"/>
                <a:gd name="T51" fmla="*/ 171 h 184"/>
                <a:gd name="T52" fmla="*/ 0 w 784"/>
                <a:gd name="T53" fmla="*/ 166 h 184"/>
                <a:gd name="T54" fmla="*/ 0 w 784"/>
                <a:gd name="T55" fmla="*/ 162 h 184"/>
                <a:gd name="T56" fmla="*/ 0 w 784"/>
                <a:gd name="T57" fmla="*/ 23 h 184"/>
                <a:gd name="T58" fmla="*/ 0 w 784"/>
                <a:gd name="T59" fmla="*/ 18 h 184"/>
                <a:gd name="T60" fmla="*/ 3 w 784"/>
                <a:gd name="T61" fmla="*/ 15 h 184"/>
                <a:gd name="T62" fmla="*/ 4 w 784"/>
                <a:gd name="T63" fmla="*/ 10 h 184"/>
                <a:gd name="T64" fmla="*/ 8 w 784"/>
                <a:gd name="T65" fmla="*/ 7 h 184"/>
                <a:gd name="T66" fmla="*/ 10 w 784"/>
                <a:gd name="T67" fmla="*/ 4 h 184"/>
                <a:gd name="T68" fmla="*/ 15 w 784"/>
                <a:gd name="T69" fmla="*/ 2 h 184"/>
                <a:gd name="T70" fmla="*/ 19 w 784"/>
                <a:gd name="T71" fmla="*/ 1 h 184"/>
                <a:gd name="T72" fmla="*/ 24 w 784"/>
                <a:gd name="T73" fmla="*/ 0 h 184"/>
                <a:gd name="T74" fmla="*/ 761 w 784"/>
                <a:gd name="T75" fmla="*/ 0 h 184"/>
                <a:gd name="T76" fmla="*/ 766 w 784"/>
                <a:gd name="T77" fmla="*/ 1 h 184"/>
                <a:gd name="T78" fmla="*/ 769 w 784"/>
                <a:gd name="T79" fmla="*/ 2 h 184"/>
                <a:gd name="T80" fmla="*/ 773 w 784"/>
                <a:gd name="T81" fmla="*/ 4 h 184"/>
                <a:gd name="T82" fmla="*/ 777 w 784"/>
                <a:gd name="T83" fmla="*/ 7 h 184"/>
                <a:gd name="T84" fmla="*/ 779 w 784"/>
                <a:gd name="T85" fmla="*/ 10 h 184"/>
                <a:gd name="T86" fmla="*/ 782 w 784"/>
                <a:gd name="T87" fmla="*/ 15 h 184"/>
                <a:gd name="T88" fmla="*/ 783 w 784"/>
                <a:gd name="T89" fmla="*/ 18 h 184"/>
                <a:gd name="T90" fmla="*/ 784 w 784"/>
                <a:gd name="T91" fmla="*/ 23 h 184"/>
                <a:gd name="T92" fmla="*/ 784 w 784"/>
                <a:gd name="T93" fmla="*/ 162 h 184"/>
                <a:gd name="T94" fmla="*/ 783 w 784"/>
                <a:gd name="T95" fmla="*/ 166 h 184"/>
                <a:gd name="T96" fmla="*/ 782 w 784"/>
                <a:gd name="T97" fmla="*/ 171 h 184"/>
                <a:gd name="T98" fmla="*/ 779 w 784"/>
                <a:gd name="T99" fmla="*/ 174 h 184"/>
                <a:gd name="T100" fmla="*/ 777 w 784"/>
                <a:gd name="T101" fmla="*/ 178 h 184"/>
                <a:gd name="T102" fmla="*/ 773 w 784"/>
                <a:gd name="T103" fmla="*/ 180 h 184"/>
                <a:gd name="T104" fmla="*/ 769 w 784"/>
                <a:gd name="T105" fmla="*/ 183 h 184"/>
                <a:gd name="T106" fmla="*/ 766 w 784"/>
                <a:gd name="T107" fmla="*/ 184 h 184"/>
                <a:gd name="T108" fmla="*/ 761 w 784"/>
                <a:gd name="T10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84">
                  <a:moveTo>
                    <a:pt x="761" y="184"/>
                  </a:moveTo>
                  <a:lnTo>
                    <a:pt x="756" y="184"/>
                  </a:lnTo>
                  <a:lnTo>
                    <a:pt x="752" y="183"/>
                  </a:lnTo>
                  <a:lnTo>
                    <a:pt x="747" y="180"/>
                  </a:lnTo>
                  <a:lnTo>
                    <a:pt x="745" y="178"/>
                  </a:lnTo>
                  <a:lnTo>
                    <a:pt x="741" y="174"/>
                  </a:lnTo>
                  <a:lnTo>
                    <a:pt x="740" y="171"/>
                  </a:lnTo>
                  <a:lnTo>
                    <a:pt x="737" y="166"/>
                  </a:lnTo>
                  <a:lnTo>
                    <a:pt x="737" y="162"/>
                  </a:lnTo>
                  <a:lnTo>
                    <a:pt x="737" y="47"/>
                  </a:lnTo>
                  <a:lnTo>
                    <a:pt x="47" y="47"/>
                  </a:lnTo>
                  <a:lnTo>
                    <a:pt x="47" y="162"/>
                  </a:lnTo>
                  <a:lnTo>
                    <a:pt x="46" y="166"/>
                  </a:lnTo>
                  <a:lnTo>
                    <a:pt x="44" y="171"/>
                  </a:lnTo>
                  <a:lnTo>
                    <a:pt x="42" y="174"/>
                  </a:lnTo>
                  <a:lnTo>
                    <a:pt x="40" y="178"/>
                  </a:lnTo>
                  <a:lnTo>
                    <a:pt x="36" y="180"/>
                  </a:lnTo>
                  <a:lnTo>
                    <a:pt x="32" y="183"/>
                  </a:lnTo>
                  <a:lnTo>
                    <a:pt x="29" y="184"/>
                  </a:lnTo>
                  <a:lnTo>
                    <a:pt x="24" y="184"/>
                  </a:lnTo>
                  <a:lnTo>
                    <a:pt x="19" y="184"/>
                  </a:lnTo>
                  <a:lnTo>
                    <a:pt x="15" y="183"/>
                  </a:lnTo>
                  <a:lnTo>
                    <a:pt x="10" y="180"/>
                  </a:lnTo>
                  <a:lnTo>
                    <a:pt x="8" y="178"/>
                  </a:lnTo>
                  <a:lnTo>
                    <a:pt x="4" y="174"/>
                  </a:lnTo>
                  <a:lnTo>
                    <a:pt x="3" y="171"/>
                  </a:lnTo>
                  <a:lnTo>
                    <a:pt x="0" y="166"/>
                  </a:lnTo>
                  <a:lnTo>
                    <a:pt x="0" y="162"/>
                  </a:lnTo>
                  <a:lnTo>
                    <a:pt x="0" y="23"/>
                  </a:lnTo>
                  <a:lnTo>
                    <a:pt x="0" y="18"/>
                  </a:lnTo>
                  <a:lnTo>
                    <a:pt x="3" y="15"/>
                  </a:lnTo>
                  <a:lnTo>
                    <a:pt x="4" y="10"/>
                  </a:lnTo>
                  <a:lnTo>
                    <a:pt x="8" y="7"/>
                  </a:lnTo>
                  <a:lnTo>
                    <a:pt x="10" y="4"/>
                  </a:lnTo>
                  <a:lnTo>
                    <a:pt x="15" y="2"/>
                  </a:lnTo>
                  <a:lnTo>
                    <a:pt x="19" y="1"/>
                  </a:lnTo>
                  <a:lnTo>
                    <a:pt x="24" y="0"/>
                  </a:lnTo>
                  <a:lnTo>
                    <a:pt x="761" y="0"/>
                  </a:lnTo>
                  <a:lnTo>
                    <a:pt x="766" y="1"/>
                  </a:lnTo>
                  <a:lnTo>
                    <a:pt x="769" y="2"/>
                  </a:lnTo>
                  <a:lnTo>
                    <a:pt x="773" y="4"/>
                  </a:lnTo>
                  <a:lnTo>
                    <a:pt x="777" y="7"/>
                  </a:lnTo>
                  <a:lnTo>
                    <a:pt x="779" y="10"/>
                  </a:lnTo>
                  <a:lnTo>
                    <a:pt x="782" y="15"/>
                  </a:lnTo>
                  <a:lnTo>
                    <a:pt x="783" y="18"/>
                  </a:lnTo>
                  <a:lnTo>
                    <a:pt x="784" y="23"/>
                  </a:lnTo>
                  <a:lnTo>
                    <a:pt x="784" y="162"/>
                  </a:lnTo>
                  <a:lnTo>
                    <a:pt x="783" y="166"/>
                  </a:lnTo>
                  <a:lnTo>
                    <a:pt x="782" y="171"/>
                  </a:lnTo>
                  <a:lnTo>
                    <a:pt x="779" y="174"/>
                  </a:lnTo>
                  <a:lnTo>
                    <a:pt x="777" y="178"/>
                  </a:lnTo>
                  <a:lnTo>
                    <a:pt x="773" y="180"/>
                  </a:lnTo>
                  <a:lnTo>
                    <a:pt x="769" y="183"/>
                  </a:lnTo>
                  <a:lnTo>
                    <a:pt x="766" y="184"/>
                  </a:lnTo>
                  <a:lnTo>
                    <a:pt x="761"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52">
              <a:extLst>
                <a:ext uri="{FF2B5EF4-FFF2-40B4-BE49-F238E27FC236}">
                  <a16:creationId xmlns:a16="http://schemas.microsoft.com/office/drawing/2014/main" id="{16BAAEF2-275A-4453-8C6F-DCE65A2CAAD4}"/>
                </a:ext>
              </a:extLst>
            </p:cNvPr>
            <p:cNvSpPr>
              <a:spLocks/>
            </p:cNvSpPr>
            <p:nvPr/>
          </p:nvSpPr>
          <p:spPr bwMode="auto">
            <a:xfrm>
              <a:off x="6767741" y="5390354"/>
              <a:ext cx="17463" cy="73025"/>
            </a:xfrm>
            <a:custGeom>
              <a:avLst/>
              <a:gdLst>
                <a:gd name="T0" fmla="*/ 22 w 45"/>
                <a:gd name="T1" fmla="*/ 186 h 186"/>
                <a:gd name="T2" fmla="*/ 18 w 45"/>
                <a:gd name="T3" fmla="*/ 184 h 186"/>
                <a:gd name="T4" fmla="*/ 13 w 45"/>
                <a:gd name="T5" fmla="*/ 183 h 186"/>
                <a:gd name="T6" fmla="*/ 9 w 45"/>
                <a:gd name="T7" fmla="*/ 182 h 186"/>
                <a:gd name="T8" fmla="*/ 6 w 45"/>
                <a:gd name="T9" fmla="*/ 178 h 186"/>
                <a:gd name="T10" fmla="*/ 3 w 45"/>
                <a:gd name="T11" fmla="*/ 175 h 186"/>
                <a:gd name="T12" fmla="*/ 1 w 45"/>
                <a:gd name="T13" fmla="*/ 171 h 186"/>
                <a:gd name="T14" fmla="*/ 0 w 45"/>
                <a:gd name="T15" fmla="*/ 167 h 186"/>
                <a:gd name="T16" fmla="*/ 0 w 45"/>
                <a:gd name="T17" fmla="*/ 162 h 186"/>
                <a:gd name="T18" fmla="*/ 0 w 45"/>
                <a:gd name="T19" fmla="*/ 24 h 186"/>
                <a:gd name="T20" fmla="*/ 0 w 45"/>
                <a:gd name="T21" fmla="*/ 19 h 186"/>
                <a:gd name="T22" fmla="*/ 1 w 45"/>
                <a:gd name="T23" fmla="*/ 15 h 186"/>
                <a:gd name="T24" fmla="*/ 3 w 45"/>
                <a:gd name="T25" fmla="*/ 11 h 186"/>
                <a:gd name="T26" fmla="*/ 6 w 45"/>
                <a:gd name="T27" fmla="*/ 8 h 186"/>
                <a:gd name="T28" fmla="*/ 9 w 45"/>
                <a:gd name="T29" fmla="*/ 5 h 186"/>
                <a:gd name="T30" fmla="*/ 13 w 45"/>
                <a:gd name="T31" fmla="*/ 3 h 186"/>
                <a:gd name="T32" fmla="*/ 18 w 45"/>
                <a:gd name="T33" fmla="*/ 2 h 186"/>
                <a:gd name="T34" fmla="*/ 22 w 45"/>
                <a:gd name="T35" fmla="*/ 0 h 186"/>
                <a:gd name="T36" fmla="*/ 26 w 45"/>
                <a:gd name="T37" fmla="*/ 2 h 186"/>
                <a:gd name="T38" fmla="*/ 31 w 45"/>
                <a:gd name="T39" fmla="*/ 3 h 186"/>
                <a:gd name="T40" fmla="*/ 35 w 45"/>
                <a:gd name="T41" fmla="*/ 5 h 186"/>
                <a:gd name="T42" fmla="*/ 39 w 45"/>
                <a:gd name="T43" fmla="*/ 8 h 186"/>
                <a:gd name="T44" fmla="*/ 41 w 45"/>
                <a:gd name="T45" fmla="*/ 11 h 186"/>
                <a:gd name="T46" fmla="*/ 44 w 45"/>
                <a:gd name="T47" fmla="*/ 15 h 186"/>
                <a:gd name="T48" fmla="*/ 45 w 45"/>
                <a:gd name="T49" fmla="*/ 19 h 186"/>
                <a:gd name="T50" fmla="*/ 45 w 45"/>
                <a:gd name="T51" fmla="*/ 24 h 186"/>
                <a:gd name="T52" fmla="*/ 45 w 45"/>
                <a:gd name="T53" fmla="*/ 162 h 186"/>
                <a:gd name="T54" fmla="*/ 45 w 45"/>
                <a:gd name="T55" fmla="*/ 167 h 186"/>
                <a:gd name="T56" fmla="*/ 44 w 45"/>
                <a:gd name="T57" fmla="*/ 171 h 186"/>
                <a:gd name="T58" fmla="*/ 41 w 45"/>
                <a:gd name="T59" fmla="*/ 175 h 186"/>
                <a:gd name="T60" fmla="*/ 39 w 45"/>
                <a:gd name="T61" fmla="*/ 178 h 186"/>
                <a:gd name="T62" fmla="*/ 35 w 45"/>
                <a:gd name="T63" fmla="*/ 182 h 186"/>
                <a:gd name="T64" fmla="*/ 31 w 45"/>
                <a:gd name="T65" fmla="*/ 183 h 186"/>
                <a:gd name="T66" fmla="*/ 26 w 45"/>
                <a:gd name="T67" fmla="*/ 184 h 186"/>
                <a:gd name="T68" fmla="*/ 22 w 45"/>
                <a:gd name="T6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186">
                  <a:moveTo>
                    <a:pt x="22" y="186"/>
                  </a:moveTo>
                  <a:lnTo>
                    <a:pt x="18" y="184"/>
                  </a:lnTo>
                  <a:lnTo>
                    <a:pt x="13" y="183"/>
                  </a:lnTo>
                  <a:lnTo>
                    <a:pt x="9" y="182"/>
                  </a:lnTo>
                  <a:lnTo>
                    <a:pt x="6" y="178"/>
                  </a:lnTo>
                  <a:lnTo>
                    <a:pt x="3" y="175"/>
                  </a:lnTo>
                  <a:lnTo>
                    <a:pt x="1" y="171"/>
                  </a:lnTo>
                  <a:lnTo>
                    <a:pt x="0" y="167"/>
                  </a:lnTo>
                  <a:lnTo>
                    <a:pt x="0" y="162"/>
                  </a:lnTo>
                  <a:lnTo>
                    <a:pt x="0" y="24"/>
                  </a:lnTo>
                  <a:lnTo>
                    <a:pt x="0" y="19"/>
                  </a:lnTo>
                  <a:lnTo>
                    <a:pt x="1" y="15"/>
                  </a:lnTo>
                  <a:lnTo>
                    <a:pt x="3" y="11"/>
                  </a:lnTo>
                  <a:lnTo>
                    <a:pt x="6" y="8"/>
                  </a:lnTo>
                  <a:lnTo>
                    <a:pt x="9" y="5"/>
                  </a:lnTo>
                  <a:lnTo>
                    <a:pt x="13" y="3"/>
                  </a:lnTo>
                  <a:lnTo>
                    <a:pt x="18" y="2"/>
                  </a:lnTo>
                  <a:lnTo>
                    <a:pt x="22" y="0"/>
                  </a:lnTo>
                  <a:lnTo>
                    <a:pt x="26" y="2"/>
                  </a:lnTo>
                  <a:lnTo>
                    <a:pt x="31" y="3"/>
                  </a:lnTo>
                  <a:lnTo>
                    <a:pt x="35" y="5"/>
                  </a:lnTo>
                  <a:lnTo>
                    <a:pt x="39" y="8"/>
                  </a:lnTo>
                  <a:lnTo>
                    <a:pt x="41" y="11"/>
                  </a:lnTo>
                  <a:lnTo>
                    <a:pt x="44" y="15"/>
                  </a:lnTo>
                  <a:lnTo>
                    <a:pt x="45" y="19"/>
                  </a:lnTo>
                  <a:lnTo>
                    <a:pt x="45" y="24"/>
                  </a:lnTo>
                  <a:lnTo>
                    <a:pt x="45" y="162"/>
                  </a:lnTo>
                  <a:lnTo>
                    <a:pt x="45" y="167"/>
                  </a:lnTo>
                  <a:lnTo>
                    <a:pt x="44" y="171"/>
                  </a:lnTo>
                  <a:lnTo>
                    <a:pt x="41" y="175"/>
                  </a:lnTo>
                  <a:lnTo>
                    <a:pt x="39" y="178"/>
                  </a:lnTo>
                  <a:lnTo>
                    <a:pt x="35" y="182"/>
                  </a:lnTo>
                  <a:lnTo>
                    <a:pt x="31" y="183"/>
                  </a:lnTo>
                  <a:lnTo>
                    <a:pt x="26" y="184"/>
                  </a:lnTo>
                  <a:lnTo>
                    <a:pt x="22"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76" name="Group 80">
            <a:extLst>
              <a:ext uri="{FF2B5EF4-FFF2-40B4-BE49-F238E27FC236}">
                <a16:creationId xmlns:a16="http://schemas.microsoft.com/office/drawing/2014/main" id="{33D3FFD7-CD9A-45ED-9E41-3AC5CBE0E7CE}"/>
              </a:ext>
            </a:extLst>
          </p:cNvPr>
          <p:cNvGrpSpPr>
            <a:grpSpLocks noChangeAspect="1"/>
          </p:cNvGrpSpPr>
          <p:nvPr/>
        </p:nvGrpSpPr>
        <p:grpSpPr>
          <a:xfrm>
            <a:off x="5361718" y="3263433"/>
            <a:ext cx="318577" cy="285619"/>
            <a:chOff x="11028363" y="3683000"/>
            <a:chExt cx="276225" cy="247650"/>
          </a:xfrm>
          <a:solidFill>
            <a:schemeClr val="bg1"/>
          </a:solidFill>
          <a:effectLst/>
        </p:grpSpPr>
        <p:sp>
          <p:nvSpPr>
            <p:cNvPr id="1477" name="Freeform 48">
              <a:extLst>
                <a:ext uri="{FF2B5EF4-FFF2-40B4-BE49-F238E27FC236}">
                  <a16:creationId xmlns:a16="http://schemas.microsoft.com/office/drawing/2014/main" id="{C7E49BE7-2E62-4AA9-A885-6B01073BFEF6}"/>
                </a:ext>
              </a:extLst>
            </p:cNvPr>
            <p:cNvSpPr>
              <a:spLocks/>
            </p:cNvSpPr>
            <p:nvPr/>
          </p:nvSpPr>
          <p:spPr bwMode="auto">
            <a:xfrm>
              <a:off x="11028363" y="3921125"/>
              <a:ext cx="276225" cy="9525"/>
            </a:xfrm>
            <a:custGeom>
              <a:avLst/>
              <a:gdLst>
                <a:gd name="T0" fmla="*/ 857 w 872"/>
                <a:gd name="T1" fmla="*/ 0 h 30"/>
                <a:gd name="T2" fmla="*/ 15 w 872"/>
                <a:gd name="T3" fmla="*/ 0 h 30"/>
                <a:gd name="T4" fmla="*/ 12 w 872"/>
                <a:gd name="T5" fmla="*/ 0 h 30"/>
                <a:gd name="T6" fmla="*/ 9 w 872"/>
                <a:gd name="T7" fmla="*/ 1 h 30"/>
                <a:gd name="T8" fmla="*/ 6 w 872"/>
                <a:gd name="T9" fmla="*/ 2 h 30"/>
                <a:gd name="T10" fmla="*/ 4 w 872"/>
                <a:gd name="T11" fmla="*/ 4 h 30"/>
                <a:gd name="T12" fmla="*/ 2 w 872"/>
                <a:gd name="T13" fmla="*/ 7 h 30"/>
                <a:gd name="T14" fmla="*/ 1 w 872"/>
                <a:gd name="T15" fmla="*/ 9 h 30"/>
                <a:gd name="T16" fmla="*/ 0 w 872"/>
                <a:gd name="T17" fmla="*/ 12 h 30"/>
                <a:gd name="T18" fmla="*/ 0 w 872"/>
                <a:gd name="T19" fmla="*/ 15 h 30"/>
                <a:gd name="T20" fmla="*/ 0 w 872"/>
                <a:gd name="T21" fmla="*/ 17 h 30"/>
                <a:gd name="T22" fmla="*/ 1 w 872"/>
                <a:gd name="T23" fmla="*/ 21 h 30"/>
                <a:gd name="T24" fmla="*/ 2 w 872"/>
                <a:gd name="T25" fmla="*/ 23 h 30"/>
                <a:gd name="T26" fmla="*/ 4 w 872"/>
                <a:gd name="T27" fmla="*/ 25 h 30"/>
                <a:gd name="T28" fmla="*/ 6 w 872"/>
                <a:gd name="T29" fmla="*/ 27 h 30"/>
                <a:gd name="T30" fmla="*/ 9 w 872"/>
                <a:gd name="T31" fmla="*/ 28 h 30"/>
                <a:gd name="T32" fmla="*/ 12 w 872"/>
                <a:gd name="T33" fmla="*/ 29 h 30"/>
                <a:gd name="T34" fmla="*/ 15 w 872"/>
                <a:gd name="T35" fmla="*/ 30 h 30"/>
                <a:gd name="T36" fmla="*/ 857 w 872"/>
                <a:gd name="T37" fmla="*/ 30 h 30"/>
                <a:gd name="T38" fmla="*/ 860 w 872"/>
                <a:gd name="T39" fmla="*/ 29 h 30"/>
                <a:gd name="T40" fmla="*/ 862 w 872"/>
                <a:gd name="T41" fmla="*/ 28 h 30"/>
                <a:gd name="T42" fmla="*/ 866 w 872"/>
                <a:gd name="T43" fmla="*/ 27 h 30"/>
                <a:gd name="T44" fmla="*/ 868 w 872"/>
                <a:gd name="T45" fmla="*/ 25 h 30"/>
                <a:gd name="T46" fmla="*/ 869 w 872"/>
                <a:gd name="T47" fmla="*/ 23 h 30"/>
                <a:gd name="T48" fmla="*/ 871 w 872"/>
                <a:gd name="T49" fmla="*/ 21 h 30"/>
                <a:gd name="T50" fmla="*/ 871 w 872"/>
                <a:gd name="T51" fmla="*/ 17 h 30"/>
                <a:gd name="T52" fmla="*/ 872 w 872"/>
                <a:gd name="T53" fmla="*/ 15 h 30"/>
                <a:gd name="T54" fmla="*/ 871 w 872"/>
                <a:gd name="T55" fmla="*/ 12 h 30"/>
                <a:gd name="T56" fmla="*/ 871 w 872"/>
                <a:gd name="T57" fmla="*/ 9 h 30"/>
                <a:gd name="T58" fmla="*/ 869 w 872"/>
                <a:gd name="T59" fmla="*/ 7 h 30"/>
                <a:gd name="T60" fmla="*/ 868 w 872"/>
                <a:gd name="T61" fmla="*/ 4 h 30"/>
                <a:gd name="T62" fmla="*/ 866 w 872"/>
                <a:gd name="T63" fmla="*/ 2 h 30"/>
                <a:gd name="T64" fmla="*/ 862 w 872"/>
                <a:gd name="T65" fmla="*/ 1 h 30"/>
                <a:gd name="T66" fmla="*/ 860 w 872"/>
                <a:gd name="T67" fmla="*/ 0 h 30"/>
                <a:gd name="T68" fmla="*/ 857 w 87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2" h="30">
                  <a:moveTo>
                    <a:pt x="857" y="0"/>
                  </a:moveTo>
                  <a:lnTo>
                    <a:pt x="15" y="0"/>
                  </a:lnTo>
                  <a:lnTo>
                    <a:pt x="12" y="0"/>
                  </a:lnTo>
                  <a:lnTo>
                    <a:pt x="9" y="1"/>
                  </a:lnTo>
                  <a:lnTo>
                    <a:pt x="6" y="2"/>
                  </a:lnTo>
                  <a:lnTo>
                    <a:pt x="4" y="4"/>
                  </a:lnTo>
                  <a:lnTo>
                    <a:pt x="2" y="7"/>
                  </a:lnTo>
                  <a:lnTo>
                    <a:pt x="1" y="9"/>
                  </a:lnTo>
                  <a:lnTo>
                    <a:pt x="0" y="12"/>
                  </a:lnTo>
                  <a:lnTo>
                    <a:pt x="0" y="15"/>
                  </a:lnTo>
                  <a:lnTo>
                    <a:pt x="0" y="17"/>
                  </a:lnTo>
                  <a:lnTo>
                    <a:pt x="1" y="21"/>
                  </a:lnTo>
                  <a:lnTo>
                    <a:pt x="2" y="23"/>
                  </a:lnTo>
                  <a:lnTo>
                    <a:pt x="4" y="25"/>
                  </a:lnTo>
                  <a:lnTo>
                    <a:pt x="6" y="27"/>
                  </a:lnTo>
                  <a:lnTo>
                    <a:pt x="9" y="28"/>
                  </a:lnTo>
                  <a:lnTo>
                    <a:pt x="12" y="29"/>
                  </a:lnTo>
                  <a:lnTo>
                    <a:pt x="15" y="30"/>
                  </a:lnTo>
                  <a:lnTo>
                    <a:pt x="857" y="30"/>
                  </a:lnTo>
                  <a:lnTo>
                    <a:pt x="860" y="29"/>
                  </a:lnTo>
                  <a:lnTo>
                    <a:pt x="862" y="28"/>
                  </a:lnTo>
                  <a:lnTo>
                    <a:pt x="866" y="27"/>
                  </a:lnTo>
                  <a:lnTo>
                    <a:pt x="868" y="25"/>
                  </a:lnTo>
                  <a:lnTo>
                    <a:pt x="869" y="23"/>
                  </a:lnTo>
                  <a:lnTo>
                    <a:pt x="871" y="21"/>
                  </a:lnTo>
                  <a:lnTo>
                    <a:pt x="871" y="17"/>
                  </a:lnTo>
                  <a:lnTo>
                    <a:pt x="872" y="15"/>
                  </a:lnTo>
                  <a:lnTo>
                    <a:pt x="871" y="12"/>
                  </a:lnTo>
                  <a:lnTo>
                    <a:pt x="871" y="9"/>
                  </a:lnTo>
                  <a:lnTo>
                    <a:pt x="869" y="7"/>
                  </a:lnTo>
                  <a:lnTo>
                    <a:pt x="868" y="4"/>
                  </a:lnTo>
                  <a:lnTo>
                    <a:pt x="866" y="2"/>
                  </a:lnTo>
                  <a:lnTo>
                    <a:pt x="862" y="1"/>
                  </a:lnTo>
                  <a:lnTo>
                    <a:pt x="860" y="0"/>
                  </a:lnTo>
                  <a:lnTo>
                    <a:pt x="8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78" name="Freeform 49">
              <a:extLst>
                <a:ext uri="{FF2B5EF4-FFF2-40B4-BE49-F238E27FC236}">
                  <a16:creationId xmlns:a16="http://schemas.microsoft.com/office/drawing/2014/main" id="{765BF18F-F187-4A75-8455-9F106D16492A}"/>
                </a:ext>
              </a:extLst>
            </p:cNvPr>
            <p:cNvSpPr>
              <a:spLocks noEditPoints="1"/>
            </p:cNvSpPr>
            <p:nvPr/>
          </p:nvSpPr>
          <p:spPr bwMode="auto">
            <a:xfrm>
              <a:off x="11218863" y="3797300"/>
              <a:ext cx="66675" cy="114300"/>
            </a:xfrm>
            <a:custGeom>
              <a:avLst/>
              <a:gdLst>
                <a:gd name="T0" fmla="*/ 120 w 211"/>
                <a:gd name="T1" fmla="*/ 330 h 360"/>
                <a:gd name="T2" fmla="*/ 150 w 211"/>
                <a:gd name="T3" fmla="*/ 30 h 360"/>
                <a:gd name="T4" fmla="*/ 60 w 211"/>
                <a:gd name="T5" fmla="*/ 30 h 360"/>
                <a:gd name="T6" fmla="*/ 90 w 211"/>
                <a:gd name="T7" fmla="*/ 330 h 360"/>
                <a:gd name="T8" fmla="*/ 60 w 211"/>
                <a:gd name="T9" fmla="*/ 30 h 360"/>
                <a:gd name="T10" fmla="*/ 198 w 211"/>
                <a:gd name="T11" fmla="*/ 29 h 360"/>
                <a:gd name="T12" fmla="*/ 204 w 211"/>
                <a:gd name="T13" fmla="*/ 27 h 360"/>
                <a:gd name="T14" fmla="*/ 208 w 211"/>
                <a:gd name="T15" fmla="*/ 23 h 360"/>
                <a:gd name="T16" fmla="*/ 210 w 211"/>
                <a:gd name="T17" fmla="*/ 17 h 360"/>
                <a:gd name="T18" fmla="*/ 210 w 211"/>
                <a:gd name="T19" fmla="*/ 12 h 360"/>
                <a:gd name="T20" fmla="*/ 208 w 211"/>
                <a:gd name="T21" fmla="*/ 7 h 360"/>
                <a:gd name="T22" fmla="*/ 204 w 211"/>
                <a:gd name="T23" fmla="*/ 2 h 360"/>
                <a:gd name="T24" fmla="*/ 198 w 211"/>
                <a:gd name="T25" fmla="*/ 0 h 360"/>
                <a:gd name="T26" fmla="*/ 15 w 211"/>
                <a:gd name="T27" fmla="*/ 0 h 360"/>
                <a:gd name="T28" fmla="*/ 10 w 211"/>
                <a:gd name="T29" fmla="*/ 1 h 360"/>
                <a:gd name="T30" fmla="*/ 4 w 211"/>
                <a:gd name="T31" fmla="*/ 5 h 360"/>
                <a:gd name="T32" fmla="*/ 1 w 211"/>
                <a:gd name="T33" fmla="*/ 9 h 360"/>
                <a:gd name="T34" fmla="*/ 0 w 211"/>
                <a:gd name="T35" fmla="*/ 15 h 360"/>
                <a:gd name="T36" fmla="*/ 1 w 211"/>
                <a:gd name="T37" fmla="*/ 21 h 360"/>
                <a:gd name="T38" fmla="*/ 4 w 211"/>
                <a:gd name="T39" fmla="*/ 26 h 360"/>
                <a:gd name="T40" fmla="*/ 10 w 211"/>
                <a:gd name="T41" fmla="*/ 29 h 360"/>
                <a:gd name="T42" fmla="*/ 15 w 211"/>
                <a:gd name="T43" fmla="*/ 30 h 360"/>
                <a:gd name="T44" fmla="*/ 30 w 211"/>
                <a:gd name="T45" fmla="*/ 330 h 360"/>
                <a:gd name="T46" fmla="*/ 12 w 211"/>
                <a:gd name="T47" fmla="*/ 331 h 360"/>
                <a:gd name="T48" fmla="*/ 6 w 211"/>
                <a:gd name="T49" fmla="*/ 333 h 360"/>
                <a:gd name="T50" fmla="*/ 2 w 211"/>
                <a:gd name="T51" fmla="*/ 338 h 360"/>
                <a:gd name="T52" fmla="*/ 0 w 211"/>
                <a:gd name="T53" fmla="*/ 343 h 360"/>
                <a:gd name="T54" fmla="*/ 0 w 211"/>
                <a:gd name="T55" fmla="*/ 348 h 360"/>
                <a:gd name="T56" fmla="*/ 2 w 211"/>
                <a:gd name="T57" fmla="*/ 354 h 360"/>
                <a:gd name="T58" fmla="*/ 6 w 211"/>
                <a:gd name="T59" fmla="*/ 358 h 360"/>
                <a:gd name="T60" fmla="*/ 12 w 211"/>
                <a:gd name="T61" fmla="*/ 360 h 360"/>
                <a:gd name="T62" fmla="*/ 196 w 211"/>
                <a:gd name="T63" fmla="*/ 360 h 360"/>
                <a:gd name="T64" fmla="*/ 201 w 211"/>
                <a:gd name="T65" fmla="*/ 359 h 360"/>
                <a:gd name="T66" fmla="*/ 206 w 211"/>
                <a:gd name="T67" fmla="*/ 356 h 360"/>
                <a:gd name="T68" fmla="*/ 209 w 211"/>
                <a:gd name="T69" fmla="*/ 352 h 360"/>
                <a:gd name="T70" fmla="*/ 211 w 211"/>
                <a:gd name="T71" fmla="*/ 345 h 360"/>
                <a:gd name="T72" fmla="*/ 209 w 211"/>
                <a:gd name="T73" fmla="*/ 340 h 360"/>
                <a:gd name="T74" fmla="*/ 206 w 211"/>
                <a:gd name="T75" fmla="*/ 334 h 360"/>
                <a:gd name="T76" fmla="*/ 201 w 211"/>
                <a:gd name="T77" fmla="*/ 331 h 360"/>
                <a:gd name="T78" fmla="*/ 196 w 211"/>
                <a:gd name="T79" fmla="*/ 330 h 360"/>
                <a:gd name="T80" fmla="*/ 181 w 211"/>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360">
                  <a:moveTo>
                    <a:pt x="150" y="330"/>
                  </a:moveTo>
                  <a:lnTo>
                    <a:pt x="120" y="330"/>
                  </a:lnTo>
                  <a:lnTo>
                    <a:pt x="120" y="30"/>
                  </a:lnTo>
                  <a:lnTo>
                    <a:pt x="150" y="30"/>
                  </a:lnTo>
                  <a:lnTo>
                    <a:pt x="150" y="330"/>
                  </a:lnTo>
                  <a:close/>
                  <a:moveTo>
                    <a:pt x="60" y="30"/>
                  </a:moveTo>
                  <a:lnTo>
                    <a:pt x="90" y="30"/>
                  </a:lnTo>
                  <a:lnTo>
                    <a:pt x="90" y="330"/>
                  </a:lnTo>
                  <a:lnTo>
                    <a:pt x="60" y="330"/>
                  </a:lnTo>
                  <a:lnTo>
                    <a:pt x="60" y="30"/>
                  </a:lnTo>
                  <a:close/>
                  <a:moveTo>
                    <a:pt x="196" y="30"/>
                  </a:moveTo>
                  <a:lnTo>
                    <a:pt x="198" y="29"/>
                  </a:lnTo>
                  <a:lnTo>
                    <a:pt x="201" y="29"/>
                  </a:lnTo>
                  <a:lnTo>
                    <a:pt x="204" y="27"/>
                  </a:lnTo>
                  <a:lnTo>
                    <a:pt x="206" y="26"/>
                  </a:lnTo>
                  <a:lnTo>
                    <a:pt x="208" y="23"/>
                  </a:lnTo>
                  <a:lnTo>
                    <a:pt x="209" y="21"/>
                  </a:lnTo>
                  <a:lnTo>
                    <a:pt x="210" y="17"/>
                  </a:lnTo>
                  <a:lnTo>
                    <a:pt x="211" y="15"/>
                  </a:lnTo>
                  <a:lnTo>
                    <a:pt x="210" y="12"/>
                  </a:lnTo>
                  <a:lnTo>
                    <a:pt x="209" y="9"/>
                  </a:lnTo>
                  <a:lnTo>
                    <a:pt x="208" y="7"/>
                  </a:lnTo>
                  <a:lnTo>
                    <a:pt x="206" y="5"/>
                  </a:lnTo>
                  <a:lnTo>
                    <a:pt x="204" y="2"/>
                  </a:lnTo>
                  <a:lnTo>
                    <a:pt x="201" y="1"/>
                  </a:lnTo>
                  <a:lnTo>
                    <a:pt x="198" y="0"/>
                  </a:lnTo>
                  <a:lnTo>
                    <a:pt x="196" y="0"/>
                  </a:lnTo>
                  <a:lnTo>
                    <a:pt x="15" y="0"/>
                  </a:lnTo>
                  <a:lnTo>
                    <a:pt x="12" y="0"/>
                  </a:lnTo>
                  <a:lnTo>
                    <a:pt x="10" y="1"/>
                  </a:lnTo>
                  <a:lnTo>
                    <a:pt x="6" y="2"/>
                  </a:lnTo>
                  <a:lnTo>
                    <a:pt x="4" y="5"/>
                  </a:lnTo>
                  <a:lnTo>
                    <a:pt x="2" y="7"/>
                  </a:lnTo>
                  <a:lnTo>
                    <a:pt x="1" y="9"/>
                  </a:lnTo>
                  <a:lnTo>
                    <a:pt x="0" y="12"/>
                  </a:lnTo>
                  <a:lnTo>
                    <a:pt x="0" y="15"/>
                  </a:lnTo>
                  <a:lnTo>
                    <a:pt x="0" y="17"/>
                  </a:lnTo>
                  <a:lnTo>
                    <a:pt x="1" y="21"/>
                  </a:lnTo>
                  <a:lnTo>
                    <a:pt x="2" y="23"/>
                  </a:lnTo>
                  <a:lnTo>
                    <a:pt x="4" y="26"/>
                  </a:lnTo>
                  <a:lnTo>
                    <a:pt x="6" y="27"/>
                  </a:lnTo>
                  <a:lnTo>
                    <a:pt x="10" y="29"/>
                  </a:lnTo>
                  <a:lnTo>
                    <a:pt x="12" y="29"/>
                  </a:lnTo>
                  <a:lnTo>
                    <a:pt x="15" y="30"/>
                  </a:lnTo>
                  <a:lnTo>
                    <a:pt x="30" y="30"/>
                  </a:lnTo>
                  <a:lnTo>
                    <a:pt x="30" y="330"/>
                  </a:lnTo>
                  <a:lnTo>
                    <a:pt x="15" y="330"/>
                  </a:lnTo>
                  <a:lnTo>
                    <a:pt x="12" y="331"/>
                  </a:lnTo>
                  <a:lnTo>
                    <a:pt x="10" y="331"/>
                  </a:lnTo>
                  <a:lnTo>
                    <a:pt x="6" y="333"/>
                  </a:lnTo>
                  <a:lnTo>
                    <a:pt x="4" y="334"/>
                  </a:lnTo>
                  <a:lnTo>
                    <a:pt x="2" y="338"/>
                  </a:lnTo>
                  <a:lnTo>
                    <a:pt x="1" y="340"/>
                  </a:lnTo>
                  <a:lnTo>
                    <a:pt x="0" y="343"/>
                  </a:lnTo>
                  <a:lnTo>
                    <a:pt x="0" y="345"/>
                  </a:lnTo>
                  <a:lnTo>
                    <a:pt x="0" y="348"/>
                  </a:lnTo>
                  <a:lnTo>
                    <a:pt x="1" y="352"/>
                  </a:lnTo>
                  <a:lnTo>
                    <a:pt x="2" y="354"/>
                  </a:lnTo>
                  <a:lnTo>
                    <a:pt x="4" y="356"/>
                  </a:lnTo>
                  <a:lnTo>
                    <a:pt x="6" y="358"/>
                  </a:lnTo>
                  <a:lnTo>
                    <a:pt x="10" y="359"/>
                  </a:lnTo>
                  <a:lnTo>
                    <a:pt x="12" y="360"/>
                  </a:lnTo>
                  <a:lnTo>
                    <a:pt x="15" y="360"/>
                  </a:lnTo>
                  <a:lnTo>
                    <a:pt x="196" y="360"/>
                  </a:lnTo>
                  <a:lnTo>
                    <a:pt x="198" y="360"/>
                  </a:lnTo>
                  <a:lnTo>
                    <a:pt x="201" y="359"/>
                  </a:lnTo>
                  <a:lnTo>
                    <a:pt x="204" y="358"/>
                  </a:lnTo>
                  <a:lnTo>
                    <a:pt x="206" y="356"/>
                  </a:lnTo>
                  <a:lnTo>
                    <a:pt x="208" y="354"/>
                  </a:lnTo>
                  <a:lnTo>
                    <a:pt x="209" y="352"/>
                  </a:lnTo>
                  <a:lnTo>
                    <a:pt x="210" y="348"/>
                  </a:lnTo>
                  <a:lnTo>
                    <a:pt x="211" y="345"/>
                  </a:lnTo>
                  <a:lnTo>
                    <a:pt x="210" y="343"/>
                  </a:lnTo>
                  <a:lnTo>
                    <a:pt x="209" y="340"/>
                  </a:lnTo>
                  <a:lnTo>
                    <a:pt x="208" y="338"/>
                  </a:lnTo>
                  <a:lnTo>
                    <a:pt x="206" y="334"/>
                  </a:lnTo>
                  <a:lnTo>
                    <a:pt x="204" y="333"/>
                  </a:lnTo>
                  <a:lnTo>
                    <a:pt x="201" y="331"/>
                  </a:lnTo>
                  <a:lnTo>
                    <a:pt x="198" y="331"/>
                  </a:lnTo>
                  <a:lnTo>
                    <a:pt x="196" y="330"/>
                  </a:lnTo>
                  <a:lnTo>
                    <a:pt x="181" y="330"/>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79" name="Freeform 50">
              <a:extLst>
                <a:ext uri="{FF2B5EF4-FFF2-40B4-BE49-F238E27FC236}">
                  <a16:creationId xmlns:a16="http://schemas.microsoft.com/office/drawing/2014/main" id="{84C36F6E-9AA2-4FCA-A390-8046725F9032}"/>
                </a:ext>
              </a:extLst>
            </p:cNvPr>
            <p:cNvSpPr>
              <a:spLocks noEditPoints="1"/>
            </p:cNvSpPr>
            <p:nvPr/>
          </p:nvSpPr>
          <p:spPr bwMode="auto">
            <a:xfrm>
              <a:off x="11047413" y="3797300"/>
              <a:ext cx="66675" cy="114300"/>
            </a:xfrm>
            <a:custGeom>
              <a:avLst/>
              <a:gdLst>
                <a:gd name="T0" fmla="*/ 120 w 210"/>
                <a:gd name="T1" fmla="*/ 330 h 360"/>
                <a:gd name="T2" fmla="*/ 150 w 210"/>
                <a:gd name="T3" fmla="*/ 30 h 360"/>
                <a:gd name="T4" fmla="*/ 60 w 210"/>
                <a:gd name="T5" fmla="*/ 30 h 360"/>
                <a:gd name="T6" fmla="*/ 90 w 210"/>
                <a:gd name="T7" fmla="*/ 330 h 360"/>
                <a:gd name="T8" fmla="*/ 60 w 210"/>
                <a:gd name="T9" fmla="*/ 30 h 360"/>
                <a:gd name="T10" fmla="*/ 198 w 210"/>
                <a:gd name="T11" fmla="*/ 29 h 360"/>
                <a:gd name="T12" fmla="*/ 204 w 210"/>
                <a:gd name="T13" fmla="*/ 27 h 360"/>
                <a:gd name="T14" fmla="*/ 208 w 210"/>
                <a:gd name="T15" fmla="*/ 23 h 360"/>
                <a:gd name="T16" fmla="*/ 210 w 210"/>
                <a:gd name="T17" fmla="*/ 17 h 360"/>
                <a:gd name="T18" fmla="*/ 210 w 210"/>
                <a:gd name="T19" fmla="*/ 12 h 360"/>
                <a:gd name="T20" fmla="*/ 208 w 210"/>
                <a:gd name="T21" fmla="*/ 7 h 360"/>
                <a:gd name="T22" fmla="*/ 204 w 210"/>
                <a:gd name="T23" fmla="*/ 2 h 360"/>
                <a:gd name="T24" fmla="*/ 198 w 210"/>
                <a:gd name="T25" fmla="*/ 0 h 360"/>
                <a:gd name="T26" fmla="*/ 15 w 210"/>
                <a:gd name="T27" fmla="*/ 0 h 360"/>
                <a:gd name="T28" fmla="*/ 9 w 210"/>
                <a:gd name="T29" fmla="*/ 1 h 360"/>
                <a:gd name="T30" fmla="*/ 4 w 210"/>
                <a:gd name="T31" fmla="*/ 5 h 360"/>
                <a:gd name="T32" fmla="*/ 1 w 210"/>
                <a:gd name="T33" fmla="*/ 9 h 360"/>
                <a:gd name="T34" fmla="*/ 0 w 210"/>
                <a:gd name="T35" fmla="*/ 15 h 360"/>
                <a:gd name="T36" fmla="*/ 1 w 210"/>
                <a:gd name="T37" fmla="*/ 21 h 360"/>
                <a:gd name="T38" fmla="*/ 4 w 210"/>
                <a:gd name="T39" fmla="*/ 26 h 360"/>
                <a:gd name="T40" fmla="*/ 9 w 210"/>
                <a:gd name="T41" fmla="*/ 29 h 360"/>
                <a:gd name="T42" fmla="*/ 15 w 210"/>
                <a:gd name="T43" fmla="*/ 30 h 360"/>
                <a:gd name="T44" fmla="*/ 30 w 210"/>
                <a:gd name="T45" fmla="*/ 330 h 360"/>
                <a:gd name="T46" fmla="*/ 12 w 210"/>
                <a:gd name="T47" fmla="*/ 331 h 360"/>
                <a:gd name="T48" fmla="*/ 6 w 210"/>
                <a:gd name="T49" fmla="*/ 333 h 360"/>
                <a:gd name="T50" fmla="*/ 2 w 210"/>
                <a:gd name="T51" fmla="*/ 338 h 360"/>
                <a:gd name="T52" fmla="*/ 0 w 210"/>
                <a:gd name="T53" fmla="*/ 343 h 360"/>
                <a:gd name="T54" fmla="*/ 0 w 210"/>
                <a:gd name="T55" fmla="*/ 348 h 360"/>
                <a:gd name="T56" fmla="*/ 2 w 210"/>
                <a:gd name="T57" fmla="*/ 354 h 360"/>
                <a:gd name="T58" fmla="*/ 6 w 210"/>
                <a:gd name="T59" fmla="*/ 358 h 360"/>
                <a:gd name="T60" fmla="*/ 12 w 210"/>
                <a:gd name="T61" fmla="*/ 360 h 360"/>
                <a:gd name="T62" fmla="*/ 195 w 210"/>
                <a:gd name="T63" fmla="*/ 360 h 360"/>
                <a:gd name="T64" fmla="*/ 201 w 210"/>
                <a:gd name="T65" fmla="*/ 359 h 360"/>
                <a:gd name="T66" fmla="*/ 206 w 210"/>
                <a:gd name="T67" fmla="*/ 356 h 360"/>
                <a:gd name="T68" fmla="*/ 209 w 210"/>
                <a:gd name="T69" fmla="*/ 352 h 360"/>
                <a:gd name="T70" fmla="*/ 210 w 210"/>
                <a:gd name="T71" fmla="*/ 345 h 360"/>
                <a:gd name="T72" fmla="*/ 209 w 210"/>
                <a:gd name="T73" fmla="*/ 340 h 360"/>
                <a:gd name="T74" fmla="*/ 206 w 210"/>
                <a:gd name="T75" fmla="*/ 334 h 360"/>
                <a:gd name="T76" fmla="*/ 201 w 210"/>
                <a:gd name="T77" fmla="*/ 331 h 360"/>
                <a:gd name="T78" fmla="*/ 195 w 210"/>
                <a:gd name="T79" fmla="*/ 330 h 360"/>
                <a:gd name="T80" fmla="*/ 180 w 210"/>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0" h="360">
                  <a:moveTo>
                    <a:pt x="150" y="330"/>
                  </a:moveTo>
                  <a:lnTo>
                    <a:pt x="120" y="330"/>
                  </a:lnTo>
                  <a:lnTo>
                    <a:pt x="120" y="30"/>
                  </a:lnTo>
                  <a:lnTo>
                    <a:pt x="150" y="30"/>
                  </a:lnTo>
                  <a:lnTo>
                    <a:pt x="150" y="330"/>
                  </a:lnTo>
                  <a:close/>
                  <a:moveTo>
                    <a:pt x="60" y="30"/>
                  </a:moveTo>
                  <a:lnTo>
                    <a:pt x="90" y="30"/>
                  </a:lnTo>
                  <a:lnTo>
                    <a:pt x="90" y="330"/>
                  </a:lnTo>
                  <a:lnTo>
                    <a:pt x="60" y="330"/>
                  </a:lnTo>
                  <a:lnTo>
                    <a:pt x="60" y="30"/>
                  </a:lnTo>
                  <a:close/>
                  <a:moveTo>
                    <a:pt x="195" y="30"/>
                  </a:moveTo>
                  <a:lnTo>
                    <a:pt x="198" y="29"/>
                  </a:lnTo>
                  <a:lnTo>
                    <a:pt x="201" y="29"/>
                  </a:lnTo>
                  <a:lnTo>
                    <a:pt x="204" y="27"/>
                  </a:lnTo>
                  <a:lnTo>
                    <a:pt x="206" y="26"/>
                  </a:lnTo>
                  <a:lnTo>
                    <a:pt x="208" y="23"/>
                  </a:lnTo>
                  <a:lnTo>
                    <a:pt x="209" y="21"/>
                  </a:lnTo>
                  <a:lnTo>
                    <a:pt x="210" y="17"/>
                  </a:lnTo>
                  <a:lnTo>
                    <a:pt x="210" y="15"/>
                  </a:lnTo>
                  <a:lnTo>
                    <a:pt x="210" y="12"/>
                  </a:lnTo>
                  <a:lnTo>
                    <a:pt x="209" y="9"/>
                  </a:lnTo>
                  <a:lnTo>
                    <a:pt x="208" y="7"/>
                  </a:lnTo>
                  <a:lnTo>
                    <a:pt x="206" y="5"/>
                  </a:lnTo>
                  <a:lnTo>
                    <a:pt x="204" y="2"/>
                  </a:lnTo>
                  <a:lnTo>
                    <a:pt x="201" y="1"/>
                  </a:lnTo>
                  <a:lnTo>
                    <a:pt x="198" y="0"/>
                  </a:lnTo>
                  <a:lnTo>
                    <a:pt x="195" y="0"/>
                  </a:lnTo>
                  <a:lnTo>
                    <a:pt x="15" y="0"/>
                  </a:lnTo>
                  <a:lnTo>
                    <a:pt x="12" y="0"/>
                  </a:lnTo>
                  <a:lnTo>
                    <a:pt x="9" y="1"/>
                  </a:lnTo>
                  <a:lnTo>
                    <a:pt x="6" y="2"/>
                  </a:lnTo>
                  <a:lnTo>
                    <a:pt x="4" y="5"/>
                  </a:lnTo>
                  <a:lnTo>
                    <a:pt x="2" y="7"/>
                  </a:lnTo>
                  <a:lnTo>
                    <a:pt x="1" y="9"/>
                  </a:lnTo>
                  <a:lnTo>
                    <a:pt x="0" y="12"/>
                  </a:lnTo>
                  <a:lnTo>
                    <a:pt x="0" y="15"/>
                  </a:lnTo>
                  <a:lnTo>
                    <a:pt x="0" y="17"/>
                  </a:lnTo>
                  <a:lnTo>
                    <a:pt x="1" y="21"/>
                  </a:lnTo>
                  <a:lnTo>
                    <a:pt x="2" y="23"/>
                  </a:lnTo>
                  <a:lnTo>
                    <a:pt x="4" y="26"/>
                  </a:lnTo>
                  <a:lnTo>
                    <a:pt x="6" y="27"/>
                  </a:lnTo>
                  <a:lnTo>
                    <a:pt x="9" y="29"/>
                  </a:lnTo>
                  <a:lnTo>
                    <a:pt x="12" y="29"/>
                  </a:lnTo>
                  <a:lnTo>
                    <a:pt x="15" y="30"/>
                  </a:lnTo>
                  <a:lnTo>
                    <a:pt x="30" y="30"/>
                  </a:lnTo>
                  <a:lnTo>
                    <a:pt x="30" y="330"/>
                  </a:lnTo>
                  <a:lnTo>
                    <a:pt x="15" y="330"/>
                  </a:lnTo>
                  <a:lnTo>
                    <a:pt x="12" y="331"/>
                  </a:lnTo>
                  <a:lnTo>
                    <a:pt x="9" y="331"/>
                  </a:lnTo>
                  <a:lnTo>
                    <a:pt x="6" y="333"/>
                  </a:lnTo>
                  <a:lnTo>
                    <a:pt x="4" y="334"/>
                  </a:lnTo>
                  <a:lnTo>
                    <a:pt x="2" y="338"/>
                  </a:lnTo>
                  <a:lnTo>
                    <a:pt x="1" y="340"/>
                  </a:lnTo>
                  <a:lnTo>
                    <a:pt x="0" y="343"/>
                  </a:lnTo>
                  <a:lnTo>
                    <a:pt x="0" y="345"/>
                  </a:lnTo>
                  <a:lnTo>
                    <a:pt x="0" y="348"/>
                  </a:lnTo>
                  <a:lnTo>
                    <a:pt x="1" y="352"/>
                  </a:lnTo>
                  <a:lnTo>
                    <a:pt x="2" y="354"/>
                  </a:lnTo>
                  <a:lnTo>
                    <a:pt x="4" y="356"/>
                  </a:lnTo>
                  <a:lnTo>
                    <a:pt x="6" y="358"/>
                  </a:lnTo>
                  <a:lnTo>
                    <a:pt x="9" y="359"/>
                  </a:lnTo>
                  <a:lnTo>
                    <a:pt x="12" y="360"/>
                  </a:lnTo>
                  <a:lnTo>
                    <a:pt x="15" y="360"/>
                  </a:lnTo>
                  <a:lnTo>
                    <a:pt x="195" y="360"/>
                  </a:lnTo>
                  <a:lnTo>
                    <a:pt x="198" y="360"/>
                  </a:lnTo>
                  <a:lnTo>
                    <a:pt x="201" y="359"/>
                  </a:lnTo>
                  <a:lnTo>
                    <a:pt x="204" y="358"/>
                  </a:lnTo>
                  <a:lnTo>
                    <a:pt x="206" y="356"/>
                  </a:lnTo>
                  <a:lnTo>
                    <a:pt x="208" y="354"/>
                  </a:lnTo>
                  <a:lnTo>
                    <a:pt x="209" y="352"/>
                  </a:lnTo>
                  <a:lnTo>
                    <a:pt x="210" y="348"/>
                  </a:lnTo>
                  <a:lnTo>
                    <a:pt x="210" y="345"/>
                  </a:lnTo>
                  <a:lnTo>
                    <a:pt x="210" y="343"/>
                  </a:lnTo>
                  <a:lnTo>
                    <a:pt x="209" y="340"/>
                  </a:lnTo>
                  <a:lnTo>
                    <a:pt x="208" y="338"/>
                  </a:lnTo>
                  <a:lnTo>
                    <a:pt x="206" y="334"/>
                  </a:lnTo>
                  <a:lnTo>
                    <a:pt x="204" y="333"/>
                  </a:lnTo>
                  <a:lnTo>
                    <a:pt x="201" y="331"/>
                  </a:lnTo>
                  <a:lnTo>
                    <a:pt x="198" y="331"/>
                  </a:lnTo>
                  <a:lnTo>
                    <a:pt x="195" y="330"/>
                  </a:lnTo>
                  <a:lnTo>
                    <a:pt x="180" y="330"/>
                  </a:lnTo>
                  <a:lnTo>
                    <a:pt x="180" y="30"/>
                  </a:lnTo>
                  <a:lnTo>
                    <a:pt x="19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80" name="Freeform 51">
              <a:extLst>
                <a:ext uri="{FF2B5EF4-FFF2-40B4-BE49-F238E27FC236}">
                  <a16:creationId xmlns:a16="http://schemas.microsoft.com/office/drawing/2014/main" id="{F4303D85-C0ED-445A-8B52-668F001C8E9C}"/>
                </a:ext>
              </a:extLst>
            </p:cNvPr>
            <p:cNvSpPr>
              <a:spLocks noEditPoints="1"/>
            </p:cNvSpPr>
            <p:nvPr/>
          </p:nvSpPr>
          <p:spPr bwMode="auto">
            <a:xfrm>
              <a:off x="11133138" y="3797300"/>
              <a:ext cx="66675" cy="114300"/>
            </a:xfrm>
            <a:custGeom>
              <a:avLst/>
              <a:gdLst>
                <a:gd name="T0" fmla="*/ 121 w 211"/>
                <a:gd name="T1" fmla="*/ 330 h 360"/>
                <a:gd name="T2" fmla="*/ 151 w 211"/>
                <a:gd name="T3" fmla="*/ 30 h 360"/>
                <a:gd name="T4" fmla="*/ 61 w 211"/>
                <a:gd name="T5" fmla="*/ 30 h 360"/>
                <a:gd name="T6" fmla="*/ 91 w 211"/>
                <a:gd name="T7" fmla="*/ 330 h 360"/>
                <a:gd name="T8" fmla="*/ 61 w 211"/>
                <a:gd name="T9" fmla="*/ 30 h 360"/>
                <a:gd name="T10" fmla="*/ 199 w 211"/>
                <a:gd name="T11" fmla="*/ 29 h 360"/>
                <a:gd name="T12" fmla="*/ 205 w 211"/>
                <a:gd name="T13" fmla="*/ 27 h 360"/>
                <a:gd name="T14" fmla="*/ 209 w 211"/>
                <a:gd name="T15" fmla="*/ 23 h 360"/>
                <a:gd name="T16" fmla="*/ 211 w 211"/>
                <a:gd name="T17" fmla="*/ 17 h 360"/>
                <a:gd name="T18" fmla="*/ 211 w 211"/>
                <a:gd name="T19" fmla="*/ 12 h 360"/>
                <a:gd name="T20" fmla="*/ 209 w 211"/>
                <a:gd name="T21" fmla="*/ 7 h 360"/>
                <a:gd name="T22" fmla="*/ 205 w 211"/>
                <a:gd name="T23" fmla="*/ 2 h 360"/>
                <a:gd name="T24" fmla="*/ 199 w 211"/>
                <a:gd name="T25" fmla="*/ 0 h 360"/>
                <a:gd name="T26" fmla="*/ 15 w 211"/>
                <a:gd name="T27" fmla="*/ 0 h 360"/>
                <a:gd name="T28" fmla="*/ 10 w 211"/>
                <a:gd name="T29" fmla="*/ 1 h 360"/>
                <a:gd name="T30" fmla="*/ 5 w 211"/>
                <a:gd name="T31" fmla="*/ 5 h 360"/>
                <a:gd name="T32" fmla="*/ 2 w 211"/>
                <a:gd name="T33" fmla="*/ 9 h 360"/>
                <a:gd name="T34" fmla="*/ 0 w 211"/>
                <a:gd name="T35" fmla="*/ 15 h 360"/>
                <a:gd name="T36" fmla="*/ 2 w 211"/>
                <a:gd name="T37" fmla="*/ 21 h 360"/>
                <a:gd name="T38" fmla="*/ 5 w 211"/>
                <a:gd name="T39" fmla="*/ 26 h 360"/>
                <a:gd name="T40" fmla="*/ 10 w 211"/>
                <a:gd name="T41" fmla="*/ 29 h 360"/>
                <a:gd name="T42" fmla="*/ 15 w 211"/>
                <a:gd name="T43" fmla="*/ 30 h 360"/>
                <a:gd name="T44" fmla="*/ 31 w 211"/>
                <a:gd name="T45" fmla="*/ 330 h 360"/>
                <a:gd name="T46" fmla="*/ 13 w 211"/>
                <a:gd name="T47" fmla="*/ 331 h 360"/>
                <a:gd name="T48" fmla="*/ 7 w 211"/>
                <a:gd name="T49" fmla="*/ 333 h 360"/>
                <a:gd name="T50" fmla="*/ 3 w 211"/>
                <a:gd name="T51" fmla="*/ 338 h 360"/>
                <a:gd name="T52" fmla="*/ 1 w 211"/>
                <a:gd name="T53" fmla="*/ 343 h 360"/>
                <a:gd name="T54" fmla="*/ 1 w 211"/>
                <a:gd name="T55" fmla="*/ 348 h 360"/>
                <a:gd name="T56" fmla="*/ 3 w 211"/>
                <a:gd name="T57" fmla="*/ 354 h 360"/>
                <a:gd name="T58" fmla="*/ 7 w 211"/>
                <a:gd name="T59" fmla="*/ 358 h 360"/>
                <a:gd name="T60" fmla="*/ 13 w 211"/>
                <a:gd name="T61" fmla="*/ 360 h 360"/>
                <a:gd name="T62" fmla="*/ 196 w 211"/>
                <a:gd name="T63" fmla="*/ 360 h 360"/>
                <a:gd name="T64" fmla="*/ 201 w 211"/>
                <a:gd name="T65" fmla="*/ 359 h 360"/>
                <a:gd name="T66" fmla="*/ 207 w 211"/>
                <a:gd name="T67" fmla="*/ 356 h 360"/>
                <a:gd name="T68" fmla="*/ 210 w 211"/>
                <a:gd name="T69" fmla="*/ 352 h 360"/>
                <a:gd name="T70" fmla="*/ 211 w 211"/>
                <a:gd name="T71" fmla="*/ 345 h 360"/>
                <a:gd name="T72" fmla="*/ 210 w 211"/>
                <a:gd name="T73" fmla="*/ 340 h 360"/>
                <a:gd name="T74" fmla="*/ 207 w 211"/>
                <a:gd name="T75" fmla="*/ 334 h 360"/>
                <a:gd name="T76" fmla="*/ 201 w 211"/>
                <a:gd name="T77" fmla="*/ 331 h 360"/>
                <a:gd name="T78" fmla="*/ 196 w 211"/>
                <a:gd name="T79" fmla="*/ 330 h 360"/>
                <a:gd name="T80" fmla="*/ 181 w 211"/>
                <a:gd name="T81" fmla="*/ 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1" h="360">
                  <a:moveTo>
                    <a:pt x="151" y="330"/>
                  </a:moveTo>
                  <a:lnTo>
                    <a:pt x="121" y="330"/>
                  </a:lnTo>
                  <a:lnTo>
                    <a:pt x="121" y="30"/>
                  </a:lnTo>
                  <a:lnTo>
                    <a:pt x="151" y="30"/>
                  </a:lnTo>
                  <a:lnTo>
                    <a:pt x="151" y="330"/>
                  </a:lnTo>
                  <a:close/>
                  <a:moveTo>
                    <a:pt x="61" y="30"/>
                  </a:moveTo>
                  <a:lnTo>
                    <a:pt x="91" y="30"/>
                  </a:lnTo>
                  <a:lnTo>
                    <a:pt x="91" y="330"/>
                  </a:lnTo>
                  <a:lnTo>
                    <a:pt x="61" y="330"/>
                  </a:lnTo>
                  <a:lnTo>
                    <a:pt x="61" y="30"/>
                  </a:lnTo>
                  <a:close/>
                  <a:moveTo>
                    <a:pt x="196" y="30"/>
                  </a:moveTo>
                  <a:lnTo>
                    <a:pt x="199" y="29"/>
                  </a:lnTo>
                  <a:lnTo>
                    <a:pt x="201" y="29"/>
                  </a:lnTo>
                  <a:lnTo>
                    <a:pt x="205" y="27"/>
                  </a:lnTo>
                  <a:lnTo>
                    <a:pt x="207" y="26"/>
                  </a:lnTo>
                  <a:lnTo>
                    <a:pt x="209" y="23"/>
                  </a:lnTo>
                  <a:lnTo>
                    <a:pt x="210" y="21"/>
                  </a:lnTo>
                  <a:lnTo>
                    <a:pt x="211" y="17"/>
                  </a:lnTo>
                  <a:lnTo>
                    <a:pt x="211" y="15"/>
                  </a:lnTo>
                  <a:lnTo>
                    <a:pt x="211" y="12"/>
                  </a:lnTo>
                  <a:lnTo>
                    <a:pt x="210" y="9"/>
                  </a:lnTo>
                  <a:lnTo>
                    <a:pt x="209" y="7"/>
                  </a:lnTo>
                  <a:lnTo>
                    <a:pt x="207" y="5"/>
                  </a:lnTo>
                  <a:lnTo>
                    <a:pt x="205" y="2"/>
                  </a:lnTo>
                  <a:lnTo>
                    <a:pt x="201" y="1"/>
                  </a:lnTo>
                  <a:lnTo>
                    <a:pt x="199" y="0"/>
                  </a:lnTo>
                  <a:lnTo>
                    <a:pt x="196" y="0"/>
                  </a:lnTo>
                  <a:lnTo>
                    <a:pt x="15" y="0"/>
                  </a:lnTo>
                  <a:lnTo>
                    <a:pt x="13" y="0"/>
                  </a:lnTo>
                  <a:lnTo>
                    <a:pt x="10" y="1"/>
                  </a:lnTo>
                  <a:lnTo>
                    <a:pt x="7" y="2"/>
                  </a:lnTo>
                  <a:lnTo>
                    <a:pt x="5" y="5"/>
                  </a:lnTo>
                  <a:lnTo>
                    <a:pt x="3" y="7"/>
                  </a:lnTo>
                  <a:lnTo>
                    <a:pt x="2" y="9"/>
                  </a:lnTo>
                  <a:lnTo>
                    <a:pt x="1" y="12"/>
                  </a:lnTo>
                  <a:lnTo>
                    <a:pt x="0" y="15"/>
                  </a:lnTo>
                  <a:lnTo>
                    <a:pt x="1" y="17"/>
                  </a:lnTo>
                  <a:lnTo>
                    <a:pt x="2" y="21"/>
                  </a:lnTo>
                  <a:lnTo>
                    <a:pt x="3" y="23"/>
                  </a:lnTo>
                  <a:lnTo>
                    <a:pt x="5" y="26"/>
                  </a:lnTo>
                  <a:lnTo>
                    <a:pt x="7" y="27"/>
                  </a:lnTo>
                  <a:lnTo>
                    <a:pt x="10" y="29"/>
                  </a:lnTo>
                  <a:lnTo>
                    <a:pt x="13" y="29"/>
                  </a:lnTo>
                  <a:lnTo>
                    <a:pt x="15" y="30"/>
                  </a:lnTo>
                  <a:lnTo>
                    <a:pt x="31" y="30"/>
                  </a:lnTo>
                  <a:lnTo>
                    <a:pt x="31" y="330"/>
                  </a:lnTo>
                  <a:lnTo>
                    <a:pt x="15" y="330"/>
                  </a:lnTo>
                  <a:lnTo>
                    <a:pt x="13" y="331"/>
                  </a:lnTo>
                  <a:lnTo>
                    <a:pt x="10" y="331"/>
                  </a:lnTo>
                  <a:lnTo>
                    <a:pt x="7" y="333"/>
                  </a:lnTo>
                  <a:lnTo>
                    <a:pt x="5" y="334"/>
                  </a:lnTo>
                  <a:lnTo>
                    <a:pt x="3" y="338"/>
                  </a:lnTo>
                  <a:lnTo>
                    <a:pt x="2" y="340"/>
                  </a:lnTo>
                  <a:lnTo>
                    <a:pt x="1" y="343"/>
                  </a:lnTo>
                  <a:lnTo>
                    <a:pt x="0" y="345"/>
                  </a:lnTo>
                  <a:lnTo>
                    <a:pt x="1" y="348"/>
                  </a:lnTo>
                  <a:lnTo>
                    <a:pt x="2" y="352"/>
                  </a:lnTo>
                  <a:lnTo>
                    <a:pt x="3" y="354"/>
                  </a:lnTo>
                  <a:lnTo>
                    <a:pt x="5" y="356"/>
                  </a:lnTo>
                  <a:lnTo>
                    <a:pt x="7" y="358"/>
                  </a:lnTo>
                  <a:lnTo>
                    <a:pt x="10" y="359"/>
                  </a:lnTo>
                  <a:lnTo>
                    <a:pt x="13" y="360"/>
                  </a:lnTo>
                  <a:lnTo>
                    <a:pt x="15" y="360"/>
                  </a:lnTo>
                  <a:lnTo>
                    <a:pt x="196" y="360"/>
                  </a:lnTo>
                  <a:lnTo>
                    <a:pt x="199" y="360"/>
                  </a:lnTo>
                  <a:lnTo>
                    <a:pt x="201" y="359"/>
                  </a:lnTo>
                  <a:lnTo>
                    <a:pt x="205" y="358"/>
                  </a:lnTo>
                  <a:lnTo>
                    <a:pt x="207" y="356"/>
                  </a:lnTo>
                  <a:lnTo>
                    <a:pt x="209" y="354"/>
                  </a:lnTo>
                  <a:lnTo>
                    <a:pt x="210" y="352"/>
                  </a:lnTo>
                  <a:lnTo>
                    <a:pt x="211" y="348"/>
                  </a:lnTo>
                  <a:lnTo>
                    <a:pt x="211" y="345"/>
                  </a:lnTo>
                  <a:lnTo>
                    <a:pt x="211" y="343"/>
                  </a:lnTo>
                  <a:lnTo>
                    <a:pt x="210" y="340"/>
                  </a:lnTo>
                  <a:lnTo>
                    <a:pt x="209" y="338"/>
                  </a:lnTo>
                  <a:lnTo>
                    <a:pt x="207" y="334"/>
                  </a:lnTo>
                  <a:lnTo>
                    <a:pt x="205" y="333"/>
                  </a:lnTo>
                  <a:lnTo>
                    <a:pt x="201" y="331"/>
                  </a:lnTo>
                  <a:lnTo>
                    <a:pt x="199" y="331"/>
                  </a:lnTo>
                  <a:lnTo>
                    <a:pt x="196" y="330"/>
                  </a:lnTo>
                  <a:lnTo>
                    <a:pt x="181" y="330"/>
                  </a:lnTo>
                  <a:lnTo>
                    <a:pt x="181" y="30"/>
                  </a:lnTo>
                  <a:lnTo>
                    <a:pt x="19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1481" name="Freeform 52">
              <a:extLst>
                <a:ext uri="{FF2B5EF4-FFF2-40B4-BE49-F238E27FC236}">
                  <a16:creationId xmlns:a16="http://schemas.microsoft.com/office/drawing/2014/main" id="{2FC09282-007B-4E60-8533-47531989C261}"/>
                </a:ext>
              </a:extLst>
            </p:cNvPr>
            <p:cNvSpPr>
              <a:spLocks noEditPoints="1"/>
            </p:cNvSpPr>
            <p:nvPr/>
          </p:nvSpPr>
          <p:spPr bwMode="auto">
            <a:xfrm>
              <a:off x="11028363" y="3683000"/>
              <a:ext cx="276225" cy="104775"/>
            </a:xfrm>
            <a:custGeom>
              <a:avLst/>
              <a:gdLst>
                <a:gd name="T0" fmla="*/ 436 w 872"/>
                <a:gd name="T1" fmla="*/ 33 h 331"/>
                <a:gd name="T2" fmla="*/ 810 w 872"/>
                <a:gd name="T3" fmla="*/ 300 h 331"/>
                <a:gd name="T4" fmla="*/ 62 w 872"/>
                <a:gd name="T5" fmla="*/ 300 h 331"/>
                <a:gd name="T6" fmla="*/ 436 w 872"/>
                <a:gd name="T7" fmla="*/ 33 h 331"/>
                <a:gd name="T8" fmla="*/ 15 w 872"/>
                <a:gd name="T9" fmla="*/ 330 h 331"/>
                <a:gd name="T10" fmla="*/ 857 w 872"/>
                <a:gd name="T11" fmla="*/ 330 h 331"/>
                <a:gd name="T12" fmla="*/ 861 w 872"/>
                <a:gd name="T13" fmla="*/ 330 h 331"/>
                <a:gd name="T14" fmla="*/ 866 w 872"/>
                <a:gd name="T15" fmla="*/ 328 h 331"/>
                <a:gd name="T16" fmla="*/ 869 w 872"/>
                <a:gd name="T17" fmla="*/ 325 h 331"/>
                <a:gd name="T18" fmla="*/ 871 w 872"/>
                <a:gd name="T19" fmla="*/ 321 h 331"/>
                <a:gd name="T20" fmla="*/ 872 w 872"/>
                <a:gd name="T21" fmla="*/ 315 h 331"/>
                <a:gd name="T22" fmla="*/ 871 w 872"/>
                <a:gd name="T23" fmla="*/ 311 h 331"/>
                <a:gd name="T24" fmla="*/ 869 w 872"/>
                <a:gd name="T25" fmla="*/ 307 h 331"/>
                <a:gd name="T26" fmla="*/ 866 w 872"/>
                <a:gd name="T27" fmla="*/ 303 h 331"/>
                <a:gd name="T28" fmla="*/ 445 w 872"/>
                <a:gd name="T29" fmla="*/ 2 h 331"/>
                <a:gd name="T30" fmla="*/ 440 w 872"/>
                <a:gd name="T31" fmla="*/ 0 h 331"/>
                <a:gd name="T32" fmla="*/ 436 w 872"/>
                <a:gd name="T33" fmla="*/ 0 h 331"/>
                <a:gd name="T34" fmla="*/ 431 w 872"/>
                <a:gd name="T35" fmla="*/ 0 h 331"/>
                <a:gd name="T36" fmla="*/ 427 w 872"/>
                <a:gd name="T37" fmla="*/ 2 h 331"/>
                <a:gd name="T38" fmla="*/ 6 w 872"/>
                <a:gd name="T39" fmla="*/ 303 h 331"/>
                <a:gd name="T40" fmla="*/ 2 w 872"/>
                <a:gd name="T41" fmla="*/ 307 h 331"/>
                <a:gd name="T42" fmla="*/ 0 w 872"/>
                <a:gd name="T43" fmla="*/ 311 h 331"/>
                <a:gd name="T44" fmla="*/ 0 w 872"/>
                <a:gd name="T45" fmla="*/ 315 h 331"/>
                <a:gd name="T46" fmla="*/ 0 w 872"/>
                <a:gd name="T47" fmla="*/ 321 h 331"/>
                <a:gd name="T48" fmla="*/ 2 w 872"/>
                <a:gd name="T49" fmla="*/ 325 h 331"/>
                <a:gd name="T50" fmla="*/ 5 w 872"/>
                <a:gd name="T51" fmla="*/ 328 h 331"/>
                <a:gd name="T52" fmla="*/ 10 w 872"/>
                <a:gd name="T53" fmla="*/ 330 h 331"/>
                <a:gd name="T54" fmla="*/ 15 w 872"/>
                <a:gd name="T55" fmla="*/ 331 h 331"/>
                <a:gd name="T56" fmla="*/ 15 w 872"/>
                <a:gd name="T57" fmla="*/ 33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2" h="331">
                  <a:moveTo>
                    <a:pt x="436" y="33"/>
                  </a:moveTo>
                  <a:lnTo>
                    <a:pt x="810" y="300"/>
                  </a:lnTo>
                  <a:lnTo>
                    <a:pt x="62" y="300"/>
                  </a:lnTo>
                  <a:lnTo>
                    <a:pt x="436" y="33"/>
                  </a:lnTo>
                  <a:close/>
                  <a:moveTo>
                    <a:pt x="15" y="330"/>
                  </a:moveTo>
                  <a:lnTo>
                    <a:pt x="857" y="330"/>
                  </a:lnTo>
                  <a:lnTo>
                    <a:pt x="861" y="330"/>
                  </a:lnTo>
                  <a:lnTo>
                    <a:pt x="866" y="328"/>
                  </a:lnTo>
                  <a:lnTo>
                    <a:pt x="869" y="325"/>
                  </a:lnTo>
                  <a:lnTo>
                    <a:pt x="871" y="321"/>
                  </a:lnTo>
                  <a:lnTo>
                    <a:pt x="872" y="315"/>
                  </a:lnTo>
                  <a:lnTo>
                    <a:pt x="871" y="311"/>
                  </a:lnTo>
                  <a:lnTo>
                    <a:pt x="869" y="307"/>
                  </a:lnTo>
                  <a:lnTo>
                    <a:pt x="866" y="303"/>
                  </a:lnTo>
                  <a:lnTo>
                    <a:pt x="445" y="2"/>
                  </a:lnTo>
                  <a:lnTo>
                    <a:pt x="440" y="0"/>
                  </a:lnTo>
                  <a:lnTo>
                    <a:pt x="436" y="0"/>
                  </a:lnTo>
                  <a:lnTo>
                    <a:pt x="431" y="0"/>
                  </a:lnTo>
                  <a:lnTo>
                    <a:pt x="427" y="2"/>
                  </a:lnTo>
                  <a:lnTo>
                    <a:pt x="6" y="303"/>
                  </a:lnTo>
                  <a:lnTo>
                    <a:pt x="2" y="307"/>
                  </a:lnTo>
                  <a:lnTo>
                    <a:pt x="0" y="311"/>
                  </a:lnTo>
                  <a:lnTo>
                    <a:pt x="0" y="315"/>
                  </a:lnTo>
                  <a:lnTo>
                    <a:pt x="0" y="321"/>
                  </a:lnTo>
                  <a:lnTo>
                    <a:pt x="2" y="325"/>
                  </a:lnTo>
                  <a:lnTo>
                    <a:pt x="5" y="328"/>
                  </a:lnTo>
                  <a:lnTo>
                    <a:pt x="10" y="330"/>
                  </a:lnTo>
                  <a:lnTo>
                    <a:pt x="15" y="331"/>
                  </a:lnTo>
                  <a:lnTo>
                    <a:pt x="15"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1522" name="Group 37">
            <a:extLst>
              <a:ext uri="{FF2B5EF4-FFF2-40B4-BE49-F238E27FC236}">
                <a16:creationId xmlns:a16="http://schemas.microsoft.com/office/drawing/2014/main" id="{12A0D060-4C17-49F7-8DD1-6C8EC2D5E59D}"/>
              </a:ext>
            </a:extLst>
          </p:cNvPr>
          <p:cNvGrpSpPr>
            <a:grpSpLocks noChangeAspect="1"/>
          </p:cNvGrpSpPr>
          <p:nvPr/>
        </p:nvGrpSpPr>
        <p:grpSpPr>
          <a:xfrm>
            <a:off x="5791954" y="3263433"/>
            <a:ext cx="285619" cy="285619"/>
            <a:chOff x="9891713" y="1344613"/>
            <a:chExt cx="285750" cy="285750"/>
          </a:xfrm>
          <a:solidFill>
            <a:schemeClr val="bg1"/>
          </a:solidFill>
          <a:effectLst/>
        </p:grpSpPr>
        <p:sp>
          <p:nvSpPr>
            <p:cNvPr id="1523" name="Freeform 298">
              <a:extLst>
                <a:ext uri="{FF2B5EF4-FFF2-40B4-BE49-F238E27FC236}">
                  <a16:creationId xmlns:a16="http://schemas.microsoft.com/office/drawing/2014/main" id="{B9A7A462-6180-4E5F-9DB1-FA84C66EBC72}"/>
                </a:ext>
              </a:extLst>
            </p:cNvPr>
            <p:cNvSpPr>
              <a:spLocks noEditPoints="1"/>
            </p:cNvSpPr>
            <p:nvPr/>
          </p:nvSpPr>
          <p:spPr bwMode="auto">
            <a:xfrm>
              <a:off x="9891713" y="1344613"/>
              <a:ext cx="285750" cy="285750"/>
            </a:xfrm>
            <a:custGeom>
              <a:avLst/>
              <a:gdLst>
                <a:gd name="T0" fmla="*/ 542 w 903"/>
                <a:gd name="T1" fmla="*/ 707 h 903"/>
                <a:gd name="T2" fmla="*/ 540 w 903"/>
                <a:gd name="T3" fmla="*/ 702 h 903"/>
                <a:gd name="T4" fmla="*/ 537 w 903"/>
                <a:gd name="T5" fmla="*/ 696 h 903"/>
                <a:gd name="T6" fmla="*/ 533 w 903"/>
                <a:gd name="T7" fmla="*/ 693 h 903"/>
                <a:gd name="T8" fmla="*/ 526 w 903"/>
                <a:gd name="T9" fmla="*/ 692 h 903"/>
                <a:gd name="T10" fmla="*/ 373 w 903"/>
                <a:gd name="T11" fmla="*/ 692 h 903"/>
                <a:gd name="T12" fmla="*/ 367 w 903"/>
                <a:gd name="T13" fmla="*/ 694 h 903"/>
                <a:gd name="T14" fmla="*/ 364 w 903"/>
                <a:gd name="T15" fmla="*/ 698 h 903"/>
                <a:gd name="T16" fmla="*/ 361 w 903"/>
                <a:gd name="T17" fmla="*/ 704 h 903"/>
                <a:gd name="T18" fmla="*/ 361 w 903"/>
                <a:gd name="T19" fmla="*/ 872 h 903"/>
                <a:gd name="T20" fmla="*/ 181 w 903"/>
                <a:gd name="T21" fmla="*/ 210 h 903"/>
                <a:gd name="T22" fmla="*/ 722 w 903"/>
                <a:gd name="T23" fmla="*/ 872 h 903"/>
                <a:gd name="T24" fmla="*/ 391 w 903"/>
                <a:gd name="T25" fmla="*/ 872 h 903"/>
                <a:gd name="T26" fmla="*/ 511 w 903"/>
                <a:gd name="T27" fmla="*/ 722 h 903"/>
                <a:gd name="T28" fmla="*/ 391 w 903"/>
                <a:gd name="T29" fmla="*/ 872 h 903"/>
                <a:gd name="T30" fmla="*/ 451 w 903"/>
                <a:gd name="T31" fmla="*/ 31 h 903"/>
                <a:gd name="T32" fmla="*/ 783 w 903"/>
                <a:gd name="T33" fmla="*/ 180 h 903"/>
                <a:gd name="T34" fmla="*/ 166 w 903"/>
                <a:gd name="T35" fmla="*/ 180 h 903"/>
                <a:gd name="T36" fmla="*/ 121 w 903"/>
                <a:gd name="T37" fmla="*/ 160 h 903"/>
                <a:gd name="T38" fmla="*/ 753 w 903"/>
                <a:gd name="T39" fmla="*/ 872 h 903"/>
                <a:gd name="T40" fmla="*/ 798 w 903"/>
                <a:gd name="T41" fmla="*/ 210 h 903"/>
                <a:gd name="T42" fmla="*/ 804 w 903"/>
                <a:gd name="T43" fmla="*/ 209 h 903"/>
                <a:gd name="T44" fmla="*/ 808 w 903"/>
                <a:gd name="T45" fmla="*/ 206 h 903"/>
                <a:gd name="T46" fmla="*/ 811 w 903"/>
                <a:gd name="T47" fmla="*/ 201 h 903"/>
                <a:gd name="T48" fmla="*/ 813 w 903"/>
                <a:gd name="T49" fmla="*/ 195 h 903"/>
                <a:gd name="T50" fmla="*/ 813 w 903"/>
                <a:gd name="T51" fmla="*/ 146 h 903"/>
                <a:gd name="T52" fmla="*/ 807 w 903"/>
                <a:gd name="T53" fmla="*/ 138 h 903"/>
                <a:gd name="T54" fmla="*/ 456 w 903"/>
                <a:gd name="T55" fmla="*/ 0 h 903"/>
                <a:gd name="T56" fmla="*/ 446 w 903"/>
                <a:gd name="T57" fmla="*/ 0 h 903"/>
                <a:gd name="T58" fmla="*/ 96 w 903"/>
                <a:gd name="T59" fmla="*/ 138 h 903"/>
                <a:gd name="T60" fmla="*/ 91 w 903"/>
                <a:gd name="T61" fmla="*/ 146 h 903"/>
                <a:gd name="T62" fmla="*/ 90 w 903"/>
                <a:gd name="T63" fmla="*/ 195 h 903"/>
                <a:gd name="T64" fmla="*/ 92 w 903"/>
                <a:gd name="T65" fmla="*/ 201 h 903"/>
                <a:gd name="T66" fmla="*/ 95 w 903"/>
                <a:gd name="T67" fmla="*/ 206 h 903"/>
                <a:gd name="T68" fmla="*/ 99 w 903"/>
                <a:gd name="T69" fmla="*/ 209 h 903"/>
                <a:gd name="T70" fmla="*/ 106 w 903"/>
                <a:gd name="T71" fmla="*/ 210 h 903"/>
                <a:gd name="T72" fmla="*/ 151 w 903"/>
                <a:gd name="T73" fmla="*/ 872 h 903"/>
                <a:gd name="T74" fmla="*/ 11 w 903"/>
                <a:gd name="T75" fmla="*/ 873 h 903"/>
                <a:gd name="T76" fmla="*/ 6 w 903"/>
                <a:gd name="T77" fmla="*/ 876 h 903"/>
                <a:gd name="T78" fmla="*/ 3 w 903"/>
                <a:gd name="T79" fmla="*/ 880 h 903"/>
                <a:gd name="T80" fmla="*/ 1 w 903"/>
                <a:gd name="T81" fmla="*/ 885 h 903"/>
                <a:gd name="T82" fmla="*/ 1 w 903"/>
                <a:gd name="T83" fmla="*/ 891 h 903"/>
                <a:gd name="T84" fmla="*/ 3 w 903"/>
                <a:gd name="T85" fmla="*/ 896 h 903"/>
                <a:gd name="T86" fmla="*/ 6 w 903"/>
                <a:gd name="T87" fmla="*/ 900 h 903"/>
                <a:gd name="T88" fmla="*/ 11 w 903"/>
                <a:gd name="T89" fmla="*/ 902 h 903"/>
                <a:gd name="T90" fmla="*/ 166 w 903"/>
                <a:gd name="T91" fmla="*/ 902 h 903"/>
                <a:gd name="T92" fmla="*/ 527 w 903"/>
                <a:gd name="T93" fmla="*/ 902 h 903"/>
                <a:gd name="T94" fmla="*/ 888 w 903"/>
                <a:gd name="T95" fmla="*/ 902 h 903"/>
                <a:gd name="T96" fmla="*/ 894 w 903"/>
                <a:gd name="T97" fmla="*/ 901 h 903"/>
                <a:gd name="T98" fmla="*/ 898 w 903"/>
                <a:gd name="T99" fmla="*/ 898 h 903"/>
                <a:gd name="T100" fmla="*/ 902 w 903"/>
                <a:gd name="T101" fmla="*/ 894 h 903"/>
                <a:gd name="T102" fmla="*/ 903 w 903"/>
                <a:gd name="T103" fmla="*/ 888 h 903"/>
                <a:gd name="T104" fmla="*/ 902 w 903"/>
                <a:gd name="T105" fmla="*/ 882 h 903"/>
                <a:gd name="T106" fmla="*/ 898 w 903"/>
                <a:gd name="T107" fmla="*/ 878 h 903"/>
                <a:gd name="T108" fmla="*/ 894 w 903"/>
                <a:gd name="T109" fmla="*/ 874 h 903"/>
                <a:gd name="T110" fmla="*/ 888 w 903"/>
                <a:gd name="T111" fmla="*/ 8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903">
                  <a:moveTo>
                    <a:pt x="542" y="872"/>
                  </a:moveTo>
                  <a:lnTo>
                    <a:pt x="542" y="707"/>
                  </a:lnTo>
                  <a:lnTo>
                    <a:pt x="541" y="704"/>
                  </a:lnTo>
                  <a:lnTo>
                    <a:pt x="540" y="702"/>
                  </a:lnTo>
                  <a:lnTo>
                    <a:pt x="539" y="698"/>
                  </a:lnTo>
                  <a:lnTo>
                    <a:pt x="537" y="696"/>
                  </a:lnTo>
                  <a:lnTo>
                    <a:pt x="535" y="695"/>
                  </a:lnTo>
                  <a:lnTo>
                    <a:pt x="533" y="693"/>
                  </a:lnTo>
                  <a:lnTo>
                    <a:pt x="529" y="692"/>
                  </a:lnTo>
                  <a:lnTo>
                    <a:pt x="526" y="692"/>
                  </a:lnTo>
                  <a:lnTo>
                    <a:pt x="376" y="692"/>
                  </a:lnTo>
                  <a:lnTo>
                    <a:pt x="373" y="692"/>
                  </a:lnTo>
                  <a:lnTo>
                    <a:pt x="371" y="693"/>
                  </a:lnTo>
                  <a:lnTo>
                    <a:pt x="367" y="694"/>
                  </a:lnTo>
                  <a:lnTo>
                    <a:pt x="365" y="696"/>
                  </a:lnTo>
                  <a:lnTo>
                    <a:pt x="364" y="698"/>
                  </a:lnTo>
                  <a:lnTo>
                    <a:pt x="362" y="702"/>
                  </a:lnTo>
                  <a:lnTo>
                    <a:pt x="361" y="704"/>
                  </a:lnTo>
                  <a:lnTo>
                    <a:pt x="361" y="707"/>
                  </a:lnTo>
                  <a:lnTo>
                    <a:pt x="361" y="872"/>
                  </a:lnTo>
                  <a:lnTo>
                    <a:pt x="181" y="872"/>
                  </a:lnTo>
                  <a:lnTo>
                    <a:pt x="181" y="210"/>
                  </a:lnTo>
                  <a:lnTo>
                    <a:pt x="722" y="210"/>
                  </a:lnTo>
                  <a:lnTo>
                    <a:pt x="722" y="872"/>
                  </a:lnTo>
                  <a:lnTo>
                    <a:pt x="542" y="872"/>
                  </a:lnTo>
                  <a:close/>
                  <a:moveTo>
                    <a:pt x="391" y="872"/>
                  </a:moveTo>
                  <a:lnTo>
                    <a:pt x="391" y="722"/>
                  </a:lnTo>
                  <a:lnTo>
                    <a:pt x="511" y="722"/>
                  </a:lnTo>
                  <a:lnTo>
                    <a:pt x="511" y="872"/>
                  </a:lnTo>
                  <a:lnTo>
                    <a:pt x="391" y="872"/>
                  </a:lnTo>
                  <a:close/>
                  <a:moveTo>
                    <a:pt x="121" y="160"/>
                  </a:moveTo>
                  <a:lnTo>
                    <a:pt x="451" y="31"/>
                  </a:lnTo>
                  <a:lnTo>
                    <a:pt x="783" y="160"/>
                  </a:lnTo>
                  <a:lnTo>
                    <a:pt x="783" y="180"/>
                  </a:lnTo>
                  <a:lnTo>
                    <a:pt x="737" y="180"/>
                  </a:lnTo>
                  <a:lnTo>
                    <a:pt x="166" y="180"/>
                  </a:lnTo>
                  <a:lnTo>
                    <a:pt x="121" y="180"/>
                  </a:lnTo>
                  <a:lnTo>
                    <a:pt x="121" y="160"/>
                  </a:lnTo>
                  <a:close/>
                  <a:moveTo>
                    <a:pt x="888" y="872"/>
                  </a:moveTo>
                  <a:lnTo>
                    <a:pt x="753" y="872"/>
                  </a:lnTo>
                  <a:lnTo>
                    <a:pt x="753" y="210"/>
                  </a:lnTo>
                  <a:lnTo>
                    <a:pt x="798" y="210"/>
                  </a:lnTo>
                  <a:lnTo>
                    <a:pt x="801" y="210"/>
                  </a:lnTo>
                  <a:lnTo>
                    <a:pt x="804" y="209"/>
                  </a:lnTo>
                  <a:lnTo>
                    <a:pt x="806" y="208"/>
                  </a:lnTo>
                  <a:lnTo>
                    <a:pt x="808" y="206"/>
                  </a:lnTo>
                  <a:lnTo>
                    <a:pt x="810" y="204"/>
                  </a:lnTo>
                  <a:lnTo>
                    <a:pt x="811" y="201"/>
                  </a:lnTo>
                  <a:lnTo>
                    <a:pt x="813" y="198"/>
                  </a:lnTo>
                  <a:lnTo>
                    <a:pt x="813" y="195"/>
                  </a:lnTo>
                  <a:lnTo>
                    <a:pt x="813" y="150"/>
                  </a:lnTo>
                  <a:lnTo>
                    <a:pt x="813" y="146"/>
                  </a:lnTo>
                  <a:lnTo>
                    <a:pt x="810" y="142"/>
                  </a:lnTo>
                  <a:lnTo>
                    <a:pt x="807" y="138"/>
                  </a:lnTo>
                  <a:lnTo>
                    <a:pt x="803" y="136"/>
                  </a:lnTo>
                  <a:lnTo>
                    <a:pt x="456" y="0"/>
                  </a:lnTo>
                  <a:lnTo>
                    <a:pt x="451" y="0"/>
                  </a:lnTo>
                  <a:lnTo>
                    <a:pt x="446" y="0"/>
                  </a:lnTo>
                  <a:lnTo>
                    <a:pt x="99" y="136"/>
                  </a:lnTo>
                  <a:lnTo>
                    <a:pt x="96" y="138"/>
                  </a:lnTo>
                  <a:lnTo>
                    <a:pt x="93" y="142"/>
                  </a:lnTo>
                  <a:lnTo>
                    <a:pt x="91" y="146"/>
                  </a:lnTo>
                  <a:lnTo>
                    <a:pt x="90" y="150"/>
                  </a:lnTo>
                  <a:lnTo>
                    <a:pt x="90" y="195"/>
                  </a:lnTo>
                  <a:lnTo>
                    <a:pt x="91" y="198"/>
                  </a:lnTo>
                  <a:lnTo>
                    <a:pt x="92" y="201"/>
                  </a:lnTo>
                  <a:lnTo>
                    <a:pt x="93" y="204"/>
                  </a:lnTo>
                  <a:lnTo>
                    <a:pt x="95" y="206"/>
                  </a:lnTo>
                  <a:lnTo>
                    <a:pt x="97" y="208"/>
                  </a:lnTo>
                  <a:lnTo>
                    <a:pt x="99" y="209"/>
                  </a:lnTo>
                  <a:lnTo>
                    <a:pt x="103" y="210"/>
                  </a:lnTo>
                  <a:lnTo>
                    <a:pt x="106" y="210"/>
                  </a:lnTo>
                  <a:lnTo>
                    <a:pt x="151" y="210"/>
                  </a:lnTo>
                  <a:lnTo>
                    <a:pt x="151" y="872"/>
                  </a:lnTo>
                  <a:lnTo>
                    <a:pt x="15" y="872"/>
                  </a:lnTo>
                  <a:lnTo>
                    <a:pt x="11" y="873"/>
                  </a:lnTo>
                  <a:lnTo>
                    <a:pt x="9" y="874"/>
                  </a:lnTo>
                  <a:lnTo>
                    <a:pt x="6" y="876"/>
                  </a:lnTo>
                  <a:lnTo>
                    <a:pt x="4" y="878"/>
                  </a:lnTo>
                  <a:lnTo>
                    <a:pt x="3" y="880"/>
                  </a:lnTo>
                  <a:lnTo>
                    <a:pt x="1" y="882"/>
                  </a:lnTo>
                  <a:lnTo>
                    <a:pt x="1" y="885"/>
                  </a:lnTo>
                  <a:lnTo>
                    <a:pt x="0" y="888"/>
                  </a:lnTo>
                  <a:lnTo>
                    <a:pt x="1" y="891"/>
                  </a:lnTo>
                  <a:lnTo>
                    <a:pt x="1" y="894"/>
                  </a:lnTo>
                  <a:lnTo>
                    <a:pt x="3" y="896"/>
                  </a:lnTo>
                  <a:lnTo>
                    <a:pt x="4" y="898"/>
                  </a:lnTo>
                  <a:lnTo>
                    <a:pt x="6" y="900"/>
                  </a:lnTo>
                  <a:lnTo>
                    <a:pt x="9" y="901"/>
                  </a:lnTo>
                  <a:lnTo>
                    <a:pt x="11" y="902"/>
                  </a:lnTo>
                  <a:lnTo>
                    <a:pt x="15" y="903"/>
                  </a:lnTo>
                  <a:lnTo>
                    <a:pt x="166" y="902"/>
                  </a:lnTo>
                  <a:lnTo>
                    <a:pt x="376" y="902"/>
                  </a:lnTo>
                  <a:lnTo>
                    <a:pt x="527" y="902"/>
                  </a:lnTo>
                  <a:lnTo>
                    <a:pt x="737" y="902"/>
                  </a:lnTo>
                  <a:lnTo>
                    <a:pt x="888" y="902"/>
                  </a:lnTo>
                  <a:lnTo>
                    <a:pt x="891" y="902"/>
                  </a:lnTo>
                  <a:lnTo>
                    <a:pt x="894" y="901"/>
                  </a:lnTo>
                  <a:lnTo>
                    <a:pt x="896" y="900"/>
                  </a:lnTo>
                  <a:lnTo>
                    <a:pt x="898" y="898"/>
                  </a:lnTo>
                  <a:lnTo>
                    <a:pt x="901" y="896"/>
                  </a:lnTo>
                  <a:lnTo>
                    <a:pt x="902" y="894"/>
                  </a:lnTo>
                  <a:lnTo>
                    <a:pt x="903" y="891"/>
                  </a:lnTo>
                  <a:lnTo>
                    <a:pt x="903" y="888"/>
                  </a:lnTo>
                  <a:lnTo>
                    <a:pt x="903" y="885"/>
                  </a:lnTo>
                  <a:lnTo>
                    <a:pt x="902" y="882"/>
                  </a:lnTo>
                  <a:lnTo>
                    <a:pt x="901" y="880"/>
                  </a:lnTo>
                  <a:lnTo>
                    <a:pt x="898" y="878"/>
                  </a:lnTo>
                  <a:lnTo>
                    <a:pt x="896" y="876"/>
                  </a:lnTo>
                  <a:lnTo>
                    <a:pt x="894" y="874"/>
                  </a:lnTo>
                  <a:lnTo>
                    <a:pt x="891" y="873"/>
                  </a:lnTo>
                  <a:lnTo>
                    <a:pt x="888" y="873"/>
                  </a:lnTo>
                  <a:lnTo>
                    <a:pt x="888" y="8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299">
              <a:extLst>
                <a:ext uri="{FF2B5EF4-FFF2-40B4-BE49-F238E27FC236}">
                  <a16:creationId xmlns:a16="http://schemas.microsoft.com/office/drawing/2014/main" id="{AA47FCD2-C561-43BD-A784-B956F571071C}"/>
                </a:ext>
              </a:extLst>
            </p:cNvPr>
            <p:cNvSpPr>
              <a:spLocks noEditPoints="1"/>
            </p:cNvSpPr>
            <p:nvPr/>
          </p:nvSpPr>
          <p:spPr bwMode="auto">
            <a:xfrm>
              <a:off x="10006013" y="1516063"/>
              <a:ext cx="57150" cy="38100"/>
            </a:xfrm>
            <a:custGeom>
              <a:avLst/>
              <a:gdLst>
                <a:gd name="T0" fmla="*/ 150 w 181"/>
                <a:gd name="T1" fmla="*/ 90 h 120"/>
                <a:gd name="T2" fmla="*/ 30 w 181"/>
                <a:gd name="T3" fmla="*/ 90 h 120"/>
                <a:gd name="T4" fmla="*/ 30 w 181"/>
                <a:gd name="T5" fmla="*/ 30 h 120"/>
                <a:gd name="T6" fmla="*/ 150 w 181"/>
                <a:gd name="T7" fmla="*/ 30 h 120"/>
                <a:gd name="T8" fmla="*/ 150 w 181"/>
                <a:gd name="T9" fmla="*/ 90 h 120"/>
                <a:gd name="T10" fmla="*/ 166 w 181"/>
                <a:gd name="T11" fmla="*/ 0 h 120"/>
                <a:gd name="T12" fmla="*/ 15 w 181"/>
                <a:gd name="T13" fmla="*/ 0 h 120"/>
                <a:gd name="T14" fmla="*/ 12 w 181"/>
                <a:gd name="T15" fmla="*/ 0 h 120"/>
                <a:gd name="T16" fmla="*/ 10 w 181"/>
                <a:gd name="T17" fmla="*/ 1 h 120"/>
                <a:gd name="T18" fmla="*/ 6 w 181"/>
                <a:gd name="T19" fmla="*/ 2 h 120"/>
                <a:gd name="T20" fmla="*/ 4 w 181"/>
                <a:gd name="T21" fmla="*/ 4 h 120"/>
                <a:gd name="T22" fmla="*/ 3 w 181"/>
                <a:gd name="T23" fmla="*/ 6 h 120"/>
                <a:gd name="T24" fmla="*/ 1 w 181"/>
                <a:gd name="T25" fmla="*/ 8 h 120"/>
                <a:gd name="T26" fmla="*/ 0 w 181"/>
                <a:gd name="T27" fmla="*/ 12 h 120"/>
                <a:gd name="T28" fmla="*/ 0 w 181"/>
                <a:gd name="T29" fmla="*/ 15 h 120"/>
                <a:gd name="T30" fmla="*/ 0 w 181"/>
                <a:gd name="T31" fmla="*/ 105 h 120"/>
                <a:gd name="T32" fmla="*/ 0 w 181"/>
                <a:gd name="T33" fmla="*/ 108 h 120"/>
                <a:gd name="T34" fmla="*/ 1 w 181"/>
                <a:gd name="T35" fmla="*/ 110 h 120"/>
                <a:gd name="T36" fmla="*/ 3 w 181"/>
                <a:gd name="T37" fmla="*/ 114 h 120"/>
                <a:gd name="T38" fmla="*/ 4 w 181"/>
                <a:gd name="T39" fmla="*/ 116 h 120"/>
                <a:gd name="T40" fmla="*/ 6 w 181"/>
                <a:gd name="T41" fmla="*/ 118 h 120"/>
                <a:gd name="T42" fmla="*/ 10 w 181"/>
                <a:gd name="T43" fmla="*/ 119 h 120"/>
                <a:gd name="T44" fmla="*/ 12 w 181"/>
                <a:gd name="T45" fmla="*/ 120 h 120"/>
                <a:gd name="T46" fmla="*/ 15 w 181"/>
                <a:gd name="T47" fmla="*/ 120 h 120"/>
                <a:gd name="T48" fmla="*/ 166 w 181"/>
                <a:gd name="T49" fmla="*/ 120 h 120"/>
                <a:gd name="T50" fmla="*/ 168 w 181"/>
                <a:gd name="T51" fmla="*/ 120 h 120"/>
                <a:gd name="T52" fmla="*/ 172 w 181"/>
                <a:gd name="T53" fmla="*/ 119 h 120"/>
                <a:gd name="T54" fmla="*/ 174 w 181"/>
                <a:gd name="T55" fmla="*/ 118 h 120"/>
                <a:gd name="T56" fmla="*/ 176 w 181"/>
                <a:gd name="T57" fmla="*/ 116 h 120"/>
                <a:gd name="T58" fmla="*/ 178 w 181"/>
                <a:gd name="T59" fmla="*/ 114 h 120"/>
                <a:gd name="T60" fmla="*/ 179 w 181"/>
                <a:gd name="T61" fmla="*/ 110 h 120"/>
                <a:gd name="T62" fmla="*/ 180 w 181"/>
                <a:gd name="T63" fmla="*/ 108 h 120"/>
                <a:gd name="T64" fmla="*/ 181 w 181"/>
                <a:gd name="T65" fmla="*/ 105 h 120"/>
                <a:gd name="T66" fmla="*/ 181 w 181"/>
                <a:gd name="T67" fmla="*/ 15 h 120"/>
                <a:gd name="T68" fmla="*/ 180 w 181"/>
                <a:gd name="T69" fmla="*/ 12 h 120"/>
                <a:gd name="T70" fmla="*/ 179 w 181"/>
                <a:gd name="T71" fmla="*/ 8 h 120"/>
                <a:gd name="T72" fmla="*/ 178 w 181"/>
                <a:gd name="T73" fmla="*/ 6 h 120"/>
                <a:gd name="T74" fmla="*/ 176 w 181"/>
                <a:gd name="T75" fmla="*/ 4 h 120"/>
                <a:gd name="T76" fmla="*/ 174 w 181"/>
                <a:gd name="T77" fmla="*/ 2 h 120"/>
                <a:gd name="T78" fmla="*/ 172 w 181"/>
                <a:gd name="T79" fmla="*/ 1 h 120"/>
                <a:gd name="T80" fmla="*/ 168 w 181"/>
                <a:gd name="T81" fmla="*/ 0 h 120"/>
                <a:gd name="T82" fmla="*/ 166 w 181"/>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0">
                  <a:moveTo>
                    <a:pt x="150" y="90"/>
                  </a:moveTo>
                  <a:lnTo>
                    <a:pt x="30" y="90"/>
                  </a:lnTo>
                  <a:lnTo>
                    <a:pt x="30" y="30"/>
                  </a:lnTo>
                  <a:lnTo>
                    <a:pt x="150" y="30"/>
                  </a:lnTo>
                  <a:lnTo>
                    <a:pt x="150" y="90"/>
                  </a:lnTo>
                  <a:close/>
                  <a:moveTo>
                    <a:pt x="166" y="0"/>
                  </a:moveTo>
                  <a:lnTo>
                    <a:pt x="15" y="0"/>
                  </a:lnTo>
                  <a:lnTo>
                    <a:pt x="12" y="0"/>
                  </a:lnTo>
                  <a:lnTo>
                    <a:pt x="10" y="1"/>
                  </a:lnTo>
                  <a:lnTo>
                    <a:pt x="6" y="2"/>
                  </a:lnTo>
                  <a:lnTo>
                    <a:pt x="4" y="4"/>
                  </a:lnTo>
                  <a:lnTo>
                    <a:pt x="3" y="6"/>
                  </a:lnTo>
                  <a:lnTo>
                    <a:pt x="1" y="8"/>
                  </a:lnTo>
                  <a:lnTo>
                    <a:pt x="0" y="12"/>
                  </a:lnTo>
                  <a:lnTo>
                    <a:pt x="0" y="15"/>
                  </a:lnTo>
                  <a:lnTo>
                    <a:pt x="0" y="105"/>
                  </a:lnTo>
                  <a:lnTo>
                    <a:pt x="0" y="108"/>
                  </a:lnTo>
                  <a:lnTo>
                    <a:pt x="1" y="110"/>
                  </a:lnTo>
                  <a:lnTo>
                    <a:pt x="3" y="114"/>
                  </a:lnTo>
                  <a:lnTo>
                    <a:pt x="4" y="116"/>
                  </a:lnTo>
                  <a:lnTo>
                    <a:pt x="6" y="118"/>
                  </a:lnTo>
                  <a:lnTo>
                    <a:pt x="10" y="119"/>
                  </a:lnTo>
                  <a:lnTo>
                    <a:pt x="12" y="120"/>
                  </a:lnTo>
                  <a:lnTo>
                    <a:pt x="15" y="120"/>
                  </a:lnTo>
                  <a:lnTo>
                    <a:pt x="166" y="120"/>
                  </a:lnTo>
                  <a:lnTo>
                    <a:pt x="168" y="120"/>
                  </a:lnTo>
                  <a:lnTo>
                    <a:pt x="172" y="119"/>
                  </a:lnTo>
                  <a:lnTo>
                    <a:pt x="174" y="118"/>
                  </a:lnTo>
                  <a:lnTo>
                    <a:pt x="176" y="116"/>
                  </a:lnTo>
                  <a:lnTo>
                    <a:pt x="178" y="114"/>
                  </a:lnTo>
                  <a:lnTo>
                    <a:pt x="179" y="110"/>
                  </a:lnTo>
                  <a:lnTo>
                    <a:pt x="180" y="108"/>
                  </a:lnTo>
                  <a:lnTo>
                    <a:pt x="181" y="105"/>
                  </a:lnTo>
                  <a:lnTo>
                    <a:pt x="181" y="15"/>
                  </a:lnTo>
                  <a:lnTo>
                    <a:pt x="180" y="12"/>
                  </a:lnTo>
                  <a:lnTo>
                    <a:pt x="179" y="8"/>
                  </a:lnTo>
                  <a:lnTo>
                    <a:pt x="178" y="6"/>
                  </a:lnTo>
                  <a:lnTo>
                    <a:pt x="176" y="4"/>
                  </a:lnTo>
                  <a:lnTo>
                    <a:pt x="174" y="2"/>
                  </a:lnTo>
                  <a:lnTo>
                    <a:pt x="172" y="1"/>
                  </a:lnTo>
                  <a:lnTo>
                    <a:pt x="168"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300">
              <a:extLst>
                <a:ext uri="{FF2B5EF4-FFF2-40B4-BE49-F238E27FC236}">
                  <a16:creationId xmlns:a16="http://schemas.microsoft.com/office/drawing/2014/main" id="{EBACDD8B-C3BE-41E2-A763-5E610F05B652}"/>
                </a:ext>
              </a:extLst>
            </p:cNvPr>
            <p:cNvSpPr>
              <a:spLocks noEditPoints="1"/>
            </p:cNvSpPr>
            <p:nvPr/>
          </p:nvSpPr>
          <p:spPr bwMode="auto">
            <a:xfrm>
              <a:off x="10006013" y="1468438"/>
              <a:ext cx="57150" cy="38100"/>
            </a:xfrm>
            <a:custGeom>
              <a:avLst/>
              <a:gdLst>
                <a:gd name="T0" fmla="*/ 150 w 181"/>
                <a:gd name="T1" fmla="*/ 91 h 121"/>
                <a:gd name="T2" fmla="*/ 30 w 181"/>
                <a:gd name="T3" fmla="*/ 91 h 121"/>
                <a:gd name="T4" fmla="*/ 30 w 181"/>
                <a:gd name="T5" fmla="*/ 30 h 121"/>
                <a:gd name="T6" fmla="*/ 150 w 181"/>
                <a:gd name="T7" fmla="*/ 30 h 121"/>
                <a:gd name="T8" fmla="*/ 150 w 181"/>
                <a:gd name="T9" fmla="*/ 91 h 121"/>
                <a:gd name="T10" fmla="*/ 166 w 181"/>
                <a:gd name="T11" fmla="*/ 0 h 121"/>
                <a:gd name="T12" fmla="*/ 15 w 181"/>
                <a:gd name="T13" fmla="*/ 0 h 121"/>
                <a:gd name="T14" fmla="*/ 12 w 181"/>
                <a:gd name="T15" fmla="*/ 1 h 121"/>
                <a:gd name="T16" fmla="*/ 10 w 181"/>
                <a:gd name="T17" fmla="*/ 2 h 121"/>
                <a:gd name="T18" fmla="*/ 6 w 181"/>
                <a:gd name="T19" fmla="*/ 3 h 121"/>
                <a:gd name="T20" fmla="*/ 4 w 181"/>
                <a:gd name="T21" fmla="*/ 5 h 121"/>
                <a:gd name="T22" fmla="*/ 3 w 181"/>
                <a:gd name="T23" fmla="*/ 7 h 121"/>
                <a:gd name="T24" fmla="*/ 1 w 181"/>
                <a:gd name="T25" fmla="*/ 9 h 121"/>
                <a:gd name="T26" fmla="*/ 0 w 181"/>
                <a:gd name="T27" fmla="*/ 12 h 121"/>
                <a:gd name="T28" fmla="*/ 0 w 181"/>
                <a:gd name="T29" fmla="*/ 15 h 121"/>
                <a:gd name="T30" fmla="*/ 0 w 181"/>
                <a:gd name="T31" fmla="*/ 106 h 121"/>
                <a:gd name="T32" fmla="*/ 0 w 181"/>
                <a:gd name="T33" fmla="*/ 108 h 121"/>
                <a:gd name="T34" fmla="*/ 1 w 181"/>
                <a:gd name="T35" fmla="*/ 111 h 121"/>
                <a:gd name="T36" fmla="*/ 3 w 181"/>
                <a:gd name="T37" fmla="*/ 113 h 121"/>
                <a:gd name="T38" fmla="*/ 4 w 181"/>
                <a:gd name="T39" fmla="*/ 116 h 121"/>
                <a:gd name="T40" fmla="*/ 6 w 181"/>
                <a:gd name="T41" fmla="*/ 118 h 121"/>
                <a:gd name="T42" fmla="*/ 10 w 181"/>
                <a:gd name="T43" fmla="*/ 120 h 121"/>
                <a:gd name="T44" fmla="*/ 12 w 181"/>
                <a:gd name="T45" fmla="*/ 120 h 121"/>
                <a:gd name="T46" fmla="*/ 15 w 181"/>
                <a:gd name="T47" fmla="*/ 121 h 121"/>
                <a:gd name="T48" fmla="*/ 166 w 181"/>
                <a:gd name="T49" fmla="*/ 121 h 121"/>
                <a:gd name="T50" fmla="*/ 168 w 181"/>
                <a:gd name="T51" fmla="*/ 120 h 121"/>
                <a:gd name="T52" fmla="*/ 172 w 181"/>
                <a:gd name="T53" fmla="*/ 120 h 121"/>
                <a:gd name="T54" fmla="*/ 174 w 181"/>
                <a:gd name="T55" fmla="*/ 118 h 121"/>
                <a:gd name="T56" fmla="*/ 176 w 181"/>
                <a:gd name="T57" fmla="*/ 116 h 121"/>
                <a:gd name="T58" fmla="*/ 178 w 181"/>
                <a:gd name="T59" fmla="*/ 113 h 121"/>
                <a:gd name="T60" fmla="*/ 179 w 181"/>
                <a:gd name="T61" fmla="*/ 111 h 121"/>
                <a:gd name="T62" fmla="*/ 180 w 181"/>
                <a:gd name="T63" fmla="*/ 108 h 121"/>
                <a:gd name="T64" fmla="*/ 181 w 181"/>
                <a:gd name="T65" fmla="*/ 106 h 121"/>
                <a:gd name="T66" fmla="*/ 181 w 181"/>
                <a:gd name="T67" fmla="*/ 15 h 121"/>
                <a:gd name="T68" fmla="*/ 180 w 181"/>
                <a:gd name="T69" fmla="*/ 12 h 121"/>
                <a:gd name="T70" fmla="*/ 179 w 181"/>
                <a:gd name="T71" fmla="*/ 9 h 121"/>
                <a:gd name="T72" fmla="*/ 178 w 181"/>
                <a:gd name="T73" fmla="*/ 7 h 121"/>
                <a:gd name="T74" fmla="*/ 176 w 181"/>
                <a:gd name="T75" fmla="*/ 5 h 121"/>
                <a:gd name="T76" fmla="*/ 174 w 181"/>
                <a:gd name="T77" fmla="*/ 3 h 121"/>
                <a:gd name="T78" fmla="*/ 172 w 181"/>
                <a:gd name="T79" fmla="*/ 2 h 121"/>
                <a:gd name="T80" fmla="*/ 168 w 181"/>
                <a:gd name="T81" fmla="*/ 1 h 121"/>
                <a:gd name="T82" fmla="*/ 166 w 181"/>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1">
                  <a:moveTo>
                    <a:pt x="150" y="91"/>
                  </a:moveTo>
                  <a:lnTo>
                    <a:pt x="30" y="91"/>
                  </a:lnTo>
                  <a:lnTo>
                    <a:pt x="30" y="30"/>
                  </a:lnTo>
                  <a:lnTo>
                    <a:pt x="150" y="30"/>
                  </a:lnTo>
                  <a:lnTo>
                    <a:pt x="150" y="91"/>
                  </a:lnTo>
                  <a:close/>
                  <a:moveTo>
                    <a:pt x="166" y="0"/>
                  </a:moveTo>
                  <a:lnTo>
                    <a:pt x="15" y="0"/>
                  </a:lnTo>
                  <a:lnTo>
                    <a:pt x="12" y="1"/>
                  </a:lnTo>
                  <a:lnTo>
                    <a:pt x="10" y="2"/>
                  </a:lnTo>
                  <a:lnTo>
                    <a:pt x="6" y="3"/>
                  </a:lnTo>
                  <a:lnTo>
                    <a:pt x="4" y="5"/>
                  </a:lnTo>
                  <a:lnTo>
                    <a:pt x="3" y="7"/>
                  </a:lnTo>
                  <a:lnTo>
                    <a:pt x="1" y="9"/>
                  </a:lnTo>
                  <a:lnTo>
                    <a:pt x="0" y="12"/>
                  </a:lnTo>
                  <a:lnTo>
                    <a:pt x="0" y="15"/>
                  </a:lnTo>
                  <a:lnTo>
                    <a:pt x="0" y="106"/>
                  </a:lnTo>
                  <a:lnTo>
                    <a:pt x="0" y="108"/>
                  </a:lnTo>
                  <a:lnTo>
                    <a:pt x="1" y="111"/>
                  </a:lnTo>
                  <a:lnTo>
                    <a:pt x="3" y="113"/>
                  </a:lnTo>
                  <a:lnTo>
                    <a:pt x="4" y="116"/>
                  </a:lnTo>
                  <a:lnTo>
                    <a:pt x="6" y="118"/>
                  </a:lnTo>
                  <a:lnTo>
                    <a:pt x="10" y="120"/>
                  </a:lnTo>
                  <a:lnTo>
                    <a:pt x="12" y="120"/>
                  </a:lnTo>
                  <a:lnTo>
                    <a:pt x="15" y="121"/>
                  </a:lnTo>
                  <a:lnTo>
                    <a:pt x="166" y="121"/>
                  </a:lnTo>
                  <a:lnTo>
                    <a:pt x="168" y="120"/>
                  </a:lnTo>
                  <a:lnTo>
                    <a:pt x="172" y="120"/>
                  </a:lnTo>
                  <a:lnTo>
                    <a:pt x="174" y="118"/>
                  </a:lnTo>
                  <a:lnTo>
                    <a:pt x="176" y="116"/>
                  </a:lnTo>
                  <a:lnTo>
                    <a:pt x="178" y="113"/>
                  </a:lnTo>
                  <a:lnTo>
                    <a:pt x="179" y="111"/>
                  </a:lnTo>
                  <a:lnTo>
                    <a:pt x="180" y="108"/>
                  </a:lnTo>
                  <a:lnTo>
                    <a:pt x="181" y="106"/>
                  </a:lnTo>
                  <a:lnTo>
                    <a:pt x="181" y="15"/>
                  </a:lnTo>
                  <a:lnTo>
                    <a:pt x="180" y="12"/>
                  </a:lnTo>
                  <a:lnTo>
                    <a:pt x="179" y="9"/>
                  </a:lnTo>
                  <a:lnTo>
                    <a:pt x="178" y="7"/>
                  </a:lnTo>
                  <a:lnTo>
                    <a:pt x="176" y="5"/>
                  </a:lnTo>
                  <a:lnTo>
                    <a:pt x="174" y="3"/>
                  </a:lnTo>
                  <a:lnTo>
                    <a:pt x="172" y="2"/>
                  </a:lnTo>
                  <a:lnTo>
                    <a:pt x="168" y="1"/>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301">
              <a:extLst>
                <a:ext uri="{FF2B5EF4-FFF2-40B4-BE49-F238E27FC236}">
                  <a16:creationId xmlns:a16="http://schemas.microsoft.com/office/drawing/2014/main" id="{C77D330E-1459-4247-BAFF-2BC7D35DA0B2}"/>
                </a:ext>
              </a:extLst>
            </p:cNvPr>
            <p:cNvSpPr>
              <a:spLocks noEditPoints="1"/>
            </p:cNvSpPr>
            <p:nvPr/>
          </p:nvSpPr>
          <p:spPr bwMode="auto">
            <a:xfrm>
              <a:off x="10006013" y="1420813"/>
              <a:ext cx="57150" cy="38100"/>
            </a:xfrm>
            <a:custGeom>
              <a:avLst/>
              <a:gdLst>
                <a:gd name="T0" fmla="*/ 150 w 181"/>
                <a:gd name="T1" fmla="*/ 90 h 120"/>
                <a:gd name="T2" fmla="*/ 30 w 181"/>
                <a:gd name="T3" fmla="*/ 90 h 120"/>
                <a:gd name="T4" fmla="*/ 30 w 181"/>
                <a:gd name="T5" fmla="*/ 30 h 120"/>
                <a:gd name="T6" fmla="*/ 150 w 181"/>
                <a:gd name="T7" fmla="*/ 30 h 120"/>
                <a:gd name="T8" fmla="*/ 150 w 181"/>
                <a:gd name="T9" fmla="*/ 90 h 120"/>
                <a:gd name="T10" fmla="*/ 166 w 181"/>
                <a:gd name="T11" fmla="*/ 0 h 120"/>
                <a:gd name="T12" fmla="*/ 15 w 181"/>
                <a:gd name="T13" fmla="*/ 0 h 120"/>
                <a:gd name="T14" fmla="*/ 12 w 181"/>
                <a:gd name="T15" fmla="*/ 0 h 120"/>
                <a:gd name="T16" fmla="*/ 10 w 181"/>
                <a:gd name="T17" fmla="*/ 1 h 120"/>
                <a:gd name="T18" fmla="*/ 6 w 181"/>
                <a:gd name="T19" fmla="*/ 2 h 120"/>
                <a:gd name="T20" fmla="*/ 4 w 181"/>
                <a:gd name="T21" fmla="*/ 5 h 120"/>
                <a:gd name="T22" fmla="*/ 3 w 181"/>
                <a:gd name="T23" fmla="*/ 7 h 120"/>
                <a:gd name="T24" fmla="*/ 1 w 181"/>
                <a:gd name="T25" fmla="*/ 10 h 120"/>
                <a:gd name="T26" fmla="*/ 0 w 181"/>
                <a:gd name="T27" fmla="*/ 12 h 120"/>
                <a:gd name="T28" fmla="*/ 0 w 181"/>
                <a:gd name="T29" fmla="*/ 15 h 120"/>
                <a:gd name="T30" fmla="*/ 0 w 181"/>
                <a:gd name="T31" fmla="*/ 105 h 120"/>
                <a:gd name="T32" fmla="*/ 0 w 181"/>
                <a:gd name="T33" fmla="*/ 109 h 120"/>
                <a:gd name="T34" fmla="*/ 1 w 181"/>
                <a:gd name="T35" fmla="*/ 112 h 120"/>
                <a:gd name="T36" fmla="*/ 3 w 181"/>
                <a:gd name="T37" fmla="*/ 114 h 120"/>
                <a:gd name="T38" fmla="*/ 4 w 181"/>
                <a:gd name="T39" fmla="*/ 116 h 120"/>
                <a:gd name="T40" fmla="*/ 6 w 181"/>
                <a:gd name="T41" fmla="*/ 118 h 120"/>
                <a:gd name="T42" fmla="*/ 10 w 181"/>
                <a:gd name="T43" fmla="*/ 119 h 120"/>
                <a:gd name="T44" fmla="*/ 12 w 181"/>
                <a:gd name="T45" fmla="*/ 120 h 120"/>
                <a:gd name="T46" fmla="*/ 15 w 181"/>
                <a:gd name="T47" fmla="*/ 120 h 120"/>
                <a:gd name="T48" fmla="*/ 166 w 181"/>
                <a:gd name="T49" fmla="*/ 120 h 120"/>
                <a:gd name="T50" fmla="*/ 168 w 181"/>
                <a:gd name="T51" fmla="*/ 120 h 120"/>
                <a:gd name="T52" fmla="*/ 172 w 181"/>
                <a:gd name="T53" fmla="*/ 119 h 120"/>
                <a:gd name="T54" fmla="*/ 174 w 181"/>
                <a:gd name="T55" fmla="*/ 118 h 120"/>
                <a:gd name="T56" fmla="*/ 176 w 181"/>
                <a:gd name="T57" fmla="*/ 116 h 120"/>
                <a:gd name="T58" fmla="*/ 178 w 181"/>
                <a:gd name="T59" fmla="*/ 114 h 120"/>
                <a:gd name="T60" fmla="*/ 179 w 181"/>
                <a:gd name="T61" fmla="*/ 112 h 120"/>
                <a:gd name="T62" fmla="*/ 180 w 181"/>
                <a:gd name="T63" fmla="*/ 109 h 120"/>
                <a:gd name="T64" fmla="*/ 181 w 181"/>
                <a:gd name="T65" fmla="*/ 105 h 120"/>
                <a:gd name="T66" fmla="*/ 181 w 181"/>
                <a:gd name="T67" fmla="*/ 15 h 120"/>
                <a:gd name="T68" fmla="*/ 180 w 181"/>
                <a:gd name="T69" fmla="*/ 12 h 120"/>
                <a:gd name="T70" fmla="*/ 179 w 181"/>
                <a:gd name="T71" fmla="*/ 10 h 120"/>
                <a:gd name="T72" fmla="*/ 178 w 181"/>
                <a:gd name="T73" fmla="*/ 7 h 120"/>
                <a:gd name="T74" fmla="*/ 176 w 181"/>
                <a:gd name="T75" fmla="*/ 5 h 120"/>
                <a:gd name="T76" fmla="*/ 174 w 181"/>
                <a:gd name="T77" fmla="*/ 2 h 120"/>
                <a:gd name="T78" fmla="*/ 172 w 181"/>
                <a:gd name="T79" fmla="*/ 1 h 120"/>
                <a:gd name="T80" fmla="*/ 168 w 181"/>
                <a:gd name="T81" fmla="*/ 0 h 120"/>
                <a:gd name="T82" fmla="*/ 166 w 181"/>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1" h="120">
                  <a:moveTo>
                    <a:pt x="150" y="90"/>
                  </a:moveTo>
                  <a:lnTo>
                    <a:pt x="30" y="90"/>
                  </a:lnTo>
                  <a:lnTo>
                    <a:pt x="30" y="30"/>
                  </a:lnTo>
                  <a:lnTo>
                    <a:pt x="150" y="30"/>
                  </a:lnTo>
                  <a:lnTo>
                    <a:pt x="150" y="90"/>
                  </a:lnTo>
                  <a:close/>
                  <a:moveTo>
                    <a:pt x="166" y="0"/>
                  </a:moveTo>
                  <a:lnTo>
                    <a:pt x="15" y="0"/>
                  </a:lnTo>
                  <a:lnTo>
                    <a:pt x="12" y="0"/>
                  </a:lnTo>
                  <a:lnTo>
                    <a:pt x="10" y="1"/>
                  </a:lnTo>
                  <a:lnTo>
                    <a:pt x="6" y="2"/>
                  </a:lnTo>
                  <a:lnTo>
                    <a:pt x="4" y="5"/>
                  </a:lnTo>
                  <a:lnTo>
                    <a:pt x="3" y="7"/>
                  </a:lnTo>
                  <a:lnTo>
                    <a:pt x="1" y="10"/>
                  </a:lnTo>
                  <a:lnTo>
                    <a:pt x="0" y="12"/>
                  </a:lnTo>
                  <a:lnTo>
                    <a:pt x="0" y="15"/>
                  </a:lnTo>
                  <a:lnTo>
                    <a:pt x="0" y="105"/>
                  </a:lnTo>
                  <a:lnTo>
                    <a:pt x="0" y="109"/>
                  </a:lnTo>
                  <a:lnTo>
                    <a:pt x="1" y="112"/>
                  </a:lnTo>
                  <a:lnTo>
                    <a:pt x="3" y="114"/>
                  </a:lnTo>
                  <a:lnTo>
                    <a:pt x="4" y="116"/>
                  </a:lnTo>
                  <a:lnTo>
                    <a:pt x="6" y="118"/>
                  </a:lnTo>
                  <a:lnTo>
                    <a:pt x="10" y="119"/>
                  </a:lnTo>
                  <a:lnTo>
                    <a:pt x="12" y="120"/>
                  </a:lnTo>
                  <a:lnTo>
                    <a:pt x="15" y="120"/>
                  </a:lnTo>
                  <a:lnTo>
                    <a:pt x="166" y="120"/>
                  </a:lnTo>
                  <a:lnTo>
                    <a:pt x="168" y="120"/>
                  </a:lnTo>
                  <a:lnTo>
                    <a:pt x="172" y="119"/>
                  </a:lnTo>
                  <a:lnTo>
                    <a:pt x="174" y="118"/>
                  </a:lnTo>
                  <a:lnTo>
                    <a:pt x="176" y="116"/>
                  </a:lnTo>
                  <a:lnTo>
                    <a:pt x="178" y="114"/>
                  </a:lnTo>
                  <a:lnTo>
                    <a:pt x="179" y="112"/>
                  </a:lnTo>
                  <a:lnTo>
                    <a:pt x="180" y="109"/>
                  </a:lnTo>
                  <a:lnTo>
                    <a:pt x="181" y="105"/>
                  </a:lnTo>
                  <a:lnTo>
                    <a:pt x="181" y="15"/>
                  </a:lnTo>
                  <a:lnTo>
                    <a:pt x="180" y="12"/>
                  </a:lnTo>
                  <a:lnTo>
                    <a:pt x="179" y="10"/>
                  </a:lnTo>
                  <a:lnTo>
                    <a:pt x="178" y="7"/>
                  </a:lnTo>
                  <a:lnTo>
                    <a:pt x="176" y="5"/>
                  </a:lnTo>
                  <a:lnTo>
                    <a:pt x="174" y="2"/>
                  </a:lnTo>
                  <a:lnTo>
                    <a:pt x="172" y="1"/>
                  </a:lnTo>
                  <a:lnTo>
                    <a:pt x="168"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302">
              <a:extLst>
                <a:ext uri="{FF2B5EF4-FFF2-40B4-BE49-F238E27FC236}">
                  <a16:creationId xmlns:a16="http://schemas.microsoft.com/office/drawing/2014/main" id="{AEE0E239-DBBF-4D3A-9E76-2B0C2B74C0F6}"/>
                </a:ext>
              </a:extLst>
            </p:cNvPr>
            <p:cNvSpPr>
              <a:spLocks noEditPoints="1"/>
            </p:cNvSpPr>
            <p:nvPr/>
          </p:nvSpPr>
          <p:spPr bwMode="auto">
            <a:xfrm>
              <a:off x="10072688" y="1563688"/>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4 h 120"/>
                <a:gd name="T22" fmla="*/ 2 w 120"/>
                <a:gd name="T23" fmla="*/ 6 h 120"/>
                <a:gd name="T24" fmla="*/ 1 w 120"/>
                <a:gd name="T25" fmla="*/ 10 h 120"/>
                <a:gd name="T26" fmla="*/ 0 w 120"/>
                <a:gd name="T27" fmla="*/ 12 h 120"/>
                <a:gd name="T28" fmla="*/ 0 w 120"/>
                <a:gd name="T29" fmla="*/ 15 h 120"/>
                <a:gd name="T30" fmla="*/ 0 w 120"/>
                <a:gd name="T31" fmla="*/ 105 h 120"/>
                <a:gd name="T32" fmla="*/ 0 w 120"/>
                <a:gd name="T33" fmla="*/ 108 h 120"/>
                <a:gd name="T34" fmla="*/ 1 w 120"/>
                <a:gd name="T35" fmla="*/ 112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2 h 120"/>
                <a:gd name="T62" fmla="*/ 120 w 120"/>
                <a:gd name="T63" fmla="*/ 108 h 120"/>
                <a:gd name="T64" fmla="*/ 120 w 120"/>
                <a:gd name="T65" fmla="*/ 105 h 120"/>
                <a:gd name="T66" fmla="*/ 120 w 120"/>
                <a:gd name="T67" fmla="*/ 15 h 120"/>
                <a:gd name="T68" fmla="*/ 120 w 120"/>
                <a:gd name="T69" fmla="*/ 12 h 120"/>
                <a:gd name="T70" fmla="*/ 119 w 120"/>
                <a:gd name="T71" fmla="*/ 10 h 120"/>
                <a:gd name="T72" fmla="*/ 117 w 120"/>
                <a:gd name="T73" fmla="*/ 6 h 120"/>
                <a:gd name="T74" fmla="*/ 116 w 120"/>
                <a:gd name="T75" fmla="*/ 4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4"/>
                  </a:lnTo>
                  <a:lnTo>
                    <a:pt x="2" y="6"/>
                  </a:lnTo>
                  <a:lnTo>
                    <a:pt x="1" y="10"/>
                  </a:lnTo>
                  <a:lnTo>
                    <a:pt x="0" y="12"/>
                  </a:lnTo>
                  <a:lnTo>
                    <a:pt x="0" y="15"/>
                  </a:lnTo>
                  <a:lnTo>
                    <a:pt x="0" y="105"/>
                  </a:lnTo>
                  <a:lnTo>
                    <a:pt x="0" y="108"/>
                  </a:lnTo>
                  <a:lnTo>
                    <a:pt x="1" y="112"/>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2"/>
                  </a:lnTo>
                  <a:lnTo>
                    <a:pt x="120" y="108"/>
                  </a:lnTo>
                  <a:lnTo>
                    <a:pt x="120" y="105"/>
                  </a:lnTo>
                  <a:lnTo>
                    <a:pt x="120" y="15"/>
                  </a:lnTo>
                  <a:lnTo>
                    <a:pt x="120" y="12"/>
                  </a:lnTo>
                  <a:lnTo>
                    <a:pt x="119" y="10"/>
                  </a:lnTo>
                  <a:lnTo>
                    <a:pt x="117"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303">
              <a:extLst>
                <a:ext uri="{FF2B5EF4-FFF2-40B4-BE49-F238E27FC236}">
                  <a16:creationId xmlns:a16="http://schemas.microsoft.com/office/drawing/2014/main" id="{A3D2EE1C-C3CB-4120-BDC2-63B8EED25C10}"/>
                </a:ext>
              </a:extLst>
            </p:cNvPr>
            <p:cNvSpPr>
              <a:spLocks noEditPoints="1"/>
            </p:cNvSpPr>
            <p:nvPr/>
          </p:nvSpPr>
          <p:spPr bwMode="auto">
            <a:xfrm>
              <a:off x="9958388" y="1563688"/>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4 h 120"/>
                <a:gd name="T22" fmla="*/ 2 w 120"/>
                <a:gd name="T23" fmla="*/ 6 h 120"/>
                <a:gd name="T24" fmla="*/ 1 w 120"/>
                <a:gd name="T25" fmla="*/ 10 h 120"/>
                <a:gd name="T26" fmla="*/ 0 w 120"/>
                <a:gd name="T27" fmla="*/ 12 h 120"/>
                <a:gd name="T28" fmla="*/ 0 w 120"/>
                <a:gd name="T29" fmla="*/ 15 h 120"/>
                <a:gd name="T30" fmla="*/ 0 w 120"/>
                <a:gd name="T31" fmla="*/ 105 h 120"/>
                <a:gd name="T32" fmla="*/ 0 w 120"/>
                <a:gd name="T33" fmla="*/ 108 h 120"/>
                <a:gd name="T34" fmla="*/ 1 w 120"/>
                <a:gd name="T35" fmla="*/ 112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2 h 120"/>
                <a:gd name="T62" fmla="*/ 120 w 120"/>
                <a:gd name="T63" fmla="*/ 108 h 120"/>
                <a:gd name="T64" fmla="*/ 120 w 120"/>
                <a:gd name="T65" fmla="*/ 105 h 120"/>
                <a:gd name="T66" fmla="*/ 120 w 120"/>
                <a:gd name="T67" fmla="*/ 15 h 120"/>
                <a:gd name="T68" fmla="*/ 120 w 120"/>
                <a:gd name="T69" fmla="*/ 12 h 120"/>
                <a:gd name="T70" fmla="*/ 119 w 120"/>
                <a:gd name="T71" fmla="*/ 10 h 120"/>
                <a:gd name="T72" fmla="*/ 118 w 120"/>
                <a:gd name="T73" fmla="*/ 6 h 120"/>
                <a:gd name="T74" fmla="*/ 116 w 120"/>
                <a:gd name="T75" fmla="*/ 4 h 120"/>
                <a:gd name="T76" fmla="*/ 114 w 120"/>
                <a:gd name="T77" fmla="*/ 3 h 120"/>
                <a:gd name="T78" fmla="*/ 110 w 120"/>
                <a:gd name="T79" fmla="*/ 1 h 120"/>
                <a:gd name="T80" fmla="*/ 108 w 120"/>
                <a:gd name="T81" fmla="*/ 0 h 120"/>
                <a:gd name="T82" fmla="*/ 105 w 120"/>
                <a:gd name="T83" fmla="*/ 0 h 120"/>
                <a:gd name="T84" fmla="*/ 105 w 120"/>
                <a:gd name="T8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4"/>
                  </a:lnTo>
                  <a:lnTo>
                    <a:pt x="2" y="6"/>
                  </a:lnTo>
                  <a:lnTo>
                    <a:pt x="1" y="10"/>
                  </a:lnTo>
                  <a:lnTo>
                    <a:pt x="0" y="12"/>
                  </a:lnTo>
                  <a:lnTo>
                    <a:pt x="0" y="15"/>
                  </a:lnTo>
                  <a:lnTo>
                    <a:pt x="0" y="105"/>
                  </a:lnTo>
                  <a:lnTo>
                    <a:pt x="0" y="108"/>
                  </a:lnTo>
                  <a:lnTo>
                    <a:pt x="1" y="112"/>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2"/>
                  </a:lnTo>
                  <a:lnTo>
                    <a:pt x="120" y="108"/>
                  </a:lnTo>
                  <a:lnTo>
                    <a:pt x="120" y="105"/>
                  </a:lnTo>
                  <a:lnTo>
                    <a:pt x="120" y="15"/>
                  </a:lnTo>
                  <a:lnTo>
                    <a:pt x="120" y="12"/>
                  </a:lnTo>
                  <a:lnTo>
                    <a:pt x="119" y="10"/>
                  </a:lnTo>
                  <a:lnTo>
                    <a:pt x="118" y="6"/>
                  </a:lnTo>
                  <a:lnTo>
                    <a:pt x="116" y="4"/>
                  </a:lnTo>
                  <a:lnTo>
                    <a:pt x="114" y="3"/>
                  </a:lnTo>
                  <a:lnTo>
                    <a:pt x="110" y="1"/>
                  </a:lnTo>
                  <a:lnTo>
                    <a:pt x="108"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304">
              <a:extLst>
                <a:ext uri="{FF2B5EF4-FFF2-40B4-BE49-F238E27FC236}">
                  <a16:creationId xmlns:a16="http://schemas.microsoft.com/office/drawing/2014/main" id="{A253BBC4-1AEA-4ADF-BFF4-E8CFAA191BC5}"/>
                </a:ext>
              </a:extLst>
            </p:cNvPr>
            <p:cNvSpPr>
              <a:spLocks noEditPoints="1"/>
            </p:cNvSpPr>
            <p:nvPr/>
          </p:nvSpPr>
          <p:spPr bwMode="auto">
            <a:xfrm>
              <a:off x="10072688" y="151606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4 h 120"/>
                <a:gd name="T22" fmla="*/ 2 w 120"/>
                <a:gd name="T23" fmla="*/ 6 h 120"/>
                <a:gd name="T24" fmla="*/ 1 w 120"/>
                <a:gd name="T25" fmla="*/ 8 h 120"/>
                <a:gd name="T26" fmla="*/ 0 w 120"/>
                <a:gd name="T27" fmla="*/ 12 h 120"/>
                <a:gd name="T28" fmla="*/ 0 w 120"/>
                <a:gd name="T29" fmla="*/ 15 h 120"/>
                <a:gd name="T30" fmla="*/ 0 w 120"/>
                <a:gd name="T31" fmla="*/ 105 h 120"/>
                <a:gd name="T32" fmla="*/ 0 w 120"/>
                <a:gd name="T33" fmla="*/ 108 h 120"/>
                <a:gd name="T34" fmla="*/ 1 w 120"/>
                <a:gd name="T35" fmla="*/ 110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0 h 120"/>
                <a:gd name="T62" fmla="*/ 120 w 120"/>
                <a:gd name="T63" fmla="*/ 108 h 120"/>
                <a:gd name="T64" fmla="*/ 120 w 120"/>
                <a:gd name="T65" fmla="*/ 105 h 120"/>
                <a:gd name="T66" fmla="*/ 120 w 120"/>
                <a:gd name="T67" fmla="*/ 15 h 120"/>
                <a:gd name="T68" fmla="*/ 120 w 120"/>
                <a:gd name="T69" fmla="*/ 12 h 120"/>
                <a:gd name="T70" fmla="*/ 119 w 120"/>
                <a:gd name="T71" fmla="*/ 8 h 120"/>
                <a:gd name="T72" fmla="*/ 117 w 120"/>
                <a:gd name="T73" fmla="*/ 6 h 120"/>
                <a:gd name="T74" fmla="*/ 116 w 120"/>
                <a:gd name="T75" fmla="*/ 4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4"/>
                  </a:lnTo>
                  <a:lnTo>
                    <a:pt x="2" y="6"/>
                  </a:lnTo>
                  <a:lnTo>
                    <a:pt x="1" y="8"/>
                  </a:lnTo>
                  <a:lnTo>
                    <a:pt x="0" y="12"/>
                  </a:lnTo>
                  <a:lnTo>
                    <a:pt x="0" y="15"/>
                  </a:lnTo>
                  <a:lnTo>
                    <a:pt x="0" y="105"/>
                  </a:lnTo>
                  <a:lnTo>
                    <a:pt x="0" y="108"/>
                  </a:lnTo>
                  <a:lnTo>
                    <a:pt x="1" y="110"/>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0"/>
                  </a:lnTo>
                  <a:lnTo>
                    <a:pt x="120" y="108"/>
                  </a:lnTo>
                  <a:lnTo>
                    <a:pt x="120" y="105"/>
                  </a:lnTo>
                  <a:lnTo>
                    <a:pt x="120" y="15"/>
                  </a:lnTo>
                  <a:lnTo>
                    <a:pt x="120" y="12"/>
                  </a:lnTo>
                  <a:lnTo>
                    <a:pt x="119" y="8"/>
                  </a:lnTo>
                  <a:lnTo>
                    <a:pt x="117"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305">
              <a:extLst>
                <a:ext uri="{FF2B5EF4-FFF2-40B4-BE49-F238E27FC236}">
                  <a16:creationId xmlns:a16="http://schemas.microsoft.com/office/drawing/2014/main" id="{0FF368EF-6502-4F37-A79E-E97999D352B2}"/>
                </a:ext>
              </a:extLst>
            </p:cNvPr>
            <p:cNvSpPr>
              <a:spLocks noEditPoints="1"/>
            </p:cNvSpPr>
            <p:nvPr/>
          </p:nvSpPr>
          <p:spPr bwMode="auto">
            <a:xfrm>
              <a:off x="9958388" y="151606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4 h 120"/>
                <a:gd name="T22" fmla="*/ 2 w 120"/>
                <a:gd name="T23" fmla="*/ 6 h 120"/>
                <a:gd name="T24" fmla="*/ 1 w 120"/>
                <a:gd name="T25" fmla="*/ 8 h 120"/>
                <a:gd name="T26" fmla="*/ 0 w 120"/>
                <a:gd name="T27" fmla="*/ 12 h 120"/>
                <a:gd name="T28" fmla="*/ 0 w 120"/>
                <a:gd name="T29" fmla="*/ 15 h 120"/>
                <a:gd name="T30" fmla="*/ 0 w 120"/>
                <a:gd name="T31" fmla="*/ 105 h 120"/>
                <a:gd name="T32" fmla="*/ 0 w 120"/>
                <a:gd name="T33" fmla="*/ 108 h 120"/>
                <a:gd name="T34" fmla="*/ 1 w 120"/>
                <a:gd name="T35" fmla="*/ 110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0 h 120"/>
                <a:gd name="T62" fmla="*/ 120 w 120"/>
                <a:gd name="T63" fmla="*/ 108 h 120"/>
                <a:gd name="T64" fmla="*/ 120 w 120"/>
                <a:gd name="T65" fmla="*/ 105 h 120"/>
                <a:gd name="T66" fmla="*/ 120 w 120"/>
                <a:gd name="T67" fmla="*/ 15 h 120"/>
                <a:gd name="T68" fmla="*/ 120 w 120"/>
                <a:gd name="T69" fmla="*/ 12 h 120"/>
                <a:gd name="T70" fmla="*/ 119 w 120"/>
                <a:gd name="T71" fmla="*/ 8 h 120"/>
                <a:gd name="T72" fmla="*/ 118 w 120"/>
                <a:gd name="T73" fmla="*/ 6 h 120"/>
                <a:gd name="T74" fmla="*/ 116 w 120"/>
                <a:gd name="T75" fmla="*/ 4 h 120"/>
                <a:gd name="T76" fmla="*/ 114 w 120"/>
                <a:gd name="T77" fmla="*/ 2 h 120"/>
                <a:gd name="T78" fmla="*/ 110 w 120"/>
                <a:gd name="T79" fmla="*/ 1 h 120"/>
                <a:gd name="T80" fmla="*/ 108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4"/>
                  </a:lnTo>
                  <a:lnTo>
                    <a:pt x="2" y="6"/>
                  </a:lnTo>
                  <a:lnTo>
                    <a:pt x="1" y="8"/>
                  </a:lnTo>
                  <a:lnTo>
                    <a:pt x="0" y="12"/>
                  </a:lnTo>
                  <a:lnTo>
                    <a:pt x="0" y="15"/>
                  </a:lnTo>
                  <a:lnTo>
                    <a:pt x="0" y="105"/>
                  </a:lnTo>
                  <a:lnTo>
                    <a:pt x="0" y="108"/>
                  </a:lnTo>
                  <a:lnTo>
                    <a:pt x="1" y="110"/>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0"/>
                  </a:lnTo>
                  <a:lnTo>
                    <a:pt x="120" y="108"/>
                  </a:lnTo>
                  <a:lnTo>
                    <a:pt x="120" y="105"/>
                  </a:lnTo>
                  <a:lnTo>
                    <a:pt x="120" y="15"/>
                  </a:lnTo>
                  <a:lnTo>
                    <a:pt x="120" y="12"/>
                  </a:lnTo>
                  <a:lnTo>
                    <a:pt x="119" y="8"/>
                  </a:lnTo>
                  <a:lnTo>
                    <a:pt x="118" y="6"/>
                  </a:lnTo>
                  <a:lnTo>
                    <a:pt x="116" y="4"/>
                  </a:lnTo>
                  <a:lnTo>
                    <a:pt x="114" y="2"/>
                  </a:lnTo>
                  <a:lnTo>
                    <a:pt x="110"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306">
              <a:extLst>
                <a:ext uri="{FF2B5EF4-FFF2-40B4-BE49-F238E27FC236}">
                  <a16:creationId xmlns:a16="http://schemas.microsoft.com/office/drawing/2014/main" id="{A59A0011-76F1-499C-BF19-3E8A62ED1293}"/>
                </a:ext>
              </a:extLst>
            </p:cNvPr>
            <p:cNvSpPr>
              <a:spLocks noEditPoints="1"/>
            </p:cNvSpPr>
            <p:nvPr/>
          </p:nvSpPr>
          <p:spPr bwMode="auto">
            <a:xfrm>
              <a:off x="10072688" y="1468438"/>
              <a:ext cx="38100" cy="38100"/>
            </a:xfrm>
            <a:custGeom>
              <a:avLst/>
              <a:gdLst>
                <a:gd name="T0" fmla="*/ 90 w 120"/>
                <a:gd name="T1" fmla="*/ 91 h 121"/>
                <a:gd name="T2" fmla="*/ 30 w 120"/>
                <a:gd name="T3" fmla="*/ 91 h 121"/>
                <a:gd name="T4" fmla="*/ 30 w 120"/>
                <a:gd name="T5" fmla="*/ 30 h 121"/>
                <a:gd name="T6" fmla="*/ 90 w 120"/>
                <a:gd name="T7" fmla="*/ 30 h 121"/>
                <a:gd name="T8" fmla="*/ 90 w 120"/>
                <a:gd name="T9" fmla="*/ 91 h 121"/>
                <a:gd name="T10" fmla="*/ 105 w 120"/>
                <a:gd name="T11" fmla="*/ 0 h 121"/>
                <a:gd name="T12" fmla="*/ 15 w 120"/>
                <a:gd name="T13" fmla="*/ 0 h 121"/>
                <a:gd name="T14" fmla="*/ 12 w 120"/>
                <a:gd name="T15" fmla="*/ 1 h 121"/>
                <a:gd name="T16" fmla="*/ 9 w 120"/>
                <a:gd name="T17" fmla="*/ 2 h 121"/>
                <a:gd name="T18" fmla="*/ 7 w 120"/>
                <a:gd name="T19" fmla="*/ 3 h 121"/>
                <a:gd name="T20" fmla="*/ 5 w 120"/>
                <a:gd name="T21" fmla="*/ 5 h 121"/>
                <a:gd name="T22" fmla="*/ 2 w 120"/>
                <a:gd name="T23" fmla="*/ 7 h 121"/>
                <a:gd name="T24" fmla="*/ 1 w 120"/>
                <a:gd name="T25" fmla="*/ 9 h 121"/>
                <a:gd name="T26" fmla="*/ 0 w 120"/>
                <a:gd name="T27" fmla="*/ 12 h 121"/>
                <a:gd name="T28" fmla="*/ 0 w 120"/>
                <a:gd name="T29" fmla="*/ 15 h 121"/>
                <a:gd name="T30" fmla="*/ 0 w 120"/>
                <a:gd name="T31" fmla="*/ 106 h 121"/>
                <a:gd name="T32" fmla="*/ 0 w 120"/>
                <a:gd name="T33" fmla="*/ 108 h 121"/>
                <a:gd name="T34" fmla="*/ 1 w 120"/>
                <a:gd name="T35" fmla="*/ 111 h 121"/>
                <a:gd name="T36" fmla="*/ 2 w 120"/>
                <a:gd name="T37" fmla="*/ 113 h 121"/>
                <a:gd name="T38" fmla="*/ 5 w 120"/>
                <a:gd name="T39" fmla="*/ 116 h 121"/>
                <a:gd name="T40" fmla="*/ 7 w 120"/>
                <a:gd name="T41" fmla="*/ 118 h 121"/>
                <a:gd name="T42" fmla="*/ 9 w 120"/>
                <a:gd name="T43" fmla="*/ 120 h 121"/>
                <a:gd name="T44" fmla="*/ 12 w 120"/>
                <a:gd name="T45" fmla="*/ 120 h 121"/>
                <a:gd name="T46" fmla="*/ 15 w 120"/>
                <a:gd name="T47" fmla="*/ 121 h 121"/>
                <a:gd name="T48" fmla="*/ 105 w 120"/>
                <a:gd name="T49" fmla="*/ 121 h 121"/>
                <a:gd name="T50" fmla="*/ 109 w 120"/>
                <a:gd name="T51" fmla="*/ 120 h 121"/>
                <a:gd name="T52" fmla="*/ 111 w 120"/>
                <a:gd name="T53" fmla="*/ 120 h 121"/>
                <a:gd name="T54" fmla="*/ 114 w 120"/>
                <a:gd name="T55" fmla="*/ 118 h 121"/>
                <a:gd name="T56" fmla="*/ 116 w 120"/>
                <a:gd name="T57" fmla="*/ 116 h 121"/>
                <a:gd name="T58" fmla="*/ 117 w 120"/>
                <a:gd name="T59" fmla="*/ 113 h 121"/>
                <a:gd name="T60" fmla="*/ 119 w 120"/>
                <a:gd name="T61" fmla="*/ 111 h 121"/>
                <a:gd name="T62" fmla="*/ 120 w 120"/>
                <a:gd name="T63" fmla="*/ 108 h 121"/>
                <a:gd name="T64" fmla="*/ 120 w 120"/>
                <a:gd name="T65" fmla="*/ 106 h 121"/>
                <a:gd name="T66" fmla="*/ 120 w 120"/>
                <a:gd name="T67" fmla="*/ 15 h 121"/>
                <a:gd name="T68" fmla="*/ 120 w 120"/>
                <a:gd name="T69" fmla="*/ 12 h 121"/>
                <a:gd name="T70" fmla="*/ 119 w 120"/>
                <a:gd name="T71" fmla="*/ 9 h 121"/>
                <a:gd name="T72" fmla="*/ 117 w 120"/>
                <a:gd name="T73" fmla="*/ 7 h 121"/>
                <a:gd name="T74" fmla="*/ 116 w 120"/>
                <a:gd name="T75" fmla="*/ 5 h 121"/>
                <a:gd name="T76" fmla="*/ 114 w 120"/>
                <a:gd name="T77" fmla="*/ 3 h 121"/>
                <a:gd name="T78" fmla="*/ 111 w 120"/>
                <a:gd name="T79" fmla="*/ 2 h 121"/>
                <a:gd name="T80" fmla="*/ 109 w 120"/>
                <a:gd name="T81" fmla="*/ 1 h 121"/>
                <a:gd name="T82" fmla="*/ 105 w 120"/>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90" y="91"/>
                  </a:moveTo>
                  <a:lnTo>
                    <a:pt x="30" y="91"/>
                  </a:lnTo>
                  <a:lnTo>
                    <a:pt x="30" y="30"/>
                  </a:lnTo>
                  <a:lnTo>
                    <a:pt x="90" y="30"/>
                  </a:lnTo>
                  <a:lnTo>
                    <a:pt x="90" y="91"/>
                  </a:lnTo>
                  <a:close/>
                  <a:moveTo>
                    <a:pt x="105" y="0"/>
                  </a:moveTo>
                  <a:lnTo>
                    <a:pt x="15" y="0"/>
                  </a:lnTo>
                  <a:lnTo>
                    <a:pt x="12" y="1"/>
                  </a:lnTo>
                  <a:lnTo>
                    <a:pt x="9" y="2"/>
                  </a:lnTo>
                  <a:lnTo>
                    <a:pt x="7" y="3"/>
                  </a:lnTo>
                  <a:lnTo>
                    <a:pt x="5" y="5"/>
                  </a:lnTo>
                  <a:lnTo>
                    <a:pt x="2" y="7"/>
                  </a:lnTo>
                  <a:lnTo>
                    <a:pt x="1" y="9"/>
                  </a:lnTo>
                  <a:lnTo>
                    <a:pt x="0" y="12"/>
                  </a:lnTo>
                  <a:lnTo>
                    <a:pt x="0" y="15"/>
                  </a:lnTo>
                  <a:lnTo>
                    <a:pt x="0" y="106"/>
                  </a:lnTo>
                  <a:lnTo>
                    <a:pt x="0" y="108"/>
                  </a:lnTo>
                  <a:lnTo>
                    <a:pt x="1" y="111"/>
                  </a:lnTo>
                  <a:lnTo>
                    <a:pt x="2" y="113"/>
                  </a:lnTo>
                  <a:lnTo>
                    <a:pt x="5" y="116"/>
                  </a:lnTo>
                  <a:lnTo>
                    <a:pt x="7" y="118"/>
                  </a:lnTo>
                  <a:lnTo>
                    <a:pt x="9" y="120"/>
                  </a:lnTo>
                  <a:lnTo>
                    <a:pt x="12" y="120"/>
                  </a:lnTo>
                  <a:lnTo>
                    <a:pt x="15" y="121"/>
                  </a:lnTo>
                  <a:lnTo>
                    <a:pt x="105" y="121"/>
                  </a:lnTo>
                  <a:lnTo>
                    <a:pt x="109" y="120"/>
                  </a:lnTo>
                  <a:lnTo>
                    <a:pt x="111" y="120"/>
                  </a:lnTo>
                  <a:lnTo>
                    <a:pt x="114" y="118"/>
                  </a:lnTo>
                  <a:lnTo>
                    <a:pt x="116" y="116"/>
                  </a:lnTo>
                  <a:lnTo>
                    <a:pt x="117" y="113"/>
                  </a:lnTo>
                  <a:lnTo>
                    <a:pt x="119" y="111"/>
                  </a:lnTo>
                  <a:lnTo>
                    <a:pt x="120" y="108"/>
                  </a:lnTo>
                  <a:lnTo>
                    <a:pt x="120" y="106"/>
                  </a:lnTo>
                  <a:lnTo>
                    <a:pt x="120" y="15"/>
                  </a:lnTo>
                  <a:lnTo>
                    <a:pt x="120" y="12"/>
                  </a:lnTo>
                  <a:lnTo>
                    <a:pt x="119" y="9"/>
                  </a:lnTo>
                  <a:lnTo>
                    <a:pt x="117" y="7"/>
                  </a:lnTo>
                  <a:lnTo>
                    <a:pt x="116" y="5"/>
                  </a:lnTo>
                  <a:lnTo>
                    <a:pt x="114" y="3"/>
                  </a:lnTo>
                  <a:lnTo>
                    <a:pt x="111" y="2"/>
                  </a:lnTo>
                  <a:lnTo>
                    <a:pt x="109"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307">
              <a:extLst>
                <a:ext uri="{FF2B5EF4-FFF2-40B4-BE49-F238E27FC236}">
                  <a16:creationId xmlns:a16="http://schemas.microsoft.com/office/drawing/2014/main" id="{4F644067-1875-47A0-A0BF-FF39B6090B95}"/>
                </a:ext>
              </a:extLst>
            </p:cNvPr>
            <p:cNvSpPr>
              <a:spLocks noEditPoints="1"/>
            </p:cNvSpPr>
            <p:nvPr/>
          </p:nvSpPr>
          <p:spPr bwMode="auto">
            <a:xfrm>
              <a:off x="9958388" y="1468438"/>
              <a:ext cx="38100" cy="38100"/>
            </a:xfrm>
            <a:custGeom>
              <a:avLst/>
              <a:gdLst>
                <a:gd name="T0" fmla="*/ 90 w 120"/>
                <a:gd name="T1" fmla="*/ 91 h 121"/>
                <a:gd name="T2" fmla="*/ 30 w 120"/>
                <a:gd name="T3" fmla="*/ 91 h 121"/>
                <a:gd name="T4" fmla="*/ 30 w 120"/>
                <a:gd name="T5" fmla="*/ 30 h 121"/>
                <a:gd name="T6" fmla="*/ 90 w 120"/>
                <a:gd name="T7" fmla="*/ 30 h 121"/>
                <a:gd name="T8" fmla="*/ 90 w 120"/>
                <a:gd name="T9" fmla="*/ 91 h 121"/>
                <a:gd name="T10" fmla="*/ 105 w 120"/>
                <a:gd name="T11" fmla="*/ 0 h 121"/>
                <a:gd name="T12" fmla="*/ 15 w 120"/>
                <a:gd name="T13" fmla="*/ 0 h 121"/>
                <a:gd name="T14" fmla="*/ 12 w 120"/>
                <a:gd name="T15" fmla="*/ 1 h 121"/>
                <a:gd name="T16" fmla="*/ 8 w 120"/>
                <a:gd name="T17" fmla="*/ 2 h 121"/>
                <a:gd name="T18" fmla="*/ 6 w 120"/>
                <a:gd name="T19" fmla="*/ 3 h 121"/>
                <a:gd name="T20" fmla="*/ 4 w 120"/>
                <a:gd name="T21" fmla="*/ 5 h 121"/>
                <a:gd name="T22" fmla="*/ 2 w 120"/>
                <a:gd name="T23" fmla="*/ 7 h 121"/>
                <a:gd name="T24" fmla="*/ 1 w 120"/>
                <a:gd name="T25" fmla="*/ 9 h 121"/>
                <a:gd name="T26" fmla="*/ 0 w 120"/>
                <a:gd name="T27" fmla="*/ 12 h 121"/>
                <a:gd name="T28" fmla="*/ 0 w 120"/>
                <a:gd name="T29" fmla="*/ 15 h 121"/>
                <a:gd name="T30" fmla="*/ 0 w 120"/>
                <a:gd name="T31" fmla="*/ 106 h 121"/>
                <a:gd name="T32" fmla="*/ 0 w 120"/>
                <a:gd name="T33" fmla="*/ 108 h 121"/>
                <a:gd name="T34" fmla="*/ 1 w 120"/>
                <a:gd name="T35" fmla="*/ 111 h 121"/>
                <a:gd name="T36" fmla="*/ 2 w 120"/>
                <a:gd name="T37" fmla="*/ 113 h 121"/>
                <a:gd name="T38" fmla="*/ 4 w 120"/>
                <a:gd name="T39" fmla="*/ 116 h 121"/>
                <a:gd name="T40" fmla="*/ 6 w 120"/>
                <a:gd name="T41" fmla="*/ 118 h 121"/>
                <a:gd name="T42" fmla="*/ 8 w 120"/>
                <a:gd name="T43" fmla="*/ 120 h 121"/>
                <a:gd name="T44" fmla="*/ 12 w 120"/>
                <a:gd name="T45" fmla="*/ 120 h 121"/>
                <a:gd name="T46" fmla="*/ 15 w 120"/>
                <a:gd name="T47" fmla="*/ 121 h 121"/>
                <a:gd name="T48" fmla="*/ 105 w 120"/>
                <a:gd name="T49" fmla="*/ 121 h 121"/>
                <a:gd name="T50" fmla="*/ 108 w 120"/>
                <a:gd name="T51" fmla="*/ 120 h 121"/>
                <a:gd name="T52" fmla="*/ 110 w 120"/>
                <a:gd name="T53" fmla="*/ 120 h 121"/>
                <a:gd name="T54" fmla="*/ 114 w 120"/>
                <a:gd name="T55" fmla="*/ 118 h 121"/>
                <a:gd name="T56" fmla="*/ 116 w 120"/>
                <a:gd name="T57" fmla="*/ 116 h 121"/>
                <a:gd name="T58" fmla="*/ 118 w 120"/>
                <a:gd name="T59" fmla="*/ 113 h 121"/>
                <a:gd name="T60" fmla="*/ 119 w 120"/>
                <a:gd name="T61" fmla="*/ 111 h 121"/>
                <a:gd name="T62" fmla="*/ 120 w 120"/>
                <a:gd name="T63" fmla="*/ 108 h 121"/>
                <a:gd name="T64" fmla="*/ 120 w 120"/>
                <a:gd name="T65" fmla="*/ 106 h 121"/>
                <a:gd name="T66" fmla="*/ 120 w 120"/>
                <a:gd name="T67" fmla="*/ 15 h 121"/>
                <a:gd name="T68" fmla="*/ 120 w 120"/>
                <a:gd name="T69" fmla="*/ 12 h 121"/>
                <a:gd name="T70" fmla="*/ 119 w 120"/>
                <a:gd name="T71" fmla="*/ 9 h 121"/>
                <a:gd name="T72" fmla="*/ 118 w 120"/>
                <a:gd name="T73" fmla="*/ 7 h 121"/>
                <a:gd name="T74" fmla="*/ 116 w 120"/>
                <a:gd name="T75" fmla="*/ 5 h 121"/>
                <a:gd name="T76" fmla="*/ 114 w 120"/>
                <a:gd name="T77" fmla="*/ 3 h 121"/>
                <a:gd name="T78" fmla="*/ 110 w 120"/>
                <a:gd name="T79" fmla="*/ 2 h 121"/>
                <a:gd name="T80" fmla="*/ 108 w 120"/>
                <a:gd name="T81" fmla="*/ 1 h 121"/>
                <a:gd name="T82" fmla="*/ 105 w 120"/>
                <a:gd name="T8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1">
                  <a:moveTo>
                    <a:pt x="90" y="91"/>
                  </a:moveTo>
                  <a:lnTo>
                    <a:pt x="30" y="91"/>
                  </a:lnTo>
                  <a:lnTo>
                    <a:pt x="30" y="30"/>
                  </a:lnTo>
                  <a:lnTo>
                    <a:pt x="90" y="30"/>
                  </a:lnTo>
                  <a:lnTo>
                    <a:pt x="90" y="91"/>
                  </a:lnTo>
                  <a:close/>
                  <a:moveTo>
                    <a:pt x="105" y="0"/>
                  </a:moveTo>
                  <a:lnTo>
                    <a:pt x="15" y="0"/>
                  </a:lnTo>
                  <a:lnTo>
                    <a:pt x="12" y="1"/>
                  </a:lnTo>
                  <a:lnTo>
                    <a:pt x="8" y="2"/>
                  </a:lnTo>
                  <a:lnTo>
                    <a:pt x="6" y="3"/>
                  </a:lnTo>
                  <a:lnTo>
                    <a:pt x="4" y="5"/>
                  </a:lnTo>
                  <a:lnTo>
                    <a:pt x="2" y="7"/>
                  </a:lnTo>
                  <a:lnTo>
                    <a:pt x="1" y="9"/>
                  </a:lnTo>
                  <a:lnTo>
                    <a:pt x="0" y="12"/>
                  </a:lnTo>
                  <a:lnTo>
                    <a:pt x="0" y="15"/>
                  </a:lnTo>
                  <a:lnTo>
                    <a:pt x="0" y="106"/>
                  </a:lnTo>
                  <a:lnTo>
                    <a:pt x="0" y="108"/>
                  </a:lnTo>
                  <a:lnTo>
                    <a:pt x="1" y="111"/>
                  </a:lnTo>
                  <a:lnTo>
                    <a:pt x="2" y="113"/>
                  </a:lnTo>
                  <a:lnTo>
                    <a:pt x="4" y="116"/>
                  </a:lnTo>
                  <a:lnTo>
                    <a:pt x="6" y="118"/>
                  </a:lnTo>
                  <a:lnTo>
                    <a:pt x="8" y="120"/>
                  </a:lnTo>
                  <a:lnTo>
                    <a:pt x="12" y="120"/>
                  </a:lnTo>
                  <a:lnTo>
                    <a:pt x="15" y="121"/>
                  </a:lnTo>
                  <a:lnTo>
                    <a:pt x="105" y="121"/>
                  </a:lnTo>
                  <a:lnTo>
                    <a:pt x="108" y="120"/>
                  </a:lnTo>
                  <a:lnTo>
                    <a:pt x="110" y="120"/>
                  </a:lnTo>
                  <a:lnTo>
                    <a:pt x="114" y="118"/>
                  </a:lnTo>
                  <a:lnTo>
                    <a:pt x="116" y="116"/>
                  </a:lnTo>
                  <a:lnTo>
                    <a:pt x="118" y="113"/>
                  </a:lnTo>
                  <a:lnTo>
                    <a:pt x="119" y="111"/>
                  </a:lnTo>
                  <a:lnTo>
                    <a:pt x="120" y="108"/>
                  </a:lnTo>
                  <a:lnTo>
                    <a:pt x="120" y="106"/>
                  </a:lnTo>
                  <a:lnTo>
                    <a:pt x="120" y="15"/>
                  </a:lnTo>
                  <a:lnTo>
                    <a:pt x="120" y="12"/>
                  </a:lnTo>
                  <a:lnTo>
                    <a:pt x="119" y="9"/>
                  </a:lnTo>
                  <a:lnTo>
                    <a:pt x="118" y="7"/>
                  </a:lnTo>
                  <a:lnTo>
                    <a:pt x="116" y="5"/>
                  </a:lnTo>
                  <a:lnTo>
                    <a:pt x="114" y="3"/>
                  </a:lnTo>
                  <a:lnTo>
                    <a:pt x="110" y="2"/>
                  </a:lnTo>
                  <a:lnTo>
                    <a:pt x="108"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308">
              <a:extLst>
                <a:ext uri="{FF2B5EF4-FFF2-40B4-BE49-F238E27FC236}">
                  <a16:creationId xmlns:a16="http://schemas.microsoft.com/office/drawing/2014/main" id="{52BD4F38-9319-4C01-AE1F-588B2865711A}"/>
                </a:ext>
              </a:extLst>
            </p:cNvPr>
            <p:cNvSpPr>
              <a:spLocks noEditPoints="1"/>
            </p:cNvSpPr>
            <p:nvPr/>
          </p:nvSpPr>
          <p:spPr bwMode="auto">
            <a:xfrm>
              <a:off x="10072688" y="142081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9 w 120"/>
                <a:gd name="T17" fmla="*/ 1 h 120"/>
                <a:gd name="T18" fmla="*/ 7 w 120"/>
                <a:gd name="T19" fmla="*/ 2 h 120"/>
                <a:gd name="T20" fmla="*/ 5 w 120"/>
                <a:gd name="T21" fmla="*/ 5 h 120"/>
                <a:gd name="T22" fmla="*/ 2 w 120"/>
                <a:gd name="T23" fmla="*/ 7 h 120"/>
                <a:gd name="T24" fmla="*/ 1 w 120"/>
                <a:gd name="T25" fmla="*/ 10 h 120"/>
                <a:gd name="T26" fmla="*/ 0 w 120"/>
                <a:gd name="T27" fmla="*/ 12 h 120"/>
                <a:gd name="T28" fmla="*/ 0 w 120"/>
                <a:gd name="T29" fmla="*/ 15 h 120"/>
                <a:gd name="T30" fmla="*/ 0 w 120"/>
                <a:gd name="T31" fmla="*/ 105 h 120"/>
                <a:gd name="T32" fmla="*/ 0 w 120"/>
                <a:gd name="T33" fmla="*/ 109 h 120"/>
                <a:gd name="T34" fmla="*/ 1 w 120"/>
                <a:gd name="T35" fmla="*/ 112 h 120"/>
                <a:gd name="T36" fmla="*/ 2 w 120"/>
                <a:gd name="T37" fmla="*/ 114 h 120"/>
                <a:gd name="T38" fmla="*/ 5 w 120"/>
                <a:gd name="T39" fmla="*/ 116 h 120"/>
                <a:gd name="T40" fmla="*/ 7 w 120"/>
                <a:gd name="T41" fmla="*/ 118 h 120"/>
                <a:gd name="T42" fmla="*/ 9 w 120"/>
                <a:gd name="T43" fmla="*/ 119 h 120"/>
                <a:gd name="T44" fmla="*/ 12 w 120"/>
                <a:gd name="T45" fmla="*/ 120 h 120"/>
                <a:gd name="T46" fmla="*/ 15 w 120"/>
                <a:gd name="T47" fmla="*/ 120 h 120"/>
                <a:gd name="T48" fmla="*/ 105 w 120"/>
                <a:gd name="T49" fmla="*/ 120 h 120"/>
                <a:gd name="T50" fmla="*/ 109 w 120"/>
                <a:gd name="T51" fmla="*/ 120 h 120"/>
                <a:gd name="T52" fmla="*/ 111 w 120"/>
                <a:gd name="T53" fmla="*/ 119 h 120"/>
                <a:gd name="T54" fmla="*/ 114 w 120"/>
                <a:gd name="T55" fmla="*/ 118 h 120"/>
                <a:gd name="T56" fmla="*/ 116 w 120"/>
                <a:gd name="T57" fmla="*/ 116 h 120"/>
                <a:gd name="T58" fmla="*/ 117 w 120"/>
                <a:gd name="T59" fmla="*/ 114 h 120"/>
                <a:gd name="T60" fmla="*/ 119 w 120"/>
                <a:gd name="T61" fmla="*/ 112 h 120"/>
                <a:gd name="T62" fmla="*/ 120 w 120"/>
                <a:gd name="T63" fmla="*/ 109 h 120"/>
                <a:gd name="T64" fmla="*/ 120 w 120"/>
                <a:gd name="T65" fmla="*/ 105 h 120"/>
                <a:gd name="T66" fmla="*/ 120 w 120"/>
                <a:gd name="T67" fmla="*/ 15 h 120"/>
                <a:gd name="T68" fmla="*/ 120 w 120"/>
                <a:gd name="T69" fmla="*/ 12 h 120"/>
                <a:gd name="T70" fmla="*/ 119 w 120"/>
                <a:gd name="T71" fmla="*/ 10 h 120"/>
                <a:gd name="T72" fmla="*/ 117 w 120"/>
                <a:gd name="T73" fmla="*/ 7 h 120"/>
                <a:gd name="T74" fmla="*/ 116 w 120"/>
                <a:gd name="T75" fmla="*/ 5 h 120"/>
                <a:gd name="T76" fmla="*/ 114 w 120"/>
                <a:gd name="T77" fmla="*/ 2 h 120"/>
                <a:gd name="T78" fmla="*/ 111 w 120"/>
                <a:gd name="T79" fmla="*/ 1 h 120"/>
                <a:gd name="T80" fmla="*/ 109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9" y="1"/>
                  </a:lnTo>
                  <a:lnTo>
                    <a:pt x="7" y="2"/>
                  </a:lnTo>
                  <a:lnTo>
                    <a:pt x="5" y="5"/>
                  </a:lnTo>
                  <a:lnTo>
                    <a:pt x="2" y="7"/>
                  </a:lnTo>
                  <a:lnTo>
                    <a:pt x="1" y="10"/>
                  </a:lnTo>
                  <a:lnTo>
                    <a:pt x="0" y="12"/>
                  </a:lnTo>
                  <a:lnTo>
                    <a:pt x="0" y="15"/>
                  </a:lnTo>
                  <a:lnTo>
                    <a:pt x="0" y="105"/>
                  </a:lnTo>
                  <a:lnTo>
                    <a:pt x="0" y="109"/>
                  </a:lnTo>
                  <a:lnTo>
                    <a:pt x="1" y="112"/>
                  </a:lnTo>
                  <a:lnTo>
                    <a:pt x="2" y="114"/>
                  </a:lnTo>
                  <a:lnTo>
                    <a:pt x="5" y="116"/>
                  </a:lnTo>
                  <a:lnTo>
                    <a:pt x="7" y="118"/>
                  </a:lnTo>
                  <a:lnTo>
                    <a:pt x="9" y="119"/>
                  </a:lnTo>
                  <a:lnTo>
                    <a:pt x="12" y="120"/>
                  </a:lnTo>
                  <a:lnTo>
                    <a:pt x="15" y="120"/>
                  </a:lnTo>
                  <a:lnTo>
                    <a:pt x="105" y="120"/>
                  </a:lnTo>
                  <a:lnTo>
                    <a:pt x="109" y="120"/>
                  </a:lnTo>
                  <a:lnTo>
                    <a:pt x="111" y="119"/>
                  </a:lnTo>
                  <a:lnTo>
                    <a:pt x="114" y="118"/>
                  </a:lnTo>
                  <a:lnTo>
                    <a:pt x="116" y="116"/>
                  </a:lnTo>
                  <a:lnTo>
                    <a:pt x="117" y="114"/>
                  </a:lnTo>
                  <a:lnTo>
                    <a:pt x="119" y="112"/>
                  </a:lnTo>
                  <a:lnTo>
                    <a:pt x="120" y="109"/>
                  </a:lnTo>
                  <a:lnTo>
                    <a:pt x="120" y="105"/>
                  </a:lnTo>
                  <a:lnTo>
                    <a:pt x="120" y="15"/>
                  </a:lnTo>
                  <a:lnTo>
                    <a:pt x="120" y="12"/>
                  </a:lnTo>
                  <a:lnTo>
                    <a:pt x="119" y="10"/>
                  </a:lnTo>
                  <a:lnTo>
                    <a:pt x="117" y="7"/>
                  </a:lnTo>
                  <a:lnTo>
                    <a:pt x="116" y="5"/>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309">
              <a:extLst>
                <a:ext uri="{FF2B5EF4-FFF2-40B4-BE49-F238E27FC236}">
                  <a16:creationId xmlns:a16="http://schemas.microsoft.com/office/drawing/2014/main" id="{64414FAB-09F0-4F6B-8A08-FEF553422B47}"/>
                </a:ext>
              </a:extLst>
            </p:cNvPr>
            <p:cNvSpPr>
              <a:spLocks noEditPoints="1"/>
            </p:cNvSpPr>
            <p:nvPr/>
          </p:nvSpPr>
          <p:spPr bwMode="auto">
            <a:xfrm>
              <a:off x="9958388" y="1420813"/>
              <a:ext cx="38100" cy="38100"/>
            </a:xfrm>
            <a:custGeom>
              <a:avLst/>
              <a:gdLst>
                <a:gd name="T0" fmla="*/ 90 w 120"/>
                <a:gd name="T1" fmla="*/ 90 h 120"/>
                <a:gd name="T2" fmla="*/ 30 w 120"/>
                <a:gd name="T3" fmla="*/ 90 h 120"/>
                <a:gd name="T4" fmla="*/ 30 w 120"/>
                <a:gd name="T5" fmla="*/ 30 h 120"/>
                <a:gd name="T6" fmla="*/ 90 w 120"/>
                <a:gd name="T7" fmla="*/ 30 h 120"/>
                <a:gd name="T8" fmla="*/ 90 w 120"/>
                <a:gd name="T9" fmla="*/ 90 h 120"/>
                <a:gd name="T10" fmla="*/ 105 w 120"/>
                <a:gd name="T11" fmla="*/ 0 h 120"/>
                <a:gd name="T12" fmla="*/ 15 w 120"/>
                <a:gd name="T13" fmla="*/ 0 h 120"/>
                <a:gd name="T14" fmla="*/ 12 w 120"/>
                <a:gd name="T15" fmla="*/ 0 h 120"/>
                <a:gd name="T16" fmla="*/ 8 w 120"/>
                <a:gd name="T17" fmla="*/ 1 h 120"/>
                <a:gd name="T18" fmla="*/ 6 w 120"/>
                <a:gd name="T19" fmla="*/ 2 h 120"/>
                <a:gd name="T20" fmla="*/ 4 w 120"/>
                <a:gd name="T21" fmla="*/ 5 h 120"/>
                <a:gd name="T22" fmla="*/ 2 w 120"/>
                <a:gd name="T23" fmla="*/ 7 h 120"/>
                <a:gd name="T24" fmla="*/ 1 w 120"/>
                <a:gd name="T25" fmla="*/ 10 h 120"/>
                <a:gd name="T26" fmla="*/ 0 w 120"/>
                <a:gd name="T27" fmla="*/ 12 h 120"/>
                <a:gd name="T28" fmla="*/ 0 w 120"/>
                <a:gd name="T29" fmla="*/ 15 h 120"/>
                <a:gd name="T30" fmla="*/ 0 w 120"/>
                <a:gd name="T31" fmla="*/ 105 h 120"/>
                <a:gd name="T32" fmla="*/ 0 w 120"/>
                <a:gd name="T33" fmla="*/ 109 h 120"/>
                <a:gd name="T34" fmla="*/ 1 w 120"/>
                <a:gd name="T35" fmla="*/ 112 h 120"/>
                <a:gd name="T36" fmla="*/ 2 w 120"/>
                <a:gd name="T37" fmla="*/ 114 h 120"/>
                <a:gd name="T38" fmla="*/ 4 w 120"/>
                <a:gd name="T39" fmla="*/ 116 h 120"/>
                <a:gd name="T40" fmla="*/ 6 w 120"/>
                <a:gd name="T41" fmla="*/ 118 h 120"/>
                <a:gd name="T42" fmla="*/ 8 w 120"/>
                <a:gd name="T43" fmla="*/ 119 h 120"/>
                <a:gd name="T44" fmla="*/ 12 w 120"/>
                <a:gd name="T45" fmla="*/ 120 h 120"/>
                <a:gd name="T46" fmla="*/ 15 w 120"/>
                <a:gd name="T47" fmla="*/ 120 h 120"/>
                <a:gd name="T48" fmla="*/ 105 w 120"/>
                <a:gd name="T49" fmla="*/ 120 h 120"/>
                <a:gd name="T50" fmla="*/ 108 w 120"/>
                <a:gd name="T51" fmla="*/ 120 h 120"/>
                <a:gd name="T52" fmla="*/ 110 w 120"/>
                <a:gd name="T53" fmla="*/ 119 h 120"/>
                <a:gd name="T54" fmla="*/ 114 w 120"/>
                <a:gd name="T55" fmla="*/ 118 h 120"/>
                <a:gd name="T56" fmla="*/ 116 w 120"/>
                <a:gd name="T57" fmla="*/ 116 h 120"/>
                <a:gd name="T58" fmla="*/ 118 w 120"/>
                <a:gd name="T59" fmla="*/ 114 h 120"/>
                <a:gd name="T60" fmla="*/ 119 w 120"/>
                <a:gd name="T61" fmla="*/ 112 h 120"/>
                <a:gd name="T62" fmla="*/ 120 w 120"/>
                <a:gd name="T63" fmla="*/ 109 h 120"/>
                <a:gd name="T64" fmla="*/ 120 w 120"/>
                <a:gd name="T65" fmla="*/ 105 h 120"/>
                <a:gd name="T66" fmla="*/ 120 w 120"/>
                <a:gd name="T67" fmla="*/ 15 h 120"/>
                <a:gd name="T68" fmla="*/ 120 w 120"/>
                <a:gd name="T69" fmla="*/ 12 h 120"/>
                <a:gd name="T70" fmla="*/ 119 w 120"/>
                <a:gd name="T71" fmla="*/ 10 h 120"/>
                <a:gd name="T72" fmla="*/ 118 w 120"/>
                <a:gd name="T73" fmla="*/ 7 h 120"/>
                <a:gd name="T74" fmla="*/ 116 w 120"/>
                <a:gd name="T75" fmla="*/ 5 h 120"/>
                <a:gd name="T76" fmla="*/ 114 w 120"/>
                <a:gd name="T77" fmla="*/ 2 h 120"/>
                <a:gd name="T78" fmla="*/ 110 w 120"/>
                <a:gd name="T79" fmla="*/ 1 h 120"/>
                <a:gd name="T80" fmla="*/ 108 w 120"/>
                <a:gd name="T81" fmla="*/ 0 h 120"/>
                <a:gd name="T82" fmla="*/ 105 w 120"/>
                <a:gd name="T8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0" h="120">
                  <a:moveTo>
                    <a:pt x="90" y="90"/>
                  </a:moveTo>
                  <a:lnTo>
                    <a:pt x="30" y="90"/>
                  </a:lnTo>
                  <a:lnTo>
                    <a:pt x="30" y="30"/>
                  </a:lnTo>
                  <a:lnTo>
                    <a:pt x="90" y="30"/>
                  </a:lnTo>
                  <a:lnTo>
                    <a:pt x="90" y="90"/>
                  </a:lnTo>
                  <a:close/>
                  <a:moveTo>
                    <a:pt x="105" y="0"/>
                  </a:moveTo>
                  <a:lnTo>
                    <a:pt x="15" y="0"/>
                  </a:lnTo>
                  <a:lnTo>
                    <a:pt x="12" y="0"/>
                  </a:lnTo>
                  <a:lnTo>
                    <a:pt x="8" y="1"/>
                  </a:lnTo>
                  <a:lnTo>
                    <a:pt x="6" y="2"/>
                  </a:lnTo>
                  <a:lnTo>
                    <a:pt x="4" y="5"/>
                  </a:lnTo>
                  <a:lnTo>
                    <a:pt x="2" y="7"/>
                  </a:lnTo>
                  <a:lnTo>
                    <a:pt x="1" y="10"/>
                  </a:lnTo>
                  <a:lnTo>
                    <a:pt x="0" y="12"/>
                  </a:lnTo>
                  <a:lnTo>
                    <a:pt x="0" y="15"/>
                  </a:lnTo>
                  <a:lnTo>
                    <a:pt x="0" y="105"/>
                  </a:lnTo>
                  <a:lnTo>
                    <a:pt x="0" y="109"/>
                  </a:lnTo>
                  <a:lnTo>
                    <a:pt x="1" y="112"/>
                  </a:lnTo>
                  <a:lnTo>
                    <a:pt x="2" y="114"/>
                  </a:lnTo>
                  <a:lnTo>
                    <a:pt x="4" y="116"/>
                  </a:lnTo>
                  <a:lnTo>
                    <a:pt x="6" y="118"/>
                  </a:lnTo>
                  <a:lnTo>
                    <a:pt x="8" y="119"/>
                  </a:lnTo>
                  <a:lnTo>
                    <a:pt x="12" y="120"/>
                  </a:lnTo>
                  <a:lnTo>
                    <a:pt x="15" y="120"/>
                  </a:lnTo>
                  <a:lnTo>
                    <a:pt x="105" y="120"/>
                  </a:lnTo>
                  <a:lnTo>
                    <a:pt x="108" y="120"/>
                  </a:lnTo>
                  <a:lnTo>
                    <a:pt x="110" y="119"/>
                  </a:lnTo>
                  <a:lnTo>
                    <a:pt x="114" y="118"/>
                  </a:lnTo>
                  <a:lnTo>
                    <a:pt x="116" y="116"/>
                  </a:lnTo>
                  <a:lnTo>
                    <a:pt x="118" y="114"/>
                  </a:lnTo>
                  <a:lnTo>
                    <a:pt x="119" y="112"/>
                  </a:lnTo>
                  <a:lnTo>
                    <a:pt x="120" y="109"/>
                  </a:lnTo>
                  <a:lnTo>
                    <a:pt x="120" y="105"/>
                  </a:lnTo>
                  <a:lnTo>
                    <a:pt x="120" y="15"/>
                  </a:lnTo>
                  <a:lnTo>
                    <a:pt x="120" y="12"/>
                  </a:lnTo>
                  <a:lnTo>
                    <a:pt x="119" y="10"/>
                  </a:lnTo>
                  <a:lnTo>
                    <a:pt x="118" y="7"/>
                  </a:lnTo>
                  <a:lnTo>
                    <a:pt x="116" y="5"/>
                  </a:lnTo>
                  <a:lnTo>
                    <a:pt x="114" y="2"/>
                  </a:lnTo>
                  <a:lnTo>
                    <a:pt x="110" y="1"/>
                  </a:lnTo>
                  <a:lnTo>
                    <a:pt x="108"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64" name="Group 70">
            <a:extLst>
              <a:ext uri="{FF2B5EF4-FFF2-40B4-BE49-F238E27FC236}">
                <a16:creationId xmlns:a16="http://schemas.microsoft.com/office/drawing/2014/main" id="{FFF2A7E2-E64F-4C68-8C43-CCDDF1AC2717}"/>
              </a:ext>
            </a:extLst>
          </p:cNvPr>
          <p:cNvGrpSpPr>
            <a:grpSpLocks noChangeAspect="1"/>
          </p:cNvGrpSpPr>
          <p:nvPr/>
        </p:nvGrpSpPr>
        <p:grpSpPr>
          <a:xfrm>
            <a:off x="6156485" y="3263433"/>
            <a:ext cx="345915" cy="285619"/>
            <a:chOff x="7726363" y="1871663"/>
            <a:chExt cx="346076" cy="285751"/>
          </a:xfrm>
          <a:noFill/>
          <a:effectLst/>
        </p:grpSpPr>
        <p:sp>
          <p:nvSpPr>
            <p:cNvPr id="1765" name="Freeform 308">
              <a:extLst>
                <a:ext uri="{FF2B5EF4-FFF2-40B4-BE49-F238E27FC236}">
                  <a16:creationId xmlns:a16="http://schemas.microsoft.com/office/drawing/2014/main" id="{4D9BBBC2-102D-4B54-9E58-2353DE7D2FFB}"/>
                </a:ext>
              </a:extLst>
            </p:cNvPr>
            <p:cNvSpPr>
              <a:spLocks/>
            </p:cNvSpPr>
            <p:nvPr/>
          </p:nvSpPr>
          <p:spPr bwMode="auto">
            <a:xfrm>
              <a:off x="7756526" y="2036763"/>
              <a:ext cx="285750" cy="120650"/>
            </a:xfrm>
            <a:custGeom>
              <a:avLst/>
              <a:gdLst>
                <a:gd name="T0" fmla="*/ 57 w 180"/>
                <a:gd name="T1" fmla="*/ 0 h 76"/>
                <a:gd name="T2" fmla="*/ 0 w 180"/>
                <a:gd name="T3" fmla="*/ 0 h 76"/>
                <a:gd name="T4" fmla="*/ 0 w 180"/>
                <a:gd name="T5" fmla="*/ 76 h 76"/>
                <a:gd name="T6" fmla="*/ 180 w 180"/>
                <a:gd name="T7" fmla="*/ 76 h 76"/>
                <a:gd name="T8" fmla="*/ 180 w 180"/>
                <a:gd name="T9" fmla="*/ 0 h 76"/>
                <a:gd name="T10" fmla="*/ 123 w 180"/>
                <a:gd name="T11" fmla="*/ 0 h 76"/>
              </a:gdLst>
              <a:ahLst/>
              <a:cxnLst>
                <a:cxn ang="0">
                  <a:pos x="T0" y="T1"/>
                </a:cxn>
                <a:cxn ang="0">
                  <a:pos x="T2" y="T3"/>
                </a:cxn>
                <a:cxn ang="0">
                  <a:pos x="T4" y="T5"/>
                </a:cxn>
                <a:cxn ang="0">
                  <a:pos x="T6" y="T7"/>
                </a:cxn>
                <a:cxn ang="0">
                  <a:pos x="T8" y="T9"/>
                </a:cxn>
                <a:cxn ang="0">
                  <a:pos x="T10" y="T11"/>
                </a:cxn>
              </a:cxnLst>
              <a:rect l="0" t="0" r="r" b="b"/>
              <a:pathLst>
                <a:path w="180" h="76">
                  <a:moveTo>
                    <a:pt x="57" y="0"/>
                  </a:moveTo>
                  <a:lnTo>
                    <a:pt x="0" y="0"/>
                  </a:lnTo>
                  <a:lnTo>
                    <a:pt x="0" y="76"/>
                  </a:lnTo>
                  <a:lnTo>
                    <a:pt x="180" y="76"/>
                  </a:lnTo>
                  <a:lnTo>
                    <a:pt x="180" y="0"/>
                  </a:lnTo>
                  <a:lnTo>
                    <a:pt x="123" y="0"/>
                  </a:lnTo>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6" name="Freeform 309">
              <a:extLst>
                <a:ext uri="{FF2B5EF4-FFF2-40B4-BE49-F238E27FC236}">
                  <a16:creationId xmlns:a16="http://schemas.microsoft.com/office/drawing/2014/main" id="{68F0CC1E-22A1-4C3C-BC9E-B3EBF42C813C}"/>
                </a:ext>
              </a:extLst>
            </p:cNvPr>
            <p:cNvSpPr>
              <a:spLocks/>
            </p:cNvSpPr>
            <p:nvPr/>
          </p:nvSpPr>
          <p:spPr bwMode="auto">
            <a:xfrm>
              <a:off x="7726363" y="1931988"/>
              <a:ext cx="139700" cy="104775"/>
            </a:xfrm>
            <a:custGeom>
              <a:avLst/>
              <a:gdLst>
                <a:gd name="T0" fmla="*/ 71 w 88"/>
                <a:gd name="T1" fmla="*/ 66 h 66"/>
                <a:gd name="T2" fmla="*/ 0 w 88"/>
                <a:gd name="T3" fmla="*/ 66 h 66"/>
                <a:gd name="T4" fmla="*/ 28 w 88"/>
                <a:gd name="T5" fmla="*/ 0 h 66"/>
                <a:gd name="T6" fmla="*/ 88 w 88"/>
                <a:gd name="T7" fmla="*/ 0 h 66"/>
              </a:gdLst>
              <a:ahLst/>
              <a:cxnLst>
                <a:cxn ang="0">
                  <a:pos x="T0" y="T1"/>
                </a:cxn>
                <a:cxn ang="0">
                  <a:pos x="T2" y="T3"/>
                </a:cxn>
                <a:cxn ang="0">
                  <a:pos x="T4" y="T5"/>
                </a:cxn>
                <a:cxn ang="0">
                  <a:pos x="T6" y="T7"/>
                </a:cxn>
              </a:cxnLst>
              <a:rect l="0" t="0" r="r" b="b"/>
              <a:pathLst>
                <a:path w="88" h="66">
                  <a:moveTo>
                    <a:pt x="71" y="66"/>
                  </a:moveTo>
                  <a:lnTo>
                    <a:pt x="0" y="66"/>
                  </a:lnTo>
                  <a:lnTo>
                    <a:pt x="28" y="0"/>
                  </a:lnTo>
                  <a:lnTo>
                    <a:pt x="88" y="0"/>
                  </a:lnTo>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7" name="Freeform 310">
              <a:extLst>
                <a:ext uri="{FF2B5EF4-FFF2-40B4-BE49-F238E27FC236}">
                  <a16:creationId xmlns:a16="http://schemas.microsoft.com/office/drawing/2014/main" id="{48E43131-14D6-4E84-9A38-D1CE2384107F}"/>
                </a:ext>
              </a:extLst>
            </p:cNvPr>
            <p:cNvSpPr>
              <a:spLocks/>
            </p:cNvSpPr>
            <p:nvPr/>
          </p:nvSpPr>
          <p:spPr bwMode="auto">
            <a:xfrm>
              <a:off x="7937501" y="1931988"/>
              <a:ext cx="134938" cy="104775"/>
            </a:xfrm>
            <a:custGeom>
              <a:avLst/>
              <a:gdLst>
                <a:gd name="T0" fmla="*/ 0 w 85"/>
                <a:gd name="T1" fmla="*/ 0 h 66"/>
                <a:gd name="T2" fmla="*/ 56 w 85"/>
                <a:gd name="T3" fmla="*/ 0 h 66"/>
                <a:gd name="T4" fmla="*/ 85 w 85"/>
                <a:gd name="T5" fmla="*/ 66 h 66"/>
                <a:gd name="T6" fmla="*/ 14 w 85"/>
                <a:gd name="T7" fmla="*/ 66 h 66"/>
              </a:gdLst>
              <a:ahLst/>
              <a:cxnLst>
                <a:cxn ang="0">
                  <a:pos x="T0" y="T1"/>
                </a:cxn>
                <a:cxn ang="0">
                  <a:pos x="T2" y="T3"/>
                </a:cxn>
                <a:cxn ang="0">
                  <a:pos x="T4" y="T5"/>
                </a:cxn>
                <a:cxn ang="0">
                  <a:pos x="T6" y="T7"/>
                </a:cxn>
              </a:cxnLst>
              <a:rect l="0" t="0" r="r" b="b"/>
              <a:pathLst>
                <a:path w="85" h="66">
                  <a:moveTo>
                    <a:pt x="0" y="0"/>
                  </a:moveTo>
                  <a:lnTo>
                    <a:pt x="56" y="0"/>
                  </a:lnTo>
                  <a:lnTo>
                    <a:pt x="85" y="66"/>
                  </a:lnTo>
                  <a:lnTo>
                    <a:pt x="14" y="66"/>
                  </a:lnTo>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8" name="Rectangle 311">
              <a:extLst>
                <a:ext uri="{FF2B5EF4-FFF2-40B4-BE49-F238E27FC236}">
                  <a16:creationId xmlns:a16="http://schemas.microsoft.com/office/drawing/2014/main" id="{3FB0B57A-2A50-4823-9611-05D26D10CE4C}"/>
                </a:ext>
              </a:extLst>
            </p:cNvPr>
            <p:cNvSpPr>
              <a:spLocks noChangeArrowheads="1"/>
            </p:cNvSpPr>
            <p:nvPr/>
          </p:nvSpPr>
          <p:spPr bwMode="auto">
            <a:xfrm>
              <a:off x="7786688" y="1871663"/>
              <a:ext cx="30163" cy="60325"/>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69" name="Line 312">
              <a:extLst>
                <a:ext uri="{FF2B5EF4-FFF2-40B4-BE49-F238E27FC236}">
                  <a16:creationId xmlns:a16="http://schemas.microsoft.com/office/drawing/2014/main" id="{ED59375B-744F-46DE-8545-DDA5E6AABDE6}"/>
                </a:ext>
              </a:extLst>
            </p:cNvPr>
            <p:cNvSpPr>
              <a:spLocks noChangeShapeType="1"/>
            </p:cNvSpPr>
            <p:nvPr/>
          </p:nvSpPr>
          <p:spPr bwMode="auto">
            <a:xfrm>
              <a:off x="7770813" y="1871663"/>
              <a:ext cx="60325" cy="0"/>
            </a:xfrm>
            <a:prstGeom prst="line">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0" name="Rectangle 313">
              <a:extLst>
                <a:ext uri="{FF2B5EF4-FFF2-40B4-BE49-F238E27FC236}">
                  <a16:creationId xmlns:a16="http://schemas.microsoft.com/office/drawing/2014/main" id="{16DAC524-CC57-41A1-8643-83C24851521D}"/>
                </a:ext>
              </a:extLst>
            </p:cNvPr>
            <p:cNvSpPr>
              <a:spLocks noChangeArrowheads="1"/>
            </p:cNvSpPr>
            <p:nvPr/>
          </p:nvSpPr>
          <p:spPr bwMode="auto">
            <a:xfrm>
              <a:off x="7981951" y="1871663"/>
              <a:ext cx="30163" cy="60325"/>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1" name="Line 314">
              <a:extLst>
                <a:ext uri="{FF2B5EF4-FFF2-40B4-BE49-F238E27FC236}">
                  <a16:creationId xmlns:a16="http://schemas.microsoft.com/office/drawing/2014/main" id="{36CE6B83-4D2C-436A-80F5-DB094990201C}"/>
                </a:ext>
              </a:extLst>
            </p:cNvPr>
            <p:cNvSpPr>
              <a:spLocks noChangeShapeType="1"/>
            </p:cNvSpPr>
            <p:nvPr/>
          </p:nvSpPr>
          <p:spPr bwMode="auto">
            <a:xfrm>
              <a:off x="7966076" y="1871663"/>
              <a:ext cx="60325" cy="0"/>
            </a:xfrm>
            <a:prstGeom prst="line">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2" name="Rectangle 315">
              <a:extLst>
                <a:ext uri="{FF2B5EF4-FFF2-40B4-BE49-F238E27FC236}">
                  <a16:creationId xmlns:a16="http://schemas.microsoft.com/office/drawing/2014/main" id="{1AA2F543-E956-435A-84E9-7A152C9A0A59}"/>
                </a:ext>
              </a:extLst>
            </p:cNvPr>
            <p:cNvSpPr>
              <a:spLocks noChangeArrowheads="1"/>
            </p:cNvSpPr>
            <p:nvPr/>
          </p:nvSpPr>
          <p:spPr bwMode="auto">
            <a:xfrm>
              <a:off x="7847013" y="1992313"/>
              <a:ext cx="104775" cy="165100"/>
            </a:xfrm>
            <a:prstGeom prst="rect">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3" name="Freeform 316">
              <a:extLst>
                <a:ext uri="{FF2B5EF4-FFF2-40B4-BE49-F238E27FC236}">
                  <a16:creationId xmlns:a16="http://schemas.microsoft.com/office/drawing/2014/main" id="{557EE770-0062-411A-B18A-9CD1DCE71D54}"/>
                </a:ext>
              </a:extLst>
            </p:cNvPr>
            <p:cNvSpPr>
              <a:spLocks/>
            </p:cNvSpPr>
            <p:nvPr/>
          </p:nvSpPr>
          <p:spPr bwMode="auto">
            <a:xfrm>
              <a:off x="7816851" y="1885951"/>
              <a:ext cx="165100" cy="106363"/>
            </a:xfrm>
            <a:custGeom>
              <a:avLst/>
              <a:gdLst>
                <a:gd name="T0" fmla="*/ 52 w 104"/>
                <a:gd name="T1" fmla="*/ 0 h 67"/>
                <a:gd name="T2" fmla="*/ 104 w 104"/>
                <a:gd name="T3" fmla="*/ 67 h 67"/>
                <a:gd name="T4" fmla="*/ 0 w 104"/>
                <a:gd name="T5" fmla="*/ 67 h 67"/>
                <a:gd name="T6" fmla="*/ 52 w 104"/>
                <a:gd name="T7" fmla="*/ 0 h 67"/>
              </a:gdLst>
              <a:ahLst/>
              <a:cxnLst>
                <a:cxn ang="0">
                  <a:pos x="T0" y="T1"/>
                </a:cxn>
                <a:cxn ang="0">
                  <a:pos x="T2" y="T3"/>
                </a:cxn>
                <a:cxn ang="0">
                  <a:pos x="T4" y="T5"/>
                </a:cxn>
                <a:cxn ang="0">
                  <a:pos x="T6" y="T7"/>
                </a:cxn>
              </a:cxnLst>
              <a:rect l="0" t="0" r="r" b="b"/>
              <a:pathLst>
                <a:path w="104" h="67">
                  <a:moveTo>
                    <a:pt x="52" y="0"/>
                  </a:moveTo>
                  <a:lnTo>
                    <a:pt x="104" y="67"/>
                  </a:lnTo>
                  <a:lnTo>
                    <a:pt x="0" y="67"/>
                  </a:lnTo>
                  <a:lnTo>
                    <a:pt x="52" y="0"/>
                  </a:lnTo>
                  <a:close/>
                </a:path>
              </a:pathLst>
            </a:cu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4" name="Rectangle 317">
              <a:extLst>
                <a:ext uri="{FF2B5EF4-FFF2-40B4-BE49-F238E27FC236}">
                  <a16:creationId xmlns:a16="http://schemas.microsoft.com/office/drawing/2014/main" id="{9029114E-DA16-4AD9-8CAE-6B9B072DA588}"/>
                </a:ext>
              </a:extLst>
            </p:cNvPr>
            <p:cNvSpPr>
              <a:spLocks noChangeArrowheads="1"/>
            </p:cNvSpPr>
            <p:nvPr/>
          </p:nvSpPr>
          <p:spPr bwMode="auto">
            <a:xfrm>
              <a:off x="7981951" y="2066926"/>
              <a:ext cx="30163"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5" name="Rectangle 318">
              <a:extLst>
                <a:ext uri="{FF2B5EF4-FFF2-40B4-BE49-F238E27FC236}">
                  <a16:creationId xmlns:a16="http://schemas.microsoft.com/office/drawing/2014/main" id="{F645A4BC-C8C4-4AB8-B4CA-C16D892A9BA7}"/>
                </a:ext>
              </a:extLst>
            </p:cNvPr>
            <p:cNvSpPr>
              <a:spLocks noChangeArrowheads="1"/>
            </p:cNvSpPr>
            <p:nvPr/>
          </p:nvSpPr>
          <p:spPr bwMode="auto">
            <a:xfrm>
              <a:off x="7786688" y="2066926"/>
              <a:ext cx="30163"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6" name="Rectangle 319">
              <a:extLst>
                <a:ext uri="{FF2B5EF4-FFF2-40B4-BE49-F238E27FC236}">
                  <a16:creationId xmlns:a16="http://schemas.microsoft.com/office/drawing/2014/main" id="{F0E00AF1-937A-4F42-9997-AD68F1E571F5}"/>
                </a:ext>
              </a:extLst>
            </p:cNvPr>
            <p:cNvSpPr>
              <a:spLocks noChangeArrowheads="1"/>
            </p:cNvSpPr>
            <p:nvPr/>
          </p:nvSpPr>
          <p:spPr bwMode="auto">
            <a:xfrm>
              <a:off x="7877176" y="2066926"/>
              <a:ext cx="44450" cy="90488"/>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77" name="Group 123">
            <a:extLst>
              <a:ext uri="{FF2B5EF4-FFF2-40B4-BE49-F238E27FC236}">
                <a16:creationId xmlns:a16="http://schemas.microsoft.com/office/drawing/2014/main" id="{29F83191-C6C5-4B59-9EE1-DFA52CEF34C8}"/>
              </a:ext>
            </a:extLst>
          </p:cNvPr>
          <p:cNvGrpSpPr>
            <a:grpSpLocks noChangeAspect="1"/>
          </p:cNvGrpSpPr>
          <p:nvPr/>
        </p:nvGrpSpPr>
        <p:grpSpPr>
          <a:xfrm>
            <a:off x="6637662" y="3263433"/>
            <a:ext cx="285618" cy="285619"/>
            <a:chOff x="2678113" y="2171701"/>
            <a:chExt cx="346075" cy="346076"/>
          </a:xfrm>
          <a:noFill/>
          <a:effectLst/>
        </p:grpSpPr>
        <p:sp>
          <p:nvSpPr>
            <p:cNvPr id="1778" name="Rectangle 61">
              <a:extLst>
                <a:ext uri="{FF2B5EF4-FFF2-40B4-BE49-F238E27FC236}">
                  <a16:creationId xmlns:a16="http://schemas.microsoft.com/office/drawing/2014/main" id="{087E62D4-8AAC-4D94-8127-B9D14D214EFF}"/>
                </a:ext>
              </a:extLst>
            </p:cNvPr>
            <p:cNvSpPr>
              <a:spLocks noChangeArrowheads="1"/>
            </p:cNvSpPr>
            <p:nvPr/>
          </p:nvSpPr>
          <p:spPr bwMode="auto">
            <a:xfrm>
              <a:off x="2708276" y="2276476"/>
              <a:ext cx="285750" cy="241300"/>
            </a:xfrm>
            <a:prstGeom prst="rect">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79" name="Line 62">
              <a:extLst>
                <a:ext uri="{FF2B5EF4-FFF2-40B4-BE49-F238E27FC236}">
                  <a16:creationId xmlns:a16="http://schemas.microsoft.com/office/drawing/2014/main" id="{266A76C1-AC3B-4770-9EF5-86F34F8F4168}"/>
                </a:ext>
              </a:extLst>
            </p:cNvPr>
            <p:cNvSpPr>
              <a:spLocks noChangeShapeType="1"/>
            </p:cNvSpPr>
            <p:nvPr/>
          </p:nvSpPr>
          <p:spPr bwMode="auto">
            <a:xfrm>
              <a:off x="2678113" y="2366964"/>
              <a:ext cx="346075" cy="0"/>
            </a:xfrm>
            <a:prstGeom prst="line">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0" name="Line 63">
              <a:extLst>
                <a:ext uri="{FF2B5EF4-FFF2-40B4-BE49-F238E27FC236}">
                  <a16:creationId xmlns:a16="http://schemas.microsoft.com/office/drawing/2014/main" id="{B97A38D1-BD6F-4924-9D35-83D480A7AC45}"/>
                </a:ext>
              </a:extLst>
            </p:cNvPr>
            <p:cNvSpPr>
              <a:spLocks noChangeShapeType="1"/>
            </p:cNvSpPr>
            <p:nvPr/>
          </p:nvSpPr>
          <p:spPr bwMode="auto">
            <a:xfrm>
              <a:off x="2678113" y="2276476"/>
              <a:ext cx="346075" cy="0"/>
            </a:xfrm>
            <a:prstGeom prst="line">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1" name="Line 64">
              <a:extLst>
                <a:ext uri="{FF2B5EF4-FFF2-40B4-BE49-F238E27FC236}">
                  <a16:creationId xmlns:a16="http://schemas.microsoft.com/office/drawing/2014/main" id="{CF385325-3AFF-47CB-9EE2-19EC94CAB8F3}"/>
                </a:ext>
              </a:extLst>
            </p:cNvPr>
            <p:cNvSpPr>
              <a:spLocks noChangeShapeType="1"/>
            </p:cNvSpPr>
            <p:nvPr/>
          </p:nvSpPr>
          <p:spPr bwMode="auto">
            <a:xfrm>
              <a:off x="2813051" y="2201864"/>
              <a:ext cx="74613" cy="0"/>
            </a:xfrm>
            <a:prstGeom prst="line">
              <a:avLst/>
            </a:pr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2" name="Freeform 65">
              <a:extLst>
                <a:ext uri="{FF2B5EF4-FFF2-40B4-BE49-F238E27FC236}">
                  <a16:creationId xmlns:a16="http://schemas.microsoft.com/office/drawing/2014/main" id="{887DABF3-3860-4F67-91E0-84E7057FC385}"/>
                </a:ext>
              </a:extLst>
            </p:cNvPr>
            <p:cNvSpPr>
              <a:spLocks/>
            </p:cNvSpPr>
            <p:nvPr/>
          </p:nvSpPr>
          <p:spPr bwMode="auto">
            <a:xfrm>
              <a:off x="2692401" y="2201864"/>
              <a:ext cx="315913" cy="74613"/>
            </a:xfrm>
            <a:custGeom>
              <a:avLst/>
              <a:gdLst>
                <a:gd name="T0" fmla="*/ 152 w 199"/>
                <a:gd name="T1" fmla="*/ 0 h 47"/>
                <a:gd name="T2" fmla="*/ 175 w 199"/>
                <a:gd name="T3" fmla="*/ 0 h 47"/>
                <a:gd name="T4" fmla="*/ 199 w 199"/>
                <a:gd name="T5" fmla="*/ 47 h 47"/>
                <a:gd name="T6" fmla="*/ 0 w 199"/>
                <a:gd name="T7" fmla="*/ 47 h 47"/>
                <a:gd name="T8" fmla="*/ 24 w 199"/>
                <a:gd name="T9" fmla="*/ 0 h 47"/>
                <a:gd name="T10" fmla="*/ 48 w 199"/>
                <a:gd name="T11" fmla="*/ 0 h 47"/>
              </a:gdLst>
              <a:ahLst/>
              <a:cxnLst>
                <a:cxn ang="0">
                  <a:pos x="T0" y="T1"/>
                </a:cxn>
                <a:cxn ang="0">
                  <a:pos x="T2" y="T3"/>
                </a:cxn>
                <a:cxn ang="0">
                  <a:pos x="T4" y="T5"/>
                </a:cxn>
                <a:cxn ang="0">
                  <a:pos x="T6" y="T7"/>
                </a:cxn>
                <a:cxn ang="0">
                  <a:pos x="T8" y="T9"/>
                </a:cxn>
                <a:cxn ang="0">
                  <a:pos x="T10" y="T11"/>
                </a:cxn>
              </a:cxnLst>
              <a:rect l="0" t="0" r="r" b="b"/>
              <a:pathLst>
                <a:path w="199" h="47">
                  <a:moveTo>
                    <a:pt x="152" y="0"/>
                  </a:moveTo>
                  <a:lnTo>
                    <a:pt x="175" y="0"/>
                  </a:lnTo>
                  <a:lnTo>
                    <a:pt x="199" y="47"/>
                  </a:lnTo>
                  <a:lnTo>
                    <a:pt x="0" y="47"/>
                  </a:lnTo>
                  <a:lnTo>
                    <a:pt x="24" y="0"/>
                  </a:lnTo>
                  <a:lnTo>
                    <a:pt x="48" y="0"/>
                  </a:lnTo>
                </a:path>
              </a:pathLst>
            </a:custGeom>
            <a:grpFill/>
            <a:ln w="12700" cap="rnd"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3" name="Rectangle 66">
              <a:extLst>
                <a:ext uri="{FF2B5EF4-FFF2-40B4-BE49-F238E27FC236}">
                  <a16:creationId xmlns:a16="http://schemas.microsoft.com/office/drawing/2014/main" id="{93F537EA-D85B-4AF4-B292-7F2C0746DBD8}"/>
                </a:ext>
              </a:extLst>
            </p:cNvPr>
            <p:cNvSpPr>
              <a:spLocks noChangeArrowheads="1"/>
            </p:cNvSpPr>
            <p:nvPr/>
          </p:nvSpPr>
          <p:spPr bwMode="auto">
            <a:xfrm>
              <a:off x="2933701" y="2306639"/>
              <a:ext cx="30163"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4" name="Rectangle 67">
              <a:extLst>
                <a:ext uri="{FF2B5EF4-FFF2-40B4-BE49-F238E27FC236}">
                  <a16:creationId xmlns:a16="http://schemas.microsoft.com/office/drawing/2014/main" id="{4725116C-6EA8-48E9-904C-71381DC761CB}"/>
                </a:ext>
              </a:extLst>
            </p:cNvPr>
            <p:cNvSpPr>
              <a:spLocks noChangeArrowheads="1"/>
            </p:cNvSpPr>
            <p:nvPr/>
          </p:nvSpPr>
          <p:spPr bwMode="auto">
            <a:xfrm>
              <a:off x="2873376" y="2306639"/>
              <a:ext cx="30163"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5" name="Rectangle 68">
              <a:extLst>
                <a:ext uri="{FF2B5EF4-FFF2-40B4-BE49-F238E27FC236}">
                  <a16:creationId xmlns:a16="http://schemas.microsoft.com/office/drawing/2014/main" id="{BAB4687B-320F-45BF-8F3C-52516041E1E2}"/>
                </a:ext>
              </a:extLst>
            </p:cNvPr>
            <p:cNvSpPr>
              <a:spLocks noChangeArrowheads="1"/>
            </p:cNvSpPr>
            <p:nvPr/>
          </p:nvSpPr>
          <p:spPr bwMode="auto">
            <a:xfrm>
              <a:off x="2798763" y="2306639"/>
              <a:ext cx="28575"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6" name="Rectangle 69">
              <a:extLst>
                <a:ext uri="{FF2B5EF4-FFF2-40B4-BE49-F238E27FC236}">
                  <a16:creationId xmlns:a16="http://schemas.microsoft.com/office/drawing/2014/main" id="{6D8D7BFC-5FA1-4F24-9DED-5BA893F780F5}"/>
                </a:ext>
              </a:extLst>
            </p:cNvPr>
            <p:cNvSpPr>
              <a:spLocks noChangeArrowheads="1"/>
            </p:cNvSpPr>
            <p:nvPr/>
          </p:nvSpPr>
          <p:spPr bwMode="auto">
            <a:xfrm>
              <a:off x="2738438" y="2306639"/>
              <a:ext cx="30163" cy="3016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7" name="Rectangle 70">
              <a:extLst>
                <a:ext uri="{FF2B5EF4-FFF2-40B4-BE49-F238E27FC236}">
                  <a16:creationId xmlns:a16="http://schemas.microsoft.com/office/drawing/2014/main" id="{48A5347C-BF8E-41EA-9598-71CECB254E3A}"/>
                </a:ext>
              </a:extLst>
            </p:cNvPr>
            <p:cNvSpPr>
              <a:spLocks noChangeArrowheads="1"/>
            </p:cNvSpPr>
            <p:nvPr/>
          </p:nvSpPr>
          <p:spPr bwMode="auto">
            <a:xfrm>
              <a:off x="2813051" y="2443164"/>
              <a:ext cx="74613" cy="7461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8" name="Rectangle 71">
              <a:extLst>
                <a:ext uri="{FF2B5EF4-FFF2-40B4-BE49-F238E27FC236}">
                  <a16:creationId xmlns:a16="http://schemas.microsoft.com/office/drawing/2014/main" id="{BAF31CB3-2C00-4F8C-8333-2F40DE956785}"/>
                </a:ext>
              </a:extLst>
            </p:cNvPr>
            <p:cNvSpPr>
              <a:spLocks noChangeArrowheads="1"/>
            </p:cNvSpPr>
            <p:nvPr/>
          </p:nvSpPr>
          <p:spPr bwMode="auto">
            <a:xfrm>
              <a:off x="2917826" y="2397126"/>
              <a:ext cx="46038" cy="46038"/>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89" name="Rectangle 72">
              <a:extLst>
                <a:ext uri="{FF2B5EF4-FFF2-40B4-BE49-F238E27FC236}">
                  <a16:creationId xmlns:a16="http://schemas.microsoft.com/office/drawing/2014/main" id="{B581591B-17C2-40DB-9D95-968BEC6A3B32}"/>
                </a:ext>
              </a:extLst>
            </p:cNvPr>
            <p:cNvSpPr>
              <a:spLocks noChangeArrowheads="1"/>
            </p:cNvSpPr>
            <p:nvPr/>
          </p:nvSpPr>
          <p:spPr bwMode="auto">
            <a:xfrm>
              <a:off x="2738438" y="2397126"/>
              <a:ext cx="44450" cy="46038"/>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90" name="Rectangle 73">
              <a:extLst>
                <a:ext uri="{FF2B5EF4-FFF2-40B4-BE49-F238E27FC236}">
                  <a16:creationId xmlns:a16="http://schemas.microsoft.com/office/drawing/2014/main" id="{16ED6202-9E8B-473B-A8A3-4A28102AA99C}"/>
                </a:ext>
              </a:extLst>
            </p:cNvPr>
            <p:cNvSpPr>
              <a:spLocks noChangeArrowheads="1"/>
            </p:cNvSpPr>
            <p:nvPr/>
          </p:nvSpPr>
          <p:spPr bwMode="auto">
            <a:xfrm>
              <a:off x="2887663" y="2171701"/>
              <a:ext cx="46038" cy="7461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791" name="Rectangle 74">
              <a:extLst>
                <a:ext uri="{FF2B5EF4-FFF2-40B4-BE49-F238E27FC236}">
                  <a16:creationId xmlns:a16="http://schemas.microsoft.com/office/drawing/2014/main" id="{E9DD27D4-521F-4AE8-9E38-B86CCC8C4D2B}"/>
                </a:ext>
              </a:extLst>
            </p:cNvPr>
            <p:cNvSpPr>
              <a:spLocks noChangeArrowheads="1"/>
            </p:cNvSpPr>
            <p:nvPr/>
          </p:nvSpPr>
          <p:spPr bwMode="auto">
            <a:xfrm>
              <a:off x="2768601" y="2171701"/>
              <a:ext cx="44450" cy="74613"/>
            </a:xfrm>
            <a:prstGeom prst="rect">
              <a:avLst/>
            </a:pr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15" name="Group 58">
            <a:extLst>
              <a:ext uri="{FF2B5EF4-FFF2-40B4-BE49-F238E27FC236}">
                <a16:creationId xmlns:a16="http://schemas.microsoft.com/office/drawing/2014/main" id="{47EC9AC9-0DF8-4688-84BC-C5C23CAD252E}"/>
              </a:ext>
            </a:extLst>
          </p:cNvPr>
          <p:cNvGrpSpPr>
            <a:grpSpLocks noChangeAspect="1"/>
          </p:cNvGrpSpPr>
          <p:nvPr/>
        </p:nvGrpSpPr>
        <p:grpSpPr>
          <a:xfrm>
            <a:off x="7064617" y="3263433"/>
            <a:ext cx="297095" cy="285619"/>
            <a:chOff x="6805613" y="922338"/>
            <a:chExt cx="369887" cy="355600"/>
          </a:xfrm>
          <a:solidFill>
            <a:schemeClr val="bg1"/>
          </a:solidFill>
        </p:grpSpPr>
        <p:sp>
          <p:nvSpPr>
            <p:cNvPr id="1816" name="Freeform 48">
              <a:extLst>
                <a:ext uri="{FF2B5EF4-FFF2-40B4-BE49-F238E27FC236}">
                  <a16:creationId xmlns:a16="http://schemas.microsoft.com/office/drawing/2014/main" id="{518EBF5A-C72E-4AC9-AEDA-91A3E483F972}"/>
                </a:ext>
              </a:extLst>
            </p:cNvPr>
            <p:cNvSpPr>
              <a:spLocks noEditPoints="1"/>
            </p:cNvSpPr>
            <p:nvPr/>
          </p:nvSpPr>
          <p:spPr bwMode="auto">
            <a:xfrm>
              <a:off x="6883400" y="1122363"/>
              <a:ext cx="92075" cy="155575"/>
            </a:xfrm>
            <a:custGeom>
              <a:avLst/>
              <a:gdLst>
                <a:gd name="T0" fmla="*/ 18 w 24"/>
                <a:gd name="T1" fmla="*/ 40 h 40"/>
                <a:gd name="T2" fmla="*/ 6 w 24"/>
                <a:gd name="T3" fmla="*/ 40 h 40"/>
                <a:gd name="T4" fmla="*/ 4 w 24"/>
                <a:gd name="T5" fmla="*/ 38 h 40"/>
                <a:gd name="T6" fmla="*/ 4 w 24"/>
                <a:gd name="T7" fmla="*/ 22 h 40"/>
                <a:gd name="T8" fmla="*/ 0 w 24"/>
                <a:gd name="T9" fmla="*/ 14 h 40"/>
                <a:gd name="T10" fmla="*/ 0 w 24"/>
                <a:gd name="T11" fmla="*/ 2 h 40"/>
                <a:gd name="T12" fmla="*/ 2 w 24"/>
                <a:gd name="T13" fmla="*/ 0 h 40"/>
                <a:gd name="T14" fmla="*/ 22 w 24"/>
                <a:gd name="T15" fmla="*/ 0 h 40"/>
                <a:gd name="T16" fmla="*/ 24 w 24"/>
                <a:gd name="T17" fmla="*/ 2 h 40"/>
                <a:gd name="T18" fmla="*/ 24 w 24"/>
                <a:gd name="T19" fmla="*/ 14 h 40"/>
                <a:gd name="T20" fmla="*/ 20 w 24"/>
                <a:gd name="T21" fmla="*/ 22 h 40"/>
                <a:gd name="T22" fmla="*/ 20 w 24"/>
                <a:gd name="T23" fmla="*/ 38 h 40"/>
                <a:gd name="T24" fmla="*/ 18 w 24"/>
                <a:gd name="T25" fmla="*/ 40 h 40"/>
                <a:gd name="T26" fmla="*/ 8 w 24"/>
                <a:gd name="T27" fmla="*/ 36 h 40"/>
                <a:gd name="T28" fmla="*/ 16 w 24"/>
                <a:gd name="T29" fmla="*/ 36 h 40"/>
                <a:gd name="T30" fmla="*/ 16 w 24"/>
                <a:gd name="T31" fmla="*/ 20 h 40"/>
                <a:gd name="T32" fmla="*/ 18 w 24"/>
                <a:gd name="T33" fmla="*/ 18 h 40"/>
                <a:gd name="T34" fmla="*/ 20 w 24"/>
                <a:gd name="T35" fmla="*/ 14 h 40"/>
                <a:gd name="T36" fmla="*/ 20 w 24"/>
                <a:gd name="T37" fmla="*/ 4 h 40"/>
                <a:gd name="T38" fmla="*/ 4 w 24"/>
                <a:gd name="T39" fmla="*/ 4 h 40"/>
                <a:gd name="T40" fmla="*/ 4 w 24"/>
                <a:gd name="T41" fmla="*/ 14 h 40"/>
                <a:gd name="T42" fmla="*/ 6 w 24"/>
                <a:gd name="T43" fmla="*/ 18 h 40"/>
                <a:gd name="T44" fmla="*/ 8 w 24"/>
                <a:gd name="T45" fmla="*/ 20 h 40"/>
                <a:gd name="T46" fmla="*/ 8 w 24"/>
                <a:gd name="T4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40">
                  <a:moveTo>
                    <a:pt x="18" y="40"/>
                  </a:moveTo>
                  <a:cubicBezTo>
                    <a:pt x="6" y="40"/>
                    <a:pt x="6" y="40"/>
                    <a:pt x="6" y="40"/>
                  </a:cubicBezTo>
                  <a:cubicBezTo>
                    <a:pt x="5" y="40"/>
                    <a:pt x="4" y="39"/>
                    <a:pt x="4" y="38"/>
                  </a:cubicBezTo>
                  <a:cubicBezTo>
                    <a:pt x="4" y="22"/>
                    <a:pt x="4" y="22"/>
                    <a:pt x="4" y="22"/>
                  </a:cubicBezTo>
                  <a:cubicBezTo>
                    <a:pt x="1" y="21"/>
                    <a:pt x="0" y="18"/>
                    <a:pt x="0" y="14"/>
                  </a:cubicBezTo>
                  <a:cubicBezTo>
                    <a:pt x="0" y="2"/>
                    <a:pt x="0" y="2"/>
                    <a:pt x="0" y="2"/>
                  </a:cubicBezTo>
                  <a:cubicBezTo>
                    <a:pt x="0" y="1"/>
                    <a:pt x="1" y="0"/>
                    <a:pt x="2" y="0"/>
                  </a:cubicBezTo>
                  <a:cubicBezTo>
                    <a:pt x="22" y="0"/>
                    <a:pt x="22" y="0"/>
                    <a:pt x="22" y="0"/>
                  </a:cubicBezTo>
                  <a:cubicBezTo>
                    <a:pt x="23" y="0"/>
                    <a:pt x="24" y="1"/>
                    <a:pt x="24" y="2"/>
                  </a:cubicBezTo>
                  <a:cubicBezTo>
                    <a:pt x="24" y="14"/>
                    <a:pt x="24" y="14"/>
                    <a:pt x="24" y="14"/>
                  </a:cubicBezTo>
                  <a:cubicBezTo>
                    <a:pt x="24" y="18"/>
                    <a:pt x="23" y="21"/>
                    <a:pt x="20" y="22"/>
                  </a:cubicBezTo>
                  <a:cubicBezTo>
                    <a:pt x="20" y="38"/>
                    <a:pt x="20" y="38"/>
                    <a:pt x="20" y="38"/>
                  </a:cubicBezTo>
                  <a:cubicBezTo>
                    <a:pt x="20" y="39"/>
                    <a:pt x="19" y="40"/>
                    <a:pt x="18" y="40"/>
                  </a:cubicBezTo>
                  <a:close/>
                  <a:moveTo>
                    <a:pt x="8" y="36"/>
                  </a:moveTo>
                  <a:cubicBezTo>
                    <a:pt x="16" y="36"/>
                    <a:pt x="16" y="36"/>
                    <a:pt x="16" y="36"/>
                  </a:cubicBezTo>
                  <a:cubicBezTo>
                    <a:pt x="16" y="20"/>
                    <a:pt x="16" y="20"/>
                    <a:pt x="16" y="20"/>
                  </a:cubicBezTo>
                  <a:cubicBezTo>
                    <a:pt x="16" y="19"/>
                    <a:pt x="17"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7" y="18"/>
                    <a:pt x="8" y="19"/>
                    <a:pt x="8" y="20"/>
                  </a:cubicBez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7" name="Freeform 49">
              <a:extLst>
                <a:ext uri="{FF2B5EF4-FFF2-40B4-BE49-F238E27FC236}">
                  <a16:creationId xmlns:a16="http://schemas.microsoft.com/office/drawing/2014/main" id="{4BC1C485-F91D-4AE9-95C9-73666AB96E40}"/>
                </a:ext>
              </a:extLst>
            </p:cNvPr>
            <p:cNvSpPr>
              <a:spLocks noEditPoints="1"/>
            </p:cNvSpPr>
            <p:nvPr/>
          </p:nvSpPr>
          <p:spPr bwMode="auto">
            <a:xfrm>
              <a:off x="6897688" y="1046163"/>
              <a:ext cx="61912"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8" name="Freeform 50">
              <a:extLst>
                <a:ext uri="{FF2B5EF4-FFF2-40B4-BE49-F238E27FC236}">
                  <a16:creationId xmlns:a16="http://schemas.microsoft.com/office/drawing/2014/main" id="{2EDA690B-66FB-4989-BD80-7605077A2D74}"/>
                </a:ext>
              </a:extLst>
            </p:cNvPr>
            <p:cNvSpPr>
              <a:spLocks noEditPoints="1"/>
            </p:cNvSpPr>
            <p:nvPr/>
          </p:nvSpPr>
          <p:spPr bwMode="auto">
            <a:xfrm>
              <a:off x="7005638" y="1122363"/>
              <a:ext cx="93662" cy="155575"/>
            </a:xfrm>
            <a:custGeom>
              <a:avLst/>
              <a:gdLst>
                <a:gd name="T0" fmla="*/ 18 w 24"/>
                <a:gd name="T1" fmla="*/ 40 h 40"/>
                <a:gd name="T2" fmla="*/ 6 w 24"/>
                <a:gd name="T3" fmla="*/ 40 h 40"/>
                <a:gd name="T4" fmla="*/ 4 w 24"/>
                <a:gd name="T5" fmla="*/ 38 h 40"/>
                <a:gd name="T6" fmla="*/ 4 w 24"/>
                <a:gd name="T7" fmla="*/ 22 h 40"/>
                <a:gd name="T8" fmla="*/ 0 w 24"/>
                <a:gd name="T9" fmla="*/ 14 h 40"/>
                <a:gd name="T10" fmla="*/ 0 w 24"/>
                <a:gd name="T11" fmla="*/ 2 h 40"/>
                <a:gd name="T12" fmla="*/ 2 w 24"/>
                <a:gd name="T13" fmla="*/ 0 h 40"/>
                <a:gd name="T14" fmla="*/ 22 w 24"/>
                <a:gd name="T15" fmla="*/ 0 h 40"/>
                <a:gd name="T16" fmla="*/ 24 w 24"/>
                <a:gd name="T17" fmla="*/ 2 h 40"/>
                <a:gd name="T18" fmla="*/ 24 w 24"/>
                <a:gd name="T19" fmla="*/ 14 h 40"/>
                <a:gd name="T20" fmla="*/ 20 w 24"/>
                <a:gd name="T21" fmla="*/ 22 h 40"/>
                <a:gd name="T22" fmla="*/ 20 w 24"/>
                <a:gd name="T23" fmla="*/ 38 h 40"/>
                <a:gd name="T24" fmla="*/ 18 w 24"/>
                <a:gd name="T25" fmla="*/ 40 h 40"/>
                <a:gd name="T26" fmla="*/ 8 w 24"/>
                <a:gd name="T27" fmla="*/ 36 h 40"/>
                <a:gd name="T28" fmla="*/ 16 w 24"/>
                <a:gd name="T29" fmla="*/ 36 h 40"/>
                <a:gd name="T30" fmla="*/ 16 w 24"/>
                <a:gd name="T31" fmla="*/ 20 h 40"/>
                <a:gd name="T32" fmla="*/ 18 w 24"/>
                <a:gd name="T33" fmla="*/ 18 h 40"/>
                <a:gd name="T34" fmla="*/ 20 w 24"/>
                <a:gd name="T35" fmla="*/ 14 h 40"/>
                <a:gd name="T36" fmla="*/ 20 w 24"/>
                <a:gd name="T37" fmla="*/ 4 h 40"/>
                <a:gd name="T38" fmla="*/ 4 w 24"/>
                <a:gd name="T39" fmla="*/ 4 h 40"/>
                <a:gd name="T40" fmla="*/ 4 w 24"/>
                <a:gd name="T41" fmla="*/ 14 h 40"/>
                <a:gd name="T42" fmla="*/ 6 w 24"/>
                <a:gd name="T43" fmla="*/ 18 h 40"/>
                <a:gd name="T44" fmla="*/ 8 w 24"/>
                <a:gd name="T45" fmla="*/ 20 h 40"/>
                <a:gd name="T46" fmla="*/ 8 w 24"/>
                <a:gd name="T4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40">
                  <a:moveTo>
                    <a:pt x="18" y="40"/>
                  </a:moveTo>
                  <a:cubicBezTo>
                    <a:pt x="6" y="40"/>
                    <a:pt x="6" y="40"/>
                    <a:pt x="6" y="40"/>
                  </a:cubicBezTo>
                  <a:cubicBezTo>
                    <a:pt x="5" y="40"/>
                    <a:pt x="4" y="39"/>
                    <a:pt x="4" y="38"/>
                  </a:cubicBezTo>
                  <a:cubicBezTo>
                    <a:pt x="4" y="22"/>
                    <a:pt x="4" y="22"/>
                    <a:pt x="4" y="22"/>
                  </a:cubicBezTo>
                  <a:cubicBezTo>
                    <a:pt x="1" y="21"/>
                    <a:pt x="0" y="18"/>
                    <a:pt x="0" y="14"/>
                  </a:cubicBezTo>
                  <a:cubicBezTo>
                    <a:pt x="0" y="2"/>
                    <a:pt x="0" y="2"/>
                    <a:pt x="0" y="2"/>
                  </a:cubicBezTo>
                  <a:cubicBezTo>
                    <a:pt x="0" y="1"/>
                    <a:pt x="1" y="0"/>
                    <a:pt x="2" y="0"/>
                  </a:cubicBezTo>
                  <a:cubicBezTo>
                    <a:pt x="22" y="0"/>
                    <a:pt x="22" y="0"/>
                    <a:pt x="22" y="0"/>
                  </a:cubicBezTo>
                  <a:cubicBezTo>
                    <a:pt x="23" y="0"/>
                    <a:pt x="24" y="1"/>
                    <a:pt x="24" y="2"/>
                  </a:cubicBezTo>
                  <a:cubicBezTo>
                    <a:pt x="24" y="14"/>
                    <a:pt x="24" y="14"/>
                    <a:pt x="24" y="14"/>
                  </a:cubicBezTo>
                  <a:cubicBezTo>
                    <a:pt x="24" y="18"/>
                    <a:pt x="23" y="21"/>
                    <a:pt x="20" y="22"/>
                  </a:cubicBezTo>
                  <a:cubicBezTo>
                    <a:pt x="20" y="38"/>
                    <a:pt x="20" y="38"/>
                    <a:pt x="20" y="38"/>
                  </a:cubicBezTo>
                  <a:cubicBezTo>
                    <a:pt x="20" y="39"/>
                    <a:pt x="19" y="40"/>
                    <a:pt x="18" y="40"/>
                  </a:cubicBezTo>
                  <a:close/>
                  <a:moveTo>
                    <a:pt x="8" y="36"/>
                  </a:moveTo>
                  <a:cubicBezTo>
                    <a:pt x="16" y="36"/>
                    <a:pt x="16" y="36"/>
                    <a:pt x="16" y="36"/>
                  </a:cubicBezTo>
                  <a:cubicBezTo>
                    <a:pt x="16" y="20"/>
                    <a:pt x="16" y="20"/>
                    <a:pt x="16" y="20"/>
                  </a:cubicBezTo>
                  <a:cubicBezTo>
                    <a:pt x="16" y="19"/>
                    <a:pt x="17" y="18"/>
                    <a:pt x="18" y="18"/>
                  </a:cubicBezTo>
                  <a:cubicBezTo>
                    <a:pt x="19" y="18"/>
                    <a:pt x="20" y="18"/>
                    <a:pt x="20" y="14"/>
                  </a:cubicBezTo>
                  <a:cubicBezTo>
                    <a:pt x="20" y="4"/>
                    <a:pt x="20" y="4"/>
                    <a:pt x="20" y="4"/>
                  </a:cubicBezTo>
                  <a:cubicBezTo>
                    <a:pt x="4" y="4"/>
                    <a:pt x="4" y="4"/>
                    <a:pt x="4" y="4"/>
                  </a:cubicBezTo>
                  <a:cubicBezTo>
                    <a:pt x="4" y="14"/>
                    <a:pt x="4" y="14"/>
                    <a:pt x="4" y="14"/>
                  </a:cubicBezTo>
                  <a:cubicBezTo>
                    <a:pt x="4" y="18"/>
                    <a:pt x="5" y="18"/>
                    <a:pt x="6" y="18"/>
                  </a:cubicBezTo>
                  <a:cubicBezTo>
                    <a:pt x="7" y="18"/>
                    <a:pt x="8" y="19"/>
                    <a:pt x="8" y="20"/>
                  </a:cubicBez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9" name="Freeform 51">
              <a:extLst>
                <a:ext uri="{FF2B5EF4-FFF2-40B4-BE49-F238E27FC236}">
                  <a16:creationId xmlns:a16="http://schemas.microsoft.com/office/drawing/2014/main" id="{5865E0A7-5F55-41A1-B54F-1DB47F1DE741}"/>
                </a:ext>
              </a:extLst>
            </p:cNvPr>
            <p:cNvSpPr>
              <a:spLocks noEditPoints="1"/>
            </p:cNvSpPr>
            <p:nvPr/>
          </p:nvSpPr>
          <p:spPr bwMode="auto">
            <a:xfrm>
              <a:off x="7021513" y="1046163"/>
              <a:ext cx="61912"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0" name="Freeform 52">
              <a:extLst>
                <a:ext uri="{FF2B5EF4-FFF2-40B4-BE49-F238E27FC236}">
                  <a16:creationId xmlns:a16="http://schemas.microsoft.com/office/drawing/2014/main" id="{5759B8D6-0C15-4E89-AB67-3ABBAA5E2BB0}"/>
                </a:ext>
              </a:extLst>
            </p:cNvPr>
            <p:cNvSpPr>
              <a:spLocks/>
            </p:cNvSpPr>
            <p:nvPr/>
          </p:nvSpPr>
          <p:spPr bwMode="auto">
            <a:xfrm>
              <a:off x="6851650" y="1092200"/>
              <a:ext cx="15875" cy="185738"/>
            </a:xfrm>
            <a:custGeom>
              <a:avLst/>
              <a:gdLst>
                <a:gd name="T0" fmla="*/ 2 w 4"/>
                <a:gd name="T1" fmla="*/ 48 h 48"/>
                <a:gd name="T2" fmla="*/ 0 w 4"/>
                <a:gd name="T3" fmla="*/ 46 h 48"/>
                <a:gd name="T4" fmla="*/ 0 w 4"/>
                <a:gd name="T5" fmla="*/ 2 h 48"/>
                <a:gd name="T6" fmla="*/ 2 w 4"/>
                <a:gd name="T7" fmla="*/ 0 h 48"/>
                <a:gd name="T8" fmla="*/ 4 w 4"/>
                <a:gd name="T9" fmla="*/ 2 h 48"/>
                <a:gd name="T10" fmla="*/ 4 w 4"/>
                <a:gd name="T11" fmla="*/ 46 h 48"/>
                <a:gd name="T12" fmla="*/ 2 w 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 h="48">
                  <a:moveTo>
                    <a:pt x="2" y="48"/>
                  </a:moveTo>
                  <a:cubicBezTo>
                    <a:pt x="1" y="48"/>
                    <a:pt x="0" y="47"/>
                    <a:pt x="0" y="46"/>
                  </a:cubicBezTo>
                  <a:cubicBezTo>
                    <a:pt x="0" y="2"/>
                    <a:pt x="0" y="2"/>
                    <a:pt x="0" y="2"/>
                  </a:cubicBezTo>
                  <a:cubicBezTo>
                    <a:pt x="0" y="1"/>
                    <a:pt x="1" y="0"/>
                    <a:pt x="2" y="0"/>
                  </a:cubicBezTo>
                  <a:cubicBezTo>
                    <a:pt x="3" y="0"/>
                    <a:pt x="4" y="1"/>
                    <a:pt x="4" y="2"/>
                  </a:cubicBezTo>
                  <a:cubicBezTo>
                    <a:pt x="4" y="46"/>
                    <a:pt x="4" y="46"/>
                    <a:pt x="4" y="46"/>
                  </a:cubicBezTo>
                  <a:cubicBezTo>
                    <a:pt x="4" y="47"/>
                    <a:pt x="3"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1" name="Freeform 53">
              <a:extLst>
                <a:ext uri="{FF2B5EF4-FFF2-40B4-BE49-F238E27FC236}">
                  <a16:creationId xmlns:a16="http://schemas.microsoft.com/office/drawing/2014/main" id="{38B7285A-8872-4ACA-8A05-B142D5FC6250}"/>
                </a:ext>
              </a:extLst>
            </p:cNvPr>
            <p:cNvSpPr>
              <a:spLocks/>
            </p:cNvSpPr>
            <p:nvPr/>
          </p:nvSpPr>
          <p:spPr bwMode="auto">
            <a:xfrm>
              <a:off x="7113588" y="1092200"/>
              <a:ext cx="15875" cy="185738"/>
            </a:xfrm>
            <a:custGeom>
              <a:avLst/>
              <a:gdLst>
                <a:gd name="T0" fmla="*/ 2 w 4"/>
                <a:gd name="T1" fmla="*/ 48 h 48"/>
                <a:gd name="T2" fmla="*/ 0 w 4"/>
                <a:gd name="T3" fmla="*/ 46 h 48"/>
                <a:gd name="T4" fmla="*/ 0 w 4"/>
                <a:gd name="T5" fmla="*/ 2 h 48"/>
                <a:gd name="T6" fmla="*/ 2 w 4"/>
                <a:gd name="T7" fmla="*/ 0 h 48"/>
                <a:gd name="T8" fmla="*/ 4 w 4"/>
                <a:gd name="T9" fmla="*/ 2 h 48"/>
                <a:gd name="T10" fmla="*/ 4 w 4"/>
                <a:gd name="T11" fmla="*/ 46 h 48"/>
                <a:gd name="T12" fmla="*/ 2 w 4"/>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4" h="48">
                  <a:moveTo>
                    <a:pt x="2" y="48"/>
                  </a:moveTo>
                  <a:cubicBezTo>
                    <a:pt x="1" y="48"/>
                    <a:pt x="0" y="47"/>
                    <a:pt x="0" y="46"/>
                  </a:cubicBezTo>
                  <a:cubicBezTo>
                    <a:pt x="0" y="2"/>
                    <a:pt x="0" y="2"/>
                    <a:pt x="0" y="2"/>
                  </a:cubicBezTo>
                  <a:cubicBezTo>
                    <a:pt x="0" y="1"/>
                    <a:pt x="1" y="0"/>
                    <a:pt x="2" y="0"/>
                  </a:cubicBezTo>
                  <a:cubicBezTo>
                    <a:pt x="3" y="0"/>
                    <a:pt x="4" y="1"/>
                    <a:pt x="4" y="2"/>
                  </a:cubicBezTo>
                  <a:cubicBezTo>
                    <a:pt x="4" y="46"/>
                    <a:pt x="4" y="46"/>
                    <a:pt x="4" y="46"/>
                  </a:cubicBezTo>
                  <a:cubicBezTo>
                    <a:pt x="4" y="47"/>
                    <a:pt x="3" y="48"/>
                    <a:pt x="2"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2" name="Freeform 54">
              <a:extLst>
                <a:ext uri="{FF2B5EF4-FFF2-40B4-BE49-F238E27FC236}">
                  <a16:creationId xmlns:a16="http://schemas.microsoft.com/office/drawing/2014/main" id="{53F23820-589F-419F-B808-05CE8AD3D8D1}"/>
                </a:ext>
              </a:extLst>
            </p:cNvPr>
            <p:cNvSpPr>
              <a:spLocks/>
            </p:cNvSpPr>
            <p:nvPr/>
          </p:nvSpPr>
          <p:spPr bwMode="auto">
            <a:xfrm>
              <a:off x="6805613" y="922338"/>
              <a:ext cx="369887" cy="177800"/>
            </a:xfrm>
            <a:custGeom>
              <a:avLst/>
              <a:gdLst>
                <a:gd name="T0" fmla="*/ 94 w 96"/>
                <a:gd name="T1" fmla="*/ 46 h 46"/>
                <a:gd name="T2" fmla="*/ 93 w 96"/>
                <a:gd name="T3" fmla="*/ 45 h 46"/>
                <a:gd name="T4" fmla="*/ 48 w 96"/>
                <a:gd name="T5" fmla="*/ 5 h 46"/>
                <a:gd name="T6" fmla="*/ 3 w 96"/>
                <a:gd name="T7" fmla="*/ 45 h 46"/>
                <a:gd name="T8" fmla="*/ 1 w 96"/>
                <a:gd name="T9" fmla="*/ 45 h 46"/>
                <a:gd name="T10" fmla="*/ 1 w 96"/>
                <a:gd name="T11" fmla="*/ 43 h 46"/>
                <a:gd name="T12" fmla="*/ 47 w 96"/>
                <a:gd name="T13" fmla="*/ 1 h 46"/>
                <a:gd name="T14" fmla="*/ 49 w 96"/>
                <a:gd name="T15" fmla="*/ 1 h 46"/>
                <a:gd name="T16" fmla="*/ 95 w 96"/>
                <a:gd name="T17" fmla="*/ 43 h 46"/>
                <a:gd name="T18" fmla="*/ 95 w 96"/>
                <a:gd name="T19" fmla="*/ 45 h 46"/>
                <a:gd name="T20" fmla="*/ 94 w 96"/>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46">
                  <a:moveTo>
                    <a:pt x="94" y="46"/>
                  </a:moveTo>
                  <a:cubicBezTo>
                    <a:pt x="94" y="46"/>
                    <a:pt x="93" y="46"/>
                    <a:pt x="93" y="45"/>
                  </a:cubicBezTo>
                  <a:cubicBezTo>
                    <a:pt x="48" y="5"/>
                    <a:pt x="48" y="5"/>
                    <a:pt x="48" y="5"/>
                  </a:cubicBezTo>
                  <a:cubicBezTo>
                    <a:pt x="3" y="45"/>
                    <a:pt x="3" y="45"/>
                    <a:pt x="3" y="45"/>
                  </a:cubicBezTo>
                  <a:cubicBezTo>
                    <a:pt x="3" y="46"/>
                    <a:pt x="1" y="46"/>
                    <a:pt x="1" y="45"/>
                  </a:cubicBezTo>
                  <a:cubicBezTo>
                    <a:pt x="0" y="45"/>
                    <a:pt x="0" y="43"/>
                    <a:pt x="1" y="43"/>
                  </a:cubicBezTo>
                  <a:cubicBezTo>
                    <a:pt x="47" y="1"/>
                    <a:pt x="47" y="1"/>
                    <a:pt x="47" y="1"/>
                  </a:cubicBezTo>
                  <a:cubicBezTo>
                    <a:pt x="47" y="0"/>
                    <a:pt x="49" y="0"/>
                    <a:pt x="49" y="1"/>
                  </a:cubicBezTo>
                  <a:cubicBezTo>
                    <a:pt x="95" y="43"/>
                    <a:pt x="95" y="43"/>
                    <a:pt x="95" y="43"/>
                  </a:cubicBezTo>
                  <a:cubicBezTo>
                    <a:pt x="96" y="43"/>
                    <a:pt x="96" y="45"/>
                    <a:pt x="95" y="45"/>
                  </a:cubicBezTo>
                  <a:cubicBezTo>
                    <a:pt x="95" y="46"/>
                    <a:pt x="95" y="46"/>
                    <a:pt x="94"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158" name="Group 89">
            <a:extLst>
              <a:ext uri="{FF2B5EF4-FFF2-40B4-BE49-F238E27FC236}">
                <a16:creationId xmlns:a16="http://schemas.microsoft.com/office/drawing/2014/main" id="{51654BAD-4BD7-4D14-8B6F-0AAF54A73F73}"/>
              </a:ext>
            </a:extLst>
          </p:cNvPr>
          <p:cNvGrpSpPr>
            <a:grpSpLocks noChangeAspect="1"/>
          </p:cNvGrpSpPr>
          <p:nvPr/>
        </p:nvGrpSpPr>
        <p:grpSpPr>
          <a:xfrm>
            <a:off x="284400" y="1647825"/>
            <a:ext cx="287224" cy="285619"/>
            <a:chOff x="2041525" y="4192588"/>
            <a:chExt cx="284163" cy="282575"/>
          </a:xfrm>
          <a:solidFill>
            <a:schemeClr val="bg1"/>
          </a:solidFill>
          <a:effectLst/>
        </p:grpSpPr>
        <p:sp>
          <p:nvSpPr>
            <p:cNvPr id="1159" name="Freeform 224">
              <a:extLst>
                <a:ext uri="{FF2B5EF4-FFF2-40B4-BE49-F238E27FC236}">
                  <a16:creationId xmlns:a16="http://schemas.microsoft.com/office/drawing/2014/main" id="{87A85E7B-E6A8-4C1D-B560-5DA0B586BD16}"/>
                </a:ext>
              </a:extLst>
            </p:cNvPr>
            <p:cNvSpPr>
              <a:spLocks noEditPoints="1"/>
            </p:cNvSpPr>
            <p:nvPr/>
          </p:nvSpPr>
          <p:spPr bwMode="auto">
            <a:xfrm>
              <a:off x="2062163" y="4192588"/>
              <a:ext cx="263525" cy="263525"/>
            </a:xfrm>
            <a:custGeom>
              <a:avLst/>
              <a:gdLst>
                <a:gd name="T0" fmla="*/ 602 w 831"/>
                <a:gd name="T1" fmla="*/ 517 h 831"/>
                <a:gd name="T2" fmla="*/ 319 w 831"/>
                <a:gd name="T3" fmla="*/ 512 h 831"/>
                <a:gd name="T4" fmla="*/ 345 w 831"/>
                <a:gd name="T5" fmla="*/ 346 h 831"/>
                <a:gd name="T6" fmla="*/ 476 w 831"/>
                <a:gd name="T7" fmla="*/ 222 h 831"/>
                <a:gd name="T8" fmla="*/ 533 w 831"/>
                <a:gd name="T9" fmla="*/ 211 h 831"/>
                <a:gd name="T10" fmla="*/ 585 w 831"/>
                <a:gd name="T11" fmla="*/ 232 h 831"/>
                <a:gd name="T12" fmla="*/ 617 w 831"/>
                <a:gd name="T13" fmla="*/ 280 h 831"/>
                <a:gd name="T14" fmla="*/ 617 w 831"/>
                <a:gd name="T15" fmla="*/ 336 h 831"/>
                <a:gd name="T16" fmla="*/ 486 w 831"/>
                <a:gd name="T17" fmla="*/ 485 h 831"/>
                <a:gd name="T18" fmla="*/ 308 w 831"/>
                <a:gd name="T19" fmla="*/ 714 h 831"/>
                <a:gd name="T20" fmla="*/ 167 w 831"/>
                <a:gd name="T21" fmla="*/ 498 h 831"/>
                <a:gd name="T22" fmla="*/ 242 w 831"/>
                <a:gd name="T23" fmla="*/ 499 h 831"/>
                <a:gd name="T24" fmla="*/ 298 w 831"/>
                <a:gd name="T25" fmla="*/ 533 h 831"/>
                <a:gd name="T26" fmla="*/ 334 w 831"/>
                <a:gd name="T27" fmla="*/ 598 h 831"/>
                <a:gd name="T28" fmla="*/ 332 w 831"/>
                <a:gd name="T29" fmla="*/ 670 h 831"/>
                <a:gd name="T30" fmla="*/ 686 w 831"/>
                <a:gd name="T31" fmla="*/ 140 h 831"/>
                <a:gd name="T32" fmla="*/ 686 w 831"/>
                <a:gd name="T33" fmla="*/ 155 h 831"/>
                <a:gd name="T34" fmla="*/ 676 w 831"/>
                <a:gd name="T35" fmla="*/ 145 h 831"/>
                <a:gd name="T36" fmla="*/ 122 w 831"/>
                <a:gd name="T37" fmla="*/ 36 h 831"/>
                <a:gd name="T38" fmla="*/ 609 w 831"/>
                <a:gd name="T39" fmla="*/ 482 h 831"/>
                <a:gd name="T40" fmla="*/ 591 w 831"/>
                <a:gd name="T41" fmla="*/ 485 h 831"/>
                <a:gd name="T42" fmla="*/ 634 w 831"/>
                <a:gd name="T43" fmla="*/ 370 h 831"/>
                <a:gd name="T44" fmla="*/ 650 w 831"/>
                <a:gd name="T45" fmla="*/ 304 h 831"/>
                <a:gd name="T46" fmla="*/ 630 w 831"/>
                <a:gd name="T47" fmla="*/ 239 h 831"/>
                <a:gd name="T48" fmla="*/ 697 w 831"/>
                <a:gd name="T49" fmla="*/ 183 h 831"/>
                <a:gd name="T50" fmla="*/ 721 w 831"/>
                <a:gd name="T51" fmla="*/ 148 h 831"/>
                <a:gd name="T52" fmla="*/ 697 w 831"/>
                <a:gd name="T53" fmla="*/ 114 h 831"/>
                <a:gd name="T54" fmla="*/ 656 w 831"/>
                <a:gd name="T55" fmla="*/ 121 h 831"/>
                <a:gd name="T56" fmla="*/ 647 w 831"/>
                <a:gd name="T57" fmla="*/ 162 h 831"/>
                <a:gd name="T58" fmla="*/ 554 w 831"/>
                <a:gd name="T59" fmla="*/ 184 h 831"/>
                <a:gd name="T60" fmla="*/ 484 w 831"/>
                <a:gd name="T61" fmla="*/ 185 h 831"/>
                <a:gd name="T62" fmla="*/ 336 w 831"/>
                <a:gd name="T63" fmla="*/ 314 h 831"/>
                <a:gd name="T64" fmla="*/ 351 w 831"/>
                <a:gd name="T65" fmla="*/ 228 h 831"/>
                <a:gd name="T66" fmla="*/ 129 w 831"/>
                <a:gd name="T67" fmla="*/ 2 h 831"/>
                <a:gd name="T68" fmla="*/ 113 w 831"/>
                <a:gd name="T69" fmla="*/ 2 h 831"/>
                <a:gd name="T70" fmla="*/ 0 w 831"/>
                <a:gd name="T71" fmla="*/ 121 h 831"/>
                <a:gd name="T72" fmla="*/ 220 w 831"/>
                <a:gd name="T73" fmla="*/ 348 h 831"/>
                <a:gd name="T74" fmla="*/ 236 w 831"/>
                <a:gd name="T75" fmla="*/ 348 h 831"/>
                <a:gd name="T76" fmla="*/ 215 w 831"/>
                <a:gd name="T77" fmla="*/ 437 h 831"/>
                <a:gd name="T78" fmla="*/ 218 w 831"/>
                <a:gd name="T79" fmla="*/ 453 h 831"/>
                <a:gd name="T80" fmla="*/ 153 w 831"/>
                <a:gd name="T81" fmla="*/ 470 h 831"/>
                <a:gd name="T82" fmla="*/ 82 w 831"/>
                <a:gd name="T83" fmla="*/ 514 h 831"/>
                <a:gd name="T84" fmla="*/ 82 w 831"/>
                <a:gd name="T85" fmla="*/ 531 h 831"/>
                <a:gd name="T86" fmla="*/ 309 w 831"/>
                <a:gd name="T87" fmla="*/ 751 h 831"/>
                <a:gd name="T88" fmla="*/ 333 w 831"/>
                <a:gd name="T89" fmla="*/ 731 h 831"/>
                <a:gd name="T90" fmla="*/ 360 w 831"/>
                <a:gd name="T91" fmla="*/ 677 h 831"/>
                <a:gd name="T92" fmla="*/ 367 w 831"/>
                <a:gd name="T93" fmla="*/ 620 h 831"/>
                <a:gd name="T94" fmla="*/ 386 w 831"/>
                <a:gd name="T95" fmla="*/ 617 h 831"/>
                <a:gd name="T96" fmla="*/ 495 w 831"/>
                <a:gd name="T97" fmla="*/ 517 h 831"/>
                <a:gd name="T98" fmla="*/ 480 w 831"/>
                <a:gd name="T99" fmla="*/ 602 h 831"/>
                <a:gd name="T100" fmla="*/ 701 w 831"/>
                <a:gd name="T101" fmla="*/ 828 h 831"/>
                <a:gd name="T102" fmla="*/ 718 w 831"/>
                <a:gd name="T103" fmla="*/ 828 h 831"/>
                <a:gd name="T104" fmla="*/ 831 w 831"/>
                <a:gd name="T105" fmla="*/ 7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1" h="831">
                  <a:moveTo>
                    <a:pt x="709" y="795"/>
                  </a:moveTo>
                  <a:lnTo>
                    <a:pt x="517" y="602"/>
                  </a:lnTo>
                  <a:lnTo>
                    <a:pt x="559" y="560"/>
                  </a:lnTo>
                  <a:lnTo>
                    <a:pt x="559" y="560"/>
                  </a:lnTo>
                  <a:lnTo>
                    <a:pt x="559" y="560"/>
                  </a:lnTo>
                  <a:lnTo>
                    <a:pt x="602" y="517"/>
                  </a:lnTo>
                  <a:lnTo>
                    <a:pt x="795" y="709"/>
                  </a:lnTo>
                  <a:lnTo>
                    <a:pt x="709" y="795"/>
                  </a:lnTo>
                  <a:close/>
                  <a:moveTo>
                    <a:pt x="388" y="581"/>
                  </a:moveTo>
                  <a:lnTo>
                    <a:pt x="319" y="512"/>
                  </a:lnTo>
                  <a:lnTo>
                    <a:pt x="319" y="512"/>
                  </a:lnTo>
                  <a:lnTo>
                    <a:pt x="319" y="512"/>
                  </a:lnTo>
                  <a:lnTo>
                    <a:pt x="319" y="512"/>
                  </a:lnTo>
                  <a:lnTo>
                    <a:pt x="319" y="512"/>
                  </a:lnTo>
                  <a:lnTo>
                    <a:pt x="249" y="442"/>
                  </a:lnTo>
                  <a:lnTo>
                    <a:pt x="345" y="346"/>
                  </a:lnTo>
                  <a:lnTo>
                    <a:pt x="345" y="346"/>
                  </a:lnTo>
                  <a:lnTo>
                    <a:pt x="345" y="346"/>
                  </a:lnTo>
                  <a:lnTo>
                    <a:pt x="345" y="346"/>
                  </a:lnTo>
                  <a:lnTo>
                    <a:pt x="345" y="346"/>
                  </a:lnTo>
                  <a:lnTo>
                    <a:pt x="452" y="239"/>
                  </a:lnTo>
                  <a:lnTo>
                    <a:pt x="460" y="232"/>
                  </a:lnTo>
                  <a:lnTo>
                    <a:pt x="467" y="227"/>
                  </a:lnTo>
                  <a:lnTo>
                    <a:pt x="476" y="222"/>
                  </a:lnTo>
                  <a:lnTo>
                    <a:pt x="484" y="217"/>
                  </a:lnTo>
                  <a:lnTo>
                    <a:pt x="494" y="214"/>
                  </a:lnTo>
                  <a:lnTo>
                    <a:pt x="503" y="212"/>
                  </a:lnTo>
                  <a:lnTo>
                    <a:pt x="512" y="211"/>
                  </a:lnTo>
                  <a:lnTo>
                    <a:pt x="522" y="210"/>
                  </a:lnTo>
                  <a:lnTo>
                    <a:pt x="533" y="211"/>
                  </a:lnTo>
                  <a:lnTo>
                    <a:pt x="541" y="212"/>
                  </a:lnTo>
                  <a:lnTo>
                    <a:pt x="551" y="214"/>
                  </a:lnTo>
                  <a:lnTo>
                    <a:pt x="560" y="217"/>
                  </a:lnTo>
                  <a:lnTo>
                    <a:pt x="569" y="222"/>
                  </a:lnTo>
                  <a:lnTo>
                    <a:pt x="576" y="227"/>
                  </a:lnTo>
                  <a:lnTo>
                    <a:pt x="585" y="232"/>
                  </a:lnTo>
                  <a:lnTo>
                    <a:pt x="591" y="239"/>
                  </a:lnTo>
                  <a:lnTo>
                    <a:pt x="599" y="246"/>
                  </a:lnTo>
                  <a:lnTo>
                    <a:pt x="604" y="255"/>
                  </a:lnTo>
                  <a:lnTo>
                    <a:pt x="610" y="262"/>
                  </a:lnTo>
                  <a:lnTo>
                    <a:pt x="614" y="272"/>
                  </a:lnTo>
                  <a:lnTo>
                    <a:pt x="617" y="280"/>
                  </a:lnTo>
                  <a:lnTo>
                    <a:pt x="619" y="290"/>
                  </a:lnTo>
                  <a:lnTo>
                    <a:pt x="620" y="299"/>
                  </a:lnTo>
                  <a:lnTo>
                    <a:pt x="620" y="308"/>
                  </a:lnTo>
                  <a:lnTo>
                    <a:pt x="620" y="318"/>
                  </a:lnTo>
                  <a:lnTo>
                    <a:pt x="619" y="328"/>
                  </a:lnTo>
                  <a:lnTo>
                    <a:pt x="617" y="336"/>
                  </a:lnTo>
                  <a:lnTo>
                    <a:pt x="614" y="346"/>
                  </a:lnTo>
                  <a:lnTo>
                    <a:pt x="610" y="354"/>
                  </a:lnTo>
                  <a:lnTo>
                    <a:pt x="604" y="363"/>
                  </a:lnTo>
                  <a:lnTo>
                    <a:pt x="599" y="370"/>
                  </a:lnTo>
                  <a:lnTo>
                    <a:pt x="591" y="378"/>
                  </a:lnTo>
                  <a:lnTo>
                    <a:pt x="486" y="485"/>
                  </a:lnTo>
                  <a:lnTo>
                    <a:pt x="486" y="485"/>
                  </a:lnTo>
                  <a:lnTo>
                    <a:pt x="484" y="485"/>
                  </a:lnTo>
                  <a:lnTo>
                    <a:pt x="484" y="485"/>
                  </a:lnTo>
                  <a:lnTo>
                    <a:pt x="484" y="485"/>
                  </a:lnTo>
                  <a:lnTo>
                    <a:pt x="388" y="581"/>
                  </a:lnTo>
                  <a:close/>
                  <a:moveTo>
                    <a:pt x="308" y="714"/>
                  </a:moveTo>
                  <a:lnTo>
                    <a:pt x="117" y="523"/>
                  </a:lnTo>
                  <a:lnTo>
                    <a:pt x="126" y="516"/>
                  </a:lnTo>
                  <a:lnTo>
                    <a:pt x="136" y="510"/>
                  </a:lnTo>
                  <a:lnTo>
                    <a:pt x="145" y="505"/>
                  </a:lnTo>
                  <a:lnTo>
                    <a:pt x="156" y="501"/>
                  </a:lnTo>
                  <a:lnTo>
                    <a:pt x="167" y="498"/>
                  </a:lnTo>
                  <a:lnTo>
                    <a:pt x="179" y="494"/>
                  </a:lnTo>
                  <a:lnTo>
                    <a:pt x="190" y="493"/>
                  </a:lnTo>
                  <a:lnTo>
                    <a:pt x="202" y="493"/>
                  </a:lnTo>
                  <a:lnTo>
                    <a:pt x="215" y="493"/>
                  </a:lnTo>
                  <a:lnTo>
                    <a:pt x="229" y="496"/>
                  </a:lnTo>
                  <a:lnTo>
                    <a:pt x="242" y="499"/>
                  </a:lnTo>
                  <a:lnTo>
                    <a:pt x="253" y="503"/>
                  </a:lnTo>
                  <a:lnTo>
                    <a:pt x="265" y="509"/>
                  </a:lnTo>
                  <a:lnTo>
                    <a:pt x="277" y="516"/>
                  </a:lnTo>
                  <a:lnTo>
                    <a:pt x="288" y="523"/>
                  </a:lnTo>
                  <a:lnTo>
                    <a:pt x="298" y="533"/>
                  </a:lnTo>
                  <a:lnTo>
                    <a:pt x="298" y="533"/>
                  </a:lnTo>
                  <a:lnTo>
                    <a:pt x="307" y="543"/>
                  </a:lnTo>
                  <a:lnTo>
                    <a:pt x="314" y="552"/>
                  </a:lnTo>
                  <a:lnTo>
                    <a:pt x="321" y="564"/>
                  </a:lnTo>
                  <a:lnTo>
                    <a:pt x="326" y="575"/>
                  </a:lnTo>
                  <a:lnTo>
                    <a:pt x="330" y="586"/>
                  </a:lnTo>
                  <a:lnTo>
                    <a:pt x="334" y="598"/>
                  </a:lnTo>
                  <a:lnTo>
                    <a:pt x="337" y="610"/>
                  </a:lnTo>
                  <a:lnTo>
                    <a:pt x="338" y="622"/>
                  </a:lnTo>
                  <a:lnTo>
                    <a:pt x="338" y="635"/>
                  </a:lnTo>
                  <a:lnTo>
                    <a:pt x="337" y="646"/>
                  </a:lnTo>
                  <a:lnTo>
                    <a:pt x="335" y="658"/>
                  </a:lnTo>
                  <a:lnTo>
                    <a:pt x="332" y="670"/>
                  </a:lnTo>
                  <a:lnTo>
                    <a:pt x="327" y="682"/>
                  </a:lnTo>
                  <a:lnTo>
                    <a:pt x="322" y="693"/>
                  </a:lnTo>
                  <a:lnTo>
                    <a:pt x="315" y="704"/>
                  </a:lnTo>
                  <a:lnTo>
                    <a:pt x="308" y="714"/>
                  </a:lnTo>
                  <a:close/>
                  <a:moveTo>
                    <a:pt x="682" y="140"/>
                  </a:moveTo>
                  <a:lnTo>
                    <a:pt x="686" y="140"/>
                  </a:lnTo>
                  <a:lnTo>
                    <a:pt x="688" y="142"/>
                  </a:lnTo>
                  <a:lnTo>
                    <a:pt x="690" y="145"/>
                  </a:lnTo>
                  <a:lnTo>
                    <a:pt x="691" y="148"/>
                  </a:lnTo>
                  <a:lnTo>
                    <a:pt x="690" y="151"/>
                  </a:lnTo>
                  <a:lnTo>
                    <a:pt x="688" y="153"/>
                  </a:lnTo>
                  <a:lnTo>
                    <a:pt x="686" y="155"/>
                  </a:lnTo>
                  <a:lnTo>
                    <a:pt x="682" y="156"/>
                  </a:lnTo>
                  <a:lnTo>
                    <a:pt x="679" y="155"/>
                  </a:lnTo>
                  <a:lnTo>
                    <a:pt x="677" y="153"/>
                  </a:lnTo>
                  <a:lnTo>
                    <a:pt x="676" y="151"/>
                  </a:lnTo>
                  <a:lnTo>
                    <a:pt x="675" y="148"/>
                  </a:lnTo>
                  <a:lnTo>
                    <a:pt x="676" y="145"/>
                  </a:lnTo>
                  <a:lnTo>
                    <a:pt x="677" y="142"/>
                  </a:lnTo>
                  <a:lnTo>
                    <a:pt x="679" y="141"/>
                  </a:lnTo>
                  <a:lnTo>
                    <a:pt x="682" y="140"/>
                  </a:lnTo>
                  <a:close/>
                  <a:moveTo>
                    <a:pt x="229" y="314"/>
                  </a:moveTo>
                  <a:lnTo>
                    <a:pt x="36" y="121"/>
                  </a:lnTo>
                  <a:lnTo>
                    <a:pt x="122" y="36"/>
                  </a:lnTo>
                  <a:lnTo>
                    <a:pt x="314" y="228"/>
                  </a:lnTo>
                  <a:lnTo>
                    <a:pt x="229" y="314"/>
                  </a:lnTo>
                  <a:close/>
                  <a:moveTo>
                    <a:pt x="827" y="699"/>
                  </a:moveTo>
                  <a:lnTo>
                    <a:pt x="613" y="485"/>
                  </a:lnTo>
                  <a:lnTo>
                    <a:pt x="611" y="483"/>
                  </a:lnTo>
                  <a:lnTo>
                    <a:pt x="609" y="482"/>
                  </a:lnTo>
                  <a:lnTo>
                    <a:pt x="605" y="481"/>
                  </a:lnTo>
                  <a:lnTo>
                    <a:pt x="602" y="481"/>
                  </a:lnTo>
                  <a:lnTo>
                    <a:pt x="600" y="481"/>
                  </a:lnTo>
                  <a:lnTo>
                    <a:pt x="597" y="482"/>
                  </a:lnTo>
                  <a:lnTo>
                    <a:pt x="595" y="483"/>
                  </a:lnTo>
                  <a:lnTo>
                    <a:pt x="591" y="485"/>
                  </a:lnTo>
                  <a:lnTo>
                    <a:pt x="549" y="528"/>
                  </a:lnTo>
                  <a:lnTo>
                    <a:pt x="517" y="496"/>
                  </a:lnTo>
                  <a:lnTo>
                    <a:pt x="613" y="399"/>
                  </a:lnTo>
                  <a:lnTo>
                    <a:pt x="621" y="391"/>
                  </a:lnTo>
                  <a:lnTo>
                    <a:pt x="629" y="381"/>
                  </a:lnTo>
                  <a:lnTo>
                    <a:pt x="634" y="370"/>
                  </a:lnTo>
                  <a:lnTo>
                    <a:pt x="640" y="360"/>
                  </a:lnTo>
                  <a:lnTo>
                    <a:pt x="644" y="349"/>
                  </a:lnTo>
                  <a:lnTo>
                    <a:pt x="647" y="338"/>
                  </a:lnTo>
                  <a:lnTo>
                    <a:pt x="649" y="326"/>
                  </a:lnTo>
                  <a:lnTo>
                    <a:pt x="650" y="316"/>
                  </a:lnTo>
                  <a:lnTo>
                    <a:pt x="650" y="304"/>
                  </a:lnTo>
                  <a:lnTo>
                    <a:pt x="649" y="292"/>
                  </a:lnTo>
                  <a:lnTo>
                    <a:pt x="648" y="282"/>
                  </a:lnTo>
                  <a:lnTo>
                    <a:pt x="645" y="270"/>
                  </a:lnTo>
                  <a:lnTo>
                    <a:pt x="641" y="259"/>
                  </a:lnTo>
                  <a:lnTo>
                    <a:pt x="636" y="248"/>
                  </a:lnTo>
                  <a:lnTo>
                    <a:pt x="630" y="239"/>
                  </a:lnTo>
                  <a:lnTo>
                    <a:pt x="624" y="229"/>
                  </a:lnTo>
                  <a:lnTo>
                    <a:pt x="668" y="183"/>
                  </a:lnTo>
                  <a:lnTo>
                    <a:pt x="676" y="185"/>
                  </a:lnTo>
                  <a:lnTo>
                    <a:pt x="682" y="186"/>
                  </a:lnTo>
                  <a:lnTo>
                    <a:pt x="690" y="185"/>
                  </a:lnTo>
                  <a:lnTo>
                    <a:pt x="697" y="183"/>
                  </a:lnTo>
                  <a:lnTo>
                    <a:pt x="704" y="180"/>
                  </a:lnTo>
                  <a:lnTo>
                    <a:pt x="709" y="175"/>
                  </a:lnTo>
                  <a:lnTo>
                    <a:pt x="714" y="169"/>
                  </a:lnTo>
                  <a:lnTo>
                    <a:pt x="718" y="163"/>
                  </a:lnTo>
                  <a:lnTo>
                    <a:pt x="720" y="155"/>
                  </a:lnTo>
                  <a:lnTo>
                    <a:pt x="721" y="148"/>
                  </a:lnTo>
                  <a:lnTo>
                    <a:pt x="720" y="140"/>
                  </a:lnTo>
                  <a:lnTo>
                    <a:pt x="718" y="134"/>
                  </a:lnTo>
                  <a:lnTo>
                    <a:pt x="714" y="128"/>
                  </a:lnTo>
                  <a:lnTo>
                    <a:pt x="709" y="121"/>
                  </a:lnTo>
                  <a:lnTo>
                    <a:pt x="704" y="117"/>
                  </a:lnTo>
                  <a:lnTo>
                    <a:pt x="697" y="114"/>
                  </a:lnTo>
                  <a:lnTo>
                    <a:pt x="690" y="111"/>
                  </a:lnTo>
                  <a:lnTo>
                    <a:pt x="682" y="110"/>
                  </a:lnTo>
                  <a:lnTo>
                    <a:pt x="675" y="111"/>
                  </a:lnTo>
                  <a:lnTo>
                    <a:pt x="668" y="114"/>
                  </a:lnTo>
                  <a:lnTo>
                    <a:pt x="662" y="117"/>
                  </a:lnTo>
                  <a:lnTo>
                    <a:pt x="656" y="121"/>
                  </a:lnTo>
                  <a:lnTo>
                    <a:pt x="651" y="128"/>
                  </a:lnTo>
                  <a:lnTo>
                    <a:pt x="648" y="134"/>
                  </a:lnTo>
                  <a:lnTo>
                    <a:pt x="646" y="140"/>
                  </a:lnTo>
                  <a:lnTo>
                    <a:pt x="645" y="148"/>
                  </a:lnTo>
                  <a:lnTo>
                    <a:pt x="646" y="155"/>
                  </a:lnTo>
                  <a:lnTo>
                    <a:pt x="647" y="162"/>
                  </a:lnTo>
                  <a:lnTo>
                    <a:pt x="602" y="208"/>
                  </a:lnTo>
                  <a:lnTo>
                    <a:pt x="594" y="201"/>
                  </a:lnTo>
                  <a:lnTo>
                    <a:pt x="584" y="196"/>
                  </a:lnTo>
                  <a:lnTo>
                    <a:pt x="574" y="191"/>
                  </a:lnTo>
                  <a:lnTo>
                    <a:pt x="565" y="187"/>
                  </a:lnTo>
                  <a:lnTo>
                    <a:pt x="554" y="184"/>
                  </a:lnTo>
                  <a:lnTo>
                    <a:pt x="544" y="182"/>
                  </a:lnTo>
                  <a:lnTo>
                    <a:pt x="534" y="181"/>
                  </a:lnTo>
                  <a:lnTo>
                    <a:pt x="522" y="180"/>
                  </a:lnTo>
                  <a:lnTo>
                    <a:pt x="509" y="181"/>
                  </a:lnTo>
                  <a:lnTo>
                    <a:pt x="497" y="182"/>
                  </a:lnTo>
                  <a:lnTo>
                    <a:pt x="484" y="185"/>
                  </a:lnTo>
                  <a:lnTo>
                    <a:pt x="473" y="190"/>
                  </a:lnTo>
                  <a:lnTo>
                    <a:pt x="462" y="195"/>
                  </a:lnTo>
                  <a:lnTo>
                    <a:pt x="451" y="201"/>
                  </a:lnTo>
                  <a:lnTo>
                    <a:pt x="441" y="209"/>
                  </a:lnTo>
                  <a:lnTo>
                    <a:pt x="432" y="217"/>
                  </a:lnTo>
                  <a:lnTo>
                    <a:pt x="336" y="314"/>
                  </a:lnTo>
                  <a:lnTo>
                    <a:pt x="303" y="282"/>
                  </a:lnTo>
                  <a:lnTo>
                    <a:pt x="345" y="239"/>
                  </a:lnTo>
                  <a:lnTo>
                    <a:pt x="348" y="237"/>
                  </a:lnTo>
                  <a:lnTo>
                    <a:pt x="349" y="234"/>
                  </a:lnTo>
                  <a:lnTo>
                    <a:pt x="350" y="231"/>
                  </a:lnTo>
                  <a:lnTo>
                    <a:pt x="351" y="228"/>
                  </a:lnTo>
                  <a:lnTo>
                    <a:pt x="350" y="225"/>
                  </a:lnTo>
                  <a:lnTo>
                    <a:pt x="349" y="223"/>
                  </a:lnTo>
                  <a:lnTo>
                    <a:pt x="348" y="220"/>
                  </a:lnTo>
                  <a:lnTo>
                    <a:pt x="345" y="217"/>
                  </a:lnTo>
                  <a:lnTo>
                    <a:pt x="133" y="3"/>
                  </a:lnTo>
                  <a:lnTo>
                    <a:pt x="129" y="2"/>
                  </a:lnTo>
                  <a:lnTo>
                    <a:pt x="127" y="1"/>
                  </a:lnTo>
                  <a:lnTo>
                    <a:pt x="124" y="0"/>
                  </a:lnTo>
                  <a:lnTo>
                    <a:pt x="122" y="0"/>
                  </a:lnTo>
                  <a:lnTo>
                    <a:pt x="119" y="0"/>
                  </a:lnTo>
                  <a:lnTo>
                    <a:pt x="115" y="1"/>
                  </a:lnTo>
                  <a:lnTo>
                    <a:pt x="113" y="2"/>
                  </a:lnTo>
                  <a:lnTo>
                    <a:pt x="111" y="3"/>
                  </a:lnTo>
                  <a:lnTo>
                    <a:pt x="4" y="110"/>
                  </a:lnTo>
                  <a:lnTo>
                    <a:pt x="2" y="114"/>
                  </a:lnTo>
                  <a:lnTo>
                    <a:pt x="1" y="116"/>
                  </a:lnTo>
                  <a:lnTo>
                    <a:pt x="0" y="119"/>
                  </a:lnTo>
                  <a:lnTo>
                    <a:pt x="0" y="121"/>
                  </a:lnTo>
                  <a:lnTo>
                    <a:pt x="0" y="124"/>
                  </a:lnTo>
                  <a:lnTo>
                    <a:pt x="1" y="128"/>
                  </a:lnTo>
                  <a:lnTo>
                    <a:pt x="2" y="130"/>
                  </a:lnTo>
                  <a:lnTo>
                    <a:pt x="4" y="132"/>
                  </a:lnTo>
                  <a:lnTo>
                    <a:pt x="218" y="346"/>
                  </a:lnTo>
                  <a:lnTo>
                    <a:pt x="220" y="348"/>
                  </a:lnTo>
                  <a:lnTo>
                    <a:pt x="222" y="349"/>
                  </a:lnTo>
                  <a:lnTo>
                    <a:pt x="226" y="350"/>
                  </a:lnTo>
                  <a:lnTo>
                    <a:pt x="229" y="350"/>
                  </a:lnTo>
                  <a:lnTo>
                    <a:pt x="231" y="350"/>
                  </a:lnTo>
                  <a:lnTo>
                    <a:pt x="234" y="349"/>
                  </a:lnTo>
                  <a:lnTo>
                    <a:pt x="236" y="348"/>
                  </a:lnTo>
                  <a:lnTo>
                    <a:pt x="238" y="346"/>
                  </a:lnTo>
                  <a:lnTo>
                    <a:pt x="282" y="303"/>
                  </a:lnTo>
                  <a:lnTo>
                    <a:pt x="314" y="335"/>
                  </a:lnTo>
                  <a:lnTo>
                    <a:pt x="218" y="431"/>
                  </a:lnTo>
                  <a:lnTo>
                    <a:pt x="216" y="433"/>
                  </a:lnTo>
                  <a:lnTo>
                    <a:pt x="215" y="437"/>
                  </a:lnTo>
                  <a:lnTo>
                    <a:pt x="214" y="439"/>
                  </a:lnTo>
                  <a:lnTo>
                    <a:pt x="214" y="442"/>
                  </a:lnTo>
                  <a:lnTo>
                    <a:pt x="214" y="445"/>
                  </a:lnTo>
                  <a:lnTo>
                    <a:pt x="215" y="447"/>
                  </a:lnTo>
                  <a:lnTo>
                    <a:pt x="216" y="451"/>
                  </a:lnTo>
                  <a:lnTo>
                    <a:pt x="218" y="453"/>
                  </a:lnTo>
                  <a:lnTo>
                    <a:pt x="231" y="466"/>
                  </a:lnTo>
                  <a:lnTo>
                    <a:pt x="216" y="463"/>
                  </a:lnTo>
                  <a:lnTo>
                    <a:pt x="202" y="463"/>
                  </a:lnTo>
                  <a:lnTo>
                    <a:pt x="185" y="463"/>
                  </a:lnTo>
                  <a:lnTo>
                    <a:pt x="169" y="467"/>
                  </a:lnTo>
                  <a:lnTo>
                    <a:pt x="153" y="470"/>
                  </a:lnTo>
                  <a:lnTo>
                    <a:pt x="138" y="475"/>
                  </a:lnTo>
                  <a:lnTo>
                    <a:pt x="123" y="483"/>
                  </a:lnTo>
                  <a:lnTo>
                    <a:pt x="109" y="491"/>
                  </a:lnTo>
                  <a:lnTo>
                    <a:pt x="96" y="501"/>
                  </a:lnTo>
                  <a:lnTo>
                    <a:pt x="84" y="512"/>
                  </a:lnTo>
                  <a:lnTo>
                    <a:pt x="82" y="514"/>
                  </a:lnTo>
                  <a:lnTo>
                    <a:pt x="81" y="517"/>
                  </a:lnTo>
                  <a:lnTo>
                    <a:pt x="80" y="519"/>
                  </a:lnTo>
                  <a:lnTo>
                    <a:pt x="80" y="522"/>
                  </a:lnTo>
                  <a:lnTo>
                    <a:pt x="80" y="525"/>
                  </a:lnTo>
                  <a:lnTo>
                    <a:pt x="81" y="528"/>
                  </a:lnTo>
                  <a:lnTo>
                    <a:pt x="82" y="531"/>
                  </a:lnTo>
                  <a:lnTo>
                    <a:pt x="84" y="533"/>
                  </a:lnTo>
                  <a:lnTo>
                    <a:pt x="298" y="747"/>
                  </a:lnTo>
                  <a:lnTo>
                    <a:pt x="300" y="748"/>
                  </a:lnTo>
                  <a:lnTo>
                    <a:pt x="303" y="750"/>
                  </a:lnTo>
                  <a:lnTo>
                    <a:pt x="306" y="751"/>
                  </a:lnTo>
                  <a:lnTo>
                    <a:pt x="309" y="751"/>
                  </a:lnTo>
                  <a:lnTo>
                    <a:pt x="311" y="751"/>
                  </a:lnTo>
                  <a:lnTo>
                    <a:pt x="314" y="750"/>
                  </a:lnTo>
                  <a:lnTo>
                    <a:pt x="317" y="748"/>
                  </a:lnTo>
                  <a:lnTo>
                    <a:pt x="319" y="747"/>
                  </a:lnTo>
                  <a:lnTo>
                    <a:pt x="326" y="739"/>
                  </a:lnTo>
                  <a:lnTo>
                    <a:pt x="333" y="731"/>
                  </a:lnTo>
                  <a:lnTo>
                    <a:pt x="339" y="722"/>
                  </a:lnTo>
                  <a:lnTo>
                    <a:pt x="344" y="714"/>
                  </a:lnTo>
                  <a:lnTo>
                    <a:pt x="350" y="705"/>
                  </a:lnTo>
                  <a:lnTo>
                    <a:pt x="354" y="697"/>
                  </a:lnTo>
                  <a:lnTo>
                    <a:pt x="357" y="687"/>
                  </a:lnTo>
                  <a:lnTo>
                    <a:pt x="360" y="677"/>
                  </a:lnTo>
                  <a:lnTo>
                    <a:pt x="363" y="668"/>
                  </a:lnTo>
                  <a:lnTo>
                    <a:pt x="365" y="658"/>
                  </a:lnTo>
                  <a:lnTo>
                    <a:pt x="367" y="648"/>
                  </a:lnTo>
                  <a:lnTo>
                    <a:pt x="367" y="639"/>
                  </a:lnTo>
                  <a:lnTo>
                    <a:pt x="368" y="629"/>
                  </a:lnTo>
                  <a:lnTo>
                    <a:pt x="367" y="620"/>
                  </a:lnTo>
                  <a:lnTo>
                    <a:pt x="367" y="610"/>
                  </a:lnTo>
                  <a:lnTo>
                    <a:pt x="365" y="600"/>
                  </a:lnTo>
                  <a:lnTo>
                    <a:pt x="379" y="613"/>
                  </a:lnTo>
                  <a:lnTo>
                    <a:pt x="381" y="615"/>
                  </a:lnTo>
                  <a:lnTo>
                    <a:pt x="383" y="616"/>
                  </a:lnTo>
                  <a:lnTo>
                    <a:pt x="386" y="617"/>
                  </a:lnTo>
                  <a:lnTo>
                    <a:pt x="388" y="617"/>
                  </a:lnTo>
                  <a:lnTo>
                    <a:pt x="391" y="617"/>
                  </a:lnTo>
                  <a:lnTo>
                    <a:pt x="395" y="616"/>
                  </a:lnTo>
                  <a:lnTo>
                    <a:pt x="397" y="615"/>
                  </a:lnTo>
                  <a:lnTo>
                    <a:pt x="399" y="613"/>
                  </a:lnTo>
                  <a:lnTo>
                    <a:pt x="495" y="517"/>
                  </a:lnTo>
                  <a:lnTo>
                    <a:pt x="528" y="549"/>
                  </a:lnTo>
                  <a:lnTo>
                    <a:pt x="484" y="592"/>
                  </a:lnTo>
                  <a:lnTo>
                    <a:pt x="483" y="594"/>
                  </a:lnTo>
                  <a:lnTo>
                    <a:pt x="481" y="597"/>
                  </a:lnTo>
                  <a:lnTo>
                    <a:pt x="481" y="599"/>
                  </a:lnTo>
                  <a:lnTo>
                    <a:pt x="480" y="602"/>
                  </a:lnTo>
                  <a:lnTo>
                    <a:pt x="481" y="606"/>
                  </a:lnTo>
                  <a:lnTo>
                    <a:pt x="481" y="608"/>
                  </a:lnTo>
                  <a:lnTo>
                    <a:pt x="483" y="611"/>
                  </a:lnTo>
                  <a:lnTo>
                    <a:pt x="484" y="613"/>
                  </a:lnTo>
                  <a:lnTo>
                    <a:pt x="698" y="827"/>
                  </a:lnTo>
                  <a:lnTo>
                    <a:pt x="701" y="828"/>
                  </a:lnTo>
                  <a:lnTo>
                    <a:pt x="704" y="830"/>
                  </a:lnTo>
                  <a:lnTo>
                    <a:pt x="706" y="830"/>
                  </a:lnTo>
                  <a:lnTo>
                    <a:pt x="709" y="831"/>
                  </a:lnTo>
                  <a:lnTo>
                    <a:pt x="712" y="830"/>
                  </a:lnTo>
                  <a:lnTo>
                    <a:pt x="716" y="830"/>
                  </a:lnTo>
                  <a:lnTo>
                    <a:pt x="718" y="828"/>
                  </a:lnTo>
                  <a:lnTo>
                    <a:pt x="720" y="827"/>
                  </a:lnTo>
                  <a:lnTo>
                    <a:pt x="827" y="720"/>
                  </a:lnTo>
                  <a:lnTo>
                    <a:pt x="829" y="718"/>
                  </a:lnTo>
                  <a:lnTo>
                    <a:pt x="830" y="715"/>
                  </a:lnTo>
                  <a:lnTo>
                    <a:pt x="831" y="713"/>
                  </a:lnTo>
                  <a:lnTo>
                    <a:pt x="831" y="709"/>
                  </a:lnTo>
                  <a:lnTo>
                    <a:pt x="831" y="706"/>
                  </a:lnTo>
                  <a:lnTo>
                    <a:pt x="830" y="704"/>
                  </a:lnTo>
                  <a:lnTo>
                    <a:pt x="829" y="701"/>
                  </a:lnTo>
                  <a:lnTo>
                    <a:pt x="827"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0" name="Freeform 225">
              <a:extLst>
                <a:ext uri="{FF2B5EF4-FFF2-40B4-BE49-F238E27FC236}">
                  <a16:creationId xmlns:a16="http://schemas.microsoft.com/office/drawing/2014/main" id="{15305250-26AB-47BC-BD75-DD2C4A7FD54B}"/>
                </a:ext>
              </a:extLst>
            </p:cNvPr>
            <p:cNvSpPr>
              <a:spLocks/>
            </p:cNvSpPr>
            <p:nvPr/>
          </p:nvSpPr>
          <p:spPr bwMode="auto">
            <a:xfrm>
              <a:off x="2041525" y="4394200"/>
              <a:ext cx="82550" cy="80963"/>
            </a:xfrm>
            <a:custGeom>
              <a:avLst/>
              <a:gdLst>
                <a:gd name="T0" fmla="*/ 221 w 256"/>
                <a:gd name="T1" fmla="*/ 199 h 255"/>
                <a:gd name="T2" fmla="*/ 202 w 256"/>
                <a:gd name="T3" fmla="*/ 212 h 255"/>
                <a:gd name="T4" fmla="*/ 181 w 256"/>
                <a:gd name="T5" fmla="*/ 220 h 255"/>
                <a:gd name="T6" fmla="*/ 158 w 256"/>
                <a:gd name="T7" fmla="*/ 224 h 255"/>
                <a:gd name="T8" fmla="*/ 135 w 256"/>
                <a:gd name="T9" fmla="*/ 224 h 255"/>
                <a:gd name="T10" fmla="*/ 112 w 256"/>
                <a:gd name="T11" fmla="*/ 220 h 255"/>
                <a:gd name="T12" fmla="*/ 92 w 256"/>
                <a:gd name="T13" fmla="*/ 212 h 255"/>
                <a:gd name="T14" fmla="*/ 73 w 256"/>
                <a:gd name="T15" fmla="*/ 199 h 255"/>
                <a:gd name="T16" fmla="*/ 55 w 256"/>
                <a:gd name="T17" fmla="*/ 183 h 255"/>
                <a:gd name="T18" fmla="*/ 43 w 256"/>
                <a:gd name="T19" fmla="*/ 163 h 255"/>
                <a:gd name="T20" fmla="*/ 34 w 256"/>
                <a:gd name="T21" fmla="*/ 142 h 255"/>
                <a:gd name="T22" fmla="*/ 30 w 256"/>
                <a:gd name="T23" fmla="*/ 120 h 255"/>
                <a:gd name="T24" fmla="*/ 30 w 256"/>
                <a:gd name="T25" fmla="*/ 96 h 255"/>
                <a:gd name="T26" fmla="*/ 34 w 256"/>
                <a:gd name="T27" fmla="*/ 74 h 255"/>
                <a:gd name="T28" fmla="*/ 43 w 256"/>
                <a:gd name="T29" fmla="*/ 53 h 255"/>
                <a:gd name="T30" fmla="*/ 55 w 256"/>
                <a:gd name="T31" fmla="*/ 34 h 255"/>
                <a:gd name="T32" fmla="*/ 66 w 256"/>
                <a:gd name="T33" fmla="*/ 23 h 255"/>
                <a:gd name="T34" fmla="*/ 68 w 256"/>
                <a:gd name="T35" fmla="*/ 17 h 255"/>
                <a:gd name="T36" fmla="*/ 68 w 256"/>
                <a:gd name="T37" fmla="*/ 12 h 255"/>
                <a:gd name="T38" fmla="*/ 66 w 256"/>
                <a:gd name="T39" fmla="*/ 6 h 255"/>
                <a:gd name="T40" fmla="*/ 62 w 256"/>
                <a:gd name="T41" fmla="*/ 2 h 255"/>
                <a:gd name="T42" fmla="*/ 55 w 256"/>
                <a:gd name="T43" fmla="*/ 0 h 255"/>
                <a:gd name="T44" fmla="*/ 50 w 256"/>
                <a:gd name="T45" fmla="*/ 0 h 255"/>
                <a:gd name="T46" fmla="*/ 45 w 256"/>
                <a:gd name="T47" fmla="*/ 2 h 255"/>
                <a:gd name="T48" fmla="*/ 33 w 256"/>
                <a:gd name="T49" fmla="*/ 15 h 255"/>
                <a:gd name="T50" fmla="*/ 17 w 256"/>
                <a:gd name="T51" fmla="*/ 38 h 255"/>
                <a:gd name="T52" fmla="*/ 5 w 256"/>
                <a:gd name="T53" fmla="*/ 65 h 255"/>
                <a:gd name="T54" fmla="*/ 0 w 256"/>
                <a:gd name="T55" fmla="*/ 94 h 255"/>
                <a:gd name="T56" fmla="*/ 0 w 256"/>
                <a:gd name="T57" fmla="*/ 123 h 255"/>
                <a:gd name="T58" fmla="*/ 5 w 256"/>
                <a:gd name="T59" fmla="*/ 151 h 255"/>
                <a:gd name="T60" fmla="*/ 17 w 256"/>
                <a:gd name="T61" fmla="*/ 177 h 255"/>
                <a:gd name="T62" fmla="*/ 33 w 256"/>
                <a:gd name="T63" fmla="*/ 202 h 255"/>
                <a:gd name="T64" fmla="*/ 53 w 256"/>
                <a:gd name="T65" fmla="*/ 222 h 255"/>
                <a:gd name="T66" fmla="*/ 77 w 256"/>
                <a:gd name="T67" fmla="*/ 238 h 255"/>
                <a:gd name="T68" fmla="*/ 104 w 256"/>
                <a:gd name="T69" fmla="*/ 249 h 255"/>
                <a:gd name="T70" fmla="*/ 133 w 256"/>
                <a:gd name="T71" fmla="*/ 254 h 255"/>
                <a:gd name="T72" fmla="*/ 161 w 256"/>
                <a:gd name="T73" fmla="*/ 254 h 255"/>
                <a:gd name="T74" fmla="*/ 189 w 256"/>
                <a:gd name="T75" fmla="*/ 249 h 255"/>
                <a:gd name="T76" fmla="*/ 216 w 256"/>
                <a:gd name="T77" fmla="*/ 238 h 255"/>
                <a:gd name="T78" fmla="*/ 239 w 256"/>
                <a:gd name="T79" fmla="*/ 222 h 255"/>
                <a:gd name="T80" fmla="*/ 252 w 256"/>
                <a:gd name="T81" fmla="*/ 209 h 255"/>
                <a:gd name="T82" fmla="*/ 254 w 256"/>
                <a:gd name="T83" fmla="*/ 204 h 255"/>
                <a:gd name="T84" fmla="*/ 254 w 256"/>
                <a:gd name="T85" fmla="*/ 199 h 255"/>
                <a:gd name="T86" fmla="*/ 252 w 256"/>
                <a:gd name="T87" fmla="*/ 193 h 255"/>
                <a:gd name="T88" fmla="*/ 248 w 256"/>
                <a:gd name="T89" fmla="*/ 189 h 255"/>
                <a:gd name="T90" fmla="*/ 243 w 256"/>
                <a:gd name="T91" fmla="*/ 187 h 255"/>
                <a:gd name="T92" fmla="*/ 237 w 256"/>
                <a:gd name="T93" fmla="*/ 187 h 255"/>
                <a:gd name="T94" fmla="*/ 232 w 256"/>
                <a:gd name="T95" fmla="*/ 18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5">
                  <a:moveTo>
                    <a:pt x="230" y="191"/>
                  </a:moveTo>
                  <a:lnTo>
                    <a:pt x="221" y="199"/>
                  </a:lnTo>
                  <a:lnTo>
                    <a:pt x="212" y="206"/>
                  </a:lnTo>
                  <a:lnTo>
                    <a:pt x="202" y="212"/>
                  </a:lnTo>
                  <a:lnTo>
                    <a:pt x="191" y="217"/>
                  </a:lnTo>
                  <a:lnTo>
                    <a:pt x="181" y="220"/>
                  </a:lnTo>
                  <a:lnTo>
                    <a:pt x="170" y="223"/>
                  </a:lnTo>
                  <a:lnTo>
                    <a:pt x="158" y="224"/>
                  </a:lnTo>
                  <a:lnTo>
                    <a:pt x="146" y="225"/>
                  </a:lnTo>
                  <a:lnTo>
                    <a:pt x="135" y="224"/>
                  </a:lnTo>
                  <a:lnTo>
                    <a:pt x="124" y="223"/>
                  </a:lnTo>
                  <a:lnTo>
                    <a:pt x="112" y="220"/>
                  </a:lnTo>
                  <a:lnTo>
                    <a:pt x="101" y="217"/>
                  </a:lnTo>
                  <a:lnTo>
                    <a:pt x="92" y="212"/>
                  </a:lnTo>
                  <a:lnTo>
                    <a:pt x="81" y="206"/>
                  </a:lnTo>
                  <a:lnTo>
                    <a:pt x="73" y="199"/>
                  </a:lnTo>
                  <a:lnTo>
                    <a:pt x="64" y="191"/>
                  </a:lnTo>
                  <a:lnTo>
                    <a:pt x="55" y="183"/>
                  </a:lnTo>
                  <a:lnTo>
                    <a:pt x="49" y="173"/>
                  </a:lnTo>
                  <a:lnTo>
                    <a:pt x="43" y="163"/>
                  </a:lnTo>
                  <a:lnTo>
                    <a:pt x="38" y="153"/>
                  </a:lnTo>
                  <a:lnTo>
                    <a:pt x="34" y="142"/>
                  </a:lnTo>
                  <a:lnTo>
                    <a:pt x="32" y="131"/>
                  </a:lnTo>
                  <a:lnTo>
                    <a:pt x="30" y="120"/>
                  </a:lnTo>
                  <a:lnTo>
                    <a:pt x="30" y="108"/>
                  </a:lnTo>
                  <a:lnTo>
                    <a:pt x="30" y="96"/>
                  </a:lnTo>
                  <a:lnTo>
                    <a:pt x="32" y="85"/>
                  </a:lnTo>
                  <a:lnTo>
                    <a:pt x="34" y="74"/>
                  </a:lnTo>
                  <a:lnTo>
                    <a:pt x="38" y="63"/>
                  </a:lnTo>
                  <a:lnTo>
                    <a:pt x="43" y="53"/>
                  </a:lnTo>
                  <a:lnTo>
                    <a:pt x="49" y="43"/>
                  </a:lnTo>
                  <a:lnTo>
                    <a:pt x="55" y="34"/>
                  </a:lnTo>
                  <a:lnTo>
                    <a:pt x="64" y="25"/>
                  </a:lnTo>
                  <a:lnTo>
                    <a:pt x="66" y="23"/>
                  </a:lnTo>
                  <a:lnTo>
                    <a:pt x="67" y="20"/>
                  </a:lnTo>
                  <a:lnTo>
                    <a:pt x="68" y="17"/>
                  </a:lnTo>
                  <a:lnTo>
                    <a:pt x="68" y="15"/>
                  </a:lnTo>
                  <a:lnTo>
                    <a:pt x="68" y="12"/>
                  </a:lnTo>
                  <a:lnTo>
                    <a:pt x="67" y="9"/>
                  </a:lnTo>
                  <a:lnTo>
                    <a:pt x="66" y="6"/>
                  </a:lnTo>
                  <a:lnTo>
                    <a:pt x="64" y="4"/>
                  </a:lnTo>
                  <a:lnTo>
                    <a:pt x="62" y="2"/>
                  </a:lnTo>
                  <a:lnTo>
                    <a:pt x="59" y="1"/>
                  </a:lnTo>
                  <a:lnTo>
                    <a:pt x="55" y="0"/>
                  </a:lnTo>
                  <a:lnTo>
                    <a:pt x="53" y="0"/>
                  </a:lnTo>
                  <a:lnTo>
                    <a:pt x="50" y="0"/>
                  </a:lnTo>
                  <a:lnTo>
                    <a:pt x="48" y="1"/>
                  </a:lnTo>
                  <a:lnTo>
                    <a:pt x="45" y="2"/>
                  </a:lnTo>
                  <a:lnTo>
                    <a:pt x="43" y="4"/>
                  </a:lnTo>
                  <a:lnTo>
                    <a:pt x="33" y="15"/>
                  </a:lnTo>
                  <a:lnTo>
                    <a:pt x="24" y="27"/>
                  </a:lnTo>
                  <a:lnTo>
                    <a:pt x="17" y="38"/>
                  </a:lnTo>
                  <a:lnTo>
                    <a:pt x="11" y="52"/>
                  </a:lnTo>
                  <a:lnTo>
                    <a:pt x="5" y="65"/>
                  </a:lnTo>
                  <a:lnTo>
                    <a:pt x="2" y="79"/>
                  </a:lnTo>
                  <a:lnTo>
                    <a:pt x="0" y="94"/>
                  </a:lnTo>
                  <a:lnTo>
                    <a:pt x="0" y="108"/>
                  </a:lnTo>
                  <a:lnTo>
                    <a:pt x="0" y="123"/>
                  </a:lnTo>
                  <a:lnTo>
                    <a:pt x="2" y="137"/>
                  </a:lnTo>
                  <a:lnTo>
                    <a:pt x="5" y="151"/>
                  </a:lnTo>
                  <a:lnTo>
                    <a:pt x="11" y="165"/>
                  </a:lnTo>
                  <a:lnTo>
                    <a:pt x="17" y="177"/>
                  </a:lnTo>
                  <a:lnTo>
                    <a:pt x="24" y="190"/>
                  </a:lnTo>
                  <a:lnTo>
                    <a:pt x="33" y="202"/>
                  </a:lnTo>
                  <a:lnTo>
                    <a:pt x="43" y="213"/>
                  </a:lnTo>
                  <a:lnTo>
                    <a:pt x="53" y="222"/>
                  </a:lnTo>
                  <a:lnTo>
                    <a:pt x="65" y="231"/>
                  </a:lnTo>
                  <a:lnTo>
                    <a:pt x="77" y="238"/>
                  </a:lnTo>
                  <a:lnTo>
                    <a:pt x="91" y="244"/>
                  </a:lnTo>
                  <a:lnTo>
                    <a:pt x="104" y="249"/>
                  </a:lnTo>
                  <a:lnTo>
                    <a:pt x="118" y="252"/>
                  </a:lnTo>
                  <a:lnTo>
                    <a:pt x="133" y="254"/>
                  </a:lnTo>
                  <a:lnTo>
                    <a:pt x="146" y="255"/>
                  </a:lnTo>
                  <a:lnTo>
                    <a:pt x="161" y="254"/>
                  </a:lnTo>
                  <a:lnTo>
                    <a:pt x="175" y="252"/>
                  </a:lnTo>
                  <a:lnTo>
                    <a:pt x="189" y="249"/>
                  </a:lnTo>
                  <a:lnTo>
                    <a:pt x="203" y="244"/>
                  </a:lnTo>
                  <a:lnTo>
                    <a:pt x="216" y="238"/>
                  </a:lnTo>
                  <a:lnTo>
                    <a:pt x="229" y="231"/>
                  </a:lnTo>
                  <a:lnTo>
                    <a:pt x="239" y="222"/>
                  </a:lnTo>
                  <a:lnTo>
                    <a:pt x="251" y="213"/>
                  </a:lnTo>
                  <a:lnTo>
                    <a:pt x="252" y="209"/>
                  </a:lnTo>
                  <a:lnTo>
                    <a:pt x="254" y="207"/>
                  </a:lnTo>
                  <a:lnTo>
                    <a:pt x="254" y="204"/>
                  </a:lnTo>
                  <a:lnTo>
                    <a:pt x="256" y="202"/>
                  </a:lnTo>
                  <a:lnTo>
                    <a:pt x="254" y="199"/>
                  </a:lnTo>
                  <a:lnTo>
                    <a:pt x="254" y="196"/>
                  </a:lnTo>
                  <a:lnTo>
                    <a:pt x="252" y="193"/>
                  </a:lnTo>
                  <a:lnTo>
                    <a:pt x="251" y="191"/>
                  </a:lnTo>
                  <a:lnTo>
                    <a:pt x="248" y="189"/>
                  </a:lnTo>
                  <a:lnTo>
                    <a:pt x="246" y="188"/>
                  </a:lnTo>
                  <a:lnTo>
                    <a:pt x="243" y="187"/>
                  </a:lnTo>
                  <a:lnTo>
                    <a:pt x="241" y="187"/>
                  </a:lnTo>
                  <a:lnTo>
                    <a:pt x="237" y="187"/>
                  </a:lnTo>
                  <a:lnTo>
                    <a:pt x="234" y="188"/>
                  </a:lnTo>
                  <a:lnTo>
                    <a:pt x="232" y="189"/>
                  </a:lnTo>
                  <a:lnTo>
                    <a:pt x="230"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1161" name="Freeform 226">
              <a:extLst>
                <a:ext uri="{FF2B5EF4-FFF2-40B4-BE49-F238E27FC236}">
                  <a16:creationId xmlns:a16="http://schemas.microsoft.com/office/drawing/2014/main" id="{81EE1C83-13AB-488E-88FC-E0E05CB7FE0D}"/>
                </a:ext>
              </a:extLst>
            </p:cNvPr>
            <p:cNvSpPr>
              <a:spLocks/>
            </p:cNvSpPr>
            <p:nvPr/>
          </p:nvSpPr>
          <p:spPr bwMode="auto">
            <a:xfrm>
              <a:off x="2071688" y="4406900"/>
              <a:ext cx="39688" cy="39688"/>
            </a:xfrm>
            <a:custGeom>
              <a:avLst/>
              <a:gdLst>
                <a:gd name="T0" fmla="*/ 40 w 126"/>
                <a:gd name="T1" fmla="*/ 2 h 128"/>
                <a:gd name="T2" fmla="*/ 34 w 126"/>
                <a:gd name="T3" fmla="*/ 0 h 128"/>
                <a:gd name="T4" fmla="*/ 29 w 126"/>
                <a:gd name="T5" fmla="*/ 0 h 128"/>
                <a:gd name="T6" fmla="*/ 23 w 126"/>
                <a:gd name="T7" fmla="*/ 2 h 128"/>
                <a:gd name="T8" fmla="*/ 16 w 126"/>
                <a:gd name="T9" fmla="*/ 10 h 128"/>
                <a:gd name="T10" fmla="*/ 8 w 126"/>
                <a:gd name="T11" fmla="*/ 22 h 128"/>
                <a:gd name="T12" fmla="*/ 3 w 126"/>
                <a:gd name="T13" fmla="*/ 34 h 128"/>
                <a:gd name="T14" fmla="*/ 0 w 126"/>
                <a:gd name="T15" fmla="*/ 48 h 128"/>
                <a:gd name="T16" fmla="*/ 0 w 126"/>
                <a:gd name="T17" fmla="*/ 62 h 128"/>
                <a:gd name="T18" fmla="*/ 3 w 126"/>
                <a:gd name="T19" fmla="*/ 76 h 128"/>
                <a:gd name="T20" fmla="*/ 8 w 126"/>
                <a:gd name="T21" fmla="*/ 89 h 128"/>
                <a:gd name="T22" fmla="*/ 16 w 126"/>
                <a:gd name="T23" fmla="*/ 101 h 128"/>
                <a:gd name="T24" fmla="*/ 27 w 126"/>
                <a:gd name="T25" fmla="*/ 111 h 128"/>
                <a:gd name="T26" fmla="*/ 38 w 126"/>
                <a:gd name="T27" fmla="*/ 119 h 128"/>
                <a:gd name="T28" fmla="*/ 51 w 126"/>
                <a:gd name="T29" fmla="*/ 124 h 128"/>
                <a:gd name="T30" fmla="*/ 65 w 126"/>
                <a:gd name="T31" fmla="*/ 126 h 128"/>
                <a:gd name="T32" fmla="*/ 78 w 126"/>
                <a:gd name="T33" fmla="*/ 126 h 128"/>
                <a:gd name="T34" fmla="*/ 92 w 126"/>
                <a:gd name="T35" fmla="*/ 124 h 128"/>
                <a:gd name="T36" fmla="*/ 105 w 126"/>
                <a:gd name="T37" fmla="*/ 119 h 128"/>
                <a:gd name="T38" fmla="*/ 117 w 126"/>
                <a:gd name="T39" fmla="*/ 111 h 128"/>
                <a:gd name="T40" fmla="*/ 124 w 126"/>
                <a:gd name="T41" fmla="*/ 104 h 128"/>
                <a:gd name="T42" fmla="*/ 126 w 126"/>
                <a:gd name="T43" fmla="*/ 99 h 128"/>
                <a:gd name="T44" fmla="*/ 126 w 126"/>
                <a:gd name="T45" fmla="*/ 92 h 128"/>
                <a:gd name="T46" fmla="*/ 124 w 126"/>
                <a:gd name="T47" fmla="*/ 87 h 128"/>
                <a:gd name="T48" fmla="*/ 120 w 126"/>
                <a:gd name="T49" fmla="*/ 83 h 128"/>
                <a:gd name="T50" fmla="*/ 114 w 126"/>
                <a:gd name="T51" fmla="*/ 80 h 128"/>
                <a:gd name="T52" fmla="*/ 109 w 126"/>
                <a:gd name="T53" fmla="*/ 80 h 128"/>
                <a:gd name="T54" fmla="*/ 104 w 126"/>
                <a:gd name="T55" fmla="*/ 83 h 128"/>
                <a:gd name="T56" fmla="*/ 94 w 126"/>
                <a:gd name="T57" fmla="*/ 90 h 128"/>
                <a:gd name="T58" fmla="*/ 79 w 126"/>
                <a:gd name="T59" fmla="*/ 96 h 128"/>
                <a:gd name="T60" fmla="*/ 64 w 126"/>
                <a:gd name="T61" fmla="*/ 96 h 128"/>
                <a:gd name="T62" fmla="*/ 49 w 126"/>
                <a:gd name="T63" fmla="*/ 90 h 128"/>
                <a:gd name="T64" fmla="*/ 37 w 126"/>
                <a:gd name="T65" fmla="*/ 78 h 128"/>
                <a:gd name="T66" fmla="*/ 31 w 126"/>
                <a:gd name="T67" fmla="*/ 63 h 128"/>
                <a:gd name="T68" fmla="*/ 31 w 126"/>
                <a:gd name="T69" fmla="*/ 47 h 128"/>
                <a:gd name="T70" fmla="*/ 37 w 126"/>
                <a:gd name="T71" fmla="*/ 32 h 128"/>
                <a:gd name="T72" fmla="*/ 44 w 126"/>
                <a:gd name="T73" fmla="*/ 24 h 128"/>
                <a:gd name="T74" fmla="*/ 46 w 126"/>
                <a:gd name="T75" fmla="*/ 18 h 128"/>
                <a:gd name="T76" fmla="*/ 46 w 126"/>
                <a:gd name="T77" fmla="*/ 12 h 128"/>
                <a:gd name="T78" fmla="*/ 44 w 126"/>
                <a:gd name="T79" fmla="*/ 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6" h="128">
                  <a:moveTo>
                    <a:pt x="42" y="4"/>
                  </a:moveTo>
                  <a:lnTo>
                    <a:pt x="40" y="2"/>
                  </a:lnTo>
                  <a:lnTo>
                    <a:pt x="37" y="1"/>
                  </a:lnTo>
                  <a:lnTo>
                    <a:pt x="34" y="0"/>
                  </a:lnTo>
                  <a:lnTo>
                    <a:pt x="32" y="0"/>
                  </a:lnTo>
                  <a:lnTo>
                    <a:pt x="29" y="0"/>
                  </a:lnTo>
                  <a:lnTo>
                    <a:pt x="26" y="1"/>
                  </a:lnTo>
                  <a:lnTo>
                    <a:pt x="23" y="2"/>
                  </a:lnTo>
                  <a:lnTo>
                    <a:pt x="21" y="4"/>
                  </a:lnTo>
                  <a:lnTo>
                    <a:pt x="16" y="10"/>
                  </a:lnTo>
                  <a:lnTo>
                    <a:pt x="12" y="16"/>
                  </a:lnTo>
                  <a:lnTo>
                    <a:pt x="8" y="22"/>
                  </a:lnTo>
                  <a:lnTo>
                    <a:pt x="5" y="28"/>
                  </a:lnTo>
                  <a:lnTo>
                    <a:pt x="3" y="34"/>
                  </a:lnTo>
                  <a:lnTo>
                    <a:pt x="1" y="41"/>
                  </a:lnTo>
                  <a:lnTo>
                    <a:pt x="0" y="48"/>
                  </a:lnTo>
                  <a:lnTo>
                    <a:pt x="0" y="56"/>
                  </a:lnTo>
                  <a:lnTo>
                    <a:pt x="0" y="62"/>
                  </a:lnTo>
                  <a:lnTo>
                    <a:pt x="1" y="70"/>
                  </a:lnTo>
                  <a:lnTo>
                    <a:pt x="3" y="76"/>
                  </a:lnTo>
                  <a:lnTo>
                    <a:pt x="5" y="83"/>
                  </a:lnTo>
                  <a:lnTo>
                    <a:pt x="8" y="89"/>
                  </a:lnTo>
                  <a:lnTo>
                    <a:pt x="12" y="95"/>
                  </a:lnTo>
                  <a:lnTo>
                    <a:pt x="16" y="101"/>
                  </a:lnTo>
                  <a:lnTo>
                    <a:pt x="21" y="106"/>
                  </a:lnTo>
                  <a:lnTo>
                    <a:pt x="27" y="111"/>
                  </a:lnTo>
                  <a:lnTo>
                    <a:pt x="32" y="116"/>
                  </a:lnTo>
                  <a:lnTo>
                    <a:pt x="38" y="119"/>
                  </a:lnTo>
                  <a:lnTo>
                    <a:pt x="45" y="122"/>
                  </a:lnTo>
                  <a:lnTo>
                    <a:pt x="51" y="124"/>
                  </a:lnTo>
                  <a:lnTo>
                    <a:pt x="58" y="125"/>
                  </a:lnTo>
                  <a:lnTo>
                    <a:pt x="65" y="126"/>
                  </a:lnTo>
                  <a:lnTo>
                    <a:pt x="72" y="128"/>
                  </a:lnTo>
                  <a:lnTo>
                    <a:pt x="78" y="126"/>
                  </a:lnTo>
                  <a:lnTo>
                    <a:pt x="86" y="125"/>
                  </a:lnTo>
                  <a:lnTo>
                    <a:pt x="92" y="124"/>
                  </a:lnTo>
                  <a:lnTo>
                    <a:pt x="98" y="122"/>
                  </a:lnTo>
                  <a:lnTo>
                    <a:pt x="105" y="119"/>
                  </a:lnTo>
                  <a:lnTo>
                    <a:pt x="111" y="116"/>
                  </a:lnTo>
                  <a:lnTo>
                    <a:pt x="117" y="111"/>
                  </a:lnTo>
                  <a:lnTo>
                    <a:pt x="122" y="106"/>
                  </a:lnTo>
                  <a:lnTo>
                    <a:pt x="124" y="104"/>
                  </a:lnTo>
                  <a:lnTo>
                    <a:pt x="125" y="101"/>
                  </a:lnTo>
                  <a:lnTo>
                    <a:pt x="126" y="99"/>
                  </a:lnTo>
                  <a:lnTo>
                    <a:pt x="126" y="95"/>
                  </a:lnTo>
                  <a:lnTo>
                    <a:pt x="126" y="92"/>
                  </a:lnTo>
                  <a:lnTo>
                    <a:pt x="125" y="90"/>
                  </a:lnTo>
                  <a:lnTo>
                    <a:pt x="124" y="87"/>
                  </a:lnTo>
                  <a:lnTo>
                    <a:pt x="122" y="85"/>
                  </a:lnTo>
                  <a:lnTo>
                    <a:pt x="120" y="83"/>
                  </a:lnTo>
                  <a:lnTo>
                    <a:pt x="118" y="82"/>
                  </a:lnTo>
                  <a:lnTo>
                    <a:pt x="114" y="80"/>
                  </a:lnTo>
                  <a:lnTo>
                    <a:pt x="111" y="80"/>
                  </a:lnTo>
                  <a:lnTo>
                    <a:pt x="109" y="80"/>
                  </a:lnTo>
                  <a:lnTo>
                    <a:pt x="106" y="82"/>
                  </a:lnTo>
                  <a:lnTo>
                    <a:pt x="104" y="83"/>
                  </a:lnTo>
                  <a:lnTo>
                    <a:pt x="102" y="85"/>
                  </a:lnTo>
                  <a:lnTo>
                    <a:pt x="94" y="90"/>
                  </a:lnTo>
                  <a:lnTo>
                    <a:pt x="88" y="94"/>
                  </a:lnTo>
                  <a:lnTo>
                    <a:pt x="79" y="96"/>
                  </a:lnTo>
                  <a:lnTo>
                    <a:pt x="72" y="98"/>
                  </a:lnTo>
                  <a:lnTo>
                    <a:pt x="64" y="96"/>
                  </a:lnTo>
                  <a:lnTo>
                    <a:pt x="56" y="94"/>
                  </a:lnTo>
                  <a:lnTo>
                    <a:pt x="49" y="90"/>
                  </a:lnTo>
                  <a:lnTo>
                    <a:pt x="42" y="85"/>
                  </a:lnTo>
                  <a:lnTo>
                    <a:pt x="37" y="78"/>
                  </a:lnTo>
                  <a:lnTo>
                    <a:pt x="33" y="72"/>
                  </a:lnTo>
                  <a:lnTo>
                    <a:pt x="31" y="63"/>
                  </a:lnTo>
                  <a:lnTo>
                    <a:pt x="30" y="56"/>
                  </a:lnTo>
                  <a:lnTo>
                    <a:pt x="31" y="47"/>
                  </a:lnTo>
                  <a:lnTo>
                    <a:pt x="33" y="40"/>
                  </a:lnTo>
                  <a:lnTo>
                    <a:pt x="37" y="32"/>
                  </a:lnTo>
                  <a:lnTo>
                    <a:pt x="42" y="26"/>
                  </a:lnTo>
                  <a:lnTo>
                    <a:pt x="44" y="24"/>
                  </a:lnTo>
                  <a:lnTo>
                    <a:pt x="46" y="21"/>
                  </a:lnTo>
                  <a:lnTo>
                    <a:pt x="46" y="18"/>
                  </a:lnTo>
                  <a:lnTo>
                    <a:pt x="47" y="15"/>
                  </a:lnTo>
                  <a:lnTo>
                    <a:pt x="46" y="12"/>
                  </a:lnTo>
                  <a:lnTo>
                    <a:pt x="46" y="10"/>
                  </a:lnTo>
                  <a:lnTo>
                    <a:pt x="44" y="7"/>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1202" name="Group 28">
            <a:extLst>
              <a:ext uri="{FF2B5EF4-FFF2-40B4-BE49-F238E27FC236}">
                <a16:creationId xmlns:a16="http://schemas.microsoft.com/office/drawing/2014/main" id="{2A63B11D-D21E-428E-ADFF-EB59E4339A81}"/>
              </a:ext>
            </a:extLst>
          </p:cNvPr>
          <p:cNvGrpSpPr>
            <a:grpSpLocks noChangeAspect="1"/>
          </p:cNvGrpSpPr>
          <p:nvPr/>
        </p:nvGrpSpPr>
        <p:grpSpPr>
          <a:xfrm>
            <a:off x="671290" y="1647825"/>
            <a:ext cx="285619" cy="285619"/>
            <a:chOff x="4906963" y="3335338"/>
            <a:chExt cx="276225" cy="276225"/>
          </a:xfrm>
          <a:solidFill>
            <a:schemeClr val="bg1"/>
          </a:solidFill>
          <a:effectLst/>
        </p:grpSpPr>
        <p:sp>
          <p:nvSpPr>
            <p:cNvPr id="1203" name="Freeform 106">
              <a:extLst>
                <a:ext uri="{FF2B5EF4-FFF2-40B4-BE49-F238E27FC236}">
                  <a16:creationId xmlns:a16="http://schemas.microsoft.com/office/drawing/2014/main" id="{0942109B-4225-48AB-A680-8A516D22286A}"/>
                </a:ext>
              </a:extLst>
            </p:cNvPr>
            <p:cNvSpPr>
              <a:spLocks noEditPoints="1"/>
            </p:cNvSpPr>
            <p:nvPr/>
          </p:nvSpPr>
          <p:spPr bwMode="auto">
            <a:xfrm>
              <a:off x="4911725" y="3335338"/>
              <a:ext cx="271463" cy="271463"/>
            </a:xfrm>
            <a:custGeom>
              <a:avLst/>
              <a:gdLst>
                <a:gd name="T0" fmla="*/ 661 w 852"/>
                <a:gd name="T1" fmla="*/ 306 h 853"/>
                <a:gd name="T2" fmla="*/ 437 w 852"/>
                <a:gd name="T3" fmla="*/ 531 h 853"/>
                <a:gd name="T4" fmla="*/ 415 w 852"/>
                <a:gd name="T5" fmla="*/ 325 h 853"/>
                <a:gd name="T6" fmla="*/ 666 w 852"/>
                <a:gd name="T7" fmla="*/ 77 h 853"/>
                <a:gd name="T8" fmla="*/ 728 w 852"/>
                <a:gd name="T9" fmla="*/ 53 h 853"/>
                <a:gd name="T10" fmla="*/ 820 w 852"/>
                <a:gd name="T11" fmla="*/ 33 h 853"/>
                <a:gd name="T12" fmla="*/ 800 w 852"/>
                <a:gd name="T13" fmla="*/ 126 h 853"/>
                <a:gd name="T14" fmla="*/ 776 w 852"/>
                <a:gd name="T15" fmla="*/ 187 h 853"/>
                <a:gd name="T16" fmla="*/ 500 w 852"/>
                <a:gd name="T17" fmla="*/ 634 h 853"/>
                <a:gd name="T18" fmla="*/ 468 w 852"/>
                <a:gd name="T19" fmla="*/ 683 h 853"/>
                <a:gd name="T20" fmla="*/ 374 w 852"/>
                <a:gd name="T21" fmla="*/ 777 h 853"/>
                <a:gd name="T22" fmla="*/ 400 w 852"/>
                <a:gd name="T23" fmla="*/ 609 h 853"/>
                <a:gd name="T24" fmla="*/ 426 w 852"/>
                <a:gd name="T25" fmla="*/ 583 h 853"/>
                <a:gd name="T26" fmla="*/ 520 w 852"/>
                <a:gd name="T27" fmla="*/ 524 h 853"/>
                <a:gd name="T28" fmla="*/ 507 w 852"/>
                <a:gd name="T29" fmla="*/ 612 h 853"/>
                <a:gd name="T30" fmla="*/ 367 w 852"/>
                <a:gd name="T31" fmla="*/ 599 h 853"/>
                <a:gd name="T32" fmla="*/ 329 w 852"/>
                <a:gd name="T33" fmla="*/ 638 h 853"/>
                <a:gd name="T34" fmla="*/ 191 w 852"/>
                <a:gd name="T35" fmla="*/ 370 h 853"/>
                <a:gd name="T36" fmla="*/ 227 w 852"/>
                <a:gd name="T37" fmla="*/ 349 h 853"/>
                <a:gd name="T38" fmla="*/ 290 w 852"/>
                <a:gd name="T39" fmla="*/ 338 h 853"/>
                <a:gd name="T40" fmla="*/ 55 w 852"/>
                <a:gd name="T41" fmla="*/ 503 h 853"/>
                <a:gd name="T42" fmla="*/ 154 w 852"/>
                <a:gd name="T43" fmla="*/ 400 h 853"/>
                <a:gd name="T44" fmla="*/ 840 w 852"/>
                <a:gd name="T45" fmla="*/ 1 h 853"/>
                <a:gd name="T46" fmla="*/ 775 w 852"/>
                <a:gd name="T47" fmla="*/ 11 h 853"/>
                <a:gd name="T48" fmla="*/ 695 w 852"/>
                <a:gd name="T49" fmla="*/ 32 h 853"/>
                <a:gd name="T50" fmla="*/ 642 w 852"/>
                <a:gd name="T51" fmla="*/ 57 h 853"/>
                <a:gd name="T52" fmla="*/ 362 w 852"/>
                <a:gd name="T53" fmla="*/ 302 h 853"/>
                <a:gd name="T54" fmla="*/ 259 w 852"/>
                <a:gd name="T55" fmla="*/ 311 h 853"/>
                <a:gd name="T56" fmla="*/ 195 w 852"/>
                <a:gd name="T57" fmla="*/ 332 h 853"/>
                <a:gd name="T58" fmla="*/ 133 w 852"/>
                <a:gd name="T59" fmla="*/ 379 h 853"/>
                <a:gd name="T60" fmla="*/ 3 w 852"/>
                <a:gd name="T61" fmla="*/ 515 h 853"/>
                <a:gd name="T62" fmla="*/ 1 w 852"/>
                <a:gd name="T63" fmla="*/ 532 h 853"/>
                <a:gd name="T64" fmla="*/ 14 w 852"/>
                <a:gd name="T65" fmla="*/ 539 h 853"/>
                <a:gd name="T66" fmla="*/ 180 w 852"/>
                <a:gd name="T67" fmla="*/ 520 h 853"/>
                <a:gd name="T68" fmla="*/ 318 w 852"/>
                <a:gd name="T69" fmla="*/ 669 h 853"/>
                <a:gd name="T70" fmla="*/ 329 w 852"/>
                <a:gd name="T71" fmla="*/ 674 h 853"/>
                <a:gd name="T72" fmla="*/ 338 w 852"/>
                <a:gd name="T73" fmla="*/ 671 h 853"/>
                <a:gd name="T74" fmla="*/ 318 w 852"/>
                <a:gd name="T75" fmla="*/ 849 h 853"/>
                <a:gd name="T76" fmla="*/ 334 w 852"/>
                <a:gd name="T77" fmla="*/ 853 h 853"/>
                <a:gd name="T78" fmla="*/ 432 w 852"/>
                <a:gd name="T79" fmla="*/ 762 h 853"/>
                <a:gd name="T80" fmla="*/ 514 w 852"/>
                <a:gd name="T81" fmla="*/ 670 h 853"/>
                <a:gd name="T82" fmla="*/ 537 w 852"/>
                <a:gd name="T83" fmla="*/ 616 h 853"/>
                <a:gd name="T84" fmla="*/ 550 w 852"/>
                <a:gd name="T85" fmla="*/ 517 h 853"/>
                <a:gd name="T86" fmla="*/ 592 w 852"/>
                <a:gd name="T87" fmla="*/ 418 h 853"/>
                <a:gd name="T88" fmla="*/ 729 w 852"/>
                <a:gd name="T89" fmla="*/ 280 h 853"/>
                <a:gd name="T90" fmla="*/ 796 w 852"/>
                <a:gd name="T91" fmla="*/ 212 h 853"/>
                <a:gd name="T92" fmla="*/ 821 w 852"/>
                <a:gd name="T93" fmla="*/ 158 h 853"/>
                <a:gd name="T94" fmla="*/ 843 w 852"/>
                <a:gd name="T95" fmla="*/ 78 h 853"/>
                <a:gd name="T96" fmla="*/ 852 w 852"/>
                <a:gd name="T97" fmla="*/ 15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2" h="853">
                  <a:moveTo>
                    <a:pt x="767" y="199"/>
                  </a:moveTo>
                  <a:lnTo>
                    <a:pt x="744" y="222"/>
                  </a:lnTo>
                  <a:lnTo>
                    <a:pt x="708" y="259"/>
                  </a:lnTo>
                  <a:lnTo>
                    <a:pt x="661" y="306"/>
                  </a:lnTo>
                  <a:lnTo>
                    <a:pt x="607" y="361"/>
                  </a:lnTo>
                  <a:lnTo>
                    <a:pt x="550" y="417"/>
                  </a:lnTo>
                  <a:lnTo>
                    <a:pt x="492" y="476"/>
                  </a:lnTo>
                  <a:lnTo>
                    <a:pt x="437" y="531"/>
                  </a:lnTo>
                  <a:lnTo>
                    <a:pt x="389" y="578"/>
                  </a:lnTo>
                  <a:lnTo>
                    <a:pt x="275" y="464"/>
                  </a:lnTo>
                  <a:lnTo>
                    <a:pt x="415" y="325"/>
                  </a:lnTo>
                  <a:lnTo>
                    <a:pt x="415" y="325"/>
                  </a:lnTo>
                  <a:lnTo>
                    <a:pt x="415" y="325"/>
                  </a:lnTo>
                  <a:lnTo>
                    <a:pt x="654" y="85"/>
                  </a:lnTo>
                  <a:lnTo>
                    <a:pt x="660" y="81"/>
                  </a:lnTo>
                  <a:lnTo>
                    <a:pt x="666" y="77"/>
                  </a:lnTo>
                  <a:lnTo>
                    <a:pt x="675" y="73"/>
                  </a:lnTo>
                  <a:lnTo>
                    <a:pt x="683" y="68"/>
                  </a:lnTo>
                  <a:lnTo>
                    <a:pt x="705" y="60"/>
                  </a:lnTo>
                  <a:lnTo>
                    <a:pt x="728" y="53"/>
                  </a:lnTo>
                  <a:lnTo>
                    <a:pt x="752" y="47"/>
                  </a:lnTo>
                  <a:lnTo>
                    <a:pt x="776" y="42"/>
                  </a:lnTo>
                  <a:lnTo>
                    <a:pt x="800" y="37"/>
                  </a:lnTo>
                  <a:lnTo>
                    <a:pt x="820" y="33"/>
                  </a:lnTo>
                  <a:lnTo>
                    <a:pt x="817" y="54"/>
                  </a:lnTo>
                  <a:lnTo>
                    <a:pt x="812" y="77"/>
                  </a:lnTo>
                  <a:lnTo>
                    <a:pt x="806" y="102"/>
                  </a:lnTo>
                  <a:lnTo>
                    <a:pt x="800" y="126"/>
                  </a:lnTo>
                  <a:lnTo>
                    <a:pt x="794" y="149"/>
                  </a:lnTo>
                  <a:lnTo>
                    <a:pt x="785" y="170"/>
                  </a:lnTo>
                  <a:lnTo>
                    <a:pt x="781" y="179"/>
                  </a:lnTo>
                  <a:lnTo>
                    <a:pt x="776" y="187"/>
                  </a:lnTo>
                  <a:lnTo>
                    <a:pt x="772" y="194"/>
                  </a:lnTo>
                  <a:lnTo>
                    <a:pt x="767" y="199"/>
                  </a:lnTo>
                  <a:close/>
                  <a:moveTo>
                    <a:pt x="503" y="624"/>
                  </a:moveTo>
                  <a:lnTo>
                    <a:pt x="500" y="634"/>
                  </a:lnTo>
                  <a:lnTo>
                    <a:pt x="495" y="643"/>
                  </a:lnTo>
                  <a:lnTo>
                    <a:pt x="490" y="653"/>
                  </a:lnTo>
                  <a:lnTo>
                    <a:pt x="482" y="663"/>
                  </a:lnTo>
                  <a:lnTo>
                    <a:pt x="468" y="683"/>
                  </a:lnTo>
                  <a:lnTo>
                    <a:pt x="453" y="699"/>
                  </a:lnTo>
                  <a:lnTo>
                    <a:pt x="429" y="724"/>
                  </a:lnTo>
                  <a:lnTo>
                    <a:pt x="401" y="751"/>
                  </a:lnTo>
                  <a:lnTo>
                    <a:pt x="374" y="777"/>
                  </a:lnTo>
                  <a:lnTo>
                    <a:pt x="349" y="799"/>
                  </a:lnTo>
                  <a:lnTo>
                    <a:pt x="373" y="637"/>
                  </a:lnTo>
                  <a:lnTo>
                    <a:pt x="386" y="624"/>
                  </a:lnTo>
                  <a:lnTo>
                    <a:pt x="400" y="609"/>
                  </a:lnTo>
                  <a:lnTo>
                    <a:pt x="400" y="609"/>
                  </a:lnTo>
                  <a:lnTo>
                    <a:pt x="400" y="609"/>
                  </a:lnTo>
                  <a:lnTo>
                    <a:pt x="400" y="609"/>
                  </a:lnTo>
                  <a:lnTo>
                    <a:pt x="426" y="583"/>
                  </a:lnTo>
                  <a:lnTo>
                    <a:pt x="455" y="553"/>
                  </a:lnTo>
                  <a:lnTo>
                    <a:pt x="487" y="521"/>
                  </a:lnTo>
                  <a:lnTo>
                    <a:pt x="522" y="488"/>
                  </a:lnTo>
                  <a:lnTo>
                    <a:pt x="520" y="524"/>
                  </a:lnTo>
                  <a:lnTo>
                    <a:pt x="515" y="563"/>
                  </a:lnTo>
                  <a:lnTo>
                    <a:pt x="512" y="581"/>
                  </a:lnTo>
                  <a:lnTo>
                    <a:pt x="510" y="598"/>
                  </a:lnTo>
                  <a:lnTo>
                    <a:pt x="507" y="612"/>
                  </a:lnTo>
                  <a:lnTo>
                    <a:pt x="503" y="624"/>
                  </a:lnTo>
                  <a:close/>
                  <a:moveTo>
                    <a:pt x="215" y="524"/>
                  </a:moveTo>
                  <a:lnTo>
                    <a:pt x="254" y="487"/>
                  </a:lnTo>
                  <a:lnTo>
                    <a:pt x="367" y="599"/>
                  </a:lnTo>
                  <a:lnTo>
                    <a:pt x="356" y="611"/>
                  </a:lnTo>
                  <a:lnTo>
                    <a:pt x="345" y="623"/>
                  </a:lnTo>
                  <a:lnTo>
                    <a:pt x="336" y="631"/>
                  </a:lnTo>
                  <a:lnTo>
                    <a:pt x="329" y="638"/>
                  </a:lnTo>
                  <a:lnTo>
                    <a:pt x="215" y="524"/>
                  </a:lnTo>
                  <a:close/>
                  <a:moveTo>
                    <a:pt x="154" y="400"/>
                  </a:moveTo>
                  <a:lnTo>
                    <a:pt x="172" y="385"/>
                  </a:lnTo>
                  <a:lnTo>
                    <a:pt x="191" y="370"/>
                  </a:lnTo>
                  <a:lnTo>
                    <a:pt x="200" y="364"/>
                  </a:lnTo>
                  <a:lnTo>
                    <a:pt x="210" y="357"/>
                  </a:lnTo>
                  <a:lnTo>
                    <a:pt x="220" y="353"/>
                  </a:lnTo>
                  <a:lnTo>
                    <a:pt x="227" y="349"/>
                  </a:lnTo>
                  <a:lnTo>
                    <a:pt x="239" y="346"/>
                  </a:lnTo>
                  <a:lnTo>
                    <a:pt x="254" y="342"/>
                  </a:lnTo>
                  <a:lnTo>
                    <a:pt x="271" y="340"/>
                  </a:lnTo>
                  <a:lnTo>
                    <a:pt x="290" y="338"/>
                  </a:lnTo>
                  <a:lnTo>
                    <a:pt x="329" y="334"/>
                  </a:lnTo>
                  <a:lnTo>
                    <a:pt x="366" y="331"/>
                  </a:lnTo>
                  <a:lnTo>
                    <a:pt x="218" y="480"/>
                  </a:lnTo>
                  <a:lnTo>
                    <a:pt x="55" y="503"/>
                  </a:lnTo>
                  <a:lnTo>
                    <a:pt x="77" y="479"/>
                  </a:lnTo>
                  <a:lnTo>
                    <a:pt x="103" y="453"/>
                  </a:lnTo>
                  <a:lnTo>
                    <a:pt x="130" y="425"/>
                  </a:lnTo>
                  <a:lnTo>
                    <a:pt x="154" y="400"/>
                  </a:lnTo>
                  <a:close/>
                  <a:moveTo>
                    <a:pt x="848" y="5"/>
                  </a:moveTo>
                  <a:lnTo>
                    <a:pt x="846" y="3"/>
                  </a:lnTo>
                  <a:lnTo>
                    <a:pt x="843" y="2"/>
                  </a:lnTo>
                  <a:lnTo>
                    <a:pt x="840" y="1"/>
                  </a:lnTo>
                  <a:lnTo>
                    <a:pt x="836" y="0"/>
                  </a:lnTo>
                  <a:lnTo>
                    <a:pt x="825" y="2"/>
                  </a:lnTo>
                  <a:lnTo>
                    <a:pt x="803" y="6"/>
                  </a:lnTo>
                  <a:lnTo>
                    <a:pt x="775" y="11"/>
                  </a:lnTo>
                  <a:lnTo>
                    <a:pt x="744" y="18"/>
                  </a:lnTo>
                  <a:lnTo>
                    <a:pt x="727" y="22"/>
                  </a:lnTo>
                  <a:lnTo>
                    <a:pt x="711" y="27"/>
                  </a:lnTo>
                  <a:lnTo>
                    <a:pt x="695" y="32"/>
                  </a:lnTo>
                  <a:lnTo>
                    <a:pt x="680" y="37"/>
                  </a:lnTo>
                  <a:lnTo>
                    <a:pt x="666" y="44"/>
                  </a:lnTo>
                  <a:lnTo>
                    <a:pt x="653" y="50"/>
                  </a:lnTo>
                  <a:lnTo>
                    <a:pt x="642" y="57"/>
                  </a:lnTo>
                  <a:lnTo>
                    <a:pt x="633" y="65"/>
                  </a:lnTo>
                  <a:lnTo>
                    <a:pt x="397" y="300"/>
                  </a:lnTo>
                  <a:lnTo>
                    <a:pt x="382" y="301"/>
                  </a:lnTo>
                  <a:lnTo>
                    <a:pt x="362" y="302"/>
                  </a:lnTo>
                  <a:lnTo>
                    <a:pt x="338" y="304"/>
                  </a:lnTo>
                  <a:lnTo>
                    <a:pt x="312" y="306"/>
                  </a:lnTo>
                  <a:lnTo>
                    <a:pt x="285" y="308"/>
                  </a:lnTo>
                  <a:lnTo>
                    <a:pt x="259" y="311"/>
                  </a:lnTo>
                  <a:lnTo>
                    <a:pt x="237" y="316"/>
                  </a:lnTo>
                  <a:lnTo>
                    <a:pt x="219" y="321"/>
                  </a:lnTo>
                  <a:lnTo>
                    <a:pt x="207" y="325"/>
                  </a:lnTo>
                  <a:lnTo>
                    <a:pt x="195" y="332"/>
                  </a:lnTo>
                  <a:lnTo>
                    <a:pt x="183" y="339"/>
                  </a:lnTo>
                  <a:lnTo>
                    <a:pt x="172" y="347"/>
                  </a:lnTo>
                  <a:lnTo>
                    <a:pt x="150" y="364"/>
                  </a:lnTo>
                  <a:lnTo>
                    <a:pt x="133" y="379"/>
                  </a:lnTo>
                  <a:lnTo>
                    <a:pt x="91" y="423"/>
                  </a:lnTo>
                  <a:lnTo>
                    <a:pt x="50" y="467"/>
                  </a:lnTo>
                  <a:lnTo>
                    <a:pt x="17" y="501"/>
                  </a:lnTo>
                  <a:lnTo>
                    <a:pt x="3" y="515"/>
                  </a:lnTo>
                  <a:lnTo>
                    <a:pt x="1" y="519"/>
                  </a:lnTo>
                  <a:lnTo>
                    <a:pt x="0" y="523"/>
                  </a:lnTo>
                  <a:lnTo>
                    <a:pt x="0" y="528"/>
                  </a:lnTo>
                  <a:lnTo>
                    <a:pt x="1" y="532"/>
                  </a:lnTo>
                  <a:lnTo>
                    <a:pt x="3" y="535"/>
                  </a:lnTo>
                  <a:lnTo>
                    <a:pt x="7" y="537"/>
                  </a:lnTo>
                  <a:lnTo>
                    <a:pt x="11" y="538"/>
                  </a:lnTo>
                  <a:lnTo>
                    <a:pt x="14" y="539"/>
                  </a:lnTo>
                  <a:lnTo>
                    <a:pt x="15" y="539"/>
                  </a:lnTo>
                  <a:lnTo>
                    <a:pt x="16" y="539"/>
                  </a:lnTo>
                  <a:lnTo>
                    <a:pt x="182" y="515"/>
                  </a:lnTo>
                  <a:lnTo>
                    <a:pt x="180" y="520"/>
                  </a:lnTo>
                  <a:lnTo>
                    <a:pt x="179" y="525"/>
                  </a:lnTo>
                  <a:lnTo>
                    <a:pt x="180" y="531"/>
                  </a:lnTo>
                  <a:lnTo>
                    <a:pt x="183" y="535"/>
                  </a:lnTo>
                  <a:lnTo>
                    <a:pt x="318" y="669"/>
                  </a:lnTo>
                  <a:lnTo>
                    <a:pt x="320" y="671"/>
                  </a:lnTo>
                  <a:lnTo>
                    <a:pt x="324" y="673"/>
                  </a:lnTo>
                  <a:lnTo>
                    <a:pt x="326" y="673"/>
                  </a:lnTo>
                  <a:lnTo>
                    <a:pt x="329" y="674"/>
                  </a:lnTo>
                  <a:lnTo>
                    <a:pt x="331" y="674"/>
                  </a:lnTo>
                  <a:lnTo>
                    <a:pt x="333" y="673"/>
                  </a:lnTo>
                  <a:lnTo>
                    <a:pt x="335" y="672"/>
                  </a:lnTo>
                  <a:lnTo>
                    <a:pt x="338" y="671"/>
                  </a:lnTo>
                  <a:lnTo>
                    <a:pt x="314" y="837"/>
                  </a:lnTo>
                  <a:lnTo>
                    <a:pt x="314" y="841"/>
                  </a:lnTo>
                  <a:lnTo>
                    <a:pt x="316" y="845"/>
                  </a:lnTo>
                  <a:lnTo>
                    <a:pt x="318" y="849"/>
                  </a:lnTo>
                  <a:lnTo>
                    <a:pt x="323" y="852"/>
                  </a:lnTo>
                  <a:lnTo>
                    <a:pt x="326" y="853"/>
                  </a:lnTo>
                  <a:lnTo>
                    <a:pt x="329" y="853"/>
                  </a:lnTo>
                  <a:lnTo>
                    <a:pt x="334" y="853"/>
                  </a:lnTo>
                  <a:lnTo>
                    <a:pt x="339" y="851"/>
                  </a:lnTo>
                  <a:lnTo>
                    <a:pt x="354" y="837"/>
                  </a:lnTo>
                  <a:lnTo>
                    <a:pt x="388" y="805"/>
                  </a:lnTo>
                  <a:lnTo>
                    <a:pt x="432" y="762"/>
                  </a:lnTo>
                  <a:lnTo>
                    <a:pt x="475" y="720"/>
                  </a:lnTo>
                  <a:lnTo>
                    <a:pt x="490" y="703"/>
                  </a:lnTo>
                  <a:lnTo>
                    <a:pt x="506" y="682"/>
                  </a:lnTo>
                  <a:lnTo>
                    <a:pt x="514" y="670"/>
                  </a:lnTo>
                  <a:lnTo>
                    <a:pt x="521" y="658"/>
                  </a:lnTo>
                  <a:lnTo>
                    <a:pt x="527" y="646"/>
                  </a:lnTo>
                  <a:lnTo>
                    <a:pt x="531" y="635"/>
                  </a:lnTo>
                  <a:lnTo>
                    <a:pt x="537" y="616"/>
                  </a:lnTo>
                  <a:lnTo>
                    <a:pt x="541" y="594"/>
                  </a:lnTo>
                  <a:lnTo>
                    <a:pt x="544" y="569"/>
                  </a:lnTo>
                  <a:lnTo>
                    <a:pt x="547" y="543"/>
                  </a:lnTo>
                  <a:lnTo>
                    <a:pt x="550" y="517"/>
                  </a:lnTo>
                  <a:lnTo>
                    <a:pt x="552" y="492"/>
                  </a:lnTo>
                  <a:lnTo>
                    <a:pt x="553" y="472"/>
                  </a:lnTo>
                  <a:lnTo>
                    <a:pt x="554" y="457"/>
                  </a:lnTo>
                  <a:lnTo>
                    <a:pt x="592" y="418"/>
                  </a:lnTo>
                  <a:lnTo>
                    <a:pt x="630" y="380"/>
                  </a:lnTo>
                  <a:lnTo>
                    <a:pt x="666" y="343"/>
                  </a:lnTo>
                  <a:lnTo>
                    <a:pt x="699" y="310"/>
                  </a:lnTo>
                  <a:lnTo>
                    <a:pt x="729" y="280"/>
                  </a:lnTo>
                  <a:lnTo>
                    <a:pt x="755" y="255"/>
                  </a:lnTo>
                  <a:lnTo>
                    <a:pt x="775" y="234"/>
                  </a:lnTo>
                  <a:lnTo>
                    <a:pt x="788" y="220"/>
                  </a:lnTo>
                  <a:lnTo>
                    <a:pt x="796" y="212"/>
                  </a:lnTo>
                  <a:lnTo>
                    <a:pt x="803" y="200"/>
                  </a:lnTo>
                  <a:lnTo>
                    <a:pt x="810" y="187"/>
                  </a:lnTo>
                  <a:lnTo>
                    <a:pt x="816" y="173"/>
                  </a:lnTo>
                  <a:lnTo>
                    <a:pt x="821" y="158"/>
                  </a:lnTo>
                  <a:lnTo>
                    <a:pt x="827" y="142"/>
                  </a:lnTo>
                  <a:lnTo>
                    <a:pt x="831" y="126"/>
                  </a:lnTo>
                  <a:lnTo>
                    <a:pt x="835" y="110"/>
                  </a:lnTo>
                  <a:lnTo>
                    <a:pt x="843" y="78"/>
                  </a:lnTo>
                  <a:lnTo>
                    <a:pt x="848" y="51"/>
                  </a:lnTo>
                  <a:lnTo>
                    <a:pt x="851" y="30"/>
                  </a:lnTo>
                  <a:lnTo>
                    <a:pt x="852" y="18"/>
                  </a:lnTo>
                  <a:lnTo>
                    <a:pt x="852" y="15"/>
                  </a:lnTo>
                  <a:lnTo>
                    <a:pt x="852" y="11"/>
                  </a:lnTo>
                  <a:lnTo>
                    <a:pt x="850" y="7"/>
                  </a:lnTo>
                  <a:lnTo>
                    <a:pt x="848"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204" name="Freeform 107">
              <a:extLst>
                <a:ext uri="{FF2B5EF4-FFF2-40B4-BE49-F238E27FC236}">
                  <a16:creationId xmlns:a16="http://schemas.microsoft.com/office/drawing/2014/main" id="{CD90A119-F486-4E3C-A5F3-131A6A663B3A}"/>
                </a:ext>
              </a:extLst>
            </p:cNvPr>
            <p:cNvSpPr>
              <a:spLocks/>
            </p:cNvSpPr>
            <p:nvPr/>
          </p:nvSpPr>
          <p:spPr bwMode="auto">
            <a:xfrm>
              <a:off x="4906963" y="3517900"/>
              <a:ext cx="93663" cy="93663"/>
            </a:xfrm>
            <a:custGeom>
              <a:avLst/>
              <a:gdLst>
                <a:gd name="T0" fmla="*/ 253 w 297"/>
                <a:gd name="T1" fmla="*/ 79 h 296"/>
                <a:gd name="T2" fmla="*/ 252 w 297"/>
                <a:gd name="T3" fmla="*/ 86 h 296"/>
                <a:gd name="T4" fmla="*/ 256 w 297"/>
                <a:gd name="T5" fmla="*/ 95 h 296"/>
                <a:gd name="T6" fmla="*/ 265 w 297"/>
                <a:gd name="T7" fmla="*/ 108 h 296"/>
                <a:gd name="T8" fmla="*/ 267 w 297"/>
                <a:gd name="T9" fmla="*/ 121 h 296"/>
                <a:gd name="T10" fmla="*/ 261 w 297"/>
                <a:gd name="T11" fmla="*/ 141 h 296"/>
                <a:gd name="T12" fmla="*/ 242 w 297"/>
                <a:gd name="T13" fmla="*/ 167 h 296"/>
                <a:gd name="T14" fmla="*/ 221 w 297"/>
                <a:gd name="T15" fmla="*/ 182 h 296"/>
                <a:gd name="T16" fmla="*/ 158 w 297"/>
                <a:gd name="T17" fmla="*/ 214 h 296"/>
                <a:gd name="T18" fmla="*/ 67 w 297"/>
                <a:gd name="T19" fmla="*/ 248 h 296"/>
                <a:gd name="T20" fmla="*/ 60 w 297"/>
                <a:gd name="T21" fmla="*/ 202 h 296"/>
                <a:gd name="T22" fmla="*/ 98 w 297"/>
                <a:gd name="T23" fmla="*/ 113 h 296"/>
                <a:gd name="T24" fmla="*/ 120 w 297"/>
                <a:gd name="T25" fmla="*/ 68 h 296"/>
                <a:gd name="T26" fmla="*/ 138 w 297"/>
                <a:gd name="T27" fmla="*/ 48 h 296"/>
                <a:gd name="T28" fmla="*/ 166 w 297"/>
                <a:gd name="T29" fmla="*/ 33 h 296"/>
                <a:gd name="T30" fmla="*/ 180 w 297"/>
                <a:gd name="T31" fmla="*/ 30 h 296"/>
                <a:gd name="T32" fmla="*/ 194 w 297"/>
                <a:gd name="T33" fmla="*/ 35 h 296"/>
                <a:gd name="T34" fmla="*/ 205 w 297"/>
                <a:gd name="T35" fmla="*/ 44 h 296"/>
                <a:gd name="T36" fmla="*/ 213 w 297"/>
                <a:gd name="T37" fmla="*/ 47 h 296"/>
                <a:gd name="T38" fmla="*/ 222 w 297"/>
                <a:gd name="T39" fmla="*/ 44 h 296"/>
                <a:gd name="T40" fmla="*/ 227 w 297"/>
                <a:gd name="T41" fmla="*/ 37 h 296"/>
                <a:gd name="T42" fmla="*/ 228 w 297"/>
                <a:gd name="T43" fmla="*/ 28 h 296"/>
                <a:gd name="T44" fmla="*/ 224 w 297"/>
                <a:gd name="T45" fmla="*/ 21 h 296"/>
                <a:gd name="T46" fmla="*/ 206 w 297"/>
                <a:gd name="T47" fmla="*/ 7 h 296"/>
                <a:gd name="T48" fmla="*/ 184 w 297"/>
                <a:gd name="T49" fmla="*/ 2 h 296"/>
                <a:gd name="T50" fmla="*/ 162 w 297"/>
                <a:gd name="T51" fmla="*/ 3 h 296"/>
                <a:gd name="T52" fmla="*/ 139 w 297"/>
                <a:gd name="T53" fmla="*/ 11 h 296"/>
                <a:gd name="T54" fmla="*/ 117 w 297"/>
                <a:gd name="T55" fmla="*/ 27 h 296"/>
                <a:gd name="T56" fmla="*/ 94 w 297"/>
                <a:gd name="T57" fmla="*/ 55 h 296"/>
                <a:gd name="T58" fmla="*/ 60 w 297"/>
                <a:gd name="T59" fmla="*/ 123 h 296"/>
                <a:gd name="T60" fmla="*/ 16 w 297"/>
                <a:gd name="T61" fmla="*/ 235 h 296"/>
                <a:gd name="T62" fmla="*/ 0 w 297"/>
                <a:gd name="T63" fmla="*/ 281 h 296"/>
                <a:gd name="T64" fmla="*/ 4 w 297"/>
                <a:gd name="T65" fmla="*/ 292 h 296"/>
                <a:gd name="T66" fmla="*/ 13 w 297"/>
                <a:gd name="T67" fmla="*/ 296 h 296"/>
                <a:gd name="T68" fmla="*/ 21 w 297"/>
                <a:gd name="T69" fmla="*/ 296 h 296"/>
                <a:gd name="T70" fmla="*/ 97 w 297"/>
                <a:gd name="T71" fmla="*/ 269 h 296"/>
                <a:gd name="T72" fmla="*/ 212 w 297"/>
                <a:gd name="T73" fmla="*/ 220 h 296"/>
                <a:gd name="T74" fmla="*/ 255 w 297"/>
                <a:gd name="T75" fmla="*/ 196 h 296"/>
                <a:gd name="T76" fmla="*/ 276 w 297"/>
                <a:gd name="T77" fmla="*/ 174 h 296"/>
                <a:gd name="T78" fmla="*/ 290 w 297"/>
                <a:gd name="T79" fmla="*/ 150 h 296"/>
                <a:gd name="T80" fmla="*/ 297 w 297"/>
                <a:gd name="T81" fmla="*/ 128 h 296"/>
                <a:gd name="T82" fmla="*/ 296 w 297"/>
                <a:gd name="T83" fmla="*/ 105 h 296"/>
                <a:gd name="T84" fmla="*/ 287 w 297"/>
                <a:gd name="T85" fmla="*/ 85 h 296"/>
                <a:gd name="T86" fmla="*/ 275 w 297"/>
                <a:gd name="T87" fmla="*/ 71 h 296"/>
                <a:gd name="T88" fmla="*/ 267 w 297"/>
                <a:gd name="T89" fmla="*/ 69 h 296"/>
                <a:gd name="T90" fmla="*/ 258 w 297"/>
                <a:gd name="T91" fmla="*/ 7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7" h="296">
                  <a:moveTo>
                    <a:pt x="256" y="73"/>
                  </a:moveTo>
                  <a:lnTo>
                    <a:pt x="254" y="75"/>
                  </a:lnTo>
                  <a:lnTo>
                    <a:pt x="253" y="79"/>
                  </a:lnTo>
                  <a:lnTo>
                    <a:pt x="252" y="81"/>
                  </a:lnTo>
                  <a:lnTo>
                    <a:pt x="252" y="84"/>
                  </a:lnTo>
                  <a:lnTo>
                    <a:pt x="252" y="86"/>
                  </a:lnTo>
                  <a:lnTo>
                    <a:pt x="253" y="89"/>
                  </a:lnTo>
                  <a:lnTo>
                    <a:pt x="254" y="91"/>
                  </a:lnTo>
                  <a:lnTo>
                    <a:pt x="256" y="95"/>
                  </a:lnTo>
                  <a:lnTo>
                    <a:pt x="259" y="99"/>
                  </a:lnTo>
                  <a:lnTo>
                    <a:pt x="263" y="103"/>
                  </a:lnTo>
                  <a:lnTo>
                    <a:pt x="265" y="108"/>
                  </a:lnTo>
                  <a:lnTo>
                    <a:pt x="266" y="112"/>
                  </a:lnTo>
                  <a:lnTo>
                    <a:pt x="267" y="117"/>
                  </a:lnTo>
                  <a:lnTo>
                    <a:pt x="267" y="121"/>
                  </a:lnTo>
                  <a:lnTo>
                    <a:pt x="267" y="127"/>
                  </a:lnTo>
                  <a:lnTo>
                    <a:pt x="266" y="131"/>
                  </a:lnTo>
                  <a:lnTo>
                    <a:pt x="261" y="141"/>
                  </a:lnTo>
                  <a:lnTo>
                    <a:pt x="256" y="150"/>
                  </a:lnTo>
                  <a:lnTo>
                    <a:pt x="250" y="159"/>
                  </a:lnTo>
                  <a:lnTo>
                    <a:pt x="242" y="167"/>
                  </a:lnTo>
                  <a:lnTo>
                    <a:pt x="237" y="173"/>
                  </a:lnTo>
                  <a:lnTo>
                    <a:pt x="229" y="177"/>
                  </a:lnTo>
                  <a:lnTo>
                    <a:pt x="221" y="182"/>
                  </a:lnTo>
                  <a:lnTo>
                    <a:pt x="210" y="189"/>
                  </a:lnTo>
                  <a:lnTo>
                    <a:pt x="185" y="201"/>
                  </a:lnTo>
                  <a:lnTo>
                    <a:pt x="158" y="214"/>
                  </a:lnTo>
                  <a:lnTo>
                    <a:pt x="127" y="225"/>
                  </a:lnTo>
                  <a:lnTo>
                    <a:pt x="97" y="237"/>
                  </a:lnTo>
                  <a:lnTo>
                    <a:pt x="67" y="248"/>
                  </a:lnTo>
                  <a:lnTo>
                    <a:pt x="40" y="257"/>
                  </a:lnTo>
                  <a:lnTo>
                    <a:pt x="49" y="231"/>
                  </a:lnTo>
                  <a:lnTo>
                    <a:pt x="60" y="202"/>
                  </a:lnTo>
                  <a:lnTo>
                    <a:pt x="72" y="171"/>
                  </a:lnTo>
                  <a:lnTo>
                    <a:pt x="85" y="141"/>
                  </a:lnTo>
                  <a:lnTo>
                    <a:pt x="98" y="113"/>
                  </a:lnTo>
                  <a:lnTo>
                    <a:pt x="109" y="88"/>
                  </a:lnTo>
                  <a:lnTo>
                    <a:pt x="115" y="78"/>
                  </a:lnTo>
                  <a:lnTo>
                    <a:pt x="120" y="68"/>
                  </a:lnTo>
                  <a:lnTo>
                    <a:pt x="125" y="60"/>
                  </a:lnTo>
                  <a:lnTo>
                    <a:pt x="131" y="55"/>
                  </a:lnTo>
                  <a:lnTo>
                    <a:pt x="138" y="48"/>
                  </a:lnTo>
                  <a:lnTo>
                    <a:pt x="147" y="41"/>
                  </a:lnTo>
                  <a:lnTo>
                    <a:pt x="157" y="36"/>
                  </a:lnTo>
                  <a:lnTo>
                    <a:pt x="166" y="33"/>
                  </a:lnTo>
                  <a:lnTo>
                    <a:pt x="172" y="32"/>
                  </a:lnTo>
                  <a:lnTo>
                    <a:pt x="176" y="30"/>
                  </a:lnTo>
                  <a:lnTo>
                    <a:pt x="180" y="30"/>
                  </a:lnTo>
                  <a:lnTo>
                    <a:pt x="185" y="32"/>
                  </a:lnTo>
                  <a:lnTo>
                    <a:pt x="190" y="33"/>
                  </a:lnTo>
                  <a:lnTo>
                    <a:pt x="194" y="35"/>
                  </a:lnTo>
                  <a:lnTo>
                    <a:pt x="198" y="38"/>
                  </a:lnTo>
                  <a:lnTo>
                    <a:pt x="203" y="42"/>
                  </a:lnTo>
                  <a:lnTo>
                    <a:pt x="205" y="44"/>
                  </a:lnTo>
                  <a:lnTo>
                    <a:pt x="208" y="45"/>
                  </a:lnTo>
                  <a:lnTo>
                    <a:pt x="210" y="47"/>
                  </a:lnTo>
                  <a:lnTo>
                    <a:pt x="213" y="47"/>
                  </a:lnTo>
                  <a:lnTo>
                    <a:pt x="216" y="47"/>
                  </a:lnTo>
                  <a:lnTo>
                    <a:pt x="219" y="45"/>
                  </a:lnTo>
                  <a:lnTo>
                    <a:pt x="222" y="44"/>
                  </a:lnTo>
                  <a:lnTo>
                    <a:pt x="224" y="42"/>
                  </a:lnTo>
                  <a:lnTo>
                    <a:pt x="226" y="39"/>
                  </a:lnTo>
                  <a:lnTo>
                    <a:pt x="227" y="37"/>
                  </a:lnTo>
                  <a:lnTo>
                    <a:pt x="228" y="34"/>
                  </a:lnTo>
                  <a:lnTo>
                    <a:pt x="228" y="30"/>
                  </a:lnTo>
                  <a:lnTo>
                    <a:pt x="228" y="28"/>
                  </a:lnTo>
                  <a:lnTo>
                    <a:pt x="227" y="25"/>
                  </a:lnTo>
                  <a:lnTo>
                    <a:pt x="226" y="23"/>
                  </a:lnTo>
                  <a:lnTo>
                    <a:pt x="224" y="21"/>
                  </a:lnTo>
                  <a:lnTo>
                    <a:pt x="218" y="15"/>
                  </a:lnTo>
                  <a:lnTo>
                    <a:pt x="212" y="11"/>
                  </a:lnTo>
                  <a:lnTo>
                    <a:pt x="206" y="7"/>
                  </a:lnTo>
                  <a:lnTo>
                    <a:pt x="198" y="5"/>
                  </a:lnTo>
                  <a:lnTo>
                    <a:pt x="192" y="3"/>
                  </a:lnTo>
                  <a:lnTo>
                    <a:pt x="184" y="2"/>
                  </a:lnTo>
                  <a:lnTo>
                    <a:pt x="177" y="0"/>
                  </a:lnTo>
                  <a:lnTo>
                    <a:pt x="169" y="2"/>
                  </a:lnTo>
                  <a:lnTo>
                    <a:pt x="162" y="3"/>
                  </a:lnTo>
                  <a:lnTo>
                    <a:pt x="154" y="5"/>
                  </a:lnTo>
                  <a:lnTo>
                    <a:pt x="147" y="8"/>
                  </a:lnTo>
                  <a:lnTo>
                    <a:pt x="139" y="11"/>
                  </a:lnTo>
                  <a:lnTo>
                    <a:pt x="132" y="17"/>
                  </a:lnTo>
                  <a:lnTo>
                    <a:pt x="124" y="22"/>
                  </a:lnTo>
                  <a:lnTo>
                    <a:pt x="117" y="27"/>
                  </a:lnTo>
                  <a:lnTo>
                    <a:pt x="109" y="35"/>
                  </a:lnTo>
                  <a:lnTo>
                    <a:pt x="102" y="43"/>
                  </a:lnTo>
                  <a:lnTo>
                    <a:pt x="94" y="55"/>
                  </a:lnTo>
                  <a:lnTo>
                    <a:pt x="86" y="69"/>
                  </a:lnTo>
                  <a:lnTo>
                    <a:pt x="77" y="85"/>
                  </a:lnTo>
                  <a:lnTo>
                    <a:pt x="60" y="123"/>
                  </a:lnTo>
                  <a:lnTo>
                    <a:pt x="44" y="162"/>
                  </a:lnTo>
                  <a:lnTo>
                    <a:pt x="28" y="201"/>
                  </a:lnTo>
                  <a:lnTo>
                    <a:pt x="16" y="235"/>
                  </a:lnTo>
                  <a:lnTo>
                    <a:pt x="7" y="262"/>
                  </a:lnTo>
                  <a:lnTo>
                    <a:pt x="1" y="277"/>
                  </a:lnTo>
                  <a:lnTo>
                    <a:pt x="0" y="281"/>
                  </a:lnTo>
                  <a:lnTo>
                    <a:pt x="1" y="285"/>
                  </a:lnTo>
                  <a:lnTo>
                    <a:pt x="2" y="290"/>
                  </a:lnTo>
                  <a:lnTo>
                    <a:pt x="4" y="292"/>
                  </a:lnTo>
                  <a:lnTo>
                    <a:pt x="8" y="294"/>
                  </a:lnTo>
                  <a:lnTo>
                    <a:pt x="10" y="295"/>
                  </a:lnTo>
                  <a:lnTo>
                    <a:pt x="13" y="296"/>
                  </a:lnTo>
                  <a:lnTo>
                    <a:pt x="15" y="296"/>
                  </a:lnTo>
                  <a:lnTo>
                    <a:pt x="18" y="296"/>
                  </a:lnTo>
                  <a:lnTo>
                    <a:pt x="21" y="296"/>
                  </a:lnTo>
                  <a:lnTo>
                    <a:pt x="36" y="291"/>
                  </a:lnTo>
                  <a:lnTo>
                    <a:pt x="62" y="282"/>
                  </a:lnTo>
                  <a:lnTo>
                    <a:pt x="97" y="269"/>
                  </a:lnTo>
                  <a:lnTo>
                    <a:pt x="135" y="254"/>
                  </a:lnTo>
                  <a:lnTo>
                    <a:pt x="176" y="237"/>
                  </a:lnTo>
                  <a:lnTo>
                    <a:pt x="212" y="220"/>
                  </a:lnTo>
                  <a:lnTo>
                    <a:pt x="229" y="211"/>
                  </a:lnTo>
                  <a:lnTo>
                    <a:pt x="243" y="204"/>
                  </a:lnTo>
                  <a:lnTo>
                    <a:pt x="255" y="196"/>
                  </a:lnTo>
                  <a:lnTo>
                    <a:pt x="264" y="189"/>
                  </a:lnTo>
                  <a:lnTo>
                    <a:pt x="271" y="181"/>
                  </a:lnTo>
                  <a:lnTo>
                    <a:pt x="276" y="174"/>
                  </a:lnTo>
                  <a:lnTo>
                    <a:pt x="282" y="166"/>
                  </a:lnTo>
                  <a:lnTo>
                    <a:pt x="286" y="158"/>
                  </a:lnTo>
                  <a:lnTo>
                    <a:pt x="290" y="150"/>
                  </a:lnTo>
                  <a:lnTo>
                    <a:pt x="292" y="143"/>
                  </a:lnTo>
                  <a:lnTo>
                    <a:pt x="295" y="135"/>
                  </a:lnTo>
                  <a:lnTo>
                    <a:pt x="297" y="128"/>
                  </a:lnTo>
                  <a:lnTo>
                    <a:pt x="297" y="120"/>
                  </a:lnTo>
                  <a:lnTo>
                    <a:pt x="297" y="113"/>
                  </a:lnTo>
                  <a:lnTo>
                    <a:pt x="296" y="105"/>
                  </a:lnTo>
                  <a:lnTo>
                    <a:pt x="294" y="99"/>
                  </a:lnTo>
                  <a:lnTo>
                    <a:pt x="290" y="91"/>
                  </a:lnTo>
                  <a:lnTo>
                    <a:pt x="287" y="85"/>
                  </a:lnTo>
                  <a:lnTo>
                    <a:pt x="283" y="79"/>
                  </a:lnTo>
                  <a:lnTo>
                    <a:pt x="278" y="73"/>
                  </a:lnTo>
                  <a:lnTo>
                    <a:pt x="275" y="71"/>
                  </a:lnTo>
                  <a:lnTo>
                    <a:pt x="272" y="70"/>
                  </a:lnTo>
                  <a:lnTo>
                    <a:pt x="270" y="69"/>
                  </a:lnTo>
                  <a:lnTo>
                    <a:pt x="267" y="69"/>
                  </a:lnTo>
                  <a:lnTo>
                    <a:pt x="264" y="69"/>
                  </a:lnTo>
                  <a:lnTo>
                    <a:pt x="261" y="70"/>
                  </a:lnTo>
                  <a:lnTo>
                    <a:pt x="258" y="71"/>
                  </a:lnTo>
                  <a:lnTo>
                    <a:pt x="256" y="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1310" name="Group 69">
            <a:extLst>
              <a:ext uri="{FF2B5EF4-FFF2-40B4-BE49-F238E27FC236}">
                <a16:creationId xmlns:a16="http://schemas.microsoft.com/office/drawing/2014/main" id="{78DFF371-9099-40F7-9EE4-A1EA4656FAB8}"/>
              </a:ext>
            </a:extLst>
          </p:cNvPr>
          <p:cNvGrpSpPr>
            <a:grpSpLocks noChangeAspect="1"/>
          </p:cNvGrpSpPr>
          <p:nvPr/>
        </p:nvGrpSpPr>
        <p:grpSpPr>
          <a:xfrm>
            <a:off x="1076489" y="1647825"/>
            <a:ext cx="285619" cy="285619"/>
            <a:chOff x="8094663" y="4038600"/>
            <a:chExt cx="1136650" cy="1136650"/>
          </a:xfrm>
          <a:solidFill>
            <a:schemeClr val="bg1"/>
          </a:solidFill>
          <a:effectLst/>
        </p:grpSpPr>
        <p:sp>
          <p:nvSpPr>
            <p:cNvPr id="1311" name="Freeform 39">
              <a:extLst>
                <a:ext uri="{FF2B5EF4-FFF2-40B4-BE49-F238E27FC236}">
                  <a16:creationId xmlns:a16="http://schemas.microsoft.com/office/drawing/2014/main" id="{BED09F08-9626-4A04-BB18-29484A274007}"/>
                </a:ext>
              </a:extLst>
            </p:cNvPr>
            <p:cNvSpPr>
              <a:spLocks/>
            </p:cNvSpPr>
            <p:nvPr/>
          </p:nvSpPr>
          <p:spPr bwMode="auto">
            <a:xfrm>
              <a:off x="8499475" y="4845050"/>
              <a:ext cx="214313" cy="330200"/>
            </a:xfrm>
            <a:custGeom>
              <a:avLst/>
              <a:gdLst>
                <a:gd name="T0" fmla="*/ 39 w 405"/>
                <a:gd name="T1" fmla="*/ 624 h 624"/>
                <a:gd name="T2" fmla="*/ 32 w 405"/>
                <a:gd name="T3" fmla="*/ 623 h 624"/>
                <a:gd name="T4" fmla="*/ 25 w 405"/>
                <a:gd name="T5" fmla="*/ 621 h 624"/>
                <a:gd name="T6" fmla="*/ 19 w 405"/>
                <a:gd name="T7" fmla="*/ 619 h 624"/>
                <a:gd name="T8" fmla="*/ 14 w 405"/>
                <a:gd name="T9" fmla="*/ 615 h 624"/>
                <a:gd name="T10" fmla="*/ 11 w 405"/>
                <a:gd name="T11" fmla="*/ 611 h 624"/>
                <a:gd name="T12" fmla="*/ 7 w 405"/>
                <a:gd name="T13" fmla="*/ 607 h 624"/>
                <a:gd name="T14" fmla="*/ 4 w 405"/>
                <a:gd name="T15" fmla="*/ 602 h 624"/>
                <a:gd name="T16" fmla="*/ 2 w 405"/>
                <a:gd name="T17" fmla="*/ 596 h 624"/>
                <a:gd name="T18" fmla="*/ 1 w 405"/>
                <a:gd name="T19" fmla="*/ 591 h 624"/>
                <a:gd name="T20" fmla="*/ 0 w 405"/>
                <a:gd name="T21" fmla="*/ 586 h 624"/>
                <a:gd name="T22" fmla="*/ 0 w 405"/>
                <a:gd name="T23" fmla="*/ 227 h 624"/>
                <a:gd name="T24" fmla="*/ 1 w 405"/>
                <a:gd name="T25" fmla="*/ 219 h 624"/>
                <a:gd name="T26" fmla="*/ 3 w 405"/>
                <a:gd name="T27" fmla="*/ 212 h 624"/>
                <a:gd name="T28" fmla="*/ 7 w 405"/>
                <a:gd name="T29" fmla="*/ 205 h 624"/>
                <a:gd name="T30" fmla="*/ 12 w 405"/>
                <a:gd name="T31" fmla="*/ 199 h 624"/>
                <a:gd name="T32" fmla="*/ 17 w 405"/>
                <a:gd name="T33" fmla="*/ 195 h 624"/>
                <a:gd name="T34" fmla="*/ 24 w 405"/>
                <a:gd name="T35" fmla="*/ 191 h 624"/>
                <a:gd name="T36" fmla="*/ 31 w 405"/>
                <a:gd name="T37" fmla="*/ 188 h 624"/>
                <a:gd name="T38" fmla="*/ 39 w 405"/>
                <a:gd name="T39" fmla="*/ 188 h 624"/>
                <a:gd name="T40" fmla="*/ 47 w 405"/>
                <a:gd name="T41" fmla="*/ 188 h 624"/>
                <a:gd name="T42" fmla="*/ 54 w 405"/>
                <a:gd name="T43" fmla="*/ 191 h 624"/>
                <a:gd name="T44" fmla="*/ 61 w 405"/>
                <a:gd name="T45" fmla="*/ 195 h 624"/>
                <a:gd name="T46" fmla="*/ 66 w 405"/>
                <a:gd name="T47" fmla="*/ 199 h 624"/>
                <a:gd name="T48" fmla="*/ 71 w 405"/>
                <a:gd name="T49" fmla="*/ 205 h 624"/>
                <a:gd name="T50" fmla="*/ 75 w 405"/>
                <a:gd name="T51" fmla="*/ 212 h 624"/>
                <a:gd name="T52" fmla="*/ 77 w 405"/>
                <a:gd name="T53" fmla="*/ 219 h 624"/>
                <a:gd name="T54" fmla="*/ 78 w 405"/>
                <a:gd name="T55" fmla="*/ 227 h 624"/>
                <a:gd name="T56" fmla="*/ 78 w 405"/>
                <a:gd name="T57" fmla="*/ 492 h 624"/>
                <a:gd name="T58" fmla="*/ 303 w 405"/>
                <a:gd name="T59" fmla="*/ 267 h 624"/>
                <a:gd name="T60" fmla="*/ 329 w 405"/>
                <a:gd name="T61" fmla="*/ 34 h 624"/>
                <a:gd name="T62" fmla="*/ 331 w 405"/>
                <a:gd name="T63" fmla="*/ 27 h 624"/>
                <a:gd name="T64" fmla="*/ 333 w 405"/>
                <a:gd name="T65" fmla="*/ 20 h 624"/>
                <a:gd name="T66" fmla="*/ 338 w 405"/>
                <a:gd name="T67" fmla="*/ 14 h 624"/>
                <a:gd name="T68" fmla="*/ 343 w 405"/>
                <a:gd name="T69" fmla="*/ 9 h 624"/>
                <a:gd name="T70" fmla="*/ 349 w 405"/>
                <a:gd name="T71" fmla="*/ 4 h 624"/>
                <a:gd name="T72" fmla="*/ 356 w 405"/>
                <a:gd name="T73" fmla="*/ 2 h 624"/>
                <a:gd name="T74" fmla="*/ 364 w 405"/>
                <a:gd name="T75" fmla="*/ 0 h 624"/>
                <a:gd name="T76" fmla="*/ 371 w 405"/>
                <a:gd name="T77" fmla="*/ 0 h 624"/>
                <a:gd name="T78" fmla="*/ 378 w 405"/>
                <a:gd name="T79" fmla="*/ 2 h 624"/>
                <a:gd name="T80" fmla="*/ 386 w 405"/>
                <a:gd name="T81" fmla="*/ 5 h 624"/>
                <a:gd name="T82" fmla="*/ 392 w 405"/>
                <a:gd name="T83" fmla="*/ 10 h 624"/>
                <a:gd name="T84" fmla="*/ 398 w 405"/>
                <a:gd name="T85" fmla="*/ 15 h 624"/>
                <a:gd name="T86" fmla="*/ 401 w 405"/>
                <a:gd name="T87" fmla="*/ 21 h 624"/>
                <a:gd name="T88" fmla="*/ 404 w 405"/>
                <a:gd name="T89" fmla="*/ 28 h 624"/>
                <a:gd name="T90" fmla="*/ 405 w 405"/>
                <a:gd name="T91" fmla="*/ 35 h 624"/>
                <a:gd name="T92" fmla="*/ 405 w 405"/>
                <a:gd name="T93" fmla="*/ 43 h 624"/>
                <a:gd name="T94" fmla="*/ 378 w 405"/>
                <a:gd name="T95" fmla="*/ 289 h 624"/>
                <a:gd name="T96" fmla="*/ 376 w 405"/>
                <a:gd name="T97" fmla="*/ 296 h 624"/>
                <a:gd name="T98" fmla="*/ 374 w 405"/>
                <a:gd name="T99" fmla="*/ 302 h 624"/>
                <a:gd name="T100" fmla="*/ 371 w 405"/>
                <a:gd name="T101" fmla="*/ 307 h 624"/>
                <a:gd name="T102" fmla="*/ 367 w 405"/>
                <a:gd name="T103" fmla="*/ 313 h 624"/>
                <a:gd name="T104" fmla="*/ 66 w 405"/>
                <a:gd name="T105" fmla="*/ 612 h 624"/>
                <a:gd name="T106" fmla="*/ 61 w 405"/>
                <a:gd name="T107" fmla="*/ 618 h 624"/>
                <a:gd name="T108" fmla="*/ 53 w 405"/>
                <a:gd name="T109" fmla="*/ 621 h 624"/>
                <a:gd name="T110" fmla="*/ 47 w 405"/>
                <a:gd name="T111" fmla="*/ 623 h 624"/>
                <a:gd name="T112" fmla="*/ 39 w 405"/>
                <a:gd name="T113"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624">
                  <a:moveTo>
                    <a:pt x="39" y="624"/>
                  </a:moveTo>
                  <a:lnTo>
                    <a:pt x="32" y="623"/>
                  </a:lnTo>
                  <a:lnTo>
                    <a:pt x="25" y="621"/>
                  </a:lnTo>
                  <a:lnTo>
                    <a:pt x="19" y="619"/>
                  </a:lnTo>
                  <a:lnTo>
                    <a:pt x="14" y="615"/>
                  </a:lnTo>
                  <a:lnTo>
                    <a:pt x="11" y="611"/>
                  </a:lnTo>
                  <a:lnTo>
                    <a:pt x="7" y="607"/>
                  </a:lnTo>
                  <a:lnTo>
                    <a:pt x="4" y="602"/>
                  </a:lnTo>
                  <a:lnTo>
                    <a:pt x="2" y="596"/>
                  </a:lnTo>
                  <a:lnTo>
                    <a:pt x="1" y="591"/>
                  </a:lnTo>
                  <a:lnTo>
                    <a:pt x="0" y="586"/>
                  </a:lnTo>
                  <a:lnTo>
                    <a:pt x="0" y="227"/>
                  </a:lnTo>
                  <a:lnTo>
                    <a:pt x="1" y="219"/>
                  </a:lnTo>
                  <a:lnTo>
                    <a:pt x="3" y="212"/>
                  </a:lnTo>
                  <a:lnTo>
                    <a:pt x="7" y="205"/>
                  </a:lnTo>
                  <a:lnTo>
                    <a:pt x="12" y="199"/>
                  </a:lnTo>
                  <a:lnTo>
                    <a:pt x="17" y="195"/>
                  </a:lnTo>
                  <a:lnTo>
                    <a:pt x="24" y="191"/>
                  </a:lnTo>
                  <a:lnTo>
                    <a:pt x="31" y="188"/>
                  </a:lnTo>
                  <a:lnTo>
                    <a:pt x="39" y="188"/>
                  </a:lnTo>
                  <a:lnTo>
                    <a:pt x="47" y="188"/>
                  </a:lnTo>
                  <a:lnTo>
                    <a:pt x="54" y="191"/>
                  </a:lnTo>
                  <a:lnTo>
                    <a:pt x="61" y="195"/>
                  </a:lnTo>
                  <a:lnTo>
                    <a:pt x="66" y="199"/>
                  </a:lnTo>
                  <a:lnTo>
                    <a:pt x="71" y="205"/>
                  </a:lnTo>
                  <a:lnTo>
                    <a:pt x="75" y="212"/>
                  </a:lnTo>
                  <a:lnTo>
                    <a:pt x="77" y="219"/>
                  </a:lnTo>
                  <a:lnTo>
                    <a:pt x="78" y="227"/>
                  </a:lnTo>
                  <a:lnTo>
                    <a:pt x="78" y="492"/>
                  </a:lnTo>
                  <a:lnTo>
                    <a:pt x="303" y="267"/>
                  </a:lnTo>
                  <a:lnTo>
                    <a:pt x="329" y="34"/>
                  </a:lnTo>
                  <a:lnTo>
                    <a:pt x="331" y="27"/>
                  </a:lnTo>
                  <a:lnTo>
                    <a:pt x="333" y="20"/>
                  </a:lnTo>
                  <a:lnTo>
                    <a:pt x="338" y="14"/>
                  </a:lnTo>
                  <a:lnTo>
                    <a:pt x="343" y="9"/>
                  </a:lnTo>
                  <a:lnTo>
                    <a:pt x="349" y="4"/>
                  </a:lnTo>
                  <a:lnTo>
                    <a:pt x="356" y="2"/>
                  </a:lnTo>
                  <a:lnTo>
                    <a:pt x="364" y="0"/>
                  </a:lnTo>
                  <a:lnTo>
                    <a:pt x="371" y="0"/>
                  </a:lnTo>
                  <a:lnTo>
                    <a:pt x="378" y="2"/>
                  </a:lnTo>
                  <a:lnTo>
                    <a:pt x="386" y="5"/>
                  </a:lnTo>
                  <a:lnTo>
                    <a:pt x="392" y="10"/>
                  </a:lnTo>
                  <a:lnTo>
                    <a:pt x="398" y="15"/>
                  </a:lnTo>
                  <a:lnTo>
                    <a:pt x="401" y="21"/>
                  </a:lnTo>
                  <a:lnTo>
                    <a:pt x="404" y="28"/>
                  </a:lnTo>
                  <a:lnTo>
                    <a:pt x="405" y="35"/>
                  </a:lnTo>
                  <a:lnTo>
                    <a:pt x="405" y="43"/>
                  </a:lnTo>
                  <a:lnTo>
                    <a:pt x="378" y="289"/>
                  </a:lnTo>
                  <a:lnTo>
                    <a:pt x="376" y="296"/>
                  </a:lnTo>
                  <a:lnTo>
                    <a:pt x="374" y="302"/>
                  </a:lnTo>
                  <a:lnTo>
                    <a:pt x="371" y="307"/>
                  </a:lnTo>
                  <a:lnTo>
                    <a:pt x="367" y="313"/>
                  </a:lnTo>
                  <a:lnTo>
                    <a:pt x="66" y="612"/>
                  </a:lnTo>
                  <a:lnTo>
                    <a:pt x="61" y="618"/>
                  </a:lnTo>
                  <a:lnTo>
                    <a:pt x="53" y="621"/>
                  </a:lnTo>
                  <a:lnTo>
                    <a:pt x="47" y="623"/>
                  </a:lnTo>
                  <a:lnTo>
                    <a:pt x="39" y="6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40">
              <a:extLst>
                <a:ext uri="{FF2B5EF4-FFF2-40B4-BE49-F238E27FC236}">
                  <a16:creationId xmlns:a16="http://schemas.microsoft.com/office/drawing/2014/main" id="{BA13E913-9E26-4267-B578-DE1CD2477E40}"/>
                </a:ext>
              </a:extLst>
            </p:cNvPr>
            <p:cNvSpPr>
              <a:spLocks/>
            </p:cNvSpPr>
            <p:nvPr/>
          </p:nvSpPr>
          <p:spPr bwMode="auto">
            <a:xfrm>
              <a:off x="8094663" y="4556125"/>
              <a:ext cx="330200" cy="214313"/>
            </a:xfrm>
            <a:custGeom>
              <a:avLst/>
              <a:gdLst>
                <a:gd name="T0" fmla="*/ 406 w 624"/>
                <a:gd name="T1" fmla="*/ 405 h 405"/>
                <a:gd name="T2" fmla="*/ 39 w 624"/>
                <a:gd name="T3" fmla="*/ 405 h 405"/>
                <a:gd name="T4" fmla="*/ 33 w 624"/>
                <a:gd name="T5" fmla="*/ 405 h 405"/>
                <a:gd name="T6" fmla="*/ 28 w 624"/>
                <a:gd name="T7" fmla="*/ 403 h 405"/>
                <a:gd name="T8" fmla="*/ 22 w 624"/>
                <a:gd name="T9" fmla="*/ 402 h 405"/>
                <a:gd name="T10" fmla="*/ 17 w 624"/>
                <a:gd name="T11" fmla="*/ 398 h 405"/>
                <a:gd name="T12" fmla="*/ 13 w 624"/>
                <a:gd name="T13" fmla="*/ 395 h 405"/>
                <a:gd name="T14" fmla="*/ 10 w 624"/>
                <a:gd name="T15" fmla="*/ 391 h 405"/>
                <a:gd name="T16" fmla="*/ 6 w 624"/>
                <a:gd name="T17" fmla="*/ 386 h 405"/>
                <a:gd name="T18" fmla="*/ 3 w 624"/>
                <a:gd name="T19" fmla="*/ 381 h 405"/>
                <a:gd name="T20" fmla="*/ 1 w 624"/>
                <a:gd name="T21" fmla="*/ 375 h 405"/>
                <a:gd name="T22" fmla="*/ 0 w 624"/>
                <a:gd name="T23" fmla="*/ 370 h 405"/>
                <a:gd name="T24" fmla="*/ 0 w 624"/>
                <a:gd name="T25" fmla="*/ 364 h 405"/>
                <a:gd name="T26" fmla="*/ 1 w 624"/>
                <a:gd name="T27" fmla="*/ 359 h 405"/>
                <a:gd name="T28" fmla="*/ 2 w 624"/>
                <a:gd name="T29" fmla="*/ 354 h 405"/>
                <a:gd name="T30" fmla="*/ 5 w 624"/>
                <a:gd name="T31" fmla="*/ 348 h 405"/>
                <a:gd name="T32" fmla="*/ 7 w 624"/>
                <a:gd name="T33" fmla="*/ 343 h 405"/>
                <a:gd name="T34" fmla="*/ 12 w 624"/>
                <a:gd name="T35" fmla="*/ 339 h 405"/>
                <a:gd name="T36" fmla="*/ 312 w 624"/>
                <a:gd name="T37" fmla="*/ 38 h 405"/>
                <a:gd name="T38" fmla="*/ 317 w 624"/>
                <a:gd name="T39" fmla="*/ 34 h 405"/>
                <a:gd name="T40" fmla="*/ 323 w 624"/>
                <a:gd name="T41" fmla="*/ 31 h 405"/>
                <a:gd name="T42" fmla="*/ 328 w 624"/>
                <a:gd name="T43" fmla="*/ 29 h 405"/>
                <a:gd name="T44" fmla="*/ 336 w 624"/>
                <a:gd name="T45" fmla="*/ 27 h 405"/>
                <a:gd name="T46" fmla="*/ 581 w 624"/>
                <a:gd name="T47" fmla="*/ 0 h 405"/>
                <a:gd name="T48" fmla="*/ 589 w 624"/>
                <a:gd name="T49" fmla="*/ 0 h 405"/>
                <a:gd name="T50" fmla="*/ 596 w 624"/>
                <a:gd name="T51" fmla="*/ 1 h 405"/>
                <a:gd name="T52" fmla="*/ 604 w 624"/>
                <a:gd name="T53" fmla="*/ 4 h 405"/>
                <a:gd name="T54" fmla="*/ 610 w 624"/>
                <a:gd name="T55" fmla="*/ 8 h 405"/>
                <a:gd name="T56" fmla="*/ 615 w 624"/>
                <a:gd name="T57" fmla="*/ 14 h 405"/>
                <a:gd name="T58" fmla="*/ 620 w 624"/>
                <a:gd name="T59" fmla="*/ 19 h 405"/>
                <a:gd name="T60" fmla="*/ 623 w 624"/>
                <a:gd name="T61" fmla="*/ 26 h 405"/>
                <a:gd name="T62" fmla="*/ 624 w 624"/>
                <a:gd name="T63" fmla="*/ 34 h 405"/>
                <a:gd name="T64" fmla="*/ 624 w 624"/>
                <a:gd name="T65" fmla="*/ 41 h 405"/>
                <a:gd name="T66" fmla="*/ 623 w 624"/>
                <a:gd name="T67" fmla="*/ 50 h 405"/>
                <a:gd name="T68" fmla="*/ 620 w 624"/>
                <a:gd name="T69" fmla="*/ 56 h 405"/>
                <a:gd name="T70" fmla="*/ 615 w 624"/>
                <a:gd name="T71" fmla="*/ 63 h 405"/>
                <a:gd name="T72" fmla="*/ 610 w 624"/>
                <a:gd name="T73" fmla="*/ 68 h 405"/>
                <a:gd name="T74" fmla="*/ 605 w 624"/>
                <a:gd name="T75" fmla="*/ 72 h 405"/>
                <a:gd name="T76" fmla="*/ 597 w 624"/>
                <a:gd name="T77" fmla="*/ 75 h 405"/>
                <a:gd name="T78" fmla="*/ 590 w 624"/>
                <a:gd name="T79" fmla="*/ 76 h 405"/>
                <a:gd name="T80" fmla="*/ 357 w 624"/>
                <a:gd name="T81" fmla="*/ 103 h 405"/>
                <a:gd name="T82" fmla="*/ 132 w 624"/>
                <a:gd name="T83" fmla="*/ 327 h 405"/>
                <a:gd name="T84" fmla="*/ 406 w 624"/>
                <a:gd name="T85" fmla="*/ 327 h 405"/>
                <a:gd name="T86" fmla="*/ 413 w 624"/>
                <a:gd name="T87" fmla="*/ 328 h 405"/>
                <a:gd name="T88" fmla="*/ 421 w 624"/>
                <a:gd name="T89" fmla="*/ 330 h 405"/>
                <a:gd name="T90" fmla="*/ 427 w 624"/>
                <a:gd name="T91" fmla="*/ 335 h 405"/>
                <a:gd name="T92" fmla="*/ 432 w 624"/>
                <a:gd name="T93" fmla="*/ 339 h 405"/>
                <a:gd name="T94" fmla="*/ 438 w 624"/>
                <a:gd name="T95" fmla="*/ 344 h 405"/>
                <a:gd name="T96" fmla="*/ 441 w 624"/>
                <a:gd name="T97" fmla="*/ 352 h 405"/>
                <a:gd name="T98" fmla="*/ 443 w 624"/>
                <a:gd name="T99" fmla="*/ 358 h 405"/>
                <a:gd name="T100" fmla="*/ 444 w 624"/>
                <a:gd name="T101" fmla="*/ 367 h 405"/>
                <a:gd name="T102" fmla="*/ 443 w 624"/>
                <a:gd name="T103" fmla="*/ 374 h 405"/>
                <a:gd name="T104" fmla="*/ 441 w 624"/>
                <a:gd name="T105" fmla="*/ 381 h 405"/>
                <a:gd name="T106" fmla="*/ 438 w 624"/>
                <a:gd name="T107" fmla="*/ 388 h 405"/>
                <a:gd name="T108" fmla="*/ 432 w 624"/>
                <a:gd name="T109" fmla="*/ 393 h 405"/>
                <a:gd name="T110" fmla="*/ 427 w 624"/>
                <a:gd name="T111" fmla="*/ 398 h 405"/>
                <a:gd name="T112" fmla="*/ 421 w 624"/>
                <a:gd name="T113" fmla="*/ 402 h 405"/>
                <a:gd name="T114" fmla="*/ 413 w 624"/>
                <a:gd name="T115" fmla="*/ 404 h 405"/>
                <a:gd name="T116" fmla="*/ 406 w 624"/>
                <a:gd name="T117" fmla="*/ 40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4" h="405">
                  <a:moveTo>
                    <a:pt x="406" y="405"/>
                  </a:moveTo>
                  <a:lnTo>
                    <a:pt x="39" y="405"/>
                  </a:lnTo>
                  <a:lnTo>
                    <a:pt x="33" y="405"/>
                  </a:lnTo>
                  <a:lnTo>
                    <a:pt x="28" y="403"/>
                  </a:lnTo>
                  <a:lnTo>
                    <a:pt x="22" y="402"/>
                  </a:lnTo>
                  <a:lnTo>
                    <a:pt x="17" y="398"/>
                  </a:lnTo>
                  <a:lnTo>
                    <a:pt x="13" y="395"/>
                  </a:lnTo>
                  <a:lnTo>
                    <a:pt x="10" y="391"/>
                  </a:lnTo>
                  <a:lnTo>
                    <a:pt x="6" y="386"/>
                  </a:lnTo>
                  <a:lnTo>
                    <a:pt x="3" y="381"/>
                  </a:lnTo>
                  <a:lnTo>
                    <a:pt x="1" y="375"/>
                  </a:lnTo>
                  <a:lnTo>
                    <a:pt x="0" y="370"/>
                  </a:lnTo>
                  <a:lnTo>
                    <a:pt x="0" y="364"/>
                  </a:lnTo>
                  <a:lnTo>
                    <a:pt x="1" y="359"/>
                  </a:lnTo>
                  <a:lnTo>
                    <a:pt x="2" y="354"/>
                  </a:lnTo>
                  <a:lnTo>
                    <a:pt x="5" y="348"/>
                  </a:lnTo>
                  <a:lnTo>
                    <a:pt x="7" y="343"/>
                  </a:lnTo>
                  <a:lnTo>
                    <a:pt x="12" y="339"/>
                  </a:lnTo>
                  <a:lnTo>
                    <a:pt x="312" y="38"/>
                  </a:lnTo>
                  <a:lnTo>
                    <a:pt x="317" y="34"/>
                  </a:lnTo>
                  <a:lnTo>
                    <a:pt x="323" y="31"/>
                  </a:lnTo>
                  <a:lnTo>
                    <a:pt x="328" y="29"/>
                  </a:lnTo>
                  <a:lnTo>
                    <a:pt x="336" y="27"/>
                  </a:lnTo>
                  <a:lnTo>
                    <a:pt x="581" y="0"/>
                  </a:lnTo>
                  <a:lnTo>
                    <a:pt x="589" y="0"/>
                  </a:lnTo>
                  <a:lnTo>
                    <a:pt x="596" y="1"/>
                  </a:lnTo>
                  <a:lnTo>
                    <a:pt x="604" y="4"/>
                  </a:lnTo>
                  <a:lnTo>
                    <a:pt x="610" y="8"/>
                  </a:lnTo>
                  <a:lnTo>
                    <a:pt x="615" y="14"/>
                  </a:lnTo>
                  <a:lnTo>
                    <a:pt x="620" y="19"/>
                  </a:lnTo>
                  <a:lnTo>
                    <a:pt x="623" y="26"/>
                  </a:lnTo>
                  <a:lnTo>
                    <a:pt x="624" y="34"/>
                  </a:lnTo>
                  <a:lnTo>
                    <a:pt x="624" y="41"/>
                  </a:lnTo>
                  <a:lnTo>
                    <a:pt x="623" y="50"/>
                  </a:lnTo>
                  <a:lnTo>
                    <a:pt x="620" y="56"/>
                  </a:lnTo>
                  <a:lnTo>
                    <a:pt x="615" y="63"/>
                  </a:lnTo>
                  <a:lnTo>
                    <a:pt x="610" y="68"/>
                  </a:lnTo>
                  <a:lnTo>
                    <a:pt x="605" y="72"/>
                  </a:lnTo>
                  <a:lnTo>
                    <a:pt x="597" y="75"/>
                  </a:lnTo>
                  <a:lnTo>
                    <a:pt x="590" y="76"/>
                  </a:lnTo>
                  <a:lnTo>
                    <a:pt x="357" y="103"/>
                  </a:lnTo>
                  <a:lnTo>
                    <a:pt x="132" y="327"/>
                  </a:lnTo>
                  <a:lnTo>
                    <a:pt x="406" y="327"/>
                  </a:lnTo>
                  <a:lnTo>
                    <a:pt x="413" y="328"/>
                  </a:lnTo>
                  <a:lnTo>
                    <a:pt x="421" y="330"/>
                  </a:lnTo>
                  <a:lnTo>
                    <a:pt x="427" y="335"/>
                  </a:lnTo>
                  <a:lnTo>
                    <a:pt x="432" y="339"/>
                  </a:lnTo>
                  <a:lnTo>
                    <a:pt x="438" y="344"/>
                  </a:lnTo>
                  <a:lnTo>
                    <a:pt x="441" y="352"/>
                  </a:lnTo>
                  <a:lnTo>
                    <a:pt x="443" y="358"/>
                  </a:lnTo>
                  <a:lnTo>
                    <a:pt x="444" y="367"/>
                  </a:lnTo>
                  <a:lnTo>
                    <a:pt x="443" y="374"/>
                  </a:lnTo>
                  <a:lnTo>
                    <a:pt x="441" y="381"/>
                  </a:lnTo>
                  <a:lnTo>
                    <a:pt x="438" y="388"/>
                  </a:lnTo>
                  <a:lnTo>
                    <a:pt x="432" y="393"/>
                  </a:lnTo>
                  <a:lnTo>
                    <a:pt x="427" y="398"/>
                  </a:lnTo>
                  <a:lnTo>
                    <a:pt x="421" y="402"/>
                  </a:lnTo>
                  <a:lnTo>
                    <a:pt x="413" y="404"/>
                  </a:lnTo>
                  <a:lnTo>
                    <a:pt x="406"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41">
              <a:extLst>
                <a:ext uri="{FF2B5EF4-FFF2-40B4-BE49-F238E27FC236}">
                  <a16:creationId xmlns:a16="http://schemas.microsoft.com/office/drawing/2014/main" id="{47754C52-0CCD-44E8-AAE7-1B696A013F9B}"/>
                </a:ext>
              </a:extLst>
            </p:cNvPr>
            <p:cNvSpPr>
              <a:spLocks/>
            </p:cNvSpPr>
            <p:nvPr/>
          </p:nvSpPr>
          <p:spPr bwMode="auto">
            <a:xfrm>
              <a:off x="8216900" y="4729163"/>
              <a:ext cx="323850" cy="323850"/>
            </a:xfrm>
            <a:custGeom>
              <a:avLst/>
              <a:gdLst>
                <a:gd name="T0" fmla="*/ 39 w 612"/>
                <a:gd name="T1" fmla="*/ 612 h 612"/>
                <a:gd name="T2" fmla="*/ 31 w 612"/>
                <a:gd name="T3" fmla="*/ 611 h 612"/>
                <a:gd name="T4" fmla="*/ 24 w 612"/>
                <a:gd name="T5" fmla="*/ 609 h 612"/>
                <a:gd name="T6" fmla="*/ 18 w 612"/>
                <a:gd name="T7" fmla="*/ 606 h 612"/>
                <a:gd name="T8" fmla="*/ 11 w 612"/>
                <a:gd name="T9" fmla="*/ 601 h 612"/>
                <a:gd name="T10" fmla="*/ 6 w 612"/>
                <a:gd name="T11" fmla="*/ 595 h 612"/>
                <a:gd name="T12" fmla="*/ 3 w 612"/>
                <a:gd name="T13" fmla="*/ 588 h 612"/>
                <a:gd name="T14" fmla="*/ 1 w 612"/>
                <a:gd name="T15" fmla="*/ 580 h 612"/>
                <a:gd name="T16" fmla="*/ 0 w 612"/>
                <a:gd name="T17" fmla="*/ 573 h 612"/>
                <a:gd name="T18" fmla="*/ 1 w 612"/>
                <a:gd name="T19" fmla="*/ 567 h 612"/>
                <a:gd name="T20" fmla="*/ 3 w 612"/>
                <a:gd name="T21" fmla="*/ 559 h 612"/>
                <a:gd name="T22" fmla="*/ 6 w 612"/>
                <a:gd name="T23" fmla="*/ 552 h 612"/>
                <a:gd name="T24" fmla="*/ 11 w 612"/>
                <a:gd name="T25" fmla="*/ 546 h 612"/>
                <a:gd name="T26" fmla="*/ 546 w 612"/>
                <a:gd name="T27" fmla="*/ 12 h 612"/>
                <a:gd name="T28" fmla="*/ 552 w 612"/>
                <a:gd name="T29" fmla="*/ 7 h 612"/>
                <a:gd name="T30" fmla="*/ 559 w 612"/>
                <a:gd name="T31" fmla="*/ 3 h 612"/>
                <a:gd name="T32" fmla="*/ 566 w 612"/>
                <a:gd name="T33" fmla="*/ 1 h 612"/>
                <a:gd name="T34" fmla="*/ 573 w 612"/>
                <a:gd name="T35" fmla="*/ 0 h 612"/>
                <a:gd name="T36" fmla="*/ 581 w 612"/>
                <a:gd name="T37" fmla="*/ 1 h 612"/>
                <a:gd name="T38" fmla="*/ 587 w 612"/>
                <a:gd name="T39" fmla="*/ 3 h 612"/>
                <a:gd name="T40" fmla="*/ 595 w 612"/>
                <a:gd name="T41" fmla="*/ 7 h 612"/>
                <a:gd name="T42" fmla="*/ 600 w 612"/>
                <a:gd name="T43" fmla="*/ 12 h 612"/>
                <a:gd name="T44" fmla="*/ 605 w 612"/>
                <a:gd name="T45" fmla="*/ 18 h 612"/>
                <a:gd name="T46" fmla="*/ 609 w 612"/>
                <a:gd name="T47" fmla="*/ 25 h 612"/>
                <a:gd name="T48" fmla="*/ 611 w 612"/>
                <a:gd name="T49" fmla="*/ 32 h 612"/>
                <a:gd name="T50" fmla="*/ 612 w 612"/>
                <a:gd name="T51" fmla="*/ 40 h 612"/>
                <a:gd name="T52" fmla="*/ 611 w 612"/>
                <a:gd name="T53" fmla="*/ 47 h 612"/>
                <a:gd name="T54" fmla="*/ 609 w 612"/>
                <a:gd name="T55" fmla="*/ 53 h 612"/>
                <a:gd name="T56" fmla="*/ 605 w 612"/>
                <a:gd name="T57" fmla="*/ 61 h 612"/>
                <a:gd name="T58" fmla="*/ 600 w 612"/>
                <a:gd name="T59" fmla="*/ 66 h 612"/>
                <a:gd name="T60" fmla="*/ 67 w 612"/>
                <a:gd name="T61" fmla="*/ 601 h 612"/>
                <a:gd name="T62" fmla="*/ 60 w 612"/>
                <a:gd name="T63" fmla="*/ 606 h 612"/>
                <a:gd name="T64" fmla="*/ 53 w 612"/>
                <a:gd name="T65" fmla="*/ 609 h 612"/>
                <a:gd name="T66" fmla="*/ 46 w 612"/>
                <a:gd name="T67" fmla="*/ 611 h 612"/>
                <a:gd name="T68" fmla="*/ 39 w 612"/>
                <a:gd name="T69"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2" h="612">
                  <a:moveTo>
                    <a:pt x="39" y="612"/>
                  </a:moveTo>
                  <a:lnTo>
                    <a:pt x="31" y="611"/>
                  </a:lnTo>
                  <a:lnTo>
                    <a:pt x="24" y="609"/>
                  </a:lnTo>
                  <a:lnTo>
                    <a:pt x="18" y="606"/>
                  </a:lnTo>
                  <a:lnTo>
                    <a:pt x="11" y="601"/>
                  </a:lnTo>
                  <a:lnTo>
                    <a:pt x="6" y="595"/>
                  </a:lnTo>
                  <a:lnTo>
                    <a:pt x="3" y="588"/>
                  </a:lnTo>
                  <a:lnTo>
                    <a:pt x="1" y="580"/>
                  </a:lnTo>
                  <a:lnTo>
                    <a:pt x="0" y="573"/>
                  </a:lnTo>
                  <a:lnTo>
                    <a:pt x="1" y="567"/>
                  </a:lnTo>
                  <a:lnTo>
                    <a:pt x="3" y="559"/>
                  </a:lnTo>
                  <a:lnTo>
                    <a:pt x="6" y="552"/>
                  </a:lnTo>
                  <a:lnTo>
                    <a:pt x="11" y="546"/>
                  </a:lnTo>
                  <a:lnTo>
                    <a:pt x="546" y="12"/>
                  </a:lnTo>
                  <a:lnTo>
                    <a:pt x="552" y="7"/>
                  </a:lnTo>
                  <a:lnTo>
                    <a:pt x="559" y="3"/>
                  </a:lnTo>
                  <a:lnTo>
                    <a:pt x="566" y="1"/>
                  </a:lnTo>
                  <a:lnTo>
                    <a:pt x="573" y="0"/>
                  </a:lnTo>
                  <a:lnTo>
                    <a:pt x="581" y="1"/>
                  </a:lnTo>
                  <a:lnTo>
                    <a:pt x="587" y="3"/>
                  </a:lnTo>
                  <a:lnTo>
                    <a:pt x="595" y="7"/>
                  </a:lnTo>
                  <a:lnTo>
                    <a:pt x="600" y="12"/>
                  </a:lnTo>
                  <a:lnTo>
                    <a:pt x="605" y="18"/>
                  </a:lnTo>
                  <a:lnTo>
                    <a:pt x="609" y="25"/>
                  </a:lnTo>
                  <a:lnTo>
                    <a:pt x="611" y="32"/>
                  </a:lnTo>
                  <a:lnTo>
                    <a:pt x="612" y="40"/>
                  </a:lnTo>
                  <a:lnTo>
                    <a:pt x="611" y="47"/>
                  </a:lnTo>
                  <a:lnTo>
                    <a:pt x="609" y="53"/>
                  </a:lnTo>
                  <a:lnTo>
                    <a:pt x="605" y="61"/>
                  </a:lnTo>
                  <a:lnTo>
                    <a:pt x="600" y="66"/>
                  </a:lnTo>
                  <a:lnTo>
                    <a:pt x="67" y="601"/>
                  </a:lnTo>
                  <a:lnTo>
                    <a:pt x="60" y="606"/>
                  </a:lnTo>
                  <a:lnTo>
                    <a:pt x="53" y="609"/>
                  </a:lnTo>
                  <a:lnTo>
                    <a:pt x="46" y="611"/>
                  </a:lnTo>
                  <a:lnTo>
                    <a:pt x="39" y="6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42">
              <a:extLst>
                <a:ext uri="{FF2B5EF4-FFF2-40B4-BE49-F238E27FC236}">
                  <a16:creationId xmlns:a16="http://schemas.microsoft.com/office/drawing/2014/main" id="{FEB1EC94-6518-4D57-9008-BBB0DD27F9B2}"/>
                </a:ext>
              </a:extLst>
            </p:cNvPr>
            <p:cNvSpPr>
              <a:spLocks/>
            </p:cNvSpPr>
            <p:nvPr/>
          </p:nvSpPr>
          <p:spPr bwMode="auto">
            <a:xfrm>
              <a:off x="9077325" y="4038600"/>
              <a:ext cx="153988" cy="153988"/>
            </a:xfrm>
            <a:custGeom>
              <a:avLst/>
              <a:gdLst>
                <a:gd name="T0" fmla="*/ 38 w 291"/>
                <a:gd name="T1" fmla="*/ 291 h 291"/>
                <a:gd name="T2" fmla="*/ 31 w 291"/>
                <a:gd name="T3" fmla="*/ 290 h 291"/>
                <a:gd name="T4" fmla="*/ 24 w 291"/>
                <a:gd name="T5" fmla="*/ 288 h 291"/>
                <a:gd name="T6" fmla="*/ 17 w 291"/>
                <a:gd name="T7" fmla="*/ 285 h 291"/>
                <a:gd name="T8" fmla="*/ 11 w 291"/>
                <a:gd name="T9" fmla="*/ 280 h 291"/>
                <a:gd name="T10" fmla="*/ 6 w 291"/>
                <a:gd name="T11" fmla="*/ 273 h 291"/>
                <a:gd name="T12" fmla="*/ 3 w 291"/>
                <a:gd name="T13" fmla="*/ 267 h 291"/>
                <a:gd name="T14" fmla="*/ 1 w 291"/>
                <a:gd name="T15" fmla="*/ 259 h 291"/>
                <a:gd name="T16" fmla="*/ 0 w 291"/>
                <a:gd name="T17" fmla="*/ 252 h 291"/>
                <a:gd name="T18" fmla="*/ 1 w 291"/>
                <a:gd name="T19" fmla="*/ 244 h 291"/>
                <a:gd name="T20" fmla="*/ 3 w 291"/>
                <a:gd name="T21" fmla="*/ 238 h 291"/>
                <a:gd name="T22" fmla="*/ 6 w 291"/>
                <a:gd name="T23" fmla="*/ 231 h 291"/>
                <a:gd name="T24" fmla="*/ 11 w 291"/>
                <a:gd name="T25" fmla="*/ 225 h 291"/>
                <a:gd name="T26" fmla="*/ 224 w 291"/>
                <a:gd name="T27" fmla="*/ 12 h 291"/>
                <a:gd name="T28" fmla="*/ 230 w 291"/>
                <a:gd name="T29" fmla="*/ 6 h 291"/>
                <a:gd name="T30" fmla="*/ 237 w 291"/>
                <a:gd name="T31" fmla="*/ 3 h 291"/>
                <a:gd name="T32" fmla="*/ 244 w 291"/>
                <a:gd name="T33" fmla="*/ 1 h 291"/>
                <a:gd name="T34" fmla="*/ 252 w 291"/>
                <a:gd name="T35" fmla="*/ 0 h 291"/>
                <a:gd name="T36" fmla="*/ 259 w 291"/>
                <a:gd name="T37" fmla="*/ 1 h 291"/>
                <a:gd name="T38" fmla="*/ 266 w 291"/>
                <a:gd name="T39" fmla="*/ 3 h 291"/>
                <a:gd name="T40" fmla="*/ 273 w 291"/>
                <a:gd name="T41" fmla="*/ 6 h 291"/>
                <a:gd name="T42" fmla="*/ 279 w 291"/>
                <a:gd name="T43" fmla="*/ 12 h 291"/>
                <a:gd name="T44" fmla="*/ 285 w 291"/>
                <a:gd name="T45" fmla="*/ 18 h 291"/>
                <a:gd name="T46" fmla="*/ 288 w 291"/>
                <a:gd name="T47" fmla="*/ 24 h 291"/>
                <a:gd name="T48" fmla="*/ 290 w 291"/>
                <a:gd name="T49" fmla="*/ 32 h 291"/>
                <a:gd name="T50" fmla="*/ 291 w 291"/>
                <a:gd name="T51" fmla="*/ 39 h 291"/>
                <a:gd name="T52" fmla="*/ 290 w 291"/>
                <a:gd name="T53" fmla="*/ 47 h 291"/>
                <a:gd name="T54" fmla="*/ 288 w 291"/>
                <a:gd name="T55" fmla="*/ 53 h 291"/>
                <a:gd name="T56" fmla="*/ 285 w 291"/>
                <a:gd name="T57" fmla="*/ 61 h 291"/>
                <a:gd name="T58" fmla="*/ 279 w 291"/>
                <a:gd name="T59" fmla="*/ 66 h 291"/>
                <a:gd name="T60" fmla="*/ 66 w 291"/>
                <a:gd name="T61" fmla="*/ 280 h 291"/>
                <a:gd name="T62" fmla="*/ 59 w 291"/>
                <a:gd name="T63" fmla="*/ 285 h 291"/>
                <a:gd name="T64" fmla="*/ 53 w 291"/>
                <a:gd name="T65" fmla="*/ 288 h 291"/>
                <a:gd name="T66" fmla="*/ 45 w 291"/>
                <a:gd name="T67" fmla="*/ 290 h 291"/>
                <a:gd name="T68" fmla="*/ 38 w 291"/>
                <a:gd name="T69" fmla="*/ 29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1" h="291">
                  <a:moveTo>
                    <a:pt x="38" y="291"/>
                  </a:moveTo>
                  <a:lnTo>
                    <a:pt x="31" y="290"/>
                  </a:lnTo>
                  <a:lnTo>
                    <a:pt x="24" y="288"/>
                  </a:lnTo>
                  <a:lnTo>
                    <a:pt x="17" y="285"/>
                  </a:lnTo>
                  <a:lnTo>
                    <a:pt x="11" y="280"/>
                  </a:lnTo>
                  <a:lnTo>
                    <a:pt x="6" y="273"/>
                  </a:lnTo>
                  <a:lnTo>
                    <a:pt x="3" y="267"/>
                  </a:lnTo>
                  <a:lnTo>
                    <a:pt x="1" y="259"/>
                  </a:lnTo>
                  <a:lnTo>
                    <a:pt x="0" y="252"/>
                  </a:lnTo>
                  <a:lnTo>
                    <a:pt x="1" y="244"/>
                  </a:lnTo>
                  <a:lnTo>
                    <a:pt x="3" y="238"/>
                  </a:lnTo>
                  <a:lnTo>
                    <a:pt x="6" y="231"/>
                  </a:lnTo>
                  <a:lnTo>
                    <a:pt x="11" y="225"/>
                  </a:lnTo>
                  <a:lnTo>
                    <a:pt x="224" y="12"/>
                  </a:lnTo>
                  <a:lnTo>
                    <a:pt x="230" y="6"/>
                  </a:lnTo>
                  <a:lnTo>
                    <a:pt x="237" y="3"/>
                  </a:lnTo>
                  <a:lnTo>
                    <a:pt x="244" y="1"/>
                  </a:lnTo>
                  <a:lnTo>
                    <a:pt x="252" y="0"/>
                  </a:lnTo>
                  <a:lnTo>
                    <a:pt x="259" y="1"/>
                  </a:lnTo>
                  <a:lnTo>
                    <a:pt x="266" y="3"/>
                  </a:lnTo>
                  <a:lnTo>
                    <a:pt x="273" y="6"/>
                  </a:lnTo>
                  <a:lnTo>
                    <a:pt x="279" y="12"/>
                  </a:lnTo>
                  <a:lnTo>
                    <a:pt x="285" y="18"/>
                  </a:lnTo>
                  <a:lnTo>
                    <a:pt x="288" y="24"/>
                  </a:lnTo>
                  <a:lnTo>
                    <a:pt x="290" y="32"/>
                  </a:lnTo>
                  <a:lnTo>
                    <a:pt x="291" y="39"/>
                  </a:lnTo>
                  <a:lnTo>
                    <a:pt x="290" y="47"/>
                  </a:lnTo>
                  <a:lnTo>
                    <a:pt x="288" y="53"/>
                  </a:lnTo>
                  <a:lnTo>
                    <a:pt x="285" y="61"/>
                  </a:lnTo>
                  <a:lnTo>
                    <a:pt x="279" y="66"/>
                  </a:lnTo>
                  <a:lnTo>
                    <a:pt x="66" y="280"/>
                  </a:lnTo>
                  <a:lnTo>
                    <a:pt x="59" y="285"/>
                  </a:lnTo>
                  <a:lnTo>
                    <a:pt x="53" y="288"/>
                  </a:lnTo>
                  <a:lnTo>
                    <a:pt x="45" y="290"/>
                  </a:lnTo>
                  <a:lnTo>
                    <a:pt x="38" y="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43">
              <a:extLst>
                <a:ext uri="{FF2B5EF4-FFF2-40B4-BE49-F238E27FC236}">
                  <a16:creationId xmlns:a16="http://schemas.microsoft.com/office/drawing/2014/main" id="{C7003F44-203F-4094-A849-086412E1E46E}"/>
                </a:ext>
              </a:extLst>
            </p:cNvPr>
            <p:cNvSpPr>
              <a:spLocks noEditPoints="1"/>
            </p:cNvSpPr>
            <p:nvPr/>
          </p:nvSpPr>
          <p:spPr bwMode="auto">
            <a:xfrm>
              <a:off x="8713788" y="4351338"/>
              <a:ext cx="204788" cy="204788"/>
            </a:xfrm>
            <a:custGeom>
              <a:avLst/>
              <a:gdLst>
                <a:gd name="T0" fmla="*/ 169 w 386"/>
                <a:gd name="T1" fmla="*/ 80 h 387"/>
                <a:gd name="T2" fmla="*/ 137 w 386"/>
                <a:gd name="T3" fmla="*/ 91 h 387"/>
                <a:gd name="T4" fmla="*/ 111 w 386"/>
                <a:gd name="T5" fmla="*/ 112 h 387"/>
                <a:gd name="T6" fmla="*/ 90 w 386"/>
                <a:gd name="T7" fmla="*/ 138 h 387"/>
                <a:gd name="T8" fmla="*/ 79 w 386"/>
                <a:gd name="T9" fmla="*/ 170 h 387"/>
                <a:gd name="T10" fmla="*/ 78 w 386"/>
                <a:gd name="T11" fmla="*/ 205 h 387"/>
                <a:gd name="T12" fmla="*/ 86 w 386"/>
                <a:gd name="T13" fmla="*/ 238 h 387"/>
                <a:gd name="T14" fmla="*/ 103 w 386"/>
                <a:gd name="T15" fmla="*/ 267 h 387"/>
                <a:gd name="T16" fmla="*/ 128 w 386"/>
                <a:gd name="T17" fmla="*/ 289 h 387"/>
                <a:gd name="T18" fmla="*/ 158 w 386"/>
                <a:gd name="T19" fmla="*/ 304 h 387"/>
                <a:gd name="T20" fmla="*/ 192 w 386"/>
                <a:gd name="T21" fmla="*/ 309 h 387"/>
                <a:gd name="T22" fmla="*/ 228 w 386"/>
                <a:gd name="T23" fmla="*/ 304 h 387"/>
                <a:gd name="T24" fmla="*/ 257 w 386"/>
                <a:gd name="T25" fmla="*/ 289 h 387"/>
                <a:gd name="T26" fmla="*/ 283 w 386"/>
                <a:gd name="T27" fmla="*/ 267 h 387"/>
                <a:gd name="T28" fmla="*/ 300 w 386"/>
                <a:gd name="T29" fmla="*/ 238 h 387"/>
                <a:gd name="T30" fmla="*/ 308 w 386"/>
                <a:gd name="T31" fmla="*/ 205 h 387"/>
                <a:gd name="T32" fmla="*/ 306 w 386"/>
                <a:gd name="T33" fmla="*/ 170 h 387"/>
                <a:gd name="T34" fmla="*/ 294 w 386"/>
                <a:gd name="T35" fmla="*/ 138 h 387"/>
                <a:gd name="T36" fmla="*/ 274 w 386"/>
                <a:gd name="T37" fmla="*/ 112 h 387"/>
                <a:gd name="T38" fmla="*/ 248 w 386"/>
                <a:gd name="T39" fmla="*/ 91 h 387"/>
                <a:gd name="T40" fmla="*/ 216 w 386"/>
                <a:gd name="T41" fmla="*/ 80 h 387"/>
                <a:gd name="T42" fmla="*/ 192 w 386"/>
                <a:gd name="T43" fmla="*/ 387 h 387"/>
                <a:gd name="T44" fmla="*/ 135 w 386"/>
                <a:gd name="T45" fmla="*/ 378 h 387"/>
                <a:gd name="T46" fmla="*/ 85 w 386"/>
                <a:gd name="T47" fmla="*/ 354 h 387"/>
                <a:gd name="T48" fmla="*/ 44 w 386"/>
                <a:gd name="T49" fmla="*/ 317 h 387"/>
                <a:gd name="T50" fmla="*/ 15 w 386"/>
                <a:gd name="T51" fmla="*/ 269 h 387"/>
                <a:gd name="T52" fmla="*/ 0 w 386"/>
                <a:gd name="T53" fmla="*/ 214 h 387"/>
                <a:gd name="T54" fmla="*/ 3 w 386"/>
                <a:gd name="T55" fmla="*/ 154 h 387"/>
                <a:gd name="T56" fmla="*/ 23 w 386"/>
                <a:gd name="T57" fmla="*/ 101 h 387"/>
                <a:gd name="T58" fmla="*/ 56 w 386"/>
                <a:gd name="T59" fmla="*/ 56 h 387"/>
                <a:gd name="T60" fmla="*/ 101 w 386"/>
                <a:gd name="T61" fmla="*/ 23 h 387"/>
                <a:gd name="T62" fmla="*/ 154 w 386"/>
                <a:gd name="T63" fmla="*/ 4 h 387"/>
                <a:gd name="T64" fmla="*/ 213 w 386"/>
                <a:gd name="T65" fmla="*/ 1 h 387"/>
                <a:gd name="T66" fmla="*/ 268 w 386"/>
                <a:gd name="T67" fmla="*/ 15 h 387"/>
                <a:gd name="T68" fmla="*/ 316 w 386"/>
                <a:gd name="T69" fmla="*/ 45 h 387"/>
                <a:gd name="T70" fmla="*/ 353 w 386"/>
                <a:gd name="T71" fmla="*/ 85 h 387"/>
                <a:gd name="T72" fmla="*/ 377 w 386"/>
                <a:gd name="T73" fmla="*/ 136 h 387"/>
                <a:gd name="T74" fmla="*/ 386 w 386"/>
                <a:gd name="T75" fmla="*/ 193 h 387"/>
                <a:gd name="T76" fmla="*/ 377 w 386"/>
                <a:gd name="T77" fmla="*/ 251 h 387"/>
                <a:gd name="T78" fmla="*/ 353 w 386"/>
                <a:gd name="T79" fmla="*/ 302 h 387"/>
                <a:gd name="T80" fmla="*/ 316 w 386"/>
                <a:gd name="T81" fmla="*/ 342 h 387"/>
                <a:gd name="T82" fmla="*/ 268 w 386"/>
                <a:gd name="T83" fmla="*/ 371 h 387"/>
                <a:gd name="T84" fmla="*/ 213 w 386"/>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387">
                  <a:moveTo>
                    <a:pt x="192" y="78"/>
                  </a:moveTo>
                  <a:lnTo>
                    <a:pt x="181" y="78"/>
                  </a:lnTo>
                  <a:lnTo>
                    <a:pt x="169" y="80"/>
                  </a:lnTo>
                  <a:lnTo>
                    <a:pt x="158" y="83"/>
                  </a:lnTo>
                  <a:lnTo>
                    <a:pt x="148" y="86"/>
                  </a:lnTo>
                  <a:lnTo>
                    <a:pt x="137" y="91"/>
                  </a:lnTo>
                  <a:lnTo>
                    <a:pt x="128" y="98"/>
                  </a:lnTo>
                  <a:lnTo>
                    <a:pt x="119" y="104"/>
                  </a:lnTo>
                  <a:lnTo>
                    <a:pt x="111" y="112"/>
                  </a:lnTo>
                  <a:lnTo>
                    <a:pt x="103" y="120"/>
                  </a:lnTo>
                  <a:lnTo>
                    <a:pt x="97" y="129"/>
                  </a:lnTo>
                  <a:lnTo>
                    <a:pt x="90" y="138"/>
                  </a:lnTo>
                  <a:lnTo>
                    <a:pt x="86" y="149"/>
                  </a:lnTo>
                  <a:lnTo>
                    <a:pt x="82" y="159"/>
                  </a:lnTo>
                  <a:lnTo>
                    <a:pt x="79" y="170"/>
                  </a:lnTo>
                  <a:lnTo>
                    <a:pt x="78" y="182"/>
                  </a:lnTo>
                  <a:lnTo>
                    <a:pt x="77" y="193"/>
                  </a:lnTo>
                  <a:lnTo>
                    <a:pt x="78" y="205"/>
                  </a:lnTo>
                  <a:lnTo>
                    <a:pt x="79" y="217"/>
                  </a:lnTo>
                  <a:lnTo>
                    <a:pt x="82" y="227"/>
                  </a:lnTo>
                  <a:lnTo>
                    <a:pt x="86" y="238"/>
                  </a:lnTo>
                  <a:lnTo>
                    <a:pt x="90" y="249"/>
                  </a:lnTo>
                  <a:lnTo>
                    <a:pt x="97" y="258"/>
                  </a:lnTo>
                  <a:lnTo>
                    <a:pt x="103" y="267"/>
                  </a:lnTo>
                  <a:lnTo>
                    <a:pt x="111" y="275"/>
                  </a:lnTo>
                  <a:lnTo>
                    <a:pt x="119" y="283"/>
                  </a:lnTo>
                  <a:lnTo>
                    <a:pt x="128" y="289"/>
                  </a:lnTo>
                  <a:lnTo>
                    <a:pt x="137" y="295"/>
                  </a:lnTo>
                  <a:lnTo>
                    <a:pt x="148" y="300"/>
                  </a:lnTo>
                  <a:lnTo>
                    <a:pt x="158" y="304"/>
                  </a:lnTo>
                  <a:lnTo>
                    <a:pt x="169" y="307"/>
                  </a:lnTo>
                  <a:lnTo>
                    <a:pt x="181" y="308"/>
                  </a:lnTo>
                  <a:lnTo>
                    <a:pt x="192" y="309"/>
                  </a:lnTo>
                  <a:lnTo>
                    <a:pt x="204" y="308"/>
                  </a:lnTo>
                  <a:lnTo>
                    <a:pt x="216" y="307"/>
                  </a:lnTo>
                  <a:lnTo>
                    <a:pt x="228" y="304"/>
                  </a:lnTo>
                  <a:lnTo>
                    <a:pt x="238" y="300"/>
                  </a:lnTo>
                  <a:lnTo>
                    <a:pt x="248" y="295"/>
                  </a:lnTo>
                  <a:lnTo>
                    <a:pt x="257" y="289"/>
                  </a:lnTo>
                  <a:lnTo>
                    <a:pt x="267" y="283"/>
                  </a:lnTo>
                  <a:lnTo>
                    <a:pt x="274" y="275"/>
                  </a:lnTo>
                  <a:lnTo>
                    <a:pt x="283" y="267"/>
                  </a:lnTo>
                  <a:lnTo>
                    <a:pt x="289" y="258"/>
                  </a:lnTo>
                  <a:lnTo>
                    <a:pt x="294" y="249"/>
                  </a:lnTo>
                  <a:lnTo>
                    <a:pt x="300" y="238"/>
                  </a:lnTo>
                  <a:lnTo>
                    <a:pt x="304" y="227"/>
                  </a:lnTo>
                  <a:lnTo>
                    <a:pt x="306" y="217"/>
                  </a:lnTo>
                  <a:lnTo>
                    <a:pt x="308" y="205"/>
                  </a:lnTo>
                  <a:lnTo>
                    <a:pt x="308" y="193"/>
                  </a:lnTo>
                  <a:lnTo>
                    <a:pt x="308" y="182"/>
                  </a:lnTo>
                  <a:lnTo>
                    <a:pt x="306" y="170"/>
                  </a:lnTo>
                  <a:lnTo>
                    <a:pt x="304" y="159"/>
                  </a:lnTo>
                  <a:lnTo>
                    <a:pt x="300" y="149"/>
                  </a:lnTo>
                  <a:lnTo>
                    <a:pt x="294" y="138"/>
                  </a:lnTo>
                  <a:lnTo>
                    <a:pt x="289" y="129"/>
                  </a:lnTo>
                  <a:lnTo>
                    <a:pt x="283" y="120"/>
                  </a:lnTo>
                  <a:lnTo>
                    <a:pt x="274" y="112"/>
                  </a:lnTo>
                  <a:lnTo>
                    <a:pt x="267" y="104"/>
                  </a:lnTo>
                  <a:lnTo>
                    <a:pt x="257" y="98"/>
                  </a:lnTo>
                  <a:lnTo>
                    <a:pt x="248" y="91"/>
                  </a:lnTo>
                  <a:lnTo>
                    <a:pt x="238" y="86"/>
                  </a:lnTo>
                  <a:lnTo>
                    <a:pt x="228" y="83"/>
                  </a:lnTo>
                  <a:lnTo>
                    <a:pt x="216" y="80"/>
                  </a:lnTo>
                  <a:lnTo>
                    <a:pt x="204" y="78"/>
                  </a:lnTo>
                  <a:lnTo>
                    <a:pt x="192" y="78"/>
                  </a:lnTo>
                  <a:close/>
                  <a:moveTo>
                    <a:pt x="192" y="387"/>
                  </a:moveTo>
                  <a:lnTo>
                    <a:pt x="173" y="386"/>
                  </a:lnTo>
                  <a:lnTo>
                    <a:pt x="154" y="383"/>
                  </a:lnTo>
                  <a:lnTo>
                    <a:pt x="135" y="378"/>
                  </a:lnTo>
                  <a:lnTo>
                    <a:pt x="118" y="371"/>
                  </a:lnTo>
                  <a:lnTo>
                    <a:pt x="101" y="363"/>
                  </a:lnTo>
                  <a:lnTo>
                    <a:pt x="85" y="354"/>
                  </a:lnTo>
                  <a:lnTo>
                    <a:pt x="70" y="342"/>
                  </a:lnTo>
                  <a:lnTo>
                    <a:pt x="56" y="329"/>
                  </a:lnTo>
                  <a:lnTo>
                    <a:pt x="44" y="317"/>
                  </a:lnTo>
                  <a:lnTo>
                    <a:pt x="33" y="302"/>
                  </a:lnTo>
                  <a:lnTo>
                    <a:pt x="23" y="286"/>
                  </a:lnTo>
                  <a:lnTo>
                    <a:pt x="15" y="269"/>
                  </a:lnTo>
                  <a:lnTo>
                    <a:pt x="9" y="251"/>
                  </a:lnTo>
                  <a:lnTo>
                    <a:pt x="3" y="233"/>
                  </a:lnTo>
                  <a:lnTo>
                    <a:pt x="0" y="214"/>
                  </a:lnTo>
                  <a:lnTo>
                    <a:pt x="0" y="193"/>
                  </a:lnTo>
                  <a:lnTo>
                    <a:pt x="0" y="173"/>
                  </a:lnTo>
                  <a:lnTo>
                    <a:pt x="3" y="154"/>
                  </a:lnTo>
                  <a:lnTo>
                    <a:pt x="9" y="136"/>
                  </a:lnTo>
                  <a:lnTo>
                    <a:pt x="15" y="118"/>
                  </a:lnTo>
                  <a:lnTo>
                    <a:pt x="23" y="101"/>
                  </a:lnTo>
                  <a:lnTo>
                    <a:pt x="33" y="85"/>
                  </a:lnTo>
                  <a:lnTo>
                    <a:pt x="44" y="70"/>
                  </a:lnTo>
                  <a:lnTo>
                    <a:pt x="56" y="56"/>
                  </a:lnTo>
                  <a:lnTo>
                    <a:pt x="70" y="45"/>
                  </a:lnTo>
                  <a:lnTo>
                    <a:pt x="85" y="33"/>
                  </a:lnTo>
                  <a:lnTo>
                    <a:pt x="101" y="23"/>
                  </a:lnTo>
                  <a:lnTo>
                    <a:pt x="118" y="15"/>
                  </a:lnTo>
                  <a:lnTo>
                    <a:pt x="135" y="8"/>
                  </a:lnTo>
                  <a:lnTo>
                    <a:pt x="154" y="4"/>
                  </a:lnTo>
                  <a:lnTo>
                    <a:pt x="173" y="1"/>
                  </a:lnTo>
                  <a:lnTo>
                    <a:pt x="192" y="0"/>
                  </a:lnTo>
                  <a:lnTo>
                    <a:pt x="213" y="1"/>
                  </a:lnTo>
                  <a:lnTo>
                    <a:pt x="232" y="4"/>
                  </a:lnTo>
                  <a:lnTo>
                    <a:pt x="250" y="8"/>
                  </a:lnTo>
                  <a:lnTo>
                    <a:pt x="268" y="15"/>
                  </a:lnTo>
                  <a:lnTo>
                    <a:pt x="285" y="23"/>
                  </a:lnTo>
                  <a:lnTo>
                    <a:pt x="301" y="33"/>
                  </a:lnTo>
                  <a:lnTo>
                    <a:pt x="316" y="45"/>
                  </a:lnTo>
                  <a:lnTo>
                    <a:pt x="330" y="56"/>
                  </a:lnTo>
                  <a:lnTo>
                    <a:pt x="342" y="70"/>
                  </a:lnTo>
                  <a:lnTo>
                    <a:pt x="353" y="85"/>
                  </a:lnTo>
                  <a:lnTo>
                    <a:pt x="362" y="101"/>
                  </a:lnTo>
                  <a:lnTo>
                    <a:pt x="371" y="118"/>
                  </a:lnTo>
                  <a:lnTo>
                    <a:pt x="377" y="136"/>
                  </a:lnTo>
                  <a:lnTo>
                    <a:pt x="382" y="154"/>
                  </a:lnTo>
                  <a:lnTo>
                    <a:pt x="385" y="173"/>
                  </a:lnTo>
                  <a:lnTo>
                    <a:pt x="386" y="193"/>
                  </a:lnTo>
                  <a:lnTo>
                    <a:pt x="385" y="214"/>
                  </a:lnTo>
                  <a:lnTo>
                    <a:pt x="382" y="233"/>
                  </a:lnTo>
                  <a:lnTo>
                    <a:pt x="377" y="251"/>
                  </a:lnTo>
                  <a:lnTo>
                    <a:pt x="371" y="269"/>
                  </a:lnTo>
                  <a:lnTo>
                    <a:pt x="362" y="286"/>
                  </a:lnTo>
                  <a:lnTo>
                    <a:pt x="353" y="302"/>
                  </a:lnTo>
                  <a:lnTo>
                    <a:pt x="342" y="317"/>
                  </a:lnTo>
                  <a:lnTo>
                    <a:pt x="330" y="329"/>
                  </a:lnTo>
                  <a:lnTo>
                    <a:pt x="316" y="342"/>
                  </a:lnTo>
                  <a:lnTo>
                    <a:pt x="301" y="354"/>
                  </a:lnTo>
                  <a:lnTo>
                    <a:pt x="285" y="363"/>
                  </a:lnTo>
                  <a:lnTo>
                    <a:pt x="268" y="371"/>
                  </a:lnTo>
                  <a:lnTo>
                    <a:pt x="250" y="378"/>
                  </a:lnTo>
                  <a:lnTo>
                    <a:pt x="232" y="383"/>
                  </a:lnTo>
                  <a:lnTo>
                    <a:pt x="213" y="386"/>
                  </a:lnTo>
                  <a:lnTo>
                    <a:pt x="192"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45">
              <a:extLst>
                <a:ext uri="{FF2B5EF4-FFF2-40B4-BE49-F238E27FC236}">
                  <a16:creationId xmlns:a16="http://schemas.microsoft.com/office/drawing/2014/main" id="{30320766-2305-494A-BA57-36BB52E78F29}"/>
                </a:ext>
              </a:extLst>
            </p:cNvPr>
            <p:cNvSpPr>
              <a:spLocks noEditPoints="1"/>
            </p:cNvSpPr>
            <p:nvPr/>
          </p:nvSpPr>
          <p:spPr bwMode="auto">
            <a:xfrm>
              <a:off x="8278813" y="4140200"/>
              <a:ext cx="849313" cy="849313"/>
            </a:xfrm>
            <a:custGeom>
              <a:avLst/>
              <a:gdLst>
                <a:gd name="T0" fmla="*/ 1393 w 1605"/>
                <a:gd name="T1" fmla="*/ 92 h 1606"/>
                <a:gd name="T2" fmla="*/ 1244 w 1605"/>
                <a:gd name="T3" fmla="*/ 145 h 1606"/>
                <a:gd name="T4" fmla="*/ 1067 w 1605"/>
                <a:gd name="T5" fmla="*/ 231 h 1606"/>
                <a:gd name="T6" fmla="*/ 874 w 1605"/>
                <a:gd name="T7" fmla="*/ 344 h 1606"/>
                <a:gd name="T8" fmla="*/ 680 w 1605"/>
                <a:gd name="T9" fmla="*/ 477 h 1606"/>
                <a:gd name="T10" fmla="*/ 497 w 1605"/>
                <a:gd name="T11" fmla="*/ 623 h 1606"/>
                <a:gd name="T12" fmla="*/ 338 w 1605"/>
                <a:gd name="T13" fmla="*/ 778 h 1606"/>
                <a:gd name="T14" fmla="*/ 212 w 1605"/>
                <a:gd name="T15" fmla="*/ 931 h 1606"/>
                <a:gd name="T16" fmla="*/ 127 w 1605"/>
                <a:gd name="T17" fmla="*/ 1073 h 1606"/>
                <a:gd name="T18" fmla="*/ 84 w 1605"/>
                <a:gd name="T19" fmla="*/ 1199 h 1606"/>
                <a:gd name="T20" fmla="*/ 78 w 1605"/>
                <a:gd name="T21" fmla="*/ 1295 h 1606"/>
                <a:gd name="T22" fmla="*/ 102 w 1605"/>
                <a:gd name="T23" fmla="*/ 1380 h 1606"/>
                <a:gd name="T24" fmla="*/ 154 w 1605"/>
                <a:gd name="T25" fmla="*/ 1453 h 1606"/>
                <a:gd name="T26" fmla="*/ 234 w 1605"/>
                <a:gd name="T27" fmla="*/ 1509 h 1606"/>
                <a:gd name="T28" fmla="*/ 331 w 1605"/>
                <a:gd name="T29" fmla="*/ 1528 h 1606"/>
                <a:gd name="T30" fmla="*/ 441 w 1605"/>
                <a:gd name="T31" fmla="*/ 1513 h 1606"/>
                <a:gd name="T32" fmla="*/ 562 w 1605"/>
                <a:gd name="T33" fmla="*/ 1463 h 1606"/>
                <a:gd name="T34" fmla="*/ 694 w 1605"/>
                <a:gd name="T35" fmla="*/ 1380 h 1606"/>
                <a:gd name="T36" fmla="*/ 833 w 1605"/>
                <a:gd name="T37" fmla="*/ 1263 h 1606"/>
                <a:gd name="T38" fmla="*/ 989 w 1605"/>
                <a:gd name="T39" fmla="*/ 1102 h 1606"/>
                <a:gd name="T40" fmla="*/ 1151 w 1605"/>
                <a:gd name="T41" fmla="*/ 897 h 1606"/>
                <a:gd name="T42" fmla="*/ 1301 w 1605"/>
                <a:gd name="T43" fmla="*/ 669 h 1606"/>
                <a:gd name="T44" fmla="*/ 1430 w 1605"/>
                <a:gd name="T45" fmla="*/ 431 h 1606"/>
                <a:gd name="T46" fmla="*/ 1507 w 1605"/>
                <a:gd name="T47" fmla="*/ 242 h 1606"/>
                <a:gd name="T48" fmla="*/ 1529 w 1605"/>
                <a:gd name="T49" fmla="*/ 127 h 1606"/>
                <a:gd name="T50" fmla="*/ 1521 w 1605"/>
                <a:gd name="T51" fmla="*/ 89 h 1606"/>
                <a:gd name="T52" fmla="*/ 1482 w 1605"/>
                <a:gd name="T53" fmla="*/ 78 h 1606"/>
                <a:gd name="T54" fmla="*/ 272 w 1605"/>
                <a:gd name="T55" fmla="*/ 1601 h 1606"/>
                <a:gd name="T56" fmla="*/ 194 w 1605"/>
                <a:gd name="T57" fmla="*/ 1576 h 1606"/>
                <a:gd name="T58" fmla="*/ 124 w 1605"/>
                <a:gd name="T59" fmla="*/ 1531 h 1606"/>
                <a:gd name="T60" fmla="*/ 55 w 1605"/>
                <a:gd name="T61" fmla="*/ 1453 h 1606"/>
                <a:gd name="T62" fmla="*/ 9 w 1605"/>
                <a:gd name="T63" fmla="*/ 1351 h 1606"/>
                <a:gd name="T64" fmla="*/ 1 w 1605"/>
                <a:gd name="T65" fmla="*/ 1234 h 1606"/>
                <a:gd name="T66" fmla="*/ 31 w 1605"/>
                <a:gd name="T67" fmla="*/ 1103 h 1606"/>
                <a:gd name="T68" fmla="*/ 105 w 1605"/>
                <a:gd name="T69" fmla="*/ 954 h 1606"/>
                <a:gd name="T70" fmla="*/ 222 w 1605"/>
                <a:gd name="T71" fmla="*/ 794 h 1606"/>
                <a:gd name="T72" fmla="*/ 376 w 1605"/>
                <a:gd name="T73" fmla="*/ 631 h 1606"/>
                <a:gd name="T74" fmla="*/ 549 w 1605"/>
                <a:gd name="T75" fmla="*/ 481 h 1606"/>
                <a:gd name="T76" fmla="*/ 744 w 1605"/>
                <a:gd name="T77" fmla="*/ 337 h 1606"/>
                <a:gd name="T78" fmla="*/ 947 w 1605"/>
                <a:gd name="T79" fmla="*/ 210 h 1606"/>
                <a:gd name="T80" fmla="*/ 1142 w 1605"/>
                <a:gd name="T81" fmla="*/ 107 h 1606"/>
                <a:gd name="T82" fmla="*/ 1318 w 1605"/>
                <a:gd name="T83" fmla="*/ 34 h 1606"/>
                <a:gd name="T84" fmla="*/ 1459 w 1605"/>
                <a:gd name="T85" fmla="*/ 2 h 1606"/>
                <a:gd name="T86" fmla="*/ 1535 w 1605"/>
                <a:gd name="T87" fmla="*/ 8 h 1606"/>
                <a:gd name="T88" fmla="*/ 1582 w 1605"/>
                <a:gd name="T89" fmla="*/ 40 h 1606"/>
                <a:gd name="T90" fmla="*/ 1603 w 1605"/>
                <a:gd name="T91" fmla="*/ 96 h 1606"/>
                <a:gd name="T92" fmla="*/ 1602 w 1605"/>
                <a:gd name="T93" fmla="*/ 169 h 1606"/>
                <a:gd name="T94" fmla="*/ 1558 w 1605"/>
                <a:gd name="T95" fmla="*/ 332 h 1606"/>
                <a:gd name="T96" fmla="*/ 1469 w 1605"/>
                <a:gd name="T97" fmla="*/ 527 h 1606"/>
                <a:gd name="T98" fmla="*/ 1338 w 1605"/>
                <a:gd name="T99" fmla="*/ 757 h 1606"/>
                <a:gd name="T100" fmla="*/ 1180 w 1605"/>
                <a:gd name="T101" fmla="*/ 988 h 1606"/>
                <a:gd name="T102" fmla="*/ 1013 w 1605"/>
                <a:gd name="T103" fmla="*/ 1191 h 1606"/>
                <a:gd name="T104" fmla="*/ 820 w 1605"/>
                <a:gd name="T105" fmla="*/ 1379 h 1606"/>
                <a:gd name="T106" fmla="*/ 621 w 1605"/>
                <a:gd name="T107" fmla="*/ 1520 h 1606"/>
                <a:gd name="T108" fmla="*/ 493 w 1605"/>
                <a:gd name="T109" fmla="*/ 1580 h 1606"/>
                <a:gd name="T110" fmla="*/ 406 w 1605"/>
                <a:gd name="T111" fmla="*/ 1601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5" h="1606">
                  <a:moveTo>
                    <a:pt x="1482" y="78"/>
                  </a:moveTo>
                  <a:lnTo>
                    <a:pt x="1462" y="79"/>
                  </a:lnTo>
                  <a:lnTo>
                    <a:pt x="1441" y="81"/>
                  </a:lnTo>
                  <a:lnTo>
                    <a:pt x="1417" y="85"/>
                  </a:lnTo>
                  <a:lnTo>
                    <a:pt x="1393" y="92"/>
                  </a:lnTo>
                  <a:lnTo>
                    <a:pt x="1366" y="99"/>
                  </a:lnTo>
                  <a:lnTo>
                    <a:pt x="1338" y="109"/>
                  </a:lnTo>
                  <a:lnTo>
                    <a:pt x="1308" y="119"/>
                  </a:lnTo>
                  <a:lnTo>
                    <a:pt x="1277" y="131"/>
                  </a:lnTo>
                  <a:lnTo>
                    <a:pt x="1244" y="145"/>
                  </a:lnTo>
                  <a:lnTo>
                    <a:pt x="1210" y="160"/>
                  </a:lnTo>
                  <a:lnTo>
                    <a:pt x="1176" y="176"/>
                  </a:lnTo>
                  <a:lnTo>
                    <a:pt x="1140" y="193"/>
                  </a:lnTo>
                  <a:lnTo>
                    <a:pt x="1104" y="212"/>
                  </a:lnTo>
                  <a:lnTo>
                    <a:pt x="1067" y="231"/>
                  </a:lnTo>
                  <a:lnTo>
                    <a:pt x="1029" y="251"/>
                  </a:lnTo>
                  <a:lnTo>
                    <a:pt x="991" y="274"/>
                  </a:lnTo>
                  <a:lnTo>
                    <a:pt x="952" y="296"/>
                  </a:lnTo>
                  <a:lnTo>
                    <a:pt x="914" y="319"/>
                  </a:lnTo>
                  <a:lnTo>
                    <a:pt x="874" y="344"/>
                  </a:lnTo>
                  <a:lnTo>
                    <a:pt x="835" y="369"/>
                  </a:lnTo>
                  <a:lnTo>
                    <a:pt x="796" y="395"/>
                  </a:lnTo>
                  <a:lnTo>
                    <a:pt x="756" y="421"/>
                  </a:lnTo>
                  <a:lnTo>
                    <a:pt x="718" y="449"/>
                  </a:lnTo>
                  <a:lnTo>
                    <a:pt x="680" y="477"/>
                  </a:lnTo>
                  <a:lnTo>
                    <a:pt x="641" y="505"/>
                  </a:lnTo>
                  <a:lnTo>
                    <a:pt x="604" y="534"/>
                  </a:lnTo>
                  <a:lnTo>
                    <a:pt x="568" y="564"/>
                  </a:lnTo>
                  <a:lnTo>
                    <a:pt x="532" y="593"/>
                  </a:lnTo>
                  <a:lnTo>
                    <a:pt x="497" y="623"/>
                  </a:lnTo>
                  <a:lnTo>
                    <a:pt x="464" y="654"/>
                  </a:lnTo>
                  <a:lnTo>
                    <a:pt x="431" y="684"/>
                  </a:lnTo>
                  <a:lnTo>
                    <a:pt x="399" y="715"/>
                  </a:lnTo>
                  <a:lnTo>
                    <a:pt x="368" y="748"/>
                  </a:lnTo>
                  <a:lnTo>
                    <a:pt x="338" y="778"/>
                  </a:lnTo>
                  <a:lnTo>
                    <a:pt x="310" y="810"/>
                  </a:lnTo>
                  <a:lnTo>
                    <a:pt x="283" y="841"/>
                  </a:lnTo>
                  <a:lnTo>
                    <a:pt x="258" y="872"/>
                  </a:lnTo>
                  <a:lnTo>
                    <a:pt x="234" y="902"/>
                  </a:lnTo>
                  <a:lnTo>
                    <a:pt x="212" y="931"/>
                  </a:lnTo>
                  <a:lnTo>
                    <a:pt x="192" y="960"/>
                  </a:lnTo>
                  <a:lnTo>
                    <a:pt x="174" y="990"/>
                  </a:lnTo>
                  <a:lnTo>
                    <a:pt x="156" y="1018"/>
                  </a:lnTo>
                  <a:lnTo>
                    <a:pt x="141" y="1045"/>
                  </a:lnTo>
                  <a:lnTo>
                    <a:pt x="127" y="1073"/>
                  </a:lnTo>
                  <a:lnTo>
                    <a:pt x="115" y="1100"/>
                  </a:lnTo>
                  <a:lnTo>
                    <a:pt x="105" y="1127"/>
                  </a:lnTo>
                  <a:lnTo>
                    <a:pt x="95" y="1153"/>
                  </a:lnTo>
                  <a:lnTo>
                    <a:pt x="89" y="1178"/>
                  </a:lnTo>
                  <a:lnTo>
                    <a:pt x="84" y="1199"/>
                  </a:lnTo>
                  <a:lnTo>
                    <a:pt x="80" y="1219"/>
                  </a:lnTo>
                  <a:lnTo>
                    <a:pt x="78" y="1239"/>
                  </a:lnTo>
                  <a:lnTo>
                    <a:pt x="77" y="1258"/>
                  </a:lnTo>
                  <a:lnTo>
                    <a:pt x="77" y="1277"/>
                  </a:lnTo>
                  <a:lnTo>
                    <a:pt x="78" y="1295"/>
                  </a:lnTo>
                  <a:lnTo>
                    <a:pt x="80" y="1313"/>
                  </a:lnTo>
                  <a:lnTo>
                    <a:pt x="84" y="1331"/>
                  </a:lnTo>
                  <a:lnTo>
                    <a:pt x="89" y="1347"/>
                  </a:lnTo>
                  <a:lnTo>
                    <a:pt x="94" y="1364"/>
                  </a:lnTo>
                  <a:lnTo>
                    <a:pt x="102" y="1380"/>
                  </a:lnTo>
                  <a:lnTo>
                    <a:pt x="109" y="1396"/>
                  </a:lnTo>
                  <a:lnTo>
                    <a:pt x="119" y="1411"/>
                  </a:lnTo>
                  <a:lnTo>
                    <a:pt x="129" y="1426"/>
                  </a:lnTo>
                  <a:lnTo>
                    <a:pt x="141" y="1439"/>
                  </a:lnTo>
                  <a:lnTo>
                    <a:pt x="154" y="1453"/>
                  </a:lnTo>
                  <a:lnTo>
                    <a:pt x="169" y="1467"/>
                  </a:lnTo>
                  <a:lnTo>
                    <a:pt x="185" y="1479"/>
                  </a:lnTo>
                  <a:lnTo>
                    <a:pt x="200" y="1490"/>
                  </a:lnTo>
                  <a:lnTo>
                    <a:pt x="217" y="1500"/>
                  </a:lnTo>
                  <a:lnTo>
                    <a:pt x="234" y="1509"/>
                  </a:lnTo>
                  <a:lnTo>
                    <a:pt x="253" y="1515"/>
                  </a:lnTo>
                  <a:lnTo>
                    <a:pt x="272" y="1520"/>
                  </a:lnTo>
                  <a:lnTo>
                    <a:pt x="291" y="1525"/>
                  </a:lnTo>
                  <a:lnTo>
                    <a:pt x="311" y="1527"/>
                  </a:lnTo>
                  <a:lnTo>
                    <a:pt x="331" y="1528"/>
                  </a:lnTo>
                  <a:lnTo>
                    <a:pt x="352" y="1528"/>
                  </a:lnTo>
                  <a:lnTo>
                    <a:pt x="374" y="1527"/>
                  </a:lnTo>
                  <a:lnTo>
                    <a:pt x="395" y="1523"/>
                  </a:lnTo>
                  <a:lnTo>
                    <a:pt x="418" y="1519"/>
                  </a:lnTo>
                  <a:lnTo>
                    <a:pt x="441" y="1513"/>
                  </a:lnTo>
                  <a:lnTo>
                    <a:pt x="464" y="1505"/>
                  </a:lnTo>
                  <a:lnTo>
                    <a:pt x="487" y="1497"/>
                  </a:lnTo>
                  <a:lnTo>
                    <a:pt x="512" y="1487"/>
                  </a:lnTo>
                  <a:lnTo>
                    <a:pt x="536" y="1476"/>
                  </a:lnTo>
                  <a:lnTo>
                    <a:pt x="562" y="1463"/>
                  </a:lnTo>
                  <a:lnTo>
                    <a:pt x="587" y="1449"/>
                  </a:lnTo>
                  <a:lnTo>
                    <a:pt x="613" y="1434"/>
                  </a:lnTo>
                  <a:lnTo>
                    <a:pt x="639" y="1417"/>
                  </a:lnTo>
                  <a:lnTo>
                    <a:pt x="666" y="1399"/>
                  </a:lnTo>
                  <a:lnTo>
                    <a:pt x="694" y="1380"/>
                  </a:lnTo>
                  <a:lnTo>
                    <a:pt x="720" y="1359"/>
                  </a:lnTo>
                  <a:lnTo>
                    <a:pt x="748" y="1337"/>
                  </a:lnTo>
                  <a:lnTo>
                    <a:pt x="776" y="1314"/>
                  </a:lnTo>
                  <a:lnTo>
                    <a:pt x="804" y="1289"/>
                  </a:lnTo>
                  <a:lnTo>
                    <a:pt x="833" y="1263"/>
                  </a:lnTo>
                  <a:lnTo>
                    <a:pt x="863" y="1235"/>
                  </a:lnTo>
                  <a:lnTo>
                    <a:pt x="891" y="1207"/>
                  </a:lnTo>
                  <a:lnTo>
                    <a:pt x="924" y="1174"/>
                  </a:lnTo>
                  <a:lnTo>
                    <a:pt x="956" y="1139"/>
                  </a:lnTo>
                  <a:lnTo>
                    <a:pt x="989" y="1102"/>
                  </a:lnTo>
                  <a:lnTo>
                    <a:pt x="1022" y="1063"/>
                  </a:lnTo>
                  <a:lnTo>
                    <a:pt x="1055" y="1024"/>
                  </a:lnTo>
                  <a:lnTo>
                    <a:pt x="1087" y="982"/>
                  </a:lnTo>
                  <a:lnTo>
                    <a:pt x="1119" y="940"/>
                  </a:lnTo>
                  <a:lnTo>
                    <a:pt x="1151" y="897"/>
                  </a:lnTo>
                  <a:lnTo>
                    <a:pt x="1182" y="853"/>
                  </a:lnTo>
                  <a:lnTo>
                    <a:pt x="1213" y="808"/>
                  </a:lnTo>
                  <a:lnTo>
                    <a:pt x="1243" y="762"/>
                  </a:lnTo>
                  <a:lnTo>
                    <a:pt x="1273" y="716"/>
                  </a:lnTo>
                  <a:lnTo>
                    <a:pt x="1301" y="669"/>
                  </a:lnTo>
                  <a:lnTo>
                    <a:pt x="1329" y="622"/>
                  </a:lnTo>
                  <a:lnTo>
                    <a:pt x="1356" y="575"/>
                  </a:lnTo>
                  <a:lnTo>
                    <a:pt x="1381" y="528"/>
                  </a:lnTo>
                  <a:lnTo>
                    <a:pt x="1407" y="478"/>
                  </a:lnTo>
                  <a:lnTo>
                    <a:pt x="1430" y="431"/>
                  </a:lnTo>
                  <a:lnTo>
                    <a:pt x="1450" y="387"/>
                  </a:lnTo>
                  <a:lnTo>
                    <a:pt x="1468" y="346"/>
                  </a:lnTo>
                  <a:lnTo>
                    <a:pt x="1483" y="308"/>
                  </a:lnTo>
                  <a:lnTo>
                    <a:pt x="1496" y="274"/>
                  </a:lnTo>
                  <a:lnTo>
                    <a:pt x="1507" y="242"/>
                  </a:lnTo>
                  <a:lnTo>
                    <a:pt x="1514" y="213"/>
                  </a:lnTo>
                  <a:lnTo>
                    <a:pt x="1520" y="186"/>
                  </a:lnTo>
                  <a:lnTo>
                    <a:pt x="1526" y="164"/>
                  </a:lnTo>
                  <a:lnTo>
                    <a:pt x="1528" y="144"/>
                  </a:lnTo>
                  <a:lnTo>
                    <a:pt x="1529" y="127"/>
                  </a:lnTo>
                  <a:lnTo>
                    <a:pt x="1529" y="112"/>
                  </a:lnTo>
                  <a:lnTo>
                    <a:pt x="1527" y="101"/>
                  </a:lnTo>
                  <a:lnTo>
                    <a:pt x="1526" y="96"/>
                  </a:lnTo>
                  <a:lnTo>
                    <a:pt x="1524" y="92"/>
                  </a:lnTo>
                  <a:lnTo>
                    <a:pt x="1521" y="89"/>
                  </a:lnTo>
                  <a:lnTo>
                    <a:pt x="1519" y="87"/>
                  </a:lnTo>
                  <a:lnTo>
                    <a:pt x="1517" y="84"/>
                  </a:lnTo>
                  <a:lnTo>
                    <a:pt x="1510" y="81"/>
                  </a:lnTo>
                  <a:lnTo>
                    <a:pt x="1499" y="79"/>
                  </a:lnTo>
                  <a:lnTo>
                    <a:pt x="1482" y="78"/>
                  </a:lnTo>
                  <a:close/>
                  <a:moveTo>
                    <a:pt x="339" y="1606"/>
                  </a:moveTo>
                  <a:lnTo>
                    <a:pt x="322" y="1606"/>
                  </a:lnTo>
                  <a:lnTo>
                    <a:pt x="305" y="1605"/>
                  </a:lnTo>
                  <a:lnTo>
                    <a:pt x="288" y="1603"/>
                  </a:lnTo>
                  <a:lnTo>
                    <a:pt x="272" y="1601"/>
                  </a:lnTo>
                  <a:lnTo>
                    <a:pt x="255" y="1597"/>
                  </a:lnTo>
                  <a:lnTo>
                    <a:pt x="240" y="1593"/>
                  </a:lnTo>
                  <a:lnTo>
                    <a:pt x="224" y="1587"/>
                  </a:lnTo>
                  <a:lnTo>
                    <a:pt x="209" y="1582"/>
                  </a:lnTo>
                  <a:lnTo>
                    <a:pt x="194" y="1576"/>
                  </a:lnTo>
                  <a:lnTo>
                    <a:pt x="179" y="1568"/>
                  </a:lnTo>
                  <a:lnTo>
                    <a:pt x="165" y="1560"/>
                  </a:lnTo>
                  <a:lnTo>
                    <a:pt x="151" y="1551"/>
                  </a:lnTo>
                  <a:lnTo>
                    <a:pt x="138" y="1542"/>
                  </a:lnTo>
                  <a:lnTo>
                    <a:pt x="124" y="1531"/>
                  </a:lnTo>
                  <a:lnTo>
                    <a:pt x="111" y="1519"/>
                  </a:lnTo>
                  <a:lnTo>
                    <a:pt x="98" y="1507"/>
                  </a:lnTo>
                  <a:lnTo>
                    <a:pt x="82" y="1490"/>
                  </a:lnTo>
                  <a:lnTo>
                    <a:pt x="68" y="1472"/>
                  </a:lnTo>
                  <a:lnTo>
                    <a:pt x="55" y="1453"/>
                  </a:lnTo>
                  <a:lnTo>
                    <a:pt x="42" y="1434"/>
                  </a:lnTo>
                  <a:lnTo>
                    <a:pt x="33" y="1414"/>
                  </a:lnTo>
                  <a:lnTo>
                    <a:pt x="23" y="1394"/>
                  </a:lnTo>
                  <a:lnTo>
                    <a:pt x="16" y="1373"/>
                  </a:lnTo>
                  <a:lnTo>
                    <a:pt x="9" y="1351"/>
                  </a:lnTo>
                  <a:lnTo>
                    <a:pt x="5" y="1329"/>
                  </a:lnTo>
                  <a:lnTo>
                    <a:pt x="2" y="1306"/>
                  </a:lnTo>
                  <a:lnTo>
                    <a:pt x="0" y="1283"/>
                  </a:lnTo>
                  <a:lnTo>
                    <a:pt x="0" y="1259"/>
                  </a:lnTo>
                  <a:lnTo>
                    <a:pt x="1" y="1234"/>
                  </a:lnTo>
                  <a:lnTo>
                    <a:pt x="4" y="1210"/>
                  </a:lnTo>
                  <a:lnTo>
                    <a:pt x="8" y="1184"/>
                  </a:lnTo>
                  <a:lnTo>
                    <a:pt x="13" y="1159"/>
                  </a:lnTo>
                  <a:lnTo>
                    <a:pt x="22" y="1131"/>
                  </a:lnTo>
                  <a:lnTo>
                    <a:pt x="31" y="1103"/>
                  </a:lnTo>
                  <a:lnTo>
                    <a:pt x="42" y="1074"/>
                  </a:lnTo>
                  <a:lnTo>
                    <a:pt x="56" y="1044"/>
                  </a:lnTo>
                  <a:lnTo>
                    <a:pt x="70" y="1014"/>
                  </a:lnTo>
                  <a:lnTo>
                    <a:pt x="87" y="985"/>
                  </a:lnTo>
                  <a:lnTo>
                    <a:pt x="105" y="954"/>
                  </a:lnTo>
                  <a:lnTo>
                    <a:pt x="125" y="923"/>
                  </a:lnTo>
                  <a:lnTo>
                    <a:pt x="146" y="891"/>
                  </a:lnTo>
                  <a:lnTo>
                    <a:pt x="170" y="859"/>
                  </a:lnTo>
                  <a:lnTo>
                    <a:pt x="195" y="827"/>
                  </a:lnTo>
                  <a:lnTo>
                    <a:pt x="222" y="794"/>
                  </a:lnTo>
                  <a:lnTo>
                    <a:pt x="249" y="761"/>
                  </a:lnTo>
                  <a:lnTo>
                    <a:pt x="280" y="728"/>
                  </a:lnTo>
                  <a:lnTo>
                    <a:pt x="311" y="694"/>
                  </a:lnTo>
                  <a:lnTo>
                    <a:pt x="345" y="660"/>
                  </a:lnTo>
                  <a:lnTo>
                    <a:pt x="376" y="631"/>
                  </a:lnTo>
                  <a:lnTo>
                    <a:pt x="408" y="600"/>
                  </a:lnTo>
                  <a:lnTo>
                    <a:pt x="442" y="570"/>
                  </a:lnTo>
                  <a:lnTo>
                    <a:pt x="476" y="540"/>
                  </a:lnTo>
                  <a:lnTo>
                    <a:pt x="512" y="510"/>
                  </a:lnTo>
                  <a:lnTo>
                    <a:pt x="549" y="481"/>
                  </a:lnTo>
                  <a:lnTo>
                    <a:pt x="586" y="451"/>
                  </a:lnTo>
                  <a:lnTo>
                    <a:pt x="624" y="422"/>
                  </a:lnTo>
                  <a:lnTo>
                    <a:pt x="664" y="394"/>
                  </a:lnTo>
                  <a:lnTo>
                    <a:pt x="704" y="365"/>
                  </a:lnTo>
                  <a:lnTo>
                    <a:pt x="744" y="337"/>
                  </a:lnTo>
                  <a:lnTo>
                    <a:pt x="784" y="311"/>
                  </a:lnTo>
                  <a:lnTo>
                    <a:pt x="824" y="284"/>
                  </a:lnTo>
                  <a:lnTo>
                    <a:pt x="866" y="259"/>
                  </a:lnTo>
                  <a:lnTo>
                    <a:pt x="906" y="234"/>
                  </a:lnTo>
                  <a:lnTo>
                    <a:pt x="947" y="210"/>
                  </a:lnTo>
                  <a:lnTo>
                    <a:pt x="987" y="187"/>
                  </a:lnTo>
                  <a:lnTo>
                    <a:pt x="1026" y="165"/>
                  </a:lnTo>
                  <a:lnTo>
                    <a:pt x="1066" y="145"/>
                  </a:lnTo>
                  <a:lnTo>
                    <a:pt x="1105" y="125"/>
                  </a:lnTo>
                  <a:lnTo>
                    <a:pt x="1142" y="107"/>
                  </a:lnTo>
                  <a:lnTo>
                    <a:pt x="1179" y="89"/>
                  </a:lnTo>
                  <a:lnTo>
                    <a:pt x="1216" y="73"/>
                  </a:lnTo>
                  <a:lnTo>
                    <a:pt x="1252" y="59"/>
                  </a:lnTo>
                  <a:lnTo>
                    <a:pt x="1286" y="45"/>
                  </a:lnTo>
                  <a:lnTo>
                    <a:pt x="1318" y="34"/>
                  </a:lnTo>
                  <a:lnTo>
                    <a:pt x="1349" y="24"/>
                  </a:lnTo>
                  <a:lnTo>
                    <a:pt x="1379" y="15"/>
                  </a:lnTo>
                  <a:lnTo>
                    <a:pt x="1408" y="9"/>
                  </a:lnTo>
                  <a:lnTo>
                    <a:pt x="1434" y="5"/>
                  </a:lnTo>
                  <a:lnTo>
                    <a:pt x="1459" y="2"/>
                  </a:lnTo>
                  <a:lnTo>
                    <a:pt x="1482" y="0"/>
                  </a:lnTo>
                  <a:lnTo>
                    <a:pt x="1497" y="2"/>
                  </a:lnTo>
                  <a:lnTo>
                    <a:pt x="1511" y="3"/>
                  </a:lnTo>
                  <a:lnTo>
                    <a:pt x="1524" y="5"/>
                  </a:lnTo>
                  <a:lnTo>
                    <a:pt x="1535" y="8"/>
                  </a:lnTo>
                  <a:lnTo>
                    <a:pt x="1547" y="13"/>
                  </a:lnTo>
                  <a:lnTo>
                    <a:pt x="1557" y="19"/>
                  </a:lnTo>
                  <a:lnTo>
                    <a:pt x="1566" y="25"/>
                  </a:lnTo>
                  <a:lnTo>
                    <a:pt x="1575" y="31"/>
                  </a:lnTo>
                  <a:lnTo>
                    <a:pt x="1582" y="40"/>
                  </a:lnTo>
                  <a:lnTo>
                    <a:pt x="1588" y="49"/>
                  </a:lnTo>
                  <a:lnTo>
                    <a:pt x="1594" y="60"/>
                  </a:lnTo>
                  <a:lnTo>
                    <a:pt x="1598" y="71"/>
                  </a:lnTo>
                  <a:lnTo>
                    <a:pt x="1601" y="83"/>
                  </a:lnTo>
                  <a:lnTo>
                    <a:pt x="1603" y="96"/>
                  </a:lnTo>
                  <a:lnTo>
                    <a:pt x="1604" y="109"/>
                  </a:lnTo>
                  <a:lnTo>
                    <a:pt x="1605" y="124"/>
                  </a:lnTo>
                  <a:lnTo>
                    <a:pt x="1605" y="139"/>
                  </a:lnTo>
                  <a:lnTo>
                    <a:pt x="1604" y="153"/>
                  </a:lnTo>
                  <a:lnTo>
                    <a:pt x="1602" y="169"/>
                  </a:lnTo>
                  <a:lnTo>
                    <a:pt x="1600" y="186"/>
                  </a:lnTo>
                  <a:lnTo>
                    <a:pt x="1593" y="220"/>
                  </a:lnTo>
                  <a:lnTo>
                    <a:pt x="1583" y="257"/>
                  </a:lnTo>
                  <a:lnTo>
                    <a:pt x="1571" y="294"/>
                  </a:lnTo>
                  <a:lnTo>
                    <a:pt x="1558" y="332"/>
                  </a:lnTo>
                  <a:lnTo>
                    <a:pt x="1542" y="371"/>
                  </a:lnTo>
                  <a:lnTo>
                    <a:pt x="1525" y="411"/>
                  </a:lnTo>
                  <a:lnTo>
                    <a:pt x="1507" y="450"/>
                  </a:lnTo>
                  <a:lnTo>
                    <a:pt x="1489" y="488"/>
                  </a:lnTo>
                  <a:lnTo>
                    <a:pt x="1469" y="527"/>
                  </a:lnTo>
                  <a:lnTo>
                    <a:pt x="1449" y="564"/>
                  </a:lnTo>
                  <a:lnTo>
                    <a:pt x="1424" y="613"/>
                  </a:lnTo>
                  <a:lnTo>
                    <a:pt x="1396" y="662"/>
                  </a:lnTo>
                  <a:lnTo>
                    <a:pt x="1367" y="709"/>
                  </a:lnTo>
                  <a:lnTo>
                    <a:pt x="1338" y="757"/>
                  </a:lnTo>
                  <a:lnTo>
                    <a:pt x="1308" y="805"/>
                  </a:lnTo>
                  <a:lnTo>
                    <a:pt x="1277" y="852"/>
                  </a:lnTo>
                  <a:lnTo>
                    <a:pt x="1245" y="897"/>
                  </a:lnTo>
                  <a:lnTo>
                    <a:pt x="1213" y="943"/>
                  </a:lnTo>
                  <a:lnTo>
                    <a:pt x="1180" y="988"/>
                  </a:lnTo>
                  <a:lnTo>
                    <a:pt x="1147" y="1030"/>
                  </a:lnTo>
                  <a:lnTo>
                    <a:pt x="1114" y="1073"/>
                  </a:lnTo>
                  <a:lnTo>
                    <a:pt x="1080" y="1114"/>
                  </a:lnTo>
                  <a:lnTo>
                    <a:pt x="1046" y="1154"/>
                  </a:lnTo>
                  <a:lnTo>
                    <a:pt x="1013" y="1191"/>
                  </a:lnTo>
                  <a:lnTo>
                    <a:pt x="979" y="1227"/>
                  </a:lnTo>
                  <a:lnTo>
                    <a:pt x="945" y="1262"/>
                  </a:lnTo>
                  <a:lnTo>
                    <a:pt x="903" y="1303"/>
                  </a:lnTo>
                  <a:lnTo>
                    <a:pt x="861" y="1342"/>
                  </a:lnTo>
                  <a:lnTo>
                    <a:pt x="820" y="1379"/>
                  </a:lnTo>
                  <a:lnTo>
                    <a:pt x="779" y="1412"/>
                  </a:lnTo>
                  <a:lnTo>
                    <a:pt x="738" y="1443"/>
                  </a:lnTo>
                  <a:lnTo>
                    <a:pt x="699" y="1471"/>
                  </a:lnTo>
                  <a:lnTo>
                    <a:pt x="660" y="1497"/>
                  </a:lnTo>
                  <a:lnTo>
                    <a:pt x="621" y="1520"/>
                  </a:lnTo>
                  <a:lnTo>
                    <a:pt x="584" y="1540"/>
                  </a:lnTo>
                  <a:lnTo>
                    <a:pt x="547" y="1557"/>
                  </a:lnTo>
                  <a:lnTo>
                    <a:pt x="529" y="1566"/>
                  </a:lnTo>
                  <a:lnTo>
                    <a:pt x="511" y="1572"/>
                  </a:lnTo>
                  <a:lnTo>
                    <a:pt x="493" y="1580"/>
                  </a:lnTo>
                  <a:lnTo>
                    <a:pt x="475" y="1585"/>
                  </a:lnTo>
                  <a:lnTo>
                    <a:pt x="458" y="1590"/>
                  </a:lnTo>
                  <a:lnTo>
                    <a:pt x="440" y="1595"/>
                  </a:lnTo>
                  <a:lnTo>
                    <a:pt x="423" y="1598"/>
                  </a:lnTo>
                  <a:lnTo>
                    <a:pt x="406" y="1601"/>
                  </a:lnTo>
                  <a:lnTo>
                    <a:pt x="389" y="1604"/>
                  </a:lnTo>
                  <a:lnTo>
                    <a:pt x="372" y="1605"/>
                  </a:lnTo>
                  <a:lnTo>
                    <a:pt x="356" y="1606"/>
                  </a:lnTo>
                  <a:lnTo>
                    <a:pt x="339" y="16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31" name="Group 167">
            <a:extLst>
              <a:ext uri="{FF2B5EF4-FFF2-40B4-BE49-F238E27FC236}">
                <a16:creationId xmlns:a16="http://schemas.microsoft.com/office/drawing/2014/main" id="{3304ABCE-09B7-423D-981C-F0B5EFF1A426}"/>
              </a:ext>
            </a:extLst>
          </p:cNvPr>
          <p:cNvGrpSpPr>
            <a:grpSpLocks noChangeAspect="1"/>
          </p:cNvGrpSpPr>
          <p:nvPr/>
        </p:nvGrpSpPr>
        <p:grpSpPr>
          <a:xfrm>
            <a:off x="1477611" y="1647825"/>
            <a:ext cx="288080" cy="285619"/>
            <a:chOff x="4386263" y="3246438"/>
            <a:chExt cx="371475" cy="368301"/>
          </a:xfrm>
          <a:solidFill>
            <a:schemeClr val="bg1"/>
          </a:solidFill>
        </p:grpSpPr>
        <p:sp>
          <p:nvSpPr>
            <p:cNvPr id="1832" name="Freeform 30">
              <a:extLst>
                <a:ext uri="{FF2B5EF4-FFF2-40B4-BE49-F238E27FC236}">
                  <a16:creationId xmlns:a16="http://schemas.microsoft.com/office/drawing/2014/main" id="{35406CF2-E3AD-4AE8-BB98-CB62C19C9F3B}"/>
                </a:ext>
              </a:extLst>
            </p:cNvPr>
            <p:cNvSpPr>
              <a:spLocks/>
            </p:cNvSpPr>
            <p:nvPr/>
          </p:nvSpPr>
          <p:spPr bwMode="auto">
            <a:xfrm>
              <a:off x="4386263" y="3246438"/>
              <a:ext cx="371475" cy="322263"/>
            </a:xfrm>
            <a:custGeom>
              <a:avLst/>
              <a:gdLst>
                <a:gd name="T0" fmla="*/ 87 w 96"/>
                <a:gd name="T1" fmla="*/ 83 h 83"/>
                <a:gd name="T2" fmla="*/ 78 w 96"/>
                <a:gd name="T3" fmla="*/ 83 h 83"/>
                <a:gd name="T4" fmla="*/ 76 w 96"/>
                <a:gd name="T5" fmla="*/ 81 h 83"/>
                <a:gd name="T6" fmla="*/ 78 w 96"/>
                <a:gd name="T7" fmla="*/ 79 h 83"/>
                <a:gd name="T8" fmla="*/ 87 w 96"/>
                <a:gd name="T9" fmla="*/ 79 h 83"/>
                <a:gd name="T10" fmla="*/ 92 w 96"/>
                <a:gd name="T11" fmla="*/ 73 h 83"/>
                <a:gd name="T12" fmla="*/ 91 w 96"/>
                <a:gd name="T13" fmla="*/ 69 h 83"/>
                <a:gd name="T14" fmla="*/ 59 w 96"/>
                <a:gd name="T15" fmla="*/ 37 h 83"/>
                <a:gd name="T16" fmla="*/ 58 w 96"/>
                <a:gd name="T17" fmla="*/ 36 h 83"/>
                <a:gd name="T18" fmla="*/ 56 w 96"/>
                <a:gd name="T19" fmla="*/ 14 h 83"/>
                <a:gd name="T20" fmla="*/ 48 w 96"/>
                <a:gd name="T21" fmla="*/ 4 h 83"/>
                <a:gd name="T22" fmla="*/ 40 w 96"/>
                <a:gd name="T23" fmla="*/ 14 h 83"/>
                <a:gd name="T24" fmla="*/ 38 w 96"/>
                <a:gd name="T25" fmla="*/ 36 h 83"/>
                <a:gd name="T26" fmla="*/ 37 w 96"/>
                <a:gd name="T27" fmla="*/ 37 h 83"/>
                <a:gd name="T28" fmla="*/ 5 w 96"/>
                <a:gd name="T29" fmla="*/ 69 h 83"/>
                <a:gd name="T30" fmla="*/ 4 w 96"/>
                <a:gd name="T31" fmla="*/ 73 h 83"/>
                <a:gd name="T32" fmla="*/ 9 w 96"/>
                <a:gd name="T33" fmla="*/ 79 h 83"/>
                <a:gd name="T34" fmla="*/ 18 w 96"/>
                <a:gd name="T35" fmla="*/ 79 h 83"/>
                <a:gd name="T36" fmla="*/ 20 w 96"/>
                <a:gd name="T37" fmla="*/ 81 h 83"/>
                <a:gd name="T38" fmla="*/ 18 w 96"/>
                <a:gd name="T39" fmla="*/ 83 h 83"/>
                <a:gd name="T40" fmla="*/ 9 w 96"/>
                <a:gd name="T41" fmla="*/ 83 h 83"/>
                <a:gd name="T42" fmla="*/ 0 w 96"/>
                <a:gd name="T43" fmla="*/ 73 h 83"/>
                <a:gd name="T44" fmla="*/ 3 w 96"/>
                <a:gd name="T45" fmla="*/ 67 h 83"/>
                <a:gd name="T46" fmla="*/ 34 w 96"/>
                <a:gd name="T47" fmla="*/ 35 h 83"/>
                <a:gd name="T48" fmla="*/ 36 w 96"/>
                <a:gd name="T49" fmla="*/ 14 h 83"/>
                <a:gd name="T50" fmla="*/ 47 w 96"/>
                <a:gd name="T51" fmla="*/ 0 h 83"/>
                <a:gd name="T52" fmla="*/ 49 w 96"/>
                <a:gd name="T53" fmla="*/ 0 h 83"/>
                <a:gd name="T54" fmla="*/ 60 w 96"/>
                <a:gd name="T55" fmla="*/ 13 h 83"/>
                <a:gd name="T56" fmla="*/ 62 w 96"/>
                <a:gd name="T57" fmla="*/ 35 h 83"/>
                <a:gd name="T58" fmla="*/ 93 w 96"/>
                <a:gd name="T59" fmla="*/ 67 h 83"/>
                <a:gd name="T60" fmla="*/ 96 w 96"/>
                <a:gd name="T61" fmla="*/ 73 h 83"/>
                <a:gd name="T62" fmla="*/ 87 w 96"/>
                <a:gd name="T6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83">
                  <a:moveTo>
                    <a:pt x="87" y="83"/>
                  </a:moveTo>
                  <a:cubicBezTo>
                    <a:pt x="78" y="83"/>
                    <a:pt x="78" y="83"/>
                    <a:pt x="78" y="83"/>
                  </a:cubicBezTo>
                  <a:cubicBezTo>
                    <a:pt x="77" y="83"/>
                    <a:pt x="76" y="82"/>
                    <a:pt x="76" y="81"/>
                  </a:cubicBezTo>
                  <a:cubicBezTo>
                    <a:pt x="76" y="80"/>
                    <a:pt x="77" y="79"/>
                    <a:pt x="78" y="79"/>
                  </a:cubicBezTo>
                  <a:cubicBezTo>
                    <a:pt x="87" y="79"/>
                    <a:pt x="87" y="79"/>
                    <a:pt x="87" y="79"/>
                  </a:cubicBezTo>
                  <a:cubicBezTo>
                    <a:pt x="90" y="79"/>
                    <a:pt x="92" y="76"/>
                    <a:pt x="92" y="73"/>
                  </a:cubicBezTo>
                  <a:cubicBezTo>
                    <a:pt x="92" y="72"/>
                    <a:pt x="91" y="70"/>
                    <a:pt x="91" y="69"/>
                  </a:cubicBezTo>
                  <a:cubicBezTo>
                    <a:pt x="59" y="37"/>
                    <a:pt x="59" y="37"/>
                    <a:pt x="59" y="37"/>
                  </a:cubicBezTo>
                  <a:cubicBezTo>
                    <a:pt x="58" y="37"/>
                    <a:pt x="58" y="36"/>
                    <a:pt x="58" y="36"/>
                  </a:cubicBezTo>
                  <a:cubicBezTo>
                    <a:pt x="56" y="14"/>
                    <a:pt x="56" y="14"/>
                    <a:pt x="56" y="14"/>
                  </a:cubicBezTo>
                  <a:cubicBezTo>
                    <a:pt x="55" y="9"/>
                    <a:pt x="50" y="6"/>
                    <a:pt x="48" y="4"/>
                  </a:cubicBezTo>
                  <a:cubicBezTo>
                    <a:pt x="46" y="6"/>
                    <a:pt x="41" y="9"/>
                    <a:pt x="40" y="14"/>
                  </a:cubicBezTo>
                  <a:cubicBezTo>
                    <a:pt x="38" y="36"/>
                    <a:pt x="38" y="36"/>
                    <a:pt x="38" y="36"/>
                  </a:cubicBezTo>
                  <a:cubicBezTo>
                    <a:pt x="38" y="36"/>
                    <a:pt x="38" y="37"/>
                    <a:pt x="37" y="37"/>
                  </a:cubicBezTo>
                  <a:cubicBezTo>
                    <a:pt x="5" y="69"/>
                    <a:pt x="5" y="69"/>
                    <a:pt x="5" y="69"/>
                  </a:cubicBezTo>
                  <a:cubicBezTo>
                    <a:pt x="4" y="70"/>
                    <a:pt x="4" y="72"/>
                    <a:pt x="4" y="73"/>
                  </a:cubicBezTo>
                  <a:cubicBezTo>
                    <a:pt x="4" y="76"/>
                    <a:pt x="6" y="79"/>
                    <a:pt x="9" y="79"/>
                  </a:cubicBezTo>
                  <a:cubicBezTo>
                    <a:pt x="18" y="79"/>
                    <a:pt x="18" y="79"/>
                    <a:pt x="18" y="79"/>
                  </a:cubicBezTo>
                  <a:cubicBezTo>
                    <a:pt x="19" y="79"/>
                    <a:pt x="20" y="80"/>
                    <a:pt x="20" y="81"/>
                  </a:cubicBezTo>
                  <a:cubicBezTo>
                    <a:pt x="20" y="82"/>
                    <a:pt x="19" y="83"/>
                    <a:pt x="18" y="83"/>
                  </a:cubicBezTo>
                  <a:cubicBezTo>
                    <a:pt x="9" y="83"/>
                    <a:pt x="9" y="83"/>
                    <a:pt x="9" y="83"/>
                  </a:cubicBezTo>
                  <a:cubicBezTo>
                    <a:pt x="4" y="83"/>
                    <a:pt x="0" y="78"/>
                    <a:pt x="0" y="73"/>
                  </a:cubicBezTo>
                  <a:cubicBezTo>
                    <a:pt x="0" y="71"/>
                    <a:pt x="1" y="68"/>
                    <a:pt x="3" y="67"/>
                  </a:cubicBezTo>
                  <a:cubicBezTo>
                    <a:pt x="34" y="35"/>
                    <a:pt x="34" y="35"/>
                    <a:pt x="34" y="35"/>
                  </a:cubicBezTo>
                  <a:cubicBezTo>
                    <a:pt x="36" y="14"/>
                    <a:pt x="36" y="14"/>
                    <a:pt x="36" y="14"/>
                  </a:cubicBezTo>
                  <a:cubicBezTo>
                    <a:pt x="38" y="5"/>
                    <a:pt x="47" y="0"/>
                    <a:pt x="47" y="0"/>
                  </a:cubicBezTo>
                  <a:cubicBezTo>
                    <a:pt x="48" y="0"/>
                    <a:pt x="48" y="0"/>
                    <a:pt x="49" y="0"/>
                  </a:cubicBezTo>
                  <a:cubicBezTo>
                    <a:pt x="49" y="0"/>
                    <a:pt x="58" y="5"/>
                    <a:pt x="60" y="13"/>
                  </a:cubicBezTo>
                  <a:cubicBezTo>
                    <a:pt x="62" y="35"/>
                    <a:pt x="62" y="35"/>
                    <a:pt x="62" y="35"/>
                  </a:cubicBezTo>
                  <a:cubicBezTo>
                    <a:pt x="93" y="67"/>
                    <a:pt x="93" y="67"/>
                    <a:pt x="93" y="67"/>
                  </a:cubicBezTo>
                  <a:cubicBezTo>
                    <a:pt x="95" y="68"/>
                    <a:pt x="96" y="71"/>
                    <a:pt x="96" y="73"/>
                  </a:cubicBezTo>
                  <a:cubicBezTo>
                    <a:pt x="96" y="78"/>
                    <a:pt x="92" y="83"/>
                    <a:pt x="87"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3" name="Freeform 31">
              <a:extLst>
                <a:ext uri="{FF2B5EF4-FFF2-40B4-BE49-F238E27FC236}">
                  <a16:creationId xmlns:a16="http://schemas.microsoft.com/office/drawing/2014/main" id="{A673BAA6-68BA-491F-B7B0-9A4B973EF120}"/>
                </a:ext>
              </a:extLst>
            </p:cNvPr>
            <p:cNvSpPr>
              <a:spLocks noEditPoints="1"/>
            </p:cNvSpPr>
            <p:nvPr/>
          </p:nvSpPr>
          <p:spPr bwMode="auto">
            <a:xfrm>
              <a:off x="4548188" y="3294063"/>
              <a:ext cx="47625" cy="107950"/>
            </a:xfrm>
            <a:custGeom>
              <a:avLst/>
              <a:gdLst>
                <a:gd name="T0" fmla="*/ 6 w 12"/>
                <a:gd name="T1" fmla="*/ 28 h 28"/>
                <a:gd name="T2" fmla="*/ 0 w 12"/>
                <a:gd name="T3" fmla="*/ 22 h 28"/>
                <a:gd name="T4" fmla="*/ 0 w 12"/>
                <a:gd name="T5" fmla="*/ 6 h 28"/>
                <a:gd name="T6" fmla="*/ 6 w 12"/>
                <a:gd name="T7" fmla="*/ 0 h 28"/>
                <a:gd name="T8" fmla="*/ 12 w 12"/>
                <a:gd name="T9" fmla="*/ 6 h 28"/>
                <a:gd name="T10" fmla="*/ 12 w 12"/>
                <a:gd name="T11" fmla="*/ 22 h 28"/>
                <a:gd name="T12" fmla="*/ 6 w 12"/>
                <a:gd name="T13" fmla="*/ 28 h 28"/>
                <a:gd name="T14" fmla="*/ 6 w 12"/>
                <a:gd name="T15" fmla="*/ 4 h 28"/>
                <a:gd name="T16" fmla="*/ 4 w 12"/>
                <a:gd name="T17" fmla="*/ 6 h 28"/>
                <a:gd name="T18" fmla="*/ 4 w 12"/>
                <a:gd name="T19" fmla="*/ 22 h 28"/>
                <a:gd name="T20" fmla="*/ 6 w 12"/>
                <a:gd name="T21" fmla="*/ 24 h 28"/>
                <a:gd name="T22" fmla="*/ 8 w 12"/>
                <a:gd name="T23" fmla="*/ 22 h 28"/>
                <a:gd name="T24" fmla="*/ 8 w 12"/>
                <a:gd name="T25" fmla="*/ 6 h 28"/>
                <a:gd name="T26" fmla="*/ 6 w 1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8">
                  <a:moveTo>
                    <a:pt x="6" y="28"/>
                  </a:moveTo>
                  <a:cubicBezTo>
                    <a:pt x="3" y="28"/>
                    <a:pt x="0" y="25"/>
                    <a:pt x="0" y="22"/>
                  </a:cubicBezTo>
                  <a:cubicBezTo>
                    <a:pt x="0" y="6"/>
                    <a:pt x="0" y="6"/>
                    <a:pt x="0" y="6"/>
                  </a:cubicBezTo>
                  <a:cubicBezTo>
                    <a:pt x="0" y="3"/>
                    <a:pt x="3" y="0"/>
                    <a:pt x="6" y="0"/>
                  </a:cubicBezTo>
                  <a:cubicBezTo>
                    <a:pt x="9" y="0"/>
                    <a:pt x="12" y="3"/>
                    <a:pt x="12" y="6"/>
                  </a:cubicBezTo>
                  <a:cubicBezTo>
                    <a:pt x="12" y="22"/>
                    <a:pt x="12" y="22"/>
                    <a:pt x="12" y="22"/>
                  </a:cubicBezTo>
                  <a:cubicBezTo>
                    <a:pt x="12" y="25"/>
                    <a:pt x="9" y="28"/>
                    <a:pt x="6" y="28"/>
                  </a:cubicBezTo>
                  <a:close/>
                  <a:moveTo>
                    <a:pt x="6" y="4"/>
                  </a:moveTo>
                  <a:cubicBezTo>
                    <a:pt x="5" y="4"/>
                    <a:pt x="4" y="5"/>
                    <a:pt x="4" y="6"/>
                  </a:cubicBezTo>
                  <a:cubicBezTo>
                    <a:pt x="4" y="22"/>
                    <a:pt x="4" y="22"/>
                    <a:pt x="4" y="22"/>
                  </a:cubicBezTo>
                  <a:cubicBezTo>
                    <a:pt x="4" y="23"/>
                    <a:pt x="5" y="24"/>
                    <a:pt x="6" y="24"/>
                  </a:cubicBezTo>
                  <a:cubicBezTo>
                    <a:pt x="7" y="24"/>
                    <a:pt x="8" y="23"/>
                    <a:pt x="8" y="22"/>
                  </a:cubicBezTo>
                  <a:cubicBezTo>
                    <a:pt x="8" y="6"/>
                    <a:pt x="8" y="6"/>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4" name="Rectangle 32">
              <a:extLst>
                <a:ext uri="{FF2B5EF4-FFF2-40B4-BE49-F238E27FC236}">
                  <a16:creationId xmlns:a16="http://schemas.microsoft.com/office/drawing/2014/main" id="{CE6CB9A2-5EBA-49AA-BE05-CFD16EF64D9F}"/>
                </a:ext>
              </a:extLst>
            </p:cNvPr>
            <p:cNvSpPr>
              <a:spLocks noChangeArrowheads="1"/>
            </p:cNvSpPr>
            <p:nvPr/>
          </p:nvSpPr>
          <p:spPr bwMode="auto">
            <a:xfrm>
              <a:off x="4541838" y="3275013"/>
              <a:ext cx="619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5" name="Freeform 33">
              <a:extLst>
                <a:ext uri="{FF2B5EF4-FFF2-40B4-BE49-F238E27FC236}">
                  <a16:creationId xmlns:a16="http://schemas.microsoft.com/office/drawing/2014/main" id="{3DD13DFF-5D6E-4E04-B72D-F3EEC0BD3AC2}"/>
                </a:ext>
              </a:extLst>
            </p:cNvPr>
            <p:cNvSpPr>
              <a:spLocks noEditPoints="1"/>
            </p:cNvSpPr>
            <p:nvPr/>
          </p:nvSpPr>
          <p:spPr bwMode="auto">
            <a:xfrm>
              <a:off x="4448176" y="3506788"/>
              <a:ext cx="77788" cy="77788"/>
            </a:xfrm>
            <a:custGeom>
              <a:avLst/>
              <a:gdLst>
                <a:gd name="T0" fmla="*/ 18 w 20"/>
                <a:gd name="T1" fmla="*/ 20 h 20"/>
                <a:gd name="T2" fmla="*/ 2 w 20"/>
                <a:gd name="T3" fmla="*/ 20 h 20"/>
                <a:gd name="T4" fmla="*/ 0 w 20"/>
                <a:gd name="T5" fmla="*/ 18 h 20"/>
                <a:gd name="T6" fmla="*/ 0 w 20"/>
                <a:gd name="T7" fmla="*/ 2 h 20"/>
                <a:gd name="T8" fmla="*/ 2 w 20"/>
                <a:gd name="T9" fmla="*/ 0 h 20"/>
                <a:gd name="T10" fmla="*/ 18 w 20"/>
                <a:gd name="T11" fmla="*/ 0 h 20"/>
                <a:gd name="T12" fmla="*/ 20 w 20"/>
                <a:gd name="T13" fmla="*/ 2 h 20"/>
                <a:gd name="T14" fmla="*/ 20 w 20"/>
                <a:gd name="T15" fmla="*/ 18 h 20"/>
                <a:gd name="T16" fmla="*/ 18 w 20"/>
                <a:gd name="T17" fmla="*/ 20 h 20"/>
                <a:gd name="T18" fmla="*/ 4 w 20"/>
                <a:gd name="T19" fmla="*/ 16 h 20"/>
                <a:gd name="T20" fmla="*/ 16 w 20"/>
                <a:gd name="T21" fmla="*/ 16 h 20"/>
                <a:gd name="T22" fmla="*/ 16 w 20"/>
                <a:gd name="T23" fmla="*/ 4 h 20"/>
                <a:gd name="T24" fmla="*/ 4 w 20"/>
                <a:gd name="T25" fmla="*/ 4 h 20"/>
                <a:gd name="T26" fmla="*/ 4 w 20"/>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8" y="20"/>
                  </a:moveTo>
                  <a:cubicBezTo>
                    <a:pt x="2" y="20"/>
                    <a:pt x="2" y="20"/>
                    <a:pt x="2" y="20"/>
                  </a:cubicBezTo>
                  <a:cubicBezTo>
                    <a:pt x="1" y="20"/>
                    <a:pt x="0" y="19"/>
                    <a:pt x="0" y="18"/>
                  </a:cubicBezTo>
                  <a:cubicBezTo>
                    <a:pt x="0" y="2"/>
                    <a:pt x="0" y="2"/>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moveTo>
                    <a:pt x="4" y="16"/>
                  </a:moveTo>
                  <a:cubicBezTo>
                    <a:pt x="16" y="16"/>
                    <a:pt x="16" y="16"/>
                    <a:pt x="16" y="16"/>
                  </a:cubicBezTo>
                  <a:cubicBezTo>
                    <a:pt x="16" y="4"/>
                    <a:pt x="16" y="4"/>
                    <a:pt x="16"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6" name="Freeform 34">
              <a:extLst>
                <a:ext uri="{FF2B5EF4-FFF2-40B4-BE49-F238E27FC236}">
                  <a16:creationId xmlns:a16="http://schemas.microsoft.com/office/drawing/2014/main" id="{F1E73FDB-FFCE-4D54-88B7-1345B7BB32FE}"/>
                </a:ext>
              </a:extLst>
            </p:cNvPr>
            <p:cNvSpPr>
              <a:spLocks noEditPoints="1"/>
            </p:cNvSpPr>
            <p:nvPr/>
          </p:nvSpPr>
          <p:spPr bwMode="auto">
            <a:xfrm>
              <a:off x="4618038" y="3506788"/>
              <a:ext cx="77788" cy="77788"/>
            </a:xfrm>
            <a:custGeom>
              <a:avLst/>
              <a:gdLst>
                <a:gd name="T0" fmla="*/ 18 w 20"/>
                <a:gd name="T1" fmla="*/ 20 h 20"/>
                <a:gd name="T2" fmla="*/ 2 w 20"/>
                <a:gd name="T3" fmla="*/ 20 h 20"/>
                <a:gd name="T4" fmla="*/ 0 w 20"/>
                <a:gd name="T5" fmla="*/ 18 h 20"/>
                <a:gd name="T6" fmla="*/ 0 w 20"/>
                <a:gd name="T7" fmla="*/ 2 h 20"/>
                <a:gd name="T8" fmla="*/ 2 w 20"/>
                <a:gd name="T9" fmla="*/ 0 h 20"/>
                <a:gd name="T10" fmla="*/ 18 w 20"/>
                <a:gd name="T11" fmla="*/ 0 h 20"/>
                <a:gd name="T12" fmla="*/ 20 w 20"/>
                <a:gd name="T13" fmla="*/ 2 h 20"/>
                <a:gd name="T14" fmla="*/ 20 w 20"/>
                <a:gd name="T15" fmla="*/ 18 h 20"/>
                <a:gd name="T16" fmla="*/ 18 w 20"/>
                <a:gd name="T17" fmla="*/ 20 h 20"/>
                <a:gd name="T18" fmla="*/ 4 w 20"/>
                <a:gd name="T19" fmla="*/ 16 h 20"/>
                <a:gd name="T20" fmla="*/ 16 w 20"/>
                <a:gd name="T21" fmla="*/ 16 h 20"/>
                <a:gd name="T22" fmla="*/ 16 w 20"/>
                <a:gd name="T23" fmla="*/ 4 h 20"/>
                <a:gd name="T24" fmla="*/ 4 w 20"/>
                <a:gd name="T25" fmla="*/ 4 h 20"/>
                <a:gd name="T26" fmla="*/ 4 w 20"/>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8" y="20"/>
                  </a:moveTo>
                  <a:cubicBezTo>
                    <a:pt x="2" y="20"/>
                    <a:pt x="2" y="20"/>
                    <a:pt x="2" y="20"/>
                  </a:cubicBezTo>
                  <a:cubicBezTo>
                    <a:pt x="1" y="20"/>
                    <a:pt x="0" y="19"/>
                    <a:pt x="0" y="18"/>
                  </a:cubicBezTo>
                  <a:cubicBezTo>
                    <a:pt x="0" y="2"/>
                    <a:pt x="0" y="2"/>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moveTo>
                    <a:pt x="4" y="16"/>
                  </a:moveTo>
                  <a:cubicBezTo>
                    <a:pt x="16" y="16"/>
                    <a:pt x="16" y="16"/>
                    <a:pt x="16" y="16"/>
                  </a:cubicBezTo>
                  <a:cubicBezTo>
                    <a:pt x="16" y="4"/>
                    <a:pt x="16" y="4"/>
                    <a:pt x="16"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7" name="Freeform 35">
              <a:extLst>
                <a:ext uri="{FF2B5EF4-FFF2-40B4-BE49-F238E27FC236}">
                  <a16:creationId xmlns:a16="http://schemas.microsoft.com/office/drawing/2014/main" id="{F4973AF6-6CA4-4141-B7DA-97272F441839}"/>
                </a:ext>
              </a:extLst>
            </p:cNvPr>
            <p:cNvSpPr>
              <a:spLocks/>
            </p:cNvSpPr>
            <p:nvPr/>
          </p:nvSpPr>
          <p:spPr bwMode="auto">
            <a:xfrm>
              <a:off x="4510088" y="3552826"/>
              <a:ext cx="69850" cy="42863"/>
            </a:xfrm>
            <a:custGeom>
              <a:avLst/>
              <a:gdLst>
                <a:gd name="T0" fmla="*/ 16 w 18"/>
                <a:gd name="T1" fmla="*/ 11 h 11"/>
                <a:gd name="T2" fmla="*/ 14 w 18"/>
                <a:gd name="T3" fmla="*/ 9 h 11"/>
                <a:gd name="T4" fmla="*/ 9 w 18"/>
                <a:gd name="T5" fmla="*/ 4 h 11"/>
                <a:gd name="T6" fmla="*/ 2 w 18"/>
                <a:gd name="T7" fmla="*/ 4 h 11"/>
                <a:gd name="T8" fmla="*/ 0 w 18"/>
                <a:gd name="T9" fmla="*/ 2 h 11"/>
                <a:gd name="T10" fmla="*/ 2 w 18"/>
                <a:gd name="T11" fmla="*/ 0 h 11"/>
                <a:gd name="T12" fmla="*/ 9 w 18"/>
                <a:gd name="T13" fmla="*/ 0 h 11"/>
                <a:gd name="T14" fmla="*/ 18 w 18"/>
                <a:gd name="T15" fmla="*/ 9 h 11"/>
                <a:gd name="T16" fmla="*/ 16 w 18"/>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6" y="11"/>
                  </a:moveTo>
                  <a:cubicBezTo>
                    <a:pt x="15" y="11"/>
                    <a:pt x="14" y="10"/>
                    <a:pt x="14" y="9"/>
                  </a:cubicBezTo>
                  <a:cubicBezTo>
                    <a:pt x="14" y="6"/>
                    <a:pt x="12" y="4"/>
                    <a:pt x="9" y="4"/>
                  </a:cubicBezTo>
                  <a:cubicBezTo>
                    <a:pt x="2" y="4"/>
                    <a:pt x="2" y="4"/>
                    <a:pt x="2" y="4"/>
                  </a:cubicBezTo>
                  <a:cubicBezTo>
                    <a:pt x="1" y="4"/>
                    <a:pt x="0" y="3"/>
                    <a:pt x="0" y="2"/>
                  </a:cubicBezTo>
                  <a:cubicBezTo>
                    <a:pt x="0" y="1"/>
                    <a:pt x="1" y="0"/>
                    <a:pt x="2" y="0"/>
                  </a:cubicBezTo>
                  <a:cubicBezTo>
                    <a:pt x="9" y="0"/>
                    <a:pt x="9" y="0"/>
                    <a:pt x="9" y="0"/>
                  </a:cubicBezTo>
                  <a:cubicBezTo>
                    <a:pt x="14" y="0"/>
                    <a:pt x="18" y="4"/>
                    <a:pt x="18" y="9"/>
                  </a:cubicBezTo>
                  <a:cubicBezTo>
                    <a:pt x="18" y="10"/>
                    <a:pt x="17" y="11"/>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8" name="Freeform 36">
              <a:extLst>
                <a:ext uri="{FF2B5EF4-FFF2-40B4-BE49-F238E27FC236}">
                  <a16:creationId xmlns:a16="http://schemas.microsoft.com/office/drawing/2014/main" id="{CA884549-E767-4D5F-80C7-9FF8FA3F2DE4}"/>
                </a:ext>
              </a:extLst>
            </p:cNvPr>
            <p:cNvSpPr>
              <a:spLocks/>
            </p:cNvSpPr>
            <p:nvPr/>
          </p:nvSpPr>
          <p:spPr bwMode="auto">
            <a:xfrm>
              <a:off x="4564063" y="3552826"/>
              <a:ext cx="69850" cy="42863"/>
            </a:xfrm>
            <a:custGeom>
              <a:avLst/>
              <a:gdLst>
                <a:gd name="T0" fmla="*/ 2 w 18"/>
                <a:gd name="T1" fmla="*/ 11 h 11"/>
                <a:gd name="T2" fmla="*/ 0 w 18"/>
                <a:gd name="T3" fmla="*/ 9 h 11"/>
                <a:gd name="T4" fmla="*/ 9 w 18"/>
                <a:gd name="T5" fmla="*/ 0 h 11"/>
                <a:gd name="T6" fmla="*/ 16 w 18"/>
                <a:gd name="T7" fmla="*/ 0 h 11"/>
                <a:gd name="T8" fmla="*/ 18 w 18"/>
                <a:gd name="T9" fmla="*/ 2 h 11"/>
                <a:gd name="T10" fmla="*/ 16 w 18"/>
                <a:gd name="T11" fmla="*/ 4 h 11"/>
                <a:gd name="T12" fmla="*/ 9 w 18"/>
                <a:gd name="T13" fmla="*/ 4 h 11"/>
                <a:gd name="T14" fmla="*/ 4 w 18"/>
                <a:gd name="T15" fmla="*/ 9 h 11"/>
                <a:gd name="T16" fmla="*/ 2 w 18"/>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2" y="11"/>
                  </a:moveTo>
                  <a:cubicBezTo>
                    <a:pt x="1" y="11"/>
                    <a:pt x="0" y="10"/>
                    <a:pt x="0" y="9"/>
                  </a:cubicBezTo>
                  <a:cubicBezTo>
                    <a:pt x="0" y="4"/>
                    <a:pt x="4" y="0"/>
                    <a:pt x="9" y="0"/>
                  </a:cubicBezTo>
                  <a:cubicBezTo>
                    <a:pt x="16" y="0"/>
                    <a:pt x="16" y="0"/>
                    <a:pt x="16" y="0"/>
                  </a:cubicBezTo>
                  <a:cubicBezTo>
                    <a:pt x="17" y="0"/>
                    <a:pt x="18" y="1"/>
                    <a:pt x="18" y="2"/>
                  </a:cubicBezTo>
                  <a:cubicBezTo>
                    <a:pt x="18" y="3"/>
                    <a:pt x="17" y="4"/>
                    <a:pt x="16" y="4"/>
                  </a:cubicBezTo>
                  <a:cubicBezTo>
                    <a:pt x="9" y="4"/>
                    <a:pt x="9" y="4"/>
                    <a:pt x="9" y="4"/>
                  </a:cubicBezTo>
                  <a:cubicBezTo>
                    <a:pt x="6" y="4"/>
                    <a:pt x="4" y="6"/>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9" name="Freeform 37">
              <a:extLst>
                <a:ext uri="{FF2B5EF4-FFF2-40B4-BE49-F238E27FC236}">
                  <a16:creationId xmlns:a16="http://schemas.microsoft.com/office/drawing/2014/main" id="{9A8BFA34-9B33-449D-90E8-5EC0D0F9A644}"/>
                </a:ext>
              </a:extLst>
            </p:cNvPr>
            <p:cNvSpPr>
              <a:spLocks/>
            </p:cNvSpPr>
            <p:nvPr/>
          </p:nvSpPr>
          <p:spPr bwMode="auto">
            <a:xfrm>
              <a:off x="4479926" y="3506788"/>
              <a:ext cx="14288" cy="38100"/>
            </a:xfrm>
            <a:custGeom>
              <a:avLst/>
              <a:gdLst>
                <a:gd name="T0" fmla="*/ 2 w 4"/>
                <a:gd name="T1" fmla="*/ 10 h 10"/>
                <a:gd name="T2" fmla="*/ 0 w 4"/>
                <a:gd name="T3" fmla="*/ 8 h 10"/>
                <a:gd name="T4" fmla="*/ 0 w 4"/>
                <a:gd name="T5" fmla="*/ 2 h 10"/>
                <a:gd name="T6" fmla="*/ 2 w 4"/>
                <a:gd name="T7" fmla="*/ 0 h 10"/>
                <a:gd name="T8" fmla="*/ 4 w 4"/>
                <a:gd name="T9" fmla="*/ 2 h 10"/>
                <a:gd name="T10" fmla="*/ 4 w 4"/>
                <a:gd name="T11" fmla="*/ 8 h 10"/>
                <a:gd name="T12" fmla="*/ 2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10"/>
                  </a:moveTo>
                  <a:cubicBezTo>
                    <a:pt x="1" y="10"/>
                    <a:pt x="0" y="9"/>
                    <a:pt x="0" y="8"/>
                  </a:cubicBezTo>
                  <a:cubicBezTo>
                    <a:pt x="0" y="2"/>
                    <a:pt x="0" y="2"/>
                    <a:pt x="0" y="2"/>
                  </a:cubicBezTo>
                  <a:cubicBezTo>
                    <a:pt x="0" y="1"/>
                    <a:pt x="1" y="0"/>
                    <a:pt x="2" y="0"/>
                  </a:cubicBezTo>
                  <a:cubicBezTo>
                    <a:pt x="3" y="0"/>
                    <a:pt x="4" y="1"/>
                    <a:pt x="4" y="2"/>
                  </a:cubicBezTo>
                  <a:cubicBezTo>
                    <a:pt x="4" y="8"/>
                    <a:pt x="4" y="8"/>
                    <a:pt x="4" y="8"/>
                  </a:cubicBezTo>
                  <a:cubicBezTo>
                    <a:pt x="4"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0" name="Freeform 38">
              <a:extLst>
                <a:ext uri="{FF2B5EF4-FFF2-40B4-BE49-F238E27FC236}">
                  <a16:creationId xmlns:a16="http://schemas.microsoft.com/office/drawing/2014/main" id="{04DED636-FAF7-4E16-9FCE-E34315813D62}"/>
                </a:ext>
              </a:extLst>
            </p:cNvPr>
            <p:cNvSpPr>
              <a:spLocks/>
            </p:cNvSpPr>
            <p:nvPr/>
          </p:nvSpPr>
          <p:spPr bwMode="auto">
            <a:xfrm>
              <a:off x="4649788" y="3506788"/>
              <a:ext cx="15875" cy="38100"/>
            </a:xfrm>
            <a:custGeom>
              <a:avLst/>
              <a:gdLst>
                <a:gd name="T0" fmla="*/ 2 w 4"/>
                <a:gd name="T1" fmla="*/ 10 h 10"/>
                <a:gd name="T2" fmla="*/ 0 w 4"/>
                <a:gd name="T3" fmla="*/ 8 h 10"/>
                <a:gd name="T4" fmla="*/ 0 w 4"/>
                <a:gd name="T5" fmla="*/ 2 h 10"/>
                <a:gd name="T6" fmla="*/ 2 w 4"/>
                <a:gd name="T7" fmla="*/ 0 h 10"/>
                <a:gd name="T8" fmla="*/ 4 w 4"/>
                <a:gd name="T9" fmla="*/ 2 h 10"/>
                <a:gd name="T10" fmla="*/ 4 w 4"/>
                <a:gd name="T11" fmla="*/ 8 h 10"/>
                <a:gd name="T12" fmla="*/ 2 w 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10"/>
                  </a:moveTo>
                  <a:cubicBezTo>
                    <a:pt x="1" y="10"/>
                    <a:pt x="0" y="9"/>
                    <a:pt x="0" y="8"/>
                  </a:cubicBezTo>
                  <a:cubicBezTo>
                    <a:pt x="0" y="2"/>
                    <a:pt x="0" y="2"/>
                    <a:pt x="0" y="2"/>
                  </a:cubicBezTo>
                  <a:cubicBezTo>
                    <a:pt x="0" y="1"/>
                    <a:pt x="1" y="0"/>
                    <a:pt x="2" y="0"/>
                  </a:cubicBezTo>
                  <a:cubicBezTo>
                    <a:pt x="3" y="0"/>
                    <a:pt x="4" y="1"/>
                    <a:pt x="4" y="2"/>
                  </a:cubicBezTo>
                  <a:cubicBezTo>
                    <a:pt x="4" y="8"/>
                    <a:pt x="4" y="8"/>
                    <a:pt x="4" y="8"/>
                  </a:cubicBezTo>
                  <a:cubicBezTo>
                    <a:pt x="4" y="9"/>
                    <a:pt x="3"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1" name="Freeform 39">
              <a:extLst>
                <a:ext uri="{FF2B5EF4-FFF2-40B4-BE49-F238E27FC236}">
                  <a16:creationId xmlns:a16="http://schemas.microsoft.com/office/drawing/2014/main" id="{DE8036DA-D931-44A7-AD52-E78CD63EDBBE}"/>
                </a:ext>
              </a:extLst>
            </p:cNvPr>
            <p:cNvSpPr>
              <a:spLocks/>
            </p:cNvSpPr>
            <p:nvPr/>
          </p:nvSpPr>
          <p:spPr bwMode="auto">
            <a:xfrm>
              <a:off x="4510088" y="3436938"/>
              <a:ext cx="15875" cy="53975"/>
            </a:xfrm>
            <a:custGeom>
              <a:avLst/>
              <a:gdLst>
                <a:gd name="T0" fmla="*/ 2 w 4"/>
                <a:gd name="T1" fmla="*/ 14 h 14"/>
                <a:gd name="T2" fmla="*/ 0 w 4"/>
                <a:gd name="T3" fmla="*/ 12 h 14"/>
                <a:gd name="T4" fmla="*/ 0 w 4"/>
                <a:gd name="T5" fmla="*/ 2 h 14"/>
                <a:gd name="T6" fmla="*/ 2 w 4"/>
                <a:gd name="T7" fmla="*/ 0 h 14"/>
                <a:gd name="T8" fmla="*/ 4 w 4"/>
                <a:gd name="T9" fmla="*/ 2 h 14"/>
                <a:gd name="T10" fmla="*/ 4 w 4"/>
                <a:gd name="T11" fmla="*/ 12 h 14"/>
                <a:gd name="T12" fmla="*/ 2 w 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2" y="14"/>
                  </a:moveTo>
                  <a:cubicBezTo>
                    <a:pt x="1" y="14"/>
                    <a:pt x="0" y="13"/>
                    <a:pt x="0" y="12"/>
                  </a:cubicBezTo>
                  <a:cubicBezTo>
                    <a:pt x="0" y="2"/>
                    <a:pt x="0" y="2"/>
                    <a:pt x="0" y="2"/>
                  </a:cubicBezTo>
                  <a:cubicBezTo>
                    <a:pt x="0" y="1"/>
                    <a:pt x="1" y="0"/>
                    <a:pt x="2" y="0"/>
                  </a:cubicBezTo>
                  <a:cubicBezTo>
                    <a:pt x="3" y="0"/>
                    <a:pt x="4" y="1"/>
                    <a:pt x="4" y="2"/>
                  </a:cubicBezTo>
                  <a:cubicBezTo>
                    <a:pt x="4" y="12"/>
                    <a:pt x="4" y="12"/>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2" name="Freeform 40">
              <a:extLst>
                <a:ext uri="{FF2B5EF4-FFF2-40B4-BE49-F238E27FC236}">
                  <a16:creationId xmlns:a16="http://schemas.microsoft.com/office/drawing/2014/main" id="{8EDD3685-699A-4FED-84F4-A38F27D4213E}"/>
                </a:ext>
              </a:extLst>
            </p:cNvPr>
            <p:cNvSpPr>
              <a:spLocks/>
            </p:cNvSpPr>
            <p:nvPr/>
          </p:nvSpPr>
          <p:spPr bwMode="auto">
            <a:xfrm>
              <a:off x="4618038" y="3436938"/>
              <a:ext cx="15875" cy="53975"/>
            </a:xfrm>
            <a:custGeom>
              <a:avLst/>
              <a:gdLst>
                <a:gd name="T0" fmla="*/ 2 w 4"/>
                <a:gd name="T1" fmla="*/ 14 h 14"/>
                <a:gd name="T2" fmla="*/ 0 w 4"/>
                <a:gd name="T3" fmla="*/ 12 h 14"/>
                <a:gd name="T4" fmla="*/ 0 w 4"/>
                <a:gd name="T5" fmla="*/ 2 h 14"/>
                <a:gd name="T6" fmla="*/ 2 w 4"/>
                <a:gd name="T7" fmla="*/ 0 h 14"/>
                <a:gd name="T8" fmla="*/ 4 w 4"/>
                <a:gd name="T9" fmla="*/ 2 h 14"/>
                <a:gd name="T10" fmla="*/ 4 w 4"/>
                <a:gd name="T11" fmla="*/ 12 h 14"/>
                <a:gd name="T12" fmla="*/ 2 w 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2" y="14"/>
                  </a:moveTo>
                  <a:cubicBezTo>
                    <a:pt x="1" y="14"/>
                    <a:pt x="0" y="13"/>
                    <a:pt x="0" y="12"/>
                  </a:cubicBezTo>
                  <a:cubicBezTo>
                    <a:pt x="0" y="2"/>
                    <a:pt x="0" y="2"/>
                    <a:pt x="0" y="2"/>
                  </a:cubicBezTo>
                  <a:cubicBezTo>
                    <a:pt x="0" y="1"/>
                    <a:pt x="1" y="0"/>
                    <a:pt x="2" y="0"/>
                  </a:cubicBezTo>
                  <a:cubicBezTo>
                    <a:pt x="3" y="0"/>
                    <a:pt x="4" y="1"/>
                    <a:pt x="4" y="2"/>
                  </a:cubicBezTo>
                  <a:cubicBezTo>
                    <a:pt x="4" y="12"/>
                    <a:pt x="4" y="12"/>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3" name="Freeform 41">
              <a:extLst>
                <a:ext uri="{FF2B5EF4-FFF2-40B4-BE49-F238E27FC236}">
                  <a16:creationId xmlns:a16="http://schemas.microsoft.com/office/drawing/2014/main" id="{BAD5E712-0D0A-4CAA-ABA8-5E96B8428B6E}"/>
                </a:ext>
              </a:extLst>
            </p:cNvPr>
            <p:cNvSpPr>
              <a:spLocks/>
            </p:cNvSpPr>
            <p:nvPr/>
          </p:nvSpPr>
          <p:spPr bwMode="auto">
            <a:xfrm>
              <a:off x="4479926" y="3568701"/>
              <a:ext cx="14288"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4" name="Freeform 42">
              <a:extLst>
                <a:ext uri="{FF2B5EF4-FFF2-40B4-BE49-F238E27FC236}">
                  <a16:creationId xmlns:a16="http://schemas.microsoft.com/office/drawing/2014/main" id="{3B936B45-4CD6-4037-8084-537018C8999F}"/>
                </a:ext>
              </a:extLst>
            </p:cNvPr>
            <p:cNvSpPr>
              <a:spLocks/>
            </p:cNvSpPr>
            <p:nvPr/>
          </p:nvSpPr>
          <p:spPr bwMode="auto">
            <a:xfrm>
              <a:off x="4649788" y="3568701"/>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5" name="Freeform 43">
              <a:extLst>
                <a:ext uri="{FF2B5EF4-FFF2-40B4-BE49-F238E27FC236}">
                  <a16:creationId xmlns:a16="http://schemas.microsoft.com/office/drawing/2014/main" id="{37B6651C-1520-4028-873C-9C998B964CE9}"/>
                </a:ext>
              </a:extLst>
            </p:cNvPr>
            <p:cNvSpPr>
              <a:spLocks/>
            </p:cNvSpPr>
            <p:nvPr/>
          </p:nvSpPr>
          <p:spPr bwMode="auto">
            <a:xfrm>
              <a:off x="4448176"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6" name="Freeform 44">
              <a:extLst>
                <a:ext uri="{FF2B5EF4-FFF2-40B4-BE49-F238E27FC236}">
                  <a16:creationId xmlns:a16="http://schemas.microsoft.com/office/drawing/2014/main" id="{774B8AA4-EC52-4645-A114-FD10653C9EA4}"/>
                </a:ext>
              </a:extLst>
            </p:cNvPr>
            <p:cNvSpPr>
              <a:spLocks/>
            </p:cNvSpPr>
            <p:nvPr/>
          </p:nvSpPr>
          <p:spPr bwMode="auto">
            <a:xfrm>
              <a:off x="4510088"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7" name="Freeform 45">
              <a:extLst>
                <a:ext uri="{FF2B5EF4-FFF2-40B4-BE49-F238E27FC236}">
                  <a16:creationId xmlns:a16="http://schemas.microsoft.com/office/drawing/2014/main" id="{2C9CA8D3-2004-4795-BE00-3E15DFE5D9D9}"/>
                </a:ext>
              </a:extLst>
            </p:cNvPr>
            <p:cNvSpPr>
              <a:spLocks/>
            </p:cNvSpPr>
            <p:nvPr/>
          </p:nvSpPr>
          <p:spPr bwMode="auto">
            <a:xfrm>
              <a:off x="4618038" y="3568701"/>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48" name="Freeform 46">
              <a:extLst>
                <a:ext uri="{FF2B5EF4-FFF2-40B4-BE49-F238E27FC236}">
                  <a16:creationId xmlns:a16="http://schemas.microsoft.com/office/drawing/2014/main" id="{3560F2D4-3264-455C-B728-A0E47B15F9D6}"/>
                </a:ext>
              </a:extLst>
            </p:cNvPr>
            <p:cNvSpPr>
              <a:spLocks/>
            </p:cNvSpPr>
            <p:nvPr/>
          </p:nvSpPr>
          <p:spPr bwMode="auto">
            <a:xfrm>
              <a:off x="4679951" y="3563938"/>
              <a:ext cx="15875" cy="34925"/>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15" name="Group 42">
            <a:extLst>
              <a:ext uri="{FF2B5EF4-FFF2-40B4-BE49-F238E27FC236}">
                <a16:creationId xmlns:a16="http://schemas.microsoft.com/office/drawing/2014/main" id="{0B898C6E-0489-4F02-96DF-3801349EF3C9}"/>
              </a:ext>
            </a:extLst>
          </p:cNvPr>
          <p:cNvGrpSpPr>
            <a:grpSpLocks noChangeAspect="1"/>
          </p:cNvGrpSpPr>
          <p:nvPr/>
        </p:nvGrpSpPr>
        <p:grpSpPr>
          <a:xfrm>
            <a:off x="4044453" y="4879041"/>
            <a:ext cx="285619" cy="285619"/>
            <a:chOff x="4386263" y="2338388"/>
            <a:chExt cx="371475" cy="371475"/>
          </a:xfrm>
          <a:solidFill>
            <a:schemeClr val="bg1"/>
          </a:solidFill>
          <a:effectLst/>
        </p:grpSpPr>
        <p:sp>
          <p:nvSpPr>
            <p:cNvPr id="1916" name="Freeform 5">
              <a:extLst>
                <a:ext uri="{FF2B5EF4-FFF2-40B4-BE49-F238E27FC236}">
                  <a16:creationId xmlns:a16="http://schemas.microsoft.com/office/drawing/2014/main" id="{A405043A-2C90-4094-9623-B49F09D7AFD1}"/>
                </a:ext>
              </a:extLst>
            </p:cNvPr>
            <p:cNvSpPr>
              <a:spLocks noEditPoints="1"/>
            </p:cNvSpPr>
            <p:nvPr/>
          </p:nvSpPr>
          <p:spPr bwMode="auto">
            <a:xfrm>
              <a:off x="4386263" y="2338388"/>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7" name="Freeform 6">
              <a:extLst>
                <a:ext uri="{FF2B5EF4-FFF2-40B4-BE49-F238E27FC236}">
                  <a16:creationId xmlns:a16="http://schemas.microsoft.com/office/drawing/2014/main" id="{80467DE6-B43D-41B9-BA69-EAF1907C27DE}"/>
                </a:ext>
              </a:extLst>
            </p:cNvPr>
            <p:cNvSpPr>
              <a:spLocks/>
            </p:cNvSpPr>
            <p:nvPr/>
          </p:nvSpPr>
          <p:spPr bwMode="auto">
            <a:xfrm>
              <a:off x="4510088" y="2354263"/>
              <a:ext cx="23813" cy="38100"/>
            </a:xfrm>
            <a:custGeom>
              <a:avLst/>
              <a:gdLst>
                <a:gd name="T0" fmla="*/ 2 w 6"/>
                <a:gd name="T1" fmla="*/ 10 h 10"/>
                <a:gd name="T2" fmla="*/ 0 w 6"/>
                <a:gd name="T3" fmla="*/ 0 h 10"/>
                <a:gd name="T4" fmla="*/ 4 w 6"/>
                <a:gd name="T5" fmla="*/ 0 h 10"/>
                <a:gd name="T6" fmla="*/ 6 w 6"/>
                <a:gd name="T7" fmla="*/ 8 h 10"/>
                <a:gd name="T8" fmla="*/ 2 w 6"/>
                <a:gd name="T9" fmla="*/ 10 h 10"/>
              </a:gdLst>
              <a:ahLst/>
              <a:cxnLst>
                <a:cxn ang="0">
                  <a:pos x="T0" y="T1"/>
                </a:cxn>
                <a:cxn ang="0">
                  <a:pos x="T2" y="T3"/>
                </a:cxn>
                <a:cxn ang="0">
                  <a:pos x="T4" y="T5"/>
                </a:cxn>
                <a:cxn ang="0">
                  <a:pos x="T6" y="T7"/>
                </a:cxn>
                <a:cxn ang="0">
                  <a:pos x="T8" y="T9"/>
                </a:cxn>
              </a:cxnLst>
              <a:rect l="0" t="0" r="r" b="b"/>
              <a:pathLst>
                <a:path w="6" h="10">
                  <a:moveTo>
                    <a:pt x="2" y="10"/>
                  </a:moveTo>
                  <a:cubicBezTo>
                    <a:pt x="1" y="7"/>
                    <a:pt x="0" y="3"/>
                    <a:pt x="0" y="0"/>
                  </a:cubicBezTo>
                  <a:cubicBezTo>
                    <a:pt x="4" y="0"/>
                    <a:pt x="4" y="0"/>
                    <a:pt x="4" y="0"/>
                  </a:cubicBezTo>
                  <a:cubicBezTo>
                    <a:pt x="4" y="3"/>
                    <a:pt x="5" y="6"/>
                    <a:pt x="6" y="8"/>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8" name="Freeform 7">
              <a:extLst>
                <a:ext uri="{FF2B5EF4-FFF2-40B4-BE49-F238E27FC236}">
                  <a16:creationId xmlns:a16="http://schemas.microsoft.com/office/drawing/2014/main" id="{7E7BB8F8-58A8-4DB1-9A4E-F59C915C3323}"/>
                </a:ext>
              </a:extLst>
            </p:cNvPr>
            <p:cNvSpPr>
              <a:spLocks/>
            </p:cNvSpPr>
            <p:nvPr/>
          </p:nvSpPr>
          <p:spPr bwMode="auto">
            <a:xfrm>
              <a:off x="4545013" y="2438401"/>
              <a:ext cx="115888" cy="85725"/>
            </a:xfrm>
            <a:custGeom>
              <a:avLst/>
              <a:gdLst>
                <a:gd name="T0" fmla="*/ 29 w 30"/>
                <a:gd name="T1" fmla="*/ 22 h 22"/>
                <a:gd name="T2" fmla="*/ 0 w 30"/>
                <a:gd name="T3" fmla="*/ 3 h 22"/>
                <a:gd name="T4" fmla="*/ 3 w 30"/>
                <a:gd name="T5" fmla="*/ 0 h 22"/>
                <a:gd name="T6" fmla="*/ 30 w 30"/>
                <a:gd name="T7" fmla="*/ 18 h 22"/>
                <a:gd name="T8" fmla="*/ 29 w 30"/>
                <a:gd name="T9" fmla="*/ 22 h 22"/>
              </a:gdLst>
              <a:ahLst/>
              <a:cxnLst>
                <a:cxn ang="0">
                  <a:pos x="T0" y="T1"/>
                </a:cxn>
                <a:cxn ang="0">
                  <a:pos x="T2" y="T3"/>
                </a:cxn>
                <a:cxn ang="0">
                  <a:pos x="T4" y="T5"/>
                </a:cxn>
                <a:cxn ang="0">
                  <a:pos x="T6" y="T7"/>
                </a:cxn>
                <a:cxn ang="0">
                  <a:pos x="T8" y="T9"/>
                </a:cxn>
              </a:cxnLst>
              <a:rect l="0" t="0" r="r" b="b"/>
              <a:pathLst>
                <a:path w="30" h="22">
                  <a:moveTo>
                    <a:pt x="29" y="22"/>
                  </a:moveTo>
                  <a:cubicBezTo>
                    <a:pt x="18" y="19"/>
                    <a:pt x="7" y="12"/>
                    <a:pt x="0" y="3"/>
                  </a:cubicBezTo>
                  <a:cubicBezTo>
                    <a:pt x="3" y="0"/>
                    <a:pt x="3" y="0"/>
                    <a:pt x="3" y="0"/>
                  </a:cubicBezTo>
                  <a:cubicBezTo>
                    <a:pt x="10" y="9"/>
                    <a:pt x="20" y="16"/>
                    <a:pt x="30" y="18"/>
                  </a:cubicBezTo>
                  <a:lnTo>
                    <a:pt x="29"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9" name="Freeform 8">
              <a:extLst>
                <a:ext uri="{FF2B5EF4-FFF2-40B4-BE49-F238E27FC236}">
                  <a16:creationId xmlns:a16="http://schemas.microsoft.com/office/drawing/2014/main" id="{E7BC70DC-F9DB-4919-A39E-982854ADE7E4}"/>
                </a:ext>
              </a:extLst>
            </p:cNvPr>
            <p:cNvSpPr>
              <a:spLocks/>
            </p:cNvSpPr>
            <p:nvPr/>
          </p:nvSpPr>
          <p:spPr bwMode="auto">
            <a:xfrm>
              <a:off x="4722813" y="2500313"/>
              <a:ext cx="26988" cy="23813"/>
            </a:xfrm>
            <a:custGeom>
              <a:avLst/>
              <a:gdLst>
                <a:gd name="T0" fmla="*/ 0 w 7"/>
                <a:gd name="T1" fmla="*/ 6 h 6"/>
                <a:gd name="T2" fmla="*/ 0 w 7"/>
                <a:gd name="T3" fmla="*/ 2 h 6"/>
                <a:gd name="T4" fmla="*/ 4 w 7"/>
                <a:gd name="T5" fmla="*/ 0 h 6"/>
                <a:gd name="T6" fmla="*/ 6 w 7"/>
                <a:gd name="T7" fmla="*/ 0 h 6"/>
                <a:gd name="T8" fmla="*/ 7 w 7"/>
                <a:gd name="T9" fmla="*/ 4 h 6"/>
                <a:gd name="T10" fmla="*/ 6 w 7"/>
                <a:gd name="T11" fmla="*/ 4 h 6"/>
                <a:gd name="T12" fmla="*/ 0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6"/>
                  </a:moveTo>
                  <a:cubicBezTo>
                    <a:pt x="0" y="2"/>
                    <a:pt x="0" y="2"/>
                    <a:pt x="0" y="2"/>
                  </a:cubicBezTo>
                  <a:cubicBezTo>
                    <a:pt x="1" y="2"/>
                    <a:pt x="3" y="1"/>
                    <a:pt x="4" y="0"/>
                  </a:cubicBezTo>
                  <a:cubicBezTo>
                    <a:pt x="6" y="0"/>
                    <a:pt x="6" y="0"/>
                    <a:pt x="6" y="0"/>
                  </a:cubicBezTo>
                  <a:cubicBezTo>
                    <a:pt x="7" y="4"/>
                    <a:pt x="7" y="4"/>
                    <a:pt x="7" y="4"/>
                  </a:cubicBezTo>
                  <a:cubicBezTo>
                    <a:pt x="6" y="4"/>
                    <a:pt x="6" y="4"/>
                    <a:pt x="6" y="4"/>
                  </a:cubicBezTo>
                  <a:cubicBezTo>
                    <a:pt x="4" y="5"/>
                    <a:pt x="2" y="5"/>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0" name="Freeform 9">
              <a:extLst>
                <a:ext uri="{FF2B5EF4-FFF2-40B4-BE49-F238E27FC236}">
                  <a16:creationId xmlns:a16="http://schemas.microsoft.com/office/drawing/2014/main" id="{732FD199-F1FE-465B-B33A-1A23802DA8AA}"/>
                </a:ext>
              </a:extLst>
            </p:cNvPr>
            <p:cNvSpPr>
              <a:spLocks/>
            </p:cNvSpPr>
            <p:nvPr/>
          </p:nvSpPr>
          <p:spPr bwMode="auto">
            <a:xfrm>
              <a:off x="4525963" y="2613026"/>
              <a:ext cx="104775" cy="88900"/>
            </a:xfrm>
            <a:custGeom>
              <a:avLst/>
              <a:gdLst>
                <a:gd name="T0" fmla="*/ 2 w 27"/>
                <a:gd name="T1" fmla="*/ 23 h 23"/>
                <a:gd name="T2" fmla="*/ 0 w 27"/>
                <a:gd name="T3" fmla="*/ 20 h 23"/>
                <a:gd name="T4" fmla="*/ 24 w 27"/>
                <a:gd name="T5" fmla="*/ 0 h 23"/>
                <a:gd name="T6" fmla="*/ 27 w 27"/>
                <a:gd name="T7" fmla="*/ 3 h 23"/>
                <a:gd name="T8" fmla="*/ 2 w 27"/>
                <a:gd name="T9" fmla="*/ 23 h 23"/>
              </a:gdLst>
              <a:ahLst/>
              <a:cxnLst>
                <a:cxn ang="0">
                  <a:pos x="T0" y="T1"/>
                </a:cxn>
                <a:cxn ang="0">
                  <a:pos x="T2" y="T3"/>
                </a:cxn>
                <a:cxn ang="0">
                  <a:pos x="T4" y="T5"/>
                </a:cxn>
                <a:cxn ang="0">
                  <a:pos x="T6" y="T7"/>
                </a:cxn>
                <a:cxn ang="0">
                  <a:pos x="T8" y="T9"/>
                </a:cxn>
              </a:cxnLst>
              <a:rect l="0" t="0" r="r" b="b"/>
              <a:pathLst>
                <a:path w="27" h="23">
                  <a:moveTo>
                    <a:pt x="2" y="23"/>
                  </a:moveTo>
                  <a:cubicBezTo>
                    <a:pt x="0" y="20"/>
                    <a:pt x="0" y="20"/>
                    <a:pt x="0" y="20"/>
                  </a:cubicBezTo>
                  <a:cubicBezTo>
                    <a:pt x="9" y="15"/>
                    <a:pt x="17" y="8"/>
                    <a:pt x="24" y="0"/>
                  </a:cubicBezTo>
                  <a:cubicBezTo>
                    <a:pt x="27" y="3"/>
                    <a:pt x="27" y="3"/>
                    <a:pt x="27" y="3"/>
                  </a:cubicBezTo>
                  <a:cubicBezTo>
                    <a:pt x="20" y="11"/>
                    <a:pt x="12" y="18"/>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1" name="Freeform 10">
              <a:extLst>
                <a:ext uri="{FF2B5EF4-FFF2-40B4-BE49-F238E27FC236}">
                  <a16:creationId xmlns:a16="http://schemas.microsoft.com/office/drawing/2014/main" id="{F46710AC-AD16-4AE0-9D27-00A71E601D2F}"/>
                </a:ext>
              </a:extLst>
            </p:cNvPr>
            <p:cNvSpPr>
              <a:spLocks/>
            </p:cNvSpPr>
            <p:nvPr/>
          </p:nvSpPr>
          <p:spPr bwMode="auto">
            <a:xfrm>
              <a:off x="4649788" y="2540001"/>
              <a:ext cx="34925" cy="46038"/>
            </a:xfrm>
            <a:custGeom>
              <a:avLst/>
              <a:gdLst>
                <a:gd name="T0" fmla="*/ 3 w 9"/>
                <a:gd name="T1" fmla="*/ 12 h 12"/>
                <a:gd name="T2" fmla="*/ 0 w 9"/>
                <a:gd name="T3" fmla="*/ 10 h 12"/>
                <a:gd name="T4" fmla="*/ 5 w 9"/>
                <a:gd name="T5" fmla="*/ 0 h 12"/>
                <a:gd name="T6" fmla="*/ 9 w 9"/>
                <a:gd name="T7" fmla="*/ 2 h 12"/>
                <a:gd name="T8" fmla="*/ 3 w 9"/>
                <a:gd name="T9" fmla="*/ 12 h 12"/>
              </a:gdLst>
              <a:ahLst/>
              <a:cxnLst>
                <a:cxn ang="0">
                  <a:pos x="T0" y="T1"/>
                </a:cxn>
                <a:cxn ang="0">
                  <a:pos x="T2" y="T3"/>
                </a:cxn>
                <a:cxn ang="0">
                  <a:pos x="T4" y="T5"/>
                </a:cxn>
                <a:cxn ang="0">
                  <a:pos x="T6" y="T7"/>
                </a:cxn>
                <a:cxn ang="0">
                  <a:pos x="T8" y="T9"/>
                </a:cxn>
              </a:cxnLst>
              <a:rect l="0" t="0" r="r" b="b"/>
              <a:pathLst>
                <a:path w="9" h="12">
                  <a:moveTo>
                    <a:pt x="3" y="12"/>
                  </a:moveTo>
                  <a:cubicBezTo>
                    <a:pt x="0" y="10"/>
                    <a:pt x="0" y="10"/>
                    <a:pt x="0" y="10"/>
                  </a:cubicBezTo>
                  <a:cubicBezTo>
                    <a:pt x="2" y="7"/>
                    <a:pt x="4" y="3"/>
                    <a:pt x="5" y="0"/>
                  </a:cubicBezTo>
                  <a:cubicBezTo>
                    <a:pt x="9" y="2"/>
                    <a:pt x="9" y="2"/>
                    <a:pt x="9" y="2"/>
                  </a:cubicBezTo>
                  <a:cubicBezTo>
                    <a:pt x="7" y="5"/>
                    <a:pt x="5" y="9"/>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2" name="Freeform 11">
              <a:extLst>
                <a:ext uri="{FF2B5EF4-FFF2-40B4-BE49-F238E27FC236}">
                  <a16:creationId xmlns:a16="http://schemas.microsoft.com/office/drawing/2014/main" id="{4A425C6A-D559-45B5-B81D-197B0790702E}"/>
                </a:ext>
              </a:extLst>
            </p:cNvPr>
            <p:cNvSpPr>
              <a:spLocks/>
            </p:cNvSpPr>
            <p:nvPr/>
          </p:nvSpPr>
          <p:spPr bwMode="auto">
            <a:xfrm>
              <a:off x="4695826" y="2419351"/>
              <a:ext cx="26988" cy="69850"/>
            </a:xfrm>
            <a:custGeom>
              <a:avLst/>
              <a:gdLst>
                <a:gd name="T0" fmla="*/ 3 w 7"/>
                <a:gd name="T1" fmla="*/ 18 h 18"/>
                <a:gd name="T2" fmla="*/ 0 w 7"/>
                <a:gd name="T3" fmla="*/ 17 h 18"/>
                <a:gd name="T4" fmla="*/ 3 w 7"/>
                <a:gd name="T5" fmla="*/ 0 h 18"/>
                <a:gd name="T6" fmla="*/ 7 w 7"/>
                <a:gd name="T7" fmla="*/ 0 h 18"/>
                <a:gd name="T8" fmla="*/ 3 w 7"/>
                <a:gd name="T9" fmla="*/ 18 h 18"/>
              </a:gdLst>
              <a:ahLst/>
              <a:cxnLst>
                <a:cxn ang="0">
                  <a:pos x="T0" y="T1"/>
                </a:cxn>
                <a:cxn ang="0">
                  <a:pos x="T2" y="T3"/>
                </a:cxn>
                <a:cxn ang="0">
                  <a:pos x="T4" y="T5"/>
                </a:cxn>
                <a:cxn ang="0">
                  <a:pos x="T6" y="T7"/>
                </a:cxn>
                <a:cxn ang="0">
                  <a:pos x="T8" y="T9"/>
                </a:cxn>
              </a:cxnLst>
              <a:rect l="0" t="0" r="r" b="b"/>
              <a:pathLst>
                <a:path w="7" h="18">
                  <a:moveTo>
                    <a:pt x="3" y="18"/>
                  </a:moveTo>
                  <a:cubicBezTo>
                    <a:pt x="0" y="17"/>
                    <a:pt x="0" y="17"/>
                    <a:pt x="0" y="17"/>
                  </a:cubicBezTo>
                  <a:cubicBezTo>
                    <a:pt x="1" y="11"/>
                    <a:pt x="2" y="6"/>
                    <a:pt x="3" y="0"/>
                  </a:cubicBezTo>
                  <a:cubicBezTo>
                    <a:pt x="7" y="0"/>
                    <a:pt x="7" y="0"/>
                    <a:pt x="7" y="0"/>
                  </a:cubicBezTo>
                  <a:cubicBezTo>
                    <a:pt x="6" y="6"/>
                    <a:pt x="5" y="12"/>
                    <a:pt x="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3" name="Freeform 12">
              <a:extLst>
                <a:ext uri="{FF2B5EF4-FFF2-40B4-BE49-F238E27FC236}">
                  <a16:creationId xmlns:a16="http://schemas.microsoft.com/office/drawing/2014/main" id="{F11ECB90-58F5-4A92-AD48-06C418D7AF99}"/>
                </a:ext>
              </a:extLst>
            </p:cNvPr>
            <p:cNvSpPr>
              <a:spLocks/>
            </p:cNvSpPr>
            <p:nvPr/>
          </p:nvSpPr>
          <p:spPr bwMode="auto">
            <a:xfrm>
              <a:off x="4402138" y="2578101"/>
              <a:ext cx="46038" cy="23813"/>
            </a:xfrm>
            <a:custGeom>
              <a:avLst/>
              <a:gdLst>
                <a:gd name="T0" fmla="*/ 11 w 12"/>
                <a:gd name="T1" fmla="*/ 6 h 6"/>
                <a:gd name="T2" fmla="*/ 8 w 12"/>
                <a:gd name="T3" fmla="*/ 6 h 6"/>
                <a:gd name="T4" fmla="*/ 0 w 12"/>
                <a:gd name="T5" fmla="*/ 4 h 6"/>
                <a:gd name="T6" fmla="*/ 1 w 12"/>
                <a:gd name="T7" fmla="*/ 0 h 6"/>
                <a:gd name="T8" fmla="*/ 9 w 12"/>
                <a:gd name="T9" fmla="*/ 2 h 6"/>
                <a:gd name="T10" fmla="*/ 12 w 12"/>
                <a:gd name="T11" fmla="*/ 2 h 6"/>
                <a:gd name="T12" fmla="*/ 11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1" y="6"/>
                  </a:moveTo>
                  <a:cubicBezTo>
                    <a:pt x="8" y="6"/>
                    <a:pt x="8" y="6"/>
                    <a:pt x="8" y="6"/>
                  </a:cubicBezTo>
                  <a:cubicBezTo>
                    <a:pt x="6" y="5"/>
                    <a:pt x="3" y="4"/>
                    <a:pt x="0" y="4"/>
                  </a:cubicBezTo>
                  <a:cubicBezTo>
                    <a:pt x="1" y="0"/>
                    <a:pt x="1" y="0"/>
                    <a:pt x="1" y="0"/>
                  </a:cubicBezTo>
                  <a:cubicBezTo>
                    <a:pt x="4" y="1"/>
                    <a:pt x="7" y="1"/>
                    <a:pt x="9" y="2"/>
                  </a:cubicBezTo>
                  <a:cubicBezTo>
                    <a:pt x="12" y="2"/>
                    <a:pt x="12" y="2"/>
                    <a:pt x="12" y="2"/>
                  </a:cubicBezTo>
                  <a:lnTo>
                    <a:pt x="1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4" name="Freeform 13">
              <a:extLst>
                <a:ext uri="{FF2B5EF4-FFF2-40B4-BE49-F238E27FC236}">
                  <a16:creationId xmlns:a16="http://schemas.microsoft.com/office/drawing/2014/main" id="{68321C8E-9BA2-41BE-9DC2-860FAE880A84}"/>
                </a:ext>
              </a:extLst>
            </p:cNvPr>
            <p:cNvSpPr>
              <a:spLocks/>
            </p:cNvSpPr>
            <p:nvPr/>
          </p:nvSpPr>
          <p:spPr bwMode="auto">
            <a:xfrm>
              <a:off x="4471988" y="2593976"/>
              <a:ext cx="76200" cy="23813"/>
            </a:xfrm>
            <a:custGeom>
              <a:avLst/>
              <a:gdLst>
                <a:gd name="T0" fmla="*/ 20 w 20"/>
                <a:gd name="T1" fmla="*/ 6 h 6"/>
                <a:gd name="T2" fmla="*/ 0 w 20"/>
                <a:gd name="T3" fmla="*/ 4 h 6"/>
                <a:gd name="T4" fmla="*/ 1 w 20"/>
                <a:gd name="T5" fmla="*/ 0 h 6"/>
                <a:gd name="T6" fmla="*/ 20 w 20"/>
                <a:gd name="T7" fmla="*/ 2 h 6"/>
                <a:gd name="T8" fmla="*/ 20 w 20"/>
                <a:gd name="T9" fmla="*/ 6 h 6"/>
              </a:gdLst>
              <a:ahLst/>
              <a:cxnLst>
                <a:cxn ang="0">
                  <a:pos x="T0" y="T1"/>
                </a:cxn>
                <a:cxn ang="0">
                  <a:pos x="T2" y="T3"/>
                </a:cxn>
                <a:cxn ang="0">
                  <a:pos x="T4" y="T5"/>
                </a:cxn>
                <a:cxn ang="0">
                  <a:pos x="T6" y="T7"/>
                </a:cxn>
                <a:cxn ang="0">
                  <a:pos x="T8" y="T9"/>
                </a:cxn>
              </a:cxnLst>
              <a:rect l="0" t="0" r="r" b="b"/>
              <a:pathLst>
                <a:path w="20" h="6">
                  <a:moveTo>
                    <a:pt x="20" y="6"/>
                  </a:moveTo>
                  <a:cubicBezTo>
                    <a:pt x="14" y="6"/>
                    <a:pt x="7" y="5"/>
                    <a:pt x="0" y="4"/>
                  </a:cubicBezTo>
                  <a:cubicBezTo>
                    <a:pt x="1" y="0"/>
                    <a:pt x="1" y="0"/>
                    <a:pt x="1" y="0"/>
                  </a:cubicBezTo>
                  <a:cubicBezTo>
                    <a:pt x="8" y="1"/>
                    <a:pt x="14" y="2"/>
                    <a:pt x="20" y="2"/>
                  </a:cubicBezTo>
                  <a:lnTo>
                    <a:pt x="2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5" name="Freeform 14">
              <a:extLst>
                <a:ext uri="{FF2B5EF4-FFF2-40B4-BE49-F238E27FC236}">
                  <a16:creationId xmlns:a16="http://schemas.microsoft.com/office/drawing/2014/main" id="{74AEE2DA-FEAC-47BF-9FE9-7CB1994408B6}"/>
                </a:ext>
              </a:extLst>
            </p:cNvPr>
            <p:cNvSpPr>
              <a:spLocks/>
            </p:cNvSpPr>
            <p:nvPr/>
          </p:nvSpPr>
          <p:spPr bwMode="auto">
            <a:xfrm>
              <a:off x="4595813" y="2601913"/>
              <a:ext cx="22225" cy="15875"/>
            </a:xfrm>
            <a:custGeom>
              <a:avLst/>
              <a:gdLst>
                <a:gd name="T0" fmla="*/ 4 w 6"/>
                <a:gd name="T1" fmla="*/ 4 h 4"/>
                <a:gd name="T2" fmla="*/ 3 w 6"/>
                <a:gd name="T3" fmla="*/ 4 h 4"/>
                <a:gd name="T4" fmla="*/ 0 w 6"/>
                <a:gd name="T5" fmla="*/ 4 h 4"/>
                <a:gd name="T6" fmla="*/ 0 w 6"/>
                <a:gd name="T7" fmla="*/ 0 h 4"/>
                <a:gd name="T8" fmla="*/ 3 w 6"/>
                <a:gd name="T9" fmla="*/ 0 h 4"/>
                <a:gd name="T10" fmla="*/ 6 w 6"/>
                <a:gd name="T11" fmla="*/ 0 h 4"/>
                <a:gd name="T12" fmla="*/ 6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cubicBezTo>
                    <a:pt x="4" y="4"/>
                    <a:pt x="3" y="4"/>
                    <a:pt x="3" y="4"/>
                  </a:cubicBezTo>
                  <a:cubicBezTo>
                    <a:pt x="2" y="4"/>
                    <a:pt x="1" y="4"/>
                    <a:pt x="0" y="4"/>
                  </a:cubicBezTo>
                  <a:cubicBezTo>
                    <a:pt x="0" y="0"/>
                    <a:pt x="0" y="0"/>
                    <a:pt x="0" y="0"/>
                  </a:cubicBezTo>
                  <a:cubicBezTo>
                    <a:pt x="1" y="0"/>
                    <a:pt x="2" y="0"/>
                    <a:pt x="3" y="0"/>
                  </a:cubicBezTo>
                  <a:cubicBezTo>
                    <a:pt x="4" y="0"/>
                    <a:pt x="5" y="0"/>
                    <a:pt x="6" y="0"/>
                  </a:cubicBezTo>
                  <a:cubicBezTo>
                    <a:pt x="6" y="4"/>
                    <a:pt x="6" y="4"/>
                    <a:pt x="6" y="4"/>
                  </a:cubicBezTo>
                  <a:cubicBezTo>
                    <a:pt x="5" y="4"/>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6" name="Freeform 15">
              <a:extLst>
                <a:ext uri="{FF2B5EF4-FFF2-40B4-BE49-F238E27FC236}">
                  <a16:creationId xmlns:a16="http://schemas.microsoft.com/office/drawing/2014/main" id="{335F9925-EA3E-4517-BA48-B7243C9F005B}"/>
                </a:ext>
              </a:extLst>
            </p:cNvPr>
            <p:cNvSpPr>
              <a:spLocks/>
            </p:cNvSpPr>
            <p:nvPr/>
          </p:nvSpPr>
          <p:spPr bwMode="auto">
            <a:xfrm>
              <a:off x="4660901" y="2582863"/>
              <a:ext cx="77788" cy="26988"/>
            </a:xfrm>
            <a:custGeom>
              <a:avLst/>
              <a:gdLst>
                <a:gd name="T0" fmla="*/ 1 w 20"/>
                <a:gd name="T1" fmla="*/ 7 h 7"/>
                <a:gd name="T2" fmla="*/ 0 w 20"/>
                <a:gd name="T3" fmla="*/ 3 h 7"/>
                <a:gd name="T4" fmla="*/ 2 w 20"/>
                <a:gd name="T5" fmla="*/ 3 h 7"/>
                <a:gd name="T6" fmla="*/ 19 w 20"/>
                <a:gd name="T7" fmla="*/ 0 h 7"/>
                <a:gd name="T8" fmla="*/ 20 w 20"/>
                <a:gd name="T9" fmla="*/ 4 h 7"/>
                <a:gd name="T10" fmla="*/ 3 w 20"/>
                <a:gd name="T11" fmla="*/ 7 h 7"/>
                <a:gd name="T12" fmla="*/ 1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 y="7"/>
                  </a:moveTo>
                  <a:cubicBezTo>
                    <a:pt x="0" y="3"/>
                    <a:pt x="0" y="3"/>
                    <a:pt x="0" y="3"/>
                  </a:cubicBezTo>
                  <a:cubicBezTo>
                    <a:pt x="2" y="3"/>
                    <a:pt x="2" y="3"/>
                    <a:pt x="2" y="3"/>
                  </a:cubicBezTo>
                  <a:cubicBezTo>
                    <a:pt x="8" y="2"/>
                    <a:pt x="14" y="1"/>
                    <a:pt x="19" y="0"/>
                  </a:cubicBezTo>
                  <a:cubicBezTo>
                    <a:pt x="20" y="4"/>
                    <a:pt x="20" y="4"/>
                    <a:pt x="20" y="4"/>
                  </a:cubicBezTo>
                  <a:cubicBezTo>
                    <a:pt x="14" y="5"/>
                    <a:pt x="8" y="6"/>
                    <a:pt x="3" y="7"/>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7" name="Freeform 16">
              <a:extLst>
                <a:ext uri="{FF2B5EF4-FFF2-40B4-BE49-F238E27FC236}">
                  <a16:creationId xmlns:a16="http://schemas.microsoft.com/office/drawing/2014/main" id="{45A7206F-0967-404F-935D-ACE3AB6EE8EB}"/>
                </a:ext>
              </a:extLst>
            </p:cNvPr>
            <p:cNvSpPr>
              <a:spLocks/>
            </p:cNvSpPr>
            <p:nvPr/>
          </p:nvSpPr>
          <p:spPr bwMode="auto">
            <a:xfrm>
              <a:off x="4448176" y="2384426"/>
              <a:ext cx="58738" cy="34925"/>
            </a:xfrm>
            <a:custGeom>
              <a:avLst/>
              <a:gdLst>
                <a:gd name="T0" fmla="*/ 14 w 15"/>
                <a:gd name="T1" fmla="*/ 9 h 9"/>
                <a:gd name="T2" fmla="*/ 0 w 15"/>
                <a:gd name="T3" fmla="*/ 3 h 9"/>
                <a:gd name="T4" fmla="*/ 2 w 15"/>
                <a:gd name="T5" fmla="*/ 0 h 9"/>
                <a:gd name="T6" fmla="*/ 15 w 15"/>
                <a:gd name="T7" fmla="*/ 5 h 9"/>
                <a:gd name="T8" fmla="*/ 14 w 15"/>
                <a:gd name="T9" fmla="*/ 9 h 9"/>
              </a:gdLst>
              <a:ahLst/>
              <a:cxnLst>
                <a:cxn ang="0">
                  <a:pos x="T0" y="T1"/>
                </a:cxn>
                <a:cxn ang="0">
                  <a:pos x="T2" y="T3"/>
                </a:cxn>
                <a:cxn ang="0">
                  <a:pos x="T4" y="T5"/>
                </a:cxn>
                <a:cxn ang="0">
                  <a:pos x="T6" y="T7"/>
                </a:cxn>
                <a:cxn ang="0">
                  <a:pos x="T8" y="T9"/>
                </a:cxn>
              </a:cxnLst>
              <a:rect l="0" t="0" r="r" b="b"/>
              <a:pathLst>
                <a:path w="15" h="9">
                  <a:moveTo>
                    <a:pt x="14" y="9"/>
                  </a:moveTo>
                  <a:cubicBezTo>
                    <a:pt x="9" y="8"/>
                    <a:pt x="5" y="6"/>
                    <a:pt x="0" y="3"/>
                  </a:cubicBezTo>
                  <a:cubicBezTo>
                    <a:pt x="2" y="0"/>
                    <a:pt x="2" y="0"/>
                    <a:pt x="2" y="0"/>
                  </a:cubicBezTo>
                  <a:cubicBezTo>
                    <a:pt x="6" y="2"/>
                    <a:pt x="11" y="4"/>
                    <a:pt x="15" y="5"/>
                  </a:cubicBezTo>
                  <a:lnTo>
                    <a:pt x="1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8" name="Freeform 17">
              <a:extLst>
                <a:ext uri="{FF2B5EF4-FFF2-40B4-BE49-F238E27FC236}">
                  <a16:creationId xmlns:a16="http://schemas.microsoft.com/office/drawing/2014/main" id="{61E40602-2CD1-45F7-B2A3-C7A0162E1EC7}"/>
                </a:ext>
              </a:extLst>
            </p:cNvPr>
            <p:cNvSpPr>
              <a:spLocks/>
            </p:cNvSpPr>
            <p:nvPr/>
          </p:nvSpPr>
          <p:spPr bwMode="auto">
            <a:xfrm>
              <a:off x="4568826" y="2365376"/>
              <a:ext cx="103188" cy="58738"/>
            </a:xfrm>
            <a:custGeom>
              <a:avLst/>
              <a:gdLst>
                <a:gd name="T0" fmla="*/ 0 w 27"/>
                <a:gd name="T1" fmla="*/ 15 h 15"/>
                <a:gd name="T2" fmla="*/ 0 w 27"/>
                <a:gd name="T3" fmla="*/ 12 h 15"/>
                <a:gd name="T4" fmla="*/ 24 w 27"/>
                <a:gd name="T5" fmla="*/ 0 h 15"/>
                <a:gd name="T6" fmla="*/ 27 w 27"/>
                <a:gd name="T7" fmla="*/ 3 h 15"/>
                <a:gd name="T8" fmla="*/ 0 w 27"/>
                <a:gd name="T9" fmla="*/ 15 h 15"/>
              </a:gdLst>
              <a:ahLst/>
              <a:cxnLst>
                <a:cxn ang="0">
                  <a:pos x="T0" y="T1"/>
                </a:cxn>
                <a:cxn ang="0">
                  <a:pos x="T2" y="T3"/>
                </a:cxn>
                <a:cxn ang="0">
                  <a:pos x="T4" y="T5"/>
                </a:cxn>
                <a:cxn ang="0">
                  <a:pos x="T6" y="T7"/>
                </a:cxn>
                <a:cxn ang="0">
                  <a:pos x="T8" y="T9"/>
                </a:cxn>
              </a:cxnLst>
              <a:rect l="0" t="0" r="r" b="b"/>
              <a:pathLst>
                <a:path w="27" h="15">
                  <a:moveTo>
                    <a:pt x="0" y="15"/>
                  </a:moveTo>
                  <a:cubicBezTo>
                    <a:pt x="0" y="12"/>
                    <a:pt x="0" y="12"/>
                    <a:pt x="0" y="12"/>
                  </a:cubicBezTo>
                  <a:cubicBezTo>
                    <a:pt x="8" y="11"/>
                    <a:pt x="17" y="7"/>
                    <a:pt x="24" y="0"/>
                  </a:cubicBezTo>
                  <a:cubicBezTo>
                    <a:pt x="27" y="3"/>
                    <a:pt x="27" y="3"/>
                    <a:pt x="27" y="3"/>
                  </a:cubicBezTo>
                  <a:cubicBezTo>
                    <a:pt x="19" y="10"/>
                    <a:pt x="10" y="1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29" name="Freeform 18">
              <a:extLst>
                <a:ext uri="{FF2B5EF4-FFF2-40B4-BE49-F238E27FC236}">
                  <a16:creationId xmlns:a16="http://schemas.microsoft.com/office/drawing/2014/main" id="{EC05704C-522C-4722-A298-843C4A81979F}"/>
                </a:ext>
              </a:extLst>
            </p:cNvPr>
            <p:cNvSpPr>
              <a:spLocks/>
            </p:cNvSpPr>
            <p:nvPr/>
          </p:nvSpPr>
          <p:spPr bwMode="auto">
            <a:xfrm>
              <a:off x="4579938" y="2624138"/>
              <a:ext cx="46038" cy="74613"/>
            </a:xfrm>
            <a:custGeom>
              <a:avLst/>
              <a:gdLst>
                <a:gd name="T0" fmla="*/ 9 w 12"/>
                <a:gd name="T1" fmla="*/ 19 h 19"/>
                <a:gd name="T2" fmla="*/ 0 w 12"/>
                <a:gd name="T3" fmla="*/ 2 h 19"/>
                <a:gd name="T4" fmla="*/ 3 w 12"/>
                <a:gd name="T5" fmla="*/ 0 h 19"/>
                <a:gd name="T6" fmla="*/ 12 w 12"/>
                <a:gd name="T7" fmla="*/ 18 h 19"/>
                <a:gd name="T8" fmla="*/ 9 w 12"/>
                <a:gd name="T9" fmla="*/ 19 h 19"/>
              </a:gdLst>
              <a:ahLst/>
              <a:cxnLst>
                <a:cxn ang="0">
                  <a:pos x="T0" y="T1"/>
                </a:cxn>
                <a:cxn ang="0">
                  <a:pos x="T2" y="T3"/>
                </a:cxn>
                <a:cxn ang="0">
                  <a:pos x="T4" y="T5"/>
                </a:cxn>
                <a:cxn ang="0">
                  <a:pos x="T6" y="T7"/>
                </a:cxn>
                <a:cxn ang="0">
                  <a:pos x="T8" y="T9"/>
                </a:cxn>
              </a:cxnLst>
              <a:rect l="0" t="0" r="r" b="b"/>
              <a:pathLst>
                <a:path w="12" h="19">
                  <a:moveTo>
                    <a:pt x="9" y="19"/>
                  </a:moveTo>
                  <a:cubicBezTo>
                    <a:pt x="7" y="14"/>
                    <a:pt x="4" y="9"/>
                    <a:pt x="0" y="2"/>
                  </a:cubicBezTo>
                  <a:cubicBezTo>
                    <a:pt x="3" y="0"/>
                    <a:pt x="3" y="0"/>
                    <a:pt x="3" y="0"/>
                  </a:cubicBezTo>
                  <a:cubicBezTo>
                    <a:pt x="8" y="7"/>
                    <a:pt x="11" y="13"/>
                    <a:pt x="12" y="18"/>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0" name="Freeform 19">
              <a:extLst>
                <a:ext uri="{FF2B5EF4-FFF2-40B4-BE49-F238E27FC236}">
                  <a16:creationId xmlns:a16="http://schemas.microsoft.com/office/drawing/2014/main" id="{45612EB0-C054-4C87-B6D0-4EF7D9408CCD}"/>
                </a:ext>
              </a:extLst>
            </p:cNvPr>
            <p:cNvSpPr>
              <a:spLocks/>
            </p:cNvSpPr>
            <p:nvPr/>
          </p:nvSpPr>
          <p:spPr bwMode="auto">
            <a:xfrm>
              <a:off x="4498976" y="2540001"/>
              <a:ext cx="65088" cy="57150"/>
            </a:xfrm>
            <a:custGeom>
              <a:avLst/>
              <a:gdLst>
                <a:gd name="T0" fmla="*/ 14 w 17"/>
                <a:gd name="T1" fmla="*/ 15 h 15"/>
                <a:gd name="T2" fmla="*/ 0 w 17"/>
                <a:gd name="T3" fmla="*/ 3 h 15"/>
                <a:gd name="T4" fmla="*/ 2 w 17"/>
                <a:gd name="T5" fmla="*/ 0 h 15"/>
                <a:gd name="T6" fmla="*/ 17 w 17"/>
                <a:gd name="T7" fmla="*/ 12 h 15"/>
                <a:gd name="T8" fmla="*/ 14 w 17"/>
                <a:gd name="T9" fmla="*/ 15 h 15"/>
              </a:gdLst>
              <a:ahLst/>
              <a:cxnLst>
                <a:cxn ang="0">
                  <a:pos x="T0" y="T1"/>
                </a:cxn>
                <a:cxn ang="0">
                  <a:pos x="T2" y="T3"/>
                </a:cxn>
                <a:cxn ang="0">
                  <a:pos x="T4" y="T5"/>
                </a:cxn>
                <a:cxn ang="0">
                  <a:pos x="T6" y="T7"/>
                </a:cxn>
                <a:cxn ang="0">
                  <a:pos x="T8" y="T9"/>
                </a:cxn>
              </a:cxnLst>
              <a:rect l="0" t="0" r="r" b="b"/>
              <a:pathLst>
                <a:path w="17" h="15">
                  <a:moveTo>
                    <a:pt x="14" y="15"/>
                  </a:moveTo>
                  <a:cubicBezTo>
                    <a:pt x="10" y="11"/>
                    <a:pt x="5" y="6"/>
                    <a:pt x="0" y="3"/>
                  </a:cubicBezTo>
                  <a:cubicBezTo>
                    <a:pt x="2" y="0"/>
                    <a:pt x="2" y="0"/>
                    <a:pt x="2" y="0"/>
                  </a:cubicBezTo>
                  <a:cubicBezTo>
                    <a:pt x="8" y="4"/>
                    <a:pt x="15" y="10"/>
                    <a:pt x="17" y="12"/>
                  </a:cubicBezTo>
                  <a:lnTo>
                    <a:pt x="1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1" name="Freeform 20">
              <a:extLst>
                <a:ext uri="{FF2B5EF4-FFF2-40B4-BE49-F238E27FC236}">
                  <a16:creationId xmlns:a16="http://schemas.microsoft.com/office/drawing/2014/main" id="{DCA1EE29-716B-4F40-9544-A01757CC869C}"/>
                </a:ext>
              </a:extLst>
            </p:cNvPr>
            <p:cNvSpPr>
              <a:spLocks/>
            </p:cNvSpPr>
            <p:nvPr/>
          </p:nvSpPr>
          <p:spPr bwMode="auto">
            <a:xfrm>
              <a:off x="4394201" y="2497138"/>
              <a:ext cx="53975" cy="26988"/>
            </a:xfrm>
            <a:custGeom>
              <a:avLst/>
              <a:gdLst>
                <a:gd name="T0" fmla="*/ 13 w 14"/>
                <a:gd name="T1" fmla="*/ 7 h 7"/>
                <a:gd name="T2" fmla="*/ 0 w 14"/>
                <a:gd name="T3" fmla="*/ 4 h 7"/>
                <a:gd name="T4" fmla="*/ 1 w 14"/>
                <a:gd name="T5" fmla="*/ 0 h 7"/>
                <a:gd name="T6" fmla="*/ 14 w 14"/>
                <a:gd name="T7" fmla="*/ 4 h 7"/>
                <a:gd name="T8" fmla="*/ 13 w 14"/>
                <a:gd name="T9" fmla="*/ 7 h 7"/>
              </a:gdLst>
              <a:ahLst/>
              <a:cxnLst>
                <a:cxn ang="0">
                  <a:pos x="T0" y="T1"/>
                </a:cxn>
                <a:cxn ang="0">
                  <a:pos x="T2" y="T3"/>
                </a:cxn>
                <a:cxn ang="0">
                  <a:pos x="T4" y="T5"/>
                </a:cxn>
                <a:cxn ang="0">
                  <a:pos x="T6" y="T7"/>
                </a:cxn>
                <a:cxn ang="0">
                  <a:pos x="T8" y="T9"/>
                </a:cxn>
              </a:cxnLst>
              <a:rect l="0" t="0" r="r" b="b"/>
              <a:pathLst>
                <a:path w="14" h="7">
                  <a:moveTo>
                    <a:pt x="13" y="7"/>
                  </a:moveTo>
                  <a:cubicBezTo>
                    <a:pt x="8" y="6"/>
                    <a:pt x="4" y="5"/>
                    <a:pt x="0" y="4"/>
                  </a:cubicBezTo>
                  <a:cubicBezTo>
                    <a:pt x="1" y="0"/>
                    <a:pt x="1" y="0"/>
                    <a:pt x="1" y="0"/>
                  </a:cubicBezTo>
                  <a:cubicBezTo>
                    <a:pt x="5" y="1"/>
                    <a:pt x="9" y="2"/>
                    <a:pt x="14" y="4"/>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2" name="Freeform 21">
              <a:extLst>
                <a:ext uri="{FF2B5EF4-FFF2-40B4-BE49-F238E27FC236}">
                  <a16:creationId xmlns:a16="http://schemas.microsoft.com/office/drawing/2014/main" id="{C1110833-5E9D-4B15-84D4-395D8BDA0E92}"/>
                </a:ext>
              </a:extLst>
            </p:cNvPr>
            <p:cNvSpPr>
              <a:spLocks/>
            </p:cNvSpPr>
            <p:nvPr/>
          </p:nvSpPr>
          <p:spPr bwMode="auto">
            <a:xfrm>
              <a:off x="4432301" y="2613026"/>
              <a:ext cx="26988" cy="31750"/>
            </a:xfrm>
            <a:custGeom>
              <a:avLst/>
              <a:gdLst>
                <a:gd name="T0" fmla="*/ 3 w 7"/>
                <a:gd name="T1" fmla="*/ 8 h 8"/>
                <a:gd name="T2" fmla="*/ 0 w 7"/>
                <a:gd name="T3" fmla="*/ 6 h 8"/>
                <a:gd name="T4" fmla="*/ 4 w 7"/>
                <a:gd name="T5" fmla="*/ 0 h 8"/>
                <a:gd name="T6" fmla="*/ 7 w 7"/>
                <a:gd name="T7" fmla="*/ 2 h 8"/>
                <a:gd name="T8" fmla="*/ 3 w 7"/>
                <a:gd name="T9" fmla="*/ 8 h 8"/>
              </a:gdLst>
              <a:ahLst/>
              <a:cxnLst>
                <a:cxn ang="0">
                  <a:pos x="T0" y="T1"/>
                </a:cxn>
                <a:cxn ang="0">
                  <a:pos x="T2" y="T3"/>
                </a:cxn>
                <a:cxn ang="0">
                  <a:pos x="T4" y="T5"/>
                </a:cxn>
                <a:cxn ang="0">
                  <a:pos x="T6" y="T7"/>
                </a:cxn>
                <a:cxn ang="0">
                  <a:pos x="T8" y="T9"/>
                </a:cxn>
              </a:cxnLst>
              <a:rect l="0" t="0" r="r" b="b"/>
              <a:pathLst>
                <a:path w="7" h="8">
                  <a:moveTo>
                    <a:pt x="3" y="8"/>
                  </a:moveTo>
                  <a:cubicBezTo>
                    <a:pt x="0" y="6"/>
                    <a:pt x="0" y="6"/>
                    <a:pt x="0" y="6"/>
                  </a:cubicBezTo>
                  <a:cubicBezTo>
                    <a:pt x="1" y="4"/>
                    <a:pt x="2" y="2"/>
                    <a:pt x="4" y="0"/>
                  </a:cubicBezTo>
                  <a:cubicBezTo>
                    <a:pt x="7" y="2"/>
                    <a:pt x="7" y="2"/>
                    <a:pt x="7" y="2"/>
                  </a:cubicBezTo>
                  <a:cubicBezTo>
                    <a:pt x="6" y="4"/>
                    <a:pt x="4" y="6"/>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3" name="Freeform 22">
              <a:extLst>
                <a:ext uri="{FF2B5EF4-FFF2-40B4-BE49-F238E27FC236}">
                  <a16:creationId xmlns:a16="http://schemas.microsoft.com/office/drawing/2014/main" id="{74F946F0-4B1F-44BC-A9BB-52E0D6E2C5DD}"/>
                </a:ext>
              </a:extLst>
            </p:cNvPr>
            <p:cNvSpPr>
              <a:spLocks/>
            </p:cNvSpPr>
            <p:nvPr/>
          </p:nvSpPr>
          <p:spPr bwMode="auto">
            <a:xfrm>
              <a:off x="4459288" y="2559051"/>
              <a:ext cx="20638" cy="30163"/>
            </a:xfrm>
            <a:custGeom>
              <a:avLst/>
              <a:gdLst>
                <a:gd name="T0" fmla="*/ 3 w 5"/>
                <a:gd name="T1" fmla="*/ 8 h 8"/>
                <a:gd name="T2" fmla="*/ 0 w 5"/>
                <a:gd name="T3" fmla="*/ 7 h 8"/>
                <a:gd name="T4" fmla="*/ 1 w 5"/>
                <a:gd name="T5" fmla="*/ 0 h 8"/>
                <a:gd name="T6" fmla="*/ 5 w 5"/>
                <a:gd name="T7" fmla="*/ 1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0" y="7"/>
                    <a:pt x="0" y="7"/>
                    <a:pt x="0" y="7"/>
                  </a:cubicBezTo>
                  <a:cubicBezTo>
                    <a:pt x="0" y="5"/>
                    <a:pt x="0" y="3"/>
                    <a:pt x="1" y="0"/>
                  </a:cubicBezTo>
                  <a:cubicBezTo>
                    <a:pt x="5" y="1"/>
                    <a:pt x="5" y="1"/>
                    <a:pt x="5" y="1"/>
                  </a:cubicBezTo>
                  <a:cubicBezTo>
                    <a:pt x="4" y="4"/>
                    <a:pt x="4" y="6"/>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4" name="Freeform 23">
              <a:extLst>
                <a:ext uri="{FF2B5EF4-FFF2-40B4-BE49-F238E27FC236}">
                  <a16:creationId xmlns:a16="http://schemas.microsoft.com/office/drawing/2014/main" id="{4A5E00DD-1FD0-48A6-8235-CDF77D9B01F8}"/>
                </a:ext>
              </a:extLst>
            </p:cNvPr>
            <p:cNvSpPr>
              <a:spLocks/>
            </p:cNvSpPr>
            <p:nvPr/>
          </p:nvSpPr>
          <p:spPr bwMode="auto">
            <a:xfrm>
              <a:off x="4429126" y="2408238"/>
              <a:ext cx="50800" cy="92075"/>
            </a:xfrm>
            <a:custGeom>
              <a:avLst/>
              <a:gdLst>
                <a:gd name="T0" fmla="*/ 9 w 13"/>
                <a:gd name="T1" fmla="*/ 24 h 24"/>
                <a:gd name="T2" fmla="*/ 0 w 13"/>
                <a:gd name="T3" fmla="*/ 2 h 24"/>
                <a:gd name="T4" fmla="*/ 3 w 13"/>
                <a:gd name="T5" fmla="*/ 0 h 24"/>
                <a:gd name="T6" fmla="*/ 13 w 13"/>
                <a:gd name="T7" fmla="*/ 23 h 24"/>
                <a:gd name="T8" fmla="*/ 9 w 13"/>
                <a:gd name="T9" fmla="*/ 24 h 24"/>
              </a:gdLst>
              <a:ahLst/>
              <a:cxnLst>
                <a:cxn ang="0">
                  <a:pos x="T0" y="T1"/>
                </a:cxn>
                <a:cxn ang="0">
                  <a:pos x="T2" y="T3"/>
                </a:cxn>
                <a:cxn ang="0">
                  <a:pos x="T4" y="T5"/>
                </a:cxn>
                <a:cxn ang="0">
                  <a:pos x="T6" y="T7"/>
                </a:cxn>
                <a:cxn ang="0">
                  <a:pos x="T8" y="T9"/>
                </a:cxn>
              </a:cxnLst>
              <a:rect l="0" t="0" r="r" b="b"/>
              <a:pathLst>
                <a:path w="13" h="24">
                  <a:moveTo>
                    <a:pt x="9" y="24"/>
                  </a:moveTo>
                  <a:cubicBezTo>
                    <a:pt x="8" y="16"/>
                    <a:pt x="4" y="9"/>
                    <a:pt x="0" y="2"/>
                  </a:cubicBezTo>
                  <a:cubicBezTo>
                    <a:pt x="3" y="0"/>
                    <a:pt x="3" y="0"/>
                    <a:pt x="3" y="0"/>
                  </a:cubicBezTo>
                  <a:cubicBezTo>
                    <a:pt x="8" y="7"/>
                    <a:pt x="12" y="15"/>
                    <a:pt x="13" y="23"/>
                  </a:cubicBezTo>
                  <a:lnTo>
                    <a:pt x="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5" name="Freeform 24">
              <a:extLst>
                <a:ext uri="{FF2B5EF4-FFF2-40B4-BE49-F238E27FC236}">
                  <a16:creationId xmlns:a16="http://schemas.microsoft.com/office/drawing/2014/main" id="{DF11D8BA-1835-425C-9BA1-DB8390917EB5}"/>
                </a:ext>
              </a:extLst>
            </p:cNvPr>
            <p:cNvSpPr>
              <a:spLocks noEditPoints="1"/>
            </p:cNvSpPr>
            <p:nvPr/>
          </p:nvSpPr>
          <p:spPr bwMode="auto">
            <a:xfrm>
              <a:off x="4498976" y="2381251"/>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6" y="4"/>
                    <a:pt x="4" y="6"/>
                    <a:pt x="4" y="10"/>
                  </a:cubicBezTo>
                  <a:cubicBezTo>
                    <a:pt x="4" y="13"/>
                    <a:pt x="6"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6" name="Freeform 25">
              <a:extLst>
                <a:ext uri="{FF2B5EF4-FFF2-40B4-BE49-F238E27FC236}">
                  <a16:creationId xmlns:a16="http://schemas.microsoft.com/office/drawing/2014/main" id="{533CEEAC-2A4C-4230-A95F-8DF90A076F2B}"/>
                </a:ext>
              </a:extLst>
            </p:cNvPr>
            <p:cNvSpPr>
              <a:spLocks noEditPoints="1"/>
            </p:cNvSpPr>
            <p:nvPr/>
          </p:nvSpPr>
          <p:spPr bwMode="auto">
            <a:xfrm>
              <a:off x="4437063" y="2493963"/>
              <a:ext cx="76200" cy="76200"/>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6"/>
                    <a:pt x="4" y="10"/>
                  </a:cubicBezTo>
                  <a:cubicBezTo>
                    <a:pt x="4" y="13"/>
                    <a:pt x="7"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7" name="Freeform 26">
              <a:extLst>
                <a:ext uri="{FF2B5EF4-FFF2-40B4-BE49-F238E27FC236}">
                  <a16:creationId xmlns:a16="http://schemas.microsoft.com/office/drawing/2014/main" id="{D0C08561-5DCF-4EAA-86D0-115A742C5AC7}"/>
                </a:ext>
              </a:extLst>
            </p:cNvPr>
            <p:cNvSpPr>
              <a:spLocks noEditPoints="1"/>
            </p:cNvSpPr>
            <p:nvPr/>
          </p:nvSpPr>
          <p:spPr bwMode="auto">
            <a:xfrm>
              <a:off x="4437063" y="2578101"/>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8" name="Freeform 27">
              <a:extLst>
                <a:ext uri="{FF2B5EF4-FFF2-40B4-BE49-F238E27FC236}">
                  <a16:creationId xmlns:a16="http://schemas.microsoft.com/office/drawing/2014/main" id="{51711604-6E39-48D7-89A3-36C62D0E33B6}"/>
                </a:ext>
              </a:extLst>
            </p:cNvPr>
            <p:cNvSpPr>
              <a:spLocks noEditPoints="1"/>
            </p:cNvSpPr>
            <p:nvPr/>
          </p:nvSpPr>
          <p:spPr bwMode="auto">
            <a:xfrm>
              <a:off x="4541838" y="257810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3"/>
                    <a:pt x="4" y="0"/>
                    <a:pt x="8" y="0"/>
                  </a:cubicBezTo>
                  <a:cubicBezTo>
                    <a:pt x="12" y="0"/>
                    <a:pt x="16" y="3"/>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39" name="Freeform 28">
              <a:extLst>
                <a:ext uri="{FF2B5EF4-FFF2-40B4-BE49-F238E27FC236}">
                  <a16:creationId xmlns:a16="http://schemas.microsoft.com/office/drawing/2014/main" id="{C2C5E966-36C1-41FE-AB87-84EBA7921A97}"/>
                </a:ext>
              </a:extLst>
            </p:cNvPr>
            <p:cNvSpPr>
              <a:spLocks noEditPoints="1"/>
            </p:cNvSpPr>
            <p:nvPr/>
          </p:nvSpPr>
          <p:spPr bwMode="auto">
            <a:xfrm>
              <a:off x="4610101" y="25701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5" y="4"/>
                    <a:pt x="4" y="6"/>
                    <a:pt x="4" y="8"/>
                  </a:cubicBezTo>
                  <a:cubicBezTo>
                    <a:pt x="4" y="10"/>
                    <a:pt x="5"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0" name="Freeform 29">
              <a:extLst>
                <a:ext uri="{FF2B5EF4-FFF2-40B4-BE49-F238E27FC236}">
                  <a16:creationId xmlns:a16="http://schemas.microsoft.com/office/drawing/2014/main" id="{148C338B-E5C5-4037-AE31-F49644591C20}"/>
                </a:ext>
              </a:extLst>
            </p:cNvPr>
            <p:cNvSpPr>
              <a:spLocks noEditPoints="1"/>
            </p:cNvSpPr>
            <p:nvPr/>
          </p:nvSpPr>
          <p:spPr bwMode="auto">
            <a:xfrm>
              <a:off x="4652963" y="2478088"/>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5"/>
                    <a:pt x="0" y="10"/>
                  </a:cubicBezTo>
                  <a:cubicBezTo>
                    <a:pt x="0" y="4"/>
                    <a:pt x="4" y="0"/>
                    <a:pt x="10" y="0"/>
                  </a:cubicBezTo>
                  <a:cubicBezTo>
                    <a:pt x="15" y="0"/>
                    <a:pt x="20" y="4"/>
                    <a:pt x="20" y="10"/>
                  </a:cubicBezTo>
                  <a:cubicBezTo>
                    <a:pt x="20" y="15"/>
                    <a:pt x="15" y="20"/>
                    <a:pt x="10" y="20"/>
                  </a:cubicBezTo>
                  <a:close/>
                  <a:moveTo>
                    <a:pt x="10" y="4"/>
                  </a:moveTo>
                  <a:cubicBezTo>
                    <a:pt x="7" y="4"/>
                    <a:pt x="4" y="6"/>
                    <a:pt x="4" y="10"/>
                  </a:cubicBezTo>
                  <a:cubicBezTo>
                    <a:pt x="4" y="13"/>
                    <a:pt x="7" y="16"/>
                    <a:pt x="10" y="16"/>
                  </a:cubicBezTo>
                  <a:cubicBezTo>
                    <a:pt x="13" y="16"/>
                    <a:pt x="16" y="13"/>
                    <a:pt x="16" y="10"/>
                  </a:cubicBezTo>
                  <a:cubicBezTo>
                    <a:pt x="16" y="6"/>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083" name="Group 41">
            <a:extLst>
              <a:ext uri="{FF2B5EF4-FFF2-40B4-BE49-F238E27FC236}">
                <a16:creationId xmlns:a16="http://schemas.microsoft.com/office/drawing/2014/main" id="{B7586EDA-2AC7-420B-8100-09676595EB9A}"/>
              </a:ext>
            </a:extLst>
          </p:cNvPr>
          <p:cNvGrpSpPr>
            <a:grpSpLocks noChangeAspect="1"/>
          </p:cNvGrpSpPr>
          <p:nvPr/>
        </p:nvGrpSpPr>
        <p:grpSpPr>
          <a:xfrm>
            <a:off x="284400" y="5417577"/>
            <a:ext cx="305900" cy="285619"/>
            <a:chOff x="304800" y="806450"/>
            <a:chExt cx="287338" cy="268288"/>
          </a:xfrm>
          <a:solidFill>
            <a:schemeClr val="bg1"/>
          </a:solidFill>
          <a:effectLst/>
        </p:grpSpPr>
        <p:sp>
          <p:nvSpPr>
            <p:cNvPr id="1084" name="Freeform 57">
              <a:extLst>
                <a:ext uri="{FF2B5EF4-FFF2-40B4-BE49-F238E27FC236}">
                  <a16:creationId xmlns:a16="http://schemas.microsoft.com/office/drawing/2014/main" id="{2AB4666D-4530-46EF-B86A-A5CE40BCA5C0}"/>
                </a:ext>
              </a:extLst>
            </p:cNvPr>
            <p:cNvSpPr>
              <a:spLocks noEditPoints="1"/>
            </p:cNvSpPr>
            <p:nvPr/>
          </p:nvSpPr>
          <p:spPr bwMode="auto">
            <a:xfrm>
              <a:off x="333375" y="835025"/>
              <a:ext cx="230188" cy="163513"/>
            </a:xfrm>
            <a:custGeom>
              <a:avLst/>
              <a:gdLst>
                <a:gd name="T0" fmla="*/ 30 w 723"/>
                <a:gd name="T1" fmla="*/ 30 h 512"/>
                <a:gd name="T2" fmla="*/ 693 w 723"/>
                <a:gd name="T3" fmla="*/ 30 h 512"/>
                <a:gd name="T4" fmla="*/ 693 w 723"/>
                <a:gd name="T5" fmla="*/ 482 h 512"/>
                <a:gd name="T6" fmla="*/ 30 w 723"/>
                <a:gd name="T7" fmla="*/ 482 h 512"/>
                <a:gd name="T8" fmla="*/ 30 w 723"/>
                <a:gd name="T9" fmla="*/ 30 h 512"/>
                <a:gd name="T10" fmla="*/ 0 w 723"/>
                <a:gd name="T11" fmla="*/ 512 h 512"/>
                <a:gd name="T12" fmla="*/ 723 w 723"/>
                <a:gd name="T13" fmla="*/ 512 h 512"/>
                <a:gd name="T14" fmla="*/ 723 w 723"/>
                <a:gd name="T15" fmla="*/ 0 h 512"/>
                <a:gd name="T16" fmla="*/ 0 w 723"/>
                <a:gd name="T17" fmla="*/ 0 h 512"/>
                <a:gd name="T18" fmla="*/ 0 w 723"/>
                <a:gd name="T1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12">
                  <a:moveTo>
                    <a:pt x="30" y="30"/>
                  </a:moveTo>
                  <a:lnTo>
                    <a:pt x="693" y="30"/>
                  </a:lnTo>
                  <a:lnTo>
                    <a:pt x="693" y="482"/>
                  </a:lnTo>
                  <a:lnTo>
                    <a:pt x="30" y="482"/>
                  </a:lnTo>
                  <a:lnTo>
                    <a:pt x="30" y="30"/>
                  </a:lnTo>
                  <a:close/>
                  <a:moveTo>
                    <a:pt x="0" y="512"/>
                  </a:moveTo>
                  <a:lnTo>
                    <a:pt x="723" y="512"/>
                  </a:lnTo>
                  <a:lnTo>
                    <a:pt x="723" y="0"/>
                  </a:lnTo>
                  <a:lnTo>
                    <a:pt x="0" y="0"/>
                  </a:lnTo>
                  <a:lnTo>
                    <a:pt x="0"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58">
              <a:extLst>
                <a:ext uri="{FF2B5EF4-FFF2-40B4-BE49-F238E27FC236}">
                  <a16:creationId xmlns:a16="http://schemas.microsoft.com/office/drawing/2014/main" id="{F70B2CBE-3435-4C84-AF6D-CB8E82305065}"/>
                </a:ext>
              </a:extLst>
            </p:cNvPr>
            <p:cNvSpPr>
              <a:spLocks noEditPoints="1"/>
            </p:cNvSpPr>
            <p:nvPr/>
          </p:nvSpPr>
          <p:spPr bwMode="auto">
            <a:xfrm>
              <a:off x="438150" y="1003300"/>
              <a:ext cx="19050" cy="19050"/>
            </a:xfrm>
            <a:custGeom>
              <a:avLst/>
              <a:gdLst>
                <a:gd name="T0" fmla="*/ 31 w 61"/>
                <a:gd name="T1" fmla="*/ 45 h 60"/>
                <a:gd name="T2" fmla="*/ 31 w 61"/>
                <a:gd name="T3" fmla="*/ 30 h 60"/>
                <a:gd name="T4" fmla="*/ 31 w 61"/>
                <a:gd name="T5" fmla="*/ 30 h 60"/>
                <a:gd name="T6" fmla="*/ 31 w 61"/>
                <a:gd name="T7" fmla="*/ 30 h 60"/>
                <a:gd name="T8" fmla="*/ 31 w 61"/>
                <a:gd name="T9" fmla="*/ 45 h 60"/>
                <a:gd name="T10" fmla="*/ 31 w 61"/>
                <a:gd name="T11" fmla="*/ 0 h 60"/>
                <a:gd name="T12" fmla="*/ 24 w 61"/>
                <a:gd name="T13" fmla="*/ 0 h 60"/>
                <a:gd name="T14" fmla="*/ 19 w 61"/>
                <a:gd name="T15" fmla="*/ 2 h 60"/>
                <a:gd name="T16" fmla="*/ 13 w 61"/>
                <a:gd name="T17" fmla="*/ 5 h 60"/>
                <a:gd name="T18" fmla="*/ 9 w 61"/>
                <a:gd name="T19" fmla="*/ 8 h 60"/>
                <a:gd name="T20" fmla="*/ 6 w 61"/>
                <a:gd name="T21" fmla="*/ 12 h 60"/>
                <a:gd name="T22" fmla="*/ 3 w 61"/>
                <a:gd name="T23" fmla="*/ 18 h 60"/>
                <a:gd name="T24" fmla="*/ 2 w 61"/>
                <a:gd name="T25" fmla="*/ 23 h 60"/>
                <a:gd name="T26" fmla="*/ 0 w 61"/>
                <a:gd name="T27" fmla="*/ 30 h 60"/>
                <a:gd name="T28" fmla="*/ 2 w 61"/>
                <a:gd name="T29" fmla="*/ 35 h 60"/>
                <a:gd name="T30" fmla="*/ 3 w 61"/>
                <a:gd name="T31" fmla="*/ 41 h 60"/>
                <a:gd name="T32" fmla="*/ 6 w 61"/>
                <a:gd name="T33" fmla="*/ 47 h 60"/>
                <a:gd name="T34" fmla="*/ 9 w 61"/>
                <a:gd name="T35" fmla="*/ 51 h 60"/>
                <a:gd name="T36" fmla="*/ 13 w 61"/>
                <a:gd name="T37" fmla="*/ 54 h 60"/>
                <a:gd name="T38" fmla="*/ 19 w 61"/>
                <a:gd name="T39" fmla="*/ 58 h 60"/>
                <a:gd name="T40" fmla="*/ 24 w 61"/>
                <a:gd name="T41" fmla="*/ 59 h 60"/>
                <a:gd name="T42" fmla="*/ 31 w 61"/>
                <a:gd name="T43" fmla="*/ 60 h 60"/>
                <a:gd name="T44" fmla="*/ 37 w 61"/>
                <a:gd name="T45" fmla="*/ 59 h 60"/>
                <a:gd name="T46" fmla="*/ 42 w 61"/>
                <a:gd name="T47" fmla="*/ 58 h 60"/>
                <a:gd name="T48" fmla="*/ 48 w 61"/>
                <a:gd name="T49" fmla="*/ 54 h 60"/>
                <a:gd name="T50" fmla="*/ 52 w 61"/>
                <a:gd name="T51" fmla="*/ 51 h 60"/>
                <a:gd name="T52" fmla="*/ 55 w 61"/>
                <a:gd name="T53" fmla="*/ 47 h 60"/>
                <a:gd name="T54" fmla="*/ 58 w 61"/>
                <a:gd name="T55" fmla="*/ 41 h 60"/>
                <a:gd name="T56" fmla="*/ 61 w 61"/>
                <a:gd name="T57" fmla="*/ 35 h 60"/>
                <a:gd name="T58" fmla="*/ 61 w 61"/>
                <a:gd name="T59" fmla="*/ 30 h 60"/>
                <a:gd name="T60" fmla="*/ 61 w 61"/>
                <a:gd name="T61" fmla="*/ 23 h 60"/>
                <a:gd name="T62" fmla="*/ 58 w 61"/>
                <a:gd name="T63" fmla="*/ 18 h 60"/>
                <a:gd name="T64" fmla="*/ 55 w 61"/>
                <a:gd name="T65" fmla="*/ 12 h 60"/>
                <a:gd name="T66" fmla="*/ 52 w 61"/>
                <a:gd name="T67" fmla="*/ 8 h 60"/>
                <a:gd name="T68" fmla="*/ 48 w 61"/>
                <a:gd name="T69" fmla="*/ 5 h 60"/>
                <a:gd name="T70" fmla="*/ 42 w 61"/>
                <a:gd name="T71" fmla="*/ 2 h 60"/>
                <a:gd name="T72" fmla="*/ 37 w 61"/>
                <a:gd name="T73" fmla="*/ 0 h 60"/>
                <a:gd name="T74" fmla="*/ 31 w 61"/>
                <a:gd name="T75" fmla="*/ 0 h 60"/>
                <a:gd name="T76" fmla="*/ 31 w 61"/>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60">
                  <a:moveTo>
                    <a:pt x="31" y="45"/>
                  </a:moveTo>
                  <a:lnTo>
                    <a:pt x="31" y="30"/>
                  </a:lnTo>
                  <a:lnTo>
                    <a:pt x="31" y="30"/>
                  </a:lnTo>
                  <a:lnTo>
                    <a:pt x="31" y="30"/>
                  </a:lnTo>
                  <a:lnTo>
                    <a:pt x="31" y="45"/>
                  </a:lnTo>
                  <a:close/>
                  <a:moveTo>
                    <a:pt x="31" y="0"/>
                  </a:moveTo>
                  <a:lnTo>
                    <a:pt x="24" y="0"/>
                  </a:lnTo>
                  <a:lnTo>
                    <a:pt x="19" y="2"/>
                  </a:lnTo>
                  <a:lnTo>
                    <a:pt x="13" y="5"/>
                  </a:lnTo>
                  <a:lnTo>
                    <a:pt x="9" y="8"/>
                  </a:lnTo>
                  <a:lnTo>
                    <a:pt x="6" y="12"/>
                  </a:lnTo>
                  <a:lnTo>
                    <a:pt x="3" y="18"/>
                  </a:lnTo>
                  <a:lnTo>
                    <a:pt x="2" y="23"/>
                  </a:lnTo>
                  <a:lnTo>
                    <a:pt x="0" y="30"/>
                  </a:lnTo>
                  <a:lnTo>
                    <a:pt x="2" y="35"/>
                  </a:lnTo>
                  <a:lnTo>
                    <a:pt x="3" y="41"/>
                  </a:lnTo>
                  <a:lnTo>
                    <a:pt x="6" y="47"/>
                  </a:lnTo>
                  <a:lnTo>
                    <a:pt x="9" y="51"/>
                  </a:lnTo>
                  <a:lnTo>
                    <a:pt x="13" y="54"/>
                  </a:lnTo>
                  <a:lnTo>
                    <a:pt x="19" y="58"/>
                  </a:lnTo>
                  <a:lnTo>
                    <a:pt x="24" y="59"/>
                  </a:lnTo>
                  <a:lnTo>
                    <a:pt x="31" y="60"/>
                  </a:lnTo>
                  <a:lnTo>
                    <a:pt x="37" y="59"/>
                  </a:lnTo>
                  <a:lnTo>
                    <a:pt x="42" y="58"/>
                  </a:lnTo>
                  <a:lnTo>
                    <a:pt x="48" y="54"/>
                  </a:lnTo>
                  <a:lnTo>
                    <a:pt x="52" y="51"/>
                  </a:lnTo>
                  <a:lnTo>
                    <a:pt x="55" y="47"/>
                  </a:lnTo>
                  <a:lnTo>
                    <a:pt x="58" y="41"/>
                  </a:lnTo>
                  <a:lnTo>
                    <a:pt x="61" y="35"/>
                  </a:lnTo>
                  <a:lnTo>
                    <a:pt x="61" y="30"/>
                  </a:lnTo>
                  <a:lnTo>
                    <a:pt x="61" y="23"/>
                  </a:lnTo>
                  <a:lnTo>
                    <a:pt x="58" y="18"/>
                  </a:lnTo>
                  <a:lnTo>
                    <a:pt x="55" y="12"/>
                  </a:lnTo>
                  <a:lnTo>
                    <a:pt x="52" y="8"/>
                  </a:lnTo>
                  <a:lnTo>
                    <a:pt x="48" y="5"/>
                  </a:lnTo>
                  <a:lnTo>
                    <a:pt x="42" y="2"/>
                  </a:lnTo>
                  <a:lnTo>
                    <a:pt x="37" y="0"/>
                  </a:lnTo>
                  <a:lnTo>
                    <a:pt x="31" y="0"/>
                  </a:ln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59">
              <a:extLst>
                <a:ext uri="{FF2B5EF4-FFF2-40B4-BE49-F238E27FC236}">
                  <a16:creationId xmlns:a16="http://schemas.microsoft.com/office/drawing/2014/main" id="{0A597FF0-6041-471D-BB4F-3B2688AB51A6}"/>
                </a:ext>
              </a:extLst>
            </p:cNvPr>
            <p:cNvSpPr>
              <a:spLocks noEditPoints="1"/>
            </p:cNvSpPr>
            <p:nvPr/>
          </p:nvSpPr>
          <p:spPr bwMode="auto">
            <a:xfrm>
              <a:off x="304800" y="806450"/>
              <a:ext cx="287338" cy="268288"/>
            </a:xfrm>
            <a:custGeom>
              <a:avLst/>
              <a:gdLst>
                <a:gd name="T0" fmla="*/ 870 w 903"/>
                <a:gd name="T1" fmla="*/ 665 h 843"/>
                <a:gd name="T2" fmla="*/ 853 w 903"/>
                <a:gd name="T3" fmla="*/ 685 h 843"/>
                <a:gd name="T4" fmla="*/ 828 w 903"/>
                <a:gd name="T5" fmla="*/ 693 h 843"/>
                <a:gd name="T6" fmla="*/ 75 w 903"/>
                <a:gd name="T7" fmla="*/ 693 h 843"/>
                <a:gd name="T8" fmla="*/ 50 w 903"/>
                <a:gd name="T9" fmla="*/ 685 h 843"/>
                <a:gd name="T10" fmla="*/ 33 w 903"/>
                <a:gd name="T11" fmla="*/ 665 h 843"/>
                <a:gd name="T12" fmla="*/ 30 w 903"/>
                <a:gd name="T13" fmla="*/ 75 h 843"/>
                <a:gd name="T14" fmla="*/ 38 w 903"/>
                <a:gd name="T15" fmla="*/ 50 h 843"/>
                <a:gd name="T16" fmla="*/ 58 w 903"/>
                <a:gd name="T17" fmla="*/ 34 h 843"/>
                <a:gd name="T18" fmla="*/ 828 w 903"/>
                <a:gd name="T19" fmla="*/ 30 h 843"/>
                <a:gd name="T20" fmla="*/ 853 w 903"/>
                <a:gd name="T21" fmla="*/ 38 h 843"/>
                <a:gd name="T22" fmla="*/ 870 w 903"/>
                <a:gd name="T23" fmla="*/ 58 h 843"/>
                <a:gd name="T24" fmla="*/ 873 w 903"/>
                <a:gd name="T25" fmla="*/ 648 h 843"/>
                <a:gd name="T26" fmla="*/ 372 w 903"/>
                <a:gd name="T27" fmla="*/ 723 h 843"/>
                <a:gd name="T28" fmla="*/ 828 w 903"/>
                <a:gd name="T29" fmla="*/ 0 h 843"/>
                <a:gd name="T30" fmla="*/ 60 w 903"/>
                <a:gd name="T31" fmla="*/ 2 h 843"/>
                <a:gd name="T32" fmla="*/ 40 w 903"/>
                <a:gd name="T33" fmla="*/ 9 h 843"/>
                <a:gd name="T34" fmla="*/ 23 w 903"/>
                <a:gd name="T35" fmla="*/ 22 h 843"/>
                <a:gd name="T36" fmla="*/ 9 w 903"/>
                <a:gd name="T37" fmla="*/ 39 h 843"/>
                <a:gd name="T38" fmla="*/ 1 w 903"/>
                <a:gd name="T39" fmla="*/ 60 h 843"/>
                <a:gd name="T40" fmla="*/ 0 w 903"/>
                <a:gd name="T41" fmla="*/ 648 h 843"/>
                <a:gd name="T42" fmla="*/ 3 w 903"/>
                <a:gd name="T43" fmla="*/ 670 h 843"/>
                <a:gd name="T44" fmla="*/ 13 w 903"/>
                <a:gd name="T45" fmla="*/ 689 h 843"/>
                <a:gd name="T46" fmla="*/ 28 w 903"/>
                <a:gd name="T47" fmla="*/ 706 h 843"/>
                <a:gd name="T48" fmla="*/ 46 w 903"/>
                <a:gd name="T49" fmla="*/ 716 h 843"/>
                <a:gd name="T50" fmla="*/ 68 w 903"/>
                <a:gd name="T51" fmla="*/ 723 h 843"/>
                <a:gd name="T52" fmla="*/ 306 w 903"/>
                <a:gd name="T53" fmla="*/ 813 h 843"/>
                <a:gd name="T54" fmla="*/ 175 w 903"/>
                <a:gd name="T55" fmla="*/ 814 h 843"/>
                <a:gd name="T56" fmla="*/ 168 w 903"/>
                <a:gd name="T57" fmla="*/ 819 h 843"/>
                <a:gd name="T58" fmla="*/ 165 w 903"/>
                <a:gd name="T59" fmla="*/ 828 h 843"/>
                <a:gd name="T60" fmla="*/ 168 w 903"/>
                <a:gd name="T61" fmla="*/ 836 h 843"/>
                <a:gd name="T62" fmla="*/ 175 w 903"/>
                <a:gd name="T63" fmla="*/ 842 h 843"/>
                <a:gd name="T64" fmla="*/ 316 w 903"/>
                <a:gd name="T65" fmla="*/ 843 h 843"/>
                <a:gd name="T66" fmla="*/ 723 w 903"/>
                <a:gd name="T67" fmla="*/ 843 h 843"/>
                <a:gd name="T68" fmla="*/ 731 w 903"/>
                <a:gd name="T69" fmla="*/ 841 h 843"/>
                <a:gd name="T70" fmla="*/ 737 w 903"/>
                <a:gd name="T71" fmla="*/ 834 h 843"/>
                <a:gd name="T72" fmla="*/ 737 w 903"/>
                <a:gd name="T73" fmla="*/ 825 h 843"/>
                <a:gd name="T74" fmla="*/ 734 w 903"/>
                <a:gd name="T75" fmla="*/ 817 h 843"/>
                <a:gd name="T76" fmla="*/ 726 w 903"/>
                <a:gd name="T77" fmla="*/ 814 h 843"/>
                <a:gd name="T78" fmla="*/ 563 w 903"/>
                <a:gd name="T79" fmla="*/ 723 h 843"/>
                <a:gd name="T80" fmla="*/ 843 w 903"/>
                <a:gd name="T81" fmla="*/ 722 h 843"/>
                <a:gd name="T82" fmla="*/ 863 w 903"/>
                <a:gd name="T83" fmla="*/ 713 h 843"/>
                <a:gd name="T84" fmla="*/ 882 w 903"/>
                <a:gd name="T85" fmla="*/ 700 h 843"/>
                <a:gd name="T86" fmla="*/ 894 w 903"/>
                <a:gd name="T87" fmla="*/ 683 h 843"/>
                <a:gd name="T88" fmla="*/ 902 w 903"/>
                <a:gd name="T89" fmla="*/ 663 h 843"/>
                <a:gd name="T90" fmla="*/ 903 w 903"/>
                <a:gd name="T91" fmla="*/ 75 h 843"/>
                <a:gd name="T92" fmla="*/ 900 w 903"/>
                <a:gd name="T93" fmla="*/ 53 h 843"/>
                <a:gd name="T94" fmla="*/ 890 w 903"/>
                <a:gd name="T95" fmla="*/ 33 h 843"/>
                <a:gd name="T96" fmla="*/ 876 w 903"/>
                <a:gd name="T97" fmla="*/ 17 h 843"/>
                <a:gd name="T98" fmla="*/ 857 w 903"/>
                <a:gd name="T99" fmla="*/ 6 h 843"/>
                <a:gd name="T100" fmla="*/ 835 w 903"/>
                <a:gd name="T101" fmla="*/ 1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843">
                  <a:moveTo>
                    <a:pt x="873" y="648"/>
                  </a:moveTo>
                  <a:lnTo>
                    <a:pt x="872" y="656"/>
                  </a:lnTo>
                  <a:lnTo>
                    <a:pt x="870" y="665"/>
                  </a:lnTo>
                  <a:lnTo>
                    <a:pt x="866" y="672"/>
                  </a:lnTo>
                  <a:lnTo>
                    <a:pt x="860" y="680"/>
                  </a:lnTo>
                  <a:lnTo>
                    <a:pt x="853" y="685"/>
                  </a:lnTo>
                  <a:lnTo>
                    <a:pt x="845" y="689"/>
                  </a:lnTo>
                  <a:lnTo>
                    <a:pt x="837" y="692"/>
                  </a:lnTo>
                  <a:lnTo>
                    <a:pt x="828" y="693"/>
                  </a:lnTo>
                  <a:lnTo>
                    <a:pt x="542" y="693"/>
                  </a:lnTo>
                  <a:lnTo>
                    <a:pt x="361" y="693"/>
                  </a:lnTo>
                  <a:lnTo>
                    <a:pt x="75" y="693"/>
                  </a:lnTo>
                  <a:lnTo>
                    <a:pt x="66" y="692"/>
                  </a:lnTo>
                  <a:lnTo>
                    <a:pt x="58" y="689"/>
                  </a:lnTo>
                  <a:lnTo>
                    <a:pt x="50" y="685"/>
                  </a:lnTo>
                  <a:lnTo>
                    <a:pt x="43" y="680"/>
                  </a:lnTo>
                  <a:lnTo>
                    <a:pt x="38" y="672"/>
                  </a:lnTo>
                  <a:lnTo>
                    <a:pt x="33" y="665"/>
                  </a:lnTo>
                  <a:lnTo>
                    <a:pt x="31" y="656"/>
                  </a:lnTo>
                  <a:lnTo>
                    <a:pt x="30" y="648"/>
                  </a:lnTo>
                  <a:lnTo>
                    <a:pt x="30" y="75"/>
                  </a:lnTo>
                  <a:lnTo>
                    <a:pt x="31" y="66"/>
                  </a:lnTo>
                  <a:lnTo>
                    <a:pt x="33" y="58"/>
                  </a:lnTo>
                  <a:lnTo>
                    <a:pt x="38" y="50"/>
                  </a:lnTo>
                  <a:lnTo>
                    <a:pt x="43" y="44"/>
                  </a:lnTo>
                  <a:lnTo>
                    <a:pt x="50" y="38"/>
                  </a:lnTo>
                  <a:lnTo>
                    <a:pt x="58" y="34"/>
                  </a:lnTo>
                  <a:lnTo>
                    <a:pt x="66" y="31"/>
                  </a:lnTo>
                  <a:lnTo>
                    <a:pt x="75" y="30"/>
                  </a:lnTo>
                  <a:lnTo>
                    <a:pt x="828" y="30"/>
                  </a:lnTo>
                  <a:lnTo>
                    <a:pt x="837" y="31"/>
                  </a:lnTo>
                  <a:lnTo>
                    <a:pt x="845" y="34"/>
                  </a:lnTo>
                  <a:lnTo>
                    <a:pt x="853" y="38"/>
                  </a:lnTo>
                  <a:lnTo>
                    <a:pt x="860" y="44"/>
                  </a:lnTo>
                  <a:lnTo>
                    <a:pt x="866" y="50"/>
                  </a:lnTo>
                  <a:lnTo>
                    <a:pt x="870" y="58"/>
                  </a:lnTo>
                  <a:lnTo>
                    <a:pt x="872" y="66"/>
                  </a:lnTo>
                  <a:lnTo>
                    <a:pt x="873" y="76"/>
                  </a:lnTo>
                  <a:lnTo>
                    <a:pt x="873" y="648"/>
                  </a:lnTo>
                  <a:close/>
                  <a:moveTo>
                    <a:pt x="565" y="813"/>
                  </a:moveTo>
                  <a:lnTo>
                    <a:pt x="338" y="813"/>
                  </a:lnTo>
                  <a:lnTo>
                    <a:pt x="372" y="723"/>
                  </a:lnTo>
                  <a:lnTo>
                    <a:pt x="532" y="723"/>
                  </a:lnTo>
                  <a:lnTo>
                    <a:pt x="565" y="813"/>
                  </a:lnTo>
                  <a:close/>
                  <a:moveTo>
                    <a:pt x="828" y="0"/>
                  </a:moveTo>
                  <a:lnTo>
                    <a:pt x="75" y="0"/>
                  </a:lnTo>
                  <a:lnTo>
                    <a:pt x="68" y="1"/>
                  </a:lnTo>
                  <a:lnTo>
                    <a:pt x="60" y="2"/>
                  </a:lnTo>
                  <a:lnTo>
                    <a:pt x="53" y="4"/>
                  </a:lnTo>
                  <a:lnTo>
                    <a:pt x="46" y="6"/>
                  </a:lnTo>
                  <a:lnTo>
                    <a:pt x="40" y="9"/>
                  </a:lnTo>
                  <a:lnTo>
                    <a:pt x="33" y="13"/>
                  </a:lnTo>
                  <a:lnTo>
                    <a:pt x="28" y="17"/>
                  </a:lnTo>
                  <a:lnTo>
                    <a:pt x="23" y="22"/>
                  </a:lnTo>
                  <a:lnTo>
                    <a:pt x="17" y="28"/>
                  </a:lnTo>
                  <a:lnTo>
                    <a:pt x="13" y="33"/>
                  </a:lnTo>
                  <a:lnTo>
                    <a:pt x="9" y="39"/>
                  </a:lnTo>
                  <a:lnTo>
                    <a:pt x="6" y="46"/>
                  </a:lnTo>
                  <a:lnTo>
                    <a:pt x="3" y="53"/>
                  </a:lnTo>
                  <a:lnTo>
                    <a:pt x="1" y="60"/>
                  </a:lnTo>
                  <a:lnTo>
                    <a:pt x="0" y="67"/>
                  </a:lnTo>
                  <a:lnTo>
                    <a:pt x="0" y="76"/>
                  </a:lnTo>
                  <a:lnTo>
                    <a:pt x="0" y="648"/>
                  </a:lnTo>
                  <a:lnTo>
                    <a:pt x="0" y="655"/>
                  </a:lnTo>
                  <a:lnTo>
                    <a:pt x="1" y="663"/>
                  </a:lnTo>
                  <a:lnTo>
                    <a:pt x="3" y="670"/>
                  </a:lnTo>
                  <a:lnTo>
                    <a:pt x="6" y="677"/>
                  </a:lnTo>
                  <a:lnTo>
                    <a:pt x="9" y="683"/>
                  </a:lnTo>
                  <a:lnTo>
                    <a:pt x="13" y="689"/>
                  </a:lnTo>
                  <a:lnTo>
                    <a:pt x="17" y="695"/>
                  </a:lnTo>
                  <a:lnTo>
                    <a:pt x="23" y="700"/>
                  </a:lnTo>
                  <a:lnTo>
                    <a:pt x="28" y="706"/>
                  </a:lnTo>
                  <a:lnTo>
                    <a:pt x="33" y="710"/>
                  </a:lnTo>
                  <a:lnTo>
                    <a:pt x="40" y="714"/>
                  </a:lnTo>
                  <a:lnTo>
                    <a:pt x="46" y="716"/>
                  </a:lnTo>
                  <a:lnTo>
                    <a:pt x="53" y="719"/>
                  </a:lnTo>
                  <a:lnTo>
                    <a:pt x="60" y="722"/>
                  </a:lnTo>
                  <a:lnTo>
                    <a:pt x="68" y="723"/>
                  </a:lnTo>
                  <a:lnTo>
                    <a:pt x="75" y="723"/>
                  </a:lnTo>
                  <a:lnTo>
                    <a:pt x="340" y="723"/>
                  </a:lnTo>
                  <a:lnTo>
                    <a:pt x="306" y="813"/>
                  </a:lnTo>
                  <a:lnTo>
                    <a:pt x="180" y="813"/>
                  </a:lnTo>
                  <a:lnTo>
                    <a:pt x="178" y="814"/>
                  </a:lnTo>
                  <a:lnTo>
                    <a:pt x="175" y="814"/>
                  </a:lnTo>
                  <a:lnTo>
                    <a:pt x="173" y="816"/>
                  </a:lnTo>
                  <a:lnTo>
                    <a:pt x="171" y="817"/>
                  </a:lnTo>
                  <a:lnTo>
                    <a:pt x="168" y="819"/>
                  </a:lnTo>
                  <a:lnTo>
                    <a:pt x="166" y="822"/>
                  </a:lnTo>
                  <a:lnTo>
                    <a:pt x="166" y="825"/>
                  </a:lnTo>
                  <a:lnTo>
                    <a:pt x="165" y="828"/>
                  </a:lnTo>
                  <a:lnTo>
                    <a:pt x="166" y="831"/>
                  </a:lnTo>
                  <a:lnTo>
                    <a:pt x="166" y="834"/>
                  </a:lnTo>
                  <a:lnTo>
                    <a:pt x="168" y="836"/>
                  </a:lnTo>
                  <a:lnTo>
                    <a:pt x="171" y="839"/>
                  </a:lnTo>
                  <a:lnTo>
                    <a:pt x="173" y="841"/>
                  </a:lnTo>
                  <a:lnTo>
                    <a:pt x="175" y="842"/>
                  </a:lnTo>
                  <a:lnTo>
                    <a:pt x="178" y="843"/>
                  </a:lnTo>
                  <a:lnTo>
                    <a:pt x="180" y="843"/>
                  </a:lnTo>
                  <a:lnTo>
                    <a:pt x="316" y="843"/>
                  </a:lnTo>
                  <a:lnTo>
                    <a:pt x="587" y="843"/>
                  </a:lnTo>
                  <a:lnTo>
                    <a:pt x="588" y="843"/>
                  </a:lnTo>
                  <a:lnTo>
                    <a:pt x="723" y="843"/>
                  </a:lnTo>
                  <a:lnTo>
                    <a:pt x="726" y="843"/>
                  </a:lnTo>
                  <a:lnTo>
                    <a:pt x="728" y="842"/>
                  </a:lnTo>
                  <a:lnTo>
                    <a:pt x="731" y="841"/>
                  </a:lnTo>
                  <a:lnTo>
                    <a:pt x="734" y="839"/>
                  </a:lnTo>
                  <a:lnTo>
                    <a:pt x="735" y="836"/>
                  </a:lnTo>
                  <a:lnTo>
                    <a:pt x="737" y="834"/>
                  </a:lnTo>
                  <a:lnTo>
                    <a:pt x="737" y="831"/>
                  </a:lnTo>
                  <a:lnTo>
                    <a:pt x="738" y="828"/>
                  </a:lnTo>
                  <a:lnTo>
                    <a:pt x="737" y="825"/>
                  </a:lnTo>
                  <a:lnTo>
                    <a:pt x="737" y="822"/>
                  </a:lnTo>
                  <a:lnTo>
                    <a:pt x="735" y="819"/>
                  </a:lnTo>
                  <a:lnTo>
                    <a:pt x="734" y="817"/>
                  </a:lnTo>
                  <a:lnTo>
                    <a:pt x="731" y="816"/>
                  </a:lnTo>
                  <a:lnTo>
                    <a:pt x="728" y="814"/>
                  </a:lnTo>
                  <a:lnTo>
                    <a:pt x="726" y="814"/>
                  </a:lnTo>
                  <a:lnTo>
                    <a:pt x="723" y="813"/>
                  </a:lnTo>
                  <a:lnTo>
                    <a:pt x="597" y="813"/>
                  </a:lnTo>
                  <a:lnTo>
                    <a:pt x="563" y="723"/>
                  </a:lnTo>
                  <a:lnTo>
                    <a:pt x="828" y="723"/>
                  </a:lnTo>
                  <a:lnTo>
                    <a:pt x="835" y="723"/>
                  </a:lnTo>
                  <a:lnTo>
                    <a:pt x="843" y="722"/>
                  </a:lnTo>
                  <a:lnTo>
                    <a:pt x="850" y="719"/>
                  </a:lnTo>
                  <a:lnTo>
                    <a:pt x="857" y="716"/>
                  </a:lnTo>
                  <a:lnTo>
                    <a:pt x="863" y="713"/>
                  </a:lnTo>
                  <a:lnTo>
                    <a:pt x="870" y="710"/>
                  </a:lnTo>
                  <a:lnTo>
                    <a:pt x="876" y="706"/>
                  </a:lnTo>
                  <a:lnTo>
                    <a:pt x="882" y="700"/>
                  </a:lnTo>
                  <a:lnTo>
                    <a:pt x="886" y="695"/>
                  </a:lnTo>
                  <a:lnTo>
                    <a:pt x="890" y="689"/>
                  </a:lnTo>
                  <a:lnTo>
                    <a:pt x="894" y="683"/>
                  </a:lnTo>
                  <a:lnTo>
                    <a:pt x="898" y="677"/>
                  </a:lnTo>
                  <a:lnTo>
                    <a:pt x="900" y="670"/>
                  </a:lnTo>
                  <a:lnTo>
                    <a:pt x="902" y="663"/>
                  </a:lnTo>
                  <a:lnTo>
                    <a:pt x="903" y="655"/>
                  </a:lnTo>
                  <a:lnTo>
                    <a:pt x="903" y="648"/>
                  </a:lnTo>
                  <a:lnTo>
                    <a:pt x="903" y="75"/>
                  </a:lnTo>
                  <a:lnTo>
                    <a:pt x="903" y="67"/>
                  </a:lnTo>
                  <a:lnTo>
                    <a:pt x="902" y="60"/>
                  </a:lnTo>
                  <a:lnTo>
                    <a:pt x="900" y="53"/>
                  </a:lnTo>
                  <a:lnTo>
                    <a:pt x="898" y="46"/>
                  </a:lnTo>
                  <a:lnTo>
                    <a:pt x="894" y="39"/>
                  </a:lnTo>
                  <a:lnTo>
                    <a:pt x="890" y="33"/>
                  </a:lnTo>
                  <a:lnTo>
                    <a:pt x="886" y="28"/>
                  </a:lnTo>
                  <a:lnTo>
                    <a:pt x="882" y="22"/>
                  </a:lnTo>
                  <a:lnTo>
                    <a:pt x="876" y="17"/>
                  </a:lnTo>
                  <a:lnTo>
                    <a:pt x="870" y="13"/>
                  </a:lnTo>
                  <a:lnTo>
                    <a:pt x="863" y="9"/>
                  </a:lnTo>
                  <a:lnTo>
                    <a:pt x="857" y="6"/>
                  </a:lnTo>
                  <a:lnTo>
                    <a:pt x="850" y="4"/>
                  </a:lnTo>
                  <a:lnTo>
                    <a:pt x="843" y="2"/>
                  </a:lnTo>
                  <a:lnTo>
                    <a:pt x="835"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7" name="Group 45">
            <a:extLst>
              <a:ext uri="{FF2B5EF4-FFF2-40B4-BE49-F238E27FC236}">
                <a16:creationId xmlns:a16="http://schemas.microsoft.com/office/drawing/2014/main" id="{CA6A0A9A-5C50-4D03-9E4B-8B880E0BC380}"/>
              </a:ext>
            </a:extLst>
          </p:cNvPr>
          <p:cNvGrpSpPr>
            <a:grpSpLocks noChangeAspect="1"/>
          </p:cNvGrpSpPr>
          <p:nvPr/>
        </p:nvGrpSpPr>
        <p:grpSpPr>
          <a:xfrm>
            <a:off x="1060719" y="5422647"/>
            <a:ext cx="305900" cy="275479"/>
            <a:chOff x="877888" y="815975"/>
            <a:chExt cx="287338" cy="258763"/>
          </a:xfrm>
          <a:solidFill>
            <a:schemeClr val="bg1"/>
          </a:solidFill>
          <a:effectLst/>
        </p:grpSpPr>
        <p:sp>
          <p:nvSpPr>
            <p:cNvPr id="1088" name="Freeform 60">
              <a:extLst>
                <a:ext uri="{FF2B5EF4-FFF2-40B4-BE49-F238E27FC236}">
                  <a16:creationId xmlns:a16="http://schemas.microsoft.com/office/drawing/2014/main" id="{BF9BEAA8-6EF1-404A-8053-72A5CE29A035}"/>
                </a:ext>
              </a:extLst>
            </p:cNvPr>
            <p:cNvSpPr>
              <a:spLocks noEditPoints="1"/>
            </p:cNvSpPr>
            <p:nvPr/>
          </p:nvSpPr>
          <p:spPr bwMode="auto">
            <a:xfrm>
              <a:off x="877888" y="815975"/>
              <a:ext cx="287338" cy="258763"/>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61">
              <a:extLst>
                <a:ext uri="{FF2B5EF4-FFF2-40B4-BE49-F238E27FC236}">
                  <a16:creationId xmlns:a16="http://schemas.microsoft.com/office/drawing/2014/main" id="{872E6A8A-DC8B-4FEE-A510-23E70B48FCF4}"/>
                </a:ext>
              </a:extLst>
            </p:cNvPr>
            <p:cNvSpPr>
              <a:spLocks noEditPoints="1"/>
            </p:cNvSpPr>
            <p:nvPr/>
          </p:nvSpPr>
          <p:spPr bwMode="auto">
            <a:xfrm>
              <a:off x="1012825" y="1008063"/>
              <a:ext cx="19050" cy="19050"/>
            </a:xfrm>
            <a:custGeom>
              <a:avLst/>
              <a:gdLst>
                <a:gd name="T0" fmla="*/ 30 w 60"/>
                <a:gd name="T1" fmla="*/ 45 h 60"/>
                <a:gd name="T2" fmla="*/ 30 w 60"/>
                <a:gd name="T3" fmla="*/ 30 h 60"/>
                <a:gd name="T4" fmla="*/ 30 w 60"/>
                <a:gd name="T5" fmla="*/ 30 h 60"/>
                <a:gd name="T6" fmla="*/ 30 w 60"/>
                <a:gd name="T7" fmla="*/ 30 h 60"/>
                <a:gd name="T8" fmla="*/ 30 w 60"/>
                <a:gd name="T9" fmla="*/ 45 h 60"/>
                <a:gd name="T10" fmla="*/ 30 w 60"/>
                <a:gd name="T11" fmla="*/ 0 h 60"/>
                <a:gd name="T12" fmla="*/ 24 w 60"/>
                <a:gd name="T13" fmla="*/ 0 h 60"/>
                <a:gd name="T14" fmla="*/ 18 w 60"/>
                <a:gd name="T15" fmla="*/ 2 h 60"/>
                <a:gd name="T16" fmla="*/ 14 w 60"/>
                <a:gd name="T17" fmla="*/ 5 h 60"/>
                <a:gd name="T18" fmla="*/ 8 w 60"/>
                <a:gd name="T19" fmla="*/ 8 h 60"/>
                <a:gd name="T20" fmla="*/ 5 w 60"/>
                <a:gd name="T21" fmla="*/ 12 h 60"/>
                <a:gd name="T22" fmla="*/ 2 w 60"/>
                <a:gd name="T23" fmla="*/ 18 h 60"/>
                <a:gd name="T24" fmla="*/ 1 w 60"/>
                <a:gd name="T25" fmla="*/ 23 h 60"/>
                <a:gd name="T26" fmla="*/ 0 w 60"/>
                <a:gd name="T27" fmla="*/ 30 h 60"/>
                <a:gd name="T28" fmla="*/ 1 w 60"/>
                <a:gd name="T29" fmla="*/ 36 h 60"/>
                <a:gd name="T30" fmla="*/ 2 w 60"/>
                <a:gd name="T31" fmla="*/ 41 h 60"/>
                <a:gd name="T32" fmla="*/ 5 w 60"/>
                <a:gd name="T33" fmla="*/ 47 h 60"/>
                <a:gd name="T34" fmla="*/ 8 w 60"/>
                <a:gd name="T35" fmla="*/ 51 h 60"/>
                <a:gd name="T36" fmla="*/ 14 w 60"/>
                <a:gd name="T37" fmla="*/ 54 h 60"/>
                <a:gd name="T38" fmla="*/ 18 w 60"/>
                <a:gd name="T39" fmla="*/ 58 h 60"/>
                <a:gd name="T40" fmla="*/ 24 w 60"/>
                <a:gd name="T41" fmla="*/ 59 h 60"/>
                <a:gd name="T42" fmla="*/ 30 w 60"/>
                <a:gd name="T43" fmla="*/ 60 h 60"/>
                <a:gd name="T44" fmla="*/ 36 w 60"/>
                <a:gd name="T45" fmla="*/ 59 h 60"/>
                <a:gd name="T46" fmla="*/ 41 w 60"/>
                <a:gd name="T47" fmla="*/ 58 h 60"/>
                <a:gd name="T48" fmla="*/ 47 w 60"/>
                <a:gd name="T49" fmla="*/ 54 h 60"/>
                <a:gd name="T50" fmla="*/ 51 w 60"/>
                <a:gd name="T51" fmla="*/ 51 h 60"/>
                <a:gd name="T52" fmla="*/ 55 w 60"/>
                <a:gd name="T53" fmla="*/ 47 h 60"/>
                <a:gd name="T54" fmla="*/ 57 w 60"/>
                <a:gd name="T55" fmla="*/ 41 h 60"/>
                <a:gd name="T56" fmla="*/ 60 w 60"/>
                <a:gd name="T57" fmla="*/ 36 h 60"/>
                <a:gd name="T58" fmla="*/ 60 w 60"/>
                <a:gd name="T59" fmla="*/ 30 h 60"/>
                <a:gd name="T60" fmla="*/ 60 w 60"/>
                <a:gd name="T61" fmla="*/ 23 h 60"/>
                <a:gd name="T62" fmla="*/ 57 w 60"/>
                <a:gd name="T63" fmla="*/ 18 h 60"/>
                <a:gd name="T64" fmla="*/ 55 w 60"/>
                <a:gd name="T65" fmla="*/ 12 h 60"/>
                <a:gd name="T66" fmla="*/ 51 w 60"/>
                <a:gd name="T67" fmla="*/ 8 h 60"/>
                <a:gd name="T68" fmla="*/ 47 w 60"/>
                <a:gd name="T69" fmla="*/ 5 h 60"/>
                <a:gd name="T70" fmla="*/ 41 w 60"/>
                <a:gd name="T71" fmla="*/ 2 h 60"/>
                <a:gd name="T72" fmla="*/ 36 w 60"/>
                <a:gd name="T73" fmla="*/ 0 h 60"/>
                <a:gd name="T74" fmla="*/ 30 w 60"/>
                <a:gd name="T75" fmla="*/ 0 h 60"/>
                <a:gd name="T76" fmla="*/ 30 w 60"/>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0">
                  <a:moveTo>
                    <a:pt x="30" y="45"/>
                  </a:moveTo>
                  <a:lnTo>
                    <a:pt x="30" y="30"/>
                  </a:lnTo>
                  <a:lnTo>
                    <a:pt x="30" y="30"/>
                  </a:lnTo>
                  <a:lnTo>
                    <a:pt x="30" y="30"/>
                  </a:lnTo>
                  <a:lnTo>
                    <a:pt x="30" y="45"/>
                  </a:lnTo>
                  <a:close/>
                  <a:moveTo>
                    <a:pt x="30" y="0"/>
                  </a:moveTo>
                  <a:lnTo>
                    <a:pt x="24" y="0"/>
                  </a:lnTo>
                  <a:lnTo>
                    <a:pt x="18" y="2"/>
                  </a:lnTo>
                  <a:lnTo>
                    <a:pt x="14" y="5"/>
                  </a:lnTo>
                  <a:lnTo>
                    <a:pt x="8" y="8"/>
                  </a:lnTo>
                  <a:lnTo>
                    <a:pt x="5" y="12"/>
                  </a:lnTo>
                  <a:lnTo>
                    <a:pt x="2" y="18"/>
                  </a:lnTo>
                  <a:lnTo>
                    <a:pt x="1" y="23"/>
                  </a:lnTo>
                  <a:lnTo>
                    <a:pt x="0" y="30"/>
                  </a:lnTo>
                  <a:lnTo>
                    <a:pt x="1" y="36"/>
                  </a:lnTo>
                  <a:lnTo>
                    <a:pt x="2" y="41"/>
                  </a:lnTo>
                  <a:lnTo>
                    <a:pt x="5" y="47"/>
                  </a:lnTo>
                  <a:lnTo>
                    <a:pt x="8" y="51"/>
                  </a:lnTo>
                  <a:lnTo>
                    <a:pt x="14" y="54"/>
                  </a:lnTo>
                  <a:lnTo>
                    <a:pt x="18" y="58"/>
                  </a:lnTo>
                  <a:lnTo>
                    <a:pt x="24" y="59"/>
                  </a:lnTo>
                  <a:lnTo>
                    <a:pt x="30" y="60"/>
                  </a:lnTo>
                  <a:lnTo>
                    <a:pt x="36" y="59"/>
                  </a:lnTo>
                  <a:lnTo>
                    <a:pt x="41" y="58"/>
                  </a:lnTo>
                  <a:lnTo>
                    <a:pt x="47" y="54"/>
                  </a:lnTo>
                  <a:lnTo>
                    <a:pt x="51" y="51"/>
                  </a:lnTo>
                  <a:lnTo>
                    <a:pt x="55" y="47"/>
                  </a:lnTo>
                  <a:lnTo>
                    <a:pt x="57" y="41"/>
                  </a:lnTo>
                  <a:lnTo>
                    <a:pt x="60" y="36"/>
                  </a:lnTo>
                  <a:lnTo>
                    <a:pt x="60" y="30"/>
                  </a:lnTo>
                  <a:lnTo>
                    <a:pt x="60" y="23"/>
                  </a:lnTo>
                  <a:lnTo>
                    <a:pt x="57" y="18"/>
                  </a:lnTo>
                  <a:lnTo>
                    <a:pt x="55" y="12"/>
                  </a:lnTo>
                  <a:lnTo>
                    <a:pt x="51" y="8"/>
                  </a:lnTo>
                  <a:lnTo>
                    <a:pt x="47" y="5"/>
                  </a:lnTo>
                  <a:lnTo>
                    <a:pt x="41"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0" name="Group 48">
            <a:extLst>
              <a:ext uri="{FF2B5EF4-FFF2-40B4-BE49-F238E27FC236}">
                <a16:creationId xmlns:a16="http://schemas.microsoft.com/office/drawing/2014/main" id="{DEAE8C76-A9AA-4395-ADD5-4D37A1730793}"/>
              </a:ext>
            </a:extLst>
          </p:cNvPr>
          <p:cNvGrpSpPr>
            <a:grpSpLocks noChangeAspect="1"/>
          </p:cNvGrpSpPr>
          <p:nvPr/>
        </p:nvGrpSpPr>
        <p:grpSpPr>
          <a:xfrm>
            <a:off x="1450469" y="5432787"/>
            <a:ext cx="305900" cy="255199"/>
            <a:chOff x="3171825" y="835025"/>
            <a:chExt cx="287338" cy="239713"/>
          </a:xfrm>
          <a:solidFill>
            <a:schemeClr val="bg1"/>
          </a:solidFill>
          <a:effectLst/>
        </p:grpSpPr>
        <p:sp>
          <p:nvSpPr>
            <p:cNvPr id="1091" name="Freeform 70">
              <a:extLst>
                <a:ext uri="{FF2B5EF4-FFF2-40B4-BE49-F238E27FC236}">
                  <a16:creationId xmlns:a16="http://schemas.microsoft.com/office/drawing/2014/main" id="{E01EA44B-2CA9-49B1-9994-662FC7381725}"/>
                </a:ext>
              </a:extLst>
            </p:cNvPr>
            <p:cNvSpPr>
              <a:spLocks noEditPoints="1"/>
            </p:cNvSpPr>
            <p:nvPr/>
          </p:nvSpPr>
          <p:spPr bwMode="auto">
            <a:xfrm>
              <a:off x="3171825" y="835025"/>
              <a:ext cx="287338" cy="239713"/>
            </a:xfrm>
            <a:custGeom>
              <a:avLst/>
              <a:gdLst>
                <a:gd name="T0" fmla="*/ 871 w 903"/>
                <a:gd name="T1" fmla="*/ 488 h 752"/>
                <a:gd name="T2" fmla="*/ 865 w 903"/>
                <a:gd name="T3" fmla="*/ 497 h 752"/>
                <a:gd name="T4" fmla="*/ 855 w 903"/>
                <a:gd name="T5" fmla="*/ 502 h 752"/>
                <a:gd name="T6" fmla="*/ 451 w 903"/>
                <a:gd name="T7" fmla="*/ 568 h 752"/>
                <a:gd name="T8" fmla="*/ 47 w 903"/>
                <a:gd name="T9" fmla="*/ 502 h 752"/>
                <a:gd name="T10" fmla="*/ 37 w 903"/>
                <a:gd name="T11" fmla="*/ 497 h 752"/>
                <a:gd name="T12" fmla="*/ 31 w 903"/>
                <a:gd name="T13" fmla="*/ 488 h 752"/>
                <a:gd name="T14" fmla="*/ 30 w 903"/>
                <a:gd name="T15" fmla="*/ 45 h 752"/>
                <a:gd name="T16" fmla="*/ 33 w 903"/>
                <a:gd name="T17" fmla="*/ 36 h 752"/>
                <a:gd name="T18" fmla="*/ 39 w 903"/>
                <a:gd name="T19" fmla="*/ 31 h 752"/>
                <a:gd name="T20" fmla="*/ 858 w 903"/>
                <a:gd name="T21" fmla="*/ 30 h 752"/>
                <a:gd name="T22" fmla="*/ 866 w 903"/>
                <a:gd name="T23" fmla="*/ 32 h 752"/>
                <a:gd name="T24" fmla="*/ 871 w 903"/>
                <a:gd name="T25" fmla="*/ 39 h 752"/>
                <a:gd name="T26" fmla="*/ 873 w 903"/>
                <a:gd name="T27" fmla="*/ 482 h 752"/>
                <a:gd name="T28" fmla="*/ 482 w 903"/>
                <a:gd name="T29" fmla="*/ 663 h 752"/>
                <a:gd name="T30" fmla="*/ 436 w 903"/>
                <a:gd name="T31" fmla="*/ 662 h 752"/>
                <a:gd name="T32" fmla="*/ 390 w 903"/>
                <a:gd name="T33" fmla="*/ 664 h 752"/>
                <a:gd name="T34" fmla="*/ 426 w 903"/>
                <a:gd name="T35" fmla="*/ 597 h 752"/>
                <a:gd name="T36" fmla="*/ 451 w 903"/>
                <a:gd name="T37" fmla="*/ 598 h 752"/>
                <a:gd name="T38" fmla="*/ 477 w 903"/>
                <a:gd name="T39" fmla="*/ 597 h 752"/>
                <a:gd name="T40" fmla="*/ 512 w 903"/>
                <a:gd name="T41" fmla="*/ 664 h 752"/>
                <a:gd name="T42" fmla="*/ 36 w 903"/>
                <a:gd name="T43" fmla="*/ 0 h 752"/>
                <a:gd name="T44" fmla="*/ 12 w 903"/>
                <a:gd name="T45" fmla="*/ 13 h 752"/>
                <a:gd name="T46" fmla="*/ 1 w 903"/>
                <a:gd name="T47" fmla="*/ 35 h 752"/>
                <a:gd name="T48" fmla="*/ 1 w 903"/>
                <a:gd name="T49" fmla="*/ 490 h 752"/>
                <a:gd name="T50" fmla="*/ 11 w 903"/>
                <a:gd name="T51" fmla="*/ 514 h 752"/>
                <a:gd name="T52" fmla="*/ 33 w 903"/>
                <a:gd name="T53" fmla="*/ 529 h 752"/>
                <a:gd name="T54" fmla="*/ 360 w 903"/>
                <a:gd name="T55" fmla="*/ 667 h 752"/>
                <a:gd name="T56" fmla="*/ 278 w 903"/>
                <a:gd name="T57" fmla="*/ 681 h 752"/>
                <a:gd name="T58" fmla="*/ 203 w 903"/>
                <a:gd name="T59" fmla="*/ 704 h 752"/>
                <a:gd name="T60" fmla="*/ 155 w 903"/>
                <a:gd name="T61" fmla="*/ 725 h 752"/>
                <a:gd name="T62" fmla="*/ 151 w 903"/>
                <a:gd name="T63" fmla="*/ 733 h 752"/>
                <a:gd name="T64" fmla="*/ 151 w 903"/>
                <a:gd name="T65" fmla="*/ 741 h 752"/>
                <a:gd name="T66" fmla="*/ 155 w 903"/>
                <a:gd name="T67" fmla="*/ 749 h 752"/>
                <a:gd name="T68" fmla="*/ 163 w 903"/>
                <a:gd name="T69" fmla="*/ 752 h 752"/>
                <a:gd name="T70" fmla="*/ 171 w 903"/>
                <a:gd name="T71" fmla="*/ 751 h 752"/>
                <a:gd name="T72" fmla="*/ 216 w 903"/>
                <a:gd name="T73" fmla="*/ 731 h 752"/>
                <a:gd name="T74" fmla="*/ 301 w 903"/>
                <a:gd name="T75" fmla="*/ 707 h 752"/>
                <a:gd name="T76" fmla="*/ 412 w 903"/>
                <a:gd name="T77" fmla="*/ 693 h 752"/>
                <a:gd name="T78" fmla="*/ 528 w 903"/>
                <a:gd name="T79" fmla="*/ 696 h 752"/>
                <a:gd name="T80" fmla="*/ 637 w 903"/>
                <a:gd name="T81" fmla="*/ 715 h 752"/>
                <a:gd name="T82" fmla="*/ 701 w 903"/>
                <a:gd name="T83" fmla="*/ 737 h 752"/>
                <a:gd name="T84" fmla="*/ 734 w 903"/>
                <a:gd name="T85" fmla="*/ 752 h 752"/>
                <a:gd name="T86" fmla="*/ 745 w 903"/>
                <a:gd name="T87" fmla="*/ 750 h 752"/>
                <a:gd name="T88" fmla="*/ 752 w 903"/>
                <a:gd name="T89" fmla="*/ 741 h 752"/>
                <a:gd name="T90" fmla="*/ 751 w 903"/>
                <a:gd name="T91" fmla="*/ 733 h 752"/>
                <a:gd name="T92" fmla="*/ 747 w 903"/>
                <a:gd name="T93" fmla="*/ 725 h 752"/>
                <a:gd name="T94" fmla="*/ 699 w 903"/>
                <a:gd name="T95" fmla="*/ 704 h 752"/>
                <a:gd name="T96" fmla="*/ 624 w 903"/>
                <a:gd name="T97" fmla="*/ 681 h 752"/>
                <a:gd name="T98" fmla="*/ 542 w 903"/>
                <a:gd name="T99" fmla="*/ 667 h 752"/>
                <a:gd name="T100" fmla="*/ 869 w 903"/>
                <a:gd name="T101" fmla="*/ 529 h 752"/>
                <a:gd name="T102" fmla="*/ 891 w 903"/>
                <a:gd name="T103" fmla="*/ 514 h 752"/>
                <a:gd name="T104" fmla="*/ 901 w 903"/>
                <a:gd name="T105" fmla="*/ 490 h 752"/>
                <a:gd name="T106" fmla="*/ 901 w 903"/>
                <a:gd name="T107" fmla="*/ 35 h 752"/>
                <a:gd name="T108" fmla="*/ 890 w 903"/>
                <a:gd name="T109" fmla="*/ 13 h 752"/>
                <a:gd name="T110" fmla="*/ 867 w 903"/>
                <a:gd name="T111"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752">
                  <a:moveTo>
                    <a:pt x="873" y="482"/>
                  </a:moveTo>
                  <a:lnTo>
                    <a:pt x="873" y="485"/>
                  </a:lnTo>
                  <a:lnTo>
                    <a:pt x="871" y="488"/>
                  </a:lnTo>
                  <a:lnTo>
                    <a:pt x="869" y="491"/>
                  </a:lnTo>
                  <a:lnTo>
                    <a:pt x="867" y="494"/>
                  </a:lnTo>
                  <a:lnTo>
                    <a:pt x="865" y="497"/>
                  </a:lnTo>
                  <a:lnTo>
                    <a:pt x="862" y="499"/>
                  </a:lnTo>
                  <a:lnTo>
                    <a:pt x="859" y="501"/>
                  </a:lnTo>
                  <a:lnTo>
                    <a:pt x="855" y="502"/>
                  </a:lnTo>
                  <a:lnTo>
                    <a:pt x="478" y="566"/>
                  </a:lnTo>
                  <a:lnTo>
                    <a:pt x="466" y="568"/>
                  </a:lnTo>
                  <a:lnTo>
                    <a:pt x="451" y="568"/>
                  </a:lnTo>
                  <a:lnTo>
                    <a:pt x="436" y="568"/>
                  </a:lnTo>
                  <a:lnTo>
                    <a:pt x="424" y="566"/>
                  </a:lnTo>
                  <a:lnTo>
                    <a:pt x="47" y="502"/>
                  </a:lnTo>
                  <a:lnTo>
                    <a:pt x="43" y="501"/>
                  </a:lnTo>
                  <a:lnTo>
                    <a:pt x="40" y="499"/>
                  </a:lnTo>
                  <a:lnTo>
                    <a:pt x="37" y="497"/>
                  </a:lnTo>
                  <a:lnTo>
                    <a:pt x="35" y="494"/>
                  </a:lnTo>
                  <a:lnTo>
                    <a:pt x="33" y="491"/>
                  </a:lnTo>
                  <a:lnTo>
                    <a:pt x="31" y="488"/>
                  </a:lnTo>
                  <a:lnTo>
                    <a:pt x="30" y="485"/>
                  </a:lnTo>
                  <a:lnTo>
                    <a:pt x="30" y="482"/>
                  </a:lnTo>
                  <a:lnTo>
                    <a:pt x="30" y="45"/>
                  </a:lnTo>
                  <a:lnTo>
                    <a:pt x="30" y="42"/>
                  </a:lnTo>
                  <a:lnTo>
                    <a:pt x="31" y="39"/>
                  </a:lnTo>
                  <a:lnTo>
                    <a:pt x="33" y="36"/>
                  </a:lnTo>
                  <a:lnTo>
                    <a:pt x="34" y="34"/>
                  </a:lnTo>
                  <a:lnTo>
                    <a:pt x="36" y="32"/>
                  </a:lnTo>
                  <a:lnTo>
                    <a:pt x="39" y="31"/>
                  </a:lnTo>
                  <a:lnTo>
                    <a:pt x="41" y="30"/>
                  </a:lnTo>
                  <a:lnTo>
                    <a:pt x="45" y="30"/>
                  </a:lnTo>
                  <a:lnTo>
                    <a:pt x="858" y="30"/>
                  </a:lnTo>
                  <a:lnTo>
                    <a:pt x="861" y="30"/>
                  </a:lnTo>
                  <a:lnTo>
                    <a:pt x="864" y="31"/>
                  </a:lnTo>
                  <a:lnTo>
                    <a:pt x="866" y="32"/>
                  </a:lnTo>
                  <a:lnTo>
                    <a:pt x="868" y="34"/>
                  </a:lnTo>
                  <a:lnTo>
                    <a:pt x="870" y="36"/>
                  </a:lnTo>
                  <a:lnTo>
                    <a:pt x="871" y="39"/>
                  </a:lnTo>
                  <a:lnTo>
                    <a:pt x="873" y="42"/>
                  </a:lnTo>
                  <a:lnTo>
                    <a:pt x="873" y="45"/>
                  </a:lnTo>
                  <a:lnTo>
                    <a:pt x="873" y="482"/>
                  </a:lnTo>
                  <a:close/>
                  <a:moveTo>
                    <a:pt x="512" y="664"/>
                  </a:moveTo>
                  <a:lnTo>
                    <a:pt x="497" y="663"/>
                  </a:lnTo>
                  <a:lnTo>
                    <a:pt x="482" y="663"/>
                  </a:lnTo>
                  <a:lnTo>
                    <a:pt x="466" y="662"/>
                  </a:lnTo>
                  <a:lnTo>
                    <a:pt x="451" y="662"/>
                  </a:lnTo>
                  <a:lnTo>
                    <a:pt x="436" y="662"/>
                  </a:lnTo>
                  <a:lnTo>
                    <a:pt x="421" y="663"/>
                  </a:lnTo>
                  <a:lnTo>
                    <a:pt x="405" y="664"/>
                  </a:lnTo>
                  <a:lnTo>
                    <a:pt x="390" y="664"/>
                  </a:lnTo>
                  <a:lnTo>
                    <a:pt x="390" y="591"/>
                  </a:lnTo>
                  <a:lnTo>
                    <a:pt x="419" y="596"/>
                  </a:lnTo>
                  <a:lnTo>
                    <a:pt x="426" y="597"/>
                  </a:lnTo>
                  <a:lnTo>
                    <a:pt x="434" y="598"/>
                  </a:lnTo>
                  <a:lnTo>
                    <a:pt x="442" y="598"/>
                  </a:lnTo>
                  <a:lnTo>
                    <a:pt x="451" y="598"/>
                  </a:lnTo>
                  <a:lnTo>
                    <a:pt x="460" y="598"/>
                  </a:lnTo>
                  <a:lnTo>
                    <a:pt x="468" y="598"/>
                  </a:lnTo>
                  <a:lnTo>
                    <a:pt x="477" y="597"/>
                  </a:lnTo>
                  <a:lnTo>
                    <a:pt x="483" y="596"/>
                  </a:lnTo>
                  <a:lnTo>
                    <a:pt x="512" y="591"/>
                  </a:lnTo>
                  <a:lnTo>
                    <a:pt x="512" y="664"/>
                  </a:lnTo>
                  <a:close/>
                  <a:moveTo>
                    <a:pt x="858" y="0"/>
                  </a:moveTo>
                  <a:lnTo>
                    <a:pt x="45" y="0"/>
                  </a:lnTo>
                  <a:lnTo>
                    <a:pt x="36" y="0"/>
                  </a:lnTo>
                  <a:lnTo>
                    <a:pt x="27" y="3"/>
                  </a:lnTo>
                  <a:lnTo>
                    <a:pt x="20" y="7"/>
                  </a:lnTo>
                  <a:lnTo>
                    <a:pt x="12" y="13"/>
                  </a:lnTo>
                  <a:lnTo>
                    <a:pt x="7" y="19"/>
                  </a:lnTo>
                  <a:lnTo>
                    <a:pt x="3" y="27"/>
                  </a:lnTo>
                  <a:lnTo>
                    <a:pt x="1" y="35"/>
                  </a:lnTo>
                  <a:lnTo>
                    <a:pt x="0" y="45"/>
                  </a:lnTo>
                  <a:lnTo>
                    <a:pt x="0" y="482"/>
                  </a:lnTo>
                  <a:lnTo>
                    <a:pt x="1" y="490"/>
                  </a:lnTo>
                  <a:lnTo>
                    <a:pt x="3" y="499"/>
                  </a:lnTo>
                  <a:lnTo>
                    <a:pt x="7" y="506"/>
                  </a:lnTo>
                  <a:lnTo>
                    <a:pt x="11" y="514"/>
                  </a:lnTo>
                  <a:lnTo>
                    <a:pt x="18" y="520"/>
                  </a:lnTo>
                  <a:lnTo>
                    <a:pt x="25" y="526"/>
                  </a:lnTo>
                  <a:lnTo>
                    <a:pt x="33" y="529"/>
                  </a:lnTo>
                  <a:lnTo>
                    <a:pt x="41" y="531"/>
                  </a:lnTo>
                  <a:lnTo>
                    <a:pt x="360" y="586"/>
                  </a:lnTo>
                  <a:lnTo>
                    <a:pt x="360" y="667"/>
                  </a:lnTo>
                  <a:lnTo>
                    <a:pt x="332" y="671"/>
                  </a:lnTo>
                  <a:lnTo>
                    <a:pt x="305" y="676"/>
                  </a:lnTo>
                  <a:lnTo>
                    <a:pt x="278" y="681"/>
                  </a:lnTo>
                  <a:lnTo>
                    <a:pt x="253" y="687"/>
                  </a:lnTo>
                  <a:lnTo>
                    <a:pt x="228" y="695"/>
                  </a:lnTo>
                  <a:lnTo>
                    <a:pt x="203" y="704"/>
                  </a:lnTo>
                  <a:lnTo>
                    <a:pt x="180" y="713"/>
                  </a:lnTo>
                  <a:lnTo>
                    <a:pt x="158" y="724"/>
                  </a:lnTo>
                  <a:lnTo>
                    <a:pt x="155" y="725"/>
                  </a:lnTo>
                  <a:lnTo>
                    <a:pt x="153" y="727"/>
                  </a:lnTo>
                  <a:lnTo>
                    <a:pt x="152" y="729"/>
                  </a:lnTo>
                  <a:lnTo>
                    <a:pt x="151" y="733"/>
                  </a:lnTo>
                  <a:lnTo>
                    <a:pt x="150" y="735"/>
                  </a:lnTo>
                  <a:lnTo>
                    <a:pt x="150" y="738"/>
                  </a:lnTo>
                  <a:lnTo>
                    <a:pt x="151" y="741"/>
                  </a:lnTo>
                  <a:lnTo>
                    <a:pt x="152" y="743"/>
                  </a:lnTo>
                  <a:lnTo>
                    <a:pt x="153" y="746"/>
                  </a:lnTo>
                  <a:lnTo>
                    <a:pt x="155" y="749"/>
                  </a:lnTo>
                  <a:lnTo>
                    <a:pt x="157" y="750"/>
                  </a:lnTo>
                  <a:lnTo>
                    <a:pt x="160" y="752"/>
                  </a:lnTo>
                  <a:lnTo>
                    <a:pt x="163" y="752"/>
                  </a:lnTo>
                  <a:lnTo>
                    <a:pt x="166" y="752"/>
                  </a:lnTo>
                  <a:lnTo>
                    <a:pt x="169" y="752"/>
                  </a:lnTo>
                  <a:lnTo>
                    <a:pt x="171" y="751"/>
                  </a:lnTo>
                  <a:lnTo>
                    <a:pt x="186" y="743"/>
                  </a:lnTo>
                  <a:lnTo>
                    <a:pt x="201" y="737"/>
                  </a:lnTo>
                  <a:lnTo>
                    <a:pt x="216" y="731"/>
                  </a:lnTo>
                  <a:lnTo>
                    <a:pt x="232" y="725"/>
                  </a:lnTo>
                  <a:lnTo>
                    <a:pt x="266" y="715"/>
                  </a:lnTo>
                  <a:lnTo>
                    <a:pt x="301" y="707"/>
                  </a:lnTo>
                  <a:lnTo>
                    <a:pt x="337" y="700"/>
                  </a:lnTo>
                  <a:lnTo>
                    <a:pt x="374" y="696"/>
                  </a:lnTo>
                  <a:lnTo>
                    <a:pt x="412" y="693"/>
                  </a:lnTo>
                  <a:lnTo>
                    <a:pt x="451" y="692"/>
                  </a:lnTo>
                  <a:lnTo>
                    <a:pt x="490" y="693"/>
                  </a:lnTo>
                  <a:lnTo>
                    <a:pt x="528" y="696"/>
                  </a:lnTo>
                  <a:lnTo>
                    <a:pt x="566" y="700"/>
                  </a:lnTo>
                  <a:lnTo>
                    <a:pt x="601" y="707"/>
                  </a:lnTo>
                  <a:lnTo>
                    <a:pt x="637" y="715"/>
                  </a:lnTo>
                  <a:lnTo>
                    <a:pt x="670" y="725"/>
                  </a:lnTo>
                  <a:lnTo>
                    <a:pt x="686" y="731"/>
                  </a:lnTo>
                  <a:lnTo>
                    <a:pt x="701" y="737"/>
                  </a:lnTo>
                  <a:lnTo>
                    <a:pt x="716" y="743"/>
                  </a:lnTo>
                  <a:lnTo>
                    <a:pt x="731" y="751"/>
                  </a:lnTo>
                  <a:lnTo>
                    <a:pt x="734" y="752"/>
                  </a:lnTo>
                  <a:lnTo>
                    <a:pt x="737" y="752"/>
                  </a:lnTo>
                  <a:lnTo>
                    <a:pt x="742" y="752"/>
                  </a:lnTo>
                  <a:lnTo>
                    <a:pt x="745" y="750"/>
                  </a:lnTo>
                  <a:lnTo>
                    <a:pt x="748" y="748"/>
                  </a:lnTo>
                  <a:lnTo>
                    <a:pt x="751" y="743"/>
                  </a:lnTo>
                  <a:lnTo>
                    <a:pt x="752" y="741"/>
                  </a:lnTo>
                  <a:lnTo>
                    <a:pt x="752" y="738"/>
                  </a:lnTo>
                  <a:lnTo>
                    <a:pt x="752" y="735"/>
                  </a:lnTo>
                  <a:lnTo>
                    <a:pt x="751" y="733"/>
                  </a:lnTo>
                  <a:lnTo>
                    <a:pt x="750" y="729"/>
                  </a:lnTo>
                  <a:lnTo>
                    <a:pt x="749" y="727"/>
                  </a:lnTo>
                  <a:lnTo>
                    <a:pt x="747" y="725"/>
                  </a:lnTo>
                  <a:lnTo>
                    <a:pt x="744" y="724"/>
                  </a:lnTo>
                  <a:lnTo>
                    <a:pt x="722" y="713"/>
                  </a:lnTo>
                  <a:lnTo>
                    <a:pt x="699" y="704"/>
                  </a:lnTo>
                  <a:lnTo>
                    <a:pt x="675" y="695"/>
                  </a:lnTo>
                  <a:lnTo>
                    <a:pt x="649" y="687"/>
                  </a:lnTo>
                  <a:lnTo>
                    <a:pt x="624" y="681"/>
                  </a:lnTo>
                  <a:lnTo>
                    <a:pt x="597" y="676"/>
                  </a:lnTo>
                  <a:lnTo>
                    <a:pt x="570" y="671"/>
                  </a:lnTo>
                  <a:lnTo>
                    <a:pt x="542" y="667"/>
                  </a:lnTo>
                  <a:lnTo>
                    <a:pt x="542" y="586"/>
                  </a:lnTo>
                  <a:lnTo>
                    <a:pt x="861" y="531"/>
                  </a:lnTo>
                  <a:lnTo>
                    <a:pt x="869" y="529"/>
                  </a:lnTo>
                  <a:lnTo>
                    <a:pt x="877" y="526"/>
                  </a:lnTo>
                  <a:lnTo>
                    <a:pt x="884" y="520"/>
                  </a:lnTo>
                  <a:lnTo>
                    <a:pt x="891" y="514"/>
                  </a:lnTo>
                  <a:lnTo>
                    <a:pt x="896" y="506"/>
                  </a:lnTo>
                  <a:lnTo>
                    <a:pt x="899" y="499"/>
                  </a:lnTo>
                  <a:lnTo>
                    <a:pt x="901" y="490"/>
                  </a:lnTo>
                  <a:lnTo>
                    <a:pt x="903" y="482"/>
                  </a:lnTo>
                  <a:lnTo>
                    <a:pt x="903" y="45"/>
                  </a:lnTo>
                  <a:lnTo>
                    <a:pt x="901" y="35"/>
                  </a:lnTo>
                  <a:lnTo>
                    <a:pt x="899" y="27"/>
                  </a:lnTo>
                  <a:lnTo>
                    <a:pt x="895" y="19"/>
                  </a:lnTo>
                  <a:lnTo>
                    <a:pt x="890" y="13"/>
                  </a:lnTo>
                  <a:lnTo>
                    <a:pt x="883" y="7"/>
                  </a:lnTo>
                  <a:lnTo>
                    <a:pt x="875" y="3"/>
                  </a:lnTo>
                  <a:lnTo>
                    <a:pt x="867" y="0"/>
                  </a:lnTo>
                  <a:lnTo>
                    <a:pt x="858"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71">
              <a:extLst>
                <a:ext uri="{FF2B5EF4-FFF2-40B4-BE49-F238E27FC236}">
                  <a16:creationId xmlns:a16="http://schemas.microsoft.com/office/drawing/2014/main" id="{D99878DE-0690-404B-83AC-D1F7C227C4D2}"/>
                </a:ext>
              </a:extLst>
            </p:cNvPr>
            <p:cNvSpPr>
              <a:spLocks noEditPoints="1"/>
            </p:cNvSpPr>
            <p:nvPr/>
          </p:nvSpPr>
          <p:spPr bwMode="auto">
            <a:xfrm>
              <a:off x="3190875" y="854075"/>
              <a:ext cx="249238" cy="125413"/>
            </a:xfrm>
            <a:custGeom>
              <a:avLst/>
              <a:gdLst>
                <a:gd name="T0" fmla="*/ 30 w 783"/>
                <a:gd name="T1" fmla="*/ 30 h 392"/>
                <a:gd name="T2" fmla="*/ 752 w 783"/>
                <a:gd name="T3" fmla="*/ 30 h 392"/>
                <a:gd name="T4" fmla="*/ 752 w 783"/>
                <a:gd name="T5" fmla="*/ 360 h 392"/>
                <a:gd name="T6" fmla="*/ 30 w 783"/>
                <a:gd name="T7" fmla="*/ 360 h 392"/>
                <a:gd name="T8" fmla="*/ 30 w 783"/>
                <a:gd name="T9" fmla="*/ 30 h 392"/>
                <a:gd name="T10" fmla="*/ 0 w 783"/>
                <a:gd name="T11" fmla="*/ 392 h 392"/>
                <a:gd name="T12" fmla="*/ 783 w 783"/>
                <a:gd name="T13" fmla="*/ 392 h 392"/>
                <a:gd name="T14" fmla="*/ 783 w 783"/>
                <a:gd name="T15" fmla="*/ 0 h 392"/>
                <a:gd name="T16" fmla="*/ 0 w 783"/>
                <a:gd name="T17" fmla="*/ 0 h 392"/>
                <a:gd name="T18" fmla="*/ 0 w 783"/>
                <a:gd name="T19"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3" h="392">
                  <a:moveTo>
                    <a:pt x="30" y="30"/>
                  </a:moveTo>
                  <a:lnTo>
                    <a:pt x="752" y="30"/>
                  </a:lnTo>
                  <a:lnTo>
                    <a:pt x="752" y="360"/>
                  </a:lnTo>
                  <a:lnTo>
                    <a:pt x="30" y="360"/>
                  </a:lnTo>
                  <a:lnTo>
                    <a:pt x="30" y="30"/>
                  </a:lnTo>
                  <a:close/>
                  <a:moveTo>
                    <a:pt x="0" y="392"/>
                  </a:moveTo>
                  <a:lnTo>
                    <a:pt x="783" y="392"/>
                  </a:lnTo>
                  <a:lnTo>
                    <a:pt x="783" y="0"/>
                  </a:lnTo>
                  <a:lnTo>
                    <a:pt x="0" y="0"/>
                  </a:lnTo>
                  <a:lnTo>
                    <a:pt x="0"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72">
              <a:extLst>
                <a:ext uri="{FF2B5EF4-FFF2-40B4-BE49-F238E27FC236}">
                  <a16:creationId xmlns:a16="http://schemas.microsoft.com/office/drawing/2014/main" id="{0432646C-6FF7-4848-9C26-85D4CF23917A}"/>
                </a:ext>
              </a:extLst>
            </p:cNvPr>
            <p:cNvSpPr>
              <a:spLocks/>
            </p:cNvSpPr>
            <p:nvPr/>
          </p:nvSpPr>
          <p:spPr bwMode="auto">
            <a:xfrm>
              <a:off x="3306763" y="989013"/>
              <a:ext cx="19050" cy="19050"/>
            </a:xfrm>
            <a:custGeom>
              <a:avLst/>
              <a:gdLst>
                <a:gd name="T0" fmla="*/ 30 w 60"/>
                <a:gd name="T1" fmla="*/ 0 h 60"/>
                <a:gd name="T2" fmla="*/ 24 w 60"/>
                <a:gd name="T3" fmla="*/ 0 h 60"/>
                <a:gd name="T4" fmla="*/ 18 w 60"/>
                <a:gd name="T5" fmla="*/ 2 h 60"/>
                <a:gd name="T6" fmla="*/ 13 w 60"/>
                <a:gd name="T7" fmla="*/ 4 h 60"/>
                <a:gd name="T8" fmla="*/ 9 w 60"/>
                <a:gd name="T9" fmla="*/ 8 h 60"/>
                <a:gd name="T10" fmla="*/ 5 w 60"/>
                <a:gd name="T11" fmla="*/ 12 h 60"/>
                <a:gd name="T12" fmla="*/ 2 w 60"/>
                <a:gd name="T13" fmla="*/ 18 h 60"/>
                <a:gd name="T14" fmla="*/ 1 w 60"/>
                <a:gd name="T15" fmla="*/ 23 h 60"/>
                <a:gd name="T16" fmla="*/ 0 w 60"/>
                <a:gd name="T17" fmla="*/ 30 h 60"/>
                <a:gd name="T18" fmla="*/ 1 w 60"/>
                <a:gd name="T19" fmla="*/ 35 h 60"/>
                <a:gd name="T20" fmla="*/ 2 w 60"/>
                <a:gd name="T21" fmla="*/ 41 h 60"/>
                <a:gd name="T22" fmla="*/ 5 w 60"/>
                <a:gd name="T23" fmla="*/ 46 h 60"/>
                <a:gd name="T24" fmla="*/ 9 w 60"/>
                <a:gd name="T25" fmla="*/ 51 h 60"/>
                <a:gd name="T26" fmla="*/ 13 w 60"/>
                <a:gd name="T27" fmla="*/ 54 h 60"/>
                <a:gd name="T28" fmla="*/ 18 w 60"/>
                <a:gd name="T29" fmla="*/ 57 h 60"/>
                <a:gd name="T30" fmla="*/ 24 w 60"/>
                <a:gd name="T31" fmla="*/ 59 h 60"/>
                <a:gd name="T32" fmla="*/ 30 w 60"/>
                <a:gd name="T33" fmla="*/ 60 h 60"/>
                <a:gd name="T34" fmla="*/ 36 w 60"/>
                <a:gd name="T35" fmla="*/ 59 h 60"/>
                <a:gd name="T36" fmla="*/ 42 w 60"/>
                <a:gd name="T37" fmla="*/ 57 h 60"/>
                <a:gd name="T38" fmla="*/ 47 w 60"/>
                <a:gd name="T39" fmla="*/ 54 h 60"/>
                <a:gd name="T40" fmla="*/ 51 w 60"/>
                <a:gd name="T41" fmla="*/ 51 h 60"/>
                <a:gd name="T42" fmla="*/ 55 w 60"/>
                <a:gd name="T43" fmla="*/ 46 h 60"/>
                <a:gd name="T44" fmla="*/ 58 w 60"/>
                <a:gd name="T45" fmla="*/ 41 h 60"/>
                <a:gd name="T46" fmla="*/ 60 w 60"/>
                <a:gd name="T47" fmla="*/ 35 h 60"/>
                <a:gd name="T48" fmla="*/ 60 w 60"/>
                <a:gd name="T49" fmla="*/ 30 h 60"/>
                <a:gd name="T50" fmla="*/ 60 w 60"/>
                <a:gd name="T51" fmla="*/ 23 h 60"/>
                <a:gd name="T52" fmla="*/ 58 w 60"/>
                <a:gd name="T53" fmla="*/ 18 h 60"/>
                <a:gd name="T54" fmla="*/ 55 w 60"/>
                <a:gd name="T55" fmla="*/ 12 h 60"/>
                <a:gd name="T56" fmla="*/ 51 w 60"/>
                <a:gd name="T57" fmla="*/ 8 h 60"/>
                <a:gd name="T58" fmla="*/ 47 w 60"/>
                <a:gd name="T59" fmla="*/ 4 h 60"/>
                <a:gd name="T60" fmla="*/ 42 w 60"/>
                <a:gd name="T61" fmla="*/ 2 h 60"/>
                <a:gd name="T62" fmla="*/ 36 w 60"/>
                <a:gd name="T63" fmla="*/ 0 h 60"/>
                <a:gd name="T64" fmla="*/ 30 w 60"/>
                <a:gd name="T6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0"/>
                  </a:moveTo>
                  <a:lnTo>
                    <a:pt x="24" y="0"/>
                  </a:lnTo>
                  <a:lnTo>
                    <a:pt x="18" y="2"/>
                  </a:lnTo>
                  <a:lnTo>
                    <a:pt x="13" y="4"/>
                  </a:lnTo>
                  <a:lnTo>
                    <a:pt x="9" y="8"/>
                  </a:lnTo>
                  <a:lnTo>
                    <a:pt x="5" y="12"/>
                  </a:lnTo>
                  <a:lnTo>
                    <a:pt x="2" y="18"/>
                  </a:lnTo>
                  <a:lnTo>
                    <a:pt x="1" y="23"/>
                  </a:lnTo>
                  <a:lnTo>
                    <a:pt x="0" y="30"/>
                  </a:lnTo>
                  <a:lnTo>
                    <a:pt x="1" y="35"/>
                  </a:lnTo>
                  <a:lnTo>
                    <a:pt x="2" y="41"/>
                  </a:lnTo>
                  <a:lnTo>
                    <a:pt x="5" y="46"/>
                  </a:lnTo>
                  <a:lnTo>
                    <a:pt x="9" y="51"/>
                  </a:lnTo>
                  <a:lnTo>
                    <a:pt x="13" y="54"/>
                  </a:lnTo>
                  <a:lnTo>
                    <a:pt x="18" y="57"/>
                  </a:lnTo>
                  <a:lnTo>
                    <a:pt x="24" y="59"/>
                  </a:lnTo>
                  <a:lnTo>
                    <a:pt x="30" y="60"/>
                  </a:lnTo>
                  <a:lnTo>
                    <a:pt x="36" y="59"/>
                  </a:lnTo>
                  <a:lnTo>
                    <a:pt x="42" y="57"/>
                  </a:lnTo>
                  <a:lnTo>
                    <a:pt x="47" y="54"/>
                  </a:lnTo>
                  <a:lnTo>
                    <a:pt x="51" y="51"/>
                  </a:lnTo>
                  <a:lnTo>
                    <a:pt x="55" y="46"/>
                  </a:lnTo>
                  <a:lnTo>
                    <a:pt x="58" y="41"/>
                  </a:lnTo>
                  <a:lnTo>
                    <a:pt x="60" y="35"/>
                  </a:lnTo>
                  <a:lnTo>
                    <a:pt x="60" y="30"/>
                  </a:lnTo>
                  <a:lnTo>
                    <a:pt x="60" y="23"/>
                  </a:lnTo>
                  <a:lnTo>
                    <a:pt x="58" y="18"/>
                  </a:lnTo>
                  <a:lnTo>
                    <a:pt x="55" y="12"/>
                  </a:lnTo>
                  <a:lnTo>
                    <a:pt x="51" y="8"/>
                  </a:lnTo>
                  <a:lnTo>
                    <a:pt x="47" y="4"/>
                  </a:lnTo>
                  <a:lnTo>
                    <a:pt x="42" y="2"/>
                  </a:lnTo>
                  <a:lnTo>
                    <a:pt x="36"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6" name="Freeform 60">
            <a:extLst>
              <a:ext uri="{FF2B5EF4-FFF2-40B4-BE49-F238E27FC236}">
                <a16:creationId xmlns:a16="http://schemas.microsoft.com/office/drawing/2014/main" id="{B47BD750-04C1-49DE-AA2E-A0CE0DA5612C}"/>
              </a:ext>
            </a:extLst>
          </p:cNvPr>
          <p:cNvSpPr>
            <a:spLocks noChangeAspect="1" noEditPoints="1"/>
          </p:cNvSpPr>
          <p:nvPr/>
        </p:nvSpPr>
        <p:spPr bwMode="auto">
          <a:xfrm>
            <a:off x="1878117" y="5422647"/>
            <a:ext cx="305900" cy="275479"/>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ndParaRPr>
          </a:p>
        </p:txBody>
      </p:sp>
      <p:grpSp>
        <p:nvGrpSpPr>
          <p:cNvPr id="1213" name="Group 5120">
            <a:extLst>
              <a:ext uri="{FF2B5EF4-FFF2-40B4-BE49-F238E27FC236}">
                <a16:creationId xmlns:a16="http://schemas.microsoft.com/office/drawing/2014/main" id="{0D574686-FB2B-4D35-8A91-8F5684FC3839}"/>
              </a:ext>
            </a:extLst>
          </p:cNvPr>
          <p:cNvGrpSpPr>
            <a:grpSpLocks noChangeAspect="1"/>
          </p:cNvGrpSpPr>
          <p:nvPr/>
        </p:nvGrpSpPr>
        <p:grpSpPr>
          <a:xfrm>
            <a:off x="2295068" y="5425737"/>
            <a:ext cx="305900" cy="269299"/>
            <a:chOff x="5640388" y="5537200"/>
            <a:chExt cx="371475" cy="327026"/>
          </a:xfrm>
          <a:solidFill>
            <a:schemeClr val="bg1"/>
          </a:solidFill>
          <a:effectLst/>
        </p:grpSpPr>
        <p:sp>
          <p:nvSpPr>
            <p:cNvPr id="1214" name="Freeform 8">
              <a:extLst>
                <a:ext uri="{FF2B5EF4-FFF2-40B4-BE49-F238E27FC236}">
                  <a16:creationId xmlns:a16="http://schemas.microsoft.com/office/drawing/2014/main" id="{244943F8-8BE6-4503-9FB6-F3FD7B1CEC52}"/>
                </a:ext>
              </a:extLst>
            </p:cNvPr>
            <p:cNvSpPr>
              <a:spLocks noEditPoints="1"/>
            </p:cNvSpPr>
            <p:nvPr/>
          </p:nvSpPr>
          <p:spPr bwMode="auto">
            <a:xfrm>
              <a:off x="5640388" y="5537200"/>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9">
              <a:extLst>
                <a:ext uri="{FF2B5EF4-FFF2-40B4-BE49-F238E27FC236}">
                  <a16:creationId xmlns:a16="http://schemas.microsoft.com/office/drawing/2014/main" id="{31E76C2E-5533-42EB-8610-7F31D72DE0C2}"/>
                </a:ext>
              </a:extLst>
            </p:cNvPr>
            <p:cNvSpPr>
              <a:spLocks/>
            </p:cNvSpPr>
            <p:nvPr/>
          </p:nvSpPr>
          <p:spPr bwMode="auto">
            <a:xfrm>
              <a:off x="5710238" y="5848350"/>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0">
              <a:extLst>
                <a:ext uri="{FF2B5EF4-FFF2-40B4-BE49-F238E27FC236}">
                  <a16:creationId xmlns:a16="http://schemas.microsoft.com/office/drawing/2014/main" id="{318D2951-2B73-4CEA-85EE-8F4E9EC44E98}"/>
                </a:ext>
              </a:extLst>
            </p:cNvPr>
            <p:cNvSpPr>
              <a:spLocks/>
            </p:cNvSpPr>
            <p:nvPr/>
          </p:nvSpPr>
          <p:spPr bwMode="auto">
            <a:xfrm>
              <a:off x="5818188" y="58181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Oval 11">
              <a:extLst>
                <a:ext uri="{FF2B5EF4-FFF2-40B4-BE49-F238E27FC236}">
                  <a16:creationId xmlns:a16="http://schemas.microsoft.com/office/drawing/2014/main" id="{D0ED8B4A-7318-4977-8BBA-E1018D559B98}"/>
                </a:ext>
              </a:extLst>
            </p:cNvPr>
            <p:cNvSpPr>
              <a:spLocks noChangeArrowheads="1"/>
            </p:cNvSpPr>
            <p:nvPr/>
          </p:nvSpPr>
          <p:spPr bwMode="auto">
            <a:xfrm>
              <a:off x="5810251" y="577850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Rectangle 12">
              <a:extLst>
                <a:ext uri="{FF2B5EF4-FFF2-40B4-BE49-F238E27FC236}">
                  <a16:creationId xmlns:a16="http://schemas.microsoft.com/office/drawing/2014/main" id="{080F9363-DC74-4977-9E61-E71F50D841ED}"/>
                </a:ext>
              </a:extLst>
            </p:cNvPr>
            <p:cNvSpPr>
              <a:spLocks noChangeArrowheads="1"/>
            </p:cNvSpPr>
            <p:nvPr/>
          </p:nvSpPr>
          <p:spPr bwMode="auto">
            <a:xfrm>
              <a:off x="5648326" y="5754688"/>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13">
              <a:extLst>
                <a:ext uri="{FF2B5EF4-FFF2-40B4-BE49-F238E27FC236}">
                  <a16:creationId xmlns:a16="http://schemas.microsoft.com/office/drawing/2014/main" id="{FD3139C3-225F-40B6-AF69-C507B70CBA24}"/>
                </a:ext>
              </a:extLst>
            </p:cNvPr>
            <p:cNvSpPr>
              <a:spLocks/>
            </p:cNvSpPr>
            <p:nvPr/>
          </p:nvSpPr>
          <p:spPr bwMode="auto">
            <a:xfrm>
              <a:off x="5780088" y="5614988"/>
              <a:ext cx="107950" cy="77788"/>
            </a:xfrm>
            <a:custGeom>
              <a:avLst/>
              <a:gdLst>
                <a:gd name="T0" fmla="*/ 10 w 28"/>
                <a:gd name="T1" fmla="*/ 20 h 20"/>
                <a:gd name="T2" fmla="*/ 9 w 28"/>
                <a:gd name="T3" fmla="*/ 19 h 20"/>
                <a:gd name="T4" fmla="*/ 1 w 28"/>
                <a:gd name="T5" fmla="*/ 11 h 20"/>
                <a:gd name="T6" fmla="*/ 1 w 28"/>
                <a:gd name="T7" fmla="*/ 9 h 20"/>
                <a:gd name="T8" fmla="*/ 3 w 28"/>
                <a:gd name="T9" fmla="*/ 9 h 20"/>
                <a:gd name="T10" fmla="*/ 10 w 28"/>
                <a:gd name="T11" fmla="*/ 15 h 20"/>
                <a:gd name="T12" fmla="*/ 25 w 28"/>
                <a:gd name="T13" fmla="*/ 1 h 20"/>
                <a:gd name="T14" fmla="*/ 27 w 28"/>
                <a:gd name="T15" fmla="*/ 1 h 20"/>
                <a:gd name="T16" fmla="*/ 27 w 28"/>
                <a:gd name="T17" fmla="*/ 3 h 20"/>
                <a:gd name="T18" fmla="*/ 11 w 28"/>
                <a:gd name="T19" fmla="*/ 19 h 20"/>
                <a:gd name="T20" fmla="*/ 10 w 28"/>
                <a:gd name="T2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0">
                  <a:moveTo>
                    <a:pt x="10" y="20"/>
                  </a:moveTo>
                  <a:cubicBezTo>
                    <a:pt x="9" y="20"/>
                    <a:pt x="9" y="20"/>
                    <a:pt x="9" y="19"/>
                  </a:cubicBezTo>
                  <a:cubicBezTo>
                    <a:pt x="1" y="11"/>
                    <a:pt x="1" y="11"/>
                    <a:pt x="1" y="11"/>
                  </a:cubicBezTo>
                  <a:cubicBezTo>
                    <a:pt x="0" y="11"/>
                    <a:pt x="0" y="9"/>
                    <a:pt x="1" y="9"/>
                  </a:cubicBezTo>
                  <a:cubicBezTo>
                    <a:pt x="1" y="8"/>
                    <a:pt x="3" y="8"/>
                    <a:pt x="3" y="9"/>
                  </a:cubicBezTo>
                  <a:cubicBezTo>
                    <a:pt x="10" y="15"/>
                    <a:pt x="10" y="15"/>
                    <a:pt x="10" y="15"/>
                  </a:cubicBezTo>
                  <a:cubicBezTo>
                    <a:pt x="25" y="1"/>
                    <a:pt x="25" y="1"/>
                    <a:pt x="25" y="1"/>
                  </a:cubicBezTo>
                  <a:cubicBezTo>
                    <a:pt x="25" y="0"/>
                    <a:pt x="27" y="0"/>
                    <a:pt x="27" y="1"/>
                  </a:cubicBezTo>
                  <a:cubicBezTo>
                    <a:pt x="28" y="1"/>
                    <a:pt x="28" y="3"/>
                    <a:pt x="27" y="3"/>
                  </a:cubicBezTo>
                  <a:cubicBezTo>
                    <a:pt x="11" y="19"/>
                    <a:pt x="11" y="19"/>
                    <a:pt x="11" y="19"/>
                  </a:cubicBezTo>
                  <a:cubicBezTo>
                    <a:pt x="11" y="20"/>
                    <a:pt x="11"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4">
              <a:extLst>
                <a:ext uri="{FF2B5EF4-FFF2-40B4-BE49-F238E27FC236}">
                  <a16:creationId xmlns:a16="http://schemas.microsoft.com/office/drawing/2014/main" id="{46E49999-95E0-4D50-92A8-54EE71B4C631}"/>
                </a:ext>
              </a:extLst>
            </p:cNvPr>
            <p:cNvSpPr>
              <a:spLocks/>
            </p:cNvSpPr>
            <p:nvPr/>
          </p:nvSpPr>
          <p:spPr bwMode="auto">
            <a:xfrm>
              <a:off x="5748338" y="5576888"/>
              <a:ext cx="155575" cy="155575"/>
            </a:xfrm>
            <a:custGeom>
              <a:avLst/>
              <a:gdLst>
                <a:gd name="T0" fmla="*/ 20 w 40"/>
                <a:gd name="T1" fmla="*/ 40 h 40"/>
                <a:gd name="T2" fmla="*/ 0 w 40"/>
                <a:gd name="T3" fmla="*/ 20 h 40"/>
                <a:gd name="T4" fmla="*/ 20 w 40"/>
                <a:gd name="T5" fmla="*/ 0 h 40"/>
                <a:gd name="T6" fmla="*/ 29 w 40"/>
                <a:gd name="T7" fmla="*/ 2 h 40"/>
                <a:gd name="T8" fmla="*/ 30 w 40"/>
                <a:gd name="T9" fmla="*/ 5 h 40"/>
                <a:gd name="T10" fmla="*/ 27 w 40"/>
                <a:gd name="T11" fmla="*/ 6 h 40"/>
                <a:gd name="T12" fmla="*/ 20 w 40"/>
                <a:gd name="T13" fmla="*/ 4 h 40"/>
                <a:gd name="T14" fmla="*/ 4 w 40"/>
                <a:gd name="T15" fmla="*/ 20 h 40"/>
                <a:gd name="T16" fmla="*/ 20 w 40"/>
                <a:gd name="T17" fmla="*/ 36 h 40"/>
                <a:gd name="T18" fmla="*/ 36 w 40"/>
                <a:gd name="T19" fmla="*/ 20 h 40"/>
                <a:gd name="T20" fmla="*/ 38 w 40"/>
                <a:gd name="T21" fmla="*/ 18 h 40"/>
                <a:gd name="T22" fmla="*/ 40 w 40"/>
                <a:gd name="T23" fmla="*/ 20 h 40"/>
                <a:gd name="T24" fmla="*/ 20 w 40"/>
                <a:gd name="T2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0">
                  <a:moveTo>
                    <a:pt x="20" y="40"/>
                  </a:moveTo>
                  <a:cubicBezTo>
                    <a:pt x="9" y="40"/>
                    <a:pt x="0" y="31"/>
                    <a:pt x="0" y="20"/>
                  </a:cubicBezTo>
                  <a:cubicBezTo>
                    <a:pt x="0" y="9"/>
                    <a:pt x="9" y="0"/>
                    <a:pt x="20" y="0"/>
                  </a:cubicBezTo>
                  <a:cubicBezTo>
                    <a:pt x="23" y="0"/>
                    <a:pt x="26" y="1"/>
                    <a:pt x="29" y="2"/>
                  </a:cubicBezTo>
                  <a:cubicBezTo>
                    <a:pt x="30" y="3"/>
                    <a:pt x="31" y="4"/>
                    <a:pt x="30" y="5"/>
                  </a:cubicBezTo>
                  <a:cubicBezTo>
                    <a:pt x="30" y="6"/>
                    <a:pt x="28" y="6"/>
                    <a:pt x="27" y="6"/>
                  </a:cubicBezTo>
                  <a:cubicBezTo>
                    <a:pt x="25" y="5"/>
                    <a:pt x="23" y="4"/>
                    <a:pt x="20" y="4"/>
                  </a:cubicBezTo>
                  <a:cubicBezTo>
                    <a:pt x="11" y="4"/>
                    <a:pt x="4" y="11"/>
                    <a:pt x="4" y="20"/>
                  </a:cubicBezTo>
                  <a:cubicBezTo>
                    <a:pt x="4" y="29"/>
                    <a:pt x="11" y="36"/>
                    <a:pt x="20" y="36"/>
                  </a:cubicBezTo>
                  <a:cubicBezTo>
                    <a:pt x="29" y="36"/>
                    <a:pt x="36" y="29"/>
                    <a:pt x="36" y="20"/>
                  </a:cubicBezTo>
                  <a:cubicBezTo>
                    <a:pt x="36" y="19"/>
                    <a:pt x="37" y="18"/>
                    <a:pt x="38" y="18"/>
                  </a:cubicBezTo>
                  <a:cubicBezTo>
                    <a:pt x="39" y="18"/>
                    <a:pt x="40" y="19"/>
                    <a:pt x="40" y="20"/>
                  </a:cubicBezTo>
                  <a:cubicBezTo>
                    <a:pt x="40" y="31"/>
                    <a:pt x="31" y="40"/>
                    <a:pt x="2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17" name="Group 22">
            <a:extLst>
              <a:ext uri="{FF2B5EF4-FFF2-40B4-BE49-F238E27FC236}">
                <a16:creationId xmlns:a16="http://schemas.microsoft.com/office/drawing/2014/main" id="{8B91C876-5234-43CE-B730-F21D9D3C1658}"/>
              </a:ext>
            </a:extLst>
          </p:cNvPr>
          <p:cNvGrpSpPr>
            <a:grpSpLocks noChangeAspect="1"/>
          </p:cNvGrpSpPr>
          <p:nvPr/>
        </p:nvGrpSpPr>
        <p:grpSpPr>
          <a:xfrm>
            <a:off x="2736258" y="5407437"/>
            <a:ext cx="305900" cy="305900"/>
            <a:chOff x="1450975" y="787400"/>
            <a:chExt cx="287338" cy="287338"/>
          </a:xfrm>
          <a:solidFill>
            <a:schemeClr val="bg1"/>
          </a:solidFill>
          <a:effectLst/>
        </p:grpSpPr>
        <p:sp>
          <p:nvSpPr>
            <p:cNvPr id="1318" name="Freeform 62">
              <a:extLst>
                <a:ext uri="{FF2B5EF4-FFF2-40B4-BE49-F238E27FC236}">
                  <a16:creationId xmlns:a16="http://schemas.microsoft.com/office/drawing/2014/main" id="{75F4F2F6-3838-45D4-9863-DF979E348B30}"/>
                </a:ext>
              </a:extLst>
            </p:cNvPr>
            <p:cNvSpPr>
              <a:spLocks noEditPoints="1"/>
            </p:cNvSpPr>
            <p:nvPr/>
          </p:nvSpPr>
          <p:spPr bwMode="auto">
            <a:xfrm>
              <a:off x="1490663" y="815975"/>
              <a:ext cx="209550" cy="123825"/>
            </a:xfrm>
            <a:custGeom>
              <a:avLst/>
              <a:gdLst>
                <a:gd name="T0" fmla="*/ 632 w 662"/>
                <a:gd name="T1" fmla="*/ 361 h 391"/>
                <a:gd name="T2" fmla="*/ 30 w 662"/>
                <a:gd name="T3" fmla="*/ 361 h 391"/>
                <a:gd name="T4" fmla="*/ 30 w 662"/>
                <a:gd name="T5" fmla="*/ 30 h 391"/>
                <a:gd name="T6" fmla="*/ 632 w 662"/>
                <a:gd name="T7" fmla="*/ 30 h 391"/>
                <a:gd name="T8" fmla="*/ 632 w 662"/>
                <a:gd name="T9" fmla="*/ 361 h 391"/>
                <a:gd name="T10" fmla="*/ 662 w 662"/>
                <a:gd name="T11" fmla="*/ 0 h 391"/>
                <a:gd name="T12" fmla="*/ 0 w 662"/>
                <a:gd name="T13" fmla="*/ 0 h 391"/>
                <a:gd name="T14" fmla="*/ 0 w 662"/>
                <a:gd name="T15" fmla="*/ 391 h 391"/>
                <a:gd name="T16" fmla="*/ 662 w 662"/>
                <a:gd name="T17" fmla="*/ 391 h 391"/>
                <a:gd name="T18" fmla="*/ 662 w 662"/>
                <a:gd name="T19"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2" h="391">
                  <a:moveTo>
                    <a:pt x="632" y="361"/>
                  </a:moveTo>
                  <a:lnTo>
                    <a:pt x="30" y="361"/>
                  </a:lnTo>
                  <a:lnTo>
                    <a:pt x="30" y="30"/>
                  </a:lnTo>
                  <a:lnTo>
                    <a:pt x="632" y="30"/>
                  </a:lnTo>
                  <a:lnTo>
                    <a:pt x="632" y="361"/>
                  </a:lnTo>
                  <a:close/>
                  <a:moveTo>
                    <a:pt x="662" y="0"/>
                  </a:moveTo>
                  <a:lnTo>
                    <a:pt x="0" y="0"/>
                  </a:lnTo>
                  <a:lnTo>
                    <a:pt x="0" y="391"/>
                  </a:lnTo>
                  <a:lnTo>
                    <a:pt x="662" y="391"/>
                  </a:lnTo>
                  <a:lnTo>
                    <a:pt x="6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63">
              <a:extLst>
                <a:ext uri="{FF2B5EF4-FFF2-40B4-BE49-F238E27FC236}">
                  <a16:creationId xmlns:a16="http://schemas.microsoft.com/office/drawing/2014/main" id="{8F9D08B6-BCBB-4B81-BEAB-43D556C8C538}"/>
                </a:ext>
              </a:extLst>
            </p:cNvPr>
            <p:cNvSpPr>
              <a:spLocks/>
            </p:cNvSpPr>
            <p:nvPr/>
          </p:nvSpPr>
          <p:spPr bwMode="auto">
            <a:xfrm>
              <a:off x="1481138" y="1008063"/>
              <a:ext cx="76200" cy="9525"/>
            </a:xfrm>
            <a:custGeom>
              <a:avLst/>
              <a:gdLst>
                <a:gd name="T0" fmla="*/ 226 w 241"/>
                <a:gd name="T1" fmla="*/ 0 h 30"/>
                <a:gd name="T2" fmla="*/ 15 w 241"/>
                <a:gd name="T3" fmla="*/ 0 h 30"/>
                <a:gd name="T4" fmla="*/ 12 w 241"/>
                <a:gd name="T5" fmla="*/ 0 h 30"/>
                <a:gd name="T6" fmla="*/ 9 w 241"/>
                <a:gd name="T7" fmla="*/ 1 h 30"/>
                <a:gd name="T8" fmla="*/ 7 w 241"/>
                <a:gd name="T9" fmla="*/ 2 h 30"/>
                <a:gd name="T10" fmla="*/ 5 w 241"/>
                <a:gd name="T11" fmla="*/ 4 h 30"/>
                <a:gd name="T12" fmla="*/ 2 w 241"/>
                <a:gd name="T13" fmla="*/ 6 h 30"/>
                <a:gd name="T14" fmla="*/ 1 w 241"/>
                <a:gd name="T15" fmla="*/ 8 h 30"/>
                <a:gd name="T16" fmla="*/ 0 w 241"/>
                <a:gd name="T17" fmla="*/ 11 h 30"/>
                <a:gd name="T18" fmla="*/ 0 w 241"/>
                <a:gd name="T19" fmla="*/ 15 h 30"/>
                <a:gd name="T20" fmla="*/ 0 w 241"/>
                <a:gd name="T21" fmla="*/ 18 h 30"/>
                <a:gd name="T22" fmla="*/ 1 w 241"/>
                <a:gd name="T23" fmla="*/ 20 h 30"/>
                <a:gd name="T24" fmla="*/ 2 w 241"/>
                <a:gd name="T25" fmla="*/ 23 h 30"/>
                <a:gd name="T26" fmla="*/ 5 w 241"/>
                <a:gd name="T27" fmla="*/ 25 h 30"/>
                <a:gd name="T28" fmla="*/ 7 w 241"/>
                <a:gd name="T29" fmla="*/ 26 h 30"/>
                <a:gd name="T30" fmla="*/ 9 w 241"/>
                <a:gd name="T31" fmla="*/ 29 h 30"/>
                <a:gd name="T32" fmla="*/ 12 w 241"/>
                <a:gd name="T33" fmla="*/ 30 h 30"/>
                <a:gd name="T34" fmla="*/ 15 w 241"/>
                <a:gd name="T35" fmla="*/ 30 h 30"/>
                <a:gd name="T36" fmla="*/ 226 w 241"/>
                <a:gd name="T37" fmla="*/ 30 h 30"/>
                <a:gd name="T38" fmla="*/ 229 w 241"/>
                <a:gd name="T39" fmla="*/ 29 h 30"/>
                <a:gd name="T40" fmla="*/ 232 w 241"/>
                <a:gd name="T41" fmla="*/ 29 h 30"/>
                <a:gd name="T42" fmla="*/ 234 w 241"/>
                <a:gd name="T43" fmla="*/ 26 h 30"/>
                <a:gd name="T44" fmla="*/ 236 w 241"/>
                <a:gd name="T45" fmla="*/ 25 h 30"/>
                <a:gd name="T46" fmla="*/ 238 w 241"/>
                <a:gd name="T47" fmla="*/ 23 h 30"/>
                <a:gd name="T48" fmla="*/ 240 w 241"/>
                <a:gd name="T49" fmla="*/ 20 h 30"/>
                <a:gd name="T50" fmla="*/ 241 w 241"/>
                <a:gd name="T51" fmla="*/ 18 h 30"/>
                <a:gd name="T52" fmla="*/ 241 w 241"/>
                <a:gd name="T53" fmla="*/ 15 h 30"/>
                <a:gd name="T54" fmla="*/ 241 w 241"/>
                <a:gd name="T55" fmla="*/ 11 h 30"/>
                <a:gd name="T56" fmla="*/ 240 w 241"/>
                <a:gd name="T57" fmla="*/ 8 h 30"/>
                <a:gd name="T58" fmla="*/ 238 w 241"/>
                <a:gd name="T59" fmla="*/ 6 h 30"/>
                <a:gd name="T60" fmla="*/ 236 w 241"/>
                <a:gd name="T61" fmla="*/ 4 h 30"/>
                <a:gd name="T62" fmla="*/ 234 w 241"/>
                <a:gd name="T63" fmla="*/ 2 h 30"/>
                <a:gd name="T64" fmla="*/ 232 w 241"/>
                <a:gd name="T65" fmla="*/ 1 h 30"/>
                <a:gd name="T66" fmla="*/ 229 w 241"/>
                <a:gd name="T67" fmla="*/ 0 h 30"/>
                <a:gd name="T68" fmla="*/ 226 w 241"/>
                <a:gd name="T69" fmla="*/ 0 h 30"/>
                <a:gd name="T70" fmla="*/ 226 w 24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226" y="0"/>
                  </a:moveTo>
                  <a:lnTo>
                    <a:pt x="15" y="0"/>
                  </a:lnTo>
                  <a:lnTo>
                    <a:pt x="12" y="0"/>
                  </a:lnTo>
                  <a:lnTo>
                    <a:pt x="9" y="1"/>
                  </a:lnTo>
                  <a:lnTo>
                    <a:pt x="7" y="2"/>
                  </a:lnTo>
                  <a:lnTo>
                    <a:pt x="5" y="4"/>
                  </a:lnTo>
                  <a:lnTo>
                    <a:pt x="2" y="6"/>
                  </a:lnTo>
                  <a:lnTo>
                    <a:pt x="1" y="8"/>
                  </a:lnTo>
                  <a:lnTo>
                    <a:pt x="0" y="11"/>
                  </a:lnTo>
                  <a:lnTo>
                    <a:pt x="0" y="15"/>
                  </a:lnTo>
                  <a:lnTo>
                    <a:pt x="0" y="18"/>
                  </a:lnTo>
                  <a:lnTo>
                    <a:pt x="1" y="20"/>
                  </a:lnTo>
                  <a:lnTo>
                    <a:pt x="2" y="23"/>
                  </a:lnTo>
                  <a:lnTo>
                    <a:pt x="5" y="25"/>
                  </a:lnTo>
                  <a:lnTo>
                    <a:pt x="7" y="26"/>
                  </a:lnTo>
                  <a:lnTo>
                    <a:pt x="9" y="29"/>
                  </a:lnTo>
                  <a:lnTo>
                    <a:pt x="12" y="30"/>
                  </a:lnTo>
                  <a:lnTo>
                    <a:pt x="15" y="30"/>
                  </a:lnTo>
                  <a:lnTo>
                    <a:pt x="226" y="30"/>
                  </a:lnTo>
                  <a:lnTo>
                    <a:pt x="229" y="29"/>
                  </a:lnTo>
                  <a:lnTo>
                    <a:pt x="232" y="29"/>
                  </a:lnTo>
                  <a:lnTo>
                    <a:pt x="234" y="26"/>
                  </a:lnTo>
                  <a:lnTo>
                    <a:pt x="236" y="25"/>
                  </a:lnTo>
                  <a:lnTo>
                    <a:pt x="238" y="23"/>
                  </a:lnTo>
                  <a:lnTo>
                    <a:pt x="240" y="20"/>
                  </a:lnTo>
                  <a:lnTo>
                    <a:pt x="241" y="18"/>
                  </a:lnTo>
                  <a:lnTo>
                    <a:pt x="241" y="15"/>
                  </a:lnTo>
                  <a:lnTo>
                    <a:pt x="241" y="11"/>
                  </a:lnTo>
                  <a:lnTo>
                    <a:pt x="240" y="8"/>
                  </a:lnTo>
                  <a:lnTo>
                    <a:pt x="238" y="6"/>
                  </a:lnTo>
                  <a:lnTo>
                    <a:pt x="236" y="4"/>
                  </a:lnTo>
                  <a:lnTo>
                    <a:pt x="234" y="2"/>
                  </a:lnTo>
                  <a:lnTo>
                    <a:pt x="232" y="1"/>
                  </a:lnTo>
                  <a:lnTo>
                    <a:pt x="229" y="0"/>
                  </a:lnTo>
                  <a:lnTo>
                    <a:pt x="226"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Freeform 64">
              <a:extLst>
                <a:ext uri="{FF2B5EF4-FFF2-40B4-BE49-F238E27FC236}">
                  <a16:creationId xmlns:a16="http://schemas.microsoft.com/office/drawing/2014/main" id="{281A5034-7609-460F-BDD2-064B10E9A0E0}"/>
                </a:ext>
              </a:extLst>
            </p:cNvPr>
            <p:cNvSpPr>
              <a:spLocks/>
            </p:cNvSpPr>
            <p:nvPr/>
          </p:nvSpPr>
          <p:spPr bwMode="auto">
            <a:xfrm>
              <a:off x="1481138" y="1027113"/>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2 h 30"/>
                <a:gd name="T10" fmla="*/ 5 w 120"/>
                <a:gd name="T11" fmla="*/ 4 h 30"/>
                <a:gd name="T12" fmla="*/ 2 w 120"/>
                <a:gd name="T13" fmla="*/ 6 h 30"/>
                <a:gd name="T14" fmla="*/ 1 w 120"/>
                <a:gd name="T15" fmla="*/ 9 h 30"/>
                <a:gd name="T16" fmla="*/ 0 w 120"/>
                <a:gd name="T17" fmla="*/ 11 h 30"/>
                <a:gd name="T18" fmla="*/ 0 w 120"/>
                <a:gd name="T19" fmla="*/ 15 h 30"/>
                <a:gd name="T20" fmla="*/ 0 w 120"/>
                <a:gd name="T21" fmla="*/ 18 h 30"/>
                <a:gd name="T22" fmla="*/ 1 w 120"/>
                <a:gd name="T23" fmla="*/ 20 h 30"/>
                <a:gd name="T24" fmla="*/ 2 w 120"/>
                <a:gd name="T25" fmla="*/ 23 h 30"/>
                <a:gd name="T26" fmla="*/ 5 w 120"/>
                <a:gd name="T27" fmla="*/ 25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5 h 30"/>
                <a:gd name="T46" fmla="*/ 118 w 120"/>
                <a:gd name="T47" fmla="*/ 23 h 30"/>
                <a:gd name="T48" fmla="*/ 119 w 120"/>
                <a:gd name="T49" fmla="*/ 20 h 30"/>
                <a:gd name="T50" fmla="*/ 120 w 120"/>
                <a:gd name="T51" fmla="*/ 18 h 30"/>
                <a:gd name="T52" fmla="*/ 120 w 120"/>
                <a:gd name="T53" fmla="*/ 15 h 30"/>
                <a:gd name="T54" fmla="*/ 120 w 120"/>
                <a:gd name="T55" fmla="*/ 11 h 30"/>
                <a:gd name="T56" fmla="*/ 119 w 120"/>
                <a:gd name="T57" fmla="*/ 9 h 30"/>
                <a:gd name="T58" fmla="*/ 118 w 120"/>
                <a:gd name="T59" fmla="*/ 6 h 30"/>
                <a:gd name="T60" fmla="*/ 116 w 120"/>
                <a:gd name="T61" fmla="*/ 4 h 30"/>
                <a:gd name="T62" fmla="*/ 114 w 120"/>
                <a:gd name="T63" fmla="*/ 2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2"/>
                  </a:lnTo>
                  <a:lnTo>
                    <a:pt x="5" y="4"/>
                  </a:lnTo>
                  <a:lnTo>
                    <a:pt x="2" y="6"/>
                  </a:lnTo>
                  <a:lnTo>
                    <a:pt x="1" y="9"/>
                  </a:lnTo>
                  <a:lnTo>
                    <a:pt x="0" y="11"/>
                  </a:lnTo>
                  <a:lnTo>
                    <a:pt x="0" y="15"/>
                  </a:lnTo>
                  <a:lnTo>
                    <a:pt x="0" y="18"/>
                  </a:lnTo>
                  <a:lnTo>
                    <a:pt x="1" y="20"/>
                  </a:lnTo>
                  <a:lnTo>
                    <a:pt x="2" y="23"/>
                  </a:lnTo>
                  <a:lnTo>
                    <a:pt x="5" y="25"/>
                  </a:lnTo>
                  <a:lnTo>
                    <a:pt x="7" y="28"/>
                  </a:lnTo>
                  <a:lnTo>
                    <a:pt x="9" y="29"/>
                  </a:lnTo>
                  <a:lnTo>
                    <a:pt x="12" y="30"/>
                  </a:lnTo>
                  <a:lnTo>
                    <a:pt x="15" y="30"/>
                  </a:lnTo>
                  <a:lnTo>
                    <a:pt x="105" y="30"/>
                  </a:lnTo>
                  <a:lnTo>
                    <a:pt x="109" y="30"/>
                  </a:lnTo>
                  <a:lnTo>
                    <a:pt x="111" y="29"/>
                  </a:lnTo>
                  <a:lnTo>
                    <a:pt x="114" y="28"/>
                  </a:lnTo>
                  <a:lnTo>
                    <a:pt x="116" y="25"/>
                  </a:lnTo>
                  <a:lnTo>
                    <a:pt x="118" y="23"/>
                  </a:lnTo>
                  <a:lnTo>
                    <a:pt x="119" y="20"/>
                  </a:lnTo>
                  <a:lnTo>
                    <a:pt x="120" y="18"/>
                  </a:lnTo>
                  <a:lnTo>
                    <a:pt x="120" y="15"/>
                  </a:lnTo>
                  <a:lnTo>
                    <a:pt x="120" y="11"/>
                  </a:lnTo>
                  <a:lnTo>
                    <a:pt x="119" y="9"/>
                  </a:lnTo>
                  <a:lnTo>
                    <a:pt x="118" y="6"/>
                  </a:lnTo>
                  <a:lnTo>
                    <a:pt x="116" y="4"/>
                  </a:lnTo>
                  <a:lnTo>
                    <a:pt x="114" y="2"/>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Freeform 65">
              <a:extLst>
                <a:ext uri="{FF2B5EF4-FFF2-40B4-BE49-F238E27FC236}">
                  <a16:creationId xmlns:a16="http://schemas.microsoft.com/office/drawing/2014/main" id="{1B4CDD14-43F1-4DAF-B097-799C0400055E}"/>
                </a:ext>
              </a:extLst>
            </p:cNvPr>
            <p:cNvSpPr>
              <a:spLocks noEditPoints="1"/>
            </p:cNvSpPr>
            <p:nvPr/>
          </p:nvSpPr>
          <p:spPr bwMode="auto">
            <a:xfrm>
              <a:off x="1595438" y="998538"/>
              <a:ext cx="114300" cy="28575"/>
            </a:xfrm>
            <a:custGeom>
              <a:avLst/>
              <a:gdLst>
                <a:gd name="T0" fmla="*/ 31 w 361"/>
                <a:gd name="T1" fmla="*/ 30 h 90"/>
                <a:gd name="T2" fmla="*/ 331 w 361"/>
                <a:gd name="T3" fmla="*/ 30 h 90"/>
                <a:gd name="T4" fmla="*/ 331 w 361"/>
                <a:gd name="T5" fmla="*/ 60 h 90"/>
                <a:gd name="T6" fmla="*/ 31 w 361"/>
                <a:gd name="T7" fmla="*/ 60 h 90"/>
                <a:gd name="T8" fmla="*/ 31 w 361"/>
                <a:gd name="T9" fmla="*/ 30 h 90"/>
                <a:gd name="T10" fmla="*/ 0 w 361"/>
                <a:gd name="T11" fmla="*/ 90 h 90"/>
                <a:gd name="T12" fmla="*/ 361 w 361"/>
                <a:gd name="T13" fmla="*/ 90 h 90"/>
                <a:gd name="T14" fmla="*/ 361 w 361"/>
                <a:gd name="T15" fmla="*/ 0 h 90"/>
                <a:gd name="T16" fmla="*/ 0 w 361"/>
                <a:gd name="T17" fmla="*/ 0 h 90"/>
                <a:gd name="T18" fmla="*/ 0 w 361"/>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90">
                  <a:moveTo>
                    <a:pt x="31" y="30"/>
                  </a:moveTo>
                  <a:lnTo>
                    <a:pt x="331" y="30"/>
                  </a:lnTo>
                  <a:lnTo>
                    <a:pt x="331" y="60"/>
                  </a:lnTo>
                  <a:lnTo>
                    <a:pt x="31" y="60"/>
                  </a:lnTo>
                  <a:lnTo>
                    <a:pt x="31" y="30"/>
                  </a:lnTo>
                  <a:close/>
                  <a:moveTo>
                    <a:pt x="0" y="90"/>
                  </a:moveTo>
                  <a:lnTo>
                    <a:pt x="361" y="90"/>
                  </a:lnTo>
                  <a:lnTo>
                    <a:pt x="361" y="0"/>
                  </a:lnTo>
                  <a:lnTo>
                    <a:pt x="0" y="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Freeform 66">
              <a:extLst>
                <a:ext uri="{FF2B5EF4-FFF2-40B4-BE49-F238E27FC236}">
                  <a16:creationId xmlns:a16="http://schemas.microsoft.com/office/drawing/2014/main" id="{9B620BC0-E8F9-47C3-A96E-266FD5C2334A}"/>
                </a:ext>
              </a:extLst>
            </p:cNvPr>
            <p:cNvSpPr>
              <a:spLocks noEditPoints="1"/>
            </p:cNvSpPr>
            <p:nvPr/>
          </p:nvSpPr>
          <p:spPr bwMode="auto">
            <a:xfrm>
              <a:off x="1450975" y="979488"/>
              <a:ext cx="287338" cy="95250"/>
            </a:xfrm>
            <a:custGeom>
              <a:avLst/>
              <a:gdLst>
                <a:gd name="T0" fmla="*/ 31 w 904"/>
                <a:gd name="T1" fmla="*/ 270 h 300"/>
                <a:gd name="T2" fmla="*/ 31 w 904"/>
                <a:gd name="T3" fmla="*/ 65 h 300"/>
                <a:gd name="T4" fmla="*/ 39 w 904"/>
                <a:gd name="T5" fmla="*/ 49 h 300"/>
                <a:gd name="T6" fmla="*/ 51 w 904"/>
                <a:gd name="T7" fmla="*/ 37 h 300"/>
                <a:gd name="T8" fmla="*/ 67 w 904"/>
                <a:gd name="T9" fmla="*/ 31 h 300"/>
                <a:gd name="T10" fmla="*/ 828 w 904"/>
                <a:gd name="T11" fmla="*/ 30 h 300"/>
                <a:gd name="T12" fmla="*/ 846 w 904"/>
                <a:gd name="T13" fmla="*/ 33 h 300"/>
                <a:gd name="T14" fmla="*/ 860 w 904"/>
                <a:gd name="T15" fmla="*/ 42 h 300"/>
                <a:gd name="T16" fmla="*/ 870 w 904"/>
                <a:gd name="T17" fmla="*/ 56 h 300"/>
                <a:gd name="T18" fmla="*/ 873 w 904"/>
                <a:gd name="T19" fmla="*/ 75 h 300"/>
                <a:gd name="T20" fmla="*/ 828 w 904"/>
                <a:gd name="T21" fmla="*/ 0 h 300"/>
                <a:gd name="T22" fmla="*/ 68 w 904"/>
                <a:gd name="T23" fmla="*/ 0 h 300"/>
                <a:gd name="T24" fmla="*/ 54 w 904"/>
                <a:gd name="T25" fmla="*/ 3 h 300"/>
                <a:gd name="T26" fmla="*/ 40 w 904"/>
                <a:gd name="T27" fmla="*/ 8 h 300"/>
                <a:gd name="T28" fmla="*/ 28 w 904"/>
                <a:gd name="T29" fmla="*/ 17 h 300"/>
                <a:gd name="T30" fmla="*/ 17 w 904"/>
                <a:gd name="T31" fmla="*/ 26 h 300"/>
                <a:gd name="T32" fmla="*/ 10 w 904"/>
                <a:gd name="T33" fmla="*/ 38 h 300"/>
                <a:gd name="T34" fmla="*/ 4 w 904"/>
                <a:gd name="T35" fmla="*/ 52 h 300"/>
                <a:gd name="T36" fmla="*/ 1 w 904"/>
                <a:gd name="T37" fmla="*/ 67 h 300"/>
                <a:gd name="T38" fmla="*/ 0 w 904"/>
                <a:gd name="T39" fmla="*/ 285 h 300"/>
                <a:gd name="T40" fmla="*/ 2 w 904"/>
                <a:gd name="T41" fmla="*/ 291 h 300"/>
                <a:gd name="T42" fmla="*/ 6 w 904"/>
                <a:gd name="T43" fmla="*/ 296 h 300"/>
                <a:gd name="T44" fmla="*/ 10 w 904"/>
                <a:gd name="T45" fmla="*/ 299 h 300"/>
                <a:gd name="T46" fmla="*/ 15 w 904"/>
                <a:gd name="T47" fmla="*/ 300 h 300"/>
                <a:gd name="T48" fmla="*/ 891 w 904"/>
                <a:gd name="T49" fmla="*/ 300 h 300"/>
                <a:gd name="T50" fmla="*/ 897 w 904"/>
                <a:gd name="T51" fmla="*/ 298 h 300"/>
                <a:gd name="T52" fmla="*/ 901 w 904"/>
                <a:gd name="T53" fmla="*/ 293 h 300"/>
                <a:gd name="T54" fmla="*/ 903 w 904"/>
                <a:gd name="T55" fmla="*/ 288 h 300"/>
                <a:gd name="T56" fmla="*/ 904 w 904"/>
                <a:gd name="T57" fmla="*/ 75 h 300"/>
                <a:gd name="T58" fmla="*/ 902 w 904"/>
                <a:gd name="T59" fmla="*/ 60 h 300"/>
                <a:gd name="T60" fmla="*/ 898 w 904"/>
                <a:gd name="T61" fmla="*/ 45 h 300"/>
                <a:gd name="T62" fmla="*/ 891 w 904"/>
                <a:gd name="T63" fmla="*/ 33 h 300"/>
                <a:gd name="T64" fmla="*/ 882 w 904"/>
                <a:gd name="T65" fmla="*/ 21 h 300"/>
                <a:gd name="T66" fmla="*/ 871 w 904"/>
                <a:gd name="T67" fmla="*/ 12 h 300"/>
                <a:gd name="T68" fmla="*/ 858 w 904"/>
                <a:gd name="T69" fmla="*/ 5 h 300"/>
                <a:gd name="T70" fmla="*/ 843 w 904"/>
                <a:gd name="T71" fmla="*/ 1 h 300"/>
                <a:gd name="T72" fmla="*/ 828 w 904"/>
                <a:gd name="T73"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300">
                  <a:moveTo>
                    <a:pt x="873" y="270"/>
                  </a:moveTo>
                  <a:lnTo>
                    <a:pt x="31" y="270"/>
                  </a:lnTo>
                  <a:lnTo>
                    <a:pt x="31" y="75"/>
                  </a:lnTo>
                  <a:lnTo>
                    <a:pt x="31" y="65"/>
                  </a:lnTo>
                  <a:lnTo>
                    <a:pt x="35" y="56"/>
                  </a:lnTo>
                  <a:lnTo>
                    <a:pt x="39" y="49"/>
                  </a:lnTo>
                  <a:lnTo>
                    <a:pt x="44" y="42"/>
                  </a:lnTo>
                  <a:lnTo>
                    <a:pt x="51" y="37"/>
                  </a:lnTo>
                  <a:lnTo>
                    <a:pt x="58" y="33"/>
                  </a:lnTo>
                  <a:lnTo>
                    <a:pt x="67" y="31"/>
                  </a:lnTo>
                  <a:lnTo>
                    <a:pt x="76" y="30"/>
                  </a:lnTo>
                  <a:lnTo>
                    <a:pt x="828" y="30"/>
                  </a:lnTo>
                  <a:lnTo>
                    <a:pt x="838" y="31"/>
                  </a:lnTo>
                  <a:lnTo>
                    <a:pt x="846" y="33"/>
                  </a:lnTo>
                  <a:lnTo>
                    <a:pt x="854" y="37"/>
                  </a:lnTo>
                  <a:lnTo>
                    <a:pt x="860" y="42"/>
                  </a:lnTo>
                  <a:lnTo>
                    <a:pt x="866" y="49"/>
                  </a:lnTo>
                  <a:lnTo>
                    <a:pt x="870" y="56"/>
                  </a:lnTo>
                  <a:lnTo>
                    <a:pt x="873" y="65"/>
                  </a:lnTo>
                  <a:lnTo>
                    <a:pt x="873" y="75"/>
                  </a:lnTo>
                  <a:lnTo>
                    <a:pt x="873" y="270"/>
                  </a:lnTo>
                  <a:close/>
                  <a:moveTo>
                    <a:pt x="828" y="0"/>
                  </a:moveTo>
                  <a:lnTo>
                    <a:pt x="76" y="0"/>
                  </a:lnTo>
                  <a:lnTo>
                    <a:pt x="68" y="0"/>
                  </a:lnTo>
                  <a:lnTo>
                    <a:pt x="60" y="1"/>
                  </a:lnTo>
                  <a:lnTo>
                    <a:pt x="54" y="3"/>
                  </a:lnTo>
                  <a:lnTo>
                    <a:pt x="46" y="5"/>
                  </a:lnTo>
                  <a:lnTo>
                    <a:pt x="40" y="8"/>
                  </a:lnTo>
                  <a:lnTo>
                    <a:pt x="33" y="12"/>
                  </a:lnTo>
                  <a:lnTo>
                    <a:pt x="28" y="17"/>
                  </a:lnTo>
                  <a:lnTo>
                    <a:pt x="23" y="21"/>
                  </a:lnTo>
                  <a:lnTo>
                    <a:pt x="17" y="26"/>
                  </a:lnTo>
                  <a:lnTo>
                    <a:pt x="13" y="33"/>
                  </a:lnTo>
                  <a:lnTo>
                    <a:pt x="10" y="38"/>
                  </a:lnTo>
                  <a:lnTo>
                    <a:pt x="7" y="45"/>
                  </a:lnTo>
                  <a:lnTo>
                    <a:pt x="4" y="52"/>
                  </a:lnTo>
                  <a:lnTo>
                    <a:pt x="2" y="60"/>
                  </a:lnTo>
                  <a:lnTo>
                    <a:pt x="1" y="67"/>
                  </a:lnTo>
                  <a:lnTo>
                    <a:pt x="0" y="75"/>
                  </a:lnTo>
                  <a:lnTo>
                    <a:pt x="0" y="285"/>
                  </a:lnTo>
                  <a:lnTo>
                    <a:pt x="1" y="288"/>
                  </a:lnTo>
                  <a:lnTo>
                    <a:pt x="2" y="291"/>
                  </a:lnTo>
                  <a:lnTo>
                    <a:pt x="3" y="293"/>
                  </a:lnTo>
                  <a:lnTo>
                    <a:pt x="6" y="296"/>
                  </a:lnTo>
                  <a:lnTo>
                    <a:pt x="8" y="298"/>
                  </a:lnTo>
                  <a:lnTo>
                    <a:pt x="10" y="299"/>
                  </a:lnTo>
                  <a:lnTo>
                    <a:pt x="13" y="300"/>
                  </a:lnTo>
                  <a:lnTo>
                    <a:pt x="15" y="300"/>
                  </a:lnTo>
                  <a:lnTo>
                    <a:pt x="888" y="300"/>
                  </a:lnTo>
                  <a:lnTo>
                    <a:pt x="891" y="300"/>
                  </a:lnTo>
                  <a:lnTo>
                    <a:pt x="895" y="299"/>
                  </a:lnTo>
                  <a:lnTo>
                    <a:pt x="897" y="298"/>
                  </a:lnTo>
                  <a:lnTo>
                    <a:pt x="899" y="296"/>
                  </a:lnTo>
                  <a:lnTo>
                    <a:pt x="901" y="293"/>
                  </a:lnTo>
                  <a:lnTo>
                    <a:pt x="902" y="291"/>
                  </a:lnTo>
                  <a:lnTo>
                    <a:pt x="903" y="288"/>
                  </a:lnTo>
                  <a:lnTo>
                    <a:pt x="904" y="285"/>
                  </a:lnTo>
                  <a:lnTo>
                    <a:pt x="904" y="75"/>
                  </a:lnTo>
                  <a:lnTo>
                    <a:pt x="903" y="67"/>
                  </a:lnTo>
                  <a:lnTo>
                    <a:pt x="902" y="60"/>
                  </a:lnTo>
                  <a:lnTo>
                    <a:pt x="900" y="52"/>
                  </a:lnTo>
                  <a:lnTo>
                    <a:pt x="898" y="45"/>
                  </a:lnTo>
                  <a:lnTo>
                    <a:pt x="895" y="38"/>
                  </a:lnTo>
                  <a:lnTo>
                    <a:pt x="891" y="33"/>
                  </a:lnTo>
                  <a:lnTo>
                    <a:pt x="886" y="26"/>
                  </a:lnTo>
                  <a:lnTo>
                    <a:pt x="882" y="21"/>
                  </a:lnTo>
                  <a:lnTo>
                    <a:pt x="876" y="17"/>
                  </a:lnTo>
                  <a:lnTo>
                    <a:pt x="871" y="12"/>
                  </a:lnTo>
                  <a:lnTo>
                    <a:pt x="865" y="8"/>
                  </a:lnTo>
                  <a:lnTo>
                    <a:pt x="858" y="5"/>
                  </a:lnTo>
                  <a:lnTo>
                    <a:pt x="851" y="3"/>
                  </a:lnTo>
                  <a:lnTo>
                    <a:pt x="843" y="1"/>
                  </a:lnTo>
                  <a:lnTo>
                    <a:pt x="837" y="0"/>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67">
              <a:extLst>
                <a:ext uri="{FF2B5EF4-FFF2-40B4-BE49-F238E27FC236}">
                  <a16:creationId xmlns:a16="http://schemas.microsoft.com/office/drawing/2014/main" id="{D94EA380-DF12-4A29-BCE0-78D3D9AFB360}"/>
                </a:ext>
              </a:extLst>
            </p:cNvPr>
            <p:cNvSpPr>
              <a:spLocks noEditPoints="1"/>
            </p:cNvSpPr>
            <p:nvPr/>
          </p:nvSpPr>
          <p:spPr bwMode="auto">
            <a:xfrm>
              <a:off x="1460500" y="787400"/>
              <a:ext cx="268288" cy="180975"/>
            </a:xfrm>
            <a:custGeom>
              <a:avLst/>
              <a:gdLst>
                <a:gd name="T0" fmla="*/ 31 w 843"/>
                <a:gd name="T1" fmla="*/ 66 h 572"/>
                <a:gd name="T2" fmla="*/ 39 w 843"/>
                <a:gd name="T3" fmla="*/ 50 h 572"/>
                <a:gd name="T4" fmla="*/ 51 w 843"/>
                <a:gd name="T5" fmla="*/ 37 h 572"/>
                <a:gd name="T6" fmla="*/ 67 w 843"/>
                <a:gd name="T7" fmla="*/ 31 h 572"/>
                <a:gd name="T8" fmla="*/ 768 w 843"/>
                <a:gd name="T9" fmla="*/ 30 h 572"/>
                <a:gd name="T10" fmla="*/ 786 w 843"/>
                <a:gd name="T11" fmla="*/ 34 h 572"/>
                <a:gd name="T12" fmla="*/ 800 w 843"/>
                <a:gd name="T13" fmla="*/ 44 h 572"/>
                <a:gd name="T14" fmla="*/ 810 w 843"/>
                <a:gd name="T15" fmla="*/ 58 h 572"/>
                <a:gd name="T16" fmla="*/ 813 w 843"/>
                <a:gd name="T17" fmla="*/ 75 h 572"/>
                <a:gd name="T18" fmla="*/ 813 w 843"/>
                <a:gd name="T19" fmla="*/ 506 h 572"/>
                <a:gd name="T20" fmla="*/ 806 w 843"/>
                <a:gd name="T21" fmla="*/ 522 h 572"/>
                <a:gd name="T22" fmla="*/ 794 w 843"/>
                <a:gd name="T23" fmla="*/ 534 h 572"/>
                <a:gd name="T24" fmla="*/ 778 w 843"/>
                <a:gd name="T25" fmla="*/ 541 h 572"/>
                <a:gd name="T26" fmla="*/ 76 w 843"/>
                <a:gd name="T27" fmla="*/ 541 h 572"/>
                <a:gd name="T28" fmla="*/ 58 w 843"/>
                <a:gd name="T29" fmla="*/ 538 h 572"/>
                <a:gd name="T30" fmla="*/ 44 w 843"/>
                <a:gd name="T31" fmla="*/ 528 h 572"/>
                <a:gd name="T32" fmla="*/ 35 w 843"/>
                <a:gd name="T33" fmla="*/ 515 h 572"/>
                <a:gd name="T34" fmla="*/ 31 w 843"/>
                <a:gd name="T35" fmla="*/ 496 h 572"/>
                <a:gd name="T36" fmla="*/ 76 w 843"/>
                <a:gd name="T37" fmla="*/ 571 h 572"/>
                <a:gd name="T38" fmla="*/ 776 w 843"/>
                <a:gd name="T39" fmla="*/ 571 h 572"/>
                <a:gd name="T40" fmla="*/ 791 w 843"/>
                <a:gd name="T41" fmla="*/ 568 h 572"/>
                <a:gd name="T42" fmla="*/ 805 w 843"/>
                <a:gd name="T43" fmla="*/ 563 h 572"/>
                <a:gd name="T44" fmla="*/ 816 w 843"/>
                <a:gd name="T45" fmla="*/ 554 h 572"/>
                <a:gd name="T46" fmla="*/ 826 w 843"/>
                <a:gd name="T47" fmla="*/ 545 h 572"/>
                <a:gd name="T48" fmla="*/ 835 w 843"/>
                <a:gd name="T49" fmla="*/ 533 h 572"/>
                <a:gd name="T50" fmla="*/ 840 w 843"/>
                <a:gd name="T51" fmla="*/ 519 h 572"/>
                <a:gd name="T52" fmla="*/ 843 w 843"/>
                <a:gd name="T53" fmla="*/ 505 h 572"/>
                <a:gd name="T54" fmla="*/ 843 w 843"/>
                <a:gd name="T55" fmla="*/ 75 h 572"/>
                <a:gd name="T56" fmla="*/ 842 w 843"/>
                <a:gd name="T57" fmla="*/ 60 h 572"/>
                <a:gd name="T58" fmla="*/ 838 w 843"/>
                <a:gd name="T59" fmla="*/ 46 h 572"/>
                <a:gd name="T60" fmla="*/ 830 w 843"/>
                <a:gd name="T61" fmla="*/ 33 h 572"/>
                <a:gd name="T62" fmla="*/ 822 w 843"/>
                <a:gd name="T63" fmla="*/ 22 h 572"/>
                <a:gd name="T64" fmla="*/ 811 w 843"/>
                <a:gd name="T65" fmla="*/ 13 h 572"/>
                <a:gd name="T66" fmla="*/ 798 w 843"/>
                <a:gd name="T67" fmla="*/ 6 h 572"/>
                <a:gd name="T68" fmla="*/ 783 w 843"/>
                <a:gd name="T69" fmla="*/ 2 h 572"/>
                <a:gd name="T70" fmla="*/ 768 w 843"/>
                <a:gd name="T71" fmla="*/ 0 h 572"/>
                <a:gd name="T72" fmla="*/ 68 w 843"/>
                <a:gd name="T73" fmla="*/ 1 h 572"/>
                <a:gd name="T74" fmla="*/ 54 w 843"/>
                <a:gd name="T75" fmla="*/ 3 h 572"/>
                <a:gd name="T76" fmla="*/ 40 w 843"/>
                <a:gd name="T77" fmla="*/ 9 h 572"/>
                <a:gd name="T78" fmla="*/ 28 w 843"/>
                <a:gd name="T79" fmla="*/ 17 h 572"/>
                <a:gd name="T80" fmla="*/ 18 w 843"/>
                <a:gd name="T81" fmla="*/ 28 h 572"/>
                <a:gd name="T82" fmla="*/ 10 w 843"/>
                <a:gd name="T83" fmla="*/ 39 h 572"/>
                <a:gd name="T84" fmla="*/ 5 w 843"/>
                <a:gd name="T85" fmla="*/ 53 h 572"/>
                <a:gd name="T86" fmla="*/ 1 w 843"/>
                <a:gd name="T87" fmla="*/ 67 h 572"/>
                <a:gd name="T88" fmla="*/ 1 w 843"/>
                <a:gd name="T89" fmla="*/ 496 h 572"/>
                <a:gd name="T90" fmla="*/ 2 w 843"/>
                <a:gd name="T91" fmla="*/ 511 h 572"/>
                <a:gd name="T92" fmla="*/ 7 w 843"/>
                <a:gd name="T93" fmla="*/ 526 h 572"/>
                <a:gd name="T94" fmla="*/ 13 w 843"/>
                <a:gd name="T95" fmla="*/ 538 h 572"/>
                <a:gd name="T96" fmla="*/ 23 w 843"/>
                <a:gd name="T97" fmla="*/ 550 h 572"/>
                <a:gd name="T98" fmla="*/ 33 w 843"/>
                <a:gd name="T99" fmla="*/ 559 h 572"/>
                <a:gd name="T100" fmla="*/ 46 w 843"/>
                <a:gd name="T101" fmla="*/ 566 h 572"/>
                <a:gd name="T102" fmla="*/ 61 w 843"/>
                <a:gd name="T103" fmla="*/ 570 h 572"/>
                <a:gd name="T104" fmla="*/ 76 w 843"/>
                <a:gd name="T105" fmla="*/ 57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 h="572">
                  <a:moveTo>
                    <a:pt x="31" y="75"/>
                  </a:moveTo>
                  <a:lnTo>
                    <a:pt x="31" y="66"/>
                  </a:lnTo>
                  <a:lnTo>
                    <a:pt x="35" y="58"/>
                  </a:lnTo>
                  <a:lnTo>
                    <a:pt x="39" y="50"/>
                  </a:lnTo>
                  <a:lnTo>
                    <a:pt x="44" y="44"/>
                  </a:lnTo>
                  <a:lnTo>
                    <a:pt x="51" y="37"/>
                  </a:lnTo>
                  <a:lnTo>
                    <a:pt x="58" y="34"/>
                  </a:lnTo>
                  <a:lnTo>
                    <a:pt x="67" y="31"/>
                  </a:lnTo>
                  <a:lnTo>
                    <a:pt x="76" y="30"/>
                  </a:lnTo>
                  <a:lnTo>
                    <a:pt x="768" y="30"/>
                  </a:lnTo>
                  <a:lnTo>
                    <a:pt x="778" y="31"/>
                  </a:lnTo>
                  <a:lnTo>
                    <a:pt x="786" y="34"/>
                  </a:lnTo>
                  <a:lnTo>
                    <a:pt x="794" y="37"/>
                  </a:lnTo>
                  <a:lnTo>
                    <a:pt x="800" y="44"/>
                  </a:lnTo>
                  <a:lnTo>
                    <a:pt x="806" y="50"/>
                  </a:lnTo>
                  <a:lnTo>
                    <a:pt x="810" y="58"/>
                  </a:lnTo>
                  <a:lnTo>
                    <a:pt x="813" y="66"/>
                  </a:lnTo>
                  <a:lnTo>
                    <a:pt x="813" y="75"/>
                  </a:lnTo>
                  <a:lnTo>
                    <a:pt x="813" y="496"/>
                  </a:lnTo>
                  <a:lnTo>
                    <a:pt x="813" y="506"/>
                  </a:lnTo>
                  <a:lnTo>
                    <a:pt x="810" y="515"/>
                  </a:lnTo>
                  <a:lnTo>
                    <a:pt x="806" y="522"/>
                  </a:lnTo>
                  <a:lnTo>
                    <a:pt x="800" y="528"/>
                  </a:lnTo>
                  <a:lnTo>
                    <a:pt x="794" y="534"/>
                  </a:lnTo>
                  <a:lnTo>
                    <a:pt x="786" y="538"/>
                  </a:lnTo>
                  <a:lnTo>
                    <a:pt x="778" y="541"/>
                  </a:lnTo>
                  <a:lnTo>
                    <a:pt x="768" y="541"/>
                  </a:lnTo>
                  <a:lnTo>
                    <a:pt x="76" y="541"/>
                  </a:lnTo>
                  <a:lnTo>
                    <a:pt x="67" y="541"/>
                  </a:lnTo>
                  <a:lnTo>
                    <a:pt x="58" y="538"/>
                  </a:lnTo>
                  <a:lnTo>
                    <a:pt x="51" y="534"/>
                  </a:lnTo>
                  <a:lnTo>
                    <a:pt x="44" y="528"/>
                  </a:lnTo>
                  <a:lnTo>
                    <a:pt x="39" y="522"/>
                  </a:lnTo>
                  <a:lnTo>
                    <a:pt x="35" y="515"/>
                  </a:lnTo>
                  <a:lnTo>
                    <a:pt x="31" y="506"/>
                  </a:lnTo>
                  <a:lnTo>
                    <a:pt x="31" y="496"/>
                  </a:lnTo>
                  <a:lnTo>
                    <a:pt x="31" y="75"/>
                  </a:lnTo>
                  <a:close/>
                  <a:moveTo>
                    <a:pt x="76" y="571"/>
                  </a:moveTo>
                  <a:lnTo>
                    <a:pt x="768" y="571"/>
                  </a:lnTo>
                  <a:lnTo>
                    <a:pt x="776" y="571"/>
                  </a:lnTo>
                  <a:lnTo>
                    <a:pt x="783" y="570"/>
                  </a:lnTo>
                  <a:lnTo>
                    <a:pt x="791" y="568"/>
                  </a:lnTo>
                  <a:lnTo>
                    <a:pt x="798" y="566"/>
                  </a:lnTo>
                  <a:lnTo>
                    <a:pt x="805" y="563"/>
                  </a:lnTo>
                  <a:lnTo>
                    <a:pt x="811" y="559"/>
                  </a:lnTo>
                  <a:lnTo>
                    <a:pt x="816" y="554"/>
                  </a:lnTo>
                  <a:lnTo>
                    <a:pt x="822" y="550"/>
                  </a:lnTo>
                  <a:lnTo>
                    <a:pt x="826" y="545"/>
                  </a:lnTo>
                  <a:lnTo>
                    <a:pt x="830" y="539"/>
                  </a:lnTo>
                  <a:lnTo>
                    <a:pt x="835" y="533"/>
                  </a:lnTo>
                  <a:lnTo>
                    <a:pt x="838" y="526"/>
                  </a:lnTo>
                  <a:lnTo>
                    <a:pt x="840" y="519"/>
                  </a:lnTo>
                  <a:lnTo>
                    <a:pt x="842" y="511"/>
                  </a:lnTo>
                  <a:lnTo>
                    <a:pt x="843" y="505"/>
                  </a:lnTo>
                  <a:lnTo>
                    <a:pt x="843" y="496"/>
                  </a:lnTo>
                  <a:lnTo>
                    <a:pt x="843" y="75"/>
                  </a:lnTo>
                  <a:lnTo>
                    <a:pt x="843" y="67"/>
                  </a:lnTo>
                  <a:lnTo>
                    <a:pt x="842" y="60"/>
                  </a:lnTo>
                  <a:lnTo>
                    <a:pt x="840" y="53"/>
                  </a:lnTo>
                  <a:lnTo>
                    <a:pt x="838" y="46"/>
                  </a:lnTo>
                  <a:lnTo>
                    <a:pt x="835" y="39"/>
                  </a:lnTo>
                  <a:lnTo>
                    <a:pt x="830" y="33"/>
                  </a:lnTo>
                  <a:lnTo>
                    <a:pt x="826" y="28"/>
                  </a:lnTo>
                  <a:lnTo>
                    <a:pt x="822" y="22"/>
                  </a:lnTo>
                  <a:lnTo>
                    <a:pt x="816" y="17"/>
                  </a:lnTo>
                  <a:lnTo>
                    <a:pt x="811" y="13"/>
                  </a:lnTo>
                  <a:lnTo>
                    <a:pt x="805" y="9"/>
                  </a:lnTo>
                  <a:lnTo>
                    <a:pt x="798" y="6"/>
                  </a:lnTo>
                  <a:lnTo>
                    <a:pt x="791" y="3"/>
                  </a:lnTo>
                  <a:lnTo>
                    <a:pt x="783" y="2"/>
                  </a:lnTo>
                  <a:lnTo>
                    <a:pt x="776" y="1"/>
                  </a:lnTo>
                  <a:lnTo>
                    <a:pt x="768" y="0"/>
                  </a:lnTo>
                  <a:lnTo>
                    <a:pt x="76" y="0"/>
                  </a:lnTo>
                  <a:lnTo>
                    <a:pt x="68" y="1"/>
                  </a:lnTo>
                  <a:lnTo>
                    <a:pt x="61" y="2"/>
                  </a:lnTo>
                  <a:lnTo>
                    <a:pt x="54" y="3"/>
                  </a:lnTo>
                  <a:lnTo>
                    <a:pt x="46" y="6"/>
                  </a:lnTo>
                  <a:lnTo>
                    <a:pt x="40" y="9"/>
                  </a:lnTo>
                  <a:lnTo>
                    <a:pt x="33" y="13"/>
                  </a:lnTo>
                  <a:lnTo>
                    <a:pt x="28" y="17"/>
                  </a:lnTo>
                  <a:lnTo>
                    <a:pt x="23" y="22"/>
                  </a:lnTo>
                  <a:lnTo>
                    <a:pt x="18" y="28"/>
                  </a:lnTo>
                  <a:lnTo>
                    <a:pt x="13" y="33"/>
                  </a:lnTo>
                  <a:lnTo>
                    <a:pt x="10" y="39"/>
                  </a:lnTo>
                  <a:lnTo>
                    <a:pt x="7" y="46"/>
                  </a:lnTo>
                  <a:lnTo>
                    <a:pt x="5" y="53"/>
                  </a:lnTo>
                  <a:lnTo>
                    <a:pt x="2" y="60"/>
                  </a:lnTo>
                  <a:lnTo>
                    <a:pt x="1" y="67"/>
                  </a:lnTo>
                  <a:lnTo>
                    <a:pt x="0" y="75"/>
                  </a:lnTo>
                  <a:lnTo>
                    <a:pt x="1" y="496"/>
                  </a:lnTo>
                  <a:lnTo>
                    <a:pt x="1" y="504"/>
                  </a:lnTo>
                  <a:lnTo>
                    <a:pt x="2" y="511"/>
                  </a:lnTo>
                  <a:lnTo>
                    <a:pt x="5" y="519"/>
                  </a:lnTo>
                  <a:lnTo>
                    <a:pt x="7" y="526"/>
                  </a:lnTo>
                  <a:lnTo>
                    <a:pt x="10" y="533"/>
                  </a:lnTo>
                  <a:lnTo>
                    <a:pt x="13" y="538"/>
                  </a:lnTo>
                  <a:lnTo>
                    <a:pt x="18" y="545"/>
                  </a:lnTo>
                  <a:lnTo>
                    <a:pt x="23" y="550"/>
                  </a:lnTo>
                  <a:lnTo>
                    <a:pt x="28" y="554"/>
                  </a:lnTo>
                  <a:lnTo>
                    <a:pt x="33" y="559"/>
                  </a:lnTo>
                  <a:lnTo>
                    <a:pt x="40" y="563"/>
                  </a:lnTo>
                  <a:lnTo>
                    <a:pt x="46" y="566"/>
                  </a:lnTo>
                  <a:lnTo>
                    <a:pt x="54" y="568"/>
                  </a:lnTo>
                  <a:lnTo>
                    <a:pt x="61" y="570"/>
                  </a:lnTo>
                  <a:lnTo>
                    <a:pt x="68" y="571"/>
                  </a:lnTo>
                  <a:lnTo>
                    <a:pt x="76" y="572"/>
                  </a:lnTo>
                  <a:lnTo>
                    <a:pt x="76"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4" name="Group 41">
            <a:extLst>
              <a:ext uri="{FF2B5EF4-FFF2-40B4-BE49-F238E27FC236}">
                <a16:creationId xmlns:a16="http://schemas.microsoft.com/office/drawing/2014/main" id="{A861BF19-CA58-4AB6-A8D5-713ECD901EAC}"/>
              </a:ext>
            </a:extLst>
          </p:cNvPr>
          <p:cNvGrpSpPr>
            <a:grpSpLocks noChangeAspect="1"/>
          </p:cNvGrpSpPr>
          <p:nvPr/>
        </p:nvGrpSpPr>
        <p:grpSpPr>
          <a:xfrm>
            <a:off x="3168165" y="5437177"/>
            <a:ext cx="305900" cy="246420"/>
            <a:chOff x="2025650" y="844550"/>
            <a:chExt cx="285750" cy="230188"/>
          </a:xfrm>
          <a:solidFill>
            <a:schemeClr val="bg1"/>
          </a:solidFill>
          <a:effectLst/>
        </p:grpSpPr>
        <p:sp>
          <p:nvSpPr>
            <p:cNvPr id="1325" name="Freeform 68">
              <a:extLst>
                <a:ext uri="{FF2B5EF4-FFF2-40B4-BE49-F238E27FC236}">
                  <a16:creationId xmlns:a16="http://schemas.microsoft.com/office/drawing/2014/main" id="{2A3B58A0-0C37-4F91-89B9-1628573496AD}"/>
                </a:ext>
              </a:extLst>
            </p:cNvPr>
            <p:cNvSpPr>
              <a:spLocks noEditPoints="1"/>
            </p:cNvSpPr>
            <p:nvPr/>
          </p:nvSpPr>
          <p:spPr bwMode="auto">
            <a:xfrm>
              <a:off x="2025650" y="844550"/>
              <a:ext cx="285750" cy="230188"/>
            </a:xfrm>
            <a:custGeom>
              <a:avLst/>
              <a:gdLst>
                <a:gd name="T0" fmla="*/ 872 w 903"/>
                <a:gd name="T1" fmla="*/ 532 h 722"/>
                <a:gd name="T2" fmla="*/ 866 w 903"/>
                <a:gd name="T3" fmla="*/ 538 h 722"/>
                <a:gd name="T4" fmla="*/ 858 w 903"/>
                <a:gd name="T5" fmla="*/ 542 h 722"/>
                <a:gd name="T6" fmla="*/ 39 w 903"/>
                <a:gd name="T7" fmla="*/ 541 h 722"/>
                <a:gd name="T8" fmla="*/ 33 w 903"/>
                <a:gd name="T9" fmla="*/ 535 h 722"/>
                <a:gd name="T10" fmla="*/ 30 w 903"/>
                <a:gd name="T11" fmla="*/ 527 h 722"/>
                <a:gd name="T12" fmla="*/ 31 w 903"/>
                <a:gd name="T13" fmla="*/ 39 h 722"/>
                <a:gd name="T14" fmla="*/ 37 w 903"/>
                <a:gd name="T15" fmla="*/ 32 h 722"/>
                <a:gd name="T16" fmla="*/ 45 w 903"/>
                <a:gd name="T17" fmla="*/ 30 h 722"/>
                <a:gd name="T18" fmla="*/ 864 w 903"/>
                <a:gd name="T19" fmla="*/ 31 h 722"/>
                <a:gd name="T20" fmla="*/ 870 w 903"/>
                <a:gd name="T21" fmla="*/ 36 h 722"/>
                <a:gd name="T22" fmla="*/ 873 w 903"/>
                <a:gd name="T23" fmla="*/ 45 h 722"/>
                <a:gd name="T24" fmla="*/ 467 w 903"/>
                <a:gd name="T25" fmla="*/ 632 h 722"/>
                <a:gd name="T26" fmla="*/ 422 w 903"/>
                <a:gd name="T27" fmla="*/ 633 h 722"/>
                <a:gd name="T28" fmla="*/ 482 w 903"/>
                <a:gd name="T29" fmla="*/ 633 h 722"/>
                <a:gd name="T30" fmla="*/ 36 w 903"/>
                <a:gd name="T31" fmla="*/ 0 h 722"/>
                <a:gd name="T32" fmla="*/ 13 w 903"/>
                <a:gd name="T33" fmla="*/ 13 h 722"/>
                <a:gd name="T34" fmla="*/ 0 w 903"/>
                <a:gd name="T35" fmla="*/ 35 h 722"/>
                <a:gd name="T36" fmla="*/ 0 w 903"/>
                <a:gd name="T37" fmla="*/ 535 h 722"/>
                <a:gd name="T38" fmla="*/ 13 w 903"/>
                <a:gd name="T39" fmla="*/ 559 h 722"/>
                <a:gd name="T40" fmla="*/ 36 w 903"/>
                <a:gd name="T41" fmla="*/ 571 h 722"/>
                <a:gd name="T42" fmla="*/ 392 w 903"/>
                <a:gd name="T43" fmla="*/ 634 h 722"/>
                <a:gd name="T44" fmla="*/ 296 w 903"/>
                <a:gd name="T45" fmla="*/ 648 h 722"/>
                <a:gd name="T46" fmla="*/ 211 w 903"/>
                <a:gd name="T47" fmla="*/ 671 h 722"/>
                <a:gd name="T48" fmla="*/ 156 w 903"/>
                <a:gd name="T49" fmla="*/ 695 h 722"/>
                <a:gd name="T50" fmla="*/ 150 w 903"/>
                <a:gd name="T51" fmla="*/ 703 h 722"/>
                <a:gd name="T52" fmla="*/ 150 w 903"/>
                <a:gd name="T53" fmla="*/ 711 h 722"/>
                <a:gd name="T54" fmla="*/ 155 w 903"/>
                <a:gd name="T55" fmla="*/ 719 h 722"/>
                <a:gd name="T56" fmla="*/ 163 w 903"/>
                <a:gd name="T57" fmla="*/ 722 h 722"/>
                <a:gd name="T58" fmla="*/ 172 w 903"/>
                <a:gd name="T59" fmla="*/ 721 h 722"/>
                <a:gd name="T60" fmla="*/ 217 w 903"/>
                <a:gd name="T61" fmla="*/ 701 h 722"/>
                <a:gd name="T62" fmla="*/ 301 w 903"/>
                <a:gd name="T63" fmla="*/ 677 h 722"/>
                <a:gd name="T64" fmla="*/ 412 w 903"/>
                <a:gd name="T65" fmla="*/ 663 h 722"/>
                <a:gd name="T66" fmla="*/ 528 w 903"/>
                <a:gd name="T67" fmla="*/ 666 h 722"/>
                <a:gd name="T68" fmla="*/ 636 w 903"/>
                <a:gd name="T69" fmla="*/ 685 h 722"/>
                <a:gd name="T70" fmla="*/ 702 w 903"/>
                <a:gd name="T71" fmla="*/ 707 h 722"/>
                <a:gd name="T72" fmla="*/ 735 w 903"/>
                <a:gd name="T73" fmla="*/ 722 h 722"/>
                <a:gd name="T74" fmla="*/ 746 w 903"/>
                <a:gd name="T75" fmla="*/ 720 h 722"/>
                <a:gd name="T76" fmla="*/ 752 w 903"/>
                <a:gd name="T77" fmla="*/ 711 h 722"/>
                <a:gd name="T78" fmla="*/ 752 w 903"/>
                <a:gd name="T79" fmla="*/ 703 h 722"/>
                <a:gd name="T80" fmla="*/ 747 w 903"/>
                <a:gd name="T81" fmla="*/ 695 h 722"/>
                <a:gd name="T82" fmla="*/ 693 w 903"/>
                <a:gd name="T83" fmla="*/ 671 h 722"/>
                <a:gd name="T84" fmla="*/ 606 w 903"/>
                <a:gd name="T85" fmla="*/ 648 h 722"/>
                <a:gd name="T86" fmla="*/ 512 w 903"/>
                <a:gd name="T87" fmla="*/ 634 h 722"/>
                <a:gd name="T88" fmla="*/ 867 w 903"/>
                <a:gd name="T89" fmla="*/ 571 h 722"/>
                <a:gd name="T90" fmla="*/ 889 w 903"/>
                <a:gd name="T91" fmla="*/ 559 h 722"/>
                <a:gd name="T92" fmla="*/ 902 w 903"/>
                <a:gd name="T93" fmla="*/ 535 h 722"/>
                <a:gd name="T94" fmla="*/ 902 w 903"/>
                <a:gd name="T95" fmla="*/ 35 h 722"/>
                <a:gd name="T96" fmla="*/ 889 w 903"/>
                <a:gd name="T97" fmla="*/ 13 h 722"/>
                <a:gd name="T98" fmla="*/ 867 w 903"/>
                <a:gd name="T99" fmla="*/ 1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722">
                  <a:moveTo>
                    <a:pt x="873" y="527"/>
                  </a:moveTo>
                  <a:lnTo>
                    <a:pt x="872" y="530"/>
                  </a:lnTo>
                  <a:lnTo>
                    <a:pt x="872" y="532"/>
                  </a:lnTo>
                  <a:lnTo>
                    <a:pt x="870" y="535"/>
                  </a:lnTo>
                  <a:lnTo>
                    <a:pt x="869" y="537"/>
                  </a:lnTo>
                  <a:lnTo>
                    <a:pt x="866" y="538"/>
                  </a:lnTo>
                  <a:lnTo>
                    <a:pt x="864" y="541"/>
                  </a:lnTo>
                  <a:lnTo>
                    <a:pt x="860" y="542"/>
                  </a:lnTo>
                  <a:lnTo>
                    <a:pt x="858" y="542"/>
                  </a:lnTo>
                  <a:lnTo>
                    <a:pt x="45" y="542"/>
                  </a:lnTo>
                  <a:lnTo>
                    <a:pt x="42" y="541"/>
                  </a:lnTo>
                  <a:lnTo>
                    <a:pt x="39" y="541"/>
                  </a:lnTo>
                  <a:lnTo>
                    <a:pt x="37" y="538"/>
                  </a:lnTo>
                  <a:lnTo>
                    <a:pt x="35" y="537"/>
                  </a:lnTo>
                  <a:lnTo>
                    <a:pt x="33" y="535"/>
                  </a:lnTo>
                  <a:lnTo>
                    <a:pt x="31" y="532"/>
                  </a:lnTo>
                  <a:lnTo>
                    <a:pt x="30" y="530"/>
                  </a:lnTo>
                  <a:lnTo>
                    <a:pt x="30" y="527"/>
                  </a:lnTo>
                  <a:lnTo>
                    <a:pt x="30" y="45"/>
                  </a:lnTo>
                  <a:lnTo>
                    <a:pt x="30" y="42"/>
                  </a:lnTo>
                  <a:lnTo>
                    <a:pt x="31" y="39"/>
                  </a:lnTo>
                  <a:lnTo>
                    <a:pt x="33" y="36"/>
                  </a:lnTo>
                  <a:lnTo>
                    <a:pt x="35" y="34"/>
                  </a:lnTo>
                  <a:lnTo>
                    <a:pt x="37" y="32"/>
                  </a:lnTo>
                  <a:lnTo>
                    <a:pt x="39" y="31"/>
                  </a:lnTo>
                  <a:lnTo>
                    <a:pt x="42" y="30"/>
                  </a:lnTo>
                  <a:lnTo>
                    <a:pt x="45" y="30"/>
                  </a:lnTo>
                  <a:lnTo>
                    <a:pt x="858" y="30"/>
                  </a:lnTo>
                  <a:lnTo>
                    <a:pt x="860" y="30"/>
                  </a:lnTo>
                  <a:lnTo>
                    <a:pt x="864" y="31"/>
                  </a:lnTo>
                  <a:lnTo>
                    <a:pt x="866" y="32"/>
                  </a:lnTo>
                  <a:lnTo>
                    <a:pt x="869" y="34"/>
                  </a:lnTo>
                  <a:lnTo>
                    <a:pt x="870" y="36"/>
                  </a:lnTo>
                  <a:lnTo>
                    <a:pt x="872" y="39"/>
                  </a:lnTo>
                  <a:lnTo>
                    <a:pt x="872" y="42"/>
                  </a:lnTo>
                  <a:lnTo>
                    <a:pt x="873" y="45"/>
                  </a:lnTo>
                  <a:lnTo>
                    <a:pt x="873" y="527"/>
                  </a:lnTo>
                  <a:close/>
                  <a:moveTo>
                    <a:pt x="482" y="633"/>
                  </a:moveTo>
                  <a:lnTo>
                    <a:pt x="467" y="632"/>
                  </a:lnTo>
                  <a:lnTo>
                    <a:pt x="452" y="632"/>
                  </a:lnTo>
                  <a:lnTo>
                    <a:pt x="437" y="632"/>
                  </a:lnTo>
                  <a:lnTo>
                    <a:pt x="422" y="633"/>
                  </a:lnTo>
                  <a:lnTo>
                    <a:pt x="422" y="572"/>
                  </a:lnTo>
                  <a:lnTo>
                    <a:pt x="482" y="572"/>
                  </a:lnTo>
                  <a:lnTo>
                    <a:pt x="482" y="633"/>
                  </a:lnTo>
                  <a:close/>
                  <a:moveTo>
                    <a:pt x="858" y="0"/>
                  </a:moveTo>
                  <a:lnTo>
                    <a:pt x="45" y="0"/>
                  </a:lnTo>
                  <a:lnTo>
                    <a:pt x="36" y="0"/>
                  </a:lnTo>
                  <a:lnTo>
                    <a:pt x="27" y="3"/>
                  </a:lnTo>
                  <a:lnTo>
                    <a:pt x="20" y="7"/>
                  </a:lnTo>
                  <a:lnTo>
                    <a:pt x="13" y="13"/>
                  </a:lnTo>
                  <a:lnTo>
                    <a:pt x="8" y="19"/>
                  </a:lnTo>
                  <a:lnTo>
                    <a:pt x="4" y="27"/>
                  </a:lnTo>
                  <a:lnTo>
                    <a:pt x="0" y="35"/>
                  </a:lnTo>
                  <a:lnTo>
                    <a:pt x="0" y="45"/>
                  </a:lnTo>
                  <a:lnTo>
                    <a:pt x="0" y="527"/>
                  </a:lnTo>
                  <a:lnTo>
                    <a:pt x="0" y="535"/>
                  </a:lnTo>
                  <a:lnTo>
                    <a:pt x="4" y="544"/>
                  </a:lnTo>
                  <a:lnTo>
                    <a:pt x="8" y="551"/>
                  </a:lnTo>
                  <a:lnTo>
                    <a:pt x="13" y="559"/>
                  </a:lnTo>
                  <a:lnTo>
                    <a:pt x="20" y="564"/>
                  </a:lnTo>
                  <a:lnTo>
                    <a:pt x="27" y="568"/>
                  </a:lnTo>
                  <a:lnTo>
                    <a:pt x="36" y="571"/>
                  </a:lnTo>
                  <a:lnTo>
                    <a:pt x="45" y="572"/>
                  </a:lnTo>
                  <a:lnTo>
                    <a:pt x="392" y="572"/>
                  </a:lnTo>
                  <a:lnTo>
                    <a:pt x="392" y="634"/>
                  </a:lnTo>
                  <a:lnTo>
                    <a:pt x="360" y="637"/>
                  </a:lnTo>
                  <a:lnTo>
                    <a:pt x="327" y="641"/>
                  </a:lnTo>
                  <a:lnTo>
                    <a:pt x="296" y="648"/>
                  </a:lnTo>
                  <a:lnTo>
                    <a:pt x="266" y="654"/>
                  </a:lnTo>
                  <a:lnTo>
                    <a:pt x="238" y="663"/>
                  </a:lnTo>
                  <a:lnTo>
                    <a:pt x="211" y="671"/>
                  </a:lnTo>
                  <a:lnTo>
                    <a:pt x="184" y="682"/>
                  </a:lnTo>
                  <a:lnTo>
                    <a:pt x="158" y="694"/>
                  </a:lnTo>
                  <a:lnTo>
                    <a:pt x="156" y="695"/>
                  </a:lnTo>
                  <a:lnTo>
                    <a:pt x="154" y="697"/>
                  </a:lnTo>
                  <a:lnTo>
                    <a:pt x="152" y="699"/>
                  </a:lnTo>
                  <a:lnTo>
                    <a:pt x="150" y="703"/>
                  </a:lnTo>
                  <a:lnTo>
                    <a:pt x="150" y="705"/>
                  </a:lnTo>
                  <a:lnTo>
                    <a:pt x="150" y="708"/>
                  </a:lnTo>
                  <a:lnTo>
                    <a:pt x="150" y="711"/>
                  </a:lnTo>
                  <a:lnTo>
                    <a:pt x="152" y="713"/>
                  </a:lnTo>
                  <a:lnTo>
                    <a:pt x="153" y="716"/>
                  </a:lnTo>
                  <a:lnTo>
                    <a:pt x="155" y="719"/>
                  </a:lnTo>
                  <a:lnTo>
                    <a:pt x="158" y="720"/>
                  </a:lnTo>
                  <a:lnTo>
                    <a:pt x="160" y="722"/>
                  </a:lnTo>
                  <a:lnTo>
                    <a:pt x="163" y="722"/>
                  </a:lnTo>
                  <a:lnTo>
                    <a:pt x="166" y="722"/>
                  </a:lnTo>
                  <a:lnTo>
                    <a:pt x="169" y="722"/>
                  </a:lnTo>
                  <a:lnTo>
                    <a:pt x="172" y="721"/>
                  </a:lnTo>
                  <a:lnTo>
                    <a:pt x="186" y="713"/>
                  </a:lnTo>
                  <a:lnTo>
                    <a:pt x="201" y="707"/>
                  </a:lnTo>
                  <a:lnTo>
                    <a:pt x="217" y="701"/>
                  </a:lnTo>
                  <a:lnTo>
                    <a:pt x="233" y="695"/>
                  </a:lnTo>
                  <a:lnTo>
                    <a:pt x="266" y="685"/>
                  </a:lnTo>
                  <a:lnTo>
                    <a:pt x="301" y="677"/>
                  </a:lnTo>
                  <a:lnTo>
                    <a:pt x="337" y="670"/>
                  </a:lnTo>
                  <a:lnTo>
                    <a:pt x="375" y="666"/>
                  </a:lnTo>
                  <a:lnTo>
                    <a:pt x="412" y="663"/>
                  </a:lnTo>
                  <a:lnTo>
                    <a:pt x="452" y="662"/>
                  </a:lnTo>
                  <a:lnTo>
                    <a:pt x="490" y="663"/>
                  </a:lnTo>
                  <a:lnTo>
                    <a:pt x="528" y="666"/>
                  </a:lnTo>
                  <a:lnTo>
                    <a:pt x="566" y="670"/>
                  </a:lnTo>
                  <a:lnTo>
                    <a:pt x="602" y="677"/>
                  </a:lnTo>
                  <a:lnTo>
                    <a:pt x="636" y="685"/>
                  </a:lnTo>
                  <a:lnTo>
                    <a:pt x="670" y="695"/>
                  </a:lnTo>
                  <a:lnTo>
                    <a:pt x="686" y="701"/>
                  </a:lnTo>
                  <a:lnTo>
                    <a:pt x="702" y="707"/>
                  </a:lnTo>
                  <a:lnTo>
                    <a:pt x="717" y="713"/>
                  </a:lnTo>
                  <a:lnTo>
                    <a:pt x="731" y="721"/>
                  </a:lnTo>
                  <a:lnTo>
                    <a:pt x="735" y="722"/>
                  </a:lnTo>
                  <a:lnTo>
                    <a:pt x="738" y="722"/>
                  </a:lnTo>
                  <a:lnTo>
                    <a:pt x="743" y="722"/>
                  </a:lnTo>
                  <a:lnTo>
                    <a:pt x="746" y="720"/>
                  </a:lnTo>
                  <a:lnTo>
                    <a:pt x="749" y="718"/>
                  </a:lnTo>
                  <a:lnTo>
                    <a:pt x="751" y="713"/>
                  </a:lnTo>
                  <a:lnTo>
                    <a:pt x="752" y="711"/>
                  </a:lnTo>
                  <a:lnTo>
                    <a:pt x="753" y="708"/>
                  </a:lnTo>
                  <a:lnTo>
                    <a:pt x="753" y="705"/>
                  </a:lnTo>
                  <a:lnTo>
                    <a:pt x="752" y="703"/>
                  </a:lnTo>
                  <a:lnTo>
                    <a:pt x="751" y="699"/>
                  </a:lnTo>
                  <a:lnTo>
                    <a:pt x="749" y="697"/>
                  </a:lnTo>
                  <a:lnTo>
                    <a:pt x="747" y="695"/>
                  </a:lnTo>
                  <a:lnTo>
                    <a:pt x="745" y="694"/>
                  </a:lnTo>
                  <a:lnTo>
                    <a:pt x="719" y="682"/>
                  </a:lnTo>
                  <a:lnTo>
                    <a:pt x="693" y="671"/>
                  </a:lnTo>
                  <a:lnTo>
                    <a:pt x="665" y="663"/>
                  </a:lnTo>
                  <a:lnTo>
                    <a:pt x="636" y="654"/>
                  </a:lnTo>
                  <a:lnTo>
                    <a:pt x="606" y="648"/>
                  </a:lnTo>
                  <a:lnTo>
                    <a:pt x="575" y="641"/>
                  </a:lnTo>
                  <a:lnTo>
                    <a:pt x="544" y="637"/>
                  </a:lnTo>
                  <a:lnTo>
                    <a:pt x="512" y="634"/>
                  </a:lnTo>
                  <a:lnTo>
                    <a:pt x="512" y="572"/>
                  </a:lnTo>
                  <a:lnTo>
                    <a:pt x="858" y="572"/>
                  </a:lnTo>
                  <a:lnTo>
                    <a:pt x="867" y="571"/>
                  </a:lnTo>
                  <a:lnTo>
                    <a:pt x="876" y="568"/>
                  </a:lnTo>
                  <a:lnTo>
                    <a:pt x="883" y="564"/>
                  </a:lnTo>
                  <a:lnTo>
                    <a:pt x="889" y="559"/>
                  </a:lnTo>
                  <a:lnTo>
                    <a:pt x="896" y="551"/>
                  </a:lnTo>
                  <a:lnTo>
                    <a:pt x="899" y="544"/>
                  </a:lnTo>
                  <a:lnTo>
                    <a:pt x="902" y="535"/>
                  </a:lnTo>
                  <a:lnTo>
                    <a:pt x="903" y="527"/>
                  </a:lnTo>
                  <a:lnTo>
                    <a:pt x="903" y="45"/>
                  </a:lnTo>
                  <a:lnTo>
                    <a:pt x="902" y="35"/>
                  </a:lnTo>
                  <a:lnTo>
                    <a:pt x="899" y="27"/>
                  </a:lnTo>
                  <a:lnTo>
                    <a:pt x="896" y="19"/>
                  </a:lnTo>
                  <a:lnTo>
                    <a:pt x="889" y="13"/>
                  </a:lnTo>
                  <a:lnTo>
                    <a:pt x="883" y="7"/>
                  </a:lnTo>
                  <a:lnTo>
                    <a:pt x="876" y="3"/>
                  </a:lnTo>
                  <a:lnTo>
                    <a:pt x="867" y="1"/>
                  </a:lnTo>
                  <a:lnTo>
                    <a:pt x="858" y="0"/>
                  </a:lnTo>
                  <a:lnTo>
                    <a:pt x="8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Freeform 69">
              <a:extLst>
                <a:ext uri="{FF2B5EF4-FFF2-40B4-BE49-F238E27FC236}">
                  <a16:creationId xmlns:a16="http://schemas.microsoft.com/office/drawing/2014/main" id="{59B45053-59EA-4725-91A7-25B8B12A36EB}"/>
                </a:ext>
              </a:extLst>
            </p:cNvPr>
            <p:cNvSpPr>
              <a:spLocks noEditPoints="1"/>
            </p:cNvSpPr>
            <p:nvPr/>
          </p:nvSpPr>
          <p:spPr bwMode="auto">
            <a:xfrm>
              <a:off x="2044700" y="863600"/>
              <a:ext cx="247650" cy="144463"/>
            </a:xfrm>
            <a:custGeom>
              <a:avLst/>
              <a:gdLst>
                <a:gd name="T0" fmla="*/ 30 w 783"/>
                <a:gd name="T1" fmla="*/ 30 h 452"/>
                <a:gd name="T2" fmla="*/ 753 w 783"/>
                <a:gd name="T3" fmla="*/ 30 h 452"/>
                <a:gd name="T4" fmla="*/ 753 w 783"/>
                <a:gd name="T5" fmla="*/ 422 h 452"/>
                <a:gd name="T6" fmla="*/ 30 w 783"/>
                <a:gd name="T7" fmla="*/ 422 h 452"/>
                <a:gd name="T8" fmla="*/ 30 w 783"/>
                <a:gd name="T9" fmla="*/ 30 h 452"/>
                <a:gd name="T10" fmla="*/ 0 w 783"/>
                <a:gd name="T11" fmla="*/ 452 h 452"/>
                <a:gd name="T12" fmla="*/ 783 w 783"/>
                <a:gd name="T13" fmla="*/ 452 h 452"/>
                <a:gd name="T14" fmla="*/ 783 w 783"/>
                <a:gd name="T15" fmla="*/ 0 h 452"/>
                <a:gd name="T16" fmla="*/ 0 w 783"/>
                <a:gd name="T17" fmla="*/ 0 h 452"/>
                <a:gd name="T18" fmla="*/ 0 w 783"/>
                <a:gd name="T19"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3" h="452">
                  <a:moveTo>
                    <a:pt x="30" y="30"/>
                  </a:moveTo>
                  <a:lnTo>
                    <a:pt x="753" y="30"/>
                  </a:lnTo>
                  <a:lnTo>
                    <a:pt x="753" y="422"/>
                  </a:lnTo>
                  <a:lnTo>
                    <a:pt x="30" y="422"/>
                  </a:lnTo>
                  <a:lnTo>
                    <a:pt x="30" y="30"/>
                  </a:lnTo>
                  <a:close/>
                  <a:moveTo>
                    <a:pt x="0" y="452"/>
                  </a:moveTo>
                  <a:lnTo>
                    <a:pt x="783" y="452"/>
                  </a:lnTo>
                  <a:lnTo>
                    <a:pt x="783" y="0"/>
                  </a:lnTo>
                  <a:lnTo>
                    <a:pt x="0" y="0"/>
                  </a:lnTo>
                  <a:lnTo>
                    <a:pt x="0"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6" name="Group 6214">
            <a:extLst>
              <a:ext uri="{FF2B5EF4-FFF2-40B4-BE49-F238E27FC236}">
                <a16:creationId xmlns:a16="http://schemas.microsoft.com/office/drawing/2014/main" id="{4C881470-C40C-4DDA-AAA4-927EA7E9D207}"/>
              </a:ext>
            </a:extLst>
          </p:cNvPr>
          <p:cNvGrpSpPr>
            <a:grpSpLocks noChangeAspect="1"/>
          </p:cNvGrpSpPr>
          <p:nvPr/>
        </p:nvGrpSpPr>
        <p:grpSpPr>
          <a:xfrm>
            <a:off x="3646822" y="5421032"/>
            <a:ext cx="305900" cy="278709"/>
            <a:chOff x="7588250" y="3267075"/>
            <a:chExt cx="357188" cy="325438"/>
          </a:xfrm>
          <a:solidFill>
            <a:schemeClr val="bg1"/>
          </a:solidFill>
          <a:effectLst/>
        </p:grpSpPr>
        <p:sp>
          <p:nvSpPr>
            <p:cNvPr id="1547" name="Freeform 49">
              <a:extLst>
                <a:ext uri="{FF2B5EF4-FFF2-40B4-BE49-F238E27FC236}">
                  <a16:creationId xmlns:a16="http://schemas.microsoft.com/office/drawing/2014/main" id="{3C6EF156-0172-4188-B6C2-0AB0CE30F65A}"/>
                </a:ext>
              </a:extLst>
            </p:cNvPr>
            <p:cNvSpPr>
              <a:spLocks noEditPoints="1"/>
            </p:cNvSpPr>
            <p:nvPr/>
          </p:nvSpPr>
          <p:spPr bwMode="auto">
            <a:xfrm>
              <a:off x="7588250" y="3267075"/>
              <a:ext cx="357188" cy="295275"/>
            </a:xfrm>
            <a:custGeom>
              <a:avLst/>
              <a:gdLst>
                <a:gd name="T0" fmla="*/ 84 w 92"/>
                <a:gd name="T1" fmla="*/ 76 h 76"/>
                <a:gd name="T2" fmla="*/ 8 w 92"/>
                <a:gd name="T3" fmla="*/ 76 h 76"/>
                <a:gd name="T4" fmla="*/ 0 w 92"/>
                <a:gd name="T5" fmla="*/ 68 h 76"/>
                <a:gd name="T6" fmla="*/ 0 w 92"/>
                <a:gd name="T7" fmla="*/ 8 h 76"/>
                <a:gd name="T8" fmla="*/ 8 w 92"/>
                <a:gd name="T9" fmla="*/ 0 h 76"/>
                <a:gd name="T10" fmla="*/ 84 w 92"/>
                <a:gd name="T11" fmla="*/ 0 h 76"/>
                <a:gd name="T12" fmla="*/ 92 w 92"/>
                <a:gd name="T13" fmla="*/ 8 h 76"/>
                <a:gd name="T14" fmla="*/ 92 w 92"/>
                <a:gd name="T15" fmla="*/ 68 h 76"/>
                <a:gd name="T16" fmla="*/ 84 w 92"/>
                <a:gd name="T17" fmla="*/ 76 h 76"/>
                <a:gd name="T18" fmla="*/ 8 w 92"/>
                <a:gd name="T19" fmla="*/ 4 h 76"/>
                <a:gd name="T20" fmla="*/ 4 w 92"/>
                <a:gd name="T21" fmla="*/ 8 h 76"/>
                <a:gd name="T22" fmla="*/ 4 w 92"/>
                <a:gd name="T23" fmla="*/ 68 h 76"/>
                <a:gd name="T24" fmla="*/ 8 w 92"/>
                <a:gd name="T25" fmla="*/ 72 h 76"/>
                <a:gd name="T26" fmla="*/ 84 w 92"/>
                <a:gd name="T27" fmla="*/ 72 h 76"/>
                <a:gd name="T28" fmla="*/ 88 w 92"/>
                <a:gd name="T29" fmla="*/ 68 h 76"/>
                <a:gd name="T30" fmla="*/ 88 w 92"/>
                <a:gd name="T31" fmla="*/ 8 h 76"/>
                <a:gd name="T32" fmla="*/ 84 w 92"/>
                <a:gd name="T33" fmla="*/ 4 h 76"/>
                <a:gd name="T34" fmla="*/ 8 w 92"/>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76">
                  <a:moveTo>
                    <a:pt x="84" y="76"/>
                  </a:moveTo>
                  <a:cubicBezTo>
                    <a:pt x="8" y="76"/>
                    <a:pt x="8" y="76"/>
                    <a:pt x="8" y="76"/>
                  </a:cubicBezTo>
                  <a:cubicBezTo>
                    <a:pt x="4" y="76"/>
                    <a:pt x="0" y="72"/>
                    <a:pt x="0" y="68"/>
                  </a:cubicBezTo>
                  <a:cubicBezTo>
                    <a:pt x="0" y="8"/>
                    <a:pt x="0" y="8"/>
                    <a:pt x="0" y="8"/>
                  </a:cubicBezTo>
                  <a:cubicBezTo>
                    <a:pt x="0" y="4"/>
                    <a:pt x="4" y="0"/>
                    <a:pt x="8" y="0"/>
                  </a:cubicBezTo>
                  <a:cubicBezTo>
                    <a:pt x="84" y="0"/>
                    <a:pt x="84" y="0"/>
                    <a:pt x="84" y="0"/>
                  </a:cubicBezTo>
                  <a:cubicBezTo>
                    <a:pt x="88" y="0"/>
                    <a:pt x="92" y="4"/>
                    <a:pt x="92" y="8"/>
                  </a:cubicBezTo>
                  <a:cubicBezTo>
                    <a:pt x="92" y="68"/>
                    <a:pt x="92" y="68"/>
                    <a:pt x="92" y="68"/>
                  </a:cubicBezTo>
                  <a:cubicBezTo>
                    <a:pt x="92" y="72"/>
                    <a:pt x="88" y="76"/>
                    <a:pt x="84" y="76"/>
                  </a:cubicBezTo>
                  <a:close/>
                  <a:moveTo>
                    <a:pt x="8" y="4"/>
                  </a:moveTo>
                  <a:cubicBezTo>
                    <a:pt x="6" y="4"/>
                    <a:pt x="4" y="6"/>
                    <a:pt x="4" y="8"/>
                  </a:cubicBezTo>
                  <a:cubicBezTo>
                    <a:pt x="4" y="68"/>
                    <a:pt x="4" y="68"/>
                    <a:pt x="4" y="68"/>
                  </a:cubicBezTo>
                  <a:cubicBezTo>
                    <a:pt x="4" y="70"/>
                    <a:pt x="6" y="72"/>
                    <a:pt x="8" y="72"/>
                  </a:cubicBezTo>
                  <a:cubicBezTo>
                    <a:pt x="84" y="72"/>
                    <a:pt x="84" y="72"/>
                    <a:pt x="84" y="72"/>
                  </a:cubicBezTo>
                  <a:cubicBezTo>
                    <a:pt x="86" y="72"/>
                    <a:pt x="88" y="70"/>
                    <a:pt x="88" y="68"/>
                  </a:cubicBezTo>
                  <a:cubicBezTo>
                    <a:pt x="88" y="8"/>
                    <a:pt x="88" y="8"/>
                    <a:pt x="88" y="8"/>
                  </a:cubicBezTo>
                  <a:cubicBezTo>
                    <a:pt x="88" y="6"/>
                    <a:pt x="86" y="4"/>
                    <a:pt x="84"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8" name="Freeform 50">
              <a:extLst>
                <a:ext uri="{FF2B5EF4-FFF2-40B4-BE49-F238E27FC236}">
                  <a16:creationId xmlns:a16="http://schemas.microsoft.com/office/drawing/2014/main" id="{EE2D86AB-5E87-4B77-AE72-2FF16092B0DE}"/>
                </a:ext>
              </a:extLst>
            </p:cNvPr>
            <p:cNvSpPr>
              <a:spLocks/>
            </p:cNvSpPr>
            <p:nvPr/>
          </p:nvSpPr>
          <p:spPr bwMode="auto">
            <a:xfrm>
              <a:off x="7658100" y="3576638"/>
              <a:ext cx="217488" cy="15875"/>
            </a:xfrm>
            <a:custGeom>
              <a:avLst/>
              <a:gdLst>
                <a:gd name="T0" fmla="*/ 54 w 56"/>
                <a:gd name="T1" fmla="*/ 4 h 4"/>
                <a:gd name="T2" fmla="*/ 2 w 56"/>
                <a:gd name="T3" fmla="*/ 4 h 4"/>
                <a:gd name="T4" fmla="*/ 0 w 56"/>
                <a:gd name="T5" fmla="*/ 2 h 4"/>
                <a:gd name="T6" fmla="*/ 2 w 56"/>
                <a:gd name="T7" fmla="*/ 0 h 4"/>
                <a:gd name="T8" fmla="*/ 54 w 56"/>
                <a:gd name="T9" fmla="*/ 0 h 4"/>
                <a:gd name="T10" fmla="*/ 56 w 56"/>
                <a:gd name="T11" fmla="*/ 2 h 4"/>
                <a:gd name="T12" fmla="*/ 54 w 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6" h="4">
                  <a:moveTo>
                    <a:pt x="54" y="4"/>
                  </a:moveTo>
                  <a:cubicBezTo>
                    <a:pt x="2" y="4"/>
                    <a:pt x="2" y="4"/>
                    <a:pt x="2" y="4"/>
                  </a:cubicBezTo>
                  <a:cubicBezTo>
                    <a:pt x="1" y="4"/>
                    <a:pt x="0" y="3"/>
                    <a:pt x="0" y="2"/>
                  </a:cubicBezTo>
                  <a:cubicBezTo>
                    <a:pt x="0" y="1"/>
                    <a:pt x="1" y="0"/>
                    <a:pt x="2" y="0"/>
                  </a:cubicBezTo>
                  <a:cubicBezTo>
                    <a:pt x="54" y="0"/>
                    <a:pt x="54" y="0"/>
                    <a:pt x="54" y="0"/>
                  </a:cubicBezTo>
                  <a:cubicBezTo>
                    <a:pt x="55" y="0"/>
                    <a:pt x="56" y="1"/>
                    <a:pt x="56" y="2"/>
                  </a:cubicBezTo>
                  <a:cubicBezTo>
                    <a:pt x="56" y="3"/>
                    <a:pt x="55" y="4"/>
                    <a:pt x="5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49" name="Freeform 51">
              <a:extLst>
                <a:ext uri="{FF2B5EF4-FFF2-40B4-BE49-F238E27FC236}">
                  <a16:creationId xmlns:a16="http://schemas.microsoft.com/office/drawing/2014/main" id="{9CA60C64-D28B-4D13-AAF0-B52991505A38}"/>
                </a:ext>
              </a:extLst>
            </p:cNvPr>
            <p:cNvSpPr>
              <a:spLocks/>
            </p:cNvSpPr>
            <p:nvPr/>
          </p:nvSpPr>
          <p:spPr bwMode="auto">
            <a:xfrm>
              <a:off x="7758113" y="3546475"/>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0" name="Oval 52">
              <a:extLst>
                <a:ext uri="{FF2B5EF4-FFF2-40B4-BE49-F238E27FC236}">
                  <a16:creationId xmlns:a16="http://schemas.microsoft.com/office/drawing/2014/main" id="{C19EFA39-0752-46FB-BA3B-ECE333996E32}"/>
                </a:ext>
              </a:extLst>
            </p:cNvPr>
            <p:cNvSpPr>
              <a:spLocks noChangeArrowheads="1"/>
            </p:cNvSpPr>
            <p:nvPr/>
          </p:nvSpPr>
          <p:spPr bwMode="auto">
            <a:xfrm>
              <a:off x="7751763" y="3506788"/>
              <a:ext cx="30163"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1" name="Rectangle 53">
              <a:extLst>
                <a:ext uri="{FF2B5EF4-FFF2-40B4-BE49-F238E27FC236}">
                  <a16:creationId xmlns:a16="http://schemas.microsoft.com/office/drawing/2014/main" id="{E158E695-E185-48E0-AE1C-C1A2ABB50F1A}"/>
                </a:ext>
              </a:extLst>
            </p:cNvPr>
            <p:cNvSpPr>
              <a:spLocks noChangeArrowheads="1"/>
            </p:cNvSpPr>
            <p:nvPr/>
          </p:nvSpPr>
          <p:spPr bwMode="auto">
            <a:xfrm>
              <a:off x="7596188" y="3484563"/>
              <a:ext cx="3413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2" name="Freeform 54">
              <a:extLst>
                <a:ext uri="{FF2B5EF4-FFF2-40B4-BE49-F238E27FC236}">
                  <a16:creationId xmlns:a16="http://schemas.microsoft.com/office/drawing/2014/main" id="{B993CDB9-CBFF-47E7-9C57-EE06A13BC7C5}"/>
                </a:ext>
              </a:extLst>
            </p:cNvPr>
            <p:cNvSpPr>
              <a:spLocks/>
            </p:cNvSpPr>
            <p:nvPr/>
          </p:nvSpPr>
          <p:spPr bwMode="auto">
            <a:xfrm>
              <a:off x="7666038"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3" name="Freeform 55">
              <a:extLst>
                <a:ext uri="{FF2B5EF4-FFF2-40B4-BE49-F238E27FC236}">
                  <a16:creationId xmlns:a16="http://schemas.microsoft.com/office/drawing/2014/main" id="{ED2F31AA-4EC1-4A04-923A-08E41A1E19D2}"/>
                </a:ext>
              </a:extLst>
            </p:cNvPr>
            <p:cNvSpPr>
              <a:spLocks/>
            </p:cNvSpPr>
            <p:nvPr/>
          </p:nvSpPr>
          <p:spPr bwMode="auto">
            <a:xfrm>
              <a:off x="7696200"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4" name="Freeform 56">
              <a:extLst>
                <a:ext uri="{FF2B5EF4-FFF2-40B4-BE49-F238E27FC236}">
                  <a16:creationId xmlns:a16="http://schemas.microsoft.com/office/drawing/2014/main" id="{FF6C820D-B23B-4A2A-8859-F526A2A7E820}"/>
                </a:ext>
              </a:extLst>
            </p:cNvPr>
            <p:cNvSpPr>
              <a:spLocks/>
            </p:cNvSpPr>
            <p:nvPr/>
          </p:nvSpPr>
          <p:spPr bwMode="auto">
            <a:xfrm>
              <a:off x="7727950"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5" name="Freeform 57">
              <a:extLst>
                <a:ext uri="{FF2B5EF4-FFF2-40B4-BE49-F238E27FC236}">
                  <a16:creationId xmlns:a16="http://schemas.microsoft.com/office/drawing/2014/main" id="{B4948AFC-693D-4884-ACAA-AD01CB626D9A}"/>
                </a:ext>
              </a:extLst>
            </p:cNvPr>
            <p:cNvSpPr>
              <a:spLocks/>
            </p:cNvSpPr>
            <p:nvPr/>
          </p:nvSpPr>
          <p:spPr bwMode="auto">
            <a:xfrm>
              <a:off x="7758113"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6" name="Freeform 58">
              <a:extLst>
                <a:ext uri="{FF2B5EF4-FFF2-40B4-BE49-F238E27FC236}">
                  <a16:creationId xmlns:a16="http://schemas.microsoft.com/office/drawing/2014/main" id="{EE802351-4D36-4F00-BDF6-0F3198536510}"/>
                </a:ext>
              </a:extLst>
            </p:cNvPr>
            <p:cNvSpPr>
              <a:spLocks/>
            </p:cNvSpPr>
            <p:nvPr/>
          </p:nvSpPr>
          <p:spPr bwMode="auto">
            <a:xfrm>
              <a:off x="7789863"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7" name="Freeform 59">
              <a:extLst>
                <a:ext uri="{FF2B5EF4-FFF2-40B4-BE49-F238E27FC236}">
                  <a16:creationId xmlns:a16="http://schemas.microsoft.com/office/drawing/2014/main" id="{D6A220DE-CEED-4545-A95B-A46262314494}"/>
                </a:ext>
              </a:extLst>
            </p:cNvPr>
            <p:cNvSpPr>
              <a:spLocks/>
            </p:cNvSpPr>
            <p:nvPr/>
          </p:nvSpPr>
          <p:spPr bwMode="auto">
            <a:xfrm>
              <a:off x="7820025"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8" name="Freeform 60">
              <a:extLst>
                <a:ext uri="{FF2B5EF4-FFF2-40B4-BE49-F238E27FC236}">
                  <a16:creationId xmlns:a16="http://schemas.microsoft.com/office/drawing/2014/main" id="{A55306D9-F0A3-49D8-9FC5-CC2099832B63}"/>
                </a:ext>
              </a:extLst>
            </p:cNvPr>
            <p:cNvSpPr>
              <a:spLocks/>
            </p:cNvSpPr>
            <p:nvPr/>
          </p:nvSpPr>
          <p:spPr bwMode="auto">
            <a:xfrm>
              <a:off x="7851775" y="34528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59" name="Freeform 61">
              <a:extLst>
                <a:ext uri="{FF2B5EF4-FFF2-40B4-BE49-F238E27FC236}">
                  <a16:creationId xmlns:a16="http://schemas.microsoft.com/office/drawing/2014/main" id="{4EE6E65A-11A4-4DBF-AD80-50D8E0A9206A}"/>
                </a:ext>
              </a:extLst>
            </p:cNvPr>
            <p:cNvSpPr>
              <a:spLocks/>
            </p:cNvSpPr>
            <p:nvPr/>
          </p:nvSpPr>
          <p:spPr bwMode="auto">
            <a:xfrm>
              <a:off x="7681913"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0" name="Freeform 62">
              <a:extLst>
                <a:ext uri="{FF2B5EF4-FFF2-40B4-BE49-F238E27FC236}">
                  <a16:creationId xmlns:a16="http://schemas.microsoft.com/office/drawing/2014/main" id="{F1599569-4BCB-436F-A7AC-256199A3F7C5}"/>
                </a:ext>
              </a:extLst>
            </p:cNvPr>
            <p:cNvSpPr>
              <a:spLocks/>
            </p:cNvSpPr>
            <p:nvPr/>
          </p:nvSpPr>
          <p:spPr bwMode="auto">
            <a:xfrm>
              <a:off x="7712075"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1" name="Freeform 63">
              <a:extLst>
                <a:ext uri="{FF2B5EF4-FFF2-40B4-BE49-F238E27FC236}">
                  <a16:creationId xmlns:a16="http://schemas.microsoft.com/office/drawing/2014/main" id="{8556E21A-6CD6-4A03-AEB8-6DB615A00E22}"/>
                </a:ext>
              </a:extLst>
            </p:cNvPr>
            <p:cNvSpPr>
              <a:spLocks/>
            </p:cNvSpPr>
            <p:nvPr/>
          </p:nvSpPr>
          <p:spPr bwMode="auto">
            <a:xfrm>
              <a:off x="7743825"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2" name="Freeform 64">
              <a:extLst>
                <a:ext uri="{FF2B5EF4-FFF2-40B4-BE49-F238E27FC236}">
                  <a16:creationId xmlns:a16="http://schemas.microsoft.com/office/drawing/2014/main" id="{8D8ED0AD-C80D-4180-8D45-039E6DB4DA5A}"/>
                </a:ext>
              </a:extLst>
            </p:cNvPr>
            <p:cNvSpPr>
              <a:spLocks/>
            </p:cNvSpPr>
            <p:nvPr/>
          </p:nvSpPr>
          <p:spPr bwMode="auto">
            <a:xfrm>
              <a:off x="7773988"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3" name="Freeform 65">
              <a:extLst>
                <a:ext uri="{FF2B5EF4-FFF2-40B4-BE49-F238E27FC236}">
                  <a16:creationId xmlns:a16="http://schemas.microsoft.com/office/drawing/2014/main" id="{89532E87-7425-4017-B5A1-FA1F1F0B749A}"/>
                </a:ext>
              </a:extLst>
            </p:cNvPr>
            <p:cNvSpPr>
              <a:spLocks/>
            </p:cNvSpPr>
            <p:nvPr/>
          </p:nvSpPr>
          <p:spPr bwMode="auto">
            <a:xfrm>
              <a:off x="7805738" y="3436938"/>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4" name="Freeform 66">
              <a:extLst>
                <a:ext uri="{FF2B5EF4-FFF2-40B4-BE49-F238E27FC236}">
                  <a16:creationId xmlns:a16="http://schemas.microsoft.com/office/drawing/2014/main" id="{CECD6552-B2E6-42D3-A0F1-D47623A2FE49}"/>
                </a:ext>
              </a:extLst>
            </p:cNvPr>
            <p:cNvSpPr>
              <a:spLocks/>
            </p:cNvSpPr>
            <p:nvPr/>
          </p:nvSpPr>
          <p:spPr bwMode="auto">
            <a:xfrm>
              <a:off x="7835900" y="343693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5" name="Freeform 67">
              <a:extLst>
                <a:ext uri="{FF2B5EF4-FFF2-40B4-BE49-F238E27FC236}">
                  <a16:creationId xmlns:a16="http://schemas.microsoft.com/office/drawing/2014/main" id="{C3BDCA70-98A9-47CB-A92B-A39CFC114232}"/>
                </a:ext>
              </a:extLst>
            </p:cNvPr>
            <p:cNvSpPr>
              <a:spLocks/>
            </p:cNvSpPr>
            <p:nvPr/>
          </p:nvSpPr>
          <p:spPr bwMode="auto">
            <a:xfrm>
              <a:off x="7666038"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6" name="Freeform 68">
              <a:extLst>
                <a:ext uri="{FF2B5EF4-FFF2-40B4-BE49-F238E27FC236}">
                  <a16:creationId xmlns:a16="http://schemas.microsoft.com/office/drawing/2014/main" id="{B4B239D8-627C-4934-BCAE-89CC9BA5802A}"/>
                </a:ext>
              </a:extLst>
            </p:cNvPr>
            <p:cNvSpPr>
              <a:spLocks/>
            </p:cNvSpPr>
            <p:nvPr/>
          </p:nvSpPr>
          <p:spPr bwMode="auto">
            <a:xfrm>
              <a:off x="7696200"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7" name="Freeform 69">
              <a:extLst>
                <a:ext uri="{FF2B5EF4-FFF2-40B4-BE49-F238E27FC236}">
                  <a16:creationId xmlns:a16="http://schemas.microsoft.com/office/drawing/2014/main" id="{606D886A-3C59-4846-99CA-53E18FB850E4}"/>
                </a:ext>
              </a:extLst>
            </p:cNvPr>
            <p:cNvSpPr>
              <a:spLocks/>
            </p:cNvSpPr>
            <p:nvPr/>
          </p:nvSpPr>
          <p:spPr bwMode="auto">
            <a:xfrm>
              <a:off x="7727950"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8" name="Freeform 70">
              <a:extLst>
                <a:ext uri="{FF2B5EF4-FFF2-40B4-BE49-F238E27FC236}">
                  <a16:creationId xmlns:a16="http://schemas.microsoft.com/office/drawing/2014/main" id="{CD6D5853-6869-427F-94A8-B5F3B3E2FAC6}"/>
                </a:ext>
              </a:extLst>
            </p:cNvPr>
            <p:cNvSpPr>
              <a:spLocks/>
            </p:cNvSpPr>
            <p:nvPr/>
          </p:nvSpPr>
          <p:spPr bwMode="auto">
            <a:xfrm>
              <a:off x="7758113"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69" name="Freeform 71">
              <a:extLst>
                <a:ext uri="{FF2B5EF4-FFF2-40B4-BE49-F238E27FC236}">
                  <a16:creationId xmlns:a16="http://schemas.microsoft.com/office/drawing/2014/main" id="{4DC59DC9-5A43-4294-8A5F-0ED404966F71}"/>
                </a:ext>
              </a:extLst>
            </p:cNvPr>
            <p:cNvSpPr>
              <a:spLocks/>
            </p:cNvSpPr>
            <p:nvPr/>
          </p:nvSpPr>
          <p:spPr bwMode="auto">
            <a:xfrm>
              <a:off x="7789863"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0" name="Freeform 72">
              <a:extLst>
                <a:ext uri="{FF2B5EF4-FFF2-40B4-BE49-F238E27FC236}">
                  <a16:creationId xmlns:a16="http://schemas.microsoft.com/office/drawing/2014/main" id="{D5D1C2B6-FFD9-474B-AC6C-642C84B7FB8F}"/>
                </a:ext>
              </a:extLst>
            </p:cNvPr>
            <p:cNvSpPr>
              <a:spLocks/>
            </p:cNvSpPr>
            <p:nvPr/>
          </p:nvSpPr>
          <p:spPr bwMode="auto">
            <a:xfrm>
              <a:off x="7820025"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1" name="Freeform 73">
              <a:extLst>
                <a:ext uri="{FF2B5EF4-FFF2-40B4-BE49-F238E27FC236}">
                  <a16:creationId xmlns:a16="http://schemas.microsoft.com/office/drawing/2014/main" id="{D4B363EF-389A-4B10-8046-F82B904B9CE7}"/>
                </a:ext>
              </a:extLst>
            </p:cNvPr>
            <p:cNvSpPr>
              <a:spLocks/>
            </p:cNvSpPr>
            <p:nvPr/>
          </p:nvSpPr>
          <p:spPr bwMode="auto">
            <a:xfrm>
              <a:off x="7851775" y="3422650"/>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2" name="Freeform 74">
              <a:extLst>
                <a:ext uri="{FF2B5EF4-FFF2-40B4-BE49-F238E27FC236}">
                  <a16:creationId xmlns:a16="http://schemas.microsoft.com/office/drawing/2014/main" id="{EEEBBF47-BC4A-44C0-992F-572BDC2BB2A8}"/>
                </a:ext>
              </a:extLst>
            </p:cNvPr>
            <p:cNvSpPr>
              <a:spLocks/>
            </p:cNvSpPr>
            <p:nvPr/>
          </p:nvSpPr>
          <p:spPr bwMode="auto">
            <a:xfrm>
              <a:off x="7681913"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3" name="Freeform 75">
              <a:extLst>
                <a:ext uri="{FF2B5EF4-FFF2-40B4-BE49-F238E27FC236}">
                  <a16:creationId xmlns:a16="http://schemas.microsoft.com/office/drawing/2014/main" id="{1CBEEEFF-DC29-4E63-9197-5847393B159D}"/>
                </a:ext>
              </a:extLst>
            </p:cNvPr>
            <p:cNvSpPr>
              <a:spLocks/>
            </p:cNvSpPr>
            <p:nvPr/>
          </p:nvSpPr>
          <p:spPr bwMode="auto">
            <a:xfrm>
              <a:off x="7712075"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4" name="Freeform 76">
              <a:extLst>
                <a:ext uri="{FF2B5EF4-FFF2-40B4-BE49-F238E27FC236}">
                  <a16:creationId xmlns:a16="http://schemas.microsoft.com/office/drawing/2014/main" id="{0D5D3A7D-52A4-4A75-8C99-DD274DA5D6D5}"/>
                </a:ext>
              </a:extLst>
            </p:cNvPr>
            <p:cNvSpPr>
              <a:spLocks/>
            </p:cNvSpPr>
            <p:nvPr/>
          </p:nvSpPr>
          <p:spPr bwMode="auto">
            <a:xfrm>
              <a:off x="7743825"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5" name="Freeform 77">
              <a:extLst>
                <a:ext uri="{FF2B5EF4-FFF2-40B4-BE49-F238E27FC236}">
                  <a16:creationId xmlns:a16="http://schemas.microsoft.com/office/drawing/2014/main" id="{11131F49-3A57-4D2B-BCF7-3F81BE785AA3}"/>
                </a:ext>
              </a:extLst>
            </p:cNvPr>
            <p:cNvSpPr>
              <a:spLocks/>
            </p:cNvSpPr>
            <p:nvPr/>
          </p:nvSpPr>
          <p:spPr bwMode="auto">
            <a:xfrm>
              <a:off x="7773988"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6" name="Freeform 78">
              <a:extLst>
                <a:ext uri="{FF2B5EF4-FFF2-40B4-BE49-F238E27FC236}">
                  <a16:creationId xmlns:a16="http://schemas.microsoft.com/office/drawing/2014/main" id="{200B26B8-C558-4AAD-AF9E-E6CD110D13DA}"/>
                </a:ext>
              </a:extLst>
            </p:cNvPr>
            <p:cNvSpPr>
              <a:spLocks/>
            </p:cNvSpPr>
            <p:nvPr/>
          </p:nvSpPr>
          <p:spPr bwMode="auto">
            <a:xfrm>
              <a:off x="7805738" y="340677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7" name="Freeform 79">
              <a:extLst>
                <a:ext uri="{FF2B5EF4-FFF2-40B4-BE49-F238E27FC236}">
                  <a16:creationId xmlns:a16="http://schemas.microsoft.com/office/drawing/2014/main" id="{D17DF3E3-FE65-4C50-8B9B-FB52B89D2C88}"/>
                </a:ext>
              </a:extLst>
            </p:cNvPr>
            <p:cNvSpPr>
              <a:spLocks/>
            </p:cNvSpPr>
            <p:nvPr/>
          </p:nvSpPr>
          <p:spPr bwMode="auto">
            <a:xfrm>
              <a:off x="7835900" y="340677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8" name="Freeform 80">
              <a:extLst>
                <a:ext uri="{FF2B5EF4-FFF2-40B4-BE49-F238E27FC236}">
                  <a16:creationId xmlns:a16="http://schemas.microsoft.com/office/drawing/2014/main" id="{F8750A16-4404-427D-9813-08A9B87E4374}"/>
                </a:ext>
              </a:extLst>
            </p:cNvPr>
            <p:cNvSpPr>
              <a:spLocks/>
            </p:cNvSpPr>
            <p:nvPr/>
          </p:nvSpPr>
          <p:spPr bwMode="auto">
            <a:xfrm>
              <a:off x="7666038"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79" name="Freeform 81">
              <a:extLst>
                <a:ext uri="{FF2B5EF4-FFF2-40B4-BE49-F238E27FC236}">
                  <a16:creationId xmlns:a16="http://schemas.microsoft.com/office/drawing/2014/main" id="{540CDA4A-2E08-4E37-99B9-157021E781CC}"/>
                </a:ext>
              </a:extLst>
            </p:cNvPr>
            <p:cNvSpPr>
              <a:spLocks/>
            </p:cNvSpPr>
            <p:nvPr/>
          </p:nvSpPr>
          <p:spPr bwMode="auto">
            <a:xfrm>
              <a:off x="7696200"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0" name="Freeform 82">
              <a:extLst>
                <a:ext uri="{FF2B5EF4-FFF2-40B4-BE49-F238E27FC236}">
                  <a16:creationId xmlns:a16="http://schemas.microsoft.com/office/drawing/2014/main" id="{080D4462-3B0B-4DCF-A499-9B3C593CEE00}"/>
                </a:ext>
              </a:extLst>
            </p:cNvPr>
            <p:cNvSpPr>
              <a:spLocks/>
            </p:cNvSpPr>
            <p:nvPr/>
          </p:nvSpPr>
          <p:spPr bwMode="auto">
            <a:xfrm>
              <a:off x="7727950"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1" name="Freeform 83">
              <a:extLst>
                <a:ext uri="{FF2B5EF4-FFF2-40B4-BE49-F238E27FC236}">
                  <a16:creationId xmlns:a16="http://schemas.microsoft.com/office/drawing/2014/main" id="{4EA1E641-04EB-4CD7-861B-FA276FC52323}"/>
                </a:ext>
              </a:extLst>
            </p:cNvPr>
            <p:cNvSpPr>
              <a:spLocks/>
            </p:cNvSpPr>
            <p:nvPr/>
          </p:nvSpPr>
          <p:spPr bwMode="auto">
            <a:xfrm>
              <a:off x="7758113"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2" name="Freeform 84">
              <a:extLst>
                <a:ext uri="{FF2B5EF4-FFF2-40B4-BE49-F238E27FC236}">
                  <a16:creationId xmlns:a16="http://schemas.microsoft.com/office/drawing/2014/main" id="{15A91019-D2FC-4F68-ACFF-C8E4853BDE4D}"/>
                </a:ext>
              </a:extLst>
            </p:cNvPr>
            <p:cNvSpPr>
              <a:spLocks/>
            </p:cNvSpPr>
            <p:nvPr/>
          </p:nvSpPr>
          <p:spPr bwMode="auto">
            <a:xfrm>
              <a:off x="7789863"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3" name="Freeform 85">
              <a:extLst>
                <a:ext uri="{FF2B5EF4-FFF2-40B4-BE49-F238E27FC236}">
                  <a16:creationId xmlns:a16="http://schemas.microsoft.com/office/drawing/2014/main" id="{EBC301DE-001C-4FCC-92C9-105027510F31}"/>
                </a:ext>
              </a:extLst>
            </p:cNvPr>
            <p:cNvSpPr>
              <a:spLocks/>
            </p:cNvSpPr>
            <p:nvPr/>
          </p:nvSpPr>
          <p:spPr bwMode="auto">
            <a:xfrm>
              <a:off x="7820025"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4" name="Freeform 86">
              <a:extLst>
                <a:ext uri="{FF2B5EF4-FFF2-40B4-BE49-F238E27FC236}">
                  <a16:creationId xmlns:a16="http://schemas.microsoft.com/office/drawing/2014/main" id="{D72ED9AB-39F5-4FC4-B3BF-1976A7603C72}"/>
                </a:ext>
              </a:extLst>
            </p:cNvPr>
            <p:cNvSpPr>
              <a:spLocks/>
            </p:cNvSpPr>
            <p:nvPr/>
          </p:nvSpPr>
          <p:spPr bwMode="auto">
            <a:xfrm>
              <a:off x="7851775" y="3390900"/>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5" name="Freeform 87">
              <a:extLst>
                <a:ext uri="{FF2B5EF4-FFF2-40B4-BE49-F238E27FC236}">
                  <a16:creationId xmlns:a16="http://schemas.microsoft.com/office/drawing/2014/main" id="{755782D6-CE3E-4D8C-A042-EB9BF336A474}"/>
                </a:ext>
              </a:extLst>
            </p:cNvPr>
            <p:cNvSpPr>
              <a:spLocks/>
            </p:cNvSpPr>
            <p:nvPr/>
          </p:nvSpPr>
          <p:spPr bwMode="auto">
            <a:xfrm>
              <a:off x="7681913"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6" name="Freeform 88">
              <a:extLst>
                <a:ext uri="{FF2B5EF4-FFF2-40B4-BE49-F238E27FC236}">
                  <a16:creationId xmlns:a16="http://schemas.microsoft.com/office/drawing/2014/main" id="{6CC8FD8C-B80B-448C-BA3F-B80E8B744063}"/>
                </a:ext>
              </a:extLst>
            </p:cNvPr>
            <p:cNvSpPr>
              <a:spLocks/>
            </p:cNvSpPr>
            <p:nvPr/>
          </p:nvSpPr>
          <p:spPr bwMode="auto">
            <a:xfrm>
              <a:off x="7712075"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7" name="Freeform 89">
              <a:extLst>
                <a:ext uri="{FF2B5EF4-FFF2-40B4-BE49-F238E27FC236}">
                  <a16:creationId xmlns:a16="http://schemas.microsoft.com/office/drawing/2014/main" id="{D033378F-184F-400A-9607-28D29B854667}"/>
                </a:ext>
              </a:extLst>
            </p:cNvPr>
            <p:cNvSpPr>
              <a:spLocks/>
            </p:cNvSpPr>
            <p:nvPr/>
          </p:nvSpPr>
          <p:spPr bwMode="auto">
            <a:xfrm>
              <a:off x="7743825"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8" name="Freeform 90">
              <a:extLst>
                <a:ext uri="{FF2B5EF4-FFF2-40B4-BE49-F238E27FC236}">
                  <a16:creationId xmlns:a16="http://schemas.microsoft.com/office/drawing/2014/main" id="{69B73787-17EC-4519-B176-0DDC55E8171A}"/>
                </a:ext>
              </a:extLst>
            </p:cNvPr>
            <p:cNvSpPr>
              <a:spLocks/>
            </p:cNvSpPr>
            <p:nvPr/>
          </p:nvSpPr>
          <p:spPr bwMode="auto">
            <a:xfrm>
              <a:off x="7773988"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89" name="Freeform 91">
              <a:extLst>
                <a:ext uri="{FF2B5EF4-FFF2-40B4-BE49-F238E27FC236}">
                  <a16:creationId xmlns:a16="http://schemas.microsoft.com/office/drawing/2014/main" id="{24FABFE9-ABA2-48BA-A196-918D86B2FFBD}"/>
                </a:ext>
              </a:extLst>
            </p:cNvPr>
            <p:cNvSpPr>
              <a:spLocks/>
            </p:cNvSpPr>
            <p:nvPr/>
          </p:nvSpPr>
          <p:spPr bwMode="auto">
            <a:xfrm>
              <a:off x="7805738" y="3375025"/>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0" name="Freeform 92">
              <a:extLst>
                <a:ext uri="{FF2B5EF4-FFF2-40B4-BE49-F238E27FC236}">
                  <a16:creationId xmlns:a16="http://schemas.microsoft.com/office/drawing/2014/main" id="{85E815E7-A6B9-4E76-9D04-AA190B49818E}"/>
                </a:ext>
              </a:extLst>
            </p:cNvPr>
            <p:cNvSpPr>
              <a:spLocks/>
            </p:cNvSpPr>
            <p:nvPr/>
          </p:nvSpPr>
          <p:spPr bwMode="auto">
            <a:xfrm>
              <a:off x="7835900" y="3375025"/>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1" name="Freeform 93">
              <a:extLst>
                <a:ext uri="{FF2B5EF4-FFF2-40B4-BE49-F238E27FC236}">
                  <a16:creationId xmlns:a16="http://schemas.microsoft.com/office/drawing/2014/main" id="{EED4431B-8E40-4A30-84F8-234942174A53}"/>
                </a:ext>
              </a:extLst>
            </p:cNvPr>
            <p:cNvSpPr>
              <a:spLocks/>
            </p:cNvSpPr>
            <p:nvPr/>
          </p:nvSpPr>
          <p:spPr bwMode="auto">
            <a:xfrm>
              <a:off x="7666038"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2" name="Freeform 94">
              <a:extLst>
                <a:ext uri="{FF2B5EF4-FFF2-40B4-BE49-F238E27FC236}">
                  <a16:creationId xmlns:a16="http://schemas.microsoft.com/office/drawing/2014/main" id="{A6033B2D-AC81-4FB3-A21D-DE1E013EF8EB}"/>
                </a:ext>
              </a:extLst>
            </p:cNvPr>
            <p:cNvSpPr>
              <a:spLocks/>
            </p:cNvSpPr>
            <p:nvPr/>
          </p:nvSpPr>
          <p:spPr bwMode="auto">
            <a:xfrm>
              <a:off x="7696200"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3" name="Freeform 95">
              <a:extLst>
                <a:ext uri="{FF2B5EF4-FFF2-40B4-BE49-F238E27FC236}">
                  <a16:creationId xmlns:a16="http://schemas.microsoft.com/office/drawing/2014/main" id="{2988434B-03CC-4556-AB7D-676EC1084ED2}"/>
                </a:ext>
              </a:extLst>
            </p:cNvPr>
            <p:cNvSpPr>
              <a:spLocks/>
            </p:cNvSpPr>
            <p:nvPr/>
          </p:nvSpPr>
          <p:spPr bwMode="auto">
            <a:xfrm>
              <a:off x="7727950"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4" name="Freeform 96">
              <a:extLst>
                <a:ext uri="{FF2B5EF4-FFF2-40B4-BE49-F238E27FC236}">
                  <a16:creationId xmlns:a16="http://schemas.microsoft.com/office/drawing/2014/main" id="{7798D550-737E-4061-A47C-116D28FAF278}"/>
                </a:ext>
              </a:extLst>
            </p:cNvPr>
            <p:cNvSpPr>
              <a:spLocks/>
            </p:cNvSpPr>
            <p:nvPr/>
          </p:nvSpPr>
          <p:spPr bwMode="auto">
            <a:xfrm>
              <a:off x="7758113"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5" name="Freeform 97">
              <a:extLst>
                <a:ext uri="{FF2B5EF4-FFF2-40B4-BE49-F238E27FC236}">
                  <a16:creationId xmlns:a16="http://schemas.microsoft.com/office/drawing/2014/main" id="{40D5A283-29D8-44C3-B751-EA6F32DD9201}"/>
                </a:ext>
              </a:extLst>
            </p:cNvPr>
            <p:cNvSpPr>
              <a:spLocks/>
            </p:cNvSpPr>
            <p:nvPr/>
          </p:nvSpPr>
          <p:spPr bwMode="auto">
            <a:xfrm>
              <a:off x="7789863"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6" name="Freeform 98">
              <a:extLst>
                <a:ext uri="{FF2B5EF4-FFF2-40B4-BE49-F238E27FC236}">
                  <a16:creationId xmlns:a16="http://schemas.microsoft.com/office/drawing/2014/main" id="{FDFC1559-26C7-4651-96A2-70A89305C439}"/>
                </a:ext>
              </a:extLst>
            </p:cNvPr>
            <p:cNvSpPr>
              <a:spLocks/>
            </p:cNvSpPr>
            <p:nvPr/>
          </p:nvSpPr>
          <p:spPr bwMode="auto">
            <a:xfrm>
              <a:off x="7820025"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7" name="Freeform 99">
              <a:extLst>
                <a:ext uri="{FF2B5EF4-FFF2-40B4-BE49-F238E27FC236}">
                  <a16:creationId xmlns:a16="http://schemas.microsoft.com/office/drawing/2014/main" id="{C8020CB0-6123-4921-9FE3-EDF2C2C584DD}"/>
                </a:ext>
              </a:extLst>
            </p:cNvPr>
            <p:cNvSpPr>
              <a:spLocks/>
            </p:cNvSpPr>
            <p:nvPr/>
          </p:nvSpPr>
          <p:spPr bwMode="auto">
            <a:xfrm>
              <a:off x="7851775" y="3360738"/>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8" name="Freeform 100">
              <a:extLst>
                <a:ext uri="{FF2B5EF4-FFF2-40B4-BE49-F238E27FC236}">
                  <a16:creationId xmlns:a16="http://schemas.microsoft.com/office/drawing/2014/main" id="{0F3C2942-7062-406D-BC66-195770E50385}"/>
                </a:ext>
              </a:extLst>
            </p:cNvPr>
            <p:cNvSpPr>
              <a:spLocks/>
            </p:cNvSpPr>
            <p:nvPr/>
          </p:nvSpPr>
          <p:spPr bwMode="auto">
            <a:xfrm>
              <a:off x="7681913"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99" name="Freeform 101">
              <a:extLst>
                <a:ext uri="{FF2B5EF4-FFF2-40B4-BE49-F238E27FC236}">
                  <a16:creationId xmlns:a16="http://schemas.microsoft.com/office/drawing/2014/main" id="{2DBD7136-EC85-4CCA-84A7-6BF23E7C440A}"/>
                </a:ext>
              </a:extLst>
            </p:cNvPr>
            <p:cNvSpPr>
              <a:spLocks/>
            </p:cNvSpPr>
            <p:nvPr/>
          </p:nvSpPr>
          <p:spPr bwMode="auto">
            <a:xfrm>
              <a:off x="7712075"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0" name="Freeform 102">
              <a:extLst>
                <a:ext uri="{FF2B5EF4-FFF2-40B4-BE49-F238E27FC236}">
                  <a16:creationId xmlns:a16="http://schemas.microsoft.com/office/drawing/2014/main" id="{F61826E6-25B6-4BC6-BBD3-F380309E6E74}"/>
                </a:ext>
              </a:extLst>
            </p:cNvPr>
            <p:cNvSpPr>
              <a:spLocks/>
            </p:cNvSpPr>
            <p:nvPr/>
          </p:nvSpPr>
          <p:spPr bwMode="auto">
            <a:xfrm>
              <a:off x="7743825"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1" name="Freeform 103">
              <a:extLst>
                <a:ext uri="{FF2B5EF4-FFF2-40B4-BE49-F238E27FC236}">
                  <a16:creationId xmlns:a16="http://schemas.microsoft.com/office/drawing/2014/main" id="{DC9F5E20-C61E-454A-9420-C4EA877F6C28}"/>
                </a:ext>
              </a:extLst>
            </p:cNvPr>
            <p:cNvSpPr>
              <a:spLocks/>
            </p:cNvSpPr>
            <p:nvPr/>
          </p:nvSpPr>
          <p:spPr bwMode="auto">
            <a:xfrm>
              <a:off x="7773988"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2" name="Freeform 104">
              <a:extLst>
                <a:ext uri="{FF2B5EF4-FFF2-40B4-BE49-F238E27FC236}">
                  <a16:creationId xmlns:a16="http://schemas.microsoft.com/office/drawing/2014/main" id="{8247A623-9A63-41D1-86CB-6A9CF3ABF7C6}"/>
                </a:ext>
              </a:extLst>
            </p:cNvPr>
            <p:cNvSpPr>
              <a:spLocks/>
            </p:cNvSpPr>
            <p:nvPr/>
          </p:nvSpPr>
          <p:spPr bwMode="auto">
            <a:xfrm>
              <a:off x="7805738" y="334486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3" name="Freeform 105">
              <a:extLst>
                <a:ext uri="{FF2B5EF4-FFF2-40B4-BE49-F238E27FC236}">
                  <a16:creationId xmlns:a16="http://schemas.microsoft.com/office/drawing/2014/main" id="{E54CA349-A776-4697-BED2-3FB05A85C25D}"/>
                </a:ext>
              </a:extLst>
            </p:cNvPr>
            <p:cNvSpPr>
              <a:spLocks/>
            </p:cNvSpPr>
            <p:nvPr/>
          </p:nvSpPr>
          <p:spPr bwMode="auto">
            <a:xfrm>
              <a:off x="7835900" y="334486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4" name="Freeform 106">
              <a:extLst>
                <a:ext uri="{FF2B5EF4-FFF2-40B4-BE49-F238E27FC236}">
                  <a16:creationId xmlns:a16="http://schemas.microsoft.com/office/drawing/2014/main" id="{8AD0CDAD-CBCA-461B-9323-070ABC630829}"/>
                </a:ext>
              </a:extLst>
            </p:cNvPr>
            <p:cNvSpPr>
              <a:spLocks/>
            </p:cNvSpPr>
            <p:nvPr/>
          </p:nvSpPr>
          <p:spPr bwMode="auto">
            <a:xfrm>
              <a:off x="7666038"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5" name="Freeform 107">
              <a:extLst>
                <a:ext uri="{FF2B5EF4-FFF2-40B4-BE49-F238E27FC236}">
                  <a16:creationId xmlns:a16="http://schemas.microsoft.com/office/drawing/2014/main" id="{666C3305-8AB7-422C-B3D5-B4ECBD441908}"/>
                </a:ext>
              </a:extLst>
            </p:cNvPr>
            <p:cNvSpPr>
              <a:spLocks/>
            </p:cNvSpPr>
            <p:nvPr/>
          </p:nvSpPr>
          <p:spPr bwMode="auto">
            <a:xfrm>
              <a:off x="7696200"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6" name="Freeform 108">
              <a:extLst>
                <a:ext uri="{FF2B5EF4-FFF2-40B4-BE49-F238E27FC236}">
                  <a16:creationId xmlns:a16="http://schemas.microsoft.com/office/drawing/2014/main" id="{32728DB4-61D2-4FC7-A196-778B2073BA22}"/>
                </a:ext>
              </a:extLst>
            </p:cNvPr>
            <p:cNvSpPr>
              <a:spLocks/>
            </p:cNvSpPr>
            <p:nvPr/>
          </p:nvSpPr>
          <p:spPr bwMode="auto">
            <a:xfrm>
              <a:off x="7727950"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7" name="Freeform 109">
              <a:extLst>
                <a:ext uri="{FF2B5EF4-FFF2-40B4-BE49-F238E27FC236}">
                  <a16:creationId xmlns:a16="http://schemas.microsoft.com/office/drawing/2014/main" id="{2D46B25E-C8BC-4B1D-B2F3-ECC8C060BFBE}"/>
                </a:ext>
              </a:extLst>
            </p:cNvPr>
            <p:cNvSpPr>
              <a:spLocks/>
            </p:cNvSpPr>
            <p:nvPr/>
          </p:nvSpPr>
          <p:spPr bwMode="auto">
            <a:xfrm>
              <a:off x="7758113"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8" name="Freeform 110">
              <a:extLst>
                <a:ext uri="{FF2B5EF4-FFF2-40B4-BE49-F238E27FC236}">
                  <a16:creationId xmlns:a16="http://schemas.microsoft.com/office/drawing/2014/main" id="{32122860-488D-4CA1-8C9C-ECB68A854809}"/>
                </a:ext>
              </a:extLst>
            </p:cNvPr>
            <p:cNvSpPr>
              <a:spLocks/>
            </p:cNvSpPr>
            <p:nvPr/>
          </p:nvSpPr>
          <p:spPr bwMode="auto">
            <a:xfrm>
              <a:off x="7789863"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09" name="Freeform 111">
              <a:extLst>
                <a:ext uri="{FF2B5EF4-FFF2-40B4-BE49-F238E27FC236}">
                  <a16:creationId xmlns:a16="http://schemas.microsoft.com/office/drawing/2014/main" id="{BAD5BF72-A505-4D7E-8231-1B17D01EA759}"/>
                </a:ext>
              </a:extLst>
            </p:cNvPr>
            <p:cNvSpPr>
              <a:spLocks/>
            </p:cNvSpPr>
            <p:nvPr/>
          </p:nvSpPr>
          <p:spPr bwMode="auto">
            <a:xfrm>
              <a:off x="7820025"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0" name="Freeform 112">
              <a:extLst>
                <a:ext uri="{FF2B5EF4-FFF2-40B4-BE49-F238E27FC236}">
                  <a16:creationId xmlns:a16="http://schemas.microsoft.com/office/drawing/2014/main" id="{B1FAB9BA-CAB0-40C0-BDD7-3D7DC2D95A95}"/>
                </a:ext>
              </a:extLst>
            </p:cNvPr>
            <p:cNvSpPr>
              <a:spLocks/>
            </p:cNvSpPr>
            <p:nvPr/>
          </p:nvSpPr>
          <p:spPr bwMode="auto">
            <a:xfrm>
              <a:off x="7851775" y="3328988"/>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1" name="Freeform 113">
              <a:extLst>
                <a:ext uri="{FF2B5EF4-FFF2-40B4-BE49-F238E27FC236}">
                  <a16:creationId xmlns:a16="http://schemas.microsoft.com/office/drawing/2014/main" id="{2DC88AD7-BF53-4767-9A53-F5641479EC3F}"/>
                </a:ext>
              </a:extLst>
            </p:cNvPr>
            <p:cNvSpPr>
              <a:spLocks/>
            </p:cNvSpPr>
            <p:nvPr/>
          </p:nvSpPr>
          <p:spPr bwMode="auto">
            <a:xfrm>
              <a:off x="7681913"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2" name="Freeform 114">
              <a:extLst>
                <a:ext uri="{FF2B5EF4-FFF2-40B4-BE49-F238E27FC236}">
                  <a16:creationId xmlns:a16="http://schemas.microsoft.com/office/drawing/2014/main" id="{DB66FBCE-4F9E-4799-AA34-1F61577187B9}"/>
                </a:ext>
              </a:extLst>
            </p:cNvPr>
            <p:cNvSpPr>
              <a:spLocks/>
            </p:cNvSpPr>
            <p:nvPr/>
          </p:nvSpPr>
          <p:spPr bwMode="auto">
            <a:xfrm>
              <a:off x="7712075"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3" name="Freeform 115">
              <a:extLst>
                <a:ext uri="{FF2B5EF4-FFF2-40B4-BE49-F238E27FC236}">
                  <a16:creationId xmlns:a16="http://schemas.microsoft.com/office/drawing/2014/main" id="{71AA2E60-12BD-4F16-964F-6188B8626F15}"/>
                </a:ext>
              </a:extLst>
            </p:cNvPr>
            <p:cNvSpPr>
              <a:spLocks/>
            </p:cNvSpPr>
            <p:nvPr/>
          </p:nvSpPr>
          <p:spPr bwMode="auto">
            <a:xfrm>
              <a:off x="7743825"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4" name="Freeform 116">
              <a:extLst>
                <a:ext uri="{FF2B5EF4-FFF2-40B4-BE49-F238E27FC236}">
                  <a16:creationId xmlns:a16="http://schemas.microsoft.com/office/drawing/2014/main" id="{535CDD29-5AB7-4AF5-8FE6-2A9253F80897}"/>
                </a:ext>
              </a:extLst>
            </p:cNvPr>
            <p:cNvSpPr>
              <a:spLocks/>
            </p:cNvSpPr>
            <p:nvPr/>
          </p:nvSpPr>
          <p:spPr bwMode="auto">
            <a:xfrm>
              <a:off x="7773988"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5" name="Freeform 117">
              <a:extLst>
                <a:ext uri="{FF2B5EF4-FFF2-40B4-BE49-F238E27FC236}">
                  <a16:creationId xmlns:a16="http://schemas.microsoft.com/office/drawing/2014/main" id="{AE2B1DD0-A729-40CC-BB2B-AC4EC4B543BF}"/>
                </a:ext>
              </a:extLst>
            </p:cNvPr>
            <p:cNvSpPr>
              <a:spLocks/>
            </p:cNvSpPr>
            <p:nvPr/>
          </p:nvSpPr>
          <p:spPr bwMode="auto">
            <a:xfrm>
              <a:off x="7805738" y="3313113"/>
              <a:ext cx="14288" cy="15875"/>
            </a:xfrm>
            <a:custGeom>
              <a:avLst/>
              <a:gdLst>
                <a:gd name="T0" fmla="*/ 9 w 9"/>
                <a:gd name="T1" fmla="*/ 0 h 10"/>
                <a:gd name="T2" fmla="*/ 0 w 9"/>
                <a:gd name="T3" fmla="*/ 0 h 10"/>
                <a:gd name="T4" fmla="*/ 0 w 9"/>
                <a:gd name="T5" fmla="*/ 10 h 10"/>
                <a:gd name="T6" fmla="*/ 9 w 9"/>
                <a:gd name="T7" fmla="*/ 10 h 10"/>
                <a:gd name="T8" fmla="*/ 9 w 9"/>
                <a:gd name="T9" fmla="*/ 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lnTo>
                    <a:pt x="0" y="0"/>
                  </a:lnTo>
                  <a:lnTo>
                    <a:pt x="0" y="10"/>
                  </a:lnTo>
                  <a:lnTo>
                    <a:pt x="9" y="1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6" name="Freeform 118">
              <a:extLst>
                <a:ext uri="{FF2B5EF4-FFF2-40B4-BE49-F238E27FC236}">
                  <a16:creationId xmlns:a16="http://schemas.microsoft.com/office/drawing/2014/main" id="{D26E2B4B-D65B-4E7F-AB7F-66B74D844B64}"/>
                </a:ext>
              </a:extLst>
            </p:cNvPr>
            <p:cNvSpPr>
              <a:spLocks/>
            </p:cNvSpPr>
            <p:nvPr/>
          </p:nvSpPr>
          <p:spPr bwMode="auto">
            <a:xfrm>
              <a:off x="7835900" y="3313113"/>
              <a:ext cx="15875" cy="15875"/>
            </a:xfrm>
            <a:custGeom>
              <a:avLst/>
              <a:gdLst>
                <a:gd name="T0" fmla="*/ 10 w 10"/>
                <a:gd name="T1" fmla="*/ 0 h 10"/>
                <a:gd name="T2" fmla="*/ 0 w 10"/>
                <a:gd name="T3" fmla="*/ 0 h 10"/>
                <a:gd name="T4" fmla="*/ 0 w 10"/>
                <a:gd name="T5" fmla="*/ 10 h 10"/>
                <a:gd name="T6" fmla="*/ 10 w 10"/>
                <a:gd name="T7" fmla="*/ 10 h 10"/>
                <a:gd name="T8" fmla="*/ 10 w 10"/>
                <a:gd name="T9" fmla="*/ 0 h 10"/>
                <a:gd name="T10" fmla="*/ 10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10" y="0"/>
                  </a:moveTo>
                  <a:lnTo>
                    <a:pt x="0" y="0"/>
                  </a:lnTo>
                  <a:lnTo>
                    <a:pt x="0" y="10"/>
                  </a:lnTo>
                  <a:lnTo>
                    <a:pt x="10" y="1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7" name="Freeform 119">
              <a:extLst>
                <a:ext uri="{FF2B5EF4-FFF2-40B4-BE49-F238E27FC236}">
                  <a16:creationId xmlns:a16="http://schemas.microsoft.com/office/drawing/2014/main" id="{0FD0A579-59B2-4957-ABF7-8008CFA81735}"/>
                </a:ext>
              </a:extLst>
            </p:cNvPr>
            <p:cNvSpPr>
              <a:spLocks/>
            </p:cNvSpPr>
            <p:nvPr/>
          </p:nvSpPr>
          <p:spPr bwMode="auto">
            <a:xfrm>
              <a:off x="7666038"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8" name="Freeform 120">
              <a:extLst>
                <a:ext uri="{FF2B5EF4-FFF2-40B4-BE49-F238E27FC236}">
                  <a16:creationId xmlns:a16="http://schemas.microsoft.com/office/drawing/2014/main" id="{944FDCE5-01F2-4D1E-8F8F-B9C2C7DEA735}"/>
                </a:ext>
              </a:extLst>
            </p:cNvPr>
            <p:cNvSpPr>
              <a:spLocks/>
            </p:cNvSpPr>
            <p:nvPr/>
          </p:nvSpPr>
          <p:spPr bwMode="auto">
            <a:xfrm>
              <a:off x="7696200"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19" name="Freeform 121">
              <a:extLst>
                <a:ext uri="{FF2B5EF4-FFF2-40B4-BE49-F238E27FC236}">
                  <a16:creationId xmlns:a16="http://schemas.microsoft.com/office/drawing/2014/main" id="{579D86C2-EE04-4DC8-B6F1-3CDE4F43B577}"/>
                </a:ext>
              </a:extLst>
            </p:cNvPr>
            <p:cNvSpPr>
              <a:spLocks/>
            </p:cNvSpPr>
            <p:nvPr/>
          </p:nvSpPr>
          <p:spPr bwMode="auto">
            <a:xfrm>
              <a:off x="7727950"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0" name="Freeform 122">
              <a:extLst>
                <a:ext uri="{FF2B5EF4-FFF2-40B4-BE49-F238E27FC236}">
                  <a16:creationId xmlns:a16="http://schemas.microsoft.com/office/drawing/2014/main" id="{3232032F-6A15-4371-8938-6A4E46F81300}"/>
                </a:ext>
              </a:extLst>
            </p:cNvPr>
            <p:cNvSpPr>
              <a:spLocks/>
            </p:cNvSpPr>
            <p:nvPr/>
          </p:nvSpPr>
          <p:spPr bwMode="auto">
            <a:xfrm>
              <a:off x="7758113"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1" name="Freeform 123">
              <a:extLst>
                <a:ext uri="{FF2B5EF4-FFF2-40B4-BE49-F238E27FC236}">
                  <a16:creationId xmlns:a16="http://schemas.microsoft.com/office/drawing/2014/main" id="{CCE477D9-ED52-4FB7-8B71-B8A870170A5E}"/>
                </a:ext>
              </a:extLst>
            </p:cNvPr>
            <p:cNvSpPr>
              <a:spLocks/>
            </p:cNvSpPr>
            <p:nvPr/>
          </p:nvSpPr>
          <p:spPr bwMode="auto">
            <a:xfrm>
              <a:off x="7789863"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2" name="Freeform 124">
              <a:extLst>
                <a:ext uri="{FF2B5EF4-FFF2-40B4-BE49-F238E27FC236}">
                  <a16:creationId xmlns:a16="http://schemas.microsoft.com/office/drawing/2014/main" id="{18D0FEB6-63FB-42CD-A45C-5B0565BBA942}"/>
                </a:ext>
              </a:extLst>
            </p:cNvPr>
            <p:cNvSpPr>
              <a:spLocks/>
            </p:cNvSpPr>
            <p:nvPr/>
          </p:nvSpPr>
          <p:spPr bwMode="auto">
            <a:xfrm>
              <a:off x="7820025"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23" name="Freeform 125">
              <a:extLst>
                <a:ext uri="{FF2B5EF4-FFF2-40B4-BE49-F238E27FC236}">
                  <a16:creationId xmlns:a16="http://schemas.microsoft.com/office/drawing/2014/main" id="{51B7B77C-9327-47C7-B6A0-8B9E83F35088}"/>
                </a:ext>
              </a:extLst>
            </p:cNvPr>
            <p:cNvSpPr>
              <a:spLocks/>
            </p:cNvSpPr>
            <p:nvPr/>
          </p:nvSpPr>
          <p:spPr bwMode="auto">
            <a:xfrm>
              <a:off x="7851775" y="3298825"/>
              <a:ext cx="15875" cy="14288"/>
            </a:xfrm>
            <a:custGeom>
              <a:avLst/>
              <a:gdLst>
                <a:gd name="T0" fmla="*/ 10 w 10"/>
                <a:gd name="T1" fmla="*/ 0 h 9"/>
                <a:gd name="T2" fmla="*/ 0 w 10"/>
                <a:gd name="T3" fmla="*/ 0 h 9"/>
                <a:gd name="T4" fmla="*/ 0 w 10"/>
                <a:gd name="T5" fmla="*/ 9 h 9"/>
                <a:gd name="T6" fmla="*/ 10 w 10"/>
                <a:gd name="T7" fmla="*/ 9 h 9"/>
                <a:gd name="T8" fmla="*/ 10 w 10"/>
                <a:gd name="T9" fmla="*/ 0 h 9"/>
                <a:gd name="T10" fmla="*/ 10 w 10"/>
                <a:gd name="T11" fmla="*/ 0 h 9"/>
              </a:gdLst>
              <a:ahLst/>
              <a:cxnLst>
                <a:cxn ang="0">
                  <a:pos x="T0" y="T1"/>
                </a:cxn>
                <a:cxn ang="0">
                  <a:pos x="T2" y="T3"/>
                </a:cxn>
                <a:cxn ang="0">
                  <a:pos x="T4" y="T5"/>
                </a:cxn>
                <a:cxn ang="0">
                  <a:pos x="T6" y="T7"/>
                </a:cxn>
                <a:cxn ang="0">
                  <a:pos x="T8" y="T9"/>
                </a:cxn>
                <a:cxn ang="0">
                  <a:pos x="T10" y="T11"/>
                </a:cxn>
              </a:cxnLst>
              <a:rect l="0" t="0" r="r" b="b"/>
              <a:pathLst>
                <a:path w="10" h="9">
                  <a:moveTo>
                    <a:pt x="10" y="0"/>
                  </a:moveTo>
                  <a:lnTo>
                    <a:pt x="0" y="0"/>
                  </a:lnTo>
                  <a:lnTo>
                    <a:pt x="0" y="9"/>
                  </a:lnTo>
                  <a:lnTo>
                    <a:pt x="10" y="9"/>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731" name="Group 22">
            <a:extLst>
              <a:ext uri="{FF2B5EF4-FFF2-40B4-BE49-F238E27FC236}">
                <a16:creationId xmlns:a16="http://schemas.microsoft.com/office/drawing/2014/main" id="{A14D9C98-E8F5-4890-8637-EFD0D1E39AB2}"/>
              </a:ext>
            </a:extLst>
          </p:cNvPr>
          <p:cNvGrpSpPr>
            <a:grpSpLocks noChangeAspect="1"/>
          </p:cNvGrpSpPr>
          <p:nvPr/>
        </p:nvGrpSpPr>
        <p:grpSpPr>
          <a:xfrm>
            <a:off x="4955119" y="5417577"/>
            <a:ext cx="190939" cy="285619"/>
            <a:chOff x="2646363" y="1360488"/>
            <a:chExt cx="192088" cy="287338"/>
          </a:xfrm>
          <a:solidFill>
            <a:schemeClr val="bg1"/>
          </a:solidFill>
          <a:effectLst/>
        </p:grpSpPr>
        <p:sp>
          <p:nvSpPr>
            <p:cNvPr id="1732" name="Freeform 140">
              <a:extLst>
                <a:ext uri="{FF2B5EF4-FFF2-40B4-BE49-F238E27FC236}">
                  <a16:creationId xmlns:a16="http://schemas.microsoft.com/office/drawing/2014/main" id="{05071525-CC30-4B10-B818-72A0E86BBDC2}"/>
                </a:ext>
              </a:extLst>
            </p:cNvPr>
            <p:cNvSpPr>
              <a:spLocks noEditPoints="1"/>
            </p:cNvSpPr>
            <p:nvPr/>
          </p:nvSpPr>
          <p:spPr bwMode="auto">
            <a:xfrm>
              <a:off x="2646363" y="1360488"/>
              <a:ext cx="192088" cy="287338"/>
            </a:xfrm>
            <a:custGeom>
              <a:avLst/>
              <a:gdLst>
                <a:gd name="T0" fmla="*/ 569 w 602"/>
                <a:gd name="T1" fmla="*/ 765 h 903"/>
                <a:gd name="T2" fmla="*/ 555 w 602"/>
                <a:gd name="T3" fmla="*/ 802 h 903"/>
                <a:gd name="T4" fmla="*/ 532 w 602"/>
                <a:gd name="T5" fmla="*/ 833 h 903"/>
                <a:gd name="T6" fmla="*/ 500 w 602"/>
                <a:gd name="T7" fmla="*/ 857 h 903"/>
                <a:gd name="T8" fmla="*/ 464 w 602"/>
                <a:gd name="T9" fmla="*/ 871 h 903"/>
                <a:gd name="T10" fmla="*/ 166 w 602"/>
                <a:gd name="T11" fmla="*/ 873 h 903"/>
                <a:gd name="T12" fmla="*/ 125 w 602"/>
                <a:gd name="T13" fmla="*/ 868 h 903"/>
                <a:gd name="T14" fmla="*/ 90 w 602"/>
                <a:gd name="T15" fmla="*/ 850 h 903"/>
                <a:gd name="T16" fmla="*/ 61 w 602"/>
                <a:gd name="T17" fmla="*/ 824 h 903"/>
                <a:gd name="T18" fmla="*/ 40 w 602"/>
                <a:gd name="T19" fmla="*/ 790 h 903"/>
                <a:gd name="T20" fmla="*/ 31 w 602"/>
                <a:gd name="T21" fmla="*/ 752 h 903"/>
                <a:gd name="T22" fmla="*/ 31 w 602"/>
                <a:gd name="T23" fmla="*/ 152 h 903"/>
                <a:gd name="T24" fmla="*/ 40 w 602"/>
                <a:gd name="T25" fmla="*/ 114 h 903"/>
                <a:gd name="T26" fmla="*/ 61 w 602"/>
                <a:gd name="T27" fmla="*/ 79 h 903"/>
                <a:gd name="T28" fmla="*/ 90 w 602"/>
                <a:gd name="T29" fmla="*/ 54 h 903"/>
                <a:gd name="T30" fmla="*/ 125 w 602"/>
                <a:gd name="T31" fmla="*/ 36 h 903"/>
                <a:gd name="T32" fmla="*/ 166 w 602"/>
                <a:gd name="T33" fmla="*/ 30 h 903"/>
                <a:gd name="T34" fmla="*/ 464 w 602"/>
                <a:gd name="T35" fmla="*/ 33 h 903"/>
                <a:gd name="T36" fmla="*/ 500 w 602"/>
                <a:gd name="T37" fmla="*/ 47 h 903"/>
                <a:gd name="T38" fmla="*/ 532 w 602"/>
                <a:gd name="T39" fmla="*/ 70 h 903"/>
                <a:gd name="T40" fmla="*/ 555 w 602"/>
                <a:gd name="T41" fmla="*/ 102 h 903"/>
                <a:gd name="T42" fmla="*/ 569 w 602"/>
                <a:gd name="T43" fmla="*/ 138 h 903"/>
                <a:gd name="T44" fmla="*/ 572 w 602"/>
                <a:gd name="T45" fmla="*/ 738 h 903"/>
                <a:gd name="T46" fmla="*/ 149 w 602"/>
                <a:gd name="T47" fmla="*/ 1 h 903"/>
                <a:gd name="T48" fmla="*/ 101 w 602"/>
                <a:gd name="T49" fmla="*/ 13 h 903"/>
                <a:gd name="T50" fmla="*/ 60 w 602"/>
                <a:gd name="T51" fmla="*/ 39 h 903"/>
                <a:gd name="T52" fmla="*/ 29 w 602"/>
                <a:gd name="T53" fmla="*/ 73 h 903"/>
                <a:gd name="T54" fmla="*/ 7 w 602"/>
                <a:gd name="T55" fmla="*/ 117 h 903"/>
                <a:gd name="T56" fmla="*/ 0 w 602"/>
                <a:gd name="T57" fmla="*/ 166 h 903"/>
                <a:gd name="T58" fmla="*/ 3 w 602"/>
                <a:gd name="T59" fmla="*/ 771 h 903"/>
                <a:gd name="T60" fmla="*/ 20 w 602"/>
                <a:gd name="T61" fmla="*/ 817 h 903"/>
                <a:gd name="T62" fmla="*/ 48 w 602"/>
                <a:gd name="T63" fmla="*/ 855 h 903"/>
                <a:gd name="T64" fmla="*/ 86 w 602"/>
                <a:gd name="T65" fmla="*/ 884 h 903"/>
                <a:gd name="T66" fmla="*/ 132 w 602"/>
                <a:gd name="T67" fmla="*/ 900 h 903"/>
                <a:gd name="T68" fmla="*/ 436 w 602"/>
                <a:gd name="T69" fmla="*/ 903 h 903"/>
                <a:gd name="T70" fmla="*/ 485 w 602"/>
                <a:gd name="T71" fmla="*/ 896 h 903"/>
                <a:gd name="T72" fmla="*/ 528 w 602"/>
                <a:gd name="T73" fmla="*/ 875 h 903"/>
                <a:gd name="T74" fmla="*/ 564 w 602"/>
                <a:gd name="T75" fmla="*/ 843 h 903"/>
                <a:gd name="T76" fmla="*/ 588 w 602"/>
                <a:gd name="T77" fmla="*/ 802 h 903"/>
                <a:gd name="T78" fmla="*/ 601 w 602"/>
                <a:gd name="T79" fmla="*/ 755 h 903"/>
                <a:gd name="T80" fmla="*/ 601 w 602"/>
                <a:gd name="T81" fmla="*/ 149 h 903"/>
                <a:gd name="T82" fmla="*/ 588 w 602"/>
                <a:gd name="T83" fmla="*/ 102 h 903"/>
                <a:gd name="T84" fmla="*/ 564 w 602"/>
                <a:gd name="T85" fmla="*/ 61 h 903"/>
                <a:gd name="T86" fmla="*/ 528 w 602"/>
                <a:gd name="T87" fmla="*/ 29 h 903"/>
                <a:gd name="T88" fmla="*/ 485 w 602"/>
                <a:gd name="T89" fmla="*/ 7 h 903"/>
                <a:gd name="T90" fmla="*/ 436 w 602"/>
                <a:gd name="T91"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2" h="903">
                  <a:moveTo>
                    <a:pt x="572" y="738"/>
                  </a:moveTo>
                  <a:lnTo>
                    <a:pt x="571" y="752"/>
                  </a:lnTo>
                  <a:lnTo>
                    <a:pt x="569" y="765"/>
                  </a:lnTo>
                  <a:lnTo>
                    <a:pt x="566" y="779"/>
                  </a:lnTo>
                  <a:lnTo>
                    <a:pt x="562" y="790"/>
                  </a:lnTo>
                  <a:lnTo>
                    <a:pt x="555" y="802"/>
                  </a:lnTo>
                  <a:lnTo>
                    <a:pt x="549" y="814"/>
                  </a:lnTo>
                  <a:lnTo>
                    <a:pt x="541" y="824"/>
                  </a:lnTo>
                  <a:lnTo>
                    <a:pt x="532" y="833"/>
                  </a:lnTo>
                  <a:lnTo>
                    <a:pt x="522" y="842"/>
                  </a:lnTo>
                  <a:lnTo>
                    <a:pt x="512" y="850"/>
                  </a:lnTo>
                  <a:lnTo>
                    <a:pt x="500" y="857"/>
                  </a:lnTo>
                  <a:lnTo>
                    <a:pt x="489" y="862"/>
                  </a:lnTo>
                  <a:lnTo>
                    <a:pt x="477" y="868"/>
                  </a:lnTo>
                  <a:lnTo>
                    <a:pt x="464" y="871"/>
                  </a:lnTo>
                  <a:lnTo>
                    <a:pt x="450" y="873"/>
                  </a:lnTo>
                  <a:lnTo>
                    <a:pt x="436" y="873"/>
                  </a:lnTo>
                  <a:lnTo>
                    <a:pt x="166" y="873"/>
                  </a:lnTo>
                  <a:lnTo>
                    <a:pt x="152" y="873"/>
                  </a:lnTo>
                  <a:lnTo>
                    <a:pt x="138" y="871"/>
                  </a:lnTo>
                  <a:lnTo>
                    <a:pt x="125" y="868"/>
                  </a:lnTo>
                  <a:lnTo>
                    <a:pt x="112" y="862"/>
                  </a:lnTo>
                  <a:lnTo>
                    <a:pt x="100" y="857"/>
                  </a:lnTo>
                  <a:lnTo>
                    <a:pt x="90" y="850"/>
                  </a:lnTo>
                  <a:lnTo>
                    <a:pt x="79" y="842"/>
                  </a:lnTo>
                  <a:lnTo>
                    <a:pt x="69" y="833"/>
                  </a:lnTo>
                  <a:lnTo>
                    <a:pt x="61" y="824"/>
                  </a:lnTo>
                  <a:lnTo>
                    <a:pt x="53" y="814"/>
                  </a:lnTo>
                  <a:lnTo>
                    <a:pt x="47" y="802"/>
                  </a:lnTo>
                  <a:lnTo>
                    <a:pt x="40" y="790"/>
                  </a:lnTo>
                  <a:lnTo>
                    <a:pt x="36" y="779"/>
                  </a:lnTo>
                  <a:lnTo>
                    <a:pt x="33" y="765"/>
                  </a:lnTo>
                  <a:lnTo>
                    <a:pt x="31" y="752"/>
                  </a:lnTo>
                  <a:lnTo>
                    <a:pt x="30" y="738"/>
                  </a:lnTo>
                  <a:lnTo>
                    <a:pt x="30" y="166"/>
                  </a:lnTo>
                  <a:lnTo>
                    <a:pt x="31" y="152"/>
                  </a:lnTo>
                  <a:lnTo>
                    <a:pt x="33" y="138"/>
                  </a:lnTo>
                  <a:lnTo>
                    <a:pt x="36" y="125"/>
                  </a:lnTo>
                  <a:lnTo>
                    <a:pt x="40" y="114"/>
                  </a:lnTo>
                  <a:lnTo>
                    <a:pt x="47" y="102"/>
                  </a:lnTo>
                  <a:lnTo>
                    <a:pt x="53" y="90"/>
                  </a:lnTo>
                  <a:lnTo>
                    <a:pt x="61" y="79"/>
                  </a:lnTo>
                  <a:lnTo>
                    <a:pt x="69" y="70"/>
                  </a:lnTo>
                  <a:lnTo>
                    <a:pt x="79" y="61"/>
                  </a:lnTo>
                  <a:lnTo>
                    <a:pt x="90" y="54"/>
                  </a:lnTo>
                  <a:lnTo>
                    <a:pt x="100" y="47"/>
                  </a:lnTo>
                  <a:lnTo>
                    <a:pt x="112" y="41"/>
                  </a:lnTo>
                  <a:lnTo>
                    <a:pt x="125" y="36"/>
                  </a:lnTo>
                  <a:lnTo>
                    <a:pt x="138" y="33"/>
                  </a:lnTo>
                  <a:lnTo>
                    <a:pt x="152" y="31"/>
                  </a:lnTo>
                  <a:lnTo>
                    <a:pt x="166" y="30"/>
                  </a:lnTo>
                  <a:lnTo>
                    <a:pt x="436" y="30"/>
                  </a:lnTo>
                  <a:lnTo>
                    <a:pt x="450" y="31"/>
                  </a:lnTo>
                  <a:lnTo>
                    <a:pt x="464" y="33"/>
                  </a:lnTo>
                  <a:lnTo>
                    <a:pt x="477" y="36"/>
                  </a:lnTo>
                  <a:lnTo>
                    <a:pt x="489" y="41"/>
                  </a:lnTo>
                  <a:lnTo>
                    <a:pt x="500" y="47"/>
                  </a:lnTo>
                  <a:lnTo>
                    <a:pt x="512" y="54"/>
                  </a:lnTo>
                  <a:lnTo>
                    <a:pt x="522" y="61"/>
                  </a:lnTo>
                  <a:lnTo>
                    <a:pt x="532" y="70"/>
                  </a:lnTo>
                  <a:lnTo>
                    <a:pt x="541" y="79"/>
                  </a:lnTo>
                  <a:lnTo>
                    <a:pt x="549" y="90"/>
                  </a:lnTo>
                  <a:lnTo>
                    <a:pt x="555" y="102"/>
                  </a:lnTo>
                  <a:lnTo>
                    <a:pt x="562" y="114"/>
                  </a:lnTo>
                  <a:lnTo>
                    <a:pt x="566" y="125"/>
                  </a:lnTo>
                  <a:lnTo>
                    <a:pt x="569" y="138"/>
                  </a:lnTo>
                  <a:lnTo>
                    <a:pt x="571" y="152"/>
                  </a:lnTo>
                  <a:lnTo>
                    <a:pt x="572" y="166"/>
                  </a:lnTo>
                  <a:lnTo>
                    <a:pt x="572" y="738"/>
                  </a:lnTo>
                  <a:close/>
                  <a:moveTo>
                    <a:pt x="436" y="0"/>
                  </a:moveTo>
                  <a:lnTo>
                    <a:pt x="166" y="0"/>
                  </a:lnTo>
                  <a:lnTo>
                    <a:pt x="149" y="1"/>
                  </a:lnTo>
                  <a:lnTo>
                    <a:pt x="132" y="3"/>
                  </a:lnTo>
                  <a:lnTo>
                    <a:pt x="116" y="7"/>
                  </a:lnTo>
                  <a:lnTo>
                    <a:pt x="101" y="13"/>
                  </a:lnTo>
                  <a:lnTo>
                    <a:pt x="86" y="20"/>
                  </a:lnTo>
                  <a:lnTo>
                    <a:pt x="73" y="29"/>
                  </a:lnTo>
                  <a:lnTo>
                    <a:pt x="60" y="39"/>
                  </a:lnTo>
                  <a:lnTo>
                    <a:pt x="48" y="49"/>
                  </a:lnTo>
                  <a:lnTo>
                    <a:pt x="37" y="61"/>
                  </a:lnTo>
                  <a:lnTo>
                    <a:pt x="29" y="73"/>
                  </a:lnTo>
                  <a:lnTo>
                    <a:pt x="20" y="87"/>
                  </a:lnTo>
                  <a:lnTo>
                    <a:pt x="12" y="102"/>
                  </a:lnTo>
                  <a:lnTo>
                    <a:pt x="7" y="117"/>
                  </a:lnTo>
                  <a:lnTo>
                    <a:pt x="3" y="133"/>
                  </a:lnTo>
                  <a:lnTo>
                    <a:pt x="1" y="149"/>
                  </a:lnTo>
                  <a:lnTo>
                    <a:pt x="0" y="166"/>
                  </a:lnTo>
                  <a:lnTo>
                    <a:pt x="0" y="738"/>
                  </a:lnTo>
                  <a:lnTo>
                    <a:pt x="1" y="755"/>
                  </a:lnTo>
                  <a:lnTo>
                    <a:pt x="3" y="771"/>
                  </a:lnTo>
                  <a:lnTo>
                    <a:pt x="7" y="787"/>
                  </a:lnTo>
                  <a:lnTo>
                    <a:pt x="12" y="802"/>
                  </a:lnTo>
                  <a:lnTo>
                    <a:pt x="20" y="817"/>
                  </a:lnTo>
                  <a:lnTo>
                    <a:pt x="29" y="830"/>
                  </a:lnTo>
                  <a:lnTo>
                    <a:pt x="37" y="843"/>
                  </a:lnTo>
                  <a:lnTo>
                    <a:pt x="48" y="855"/>
                  </a:lnTo>
                  <a:lnTo>
                    <a:pt x="60" y="866"/>
                  </a:lnTo>
                  <a:lnTo>
                    <a:pt x="73" y="875"/>
                  </a:lnTo>
                  <a:lnTo>
                    <a:pt x="86" y="884"/>
                  </a:lnTo>
                  <a:lnTo>
                    <a:pt x="101" y="890"/>
                  </a:lnTo>
                  <a:lnTo>
                    <a:pt x="116" y="896"/>
                  </a:lnTo>
                  <a:lnTo>
                    <a:pt x="132" y="900"/>
                  </a:lnTo>
                  <a:lnTo>
                    <a:pt x="149" y="903"/>
                  </a:lnTo>
                  <a:lnTo>
                    <a:pt x="166" y="903"/>
                  </a:lnTo>
                  <a:lnTo>
                    <a:pt x="436" y="903"/>
                  </a:lnTo>
                  <a:lnTo>
                    <a:pt x="453" y="903"/>
                  </a:lnTo>
                  <a:lnTo>
                    <a:pt x="469" y="900"/>
                  </a:lnTo>
                  <a:lnTo>
                    <a:pt x="485" y="896"/>
                  </a:lnTo>
                  <a:lnTo>
                    <a:pt x="500" y="890"/>
                  </a:lnTo>
                  <a:lnTo>
                    <a:pt x="515" y="884"/>
                  </a:lnTo>
                  <a:lnTo>
                    <a:pt x="528" y="875"/>
                  </a:lnTo>
                  <a:lnTo>
                    <a:pt x="541" y="866"/>
                  </a:lnTo>
                  <a:lnTo>
                    <a:pt x="553" y="855"/>
                  </a:lnTo>
                  <a:lnTo>
                    <a:pt x="564" y="843"/>
                  </a:lnTo>
                  <a:lnTo>
                    <a:pt x="573" y="830"/>
                  </a:lnTo>
                  <a:lnTo>
                    <a:pt x="582" y="817"/>
                  </a:lnTo>
                  <a:lnTo>
                    <a:pt x="588" y="802"/>
                  </a:lnTo>
                  <a:lnTo>
                    <a:pt x="595" y="787"/>
                  </a:lnTo>
                  <a:lnTo>
                    <a:pt x="598" y="771"/>
                  </a:lnTo>
                  <a:lnTo>
                    <a:pt x="601" y="755"/>
                  </a:lnTo>
                  <a:lnTo>
                    <a:pt x="602" y="738"/>
                  </a:lnTo>
                  <a:lnTo>
                    <a:pt x="602" y="166"/>
                  </a:lnTo>
                  <a:lnTo>
                    <a:pt x="601" y="149"/>
                  </a:lnTo>
                  <a:lnTo>
                    <a:pt x="598" y="133"/>
                  </a:lnTo>
                  <a:lnTo>
                    <a:pt x="595" y="117"/>
                  </a:lnTo>
                  <a:lnTo>
                    <a:pt x="588" y="102"/>
                  </a:lnTo>
                  <a:lnTo>
                    <a:pt x="582" y="87"/>
                  </a:lnTo>
                  <a:lnTo>
                    <a:pt x="573" y="73"/>
                  </a:lnTo>
                  <a:lnTo>
                    <a:pt x="564" y="61"/>
                  </a:lnTo>
                  <a:lnTo>
                    <a:pt x="553" y="49"/>
                  </a:lnTo>
                  <a:lnTo>
                    <a:pt x="541" y="39"/>
                  </a:lnTo>
                  <a:lnTo>
                    <a:pt x="528" y="29"/>
                  </a:lnTo>
                  <a:lnTo>
                    <a:pt x="515" y="20"/>
                  </a:lnTo>
                  <a:lnTo>
                    <a:pt x="500" y="14"/>
                  </a:lnTo>
                  <a:lnTo>
                    <a:pt x="485" y="7"/>
                  </a:lnTo>
                  <a:lnTo>
                    <a:pt x="469" y="4"/>
                  </a:lnTo>
                  <a:lnTo>
                    <a:pt x="453" y="1"/>
                  </a:lnTo>
                  <a:lnTo>
                    <a:pt x="436" y="0"/>
                  </a:lnTo>
                  <a:lnTo>
                    <a:pt x="4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3" name="Freeform 141">
              <a:extLst>
                <a:ext uri="{FF2B5EF4-FFF2-40B4-BE49-F238E27FC236}">
                  <a16:creationId xmlns:a16="http://schemas.microsoft.com/office/drawing/2014/main" id="{F84D3854-38B8-4A67-A015-4E045CB4D6B3}"/>
                </a:ext>
              </a:extLst>
            </p:cNvPr>
            <p:cNvSpPr>
              <a:spLocks noEditPoints="1"/>
            </p:cNvSpPr>
            <p:nvPr/>
          </p:nvSpPr>
          <p:spPr bwMode="auto">
            <a:xfrm>
              <a:off x="2674938" y="1408113"/>
              <a:ext cx="133350" cy="115888"/>
            </a:xfrm>
            <a:custGeom>
              <a:avLst/>
              <a:gdLst>
                <a:gd name="T0" fmla="*/ 30 w 421"/>
                <a:gd name="T1" fmla="*/ 30 h 361"/>
                <a:gd name="T2" fmla="*/ 391 w 421"/>
                <a:gd name="T3" fmla="*/ 30 h 361"/>
                <a:gd name="T4" fmla="*/ 391 w 421"/>
                <a:gd name="T5" fmla="*/ 331 h 361"/>
                <a:gd name="T6" fmla="*/ 30 w 421"/>
                <a:gd name="T7" fmla="*/ 331 h 361"/>
                <a:gd name="T8" fmla="*/ 30 w 421"/>
                <a:gd name="T9" fmla="*/ 30 h 361"/>
                <a:gd name="T10" fmla="*/ 0 w 421"/>
                <a:gd name="T11" fmla="*/ 361 h 361"/>
                <a:gd name="T12" fmla="*/ 421 w 421"/>
                <a:gd name="T13" fmla="*/ 361 h 361"/>
                <a:gd name="T14" fmla="*/ 421 w 421"/>
                <a:gd name="T15" fmla="*/ 0 h 361"/>
                <a:gd name="T16" fmla="*/ 0 w 421"/>
                <a:gd name="T17" fmla="*/ 0 h 361"/>
                <a:gd name="T18" fmla="*/ 0 w 421"/>
                <a:gd name="T1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1" h="361">
                  <a:moveTo>
                    <a:pt x="30" y="30"/>
                  </a:moveTo>
                  <a:lnTo>
                    <a:pt x="391" y="30"/>
                  </a:lnTo>
                  <a:lnTo>
                    <a:pt x="391" y="331"/>
                  </a:lnTo>
                  <a:lnTo>
                    <a:pt x="30" y="331"/>
                  </a:lnTo>
                  <a:lnTo>
                    <a:pt x="30" y="30"/>
                  </a:lnTo>
                  <a:close/>
                  <a:moveTo>
                    <a:pt x="0" y="361"/>
                  </a:moveTo>
                  <a:lnTo>
                    <a:pt x="421" y="361"/>
                  </a:lnTo>
                  <a:lnTo>
                    <a:pt x="421" y="0"/>
                  </a:lnTo>
                  <a:lnTo>
                    <a:pt x="0" y="0"/>
                  </a:lnTo>
                  <a:lnTo>
                    <a:pt x="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4" name="Freeform 142">
              <a:extLst>
                <a:ext uri="{FF2B5EF4-FFF2-40B4-BE49-F238E27FC236}">
                  <a16:creationId xmlns:a16="http://schemas.microsoft.com/office/drawing/2014/main" id="{CCE07CD7-44A8-4422-A48E-C6ACF110626E}"/>
                </a:ext>
              </a:extLst>
            </p:cNvPr>
            <p:cNvSpPr>
              <a:spLocks/>
            </p:cNvSpPr>
            <p:nvPr/>
          </p:nvSpPr>
          <p:spPr bwMode="auto">
            <a:xfrm>
              <a:off x="2708275" y="1389063"/>
              <a:ext cx="66675" cy="9525"/>
            </a:xfrm>
            <a:custGeom>
              <a:avLst/>
              <a:gdLst>
                <a:gd name="T0" fmla="*/ 15 w 210"/>
                <a:gd name="T1" fmla="*/ 30 h 30"/>
                <a:gd name="T2" fmla="*/ 195 w 210"/>
                <a:gd name="T3" fmla="*/ 30 h 30"/>
                <a:gd name="T4" fmla="*/ 198 w 210"/>
                <a:gd name="T5" fmla="*/ 29 h 30"/>
                <a:gd name="T6" fmla="*/ 201 w 210"/>
                <a:gd name="T7" fmla="*/ 28 h 30"/>
                <a:gd name="T8" fmla="*/ 204 w 210"/>
                <a:gd name="T9" fmla="*/ 27 h 30"/>
                <a:gd name="T10" fmla="*/ 206 w 210"/>
                <a:gd name="T11" fmla="*/ 25 h 30"/>
                <a:gd name="T12" fmla="*/ 208 w 210"/>
                <a:gd name="T13" fmla="*/ 23 h 30"/>
                <a:gd name="T14" fmla="*/ 209 w 210"/>
                <a:gd name="T15" fmla="*/ 20 h 30"/>
                <a:gd name="T16" fmla="*/ 210 w 210"/>
                <a:gd name="T17" fmla="*/ 17 h 30"/>
                <a:gd name="T18" fmla="*/ 210 w 210"/>
                <a:gd name="T19" fmla="*/ 15 h 30"/>
                <a:gd name="T20" fmla="*/ 210 w 210"/>
                <a:gd name="T21" fmla="*/ 12 h 30"/>
                <a:gd name="T22" fmla="*/ 209 w 210"/>
                <a:gd name="T23" fmla="*/ 9 h 30"/>
                <a:gd name="T24" fmla="*/ 208 w 210"/>
                <a:gd name="T25" fmla="*/ 7 h 30"/>
                <a:gd name="T26" fmla="*/ 206 w 210"/>
                <a:gd name="T27" fmla="*/ 4 h 30"/>
                <a:gd name="T28" fmla="*/ 204 w 210"/>
                <a:gd name="T29" fmla="*/ 2 h 30"/>
                <a:gd name="T30" fmla="*/ 201 w 210"/>
                <a:gd name="T31" fmla="*/ 1 h 30"/>
                <a:gd name="T32" fmla="*/ 198 w 210"/>
                <a:gd name="T33" fmla="*/ 0 h 30"/>
                <a:gd name="T34" fmla="*/ 195 w 210"/>
                <a:gd name="T35" fmla="*/ 0 h 30"/>
                <a:gd name="T36" fmla="*/ 15 w 210"/>
                <a:gd name="T37" fmla="*/ 0 h 30"/>
                <a:gd name="T38" fmla="*/ 12 w 210"/>
                <a:gd name="T39" fmla="*/ 0 h 30"/>
                <a:gd name="T40" fmla="*/ 8 w 210"/>
                <a:gd name="T41" fmla="*/ 1 h 30"/>
                <a:gd name="T42" fmla="*/ 6 w 210"/>
                <a:gd name="T43" fmla="*/ 2 h 30"/>
                <a:gd name="T44" fmla="*/ 4 w 210"/>
                <a:gd name="T45" fmla="*/ 4 h 30"/>
                <a:gd name="T46" fmla="*/ 2 w 210"/>
                <a:gd name="T47" fmla="*/ 7 h 30"/>
                <a:gd name="T48" fmla="*/ 1 w 210"/>
                <a:gd name="T49" fmla="*/ 9 h 30"/>
                <a:gd name="T50" fmla="*/ 0 w 210"/>
                <a:gd name="T51" fmla="*/ 12 h 30"/>
                <a:gd name="T52" fmla="*/ 0 w 210"/>
                <a:gd name="T53" fmla="*/ 15 h 30"/>
                <a:gd name="T54" fmla="*/ 0 w 210"/>
                <a:gd name="T55" fmla="*/ 17 h 30"/>
                <a:gd name="T56" fmla="*/ 1 w 210"/>
                <a:gd name="T57" fmla="*/ 20 h 30"/>
                <a:gd name="T58" fmla="*/ 2 w 210"/>
                <a:gd name="T59" fmla="*/ 23 h 30"/>
                <a:gd name="T60" fmla="*/ 4 w 210"/>
                <a:gd name="T61" fmla="*/ 25 h 30"/>
                <a:gd name="T62" fmla="*/ 6 w 210"/>
                <a:gd name="T63" fmla="*/ 27 h 30"/>
                <a:gd name="T64" fmla="*/ 8 w 210"/>
                <a:gd name="T65" fmla="*/ 29 h 30"/>
                <a:gd name="T66" fmla="*/ 12 w 210"/>
                <a:gd name="T67" fmla="*/ 29 h 30"/>
                <a:gd name="T68" fmla="*/ 15 w 210"/>
                <a:gd name="T69" fmla="*/ 30 h 30"/>
                <a:gd name="T70" fmla="*/ 15 w 21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 h="30">
                  <a:moveTo>
                    <a:pt x="15" y="30"/>
                  </a:moveTo>
                  <a:lnTo>
                    <a:pt x="195" y="30"/>
                  </a:lnTo>
                  <a:lnTo>
                    <a:pt x="198" y="29"/>
                  </a:lnTo>
                  <a:lnTo>
                    <a:pt x="201" y="28"/>
                  </a:lnTo>
                  <a:lnTo>
                    <a:pt x="204" y="27"/>
                  </a:lnTo>
                  <a:lnTo>
                    <a:pt x="206" y="25"/>
                  </a:lnTo>
                  <a:lnTo>
                    <a:pt x="208" y="23"/>
                  </a:lnTo>
                  <a:lnTo>
                    <a:pt x="209" y="20"/>
                  </a:lnTo>
                  <a:lnTo>
                    <a:pt x="210" y="17"/>
                  </a:lnTo>
                  <a:lnTo>
                    <a:pt x="210" y="15"/>
                  </a:lnTo>
                  <a:lnTo>
                    <a:pt x="210" y="12"/>
                  </a:lnTo>
                  <a:lnTo>
                    <a:pt x="209" y="9"/>
                  </a:lnTo>
                  <a:lnTo>
                    <a:pt x="208" y="7"/>
                  </a:lnTo>
                  <a:lnTo>
                    <a:pt x="206" y="4"/>
                  </a:lnTo>
                  <a:lnTo>
                    <a:pt x="204" y="2"/>
                  </a:lnTo>
                  <a:lnTo>
                    <a:pt x="201" y="1"/>
                  </a:lnTo>
                  <a:lnTo>
                    <a:pt x="198" y="0"/>
                  </a:lnTo>
                  <a:lnTo>
                    <a:pt x="195" y="0"/>
                  </a:lnTo>
                  <a:lnTo>
                    <a:pt x="15" y="0"/>
                  </a:lnTo>
                  <a:lnTo>
                    <a:pt x="12" y="0"/>
                  </a:lnTo>
                  <a:lnTo>
                    <a:pt x="8" y="1"/>
                  </a:lnTo>
                  <a:lnTo>
                    <a:pt x="6" y="2"/>
                  </a:lnTo>
                  <a:lnTo>
                    <a:pt x="4" y="4"/>
                  </a:lnTo>
                  <a:lnTo>
                    <a:pt x="2" y="7"/>
                  </a:lnTo>
                  <a:lnTo>
                    <a:pt x="1" y="9"/>
                  </a:lnTo>
                  <a:lnTo>
                    <a:pt x="0" y="12"/>
                  </a:lnTo>
                  <a:lnTo>
                    <a:pt x="0" y="15"/>
                  </a:lnTo>
                  <a:lnTo>
                    <a:pt x="0" y="17"/>
                  </a:lnTo>
                  <a:lnTo>
                    <a:pt x="1" y="20"/>
                  </a:lnTo>
                  <a:lnTo>
                    <a:pt x="2" y="23"/>
                  </a:lnTo>
                  <a:lnTo>
                    <a:pt x="4" y="25"/>
                  </a:lnTo>
                  <a:lnTo>
                    <a:pt x="6" y="27"/>
                  </a:lnTo>
                  <a:lnTo>
                    <a:pt x="8"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5" name="Rectangle 143">
              <a:extLst>
                <a:ext uri="{FF2B5EF4-FFF2-40B4-BE49-F238E27FC236}">
                  <a16:creationId xmlns:a16="http://schemas.microsoft.com/office/drawing/2014/main" id="{E20964A8-216D-404B-984A-06AB808FF9DE}"/>
                </a:ext>
              </a:extLst>
            </p:cNvPr>
            <p:cNvSpPr>
              <a:spLocks noChangeArrowheads="1"/>
            </p:cNvSpPr>
            <p:nvPr/>
          </p:nvSpPr>
          <p:spPr bwMode="auto">
            <a:xfrm>
              <a:off x="2703513"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6" name="Rectangle 144">
              <a:extLst>
                <a:ext uri="{FF2B5EF4-FFF2-40B4-BE49-F238E27FC236}">
                  <a16:creationId xmlns:a16="http://schemas.microsoft.com/office/drawing/2014/main" id="{7547DF3B-1F8A-4811-9B7F-7C65931CFAD1}"/>
                </a:ext>
              </a:extLst>
            </p:cNvPr>
            <p:cNvSpPr>
              <a:spLocks noChangeArrowheads="1"/>
            </p:cNvSpPr>
            <p:nvPr/>
          </p:nvSpPr>
          <p:spPr bwMode="auto">
            <a:xfrm>
              <a:off x="2736850"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7" name="Rectangle 145">
              <a:extLst>
                <a:ext uri="{FF2B5EF4-FFF2-40B4-BE49-F238E27FC236}">
                  <a16:creationId xmlns:a16="http://schemas.microsoft.com/office/drawing/2014/main" id="{7FF4E94C-EEF6-4D27-B21C-0EEAFDC4B2BE}"/>
                </a:ext>
              </a:extLst>
            </p:cNvPr>
            <p:cNvSpPr>
              <a:spLocks noChangeArrowheads="1"/>
            </p:cNvSpPr>
            <p:nvPr/>
          </p:nvSpPr>
          <p:spPr bwMode="auto">
            <a:xfrm>
              <a:off x="2770188" y="154305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8" name="Rectangle 146">
              <a:extLst>
                <a:ext uri="{FF2B5EF4-FFF2-40B4-BE49-F238E27FC236}">
                  <a16:creationId xmlns:a16="http://schemas.microsoft.com/office/drawing/2014/main" id="{7BC92669-0384-4E83-B8D8-5681CF56A998}"/>
                </a:ext>
              </a:extLst>
            </p:cNvPr>
            <p:cNvSpPr>
              <a:spLocks noChangeArrowheads="1"/>
            </p:cNvSpPr>
            <p:nvPr/>
          </p:nvSpPr>
          <p:spPr bwMode="auto">
            <a:xfrm>
              <a:off x="2703513"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39" name="Rectangle 147">
              <a:extLst>
                <a:ext uri="{FF2B5EF4-FFF2-40B4-BE49-F238E27FC236}">
                  <a16:creationId xmlns:a16="http://schemas.microsoft.com/office/drawing/2014/main" id="{76CC5EE9-E307-45BE-914C-B39AF883C968}"/>
                </a:ext>
              </a:extLst>
            </p:cNvPr>
            <p:cNvSpPr>
              <a:spLocks noChangeArrowheads="1"/>
            </p:cNvSpPr>
            <p:nvPr/>
          </p:nvSpPr>
          <p:spPr bwMode="auto">
            <a:xfrm>
              <a:off x="2736850"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0" name="Rectangle 148">
              <a:extLst>
                <a:ext uri="{FF2B5EF4-FFF2-40B4-BE49-F238E27FC236}">
                  <a16:creationId xmlns:a16="http://schemas.microsoft.com/office/drawing/2014/main" id="{48AB1B78-7C34-4DF2-AC3D-8C69F7BA3267}"/>
                </a:ext>
              </a:extLst>
            </p:cNvPr>
            <p:cNvSpPr>
              <a:spLocks noChangeArrowheads="1"/>
            </p:cNvSpPr>
            <p:nvPr/>
          </p:nvSpPr>
          <p:spPr bwMode="auto">
            <a:xfrm>
              <a:off x="2770188" y="1571625"/>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1" name="Rectangle 149">
              <a:extLst>
                <a:ext uri="{FF2B5EF4-FFF2-40B4-BE49-F238E27FC236}">
                  <a16:creationId xmlns:a16="http://schemas.microsoft.com/office/drawing/2014/main" id="{1BA5F9A4-212C-4D35-94F0-60419D76FF74}"/>
                </a:ext>
              </a:extLst>
            </p:cNvPr>
            <p:cNvSpPr>
              <a:spLocks noChangeArrowheads="1"/>
            </p:cNvSpPr>
            <p:nvPr/>
          </p:nvSpPr>
          <p:spPr bwMode="auto">
            <a:xfrm>
              <a:off x="2703513"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2" name="Rectangle 150">
              <a:extLst>
                <a:ext uri="{FF2B5EF4-FFF2-40B4-BE49-F238E27FC236}">
                  <a16:creationId xmlns:a16="http://schemas.microsoft.com/office/drawing/2014/main" id="{1AF72192-8F00-44A1-8218-0026E9272BF1}"/>
                </a:ext>
              </a:extLst>
            </p:cNvPr>
            <p:cNvSpPr>
              <a:spLocks noChangeArrowheads="1"/>
            </p:cNvSpPr>
            <p:nvPr/>
          </p:nvSpPr>
          <p:spPr bwMode="auto">
            <a:xfrm>
              <a:off x="2736850"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3" name="Rectangle 151">
              <a:extLst>
                <a:ext uri="{FF2B5EF4-FFF2-40B4-BE49-F238E27FC236}">
                  <a16:creationId xmlns:a16="http://schemas.microsoft.com/office/drawing/2014/main" id="{4B58CBF3-9BE7-4C81-87CD-C6654988E339}"/>
                </a:ext>
              </a:extLst>
            </p:cNvPr>
            <p:cNvSpPr>
              <a:spLocks noChangeArrowheads="1"/>
            </p:cNvSpPr>
            <p:nvPr/>
          </p:nvSpPr>
          <p:spPr bwMode="auto">
            <a:xfrm>
              <a:off x="2770188" y="1600200"/>
              <a:ext cx="9525" cy="9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44" name="Group 35">
            <a:extLst>
              <a:ext uri="{FF2B5EF4-FFF2-40B4-BE49-F238E27FC236}">
                <a16:creationId xmlns:a16="http://schemas.microsoft.com/office/drawing/2014/main" id="{06EF46DD-F7E6-46D2-B805-7F4F4284AE56}"/>
              </a:ext>
            </a:extLst>
          </p:cNvPr>
          <p:cNvGrpSpPr>
            <a:grpSpLocks noChangeAspect="1"/>
          </p:cNvGrpSpPr>
          <p:nvPr/>
        </p:nvGrpSpPr>
        <p:grpSpPr>
          <a:xfrm>
            <a:off x="4101261" y="5417577"/>
            <a:ext cx="172003" cy="285619"/>
            <a:chOff x="3228975" y="1360488"/>
            <a:chExt cx="173038" cy="287338"/>
          </a:xfrm>
          <a:solidFill>
            <a:schemeClr val="bg1"/>
          </a:solidFill>
          <a:effectLst/>
        </p:grpSpPr>
        <p:sp>
          <p:nvSpPr>
            <p:cNvPr id="1745" name="Freeform 137">
              <a:extLst>
                <a:ext uri="{FF2B5EF4-FFF2-40B4-BE49-F238E27FC236}">
                  <a16:creationId xmlns:a16="http://schemas.microsoft.com/office/drawing/2014/main" id="{9CB418C2-9003-43B8-9346-58A86E9910CA}"/>
                </a:ext>
              </a:extLst>
            </p:cNvPr>
            <p:cNvSpPr>
              <a:spLocks noEditPoints="1"/>
            </p:cNvSpPr>
            <p:nvPr/>
          </p:nvSpPr>
          <p:spPr bwMode="auto">
            <a:xfrm>
              <a:off x="3228975" y="1360488"/>
              <a:ext cx="173038" cy="287338"/>
            </a:xfrm>
            <a:custGeom>
              <a:avLst/>
              <a:gdLst>
                <a:gd name="T0" fmla="*/ 84 w 542"/>
                <a:gd name="T1" fmla="*/ 873 h 903"/>
                <a:gd name="T2" fmla="*/ 67 w 542"/>
                <a:gd name="T3" fmla="*/ 869 h 903"/>
                <a:gd name="T4" fmla="*/ 52 w 542"/>
                <a:gd name="T5" fmla="*/ 859 h 903"/>
                <a:gd name="T6" fmla="*/ 40 w 542"/>
                <a:gd name="T7" fmla="*/ 847 h 903"/>
                <a:gd name="T8" fmla="*/ 33 w 542"/>
                <a:gd name="T9" fmla="*/ 831 h 903"/>
                <a:gd name="T10" fmla="*/ 31 w 542"/>
                <a:gd name="T11" fmla="*/ 813 h 903"/>
                <a:gd name="T12" fmla="*/ 512 w 542"/>
                <a:gd name="T13" fmla="*/ 813 h 903"/>
                <a:gd name="T14" fmla="*/ 509 w 542"/>
                <a:gd name="T15" fmla="*/ 831 h 903"/>
                <a:gd name="T16" fmla="*/ 502 w 542"/>
                <a:gd name="T17" fmla="*/ 847 h 903"/>
                <a:gd name="T18" fmla="*/ 490 w 542"/>
                <a:gd name="T19" fmla="*/ 859 h 903"/>
                <a:gd name="T20" fmla="*/ 475 w 542"/>
                <a:gd name="T21" fmla="*/ 869 h 903"/>
                <a:gd name="T22" fmla="*/ 458 w 542"/>
                <a:gd name="T23" fmla="*/ 873 h 903"/>
                <a:gd name="T24" fmla="*/ 452 w 542"/>
                <a:gd name="T25" fmla="*/ 30 h 903"/>
                <a:gd name="T26" fmla="*/ 469 w 542"/>
                <a:gd name="T27" fmla="*/ 33 h 903"/>
                <a:gd name="T28" fmla="*/ 486 w 542"/>
                <a:gd name="T29" fmla="*/ 41 h 903"/>
                <a:gd name="T30" fmla="*/ 498 w 542"/>
                <a:gd name="T31" fmla="*/ 52 h 903"/>
                <a:gd name="T32" fmla="*/ 507 w 542"/>
                <a:gd name="T33" fmla="*/ 68 h 903"/>
                <a:gd name="T34" fmla="*/ 511 w 542"/>
                <a:gd name="T35" fmla="*/ 85 h 903"/>
                <a:gd name="T36" fmla="*/ 31 w 542"/>
                <a:gd name="T37" fmla="*/ 151 h 903"/>
                <a:gd name="T38" fmla="*/ 32 w 542"/>
                <a:gd name="T39" fmla="*/ 78 h 903"/>
                <a:gd name="T40" fmla="*/ 37 w 542"/>
                <a:gd name="T41" fmla="*/ 62 h 903"/>
                <a:gd name="T42" fmla="*/ 48 w 542"/>
                <a:gd name="T43" fmla="*/ 48 h 903"/>
                <a:gd name="T44" fmla="*/ 62 w 542"/>
                <a:gd name="T45" fmla="*/ 37 h 903"/>
                <a:gd name="T46" fmla="*/ 78 w 542"/>
                <a:gd name="T47" fmla="*/ 32 h 903"/>
                <a:gd name="T48" fmla="*/ 31 w 542"/>
                <a:gd name="T49" fmla="*/ 181 h 903"/>
                <a:gd name="T50" fmla="*/ 31 w 542"/>
                <a:gd name="T51" fmla="*/ 723 h 903"/>
                <a:gd name="T52" fmla="*/ 91 w 542"/>
                <a:gd name="T53" fmla="*/ 0 h 903"/>
                <a:gd name="T54" fmla="*/ 64 w 542"/>
                <a:gd name="T55" fmla="*/ 4 h 903"/>
                <a:gd name="T56" fmla="*/ 40 w 542"/>
                <a:gd name="T57" fmla="*/ 16 h 903"/>
                <a:gd name="T58" fmla="*/ 21 w 542"/>
                <a:gd name="T59" fmla="*/ 33 h 903"/>
                <a:gd name="T60" fmla="*/ 7 w 542"/>
                <a:gd name="T61" fmla="*/ 56 h 903"/>
                <a:gd name="T62" fmla="*/ 1 w 542"/>
                <a:gd name="T63" fmla="*/ 81 h 903"/>
                <a:gd name="T64" fmla="*/ 1 w 542"/>
                <a:gd name="T65" fmla="*/ 823 h 903"/>
                <a:gd name="T66" fmla="*/ 7 w 542"/>
                <a:gd name="T67" fmla="*/ 848 h 903"/>
                <a:gd name="T68" fmla="*/ 21 w 542"/>
                <a:gd name="T69" fmla="*/ 871 h 903"/>
                <a:gd name="T70" fmla="*/ 40 w 542"/>
                <a:gd name="T71" fmla="*/ 888 h 903"/>
                <a:gd name="T72" fmla="*/ 64 w 542"/>
                <a:gd name="T73" fmla="*/ 900 h 903"/>
                <a:gd name="T74" fmla="*/ 91 w 542"/>
                <a:gd name="T75" fmla="*/ 903 h 903"/>
                <a:gd name="T76" fmla="*/ 469 w 542"/>
                <a:gd name="T77" fmla="*/ 902 h 903"/>
                <a:gd name="T78" fmla="*/ 495 w 542"/>
                <a:gd name="T79" fmla="*/ 892 h 903"/>
                <a:gd name="T80" fmla="*/ 516 w 542"/>
                <a:gd name="T81" fmla="*/ 877 h 903"/>
                <a:gd name="T82" fmla="*/ 532 w 542"/>
                <a:gd name="T83" fmla="*/ 856 h 903"/>
                <a:gd name="T84" fmla="*/ 540 w 542"/>
                <a:gd name="T85" fmla="*/ 831 h 903"/>
                <a:gd name="T86" fmla="*/ 542 w 542"/>
                <a:gd name="T87" fmla="*/ 91 h 903"/>
                <a:gd name="T88" fmla="*/ 538 w 542"/>
                <a:gd name="T89" fmla="*/ 63 h 903"/>
                <a:gd name="T90" fmla="*/ 526 w 542"/>
                <a:gd name="T91" fmla="*/ 40 h 903"/>
                <a:gd name="T92" fmla="*/ 509 w 542"/>
                <a:gd name="T93" fmla="*/ 21 h 903"/>
                <a:gd name="T94" fmla="*/ 487 w 542"/>
                <a:gd name="T95" fmla="*/ 7 h 903"/>
                <a:gd name="T96" fmla="*/ 461 w 542"/>
                <a:gd name="T97"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903">
                  <a:moveTo>
                    <a:pt x="452" y="873"/>
                  </a:moveTo>
                  <a:lnTo>
                    <a:pt x="91" y="873"/>
                  </a:lnTo>
                  <a:lnTo>
                    <a:pt x="84" y="873"/>
                  </a:lnTo>
                  <a:lnTo>
                    <a:pt x="78" y="872"/>
                  </a:lnTo>
                  <a:lnTo>
                    <a:pt x="73" y="871"/>
                  </a:lnTo>
                  <a:lnTo>
                    <a:pt x="67" y="869"/>
                  </a:lnTo>
                  <a:lnTo>
                    <a:pt x="62" y="867"/>
                  </a:lnTo>
                  <a:lnTo>
                    <a:pt x="57" y="863"/>
                  </a:lnTo>
                  <a:lnTo>
                    <a:pt x="52" y="859"/>
                  </a:lnTo>
                  <a:lnTo>
                    <a:pt x="48" y="856"/>
                  </a:lnTo>
                  <a:lnTo>
                    <a:pt x="44" y="852"/>
                  </a:lnTo>
                  <a:lnTo>
                    <a:pt x="40" y="847"/>
                  </a:lnTo>
                  <a:lnTo>
                    <a:pt x="37" y="842"/>
                  </a:lnTo>
                  <a:lnTo>
                    <a:pt x="35" y="837"/>
                  </a:lnTo>
                  <a:lnTo>
                    <a:pt x="33" y="831"/>
                  </a:lnTo>
                  <a:lnTo>
                    <a:pt x="32" y="826"/>
                  </a:lnTo>
                  <a:lnTo>
                    <a:pt x="31" y="819"/>
                  </a:lnTo>
                  <a:lnTo>
                    <a:pt x="31" y="813"/>
                  </a:lnTo>
                  <a:lnTo>
                    <a:pt x="31" y="753"/>
                  </a:lnTo>
                  <a:lnTo>
                    <a:pt x="512" y="753"/>
                  </a:lnTo>
                  <a:lnTo>
                    <a:pt x="512" y="813"/>
                  </a:lnTo>
                  <a:lnTo>
                    <a:pt x="511" y="819"/>
                  </a:lnTo>
                  <a:lnTo>
                    <a:pt x="511" y="825"/>
                  </a:lnTo>
                  <a:lnTo>
                    <a:pt x="509" y="831"/>
                  </a:lnTo>
                  <a:lnTo>
                    <a:pt x="507" y="837"/>
                  </a:lnTo>
                  <a:lnTo>
                    <a:pt x="505" y="842"/>
                  </a:lnTo>
                  <a:lnTo>
                    <a:pt x="502" y="847"/>
                  </a:lnTo>
                  <a:lnTo>
                    <a:pt x="498" y="852"/>
                  </a:lnTo>
                  <a:lnTo>
                    <a:pt x="494" y="856"/>
                  </a:lnTo>
                  <a:lnTo>
                    <a:pt x="490" y="859"/>
                  </a:lnTo>
                  <a:lnTo>
                    <a:pt x="486" y="863"/>
                  </a:lnTo>
                  <a:lnTo>
                    <a:pt x="480" y="867"/>
                  </a:lnTo>
                  <a:lnTo>
                    <a:pt x="475" y="869"/>
                  </a:lnTo>
                  <a:lnTo>
                    <a:pt x="469" y="871"/>
                  </a:lnTo>
                  <a:lnTo>
                    <a:pt x="464" y="872"/>
                  </a:lnTo>
                  <a:lnTo>
                    <a:pt x="458" y="873"/>
                  </a:lnTo>
                  <a:lnTo>
                    <a:pt x="452" y="873"/>
                  </a:lnTo>
                  <a:close/>
                  <a:moveTo>
                    <a:pt x="91" y="30"/>
                  </a:moveTo>
                  <a:lnTo>
                    <a:pt x="452" y="30"/>
                  </a:lnTo>
                  <a:lnTo>
                    <a:pt x="458" y="31"/>
                  </a:lnTo>
                  <a:lnTo>
                    <a:pt x="464" y="32"/>
                  </a:lnTo>
                  <a:lnTo>
                    <a:pt x="469" y="33"/>
                  </a:lnTo>
                  <a:lnTo>
                    <a:pt x="475" y="35"/>
                  </a:lnTo>
                  <a:lnTo>
                    <a:pt x="480" y="37"/>
                  </a:lnTo>
                  <a:lnTo>
                    <a:pt x="486" y="41"/>
                  </a:lnTo>
                  <a:lnTo>
                    <a:pt x="490" y="44"/>
                  </a:lnTo>
                  <a:lnTo>
                    <a:pt x="494" y="48"/>
                  </a:lnTo>
                  <a:lnTo>
                    <a:pt x="498" y="52"/>
                  </a:lnTo>
                  <a:lnTo>
                    <a:pt x="502" y="57"/>
                  </a:lnTo>
                  <a:lnTo>
                    <a:pt x="505" y="62"/>
                  </a:lnTo>
                  <a:lnTo>
                    <a:pt x="507" y="68"/>
                  </a:lnTo>
                  <a:lnTo>
                    <a:pt x="509" y="73"/>
                  </a:lnTo>
                  <a:lnTo>
                    <a:pt x="511" y="78"/>
                  </a:lnTo>
                  <a:lnTo>
                    <a:pt x="511" y="85"/>
                  </a:lnTo>
                  <a:lnTo>
                    <a:pt x="512" y="91"/>
                  </a:lnTo>
                  <a:lnTo>
                    <a:pt x="512" y="151"/>
                  </a:lnTo>
                  <a:lnTo>
                    <a:pt x="31" y="151"/>
                  </a:lnTo>
                  <a:lnTo>
                    <a:pt x="31" y="91"/>
                  </a:lnTo>
                  <a:lnTo>
                    <a:pt x="31" y="85"/>
                  </a:lnTo>
                  <a:lnTo>
                    <a:pt x="32" y="78"/>
                  </a:lnTo>
                  <a:lnTo>
                    <a:pt x="33" y="73"/>
                  </a:lnTo>
                  <a:lnTo>
                    <a:pt x="35" y="68"/>
                  </a:lnTo>
                  <a:lnTo>
                    <a:pt x="37" y="62"/>
                  </a:lnTo>
                  <a:lnTo>
                    <a:pt x="40" y="57"/>
                  </a:lnTo>
                  <a:lnTo>
                    <a:pt x="44" y="52"/>
                  </a:lnTo>
                  <a:lnTo>
                    <a:pt x="48" y="48"/>
                  </a:lnTo>
                  <a:lnTo>
                    <a:pt x="52" y="44"/>
                  </a:lnTo>
                  <a:lnTo>
                    <a:pt x="57" y="41"/>
                  </a:lnTo>
                  <a:lnTo>
                    <a:pt x="62" y="37"/>
                  </a:lnTo>
                  <a:lnTo>
                    <a:pt x="67" y="35"/>
                  </a:lnTo>
                  <a:lnTo>
                    <a:pt x="73" y="33"/>
                  </a:lnTo>
                  <a:lnTo>
                    <a:pt x="78" y="32"/>
                  </a:lnTo>
                  <a:lnTo>
                    <a:pt x="84" y="31"/>
                  </a:lnTo>
                  <a:lnTo>
                    <a:pt x="91" y="30"/>
                  </a:lnTo>
                  <a:close/>
                  <a:moveTo>
                    <a:pt x="31" y="181"/>
                  </a:moveTo>
                  <a:lnTo>
                    <a:pt x="512" y="181"/>
                  </a:lnTo>
                  <a:lnTo>
                    <a:pt x="512" y="723"/>
                  </a:lnTo>
                  <a:lnTo>
                    <a:pt x="31" y="723"/>
                  </a:lnTo>
                  <a:lnTo>
                    <a:pt x="31" y="181"/>
                  </a:lnTo>
                  <a:close/>
                  <a:moveTo>
                    <a:pt x="452" y="0"/>
                  </a:moveTo>
                  <a:lnTo>
                    <a:pt x="91" y="0"/>
                  </a:lnTo>
                  <a:lnTo>
                    <a:pt x="81" y="1"/>
                  </a:lnTo>
                  <a:lnTo>
                    <a:pt x="73" y="2"/>
                  </a:lnTo>
                  <a:lnTo>
                    <a:pt x="64" y="4"/>
                  </a:lnTo>
                  <a:lnTo>
                    <a:pt x="55" y="7"/>
                  </a:lnTo>
                  <a:lnTo>
                    <a:pt x="48" y="11"/>
                  </a:lnTo>
                  <a:lnTo>
                    <a:pt x="40" y="16"/>
                  </a:lnTo>
                  <a:lnTo>
                    <a:pt x="33" y="21"/>
                  </a:lnTo>
                  <a:lnTo>
                    <a:pt x="27" y="27"/>
                  </a:lnTo>
                  <a:lnTo>
                    <a:pt x="21" y="33"/>
                  </a:lnTo>
                  <a:lnTo>
                    <a:pt x="16" y="40"/>
                  </a:lnTo>
                  <a:lnTo>
                    <a:pt x="12" y="47"/>
                  </a:lnTo>
                  <a:lnTo>
                    <a:pt x="7" y="56"/>
                  </a:lnTo>
                  <a:lnTo>
                    <a:pt x="4" y="64"/>
                  </a:lnTo>
                  <a:lnTo>
                    <a:pt x="2" y="73"/>
                  </a:lnTo>
                  <a:lnTo>
                    <a:pt x="1" y="81"/>
                  </a:lnTo>
                  <a:lnTo>
                    <a:pt x="0" y="91"/>
                  </a:lnTo>
                  <a:lnTo>
                    <a:pt x="0" y="813"/>
                  </a:lnTo>
                  <a:lnTo>
                    <a:pt x="1" y="823"/>
                  </a:lnTo>
                  <a:lnTo>
                    <a:pt x="2" y="831"/>
                  </a:lnTo>
                  <a:lnTo>
                    <a:pt x="4" y="840"/>
                  </a:lnTo>
                  <a:lnTo>
                    <a:pt x="7" y="848"/>
                  </a:lnTo>
                  <a:lnTo>
                    <a:pt x="12" y="856"/>
                  </a:lnTo>
                  <a:lnTo>
                    <a:pt x="16" y="863"/>
                  </a:lnTo>
                  <a:lnTo>
                    <a:pt x="21" y="871"/>
                  </a:lnTo>
                  <a:lnTo>
                    <a:pt x="27" y="877"/>
                  </a:lnTo>
                  <a:lnTo>
                    <a:pt x="33" y="883"/>
                  </a:lnTo>
                  <a:lnTo>
                    <a:pt x="40" y="888"/>
                  </a:lnTo>
                  <a:lnTo>
                    <a:pt x="48" y="892"/>
                  </a:lnTo>
                  <a:lnTo>
                    <a:pt x="55" y="897"/>
                  </a:lnTo>
                  <a:lnTo>
                    <a:pt x="64" y="900"/>
                  </a:lnTo>
                  <a:lnTo>
                    <a:pt x="73" y="902"/>
                  </a:lnTo>
                  <a:lnTo>
                    <a:pt x="81" y="903"/>
                  </a:lnTo>
                  <a:lnTo>
                    <a:pt x="91" y="903"/>
                  </a:lnTo>
                  <a:lnTo>
                    <a:pt x="452" y="903"/>
                  </a:lnTo>
                  <a:lnTo>
                    <a:pt x="461" y="903"/>
                  </a:lnTo>
                  <a:lnTo>
                    <a:pt x="469" y="902"/>
                  </a:lnTo>
                  <a:lnTo>
                    <a:pt x="479" y="900"/>
                  </a:lnTo>
                  <a:lnTo>
                    <a:pt x="487" y="897"/>
                  </a:lnTo>
                  <a:lnTo>
                    <a:pt x="495" y="892"/>
                  </a:lnTo>
                  <a:lnTo>
                    <a:pt x="503" y="888"/>
                  </a:lnTo>
                  <a:lnTo>
                    <a:pt x="509" y="883"/>
                  </a:lnTo>
                  <a:lnTo>
                    <a:pt x="516" y="877"/>
                  </a:lnTo>
                  <a:lnTo>
                    <a:pt x="521" y="871"/>
                  </a:lnTo>
                  <a:lnTo>
                    <a:pt x="526" y="863"/>
                  </a:lnTo>
                  <a:lnTo>
                    <a:pt x="532" y="856"/>
                  </a:lnTo>
                  <a:lnTo>
                    <a:pt x="535" y="848"/>
                  </a:lnTo>
                  <a:lnTo>
                    <a:pt x="538" y="840"/>
                  </a:lnTo>
                  <a:lnTo>
                    <a:pt x="540" y="831"/>
                  </a:lnTo>
                  <a:lnTo>
                    <a:pt x="541" y="823"/>
                  </a:lnTo>
                  <a:lnTo>
                    <a:pt x="542" y="813"/>
                  </a:lnTo>
                  <a:lnTo>
                    <a:pt x="542" y="91"/>
                  </a:lnTo>
                  <a:lnTo>
                    <a:pt x="541" y="81"/>
                  </a:lnTo>
                  <a:lnTo>
                    <a:pt x="540" y="73"/>
                  </a:lnTo>
                  <a:lnTo>
                    <a:pt x="538" y="63"/>
                  </a:lnTo>
                  <a:lnTo>
                    <a:pt x="535" y="56"/>
                  </a:lnTo>
                  <a:lnTo>
                    <a:pt x="532" y="47"/>
                  </a:lnTo>
                  <a:lnTo>
                    <a:pt x="526" y="40"/>
                  </a:lnTo>
                  <a:lnTo>
                    <a:pt x="521" y="33"/>
                  </a:lnTo>
                  <a:lnTo>
                    <a:pt x="516" y="27"/>
                  </a:lnTo>
                  <a:lnTo>
                    <a:pt x="509" y="21"/>
                  </a:lnTo>
                  <a:lnTo>
                    <a:pt x="503" y="16"/>
                  </a:lnTo>
                  <a:lnTo>
                    <a:pt x="495" y="12"/>
                  </a:lnTo>
                  <a:lnTo>
                    <a:pt x="487" y="7"/>
                  </a:lnTo>
                  <a:lnTo>
                    <a:pt x="479" y="4"/>
                  </a:lnTo>
                  <a:lnTo>
                    <a:pt x="469" y="2"/>
                  </a:lnTo>
                  <a:lnTo>
                    <a:pt x="461" y="1"/>
                  </a:lnTo>
                  <a:lnTo>
                    <a:pt x="452" y="0"/>
                  </a:lnTo>
                  <a:lnTo>
                    <a:pt x="4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6" name="Freeform 138">
              <a:extLst>
                <a:ext uri="{FF2B5EF4-FFF2-40B4-BE49-F238E27FC236}">
                  <a16:creationId xmlns:a16="http://schemas.microsoft.com/office/drawing/2014/main" id="{44EAE077-B423-4EDE-8E4A-BEFCAF4D82A1}"/>
                </a:ext>
              </a:extLst>
            </p:cNvPr>
            <p:cNvSpPr>
              <a:spLocks/>
            </p:cNvSpPr>
            <p:nvPr/>
          </p:nvSpPr>
          <p:spPr bwMode="auto">
            <a:xfrm>
              <a:off x="3278188" y="1389063"/>
              <a:ext cx="76200" cy="9525"/>
            </a:xfrm>
            <a:custGeom>
              <a:avLst/>
              <a:gdLst>
                <a:gd name="T0" fmla="*/ 15 w 240"/>
                <a:gd name="T1" fmla="*/ 30 h 30"/>
                <a:gd name="T2" fmla="*/ 225 w 240"/>
                <a:gd name="T3" fmla="*/ 30 h 30"/>
                <a:gd name="T4" fmla="*/ 228 w 240"/>
                <a:gd name="T5" fmla="*/ 29 h 30"/>
                <a:gd name="T6" fmla="*/ 232 w 240"/>
                <a:gd name="T7" fmla="*/ 28 h 30"/>
                <a:gd name="T8" fmla="*/ 234 w 240"/>
                <a:gd name="T9" fmla="*/ 27 h 30"/>
                <a:gd name="T10" fmla="*/ 236 w 240"/>
                <a:gd name="T11" fmla="*/ 25 h 30"/>
                <a:gd name="T12" fmla="*/ 238 w 240"/>
                <a:gd name="T13" fmla="*/ 23 h 30"/>
                <a:gd name="T14" fmla="*/ 239 w 240"/>
                <a:gd name="T15" fmla="*/ 20 h 30"/>
                <a:gd name="T16" fmla="*/ 240 w 240"/>
                <a:gd name="T17" fmla="*/ 17 h 30"/>
                <a:gd name="T18" fmla="*/ 240 w 240"/>
                <a:gd name="T19" fmla="*/ 15 h 30"/>
                <a:gd name="T20" fmla="*/ 240 w 240"/>
                <a:gd name="T21" fmla="*/ 12 h 30"/>
                <a:gd name="T22" fmla="*/ 239 w 240"/>
                <a:gd name="T23" fmla="*/ 9 h 30"/>
                <a:gd name="T24" fmla="*/ 238 w 240"/>
                <a:gd name="T25" fmla="*/ 7 h 30"/>
                <a:gd name="T26" fmla="*/ 236 w 240"/>
                <a:gd name="T27" fmla="*/ 4 h 30"/>
                <a:gd name="T28" fmla="*/ 234 w 240"/>
                <a:gd name="T29" fmla="*/ 2 h 30"/>
                <a:gd name="T30" fmla="*/ 232 w 240"/>
                <a:gd name="T31" fmla="*/ 1 h 30"/>
                <a:gd name="T32" fmla="*/ 228 w 240"/>
                <a:gd name="T33" fmla="*/ 0 h 30"/>
                <a:gd name="T34" fmla="*/ 225 w 240"/>
                <a:gd name="T35" fmla="*/ 0 h 30"/>
                <a:gd name="T36" fmla="*/ 15 w 240"/>
                <a:gd name="T37" fmla="*/ 0 h 30"/>
                <a:gd name="T38" fmla="*/ 12 w 240"/>
                <a:gd name="T39" fmla="*/ 0 h 30"/>
                <a:gd name="T40" fmla="*/ 9 w 240"/>
                <a:gd name="T41" fmla="*/ 1 h 30"/>
                <a:gd name="T42" fmla="*/ 6 w 240"/>
                <a:gd name="T43" fmla="*/ 2 h 30"/>
                <a:gd name="T44" fmla="*/ 4 w 240"/>
                <a:gd name="T45" fmla="*/ 4 h 30"/>
                <a:gd name="T46" fmla="*/ 2 w 240"/>
                <a:gd name="T47" fmla="*/ 7 h 30"/>
                <a:gd name="T48" fmla="*/ 1 w 240"/>
                <a:gd name="T49" fmla="*/ 9 h 30"/>
                <a:gd name="T50" fmla="*/ 0 w 240"/>
                <a:gd name="T51" fmla="*/ 12 h 30"/>
                <a:gd name="T52" fmla="*/ 0 w 240"/>
                <a:gd name="T53" fmla="*/ 15 h 30"/>
                <a:gd name="T54" fmla="*/ 0 w 240"/>
                <a:gd name="T55" fmla="*/ 17 h 30"/>
                <a:gd name="T56" fmla="*/ 1 w 240"/>
                <a:gd name="T57" fmla="*/ 20 h 30"/>
                <a:gd name="T58" fmla="*/ 2 w 240"/>
                <a:gd name="T59" fmla="*/ 23 h 30"/>
                <a:gd name="T60" fmla="*/ 4 w 240"/>
                <a:gd name="T61" fmla="*/ 25 h 30"/>
                <a:gd name="T62" fmla="*/ 6 w 240"/>
                <a:gd name="T63" fmla="*/ 27 h 30"/>
                <a:gd name="T64" fmla="*/ 9 w 240"/>
                <a:gd name="T65" fmla="*/ 29 h 30"/>
                <a:gd name="T66" fmla="*/ 12 w 240"/>
                <a:gd name="T67" fmla="*/ 29 h 30"/>
                <a:gd name="T68" fmla="*/ 15 w 240"/>
                <a:gd name="T69" fmla="*/ 30 h 30"/>
                <a:gd name="T70" fmla="*/ 15 w 24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0" h="30">
                  <a:moveTo>
                    <a:pt x="15" y="30"/>
                  </a:moveTo>
                  <a:lnTo>
                    <a:pt x="225" y="30"/>
                  </a:lnTo>
                  <a:lnTo>
                    <a:pt x="228" y="29"/>
                  </a:lnTo>
                  <a:lnTo>
                    <a:pt x="232" y="28"/>
                  </a:lnTo>
                  <a:lnTo>
                    <a:pt x="234" y="27"/>
                  </a:lnTo>
                  <a:lnTo>
                    <a:pt x="236" y="25"/>
                  </a:lnTo>
                  <a:lnTo>
                    <a:pt x="238" y="23"/>
                  </a:lnTo>
                  <a:lnTo>
                    <a:pt x="239" y="20"/>
                  </a:lnTo>
                  <a:lnTo>
                    <a:pt x="240" y="17"/>
                  </a:lnTo>
                  <a:lnTo>
                    <a:pt x="240" y="15"/>
                  </a:lnTo>
                  <a:lnTo>
                    <a:pt x="240" y="12"/>
                  </a:lnTo>
                  <a:lnTo>
                    <a:pt x="239" y="9"/>
                  </a:lnTo>
                  <a:lnTo>
                    <a:pt x="238" y="7"/>
                  </a:lnTo>
                  <a:lnTo>
                    <a:pt x="236" y="4"/>
                  </a:lnTo>
                  <a:lnTo>
                    <a:pt x="234" y="2"/>
                  </a:lnTo>
                  <a:lnTo>
                    <a:pt x="232" y="1"/>
                  </a:lnTo>
                  <a:lnTo>
                    <a:pt x="228" y="0"/>
                  </a:lnTo>
                  <a:lnTo>
                    <a:pt x="225" y="0"/>
                  </a:lnTo>
                  <a:lnTo>
                    <a:pt x="15" y="0"/>
                  </a:lnTo>
                  <a:lnTo>
                    <a:pt x="12" y="0"/>
                  </a:lnTo>
                  <a:lnTo>
                    <a:pt x="9" y="1"/>
                  </a:lnTo>
                  <a:lnTo>
                    <a:pt x="6" y="2"/>
                  </a:lnTo>
                  <a:lnTo>
                    <a:pt x="4" y="4"/>
                  </a:lnTo>
                  <a:lnTo>
                    <a:pt x="2" y="7"/>
                  </a:lnTo>
                  <a:lnTo>
                    <a:pt x="1" y="9"/>
                  </a:lnTo>
                  <a:lnTo>
                    <a:pt x="0" y="12"/>
                  </a:lnTo>
                  <a:lnTo>
                    <a:pt x="0" y="15"/>
                  </a:lnTo>
                  <a:lnTo>
                    <a:pt x="0" y="17"/>
                  </a:lnTo>
                  <a:lnTo>
                    <a:pt x="1" y="20"/>
                  </a:lnTo>
                  <a:lnTo>
                    <a:pt x="2" y="23"/>
                  </a:lnTo>
                  <a:lnTo>
                    <a:pt x="4" y="25"/>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47" name="Freeform 139">
              <a:extLst>
                <a:ext uri="{FF2B5EF4-FFF2-40B4-BE49-F238E27FC236}">
                  <a16:creationId xmlns:a16="http://schemas.microsoft.com/office/drawing/2014/main" id="{BD2E759F-034E-486C-8015-C88354F59067}"/>
                </a:ext>
              </a:extLst>
            </p:cNvPr>
            <p:cNvSpPr>
              <a:spLocks noEditPoints="1"/>
            </p:cNvSpPr>
            <p:nvPr/>
          </p:nvSpPr>
          <p:spPr bwMode="auto">
            <a:xfrm>
              <a:off x="3302000" y="1604963"/>
              <a:ext cx="28575" cy="28575"/>
            </a:xfrm>
            <a:custGeom>
              <a:avLst/>
              <a:gdLst>
                <a:gd name="T0" fmla="*/ 42 w 90"/>
                <a:gd name="T1" fmla="*/ 60 h 90"/>
                <a:gd name="T2" fmla="*/ 36 w 90"/>
                <a:gd name="T3" fmla="*/ 58 h 90"/>
                <a:gd name="T4" fmla="*/ 32 w 90"/>
                <a:gd name="T5" fmla="*/ 54 h 90"/>
                <a:gd name="T6" fmla="*/ 30 w 90"/>
                <a:gd name="T7" fmla="*/ 48 h 90"/>
                <a:gd name="T8" fmla="*/ 30 w 90"/>
                <a:gd name="T9" fmla="*/ 42 h 90"/>
                <a:gd name="T10" fmla="*/ 32 w 90"/>
                <a:gd name="T11" fmla="*/ 36 h 90"/>
                <a:gd name="T12" fmla="*/ 36 w 90"/>
                <a:gd name="T13" fmla="*/ 33 h 90"/>
                <a:gd name="T14" fmla="*/ 42 w 90"/>
                <a:gd name="T15" fmla="*/ 30 h 90"/>
                <a:gd name="T16" fmla="*/ 48 w 90"/>
                <a:gd name="T17" fmla="*/ 30 h 90"/>
                <a:gd name="T18" fmla="*/ 54 w 90"/>
                <a:gd name="T19" fmla="*/ 33 h 90"/>
                <a:gd name="T20" fmla="*/ 58 w 90"/>
                <a:gd name="T21" fmla="*/ 36 h 90"/>
                <a:gd name="T22" fmla="*/ 60 w 90"/>
                <a:gd name="T23" fmla="*/ 42 h 90"/>
                <a:gd name="T24" fmla="*/ 60 w 90"/>
                <a:gd name="T25" fmla="*/ 48 h 90"/>
                <a:gd name="T26" fmla="*/ 58 w 90"/>
                <a:gd name="T27" fmla="*/ 54 h 90"/>
                <a:gd name="T28" fmla="*/ 54 w 90"/>
                <a:gd name="T29" fmla="*/ 58 h 90"/>
                <a:gd name="T30" fmla="*/ 48 w 90"/>
                <a:gd name="T31" fmla="*/ 60 h 90"/>
                <a:gd name="T32" fmla="*/ 45 w 90"/>
                <a:gd name="T33" fmla="*/ 0 h 90"/>
                <a:gd name="T34" fmla="*/ 28 w 90"/>
                <a:gd name="T35" fmla="*/ 3 h 90"/>
                <a:gd name="T36" fmla="*/ 13 w 90"/>
                <a:gd name="T37" fmla="*/ 13 h 90"/>
                <a:gd name="T38" fmla="*/ 3 w 90"/>
                <a:gd name="T39" fmla="*/ 28 h 90"/>
                <a:gd name="T40" fmla="*/ 0 w 90"/>
                <a:gd name="T41" fmla="*/ 45 h 90"/>
                <a:gd name="T42" fmla="*/ 3 w 90"/>
                <a:gd name="T43" fmla="*/ 63 h 90"/>
                <a:gd name="T44" fmla="*/ 13 w 90"/>
                <a:gd name="T45" fmla="*/ 77 h 90"/>
                <a:gd name="T46" fmla="*/ 28 w 90"/>
                <a:gd name="T47" fmla="*/ 87 h 90"/>
                <a:gd name="T48" fmla="*/ 45 w 90"/>
                <a:gd name="T49" fmla="*/ 90 h 90"/>
                <a:gd name="T50" fmla="*/ 62 w 90"/>
                <a:gd name="T51" fmla="*/ 87 h 90"/>
                <a:gd name="T52" fmla="*/ 77 w 90"/>
                <a:gd name="T53" fmla="*/ 77 h 90"/>
                <a:gd name="T54" fmla="*/ 87 w 90"/>
                <a:gd name="T55" fmla="*/ 63 h 90"/>
                <a:gd name="T56" fmla="*/ 90 w 90"/>
                <a:gd name="T57" fmla="*/ 45 h 90"/>
                <a:gd name="T58" fmla="*/ 87 w 90"/>
                <a:gd name="T59" fmla="*/ 28 h 90"/>
                <a:gd name="T60" fmla="*/ 77 w 90"/>
                <a:gd name="T61" fmla="*/ 13 h 90"/>
                <a:gd name="T62" fmla="*/ 62 w 90"/>
                <a:gd name="T63" fmla="*/ 3 h 90"/>
                <a:gd name="T64" fmla="*/ 45 w 90"/>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45" y="60"/>
                  </a:moveTo>
                  <a:lnTo>
                    <a:pt x="42" y="60"/>
                  </a:lnTo>
                  <a:lnTo>
                    <a:pt x="40" y="59"/>
                  </a:lnTo>
                  <a:lnTo>
                    <a:pt x="36" y="58"/>
                  </a:lnTo>
                  <a:lnTo>
                    <a:pt x="34" y="56"/>
                  </a:lnTo>
                  <a:lnTo>
                    <a:pt x="32" y="54"/>
                  </a:lnTo>
                  <a:lnTo>
                    <a:pt x="31" y="51"/>
                  </a:lnTo>
                  <a:lnTo>
                    <a:pt x="30" y="48"/>
                  </a:lnTo>
                  <a:lnTo>
                    <a:pt x="30" y="45"/>
                  </a:lnTo>
                  <a:lnTo>
                    <a:pt x="30" y="42"/>
                  </a:lnTo>
                  <a:lnTo>
                    <a:pt x="31" y="40"/>
                  </a:lnTo>
                  <a:lnTo>
                    <a:pt x="32" y="36"/>
                  </a:lnTo>
                  <a:lnTo>
                    <a:pt x="34" y="34"/>
                  </a:lnTo>
                  <a:lnTo>
                    <a:pt x="36" y="33"/>
                  </a:lnTo>
                  <a:lnTo>
                    <a:pt x="40" y="31"/>
                  </a:lnTo>
                  <a:lnTo>
                    <a:pt x="42" y="30"/>
                  </a:lnTo>
                  <a:lnTo>
                    <a:pt x="45" y="30"/>
                  </a:lnTo>
                  <a:lnTo>
                    <a:pt x="48" y="30"/>
                  </a:lnTo>
                  <a:lnTo>
                    <a:pt x="51" y="31"/>
                  </a:lnTo>
                  <a:lnTo>
                    <a:pt x="54" y="33"/>
                  </a:lnTo>
                  <a:lnTo>
                    <a:pt x="56" y="34"/>
                  </a:lnTo>
                  <a:lnTo>
                    <a:pt x="58" y="36"/>
                  </a:lnTo>
                  <a:lnTo>
                    <a:pt x="59" y="40"/>
                  </a:lnTo>
                  <a:lnTo>
                    <a:pt x="60" y="42"/>
                  </a:lnTo>
                  <a:lnTo>
                    <a:pt x="60" y="45"/>
                  </a:lnTo>
                  <a:lnTo>
                    <a:pt x="60" y="48"/>
                  </a:lnTo>
                  <a:lnTo>
                    <a:pt x="59" y="51"/>
                  </a:lnTo>
                  <a:lnTo>
                    <a:pt x="58" y="54"/>
                  </a:lnTo>
                  <a:lnTo>
                    <a:pt x="56" y="56"/>
                  </a:lnTo>
                  <a:lnTo>
                    <a:pt x="54" y="58"/>
                  </a:lnTo>
                  <a:lnTo>
                    <a:pt x="51" y="59"/>
                  </a:lnTo>
                  <a:lnTo>
                    <a:pt x="48" y="60"/>
                  </a:lnTo>
                  <a:lnTo>
                    <a:pt x="45" y="60"/>
                  </a:lnTo>
                  <a:close/>
                  <a:moveTo>
                    <a:pt x="45" y="0"/>
                  </a:moveTo>
                  <a:lnTo>
                    <a:pt x="36" y="1"/>
                  </a:lnTo>
                  <a:lnTo>
                    <a:pt x="28" y="3"/>
                  </a:lnTo>
                  <a:lnTo>
                    <a:pt x="20" y="7"/>
                  </a:lnTo>
                  <a:lnTo>
                    <a:pt x="13" y="13"/>
                  </a:lnTo>
                  <a:lnTo>
                    <a:pt x="8" y="20"/>
                  </a:lnTo>
                  <a:lnTo>
                    <a:pt x="3" y="28"/>
                  </a:lnTo>
                  <a:lnTo>
                    <a:pt x="1" y="36"/>
                  </a:lnTo>
                  <a:lnTo>
                    <a:pt x="0" y="45"/>
                  </a:lnTo>
                  <a:lnTo>
                    <a:pt x="1" y="55"/>
                  </a:lnTo>
                  <a:lnTo>
                    <a:pt x="3" y="63"/>
                  </a:lnTo>
                  <a:lnTo>
                    <a:pt x="8" y="71"/>
                  </a:lnTo>
                  <a:lnTo>
                    <a:pt x="13" y="77"/>
                  </a:lnTo>
                  <a:lnTo>
                    <a:pt x="20" y="82"/>
                  </a:lnTo>
                  <a:lnTo>
                    <a:pt x="28" y="87"/>
                  </a:lnTo>
                  <a:lnTo>
                    <a:pt x="36" y="89"/>
                  </a:lnTo>
                  <a:lnTo>
                    <a:pt x="45" y="90"/>
                  </a:lnTo>
                  <a:lnTo>
                    <a:pt x="55" y="89"/>
                  </a:lnTo>
                  <a:lnTo>
                    <a:pt x="62" y="87"/>
                  </a:lnTo>
                  <a:lnTo>
                    <a:pt x="71" y="82"/>
                  </a:lnTo>
                  <a:lnTo>
                    <a:pt x="77" y="77"/>
                  </a:lnTo>
                  <a:lnTo>
                    <a:pt x="83" y="71"/>
                  </a:lnTo>
                  <a:lnTo>
                    <a:pt x="87" y="63"/>
                  </a:lnTo>
                  <a:lnTo>
                    <a:pt x="89" y="55"/>
                  </a:lnTo>
                  <a:lnTo>
                    <a:pt x="90" y="45"/>
                  </a:lnTo>
                  <a:lnTo>
                    <a:pt x="89" y="36"/>
                  </a:lnTo>
                  <a:lnTo>
                    <a:pt x="87" y="28"/>
                  </a:lnTo>
                  <a:lnTo>
                    <a:pt x="83" y="20"/>
                  </a:lnTo>
                  <a:lnTo>
                    <a:pt x="77" y="13"/>
                  </a:lnTo>
                  <a:lnTo>
                    <a:pt x="71" y="7"/>
                  </a:lnTo>
                  <a:lnTo>
                    <a:pt x="62" y="3"/>
                  </a:lnTo>
                  <a:lnTo>
                    <a:pt x="55" y="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48" name="Group 61">
            <a:extLst>
              <a:ext uri="{FF2B5EF4-FFF2-40B4-BE49-F238E27FC236}">
                <a16:creationId xmlns:a16="http://schemas.microsoft.com/office/drawing/2014/main" id="{6AD7C927-A99E-43CA-8F4F-22961C765DB7}"/>
              </a:ext>
            </a:extLst>
          </p:cNvPr>
          <p:cNvGrpSpPr>
            <a:grpSpLocks noChangeAspect="1"/>
          </p:cNvGrpSpPr>
          <p:nvPr/>
        </p:nvGrpSpPr>
        <p:grpSpPr>
          <a:xfrm>
            <a:off x="4440038" y="5417577"/>
            <a:ext cx="305900" cy="285620"/>
            <a:chOff x="877888" y="3673475"/>
            <a:chExt cx="287338" cy="268288"/>
          </a:xfrm>
          <a:solidFill>
            <a:schemeClr val="bg1"/>
          </a:solidFill>
          <a:effectLst/>
        </p:grpSpPr>
        <p:sp>
          <p:nvSpPr>
            <p:cNvPr id="1749" name="Freeform 45">
              <a:extLst>
                <a:ext uri="{FF2B5EF4-FFF2-40B4-BE49-F238E27FC236}">
                  <a16:creationId xmlns:a16="http://schemas.microsoft.com/office/drawing/2014/main" id="{8176C478-097A-4523-A6F1-EAD6436619FE}"/>
                </a:ext>
              </a:extLst>
            </p:cNvPr>
            <p:cNvSpPr>
              <a:spLocks/>
            </p:cNvSpPr>
            <p:nvPr/>
          </p:nvSpPr>
          <p:spPr bwMode="auto">
            <a:xfrm>
              <a:off x="954088" y="3884613"/>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3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3 w 60"/>
                <a:gd name="T25" fmla="*/ 22 h 30"/>
                <a:gd name="T26" fmla="*/ 5 w 60"/>
                <a:gd name="T27" fmla="*/ 26 h 30"/>
                <a:gd name="T28" fmla="*/ 7 w 60"/>
                <a:gd name="T29" fmla="*/ 27 h 30"/>
                <a:gd name="T30" fmla="*/ 9 w 60"/>
                <a:gd name="T31" fmla="*/ 29 h 30"/>
                <a:gd name="T32" fmla="*/ 12 w 60"/>
                <a:gd name="T33" fmla="*/ 29 h 30"/>
                <a:gd name="T34" fmla="*/ 15 w 60"/>
                <a:gd name="T35" fmla="*/ 30 h 30"/>
                <a:gd name="T36" fmla="*/ 45 w 60"/>
                <a:gd name="T37" fmla="*/ 30 h 30"/>
                <a:gd name="T38" fmla="*/ 49 w 60"/>
                <a:gd name="T39" fmla="*/ 29 h 30"/>
                <a:gd name="T40" fmla="*/ 51 w 60"/>
                <a:gd name="T41" fmla="*/ 29 h 30"/>
                <a:gd name="T42" fmla="*/ 54 w 60"/>
                <a:gd name="T43" fmla="*/ 27 h 30"/>
                <a:gd name="T44" fmla="*/ 56 w 60"/>
                <a:gd name="T45" fmla="*/ 26 h 30"/>
                <a:gd name="T46" fmla="*/ 58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8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3" y="6"/>
                  </a:lnTo>
                  <a:lnTo>
                    <a:pt x="1" y="8"/>
                  </a:lnTo>
                  <a:lnTo>
                    <a:pt x="0" y="12"/>
                  </a:lnTo>
                  <a:lnTo>
                    <a:pt x="0" y="15"/>
                  </a:lnTo>
                  <a:lnTo>
                    <a:pt x="0" y="17"/>
                  </a:lnTo>
                  <a:lnTo>
                    <a:pt x="1" y="20"/>
                  </a:lnTo>
                  <a:lnTo>
                    <a:pt x="3" y="22"/>
                  </a:lnTo>
                  <a:lnTo>
                    <a:pt x="5" y="26"/>
                  </a:lnTo>
                  <a:lnTo>
                    <a:pt x="7" y="27"/>
                  </a:lnTo>
                  <a:lnTo>
                    <a:pt x="9" y="29"/>
                  </a:lnTo>
                  <a:lnTo>
                    <a:pt x="12" y="29"/>
                  </a:lnTo>
                  <a:lnTo>
                    <a:pt x="15" y="30"/>
                  </a:lnTo>
                  <a:lnTo>
                    <a:pt x="45" y="30"/>
                  </a:lnTo>
                  <a:lnTo>
                    <a:pt x="49" y="29"/>
                  </a:lnTo>
                  <a:lnTo>
                    <a:pt x="51" y="29"/>
                  </a:lnTo>
                  <a:lnTo>
                    <a:pt x="54" y="27"/>
                  </a:lnTo>
                  <a:lnTo>
                    <a:pt x="56" y="26"/>
                  </a:lnTo>
                  <a:lnTo>
                    <a:pt x="58" y="22"/>
                  </a:lnTo>
                  <a:lnTo>
                    <a:pt x="59" y="20"/>
                  </a:lnTo>
                  <a:lnTo>
                    <a:pt x="60" y="17"/>
                  </a:lnTo>
                  <a:lnTo>
                    <a:pt x="60" y="15"/>
                  </a:lnTo>
                  <a:lnTo>
                    <a:pt x="60" y="12"/>
                  </a:lnTo>
                  <a:lnTo>
                    <a:pt x="59" y="8"/>
                  </a:lnTo>
                  <a:lnTo>
                    <a:pt x="58"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0" name="Freeform 46">
              <a:extLst>
                <a:ext uri="{FF2B5EF4-FFF2-40B4-BE49-F238E27FC236}">
                  <a16:creationId xmlns:a16="http://schemas.microsoft.com/office/drawing/2014/main" id="{61CEE4A6-D7F8-4428-933E-C3AF378913B0}"/>
                </a:ext>
              </a:extLst>
            </p:cNvPr>
            <p:cNvSpPr>
              <a:spLocks/>
            </p:cNvSpPr>
            <p:nvPr/>
          </p:nvSpPr>
          <p:spPr bwMode="auto">
            <a:xfrm>
              <a:off x="993775" y="3884613"/>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2 w 60"/>
                <a:gd name="T25" fmla="*/ 22 h 30"/>
                <a:gd name="T26" fmla="*/ 4 w 60"/>
                <a:gd name="T27" fmla="*/ 26 h 30"/>
                <a:gd name="T28" fmla="*/ 6 w 60"/>
                <a:gd name="T29" fmla="*/ 27 h 30"/>
                <a:gd name="T30" fmla="*/ 9 w 60"/>
                <a:gd name="T31" fmla="*/ 29 h 30"/>
                <a:gd name="T32" fmla="*/ 11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7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4"/>
                  </a:lnTo>
                  <a:lnTo>
                    <a:pt x="2" y="6"/>
                  </a:lnTo>
                  <a:lnTo>
                    <a:pt x="1" y="8"/>
                  </a:lnTo>
                  <a:lnTo>
                    <a:pt x="0" y="12"/>
                  </a:lnTo>
                  <a:lnTo>
                    <a:pt x="0" y="15"/>
                  </a:lnTo>
                  <a:lnTo>
                    <a:pt x="0" y="17"/>
                  </a:lnTo>
                  <a:lnTo>
                    <a:pt x="1" y="20"/>
                  </a:lnTo>
                  <a:lnTo>
                    <a:pt x="2" y="22"/>
                  </a:lnTo>
                  <a:lnTo>
                    <a:pt x="4" y="26"/>
                  </a:lnTo>
                  <a:lnTo>
                    <a:pt x="6" y="27"/>
                  </a:lnTo>
                  <a:lnTo>
                    <a:pt x="9" y="29"/>
                  </a:lnTo>
                  <a:lnTo>
                    <a:pt x="11" y="29"/>
                  </a:lnTo>
                  <a:lnTo>
                    <a:pt x="15" y="30"/>
                  </a:lnTo>
                  <a:lnTo>
                    <a:pt x="45" y="30"/>
                  </a:lnTo>
                  <a:lnTo>
                    <a:pt x="48" y="29"/>
                  </a:lnTo>
                  <a:lnTo>
                    <a:pt x="51" y="29"/>
                  </a:lnTo>
                  <a:lnTo>
                    <a:pt x="53" y="27"/>
                  </a:lnTo>
                  <a:lnTo>
                    <a:pt x="55" y="26"/>
                  </a:lnTo>
                  <a:lnTo>
                    <a:pt x="57" y="22"/>
                  </a:lnTo>
                  <a:lnTo>
                    <a:pt x="59" y="20"/>
                  </a:lnTo>
                  <a:lnTo>
                    <a:pt x="60" y="17"/>
                  </a:lnTo>
                  <a:lnTo>
                    <a:pt x="60" y="15"/>
                  </a:lnTo>
                  <a:lnTo>
                    <a:pt x="60" y="12"/>
                  </a:lnTo>
                  <a:lnTo>
                    <a:pt x="59" y="8"/>
                  </a:lnTo>
                  <a:lnTo>
                    <a:pt x="57"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1" name="Freeform 47">
              <a:extLst>
                <a:ext uri="{FF2B5EF4-FFF2-40B4-BE49-F238E27FC236}">
                  <a16:creationId xmlns:a16="http://schemas.microsoft.com/office/drawing/2014/main" id="{9FA1F3E3-3274-4622-BDE0-BD82DDBC00FB}"/>
                </a:ext>
              </a:extLst>
            </p:cNvPr>
            <p:cNvSpPr>
              <a:spLocks/>
            </p:cNvSpPr>
            <p:nvPr/>
          </p:nvSpPr>
          <p:spPr bwMode="auto">
            <a:xfrm>
              <a:off x="1031875" y="3884613"/>
              <a:ext cx="19050" cy="9525"/>
            </a:xfrm>
            <a:custGeom>
              <a:avLst/>
              <a:gdLst>
                <a:gd name="T0" fmla="*/ 45 w 60"/>
                <a:gd name="T1" fmla="*/ 0 h 30"/>
                <a:gd name="T2" fmla="*/ 15 w 60"/>
                <a:gd name="T3" fmla="*/ 0 h 30"/>
                <a:gd name="T4" fmla="*/ 13 w 60"/>
                <a:gd name="T5" fmla="*/ 0 h 30"/>
                <a:gd name="T6" fmla="*/ 9 w 60"/>
                <a:gd name="T7" fmla="*/ 1 h 30"/>
                <a:gd name="T8" fmla="*/ 7 w 60"/>
                <a:gd name="T9" fmla="*/ 2 h 30"/>
                <a:gd name="T10" fmla="*/ 4 w 60"/>
                <a:gd name="T11" fmla="*/ 4 h 30"/>
                <a:gd name="T12" fmla="*/ 3 w 60"/>
                <a:gd name="T13" fmla="*/ 6 h 30"/>
                <a:gd name="T14" fmla="*/ 1 w 60"/>
                <a:gd name="T15" fmla="*/ 8 h 30"/>
                <a:gd name="T16" fmla="*/ 1 w 60"/>
                <a:gd name="T17" fmla="*/ 12 h 30"/>
                <a:gd name="T18" fmla="*/ 0 w 60"/>
                <a:gd name="T19" fmla="*/ 15 h 30"/>
                <a:gd name="T20" fmla="*/ 1 w 60"/>
                <a:gd name="T21" fmla="*/ 17 h 30"/>
                <a:gd name="T22" fmla="*/ 1 w 60"/>
                <a:gd name="T23" fmla="*/ 20 h 30"/>
                <a:gd name="T24" fmla="*/ 3 w 60"/>
                <a:gd name="T25" fmla="*/ 22 h 30"/>
                <a:gd name="T26" fmla="*/ 4 w 60"/>
                <a:gd name="T27" fmla="*/ 26 h 30"/>
                <a:gd name="T28" fmla="*/ 7 w 60"/>
                <a:gd name="T29" fmla="*/ 27 h 30"/>
                <a:gd name="T30" fmla="*/ 9 w 60"/>
                <a:gd name="T31" fmla="*/ 29 h 30"/>
                <a:gd name="T32" fmla="*/ 13 w 60"/>
                <a:gd name="T33" fmla="*/ 29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8 w 60"/>
                <a:gd name="T47" fmla="*/ 22 h 30"/>
                <a:gd name="T48" fmla="*/ 59 w 60"/>
                <a:gd name="T49" fmla="*/ 20 h 30"/>
                <a:gd name="T50" fmla="*/ 60 w 60"/>
                <a:gd name="T51" fmla="*/ 17 h 30"/>
                <a:gd name="T52" fmla="*/ 60 w 60"/>
                <a:gd name="T53" fmla="*/ 15 h 30"/>
                <a:gd name="T54" fmla="*/ 60 w 60"/>
                <a:gd name="T55" fmla="*/ 12 h 30"/>
                <a:gd name="T56" fmla="*/ 59 w 60"/>
                <a:gd name="T57" fmla="*/ 8 h 30"/>
                <a:gd name="T58" fmla="*/ 58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3" y="0"/>
                  </a:lnTo>
                  <a:lnTo>
                    <a:pt x="9" y="1"/>
                  </a:lnTo>
                  <a:lnTo>
                    <a:pt x="7" y="2"/>
                  </a:lnTo>
                  <a:lnTo>
                    <a:pt x="4" y="4"/>
                  </a:lnTo>
                  <a:lnTo>
                    <a:pt x="3" y="6"/>
                  </a:lnTo>
                  <a:lnTo>
                    <a:pt x="1" y="8"/>
                  </a:lnTo>
                  <a:lnTo>
                    <a:pt x="1" y="12"/>
                  </a:lnTo>
                  <a:lnTo>
                    <a:pt x="0" y="15"/>
                  </a:lnTo>
                  <a:lnTo>
                    <a:pt x="1" y="17"/>
                  </a:lnTo>
                  <a:lnTo>
                    <a:pt x="1" y="20"/>
                  </a:lnTo>
                  <a:lnTo>
                    <a:pt x="3" y="22"/>
                  </a:lnTo>
                  <a:lnTo>
                    <a:pt x="4" y="26"/>
                  </a:lnTo>
                  <a:lnTo>
                    <a:pt x="7" y="27"/>
                  </a:lnTo>
                  <a:lnTo>
                    <a:pt x="9" y="29"/>
                  </a:lnTo>
                  <a:lnTo>
                    <a:pt x="13" y="29"/>
                  </a:lnTo>
                  <a:lnTo>
                    <a:pt x="15" y="30"/>
                  </a:lnTo>
                  <a:lnTo>
                    <a:pt x="45" y="30"/>
                  </a:lnTo>
                  <a:lnTo>
                    <a:pt x="48" y="29"/>
                  </a:lnTo>
                  <a:lnTo>
                    <a:pt x="51" y="29"/>
                  </a:lnTo>
                  <a:lnTo>
                    <a:pt x="53" y="27"/>
                  </a:lnTo>
                  <a:lnTo>
                    <a:pt x="55" y="26"/>
                  </a:lnTo>
                  <a:lnTo>
                    <a:pt x="58" y="22"/>
                  </a:lnTo>
                  <a:lnTo>
                    <a:pt x="59" y="20"/>
                  </a:lnTo>
                  <a:lnTo>
                    <a:pt x="60" y="17"/>
                  </a:lnTo>
                  <a:lnTo>
                    <a:pt x="60" y="15"/>
                  </a:lnTo>
                  <a:lnTo>
                    <a:pt x="60" y="12"/>
                  </a:lnTo>
                  <a:lnTo>
                    <a:pt x="59" y="8"/>
                  </a:lnTo>
                  <a:lnTo>
                    <a:pt x="58"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2" name="Freeform 48">
              <a:extLst>
                <a:ext uri="{FF2B5EF4-FFF2-40B4-BE49-F238E27FC236}">
                  <a16:creationId xmlns:a16="http://schemas.microsoft.com/office/drawing/2014/main" id="{E15D9767-55B0-4AC6-845A-2D6D0D02DC6C}"/>
                </a:ext>
              </a:extLst>
            </p:cNvPr>
            <p:cNvSpPr>
              <a:spLocks/>
            </p:cNvSpPr>
            <p:nvPr/>
          </p:nvSpPr>
          <p:spPr bwMode="auto">
            <a:xfrm>
              <a:off x="1069975" y="3884613"/>
              <a:ext cx="19050" cy="9525"/>
            </a:xfrm>
            <a:custGeom>
              <a:avLst/>
              <a:gdLst>
                <a:gd name="T0" fmla="*/ 45 w 60"/>
                <a:gd name="T1" fmla="*/ 0 h 30"/>
                <a:gd name="T2" fmla="*/ 15 w 60"/>
                <a:gd name="T3" fmla="*/ 0 h 30"/>
                <a:gd name="T4" fmla="*/ 12 w 60"/>
                <a:gd name="T5" fmla="*/ 0 h 30"/>
                <a:gd name="T6" fmla="*/ 8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7 h 30"/>
                <a:gd name="T22" fmla="*/ 1 w 60"/>
                <a:gd name="T23" fmla="*/ 20 h 30"/>
                <a:gd name="T24" fmla="*/ 2 w 60"/>
                <a:gd name="T25" fmla="*/ 22 h 30"/>
                <a:gd name="T26" fmla="*/ 4 w 60"/>
                <a:gd name="T27" fmla="*/ 26 h 30"/>
                <a:gd name="T28" fmla="*/ 6 w 60"/>
                <a:gd name="T29" fmla="*/ 27 h 30"/>
                <a:gd name="T30" fmla="*/ 8 w 60"/>
                <a:gd name="T31" fmla="*/ 29 h 30"/>
                <a:gd name="T32" fmla="*/ 12 w 60"/>
                <a:gd name="T33" fmla="*/ 29 h 30"/>
                <a:gd name="T34" fmla="*/ 15 w 60"/>
                <a:gd name="T35" fmla="*/ 30 h 30"/>
                <a:gd name="T36" fmla="*/ 45 w 60"/>
                <a:gd name="T37" fmla="*/ 30 h 30"/>
                <a:gd name="T38" fmla="*/ 48 w 60"/>
                <a:gd name="T39" fmla="*/ 29 h 30"/>
                <a:gd name="T40" fmla="*/ 50 w 60"/>
                <a:gd name="T41" fmla="*/ 29 h 30"/>
                <a:gd name="T42" fmla="*/ 53 w 60"/>
                <a:gd name="T43" fmla="*/ 27 h 30"/>
                <a:gd name="T44" fmla="*/ 56 w 60"/>
                <a:gd name="T45" fmla="*/ 26 h 30"/>
                <a:gd name="T46" fmla="*/ 57 w 60"/>
                <a:gd name="T47" fmla="*/ 22 h 30"/>
                <a:gd name="T48" fmla="*/ 59 w 60"/>
                <a:gd name="T49" fmla="*/ 20 h 30"/>
                <a:gd name="T50" fmla="*/ 59 w 60"/>
                <a:gd name="T51" fmla="*/ 17 h 30"/>
                <a:gd name="T52" fmla="*/ 60 w 60"/>
                <a:gd name="T53" fmla="*/ 15 h 30"/>
                <a:gd name="T54" fmla="*/ 59 w 60"/>
                <a:gd name="T55" fmla="*/ 12 h 30"/>
                <a:gd name="T56" fmla="*/ 59 w 60"/>
                <a:gd name="T57" fmla="*/ 8 h 30"/>
                <a:gd name="T58" fmla="*/ 57 w 60"/>
                <a:gd name="T59" fmla="*/ 6 h 30"/>
                <a:gd name="T60" fmla="*/ 56 w 60"/>
                <a:gd name="T61" fmla="*/ 4 h 30"/>
                <a:gd name="T62" fmla="*/ 53 w 60"/>
                <a:gd name="T63" fmla="*/ 2 h 30"/>
                <a:gd name="T64" fmla="*/ 50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8" y="1"/>
                  </a:lnTo>
                  <a:lnTo>
                    <a:pt x="6" y="2"/>
                  </a:lnTo>
                  <a:lnTo>
                    <a:pt x="4" y="4"/>
                  </a:lnTo>
                  <a:lnTo>
                    <a:pt x="2" y="6"/>
                  </a:lnTo>
                  <a:lnTo>
                    <a:pt x="1" y="8"/>
                  </a:lnTo>
                  <a:lnTo>
                    <a:pt x="0" y="12"/>
                  </a:lnTo>
                  <a:lnTo>
                    <a:pt x="0" y="15"/>
                  </a:lnTo>
                  <a:lnTo>
                    <a:pt x="0" y="17"/>
                  </a:lnTo>
                  <a:lnTo>
                    <a:pt x="1" y="20"/>
                  </a:lnTo>
                  <a:lnTo>
                    <a:pt x="2" y="22"/>
                  </a:lnTo>
                  <a:lnTo>
                    <a:pt x="4" y="26"/>
                  </a:lnTo>
                  <a:lnTo>
                    <a:pt x="6" y="27"/>
                  </a:lnTo>
                  <a:lnTo>
                    <a:pt x="8" y="29"/>
                  </a:lnTo>
                  <a:lnTo>
                    <a:pt x="12" y="29"/>
                  </a:lnTo>
                  <a:lnTo>
                    <a:pt x="15" y="30"/>
                  </a:lnTo>
                  <a:lnTo>
                    <a:pt x="45" y="30"/>
                  </a:lnTo>
                  <a:lnTo>
                    <a:pt x="48" y="29"/>
                  </a:lnTo>
                  <a:lnTo>
                    <a:pt x="50" y="29"/>
                  </a:lnTo>
                  <a:lnTo>
                    <a:pt x="53" y="27"/>
                  </a:lnTo>
                  <a:lnTo>
                    <a:pt x="56" y="26"/>
                  </a:lnTo>
                  <a:lnTo>
                    <a:pt x="57" y="22"/>
                  </a:lnTo>
                  <a:lnTo>
                    <a:pt x="59" y="20"/>
                  </a:lnTo>
                  <a:lnTo>
                    <a:pt x="59" y="17"/>
                  </a:lnTo>
                  <a:lnTo>
                    <a:pt x="60" y="15"/>
                  </a:lnTo>
                  <a:lnTo>
                    <a:pt x="59" y="12"/>
                  </a:lnTo>
                  <a:lnTo>
                    <a:pt x="59" y="8"/>
                  </a:lnTo>
                  <a:lnTo>
                    <a:pt x="57" y="6"/>
                  </a:lnTo>
                  <a:lnTo>
                    <a:pt x="56" y="4"/>
                  </a:lnTo>
                  <a:lnTo>
                    <a:pt x="53" y="2"/>
                  </a:lnTo>
                  <a:lnTo>
                    <a:pt x="50"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3" name="Freeform 49">
              <a:extLst>
                <a:ext uri="{FF2B5EF4-FFF2-40B4-BE49-F238E27FC236}">
                  <a16:creationId xmlns:a16="http://schemas.microsoft.com/office/drawing/2014/main" id="{2D98B831-2F89-479B-B9C9-C837636B927E}"/>
                </a:ext>
              </a:extLst>
            </p:cNvPr>
            <p:cNvSpPr>
              <a:spLocks/>
            </p:cNvSpPr>
            <p:nvPr/>
          </p:nvSpPr>
          <p:spPr bwMode="auto">
            <a:xfrm>
              <a:off x="935038" y="3903663"/>
              <a:ext cx="19050" cy="9525"/>
            </a:xfrm>
            <a:custGeom>
              <a:avLst/>
              <a:gdLst>
                <a:gd name="T0" fmla="*/ 45 w 60"/>
                <a:gd name="T1" fmla="*/ 0 h 30"/>
                <a:gd name="T2" fmla="*/ 15 w 60"/>
                <a:gd name="T3" fmla="*/ 0 h 30"/>
                <a:gd name="T4" fmla="*/ 12 w 60"/>
                <a:gd name="T5" fmla="*/ 0 h 30"/>
                <a:gd name="T6" fmla="*/ 9 w 60"/>
                <a:gd name="T7" fmla="*/ 1 h 30"/>
                <a:gd name="T8" fmla="*/ 7 w 60"/>
                <a:gd name="T9" fmla="*/ 2 h 30"/>
                <a:gd name="T10" fmla="*/ 5 w 60"/>
                <a:gd name="T11" fmla="*/ 4 h 30"/>
                <a:gd name="T12" fmla="*/ 2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2 w 60"/>
                <a:gd name="T25" fmla="*/ 23 h 30"/>
                <a:gd name="T26" fmla="*/ 5 w 60"/>
                <a:gd name="T27" fmla="*/ 26 h 30"/>
                <a:gd name="T28" fmla="*/ 7 w 60"/>
                <a:gd name="T29" fmla="*/ 27 h 30"/>
                <a:gd name="T30" fmla="*/ 9 w 60"/>
                <a:gd name="T31" fmla="*/ 29 h 30"/>
                <a:gd name="T32" fmla="*/ 12 w 60"/>
                <a:gd name="T33" fmla="*/ 30 h 30"/>
                <a:gd name="T34" fmla="*/ 15 w 60"/>
                <a:gd name="T35" fmla="*/ 30 h 30"/>
                <a:gd name="T36" fmla="*/ 45 w 60"/>
                <a:gd name="T37" fmla="*/ 30 h 30"/>
                <a:gd name="T38" fmla="*/ 49 w 60"/>
                <a:gd name="T39" fmla="*/ 29 h 30"/>
                <a:gd name="T40" fmla="*/ 51 w 60"/>
                <a:gd name="T41" fmla="*/ 29 h 30"/>
                <a:gd name="T42" fmla="*/ 54 w 60"/>
                <a:gd name="T43" fmla="*/ 27 h 30"/>
                <a:gd name="T44" fmla="*/ 56 w 60"/>
                <a:gd name="T45" fmla="*/ 26 h 30"/>
                <a:gd name="T46" fmla="*/ 57 w 60"/>
                <a:gd name="T47" fmla="*/ 23 h 30"/>
                <a:gd name="T48" fmla="*/ 59 w 60"/>
                <a:gd name="T49" fmla="*/ 20 h 30"/>
                <a:gd name="T50" fmla="*/ 59 w 60"/>
                <a:gd name="T51" fmla="*/ 18 h 30"/>
                <a:gd name="T52" fmla="*/ 60 w 60"/>
                <a:gd name="T53" fmla="*/ 15 h 30"/>
                <a:gd name="T54" fmla="*/ 59 w 60"/>
                <a:gd name="T55" fmla="*/ 12 h 30"/>
                <a:gd name="T56" fmla="*/ 59 w 60"/>
                <a:gd name="T57" fmla="*/ 8 h 30"/>
                <a:gd name="T58" fmla="*/ 57 w 60"/>
                <a:gd name="T59" fmla="*/ 6 h 30"/>
                <a:gd name="T60" fmla="*/ 56 w 60"/>
                <a:gd name="T61" fmla="*/ 4 h 30"/>
                <a:gd name="T62" fmla="*/ 54 w 60"/>
                <a:gd name="T63" fmla="*/ 2 h 30"/>
                <a:gd name="T64" fmla="*/ 51 w 60"/>
                <a:gd name="T65" fmla="*/ 1 h 30"/>
                <a:gd name="T66" fmla="*/ 49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9" y="1"/>
                  </a:lnTo>
                  <a:lnTo>
                    <a:pt x="7" y="2"/>
                  </a:lnTo>
                  <a:lnTo>
                    <a:pt x="5" y="4"/>
                  </a:lnTo>
                  <a:lnTo>
                    <a:pt x="2" y="6"/>
                  </a:lnTo>
                  <a:lnTo>
                    <a:pt x="1" y="8"/>
                  </a:lnTo>
                  <a:lnTo>
                    <a:pt x="0" y="12"/>
                  </a:lnTo>
                  <a:lnTo>
                    <a:pt x="0" y="15"/>
                  </a:lnTo>
                  <a:lnTo>
                    <a:pt x="0" y="18"/>
                  </a:lnTo>
                  <a:lnTo>
                    <a:pt x="1" y="20"/>
                  </a:lnTo>
                  <a:lnTo>
                    <a:pt x="2" y="23"/>
                  </a:lnTo>
                  <a:lnTo>
                    <a:pt x="5" y="26"/>
                  </a:lnTo>
                  <a:lnTo>
                    <a:pt x="7" y="27"/>
                  </a:lnTo>
                  <a:lnTo>
                    <a:pt x="9" y="29"/>
                  </a:lnTo>
                  <a:lnTo>
                    <a:pt x="12" y="30"/>
                  </a:lnTo>
                  <a:lnTo>
                    <a:pt x="15" y="30"/>
                  </a:lnTo>
                  <a:lnTo>
                    <a:pt x="45" y="30"/>
                  </a:lnTo>
                  <a:lnTo>
                    <a:pt x="49" y="29"/>
                  </a:lnTo>
                  <a:lnTo>
                    <a:pt x="51" y="29"/>
                  </a:lnTo>
                  <a:lnTo>
                    <a:pt x="54" y="27"/>
                  </a:lnTo>
                  <a:lnTo>
                    <a:pt x="56" y="26"/>
                  </a:lnTo>
                  <a:lnTo>
                    <a:pt x="57" y="23"/>
                  </a:lnTo>
                  <a:lnTo>
                    <a:pt x="59" y="20"/>
                  </a:lnTo>
                  <a:lnTo>
                    <a:pt x="59" y="18"/>
                  </a:lnTo>
                  <a:lnTo>
                    <a:pt x="60" y="15"/>
                  </a:lnTo>
                  <a:lnTo>
                    <a:pt x="59" y="12"/>
                  </a:lnTo>
                  <a:lnTo>
                    <a:pt x="59" y="8"/>
                  </a:lnTo>
                  <a:lnTo>
                    <a:pt x="57" y="6"/>
                  </a:lnTo>
                  <a:lnTo>
                    <a:pt x="56" y="4"/>
                  </a:lnTo>
                  <a:lnTo>
                    <a:pt x="54" y="2"/>
                  </a:lnTo>
                  <a:lnTo>
                    <a:pt x="51" y="1"/>
                  </a:lnTo>
                  <a:lnTo>
                    <a:pt x="49"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4" name="Freeform 50">
              <a:extLst>
                <a:ext uri="{FF2B5EF4-FFF2-40B4-BE49-F238E27FC236}">
                  <a16:creationId xmlns:a16="http://schemas.microsoft.com/office/drawing/2014/main" id="{5A9D05F2-B576-4323-B7B0-607F3F96F051}"/>
                </a:ext>
              </a:extLst>
            </p:cNvPr>
            <p:cNvSpPr>
              <a:spLocks/>
            </p:cNvSpPr>
            <p:nvPr/>
          </p:nvSpPr>
          <p:spPr bwMode="auto">
            <a:xfrm>
              <a:off x="973138" y="3903663"/>
              <a:ext cx="20638" cy="9525"/>
            </a:xfrm>
            <a:custGeom>
              <a:avLst/>
              <a:gdLst>
                <a:gd name="T0" fmla="*/ 46 w 61"/>
                <a:gd name="T1" fmla="*/ 0 h 30"/>
                <a:gd name="T2" fmla="*/ 15 w 61"/>
                <a:gd name="T3" fmla="*/ 0 h 30"/>
                <a:gd name="T4" fmla="*/ 12 w 61"/>
                <a:gd name="T5" fmla="*/ 0 h 30"/>
                <a:gd name="T6" fmla="*/ 10 w 61"/>
                <a:gd name="T7" fmla="*/ 1 h 30"/>
                <a:gd name="T8" fmla="*/ 7 w 61"/>
                <a:gd name="T9" fmla="*/ 2 h 30"/>
                <a:gd name="T10" fmla="*/ 5 w 61"/>
                <a:gd name="T11" fmla="*/ 4 h 30"/>
                <a:gd name="T12" fmla="*/ 3 w 61"/>
                <a:gd name="T13" fmla="*/ 6 h 30"/>
                <a:gd name="T14" fmla="*/ 2 w 61"/>
                <a:gd name="T15" fmla="*/ 8 h 30"/>
                <a:gd name="T16" fmla="*/ 0 w 61"/>
                <a:gd name="T17" fmla="*/ 12 h 30"/>
                <a:gd name="T18" fmla="*/ 0 w 61"/>
                <a:gd name="T19" fmla="*/ 15 h 30"/>
                <a:gd name="T20" fmla="*/ 0 w 61"/>
                <a:gd name="T21" fmla="*/ 18 h 30"/>
                <a:gd name="T22" fmla="*/ 2 w 61"/>
                <a:gd name="T23" fmla="*/ 20 h 30"/>
                <a:gd name="T24" fmla="*/ 3 w 61"/>
                <a:gd name="T25" fmla="*/ 23 h 30"/>
                <a:gd name="T26" fmla="*/ 5 w 61"/>
                <a:gd name="T27" fmla="*/ 26 h 30"/>
                <a:gd name="T28" fmla="*/ 7 w 61"/>
                <a:gd name="T29" fmla="*/ 27 h 30"/>
                <a:gd name="T30" fmla="*/ 9 w 61"/>
                <a:gd name="T31" fmla="*/ 29 h 30"/>
                <a:gd name="T32" fmla="*/ 12 w 61"/>
                <a:gd name="T33" fmla="*/ 30 h 30"/>
                <a:gd name="T34" fmla="*/ 15 w 61"/>
                <a:gd name="T35" fmla="*/ 30 h 30"/>
                <a:gd name="T36" fmla="*/ 46 w 61"/>
                <a:gd name="T37" fmla="*/ 30 h 30"/>
                <a:gd name="T38" fmla="*/ 49 w 61"/>
                <a:gd name="T39" fmla="*/ 29 h 30"/>
                <a:gd name="T40" fmla="*/ 51 w 61"/>
                <a:gd name="T41" fmla="*/ 29 h 30"/>
                <a:gd name="T42" fmla="*/ 54 w 61"/>
                <a:gd name="T43" fmla="*/ 27 h 30"/>
                <a:gd name="T44" fmla="*/ 56 w 61"/>
                <a:gd name="T45" fmla="*/ 26 h 30"/>
                <a:gd name="T46" fmla="*/ 58 w 61"/>
                <a:gd name="T47" fmla="*/ 23 h 30"/>
                <a:gd name="T48" fmla="*/ 59 w 61"/>
                <a:gd name="T49" fmla="*/ 20 h 30"/>
                <a:gd name="T50" fmla="*/ 61 w 61"/>
                <a:gd name="T51" fmla="*/ 18 h 30"/>
                <a:gd name="T52" fmla="*/ 61 w 61"/>
                <a:gd name="T53" fmla="*/ 15 h 30"/>
                <a:gd name="T54" fmla="*/ 61 w 61"/>
                <a:gd name="T55" fmla="*/ 12 h 30"/>
                <a:gd name="T56" fmla="*/ 59 w 61"/>
                <a:gd name="T57" fmla="*/ 8 h 30"/>
                <a:gd name="T58" fmla="*/ 58 w 61"/>
                <a:gd name="T59" fmla="*/ 6 h 30"/>
                <a:gd name="T60" fmla="*/ 56 w 61"/>
                <a:gd name="T61" fmla="*/ 4 h 30"/>
                <a:gd name="T62" fmla="*/ 54 w 61"/>
                <a:gd name="T63" fmla="*/ 2 h 30"/>
                <a:gd name="T64" fmla="*/ 51 w 61"/>
                <a:gd name="T65" fmla="*/ 1 h 30"/>
                <a:gd name="T66" fmla="*/ 49 w 61"/>
                <a:gd name="T67" fmla="*/ 0 h 30"/>
                <a:gd name="T68" fmla="*/ 46 w 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30">
                  <a:moveTo>
                    <a:pt x="46" y="0"/>
                  </a:moveTo>
                  <a:lnTo>
                    <a:pt x="15" y="0"/>
                  </a:lnTo>
                  <a:lnTo>
                    <a:pt x="12" y="0"/>
                  </a:lnTo>
                  <a:lnTo>
                    <a:pt x="10" y="1"/>
                  </a:lnTo>
                  <a:lnTo>
                    <a:pt x="7" y="2"/>
                  </a:lnTo>
                  <a:lnTo>
                    <a:pt x="5" y="4"/>
                  </a:lnTo>
                  <a:lnTo>
                    <a:pt x="3" y="6"/>
                  </a:lnTo>
                  <a:lnTo>
                    <a:pt x="2" y="8"/>
                  </a:lnTo>
                  <a:lnTo>
                    <a:pt x="0" y="12"/>
                  </a:lnTo>
                  <a:lnTo>
                    <a:pt x="0" y="15"/>
                  </a:lnTo>
                  <a:lnTo>
                    <a:pt x="0" y="18"/>
                  </a:lnTo>
                  <a:lnTo>
                    <a:pt x="2" y="20"/>
                  </a:lnTo>
                  <a:lnTo>
                    <a:pt x="3" y="23"/>
                  </a:lnTo>
                  <a:lnTo>
                    <a:pt x="5" y="26"/>
                  </a:lnTo>
                  <a:lnTo>
                    <a:pt x="7" y="27"/>
                  </a:lnTo>
                  <a:lnTo>
                    <a:pt x="9" y="29"/>
                  </a:lnTo>
                  <a:lnTo>
                    <a:pt x="12" y="30"/>
                  </a:lnTo>
                  <a:lnTo>
                    <a:pt x="15" y="30"/>
                  </a:lnTo>
                  <a:lnTo>
                    <a:pt x="46" y="30"/>
                  </a:lnTo>
                  <a:lnTo>
                    <a:pt x="49" y="29"/>
                  </a:lnTo>
                  <a:lnTo>
                    <a:pt x="51" y="29"/>
                  </a:lnTo>
                  <a:lnTo>
                    <a:pt x="54" y="27"/>
                  </a:lnTo>
                  <a:lnTo>
                    <a:pt x="56" y="26"/>
                  </a:lnTo>
                  <a:lnTo>
                    <a:pt x="58" y="23"/>
                  </a:lnTo>
                  <a:lnTo>
                    <a:pt x="59" y="20"/>
                  </a:lnTo>
                  <a:lnTo>
                    <a:pt x="61" y="18"/>
                  </a:lnTo>
                  <a:lnTo>
                    <a:pt x="61" y="15"/>
                  </a:lnTo>
                  <a:lnTo>
                    <a:pt x="61" y="12"/>
                  </a:lnTo>
                  <a:lnTo>
                    <a:pt x="59" y="8"/>
                  </a:lnTo>
                  <a:lnTo>
                    <a:pt x="58" y="6"/>
                  </a:lnTo>
                  <a:lnTo>
                    <a:pt x="56" y="4"/>
                  </a:lnTo>
                  <a:lnTo>
                    <a:pt x="54" y="2"/>
                  </a:lnTo>
                  <a:lnTo>
                    <a:pt x="51" y="1"/>
                  </a:lnTo>
                  <a:lnTo>
                    <a:pt x="49"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5" name="Freeform 51">
              <a:extLst>
                <a:ext uri="{FF2B5EF4-FFF2-40B4-BE49-F238E27FC236}">
                  <a16:creationId xmlns:a16="http://schemas.microsoft.com/office/drawing/2014/main" id="{872C996A-B1B4-478A-994F-D4AC7B82EE56}"/>
                </a:ext>
              </a:extLst>
            </p:cNvPr>
            <p:cNvSpPr>
              <a:spLocks/>
            </p:cNvSpPr>
            <p:nvPr/>
          </p:nvSpPr>
          <p:spPr bwMode="auto">
            <a:xfrm>
              <a:off x="1012825" y="3903663"/>
              <a:ext cx="19050" cy="9525"/>
            </a:xfrm>
            <a:custGeom>
              <a:avLst/>
              <a:gdLst>
                <a:gd name="T0" fmla="*/ 45 w 60"/>
                <a:gd name="T1" fmla="*/ 0 h 30"/>
                <a:gd name="T2" fmla="*/ 15 w 60"/>
                <a:gd name="T3" fmla="*/ 0 h 30"/>
                <a:gd name="T4" fmla="*/ 11 w 60"/>
                <a:gd name="T5" fmla="*/ 0 h 30"/>
                <a:gd name="T6" fmla="*/ 9 w 60"/>
                <a:gd name="T7" fmla="*/ 1 h 30"/>
                <a:gd name="T8" fmla="*/ 6 w 60"/>
                <a:gd name="T9" fmla="*/ 2 h 30"/>
                <a:gd name="T10" fmla="*/ 4 w 60"/>
                <a:gd name="T11" fmla="*/ 4 h 30"/>
                <a:gd name="T12" fmla="*/ 3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3 w 60"/>
                <a:gd name="T25" fmla="*/ 23 h 30"/>
                <a:gd name="T26" fmla="*/ 4 w 60"/>
                <a:gd name="T27" fmla="*/ 26 h 30"/>
                <a:gd name="T28" fmla="*/ 6 w 60"/>
                <a:gd name="T29" fmla="*/ 27 h 30"/>
                <a:gd name="T30" fmla="*/ 9 w 60"/>
                <a:gd name="T31" fmla="*/ 29 h 30"/>
                <a:gd name="T32" fmla="*/ 11 w 60"/>
                <a:gd name="T33" fmla="*/ 30 h 30"/>
                <a:gd name="T34" fmla="*/ 15 w 60"/>
                <a:gd name="T35" fmla="*/ 30 h 30"/>
                <a:gd name="T36" fmla="*/ 45 w 60"/>
                <a:gd name="T37" fmla="*/ 30 h 30"/>
                <a:gd name="T38" fmla="*/ 48 w 60"/>
                <a:gd name="T39" fmla="*/ 29 h 30"/>
                <a:gd name="T40" fmla="*/ 51 w 60"/>
                <a:gd name="T41" fmla="*/ 29 h 30"/>
                <a:gd name="T42" fmla="*/ 53 w 60"/>
                <a:gd name="T43" fmla="*/ 27 h 30"/>
                <a:gd name="T44" fmla="*/ 55 w 60"/>
                <a:gd name="T45" fmla="*/ 26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5 w 60"/>
                <a:gd name="T61" fmla="*/ 4 h 30"/>
                <a:gd name="T62" fmla="*/ 53 w 60"/>
                <a:gd name="T63" fmla="*/ 2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1" y="0"/>
                  </a:lnTo>
                  <a:lnTo>
                    <a:pt x="9" y="1"/>
                  </a:lnTo>
                  <a:lnTo>
                    <a:pt x="6" y="2"/>
                  </a:lnTo>
                  <a:lnTo>
                    <a:pt x="4" y="4"/>
                  </a:lnTo>
                  <a:lnTo>
                    <a:pt x="3" y="6"/>
                  </a:lnTo>
                  <a:lnTo>
                    <a:pt x="1" y="8"/>
                  </a:lnTo>
                  <a:lnTo>
                    <a:pt x="0" y="12"/>
                  </a:lnTo>
                  <a:lnTo>
                    <a:pt x="0" y="15"/>
                  </a:lnTo>
                  <a:lnTo>
                    <a:pt x="0" y="18"/>
                  </a:lnTo>
                  <a:lnTo>
                    <a:pt x="1" y="20"/>
                  </a:lnTo>
                  <a:lnTo>
                    <a:pt x="3" y="23"/>
                  </a:lnTo>
                  <a:lnTo>
                    <a:pt x="4" y="26"/>
                  </a:lnTo>
                  <a:lnTo>
                    <a:pt x="6" y="27"/>
                  </a:lnTo>
                  <a:lnTo>
                    <a:pt x="9" y="29"/>
                  </a:lnTo>
                  <a:lnTo>
                    <a:pt x="11" y="30"/>
                  </a:lnTo>
                  <a:lnTo>
                    <a:pt x="15" y="30"/>
                  </a:lnTo>
                  <a:lnTo>
                    <a:pt x="45" y="30"/>
                  </a:lnTo>
                  <a:lnTo>
                    <a:pt x="48" y="29"/>
                  </a:lnTo>
                  <a:lnTo>
                    <a:pt x="51" y="29"/>
                  </a:lnTo>
                  <a:lnTo>
                    <a:pt x="53" y="27"/>
                  </a:lnTo>
                  <a:lnTo>
                    <a:pt x="55" y="26"/>
                  </a:lnTo>
                  <a:lnTo>
                    <a:pt x="57" y="23"/>
                  </a:lnTo>
                  <a:lnTo>
                    <a:pt x="59" y="20"/>
                  </a:lnTo>
                  <a:lnTo>
                    <a:pt x="60" y="18"/>
                  </a:lnTo>
                  <a:lnTo>
                    <a:pt x="60" y="15"/>
                  </a:lnTo>
                  <a:lnTo>
                    <a:pt x="60" y="12"/>
                  </a:lnTo>
                  <a:lnTo>
                    <a:pt x="59" y="8"/>
                  </a:lnTo>
                  <a:lnTo>
                    <a:pt x="57" y="6"/>
                  </a:lnTo>
                  <a:lnTo>
                    <a:pt x="55" y="4"/>
                  </a:lnTo>
                  <a:lnTo>
                    <a:pt x="53" y="2"/>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6" name="Freeform 52">
              <a:extLst>
                <a:ext uri="{FF2B5EF4-FFF2-40B4-BE49-F238E27FC236}">
                  <a16:creationId xmlns:a16="http://schemas.microsoft.com/office/drawing/2014/main" id="{6EFC7E12-541F-41AF-8C08-A2D8601D1C7F}"/>
                </a:ext>
              </a:extLst>
            </p:cNvPr>
            <p:cNvSpPr>
              <a:spLocks/>
            </p:cNvSpPr>
            <p:nvPr/>
          </p:nvSpPr>
          <p:spPr bwMode="auto">
            <a:xfrm>
              <a:off x="1050925" y="3903663"/>
              <a:ext cx="19050" cy="9525"/>
            </a:xfrm>
            <a:custGeom>
              <a:avLst/>
              <a:gdLst>
                <a:gd name="T0" fmla="*/ 46 w 61"/>
                <a:gd name="T1" fmla="*/ 0 h 30"/>
                <a:gd name="T2" fmla="*/ 16 w 61"/>
                <a:gd name="T3" fmla="*/ 0 h 30"/>
                <a:gd name="T4" fmla="*/ 13 w 61"/>
                <a:gd name="T5" fmla="*/ 0 h 30"/>
                <a:gd name="T6" fmla="*/ 9 w 61"/>
                <a:gd name="T7" fmla="*/ 1 h 30"/>
                <a:gd name="T8" fmla="*/ 7 w 61"/>
                <a:gd name="T9" fmla="*/ 2 h 30"/>
                <a:gd name="T10" fmla="*/ 5 w 61"/>
                <a:gd name="T11" fmla="*/ 4 h 30"/>
                <a:gd name="T12" fmla="*/ 3 w 61"/>
                <a:gd name="T13" fmla="*/ 6 h 30"/>
                <a:gd name="T14" fmla="*/ 2 w 61"/>
                <a:gd name="T15" fmla="*/ 8 h 30"/>
                <a:gd name="T16" fmla="*/ 1 w 61"/>
                <a:gd name="T17" fmla="*/ 12 h 30"/>
                <a:gd name="T18" fmla="*/ 0 w 61"/>
                <a:gd name="T19" fmla="*/ 15 h 30"/>
                <a:gd name="T20" fmla="*/ 1 w 61"/>
                <a:gd name="T21" fmla="*/ 18 h 30"/>
                <a:gd name="T22" fmla="*/ 2 w 61"/>
                <a:gd name="T23" fmla="*/ 20 h 30"/>
                <a:gd name="T24" fmla="*/ 3 w 61"/>
                <a:gd name="T25" fmla="*/ 23 h 30"/>
                <a:gd name="T26" fmla="*/ 5 w 61"/>
                <a:gd name="T27" fmla="*/ 26 h 30"/>
                <a:gd name="T28" fmla="*/ 7 w 61"/>
                <a:gd name="T29" fmla="*/ 27 h 30"/>
                <a:gd name="T30" fmla="*/ 9 w 61"/>
                <a:gd name="T31" fmla="*/ 29 h 30"/>
                <a:gd name="T32" fmla="*/ 13 w 61"/>
                <a:gd name="T33" fmla="*/ 30 h 30"/>
                <a:gd name="T34" fmla="*/ 16 w 61"/>
                <a:gd name="T35" fmla="*/ 30 h 30"/>
                <a:gd name="T36" fmla="*/ 46 w 61"/>
                <a:gd name="T37" fmla="*/ 30 h 30"/>
                <a:gd name="T38" fmla="*/ 48 w 61"/>
                <a:gd name="T39" fmla="*/ 29 h 30"/>
                <a:gd name="T40" fmla="*/ 51 w 61"/>
                <a:gd name="T41" fmla="*/ 29 h 30"/>
                <a:gd name="T42" fmla="*/ 53 w 61"/>
                <a:gd name="T43" fmla="*/ 27 h 30"/>
                <a:gd name="T44" fmla="*/ 55 w 61"/>
                <a:gd name="T45" fmla="*/ 26 h 30"/>
                <a:gd name="T46" fmla="*/ 58 w 61"/>
                <a:gd name="T47" fmla="*/ 23 h 30"/>
                <a:gd name="T48" fmla="*/ 60 w 61"/>
                <a:gd name="T49" fmla="*/ 20 h 30"/>
                <a:gd name="T50" fmla="*/ 60 w 61"/>
                <a:gd name="T51" fmla="*/ 18 h 30"/>
                <a:gd name="T52" fmla="*/ 61 w 61"/>
                <a:gd name="T53" fmla="*/ 15 h 30"/>
                <a:gd name="T54" fmla="*/ 60 w 61"/>
                <a:gd name="T55" fmla="*/ 12 h 30"/>
                <a:gd name="T56" fmla="*/ 60 w 61"/>
                <a:gd name="T57" fmla="*/ 8 h 30"/>
                <a:gd name="T58" fmla="*/ 58 w 61"/>
                <a:gd name="T59" fmla="*/ 6 h 30"/>
                <a:gd name="T60" fmla="*/ 55 w 61"/>
                <a:gd name="T61" fmla="*/ 4 h 30"/>
                <a:gd name="T62" fmla="*/ 53 w 61"/>
                <a:gd name="T63" fmla="*/ 2 h 30"/>
                <a:gd name="T64" fmla="*/ 51 w 61"/>
                <a:gd name="T65" fmla="*/ 1 h 30"/>
                <a:gd name="T66" fmla="*/ 48 w 61"/>
                <a:gd name="T67" fmla="*/ 0 h 30"/>
                <a:gd name="T68" fmla="*/ 46 w 6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 h="30">
                  <a:moveTo>
                    <a:pt x="46" y="0"/>
                  </a:moveTo>
                  <a:lnTo>
                    <a:pt x="16" y="0"/>
                  </a:lnTo>
                  <a:lnTo>
                    <a:pt x="13" y="0"/>
                  </a:lnTo>
                  <a:lnTo>
                    <a:pt x="9" y="1"/>
                  </a:lnTo>
                  <a:lnTo>
                    <a:pt x="7" y="2"/>
                  </a:lnTo>
                  <a:lnTo>
                    <a:pt x="5" y="4"/>
                  </a:lnTo>
                  <a:lnTo>
                    <a:pt x="3" y="6"/>
                  </a:lnTo>
                  <a:lnTo>
                    <a:pt x="2" y="8"/>
                  </a:lnTo>
                  <a:lnTo>
                    <a:pt x="1" y="12"/>
                  </a:lnTo>
                  <a:lnTo>
                    <a:pt x="0" y="15"/>
                  </a:lnTo>
                  <a:lnTo>
                    <a:pt x="1" y="18"/>
                  </a:lnTo>
                  <a:lnTo>
                    <a:pt x="2" y="20"/>
                  </a:lnTo>
                  <a:lnTo>
                    <a:pt x="3" y="23"/>
                  </a:lnTo>
                  <a:lnTo>
                    <a:pt x="5" y="26"/>
                  </a:lnTo>
                  <a:lnTo>
                    <a:pt x="7" y="27"/>
                  </a:lnTo>
                  <a:lnTo>
                    <a:pt x="9" y="29"/>
                  </a:lnTo>
                  <a:lnTo>
                    <a:pt x="13" y="30"/>
                  </a:lnTo>
                  <a:lnTo>
                    <a:pt x="16" y="30"/>
                  </a:lnTo>
                  <a:lnTo>
                    <a:pt x="46" y="30"/>
                  </a:lnTo>
                  <a:lnTo>
                    <a:pt x="48" y="29"/>
                  </a:lnTo>
                  <a:lnTo>
                    <a:pt x="51" y="29"/>
                  </a:lnTo>
                  <a:lnTo>
                    <a:pt x="53" y="27"/>
                  </a:lnTo>
                  <a:lnTo>
                    <a:pt x="55" y="26"/>
                  </a:lnTo>
                  <a:lnTo>
                    <a:pt x="58" y="23"/>
                  </a:lnTo>
                  <a:lnTo>
                    <a:pt x="60" y="20"/>
                  </a:lnTo>
                  <a:lnTo>
                    <a:pt x="60" y="18"/>
                  </a:lnTo>
                  <a:lnTo>
                    <a:pt x="61" y="15"/>
                  </a:lnTo>
                  <a:lnTo>
                    <a:pt x="60" y="12"/>
                  </a:lnTo>
                  <a:lnTo>
                    <a:pt x="60" y="8"/>
                  </a:lnTo>
                  <a:lnTo>
                    <a:pt x="58" y="6"/>
                  </a:lnTo>
                  <a:lnTo>
                    <a:pt x="55" y="4"/>
                  </a:lnTo>
                  <a:lnTo>
                    <a:pt x="53" y="2"/>
                  </a:lnTo>
                  <a:lnTo>
                    <a:pt x="51" y="1"/>
                  </a:lnTo>
                  <a:lnTo>
                    <a:pt x="48"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7" name="Freeform 53">
              <a:extLst>
                <a:ext uri="{FF2B5EF4-FFF2-40B4-BE49-F238E27FC236}">
                  <a16:creationId xmlns:a16="http://schemas.microsoft.com/office/drawing/2014/main" id="{3A897D57-755E-4330-9ADB-AB68978A2788}"/>
                </a:ext>
              </a:extLst>
            </p:cNvPr>
            <p:cNvSpPr>
              <a:spLocks/>
            </p:cNvSpPr>
            <p:nvPr/>
          </p:nvSpPr>
          <p:spPr bwMode="auto">
            <a:xfrm>
              <a:off x="1089025" y="3903663"/>
              <a:ext cx="19050" cy="9525"/>
            </a:xfrm>
            <a:custGeom>
              <a:avLst/>
              <a:gdLst>
                <a:gd name="T0" fmla="*/ 45 w 60"/>
                <a:gd name="T1" fmla="*/ 0 h 30"/>
                <a:gd name="T2" fmla="*/ 15 w 60"/>
                <a:gd name="T3" fmla="*/ 0 h 30"/>
                <a:gd name="T4" fmla="*/ 12 w 60"/>
                <a:gd name="T5" fmla="*/ 0 h 30"/>
                <a:gd name="T6" fmla="*/ 8 w 60"/>
                <a:gd name="T7" fmla="*/ 1 h 30"/>
                <a:gd name="T8" fmla="*/ 6 w 60"/>
                <a:gd name="T9" fmla="*/ 2 h 30"/>
                <a:gd name="T10" fmla="*/ 4 w 60"/>
                <a:gd name="T11" fmla="*/ 4 h 30"/>
                <a:gd name="T12" fmla="*/ 2 w 60"/>
                <a:gd name="T13" fmla="*/ 6 h 30"/>
                <a:gd name="T14" fmla="*/ 1 w 60"/>
                <a:gd name="T15" fmla="*/ 8 h 30"/>
                <a:gd name="T16" fmla="*/ 0 w 60"/>
                <a:gd name="T17" fmla="*/ 12 h 30"/>
                <a:gd name="T18" fmla="*/ 0 w 60"/>
                <a:gd name="T19" fmla="*/ 15 h 30"/>
                <a:gd name="T20" fmla="*/ 0 w 60"/>
                <a:gd name="T21" fmla="*/ 18 h 30"/>
                <a:gd name="T22" fmla="*/ 1 w 60"/>
                <a:gd name="T23" fmla="*/ 20 h 30"/>
                <a:gd name="T24" fmla="*/ 2 w 60"/>
                <a:gd name="T25" fmla="*/ 23 h 30"/>
                <a:gd name="T26" fmla="*/ 4 w 60"/>
                <a:gd name="T27" fmla="*/ 26 h 30"/>
                <a:gd name="T28" fmla="*/ 6 w 60"/>
                <a:gd name="T29" fmla="*/ 27 h 30"/>
                <a:gd name="T30" fmla="*/ 8 w 60"/>
                <a:gd name="T31" fmla="*/ 29 h 30"/>
                <a:gd name="T32" fmla="*/ 12 w 60"/>
                <a:gd name="T33" fmla="*/ 30 h 30"/>
                <a:gd name="T34" fmla="*/ 15 w 60"/>
                <a:gd name="T35" fmla="*/ 30 h 30"/>
                <a:gd name="T36" fmla="*/ 45 w 60"/>
                <a:gd name="T37" fmla="*/ 30 h 30"/>
                <a:gd name="T38" fmla="*/ 48 w 60"/>
                <a:gd name="T39" fmla="*/ 29 h 30"/>
                <a:gd name="T40" fmla="*/ 50 w 60"/>
                <a:gd name="T41" fmla="*/ 29 h 30"/>
                <a:gd name="T42" fmla="*/ 54 w 60"/>
                <a:gd name="T43" fmla="*/ 27 h 30"/>
                <a:gd name="T44" fmla="*/ 56 w 60"/>
                <a:gd name="T45" fmla="*/ 26 h 30"/>
                <a:gd name="T46" fmla="*/ 57 w 60"/>
                <a:gd name="T47" fmla="*/ 23 h 30"/>
                <a:gd name="T48" fmla="*/ 59 w 60"/>
                <a:gd name="T49" fmla="*/ 20 h 30"/>
                <a:gd name="T50" fmla="*/ 60 w 60"/>
                <a:gd name="T51" fmla="*/ 18 h 30"/>
                <a:gd name="T52" fmla="*/ 60 w 60"/>
                <a:gd name="T53" fmla="*/ 15 h 30"/>
                <a:gd name="T54" fmla="*/ 60 w 60"/>
                <a:gd name="T55" fmla="*/ 12 h 30"/>
                <a:gd name="T56" fmla="*/ 59 w 60"/>
                <a:gd name="T57" fmla="*/ 8 h 30"/>
                <a:gd name="T58" fmla="*/ 57 w 60"/>
                <a:gd name="T59" fmla="*/ 6 h 30"/>
                <a:gd name="T60" fmla="*/ 56 w 60"/>
                <a:gd name="T61" fmla="*/ 4 h 30"/>
                <a:gd name="T62" fmla="*/ 54 w 60"/>
                <a:gd name="T63" fmla="*/ 2 h 30"/>
                <a:gd name="T64" fmla="*/ 50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8" y="1"/>
                  </a:lnTo>
                  <a:lnTo>
                    <a:pt x="6" y="2"/>
                  </a:lnTo>
                  <a:lnTo>
                    <a:pt x="4" y="4"/>
                  </a:lnTo>
                  <a:lnTo>
                    <a:pt x="2" y="6"/>
                  </a:lnTo>
                  <a:lnTo>
                    <a:pt x="1" y="8"/>
                  </a:lnTo>
                  <a:lnTo>
                    <a:pt x="0" y="12"/>
                  </a:lnTo>
                  <a:lnTo>
                    <a:pt x="0" y="15"/>
                  </a:lnTo>
                  <a:lnTo>
                    <a:pt x="0" y="18"/>
                  </a:lnTo>
                  <a:lnTo>
                    <a:pt x="1" y="20"/>
                  </a:lnTo>
                  <a:lnTo>
                    <a:pt x="2" y="23"/>
                  </a:lnTo>
                  <a:lnTo>
                    <a:pt x="4" y="26"/>
                  </a:lnTo>
                  <a:lnTo>
                    <a:pt x="6" y="27"/>
                  </a:lnTo>
                  <a:lnTo>
                    <a:pt x="8" y="29"/>
                  </a:lnTo>
                  <a:lnTo>
                    <a:pt x="12" y="30"/>
                  </a:lnTo>
                  <a:lnTo>
                    <a:pt x="15" y="30"/>
                  </a:lnTo>
                  <a:lnTo>
                    <a:pt x="45" y="30"/>
                  </a:lnTo>
                  <a:lnTo>
                    <a:pt x="48" y="29"/>
                  </a:lnTo>
                  <a:lnTo>
                    <a:pt x="50" y="29"/>
                  </a:lnTo>
                  <a:lnTo>
                    <a:pt x="54" y="27"/>
                  </a:lnTo>
                  <a:lnTo>
                    <a:pt x="56" y="26"/>
                  </a:lnTo>
                  <a:lnTo>
                    <a:pt x="57" y="23"/>
                  </a:lnTo>
                  <a:lnTo>
                    <a:pt x="59" y="20"/>
                  </a:lnTo>
                  <a:lnTo>
                    <a:pt x="60" y="18"/>
                  </a:lnTo>
                  <a:lnTo>
                    <a:pt x="60" y="15"/>
                  </a:lnTo>
                  <a:lnTo>
                    <a:pt x="60" y="12"/>
                  </a:lnTo>
                  <a:lnTo>
                    <a:pt x="59" y="8"/>
                  </a:lnTo>
                  <a:lnTo>
                    <a:pt x="57" y="6"/>
                  </a:lnTo>
                  <a:lnTo>
                    <a:pt x="56" y="4"/>
                  </a:lnTo>
                  <a:lnTo>
                    <a:pt x="54" y="2"/>
                  </a:lnTo>
                  <a:lnTo>
                    <a:pt x="50"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1758" name="Freeform 54">
              <a:extLst>
                <a:ext uri="{FF2B5EF4-FFF2-40B4-BE49-F238E27FC236}">
                  <a16:creationId xmlns:a16="http://schemas.microsoft.com/office/drawing/2014/main" id="{DA34D73E-7F66-4F15-A7A3-B11F42FF44A6}"/>
                </a:ext>
              </a:extLst>
            </p:cNvPr>
            <p:cNvSpPr>
              <a:spLocks noEditPoints="1"/>
            </p:cNvSpPr>
            <p:nvPr/>
          </p:nvSpPr>
          <p:spPr bwMode="auto">
            <a:xfrm>
              <a:off x="877888" y="3673475"/>
              <a:ext cx="287338" cy="268288"/>
            </a:xfrm>
            <a:custGeom>
              <a:avLst/>
              <a:gdLst>
                <a:gd name="T0" fmla="*/ 772 w 903"/>
                <a:gd name="T1" fmla="*/ 548 h 843"/>
                <a:gd name="T2" fmla="*/ 739 w 903"/>
                <a:gd name="T3" fmla="*/ 519 h 843"/>
                <a:gd name="T4" fmla="*/ 708 w 903"/>
                <a:gd name="T5" fmla="*/ 512 h 843"/>
                <a:gd name="T6" fmla="*/ 182 w 903"/>
                <a:gd name="T7" fmla="*/ 513 h 843"/>
                <a:gd name="T8" fmla="*/ 153 w 903"/>
                <a:gd name="T9" fmla="*/ 526 h 843"/>
                <a:gd name="T10" fmla="*/ 126 w 903"/>
                <a:gd name="T11" fmla="*/ 560 h 843"/>
                <a:gd name="T12" fmla="*/ 196 w 903"/>
                <a:gd name="T13" fmla="*/ 421 h 843"/>
                <a:gd name="T14" fmla="*/ 386 w 903"/>
                <a:gd name="T15" fmla="*/ 542 h 843"/>
                <a:gd name="T16" fmla="*/ 151 w 903"/>
                <a:gd name="T17" fmla="*/ 813 h 843"/>
                <a:gd name="T18" fmla="*/ 164 w 903"/>
                <a:gd name="T19" fmla="*/ 556 h 843"/>
                <a:gd name="T20" fmla="*/ 352 w 903"/>
                <a:gd name="T21" fmla="*/ 542 h 843"/>
                <a:gd name="T22" fmla="*/ 392 w 903"/>
                <a:gd name="T23" fmla="*/ 602 h 843"/>
                <a:gd name="T24" fmla="*/ 526 w 903"/>
                <a:gd name="T25" fmla="*/ 594 h 843"/>
                <a:gd name="T26" fmla="*/ 733 w 903"/>
                <a:gd name="T27" fmla="*/ 549 h 843"/>
                <a:gd name="T28" fmla="*/ 753 w 903"/>
                <a:gd name="T29" fmla="*/ 587 h 843"/>
                <a:gd name="T30" fmla="*/ 693 w 903"/>
                <a:gd name="T31" fmla="*/ 112 h 843"/>
                <a:gd name="T32" fmla="*/ 873 w 903"/>
                <a:gd name="T33" fmla="*/ 482 h 843"/>
                <a:gd name="T34" fmla="*/ 871 w 903"/>
                <a:gd name="T35" fmla="*/ 368 h 843"/>
                <a:gd name="T36" fmla="*/ 858 w 903"/>
                <a:gd name="T37" fmla="*/ 361 h 843"/>
                <a:gd name="T38" fmla="*/ 846 w 903"/>
                <a:gd name="T39" fmla="*/ 368 h 843"/>
                <a:gd name="T40" fmla="*/ 723 w 903"/>
                <a:gd name="T41" fmla="*/ 391 h 843"/>
                <a:gd name="T42" fmla="*/ 719 w 903"/>
                <a:gd name="T43" fmla="*/ 94 h 843"/>
                <a:gd name="T44" fmla="*/ 618 w 903"/>
                <a:gd name="T45" fmla="*/ 0 h 843"/>
                <a:gd name="T46" fmla="*/ 186 w 903"/>
                <a:gd name="T47" fmla="*/ 4 h 843"/>
                <a:gd name="T48" fmla="*/ 181 w 903"/>
                <a:gd name="T49" fmla="*/ 391 h 843"/>
                <a:gd name="T50" fmla="*/ 58 w 903"/>
                <a:gd name="T51" fmla="*/ 368 h 843"/>
                <a:gd name="T52" fmla="*/ 45 w 903"/>
                <a:gd name="T53" fmla="*/ 361 h 843"/>
                <a:gd name="T54" fmla="*/ 33 w 903"/>
                <a:gd name="T55" fmla="*/ 368 h 843"/>
                <a:gd name="T56" fmla="*/ 30 w 903"/>
                <a:gd name="T57" fmla="*/ 482 h 843"/>
                <a:gd name="T58" fmla="*/ 4 w 903"/>
                <a:gd name="T59" fmla="*/ 486 h 843"/>
                <a:gd name="T60" fmla="*/ 0 w 903"/>
                <a:gd name="T61" fmla="*/ 500 h 843"/>
                <a:gd name="T62" fmla="*/ 10 w 903"/>
                <a:gd name="T63" fmla="*/ 511 h 843"/>
                <a:gd name="T64" fmla="*/ 30 w 903"/>
                <a:gd name="T65" fmla="*/ 617 h 843"/>
                <a:gd name="T66" fmla="*/ 37 w 903"/>
                <a:gd name="T67" fmla="*/ 630 h 843"/>
                <a:gd name="T68" fmla="*/ 52 w 903"/>
                <a:gd name="T69" fmla="*/ 631 h 843"/>
                <a:gd name="T70" fmla="*/ 60 w 903"/>
                <a:gd name="T71" fmla="*/ 620 h 843"/>
                <a:gd name="T72" fmla="*/ 75 w 903"/>
                <a:gd name="T73" fmla="*/ 813 h 843"/>
                <a:gd name="T74" fmla="*/ 63 w 903"/>
                <a:gd name="T75" fmla="*/ 819 h 843"/>
                <a:gd name="T76" fmla="*/ 61 w 903"/>
                <a:gd name="T77" fmla="*/ 833 h 843"/>
                <a:gd name="T78" fmla="*/ 73 w 903"/>
                <a:gd name="T79" fmla="*/ 843 h 843"/>
                <a:gd name="T80" fmla="*/ 837 w 903"/>
                <a:gd name="T81" fmla="*/ 841 h 843"/>
                <a:gd name="T82" fmla="*/ 843 w 903"/>
                <a:gd name="T83" fmla="*/ 828 h 843"/>
                <a:gd name="T84" fmla="*/ 837 w 903"/>
                <a:gd name="T85" fmla="*/ 815 h 843"/>
                <a:gd name="T86" fmla="*/ 783 w 903"/>
                <a:gd name="T87" fmla="*/ 602 h 843"/>
                <a:gd name="T88" fmla="*/ 846 w 903"/>
                <a:gd name="T89" fmla="*/ 625 h 843"/>
                <a:gd name="T90" fmla="*/ 858 w 903"/>
                <a:gd name="T91" fmla="*/ 633 h 843"/>
                <a:gd name="T92" fmla="*/ 871 w 903"/>
                <a:gd name="T93" fmla="*/ 625 h 843"/>
                <a:gd name="T94" fmla="*/ 873 w 903"/>
                <a:gd name="T95" fmla="*/ 512 h 843"/>
                <a:gd name="T96" fmla="*/ 899 w 903"/>
                <a:gd name="T97" fmla="*/ 507 h 843"/>
                <a:gd name="T98" fmla="*/ 903 w 903"/>
                <a:gd name="T99" fmla="*/ 493 h 843"/>
                <a:gd name="T100" fmla="*/ 895 w 903"/>
                <a:gd name="T101" fmla="*/ 483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3" h="843">
                  <a:moveTo>
                    <a:pt x="782" y="572"/>
                  </a:moveTo>
                  <a:lnTo>
                    <a:pt x="780" y="565"/>
                  </a:lnTo>
                  <a:lnTo>
                    <a:pt x="778" y="560"/>
                  </a:lnTo>
                  <a:lnTo>
                    <a:pt x="776" y="553"/>
                  </a:lnTo>
                  <a:lnTo>
                    <a:pt x="772" y="548"/>
                  </a:lnTo>
                  <a:lnTo>
                    <a:pt x="765" y="538"/>
                  </a:lnTo>
                  <a:lnTo>
                    <a:pt x="755" y="529"/>
                  </a:lnTo>
                  <a:lnTo>
                    <a:pt x="751" y="526"/>
                  </a:lnTo>
                  <a:lnTo>
                    <a:pt x="745" y="522"/>
                  </a:lnTo>
                  <a:lnTo>
                    <a:pt x="739" y="519"/>
                  </a:lnTo>
                  <a:lnTo>
                    <a:pt x="734" y="517"/>
                  </a:lnTo>
                  <a:lnTo>
                    <a:pt x="727" y="515"/>
                  </a:lnTo>
                  <a:lnTo>
                    <a:pt x="721" y="513"/>
                  </a:lnTo>
                  <a:lnTo>
                    <a:pt x="714" y="513"/>
                  </a:lnTo>
                  <a:lnTo>
                    <a:pt x="708" y="512"/>
                  </a:lnTo>
                  <a:lnTo>
                    <a:pt x="542" y="512"/>
                  </a:lnTo>
                  <a:lnTo>
                    <a:pt x="362" y="512"/>
                  </a:lnTo>
                  <a:lnTo>
                    <a:pt x="196" y="512"/>
                  </a:lnTo>
                  <a:lnTo>
                    <a:pt x="189" y="512"/>
                  </a:lnTo>
                  <a:lnTo>
                    <a:pt x="182" y="513"/>
                  </a:lnTo>
                  <a:lnTo>
                    <a:pt x="176" y="515"/>
                  </a:lnTo>
                  <a:lnTo>
                    <a:pt x="171" y="516"/>
                  </a:lnTo>
                  <a:lnTo>
                    <a:pt x="164" y="519"/>
                  </a:lnTo>
                  <a:lnTo>
                    <a:pt x="159" y="522"/>
                  </a:lnTo>
                  <a:lnTo>
                    <a:pt x="153" y="526"/>
                  </a:lnTo>
                  <a:lnTo>
                    <a:pt x="148" y="529"/>
                  </a:lnTo>
                  <a:lnTo>
                    <a:pt x="140" y="538"/>
                  </a:lnTo>
                  <a:lnTo>
                    <a:pt x="132" y="548"/>
                  </a:lnTo>
                  <a:lnTo>
                    <a:pt x="129" y="553"/>
                  </a:lnTo>
                  <a:lnTo>
                    <a:pt x="126" y="560"/>
                  </a:lnTo>
                  <a:lnTo>
                    <a:pt x="123" y="565"/>
                  </a:lnTo>
                  <a:lnTo>
                    <a:pt x="122" y="572"/>
                  </a:lnTo>
                  <a:lnTo>
                    <a:pt x="60" y="572"/>
                  </a:lnTo>
                  <a:lnTo>
                    <a:pt x="60" y="421"/>
                  </a:lnTo>
                  <a:lnTo>
                    <a:pt x="196" y="421"/>
                  </a:lnTo>
                  <a:lnTo>
                    <a:pt x="708" y="421"/>
                  </a:lnTo>
                  <a:lnTo>
                    <a:pt x="843" y="421"/>
                  </a:lnTo>
                  <a:lnTo>
                    <a:pt x="843" y="572"/>
                  </a:lnTo>
                  <a:lnTo>
                    <a:pt x="782" y="572"/>
                  </a:lnTo>
                  <a:close/>
                  <a:moveTo>
                    <a:pt x="386" y="542"/>
                  </a:moveTo>
                  <a:lnTo>
                    <a:pt x="518" y="542"/>
                  </a:lnTo>
                  <a:lnTo>
                    <a:pt x="503" y="572"/>
                  </a:lnTo>
                  <a:lnTo>
                    <a:pt x="401" y="572"/>
                  </a:lnTo>
                  <a:lnTo>
                    <a:pt x="386" y="542"/>
                  </a:lnTo>
                  <a:close/>
                  <a:moveTo>
                    <a:pt x="151" y="813"/>
                  </a:moveTo>
                  <a:lnTo>
                    <a:pt x="151" y="587"/>
                  </a:lnTo>
                  <a:lnTo>
                    <a:pt x="151" y="578"/>
                  </a:lnTo>
                  <a:lnTo>
                    <a:pt x="155" y="569"/>
                  </a:lnTo>
                  <a:lnTo>
                    <a:pt x="159" y="562"/>
                  </a:lnTo>
                  <a:lnTo>
                    <a:pt x="164" y="556"/>
                  </a:lnTo>
                  <a:lnTo>
                    <a:pt x="171" y="549"/>
                  </a:lnTo>
                  <a:lnTo>
                    <a:pt x="178" y="546"/>
                  </a:lnTo>
                  <a:lnTo>
                    <a:pt x="187" y="543"/>
                  </a:lnTo>
                  <a:lnTo>
                    <a:pt x="196" y="542"/>
                  </a:lnTo>
                  <a:lnTo>
                    <a:pt x="352" y="542"/>
                  </a:lnTo>
                  <a:lnTo>
                    <a:pt x="378" y="594"/>
                  </a:lnTo>
                  <a:lnTo>
                    <a:pt x="381" y="597"/>
                  </a:lnTo>
                  <a:lnTo>
                    <a:pt x="384" y="600"/>
                  </a:lnTo>
                  <a:lnTo>
                    <a:pt x="387" y="602"/>
                  </a:lnTo>
                  <a:lnTo>
                    <a:pt x="392" y="602"/>
                  </a:lnTo>
                  <a:lnTo>
                    <a:pt x="512" y="602"/>
                  </a:lnTo>
                  <a:lnTo>
                    <a:pt x="516" y="602"/>
                  </a:lnTo>
                  <a:lnTo>
                    <a:pt x="520" y="600"/>
                  </a:lnTo>
                  <a:lnTo>
                    <a:pt x="523" y="597"/>
                  </a:lnTo>
                  <a:lnTo>
                    <a:pt x="526" y="594"/>
                  </a:lnTo>
                  <a:lnTo>
                    <a:pt x="551" y="542"/>
                  </a:lnTo>
                  <a:lnTo>
                    <a:pt x="708" y="542"/>
                  </a:lnTo>
                  <a:lnTo>
                    <a:pt x="717" y="543"/>
                  </a:lnTo>
                  <a:lnTo>
                    <a:pt x="725" y="546"/>
                  </a:lnTo>
                  <a:lnTo>
                    <a:pt x="733" y="549"/>
                  </a:lnTo>
                  <a:lnTo>
                    <a:pt x="740" y="556"/>
                  </a:lnTo>
                  <a:lnTo>
                    <a:pt x="745" y="562"/>
                  </a:lnTo>
                  <a:lnTo>
                    <a:pt x="750" y="569"/>
                  </a:lnTo>
                  <a:lnTo>
                    <a:pt x="752" y="578"/>
                  </a:lnTo>
                  <a:lnTo>
                    <a:pt x="753" y="587"/>
                  </a:lnTo>
                  <a:lnTo>
                    <a:pt x="753" y="813"/>
                  </a:lnTo>
                  <a:lnTo>
                    <a:pt x="151" y="813"/>
                  </a:lnTo>
                  <a:close/>
                  <a:moveTo>
                    <a:pt x="211" y="30"/>
                  </a:moveTo>
                  <a:lnTo>
                    <a:pt x="611" y="30"/>
                  </a:lnTo>
                  <a:lnTo>
                    <a:pt x="693" y="112"/>
                  </a:lnTo>
                  <a:lnTo>
                    <a:pt x="693" y="391"/>
                  </a:lnTo>
                  <a:lnTo>
                    <a:pt x="211" y="391"/>
                  </a:lnTo>
                  <a:lnTo>
                    <a:pt x="211" y="30"/>
                  </a:lnTo>
                  <a:close/>
                  <a:moveTo>
                    <a:pt x="888" y="482"/>
                  </a:moveTo>
                  <a:lnTo>
                    <a:pt x="873" y="482"/>
                  </a:lnTo>
                  <a:lnTo>
                    <a:pt x="873" y="406"/>
                  </a:lnTo>
                  <a:lnTo>
                    <a:pt x="873" y="376"/>
                  </a:lnTo>
                  <a:lnTo>
                    <a:pt x="873" y="373"/>
                  </a:lnTo>
                  <a:lnTo>
                    <a:pt x="872" y="370"/>
                  </a:lnTo>
                  <a:lnTo>
                    <a:pt x="871" y="368"/>
                  </a:lnTo>
                  <a:lnTo>
                    <a:pt x="869" y="366"/>
                  </a:lnTo>
                  <a:lnTo>
                    <a:pt x="867" y="364"/>
                  </a:lnTo>
                  <a:lnTo>
                    <a:pt x="865" y="362"/>
                  </a:lnTo>
                  <a:lnTo>
                    <a:pt x="861" y="361"/>
                  </a:lnTo>
                  <a:lnTo>
                    <a:pt x="858" y="361"/>
                  </a:lnTo>
                  <a:lnTo>
                    <a:pt x="855" y="361"/>
                  </a:lnTo>
                  <a:lnTo>
                    <a:pt x="853" y="362"/>
                  </a:lnTo>
                  <a:lnTo>
                    <a:pt x="850" y="364"/>
                  </a:lnTo>
                  <a:lnTo>
                    <a:pt x="847" y="366"/>
                  </a:lnTo>
                  <a:lnTo>
                    <a:pt x="846" y="368"/>
                  </a:lnTo>
                  <a:lnTo>
                    <a:pt x="844" y="370"/>
                  </a:lnTo>
                  <a:lnTo>
                    <a:pt x="843" y="373"/>
                  </a:lnTo>
                  <a:lnTo>
                    <a:pt x="843" y="376"/>
                  </a:lnTo>
                  <a:lnTo>
                    <a:pt x="843" y="391"/>
                  </a:lnTo>
                  <a:lnTo>
                    <a:pt x="723" y="391"/>
                  </a:lnTo>
                  <a:lnTo>
                    <a:pt x="723" y="105"/>
                  </a:lnTo>
                  <a:lnTo>
                    <a:pt x="723" y="102"/>
                  </a:lnTo>
                  <a:lnTo>
                    <a:pt x="722" y="100"/>
                  </a:lnTo>
                  <a:lnTo>
                    <a:pt x="721" y="96"/>
                  </a:lnTo>
                  <a:lnTo>
                    <a:pt x="719" y="94"/>
                  </a:lnTo>
                  <a:lnTo>
                    <a:pt x="629" y="4"/>
                  </a:lnTo>
                  <a:lnTo>
                    <a:pt x="625" y="2"/>
                  </a:lnTo>
                  <a:lnTo>
                    <a:pt x="623" y="1"/>
                  </a:lnTo>
                  <a:lnTo>
                    <a:pt x="620" y="0"/>
                  </a:lnTo>
                  <a:lnTo>
                    <a:pt x="618" y="0"/>
                  </a:lnTo>
                  <a:lnTo>
                    <a:pt x="196" y="0"/>
                  </a:lnTo>
                  <a:lnTo>
                    <a:pt x="193" y="0"/>
                  </a:lnTo>
                  <a:lnTo>
                    <a:pt x="190" y="1"/>
                  </a:lnTo>
                  <a:lnTo>
                    <a:pt x="188" y="2"/>
                  </a:lnTo>
                  <a:lnTo>
                    <a:pt x="186" y="4"/>
                  </a:lnTo>
                  <a:lnTo>
                    <a:pt x="183" y="6"/>
                  </a:lnTo>
                  <a:lnTo>
                    <a:pt x="182" y="10"/>
                  </a:lnTo>
                  <a:lnTo>
                    <a:pt x="181" y="12"/>
                  </a:lnTo>
                  <a:lnTo>
                    <a:pt x="181" y="15"/>
                  </a:lnTo>
                  <a:lnTo>
                    <a:pt x="181" y="391"/>
                  </a:lnTo>
                  <a:lnTo>
                    <a:pt x="60" y="391"/>
                  </a:lnTo>
                  <a:lnTo>
                    <a:pt x="60" y="376"/>
                  </a:lnTo>
                  <a:lnTo>
                    <a:pt x="60" y="373"/>
                  </a:lnTo>
                  <a:lnTo>
                    <a:pt x="59" y="370"/>
                  </a:lnTo>
                  <a:lnTo>
                    <a:pt x="58" y="368"/>
                  </a:lnTo>
                  <a:lnTo>
                    <a:pt x="56" y="366"/>
                  </a:lnTo>
                  <a:lnTo>
                    <a:pt x="54" y="364"/>
                  </a:lnTo>
                  <a:lnTo>
                    <a:pt x="52" y="362"/>
                  </a:lnTo>
                  <a:lnTo>
                    <a:pt x="48" y="361"/>
                  </a:lnTo>
                  <a:lnTo>
                    <a:pt x="45" y="361"/>
                  </a:lnTo>
                  <a:lnTo>
                    <a:pt x="42" y="361"/>
                  </a:lnTo>
                  <a:lnTo>
                    <a:pt x="40" y="362"/>
                  </a:lnTo>
                  <a:lnTo>
                    <a:pt x="37" y="364"/>
                  </a:lnTo>
                  <a:lnTo>
                    <a:pt x="34" y="366"/>
                  </a:lnTo>
                  <a:lnTo>
                    <a:pt x="33" y="368"/>
                  </a:lnTo>
                  <a:lnTo>
                    <a:pt x="31" y="370"/>
                  </a:lnTo>
                  <a:lnTo>
                    <a:pt x="31" y="373"/>
                  </a:lnTo>
                  <a:lnTo>
                    <a:pt x="30" y="376"/>
                  </a:lnTo>
                  <a:lnTo>
                    <a:pt x="30" y="406"/>
                  </a:lnTo>
                  <a:lnTo>
                    <a:pt x="30" y="482"/>
                  </a:lnTo>
                  <a:lnTo>
                    <a:pt x="15" y="482"/>
                  </a:lnTo>
                  <a:lnTo>
                    <a:pt x="12" y="482"/>
                  </a:lnTo>
                  <a:lnTo>
                    <a:pt x="10" y="483"/>
                  </a:lnTo>
                  <a:lnTo>
                    <a:pt x="7" y="485"/>
                  </a:lnTo>
                  <a:lnTo>
                    <a:pt x="4" y="486"/>
                  </a:lnTo>
                  <a:lnTo>
                    <a:pt x="3" y="488"/>
                  </a:lnTo>
                  <a:lnTo>
                    <a:pt x="1" y="491"/>
                  </a:lnTo>
                  <a:lnTo>
                    <a:pt x="0" y="493"/>
                  </a:lnTo>
                  <a:lnTo>
                    <a:pt x="0" y="497"/>
                  </a:lnTo>
                  <a:lnTo>
                    <a:pt x="0" y="500"/>
                  </a:lnTo>
                  <a:lnTo>
                    <a:pt x="1" y="503"/>
                  </a:lnTo>
                  <a:lnTo>
                    <a:pt x="3" y="505"/>
                  </a:lnTo>
                  <a:lnTo>
                    <a:pt x="4" y="507"/>
                  </a:lnTo>
                  <a:lnTo>
                    <a:pt x="7" y="509"/>
                  </a:lnTo>
                  <a:lnTo>
                    <a:pt x="10" y="511"/>
                  </a:lnTo>
                  <a:lnTo>
                    <a:pt x="12" y="512"/>
                  </a:lnTo>
                  <a:lnTo>
                    <a:pt x="15" y="512"/>
                  </a:lnTo>
                  <a:lnTo>
                    <a:pt x="30" y="512"/>
                  </a:lnTo>
                  <a:lnTo>
                    <a:pt x="30" y="587"/>
                  </a:lnTo>
                  <a:lnTo>
                    <a:pt x="30" y="617"/>
                  </a:lnTo>
                  <a:lnTo>
                    <a:pt x="31" y="620"/>
                  </a:lnTo>
                  <a:lnTo>
                    <a:pt x="31" y="623"/>
                  </a:lnTo>
                  <a:lnTo>
                    <a:pt x="33" y="625"/>
                  </a:lnTo>
                  <a:lnTo>
                    <a:pt x="34" y="627"/>
                  </a:lnTo>
                  <a:lnTo>
                    <a:pt x="37" y="630"/>
                  </a:lnTo>
                  <a:lnTo>
                    <a:pt x="40" y="631"/>
                  </a:lnTo>
                  <a:lnTo>
                    <a:pt x="42" y="632"/>
                  </a:lnTo>
                  <a:lnTo>
                    <a:pt x="45" y="633"/>
                  </a:lnTo>
                  <a:lnTo>
                    <a:pt x="48" y="632"/>
                  </a:lnTo>
                  <a:lnTo>
                    <a:pt x="52" y="631"/>
                  </a:lnTo>
                  <a:lnTo>
                    <a:pt x="54" y="630"/>
                  </a:lnTo>
                  <a:lnTo>
                    <a:pt x="56" y="627"/>
                  </a:lnTo>
                  <a:lnTo>
                    <a:pt x="58" y="625"/>
                  </a:lnTo>
                  <a:lnTo>
                    <a:pt x="59" y="623"/>
                  </a:lnTo>
                  <a:lnTo>
                    <a:pt x="60" y="620"/>
                  </a:lnTo>
                  <a:lnTo>
                    <a:pt x="60" y="617"/>
                  </a:lnTo>
                  <a:lnTo>
                    <a:pt x="60" y="602"/>
                  </a:lnTo>
                  <a:lnTo>
                    <a:pt x="120" y="602"/>
                  </a:lnTo>
                  <a:lnTo>
                    <a:pt x="120" y="813"/>
                  </a:lnTo>
                  <a:lnTo>
                    <a:pt x="75" y="813"/>
                  </a:lnTo>
                  <a:lnTo>
                    <a:pt x="73" y="813"/>
                  </a:lnTo>
                  <a:lnTo>
                    <a:pt x="70" y="814"/>
                  </a:lnTo>
                  <a:lnTo>
                    <a:pt x="68" y="815"/>
                  </a:lnTo>
                  <a:lnTo>
                    <a:pt x="64" y="817"/>
                  </a:lnTo>
                  <a:lnTo>
                    <a:pt x="63" y="819"/>
                  </a:lnTo>
                  <a:lnTo>
                    <a:pt x="61" y="823"/>
                  </a:lnTo>
                  <a:lnTo>
                    <a:pt x="61" y="825"/>
                  </a:lnTo>
                  <a:lnTo>
                    <a:pt x="60" y="828"/>
                  </a:lnTo>
                  <a:lnTo>
                    <a:pt x="61" y="831"/>
                  </a:lnTo>
                  <a:lnTo>
                    <a:pt x="61" y="833"/>
                  </a:lnTo>
                  <a:lnTo>
                    <a:pt x="63" y="837"/>
                  </a:lnTo>
                  <a:lnTo>
                    <a:pt x="64" y="839"/>
                  </a:lnTo>
                  <a:lnTo>
                    <a:pt x="68" y="841"/>
                  </a:lnTo>
                  <a:lnTo>
                    <a:pt x="70" y="842"/>
                  </a:lnTo>
                  <a:lnTo>
                    <a:pt x="73" y="843"/>
                  </a:lnTo>
                  <a:lnTo>
                    <a:pt x="75" y="843"/>
                  </a:lnTo>
                  <a:lnTo>
                    <a:pt x="828" y="843"/>
                  </a:lnTo>
                  <a:lnTo>
                    <a:pt x="831" y="843"/>
                  </a:lnTo>
                  <a:lnTo>
                    <a:pt x="834" y="842"/>
                  </a:lnTo>
                  <a:lnTo>
                    <a:pt x="837" y="841"/>
                  </a:lnTo>
                  <a:lnTo>
                    <a:pt x="839" y="839"/>
                  </a:lnTo>
                  <a:lnTo>
                    <a:pt x="841" y="837"/>
                  </a:lnTo>
                  <a:lnTo>
                    <a:pt x="842" y="833"/>
                  </a:lnTo>
                  <a:lnTo>
                    <a:pt x="843" y="831"/>
                  </a:lnTo>
                  <a:lnTo>
                    <a:pt x="843" y="828"/>
                  </a:lnTo>
                  <a:lnTo>
                    <a:pt x="843" y="825"/>
                  </a:lnTo>
                  <a:lnTo>
                    <a:pt x="842" y="823"/>
                  </a:lnTo>
                  <a:lnTo>
                    <a:pt x="841" y="819"/>
                  </a:lnTo>
                  <a:lnTo>
                    <a:pt x="839" y="817"/>
                  </a:lnTo>
                  <a:lnTo>
                    <a:pt x="837" y="815"/>
                  </a:lnTo>
                  <a:lnTo>
                    <a:pt x="834" y="814"/>
                  </a:lnTo>
                  <a:lnTo>
                    <a:pt x="831" y="813"/>
                  </a:lnTo>
                  <a:lnTo>
                    <a:pt x="828" y="813"/>
                  </a:lnTo>
                  <a:lnTo>
                    <a:pt x="783" y="813"/>
                  </a:lnTo>
                  <a:lnTo>
                    <a:pt x="783" y="602"/>
                  </a:lnTo>
                  <a:lnTo>
                    <a:pt x="843" y="602"/>
                  </a:lnTo>
                  <a:lnTo>
                    <a:pt x="843" y="617"/>
                  </a:lnTo>
                  <a:lnTo>
                    <a:pt x="843" y="620"/>
                  </a:lnTo>
                  <a:lnTo>
                    <a:pt x="844" y="623"/>
                  </a:lnTo>
                  <a:lnTo>
                    <a:pt x="846" y="625"/>
                  </a:lnTo>
                  <a:lnTo>
                    <a:pt x="847" y="627"/>
                  </a:lnTo>
                  <a:lnTo>
                    <a:pt x="850" y="630"/>
                  </a:lnTo>
                  <a:lnTo>
                    <a:pt x="853" y="631"/>
                  </a:lnTo>
                  <a:lnTo>
                    <a:pt x="855" y="632"/>
                  </a:lnTo>
                  <a:lnTo>
                    <a:pt x="858" y="633"/>
                  </a:lnTo>
                  <a:lnTo>
                    <a:pt x="861" y="632"/>
                  </a:lnTo>
                  <a:lnTo>
                    <a:pt x="865" y="631"/>
                  </a:lnTo>
                  <a:lnTo>
                    <a:pt x="867" y="630"/>
                  </a:lnTo>
                  <a:lnTo>
                    <a:pt x="869" y="627"/>
                  </a:lnTo>
                  <a:lnTo>
                    <a:pt x="871" y="625"/>
                  </a:lnTo>
                  <a:lnTo>
                    <a:pt x="872" y="623"/>
                  </a:lnTo>
                  <a:lnTo>
                    <a:pt x="873" y="620"/>
                  </a:lnTo>
                  <a:lnTo>
                    <a:pt x="873" y="617"/>
                  </a:lnTo>
                  <a:lnTo>
                    <a:pt x="873" y="587"/>
                  </a:lnTo>
                  <a:lnTo>
                    <a:pt x="873" y="512"/>
                  </a:lnTo>
                  <a:lnTo>
                    <a:pt x="888" y="512"/>
                  </a:lnTo>
                  <a:lnTo>
                    <a:pt x="891" y="512"/>
                  </a:lnTo>
                  <a:lnTo>
                    <a:pt x="895" y="511"/>
                  </a:lnTo>
                  <a:lnTo>
                    <a:pt x="897" y="509"/>
                  </a:lnTo>
                  <a:lnTo>
                    <a:pt x="899" y="507"/>
                  </a:lnTo>
                  <a:lnTo>
                    <a:pt x="901" y="505"/>
                  </a:lnTo>
                  <a:lnTo>
                    <a:pt x="902" y="503"/>
                  </a:lnTo>
                  <a:lnTo>
                    <a:pt x="903" y="500"/>
                  </a:lnTo>
                  <a:lnTo>
                    <a:pt x="903" y="497"/>
                  </a:lnTo>
                  <a:lnTo>
                    <a:pt x="903" y="493"/>
                  </a:lnTo>
                  <a:lnTo>
                    <a:pt x="902" y="491"/>
                  </a:lnTo>
                  <a:lnTo>
                    <a:pt x="901" y="488"/>
                  </a:lnTo>
                  <a:lnTo>
                    <a:pt x="899" y="486"/>
                  </a:lnTo>
                  <a:lnTo>
                    <a:pt x="897" y="485"/>
                  </a:lnTo>
                  <a:lnTo>
                    <a:pt x="895" y="483"/>
                  </a:lnTo>
                  <a:lnTo>
                    <a:pt x="891" y="482"/>
                  </a:lnTo>
                  <a:lnTo>
                    <a:pt x="888"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1759" name="Group 48">
            <a:extLst>
              <a:ext uri="{FF2B5EF4-FFF2-40B4-BE49-F238E27FC236}">
                <a16:creationId xmlns:a16="http://schemas.microsoft.com/office/drawing/2014/main" id="{801C0421-6238-466F-B1FC-94C5B3D39615}"/>
              </a:ext>
            </a:extLst>
          </p:cNvPr>
          <p:cNvGrpSpPr>
            <a:grpSpLocks noChangeAspect="1"/>
          </p:cNvGrpSpPr>
          <p:nvPr/>
        </p:nvGrpSpPr>
        <p:grpSpPr>
          <a:xfrm>
            <a:off x="5356366" y="5427717"/>
            <a:ext cx="305900" cy="265339"/>
            <a:chOff x="304800" y="822325"/>
            <a:chExt cx="287338" cy="249238"/>
          </a:xfrm>
          <a:solidFill>
            <a:schemeClr val="bg1"/>
          </a:solidFill>
          <a:effectLst/>
        </p:grpSpPr>
        <p:sp>
          <p:nvSpPr>
            <p:cNvPr id="1760" name="Freeform 49">
              <a:extLst>
                <a:ext uri="{FF2B5EF4-FFF2-40B4-BE49-F238E27FC236}">
                  <a16:creationId xmlns:a16="http://schemas.microsoft.com/office/drawing/2014/main" id="{A13D08F7-115F-4246-908C-C4CB8B45FCD5}"/>
                </a:ext>
              </a:extLst>
            </p:cNvPr>
            <p:cNvSpPr>
              <a:spLocks noEditPoints="1"/>
            </p:cNvSpPr>
            <p:nvPr/>
          </p:nvSpPr>
          <p:spPr bwMode="auto">
            <a:xfrm>
              <a:off x="333375" y="957263"/>
              <a:ext cx="76200" cy="57150"/>
            </a:xfrm>
            <a:custGeom>
              <a:avLst/>
              <a:gdLst>
                <a:gd name="T0" fmla="*/ 211 w 241"/>
                <a:gd name="T1" fmla="*/ 151 h 181"/>
                <a:gd name="T2" fmla="*/ 30 w 241"/>
                <a:gd name="T3" fmla="*/ 151 h 181"/>
                <a:gd name="T4" fmla="*/ 30 w 241"/>
                <a:gd name="T5" fmla="*/ 30 h 181"/>
                <a:gd name="T6" fmla="*/ 211 w 241"/>
                <a:gd name="T7" fmla="*/ 30 h 181"/>
                <a:gd name="T8" fmla="*/ 211 w 241"/>
                <a:gd name="T9" fmla="*/ 151 h 181"/>
                <a:gd name="T10" fmla="*/ 226 w 241"/>
                <a:gd name="T11" fmla="*/ 0 h 181"/>
                <a:gd name="T12" fmla="*/ 15 w 241"/>
                <a:gd name="T13" fmla="*/ 0 h 181"/>
                <a:gd name="T14" fmla="*/ 12 w 241"/>
                <a:gd name="T15" fmla="*/ 0 h 181"/>
                <a:gd name="T16" fmla="*/ 9 w 241"/>
                <a:gd name="T17" fmla="*/ 1 h 181"/>
                <a:gd name="T18" fmla="*/ 7 w 241"/>
                <a:gd name="T19" fmla="*/ 2 h 181"/>
                <a:gd name="T20" fmla="*/ 4 w 241"/>
                <a:gd name="T21" fmla="*/ 4 h 181"/>
                <a:gd name="T22" fmla="*/ 2 w 241"/>
                <a:gd name="T23" fmla="*/ 6 h 181"/>
                <a:gd name="T24" fmla="*/ 1 w 241"/>
                <a:gd name="T25" fmla="*/ 8 h 181"/>
                <a:gd name="T26" fmla="*/ 0 w 241"/>
                <a:gd name="T27" fmla="*/ 12 h 181"/>
                <a:gd name="T28" fmla="*/ 0 w 241"/>
                <a:gd name="T29" fmla="*/ 15 h 181"/>
                <a:gd name="T30" fmla="*/ 0 w 241"/>
                <a:gd name="T31" fmla="*/ 166 h 181"/>
                <a:gd name="T32" fmla="*/ 0 w 241"/>
                <a:gd name="T33" fmla="*/ 169 h 181"/>
                <a:gd name="T34" fmla="*/ 1 w 241"/>
                <a:gd name="T35" fmla="*/ 171 h 181"/>
                <a:gd name="T36" fmla="*/ 2 w 241"/>
                <a:gd name="T37" fmla="*/ 175 h 181"/>
                <a:gd name="T38" fmla="*/ 4 w 241"/>
                <a:gd name="T39" fmla="*/ 177 h 181"/>
                <a:gd name="T40" fmla="*/ 7 w 241"/>
                <a:gd name="T41" fmla="*/ 179 h 181"/>
                <a:gd name="T42" fmla="*/ 9 w 241"/>
                <a:gd name="T43" fmla="*/ 180 h 181"/>
                <a:gd name="T44" fmla="*/ 12 w 241"/>
                <a:gd name="T45" fmla="*/ 181 h 181"/>
                <a:gd name="T46" fmla="*/ 15 w 241"/>
                <a:gd name="T47" fmla="*/ 181 h 181"/>
                <a:gd name="T48" fmla="*/ 226 w 241"/>
                <a:gd name="T49" fmla="*/ 181 h 181"/>
                <a:gd name="T50" fmla="*/ 230 w 241"/>
                <a:gd name="T51" fmla="*/ 181 h 181"/>
                <a:gd name="T52" fmla="*/ 233 w 241"/>
                <a:gd name="T53" fmla="*/ 180 h 181"/>
                <a:gd name="T54" fmla="*/ 235 w 241"/>
                <a:gd name="T55" fmla="*/ 178 h 181"/>
                <a:gd name="T56" fmla="*/ 237 w 241"/>
                <a:gd name="T57" fmla="*/ 177 h 181"/>
                <a:gd name="T58" fmla="*/ 239 w 241"/>
                <a:gd name="T59" fmla="*/ 175 h 181"/>
                <a:gd name="T60" fmla="*/ 240 w 241"/>
                <a:gd name="T61" fmla="*/ 171 h 181"/>
                <a:gd name="T62" fmla="*/ 241 w 241"/>
                <a:gd name="T63" fmla="*/ 169 h 181"/>
                <a:gd name="T64" fmla="*/ 241 w 241"/>
                <a:gd name="T65" fmla="*/ 166 h 181"/>
                <a:gd name="T66" fmla="*/ 241 w 241"/>
                <a:gd name="T67" fmla="*/ 15 h 181"/>
                <a:gd name="T68" fmla="*/ 241 w 241"/>
                <a:gd name="T69" fmla="*/ 12 h 181"/>
                <a:gd name="T70" fmla="*/ 240 w 241"/>
                <a:gd name="T71" fmla="*/ 8 h 181"/>
                <a:gd name="T72" fmla="*/ 239 w 241"/>
                <a:gd name="T73" fmla="*/ 6 h 181"/>
                <a:gd name="T74" fmla="*/ 237 w 241"/>
                <a:gd name="T75" fmla="*/ 4 h 181"/>
                <a:gd name="T76" fmla="*/ 235 w 241"/>
                <a:gd name="T77" fmla="*/ 2 h 181"/>
                <a:gd name="T78" fmla="*/ 233 w 241"/>
                <a:gd name="T79" fmla="*/ 1 h 181"/>
                <a:gd name="T80" fmla="*/ 230 w 241"/>
                <a:gd name="T81" fmla="*/ 0 h 181"/>
                <a:gd name="T82" fmla="*/ 226 w 241"/>
                <a:gd name="T8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1" h="181">
                  <a:moveTo>
                    <a:pt x="211" y="151"/>
                  </a:moveTo>
                  <a:lnTo>
                    <a:pt x="30" y="151"/>
                  </a:lnTo>
                  <a:lnTo>
                    <a:pt x="30" y="30"/>
                  </a:lnTo>
                  <a:lnTo>
                    <a:pt x="211" y="30"/>
                  </a:lnTo>
                  <a:lnTo>
                    <a:pt x="211" y="151"/>
                  </a:lnTo>
                  <a:close/>
                  <a:moveTo>
                    <a:pt x="226" y="0"/>
                  </a:moveTo>
                  <a:lnTo>
                    <a:pt x="15" y="0"/>
                  </a:lnTo>
                  <a:lnTo>
                    <a:pt x="12" y="0"/>
                  </a:lnTo>
                  <a:lnTo>
                    <a:pt x="9" y="1"/>
                  </a:lnTo>
                  <a:lnTo>
                    <a:pt x="7" y="2"/>
                  </a:lnTo>
                  <a:lnTo>
                    <a:pt x="4" y="4"/>
                  </a:lnTo>
                  <a:lnTo>
                    <a:pt x="2" y="6"/>
                  </a:lnTo>
                  <a:lnTo>
                    <a:pt x="1" y="8"/>
                  </a:lnTo>
                  <a:lnTo>
                    <a:pt x="0" y="12"/>
                  </a:lnTo>
                  <a:lnTo>
                    <a:pt x="0" y="15"/>
                  </a:lnTo>
                  <a:lnTo>
                    <a:pt x="0" y="166"/>
                  </a:lnTo>
                  <a:lnTo>
                    <a:pt x="0" y="169"/>
                  </a:lnTo>
                  <a:lnTo>
                    <a:pt x="1" y="171"/>
                  </a:lnTo>
                  <a:lnTo>
                    <a:pt x="2" y="175"/>
                  </a:lnTo>
                  <a:lnTo>
                    <a:pt x="4" y="177"/>
                  </a:lnTo>
                  <a:lnTo>
                    <a:pt x="7" y="179"/>
                  </a:lnTo>
                  <a:lnTo>
                    <a:pt x="9" y="180"/>
                  </a:lnTo>
                  <a:lnTo>
                    <a:pt x="12" y="181"/>
                  </a:lnTo>
                  <a:lnTo>
                    <a:pt x="15" y="181"/>
                  </a:lnTo>
                  <a:lnTo>
                    <a:pt x="226" y="181"/>
                  </a:lnTo>
                  <a:lnTo>
                    <a:pt x="230" y="181"/>
                  </a:lnTo>
                  <a:lnTo>
                    <a:pt x="233" y="180"/>
                  </a:lnTo>
                  <a:lnTo>
                    <a:pt x="235" y="178"/>
                  </a:lnTo>
                  <a:lnTo>
                    <a:pt x="237" y="177"/>
                  </a:lnTo>
                  <a:lnTo>
                    <a:pt x="239" y="175"/>
                  </a:lnTo>
                  <a:lnTo>
                    <a:pt x="240" y="171"/>
                  </a:lnTo>
                  <a:lnTo>
                    <a:pt x="241" y="169"/>
                  </a:lnTo>
                  <a:lnTo>
                    <a:pt x="241" y="166"/>
                  </a:lnTo>
                  <a:lnTo>
                    <a:pt x="241" y="15"/>
                  </a:lnTo>
                  <a:lnTo>
                    <a:pt x="241" y="12"/>
                  </a:lnTo>
                  <a:lnTo>
                    <a:pt x="240" y="8"/>
                  </a:lnTo>
                  <a:lnTo>
                    <a:pt x="239" y="6"/>
                  </a:lnTo>
                  <a:lnTo>
                    <a:pt x="237" y="4"/>
                  </a:lnTo>
                  <a:lnTo>
                    <a:pt x="235" y="2"/>
                  </a:lnTo>
                  <a:lnTo>
                    <a:pt x="233" y="1"/>
                  </a:lnTo>
                  <a:lnTo>
                    <a:pt x="230" y="0"/>
                  </a:lnTo>
                  <a:lnTo>
                    <a:pt x="2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1" name="Freeform 50">
              <a:extLst>
                <a:ext uri="{FF2B5EF4-FFF2-40B4-BE49-F238E27FC236}">
                  <a16:creationId xmlns:a16="http://schemas.microsoft.com/office/drawing/2014/main" id="{FCE30DF3-3101-46BA-98C9-012EB967B9D3}"/>
                </a:ext>
              </a:extLst>
            </p:cNvPr>
            <p:cNvSpPr>
              <a:spLocks noEditPoints="1"/>
            </p:cNvSpPr>
            <p:nvPr/>
          </p:nvSpPr>
          <p:spPr bwMode="auto">
            <a:xfrm>
              <a:off x="409575" y="841375"/>
              <a:ext cx="77788" cy="57150"/>
            </a:xfrm>
            <a:custGeom>
              <a:avLst/>
              <a:gdLst>
                <a:gd name="T0" fmla="*/ 213 w 243"/>
                <a:gd name="T1" fmla="*/ 152 h 182"/>
                <a:gd name="T2" fmla="*/ 32 w 243"/>
                <a:gd name="T3" fmla="*/ 152 h 182"/>
                <a:gd name="T4" fmla="*/ 32 w 243"/>
                <a:gd name="T5" fmla="*/ 30 h 182"/>
                <a:gd name="T6" fmla="*/ 213 w 243"/>
                <a:gd name="T7" fmla="*/ 30 h 182"/>
                <a:gd name="T8" fmla="*/ 213 w 243"/>
                <a:gd name="T9" fmla="*/ 152 h 182"/>
                <a:gd name="T10" fmla="*/ 228 w 243"/>
                <a:gd name="T11" fmla="*/ 0 h 182"/>
                <a:gd name="T12" fmla="*/ 15 w 243"/>
                <a:gd name="T13" fmla="*/ 0 h 182"/>
                <a:gd name="T14" fmla="*/ 13 w 243"/>
                <a:gd name="T15" fmla="*/ 0 h 182"/>
                <a:gd name="T16" fmla="*/ 10 w 243"/>
                <a:gd name="T17" fmla="*/ 1 h 182"/>
                <a:gd name="T18" fmla="*/ 8 w 243"/>
                <a:gd name="T19" fmla="*/ 3 h 182"/>
                <a:gd name="T20" fmla="*/ 6 w 243"/>
                <a:gd name="T21" fmla="*/ 5 h 182"/>
                <a:gd name="T22" fmla="*/ 4 w 243"/>
                <a:gd name="T23" fmla="*/ 7 h 182"/>
                <a:gd name="T24" fmla="*/ 2 w 243"/>
                <a:gd name="T25" fmla="*/ 10 h 182"/>
                <a:gd name="T26" fmla="*/ 2 w 243"/>
                <a:gd name="T27" fmla="*/ 12 h 182"/>
                <a:gd name="T28" fmla="*/ 0 w 243"/>
                <a:gd name="T29" fmla="*/ 15 h 182"/>
                <a:gd name="T30" fmla="*/ 0 w 243"/>
                <a:gd name="T31" fmla="*/ 167 h 182"/>
                <a:gd name="T32" fmla="*/ 2 w 243"/>
                <a:gd name="T33" fmla="*/ 170 h 182"/>
                <a:gd name="T34" fmla="*/ 2 w 243"/>
                <a:gd name="T35" fmla="*/ 173 h 182"/>
                <a:gd name="T36" fmla="*/ 4 w 243"/>
                <a:gd name="T37" fmla="*/ 175 h 182"/>
                <a:gd name="T38" fmla="*/ 6 w 243"/>
                <a:gd name="T39" fmla="*/ 177 h 182"/>
                <a:gd name="T40" fmla="*/ 8 w 243"/>
                <a:gd name="T41" fmla="*/ 179 h 182"/>
                <a:gd name="T42" fmla="*/ 10 w 243"/>
                <a:gd name="T43" fmla="*/ 180 h 182"/>
                <a:gd name="T44" fmla="*/ 13 w 243"/>
                <a:gd name="T45" fmla="*/ 182 h 182"/>
                <a:gd name="T46" fmla="*/ 15 w 243"/>
                <a:gd name="T47" fmla="*/ 182 h 182"/>
                <a:gd name="T48" fmla="*/ 228 w 243"/>
                <a:gd name="T49" fmla="*/ 182 h 182"/>
                <a:gd name="T50" fmla="*/ 231 w 243"/>
                <a:gd name="T51" fmla="*/ 182 h 182"/>
                <a:gd name="T52" fmla="*/ 233 w 243"/>
                <a:gd name="T53" fmla="*/ 180 h 182"/>
                <a:gd name="T54" fmla="*/ 236 w 243"/>
                <a:gd name="T55" fmla="*/ 179 h 182"/>
                <a:gd name="T56" fmla="*/ 239 w 243"/>
                <a:gd name="T57" fmla="*/ 177 h 182"/>
                <a:gd name="T58" fmla="*/ 241 w 243"/>
                <a:gd name="T59" fmla="*/ 175 h 182"/>
                <a:gd name="T60" fmla="*/ 242 w 243"/>
                <a:gd name="T61" fmla="*/ 173 h 182"/>
                <a:gd name="T62" fmla="*/ 243 w 243"/>
                <a:gd name="T63" fmla="*/ 170 h 182"/>
                <a:gd name="T64" fmla="*/ 243 w 243"/>
                <a:gd name="T65" fmla="*/ 167 h 182"/>
                <a:gd name="T66" fmla="*/ 243 w 243"/>
                <a:gd name="T67" fmla="*/ 15 h 182"/>
                <a:gd name="T68" fmla="*/ 243 w 243"/>
                <a:gd name="T69" fmla="*/ 12 h 182"/>
                <a:gd name="T70" fmla="*/ 242 w 243"/>
                <a:gd name="T71" fmla="*/ 10 h 182"/>
                <a:gd name="T72" fmla="*/ 241 w 243"/>
                <a:gd name="T73" fmla="*/ 7 h 182"/>
                <a:gd name="T74" fmla="*/ 239 w 243"/>
                <a:gd name="T75" fmla="*/ 5 h 182"/>
                <a:gd name="T76" fmla="*/ 236 w 243"/>
                <a:gd name="T77" fmla="*/ 4 h 182"/>
                <a:gd name="T78" fmla="*/ 233 w 243"/>
                <a:gd name="T79" fmla="*/ 1 h 182"/>
                <a:gd name="T80" fmla="*/ 231 w 243"/>
                <a:gd name="T81" fmla="*/ 0 h 182"/>
                <a:gd name="T82" fmla="*/ 228 w 243"/>
                <a:gd name="T8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3" h="182">
                  <a:moveTo>
                    <a:pt x="213" y="152"/>
                  </a:moveTo>
                  <a:lnTo>
                    <a:pt x="32" y="152"/>
                  </a:lnTo>
                  <a:lnTo>
                    <a:pt x="32" y="30"/>
                  </a:lnTo>
                  <a:lnTo>
                    <a:pt x="213" y="30"/>
                  </a:lnTo>
                  <a:lnTo>
                    <a:pt x="213" y="152"/>
                  </a:lnTo>
                  <a:close/>
                  <a:moveTo>
                    <a:pt x="228" y="0"/>
                  </a:moveTo>
                  <a:lnTo>
                    <a:pt x="15" y="0"/>
                  </a:lnTo>
                  <a:lnTo>
                    <a:pt x="13" y="0"/>
                  </a:lnTo>
                  <a:lnTo>
                    <a:pt x="10" y="1"/>
                  </a:lnTo>
                  <a:lnTo>
                    <a:pt x="8" y="3"/>
                  </a:lnTo>
                  <a:lnTo>
                    <a:pt x="6" y="5"/>
                  </a:lnTo>
                  <a:lnTo>
                    <a:pt x="4" y="7"/>
                  </a:lnTo>
                  <a:lnTo>
                    <a:pt x="2" y="10"/>
                  </a:lnTo>
                  <a:lnTo>
                    <a:pt x="2" y="12"/>
                  </a:lnTo>
                  <a:lnTo>
                    <a:pt x="0" y="15"/>
                  </a:lnTo>
                  <a:lnTo>
                    <a:pt x="0" y="167"/>
                  </a:lnTo>
                  <a:lnTo>
                    <a:pt x="2" y="170"/>
                  </a:lnTo>
                  <a:lnTo>
                    <a:pt x="2" y="173"/>
                  </a:lnTo>
                  <a:lnTo>
                    <a:pt x="4" y="175"/>
                  </a:lnTo>
                  <a:lnTo>
                    <a:pt x="6" y="177"/>
                  </a:lnTo>
                  <a:lnTo>
                    <a:pt x="8" y="179"/>
                  </a:lnTo>
                  <a:lnTo>
                    <a:pt x="10" y="180"/>
                  </a:lnTo>
                  <a:lnTo>
                    <a:pt x="13" y="182"/>
                  </a:lnTo>
                  <a:lnTo>
                    <a:pt x="15" y="182"/>
                  </a:lnTo>
                  <a:lnTo>
                    <a:pt x="228" y="182"/>
                  </a:lnTo>
                  <a:lnTo>
                    <a:pt x="231" y="182"/>
                  </a:lnTo>
                  <a:lnTo>
                    <a:pt x="233" y="180"/>
                  </a:lnTo>
                  <a:lnTo>
                    <a:pt x="236" y="179"/>
                  </a:lnTo>
                  <a:lnTo>
                    <a:pt x="239" y="177"/>
                  </a:lnTo>
                  <a:lnTo>
                    <a:pt x="241" y="175"/>
                  </a:lnTo>
                  <a:lnTo>
                    <a:pt x="242" y="173"/>
                  </a:lnTo>
                  <a:lnTo>
                    <a:pt x="243" y="170"/>
                  </a:lnTo>
                  <a:lnTo>
                    <a:pt x="243" y="167"/>
                  </a:lnTo>
                  <a:lnTo>
                    <a:pt x="243" y="15"/>
                  </a:lnTo>
                  <a:lnTo>
                    <a:pt x="243" y="12"/>
                  </a:lnTo>
                  <a:lnTo>
                    <a:pt x="242" y="10"/>
                  </a:lnTo>
                  <a:lnTo>
                    <a:pt x="241" y="7"/>
                  </a:lnTo>
                  <a:lnTo>
                    <a:pt x="239" y="5"/>
                  </a:lnTo>
                  <a:lnTo>
                    <a:pt x="236" y="4"/>
                  </a:lnTo>
                  <a:lnTo>
                    <a:pt x="233" y="1"/>
                  </a:lnTo>
                  <a:lnTo>
                    <a:pt x="231" y="0"/>
                  </a:lnTo>
                  <a:lnTo>
                    <a:pt x="2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2" name="Freeform 51">
              <a:extLst>
                <a:ext uri="{FF2B5EF4-FFF2-40B4-BE49-F238E27FC236}">
                  <a16:creationId xmlns:a16="http://schemas.microsoft.com/office/drawing/2014/main" id="{35AAA1E5-CA4E-46A7-A78F-4D76473F7BD9}"/>
                </a:ext>
              </a:extLst>
            </p:cNvPr>
            <p:cNvSpPr>
              <a:spLocks noEditPoints="1"/>
            </p:cNvSpPr>
            <p:nvPr/>
          </p:nvSpPr>
          <p:spPr bwMode="auto">
            <a:xfrm>
              <a:off x="304800" y="822325"/>
              <a:ext cx="287338" cy="249238"/>
            </a:xfrm>
            <a:custGeom>
              <a:avLst/>
              <a:gdLst>
                <a:gd name="T0" fmla="*/ 517 w 907"/>
                <a:gd name="T1" fmla="*/ 684 h 786"/>
                <a:gd name="T2" fmla="*/ 538 w 907"/>
                <a:gd name="T3" fmla="*/ 666 h 786"/>
                <a:gd name="T4" fmla="*/ 864 w 907"/>
                <a:gd name="T5" fmla="*/ 670 h 786"/>
                <a:gd name="T6" fmla="*/ 877 w 907"/>
                <a:gd name="T7" fmla="*/ 696 h 786"/>
                <a:gd name="T8" fmla="*/ 550 w 907"/>
                <a:gd name="T9" fmla="*/ 407 h 786"/>
                <a:gd name="T10" fmla="*/ 575 w 907"/>
                <a:gd name="T11" fmla="*/ 393 h 786"/>
                <a:gd name="T12" fmla="*/ 839 w 907"/>
                <a:gd name="T13" fmla="*/ 402 h 786"/>
                <a:gd name="T14" fmla="*/ 847 w 907"/>
                <a:gd name="T15" fmla="*/ 635 h 786"/>
                <a:gd name="T16" fmla="*/ 375 w 907"/>
                <a:gd name="T17" fmla="*/ 381 h 786"/>
                <a:gd name="T18" fmla="*/ 341 w 907"/>
                <a:gd name="T19" fmla="*/ 364 h 786"/>
                <a:gd name="T20" fmla="*/ 275 w 907"/>
                <a:gd name="T21" fmla="*/ 321 h 786"/>
                <a:gd name="T22" fmla="*/ 296 w 907"/>
                <a:gd name="T23" fmla="*/ 303 h 786"/>
                <a:gd name="T24" fmla="*/ 622 w 907"/>
                <a:gd name="T25" fmla="*/ 308 h 786"/>
                <a:gd name="T26" fmla="*/ 636 w 907"/>
                <a:gd name="T27" fmla="*/ 333 h 786"/>
                <a:gd name="T28" fmla="*/ 551 w 907"/>
                <a:gd name="T29" fmla="*/ 368 h 786"/>
                <a:gd name="T30" fmla="*/ 523 w 907"/>
                <a:gd name="T31" fmla="*/ 393 h 786"/>
                <a:gd name="T32" fmla="*/ 63 w 907"/>
                <a:gd name="T33" fmla="*/ 412 h 786"/>
                <a:gd name="T34" fmla="*/ 85 w 907"/>
                <a:gd name="T35" fmla="*/ 394 h 786"/>
                <a:gd name="T36" fmla="*/ 350 w 907"/>
                <a:gd name="T37" fmla="*/ 398 h 786"/>
                <a:gd name="T38" fmla="*/ 364 w 907"/>
                <a:gd name="T39" fmla="*/ 424 h 786"/>
                <a:gd name="T40" fmla="*/ 30 w 907"/>
                <a:gd name="T41" fmla="*/ 696 h 786"/>
                <a:gd name="T42" fmla="*/ 44 w 907"/>
                <a:gd name="T43" fmla="*/ 670 h 786"/>
                <a:gd name="T44" fmla="*/ 369 w 907"/>
                <a:gd name="T45" fmla="*/ 666 h 786"/>
                <a:gd name="T46" fmla="*/ 391 w 907"/>
                <a:gd name="T47" fmla="*/ 684 h 786"/>
                <a:gd name="T48" fmla="*/ 304 w 907"/>
                <a:gd name="T49" fmla="*/ 54 h 786"/>
                <a:gd name="T50" fmla="*/ 321 w 907"/>
                <a:gd name="T51" fmla="*/ 33 h 786"/>
                <a:gd name="T52" fmla="*/ 587 w 907"/>
                <a:gd name="T53" fmla="*/ 33 h 786"/>
                <a:gd name="T54" fmla="*/ 605 w 907"/>
                <a:gd name="T55" fmla="*/ 54 h 786"/>
                <a:gd name="T56" fmla="*/ 877 w 907"/>
                <a:gd name="T57" fmla="*/ 644 h 786"/>
                <a:gd name="T58" fmla="*/ 873 w 907"/>
                <a:gd name="T59" fmla="*/ 400 h 786"/>
                <a:gd name="T60" fmla="*/ 856 w 907"/>
                <a:gd name="T61" fmla="*/ 377 h 786"/>
                <a:gd name="T62" fmla="*/ 829 w 907"/>
                <a:gd name="T63" fmla="*/ 364 h 786"/>
                <a:gd name="T64" fmla="*/ 665 w 907"/>
                <a:gd name="T65" fmla="*/ 324 h 786"/>
                <a:gd name="T66" fmla="*/ 648 w 907"/>
                <a:gd name="T67" fmla="*/ 290 h 786"/>
                <a:gd name="T68" fmla="*/ 634 w 907"/>
                <a:gd name="T69" fmla="*/ 49 h 786"/>
                <a:gd name="T70" fmla="*/ 622 w 907"/>
                <a:gd name="T71" fmla="*/ 22 h 786"/>
                <a:gd name="T72" fmla="*/ 598 w 907"/>
                <a:gd name="T73" fmla="*/ 5 h 786"/>
                <a:gd name="T74" fmla="*/ 332 w 907"/>
                <a:gd name="T75" fmla="*/ 0 h 786"/>
                <a:gd name="T76" fmla="*/ 304 w 907"/>
                <a:gd name="T77" fmla="*/ 7 h 786"/>
                <a:gd name="T78" fmla="*/ 283 w 907"/>
                <a:gd name="T79" fmla="*/ 27 h 786"/>
                <a:gd name="T80" fmla="*/ 272 w 907"/>
                <a:gd name="T81" fmla="*/ 54 h 786"/>
                <a:gd name="T82" fmla="*/ 255 w 907"/>
                <a:gd name="T83" fmla="*/ 296 h 786"/>
                <a:gd name="T84" fmla="*/ 242 w 907"/>
                <a:gd name="T85" fmla="*/ 333 h 786"/>
                <a:gd name="T86" fmla="*/ 73 w 907"/>
                <a:gd name="T87" fmla="*/ 366 h 786"/>
                <a:gd name="T88" fmla="*/ 48 w 907"/>
                <a:gd name="T89" fmla="*/ 381 h 786"/>
                <a:gd name="T90" fmla="*/ 33 w 907"/>
                <a:gd name="T91" fmla="*/ 406 h 786"/>
                <a:gd name="T92" fmla="*/ 24 w 907"/>
                <a:gd name="T93" fmla="*/ 648 h 786"/>
                <a:gd name="T94" fmla="*/ 2 w 907"/>
                <a:gd name="T95" fmla="*/ 680 h 786"/>
                <a:gd name="T96" fmla="*/ 1 w 907"/>
                <a:gd name="T97" fmla="*/ 778 h 786"/>
                <a:gd name="T98" fmla="*/ 12 w 907"/>
                <a:gd name="T99" fmla="*/ 786 h 786"/>
                <a:gd name="T100" fmla="*/ 417 w 907"/>
                <a:gd name="T101" fmla="*/ 784 h 786"/>
                <a:gd name="T102" fmla="*/ 424 w 907"/>
                <a:gd name="T103" fmla="*/ 771 h 786"/>
                <a:gd name="T104" fmla="*/ 415 w 907"/>
                <a:gd name="T105" fmla="*/ 665 h 786"/>
                <a:gd name="T106" fmla="*/ 394 w 907"/>
                <a:gd name="T107" fmla="*/ 424 h 786"/>
                <a:gd name="T108" fmla="*/ 497 w 907"/>
                <a:gd name="T109" fmla="*/ 659 h 786"/>
                <a:gd name="T110" fmla="*/ 484 w 907"/>
                <a:gd name="T111" fmla="*/ 696 h 786"/>
                <a:gd name="T112" fmla="*/ 489 w 907"/>
                <a:gd name="T113" fmla="*/ 782 h 786"/>
                <a:gd name="T114" fmla="*/ 892 w 907"/>
                <a:gd name="T115" fmla="*/ 786 h 786"/>
                <a:gd name="T116" fmla="*/ 905 w 907"/>
                <a:gd name="T117" fmla="*/ 780 h 786"/>
                <a:gd name="T118" fmla="*/ 907 w 907"/>
                <a:gd name="T119" fmla="*/ 688 h 786"/>
                <a:gd name="T120" fmla="*/ 890 w 907"/>
                <a:gd name="T121" fmla="*/ 65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7" h="786">
                  <a:moveTo>
                    <a:pt x="877" y="756"/>
                  </a:moveTo>
                  <a:lnTo>
                    <a:pt x="515" y="756"/>
                  </a:lnTo>
                  <a:lnTo>
                    <a:pt x="515" y="696"/>
                  </a:lnTo>
                  <a:lnTo>
                    <a:pt x="515" y="690"/>
                  </a:lnTo>
                  <a:lnTo>
                    <a:pt x="517" y="684"/>
                  </a:lnTo>
                  <a:lnTo>
                    <a:pt x="520" y="679"/>
                  </a:lnTo>
                  <a:lnTo>
                    <a:pt x="523" y="675"/>
                  </a:lnTo>
                  <a:lnTo>
                    <a:pt x="528" y="670"/>
                  </a:lnTo>
                  <a:lnTo>
                    <a:pt x="533" y="668"/>
                  </a:lnTo>
                  <a:lnTo>
                    <a:pt x="538" y="666"/>
                  </a:lnTo>
                  <a:lnTo>
                    <a:pt x="545" y="665"/>
                  </a:lnTo>
                  <a:lnTo>
                    <a:pt x="847" y="665"/>
                  </a:lnTo>
                  <a:lnTo>
                    <a:pt x="854" y="666"/>
                  </a:lnTo>
                  <a:lnTo>
                    <a:pt x="859" y="668"/>
                  </a:lnTo>
                  <a:lnTo>
                    <a:pt x="864" y="670"/>
                  </a:lnTo>
                  <a:lnTo>
                    <a:pt x="869" y="675"/>
                  </a:lnTo>
                  <a:lnTo>
                    <a:pt x="872" y="679"/>
                  </a:lnTo>
                  <a:lnTo>
                    <a:pt x="875" y="684"/>
                  </a:lnTo>
                  <a:lnTo>
                    <a:pt x="877" y="690"/>
                  </a:lnTo>
                  <a:lnTo>
                    <a:pt x="877" y="696"/>
                  </a:lnTo>
                  <a:lnTo>
                    <a:pt x="877" y="756"/>
                  </a:lnTo>
                  <a:close/>
                  <a:moveTo>
                    <a:pt x="545" y="424"/>
                  </a:moveTo>
                  <a:lnTo>
                    <a:pt x="545" y="417"/>
                  </a:lnTo>
                  <a:lnTo>
                    <a:pt x="547" y="412"/>
                  </a:lnTo>
                  <a:lnTo>
                    <a:pt x="550" y="407"/>
                  </a:lnTo>
                  <a:lnTo>
                    <a:pt x="553" y="402"/>
                  </a:lnTo>
                  <a:lnTo>
                    <a:pt x="558" y="398"/>
                  </a:lnTo>
                  <a:lnTo>
                    <a:pt x="563" y="396"/>
                  </a:lnTo>
                  <a:lnTo>
                    <a:pt x="568" y="394"/>
                  </a:lnTo>
                  <a:lnTo>
                    <a:pt x="575" y="393"/>
                  </a:lnTo>
                  <a:lnTo>
                    <a:pt x="817" y="393"/>
                  </a:lnTo>
                  <a:lnTo>
                    <a:pt x="823" y="394"/>
                  </a:lnTo>
                  <a:lnTo>
                    <a:pt x="829" y="396"/>
                  </a:lnTo>
                  <a:lnTo>
                    <a:pt x="834" y="398"/>
                  </a:lnTo>
                  <a:lnTo>
                    <a:pt x="839" y="402"/>
                  </a:lnTo>
                  <a:lnTo>
                    <a:pt x="842" y="407"/>
                  </a:lnTo>
                  <a:lnTo>
                    <a:pt x="845" y="412"/>
                  </a:lnTo>
                  <a:lnTo>
                    <a:pt x="846" y="417"/>
                  </a:lnTo>
                  <a:lnTo>
                    <a:pt x="847" y="424"/>
                  </a:lnTo>
                  <a:lnTo>
                    <a:pt x="847" y="635"/>
                  </a:lnTo>
                  <a:lnTo>
                    <a:pt x="545" y="635"/>
                  </a:lnTo>
                  <a:lnTo>
                    <a:pt x="545" y="424"/>
                  </a:lnTo>
                  <a:close/>
                  <a:moveTo>
                    <a:pt x="385" y="393"/>
                  </a:moveTo>
                  <a:lnTo>
                    <a:pt x="381" y="386"/>
                  </a:lnTo>
                  <a:lnTo>
                    <a:pt x="375" y="381"/>
                  </a:lnTo>
                  <a:lnTo>
                    <a:pt x="370" y="376"/>
                  </a:lnTo>
                  <a:lnTo>
                    <a:pt x="364" y="371"/>
                  </a:lnTo>
                  <a:lnTo>
                    <a:pt x="356" y="368"/>
                  </a:lnTo>
                  <a:lnTo>
                    <a:pt x="349" y="365"/>
                  </a:lnTo>
                  <a:lnTo>
                    <a:pt x="341" y="364"/>
                  </a:lnTo>
                  <a:lnTo>
                    <a:pt x="332" y="363"/>
                  </a:lnTo>
                  <a:lnTo>
                    <a:pt x="272" y="363"/>
                  </a:lnTo>
                  <a:lnTo>
                    <a:pt x="272" y="333"/>
                  </a:lnTo>
                  <a:lnTo>
                    <a:pt x="273" y="326"/>
                  </a:lnTo>
                  <a:lnTo>
                    <a:pt x="275" y="321"/>
                  </a:lnTo>
                  <a:lnTo>
                    <a:pt x="278" y="316"/>
                  </a:lnTo>
                  <a:lnTo>
                    <a:pt x="281" y="311"/>
                  </a:lnTo>
                  <a:lnTo>
                    <a:pt x="285" y="308"/>
                  </a:lnTo>
                  <a:lnTo>
                    <a:pt x="291" y="305"/>
                  </a:lnTo>
                  <a:lnTo>
                    <a:pt x="296" y="303"/>
                  </a:lnTo>
                  <a:lnTo>
                    <a:pt x="302" y="303"/>
                  </a:lnTo>
                  <a:lnTo>
                    <a:pt x="605" y="303"/>
                  </a:lnTo>
                  <a:lnTo>
                    <a:pt x="611" y="303"/>
                  </a:lnTo>
                  <a:lnTo>
                    <a:pt x="617" y="305"/>
                  </a:lnTo>
                  <a:lnTo>
                    <a:pt x="622" y="308"/>
                  </a:lnTo>
                  <a:lnTo>
                    <a:pt x="626" y="311"/>
                  </a:lnTo>
                  <a:lnTo>
                    <a:pt x="631" y="316"/>
                  </a:lnTo>
                  <a:lnTo>
                    <a:pt x="633" y="321"/>
                  </a:lnTo>
                  <a:lnTo>
                    <a:pt x="635" y="326"/>
                  </a:lnTo>
                  <a:lnTo>
                    <a:pt x="636" y="333"/>
                  </a:lnTo>
                  <a:lnTo>
                    <a:pt x="636" y="363"/>
                  </a:lnTo>
                  <a:lnTo>
                    <a:pt x="575" y="363"/>
                  </a:lnTo>
                  <a:lnTo>
                    <a:pt x="566" y="364"/>
                  </a:lnTo>
                  <a:lnTo>
                    <a:pt x="559" y="365"/>
                  </a:lnTo>
                  <a:lnTo>
                    <a:pt x="551" y="368"/>
                  </a:lnTo>
                  <a:lnTo>
                    <a:pt x="545" y="371"/>
                  </a:lnTo>
                  <a:lnTo>
                    <a:pt x="538" y="376"/>
                  </a:lnTo>
                  <a:lnTo>
                    <a:pt x="532" y="381"/>
                  </a:lnTo>
                  <a:lnTo>
                    <a:pt x="528" y="386"/>
                  </a:lnTo>
                  <a:lnTo>
                    <a:pt x="523" y="393"/>
                  </a:lnTo>
                  <a:lnTo>
                    <a:pt x="385" y="393"/>
                  </a:lnTo>
                  <a:close/>
                  <a:moveTo>
                    <a:pt x="60" y="635"/>
                  </a:moveTo>
                  <a:lnTo>
                    <a:pt x="60" y="424"/>
                  </a:lnTo>
                  <a:lnTo>
                    <a:pt x="61" y="417"/>
                  </a:lnTo>
                  <a:lnTo>
                    <a:pt x="63" y="412"/>
                  </a:lnTo>
                  <a:lnTo>
                    <a:pt x="65" y="407"/>
                  </a:lnTo>
                  <a:lnTo>
                    <a:pt x="70" y="402"/>
                  </a:lnTo>
                  <a:lnTo>
                    <a:pt x="74" y="398"/>
                  </a:lnTo>
                  <a:lnTo>
                    <a:pt x="79" y="396"/>
                  </a:lnTo>
                  <a:lnTo>
                    <a:pt x="85" y="394"/>
                  </a:lnTo>
                  <a:lnTo>
                    <a:pt x="91" y="393"/>
                  </a:lnTo>
                  <a:lnTo>
                    <a:pt x="332" y="393"/>
                  </a:lnTo>
                  <a:lnTo>
                    <a:pt x="339" y="394"/>
                  </a:lnTo>
                  <a:lnTo>
                    <a:pt x="344" y="396"/>
                  </a:lnTo>
                  <a:lnTo>
                    <a:pt x="350" y="398"/>
                  </a:lnTo>
                  <a:lnTo>
                    <a:pt x="354" y="402"/>
                  </a:lnTo>
                  <a:lnTo>
                    <a:pt x="358" y="407"/>
                  </a:lnTo>
                  <a:lnTo>
                    <a:pt x="360" y="412"/>
                  </a:lnTo>
                  <a:lnTo>
                    <a:pt x="363" y="417"/>
                  </a:lnTo>
                  <a:lnTo>
                    <a:pt x="364" y="424"/>
                  </a:lnTo>
                  <a:lnTo>
                    <a:pt x="364" y="635"/>
                  </a:lnTo>
                  <a:lnTo>
                    <a:pt x="60" y="635"/>
                  </a:lnTo>
                  <a:close/>
                  <a:moveTo>
                    <a:pt x="394" y="756"/>
                  </a:moveTo>
                  <a:lnTo>
                    <a:pt x="30" y="756"/>
                  </a:lnTo>
                  <a:lnTo>
                    <a:pt x="30" y="696"/>
                  </a:lnTo>
                  <a:lnTo>
                    <a:pt x="31" y="690"/>
                  </a:lnTo>
                  <a:lnTo>
                    <a:pt x="32" y="684"/>
                  </a:lnTo>
                  <a:lnTo>
                    <a:pt x="35" y="679"/>
                  </a:lnTo>
                  <a:lnTo>
                    <a:pt x="40" y="675"/>
                  </a:lnTo>
                  <a:lnTo>
                    <a:pt x="44" y="670"/>
                  </a:lnTo>
                  <a:lnTo>
                    <a:pt x="48" y="668"/>
                  </a:lnTo>
                  <a:lnTo>
                    <a:pt x="55" y="666"/>
                  </a:lnTo>
                  <a:lnTo>
                    <a:pt x="60" y="665"/>
                  </a:lnTo>
                  <a:lnTo>
                    <a:pt x="364" y="665"/>
                  </a:lnTo>
                  <a:lnTo>
                    <a:pt x="369" y="666"/>
                  </a:lnTo>
                  <a:lnTo>
                    <a:pt x="375" y="668"/>
                  </a:lnTo>
                  <a:lnTo>
                    <a:pt x="380" y="670"/>
                  </a:lnTo>
                  <a:lnTo>
                    <a:pt x="385" y="675"/>
                  </a:lnTo>
                  <a:lnTo>
                    <a:pt x="388" y="679"/>
                  </a:lnTo>
                  <a:lnTo>
                    <a:pt x="391" y="684"/>
                  </a:lnTo>
                  <a:lnTo>
                    <a:pt x="393" y="690"/>
                  </a:lnTo>
                  <a:lnTo>
                    <a:pt x="394" y="696"/>
                  </a:lnTo>
                  <a:lnTo>
                    <a:pt x="394" y="756"/>
                  </a:lnTo>
                  <a:close/>
                  <a:moveTo>
                    <a:pt x="302" y="60"/>
                  </a:moveTo>
                  <a:lnTo>
                    <a:pt x="304" y="54"/>
                  </a:lnTo>
                  <a:lnTo>
                    <a:pt x="305" y="49"/>
                  </a:lnTo>
                  <a:lnTo>
                    <a:pt x="308" y="43"/>
                  </a:lnTo>
                  <a:lnTo>
                    <a:pt x="311" y="39"/>
                  </a:lnTo>
                  <a:lnTo>
                    <a:pt x="316" y="36"/>
                  </a:lnTo>
                  <a:lnTo>
                    <a:pt x="321" y="33"/>
                  </a:lnTo>
                  <a:lnTo>
                    <a:pt x="327" y="30"/>
                  </a:lnTo>
                  <a:lnTo>
                    <a:pt x="332" y="30"/>
                  </a:lnTo>
                  <a:lnTo>
                    <a:pt x="575" y="30"/>
                  </a:lnTo>
                  <a:lnTo>
                    <a:pt x="581" y="30"/>
                  </a:lnTo>
                  <a:lnTo>
                    <a:pt x="587" y="33"/>
                  </a:lnTo>
                  <a:lnTo>
                    <a:pt x="592" y="36"/>
                  </a:lnTo>
                  <a:lnTo>
                    <a:pt x="596" y="39"/>
                  </a:lnTo>
                  <a:lnTo>
                    <a:pt x="600" y="43"/>
                  </a:lnTo>
                  <a:lnTo>
                    <a:pt x="603" y="49"/>
                  </a:lnTo>
                  <a:lnTo>
                    <a:pt x="605" y="54"/>
                  </a:lnTo>
                  <a:lnTo>
                    <a:pt x="605" y="60"/>
                  </a:lnTo>
                  <a:lnTo>
                    <a:pt x="605" y="273"/>
                  </a:lnTo>
                  <a:lnTo>
                    <a:pt x="302" y="273"/>
                  </a:lnTo>
                  <a:lnTo>
                    <a:pt x="302" y="60"/>
                  </a:lnTo>
                  <a:close/>
                  <a:moveTo>
                    <a:pt x="877" y="644"/>
                  </a:moveTo>
                  <a:lnTo>
                    <a:pt x="877" y="424"/>
                  </a:lnTo>
                  <a:lnTo>
                    <a:pt x="877" y="417"/>
                  </a:lnTo>
                  <a:lnTo>
                    <a:pt x="876" y="411"/>
                  </a:lnTo>
                  <a:lnTo>
                    <a:pt x="875" y="406"/>
                  </a:lnTo>
                  <a:lnTo>
                    <a:pt x="873" y="400"/>
                  </a:lnTo>
                  <a:lnTo>
                    <a:pt x="870" y="395"/>
                  </a:lnTo>
                  <a:lnTo>
                    <a:pt x="868" y="389"/>
                  </a:lnTo>
                  <a:lnTo>
                    <a:pt x="863" y="385"/>
                  </a:lnTo>
                  <a:lnTo>
                    <a:pt x="860" y="381"/>
                  </a:lnTo>
                  <a:lnTo>
                    <a:pt x="856" y="377"/>
                  </a:lnTo>
                  <a:lnTo>
                    <a:pt x="850" y="373"/>
                  </a:lnTo>
                  <a:lnTo>
                    <a:pt x="846" y="370"/>
                  </a:lnTo>
                  <a:lnTo>
                    <a:pt x="841" y="368"/>
                  </a:lnTo>
                  <a:lnTo>
                    <a:pt x="835" y="366"/>
                  </a:lnTo>
                  <a:lnTo>
                    <a:pt x="829" y="364"/>
                  </a:lnTo>
                  <a:lnTo>
                    <a:pt x="824" y="364"/>
                  </a:lnTo>
                  <a:lnTo>
                    <a:pt x="817" y="363"/>
                  </a:lnTo>
                  <a:lnTo>
                    <a:pt x="666" y="363"/>
                  </a:lnTo>
                  <a:lnTo>
                    <a:pt x="666" y="333"/>
                  </a:lnTo>
                  <a:lnTo>
                    <a:pt x="665" y="324"/>
                  </a:lnTo>
                  <a:lnTo>
                    <a:pt x="664" y="317"/>
                  </a:lnTo>
                  <a:lnTo>
                    <a:pt x="661" y="309"/>
                  </a:lnTo>
                  <a:lnTo>
                    <a:pt x="657" y="303"/>
                  </a:lnTo>
                  <a:lnTo>
                    <a:pt x="653" y="296"/>
                  </a:lnTo>
                  <a:lnTo>
                    <a:pt x="648" y="290"/>
                  </a:lnTo>
                  <a:lnTo>
                    <a:pt x="642" y="284"/>
                  </a:lnTo>
                  <a:lnTo>
                    <a:pt x="636" y="280"/>
                  </a:lnTo>
                  <a:lnTo>
                    <a:pt x="636" y="60"/>
                  </a:lnTo>
                  <a:lnTo>
                    <a:pt x="635" y="54"/>
                  </a:lnTo>
                  <a:lnTo>
                    <a:pt x="634" y="49"/>
                  </a:lnTo>
                  <a:lnTo>
                    <a:pt x="633" y="42"/>
                  </a:lnTo>
                  <a:lnTo>
                    <a:pt x="631" y="37"/>
                  </a:lnTo>
                  <a:lnTo>
                    <a:pt x="628" y="31"/>
                  </a:lnTo>
                  <a:lnTo>
                    <a:pt x="625" y="27"/>
                  </a:lnTo>
                  <a:lnTo>
                    <a:pt x="622" y="22"/>
                  </a:lnTo>
                  <a:lnTo>
                    <a:pt x="618" y="18"/>
                  </a:lnTo>
                  <a:lnTo>
                    <a:pt x="613" y="14"/>
                  </a:lnTo>
                  <a:lnTo>
                    <a:pt x="609" y="10"/>
                  </a:lnTo>
                  <a:lnTo>
                    <a:pt x="604" y="7"/>
                  </a:lnTo>
                  <a:lnTo>
                    <a:pt x="598" y="5"/>
                  </a:lnTo>
                  <a:lnTo>
                    <a:pt x="593" y="3"/>
                  </a:lnTo>
                  <a:lnTo>
                    <a:pt x="587" y="1"/>
                  </a:lnTo>
                  <a:lnTo>
                    <a:pt x="581" y="0"/>
                  </a:lnTo>
                  <a:lnTo>
                    <a:pt x="575" y="0"/>
                  </a:lnTo>
                  <a:lnTo>
                    <a:pt x="332" y="0"/>
                  </a:lnTo>
                  <a:lnTo>
                    <a:pt x="327" y="0"/>
                  </a:lnTo>
                  <a:lnTo>
                    <a:pt x="321" y="1"/>
                  </a:lnTo>
                  <a:lnTo>
                    <a:pt x="315" y="3"/>
                  </a:lnTo>
                  <a:lnTo>
                    <a:pt x="309" y="5"/>
                  </a:lnTo>
                  <a:lnTo>
                    <a:pt x="304" y="7"/>
                  </a:lnTo>
                  <a:lnTo>
                    <a:pt x="299" y="10"/>
                  </a:lnTo>
                  <a:lnTo>
                    <a:pt x="294" y="14"/>
                  </a:lnTo>
                  <a:lnTo>
                    <a:pt x="290" y="18"/>
                  </a:lnTo>
                  <a:lnTo>
                    <a:pt x="286" y="22"/>
                  </a:lnTo>
                  <a:lnTo>
                    <a:pt x="283" y="27"/>
                  </a:lnTo>
                  <a:lnTo>
                    <a:pt x="280" y="31"/>
                  </a:lnTo>
                  <a:lnTo>
                    <a:pt x="277" y="37"/>
                  </a:lnTo>
                  <a:lnTo>
                    <a:pt x="275" y="42"/>
                  </a:lnTo>
                  <a:lnTo>
                    <a:pt x="273" y="49"/>
                  </a:lnTo>
                  <a:lnTo>
                    <a:pt x="272" y="54"/>
                  </a:lnTo>
                  <a:lnTo>
                    <a:pt x="272" y="60"/>
                  </a:lnTo>
                  <a:lnTo>
                    <a:pt x="272" y="280"/>
                  </a:lnTo>
                  <a:lnTo>
                    <a:pt x="266" y="284"/>
                  </a:lnTo>
                  <a:lnTo>
                    <a:pt x="260" y="290"/>
                  </a:lnTo>
                  <a:lnTo>
                    <a:pt x="255" y="296"/>
                  </a:lnTo>
                  <a:lnTo>
                    <a:pt x="251" y="303"/>
                  </a:lnTo>
                  <a:lnTo>
                    <a:pt x="247" y="309"/>
                  </a:lnTo>
                  <a:lnTo>
                    <a:pt x="245" y="317"/>
                  </a:lnTo>
                  <a:lnTo>
                    <a:pt x="242" y="324"/>
                  </a:lnTo>
                  <a:lnTo>
                    <a:pt x="242" y="333"/>
                  </a:lnTo>
                  <a:lnTo>
                    <a:pt x="242" y="363"/>
                  </a:lnTo>
                  <a:lnTo>
                    <a:pt x="91" y="363"/>
                  </a:lnTo>
                  <a:lnTo>
                    <a:pt x="85" y="364"/>
                  </a:lnTo>
                  <a:lnTo>
                    <a:pt x="78" y="364"/>
                  </a:lnTo>
                  <a:lnTo>
                    <a:pt x="73" y="366"/>
                  </a:lnTo>
                  <a:lnTo>
                    <a:pt x="68" y="368"/>
                  </a:lnTo>
                  <a:lnTo>
                    <a:pt x="62" y="370"/>
                  </a:lnTo>
                  <a:lnTo>
                    <a:pt x="57" y="373"/>
                  </a:lnTo>
                  <a:lnTo>
                    <a:pt x="53" y="377"/>
                  </a:lnTo>
                  <a:lnTo>
                    <a:pt x="48" y="381"/>
                  </a:lnTo>
                  <a:lnTo>
                    <a:pt x="44" y="385"/>
                  </a:lnTo>
                  <a:lnTo>
                    <a:pt x="41" y="389"/>
                  </a:lnTo>
                  <a:lnTo>
                    <a:pt x="38" y="395"/>
                  </a:lnTo>
                  <a:lnTo>
                    <a:pt x="35" y="400"/>
                  </a:lnTo>
                  <a:lnTo>
                    <a:pt x="33" y="406"/>
                  </a:lnTo>
                  <a:lnTo>
                    <a:pt x="31" y="411"/>
                  </a:lnTo>
                  <a:lnTo>
                    <a:pt x="31" y="417"/>
                  </a:lnTo>
                  <a:lnTo>
                    <a:pt x="30" y="424"/>
                  </a:lnTo>
                  <a:lnTo>
                    <a:pt x="30" y="644"/>
                  </a:lnTo>
                  <a:lnTo>
                    <a:pt x="24" y="648"/>
                  </a:lnTo>
                  <a:lnTo>
                    <a:pt x="18" y="653"/>
                  </a:lnTo>
                  <a:lnTo>
                    <a:pt x="13" y="659"/>
                  </a:lnTo>
                  <a:lnTo>
                    <a:pt x="9" y="665"/>
                  </a:lnTo>
                  <a:lnTo>
                    <a:pt x="4" y="672"/>
                  </a:lnTo>
                  <a:lnTo>
                    <a:pt x="2" y="680"/>
                  </a:lnTo>
                  <a:lnTo>
                    <a:pt x="1" y="688"/>
                  </a:lnTo>
                  <a:lnTo>
                    <a:pt x="0" y="696"/>
                  </a:lnTo>
                  <a:lnTo>
                    <a:pt x="0" y="771"/>
                  </a:lnTo>
                  <a:lnTo>
                    <a:pt x="0" y="774"/>
                  </a:lnTo>
                  <a:lnTo>
                    <a:pt x="1" y="778"/>
                  </a:lnTo>
                  <a:lnTo>
                    <a:pt x="2" y="780"/>
                  </a:lnTo>
                  <a:lnTo>
                    <a:pt x="4" y="782"/>
                  </a:lnTo>
                  <a:lnTo>
                    <a:pt x="6" y="784"/>
                  </a:lnTo>
                  <a:lnTo>
                    <a:pt x="10" y="785"/>
                  </a:lnTo>
                  <a:lnTo>
                    <a:pt x="12" y="786"/>
                  </a:lnTo>
                  <a:lnTo>
                    <a:pt x="15" y="786"/>
                  </a:lnTo>
                  <a:lnTo>
                    <a:pt x="409" y="786"/>
                  </a:lnTo>
                  <a:lnTo>
                    <a:pt x="412" y="786"/>
                  </a:lnTo>
                  <a:lnTo>
                    <a:pt x="414" y="785"/>
                  </a:lnTo>
                  <a:lnTo>
                    <a:pt x="417" y="784"/>
                  </a:lnTo>
                  <a:lnTo>
                    <a:pt x="419" y="782"/>
                  </a:lnTo>
                  <a:lnTo>
                    <a:pt x="421" y="780"/>
                  </a:lnTo>
                  <a:lnTo>
                    <a:pt x="423" y="778"/>
                  </a:lnTo>
                  <a:lnTo>
                    <a:pt x="424" y="774"/>
                  </a:lnTo>
                  <a:lnTo>
                    <a:pt x="424" y="771"/>
                  </a:lnTo>
                  <a:lnTo>
                    <a:pt x="424" y="696"/>
                  </a:lnTo>
                  <a:lnTo>
                    <a:pt x="423" y="688"/>
                  </a:lnTo>
                  <a:lnTo>
                    <a:pt x="421" y="680"/>
                  </a:lnTo>
                  <a:lnTo>
                    <a:pt x="419" y="672"/>
                  </a:lnTo>
                  <a:lnTo>
                    <a:pt x="415" y="665"/>
                  </a:lnTo>
                  <a:lnTo>
                    <a:pt x="411" y="659"/>
                  </a:lnTo>
                  <a:lnTo>
                    <a:pt x="405" y="653"/>
                  </a:lnTo>
                  <a:lnTo>
                    <a:pt x="400" y="648"/>
                  </a:lnTo>
                  <a:lnTo>
                    <a:pt x="394" y="644"/>
                  </a:lnTo>
                  <a:lnTo>
                    <a:pt x="394" y="424"/>
                  </a:lnTo>
                  <a:lnTo>
                    <a:pt x="515" y="424"/>
                  </a:lnTo>
                  <a:lnTo>
                    <a:pt x="515" y="644"/>
                  </a:lnTo>
                  <a:lnTo>
                    <a:pt x="508" y="648"/>
                  </a:lnTo>
                  <a:lnTo>
                    <a:pt x="502" y="653"/>
                  </a:lnTo>
                  <a:lnTo>
                    <a:pt x="497" y="659"/>
                  </a:lnTo>
                  <a:lnTo>
                    <a:pt x="492" y="665"/>
                  </a:lnTo>
                  <a:lnTo>
                    <a:pt x="489" y="672"/>
                  </a:lnTo>
                  <a:lnTo>
                    <a:pt x="486" y="680"/>
                  </a:lnTo>
                  <a:lnTo>
                    <a:pt x="485" y="688"/>
                  </a:lnTo>
                  <a:lnTo>
                    <a:pt x="484" y="696"/>
                  </a:lnTo>
                  <a:lnTo>
                    <a:pt x="484" y="771"/>
                  </a:lnTo>
                  <a:lnTo>
                    <a:pt x="485" y="774"/>
                  </a:lnTo>
                  <a:lnTo>
                    <a:pt x="486" y="778"/>
                  </a:lnTo>
                  <a:lnTo>
                    <a:pt x="487" y="780"/>
                  </a:lnTo>
                  <a:lnTo>
                    <a:pt x="489" y="782"/>
                  </a:lnTo>
                  <a:lnTo>
                    <a:pt x="491" y="784"/>
                  </a:lnTo>
                  <a:lnTo>
                    <a:pt x="493" y="785"/>
                  </a:lnTo>
                  <a:lnTo>
                    <a:pt x="497" y="786"/>
                  </a:lnTo>
                  <a:lnTo>
                    <a:pt x="500" y="786"/>
                  </a:lnTo>
                  <a:lnTo>
                    <a:pt x="892" y="786"/>
                  </a:lnTo>
                  <a:lnTo>
                    <a:pt x="896" y="786"/>
                  </a:lnTo>
                  <a:lnTo>
                    <a:pt x="899" y="785"/>
                  </a:lnTo>
                  <a:lnTo>
                    <a:pt x="901" y="784"/>
                  </a:lnTo>
                  <a:lnTo>
                    <a:pt x="903" y="782"/>
                  </a:lnTo>
                  <a:lnTo>
                    <a:pt x="905" y="780"/>
                  </a:lnTo>
                  <a:lnTo>
                    <a:pt x="906" y="778"/>
                  </a:lnTo>
                  <a:lnTo>
                    <a:pt x="907" y="774"/>
                  </a:lnTo>
                  <a:lnTo>
                    <a:pt x="907" y="771"/>
                  </a:lnTo>
                  <a:lnTo>
                    <a:pt x="907" y="696"/>
                  </a:lnTo>
                  <a:lnTo>
                    <a:pt x="907" y="688"/>
                  </a:lnTo>
                  <a:lnTo>
                    <a:pt x="905" y="680"/>
                  </a:lnTo>
                  <a:lnTo>
                    <a:pt x="903" y="672"/>
                  </a:lnTo>
                  <a:lnTo>
                    <a:pt x="900" y="665"/>
                  </a:lnTo>
                  <a:lnTo>
                    <a:pt x="896" y="659"/>
                  </a:lnTo>
                  <a:lnTo>
                    <a:pt x="890" y="653"/>
                  </a:lnTo>
                  <a:lnTo>
                    <a:pt x="884" y="648"/>
                  </a:lnTo>
                  <a:lnTo>
                    <a:pt x="877" y="6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sp>
          <p:nvSpPr>
            <p:cNvPr id="1763" name="Freeform 52">
              <a:extLst>
                <a:ext uri="{FF2B5EF4-FFF2-40B4-BE49-F238E27FC236}">
                  <a16:creationId xmlns:a16="http://schemas.microsoft.com/office/drawing/2014/main" id="{3AAB79CE-84DF-4B0F-9D83-032B2C095581}"/>
                </a:ext>
              </a:extLst>
            </p:cNvPr>
            <p:cNvSpPr>
              <a:spLocks noEditPoints="1"/>
            </p:cNvSpPr>
            <p:nvPr/>
          </p:nvSpPr>
          <p:spPr bwMode="auto">
            <a:xfrm>
              <a:off x="487363" y="957263"/>
              <a:ext cx="76200" cy="57150"/>
            </a:xfrm>
            <a:custGeom>
              <a:avLst/>
              <a:gdLst>
                <a:gd name="T0" fmla="*/ 212 w 242"/>
                <a:gd name="T1" fmla="*/ 151 h 181"/>
                <a:gd name="T2" fmla="*/ 30 w 242"/>
                <a:gd name="T3" fmla="*/ 151 h 181"/>
                <a:gd name="T4" fmla="*/ 30 w 242"/>
                <a:gd name="T5" fmla="*/ 30 h 181"/>
                <a:gd name="T6" fmla="*/ 212 w 242"/>
                <a:gd name="T7" fmla="*/ 30 h 181"/>
                <a:gd name="T8" fmla="*/ 212 w 242"/>
                <a:gd name="T9" fmla="*/ 151 h 181"/>
                <a:gd name="T10" fmla="*/ 227 w 242"/>
                <a:gd name="T11" fmla="*/ 0 h 181"/>
                <a:gd name="T12" fmla="*/ 15 w 242"/>
                <a:gd name="T13" fmla="*/ 0 h 181"/>
                <a:gd name="T14" fmla="*/ 12 w 242"/>
                <a:gd name="T15" fmla="*/ 0 h 181"/>
                <a:gd name="T16" fmla="*/ 10 w 242"/>
                <a:gd name="T17" fmla="*/ 1 h 181"/>
                <a:gd name="T18" fmla="*/ 6 w 242"/>
                <a:gd name="T19" fmla="*/ 2 h 181"/>
                <a:gd name="T20" fmla="*/ 4 w 242"/>
                <a:gd name="T21" fmla="*/ 4 h 181"/>
                <a:gd name="T22" fmla="*/ 3 w 242"/>
                <a:gd name="T23" fmla="*/ 6 h 181"/>
                <a:gd name="T24" fmla="*/ 1 w 242"/>
                <a:gd name="T25" fmla="*/ 8 h 181"/>
                <a:gd name="T26" fmla="*/ 0 w 242"/>
                <a:gd name="T27" fmla="*/ 12 h 181"/>
                <a:gd name="T28" fmla="*/ 0 w 242"/>
                <a:gd name="T29" fmla="*/ 15 h 181"/>
                <a:gd name="T30" fmla="*/ 0 w 242"/>
                <a:gd name="T31" fmla="*/ 166 h 181"/>
                <a:gd name="T32" fmla="*/ 0 w 242"/>
                <a:gd name="T33" fmla="*/ 169 h 181"/>
                <a:gd name="T34" fmla="*/ 1 w 242"/>
                <a:gd name="T35" fmla="*/ 171 h 181"/>
                <a:gd name="T36" fmla="*/ 3 w 242"/>
                <a:gd name="T37" fmla="*/ 175 h 181"/>
                <a:gd name="T38" fmla="*/ 4 w 242"/>
                <a:gd name="T39" fmla="*/ 177 h 181"/>
                <a:gd name="T40" fmla="*/ 6 w 242"/>
                <a:gd name="T41" fmla="*/ 179 h 181"/>
                <a:gd name="T42" fmla="*/ 10 w 242"/>
                <a:gd name="T43" fmla="*/ 180 h 181"/>
                <a:gd name="T44" fmla="*/ 12 w 242"/>
                <a:gd name="T45" fmla="*/ 181 h 181"/>
                <a:gd name="T46" fmla="*/ 15 w 242"/>
                <a:gd name="T47" fmla="*/ 181 h 181"/>
                <a:gd name="T48" fmla="*/ 227 w 242"/>
                <a:gd name="T49" fmla="*/ 181 h 181"/>
                <a:gd name="T50" fmla="*/ 230 w 242"/>
                <a:gd name="T51" fmla="*/ 181 h 181"/>
                <a:gd name="T52" fmla="*/ 233 w 242"/>
                <a:gd name="T53" fmla="*/ 180 h 181"/>
                <a:gd name="T54" fmla="*/ 236 w 242"/>
                <a:gd name="T55" fmla="*/ 178 h 181"/>
                <a:gd name="T56" fmla="*/ 238 w 242"/>
                <a:gd name="T57" fmla="*/ 177 h 181"/>
                <a:gd name="T58" fmla="*/ 239 w 242"/>
                <a:gd name="T59" fmla="*/ 175 h 181"/>
                <a:gd name="T60" fmla="*/ 241 w 242"/>
                <a:gd name="T61" fmla="*/ 171 h 181"/>
                <a:gd name="T62" fmla="*/ 242 w 242"/>
                <a:gd name="T63" fmla="*/ 169 h 181"/>
                <a:gd name="T64" fmla="*/ 242 w 242"/>
                <a:gd name="T65" fmla="*/ 166 h 181"/>
                <a:gd name="T66" fmla="*/ 242 w 242"/>
                <a:gd name="T67" fmla="*/ 15 h 181"/>
                <a:gd name="T68" fmla="*/ 242 w 242"/>
                <a:gd name="T69" fmla="*/ 12 h 181"/>
                <a:gd name="T70" fmla="*/ 241 w 242"/>
                <a:gd name="T71" fmla="*/ 8 h 181"/>
                <a:gd name="T72" fmla="*/ 239 w 242"/>
                <a:gd name="T73" fmla="*/ 6 h 181"/>
                <a:gd name="T74" fmla="*/ 238 w 242"/>
                <a:gd name="T75" fmla="*/ 4 h 181"/>
                <a:gd name="T76" fmla="*/ 236 w 242"/>
                <a:gd name="T77" fmla="*/ 2 h 181"/>
                <a:gd name="T78" fmla="*/ 233 w 242"/>
                <a:gd name="T79" fmla="*/ 1 h 181"/>
                <a:gd name="T80" fmla="*/ 230 w 242"/>
                <a:gd name="T81" fmla="*/ 0 h 181"/>
                <a:gd name="T82" fmla="*/ 227 w 242"/>
                <a:gd name="T8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181">
                  <a:moveTo>
                    <a:pt x="212" y="151"/>
                  </a:moveTo>
                  <a:lnTo>
                    <a:pt x="30" y="151"/>
                  </a:lnTo>
                  <a:lnTo>
                    <a:pt x="30" y="30"/>
                  </a:lnTo>
                  <a:lnTo>
                    <a:pt x="212" y="30"/>
                  </a:lnTo>
                  <a:lnTo>
                    <a:pt x="212" y="151"/>
                  </a:lnTo>
                  <a:close/>
                  <a:moveTo>
                    <a:pt x="227" y="0"/>
                  </a:moveTo>
                  <a:lnTo>
                    <a:pt x="15" y="0"/>
                  </a:lnTo>
                  <a:lnTo>
                    <a:pt x="12" y="0"/>
                  </a:lnTo>
                  <a:lnTo>
                    <a:pt x="10" y="1"/>
                  </a:lnTo>
                  <a:lnTo>
                    <a:pt x="6" y="2"/>
                  </a:lnTo>
                  <a:lnTo>
                    <a:pt x="4" y="4"/>
                  </a:lnTo>
                  <a:lnTo>
                    <a:pt x="3" y="6"/>
                  </a:lnTo>
                  <a:lnTo>
                    <a:pt x="1" y="8"/>
                  </a:lnTo>
                  <a:lnTo>
                    <a:pt x="0" y="12"/>
                  </a:lnTo>
                  <a:lnTo>
                    <a:pt x="0" y="15"/>
                  </a:lnTo>
                  <a:lnTo>
                    <a:pt x="0" y="166"/>
                  </a:lnTo>
                  <a:lnTo>
                    <a:pt x="0" y="169"/>
                  </a:lnTo>
                  <a:lnTo>
                    <a:pt x="1" y="171"/>
                  </a:lnTo>
                  <a:lnTo>
                    <a:pt x="3" y="175"/>
                  </a:lnTo>
                  <a:lnTo>
                    <a:pt x="4" y="177"/>
                  </a:lnTo>
                  <a:lnTo>
                    <a:pt x="6" y="179"/>
                  </a:lnTo>
                  <a:lnTo>
                    <a:pt x="10" y="180"/>
                  </a:lnTo>
                  <a:lnTo>
                    <a:pt x="12" y="181"/>
                  </a:lnTo>
                  <a:lnTo>
                    <a:pt x="15" y="181"/>
                  </a:lnTo>
                  <a:lnTo>
                    <a:pt x="227" y="181"/>
                  </a:lnTo>
                  <a:lnTo>
                    <a:pt x="230" y="181"/>
                  </a:lnTo>
                  <a:lnTo>
                    <a:pt x="233" y="180"/>
                  </a:lnTo>
                  <a:lnTo>
                    <a:pt x="236" y="178"/>
                  </a:lnTo>
                  <a:lnTo>
                    <a:pt x="238" y="177"/>
                  </a:lnTo>
                  <a:lnTo>
                    <a:pt x="239" y="175"/>
                  </a:lnTo>
                  <a:lnTo>
                    <a:pt x="241" y="171"/>
                  </a:lnTo>
                  <a:lnTo>
                    <a:pt x="242" y="169"/>
                  </a:lnTo>
                  <a:lnTo>
                    <a:pt x="242" y="166"/>
                  </a:lnTo>
                  <a:lnTo>
                    <a:pt x="242" y="15"/>
                  </a:lnTo>
                  <a:lnTo>
                    <a:pt x="242" y="12"/>
                  </a:lnTo>
                  <a:lnTo>
                    <a:pt x="241" y="8"/>
                  </a:lnTo>
                  <a:lnTo>
                    <a:pt x="239" y="6"/>
                  </a:lnTo>
                  <a:lnTo>
                    <a:pt x="238" y="4"/>
                  </a:lnTo>
                  <a:lnTo>
                    <a:pt x="236" y="2"/>
                  </a:lnTo>
                  <a:lnTo>
                    <a:pt x="233" y="1"/>
                  </a:lnTo>
                  <a:lnTo>
                    <a:pt x="230" y="0"/>
                  </a:lnTo>
                  <a:lnTo>
                    <a:pt x="2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chemeClr val="tx2"/>
                </a:solidFill>
              </a:endParaRPr>
            </a:p>
          </p:txBody>
        </p:sp>
      </p:grpSp>
      <p:grpSp>
        <p:nvGrpSpPr>
          <p:cNvPr id="1792" name="Group 267">
            <a:extLst>
              <a:ext uri="{FF2B5EF4-FFF2-40B4-BE49-F238E27FC236}">
                <a16:creationId xmlns:a16="http://schemas.microsoft.com/office/drawing/2014/main" id="{0FB74F5F-B2A6-40E1-9A51-5B4C789214A1}"/>
              </a:ext>
            </a:extLst>
          </p:cNvPr>
          <p:cNvGrpSpPr>
            <a:grpSpLocks noChangeAspect="1"/>
          </p:cNvGrpSpPr>
          <p:nvPr/>
        </p:nvGrpSpPr>
        <p:grpSpPr>
          <a:xfrm>
            <a:off x="5768372" y="5429114"/>
            <a:ext cx="305900" cy="262545"/>
            <a:chOff x="8230640" y="2201241"/>
            <a:chExt cx="201613" cy="173038"/>
          </a:xfrm>
          <a:solidFill>
            <a:schemeClr val="bg1"/>
          </a:solidFill>
        </p:grpSpPr>
        <p:sp>
          <p:nvSpPr>
            <p:cNvPr id="1793" name="Freeform 27">
              <a:extLst>
                <a:ext uri="{FF2B5EF4-FFF2-40B4-BE49-F238E27FC236}">
                  <a16:creationId xmlns:a16="http://schemas.microsoft.com/office/drawing/2014/main" id="{8111A817-B1AB-44F7-8BBA-081457CE6062}"/>
                </a:ext>
              </a:extLst>
            </p:cNvPr>
            <p:cNvSpPr>
              <a:spLocks noEditPoints="1"/>
            </p:cNvSpPr>
            <p:nvPr/>
          </p:nvSpPr>
          <p:spPr bwMode="auto">
            <a:xfrm>
              <a:off x="8230640" y="2201241"/>
              <a:ext cx="201613" cy="173038"/>
            </a:xfrm>
            <a:custGeom>
              <a:avLst/>
              <a:gdLst>
                <a:gd name="T0" fmla="*/ 85 w 635"/>
                <a:gd name="T1" fmla="*/ 453 h 544"/>
                <a:gd name="T2" fmla="*/ 68 w 635"/>
                <a:gd name="T3" fmla="*/ 449 h 544"/>
                <a:gd name="T4" fmla="*/ 53 w 635"/>
                <a:gd name="T5" fmla="*/ 440 h 544"/>
                <a:gd name="T6" fmla="*/ 41 w 635"/>
                <a:gd name="T7" fmla="*/ 427 h 544"/>
                <a:gd name="T8" fmla="*/ 33 w 635"/>
                <a:gd name="T9" fmla="*/ 411 h 544"/>
                <a:gd name="T10" fmla="*/ 30 w 635"/>
                <a:gd name="T11" fmla="*/ 393 h 544"/>
                <a:gd name="T12" fmla="*/ 605 w 635"/>
                <a:gd name="T13" fmla="*/ 393 h 544"/>
                <a:gd name="T14" fmla="*/ 603 w 635"/>
                <a:gd name="T15" fmla="*/ 411 h 544"/>
                <a:gd name="T16" fmla="*/ 595 w 635"/>
                <a:gd name="T17" fmla="*/ 427 h 544"/>
                <a:gd name="T18" fmla="*/ 584 w 635"/>
                <a:gd name="T19" fmla="*/ 440 h 544"/>
                <a:gd name="T20" fmla="*/ 569 w 635"/>
                <a:gd name="T21" fmla="*/ 449 h 544"/>
                <a:gd name="T22" fmla="*/ 551 w 635"/>
                <a:gd name="T23" fmla="*/ 453 h 544"/>
                <a:gd name="T24" fmla="*/ 545 w 635"/>
                <a:gd name="T25" fmla="*/ 31 h 544"/>
                <a:gd name="T26" fmla="*/ 563 w 635"/>
                <a:gd name="T27" fmla="*/ 33 h 544"/>
                <a:gd name="T28" fmla="*/ 578 w 635"/>
                <a:gd name="T29" fmla="*/ 40 h 544"/>
                <a:gd name="T30" fmla="*/ 591 w 635"/>
                <a:gd name="T31" fmla="*/ 52 h 544"/>
                <a:gd name="T32" fmla="*/ 601 w 635"/>
                <a:gd name="T33" fmla="*/ 67 h 544"/>
                <a:gd name="T34" fmla="*/ 605 w 635"/>
                <a:gd name="T35" fmla="*/ 84 h 544"/>
                <a:gd name="T36" fmla="*/ 30 w 635"/>
                <a:gd name="T37" fmla="*/ 333 h 544"/>
                <a:gd name="T38" fmla="*/ 31 w 635"/>
                <a:gd name="T39" fmla="*/ 79 h 544"/>
                <a:gd name="T40" fmla="*/ 38 w 635"/>
                <a:gd name="T41" fmla="*/ 62 h 544"/>
                <a:gd name="T42" fmla="*/ 48 w 635"/>
                <a:gd name="T43" fmla="*/ 48 h 544"/>
                <a:gd name="T44" fmla="*/ 62 w 635"/>
                <a:gd name="T45" fmla="*/ 37 h 544"/>
                <a:gd name="T46" fmla="*/ 78 w 635"/>
                <a:gd name="T47" fmla="*/ 32 h 544"/>
                <a:gd name="T48" fmla="*/ 91 w 635"/>
                <a:gd name="T49" fmla="*/ 31 h 544"/>
                <a:gd name="T50" fmla="*/ 82 w 635"/>
                <a:gd name="T51" fmla="*/ 1 h 544"/>
                <a:gd name="T52" fmla="*/ 56 w 635"/>
                <a:gd name="T53" fmla="*/ 7 h 544"/>
                <a:gd name="T54" fmla="*/ 33 w 635"/>
                <a:gd name="T55" fmla="*/ 21 h 544"/>
                <a:gd name="T56" fmla="*/ 15 w 635"/>
                <a:gd name="T57" fmla="*/ 40 h 544"/>
                <a:gd name="T58" fmla="*/ 4 w 635"/>
                <a:gd name="T59" fmla="*/ 64 h 544"/>
                <a:gd name="T60" fmla="*/ 0 w 635"/>
                <a:gd name="T61" fmla="*/ 91 h 544"/>
                <a:gd name="T62" fmla="*/ 2 w 635"/>
                <a:gd name="T63" fmla="*/ 411 h 544"/>
                <a:gd name="T64" fmla="*/ 11 w 635"/>
                <a:gd name="T65" fmla="*/ 436 h 544"/>
                <a:gd name="T66" fmla="*/ 27 w 635"/>
                <a:gd name="T67" fmla="*/ 457 h 544"/>
                <a:gd name="T68" fmla="*/ 47 w 635"/>
                <a:gd name="T69" fmla="*/ 473 h 544"/>
                <a:gd name="T70" fmla="*/ 72 w 635"/>
                <a:gd name="T71" fmla="*/ 482 h 544"/>
                <a:gd name="T72" fmla="*/ 303 w 635"/>
                <a:gd name="T73" fmla="*/ 484 h 544"/>
                <a:gd name="T74" fmla="*/ 163 w 635"/>
                <a:gd name="T75" fmla="*/ 514 h 544"/>
                <a:gd name="T76" fmla="*/ 156 w 635"/>
                <a:gd name="T77" fmla="*/ 518 h 544"/>
                <a:gd name="T78" fmla="*/ 151 w 635"/>
                <a:gd name="T79" fmla="*/ 526 h 544"/>
                <a:gd name="T80" fmla="*/ 152 w 635"/>
                <a:gd name="T81" fmla="*/ 536 h 544"/>
                <a:gd name="T82" fmla="*/ 158 w 635"/>
                <a:gd name="T83" fmla="*/ 542 h 544"/>
                <a:gd name="T84" fmla="*/ 166 w 635"/>
                <a:gd name="T85" fmla="*/ 544 h 544"/>
                <a:gd name="T86" fmla="*/ 475 w 635"/>
                <a:gd name="T87" fmla="*/ 543 h 544"/>
                <a:gd name="T88" fmla="*/ 482 w 635"/>
                <a:gd name="T89" fmla="*/ 538 h 544"/>
                <a:gd name="T90" fmla="*/ 484 w 635"/>
                <a:gd name="T91" fmla="*/ 529 h 544"/>
                <a:gd name="T92" fmla="*/ 482 w 635"/>
                <a:gd name="T93" fmla="*/ 521 h 544"/>
                <a:gd name="T94" fmla="*/ 475 w 635"/>
                <a:gd name="T95" fmla="*/ 515 h 544"/>
                <a:gd name="T96" fmla="*/ 333 w 635"/>
                <a:gd name="T97" fmla="*/ 514 h 544"/>
                <a:gd name="T98" fmla="*/ 554 w 635"/>
                <a:gd name="T99" fmla="*/ 483 h 544"/>
                <a:gd name="T100" fmla="*/ 580 w 635"/>
                <a:gd name="T101" fmla="*/ 477 h 544"/>
                <a:gd name="T102" fmla="*/ 603 w 635"/>
                <a:gd name="T103" fmla="*/ 463 h 544"/>
                <a:gd name="T104" fmla="*/ 620 w 635"/>
                <a:gd name="T105" fmla="*/ 443 h 544"/>
                <a:gd name="T106" fmla="*/ 632 w 635"/>
                <a:gd name="T107" fmla="*/ 420 h 544"/>
                <a:gd name="T108" fmla="*/ 635 w 635"/>
                <a:gd name="T109" fmla="*/ 393 h 544"/>
                <a:gd name="T110" fmla="*/ 634 w 635"/>
                <a:gd name="T111" fmla="*/ 72 h 544"/>
                <a:gd name="T112" fmla="*/ 624 w 635"/>
                <a:gd name="T113" fmla="*/ 48 h 544"/>
                <a:gd name="T114" fmla="*/ 609 w 635"/>
                <a:gd name="T115" fmla="*/ 26 h 544"/>
                <a:gd name="T116" fmla="*/ 588 w 635"/>
                <a:gd name="T117" fmla="*/ 11 h 544"/>
                <a:gd name="T118" fmla="*/ 563 w 635"/>
                <a:gd name="T119" fmla="*/ 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5" h="544">
                  <a:moveTo>
                    <a:pt x="545" y="454"/>
                  </a:moveTo>
                  <a:lnTo>
                    <a:pt x="91" y="454"/>
                  </a:lnTo>
                  <a:lnTo>
                    <a:pt x="85" y="453"/>
                  </a:lnTo>
                  <a:lnTo>
                    <a:pt x="78" y="452"/>
                  </a:lnTo>
                  <a:lnTo>
                    <a:pt x="73" y="451"/>
                  </a:lnTo>
                  <a:lnTo>
                    <a:pt x="68" y="449"/>
                  </a:lnTo>
                  <a:lnTo>
                    <a:pt x="62" y="447"/>
                  </a:lnTo>
                  <a:lnTo>
                    <a:pt x="57" y="443"/>
                  </a:lnTo>
                  <a:lnTo>
                    <a:pt x="53" y="440"/>
                  </a:lnTo>
                  <a:lnTo>
                    <a:pt x="48" y="436"/>
                  </a:lnTo>
                  <a:lnTo>
                    <a:pt x="44" y="432"/>
                  </a:lnTo>
                  <a:lnTo>
                    <a:pt x="41" y="427"/>
                  </a:lnTo>
                  <a:lnTo>
                    <a:pt x="38" y="422"/>
                  </a:lnTo>
                  <a:lnTo>
                    <a:pt x="36" y="417"/>
                  </a:lnTo>
                  <a:lnTo>
                    <a:pt x="33" y="411"/>
                  </a:lnTo>
                  <a:lnTo>
                    <a:pt x="31" y="405"/>
                  </a:lnTo>
                  <a:lnTo>
                    <a:pt x="30" y="399"/>
                  </a:lnTo>
                  <a:lnTo>
                    <a:pt x="30" y="393"/>
                  </a:lnTo>
                  <a:lnTo>
                    <a:pt x="30" y="363"/>
                  </a:lnTo>
                  <a:lnTo>
                    <a:pt x="605" y="363"/>
                  </a:lnTo>
                  <a:lnTo>
                    <a:pt x="605" y="393"/>
                  </a:lnTo>
                  <a:lnTo>
                    <a:pt x="605" y="399"/>
                  </a:lnTo>
                  <a:lnTo>
                    <a:pt x="604" y="405"/>
                  </a:lnTo>
                  <a:lnTo>
                    <a:pt x="603" y="411"/>
                  </a:lnTo>
                  <a:lnTo>
                    <a:pt x="601" y="417"/>
                  </a:lnTo>
                  <a:lnTo>
                    <a:pt x="598" y="422"/>
                  </a:lnTo>
                  <a:lnTo>
                    <a:pt x="595" y="427"/>
                  </a:lnTo>
                  <a:lnTo>
                    <a:pt x="591" y="432"/>
                  </a:lnTo>
                  <a:lnTo>
                    <a:pt x="588" y="436"/>
                  </a:lnTo>
                  <a:lnTo>
                    <a:pt x="584" y="440"/>
                  </a:lnTo>
                  <a:lnTo>
                    <a:pt x="578" y="443"/>
                  </a:lnTo>
                  <a:lnTo>
                    <a:pt x="574" y="447"/>
                  </a:lnTo>
                  <a:lnTo>
                    <a:pt x="569" y="449"/>
                  </a:lnTo>
                  <a:lnTo>
                    <a:pt x="563" y="451"/>
                  </a:lnTo>
                  <a:lnTo>
                    <a:pt x="557" y="452"/>
                  </a:lnTo>
                  <a:lnTo>
                    <a:pt x="551" y="453"/>
                  </a:lnTo>
                  <a:lnTo>
                    <a:pt x="545" y="454"/>
                  </a:lnTo>
                  <a:close/>
                  <a:moveTo>
                    <a:pt x="91" y="31"/>
                  </a:moveTo>
                  <a:lnTo>
                    <a:pt x="545" y="31"/>
                  </a:lnTo>
                  <a:lnTo>
                    <a:pt x="551" y="31"/>
                  </a:lnTo>
                  <a:lnTo>
                    <a:pt x="557" y="32"/>
                  </a:lnTo>
                  <a:lnTo>
                    <a:pt x="563" y="33"/>
                  </a:lnTo>
                  <a:lnTo>
                    <a:pt x="569" y="35"/>
                  </a:lnTo>
                  <a:lnTo>
                    <a:pt x="574" y="37"/>
                  </a:lnTo>
                  <a:lnTo>
                    <a:pt x="578" y="40"/>
                  </a:lnTo>
                  <a:lnTo>
                    <a:pt x="584" y="44"/>
                  </a:lnTo>
                  <a:lnTo>
                    <a:pt x="588" y="48"/>
                  </a:lnTo>
                  <a:lnTo>
                    <a:pt x="591" y="52"/>
                  </a:lnTo>
                  <a:lnTo>
                    <a:pt x="595" y="56"/>
                  </a:lnTo>
                  <a:lnTo>
                    <a:pt x="598" y="62"/>
                  </a:lnTo>
                  <a:lnTo>
                    <a:pt x="601" y="67"/>
                  </a:lnTo>
                  <a:lnTo>
                    <a:pt x="603" y="72"/>
                  </a:lnTo>
                  <a:lnTo>
                    <a:pt x="604" y="79"/>
                  </a:lnTo>
                  <a:lnTo>
                    <a:pt x="605" y="84"/>
                  </a:lnTo>
                  <a:lnTo>
                    <a:pt x="605" y="91"/>
                  </a:lnTo>
                  <a:lnTo>
                    <a:pt x="605" y="333"/>
                  </a:lnTo>
                  <a:lnTo>
                    <a:pt x="30" y="333"/>
                  </a:lnTo>
                  <a:lnTo>
                    <a:pt x="30" y="91"/>
                  </a:lnTo>
                  <a:lnTo>
                    <a:pt x="30" y="84"/>
                  </a:lnTo>
                  <a:lnTo>
                    <a:pt x="31" y="79"/>
                  </a:lnTo>
                  <a:lnTo>
                    <a:pt x="33" y="72"/>
                  </a:lnTo>
                  <a:lnTo>
                    <a:pt x="36" y="67"/>
                  </a:lnTo>
                  <a:lnTo>
                    <a:pt x="38" y="62"/>
                  </a:lnTo>
                  <a:lnTo>
                    <a:pt x="41" y="56"/>
                  </a:lnTo>
                  <a:lnTo>
                    <a:pt x="44" y="52"/>
                  </a:lnTo>
                  <a:lnTo>
                    <a:pt x="48" y="48"/>
                  </a:lnTo>
                  <a:lnTo>
                    <a:pt x="53" y="44"/>
                  </a:lnTo>
                  <a:lnTo>
                    <a:pt x="57" y="40"/>
                  </a:lnTo>
                  <a:lnTo>
                    <a:pt x="62" y="37"/>
                  </a:lnTo>
                  <a:lnTo>
                    <a:pt x="68" y="35"/>
                  </a:lnTo>
                  <a:lnTo>
                    <a:pt x="73" y="33"/>
                  </a:lnTo>
                  <a:lnTo>
                    <a:pt x="78" y="32"/>
                  </a:lnTo>
                  <a:lnTo>
                    <a:pt x="85" y="31"/>
                  </a:lnTo>
                  <a:lnTo>
                    <a:pt x="91" y="31"/>
                  </a:lnTo>
                  <a:lnTo>
                    <a:pt x="91" y="31"/>
                  </a:lnTo>
                  <a:close/>
                  <a:moveTo>
                    <a:pt x="545" y="0"/>
                  </a:moveTo>
                  <a:lnTo>
                    <a:pt x="91" y="0"/>
                  </a:lnTo>
                  <a:lnTo>
                    <a:pt x="82" y="1"/>
                  </a:lnTo>
                  <a:lnTo>
                    <a:pt x="72" y="2"/>
                  </a:lnTo>
                  <a:lnTo>
                    <a:pt x="63" y="4"/>
                  </a:lnTo>
                  <a:lnTo>
                    <a:pt x="56" y="7"/>
                  </a:lnTo>
                  <a:lnTo>
                    <a:pt x="47" y="11"/>
                  </a:lnTo>
                  <a:lnTo>
                    <a:pt x="40" y="16"/>
                  </a:lnTo>
                  <a:lnTo>
                    <a:pt x="33" y="21"/>
                  </a:lnTo>
                  <a:lnTo>
                    <a:pt x="27" y="26"/>
                  </a:lnTo>
                  <a:lnTo>
                    <a:pt x="21" y="33"/>
                  </a:lnTo>
                  <a:lnTo>
                    <a:pt x="15" y="40"/>
                  </a:lnTo>
                  <a:lnTo>
                    <a:pt x="11" y="48"/>
                  </a:lnTo>
                  <a:lnTo>
                    <a:pt x="8" y="55"/>
                  </a:lnTo>
                  <a:lnTo>
                    <a:pt x="4" y="64"/>
                  </a:lnTo>
                  <a:lnTo>
                    <a:pt x="2" y="72"/>
                  </a:lnTo>
                  <a:lnTo>
                    <a:pt x="0" y="81"/>
                  </a:lnTo>
                  <a:lnTo>
                    <a:pt x="0" y="91"/>
                  </a:lnTo>
                  <a:lnTo>
                    <a:pt x="0" y="393"/>
                  </a:lnTo>
                  <a:lnTo>
                    <a:pt x="0" y="403"/>
                  </a:lnTo>
                  <a:lnTo>
                    <a:pt x="2" y="411"/>
                  </a:lnTo>
                  <a:lnTo>
                    <a:pt x="4" y="420"/>
                  </a:lnTo>
                  <a:lnTo>
                    <a:pt x="8" y="428"/>
                  </a:lnTo>
                  <a:lnTo>
                    <a:pt x="11" y="436"/>
                  </a:lnTo>
                  <a:lnTo>
                    <a:pt x="15" y="443"/>
                  </a:lnTo>
                  <a:lnTo>
                    <a:pt x="21" y="451"/>
                  </a:lnTo>
                  <a:lnTo>
                    <a:pt x="27" y="457"/>
                  </a:lnTo>
                  <a:lnTo>
                    <a:pt x="33" y="463"/>
                  </a:lnTo>
                  <a:lnTo>
                    <a:pt x="40" y="468"/>
                  </a:lnTo>
                  <a:lnTo>
                    <a:pt x="47" y="473"/>
                  </a:lnTo>
                  <a:lnTo>
                    <a:pt x="56" y="477"/>
                  </a:lnTo>
                  <a:lnTo>
                    <a:pt x="63" y="480"/>
                  </a:lnTo>
                  <a:lnTo>
                    <a:pt x="72" y="482"/>
                  </a:lnTo>
                  <a:lnTo>
                    <a:pt x="82" y="483"/>
                  </a:lnTo>
                  <a:lnTo>
                    <a:pt x="91" y="484"/>
                  </a:lnTo>
                  <a:lnTo>
                    <a:pt x="303" y="484"/>
                  </a:lnTo>
                  <a:lnTo>
                    <a:pt x="303" y="514"/>
                  </a:lnTo>
                  <a:lnTo>
                    <a:pt x="166" y="514"/>
                  </a:lnTo>
                  <a:lnTo>
                    <a:pt x="163" y="514"/>
                  </a:lnTo>
                  <a:lnTo>
                    <a:pt x="161" y="515"/>
                  </a:lnTo>
                  <a:lnTo>
                    <a:pt x="158" y="516"/>
                  </a:lnTo>
                  <a:lnTo>
                    <a:pt x="156" y="518"/>
                  </a:lnTo>
                  <a:lnTo>
                    <a:pt x="154" y="521"/>
                  </a:lnTo>
                  <a:lnTo>
                    <a:pt x="152" y="524"/>
                  </a:lnTo>
                  <a:lnTo>
                    <a:pt x="151" y="526"/>
                  </a:lnTo>
                  <a:lnTo>
                    <a:pt x="151" y="529"/>
                  </a:lnTo>
                  <a:lnTo>
                    <a:pt x="151" y="532"/>
                  </a:lnTo>
                  <a:lnTo>
                    <a:pt x="152" y="536"/>
                  </a:lnTo>
                  <a:lnTo>
                    <a:pt x="154" y="538"/>
                  </a:lnTo>
                  <a:lnTo>
                    <a:pt x="156" y="540"/>
                  </a:lnTo>
                  <a:lnTo>
                    <a:pt x="158" y="542"/>
                  </a:lnTo>
                  <a:lnTo>
                    <a:pt x="161" y="543"/>
                  </a:lnTo>
                  <a:lnTo>
                    <a:pt x="163" y="544"/>
                  </a:lnTo>
                  <a:lnTo>
                    <a:pt x="166" y="544"/>
                  </a:lnTo>
                  <a:lnTo>
                    <a:pt x="469" y="544"/>
                  </a:lnTo>
                  <a:lnTo>
                    <a:pt x="472" y="544"/>
                  </a:lnTo>
                  <a:lnTo>
                    <a:pt x="475" y="543"/>
                  </a:lnTo>
                  <a:lnTo>
                    <a:pt x="477" y="542"/>
                  </a:lnTo>
                  <a:lnTo>
                    <a:pt x="480" y="540"/>
                  </a:lnTo>
                  <a:lnTo>
                    <a:pt x="482" y="538"/>
                  </a:lnTo>
                  <a:lnTo>
                    <a:pt x="483" y="536"/>
                  </a:lnTo>
                  <a:lnTo>
                    <a:pt x="484" y="532"/>
                  </a:lnTo>
                  <a:lnTo>
                    <a:pt x="484" y="529"/>
                  </a:lnTo>
                  <a:lnTo>
                    <a:pt x="484" y="526"/>
                  </a:lnTo>
                  <a:lnTo>
                    <a:pt x="483" y="524"/>
                  </a:lnTo>
                  <a:lnTo>
                    <a:pt x="482" y="521"/>
                  </a:lnTo>
                  <a:lnTo>
                    <a:pt x="480" y="518"/>
                  </a:lnTo>
                  <a:lnTo>
                    <a:pt x="477" y="516"/>
                  </a:lnTo>
                  <a:lnTo>
                    <a:pt x="475" y="515"/>
                  </a:lnTo>
                  <a:lnTo>
                    <a:pt x="472" y="514"/>
                  </a:lnTo>
                  <a:lnTo>
                    <a:pt x="469" y="514"/>
                  </a:lnTo>
                  <a:lnTo>
                    <a:pt x="333" y="514"/>
                  </a:lnTo>
                  <a:lnTo>
                    <a:pt x="333" y="484"/>
                  </a:lnTo>
                  <a:lnTo>
                    <a:pt x="545" y="484"/>
                  </a:lnTo>
                  <a:lnTo>
                    <a:pt x="554" y="483"/>
                  </a:lnTo>
                  <a:lnTo>
                    <a:pt x="563" y="482"/>
                  </a:lnTo>
                  <a:lnTo>
                    <a:pt x="572" y="480"/>
                  </a:lnTo>
                  <a:lnTo>
                    <a:pt x="580" y="477"/>
                  </a:lnTo>
                  <a:lnTo>
                    <a:pt x="588" y="473"/>
                  </a:lnTo>
                  <a:lnTo>
                    <a:pt x="595" y="468"/>
                  </a:lnTo>
                  <a:lnTo>
                    <a:pt x="603" y="463"/>
                  </a:lnTo>
                  <a:lnTo>
                    <a:pt x="609" y="457"/>
                  </a:lnTo>
                  <a:lnTo>
                    <a:pt x="615" y="451"/>
                  </a:lnTo>
                  <a:lnTo>
                    <a:pt x="620" y="443"/>
                  </a:lnTo>
                  <a:lnTo>
                    <a:pt x="624" y="436"/>
                  </a:lnTo>
                  <a:lnTo>
                    <a:pt x="629" y="428"/>
                  </a:lnTo>
                  <a:lnTo>
                    <a:pt x="632" y="420"/>
                  </a:lnTo>
                  <a:lnTo>
                    <a:pt x="634" y="411"/>
                  </a:lnTo>
                  <a:lnTo>
                    <a:pt x="635" y="403"/>
                  </a:lnTo>
                  <a:lnTo>
                    <a:pt x="635" y="393"/>
                  </a:lnTo>
                  <a:lnTo>
                    <a:pt x="635" y="91"/>
                  </a:lnTo>
                  <a:lnTo>
                    <a:pt x="635" y="81"/>
                  </a:lnTo>
                  <a:lnTo>
                    <a:pt x="634" y="72"/>
                  </a:lnTo>
                  <a:lnTo>
                    <a:pt x="632" y="64"/>
                  </a:lnTo>
                  <a:lnTo>
                    <a:pt x="629" y="55"/>
                  </a:lnTo>
                  <a:lnTo>
                    <a:pt x="624" y="48"/>
                  </a:lnTo>
                  <a:lnTo>
                    <a:pt x="620" y="40"/>
                  </a:lnTo>
                  <a:lnTo>
                    <a:pt x="615" y="33"/>
                  </a:lnTo>
                  <a:lnTo>
                    <a:pt x="609" y="26"/>
                  </a:lnTo>
                  <a:lnTo>
                    <a:pt x="603" y="21"/>
                  </a:lnTo>
                  <a:lnTo>
                    <a:pt x="595" y="16"/>
                  </a:lnTo>
                  <a:lnTo>
                    <a:pt x="588" y="11"/>
                  </a:lnTo>
                  <a:lnTo>
                    <a:pt x="580" y="7"/>
                  </a:lnTo>
                  <a:lnTo>
                    <a:pt x="572" y="4"/>
                  </a:lnTo>
                  <a:lnTo>
                    <a:pt x="563" y="2"/>
                  </a:lnTo>
                  <a:lnTo>
                    <a:pt x="554" y="1"/>
                  </a:lnTo>
                  <a:lnTo>
                    <a:pt x="5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28">
              <a:extLst>
                <a:ext uri="{FF2B5EF4-FFF2-40B4-BE49-F238E27FC236}">
                  <a16:creationId xmlns:a16="http://schemas.microsoft.com/office/drawing/2014/main" id="{9A8FBABD-1126-4F0E-8E9F-A35525807F15}"/>
                </a:ext>
              </a:extLst>
            </p:cNvPr>
            <p:cNvSpPr>
              <a:spLocks/>
            </p:cNvSpPr>
            <p:nvPr/>
          </p:nvSpPr>
          <p:spPr bwMode="auto">
            <a:xfrm>
              <a:off x="8325890" y="2326654"/>
              <a:ext cx="9525" cy="9525"/>
            </a:xfrm>
            <a:custGeom>
              <a:avLst/>
              <a:gdLst>
                <a:gd name="T0" fmla="*/ 15 w 30"/>
                <a:gd name="T1" fmla="*/ 0 h 30"/>
                <a:gd name="T2" fmla="*/ 11 w 30"/>
                <a:gd name="T3" fmla="*/ 0 h 30"/>
                <a:gd name="T4" fmla="*/ 9 w 30"/>
                <a:gd name="T5" fmla="*/ 1 h 30"/>
                <a:gd name="T6" fmla="*/ 6 w 30"/>
                <a:gd name="T7" fmla="*/ 3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1 h 30"/>
                <a:gd name="T22" fmla="*/ 2 w 30"/>
                <a:gd name="T23" fmla="*/ 24 h 30"/>
                <a:gd name="T24" fmla="*/ 4 w 30"/>
                <a:gd name="T25" fmla="*/ 26 h 30"/>
                <a:gd name="T26" fmla="*/ 6 w 30"/>
                <a:gd name="T27" fmla="*/ 28 h 30"/>
                <a:gd name="T28" fmla="*/ 9 w 30"/>
                <a:gd name="T29" fmla="*/ 29 h 30"/>
                <a:gd name="T30" fmla="*/ 11 w 30"/>
                <a:gd name="T31" fmla="*/ 30 h 30"/>
                <a:gd name="T32" fmla="*/ 15 w 30"/>
                <a:gd name="T33" fmla="*/ 30 h 30"/>
                <a:gd name="T34" fmla="*/ 18 w 30"/>
                <a:gd name="T35" fmla="*/ 30 h 30"/>
                <a:gd name="T36" fmla="*/ 21 w 30"/>
                <a:gd name="T37" fmla="*/ 29 h 30"/>
                <a:gd name="T38" fmla="*/ 23 w 30"/>
                <a:gd name="T39" fmla="*/ 28 h 30"/>
                <a:gd name="T40" fmla="*/ 25 w 30"/>
                <a:gd name="T41" fmla="*/ 26 h 30"/>
                <a:gd name="T42" fmla="*/ 27 w 30"/>
                <a:gd name="T43" fmla="*/ 24 h 30"/>
                <a:gd name="T44" fmla="*/ 29 w 30"/>
                <a:gd name="T45" fmla="*/ 21 h 30"/>
                <a:gd name="T46" fmla="*/ 30 w 30"/>
                <a:gd name="T47" fmla="*/ 18 h 30"/>
                <a:gd name="T48" fmla="*/ 30 w 30"/>
                <a:gd name="T49" fmla="*/ 15 h 30"/>
                <a:gd name="T50" fmla="*/ 30 w 30"/>
                <a:gd name="T51" fmla="*/ 12 h 30"/>
                <a:gd name="T52" fmla="*/ 29 w 30"/>
                <a:gd name="T53" fmla="*/ 10 h 30"/>
                <a:gd name="T54" fmla="*/ 27 w 30"/>
                <a:gd name="T55" fmla="*/ 6 h 30"/>
                <a:gd name="T56" fmla="*/ 25 w 30"/>
                <a:gd name="T57" fmla="*/ 4 h 30"/>
                <a:gd name="T58" fmla="*/ 23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1" y="0"/>
                  </a:lnTo>
                  <a:lnTo>
                    <a:pt x="9" y="1"/>
                  </a:lnTo>
                  <a:lnTo>
                    <a:pt x="6" y="3"/>
                  </a:lnTo>
                  <a:lnTo>
                    <a:pt x="4" y="4"/>
                  </a:lnTo>
                  <a:lnTo>
                    <a:pt x="2" y="6"/>
                  </a:lnTo>
                  <a:lnTo>
                    <a:pt x="1" y="10"/>
                  </a:lnTo>
                  <a:lnTo>
                    <a:pt x="0" y="12"/>
                  </a:lnTo>
                  <a:lnTo>
                    <a:pt x="0" y="15"/>
                  </a:lnTo>
                  <a:lnTo>
                    <a:pt x="0" y="18"/>
                  </a:lnTo>
                  <a:lnTo>
                    <a:pt x="1" y="21"/>
                  </a:lnTo>
                  <a:lnTo>
                    <a:pt x="2" y="24"/>
                  </a:lnTo>
                  <a:lnTo>
                    <a:pt x="4" y="26"/>
                  </a:lnTo>
                  <a:lnTo>
                    <a:pt x="6" y="28"/>
                  </a:lnTo>
                  <a:lnTo>
                    <a:pt x="9" y="29"/>
                  </a:lnTo>
                  <a:lnTo>
                    <a:pt x="11" y="30"/>
                  </a:lnTo>
                  <a:lnTo>
                    <a:pt x="15" y="30"/>
                  </a:lnTo>
                  <a:lnTo>
                    <a:pt x="18" y="30"/>
                  </a:lnTo>
                  <a:lnTo>
                    <a:pt x="21" y="29"/>
                  </a:lnTo>
                  <a:lnTo>
                    <a:pt x="23" y="28"/>
                  </a:lnTo>
                  <a:lnTo>
                    <a:pt x="25" y="26"/>
                  </a:lnTo>
                  <a:lnTo>
                    <a:pt x="27" y="24"/>
                  </a:lnTo>
                  <a:lnTo>
                    <a:pt x="29" y="21"/>
                  </a:lnTo>
                  <a:lnTo>
                    <a:pt x="30" y="18"/>
                  </a:lnTo>
                  <a:lnTo>
                    <a:pt x="30" y="15"/>
                  </a:lnTo>
                  <a:lnTo>
                    <a:pt x="30" y="12"/>
                  </a:lnTo>
                  <a:lnTo>
                    <a:pt x="29" y="10"/>
                  </a:lnTo>
                  <a:lnTo>
                    <a:pt x="27" y="6"/>
                  </a:lnTo>
                  <a:lnTo>
                    <a:pt x="25" y="4"/>
                  </a:lnTo>
                  <a:lnTo>
                    <a:pt x="23"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95" name="Group 269">
            <a:extLst>
              <a:ext uri="{FF2B5EF4-FFF2-40B4-BE49-F238E27FC236}">
                <a16:creationId xmlns:a16="http://schemas.microsoft.com/office/drawing/2014/main" id="{B33D09F6-5011-490C-9255-1E02E75C71A3}"/>
              </a:ext>
            </a:extLst>
          </p:cNvPr>
          <p:cNvGrpSpPr>
            <a:grpSpLocks noChangeAspect="1"/>
          </p:cNvGrpSpPr>
          <p:nvPr/>
        </p:nvGrpSpPr>
        <p:grpSpPr>
          <a:xfrm>
            <a:off x="6186633" y="5407436"/>
            <a:ext cx="305900" cy="305901"/>
            <a:chOff x="327025" y="1908175"/>
            <a:chExt cx="285750" cy="285750"/>
          </a:xfrm>
          <a:solidFill>
            <a:schemeClr val="bg1"/>
          </a:solidFill>
        </p:grpSpPr>
        <p:sp>
          <p:nvSpPr>
            <p:cNvPr id="1796" name="Freeform 217">
              <a:extLst>
                <a:ext uri="{FF2B5EF4-FFF2-40B4-BE49-F238E27FC236}">
                  <a16:creationId xmlns:a16="http://schemas.microsoft.com/office/drawing/2014/main" id="{4397061D-3E33-4DD5-BB41-5B8DA8E514FA}"/>
                </a:ext>
              </a:extLst>
            </p:cNvPr>
            <p:cNvSpPr>
              <a:spLocks noEditPoints="1"/>
            </p:cNvSpPr>
            <p:nvPr/>
          </p:nvSpPr>
          <p:spPr bwMode="auto">
            <a:xfrm>
              <a:off x="327025" y="1955800"/>
              <a:ext cx="142875" cy="238125"/>
            </a:xfrm>
            <a:custGeom>
              <a:avLst/>
              <a:gdLst>
                <a:gd name="T0" fmla="*/ 85 w 449"/>
                <a:gd name="T1" fmla="*/ 719 h 750"/>
                <a:gd name="T2" fmla="*/ 66 w 449"/>
                <a:gd name="T3" fmla="*/ 715 h 750"/>
                <a:gd name="T4" fmla="*/ 52 w 449"/>
                <a:gd name="T5" fmla="*/ 706 h 750"/>
                <a:gd name="T6" fmla="*/ 41 w 449"/>
                <a:gd name="T7" fmla="*/ 693 h 750"/>
                <a:gd name="T8" fmla="*/ 33 w 449"/>
                <a:gd name="T9" fmla="*/ 677 h 750"/>
                <a:gd name="T10" fmla="*/ 30 w 449"/>
                <a:gd name="T11" fmla="*/ 659 h 750"/>
                <a:gd name="T12" fmla="*/ 420 w 449"/>
                <a:gd name="T13" fmla="*/ 658 h 750"/>
                <a:gd name="T14" fmla="*/ 408 w 449"/>
                <a:gd name="T15" fmla="*/ 693 h 750"/>
                <a:gd name="T16" fmla="*/ 392 w 449"/>
                <a:gd name="T17" fmla="*/ 709 h 750"/>
                <a:gd name="T18" fmla="*/ 377 w 449"/>
                <a:gd name="T19" fmla="*/ 717 h 750"/>
                <a:gd name="T20" fmla="*/ 359 w 449"/>
                <a:gd name="T21" fmla="*/ 720 h 750"/>
                <a:gd name="T22" fmla="*/ 429 w 449"/>
                <a:gd name="T23" fmla="*/ 376 h 750"/>
                <a:gd name="T24" fmla="*/ 423 w 449"/>
                <a:gd name="T25" fmla="*/ 382 h 750"/>
                <a:gd name="T26" fmla="*/ 419 w 449"/>
                <a:gd name="T27" fmla="*/ 389 h 750"/>
                <a:gd name="T28" fmla="*/ 30 w 449"/>
                <a:gd name="T29" fmla="*/ 180 h 750"/>
                <a:gd name="T30" fmla="*/ 201 w 449"/>
                <a:gd name="T31" fmla="*/ 179 h 750"/>
                <a:gd name="T32" fmla="*/ 208 w 449"/>
                <a:gd name="T33" fmla="*/ 173 h 750"/>
                <a:gd name="T34" fmla="*/ 210 w 449"/>
                <a:gd name="T35" fmla="*/ 165 h 750"/>
                <a:gd name="T36" fmla="*/ 208 w 449"/>
                <a:gd name="T37" fmla="*/ 156 h 750"/>
                <a:gd name="T38" fmla="*/ 201 w 449"/>
                <a:gd name="T39" fmla="*/ 151 h 750"/>
                <a:gd name="T40" fmla="*/ 30 w 449"/>
                <a:gd name="T41" fmla="*/ 150 h 750"/>
                <a:gd name="T42" fmla="*/ 31 w 449"/>
                <a:gd name="T43" fmla="*/ 78 h 750"/>
                <a:gd name="T44" fmla="*/ 37 w 449"/>
                <a:gd name="T45" fmla="*/ 61 h 750"/>
                <a:gd name="T46" fmla="*/ 47 w 449"/>
                <a:gd name="T47" fmla="*/ 47 h 750"/>
                <a:gd name="T48" fmla="*/ 61 w 449"/>
                <a:gd name="T49" fmla="*/ 38 h 750"/>
                <a:gd name="T50" fmla="*/ 78 w 449"/>
                <a:gd name="T51" fmla="*/ 31 h 750"/>
                <a:gd name="T52" fmla="*/ 210 w 449"/>
                <a:gd name="T53" fmla="*/ 30 h 750"/>
                <a:gd name="T54" fmla="*/ 218 w 449"/>
                <a:gd name="T55" fmla="*/ 28 h 750"/>
                <a:gd name="T56" fmla="*/ 224 w 449"/>
                <a:gd name="T57" fmla="*/ 21 h 750"/>
                <a:gd name="T58" fmla="*/ 225 w 449"/>
                <a:gd name="T59" fmla="*/ 12 h 750"/>
                <a:gd name="T60" fmla="*/ 220 w 449"/>
                <a:gd name="T61" fmla="*/ 4 h 750"/>
                <a:gd name="T62" fmla="*/ 213 w 449"/>
                <a:gd name="T63" fmla="*/ 0 h 750"/>
                <a:gd name="T64" fmla="*/ 81 w 449"/>
                <a:gd name="T65" fmla="*/ 1 h 750"/>
                <a:gd name="T66" fmla="*/ 55 w 449"/>
                <a:gd name="T67" fmla="*/ 8 h 750"/>
                <a:gd name="T68" fmla="*/ 32 w 449"/>
                <a:gd name="T69" fmla="*/ 20 h 750"/>
                <a:gd name="T70" fmla="*/ 15 w 449"/>
                <a:gd name="T71" fmla="*/ 40 h 750"/>
                <a:gd name="T72" fmla="*/ 4 w 449"/>
                <a:gd name="T73" fmla="*/ 63 h 750"/>
                <a:gd name="T74" fmla="*/ 0 w 449"/>
                <a:gd name="T75" fmla="*/ 90 h 750"/>
                <a:gd name="T76" fmla="*/ 2 w 449"/>
                <a:gd name="T77" fmla="*/ 677 h 750"/>
                <a:gd name="T78" fmla="*/ 11 w 449"/>
                <a:gd name="T79" fmla="*/ 702 h 750"/>
                <a:gd name="T80" fmla="*/ 27 w 449"/>
                <a:gd name="T81" fmla="*/ 723 h 750"/>
                <a:gd name="T82" fmla="*/ 47 w 449"/>
                <a:gd name="T83" fmla="*/ 738 h 750"/>
                <a:gd name="T84" fmla="*/ 72 w 449"/>
                <a:gd name="T85" fmla="*/ 748 h 750"/>
                <a:gd name="T86" fmla="*/ 359 w 449"/>
                <a:gd name="T87" fmla="*/ 750 h 750"/>
                <a:gd name="T88" fmla="*/ 385 w 449"/>
                <a:gd name="T89" fmla="*/ 746 h 750"/>
                <a:gd name="T90" fmla="*/ 408 w 449"/>
                <a:gd name="T91" fmla="*/ 735 h 750"/>
                <a:gd name="T92" fmla="*/ 427 w 449"/>
                <a:gd name="T93" fmla="*/ 718 h 750"/>
                <a:gd name="T94" fmla="*/ 441 w 449"/>
                <a:gd name="T95" fmla="*/ 695 h 750"/>
                <a:gd name="T96" fmla="*/ 448 w 449"/>
                <a:gd name="T97" fmla="*/ 670 h 750"/>
                <a:gd name="T98" fmla="*/ 449 w 449"/>
                <a:gd name="T99" fmla="*/ 387 h 750"/>
                <a:gd name="T100" fmla="*/ 445 w 449"/>
                <a:gd name="T101" fmla="*/ 379 h 750"/>
                <a:gd name="T102" fmla="*/ 438 w 449"/>
                <a:gd name="T103" fmla="*/ 376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9" h="750">
                  <a:moveTo>
                    <a:pt x="359" y="720"/>
                  </a:moveTo>
                  <a:lnTo>
                    <a:pt x="90" y="720"/>
                  </a:lnTo>
                  <a:lnTo>
                    <a:pt x="85" y="719"/>
                  </a:lnTo>
                  <a:lnTo>
                    <a:pt x="78" y="718"/>
                  </a:lnTo>
                  <a:lnTo>
                    <a:pt x="73" y="717"/>
                  </a:lnTo>
                  <a:lnTo>
                    <a:pt x="66" y="715"/>
                  </a:lnTo>
                  <a:lnTo>
                    <a:pt x="62" y="713"/>
                  </a:lnTo>
                  <a:lnTo>
                    <a:pt x="57" y="709"/>
                  </a:lnTo>
                  <a:lnTo>
                    <a:pt x="52" y="706"/>
                  </a:lnTo>
                  <a:lnTo>
                    <a:pt x="48" y="702"/>
                  </a:lnTo>
                  <a:lnTo>
                    <a:pt x="44" y="698"/>
                  </a:lnTo>
                  <a:lnTo>
                    <a:pt x="41" y="693"/>
                  </a:lnTo>
                  <a:lnTo>
                    <a:pt x="37" y="688"/>
                  </a:lnTo>
                  <a:lnTo>
                    <a:pt x="35" y="683"/>
                  </a:lnTo>
                  <a:lnTo>
                    <a:pt x="33" y="677"/>
                  </a:lnTo>
                  <a:lnTo>
                    <a:pt x="31" y="671"/>
                  </a:lnTo>
                  <a:lnTo>
                    <a:pt x="31" y="665"/>
                  </a:lnTo>
                  <a:lnTo>
                    <a:pt x="30" y="659"/>
                  </a:lnTo>
                  <a:lnTo>
                    <a:pt x="30" y="600"/>
                  </a:lnTo>
                  <a:lnTo>
                    <a:pt x="420" y="600"/>
                  </a:lnTo>
                  <a:lnTo>
                    <a:pt x="420" y="658"/>
                  </a:lnTo>
                  <a:lnTo>
                    <a:pt x="417" y="671"/>
                  </a:lnTo>
                  <a:lnTo>
                    <a:pt x="414" y="683"/>
                  </a:lnTo>
                  <a:lnTo>
                    <a:pt x="408" y="693"/>
                  </a:lnTo>
                  <a:lnTo>
                    <a:pt x="400" y="703"/>
                  </a:lnTo>
                  <a:lnTo>
                    <a:pt x="397" y="706"/>
                  </a:lnTo>
                  <a:lnTo>
                    <a:pt x="392" y="709"/>
                  </a:lnTo>
                  <a:lnTo>
                    <a:pt x="387" y="713"/>
                  </a:lnTo>
                  <a:lnTo>
                    <a:pt x="382" y="715"/>
                  </a:lnTo>
                  <a:lnTo>
                    <a:pt x="377" y="717"/>
                  </a:lnTo>
                  <a:lnTo>
                    <a:pt x="371" y="719"/>
                  </a:lnTo>
                  <a:lnTo>
                    <a:pt x="366" y="719"/>
                  </a:lnTo>
                  <a:lnTo>
                    <a:pt x="359" y="720"/>
                  </a:lnTo>
                  <a:close/>
                  <a:moveTo>
                    <a:pt x="434" y="374"/>
                  </a:moveTo>
                  <a:lnTo>
                    <a:pt x="432" y="376"/>
                  </a:lnTo>
                  <a:lnTo>
                    <a:pt x="429" y="376"/>
                  </a:lnTo>
                  <a:lnTo>
                    <a:pt x="427" y="378"/>
                  </a:lnTo>
                  <a:lnTo>
                    <a:pt x="425" y="379"/>
                  </a:lnTo>
                  <a:lnTo>
                    <a:pt x="423" y="382"/>
                  </a:lnTo>
                  <a:lnTo>
                    <a:pt x="421" y="384"/>
                  </a:lnTo>
                  <a:lnTo>
                    <a:pt x="420" y="387"/>
                  </a:lnTo>
                  <a:lnTo>
                    <a:pt x="419" y="389"/>
                  </a:lnTo>
                  <a:lnTo>
                    <a:pt x="420" y="569"/>
                  </a:lnTo>
                  <a:lnTo>
                    <a:pt x="30" y="569"/>
                  </a:lnTo>
                  <a:lnTo>
                    <a:pt x="30" y="180"/>
                  </a:lnTo>
                  <a:lnTo>
                    <a:pt x="195" y="180"/>
                  </a:lnTo>
                  <a:lnTo>
                    <a:pt x="198" y="180"/>
                  </a:lnTo>
                  <a:lnTo>
                    <a:pt x="201" y="179"/>
                  </a:lnTo>
                  <a:lnTo>
                    <a:pt x="203" y="178"/>
                  </a:lnTo>
                  <a:lnTo>
                    <a:pt x="205" y="175"/>
                  </a:lnTo>
                  <a:lnTo>
                    <a:pt x="208" y="173"/>
                  </a:lnTo>
                  <a:lnTo>
                    <a:pt x="209" y="171"/>
                  </a:lnTo>
                  <a:lnTo>
                    <a:pt x="210" y="168"/>
                  </a:lnTo>
                  <a:lnTo>
                    <a:pt x="210" y="165"/>
                  </a:lnTo>
                  <a:lnTo>
                    <a:pt x="210" y="162"/>
                  </a:lnTo>
                  <a:lnTo>
                    <a:pt x="209" y="159"/>
                  </a:lnTo>
                  <a:lnTo>
                    <a:pt x="208" y="156"/>
                  </a:lnTo>
                  <a:lnTo>
                    <a:pt x="205" y="154"/>
                  </a:lnTo>
                  <a:lnTo>
                    <a:pt x="203" y="153"/>
                  </a:lnTo>
                  <a:lnTo>
                    <a:pt x="201" y="151"/>
                  </a:lnTo>
                  <a:lnTo>
                    <a:pt x="198" y="151"/>
                  </a:lnTo>
                  <a:lnTo>
                    <a:pt x="195" y="150"/>
                  </a:lnTo>
                  <a:lnTo>
                    <a:pt x="30" y="150"/>
                  </a:lnTo>
                  <a:lnTo>
                    <a:pt x="30" y="90"/>
                  </a:lnTo>
                  <a:lnTo>
                    <a:pt x="31" y="84"/>
                  </a:lnTo>
                  <a:lnTo>
                    <a:pt x="31" y="78"/>
                  </a:lnTo>
                  <a:lnTo>
                    <a:pt x="33" y="72"/>
                  </a:lnTo>
                  <a:lnTo>
                    <a:pt x="35" y="66"/>
                  </a:lnTo>
                  <a:lnTo>
                    <a:pt x="37" y="61"/>
                  </a:lnTo>
                  <a:lnTo>
                    <a:pt x="41" y="57"/>
                  </a:lnTo>
                  <a:lnTo>
                    <a:pt x="44" y="51"/>
                  </a:lnTo>
                  <a:lnTo>
                    <a:pt x="47" y="47"/>
                  </a:lnTo>
                  <a:lnTo>
                    <a:pt x="51" y="44"/>
                  </a:lnTo>
                  <a:lnTo>
                    <a:pt x="57" y="41"/>
                  </a:lnTo>
                  <a:lnTo>
                    <a:pt x="61" y="38"/>
                  </a:lnTo>
                  <a:lnTo>
                    <a:pt x="66" y="34"/>
                  </a:lnTo>
                  <a:lnTo>
                    <a:pt x="72" y="33"/>
                  </a:lnTo>
                  <a:lnTo>
                    <a:pt x="78" y="31"/>
                  </a:lnTo>
                  <a:lnTo>
                    <a:pt x="83" y="30"/>
                  </a:lnTo>
                  <a:lnTo>
                    <a:pt x="90" y="30"/>
                  </a:lnTo>
                  <a:lnTo>
                    <a:pt x="210" y="30"/>
                  </a:lnTo>
                  <a:lnTo>
                    <a:pt x="213" y="30"/>
                  </a:lnTo>
                  <a:lnTo>
                    <a:pt x="216" y="29"/>
                  </a:lnTo>
                  <a:lnTo>
                    <a:pt x="218" y="28"/>
                  </a:lnTo>
                  <a:lnTo>
                    <a:pt x="220" y="26"/>
                  </a:lnTo>
                  <a:lnTo>
                    <a:pt x="223" y="24"/>
                  </a:lnTo>
                  <a:lnTo>
                    <a:pt x="224" y="21"/>
                  </a:lnTo>
                  <a:lnTo>
                    <a:pt x="225" y="18"/>
                  </a:lnTo>
                  <a:lnTo>
                    <a:pt x="225" y="15"/>
                  </a:lnTo>
                  <a:lnTo>
                    <a:pt x="225" y="12"/>
                  </a:lnTo>
                  <a:lnTo>
                    <a:pt x="224" y="10"/>
                  </a:lnTo>
                  <a:lnTo>
                    <a:pt x="223" y="6"/>
                  </a:lnTo>
                  <a:lnTo>
                    <a:pt x="220" y="4"/>
                  </a:lnTo>
                  <a:lnTo>
                    <a:pt x="218" y="3"/>
                  </a:lnTo>
                  <a:lnTo>
                    <a:pt x="216" y="1"/>
                  </a:lnTo>
                  <a:lnTo>
                    <a:pt x="213" y="0"/>
                  </a:lnTo>
                  <a:lnTo>
                    <a:pt x="210" y="0"/>
                  </a:lnTo>
                  <a:lnTo>
                    <a:pt x="90" y="0"/>
                  </a:lnTo>
                  <a:lnTo>
                    <a:pt x="81" y="1"/>
                  </a:lnTo>
                  <a:lnTo>
                    <a:pt x="72" y="2"/>
                  </a:lnTo>
                  <a:lnTo>
                    <a:pt x="63" y="4"/>
                  </a:lnTo>
                  <a:lnTo>
                    <a:pt x="55" y="8"/>
                  </a:lnTo>
                  <a:lnTo>
                    <a:pt x="47" y="11"/>
                  </a:lnTo>
                  <a:lnTo>
                    <a:pt x="40" y="15"/>
                  </a:lnTo>
                  <a:lnTo>
                    <a:pt x="32" y="20"/>
                  </a:lnTo>
                  <a:lnTo>
                    <a:pt x="27" y="26"/>
                  </a:lnTo>
                  <a:lnTo>
                    <a:pt x="20" y="32"/>
                  </a:lnTo>
                  <a:lnTo>
                    <a:pt x="15" y="40"/>
                  </a:lnTo>
                  <a:lnTo>
                    <a:pt x="11" y="47"/>
                  </a:lnTo>
                  <a:lnTo>
                    <a:pt x="8" y="55"/>
                  </a:lnTo>
                  <a:lnTo>
                    <a:pt x="4" y="63"/>
                  </a:lnTo>
                  <a:lnTo>
                    <a:pt x="2" y="72"/>
                  </a:lnTo>
                  <a:lnTo>
                    <a:pt x="1" y="80"/>
                  </a:lnTo>
                  <a:lnTo>
                    <a:pt x="0" y="90"/>
                  </a:lnTo>
                  <a:lnTo>
                    <a:pt x="0" y="659"/>
                  </a:lnTo>
                  <a:lnTo>
                    <a:pt x="1" y="669"/>
                  </a:lnTo>
                  <a:lnTo>
                    <a:pt x="2" y="677"/>
                  </a:lnTo>
                  <a:lnTo>
                    <a:pt x="4" y="686"/>
                  </a:lnTo>
                  <a:lnTo>
                    <a:pt x="8" y="694"/>
                  </a:lnTo>
                  <a:lnTo>
                    <a:pt x="11" y="702"/>
                  </a:lnTo>
                  <a:lnTo>
                    <a:pt x="16" y="709"/>
                  </a:lnTo>
                  <a:lnTo>
                    <a:pt x="20" y="717"/>
                  </a:lnTo>
                  <a:lnTo>
                    <a:pt x="27" y="723"/>
                  </a:lnTo>
                  <a:lnTo>
                    <a:pt x="33" y="729"/>
                  </a:lnTo>
                  <a:lnTo>
                    <a:pt x="40" y="734"/>
                  </a:lnTo>
                  <a:lnTo>
                    <a:pt x="47" y="738"/>
                  </a:lnTo>
                  <a:lnTo>
                    <a:pt x="56" y="742"/>
                  </a:lnTo>
                  <a:lnTo>
                    <a:pt x="63" y="746"/>
                  </a:lnTo>
                  <a:lnTo>
                    <a:pt x="72" y="748"/>
                  </a:lnTo>
                  <a:lnTo>
                    <a:pt x="81" y="749"/>
                  </a:lnTo>
                  <a:lnTo>
                    <a:pt x="90" y="750"/>
                  </a:lnTo>
                  <a:lnTo>
                    <a:pt x="359" y="750"/>
                  </a:lnTo>
                  <a:lnTo>
                    <a:pt x="369" y="749"/>
                  </a:lnTo>
                  <a:lnTo>
                    <a:pt x="378" y="748"/>
                  </a:lnTo>
                  <a:lnTo>
                    <a:pt x="385" y="746"/>
                  </a:lnTo>
                  <a:lnTo>
                    <a:pt x="394" y="742"/>
                  </a:lnTo>
                  <a:lnTo>
                    <a:pt x="401" y="739"/>
                  </a:lnTo>
                  <a:lnTo>
                    <a:pt x="408" y="735"/>
                  </a:lnTo>
                  <a:lnTo>
                    <a:pt x="414" y="730"/>
                  </a:lnTo>
                  <a:lnTo>
                    <a:pt x="420" y="724"/>
                  </a:lnTo>
                  <a:lnTo>
                    <a:pt x="427" y="718"/>
                  </a:lnTo>
                  <a:lnTo>
                    <a:pt x="432" y="711"/>
                  </a:lnTo>
                  <a:lnTo>
                    <a:pt x="436" y="704"/>
                  </a:lnTo>
                  <a:lnTo>
                    <a:pt x="441" y="695"/>
                  </a:lnTo>
                  <a:lnTo>
                    <a:pt x="444" y="688"/>
                  </a:lnTo>
                  <a:lnTo>
                    <a:pt x="446" y="678"/>
                  </a:lnTo>
                  <a:lnTo>
                    <a:pt x="448" y="670"/>
                  </a:lnTo>
                  <a:lnTo>
                    <a:pt x="449" y="660"/>
                  </a:lnTo>
                  <a:lnTo>
                    <a:pt x="449" y="389"/>
                  </a:lnTo>
                  <a:lnTo>
                    <a:pt x="449" y="387"/>
                  </a:lnTo>
                  <a:lnTo>
                    <a:pt x="448" y="384"/>
                  </a:lnTo>
                  <a:lnTo>
                    <a:pt x="447" y="382"/>
                  </a:lnTo>
                  <a:lnTo>
                    <a:pt x="445" y="379"/>
                  </a:lnTo>
                  <a:lnTo>
                    <a:pt x="443" y="378"/>
                  </a:lnTo>
                  <a:lnTo>
                    <a:pt x="441" y="376"/>
                  </a:lnTo>
                  <a:lnTo>
                    <a:pt x="438" y="376"/>
                  </a:lnTo>
                  <a:lnTo>
                    <a:pt x="434" y="374"/>
                  </a:lnTo>
                  <a:lnTo>
                    <a:pt x="434" y="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218">
              <a:extLst>
                <a:ext uri="{FF2B5EF4-FFF2-40B4-BE49-F238E27FC236}">
                  <a16:creationId xmlns:a16="http://schemas.microsoft.com/office/drawing/2014/main" id="{FAE61E33-7814-488C-AD3A-7B29A17E859C}"/>
                </a:ext>
              </a:extLst>
            </p:cNvPr>
            <p:cNvSpPr>
              <a:spLocks/>
            </p:cNvSpPr>
            <p:nvPr/>
          </p:nvSpPr>
          <p:spPr bwMode="auto">
            <a:xfrm>
              <a:off x="374650" y="1979613"/>
              <a:ext cx="19050" cy="9525"/>
            </a:xfrm>
            <a:custGeom>
              <a:avLst/>
              <a:gdLst>
                <a:gd name="T0" fmla="*/ 15 w 60"/>
                <a:gd name="T1" fmla="*/ 0 h 30"/>
                <a:gd name="T2" fmla="*/ 12 w 60"/>
                <a:gd name="T3" fmla="*/ 0 h 30"/>
                <a:gd name="T4" fmla="*/ 9 w 60"/>
                <a:gd name="T5" fmla="*/ 1 h 30"/>
                <a:gd name="T6" fmla="*/ 6 w 60"/>
                <a:gd name="T7" fmla="*/ 3 h 30"/>
                <a:gd name="T8" fmla="*/ 4 w 60"/>
                <a:gd name="T9" fmla="*/ 4 h 30"/>
                <a:gd name="T10" fmla="*/ 3 w 60"/>
                <a:gd name="T11" fmla="*/ 6 h 30"/>
                <a:gd name="T12" fmla="*/ 1 w 60"/>
                <a:gd name="T13" fmla="*/ 10 h 30"/>
                <a:gd name="T14" fmla="*/ 1 w 60"/>
                <a:gd name="T15" fmla="*/ 12 h 30"/>
                <a:gd name="T16" fmla="*/ 0 w 60"/>
                <a:gd name="T17" fmla="*/ 15 h 30"/>
                <a:gd name="T18" fmla="*/ 1 w 60"/>
                <a:gd name="T19" fmla="*/ 18 h 30"/>
                <a:gd name="T20" fmla="*/ 1 w 60"/>
                <a:gd name="T21" fmla="*/ 21 h 30"/>
                <a:gd name="T22" fmla="*/ 3 w 60"/>
                <a:gd name="T23" fmla="*/ 23 h 30"/>
                <a:gd name="T24" fmla="*/ 4 w 60"/>
                <a:gd name="T25" fmla="*/ 26 h 30"/>
                <a:gd name="T26" fmla="*/ 6 w 60"/>
                <a:gd name="T27" fmla="*/ 28 h 30"/>
                <a:gd name="T28" fmla="*/ 9 w 60"/>
                <a:gd name="T29" fmla="*/ 29 h 30"/>
                <a:gd name="T30" fmla="*/ 12 w 60"/>
                <a:gd name="T31" fmla="*/ 30 h 30"/>
                <a:gd name="T32" fmla="*/ 15 w 60"/>
                <a:gd name="T33" fmla="*/ 30 h 30"/>
                <a:gd name="T34" fmla="*/ 45 w 60"/>
                <a:gd name="T35" fmla="*/ 30 h 30"/>
                <a:gd name="T36" fmla="*/ 48 w 60"/>
                <a:gd name="T37" fmla="*/ 30 h 30"/>
                <a:gd name="T38" fmla="*/ 51 w 60"/>
                <a:gd name="T39" fmla="*/ 29 h 30"/>
                <a:gd name="T40" fmla="*/ 53 w 60"/>
                <a:gd name="T41" fmla="*/ 28 h 30"/>
                <a:gd name="T42" fmla="*/ 55 w 60"/>
                <a:gd name="T43" fmla="*/ 26 h 30"/>
                <a:gd name="T44" fmla="*/ 58 w 60"/>
                <a:gd name="T45" fmla="*/ 23 h 30"/>
                <a:gd name="T46" fmla="*/ 59 w 60"/>
                <a:gd name="T47" fmla="*/ 21 h 30"/>
                <a:gd name="T48" fmla="*/ 60 w 60"/>
                <a:gd name="T49" fmla="*/ 18 h 30"/>
                <a:gd name="T50" fmla="*/ 60 w 60"/>
                <a:gd name="T51" fmla="*/ 15 h 30"/>
                <a:gd name="T52" fmla="*/ 60 w 60"/>
                <a:gd name="T53" fmla="*/ 12 h 30"/>
                <a:gd name="T54" fmla="*/ 59 w 60"/>
                <a:gd name="T55" fmla="*/ 10 h 30"/>
                <a:gd name="T56" fmla="*/ 58 w 60"/>
                <a:gd name="T57" fmla="*/ 6 h 30"/>
                <a:gd name="T58" fmla="*/ 55 w 60"/>
                <a:gd name="T59" fmla="*/ 4 h 30"/>
                <a:gd name="T60" fmla="*/ 53 w 60"/>
                <a:gd name="T61" fmla="*/ 3 h 30"/>
                <a:gd name="T62" fmla="*/ 51 w 60"/>
                <a:gd name="T63" fmla="*/ 1 h 30"/>
                <a:gd name="T64" fmla="*/ 48 w 60"/>
                <a:gd name="T65" fmla="*/ 0 h 30"/>
                <a:gd name="T66" fmla="*/ 45 w 60"/>
                <a:gd name="T67" fmla="*/ 0 h 30"/>
                <a:gd name="T68" fmla="*/ 1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15" y="0"/>
                  </a:moveTo>
                  <a:lnTo>
                    <a:pt x="12" y="0"/>
                  </a:lnTo>
                  <a:lnTo>
                    <a:pt x="9" y="1"/>
                  </a:lnTo>
                  <a:lnTo>
                    <a:pt x="6" y="3"/>
                  </a:lnTo>
                  <a:lnTo>
                    <a:pt x="4" y="4"/>
                  </a:lnTo>
                  <a:lnTo>
                    <a:pt x="3" y="6"/>
                  </a:lnTo>
                  <a:lnTo>
                    <a:pt x="1" y="10"/>
                  </a:lnTo>
                  <a:lnTo>
                    <a:pt x="1" y="12"/>
                  </a:lnTo>
                  <a:lnTo>
                    <a:pt x="0" y="15"/>
                  </a:lnTo>
                  <a:lnTo>
                    <a:pt x="1" y="18"/>
                  </a:lnTo>
                  <a:lnTo>
                    <a:pt x="1" y="21"/>
                  </a:lnTo>
                  <a:lnTo>
                    <a:pt x="3" y="23"/>
                  </a:lnTo>
                  <a:lnTo>
                    <a:pt x="4" y="26"/>
                  </a:lnTo>
                  <a:lnTo>
                    <a:pt x="6" y="28"/>
                  </a:lnTo>
                  <a:lnTo>
                    <a:pt x="9" y="29"/>
                  </a:lnTo>
                  <a:lnTo>
                    <a:pt x="12" y="30"/>
                  </a:lnTo>
                  <a:lnTo>
                    <a:pt x="15" y="30"/>
                  </a:lnTo>
                  <a:lnTo>
                    <a:pt x="45" y="30"/>
                  </a:lnTo>
                  <a:lnTo>
                    <a:pt x="48" y="30"/>
                  </a:lnTo>
                  <a:lnTo>
                    <a:pt x="51" y="29"/>
                  </a:lnTo>
                  <a:lnTo>
                    <a:pt x="53" y="28"/>
                  </a:lnTo>
                  <a:lnTo>
                    <a:pt x="55" y="26"/>
                  </a:lnTo>
                  <a:lnTo>
                    <a:pt x="58" y="23"/>
                  </a:lnTo>
                  <a:lnTo>
                    <a:pt x="59" y="21"/>
                  </a:lnTo>
                  <a:lnTo>
                    <a:pt x="60" y="18"/>
                  </a:lnTo>
                  <a:lnTo>
                    <a:pt x="60" y="15"/>
                  </a:lnTo>
                  <a:lnTo>
                    <a:pt x="60" y="12"/>
                  </a:lnTo>
                  <a:lnTo>
                    <a:pt x="59" y="10"/>
                  </a:lnTo>
                  <a:lnTo>
                    <a:pt x="58" y="6"/>
                  </a:lnTo>
                  <a:lnTo>
                    <a:pt x="55" y="4"/>
                  </a:lnTo>
                  <a:lnTo>
                    <a:pt x="53" y="3"/>
                  </a:lnTo>
                  <a:lnTo>
                    <a:pt x="51" y="1"/>
                  </a:lnTo>
                  <a:lnTo>
                    <a:pt x="48" y="0"/>
                  </a:lnTo>
                  <a:lnTo>
                    <a:pt x="4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8" name="Freeform 219">
              <a:extLst>
                <a:ext uri="{FF2B5EF4-FFF2-40B4-BE49-F238E27FC236}">
                  <a16:creationId xmlns:a16="http://schemas.microsoft.com/office/drawing/2014/main" id="{96025C62-C926-4FCD-9ABC-8C229059E2D2}"/>
                </a:ext>
              </a:extLst>
            </p:cNvPr>
            <p:cNvSpPr>
              <a:spLocks noEditPoints="1"/>
            </p:cNvSpPr>
            <p:nvPr/>
          </p:nvSpPr>
          <p:spPr bwMode="auto">
            <a:xfrm>
              <a:off x="422275" y="1908175"/>
              <a:ext cx="190500" cy="152400"/>
            </a:xfrm>
            <a:custGeom>
              <a:avLst/>
              <a:gdLst>
                <a:gd name="T0" fmla="*/ 565 w 600"/>
                <a:gd name="T1" fmla="*/ 302 h 480"/>
                <a:gd name="T2" fmla="*/ 549 w 600"/>
                <a:gd name="T3" fmla="*/ 322 h 480"/>
                <a:gd name="T4" fmla="*/ 525 w 600"/>
                <a:gd name="T5" fmla="*/ 330 h 480"/>
                <a:gd name="T6" fmla="*/ 311 w 600"/>
                <a:gd name="T7" fmla="*/ 331 h 480"/>
                <a:gd name="T8" fmla="*/ 210 w 600"/>
                <a:gd name="T9" fmla="*/ 429 h 480"/>
                <a:gd name="T10" fmla="*/ 208 w 600"/>
                <a:gd name="T11" fmla="*/ 339 h 480"/>
                <a:gd name="T12" fmla="*/ 203 w 600"/>
                <a:gd name="T13" fmla="*/ 333 h 480"/>
                <a:gd name="T14" fmla="*/ 195 w 600"/>
                <a:gd name="T15" fmla="*/ 330 h 480"/>
                <a:gd name="T16" fmla="*/ 58 w 600"/>
                <a:gd name="T17" fmla="*/ 327 h 480"/>
                <a:gd name="T18" fmla="*/ 38 w 600"/>
                <a:gd name="T19" fmla="*/ 309 h 480"/>
                <a:gd name="T20" fmla="*/ 29 w 600"/>
                <a:gd name="T21" fmla="*/ 285 h 480"/>
                <a:gd name="T22" fmla="*/ 34 w 600"/>
                <a:gd name="T23" fmla="*/ 58 h 480"/>
                <a:gd name="T24" fmla="*/ 51 w 600"/>
                <a:gd name="T25" fmla="*/ 39 h 480"/>
                <a:gd name="T26" fmla="*/ 74 w 600"/>
                <a:gd name="T27" fmla="*/ 30 h 480"/>
                <a:gd name="T28" fmla="*/ 541 w 600"/>
                <a:gd name="T29" fmla="*/ 35 h 480"/>
                <a:gd name="T30" fmla="*/ 561 w 600"/>
                <a:gd name="T31" fmla="*/ 51 h 480"/>
                <a:gd name="T32" fmla="*/ 570 w 600"/>
                <a:gd name="T33" fmla="*/ 75 h 480"/>
                <a:gd name="T34" fmla="*/ 74 w 600"/>
                <a:gd name="T35" fmla="*/ 0 h 480"/>
                <a:gd name="T36" fmla="*/ 53 w 600"/>
                <a:gd name="T37" fmla="*/ 4 h 480"/>
                <a:gd name="T38" fmla="*/ 34 w 600"/>
                <a:gd name="T39" fmla="*/ 13 h 480"/>
                <a:gd name="T40" fmla="*/ 18 w 600"/>
                <a:gd name="T41" fmla="*/ 28 h 480"/>
                <a:gd name="T42" fmla="*/ 6 w 600"/>
                <a:gd name="T43" fmla="*/ 46 h 480"/>
                <a:gd name="T44" fmla="*/ 1 w 600"/>
                <a:gd name="T45" fmla="*/ 68 h 480"/>
                <a:gd name="T46" fmla="*/ 1 w 600"/>
                <a:gd name="T47" fmla="*/ 292 h 480"/>
                <a:gd name="T48" fmla="*/ 6 w 600"/>
                <a:gd name="T49" fmla="*/ 314 h 480"/>
                <a:gd name="T50" fmla="*/ 18 w 600"/>
                <a:gd name="T51" fmla="*/ 332 h 480"/>
                <a:gd name="T52" fmla="*/ 34 w 600"/>
                <a:gd name="T53" fmla="*/ 347 h 480"/>
                <a:gd name="T54" fmla="*/ 53 w 600"/>
                <a:gd name="T55" fmla="*/ 357 h 480"/>
                <a:gd name="T56" fmla="*/ 74 w 600"/>
                <a:gd name="T57" fmla="*/ 360 h 480"/>
                <a:gd name="T58" fmla="*/ 180 w 600"/>
                <a:gd name="T59" fmla="*/ 469 h 480"/>
                <a:gd name="T60" fmla="*/ 189 w 600"/>
                <a:gd name="T61" fmla="*/ 478 h 480"/>
                <a:gd name="T62" fmla="*/ 197 w 600"/>
                <a:gd name="T63" fmla="*/ 480 h 480"/>
                <a:gd name="T64" fmla="*/ 205 w 600"/>
                <a:gd name="T65" fmla="*/ 475 h 480"/>
                <a:gd name="T66" fmla="*/ 532 w 600"/>
                <a:gd name="T67" fmla="*/ 360 h 480"/>
                <a:gd name="T68" fmla="*/ 553 w 600"/>
                <a:gd name="T69" fmla="*/ 354 h 480"/>
                <a:gd name="T70" fmla="*/ 572 w 600"/>
                <a:gd name="T71" fmla="*/ 343 h 480"/>
                <a:gd name="T72" fmla="*/ 586 w 600"/>
                <a:gd name="T73" fmla="*/ 327 h 480"/>
                <a:gd name="T74" fmla="*/ 595 w 600"/>
                <a:gd name="T75" fmla="*/ 307 h 480"/>
                <a:gd name="T76" fmla="*/ 600 w 600"/>
                <a:gd name="T77" fmla="*/ 285 h 480"/>
                <a:gd name="T78" fmla="*/ 597 w 600"/>
                <a:gd name="T79" fmla="*/ 60 h 480"/>
                <a:gd name="T80" fmla="*/ 590 w 600"/>
                <a:gd name="T81" fmla="*/ 40 h 480"/>
                <a:gd name="T82" fmla="*/ 577 w 600"/>
                <a:gd name="T83" fmla="*/ 23 h 480"/>
                <a:gd name="T84" fmla="*/ 559 w 600"/>
                <a:gd name="T85" fmla="*/ 10 h 480"/>
                <a:gd name="T86" fmla="*/ 539 w 600"/>
                <a:gd name="T87" fmla="*/ 2 h 480"/>
                <a:gd name="T88" fmla="*/ 525 w 600"/>
                <a:gd name="T89"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0" h="480">
                  <a:moveTo>
                    <a:pt x="570" y="285"/>
                  </a:moveTo>
                  <a:lnTo>
                    <a:pt x="569" y="293"/>
                  </a:lnTo>
                  <a:lnTo>
                    <a:pt x="565" y="302"/>
                  </a:lnTo>
                  <a:lnTo>
                    <a:pt x="561" y="309"/>
                  </a:lnTo>
                  <a:lnTo>
                    <a:pt x="556" y="316"/>
                  </a:lnTo>
                  <a:lnTo>
                    <a:pt x="549" y="322"/>
                  </a:lnTo>
                  <a:lnTo>
                    <a:pt x="541" y="327"/>
                  </a:lnTo>
                  <a:lnTo>
                    <a:pt x="533" y="329"/>
                  </a:lnTo>
                  <a:lnTo>
                    <a:pt x="525" y="330"/>
                  </a:lnTo>
                  <a:lnTo>
                    <a:pt x="316" y="330"/>
                  </a:lnTo>
                  <a:lnTo>
                    <a:pt x="314" y="331"/>
                  </a:lnTo>
                  <a:lnTo>
                    <a:pt x="311" y="331"/>
                  </a:lnTo>
                  <a:lnTo>
                    <a:pt x="309" y="333"/>
                  </a:lnTo>
                  <a:lnTo>
                    <a:pt x="307" y="334"/>
                  </a:lnTo>
                  <a:lnTo>
                    <a:pt x="210" y="429"/>
                  </a:lnTo>
                  <a:lnTo>
                    <a:pt x="210" y="345"/>
                  </a:lnTo>
                  <a:lnTo>
                    <a:pt x="209" y="342"/>
                  </a:lnTo>
                  <a:lnTo>
                    <a:pt x="208" y="339"/>
                  </a:lnTo>
                  <a:lnTo>
                    <a:pt x="207" y="336"/>
                  </a:lnTo>
                  <a:lnTo>
                    <a:pt x="205" y="334"/>
                  </a:lnTo>
                  <a:lnTo>
                    <a:pt x="203" y="333"/>
                  </a:lnTo>
                  <a:lnTo>
                    <a:pt x="201" y="331"/>
                  </a:lnTo>
                  <a:lnTo>
                    <a:pt x="197" y="331"/>
                  </a:lnTo>
                  <a:lnTo>
                    <a:pt x="195" y="330"/>
                  </a:lnTo>
                  <a:lnTo>
                    <a:pt x="74" y="330"/>
                  </a:lnTo>
                  <a:lnTo>
                    <a:pt x="66" y="329"/>
                  </a:lnTo>
                  <a:lnTo>
                    <a:pt x="58" y="327"/>
                  </a:lnTo>
                  <a:lnTo>
                    <a:pt x="51" y="322"/>
                  </a:lnTo>
                  <a:lnTo>
                    <a:pt x="43" y="316"/>
                  </a:lnTo>
                  <a:lnTo>
                    <a:pt x="38" y="309"/>
                  </a:lnTo>
                  <a:lnTo>
                    <a:pt x="34" y="302"/>
                  </a:lnTo>
                  <a:lnTo>
                    <a:pt x="31" y="293"/>
                  </a:lnTo>
                  <a:lnTo>
                    <a:pt x="29" y="285"/>
                  </a:lnTo>
                  <a:lnTo>
                    <a:pt x="29" y="75"/>
                  </a:lnTo>
                  <a:lnTo>
                    <a:pt x="31" y="67"/>
                  </a:lnTo>
                  <a:lnTo>
                    <a:pt x="34" y="58"/>
                  </a:lnTo>
                  <a:lnTo>
                    <a:pt x="38" y="51"/>
                  </a:lnTo>
                  <a:lnTo>
                    <a:pt x="43" y="44"/>
                  </a:lnTo>
                  <a:lnTo>
                    <a:pt x="51" y="39"/>
                  </a:lnTo>
                  <a:lnTo>
                    <a:pt x="58" y="35"/>
                  </a:lnTo>
                  <a:lnTo>
                    <a:pt x="66" y="31"/>
                  </a:lnTo>
                  <a:lnTo>
                    <a:pt x="74" y="30"/>
                  </a:lnTo>
                  <a:lnTo>
                    <a:pt x="525" y="30"/>
                  </a:lnTo>
                  <a:lnTo>
                    <a:pt x="533" y="31"/>
                  </a:lnTo>
                  <a:lnTo>
                    <a:pt x="541" y="35"/>
                  </a:lnTo>
                  <a:lnTo>
                    <a:pt x="549" y="39"/>
                  </a:lnTo>
                  <a:lnTo>
                    <a:pt x="556" y="44"/>
                  </a:lnTo>
                  <a:lnTo>
                    <a:pt x="561" y="51"/>
                  </a:lnTo>
                  <a:lnTo>
                    <a:pt x="565" y="58"/>
                  </a:lnTo>
                  <a:lnTo>
                    <a:pt x="569" y="67"/>
                  </a:lnTo>
                  <a:lnTo>
                    <a:pt x="570" y="75"/>
                  </a:lnTo>
                  <a:lnTo>
                    <a:pt x="570" y="285"/>
                  </a:lnTo>
                  <a:close/>
                  <a:moveTo>
                    <a:pt x="525" y="0"/>
                  </a:moveTo>
                  <a:lnTo>
                    <a:pt x="74" y="0"/>
                  </a:lnTo>
                  <a:lnTo>
                    <a:pt x="67" y="0"/>
                  </a:lnTo>
                  <a:lnTo>
                    <a:pt x="61" y="1"/>
                  </a:lnTo>
                  <a:lnTo>
                    <a:pt x="53" y="4"/>
                  </a:lnTo>
                  <a:lnTo>
                    <a:pt x="47" y="7"/>
                  </a:lnTo>
                  <a:lnTo>
                    <a:pt x="40" y="10"/>
                  </a:lnTo>
                  <a:lnTo>
                    <a:pt x="34" y="13"/>
                  </a:lnTo>
                  <a:lnTo>
                    <a:pt x="27" y="17"/>
                  </a:lnTo>
                  <a:lnTo>
                    <a:pt x="22" y="23"/>
                  </a:lnTo>
                  <a:lnTo>
                    <a:pt x="18" y="28"/>
                  </a:lnTo>
                  <a:lnTo>
                    <a:pt x="13" y="33"/>
                  </a:lnTo>
                  <a:lnTo>
                    <a:pt x="9" y="40"/>
                  </a:lnTo>
                  <a:lnTo>
                    <a:pt x="6" y="46"/>
                  </a:lnTo>
                  <a:lnTo>
                    <a:pt x="4" y="54"/>
                  </a:lnTo>
                  <a:lnTo>
                    <a:pt x="2" y="60"/>
                  </a:lnTo>
                  <a:lnTo>
                    <a:pt x="1" y="68"/>
                  </a:lnTo>
                  <a:lnTo>
                    <a:pt x="0" y="75"/>
                  </a:lnTo>
                  <a:lnTo>
                    <a:pt x="0" y="285"/>
                  </a:lnTo>
                  <a:lnTo>
                    <a:pt x="1" y="292"/>
                  </a:lnTo>
                  <a:lnTo>
                    <a:pt x="2" y="300"/>
                  </a:lnTo>
                  <a:lnTo>
                    <a:pt x="4" y="306"/>
                  </a:lnTo>
                  <a:lnTo>
                    <a:pt x="6" y="314"/>
                  </a:lnTo>
                  <a:lnTo>
                    <a:pt x="9" y="320"/>
                  </a:lnTo>
                  <a:lnTo>
                    <a:pt x="13" y="327"/>
                  </a:lnTo>
                  <a:lnTo>
                    <a:pt x="18" y="332"/>
                  </a:lnTo>
                  <a:lnTo>
                    <a:pt x="22" y="337"/>
                  </a:lnTo>
                  <a:lnTo>
                    <a:pt x="27" y="343"/>
                  </a:lnTo>
                  <a:lnTo>
                    <a:pt x="34" y="347"/>
                  </a:lnTo>
                  <a:lnTo>
                    <a:pt x="40" y="351"/>
                  </a:lnTo>
                  <a:lnTo>
                    <a:pt x="47" y="354"/>
                  </a:lnTo>
                  <a:lnTo>
                    <a:pt x="53" y="357"/>
                  </a:lnTo>
                  <a:lnTo>
                    <a:pt x="61" y="359"/>
                  </a:lnTo>
                  <a:lnTo>
                    <a:pt x="67" y="360"/>
                  </a:lnTo>
                  <a:lnTo>
                    <a:pt x="74" y="360"/>
                  </a:lnTo>
                  <a:lnTo>
                    <a:pt x="179" y="360"/>
                  </a:lnTo>
                  <a:lnTo>
                    <a:pt x="179" y="465"/>
                  </a:lnTo>
                  <a:lnTo>
                    <a:pt x="180" y="469"/>
                  </a:lnTo>
                  <a:lnTo>
                    <a:pt x="182" y="473"/>
                  </a:lnTo>
                  <a:lnTo>
                    <a:pt x="186" y="476"/>
                  </a:lnTo>
                  <a:lnTo>
                    <a:pt x="189" y="478"/>
                  </a:lnTo>
                  <a:lnTo>
                    <a:pt x="192" y="480"/>
                  </a:lnTo>
                  <a:lnTo>
                    <a:pt x="195" y="480"/>
                  </a:lnTo>
                  <a:lnTo>
                    <a:pt x="197" y="480"/>
                  </a:lnTo>
                  <a:lnTo>
                    <a:pt x="201" y="478"/>
                  </a:lnTo>
                  <a:lnTo>
                    <a:pt x="203" y="477"/>
                  </a:lnTo>
                  <a:lnTo>
                    <a:pt x="205" y="475"/>
                  </a:lnTo>
                  <a:lnTo>
                    <a:pt x="323" y="360"/>
                  </a:lnTo>
                  <a:lnTo>
                    <a:pt x="525" y="360"/>
                  </a:lnTo>
                  <a:lnTo>
                    <a:pt x="532" y="360"/>
                  </a:lnTo>
                  <a:lnTo>
                    <a:pt x="539" y="359"/>
                  </a:lnTo>
                  <a:lnTo>
                    <a:pt x="546" y="357"/>
                  </a:lnTo>
                  <a:lnTo>
                    <a:pt x="553" y="354"/>
                  </a:lnTo>
                  <a:lnTo>
                    <a:pt x="559" y="351"/>
                  </a:lnTo>
                  <a:lnTo>
                    <a:pt x="565" y="347"/>
                  </a:lnTo>
                  <a:lnTo>
                    <a:pt x="572" y="343"/>
                  </a:lnTo>
                  <a:lnTo>
                    <a:pt x="577" y="337"/>
                  </a:lnTo>
                  <a:lnTo>
                    <a:pt x="581" y="332"/>
                  </a:lnTo>
                  <a:lnTo>
                    <a:pt x="586" y="327"/>
                  </a:lnTo>
                  <a:lnTo>
                    <a:pt x="590" y="320"/>
                  </a:lnTo>
                  <a:lnTo>
                    <a:pt x="593" y="314"/>
                  </a:lnTo>
                  <a:lnTo>
                    <a:pt x="595" y="307"/>
                  </a:lnTo>
                  <a:lnTo>
                    <a:pt x="597" y="300"/>
                  </a:lnTo>
                  <a:lnTo>
                    <a:pt x="599" y="292"/>
                  </a:lnTo>
                  <a:lnTo>
                    <a:pt x="600" y="285"/>
                  </a:lnTo>
                  <a:lnTo>
                    <a:pt x="600" y="75"/>
                  </a:lnTo>
                  <a:lnTo>
                    <a:pt x="599" y="68"/>
                  </a:lnTo>
                  <a:lnTo>
                    <a:pt x="597" y="60"/>
                  </a:lnTo>
                  <a:lnTo>
                    <a:pt x="595" y="54"/>
                  </a:lnTo>
                  <a:lnTo>
                    <a:pt x="593" y="46"/>
                  </a:lnTo>
                  <a:lnTo>
                    <a:pt x="590" y="40"/>
                  </a:lnTo>
                  <a:lnTo>
                    <a:pt x="586" y="33"/>
                  </a:lnTo>
                  <a:lnTo>
                    <a:pt x="581" y="28"/>
                  </a:lnTo>
                  <a:lnTo>
                    <a:pt x="577" y="23"/>
                  </a:lnTo>
                  <a:lnTo>
                    <a:pt x="572" y="17"/>
                  </a:lnTo>
                  <a:lnTo>
                    <a:pt x="565" y="13"/>
                  </a:lnTo>
                  <a:lnTo>
                    <a:pt x="559" y="10"/>
                  </a:lnTo>
                  <a:lnTo>
                    <a:pt x="553" y="7"/>
                  </a:lnTo>
                  <a:lnTo>
                    <a:pt x="546" y="4"/>
                  </a:lnTo>
                  <a:lnTo>
                    <a:pt x="539" y="2"/>
                  </a:lnTo>
                  <a:lnTo>
                    <a:pt x="532" y="0"/>
                  </a:lnTo>
                  <a:lnTo>
                    <a:pt x="525" y="0"/>
                  </a:lnTo>
                  <a:lnTo>
                    <a:pt x="5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220">
              <a:extLst>
                <a:ext uri="{FF2B5EF4-FFF2-40B4-BE49-F238E27FC236}">
                  <a16:creationId xmlns:a16="http://schemas.microsoft.com/office/drawing/2014/main" id="{0ABB4363-334E-4196-92E2-51C9E2F112DA}"/>
                </a:ext>
              </a:extLst>
            </p:cNvPr>
            <p:cNvSpPr>
              <a:spLocks/>
            </p:cNvSpPr>
            <p:nvPr/>
          </p:nvSpPr>
          <p:spPr bwMode="auto">
            <a:xfrm>
              <a:off x="512763" y="1960563"/>
              <a:ext cx="11113" cy="12700"/>
            </a:xfrm>
            <a:custGeom>
              <a:avLst/>
              <a:gdLst>
                <a:gd name="T0" fmla="*/ 19 w 37"/>
                <a:gd name="T1" fmla="*/ 0 h 39"/>
                <a:gd name="T2" fmla="*/ 15 w 37"/>
                <a:gd name="T3" fmla="*/ 1 h 39"/>
                <a:gd name="T4" fmla="*/ 12 w 37"/>
                <a:gd name="T5" fmla="*/ 2 h 39"/>
                <a:gd name="T6" fmla="*/ 8 w 37"/>
                <a:gd name="T7" fmla="*/ 3 h 39"/>
                <a:gd name="T8" fmla="*/ 5 w 37"/>
                <a:gd name="T9" fmla="*/ 7 h 39"/>
                <a:gd name="T10" fmla="*/ 3 w 37"/>
                <a:gd name="T11" fmla="*/ 9 h 39"/>
                <a:gd name="T12" fmla="*/ 2 w 37"/>
                <a:gd name="T13" fmla="*/ 12 h 39"/>
                <a:gd name="T14" fmla="*/ 0 w 37"/>
                <a:gd name="T15" fmla="*/ 15 h 39"/>
                <a:gd name="T16" fmla="*/ 0 w 37"/>
                <a:gd name="T17" fmla="*/ 19 h 39"/>
                <a:gd name="T18" fmla="*/ 0 w 37"/>
                <a:gd name="T19" fmla="*/ 24 h 39"/>
                <a:gd name="T20" fmla="*/ 2 w 37"/>
                <a:gd name="T21" fmla="*/ 27 h 39"/>
                <a:gd name="T22" fmla="*/ 3 w 37"/>
                <a:gd name="T23" fmla="*/ 30 h 39"/>
                <a:gd name="T24" fmla="*/ 5 w 37"/>
                <a:gd name="T25" fmla="*/ 33 h 39"/>
                <a:gd name="T26" fmla="*/ 8 w 37"/>
                <a:gd name="T27" fmla="*/ 35 h 39"/>
                <a:gd name="T28" fmla="*/ 12 w 37"/>
                <a:gd name="T29" fmla="*/ 36 h 39"/>
                <a:gd name="T30" fmla="*/ 15 w 37"/>
                <a:gd name="T31" fmla="*/ 38 h 39"/>
                <a:gd name="T32" fmla="*/ 19 w 37"/>
                <a:gd name="T33" fmla="*/ 39 h 39"/>
                <a:gd name="T34" fmla="*/ 22 w 37"/>
                <a:gd name="T35" fmla="*/ 38 h 39"/>
                <a:gd name="T36" fmla="*/ 27 w 37"/>
                <a:gd name="T37" fmla="*/ 36 h 39"/>
                <a:gd name="T38" fmla="*/ 30 w 37"/>
                <a:gd name="T39" fmla="*/ 35 h 39"/>
                <a:gd name="T40" fmla="*/ 32 w 37"/>
                <a:gd name="T41" fmla="*/ 32 h 39"/>
                <a:gd name="T42" fmla="*/ 34 w 37"/>
                <a:gd name="T43" fmla="*/ 30 h 39"/>
                <a:gd name="T44" fmla="*/ 36 w 37"/>
                <a:gd name="T45" fmla="*/ 27 h 39"/>
                <a:gd name="T46" fmla="*/ 37 w 37"/>
                <a:gd name="T47" fmla="*/ 24 h 39"/>
                <a:gd name="T48" fmla="*/ 37 w 37"/>
                <a:gd name="T49" fmla="*/ 19 h 39"/>
                <a:gd name="T50" fmla="*/ 37 w 37"/>
                <a:gd name="T51" fmla="*/ 16 h 39"/>
                <a:gd name="T52" fmla="*/ 36 w 37"/>
                <a:gd name="T53" fmla="*/ 12 h 39"/>
                <a:gd name="T54" fmla="*/ 34 w 37"/>
                <a:gd name="T55" fmla="*/ 9 h 39"/>
                <a:gd name="T56" fmla="*/ 32 w 37"/>
                <a:gd name="T57" fmla="*/ 7 h 39"/>
                <a:gd name="T58" fmla="*/ 30 w 37"/>
                <a:gd name="T59" fmla="*/ 3 h 39"/>
                <a:gd name="T60" fmla="*/ 27 w 37"/>
                <a:gd name="T61" fmla="*/ 2 h 39"/>
                <a:gd name="T62" fmla="*/ 22 w 37"/>
                <a:gd name="T63" fmla="*/ 1 h 39"/>
                <a:gd name="T64" fmla="*/ 19 w 37"/>
                <a:gd name="T65" fmla="*/ 0 h 39"/>
                <a:gd name="T66" fmla="*/ 19 w 37"/>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39">
                  <a:moveTo>
                    <a:pt x="19" y="0"/>
                  </a:moveTo>
                  <a:lnTo>
                    <a:pt x="15" y="1"/>
                  </a:lnTo>
                  <a:lnTo>
                    <a:pt x="12" y="2"/>
                  </a:lnTo>
                  <a:lnTo>
                    <a:pt x="8" y="3"/>
                  </a:lnTo>
                  <a:lnTo>
                    <a:pt x="5" y="7"/>
                  </a:lnTo>
                  <a:lnTo>
                    <a:pt x="3" y="9"/>
                  </a:lnTo>
                  <a:lnTo>
                    <a:pt x="2" y="12"/>
                  </a:lnTo>
                  <a:lnTo>
                    <a:pt x="0" y="15"/>
                  </a:lnTo>
                  <a:lnTo>
                    <a:pt x="0" y="19"/>
                  </a:lnTo>
                  <a:lnTo>
                    <a:pt x="0" y="24"/>
                  </a:lnTo>
                  <a:lnTo>
                    <a:pt x="2" y="27"/>
                  </a:lnTo>
                  <a:lnTo>
                    <a:pt x="3" y="30"/>
                  </a:lnTo>
                  <a:lnTo>
                    <a:pt x="5" y="33"/>
                  </a:lnTo>
                  <a:lnTo>
                    <a:pt x="8" y="35"/>
                  </a:lnTo>
                  <a:lnTo>
                    <a:pt x="12" y="36"/>
                  </a:lnTo>
                  <a:lnTo>
                    <a:pt x="15" y="38"/>
                  </a:lnTo>
                  <a:lnTo>
                    <a:pt x="19" y="39"/>
                  </a:lnTo>
                  <a:lnTo>
                    <a:pt x="22" y="38"/>
                  </a:lnTo>
                  <a:lnTo>
                    <a:pt x="27" y="36"/>
                  </a:lnTo>
                  <a:lnTo>
                    <a:pt x="30" y="35"/>
                  </a:lnTo>
                  <a:lnTo>
                    <a:pt x="32" y="32"/>
                  </a:lnTo>
                  <a:lnTo>
                    <a:pt x="34" y="30"/>
                  </a:lnTo>
                  <a:lnTo>
                    <a:pt x="36" y="27"/>
                  </a:lnTo>
                  <a:lnTo>
                    <a:pt x="37" y="24"/>
                  </a:lnTo>
                  <a:lnTo>
                    <a:pt x="37" y="19"/>
                  </a:lnTo>
                  <a:lnTo>
                    <a:pt x="37" y="16"/>
                  </a:lnTo>
                  <a:lnTo>
                    <a:pt x="36" y="12"/>
                  </a:lnTo>
                  <a:lnTo>
                    <a:pt x="34" y="9"/>
                  </a:lnTo>
                  <a:lnTo>
                    <a:pt x="32" y="7"/>
                  </a:lnTo>
                  <a:lnTo>
                    <a:pt x="30" y="3"/>
                  </a:lnTo>
                  <a:lnTo>
                    <a:pt x="27" y="2"/>
                  </a:lnTo>
                  <a:lnTo>
                    <a:pt x="22" y="1"/>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0" name="Freeform 221">
              <a:extLst>
                <a:ext uri="{FF2B5EF4-FFF2-40B4-BE49-F238E27FC236}">
                  <a16:creationId xmlns:a16="http://schemas.microsoft.com/office/drawing/2014/main" id="{D171FC90-1542-48EB-A615-7533115DEACD}"/>
                </a:ext>
              </a:extLst>
            </p:cNvPr>
            <p:cNvSpPr>
              <a:spLocks/>
            </p:cNvSpPr>
            <p:nvPr/>
          </p:nvSpPr>
          <p:spPr bwMode="auto">
            <a:xfrm>
              <a:off x="541338" y="1960563"/>
              <a:ext cx="12700" cy="12700"/>
            </a:xfrm>
            <a:custGeom>
              <a:avLst/>
              <a:gdLst>
                <a:gd name="T0" fmla="*/ 19 w 39"/>
                <a:gd name="T1" fmla="*/ 0 h 39"/>
                <a:gd name="T2" fmla="*/ 16 w 39"/>
                <a:gd name="T3" fmla="*/ 1 h 39"/>
                <a:gd name="T4" fmla="*/ 12 w 39"/>
                <a:gd name="T5" fmla="*/ 2 h 39"/>
                <a:gd name="T6" fmla="*/ 9 w 39"/>
                <a:gd name="T7" fmla="*/ 3 h 39"/>
                <a:gd name="T8" fmla="*/ 6 w 39"/>
                <a:gd name="T9" fmla="*/ 7 h 39"/>
                <a:gd name="T10" fmla="*/ 3 w 39"/>
                <a:gd name="T11" fmla="*/ 9 h 39"/>
                <a:gd name="T12" fmla="*/ 2 w 39"/>
                <a:gd name="T13" fmla="*/ 12 h 39"/>
                <a:gd name="T14" fmla="*/ 1 w 39"/>
                <a:gd name="T15" fmla="*/ 15 h 39"/>
                <a:gd name="T16" fmla="*/ 0 w 39"/>
                <a:gd name="T17" fmla="*/ 19 h 39"/>
                <a:gd name="T18" fmla="*/ 1 w 39"/>
                <a:gd name="T19" fmla="*/ 24 h 39"/>
                <a:gd name="T20" fmla="*/ 2 w 39"/>
                <a:gd name="T21" fmla="*/ 27 h 39"/>
                <a:gd name="T22" fmla="*/ 3 w 39"/>
                <a:gd name="T23" fmla="*/ 30 h 39"/>
                <a:gd name="T24" fmla="*/ 6 w 39"/>
                <a:gd name="T25" fmla="*/ 33 h 39"/>
                <a:gd name="T26" fmla="*/ 9 w 39"/>
                <a:gd name="T27" fmla="*/ 35 h 39"/>
                <a:gd name="T28" fmla="*/ 12 w 39"/>
                <a:gd name="T29" fmla="*/ 36 h 39"/>
                <a:gd name="T30" fmla="*/ 16 w 39"/>
                <a:gd name="T31" fmla="*/ 38 h 39"/>
                <a:gd name="T32" fmla="*/ 19 w 39"/>
                <a:gd name="T33" fmla="*/ 39 h 39"/>
                <a:gd name="T34" fmla="*/ 24 w 39"/>
                <a:gd name="T35" fmla="*/ 38 h 39"/>
                <a:gd name="T36" fmla="*/ 27 w 39"/>
                <a:gd name="T37" fmla="*/ 36 h 39"/>
                <a:gd name="T38" fmla="*/ 30 w 39"/>
                <a:gd name="T39" fmla="*/ 35 h 39"/>
                <a:gd name="T40" fmla="*/ 33 w 39"/>
                <a:gd name="T41" fmla="*/ 32 h 39"/>
                <a:gd name="T42" fmla="*/ 35 w 39"/>
                <a:gd name="T43" fmla="*/ 30 h 39"/>
                <a:gd name="T44" fmla="*/ 36 w 39"/>
                <a:gd name="T45" fmla="*/ 27 h 39"/>
                <a:gd name="T46" fmla="*/ 38 w 39"/>
                <a:gd name="T47" fmla="*/ 24 h 39"/>
                <a:gd name="T48" fmla="*/ 39 w 39"/>
                <a:gd name="T49" fmla="*/ 19 h 39"/>
                <a:gd name="T50" fmla="*/ 38 w 39"/>
                <a:gd name="T51" fmla="*/ 16 h 39"/>
                <a:gd name="T52" fmla="*/ 36 w 39"/>
                <a:gd name="T53" fmla="*/ 12 h 39"/>
                <a:gd name="T54" fmla="*/ 35 w 39"/>
                <a:gd name="T55" fmla="*/ 9 h 39"/>
                <a:gd name="T56" fmla="*/ 33 w 39"/>
                <a:gd name="T57" fmla="*/ 7 h 39"/>
                <a:gd name="T58" fmla="*/ 30 w 39"/>
                <a:gd name="T59" fmla="*/ 3 h 39"/>
                <a:gd name="T60" fmla="*/ 27 w 39"/>
                <a:gd name="T61" fmla="*/ 2 h 39"/>
                <a:gd name="T62" fmla="*/ 24 w 39"/>
                <a:gd name="T63" fmla="*/ 1 h 39"/>
                <a:gd name="T64" fmla="*/ 19 w 39"/>
                <a:gd name="T65" fmla="*/ 0 h 39"/>
                <a:gd name="T66" fmla="*/ 19 w 39"/>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39">
                  <a:moveTo>
                    <a:pt x="19" y="0"/>
                  </a:moveTo>
                  <a:lnTo>
                    <a:pt x="16" y="1"/>
                  </a:lnTo>
                  <a:lnTo>
                    <a:pt x="12" y="2"/>
                  </a:lnTo>
                  <a:lnTo>
                    <a:pt x="9" y="3"/>
                  </a:lnTo>
                  <a:lnTo>
                    <a:pt x="6" y="7"/>
                  </a:lnTo>
                  <a:lnTo>
                    <a:pt x="3" y="9"/>
                  </a:lnTo>
                  <a:lnTo>
                    <a:pt x="2" y="12"/>
                  </a:lnTo>
                  <a:lnTo>
                    <a:pt x="1" y="15"/>
                  </a:lnTo>
                  <a:lnTo>
                    <a:pt x="0" y="19"/>
                  </a:lnTo>
                  <a:lnTo>
                    <a:pt x="1" y="24"/>
                  </a:lnTo>
                  <a:lnTo>
                    <a:pt x="2" y="27"/>
                  </a:lnTo>
                  <a:lnTo>
                    <a:pt x="3" y="30"/>
                  </a:lnTo>
                  <a:lnTo>
                    <a:pt x="6" y="33"/>
                  </a:lnTo>
                  <a:lnTo>
                    <a:pt x="9" y="35"/>
                  </a:lnTo>
                  <a:lnTo>
                    <a:pt x="12" y="36"/>
                  </a:lnTo>
                  <a:lnTo>
                    <a:pt x="16" y="38"/>
                  </a:lnTo>
                  <a:lnTo>
                    <a:pt x="19" y="39"/>
                  </a:lnTo>
                  <a:lnTo>
                    <a:pt x="24" y="38"/>
                  </a:lnTo>
                  <a:lnTo>
                    <a:pt x="27" y="36"/>
                  </a:lnTo>
                  <a:lnTo>
                    <a:pt x="30" y="35"/>
                  </a:lnTo>
                  <a:lnTo>
                    <a:pt x="33" y="32"/>
                  </a:lnTo>
                  <a:lnTo>
                    <a:pt x="35" y="30"/>
                  </a:lnTo>
                  <a:lnTo>
                    <a:pt x="36" y="27"/>
                  </a:lnTo>
                  <a:lnTo>
                    <a:pt x="38" y="24"/>
                  </a:lnTo>
                  <a:lnTo>
                    <a:pt x="39" y="19"/>
                  </a:lnTo>
                  <a:lnTo>
                    <a:pt x="38" y="16"/>
                  </a:lnTo>
                  <a:lnTo>
                    <a:pt x="36" y="12"/>
                  </a:lnTo>
                  <a:lnTo>
                    <a:pt x="35" y="9"/>
                  </a:lnTo>
                  <a:lnTo>
                    <a:pt x="33" y="7"/>
                  </a:lnTo>
                  <a:lnTo>
                    <a:pt x="30" y="3"/>
                  </a:lnTo>
                  <a:lnTo>
                    <a:pt x="27" y="2"/>
                  </a:lnTo>
                  <a:lnTo>
                    <a:pt x="24" y="1"/>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222">
              <a:extLst>
                <a:ext uri="{FF2B5EF4-FFF2-40B4-BE49-F238E27FC236}">
                  <a16:creationId xmlns:a16="http://schemas.microsoft.com/office/drawing/2014/main" id="{2AD71188-C868-4965-9A0D-9C6DA62A8091}"/>
                </a:ext>
              </a:extLst>
            </p:cNvPr>
            <p:cNvSpPr>
              <a:spLocks/>
            </p:cNvSpPr>
            <p:nvPr/>
          </p:nvSpPr>
          <p:spPr bwMode="auto">
            <a:xfrm>
              <a:off x="482600" y="1960563"/>
              <a:ext cx="11113" cy="12700"/>
            </a:xfrm>
            <a:custGeom>
              <a:avLst/>
              <a:gdLst>
                <a:gd name="T0" fmla="*/ 18 w 37"/>
                <a:gd name="T1" fmla="*/ 0 h 39"/>
                <a:gd name="T2" fmla="*/ 15 w 37"/>
                <a:gd name="T3" fmla="*/ 1 h 39"/>
                <a:gd name="T4" fmla="*/ 12 w 37"/>
                <a:gd name="T5" fmla="*/ 2 h 39"/>
                <a:gd name="T6" fmla="*/ 8 w 37"/>
                <a:gd name="T7" fmla="*/ 3 h 39"/>
                <a:gd name="T8" fmla="*/ 5 w 37"/>
                <a:gd name="T9" fmla="*/ 7 h 39"/>
                <a:gd name="T10" fmla="*/ 3 w 37"/>
                <a:gd name="T11" fmla="*/ 9 h 39"/>
                <a:gd name="T12" fmla="*/ 1 w 37"/>
                <a:gd name="T13" fmla="*/ 12 h 39"/>
                <a:gd name="T14" fmla="*/ 0 w 37"/>
                <a:gd name="T15" fmla="*/ 15 h 39"/>
                <a:gd name="T16" fmla="*/ 0 w 37"/>
                <a:gd name="T17" fmla="*/ 19 h 39"/>
                <a:gd name="T18" fmla="*/ 0 w 37"/>
                <a:gd name="T19" fmla="*/ 24 h 39"/>
                <a:gd name="T20" fmla="*/ 1 w 37"/>
                <a:gd name="T21" fmla="*/ 27 h 39"/>
                <a:gd name="T22" fmla="*/ 3 w 37"/>
                <a:gd name="T23" fmla="*/ 30 h 39"/>
                <a:gd name="T24" fmla="*/ 5 w 37"/>
                <a:gd name="T25" fmla="*/ 33 h 39"/>
                <a:gd name="T26" fmla="*/ 8 w 37"/>
                <a:gd name="T27" fmla="*/ 35 h 39"/>
                <a:gd name="T28" fmla="*/ 12 w 37"/>
                <a:gd name="T29" fmla="*/ 36 h 39"/>
                <a:gd name="T30" fmla="*/ 15 w 37"/>
                <a:gd name="T31" fmla="*/ 38 h 39"/>
                <a:gd name="T32" fmla="*/ 18 w 37"/>
                <a:gd name="T33" fmla="*/ 39 h 39"/>
                <a:gd name="T34" fmla="*/ 22 w 37"/>
                <a:gd name="T35" fmla="*/ 38 h 39"/>
                <a:gd name="T36" fmla="*/ 25 w 37"/>
                <a:gd name="T37" fmla="*/ 36 h 39"/>
                <a:gd name="T38" fmla="*/ 29 w 37"/>
                <a:gd name="T39" fmla="*/ 35 h 39"/>
                <a:gd name="T40" fmla="*/ 32 w 37"/>
                <a:gd name="T41" fmla="*/ 32 h 39"/>
                <a:gd name="T42" fmla="*/ 34 w 37"/>
                <a:gd name="T43" fmla="*/ 30 h 39"/>
                <a:gd name="T44" fmla="*/ 36 w 37"/>
                <a:gd name="T45" fmla="*/ 27 h 39"/>
                <a:gd name="T46" fmla="*/ 37 w 37"/>
                <a:gd name="T47" fmla="*/ 24 h 39"/>
                <a:gd name="T48" fmla="*/ 37 w 37"/>
                <a:gd name="T49" fmla="*/ 19 h 39"/>
                <a:gd name="T50" fmla="*/ 37 w 37"/>
                <a:gd name="T51" fmla="*/ 16 h 39"/>
                <a:gd name="T52" fmla="*/ 36 w 37"/>
                <a:gd name="T53" fmla="*/ 12 h 39"/>
                <a:gd name="T54" fmla="*/ 34 w 37"/>
                <a:gd name="T55" fmla="*/ 9 h 39"/>
                <a:gd name="T56" fmla="*/ 32 w 37"/>
                <a:gd name="T57" fmla="*/ 7 h 39"/>
                <a:gd name="T58" fmla="*/ 29 w 37"/>
                <a:gd name="T59" fmla="*/ 3 h 39"/>
                <a:gd name="T60" fmla="*/ 25 w 37"/>
                <a:gd name="T61" fmla="*/ 2 h 39"/>
                <a:gd name="T62" fmla="*/ 22 w 37"/>
                <a:gd name="T63" fmla="*/ 1 h 39"/>
                <a:gd name="T64" fmla="*/ 18 w 37"/>
                <a:gd name="T65" fmla="*/ 0 h 39"/>
                <a:gd name="T66" fmla="*/ 18 w 37"/>
                <a:gd name="T6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 h="39">
                  <a:moveTo>
                    <a:pt x="18" y="0"/>
                  </a:moveTo>
                  <a:lnTo>
                    <a:pt x="15" y="1"/>
                  </a:lnTo>
                  <a:lnTo>
                    <a:pt x="12" y="2"/>
                  </a:lnTo>
                  <a:lnTo>
                    <a:pt x="8" y="3"/>
                  </a:lnTo>
                  <a:lnTo>
                    <a:pt x="5" y="7"/>
                  </a:lnTo>
                  <a:lnTo>
                    <a:pt x="3" y="9"/>
                  </a:lnTo>
                  <a:lnTo>
                    <a:pt x="1" y="12"/>
                  </a:lnTo>
                  <a:lnTo>
                    <a:pt x="0" y="15"/>
                  </a:lnTo>
                  <a:lnTo>
                    <a:pt x="0" y="19"/>
                  </a:lnTo>
                  <a:lnTo>
                    <a:pt x="0" y="24"/>
                  </a:lnTo>
                  <a:lnTo>
                    <a:pt x="1" y="27"/>
                  </a:lnTo>
                  <a:lnTo>
                    <a:pt x="3" y="30"/>
                  </a:lnTo>
                  <a:lnTo>
                    <a:pt x="5" y="33"/>
                  </a:lnTo>
                  <a:lnTo>
                    <a:pt x="8" y="35"/>
                  </a:lnTo>
                  <a:lnTo>
                    <a:pt x="12" y="36"/>
                  </a:lnTo>
                  <a:lnTo>
                    <a:pt x="15" y="38"/>
                  </a:lnTo>
                  <a:lnTo>
                    <a:pt x="18" y="39"/>
                  </a:lnTo>
                  <a:lnTo>
                    <a:pt x="22" y="38"/>
                  </a:lnTo>
                  <a:lnTo>
                    <a:pt x="25" y="36"/>
                  </a:lnTo>
                  <a:lnTo>
                    <a:pt x="29" y="35"/>
                  </a:lnTo>
                  <a:lnTo>
                    <a:pt x="32" y="32"/>
                  </a:lnTo>
                  <a:lnTo>
                    <a:pt x="34" y="30"/>
                  </a:lnTo>
                  <a:lnTo>
                    <a:pt x="36" y="27"/>
                  </a:lnTo>
                  <a:lnTo>
                    <a:pt x="37" y="24"/>
                  </a:lnTo>
                  <a:lnTo>
                    <a:pt x="37" y="19"/>
                  </a:lnTo>
                  <a:lnTo>
                    <a:pt x="37" y="16"/>
                  </a:lnTo>
                  <a:lnTo>
                    <a:pt x="36" y="12"/>
                  </a:lnTo>
                  <a:lnTo>
                    <a:pt x="34" y="9"/>
                  </a:lnTo>
                  <a:lnTo>
                    <a:pt x="32" y="7"/>
                  </a:lnTo>
                  <a:lnTo>
                    <a:pt x="29" y="3"/>
                  </a:lnTo>
                  <a:lnTo>
                    <a:pt x="25" y="2"/>
                  </a:lnTo>
                  <a:lnTo>
                    <a:pt x="22" y="1"/>
                  </a:lnTo>
                  <a:lnTo>
                    <a:pt x="18" y="0"/>
                  </a:ln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2" name="Freeform 223">
              <a:extLst>
                <a:ext uri="{FF2B5EF4-FFF2-40B4-BE49-F238E27FC236}">
                  <a16:creationId xmlns:a16="http://schemas.microsoft.com/office/drawing/2014/main" id="{CCC6A9C3-EF5F-4771-8602-6A22D383441F}"/>
                </a:ext>
              </a:extLst>
            </p:cNvPr>
            <p:cNvSpPr>
              <a:spLocks noEditPoints="1"/>
            </p:cNvSpPr>
            <p:nvPr/>
          </p:nvSpPr>
          <p:spPr bwMode="auto">
            <a:xfrm>
              <a:off x="387350" y="2154238"/>
              <a:ext cx="22225" cy="20638"/>
            </a:xfrm>
            <a:custGeom>
              <a:avLst/>
              <a:gdLst>
                <a:gd name="T0" fmla="*/ 30 w 68"/>
                <a:gd name="T1" fmla="*/ 34 h 68"/>
                <a:gd name="T2" fmla="*/ 30 w 68"/>
                <a:gd name="T3" fmla="*/ 32 h 68"/>
                <a:gd name="T4" fmla="*/ 31 w 68"/>
                <a:gd name="T5" fmla="*/ 31 h 68"/>
                <a:gd name="T6" fmla="*/ 32 w 68"/>
                <a:gd name="T7" fmla="*/ 30 h 68"/>
                <a:gd name="T8" fmla="*/ 35 w 68"/>
                <a:gd name="T9" fmla="*/ 30 h 68"/>
                <a:gd name="T10" fmla="*/ 36 w 68"/>
                <a:gd name="T11" fmla="*/ 30 h 68"/>
                <a:gd name="T12" fmla="*/ 37 w 68"/>
                <a:gd name="T13" fmla="*/ 31 h 68"/>
                <a:gd name="T14" fmla="*/ 38 w 68"/>
                <a:gd name="T15" fmla="*/ 32 h 68"/>
                <a:gd name="T16" fmla="*/ 38 w 68"/>
                <a:gd name="T17" fmla="*/ 34 h 68"/>
                <a:gd name="T18" fmla="*/ 38 w 68"/>
                <a:gd name="T19" fmla="*/ 35 h 68"/>
                <a:gd name="T20" fmla="*/ 37 w 68"/>
                <a:gd name="T21" fmla="*/ 36 h 68"/>
                <a:gd name="T22" fmla="*/ 36 w 68"/>
                <a:gd name="T23" fmla="*/ 37 h 68"/>
                <a:gd name="T24" fmla="*/ 35 w 68"/>
                <a:gd name="T25" fmla="*/ 37 h 68"/>
                <a:gd name="T26" fmla="*/ 32 w 68"/>
                <a:gd name="T27" fmla="*/ 37 h 68"/>
                <a:gd name="T28" fmla="*/ 31 w 68"/>
                <a:gd name="T29" fmla="*/ 36 h 68"/>
                <a:gd name="T30" fmla="*/ 30 w 68"/>
                <a:gd name="T31" fmla="*/ 35 h 68"/>
                <a:gd name="T32" fmla="*/ 30 w 68"/>
                <a:gd name="T33" fmla="*/ 34 h 68"/>
                <a:gd name="T34" fmla="*/ 35 w 68"/>
                <a:gd name="T35" fmla="*/ 0 h 68"/>
                <a:gd name="T36" fmla="*/ 27 w 68"/>
                <a:gd name="T37" fmla="*/ 1 h 68"/>
                <a:gd name="T38" fmla="*/ 21 w 68"/>
                <a:gd name="T39" fmla="*/ 3 h 68"/>
                <a:gd name="T40" fmla="*/ 15 w 68"/>
                <a:gd name="T41" fmla="*/ 6 h 68"/>
                <a:gd name="T42" fmla="*/ 10 w 68"/>
                <a:gd name="T43" fmla="*/ 9 h 68"/>
                <a:gd name="T44" fmla="*/ 6 w 68"/>
                <a:gd name="T45" fmla="*/ 15 h 68"/>
                <a:gd name="T46" fmla="*/ 2 w 68"/>
                <a:gd name="T47" fmla="*/ 21 h 68"/>
                <a:gd name="T48" fmla="*/ 0 w 68"/>
                <a:gd name="T49" fmla="*/ 27 h 68"/>
                <a:gd name="T50" fmla="*/ 0 w 68"/>
                <a:gd name="T51" fmla="*/ 34 h 68"/>
                <a:gd name="T52" fmla="*/ 0 w 68"/>
                <a:gd name="T53" fmla="*/ 40 h 68"/>
                <a:gd name="T54" fmla="*/ 2 w 68"/>
                <a:gd name="T55" fmla="*/ 47 h 68"/>
                <a:gd name="T56" fmla="*/ 6 w 68"/>
                <a:gd name="T57" fmla="*/ 53 h 68"/>
                <a:gd name="T58" fmla="*/ 10 w 68"/>
                <a:gd name="T59" fmla="*/ 58 h 68"/>
                <a:gd name="T60" fmla="*/ 15 w 68"/>
                <a:gd name="T61" fmla="*/ 62 h 68"/>
                <a:gd name="T62" fmla="*/ 21 w 68"/>
                <a:gd name="T63" fmla="*/ 65 h 68"/>
                <a:gd name="T64" fmla="*/ 27 w 68"/>
                <a:gd name="T65" fmla="*/ 67 h 68"/>
                <a:gd name="T66" fmla="*/ 35 w 68"/>
                <a:gd name="T67" fmla="*/ 68 h 68"/>
                <a:gd name="T68" fmla="*/ 41 w 68"/>
                <a:gd name="T69" fmla="*/ 67 h 68"/>
                <a:gd name="T70" fmla="*/ 47 w 68"/>
                <a:gd name="T71" fmla="*/ 65 h 68"/>
                <a:gd name="T72" fmla="*/ 53 w 68"/>
                <a:gd name="T73" fmla="*/ 62 h 68"/>
                <a:gd name="T74" fmla="*/ 58 w 68"/>
                <a:gd name="T75" fmla="*/ 58 h 68"/>
                <a:gd name="T76" fmla="*/ 62 w 68"/>
                <a:gd name="T77" fmla="*/ 53 h 68"/>
                <a:gd name="T78" fmla="*/ 66 w 68"/>
                <a:gd name="T79" fmla="*/ 47 h 68"/>
                <a:gd name="T80" fmla="*/ 68 w 68"/>
                <a:gd name="T81" fmla="*/ 40 h 68"/>
                <a:gd name="T82" fmla="*/ 68 w 68"/>
                <a:gd name="T83" fmla="*/ 34 h 68"/>
                <a:gd name="T84" fmla="*/ 68 w 68"/>
                <a:gd name="T85" fmla="*/ 27 h 68"/>
                <a:gd name="T86" fmla="*/ 66 w 68"/>
                <a:gd name="T87" fmla="*/ 21 h 68"/>
                <a:gd name="T88" fmla="*/ 62 w 68"/>
                <a:gd name="T89" fmla="*/ 15 h 68"/>
                <a:gd name="T90" fmla="*/ 58 w 68"/>
                <a:gd name="T91" fmla="*/ 9 h 68"/>
                <a:gd name="T92" fmla="*/ 53 w 68"/>
                <a:gd name="T93" fmla="*/ 6 h 68"/>
                <a:gd name="T94" fmla="*/ 47 w 68"/>
                <a:gd name="T95" fmla="*/ 3 h 68"/>
                <a:gd name="T96" fmla="*/ 41 w 68"/>
                <a:gd name="T97" fmla="*/ 1 h 68"/>
                <a:gd name="T98" fmla="*/ 35 w 68"/>
                <a:gd name="T99" fmla="*/ 0 h 68"/>
                <a:gd name="T100" fmla="*/ 35 w 68"/>
                <a:gd name="T10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68">
                  <a:moveTo>
                    <a:pt x="30" y="34"/>
                  </a:moveTo>
                  <a:lnTo>
                    <a:pt x="30" y="32"/>
                  </a:lnTo>
                  <a:lnTo>
                    <a:pt x="31" y="31"/>
                  </a:lnTo>
                  <a:lnTo>
                    <a:pt x="32" y="30"/>
                  </a:lnTo>
                  <a:lnTo>
                    <a:pt x="35" y="30"/>
                  </a:lnTo>
                  <a:lnTo>
                    <a:pt x="36" y="30"/>
                  </a:lnTo>
                  <a:lnTo>
                    <a:pt x="37" y="31"/>
                  </a:lnTo>
                  <a:lnTo>
                    <a:pt x="38" y="32"/>
                  </a:lnTo>
                  <a:lnTo>
                    <a:pt x="38" y="34"/>
                  </a:lnTo>
                  <a:lnTo>
                    <a:pt x="38" y="35"/>
                  </a:lnTo>
                  <a:lnTo>
                    <a:pt x="37" y="36"/>
                  </a:lnTo>
                  <a:lnTo>
                    <a:pt x="36" y="37"/>
                  </a:lnTo>
                  <a:lnTo>
                    <a:pt x="35" y="37"/>
                  </a:lnTo>
                  <a:lnTo>
                    <a:pt x="32" y="37"/>
                  </a:lnTo>
                  <a:lnTo>
                    <a:pt x="31" y="36"/>
                  </a:lnTo>
                  <a:lnTo>
                    <a:pt x="30" y="35"/>
                  </a:lnTo>
                  <a:lnTo>
                    <a:pt x="30" y="34"/>
                  </a:lnTo>
                  <a:close/>
                  <a:moveTo>
                    <a:pt x="35" y="0"/>
                  </a:moveTo>
                  <a:lnTo>
                    <a:pt x="27" y="1"/>
                  </a:lnTo>
                  <a:lnTo>
                    <a:pt x="21" y="3"/>
                  </a:lnTo>
                  <a:lnTo>
                    <a:pt x="15" y="6"/>
                  </a:lnTo>
                  <a:lnTo>
                    <a:pt x="10" y="9"/>
                  </a:lnTo>
                  <a:lnTo>
                    <a:pt x="6" y="15"/>
                  </a:lnTo>
                  <a:lnTo>
                    <a:pt x="2" y="21"/>
                  </a:lnTo>
                  <a:lnTo>
                    <a:pt x="0" y="27"/>
                  </a:lnTo>
                  <a:lnTo>
                    <a:pt x="0" y="34"/>
                  </a:lnTo>
                  <a:lnTo>
                    <a:pt x="0" y="40"/>
                  </a:lnTo>
                  <a:lnTo>
                    <a:pt x="2" y="47"/>
                  </a:lnTo>
                  <a:lnTo>
                    <a:pt x="6" y="53"/>
                  </a:lnTo>
                  <a:lnTo>
                    <a:pt x="10" y="58"/>
                  </a:lnTo>
                  <a:lnTo>
                    <a:pt x="15" y="62"/>
                  </a:lnTo>
                  <a:lnTo>
                    <a:pt x="21" y="65"/>
                  </a:lnTo>
                  <a:lnTo>
                    <a:pt x="27" y="67"/>
                  </a:lnTo>
                  <a:lnTo>
                    <a:pt x="35" y="68"/>
                  </a:lnTo>
                  <a:lnTo>
                    <a:pt x="41" y="67"/>
                  </a:lnTo>
                  <a:lnTo>
                    <a:pt x="47" y="65"/>
                  </a:lnTo>
                  <a:lnTo>
                    <a:pt x="53" y="62"/>
                  </a:lnTo>
                  <a:lnTo>
                    <a:pt x="58" y="58"/>
                  </a:lnTo>
                  <a:lnTo>
                    <a:pt x="62" y="53"/>
                  </a:lnTo>
                  <a:lnTo>
                    <a:pt x="66" y="47"/>
                  </a:lnTo>
                  <a:lnTo>
                    <a:pt x="68" y="40"/>
                  </a:lnTo>
                  <a:lnTo>
                    <a:pt x="68" y="34"/>
                  </a:lnTo>
                  <a:lnTo>
                    <a:pt x="68" y="27"/>
                  </a:lnTo>
                  <a:lnTo>
                    <a:pt x="66" y="21"/>
                  </a:lnTo>
                  <a:lnTo>
                    <a:pt x="62" y="15"/>
                  </a:lnTo>
                  <a:lnTo>
                    <a:pt x="58" y="9"/>
                  </a:lnTo>
                  <a:lnTo>
                    <a:pt x="53" y="6"/>
                  </a:lnTo>
                  <a:lnTo>
                    <a:pt x="47" y="3"/>
                  </a:lnTo>
                  <a:lnTo>
                    <a:pt x="41"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45" name="Group 1639">
            <a:extLst>
              <a:ext uri="{FF2B5EF4-FFF2-40B4-BE49-F238E27FC236}">
                <a16:creationId xmlns:a16="http://schemas.microsoft.com/office/drawing/2014/main" id="{9385425A-49D4-4313-95E6-6E927F96E4A3}"/>
              </a:ext>
            </a:extLst>
          </p:cNvPr>
          <p:cNvGrpSpPr>
            <a:grpSpLocks noChangeAspect="1"/>
          </p:cNvGrpSpPr>
          <p:nvPr/>
        </p:nvGrpSpPr>
        <p:grpSpPr>
          <a:xfrm>
            <a:off x="6609138" y="5432899"/>
            <a:ext cx="305900" cy="254974"/>
            <a:chOff x="9498013" y="1716088"/>
            <a:chExt cx="1279525" cy="1173162"/>
          </a:xfrm>
          <a:solidFill>
            <a:schemeClr val="bg1"/>
          </a:solidFill>
          <a:effectLst/>
        </p:grpSpPr>
        <p:sp>
          <p:nvSpPr>
            <p:cNvPr id="1946" name="Freeform 17">
              <a:extLst>
                <a:ext uri="{FF2B5EF4-FFF2-40B4-BE49-F238E27FC236}">
                  <a16:creationId xmlns:a16="http://schemas.microsoft.com/office/drawing/2014/main" id="{5A6833CB-DEB3-4C24-8173-2AAB2C285804}"/>
                </a:ext>
              </a:extLst>
            </p:cNvPr>
            <p:cNvSpPr>
              <a:spLocks noEditPoints="1"/>
            </p:cNvSpPr>
            <p:nvPr/>
          </p:nvSpPr>
          <p:spPr bwMode="auto">
            <a:xfrm>
              <a:off x="9498013" y="1716088"/>
              <a:ext cx="1279525" cy="1014413"/>
            </a:xfrm>
            <a:custGeom>
              <a:avLst/>
              <a:gdLst>
                <a:gd name="T0" fmla="*/ 310 w 338"/>
                <a:gd name="T1" fmla="*/ 268 h 268"/>
                <a:gd name="T2" fmla="*/ 28 w 338"/>
                <a:gd name="T3" fmla="*/ 268 h 268"/>
                <a:gd name="T4" fmla="*/ 0 w 338"/>
                <a:gd name="T5" fmla="*/ 239 h 268"/>
                <a:gd name="T6" fmla="*/ 0 w 338"/>
                <a:gd name="T7" fmla="*/ 28 h 268"/>
                <a:gd name="T8" fmla="*/ 28 w 338"/>
                <a:gd name="T9" fmla="*/ 0 h 268"/>
                <a:gd name="T10" fmla="*/ 310 w 338"/>
                <a:gd name="T11" fmla="*/ 0 h 268"/>
                <a:gd name="T12" fmla="*/ 338 w 338"/>
                <a:gd name="T13" fmla="*/ 28 h 268"/>
                <a:gd name="T14" fmla="*/ 338 w 338"/>
                <a:gd name="T15" fmla="*/ 239 h 268"/>
                <a:gd name="T16" fmla="*/ 310 w 338"/>
                <a:gd name="T17" fmla="*/ 268 h 268"/>
                <a:gd name="T18" fmla="*/ 28 w 338"/>
                <a:gd name="T19" fmla="*/ 14 h 268"/>
                <a:gd name="T20" fmla="*/ 14 w 338"/>
                <a:gd name="T21" fmla="*/ 28 h 268"/>
                <a:gd name="T22" fmla="*/ 14 w 338"/>
                <a:gd name="T23" fmla="*/ 239 h 268"/>
                <a:gd name="T24" fmla="*/ 28 w 338"/>
                <a:gd name="T25" fmla="*/ 253 h 268"/>
                <a:gd name="T26" fmla="*/ 310 w 338"/>
                <a:gd name="T27" fmla="*/ 253 h 268"/>
                <a:gd name="T28" fmla="*/ 324 w 338"/>
                <a:gd name="T29" fmla="*/ 239 h 268"/>
                <a:gd name="T30" fmla="*/ 324 w 338"/>
                <a:gd name="T31" fmla="*/ 28 h 268"/>
                <a:gd name="T32" fmla="*/ 310 w 338"/>
                <a:gd name="T33" fmla="*/ 14 h 268"/>
                <a:gd name="T34" fmla="*/ 28 w 338"/>
                <a:gd name="T35" fmla="*/ 1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268">
                  <a:moveTo>
                    <a:pt x="310" y="268"/>
                  </a:moveTo>
                  <a:cubicBezTo>
                    <a:pt x="28" y="268"/>
                    <a:pt x="28" y="268"/>
                    <a:pt x="28" y="268"/>
                  </a:cubicBezTo>
                  <a:cubicBezTo>
                    <a:pt x="13" y="268"/>
                    <a:pt x="0" y="255"/>
                    <a:pt x="0" y="239"/>
                  </a:cubicBezTo>
                  <a:cubicBezTo>
                    <a:pt x="0" y="28"/>
                    <a:pt x="0" y="28"/>
                    <a:pt x="0" y="28"/>
                  </a:cubicBezTo>
                  <a:cubicBezTo>
                    <a:pt x="0" y="13"/>
                    <a:pt x="13" y="0"/>
                    <a:pt x="28" y="0"/>
                  </a:cubicBezTo>
                  <a:cubicBezTo>
                    <a:pt x="310" y="0"/>
                    <a:pt x="310" y="0"/>
                    <a:pt x="310" y="0"/>
                  </a:cubicBezTo>
                  <a:cubicBezTo>
                    <a:pt x="325" y="0"/>
                    <a:pt x="338" y="13"/>
                    <a:pt x="338" y="28"/>
                  </a:cubicBezTo>
                  <a:cubicBezTo>
                    <a:pt x="338" y="239"/>
                    <a:pt x="338" y="239"/>
                    <a:pt x="338" y="239"/>
                  </a:cubicBezTo>
                  <a:cubicBezTo>
                    <a:pt x="338" y="255"/>
                    <a:pt x="325" y="268"/>
                    <a:pt x="310" y="268"/>
                  </a:cubicBezTo>
                  <a:close/>
                  <a:moveTo>
                    <a:pt x="28" y="14"/>
                  </a:moveTo>
                  <a:cubicBezTo>
                    <a:pt x="20" y="14"/>
                    <a:pt x="14" y="20"/>
                    <a:pt x="14" y="28"/>
                  </a:cubicBezTo>
                  <a:cubicBezTo>
                    <a:pt x="14" y="239"/>
                    <a:pt x="14" y="239"/>
                    <a:pt x="14" y="239"/>
                  </a:cubicBezTo>
                  <a:cubicBezTo>
                    <a:pt x="14" y="247"/>
                    <a:pt x="20" y="253"/>
                    <a:pt x="28" y="253"/>
                  </a:cubicBezTo>
                  <a:cubicBezTo>
                    <a:pt x="310" y="253"/>
                    <a:pt x="310" y="253"/>
                    <a:pt x="310" y="253"/>
                  </a:cubicBezTo>
                  <a:cubicBezTo>
                    <a:pt x="318" y="253"/>
                    <a:pt x="324" y="247"/>
                    <a:pt x="324" y="239"/>
                  </a:cubicBezTo>
                  <a:cubicBezTo>
                    <a:pt x="324" y="28"/>
                    <a:pt x="324" y="28"/>
                    <a:pt x="324" y="28"/>
                  </a:cubicBezTo>
                  <a:cubicBezTo>
                    <a:pt x="324" y="20"/>
                    <a:pt x="318" y="14"/>
                    <a:pt x="310" y="14"/>
                  </a:cubicBezTo>
                  <a:lnTo>
                    <a:pt x="28"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7" name="Freeform 18">
              <a:extLst>
                <a:ext uri="{FF2B5EF4-FFF2-40B4-BE49-F238E27FC236}">
                  <a16:creationId xmlns:a16="http://schemas.microsoft.com/office/drawing/2014/main" id="{EA73E90C-080D-4A71-A28C-C34A7766A7EA}"/>
                </a:ext>
              </a:extLst>
            </p:cNvPr>
            <p:cNvSpPr>
              <a:spLocks/>
            </p:cNvSpPr>
            <p:nvPr/>
          </p:nvSpPr>
          <p:spPr bwMode="auto">
            <a:xfrm>
              <a:off x="9736138" y="2835275"/>
              <a:ext cx="803275" cy="53975"/>
            </a:xfrm>
            <a:custGeom>
              <a:avLst/>
              <a:gdLst>
                <a:gd name="T0" fmla="*/ 205 w 212"/>
                <a:gd name="T1" fmla="*/ 14 h 14"/>
                <a:gd name="T2" fmla="*/ 7 w 212"/>
                <a:gd name="T3" fmla="*/ 14 h 14"/>
                <a:gd name="T4" fmla="*/ 0 w 212"/>
                <a:gd name="T5" fmla="*/ 7 h 14"/>
                <a:gd name="T6" fmla="*/ 7 w 212"/>
                <a:gd name="T7" fmla="*/ 0 h 14"/>
                <a:gd name="T8" fmla="*/ 205 w 212"/>
                <a:gd name="T9" fmla="*/ 0 h 14"/>
                <a:gd name="T10" fmla="*/ 212 w 212"/>
                <a:gd name="T11" fmla="*/ 7 h 14"/>
                <a:gd name="T12" fmla="*/ 205 w 212"/>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12" h="14">
                  <a:moveTo>
                    <a:pt x="205" y="14"/>
                  </a:moveTo>
                  <a:cubicBezTo>
                    <a:pt x="7" y="14"/>
                    <a:pt x="7" y="14"/>
                    <a:pt x="7" y="14"/>
                  </a:cubicBezTo>
                  <a:cubicBezTo>
                    <a:pt x="4" y="14"/>
                    <a:pt x="0" y="11"/>
                    <a:pt x="0" y="7"/>
                  </a:cubicBezTo>
                  <a:cubicBezTo>
                    <a:pt x="0" y="3"/>
                    <a:pt x="4" y="0"/>
                    <a:pt x="7" y="0"/>
                  </a:cubicBezTo>
                  <a:cubicBezTo>
                    <a:pt x="205" y="0"/>
                    <a:pt x="205" y="0"/>
                    <a:pt x="205" y="0"/>
                  </a:cubicBezTo>
                  <a:cubicBezTo>
                    <a:pt x="208" y="0"/>
                    <a:pt x="212" y="3"/>
                    <a:pt x="212" y="7"/>
                  </a:cubicBezTo>
                  <a:cubicBezTo>
                    <a:pt x="212" y="11"/>
                    <a:pt x="208" y="14"/>
                    <a:pt x="205" y="1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8" name="Freeform 19">
              <a:extLst>
                <a:ext uri="{FF2B5EF4-FFF2-40B4-BE49-F238E27FC236}">
                  <a16:creationId xmlns:a16="http://schemas.microsoft.com/office/drawing/2014/main" id="{3C0CA608-4AF0-427F-AEFF-BCAD57BA3730}"/>
                </a:ext>
              </a:extLst>
            </p:cNvPr>
            <p:cNvSpPr>
              <a:spLocks noEditPoints="1"/>
            </p:cNvSpPr>
            <p:nvPr/>
          </p:nvSpPr>
          <p:spPr bwMode="auto">
            <a:xfrm>
              <a:off x="9921876" y="2673350"/>
              <a:ext cx="431800" cy="215900"/>
            </a:xfrm>
            <a:custGeom>
              <a:avLst/>
              <a:gdLst>
                <a:gd name="T0" fmla="*/ 107 w 114"/>
                <a:gd name="T1" fmla="*/ 57 h 57"/>
                <a:gd name="T2" fmla="*/ 106 w 114"/>
                <a:gd name="T3" fmla="*/ 57 h 57"/>
                <a:gd name="T4" fmla="*/ 8 w 114"/>
                <a:gd name="T5" fmla="*/ 57 h 57"/>
                <a:gd name="T6" fmla="*/ 2 w 114"/>
                <a:gd name="T7" fmla="*/ 54 h 57"/>
                <a:gd name="T8" fmla="*/ 1 w 114"/>
                <a:gd name="T9" fmla="*/ 48 h 57"/>
                <a:gd name="T10" fmla="*/ 15 w 114"/>
                <a:gd name="T11" fmla="*/ 5 h 57"/>
                <a:gd name="T12" fmla="*/ 22 w 114"/>
                <a:gd name="T13" fmla="*/ 0 h 57"/>
                <a:gd name="T14" fmla="*/ 92 w 114"/>
                <a:gd name="T15" fmla="*/ 0 h 57"/>
                <a:gd name="T16" fmla="*/ 99 w 114"/>
                <a:gd name="T17" fmla="*/ 5 h 57"/>
                <a:gd name="T18" fmla="*/ 112 w 114"/>
                <a:gd name="T19" fmla="*/ 46 h 57"/>
                <a:gd name="T20" fmla="*/ 114 w 114"/>
                <a:gd name="T21" fmla="*/ 50 h 57"/>
                <a:gd name="T22" fmla="*/ 107 w 114"/>
                <a:gd name="T23" fmla="*/ 57 h 57"/>
                <a:gd name="T24" fmla="*/ 17 w 114"/>
                <a:gd name="T25" fmla="*/ 43 h 57"/>
                <a:gd name="T26" fmla="*/ 97 w 114"/>
                <a:gd name="T27" fmla="*/ 43 h 57"/>
                <a:gd name="T28" fmla="*/ 87 w 114"/>
                <a:gd name="T29" fmla="*/ 15 h 57"/>
                <a:gd name="T30" fmla="*/ 27 w 114"/>
                <a:gd name="T31" fmla="*/ 15 h 57"/>
                <a:gd name="T32" fmla="*/ 17 w 114"/>
                <a:gd name="T33" fmla="*/ 4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7">
                  <a:moveTo>
                    <a:pt x="107" y="57"/>
                  </a:moveTo>
                  <a:cubicBezTo>
                    <a:pt x="106" y="57"/>
                    <a:pt x="106" y="57"/>
                    <a:pt x="106" y="57"/>
                  </a:cubicBezTo>
                  <a:cubicBezTo>
                    <a:pt x="8" y="57"/>
                    <a:pt x="8" y="57"/>
                    <a:pt x="8" y="57"/>
                  </a:cubicBezTo>
                  <a:cubicBezTo>
                    <a:pt x="5" y="57"/>
                    <a:pt x="3" y="56"/>
                    <a:pt x="2" y="54"/>
                  </a:cubicBezTo>
                  <a:cubicBezTo>
                    <a:pt x="1" y="52"/>
                    <a:pt x="0" y="50"/>
                    <a:pt x="1" y="48"/>
                  </a:cubicBezTo>
                  <a:cubicBezTo>
                    <a:pt x="15" y="5"/>
                    <a:pt x="15" y="5"/>
                    <a:pt x="15" y="5"/>
                  </a:cubicBezTo>
                  <a:cubicBezTo>
                    <a:pt x="16" y="2"/>
                    <a:pt x="19" y="0"/>
                    <a:pt x="22" y="0"/>
                  </a:cubicBezTo>
                  <a:cubicBezTo>
                    <a:pt x="92" y="0"/>
                    <a:pt x="92" y="0"/>
                    <a:pt x="92" y="0"/>
                  </a:cubicBezTo>
                  <a:cubicBezTo>
                    <a:pt x="95" y="0"/>
                    <a:pt x="98" y="2"/>
                    <a:pt x="99" y="5"/>
                  </a:cubicBezTo>
                  <a:cubicBezTo>
                    <a:pt x="112" y="46"/>
                    <a:pt x="112" y="46"/>
                    <a:pt x="112" y="46"/>
                  </a:cubicBezTo>
                  <a:cubicBezTo>
                    <a:pt x="113" y="47"/>
                    <a:pt x="114" y="48"/>
                    <a:pt x="114" y="50"/>
                  </a:cubicBezTo>
                  <a:cubicBezTo>
                    <a:pt x="114" y="54"/>
                    <a:pt x="110" y="57"/>
                    <a:pt x="107" y="57"/>
                  </a:cubicBezTo>
                  <a:close/>
                  <a:moveTo>
                    <a:pt x="17" y="43"/>
                  </a:moveTo>
                  <a:cubicBezTo>
                    <a:pt x="97" y="43"/>
                    <a:pt x="97" y="43"/>
                    <a:pt x="97" y="43"/>
                  </a:cubicBezTo>
                  <a:cubicBezTo>
                    <a:pt x="87" y="15"/>
                    <a:pt x="87" y="15"/>
                    <a:pt x="87" y="15"/>
                  </a:cubicBezTo>
                  <a:cubicBezTo>
                    <a:pt x="27" y="15"/>
                    <a:pt x="27" y="15"/>
                    <a:pt x="27" y="15"/>
                  </a:cubicBezTo>
                  <a:lnTo>
                    <a:pt x="17" y="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9" name="Freeform 20">
              <a:extLst>
                <a:ext uri="{FF2B5EF4-FFF2-40B4-BE49-F238E27FC236}">
                  <a16:creationId xmlns:a16="http://schemas.microsoft.com/office/drawing/2014/main" id="{A7C0F220-E17E-485E-A285-5EC8159A224E}"/>
                </a:ext>
              </a:extLst>
            </p:cNvPr>
            <p:cNvSpPr>
              <a:spLocks noEditPoints="1"/>
            </p:cNvSpPr>
            <p:nvPr/>
          </p:nvSpPr>
          <p:spPr bwMode="auto">
            <a:xfrm>
              <a:off x="9604376" y="1820863"/>
              <a:ext cx="1066800" cy="693738"/>
            </a:xfrm>
            <a:custGeom>
              <a:avLst/>
              <a:gdLst>
                <a:gd name="T0" fmla="*/ 275 w 282"/>
                <a:gd name="T1" fmla="*/ 183 h 183"/>
                <a:gd name="T2" fmla="*/ 7 w 282"/>
                <a:gd name="T3" fmla="*/ 183 h 183"/>
                <a:gd name="T4" fmla="*/ 0 w 282"/>
                <a:gd name="T5" fmla="*/ 176 h 183"/>
                <a:gd name="T6" fmla="*/ 0 w 282"/>
                <a:gd name="T7" fmla="*/ 7 h 183"/>
                <a:gd name="T8" fmla="*/ 7 w 282"/>
                <a:gd name="T9" fmla="*/ 0 h 183"/>
                <a:gd name="T10" fmla="*/ 275 w 282"/>
                <a:gd name="T11" fmla="*/ 0 h 183"/>
                <a:gd name="T12" fmla="*/ 282 w 282"/>
                <a:gd name="T13" fmla="*/ 7 h 183"/>
                <a:gd name="T14" fmla="*/ 282 w 282"/>
                <a:gd name="T15" fmla="*/ 176 h 183"/>
                <a:gd name="T16" fmla="*/ 275 w 282"/>
                <a:gd name="T17" fmla="*/ 183 h 183"/>
                <a:gd name="T18" fmla="*/ 14 w 282"/>
                <a:gd name="T19" fmla="*/ 169 h 183"/>
                <a:gd name="T20" fmla="*/ 268 w 282"/>
                <a:gd name="T21" fmla="*/ 169 h 183"/>
                <a:gd name="T22" fmla="*/ 268 w 282"/>
                <a:gd name="T23" fmla="*/ 14 h 183"/>
                <a:gd name="T24" fmla="*/ 14 w 282"/>
                <a:gd name="T25" fmla="*/ 14 h 183"/>
                <a:gd name="T26" fmla="*/ 14 w 282"/>
                <a:gd name="T27" fmla="*/ 1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183">
                  <a:moveTo>
                    <a:pt x="275" y="183"/>
                  </a:moveTo>
                  <a:cubicBezTo>
                    <a:pt x="7" y="183"/>
                    <a:pt x="7" y="183"/>
                    <a:pt x="7" y="183"/>
                  </a:cubicBezTo>
                  <a:cubicBezTo>
                    <a:pt x="3" y="183"/>
                    <a:pt x="0" y="180"/>
                    <a:pt x="0" y="176"/>
                  </a:cubicBezTo>
                  <a:cubicBezTo>
                    <a:pt x="0" y="7"/>
                    <a:pt x="0" y="7"/>
                    <a:pt x="0" y="7"/>
                  </a:cubicBezTo>
                  <a:cubicBezTo>
                    <a:pt x="0" y="3"/>
                    <a:pt x="3" y="0"/>
                    <a:pt x="7" y="0"/>
                  </a:cubicBezTo>
                  <a:cubicBezTo>
                    <a:pt x="275" y="0"/>
                    <a:pt x="275" y="0"/>
                    <a:pt x="275" y="0"/>
                  </a:cubicBezTo>
                  <a:cubicBezTo>
                    <a:pt x="279" y="0"/>
                    <a:pt x="282" y="3"/>
                    <a:pt x="282" y="7"/>
                  </a:cubicBezTo>
                  <a:cubicBezTo>
                    <a:pt x="282" y="176"/>
                    <a:pt x="282" y="176"/>
                    <a:pt x="282" y="176"/>
                  </a:cubicBezTo>
                  <a:cubicBezTo>
                    <a:pt x="282" y="180"/>
                    <a:pt x="279" y="183"/>
                    <a:pt x="275" y="183"/>
                  </a:cubicBezTo>
                  <a:close/>
                  <a:moveTo>
                    <a:pt x="14" y="169"/>
                  </a:moveTo>
                  <a:cubicBezTo>
                    <a:pt x="268" y="169"/>
                    <a:pt x="268" y="169"/>
                    <a:pt x="268" y="169"/>
                  </a:cubicBezTo>
                  <a:cubicBezTo>
                    <a:pt x="268" y="14"/>
                    <a:pt x="268" y="14"/>
                    <a:pt x="268" y="14"/>
                  </a:cubicBezTo>
                  <a:cubicBezTo>
                    <a:pt x="14" y="14"/>
                    <a:pt x="14" y="14"/>
                    <a:pt x="14" y="14"/>
                  </a:cubicBezTo>
                  <a:lnTo>
                    <a:pt x="14" y="16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0" name="Oval 21">
              <a:extLst>
                <a:ext uri="{FF2B5EF4-FFF2-40B4-BE49-F238E27FC236}">
                  <a16:creationId xmlns:a16="http://schemas.microsoft.com/office/drawing/2014/main" id="{CEEF49CE-981E-4208-9734-E264CEEFACD3}"/>
                </a:ext>
              </a:extLst>
            </p:cNvPr>
            <p:cNvSpPr>
              <a:spLocks noChangeArrowheads="1"/>
            </p:cNvSpPr>
            <p:nvPr/>
          </p:nvSpPr>
          <p:spPr bwMode="auto">
            <a:xfrm>
              <a:off x="10085388" y="2540000"/>
              <a:ext cx="104775" cy="10636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58" name="Group 129">
            <a:extLst>
              <a:ext uri="{FF2B5EF4-FFF2-40B4-BE49-F238E27FC236}">
                <a16:creationId xmlns:a16="http://schemas.microsoft.com/office/drawing/2014/main" id="{CFD7291B-0BCB-4C0F-AF3A-2A80672CB891}"/>
              </a:ext>
            </a:extLst>
          </p:cNvPr>
          <p:cNvGrpSpPr>
            <a:grpSpLocks noChangeAspect="1"/>
          </p:cNvGrpSpPr>
          <p:nvPr/>
        </p:nvGrpSpPr>
        <p:grpSpPr>
          <a:xfrm>
            <a:off x="7041793" y="5432928"/>
            <a:ext cx="305900" cy="254916"/>
            <a:chOff x="11601450" y="1943100"/>
            <a:chExt cx="285750" cy="238125"/>
          </a:xfrm>
          <a:solidFill>
            <a:schemeClr val="bg1"/>
          </a:solidFill>
        </p:grpSpPr>
        <p:sp>
          <p:nvSpPr>
            <p:cNvPr id="1959" name="Freeform 300">
              <a:extLst>
                <a:ext uri="{FF2B5EF4-FFF2-40B4-BE49-F238E27FC236}">
                  <a16:creationId xmlns:a16="http://schemas.microsoft.com/office/drawing/2014/main" id="{33A9300B-CB20-4B57-A53B-78DE01DA84CF}"/>
                </a:ext>
              </a:extLst>
            </p:cNvPr>
            <p:cNvSpPr>
              <a:spLocks noEditPoints="1"/>
            </p:cNvSpPr>
            <p:nvPr/>
          </p:nvSpPr>
          <p:spPr bwMode="auto">
            <a:xfrm>
              <a:off x="11601450" y="1943100"/>
              <a:ext cx="285750" cy="238125"/>
            </a:xfrm>
            <a:custGeom>
              <a:avLst/>
              <a:gdLst>
                <a:gd name="T0" fmla="*/ 192 w 900"/>
                <a:gd name="T1" fmla="*/ 717 h 751"/>
                <a:gd name="T2" fmla="*/ 168 w 900"/>
                <a:gd name="T3" fmla="*/ 702 h 751"/>
                <a:gd name="T4" fmla="*/ 153 w 900"/>
                <a:gd name="T5" fmla="*/ 678 h 751"/>
                <a:gd name="T6" fmla="*/ 690 w 900"/>
                <a:gd name="T7" fmla="*/ 600 h 751"/>
                <a:gd name="T8" fmla="*/ 733 w 900"/>
                <a:gd name="T9" fmla="*/ 589 h 751"/>
                <a:gd name="T10" fmla="*/ 764 w 900"/>
                <a:gd name="T11" fmla="*/ 560 h 751"/>
                <a:gd name="T12" fmla="*/ 779 w 900"/>
                <a:gd name="T13" fmla="*/ 520 h 751"/>
                <a:gd name="T14" fmla="*/ 870 w 900"/>
                <a:gd name="T15" fmla="*/ 666 h 751"/>
                <a:gd name="T16" fmla="*/ 859 w 900"/>
                <a:gd name="T17" fmla="*/ 694 h 751"/>
                <a:gd name="T18" fmla="*/ 839 w 900"/>
                <a:gd name="T19" fmla="*/ 713 h 751"/>
                <a:gd name="T20" fmla="*/ 810 w 900"/>
                <a:gd name="T21" fmla="*/ 721 h 751"/>
                <a:gd name="T22" fmla="*/ 750 w 900"/>
                <a:gd name="T23" fmla="*/ 510 h 751"/>
                <a:gd name="T24" fmla="*/ 743 w 900"/>
                <a:gd name="T25" fmla="*/ 539 h 751"/>
                <a:gd name="T26" fmla="*/ 724 w 900"/>
                <a:gd name="T27" fmla="*/ 560 h 751"/>
                <a:gd name="T28" fmla="*/ 696 w 900"/>
                <a:gd name="T29" fmla="*/ 570 h 751"/>
                <a:gd name="T30" fmla="*/ 71 w 900"/>
                <a:gd name="T31" fmla="*/ 568 h 751"/>
                <a:gd name="T32" fmla="*/ 47 w 900"/>
                <a:gd name="T33" fmla="*/ 553 h 751"/>
                <a:gd name="T34" fmla="*/ 33 w 900"/>
                <a:gd name="T35" fmla="*/ 528 h 751"/>
                <a:gd name="T36" fmla="*/ 690 w 900"/>
                <a:gd name="T37" fmla="*/ 30 h 751"/>
                <a:gd name="T38" fmla="*/ 718 w 900"/>
                <a:gd name="T39" fmla="*/ 37 h 751"/>
                <a:gd name="T40" fmla="*/ 740 w 900"/>
                <a:gd name="T41" fmla="*/ 57 h 751"/>
                <a:gd name="T42" fmla="*/ 749 w 900"/>
                <a:gd name="T43" fmla="*/ 84 h 751"/>
                <a:gd name="T44" fmla="*/ 30 w 900"/>
                <a:gd name="T45" fmla="*/ 83 h 751"/>
                <a:gd name="T46" fmla="*/ 40 w 900"/>
                <a:gd name="T47" fmla="*/ 57 h 751"/>
                <a:gd name="T48" fmla="*/ 61 w 900"/>
                <a:gd name="T49" fmla="*/ 37 h 751"/>
                <a:gd name="T50" fmla="*/ 90 w 900"/>
                <a:gd name="T51" fmla="*/ 30 h 751"/>
                <a:gd name="T52" fmla="*/ 780 w 900"/>
                <a:gd name="T53" fmla="*/ 179 h 751"/>
                <a:gd name="T54" fmla="*/ 834 w 900"/>
                <a:gd name="T55" fmla="*/ 185 h 751"/>
                <a:gd name="T56" fmla="*/ 856 w 900"/>
                <a:gd name="T57" fmla="*/ 202 h 751"/>
                <a:gd name="T58" fmla="*/ 869 w 900"/>
                <a:gd name="T59" fmla="*/ 228 h 751"/>
                <a:gd name="T60" fmla="*/ 780 w 900"/>
                <a:gd name="T61" fmla="*/ 90 h 751"/>
                <a:gd name="T62" fmla="*/ 770 w 900"/>
                <a:gd name="T63" fmla="*/ 47 h 751"/>
                <a:gd name="T64" fmla="*/ 741 w 900"/>
                <a:gd name="T65" fmla="*/ 15 h 751"/>
                <a:gd name="T66" fmla="*/ 699 w 900"/>
                <a:gd name="T67" fmla="*/ 0 h 751"/>
                <a:gd name="T68" fmla="*/ 63 w 900"/>
                <a:gd name="T69" fmla="*/ 4 h 751"/>
                <a:gd name="T70" fmla="*/ 27 w 900"/>
                <a:gd name="T71" fmla="*/ 27 h 751"/>
                <a:gd name="T72" fmla="*/ 4 w 900"/>
                <a:gd name="T73" fmla="*/ 63 h 751"/>
                <a:gd name="T74" fmla="*/ 0 w 900"/>
                <a:gd name="T75" fmla="*/ 520 h 751"/>
                <a:gd name="T76" fmla="*/ 15 w 900"/>
                <a:gd name="T77" fmla="*/ 560 h 751"/>
                <a:gd name="T78" fmla="*/ 47 w 900"/>
                <a:gd name="T79" fmla="*/ 589 h 751"/>
                <a:gd name="T80" fmla="*/ 90 w 900"/>
                <a:gd name="T81" fmla="*/ 600 h 751"/>
                <a:gd name="T82" fmla="*/ 124 w 900"/>
                <a:gd name="T83" fmla="*/ 686 h 751"/>
                <a:gd name="T84" fmla="*/ 146 w 900"/>
                <a:gd name="T85" fmla="*/ 724 h 751"/>
                <a:gd name="T86" fmla="*/ 183 w 900"/>
                <a:gd name="T87" fmla="*/ 746 h 751"/>
                <a:gd name="T88" fmla="*/ 819 w 900"/>
                <a:gd name="T89" fmla="*/ 749 h 751"/>
                <a:gd name="T90" fmla="*/ 860 w 900"/>
                <a:gd name="T91" fmla="*/ 734 h 751"/>
                <a:gd name="T92" fmla="*/ 889 w 900"/>
                <a:gd name="T93" fmla="*/ 703 h 751"/>
                <a:gd name="T94" fmla="*/ 900 w 900"/>
                <a:gd name="T95" fmla="*/ 661 h 751"/>
                <a:gd name="T96" fmla="*/ 893 w 900"/>
                <a:gd name="T97" fmla="*/ 205 h 751"/>
                <a:gd name="T98" fmla="*/ 867 w 900"/>
                <a:gd name="T99" fmla="*/ 171 h 751"/>
                <a:gd name="T100" fmla="*/ 828 w 900"/>
                <a:gd name="T101" fmla="*/ 152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0" h="751">
                  <a:moveTo>
                    <a:pt x="810" y="721"/>
                  </a:moveTo>
                  <a:lnTo>
                    <a:pt x="209" y="721"/>
                  </a:lnTo>
                  <a:lnTo>
                    <a:pt x="204" y="720"/>
                  </a:lnTo>
                  <a:lnTo>
                    <a:pt x="198" y="718"/>
                  </a:lnTo>
                  <a:lnTo>
                    <a:pt x="192" y="717"/>
                  </a:lnTo>
                  <a:lnTo>
                    <a:pt x="187" y="715"/>
                  </a:lnTo>
                  <a:lnTo>
                    <a:pt x="182" y="713"/>
                  </a:lnTo>
                  <a:lnTo>
                    <a:pt x="176" y="710"/>
                  </a:lnTo>
                  <a:lnTo>
                    <a:pt x="172" y="707"/>
                  </a:lnTo>
                  <a:lnTo>
                    <a:pt x="168" y="702"/>
                  </a:lnTo>
                  <a:lnTo>
                    <a:pt x="163" y="698"/>
                  </a:lnTo>
                  <a:lnTo>
                    <a:pt x="160" y="694"/>
                  </a:lnTo>
                  <a:lnTo>
                    <a:pt x="157" y="689"/>
                  </a:lnTo>
                  <a:lnTo>
                    <a:pt x="155" y="683"/>
                  </a:lnTo>
                  <a:lnTo>
                    <a:pt x="153" y="678"/>
                  </a:lnTo>
                  <a:lnTo>
                    <a:pt x="151" y="672"/>
                  </a:lnTo>
                  <a:lnTo>
                    <a:pt x="151" y="666"/>
                  </a:lnTo>
                  <a:lnTo>
                    <a:pt x="150" y="661"/>
                  </a:lnTo>
                  <a:lnTo>
                    <a:pt x="150" y="600"/>
                  </a:lnTo>
                  <a:lnTo>
                    <a:pt x="690" y="600"/>
                  </a:lnTo>
                  <a:lnTo>
                    <a:pt x="699" y="600"/>
                  </a:lnTo>
                  <a:lnTo>
                    <a:pt x="708" y="599"/>
                  </a:lnTo>
                  <a:lnTo>
                    <a:pt x="717" y="597"/>
                  </a:lnTo>
                  <a:lnTo>
                    <a:pt x="725" y="593"/>
                  </a:lnTo>
                  <a:lnTo>
                    <a:pt x="733" y="589"/>
                  </a:lnTo>
                  <a:lnTo>
                    <a:pt x="741" y="585"/>
                  </a:lnTo>
                  <a:lnTo>
                    <a:pt x="747" y="579"/>
                  </a:lnTo>
                  <a:lnTo>
                    <a:pt x="754" y="574"/>
                  </a:lnTo>
                  <a:lnTo>
                    <a:pt x="759" y="568"/>
                  </a:lnTo>
                  <a:lnTo>
                    <a:pt x="764" y="560"/>
                  </a:lnTo>
                  <a:lnTo>
                    <a:pt x="770" y="553"/>
                  </a:lnTo>
                  <a:lnTo>
                    <a:pt x="773" y="545"/>
                  </a:lnTo>
                  <a:lnTo>
                    <a:pt x="776" y="537"/>
                  </a:lnTo>
                  <a:lnTo>
                    <a:pt x="778" y="528"/>
                  </a:lnTo>
                  <a:lnTo>
                    <a:pt x="779" y="520"/>
                  </a:lnTo>
                  <a:lnTo>
                    <a:pt x="780" y="510"/>
                  </a:lnTo>
                  <a:lnTo>
                    <a:pt x="780" y="330"/>
                  </a:lnTo>
                  <a:lnTo>
                    <a:pt x="870" y="330"/>
                  </a:lnTo>
                  <a:lnTo>
                    <a:pt x="870" y="660"/>
                  </a:lnTo>
                  <a:lnTo>
                    <a:pt x="870" y="666"/>
                  </a:lnTo>
                  <a:lnTo>
                    <a:pt x="869" y="672"/>
                  </a:lnTo>
                  <a:lnTo>
                    <a:pt x="867" y="678"/>
                  </a:lnTo>
                  <a:lnTo>
                    <a:pt x="866" y="683"/>
                  </a:lnTo>
                  <a:lnTo>
                    <a:pt x="863" y="689"/>
                  </a:lnTo>
                  <a:lnTo>
                    <a:pt x="859" y="694"/>
                  </a:lnTo>
                  <a:lnTo>
                    <a:pt x="856" y="698"/>
                  </a:lnTo>
                  <a:lnTo>
                    <a:pt x="852" y="702"/>
                  </a:lnTo>
                  <a:lnTo>
                    <a:pt x="848" y="707"/>
                  </a:lnTo>
                  <a:lnTo>
                    <a:pt x="843" y="710"/>
                  </a:lnTo>
                  <a:lnTo>
                    <a:pt x="839" y="713"/>
                  </a:lnTo>
                  <a:lnTo>
                    <a:pt x="834" y="715"/>
                  </a:lnTo>
                  <a:lnTo>
                    <a:pt x="827" y="717"/>
                  </a:lnTo>
                  <a:lnTo>
                    <a:pt x="822" y="718"/>
                  </a:lnTo>
                  <a:lnTo>
                    <a:pt x="817" y="720"/>
                  </a:lnTo>
                  <a:lnTo>
                    <a:pt x="810" y="721"/>
                  </a:lnTo>
                  <a:lnTo>
                    <a:pt x="810" y="721"/>
                  </a:lnTo>
                  <a:close/>
                  <a:moveTo>
                    <a:pt x="30" y="510"/>
                  </a:moveTo>
                  <a:lnTo>
                    <a:pt x="30" y="179"/>
                  </a:lnTo>
                  <a:lnTo>
                    <a:pt x="750" y="179"/>
                  </a:lnTo>
                  <a:lnTo>
                    <a:pt x="750" y="510"/>
                  </a:lnTo>
                  <a:lnTo>
                    <a:pt x="749" y="516"/>
                  </a:lnTo>
                  <a:lnTo>
                    <a:pt x="749" y="522"/>
                  </a:lnTo>
                  <a:lnTo>
                    <a:pt x="747" y="528"/>
                  </a:lnTo>
                  <a:lnTo>
                    <a:pt x="745" y="533"/>
                  </a:lnTo>
                  <a:lnTo>
                    <a:pt x="743" y="539"/>
                  </a:lnTo>
                  <a:lnTo>
                    <a:pt x="740" y="543"/>
                  </a:lnTo>
                  <a:lnTo>
                    <a:pt x="736" y="548"/>
                  </a:lnTo>
                  <a:lnTo>
                    <a:pt x="732" y="553"/>
                  </a:lnTo>
                  <a:lnTo>
                    <a:pt x="728" y="556"/>
                  </a:lnTo>
                  <a:lnTo>
                    <a:pt x="724" y="560"/>
                  </a:lnTo>
                  <a:lnTo>
                    <a:pt x="718" y="563"/>
                  </a:lnTo>
                  <a:lnTo>
                    <a:pt x="713" y="566"/>
                  </a:lnTo>
                  <a:lnTo>
                    <a:pt x="708" y="568"/>
                  </a:lnTo>
                  <a:lnTo>
                    <a:pt x="702" y="569"/>
                  </a:lnTo>
                  <a:lnTo>
                    <a:pt x="696" y="570"/>
                  </a:lnTo>
                  <a:lnTo>
                    <a:pt x="690" y="570"/>
                  </a:lnTo>
                  <a:lnTo>
                    <a:pt x="90" y="570"/>
                  </a:lnTo>
                  <a:lnTo>
                    <a:pt x="83" y="570"/>
                  </a:lnTo>
                  <a:lnTo>
                    <a:pt x="78" y="569"/>
                  </a:lnTo>
                  <a:lnTo>
                    <a:pt x="71" y="568"/>
                  </a:lnTo>
                  <a:lnTo>
                    <a:pt x="66" y="566"/>
                  </a:lnTo>
                  <a:lnTo>
                    <a:pt x="61" y="562"/>
                  </a:lnTo>
                  <a:lnTo>
                    <a:pt x="57" y="560"/>
                  </a:lnTo>
                  <a:lnTo>
                    <a:pt x="51" y="556"/>
                  </a:lnTo>
                  <a:lnTo>
                    <a:pt x="47" y="553"/>
                  </a:lnTo>
                  <a:lnTo>
                    <a:pt x="44" y="548"/>
                  </a:lnTo>
                  <a:lnTo>
                    <a:pt x="40" y="543"/>
                  </a:lnTo>
                  <a:lnTo>
                    <a:pt x="37" y="539"/>
                  </a:lnTo>
                  <a:lnTo>
                    <a:pt x="34" y="533"/>
                  </a:lnTo>
                  <a:lnTo>
                    <a:pt x="33" y="528"/>
                  </a:lnTo>
                  <a:lnTo>
                    <a:pt x="31" y="522"/>
                  </a:lnTo>
                  <a:lnTo>
                    <a:pt x="30" y="516"/>
                  </a:lnTo>
                  <a:lnTo>
                    <a:pt x="30" y="510"/>
                  </a:lnTo>
                  <a:close/>
                  <a:moveTo>
                    <a:pt x="90" y="30"/>
                  </a:moveTo>
                  <a:lnTo>
                    <a:pt x="690" y="30"/>
                  </a:lnTo>
                  <a:lnTo>
                    <a:pt x="696" y="30"/>
                  </a:lnTo>
                  <a:lnTo>
                    <a:pt x="702" y="31"/>
                  </a:lnTo>
                  <a:lnTo>
                    <a:pt x="708" y="33"/>
                  </a:lnTo>
                  <a:lnTo>
                    <a:pt x="713" y="34"/>
                  </a:lnTo>
                  <a:lnTo>
                    <a:pt x="718" y="37"/>
                  </a:lnTo>
                  <a:lnTo>
                    <a:pt x="724" y="40"/>
                  </a:lnTo>
                  <a:lnTo>
                    <a:pt x="728" y="44"/>
                  </a:lnTo>
                  <a:lnTo>
                    <a:pt x="732" y="48"/>
                  </a:lnTo>
                  <a:lnTo>
                    <a:pt x="736" y="52"/>
                  </a:lnTo>
                  <a:lnTo>
                    <a:pt x="740" y="57"/>
                  </a:lnTo>
                  <a:lnTo>
                    <a:pt x="743" y="61"/>
                  </a:lnTo>
                  <a:lnTo>
                    <a:pt x="745" y="66"/>
                  </a:lnTo>
                  <a:lnTo>
                    <a:pt x="747" y="73"/>
                  </a:lnTo>
                  <a:lnTo>
                    <a:pt x="749" y="78"/>
                  </a:lnTo>
                  <a:lnTo>
                    <a:pt x="749" y="84"/>
                  </a:lnTo>
                  <a:lnTo>
                    <a:pt x="750" y="90"/>
                  </a:lnTo>
                  <a:lnTo>
                    <a:pt x="750" y="150"/>
                  </a:lnTo>
                  <a:lnTo>
                    <a:pt x="30" y="150"/>
                  </a:lnTo>
                  <a:lnTo>
                    <a:pt x="30" y="90"/>
                  </a:lnTo>
                  <a:lnTo>
                    <a:pt x="30" y="83"/>
                  </a:lnTo>
                  <a:lnTo>
                    <a:pt x="31" y="78"/>
                  </a:lnTo>
                  <a:lnTo>
                    <a:pt x="33" y="71"/>
                  </a:lnTo>
                  <a:lnTo>
                    <a:pt x="34" y="66"/>
                  </a:lnTo>
                  <a:lnTo>
                    <a:pt x="37" y="61"/>
                  </a:lnTo>
                  <a:lnTo>
                    <a:pt x="40" y="57"/>
                  </a:lnTo>
                  <a:lnTo>
                    <a:pt x="44" y="52"/>
                  </a:lnTo>
                  <a:lnTo>
                    <a:pt x="47" y="48"/>
                  </a:lnTo>
                  <a:lnTo>
                    <a:pt x="51" y="44"/>
                  </a:lnTo>
                  <a:lnTo>
                    <a:pt x="57" y="40"/>
                  </a:lnTo>
                  <a:lnTo>
                    <a:pt x="61" y="37"/>
                  </a:lnTo>
                  <a:lnTo>
                    <a:pt x="66" y="35"/>
                  </a:lnTo>
                  <a:lnTo>
                    <a:pt x="71" y="33"/>
                  </a:lnTo>
                  <a:lnTo>
                    <a:pt x="78" y="31"/>
                  </a:lnTo>
                  <a:lnTo>
                    <a:pt x="83" y="30"/>
                  </a:lnTo>
                  <a:lnTo>
                    <a:pt x="90" y="30"/>
                  </a:lnTo>
                  <a:lnTo>
                    <a:pt x="90" y="30"/>
                  </a:lnTo>
                  <a:close/>
                  <a:moveTo>
                    <a:pt x="870" y="240"/>
                  </a:moveTo>
                  <a:lnTo>
                    <a:pt x="870" y="300"/>
                  </a:lnTo>
                  <a:lnTo>
                    <a:pt x="780" y="300"/>
                  </a:lnTo>
                  <a:lnTo>
                    <a:pt x="780" y="179"/>
                  </a:lnTo>
                  <a:lnTo>
                    <a:pt x="810" y="179"/>
                  </a:lnTo>
                  <a:lnTo>
                    <a:pt x="817" y="181"/>
                  </a:lnTo>
                  <a:lnTo>
                    <a:pt x="822" y="182"/>
                  </a:lnTo>
                  <a:lnTo>
                    <a:pt x="827" y="183"/>
                  </a:lnTo>
                  <a:lnTo>
                    <a:pt x="834" y="185"/>
                  </a:lnTo>
                  <a:lnTo>
                    <a:pt x="839" y="187"/>
                  </a:lnTo>
                  <a:lnTo>
                    <a:pt x="843" y="190"/>
                  </a:lnTo>
                  <a:lnTo>
                    <a:pt x="849" y="193"/>
                  </a:lnTo>
                  <a:lnTo>
                    <a:pt x="852" y="198"/>
                  </a:lnTo>
                  <a:lnTo>
                    <a:pt x="856" y="202"/>
                  </a:lnTo>
                  <a:lnTo>
                    <a:pt x="859" y="206"/>
                  </a:lnTo>
                  <a:lnTo>
                    <a:pt x="863" y="212"/>
                  </a:lnTo>
                  <a:lnTo>
                    <a:pt x="866" y="217"/>
                  </a:lnTo>
                  <a:lnTo>
                    <a:pt x="867" y="222"/>
                  </a:lnTo>
                  <a:lnTo>
                    <a:pt x="869" y="228"/>
                  </a:lnTo>
                  <a:lnTo>
                    <a:pt x="870" y="234"/>
                  </a:lnTo>
                  <a:lnTo>
                    <a:pt x="870" y="240"/>
                  </a:lnTo>
                  <a:close/>
                  <a:moveTo>
                    <a:pt x="810" y="150"/>
                  </a:moveTo>
                  <a:lnTo>
                    <a:pt x="780" y="150"/>
                  </a:lnTo>
                  <a:lnTo>
                    <a:pt x="780" y="90"/>
                  </a:lnTo>
                  <a:lnTo>
                    <a:pt x="779" y="81"/>
                  </a:lnTo>
                  <a:lnTo>
                    <a:pt x="778" y="71"/>
                  </a:lnTo>
                  <a:lnTo>
                    <a:pt x="776" y="63"/>
                  </a:lnTo>
                  <a:lnTo>
                    <a:pt x="773" y="54"/>
                  </a:lnTo>
                  <a:lnTo>
                    <a:pt x="770" y="47"/>
                  </a:lnTo>
                  <a:lnTo>
                    <a:pt x="764" y="39"/>
                  </a:lnTo>
                  <a:lnTo>
                    <a:pt x="759" y="33"/>
                  </a:lnTo>
                  <a:lnTo>
                    <a:pt x="754" y="27"/>
                  </a:lnTo>
                  <a:lnTo>
                    <a:pt x="747" y="20"/>
                  </a:lnTo>
                  <a:lnTo>
                    <a:pt x="741" y="15"/>
                  </a:lnTo>
                  <a:lnTo>
                    <a:pt x="733" y="11"/>
                  </a:lnTo>
                  <a:lnTo>
                    <a:pt x="725" y="7"/>
                  </a:lnTo>
                  <a:lnTo>
                    <a:pt x="717" y="4"/>
                  </a:lnTo>
                  <a:lnTo>
                    <a:pt x="708" y="2"/>
                  </a:lnTo>
                  <a:lnTo>
                    <a:pt x="699" y="0"/>
                  </a:lnTo>
                  <a:lnTo>
                    <a:pt x="690" y="0"/>
                  </a:lnTo>
                  <a:lnTo>
                    <a:pt x="90" y="0"/>
                  </a:lnTo>
                  <a:lnTo>
                    <a:pt x="81" y="0"/>
                  </a:lnTo>
                  <a:lnTo>
                    <a:pt x="71" y="2"/>
                  </a:lnTo>
                  <a:lnTo>
                    <a:pt x="63" y="4"/>
                  </a:lnTo>
                  <a:lnTo>
                    <a:pt x="54" y="7"/>
                  </a:lnTo>
                  <a:lnTo>
                    <a:pt x="47" y="11"/>
                  </a:lnTo>
                  <a:lnTo>
                    <a:pt x="39" y="15"/>
                  </a:lnTo>
                  <a:lnTo>
                    <a:pt x="33" y="20"/>
                  </a:lnTo>
                  <a:lnTo>
                    <a:pt x="27" y="27"/>
                  </a:lnTo>
                  <a:lnTo>
                    <a:pt x="20" y="33"/>
                  </a:lnTo>
                  <a:lnTo>
                    <a:pt x="15" y="39"/>
                  </a:lnTo>
                  <a:lnTo>
                    <a:pt x="11" y="47"/>
                  </a:lnTo>
                  <a:lnTo>
                    <a:pt x="7" y="54"/>
                  </a:lnTo>
                  <a:lnTo>
                    <a:pt x="4" y="63"/>
                  </a:lnTo>
                  <a:lnTo>
                    <a:pt x="2" y="71"/>
                  </a:lnTo>
                  <a:lnTo>
                    <a:pt x="0" y="81"/>
                  </a:lnTo>
                  <a:lnTo>
                    <a:pt x="0" y="90"/>
                  </a:lnTo>
                  <a:lnTo>
                    <a:pt x="0" y="510"/>
                  </a:lnTo>
                  <a:lnTo>
                    <a:pt x="0" y="520"/>
                  </a:lnTo>
                  <a:lnTo>
                    <a:pt x="2" y="528"/>
                  </a:lnTo>
                  <a:lnTo>
                    <a:pt x="4" y="537"/>
                  </a:lnTo>
                  <a:lnTo>
                    <a:pt x="7" y="545"/>
                  </a:lnTo>
                  <a:lnTo>
                    <a:pt x="11" y="553"/>
                  </a:lnTo>
                  <a:lnTo>
                    <a:pt x="15" y="560"/>
                  </a:lnTo>
                  <a:lnTo>
                    <a:pt x="20" y="568"/>
                  </a:lnTo>
                  <a:lnTo>
                    <a:pt x="27" y="574"/>
                  </a:lnTo>
                  <a:lnTo>
                    <a:pt x="33" y="579"/>
                  </a:lnTo>
                  <a:lnTo>
                    <a:pt x="39" y="585"/>
                  </a:lnTo>
                  <a:lnTo>
                    <a:pt x="47" y="589"/>
                  </a:lnTo>
                  <a:lnTo>
                    <a:pt x="54" y="593"/>
                  </a:lnTo>
                  <a:lnTo>
                    <a:pt x="63" y="597"/>
                  </a:lnTo>
                  <a:lnTo>
                    <a:pt x="71" y="599"/>
                  </a:lnTo>
                  <a:lnTo>
                    <a:pt x="81" y="600"/>
                  </a:lnTo>
                  <a:lnTo>
                    <a:pt x="90" y="600"/>
                  </a:lnTo>
                  <a:lnTo>
                    <a:pt x="120" y="600"/>
                  </a:lnTo>
                  <a:lnTo>
                    <a:pt x="120" y="660"/>
                  </a:lnTo>
                  <a:lnTo>
                    <a:pt x="121" y="669"/>
                  </a:lnTo>
                  <a:lnTo>
                    <a:pt x="122" y="678"/>
                  </a:lnTo>
                  <a:lnTo>
                    <a:pt x="124" y="686"/>
                  </a:lnTo>
                  <a:lnTo>
                    <a:pt x="127" y="695"/>
                  </a:lnTo>
                  <a:lnTo>
                    <a:pt x="130" y="703"/>
                  </a:lnTo>
                  <a:lnTo>
                    <a:pt x="136" y="711"/>
                  </a:lnTo>
                  <a:lnTo>
                    <a:pt x="140" y="717"/>
                  </a:lnTo>
                  <a:lnTo>
                    <a:pt x="146" y="724"/>
                  </a:lnTo>
                  <a:lnTo>
                    <a:pt x="153" y="729"/>
                  </a:lnTo>
                  <a:lnTo>
                    <a:pt x="159" y="734"/>
                  </a:lnTo>
                  <a:lnTo>
                    <a:pt x="167" y="740"/>
                  </a:lnTo>
                  <a:lnTo>
                    <a:pt x="175" y="743"/>
                  </a:lnTo>
                  <a:lnTo>
                    <a:pt x="183" y="746"/>
                  </a:lnTo>
                  <a:lnTo>
                    <a:pt x="191" y="748"/>
                  </a:lnTo>
                  <a:lnTo>
                    <a:pt x="201" y="749"/>
                  </a:lnTo>
                  <a:lnTo>
                    <a:pt x="209" y="751"/>
                  </a:lnTo>
                  <a:lnTo>
                    <a:pt x="810" y="751"/>
                  </a:lnTo>
                  <a:lnTo>
                    <a:pt x="819" y="749"/>
                  </a:lnTo>
                  <a:lnTo>
                    <a:pt x="828" y="748"/>
                  </a:lnTo>
                  <a:lnTo>
                    <a:pt x="837" y="746"/>
                  </a:lnTo>
                  <a:lnTo>
                    <a:pt x="845" y="743"/>
                  </a:lnTo>
                  <a:lnTo>
                    <a:pt x="853" y="739"/>
                  </a:lnTo>
                  <a:lnTo>
                    <a:pt x="860" y="734"/>
                  </a:lnTo>
                  <a:lnTo>
                    <a:pt x="867" y="729"/>
                  </a:lnTo>
                  <a:lnTo>
                    <a:pt x="873" y="724"/>
                  </a:lnTo>
                  <a:lnTo>
                    <a:pt x="880" y="717"/>
                  </a:lnTo>
                  <a:lnTo>
                    <a:pt x="885" y="711"/>
                  </a:lnTo>
                  <a:lnTo>
                    <a:pt x="889" y="703"/>
                  </a:lnTo>
                  <a:lnTo>
                    <a:pt x="893" y="695"/>
                  </a:lnTo>
                  <a:lnTo>
                    <a:pt x="896" y="687"/>
                  </a:lnTo>
                  <a:lnTo>
                    <a:pt x="898" y="678"/>
                  </a:lnTo>
                  <a:lnTo>
                    <a:pt x="900" y="669"/>
                  </a:lnTo>
                  <a:lnTo>
                    <a:pt x="900" y="661"/>
                  </a:lnTo>
                  <a:lnTo>
                    <a:pt x="900" y="240"/>
                  </a:lnTo>
                  <a:lnTo>
                    <a:pt x="900" y="231"/>
                  </a:lnTo>
                  <a:lnTo>
                    <a:pt x="898" y="222"/>
                  </a:lnTo>
                  <a:lnTo>
                    <a:pt x="896" y="214"/>
                  </a:lnTo>
                  <a:lnTo>
                    <a:pt x="893" y="205"/>
                  </a:lnTo>
                  <a:lnTo>
                    <a:pt x="889" y="197"/>
                  </a:lnTo>
                  <a:lnTo>
                    <a:pt x="885" y="190"/>
                  </a:lnTo>
                  <a:lnTo>
                    <a:pt x="880" y="183"/>
                  </a:lnTo>
                  <a:lnTo>
                    <a:pt x="873" y="176"/>
                  </a:lnTo>
                  <a:lnTo>
                    <a:pt x="867" y="171"/>
                  </a:lnTo>
                  <a:lnTo>
                    <a:pt x="860" y="166"/>
                  </a:lnTo>
                  <a:lnTo>
                    <a:pt x="853" y="161"/>
                  </a:lnTo>
                  <a:lnTo>
                    <a:pt x="845" y="157"/>
                  </a:lnTo>
                  <a:lnTo>
                    <a:pt x="837" y="154"/>
                  </a:lnTo>
                  <a:lnTo>
                    <a:pt x="828" y="152"/>
                  </a:lnTo>
                  <a:lnTo>
                    <a:pt x="819" y="151"/>
                  </a:lnTo>
                  <a:lnTo>
                    <a:pt x="81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0" name="Freeform 301">
              <a:extLst>
                <a:ext uri="{FF2B5EF4-FFF2-40B4-BE49-F238E27FC236}">
                  <a16:creationId xmlns:a16="http://schemas.microsoft.com/office/drawing/2014/main" id="{19E14377-B034-4E89-9381-6B238A51FDB8}"/>
                </a:ext>
              </a:extLst>
            </p:cNvPr>
            <p:cNvSpPr>
              <a:spLocks/>
            </p:cNvSpPr>
            <p:nvPr/>
          </p:nvSpPr>
          <p:spPr bwMode="auto">
            <a:xfrm>
              <a:off x="11630025" y="1962150"/>
              <a:ext cx="19050" cy="19050"/>
            </a:xfrm>
            <a:custGeom>
              <a:avLst/>
              <a:gdLst>
                <a:gd name="T0" fmla="*/ 30 w 60"/>
                <a:gd name="T1" fmla="*/ 60 h 60"/>
                <a:gd name="T2" fmla="*/ 36 w 60"/>
                <a:gd name="T3" fmla="*/ 60 h 60"/>
                <a:gd name="T4" fmla="*/ 41 w 60"/>
                <a:gd name="T5" fmla="*/ 57 h 60"/>
                <a:gd name="T6" fmla="*/ 47 w 60"/>
                <a:gd name="T7" fmla="*/ 54 h 60"/>
                <a:gd name="T8" fmla="*/ 51 w 60"/>
                <a:gd name="T9" fmla="*/ 51 h 60"/>
                <a:gd name="T10" fmla="*/ 54 w 60"/>
                <a:gd name="T11" fmla="*/ 47 h 60"/>
                <a:gd name="T12" fmla="*/ 57 w 60"/>
                <a:gd name="T13" fmla="*/ 41 h 60"/>
                <a:gd name="T14" fmla="*/ 60 w 60"/>
                <a:gd name="T15" fmla="*/ 36 h 60"/>
                <a:gd name="T16" fmla="*/ 60 w 60"/>
                <a:gd name="T17" fmla="*/ 30 h 60"/>
                <a:gd name="T18" fmla="*/ 60 w 60"/>
                <a:gd name="T19" fmla="*/ 24 h 60"/>
                <a:gd name="T20" fmla="*/ 57 w 60"/>
                <a:gd name="T21" fmla="*/ 18 h 60"/>
                <a:gd name="T22" fmla="*/ 54 w 60"/>
                <a:gd name="T23" fmla="*/ 14 h 60"/>
                <a:gd name="T24" fmla="*/ 51 w 60"/>
                <a:gd name="T25" fmla="*/ 8 h 60"/>
                <a:gd name="T26" fmla="*/ 47 w 60"/>
                <a:gd name="T27" fmla="*/ 5 h 60"/>
                <a:gd name="T28" fmla="*/ 41 w 60"/>
                <a:gd name="T29" fmla="*/ 2 h 60"/>
                <a:gd name="T30" fmla="*/ 36 w 60"/>
                <a:gd name="T31" fmla="*/ 1 h 60"/>
                <a:gd name="T32" fmla="*/ 30 w 60"/>
                <a:gd name="T33" fmla="*/ 0 h 60"/>
                <a:gd name="T34" fmla="*/ 24 w 60"/>
                <a:gd name="T35" fmla="*/ 1 h 60"/>
                <a:gd name="T36" fmla="*/ 18 w 60"/>
                <a:gd name="T37" fmla="*/ 2 h 60"/>
                <a:gd name="T38" fmla="*/ 14 w 60"/>
                <a:gd name="T39" fmla="*/ 5 h 60"/>
                <a:gd name="T40" fmla="*/ 8 w 60"/>
                <a:gd name="T41" fmla="*/ 8 h 60"/>
                <a:gd name="T42" fmla="*/ 5 w 60"/>
                <a:gd name="T43" fmla="*/ 14 h 60"/>
                <a:gd name="T44" fmla="*/ 2 w 60"/>
                <a:gd name="T45" fmla="*/ 18 h 60"/>
                <a:gd name="T46" fmla="*/ 1 w 60"/>
                <a:gd name="T47" fmla="*/ 24 h 60"/>
                <a:gd name="T48" fmla="*/ 0 w 60"/>
                <a:gd name="T49" fmla="*/ 30 h 60"/>
                <a:gd name="T50" fmla="*/ 1 w 60"/>
                <a:gd name="T51" fmla="*/ 36 h 60"/>
                <a:gd name="T52" fmla="*/ 2 w 60"/>
                <a:gd name="T53" fmla="*/ 41 h 60"/>
                <a:gd name="T54" fmla="*/ 5 w 60"/>
                <a:gd name="T55" fmla="*/ 47 h 60"/>
                <a:gd name="T56" fmla="*/ 8 w 60"/>
                <a:gd name="T57" fmla="*/ 51 h 60"/>
                <a:gd name="T58" fmla="*/ 14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1" y="57"/>
                  </a:lnTo>
                  <a:lnTo>
                    <a:pt x="47" y="54"/>
                  </a:lnTo>
                  <a:lnTo>
                    <a:pt x="51" y="51"/>
                  </a:lnTo>
                  <a:lnTo>
                    <a:pt x="54" y="47"/>
                  </a:lnTo>
                  <a:lnTo>
                    <a:pt x="57" y="41"/>
                  </a:lnTo>
                  <a:lnTo>
                    <a:pt x="60" y="36"/>
                  </a:lnTo>
                  <a:lnTo>
                    <a:pt x="60" y="30"/>
                  </a:lnTo>
                  <a:lnTo>
                    <a:pt x="60" y="24"/>
                  </a:lnTo>
                  <a:lnTo>
                    <a:pt x="57" y="18"/>
                  </a:lnTo>
                  <a:lnTo>
                    <a:pt x="54" y="14"/>
                  </a:lnTo>
                  <a:lnTo>
                    <a:pt x="51" y="8"/>
                  </a:lnTo>
                  <a:lnTo>
                    <a:pt x="47" y="5"/>
                  </a:lnTo>
                  <a:lnTo>
                    <a:pt x="41" y="2"/>
                  </a:lnTo>
                  <a:lnTo>
                    <a:pt x="36" y="1"/>
                  </a:lnTo>
                  <a:lnTo>
                    <a:pt x="30" y="0"/>
                  </a:lnTo>
                  <a:lnTo>
                    <a:pt x="24" y="1"/>
                  </a:lnTo>
                  <a:lnTo>
                    <a:pt x="18" y="2"/>
                  </a:lnTo>
                  <a:lnTo>
                    <a:pt x="14" y="5"/>
                  </a:lnTo>
                  <a:lnTo>
                    <a:pt x="8" y="8"/>
                  </a:lnTo>
                  <a:lnTo>
                    <a:pt x="5" y="14"/>
                  </a:lnTo>
                  <a:lnTo>
                    <a:pt x="2" y="18"/>
                  </a:lnTo>
                  <a:lnTo>
                    <a:pt x="1" y="24"/>
                  </a:lnTo>
                  <a:lnTo>
                    <a:pt x="0" y="30"/>
                  </a:lnTo>
                  <a:lnTo>
                    <a:pt x="1" y="36"/>
                  </a:lnTo>
                  <a:lnTo>
                    <a:pt x="2" y="41"/>
                  </a:lnTo>
                  <a:lnTo>
                    <a:pt x="5" y="47"/>
                  </a:lnTo>
                  <a:lnTo>
                    <a:pt x="8" y="51"/>
                  </a:lnTo>
                  <a:lnTo>
                    <a:pt x="14"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1" name="Freeform 302">
              <a:extLst>
                <a:ext uri="{FF2B5EF4-FFF2-40B4-BE49-F238E27FC236}">
                  <a16:creationId xmlns:a16="http://schemas.microsoft.com/office/drawing/2014/main" id="{B4A6572B-E68B-4C18-A569-360ACBF72C4D}"/>
                </a:ext>
              </a:extLst>
            </p:cNvPr>
            <p:cNvSpPr>
              <a:spLocks/>
            </p:cNvSpPr>
            <p:nvPr/>
          </p:nvSpPr>
          <p:spPr bwMode="auto">
            <a:xfrm>
              <a:off x="11658600" y="1962150"/>
              <a:ext cx="19050" cy="19050"/>
            </a:xfrm>
            <a:custGeom>
              <a:avLst/>
              <a:gdLst>
                <a:gd name="T0" fmla="*/ 30 w 60"/>
                <a:gd name="T1" fmla="*/ 60 h 60"/>
                <a:gd name="T2" fmla="*/ 37 w 60"/>
                <a:gd name="T3" fmla="*/ 60 h 60"/>
                <a:gd name="T4" fmla="*/ 42 w 60"/>
                <a:gd name="T5" fmla="*/ 57 h 60"/>
                <a:gd name="T6" fmla="*/ 47 w 60"/>
                <a:gd name="T7" fmla="*/ 54 h 60"/>
                <a:gd name="T8" fmla="*/ 52 w 60"/>
                <a:gd name="T9" fmla="*/ 51 h 60"/>
                <a:gd name="T10" fmla="*/ 56 w 60"/>
                <a:gd name="T11" fmla="*/ 47 h 60"/>
                <a:gd name="T12" fmla="*/ 58 w 60"/>
                <a:gd name="T13" fmla="*/ 41 h 60"/>
                <a:gd name="T14" fmla="*/ 60 w 60"/>
                <a:gd name="T15" fmla="*/ 36 h 60"/>
                <a:gd name="T16" fmla="*/ 60 w 60"/>
                <a:gd name="T17" fmla="*/ 30 h 60"/>
                <a:gd name="T18" fmla="*/ 60 w 60"/>
                <a:gd name="T19" fmla="*/ 24 h 60"/>
                <a:gd name="T20" fmla="*/ 58 w 60"/>
                <a:gd name="T21" fmla="*/ 18 h 60"/>
                <a:gd name="T22" fmla="*/ 56 w 60"/>
                <a:gd name="T23" fmla="*/ 14 h 60"/>
                <a:gd name="T24" fmla="*/ 52 w 60"/>
                <a:gd name="T25" fmla="*/ 8 h 60"/>
                <a:gd name="T26" fmla="*/ 47 w 60"/>
                <a:gd name="T27" fmla="*/ 5 h 60"/>
                <a:gd name="T28" fmla="*/ 42 w 60"/>
                <a:gd name="T29" fmla="*/ 2 h 60"/>
                <a:gd name="T30" fmla="*/ 37 w 60"/>
                <a:gd name="T31" fmla="*/ 1 h 60"/>
                <a:gd name="T32" fmla="*/ 30 w 60"/>
                <a:gd name="T33" fmla="*/ 0 h 60"/>
                <a:gd name="T34" fmla="*/ 25 w 60"/>
                <a:gd name="T35" fmla="*/ 1 h 60"/>
                <a:gd name="T36" fmla="*/ 20 w 60"/>
                <a:gd name="T37" fmla="*/ 2 h 60"/>
                <a:gd name="T38" fmla="*/ 14 w 60"/>
                <a:gd name="T39" fmla="*/ 5 h 60"/>
                <a:gd name="T40" fmla="*/ 10 w 60"/>
                <a:gd name="T41" fmla="*/ 8 h 60"/>
                <a:gd name="T42" fmla="*/ 6 w 60"/>
                <a:gd name="T43" fmla="*/ 14 h 60"/>
                <a:gd name="T44" fmla="*/ 4 w 60"/>
                <a:gd name="T45" fmla="*/ 18 h 60"/>
                <a:gd name="T46" fmla="*/ 2 w 60"/>
                <a:gd name="T47" fmla="*/ 24 h 60"/>
                <a:gd name="T48" fmla="*/ 0 w 60"/>
                <a:gd name="T49" fmla="*/ 30 h 60"/>
                <a:gd name="T50" fmla="*/ 2 w 60"/>
                <a:gd name="T51" fmla="*/ 36 h 60"/>
                <a:gd name="T52" fmla="*/ 4 w 60"/>
                <a:gd name="T53" fmla="*/ 41 h 60"/>
                <a:gd name="T54" fmla="*/ 6 w 60"/>
                <a:gd name="T55" fmla="*/ 47 h 60"/>
                <a:gd name="T56" fmla="*/ 10 w 60"/>
                <a:gd name="T57" fmla="*/ 51 h 60"/>
                <a:gd name="T58" fmla="*/ 14 w 60"/>
                <a:gd name="T59" fmla="*/ 54 h 60"/>
                <a:gd name="T60" fmla="*/ 20 w 60"/>
                <a:gd name="T61" fmla="*/ 57 h 60"/>
                <a:gd name="T62" fmla="*/ 25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7" y="60"/>
                  </a:lnTo>
                  <a:lnTo>
                    <a:pt x="42" y="57"/>
                  </a:lnTo>
                  <a:lnTo>
                    <a:pt x="47" y="54"/>
                  </a:lnTo>
                  <a:lnTo>
                    <a:pt x="52" y="51"/>
                  </a:lnTo>
                  <a:lnTo>
                    <a:pt x="56" y="47"/>
                  </a:lnTo>
                  <a:lnTo>
                    <a:pt x="58" y="41"/>
                  </a:lnTo>
                  <a:lnTo>
                    <a:pt x="60" y="36"/>
                  </a:lnTo>
                  <a:lnTo>
                    <a:pt x="60" y="30"/>
                  </a:lnTo>
                  <a:lnTo>
                    <a:pt x="60" y="24"/>
                  </a:lnTo>
                  <a:lnTo>
                    <a:pt x="58" y="18"/>
                  </a:lnTo>
                  <a:lnTo>
                    <a:pt x="56" y="14"/>
                  </a:lnTo>
                  <a:lnTo>
                    <a:pt x="52" y="8"/>
                  </a:lnTo>
                  <a:lnTo>
                    <a:pt x="47" y="5"/>
                  </a:lnTo>
                  <a:lnTo>
                    <a:pt x="42" y="2"/>
                  </a:lnTo>
                  <a:lnTo>
                    <a:pt x="37" y="1"/>
                  </a:lnTo>
                  <a:lnTo>
                    <a:pt x="30" y="0"/>
                  </a:lnTo>
                  <a:lnTo>
                    <a:pt x="25" y="1"/>
                  </a:lnTo>
                  <a:lnTo>
                    <a:pt x="20" y="2"/>
                  </a:lnTo>
                  <a:lnTo>
                    <a:pt x="14" y="5"/>
                  </a:lnTo>
                  <a:lnTo>
                    <a:pt x="10" y="8"/>
                  </a:lnTo>
                  <a:lnTo>
                    <a:pt x="6" y="14"/>
                  </a:lnTo>
                  <a:lnTo>
                    <a:pt x="4" y="18"/>
                  </a:lnTo>
                  <a:lnTo>
                    <a:pt x="2" y="24"/>
                  </a:lnTo>
                  <a:lnTo>
                    <a:pt x="0" y="30"/>
                  </a:lnTo>
                  <a:lnTo>
                    <a:pt x="2" y="36"/>
                  </a:lnTo>
                  <a:lnTo>
                    <a:pt x="4" y="41"/>
                  </a:lnTo>
                  <a:lnTo>
                    <a:pt x="6" y="47"/>
                  </a:lnTo>
                  <a:lnTo>
                    <a:pt x="10" y="51"/>
                  </a:lnTo>
                  <a:lnTo>
                    <a:pt x="14" y="54"/>
                  </a:lnTo>
                  <a:lnTo>
                    <a:pt x="20" y="57"/>
                  </a:lnTo>
                  <a:lnTo>
                    <a:pt x="25"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2" name="Freeform 303">
              <a:extLst>
                <a:ext uri="{FF2B5EF4-FFF2-40B4-BE49-F238E27FC236}">
                  <a16:creationId xmlns:a16="http://schemas.microsoft.com/office/drawing/2014/main" id="{B6F13C09-9BD9-4FD5-AD6D-9FD54E46A0FB}"/>
                </a:ext>
              </a:extLst>
            </p:cNvPr>
            <p:cNvSpPr>
              <a:spLocks/>
            </p:cNvSpPr>
            <p:nvPr/>
          </p:nvSpPr>
          <p:spPr bwMode="auto">
            <a:xfrm>
              <a:off x="11687175" y="1962150"/>
              <a:ext cx="19050" cy="19050"/>
            </a:xfrm>
            <a:custGeom>
              <a:avLst/>
              <a:gdLst>
                <a:gd name="T0" fmla="*/ 30 w 60"/>
                <a:gd name="T1" fmla="*/ 60 h 60"/>
                <a:gd name="T2" fmla="*/ 36 w 60"/>
                <a:gd name="T3" fmla="*/ 60 h 60"/>
                <a:gd name="T4" fmla="*/ 42 w 60"/>
                <a:gd name="T5" fmla="*/ 57 h 60"/>
                <a:gd name="T6" fmla="*/ 46 w 60"/>
                <a:gd name="T7" fmla="*/ 54 h 60"/>
                <a:gd name="T8" fmla="*/ 51 w 60"/>
                <a:gd name="T9" fmla="*/ 51 h 60"/>
                <a:gd name="T10" fmla="*/ 55 w 60"/>
                <a:gd name="T11" fmla="*/ 47 h 60"/>
                <a:gd name="T12" fmla="*/ 57 w 60"/>
                <a:gd name="T13" fmla="*/ 41 h 60"/>
                <a:gd name="T14" fmla="*/ 59 w 60"/>
                <a:gd name="T15" fmla="*/ 36 h 60"/>
                <a:gd name="T16" fmla="*/ 60 w 60"/>
                <a:gd name="T17" fmla="*/ 30 h 60"/>
                <a:gd name="T18" fmla="*/ 59 w 60"/>
                <a:gd name="T19" fmla="*/ 24 h 60"/>
                <a:gd name="T20" fmla="*/ 57 w 60"/>
                <a:gd name="T21" fmla="*/ 18 h 60"/>
                <a:gd name="T22" fmla="*/ 55 w 60"/>
                <a:gd name="T23" fmla="*/ 14 h 60"/>
                <a:gd name="T24" fmla="*/ 51 w 60"/>
                <a:gd name="T25" fmla="*/ 8 h 60"/>
                <a:gd name="T26" fmla="*/ 46 w 60"/>
                <a:gd name="T27" fmla="*/ 5 h 60"/>
                <a:gd name="T28" fmla="*/ 42 w 60"/>
                <a:gd name="T29" fmla="*/ 2 h 60"/>
                <a:gd name="T30" fmla="*/ 36 w 60"/>
                <a:gd name="T31" fmla="*/ 1 h 60"/>
                <a:gd name="T32" fmla="*/ 30 w 60"/>
                <a:gd name="T33" fmla="*/ 0 h 60"/>
                <a:gd name="T34" fmla="*/ 24 w 60"/>
                <a:gd name="T35" fmla="*/ 1 h 60"/>
                <a:gd name="T36" fmla="*/ 18 w 60"/>
                <a:gd name="T37" fmla="*/ 2 h 60"/>
                <a:gd name="T38" fmla="*/ 13 w 60"/>
                <a:gd name="T39" fmla="*/ 5 h 60"/>
                <a:gd name="T40" fmla="*/ 9 w 60"/>
                <a:gd name="T41" fmla="*/ 8 h 60"/>
                <a:gd name="T42" fmla="*/ 5 w 60"/>
                <a:gd name="T43" fmla="*/ 14 h 60"/>
                <a:gd name="T44" fmla="*/ 2 w 60"/>
                <a:gd name="T45" fmla="*/ 18 h 60"/>
                <a:gd name="T46" fmla="*/ 0 w 60"/>
                <a:gd name="T47" fmla="*/ 24 h 60"/>
                <a:gd name="T48" fmla="*/ 0 w 60"/>
                <a:gd name="T49" fmla="*/ 30 h 60"/>
                <a:gd name="T50" fmla="*/ 0 w 60"/>
                <a:gd name="T51" fmla="*/ 36 h 60"/>
                <a:gd name="T52" fmla="*/ 2 w 60"/>
                <a:gd name="T53" fmla="*/ 41 h 60"/>
                <a:gd name="T54" fmla="*/ 5 w 60"/>
                <a:gd name="T55" fmla="*/ 47 h 60"/>
                <a:gd name="T56" fmla="*/ 9 w 60"/>
                <a:gd name="T57" fmla="*/ 51 h 60"/>
                <a:gd name="T58" fmla="*/ 13 w 60"/>
                <a:gd name="T59" fmla="*/ 54 h 60"/>
                <a:gd name="T60" fmla="*/ 18 w 60"/>
                <a:gd name="T61" fmla="*/ 57 h 60"/>
                <a:gd name="T62" fmla="*/ 24 w 60"/>
                <a:gd name="T63" fmla="*/ 60 h 60"/>
                <a:gd name="T64" fmla="*/ 30 w 60"/>
                <a:gd name="T6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30" y="60"/>
                  </a:moveTo>
                  <a:lnTo>
                    <a:pt x="36" y="60"/>
                  </a:lnTo>
                  <a:lnTo>
                    <a:pt x="42" y="57"/>
                  </a:lnTo>
                  <a:lnTo>
                    <a:pt x="46" y="54"/>
                  </a:lnTo>
                  <a:lnTo>
                    <a:pt x="51" y="51"/>
                  </a:lnTo>
                  <a:lnTo>
                    <a:pt x="55" y="47"/>
                  </a:lnTo>
                  <a:lnTo>
                    <a:pt x="57" y="41"/>
                  </a:lnTo>
                  <a:lnTo>
                    <a:pt x="59" y="36"/>
                  </a:lnTo>
                  <a:lnTo>
                    <a:pt x="60" y="30"/>
                  </a:lnTo>
                  <a:lnTo>
                    <a:pt x="59" y="24"/>
                  </a:lnTo>
                  <a:lnTo>
                    <a:pt x="57" y="18"/>
                  </a:lnTo>
                  <a:lnTo>
                    <a:pt x="55" y="14"/>
                  </a:lnTo>
                  <a:lnTo>
                    <a:pt x="51" y="8"/>
                  </a:lnTo>
                  <a:lnTo>
                    <a:pt x="46" y="5"/>
                  </a:lnTo>
                  <a:lnTo>
                    <a:pt x="42" y="2"/>
                  </a:lnTo>
                  <a:lnTo>
                    <a:pt x="36" y="1"/>
                  </a:lnTo>
                  <a:lnTo>
                    <a:pt x="30" y="0"/>
                  </a:lnTo>
                  <a:lnTo>
                    <a:pt x="24" y="1"/>
                  </a:lnTo>
                  <a:lnTo>
                    <a:pt x="18" y="2"/>
                  </a:lnTo>
                  <a:lnTo>
                    <a:pt x="13" y="5"/>
                  </a:lnTo>
                  <a:lnTo>
                    <a:pt x="9" y="8"/>
                  </a:lnTo>
                  <a:lnTo>
                    <a:pt x="5" y="14"/>
                  </a:lnTo>
                  <a:lnTo>
                    <a:pt x="2" y="18"/>
                  </a:lnTo>
                  <a:lnTo>
                    <a:pt x="0" y="24"/>
                  </a:lnTo>
                  <a:lnTo>
                    <a:pt x="0" y="30"/>
                  </a:lnTo>
                  <a:lnTo>
                    <a:pt x="0" y="36"/>
                  </a:lnTo>
                  <a:lnTo>
                    <a:pt x="2" y="41"/>
                  </a:lnTo>
                  <a:lnTo>
                    <a:pt x="5" y="47"/>
                  </a:lnTo>
                  <a:lnTo>
                    <a:pt x="9" y="51"/>
                  </a:lnTo>
                  <a:lnTo>
                    <a:pt x="13" y="54"/>
                  </a:lnTo>
                  <a:lnTo>
                    <a:pt x="18" y="57"/>
                  </a:lnTo>
                  <a:lnTo>
                    <a:pt x="24" y="60"/>
                  </a:lnTo>
                  <a:lnTo>
                    <a:pt x="3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70" name="Gruppieren 1969">
            <a:extLst>
              <a:ext uri="{FF2B5EF4-FFF2-40B4-BE49-F238E27FC236}">
                <a16:creationId xmlns:a16="http://schemas.microsoft.com/office/drawing/2014/main" id="{0EC2F683-47BE-4EAC-8A12-2DE0C83BEF57}"/>
              </a:ext>
            </a:extLst>
          </p:cNvPr>
          <p:cNvGrpSpPr>
            <a:grpSpLocks noChangeAspect="1"/>
          </p:cNvGrpSpPr>
          <p:nvPr/>
        </p:nvGrpSpPr>
        <p:grpSpPr>
          <a:xfrm>
            <a:off x="638322" y="5436122"/>
            <a:ext cx="305900" cy="248528"/>
            <a:chOff x="9450387" y="3648075"/>
            <a:chExt cx="1912938" cy="1554162"/>
          </a:xfrm>
          <a:solidFill>
            <a:schemeClr val="bg1"/>
          </a:solidFill>
        </p:grpSpPr>
        <p:sp>
          <p:nvSpPr>
            <p:cNvPr id="1971" name="Freeform 9">
              <a:extLst>
                <a:ext uri="{FF2B5EF4-FFF2-40B4-BE49-F238E27FC236}">
                  <a16:creationId xmlns:a16="http://schemas.microsoft.com/office/drawing/2014/main" id="{AA85107A-03CF-492D-A17D-298610383B99}"/>
                </a:ext>
              </a:extLst>
            </p:cNvPr>
            <p:cNvSpPr>
              <a:spLocks noEditPoints="1"/>
            </p:cNvSpPr>
            <p:nvPr/>
          </p:nvSpPr>
          <p:spPr bwMode="auto">
            <a:xfrm>
              <a:off x="9450387" y="4010025"/>
              <a:ext cx="1912938" cy="1192212"/>
            </a:xfrm>
            <a:custGeom>
              <a:avLst/>
              <a:gdLst>
                <a:gd name="T0" fmla="*/ 971 w 988"/>
                <a:gd name="T1" fmla="*/ 615 h 615"/>
                <a:gd name="T2" fmla="*/ 17 w 988"/>
                <a:gd name="T3" fmla="*/ 615 h 615"/>
                <a:gd name="T4" fmla="*/ 0 w 988"/>
                <a:gd name="T5" fmla="*/ 599 h 615"/>
                <a:gd name="T6" fmla="*/ 0 w 988"/>
                <a:gd name="T7" fmla="*/ 16 h 615"/>
                <a:gd name="T8" fmla="*/ 17 w 988"/>
                <a:gd name="T9" fmla="*/ 0 h 615"/>
                <a:gd name="T10" fmla="*/ 971 w 988"/>
                <a:gd name="T11" fmla="*/ 0 h 615"/>
                <a:gd name="T12" fmla="*/ 988 w 988"/>
                <a:gd name="T13" fmla="*/ 16 h 615"/>
                <a:gd name="T14" fmla="*/ 988 w 988"/>
                <a:gd name="T15" fmla="*/ 599 h 615"/>
                <a:gd name="T16" fmla="*/ 971 w 988"/>
                <a:gd name="T17" fmla="*/ 615 h 615"/>
                <a:gd name="T18" fmla="*/ 33 w 988"/>
                <a:gd name="T19" fmla="*/ 582 h 615"/>
                <a:gd name="T20" fmla="*/ 955 w 988"/>
                <a:gd name="T21" fmla="*/ 582 h 615"/>
                <a:gd name="T22" fmla="*/ 955 w 988"/>
                <a:gd name="T23" fmla="*/ 32 h 615"/>
                <a:gd name="T24" fmla="*/ 33 w 988"/>
                <a:gd name="T25" fmla="*/ 32 h 615"/>
                <a:gd name="T26" fmla="*/ 33 w 988"/>
                <a:gd name="T27" fmla="*/ 58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615">
                  <a:moveTo>
                    <a:pt x="971" y="615"/>
                  </a:moveTo>
                  <a:cubicBezTo>
                    <a:pt x="17" y="615"/>
                    <a:pt x="17" y="615"/>
                    <a:pt x="17" y="615"/>
                  </a:cubicBezTo>
                  <a:cubicBezTo>
                    <a:pt x="7" y="615"/>
                    <a:pt x="0" y="608"/>
                    <a:pt x="0" y="599"/>
                  </a:cubicBezTo>
                  <a:cubicBezTo>
                    <a:pt x="0" y="16"/>
                    <a:pt x="0" y="16"/>
                    <a:pt x="0" y="16"/>
                  </a:cubicBezTo>
                  <a:cubicBezTo>
                    <a:pt x="0" y="7"/>
                    <a:pt x="7" y="0"/>
                    <a:pt x="17" y="0"/>
                  </a:cubicBezTo>
                  <a:cubicBezTo>
                    <a:pt x="971" y="0"/>
                    <a:pt x="971" y="0"/>
                    <a:pt x="971" y="0"/>
                  </a:cubicBezTo>
                  <a:cubicBezTo>
                    <a:pt x="980" y="0"/>
                    <a:pt x="988" y="7"/>
                    <a:pt x="988" y="16"/>
                  </a:cubicBezTo>
                  <a:cubicBezTo>
                    <a:pt x="988" y="599"/>
                    <a:pt x="988" y="599"/>
                    <a:pt x="988" y="599"/>
                  </a:cubicBezTo>
                  <a:cubicBezTo>
                    <a:pt x="988" y="608"/>
                    <a:pt x="980" y="615"/>
                    <a:pt x="971" y="615"/>
                  </a:cubicBezTo>
                  <a:close/>
                  <a:moveTo>
                    <a:pt x="33" y="582"/>
                  </a:moveTo>
                  <a:cubicBezTo>
                    <a:pt x="955" y="582"/>
                    <a:pt x="955" y="582"/>
                    <a:pt x="955" y="582"/>
                  </a:cubicBezTo>
                  <a:cubicBezTo>
                    <a:pt x="955" y="32"/>
                    <a:pt x="955" y="32"/>
                    <a:pt x="955" y="32"/>
                  </a:cubicBezTo>
                  <a:cubicBezTo>
                    <a:pt x="33" y="32"/>
                    <a:pt x="33" y="32"/>
                    <a:pt x="33" y="32"/>
                  </a:cubicBezTo>
                  <a:lnTo>
                    <a:pt x="33"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2" name="Freeform 11">
              <a:extLst>
                <a:ext uri="{FF2B5EF4-FFF2-40B4-BE49-F238E27FC236}">
                  <a16:creationId xmlns:a16="http://schemas.microsoft.com/office/drawing/2014/main" id="{E1E74EBB-7D05-4685-9AD6-EFE711B5DB2A}"/>
                </a:ext>
              </a:extLst>
            </p:cNvPr>
            <p:cNvSpPr>
              <a:spLocks noEditPoints="1"/>
            </p:cNvSpPr>
            <p:nvPr/>
          </p:nvSpPr>
          <p:spPr bwMode="auto">
            <a:xfrm>
              <a:off x="9450387" y="3648075"/>
              <a:ext cx="1912938" cy="423862"/>
            </a:xfrm>
            <a:custGeom>
              <a:avLst/>
              <a:gdLst>
                <a:gd name="T0" fmla="*/ 971 w 988"/>
                <a:gd name="T1" fmla="*/ 219 h 219"/>
                <a:gd name="T2" fmla="*/ 17 w 988"/>
                <a:gd name="T3" fmla="*/ 219 h 219"/>
                <a:gd name="T4" fmla="*/ 0 w 988"/>
                <a:gd name="T5" fmla="*/ 203 h 219"/>
                <a:gd name="T6" fmla="*/ 0 w 988"/>
                <a:gd name="T7" fmla="*/ 16 h 219"/>
                <a:gd name="T8" fmla="*/ 17 w 988"/>
                <a:gd name="T9" fmla="*/ 0 h 219"/>
                <a:gd name="T10" fmla="*/ 971 w 988"/>
                <a:gd name="T11" fmla="*/ 0 h 219"/>
                <a:gd name="T12" fmla="*/ 988 w 988"/>
                <a:gd name="T13" fmla="*/ 16 h 219"/>
                <a:gd name="T14" fmla="*/ 988 w 988"/>
                <a:gd name="T15" fmla="*/ 203 h 219"/>
                <a:gd name="T16" fmla="*/ 971 w 988"/>
                <a:gd name="T17" fmla="*/ 219 h 219"/>
                <a:gd name="T18" fmla="*/ 33 w 988"/>
                <a:gd name="T19" fmla="*/ 187 h 219"/>
                <a:gd name="T20" fmla="*/ 955 w 988"/>
                <a:gd name="T21" fmla="*/ 187 h 219"/>
                <a:gd name="T22" fmla="*/ 955 w 988"/>
                <a:gd name="T23" fmla="*/ 33 h 219"/>
                <a:gd name="T24" fmla="*/ 33 w 988"/>
                <a:gd name="T25" fmla="*/ 33 h 219"/>
                <a:gd name="T26" fmla="*/ 33 w 988"/>
                <a:gd name="T27" fmla="*/ 1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8" h="219">
                  <a:moveTo>
                    <a:pt x="971" y="219"/>
                  </a:moveTo>
                  <a:cubicBezTo>
                    <a:pt x="17" y="219"/>
                    <a:pt x="17" y="219"/>
                    <a:pt x="17" y="219"/>
                  </a:cubicBezTo>
                  <a:cubicBezTo>
                    <a:pt x="7" y="219"/>
                    <a:pt x="0" y="212"/>
                    <a:pt x="0" y="203"/>
                  </a:cubicBezTo>
                  <a:cubicBezTo>
                    <a:pt x="0" y="16"/>
                    <a:pt x="0" y="16"/>
                    <a:pt x="0" y="16"/>
                  </a:cubicBezTo>
                  <a:cubicBezTo>
                    <a:pt x="0" y="7"/>
                    <a:pt x="7" y="0"/>
                    <a:pt x="17" y="0"/>
                  </a:cubicBezTo>
                  <a:cubicBezTo>
                    <a:pt x="971" y="0"/>
                    <a:pt x="971" y="0"/>
                    <a:pt x="971" y="0"/>
                  </a:cubicBezTo>
                  <a:cubicBezTo>
                    <a:pt x="980" y="0"/>
                    <a:pt x="988" y="7"/>
                    <a:pt x="988" y="16"/>
                  </a:cubicBezTo>
                  <a:cubicBezTo>
                    <a:pt x="988" y="203"/>
                    <a:pt x="988" y="203"/>
                    <a:pt x="988" y="203"/>
                  </a:cubicBezTo>
                  <a:cubicBezTo>
                    <a:pt x="988" y="212"/>
                    <a:pt x="980" y="219"/>
                    <a:pt x="971" y="219"/>
                  </a:cubicBezTo>
                  <a:close/>
                  <a:moveTo>
                    <a:pt x="33" y="187"/>
                  </a:moveTo>
                  <a:cubicBezTo>
                    <a:pt x="955" y="187"/>
                    <a:pt x="955" y="187"/>
                    <a:pt x="955" y="187"/>
                  </a:cubicBezTo>
                  <a:cubicBezTo>
                    <a:pt x="955" y="33"/>
                    <a:pt x="955" y="33"/>
                    <a:pt x="955" y="33"/>
                  </a:cubicBezTo>
                  <a:cubicBezTo>
                    <a:pt x="33" y="33"/>
                    <a:pt x="33" y="33"/>
                    <a:pt x="33" y="33"/>
                  </a:cubicBezTo>
                  <a:lnTo>
                    <a:pt x="33"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3" name="Freeform 15">
              <a:extLst>
                <a:ext uri="{FF2B5EF4-FFF2-40B4-BE49-F238E27FC236}">
                  <a16:creationId xmlns:a16="http://schemas.microsoft.com/office/drawing/2014/main" id="{D00D8D01-2526-4C40-B884-0A4C5CE8BDAF}"/>
                </a:ext>
              </a:extLst>
            </p:cNvPr>
            <p:cNvSpPr>
              <a:spLocks/>
            </p:cNvSpPr>
            <p:nvPr/>
          </p:nvSpPr>
          <p:spPr bwMode="auto">
            <a:xfrm>
              <a:off x="9563100"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4" name="Freeform 15">
              <a:extLst>
                <a:ext uri="{FF2B5EF4-FFF2-40B4-BE49-F238E27FC236}">
                  <a16:creationId xmlns:a16="http://schemas.microsoft.com/office/drawing/2014/main" id="{40FAC0B0-53A9-4204-946A-0F1779FE5E13}"/>
                </a:ext>
              </a:extLst>
            </p:cNvPr>
            <p:cNvSpPr>
              <a:spLocks/>
            </p:cNvSpPr>
            <p:nvPr/>
          </p:nvSpPr>
          <p:spPr bwMode="auto">
            <a:xfrm>
              <a:off x="9701212"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5" name="Freeform 15">
              <a:extLst>
                <a:ext uri="{FF2B5EF4-FFF2-40B4-BE49-F238E27FC236}">
                  <a16:creationId xmlns:a16="http://schemas.microsoft.com/office/drawing/2014/main" id="{464BA912-2042-4BB9-8FF1-D6E093F50C57}"/>
                </a:ext>
              </a:extLst>
            </p:cNvPr>
            <p:cNvSpPr>
              <a:spLocks/>
            </p:cNvSpPr>
            <p:nvPr/>
          </p:nvSpPr>
          <p:spPr bwMode="auto">
            <a:xfrm>
              <a:off x="9839325" y="3795713"/>
              <a:ext cx="108000" cy="1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9" name="Group 162">
            <a:extLst>
              <a:ext uri="{FF2B5EF4-FFF2-40B4-BE49-F238E27FC236}">
                <a16:creationId xmlns:a16="http://schemas.microsoft.com/office/drawing/2014/main" id="{D7F6B4D7-1A64-46D6-82E2-0350FC725439}"/>
              </a:ext>
            </a:extLst>
          </p:cNvPr>
          <p:cNvGrpSpPr>
            <a:grpSpLocks noChangeAspect="1"/>
          </p:cNvGrpSpPr>
          <p:nvPr/>
        </p:nvGrpSpPr>
        <p:grpSpPr>
          <a:xfrm>
            <a:off x="703818" y="2724897"/>
            <a:ext cx="220563" cy="285619"/>
            <a:chOff x="9347200" y="781050"/>
            <a:chExt cx="220663" cy="285750"/>
          </a:xfrm>
          <a:solidFill>
            <a:schemeClr val="bg1"/>
          </a:solidFill>
          <a:effectLst/>
        </p:grpSpPr>
        <p:sp>
          <p:nvSpPr>
            <p:cNvPr id="1710" name="Freeform 189">
              <a:extLst>
                <a:ext uri="{FF2B5EF4-FFF2-40B4-BE49-F238E27FC236}">
                  <a16:creationId xmlns:a16="http://schemas.microsoft.com/office/drawing/2014/main" id="{0EB8A594-E09B-4AAC-916E-E952E0990308}"/>
                </a:ext>
              </a:extLst>
            </p:cNvPr>
            <p:cNvSpPr>
              <a:spLocks noEditPoints="1"/>
            </p:cNvSpPr>
            <p:nvPr/>
          </p:nvSpPr>
          <p:spPr bwMode="auto">
            <a:xfrm>
              <a:off x="9347200" y="781050"/>
              <a:ext cx="220663" cy="285750"/>
            </a:xfrm>
            <a:custGeom>
              <a:avLst/>
              <a:gdLst>
                <a:gd name="T0" fmla="*/ 361 w 692"/>
                <a:gd name="T1" fmla="*/ 632 h 903"/>
                <a:gd name="T2" fmla="*/ 662 w 692"/>
                <a:gd name="T3" fmla="*/ 818 h 903"/>
                <a:gd name="T4" fmla="*/ 657 w 692"/>
                <a:gd name="T5" fmla="*/ 835 h 903"/>
                <a:gd name="T6" fmla="*/ 648 w 692"/>
                <a:gd name="T7" fmla="*/ 850 h 903"/>
                <a:gd name="T8" fmla="*/ 635 w 692"/>
                <a:gd name="T9" fmla="*/ 862 h 903"/>
                <a:gd name="T10" fmla="*/ 619 w 692"/>
                <a:gd name="T11" fmla="*/ 869 h 903"/>
                <a:gd name="T12" fmla="*/ 602 w 692"/>
                <a:gd name="T13" fmla="*/ 872 h 903"/>
                <a:gd name="T14" fmla="*/ 331 w 692"/>
                <a:gd name="T15" fmla="*/ 632 h 903"/>
                <a:gd name="T16" fmla="*/ 85 w 692"/>
                <a:gd name="T17" fmla="*/ 872 h 903"/>
                <a:gd name="T18" fmla="*/ 67 w 692"/>
                <a:gd name="T19" fmla="*/ 867 h 903"/>
                <a:gd name="T20" fmla="*/ 52 w 692"/>
                <a:gd name="T21" fmla="*/ 859 h 903"/>
                <a:gd name="T22" fmla="*/ 41 w 692"/>
                <a:gd name="T23" fmla="*/ 846 h 903"/>
                <a:gd name="T24" fmla="*/ 33 w 692"/>
                <a:gd name="T25" fmla="*/ 830 h 903"/>
                <a:gd name="T26" fmla="*/ 30 w 692"/>
                <a:gd name="T27" fmla="*/ 812 h 903"/>
                <a:gd name="T28" fmla="*/ 30 w 692"/>
                <a:gd name="T29" fmla="*/ 602 h 903"/>
                <a:gd name="T30" fmla="*/ 331 w 692"/>
                <a:gd name="T31" fmla="*/ 602 h 903"/>
                <a:gd name="T32" fmla="*/ 662 w 692"/>
                <a:gd name="T33" fmla="*/ 602 h 903"/>
                <a:gd name="T34" fmla="*/ 91 w 692"/>
                <a:gd name="T35" fmla="*/ 30 h 903"/>
                <a:gd name="T36" fmla="*/ 614 w 692"/>
                <a:gd name="T37" fmla="*/ 32 h 903"/>
                <a:gd name="T38" fmla="*/ 631 w 692"/>
                <a:gd name="T39" fmla="*/ 37 h 903"/>
                <a:gd name="T40" fmla="*/ 644 w 692"/>
                <a:gd name="T41" fmla="*/ 48 h 903"/>
                <a:gd name="T42" fmla="*/ 655 w 692"/>
                <a:gd name="T43" fmla="*/ 62 h 903"/>
                <a:gd name="T44" fmla="*/ 661 w 692"/>
                <a:gd name="T45" fmla="*/ 78 h 903"/>
                <a:gd name="T46" fmla="*/ 662 w 692"/>
                <a:gd name="T47" fmla="*/ 361 h 903"/>
                <a:gd name="T48" fmla="*/ 31 w 692"/>
                <a:gd name="T49" fmla="*/ 84 h 903"/>
                <a:gd name="T50" fmla="*/ 35 w 692"/>
                <a:gd name="T51" fmla="*/ 67 h 903"/>
                <a:gd name="T52" fmla="*/ 44 w 692"/>
                <a:gd name="T53" fmla="*/ 52 h 903"/>
                <a:gd name="T54" fmla="*/ 57 w 692"/>
                <a:gd name="T55" fmla="*/ 40 h 903"/>
                <a:gd name="T56" fmla="*/ 73 w 692"/>
                <a:gd name="T57" fmla="*/ 33 h 903"/>
                <a:gd name="T58" fmla="*/ 91 w 692"/>
                <a:gd name="T59" fmla="*/ 31 h 903"/>
                <a:gd name="T60" fmla="*/ 91 w 692"/>
                <a:gd name="T61" fmla="*/ 0 h 903"/>
                <a:gd name="T62" fmla="*/ 64 w 692"/>
                <a:gd name="T63" fmla="*/ 4 h 903"/>
                <a:gd name="T64" fmla="*/ 41 w 692"/>
                <a:gd name="T65" fmla="*/ 16 h 903"/>
                <a:gd name="T66" fmla="*/ 21 w 692"/>
                <a:gd name="T67" fmla="*/ 33 h 903"/>
                <a:gd name="T68" fmla="*/ 7 w 692"/>
                <a:gd name="T69" fmla="*/ 55 h 903"/>
                <a:gd name="T70" fmla="*/ 1 w 692"/>
                <a:gd name="T71" fmla="*/ 81 h 903"/>
                <a:gd name="T72" fmla="*/ 1 w 692"/>
                <a:gd name="T73" fmla="*/ 821 h 903"/>
                <a:gd name="T74" fmla="*/ 7 w 692"/>
                <a:gd name="T75" fmla="*/ 847 h 903"/>
                <a:gd name="T76" fmla="*/ 21 w 692"/>
                <a:gd name="T77" fmla="*/ 869 h 903"/>
                <a:gd name="T78" fmla="*/ 40 w 692"/>
                <a:gd name="T79" fmla="*/ 887 h 903"/>
                <a:gd name="T80" fmla="*/ 64 w 692"/>
                <a:gd name="T81" fmla="*/ 898 h 903"/>
                <a:gd name="T82" fmla="*/ 91 w 692"/>
                <a:gd name="T83" fmla="*/ 903 h 903"/>
                <a:gd name="T84" fmla="*/ 620 w 692"/>
                <a:gd name="T85" fmla="*/ 900 h 903"/>
                <a:gd name="T86" fmla="*/ 645 w 692"/>
                <a:gd name="T87" fmla="*/ 891 h 903"/>
                <a:gd name="T88" fmla="*/ 665 w 692"/>
                <a:gd name="T89" fmla="*/ 876 h 903"/>
                <a:gd name="T90" fmla="*/ 681 w 692"/>
                <a:gd name="T91" fmla="*/ 854 h 903"/>
                <a:gd name="T92" fmla="*/ 690 w 692"/>
                <a:gd name="T93" fmla="*/ 830 h 903"/>
                <a:gd name="T94" fmla="*/ 692 w 692"/>
                <a:gd name="T95" fmla="*/ 91 h 903"/>
                <a:gd name="T96" fmla="*/ 688 w 692"/>
                <a:gd name="T97" fmla="*/ 64 h 903"/>
                <a:gd name="T98" fmla="*/ 677 w 692"/>
                <a:gd name="T99" fmla="*/ 40 h 903"/>
                <a:gd name="T100" fmla="*/ 659 w 692"/>
                <a:gd name="T101" fmla="*/ 21 h 903"/>
                <a:gd name="T102" fmla="*/ 637 w 692"/>
                <a:gd name="T103" fmla="*/ 7 h 903"/>
                <a:gd name="T104" fmla="*/ 611 w 692"/>
                <a:gd name="T105" fmla="*/ 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2" h="903">
                  <a:moveTo>
                    <a:pt x="602" y="872"/>
                  </a:moveTo>
                  <a:lnTo>
                    <a:pt x="361" y="872"/>
                  </a:lnTo>
                  <a:lnTo>
                    <a:pt x="361" y="632"/>
                  </a:lnTo>
                  <a:lnTo>
                    <a:pt x="662" y="632"/>
                  </a:lnTo>
                  <a:lnTo>
                    <a:pt x="662" y="812"/>
                  </a:lnTo>
                  <a:lnTo>
                    <a:pt x="662" y="818"/>
                  </a:lnTo>
                  <a:lnTo>
                    <a:pt x="661" y="824"/>
                  </a:lnTo>
                  <a:lnTo>
                    <a:pt x="659" y="830"/>
                  </a:lnTo>
                  <a:lnTo>
                    <a:pt x="657" y="835"/>
                  </a:lnTo>
                  <a:lnTo>
                    <a:pt x="655" y="841"/>
                  </a:lnTo>
                  <a:lnTo>
                    <a:pt x="651" y="846"/>
                  </a:lnTo>
                  <a:lnTo>
                    <a:pt x="648" y="850"/>
                  </a:lnTo>
                  <a:lnTo>
                    <a:pt x="644" y="854"/>
                  </a:lnTo>
                  <a:lnTo>
                    <a:pt x="640" y="859"/>
                  </a:lnTo>
                  <a:lnTo>
                    <a:pt x="635" y="862"/>
                  </a:lnTo>
                  <a:lnTo>
                    <a:pt x="631" y="865"/>
                  </a:lnTo>
                  <a:lnTo>
                    <a:pt x="626" y="867"/>
                  </a:lnTo>
                  <a:lnTo>
                    <a:pt x="619" y="869"/>
                  </a:lnTo>
                  <a:lnTo>
                    <a:pt x="614" y="870"/>
                  </a:lnTo>
                  <a:lnTo>
                    <a:pt x="607" y="872"/>
                  </a:lnTo>
                  <a:lnTo>
                    <a:pt x="602" y="872"/>
                  </a:lnTo>
                  <a:close/>
                  <a:moveTo>
                    <a:pt x="30" y="812"/>
                  </a:moveTo>
                  <a:lnTo>
                    <a:pt x="30" y="632"/>
                  </a:lnTo>
                  <a:lnTo>
                    <a:pt x="331" y="632"/>
                  </a:lnTo>
                  <a:lnTo>
                    <a:pt x="331" y="872"/>
                  </a:lnTo>
                  <a:lnTo>
                    <a:pt x="91" y="872"/>
                  </a:lnTo>
                  <a:lnTo>
                    <a:pt x="85" y="872"/>
                  </a:lnTo>
                  <a:lnTo>
                    <a:pt x="78" y="870"/>
                  </a:lnTo>
                  <a:lnTo>
                    <a:pt x="73" y="869"/>
                  </a:lnTo>
                  <a:lnTo>
                    <a:pt x="67" y="867"/>
                  </a:lnTo>
                  <a:lnTo>
                    <a:pt x="62" y="865"/>
                  </a:lnTo>
                  <a:lnTo>
                    <a:pt x="57" y="862"/>
                  </a:lnTo>
                  <a:lnTo>
                    <a:pt x="52" y="859"/>
                  </a:lnTo>
                  <a:lnTo>
                    <a:pt x="48" y="854"/>
                  </a:lnTo>
                  <a:lnTo>
                    <a:pt x="44" y="850"/>
                  </a:lnTo>
                  <a:lnTo>
                    <a:pt x="41" y="846"/>
                  </a:lnTo>
                  <a:lnTo>
                    <a:pt x="37" y="841"/>
                  </a:lnTo>
                  <a:lnTo>
                    <a:pt x="35" y="835"/>
                  </a:lnTo>
                  <a:lnTo>
                    <a:pt x="33" y="830"/>
                  </a:lnTo>
                  <a:lnTo>
                    <a:pt x="32" y="824"/>
                  </a:lnTo>
                  <a:lnTo>
                    <a:pt x="31" y="818"/>
                  </a:lnTo>
                  <a:lnTo>
                    <a:pt x="30" y="812"/>
                  </a:lnTo>
                  <a:lnTo>
                    <a:pt x="30" y="812"/>
                  </a:lnTo>
                  <a:close/>
                  <a:moveTo>
                    <a:pt x="331" y="602"/>
                  </a:moveTo>
                  <a:lnTo>
                    <a:pt x="30" y="602"/>
                  </a:lnTo>
                  <a:lnTo>
                    <a:pt x="30" y="391"/>
                  </a:lnTo>
                  <a:lnTo>
                    <a:pt x="331" y="391"/>
                  </a:lnTo>
                  <a:lnTo>
                    <a:pt x="331" y="602"/>
                  </a:lnTo>
                  <a:close/>
                  <a:moveTo>
                    <a:pt x="361" y="391"/>
                  </a:moveTo>
                  <a:lnTo>
                    <a:pt x="662" y="391"/>
                  </a:lnTo>
                  <a:lnTo>
                    <a:pt x="662" y="602"/>
                  </a:lnTo>
                  <a:lnTo>
                    <a:pt x="361" y="602"/>
                  </a:lnTo>
                  <a:lnTo>
                    <a:pt x="361" y="391"/>
                  </a:lnTo>
                  <a:close/>
                  <a:moveTo>
                    <a:pt x="91" y="30"/>
                  </a:moveTo>
                  <a:lnTo>
                    <a:pt x="602" y="30"/>
                  </a:lnTo>
                  <a:lnTo>
                    <a:pt x="607" y="31"/>
                  </a:lnTo>
                  <a:lnTo>
                    <a:pt x="614" y="32"/>
                  </a:lnTo>
                  <a:lnTo>
                    <a:pt x="619" y="33"/>
                  </a:lnTo>
                  <a:lnTo>
                    <a:pt x="626" y="35"/>
                  </a:lnTo>
                  <a:lnTo>
                    <a:pt x="631" y="37"/>
                  </a:lnTo>
                  <a:lnTo>
                    <a:pt x="635" y="40"/>
                  </a:lnTo>
                  <a:lnTo>
                    <a:pt x="640" y="44"/>
                  </a:lnTo>
                  <a:lnTo>
                    <a:pt x="644" y="48"/>
                  </a:lnTo>
                  <a:lnTo>
                    <a:pt x="648" y="52"/>
                  </a:lnTo>
                  <a:lnTo>
                    <a:pt x="651" y="56"/>
                  </a:lnTo>
                  <a:lnTo>
                    <a:pt x="655" y="62"/>
                  </a:lnTo>
                  <a:lnTo>
                    <a:pt x="657" y="67"/>
                  </a:lnTo>
                  <a:lnTo>
                    <a:pt x="659" y="72"/>
                  </a:lnTo>
                  <a:lnTo>
                    <a:pt x="661" y="78"/>
                  </a:lnTo>
                  <a:lnTo>
                    <a:pt x="662" y="84"/>
                  </a:lnTo>
                  <a:lnTo>
                    <a:pt x="662" y="91"/>
                  </a:lnTo>
                  <a:lnTo>
                    <a:pt x="662" y="361"/>
                  </a:lnTo>
                  <a:lnTo>
                    <a:pt x="30" y="361"/>
                  </a:lnTo>
                  <a:lnTo>
                    <a:pt x="30" y="91"/>
                  </a:lnTo>
                  <a:lnTo>
                    <a:pt x="31" y="84"/>
                  </a:lnTo>
                  <a:lnTo>
                    <a:pt x="32" y="78"/>
                  </a:lnTo>
                  <a:lnTo>
                    <a:pt x="33" y="72"/>
                  </a:lnTo>
                  <a:lnTo>
                    <a:pt x="35" y="67"/>
                  </a:lnTo>
                  <a:lnTo>
                    <a:pt x="37" y="62"/>
                  </a:lnTo>
                  <a:lnTo>
                    <a:pt x="41" y="56"/>
                  </a:lnTo>
                  <a:lnTo>
                    <a:pt x="44" y="52"/>
                  </a:lnTo>
                  <a:lnTo>
                    <a:pt x="48" y="48"/>
                  </a:lnTo>
                  <a:lnTo>
                    <a:pt x="52" y="44"/>
                  </a:lnTo>
                  <a:lnTo>
                    <a:pt x="57" y="40"/>
                  </a:lnTo>
                  <a:lnTo>
                    <a:pt x="62" y="37"/>
                  </a:lnTo>
                  <a:lnTo>
                    <a:pt x="67" y="35"/>
                  </a:lnTo>
                  <a:lnTo>
                    <a:pt x="73" y="33"/>
                  </a:lnTo>
                  <a:lnTo>
                    <a:pt x="78" y="32"/>
                  </a:lnTo>
                  <a:lnTo>
                    <a:pt x="85" y="31"/>
                  </a:lnTo>
                  <a:lnTo>
                    <a:pt x="91" y="31"/>
                  </a:lnTo>
                  <a:lnTo>
                    <a:pt x="91" y="30"/>
                  </a:lnTo>
                  <a:close/>
                  <a:moveTo>
                    <a:pt x="602" y="0"/>
                  </a:moveTo>
                  <a:lnTo>
                    <a:pt x="91" y="0"/>
                  </a:lnTo>
                  <a:lnTo>
                    <a:pt x="81" y="1"/>
                  </a:lnTo>
                  <a:lnTo>
                    <a:pt x="73" y="2"/>
                  </a:lnTo>
                  <a:lnTo>
                    <a:pt x="64" y="4"/>
                  </a:lnTo>
                  <a:lnTo>
                    <a:pt x="56" y="7"/>
                  </a:lnTo>
                  <a:lnTo>
                    <a:pt x="47" y="11"/>
                  </a:lnTo>
                  <a:lnTo>
                    <a:pt x="41" y="16"/>
                  </a:lnTo>
                  <a:lnTo>
                    <a:pt x="33" y="21"/>
                  </a:lnTo>
                  <a:lnTo>
                    <a:pt x="27" y="26"/>
                  </a:lnTo>
                  <a:lnTo>
                    <a:pt x="21" y="33"/>
                  </a:lnTo>
                  <a:lnTo>
                    <a:pt x="16" y="40"/>
                  </a:lnTo>
                  <a:lnTo>
                    <a:pt x="12" y="48"/>
                  </a:lnTo>
                  <a:lnTo>
                    <a:pt x="7" y="55"/>
                  </a:lnTo>
                  <a:lnTo>
                    <a:pt x="4" y="64"/>
                  </a:lnTo>
                  <a:lnTo>
                    <a:pt x="2" y="72"/>
                  </a:lnTo>
                  <a:lnTo>
                    <a:pt x="1" y="81"/>
                  </a:lnTo>
                  <a:lnTo>
                    <a:pt x="0" y="91"/>
                  </a:lnTo>
                  <a:lnTo>
                    <a:pt x="0" y="812"/>
                  </a:lnTo>
                  <a:lnTo>
                    <a:pt x="1" y="821"/>
                  </a:lnTo>
                  <a:lnTo>
                    <a:pt x="2" y="830"/>
                  </a:lnTo>
                  <a:lnTo>
                    <a:pt x="4" y="838"/>
                  </a:lnTo>
                  <a:lnTo>
                    <a:pt x="7" y="847"/>
                  </a:lnTo>
                  <a:lnTo>
                    <a:pt x="12" y="854"/>
                  </a:lnTo>
                  <a:lnTo>
                    <a:pt x="16" y="862"/>
                  </a:lnTo>
                  <a:lnTo>
                    <a:pt x="21" y="869"/>
                  </a:lnTo>
                  <a:lnTo>
                    <a:pt x="27" y="876"/>
                  </a:lnTo>
                  <a:lnTo>
                    <a:pt x="33" y="881"/>
                  </a:lnTo>
                  <a:lnTo>
                    <a:pt x="40" y="887"/>
                  </a:lnTo>
                  <a:lnTo>
                    <a:pt x="47" y="891"/>
                  </a:lnTo>
                  <a:lnTo>
                    <a:pt x="56" y="895"/>
                  </a:lnTo>
                  <a:lnTo>
                    <a:pt x="64" y="898"/>
                  </a:lnTo>
                  <a:lnTo>
                    <a:pt x="73" y="900"/>
                  </a:lnTo>
                  <a:lnTo>
                    <a:pt x="81" y="902"/>
                  </a:lnTo>
                  <a:lnTo>
                    <a:pt x="91" y="903"/>
                  </a:lnTo>
                  <a:lnTo>
                    <a:pt x="602" y="903"/>
                  </a:lnTo>
                  <a:lnTo>
                    <a:pt x="611" y="902"/>
                  </a:lnTo>
                  <a:lnTo>
                    <a:pt x="620" y="900"/>
                  </a:lnTo>
                  <a:lnTo>
                    <a:pt x="629" y="898"/>
                  </a:lnTo>
                  <a:lnTo>
                    <a:pt x="637" y="895"/>
                  </a:lnTo>
                  <a:lnTo>
                    <a:pt x="645" y="891"/>
                  </a:lnTo>
                  <a:lnTo>
                    <a:pt x="652" y="887"/>
                  </a:lnTo>
                  <a:lnTo>
                    <a:pt x="659" y="881"/>
                  </a:lnTo>
                  <a:lnTo>
                    <a:pt x="665" y="876"/>
                  </a:lnTo>
                  <a:lnTo>
                    <a:pt x="672" y="869"/>
                  </a:lnTo>
                  <a:lnTo>
                    <a:pt x="677" y="862"/>
                  </a:lnTo>
                  <a:lnTo>
                    <a:pt x="681" y="854"/>
                  </a:lnTo>
                  <a:lnTo>
                    <a:pt x="685" y="847"/>
                  </a:lnTo>
                  <a:lnTo>
                    <a:pt x="688" y="838"/>
                  </a:lnTo>
                  <a:lnTo>
                    <a:pt x="690" y="830"/>
                  </a:lnTo>
                  <a:lnTo>
                    <a:pt x="692" y="821"/>
                  </a:lnTo>
                  <a:lnTo>
                    <a:pt x="692" y="812"/>
                  </a:lnTo>
                  <a:lnTo>
                    <a:pt x="692" y="91"/>
                  </a:lnTo>
                  <a:lnTo>
                    <a:pt x="692" y="81"/>
                  </a:lnTo>
                  <a:lnTo>
                    <a:pt x="690" y="72"/>
                  </a:lnTo>
                  <a:lnTo>
                    <a:pt x="688" y="64"/>
                  </a:lnTo>
                  <a:lnTo>
                    <a:pt x="685" y="55"/>
                  </a:lnTo>
                  <a:lnTo>
                    <a:pt x="681" y="48"/>
                  </a:lnTo>
                  <a:lnTo>
                    <a:pt x="677" y="40"/>
                  </a:lnTo>
                  <a:lnTo>
                    <a:pt x="672" y="33"/>
                  </a:lnTo>
                  <a:lnTo>
                    <a:pt x="665" y="26"/>
                  </a:lnTo>
                  <a:lnTo>
                    <a:pt x="659" y="21"/>
                  </a:lnTo>
                  <a:lnTo>
                    <a:pt x="652" y="16"/>
                  </a:lnTo>
                  <a:lnTo>
                    <a:pt x="645" y="11"/>
                  </a:lnTo>
                  <a:lnTo>
                    <a:pt x="637" y="7"/>
                  </a:lnTo>
                  <a:lnTo>
                    <a:pt x="629" y="4"/>
                  </a:lnTo>
                  <a:lnTo>
                    <a:pt x="620" y="2"/>
                  </a:lnTo>
                  <a:lnTo>
                    <a:pt x="611" y="1"/>
                  </a:lnTo>
                  <a:lnTo>
                    <a:pt x="602" y="0"/>
                  </a:lnTo>
                  <a:lnTo>
                    <a:pt x="6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1" name="Freeform 190">
              <a:extLst>
                <a:ext uri="{FF2B5EF4-FFF2-40B4-BE49-F238E27FC236}">
                  <a16:creationId xmlns:a16="http://schemas.microsoft.com/office/drawing/2014/main" id="{D88CF014-23E9-4322-B4F7-01388F5545DF}"/>
                </a:ext>
              </a:extLst>
            </p:cNvPr>
            <p:cNvSpPr>
              <a:spLocks noEditPoints="1"/>
            </p:cNvSpPr>
            <p:nvPr/>
          </p:nvSpPr>
          <p:spPr bwMode="auto">
            <a:xfrm>
              <a:off x="9375775" y="809625"/>
              <a:ext cx="163513" cy="66675"/>
            </a:xfrm>
            <a:custGeom>
              <a:avLst/>
              <a:gdLst>
                <a:gd name="T0" fmla="*/ 30 w 511"/>
                <a:gd name="T1" fmla="*/ 41 h 210"/>
                <a:gd name="T2" fmla="*/ 32 w 511"/>
                <a:gd name="T3" fmla="*/ 36 h 210"/>
                <a:gd name="T4" fmla="*/ 36 w 511"/>
                <a:gd name="T5" fmla="*/ 32 h 210"/>
                <a:gd name="T6" fmla="*/ 42 w 511"/>
                <a:gd name="T7" fmla="*/ 30 h 210"/>
                <a:gd name="T8" fmla="*/ 466 w 511"/>
                <a:gd name="T9" fmla="*/ 30 h 210"/>
                <a:gd name="T10" fmla="*/ 471 w 511"/>
                <a:gd name="T11" fmla="*/ 31 h 210"/>
                <a:gd name="T12" fmla="*/ 477 w 511"/>
                <a:gd name="T13" fmla="*/ 34 h 210"/>
                <a:gd name="T14" fmla="*/ 480 w 511"/>
                <a:gd name="T15" fmla="*/ 38 h 210"/>
                <a:gd name="T16" fmla="*/ 481 w 511"/>
                <a:gd name="T17" fmla="*/ 45 h 210"/>
                <a:gd name="T18" fmla="*/ 480 w 511"/>
                <a:gd name="T19" fmla="*/ 168 h 210"/>
                <a:gd name="T20" fmla="*/ 478 w 511"/>
                <a:gd name="T21" fmla="*/ 173 h 210"/>
                <a:gd name="T22" fmla="*/ 474 w 511"/>
                <a:gd name="T23" fmla="*/ 177 h 210"/>
                <a:gd name="T24" fmla="*/ 468 w 511"/>
                <a:gd name="T25" fmla="*/ 180 h 210"/>
                <a:gd name="T26" fmla="*/ 45 w 511"/>
                <a:gd name="T27" fmla="*/ 180 h 210"/>
                <a:gd name="T28" fmla="*/ 39 w 511"/>
                <a:gd name="T29" fmla="*/ 179 h 210"/>
                <a:gd name="T30" fmla="*/ 34 w 511"/>
                <a:gd name="T31" fmla="*/ 175 h 210"/>
                <a:gd name="T32" fmla="*/ 31 w 511"/>
                <a:gd name="T33" fmla="*/ 171 h 210"/>
                <a:gd name="T34" fmla="*/ 30 w 511"/>
                <a:gd name="T35" fmla="*/ 165 h 210"/>
                <a:gd name="T36" fmla="*/ 45 w 511"/>
                <a:gd name="T37" fmla="*/ 210 h 210"/>
                <a:gd name="T38" fmla="*/ 475 w 511"/>
                <a:gd name="T39" fmla="*/ 209 h 210"/>
                <a:gd name="T40" fmla="*/ 491 w 511"/>
                <a:gd name="T41" fmla="*/ 202 h 210"/>
                <a:gd name="T42" fmla="*/ 504 w 511"/>
                <a:gd name="T43" fmla="*/ 190 h 210"/>
                <a:gd name="T44" fmla="*/ 510 w 511"/>
                <a:gd name="T45" fmla="*/ 174 h 210"/>
                <a:gd name="T46" fmla="*/ 511 w 511"/>
                <a:gd name="T47" fmla="*/ 45 h 210"/>
                <a:gd name="T48" fmla="*/ 507 w 511"/>
                <a:gd name="T49" fmla="*/ 26 h 210"/>
                <a:gd name="T50" fmla="*/ 497 w 511"/>
                <a:gd name="T51" fmla="*/ 13 h 210"/>
                <a:gd name="T52" fmla="*/ 483 w 511"/>
                <a:gd name="T53" fmla="*/ 3 h 210"/>
                <a:gd name="T54" fmla="*/ 466 w 511"/>
                <a:gd name="T55" fmla="*/ 0 h 210"/>
                <a:gd name="T56" fmla="*/ 35 w 511"/>
                <a:gd name="T57" fmla="*/ 1 h 210"/>
                <a:gd name="T58" fmla="*/ 19 w 511"/>
                <a:gd name="T59" fmla="*/ 7 h 210"/>
                <a:gd name="T60" fmla="*/ 8 w 511"/>
                <a:gd name="T61" fmla="*/ 19 h 210"/>
                <a:gd name="T62" fmla="*/ 0 w 511"/>
                <a:gd name="T63" fmla="*/ 35 h 210"/>
                <a:gd name="T64" fmla="*/ 0 w 511"/>
                <a:gd name="T65" fmla="*/ 165 h 210"/>
                <a:gd name="T66" fmla="*/ 3 w 511"/>
                <a:gd name="T67" fmla="*/ 182 h 210"/>
                <a:gd name="T68" fmla="*/ 13 w 511"/>
                <a:gd name="T69" fmla="*/ 197 h 210"/>
                <a:gd name="T70" fmla="*/ 27 w 511"/>
                <a:gd name="T71" fmla="*/ 206 h 210"/>
                <a:gd name="T72" fmla="*/ 45 w 511"/>
                <a:gd name="T73"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1" h="210">
                  <a:moveTo>
                    <a:pt x="30" y="45"/>
                  </a:moveTo>
                  <a:lnTo>
                    <a:pt x="30" y="41"/>
                  </a:lnTo>
                  <a:lnTo>
                    <a:pt x="31" y="38"/>
                  </a:lnTo>
                  <a:lnTo>
                    <a:pt x="32" y="36"/>
                  </a:lnTo>
                  <a:lnTo>
                    <a:pt x="34" y="34"/>
                  </a:lnTo>
                  <a:lnTo>
                    <a:pt x="36" y="32"/>
                  </a:lnTo>
                  <a:lnTo>
                    <a:pt x="39" y="31"/>
                  </a:lnTo>
                  <a:lnTo>
                    <a:pt x="42" y="30"/>
                  </a:lnTo>
                  <a:lnTo>
                    <a:pt x="45" y="30"/>
                  </a:lnTo>
                  <a:lnTo>
                    <a:pt x="466" y="30"/>
                  </a:lnTo>
                  <a:lnTo>
                    <a:pt x="468" y="30"/>
                  </a:lnTo>
                  <a:lnTo>
                    <a:pt x="471" y="31"/>
                  </a:lnTo>
                  <a:lnTo>
                    <a:pt x="474" y="32"/>
                  </a:lnTo>
                  <a:lnTo>
                    <a:pt x="477" y="34"/>
                  </a:lnTo>
                  <a:lnTo>
                    <a:pt x="478" y="36"/>
                  </a:lnTo>
                  <a:lnTo>
                    <a:pt x="480" y="38"/>
                  </a:lnTo>
                  <a:lnTo>
                    <a:pt x="480" y="41"/>
                  </a:lnTo>
                  <a:lnTo>
                    <a:pt x="481" y="45"/>
                  </a:lnTo>
                  <a:lnTo>
                    <a:pt x="481" y="165"/>
                  </a:lnTo>
                  <a:lnTo>
                    <a:pt x="480" y="168"/>
                  </a:lnTo>
                  <a:lnTo>
                    <a:pt x="480" y="170"/>
                  </a:lnTo>
                  <a:lnTo>
                    <a:pt x="478" y="173"/>
                  </a:lnTo>
                  <a:lnTo>
                    <a:pt x="477" y="175"/>
                  </a:lnTo>
                  <a:lnTo>
                    <a:pt x="474" y="177"/>
                  </a:lnTo>
                  <a:lnTo>
                    <a:pt x="471" y="179"/>
                  </a:lnTo>
                  <a:lnTo>
                    <a:pt x="468" y="180"/>
                  </a:lnTo>
                  <a:lnTo>
                    <a:pt x="466" y="180"/>
                  </a:lnTo>
                  <a:lnTo>
                    <a:pt x="45" y="180"/>
                  </a:lnTo>
                  <a:lnTo>
                    <a:pt x="42" y="180"/>
                  </a:lnTo>
                  <a:lnTo>
                    <a:pt x="39" y="179"/>
                  </a:lnTo>
                  <a:lnTo>
                    <a:pt x="36" y="177"/>
                  </a:lnTo>
                  <a:lnTo>
                    <a:pt x="34" y="175"/>
                  </a:lnTo>
                  <a:lnTo>
                    <a:pt x="32" y="173"/>
                  </a:lnTo>
                  <a:lnTo>
                    <a:pt x="31" y="171"/>
                  </a:lnTo>
                  <a:lnTo>
                    <a:pt x="30" y="168"/>
                  </a:lnTo>
                  <a:lnTo>
                    <a:pt x="30" y="165"/>
                  </a:lnTo>
                  <a:lnTo>
                    <a:pt x="30" y="45"/>
                  </a:lnTo>
                  <a:close/>
                  <a:moveTo>
                    <a:pt x="45" y="210"/>
                  </a:moveTo>
                  <a:lnTo>
                    <a:pt x="466" y="210"/>
                  </a:lnTo>
                  <a:lnTo>
                    <a:pt x="475" y="209"/>
                  </a:lnTo>
                  <a:lnTo>
                    <a:pt x="483" y="206"/>
                  </a:lnTo>
                  <a:lnTo>
                    <a:pt x="491" y="202"/>
                  </a:lnTo>
                  <a:lnTo>
                    <a:pt x="497" y="197"/>
                  </a:lnTo>
                  <a:lnTo>
                    <a:pt x="504" y="190"/>
                  </a:lnTo>
                  <a:lnTo>
                    <a:pt x="507" y="182"/>
                  </a:lnTo>
                  <a:lnTo>
                    <a:pt x="510" y="174"/>
                  </a:lnTo>
                  <a:lnTo>
                    <a:pt x="511" y="165"/>
                  </a:lnTo>
                  <a:lnTo>
                    <a:pt x="511" y="45"/>
                  </a:lnTo>
                  <a:lnTo>
                    <a:pt x="510" y="35"/>
                  </a:lnTo>
                  <a:lnTo>
                    <a:pt x="507" y="26"/>
                  </a:lnTo>
                  <a:lnTo>
                    <a:pt x="504" y="19"/>
                  </a:lnTo>
                  <a:lnTo>
                    <a:pt x="497" y="13"/>
                  </a:lnTo>
                  <a:lnTo>
                    <a:pt x="491" y="7"/>
                  </a:lnTo>
                  <a:lnTo>
                    <a:pt x="483" y="3"/>
                  </a:lnTo>
                  <a:lnTo>
                    <a:pt x="475" y="1"/>
                  </a:lnTo>
                  <a:lnTo>
                    <a:pt x="466" y="0"/>
                  </a:lnTo>
                  <a:lnTo>
                    <a:pt x="45" y="0"/>
                  </a:lnTo>
                  <a:lnTo>
                    <a:pt x="35" y="1"/>
                  </a:lnTo>
                  <a:lnTo>
                    <a:pt x="27" y="3"/>
                  </a:lnTo>
                  <a:lnTo>
                    <a:pt x="19" y="7"/>
                  </a:lnTo>
                  <a:lnTo>
                    <a:pt x="13" y="13"/>
                  </a:lnTo>
                  <a:lnTo>
                    <a:pt x="8" y="19"/>
                  </a:lnTo>
                  <a:lnTo>
                    <a:pt x="3" y="26"/>
                  </a:lnTo>
                  <a:lnTo>
                    <a:pt x="0" y="35"/>
                  </a:lnTo>
                  <a:lnTo>
                    <a:pt x="0" y="45"/>
                  </a:lnTo>
                  <a:lnTo>
                    <a:pt x="0" y="165"/>
                  </a:lnTo>
                  <a:lnTo>
                    <a:pt x="0" y="173"/>
                  </a:lnTo>
                  <a:lnTo>
                    <a:pt x="3" y="182"/>
                  </a:lnTo>
                  <a:lnTo>
                    <a:pt x="8" y="190"/>
                  </a:lnTo>
                  <a:lnTo>
                    <a:pt x="13" y="197"/>
                  </a:lnTo>
                  <a:lnTo>
                    <a:pt x="19" y="202"/>
                  </a:lnTo>
                  <a:lnTo>
                    <a:pt x="27" y="206"/>
                  </a:lnTo>
                  <a:lnTo>
                    <a:pt x="35" y="209"/>
                  </a:lnTo>
                  <a:lnTo>
                    <a:pt x="45" y="210"/>
                  </a:lnTo>
                  <a:lnTo>
                    <a:pt x="4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2" name="Freeform 191">
              <a:extLst>
                <a:ext uri="{FF2B5EF4-FFF2-40B4-BE49-F238E27FC236}">
                  <a16:creationId xmlns:a16="http://schemas.microsoft.com/office/drawing/2014/main" id="{6EB704C3-2742-4DDC-9159-A96E58B306FD}"/>
                </a:ext>
              </a:extLst>
            </p:cNvPr>
            <p:cNvSpPr>
              <a:spLocks/>
            </p:cNvSpPr>
            <p:nvPr/>
          </p:nvSpPr>
          <p:spPr bwMode="auto">
            <a:xfrm>
              <a:off x="9375775" y="914400"/>
              <a:ext cx="47625" cy="47625"/>
            </a:xfrm>
            <a:custGeom>
              <a:avLst/>
              <a:gdLst>
                <a:gd name="T0" fmla="*/ 60 w 150"/>
                <a:gd name="T1" fmla="*/ 91 h 151"/>
                <a:gd name="T2" fmla="*/ 60 w 150"/>
                <a:gd name="T3" fmla="*/ 139 h 151"/>
                <a:gd name="T4" fmla="*/ 62 w 150"/>
                <a:gd name="T5" fmla="*/ 144 h 151"/>
                <a:gd name="T6" fmla="*/ 66 w 150"/>
                <a:gd name="T7" fmla="*/ 147 h 151"/>
                <a:gd name="T8" fmla="*/ 72 w 150"/>
                <a:gd name="T9" fmla="*/ 151 h 151"/>
                <a:gd name="T10" fmla="*/ 78 w 150"/>
                <a:gd name="T11" fmla="*/ 150 h 151"/>
                <a:gd name="T12" fmla="*/ 84 w 150"/>
                <a:gd name="T13" fmla="*/ 147 h 151"/>
                <a:gd name="T14" fmla="*/ 87 w 150"/>
                <a:gd name="T15" fmla="*/ 144 h 151"/>
                <a:gd name="T16" fmla="*/ 89 w 150"/>
                <a:gd name="T17" fmla="*/ 139 h 151"/>
                <a:gd name="T18" fmla="*/ 90 w 150"/>
                <a:gd name="T19" fmla="*/ 91 h 151"/>
                <a:gd name="T20" fmla="*/ 138 w 150"/>
                <a:gd name="T21" fmla="*/ 90 h 151"/>
                <a:gd name="T22" fmla="*/ 144 w 150"/>
                <a:gd name="T23" fmla="*/ 87 h 151"/>
                <a:gd name="T24" fmla="*/ 148 w 150"/>
                <a:gd name="T25" fmla="*/ 83 h 151"/>
                <a:gd name="T26" fmla="*/ 150 w 150"/>
                <a:gd name="T27" fmla="*/ 78 h 151"/>
                <a:gd name="T28" fmla="*/ 150 w 150"/>
                <a:gd name="T29" fmla="*/ 72 h 151"/>
                <a:gd name="T30" fmla="*/ 148 w 150"/>
                <a:gd name="T31" fmla="*/ 67 h 151"/>
                <a:gd name="T32" fmla="*/ 144 w 150"/>
                <a:gd name="T33" fmla="*/ 63 h 151"/>
                <a:gd name="T34" fmla="*/ 138 w 150"/>
                <a:gd name="T35" fmla="*/ 61 h 151"/>
                <a:gd name="T36" fmla="*/ 90 w 150"/>
                <a:gd name="T37" fmla="*/ 61 h 151"/>
                <a:gd name="T38" fmla="*/ 89 w 150"/>
                <a:gd name="T39" fmla="*/ 12 h 151"/>
                <a:gd name="T40" fmla="*/ 87 w 150"/>
                <a:gd name="T41" fmla="*/ 7 h 151"/>
                <a:gd name="T42" fmla="*/ 84 w 150"/>
                <a:gd name="T43" fmla="*/ 3 h 151"/>
                <a:gd name="T44" fmla="*/ 78 w 150"/>
                <a:gd name="T45" fmla="*/ 1 h 151"/>
                <a:gd name="T46" fmla="*/ 72 w 150"/>
                <a:gd name="T47" fmla="*/ 1 h 151"/>
                <a:gd name="T48" fmla="*/ 66 w 150"/>
                <a:gd name="T49" fmla="*/ 3 h 151"/>
                <a:gd name="T50" fmla="*/ 62 w 150"/>
                <a:gd name="T51" fmla="*/ 7 h 151"/>
                <a:gd name="T52" fmla="*/ 60 w 150"/>
                <a:gd name="T53" fmla="*/ 12 h 151"/>
                <a:gd name="T54" fmla="*/ 60 w 150"/>
                <a:gd name="T55" fmla="*/ 61 h 151"/>
                <a:gd name="T56" fmla="*/ 12 w 150"/>
                <a:gd name="T57" fmla="*/ 61 h 151"/>
                <a:gd name="T58" fmla="*/ 6 w 150"/>
                <a:gd name="T59" fmla="*/ 63 h 151"/>
                <a:gd name="T60" fmla="*/ 2 w 150"/>
                <a:gd name="T61" fmla="*/ 67 h 151"/>
                <a:gd name="T62" fmla="*/ 0 w 150"/>
                <a:gd name="T63" fmla="*/ 72 h 151"/>
                <a:gd name="T64" fmla="*/ 0 w 150"/>
                <a:gd name="T65" fmla="*/ 78 h 151"/>
                <a:gd name="T66" fmla="*/ 2 w 150"/>
                <a:gd name="T67" fmla="*/ 83 h 151"/>
                <a:gd name="T68" fmla="*/ 6 w 150"/>
                <a:gd name="T69" fmla="*/ 87 h 151"/>
                <a:gd name="T70" fmla="*/ 12 w 150"/>
                <a:gd name="T71" fmla="*/ 9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 h="151">
                  <a:moveTo>
                    <a:pt x="15" y="91"/>
                  </a:moveTo>
                  <a:lnTo>
                    <a:pt x="60" y="91"/>
                  </a:lnTo>
                  <a:lnTo>
                    <a:pt x="60" y="136"/>
                  </a:lnTo>
                  <a:lnTo>
                    <a:pt x="60" y="139"/>
                  </a:lnTo>
                  <a:lnTo>
                    <a:pt x="61" y="141"/>
                  </a:lnTo>
                  <a:lnTo>
                    <a:pt x="62" y="144"/>
                  </a:lnTo>
                  <a:lnTo>
                    <a:pt x="64" y="146"/>
                  </a:lnTo>
                  <a:lnTo>
                    <a:pt x="66" y="147"/>
                  </a:lnTo>
                  <a:lnTo>
                    <a:pt x="69" y="150"/>
                  </a:lnTo>
                  <a:lnTo>
                    <a:pt x="72" y="151"/>
                  </a:lnTo>
                  <a:lnTo>
                    <a:pt x="75" y="151"/>
                  </a:lnTo>
                  <a:lnTo>
                    <a:pt x="78" y="150"/>
                  </a:lnTo>
                  <a:lnTo>
                    <a:pt x="80" y="150"/>
                  </a:lnTo>
                  <a:lnTo>
                    <a:pt x="84" y="147"/>
                  </a:lnTo>
                  <a:lnTo>
                    <a:pt x="86" y="146"/>
                  </a:lnTo>
                  <a:lnTo>
                    <a:pt x="87" y="144"/>
                  </a:lnTo>
                  <a:lnTo>
                    <a:pt x="89" y="141"/>
                  </a:lnTo>
                  <a:lnTo>
                    <a:pt x="89" y="139"/>
                  </a:lnTo>
                  <a:lnTo>
                    <a:pt x="90" y="136"/>
                  </a:lnTo>
                  <a:lnTo>
                    <a:pt x="90" y="91"/>
                  </a:lnTo>
                  <a:lnTo>
                    <a:pt x="135" y="91"/>
                  </a:lnTo>
                  <a:lnTo>
                    <a:pt x="138" y="90"/>
                  </a:lnTo>
                  <a:lnTo>
                    <a:pt x="140" y="90"/>
                  </a:lnTo>
                  <a:lnTo>
                    <a:pt x="144" y="87"/>
                  </a:lnTo>
                  <a:lnTo>
                    <a:pt x="146" y="86"/>
                  </a:lnTo>
                  <a:lnTo>
                    <a:pt x="148" y="83"/>
                  </a:lnTo>
                  <a:lnTo>
                    <a:pt x="149" y="81"/>
                  </a:lnTo>
                  <a:lnTo>
                    <a:pt x="150" y="78"/>
                  </a:lnTo>
                  <a:lnTo>
                    <a:pt x="150" y="76"/>
                  </a:lnTo>
                  <a:lnTo>
                    <a:pt x="150" y="72"/>
                  </a:lnTo>
                  <a:lnTo>
                    <a:pt x="149" y="69"/>
                  </a:lnTo>
                  <a:lnTo>
                    <a:pt x="148" y="67"/>
                  </a:lnTo>
                  <a:lnTo>
                    <a:pt x="146" y="65"/>
                  </a:lnTo>
                  <a:lnTo>
                    <a:pt x="144" y="63"/>
                  </a:lnTo>
                  <a:lnTo>
                    <a:pt x="140" y="62"/>
                  </a:lnTo>
                  <a:lnTo>
                    <a:pt x="138" y="61"/>
                  </a:lnTo>
                  <a:lnTo>
                    <a:pt x="135" y="61"/>
                  </a:lnTo>
                  <a:lnTo>
                    <a:pt x="90" y="61"/>
                  </a:lnTo>
                  <a:lnTo>
                    <a:pt x="90" y="15"/>
                  </a:lnTo>
                  <a:lnTo>
                    <a:pt x="89" y="12"/>
                  </a:lnTo>
                  <a:lnTo>
                    <a:pt x="89" y="9"/>
                  </a:lnTo>
                  <a:lnTo>
                    <a:pt x="87" y="7"/>
                  </a:lnTo>
                  <a:lnTo>
                    <a:pt x="86" y="5"/>
                  </a:lnTo>
                  <a:lnTo>
                    <a:pt x="84" y="3"/>
                  </a:lnTo>
                  <a:lnTo>
                    <a:pt x="80" y="2"/>
                  </a:lnTo>
                  <a:lnTo>
                    <a:pt x="78" y="1"/>
                  </a:lnTo>
                  <a:lnTo>
                    <a:pt x="75" y="0"/>
                  </a:lnTo>
                  <a:lnTo>
                    <a:pt x="72" y="1"/>
                  </a:lnTo>
                  <a:lnTo>
                    <a:pt x="69" y="2"/>
                  </a:lnTo>
                  <a:lnTo>
                    <a:pt x="66" y="3"/>
                  </a:lnTo>
                  <a:lnTo>
                    <a:pt x="64" y="5"/>
                  </a:lnTo>
                  <a:lnTo>
                    <a:pt x="62" y="7"/>
                  </a:lnTo>
                  <a:lnTo>
                    <a:pt x="61" y="9"/>
                  </a:lnTo>
                  <a:lnTo>
                    <a:pt x="60" y="12"/>
                  </a:lnTo>
                  <a:lnTo>
                    <a:pt x="60" y="16"/>
                  </a:lnTo>
                  <a:lnTo>
                    <a:pt x="60" y="61"/>
                  </a:lnTo>
                  <a:lnTo>
                    <a:pt x="15" y="61"/>
                  </a:lnTo>
                  <a:lnTo>
                    <a:pt x="12" y="61"/>
                  </a:lnTo>
                  <a:lnTo>
                    <a:pt x="9" y="62"/>
                  </a:lnTo>
                  <a:lnTo>
                    <a:pt x="6" y="63"/>
                  </a:lnTo>
                  <a:lnTo>
                    <a:pt x="4" y="65"/>
                  </a:lnTo>
                  <a:lnTo>
                    <a:pt x="2" y="67"/>
                  </a:lnTo>
                  <a:lnTo>
                    <a:pt x="1" y="69"/>
                  </a:lnTo>
                  <a:lnTo>
                    <a:pt x="0" y="72"/>
                  </a:lnTo>
                  <a:lnTo>
                    <a:pt x="0" y="76"/>
                  </a:lnTo>
                  <a:lnTo>
                    <a:pt x="0" y="78"/>
                  </a:lnTo>
                  <a:lnTo>
                    <a:pt x="1" y="81"/>
                  </a:lnTo>
                  <a:lnTo>
                    <a:pt x="2" y="83"/>
                  </a:lnTo>
                  <a:lnTo>
                    <a:pt x="4" y="86"/>
                  </a:lnTo>
                  <a:lnTo>
                    <a:pt x="6" y="87"/>
                  </a:lnTo>
                  <a:lnTo>
                    <a:pt x="9" y="90"/>
                  </a:lnTo>
                  <a:lnTo>
                    <a:pt x="12" y="90"/>
                  </a:lnTo>
                  <a:lnTo>
                    <a:pt x="15"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3" name="Freeform 192">
              <a:extLst>
                <a:ext uri="{FF2B5EF4-FFF2-40B4-BE49-F238E27FC236}">
                  <a16:creationId xmlns:a16="http://schemas.microsoft.com/office/drawing/2014/main" id="{1973B31E-1261-47F0-BF36-BAED7B386618}"/>
                </a:ext>
              </a:extLst>
            </p:cNvPr>
            <p:cNvSpPr>
              <a:spLocks/>
            </p:cNvSpPr>
            <p:nvPr/>
          </p:nvSpPr>
          <p:spPr bwMode="auto">
            <a:xfrm>
              <a:off x="9485313" y="933450"/>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2 h 30"/>
                <a:gd name="T10" fmla="*/ 4 w 151"/>
                <a:gd name="T11" fmla="*/ 4 h 30"/>
                <a:gd name="T12" fmla="*/ 3 w 151"/>
                <a:gd name="T13" fmla="*/ 6 h 30"/>
                <a:gd name="T14" fmla="*/ 1 w 151"/>
                <a:gd name="T15" fmla="*/ 8 h 30"/>
                <a:gd name="T16" fmla="*/ 1 w 151"/>
                <a:gd name="T17" fmla="*/ 11 h 30"/>
                <a:gd name="T18" fmla="*/ 0 w 151"/>
                <a:gd name="T19" fmla="*/ 15 h 30"/>
                <a:gd name="T20" fmla="*/ 1 w 151"/>
                <a:gd name="T21" fmla="*/ 17 h 30"/>
                <a:gd name="T22" fmla="*/ 1 w 151"/>
                <a:gd name="T23" fmla="*/ 20 h 30"/>
                <a:gd name="T24" fmla="*/ 3 w 151"/>
                <a:gd name="T25" fmla="*/ 22 h 30"/>
                <a:gd name="T26" fmla="*/ 4 w 151"/>
                <a:gd name="T27" fmla="*/ 25 h 30"/>
                <a:gd name="T28" fmla="*/ 7 w 151"/>
                <a:gd name="T29" fmla="*/ 26 h 30"/>
                <a:gd name="T30" fmla="*/ 10 w 151"/>
                <a:gd name="T31" fmla="*/ 29 h 30"/>
                <a:gd name="T32" fmla="*/ 13 w 151"/>
                <a:gd name="T33" fmla="*/ 29 h 30"/>
                <a:gd name="T34" fmla="*/ 15 w 151"/>
                <a:gd name="T35" fmla="*/ 30 h 30"/>
                <a:gd name="T36" fmla="*/ 136 w 151"/>
                <a:gd name="T37" fmla="*/ 30 h 30"/>
                <a:gd name="T38" fmla="*/ 139 w 151"/>
                <a:gd name="T39" fmla="*/ 29 h 30"/>
                <a:gd name="T40" fmla="*/ 141 w 151"/>
                <a:gd name="T41" fmla="*/ 29 h 30"/>
                <a:gd name="T42" fmla="*/ 145 w 151"/>
                <a:gd name="T43" fmla="*/ 26 h 30"/>
                <a:gd name="T44" fmla="*/ 147 w 151"/>
                <a:gd name="T45" fmla="*/ 25 h 30"/>
                <a:gd name="T46" fmla="*/ 148 w 151"/>
                <a:gd name="T47" fmla="*/ 22 h 30"/>
                <a:gd name="T48" fmla="*/ 150 w 151"/>
                <a:gd name="T49" fmla="*/ 20 h 30"/>
                <a:gd name="T50" fmla="*/ 150 w 151"/>
                <a:gd name="T51" fmla="*/ 17 h 30"/>
                <a:gd name="T52" fmla="*/ 151 w 151"/>
                <a:gd name="T53" fmla="*/ 15 h 30"/>
                <a:gd name="T54" fmla="*/ 150 w 151"/>
                <a:gd name="T55" fmla="*/ 11 h 30"/>
                <a:gd name="T56" fmla="*/ 150 w 151"/>
                <a:gd name="T57" fmla="*/ 8 h 30"/>
                <a:gd name="T58" fmla="*/ 148 w 151"/>
                <a:gd name="T59" fmla="*/ 6 h 30"/>
                <a:gd name="T60" fmla="*/ 147 w 151"/>
                <a:gd name="T61" fmla="*/ 4 h 30"/>
                <a:gd name="T62" fmla="*/ 145 w 151"/>
                <a:gd name="T63" fmla="*/ 2 h 30"/>
                <a:gd name="T64" fmla="*/ 141 w 151"/>
                <a:gd name="T65" fmla="*/ 1 h 30"/>
                <a:gd name="T66" fmla="*/ 139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3" y="0"/>
                  </a:lnTo>
                  <a:lnTo>
                    <a:pt x="10" y="1"/>
                  </a:lnTo>
                  <a:lnTo>
                    <a:pt x="7" y="2"/>
                  </a:lnTo>
                  <a:lnTo>
                    <a:pt x="4" y="4"/>
                  </a:lnTo>
                  <a:lnTo>
                    <a:pt x="3" y="6"/>
                  </a:lnTo>
                  <a:lnTo>
                    <a:pt x="1" y="8"/>
                  </a:lnTo>
                  <a:lnTo>
                    <a:pt x="1" y="11"/>
                  </a:lnTo>
                  <a:lnTo>
                    <a:pt x="0" y="15"/>
                  </a:lnTo>
                  <a:lnTo>
                    <a:pt x="1" y="17"/>
                  </a:lnTo>
                  <a:lnTo>
                    <a:pt x="1" y="20"/>
                  </a:lnTo>
                  <a:lnTo>
                    <a:pt x="3" y="22"/>
                  </a:lnTo>
                  <a:lnTo>
                    <a:pt x="4" y="25"/>
                  </a:lnTo>
                  <a:lnTo>
                    <a:pt x="7" y="26"/>
                  </a:lnTo>
                  <a:lnTo>
                    <a:pt x="10" y="29"/>
                  </a:lnTo>
                  <a:lnTo>
                    <a:pt x="13" y="29"/>
                  </a:lnTo>
                  <a:lnTo>
                    <a:pt x="15" y="30"/>
                  </a:lnTo>
                  <a:lnTo>
                    <a:pt x="136" y="30"/>
                  </a:lnTo>
                  <a:lnTo>
                    <a:pt x="139" y="29"/>
                  </a:lnTo>
                  <a:lnTo>
                    <a:pt x="141" y="29"/>
                  </a:lnTo>
                  <a:lnTo>
                    <a:pt x="145" y="26"/>
                  </a:lnTo>
                  <a:lnTo>
                    <a:pt x="147" y="25"/>
                  </a:lnTo>
                  <a:lnTo>
                    <a:pt x="148" y="22"/>
                  </a:lnTo>
                  <a:lnTo>
                    <a:pt x="150" y="20"/>
                  </a:lnTo>
                  <a:lnTo>
                    <a:pt x="150" y="17"/>
                  </a:lnTo>
                  <a:lnTo>
                    <a:pt x="151" y="15"/>
                  </a:lnTo>
                  <a:lnTo>
                    <a:pt x="150" y="11"/>
                  </a:lnTo>
                  <a:lnTo>
                    <a:pt x="150" y="8"/>
                  </a:lnTo>
                  <a:lnTo>
                    <a:pt x="148" y="6"/>
                  </a:lnTo>
                  <a:lnTo>
                    <a:pt x="147" y="4"/>
                  </a:lnTo>
                  <a:lnTo>
                    <a:pt x="145" y="2"/>
                  </a:lnTo>
                  <a:lnTo>
                    <a:pt x="141" y="1"/>
                  </a:lnTo>
                  <a:lnTo>
                    <a:pt x="139"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4" name="Freeform 193">
              <a:extLst>
                <a:ext uri="{FF2B5EF4-FFF2-40B4-BE49-F238E27FC236}">
                  <a16:creationId xmlns:a16="http://schemas.microsoft.com/office/drawing/2014/main" id="{319DA456-D5D4-40ED-926A-C1164017348A}"/>
                </a:ext>
              </a:extLst>
            </p:cNvPr>
            <p:cNvSpPr>
              <a:spLocks/>
            </p:cNvSpPr>
            <p:nvPr/>
          </p:nvSpPr>
          <p:spPr bwMode="auto">
            <a:xfrm>
              <a:off x="9485313" y="1000125"/>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2 h 30"/>
                <a:gd name="T10" fmla="*/ 4 w 151"/>
                <a:gd name="T11" fmla="*/ 4 h 30"/>
                <a:gd name="T12" fmla="*/ 3 w 151"/>
                <a:gd name="T13" fmla="*/ 6 h 30"/>
                <a:gd name="T14" fmla="*/ 1 w 151"/>
                <a:gd name="T15" fmla="*/ 9 h 30"/>
                <a:gd name="T16" fmla="*/ 1 w 151"/>
                <a:gd name="T17" fmla="*/ 11 h 30"/>
                <a:gd name="T18" fmla="*/ 0 w 151"/>
                <a:gd name="T19" fmla="*/ 15 h 30"/>
                <a:gd name="T20" fmla="*/ 1 w 151"/>
                <a:gd name="T21" fmla="*/ 18 h 30"/>
                <a:gd name="T22" fmla="*/ 1 w 151"/>
                <a:gd name="T23" fmla="*/ 21 h 30"/>
                <a:gd name="T24" fmla="*/ 3 w 151"/>
                <a:gd name="T25" fmla="*/ 23 h 30"/>
                <a:gd name="T26" fmla="*/ 4 w 151"/>
                <a:gd name="T27" fmla="*/ 25 h 30"/>
                <a:gd name="T28" fmla="*/ 7 w 151"/>
                <a:gd name="T29" fmla="*/ 27 h 30"/>
                <a:gd name="T30" fmla="*/ 10 w 151"/>
                <a:gd name="T31" fmla="*/ 29 h 30"/>
                <a:gd name="T32" fmla="*/ 13 w 151"/>
                <a:gd name="T33" fmla="*/ 30 h 30"/>
                <a:gd name="T34" fmla="*/ 15 w 151"/>
                <a:gd name="T35" fmla="*/ 30 h 30"/>
                <a:gd name="T36" fmla="*/ 136 w 151"/>
                <a:gd name="T37" fmla="*/ 30 h 30"/>
                <a:gd name="T38" fmla="*/ 139 w 151"/>
                <a:gd name="T39" fmla="*/ 30 h 30"/>
                <a:gd name="T40" fmla="*/ 141 w 151"/>
                <a:gd name="T41" fmla="*/ 29 h 30"/>
                <a:gd name="T42" fmla="*/ 145 w 151"/>
                <a:gd name="T43" fmla="*/ 27 h 30"/>
                <a:gd name="T44" fmla="*/ 147 w 151"/>
                <a:gd name="T45" fmla="*/ 25 h 30"/>
                <a:gd name="T46" fmla="*/ 148 w 151"/>
                <a:gd name="T47" fmla="*/ 23 h 30"/>
                <a:gd name="T48" fmla="*/ 150 w 151"/>
                <a:gd name="T49" fmla="*/ 21 h 30"/>
                <a:gd name="T50" fmla="*/ 150 w 151"/>
                <a:gd name="T51" fmla="*/ 18 h 30"/>
                <a:gd name="T52" fmla="*/ 151 w 151"/>
                <a:gd name="T53" fmla="*/ 15 h 30"/>
                <a:gd name="T54" fmla="*/ 150 w 151"/>
                <a:gd name="T55" fmla="*/ 11 h 30"/>
                <a:gd name="T56" fmla="*/ 150 w 151"/>
                <a:gd name="T57" fmla="*/ 9 h 30"/>
                <a:gd name="T58" fmla="*/ 148 w 151"/>
                <a:gd name="T59" fmla="*/ 6 h 30"/>
                <a:gd name="T60" fmla="*/ 147 w 151"/>
                <a:gd name="T61" fmla="*/ 4 h 30"/>
                <a:gd name="T62" fmla="*/ 145 w 151"/>
                <a:gd name="T63" fmla="*/ 2 h 30"/>
                <a:gd name="T64" fmla="*/ 141 w 151"/>
                <a:gd name="T65" fmla="*/ 1 h 30"/>
                <a:gd name="T66" fmla="*/ 138 w 151"/>
                <a:gd name="T67" fmla="*/ 0 h 30"/>
                <a:gd name="T68" fmla="*/ 136 w 151"/>
                <a:gd name="T69" fmla="*/ 0 h 30"/>
                <a:gd name="T70" fmla="*/ 136 w 15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1" h="30">
                  <a:moveTo>
                    <a:pt x="136" y="0"/>
                  </a:moveTo>
                  <a:lnTo>
                    <a:pt x="15" y="0"/>
                  </a:lnTo>
                  <a:lnTo>
                    <a:pt x="13" y="0"/>
                  </a:lnTo>
                  <a:lnTo>
                    <a:pt x="10" y="1"/>
                  </a:lnTo>
                  <a:lnTo>
                    <a:pt x="7" y="2"/>
                  </a:lnTo>
                  <a:lnTo>
                    <a:pt x="4" y="4"/>
                  </a:lnTo>
                  <a:lnTo>
                    <a:pt x="3" y="6"/>
                  </a:lnTo>
                  <a:lnTo>
                    <a:pt x="1" y="9"/>
                  </a:lnTo>
                  <a:lnTo>
                    <a:pt x="1" y="11"/>
                  </a:lnTo>
                  <a:lnTo>
                    <a:pt x="0" y="15"/>
                  </a:lnTo>
                  <a:lnTo>
                    <a:pt x="1" y="18"/>
                  </a:lnTo>
                  <a:lnTo>
                    <a:pt x="1" y="21"/>
                  </a:lnTo>
                  <a:lnTo>
                    <a:pt x="3" y="23"/>
                  </a:lnTo>
                  <a:lnTo>
                    <a:pt x="4" y="25"/>
                  </a:lnTo>
                  <a:lnTo>
                    <a:pt x="7" y="27"/>
                  </a:lnTo>
                  <a:lnTo>
                    <a:pt x="10" y="29"/>
                  </a:lnTo>
                  <a:lnTo>
                    <a:pt x="13" y="30"/>
                  </a:lnTo>
                  <a:lnTo>
                    <a:pt x="15" y="30"/>
                  </a:lnTo>
                  <a:lnTo>
                    <a:pt x="136" y="30"/>
                  </a:lnTo>
                  <a:lnTo>
                    <a:pt x="139" y="30"/>
                  </a:lnTo>
                  <a:lnTo>
                    <a:pt x="141" y="29"/>
                  </a:lnTo>
                  <a:lnTo>
                    <a:pt x="145" y="27"/>
                  </a:lnTo>
                  <a:lnTo>
                    <a:pt x="147" y="25"/>
                  </a:lnTo>
                  <a:lnTo>
                    <a:pt x="148" y="23"/>
                  </a:lnTo>
                  <a:lnTo>
                    <a:pt x="150" y="21"/>
                  </a:lnTo>
                  <a:lnTo>
                    <a:pt x="150" y="18"/>
                  </a:lnTo>
                  <a:lnTo>
                    <a:pt x="151" y="15"/>
                  </a:lnTo>
                  <a:lnTo>
                    <a:pt x="150" y="11"/>
                  </a:lnTo>
                  <a:lnTo>
                    <a:pt x="150" y="9"/>
                  </a:lnTo>
                  <a:lnTo>
                    <a:pt x="148" y="6"/>
                  </a:lnTo>
                  <a:lnTo>
                    <a:pt x="147" y="4"/>
                  </a:lnTo>
                  <a:lnTo>
                    <a:pt x="145" y="2"/>
                  </a:lnTo>
                  <a:lnTo>
                    <a:pt x="141" y="1"/>
                  </a:lnTo>
                  <a:lnTo>
                    <a:pt x="138" y="0"/>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5" name="Freeform 194">
              <a:extLst>
                <a:ext uri="{FF2B5EF4-FFF2-40B4-BE49-F238E27FC236}">
                  <a16:creationId xmlns:a16="http://schemas.microsoft.com/office/drawing/2014/main" id="{463B3AD7-FB83-4311-A0F9-16AD508C9953}"/>
                </a:ext>
              </a:extLst>
            </p:cNvPr>
            <p:cNvSpPr>
              <a:spLocks/>
            </p:cNvSpPr>
            <p:nvPr/>
          </p:nvSpPr>
          <p:spPr bwMode="auto">
            <a:xfrm>
              <a:off x="9485313" y="1019175"/>
              <a:ext cx="49213" cy="9525"/>
            </a:xfrm>
            <a:custGeom>
              <a:avLst/>
              <a:gdLst>
                <a:gd name="T0" fmla="*/ 136 w 151"/>
                <a:gd name="T1" fmla="*/ 0 h 30"/>
                <a:gd name="T2" fmla="*/ 15 w 151"/>
                <a:gd name="T3" fmla="*/ 0 h 30"/>
                <a:gd name="T4" fmla="*/ 13 w 151"/>
                <a:gd name="T5" fmla="*/ 0 h 30"/>
                <a:gd name="T6" fmla="*/ 10 w 151"/>
                <a:gd name="T7" fmla="*/ 1 h 30"/>
                <a:gd name="T8" fmla="*/ 7 w 151"/>
                <a:gd name="T9" fmla="*/ 3 h 30"/>
                <a:gd name="T10" fmla="*/ 4 w 151"/>
                <a:gd name="T11" fmla="*/ 4 h 30"/>
                <a:gd name="T12" fmla="*/ 3 w 151"/>
                <a:gd name="T13" fmla="*/ 6 h 30"/>
                <a:gd name="T14" fmla="*/ 1 w 151"/>
                <a:gd name="T15" fmla="*/ 9 h 30"/>
                <a:gd name="T16" fmla="*/ 1 w 151"/>
                <a:gd name="T17" fmla="*/ 11 h 30"/>
                <a:gd name="T18" fmla="*/ 0 w 151"/>
                <a:gd name="T19" fmla="*/ 15 h 30"/>
                <a:gd name="T20" fmla="*/ 1 w 151"/>
                <a:gd name="T21" fmla="*/ 18 h 30"/>
                <a:gd name="T22" fmla="*/ 1 w 151"/>
                <a:gd name="T23" fmla="*/ 21 h 30"/>
                <a:gd name="T24" fmla="*/ 3 w 151"/>
                <a:gd name="T25" fmla="*/ 23 h 30"/>
                <a:gd name="T26" fmla="*/ 4 w 151"/>
                <a:gd name="T27" fmla="*/ 25 h 30"/>
                <a:gd name="T28" fmla="*/ 7 w 151"/>
                <a:gd name="T29" fmla="*/ 27 h 30"/>
                <a:gd name="T30" fmla="*/ 10 w 151"/>
                <a:gd name="T31" fmla="*/ 29 h 30"/>
                <a:gd name="T32" fmla="*/ 13 w 151"/>
                <a:gd name="T33" fmla="*/ 30 h 30"/>
                <a:gd name="T34" fmla="*/ 15 w 151"/>
                <a:gd name="T35" fmla="*/ 30 h 30"/>
                <a:gd name="T36" fmla="*/ 136 w 151"/>
                <a:gd name="T37" fmla="*/ 30 h 30"/>
                <a:gd name="T38" fmla="*/ 139 w 151"/>
                <a:gd name="T39" fmla="*/ 30 h 30"/>
                <a:gd name="T40" fmla="*/ 141 w 151"/>
                <a:gd name="T41" fmla="*/ 29 h 30"/>
                <a:gd name="T42" fmla="*/ 145 w 151"/>
                <a:gd name="T43" fmla="*/ 27 h 30"/>
                <a:gd name="T44" fmla="*/ 147 w 151"/>
                <a:gd name="T45" fmla="*/ 25 h 30"/>
                <a:gd name="T46" fmla="*/ 148 w 151"/>
                <a:gd name="T47" fmla="*/ 23 h 30"/>
                <a:gd name="T48" fmla="*/ 150 w 151"/>
                <a:gd name="T49" fmla="*/ 21 h 30"/>
                <a:gd name="T50" fmla="*/ 150 w 151"/>
                <a:gd name="T51" fmla="*/ 18 h 30"/>
                <a:gd name="T52" fmla="*/ 151 w 151"/>
                <a:gd name="T53" fmla="*/ 15 h 30"/>
                <a:gd name="T54" fmla="*/ 150 w 151"/>
                <a:gd name="T55" fmla="*/ 11 h 30"/>
                <a:gd name="T56" fmla="*/ 150 w 151"/>
                <a:gd name="T57" fmla="*/ 9 h 30"/>
                <a:gd name="T58" fmla="*/ 148 w 151"/>
                <a:gd name="T59" fmla="*/ 6 h 30"/>
                <a:gd name="T60" fmla="*/ 147 w 151"/>
                <a:gd name="T61" fmla="*/ 4 h 30"/>
                <a:gd name="T62" fmla="*/ 145 w 151"/>
                <a:gd name="T63" fmla="*/ 3 h 30"/>
                <a:gd name="T64" fmla="*/ 141 w 151"/>
                <a:gd name="T65" fmla="*/ 1 h 30"/>
                <a:gd name="T66" fmla="*/ 139 w 151"/>
                <a:gd name="T67" fmla="*/ 1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3" y="0"/>
                  </a:lnTo>
                  <a:lnTo>
                    <a:pt x="10" y="1"/>
                  </a:lnTo>
                  <a:lnTo>
                    <a:pt x="7" y="3"/>
                  </a:lnTo>
                  <a:lnTo>
                    <a:pt x="4" y="4"/>
                  </a:lnTo>
                  <a:lnTo>
                    <a:pt x="3" y="6"/>
                  </a:lnTo>
                  <a:lnTo>
                    <a:pt x="1" y="9"/>
                  </a:lnTo>
                  <a:lnTo>
                    <a:pt x="1" y="11"/>
                  </a:lnTo>
                  <a:lnTo>
                    <a:pt x="0" y="15"/>
                  </a:lnTo>
                  <a:lnTo>
                    <a:pt x="1" y="18"/>
                  </a:lnTo>
                  <a:lnTo>
                    <a:pt x="1" y="21"/>
                  </a:lnTo>
                  <a:lnTo>
                    <a:pt x="3" y="23"/>
                  </a:lnTo>
                  <a:lnTo>
                    <a:pt x="4" y="25"/>
                  </a:lnTo>
                  <a:lnTo>
                    <a:pt x="7" y="27"/>
                  </a:lnTo>
                  <a:lnTo>
                    <a:pt x="10" y="29"/>
                  </a:lnTo>
                  <a:lnTo>
                    <a:pt x="13" y="30"/>
                  </a:lnTo>
                  <a:lnTo>
                    <a:pt x="15" y="30"/>
                  </a:lnTo>
                  <a:lnTo>
                    <a:pt x="136" y="30"/>
                  </a:lnTo>
                  <a:lnTo>
                    <a:pt x="139" y="30"/>
                  </a:lnTo>
                  <a:lnTo>
                    <a:pt x="141" y="29"/>
                  </a:lnTo>
                  <a:lnTo>
                    <a:pt x="145" y="27"/>
                  </a:lnTo>
                  <a:lnTo>
                    <a:pt x="147" y="25"/>
                  </a:lnTo>
                  <a:lnTo>
                    <a:pt x="148" y="23"/>
                  </a:lnTo>
                  <a:lnTo>
                    <a:pt x="150" y="21"/>
                  </a:lnTo>
                  <a:lnTo>
                    <a:pt x="150" y="18"/>
                  </a:lnTo>
                  <a:lnTo>
                    <a:pt x="151" y="15"/>
                  </a:lnTo>
                  <a:lnTo>
                    <a:pt x="150" y="11"/>
                  </a:lnTo>
                  <a:lnTo>
                    <a:pt x="150" y="9"/>
                  </a:lnTo>
                  <a:lnTo>
                    <a:pt x="148" y="6"/>
                  </a:lnTo>
                  <a:lnTo>
                    <a:pt x="147" y="4"/>
                  </a:lnTo>
                  <a:lnTo>
                    <a:pt x="145" y="3"/>
                  </a:lnTo>
                  <a:lnTo>
                    <a:pt x="141" y="1"/>
                  </a:lnTo>
                  <a:lnTo>
                    <a:pt x="139" y="1"/>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6" name="Freeform 195">
              <a:extLst>
                <a:ext uri="{FF2B5EF4-FFF2-40B4-BE49-F238E27FC236}">
                  <a16:creationId xmlns:a16="http://schemas.microsoft.com/office/drawing/2014/main" id="{3D93895E-FD5E-44AC-80E1-56C6A6D5F084}"/>
                </a:ext>
              </a:extLst>
            </p:cNvPr>
            <p:cNvSpPr>
              <a:spLocks/>
            </p:cNvSpPr>
            <p:nvPr/>
          </p:nvSpPr>
          <p:spPr bwMode="auto">
            <a:xfrm>
              <a:off x="9380538" y="1000125"/>
              <a:ext cx="38100" cy="38100"/>
            </a:xfrm>
            <a:custGeom>
              <a:avLst/>
              <a:gdLst>
                <a:gd name="T0" fmla="*/ 116 w 120"/>
                <a:gd name="T1" fmla="*/ 25 h 120"/>
                <a:gd name="T2" fmla="*/ 119 w 120"/>
                <a:gd name="T3" fmla="*/ 20 h 120"/>
                <a:gd name="T4" fmla="*/ 120 w 120"/>
                <a:gd name="T5" fmla="*/ 15 h 120"/>
                <a:gd name="T6" fmla="*/ 119 w 120"/>
                <a:gd name="T7" fmla="*/ 9 h 120"/>
                <a:gd name="T8" fmla="*/ 116 w 120"/>
                <a:gd name="T9" fmla="*/ 4 h 120"/>
                <a:gd name="T10" fmla="*/ 110 w 120"/>
                <a:gd name="T11" fmla="*/ 1 h 120"/>
                <a:gd name="T12" fmla="*/ 105 w 120"/>
                <a:gd name="T13" fmla="*/ 0 h 120"/>
                <a:gd name="T14" fmla="*/ 100 w 120"/>
                <a:gd name="T15" fmla="*/ 1 h 120"/>
                <a:gd name="T16" fmla="*/ 94 w 120"/>
                <a:gd name="T17" fmla="*/ 4 h 120"/>
                <a:gd name="T18" fmla="*/ 26 w 120"/>
                <a:gd name="T19" fmla="*/ 4 h 120"/>
                <a:gd name="T20" fmla="*/ 20 w 120"/>
                <a:gd name="T21" fmla="*/ 1 h 120"/>
                <a:gd name="T22" fmla="*/ 15 w 120"/>
                <a:gd name="T23" fmla="*/ 0 h 120"/>
                <a:gd name="T24" fmla="*/ 9 w 120"/>
                <a:gd name="T25" fmla="*/ 1 h 120"/>
                <a:gd name="T26" fmla="*/ 4 w 120"/>
                <a:gd name="T27" fmla="*/ 4 h 120"/>
                <a:gd name="T28" fmla="*/ 1 w 120"/>
                <a:gd name="T29" fmla="*/ 9 h 120"/>
                <a:gd name="T30" fmla="*/ 0 w 120"/>
                <a:gd name="T31" fmla="*/ 15 h 120"/>
                <a:gd name="T32" fmla="*/ 1 w 120"/>
                <a:gd name="T33" fmla="*/ 20 h 120"/>
                <a:gd name="T34" fmla="*/ 4 w 120"/>
                <a:gd name="T35" fmla="*/ 25 h 120"/>
                <a:gd name="T36" fmla="*/ 4 w 120"/>
                <a:gd name="T37" fmla="*/ 94 h 120"/>
                <a:gd name="T38" fmla="*/ 1 w 120"/>
                <a:gd name="T39" fmla="*/ 99 h 120"/>
                <a:gd name="T40" fmla="*/ 0 w 120"/>
                <a:gd name="T41" fmla="*/ 105 h 120"/>
                <a:gd name="T42" fmla="*/ 1 w 120"/>
                <a:gd name="T43" fmla="*/ 111 h 120"/>
                <a:gd name="T44" fmla="*/ 4 w 120"/>
                <a:gd name="T45" fmla="*/ 115 h 120"/>
                <a:gd name="T46" fmla="*/ 9 w 120"/>
                <a:gd name="T47" fmla="*/ 119 h 120"/>
                <a:gd name="T48" fmla="*/ 15 w 120"/>
                <a:gd name="T49" fmla="*/ 120 h 120"/>
                <a:gd name="T50" fmla="*/ 20 w 120"/>
                <a:gd name="T51" fmla="*/ 119 h 120"/>
                <a:gd name="T52" fmla="*/ 26 w 120"/>
                <a:gd name="T53" fmla="*/ 115 h 120"/>
                <a:gd name="T54" fmla="*/ 94 w 120"/>
                <a:gd name="T55" fmla="*/ 115 h 120"/>
                <a:gd name="T56" fmla="*/ 100 w 120"/>
                <a:gd name="T57" fmla="*/ 119 h 120"/>
                <a:gd name="T58" fmla="*/ 105 w 120"/>
                <a:gd name="T59" fmla="*/ 120 h 120"/>
                <a:gd name="T60" fmla="*/ 110 w 120"/>
                <a:gd name="T61" fmla="*/ 119 h 120"/>
                <a:gd name="T62" fmla="*/ 116 w 120"/>
                <a:gd name="T63" fmla="*/ 115 h 120"/>
                <a:gd name="T64" fmla="*/ 119 w 120"/>
                <a:gd name="T65" fmla="*/ 111 h 120"/>
                <a:gd name="T66" fmla="*/ 120 w 120"/>
                <a:gd name="T67" fmla="*/ 105 h 120"/>
                <a:gd name="T68" fmla="*/ 119 w 120"/>
                <a:gd name="T69" fmla="*/ 99 h 120"/>
                <a:gd name="T70" fmla="*/ 116 w 120"/>
                <a:gd name="T71"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0">
                  <a:moveTo>
                    <a:pt x="81" y="60"/>
                  </a:moveTo>
                  <a:lnTo>
                    <a:pt x="116" y="25"/>
                  </a:lnTo>
                  <a:lnTo>
                    <a:pt x="118" y="23"/>
                  </a:lnTo>
                  <a:lnTo>
                    <a:pt x="119" y="20"/>
                  </a:lnTo>
                  <a:lnTo>
                    <a:pt x="120" y="18"/>
                  </a:lnTo>
                  <a:lnTo>
                    <a:pt x="120" y="15"/>
                  </a:lnTo>
                  <a:lnTo>
                    <a:pt x="120" y="11"/>
                  </a:lnTo>
                  <a:lnTo>
                    <a:pt x="119" y="9"/>
                  </a:lnTo>
                  <a:lnTo>
                    <a:pt x="118" y="6"/>
                  </a:lnTo>
                  <a:lnTo>
                    <a:pt x="116" y="4"/>
                  </a:lnTo>
                  <a:lnTo>
                    <a:pt x="114" y="2"/>
                  </a:lnTo>
                  <a:lnTo>
                    <a:pt x="110" y="1"/>
                  </a:lnTo>
                  <a:lnTo>
                    <a:pt x="108" y="0"/>
                  </a:lnTo>
                  <a:lnTo>
                    <a:pt x="105" y="0"/>
                  </a:lnTo>
                  <a:lnTo>
                    <a:pt x="102" y="0"/>
                  </a:lnTo>
                  <a:lnTo>
                    <a:pt x="100" y="1"/>
                  </a:lnTo>
                  <a:lnTo>
                    <a:pt x="96" y="2"/>
                  </a:lnTo>
                  <a:lnTo>
                    <a:pt x="94" y="4"/>
                  </a:lnTo>
                  <a:lnTo>
                    <a:pt x="60" y="38"/>
                  </a:lnTo>
                  <a:lnTo>
                    <a:pt x="26" y="4"/>
                  </a:lnTo>
                  <a:lnTo>
                    <a:pt x="23" y="2"/>
                  </a:lnTo>
                  <a:lnTo>
                    <a:pt x="20" y="1"/>
                  </a:lnTo>
                  <a:lnTo>
                    <a:pt x="17" y="0"/>
                  </a:lnTo>
                  <a:lnTo>
                    <a:pt x="15" y="0"/>
                  </a:lnTo>
                  <a:lnTo>
                    <a:pt x="12" y="0"/>
                  </a:lnTo>
                  <a:lnTo>
                    <a:pt x="9" y="1"/>
                  </a:lnTo>
                  <a:lnTo>
                    <a:pt x="6" y="2"/>
                  </a:lnTo>
                  <a:lnTo>
                    <a:pt x="4" y="4"/>
                  </a:lnTo>
                  <a:lnTo>
                    <a:pt x="2" y="6"/>
                  </a:lnTo>
                  <a:lnTo>
                    <a:pt x="1" y="9"/>
                  </a:lnTo>
                  <a:lnTo>
                    <a:pt x="0" y="11"/>
                  </a:lnTo>
                  <a:lnTo>
                    <a:pt x="0" y="15"/>
                  </a:lnTo>
                  <a:lnTo>
                    <a:pt x="0" y="18"/>
                  </a:lnTo>
                  <a:lnTo>
                    <a:pt x="1" y="20"/>
                  </a:lnTo>
                  <a:lnTo>
                    <a:pt x="2" y="23"/>
                  </a:lnTo>
                  <a:lnTo>
                    <a:pt x="4" y="25"/>
                  </a:lnTo>
                  <a:lnTo>
                    <a:pt x="39" y="60"/>
                  </a:lnTo>
                  <a:lnTo>
                    <a:pt x="4" y="94"/>
                  </a:lnTo>
                  <a:lnTo>
                    <a:pt x="2" y="97"/>
                  </a:lnTo>
                  <a:lnTo>
                    <a:pt x="1" y="99"/>
                  </a:lnTo>
                  <a:lnTo>
                    <a:pt x="0" y="102"/>
                  </a:lnTo>
                  <a:lnTo>
                    <a:pt x="0" y="105"/>
                  </a:lnTo>
                  <a:lnTo>
                    <a:pt x="0" y="108"/>
                  </a:lnTo>
                  <a:lnTo>
                    <a:pt x="1" y="111"/>
                  </a:lnTo>
                  <a:lnTo>
                    <a:pt x="2" y="113"/>
                  </a:lnTo>
                  <a:lnTo>
                    <a:pt x="4" y="115"/>
                  </a:lnTo>
                  <a:lnTo>
                    <a:pt x="6" y="117"/>
                  </a:lnTo>
                  <a:lnTo>
                    <a:pt x="9" y="119"/>
                  </a:lnTo>
                  <a:lnTo>
                    <a:pt x="12" y="120"/>
                  </a:lnTo>
                  <a:lnTo>
                    <a:pt x="15" y="120"/>
                  </a:lnTo>
                  <a:lnTo>
                    <a:pt x="17" y="120"/>
                  </a:lnTo>
                  <a:lnTo>
                    <a:pt x="20" y="119"/>
                  </a:lnTo>
                  <a:lnTo>
                    <a:pt x="23" y="117"/>
                  </a:lnTo>
                  <a:lnTo>
                    <a:pt x="26" y="115"/>
                  </a:lnTo>
                  <a:lnTo>
                    <a:pt x="60" y="81"/>
                  </a:lnTo>
                  <a:lnTo>
                    <a:pt x="94" y="115"/>
                  </a:lnTo>
                  <a:lnTo>
                    <a:pt x="96" y="117"/>
                  </a:lnTo>
                  <a:lnTo>
                    <a:pt x="100" y="119"/>
                  </a:lnTo>
                  <a:lnTo>
                    <a:pt x="102" y="120"/>
                  </a:lnTo>
                  <a:lnTo>
                    <a:pt x="105" y="120"/>
                  </a:lnTo>
                  <a:lnTo>
                    <a:pt x="108" y="120"/>
                  </a:lnTo>
                  <a:lnTo>
                    <a:pt x="110" y="119"/>
                  </a:lnTo>
                  <a:lnTo>
                    <a:pt x="114" y="117"/>
                  </a:lnTo>
                  <a:lnTo>
                    <a:pt x="116" y="115"/>
                  </a:lnTo>
                  <a:lnTo>
                    <a:pt x="118" y="113"/>
                  </a:lnTo>
                  <a:lnTo>
                    <a:pt x="119" y="111"/>
                  </a:lnTo>
                  <a:lnTo>
                    <a:pt x="120" y="108"/>
                  </a:lnTo>
                  <a:lnTo>
                    <a:pt x="120" y="105"/>
                  </a:lnTo>
                  <a:lnTo>
                    <a:pt x="120" y="102"/>
                  </a:lnTo>
                  <a:lnTo>
                    <a:pt x="119" y="99"/>
                  </a:lnTo>
                  <a:lnTo>
                    <a:pt x="118" y="97"/>
                  </a:lnTo>
                  <a:lnTo>
                    <a:pt x="116" y="94"/>
                  </a:lnTo>
                  <a:lnTo>
                    <a:pt x="8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717" name="Group 163">
            <a:extLst>
              <a:ext uri="{FF2B5EF4-FFF2-40B4-BE49-F238E27FC236}">
                <a16:creationId xmlns:a16="http://schemas.microsoft.com/office/drawing/2014/main" id="{BED1E34C-34EA-4FB2-9205-18A7DB60B3D9}"/>
              </a:ext>
            </a:extLst>
          </p:cNvPr>
          <p:cNvGrpSpPr>
            <a:grpSpLocks noChangeAspect="1"/>
          </p:cNvGrpSpPr>
          <p:nvPr/>
        </p:nvGrpSpPr>
        <p:grpSpPr>
          <a:xfrm>
            <a:off x="284400" y="2761642"/>
            <a:ext cx="300651" cy="212128"/>
            <a:chOff x="6445250" y="1982788"/>
            <a:chExt cx="285750" cy="201613"/>
          </a:xfrm>
          <a:solidFill>
            <a:schemeClr val="bg1"/>
          </a:solidFill>
          <a:effectLst/>
        </p:grpSpPr>
        <p:sp>
          <p:nvSpPr>
            <p:cNvPr id="1718" name="Freeform 184">
              <a:extLst>
                <a:ext uri="{FF2B5EF4-FFF2-40B4-BE49-F238E27FC236}">
                  <a16:creationId xmlns:a16="http://schemas.microsoft.com/office/drawing/2014/main" id="{D9C1198F-1986-44F6-A8A3-FACD9A954BF4}"/>
                </a:ext>
              </a:extLst>
            </p:cNvPr>
            <p:cNvSpPr>
              <a:spLocks noEditPoints="1"/>
            </p:cNvSpPr>
            <p:nvPr/>
          </p:nvSpPr>
          <p:spPr bwMode="auto">
            <a:xfrm>
              <a:off x="6445250" y="1982788"/>
              <a:ext cx="285750" cy="201613"/>
            </a:xfrm>
            <a:custGeom>
              <a:avLst/>
              <a:gdLst>
                <a:gd name="T0" fmla="*/ 871 w 902"/>
                <a:gd name="T1" fmla="*/ 566 h 632"/>
                <a:gd name="T2" fmla="*/ 864 w 902"/>
                <a:gd name="T3" fmla="*/ 582 h 632"/>
                <a:gd name="T4" fmla="*/ 852 w 902"/>
                <a:gd name="T5" fmla="*/ 594 h 632"/>
                <a:gd name="T6" fmla="*/ 836 w 902"/>
                <a:gd name="T7" fmla="*/ 601 h 632"/>
                <a:gd name="T8" fmla="*/ 75 w 902"/>
                <a:gd name="T9" fmla="*/ 602 h 632"/>
                <a:gd name="T10" fmla="*/ 58 w 902"/>
                <a:gd name="T11" fmla="*/ 598 h 632"/>
                <a:gd name="T12" fmla="*/ 43 w 902"/>
                <a:gd name="T13" fmla="*/ 589 h 632"/>
                <a:gd name="T14" fmla="*/ 33 w 902"/>
                <a:gd name="T15" fmla="*/ 575 h 632"/>
                <a:gd name="T16" fmla="*/ 30 w 902"/>
                <a:gd name="T17" fmla="*/ 557 h 632"/>
                <a:gd name="T18" fmla="*/ 31 w 902"/>
                <a:gd name="T19" fmla="*/ 67 h 632"/>
                <a:gd name="T20" fmla="*/ 37 w 902"/>
                <a:gd name="T21" fmla="*/ 51 h 632"/>
                <a:gd name="T22" fmla="*/ 50 w 902"/>
                <a:gd name="T23" fmla="*/ 39 h 632"/>
                <a:gd name="T24" fmla="*/ 66 w 902"/>
                <a:gd name="T25" fmla="*/ 32 h 632"/>
                <a:gd name="T26" fmla="*/ 827 w 902"/>
                <a:gd name="T27" fmla="*/ 30 h 632"/>
                <a:gd name="T28" fmla="*/ 844 w 902"/>
                <a:gd name="T29" fmla="*/ 35 h 632"/>
                <a:gd name="T30" fmla="*/ 859 w 902"/>
                <a:gd name="T31" fmla="*/ 44 h 632"/>
                <a:gd name="T32" fmla="*/ 869 w 902"/>
                <a:gd name="T33" fmla="*/ 58 h 632"/>
                <a:gd name="T34" fmla="*/ 872 w 902"/>
                <a:gd name="T35" fmla="*/ 75 h 632"/>
                <a:gd name="T36" fmla="*/ 827 w 902"/>
                <a:gd name="T37" fmla="*/ 0 h 632"/>
                <a:gd name="T38" fmla="*/ 67 w 902"/>
                <a:gd name="T39" fmla="*/ 2 h 632"/>
                <a:gd name="T40" fmla="*/ 52 w 902"/>
                <a:gd name="T41" fmla="*/ 4 h 632"/>
                <a:gd name="T42" fmla="*/ 40 w 902"/>
                <a:gd name="T43" fmla="*/ 10 h 632"/>
                <a:gd name="T44" fmla="*/ 28 w 902"/>
                <a:gd name="T45" fmla="*/ 18 h 632"/>
                <a:gd name="T46" fmla="*/ 17 w 902"/>
                <a:gd name="T47" fmla="*/ 28 h 632"/>
                <a:gd name="T48" fmla="*/ 10 w 902"/>
                <a:gd name="T49" fmla="*/ 40 h 632"/>
                <a:gd name="T50" fmla="*/ 3 w 902"/>
                <a:gd name="T51" fmla="*/ 54 h 632"/>
                <a:gd name="T52" fmla="*/ 0 w 902"/>
                <a:gd name="T53" fmla="*/ 68 h 632"/>
                <a:gd name="T54" fmla="*/ 0 w 902"/>
                <a:gd name="T55" fmla="*/ 556 h 632"/>
                <a:gd name="T56" fmla="*/ 1 w 902"/>
                <a:gd name="T57" fmla="*/ 572 h 632"/>
                <a:gd name="T58" fmla="*/ 6 w 902"/>
                <a:gd name="T59" fmla="*/ 586 h 632"/>
                <a:gd name="T60" fmla="*/ 13 w 902"/>
                <a:gd name="T61" fmla="*/ 599 h 632"/>
                <a:gd name="T62" fmla="*/ 22 w 902"/>
                <a:gd name="T63" fmla="*/ 610 h 632"/>
                <a:gd name="T64" fmla="*/ 33 w 902"/>
                <a:gd name="T65" fmla="*/ 620 h 632"/>
                <a:gd name="T66" fmla="*/ 46 w 902"/>
                <a:gd name="T67" fmla="*/ 626 h 632"/>
                <a:gd name="T68" fmla="*/ 60 w 902"/>
                <a:gd name="T69" fmla="*/ 630 h 632"/>
                <a:gd name="T70" fmla="*/ 75 w 902"/>
                <a:gd name="T71" fmla="*/ 632 h 632"/>
                <a:gd name="T72" fmla="*/ 835 w 902"/>
                <a:gd name="T73" fmla="*/ 631 h 632"/>
                <a:gd name="T74" fmla="*/ 850 w 902"/>
                <a:gd name="T75" fmla="*/ 629 h 632"/>
                <a:gd name="T76" fmla="*/ 862 w 902"/>
                <a:gd name="T77" fmla="*/ 623 h 632"/>
                <a:gd name="T78" fmla="*/ 875 w 902"/>
                <a:gd name="T79" fmla="*/ 615 h 632"/>
                <a:gd name="T80" fmla="*/ 885 w 902"/>
                <a:gd name="T81" fmla="*/ 605 h 632"/>
                <a:gd name="T82" fmla="*/ 893 w 902"/>
                <a:gd name="T83" fmla="*/ 593 h 632"/>
                <a:gd name="T84" fmla="*/ 899 w 902"/>
                <a:gd name="T85" fmla="*/ 579 h 632"/>
                <a:gd name="T86" fmla="*/ 902 w 902"/>
                <a:gd name="T87" fmla="*/ 565 h 632"/>
                <a:gd name="T88" fmla="*/ 902 w 902"/>
                <a:gd name="T89" fmla="*/ 75 h 632"/>
                <a:gd name="T90" fmla="*/ 901 w 902"/>
                <a:gd name="T91" fmla="*/ 60 h 632"/>
                <a:gd name="T92" fmla="*/ 897 w 902"/>
                <a:gd name="T93" fmla="*/ 47 h 632"/>
                <a:gd name="T94" fmla="*/ 889 w 902"/>
                <a:gd name="T95" fmla="*/ 34 h 632"/>
                <a:gd name="T96" fmla="*/ 881 w 902"/>
                <a:gd name="T97" fmla="*/ 23 h 632"/>
                <a:gd name="T98" fmla="*/ 869 w 902"/>
                <a:gd name="T99" fmla="*/ 13 h 632"/>
                <a:gd name="T100" fmla="*/ 856 w 902"/>
                <a:gd name="T101" fmla="*/ 7 h 632"/>
                <a:gd name="T102" fmla="*/ 842 w 902"/>
                <a:gd name="T103" fmla="*/ 3 h 632"/>
                <a:gd name="T104" fmla="*/ 827 w 902"/>
                <a:gd name="T10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2" h="632">
                  <a:moveTo>
                    <a:pt x="872" y="556"/>
                  </a:moveTo>
                  <a:lnTo>
                    <a:pt x="871" y="566"/>
                  </a:lnTo>
                  <a:lnTo>
                    <a:pt x="869" y="575"/>
                  </a:lnTo>
                  <a:lnTo>
                    <a:pt x="864" y="582"/>
                  </a:lnTo>
                  <a:lnTo>
                    <a:pt x="859" y="589"/>
                  </a:lnTo>
                  <a:lnTo>
                    <a:pt x="852" y="594"/>
                  </a:lnTo>
                  <a:lnTo>
                    <a:pt x="844" y="598"/>
                  </a:lnTo>
                  <a:lnTo>
                    <a:pt x="836" y="601"/>
                  </a:lnTo>
                  <a:lnTo>
                    <a:pt x="827" y="602"/>
                  </a:lnTo>
                  <a:lnTo>
                    <a:pt x="75" y="602"/>
                  </a:lnTo>
                  <a:lnTo>
                    <a:pt x="66" y="601"/>
                  </a:lnTo>
                  <a:lnTo>
                    <a:pt x="58" y="598"/>
                  </a:lnTo>
                  <a:lnTo>
                    <a:pt x="50" y="594"/>
                  </a:lnTo>
                  <a:lnTo>
                    <a:pt x="43" y="589"/>
                  </a:lnTo>
                  <a:lnTo>
                    <a:pt x="37" y="582"/>
                  </a:lnTo>
                  <a:lnTo>
                    <a:pt x="33" y="575"/>
                  </a:lnTo>
                  <a:lnTo>
                    <a:pt x="31" y="566"/>
                  </a:lnTo>
                  <a:lnTo>
                    <a:pt x="30" y="557"/>
                  </a:lnTo>
                  <a:lnTo>
                    <a:pt x="30" y="75"/>
                  </a:lnTo>
                  <a:lnTo>
                    <a:pt x="31" y="67"/>
                  </a:lnTo>
                  <a:lnTo>
                    <a:pt x="33" y="58"/>
                  </a:lnTo>
                  <a:lnTo>
                    <a:pt x="37" y="51"/>
                  </a:lnTo>
                  <a:lnTo>
                    <a:pt x="43" y="44"/>
                  </a:lnTo>
                  <a:lnTo>
                    <a:pt x="50" y="39"/>
                  </a:lnTo>
                  <a:lnTo>
                    <a:pt x="58" y="35"/>
                  </a:lnTo>
                  <a:lnTo>
                    <a:pt x="66" y="32"/>
                  </a:lnTo>
                  <a:lnTo>
                    <a:pt x="75" y="30"/>
                  </a:lnTo>
                  <a:lnTo>
                    <a:pt x="827" y="30"/>
                  </a:lnTo>
                  <a:lnTo>
                    <a:pt x="836" y="32"/>
                  </a:lnTo>
                  <a:lnTo>
                    <a:pt x="844" y="35"/>
                  </a:lnTo>
                  <a:lnTo>
                    <a:pt x="852" y="38"/>
                  </a:lnTo>
                  <a:lnTo>
                    <a:pt x="859" y="44"/>
                  </a:lnTo>
                  <a:lnTo>
                    <a:pt x="864" y="51"/>
                  </a:lnTo>
                  <a:lnTo>
                    <a:pt x="869" y="58"/>
                  </a:lnTo>
                  <a:lnTo>
                    <a:pt x="871" y="67"/>
                  </a:lnTo>
                  <a:lnTo>
                    <a:pt x="872" y="75"/>
                  </a:lnTo>
                  <a:lnTo>
                    <a:pt x="872" y="556"/>
                  </a:lnTo>
                  <a:close/>
                  <a:moveTo>
                    <a:pt x="827" y="0"/>
                  </a:moveTo>
                  <a:lnTo>
                    <a:pt x="75" y="0"/>
                  </a:lnTo>
                  <a:lnTo>
                    <a:pt x="67" y="2"/>
                  </a:lnTo>
                  <a:lnTo>
                    <a:pt x="60" y="3"/>
                  </a:lnTo>
                  <a:lnTo>
                    <a:pt x="52" y="4"/>
                  </a:lnTo>
                  <a:lnTo>
                    <a:pt x="46" y="7"/>
                  </a:lnTo>
                  <a:lnTo>
                    <a:pt x="40" y="10"/>
                  </a:lnTo>
                  <a:lnTo>
                    <a:pt x="33" y="13"/>
                  </a:lnTo>
                  <a:lnTo>
                    <a:pt x="28" y="18"/>
                  </a:lnTo>
                  <a:lnTo>
                    <a:pt x="22" y="23"/>
                  </a:lnTo>
                  <a:lnTo>
                    <a:pt x="17" y="28"/>
                  </a:lnTo>
                  <a:lnTo>
                    <a:pt x="13" y="34"/>
                  </a:lnTo>
                  <a:lnTo>
                    <a:pt x="10" y="40"/>
                  </a:lnTo>
                  <a:lnTo>
                    <a:pt x="6" y="47"/>
                  </a:lnTo>
                  <a:lnTo>
                    <a:pt x="3" y="54"/>
                  </a:lnTo>
                  <a:lnTo>
                    <a:pt x="1" y="60"/>
                  </a:lnTo>
                  <a:lnTo>
                    <a:pt x="0" y="68"/>
                  </a:lnTo>
                  <a:lnTo>
                    <a:pt x="0" y="75"/>
                  </a:lnTo>
                  <a:lnTo>
                    <a:pt x="0" y="556"/>
                  </a:lnTo>
                  <a:lnTo>
                    <a:pt x="0" y="565"/>
                  </a:lnTo>
                  <a:lnTo>
                    <a:pt x="1" y="572"/>
                  </a:lnTo>
                  <a:lnTo>
                    <a:pt x="3" y="579"/>
                  </a:lnTo>
                  <a:lnTo>
                    <a:pt x="6" y="586"/>
                  </a:lnTo>
                  <a:lnTo>
                    <a:pt x="10" y="593"/>
                  </a:lnTo>
                  <a:lnTo>
                    <a:pt x="13" y="599"/>
                  </a:lnTo>
                  <a:lnTo>
                    <a:pt x="17" y="605"/>
                  </a:lnTo>
                  <a:lnTo>
                    <a:pt x="22" y="610"/>
                  </a:lnTo>
                  <a:lnTo>
                    <a:pt x="28" y="615"/>
                  </a:lnTo>
                  <a:lnTo>
                    <a:pt x="33" y="620"/>
                  </a:lnTo>
                  <a:lnTo>
                    <a:pt x="40" y="623"/>
                  </a:lnTo>
                  <a:lnTo>
                    <a:pt x="46" y="626"/>
                  </a:lnTo>
                  <a:lnTo>
                    <a:pt x="52" y="629"/>
                  </a:lnTo>
                  <a:lnTo>
                    <a:pt x="60" y="630"/>
                  </a:lnTo>
                  <a:lnTo>
                    <a:pt x="67" y="631"/>
                  </a:lnTo>
                  <a:lnTo>
                    <a:pt x="75" y="632"/>
                  </a:lnTo>
                  <a:lnTo>
                    <a:pt x="827" y="632"/>
                  </a:lnTo>
                  <a:lnTo>
                    <a:pt x="835" y="631"/>
                  </a:lnTo>
                  <a:lnTo>
                    <a:pt x="842" y="630"/>
                  </a:lnTo>
                  <a:lnTo>
                    <a:pt x="850" y="629"/>
                  </a:lnTo>
                  <a:lnTo>
                    <a:pt x="856" y="626"/>
                  </a:lnTo>
                  <a:lnTo>
                    <a:pt x="862" y="623"/>
                  </a:lnTo>
                  <a:lnTo>
                    <a:pt x="869" y="620"/>
                  </a:lnTo>
                  <a:lnTo>
                    <a:pt x="875" y="615"/>
                  </a:lnTo>
                  <a:lnTo>
                    <a:pt x="881" y="610"/>
                  </a:lnTo>
                  <a:lnTo>
                    <a:pt x="885" y="605"/>
                  </a:lnTo>
                  <a:lnTo>
                    <a:pt x="889" y="599"/>
                  </a:lnTo>
                  <a:lnTo>
                    <a:pt x="893" y="593"/>
                  </a:lnTo>
                  <a:lnTo>
                    <a:pt x="897" y="586"/>
                  </a:lnTo>
                  <a:lnTo>
                    <a:pt x="899" y="579"/>
                  </a:lnTo>
                  <a:lnTo>
                    <a:pt x="901" y="572"/>
                  </a:lnTo>
                  <a:lnTo>
                    <a:pt x="902" y="565"/>
                  </a:lnTo>
                  <a:lnTo>
                    <a:pt x="902" y="557"/>
                  </a:lnTo>
                  <a:lnTo>
                    <a:pt x="902" y="75"/>
                  </a:lnTo>
                  <a:lnTo>
                    <a:pt x="902" y="68"/>
                  </a:lnTo>
                  <a:lnTo>
                    <a:pt x="901" y="60"/>
                  </a:lnTo>
                  <a:lnTo>
                    <a:pt x="899" y="54"/>
                  </a:lnTo>
                  <a:lnTo>
                    <a:pt x="897" y="47"/>
                  </a:lnTo>
                  <a:lnTo>
                    <a:pt x="893" y="40"/>
                  </a:lnTo>
                  <a:lnTo>
                    <a:pt x="889" y="34"/>
                  </a:lnTo>
                  <a:lnTo>
                    <a:pt x="885" y="28"/>
                  </a:lnTo>
                  <a:lnTo>
                    <a:pt x="881" y="23"/>
                  </a:lnTo>
                  <a:lnTo>
                    <a:pt x="875" y="18"/>
                  </a:lnTo>
                  <a:lnTo>
                    <a:pt x="869" y="13"/>
                  </a:lnTo>
                  <a:lnTo>
                    <a:pt x="862" y="10"/>
                  </a:lnTo>
                  <a:lnTo>
                    <a:pt x="856" y="7"/>
                  </a:lnTo>
                  <a:lnTo>
                    <a:pt x="850" y="4"/>
                  </a:lnTo>
                  <a:lnTo>
                    <a:pt x="842" y="3"/>
                  </a:lnTo>
                  <a:lnTo>
                    <a:pt x="835" y="2"/>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19" name="Freeform 185">
              <a:extLst>
                <a:ext uri="{FF2B5EF4-FFF2-40B4-BE49-F238E27FC236}">
                  <a16:creationId xmlns:a16="http://schemas.microsoft.com/office/drawing/2014/main" id="{CC17153B-6C9B-49A6-BD2D-DBDDE6589152}"/>
                </a:ext>
              </a:extLst>
            </p:cNvPr>
            <p:cNvSpPr>
              <a:spLocks/>
            </p:cNvSpPr>
            <p:nvPr/>
          </p:nvSpPr>
          <p:spPr bwMode="auto">
            <a:xfrm>
              <a:off x="6497638" y="2051050"/>
              <a:ext cx="68263" cy="61913"/>
            </a:xfrm>
            <a:custGeom>
              <a:avLst/>
              <a:gdLst>
                <a:gd name="T0" fmla="*/ 170 w 215"/>
                <a:gd name="T1" fmla="*/ 0 h 197"/>
                <a:gd name="T2" fmla="*/ 127 w 215"/>
                <a:gd name="T3" fmla="*/ 92 h 197"/>
                <a:gd name="T4" fmla="*/ 120 w 215"/>
                <a:gd name="T5" fmla="*/ 108 h 197"/>
                <a:gd name="T6" fmla="*/ 114 w 215"/>
                <a:gd name="T7" fmla="*/ 124 h 197"/>
                <a:gd name="T8" fmla="*/ 107 w 215"/>
                <a:gd name="T9" fmla="*/ 139 h 197"/>
                <a:gd name="T10" fmla="*/ 102 w 215"/>
                <a:gd name="T11" fmla="*/ 152 h 197"/>
                <a:gd name="T12" fmla="*/ 101 w 215"/>
                <a:gd name="T13" fmla="*/ 152 h 197"/>
                <a:gd name="T14" fmla="*/ 100 w 215"/>
                <a:gd name="T15" fmla="*/ 139 h 197"/>
                <a:gd name="T16" fmla="*/ 99 w 215"/>
                <a:gd name="T17" fmla="*/ 124 h 197"/>
                <a:gd name="T18" fmla="*/ 97 w 215"/>
                <a:gd name="T19" fmla="*/ 108 h 197"/>
                <a:gd name="T20" fmla="*/ 96 w 215"/>
                <a:gd name="T21" fmla="*/ 93 h 197"/>
                <a:gd name="T22" fmla="*/ 88 w 215"/>
                <a:gd name="T23" fmla="*/ 0 h 197"/>
                <a:gd name="T24" fmla="*/ 71 w 215"/>
                <a:gd name="T25" fmla="*/ 0 h 197"/>
                <a:gd name="T26" fmla="*/ 70 w 215"/>
                <a:gd name="T27" fmla="*/ 0 h 197"/>
                <a:gd name="T28" fmla="*/ 70 w 215"/>
                <a:gd name="T29" fmla="*/ 0 h 197"/>
                <a:gd name="T30" fmla="*/ 19 w 215"/>
                <a:gd name="T31" fmla="*/ 0 h 197"/>
                <a:gd name="T32" fmla="*/ 16 w 215"/>
                <a:gd name="T33" fmla="*/ 2 h 197"/>
                <a:gd name="T34" fmla="*/ 12 w 215"/>
                <a:gd name="T35" fmla="*/ 3 h 197"/>
                <a:gd name="T36" fmla="*/ 9 w 215"/>
                <a:gd name="T37" fmla="*/ 5 h 197"/>
                <a:gd name="T38" fmla="*/ 6 w 215"/>
                <a:gd name="T39" fmla="*/ 8 h 197"/>
                <a:gd name="T40" fmla="*/ 3 w 215"/>
                <a:gd name="T41" fmla="*/ 11 h 197"/>
                <a:gd name="T42" fmla="*/ 2 w 215"/>
                <a:gd name="T43" fmla="*/ 15 h 197"/>
                <a:gd name="T44" fmla="*/ 1 w 215"/>
                <a:gd name="T45" fmla="*/ 20 h 197"/>
                <a:gd name="T46" fmla="*/ 0 w 215"/>
                <a:gd name="T47" fmla="*/ 23 h 197"/>
                <a:gd name="T48" fmla="*/ 1 w 215"/>
                <a:gd name="T49" fmla="*/ 27 h 197"/>
                <a:gd name="T50" fmla="*/ 2 w 215"/>
                <a:gd name="T51" fmla="*/ 32 h 197"/>
                <a:gd name="T52" fmla="*/ 3 w 215"/>
                <a:gd name="T53" fmla="*/ 35 h 197"/>
                <a:gd name="T54" fmla="*/ 6 w 215"/>
                <a:gd name="T55" fmla="*/ 39 h 197"/>
                <a:gd name="T56" fmla="*/ 9 w 215"/>
                <a:gd name="T57" fmla="*/ 41 h 197"/>
                <a:gd name="T58" fmla="*/ 12 w 215"/>
                <a:gd name="T59" fmla="*/ 44 h 197"/>
                <a:gd name="T60" fmla="*/ 16 w 215"/>
                <a:gd name="T61" fmla="*/ 45 h 197"/>
                <a:gd name="T62" fmla="*/ 19 w 215"/>
                <a:gd name="T63" fmla="*/ 45 h 197"/>
                <a:gd name="T64" fmla="*/ 50 w 215"/>
                <a:gd name="T65" fmla="*/ 45 h 197"/>
                <a:gd name="T66" fmla="*/ 76 w 215"/>
                <a:gd name="T67" fmla="*/ 197 h 197"/>
                <a:gd name="T68" fmla="*/ 123 w 215"/>
                <a:gd name="T69" fmla="*/ 197 h 197"/>
                <a:gd name="T70" fmla="*/ 215 w 215"/>
                <a:gd name="T71" fmla="*/ 0 h 197"/>
                <a:gd name="T72" fmla="*/ 170 w 215"/>
                <a:gd name="T73"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 h="197">
                  <a:moveTo>
                    <a:pt x="170" y="0"/>
                  </a:moveTo>
                  <a:lnTo>
                    <a:pt x="127" y="92"/>
                  </a:lnTo>
                  <a:lnTo>
                    <a:pt x="120" y="108"/>
                  </a:lnTo>
                  <a:lnTo>
                    <a:pt x="114" y="124"/>
                  </a:lnTo>
                  <a:lnTo>
                    <a:pt x="107" y="139"/>
                  </a:lnTo>
                  <a:lnTo>
                    <a:pt x="102" y="152"/>
                  </a:lnTo>
                  <a:lnTo>
                    <a:pt x="101" y="152"/>
                  </a:lnTo>
                  <a:lnTo>
                    <a:pt x="100" y="139"/>
                  </a:lnTo>
                  <a:lnTo>
                    <a:pt x="99" y="124"/>
                  </a:lnTo>
                  <a:lnTo>
                    <a:pt x="97" y="108"/>
                  </a:lnTo>
                  <a:lnTo>
                    <a:pt x="96" y="93"/>
                  </a:lnTo>
                  <a:lnTo>
                    <a:pt x="88" y="0"/>
                  </a:lnTo>
                  <a:lnTo>
                    <a:pt x="71" y="0"/>
                  </a:lnTo>
                  <a:lnTo>
                    <a:pt x="70" y="0"/>
                  </a:lnTo>
                  <a:lnTo>
                    <a:pt x="70" y="0"/>
                  </a:lnTo>
                  <a:lnTo>
                    <a:pt x="19" y="0"/>
                  </a:lnTo>
                  <a:lnTo>
                    <a:pt x="16" y="2"/>
                  </a:lnTo>
                  <a:lnTo>
                    <a:pt x="12" y="3"/>
                  </a:lnTo>
                  <a:lnTo>
                    <a:pt x="9" y="5"/>
                  </a:lnTo>
                  <a:lnTo>
                    <a:pt x="6" y="8"/>
                  </a:lnTo>
                  <a:lnTo>
                    <a:pt x="3" y="11"/>
                  </a:lnTo>
                  <a:lnTo>
                    <a:pt x="2" y="15"/>
                  </a:lnTo>
                  <a:lnTo>
                    <a:pt x="1" y="20"/>
                  </a:lnTo>
                  <a:lnTo>
                    <a:pt x="0" y="23"/>
                  </a:lnTo>
                  <a:lnTo>
                    <a:pt x="1" y="27"/>
                  </a:lnTo>
                  <a:lnTo>
                    <a:pt x="2" y="32"/>
                  </a:lnTo>
                  <a:lnTo>
                    <a:pt x="3" y="35"/>
                  </a:lnTo>
                  <a:lnTo>
                    <a:pt x="6" y="39"/>
                  </a:lnTo>
                  <a:lnTo>
                    <a:pt x="9" y="41"/>
                  </a:lnTo>
                  <a:lnTo>
                    <a:pt x="12" y="44"/>
                  </a:lnTo>
                  <a:lnTo>
                    <a:pt x="16" y="45"/>
                  </a:lnTo>
                  <a:lnTo>
                    <a:pt x="19" y="45"/>
                  </a:lnTo>
                  <a:lnTo>
                    <a:pt x="50" y="45"/>
                  </a:lnTo>
                  <a:lnTo>
                    <a:pt x="76" y="197"/>
                  </a:lnTo>
                  <a:lnTo>
                    <a:pt x="123" y="197"/>
                  </a:lnTo>
                  <a:lnTo>
                    <a:pt x="215" y="0"/>
                  </a:lnTo>
                  <a:lnTo>
                    <a:pt x="1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0" name="Freeform 186">
              <a:extLst>
                <a:ext uri="{FF2B5EF4-FFF2-40B4-BE49-F238E27FC236}">
                  <a16:creationId xmlns:a16="http://schemas.microsoft.com/office/drawing/2014/main" id="{0CE45C2A-94DA-4628-9246-234975D57B42}"/>
                </a:ext>
              </a:extLst>
            </p:cNvPr>
            <p:cNvSpPr>
              <a:spLocks/>
            </p:cNvSpPr>
            <p:nvPr/>
          </p:nvSpPr>
          <p:spPr bwMode="auto">
            <a:xfrm>
              <a:off x="6564313" y="2051050"/>
              <a:ext cx="22225" cy="61913"/>
            </a:xfrm>
            <a:custGeom>
              <a:avLst/>
              <a:gdLst>
                <a:gd name="T0" fmla="*/ 0 w 70"/>
                <a:gd name="T1" fmla="*/ 197 h 197"/>
                <a:gd name="T2" fmla="*/ 41 w 70"/>
                <a:gd name="T3" fmla="*/ 197 h 197"/>
                <a:gd name="T4" fmla="*/ 70 w 70"/>
                <a:gd name="T5" fmla="*/ 0 h 197"/>
                <a:gd name="T6" fmla="*/ 30 w 70"/>
                <a:gd name="T7" fmla="*/ 0 h 197"/>
                <a:gd name="T8" fmla="*/ 0 w 70"/>
                <a:gd name="T9" fmla="*/ 197 h 197"/>
              </a:gdLst>
              <a:ahLst/>
              <a:cxnLst>
                <a:cxn ang="0">
                  <a:pos x="T0" y="T1"/>
                </a:cxn>
                <a:cxn ang="0">
                  <a:pos x="T2" y="T3"/>
                </a:cxn>
                <a:cxn ang="0">
                  <a:pos x="T4" y="T5"/>
                </a:cxn>
                <a:cxn ang="0">
                  <a:pos x="T6" y="T7"/>
                </a:cxn>
                <a:cxn ang="0">
                  <a:pos x="T8" y="T9"/>
                </a:cxn>
              </a:cxnLst>
              <a:rect l="0" t="0" r="r" b="b"/>
              <a:pathLst>
                <a:path w="70" h="197">
                  <a:moveTo>
                    <a:pt x="0" y="197"/>
                  </a:moveTo>
                  <a:lnTo>
                    <a:pt x="41" y="197"/>
                  </a:lnTo>
                  <a:lnTo>
                    <a:pt x="70" y="0"/>
                  </a:lnTo>
                  <a:lnTo>
                    <a:pt x="30" y="0"/>
                  </a:lnTo>
                  <a:lnTo>
                    <a:pt x="0"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1" name="Freeform 187">
              <a:extLst>
                <a:ext uri="{FF2B5EF4-FFF2-40B4-BE49-F238E27FC236}">
                  <a16:creationId xmlns:a16="http://schemas.microsoft.com/office/drawing/2014/main" id="{14A4C5AF-89AD-4C6C-BEE6-6EB68E00CF06}"/>
                </a:ext>
              </a:extLst>
            </p:cNvPr>
            <p:cNvSpPr>
              <a:spLocks/>
            </p:cNvSpPr>
            <p:nvPr/>
          </p:nvSpPr>
          <p:spPr bwMode="auto">
            <a:xfrm>
              <a:off x="6586538" y="2051050"/>
              <a:ext cx="44450" cy="61913"/>
            </a:xfrm>
            <a:custGeom>
              <a:avLst/>
              <a:gdLst>
                <a:gd name="T0" fmla="*/ 77 w 138"/>
                <a:gd name="T1" fmla="*/ 77 h 198"/>
                <a:gd name="T2" fmla="*/ 65 w 138"/>
                <a:gd name="T3" fmla="*/ 67 h 198"/>
                <a:gd name="T4" fmla="*/ 61 w 138"/>
                <a:gd name="T5" fmla="*/ 59 h 198"/>
                <a:gd name="T6" fmla="*/ 61 w 138"/>
                <a:gd name="T7" fmla="*/ 52 h 198"/>
                <a:gd name="T8" fmla="*/ 64 w 138"/>
                <a:gd name="T9" fmla="*/ 44 h 198"/>
                <a:gd name="T10" fmla="*/ 71 w 138"/>
                <a:gd name="T11" fmla="*/ 39 h 198"/>
                <a:gd name="T12" fmla="*/ 82 w 138"/>
                <a:gd name="T13" fmla="*/ 36 h 198"/>
                <a:gd name="T14" fmla="*/ 100 w 138"/>
                <a:gd name="T15" fmla="*/ 36 h 198"/>
                <a:gd name="T16" fmla="*/ 119 w 138"/>
                <a:gd name="T17" fmla="*/ 41 h 198"/>
                <a:gd name="T18" fmla="*/ 138 w 138"/>
                <a:gd name="T19" fmla="*/ 10 h 198"/>
                <a:gd name="T20" fmla="*/ 121 w 138"/>
                <a:gd name="T21" fmla="*/ 4 h 198"/>
                <a:gd name="T22" fmla="*/ 93 w 138"/>
                <a:gd name="T23" fmla="*/ 0 h 198"/>
                <a:gd name="T24" fmla="*/ 77 w 138"/>
                <a:gd name="T25" fmla="*/ 2 h 198"/>
                <a:gd name="T26" fmla="*/ 63 w 138"/>
                <a:gd name="T27" fmla="*/ 5 h 198"/>
                <a:gd name="T28" fmla="*/ 50 w 138"/>
                <a:gd name="T29" fmla="*/ 10 h 198"/>
                <a:gd name="T30" fmla="*/ 39 w 138"/>
                <a:gd name="T31" fmla="*/ 17 h 198"/>
                <a:gd name="T32" fmla="*/ 30 w 138"/>
                <a:gd name="T33" fmla="*/ 26 h 198"/>
                <a:gd name="T34" fmla="*/ 23 w 138"/>
                <a:gd name="T35" fmla="*/ 37 h 198"/>
                <a:gd name="T36" fmla="*/ 18 w 138"/>
                <a:gd name="T37" fmla="*/ 49 h 198"/>
                <a:gd name="T38" fmla="*/ 17 w 138"/>
                <a:gd name="T39" fmla="*/ 63 h 198"/>
                <a:gd name="T40" fmla="*/ 20 w 138"/>
                <a:gd name="T41" fmla="*/ 80 h 198"/>
                <a:gd name="T42" fmla="*/ 29 w 138"/>
                <a:gd name="T43" fmla="*/ 94 h 198"/>
                <a:gd name="T44" fmla="*/ 41 w 138"/>
                <a:gd name="T45" fmla="*/ 104 h 198"/>
                <a:gd name="T46" fmla="*/ 56 w 138"/>
                <a:gd name="T47" fmla="*/ 113 h 198"/>
                <a:gd name="T48" fmla="*/ 76 w 138"/>
                <a:gd name="T49" fmla="*/ 126 h 198"/>
                <a:gd name="T50" fmla="*/ 81 w 138"/>
                <a:gd name="T51" fmla="*/ 133 h 198"/>
                <a:gd name="T52" fmla="*/ 82 w 138"/>
                <a:gd name="T53" fmla="*/ 141 h 198"/>
                <a:gd name="T54" fmla="*/ 81 w 138"/>
                <a:gd name="T55" fmla="*/ 150 h 198"/>
                <a:gd name="T56" fmla="*/ 77 w 138"/>
                <a:gd name="T57" fmla="*/ 157 h 198"/>
                <a:gd name="T58" fmla="*/ 69 w 138"/>
                <a:gd name="T59" fmla="*/ 161 h 198"/>
                <a:gd name="T60" fmla="*/ 59 w 138"/>
                <a:gd name="T61" fmla="*/ 163 h 198"/>
                <a:gd name="T62" fmla="*/ 34 w 138"/>
                <a:gd name="T63" fmla="*/ 159 h 198"/>
                <a:gd name="T64" fmla="*/ 14 w 138"/>
                <a:gd name="T65" fmla="*/ 150 h 198"/>
                <a:gd name="T66" fmla="*/ 8 w 138"/>
                <a:gd name="T67" fmla="*/ 189 h 198"/>
                <a:gd name="T68" fmla="*/ 27 w 138"/>
                <a:gd name="T69" fmla="*/ 195 h 198"/>
                <a:gd name="T70" fmla="*/ 45 w 138"/>
                <a:gd name="T71" fmla="*/ 198 h 198"/>
                <a:gd name="T72" fmla="*/ 62 w 138"/>
                <a:gd name="T73" fmla="*/ 198 h 198"/>
                <a:gd name="T74" fmla="*/ 77 w 138"/>
                <a:gd name="T75" fmla="*/ 195 h 198"/>
                <a:gd name="T76" fmla="*/ 90 w 138"/>
                <a:gd name="T77" fmla="*/ 191 h 198"/>
                <a:gd name="T78" fmla="*/ 101 w 138"/>
                <a:gd name="T79" fmla="*/ 186 h 198"/>
                <a:gd name="T80" fmla="*/ 111 w 138"/>
                <a:gd name="T81" fmla="*/ 177 h 198"/>
                <a:gd name="T82" fmla="*/ 119 w 138"/>
                <a:gd name="T83" fmla="*/ 168 h 198"/>
                <a:gd name="T84" fmla="*/ 123 w 138"/>
                <a:gd name="T85" fmla="*/ 155 h 198"/>
                <a:gd name="T86" fmla="*/ 126 w 138"/>
                <a:gd name="T87" fmla="*/ 141 h 198"/>
                <a:gd name="T88" fmla="*/ 125 w 138"/>
                <a:gd name="T89" fmla="*/ 125 h 198"/>
                <a:gd name="T90" fmla="*/ 121 w 138"/>
                <a:gd name="T91" fmla="*/ 111 h 198"/>
                <a:gd name="T92" fmla="*/ 110 w 138"/>
                <a:gd name="T93" fmla="*/ 98 h 198"/>
                <a:gd name="T94" fmla="*/ 96 w 138"/>
                <a:gd name="T95" fmla="*/ 87 h 198"/>
                <a:gd name="T96" fmla="*/ 87 w 138"/>
                <a:gd name="T97" fmla="*/ 8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198">
                  <a:moveTo>
                    <a:pt x="87" y="83"/>
                  </a:moveTo>
                  <a:lnTo>
                    <a:pt x="77" y="77"/>
                  </a:lnTo>
                  <a:lnTo>
                    <a:pt x="68" y="70"/>
                  </a:lnTo>
                  <a:lnTo>
                    <a:pt x="65" y="67"/>
                  </a:lnTo>
                  <a:lnTo>
                    <a:pt x="62" y="64"/>
                  </a:lnTo>
                  <a:lnTo>
                    <a:pt x="61" y="59"/>
                  </a:lnTo>
                  <a:lnTo>
                    <a:pt x="60" y="56"/>
                  </a:lnTo>
                  <a:lnTo>
                    <a:pt x="61" y="52"/>
                  </a:lnTo>
                  <a:lnTo>
                    <a:pt x="62" y="48"/>
                  </a:lnTo>
                  <a:lnTo>
                    <a:pt x="64" y="44"/>
                  </a:lnTo>
                  <a:lnTo>
                    <a:pt x="67" y="41"/>
                  </a:lnTo>
                  <a:lnTo>
                    <a:pt x="71" y="39"/>
                  </a:lnTo>
                  <a:lnTo>
                    <a:pt x="77" y="37"/>
                  </a:lnTo>
                  <a:lnTo>
                    <a:pt x="82" y="36"/>
                  </a:lnTo>
                  <a:lnTo>
                    <a:pt x="90" y="36"/>
                  </a:lnTo>
                  <a:lnTo>
                    <a:pt x="100" y="36"/>
                  </a:lnTo>
                  <a:lnTo>
                    <a:pt x="111" y="38"/>
                  </a:lnTo>
                  <a:lnTo>
                    <a:pt x="119" y="41"/>
                  </a:lnTo>
                  <a:lnTo>
                    <a:pt x="125" y="44"/>
                  </a:lnTo>
                  <a:lnTo>
                    <a:pt x="138" y="10"/>
                  </a:lnTo>
                  <a:lnTo>
                    <a:pt x="130" y="7"/>
                  </a:lnTo>
                  <a:lnTo>
                    <a:pt x="121" y="4"/>
                  </a:lnTo>
                  <a:lnTo>
                    <a:pt x="108" y="2"/>
                  </a:lnTo>
                  <a:lnTo>
                    <a:pt x="93" y="0"/>
                  </a:lnTo>
                  <a:lnTo>
                    <a:pt x="84" y="0"/>
                  </a:lnTo>
                  <a:lnTo>
                    <a:pt x="77" y="2"/>
                  </a:lnTo>
                  <a:lnTo>
                    <a:pt x="70" y="3"/>
                  </a:lnTo>
                  <a:lnTo>
                    <a:pt x="63" y="5"/>
                  </a:lnTo>
                  <a:lnTo>
                    <a:pt x="56" y="7"/>
                  </a:lnTo>
                  <a:lnTo>
                    <a:pt x="50" y="10"/>
                  </a:lnTo>
                  <a:lnTo>
                    <a:pt x="45" y="13"/>
                  </a:lnTo>
                  <a:lnTo>
                    <a:pt x="39" y="17"/>
                  </a:lnTo>
                  <a:lnTo>
                    <a:pt x="34" y="21"/>
                  </a:lnTo>
                  <a:lnTo>
                    <a:pt x="30" y="26"/>
                  </a:lnTo>
                  <a:lnTo>
                    <a:pt x="26" y="30"/>
                  </a:lnTo>
                  <a:lnTo>
                    <a:pt x="23" y="37"/>
                  </a:lnTo>
                  <a:lnTo>
                    <a:pt x="20" y="42"/>
                  </a:lnTo>
                  <a:lnTo>
                    <a:pt x="18" y="49"/>
                  </a:lnTo>
                  <a:lnTo>
                    <a:pt x="17" y="55"/>
                  </a:lnTo>
                  <a:lnTo>
                    <a:pt x="17" y="63"/>
                  </a:lnTo>
                  <a:lnTo>
                    <a:pt x="18" y="71"/>
                  </a:lnTo>
                  <a:lnTo>
                    <a:pt x="20" y="80"/>
                  </a:lnTo>
                  <a:lnTo>
                    <a:pt x="24" y="86"/>
                  </a:lnTo>
                  <a:lnTo>
                    <a:pt x="29" y="94"/>
                  </a:lnTo>
                  <a:lnTo>
                    <a:pt x="35" y="99"/>
                  </a:lnTo>
                  <a:lnTo>
                    <a:pt x="41" y="104"/>
                  </a:lnTo>
                  <a:lnTo>
                    <a:pt x="49" y="109"/>
                  </a:lnTo>
                  <a:lnTo>
                    <a:pt x="56" y="113"/>
                  </a:lnTo>
                  <a:lnTo>
                    <a:pt x="68" y="119"/>
                  </a:lnTo>
                  <a:lnTo>
                    <a:pt x="76" y="126"/>
                  </a:lnTo>
                  <a:lnTo>
                    <a:pt x="79" y="129"/>
                  </a:lnTo>
                  <a:lnTo>
                    <a:pt x="81" y="133"/>
                  </a:lnTo>
                  <a:lnTo>
                    <a:pt x="82" y="137"/>
                  </a:lnTo>
                  <a:lnTo>
                    <a:pt x="82" y="141"/>
                  </a:lnTo>
                  <a:lnTo>
                    <a:pt x="82" y="146"/>
                  </a:lnTo>
                  <a:lnTo>
                    <a:pt x="81" y="150"/>
                  </a:lnTo>
                  <a:lnTo>
                    <a:pt x="79" y="154"/>
                  </a:lnTo>
                  <a:lnTo>
                    <a:pt x="77" y="157"/>
                  </a:lnTo>
                  <a:lnTo>
                    <a:pt x="74" y="160"/>
                  </a:lnTo>
                  <a:lnTo>
                    <a:pt x="69" y="161"/>
                  </a:lnTo>
                  <a:lnTo>
                    <a:pt x="64" y="162"/>
                  </a:lnTo>
                  <a:lnTo>
                    <a:pt x="59" y="163"/>
                  </a:lnTo>
                  <a:lnTo>
                    <a:pt x="46" y="162"/>
                  </a:lnTo>
                  <a:lnTo>
                    <a:pt x="34" y="159"/>
                  </a:lnTo>
                  <a:lnTo>
                    <a:pt x="22" y="156"/>
                  </a:lnTo>
                  <a:lnTo>
                    <a:pt x="14" y="150"/>
                  </a:lnTo>
                  <a:lnTo>
                    <a:pt x="0" y="184"/>
                  </a:lnTo>
                  <a:lnTo>
                    <a:pt x="8" y="189"/>
                  </a:lnTo>
                  <a:lnTo>
                    <a:pt x="20" y="193"/>
                  </a:lnTo>
                  <a:lnTo>
                    <a:pt x="27" y="195"/>
                  </a:lnTo>
                  <a:lnTo>
                    <a:pt x="36" y="197"/>
                  </a:lnTo>
                  <a:lnTo>
                    <a:pt x="45" y="198"/>
                  </a:lnTo>
                  <a:lnTo>
                    <a:pt x="54" y="198"/>
                  </a:lnTo>
                  <a:lnTo>
                    <a:pt x="62" y="198"/>
                  </a:lnTo>
                  <a:lnTo>
                    <a:pt x="69" y="197"/>
                  </a:lnTo>
                  <a:lnTo>
                    <a:pt x="77" y="195"/>
                  </a:lnTo>
                  <a:lnTo>
                    <a:pt x="83" y="193"/>
                  </a:lnTo>
                  <a:lnTo>
                    <a:pt x="90" y="191"/>
                  </a:lnTo>
                  <a:lnTo>
                    <a:pt x="96" y="189"/>
                  </a:lnTo>
                  <a:lnTo>
                    <a:pt x="101" y="186"/>
                  </a:lnTo>
                  <a:lnTo>
                    <a:pt x="107" y="182"/>
                  </a:lnTo>
                  <a:lnTo>
                    <a:pt x="111" y="177"/>
                  </a:lnTo>
                  <a:lnTo>
                    <a:pt x="114" y="173"/>
                  </a:lnTo>
                  <a:lnTo>
                    <a:pt x="119" y="168"/>
                  </a:lnTo>
                  <a:lnTo>
                    <a:pt x="121" y="161"/>
                  </a:lnTo>
                  <a:lnTo>
                    <a:pt x="123" y="155"/>
                  </a:lnTo>
                  <a:lnTo>
                    <a:pt x="125" y="148"/>
                  </a:lnTo>
                  <a:lnTo>
                    <a:pt x="126" y="141"/>
                  </a:lnTo>
                  <a:lnTo>
                    <a:pt x="126" y="133"/>
                  </a:lnTo>
                  <a:lnTo>
                    <a:pt x="125" y="125"/>
                  </a:lnTo>
                  <a:lnTo>
                    <a:pt x="124" y="117"/>
                  </a:lnTo>
                  <a:lnTo>
                    <a:pt x="121" y="111"/>
                  </a:lnTo>
                  <a:lnTo>
                    <a:pt x="115" y="104"/>
                  </a:lnTo>
                  <a:lnTo>
                    <a:pt x="110" y="98"/>
                  </a:lnTo>
                  <a:lnTo>
                    <a:pt x="104" y="93"/>
                  </a:lnTo>
                  <a:lnTo>
                    <a:pt x="96" y="87"/>
                  </a:lnTo>
                  <a:lnTo>
                    <a:pt x="87" y="83"/>
                  </a:lnTo>
                  <a:lnTo>
                    <a:pt x="8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722" name="Freeform 188">
              <a:extLst>
                <a:ext uri="{FF2B5EF4-FFF2-40B4-BE49-F238E27FC236}">
                  <a16:creationId xmlns:a16="http://schemas.microsoft.com/office/drawing/2014/main" id="{D5103385-CE1D-4CCD-A59D-802EA68BD0B3}"/>
                </a:ext>
              </a:extLst>
            </p:cNvPr>
            <p:cNvSpPr>
              <a:spLocks noEditPoints="1"/>
            </p:cNvSpPr>
            <p:nvPr/>
          </p:nvSpPr>
          <p:spPr bwMode="auto">
            <a:xfrm>
              <a:off x="6629400" y="2051050"/>
              <a:ext cx="53975" cy="61913"/>
            </a:xfrm>
            <a:custGeom>
              <a:avLst/>
              <a:gdLst>
                <a:gd name="T0" fmla="*/ 71 w 168"/>
                <a:gd name="T1" fmla="*/ 122 h 197"/>
                <a:gd name="T2" fmla="*/ 91 w 168"/>
                <a:gd name="T3" fmla="*/ 82 h 197"/>
                <a:gd name="T4" fmla="*/ 95 w 168"/>
                <a:gd name="T5" fmla="*/ 71 h 197"/>
                <a:gd name="T6" fmla="*/ 98 w 168"/>
                <a:gd name="T7" fmla="*/ 59 h 197"/>
                <a:gd name="T8" fmla="*/ 100 w 168"/>
                <a:gd name="T9" fmla="*/ 54 h 197"/>
                <a:gd name="T10" fmla="*/ 102 w 168"/>
                <a:gd name="T11" fmla="*/ 50 h 197"/>
                <a:gd name="T12" fmla="*/ 105 w 168"/>
                <a:gd name="T13" fmla="*/ 47 h 197"/>
                <a:gd name="T14" fmla="*/ 107 w 168"/>
                <a:gd name="T15" fmla="*/ 45 h 197"/>
                <a:gd name="T16" fmla="*/ 107 w 168"/>
                <a:gd name="T17" fmla="*/ 45 h 197"/>
                <a:gd name="T18" fmla="*/ 108 w 168"/>
                <a:gd name="T19" fmla="*/ 50 h 197"/>
                <a:gd name="T20" fmla="*/ 108 w 168"/>
                <a:gd name="T21" fmla="*/ 59 h 197"/>
                <a:gd name="T22" fmla="*/ 109 w 168"/>
                <a:gd name="T23" fmla="*/ 71 h 197"/>
                <a:gd name="T24" fmla="*/ 110 w 168"/>
                <a:gd name="T25" fmla="*/ 82 h 197"/>
                <a:gd name="T26" fmla="*/ 113 w 168"/>
                <a:gd name="T27" fmla="*/ 122 h 197"/>
                <a:gd name="T28" fmla="*/ 71 w 168"/>
                <a:gd name="T29" fmla="*/ 122 h 197"/>
                <a:gd name="T30" fmla="*/ 86 w 168"/>
                <a:gd name="T31" fmla="*/ 0 h 197"/>
                <a:gd name="T32" fmla="*/ 0 w 168"/>
                <a:gd name="T33" fmla="*/ 197 h 197"/>
                <a:gd name="T34" fmla="*/ 44 w 168"/>
                <a:gd name="T35" fmla="*/ 197 h 197"/>
                <a:gd name="T36" fmla="*/ 60 w 168"/>
                <a:gd name="T37" fmla="*/ 137 h 197"/>
                <a:gd name="T38" fmla="*/ 115 w 168"/>
                <a:gd name="T39" fmla="*/ 137 h 197"/>
                <a:gd name="T40" fmla="*/ 125 w 168"/>
                <a:gd name="T41" fmla="*/ 197 h 197"/>
                <a:gd name="T42" fmla="*/ 168 w 168"/>
                <a:gd name="T43" fmla="*/ 197 h 197"/>
                <a:gd name="T44" fmla="*/ 140 w 168"/>
                <a:gd name="T45" fmla="*/ 0 h 197"/>
                <a:gd name="T46" fmla="*/ 86 w 168"/>
                <a:gd name="T47"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97">
                  <a:moveTo>
                    <a:pt x="71" y="122"/>
                  </a:moveTo>
                  <a:lnTo>
                    <a:pt x="91" y="82"/>
                  </a:lnTo>
                  <a:lnTo>
                    <a:pt x="95" y="71"/>
                  </a:lnTo>
                  <a:lnTo>
                    <a:pt x="98" y="59"/>
                  </a:lnTo>
                  <a:lnTo>
                    <a:pt x="100" y="54"/>
                  </a:lnTo>
                  <a:lnTo>
                    <a:pt x="102" y="50"/>
                  </a:lnTo>
                  <a:lnTo>
                    <a:pt x="105" y="47"/>
                  </a:lnTo>
                  <a:lnTo>
                    <a:pt x="107" y="45"/>
                  </a:lnTo>
                  <a:lnTo>
                    <a:pt x="107" y="45"/>
                  </a:lnTo>
                  <a:lnTo>
                    <a:pt x="108" y="50"/>
                  </a:lnTo>
                  <a:lnTo>
                    <a:pt x="108" y="59"/>
                  </a:lnTo>
                  <a:lnTo>
                    <a:pt x="109" y="71"/>
                  </a:lnTo>
                  <a:lnTo>
                    <a:pt x="110" y="82"/>
                  </a:lnTo>
                  <a:lnTo>
                    <a:pt x="113" y="122"/>
                  </a:lnTo>
                  <a:lnTo>
                    <a:pt x="71" y="122"/>
                  </a:lnTo>
                  <a:close/>
                  <a:moveTo>
                    <a:pt x="86" y="0"/>
                  </a:moveTo>
                  <a:lnTo>
                    <a:pt x="0" y="197"/>
                  </a:lnTo>
                  <a:lnTo>
                    <a:pt x="44" y="197"/>
                  </a:lnTo>
                  <a:lnTo>
                    <a:pt x="60" y="137"/>
                  </a:lnTo>
                  <a:lnTo>
                    <a:pt x="115" y="137"/>
                  </a:lnTo>
                  <a:lnTo>
                    <a:pt x="125" y="197"/>
                  </a:lnTo>
                  <a:lnTo>
                    <a:pt x="168" y="197"/>
                  </a:lnTo>
                  <a:lnTo>
                    <a:pt x="140" y="0"/>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1824" name="Group 1073">
            <a:extLst>
              <a:ext uri="{FF2B5EF4-FFF2-40B4-BE49-F238E27FC236}">
                <a16:creationId xmlns:a16="http://schemas.microsoft.com/office/drawing/2014/main" id="{892AF0BB-D4AE-416E-B059-938E08F2D680}"/>
              </a:ext>
            </a:extLst>
          </p:cNvPr>
          <p:cNvGrpSpPr>
            <a:grpSpLocks noChangeAspect="1"/>
          </p:cNvGrpSpPr>
          <p:nvPr/>
        </p:nvGrpSpPr>
        <p:grpSpPr>
          <a:xfrm>
            <a:off x="1080761" y="2724897"/>
            <a:ext cx="277076" cy="285619"/>
            <a:chOff x="3598876" y="2268549"/>
            <a:chExt cx="360365" cy="371477"/>
          </a:xfrm>
          <a:solidFill>
            <a:schemeClr val="bg1"/>
          </a:solidFill>
        </p:grpSpPr>
        <p:sp>
          <p:nvSpPr>
            <p:cNvPr id="1825" name="Freeform 101">
              <a:extLst>
                <a:ext uri="{FF2B5EF4-FFF2-40B4-BE49-F238E27FC236}">
                  <a16:creationId xmlns:a16="http://schemas.microsoft.com/office/drawing/2014/main" id="{219EC6F3-99F5-4D3F-A3AC-5E90AB14E529}"/>
                </a:ext>
              </a:extLst>
            </p:cNvPr>
            <p:cNvSpPr>
              <a:spLocks/>
            </p:cNvSpPr>
            <p:nvPr/>
          </p:nvSpPr>
          <p:spPr bwMode="auto">
            <a:xfrm>
              <a:off x="3657615" y="2268549"/>
              <a:ext cx="301626" cy="239714"/>
            </a:xfrm>
            <a:custGeom>
              <a:avLst/>
              <a:gdLst>
                <a:gd name="T0" fmla="*/ 15 w 78"/>
                <a:gd name="T1" fmla="*/ 62 h 62"/>
                <a:gd name="T2" fmla="*/ 14 w 78"/>
                <a:gd name="T3" fmla="*/ 62 h 62"/>
                <a:gd name="T4" fmla="*/ 6 w 78"/>
                <a:gd name="T5" fmla="*/ 22 h 62"/>
                <a:gd name="T6" fmla="*/ 39 w 78"/>
                <a:gd name="T7" fmla="*/ 0 h 62"/>
                <a:gd name="T8" fmla="*/ 72 w 78"/>
                <a:gd name="T9" fmla="*/ 22 h 62"/>
                <a:gd name="T10" fmla="*/ 64 w 78"/>
                <a:gd name="T11" fmla="*/ 61 h 62"/>
                <a:gd name="T12" fmla="*/ 62 w 78"/>
                <a:gd name="T13" fmla="*/ 61 h 62"/>
                <a:gd name="T14" fmla="*/ 62 w 78"/>
                <a:gd name="T15" fmla="*/ 59 h 62"/>
                <a:gd name="T16" fmla="*/ 68 w 78"/>
                <a:gd name="T17" fmla="*/ 24 h 62"/>
                <a:gd name="T18" fmla="*/ 39 w 78"/>
                <a:gd name="T19" fmla="*/ 4 h 62"/>
                <a:gd name="T20" fmla="*/ 9 w 78"/>
                <a:gd name="T21" fmla="*/ 24 h 62"/>
                <a:gd name="T22" fmla="*/ 17 w 78"/>
                <a:gd name="T23" fmla="*/ 59 h 62"/>
                <a:gd name="T24" fmla="*/ 17 w 78"/>
                <a:gd name="T25" fmla="*/ 62 h 62"/>
                <a:gd name="T26" fmla="*/ 15 w 78"/>
                <a:gd name="T2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62">
                  <a:moveTo>
                    <a:pt x="15" y="62"/>
                  </a:moveTo>
                  <a:cubicBezTo>
                    <a:pt x="15" y="62"/>
                    <a:pt x="14" y="62"/>
                    <a:pt x="14" y="62"/>
                  </a:cubicBezTo>
                  <a:cubicBezTo>
                    <a:pt x="3" y="51"/>
                    <a:pt x="0" y="36"/>
                    <a:pt x="6" y="22"/>
                  </a:cubicBezTo>
                  <a:cubicBezTo>
                    <a:pt x="11" y="9"/>
                    <a:pt x="24" y="0"/>
                    <a:pt x="39" y="0"/>
                  </a:cubicBezTo>
                  <a:cubicBezTo>
                    <a:pt x="54" y="0"/>
                    <a:pt x="67" y="9"/>
                    <a:pt x="72" y="22"/>
                  </a:cubicBezTo>
                  <a:cubicBezTo>
                    <a:pt x="78" y="36"/>
                    <a:pt x="75" y="51"/>
                    <a:pt x="64" y="61"/>
                  </a:cubicBezTo>
                  <a:cubicBezTo>
                    <a:pt x="64" y="62"/>
                    <a:pt x="62" y="62"/>
                    <a:pt x="62" y="61"/>
                  </a:cubicBezTo>
                  <a:cubicBezTo>
                    <a:pt x="61" y="61"/>
                    <a:pt x="61" y="59"/>
                    <a:pt x="62" y="59"/>
                  </a:cubicBezTo>
                  <a:cubicBezTo>
                    <a:pt x="71" y="49"/>
                    <a:pt x="74" y="36"/>
                    <a:pt x="68" y="24"/>
                  </a:cubicBezTo>
                  <a:cubicBezTo>
                    <a:pt x="63" y="12"/>
                    <a:pt x="52" y="4"/>
                    <a:pt x="39" y="4"/>
                  </a:cubicBezTo>
                  <a:cubicBezTo>
                    <a:pt x="26" y="4"/>
                    <a:pt x="14" y="12"/>
                    <a:pt x="9" y="24"/>
                  </a:cubicBezTo>
                  <a:cubicBezTo>
                    <a:pt x="4" y="36"/>
                    <a:pt x="7" y="50"/>
                    <a:pt x="17" y="59"/>
                  </a:cubicBezTo>
                  <a:cubicBezTo>
                    <a:pt x="17" y="60"/>
                    <a:pt x="17" y="61"/>
                    <a:pt x="17" y="62"/>
                  </a:cubicBezTo>
                  <a:cubicBezTo>
                    <a:pt x="16" y="62"/>
                    <a:pt x="16" y="62"/>
                    <a:pt x="1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6" name="Freeform 102">
              <a:extLst>
                <a:ext uri="{FF2B5EF4-FFF2-40B4-BE49-F238E27FC236}">
                  <a16:creationId xmlns:a16="http://schemas.microsoft.com/office/drawing/2014/main" id="{4031F72F-97BA-4065-BFE5-38EB8FFAAE65}"/>
                </a:ext>
              </a:extLst>
            </p:cNvPr>
            <p:cNvSpPr>
              <a:spLocks/>
            </p:cNvSpPr>
            <p:nvPr/>
          </p:nvSpPr>
          <p:spPr bwMode="auto">
            <a:xfrm>
              <a:off x="3800490" y="2454288"/>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0"/>
                    <a:pt x="1" y="0"/>
                    <a:pt x="2" y="0"/>
                  </a:cubicBezTo>
                  <a:cubicBezTo>
                    <a:pt x="3" y="0"/>
                    <a:pt x="4" y="0"/>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7" name="Freeform 103">
              <a:extLst>
                <a:ext uri="{FF2B5EF4-FFF2-40B4-BE49-F238E27FC236}">
                  <a16:creationId xmlns:a16="http://schemas.microsoft.com/office/drawing/2014/main" id="{70E6555F-24ED-4B51-AAA4-424446E5D02C}"/>
                </a:ext>
              </a:extLst>
            </p:cNvPr>
            <p:cNvSpPr>
              <a:spLocks/>
            </p:cNvSpPr>
            <p:nvPr/>
          </p:nvSpPr>
          <p:spPr bwMode="auto">
            <a:xfrm>
              <a:off x="3800490" y="2330462"/>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8"/>
                    <a:pt x="0" y="6"/>
                  </a:cubicBezTo>
                  <a:cubicBezTo>
                    <a:pt x="0" y="2"/>
                    <a:pt x="0" y="2"/>
                    <a:pt x="0" y="2"/>
                  </a:cubicBezTo>
                  <a:cubicBezTo>
                    <a:pt x="0" y="1"/>
                    <a:pt x="1" y="0"/>
                    <a:pt x="2" y="0"/>
                  </a:cubicBezTo>
                  <a:cubicBezTo>
                    <a:pt x="3" y="0"/>
                    <a:pt x="4" y="1"/>
                    <a:pt x="4" y="2"/>
                  </a:cubicBezTo>
                  <a:cubicBezTo>
                    <a:pt x="4" y="6"/>
                    <a:pt x="4" y="6"/>
                    <a:pt x="4" y="6"/>
                  </a:cubicBezTo>
                  <a:cubicBezTo>
                    <a:pt x="4"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8" name="Freeform 104">
              <a:extLst>
                <a:ext uri="{FF2B5EF4-FFF2-40B4-BE49-F238E27FC236}">
                  <a16:creationId xmlns:a16="http://schemas.microsoft.com/office/drawing/2014/main" id="{BBF6BA52-01FC-4E11-A789-682AED4C3297}"/>
                </a:ext>
              </a:extLst>
            </p:cNvPr>
            <p:cNvSpPr>
              <a:spLocks/>
            </p:cNvSpPr>
            <p:nvPr/>
          </p:nvSpPr>
          <p:spPr bwMode="auto">
            <a:xfrm>
              <a:off x="3773501" y="2346338"/>
              <a:ext cx="69850" cy="123826"/>
            </a:xfrm>
            <a:custGeom>
              <a:avLst/>
              <a:gdLst>
                <a:gd name="T0" fmla="*/ 9 w 18"/>
                <a:gd name="T1" fmla="*/ 32 h 32"/>
                <a:gd name="T2" fmla="*/ 0 w 18"/>
                <a:gd name="T3" fmla="*/ 23 h 32"/>
                <a:gd name="T4" fmla="*/ 2 w 18"/>
                <a:gd name="T5" fmla="*/ 21 h 32"/>
                <a:gd name="T6" fmla="*/ 4 w 18"/>
                <a:gd name="T7" fmla="*/ 23 h 32"/>
                <a:gd name="T8" fmla="*/ 9 w 18"/>
                <a:gd name="T9" fmla="*/ 28 h 32"/>
                <a:gd name="T10" fmla="*/ 14 w 18"/>
                <a:gd name="T11" fmla="*/ 23 h 32"/>
                <a:gd name="T12" fmla="*/ 9 w 18"/>
                <a:gd name="T13" fmla="*/ 18 h 32"/>
                <a:gd name="T14" fmla="*/ 0 w 18"/>
                <a:gd name="T15" fmla="*/ 9 h 32"/>
                <a:gd name="T16" fmla="*/ 9 w 18"/>
                <a:gd name="T17" fmla="*/ 0 h 32"/>
                <a:gd name="T18" fmla="*/ 18 w 18"/>
                <a:gd name="T19" fmla="*/ 9 h 32"/>
                <a:gd name="T20" fmla="*/ 16 w 18"/>
                <a:gd name="T21" fmla="*/ 11 h 32"/>
                <a:gd name="T22" fmla="*/ 14 w 18"/>
                <a:gd name="T23" fmla="*/ 9 h 32"/>
                <a:gd name="T24" fmla="*/ 9 w 18"/>
                <a:gd name="T25" fmla="*/ 4 h 32"/>
                <a:gd name="T26" fmla="*/ 4 w 18"/>
                <a:gd name="T27" fmla="*/ 9 h 32"/>
                <a:gd name="T28" fmla="*/ 9 w 18"/>
                <a:gd name="T29" fmla="*/ 14 h 32"/>
                <a:gd name="T30" fmla="*/ 18 w 18"/>
                <a:gd name="T31" fmla="*/ 23 h 32"/>
                <a:gd name="T32" fmla="*/ 9 w 18"/>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2">
                  <a:moveTo>
                    <a:pt x="9" y="32"/>
                  </a:moveTo>
                  <a:cubicBezTo>
                    <a:pt x="4" y="32"/>
                    <a:pt x="0" y="28"/>
                    <a:pt x="0" y="23"/>
                  </a:cubicBezTo>
                  <a:cubicBezTo>
                    <a:pt x="0" y="22"/>
                    <a:pt x="1" y="21"/>
                    <a:pt x="2" y="21"/>
                  </a:cubicBezTo>
                  <a:cubicBezTo>
                    <a:pt x="3" y="21"/>
                    <a:pt x="4" y="22"/>
                    <a:pt x="4" y="23"/>
                  </a:cubicBezTo>
                  <a:cubicBezTo>
                    <a:pt x="4" y="25"/>
                    <a:pt x="6" y="28"/>
                    <a:pt x="9" y="28"/>
                  </a:cubicBezTo>
                  <a:cubicBezTo>
                    <a:pt x="12" y="28"/>
                    <a:pt x="14" y="25"/>
                    <a:pt x="14" y="23"/>
                  </a:cubicBezTo>
                  <a:cubicBezTo>
                    <a:pt x="14" y="20"/>
                    <a:pt x="12" y="18"/>
                    <a:pt x="9" y="18"/>
                  </a:cubicBezTo>
                  <a:cubicBezTo>
                    <a:pt x="4" y="18"/>
                    <a:pt x="0" y="14"/>
                    <a:pt x="0" y="9"/>
                  </a:cubicBezTo>
                  <a:cubicBezTo>
                    <a:pt x="0" y="4"/>
                    <a:pt x="4" y="0"/>
                    <a:pt x="9" y="0"/>
                  </a:cubicBezTo>
                  <a:cubicBezTo>
                    <a:pt x="14" y="0"/>
                    <a:pt x="18" y="4"/>
                    <a:pt x="18" y="9"/>
                  </a:cubicBezTo>
                  <a:cubicBezTo>
                    <a:pt x="18" y="10"/>
                    <a:pt x="17" y="11"/>
                    <a:pt x="16" y="11"/>
                  </a:cubicBezTo>
                  <a:cubicBezTo>
                    <a:pt x="15" y="11"/>
                    <a:pt x="14" y="10"/>
                    <a:pt x="14" y="9"/>
                  </a:cubicBezTo>
                  <a:cubicBezTo>
                    <a:pt x="14" y="7"/>
                    <a:pt x="12" y="4"/>
                    <a:pt x="9" y="4"/>
                  </a:cubicBezTo>
                  <a:cubicBezTo>
                    <a:pt x="6" y="4"/>
                    <a:pt x="4" y="7"/>
                    <a:pt x="4" y="9"/>
                  </a:cubicBezTo>
                  <a:cubicBezTo>
                    <a:pt x="4" y="12"/>
                    <a:pt x="6" y="14"/>
                    <a:pt x="9" y="14"/>
                  </a:cubicBezTo>
                  <a:cubicBezTo>
                    <a:pt x="14" y="14"/>
                    <a:pt x="18" y="18"/>
                    <a:pt x="18" y="23"/>
                  </a:cubicBezTo>
                  <a:cubicBezTo>
                    <a:pt x="18" y="28"/>
                    <a:pt x="14" y="32"/>
                    <a:pt x="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29" name="Freeform 105">
              <a:extLst>
                <a:ext uri="{FF2B5EF4-FFF2-40B4-BE49-F238E27FC236}">
                  <a16:creationId xmlns:a16="http://schemas.microsoft.com/office/drawing/2014/main" id="{1CEDF4C0-A2DD-4394-A7FE-4A9F9122F471}"/>
                </a:ext>
              </a:extLst>
            </p:cNvPr>
            <p:cNvSpPr>
              <a:spLocks/>
            </p:cNvSpPr>
            <p:nvPr/>
          </p:nvSpPr>
          <p:spPr bwMode="auto">
            <a:xfrm>
              <a:off x="3598876" y="2454287"/>
              <a:ext cx="349251" cy="185739"/>
            </a:xfrm>
            <a:custGeom>
              <a:avLst/>
              <a:gdLst>
                <a:gd name="T0" fmla="*/ 88 w 90"/>
                <a:gd name="T1" fmla="*/ 48 h 48"/>
                <a:gd name="T2" fmla="*/ 87 w 90"/>
                <a:gd name="T3" fmla="*/ 47 h 48"/>
                <a:gd name="T4" fmla="*/ 58 w 90"/>
                <a:gd name="T5" fmla="*/ 21 h 48"/>
                <a:gd name="T6" fmla="*/ 39 w 90"/>
                <a:gd name="T7" fmla="*/ 36 h 48"/>
                <a:gd name="T8" fmla="*/ 37 w 90"/>
                <a:gd name="T9" fmla="*/ 35 h 48"/>
                <a:gd name="T10" fmla="*/ 1 w 90"/>
                <a:gd name="T11" fmla="*/ 3 h 48"/>
                <a:gd name="T12" fmla="*/ 1 w 90"/>
                <a:gd name="T13" fmla="*/ 1 h 48"/>
                <a:gd name="T14" fmla="*/ 3 w 90"/>
                <a:gd name="T15" fmla="*/ 1 h 48"/>
                <a:gd name="T16" fmla="*/ 38 w 90"/>
                <a:gd name="T17" fmla="*/ 31 h 48"/>
                <a:gd name="T18" fmla="*/ 57 w 90"/>
                <a:gd name="T19" fmla="*/ 16 h 48"/>
                <a:gd name="T20" fmla="*/ 59 w 90"/>
                <a:gd name="T21" fmla="*/ 17 h 48"/>
                <a:gd name="T22" fmla="*/ 89 w 90"/>
                <a:gd name="T23" fmla="*/ 45 h 48"/>
                <a:gd name="T24" fmla="*/ 89 w 90"/>
                <a:gd name="T25" fmla="*/ 47 h 48"/>
                <a:gd name="T26" fmla="*/ 88 w 90"/>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48">
                  <a:moveTo>
                    <a:pt x="88" y="48"/>
                  </a:moveTo>
                  <a:cubicBezTo>
                    <a:pt x="88" y="48"/>
                    <a:pt x="87" y="48"/>
                    <a:pt x="87" y="47"/>
                  </a:cubicBezTo>
                  <a:cubicBezTo>
                    <a:pt x="58" y="21"/>
                    <a:pt x="58" y="21"/>
                    <a:pt x="58" y="21"/>
                  </a:cubicBezTo>
                  <a:cubicBezTo>
                    <a:pt x="39" y="36"/>
                    <a:pt x="39" y="36"/>
                    <a:pt x="39" y="36"/>
                  </a:cubicBezTo>
                  <a:cubicBezTo>
                    <a:pt x="38" y="36"/>
                    <a:pt x="37" y="36"/>
                    <a:pt x="37" y="35"/>
                  </a:cubicBezTo>
                  <a:cubicBezTo>
                    <a:pt x="1" y="3"/>
                    <a:pt x="1" y="3"/>
                    <a:pt x="1" y="3"/>
                  </a:cubicBezTo>
                  <a:cubicBezTo>
                    <a:pt x="0" y="3"/>
                    <a:pt x="0" y="1"/>
                    <a:pt x="1" y="1"/>
                  </a:cubicBezTo>
                  <a:cubicBezTo>
                    <a:pt x="1" y="0"/>
                    <a:pt x="3" y="0"/>
                    <a:pt x="3" y="1"/>
                  </a:cubicBezTo>
                  <a:cubicBezTo>
                    <a:pt x="38" y="31"/>
                    <a:pt x="38" y="31"/>
                    <a:pt x="38" y="31"/>
                  </a:cubicBezTo>
                  <a:cubicBezTo>
                    <a:pt x="57" y="16"/>
                    <a:pt x="57" y="16"/>
                    <a:pt x="57" y="16"/>
                  </a:cubicBezTo>
                  <a:cubicBezTo>
                    <a:pt x="58" y="16"/>
                    <a:pt x="59" y="16"/>
                    <a:pt x="59" y="17"/>
                  </a:cubicBezTo>
                  <a:cubicBezTo>
                    <a:pt x="89" y="45"/>
                    <a:pt x="89" y="45"/>
                    <a:pt x="89" y="45"/>
                  </a:cubicBezTo>
                  <a:cubicBezTo>
                    <a:pt x="90" y="45"/>
                    <a:pt x="90" y="47"/>
                    <a:pt x="89" y="47"/>
                  </a:cubicBezTo>
                  <a:cubicBezTo>
                    <a:pt x="89" y="48"/>
                    <a:pt x="89" y="48"/>
                    <a:pt x="8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30" name="Freeform 106">
              <a:extLst>
                <a:ext uri="{FF2B5EF4-FFF2-40B4-BE49-F238E27FC236}">
                  <a16:creationId xmlns:a16="http://schemas.microsoft.com/office/drawing/2014/main" id="{A6294328-078C-4537-BE63-558550EE9E3F}"/>
                </a:ext>
              </a:extLst>
            </p:cNvPr>
            <p:cNvSpPr>
              <a:spLocks/>
            </p:cNvSpPr>
            <p:nvPr/>
          </p:nvSpPr>
          <p:spPr bwMode="auto">
            <a:xfrm>
              <a:off x="3870326" y="2562226"/>
              <a:ext cx="77788" cy="77788"/>
            </a:xfrm>
            <a:custGeom>
              <a:avLst/>
              <a:gdLst>
                <a:gd name="T0" fmla="*/ 18 w 20"/>
                <a:gd name="T1" fmla="*/ 20 h 20"/>
                <a:gd name="T2" fmla="*/ 2 w 20"/>
                <a:gd name="T3" fmla="*/ 20 h 20"/>
                <a:gd name="T4" fmla="*/ 0 w 20"/>
                <a:gd name="T5" fmla="*/ 18 h 20"/>
                <a:gd name="T6" fmla="*/ 2 w 20"/>
                <a:gd name="T7" fmla="*/ 16 h 20"/>
                <a:gd name="T8" fmla="*/ 16 w 20"/>
                <a:gd name="T9" fmla="*/ 16 h 20"/>
                <a:gd name="T10" fmla="*/ 16 w 20"/>
                <a:gd name="T11" fmla="*/ 2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2" y="20"/>
                    <a:pt x="2" y="20"/>
                    <a:pt x="2" y="20"/>
                  </a:cubicBezTo>
                  <a:cubicBezTo>
                    <a:pt x="1" y="20"/>
                    <a:pt x="0" y="19"/>
                    <a:pt x="0" y="18"/>
                  </a:cubicBezTo>
                  <a:cubicBezTo>
                    <a:pt x="0" y="17"/>
                    <a:pt x="1" y="16"/>
                    <a:pt x="2" y="16"/>
                  </a:cubicBezTo>
                  <a:cubicBezTo>
                    <a:pt x="16" y="16"/>
                    <a:pt x="16" y="16"/>
                    <a:pt x="16" y="16"/>
                  </a:cubicBezTo>
                  <a:cubicBezTo>
                    <a:pt x="16" y="2"/>
                    <a:pt x="16" y="2"/>
                    <a:pt x="16" y="2"/>
                  </a:cubicBezTo>
                  <a:cubicBezTo>
                    <a:pt x="16" y="1"/>
                    <a:pt x="17"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857" name="Group 18">
            <a:extLst>
              <a:ext uri="{FF2B5EF4-FFF2-40B4-BE49-F238E27FC236}">
                <a16:creationId xmlns:a16="http://schemas.microsoft.com/office/drawing/2014/main" id="{72627A69-DE68-4A95-B814-15036451F788}"/>
              </a:ext>
            </a:extLst>
          </p:cNvPr>
          <p:cNvGrpSpPr>
            <a:grpSpLocks noChangeAspect="1"/>
          </p:cNvGrpSpPr>
          <p:nvPr/>
        </p:nvGrpSpPr>
        <p:grpSpPr>
          <a:xfrm>
            <a:off x="1893888" y="2724897"/>
            <a:ext cx="285619" cy="285619"/>
            <a:chOff x="6997700" y="723900"/>
            <a:chExt cx="360363" cy="360363"/>
          </a:xfrm>
          <a:solidFill>
            <a:schemeClr val="bg1"/>
          </a:solidFill>
          <a:effectLst/>
        </p:grpSpPr>
        <p:sp>
          <p:nvSpPr>
            <p:cNvPr id="1858" name="Freeform 1465">
              <a:extLst>
                <a:ext uri="{FF2B5EF4-FFF2-40B4-BE49-F238E27FC236}">
                  <a16:creationId xmlns:a16="http://schemas.microsoft.com/office/drawing/2014/main" id="{8DC16C74-686F-4FF6-9F3F-666FCEF6682A}"/>
                </a:ext>
              </a:extLst>
            </p:cNvPr>
            <p:cNvSpPr>
              <a:spLocks/>
            </p:cNvSpPr>
            <p:nvPr/>
          </p:nvSpPr>
          <p:spPr bwMode="auto">
            <a:xfrm>
              <a:off x="7118350" y="889000"/>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59" name="Freeform 1466">
              <a:extLst>
                <a:ext uri="{FF2B5EF4-FFF2-40B4-BE49-F238E27FC236}">
                  <a16:creationId xmlns:a16="http://schemas.microsoft.com/office/drawing/2014/main" id="{63132EF3-5444-425D-98F2-727040C8CA10}"/>
                </a:ext>
              </a:extLst>
            </p:cNvPr>
            <p:cNvSpPr>
              <a:spLocks/>
            </p:cNvSpPr>
            <p:nvPr/>
          </p:nvSpPr>
          <p:spPr bwMode="auto">
            <a:xfrm>
              <a:off x="7118350" y="784225"/>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0" name="Freeform 1467">
              <a:extLst>
                <a:ext uri="{FF2B5EF4-FFF2-40B4-BE49-F238E27FC236}">
                  <a16:creationId xmlns:a16="http://schemas.microsoft.com/office/drawing/2014/main" id="{007AB05E-4B2B-43E4-B68E-F6AE0C4FE17A}"/>
                </a:ext>
              </a:extLst>
            </p:cNvPr>
            <p:cNvSpPr>
              <a:spLocks/>
            </p:cNvSpPr>
            <p:nvPr/>
          </p:nvSpPr>
          <p:spPr bwMode="auto">
            <a:xfrm>
              <a:off x="7096125" y="798513"/>
              <a:ext cx="58738" cy="106363"/>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1" name="Freeform 1468">
              <a:extLst>
                <a:ext uri="{FF2B5EF4-FFF2-40B4-BE49-F238E27FC236}">
                  <a16:creationId xmlns:a16="http://schemas.microsoft.com/office/drawing/2014/main" id="{53AD6A42-570D-4B56-8247-74B1BE0A964F}"/>
                </a:ext>
              </a:extLst>
            </p:cNvPr>
            <p:cNvSpPr>
              <a:spLocks noEditPoints="1"/>
            </p:cNvSpPr>
            <p:nvPr/>
          </p:nvSpPr>
          <p:spPr bwMode="auto">
            <a:xfrm>
              <a:off x="6997700" y="723900"/>
              <a:ext cx="255588" cy="255588"/>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2" name="Freeform 1469">
              <a:extLst>
                <a:ext uri="{FF2B5EF4-FFF2-40B4-BE49-F238E27FC236}">
                  <a16:creationId xmlns:a16="http://schemas.microsoft.com/office/drawing/2014/main" id="{37CCE590-D461-4F37-916F-E5E77D304296}"/>
                </a:ext>
              </a:extLst>
            </p:cNvPr>
            <p:cNvSpPr>
              <a:spLocks/>
            </p:cNvSpPr>
            <p:nvPr/>
          </p:nvSpPr>
          <p:spPr bwMode="auto">
            <a:xfrm>
              <a:off x="7200900" y="927100"/>
              <a:ext cx="157163" cy="15716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63" name="Group 24">
            <a:extLst>
              <a:ext uri="{FF2B5EF4-FFF2-40B4-BE49-F238E27FC236}">
                <a16:creationId xmlns:a16="http://schemas.microsoft.com/office/drawing/2014/main" id="{FCA45ED6-0907-4BA0-A1CD-A8BD16F533E1}"/>
              </a:ext>
            </a:extLst>
          </p:cNvPr>
          <p:cNvGrpSpPr>
            <a:grpSpLocks noChangeAspect="1"/>
          </p:cNvGrpSpPr>
          <p:nvPr/>
        </p:nvGrpSpPr>
        <p:grpSpPr>
          <a:xfrm>
            <a:off x="2732382" y="2724897"/>
            <a:ext cx="293373" cy="285619"/>
            <a:chOff x="4113213" y="727075"/>
            <a:chExt cx="360363" cy="350838"/>
          </a:xfrm>
          <a:solidFill>
            <a:schemeClr val="bg1"/>
          </a:solidFill>
          <a:effectLst/>
        </p:grpSpPr>
        <p:sp>
          <p:nvSpPr>
            <p:cNvPr id="1864" name="Freeform 1724">
              <a:extLst>
                <a:ext uri="{FF2B5EF4-FFF2-40B4-BE49-F238E27FC236}">
                  <a16:creationId xmlns:a16="http://schemas.microsoft.com/office/drawing/2014/main" id="{DFF11C00-DD60-41C6-A5E8-2EFD73CCFFD9}"/>
                </a:ext>
              </a:extLst>
            </p:cNvPr>
            <p:cNvSpPr>
              <a:spLocks/>
            </p:cNvSpPr>
            <p:nvPr/>
          </p:nvSpPr>
          <p:spPr bwMode="auto">
            <a:xfrm>
              <a:off x="4273550" y="727075"/>
              <a:ext cx="49213" cy="95250"/>
            </a:xfrm>
            <a:custGeom>
              <a:avLst/>
              <a:gdLst>
                <a:gd name="T0" fmla="*/ 3 w 13"/>
                <a:gd name="T1" fmla="*/ 25 h 25"/>
                <a:gd name="T2" fmla="*/ 1 w 13"/>
                <a:gd name="T3" fmla="*/ 25 h 25"/>
                <a:gd name="T4" fmla="*/ 1 w 13"/>
                <a:gd name="T5" fmla="*/ 22 h 25"/>
                <a:gd name="T6" fmla="*/ 8 w 13"/>
                <a:gd name="T7" fmla="*/ 13 h 25"/>
                <a:gd name="T8" fmla="*/ 1 w 13"/>
                <a:gd name="T9" fmla="*/ 4 h 25"/>
                <a:gd name="T10" fmla="*/ 1 w 13"/>
                <a:gd name="T11" fmla="*/ 1 h 25"/>
                <a:gd name="T12" fmla="*/ 4 w 13"/>
                <a:gd name="T13" fmla="*/ 1 h 25"/>
                <a:gd name="T14" fmla="*/ 12 w 13"/>
                <a:gd name="T15" fmla="*/ 12 h 25"/>
                <a:gd name="T16" fmla="*/ 12 w 13"/>
                <a:gd name="T17" fmla="*/ 14 h 25"/>
                <a:gd name="T18" fmla="*/ 4 w 13"/>
                <a:gd name="T19" fmla="*/ 25 h 25"/>
                <a:gd name="T20" fmla="*/ 3 w 13"/>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3" y="25"/>
                  </a:moveTo>
                  <a:cubicBezTo>
                    <a:pt x="2" y="25"/>
                    <a:pt x="2" y="25"/>
                    <a:pt x="1" y="25"/>
                  </a:cubicBezTo>
                  <a:cubicBezTo>
                    <a:pt x="1" y="24"/>
                    <a:pt x="0" y="23"/>
                    <a:pt x="1" y="22"/>
                  </a:cubicBezTo>
                  <a:cubicBezTo>
                    <a:pt x="8" y="13"/>
                    <a:pt x="8" y="13"/>
                    <a:pt x="8" y="13"/>
                  </a:cubicBezTo>
                  <a:cubicBezTo>
                    <a:pt x="1" y="4"/>
                    <a:pt x="1" y="4"/>
                    <a:pt x="1" y="4"/>
                  </a:cubicBezTo>
                  <a:cubicBezTo>
                    <a:pt x="0" y="3"/>
                    <a:pt x="1" y="2"/>
                    <a:pt x="1" y="1"/>
                  </a:cubicBezTo>
                  <a:cubicBezTo>
                    <a:pt x="2" y="0"/>
                    <a:pt x="4" y="1"/>
                    <a:pt x="4" y="1"/>
                  </a:cubicBezTo>
                  <a:cubicBezTo>
                    <a:pt x="12" y="12"/>
                    <a:pt x="12" y="12"/>
                    <a:pt x="12" y="12"/>
                  </a:cubicBezTo>
                  <a:cubicBezTo>
                    <a:pt x="13" y="12"/>
                    <a:pt x="13" y="14"/>
                    <a:pt x="12" y="14"/>
                  </a:cubicBezTo>
                  <a:cubicBezTo>
                    <a:pt x="4" y="25"/>
                    <a:pt x="4" y="25"/>
                    <a:pt x="4" y="25"/>
                  </a:cubicBezTo>
                  <a:cubicBezTo>
                    <a:pt x="4" y="25"/>
                    <a:pt x="3" y="25"/>
                    <a:pt x="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5" name="Freeform 1725">
              <a:extLst>
                <a:ext uri="{FF2B5EF4-FFF2-40B4-BE49-F238E27FC236}">
                  <a16:creationId xmlns:a16="http://schemas.microsoft.com/office/drawing/2014/main" id="{9DCEF898-DA83-4D41-8E39-D946401B1694}"/>
                </a:ext>
              </a:extLst>
            </p:cNvPr>
            <p:cNvSpPr>
              <a:spLocks/>
            </p:cNvSpPr>
            <p:nvPr/>
          </p:nvSpPr>
          <p:spPr bwMode="auto">
            <a:xfrm>
              <a:off x="4248150" y="768350"/>
              <a:ext cx="74613"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6" name="Freeform 1726">
              <a:extLst>
                <a:ext uri="{FF2B5EF4-FFF2-40B4-BE49-F238E27FC236}">
                  <a16:creationId xmlns:a16="http://schemas.microsoft.com/office/drawing/2014/main" id="{A9C263CB-525A-464B-BB51-FAF4F678F0D4}"/>
                </a:ext>
              </a:extLst>
            </p:cNvPr>
            <p:cNvSpPr>
              <a:spLocks/>
            </p:cNvSpPr>
            <p:nvPr/>
          </p:nvSpPr>
          <p:spPr bwMode="auto">
            <a:xfrm>
              <a:off x="4248150" y="982663"/>
              <a:ext cx="44450" cy="95250"/>
            </a:xfrm>
            <a:custGeom>
              <a:avLst/>
              <a:gdLst>
                <a:gd name="T0" fmla="*/ 10 w 12"/>
                <a:gd name="T1" fmla="*/ 25 h 25"/>
                <a:gd name="T2" fmla="*/ 9 w 12"/>
                <a:gd name="T3" fmla="*/ 25 h 25"/>
                <a:gd name="T4" fmla="*/ 0 w 12"/>
                <a:gd name="T5" fmla="*/ 14 h 25"/>
                <a:gd name="T6" fmla="*/ 0 w 12"/>
                <a:gd name="T7" fmla="*/ 12 h 25"/>
                <a:gd name="T8" fmla="*/ 9 w 12"/>
                <a:gd name="T9" fmla="*/ 1 h 25"/>
                <a:gd name="T10" fmla="*/ 11 w 12"/>
                <a:gd name="T11" fmla="*/ 1 h 25"/>
                <a:gd name="T12" fmla="*/ 12 w 12"/>
                <a:gd name="T13" fmla="*/ 4 h 25"/>
                <a:gd name="T14" fmla="*/ 4 w 12"/>
                <a:gd name="T15" fmla="*/ 13 h 25"/>
                <a:gd name="T16" fmla="*/ 12 w 12"/>
                <a:gd name="T17" fmla="*/ 22 h 25"/>
                <a:gd name="T18" fmla="*/ 11 w 12"/>
                <a:gd name="T19" fmla="*/ 25 h 25"/>
                <a:gd name="T20" fmla="*/ 10 w 12"/>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5">
                  <a:moveTo>
                    <a:pt x="10" y="25"/>
                  </a:moveTo>
                  <a:cubicBezTo>
                    <a:pt x="10" y="25"/>
                    <a:pt x="9" y="25"/>
                    <a:pt x="9" y="25"/>
                  </a:cubicBezTo>
                  <a:cubicBezTo>
                    <a:pt x="0" y="14"/>
                    <a:pt x="0" y="14"/>
                    <a:pt x="0" y="14"/>
                  </a:cubicBezTo>
                  <a:cubicBezTo>
                    <a:pt x="0" y="14"/>
                    <a:pt x="0" y="12"/>
                    <a:pt x="0" y="12"/>
                  </a:cubicBezTo>
                  <a:cubicBezTo>
                    <a:pt x="9" y="1"/>
                    <a:pt x="9" y="1"/>
                    <a:pt x="9" y="1"/>
                  </a:cubicBezTo>
                  <a:cubicBezTo>
                    <a:pt x="9" y="1"/>
                    <a:pt x="11" y="0"/>
                    <a:pt x="11" y="1"/>
                  </a:cubicBezTo>
                  <a:cubicBezTo>
                    <a:pt x="12" y="2"/>
                    <a:pt x="12" y="3"/>
                    <a:pt x="12" y="4"/>
                  </a:cubicBezTo>
                  <a:cubicBezTo>
                    <a:pt x="4" y="13"/>
                    <a:pt x="4" y="13"/>
                    <a:pt x="4" y="13"/>
                  </a:cubicBezTo>
                  <a:cubicBezTo>
                    <a:pt x="12" y="22"/>
                    <a:pt x="12" y="22"/>
                    <a:pt x="12" y="22"/>
                  </a:cubicBezTo>
                  <a:cubicBezTo>
                    <a:pt x="12" y="23"/>
                    <a:pt x="12" y="24"/>
                    <a:pt x="11" y="25"/>
                  </a:cubicBezTo>
                  <a:cubicBezTo>
                    <a:pt x="11" y="25"/>
                    <a:pt x="11" y="25"/>
                    <a:pt x="1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7" name="Freeform 1727">
              <a:extLst>
                <a:ext uri="{FF2B5EF4-FFF2-40B4-BE49-F238E27FC236}">
                  <a16:creationId xmlns:a16="http://schemas.microsoft.com/office/drawing/2014/main" id="{46526071-09E3-41ED-A295-2F31F53A9E57}"/>
                </a:ext>
              </a:extLst>
            </p:cNvPr>
            <p:cNvSpPr>
              <a:spLocks/>
            </p:cNvSpPr>
            <p:nvPr/>
          </p:nvSpPr>
          <p:spPr bwMode="auto">
            <a:xfrm>
              <a:off x="4248150" y="1023938"/>
              <a:ext cx="74613"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8" name="Freeform 1728">
              <a:extLst>
                <a:ext uri="{FF2B5EF4-FFF2-40B4-BE49-F238E27FC236}">
                  <a16:creationId xmlns:a16="http://schemas.microsoft.com/office/drawing/2014/main" id="{69FFA659-1067-43D9-B4C9-CD4AF4B1F4D7}"/>
                </a:ext>
              </a:extLst>
            </p:cNvPr>
            <p:cNvSpPr>
              <a:spLocks/>
            </p:cNvSpPr>
            <p:nvPr/>
          </p:nvSpPr>
          <p:spPr bwMode="auto">
            <a:xfrm>
              <a:off x="4267200" y="858838"/>
              <a:ext cx="52388" cy="93663"/>
            </a:xfrm>
            <a:custGeom>
              <a:avLst/>
              <a:gdLst>
                <a:gd name="T0" fmla="*/ 7 w 14"/>
                <a:gd name="T1" fmla="*/ 25 h 25"/>
                <a:gd name="T2" fmla="*/ 0 w 14"/>
                <a:gd name="T3" fmla="*/ 18 h 25"/>
                <a:gd name="T4" fmla="*/ 2 w 14"/>
                <a:gd name="T5" fmla="*/ 16 h 25"/>
                <a:gd name="T6" fmla="*/ 4 w 14"/>
                <a:gd name="T7" fmla="*/ 18 h 25"/>
                <a:gd name="T8" fmla="*/ 7 w 14"/>
                <a:gd name="T9" fmla="*/ 21 h 25"/>
                <a:gd name="T10" fmla="*/ 10 w 14"/>
                <a:gd name="T11" fmla="*/ 18 h 25"/>
                <a:gd name="T12" fmla="*/ 7 w 14"/>
                <a:gd name="T13" fmla="*/ 15 h 25"/>
                <a:gd name="T14" fmla="*/ 0 w 14"/>
                <a:gd name="T15" fmla="*/ 7 h 25"/>
                <a:gd name="T16" fmla="*/ 7 w 14"/>
                <a:gd name="T17" fmla="*/ 0 h 25"/>
                <a:gd name="T18" fmla="*/ 14 w 14"/>
                <a:gd name="T19" fmla="*/ 7 h 25"/>
                <a:gd name="T20" fmla="*/ 12 w 14"/>
                <a:gd name="T21" fmla="*/ 9 h 25"/>
                <a:gd name="T22" fmla="*/ 10 w 14"/>
                <a:gd name="T23" fmla="*/ 7 h 25"/>
                <a:gd name="T24" fmla="*/ 7 w 14"/>
                <a:gd name="T25" fmla="*/ 4 h 25"/>
                <a:gd name="T26" fmla="*/ 4 w 14"/>
                <a:gd name="T27" fmla="*/ 7 h 25"/>
                <a:gd name="T28" fmla="*/ 7 w 14"/>
                <a:gd name="T29" fmla="*/ 11 h 25"/>
                <a:gd name="T30" fmla="*/ 14 w 14"/>
                <a:gd name="T31" fmla="*/ 18 h 25"/>
                <a:gd name="T32" fmla="*/ 7 w 14"/>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5">
                  <a:moveTo>
                    <a:pt x="7" y="25"/>
                  </a:moveTo>
                  <a:cubicBezTo>
                    <a:pt x="3" y="25"/>
                    <a:pt x="0" y="22"/>
                    <a:pt x="0" y="18"/>
                  </a:cubicBezTo>
                  <a:cubicBezTo>
                    <a:pt x="0" y="17"/>
                    <a:pt x="1" y="16"/>
                    <a:pt x="2" y="16"/>
                  </a:cubicBezTo>
                  <a:cubicBezTo>
                    <a:pt x="3" y="16"/>
                    <a:pt x="4" y="17"/>
                    <a:pt x="4" y="18"/>
                  </a:cubicBezTo>
                  <a:cubicBezTo>
                    <a:pt x="4" y="19"/>
                    <a:pt x="6" y="21"/>
                    <a:pt x="7" y="21"/>
                  </a:cubicBezTo>
                  <a:cubicBezTo>
                    <a:pt x="9" y="21"/>
                    <a:pt x="10" y="19"/>
                    <a:pt x="10" y="18"/>
                  </a:cubicBezTo>
                  <a:cubicBezTo>
                    <a:pt x="10" y="16"/>
                    <a:pt x="9" y="15"/>
                    <a:pt x="7" y="15"/>
                  </a:cubicBezTo>
                  <a:cubicBezTo>
                    <a:pt x="3" y="15"/>
                    <a:pt x="0" y="11"/>
                    <a:pt x="0" y="7"/>
                  </a:cubicBezTo>
                  <a:cubicBezTo>
                    <a:pt x="0" y="3"/>
                    <a:pt x="3" y="0"/>
                    <a:pt x="7" y="0"/>
                  </a:cubicBezTo>
                  <a:cubicBezTo>
                    <a:pt x="11" y="0"/>
                    <a:pt x="14" y="3"/>
                    <a:pt x="14" y="7"/>
                  </a:cubicBezTo>
                  <a:cubicBezTo>
                    <a:pt x="14" y="8"/>
                    <a:pt x="14" y="9"/>
                    <a:pt x="12" y="9"/>
                  </a:cubicBezTo>
                  <a:cubicBezTo>
                    <a:pt x="11" y="9"/>
                    <a:pt x="10" y="8"/>
                    <a:pt x="10" y="7"/>
                  </a:cubicBezTo>
                  <a:cubicBezTo>
                    <a:pt x="10" y="6"/>
                    <a:pt x="9" y="4"/>
                    <a:pt x="7" y="4"/>
                  </a:cubicBezTo>
                  <a:cubicBezTo>
                    <a:pt x="6" y="4"/>
                    <a:pt x="4" y="6"/>
                    <a:pt x="4" y="7"/>
                  </a:cubicBezTo>
                  <a:cubicBezTo>
                    <a:pt x="4" y="9"/>
                    <a:pt x="6" y="11"/>
                    <a:pt x="7" y="11"/>
                  </a:cubicBezTo>
                  <a:cubicBezTo>
                    <a:pt x="11" y="11"/>
                    <a:pt x="14" y="14"/>
                    <a:pt x="14" y="18"/>
                  </a:cubicBezTo>
                  <a:cubicBezTo>
                    <a:pt x="14" y="22"/>
                    <a:pt x="11" y="25"/>
                    <a:pt x="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69" name="Freeform 1729">
              <a:extLst>
                <a:ext uri="{FF2B5EF4-FFF2-40B4-BE49-F238E27FC236}">
                  <a16:creationId xmlns:a16="http://schemas.microsoft.com/office/drawing/2014/main" id="{01D41B2A-C0C1-4C58-86D6-F0C95B96DF30}"/>
                </a:ext>
              </a:extLst>
            </p:cNvPr>
            <p:cNvSpPr>
              <a:spLocks/>
            </p:cNvSpPr>
            <p:nvPr/>
          </p:nvSpPr>
          <p:spPr bwMode="auto">
            <a:xfrm>
              <a:off x="4286250" y="844550"/>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0" name="Freeform 1730">
              <a:extLst>
                <a:ext uri="{FF2B5EF4-FFF2-40B4-BE49-F238E27FC236}">
                  <a16:creationId xmlns:a16="http://schemas.microsoft.com/office/drawing/2014/main" id="{AC1CB84F-16AA-4B0A-B75E-05B54602E8C5}"/>
                </a:ext>
              </a:extLst>
            </p:cNvPr>
            <p:cNvSpPr>
              <a:spLocks/>
            </p:cNvSpPr>
            <p:nvPr/>
          </p:nvSpPr>
          <p:spPr bwMode="auto">
            <a:xfrm>
              <a:off x="4286250" y="938213"/>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1" name="Freeform 1731">
              <a:extLst>
                <a:ext uri="{FF2B5EF4-FFF2-40B4-BE49-F238E27FC236}">
                  <a16:creationId xmlns:a16="http://schemas.microsoft.com/office/drawing/2014/main" id="{4E34F008-FF5C-4F17-86DD-D7C76E946AFC}"/>
                </a:ext>
              </a:extLst>
            </p:cNvPr>
            <p:cNvSpPr>
              <a:spLocks noEditPoints="1"/>
            </p:cNvSpPr>
            <p:nvPr/>
          </p:nvSpPr>
          <p:spPr bwMode="auto">
            <a:xfrm>
              <a:off x="4113213" y="798513"/>
              <a:ext cx="90488" cy="9048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2" name="Freeform 1732">
              <a:extLst>
                <a:ext uri="{FF2B5EF4-FFF2-40B4-BE49-F238E27FC236}">
                  <a16:creationId xmlns:a16="http://schemas.microsoft.com/office/drawing/2014/main" id="{20023C5D-0F7F-4B67-86F9-BF304247CF2B}"/>
                </a:ext>
              </a:extLst>
            </p:cNvPr>
            <p:cNvSpPr>
              <a:spLocks noEditPoints="1"/>
            </p:cNvSpPr>
            <p:nvPr/>
          </p:nvSpPr>
          <p:spPr bwMode="auto">
            <a:xfrm>
              <a:off x="4113213" y="904875"/>
              <a:ext cx="90488" cy="149225"/>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3" name="Freeform 1733">
              <a:extLst>
                <a:ext uri="{FF2B5EF4-FFF2-40B4-BE49-F238E27FC236}">
                  <a16:creationId xmlns:a16="http://schemas.microsoft.com/office/drawing/2014/main" id="{6D1E2CE5-872E-4ED1-B52A-66E3391BAB7C}"/>
                </a:ext>
              </a:extLst>
            </p:cNvPr>
            <p:cNvSpPr>
              <a:spLocks noEditPoints="1"/>
            </p:cNvSpPr>
            <p:nvPr/>
          </p:nvSpPr>
          <p:spPr bwMode="auto">
            <a:xfrm>
              <a:off x="4383088" y="798513"/>
              <a:ext cx="90488" cy="90488"/>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4" name="Freeform 1734">
              <a:extLst>
                <a:ext uri="{FF2B5EF4-FFF2-40B4-BE49-F238E27FC236}">
                  <a16:creationId xmlns:a16="http://schemas.microsoft.com/office/drawing/2014/main" id="{75E7E209-2F3C-40AA-9923-5803EA33FECB}"/>
                </a:ext>
              </a:extLst>
            </p:cNvPr>
            <p:cNvSpPr>
              <a:spLocks noEditPoints="1"/>
            </p:cNvSpPr>
            <p:nvPr/>
          </p:nvSpPr>
          <p:spPr bwMode="auto">
            <a:xfrm>
              <a:off x="4383088" y="904875"/>
              <a:ext cx="90488" cy="149225"/>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875" name="Group 36">
            <a:extLst>
              <a:ext uri="{FF2B5EF4-FFF2-40B4-BE49-F238E27FC236}">
                <a16:creationId xmlns:a16="http://schemas.microsoft.com/office/drawing/2014/main" id="{A6C57AA2-2604-49FF-A4F1-006EB502483E}"/>
              </a:ext>
            </a:extLst>
          </p:cNvPr>
          <p:cNvGrpSpPr>
            <a:grpSpLocks noChangeAspect="1"/>
          </p:cNvGrpSpPr>
          <p:nvPr/>
        </p:nvGrpSpPr>
        <p:grpSpPr>
          <a:xfrm>
            <a:off x="2313848" y="2724897"/>
            <a:ext cx="286877" cy="285619"/>
            <a:chOff x="3390900" y="723900"/>
            <a:chExt cx="361951" cy="360363"/>
          </a:xfrm>
          <a:solidFill>
            <a:schemeClr val="bg1"/>
          </a:solidFill>
          <a:effectLst/>
        </p:grpSpPr>
        <p:sp>
          <p:nvSpPr>
            <p:cNvPr id="1876" name="Freeform 1735">
              <a:extLst>
                <a:ext uri="{FF2B5EF4-FFF2-40B4-BE49-F238E27FC236}">
                  <a16:creationId xmlns:a16="http://schemas.microsoft.com/office/drawing/2014/main" id="{C5A57D37-1EB1-49C0-9D84-95201BA90263}"/>
                </a:ext>
              </a:extLst>
            </p:cNvPr>
            <p:cNvSpPr>
              <a:spLocks noEditPoints="1"/>
            </p:cNvSpPr>
            <p:nvPr/>
          </p:nvSpPr>
          <p:spPr bwMode="auto">
            <a:xfrm>
              <a:off x="3497263" y="993775"/>
              <a:ext cx="134938" cy="90488"/>
            </a:xfrm>
            <a:custGeom>
              <a:avLst/>
              <a:gdLst>
                <a:gd name="T0" fmla="*/ 34 w 36"/>
                <a:gd name="T1" fmla="*/ 24 h 24"/>
                <a:gd name="T2" fmla="*/ 2 w 36"/>
                <a:gd name="T3" fmla="*/ 24 h 24"/>
                <a:gd name="T4" fmla="*/ 0 w 36"/>
                <a:gd name="T5" fmla="*/ 23 h 24"/>
                <a:gd name="T6" fmla="*/ 0 w 36"/>
                <a:gd name="T7" fmla="*/ 21 h 24"/>
                <a:gd name="T8" fmla="*/ 16 w 36"/>
                <a:gd name="T9" fmla="*/ 1 h 24"/>
                <a:gd name="T10" fmla="*/ 20 w 36"/>
                <a:gd name="T11" fmla="*/ 1 h 24"/>
                <a:gd name="T12" fmla="*/ 36 w 36"/>
                <a:gd name="T13" fmla="*/ 21 h 24"/>
                <a:gd name="T14" fmla="*/ 36 w 36"/>
                <a:gd name="T15" fmla="*/ 23 h 24"/>
                <a:gd name="T16" fmla="*/ 34 w 36"/>
                <a:gd name="T17" fmla="*/ 24 h 24"/>
                <a:gd name="T18" fmla="*/ 6 w 36"/>
                <a:gd name="T19" fmla="*/ 20 h 24"/>
                <a:gd name="T20" fmla="*/ 30 w 36"/>
                <a:gd name="T21" fmla="*/ 20 h 24"/>
                <a:gd name="T22" fmla="*/ 18 w 36"/>
                <a:gd name="T23" fmla="*/ 5 h 24"/>
                <a:gd name="T24" fmla="*/ 6 w 36"/>
                <a:gd name="T2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4">
                  <a:moveTo>
                    <a:pt x="34" y="24"/>
                  </a:moveTo>
                  <a:cubicBezTo>
                    <a:pt x="2" y="24"/>
                    <a:pt x="2" y="24"/>
                    <a:pt x="2" y="24"/>
                  </a:cubicBezTo>
                  <a:cubicBezTo>
                    <a:pt x="1" y="24"/>
                    <a:pt x="1" y="24"/>
                    <a:pt x="0" y="23"/>
                  </a:cubicBezTo>
                  <a:cubicBezTo>
                    <a:pt x="0" y="22"/>
                    <a:pt x="0" y="21"/>
                    <a:pt x="0" y="21"/>
                  </a:cubicBezTo>
                  <a:cubicBezTo>
                    <a:pt x="16" y="1"/>
                    <a:pt x="16" y="1"/>
                    <a:pt x="16" y="1"/>
                  </a:cubicBezTo>
                  <a:cubicBezTo>
                    <a:pt x="17" y="0"/>
                    <a:pt x="19" y="0"/>
                    <a:pt x="20" y="1"/>
                  </a:cubicBezTo>
                  <a:cubicBezTo>
                    <a:pt x="36" y="21"/>
                    <a:pt x="36" y="21"/>
                    <a:pt x="36" y="21"/>
                  </a:cubicBezTo>
                  <a:cubicBezTo>
                    <a:pt x="36" y="21"/>
                    <a:pt x="36" y="22"/>
                    <a:pt x="36" y="23"/>
                  </a:cubicBezTo>
                  <a:cubicBezTo>
                    <a:pt x="35" y="24"/>
                    <a:pt x="35" y="24"/>
                    <a:pt x="34" y="24"/>
                  </a:cubicBezTo>
                  <a:close/>
                  <a:moveTo>
                    <a:pt x="6" y="20"/>
                  </a:moveTo>
                  <a:cubicBezTo>
                    <a:pt x="30" y="20"/>
                    <a:pt x="30" y="20"/>
                    <a:pt x="30" y="20"/>
                  </a:cubicBezTo>
                  <a:cubicBezTo>
                    <a:pt x="18" y="5"/>
                    <a:pt x="18" y="5"/>
                    <a:pt x="18" y="5"/>
                  </a:cubicBezTo>
                  <a:lnTo>
                    <a:pt x="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7" name="Freeform 1736">
              <a:extLst>
                <a:ext uri="{FF2B5EF4-FFF2-40B4-BE49-F238E27FC236}">
                  <a16:creationId xmlns:a16="http://schemas.microsoft.com/office/drawing/2014/main" id="{9F07E4E3-2D8A-4C7D-AF2D-F0A5585055F8}"/>
                </a:ext>
              </a:extLst>
            </p:cNvPr>
            <p:cNvSpPr>
              <a:spLocks/>
            </p:cNvSpPr>
            <p:nvPr/>
          </p:nvSpPr>
          <p:spPr bwMode="auto">
            <a:xfrm>
              <a:off x="3390900" y="993775"/>
              <a:ext cx="361950"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8" name="Freeform 1737">
              <a:extLst>
                <a:ext uri="{FF2B5EF4-FFF2-40B4-BE49-F238E27FC236}">
                  <a16:creationId xmlns:a16="http://schemas.microsoft.com/office/drawing/2014/main" id="{9F664562-FBBD-4F72-9610-6772A142B2F7}"/>
                </a:ext>
              </a:extLst>
            </p:cNvPr>
            <p:cNvSpPr>
              <a:spLocks noEditPoints="1"/>
            </p:cNvSpPr>
            <p:nvPr/>
          </p:nvSpPr>
          <p:spPr bwMode="auto">
            <a:xfrm>
              <a:off x="3586163" y="798513"/>
              <a:ext cx="166688" cy="166688"/>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4 h 44"/>
                <a:gd name="T12" fmla="*/ 4 w 44"/>
                <a:gd name="T13" fmla="*/ 22 h 44"/>
                <a:gd name="T14" fmla="*/ 22 w 44"/>
                <a:gd name="T15" fmla="*/ 40 h 44"/>
                <a:gd name="T16" fmla="*/ 40 w 44"/>
                <a:gd name="T17" fmla="*/ 22 h 44"/>
                <a:gd name="T18" fmla="*/ 22 w 44"/>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10"/>
                    <a:pt x="10" y="0"/>
                    <a:pt x="22" y="0"/>
                  </a:cubicBezTo>
                  <a:cubicBezTo>
                    <a:pt x="34" y="0"/>
                    <a:pt x="44" y="10"/>
                    <a:pt x="44" y="22"/>
                  </a:cubicBezTo>
                  <a:cubicBezTo>
                    <a:pt x="44" y="34"/>
                    <a:pt x="34" y="44"/>
                    <a:pt x="22" y="44"/>
                  </a:cubicBezTo>
                  <a:close/>
                  <a:moveTo>
                    <a:pt x="22" y="4"/>
                  </a:moveTo>
                  <a:cubicBezTo>
                    <a:pt x="12" y="4"/>
                    <a:pt x="4" y="12"/>
                    <a:pt x="4" y="22"/>
                  </a:cubicBezTo>
                  <a:cubicBezTo>
                    <a:pt x="4" y="32"/>
                    <a:pt x="12" y="40"/>
                    <a:pt x="22" y="40"/>
                  </a:cubicBezTo>
                  <a:cubicBezTo>
                    <a:pt x="32" y="40"/>
                    <a:pt x="40" y="32"/>
                    <a:pt x="40" y="22"/>
                  </a:cubicBezTo>
                  <a:cubicBezTo>
                    <a:pt x="40" y="12"/>
                    <a:pt x="32"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79" name="Freeform 1738">
              <a:extLst>
                <a:ext uri="{FF2B5EF4-FFF2-40B4-BE49-F238E27FC236}">
                  <a16:creationId xmlns:a16="http://schemas.microsoft.com/office/drawing/2014/main" id="{0EEE1585-B95C-4C8F-A050-A79174B5C7C1}"/>
                </a:ext>
              </a:extLst>
            </p:cNvPr>
            <p:cNvSpPr>
              <a:spLocks/>
            </p:cNvSpPr>
            <p:nvPr/>
          </p:nvSpPr>
          <p:spPr bwMode="auto">
            <a:xfrm>
              <a:off x="3643313" y="839788"/>
              <a:ext cx="52388" cy="84138"/>
            </a:xfrm>
            <a:custGeom>
              <a:avLst/>
              <a:gdLst>
                <a:gd name="T0" fmla="*/ 7 w 14"/>
                <a:gd name="T1" fmla="*/ 22 h 22"/>
                <a:gd name="T2" fmla="*/ 0 w 14"/>
                <a:gd name="T3" fmla="*/ 16 h 22"/>
                <a:gd name="T4" fmla="*/ 2 w 14"/>
                <a:gd name="T5" fmla="*/ 14 h 22"/>
                <a:gd name="T6" fmla="*/ 4 w 14"/>
                <a:gd name="T7" fmla="*/ 16 h 22"/>
                <a:gd name="T8" fmla="*/ 7 w 14"/>
                <a:gd name="T9" fmla="*/ 18 h 22"/>
                <a:gd name="T10" fmla="*/ 10 w 14"/>
                <a:gd name="T11" fmla="*/ 16 h 22"/>
                <a:gd name="T12" fmla="*/ 7 w 14"/>
                <a:gd name="T13" fmla="*/ 13 h 22"/>
                <a:gd name="T14" fmla="*/ 0 w 14"/>
                <a:gd name="T15" fmla="*/ 6 h 22"/>
                <a:gd name="T16" fmla="*/ 7 w 14"/>
                <a:gd name="T17" fmla="*/ 0 h 22"/>
                <a:gd name="T18" fmla="*/ 14 w 14"/>
                <a:gd name="T19" fmla="*/ 6 h 22"/>
                <a:gd name="T20" fmla="*/ 12 w 14"/>
                <a:gd name="T21" fmla="*/ 8 h 22"/>
                <a:gd name="T22" fmla="*/ 10 w 14"/>
                <a:gd name="T23" fmla="*/ 6 h 22"/>
                <a:gd name="T24" fmla="*/ 7 w 14"/>
                <a:gd name="T25" fmla="*/ 4 h 22"/>
                <a:gd name="T26" fmla="*/ 4 w 14"/>
                <a:gd name="T27" fmla="*/ 6 h 22"/>
                <a:gd name="T28" fmla="*/ 7 w 14"/>
                <a:gd name="T29" fmla="*/ 9 h 22"/>
                <a:gd name="T30" fmla="*/ 14 w 14"/>
                <a:gd name="T31" fmla="*/ 16 h 22"/>
                <a:gd name="T32" fmla="*/ 7 w 14"/>
                <a:gd name="T3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2">
                  <a:moveTo>
                    <a:pt x="7" y="22"/>
                  </a:moveTo>
                  <a:cubicBezTo>
                    <a:pt x="3" y="22"/>
                    <a:pt x="0" y="19"/>
                    <a:pt x="0" y="16"/>
                  </a:cubicBezTo>
                  <a:cubicBezTo>
                    <a:pt x="0" y="15"/>
                    <a:pt x="1" y="14"/>
                    <a:pt x="2" y="14"/>
                  </a:cubicBezTo>
                  <a:cubicBezTo>
                    <a:pt x="3" y="14"/>
                    <a:pt x="4" y="15"/>
                    <a:pt x="4" y="16"/>
                  </a:cubicBezTo>
                  <a:cubicBezTo>
                    <a:pt x="4" y="17"/>
                    <a:pt x="6" y="18"/>
                    <a:pt x="7" y="18"/>
                  </a:cubicBezTo>
                  <a:cubicBezTo>
                    <a:pt x="8" y="18"/>
                    <a:pt x="10" y="17"/>
                    <a:pt x="10" y="16"/>
                  </a:cubicBezTo>
                  <a:cubicBezTo>
                    <a:pt x="10" y="14"/>
                    <a:pt x="8" y="13"/>
                    <a:pt x="7" y="13"/>
                  </a:cubicBezTo>
                  <a:cubicBezTo>
                    <a:pt x="3" y="13"/>
                    <a:pt x="0" y="10"/>
                    <a:pt x="0" y="6"/>
                  </a:cubicBezTo>
                  <a:cubicBezTo>
                    <a:pt x="0" y="3"/>
                    <a:pt x="3" y="0"/>
                    <a:pt x="7" y="0"/>
                  </a:cubicBezTo>
                  <a:cubicBezTo>
                    <a:pt x="11" y="0"/>
                    <a:pt x="14" y="3"/>
                    <a:pt x="14" y="6"/>
                  </a:cubicBezTo>
                  <a:cubicBezTo>
                    <a:pt x="14" y="7"/>
                    <a:pt x="13" y="8"/>
                    <a:pt x="12" y="8"/>
                  </a:cubicBezTo>
                  <a:cubicBezTo>
                    <a:pt x="11" y="8"/>
                    <a:pt x="10" y="7"/>
                    <a:pt x="10" y="6"/>
                  </a:cubicBezTo>
                  <a:cubicBezTo>
                    <a:pt x="10" y="5"/>
                    <a:pt x="8" y="4"/>
                    <a:pt x="7" y="4"/>
                  </a:cubicBezTo>
                  <a:cubicBezTo>
                    <a:pt x="6" y="4"/>
                    <a:pt x="4" y="5"/>
                    <a:pt x="4" y="6"/>
                  </a:cubicBezTo>
                  <a:cubicBezTo>
                    <a:pt x="4" y="8"/>
                    <a:pt x="6" y="9"/>
                    <a:pt x="7" y="9"/>
                  </a:cubicBezTo>
                  <a:cubicBezTo>
                    <a:pt x="11" y="9"/>
                    <a:pt x="14" y="12"/>
                    <a:pt x="14" y="16"/>
                  </a:cubicBezTo>
                  <a:cubicBezTo>
                    <a:pt x="14" y="19"/>
                    <a:pt x="11" y="22"/>
                    <a:pt x="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0" name="Freeform 1739">
              <a:extLst>
                <a:ext uri="{FF2B5EF4-FFF2-40B4-BE49-F238E27FC236}">
                  <a16:creationId xmlns:a16="http://schemas.microsoft.com/office/drawing/2014/main" id="{B63289C0-0F19-47F0-BB3B-173EF6F741EF}"/>
                </a:ext>
              </a:extLst>
            </p:cNvPr>
            <p:cNvSpPr>
              <a:spLocks/>
            </p:cNvSpPr>
            <p:nvPr/>
          </p:nvSpPr>
          <p:spPr bwMode="auto">
            <a:xfrm>
              <a:off x="3662363" y="908050"/>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1" name="Freeform 1740">
              <a:extLst>
                <a:ext uri="{FF2B5EF4-FFF2-40B4-BE49-F238E27FC236}">
                  <a16:creationId xmlns:a16="http://schemas.microsoft.com/office/drawing/2014/main" id="{06251862-D45D-45C0-8D54-FB14EB54F31E}"/>
                </a:ext>
              </a:extLst>
            </p:cNvPr>
            <p:cNvSpPr>
              <a:spLocks/>
            </p:cNvSpPr>
            <p:nvPr/>
          </p:nvSpPr>
          <p:spPr bwMode="auto">
            <a:xfrm>
              <a:off x="3662363" y="828675"/>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2" name="Freeform 1741">
              <a:extLst>
                <a:ext uri="{FF2B5EF4-FFF2-40B4-BE49-F238E27FC236}">
                  <a16:creationId xmlns:a16="http://schemas.microsoft.com/office/drawing/2014/main" id="{8548F528-B2A0-4250-A57D-0484DADA5C64}"/>
                </a:ext>
              </a:extLst>
            </p:cNvPr>
            <p:cNvSpPr>
              <a:spLocks noEditPoints="1"/>
            </p:cNvSpPr>
            <p:nvPr/>
          </p:nvSpPr>
          <p:spPr bwMode="auto">
            <a:xfrm>
              <a:off x="3414713" y="723900"/>
              <a:ext cx="104775" cy="10477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883" name="Freeform 1742">
              <a:extLst>
                <a:ext uri="{FF2B5EF4-FFF2-40B4-BE49-F238E27FC236}">
                  <a16:creationId xmlns:a16="http://schemas.microsoft.com/office/drawing/2014/main" id="{A3D62EB6-4681-4194-AB1A-C588B8B02CEF}"/>
                </a:ext>
              </a:extLst>
            </p:cNvPr>
            <p:cNvSpPr>
              <a:spLocks noEditPoints="1"/>
            </p:cNvSpPr>
            <p:nvPr/>
          </p:nvSpPr>
          <p:spPr bwMode="auto">
            <a:xfrm>
              <a:off x="3390900" y="844550"/>
              <a:ext cx="150813" cy="165100"/>
            </a:xfrm>
            <a:custGeom>
              <a:avLst/>
              <a:gdLst>
                <a:gd name="T0" fmla="*/ 26 w 40"/>
                <a:gd name="T1" fmla="*/ 44 h 44"/>
                <a:gd name="T2" fmla="*/ 14 w 40"/>
                <a:gd name="T3" fmla="*/ 44 h 44"/>
                <a:gd name="T4" fmla="*/ 12 w 40"/>
                <a:gd name="T5" fmla="*/ 42 h 44"/>
                <a:gd name="T6" fmla="*/ 12 w 40"/>
                <a:gd name="T7" fmla="*/ 26 h 44"/>
                <a:gd name="T8" fmla="*/ 0 w 40"/>
                <a:gd name="T9" fmla="*/ 2 h 44"/>
                <a:gd name="T10" fmla="*/ 2 w 40"/>
                <a:gd name="T11" fmla="*/ 0 h 44"/>
                <a:gd name="T12" fmla="*/ 38 w 40"/>
                <a:gd name="T13" fmla="*/ 0 h 44"/>
                <a:gd name="T14" fmla="*/ 40 w 40"/>
                <a:gd name="T15" fmla="*/ 2 h 44"/>
                <a:gd name="T16" fmla="*/ 28 w 40"/>
                <a:gd name="T17" fmla="*/ 26 h 44"/>
                <a:gd name="T18" fmla="*/ 28 w 40"/>
                <a:gd name="T19" fmla="*/ 42 h 44"/>
                <a:gd name="T20" fmla="*/ 26 w 40"/>
                <a:gd name="T21" fmla="*/ 44 h 44"/>
                <a:gd name="T22" fmla="*/ 16 w 40"/>
                <a:gd name="T23" fmla="*/ 40 h 44"/>
                <a:gd name="T24" fmla="*/ 24 w 40"/>
                <a:gd name="T25" fmla="*/ 40 h 44"/>
                <a:gd name="T26" fmla="*/ 24 w 40"/>
                <a:gd name="T27" fmla="*/ 25 h 44"/>
                <a:gd name="T28" fmla="*/ 25 w 40"/>
                <a:gd name="T29" fmla="*/ 23 h 44"/>
                <a:gd name="T30" fmla="*/ 36 w 40"/>
                <a:gd name="T31" fmla="*/ 4 h 44"/>
                <a:gd name="T32" fmla="*/ 4 w 40"/>
                <a:gd name="T33" fmla="*/ 4 h 44"/>
                <a:gd name="T34" fmla="*/ 15 w 40"/>
                <a:gd name="T35" fmla="*/ 23 h 44"/>
                <a:gd name="T36" fmla="*/ 16 w 40"/>
                <a:gd name="T37" fmla="*/ 25 h 44"/>
                <a:gd name="T38" fmla="*/ 16 w 40"/>
                <a:gd name="T3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4">
                  <a:moveTo>
                    <a:pt x="26" y="44"/>
                  </a:moveTo>
                  <a:cubicBezTo>
                    <a:pt x="14" y="44"/>
                    <a:pt x="14" y="44"/>
                    <a:pt x="14" y="44"/>
                  </a:cubicBezTo>
                  <a:cubicBezTo>
                    <a:pt x="13" y="44"/>
                    <a:pt x="12" y="43"/>
                    <a:pt x="12" y="42"/>
                  </a:cubicBezTo>
                  <a:cubicBezTo>
                    <a:pt x="12" y="26"/>
                    <a:pt x="12" y="26"/>
                    <a:pt x="12" y="26"/>
                  </a:cubicBezTo>
                  <a:cubicBezTo>
                    <a:pt x="4" y="22"/>
                    <a:pt x="0" y="11"/>
                    <a:pt x="0" y="2"/>
                  </a:cubicBezTo>
                  <a:cubicBezTo>
                    <a:pt x="0" y="1"/>
                    <a:pt x="1" y="0"/>
                    <a:pt x="2" y="0"/>
                  </a:cubicBezTo>
                  <a:cubicBezTo>
                    <a:pt x="38" y="0"/>
                    <a:pt x="38" y="0"/>
                    <a:pt x="38" y="0"/>
                  </a:cubicBezTo>
                  <a:cubicBezTo>
                    <a:pt x="39" y="0"/>
                    <a:pt x="40" y="1"/>
                    <a:pt x="40" y="2"/>
                  </a:cubicBezTo>
                  <a:cubicBezTo>
                    <a:pt x="40" y="11"/>
                    <a:pt x="36" y="22"/>
                    <a:pt x="28" y="26"/>
                  </a:cubicBezTo>
                  <a:cubicBezTo>
                    <a:pt x="28" y="42"/>
                    <a:pt x="28" y="42"/>
                    <a:pt x="28" y="42"/>
                  </a:cubicBezTo>
                  <a:cubicBezTo>
                    <a:pt x="28" y="43"/>
                    <a:pt x="27" y="44"/>
                    <a:pt x="26" y="44"/>
                  </a:cubicBezTo>
                  <a:close/>
                  <a:moveTo>
                    <a:pt x="16" y="40"/>
                  </a:moveTo>
                  <a:cubicBezTo>
                    <a:pt x="24" y="40"/>
                    <a:pt x="24" y="40"/>
                    <a:pt x="24" y="40"/>
                  </a:cubicBezTo>
                  <a:cubicBezTo>
                    <a:pt x="24" y="25"/>
                    <a:pt x="24" y="25"/>
                    <a:pt x="24" y="25"/>
                  </a:cubicBezTo>
                  <a:cubicBezTo>
                    <a:pt x="24" y="24"/>
                    <a:pt x="25" y="23"/>
                    <a:pt x="25" y="23"/>
                  </a:cubicBezTo>
                  <a:cubicBezTo>
                    <a:pt x="31" y="21"/>
                    <a:pt x="35" y="12"/>
                    <a:pt x="36" y="4"/>
                  </a:cubicBezTo>
                  <a:cubicBezTo>
                    <a:pt x="4" y="4"/>
                    <a:pt x="4" y="4"/>
                    <a:pt x="4" y="4"/>
                  </a:cubicBezTo>
                  <a:cubicBezTo>
                    <a:pt x="5" y="12"/>
                    <a:pt x="9" y="21"/>
                    <a:pt x="15" y="23"/>
                  </a:cubicBezTo>
                  <a:cubicBezTo>
                    <a:pt x="15" y="23"/>
                    <a:pt x="16" y="24"/>
                    <a:pt x="16" y="25"/>
                  </a:cubicBezTo>
                  <a:lnTo>
                    <a:pt x="1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902" name="Group 109">
            <a:extLst>
              <a:ext uri="{FF2B5EF4-FFF2-40B4-BE49-F238E27FC236}">
                <a16:creationId xmlns:a16="http://schemas.microsoft.com/office/drawing/2014/main" id="{DF503694-6DAA-4097-85FA-56C2D02F6CCD}"/>
              </a:ext>
            </a:extLst>
          </p:cNvPr>
          <p:cNvGrpSpPr>
            <a:grpSpLocks noChangeAspect="1"/>
          </p:cNvGrpSpPr>
          <p:nvPr/>
        </p:nvGrpSpPr>
        <p:grpSpPr>
          <a:xfrm>
            <a:off x="2736259" y="2229597"/>
            <a:ext cx="285619" cy="285619"/>
            <a:chOff x="9538390" y="3298372"/>
            <a:chExt cx="371475" cy="371475"/>
          </a:xfrm>
          <a:solidFill>
            <a:schemeClr val="bg1"/>
          </a:solidFill>
          <a:effectLst/>
        </p:grpSpPr>
        <p:sp>
          <p:nvSpPr>
            <p:cNvPr id="1903" name="Freeform 5">
              <a:extLst>
                <a:ext uri="{FF2B5EF4-FFF2-40B4-BE49-F238E27FC236}">
                  <a16:creationId xmlns:a16="http://schemas.microsoft.com/office/drawing/2014/main" id="{58C72393-1559-46C1-AEB0-8E7C174801E4}"/>
                </a:ext>
              </a:extLst>
            </p:cNvPr>
            <p:cNvSpPr>
              <a:spLocks/>
            </p:cNvSpPr>
            <p:nvPr/>
          </p:nvSpPr>
          <p:spPr bwMode="auto">
            <a:xfrm>
              <a:off x="9689203" y="3453947"/>
              <a:ext cx="134938" cy="127000"/>
            </a:xfrm>
            <a:custGeom>
              <a:avLst/>
              <a:gdLst>
                <a:gd name="T0" fmla="*/ 23 w 35"/>
                <a:gd name="T1" fmla="*/ 33 h 33"/>
                <a:gd name="T2" fmla="*/ 16 w 35"/>
                <a:gd name="T3" fmla="*/ 30 h 33"/>
                <a:gd name="T4" fmla="*/ 16 w 35"/>
                <a:gd name="T5" fmla="*/ 27 h 33"/>
                <a:gd name="T6" fmla="*/ 19 w 35"/>
                <a:gd name="T7" fmla="*/ 27 h 33"/>
                <a:gd name="T8" fmla="*/ 28 w 35"/>
                <a:gd name="T9" fmla="*/ 27 h 33"/>
                <a:gd name="T10" fmla="*/ 28 w 35"/>
                <a:gd name="T11" fmla="*/ 18 h 33"/>
                <a:gd name="T12" fmla="*/ 19 w 35"/>
                <a:gd name="T13" fmla="*/ 18 h 33"/>
                <a:gd name="T14" fmla="*/ 4 w 35"/>
                <a:gd name="T15" fmla="*/ 18 h 33"/>
                <a:gd name="T16" fmla="*/ 4 w 35"/>
                <a:gd name="T17" fmla="*/ 3 h 33"/>
                <a:gd name="T18" fmla="*/ 12 w 35"/>
                <a:gd name="T19" fmla="*/ 0 h 33"/>
                <a:gd name="T20" fmla="*/ 12 w 35"/>
                <a:gd name="T21" fmla="*/ 0 h 33"/>
                <a:gd name="T22" fmla="*/ 19 w 35"/>
                <a:gd name="T23" fmla="*/ 3 h 33"/>
                <a:gd name="T24" fmla="*/ 19 w 35"/>
                <a:gd name="T25" fmla="*/ 6 h 33"/>
                <a:gd name="T26" fmla="*/ 16 w 35"/>
                <a:gd name="T27" fmla="*/ 6 h 33"/>
                <a:gd name="T28" fmla="*/ 12 w 35"/>
                <a:gd name="T29" fmla="*/ 4 h 33"/>
                <a:gd name="T30" fmla="*/ 12 w 35"/>
                <a:gd name="T31" fmla="*/ 4 h 33"/>
                <a:gd name="T32" fmla="*/ 7 w 35"/>
                <a:gd name="T33" fmla="*/ 6 h 33"/>
                <a:gd name="T34" fmla="*/ 7 w 35"/>
                <a:gd name="T35" fmla="*/ 15 h 33"/>
                <a:gd name="T36" fmla="*/ 16 w 35"/>
                <a:gd name="T37" fmla="*/ 15 h 33"/>
                <a:gd name="T38" fmla="*/ 31 w 35"/>
                <a:gd name="T39" fmla="*/ 15 h 33"/>
                <a:gd name="T40" fmla="*/ 31 w 35"/>
                <a:gd name="T41" fmla="*/ 30 h 33"/>
                <a:gd name="T42" fmla="*/ 23 w 35"/>
                <a:gd name="T4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23" y="33"/>
                  </a:moveTo>
                  <a:cubicBezTo>
                    <a:pt x="21" y="33"/>
                    <a:pt x="18" y="32"/>
                    <a:pt x="16" y="30"/>
                  </a:cubicBezTo>
                  <a:cubicBezTo>
                    <a:pt x="15" y="29"/>
                    <a:pt x="15" y="27"/>
                    <a:pt x="16" y="27"/>
                  </a:cubicBezTo>
                  <a:cubicBezTo>
                    <a:pt x="17" y="26"/>
                    <a:pt x="18" y="26"/>
                    <a:pt x="19" y="27"/>
                  </a:cubicBezTo>
                  <a:cubicBezTo>
                    <a:pt x="21" y="29"/>
                    <a:pt x="25" y="29"/>
                    <a:pt x="28" y="27"/>
                  </a:cubicBezTo>
                  <a:cubicBezTo>
                    <a:pt x="30" y="24"/>
                    <a:pt x="30" y="20"/>
                    <a:pt x="28" y="18"/>
                  </a:cubicBezTo>
                  <a:cubicBezTo>
                    <a:pt x="25" y="15"/>
                    <a:pt x="21" y="15"/>
                    <a:pt x="19" y="18"/>
                  </a:cubicBezTo>
                  <a:cubicBezTo>
                    <a:pt x="15" y="22"/>
                    <a:pt x="8" y="22"/>
                    <a:pt x="4" y="18"/>
                  </a:cubicBezTo>
                  <a:cubicBezTo>
                    <a:pt x="0" y="14"/>
                    <a:pt x="0" y="7"/>
                    <a:pt x="4" y="3"/>
                  </a:cubicBezTo>
                  <a:cubicBezTo>
                    <a:pt x="6" y="1"/>
                    <a:pt x="9" y="0"/>
                    <a:pt x="12" y="0"/>
                  </a:cubicBezTo>
                  <a:cubicBezTo>
                    <a:pt x="12" y="0"/>
                    <a:pt x="12" y="0"/>
                    <a:pt x="12" y="0"/>
                  </a:cubicBezTo>
                  <a:cubicBezTo>
                    <a:pt x="14" y="0"/>
                    <a:pt x="17" y="1"/>
                    <a:pt x="19" y="3"/>
                  </a:cubicBezTo>
                  <a:cubicBezTo>
                    <a:pt x="20" y="4"/>
                    <a:pt x="20" y="5"/>
                    <a:pt x="19" y="6"/>
                  </a:cubicBezTo>
                  <a:cubicBezTo>
                    <a:pt x="18" y="7"/>
                    <a:pt x="17" y="7"/>
                    <a:pt x="16" y="6"/>
                  </a:cubicBezTo>
                  <a:cubicBezTo>
                    <a:pt x="15" y="5"/>
                    <a:pt x="13" y="4"/>
                    <a:pt x="12" y="4"/>
                  </a:cubicBezTo>
                  <a:cubicBezTo>
                    <a:pt x="12" y="4"/>
                    <a:pt x="12" y="4"/>
                    <a:pt x="12" y="4"/>
                  </a:cubicBezTo>
                  <a:cubicBezTo>
                    <a:pt x="10" y="4"/>
                    <a:pt x="8" y="5"/>
                    <a:pt x="7" y="6"/>
                  </a:cubicBezTo>
                  <a:cubicBezTo>
                    <a:pt x="5" y="9"/>
                    <a:pt x="5" y="13"/>
                    <a:pt x="7" y="15"/>
                  </a:cubicBezTo>
                  <a:cubicBezTo>
                    <a:pt x="10" y="17"/>
                    <a:pt x="14" y="17"/>
                    <a:pt x="16" y="15"/>
                  </a:cubicBezTo>
                  <a:cubicBezTo>
                    <a:pt x="20" y="11"/>
                    <a:pt x="27" y="11"/>
                    <a:pt x="31" y="15"/>
                  </a:cubicBezTo>
                  <a:cubicBezTo>
                    <a:pt x="35" y="19"/>
                    <a:pt x="35" y="26"/>
                    <a:pt x="31" y="30"/>
                  </a:cubicBezTo>
                  <a:cubicBezTo>
                    <a:pt x="29" y="32"/>
                    <a:pt x="26"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4" name="Freeform 6">
              <a:extLst>
                <a:ext uri="{FF2B5EF4-FFF2-40B4-BE49-F238E27FC236}">
                  <a16:creationId xmlns:a16="http://schemas.microsoft.com/office/drawing/2014/main" id="{21835FAC-788D-4CB5-8B1E-2FD84A7DE3AB}"/>
                </a:ext>
              </a:extLst>
            </p:cNvPr>
            <p:cNvSpPr>
              <a:spLocks/>
            </p:cNvSpPr>
            <p:nvPr/>
          </p:nvSpPr>
          <p:spPr bwMode="auto">
            <a:xfrm>
              <a:off x="9793978" y="3553960"/>
              <a:ext cx="30163" cy="30163"/>
            </a:xfrm>
            <a:custGeom>
              <a:avLst/>
              <a:gdLst>
                <a:gd name="T0" fmla="*/ 6 w 8"/>
                <a:gd name="T1" fmla="*/ 8 h 8"/>
                <a:gd name="T2" fmla="*/ 5 w 8"/>
                <a:gd name="T3" fmla="*/ 7 h 8"/>
                <a:gd name="T4" fmla="*/ 1 w 8"/>
                <a:gd name="T5" fmla="*/ 4 h 8"/>
                <a:gd name="T6" fmla="*/ 1 w 8"/>
                <a:gd name="T7" fmla="*/ 1 h 8"/>
                <a:gd name="T8" fmla="*/ 4 w 8"/>
                <a:gd name="T9" fmla="*/ 1 h 8"/>
                <a:gd name="T10" fmla="*/ 7 w 8"/>
                <a:gd name="T11" fmla="*/ 5 h 8"/>
                <a:gd name="T12" fmla="*/ 7 w 8"/>
                <a:gd name="T13" fmla="*/ 7 h 8"/>
                <a:gd name="T14" fmla="*/ 6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6" y="8"/>
                  </a:moveTo>
                  <a:cubicBezTo>
                    <a:pt x="5" y="8"/>
                    <a:pt x="5" y="8"/>
                    <a:pt x="5" y="7"/>
                  </a:cubicBezTo>
                  <a:cubicBezTo>
                    <a:pt x="1" y="4"/>
                    <a:pt x="1" y="4"/>
                    <a:pt x="1" y="4"/>
                  </a:cubicBezTo>
                  <a:cubicBezTo>
                    <a:pt x="0" y="3"/>
                    <a:pt x="0" y="1"/>
                    <a:pt x="1" y="1"/>
                  </a:cubicBezTo>
                  <a:cubicBezTo>
                    <a:pt x="1" y="0"/>
                    <a:pt x="3" y="0"/>
                    <a:pt x="4" y="1"/>
                  </a:cubicBezTo>
                  <a:cubicBezTo>
                    <a:pt x="7" y="5"/>
                    <a:pt x="7" y="5"/>
                    <a:pt x="7" y="5"/>
                  </a:cubicBezTo>
                  <a:cubicBezTo>
                    <a:pt x="8" y="5"/>
                    <a:pt x="8" y="7"/>
                    <a:pt x="7" y="7"/>
                  </a:cubicBezTo>
                  <a:cubicBezTo>
                    <a:pt x="7" y="8"/>
                    <a:pt x="7"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5" name="Freeform 7">
              <a:extLst>
                <a:ext uri="{FF2B5EF4-FFF2-40B4-BE49-F238E27FC236}">
                  <a16:creationId xmlns:a16="http://schemas.microsoft.com/office/drawing/2014/main" id="{3963A5CC-2373-4EB7-A5CD-5C87E131DE35}"/>
                </a:ext>
              </a:extLst>
            </p:cNvPr>
            <p:cNvSpPr>
              <a:spLocks/>
            </p:cNvSpPr>
            <p:nvPr/>
          </p:nvSpPr>
          <p:spPr bwMode="auto">
            <a:xfrm>
              <a:off x="9689203" y="3449185"/>
              <a:ext cx="31750" cy="31750"/>
            </a:xfrm>
            <a:custGeom>
              <a:avLst/>
              <a:gdLst>
                <a:gd name="T0" fmla="*/ 6 w 8"/>
                <a:gd name="T1" fmla="*/ 8 h 8"/>
                <a:gd name="T2" fmla="*/ 4 w 8"/>
                <a:gd name="T3" fmla="*/ 7 h 8"/>
                <a:gd name="T4" fmla="*/ 0 w 8"/>
                <a:gd name="T5" fmla="*/ 3 h 8"/>
                <a:gd name="T6" fmla="*/ 0 w 8"/>
                <a:gd name="T7" fmla="*/ 0 h 8"/>
                <a:gd name="T8" fmla="*/ 3 w 8"/>
                <a:gd name="T9" fmla="*/ 0 h 8"/>
                <a:gd name="T10" fmla="*/ 7 w 8"/>
                <a:gd name="T11" fmla="*/ 4 h 8"/>
                <a:gd name="T12" fmla="*/ 7 w 8"/>
                <a:gd name="T13" fmla="*/ 7 h 8"/>
                <a:gd name="T14" fmla="*/ 6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6" y="8"/>
                  </a:moveTo>
                  <a:cubicBezTo>
                    <a:pt x="5" y="8"/>
                    <a:pt x="5" y="8"/>
                    <a:pt x="4" y="7"/>
                  </a:cubicBezTo>
                  <a:cubicBezTo>
                    <a:pt x="0" y="3"/>
                    <a:pt x="0" y="3"/>
                    <a:pt x="0" y="3"/>
                  </a:cubicBezTo>
                  <a:cubicBezTo>
                    <a:pt x="0" y="3"/>
                    <a:pt x="0" y="1"/>
                    <a:pt x="0" y="0"/>
                  </a:cubicBezTo>
                  <a:cubicBezTo>
                    <a:pt x="1" y="0"/>
                    <a:pt x="3" y="0"/>
                    <a:pt x="3" y="0"/>
                  </a:cubicBezTo>
                  <a:cubicBezTo>
                    <a:pt x="7" y="4"/>
                    <a:pt x="7" y="4"/>
                    <a:pt x="7" y="4"/>
                  </a:cubicBezTo>
                  <a:cubicBezTo>
                    <a:pt x="8" y="5"/>
                    <a:pt x="8" y="6"/>
                    <a:pt x="7" y="7"/>
                  </a:cubicBezTo>
                  <a:cubicBezTo>
                    <a:pt x="7" y="8"/>
                    <a:pt x="6"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6" name="Freeform 8">
              <a:extLst>
                <a:ext uri="{FF2B5EF4-FFF2-40B4-BE49-F238E27FC236}">
                  <a16:creationId xmlns:a16="http://schemas.microsoft.com/office/drawing/2014/main" id="{7C191AA4-DAC9-48AA-9477-B62A056525BA}"/>
                </a:ext>
              </a:extLst>
            </p:cNvPr>
            <p:cNvSpPr>
              <a:spLocks noEditPoints="1"/>
            </p:cNvSpPr>
            <p:nvPr/>
          </p:nvSpPr>
          <p:spPr bwMode="auto">
            <a:xfrm>
              <a:off x="9570140" y="3330122"/>
              <a:ext cx="339725" cy="339725"/>
            </a:xfrm>
            <a:custGeom>
              <a:avLst/>
              <a:gdLst>
                <a:gd name="T0" fmla="*/ 52 w 88"/>
                <a:gd name="T1" fmla="*/ 88 h 88"/>
                <a:gd name="T2" fmla="*/ 51 w 88"/>
                <a:gd name="T3" fmla="*/ 87 h 88"/>
                <a:gd name="T4" fmla="*/ 1 w 88"/>
                <a:gd name="T5" fmla="*/ 37 h 88"/>
                <a:gd name="T6" fmla="*/ 0 w 88"/>
                <a:gd name="T7" fmla="*/ 36 h 88"/>
                <a:gd name="T8" fmla="*/ 0 w 88"/>
                <a:gd name="T9" fmla="*/ 2 h 88"/>
                <a:gd name="T10" fmla="*/ 1 w 88"/>
                <a:gd name="T11" fmla="*/ 1 h 88"/>
                <a:gd name="T12" fmla="*/ 2 w 88"/>
                <a:gd name="T13" fmla="*/ 0 h 88"/>
                <a:gd name="T14" fmla="*/ 36 w 88"/>
                <a:gd name="T15" fmla="*/ 0 h 88"/>
                <a:gd name="T16" fmla="*/ 37 w 88"/>
                <a:gd name="T17" fmla="*/ 1 h 88"/>
                <a:gd name="T18" fmla="*/ 87 w 88"/>
                <a:gd name="T19" fmla="*/ 51 h 88"/>
                <a:gd name="T20" fmla="*/ 87 w 88"/>
                <a:gd name="T21" fmla="*/ 53 h 88"/>
                <a:gd name="T22" fmla="*/ 53 w 88"/>
                <a:gd name="T23" fmla="*/ 87 h 88"/>
                <a:gd name="T24" fmla="*/ 52 w 88"/>
                <a:gd name="T25" fmla="*/ 88 h 88"/>
                <a:gd name="T26" fmla="*/ 4 w 88"/>
                <a:gd name="T27" fmla="*/ 35 h 88"/>
                <a:gd name="T28" fmla="*/ 52 w 88"/>
                <a:gd name="T29" fmla="*/ 83 h 88"/>
                <a:gd name="T30" fmla="*/ 83 w 88"/>
                <a:gd name="T31" fmla="*/ 52 h 88"/>
                <a:gd name="T32" fmla="*/ 35 w 88"/>
                <a:gd name="T33" fmla="*/ 4 h 88"/>
                <a:gd name="T34" fmla="*/ 4 w 88"/>
                <a:gd name="T35" fmla="*/ 4 h 88"/>
                <a:gd name="T36" fmla="*/ 4 w 88"/>
                <a:gd name="T37"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88">
                  <a:moveTo>
                    <a:pt x="52" y="88"/>
                  </a:moveTo>
                  <a:cubicBezTo>
                    <a:pt x="52" y="88"/>
                    <a:pt x="51" y="88"/>
                    <a:pt x="51" y="87"/>
                  </a:cubicBezTo>
                  <a:cubicBezTo>
                    <a:pt x="1" y="37"/>
                    <a:pt x="1" y="37"/>
                    <a:pt x="1" y="37"/>
                  </a:cubicBezTo>
                  <a:cubicBezTo>
                    <a:pt x="0" y="37"/>
                    <a:pt x="0" y="37"/>
                    <a:pt x="0" y="36"/>
                  </a:cubicBezTo>
                  <a:cubicBezTo>
                    <a:pt x="0" y="2"/>
                    <a:pt x="0" y="2"/>
                    <a:pt x="0" y="2"/>
                  </a:cubicBezTo>
                  <a:cubicBezTo>
                    <a:pt x="0" y="1"/>
                    <a:pt x="0" y="1"/>
                    <a:pt x="1" y="1"/>
                  </a:cubicBezTo>
                  <a:cubicBezTo>
                    <a:pt x="1" y="0"/>
                    <a:pt x="1" y="0"/>
                    <a:pt x="2" y="0"/>
                  </a:cubicBezTo>
                  <a:cubicBezTo>
                    <a:pt x="36" y="0"/>
                    <a:pt x="36" y="0"/>
                    <a:pt x="36" y="0"/>
                  </a:cubicBezTo>
                  <a:cubicBezTo>
                    <a:pt x="37" y="0"/>
                    <a:pt x="37" y="0"/>
                    <a:pt x="37" y="1"/>
                  </a:cubicBezTo>
                  <a:cubicBezTo>
                    <a:pt x="87" y="51"/>
                    <a:pt x="87" y="51"/>
                    <a:pt x="87" y="51"/>
                  </a:cubicBezTo>
                  <a:cubicBezTo>
                    <a:pt x="88" y="51"/>
                    <a:pt x="88" y="53"/>
                    <a:pt x="87" y="53"/>
                  </a:cubicBezTo>
                  <a:cubicBezTo>
                    <a:pt x="53" y="87"/>
                    <a:pt x="53" y="87"/>
                    <a:pt x="53" y="87"/>
                  </a:cubicBezTo>
                  <a:cubicBezTo>
                    <a:pt x="53" y="88"/>
                    <a:pt x="53" y="88"/>
                    <a:pt x="52" y="88"/>
                  </a:cubicBezTo>
                  <a:close/>
                  <a:moveTo>
                    <a:pt x="4" y="35"/>
                  </a:moveTo>
                  <a:cubicBezTo>
                    <a:pt x="52" y="83"/>
                    <a:pt x="52" y="83"/>
                    <a:pt x="52" y="83"/>
                  </a:cubicBezTo>
                  <a:cubicBezTo>
                    <a:pt x="83" y="52"/>
                    <a:pt x="83" y="52"/>
                    <a:pt x="83" y="52"/>
                  </a:cubicBezTo>
                  <a:cubicBezTo>
                    <a:pt x="35" y="4"/>
                    <a:pt x="35" y="4"/>
                    <a:pt x="35" y="4"/>
                  </a:cubicBezTo>
                  <a:cubicBezTo>
                    <a:pt x="4" y="4"/>
                    <a:pt x="4" y="4"/>
                    <a:pt x="4" y="4"/>
                  </a:cubicBezTo>
                  <a:lnTo>
                    <a:pt x="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7" name="Freeform 9">
              <a:extLst>
                <a:ext uri="{FF2B5EF4-FFF2-40B4-BE49-F238E27FC236}">
                  <a16:creationId xmlns:a16="http://schemas.microsoft.com/office/drawing/2014/main" id="{0C67C31C-E409-492F-B726-9FD39BB38B94}"/>
                </a:ext>
              </a:extLst>
            </p:cNvPr>
            <p:cNvSpPr>
              <a:spLocks noEditPoints="1"/>
            </p:cNvSpPr>
            <p:nvPr/>
          </p:nvSpPr>
          <p:spPr bwMode="auto">
            <a:xfrm>
              <a:off x="9616178" y="3376160"/>
              <a:ext cx="77788"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5"/>
                    <a:pt x="5" y="0"/>
                    <a:pt x="10" y="0"/>
                  </a:cubicBezTo>
                  <a:cubicBezTo>
                    <a:pt x="16" y="0"/>
                    <a:pt x="20" y="5"/>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08" name="Freeform 10">
              <a:extLst>
                <a:ext uri="{FF2B5EF4-FFF2-40B4-BE49-F238E27FC236}">
                  <a16:creationId xmlns:a16="http://schemas.microsoft.com/office/drawing/2014/main" id="{D49683E8-C6A0-44B1-9415-5AF7DF089F86}"/>
                </a:ext>
              </a:extLst>
            </p:cNvPr>
            <p:cNvSpPr>
              <a:spLocks/>
            </p:cNvSpPr>
            <p:nvPr/>
          </p:nvSpPr>
          <p:spPr bwMode="auto">
            <a:xfrm>
              <a:off x="9538390" y="3298372"/>
              <a:ext cx="115888" cy="115888"/>
            </a:xfrm>
            <a:custGeom>
              <a:avLst/>
              <a:gdLst>
                <a:gd name="T0" fmla="*/ 28 w 30"/>
                <a:gd name="T1" fmla="*/ 30 h 30"/>
                <a:gd name="T2" fmla="*/ 27 w 30"/>
                <a:gd name="T3" fmla="*/ 29 h 30"/>
                <a:gd name="T4" fmla="*/ 1 w 30"/>
                <a:gd name="T5" fmla="*/ 3 h 30"/>
                <a:gd name="T6" fmla="*/ 1 w 30"/>
                <a:gd name="T7" fmla="*/ 1 h 30"/>
                <a:gd name="T8" fmla="*/ 3 w 30"/>
                <a:gd name="T9" fmla="*/ 1 h 30"/>
                <a:gd name="T10" fmla="*/ 29 w 30"/>
                <a:gd name="T11" fmla="*/ 27 h 30"/>
                <a:gd name="T12" fmla="*/ 29 w 30"/>
                <a:gd name="T13" fmla="*/ 29 h 30"/>
                <a:gd name="T14" fmla="*/ 28 w 3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0">
                  <a:moveTo>
                    <a:pt x="28" y="30"/>
                  </a:moveTo>
                  <a:cubicBezTo>
                    <a:pt x="27" y="30"/>
                    <a:pt x="27" y="30"/>
                    <a:pt x="27" y="29"/>
                  </a:cubicBezTo>
                  <a:cubicBezTo>
                    <a:pt x="1" y="3"/>
                    <a:pt x="1" y="3"/>
                    <a:pt x="1" y="3"/>
                  </a:cubicBezTo>
                  <a:cubicBezTo>
                    <a:pt x="0" y="3"/>
                    <a:pt x="0" y="1"/>
                    <a:pt x="1" y="1"/>
                  </a:cubicBezTo>
                  <a:cubicBezTo>
                    <a:pt x="1" y="0"/>
                    <a:pt x="3" y="0"/>
                    <a:pt x="3" y="1"/>
                  </a:cubicBezTo>
                  <a:cubicBezTo>
                    <a:pt x="29" y="27"/>
                    <a:pt x="29" y="27"/>
                    <a:pt x="29" y="27"/>
                  </a:cubicBezTo>
                  <a:cubicBezTo>
                    <a:pt x="30" y="27"/>
                    <a:pt x="30" y="29"/>
                    <a:pt x="29" y="29"/>
                  </a:cubicBezTo>
                  <a:cubicBezTo>
                    <a:pt x="29" y="30"/>
                    <a:pt x="29" y="30"/>
                    <a:pt x="2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09" name="Group 16">
            <a:extLst>
              <a:ext uri="{FF2B5EF4-FFF2-40B4-BE49-F238E27FC236}">
                <a16:creationId xmlns:a16="http://schemas.microsoft.com/office/drawing/2014/main" id="{640BF665-EEDB-4FE0-9051-C16827F4B343}"/>
              </a:ext>
            </a:extLst>
          </p:cNvPr>
          <p:cNvGrpSpPr>
            <a:grpSpLocks noChangeAspect="1"/>
          </p:cNvGrpSpPr>
          <p:nvPr/>
        </p:nvGrpSpPr>
        <p:grpSpPr>
          <a:xfrm>
            <a:off x="4054766" y="2724897"/>
            <a:ext cx="264993" cy="285619"/>
            <a:chOff x="10463213" y="1352233"/>
            <a:chExt cx="265113" cy="285750"/>
          </a:xfrm>
          <a:solidFill>
            <a:schemeClr val="bg1"/>
          </a:solidFill>
          <a:effectLst/>
        </p:grpSpPr>
        <p:sp>
          <p:nvSpPr>
            <p:cNvPr id="1910" name="Freeform 167">
              <a:extLst>
                <a:ext uri="{FF2B5EF4-FFF2-40B4-BE49-F238E27FC236}">
                  <a16:creationId xmlns:a16="http://schemas.microsoft.com/office/drawing/2014/main" id="{0DAC056F-F22F-41AC-A8C4-94440803ACCC}"/>
                </a:ext>
              </a:extLst>
            </p:cNvPr>
            <p:cNvSpPr>
              <a:spLocks/>
            </p:cNvSpPr>
            <p:nvPr/>
          </p:nvSpPr>
          <p:spPr bwMode="auto">
            <a:xfrm>
              <a:off x="10463213" y="1457008"/>
              <a:ext cx="228600" cy="180975"/>
            </a:xfrm>
            <a:custGeom>
              <a:avLst/>
              <a:gdLst>
                <a:gd name="T0" fmla="*/ 607 w 722"/>
                <a:gd name="T1" fmla="*/ 0 h 571"/>
                <a:gd name="T2" fmla="*/ 601 w 722"/>
                <a:gd name="T3" fmla="*/ 1 h 571"/>
                <a:gd name="T4" fmla="*/ 597 w 722"/>
                <a:gd name="T5" fmla="*/ 5 h 571"/>
                <a:gd name="T6" fmla="*/ 593 w 722"/>
                <a:gd name="T7" fmla="*/ 9 h 571"/>
                <a:gd name="T8" fmla="*/ 592 w 722"/>
                <a:gd name="T9" fmla="*/ 15 h 571"/>
                <a:gd name="T10" fmla="*/ 593 w 722"/>
                <a:gd name="T11" fmla="*/ 21 h 571"/>
                <a:gd name="T12" fmla="*/ 597 w 722"/>
                <a:gd name="T13" fmla="*/ 26 h 571"/>
                <a:gd name="T14" fmla="*/ 601 w 722"/>
                <a:gd name="T15" fmla="*/ 29 h 571"/>
                <a:gd name="T16" fmla="*/ 607 w 722"/>
                <a:gd name="T17" fmla="*/ 30 h 571"/>
                <a:gd name="T18" fmla="*/ 692 w 722"/>
                <a:gd name="T19" fmla="*/ 541 h 571"/>
                <a:gd name="T20" fmla="*/ 30 w 722"/>
                <a:gd name="T21" fmla="*/ 30 h 571"/>
                <a:gd name="T22" fmla="*/ 117 w 722"/>
                <a:gd name="T23" fmla="*/ 29 h 571"/>
                <a:gd name="T24" fmla="*/ 123 w 722"/>
                <a:gd name="T25" fmla="*/ 27 h 571"/>
                <a:gd name="T26" fmla="*/ 127 w 722"/>
                <a:gd name="T27" fmla="*/ 23 h 571"/>
                <a:gd name="T28" fmla="*/ 129 w 722"/>
                <a:gd name="T29" fmla="*/ 17 h 571"/>
                <a:gd name="T30" fmla="*/ 129 w 722"/>
                <a:gd name="T31" fmla="*/ 12 h 571"/>
                <a:gd name="T32" fmla="*/ 127 w 722"/>
                <a:gd name="T33" fmla="*/ 7 h 571"/>
                <a:gd name="T34" fmla="*/ 123 w 722"/>
                <a:gd name="T35" fmla="*/ 2 h 571"/>
                <a:gd name="T36" fmla="*/ 117 w 722"/>
                <a:gd name="T37" fmla="*/ 0 h 571"/>
                <a:gd name="T38" fmla="*/ 15 w 722"/>
                <a:gd name="T39" fmla="*/ 0 h 571"/>
                <a:gd name="T40" fmla="*/ 10 w 722"/>
                <a:gd name="T41" fmla="*/ 1 h 571"/>
                <a:gd name="T42" fmla="*/ 5 w 722"/>
                <a:gd name="T43" fmla="*/ 5 h 571"/>
                <a:gd name="T44" fmla="*/ 1 w 722"/>
                <a:gd name="T45" fmla="*/ 9 h 571"/>
                <a:gd name="T46" fmla="*/ 0 w 722"/>
                <a:gd name="T47" fmla="*/ 15 h 571"/>
                <a:gd name="T48" fmla="*/ 1 w 722"/>
                <a:gd name="T49" fmla="*/ 559 h 571"/>
                <a:gd name="T50" fmla="*/ 4 w 722"/>
                <a:gd name="T51" fmla="*/ 564 h 571"/>
                <a:gd name="T52" fmla="*/ 7 w 722"/>
                <a:gd name="T53" fmla="*/ 569 h 571"/>
                <a:gd name="T54" fmla="*/ 12 w 722"/>
                <a:gd name="T55" fmla="*/ 571 h 571"/>
                <a:gd name="T56" fmla="*/ 707 w 722"/>
                <a:gd name="T57" fmla="*/ 571 h 571"/>
                <a:gd name="T58" fmla="*/ 713 w 722"/>
                <a:gd name="T59" fmla="*/ 570 h 571"/>
                <a:gd name="T60" fmla="*/ 718 w 722"/>
                <a:gd name="T61" fmla="*/ 566 h 571"/>
                <a:gd name="T62" fmla="*/ 721 w 722"/>
                <a:gd name="T63" fmla="*/ 562 h 571"/>
                <a:gd name="T64" fmla="*/ 722 w 722"/>
                <a:gd name="T65" fmla="*/ 556 h 571"/>
                <a:gd name="T66" fmla="*/ 722 w 722"/>
                <a:gd name="T67" fmla="*/ 12 h 571"/>
                <a:gd name="T68" fmla="*/ 720 w 722"/>
                <a:gd name="T69" fmla="*/ 7 h 571"/>
                <a:gd name="T70" fmla="*/ 716 w 722"/>
                <a:gd name="T71" fmla="*/ 2 h 571"/>
                <a:gd name="T72" fmla="*/ 710 w 722"/>
                <a:gd name="T7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2" h="571">
                  <a:moveTo>
                    <a:pt x="707" y="0"/>
                  </a:moveTo>
                  <a:lnTo>
                    <a:pt x="607" y="0"/>
                  </a:lnTo>
                  <a:lnTo>
                    <a:pt x="604" y="0"/>
                  </a:lnTo>
                  <a:lnTo>
                    <a:pt x="601" y="1"/>
                  </a:lnTo>
                  <a:lnTo>
                    <a:pt x="599" y="2"/>
                  </a:lnTo>
                  <a:lnTo>
                    <a:pt x="597" y="5"/>
                  </a:lnTo>
                  <a:lnTo>
                    <a:pt x="594" y="7"/>
                  </a:lnTo>
                  <a:lnTo>
                    <a:pt x="593" y="9"/>
                  </a:lnTo>
                  <a:lnTo>
                    <a:pt x="592" y="12"/>
                  </a:lnTo>
                  <a:lnTo>
                    <a:pt x="592" y="15"/>
                  </a:lnTo>
                  <a:lnTo>
                    <a:pt x="592" y="17"/>
                  </a:lnTo>
                  <a:lnTo>
                    <a:pt x="593" y="21"/>
                  </a:lnTo>
                  <a:lnTo>
                    <a:pt x="594" y="23"/>
                  </a:lnTo>
                  <a:lnTo>
                    <a:pt x="597" y="26"/>
                  </a:lnTo>
                  <a:lnTo>
                    <a:pt x="599" y="27"/>
                  </a:lnTo>
                  <a:lnTo>
                    <a:pt x="601" y="29"/>
                  </a:lnTo>
                  <a:lnTo>
                    <a:pt x="604" y="29"/>
                  </a:lnTo>
                  <a:lnTo>
                    <a:pt x="607" y="30"/>
                  </a:lnTo>
                  <a:lnTo>
                    <a:pt x="692" y="30"/>
                  </a:lnTo>
                  <a:lnTo>
                    <a:pt x="692" y="541"/>
                  </a:lnTo>
                  <a:lnTo>
                    <a:pt x="30" y="541"/>
                  </a:lnTo>
                  <a:lnTo>
                    <a:pt x="30" y="30"/>
                  </a:lnTo>
                  <a:lnTo>
                    <a:pt x="114" y="30"/>
                  </a:lnTo>
                  <a:lnTo>
                    <a:pt x="117" y="29"/>
                  </a:lnTo>
                  <a:lnTo>
                    <a:pt x="120" y="29"/>
                  </a:lnTo>
                  <a:lnTo>
                    <a:pt x="123" y="27"/>
                  </a:lnTo>
                  <a:lnTo>
                    <a:pt x="125" y="26"/>
                  </a:lnTo>
                  <a:lnTo>
                    <a:pt x="127" y="23"/>
                  </a:lnTo>
                  <a:lnTo>
                    <a:pt x="128" y="21"/>
                  </a:lnTo>
                  <a:lnTo>
                    <a:pt x="129" y="17"/>
                  </a:lnTo>
                  <a:lnTo>
                    <a:pt x="129" y="15"/>
                  </a:lnTo>
                  <a:lnTo>
                    <a:pt x="129" y="12"/>
                  </a:lnTo>
                  <a:lnTo>
                    <a:pt x="128" y="9"/>
                  </a:lnTo>
                  <a:lnTo>
                    <a:pt x="127" y="7"/>
                  </a:lnTo>
                  <a:lnTo>
                    <a:pt x="125" y="5"/>
                  </a:lnTo>
                  <a:lnTo>
                    <a:pt x="123" y="2"/>
                  </a:lnTo>
                  <a:lnTo>
                    <a:pt x="120" y="1"/>
                  </a:lnTo>
                  <a:lnTo>
                    <a:pt x="117" y="0"/>
                  </a:lnTo>
                  <a:lnTo>
                    <a:pt x="114" y="0"/>
                  </a:lnTo>
                  <a:lnTo>
                    <a:pt x="15" y="0"/>
                  </a:lnTo>
                  <a:lnTo>
                    <a:pt x="12" y="0"/>
                  </a:lnTo>
                  <a:lnTo>
                    <a:pt x="10" y="1"/>
                  </a:lnTo>
                  <a:lnTo>
                    <a:pt x="7" y="2"/>
                  </a:lnTo>
                  <a:lnTo>
                    <a:pt x="5" y="5"/>
                  </a:lnTo>
                  <a:lnTo>
                    <a:pt x="4" y="7"/>
                  </a:lnTo>
                  <a:lnTo>
                    <a:pt x="1" y="9"/>
                  </a:lnTo>
                  <a:lnTo>
                    <a:pt x="0" y="12"/>
                  </a:lnTo>
                  <a:lnTo>
                    <a:pt x="0" y="15"/>
                  </a:lnTo>
                  <a:lnTo>
                    <a:pt x="0" y="556"/>
                  </a:lnTo>
                  <a:lnTo>
                    <a:pt x="1" y="559"/>
                  </a:lnTo>
                  <a:lnTo>
                    <a:pt x="1" y="562"/>
                  </a:lnTo>
                  <a:lnTo>
                    <a:pt x="4" y="564"/>
                  </a:lnTo>
                  <a:lnTo>
                    <a:pt x="5" y="566"/>
                  </a:lnTo>
                  <a:lnTo>
                    <a:pt x="7" y="569"/>
                  </a:lnTo>
                  <a:lnTo>
                    <a:pt x="10" y="570"/>
                  </a:lnTo>
                  <a:lnTo>
                    <a:pt x="12" y="571"/>
                  </a:lnTo>
                  <a:lnTo>
                    <a:pt x="15" y="571"/>
                  </a:lnTo>
                  <a:lnTo>
                    <a:pt x="707" y="571"/>
                  </a:lnTo>
                  <a:lnTo>
                    <a:pt x="710" y="571"/>
                  </a:lnTo>
                  <a:lnTo>
                    <a:pt x="713" y="570"/>
                  </a:lnTo>
                  <a:lnTo>
                    <a:pt x="716" y="569"/>
                  </a:lnTo>
                  <a:lnTo>
                    <a:pt x="718" y="566"/>
                  </a:lnTo>
                  <a:lnTo>
                    <a:pt x="720" y="564"/>
                  </a:lnTo>
                  <a:lnTo>
                    <a:pt x="721" y="562"/>
                  </a:lnTo>
                  <a:lnTo>
                    <a:pt x="722" y="559"/>
                  </a:lnTo>
                  <a:lnTo>
                    <a:pt x="722" y="556"/>
                  </a:lnTo>
                  <a:lnTo>
                    <a:pt x="722" y="15"/>
                  </a:lnTo>
                  <a:lnTo>
                    <a:pt x="722" y="12"/>
                  </a:lnTo>
                  <a:lnTo>
                    <a:pt x="721" y="9"/>
                  </a:lnTo>
                  <a:lnTo>
                    <a:pt x="720" y="7"/>
                  </a:lnTo>
                  <a:lnTo>
                    <a:pt x="718" y="5"/>
                  </a:lnTo>
                  <a:lnTo>
                    <a:pt x="716" y="2"/>
                  </a:lnTo>
                  <a:lnTo>
                    <a:pt x="713" y="1"/>
                  </a:lnTo>
                  <a:lnTo>
                    <a:pt x="710" y="0"/>
                  </a:lnTo>
                  <a:lnTo>
                    <a:pt x="707" y="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1" name="Freeform 168">
              <a:extLst>
                <a:ext uri="{FF2B5EF4-FFF2-40B4-BE49-F238E27FC236}">
                  <a16:creationId xmlns:a16="http://schemas.microsoft.com/office/drawing/2014/main" id="{C62CA45A-2051-428D-8394-EE929331A8DB}"/>
                </a:ext>
              </a:extLst>
            </p:cNvPr>
            <p:cNvSpPr>
              <a:spLocks/>
            </p:cNvSpPr>
            <p:nvPr/>
          </p:nvSpPr>
          <p:spPr bwMode="auto">
            <a:xfrm>
              <a:off x="10520363" y="1352233"/>
              <a:ext cx="114300" cy="128588"/>
            </a:xfrm>
            <a:custGeom>
              <a:avLst/>
              <a:gdLst>
                <a:gd name="T0" fmla="*/ 1 w 361"/>
                <a:gd name="T1" fmla="*/ 393 h 406"/>
                <a:gd name="T2" fmla="*/ 3 w 361"/>
                <a:gd name="T3" fmla="*/ 399 h 406"/>
                <a:gd name="T4" fmla="*/ 7 w 361"/>
                <a:gd name="T5" fmla="*/ 403 h 406"/>
                <a:gd name="T6" fmla="*/ 12 w 361"/>
                <a:gd name="T7" fmla="*/ 405 h 406"/>
                <a:gd name="T8" fmla="*/ 18 w 361"/>
                <a:gd name="T9" fmla="*/ 405 h 406"/>
                <a:gd name="T10" fmla="*/ 23 w 361"/>
                <a:gd name="T11" fmla="*/ 403 h 406"/>
                <a:gd name="T12" fmla="*/ 27 w 361"/>
                <a:gd name="T13" fmla="*/ 400 h 406"/>
                <a:gd name="T14" fmla="*/ 30 w 361"/>
                <a:gd name="T15" fmla="*/ 395 h 406"/>
                <a:gd name="T16" fmla="*/ 30 w 361"/>
                <a:gd name="T17" fmla="*/ 184 h 406"/>
                <a:gd name="T18" fmla="*/ 32 w 361"/>
                <a:gd name="T19" fmla="*/ 155 h 406"/>
                <a:gd name="T20" fmla="*/ 38 w 361"/>
                <a:gd name="T21" fmla="*/ 127 h 406"/>
                <a:gd name="T22" fmla="*/ 51 w 361"/>
                <a:gd name="T23" fmla="*/ 101 h 406"/>
                <a:gd name="T24" fmla="*/ 68 w 361"/>
                <a:gd name="T25" fmla="*/ 78 h 406"/>
                <a:gd name="T26" fmla="*/ 92 w 361"/>
                <a:gd name="T27" fmla="*/ 58 h 406"/>
                <a:gd name="T28" fmla="*/ 119 w 361"/>
                <a:gd name="T29" fmla="*/ 43 h 406"/>
                <a:gd name="T30" fmla="*/ 149 w 361"/>
                <a:gd name="T31" fmla="*/ 33 h 406"/>
                <a:gd name="T32" fmla="*/ 180 w 361"/>
                <a:gd name="T33" fmla="*/ 30 h 406"/>
                <a:gd name="T34" fmla="*/ 211 w 361"/>
                <a:gd name="T35" fmla="*/ 33 h 406"/>
                <a:gd name="T36" fmla="*/ 240 w 361"/>
                <a:gd name="T37" fmla="*/ 43 h 406"/>
                <a:gd name="T38" fmla="*/ 268 w 361"/>
                <a:gd name="T39" fmla="*/ 57 h 406"/>
                <a:gd name="T40" fmla="*/ 290 w 361"/>
                <a:gd name="T41" fmla="*/ 77 h 406"/>
                <a:gd name="T42" fmla="*/ 309 w 361"/>
                <a:gd name="T43" fmla="*/ 101 h 406"/>
                <a:gd name="T44" fmla="*/ 322 w 361"/>
                <a:gd name="T45" fmla="*/ 127 h 406"/>
                <a:gd name="T46" fmla="*/ 329 w 361"/>
                <a:gd name="T47" fmla="*/ 155 h 406"/>
                <a:gd name="T48" fmla="*/ 331 w 361"/>
                <a:gd name="T49" fmla="*/ 185 h 406"/>
                <a:gd name="T50" fmla="*/ 331 w 361"/>
                <a:gd name="T51" fmla="*/ 393 h 406"/>
                <a:gd name="T52" fmla="*/ 333 w 361"/>
                <a:gd name="T53" fmla="*/ 399 h 406"/>
                <a:gd name="T54" fmla="*/ 337 w 361"/>
                <a:gd name="T55" fmla="*/ 403 h 406"/>
                <a:gd name="T56" fmla="*/ 343 w 361"/>
                <a:gd name="T57" fmla="*/ 405 h 406"/>
                <a:gd name="T58" fmla="*/ 349 w 361"/>
                <a:gd name="T59" fmla="*/ 405 h 406"/>
                <a:gd name="T60" fmla="*/ 354 w 361"/>
                <a:gd name="T61" fmla="*/ 403 h 406"/>
                <a:gd name="T62" fmla="*/ 359 w 361"/>
                <a:gd name="T63" fmla="*/ 400 h 406"/>
                <a:gd name="T64" fmla="*/ 361 w 361"/>
                <a:gd name="T65" fmla="*/ 395 h 406"/>
                <a:gd name="T66" fmla="*/ 361 w 361"/>
                <a:gd name="T67" fmla="*/ 186 h 406"/>
                <a:gd name="T68" fmla="*/ 359 w 361"/>
                <a:gd name="T69" fmla="*/ 150 h 406"/>
                <a:gd name="T70" fmla="*/ 350 w 361"/>
                <a:gd name="T71" fmla="*/ 117 h 406"/>
                <a:gd name="T72" fmla="*/ 334 w 361"/>
                <a:gd name="T73" fmla="*/ 85 h 406"/>
                <a:gd name="T74" fmla="*/ 313 w 361"/>
                <a:gd name="T75" fmla="*/ 57 h 406"/>
                <a:gd name="T76" fmla="*/ 285 w 361"/>
                <a:gd name="T77" fmla="*/ 32 h 406"/>
                <a:gd name="T78" fmla="*/ 253 w 361"/>
                <a:gd name="T79" fmla="*/ 15 h 406"/>
                <a:gd name="T80" fmla="*/ 217 w 361"/>
                <a:gd name="T81" fmla="*/ 4 h 406"/>
                <a:gd name="T82" fmla="*/ 180 w 361"/>
                <a:gd name="T83" fmla="*/ 0 h 406"/>
                <a:gd name="T84" fmla="*/ 142 w 361"/>
                <a:gd name="T85" fmla="*/ 4 h 406"/>
                <a:gd name="T86" fmla="*/ 107 w 361"/>
                <a:gd name="T87" fmla="*/ 15 h 406"/>
                <a:gd name="T88" fmla="*/ 75 w 361"/>
                <a:gd name="T89" fmla="*/ 33 h 406"/>
                <a:gd name="T90" fmla="*/ 47 w 361"/>
                <a:gd name="T91" fmla="*/ 57 h 406"/>
                <a:gd name="T92" fmla="*/ 25 w 361"/>
                <a:gd name="T93" fmla="*/ 86 h 406"/>
                <a:gd name="T94" fmla="*/ 10 w 361"/>
                <a:gd name="T95" fmla="*/ 117 h 406"/>
                <a:gd name="T96" fmla="*/ 2 w 361"/>
                <a:gd name="T97" fmla="*/ 151 h 406"/>
                <a:gd name="T98" fmla="*/ 0 w 361"/>
                <a:gd name="T99" fmla="*/ 18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1" h="406">
                  <a:moveTo>
                    <a:pt x="0" y="391"/>
                  </a:moveTo>
                  <a:lnTo>
                    <a:pt x="1" y="393"/>
                  </a:lnTo>
                  <a:lnTo>
                    <a:pt x="2" y="397"/>
                  </a:lnTo>
                  <a:lnTo>
                    <a:pt x="3" y="399"/>
                  </a:lnTo>
                  <a:lnTo>
                    <a:pt x="5" y="402"/>
                  </a:lnTo>
                  <a:lnTo>
                    <a:pt x="7" y="403"/>
                  </a:lnTo>
                  <a:lnTo>
                    <a:pt x="9" y="405"/>
                  </a:lnTo>
                  <a:lnTo>
                    <a:pt x="12" y="405"/>
                  </a:lnTo>
                  <a:lnTo>
                    <a:pt x="15" y="406"/>
                  </a:lnTo>
                  <a:lnTo>
                    <a:pt x="18" y="405"/>
                  </a:lnTo>
                  <a:lnTo>
                    <a:pt x="21" y="405"/>
                  </a:lnTo>
                  <a:lnTo>
                    <a:pt x="23" y="403"/>
                  </a:lnTo>
                  <a:lnTo>
                    <a:pt x="25" y="402"/>
                  </a:lnTo>
                  <a:lnTo>
                    <a:pt x="27" y="400"/>
                  </a:lnTo>
                  <a:lnTo>
                    <a:pt x="28" y="397"/>
                  </a:lnTo>
                  <a:lnTo>
                    <a:pt x="30" y="395"/>
                  </a:lnTo>
                  <a:lnTo>
                    <a:pt x="30" y="391"/>
                  </a:lnTo>
                  <a:lnTo>
                    <a:pt x="30" y="184"/>
                  </a:lnTo>
                  <a:lnTo>
                    <a:pt x="30" y="169"/>
                  </a:lnTo>
                  <a:lnTo>
                    <a:pt x="32" y="155"/>
                  </a:lnTo>
                  <a:lnTo>
                    <a:pt x="34" y="141"/>
                  </a:lnTo>
                  <a:lnTo>
                    <a:pt x="38" y="127"/>
                  </a:lnTo>
                  <a:lnTo>
                    <a:pt x="43" y="114"/>
                  </a:lnTo>
                  <a:lnTo>
                    <a:pt x="51" y="101"/>
                  </a:lnTo>
                  <a:lnTo>
                    <a:pt x="58" y="89"/>
                  </a:lnTo>
                  <a:lnTo>
                    <a:pt x="68" y="78"/>
                  </a:lnTo>
                  <a:lnTo>
                    <a:pt x="80" y="67"/>
                  </a:lnTo>
                  <a:lnTo>
                    <a:pt x="92" y="58"/>
                  </a:lnTo>
                  <a:lnTo>
                    <a:pt x="105" y="49"/>
                  </a:lnTo>
                  <a:lnTo>
                    <a:pt x="119" y="43"/>
                  </a:lnTo>
                  <a:lnTo>
                    <a:pt x="134" y="37"/>
                  </a:lnTo>
                  <a:lnTo>
                    <a:pt x="149" y="33"/>
                  </a:lnTo>
                  <a:lnTo>
                    <a:pt x="164" y="31"/>
                  </a:lnTo>
                  <a:lnTo>
                    <a:pt x="180" y="30"/>
                  </a:lnTo>
                  <a:lnTo>
                    <a:pt x="196" y="31"/>
                  </a:lnTo>
                  <a:lnTo>
                    <a:pt x="211" y="33"/>
                  </a:lnTo>
                  <a:lnTo>
                    <a:pt x="226" y="37"/>
                  </a:lnTo>
                  <a:lnTo>
                    <a:pt x="240" y="43"/>
                  </a:lnTo>
                  <a:lnTo>
                    <a:pt x="254" y="49"/>
                  </a:lnTo>
                  <a:lnTo>
                    <a:pt x="268" y="57"/>
                  </a:lnTo>
                  <a:lnTo>
                    <a:pt x="279" y="66"/>
                  </a:lnTo>
                  <a:lnTo>
                    <a:pt x="290" y="77"/>
                  </a:lnTo>
                  <a:lnTo>
                    <a:pt x="301" y="89"/>
                  </a:lnTo>
                  <a:lnTo>
                    <a:pt x="309" y="101"/>
                  </a:lnTo>
                  <a:lnTo>
                    <a:pt x="316" y="114"/>
                  </a:lnTo>
                  <a:lnTo>
                    <a:pt x="322" y="127"/>
                  </a:lnTo>
                  <a:lnTo>
                    <a:pt x="327" y="141"/>
                  </a:lnTo>
                  <a:lnTo>
                    <a:pt x="329" y="155"/>
                  </a:lnTo>
                  <a:lnTo>
                    <a:pt x="331" y="170"/>
                  </a:lnTo>
                  <a:lnTo>
                    <a:pt x="331" y="185"/>
                  </a:lnTo>
                  <a:lnTo>
                    <a:pt x="331" y="391"/>
                  </a:lnTo>
                  <a:lnTo>
                    <a:pt x="331" y="393"/>
                  </a:lnTo>
                  <a:lnTo>
                    <a:pt x="332" y="397"/>
                  </a:lnTo>
                  <a:lnTo>
                    <a:pt x="333" y="399"/>
                  </a:lnTo>
                  <a:lnTo>
                    <a:pt x="335" y="402"/>
                  </a:lnTo>
                  <a:lnTo>
                    <a:pt x="337" y="403"/>
                  </a:lnTo>
                  <a:lnTo>
                    <a:pt x="339" y="405"/>
                  </a:lnTo>
                  <a:lnTo>
                    <a:pt x="343" y="405"/>
                  </a:lnTo>
                  <a:lnTo>
                    <a:pt x="346" y="406"/>
                  </a:lnTo>
                  <a:lnTo>
                    <a:pt x="349" y="405"/>
                  </a:lnTo>
                  <a:lnTo>
                    <a:pt x="351" y="405"/>
                  </a:lnTo>
                  <a:lnTo>
                    <a:pt x="354" y="403"/>
                  </a:lnTo>
                  <a:lnTo>
                    <a:pt x="357" y="402"/>
                  </a:lnTo>
                  <a:lnTo>
                    <a:pt x="359" y="400"/>
                  </a:lnTo>
                  <a:lnTo>
                    <a:pt x="360" y="397"/>
                  </a:lnTo>
                  <a:lnTo>
                    <a:pt x="361" y="395"/>
                  </a:lnTo>
                  <a:lnTo>
                    <a:pt x="361" y="391"/>
                  </a:lnTo>
                  <a:lnTo>
                    <a:pt x="361" y="186"/>
                  </a:lnTo>
                  <a:lnTo>
                    <a:pt x="361" y="168"/>
                  </a:lnTo>
                  <a:lnTo>
                    <a:pt x="359" y="150"/>
                  </a:lnTo>
                  <a:lnTo>
                    <a:pt x="355" y="133"/>
                  </a:lnTo>
                  <a:lnTo>
                    <a:pt x="350" y="117"/>
                  </a:lnTo>
                  <a:lnTo>
                    <a:pt x="343" y="101"/>
                  </a:lnTo>
                  <a:lnTo>
                    <a:pt x="334" y="85"/>
                  </a:lnTo>
                  <a:lnTo>
                    <a:pt x="324" y="71"/>
                  </a:lnTo>
                  <a:lnTo>
                    <a:pt x="313" y="57"/>
                  </a:lnTo>
                  <a:lnTo>
                    <a:pt x="299" y="44"/>
                  </a:lnTo>
                  <a:lnTo>
                    <a:pt x="285" y="32"/>
                  </a:lnTo>
                  <a:lnTo>
                    <a:pt x="269" y="22"/>
                  </a:lnTo>
                  <a:lnTo>
                    <a:pt x="253" y="15"/>
                  </a:lnTo>
                  <a:lnTo>
                    <a:pt x="234" y="8"/>
                  </a:lnTo>
                  <a:lnTo>
                    <a:pt x="217" y="4"/>
                  </a:lnTo>
                  <a:lnTo>
                    <a:pt x="198" y="1"/>
                  </a:lnTo>
                  <a:lnTo>
                    <a:pt x="180" y="0"/>
                  </a:lnTo>
                  <a:lnTo>
                    <a:pt x="161" y="1"/>
                  </a:lnTo>
                  <a:lnTo>
                    <a:pt x="142" y="4"/>
                  </a:lnTo>
                  <a:lnTo>
                    <a:pt x="124" y="8"/>
                  </a:lnTo>
                  <a:lnTo>
                    <a:pt x="107" y="15"/>
                  </a:lnTo>
                  <a:lnTo>
                    <a:pt x="91" y="23"/>
                  </a:lnTo>
                  <a:lnTo>
                    <a:pt x="75" y="33"/>
                  </a:lnTo>
                  <a:lnTo>
                    <a:pt x="61" y="44"/>
                  </a:lnTo>
                  <a:lnTo>
                    <a:pt x="47" y="57"/>
                  </a:lnTo>
                  <a:lnTo>
                    <a:pt x="35" y="71"/>
                  </a:lnTo>
                  <a:lnTo>
                    <a:pt x="25" y="86"/>
                  </a:lnTo>
                  <a:lnTo>
                    <a:pt x="17" y="101"/>
                  </a:lnTo>
                  <a:lnTo>
                    <a:pt x="10" y="117"/>
                  </a:lnTo>
                  <a:lnTo>
                    <a:pt x="5" y="134"/>
                  </a:lnTo>
                  <a:lnTo>
                    <a:pt x="2" y="151"/>
                  </a:lnTo>
                  <a:lnTo>
                    <a:pt x="0" y="168"/>
                  </a:lnTo>
                  <a:lnTo>
                    <a:pt x="0" y="185"/>
                  </a:lnTo>
                  <a:lnTo>
                    <a:pt x="0" y="39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2" name="Freeform 169">
              <a:extLst>
                <a:ext uri="{FF2B5EF4-FFF2-40B4-BE49-F238E27FC236}">
                  <a16:creationId xmlns:a16="http://schemas.microsoft.com/office/drawing/2014/main" id="{6C11FBF7-B8DD-471C-B098-6C8BC10C2D4B}"/>
                </a:ext>
              </a:extLst>
            </p:cNvPr>
            <p:cNvSpPr>
              <a:spLocks/>
            </p:cNvSpPr>
            <p:nvPr/>
          </p:nvSpPr>
          <p:spPr bwMode="auto">
            <a:xfrm>
              <a:off x="10544175" y="1457008"/>
              <a:ext cx="66675" cy="9525"/>
            </a:xfrm>
            <a:custGeom>
              <a:avLst/>
              <a:gdLst>
                <a:gd name="T0" fmla="*/ 195 w 210"/>
                <a:gd name="T1" fmla="*/ 30 h 30"/>
                <a:gd name="T2" fmla="*/ 198 w 210"/>
                <a:gd name="T3" fmla="*/ 29 h 30"/>
                <a:gd name="T4" fmla="*/ 200 w 210"/>
                <a:gd name="T5" fmla="*/ 29 h 30"/>
                <a:gd name="T6" fmla="*/ 203 w 210"/>
                <a:gd name="T7" fmla="*/ 27 h 30"/>
                <a:gd name="T8" fmla="*/ 206 w 210"/>
                <a:gd name="T9" fmla="*/ 26 h 30"/>
                <a:gd name="T10" fmla="*/ 207 w 210"/>
                <a:gd name="T11" fmla="*/ 23 h 30"/>
                <a:gd name="T12" fmla="*/ 209 w 210"/>
                <a:gd name="T13" fmla="*/ 21 h 30"/>
                <a:gd name="T14" fmla="*/ 210 w 210"/>
                <a:gd name="T15" fmla="*/ 17 h 30"/>
                <a:gd name="T16" fmla="*/ 210 w 210"/>
                <a:gd name="T17" fmla="*/ 15 h 30"/>
                <a:gd name="T18" fmla="*/ 210 w 210"/>
                <a:gd name="T19" fmla="*/ 12 h 30"/>
                <a:gd name="T20" fmla="*/ 209 w 210"/>
                <a:gd name="T21" fmla="*/ 9 h 30"/>
                <a:gd name="T22" fmla="*/ 207 w 210"/>
                <a:gd name="T23" fmla="*/ 7 h 30"/>
                <a:gd name="T24" fmla="*/ 206 w 210"/>
                <a:gd name="T25" fmla="*/ 5 h 30"/>
                <a:gd name="T26" fmla="*/ 203 w 210"/>
                <a:gd name="T27" fmla="*/ 2 h 30"/>
                <a:gd name="T28" fmla="*/ 200 w 210"/>
                <a:gd name="T29" fmla="*/ 1 h 30"/>
                <a:gd name="T30" fmla="*/ 198 w 210"/>
                <a:gd name="T31" fmla="*/ 0 h 30"/>
                <a:gd name="T32" fmla="*/ 195 w 210"/>
                <a:gd name="T33" fmla="*/ 0 h 30"/>
                <a:gd name="T34" fmla="*/ 15 w 210"/>
                <a:gd name="T35" fmla="*/ 0 h 30"/>
                <a:gd name="T36" fmla="*/ 11 w 210"/>
                <a:gd name="T37" fmla="*/ 0 h 30"/>
                <a:gd name="T38" fmla="*/ 8 w 210"/>
                <a:gd name="T39" fmla="*/ 1 h 30"/>
                <a:gd name="T40" fmla="*/ 6 w 210"/>
                <a:gd name="T41" fmla="*/ 2 h 30"/>
                <a:gd name="T42" fmla="*/ 4 w 210"/>
                <a:gd name="T43" fmla="*/ 5 h 30"/>
                <a:gd name="T44" fmla="*/ 2 w 210"/>
                <a:gd name="T45" fmla="*/ 7 h 30"/>
                <a:gd name="T46" fmla="*/ 1 w 210"/>
                <a:gd name="T47" fmla="*/ 9 h 30"/>
                <a:gd name="T48" fmla="*/ 0 w 210"/>
                <a:gd name="T49" fmla="*/ 12 h 30"/>
                <a:gd name="T50" fmla="*/ 0 w 210"/>
                <a:gd name="T51" fmla="*/ 15 h 30"/>
                <a:gd name="T52" fmla="*/ 0 w 210"/>
                <a:gd name="T53" fmla="*/ 17 h 30"/>
                <a:gd name="T54" fmla="*/ 1 w 210"/>
                <a:gd name="T55" fmla="*/ 21 h 30"/>
                <a:gd name="T56" fmla="*/ 2 w 210"/>
                <a:gd name="T57" fmla="*/ 23 h 30"/>
                <a:gd name="T58" fmla="*/ 4 w 210"/>
                <a:gd name="T59" fmla="*/ 26 h 30"/>
                <a:gd name="T60" fmla="*/ 6 w 210"/>
                <a:gd name="T61" fmla="*/ 27 h 30"/>
                <a:gd name="T62" fmla="*/ 8 w 210"/>
                <a:gd name="T63" fmla="*/ 29 h 30"/>
                <a:gd name="T64" fmla="*/ 11 w 210"/>
                <a:gd name="T65" fmla="*/ 29 h 30"/>
                <a:gd name="T66" fmla="*/ 15 w 210"/>
                <a:gd name="T67" fmla="*/ 30 h 30"/>
                <a:gd name="T68" fmla="*/ 195 w 21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30">
                  <a:moveTo>
                    <a:pt x="195" y="30"/>
                  </a:moveTo>
                  <a:lnTo>
                    <a:pt x="198" y="29"/>
                  </a:lnTo>
                  <a:lnTo>
                    <a:pt x="200" y="29"/>
                  </a:lnTo>
                  <a:lnTo>
                    <a:pt x="203" y="27"/>
                  </a:lnTo>
                  <a:lnTo>
                    <a:pt x="206" y="26"/>
                  </a:lnTo>
                  <a:lnTo>
                    <a:pt x="207" y="23"/>
                  </a:lnTo>
                  <a:lnTo>
                    <a:pt x="209" y="21"/>
                  </a:lnTo>
                  <a:lnTo>
                    <a:pt x="210" y="17"/>
                  </a:lnTo>
                  <a:lnTo>
                    <a:pt x="210" y="15"/>
                  </a:lnTo>
                  <a:lnTo>
                    <a:pt x="210" y="12"/>
                  </a:lnTo>
                  <a:lnTo>
                    <a:pt x="209" y="9"/>
                  </a:lnTo>
                  <a:lnTo>
                    <a:pt x="207" y="7"/>
                  </a:lnTo>
                  <a:lnTo>
                    <a:pt x="206" y="5"/>
                  </a:lnTo>
                  <a:lnTo>
                    <a:pt x="203" y="2"/>
                  </a:lnTo>
                  <a:lnTo>
                    <a:pt x="200" y="1"/>
                  </a:lnTo>
                  <a:lnTo>
                    <a:pt x="198" y="0"/>
                  </a:lnTo>
                  <a:lnTo>
                    <a:pt x="195" y="0"/>
                  </a:lnTo>
                  <a:lnTo>
                    <a:pt x="15" y="0"/>
                  </a:lnTo>
                  <a:lnTo>
                    <a:pt x="11" y="0"/>
                  </a:lnTo>
                  <a:lnTo>
                    <a:pt x="8" y="1"/>
                  </a:lnTo>
                  <a:lnTo>
                    <a:pt x="6" y="2"/>
                  </a:lnTo>
                  <a:lnTo>
                    <a:pt x="4" y="5"/>
                  </a:lnTo>
                  <a:lnTo>
                    <a:pt x="2" y="7"/>
                  </a:lnTo>
                  <a:lnTo>
                    <a:pt x="1" y="9"/>
                  </a:lnTo>
                  <a:lnTo>
                    <a:pt x="0" y="12"/>
                  </a:lnTo>
                  <a:lnTo>
                    <a:pt x="0" y="15"/>
                  </a:lnTo>
                  <a:lnTo>
                    <a:pt x="0" y="17"/>
                  </a:lnTo>
                  <a:lnTo>
                    <a:pt x="1" y="21"/>
                  </a:lnTo>
                  <a:lnTo>
                    <a:pt x="2" y="23"/>
                  </a:lnTo>
                  <a:lnTo>
                    <a:pt x="4" y="26"/>
                  </a:lnTo>
                  <a:lnTo>
                    <a:pt x="6" y="27"/>
                  </a:lnTo>
                  <a:lnTo>
                    <a:pt x="8" y="29"/>
                  </a:lnTo>
                  <a:lnTo>
                    <a:pt x="11" y="29"/>
                  </a:lnTo>
                  <a:lnTo>
                    <a:pt x="15" y="30"/>
                  </a:lnTo>
                  <a:lnTo>
                    <a:pt x="195" y="30"/>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3" name="Freeform 170">
              <a:extLst>
                <a:ext uri="{FF2B5EF4-FFF2-40B4-BE49-F238E27FC236}">
                  <a16:creationId xmlns:a16="http://schemas.microsoft.com/office/drawing/2014/main" id="{80B83D02-DE4A-43D8-89AF-3276230E28FE}"/>
                </a:ext>
              </a:extLst>
            </p:cNvPr>
            <p:cNvSpPr>
              <a:spLocks noEditPoints="1"/>
            </p:cNvSpPr>
            <p:nvPr/>
          </p:nvSpPr>
          <p:spPr bwMode="auto">
            <a:xfrm>
              <a:off x="10529888" y="1504633"/>
              <a:ext cx="95250" cy="85725"/>
            </a:xfrm>
            <a:custGeom>
              <a:avLst/>
              <a:gdLst>
                <a:gd name="T0" fmla="*/ 31 w 301"/>
                <a:gd name="T1" fmla="*/ 30 h 271"/>
                <a:gd name="T2" fmla="*/ 271 w 301"/>
                <a:gd name="T3" fmla="*/ 30 h 271"/>
                <a:gd name="T4" fmla="*/ 271 w 301"/>
                <a:gd name="T5" fmla="*/ 241 h 271"/>
                <a:gd name="T6" fmla="*/ 31 w 301"/>
                <a:gd name="T7" fmla="*/ 241 h 271"/>
                <a:gd name="T8" fmla="*/ 31 w 301"/>
                <a:gd name="T9" fmla="*/ 30 h 271"/>
                <a:gd name="T10" fmla="*/ 0 w 301"/>
                <a:gd name="T11" fmla="*/ 271 h 271"/>
                <a:gd name="T12" fmla="*/ 301 w 301"/>
                <a:gd name="T13" fmla="*/ 271 h 271"/>
                <a:gd name="T14" fmla="*/ 301 w 301"/>
                <a:gd name="T15" fmla="*/ 0 h 271"/>
                <a:gd name="T16" fmla="*/ 0 w 301"/>
                <a:gd name="T17" fmla="*/ 0 h 271"/>
                <a:gd name="T18" fmla="*/ 0 w 301"/>
                <a:gd name="T1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271">
                  <a:moveTo>
                    <a:pt x="31" y="30"/>
                  </a:moveTo>
                  <a:lnTo>
                    <a:pt x="271" y="30"/>
                  </a:lnTo>
                  <a:lnTo>
                    <a:pt x="271" y="241"/>
                  </a:lnTo>
                  <a:lnTo>
                    <a:pt x="31" y="241"/>
                  </a:lnTo>
                  <a:lnTo>
                    <a:pt x="31" y="30"/>
                  </a:lnTo>
                  <a:close/>
                  <a:moveTo>
                    <a:pt x="0" y="271"/>
                  </a:moveTo>
                  <a:lnTo>
                    <a:pt x="301" y="271"/>
                  </a:lnTo>
                  <a:lnTo>
                    <a:pt x="301" y="0"/>
                  </a:lnTo>
                  <a:lnTo>
                    <a:pt x="0" y="0"/>
                  </a:lnTo>
                  <a:lnTo>
                    <a:pt x="0" y="271"/>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14" name="Freeform 171">
              <a:extLst>
                <a:ext uri="{FF2B5EF4-FFF2-40B4-BE49-F238E27FC236}">
                  <a16:creationId xmlns:a16="http://schemas.microsoft.com/office/drawing/2014/main" id="{7AEA7AE5-DAA8-4062-8920-4EF0517B0FEF}"/>
                </a:ext>
              </a:extLst>
            </p:cNvPr>
            <p:cNvSpPr>
              <a:spLocks noEditPoints="1"/>
            </p:cNvSpPr>
            <p:nvPr/>
          </p:nvSpPr>
          <p:spPr bwMode="auto">
            <a:xfrm>
              <a:off x="10653713" y="1368108"/>
              <a:ext cx="74613" cy="79375"/>
            </a:xfrm>
            <a:custGeom>
              <a:avLst/>
              <a:gdLst>
                <a:gd name="T0" fmla="*/ 84 w 235"/>
                <a:gd name="T1" fmla="*/ 220 h 250"/>
                <a:gd name="T2" fmla="*/ 30 w 235"/>
                <a:gd name="T3" fmla="*/ 220 h 250"/>
                <a:gd name="T4" fmla="*/ 30 w 235"/>
                <a:gd name="T5" fmla="*/ 165 h 250"/>
                <a:gd name="T6" fmla="*/ 140 w 235"/>
                <a:gd name="T7" fmla="*/ 37 h 250"/>
                <a:gd name="T8" fmla="*/ 198 w 235"/>
                <a:gd name="T9" fmla="*/ 96 h 250"/>
                <a:gd name="T10" fmla="*/ 84 w 235"/>
                <a:gd name="T11" fmla="*/ 220 h 250"/>
                <a:gd name="T12" fmla="*/ 230 w 235"/>
                <a:gd name="T13" fmla="*/ 85 h 250"/>
                <a:gd name="T14" fmla="*/ 150 w 235"/>
                <a:gd name="T15" fmla="*/ 5 h 250"/>
                <a:gd name="T16" fmla="*/ 148 w 235"/>
                <a:gd name="T17" fmla="*/ 2 h 250"/>
                <a:gd name="T18" fmla="*/ 145 w 235"/>
                <a:gd name="T19" fmla="*/ 1 h 250"/>
                <a:gd name="T20" fmla="*/ 141 w 235"/>
                <a:gd name="T21" fmla="*/ 0 h 250"/>
                <a:gd name="T22" fmla="*/ 138 w 235"/>
                <a:gd name="T23" fmla="*/ 0 h 250"/>
                <a:gd name="T24" fmla="*/ 135 w 235"/>
                <a:gd name="T25" fmla="*/ 0 h 250"/>
                <a:gd name="T26" fmla="*/ 133 w 235"/>
                <a:gd name="T27" fmla="*/ 1 h 250"/>
                <a:gd name="T28" fmla="*/ 130 w 235"/>
                <a:gd name="T29" fmla="*/ 2 h 250"/>
                <a:gd name="T30" fmla="*/ 127 w 235"/>
                <a:gd name="T31" fmla="*/ 5 h 250"/>
                <a:gd name="T32" fmla="*/ 3 w 235"/>
                <a:gd name="T33" fmla="*/ 149 h 250"/>
                <a:gd name="T34" fmla="*/ 1 w 235"/>
                <a:gd name="T35" fmla="*/ 155 h 250"/>
                <a:gd name="T36" fmla="*/ 0 w 235"/>
                <a:gd name="T37" fmla="*/ 159 h 250"/>
                <a:gd name="T38" fmla="*/ 0 w 235"/>
                <a:gd name="T39" fmla="*/ 235 h 250"/>
                <a:gd name="T40" fmla="*/ 0 w 235"/>
                <a:gd name="T41" fmla="*/ 237 h 250"/>
                <a:gd name="T42" fmla="*/ 1 w 235"/>
                <a:gd name="T43" fmla="*/ 241 h 250"/>
                <a:gd name="T44" fmla="*/ 2 w 235"/>
                <a:gd name="T45" fmla="*/ 243 h 250"/>
                <a:gd name="T46" fmla="*/ 4 w 235"/>
                <a:gd name="T47" fmla="*/ 245 h 250"/>
                <a:gd name="T48" fmla="*/ 6 w 235"/>
                <a:gd name="T49" fmla="*/ 247 h 250"/>
                <a:gd name="T50" fmla="*/ 10 w 235"/>
                <a:gd name="T51" fmla="*/ 248 h 250"/>
                <a:gd name="T52" fmla="*/ 12 w 235"/>
                <a:gd name="T53" fmla="*/ 249 h 250"/>
                <a:gd name="T54" fmla="*/ 15 w 235"/>
                <a:gd name="T55" fmla="*/ 250 h 250"/>
                <a:gd name="T56" fmla="*/ 90 w 235"/>
                <a:gd name="T57" fmla="*/ 250 h 250"/>
                <a:gd name="T58" fmla="*/ 93 w 235"/>
                <a:gd name="T59" fmla="*/ 249 h 250"/>
                <a:gd name="T60" fmla="*/ 96 w 235"/>
                <a:gd name="T61" fmla="*/ 248 h 250"/>
                <a:gd name="T62" fmla="*/ 99 w 235"/>
                <a:gd name="T63" fmla="*/ 247 h 250"/>
                <a:gd name="T64" fmla="*/ 101 w 235"/>
                <a:gd name="T65" fmla="*/ 245 h 250"/>
                <a:gd name="T66" fmla="*/ 230 w 235"/>
                <a:gd name="T67" fmla="*/ 105 h 250"/>
                <a:gd name="T68" fmla="*/ 233 w 235"/>
                <a:gd name="T69" fmla="*/ 103 h 250"/>
                <a:gd name="T70" fmla="*/ 234 w 235"/>
                <a:gd name="T71" fmla="*/ 101 h 250"/>
                <a:gd name="T72" fmla="*/ 235 w 235"/>
                <a:gd name="T73" fmla="*/ 98 h 250"/>
                <a:gd name="T74" fmla="*/ 235 w 235"/>
                <a:gd name="T75" fmla="*/ 95 h 250"/>
                <a:gd name="T76" fmla="*/ 235 w 235"/>
                <a:gd name="T77" fmla="*/ 93 h 250"/>
                <a:gd name="T78" fmla="*/ 234 w 235"/>
                <a:gd name="T79" fmla="*/ 89 h 250"/>
                <a:gd name="T80" fmla="*/ 233 w 235"/>
                <a:gd name="T81" fmla="*/ 87 h 250"/>
                <a:gd name="T82" fmla="*/ 230 w 235"/>
                <a:gd name="T83"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 h="250">
                  <a:moveTo>
                    <a:pt x="84" y="220"/>
                  </a:moveTo>
                  <a:lnTo>
                    <a:pt x="30" y="220"/>
                  </a:lnTo>
                  <a:lnTo>
                    <a:pt x="30" y="165"/>
                  </a:lnTo>
                  <a:lnTo>
                    <a:pt x="140" y="37"/>
                  </a:lnTo>
                  <a:lnTo>
                    <a:pt x="198" y="96"/>
                  </a:lnTo>
                  <a:lnTo>
                    <a:pt x="84" y="220"/>
                  </a:lnTo>
                  <a:close/>
                  <a:moveTo>
                    <a:pt x="230" y="85"/>
                  </a:moveTo>
                  <a:lnTo>
                    <a:pt x="150" y="5"/>
                  </a:lnTo>
                  <a:lnTo>
                    <a:pt x="148" y="2"/>
                  </a:lnTo>
                  <a:lnTo>
                    <a:pt x="145" y="1"/>
                  </a:lnTo>
                  <a:lnTo>
                    <a:pt x="141" y="0"/>
                  </a:lnTo>
                  <a:lnTo>
                    <a:pt x="138" y="0"/>
                  </a:lnTo>
                  <a:lnTo>
                    <a:pt x="135" y="0"/>
                  </a:lnTo>
                  <a:lnTo>
                    <a:pt x="133" y="1"/>
                  </a:lnTo>
                  <a:lnTo>
                    <a:pt x="130" y="2"/>
                  </a:lnTo>
                  <a:lnTo>
                    <a:pt x="127" y="5"/>
                  </a:lnTo>
                  <a:lnTo>
                    <a:pt x="3" y="149"/>
                  </a:lnTo>
                  <a:lnTo>
                    <a:pt x="1" y="155"/>
                  </a:lnTo>
                  <a:lnTo>
                    <a:pt x="0" y="159"/>
                  </a:lnTo>
                  <a:lnTo>
                    <a:pt x="0" y="235"/>
                  </a:lnTo>
                  <a:lnTo>
                    <a:pt x="0" y="237"/>
                  </a:lnTo>
                  <a:lnTo>
                    <a:pt x="1" y="241"/>
                  </a:lnTo>
                  <a:lnTo>
                    <a:pt x="2" y="243"/>
                  </a:lnTo>
                  <a:lnTo>
                    <a:pt x="4" y="245"/>
                  </a:lnTo>
                  <a:lnTo>
                    <a:pt x="6" y="247"/>
                  </a:lnTo>
                  <a:lnTo>
                    <a:pt x="10" y="248"/>
                  </a:lnTo>
                  <a:lnTo>
                    <a:pt x="12" y="249"/>
                  </a:lnTo>
                  <a:lnTo>
                    <a:pt x="15" y="250"/>
                  </a:lnTo>
                  <a:lnTo>
                    <a:pt x="90" y="250"/>
                  </a:lnTo>
                  <a:lnTo>
                    <a:pt x="93" y="249"/>
                  </a:lnTo>
                  <a:lnTo>
                    <a:pt x="96" y="248"/>
                  </a:lnTo>
                  <a:lnTo>
                    <a:pt x="99" y="247"/>
                  </a:lnTo>
                  <a:lnTo>
                    <a:pt x="101" y="245"/>
                  </a:lnTo>
                  <a:lnTo>
                    <a:pt x="230" y="105"/>
                  </a:lnTo>
                  <a:lnTo>
                    <a:pt x="233" y="103"/>
                  </a:lnTo>
                  <a:lnTo>
                    <a:pt x="234" y="101"/>
                  </a:lnTo>
                  <a:lnTo>
                    <a:pt x="235" y="98"/>
                  </a:lnTo>
                  <a:lnTo>
                    <a:pt x="235" y="95"/>
                  </a:lnTo>
                  <a:lnTo>
                    <a:pt x="235" y="93"/>
                  </a:lnTo>
                  <a:lnTo>
                    <a:pt x="234" y="89"/>
                  </a:lnTo>
                  <a:lnTo>
                    <a:pt x="233" y="87"/>
                  </a:lnTo>
                  <a:lnTo>
                    <a:pt x="230" y="85"/>
                  </a:lnTo>
                  <a:close/>
                </a:path>
              </a:pathLst>
            </a:custGeom>
            <a:grp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bg2"/>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41" name="Group 139">
            <a:extLst>
              <a:ext uri="{FF2B5EF4-FFF2-40B4-BE49-F238E27FC236}">
                <a16:creationId xmlns:a16="http://schemas.microsoft.com/office/drawing/2014/main" id="{8FC73832-C4C1-4455-AF25-9A923AA21C7D}"/>
              </a:ext>
            </a:extLst>
          </p:cNvPr>
          <p:cNvGrpSpPr>
            <a:grpSpLocks noChangeAspect="1"/>
          </p:cNvGrpSpPr>
          <p:nvPr/>
        </p:nvGrpSpPr>
        <p:grpSpPr>
          <a:xfrm>
            <a:off x="1478842" y="2724897"/>
            <a:ext cx="285618" cy="285619"/>
            <a:chOff x="8088313" y="1273175"/>
            <a:chExt cx="357187" cy="357188"/>
          </a:xfrm>
          <a:solidFill>
            <a:schemeClr val="bg1"/>
          </a:solidFill>
          <a:effectLst/>
        </p:grpSpPr>
        <p:sp>
          <p:nvSpPr>
            <p:cNvPr id="1942" name="Freeform 47">
              <a:extLst>
                <a:ext uri="{FF2B5EF4-FFF2-40B4-BE49-F238E27FC236}">
                  <a16:creationId xmlns:a16="http://schemas.microsoft.com/office/drawing/2014/main" id="{88AEDA4C-8228-443E-A6DA-B958A411C3DF}"/>
                </a:ext>
              </a:extLst>
            </p:cNvPr>
            <p:cNvSpPr>
              <a:spLocks noEditPoints="1"/>
            </p:cNvSpPr>
            <p:nvPr/>
          </p:nvSpPr>
          <p:spPr bwMode="auto">
            <a:xfrm>
              <a:off x="8088313" y="1273175"/>
              <a:ext cx="357187" cy="357188"/>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3" name="Freeform 48">
              <a:extLst>
                <a:ext uri="{FF2B5EF4-FFF2-40B4-BE49-F238E27FC236}">
                  <a16:creationId xmlns:a16="http://schemas.microsoft.com/office/drawing/2014/main" id="{8D82813B-E36E-46C6-AAB8-D2EBF8AE1096}"/>
                </a:ext>
              </a:extLst>
            </p:cNvPr>
            <p:cNvSpPr>
              <a:spLocks/>
            </p:cNvSpPr>
            <p:nvPr/>
          </p:nvSpPr>
          <p:spPr bwMode="auto">
            <a:xfrm>
              <a:off x="8220075" y="1366838"/>
              <a:ext cx="93662" cy="169863"/>
            </a:xfrm>
            <a:custGeom>
              <a:avLst/>
              <a:gdLst>
                <a:gd name="T0" fmla="*/ 12 w 24"/>
                <a:gd name="T1" fmla="*/ 44 h 44"/>
                <a:gd name="T2" fmla="*/ 0 w 24"/>
                <a:gd name="T3" fmla="*/ 32 h 44"/>
                <a:gd name="T4" fmla="*/ 2 w 24"/>
                <a:gd name="T5" fmla="*/ 30 h 44"/>
                <a:gd name="T6" fmla="*/ 4 w 24"/>
                <a:gd name="T7" fmla="*/ 32 h 44"/>
                <a:gd name="T8" fmla="*/ 12 w 24"/>
                <a:gd name="T9" fmla="*/ 40 h 44"/>
                <a:gd name="T10" fmla="*/ 20 w 24"/>
                <a:gd name="T11" fmla="*/ 32 h 44"/>
                <a:gd name="T12" fmla="*/ 12 w 24"/>
                <a:gd name="T13" fmla="*/ 24 h 44"/>
                <a:gd name="T14" fmla="*/ 0 w 24"/>
                <a:gd name="T15" fmla="*/ 12 h 44"/>
                <a:gd name="T16" fmla="*/ 12 w 24"/>
                <a:gd name="T17" fmla="*/ 0 h 44"/>
                <a:gd name="T18" fmla="*/ 24 w 24"/>
                <a:gd name="T19" fmla="*/ 12 h 44"/>
                <a:gd name="T20" fmla="*/ 22 w 24"/>
                <a:gd name="T21" fmla="*/ 14 h 44"/>
                <a:gd name="T22" fmla="*/ 20 w 24"/>
                <a:gd name="T23" fmla="*/ 12 h 44"/>
                <a:gd name="T24" fmla="*/ 12 w 24"/>
                <a:gd name="T25" fmla="*/ 4 h 44"/>
                <a:gd name="T26" fmla="*/ 4 w 24"/>
                <a:gd name="T27" fmla="*/ 12 h 44"/>
                <a:gd name="T28" fmla="*/ 12 w 24"/>
                <a:gd name="T29" fmla="*/ 20 h 44"/>
                <a:gd name="T30" fmla="*/ 24 w 24"/>
                <a:gd name="T31" fmla="*/ 32 h 44"/>
                <a:gd name="T32" fmla="*/ 12 w 24"/>
                <a:gd name="T3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44">
                  <a:moveTo>
                    <a:pt x="12" y="44"/>
                  </a:moveTo>
                  <a:cubicBezTo>
                    <a:pt x="5" y="44"/>
                    <a:pt x="0" y="39"/>
                    <a:pt x="0" y="32"/>
                  </a:cubicBezTo>
                  <a:cubicBezTo>
                    <a:pt x="0" y="31"/>
                    <a:pt x="1" y="30"/>
                    <a:pt x="2" y="30"/>
                  </a:cubicBezTo>
                  <a:cubicBezTo>
                    <a:pt x="3" y="30"/>
                    <a:pt x="4" y="31"/>
                    <a:pt x="4" y="32"/>
                  </a:cubicBezTo>
                  <a:cubicBezTo>
                    <a:pt x="4" y="36"/>
                    <a:pt x="8" y="40"/>
                    <a:pt x="12" y="40"/>
                  </a:cubicBezTo>
                  <a:cubicBezTo>
                    <a:pt x="16" y="40"/>
                    <a:pt x="20" y="36"/>
                    <a:pt x="20" y="32"/>
                  </a:cubicBezTo>
                  <a:cubicBezTo>
                    <a:pt x="20" y="28"/>
                    <a:pt x="16" y="24"/>
                    <a:pt x="12" y="24"/>
                  </a:cubicBezTo>
                  <a:cubicBezTo>
                    <a:pt x="5" y="24"/>
                    <a:pt x="0" y="19"/>
                    <a:pt x="0" y="12"/>
                  </a:cubicBezTo>
                  <a:cubicBezTo>
                    <a:pt x="0" y="5"/>
                    <a:pt x="5" y="0"/>
                    <a:pt x="12" y="0"/>
                  </a:cubicBezTo>
                  <a:cubicBezTo>
                    <a:pt x="19" y="0"/>
                    <a:pt x="24" y="5"/>
                    <a:pt x="24" y="12"/>
                  </a:cubicBezTo>
                  <a:cubicBezTo>
                    <a:pt x="24" y="13"/>
                    <a:pt x="23" y="14"/>
                    <a:pt x="22" y="14"/>
                  </a:cubicBezTo>
                  <a:cubicBezTo>
                    <a:pt x="21" y="14"/>
                    <a:pt x="20" y="13"/>
                    <a:pt x="20" y="12"/>
                  </a:cubicBezTo>
                  <a:cubicBezTo>
                    <a:pt x="20" y="8"/>
                    <a:pt x="16" y="4"/>
                    <a:pt x="12" y="4"/>
                  </a:cubicBezTo>
                  <a:cubicBezTo>
                    <a:pt x="8" y="4"/>
                    <a:pt x="4" y="8"/>
                    <a:pt x="4" y="12"/>
                  </a:cubicBezTo>
                  <a:cubicBezTo>
                    <a:pt x="4" y="16"/>
                    <a:pt x="8" y="20"/>
                    <a:pt x="12" y="20"/>
                  </a:cubicBezTo>
                  <a:cubicBezTo>
                    <a:pt x="19" y="20"/>
                    <a:pt x="24" y="25"/>
                    <a:pt x="24" y="32"/>
                  </a:cubicBezTo>
                  <a:cubicBezTo>
                    <a:pt x="24" y="39"/>
                    <a:pt x="19" y="44"/>
                    <a:pt x="1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4" name="Freeform 49">
              <a:extLst>
                <a:ext uri="{FF2B5EF4-FFF2-40B4-BE49-F238E27FC236}">
                  <a16:creationId xmlns:a16="http://schemas.microsoft.com/office/drawing/2014/main" id="{325A3A25-D2E3-4B89-A89C-1D609A667F28}"/>
                </a:ext>
              </a:extLst>
            </p:cNvPr>
            <p:cNvSpPr>
              <a:spLocks/>
            </p:cNvSpPr>
            <p:nvPr/>
          </p:nvSpPr>
          <p:spPr bwMode="auto">
            <a:xfrm>
              <a:off x="8258175" y="1343025"/>
              <a:ext cx="15875" cy="217488"/>
            </a:xfrm>
            <a:custGeom>
              <a:avLst/>
              <a:gdLst>
                <a:gd name="T0" fmla="*/ 2 w 4"/>
                <a:gd name="T1" fmla="*/ 56 h 56"/>
                <a:gd name="T2" fmla="*/ 0 w 4"/>
                <a:gd name="T3" fmla="*/ 54 h 56"/>
                <a:gd name="T4" fmla="*/ 0 w 4"/>
                <a:gd name="T5" fmla="*/ 2 h 56"/>
                <a:gd name="T6" fmla="*/ 2 w 4"/>
                <a:gd name="T7" fmla="*/ 0 h 56"/>
                <a:gd name="T8" fmla="*/ 4 w 4"/>
                <a:gd name="T9" fmla="*/ 2 h 56"/>
                <a:gd name="T10" fmla="*/ 4 w 4"/>
                <a:gd name="T11" fmla="*/ 54 h 56"/>
                <a:gd name="T12" fmla="*/ 2 w 4"/>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4" h="56">
                  <a:moveTo>
                    <a:pt x="2" y="56"/>
                  </a:moveTo>
                  <a:cubicBezTo>
                    <a:pt x="1" y="56"/>
                    <a:pt x="0" y="55"/>
                    <a:pt x="0" y="54"/>
                  </a:cubicBezTo>
                  <a:cubicBezTo>
                    <a:pt x="0" y="2"/>
                    <a:pt x="0" y="2"/>
                    <a:pt x="0" y="2"/>
                  </a:cubicBezTo>
                  <a:cubicBezTo>
                    <a:pt x="0" y="1"/>
                    <a:pt x="1" y="0"/>
                    <a:pt x="2" y="0"/>
                  </a:cubicBezTo>
                  <a:cubicBezTo>
                    <a:pt x="3" y="0"/>
                    <a:pt x="4" y="1"/>
                    <a:pt x="4" y="2"/>
                  </a:cubicBezTo>
                  <a:cubicBezTo>
                    <a:pt x="4" y="54"/>
                    <a:pt x="4" y="54"/>
                    <a:pt x="4" y="54"/>
                  </a:cubicBezTo>
                  <a:cubicBezTo>
                    <a:pt x="4" y="55"/>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951" name="Gruppieren 1950">
            <a:extLst>
              <a:ext uri="{FF2B5EF4-FFF2-40B4-BE49-F238E27FC236}">
                <a16:creationId xmlns:a16="http://schemas.microsoft.com/office/drawing/2014/main" id="{A6B6D01F-25B6-4A97-8018-D495CE0DE841}"/>
              </a:ext>
            </a:extLst>
          </p:cNvPr>
          <p:cNvGrpSpPr>
            <a:grpSpLocks noChangeAspect="1"/>
          </p:cNvGrpSpPr>
          <p:nvPr/>
        </p:nvGrpSpPr>
        <p:grpSpPr>
          <a:xfrm>
            <a:off x="4449554" y="2220072"/>
            <a:ext cx="286871" cy="285619"/>
            <a:chOff x="6699250" y="1711325"/>
            <a:chExt cx="363538" cy="361951"/>
          </a:xfrm>
          <a:solidFill>
            <a:schemeClr val="bg1"/>
          </a:solidFill>
        </p:grpSpPr>
        <p:sp>
          <p:nvSpPr>
            <p:cNvPr id="1952" name="Freeform 5">
              <a:extLst>
                <a:ext uri="{FF2B5EF4-FFF2-40B4-BE49-F238E27FC236}">
                  <a16:creationId xmlns:a16="http://schemas.microsoft.com/office/drawing/2014/main" id="{C4B4BA28-0DF5-4EF9-848B-8589EA935587}"/>
                </a:ext>
              </a:extLst>
            </p:cNvPr>
            <p:cNvSpPr>
              <a:spLocks noChangeAspect="1" noEditPoints="1"/>
            </p:cNvSpPr>
            <p:nvPr/>
          </p:nvSpPr>
          <p:spPr bwMode="auto">
            <a:xfrm>
              <a:off x="6699250" y="1892300"/>
              <a:ext cx="90488" cy="157163"/>
            </a:xfrm>
            <a:custGeom>
              <a:avLst/>
              <a:gdLst>
                <a:gd name="T0" fmla="*/ 107 w 178"/>
                <a:gd name="T1" fmla="*/ 308 h 308"/>
                <a:gd name="T2" fmla="*/ 12 w 178"/>
                <a:gd name="T3" fmla="*/ 308 h 308"/>
                <a:gd name="T4" fmla="*/ 0 w 178"/>
                <a:gd name="T5" fmla="*/ 296 h 308"/>
                <a:gd name="T6" fmla="*/ 0 w 178"/>
                <a:gd name="T7" fmla="*/ 12 h 308"/>
                <a:gd name="T8" fmla="*/ 4 w 178"/>
                <a:gd name="T9" fmla="*/ 4 h 308"/>
                <a:gd name="T10" fmla="*/ 12 w 178"/>
                <a:gd name="T11" fmla="*/ 0 h 308"/>
                <a:gd name="T12" fmla="*/ 12 w 178"/>
                <a:gd name="T13" fmla="*/ 0 h 308"/>
                <a:gd name="T14" fmla="*/ 81 w 178"/>
                <a:gd name="T15" fmla="*/ 4 h 308"/>
                <a:gd name="T16" fmla="*/ 174 w 178"/>
                <a:gd name="T17" fmla="*/ 27 h 308"/>
                <a:gd name="T18" fmla="*/ 178 w 178"/>
                <a:gd name="T19" fmla="*/ 37 h 308"/>
                <a:gd name="T20" fmla="*/ 118 w 178"/>
                <a:gd name="T21" fmla="*/ 299 h 308"/>
                <a:gd name="T22" fmla="*/ 107 w 178"/>
                <a:gd name="T23" fmla="*/ 308 h 308"/>
                <a:gd name="T24" fmla="*/ 24 w 178"/>
                <a:gd name="T25" fmla="*/ 284 h 308"/>
                <a:gd name="T26" fmla="*/ 98 w 178"/>
                <a:gd name="T27" fmla="*/ 284 h 308"/>
                <a:gd name="T28" fmla="*/ 154 w 178"/>
                <a:gd name="T29" fmla="*/ 41 h 308"/>
                <a:gd name="T30" fmla="*/ 79 w 178"/>
                <a:gd name="T31" fmla="*/ 27 h 308"/>
                <a:gd name="T32" fmla="*/ 24 w 178"/>
                <a:gd name="T33" fmla="*/ 24 h 308"/>
                <a:gd name="T34" fmla="*/ 24 w 178"/>
                <a:gd name="T35" fmla="*/ 2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308">
                  <a:moveTo>
                    <a:pt x="107" y="308"/>
                  </a:moveTo>
                  <a:cubicBezTo>
                    <a:pt x="12" y="308"/>
                    <a:pt x="12" y="308"/>
                    <a:pt x="12" y="308"/>
                  </a:cubicBezTo>
                  <a:cubicBezTo>
                    <a:pt x="6" y="308"/>
                    <a:pt x="0" y="303"/>
                    <a:pt x="0" y="296"/>
                  </a:cubicBezTo>
                  <a:cubicBezTo>
                    <a:pt x="0" y="12"/>
                    <a:pt x="0" y="12"/>
                    <a:pt x="0" y="12"/>
                  </a:cubicBezTo>
                  <a:cubicBezTo>
                    <a:pt x="0" y="9"/>
                    <a:pt x="2" y="6"/>
                    <a:pt x="4" y="4"/>
                  </a:cubicBezTo>
                  <a:cubicBezTo>
                    <a:pt x="6" y="1"/>
                    <a:pt x="9" y="0"/>
                    <a:pt x="12" y="0"/>
                  </a:cubicBezTo>
                  <a:cubicBezTo>
                    <a:pt x="12" y="0"/>
                    <a:pt x="12" y="0"/>
                    <a:pt x="12" y="0"/>
                  </a:cubicBezTo>
                  <a:cubicBezTo>
                    <a:pt x="14" y="0"/>
                    <a:pt x="46" y="0"/>
                    <a:pt x="81" y="4"/>
                  </a:cubicBezTo>
                  <a:cubicBezTo>
                    <a:pt x="149" y="10"/>
                    <a:pt x="167" y="20"/>
                    <a:pt x="174" y="27"/>
                  </a:cubicBezTo>
                  <a:cubicBezTo>
                    <a:pt x="177" y="30"/>
                    <a:pt x="178" y="33"/>
                    <a:pt x="178" y="37"/>
                  </a:cubicBezTo>
                  <a:cubicBezTo>
                    <a:pt x="171" y="114"/>
                    <a:pt x="121" y="292"/>
                    <a:pt x="118" y="299"/>
                  </a:cubicBezTo>
                  <a:cubicBezTo>
                    <a:pt x="117" y="304"/>
                    <a:pt x="112" y="308"/>
                    <a:pt x="107" y="308"/>
                  </a:cubicBezTo>
                  <a:close/>
                  <a:moveTo>
                    <a:pt x="24" y="284"/>
                  </a:moveTo>
                  <a:cubicBezTo>
                    <a:pt x="98" y="284"/>
                    <a:pt x="98" y="284"/>
                    <a:pt x="98" y="284"/>
                  </a:cubicBezTo>
                  <a:cubicBezTo>
                    <a:pt x="108" y="248"/>
                    <a:pt x="146" y="110"/>
                    <a:pt x="154" y="41"/>
                  </a:cubicBezTo>
                  <a:cubicBezTo>
                    <a:pt x="146" y="38"/>
                    <a:pt x="127" y="31"/>
                    <a:pt x="79" y="27"/>
                  </a:cubicBezTo>
                  <a:cubicBezTo>
                    <a:pt x="58" y="25"/>
                    <a:pt x="37" y="24"/>
                    <a:pt x="24" y="24"/>
                  </a:cubicBezTo>
                  <a:lnTo>
                    <a:pt x="24" y="284"/>
                  </a:ln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3" name="Freeform 6">
              <a:extLst>
                <a:ext uri="{FF2B5EF4-FFF2-40B4-BE49-F238E27FC236}">
                  <a16:creationId xmlns:a16="http://schemas.microsoft.com/office/drawing/2014/main" id="{E85309BD-EAC9-482E-82B4-4ACEE3EA9FAC}"/>
                </a:ext>
              </a:extLst>
            </p:cNvPr>
            <p:cNvSpPr>
              <a:spLocks noChangeAspect="1"/>
            </p:cNvSpPr>
            <p:nvPr/>
          </p:nvSpPr>
          <p:spPr bwMode="auto">
            <a:xfrm>
              <a:off x="6751638" y="1973263"/>
              <a:ext cx="311150" cy="100013"/>
            </a:xfrm>
            <a:custGeom>
              <a:avLst/>
              <a:gdLst>
                <a:gd name="T0" fmla="*/ 294 w 608"/>
                <a:gd name="T1" fmla="*/ 196 h 196"/>
                <a:gd name="T2" fmla="*/ 234 w 608"/>
                <a:gd name="T3" fmla="*/ 182 h 196"/>
                <a:gd name="T4" fmla="*/ 10 w 608"/>
                <a:gd name="T5" fmla="*/ 107 h 196"/>
                <a:gd name="T6" fmla="*/ 3 w 608"/>
                <a:gd name="T7" fmla="*/ 92 h 196"/>
                <a:gd name="T8" fmla="*/ 18 w 608"/>
                <a:gd name="T9" fmla="*/ 85 h 196"/>
                <a:gd name="T10" fmla="*/ 241 w 608"/>
                <a:gd name="T11" fmla="*/ 159 h 196"/>
                <a:gd name="T12" fmla="*/ 242 w 608"/>
                <a:gd name="T13" fmla="*/ 159 h 196"/>
                <a:gd name="T14" fmla="*/ 427 w 608"/>
                <a:gd name="T15" fmla="*/ 130 h 196"/>
                <a:gd name="T16" fmla="*/ 579 w 608"/>
                <a:gd name="T17" fmla="*/ 61 h 196"/>
                <a:gd name="T18" fmla="*/ 504 w 608"/>
                <a:gd name="T19" fmla="*/ 34 h 196"/>
                <a:gd name="T20" fmla="*/ 390 w 608"/>
                <a:gd name="T21" fmla="*/ 63 h 196"/>
                <a:gd name="T22" fmla="*/ 375 w 608"/>
                <a:gd name="T23" fmla="*/ 54 h 196"/>
                <a:gd name="T24" fmla="*/ 384 w 608"/>
                <a:gd name="T25" fmla="*/ 40 h 196"/>
                <a:gd name="T26" fmla="*/ 498 w 608"/>
                <a:gd name="T27" fmla="*/ 11 h 196"/>
                <a:gd name="T28" fmla="*/ 606 w 608"/>
                <a:gd name="T29" fmla="*/ 61 h 196"/>
                <a:gd name="T30" fmla="*/ 607 w 608"/>
                <a:gd name="T31" fmla="*/ 70 h 196"/>
                <a:gd name="T32" fmla="*/ 601 w 608"/>
                <a:gd name="T33" fmla="*/ 77 h 196"/>
                <a:gd name="T34" fmla="*/ 436 w 608"/>
                <a:gd name="T35" fmla="*/ 151 h 196"/>
                <a:gd name="T36" fmla="*/ 436 w 608"/>
                <a:gd name="T37" fmla="*/ 152 h 196"/>
                <a:gd name="T38" fmla="*/ 294 w 608"/>
                <a:gd name="T39"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8" h="196">
                  <a:moveTo>
                    <a:pt x="294" y="196"/>
                  </a:moveTo>
                  <a:cubicBezTo>
                    <a:pt x="275" y="196"/>
                    <a:pt x="258" y="191"/>
                    <a:pt x="234" y="182"/>
                  </a:cubicBezTo>
                  <a:cubicBezTo>
                    <a:pt x="10" y="107"/>
                    <a:pt x="10" y="107"/>
                    <a:pt x="10" y="107"/>
                  </a:cubicBezTo>
                  <a:cubicBezTo>
                    <a:pt x="4" y="105"/>
                    <a:pt x="0" y="98"/>
                    <a:pt x="3" y="92"/>
                  </a:cubicBezTo>
                  <a:cubicBezTo>
                    <a:pt x="5" y="86"/>
                    <a:pt x="11" y="83"/>
                    <a:pt x="18" y="85"/>
                  </a:cubicBezTo>
                  <a:cubicBezTo>
                    <a:pt x="241" y="159"/>
                    <a:pt x="241" y="159"/>
                    <a:pt x="241" y="159"/>
                  </a:cubicBezTo>
                  <a:cubicBezTo>
                    <a:pt x="241" y="159"/>
                    <a:pt x="242" y="159"/>
                    <a:pt x="242" y="159"/>
                  </a:cubicBezTo>
                  <a:cubicBezTo>
                    <a:pt x="296" y="180"/>
                    <a:pt x="303" y="180"/>
                    <a:pt x="427" y="130"/>
                  </a:cubicBezTo>
                  <a:cubicBezTo>
                    <a:pt x="579" y="61"/>
                    <a:pt x="579" y="61"/>
                    <a:pt x="579" y="61"/>
                  </a:cubicBezTo>
                  <a:cubicBezTo>
                    <a:pt x="562" y="38"/>
                    <a:pt x="533" y="27"/>
                    <a:pt x="504" y="34"/>
                  </a:cubicBezTo>
                  <a:cubicBezTo>
                    <a:pt x="390" y="63"/>
                    <a:pt x="390" y="63"/>
                    <a:pt x="390" y="63"/>
                  </a:cubicBezTo>
                  <a:cubicBezTo>
                    <a:pt x="383" y="64"/>
                    <a:pt x="377" y="60"/>
                    <a:pt x="375" y="54"/>
                  </a:cubicBezTo>
                  <a:cubicBezTo>
                    <a:pt x="374" y="48"/>
                    <a:pt x="378" y="41"/>
                    <a:pt x="384" y="40"/>
                  </a:cubicBezTo>
                  <a:cubicBezTo>
                    <a:pt x="498" y="11"/>
                    <a:pt x="498" y="11"/>
                    <a:pt x="498" y="11"/>
                  </a:cubicBezTo>
                  <a:cubicBezTo>
                    <a:pt x="542" y="0"/>
                    <a:pt x="586" y="21"/>
                    <a:pt x="606" y="61"/>
                  </a:cubicBezTo>
                  <a:cubicBezTo>
                    <a:pt x="608" y="64"/>
                    <a:pt x="608" y="67"/>
                    <a:pt x="607" y="70"/>
                  </a:cubicBezTo>
                  <a:cubicBezTo>
                    <a:pt x="606" y="73"/>
                    <a:pt x="604" y="75"/>
                    <a:pt x="601" y="77"/>
                  </a:cubicBezTo>
                  <a:cubicBezTo>
                    <a:pt x="436" y="151"/>
                    <a:pt x="436" y="151"/>
                    <a:pt x="436" y="151"/>
                  </a:cubicBezTo>
                  <a:cubicBezTo>
                    <a:pt x="436" y="151"/>
                    <a:pt x="436" y="152"/>
                    <a:pt x="436" y="152"/>
                  </a:cubicBezTo>
                  <a:cubicBezTo>
                    <a:pt x="359" y="183"/>
                    <a:pt x="324" y="196"/>
                    <a:pt x="294" y="196"/>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4" name="Freeform 7">
              <a:extLst>
                <a:ext uri="{FF2B5EF4-FFF2-40B4-BE49-F238E27FC236}">
                  <a16:creationId xmlns:a16="http://schemas.microsoft.com/office/drawing/2014/main" id="{049FB4B3-F782-47A5-9C46-5F237AE77339}"/>
                </a:ext>
              </a:extLst>
            </p:cNvPr>
            <p:cNvSpPr>
              <a:spLocks noChangeAspect="1"/>
            </p:cNvSpPr>
            <p:nvPr/>
          </p:nvSpPr>
          <p:spPr bwMode="auto">
            <a:xfrm>
              <a:off x="6775450" y="1924050"/>
              <a:ext cx="179388" cy="88900"/>
            </a:xfrm>
            <a:custGeom>
              <a:avLst/>
              <a:gdLst>
                <a:gd name="T0" fmla="*/ 279 w 353"/>
                <a:gd name="T1" fmla="*/ 172 h 172"/>
                <a:gd name="T2" fmla="*/ 259 w 353"/>
                <a:gd name="T3" fmla="*/ 170 h 172"/>
                <a:gd name="T4" fmla="*/ 130 w 353"/>
                <a:gd name="T5" fmla="*/ 144 h 172"/>
                <a:gd name="T6" fmla="*/ 120 w 353"/>
                <a:gd name="T7" fmla="*/ 130 h 172"/>
                <a:gd name="T8" fmla="*/ 134 w 353"/>
                <a:gd name="T9" fmla="*/ 121 h 172"/>
                <a:gd name="T10" fmla="*/ 264 w 353"/>
                <a:gd name="T11" fmla="*/ 146 h 172"/>
                <a:gd name="T12" fmla="*/ 298 w 353"/>
                <a:gd name="T13" fmla="*/ 146 h 172"/>
                <a:gd name="T14" fmla="*/ 329 w 353"/>
                <a:gd name="T15" fmla="*/ 138 h 172"/>
                <a:gd name="T16" fmla="*/ 278 w 353"/>
                <a:gd name="T17" fmla="*/ 84 h 172"/>
                <a:gd name="T18" fmla="*/ 10 w 353"/>
                <a:gd name="T19" fmla="*/ 24 h 172"/>
                <a:gd name="T20" fmla="*/ 1 w 353"/>
                <a:gd name="T21" fmla="*/ 10 h 172"/>
                <a:gd name="T22" fmla="*/ 15 w 353"/>
                <a:gd name="T23" fmla="*/ 1 h 172"/>
                <a:gd name="T24" fmla="*/ 284 w 353"/>
                <a:gd name="T25" fmla="*/ 61 h 172"/>
                <a:gd name="T26" fmla="*/ 284 w 353"/>
                <a:gd name="T27" fmla="*/ 61 h 172"/>
                <a:gd name="T28" fmla="*/ 353 w 353"/>
                <a:gd name="T29" fmla="*/ 142 h 172"/>
                <a:gd name="T30" fmla="*/ 353 w 353"/>
                <a:gd name="T31" fmla="*/ 147 h 172"/>
                <a:gd name="T32" fmla="*/ 344 w 353"/>
                <a:gd name="T33" fmla="*/ 159 h 172"/>
                <a:gd name="T34" fmla="*/ 304 w 353"/>
                <a:gd name="T35" fmla="*/ 169 h 172"/>
                <a:gd name="T36" fmla="*/ 279 w 353"/>
                <a:gd name="T3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3" h="172">
                  <a:moveTo>
                    <a:pt x="279" y="172"/>
                  </a:moveTo>
                  <a:cubicBezTo>
                    <a:pt x="272" y="172"/>
                    <a:pt x="266" y="171"/>
                    <a:pt x="259" y="170"/>
                  </a:cubicBezTo>
                  <a:cubicBezTo>
                    <a:pt x="130" y="144"/>
                    <a:pt x="130" y="144"/>
                    <a:pt x="130" y="144"/>
                  </a:cubicBezTo>
                  <a:cubicBezTo>
                    <a:pt x="123" y="142"/>
                    <a:pt x="119" y="136"/>
                    <a:pt x="120" y="130"/>
                  </a:cubicBezTo>
                  <a:cubicBezTo>
                    <a:pt x="122" y="123"/>
                    <a:pt x="128" y="119"/>
                    <a:pt x="134" y="121"/>
                  </a:cubicBezTo>
                  <a:cubicBezTo>
                    <a:pt x="264" y="146"/>
                    <a:pt x="264" y="146"/>
                    <a:pt x="264" y="146"/>
                  </a:cubicBezTo>
                  <a:cubicBezTo>
                    <a:pt x="275" y="149"/>
                    <a:pt x="287" y="148"/>
                    <a:pt x="298" y="146"/>
                  </a:cubicBezTo>
                  <a:cubicBezTo>
                    <a:pt x="329" y="138"/>
                    <a:pt x="329" y="138"/>
                    <a:pt x="329" y="138"/>
                  </a:cubicBezTo>
                  <a:cubicBezTo>
                    <a:pt x="328" y="108"/>
                    <a:pt x="314" y="93"/>
                    <a:pt x="278" y="84"/>
                  </a:cubicBezTo>
                  <a:cubicBezTo>
                    <a:pt x="10" y="24"/>
                    <a:pt x="10" y="24"/>
                    <a:pt x="10" y="24"/>
                  </a:cubicBezTo>
                  <a:cubicBezTo>
                    <a:pt x="4" y="23"/>
                    <a:pt x="0" y="17"/>
                    <a:pt x="1" y="10"/>
                  </a:cubicBezTo>
                  <a:cubicBezTo>
                    <a:pt x="2" y="4"/>
                    <a:pt x="9" y="0"/>
                    <a:pt x="15" y="1"/>
                  </a:cubicBezTo>
                  <a:cubicBezTo>
                    <a:pt x="284" y="61"/>
                    <a:pt x="284" y="61"/>
                    <a:pt x="284" y="61"/>
                  </a:cubicBezTo>
                  <a:cubicBezTo>
                    <a:pt x="284" y="61"/>
                    <a:pt x="284" y="61"/>
                    <a:pt x="284" y="61"/>
                  </a:cubicBezTo>
                  <a:cubicBezTo>
                    <a:pt x="331" y="73"/>
                    <a:pt x="353" y="98"/>
                    <a:pt x="353" y="142"/>
                  </a:cubicBezTo>
                  <a:cubicBezTo>
                    <a:pt x="353" y="147"/>
                    <a:pt x="353" y="147"/>
                    <a:pt x="353" y="147"/>
                  </a:cubicBezTo>
                  <a:cubicBezTo>
                    <a:pt x="353" y="153"/>
                    <a:pt x="349" y="157"/>
                    <a:pt x="344" y="159"/>
                  </a:cubicBezTo>
                  <a:cubicBezTo>
                    <a:pt x="304" y="169"/>
                    <a:pt x="304" y="169"/>
                    <a:pt x="304" y="169"/>
                  </a:cubicBezTo>
                  <a:cubicBezTo>
                    <a:pt x="296" y="171"/>
                    <a:pt x="287" y="172"/>
                    <a:pt x="279" y="1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5" name="Freeform 8">
              <a:extLst>
                <a:ext uri="{FF2B5EF4-FFF2-40B4-BE49-F238E27FC236}">
                  <a16:creationId xmlns:a16="http://schemas.microsoft.com/office/drawing/2014/main" id="{9EE0F387-CE87-44A6-9EF6-23B129FA2C49}"/>
                </a:ext>
              </a:extLst>
            </p:cNvPr>
            <p:cNvSpPr>
              <a:spLocks noChangeAspect="1"/>
            </p:cNvSpPr>
            <p:nvPr/>
          </p:nvSpPr>
          <p:spPr bwMode="auto">
            <a:xfrm>
              <a:off x="6800850" y="1808163"/>
              <a:ext cx="249238" cy="187325"/>
            </a:xfrm>
            <a:custGeom>
              <a:avLst/>
              <a:gdLst>
                <a:gd name="T0" fmla="*/ 471 w 488"/>
                <a:gd name="T1" fmla="*/ 367 h 367"/>
                <a:gd name="T2" fmla="*/ 469 w 488"/>
                <a:gd name="T3" fmla="*/ 367 h 367"/>
                <a:gd name="T4" fmla="*/ 460 w 488"/>
                <a:gd name="T5" fmla="*/ 353 h 367"/>
                <a:gd name="T6" fmla="*/ 464 w 488"/>
                <a:gd name="T7" fmla="*/ 310 h 367"/>
                <a:gd name="T8" fmla="*/ 292 w 488"/>
                <a:gd name="T9" fmla="*/ 24 h 367"/>
                <a:gd name="T10" fmla="*/ 185 w 488"/>
                <a:gd name="T11" fmla="*/ 24 h 367"/>
                <a:gd name="T12" fmla="*/ 25 w 488"/>
                <a:gd name="T13" fmla="*/ 254 h 367"/>
                <a:gd name="T14" fmla="*/ 9 w 488"/>
                <a:gd name="T15" fmla="*/ 261 h 367"/>
                <a:gd name="T16" fmla="*/ 2 w 488"/>
                <a:gd name="T17" fmla="*/ 245 h 367"/>
                <a:gd name="T18" fmla="*/ 170 w 488"/>
                <a:gd name="T19" fmla="*/ 5 h 367"/>
                <a:gd name="T20" fmla="*/ 179 w 488"/>
                <a:gd name="T21" fmla="*/ 0 h 367"/>
                <a:gd name="T22" fmla="*/ 298 w 488"/>
                <a:gd name="T23" fmla="*/ 0 h 367"/>
                <a:gd name="T24" fmla="*/ 307 w 488"/>
                <a:gd name="T25" fmla="*/ 5 h 367"/>
                <a:gd name="T26" fmla="*/ 397 w 488"/>
                <a:gd name="T27" fmla="*/ 123 h 367"/>
                <a:gd name="T28" fmla="*/ 488 w 488"/>
                <a:gd name="T29" fmla="*/ 310 h 367"/>
                <a:gd name="T30" fmla="*/ 483 w 488"/>
                <a:gd name="T31" fmla="*/ 358 h 367"/>
                <a:gd name="T32" fmla="*/ 471 w 488"/>
                <a:gd name="T33"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8" h="367">
                  <a:moveTo>
                    <a:pt x="471" y="367"/>
                  </a:moveTo>
                  <a:cubicBezTo>
                    <a:pt x="470" y="367"/>
                    <a:pt x="469" y="367"/>
                    <a:pt x="469" y="367"/>
                  </a:cubicBezTo>
                  <a:cubicBezTo>
                    <a:pt x="462" y="366"/>
                    <a:pt x="458" y="359"/>
                    <a:pt x="460" y="353"/>
                  </a:cubicBezTo>
                  <a:cubicBezTo>
                    <a:pt x="463" y="339"/>
                    <a:pt x="464" y="325"/>
                    <a:pt x="464" y="310"/>
                  </a:cubicBezTo>
                  <a:cubicBezTo>
                    <a:pt x="464" y="247"/>
                    <a:pt x="343" y="87"/>
                    <a:pt x="292" y="24"/>
                  </a:cubicBezTo>
                  <a:cubicBezTo>
                    <a:pt x="185" y="24"/>
                    <a:pt x="185" y="24"/>
                    <a:pt x="185" y="24"/>
                  </a:cubicBezTo>
                  <a:cubicBezTo>
                    <a:pt x="163" y="49"/>
                    <a:pt x="52" y="182"/>
                    <a:pt x="25" y="254"/>
                  </a:cubicBezTo>
                  <a:cubicBezTo>
                    <a:pt x="22" y="260"/>
                    <a:pt x="15" y="263"/>
                    <a:pt x="9" y="261"/>
                  </a:cubicBezTo>
                  <a:cubicBezTo>
                    <a:pt x="3" y="258"/>
                    <a:pt x="0" y="251"/>
                    <a:pt x="2" y="245"/>
                  </a:cubicBezTo>
                  <a:cubicBezTo>
                    <a:pt x="34" y="163"/>
                    <a:pt x="165" y="11"/>
                    <a:pt x="170" y="5"/>
                  </a:cubicBezTo>
                  <a:cubicBezTo>
                    <a:pt x="172" y="2"/>
                    <a:pt x="176" y="0"/>
                    <a:pt x="179" y="0"/>
                  </a:cubicBezTo>
                  <a:cubicBezTo>
                    <a:pt x="298" y="0"/>
                    <a:pt x="298" y="0"/>
                    <a:pt x="298" y="0"/>
                  </a:cubicBezTo>
                  <a:cubicBezTo>
                    <a:pt x="301" y="0"/>
                    <a:pt x="304" y="2"/>
                    <a:pt x="307" y="5"/>
                  </a:cubicBezTo>
                  <a:cubicBezTo>
                    <a:pt x="307" y="5"/>
                    <a:pt x="352" y="60"/>
                    <a:pt x="397" y="123"/>
                  </a:cubicBezTo>
                  <a:cubicBezTo>
                    <a:pt x="457" y="211"/>
                    <a:pt x="488" y="273"/>
                    <a:pt x="488" y="310"/>
                  </a:cubicBezTo>
                  <a:cubicBezTo>
                    <a:pt x="488" y="326"/>
                    <a:pt x="486" y="342"/>
                    <a:pt x="483" y="358"/>
                  </a:cubicBezTo>
                  <a:cubicBezTo>
                    <a:pt x="481" y="364"/>
                    <a:pt x="477" y="367"/>
                    <a:pt x="471" y="36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6" name="Freeform 9">
              <a:extLst>
                <a:ext uri="{FF2B5EF4-FFF2-40B4-BE49-F238E27FC236}">
                  <a16:creationId xmlns:a16="http://schemas.microsoft.com/office/drawing/2014/main" id="{7F4C82AA-E95B-49A9-8F30-9C66DD8B96EA}"/>
                </a:ext>
              </a:extLst>
            </p:cNvPr>
            <p:cNvSpPr>
              <a:spLocks noChangeAspect="1"/>
            </p:cNvSpPr>
            <p:nvPr/>
          </p:nvSpPr>
          <p:spPr bwMode="auto">
            <a:xfrm>
              <a:off x="6856413" y="1808163"/>
              <a:ext cx="133350" cy="11113"/>
            </a:xfrm>
            <a:custGeom>
              <a:avLst/>
              <a:gdLst>
                <a:gd name="T0" fmla="*/ 249 w 261"/>
                <a:gd name="T1" fmla="*/ 24 h 24"/>
                <a:gd name="T2" fmla="*/ 12 w 261"/>
                <a:gd name="T3" fmla="*/ 24 h 24"/>
                <a:gd name="T4" fmla="*/ 0 w 261"/>
                <a:gd name="T5" fmla="*/ 12 h 24"/>
                <a:gd name="T6" fmla="*/ 12 w 261"/>
                <a:gd name="T7" fmla="*/ 0 h 24"/>
                <a:gd name="T8" fmla="*/ 249 w 261"/>
                <a:gd name="T9" fmla="*/ 0 h 24"/>
                <a:gd name="T10" fmla="*/ 261 w 261"/>
                <a:gd name="T11" fmla="*/ 12 h 24"/>
                <a:gd name="T12" fmla="*/ 249 w 261"/>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61" h="24">
                  <a:moveTo>
                    <a:pt x="249" y="24"/>
                  </a:moveTo>
                  <a:cubicBezTo>
                    <a:pt x="12" y="24"/>
                    <a:pt x="12" y="24"/>
                    <a:pt x="12" y="24"/>
                  </a:cubicBezTo>
                  <a:cubicBezTo>
                    <a:pt x="5" y="24"/>
                    <a:pt x="0" y="19"/>
                    <a:pt x="0" y="12"/>
                  </a:cubicBezTo>
                  <a:cubicBezTo>
                    <a:pt x="0" y="6"/>
                    <a:pt x="5" y="0"/>
                    <a:pt x="12" y="0"/>
                  </a:cubicBezTo>
                  <a:cubicBezTo>
                    <a:pt x="249" y="0"/>
                    <a:pt x="249" y="0"/>
                    <a:pt x="249" y="0"/>
                  </a:cubicBezTo>
                  <a:cubicBezTo>
                    <a:pt x="255" y="0"/>
                    <a:pt x="261" y="6"/>
                    <a:pt x="261" y="12"/>
                  </a:cubicBezTo>
                  <a:cubicBezTo>
                    <a:pt x="261" y="19"/>
                    <a:pt x="255" y="24"/>
                    <a:pt x="249" y="24"/>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1957" name="Freeform 10">
              <a:extLst>
                <a:ext uri="{FF2B5EF4-FFF2-40B4-BE49-F238E27FC236}">
                  <a16:creationId xmlns:a16="http://schemas.microsoft.com/office/drawing/2014/main" id="{5E75A477-7849-40D8-B54A-FBC566058C03}"/>
                </a:ext>
              </a:extLst>
            </p:cNvPr>
            <p:cNvSpPr>
              <a:spLocks noChangeAspect="1" noEditPoints="1"/>
            </p:cNvSpPr>
            <p:nvPr/>
          </p:nvSpPr>
          <p:spPr bwMode="auto">
            <a:xfrm>
              <a:off x="6816725" y="1711325"/>
              <a:ext cx="211138" cy="107950"/>
            </a:xfrm>
            <a:custGeom>
              <a:avLst/>
              <a:gdLst>
                <a:gd name="T0" fmla="*/ 267 w 414"/>
                <a:gd name="T1" fmla="*/ 213 h 213"/>
                <a:gd name="T2" fmla="*/ 148 w 414"/>
                <a:gd name="T3" fmla="*/ 213 h 213"/>
                <a:gd name="T4" fmla="*/ 141 w 414"/>
                <a:gd name="T5" fmla="*/ 211 h 213"/>
                <a:gd name="T6" fmla="*/ 1 w 414"/>
                <a:gd name="T7" fmla="*/ 54 h 213"/>
                <a:gd name="T8" fmla="*/ 9 w 414"/>
                <a:gd name="T9" fmla="*/ 28 h 213"/>
                <a:gd name="T10" fmla="*/ 32 w 414"/>
                <a:gd name="T11" fmla="*/ 18 h 213"/>
                <a:gd name="T12" fmla="*/ 134 w 414"/>
                <a:gd name="T13" fmla="*/ 66 h 213"/>
                <a:gd name="T14" fmla="*/ 155 w 414"/>
                <a:gd name="T15" fmla="*/ 40 h 213"/>
                <a:gd name="T16" fmla="*/ 207 w 414"/>
                <a:gd name="T17" fmla="*/ 0 h 213"/>
                <a:gd name="T18" fmla="*/ 260 w 414"/>
                <a:gd name="T19" fmla="*/ 40 h 213"/>
                <a:gd name="T20" fmla="*/ 281 w 414"/>
                <a:gd name="T21" fmla="*/ 66 h 213"/>
                <a:gd name="T22" fmla="*/ 383 w 414"/>
                <a:gd name="T23" fmla="*/ 18 h 213"/>
                <a:gd name="T24" fmla="*/ 406 w 414"/>
                <a:gd name="T25" fmla="*/ 28 h 213"/>
                <a:gd name="T26" fmla="*/ 413 w 414"/>
                <a:gd name="T27" fmla="*/ 54 h 213"/>
                <a:gd name="T28" fmla="*/ 274 w 414"/>
                <a:gd name="T29" fmla="*/ 211 h 213"/>
                <a:gd name="T30" fmla="*/ 267 w 414"/>
                <a:gd name="T31" fmla="*/ 213 h 213"/>
                <a:gd name="T32" fmla="*/ 152 w 414"/>
                <a:gd name="T33" fmla="*/ 189 h 213"/>
                <a:gd name="T34" fmla="*/ 263 w 414"/>
                <a:gd name="T35" fmla="*/ 189 h 213"/>
                <a:gd name="T36" fmla="*/ 390 w 414"/>
                <a:gd name="T37" fmla="*/ 51 h 213"/>
                <a:gd name="T38" fmla="*/ 388 w 414"/>
                <a:gd name="T39" fmla="*/ 43 h 213"/>
                <a:gd name="T40" fmla="*/ 383 w 414"/>
                <a:gd name="T41" fmla="*/ 42 h 213"/>
                <a:gd name="T42" fmla="*/ 285 w 414"/>
                <a:gd name="T43" fmla="*/ 92 h 213"/>
                <a:gd name="T44" fmla="*/ 277 w 414"/>
                <a:gd name="T45" fmla="*/ 95 h 213"/>
                <a:gd name="T46" fmla="*/ 269 w 414"/>
                <a:gd name="T47" fmla="*/ 90 h 213"/>
                <a:gd name="T48" fmla="*/ 207 w 414"/>
                <a:gd name="T49" fmla="*/ 24 h 213"/>
                <a:gd name="T50" fmla="*/ 146 w 414"/>
                <a:gd name="T51" fmla="*/ 90 h 213"/>
                <a:gd name="T52" fmla="*/ 138 w 414"/>
                <a:gd name="T53" fmla="*/ 95 h 213"/>
                <a:gd name="T54" fmla="*/ 129 w 414"/>
                <a:gd name="T55" fmla="*/ 92 h 213"/>
                <a:gd name="T56" fmla="*/ 32 w 414"/>
                <a:gd name="T57" fmla="*/ 42 h 213"/>
                <a:gd name="T58" fmla="*/ 27 w 414"/>
                <a:gd name="T59" fmla="*/ 43 h 213"/>
                <a:gd name="T60" fmla="*/ 25 w 414"/>
                <a:gd name="T61" fmla="*/ 51 h 213"/>
                <a:gd name="T62" fmla="*/ 152 w 414"/>
                <a:gd name="T63" fmla="*/ 18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4" h="213">
                  <a:moveTo>
                    <a:pt x="267" y="213"/>
                  </a:moveTo>
                  <a:cubicBezTo>
                    <a:pt x="148" y="213"/>
                    <a:pt x="148" y="213"/>
                    <a:pt x="148" y="213"/>
                  </a:cubicBezTo>
                  <a:cubicBezTo>
                    <a:pt x="146" y="213"/>
                    <a:pt x="143" y="212"/>
                    <a:pt x="141" y="211"/>
                  </a:cubicBezTo>
                  <a:cubicBezTo>
                    <a:pt x="127" y="200"/>
                    <a:pt x="7" y="108"/>
                    <a:pt x="1" y="54"/>
                  </a:cubicBezTo>
                  <a:cubicBezTo>
                    <a:pt x="0" y="44"/>
                    <a:pt x="3" y="35"/>
                    <a:pt x="9" y="28"/>
                  </a:cubicBezTo>
                  <a:cubicBezTo>
                    <a:pt x="13" y="24"/>
                    <a:pt x="20" y="18"/>
                    <a:pt x="32" y="18"/>
                  </a:cubicBezTo>
                  <a:cubicBezTo>
                    <a:pt x="62" y="18"/>
                    <a:pt x="112" y="51"/>
                    <a:pt x="134" y="66"/>
                  </a:cubicBezTo>
                  <a:cubicBezTo>
                    <a:pt x="139" y="59"/>
                    <a:pt x="146" y="50"/>
                    <a:pt x="155" y="40"/>
                  </a:cubicBezTo>
                  <a:cubicBezTo>
                    <a:pt x="185" y="5"/>
                    <a:pt x="199" y="0"/>
                    <a:pt x="207" y="0"/>
                  </a:cubicBezTo>
                  <a:cubicBezTo>
                    <a:pt x="216" y="0"/>
                    <a:pt x="230" y="5"/>
                    <a:pt x="260" y="40"/>
                  </a:cubicBezTo>
                  <a:cubicBezTo>
                    <a:pt x="268" y="50"/>
                    <a:pt x="276" y="59"/>
                    <a:pt x="281" y="66"/>
                  </a:cubicBezTo>
                  <a:cubicBezTo>
                    <a:pt x="302" y="51"/>
                    <a:pt x="352" y="18"/>
                    <a:pt x="383" y="18"/>
                  </a:cubicBezTo>
                  <a:cubicBezTo>
                    <a:pt x="395" y="18"/>
                    <a:pt x="402" y="24"/>
                    <a:pt x="406" y="28"/>
                  </a:cubicBezTo>
                  <a:cubicBezTo>
                    <a:pt x="412" y="35"/>
                    <a:pt x="414" y="44"/>
                    <a:pt x="413" y="54"/>
                  </a:cubicBezTo>
                  <a:cubicBezTo>
                    <a:pt x="408" y="108"/>
                    <a:pt x="287" y="200"/>
                    <a:pt x="274" y="211"/>
                  </a:cubicBezTo>
                  <a:cubicBezTo>
                    <a:pt x="272" y="212"/>
                    <a:pt x="269" y="213"/>
                    <a:pt x="267" y="213"/>
                  </a:cubicBezTo>
                  <a:close/>
                  <a:moveTo>
                    <a:pt x="152" y="189"/>
                  </a:moveTo>
                  <a:cubicBezTo>
                    <a:pt x="263" y="189"/>
                    <a:pt x="263" y="189"/>
                    <a:pt x="263" y="189"/>
                  </a:cubicBezTo>
                  <a:cubicBezTo>
                    <a:pt x="311" y="152"/>
                    <a:pt x="387" y="84"/>
                    <a:pt x="390" y="51"/>
                  </a:cubicBezTo>
                  <a:cubicBezTo>
                    <a:pt x="390" y="47"/>
                    <a:pt x="389" y="45"/>
                    <a:pt x="388" y="43"/>
                  </a:cubicBezTo>
                  <a:cubicBezTo>
                    <a:pt x="387" y="43"/>
                    <a:pt x="385" y="42"/>
                    <a:pt x="383" y="42"/>
                  </a:cubicBezTo>
                  <a:cubicBezTo>
                    <a:pt x="361" y="42"/>
                    <a:pt x="311" y="73"/>
                    <a:pt x="285" y="92"/>
                  </a:cubicBezTo>
                  <a:cubicBezTo>
                    <a:pt x="283" y="94"/>
                    <a:pt x="280" y="95"/>
                    <a:pt x="277" y="95"/>
                  </a:cubicBezTo>
                  <a:cubicBezTo>
                    <a:pt x="273" y="94"/>
                    <a:pt x="271" y="92"/>
                    <a:pt x="269" y="90"/>
                  </a:cubicBezTo>
                  <a:cubicBezTo>
                    <a:pt x="245" y="56"/>
                    <a:pt x="216" y="25"/>
                    <a:pt x="207" y="24"/>
                  </a:cubicBezTo>
                  <a:cubicBezTo>
                    <a:pt x="198" y="25"/>
                    <a:pt x="170" y="56"/>
                    <a:pt x="146" y="90"/>
                  </a:cubicBezTo>
                  <a:cubicBezTo>
                    <a:pt x="144" y="92"/>
                    <a:pt x="141" y="94"/>
                    <a:pt x="138" y="95"/>
                  </a:cubicBezTo>
                  <a:cubicBezTo>
                    <a:pt x="135" y="95"/>
                    <a:pt x="132" y="94"/>
                    <a:pt x="129" y="92"/>
                  </a:cubicBezTo>
                  <a:cubicBezTo>
                    <a:pt x="103" y="73"/>
                    <a:pt x="54" y="42"/>
                    <a:pt x="32" y="42"/>
                  </a:cubicBezTo>
                  <a:cubicBezTo>
                    <a:pt x="29" y="42"/>
                    <a:pt x="28" y="43"/>
                    <a:pt x="27" y="43"/>
                  </a:cubicBezTo>
                  <a:cubicBezTo>
                    <a:pt x="26" y="45"/>
                    <a:pt x="24" y="47"/>
                    <a:pt x="25" y="51"/>
                  </a:cubicBezTo>
                  <a:cubicBezTo>
                    <a:pt x="28" y="84"/>
                    <a:pt x="103" y="152"/>
                    <a:pt x="152" y="189"/>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1963" name="Gruppieren 1962">
            <a:extLst>
              <a:ext uri="{FF2B5EF4-FFF2-40B4-BE49-F238E27FC236}">
                <a16:creationId xmlns:a16="http://schemas.microsoft.com/office/drawing/2014/main" id="{725FBEE5-BFAE-456F-93E4-B694AA5C9043}"/>
              </a:ext>
            </a:extLst>
          </p:cNvPr>
          <p:cNvGrpSpPr>
            <a:grpSpLocks noChangeAspect="1"/>
          </p:cNvGrpSpPr>
          <p:nvPr/>
        </p:nvGrpSpPr>
        <p:grpSpPr>
          <a:xfrm>
            <a:off x="3665026" y="2724897"/>
            <a:ext cx="277076" cy="285619"/>
            <a:chOff x="7213284" y="1708537"/>
            <a:chExt cx="351123" cy="361950"/>
          </a:xfrm>
          <a:solidFill>
            <a:schemeClr val="bg1"/>
          </a:solidFill>
        </p:grpSpPr>
        <p:sp>
          <p:nvSpPr>
            <p:cNvPr id="1964" name="Freeform 101">
              <a:extLst>
                <a:ext uri="{FF2B5EF4-FFF2-40B4-BE49-F238E27FC236}">
                  <a16:creationId xmlns:a16="http://schemas.microsoft.com/office/drawing/2014/main" id="{F54C6AAF-7B01-4D42-9C86-AA2AFFA54D68}"/>
                </a:ext>
              </a:extLst>
            </p:cNvPr>
            <p:cNvSpPr>
              <a:spLocks/>
            </p:cNvSpPr>
            <p:nvPr/>
          </p:nvSpPr>
          <p:spPr bwMode="auto">
            <a:xfrm flipV="1">
              <a:off x="7270517" y="1836921"/>
              <a:ext cx="293890" cy="233566"/>
            </a:xfrm>
            <a:custGeom>
              <a:avLst/>
              <a:gdLst>
                <a:gd name="T0" fmla="*/ 15 w 78"/>
                <a:gd name="T1" fmla="*/ 62 h 62"/>
                <a:gd name="T2" fmla="*/ 14 w 78"/>
                <a:gd name="T3" fmla="*/ 62 h 62"/>
                <a:gd name="T4" fmla="*/ 6 w 78"/>
                <a:gd name="T5" fmla="*/ 22 h 62"/>
                <a:gd name="T6" fmla="*/ 39 w 78"/>
                <a:gd name="T7" fmla="*/ 0 h 62"/>
                <a:gd name="T8" fmla="*/ 72 w 78"/>
                <a:gd name="T9" fmla="*/ 22 h 62"/>
                <a:gd name="T10" fmla="*/ 64 w 78"/>
                <a:gd name="T11" fmla="*/ 61 h 62"/>
                <a:gd name="T12" fmla="*/ 62 w 78"/>
                <a:gd name="T13" fmla="*/ 61 h 62"/>
                <a:gd name="T14" fmla="*/ 62 w 78"/>
                <a:gd name="T15" fmla="*/ 59 h 62"/>
                <a:gd name="T16" fmla="*/ 68 w 78"/>
                <a:gd name="T17" fmla="*/ 24 h 62"/>
                <a:gd name="T18" fmla="*/ 39 w 78"/>
                <a:gd name="T19" fmla="*/ 4 h 62"/>
                <a:gd name="T20" fmla="*/ 9 w 78"/>
                <a:gd name="T21" fmla="*/ 24 h 62"/>
                <a:gd name="T22" fmla="*/ 17 w 78"/>
                <a:gd name="T23" fmla="*/ 59 h 62"/>
                <a:gd name="T24" fmla="*/ 17 w 78"/>
                <a:gd name="T25" fmla="*/ 62 h 62"/>
                <a:gd name="T26" fmla="*/ 15 w 78"/>
                <a:gd name="T2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62">
                  <a:moveTo>
                    <a:pt x="15" y="62"/>
                  </a:moveTo>
                  <a:cubicBezTo>
                    <a:pt x="15" y="62"/>
                    <a:pt x="14" y="62"/>
                    <a:pt x="14" y="62"/>
                  </a:cubicBezTo>
                  <a:cubicBezTo>
                    <a:pt x="3" y="51"/>
                    <a:pt x="0" y="36"/>
                    <a:pt x="6" y="22"/>
                  </a:cubicBezTo>
                  <a:cubicBezTo>
                    <a:pt x="11" y="9"/>
                    <a:pt x="24" y="0"/>
                    <a:pt x="39" y="0"/>
                  </a:cubicBezTo>
                  <a:cubicBezTo>
                    <a:pt x="54" y="0"/>
                    <a:pt x="67" y="9"/>
                    <a:pt x="72" y="22"/>
                  </a:cubicBezTo>
                  <a:cubicBezTo>
                    <a:pt x="78" y="36"/>
                    <a:pt x="75" y="51"/>
                    <a:pt x="64" y="61"/>
                  </a:cubicBezTo>
                  <a:cubicBezTo>
                    <a:pt x="64" y="62"/>
                    <a:pt x="62" y="62"/>
                    <a:pt x="62" y="61"/>
                  </a:cubicBezTo>
                  <a:cubicBezTo>
                    <a:pt x="61" y="61"/>
                    <a:pt x="61" y="59"/>
                    <a:pt x="62" y="59"/>
                  </a:cubicBezTo>
                  <a:cubicBezTo>
                    <a:pt x="71" y="49"/>
                    <a:pt x="74" y="36"/>
                    <a:pt x="68" y="24"/>
                  </a:cubicBezTo>
                  <a:cubicBezTo>
                    <a:pt x="63" y="12"/>
                    <a:pt x="52" y="4"/>
                    <a:pt x="39" y="4"/>
                  </a:cubicBezTo>
                  <a:cubicBezTo>
                    <a:pt x="26" y="4"/>
                    <a:pt x="14" y="12"/>
                    <a:pt x="9" y="24"/>
                  </a:cubicBezTo>
                  <a:cubicBezTo>
                    <a:pt x="4" y="36"/>
                    <a:pt x="7" y="50"/>
                    <a:pt x="17" y="59"/>
                  </a:cubicBezTo>
                  <a:cubicBezTo>
                    <a:pt x="17" y="60"/>
                    <a:pt x="17" y="61"/>
                    <a:pt x="17" y="62"/>
                  </a:cubicBezTo>
                  <a:cubicBezTo>
                    <a:pt x="16" y="62"/>
                    <a:pt x="16" y="62"/>
                    <a:pt x="1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965" name="Gruppieren 1964">
              <a:extLst>
                <a:ext uri="{FF2B5EF4-FFF2-40B4-BE49-F238E27FC236}">
                  <a16:creationId xmlns:a16="http://schemas.microsoft.com/office/drawing/2014/main" id="{308C1EBD-6F9C-4976-862A-5468C54E203E}"/>
                </a:ext>
              </a:extLst>
            </p:cNvPr>
            <p:cNvGrpSpPr/>
            <p:nvPr/>
          </p:nvGrpSpPr>
          <p:grpSpPr>
            <a:xfrm>
              <a:off x="7213284" y="1708537"/>
              <a:ext cx="340294" cy="180975"/>
              <a:chOff x="7213284" y="1708537"/>
              <a:chExt cx="340294" cy="180975"/>
            </a:xfrm>
            <a:grpFill/>
          </p:grpSpPr>
          <p:sp>
            <p:nvSpPr>
              <p:cNvPr id="1967" name="Freeform 105">
                <a:extLst>
                  <a:ext uri="{FF2B5EF4-FFF2-40B4-BE49-F238E27FC236}">
                    <a16:creationId xmlns:a16="http://schemas.microsoft.com/office/drawing/2014/main" id="{C11E4405-7969-4BFB-9748-00EA6E4C075A}"/>
                  </a:ext>
                </a:extLst>
              </p:cNvPr>
              <p:cNvSpPr>
                <a:spLocks/>
              </p:cNvSpPr>
              <p:nvPr/>
            </p:nvSpPr>
            <p:spPr bwMode="auto">
              <a:xfrm flipV="1">
                <a:off x="7213284" y="1708537"/>
                <a:ext cx="340294" cy="180975"/>
              </a:xfrm>
              <a:custGeom>
                <a:avLst/>
                <a:gdLst>
                  <a:gd name="T0" fmla="*/ 88 w 90"/>
                  <a:gd name="T1" fmla="*/ 48 h 48"/>
                  <a:gd name="T2" fmla="*/ 87 w 90"/>
                  <a:gd name="T3" fmla="*/ 47 h 48"/>
                  <a:gd name="T4" fmla="*/ 58 w 90"/>
                  <a:gd name="T5" fmla="*/ 21 h 48"/>
                  <a:gd name="T6" fmla="*/ 39 w 90"/>
                  <a:gd name="T7" fmla="*/ 36 h 48"/>
                  <a:gd name="T8" fmla="*/ 37 w 90"/>
                  <a:gd name="T9" fmla="*/ 35 h 48"/>
                  <a:gd name="T10" fmla="*/ 1 w 90"/>
                  <a:gd name="T11" fmla="*/ 3 h 48"/>
                  <a:gd name="T12" fmla="*/ 1 w 90"/>
                  <a:gd name="T13" fmla="*/ 1 h 48"/>
                  <a:gd name="T14" fmla="*/ 3 w 90"/>
                  <a:gd name="T15" fmla="*/ 1 h 48"/>
                  <a:gd name="T16" fmla="*/ 38 w 90"/>
                  <a:gd name="T17" fmla="*/ 31 h 48"/>
                  <a:gd name="T18" fmla="*/ 57 w 90"/>
                  <a:gd name="T19" fmla="*/ 16 h 48"/>
                  <a:gd name="T20" fmla="*/ 59 w 90"/>
                  <a:gd name="T21" fmla="*/ 17 h 48"/>
                  <a:gd name="T22" fmla="*/ 89 w 90"/>
                  <a:gd name="T23" fmla="*/ 45 h 48"/>
                  <a:gd name="T24" fmla="*/ 89 w 90"/>
                  <a:gd name="T25" fmla="*/ 47 h 48"/>
                  <a:gd name="T26" fmla="*/ 88 w 90"/>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48">
                    <a:moveTo>
                      <a:pt x="88" y="48"/>
                    </a:moveTo>
                    <a:cubicBezTo>
                      <a:pt x="88" y="48"/>
                      <a:pt x="87" y="48"/>
                      <a:pt x="87" y="47"/>
                    </a:cubicBezTo>
                    <a:cubicBezTo>
                      <a:pt x="58" y="21"/>
                      <a:pt x="58" y="21"/>
                      <a:pt x="58" y="21"/>
                    </a:cubicBezTo>
                    <a:cubicBezTo>
                      <a:pt x="39" y="36"/>
                      <a:pt x="39" y="36"/>
                      <a:pt x="39" y="36"/>
                    </a:cubicBezTo>
                    <a:cubicBezTo>
                      <a:pt x="38" y="36"/>
                      <a:pt x="37" y="36"/>
                      <a:pt x="37" y="35"/>
                    </a:cubicBezTo>
                    <a:cubicBezTo>
                      <a:pt x="1" y="3"/>
                      <a:pt x="1" y="3"/>
                      <a:pt x="1" y="3"/>
                    </a:cubicBezTo>
                    <a:cubicBezTo>
                      <a:pt x="0" y="3"/>
                      <a:pt x="0" y="1"/>
                      <a:pt x="1" y="1"/>
                    </a:cubicBezTo>
                    <a:cubicBezTo>
                      <a:pt x="1" y="0"/>
                      <a:pt x="3" y="0"/>
                      <a:pt x="3" y="1"/>
                    </a:cubicBezTo>
                    <a:cubicBezTo>
                      <a:pt x="38" y="31"/>
                      <a:pt x="38" y="31"/>
                      <a:pt x="38" y="31"/>
                    </a:cubicBezTo>
                    <a:cubicBezTo>
                      <a:pt x="57" y="16"/>
                      <a:pt x="57" y="16"/>
                      <a:pt x="57" y="16"/>
                    </a:cubicBezTo>
                    <a:cubicBezTo>
                      <a:pt x="58" y="16"/>
                      <a:pt x="59" y="16"/>
                      <a:pt x="59" y="17"/>
                    </a:cubicBezTo>
                    <a:cubicBezTo>
                      <a:pt x="89" y="45"/>
                      <a:pt x="89" y="45"/>
                      <a:pt x="89" y="45"/>
                    </a:cubicBezTo>
                    <a:cubicBezTo>
                      <a:pt x="90" y="45"/>
                      <a:pt x="90" y="47"/>
                      <a:pt x="89" y="47"/>
                    </a:cubicBezTo>
                    <a:cubicBezTo>
                      <a:pt x="89" y="48"/>
                      <a:pt x="89" y="48"/>
                      <a:pt x="8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68" name="Freeform 106">
                <a:extLst>
                  <a:ext uri="{FF2B5EF4-FFF2-40B4-BE49-F238E27FC236}">
                    <a16:creationId xmlns:a16="http://schemas.microsoft.com/office/drawing/2014/main" id="{34DB08C3-9DA3-4AE1-B8A8-AEE68CDF2F62}"/>
                  </a:ext>
                </a:extLst>
              </p:cNvPr>
              <p:cNvSpPr>
                <a:spLocks/>
              </p:cNvSpPr>
              <p:nvPr/>
            </p:nvSpPr>
            <p:spPr bwMode="auto">
              <a:xfrm flipV="1">
                <a:off x="7477772" y="1708549"/>
                <a:ext cx="75793" cy="75793"/>
              </a:xfrm>
              <a:custGeom>
                <a:avLst/>
                <a:gdLst>
                  <a:gd name="T0" fmla="*/ 18 w 20"/>
                  <a:gd name="T1" fmla="*/ 20 h 20"/>
                  <a:gd name="T2" fmla="*/ 2 w 20"/>
                  <a:gd name="T3" fmla="*/ 20 h 20"/>
                  <a:gd name="T4" fmla="*/ 0 w 20"/>
                  <a:gd name="T5" fmla="*/ 18 h 20"/>
                  <a:gd name="T6" fmla="*/ 2 w 20"/>
                  <a:gd name="T7" fmla="*/ 16 h 20"/>
                  <a:gd name="T8" fmla="*/ 16 w 20"/>
                  <a:gd name="T9" fmla="*/ 16 h 20"/>
                  <a:gd name="T10" fmla="*/ 16 w 20"/>
                  <a:gd name="T11" fmla="*/ 2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2" y="20"/>
                      <a:pt x="2" y="20"/>
                      <a:pt x="2" y="20"/>
                    </a:cubicBezTo>
                    <a:cubicBezTo>
                      <a:pt x="1" y="20"/>
                      <a:pt x="0" y="19"/>
                      <a:pt x="0" y="18"/>
                    </a:cubicBezTo>
                    <a:cubicBezTo>
                      <a:pt x="0" y="17"/>
                      <a:pt x="1" y="16"/>
                      <a:pt x="2" y="16"/>
                    </a:cubicBezTo>
                    <a:cubicBezTo>
                      <a:pt x="16" y="16"/>
                      <a:pt x="16" y="16"/>
                      <a:pt x="16" y="16"/>
                    </a:cubicBezTo>
                    <a:cubicBezTo>
                      <a:pt x="16" y="2"/>
                      <a:pt x="16" y="2"/>
                      <a:pt x="16" y="2"/>
                    </a:cubicBezTo>
                    <a:cubicBezTo>
                      <a:pt x="16" y="1"/>
                      <a:pt x="17"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966" name="Freeform 12">
              <a:extLst>
                <a:ext uri="{FF2B5EF4-FFF2-40B4-BE49-F238E27FC236}">
                  <a16:creationId xmlns:a16="http://schemas.microsoft.com/office/drawing/2014/main" id="{E4D78CCE-D3E9-484F-9091-42A77730D6F0}"/>
                </a:ext>
              </a:extLst>
            </p:cNvPr>
            <p:cNvSpPr>
              <a:spLocks/>
            </p:cNvSpPr>
            <p:nvPr/>
          </p:nvSpPr>
          <p:spPr bwMode="auto">
            <a:xfrm>
              <a:off x="7337073" y="1872544"/>
              <a:ext cx="134938" cy="132353"/>
            </a:xfrm>
            <a:custGeom>
              <a:avLst/>
              <a:gdLst>
                <a:gd name="T0" fmla="*/ 0 w 508"/>
                <a:gd name="T1" fmla="*/ 311 h 498"/>
                <a:gd name="T2" fmla="*/ 91 w 508"/>
                <a:gd name="T3" fmla="*/ 311 h 498"/>
                <a:gd name="T4" fmla="*/ 332 w 508"/>
                <a:gd name="T5" fmla="*/ 498 h 498"/>
                <a:gd name="T6" fmla="*/ 490 w 508"/>
                <a:gd name="T7" fmla="*/ 440 h 498"/>
                <a:gd name="T8" fmla="*/ 490 w 508"/>
                <a:gd name="T9" fmla="*/ 382 h 498"/>
                <a:gd name="T10" fmla="*/ 332 w 508"/>
                <a:gd name="T11" fmla="*/ 456 h 498"/>
                <a:gd name="T12" fmla="*/ 134 w 508"/>
                <a:gd name="T13" fmla="*/ 311 h 498"/>
                <a:gd name="T14" fmla="*/ 409 w 508"/>
                <a:gd name="T15" fmla="*/ 311 h 498"/>
                <a:gd name="T16" fmla="*/ 426 w 508"/>
                <a:gd name="T17" fmla="*/ 270 h 498"/>
                <a:gd name="T18" fmla="*/ 125 w 508"/>
                <a:gd name="T19" fmla="*/ 270 h 498"/>
                <a:gd name="T20" fmla="*/ 124 w 508"/>
                <a:gd name="T21" fmla="*/ 249 h 498"/>
                <a:gd name="T22" fmla="*/ 125 w 508"/>
                <a:gd name="T23" fmla="*/ 228 h 498"/>
                <a:gd name="T24" fmla="*/ 444 w 508"/>
                <a:gd name="T25" fmla="*/ 228 h 498"/>
                <a:gd name="T26" fmla="*/ 461 w 508"/>
                <a:gd name="T27" fmla="*/ 187 h 498"/>
                <a:gd name="T28" fmla="*/ 134 w 508"/>
                <a:gd name="T29" fmla="*/ 187 h 498"/>
                <a:gd name="T30" fmla="*/ 332 w 508"/>
                <a:gd name="T31" fmla="*/ 42 h 498"/>
                <a:gd name="T32" fmla="*/ 490 w 508"/>
                <a:gd name="T33" fmla="*/ 116 h 498"/>
                <a:gd name="T34" fmla="*/ 508 w 508"/>
                <a:gd name="T35" fmla="*/ 74 h 498"/>
                <a:gd name="T36" fmla="*/ 332 w 508"/>
                <a:gd name="T37" fmla="*/ 0 h 498"/>
                <a:gd name="T38" fmla="*/ 91 w 508"/>
                <a:gd name="T39" fmla="*/ 187 h 498"/>
                <a:gd name="T40" fmla="*/ 17 w 508"/>
                <a:gd name="T41" fmla="*/ 187 h 498"/>
                <a:gd name="T42" fmla="*/ 0 w 508"/>
                <a:gd name="T43" fmla="*/ 228 h 498"/>
                <a:gd name="T44" fmla="*/ 84 w 508"/>
                <a:gd name="T45" fmla="*/ 228 h 498"/>
                <a:gd name="T46" fmla="*/ 83 w 508"/>
                <a:gd name="T47" fmla="*/ 249 h 498"/>
                <a:gd name="T48" fmla="*/ 84 w 508"/>
                <a:gd name="T49" fmla="*/ 270 h 498"/>
                <a:gd name="T50" fmla="*/ 17 w 508"/>
                <a:gd name="T51" fmla="*/ 270 h 498"/>
                <a:gd name="T52" fmla="*/ 0 w 508"/>
                <a:gd name="T53" fmla="*/ 31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8" h="498">
                  <a:moveTo>
                    <a:pt x="0" y="311"/>
                  </a:moveTo>
                  <a:cubicBezTo>
                    <a:pt x="91" y="311"/>
                    <a:pt x="91" y="311"/>
                    <a:pt x="91" y="311"/>
                  </a:cubicBezTo>
                  <a:cubicBezTo>
                    <a:pt x="119" y="420"/>
                    <a:pt x="220" y="498"/>
                    <a:pt x="332" y="498"/>
                  </a:cubicBezTo>
                  <a:cubicBezTo>
                    <a:pt x="389" y="498"/>
                    <a:pt x="446" y="477"/>
                    <a:pt x="490" y="440"/>
                  </a:cubicBezTo>
                  <a:cubicBezTo>
                    <a:pt x="490" y="382"/>
                    <a:pt x="490" y="382"/>
                    <a:pt x="490" y="382"/>
                  </a:cubicBezTo>
                  <a:cubicBezTo>
                    <a:pt x="450" y="429"/>
                    <a:pt x="394" y="456"/>
                    <a:pt x="332" y="456"/>
                  </a:cubicBezTo>
                  <a:cubicBezTo>
                    <a:pt x="241" y="456"/>
                    <a:pt x="162" y="396"/>
                    <a:pt x="134" y="311"/>
                  </a:cubicBezTo>
                  <a:cubicBezTo>
                    <a:pt x="409" y="311"/>
                    <a:pt x="409" y="311"/>
                    <a:pt x="409" y="311"/>
                  </a:cubicBezTo>
                  <a:cubicBezTo>
                    <a:pt x="426" y="270"/>
                    <a:pt x="426" y="270"/>
                    <a:pt x="426" y="270"/>
                  </a:cubicBezTo>
                  <a:cubicBezTo>
                    <a:pt x="125" y="270"/>
                    <a:pt x="125" y="270"/>
                    <a:pt x="125" y="270"/>
                  </a:cubicBezTo>
                  <a:cubicBezTo>
                    <a:pt x="125" y="263"/>
                    <a:pt x="124" y="256"/>
                    <a:pt x="124" y="249"/>
                  </a:cubicBezTo>
                  <a:cubicBezTo>
                    <a:pt x="124" y="242"/>
                    <a:pt x="125" y="235"/>
                    <a:pt x="125" y="228"/>
                  </a:cubicBezTo>
                  <a:cubicBezTo>
                    <a:pt x="444" y="228"/>
                    <a:pt x="444" y="228"/>
                    <a:pt x="444" y="228"/>
                  </a:cubicBezTo>
                  <a:cubicBezTo>
                    <a:pt x="461" y="187"/>
                    <a:pt x="461" y="187"/>
                    <a:pt x="461" y="187"/>
                  </a:cubicBezTo>
                  <a:cubicBezTo>
                    <a:pt x="134" y="187"/>
                    <a:pt x="134" y="187"/>
                    <a:pt x="134" y="187"/>
                  </a:cubicBezTo>
                  <a:cubicBezTo>
                    <a:pt x="157" y="103"/>
                    <a:pt x="246" y="42"/>
                    <a:pt x="332" y="42"/>
                  </a:cubicBezTo>
                  <a:cubicBezTo>
                    <a:pt x="393" y="42"/>
                    <a:pt x="451" y="70"/>
                    <a:pt x="490" y="116"/>
                  </a:cubicBezTo>
                  <a:cubicBezTo>
                    <a:pt x="508" y="74"/>
                    <a:pt x="508" y="74"/>
                    <a:pt x="508" y="74"/>
                  </a:cubicBezTo>
                  <a:cubicBezTo>
                    <a:pt x="461" y="27"/>
                    <a:pt x="398" y="0"/>
                    <a:pt x="332" y="0"/>
                  </a:cubicBezTo>
                  <a:cubicBezTo>
                    <a:pt x="221" y="0"/>
                    <a:pt x="118" y="79"/>
                    <a:pt x="91" y="187"/>
                  </a:cubicBezTo>
                  <a:cubicBezTo>
                    <a:pt x="17" y="187"/>
                    <a:pt x="17" y="187"/>
                    <a:pt x="17" y="187"/>
                  </a:cubicBezTo>
                  <a:cubicBezTo>
                    <a:pt x="0" y="228"/>
                    <a:pt x="0" y="228"/>
                    <a:pt x="0" y="228"/>
                  </a:cubicBezTo>
                  <a:cubicBezTo>
                    <a:pt x="84" y="228"/>
                    <a:pt x="84" y="228"/>
                    <a:pt x="84" y="228"/>
                  </a:cubicBezTo>
                  <a:cubicBezTo>
                    <a:pt x="83" y="235"/>
                    <a:pt x="83" y="242"/>
                    <a:pt x="83" y="249"/>
                  </a:cubicBezTo>
                  <a:cubicBezTo>
                    <a:pt x="83" y="256"/>
                    <a:pt x="83" y="263"/>
                    <a:pt x="84" y="270"/>
                  </a:cubicBezTo>
                  <a:cubicBezTo>
                    <a:pt x="17" y="270"/>
                    <a:pt x="17" y="270"/>
                    <a:pt x="17" y="270"/>
                  </a:cubicBezTo>
                  <a:cubicBezTo>
                    <a:pt x="0" y="311"/>
                    <a:pt x="0" y="311"/>
                    <a:pt x="0" y="311"/>
                  </a:cubicBezTo>
                  <a:close/>
                </a:path>
              </a:pathLst>
            </a:custGeom>
            <a:grpFill/>
            <a:ln w="4763" cap="flat">
              <a:noFill/>
              <a:prstDash val="solid"/>
              <a:miter lim="800000"/>
              <a:headEnd/>
              <a:tailEnd/>
            </a:ln>
            <a:extLst>
              <a:ext uri="{91240B29-F687-4F45-9708-019B960494DF}">
                <a14:hiddenLine xmlns:a14="http://schemas.microsoft.com/office/drawing/2010/main" w="4763" cap="flat">
                  <a:solidFill>
                    <a:srgbClr val="000000"/>
                  </a:solidFill>
                  <a:prstDash val="solid"/>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983" name="Group 167">
            <a:extLst>
              <a:ext uri="{FF2B5EF4-FFF2-40B4-BE49-F238E27FC236}">
                <a16:creationId xmlns:a16="http://schemas.microsoft.com/office/drawing/2014/main" id="{686D8ABA-6B0C-4E9E-9126-297A54A03B7B}"/>
              </a:ext>
            </a:extLst>
          </p:cNvPr>
          <p:cNvGrpSpPr>
            <a:grpSpLocks noChangeAspect="1"/>
          </p:cNvGrpSpPr>
          <p:nvPr/>
        </p:nvGrpSpPr>
        <p:grpSpPr>
          <a:xfrm>
            <a:off x="3203244" y="2724897"/>
            <a:ext cx="284403" cy="285619"/>
            <a:chOff x="7791450" y="2930525"/>
            <a:chExt cx="371475" cy="373063"/>
          </a:xfrm>
          <a:solidFill>
            <a:schemeClr val="bg1"/>
          </a:solidFill>
          <a:effectLst/>
        </p:grpSpPr>
        <p:sp>
          <p:nvSpPr>
            <p:cNvPr id="1984" name="Freeform 120">
              <a:extLst>
                <a:ext uri="{FF2B5EF4-FFF2-40B4-BE49-F238E27FC236}">
                  <a16:creationId xmlns:a16="http://schemas.microsoft.com/office/drawing/2014/main" id="{042416E9-A483-4259-8E0C-B7ED197965EC}"/>
                </a:ext>
              </a:extLst>
            </p:cNvPr>
            <p:cNvSpPr>
              <a:spLocks noEditPoints="1"/>
            </p:cNvSpPr>
            <p:nvPr/>
          </p:nvSpPr>
          <p:spPr bwMode="auto">
            <a:xfrm>
              <a:off x="7791450" y="2930525"/>
              <a:ext cx="371475" cy="373063"/>
            </a:xfrm>
            <a:custGeom>
              <a:avLst/>
              <a:gdLst>
                <a:gd name="T0" fmla="*/ 49 w 96"/>
                <a:gd name="T1" fmla="*/ 97 h 97"/>
                <a:gd name="T2" fmla="*/ 47 w 96"/>
                <a:gd name="T3" fmla="*/ 95 h 97"/>
                <a:gd name="T4" fmla="*/ 49 w 96"/>
                <a:gd name="T5" fmla="*/ 93 h 97"/>
                <a:gd name="T6" fmla="*/ 75 w 96"/>
                <a:gd name="T7" fmla="*/ 83 h 97"/>
                <a:gd name="T8" fmla="*/ 78 w 96"/>
                <a:gd name="T9" fmla="*/ 84 h 97"/>
                <a:gd name="T10" fmla="*/ 78 w 96"/>
                <a:gd name="T11" fmla="*/ 87 h 97"/>
                <a:gd name="T12" fmla="*/ 49 w 96"/>
                <a:gd name="T13" fmla="*/ 97 h 97"/>
                <a:gd name="T14" fmla="*/ 49 w 96"/>
                <a:gd name="T15" fmla="*/ 97 h 97"/>
                <a:gd name="T16" fmla="*/ 38 w 96"/>
                <a:gd name="T17" fmla="*/ 96 h 97"/>
                <a:gd name="T18" fmla="*/ 37 w 96"/>
                <a:gd name="T19" fmla="*/ 96 h 97"/>
                <a:gd name="T20" fmla="*/ 11 w 96"/>
                <a:gd name="T21" fmla="*/ 80 h 97"/>
                <a:gd name="T22" fmla="*/ 11 w 96"/>
                <a:gd name="T23" fmla="*/ 77 h 97"/>
                <a:gd name="T24" fmla="*/ 14 w 96"/>
                <a:gd name="T25" fmla="*/ 77 h 97"/>
                <a:gd name="T26" fmla="*/ 38 w 96"/>
                <a:gd name="T27" fmla="*/ 92 h 97"/>
                <a:gd name="T28" fmla="*/ 40 w 96"/>
                <a:gd name="T29" fmla="*/ 94 h 97"/>
                <a:gd name="T30" fmla="*/ 38 w 96"/>
                <a:gd name="T31" fmla="*/ 96 h 97"/>
                <a:gd name="T32" fmla="*/ 85 w 96"/>
                <a:gd name="T33" fmla="*/ 79 h 97"/>
                <a:gd name="T34" fmla="*/ 83 w 96"/>
                <a:gd name="T35" fmla="*/ 79 h 97"/>
                <a:gd name="T36" fmla="*/ 83 w 96"/>
                <a:gd name="T37" fmla="*/ 76 h 97"/>
                <a:gd name="T38" fmla="*/ 92 w 96"/>
                <a:gd name="T39" fmla="*/ 49 h 97"/>
                <a:gd name="T40" fmla="*/ 94 w 96"/>
                <a:gd name="T41" fmla="*/ 47 h 97"/>
                <a:gd name="T42" fmla="*/ 96 w 96"/>
                <a:gd name="T43" fmla="*/ 49 h 97"/>
                <a:gd name="T44" fmla="*/ 96 w 96"/>
                <a:gd name="T45" fmla="*/ 49 h 97"/>
                <a:gd name="T46" fmla="*/ 86 w 96"/>
                <a:gd name="T47" fmla="*/ 78 h 97"/>
                <a:gd name="T48" fmla="*/ 85 w 96"/>
                <a:gd name="T49" fmla="*/ 79 h 97"/>
                <a:gd name="T50" fmla="*/ 7 w 96"/>
                <a:gd name="T51" fmla="*/ 71 h 97"/>
                <a:gd name="T52" fmla="*/ 5 w 96"/>
                <a:gd name="T53" fmla="*/ 70 h 97"/>
                <a:gd name="T54" fmla="*/ 0 w 96"/>
                <a:gd name="T55" fmla="*/ 49 h 97"/>
                <a:gd name="T56" fmla="*/ 1 w 96"/>
                <a:gd name="T57" fmla="*/ 39 h 97"/>
                <a:gd name="T58" fmla="*/ 3 w 96"/>
                <a:gd name="T59" fmla="*/ 38 h 97"/>
                <a:gd name="T60" fmla="*/ 5 w 96"/>
                <a:gd name="T61" fmla="*/ 40 h 97"/>
                <a:gd name="T62" fmla="*/ 4 w 96"/>
                <a:gd name="T63" fmla="*/ 49 h 97"/>
                <a:gd name="T64" fmla="*/ 8 w 96"/>
                <a:gd name="T65" fmla="*/ 68 h 97"/>
                <a:gd name="T66" fmla="*/ 7 w 96"/>
                <a:gd name="T67" fmla="*/ 71 h 97"/>
                <a:gd name="T68" fmla="*/ 7 w 96"/>
                <a:gd name="T69" fmla="*/ 71 h 97"/>
                <a:gd name="T70" fmla="*/ 93 w 96"/>
                <a:gd name="T71" fmla="*/ 40 h 97"/>
                <a:gd name="T72" fmla="*/ 91 w 96"/>
                <a:gd name="T73" fmla="*/ 38 h 97"/>
                <a:gd name="T74" fmla="*/ 75 w 96"/>
                <a:gd name="T75" fmla="*/ 14 h 97"/>
                <a:gd name="T76" fmla="*/ 75 w 96"/>
                <a:gd name="T77" fmla="*/ 12 h 97"/>
                <a:gd name="T78" fmla="*/ 78 w 96"/>
                <a:gd name="T79" fmla="*/ 11 h 97"/>
                <a:gd name="T80" fmla="*/ 95 w 96"/>
                <a:gd name="T81" fmla="*/ 37 h 97"/>
                <a:gd name="T82" fmla="*/ 93 w 96"/>
                <a:gd name="T83" fmla="*/ 40 h 97"/>
                <a:gd name="T84" fmla="*/ 93 w 96"/>
                <a:gd name="T85" fmla="*/ 40 h 97"/>
                <a:gd name="T86" fmla="*/ 6 w 96"/>
                <a:gd name="T87" fmla="*/ 31 h 97"/>
                <a:gd name="T88" fmla="*/ 6 w 96"/>
                <a:gd name="T89" fmla="*/ 31 h 97"/>
                <a:gd name="T90" fmla="*/ 5 w 96"/>
                <a:gd name="T91" fmla="*/ 28 h 97"/>
                <a:gd name="T92" fmla="*/ 26 w 96"/>
                <a:gd name="T93" fmla="*/ 6 h 97"/>
                <a:gd name="T94" fmla="*/ 29 w 96"/>
                <a:gd name="T95" fmla="*/ 7 h 97"/>
                <a:gd name="T96" fmla="*/ 28 w 96"/>
                <a:gd name="T97" fmla="*/ 10 h 97"/>
                <a:gd name="T98" fmla="*/ 8 w 96"/>
                <a:gd name="T99" fmla="*/ 30 h 97"/>
                <a:gd name="T100" fmla="*/ 6 w 96"/>
                <a:gd name="T101" fmla="*/ 31 h 97"/>
                <a:gd name="T102" fmla="*/ 67 w 96"/>
                <a:gd name="T103" fmla="*/ 9 h 97"/>
                <a:gd name="T104" fmla="*/ 66 w 96"/>
                <a:gd name="T105" fmla="*/ 9 h 97"/>
                <a:gd name="T106" fmla="*/ 38 w 96"/>
                <a:gd name="T107" fmla="*/ 6 h 97"/>
                <a:gd name="T108" fmla="*/ 36 w 96"/>
                <a:gd name="T109" fmla="*/ 5 h 97"/>
                <a:gd name="T110" fmla="*/ 37 w 96"/>
                <a:gd name="T111" fmla="*/ 2 h 97"/>
                <a:gd name="T112" fmla="*/ 68 w 96"/>
                <a:gd name="T113" fmla="*/ 5 h 97"/>
                <a:gd name="T114" fmla="*/ 69 w 96"/>
                <a:gd name="T115" fmla="*/ 8 h 97"/>
                <a:gd name="T116" fmla="*/ 67 w 96"/>
                <a:gd name="T117"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7">
                  <a:moveTo>
                    <a:pt x="49" y="97"/>
                  </a:moveTo>
                  <a:cubicBezTo>
                    <a:pt x="48" y="97"/>
                    <a:pt x="47" y="96"/>
                    <a:pt x="47" y="95"/>
                  </a:cubicBezTo>
                  <a:cubicBezTo>
                    <a:pt x="47" y="94"/>
                    <a:pt x="48" y="93"/>
                    <a:pt x="49" y="93"/>
                  </a:cubicBezTo>
                  <a:cubicBezTo>
                    <a:pt x="59" y="93"/>
                    <a:pt x="68" y="89"/>
                    <a:pt x="75" y="83"/>
                  </a:cubicBezTo>
                  <a:cubicBezTo>
                    <a:pt x="76" y="83"/>
                    <a:pt x="78" y="83"/>
                    <a:pt x="78" y="84"/>
                  </a:cubicBezTo>
                  <a:cubicBezTo>
                    <a:pt x="79" y="85"/>
                    <a:pt x="79" y="86"/>
                    <a:pt x="78" y="87"/>
                  </a:cubicBezTo>
                  <a:cubicBezTo>
                    <a:pt x="70" y="93"/>
                    <a:pt x="60" y="97"/>
                    <a:pt x="49" y="97"/>
                  </a:cubicBezTo>
                  <a:cubicBezTo>
                    <a:pt x="49" y="97"/>
                    <a:pt x="49" y="97"/>
                    <a:pt x="49" y="97"/>
                  </a:cubicBezTo>
                  <a:close/>
                  <a:moveTo>
                    <a:pt x="38" y="96"/>
                  </a:moveTo>
                  <a:cubicBezTo>
                    <a:pt x="38" y="96"/>
                    <a:pt x="38" y="96"/>
                    <a:pt x="37" y="96"/>
                  </a:cubicBezTo>
                  <a:cubicBezTo>
                    <a:pt x="27" y="94"/>
                    <a:pt x="18" y="88"/>
                    <a:pt x="11" y="80"/>
                  </a:cubicBezTo>
                  <a:cubicBezTo>
                    <a:pt x="10" y="79"/>
                    <a:pt x="11" y="78"/>
                    <a:pt x="11" y="77"/>
                  </a:cubicBezTo>
                  <a:cubicBezTo>
                    <a:pt x="12" y="76"/>
                    <a:pt x="13" y="76"/>
                    <a:pt x="14" y="77"/>
                  </a:cubicBezTo>
                  <a:cubicBezTo>
                    <a:pt x="20" y="85"/>
                    <a:pt x="29" y="90"/>
                    <a:pt x="38" y="92"/>
                  </a:cubicBezTo>
                  <a:cubicBezTo>
                    <a:pt x="39" y="92"/>
                    <a:pt x="40" y="93"/>
                    <a:pt x="40" y="94"/>
                  </a:cubicBezTo>
                  <a:cubicBezTo>
                    <a:pt x="40" y="95"/>
                    <a:pt x="39" y="96"/>
                    <a:pt x="38" y="96"/>
                  </a:cubicBezTo>
                  <a:close/>
                  <a:moveTo>
                    <a:pt x="85" y="79"/>
                  </a:moveTo>
                  <a:cubicBezTo>
                    <a:pt x="84" y="79"/>
                    <a:pt x="84" y="79"/>
                    <a:pt x="83" y="79"/>
                  </a:cubicBezTo>
                  <a:cubicBezTo>
                    <a:pt x="82" y="78"/>
                    <a:pt x="82" y="77"/>
                    <a:pt x="83" y="76"/>
                  </a:cubicBezTo>
                  <a:cubicBezTo>
                    <a:pt x="89" y="68"/>
                    <a:pt x="92" y="59"/>
                    <a:pt x="92" y="49"/>
                  </a:cubicBezTo>
                  <a:cubicBezTo>
                    <a:pt x="92" y="48"/>
                    <a:pt x="93" y="47"/>
                    <a:pt x="94" y="47"/>
                  </a:cubicBezTo>
                  <a:cubicBezTo>
                    <a:pt x="95" y="47"/>
                    <a:pt x="96" y="48"/>
                    <a:pt x="96" y="49"/>
                  </a:cubicBezTo>
                  <a:cubicBezTo>
                    <a:pt x="96" y="49"/>
                    <a:pt x="96" y="49"/>
                    <a:pt x="96" y="49"/>
                  </a:cubicBezTo>
                  <a:cubicBezTo>
                    <a:pt x="96" y="60"/>
                    <a:pt x="93" y="70"/>
                    <a:pt x="86" y="78"/>
                  </a:cubicBezTo>
                  <a:cubicBezTo>
                    <a:pt x="86" y="79"/>
                    <a:pt x="85" y="79"/>
                    <a:pt x="85" y="79"/>
                  </a:cubicBezTo>
                  <a:close/>
                  <a:moveTo>
                    <a:pt x="7" y="71"/>
                  </a:moveTo>
                  <a:cubicBezTo>
                    <a:pt x="6" y="71"/>
                    <a:pt x="5" y="71"/>
                    <a:pt x="5" y="70"/>
                  </a:cubicBezTo>
                  <a:cubicBezTo>
                    <a:pt x="2" y="63"/>
                    <a:pt x="0" y="56"/>
                    <a:pt x="0" y="49"/>
                  </a:cubicBezTo>
                  <a:cubicBezTo>
                    <a:pt x="0" y="46"/>
                    <a:pt x="0" y="43"/>
                    <a:pt x="1" y="39"/>
                  </a:cubicBezTo>
                  <a:cubicBezTo>
                    <a:pt x="1" y="38"/>
                    <a:pt x="2" y="38"/>
                    <a:pt x="3" y="38"/>
                  </a:cubicBezTo>
                  <a:cubicBezTo>
                    <a:pt x="4" y="38"/>
                    <a:pt x="5" y="39"/>
                    <a:pt x="5" y="40"/>
                  </a:cubicBezTo>
                  <a:cubicBezTo>
                    <a:pt x="4" y="43"/>
                    <a:pt x="4" y="46"/>
                    <a:pt x="4" y="49"/>
                  </a:cubicBezTo>
                  <a:cubicBezTo>
                    <a:pt x="4" y="56"/>
                    <a:pt x="5" y="62"/>
                    <a:pt x="8" y="68"/>
                  </a:cubicBezTo>
                  <a:cubicBezTo>
                    <a:pt x="9" y="69"/>
                    <a:pt x="8" y="70"/>
                    <a:pt x="7" y="71"/>
                  </a:cubicBezTo>
                  <a:cubicBezTo>
                    <a:pt x="7" y="71"/>
                    <a:pt x="7" y="71"/>
                    <a:pt x="7" y="71"/>
                  </a:cubicBezTo>
                  <a:close/>
                  <a:moveTo>
                    <a:pt x="93" y="40"/>
                  </a:moveTo>
                  <a:cubicBezTo>
                    <a:pt x="92" y="40"/>
                    <a:pt x="91" y="39"/>
                    <a:pt x="91" y="38"/>
                  </a:cubicBezTo>
                  <a:cubicBezTo>
                    <a:pt x="88" y="29"/>
                    <a:pt x="83" y="20"/>
                    <a:pt x="75" y="14"/>
                  </a:cubicBezTo>
                  <a:cubicBezTo>
                    <a:pt x="74" y="14"/>
                    <a:pt x="74" y="13"/>
                    <a:pt x="75" y="12"/>
                  </a:cubicBezTo>
                  <a:cubicBezTo>
                    <a:pt x="76" y="11"/>
                    <a:pt x="77" y="11"/>
                    <a:pt x="78" y="11"/>
                  </a:cubicBezTo>
                  <a:cubicBezTo>
                    <a:pt x="86" y="18"/>
                    <a:pt x="92" y="27"/>
                    <a:pt x="95" y="37"/>
                  </a:cubicBezTo>
                  <a:cubicBezTo>
                    <a:pt x="95" y="38"/>
                    <a:pt x="94" y="39"/>
                    <a:pt x="93" y="40"/>
                  </a:cubicBezTo>
                  <a:cubicBezTo>
                    <a:pt x="93" y="40"/>
                    <a:pt x="93" y="40"/>
                    <a:pt x="93" y="40"/>
                  </a:cubicBezTo>
                  <a:close/>
                  <a:moveTo>
                    <a:pt x="6" y="31"/>
                  </a:moveTo>
                  <a:cubicBezTo>
                    <a:pt x="6" y="31"/>
                    <a:pt x="6" y="31"/>
                    <a:pt x="6" y="31"/>
                  </a:cubicBezTo>
                  <a:cubicBezTo>
                    <a:pt x="5" y="30"/>
                    <a:pt x="4" y="29"/>
                    <a:pt x="5" y="28"/>
                  </a:cubicBezTo>
                  <a:cubicBezTo>
                    <a:pt x="9" y="19"/>
                    <a:pt x="17" y="11"/>
                    <a:pt x="26" y="6"/>
                  </a:cubicBezTo>
                  <a:cubicBezTo>
                    <a:pt x="27" y="6"/>
                    <a:pt x="28" y="6"/>
                    <a:pt x="29" y="7"/>
                  </a:cubicBezTo>
                  <a:cubicBezTo>
                    <a:pt x="29" y="8"/>
                    <a:pt x="29" y="9"/>
                    <a:pt x="28" y="10"/>
                  </a:cubicBezTo>
                  <a:cubicBezTo>
                    <a:pt x="19" y="14"/>
                    <a:pt x="12" y="21"/>
                    <a:pt x="8" y="30"/>
                  </a:cubicBezTo>
                  <a:cubicBezTo>
                    <a:pt x="8" y="31"/>
                    <a:pt x="7" y="31"/>
                    <a:pt x="6" y="31"/>
                  </a:cubicBezTo>
                  <a:close/>
                  <a:moveTo>
                    <a:pt x="67" y="9"/>
                  </a:moveTo>
                  <a:cubicBezTo>
                    <a:pt x="67" y="9"/>
                    <a:pt x="66" y="9"/>
                    <a:pt x="66" y="9"/>
                  </a:cubicBezTo>
                  <a:cubicBezTo>
                    <a:pt x="57" y="5"/>
                    <a:pt x="47" y="4"/>
                    <a:pt x="38" y="6"/>
                  </a:cubicBezTo>
                  <a:cubicBezTo>
                    <a:pt x="37" y="6"/>
                    <a:pt x="36" y="6"/>
                    <a:pt x="36" y="5"/>
                  </a:cubicBezTo>
                  <a:cubicBezTo>
                    <a:pt x="35" y="4"/>
                    <a:pt x="36" y="2"/>
                    <a:pt x="37" y="2"/>
                  </a:cubicBezTo>
                  <a:cubicBezTo>
                    <a:pt x="47" y="0"/>
                    <a:pt x="58" y="1"/>
                    <a:pt x="68" y="5"/>
                  </a:cubicBezTo>
                  <a:cubicBezTo>
                    <a:pt x="69" y="6"/>
                    <a:pt x="69" y="7"/>
                    <a:pt x="69" y="8"/>
                  </a:cubicBezTo>
                  <a:cubicBezTo>
                    <a:pt x="68" y="9"/>
                    <a:pt x="68" y="9"/>
                    <a:pt x="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5" name="Freeform 121">
              <a:extLst>
                <a:ext uri="{FF2B5EF4-FFF2-40B4-BE49-F238E27FC236}">
                  <a16:creationId xmlns:a16="http://schemas.microsoft.com/office/drawing/2014/main" id="{24527138-AE1F-4886-ABB3-713F205E8571}"/>
                </a:ext>
              </a:extLst>
            </p:cNvPr>
            <p:cNvSpPr>
              <a:spLocks/>
            </p:cNvSpPr>
            <p:nvPr/>
          </p:nvSpPr>
          <p:spPr bwMode="auto">
            <a:xfrm>
              <a:off x="7939088" y="3038475"/>
              <a:ext cx="92075" cy="161925"/>
            </a:xfrm>
            <a:custGeom>
              <a:avLst/>
              <a:gdLst>
                <a:gd name="T0" fmla="*/ 12 w 24"/>
                <a:gd name="T1" fmla="*/ 42 h 42"/>
                <a:gd name="T2" fmla="*/ 0 w 24"/>
                <a:gd name="T3" fmla="*/ 31 h 42"/>
                <a:gd name="T4" fmla="*/ 2 w 24"/>
                <a:gd name="T5" fmla="*/ 29 h 42"/>
                <a:gd name="T6" fmla="*/ 4 w 24"/>
                <a:gd name="T7" fmla="*/ 31 h 42"/>
                <a:gd name="T8" fmla="*/ 12 w 24"/>
                <a:gd name="T9" fmla="*/ 38 h 42"/>
                <a:gd name="T10" fmla="*/ 20 w 24"/>
                <a:gd name="T11" fmla="*/ 31 h 42"/>
                <a:gd name="T12" fmla="*/ 12 w 24"/>
                <a:gd name="T13" fmla="*/ 23 h 42"/>
                <a:gd name="T14" fmla="*/ 0 w 24"/>
                <a:gd name="T15" fmla="*/ 11 h 42"/>
                <a:gd name="T16" fmla="*/ 12 w 24"/>
                <a:gd name="T17" fmla="*/ 0 h 42"/>
                <a:gd name="T18" fmla="*/ 24 w 24"/>
                <a:gd name="T19" fmla="*/ 11 h 42"/>
                <a:gd name="T20" fmla="*/ 22 w 24"/>
                <a:gd name="T21" fmla="*/ 13 h 42"/>
                <a:gd name="T22" fmla="*/ 20 w 24"/>
                <a:gd name="T23" fmla="*/ 11 h 42"/>
                <a:gd name="T24" fmla="*/ 12 w 24"/>
                <a:gd name="T25" fmla="*/ 4 h 42"/>
                <a:gd name="T26" fmla="*/ 4 w 24"/>
                <a:gd name="T27" fmla="*/ 11 h 42"/>
                <a:gd name="T28" fmla="*/ 12 w 24"/>
                <a:gd name="T29" fmla="*/ 19 h 42"/>
                <a:gd name="T30" fmla="*/ 24 w 24"/>
                <a:gd name="T31" fmla="*/ 31 h 42"/>
                <a:gd name="T32" fmla="*/ 12 w 2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42">
                  <a:moveTo>
                    <a:pt x="12" y="42"/>
                  </a:moveTo>
                  <a:cubicBezTo>
                    <a:pt x="6" y="42"/>
                    <a:pt x="0" y="37"/>
                    <a:pt x="0" y="31"/>
                  </a:cubicBezTo>
                  <a:cubicBezTo>
                    <a:pt x="0" y="30"/>
                    <a:pt x="1" y="29"/>
                    <a:pt x="2" y="29"/>
                  </a:cubicBezTo>
                  <a:cubicBezTo>
                    <a:pt x="3" y="29"/>
                    <a:pt x="4" y="30"/>
                    <a:pt x="4" y="31"/>
                  </a:cubicBezTo>
                  <a:cubicBezTo>
                    <a:pt x="4" y="35"/>
                    <a:pt x="8" y="38"/>
                    <a:pt x="12" y="38"/>
                  </a:cubicBezTo>
                  <a:cubicBezTo>
                    <a:pt x="16" y="38"/>
                    <a:pt x="20" y="35"/>
                    <a:pt x="20" y="31"/>
                  </a:cubicBezTo>
                  <a:cubicBezTo>
                    <a:pt x="20" y="26"/>
                    <a:pt x="16" y="23"/>
                    <a:pt x="12" y="23"/>
                  </a:cubicBezTo>
                  <a:cubicBezTo>
                    <a:pt x="6" y="23"/>
                    <a:pt x="0" y="18"/>
                    <a:pt x="0" y="11"/>
                  </a:cubicBezTo>
                  <a:cubicBezTo>
                    <a:pt x="0" y="5"/>
                    <a:pt x="6" y="0"/>
                    <a:pt x="12" y="0"/>
                  </a:cubicBezTo>
                  <a:cubicBezTo>
                    <a:pt x="18" y="0"/>
                    <a:pt x="24" y="5"/>
                    <a:pt x="24" y="11"/>
                  </a:cubicBezTo>
                  <a:cubicBezTo>
                    <a:pt x="24" y="12"/>
                    <a:pt x="23" y="13"/>
                    <a:pt x="22" y="13"/>
                  </a:cubicBezTo>
                  <a:cubicBezTo>
                    <a:pt x="21" y="13"/>
                    <a:pt x="20" y="12"/>
                    <a:pt x="20" y="11"/>
                  </a:cubicBezTo>
                  <a:cubicBezTo>
                    <a:pt x="20" y="7"/>
                    <a:pt x="16" y="4"/>
                    <a:pt x="12" y="4"/>
                  </a:cubicBezTo>
                  <a:cubicBezTo>
                    <a:pt x="8" y="4"/>
                    <a:pt x="4" y="7"/>
                    <a:pt x="4" y="11"/>
                  </a:cubicBezTo>
                  <a:cubicBezTo>
                    <a:pt x="4" y="16"/>
                    <a:pt x="8" y="19"/>
                    <a:pt x="12" y="19"/>
                  </a:cubicBezTo>
                  <a:cubicBezTo>
                    <a:pt x="18" y="19"/>
                    <a:pt x="24" y="24"/>
                    <a:pt x="24" y="31"/>
                  </a:cubicBezTo>
                  <a:cubicBezTo>
                    <a:pt x="24" y="37"/>
                    <a:pt x="18" y="42"/>
                    <a:pt x="1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6" name="Freeform 122">
              <a:extLst>
                <a:ext uri="{FF2B5EF4-FFF2-40B4-BE49-F238E27FC236}">
                  <a16:creationId xmlns:a16="http://schemas.microsoft.com/office/drawing/2014/main" id="{C756BF6C-CA8D-4BE4-924D-4D859EC31BD7}"/>
                </a:ext>
              </a:extLst>
            </p:cNvPr>
            <p:cNvSpPr>
              <a:spLocks/>
            </p:cNvSpPr>
            <p:nvPr/>
          </p:nvSpPr>
          <p:spPr bwMode="auto">
            <a:xfrm>
              <a:off x="7977188" y="3184525"/>
              <a:ext cx="15875" cy="42863"/>
            </a:xfrm>
            <a:custGeom>
              <a:avLst/>
              <a:gdLst>
                <a:gd name="T0" fmla="*/ 2 w 4"/>
                <a:gd name="T1" fmla="*/ 11 h 11"/>
                <a:gd name="T2" fmla="*/ 0 w 4"/>
                <a:gd name="T3" fmla="*/ 9 h 11"/>
                <a:gd name="T4" fmla="*/ 0 w 4"/>
                <a:gd name="T5" fmla="*/ 2 h 11"/>
                <a:gd name="T6" fmla="*/ 2 w 4"/>
                <a:gd name="T7" fmla="*/ 0 h 11"/>
                <a:gd name="T8" fmla="*/ 4 w 4"/>
                <a:gd name="T9" fmla="*/ 2 h 11"/>
                <a:gd name="T10" fmla="*/ 4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7" name="Freeform 123">
              <a:extLst>
                <a:ext uri="{FF2B5EF4-FFF2-40B4-BE49-F238E27FC236}">
                  <a16:creationId xmlns:a16="http://schemas.microsoft.com/office/drawing/2014/main" id="{E3460345-A314-484E-BA07-6CBD6C6782FF}"/>
                </a:ext>
              </a:extLst>
            </p:cNvPr>
            <p:cNvSpPr>
              <a:spLocks/>
            </p:cNvSpPr>
            <p:nvPr/>
          </p:nvSpPr>
          <p:spPr bwMode="auto">
            <a:xfrm>
              <a:off x="7977188" y="3011488"/>
              <a:ext cx="15875" cy="41275"/>
            </a:xfrm>
            <a:custGeom>
              <a:avLst/>
              <a:gdLst>
                <a:gd name="T0" fmla="*/ 2 w 4"/>
                <a:gd name="T1" fmla="*/ 11 h 11"/>
                <a:gd name="T2" fmla="*/ 0 w 4"/>
                <a:gd name="T3" fmla="*/ 9 h 11"/>
                <a:gd name="T4" fmla="*/ 0 w 4"/>
                <a:gd name="T5" fmla="*/ 2 h 11"/>
                <a:gd name="T6" fmla="*/ 2 w 4"/>
                <a:gd name="T7" fmla="*/ 0 h 11"/>
                <a:gd name="T8" fmla="*/ 4 w 4"/>
                <a:gd name="T9" fmla="*/ 2 h 11"/>
                <a:gd name="T10" fmla="*/ 4 w 4"/>
                <a:gd name="T11" fmla="*/ 9 h 11"/>
                <a:gd name="T12" fmla="*/ 2 w 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11"/>
                  </a:moveTo>
                  <a:cubicBezTo>
                    <a:pt x="1" y="11"/>
                    <a:pt x="0" y="10"/>
                    <a:pt x="0" y="9"/>
                  </a:cubicBezTo>
                  <a:cubicBezTo>
                    <a:pt x="0" y="2"/>
                    <a:pt x="0" y="2"/>
                    <a:pt x="0" y="2"/>
                  </a:cubicBezTo>
                  <a:cubicBezTo>
                    <a:pt x="0" y="1"/>
                    <a:pt x="1" y="0"/>
                    <a:pt x="2" y="0"/>
                  </a:cubicBezTo>
                  <a:cubicBezTo>
                    <a:pt x="3" y="0"/>
                    <a:pt x="4" y="1"/>
                    <a:pt x="4" y="2"/>
                  </a:cubicBezTo>
                  <a:cubicBezTo>
                    <a:pt x="4" y="9"/>
                    <a:pt x="4" y="9"/>
                    <a:pt x="4" y="9"/>
                  </a:cubicBezTo>
                  <a:cubicBezTo>
                    <a:pt x="4" y="10"/>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988" name="Freihandform: Form 1987">
            <a:extLst>
              <a:ext uri="{FF2B5EF4-FFF2-40B4-BE49-F238E27FC236}">
                <a16:creationId xmlns:a16="http://schemas.microsoft.com/office/drawing/2014/main" id="{18720488-04A5-45BF-AABB-5B07193FED31}"/>
              </a:ext>
            </a:extLst>
          </p:cNvPr>
          <p:cNvSpPr>
            <a:spLocks noChangeAspect="1"/>
          </p:cNvSpPr>
          <p:nvPr/>
        </p:nvSpPr>
        <p:spPr>
          <a:xfrm>
            <a:off x="7097866" y="4879041"/>
            <a:ext cx="230599" cy="285619"/>
          </a:xfrm>
          <a:custGeom>
            <a:avLst/>
            <a:gdLst>
              <a:gd name="connsiteX0" fmla="*/ 1401042 w 1551929"/>
              <a:gd name="connsiteY0" fmla="*/ 638464 h 1922214"/>
              <a:gd name="connsiteX1" fmla="*/ 1307592 w 1551929"/>
              <a:gd name="connsiteY1" fmla="*/ 731914 h 1922214"/>
              <a:gd name="connsiteX2" fmla="*/ 1401042 w 1551929"/>
              <a:gd name="connsiteY2" fmla="*/ 825364 h 1922214"/>
              <a:gd name="connsiteX3" fmla="*/ 1494492 w 1551929"/>
              <a:gd name="connsiteY3" fmla="*/ 731914 h 1922214"/>
              <a:gd name="connsiteX4" fmla="*/ 1401042 w 1551929"/>
              <a:gd name="connsiteY4" fmla="*/ 638464 h 1922214"/>
              <a:gd name="connsiteX5" fmla="*/ 150887 w 1551929"/>
              <a:gd name="connsiteY5" fmla="*/ 590838 h 1922214"/>
              <a:gd name="connsiteX6" fmla="*/ 57437 w 1551929"/>
              <a:gd name="connsiteY6" fmla="*/ 684288 h 1922214"/>
              <a:gd name="connsiteX7" fmla="*/ 150887 w 1551929"/>
              <a:gd name="connsiteY7" fmla="*/ 777738 h 1922214"/>
              <a:gd name="connsiteX8" fmla="*/ 244337 w 1551929"/>
              <a:gd name="connsiteY8" fmla="*/ 684288 h 1922214"/>
              <a:gd name="connsiteX9" fmla="*/ 150887 w 1551929"/>
              <a:gd name="connsiteY9" fmla="*/ 590838 h 1922214"/>
              <a:gd name="connsiteX10" fmla="*/ 1401042 w 1551929"/>
              <a:gd name="connsiteY10" fmla="*/ 581027 h 1922214"/>
              <a:gd name="connsiteX11" fmla="*/ 1551929 w 1551929"/>
              <a:gd name="connsiteY11" fmla="*/ 731914 h 1922214"/>
              <a:gd name="connsiteX12" fmla="*/ 1459774 w 1551929"/>
              <a:gd name="connsiteY12" fmla="*/ 870944 h 1922214"/>
              <a:gd name="connsiteX13" fmla="*/ 1424930 w 1551929"/>
              <a:gd name="connsiteY13" fmla="*/ 877978 h 1922214"/>
              <a:gd name="connsiteX14" fmla="*/ 1426242 w 1551929"/>
              <a:gd name="connsiteY14" fmla="*/ 881146 h 1922214"/>
              <a:gd name="connsiteX15" fmla="*/ 1426242 w 1551929"/>
              <a:gd name="connsiteY15" fmla="*/ 1251694 h 1922214"/>
              <a:gd name="connsiteX16" fmla="*/ 1418861 w 1551929"/>
              <a:gd name="connsiteY16" fmla="*/ 1269513 h 1922214"/>
              <a:gd name="connsiteX17" fmla="*/ 1416591 w 1551929"/>
              <a:gd name="connsiteY17" fmla="*/ 1270454 h 1922214"/>
              <a:gd name="connsiteX18" fmla="*/ 1413472 w 1551929"/>
              <a:gd name="connsiteY18" fmla="*/ 1277979 h 1922214"/>
              <a:gd name="connsiteX19" fmla="*/ 1157161 w 1551929"/>
              <a:gd name="connsiteY19" fmla="*/ 1534216 h 1922214"/>
              <a:gd name="connsiteX20" fmla="*/ 1157161 w 1551929"/>
              <a:gd name="connsiteY20" fmla="*/ 1897013 h 1922214"/>
              <a:gd name="connsiteX21" fmla="*/ 1131961 w 1551929"/>
              <a:gd name="connsiteY21" fmla="*/ 1922213 h 1922214"/>
              <a:gd name="connsiteX22" fmla="*/ 1106761 w 1551929"/>
              <a:gd name="connsiteY22" fmla="*/ 1897013 h 1922214"/>
              <a:gd name="connsiteX23" fmla="*/ 1106761 w 1551929"/>
              <a:gd name="connsiteY23" fmla="*/ 1526465 h 1922214"/>
              <a:gd name="connsiteX24" fmla="*/ 1108478 w 1551929"/>
              <a:gd name="connsiteY24" fmla="*/ 1522320 h 1922214"/>
              <a:gd name="connsiteX25" fmla="*/ 1108400 w 1551929"/>
              <a:gd name="connsiteY25" fmla="*/ 1522133 h 1922214"/>
              <a:gd name="connsiteX26" fmla="*/ 1115784 w 1551929"/>
              <a:gd name="connsiteY26" fmla="*/ 1504315 h 1922214"/>
              <a:gd name="connsiteX27" fmla="*/ 1375842 w 1551929"/>
              <a:gd name="connsiteY27" fmla="*/ 1244332 h 1922214"/>
              <a:gd name="connsiteX28" fmla="*/ 1375842 w 1551929"/>
              <a:gd name="connsiteY28" fmla="*/ 881146 h 1922214"/>
              <a:gd name="connsiteX29" fmla="*/ 1377154 w 1551929"/>
              <a:gd name="connsiteY29" fmla="*/ 877978 h 1922214"/>
              <a:gd name="connsiteX30" fmla="*/ 1342310 w 1551929"/>
              <a:gd name="connsiteY30" fmla="*/ 870944 h 1922214"/>
              <a:gd name="connsiteX31" fmla="*/ 1250155 w 1551929"/>
              <a:gd name="connsiteY31" fmla="*/ 731914 h 1922214"/>
              <a:gd name="connsiteX32" fmla="*/ 1401042 w 1551929"/>
              <a:gd name="connsiteY32" fmla="*/ 581027 h 1922214"/>
              <a:gd name="connsiteX33" fmla="*/ 150887 w 1551929"/>
              <a:gd name="connsiteY33" fmla="*/ 533401 h 1922214"/>
              <a:gd name="connsiteX34" fmla="*/ 301774 w 1551929"/>
              <a:gd name="connsiteY34" fmla="*/ 684288 h 1922214"/>
              <a:gd name="connsiteX35" fmla="*/ 289917 w 1551929"/>
              <a:gd name="connsiteY35" fmla="*/ 743020 h 1922214"/>
              <a:gd name="connsiteX36" fmla="*/ 261087 w 1551929"/>
              <a:gd name="connsiteY36" fmla="*/ 785780 h 1922214"/>
              <a:gd name="connsiteX37" fmla="*/ 637019 w 1551929"/>
              <a:gd name="connsiteY37" fmla="*/ 1229336 h 1922214"/>
              <a:gd name="connsiteX38" fmla="*/ 643657 w 1551929"/>
              <a:gd name="connsiteY38" fmla="*/ 1232086 h 1922214"/>
              <a:gd name="connsiteX39" fmla="*/ 651224 w 1551929"/>
              <a:gd name="connsiteY39" fmla="*/ 1250353 h 1922214"/>
              <a:gd name="connsiteX40" fmla="*/ 651224 w 1551929"/>
              <a:gd name="connsiteY40" fmla="*/ 1255869 h 1922214"/>
              <a:gd name="connsiteX41" fmla="*/ 651920 w 1551929"/>
              <a:gd name="connsiteY41" fmla="*/ 1258040 h 1922214"/>
              <a:gd name="connsiteX42" fmla="*/ 651224 w 1551929"/>
              <a:gd name="connsiteY42" fmla="*/ 1259394 h 1922214"/>
              <a:gd name="connsiteX43" fmla="*/ 651223 w 1551929"/>
              <a:gd name="connsiteY43" fmla="*/ 1896380 h 1922214"/>
              <a:gd name="connsiteX44" fmla="*/ 625389 w 1551929"/>
              <a:gd name="connsiteY44" fmla="*/ 1922214 h 1922214"/>
              <a:gd name="connsiteX45" fmla="*/ 625390 w 1551929"/>
              <a:gd name="connsiteY45" fmla="*/ 1922213 h 1922214"/>
              <a:gd name="connsiteX46" fmla="*/ 599556 w 1551929"/>
              <a:gd name="connsiteY46" fmla="*/ 1896379 h 1922214"/>
              <a:gd name="connsiteX47" fmla="*/ 599556 w 1551929"/>
              <a:gd name="connsiteY47" fmla="*/ 1261083 h 1922214"/>
              <a:gd name="connsiteX48" fmla="*/ 221654 w 1551929"/>
              <a:gd name="connsiteY48" fmla="*/ 815203 h 1922214"/>
              <a:gd name="connsiteX49" fmla="*/ 209619 w 1551929"/>
              <a:gd name="connsiteY49" fmla="*/ 823318 h 1922214"/>
              <a:gd name="connsiteX50" fmla="*/ 150887 w 1551929"/>
              <a:gd name="connsiteY50" fmla="*/ 835175 h 1922214"/>
              <a:gd name="connsiteX51" fmla="*/ 0 w 1551929"/>
              <a:gd name="connsiteY51" fmla="*/ 684288 h 1922214"/>
              <a:gd name="connsiteX52" fmla="*/ 150887 w 1551929"/>
              <a:gd name="connsiteY52" fmla="*/ 533401 h 1922214"/>
              <a:gd name="connsiteX53" fmla="*/ 977180 w 1551929"/>
              <a:gd name="connsiteY53" fmla="*/ 497970 h 1922214"/>
              <a:gd name="connsiteX54" fmla="*/ 883730 w 1551929"/>
              <a:gd name="connsiteY54" fmla="*/ 591420 h 1922214"/>
              <a:gd name="connsiteX55" fmla="*/ 977180 w 1551929"/>
              <a:gd name="connsiteY55" fmla="*/ 684870 h 1922214"/>
              <a:gd name="connsiteX56" fmla="*/ 1070630 w 1551929"/>
              <a:gd name="connsiteY56" fmla="*/ 591420 h 1922214"/>
              <a:gd name="connsiteX57" fmla="*/ 977180 w 1551929"/>
              <a:gd name="connsiteY57" fmla="*/ 497970 h 1922214"/>
              <a:gd name="connsiteX58" fmla="*/ 977180 w 1551929"/>
              <a:gd name="connsiteY58" fmla="*/ 440533 h 1922214"/>
              <a:gd name="connsiteX59" fmla="*/ 1128067 w 1551929"/>
              <a:gd name="connsiteY59" fmla="*/ 591420 h 1922214"/>
              <a:gd name="connsiteX60" fmla="*/ 1035912 w 1551929"/>
              <a:gd name="connsiteY60" fmla="*/ 730450 h 1922214"/>
              <a:gd name="connsiteX61" fmla="*/ 997428 w 1551929"/>
              <a:gd name="connsiteY61" fmla="*/ 738219 h 1922214"/>
              <a:gd name="connsiteX62" fmla="*/ 1002380 w 1551929"/>
              <a:gd name="connsiteY62" fmla="*/ 750176 h 1922214"/>
              <a:gd name="connsiteX63" fmla="*/ 1002380 w 1551929"/>
              <a:gd name="connsiteY63" fmla="*/ 1897013 h 1922214"/>
              <a:gd name="connsiteX64" fmla="*/ 977180 w 1551929"/>
              <a:gd name="connsiteY64" fmla="*/ 1922213 h 1922214"/>
              <a:gd name="connsiteX65" fmla="*/ 951980 w 1551929"/>
              <a:gd name="connsiteY65" fmla="*/ 1897013 h 1922214"/>
              <a:gd name="connsiteX66" fmla="*/ 951980 w 1551929"/>
              <a:gd name="connsiteY66" fmla="*/ 750176 h 1922214"/>
              <a:gd name="connsiteX67" fmla="*/ 956933 w 1551929"/>
              <a:gd name="connsiteY67" fmla="*/ 738219 h 1922214"/>
              <a:gd name="connsiteX68" fmla="*/ 918448 w 1551929"/>
              <a:gd name="connsiteY68" fmla="*/ 730450 h 1922214"/>
              <a:gd name="connsiteX69" fmla="*/ 826293 w 1551929"/>
              <a:gd name="connsiteY69" fmla="*/ 591420 h 1922214"/>
              <a:gd name="connsiteX70" fmla="*/ 977180 w 1551929"/>
              <a:gd name="connsiteY70" fmla="*/ 440533 h 1922214"/>
              <a:gd name="connsiteX71" fmla="*/ 591418 w 1551929"/>
              <a:gd name="connsiteY71" fmla="*/ 57437 h 1922214"/>
              <a:gd name="connsiteX72" fmla="*/ 497968 w 1551929"/>
              <a:gd name="connsiteY72" fmla="*/ 150887 h 1922214"/>
              <a:gd name="connsiteX73" fmla="*/ 591418 w 1551929"/>
              <a:gd name="connsiteY73" fmla="*/ 244337 h 1922214"/>
              <a:gd name="connsiteX74" fmla="*/ 684868 w 1551929"/>
              <a:gd name="connsiteY74" fmla="*/ 150887 h 1922214"/>
              <a:gd name="connsiteX75" fmla="*/ 591418 w 1551929"/>
              <a:gd name="connsiteY75" fmla="*/ 57437 h 1922214"/>
              <a:gd name="connsiteX76" fmla="*/ 591418 w 1551929"/>
              <a:gd name="connsiteY76" fmla="*/ 0 h 1922214"/>
              <a:gd name="connsiteX77" fmla="*/ 742305 w 1551929"/>
              <a:gd name="connsiteY77" fmla="*/ 150887 h 1922214"/>
              <a:gd name="connsiteX78" fmla="*/ 650150 w 1551929"/>
              <a:gd name="connsiteY78" fmla="*/ 289917 h 1922214"/>
              <a:gd name="connsiteX79" fmla="*/ 614394 w 1551929"/>
              <a:gd name="connsiteY79" fmla="*/ 297135 h 1922214"/>
              <a:gd name="connsiteX80" fmla="*/ 616617 w 1551929"/>
              <a:gd name="connsiteY80" fmla="*/ 302501 h 1922214"/>
              <a:gd name="connsiteX81" fmla="*/ 616617 w 1551929"/>
              <a:gd name="connsiteY81" fmla="*/ 857168 h 1922214"/>
              <a:gd name="connsiteX82" fmla="*/ 836276 w 1551929"/>
              <a:gd name="connsiteY82" fmla="*/ 1139497 h 1922214"/>
              <a:gd name="connsiteX83" fmla="*/ 847902 w 1551929"/>
              <a:gd name="connsiteY83" fmla="*/ 1144313 h 1922214"/>
              <a:gd name="connsiteX84" fmla="*/ 855283 w 1551929"/>
              <a:gd name="connsiteY84" fmla="*/ 1162132 h 1922214"/>
              <a:gd name="connsiteX85" fmla="*/ 855283 w 1551929"/>
              <a:gd name="connsiteY85" fmla="*/ 1897013 h 1922214"/>
              <a:gd name="connsiteX86" fmla="*/ 830083 w 1551929"/>
              <a:gd name="connsiteY86" fmla="*/ 1922213 h 1922214"/>
              <a:gd name="connsiteX87" fmla="*/ 804883 w 1551929"/>
              <a:gd name="connsiteY87" fmla="*/ 1897013 h 1922214"/>
              <a:gd name="connsiteX88" fmla="*/ 804883 w 1551929"/>
              <a:gd name="connsiteY88" fmla="*/ 1178653 h 1922214"/>
              <a:gd name="connsiteX89" fmla="*/ 801296 w 1551929"/>
              <a:gd name="connsiteY89" fmla="*/ 1176614 h 1922214"/>
              <a:gd name="connsiteX90" fmla="*/ 576710 w 1551929"/>
              <a:gd name="connsiteY90" fmla="*/ 887952 h 1922214"/>
              <a:gd name="connsiteX91" fmla="*/ 573598 w 1551929"/>
              <a:gd name="connsiteY91" fmla="*/ 886663 h 1922214"/>
              <a:gd name="connsiteX92" fmla="*/ 566217 w 1551929"/>
              <a:gd name="connsiteY92" fmla="*/ 868844 h 1922214"/>
              <a:gd name="connsiteX93" fmla="*/ 566217 w 1551929"/>
              <a:gd name="connsiteY93" fmla="*/ 302501 h 1922214"/>
              <a:gd name="connsiteX94" fmla="*/ 568440 w 1551929"/>
              <a:gd name="connsiteY94" fmla="*/ 297135 h 1922214"/>
              <a:gd name="connsiteX95" fmla="*/ 532686 w 1551929"/>
              <a:gd name="connsiteY95" fmla="*/ 289917 h 1922214"/>
              <a:gd name="connsiteX96" fmla="*/ 440531 w 1551929"/>
              <a:gd name="connsiteY96" fmla="*/ 150887 h 1922214"/>
              <a:gd name="connsiteX97" fmla="*/ 591418 w 1551929"/>
              <a:gd name="connsiteY97" fmla="*/ 0 h 192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51929" h="1922214">
                <a:moveTo>
                  <a:pt x="1401042" y="638464"/>
                </a:moveTo>
                <a:cubicBezTo>
                  <a:pt x="1349431" y="638464"/>
                  <a:pt x="1307592" y="680303"/>
                  <a:pt x="1307592" y="731914"/>
                </a:cubicBezTo>
                <a:cubicBezTo>
                  <a:pt x="1307592" y="783525"/>
                  <a:pt x="1349431" y="825364"/>
                  <a:pt x="1401042" y="825364"/>
                </a:cubicBezTo>
                <a:cubicBezTo>
                  <a:pt x="1452653" y="825364"/>
                  <a:pt x="1494492" y="783525"/>
                  <a:pt x="1494492" y="731914"/>
                </a:cubicBezTo>
                <a:cubicBezTo>
                  <a:pt x="1494492" y="680303"/>
                  <a:pt x="1452653" y="638464"/>
                  <a:pt x="1401042" y="638464"/>
                </a:cubicBezTo>
                <a:close/>
                <a:moveTo>
                  <a:pt x="150887" y="590838"/>
                </a:moveTo>
                <a:cubicBezTo>
                  <a:pt x="99276" y="590838"/>
                  <a:pt x="57437" y="632677"/>
                  <a:pt x="57437" y="684288"/>
                </a:cubicBezTo>
                <a:cubicBezTo>
                  <a:pt x="57437" y="735899"/>
                  <a:pt x="99276" y="777738"/>
                  <a:pt x="150887" y="777738"/>
                </a:cubicBezTo>
                <a:cubicBezTo>
                  <a:pt x="202498" y="777738"/>
                  <a:pt x="244337" y="735899"/>
                  <a:pt x="244337" y="684288"/>
                </a:cubicBezTo>
                <a:cubicBezTo>
                  <a:pt x="244337" y="632677"/>
                  <a:pt x="202498" y="590838"/>
                  <a:pt x="150887" y="590838"/>
                </a:cubicBezTo>
                <a:close/>
                <a:moveTo>
                  <a:pt x="1401042" y="581027"/>
                </a:moveTo>
                <a:cubicBezTo>
                  <a:pt x="1484375" y="581027"/>
                  <a:pt x="1551929" y="648581"/>
                  <a:pt x="1551929" y="731914"/>
                </a:cubicBezTo>
                <a:cubicBezTo>
                  <a:pt x="1551929" y="794414"/>
                  <a:pt x="1513930" y="848038"/>
                  <a:pt x="1459774" y="870944"/>
                </a:cubicBezTo>
                <a:lnTo>
                  <a:pt x="1424930" y="877978"/>
                </a:lnTo>
                <a:lnTo>
                  <a:pt x="1426242" y="881146"/>
                </a:lnTo>
                <a:lnTo>
                  <a:pt x="1426242" y="1251694"/>
                </a:lnTo>
                <a:cubicBezTo>
                  <a:pt x="1426242" y="1258653"/>
                  <a:pt x="1423422" y="1264953"/>
                  <a:pt x="1418861" y="1269513"/>
                </a:cubicBezTo>
                <a:lnTo>
                  <a:pt x="1416591" y="1270454"/>
                </a:lnTo>
                <a:lnTo>
                  <a:pt x="1413472" y="1277979"/>
                </a:lnTo>
                <a:lnTo>
                  <a:pt x="1157161" y="1534216"/>
                </a:lnTo>
                <a:lnTo>
                  <a:pt x="1157161" y="1897013"/>
                </a:lnTo>
                <a:cubicBezTo>
                  <a:pt x="1157161" y="1910931"/>
                  <a:pt x="1145879" y="1922213"/>
                  <a:pt x="1131961" y="1922213"/>
                </a:cubicBezTo>
                <a:cubicBezTo>
                  <a:pt x="1118043" y="1922213"/>
                  <a:pt x="1106761" y="1910931"/>
                  <a:pt x="1106761" y="1897013"/>
                </a:cubicBezTo>
                <a:lnTo>
                  <a:pt x="1106761" y="1526465"/>
                </a:lnTo>
                <a:lnTo>
                  <a:pt x="1108478" y="1522320"/>
                </a:lnTo>
                <a:lnTo>
                  <a:pt x="1108400" y="1522133"/>
                </a:lnTo>
                <a:cubicBezTo>
                  <a:pt x="1108401" y="1515684"/>
                  <a:pt x="1110863" y="1509235"/>
                  <a:pt x="1115784" y="1504315"/>
                </a:cubicBezTo>
                <a:lnTo>
                  <a:pt x="1375842" y="1244332"/>
                </a:lnTo>
                <a:lnTo>
                  <a:pt x="1375842" y="881146"/>
                </a:lnTo>
                <a:lnTo>
                  <a:pt x="1377154" y="877978"/>
                </a:lnTo>
                <a:lnTo>
                  <a:pt x="1342310" y="870944"/>
                </a:lnTo>
                <a:cubicBezTo>
                  <a:pt x="1288154" y="848038"/>
                  <a:pt x="1250155" y="794414"/>
                  <a:pt x="1250155" y="731914"/>
                </a:cubicBezTo>
                <a:cubicBezTo>
                  <a:pt x="1250155" y="648581"/>
                  <a:pt x="1317709" y="581027"/>
                  <a:pt x="1401042" y="581027"/>
                </a:cubicBezTo>
                <a:close/>
                <a:moveTo>
                  <a:pt x="150887" y="533401"/>
                </a:moveTo>
                <a:cubicBezTo>
                  <a:pt x="234220" y="533401"/>
                  <a:pt x="301774" y="600955"/>
                  <a:pt x="301774" y="684288"/>
                </a:cubicBezTo>
                <a:cubicBezTo>
                  <a:pt x="301774" y="705121"/>
                  <a:pt x="297552" y="724968"/>
                  <a:pt x="289917" y="743020"/>
                </a:cubicBezTo>
                <a:lnTo>
                  <a:pt x="261087" y="785780"/>
                </a:lnTo>
                <a:lnTo>
                  <a:pt x="637019" y="1229336"/>
                </a:lnTo>
                <a:lnTo>
                  <a:pt x="643657" y="1232086"/>
                </a:lnTo>
                <a:cubicBezTo>
                  <a:pt x="648332" y="1236761"/>
                  <a:pt x="651224" y="1243219"/>
                  <a:pt x="651224" y="1250353"/>
                </a:cubicBezTo>
                <a:lnTo>
                  <a:pt x="651224" y="1255869"/>
                </a:lnTo>
                <a:lnTo>
                  <a:pt x="651920" y="1258040"/>
                </a:lnTo>
                <a:lnTo>
                  <a:pt x="651224" y="1259394"/>
                </a:lnTo>
                <a:lnTo>
                  <a:pt x="651223" y="1896380"/>
                </a:lnTo>
                <a:cubicBezTo>
                  <a:pt x="651223" y="1910648"/>
                  <a:pt x="639657" y="1922214"/>
                  <a:pt x="625389" y="1922214"/>
                </a:cubicBezTo>
                <a:lnTo>
                  <a:pt x="625390" y="1922213"/>
                </a:lnTo>
                <a:cubicBezTo>
                  <a:pt x="611122" y="1922213"/>
                  <a:pt x="599556" y="1910647"/>
                  <a:pt x="599556" y="1896379"/>
                </a:cubicBezTo>
                <a:lnTo>
                  <a:pt x="599556" y="1261083"/>
                </a:lnTo>
                <a:lnTo>
                  <a:pt x="221654" y="815203"/>
                </a:lnTo>
                <a:lnTo>
                  <a:pt x="209619" y="823318"/>
                </a:lnTo>
                <a:cubicBezTo>
                  <a:pt x="191567" y="830953"/>
                  <a:pt x="171720" y="835175"/>
                  <a:pt x="150887" y="835175"/>
                </a:cubicBezTo>
                <a:cubicBezTo>
                  <a:pt x="67554" y="835175"/>
                  <a:pt x="0" y="767621"/>
                  <a:pt x="0" y="684288"/>
                </a:cubicBezTo>
                <a:cubicBezTo>
                  <a:pt x="0" y="600955"/>
                  <a:pt x="67554" y="533401"/>
                  <a:pt x="150887" y="533401"/>
                </a:cubicBezTo>
                <a:close/>
                <a:moveTo>
                  <a:pt x="977180" y="497970"/>
                </a:moveTo>
                <a:cubicBezTo>
                  <a:pt x="925569" y="497970"/>
                  <a:pt x="883730" y="539809"/>
                  <a:pt x="883730" y="591420"/>
                </a:cubicBezTo>
                <a:cubicBezTo>
                  <a:pt x="883730" y="643031"/>
                  <a:pt x="925569" y="684870"/>
                  <a:pt x="977180" y="684870"/>
                </a:cubicBezTo>
                <a:cubicBezTo>
                  <a:pt x="1028791" y="684870"/>
                  <a:pt x="1070630" y="643031"/>
                  <a:pt x="1070630" y="591420"/>
                </a:cubicBezTo>
                <a:cubicBezTo>
                  <a:pt x="1070630" y="539809"/>
                  <a:pt x="1028791" y="497970"/>
                  <a:pt x="977180" y="497970"/>
                </a:cubicBezTo>
                <a:close/>
                <a:moveTo>
                  <a:pt x="977180" y="440533"/>
                </a:moveTo>
                <a:cubicBezTo>
                  <a:pt x="1060513" y="440533"/>
                  <a:pt x="1128067" y="508087"/>
                  <a:pt x="1128067" y="591420"/>
                </a:cubicBezTo>
                <a:cubicBezTo>
                  <a:pt x="1128067" y="653920"/>
                  <a:pt x="1090068" y="707544"/>
                  <a:pt x="1035912" y="730450"/>
                </a:cubicBezTo>
                <a:lnTo>
                  <a:pt x="997428" y="738219"/>
                </a:lnTo>
                <a:lnTo>
                  <a:pt x="1002380" y="750176"/>
                </a:lnTo>
                <a:lnTo>
                  <a:pt x="1002380" y="1897013"/>
                </a:lnTo>
                <a:cubicBezTo>
                  <a:pt x="1002380" y="1910931"/>
                  <a:pt x="991098" y="1922213"/>
                  <a:pt x="977180" y="1922213"/>
                </a:cubicBezTo>
                <a:cubicBezTo>
                  <a:pt x="963262" y="1922213"/>
                  <a:pt x="951980" y="1910931"/>
                  <a:pt x="951980" y="1897013"/>
                </a:cubicBezTo>
                <a:lnTo>
                  <a:pt x="951980" y="750176"/>
                </a:lnTo>
                <a:lnTo>
                  <a:pt x="956933" y="738219"/>
                </a:lnTo>
                <a:lnTo>
                  <a:pt x="918448" y="730450"/>
                </a:lnTo>
                <a:cubicBezTo>
                  <a:pt x="864292" y="707544"/>
                  <a:pt x="826293" y="653920"/>
                  <a:pt x="826293" y="591420"/>
                </a:cubicBezTo>
                <a:cubicBezTo>
                  <a:pt x="826293" y="508087"/>
                  <a:pt x="893847" y="440533"/>
                  <a:pt x="977180" y="440533"/>
                </a:cubicBezTo>
                <a:close/>
                <a:moveTo>
                  <a:pt x="591418" y="57437"/>
                </a:moveTo>
                <a:cubicBezTo>
                  <a:pt x="539807" y="57437"/>
                  <a:pt x="497968" y="99276"/>
                  <a:pt x="497968" y="150887"/>
                </a:cubicBezTo>
                <a:cubicBezTo>
                  <a:pt x="497968" y="202498"/>
                  <a:pt x="539807" y="244337"/>
                  <a:pt x="591418" y="244337"/>
                </a:cubicBezTo>
                <a:cubicBezTo>
                  <a:pt x="643029" y="244337"/>
                  <a:pt x="684868" y="202498"/>
                  <a:pt x="684868" y="150887"/>
                </a:cubicBezTo>
                <a:cubicBezTo>
                  <a:pt x="684868" y="99276"/>
                  <a:pt x="643029" y="57437"/>
                  <a:pt x="591418" y="57437"/>
                </a:cubicBezTo>
                <a:close/>
                <a:moveTo>
                  <a:pt x="591418" y="0"/>
                </a:moveTo>
                <a:cubicBezTo>
                  <a:pt x="674751" y="0"/>
                  <a:pt x="742305" y="67554"/>
                  <a:pt x="742305" y="150887"/>
                </a:cubicBezTo>
                <a:cubicBezTo>
                  <a:pt x="742305" y="213387"/>
                  <a:pt x="704306" y="267011"/>
                  <a:pt x="650150" y="289917"/>
                </a:cubicBezTo>
                <a:lnTo>
                  <a:pt x="614394" y="297135"/>
                </a:lnTo>
                <a:lnTo>
                  <a:pt x="616617" y="302501"/>
                </a:lnTo>
                <a:lnTo>
                  <a:pt x="616617" y="857168"/>
                </a:lnTo>
                <a:lnTo>
                  <a:pt x="836276" y="1139497"/>
                </a:lnTo>
                <a:lnTo>
                  <a:pt x="847902" y="1144313"/>
                </a:lnTo>
                <a:cubicBezTo>
                  <a:pt x="852463" y="1148873"/>
                  <a:pt x="855283" y="1155173"/>
                  <a:pt x="855283" y="1162132"/>
                </a:cubicBezTo>
                <a:lnTo>
                  <a:pt x="855283" y="1897013"/>
                </a:lnTo>
                <a:cubicBezTo>
                  <a:pt x="855283" y="1910931"/>
                  <a:pt x="844001" y="1922213"/>
                  <a:pt x="830083" y="1922213"/>
                </a:cubicBezTo>
                <a:cubicBezTo>
                  <a:pt x="816165" y="1922213"/>
                  <a:pt x="804883" y="1910931"/>
                  <a:pt x="804883" y="1897013"/>
                </a:cubicBezTo>
                <a:lnTo>
                  <a:pt x="804883" y="1178653"/>
                </a:lnTo>
                <a:lnTo>
                  <a:pt x="801296" y="1176614"/>
                </a:lnTo>
                <a:lnTo>
                  <a:pt x="576710" y="887952"/>
                </a:lnTo>
                <a:lnTo>
                  <a:pt x="573598" y="886663"/>
                </a:lnTo>
                <a:cubicBezTo>
                  <a:pt x="569037" y="882103"/>
                  <a:pt x="566217" y="875803"/>
                  <a:pt x="566217" y="868844"/>
                </a:cubicBezTo>
                <a:lnTo>
                  <a:pt x="566217" y="302501"/>
                </a:lnTo>
                <a:lnTo>
                  <a:pt x="568440" y="297135"/>
                </a:lnTo>
                <a:lnTo>
                  <a:pt x="532686" y="289917"/>
                </a:lnTo>
                <a:cubicBezTo>
                  <a:pt x="478530" y="267011"/>
                  <a:pt x="440531" y="213387"/>
                  <a:pt x="440531" y="150887"/>
                </a:cubicBezTo>
                <a:cubicBezTo>
                  <a:pt x="440531" y="67554"/>
                  <a:pt x="508085" y="0"/>
                  <a:pt x="591418" y="0"/>
                </a:cubicBezTo>
                <a:close/>
              </a:path>
            </a:pathLst>
          </a:cu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89" name="Gruppieren 1988">
            <a:extLst>
              <a:ext uri="{FF2B5EF4-FFF2-40B4-BE49-F238E27FC236}">
                <a16:creationId xmlns:a16="http://schemas.microsoft.com/office/drawing/2014/main" id="{8D467F85-464A-49E1-A180-E650019839F7}"/>
              </a:ext>
            </a:extLst>
          </p:cNvPr>
          <p:cNvGrpSpPr>
            <a:grpSpLocks noChangeAspect="1"/>
          </p:cNvGrpSpPr>
          <p:nvPr/>
        </p:nvGrpSpPr>
        <p:grpSpPr>
          <a:xfrm>
            <a:off x="7511819" y="4879041"/>
            <a:ext cx="205780" cy="285619"/>
            <a:chOff x="5679860" y="6107132"/>
            <a:chExt cx="398530" cy="553152"/>
          </a:xfrm>
          <a:solidFill>
            <a:schemeClr val="bg1"/>
          </a:solidFill>
        </p:grpSpPr>
        <p:sp>
          <p:nvSpPr>
            <p:cNvPr id="1990" name="Freeform 60">
              <a:extLst>
                <a:ext uri="{FF2B5EF4-FFF2-40B4-BE49-F238E27FC236}">
                  <a16:creationId xmlns:a16="http://schemas.microsoft.com/office/drawing/2014/main" id="{00618B42-FCCC-4DD2-9DFA-D49AC8E79EFE}"/>
                </a:ext>
              </a:extLst>
            </p:cNvPr>
            <p:cNvSpPr>
              <a:spLocks noEditPoints="1"/>
            </p:cNvSpPr>
            <p:nvPr/>
          </p:nvSpPr>
          <p:spPr bwMode="auto">
            <a:xfrm>
              <a:off x="5679860" y="6301387"/>
              <a:ext cx="398530" cy="358897"/>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1" name="Freeform 61">
              <a:extLst>
                <a:ext uri="{FF2B5EF4-FFF2-40B4-BE49-F238E27FC236}">
                  <a16:creationId xmlns:a16="http://schemas.microsoft.com/office/drawing/2014/main" id="{6D062A8A-F2CD-4029-9855-8307DFCB93DE}"/>
                </a:ext>
              </a:extLst>
            </p:cNvPr>
            <p:cNvSpPr>
              <a:spLocks noEditPoints="1"/>
            </p:cNvSpPr>
            <p:nvPr/>
          </p:nvSpPr>
          <p:spPr bwMode="auto">
            <a:xfrm>
              <a:off x="5867014" y="6567808"/>
              <a:ext cx="26422" cy="26422"/>
            </a:xfrm>
            <a:custGeom>
              <a:avLst/>
              <a:gdLst>
                <a:gd name="T0" fmla="*/ 30 w 60"/>
                <a:gd name="T1" fmla="*/ 45 h 60"/>
                <a:gd name="T2" fmla="*/ 30 w 60"/>
                <a:gd name="T3" fmla="*/ 30 h 60"/>
                <a:gd name="T4" fmla="*/ 30 w 60"/>
                <a:gd name="T5" fmla="*/ 30 h 60"/>
                <a:gd name="T6" fmla="*/ 30 w 60"/>
                <a:gd name="T7" fmla="*/ 30 h 60"/>
                <a:gd name="T8" fmla="*/ 30 w 60"/>
                <a:gd name="T9" fmla="*/ 45 h 60"/>
                <a:gd name="T10" fmla="*/ 30 w 60"/>
                <a:gd name="T11" fmla="*/ 0 h 60"/>
                <a:gd name="T12" fmla="*/ 24 w 60"/>
                <a:gd name="T13" fmla="*/ 0 h 60"/>
                <a:gd name="T14" fmla="*/ 18 w 60"/>
                <a:gd name="T15" fmla="*/ 2 h 60"/>
                <a:gd name="T16" fmla="*/ 14 w 60"/>
                <a:gd name="T17" fmla="*/ 5 h 60"/>
                <a:gd name="T18" fmla="*/ 8 w 60"/>
                <a:gd name="T19" fmla="*/ 8 h 60"/>
                <a:gd name="T20" fmla="*/ 5 w 60"/>
                <a:gd name="T21" fmla="*/ 12 h 60"/>
                <a:gd name="T22" fmla="*/ 2 w 60"/>
                <a:gd name="T23" fmla="*/ 18 h 60"/>
                <a:gd name="T24" fmla="*/ 1 w 60"/>
                <a:gd name="T25" fmla="*/ 23 h 60"/>
                <a:gd name="T26" fmla="*/ 0 w 60"/>
                <a:gd name="T27" fmla="*/ 30 h 60"/>
                <a:gd name="T28" fmla="*/ 1 w 60"/>
                <a:gd name="T29" fmla="*/ 36 h 60"/>
                <a:gd name="T30" fmla="*/ 2 w 60"/>
                <a:gd name="T31" fmla="*/ 41 h 60"/>
                <a:gd name="T32" fmla="*/ 5 w 60"/>
                <a:gd name="T33" fmla="*/ 47 h 60"/>
                <a:gd name="T34" fmla="*/ 8 w 60"/>
                <a:gd name="T35" fmla="*/ 51 h 60"/>
                <a:gd name="T36" fmla="*/ 14 w 60"/>
                <a:gd name="T37" fmla="*/ 54 h 60"/>
                <a:gd name="T38" fmla="*/ 18 w 60"/>
                <a:gd name="T39" fmla="*/ 58 h 60"/>
                <a:gd name="T40" fmla="*/ 24 w 60"/>
                <a:gd name="T41" fmla="*/ 59 h 60"/>
                <a:gd name="T42" fmla="*/ 30 w 60"/>
                <a:gd name="T43" fmla="*/ 60 h 60"/>
                <a:gd name="T44" fmla="*/ 36 w 60"/>
                <a:gd name="T45" fmla="*/ 59 h 60"/>
                <a:gd name="T46" fmla="*/ 41 w 60"/>
                <a:gd name="T47" fmla="*/ 58 h 60"/>
                <a:gd name="T48" fmla="*/ 47 w 60"/>
                <a:gd name="T49" fmla="*/ 54 h 60"/>
                <a:gd name="T50" fmla="*/ 51 w 60"/>
                <a:gd name="T51" fmla="*/ 51 h 60"/>
                <a:gd name="T52" fmla="*/ 55 w 60"/>
                <a:gd name="T53" fmla="*/ 47 h 60"/>
                <a:gd name="T54" fmla="*/ 57 w 60"/>
                <a:gd name="T55" fmla="*/ 41 h 60"/>
                <a:gd name="T56" fmla="*/ 60 w 60"/>
                <a:gd name="T57" fmla="*/ 36 h 60"/>
                <a:gd name="T58" fmla="*/ 60 w 60"/>
                <a:gd name="T59" fmla="*/ 30 h 60"/>
                <a:gd name="T60" fmla="*/ 60 w 60"/>
                <a:gd name="T61" fmla="*/ 23 h 60"/>
                <a:gd name="T62" fmla="*/ 57 w 60"/>
                <a:gd name="T63" fmla="*/ 18 h 60"/>
                <a:gd name="T64" fmla="*/ 55 w 60"/>
                <a:gd name="T65" fmla="*/ 12 h 60"/>
                <a:gd name="T66" fmla="*/ 51 w 60"/>
                <a:gd name="T67" fmla="*/ 8 h 60"/>
                <a:gd name="T68" fmla="*/ 47 w 60"/>
                <a:gd name="T69" fmla="*/ 5 h 60"/>
                <a:gd name="T70" fmla="*/ 41 w 60"/>
                <a:gd name="T71" fmla="*/ 2 h 60"/>
                <a:gd name="T72" fmla="*/ 36 w 60"/>
                <a:gd name="T73" fmla="*/ 0 h 60"/>
                <a:gd name="T74" fmla="*/ 30 w 60"/>
                <a:gd name="T75" fmla="*/ 0 h 60"/>
                <a:gd name="T76" fmla="*/ 30 w 60"/>
                <a:gd name="T7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0">
                  <a:moveTo>
                    <a:pt x="30" y="45"/>
                  </a:moveTo>
                  <a:lnTo>
                    <a:pt x="30" y="30"/>
                  </a:lnTo>
                  <a:lnTo>
                    <a:pt x="30" y="30"/>
                  </a:lnTo>
                  <a:lnTo>
                    <a:pt x="30" y="30"/>
                  </a:lnTo>
                  <a:lnTo>
                    <a:pt x="30" y="45"/>
                  </a:lnTo>
                  <a:close/>
                  <a:moveTo>
                    <a:pt x="30" y="0"/>
                  </a:moveTo>
                  <a:lnTo>
                    <a:pt x="24" y="0"/>
                  </a:lnTo>
                  <a:lnTo>
                    <a:pt x="18" y="2"/>
                  </a:lnTo>
                  <a:lnTo>
                    <a:pt x="14" y="5"/>
                  </a:lnTo>
                  <a:lnTo>
                    <a:pt x="8" y="8"/>
                  </a:lnTo>
                  <a:lnTo>
                    <a:pt x="5" y="12"/>
                  </a:lnTo>
                  <a:lnTo>
                    <a:pt x="2" y="18"/>
                  </a:lnTo>
                  <a:lnTo>
                    <a:pt x="1" y="23"/>
                  </a:lnTo>
                  <a:lnTo>
                    <a:pt x="0" y="30"/>
                  </a:lnTo>
                  <a:lnTo>
                    <a:pt x="1" y="36"/>
                  </a:lnTo>
                  <a:lnTo>
                    <a:pt x="2" y="41"/>
                  </a:lnTo>
                  <a:lnTo>
                    <a:pt x="5" y="47"/>
                  </a:lnTo>
                  <a:lnTo>
                    <a:pt x="8" y="51"/>
                  </a:lnTo>
                  <a:lnTo>
                    <a:pt x="14" y="54"/>
                  </a:lnTo>
                  <a:lnTo>
                    <a:pt x="18" y="58"/>
                  </a:lnTo>
                  <a:lnTo>
                    <a:pt x="24" y="59"/>
                  </a:lnTo>
                  <a:lnTo>
                    <a:pt x="30" y="60"/>
                  </a:lnTo>
                  <a:lnTo>
                    <a:pt x="36" y="59"/>
                  </a:lnTo>
                  <a:lnTo>
                    <a:pt x="41" y="58"/>
                  </a:lnTo>
                  <a:lnTo>
                    <a:pt x="47" y="54"/>
                  </a:lnTo>
                  <a:lnTo>
                    <a:pt x="51" y="51"/>
                  </a:lnTo>
                  <a:lnTo>
                    <a:pt x="55" y="47"/>
                  </a:lnTo>
                  <a:lnTo>
                    <a:pt x="57" y="41"/>
                  </a:lnTo>
                  <a:lnTo>
                    <a:pt x="60" y="36"/>
                  </a:lnTo>
                  <a:lnTo>
                    <a:pt x="60" y="30"/>
                  </a:lnTo>
                  <a:lnTo>
                    <a:pt x="60" y="23"/>
                  </a:lnTo>
                  <a:lnTo>
                    <a:pt x="57" y="18"/>
                  </a:lnTo>
                  <a:lnTo>
                    <a:pt x="55" y="12"/>
                  </a:lnTo>
                  <a:lnTo>
                    <a:pt x="51" y="8"/>
                  </a:lnTo>
                  <a:lnTo>
                    <a:pt x="47" y="5"/>
                  </a:lnTo>
                  <a:lnTo>
                    <a:pt x="41" y="2"/>
                  </a:lnTo>
                  <a:lnTo>
                    <a:pt x="36" y="0"/>
                  </a:lnTo>
                  <a:lnTo>
                    <a:pt x="30" y="0"/>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2" name="Rechteck 1991">
              <a:extLst>
                <a:ext uri="{FF2B5EF4-FFF2-40B4-BE49-F238E27FC236}">
                  <a16:creationId xmlns:a16="http://schemas.microsoft.com/office/drawing/2014/main" id="{16972B35-1F70-4DE1-96E0-23A5A0C39BEC}"/>
                </a:ext>
              </a:extLst>
            </p:cNvPr>
            <p:cNvSpPr/>
            <p:nvPr/>
          </p:nvSpPr>
          <p:spPr>
            <a:xfrm>
              <a:off x="5757659" y="6287130"/>
              <a:ext cx="242932" cy="51790"/>
            </a:xfrm>
            <a:prstGeom prst="rect">
              <a:avLst/>
            </a:prstGeom>
            <a:solidFill>
              <a:schemeClr val="accent3">
                <a:alpha val="80000"/>
              </a:schemeClr>
            </a:solidFill>
          </p:spPr>
          <p:txBody>
            <a:bodyPr vert="horz" lIns="270000" tIns="108000" rIns="270000" bIns="0" rtlCol="0" anchor="t" anchorCtr="0">
              <a:noAutofit/>
            </a:bodyPr>
            <a:lstStyle/>
            <a:p>
              <a:pPr defTabSz="914400">
                <a:lnSpc>
                  <a:spcPct val="90000"/>
                </a:lnSpc>
                <a:spcBef>
                  <a:spcPct val="0"/>
                </a:spcBef>
              </a:pPr>
              <a:endParaRPr lang="de-DE" sz="2400">
                <a:solidFill>
                  <a:schemeClr val="bg1"/>
                </a:solidFill>
                <a:latin typeface="+mj-lt"/>
                <a:ea typeface="+mj-ea"/>
                <a:cs typeface="+mj-cs"/>
              </a:endParaRPr>
            </a:p>
          </p:txBody>
        </p:sp>
        <p:sp>
          <p:nvSpPr>
            <p:cNvPr id="1993" name="Freihandform: Form 1992">
              <a:extLst>
                <a:ext uri="{FF2B5EF4-FFF2-40B4-BE49-F238E27FC236}">
                  <a16:creationId xmlns:a16="http://schemas.microsoft.com/office/drawing/2014/main" id="{6BD690CC-12C8-40D0-B28D-D0CF6471D10D}"/>
                </a:ext>
              </a:extLst>
            </p:cNvPr>
            <p:cNvSpPr>
              <a:spLocks noChangeAspect="1"/>
            </p:cNvSpPr>
            <p:nvPr/>
          </p:nvSpPr>
          <p:spPr>
            <a:xfrm>
              <a:off x="5709142" y="6107132"/>
              <a:ext cx="290649" cy="359997"/>
            </a:xfrm>
            <a:custGeom>
              <a:avLst/>
              <a:gdLst>
                <a:gd name="connsiteX0" fmla="*/ 1401042 w 1551929"/>
                <a:gd name="connsiteY0" fmla="*/ 638464 h 1922214"/>
                <a:gd name="connsiteX1" fmla="*/ 1307592 w 1551929"/>
                <a:gd name="connsiteY1" fmla="*/ 731914 h 1922214"/>
                <a:gd name="connsiteX2" fmla="*/ 1401042 w 1551929"/>
                <a:gd name="connsiteY2" fmla="*/ 825364 h 1922214"/>
                <a:gd name="connsiteX3" fmla="*/ 1494492 w 1551929"/>
                <a:gd name="connsiteY3" fmla="*/ 731914 h 1922214"/>
                <a:gd name="connsiteX4" fmla="*/ 1401042 w 1551929"/>
                <a:gd name="connsiteY4" fmla="*/ 638464 h 1922214"/>
                <a:gd name="connsiteX5" fmla="*/ 150887 w 1551929"/>
                <a:gd name="connsiteY5" fmla="*/ 590838 h 1922214"/>
                <a:gd name="connsiteX6" fmla="*/ 57437 w 1551929"/>
                <a:gd name="connsiteY6" fmla="*/ 684288 h 1922214"/>
                <a:gd name="connsiteX7" fmla="*/ 150887 w 1551929"/>
                <a:gd name="connsiteY7" fmla="*/ 777738 h 1922214"/>
                <a:gd name="connsiteX8" fmla="*/ 244337 w 1551929"/>
                <a:gd name="connsiteY8" fmla="*/ 684288 h 1922214"/>
                <a:gd name="connsiteX9" fmla="*/ 150887 w 1551929"/>
                <a:gd name="connsiteY9" fmla="*/ 590838 h 1922214"/>
                <a:gd name="connsiteX10" fmla="*/ 1401042 w 1551929"/>
                <a:gd name="connsiteY10" fmla="*/ 581027 h 1922214"/>
                <a:gd name="connsiteX11" fmla="*/ 1551929 w 1551929"/>
                <a:gd name="connsiteY11" fmla="*/ 731914 h 1922214"/>
                <a:gd name="connsiteX12" fmla="*/ 1459774 w 1551929"/>
                <a:gd name="connsiteY12" fmla="*/ 870944 h 1922214"/>
                <a:gd name="connsiteX13" fmla="*/ 1424930 w 1551929"/>
                <a:gd name="connsiteY13" fmla="*/ 877978 h 1922214"/>
                <a:gd name="connsiteX14" fmla="*/ 1426242 w 1551929"/>
                <a:gd name="connsiteY14" fmla="*/ 881146 h 1922214"/>
                <a:gd name="connsiteX15" fmla="*/ 1426242 w 1551929"/>
                <a:gd name="connsiteY15" fmla="*/ 1251694 h 1922214"/>
                <a:gd name="connsiteX16" fmla="*/ 1418861 w 1551929"/>
                <a:gd name="connsiteY16" fmla="*/ 1269513 h 1922214"/>
                <a:gd name="connsiteX17" fmla="*/ 1416591 w 1551929"/>
                <a:gd name="connsiteY17" fmla="*/ 1270454 h 1922214"/>
                <a:gd name="connsiteX18" fmla="*/ 1413472 w 1551929"/>
                <a:gd name="connsiteY18" fmla="*/ 1277979 h 1922214"/>
                <a:gd name="connsiteX19" fmla="*/ 1157161 w 1551929"/>
                <a:gd name="connsiteY19" fmla="*/ 1534216 h 1922214"/>
                <a:gd name="connsiteX20" fmla="*/ 1157161 w 1551929"/>
                <a:gd name="connsiteY20" fmla="*/ 1897013 h 1922214"/>
                <a:gd name="connsiteX21" fmla="*/ 1131961 w 1551929"/>
                <a:gd name="connsiteY21" fmla="*/ 1922213 h 1922214"/>
                <a:gd name="connsiteX22" fmla="*/ 1106761 w 1551929"/>
                <a:gd name="connsiteY22" fmla="*/ 1897013 h 1922214"/>
                <a:gd name="connsiteX23" fmla="*/ 1106761 w 1551929"/>
                <a:gd name="connsiteY23" fmla="*/ 1526465 h 1922214"/>
                <a:gd name="connsiteX24" fmla="*/ 1108478 w 1551929"/>
                <a:gd name="connsiteY24" fmla="*/ 1522320 h 1922214"/>
                <a:gd name="connsiteX25" fmla="*/ 1108400 w 1551929"/>
                <a:gd name="connsiteY25" fmla="*/ 1522133 h 1922214"/>
                <a:gd name="connsiteX26" fmla="*/ 1115784 w 1551929"/>
                <a:gd name="connsiteY26" fmla="*/ 1504315 h 1922214"/>
                <a:gd name="connsiteX27" fmla="*/ 1375842 w 1551929"/>
                <a:gd name="connsiteY27" fmla="*/ 1244332 h 1922214"/>
                <a:gd name="connsiteX28" fmla="*/ 1375842 w 1551929"/>
                <a:gd name="connsiteY28" fmla="*/ 881146 h 1922214"/>
                <a:gd name="connsiteX29" fmla="*/ 1377154 w 1551929"/>
                <a:gd name="connsiteY29" fmla="*/ 877978 h 1922214"/>
                <a:gd name="connsiteX30" fmla="*/ 1342310 w 1551929"/>
                <a:gd name="connsiteY30" fmla="*/ 870944 h 1922214"/>
                <a:gd name="connsiteX31" fmla="*/ 1250155 w 1551929"/>
                <a:gd name="connsiteY31" fmla="*/ 731914 h 1922214"/>
                <a:gd name="connsiteX32" fmla="*/ 1401042 w 1551929"/>
                <a:gd name="connsiteY32" fmla="*/ 581027 h 1922214"/>
                <a:gd name="connsiteX33" fmla="*/ 150887 w 1551929"/>
                <a:gd name="connsiteY33" fmla="*/ 533401 h 1922214"/>
                <a:gd name="connsiteX34" fmla="*/ 301774 w 1551929"/>
                <a:gd name="connsiteY34" fmla="*/ 684288 h 1922214"/>
                <a:gd name="connsiteX35" fmla="*/ 289917 w 1551929"/>
                <a:gd name="connsiteY35" fmla="*/ 743020 h 1922214"/>
                <a:gd name="connsiteX36" fmla="*/ 261087 w 1551929"/>
                <a:gd name="connsiteY36" fmla="*/ 785780 h 1922214"/>
                <a:gd name="connsiteX37" fmla="*/ 637019 w 1551929"/>
                <a:gd name="connsiteY37" fmla="*/ 1229336 h 1922214"/>
                <a:gd name="connsiteX38" fmla="*/ 643657 w 1551929"/>
                <a:gd name="connsiteY38" fmla="*/ 1232086 h 1922214"/>
                <a:gd name="connsiteX39" fmla="*/ 651224 w 1551929"/>
                <a:gd name="connsiteY39" fmla="*/ 1250353 h 1922214"/>
                <a:gd name="connsiteX40" fmla="*/ 651224 w 1551929"/>
                <a:gd name="connsiteY40" fmla="*/ 1255869 h 1922214"/>
                <a:gd name="connsiteX41" fmla="*/ 651920 w 1551929"/>
                <a:gd name="connsiteY41" fmla="*/ 1258040 h 1922214"/>
                <a:gd name="connsiteX42" fmla="*/ 651224 w 1551929"/>
                <a:gd name="connsiteY42" fmla="*/ 1259394 h 1922214"/>
                <a:gd name="connsiteX43" fmla="*/ 651223 w 1551929"/>
                <a:gd name="connsiteY43" fmla="*/ 1896380 h 1922214"/>
                <a:gd name="connsiteX44" fmla="*/ 625389 w 1551929"/>
                <a:gd name="connsiteY44" fmla="*/ 1922214 h 1922214"/>
                <a:gd name="connsiteX45" fmla="*/ 625390 w 1551929"/>
                <a:gd name="connsiteY45" fmla="*/ 1922213 h 1922214"/>
                <a:gd name="connsiteX46" fmla="*/ 599556 w 1551929"/>
                <a:gd name="connsiteY46" fmla="*/ 1896379 h 1922214"/>
                <a:gd name="connsiteX47" fmla="*/ 599556 w 1551929"/>
                <a:gd name="connsiteY47" fmla="*/ 1261083 h 1922214"/>
                <a:gd name="connsiteX48" fmla="*/ 221654 w 1551929"/>
                <a:gd name="connsiteY48" fmla="*/ 815203 h 1922214"/>
                <a:gd name="connsiteX49" fmla="*/ 209619 w 1551929"/>
                <a:gd name="connsiteY49" fmla="*/ 823318 h 1922214"/>
                <a:gd name="connsiteX50" fmla="*/ 150887 w 1551929"/>
                <a:gd name="connsiteY50" fmla="*/ 835175 h 1922214"/>
                <a:gd name="connsiteX51" fmla="*/ 0 w 1551929"/>
                <a:gd name="connsiteY51" fmla="*/ 684288 h 1922214"/>
                <a:gd name="connsiteX52" fmla="*/ 150887 w 1551929"/>
                <a:gd name="connsiteY52" fmla="*/ 533401 h 1922214"/>
                <a:gd name="connsiteX53" fmla="*/ 977180 w 1551929"/>
                <a:gd name="connsiteY53" fmla="*/ 497970 h 1922214"/>
                <a:gd name="connsiteX54" fmla="*/ 883730 w 1551929"/>
                <a:gd name="connsiteY54" fmla="*/ 591420 h 1922214"/>
                <a:gd name="connsiteX55" fmla="*/ 977180 w 1551929"/>
                <a:gd name="connsiteY55" fmla="*/ 684870 h 1922214"/>
                <a:gd name="connsiteX56" fmla="*/ 1070630 w 1551929"/>
                <a:gd name="connsiteY56" fmla="*/ 591420 h 1922214"/>
                <a:gd name="connsiteX57" fmla="*/ 977180 w 1551929"/>
                <a:gd name="connsiteY57" fmla="*/ 497970 h 1922214"/>
                <a:gd name="connsiteX58" fmla="*/ 977180 w 1551929"/>
                <a:gd name="connsiteY58" fmla="*/ 440533 h 1922214"/>
                <a:gd name="connsiteX59" fmla="*/ 1128067 w 1551929"/>
                <a:gd name="connsiteY59" fmla="*/ 591420 h 1922214"/>
                <a:gd name="connsiteX60" fmla="*/ 1035912 w 1551929"/>
                <a:gd name="connsiteY60" fmla="*/ 730450 h 1922214"/>
                <a:gd name="connsiteX61" fmla="*/ 997428 w 1551929"/>
                <a:gd name="connsiteY61" fmla="*/ 738219 h 1922214"/>
                <a:gd name="connsiteX62" fmla="*/ 1002380 w 1551929"/>
                <a:gd name="connsiteY62" fmla="*/ 750176 h 1922214"/>
                <a:gd name="connsiteX63" fmla="*/ 1002380 w 1551929"/>
                <a:gd name="connsiteY63" fmla="*/ 1897013 h 1922214"/>
                <a:gd name="connsiteX64" fmla="*/ 977180 w 1551929"/>
                <a:gd name="connsiteY64" fmla="*/ 1922213 h 1922214"/>
                <a:gd name="connsiteX65" fmla="*/ 951980 w 1551929"/>
                <a:gd name="connsiteY65" fmla="*/ 1897013 h 1922214"/>
                <a:gd name="connsiteX66" fmla="*/ 951980 w 1551929"/>
                <a:gd name="connsiteY66" fmla="*/ 750176 h 1922214"/>
                <a:gd name="connsiteX67" fmla="*/ 956933 w 1551929"/>
                <a:gd name="connsiteY67" fmla="*/ 738219 h 1922214"/>
                <a:gd name="connsiteX68" fmla="*/ 918448 w 1551929"/>
                <a:gd name="connsiteY68" fmla="*/ 730450 h 1922214"/>
                <a:gd name="connsiteX69" fmla="*/ 826293 w 1551929"/>
                <a:gd name="connsiteY69" fmla="*/ 591420 h 1922214"/>
                <a:gd name="connsiteX70" fmla="*/ 977180 w 1551929"/>
                <a:gd name="connsiteY70" fmla="*/ 440533 h 1922214"/>
                <a:gd name="connsiteX71" fmla="*/ 591418 w 1551929"/>
                <a:gd name="connsiteY71" fmla="*/ 57437 h 1922214"/>
                <a:gd name="connsiteX72" fmla="*/ 497968 w 1551929"/>
                <a:gd name="connsiteY72" fmla="*/ 150887 h 1922214"/>
                <a:gd name="connsiteX73" fmla="*/ 591418 w 1551929"/>
                <a:gd name="connsiteY73" fmla="*/ 244337 h 1922214"/>
                <a:gd name="connsiteX74" fmla="*/ 684868 w 1551929"/>
                <a:gd name="connsiteY74" fmla="*/ 150887 h 1922214"/>
                <a:gd name="connsiteX75" fmla="*/ 591418 w 1551929"/>
                <a:gd name="connsiteY75" fmla="*/ 57437 h 1922214"/>
                <a:gd name="connsiteX76" fmla="*/ 591418 w 1551929"/>
                <a:gd name="connsiteY76" fmla="*/ 0 h 1922214"/>
                <a:gd name="connsiteX77" fmla="*/ 742305 w 1551929"/>
                <a:gd name="connsiteY77" fmla="*/ 150887 h 1922214"/>
                <a:gd name="connsiteX78" fmla="*/ 650150 w 1551929"/>
                <a:gd name="connsiteY78" fmla="*/ 289917 h 1922214"/>
                <a:gd name="connsiteX79" fmla="*/ 614394 w 1551929"/>
                <a:gd name="connsiteY79" fmla="*/ 297135 h 1922214"/>
                <a:gd name="connsiteX80" fmla="*/ 616617 w 1551929"/>
                <a:gd name="connsiteY80" fmla="*/ 302501 h 1922214"/>
                <a:gd name="connsiteX81" fmla="*/ 616617 w 1551929"/>
                <a:gd name="connsiteY81" fmla="*/ 857168 h 1922214"/>
                <a:gd name="connsiteX82" fmla="*/ 836276 w 1551929"/>
                <a:gd name="connsiteY82" fmla="*/ 1139497 h 1922214"/>
                <a:gd name="connsiteX83" fmla="*/ 847902 w 1551929"/>
                <a:gd name="connsiteY83" fmla="*/ 1144313 h 1922214"/>
                <a:gd name="connsiteX84" fmla="*/ 855283 w 1551929"/>
                <a:gd name="connsiteY84" fmla="*/ 1162132 h 1922214"/>
                <a:gd name="connsiteX85" fmla="*/ 855283 w 1551929"/>
                <a:gd name="connsiteY85" fmla="*/ 1897013 h 1922214"/>
                <a:gd name="connsiteX86" fmla="*/ 830083 w 1551929"/>
                <a:gd name="connsiteY86" fmla="*/ 1922213 h 1922214"/>
                <a:gd name="connsiteX87" fmla="*/ 804883 w 1551929"/>
                <a:gd name="connsiteY87" fmla="*/ 1897013 h 1922214"/>
                <a:gd name="connsiteX88" fmla="*/ 804883 w 1551929"/>
                <a:gd name="connsiteY88" fmla="*/ 1178653 h 1922214"/>
                <a:gd name="connsiteX89" fmla="*/ 801296 w 1551929"/>
                <a:gd name="connsiteY89" fmla="*/ 1176614 h 1922214"/>
                <a:gd name="connsiteX90" fmla="*/ 576710 w 1551929"/>
                <a:gd name="connsiteY90" fmla="*/ 887952 h 1922214"/>
                <a:gd name="connsiteX91" fmla="*/ 573598 w 1551929"/>
                <a:gd name="connsiteY91" fmla="*/ 886663 h 1922214"/>
                <a:gd name="connsiteX92" fmla="*/ 566217 w 1551929"/>
                <a:gd name="connsiteY92" fmla="*/ 868844 h 1922214"/>
                <a:gd name="connsiteX93" fmla="*/ 566217 w 1551929"/>
                <a:gd name="connsiteY93" fmla="*/ 302501 h 1922214"/>
                <a:gd name="connsiteX94" fmla="*/ 568440 w 1551929"/>
                <a:gd name="connsiteY94" fmla="*/ 297135 h 1922214"/>
                <a:gd name="connsiteX95" fmla="*/ 532686 w 1551929"/>
                <a:gd name="connsiteY95" fmla="*/ 289917 h 1922214"/>
                <a:gd name="connsiteX96" fmla="*/ 440531 w 1551929"/>
                <a:gd name="connsiteY96" fmla="*/ 150887 h 1922214"/>
                <a:gd name="connsiteX97" fmla="*/ 591418 w 1551929"/>
                <a:gd name="connsiteY97" fmla="*/ 0 h 192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551929" h="1922214">
                  <a:moveTo>
                    <a:pt x="1401042" y="638464"/>
                  </a:moveTo>
                  <a:cubicBezTo>
                    <a:pt x="1349431" y="638464"/>
                    <a:pt x="1307592" y="680303"/>
                    <a:pt x="1307592" y="731914"/>
                  </a:cubicBezTo>
                  <a:cubicBezTo>
                    <a:pt x="1307592" y="783525"/>
                    <a:pt x="1349431" y="825364"/>
                    <a:pt x="1401042" y="825364"/>
                  </a:cubicBezTo>
                  <a:cubicBezTo>
                    <a:pt x="1452653" y="825364"/>
                    <a:pt x="1494492" y="783525"/>
                    <a:pt x="1494492" y="731914"/>
                  </a:cubicBezTo>
                  <a:cubicBezTo>
                    <a:pt x="1494492" y="680303"/>
                    <a:pt x="1452653" y="638464"/>
                    <a:pt x="1401042" y="638464"/>
                  </a:cubicBezTo>
                  <a:close/>
                  <a:moveTo>
                    <a:pt x="150887" y="590838"/>
                  </a:moveTo>
                  <a:cubicBezTo>
                    <a:pt x="99276" y="590838"/>
                    <a:pt x="57437" y="632677"/>
                    <a:pt x="57437" y="684288"/>
                  </a:cubicBezTo>
                  <a:cubicBezTo>
                    <a:pt x="57437" y="735899"/>
                    <a:pt x="99276" y="777738"/>
                    <a:pt x="150887" y="777738"/>
                  </a:cubicBezTo>
                  <a:cubicBezTo>
                    <a:pt x="202498" y="777738"/>
                    <a:pt x="244337" y="735899"/>
                    <a:pt x="244337" y="684288"/>
                  </a:cubicBezTo>
                  <a:cubicBezTo>
                    <a:pt x="244337" y="632677"/>
                    <a:pt x="202498" y="590838"/>
                    <a:pt x="150887" y="590838"/>
                  </a:cubicBezTo>
                  <a:close/>
                  <a:moveTo>
                    <a:pt x="1401042" y="581027"/>
                  </a:moveTo>
                  <a:cubicBezTo>
                    <a:pt x="1484375" y="581027"/>
                    <a:pt x="1551929" y="648581"/>
                    <a:pt x="1551929" y="731914"/>
                  </a:cubicBezTo>
                  <a:cubicBezTo>
                    <a:pt x="1551929" y="794414"/>
                    <a:pt x="1513930" y="848038"/>
                    <a:pt x="1459774" y="870944"/>
                  </a:cubicBezTo>
                  <a:lnTo>
                    <a:pt x="1424930" y="877978"/>
                  </a:lnTo>
                  <a:lnTo>
                    <a:pt x="1426242" y="881146"/>
                  </a:lnTo>
                  <a:lnTo>
                    <a:pt x="1426242" y="1251694"/>
                  </a:lnTo>
                  <a:cubicBezTo>
                    <a:pt x="1426242" y="1258653"/>
                    <a:pt x="1423422" y="1264953"/>
                    <a:pt x="1418861" y="1269513"/>
                  </a:cubicBezTo>
                  <a:lnTo>
                    <a:pt x="1416591" y="1270454"/>
                  </a:lnTo>
                  <a:lnTo>
                    <a:pt x="1413472" y="1277979"/>
                  </a:lnTo>
                  <a:lnTo>
                    <a:pt x="1157161" y="1534216"/>
                  </a:lnTo>
                  <a:lnTo>
                    <a:pt x="1157161" y="1897013"/>
                  </a:lnTo>
                  <a:cubicBezTo>
                    <a:pt x="1157161" y="1910931"/>
                    <a:pt x="1145879" y="1922213"/>
                    <a:pt x="1131961" y="1922213"/>
                  </a:cubicBezTo>
                  <a:cubicBezTo>
                    <a:pt x="1118043" y="1922213"/>
                    <a:pt x="1106761" y="1910931"/>
                    <a:pt x="1106761" y="1897013"/>
                  </a:cubicBezTo>
                  <a:lnTo>
                    <a:pt x="1106761" y="1526465"/>
                  </a:lnTo>
                  <a:lnTo>
                    <a:pt x="1108478" y="1522320"/>
                  </a:lnTo>
                  <a:lnTo>
                    <a:pt x="1108400" y="1522133"/>
                  </a:lnTo>
                  <a:cubicBezTo>
                    <a:pt x="1108401" y="1515684"/>
                    <a:pt x="1110863" y="1509235"/>
                    <a:pt x="1115784" y="1504315"/>
                  </a:cubicBezTo>
                  <a:lnTo>
                    <a:pt x="1375842" y="1244332"/>
                  </a:lnTo>
                  <a:lnTo>
                    <a:pt x="1375842" y="881146"/>
                  </a:lnTo>
                  <a:lnTo>
                    <a:pt x="1377154" y="877978"/>
                  </a:lnTo>
                  <a:lnTo>
                    <a:pt x="1342310" y="870944"/>
                  </a:lnTo>
                  <a:cubicBezTo>
                    <a:pt x="1288154" y="848038"/>
                    <a:pt x="1250155" y="794414"/>
                    <a:pt x="1250155" y="731914"/>
                  </a:cubicBezTo>
                  <a:cubicBezTo>
                    <a:pt x="1250155" y="648581"/>
                    <a:pt x="1317709" y="581027"/>
                    <a:pt x="1401042" y="581027"/>
                  </a:cubicBezTo>
                  <a:close/>
                  <a:moveTo>
                    <a:pt x="150887" y="533401"/>
                  </a:moveTo>
                  <a:cubicBezTo>
                    <a:pt x="234220" y="533401"/>
                    <a:pt x="301774" y="600955"/>
                    <a:pt x="301774" y="684288"/>
                  </a:cubicBezTo>
                  <a:cubicBezTo>
                    <a:pt x="301774" y="705121"/>
                    <a:pt x="297552" y="724968"/>
                    <a:pt x="289917" y="743020"/>
                  </a:cubicBezTo>
                  <a:lnTo>
                    <a:pt x="261087" y="785780"/>
                  </a:lnTo>
                  <a:lnTo>
                    <a:pt x="637019" y="1229336"/>
                  </a:lnTo>
                  <a:lnTo>
                    <a:pt x="643657" y="1232086"/>
                  </a:lnTo>
                  <a:cubicBezTo>
                    <a:pt x="648332" y="1236761"/>
                    <a:pt x="651224" y="1243219"/>
                    <a:pt x="651224" y="1250353"/>
                  </a:cubicBezTo>
                  <a:lnTo>
                    <a:pt x="651224" y="1255869"/>
                  </a:lnTo>
                  <a:lnTo>
                    <a:pt x="651920" y="1258040"/>
                  </a:lnTo>
                  <a:lnTo>
                    <a:pt x="651224" y="1259394"/>
                  </a:lnTo>
                  <a:lnTo>
                    <a:pt x="651223" y="1896380"/>
                  </a:lnTo>
                  <a:cubicBezTo>
                    <a:pt x="651223" y="1910648"/>
                    <a:pt x="639657" y="1922214"/>
                    <a:pt x="625389" y="1922214"/>
                  </a:cubicBezTo>
                  <a:lnTo>
                    <a:pt x="625390" y="1922213"/>
                  </a:lnTo>
                  <a:cubicBezTo>
                    <a:pt x="611122" y="1922213"/>
                    <a:pt x="599556" y="1910647"/>
                    <a:pt x="599556" y="1896379"/>
                  </a:cubicBezTo>
                  <a:lnTo>
                    <a:pt x="599556" y="1261083"/>
                  </a:lnTo>
                  <a:lnTo>
                    <a:pt x="221654" y="815203"/>
                  </a:lnTo>
                  <a:lnTo>
                    <a:pt x="209619" y="823318"/>
                  </a:lnTo>
                  <a:cubicBezTo>
                    <a:pt x="191567" y="830953"/>
                    <a:pt x="171720" y="835175"/>
                    <a:pt x="150887" y="835175"/>
                  </a:cubicBezTo>
                  <a:cubicBezTo>
                    <a:pt x="67554" y="835175"/>
                    <a:pt x="0" y="767621"/>
                    <a:pt x="0" y="684288"/>
                  </a:cubicBezTo>
                  <a:cubicBezTo>
                    <a:pt x="0" y="600955"/>
                    <a:pt x="67554" y="533401"/>
                    <a:pt x="150887" y="533401"/>
                  </a:cubicBezTo>
                  <a:close/>
                  <a:moveTo>
                    <a:pt x="977180" y="497970"/>
                  </a:moveTo>
                  <a:cubicBezTo>
                    <a:pt x="925569" y="497970"/>
                    <a:pt x="883730" y="539809"/>
                    <a:pt x="883730" y="591420"/>
                  </a:cubicBezTo>
                  <a:cubicBezTo>
                    <a:pt x="883730" y="643031"/>
                    <a:pt x="925569" y="684870"/>
                    <a:pt x="977180" y="684870"/>
                  </a:cubicBezTo>
                  <a:cubicBezTo>
                    <a:pt x="1028791" y="684870"/>
                    <a:pt x="1070630" y="643031"/>
                    <a:pt x="1070630" y="591420"/>
                  </a:cubicBezTo>
                  <a:cubicBezTo>
                    <a:pt x="1070630" y="539809"/>
                    <a:pt x="1028791" y="497970"/>
                    <a:pt x="977180" y="497970"/>
                  </a:cubicBezTo>
                  <a:close/>
                  <a:moveTo>
                    <a:pt x="977180" y="440533"/>
                  </a:moveTo>
                  <a:cubicBezTo>
                    <a:pt x="1060513" y="440533"/>
                    <a:pt x="1128067" y="508087"/>
                    <a:pt x="1128067" y="591420"/>
                  </a:cubicBezTo>
                  <a:cubicBezTo>
                    <a:pt x="1128067" y="653920"/>
                    <a:pt x="1090068" y="707544"/>
                    <a:pt x="1035912" y="730450"/>
                  </a:cubicBezTo>
                  <a:lnTo>
                    <a:pt x="997428" y="738219"/>
                  </a:lnTo>
                  <a:lnTo>
                    <a:pt x="1002380" y="750176"/>
                  </a:lnTo>
                  <a:lnTo>
                    <a:pt x="1002380" y="1897013"/>
                  </a:lnTo>
                  <a:cubicBezTo>
                    <a:pt x="1002380" y="1910931"/>
                    <a:pt x="991098" y="1922213"/>
                    <a:pt x="977180" y="1922213"/>
                  </a:cubicBezTo>
                  <a:cubicBezTo>
                    <a:pt x="963262" y="1922213"/>
                    <a:pt x="951980" y="1910931"/>
                    <a:pt x="951980" y="1897013"/>
                  </a:cubicBezTo>
                  <a:lnTo>
                    <a:pt x="951980" y="750176"/>
                  </a:lnTo>
                  <a:lnTo>
                    <a:pt x="956933" y="738219"/>
                  </a:lnTo>
                  <a:lnTo>
                    <a:pt x="918448" y="730450"/>
                  </a:lnTo>
                  <a:cubicBezTo>
                    <a:pt x="864292" y="707544"/>
                    <a:pt x="826293" y="653920"/>
                    <a:pt x="826293" y="591420"/>
                  </a:cubicBezTo>
                  <a:cubicBezTo>
                    <a:pt x="826293" y="508087"/>
                    <a:pt x="893847" y="440533"/>
                    <a:pt x="977180" y="440533"/>
                  </a:cubicBezTo>
                  <a:close/>
                  <a:moveTo>
                    <a:pt x="591418" y="57437"/>
                  </a:moveTo>
                  <a:cubicBezTo>
                    <a:pt x="539807" y="57437"/>
                    <a:pt x="497968" y="99276"/>
                    <a:pt x="497968" y="150887"/>
                  </a:cubicBezTo>
                  <a:cubicBezTo>
                    <a:pt x="497968" y="202498"/>
                    <a:pt x="539807" y="244337"/>
                    <a:pt x="591418" y="244337"/>
                  </a:cubicBezTo>
                  <a:cubicBezTo>
                    <a:pt x="643029" y="244337"/>
                    <a:pt x="684868" y="202498"/>
                    <a:pt x="684868" y="150887"/>
                  </a:cubicBezTo>
                  <a:cubicBezTo>
                    <a:pt x="684868" y="99276"/>
                    <a:pt x="643029" y="57437"/>
                    <a:pt x="591418" y="57437"/>
                  </a:cubicBezTo>
                  <a:close/>
                  <a:moveTo>
                    <a:pt x="591418" y="0"/>
                  </a:moveTo>
                  <a:cubicBezTo>
                    <a:pt x="674751" y="0"/>
                    <a:pt x="742305" y="67554"/>
                    <a:pt x="742305" y="150887"/>
                  </a:cubicBezTo>
                  <a:cubicBezTo>
                    <a:pt x="742305" y="213387"/>
                    <a:pt x="704306" y="267011"/>
                    <a:pt x="650150" y="289917"/>
                  </a:cubicBezTo>
                  <a:lnTo>
                    <a:pt x="614394" y="297135"/>
                  </a:lnTo>
                  <a:lnTo>
                    <a:pt x="616617" y="302501"/>
                  </a:lnTo>
                  <a:lnTo>
                    <a:pt x="616617" y="857168"/>
                  </a:lnTo>
                  <a:lnTo>
                    <a:pt x="836276" y="1139497"/>
                  </a:lnTo>
                  <a:lnTo>
                    <a:pt x="847902" y="1144313"/>
                  </a:lnTo>
                  <a:cubicBezTo>
                    <a:pt x="852463" y="1148873"/>
                    <a:pt x="855283" y="1155173"/>
                    <a:pt x="855283" y="1162132"/>
                  </a:cubicBezTo>
                  <a:lnTo>
                    <a:pt x="855283" y="1897013"/>
                  </a:lnTo>
                  <a:cubicBezTo>
                    <a:pt x="855283" y="1910931"/>
                    <a:pt x="844001" y="1922213"/>
                    <a:pt x="830083" y="1922213"/>
                  </a:cubicBezTo>
                  <a:cubicBezTo>
                    <a:pt x="816165" y="1922213"/>
                    <a:pt x="804883" y="1910931"/>
                    <a:pt x="804883" y="1897013"/>
                  </a:cubicBezTo>
                  <a:lnTo>
                    <a:pt x="804883" y="1178653"/>
                  </a:lnTo>
                  <a:lnTo>
                    <a:pt x="801296" y="1176614"/>
                  </a:lnTo>
                  <a:lnTo>
                    <a:pt x="576710" y="887952"/>
                  </a:lnTo>
                  <a:lnTo>
                    <a:pt x="573598" y="886663"/>
                  </a:lnTo>
                  <a:cubicBezTo>
                    <a:pt x="569037" y="882103"/>
                    <a:pt x="566217" y="875803"/>
                    <a:pt x="566217" y="868844"/>
                  </a:cubicBezTo>
                  <a:lnTo>
                    <a:pt x="566217" y="302501"/>
                  </a:lnTo>
                  <a:lnTo>
                    <a:pt x="568440" y="297135"/>
                  </a:lnTo>
                  <a:lnTo>
                    <a:pt x="532686" y="289917"/>
                  </a:lnTo>
                  <a:cubicBezTo>
                    <a:pt x="478530" y="267011"/>
                    <a:pt x="440531" y="213387"/>
                    <a:pt x="440531" y="150887"/>
                  </a:cubicBezTo>
                  <a:cubicBezTo>
                    <a:pt x="440531" y="67554"/>
                    <a:pt x="508085" y="0"/>
                    <a:pt x="591418" y="0"/>
                  </a:cubicBezTo>
                  <a:close/>
                </a:path>
              </a:pathLst>
            </a:cu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94" name="Gruppieren 1993">
            <a:extLst>
              <a:ext uri="{FF2B5EF4-FFF2-40B4-BE49-F238E27FC236}">
                <a16:creationId xmlns:a16="http://schemas.microsoft.com/office/drawing/2014/main" id="{F349A87B-A8AA-4469-B758-B0D7B31845C4}"/>
              </a:ext>
            </a:extLst>
          </p:cNvPr>
          <p:cNvGrpSpPr>
            <a:grpSpLocks noChangeAspect="1"/>
          </p:cNvGrpSpPr>
          <p:nvPr/>
        </p:nvGrpSpPr>
        <p:grpSpPr>
          <a:xfrm>
            <a:off x="7852902" y="4879041"/>
            <a:ext cx="333357" cy="285619"/>
            <a:chOff x="5762625" y="1244600"/>
            <a:chExt cx="654051" cy="560388"/>
          </a:xfrm>
          <a:solidFill>
            <a:schemeClr val="bg1"/>
          </a:solidFill>
        </p:grpSpPr>
        <p:sp>
          <p:nvSpPr>
            <p:cNvPr id="1995" name="Freeform 5">
              <a:extLst>
                <a:ext uri="{FF2B5EF4-FFF2-40B4-BE49-F238E27FC236}">
                  <a16:creationId xmlns:a16="http://schemas.microsoft.com/office/drawing/2014/main" id="{2BCA999F-935F-4894-BC51-9920BDD7C1F0}"/>
                </a:ext>
              </a:extLst>
            </p:cNvPr>
            <p:cNvSpPr>
              <a:spLocks/>
            </p:cNvSpPr>
            <p:nvPr/>
          </p:nvSpPr>
          <p:spPr bwMode="auto">
            <a:xfrm>
              <a:off x="6221413" y="1592263"/>
              <a:ext cx="22225" cy="20638"/>
            </a:xfrm>
            <a:custGeom>
              <a:avLst/>
              <a:gdLst>
                <a:gd name="T0" fmla="*/ 21 w 37"/>
                <a:gd name="T1" fmla="*/ 0 h 32"/>
                <a:gd name="T2" fmla="*/ 16 w 37"/>
                <a:gd name="T3" fmla="*/ 0 h 32"/>
                <a:gd name="T4" fmla="*/ 0 w 37"/>
                <a:gd name="T5" fmla="*/ 16 h 32"/>
                <a:gd name="T6" fmla="*/ 16 w 37"/>
                <a:gd name="T7" fmla="*/ 32 h 32"/>
                <a:gd name="T8" fmla="*/ 21 w 37"/>
                <a:gd name="T9" fmla="*/ 32 h 32"/>
                <a:gd name="T10" fmla="*/ 37 w 37"/>
                <a:gd name="T11" fmla="*/ 16 h 32"/>
                <a:gd name="T12" fmla="*/ 21 w 37"/>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7" h="32">
                  <a:moveTo>
                    <a:pt x="21" y="0"/>
                  </a:moveTo>
                  <a:cubicBezTo>
                    <a:pt x="16" y="0"/>
                    <a:pt x="16" y="0"/>
                    <a:pt x="16" y="0"/>
                  </a:cubicBezTo>
                  <a:cubicBezTo>
                    <a:pt x="7" y="0"/>
                    <a:pt x="0" y="7"/>
                    <a:pt x="0" y="16"/>
                  </a:cubicBezTo>
                  <a:cubicBezTo>
                    <a:pt x="0" y="25"/>
                    <a:pt x="7" y="32"/>
                    <a:pt x="16" y="32"/>
                  </a:cubicBezTo>
                  <a:cubicBezTo>
                    <a:pt x="21" y="32"/>
                    <a:pt x="21" y="32"/>
                    <a:pt x="21" y="32"/>
                  </a:cubicBezTo>
                  <a:cubicBezTo>
                    <a:pt x="30" y="32"/>
                    <a:pt x="37" y="25"/>
                    <a:pt x="37" y="16"/>
                  </a:cubicBezTo>
                  <a:cubicBezTo>
                    <a:pt x="37" y="7"/>
                    <a:pt x="30"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6" name="Freeform 6">
              <a:extLst>
                <a:ext uri="{FF2B5EF4-FFF2-40B4-BE49-F238E27FC236}">
                  <a16:creationId xmlns:a16="http://schemas.microsoft.com/office/drawing/2014/main" id="{FD39BB77-F73D-4D1E-8CA0-E1E5BC64A89F}"/>
                </a:ext>
              </a:extLst>
            </p:cNvPr>
            <p:cNvSpPr>
              <a:spLocks/>
            </p:cNvSpPr>
            <p:nvPr/>
          </p:nvSpPr>
          <p:spPr bwMode="auto">
            <a:xfrm>
              <a:off x="5948363" y="1244600"/>
              <a:ext cx="468313" cy="368300"/>
            </a:xfrm>
            <a:custGeom>
              <a:avLst/>
              <a:gdLst>
                <a:gd name="T0" fmla="*/ 538 w 742"/>
                <a:gd name="T1" fmla="*/ 173 h 582"/>
                <a:gd name="T2" fmla="*/ 484 w 742"/>
                <a:gd name="T3" fmla="*/ 173 h 582"/>
                <a:gd name="T4" fmla="*/ 224 w 742"/>
                <a:gd name="T5" fmla="*/ 0 h 582"/>
                <a:gd name="T6" fmla="*/ 6 w 742"/>
                <a:gd name="T7" fmla="*/ 99 h 582"/>
                <a:gd name="T8" fmla="*/ 8 w 742"/>
                <a:gd name="T9" fmla="*/ 122 h 582"/>
                <a:gd name="T10" fmla="*/ 30 w 742"/>
                <a:gd name="T11" fmla="*/ 120 h 582"/>
                <a:gd name="T12" fmla="*/ 224 w 742"/>
                <a:gd name="T13" fmla="*/ 32 h 582"/>
                <a:gd name="T14" fmla="*/ 459 w 742"/>
                <a:gd name="T15" fmla="*/ 196 h 582"/>
                <a:gd name="T16" fmla="*/ 474 w 742"/>
                <a:gd name="T17" fmla="*/ 205 h 582"/>
                <a:gd name="T18" fmla="*/ 475 w 742"/>
                <a:gd name="T19" fmla="*/ 205 h 582"/>
                <a:gd name="T20" fmla="*/ 476 w 742"/>
                <a:gd name="T21" fmla="*/ 205 h 582"/>
                <a:gd name="T22" fmla="*/ 538 w 742"/>
                <a:gd name="T23" fmla="*/ 205 h 582"/>
                <a:gd name="T24" fmla="*/ 710 w 742"/>
                <a:gd name="T25" fmla="*/ 377 h 582"/>
                <a:gd name="T26" fmla="*/ 538 w 742"/>
                <a:gd name="T27" fmla="*/ 550 h 582"/>
                <a:gd name="T28" fmla="*/ 500 w 742"/>
                <a:gd name="T29" fmla="*/ 550 h 582"/>
                <a:gd name="T30" fmla="*/ 484 w 742"/>
                <a:gd name="T31" fmla="*/ 566 h 582"/>
                <a:gd name="T32" fmla="*/ 500 w 742"/>
                <a:gd name="T33" fmla="*/ 582 h 582"/>
                <a:gd name="T34" fmla="*/ 538 w 742"/>
                <a:gd name="T35" fmla="*/ 582 h 582"/>
                <a:gd name="T36" fmla="*/ 742 w 742"/>
                <a:gd name="T37" fmla="*/ 377 h 582"/>
                <a:gd name="T38" fmla="*/ 538 w 742"/>
                <a:gd name="T39" fmla="*/ 173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2" h="582">
                  <a:moveTo>
                    <a:pt x="538" y="173"/>
                  </a:moveTo>
                  <a:cubicBezTo>
                    <a:pt x="484" y="173"/>
                    <a:pt x="484" y="173"/>
                    <a:pt x="484" y="173"/>
                  </a:cubicBezTo>
                  <a:cubicBezTo>
                    <a:pt x="434" y="69"/>
                    <a:pt x="330" y="0"/>
                    <a:pt x="224" y="0"/>
                  </a:cubicBezTo>
                  <a:cubicBezTo>
                    <a:pt x="141" y="0"/>
                    <a:pt x="61" y="36"/>
                    <a:pt x="6" y="99"/>
                  </a:cubicBezTo>
                  <a:cubicBezTo>
                    <a:pt x="0" y="106"/>
                    <a:pt x="1" y="116"/>
                    <a:pt x="8" y="122"/>
                  </a:cubicBezTo>
                  <a:cubicBezTo>
                    <a:pt x="14" y="128"/>
                    <a:pt x="25" y="127"/>
                    <a:pt x="30" y="120"/>
                  </a:cubicBezTo>
                  <a:cubicBezTo>
                    <a:pt x="79" y="64"/>
                    <a:pt x="150" y="32"/>
                    <a:pt x="224" y="32"/>
                  </a:cubicBezTo>
                  <a:cubicBezTo>
                    <a:pt x="321" y="32"/>
                    <a:pt x="416" y="98"/>
                    <a:pt x="459" y="196"/>
                  </a:cubicBezTo>
                  <a:cubicBezTo>
                    <a:pt x="462" y="201"/>
                    <a:pt x="468" y="205"/>
                    <a:pt x="474" y="205"/>
                  </a:cubicBezTo>
                  <a:cubicBezTo>
                    <a:pt x="474" y="205"/>
                    <a:pt x="475" y="205"/>
                    <a:pt x="475" y="205"/>
                  </a:cubicBezTo>
                  <a:cubicBezTo>
                    <a:pt x="475" y="205"/>
                    <a:pt x="476" y="205"/>
                    <a:pt x="476" y="205"/>
                  </a:cubicBezTo>
                  <a:cubicBezTo>
                    <a:pt x="538" y="205"/>
                    <a:pt x="538" y="205"/>
                    <a:pt x="538" y="205"/>
                  </a:cubicBezTo>
                  <a:cubicBezTo>
                    <a:pt x="633" y="205"/>
                    <a:pt x="710" y="282"/>
                    <a:pt x="710" y="377"/>
                  </a:cubicBezTo>
                  <a:cubicBezTo>
                    <a:pt x="710" y="472"/>
                    <a:pt x="633" y="550"/>
                    <a:pt x="538" y="550"/>
                  </a:cubicBezTo>
                  <a:cubicBezTo>
                    <a:pt x="500" y="550"/>
                    <a:pt x="500" y="550"/>
                    <a:pt x="500" y="550"/>
                  </a:cubicBezTo>
                  <a:cubicBezTo>
                    <a:pt x="491" y="550"/>
                    <a:pt x="484" y="557"/>
                    <a:pt x="484" y="566"/>
                  </a:cubicBezTo>
                  <a:cubicBezTo>
                    <a:pt x="484" y="575"/>
                    <a:pt x="491" y="582"/>
                    <a:pt x="500" y="582"/>
                  </a:cubicBezTo>
                  <a:cubicBezTo>
                    <a:pt x="538" y="582"/>
                    <a:pt x="538" y="582"/>
                    <a:pt x="538" y="582"/>
                  </a:cubicBezTo>
                  <a:cubicBezTo>
                    <a:pt x="651" y="582"/>
                    <a:pt x="742" y="490"/>
                    <a:pt x="742" y="377"/>
                  </a:cubicBezTo>
                  <a:cubicBezTo>
                    <a:pt x="742" y="265"/>
                    <a:pt x="651" y="173"/>
                    <a:pt x="538"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7" name="Freeform 7">
              <a:extLst>
                <a:ext uri="{FF2B5EF4-FFF2-40B4-BE49-F238E27FC236}">
                  <a16:creationId xmlns:a16="http://schemas.microsoft.com/office/drawing/2014/main" id="{9D07C107-AC2B-4403-A100-7B4394DB2CA5}"/>
                </a:ext>
              </a:extLst>
            </p:cNvPr>
            <p:cNvSpPr>
              <a:spLocks/>
            </p:cNvSpPr>
            <p:nvPr/>
          </p:nvSpPr>
          <p:spPr bwMode="auto">
            <a:xfrm>
              <a:off x="6126163" y="1312863"/>
              <a:ext cx="236538" cy="163513"/>
            </a:xfrm>
            <a:custGeom>
              <a:avLst/>
              <a:gdLst>
                <a:gd name="T0" fmla="*/ 152 w 374"/>
                <a:gd name="T1" fmla="*/ 162 h 258"/>
                <a:gd name="T2" fmla="*/ 153 w 374"/>
                <a:gd name="T3" fmla="*/ 163 h 258"/>
                <a:gd name="T4" fmla="*/ 209 w 374"/>
                <a:gd name="T5" fmla="*/ 163 h 258"/>
                <a:gd name="T6" fmla="*/ 350 w 374"/>
                <a:gd name="T7" fmla="*/ 251 h 258"/>
                <a:gd name="T8" fmla="*/ 361 w 374"/>
                <a:gd name="T9" fmla="*/ 258 h 258"/>
                <a:gd name="T10" fmla="*/ 366 w 374"/>
                <a:gd name="T11" fmla="*/ 257 h 258"/>
                <a:gd name="T12" fmla="*/ 372 w 374"/>
                <a:gd name="T13" fmla="*/ 241 h 258"/>
                <a:gd name="T14" fmla="*/ 209 w 374"/>
                <a:gd name="T15" fmla="*/ 139 h 258"/>
                <a:gd name="T16" fmla="*/ 158 w 374"/>
                <a:gd name="T17" fmla="*/ 139 h 258"/>
                <a:gd name="T18" fmla="*/ 18 w 374"/>
                <a:gd name="T19" fmla="*/ 3 h 258"/>
                <a:gd name="T20" fmla="*/ 3 w 374"/>
                <a:gd name="T21" fmla="*/ 9 h 258"/>
                <a:gd name="T22" fmla="*/ 9 w 374"/>
                <a:gd name="T23" fmla="*/ 25 h 258"/>
                <a:gd name="T24" fmla="*/ 139 w 374"/>
                <a:gd name="T25" fmla="*/ 155 h 258"/>
                <a:gd name="T26" fmla="*/ 150 w 374"/>
                <a:gd name="T27" fmla="*/ 163 h 258"/>
                <a:gd name="T28" fmla="*/ 152 w 374"/>
                <a:gd name="T29" fmla="*/ 16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4" h="258">
                  <a:moveTo>
                    <a:pt x="152" y="162"/>
                  </a:moveTo>
                  <a:cubicBezTo>
                    <a:pt x="152" y="162"/>
                    <a:pt x="153" y="163"/>
                    <a:pt x="153" y="163"/>
                  </a:cubicBezTo>
                  <a:cubicBezTo>
                    <a:pt x="209" y="163"/>
                    <a:pt x="209" y="163"/>
                    <a:pt x="209" y="163"/>
                  </a:cubicBezTo>
                  <a:cubicBezTo>
                    <a:pt x="268" y="163"/>
                    <a:pt x="324" y="197"/>
                    <a:pt x="350" y="251"/>
                  </a:cubicBezTo>
                  <a:cubicBezTo>
                    <a:pt x="352" y="256"/>
                    <a:pt x="356" y="258"/>
                    <a:pt x="361" y="258"/>
                  </a:cubicBezTo>
                  <a:cubicBezTo>
                    <a:pt x="363" y="258"/>
                    <a:pt x="364" y="258"/>
                    <a:pt x="366" y="257"/>
                  </a:cubicBezTo>
                  <a:cubicBezTo>
                    <a:pt x="372" y="254"/>
                    <a:pt x="374" y="247"/>
                    <a:pt x="372" y="241"/>
                  </a:cubicBezTo>
                  <a:cubicBezTo>
                    <a:pt x="341" y="179"/>
                    <a:pt x="277" y="139"/>
                    <a:pt x="209" y="139"/>
                  </a:cubicBezTo>
                  <a:cubicBezTo>
                    <a:pt x="158" y="139"/>
                    <a:pt x="158" y="139"/>
                    <a:pt x="158" y="139"/>
                  </a:cubicBezTo>
                  <a:cubicBezTo>
                    <a:pt x="128" y="77"/>
                    <a:pt x="78" y="28"/>
                    <a:pt x="18" y="3"/>
                  </a:cubicBezTo>
                  <a:cubicBezTo>
                    <a:pt x="12" y="0"/>
                    <a:pt x="5" y="3"/>
                    <a:pt x="3" y="9"/>
                  </a:cubicBezTo>
                  <a:cubicBezTo>
                    <a:pt x="0" y="15"/>
                    <a:pt x="3" y="22"/>
                    <a:pt x="9" y="25"/>
                  </a:cubicBezTo>
                  <a:cubicBezTo>
                    <a:pt x="65" y="49"/>
                    <a:pt x="113" y="96"/>
                    <a:pt x="139" y="155"/>
                  </a:cubicBezTo>
                  <a:cubicBezTo>
                    <a:pt x="141" y="160"/>
                    <a:pt x="145" y="163"/>
                    <a:pt x="150" y="163"/>
                  </a:cubicBezTo>
                  <a:cubicBezTo>
                    <a:pt x="151" y="163"/>
                    <a:pt x="151" y="162"/>
                    <a:pt x="15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8" name="Freeform 8">
              <a:extLst>
                <a:ext uri="{FF2B5EF4-FFF2-40B4-BE49-F238E27FC236}">
                  <a16:creationId xmlns:a16="http://schemas.microsoft.com/office/drawing/2014/main" id="{C24780FB-B032-436E-85E2-19B143ECF463}"/>
                </a:ext>
              </a:extLst>
            </p:cNvPr>
            <p:cNvSpPr>
              <a:spLocks/>
            </p:cNvSpPr>
            <p:nvPr/>
          </p:nvSpPr>
          <p:spPr bwMode="auto">
            <a:xfrm>
              <a:off x="6353175" y="1476375"/>
              <a:ext cx="20638" cy="41275"/>
            </a:xfrm>
            <a:custGeom>
              <a:avLst/>
              <a:gdLst>
                <a:gd name="T0" fmla="*/ 2 w 32"/>
                <a:gd name="T1" fmla="*/ 16 h 65"/>
                <a:gd name="T2" fmla="*/ 7 w 32"/>
                <a:gd name="T3" fmla="*/ 53 h 65"/>
                <a:gd name="T4" fmla="*/ 19 w 32"/>
                <a:gd name="T5" fmla="*/ 65 h 65"/>
                <a:gd name="T6" fmla="*/ 20 w 32"/>
                <a:gd name="T7" fmla="*/ 65 h 65"/>
                <a:gd name="T8" fmla="*/ 31 w 32"/>
                <a:gd name="T9" fmla="*/ 52 h 65"/>
                <a:gd name="T10" fmla="*/ 25 w 32"/>
                <a:gd name="T11" fmla="*/ 10 h 65"/>
                <a:gd name="T12" fmla="*/ 10 w 32"/>
                <a:gd name="T13" fmla="*/ 2 h 65"/>
                <a:gd name="T14" fmla="*/ 2 w 32"/>
                <a:gd name="T15" fmla="*/ 16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65">
                  <a:moveTo>
                    <a:pt x="2" y="16"/>
                  </a:moveTo>
                  <a:cubicBezTo>
                    <a:pt x="5" y="28"/>
                    <a:pt x="7" y="41"/>
                    <a:pt x="7" y="53"/>
                  </a:cubicBezTo>
                  <a:cubicBezTo>
                    <a:pt x="8" y="60"/>
                    <a:pt x="13" y="65"/>
                    <a:pt x="19" y="65"/>
                  </a:cubicBezTo>
                  <a:cubicBezTo>
                    <a:pt x="20" y="65"/>
                    <a:pt x="20" y="65"/>
                    <a:pt x="20" y="65"/>
                  </a:cubicBezTo>
                  <a:cubicBezTo>
                    <a:pt x="27" y="65"/>
                    <a:pt x="32" y="59"/>
                    <a:pt x="31" y="52"/>
                  </a:cubicBezTo>
                  <a:cubicBezTo>
                    <a:pt x="31" y="38"/>
                    <a:pt x="29" y="24"/>
                    <a:pt x="25" y="10"/>
                  </a:cubicBezTo>
                  <a:cubicBezTo>
                    <a:pt x="23" y="3"/>
                    <a:pt x="16" y="0"/>
                    <a:pt x="10" y="2"/>
                  </a:cubicBezTo>
                  <a:cubicBezTo>
                    <a:pt x="3" y="3"/>
                    <a:pt x="0" y="10"/>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9" name="Freeform 9">
              <a:extLst>
                <a:ext uri="{FF2B5EF4-FFF2-40B4-BE49-F238E27FC236}">
                  <a16:creationId xmlns:a16="http://schemas.microsoft.com/office/drawing/2014/main" id="{2581540A-6CC9-469C-944B-72E5DA5A194A}"/>
                </a:ext>
              </a:extLst>
            </p:cNvPr>
            <p:cNvSpPr>
              <a:spLocks/>
            </p:cNvSpPr>
            <p:nvPr/>
          </p:nvSpPr>
          <p:spPr bwMode="auto">
            <a:xfrm>
              <a:off x="5762625" y="1325563"/>
              <a:ext cx="449263" cy="479425"/>
            </a:xfrm>
            <a:custGeom>
              <a:avLst/>
              <a:gdLst>
                <a:gd name="T0" fmla="*/ 695 w 711"/>
                <a:gd name="T1" fmla="*/ 422 h 758"/>
                <a:gd name="T2" fmla="*/ 604 w 711"/>
                <a:gd name="T3" fmla="*/ 422 h 758"/>
                <a:gd name="T4" fmla="*/ 604 w 711"/>
                <a:gd name="T5" fmla="*/ 348 h 758"/>
                <a:gd name="T6" fmla="*/ 588 w 711"/>
                <a:gd name="T7" fmla="*/ 332 h 758"/>
                <a:gd name="T8" fmla="*/ 448 w 711"/>
                <a:gd name="T9" fmla="*/ 332 h 758"/>
                <a:gd name="T10" fmla="*/ 432 w 711"/>
                <a:gd name="T11" fmla="*/ 348 h 758"/>
                <a:gd name="T12" fmla="*/ 432 w 711"/>
                <a:gd name="T13" fmla="*/ 422 h 758"/>
                <a:gd name="T14" fmla="*/ 204 w 711"/>
                <a:gd name="T15" fmla="*/ 422 h 758"/>
                <a:gd name="T16" fmla="*/ 32 w 711"/>
                <a:gd name="T17" fmla="*/ 249 h 758"/>
                <a:gd name="T18" fmla="*/ 204 w 711"/>
                <a:gd name="T19" fmla="*/ 77 h 758"/>
                <a:gd name="T20" fmla="*/ 263 w 711"/>
                <a:gd name="T21" fmla="*/ 77 h 758"/>
                <a:gd name="T22" fmla="*/ 277 w 711"/>
                <a:gd name="T23" fmla="*/ 69 h 758"/>
                <a:gd name="T24" fmla="*/ 280 w 711"/>
                <a:gd name="T25" fmla="*/ 64 h 758"/>
                <a:gd name="T26" fmla="*/ 299 w 711"/>
                <a:gd name="T27" fmla="*/ 27 h 758"/>
                <a:gd name="T28" fmla="*/ 294 w 711"/>
                <a:gd name="T29" fmla="*/ 5 h 758"/>
                <a:gd name="T30" fmla="*/ 272 w 711"/>
                <a:gd name="T31" fmla="*/ 10 h 758"/>
                <a:gd name="T32" fmla="*/ 254 w 711"/>
                <a:gd name="T33" fmla="*/ 45 h 758"/>
                <a:gd name="T34" fmla="*/ 204 w 711"/>
                <a:gd name="T35" fmla="*/ 45 h 758"/>
                <a:gd name="T36" fmla="*/ 0 w 711"/>
                <a:gd name="T37" fmla="*/ 249 h 758"/>
                <a:gd name="T38" fmla="*/ 204 w 711"/>
                <a:gd name="T39" fmla="*/ 454 h 758"/>
                <a:gd name="T40" fmla="*/ 432 w 711"/>
                <a:gd name="T41" fmla="*/ 454 h 758"/>
                <a:gd name="T42" fmla="*/ 432 w 711"/>
                <a:gd name="T43" fmla="*/ 551 h 758"/>
                <a:gd name="T44" fmla="*/ 370 w 711"/>
                <a:gd name="T45" fmla="*/ 551 h 758"/>
                <a:gd name="T46" fmla="*/ 355 w 711"/>
                <a:gd name="T47" fmla="*/ 560 h 758"/>
                <a:gd name="T48" fmla="*/ 358 w 711"/>
                <a:gd name="T49" fmla="*/ 577 h 758"/>
                <a:gd name="T50" fmla="*/ 446 w 711"/>
                <a:gd name="T51" fmla="*/ 681 h 758"/>
                <a:gd name="T52" fmla="*/ 458 w 711"/>
                <a:gd name="T53" fmla="*/ 687 h 758"/>
                <a:gd name="T54" fmla="*/ 468 w 711"/>
                <a:gd name="T55" fmla="*/ 683 h 758"/>
                <a:gd name="T56" fmla="*/ 470 w 711"/>
                <a:gd name="T57" fmla="*/ 661 h 758"/>
                <a:gd name="T58" fmla="*/ 404 w 711"/>
                <a:gd name="T59" fmla="*/ 583 h 758"/>
                <a:gd name="T60" fmla="*/ 448 w 711"/>
                <a:gd name="T61" fmla="*/ 583 h 758"/>
                <a:gd name="T62" fmla="*/ 464 w 711"/>
                <a:gd name="T63" fmla="*/ 567 h 758"/>
                <a:gd name="T64" fmla="*/ 464 w 711"/>
                <a:gd name="T65" fmla="*/ 364 h 758"/>
                <a:gd name="T66" fmla="*/ 572 w 711"/>
                <a:gd name="T67" fmla="*/ 364 h 758"/>
                <a:gd name="T68" fmla="*/ 572 w 711"/>
                <a:gd name="T69" fmla="*/ 567 h 758"/>
                <a:gd name="T70" fmla="*/ 588 w 711"/>
                <a:gd name="T71" fmla="*/ 583 h 758"/>
                <a:gd name="T72" fmla="*/ 632 w 711"/>
                <a:gd name="T73" fmla="*/ 583 h 758"/>
                <a:gd name="T74" fmla="*/ 518 w 711"/>
                <a:gd name="T75" fmla="*/ 717 h 758"/>
                <a:gd name="T76" fmla="*/ 505 w 711"/>
                <a:gd name="T77" fmla="*/ 702 h 758"/>
                <a:gd name="T78" fmla="*/ 483 w 711"/>
                <a:gd name="T79" fmla="*/ 701 h 758"/>
                <a:gd name="T80" fmla="*/ 481 w 711"/>
                <a:gd name="T81" fmla="*/ 723 h 758"/>
                <a:gd name="T82" fmla="*/ 506 w 711"/>
                <a:gd name="T83" fmla="*/ 752 h 758"/>
                <a:gd name="T84" fmla="*/ 518 w 711"/>
                <a:gd name="T85" fmla="*/ 758 h 758"/>
                <a:gd name="T86" fmla="*/ 530 w 711"/>
                <a:gd name="T87" fmla="*/ 752 h 758"/>
                <a:gd name="T88" fmla="*/ 678 w 711"/>
                <a:gd name="T89" fmla="*/ 577 h 758"/>
                <a:gd name="T90" fmla="*/ 681 w 711"/>
                <a:gd name="T91" fmla="*/ 560 h 758"/>
                <a:gd name="T92" fmla="*/ 666 w 711"/>
                <a:gd name="T93" fmla="*/ 551 h 758"/>
                <a:gd name="T94" fmla="*/ 604 w 711"/>
                <a:gd name="T95" fmla="*/ 551 h 758"/>
                <a:gd name="T96" fmla="*/ 604 w 711"/>
                <a:gd name="T97" fmla="*/ 454 h 758"/>
                <a:gd name="T98" fmla="*/ 695 w 711"/>
                <a:gd name="T99" fmla="*/ 454 h 758"/>
                <a:gd name="T100" fmla="*/ 711 w 711"/>
                <a:gd name="T101" fmla="*/ 438 h 758"/>
                <a:gd name="T102" fmla="*/ 695 w 711"/>
                <a:gd name="T103" fmla="*/ 422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11" h="758">
                  <a:moveTo>
                    <a:pt x="695" y="422"/>
                  </a:moveTo>
                  <a:cubicBezTo>
                    <a:pt x="604" y="422"/>
                    <a:pt x="604" y="422"/>
                    <a:pt x="604" y="422"/>
                  </a:cubicBezTo>
                  <a:cubicBezTo>
                    <a:pt x="604" y="348"/>
                    <a:pt x="604" y="348"/>
                    <a:pt x="604" y="348"/>
                  </a:cubicBezTo>
                  <a:cubicBezTo>
                    <a:pt x="604" y="339"/>
                    <a:pt x="597" y="332"/>
                    <a:pt x="588" y="332"/>
                  </a:cubicBezTo>
                  <a:cubicBezTo>
                    <a:pt x="448" y="332"/>
                    <a:pt x="448" y="332"/>
                    <a:pt x="448" y="332"/>
                  </a:cubicBezTo>
                  <a:cubicBezTo>
                    <a:pt x="439" y="332"/>
                    <a:pt x="432" y="339"/>
                    <a:pt x="432" y="348"/>
                  </a:cubicBezTo>
                  <a:cubicBezTo>
                    <a:pt x="432" y="422"/>
                    <a:pt x="432" y="422"/>
                    <a:pt x="432" y="422"/>
                  </a:cubicBezTo>
                  <a:cubicBezTo>
                    <a:pt x="204" y="422"/>
                    <a:pt x="204" y="422"/>
                    <a:pt x="204" y="422"/>
                  </a:cubicBezTo>
                  <a:cubicBezTo>
                    <a:pt x="109" y="422"/>
                    <a:pt x="32" y="344"/>
                    <a:pt x="32" y="249"/>
                  </a:cubicBezTo>
                  <a:cubicBezTo>
                    <a:pt x="32" y="154"/>
                    <a:pt x="109" y="77"/>
                    <a:pt x="204" y="77"/>
                  </a:cubicBezTo>
                  <a:cubicBezTo>
                    <a:pt x="263" y="77"/>
                    <a:pt x="263" y="77"/>
                    <a:pt x="263" y="77"/>
                  </a:cubicBezTo>
                  <a:cubicBezTo>
                    <a:pt x="269" y="77"/>
                    <a:pt x="274" y="74"/>
                    <a:pt x="277" y="69"/>
                  </a:cubicBezTo>
                  <a:cubicBezTo>
                    <a:pt x="278" y="68"/>
                    <a:pt x="279" y="66"/>
                    <a:pt x="280" y="64"/>
                  </a:cubicBezTo>
                  <a:cubicBezTo>
                    <a:pt x="285" y="51"/>
                    <a:pt x="292" y="39"/>
                    <a:pt x="299" y="27"/>
                  </a:cubicBezTo>
                  <a:cubicBezTo>
                    <a:pt x="304" y="19"/>
                    <a:pt x="302" y="9"/>
                    <a:pt x="294" y="5"/>
                  </a:cubicBezTo>
                  <a:cubicBezTo>
                    <a:pt x="287" y="0"/>
                    <a:pt x="277" y="2"/>
                    <a:pt x="272" y="10"/>
                  </a:cubicBezTo>
                  <a:cubicBezTo>
                    <a:pt x="265" y="21"/>
                    <a:pt x="259" y="33"/>
                    <a:pt x="254" y="45"/>
                  </a:cubicBezTo>
                  <a:cubicBezTo>
                    <a:pt x="204" y="45"/>
                    <a:pt x="204" y="45"/>
                    <a:pt x="204" y="45"/>
                  </a:cubicBezTo>
                  <a:cubicBezTo>
                    <a:pt x="91" y="45"/>
                    <a:pt x="0" y="137"/>
                    <a:pt x="0" y="249"/>
                  </a:cubicBezTo>
                  <a:cubicBezTo>
                    <a:pt x="0" y="362"/>
                    <a:pt x="91" y="454"/>
                    <a:pt x="204" y="454"/>
                  </a:cubicBezTo>
                  <a:cubicBezTo>
                    <a:pt x="432" y="454"/>
                    <a:pt x="432" y="454"/>
                    <a:pt x="432" y="454"/>
                  </a:cubicBezTo>
                  <a:cubicBezTo>
                    <a:pt x="432" y="551"/>
                    <a:pt x="432" y="551"/>
                    <a:pt x="432" y="551"/>
                  </a:cubicBezTo>
                  <a:cubicBezTo>
                    <a:pt x="370" y="551"/>
                    <a:pt x="370" y="551"/>
                    <a:pt x="370" y="551"/>
                  </a:cubicBezTo>
                  <a:cubicBezTo>
                    <a:pt x="364" y="551"/>
                    <a:pt x="358" y="555"/>
                    <a:pt x="355" y="560"/>
                  </a:cubicBezTo>
                  <a:cubicBezTo>
                    <a:pt x="353" y="566"/>
                    <a:pt x="354" y="573"/>
                    <a:pt x="358" y="577"/>
                  </a:cubicBezTo>
                  <a:cubicBezTo>
                    <a:pt x="446" y="681"/>
                    <a:pt x="446" y="681"/>
                    <a:pt x="446" y="681"/>
                  </a:cubicBezTo>
                  <a:cubicBezTo>
                    <a:pt x="449" y="685"/>
                    <a:pt x="454" y="687"/>
                    <a:pt x="458" y="687"/>
                  </a:cubicBezTo>
                  <a:cubicBezTo>
                    <a:pt x="462" y="687"/>
                    <a:pt x="465" y="686"/>
                    <a:pt x="468" y="683"/>
                  </a:cubicBezTo>
                  <a:cubicBezTo>
                    <a:pt x="475" y="678"/>
                    <a:pt x="476" y="668"/>
                    <a:pt x="470" y="661"/>
                  </a:cubicBezTo>
                  <a:cubicBezTo>
                    <a:pt x="404" y="583"/>
                    <a:pt x="404" y="583"/>
                    <a:pt x="404" y="583"/>
                  </a:cubicBezTo>
                  <a:cubicBezTo>
                    <a:pt x="448" y="583"/>
                    <a:pt x="448" y="583"/>
                    <a:pt x="448" y="583"/>
                  </a:cubicBezTo>
                  <a:cubicBezTo>
                    <a:pt x="457" y="583"/>
                    <a:pt x="464" y="576"/>
                    <a:pt x="464" y="567"/>
                  </a:cubicBezTo>
                  <a:cubicBezTo>
                    <a:pt x="464" y="364"/>
                    <a:pt x="464" y="364"/>
                    <a:pt x="464" y="364"/>
                  </a:cubicBezTo>
                  <a:cubicBezTo>
                    <a:pt x="572" y="364"/>
                    <a:pt x="572" y="364"/>
                    <a:pt x="572" y="364"/>
                  </a:cubicBezTo>
                  <a:cubicBezTo>
                    <a:pt x="572" y="567"/>
                    <a:pt x="572" y="567"/>
                    <a:pt x="572" y="567"/>
                  </a:cubicBezTo>
                  <a:cubicBezTo>
                    <a:pt x="572" y="576"/>
                    <a:pt x="579" y="583"/>
                    <a:pt x="588" y="583"/>
                  </a:cubicBezTo>
                  <a:cubicBezTo>
                    <a:pt x="632" y="583"/>
                    <a:pt x="632" y="583"/>
                    <a:pt x="632" y="583"/>
                  </a:cubicBezTo>
                  <a:cubicBezTo>
                    <a:pt x="518" y="717"/>
                    <a:pt x="518" y="717"/>
                    <a:pt x="518" y="717"/>
                  </a:cubicBezTo>
                  <a:cubicBezTo>
                    <a:pt x="505" y="702"/>
                    <a:pt x="505" y="702"/>
                    <a:pt x="505" y="702"/>
                  </a:cubicBezTo>
                  <a:cubicBezTo>
                    <a:pt x="500" y="696"/>
                    <a:pt x="490" y="695"/>
                    <a:pt x="483" y="701"/>
                  </a:cubicBezTo>
                  <a:cubicBezTo>
                    <a:pt x="476" y="706"/>
                    <a:pt x="475" y="716"/>
                    <a:pt x="481" y="723"/>
                  </a:cubicBezTo>
                  <a:cubicBezTo>
                    <a:pt x="506" y="752"/>
                    <a:pt x="506" y="752"/>
                    <a:pt x="506" y="752"/>
                  </a:cubicBezTo>
                  <a:cubicBezTo>
                    <a:pt x="509" y="756"/>
                    <a:pt x="513" y="758"/>
                    <a:pt x="518" y="758"/>
                  </a:cubicBezTo>
                  <a:cubicBezTo>
                    <a:pt x="523" y="758"/>
                    <a:pt x="527" y="756"/>
                    <a:pt x="530" y="752"/>
                  </a:cubicBezTo>
                  <a:cubicBezTo>
                    <a:pt x="678" y="577"/>
                    <a:pt x="678" y="577"/>
                    <a:pt x="678" y="577"/>
                  </a:cubicBezTo>
                  <a:cubicBezTo>
                    <a:pt x="682" y="573"/>
                    <a:pt x="683" y="566"/>
                    <a:pt x="681" y="560"/>
                  </a:cubicBezTo>
                  <a:cubicBezTo>
                    <a:pt x="678" y="555"/>
                    <a:pt x="672" y="551"/>
                    <a:pt x="666" y="551"/>
                  </a:cubicBezTo>
                  <a:cubicBezTo>
                    <a:pt x="604" y="551"/>
                    <a:pt x="604" y="551"/>
                    <a:pt x="604" y="551"/>
                  </a:cubicBezTo>
                  <a:cubicBezTo>
                    <a:pt x="604" y="454"/>
                    <a:pt x="604" y="454"/>
                    <a:pt x="604" y="454"/>
                  </a:cubicBezTo>
                  <a:cubicBezTo>
                    <a:pt x="695" y="454"/>
                    <a:pt x="695" y="454"/>
                    <a:pt x="695" y="454"/>
                  </a:cubicBezTo>
                  <a:cubicBezTo>
                    <a:pt x="704" y="454"/>
                    <a:pt x="711" y="447"/>
                    <a:pt x="711" y="438"/>
                  </a:cubicBezTo>
                  <a:cubicBezTo>
                    <a:pt x="711" y="429"/>
                    <a:pt x="704" y="422"/>
                    <a:pt x="695"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105" name="Freeform 251">
            <a:extLst>
              <a:ext uri="{FF2B5EF4-FFF2-40B4-BE49-F238E27FC236}">
                <a16:creationId xmlns:a16="http://schemas.microsoft.com/office/drawing/2014/main" id="{8F13C0D5-6C82-4B13-A7C0-782D3231271F}"/>
              </a:ext>
            </a:extLst>
          </p:cNvPr>
          <p:cNvSpPr>
            <a:spLocks noChangeAspect="1" noEditPoints="1"/>
          </p:cNvSpPr>
          <p:nvPr/>
        </p:nvSpPr>
        <p:spPr bwMode="auto">
          <a:xfrm>
            <a:off x="284400" y="4879041"/>
            <a:ext cx="285620" cy="285619"/>
          </a:xfrm>
          <a:custGeom>
            <a:avLst/>
            <a:gdLst>
              <a:gd name="T0" fmla="*/ 233 w 903"/>
              <a:gd name="T1" fmla="*/ 812 h 903"/>
              <a:gd name="T2" fmla="*/ 72 w 903"/>
              <a:gd name="T3" fmla="*/ 634 h 903"/>
              <a:gd name="T4" fmla="*/ 34 w 903"/>
              <a:gd name="T5" fmla="*/ 387 h 903"/>
              <a:gd name="T6" fmla="*/ 139 w 903"/>
              <a:gd name="T7" fmla="*/ 168 h 903"/>
              <a:gd name="T8" fmla="*/ 346 w 903"/>
              <a:gd name="T9" fmla="*/ 43 h 903"/>
              <a:gd name="T10" fmla="*/ 454 w 903"/>
              <a:gd name="T11" fmla="*/ 60 h 903"/>
              <a:gd name="T12" fmla="*/ 404 w 903"/>
              <a:gd name="T13" fmla="*/ 154 h 903"/>
              <a:gd name="T14" fmla="*/ 485 w 903"/>
              <a:gd name="T15" fmla="*/ 184 h 903"/>
              <a:gd name="T16" fmla="*/ 436 w 903"/>
              <a:gd name="T17" fmla="*/ 279 h 903"/>
              <a:gd name="T18" fmla="*/ 351 w 903"/>
              <a:gd name="T19" fmla="*/ 250 h 903"/>
              <a:gd name="T20" fmla="*/ 217 w 903"/>
              <a:gd name="T21" fmla="*/ 264 h 903"/>
              <a:gd name="T22" fmla="*/ 152 w 903"/>
              <a:gd name="T23" fmla="*/ 405 h 903"/>
              <a:gd name="T24" fmla="*/ 195 w 903"/>
              <a:gd name="T25" fmla="*/ 499 h 903"/>
              <a:gd name="T26" fmla="*/ 316 w 903"/>
              <a:gd name="T27" fmla="*/ 516 h 903"/>
              <a:gd name="T28" fmla="*/ 359 w 903"/>
              <a:gd name="T29" fmla="*/ 600 h 903"/>
              <a:gd name="T30" fmla="*/ 355 w 903"/>
              <a:gd name="T31" fmla="*/ 705 h 903"/>
              <a:gd name="T32" fmla="*/ 454 w 903"/>
              <a:gd name="T33" fmla="*/ 766 h 903"/>
              <a:gd name="T34" fmla="*/ 540 w 903"/>
              <a:gd name="T35" fmla="*/ 682 h 903"/>
              <a:gd name="T36" fmla="*/ 604 w 903"/>
              <a:gd name="T37" fmla="*/ 590 h 903"/>
              <a:gd name="T38" fmla="*/ 651 w 903"/>
              <a:gd name="T39" fmla="*/ 485 h 903"/>
              <a:gd name="T40" fmla="*/ 639 w 903"/>
              <a:gd name="T41" fmla="*/ 398 h 903"/>
              <a:gd name="T42" fmla="*/ 570 w 903"/>
              <a:gd name="T43" fmla="*/ 339 h 903"/>
              <a:gd name="T44" fmla="*/ 681 w 903"/>
              <a:gd name="T45" fmla="*/ 314 h 903"/>
              <a:gd name="T46" fmla="*/ 775 w 903"/>
              <a:gd name="T47" fmla="*/ 204 h 903"/>
              <a:gd name="T48" fmla="*/ 863 w 903"/>
              <a:gd name="T49" fmla="*/ 361 h 903"/>
              <a:gd name="T50" fmla="*/ 847 w 903"/>
              <a:gd name="T51" fmla="*/ 596 h 903"/>
              <a:gd name="T52" fmla="*/ 703 w 903"/>
              <a:gd name="T53" fmla="*/ 789 h 903"/>
              <a:gd name="T54" fmla="*/ 473 w 903"/>
              <a:gd name="T55" fmla="*/ 872 h 903"/>
              <a:gd name="T56" fmla="*/ 696 w 903"/>
              <a:gd name="T57" fmla="*/ 270 h 903"/>
              <a:gd name="T58" fmla="*/ 552 w 903"/>
              <a:gd name="T59" fmla="*/ 308 h 903"/>
              <a:gd name="T60" fmla="*/ 549 w 903"/>
              <a:gd name="T61" fmla="*/ 360 h 903"/>
              <a:gd name="T62" fmla="*/ 622 w 903"/>
              <a:gd name="T63" fmla="*/ 435 h 903"/>
              <a:gd name="T64" fmla="*/ 580 w 903"/>
              <a:gd name="T65" fmla="*/ 521 h 903"/>
              <a:gd name="T66" fmla="*/ 568 w 903"/>
              <a:gd name="T67" fmla="*/ 595 h 903"/>
              <a:gd name="T68" fmla="*/ 515 w 903"/>
              <a:gd name="T69" fmla="*/ 651 h 903"/>
              <a:gd name="T70" fmla="*/ 474 w 903"/>
              <a:gd name="T71" fmla="*/ 728 h 903"/>
              <a:gd name="T72" fmla="*/ 376 w 903"/>
              <a:gd name="T73" fmla="*/ 678 h 903"/>
              <a:gd name="T74" fmla="*/ 386 w 903"/>
              <a:gd name="T75" fmla="*/ 587 h 903"/>
              <a:gd name="T76" fmla="*/ 333 w 903"/>
              <a:gd name="T77" fmla="*/ 489 h 903"/>
              <a:gd name="T78" fmla="*/ 199 w 903"/>
              <a:gd name="T79" fmla="*/ 464 h 903"/>
              <a:gd name="T80" fmla="*/ 192 w 903"/>
              <a:gd name="T81" fmla="*/ 351 h 903"/>
              <a:gd name="T82" fmla="*/ 301 w 903"/>
              <a:gd name="T83" fmla="*/ 271 h 903"/>
              <a:gd name="T84" fmla="*/ 358 w 903"/>
              <a:gd name="T85" fmla="*/ 301 h 903"/>
              <a:gd name="T86" fmla="*/ 490 w 903"/>
              <a:gd name="T87" fmla="*/ 297 h 903"/>
              <a:gd name="T88" fmla="*/ 523 w 903"/>
              <a:gd name="T89" fmla="*/ 176 h 903"/>
              <a:gd name="T90" fmla="*/ 461 w 903"/>
              <a:gd name="T91" fmla="*/ 160 h 903"/>
              <a:gd name="T92" fmla="*/ 431 w 903"/>
              <a:gd name="T93" fmla="*/ 116 h 903"/>
              <a:gd name="T94" fmla="*/ 628 w 903"/>
              <a:gd name="T95" fmla="*/ 68 h 903"/>
              <a:gd name="T96" fmla="*/ 742 w 903"/>
              <a:gd name="T97" fmla="*/ 106 h 903"/>
              <a:gd name="T98" fmla="*/ 518 w 903"/>
              <a:gd name="T99" fmla="*/ 4 h 903"/>
              <a:gd name="T100" fmla="*/ 275 w 903"/>
              <a:gd name="T101" fmla="*/ 35 h 903"/>
              <a:gd name="T102" fmla="*/ 77 w 903"/>
              <a:gd name="T103" fmla="*/ 198 h 903"/>
              <a:gd name="T104" fmla="*/ 0 w 903"/>
              <a:gd name="T105" fmla="*/ 451 h 903"/>
              <a:gd name="T106" fmla="*/ 77 w 903"/>
              <a:gd name="T107" fmla="*/ 704 h 903"/>
              <a:gd name="T108" fmla="*/ 275 w 903"/>
              <a:gd name="T109" fmla="*/ 868 h 903"/>
              <a:gd name="T110" fmla="*/ 541 w 903"/>
              <a:gd name="T111" fmla="*/ 894 h 903"/>
              <a:gd name="T112" fmla="*/ 770 w 903"/>
              <a:gd name="T113" fmla="*/ 770 h 903"/>
              <a:gd name="T114" fmla="*/ 893 w 903"/>
              <a:gd name="T115" fmla="*/ 542 h 903"/>
              <a:gd name="T116" fmla="*/ 872 w 903"/>
              <a:gd name="T117" fmla="*/ 28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903">
                <a:moveTo>
                  <a:pt x="451" y="873"/>
                </a:moveTo>
                <a:lnTo>
                  <a:pt x="430" y="872"/>
                </a:lnTo>
                <a:lnTo>
                  <a:pt x="408" y="871"/>
                </a:lnTo>
                <a:lnTo>
                  <a:pt x="387" y="868"/>
                </a:lnTo>
                <a:lnTo>
                  <a:pt x="367" y="865"/>
                </a:lnTo>
                <a:lnTo>
                  <a:pt x="346" y="859"/>
                </a:lnTo>
                <a:lnTo>
                  <a:pt x="326" y="854"/>
                </a:lnTo>
                <a:lnTo>
                  <a:pt x="307" y="847"/>
                </a:lnTo>
                <a:lnTo>
                  <a:pt x="287" y="840"/>
                </a:lnTo>
                <a:lnTo>
                  <a:pt x="269" y="831"/>
                </a:lnTo>
                <a:lnTo>
                  <a:pt x="251" y="822"/>
                </a:lnTo>
                <a:lnTo>
                  <a:pt x="233" y="812"/>
                </a:lnTo>
                <a:lnTo>
                  <a:pt x="215" y="801"/>
                </a:lnTo>
                <a:lnTo>
                  <a:pt x="199" y="789"/>
                </a:lnTo>
                <a:lnTo>
                  <a:pt x="183" y="777"/>
                </a:lnTo>
                <a:lnTo>
                  <a:pt x="168" y="764"/>
                </a:lnTo>
                <a:lnTo>
                  <a:pt x="153" y="750"/>
                </a:lnTo>
                <a:lnTo>
                  <a:pt x="139" y="735"/>
                </a:lnTo>
                <a:lnTo>
                  <a:pt x="126" y="720"/>
                </a:lnTo>
                <a:lnTo>
                  <a:pt x="114" y="704"/>
                </a:lnTo>
                <a:lnTo>
                  <a:pt x="102" y="686"/>
                </a:lnTo>
                <a:lnTo>
                  <a:pt x="91" y="669"/>
                </a:lnTo>
                <a:lnTo>
                  <a:pt x="80" y="652"/>
                </a:lnTo>
                <a:lnTo>
                  <a:pt x="72" y="634"/>
                </a:lnTo>
                <a:lnTo>
                  <a:pt x="63" y="616"/>
                </a:lnTo>
                <a:lnTo>
                  <a:pt x="56" y="596"/>
                </a:lnTo>
                <a:lnTo>
                  <a:pt x="48" y="576"/>
                </a:lnTo>
                <a:lnTo>
                  <a:pt x="43" y="557"/>
                </a:lnTo>
                <a:lnTo>
                  <a:pt x="38" y="536"/>
                </a:lnTo>
                <a:lnTo>
                  <a:pt x="34" y="516"/>
                </a:lnTo>
                <a:lnTo>
                  <a:pt x="32" y="494"/>
                </a:lnTo>
                <a:lnTo>
                  <a:pt x="30" y="473"/>
                </a:lnTo>
                <a:lnTo>
                  <a:pt x="30" y="451"/>
                </a:lnTo>
                <a:lnTo>
                  <a:pt x="30" y="430"/>
                </a:lnTo>
                <a:lnTo>
                  <a:pt x="32" y="409"/>
                </a:lnTo>
                <a:lnTo>
                  <a:pt x="34" y="387"/>
                </a:lnTo>
                <a:lnTo>
                  <a:pt x="38" y="367"/>
                </a:lnTo>
                <a:lnTo>
                  <a:pt x="43" y="346"/>
                </a:lnTo>
                <a:lnTo>
                  <a:pt x="48" y="326"/>
                </a:lnTo>
                <a:lnTo>
                  <a:pt x="56" y="307"/>
                </a:lnTo>
                <a:lnTo>
                  <a:pt x="63" y="287"/>
                </a:lnTo>
                <a:lnTo>
                  <a:pt x="72" y="269"/>
                </a:lnTo>
                <a:lnTo>
                  <a:pt x="80" y="251"/>
                </a:lnTo>
                <a:lnTo>
                  <a:pt x="91" y="233"/>
                </a:lnTo>
                <a:lnTo>
                  <a:pt x="102" y="215"/>
                </a:lnTo>
                <a:lnTo>
                  <a:pt x="114" y="199"/>
                </a:lnTo>
                <a:lnTo>
                  <a:pt x="126" y="183"/>
                </a:lnTo>
                <a:lnTo>
                  <a:pt x="139" y="168"/>
                </a:lnTo>
                <a:lnTo>
                  <a:pt x="153" y="153"/>
                </a:lnTo>
                <a:lnTo>
                  <a:pt x="168" y="139"/>
                </a:lnTo>
                <a:lnTo>
                  <a:pt x="183" y="126"/>
                </a:lnTo>
                <a:lnTo>
                  <a:pt x="199" y="114"/>
                </a:lnTo>
                <a:lnTo>
                  <a:pt x="215" y="102"/>
                </a:lnTo>
                <a:lnTo>
                  <a:pt x="233" y="91"/>
                </a:lnTo>
                <a:lnTo>
                  <a:pt x="251" y="80"/>
                </a:lnTo>
                <a:lnTo>
                  <a:pt x="269" y="72"/>
                </a:lnTo>
                <a:lnTo>
                  <a:pt x="287" y="63"/>
                </a:lnTo>
                <a:lnTo>
                  <a:pt x="307" y="56"/>
                </a:lnTo>
                <a:lnTo>
                  <a:pt x="326" y="48"/>
                </a:lnTo>
                <a:lnTo>
                  <a:pt x="346" y="43"/>
                </a:lnTo>
                <a:lnTo>
                  <a:pt x="367" y="38"/>
                </a:lnTo>
                <a:lnTo>
                  <a:pt x="387" y="34"/>
                </a:lnTo>
                <a:lnTo>
                  <a:pt x="408" y="32"/>
                </a:lnTo>
                <a:lnTo>
                  <a:pt x="430" y="30"/>
                </a:lnTo>
                <a:lnTo>
                  <a:pt x="451" y="30"/>
                </a:lnTo>
                <a:lnTo>
                  <a:pt x="467" y="30"/>
                </a:lnTo>
                <a:lnTo>
                  <a:pt x="484" y="31"/>
                </a:lnTo>
                <a:lnTo>
                  <a:pt x="500" y="32"/>
                </a:lnTo>
                <a:lnTo>
                  <a:pt x="516" y="34"/>
                </a:lnTo>
                <a:lnTo>
                  <a:pt x="495" y="42"/>
                </a:lnTo>
                <a:lnTo>
                  <a:pt x="474" y="50"/>
                </a:lnTo>
                <a:lnTo>
                  <a:pt x="454" y="60"/>
                </a:lnTo>
                <a:lnTo>
                  <a:pt x="435" y="72"/>
                </a:lnTo>
                <a:lnTo>
                  <a:pt x="427" y="77"/>
                </a:lnTo>
                <a:lnTo>
                  <a:pt x="419" y="83"/>
                </a:lnTo>
                <a:lnTo>
                  <a:pt x="413" y="91"/>
                </a:lnTo>
                <a:lnTo>
                  <a:pt x="407" y="97"/>
                </a:lnTo>
                <a:lnTo>
                  <a:pt x="403" y="105"/>
                </a:lnTo>
                <a:lnTo>
                  <a:pt x="400" y="114"/>
                </a:lnTo>
                <a:lnTo>
                  <a:pt x="398" y="121"/>
                </a:lnTo>
                <a:lnTo>
                  <a:pt x="398" y="130"/>
                </a:lnTo>
                <a:lnTo>
                  <a:pt x="400" y="138"/>
                </a:lnTo>
                <a:lnTo>
                  <a:pt x="401" y="147"/>
                </a:lnTo>
                <a:lnTo>
                  <a:pt x="404" y="154"/>
                </a:lnTo>
                <a:lnTo>
                  <a:pt x="407" y="162"/>
                </a:lnTo>
                <a:lnTo>
                  <a:pt x="412" y="168"/>
                </a:lnTo>
                <a:lnTo>
                  <a:pt x="417" y="174"/>
                </a:lnTo>
                <a:lnTo>
                  <a:pt x="422" y="178"/>
                </a:lnTo>
                <a:lnTo>
                  <a:pt x="429" y="182"/>
                </a:lnTo>
                <a:lnTo>
                  <a:pt x="435" y="185"/>
                </a:lnTo>
                <a:lnTo>
                  <a:pt x="443" y="188"/>
                </a:lnTo>
                <a:lnTo>
                  <a:pt x="451" y="189"/>
                </a:lnTo>
                <a:lnTo>
                  <a:pt x="459" y="190"/>
                </a:lnTo>
                <a:lnTo>
                  <a:pt x="467" y="189"/>
                </a:lnTo>
                <a:lnTo>
                  <a:pt x="476" y="188"/>
                </a:lnTo>
                <a:lnTo>
                  <a:pt x="485" y="184"/>
                </a:lnTo>
                <a:lnTo>
                  <a:pt x="494" y="181"/>
                </a:lnTo>
                <a:lnTo>
                  <a:pt x="495" y="186"/>
                </a:lnTo>
                <a:lnTo>
                  <a:pt x="496" y="194"/>
                </a:lnTo>
                <a:lnTo>
                  <a:pt x="498" y="203"/>
                </a:lnTo>
                <a:lnTo>
                  <a:pt x="498" y="213"/>
                </a:lnTo>
                <a:lnTo>
                  <a:pt x="498" y="239"/>
                </a:lnTo>
                <a:lnTo>
                  <a:pt x="494" y="266"/>
                </a:lnTo>
                <a:lnTo>
                  <a:pt x="487" y="268"/>
                </a:lnTo>
                <a:lnTo>
                  <a:pt x="479" y="269"/>
                </a:lnTo>
                <a:lnTo>
                  <a:pt x="471" y="271"/>
                </a:lnTo>
                <a:lnTo>
                  <a:pt x="462" y="273"/>
                </a:lnTo>
                <a:lnTo>
                  <a:pt x="436" y="279"/>
                </a:lnTo>
                <a:lnTo>
                  <a:pt x="412" y="282"/>
                </a:lnTo>
                <a:lnTo>
                  <a:pt x="400" y="282"/>
                </a:lnTo>
                <a:lnTo>
                  <a:pt x="388" y="281"/>
                </a:lnTo>
                <a:lnTo>
                  <a:pt x="384" y="280"/>
                </a:lnTo>
                <a:lnTo>
                  <a:pt x="378" y="278"/>
                </a:lnTo>
                <a:lnTo>
                  <a:pt x="374" y="276"/>
                </a:lnTo>
                <a:lnTo>
                  <a:pt x="370" y="272"/>
                </a:lnTo>
                <a:lnTo>
                  <a:pt x="369" y="268"/>
                </a:lnTo>
                <a:lnTo>
                  <a:pt x="366" y="264"/>
                </a:lnTo>
                <a:lnTo>
                  <a:pt x="362" y="259"/>
                </a:lnTo>
                <a:lnTo>
                  <a:pt x="358" y="255"/>
                </a:lnTo>
                <a:lnTo>
                  <a:pt x="351" y="250"/>
                </a:lnTo>
                <a:lnTo>
                  <a:pt x="341" y="245"/>
                </a:lnTo>
                <a:lnTo>
                  <a:pt x="331" y="243"/>
                </a:lnTo>
                <a:lnTo>
                  <a:pt x="319" y="241"/>
                </a:lnTo>
                <a:lnTo>
                  <a:pt x="306" y="241"/>
                </a:lnTo>
                <a:lnTo>
                  <a:pt x="292" y="241"/>
                </a:lnTo>
                <a:lnTo>
                  <a:pt x="275" y="243"/>
                </a:lnTo>
                <a:lnTo>
                  <a:pt x="258" y="247"/>
                </a:lnTo>
                <a:lnTo>
                  <a:pt x="249" y="249"/>
                </a:lnTo>
                <a:lnTo>
                  <a:pt x="240" y="252"/>
                </a:lnTo>
                <a:lnTo>
                  <a:pt x="232" y="255"/>
                </a:lnTo>
                <a:lnTo>
                  <a:pt x="223" y="259"/>
                </a:lnTo>
                <a:lnTo>
                  <a:pt x="217" y="264"/>
                </a:lnTo>
                <a:lnTo>
                  <a:pt x="209" y="269"/>
                </a:lnTo>
                <a:lnTo>
                  <a:pt x="203" y="274"/>
                </a:lnTo>
                <a:lnTo>
                  <a:pt x="197" y="281"/>
                </a:lnTo>
                <a:lnTo>
                  <a:pt x="186" y="294"/>
                </a:lnTo>
                <a:lnTo>
                  <a:pt x="178" y="307"/>
                </a:lnTo>
                <a:lnTo>
                  <a:pt x="171" y="322"/>
                </a:lnTo>
                <a:lnTo>
                  <a:pt x="165" y="336"/>
                </a:lnTo>
                <a:lnTo>
                  <a:pt x="161" y="350"/>
                </a:lnTo>
                <a:lnTo>
                  <a:pt x="158" y="364"/>
                </a:lnTo>
                <a:lnTo>
                  <a:pt x="155" y="376"/>
                </a:lnTo>
                <a:lnTo>
                  <a:pt x="153" y="388"/>
                </a:lnTo>
                <a:lnTo>
                  <a:pt x="152" y="405"/>
                </a:lnTo>
                <a:lnTo>
                  <a:pt x="151" y="413"/>
                </a:lnTo>
                <a:lnTo>
                  <a:pt x="152" y="426"/>
                </a:lnTo>
                <a:lnTo>
                  <a:pt x="154" y="441"/>
                </a:lnTo>
                <a:lnTo>
                  <a:pt x="156" y="448"/>
                </a:lnTo>
                <a:lnTo>
                  <a:pt x="160" y="456"/>
                </a:lnTo>
                <a:lnTo>
                  <a:pt x="162" y="463"/>
                </a:lnTo>
                <a:lnTo>
                  <a:pt x="166" y="471"/>
                </a:lnTo>
                <a:lnTo>
                  <a:pt x="170" y="477"/>
                </a:lnTo>
                <a:lnTo>
                  <a:pt x="176" y="484"/>
                </a:lnTo>
                <a:lnTo>
                  <a:pt x="181" y="489"/>
                </a:lnTo>
                <a:lnTo>
                  <a:pt x="189" y="494"/>
                </a:lnTo>
                <a:lnTo>
                  <a:pt x="195" y="499"/>
                </a:lnTo>
                <a:lnTo>
                  <a:pt x="204" y="502"/>
                </a:lnTo>
                <a:lnTo>
                  <a:pt x="213" y="504"/>
                </a:lnTo>
                <a:lnTo>
                  <a:pt x="223" y="504"/>
                </a:lnTo>
                <a:lnTo>
                  <a:pt x="238" y="504"/>
                </a:lnTo>
                <a:lnTo>
                  <a:pt x="253" y="503"/>
                </a:lnTo>
                <a:lnTo>
                  <a:pt x="271" y="502"/>
                </a:lnTo>
                <a:lnTo>
                  <a:pt x="288" y="503"/>
                </a:lnTo>
                <a:lnTo>
                  <a:pt x="296" y="503"/>
                </a:lnTo>
                <a:lnTo>
                  <a:pt x="302" y="505"/>
                </a:lnTo>
                <a:lnTo>
                  <a:pt x="308" y="507"/>
                </a:lnTo>
                <a:lnTo>
                  <a:pt x="312" y="511"/>
                </a:lnTo>
                <a:lnTo>
                  <a:pt x="316" y="516"/>
                </a:lnTo>
                <a:lnTo>
                  <a:pt x="319" y="524"/>
                </a:lnTo>
                <a:lnTo>
                  <a:pt x="322" y="534"/>
                </a:lnTo>
                <a:lnTo>
                  <a:pt x="322" y="546"/>
                </a:lnTo>
                <a:lnTo>
                  <a:pt x="323" y="549"/>
                </a:lnTo>
                <a:lnTo>
                  <a:pt x="324" y="552"/>
                </a:lnTo>
                <a:lnTo>
                  <a:pt x="325" y="554"/>
                </a:lnTo>
                <a:lnTo>
                  <a:pt x="327" y="557"/>
                </a:lnTo>
                <a:lnTo>
                  <a:pt x="339" y="571"/>
                </a:lnTo>
                <a:lnTo>
                  <a:pt x="350" y="583"/>
                </a:lnTo>
                <a:lnTo>
                  <a:pt x="354" y="590"/>
                </a:lnTo>
                <a:lnTo>
                  <a:pt x="357" y="595"/>
                </a:lnTo>
                <a:lnTo>
                  <a:pt x="359" y="600"/>
                </a:lnTo>
                <a:lnTo>
                  <a:pt x="360" y="603"/>
                </a:lnTo>
                <a:lnTo>
                  <a:pt x="359" y="608"/>
                </a:lnTo>
                <a:lnTo>
                  <a:pt x="358" y="614"/>
                </a:lnTo>
                <a:lnTo>
                  <a:pt x="355" y="619"/>
                </a:lnTo>
                <a:lnTo>
                  <a:pt x="353" y="625"/>
                </a:lnTo>
                <a:lnTo>
                  <a:pt x="348" y="633"/>
                </a:lnTo>
                <a:lnTo>
                  <a:pt x="345" y="641"/>
                </a:lnTo>
                <a:lnTo>
                  <a:pt x="342" y="650"/>
                </a:lnTo>
                <a:lnTo>
                  <a:pt x="341" y="660"/>
                </a:lnTo>
                <a:lnTo>
                  <a:pt x="343" y="671"/>
                </a:lnTo>
                <a:lnTo>
                  <a:pt x="347" y="686"/>
                </a:lnTo>
                <a:lnTo>
                  <a:pt x="355" y="705"/>
                </a:lnTo>
                <a:lnTo>
                  <a:pt x="365" y="723"/>
                </a:lnTo>
                <a:lnTo>
                  <a:pt x="370" y="733"/>
                </a:lnTo>
                <a:lnTo>
                  <a:pt x="376" y="741"/>
                </a:lnTo>
                <a:lnTo>
                  <a:pt x="382" y="749"/>
                </a:lnTo>
                <a:lnTo>
                  <a:pt x="388" y="756"/>
                </a:lnTo>
                <a:lnTo>
                  <a:pt x="395" y="762"/>
                </a:lnTo>
                <a:lnTo>
                  <a:pt x="401" y="766"/>
                </a:lnTo>
                <a:lnTo>
                  <a:pt x="407" y="769"/>
                </a:lnTo>
                <a:lnTo>
                  <a:pt x="413" y="770"/>
                </a:lnTo>
                <a:lnTo>
                  <a:pt x="428" y="769"/>
                </a:lnTo>
                <a:lnTo>
                  <a:pt x="441" y="768"/>
                </a:lnTo>
                <a:lnTo>
                  <a:pt x="454" y="766"/>
                </a:lnTo>
                <a:lnTo>
                  <a:pt x="465" y="764"/>
                </a:lnTo>
                <a:lnTo>
                  <a:pt x="477" y="759"/>
                </a:lnTo>
                <a:lnTo>
                  <a:pt x="487" y="755"/>
                </a:lnTo>
                <a:lnTo>
                  <a:pt x="496" y="750"/>
                </a:lnTo>
                <a:lnTo>
                  <a:pt x="505" y="744"/>
                </a:lnTo>
                <a:lnTo>
                  <a:pt x="513" y="737"/>
                </a:lnTo>
                <a:lnTo>
                  <a:pt x="520" y="729"/>
                </a:lnTo>
                <a:lnTo>
                  <a:pt x="525" y="722"/>
                </a:lnTo>
                <a:lnTo>
                  <a:pt x="531" y="712"/>
                </a:lnTo>
                <a:lnTo>
                  <a:pt x="535" y="703"/>
                </a:lnTo>
                <a:lnTo>
                  <a:pt x="538" y="693"/>
                </a:lnTo>
                <a:lnTo>
                  <a:pt x="540" y="682"/>
                </a:lnTo>
                <a:lnTo>
                  <a:pt x="541" y="670"/>
                </a:lnTo>
                <a:lnTo>
                  <a:pt x="552" y="665"/>
                </a:lnTo>
                <a:lnTo>
                  <a:pt x="565" y="657"/>
                </a:lnTo>
                <a:lnTo>
                  <a:pt x="579" y="647"/>
                </a:lnTo>
                <a:lnTo>
                  <a:pt x="594" y="633"/>
                </a:lnTo>
                <a:lnTo>
                  <a:pt x="600" y="625"/>
                </a:lnTo>
                <a:lnTo>
                  <a:pt x="605" y="619"/>
                </a:lnTo>
                <a:lnTo>
                  <a:pt x="607" y="611"/>
                </a:lnTo>
                <a:lnTo>
                  <a:pt x="608" y="604"/>
                </a:lnTo>
                <a:lnTo>
                  <a:pt x="607" y="598"/>
                </a:lnTo>
                <a:lnTo>
                  <a:pt x="606" y="594"/>
                </a:lnTo>
                <a:lnTo>
                  <a:pt x="604" y="590"/>
                </a:lnTo>
                <a:lnTo>
                  <a:pt x="602" y="586"/>
                </a:lnTo>
                <a:lnTo>
                  <a:pt x="595" y="578"/>
                </a:lnTo>
                <a:lnTo>
                  <a:pt x="589" y="573"/>
                </a:lnTo>
                <a:lnTo>
                  <a:pt x="584" y="570"/>
                </a:lnTo>
                <a:lnTo>
                  <a:pt x="581" y="566"/>
                </a:lnTo>
                <a:lnTo>
                  <a:pt x="590" y="556"/>
                </a:lnTo>
                <a:lnTo>
                  <a:pt x="603" y="543"/>
                </a:lnTo>
                <a:lnTo>
                  <a:pt x="617" y="528"/>
                </a:lnTo>
                <a:lnTo>
                  <a:pt x="630" y="512"/>
                </a:lnTo>
                <a:lnTo>
                  <a:pt x="638" y="503"/>
                </a:lnTo>
                <a:lnTo>
                  <a:pt x="644" y="493"/>
                </a:lnTo>
                <a:lnTo>
                  <a:pt x="651" y="485"/>
                </a:lnTo>
                <a:lnTo>
                  <a:pt x="656" y="475"/>
                </a:lnTo>
                <a:lnTo>
                  <a:pt x="661" y="465"/>
                </a:lnTo>
                <a:lnTo>
                  <a:pt x="664" y="456"/>
                </a:lnTo>
                <a:lnTo>
                  <a:pt x="666" y="447"/>
                </a:lnTo>
                <a:lnTo>
                  <a:pt x="667" y="438"/>
                </a:lnTo>
                <a:lnTo>
                  <a:pt x="666" y="429"/>
                </a:lnTo>
                <a:lnTo>
                  <a:pt x="664" y="419"/>
                </a:lnTo>
                <a:lnTo>
                  <a:pt x="658" y="411"/>
                </a:lnTo>
                <a:lnTo>
                  <a:pt x="652" y="402"/>
                </a:lnTo>
                <a:lnTo>
                  <a:pt x="648" y="400"/>
                </a:lnTo>
                <a:lnTo>
                  <a:pt x="643" y="398"/>
                </a:lnTo>
                <a:lnTo>
                  <a:pt x="639" y="398"/>
                </a:lnTo>
                <a:lnTo>
                  <a:pt x="634" y="400"/>
                </a:lnTo>
                <a:lnTo>
                  <a:pt x="626" y="403"/>
                </a:lnTo>
                <a:lnTo>
                  <a:pt x="617" y="405"/>
                </a:lnTo>
                <a:lnTo>
                  <a:pt x="611" y="406"/>
                </a:lnTo>
                <a:lnTo>
                  <a:pt x="606" y="406"/>
                </a:lnTo>
                <a:lnTo>
                  <a:pt x="602" y="406"/>
                </a:lnTo>
                <a:lnTo>
                  <a:pt x="597" y="404"/>
                </a:lnTo>
                <a:lnTo>
                  <a:pt x="590" y="381"/>
                </a:lnTo>
                <a:lnTo>
                  <a:pt x="583" y="360"/>
                </a:lnTo>
                <a:lnTo>
                  <a:pt x="579" y="353"/>
                </a:lnTo>
                <a:lnTo>
                  <a:pt x="575" y="345"/>
                </a:lnTo>
                <a:lnTo>
                  <a:pt x="570" y="339"/>
                </a:lnTo>
                <a:lnTo>
                  <a:pt x="567" y="333"/>
                </a:lnTo>
                <a:lnTo>
                  <a:pt x="576" y="328"/>
                </a:lnTo>
                <a:lnTo>
                  <a:pt x="585" y="324"/>
                </a:lnTo>
                <a:lnTo>
                  <a:pt x="598" y="318"/>
                </a:lnTo>
                <a:lnTo>
                  <a:pt x="612" y="315"/>
                </a:lnTo>
                <a:lnTo>
                  <a:pt x="626" y="312"/>
                </a:lnTo>
                <a:lnTo>
                  <a:pt x="642" y="311"/>
                </a:lnTo>
                <a:lnTo>
                  <a:pt x="651" y="311"/>
                </a:lnTo>
                <a:lnTo>
                  <a:pt x="658" y="311"/>
                </a:lnTo>
                <a:lnTo>
                  <a:pt x="667" y="312"/>
                </a:lnTo>
                <a:lnTo>
                  <a:pt x="676" y="314"/>
                </a:lnTo>
                <a:lnTo>
                  <a:pt x="681" y="314"/>
                </a:lnTo>
                <a:lnTo>
                  <a:pt x="685" y="313"/>
                </a:lnTo>
                <a:lnTo>
                  <a:pt x="696" y="308"/>
                </a:lnTo>
                <a:lnTo>
                  <a:pt x="706" y="301"/>
                </a:lnTo>
                <a:lnTo>
                  <a:pt x="714" y="294"/>
                </a:lnTo>
                <a:lnTo>
                  <a:pt x="723" y="286"/>
                </a:lnTo>
                <a:lnTo>
                  <a:pt x="730" y="279"/>
                </a:lnTo>
                <a:lnTo>
                  <a:pt x="738" y="271"/>
                </a:lnTo>
                <a:lnTo>
                  <a:pt x="744" y="263"/>
                </a:lnTo>
                <a:lnTo>
                  <a:pt x="750" y="254"/>
                </a:lnTo>
                <a:lnTo>
                  <a:pt x="760" y="237"/>
                </a:lnTo>
                <a:lnTo>
                  <a:pt x="769" y="220"/>
                </a:lnTo>
                <a:lnTo>
                  <a:pt x="775" y="204"/>
                </a:lnTo>
                <a:lnTo>
                  <a:pt x="781" y="189"/>
                </a:lnTo>
                <a:lnTo>
                  <a:pt x="791" y="203"/>
                </a:lnTo>
                <a:lnTo>
                  <a:pt x="801" y="217"/>
                </a:lnTo>
                <a:lnTo>
                  <a:pt x="811" y="232"/>
                </a:lnTo>
                <a:lnTo>
                  <a:pt x="819" y="247"/>
                </a:lnTo>
                <a:lnTo>
                  <a:pt x="828" y="262"/>
                </a:lnTo>
                <a:lnTo>
                  <a:pt x="835" y="278"/>
                </a:lnTo>
                <a:lnTo>
                  <a:pt x="842" y="294"/>
                </a:lnTo>
                <a:lnTo>
                  <a:pt x="848" y="310"/>
                </a:lnTo>
                <a:lnTo>
                  <a:pt x="854" y="327"/>
                </a:lnTo>
                <a:lnTo>
                  <a:pt x="859" y="344"/>
                </a:lnTo>
                <a:lnTo>
                  <a:pt x="863" y="361"/>
                </a:lnTo>
                <a:lnTo>
                  <a:pt x="866" y="379"/>
                </a:lnTo>
                <a:lnTo>
                  <a:pt x="869" y="397"/>
                </a:lnTo>
                <a:lnTo>
                  <a:pt x="871" y="414"/>
                </a:lnTo>
                <a:lnTo>
                  <a:pt x="872" y="433"/>
                </a:lnTo>
                <a:lnTo>
                  <a:pt x="873" y="451"/>
                </a:lnTo>
                <a:lnTo>
                  <a:pt x="872" y="473"/>
                </a:lnTo>
                <a:lnTo>
                  <a:pt x="871" y="494"/>
                </a:lnTo>
                <a:lnTo>
                  <a:pt x="868" y="516"/>
                </a:lnTo>
                <a:lnTo>
                  <a:pt x="864" y="536"/>
                </a:lnTo>
                <a:lnTo>
                  <a:pt x="859" y="557"/>
                </a:lnTo>
                <a:lnTo>
                  <a:pt x="854" y="576"/>
                </a:lnTo>
                <a:lnTo>
                  <a:pt x="847" y="596"/>
                </a:lnTo>
                <a:lnTo>
                  <a:pt x="840" y="616"/>
                </a:lnTo>
                <a:lnTo>
                  <a:pt x="831" y="634"/>
                </a:lnTo>
                <a:lnTo>
                  <a:pt x="821" y="652"/>
                </a:lnTo>
                <a:lnTo>
                  <a:pt x="812" y="669"/>
                </a:lnTo>
                <a:lnTo>
                  <a:pt x="801" y="686"/>
                </a:lnTo>
                <a:lnTo>
                  <a:pt x="789" y="704"/>
                </a:lnTo>
                <a:lnTo>
                  <a:pt x="776" y="720"/>
                </a:lnTo>
                <a:lnTo>
                  <a:pt x="763" y="735"/>
                </a:lnTo>
                <a:lnTo>
                  <a:pt x="748" y="749"/>
                </a:lnTo>
                <a:lnTo>
                  <a:pt x="735" y="764"/>
                </a:lnTo>
                <a:lnTo>
                  <a:pt x="720" y="777"/>
                </a:lnTo>
                <a:lnTo>
                  <a:pt x="703" y="789"/>
                </a:lnTo>
                <a:lnTo>
                  <a:pt x="686" y="801"/>
                </a:lnTo>
                <a:lnTo>
                  <a:pt x="669" y="812"/>
                </a:lnTo>
                <a:lnTo>
                  <a:pt x="652" y="822"/>
                </a:lnTo>
                <a:lnTo>
                  <a:pt x="634" y="831"/>
                </a:lnTo>
                <a:lnTo>
                  <a:pt x="615" y="840"/>
                </a:lnTo>
                <a:lnTo>
                  <a:pt x="596" y="847"/>
                </a:lnTo>
                <a:lnTo>
                  <a:pt x="576" y="854"/>
                </a:lnTo>
                <a:lnTo>
                  <a:pt x="556" y="859"/>
                </a:lnTo>
                <a:lnTo>
                  <a:pt x="536" y="865"/>
                </a:lnTo>
                <a:lnTo>
                  <a:pt x="516" y="868"/>
                </a:lnTo>
                <a:lnTo>
                  <a:pt x="494" y="871"/>
                </a:lnTo>
                <a:lnTo>
                  <a:pt x="473" y="872"/>
                </a:lnTo>
                <a:lnTo>
                  <a:pt x="451" y="873"/>
                </a:lnTo>
                <a:close/>
                <a:moveTo>
                  <a:pt x="757" y="162"/>
                </a:moveTo>
                <a:lnTo>
                  <a:pt x="755" y="173"/>
                </a:lnTo>
                <a:lnTo>
                  <a:pt x="750" y="186"/>
                </a:lnTo>
                <a:lnTo>
                  <a:pt x="743" y="203"/>
                </a:lnTo>
                <a:lnTo>
                  <a:pt x="736" y="220"/>
                </a:lnTo>
                <a:lnTo>
                  <a:pt x="730" y="228"/>
                </a:lnTo>
                <a:lnTo>
                  <a:pt x="725" y="238"/>
                </a:lnTo>
                <a:lnTo>
                  <a:pt x="718" y="247"/>
                </a:lnTo>
                <a:lnTo>
                  <a:pt x="711" y="255"/>
                </a:lnTo>
                <a:lnTo>
                  <a:pt x="703" y="263"/>
                </a:lnTo>
                <a:lnTo>
                  <a:pt x="696" y="270"/>
                </a:lnTo>
                <a:lnTo>
                  <a:pt x="686" y="278"/>
                </a:lnTo>
                <a:lnTo>
                  <a:pt x="677" y="283"/>
                </a:lnTo>
                <a:lnTo>
                  <a:pt x="665" y="281"/>
                </a:lnTo>
                <a:lnTo>
                  <a:pt x="652" y="281"/>
                </a:lnTo>
                <a:lnTo>
                  <a:pt x="640" y="281"/>
                </a:lnTo>
                <a:lnTo>
                  <a:pt x="628" y="281"/>
                </a:lnTo>
                <a:lnTo>
                  <a:pt x="617" y="283"/>
                </a:lnTo>
                <a:lnTo>
                  <a:pt x="606" y="285"/>
                </a:lnTo>
                <a:lnTo>
                  <a:pt x="595" y="288"/>
                </a:lnTo>
                <a:lnTo>
                  <a:pt x="585" y="292"/>
                </a:lnTo>
                <a:lnTo>
                  <a:pt x="567" y="299"/>
                </a:lnTo>
                <a:lnTo>
                  <a:pt x="552" y="308"/>
                </a:lnTo>
                <a:lnTo>
                  <a:pt x="540" y="315"/>
                </a:lnTo>
                <a:lnTo>
                  <a:pt x="533" y="323"/>
                </a:lnTo>
                <a:lnTo>
                  <a:pt x="530" y="329"/>
                </a:lnTo>
                <a:lnTo>
                  <a:pt x="528" y="335"/>
                </a:lnTo>
                <a:lnTo>
                  <a:pt x="529" y="339"/>
                </a:lnTo>
                <a:lnTo>
                  <a:pt x="530" y="343"/>
                </a:lnTo>
                <a:lnTo>
                  <a:pt x="532" y="346"/>
                </a:lnTo>
                <a:lnTo>
                  <a:pt x="535" y="350"/>
                </a:lnTo>
                <a:lnTo>
                  <a:pt x="539" y="351"/>
                </a:lnTo>
                <a:lnTo>
                  <a:pt x="544" y="352"/>
                </a:lnTo>
                <a:lnTo>
                  <a:pt x="546" y="356"/>
                </a:lnTo>
                <a:lnTo>
                  <a:pt x="549" y="360"/>
                </a:lnTo>
                <a:lnTo>
                  <a:pt x="553" y="368"/>
                </a:lnTo>
                <a:lnTo>
                  <a:pt x="556" y="376"/>
                </a:lnTo>
                <a:lnTo>
                  <a:pt x="563" y="396"/>
                </a:lnTo>
                <a:lnTo>
                  <a:pt x="569" y="417"/>
                </a:lnTo>
                <a:lnTo>
                  <a:pt x="570" y="420"/>
                </a:lnTo>
                <a:lnTo>
                  <a:pt x="574" y="424"/>
                </a:lnTo>
                <a:lnTo>
                  <a:pt x="581" y="430"/>
                </a:lnTo>
                <a:lnTo>
                  <a:pt x="589" y="433"/>
                </a:lnTo>
                <a:lnTo>
                  <a:pt x="597" y="435"/>
                </a:lnTo>
                <a:lnTo>
                  <a:pt x="606" y="436"/>
                </a:lnTo>
                <a:lnTo>
                  <a:pt x="613" y="436"/>
                </a:lnTo>
                <a:lnTo>
                  <a:pt x="622" y="435"/>
                </a:lnTo>
                <a:lnTo>
                  <a:pt x="628" y="433"/>
                </a:lnTo>
                <a:lnTo>
                  <a:pt x="636" y="432"/>
                </a:lnTo>
                <a:lnTo>
                  <a:pt x="636" y="436"/>
                </a:lnTo>
                <a:lnTo>
                  <a:pt x="637" y="441"/>
                </a:lnTo>
                <a:lnTo>
                  <a:pt x="636" y="445"/>
                </a:lnTo>
                <a:lnTo>
                  <a:pt x="635" y="450"/>
                </a:lnTo>
                <a:lnTo>
                  <a:pt x="629" y="461"/>
                </a:lnTo>
                <a:lnTo>
                  <a:pt x="623" y="472"/>
                </a:lnTo>
                <a:lnTo>
                  <a:pt x="614" y="484"/>
                </a:lnTo>
                <a:lnTo>
                  <a:pt x="604" y="497"/>
                </a:lnTo>
                <a:lnTo>
                  <a:pt x="593" y="508"/>
                </a:lnTo>
                <a:lnTo>
                  <a:pt x="580" y="521"/>
                </a:lnTo>
                <a:lnTo>
                  <a:pt x="566" y="536"/>
                </a:lnTo>
                <a:lnTo>
                  <a:pt x="558" y="547"/>
                </a:lnTo>
                <a:lnTo>
                  <a:pt x="554" y="552"/>
                </a:lnTo>
                <a:lnTo>
                  <a:pt x="552" y="557"/>
                </a:lnTo>
                <a:lnTo>
                  <a:pt x="550" y="561"/>
                </a:lnTo>
                <a:lnTo>
                  <a:pt x="550" y="565"/>
                </a:lnTo>
                <a:lnTo>
                  <a:pt x="550" y="571"/>
                </a:lnTo>
                <a:lnTo>
                  <a:pt x="552" y="575"/>
                </a:lnTo>
                <a:lnTo>
                  <a:pt x="553" y="579"/>
                </a:lnTo>
                <a:lnTo>
                  <a:pt x="556" y="582"/>
                </a:lnTo>
                <a:lnTo>
                  <a:pt x="562" y="590"/>
                </a:lnTo>
                <a:lnTo>
                  <a:pt x="568" y="595"/>
                </a:lnTo>
                <a:lnTo>
                  <a:pt x="575" y="601"/>
                </a:lnTo>
                <a:lnTo>
                  <a:pt x="578" y="605"/>
                </a:lnTo>
                <a:lnTo>
                  <a:pt x="577" y="607"/>
                </a:lnTo>
                <a:lnTo>
                  <a:pt x="574" y="611"/>
                </a:lnTo>
                <a:lnTo>
                  <a:pt x="564" y="620"/>
                </a:lnTo>
                <a:lnTo>
                  <a:pt x="554" y="627"/>
                </a:lnTo>
                <a:lnTo>
                  <a:pt x="546" y="633"/>
                </a:lnTo>
                <a:lnTo>
                  <a:pt x="538" y="638"/>
                </a:lnTo>
                <a:lnTo>
                  <a:pt x="526" y="644"/>
                </a:lnTo>
                <a:lnTo>
                  <a:pt x="522" y="646"/>
                </a:lnTo>
                <a:lnTo>
                  <a:pt x="518" y="648"/>
                </a:lnTo>
                <a:lnTo>
                  <a:pt x="515" y="651"/>
                </a:lnTo>
                <a:lnTo>
                  <a:pt x="513" y="655"/>
                </a:lnTo>
                <a:lnTo>
                  <a:pt x="511" y="660"/>
                </a:lnTo>
                <a:lnTo>
                  <a:pt x="511" y="669"/>
                </a:lnTo>
                <a:lnTo>
                  <a:pt x="510" y="679"/>
                </a:lnTo>
                <a:lnTo>
                  <a:pt x="508" y="686"/>
                </a:lnTo>
                <a:lnTo>
                  <a:pt x="506" y="695"/>
                </a:lnTo>
                <a:lnTo>
                  <a:pt x="503" y="701"/>
                </a:lnTo>
                <a:lnTo>
                  <a:pt x="499" y="708"/>
                </a:lnTo>
                <a:lnTo>
                  <a:pt x="493" y="714"/>
                </a:lnTo>
                <a:lnTo>
                  <a:pt x="488" y="720"/>
                </a:lnTo>
                <a:lnTo>
                  <a:pt x="481" y="724"/>
                </a:lnTo>
                <a:lnTo>
                  <a:pt x="474" y="728"/>
                </a:lnTo>
                <a:lnTo>
                  <a:pt x="465" y="732"/>
                </a:lnTo>
                <a:lnTo>
                  <a:pt x="457" y="735"/>
                </a:lnTo>
                <a:lnTo>
                  <a:pt x="447" y="737"/>
                </a:lnTo>
                <a:lnTo>
                  <a:pt x="437" y="739"/>
                </a:lnTo>
                <a:lnTo>
                  <a:pt x="427" y="739"/>
                </a:lnTo>
                <a:lnTo>
                  <a:pt x="415" y="740"/>
                </a:lnTo>
                <a:lnTo>
                  <a:pt x="408" y="735"/>
                </a:lnTo>
                <a:lnTo>
                  <a:pt x="402" y="726"/>
                </a:lnTo>
                <a:lnTo>
                  <a:pt x="396" y="715"/>
                </a:lnTo>
                <a:lnTo>
                  <a:pt x="388" y="703"/>
                </a:lnTo>
                <a:lnTo>
                  <a:pt x="382" y="690"/>
                </a:lnTo>
                <a:lnTo>
                  <a:pt x="376" y="678"/>
                </a:lnTo>
                <a:lnTo>
                  <a:pt x="373" y="667"/>
                </a:lnTo>
                <a:lnTo>
                  <a:pt x="371" y="660"/>
                </a:lnTo>
                <a:lnTo>
                  <a:pt x="372" y="655"/>
                </a:lnTo>
                <a:lnTo>
                  <a:pt x="374" y="650"/>
                </a:lnTo>
                <a:lnTo>
                  <a:pt x="376" y="645"/>
                </a:lnTo>
                <a:lnTo>
                  <a:pt x="380" y="638"/>
                </a:lnTo>
                <a:lnTo>
                  <a:pt x="383" y="631"/>
                </a:lnTo>
                <a:lnTo>
                  <a:pt x="387" y="622"/>
                </a:lnTo>
                <a:lnTo>
                  <a:pt x="389" y="612"/>
                </a:lnTo>
                <a:lnTo>
                  <a:pt x="390" y="603"/>
                </a:lnTo>
                <a:lnTo>
                  <a:pt x="389" y="595"/>
                </a:lnTo>
                <a:lnTo>
                  <a:pt x="386" y="587"/>
                </a:lnTo>
                <a:lnTo>
                  <a:pt x="382" y="577"/>
                </a:lnTo>
                <a:lnTo>
                  <a:pt x="376" y="568"/>
                </a:lnTo>
                <a:lnTo>
                  <a:pt x="363" y="552"/>
                </a:lnTo>
                <a:lnTo>
                  <a:pt x="353" y="539"/>
                </a:lnTo>
                <a:lnTo>
                  <a:pt x="352" y="532"/>
                </a:lnTo>
                <a:lnTo>
                  <a:pt x="351" y="523"/>
                </a:lnTo>
                <a:lnTo>
                  <a:pt x="348" y="517"/>
                </a:lnTo>
                <a:lnTo>
                  <a:pt x="346" y="509"/>
                </a:lnTo>
                <a:lnTo>
                  <a:pt x="344" y="504"/>
                </a:lnTo>
                <a:lnTo>
                  <a:pt x="341" y="498"/>
                </a:lnTo>
                <a:lnTo>
                  <a:pt x="337" y="493"/>
                </a:lnTo>
                <a:lnTo>
                  <a:pt x="333" y="489"/>
                </a:lnTo>
                <a:lnTo>
                  <a:pt x="325" y="483"/>
                </a:lnTo>
                <a:lnTo>
                  <a:pt x="316" y="478"/>
                </a:lnTo>
                <a:lnTo>
                  <a:pt x="307" y="475"/>
                </a:lnTo>
                <a:lnTo>
                  <a:pt x="297" y="473"/>
                </a:lnTo>
                <a:lnTo>
                  <a:pt x="274" y="472"/>
                </a:lnTo>
                <a:lnTo>
                  <a:pt x="252" y="473"/>
                </a:lnTo>
                <a:lnTo>
                  <a:pt x="238" y="474"/>
                </a:lnTo>
                <a:lnTo>
                  <a:pt x="223" y="474"/>
                </a:lnTo>
                <a:lnTo>
                  <a:pt x="217" y="473"/>
                </a:lnTo>
                <a:lnTo>
                  <a:pt x="210" y="472"/>
                </a:lnTo>
                <a:lnTo>
                  <a:pt x="205" y="469"/>
                </a:lnTo>
                <a:lnTo>
                  <a:pt x="199" y="464"/>
                </a:lnTo>
                <a:lnTo>
                  <a:pt x="195" y="460"/>
                </a:lnTo>
                <a:lnTo>
                  <a:pt x="192" y="456"/>
                </a:lnTo>
                <a:lnTo>
                  <a:pt x="190" y="450"/>
                </a:lnTo>
                <a:lnTo>
                  <a:pt x="188" y="445"/>
                </a:lnTo>
                <a:lnTo>
                  <a:pt x="184" y="433"/>
                </a:lnTo>
                <a:lnTo>
                  <a:pt x="182" y="424"/>
                </a:lnTo>
                <a:lnTo>
                  <a:pt x="181" y="416"/>
                </a:lnTo>
                <a:lnTo>
                  <a:pt x="181" y="413"/>
                </a:lnTo>
                <a:lnTo>
                  <a:pt x="182" y="408"/>
                </a:lnTo>
                <a:lnTo>
                  <a:pt x="183" y="394"/>
                </a:lnTo>
                <a:lnTo>
                  <a:pt x="186" y="373"/>
                </a:lnTo>
                <a:lnTo>
                  <a:pt x="192" y="351"/>
                </a:lnTo>
                <a:lnTo>
                  <a:pt x="196" y="339"/>
                </a:lnTo>
                <a:lnTo>
                  <a:pt x="203" y="326"/>
                </a:lnTo>
                <a:lnTo>
                  <a:pt x="209" y="315"/>
                </a:lnTo>
                <a:lnTo>
                  <a:pt x="217" y="305"/>
                </a:lnTo>
                <a:lnTo>
                  <a:pt x="226" y="295"/>
                </a:lnTo>
                <a:lnTo>
                  <a:pt x="237" y="286"/>
                </a:lnTo>
                <a:lnTo>
                  <a:pt x="243" y="283"/>
                </a:lnTo>
                <a:lnTo>
                  <a:pt x="250" y="280"/>
                </a:lnTo>
                <a:lnTo>
                  <a:pt x="257" y="278"/>
                </a:lnTo>
                <a:lnTo>
                  <a:pt x="265" y="277"/>
                </a:lnTo>
                <a:lnTo>
                  <a:pt x="285" y="272"/>
                </a:lnTo>
                <a:lnTo>
                  <a:pt x="301" y="271"/>
                </a:lnTo>
                <a:lnTo>
                  <a:pt x="315" y="271"/>
                </a:lnTo>
                <a:lnTo>
                  <a:pt x="325" y="272"/>
                </a:lnTo>
                <a:lnTo>
                  <a:pt x="332" y="274"/>
                </a:lnTo>
                <a:lnTo>
                  <a:pt x="338" y="277"/>
                </a:lnTo>
                <a:lnTo>
                  <a:pt x="340" y="279"/>
                </a:lnTo>
                <a:lnTo>
                  <a:pt x="341" y="280"/>
                </a:lnTo>
                <a:lnTo>
                  <a:pt x="341" y="283"/>
                </a:lnTo>
                <a:lnTo>
                  <a:pt x="342" y="286"/>
                </a:lnTo>
                <a:lnTo>
                  <a:pt x="344" y="288"/>
                </a:lnTo>
                <a:lnTo>
                  <a:pt x="345" y="291"/>
                </a:lnTo>
                <a:lnTo>
                  <a:pt x="352" y="297"/>
                </a:lnTo>
                <a:lnTo>
                  <a:pt x="358" y="301"/>
                </a:lnTo>
                <a:lnTo>
                  <a:pt x="366" y="305"/>
                </a:lnTo>
                <a:lnTo>
                  <a:pt x="373" y="308"/>
                </a:lnTo>
                <a:lnTo>
                  <a:pt x="381" y="310"/>
                </a:lnTo>
                <a:lnTo>
                  <a:pt x="388" y="311"/>
                </a:lnTo>
                <a:lnTo>
                  <a:pt x="396" y="312"/>
                </a:lnTo>
                <a:lnTo>
                  <a:pt x="404" y="312"/>
                </a:lnTo>
                <a:lnTo>
                  <a:pt x="420" y="311"/>
                </a:lnTo>
                <a:lnTo>
                  <a:pt x="436" y="309"/>
                </a:lnTo>
                <a:lnTo>
                  <a:pt x="454" y="306"/>
                </a:lnTo>
                <a:lnTo>
                  <a:pt x="469" y="302"/>
                </a:lnTo>
                <a:lnTo>
                  <a:pt x="480" y="299"/>
                </a:lnTo>
                <a:lnTo>
                  <a:pt x="490" y="297"/>
                </a:lnTo>
                <a:lnTo>
                  <a:pt x="500" y="296"/>
                </a:lnTo>
                <a:lnTo>
                  <a:pt x="508" y="295"/>
                </a:lnTo>
                <a:lnTo>
                  <a:pt x="514" y="295"/>
                </a:lnTo>
                <a:lnTo>
                  <a:pt x="518" y="292"/>
                </a:lnTo>
                <a:lnTo>
                  <a:pt x="521" y="287"/>
                </a:lnTo>
                <a:lnTo>
                  <a:pt x="523" y="282"/>
                </a:lnTo>
                <a:lnTo>
                  <a:pt x="525" y="266"/>
                </a:lnTo>
                <a:lnTo>
                  <a:pt x="526" y="248"/>
                </a:lnTo>
                <a:lnTo>
                  <a:pt x="528" y="228"/>
                </a:lnTo>
                <a:lnTo>
                  <a:pt x="528" y="210"/>
                </a:lnTo>
                <a:lnTo>
                  <a:pt x="526" y="192"/>
                </a:lnTo>
                <a:lnTo>
                  <a:pt x="523" y="176"/>
                </a:lnTo>
                <a:lnTo>
                  <a:pt x="521" y="169"/>
                </a:lnTo>
                <a:lnTo>
                  <a:pt x="518" y="163"/>
                </a:lnTo>
                <a:lnTo>
                  <a:pt x="515" y="158"/>
                </a:lnTo>
                <a:lnTo>
                  <a:pt x="510" y="154"/>
                </a:lnTo>
                <a:lnTo>
                  <a:pt x="506" y="151"/>
                </a:lnTo>
                <a:lnTo>
                  <a:pt x="500" y="150"/>
                </a:lnTo>
                <a:lnTo>
                  <a:pt x="496" y="149"/>
                </a:lnTo>
                <a:lnTo>
                  <a:pt x="492" y="150"/>
                </a:lnTo>
                <a:lnTo>
                  <a:pt x="487" y="151"/>
                </a:lnTo>
                <a:lnTo>
                  <a:pt x="482" y="153"/>
                </a:lnTo>
                <a:lnTo>
                  <a:pt x="472" y="158"/>
                </a:lnTo>
                <a:lnTo>
                  <a:pt x="461" y="160"/>
                </a:lnTo>
                <a:lnTo>
                  <a:pt x="456" y="160"/>
                </a:lnTo>
                <a:lnTo>
                  <a:pt x="451" y="159"/>
                </a:lnTo>
                <a:lnTo>
                  <a:pt x="447" y="158"/>
                </a:lnTo>
                <a:lnTo>
                  <a:pt x="444" y="156"/>
                </a:lnTo>
                <a:lnTo>
                  <a:pt x="440" y="153"/>
                </a:lnTo>
                <a:lnTo>
                  <a:pt x="436" y="150"/>
                </a:lnTo>
                <a:lnTo>
                  <a:pt x="434" y="147"/>
                </a:lnTo>
                <a:lnTo>
                  <a:pt x="432" y="142"/>
                </a:lnTo>
                <a:lnTo>
                  <a:pt x="429" y="135"/>
                </a:lnTo>
                <a:lnTo>
                  <a:pt x="428" y="127"/>
                </a:lnTo>
                <a:lnTo>
                  <a:pt x="429" y="121"/>
                </a:lnTo>
                <a:lnTo>
                  <a:pt x="431" y="116"/>
                </a:lnTo>
                <a:lnTo>
                  <a:pt x="435" y="109"/>
                </a:lnTo>
                <a:lnTo>
                  <a:pt x="442" y="104"/>
                </a:lnTo>
                <a:lnTo>
                  <a:pt x="449" y="99"/>
                </a:lnTo>
                <a:lnTo>
                  <a:pt x="458" y="92"/>
                </a:lnTo>
                <a:lnTo>
                  <a:pt x="467" y="87"/>
                </a:lnTo>
                <a:lnTo>
                  <a:pt x="478" y="81"/>
                </a:lnTo>
                <a:lnTo>
                  <a:pt x="502" y="72"/>
                </a:lnTo>
                <a:lnTo>
                  <a:pt x="528" y="63"/>
                </a:lnTo>
                <a:lnTo>
                  <a:pt x="553" y="56"/>
                </a:lnTo>
                <a:lnTo>
                  <a:pt x="578" y="49"/>
                </a:lnTo>
                <a:lnTo>
                  <a:pt x="604" y="58"/>
                </a:lnTo>
                <a:lnTo>
                  <a:pt x="628" y="68"/>
                </a:lnTo>
                <a:lnTo>
                  <a:pt x="652" y="81"/>
                </a:lnTo>
                <a:lnTo>
                  <a:pt x="676" y="94"/>
                </a:lnTo>
                <a:lnTo>
                  <a:pt x="697" y="109"/>
                </a:lnTo>
                <a:lnTo>
                  <a:pt x="718" y="125"/>
                </a:lnTo>
                <a:lnTo>
                  <a:pt x="739" y="144"/>
                </a:lnTo>
                <a:lnTo>
                  <a:pt x="757" y="162"/>
                </a:lnTo>
                <a:lnTo>
                  <a:pt x="757" y="162"/>
                </a:lnTo>
                <a:close/>
                <a:moveTo>
                  <a:pt x="786" y="149"/>
                </a:moveTo>
                <a:lnTo>
                  <a:pt x="786" y="148"/>
                </a:lnTo>
                <a:lnTo>
                  <a:pt x="785" y="148"/>
                </a:lnTo>
                <a:lnTo>
                  <a:pt x="765" y="126"/>
                </a:lnTo>
                <a:lnTo>
                  <a:pt x="742" y="106"/>
                </a:lnTo>
                <a:lnTo>
                  <a:pt x="718" y="87"/>
                </a:lnTo>
                <a:lnTo>
                  <a:pt x="693" y="70"/>
                </a:lnTo>
                <a:lnTo>
                  <a:pt x="667" y="55"/>
                </a:lnTo>
                <a:lnTo>
                  <a:pt x="640" y="41"/>
                </a:lnTo>
                <a:lnTo>
                  <a:pt x="611" y="29"/>
                </a:lnTo>
                <a:lnTo>
                  <a:pt x="582" y="19"/>
                </a:lnTo>
                <a:lnTo>
                  <a:pt x="582" y="19"/>
                </a:lnTo>
                <a:lnTo>
                  <a:pt x="581" y="19"/>
                </a:lnTo>
                <a:lnTo>
                  <a:pt x="566" y="15"/>
                </a:lnTo>
                <a:lnTo>
                  <a:pt x="550" y="11"/>
                </a:lnTo>
                <a:lnTo>
                  <a:pt x="534" y="7"/>
                </a:lnTo>
                <a:lnTo>
                  <a:pt x="518" y="4"/>
                </a:lnTo>
                <a:lnTo>
                  <a:pt x="502" y="2"/>
                </a:lnTo>
                <a:lnTo>
                  <a:pt x="485" y="1"/>
                </a:lnTo>
                <a:lnTo>
                  <a:pt x="469" y="0"/>
                </a:lnTo>
                <a:lnTo>
                  <a:pt x="451" y="0"/>
                </a:lnTo>
                <a:lnTo>
                  <a:pt x="428" y="0"/>
                </a:lnTo>
                <a:lnTo>
                  <a:pt x="405" y="2"/>
                </a:lnTo>
                <a:lnTo>
                  <a:pt x="383" y="5"/>
                </a:lnTo>
                <a:lnTo>
                  <a:pt x="360" y="8"/>
                </a:lnTo>
                <a:lnTo>
                  <a:pt x="339" y="14"/>
                </a:lnTo>
                <a:lnTo>
                  <a:pt x="317" y="20"/>
                </a:lnTo>
                <a:lnTo>
                  <a:pt x="296" y="27"/>
                </a:lnTo>
                <a:lnTo>
                  <a:pt x="275" y="35"/>
                </a:lnTo>
                <a:lnTo>
                  <a:pt x="255" y="44"/>
                </a:lnTo>
                <a:lnTo>
                  <a:pt x="236" y="55"/>
                </a:lnTo>
                <a:lnTo>
                  <a:pt x="218" y="65"/>
                </a:lnTo>
                <a:lnTo>
                  <a:pt x="198" y="77"/>
                </a:lnTo>
                <a:lnTo>
                  <a:pt x="181" y="89"/>
                </a:lnTo>
                <a:lnTo>
                  <a:pt x="164" y="103"/>
                </a:lnTo>
                <a:lnTo>
                  <a:pt x="148" y="117"/>
                </a:lnTo>
                <a:lnTo>
                  <a:pt x="132" y="132"/>
                </a:lnTo>
                <a:lnTo>
                  <a:pt x="117" y="148"/>
                </a:lnTo>
                <a:lnTo>
                  <a:pt x="103" y="164"/>
                </a:lnTo>
                <a:lnTo>
                  <a:pt x="89" y="181"/>
                </a:lnTo>
                <a:lnTo>
                  <a:pt x="77" y="198"/>
                </a:lnTo>
                <a:lnTo>
                  <a:pt x="65" y="218"/>
                </a:lnTo>
                <a:lnTo>
                  <a:pt x="55" y="236"/>
                </a:lnTo>
                <a:lnTo>
                  <a:pt x="44" y="255"/>
                </a:lnTo>
                <a:lnTo>
                  <a:pt x="35" y="276"/>
                </a:lnTo>
                <a:lnTo>
                  <a:pt x="27" y="296"/>
                </a:lnTo>
                <a:lnTo>
                  <a:pt x="20" y="317"/>
                </a:lnTo>
                <a:lnTo>
                  <a:pt x="14" y="339"/>
                </a:lnTo>
                <a:lnTo>
                  <a:pt x="8" y="360"/>
                </a:lnTo>
                <a:lnTo>
                  <a:pt x="5" y="383"/>
                </a:lnTo>
                <a:lnTo>
                  <a:pt x="2" y="405"/>
                </a:lnTo>
                <a:lnTo>
                  <a:pt x="0" y="428"/>
                </a:lnTo>
                <a:lnTo>
                  <a:pt x="0" y="451"/>
                </a:lnTo>
                <a:lnTo>
                  <a:pt x="0" y="474"/>
                </a:lnTo>
                <a:lnTo>
                  <a:pt x="2" y="498"/>
                </a:lnTo>
                <a:lnTo>
                  <a:pt x="5" y="520"/>
                </a:lnTo>
                <a:lnTo>
                  <a:pt x="8" y="542"/>
                </a:lnTo>
                <a:lnTo>
                  <a:pt x="14" y="564"/>
                </a:lnTo>
                <a:lnTo>
                  <a:pt x="20" y="586"/>
                </a:lnTo>
                <a:lnTo>
                  <a:pt x="27" y="606"/>
                </a:lnTo>
                <a:lnTo>
                  <a:pt x="35" y="626"/>
                </a:lnTo>
                <a:lnTo>
                  <a:pt x="44" y="647"/>
                </a:lnTo>
                <a:lnTo>
                  <a:pt x="55" y="666"/>
                </a:lnTo>
                <a:lnTo>
                  <a:pt x="65" y="685"/>
                </a:lnTo>
                <a:lnTo>
                  <a:pt x="77" y="704"/>
                </a:lnTo>
                <a:lnTo>
                  <a:pt x="89" y="721"/>
                </a:lnTo>
                <a:lnTo>
                  <a:pt x="103" y="738"/>
                </a:lnTo>
                <a:lnTo>
                  <a:pt x="117" y="755"/>
                </a:lnTo>
                <a:lnTo>
                  <a:pt x="132" y="770"/>
                </a:lnTo>
                <a:lnTo>
                  <a:pt x="148" y="785"/>
                </a:lnTo>
                <a:lnTo>
                  <a:pt x="164" y="799"/>
                </a:lnTo>
                <a:lnTo>
                  <a:pt x="181" y="813"/>
                </a:lnTo>
                <a:lnTo>
                  <a:pt x="198" y="826"/>
                </a:lnTo>
                <a:lnTo>
                  <a:pt x="218" y="838"/>
                </a:lnTo>
                <a:lnTo>
                  <a:pt x="236" y="848"/>
                </a:lnTo>
                <a:lnTo>
                  <a:pt x="255" y="858"/>
                </a:lnTo>
                <a:lnTo>
                  <a:pt x="275" y="868"/>
                </a:lnTo>
                <a:lnTo>
                  <a:pt x="296" y="875"/>
                </a:lnTo>
                <a:lnTo>
                  <a:pt x="317" y="883"/>
                </a:lnTo>
                <a:lnTo>
                  <a:pt x="339" y="889"/>
                </a:lnTo>
                <a:lnTo>
                  <a:pt x="360" y="894"/>
                </a:lnTo>
                <a:lnTo>
                  <a:pt x="383" y="898"/>
                </a:lnTo>
                <a:lnTo>
                  <a:pt x="405" y="901"/>
                </a:lnTo>
                <a:lnTo>
                  <a:pt x="428" y="902"/>
                </a:lnTo>
                <a:lnTo>
                  <a:pt x="451" y="903"/>
                </a:lnTo>
                <a:lnTo>
                  <a:pt x="474" y="902"/>
                </a:lnTo>
                <a:lnTo>
                  <a:pt x="498" y="901"/>
                </a:lnTo>
                <a:lnTo>
                  <a:pt x="520" y="898"/>
                </a:lnTo>
                <a:lnTo>
                  <a:pt x="541" y="894"/>
                </a:lnTo>
                <a:lnTo>
                  <a:pt x="564" y="889"/>
                </a:lnTo>
                <a:lnTo>
                  <a:pt x="585" y="883"/>
                </a:lnTo>
                <a:lnTo>
                  <a:pt x="606" y="875"/>
                </a:lnTo>
                <a:lnTo>
                  <a:pt x="626" y="868"/>
                </a:lnTo>
                <a:lnTo>
                  <a:pt x="647" y="858"/>
                </a:lnTo>
                <a:lnTo>
                  <a:pt x="666" y="848"/>
                </a:lnTo>
                <a:lnTo>
                  <a:pt x="685" y="838"/>
                </a:lnTo>
                <a:lnTo>
                  <a:pt x="703" y="826"/>
                </a:lnTo>
                <a:lnTo>
                  <a:pt x="721" y="813"/>
                </a:lnTo>
                <a:lnTo>
                  <a:pt x="738" y="800"/>
                </a:lnTo>
                <a:lnTo>
                  <a:pt x="755" y="785"/>
                </a:lnTo>
                <a:lnTo>
                  <a:pt x="770" y="770"/>
                </a:lnTo>
                <a:lnTo>
                  <a:pt x="785" y="755"/>
                </a:lnTo>
                <a:lnTo>
                  <a:pt x="800" y="738"/>
                </a:lnTo>
                <a:lnTo>
                  <a:pt x="813" y="721"/>
                </a:lnTo>
                <a:lnTo>
                  <a:pt x="826" y="704"/>
                </a:lnTo>
                <a:lnTo>
                  <a:pt x="837" y="685"/>
                </a:lnTo>
                <a:lnTo>
                  <a:pt x="848" y="666"/>
                </a:lnTo>
                <a:lnTo>
                  <a:pt x="858" y="647"/>
                </a:lnTo>
                <a:lnTo>
                  <a:pt x="868" y="626"/>
                </a:lnTo>
                <a:lnTo>
                  <a:pt x="875" y="606"/>
                </a:lnTo>
                <a:lnTo>
                  <a:pt x="883" y="586"/>
                </a:lnTo>
                <a:lnTo>
                  <a:pt x="889" y="564"/>
                </a:lnTo>
                <a:lnTo>
                  <a:pt x="893" y="542"/>
                </a:lnTo>
                <a:lnTo>
                  <a:pt x="898" y="520"/>
                </a:lnTo>
                <a:lnTo>
                  <a:pt x="901" y="498"/>
                </a:lnTo>
                <a:lnTo>
                  <a:pt x="902" y="474"/>
                </a:lnTo>
                <a:lnTo>
                  <a:pt x="903" y="451"/>
                </a:lnTo>
                <a:lnTo>
                  <a:pt x="902" y="430"/>
                </a:lnTo>
                <a:lnTo>
                  <a:pt x="901" y="409"/>
                </a:lnTo>
                <a:lnTo>
                  <a:pt x="899" y="387"/>
                </a:lnTo>
                <a:lnTo>
                  <a:pt x="894" y="366"/>
                </a:lnTo>
                <a:lnTo>
                  <a:pt x="890" y="345"/>
                </a:lnTo>
                <a:lnTo>
                  <a:pt x="885" y="326"/>
                </a:lnTo>
                <a:lnTo>
                  <a:pt x="878" y="306"/>
                </a:lnTo>
                <a:lnTo>
                  <a:pt x="872" y="286"/>
                </a:lnTo>
                <a:lnTo>
                  <a:pt x="863" y="268"/>
                </a:lnTo>
                <a:lnTo>
                  <a:pt x="855" y="249"/>
                </a:lnTo>
                <a:lnTo>
                  <a:pt x="845" y="232"/>
                </a:lnTo>
                <a:lnTo>
                  <a:pt x="835" y="213"/>
                </a:lnTo>
                <a:lnTo>
                  <a:pt x="824" y="196"/>
                </a:lnTo>
                <a:lnTo>
                  <a:pt x="812" y="180"/>
                </a:lnTo>
                <a:lnTo>
                  <a:pt x="800" y="164"/>
                </a:lnTo>
                <a:lnTo>
                  <a:pt x="786" y="149"/>
                </a:lnTo>
                <a:lnTo>
                  <a:pt x="786" y="14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198" name="Group 202">
            <a:extLst>
              <a:ext uri="{FF2B5EF4-FFF2-40B4-BE49-F238E27FC236}">
                <a16:creationId xmlns:a16="http://schemas.microsoft.com/office/drawing/2014/main" id="{28ACC307-52E5-4FA4-8A3D-6D21210D11C7}"/>
              </a:ext>
            </a:extLst>
          </p:cNvPr>
          <p:cNvGrpSpPr>
            <a:grpSpLocks noChangeAspect="1"/>
          </p:cNvGrpSpPr>
          <p:nvPr/>
        </p:nvGrpSpPr>
        <p:grpSpPr>
          <a:xfrm>
            <a:off x="695091" y="4879041"/>
            <a:ext cx="238016" cy="285619"/>
            <a:chOff x="2066925" y="785813"/>
            <a:chExt cx="238125" cy="285750"/>
          </a:xfrm>
          <a:solidFill>
            <a:schemeClr val="bg1"/>
          </a:solidFill>
          <a:effectLst/>
        </p:grpSpPr>
        <p:sp>
          <p:nvSpPr>
            <p:cNvPr id="1199" name="Freeform 23">
              <a:extLst>
                <a:ext uri="{FF2B5EF4-FFF2-40B4-BE49-F238E27FC236}">
                  <a16:creationId xmlns:a16="http://schemas.microsoft.com/office/drawing/2014/main" id="{670443FD-4914-4ED8-9834-8E3FD63345A9}"/>
                </a:ext>
              </a:extLst>
            </p:cNvPr>
            <p:cNvSpPr>
              <a:spLocks noEditPoints="1"/>
            </p:cNvSpPr>
            <p:nvPr/>
          </p:nvSpPr>
          <p:spPr bwMode="auto">
            <a:xfrm>
              <a:off x="2076450" y="795338"/>
              <a:ext cx="190500" cy="190500"/>
            </a:xfrm>
            <a:custGeom>
              <a:avLst/>
              <a:gdLst>
                <a:gd name="T0" fmla="*/ 355 w 600"/>
                <a:gd name="T1" fmla="*/ 36 h 599"/>
                <a:gd name="T2" fmla="*/ 417 w 600"/>
                <a:gd name="T3" fmla="*/ 56 h 599"/>
                <a:gd name="T4" fmla="*/ 471 w 600"/>
                <a:gd name="T5" fmla="*/ 92 h 599"/>
                <a:gd name="T6" fmla="*/ 516 w 600"/>
                <a:gd name="T7" fmla="*/ 139 h 599"/>
                <a:gd name="T8" fmla="*/ 548 w 600"/>
                <a:gd name="T9" fmla="*/ 194 h 599"/>
                <a:gd name="T10" fmla="*/ 566 w 600"/>
                <a:gd name="T11" fmla="*/ 259 h 599"/>
                <a:gd name="T12" fmla="*/ 569 w 600"/>
                <a:gd name="T13" fmla="*/ 327 h 599"/>
                <a:gd name="T14" fmla="*/ 554 w 600"/>
                <a:gd name="T15" fmla="*/ 392 h 599"/>
                <a:gd name="T16" fmla="*/ 524 w 600"/>
                <a:gd name="T17" fmla="*/ 450 h 599"/>
                <a:gd name="T18" fmla="*/ 482 w 600"/>
                <a:gd name="T19" fmla="*/ 499 h 599"/>
                <a:gd name="T20" fmla="*/ 428 w 600"/>
                <a:gd name="T21" fmla="*/ 537 h 599"/>
                <a:gd name="T22" fmla="*/ 367 w 600"/>
                <a:gd name="T23" fmla="*/ 561 h 599"/>
                <a:gd name="T24" fmla="*/ 300 w 600"/>
                <a:gd name="T25" fmla="*/ 569 h 599"/>
                <a:gd name="T26" fmla="*/ 233 w 600"/>
                <a:gd name="T27" fmla="*/ 561 h 599"/>
                <a:gd name="T28" fmla="*/ 172 w 600"/>
                <a:gd name="T29" fmla="*/ 537 h 599"/>
                <a:gd name="T30" fmla="*/ 119 w 600"/>
                <a:gd name="T31" fmla="*/ 499 h 599"/>
                <a:gd name="T32" fmla="*/ 76 w 600"/>
                <a:gd name="T33" fmla="*/ 450 h 599"/>
                <a:gd name="T34" fmla="*/ 46 w 600"/>
                <a:gd name="T35" fmla="*/ 392 h 599"/>
                <a:gd name="T36" fmla="*/ 31 w 600"/>
                <a:gd name="T37" fmla="*/ 327 h 599"/>
                <a:gd name="T38" fmla="*/ 34 w 600"/>
                <a:gd name="T39" fmla="*/ 259 h 599"/>
                <a:gd name="T40" fmla="*/ 52 w 600"/>
                <a:gd name="T41" fmla="*/ 194 h 599"/>
                <a:gd name="T42" fmla="*/ 84 w 600"/>
                <a:gd name="T43" fmla="*/ 139 h 599"/>
                <a:gd name="T44" fmla="*/ 129 w 600"/>
                <a:gd name="T45" fmla="*/ 92 h 599"/>
                <a:gd name="T46" fmla="*/ 183 w 600"/>
                <a:gd name="T47" fmla="*/ 56 h 599"/>
                <a:gd name="T48" fmla="*/ 245 w 600"/>
                <a:gd name="T49" fmla="*/ 36 h 599"/>
                <a:gd name="T50" fmla="*/ 300 w 600"/>
                <a:gd name="T51" fmla="*/ 599 h 599"/>
                <a:gd name="T52" fmla="*/ 375 w 600"/>
                <a:gd name="T53" fmla="*/ 590 h 599"/>
                <a:gd name="T54" fmla="*/ 443 w 600"/>
                <a:gd name="T55" fmla="*/ 563 h 599"/>
                <a:gd name="T56" fmla="*/ 501 w 600"/>
                <a:gd name="T57" fmla="*/ 522 h 599"/>
                <a:gd name="T58" fmla="*/ 548 w 600"/>
                <a:gd name="T59" fmla="*/ 467 h 599"/>
                <a:gd name="T60" fmla="*/ 581 w 600"/>
                <a:gd name="T61" fmla="*/ 403 h 599"/>
                <a:gd name="T62" fmla="*/ 599 w 600"/>
                <a:gd name="T63" fmla="*/ 330 h 599"/>
                <a:gd name="T64" fmla="*/ 596 w 600"/>
                <a:gd name="T65" fmla="*/ 254 h 599"/>
                <a:gd name="T66" fmla="*/ 576 w 600"/>
                <a:gd name="T67" fmla="*/ 184 h 599"/>
                <a:gd name="T68" fmla="*/ 541 w 600"/>
                <a:gd name="T69" fmla="*/ 121 h 599"/>
                <a:gd name="T70" fmla="*/ 490 w 600"/>
                <a:gd name="T71" fmla="*/ 68 h 599"/>
                <a:gd name="T72" fmla="*/ 431 w 600"/>
                <a:gd name="T73" fmla="*/ 30 h 599"/>
                <a:gd name="T74" fmla="*/ 361 w 600"/>
                <a:gd name="T75" fmla="*/ 6 h 599"/>
                <a:gd name="T76" fmla="*/ 285 w 600"/>
                <a:gd name="T77" fmla="*/ 1 h 599"/>
                <a:gd name="T78" fmla="*/ 211 w 600"/>
                <a:gd name="T79" fmla="*/ 14 h 599"/>
                <a:gd name="T80" fmla="*/ 145 w 600"/>
                <a:gd name="T81" fmla="*/ 44 h 599"/>
                <a:gd name="T82" fmla="*/ 88 w 600"/>
                <a:gd name="T83" fmla="*/ 87 h 599"/>
                <a:gd name="T84" fmla="*/ 44 w 600"/>
                <a:gd name="T85" fmla="*/ 144 h 599"/>
                <a:gd name="T86" fmla="*/ 14 w 600"/>
                <a:gd name="T87" fmla="*/ 210 h 599"/>
                <a:gd name="T88" fmla="*/ 1 w 600"/>
                <a:gd name="T89" fmla="*/ 284 h 599"/>
                <a:gd name="T90" fmla="*/ 7 w 600"/>
                <a:gd name="T91" fmla="*/ 360 h 599"/>
                <a:gd name="T92" fmla="*/ 30 w 600"/>
                <a:gd name="T93" fmla="*/ 430 h 599"/>
                <a:gd name="T94" fmla="*/ 69 w 600"/>
                <a:gd name="T95" fmla="*/ 490 h 599"/>
                <a:gd name="T96" fmla="*/ 121 w 600"/>
                <a:gd name="T97" fmla="*/ 540 h 599"/>
                <a:gd name="T98" fmla="*/ 183 w 600"/>
                <a:gd name="T99" fmla="*/ 575 h 599"/>
                <a:gd name="T100" fmla="*/ 255 w 600"/>
                <a:gd name="T101" fmla="*/ 5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0" h="599">
                  <a:moveTo>
                    <a:pt x="300" y="30"/>
                  </a:moveTo>
                  <a:lnTo>
                    <a:pt x="314" y="31"/>
                  </a:lnTo>
                  <a:lnTo>
                    <a:pt x="328" y="32"/>
                  </a:lnTo>
                  <a:lnTo>
                    <a:pt x="342" y="33"/>
                  </a:lnTo>
                  <a:lnTo>
                    <a:pt x="355" y="36"/>
                  </a:lnTo>
                  <a:lnTo>
                    <a:pt x="367" y="38"/>
                  </a:lnTo>
                  <a:lnTo>
                    <a:pt x="380" y="42"/>
                  </a:lnTo>
                  <a:lnTo>
                    <a:pt x="393" y="47"/>
                  </a:lnTo>
                  <a:lnTo>
                    <a:pt x="405" y="51"/>
                  </a:lnTo>
                  <a:lnTo>
                    <a:pt x="417" y="56"/>
                  </a:lnTo>
                  <a:lnTo>
                    <a:pt x="428" y="63"/>
                  </a:lnTo>
                  <a:lnTo>
                    <a:pt x="440" y="69"/>
                  </a:lnTo>
                  <a:lnTo>
                    <a:pt x="451" y="77"/>
                  </a:lnTo>
                  <a:lnTo>
                    <a:pt x="462" y="84"/>
                  </a:lnTo>
                  <a:lnTo>
                    <a:pt x="471" y="92"/>
                  </a:lnTo>
                  <a:lnTo>
                    <a:pt x="482" y="100"/>
                  </a:lnTo>
                  <a:lnTo>
                    <a:pt x="490" y="109"/>
                  </a:lnTo>
                  <a:lnTo>
                    <a:pt x="500" y="118"/>
                  </a:lnTo>
                  <a:lnTo>
                    <a:pt x="509" y="128"/>
                  </a:lnTo>
                  <a:lnTo>
                    <a:pt x="516" y="139"/>
                  </a:lnTo>
                  <a:lnTo>
                    <a:pt x="524" y="149"/>
                  </a:lnTo>
                  <a:lnTo>
                    <a:pt x="531" y="160"/>
                  </a:lnTo>
                  <a:lnTo>
                    <a:pt x="538" y="171"/>
                  </a:lnTo>
                  <a:lnTo>
                    <a:pt x="543" y="183"/>
                  </a:lnTo>
                  <a:lnTo>
                    <a:pt x="548" y="194"/>
                  </a:lnTo>
                  <a:lnTo>
                    <a:pt x="554" y="207"/>
                  </a:lnTo>
                  <a:lnTo>
                    <a:pt x="558" y="220"/>
                  </a:lnTo>
                  <a:lnTo>
                    <a:pt x="561" y="233"/>
                  </a:lnTo>
                  <a:lnTo>
                    <a:pt x="564" y="246"/>
                  </a:lnTo>
                  <a:lnTo>
                    <a:pt x="566" y="259"/>
                  </a:lnTo>
                  <a:lnTo>
                    <a:pt x="569" y="272"/>
                  </a:lnTo>
                  <a:lnTo>
                    <a:pt x="570" y="285"/>
                  </a:lnTo>
                  <a:lnTo>
                    <a:pt x="570" y="299"/>
                  </a:lnTo>
                  <a:lnTo>
                    <a:pt x="570" y="313"/>
                  </a:lnTo>
                  <a:lnTo>
                    <a:pt x="569" y="327"/>
                  </a:lnTo>
                  <a:lnTo>
                    <a:pt x="566" y="341"/>
                  </a:lnTo>
                  <a:lnTo>
                    <a:pt x="564" y="354"/>
                  </a:lnTo>
                  <a:lnTo>
                    <a:pt x="561" y="367"/>
                  </a:lnTo>
                  <a:lnTo>
                    <a:pt x="558" y="379"/>
                  </a:lnTo>
                  <a:lnTo>
                    <a:pt x="554" y="392"/>
                  </a:lnTo>
                  <a:lnTo>
                    <a:pt x="548" y="404"/>
                  </a:lnTo>
                  <a:lnTo>
                    <a:pt x="543" y="417"/>
                  </a:lnTo>
                  <a:lnTo>
                    <a:pt x="538" y="428"/>
                  </a:lnTo>
                  <a:lnTo>
                    <a:pt x="531" y="439"/>
                  </a:lnTo>
                  <a:lnTo>
                    <a:pt x="524" y="450"/>
                  </a:lnTo>
                  <a:lnTo>
                    <a:pt x="516" y="461"/>
                  </a:lnTo>
                  <a:lnTo>
                    <a:pt x="509" y="471"/>
                  </a:lnTo>
                  <a:lnTo>
                    <a:pt x="500" y="481"/>
                  </a:lnTo>
                  <a:lnTo>
                    <a:pt x="490" y="491"/>
                  </a:lnTo>
                  <a:lnTo>
                    <a:pt x="482" y="499"/>
                  </a:lnTo>
                  <a:lnTo>
                    <a:pt x="471" y="508"/>
                  </a:lnTo>
                  <a:lnTo>
                    <a:pt x="462" y="515"/>
                  </a:lnTo>
                  <a:lnTo>
                    <a:pt x="451" y="523"/>
                  </a:lnTo>
                  <a:lnTo>
                    <a:pt x="440" y="530"/>
                  </a:lnTo>
                  <a:lnTo>
                    <a:pt x="428" y="537"/>
                  </a:lnTo>
                  <a:lnTo>
                    <a:pt x="417" y="543"/>
                  </a:lnTo>
                  <a:lnTo>
                    <a:pt x="405" y="548"/>
                  </a:lnTo>
                  <a:lnTo>
                    <a:pt x="393" y="553"/>
                  </a:lnTo>
                  <a:lnTo>
                    <a:pt x="380" y="557"/>
                  </a:lnTo>
                  <a:lnTo>
                    <a:pt x="367" y="561"/>
                  </a:lnTo>
                  <a:lnTo>
                    <a:pt x="355" y="563"/>
                  </a:lnTo>
                  <a:lnTo>
                    <a:pt x="342" y="567"/>
                  </a:lnTo>
                  <a:lnTo>
                    <a:pt x="328" y="568"/>
                  </a:lnTo>
                  <a:lnTo>
                    <a:pt x="314" y="569"/>
                  </a:lnTo>
                  <a:lnTo>
                    <a:pt x="300" y="569"/>
                  </a:lnTo>
                  <a:lnTo>
                    <a:pt x="286" y="569"/>
                  </a:lnTo>
                  <a:lnTo>
                    <a:pt x="272" y="568"/>
                  </a:lnTo>
                  <a:lnTo>
                    <a:pt x="259" y="567"/>
                  </a:lnTo>
                  <a:lnTo>
                    <a:pt x="245" y="563"/>
                  </a:lnTo>
                  <a:lnTo>
                    <a:pt x="233" y="561"/>
                  </a:lnTo>
                  <a:lnTo>
                    <a:pt x="220" y="557"/>
                  </a:lnTo>
                  <a:lnTo>
                    <a:pt x="208" y="553"/>
                  </a:lnTo>
                  <a:lnTo>
                    <a:pt x="195" y="548"/>
                  </a:lnTo>
                  <a:lnTo>
                    <a:pt x="183" y="543"/>
                  </a:lnTo>
                  <a:lnTo>
                    <a:pt x="172" y="537"/>
                  </a:lnTo>
                  <a:lnTo>
                    <a:pt x="161" y="530"/>
                  </a:lnTo>
                  <a:lnTo>
                    <a:pt x="149" y="523"/>
                  </a:lnTo>
                  <a:lnTo>
                    <a:pt x="138" y="515"/>
                  </a:lnTo>
                  <a:lnTo>
                    <a:pt x="129" y="508"/>
                  </a:lnTo>
                  <a:lnTo>
                    <a:pt x="119" y="499"/>
                  </a:lnTo>
                  <a:lnTo>
                    <a:pt x="110" y="491"/>
                  </a:lnTo>
                  <a:lnTo>
                    <a:pt x="101" y="481"/>
                  </a:lnTo>
                  <a:lnTo>
                    <a:pt x="92" y="471"/>
                  </a:lnTo>
                  <a:lnTo>
                    <a:pt x="84" y="461"/>
                  </a:lnTo>
                  <a:lnTo>
                    <a:pt x="76" y="450"/>
                  </a:lnTo>
                  <a:lnTo>
                    <a:pt x="70" y="439"/>
                  </a:lnTo>
                  <a:lnTo>
                    <a:pt x="64" y="428"/>
                  </a:lnTo>
                  <a:lnTo>
                    <a:pt x="57" y="417"/>
                  </a:lnTo>
                  <a:lnTo>
                    <a:pt x="52" y="404"/>
                  </a:lnTo>
                  <a:lnTo>
                    <a:pt x="46" y="392"/>
                  </a:lnTo>
                  <a:lnTo>
                    <a:pt x="43" y="379"/>
                  </a:lnTo>
                  <a:lnTo>
                    <a:pt x="39" y="367"/>
                  </a:lnTo>
                  <a:lnTo>
                    <a:pt x="36" y="354"/>
                  </a:lnTo>
                  <a:lnTo>
                    <a:pt x="34" y="341"/>
                  </a:lnTo>
                  <a:lnTo>
                    <a:pt x="31" y="327"/>
                  </a:lnTo>
                  <a:lnTo>
                    <a:pt x="31" y="313"/>
                  </a:lnTo>
                  <a:lnTo>
                    <a:pt x="30" y="299"/>
                  </a:lnTo>
                  <a:lnTo>
                    <a:pt x="31" y="285"/>
                  </a:lnTo>
                  <a:lnTo>
                    <a:pt x="31" y="272"/>
                  </a:lnTo>
                  <a:lnTo>
                    <a:pt x="34" y="259"/>
                  </a:lnTo>
                  <a:lnTo>
                    <a:pt x="36" y="246"/>
                  </a:lnTo>
                  <a:lnTo>
                    <a:pt x="39" y="232"/>
                  </a:lnTo>
                  <a:lnTo>
                    <a:pt x="43" y="220"/>
                  </a:lnTo>
                  <a:lnTo>
                    <a:pt x="46" y="207"/>
                  </a:lnTo>
                  <a:lnTo>
                    <a:pt x="52" y="194"/>
                  </a:lnTo>
                  <a:lnTo>
                    <a:pt x="57" y="183"/>
                  </a:lnTo>
                  <a:lnTo>
                    <a:pt x="64" y="171"/>
                  </a:lnTo>
                  <a:lnTo>
                    <a:pt x="70" y="160"/>
                  </a:lnTo>
                  <a:lnTo>
                    <a:pt x="76" y="149"/>
                  </a:lnTo>
                  <a:lnTo>
                    <a:pt x="84" y="139"/>
                  </a:lnTo>
                  <a:lnTo>
                    <a:pt x="92" y="128"/>
                  </a:lnTo>
                  <a:lnTo>
                    <a:pt x="101" y="118"/>
                  </a:lnTo>
                  <a:lnTo>
                    <a:pt x="110" y="109"/>
                  </a:lnTo>
                  <a:lnTo>
                    <a:pt x="119" y="100"/>
                  </a:lnTo>
                  <a:lnTo>
                    <a:pt x="129" y="92"/>
                  </a:lnTo>
                  <a:lnTo>
                    <a:pt x="138" y="84"/>
                  </a:lnTo>
                  <a:lnTo>
                    <a:pt x="149" y="77"/>
                  </a:lnTo>
                  <a:lnTo>
                    <a:pt x="161" y="69"/>
                  </a:lnTo>
                  <a:lnTo>
                    <a:pt x="172" y="63"/>
                  </a:lnTo>
                  <a:lnTo>
                    <a:pt x="183" y="56"/>
                  </a:lnTo>
                  <a:lnTo>
                    <a:pt x="195" y="51"/>
                  </a:lnTo>
                  <a:lnTo>
                    <a:pt x="208" y="47"/>
                  </a:lnTo>
                  <a:lnTo>
                    <a:pt x="220" y="42"/>
                  </a:lnTo>
                  <a:lnTo>
                    <a:pt x="233" y="38"/>
                  </a:lnTo>
                  <a:lnTo>
                    <a:pt x="245" y="36"/>
                  </a:lnTo>
                  <a:lnTo>
                    <a:pt x="259" y="33"/>
                  </a:lnTo>
                  <a:lnTo>
                    <a:pt x="272" y="32"/>
                  </a:lnTo>
                  <a:lnTo>
                    <a:pt x="286" y="31"/>
                  </a:lnTo>
                  <a:lnTo>
                    <a:pt x="300" y="30"/>
                  </a:lnTo>
                  <a:close/>
                  <a:moveTo>
                    <a:pt x="300" y="599"/>
                  </a:moveTo>
                  <a:lnTo>
                    <a:pt x="316" y="599"/>
                  </a:lnTo>
                  <a:lnTo>
                    <a:pt x="331" y="598"/>
                  </a:lnTo>
                  <a:lnTo>
                    <a:pt x="346" y="595"/>
                  </a:lnTo>
                  <a:lnTo>
                    <a:pt x="361" y="593"/>
                  </a:lnTo>
                  <a:lnTo>
                    <a:pt x="375" y="590"/>
                  </a:lnTo>
                  <a:lnTo>
                    <a:pt x="389" y="586"/>
                  </a:lnTo>
                  <a:lnTo>
                    <a:pt x="403" y="580"/>
                  </a:lnTo>
                  <a:lnTo>
                    <a:pt x="417" y="575"/>
                  </a:lnTo>
                  <a:lnTo>
                    <a:pt x="431" y="570"/>
                  </a:lnTo>
                  <a:lnTo>
                    <a:pt x="443" y="563"/>
                  </a:lnTo>
                  <a:lnTo>
                    <a:pt x="455" y="556"/>
                  </a:lnTo>
                  <a:lnTo>
                    <a:pt x="468" y="548"/>
                  </a:lnTo>
                  <a:lnTo>
                    <a:pt x="480" y="540"/>
                  </a:lnTo>
                  <a:lnTo>
                    <a:pt x="490" y="530"/>
                  </a:lnTo>
                  <a:lnTo>
                    <a:pt x="501" y="522"/>
                  </a:lnTo>
                  <a:lnTo>
                    <a:pt x="512" y="511"/>
                  </a:lnTo>
                  <a:lnTo>
                    <a:pt x="521" y="501"/>
                  </a:lnTo>
                  <a:lnTo>
                    <a:pt x="531" y="490"/>
                  </a:lnTo>
                  <a:lnTo>
                    <a:pt x="541" y="479"/>
                  </a:lnTo>
                  <a:lnTo>
                    <a:pt x="548" y="467"/>
                  </a:lnTo>
                  <a:lnTo>
                    <a:pt x="557" y="455"/>
                  </a:lnTo>
                  <a:lnTo>
                    <a:pt x="563" y="443"/>
                  </a:lnTo>
                  <a:lnTo>
                    <a:pt x="571" y="430"/>
                  </a:lnTo>
                  <a:lnTo>
                    <a:pt x="576" y="416"/>
                  </a:lnTo>
                  <a:lnTo>
                    <a:pt x="581" y="403"/>
                  </a:lnTo>
                  <a:lnTo>
                    <a:pt x="587" y="389"/>
                  </a:lnTo>
                  <a:lnTo>
                    <a:pt x="590" y="374"/>
                  </a:lnTo>
                  <a:lnTo>
                    <a:pt x="594" y="360"/>
                  </a:lnTo>
                  <a:lnTo>
                    <a:pt x="596" y="345"/>
                  </a:lnTo>
                  <a:lnTo>
                    <a:pt x="599" y="330"/>
                  </a:lnTo>
                  <a:lnTo>
                    <a:pt x="600" y="315"/>
                  </a:lnTo>
                  <a:lnTo>
                    <a:pt x="600" y="299"/>
                  </a:lnTo>
                  <a:lnTo>
                    <a:pt x="600" y="284"/>
                  </a:lnTo>
                  <a:lnTo>
                    <a:pt x="599" y="269"/>
                  </a:lnTo>
                  <a:lnTo>
                    <a:pt x="596" y="254"/>
                  </a:lnTo>
                  <a:lnTo>
                    <a:pt x="594" y="239"/>
                  </a:lnTo>
                  <a:lnTo>
                    <a:pt x="590" y="225"/>
                  </a:lnTo>
                  <a:lnTo>
                    <a:pt x="587" y="210"/>
                  </a:lnTo>
                  <a:lnTo>
                    <a:pt x="581" y="196"/>
                  </a:lnTo>
                  <a:lnTo>
                    <a:pt x="576" y="184"/>
                  </a:lnTo>
                  <a:lnTo>
                    <a:pt x="571" y="170"/>
                  </a:lnTo>
                  <a:lnTo>
                    <a:pt x="563" y="157"/>
                  </a:lnTo>
                  <a:lnTo>
                    <a:pt x="557" y="144"/>
                  </a:lnTo>
                  <a:lnTo>
                    <a:pt x="548" y="132"/>
                  </a:lnTo>
                  <a:lnTo>
                    <a:pt x="541" y="121"/>
                  </a:lnTo>
                  <a:lnTo>
                    <a:pt x="531" y="109"/>
                  </a:lnTo>
                  <a:lnTo>
                    <a:pt x="521" y="98"/>
                  </a:lnTo>
                  <a:lnTo>
                    <a:pt x="512" y="88"/>
                  </a:lnTo>
                  <a:lnTo>
                    <a:pt x="501" y="78"/>
                  </a:lnTo>
                  <a:lnTo>
                    <a:pt x="490" y="68"/>
                  </a:lnTo>
                  <a:lnTo>
                    <a:pt x="480" y="60"/>
                  </a:lnTo>
                  <a:lnTo>
                    <a:pt x="468" y="51"/>
                  </a:lnTo>
                  <a:lnTo>
                    <a:pt x="455" y="44"/>
                  </a:lnTo>
                  <a:lnTo>
                    <a:pt x="443" y="36"/>
                  </a:lnTo>
                  <a:lnTo>
                    <a:pt x="431" y="30"/>
                  </a:lnTo>
                  <a:lnTo>
                    <a:pt x="417" y="23"/>
                  </a:lnTo>
                  <a:lnTo>
                    <a:pt x="403" y="18"/>
                  </a:lnTo>
                  <a:lnTo>
                    <a:pt x="389" y="14"/>
                  </a:lnTo>
                  <a:lnTo>
                    <a:pt x="375" y="9"/>
                  </a:lnTo>
                  <a:lnTo>
                    <a:pt x="361" y="6"/>
                  </a:lnTo>
                  <a:lnTo>
                    <a:pt x="346" y="4"/>
                  </a:lnTo>
                  <a:lnTo>
                    <a:pt x="331" y="2"/>
                  </a:lnTo>
                  <a:lnTo>
                    <a:pt x="316" y="1"/>
                  </a:lnTo>
                  <a:lnTo>
                    <a:pt x="300" y="0"/>
                  </a:lnTo>
                  <a:lnTo>
                    <a:pt x="285" y="1"/>
                  </a:lnTo>
                  <a:lnTo>
                    <a:pt x="270" y="2"/>
                  </a:lnTo>
                  <a:lnTo>
                    <a:pt x="255" y="4"/>
                  </a:lnTo>
                  <a:lnTo>
                    <a:pt x="240" y="6"/>
                  </a:lnTo>
                  <a:lnTo>
                    <a:pt x="225" y="9"/>
                  </a:lnTo>
                  <a:lnTo>
                    <a:pt x="211" y="14"/>
                  </a:lnTo>
                  <a:lnTo>
                    <a:pt x="197" y="18"/>
                  </a:lnTo>
                  <a:lnTo>
                    <a:pt x="183" y="23"/>
                  </a:lnTo>
                  <a:lnTo>
                    <a:pt x="171" y="30"/>
                  </a:lnTo>
                  <a:lnTo>
                    <a:pt x="158" y="36"/>
                  </a:lnTo>
                  <a:lnTo>
                    <a:pt x="145" y="44"/>
                  </a:lnTo>
                  <a:lnTo>
                    <a:pt x="133" y="51"/>
                  </a:lnTo>
                  <a:lnTo>
                    <a:pt x="121" y="60"/>
                  </a:lnTo>
                  <a:lnTo>
                    <a:pt x="110" y="68"/>
                  </a:lnTo>
                  <a:lnTo>
                    <a:pt x="99" y="78"/>
                  </a:lnTo>
                  <a:lnTo>
                    <a:pt x="88" y="87"/>
                  </a:lnTo>
                  <a:lnTo>
                    <a:pt x="79" y="98"/>
                  </a:lnTo>
                  <a:lnTo>
                    <a:pt x="69" y="109"/>
                  </a:lnTo>
                  <a:lnTo>
                    <a:pt x="60" y="121"/>
                  </a:lnTo>
                  <a:lnTo>
                    <a:pt x="52" y="132"/>
                  </a:lnTo>
                  <a:lnTo>
                    <a:pt x="44" y="144"/>
                  </a:lnTo>
                  <a:lnTo>
                    <a:pt x="37" y="157"/>
                  </a:lnTo>
                  <a:lnTo>
                    <a:pt x="30" y="170"/>
                  </a:lnTo>
                  <a:lnTo>
                    <a:pt x="24" y="184"/>
                  </a:lnTo>
                  <a:lnTo>
                    <a:pt x="19" y="196"/>
                  </a:lnTo>
                  <a:lnTo>
                    <a:pt x="14" y="210"/>
                  </a:lnTo>
                  <a:lnTo>
                    <a:pt x="10" y="225"/>
                  </a:lnTo>
                  <a:lnTo>
                    <a:pt x="7" y="239"/>
                  </a:lnTo>
                  <a:lnTo>
                    <a:pt x="4" y="254"/>
                  </a:lnTo>
                  <a:lnTo>
                    <a:pt x="3" y="269"/>
                  </a:lnTo>
                  <a:lnTo>
                    <a:pt x="1" y="284"/>
                  </a:lnTo>
                  <a:lnTo>
                    <a:pt x="0" y="299"/>
                  </a:lnTo>
                  <a:lnTo>
                    <a:pt x="1" y="315"/>
                  </a:lnTo>
                  <a:lnTo>
                    <a:pt x="3" y="330"/>
                  </a:lnTo>
                  <a:lnTo>
                    <a:pt x="4" y="345"/>
                  </a:lnTo>
                  <a:lnTo>
                    <a:pt x="7" y="360"/>
                  </a:lnTo>
                  <a:lnTo>
                    <a:pt x="10" y="374"/>
                  </a:lnTo>
                  <a:lnTo>
                    <a:pt x="14" y="389"/>
                  </a:lnTo>
                  <a:lnTo>
                    <a:pt x="19" y="403"/>
                  </a:lnTo>
                  <a:lnTo>
                    <a:pt x="24" y="416"/>
                  </a:lnTo>
                  <a:lnTo>
                    <a:pt x="30" y="430"/>
                  </a:lnTo>
                  <a:lnTo>
                    <a:pt x="37" y="443"/>
                  </a:lnTo>
                  <a:lnTo>
                    <a:pt x="44" y="455"/>
                  </a:lnTo>
                  <a:lnTo>
                    <a:pt x="52" y="467"/>
                  </a:lnTo>
                  <a:lnTo>
                    <a:pt x="60" y="479"/>
                  </a:lnTo>
                  <a:lnTo>
                    <a:pt x="69" y="490"/>
                  </a:lnTo>
                  <a:lnTo>
                    <a:pt x="79" y="501"/>
                  </a:lnTo>
                  <a:lnTo>
                    <a:pt x="88" y="511"/>
                  </a:lnTo>
                  <a:lnTo>
                    <a:pt x="99" y="522"/>
                  </a:lnTo>
                  <a:lnTo>
                    <a:pt x="110" y="530"/>
                  </a:lnTo>
                  <a:lnTo>
                    <a:pt x="121" y="540"/>
                  </a:lnTo>
                  <a:lnTo>
                    <a:pt x="133" y="548"/>
                  </a:lnTo>
                  <a:lnTo>
                    <a:pt x="145" y="556"/>
                  </a:lnTo>
                  <a:lnTo>
                    <a:pt x="158" y="563"/>
                  </a:lnTo>
                  <a:lnTo>
                    <a:pt x="171" y="570"/>
                  </a:lnTo>
                  <a:lnTo>
                    <a:pt x="183" y="575"/>
                  </a:lnTo>
                  <a:lnTo>
                    <a:pt x="197" y="580"/>
                  </a:lnTo>
                  <a:lnTo>
                    <a:pt x="211" y="586"/>
                  </a:lnTo>
                  <a:lnTo>
                    <a:pt x="225" y="590"/>
                  </a:lnTo>
                  <a:lnTo>
                    <a:pt x="240" y="593"/>
                  </a:lnTo>
                  <a:lnTo>
                    <a:pt x="255" y="595"/>
                  </a:lnTo>
                  <a:lnTo>
                    <a:pt x="270" y="598"/>
                  </a:lnTo>
                  <a:lnTo>
                    <a:pt x="285" y="599"/>
                  </a:lnTo>
                  <a:lnTo>
                    <a:pt x="300" y="5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24">
              <a:extLst>
                <a:ext uri="{FF2B5EF4-FFF2-40B4-BE49-F238E27FC236}">
                  <a16:creationId xmlns:a16="http://schemas.microsoft.com/office/drawing/2014/main" id="{EAB56BC9-0710-4004-B0D2-A8AA25B87953}"/>
                </a:ext>
              </a:extLst>
            </p:cNvPr>
            <p:cNvSpPr>
              <a:spLocks noEditPoints="1"/>
            </p:cNvSpPr>
            <p:nvPr/>
          </p:nvSpPr>
          <p:spPr bwMode="auto">
            <a:xfrm>
              <a:off x="2066925" y="785813"/>
              <a:ext cx="238125" cy="285750"/>
            </a:xfrm>
            <a:custGeom>
              <a:avLst/>
              <a:gdLst>
                <a:gd name="T0" fmla="*/ 315 w 749"/>
                <a:gd name="T1" fmla="*/ 794 h 899"/>
                <a:gd name="T2" fmla="*/ 345 w 749"/>
                <a:gd name="T3" fmla="*/ 748 h 899"/>
                <a:gd name="T4" fmla="*/ 218 w 749"/>
                <a:gd name="T5" fmla="*/ 842 h 899"/>
                <a:gd name="T6" fmla="*/ 330 w 749"/>
                <a:gd name="T7" fmla="*/ 823 h 899"/>
                <a:gd name="T8" fmla="*/ 442 w 749"/>
                <a:gd name="T9" fmla="*/ 842 h 899"/>
                <a:gd name="T10" fmla="*/ 626 w 749"/>
                <a:gd name="T11" fmla="*/ 627 h 899"/>
                <a:gd name="T12" fmla="*/ 691 w 749"/>
                <a:gd name="T13" fmla="*/ 545 h 899"/>
                <a:gd name="T14" fmla="*/ 731 w 749"/>
                <a:gd name="T15" fmla="*/ 453 h 899"/>
                <a:gd name="T16" fmla="*/ 748 w 749"/>
                <a:gd name="T17" fmla="*/ 356 h 899"/>
                <a:gd name="T18" fmla="*/ 743 w 749"/>
                <a:gd name="T19" fmla="*/ 259 h 899"/>
                <a:gd name="T20" fmla="*/ 715 w 749"/>
                <a:gd name="T21" fmla="*/ 163 h 899"/>
                <a:gd name="T22" fmla="*/ 664 w 749"/>
                <a:gd name="T23" fmla="*/ 76 h 899"/>
                <a:gd name="T24" fmla="*/ 658 w 749"/>
                <a:gd name="T25" fmla="*/ 21 h 899"/>
                <a:gd name="T26" fmla="*/ 657 w 749"/>
                <a:gd name="T27" fmla="*/ 7 h 899"/>
                <a:gd name="T28" fmla="*/ 645 w 749"/>
                <a:gd name="T29" fmla="*/ 0 h 899"/>
                <a:gd name="T30" fmla="*/ 606 w 749"/>
                <a:gd name="T31" fmla="*/ 33 h 899"/>
                <a:gd name="T32" fmla="*/ 570 w 749"/>
                <a:gd name="T33" fmla="*/ 75 h 899"/>
                <a:gd name="T34" fmla="*/ 576 w 749"/>
                <a:gd name="T35" fmla="*/ 87 h 899"/>
                <a:gd name="T36" fmla="*/ 591 w 749"/>
                <a:gd name="T37" fmla="*/ 89 h 899"/>
                <a:gd name="T38" fmla="*/ 640 w 749"/>
                <a:gd name="T39" fmla="*/ 95 h 899"/>
                <a:gd name="T40" fmla="*/ 688 w 749"/>
                <a:gd name="T41" fmla="*/ 176 h 899"/>
                <a:gd name="T42" fmla="*/ 714 w 749"/>
                <a:gd name="T43" fmla="*/ 264 h 899"/>
                <a:gd name="T44" fmla="*/ 718 w 749"/>
                <a:gd name="T45" fmla="*/ 355 h 899"/>
                <a:gd name="T46" fmla="*/ 702 w 749"/>
                <a:gd name="T47" fmla="*/ 445 h 899"/>
                <a:gd name="T48" fmla="*/ 665 w 749"/>
                <a:gd name="T49" fmla="*/ 529 h 899"/>
                <a:gd name="T50" fmla="*/ 606 w 749"/>
                <a:gd name="T51" fmla="*/ 605 h 899"/>
                <a:gd name="T52" fmla="*/ 530 w 749"/>
                <a:gd name="T53" fmla="*/ 664 h 899"/>
                <a:gd name="T54" fmla="*/ 446 w 749"/>
                <a:gd name="T55" fmla="*/ 701 h 899"/>
                <a:gd name="T56" fmla="*/ 356 w 749"/>
                <a:gd name="T57" fmla="*/ 717 h 899"/>
                <a:gd name="T58" fmla="*/ 265 w 749"/>
                <a:gd name="T59" fmla="*/ 713 h 899"/>
                <a:gd name="T60" fmla="*/ 176 w 749"/>
                <a:gd name="T61" fmla="*/ 687 h 899"/>
                <a:gd name="T62" fmla="*/ 96 w 749"/>
                <a:gd name="T63" fmla="*/ 640 h 899"/>
                <a:gd name="T64" fmla="*/ 89 w 749"/>
                <a:gd name="T65" fmla="*/ 590 h 899"/>
                <a:gd name="T66" fmla="*/ 88 w 749"/>
                <a:gd name="T67" fmla="*/ 576 h 899"/>
                <a:gd name="T68" fmla="*/ 75 w 749"/>
                <a:gd name="T69" fmla="*/ 569 h 899"/>
                <a:gd name="T70" fmla="*/ 5 w 749"/>
                <a:gd name="T71" fmla="*/ 633 h 899"/>
                <a:gd name="T72" fmla="*/ 0 w 749"/>
                <a:gd name="T73" fmla="*/ 647 h 899"/>
                <a:gd name="T74" fmla="*/ 10 w 749"/>
                <a:gd name="T75" fmla="*/ 658 h 899"/>
                <a:gd name="T76" fmla="*/ 24 w 749"/>
                <a:gd name="T77" fmla="*/ 656 h 899"/>
                <a:gd name="T78" fmla="*/ 85 w 749"/>
                <a:gd name="T79" fmla="*/ 669 h 899"/>
                <a:gd name="T80" fmla="*/ 158 w 749"/>
                <a:gd name="T81" fmla="*/ 712 h 899"/>
                <a:gd name="T82" fmla="*/ 237 w 749"/>
                <a:gd name="T83" fmla="*/ 738 h 899"/>
                <a:gd name="T84" fmla="*/ 259 w 749"/>
                <a:gd name="T85" fmla="*/ 801 h 899"/>
                <a:gd name="T86" fmla="*/ 140 w 749"/>
                <a:gd name="T87" fmla="*/ 844 h 899"/>
                <a:gd name="T88" fmla="*/ 90 w 749"/>
                <a:gd name="T89" fmla="*/ 884 h 899"/>
                <a:gd name="T90" fmla="*/ 105 w 749"/>
                <a:gd name="T91" fmla="*/ 899 h 899"/>
                <a:gd name="T92" fmla="*/ 570 w 749"/>
                <a:gd name="T93" fmla="*/ 889 h 899"/>
                <a:gd name="T94" fmla="*/ 543 w 749"/>
                <a:gd name="T95" fmla="*/ 856 h 899"/>
                <a:gd name="T96" fmla="*/ 425 w 749"/>
                <a:gd name="T97" fmla="*/ 806 h 899"/>
                <a:gd name="T98" fmla="*/ 409 w 749"/>
                <a:gd name="T99" fmla="*/ 741 h 899"/>
                <a:gd name="T100" fmla="*/ 493 w 749"/>
                <a:gd name="T101" fmla="*/ 716 h 899"/>
                <a:gd name="T102" fmla="*/ 571 w 749"/>
                <a:gd name="T103" fmla="*/ 67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899">
                  <a:moveTo>
                    <a:pt x="345" y="794"/>
                  </a:moveTo>
                  <a:lnTo>
                    <a:pt x="337" y="794"/>
                  </a:lnTo>
                  <a:lnTo>
                    <a:pt x="330" y="794"/>
                  </a:lnTo>
                  <a:lnTo>
                    <a:pt x="323" y="794"/>
                  </a:lnTo>
                  <a:lnTo>
                    <a:pt x="315" y="794"/>
                  </a:lnTo>
                  <a:lnTo>
                    <a:pt x="315" y="748"/>
                  </a:lnTo>
                  <a:lnTo>
                    <a:pt x="323" y="748"/>
                  </a:lnTo>
                  <a:lnTo>
                    <a:pt x="330" y="748"/>
                  </a:lnTo>
                  <a:lnTo>
                    <a:pt x="337" y="748"/>
                  </a:lnTo>
                  <a:lnTo>
                    <a:pt x="345" y="748"/>
                  </a:lnTo>
                  <a:lnTo>
                    <a:pt x="345" y="794"/>
                  </a:lnTo>
                  <a:close/>
                  <a:moveTo>
                    <a:pt x="156" y="869"/>
                  </a:moveTo>
                  <a:lnTo>
                    <a:pt x="176" y="859"/>
                  </a:lnTo>
                  <a:lnTo>
                    <a:pt x="197" y="849"/>
                  </a:lnTo>
                  <a:lnTo>
                    <a:pt x="218" y="842"/>
                  </a:lnTo>
                  <a:lnTo>
                    <a:pt x="240" y="835"/>
                  </a:lnTo>
                  <a:lnTo>
                    <a:pt x="262" y="831"/>
                  </a:lnTo>
                  <a:lnTo>
                    <a:pt x="284" y="827"/>
                  </a:lnTo>
                  <a:lnTo>
                    <a:pt x="308" y="824"/>
                  </a:lnTo>
                  <a:lnTo>
                    <a:pt x="330" y="823"/>
                  </a:lnTo>
                  <a:lnTo>
                    <a:pt x="354" y="824"/>
                  </a:lnTo>
                  <a:lnTo>
                    <a:pt x="376" y="827"/>
                  </a:lnTo>
                  <a:lnTo>
                    <a:pt x="398" y="830"/>
                  </a:lnTo>
                  <a:lnTo>
                    <a:pt x="421" y="835"/>
                  </a:lnTo>
                  <a:lnTo>
                    <a:pt x="442" y="842"/>
                  </a:lnTo>
                  <a:lnTo>
                    <a:pt x="464" y="849"/>
                  </a:lnTo>
                  <a:lnTo>
                    <a:pt x="484" y="859"/>
                  </a:lnTo>
                  <a:lnTo>
                    <a:pt x="504" y="869"/>
                  </a:lnTo>
                  <a:lnTo>
                    <a:pt x="156" y="869"/>
                  </a:lnTo>
                  <a:close/>
                  <a:moveTo>
                    <a:pt x="626" y="627"/>
                  </a:moveTo>
                  <a:lnTo>
                    <a:pt x="641" y="610"/>
                  </a:lnTo>
                  <a:lnTo>
                    <a:pt x="655" y="596"/>
                  </a:lnTo>
                  <a:lnTo>
                    <a:pt x="668" y="578"/>
                  </a:lnTo>
                  <a:lnTo>
                    <a:pt x="680" y="562"/>
                  </a:lnTo>
                  <a:lnTo>
                    <a:pt x="691" y="545"/>
                  </a:lnTo>
                  <a:lnTo>
                    <a:pt x="700" y="527"/>
                  </a:lnTo>
                  <a:lnTo>
                    <a:pt x="710" y="509"/>
                  </a:lnTo>
                  <a:lnTo>
                    <a:pt x="717" y="491"/>
                  </a:lnTo>
                  <a:lnTo>
                    <a:pt x="725" y="473"/>
                  </a:lnTo>
                  <a:lnTo>
                    <a:pt x="731" y="453"/>
                  </a:lnTo>
                  <a:lnTo>
                    <a:pt x="737" y="434"/>
                  </a:lnTo>
                  <a:lnTo>
                    <a:pt x="741" y="415"/>
                  </a:lnTo>
                  <a:lnTo>
                    <a:pt x="744" y="395"/>
                  </a:lnTo>
                  <a:lnTo>
                    <a:pt x="747" y="376"/>
                  </a:lnTo>
                  <a:lnTo>
                    <a:pt x="748" y="356"/>
                  </a:lnTo>
                  <a:lnTo>
                    <a:pt x="749" y="337"/>
                  </a:lnTo>
                  <a:lnTo>
                    <a:pt x="749" y="317"/>
                  </a:lnTo>
                  <a:lnTo>
                    <a:pt x="748" y="297"/>
                  </a:lnTo>
                  <a:lnTo>
                    <a:pt x="746" y="278"/>
                  </a:lnTo>
                  <a:lnTo>
                    <a:pt x="743" y="259"/>
                  </a:lnTo>
                  <a:lnTo>
                    <a:pt x="740" y="238"/>
                  </a:lnTo>
                  <a:lnTo>
                    <a:pt x="734" y="220"/>
                  </a:lnTo>
                  <a:lnTo>
                    <a:pt x="729" y="201"/>
                  </a:lnTo>
                  <a:lnTo>
                    <a:pt x="723" y="182"/>
                  </a:lnTo>
                  <a:lnTo>
                    <a:pt x="715" y="163"/>
                  </a:lnTo>
                  <a:lnTo>
                    <a:pt x="707" y="145"/>
                  </a:lnTo>
                  <a:lnTo>
                    <a:pt x="697" y="127"/>
                  </a:lnTo>
                  <a:lnTo>
                    <a:pt x="687" y="110"/>
                  </a:lnTo>
                  <a:lnTo>
                    <a:pt x="676" y="93"/>
                  </a:lnTo>
                  <a:lnTo>
                    <a:pt x="664" y="76"/>
                  </a:lnTo>
                  <a:lnTo>
                    <a:pt x="651" y="60"/>
                  </a:lnTo>
                  <a:lnTo>
                    <a:pt x="637" y="44"/>
                  </a:lnTo>
                  <a:lnTo>
                    <a:pt x="655" y="25"/>
                  </a:lnTo>
                  <a:lnTo>
                    <a:pt x="657" y="23"/>
                  </a:lnTo>
                  <a:lnTo>
                    <a:pt x="658" y="21"/>
                  </a:lnTo>
                  <a:lnTo>
                    <a:pt x="660" y="18"/>
                  </a:lnTo>
                  <a:lnTo>
                    <a:pt x="660" y="15"/>
                  </a:lnTo>
                  <a:lnTo>
                    <a:pt x="660" y="13"/>
                  </a:lnTo>
                  <a:lnTo>
                    <a:pt x="658" y="9"/>
                  </a:lnTo>
                  <a:lnTo>
                    <a:pt x="657" y="7"/>
                  </a:lnTo>
                  <a:lnTo>
                    <a:pt x="655" y="4"/>
                  </a:lnTo>
                  <a:lnTo>
                    <a:pt x="653" y="3"/>
                  </a:lnTo>
                  <a:lnTo>
                    <a:pt x="651" y="1"/>
                  </a:lnTo>
                  <a:lnTo>
                    <a:pt x="648" y="1"/>
                  </a:lnTo>
                  <a:lnTo>
                    <a:pt x="645" y="0"/>
                  </a:lnTo>
                  <a:lnTo>
                    <a:pt x="642" y="1"/>
                  </a:lnTo>
                  <a:lnTo>
                    <a:pt x="639" y="1"/>
                  </a:lnTo>
                  <a:lnTo>
                    <a:pt x="636" y="3"/>
                  </a:lnTo>
                  <a:lnTo>
                    <a:pt x="634" y="4"/>
                  </a:lnTo>
                  <a:lnTo>
                    <a:pt x="606" y="33"/>
                  </a:lnTo>
                  <a:lnTo>
                    <a:pt x="574" y="64"/>
                  </a:lnTo>
                  <a:lnTo>
                    <a:pt x="572" y="67"/>
                  </a:lnTo>
                  <a:lnTo>
                    <a:pt x="571" y="69"/>
                  </a:lnTo>
                  <a:lnTo>
                    <a:pt x="570" y="72"/>
                  </a:lnTo>
                  <a:lnTo>
                    <a:pt x="570" y="75"/>
                  </a:lnTo>
                  <a:lnTo>
                    <a:pt x="570" y="78"/>
                  </a:lnTo>
                  <a:lnTo>
                    <a:pt x="571" y="81"/>
                  </a:lnTo>
                  <a:lnTo>
                    <a:pt x="572" y="83"/>
                  </a:lnTo>
                  <a:lnTo>
                    <a:pt x="574" y="85"/>
                  </a:lnTo>
                  <a:lnTo>
                    <a:pt x="576" y="87"/>
                  </a:lnTo>
                  <a:lnTo>
                    <a:pt x="579" y="89"/>
                  </a:lnTo>
                  <a:lnTo>
                    <a:pt x="583" y="90"/>
                  </a:lnTo>
                  <a:lnTo>
                    <a:pt x="585" y="90"/>
                  </a:lnTo>
                  <a:lnTo>
                    <a:pt x="588" y="90"/>
                  </a:lnTo>
                  <a:lnTo>
                    <a:pt x="591" y="89"/>
                  </a:lnTo>
                  <a:lnTo>
                    <a:pt x="593" y="87"/>
                  </a:lnTo>
                  <a:lnTo>
                    <a:pt x="595" y="85"/>
                  </a:lnTo>
                  <a:lnTo>
                    <a:pt x="616" y="65"/>
                  </a:lnTo>
                  <a:lnTo>
                    <a:pt x="629" y="80"/>
                  </a:lnTo>
                  <a:lnTo>
                    <a:pt x="640" y="95"/>
                  </a:lnTo>
                  <a:lnTo>
                    <a:pt x="652" y="110"/>
                  </a:lnTo>
                  <a:lnTo>
                    <a:pt x="662" y="126"/>
                  </a:lnTo>
                  <a:lnTo>
                    <a:pt x="671" y="142"/>
                  </a:lnTo>
                  <a:lnTo>
                    <a:pt x="680" y="159"/>
                  </a:lnTo>
                  <a:lnTo>
                    <a:pt x="688" y="176"/>
                  </a:lnTo>
                  <a:lnTo>
                    <a:pt x="695" y="193"/>
                  </a:lnTo>
                  <a:lnTo>
                    <a:pt x="701" y="210"/>
                  </a:lnTo>
                  <a:lnTo>
                    <a:pt x="706" y="228"/>
                  </a:lnTo>
                  <a:lnTo>
                    <a:pt x="711" y="246"/>
                  </a:lnTo>
                  <a:lnTo>
                    <a:pt x="714" y="264"/>
                  </a:lnTo>
                  <a:lnTo>
                    <a:pt x="716" y="282"/>
                  </a:lnTo>
                  <a:lnTo>
                    <a:pt x="718" y="300"/>
                  </a:lnTo>
                  <a:lnTo>
                    <a:pt x="719" y="318"/>
                  </a:lnTo>
                  <a:lnTo>
                    <a:pt x="719" y="337"/>
                  </a:lnTo>
                  <a:lnTo>
                    <a:pt x="718" y="355"/>
                  </a:lnTo>
                  <a:lnTo>
                    <a:pt x="717" y="373"/>
                  </a:lnTo>
                  <a:lnTo>
                    <a:pt x="714" y="391"/>
                  </a:lnTo>
                  <a:lnTo>
                    <a:pt x="711" y="409"/>
                  </a:lnTo>
                  <a:lnTo>
                    <a:pt x="707" y="427"/>
                  </a:lnTo>
                  <a:lnTo>
                    <a:pt x="702" y="445"/>
                  </a:lnTo>
                  <a:lnTo>
                    <a:pt x="696" y="462"/>
                  </a:lnTo>
                  <a:lnTo>
                    <a:pt x="690" y="480"/>
                  </a:lnTo>
                  <a:lnTo>
                    <a:pt x="682" y="496"/>
                  </a:lnTo>
                  <a:lnTo>
                    <a:pt x="673" y="513"/>
                  </a:lnTo>
                  <a:lnTo>
                    <a:pt x="665" y="529"/>
                  </a:lnTo>
                  <a:lnTo>
                    <a:pt x="654" y="545"/>
                  </a:lnTo>
                  <a:lnTo>
                    <a:pt x="644" y="561"/>
                  </a:lnTo>
                  <a:lnTo>
                    <a:pt x="632" y="576"/>
                  </a:lnTo>
                  <a:lnTo>
                    <a:pt x="619" y="591"/>
                  </a:lnTo>
                  <a:lnTo>
                    <a:pt x="606" y="605"/>
                  </a:lnTo>
                  <a:lnTo>
                    <a:pt x="591" y="618"/>
                  </a:lnTo>
                  <a:lnTo>
                    <a:pt x="577" y="631"/>
                  </a:lnTo>
                  <a:lnTo>
                    <a:pt x="561" y="643"/>
                  </a:lnTo>
                  <a:lnTo>
                    <a:pt x="546" y="653"/>
                  </a:lnTo>
                  <a:lnTo>
                    <a:pt x="530" y="664"/>
                  </a:lnTo>
                  <a:lnTo>
                    <a:pt x="514" y="673"/>
                  </a:lnTo>
                  <a:lnTo>
                    <a:pt x="497" y="681"/>
                  </a:lnTo>
                  <a:lnTo>
                    <a:pt x="480" y="689"/>
                  </a:lnTo>
                  <a:lnTo>
                    <a:pt x="463" y="696"/>
                  </a:lnTo>
                  <a:lnTo>
                    <a:pt x="446" y="701"/>
                  </a:lnTo>
                  <a:lnTo>
                    <a:pt x="427" y="707"/>
                  </a:lnTo>
                  <a:lnTo>
                    <a:pt x="410" y="711"/>
                  </a:lnTo>
                  <a:lnTo>
                    <a:pt x="392" y="714"/>
                  </a:lnTo>
                  <a:lnTo>
                    <a:pt x="374" y="716"/>
                  </a:lnTo>
                  <a:lnTo>
                    <a:pt x="356" y="717"/>
                  </a:lnTo>
                  <a:lnTo>
                    <a:pt x="337" y="719"/>
                  </a:lnTo>
                  <a:lnTo>
                    <a:pt x="319" y="719"/>
                  </a:lnTo>
                  <a:lnTo>
                    <a:pt x="301" y="717"/>
                  </a:lnTo>
                  <a:lnTo>
                    <a:pt x="283" y="716"/>
                  </a:lnTo>
                  <a:lnTo>
                    <a:pt x="265" y="713"/>
                  </a:lnTo>
                  <a:lnTo>
                    <a:pt x="247" y="710"/>
                  </a:lnTo>
                  <a:lnTo>
                    <a:pt x="228" y="706"/>
                  </a:lnTo>
                  <a:lnTo>
                    <a:pt x="211" y="700"/>
                  </a:lnTo>
                  <a:lnTo>
                    <a:pt x="193" y="694"/>
                  </a:lnTo>
                  <a:lnTo>
                    <a:pt x="176" y="687"/>
                  </a:lnTo>
                  <a:lnTo>
                    <a:pt x="160" y="680"/>
                  </a:lnTo>
                  <a:lnTo>
                    <a:pt x="143" y="670"/>
                  </a:lnTo>
                  <a:lnTo>
                    <a:pt x="127" y="662"/>
                  </a:lnTo>
                  <a:lnTo>
                    <a:pt x="111" y="651"/>
                  </a:lnTo>
                  <a:lnTo>
                    <a:pt x="96" y="640"/>
                  </a:lnTo>
                  <a:lnTo>
                    <a:pt x="81" y="628"/>
                  </a:lnTo>
                  <a:lnTo>
                    <a:pt x="66" y="615"/>
                  </a:lnTo>
                  <a:lnTo>
                    <a:pt x="86" y="594"/>
                  </a:lnTo>
                  <a:lnTo>
                    <a:pt x="88" y="592"/>
                  </a:lnTo>
                  <a:lnTo>
                    <a:pt x="89" y="590"/>
                  </a:lnTo>
                  <a:lnTo>
                    <a:pt x="90" y="587"/>
                  </a:lnTo>
                  <a:lnTo>
                    <a:pt x="90" y="584"/>
                  </a:lnTo>
                  <a:lnTo>
                    <a:pt x="90" y="582"/>
                  </a:lnTo>
                  <a:lnTo>
                    <a:pt x="89" y="578"/>
                  </a:lnTo>
                  <a:lnTo>
                    <a:pt x="88" y="576"/>
                  </a:lnTo>
                  <a:lnTo>
                    <a:pt x="86" y="574"/>
                  </a:lnTo>
                  <a:lnTo>
                    <a:pt x="84" y="572"/>
                  </a:lnTo>
                  <a:lnTo>
                    <a:pt x="81" y="570"/>
                  </a:lnTo>
                  <a:lnTo>
                    <a:pt x="79" y="570"/>
                  </a:lnTo>
                  <a:lnTo>
                    <a:pt x="75" y="569"/>
                  </a:lnTo>
                  <a:lnTo>
                    <a:pt x="72" y="570"/>
                  </a:lnTo>
                  <a:lnTo>
                    <a:pt x="70" y="570"/>
                  </a:lnTo>
                  <a:lnTo>
                    <a:pt x="67" y="572"/>
                  </a:lnTo>
                  <a:lnTo>
                    <a:pt x="65" y="574"/>
                  </a:lnTo>
                  <a:lnTo>
                    <a:pt x="5" y="633"/>
                  </a:lnTo>
                  <a:lnTo>
                    <a:pt x="3" y="636"/>
                  </a:lnTo>
                  <a:lnTo>
                    <a:pt x="2" y="638"/>
                  </a:lnTo>
                  <a:lnTo>
                    <a:pt x="0" y="641"/>
                  </a:lnTo>
                  <a:lnTo>
                    <a:pt x="0" y="644"/>
                  </a:lnTo>
                  <a:lnTo>
                    <a:pt x="0" y="647"/>
                  </a:lnTo>
                  <a:lnTo>
                    <a:pt x="2" y="650"/>
                  </a:lnTo>
                  <a:lnTo>
                    <a:pt x="3" y="652"/>
                  </a:lnTo>
                  <a:lnTo>
                    <a:pt x="5" y="654"/>
                  </a:lnTo>
                  <a:lnTo>
                    <a:pt x="7" y="656"/>
                  </a:lnTo>
                  <a:lnTo>
                    <a:pt x="10" y="658"/>
                  </a:lnTo>
                  <a:lnTo>
                    <a:pt x="12" y="659"/>
                  </a:lnTo>
                  <a:lnTo>
                    <a:pt x="15" y="660"/>
                  </a:lnTo>
                  <a:lnTo>
                    <a:pt x="19" y="659"/>
                  </a:lnTo>
                  <a:lnTo>
                    <a:pt x="21" y="658"/>
                  </a:lnTo>
                  <a:lnTo>
                    <a:pt x="24" y="656"/>
                  </a:lnTo>
                  <a:lnTo>
                    <a:pt x="26" y="654"/>
                  </a:lnTo>
                  <a:lnTo>
                    <a:pt x="44" y="636"/>
                  </a:lnTo>
                  <a:lnTo>
                    <a:pt x="57" y="648"/>
                  </a:lnTo>
                  <a:lnTo>
                    <a:pt x="71" y="659"/>
                  </a:lnTo>
                  <a:lnTo>
                    <a:pt x="85" y="669"/>
                  </a:lnTo>
                  <a:lnTo>
                    <a:pt x="99" y="679"/>
                  </a:lnTo>
                  <a:lnTo>
                    <a:pt x="113" y="689"/>
                  </a:lnTo>
                  <a:lnTo>
                    <a:pt x="128" y="697"/>
                  </a:lnTo>
                  <a:lnTo>
                    <a:pt x="143" y="705"/>
                  </a:lnTo>
                  <a:lnTo>
                    <a:pt x="158" y="712"/>
                  </a:lnTo>
                  <a:lnTo>
                    <a:pt x="173" y="719"/>
                  </a:lnTo>
                  <a:lnTo>
                    <a:pt x="189" y="724"/>
                  </a:lnTo>
                  <a:lnTo>
                    <a:pt x="205" y="729"/>
                  </a:lnTo>
                  <a:lnTo>
                    <a:pt x="221" y="735"/>
                  </a:lnTo>
                  <a:lnTo>
                    <a:pt x="237" y="738"/>
                  </a:lnTo>
                  <a:lnTo>
                    <a:pt x="253" y="742"/>
                  </a:lnTo>
                  <a:lnTo>
                    <a:pt x="269" y="744"/>
                  </a:lnTo>
                  <a:lnTo>
                    <a:pt x="285" y="746"/>
                  </a:lnTo>
                  <a:lnTo>
                    <a:pt x="285" y="797"/>
                  </a:lnTo>
                  <a:lnTo>
                    <a:pt x="259" y="801"/>
                  </a:lnTo>
                  <a:lnTo>
                    <a:pt x="235" y="806"/>
                  </a:lnTo>
                  <a:lnTo>
                    <a:pt x="210" y="813"/>
                  </a:lnTo>
                  <a:lnTo>
                    <a:pt x="187" y="821"/>
                  </a:lnTo>
                  <a:lnTo>
                    <a:pt x="163" y="832"/>
                  </a:lnTo>
                  <a:lnTo>
                    <a:pt x="140" y="844"/>
                  </a:lnTo>
                  <a:lnTo>
                    <a:pt x="118" y="856"/>
                  </a:lnTo>
                  <a:lnTo>
                    <a:pt x="97" y="871"/>
                  </a:lnTo>
                  <a:lnTo>
                    <a:pt x="94" y="875"/>
                  </a:lnTo>
                  <a:lnTo>
                    <a:pt x="91" y="879"/>
                  </a:lnTo>
                  <a:lnTo>
                    <a:pt x="90" y="884"/>
                  </a:lnTo>
                  <a:lnTo>
                    <a:pt x="91" y="889"/>
                  </a:lnTo>
                  <a:lnTo>
                    <a:pt x="94" y="893"/>
                  </a:lnTo>
                  <a:lnTo>
                    <a:pt x="97" y="896"/>
                  </a:lnTo>
                  <a:lnTo>
                    <a:pt x="101" y="898"/>
                  </a:lnTo>
                  <a:lnTo>
                    <a:pt x="105" y="899"/>
                  </a:lnTo>
                  <a:lnTo>
                    <a:pt x="555" y="898"/>
                  </a:lnTo>
                  <a:lnTo>
                    <a:pt x="560" y="898"/>
                  </a:lnTo>
                  <a:lnTo>
                    <a:pt x="563" y="896"/>
                  </a:lnTo>
                  <a:lnTo>
                    <a:pt x="566" y="893"/>
                  </a:lnTo>
                  <a:lnTo>
                    <a:pt x="570" y="889"/>
                  </a:lnTo>
                  <a:lnTo>
                    <a:pt x="570" y="884"/>
                  </a:lnTo>
                  <a:lnTo>
                    <a:pt x="570" y="879"/>
                  </a:lnTo>
                  <a:lnTo>
                    <a:pt x="568" y="875"/>
                  </a:lnTo>
                  <a:lnTo>
                    <a:pt x="564" y="871"/>
                  </a:lnTo>
                  <a:lnTo>
                    <a:pt x="543" y="856"/>
                  </a:lnTo>
                  <a:lnTo>
                    <a:pt x="520" y="844"/>
                  </a:lnTo>
                  <a:lnTo>
                    <a:pt x="498" y="832"/>
                  </a:lnTo>
                  <a:lnTo>
                    <a:pt x="474" y="821"/>
                  </a:lnTo>
                  <a:lnTo>
                    <a:pt x="450" y="813"/>
                  </a:lnTo>
                  <a:lnTo>
                    <a:pt x="425" y="806"/>
                  </a:lnTo>
                  <a:lnTo>
                    <a:pt x="401" y="801"/>
                  </a:lnTo>
                  <a:lnTo>
                    <a:pt x="375" y="797"/>
                  </a:lnTo>
                  <a:lnTo>
                    <a:pt x="375" y="746"/>
                  </a:lnTo>
                  <a:lnTo>
                    <a:pt x="392" y="744"/>
                  </a:lnTo>
                  <a:lnTo>
                    <a:pt x="409" y="741"/>
                  </a:lnTo>
                  <a:lnTo>
                    <a:pt x="426" y="738"/>
                  </a:lnTo>
                  <a:lnTo>
                    <a:pt x="443" y="733"/>
                  </a:lnTo>
                  <a:lnTo>
                    <a:pt x="461" y="728"/>
                  </a:lnTo>
                  <a:lnTo>
                    <a:pt x="477" y="723"/>
                  </a:lnTo>
                  <a:lnTo>
                    <a:pt x="493" y="716"/>
                  </a:lnTo>
                  <a:lnTo>
                    <a:pt x="509" y="709"/>
                  </a:lnTo>
                  <a:lnTo>
                    <a:pt x="525" y="701"/>
                  </a:lnTo>
                  <a:lnTo>
                    <a:pt x="541" y="693"/>
                  </a:lnTo>
                  <a:lnTo>
                    <a:pt x="556" y="683"/>
                  </a:lnTo>
                  <a:lnTo>
                    <a:pt x="571" y="674"/>
                  </a:lnTo>
                  <a:lnTo>
                    <a:pt x="586" y="663"/>
                  </a:lnTo>
                  <a:lnTo>
                    <a:pt x="600" y="651"/>
                  </a:lnTo>
                  <a:lnTo>
                    <a:pt x="614" y="639"/>
                  </a:lnTo>
                  <a:lnTo>
                    <a:pt x="626" y="6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3" name="Freeform 44">
            <a:extLst>
              <a:ext uri="{FF2B5EF4-FFF2-40B4-BE49-F238E27FC236}">
                <a16:creationId xmlns:a16="http://schemas.microsoft.com/office/drawing/2014/main" id="{8FF4CC58-0959-4AD1-97F2-FC419D178027}"/>
              </a:ext>
            </a:extLst>
          </p:cNvPr>
          <p:cNvSpPr>
            <a:spLocks noChangeAspect="1" noEditPoints="1"/>
          </p:cNvSpPr>
          <p:nvPr/>
        </p:nvSpPr>
        <p:spPr bwMode="auto">
          <a:xfrm>
            <a:off x="1479032" y="4931647"/>
            <a:ext cx="285237" cy="180407"/>
          </a:xfrm>
          <a:custGeom>
            <a:avLst/>
            <a:gdLst>
              <a:gd name="T0" fmla="*/ 18 w 96"/>
              <a:gd name="T1" fmla="*/ 60 h 60"/>
              <a:gd name="T2" fmla="*/ 9 w 96"/>
              <a:gd name="T3" fmla="*/ 58 h 60"/>
              <a:gd name="T4" fmla="*/ 0 w 96"/>
              <a:gd name="T5" fmla="*/ 43 h 60"/>
              <a:gd name="T6" fmla="*/ 18 w 96"/>
              <a:gd name="T7" fmla="*/ 26 h 60"/>
              <a:gd name="T8" fmla="*/ 48 w 96"/>
              <a:gd name="T9" fmla="*/ 0 h 60"/>
              <a:gd name="T10" fmla="*/ 75 w 96"/>
              <a:gd name="T11" fmla="*/ 16 h 60"/>
              <a:gd name="T12" fmla="*/ 96 w 96"/>
              <a:gd name="T13" fmla="*/ 38 h 60"/>
              <a:gd name="T14" fmla="*/ 76 w 96"/>
              <a:gd name="T15" fmla="*/ 60 h 60"/>
              <a:gd name="T16" fmla="*/ 18 w 96"/>
              <a:gd name="T17" fmla="*/ 60 h 60"/>
              <a:gd name="T18" fmla="*/ 17 w 96"/>
              <a:gd name="T19" fmla="*/ 30 h 60"/>
              <a:gd name="T20" fmla="*/ 4 w 96"/>
              <a:gd name="T21" fmla="*/ 43 h 60"/>
              <a:gd name="T22" fmla="*/ 18 w 96"/>
              <a:gd name="T23" fmla="*/ 56 h 60"/>
              <a:gd name="T24" fmla="*/ 18 w 96"/>
              <a:gd name="T25" fmla="*/ 58 h 60"/>
              <a:gd name="T26" fmla="*/ 18 w 96"/>
              <a:gd name="T27" fmla="*/ 56 h 60"/>
              <a:gd name="T28" fmla="*/ 76 w 96"/>
              <a:gd name="T29" fmla="*/ 56 h 60"/>
              <a:gd name="T30" fmla="*/ 92 w 96"/>
              <a:gd name="T31" fmla="*/ 38 h 60"/>
              <a:gd name="T32" fmla="*/ 74 w 96"/>
              <a:gd name="T33" fmla="*/ 20 h 60"/>
              <a:gd name="T34" fmla="*/ 73 w 96"/>
              <a:gd name="T35" fmla="*/ 20 h 60"/>
              <a:gd name="T36" fmla="*/ 71 w 96"/>
              <a:gd name="T37" fmla="*/ 19 h 60"/>
              <a:gd name="T38" fmla="*/ 48 w 96"/>
              <a:gd name="T39" fmla="*/ 4 h 60"/>
              <a:gd name="T40" fmla="*/ 22 w 96"/>
              <a:gd name="T41" fmla="*/ 28 h 60"/>
              <a:gd name="T42" fmla="*/ 21 w 96"/>
              <a:gd name="T43" fmla="*/ 30 h 60"/>
              <a:gd name="T44" fmla="*/ 20 w 96"/>
              <a:gd name="T45" fmla="*/ 30 h 60"/>
              <a:gd name="T46" fmla="*/ 17 w 96"/>
              <a:gd name="T47"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60">
                <a:moveTo>
                  <a:pt x="18" y="60"/>
                </a:moveTo>
                <a:cubicBezTo>
                  <a:pt x="17" y="60"/>
                  <a:pt x="13" y="60"/>
                  <a:pt x="9" y="58"/>
                </a:cubicBezTo>
                <a:cubicBezTo>
                  <a:pt x="5" y="56"/>
                  <a:pt x="0" y="52"/>
                  <a:pt x="0" y="43"/>
                </a:cubicBezTo>
                <a:cubicBezTo>
                  <a:pt x="0" y="33"/>
                  <a:pt x="8" y="25"/>
                  <a:pt x="18" y="26"/>
                </a:cubicBezTo>
                <a:cubicBezTo>
                  <a:pt x="20" y="11"/>
                  <a:pt x="33" y="0"/>
                  <a:pt x="48" y="0"/>
                </a:cubicBezTo>
                <a:cubicBezTo>
                  <a:pt x="59" y="0"/>
                  <a:pt x="69" y="6"/>
                  <a:pt x="75" y="16"/>
                </a:cubicBezTo>
                <a:cubicBezTo>
                  <a:pt x="86" y="16"/>
                  <a:pt x="96" y="26"/>
                  <a:pt x="96" y="38"/>
                </a:cubicBezTo>
                <a:cubicBezTo>
                  <a:pt x="96" y="57"/>
                  <a:pt x="76" y="60"/>
                  <a:pt x="76" y="60"/>
                </a:cubicBezTo>
                <a:lnTo>
                  <a:pt x="18" y="60"/>
                </a:lnTo>
                <a:close/>
                <a:moveTo>
                  <a:pt x="17" y="30"/>
                </a:moveTo>
                <a:cubicBezTo>
                  <a:pt x="10" y="30"/>
                  <a:pt x="4" y="36"/>
                  <a:pt x="4" y="43"/>
                </a:cubicBezTo>
                <a:cubicBezTo>
                  <a:pt x="4" y="56"/>
                  <a:pt x="17" y="56"/>
                  <a:pt x="18" y="56"/>
                </a:cubicBezTo>
                <a:cubicBezTo>
                  <a:pt x="18" y="58"/>
                  <a:pt x="18" y="58"/>
                  <a:pt x="18" y="58"/>
                </a:cubicBezTo>
                <a:cubicBezTo>
                  <a:pt x="18" y="56"/>
                  <a:pt x="18" y="56"/>
                  <a:pt x="18" y="56"/>
                </a:cubicBezTo>
                <a:cubicBezTo>
                  <a:pt x="76" y="56"/>
                  <a:pt x="76" y="56"/>
                  <a:pt x="76" y="56"/>
                </a:cubicBezTo>
                <a:cubicBezTo>
                  <a:pt x="76" y="56"/>
                  <a:pt x="92" y="54"/>
                  <a:pt x="92" y="38"/>
                </a:cubicBezTo>
                <a:cubicBezTo>
                  <a:pt x="92" y="28"/>
                  <a:pt x="84" y="20"/>
                  <a:pt x="74" y="20"/>
                </a:cubicBezTo>
                <a:cubicBezTo>
                  <a:pt x="73" y="20"/>
                  <a:pt x="73" y="20"/>
                  <a:pt x="73" y="20"/>
                </a:cubicBezTo>
                <a:cubicBezTo>
                  <a:pt x="73" y="20"/>
                  <a:pt x="72" y="20"/>
                  <a:pt x="71" y="19"/>
                </a:cubicBezTo>
                <a:cubicBezTo>
                  <a:pt x="67" y="10"/>
                  <a:pt x="58" y="4"/>
                  <a:pt x="48" y="4"/>
                </a:cubicBezTo>
                <a:cubicBezTo>
                  <a:pt x="34" y="4"/>
                  <a:pt x="23" y="15"/>
                  <a:pt x="22" y="28"/>
                </a:cubicBezTo>
                <a:cubicBezTo>
                  <a:pt x="22" y="29"/>
                  <a:pt x="22" y="30"/>
                  <a:pt x="21" y="30"/>
                </a:cubicBezTo>
                <a:cubicBezTo>
                  <a:pt x="21" y="30"/>
                  <a:pt x="20" y="30"/>
                  <a:pt x="20" y="30"/>
                </a:cubicBezTo>
                <a:cubicBezTo>
                  <a:pt x="19" y="30"/>
                  <a:pt x="18" y="30"/>
                  <a:pt x="17"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69" name="Freeform 5">
            <a:extLst>
              <a:ext uri="{FF2B5EF4-FFF2-40B4-BE49-F238E27FC236}">
                <a16:creationId xmlns:a16="http://schemas.microsoft.com/office/drawing/2014/main" id="{D88C81EE-A3CE-459A-BDFD-FE3F31BAFE32}"/>
              </a:ext>
            </a:extLst>
          </p:cNvPr>
          <p:cNvSpPr>
            <a:spLocks noChangeAspect="1" noEditPoints="1"/>
          </p:cNvSpPr>
          <p:nvPr/>
        </p:nvSpPr>
        <p:spPr bwMode="auto">
          <a:xfrm>
            <a:off x="1894079" y="4879041"/>
            <a:ext cx="285237" cy="285619"/>
          </a:xfrm>
          <a:custGeom>
            <a:avLst/>
            <a:gdLst>
              <a:gd name="T0" fmla="*/ 0 w 500"/>
              <a:gd name="T1" fmla="*/ 250 h 500"/>
              <a:gd name="T2" fmla="*/ 500 w 500"/>
              <a:gd name="T3" fmla="*/ 250 h 500"/>
              <a:gd name="T4" fmla="*/ 21 w 500"/>
              <a:gd name="T5" fmla="*/ 261 h 500"/>
              <a:gd name="T6" fmla="*/ 157 w 500"/>
              <a:gd name="T7" fmla="*/ 371 h 500"/>
              <a:gd name="T8" fmla="*/ 21 w 500"/>
              <a:gd name="T9" fmla="*/ 261 h 500"/>
              <a:gd name="T10" fmla="*/ 268 w 500"/>
              <a:gd name="T11" fmla="*/ 30 h 500"/>
              <a:gd name="T12" fmla="*/ 268 w 500"/>
              <a:gd name="T13" fmla="*/ 107 h 500"/>
              <a:gd name="T14" fmla="*/ 361 w 500"/>
              <a:gd name="T15" fmla="*/ 230 h 500"/>
              <a:gd name="T16" fmla="*/ 268 w 500"/>
              <a:gd name="T17" fmla="*/ 239 h 500"/>
              <a:gd name="T18" fmla="*/ 335 w 500"/>
              <a:gd name="T19" fmla="*/ 129 h 500"/>
              <a:gd name="T20" fmla="*/ 188 w 500"/>
              <a:gd name="T21" fmla="*/ 107 h 500"/>
              <a:gd name="T22" fmla="*/ 247 w 500"/>
              <a:gd name="T23" fmla="*/ 107 h 500"/>
              <a:gd name="T24" fmla="*/ 247 w 500"/>
              <a:gd name="T25" fmla="*/ 239 h 500"/>
              <a:gd name="T26" fmla="*/ 152 w 500"/>
              <a:gd name="T27" fmla="*/ 230 h 500"/>
              <a:gd name="T28" fmla="*/ 247 w 500"/>
              <a:gd name="T29" fmla="*/ 129 h 500"/>
              <a:gd name="T30" fmla="*/ 130 w 500"/>
              <a:gd name="T31" fmla="*/ 239 h 500"/>
              <a:gd name="T32" fmla="*/ 56 w 500"/>
              <a:gd name="T33" fmla="*/ 129 h 500"/>
              <a:gd name="T34" fmla="*/ 131 w 500"/>
              <a:gd name="T35" fmla="*/ 228 h 500"/>
              <a:gd name="T36" fmla="*/ 247 w 500"/>
              <a:gd name="T37" fmla="*/ 261 h 500"/>
              <a:gd name="T38" fmla="*/ 181 w 500"/>
              <a:gd name="T39" fmla="*/ 371 h 500"/>
              <a:gd name="T40" fmla="*/ 247 w 500"/>
              <a:gd name="T41" fmla="*/ 392 h 500"/>
              <a:gd name="T42" fmla="*/ 192 w 500"/>
              <a:gd name="T43" fmla="*/ 392 h 500"/>
              <a:gd name="T44" fmla="*/ 268 w 500"/>
              <a:gd name="T45" fmla="*/ 392 h 500"/>
              <a:gd name="T46" fmla="*/ 268 w 500"/>
              <a:gd name="T47" fmla="*/ 467 h 500"/>
              <a:gd name="T48" fmla="*/ 268 w 500"/>
              <a:gd name="T49" fmla="*/ 371 h 500"/>
              <a:gd name="T50" fmla="*/ 361 w 500"/>
              <a:gd name="T51" fmla="*/ 261 h 500"/>
              <a:gd name="T52" fmla="*/ 268 w 500"/>
              <a:gd name="T53" fmla="*/ 371 h 500"/>
              <a:gd name="T54" fmla="*/ 478 w 500"/>
              <a:gd name="T55" fmla="*/ 261 h 500"/>
              <a:gd name="T56" fmla="*/ 355 w 500"/>
              <a:gd name="T57" fmla="*/ 371 h 500"/>
              <a:gd name="T58" fmla="*/ 382 w 500"/>
              <a:gd name="T59" fmla="*/ 239 h 500"/>
              <a:gd name="T60" fmla="*/ 359 w 500"/>
              <a:gd name="T61" fmla="*/ 129 h 500"/>
              <a:gd name="T62" fmla="*/ 478 w 500"/>
              <a:gd name="T63" fmla="*/ 239 h 500"/>
              <a:gd name="T64" fmla="*/ 428 w 500"/>
              <a:gd name="T65" fmla="*/ 107 h 500"/>
              <a:gd name="T66" fmla="*/ 293 w 500"/>
              <a:gd name="T67" fmla="*/ 25 h 500"/>
              <a:gd name="T68" fmla="*/ 222 w 500"/>
              <a:gd name="T69" fmla="*/ 23 h 500"/>
              <a:gd name="T70" fmla="*/ 71 w 500"/>
              <a:gd name="T71" fmla="*/ 107 h 500"/>
              <a:gd name="T72" fmla="*/ 70 w 500"/>
              <a:gd name="T73" fmla="*/ 392 h 500"/>
              <a:gd name="T74" fmla="*/ 225 w 500"/>
              <a:gd name="T75" fmla="*/ 477 h 500"/>
              <a:gd name="T76" fmla="*/ 290 w 500"/>
              <a:gd name="T77" fmla="*/ 475 h 500"/>
              <a:gd name="T78" fmla="*/ 429 w 500"/>
              <a:gd name="T79" fmla="*/ 39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0" h="500">
                <a:moveTo>
                  <a:pt x="250" y="0"/>
                </a:moveTo>
                <a:cubicBezTo>
                  <a:pt x="112" y="0"/>
                  <a:pt x="0" y="112"/>
                  <a:pt x="0" y="250"/>
                </a:cubicBezTo>
                <a:cubicBezTo>
                  <a:pt x="0" y="388"/>
                  <a:pt x="112" y="500"/>
                  <a:pt x="250" y="500"/>
                </a:cubicBezTo>
                <a:cubicBezTo>
                  <a:pt x="387" y="500"/>
                  <a:pt x="500" y="388"/>
                  <a:pt x="500" y="250"/>
                </a:cubicBezTo>
                <a:cubicBezTo>
                  <a:pt x="500" y="112"/>
                  <a:pt x="387" y="0"/>
                  <a:pt x="250" y="0"/>
                </a:cubicBezTo>
                <a:close/>
                <a:moveTo>
                  <a:pt x="21" y="261"/>
                </a:moveTo>
                <a:cubicBezTo>
                  <a:pt x="131" y="261"/>
                  <a:pt x="131" y="261"/>
                  <a:pt x="131" y="261"/>
                </a:cubicBezTo>
                <a:cubicBezTo>
                  <a:pt x="133" y="298"/>
                  <a:pt x="142" y="334"/>
                  <a:pt x="157" y="371"/>
                </a:cubicBezTo>
                <a:cubicBezTo>
                  <a:pt x="55" y="371"/>
                  <a:pt x="55" y="371"/>
                  <a:pt x="55" y="371"/>
                </a:cubicBezTo>
                <a:cubicBezTo>
                  <a:pt x="35" y="338"/>
                  <a:pt x="23" y="301"/>
                  <a:pt x="21" y="261"/>
                </a:cubicBezTo>
                <a:close/>
                <a:moveTo>
                  <a:pt x="268" y="107"/>
                </a:moveTo>
                <a:cubicBezTo>
                  <a:pt x="268" y="30"/>
                  <a:pt x="268" y="30"/>
                  <a:pt x="268" y="30"/>
                </a:cubicBezTo>
                <a:cubicBezTo>
                  <a:pt x="282" y="45"/>
                  <a:pt x="305" y="71"/>
                  <a:pt x="325" y="107"/>
                </a:cubicBezTo>
                <a:lnTo>
                  <a:pt x="268" y="107"/>
                </a:lnTo>
                <a:close/>
                <a:moveTo>
                  <a:pt x="335" y="129"/>
                </a:moveTo>
                <a:cubicBezTo>
                  <a:pt x="348" y="158"/>
                  <a:pt x="358" y="192"/>
                  <a:pt x="361" y="230"/>
                </a:cubicBezTo>
                <a:cubicBezTo>
                  <a:pt x="361" y="233"/>
                  <a:pt x="361" y="236"/>
                  <a:pt x="361" y="239"/>
                </a:cubicBezTo>
                <a:cubicBezTo>
                  <a:pt x="268" y="239"/>
                  <a:pt x="268" y="239"/>
                  <a:pt x="268" y="239"/>
                </a:cubicBezTo>
                <a:cubicBezTo>
                  <a:pt x="268" y="129"/>
                  <a:pt x="268" y="129"/>
                  <a:pt x="268" y="129"/>
                </a:cubicBezTo>
                <a:lnTo>
                  <a:pt x="335" y="129"/>
                </a:lnTo>
                <a:close/>
                <a:moveTo>
                  <a:pt x="247" y="107"/>
                </a:moveTo>
                <a:cubicBezTo>
                  <a:pt x="188" y="107"/>
                  <a:pt x="188" y="107"/>
                  <a:pt x="188" y="107"/>
                </a:cubicBezTo>
                <a:cubicBezTo>
                  <a:pt x="209" y="69"/>
                  <a:pt x="234" y="41"/>
                  <a:pt x="247" y="28"/>
                </a:cubicBezTo>
                <a:lnTo>
                  <a:pt x="247" y="107"/>
                </a:lnTo>
                <a:close/>
                <a:moveTo>
                  <a:pt x="247" y="129"/>
                </a:moveTo>
                <a:cubicBezTo>
                  <a:pt x="247" y="239"/>
                  <a:pt x="247" y="239"/>
                  <a:pt x="247" y="239"/>
                </a:cubicBezTo>
                <a:cubicBezTo>
                  <a:pt x="152" y="239"/>
                  <a:pt x="152" y="239"/>
                  <a:pt x="152" y="239"/>
                </a:cubicBezTo>
                <a:cubicBezTo>
                  <a:pt x="152" y="236"/>
                  <a:pt x="152" y="233"/>
                  <a:pt x="152" y="230"/>
                </a:cubicBezTo>
                <a:cubicBezTo>
                  <a:pt x="154" y="192"/>
                  <a:pt x="165" y="158"/>
                  <a:pt x="178" y="129"/>
                </a:cubicBezTo>
                <a:lnTo>
                  <a:pt x="247" y="129"/>
                </a:lnTo>
                <a:close/>
                <a:moveTo>
                  <a:pt x="131" y="228"/>
                </a:moveTo>
                <a:cubicBezTo>
                  <a:pt x="131" y="232"/>
                  <a:pt x="131" y="236"/>
                  <a:pt x="130" y="239"/>
                </a:cubicBezTo>
                <a:cubicBezTo>
                  <a:pt x="21" y="239"/>
                  <a:pt x="21" y="239"/>
                  <a:pt x="21" y="239"/>
                </a:cubicBezTo>
                <a:cubicBezTo>
                  <a:pt x="23" y="199"/>
                  <a:pt x="36" y="161"/>
                  <a:pt x="56" y="129"/>
                </a:cubicBezTo>
                <a:cubicBezTo>
                  <a:pt x="154" y="129"/>
                  <a:pt x="154" y="129"/>
                  <a:pt x="154" y="129"/>
                </a:cubicBezTo>
                <a:cubicBezTo>
                  <a:pt x="142" y="158"/>
                  <a:pt x="133" y="191"/>
                  <a:pt x="131" y="228"/>
                </a:cubicBezTo>
                <a:close/>
                <a:moveTo>
                  <a:pt x="152" y="261"/>
                </a:moveTo>
                <a:cubicBezTo>
                  <a:pt x="247" y="261"/>
                  <a:pt x="247" y="261"/>
                  <a:pt x="247" y="261"/>
                </a:cubicBezTo>
                <a:cubicBezTo>
                  <a:pt x="247" y="371"/>
                  <a:pt x="247" y="371"/>
                  <a:pt x="247" y="371"/>
                </a:cubicBezTo>
                <a:cubicBezTo>
                  <a:pt x="181" y="371"/>
                  <a:pt x="181" y="371"/>
                  <a:pt x="181" y="371"/>
                </a:cubicBezTo>
                <a:cubicBezTo>
                  <a:pt x="164" y="334"/>
                  <a:pt x="154" y="297"/>
                  <a:pt x="152" y="261"/>
                </a:cubicBezTo>
                <a:close/>
                <a:moveTo>
                  <a:pt x="247" y="392"/>
                </a:moveTo>
                <a:cubicBezTo>
                  <a:pt x="247" y="470"/>
                  <a:pt x="247" y="470"/>
                  <a:pt x="247" y="470"/>
                </a:cubicBezTo>
                <a:cubicBezTo>
                  <a:pt x="225" y="444"/>
                  <a:pt x="206" y="418"/>
                  <a:pt x="192" y="392"/>
                </a:cubicBezTo>
                <a:lnTo>
                  <a:pt x="247" y="392"/>
                </a:lnTo>
                <a:close/>
                <a:moveTo>
                  <a:pt x="268" y="392"/>
                </a:moveTo>
                <a:cubicBezTo>
                  <a:pt x="321" y="392"/>
                  <a:pt x="321" y="392"/>
                  <a:pt x="321" y="392"/>
                </a:cubicBezTo>
                <a:cubicBezTo>
                  <a:pt x="307" y="417"/>
                  <a:pt x="290" y="442"/>
                  <a:pt x="268" y="467"/>
                </a:cubicBezTo>
                <a:lnTo>
                  <a:pt x="268" y="392"/>
                </a:lnTo>
                <a:close/>
                <a:moveTo>
                  <a:pt x="268" y="371"/>
                </a:moveTo>
                <a:cubicBezTo>
                  <a:pt x="268" y="261"/>
                  <a:pt x="268" y="261"/>
                  <a:pt x="268" y="261"/>
                </a:cubicBezTo>
                <a:cubicBezTo>
                  <a:pt x="361" y="261"/>
                  <a:pt x="361" y="261"/>
                  <a:pt x="361" y="261"/>
                </a:cubicBezTo>
                <a:cubicBezTo>
                  <a:pt x="359" y="297"/>
                  <a:pt x="349" y="334"/>
                  <a:pt x="332" y="371"/>
                </a:cubicBezTo>
                <a:lnTo>
                  <a:pt x="268" y="371"/>
                </a:lnTo>
                <a:close/>
                <a:moveTo>
                  <a:pt x="382" y="261"/>
                </a:moveTo>
                <a:cubicBezTo>
                  <a:pt x="478" y="261"/>
                  <a:pt x="478" y="261"/>
                  <a:pt x="478" y="261"/>
                </a:cubicBezTo>
                <a:cubicBezTo>
                  <a:pt x="476" y="301"/>
                  <a:pt x="464" y="338"/>
                  <a:pt x="444" y="371"/>
                </a:cubicBezTo>
                <a:cubicBezTo>
                  <a:pt x="355" y="371"/>
                  <a:pt x="355" y="371"/>
                  <a:pt x="355" y="371"/>
                </a:cubicBezTo>
                <a:cubicBezTo>
                  <a:pt x="371" y="334"/>
                  <a:pt x="380" y="298"/>
                  <a:pt x="382" y="261"/>
                </a:cubicBezTo>
                <a:close/>
                <a:moveTo>
                  <a:pt x="382" y="239"/>
                </a:moveTo>
                <a:cubicBezTo>
                  <a:pt x="382" y="236"/>
                  <a:pt x="382" y="232"/>
                  <a:pt x="382" y="228"/>
                </a:cubicBezTo>
                <a:cubicBezTo>
                  <a:pt x="380" y="191"/>
                  <a:pt x="371" y="158"/>
                  <a:pt x="359" y="129"/>
                </a:cubicBezTo>
                <a:cubicBezTo>
                  <a:pt x="443" y="129"/>
                  <a:pt x="443" y="129"/>
                  <a:pt x="443" y="129"/>
                </a:cubicBezTo>
                <a:cubicBezTo>
                  <a:pt x="464" y="161"/>
                  <a:pt x="476" y="199"/>
                  <a:pt x="478" y="239"/>
                </a:cubicBezTo>
                <a:lnTo>
                  <a:pt x="382" y="239"/>
                </a:lnTo>
                <a:close/>
                <a:moveTo>
                  <a:pt x="428" y="107"/>
                </a:moveTo>
                <a:cubicBezTo>
                  <a:pt x="349" y="107"/>
                  <a:pt x="349" y="107"/>
                  <a:pt x="349" y="107"/>
                </a:cubicBezTo>
                <a:cubicBezTo>
                  <a:pt x="331" y="71"/>
                  <a:pt x="309" y="43"/>
                  <a:pt x="293" y="25"/>
                </a:cubicBezTo>
                <a:cubicBezTo>
                  <a:pt x="347" y="36"/>
                  <a:pt x="395" y="66"/>
                  <a:pt x="428" y="107"/>
                </a:cubicBezTo>
                <a:close/>
                <a:moveTo>
                  <a:pt x="222" y="23"/>
                </a:moveTo>
                <a:cubicBezTo>
                  <a:pt x="206" y="41"/>
                  <a:pt x="183" y="70"/>
                  <a:pt x="164" y="107"/>
                </a:cubicBezTo>
                <a:cubicBezTo>
                  <a:pt x="71" y="107"/>
                  <a:pt x="71" y="107"/>
                  <a:pt x="71" y="107"/>
                </a:cubicBezTo>
                <a:cubicBezTo>
                  <a:pt x="108" y="62"/>
                  <a:pt x="161" y="30"/>
                  <a:pt x="222" y="23"/>
                </a:cubicBezTo>
                <a:close/>
                <a:moveTo>
                  <a:pt x="70" y="392"/>
                </a:moveTo>
                <a:cubicBezTo>
                  <a:pt x="168" y="392"/>
                  <a:pt x="168" y="392"/>
                  <a:pt x="168" y="392"/>
                </a:cubicBezTo>
                <a:cubicBezTo>
                  <a:pt x="182" y="421"/>
                  <a:pt x="202" y="449"/>
                  <a:pt x="225" y="477"/>
                </a:cubicBezTo>
                <a:cubicBezTo>
                  <a:pt x="163" y="471"/>
                  <a:pt x="108" y="439"/>
                  <a:pt x="70" y="392"/>
                </a:cubicBezTo>
                <a:close/>
                <a:moveTo>
                  <a:pt x="290" y="475"/>
                </a:moveTo>
                <a:cubicBezTo>
                  <a:pt x="312" y="448"/>
                  <a:pt x="331" y="420"/>
                  <a:pt x="345" y="392"/>
                </a:cubicBezTo>
                <a:cubicBezTo>
                  <a:pt x="429" y="392"/>
                  <a:pt x="429" y="392"/>
                  <a:pt x="429" y="392"/>
                </a:cubicBezTo>
                <a:cubicBezTo>
                  <a:pt x="395" y="435"/>
                  <a:pt x="346" y="465"/>
                  <a:pt x="290" y="4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6" name="Group 160">
            <a:extLst>
              <a:ext uri="{FF2B5EF4-FFF2-40B4-BE49-F238E27FC236}">
                <a16:creationId xmlns:a16="http://schemas.microsoft.com/office/drawing/2014/main" id="{CA8153F1-D40E-495E-91AC-96B96D8AC156}"/>
              </a:ext>
            </a:extLst>
          </p:cNvPr>
          <p:cNvGrpSpPr>
            <a:grpSpLocks noChangeAspect="1"/>
          </p:cNvGrpSpPr>
          <p:nvPr/>
        </p:nvGrpSpPr>
        <p:grpSpPr>
          <a:xfrm>
            <a:off x="2314478" y="4879041"/>
            <a:ext cx="285619" cy="285619"/>
            <a:chOff x="5297488" y="2084388"/>
            <a:chExt cx="371475" cy="371475"/>
          </a:xfrm>
          <a:solidFill>
            <a:schemeClr val="bg1"/>
          </a:solidFill>
          <a:effectLst/>
        </p:grpSpPr>
        <p:sp>
          <p:nvSpPr>
            <p:cNvPr id="1977" name="Freeform 74">
              <a:extLst>
                <a:ext uri="{FF2B5EF4-FFF2-40B4-BE49-F238E27FC236}">
                  <a16:creationId xmlns:a16="http://schemas.microsoft.com/office/drawing/2014/main" id="{E3CFF23E-77F9-4123-9416-2C5BD9D9F96B}"/>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78" name="Freeform 75">
              <a:extLst>
                <a:ext uri="{FF2B5EF4-FFF2-40B4-BE49-F238E27FC236}">
                  <a16:creationId xmlns:a16="http://schemas.microsoft.com/office/drawing/2014/main" id="{D097FB29-6BB0-44C1-A103-DA8CF9A8207E}"/>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79" name="Freeform 76">
              <a:extLst>
                <a:ext uri="{FF2B5EF4-FFF2-40B4-BE49-F238E27FC236}">
                  <a16:creationId xmlns:a16="http://schemas.microsoft.com/office/drawing/2014/main" id="{CB580BCF-F54E-42AC-9945-7FC483D71733}"/>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0" name="Rectangle 77">
              <a:extLst>
                <a:ext uri="{FF2B5EF4-FFF2-40B4-BE49-F238E27FC236}">
                  <a16:creationId xmlns:a16="http://schemas.microsoft.com/office/drawing/2014/main" id="{1B082C43-50E6-47A8-8FD4-4F4444889412}"/>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1" name="Rectangle 78">
              <a:extLst>
                <a:ext uri="{FF2B5EF4-FFF2-40B4-BE49-F238E27FC236}">
                  <a16:creationId xmlns:a16="http://schemas.microsoft.com/office/drawing/2014/main" id="{A35D3AEE-2D60-43DD-8D04-978F7653BF73}"/>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82" name="Rectangle 79">
              <a:extLst>
                <a:ext uri="{FF2B5EF4-FFF2-40B4-BE49-F238E27FC236}">
                  <a16:creationId xmlns:a16="http://schemas.microsoft.com/office/drawing/2014/main" id="{1D8837DE-973C-4B69-AAC4-9F236CDA2115}"/>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2000" name="Gruppieren 1999">
            <a:extLst>
              <a:ext uri="{FF2B5EF4-FFF2-40B4-BE49-F238E27FC236}">
                <a16:creationId xmlns:a16="http://schemas.microsoft.com/office/drawing/2014/main" id="{04B0B8E2-BB3D-46B8-B993-BB61DDAF735A}"/>
              </a:ext>
            </a:extLst>
          </p:cNvPr>
          <p:cNvGrpSpPr>
            <a:grpSpLocks noChangeAspect="1"/>
          </p:cNvGrpSpPr>
          <p:nvPr/>
        </p:nvGrpSpPr>
        <p:grpSpPr>
          <a:xfrm>
            <a:off x="2720829" y="4879041"/>
            <a:ext cx="316479" cy="285619"/>
            <a:chOff x="10964454" y="2979934"/>
            <a:chExt cx="398897" cy="360000"/>
          </a:xfrm>
          <a:solidFill>
            <a:schemeClr val="bg1"/>
          </a:solidFill>
        </p:grpSpPr>
        <p:grpSp>
          <p:nvGrpSpPr>
            <p:cNvPr id="2001" name="Gruppieren 2000">
              <a:extLst>
                <a:ext uri="{FF2B5EF4-FFF2-40B4-BE49-F238E27FC236}">
                  <a16:creationId xmlns:a16="http://schemas.microsoft.com/office/drawing/2014/main" id="{DBF67CB9-3CF2-47F3-A84F-88AC3E978712}"/>
                </a:ext>
              </a:extLst>
            </p:cNvPr>
            <p:cNvGrpSpPr/>
            <p:nvPr/>
          </p:nvGrpSpPr>
          <p:grpSpPr>
            <a:xfrm>
              <a:off x="10964454" y="2979934"/>
              <a:ext cx="398897" cy="360000"/>
              <a:chOff x="10964454" y="2979934"/>
              <a:chExt cx="398897" cy="360000"/>
            </a:xfrm>
            <a:grpFill/>
          </p:grpSpPr>
          <p:sp>
            <p:nvSpPr>
              <p:cNvPr id="2009" name="Freeform 256">
                <a:extLst>
                  <a:ext uri="{FF2B5EF4-FFF2-40B4-BE49-F238E27FC236}">
                    <a16:creationId xmlns:a16="http://schemas.microsoft.com/office/drawing/2014/main" id="{6BD7A46B-9DBB-415D-B70A-37FD7DAEFA21}"/>
                  </a:ext>
                </a:extLst>
              </p:cNvPr>
              <p:cNvSpPr>
                <a:spLocks/>
              </p:cNvSpPr>
              <p:nvPr/>
            </p:nvSpPr>
            <p:spPr bwMode="auto">
              <a:xfrm>
                <a:off x="10985143" y="3169451"/>
                <a:ext cx="358345" cy="170483"/>
              </a:xfrm>
              <a:custGeom>
                <a:avLst/>
                <a:gdLst>
                  <a:gd name="T0" fmla="*/ 588 w 1300"/>
                  <a:gd name="T1" fmla="*/ 615 h 618"/>
                  <a:gd name="T2" fmla="*/ 497 w 1300"/>
                  <a:gd name="T3" fmla="*/ 601 h 618"/>
                  <a:gd name="T4" fmla="*/ 412 w 1300"/>
                  <a:gd name="T5" fmla="*/ 573 h 618"/>
                  <a:gd name="T6" fmla="*/ 331 w 1300"/>
                  <a:gd name="T7" fmla="*/ 536 h 618"/>
                  <a:gd name="T8" fmla="*/ 258 w 1300"/>
                  <a:gd name="T9" fmla="*/ 487 h 618"/>
                  <a:gd name="T10" fmla="*/ 190 w 1300"/>
                  <a:gd name="T11" fmla="*/ 429 h 618"/>
                  <a:gd name="T12" fmla="*/ 132 w 1300"/>
                  <a:gd name="T13" fmla="*/ 365 h 618"/>
                  <a:gd name="T14" fmla="*/ 84 w 1300"/>
                  <a:gd name="T15" fmla="*/ 290 h 618"/>
                  <a:gd name="T16" fmla="*/ 45 w 1300"/>
                  <a:gd name="T17" fmla="*/ 210 h 618"/>
                  <a:gd name="T18" fmla="*/ 16 w 1300"/>
                  <a:gd name="T19" fmla="*/ 123 h 618"/>
                  <a:gd name="T20" fmla="*/ 0 w 1300"/>
                  <a:gd name="T21" fmla="*/ 32 h 618"/>
                  <a:gd name="T22" fmla="*/ 3 w 1300"/>
                  <a:gd name="T23" fmla="*/ 16 h 618"/>
                  <a:gd name="T24" fmla="*/ 14 w 1300"/>
                  <a:gd name="T25" fmla="*/ 6 h 618"/>
                  <a:gd name="T26" fmla="*/ 29 w 1300"/>
                  <a:gd name="T27" fmla="*/ 3 h 618"/>
                  <a:gd name="T28" fmla="*/ 43 w 1300"/>
                  <a:gd name="T29" fmla="*/ 9 h 618"/>
                  <a:gd name="T30" fmla="*/ 52 w 1300"/>
                  <a:gd name="T31" fmla="*/ 22 h 618"/>
                  <a:gd name="T32" fmla="*/ 60 w 1300"/>
                  <a:gd name="T33" fmla="*/ 84 h 618"/>
                  <a:gd name="T34" fmla="*/ 84 w 1300"/>
                  <a:gd name="T35" fmla="*/ 164 h 618"/>
                  <a:gd name="T36" fmla="*/ 115 w 1300"/>
                  <a:gd name="T37" fmla="*/ 241 h 618"/>
                  <a:gd name="T38" fmla="*/ 157 w 1300"/>
                  <a:gd name="T39" fmla="*/ 310 h 618"/>
                  <a:gd name="T40" fmla="*/ 209 w 1300"/>
                  <a:gd name="T41" fmla="*/ 373 h 618"/>
                  <a:gd name="T42" fmla="*/ 268 w 1300"/>
                  <a:gd name="T43" fmla="*/ 429 h 618"/>
                  <a:gd name="T44" fmla="*/ 333 w 1300"/>
                  <a:gd name="T45" fmla="*/ 475 h 618"/>
                  <a:gd name="T46" fmla="*/ 405 w 1300"/>
                  <a:gd name="T47" fmla="*/ 514 h 618"/>
                  <a:gd name="T48" fmla="*/ 482 w 1300"/>
                  <a:gd name="T49" fmla="*/ 542 h 618"/>
                  <a:gd name="T50" fmla="*/ 564 w 1300"/>
                  <a:gd name="T51" fmla="*/ 560 h 618"/>
                  <a:gd name="T52" fmla="*/ 649 w 1300"/>
                  <a:gd name="T53" fmla="*/ 566 h 618"/>
                  <a:gd name="T54" fmla="*/ 736 w 1300"/>
                  <a:gd name="T55" fmla="*/ 559 h 618"/>
                  <a:gd name="T56" fmla="*/ 818 w 1300"/>
                  <a:gd name="T57" fmla="*/ 542 h 618"/>
                  <a:gd name="T58" fmla="*/ 896 w 1300"/>
                  <a:gd name="T59" fmla="*/ 514 h 618"/>
                  <a:gd name="T60" fmla="*/ 968 w 1300"/>
                  <a:gd name="T61" fmla="*/ 475 h 618"/>
                  <a:gd name="T62" fmla="*/ 1034 w 1300"/>
                  <a:gd name="T63" fmla="*/ 428 h 618"/>
                  <a:gd name="T64" fmla="*/ 1093 w 1300"/>
                  <a:gd name="T65" fmla="*/ 372 h 618"/>
                  <a:gd name="T66" fmla="*/ 1143 w 1300"/>
                  <a:gd name="T67" fmla="*/ 308 h 618"/>
                  <a:gd name="T68" fmla="*/ 1185 w 1300"/>
                  <a:gd name="T69" fmla="*/ 238 h 618"/>
                  <a:gd name="T70" fmla="*/ 1218 w 1300"/>
                  <a:gd name="T71" fmla="*/ 162 h 618"/>
                  <a:gd name="T72" fmla="*/ 1240 w 1300"/>
                  <a:gd name="T73" fmla="*/ 81 h 618"/>
                  <a:gd name="T74" fmla="*/ 1248 w 1300"/>
                  <a:gd name="T75" fmla="*/ 18 h 618"/>
                  <a:gd name="T76" fmla="*/ 1257 w 1300"/>
                  <a:gd name="T77" fmla="*/ 6 h 618"/>
                  <a:gd name="T78" fmla="*/ 1272 w 1300"/>
                  <a:gd name="T79" fmla="*/ 0 h 618"/>
                  <a:gd name="T80" fmla="*/ 1286 w 1300"/>
                  <a:gd name="T81" fmla="*/ 3 h 618"/>
                  <a:gd name="T82" fmla="*/ 1297 w 1300"/>
                  <a:gd name="T83" fmla="*/ 13 h 618"/>
                  <a:gd name="T84" fmla="*/ 1300 w 1300"/>
                  <a:gd name="T85" fmla="*/ 28 h 618"/>
                  <a:gd name="T86" fmla="*/ 1284 w 1300"/>
                  <a:gd name="T87" fmla="*/ 121 h 618"/>
                  <a:gd name="T88" fmla="*/ 1257 w 1300"/>
                  <a:gd name="T89" fmla="*/ 208 h 618"/>
                  <a:gd name="T90" fmla="*/ 1218 w 1300"/>
                  <a:gd name="T91" fmla="*/ 288 h 618"/>
                  <a:gd name="T92" fmla="*/ 1169 w 1300"/>
                  <a:gd name="T93" fmla="*/ 363 h 618"/>
                  <a:gd name="T94" fmla="*/ 1112 w 1300"/>
                  <a:gd name="T95" fmla="*/ 429 h 618"/>
                  <a:gd name="T96" fmla="*/ 1044 w 1300"/>
                  <a:gd name="T97" fmla="*/ 487 h 618"/>
                  <a:gd name="T98" fmla="*/ 971 w 1300"/>
                  <a:gd name="T99" fmla="*/ 534 h 618"/>
                  <a:gd name="T100" fmla="*/ 890 w 1300"/>
                  <a:gd name="T101" fmla="*/ 573 h 618"/>
                  <a:gd name="T102" fmla="*/ 804 w 1300"/>
                  <a:gd name="T103" fmla="*/ 601 h 618"/>
                  <a:gd name="T104" fmla="*/ 713 w 1300"/>
                  <a:gd name="T105" fmla="*/ 61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0" h="618">
                    <a:moveTo>
                      <a:pt x="649" y="618"/>
                    </a:moveTo>
                    <a:lnTo>
                      <a:pt x="619" y="617"/>
                    </a:lnTo>
                    <a:lnTo>
                      <a:pt x="588" y="615"/>
                    </a:lnTo>
                    <a:lnTo>
                      <a:pt x="557" y="611"/>
                    </a:lnTo>
                    <a:lnTo>
                      <a:pt x="527" y="606"/>
                    </a:lnTo>
                    <a:lnTo>
                      <a:pt x="497" y="601"/>
                    </a:lnTo>
                    <a:lnTo>
                      <a:pt x="468" y="592"/>
                    </a:lnTo>
                    <a:lnTo>
                      <a:pt x="439" y="583"/>
                    </a:lnTo>
                    <a:lnTo>
                      <a:pt x="412" y="573"/>
                    </a:lnTo>
                    <a:lnTo>
                      <a:pt x="384" y="562"/>
                    </a:lnTo>
                    <a:lnTo>
                      <a:pt x="357" y="549"/>
                    </a:lnTo>
                    <a:lnTo>
                      <a:pt x="331" y="536"/>
                    </a:lnTo>
                    <a:lnTo>
                      <a:pt x="305" y="520"/>
                    </a:lnTo>
                    <a:lnTo>
                      <a:pt x="281" y="504"/>
                    </a:lnTo>
                    <a:lnTo>
                      <a:pt x="258" y="487"/>
                    </a:lnTo>
                    <a:lnTo>
                      <a:pt x="235" y="470"/>
                    </a:lnTo>
                    <a:lnTo>
                      <a:pt x="212" y="450"/>
                    </a:lnTo>
                    <a:lnTo>
                      <a:pt x="190" y="429"/>
                    </a:lnTo>
                    <a:lnTo>
                      <a:pt x="170" y="409"/>
                    </a:lnTo>
                    <a:lnTo>
                      <a:pt x="151" y="388"/>
                    </a:lnTo>
                    <a:lnTo>
                      <a:pt x="132" y="365"/>
                    </a:lnTo>
                    <a:lnTo>
                      <a:pt x="115" y="340"/>
                    </a:lnTo>
                    <a:lnTo>
                      <a:pt x="98" y="316"/>
                    </a:lnTo>
                    <a:lnTo>
                      <a:pt x="84" y="290"/>
                    </a:lnTo>
                    <a:lnTo>
                      <a:pt x="69" y="264"/>
                    </a:lnTo>
                    <a:lnTo>
                      <a:pt x="56" y="238"/>
                    </a:lnTo>
                    <a:lnTo>
                      <a:pt x="45" y="210"/>
                    </a:lnTo>
                    <a:lnTo>
                      <a:pt x="33" y="182"/>
                    </a:lnTo>
                    <a:lnTo>
                      <a:pt x="24" y="153"/>
                    </a:lnTo>
                    <a:lnTo>
                      <a:pt x="16" y="123"/>
                    </a:lnTo>
                    <a:lnTo>
                      <a:pt x="10" y="94"/>
                    </a:lnTo>
                    <a:lnTo>
                      <a:pt x="4" y="62"/>
                    </a:lnTo>
                    <a:lnTo>
                      <a:pt x="0" y="32"/>
                    </a:lnTo>
                    <a:lnTo>
                      <a:pt x="0" y="26"/>
                    </a:lnTo>
                    <a:lnTo>
                      <a:pt x="1" y="22"/>
                    </a:lnTo>
                    <a:lnTo>
                      <a:pt x="3" y="16"/>
                    </a:lnTo>
                    <a:lnTo>
                      <a:pt x="6" y="12"/>
                    </a:lnTo>
                    <a:lnTo>
                      <a:pt x="10" y="9"/>
                    </a:lnTo>
                    <a:lnTo>
                      <a:pt x="14" y="6"/>
                    </a:lnTo>
                    <a:lnTo>
                      <a:pt x="19" y="5"/>
                    </a:lnTo>
                    <a:lnTo>
                      <a:pt x="24" y="3"/>
                    </a:lnTo>
                    <a:lnTo>
                      <a:pt x="29" y="3"/>
                    </a:lnTo>
                    <a:lnTo>
                      <a:pt x="35" y="5"/>
                    </a:lnTo>
                    <a:lnTo>
                      <a:pt x="39" y="6"/>
                    </a:lnTo>
                    <a:lnTo>
                      <a:pt x="43" y="9"/>
                    </a:lnTo>
                    <a:lnTo>
                      <a:pt x="46" y="12"/>
                    </a:lnTo>
                    <a:lnTo>
                      <a:pt x="49" y="16"/>
                    </a:lnTo>
                    <a:lnTo>
                      <a:pt x="52" y="22"/>
                    </a:lnTo>
                    <a:lnTo>
                      <a:pt x="52" y="26"/>
                    </a:lnTo>
                    <a:lnTo>
                      <a:pt x="56" y="55"/>
                    </a:lnTo>
                    <a:lnTo>
                      <a:pt x="60" y="84"/>
                    </a:lnTo>
                    <a:lnTo>
                      <a:pt x="68" y="111"/>
                    </a:lnTo>
                    <a:lnTo>
                      <a:pt x="75" y="138"/>
                    </a:lnTo>
                    <a:lnTo>
                      <a:pt x="84" y="164"/>
                    </a:lnTo>
                    <a:lnTo>
                      <a:pt x="92" y="190"/>
                    </a:lnTo>
                    <a:lnTo>
                      <a:pt x="104" y="216"/>
                    </a:lnTo>
                    <a:lnTo>
                      <a:pt x="115" y="241"/>
                    </a:lnTo>
                    <a:lnTo>
                      <a:pt x="128" y="264"/>
                    </a:lnTo>
                    <a:lnTo>
                      <a:pt x="143" y="288"/>
                    </a:lnTo>
                    <a:lnTo>
                      <a:pt x="157" y="310"/>
                    </a:lnTo>
                    <a:lnTo>
                      <a:pt x="174" y="331"/>
                    </a:lnTo>
                    <a:lnTo>
                      <a:pt x="190" y="353"/>
                    </a:lnTo>
                    <a:lnTo>
                      <a:pt x="209" y="373"/>
                    </a:lnTo>
                    <a:lnTo>
                      <a:pt x="228" y="393"/>
                    </a:lnTo>
                    <a:lnTo>
                      <a:pt x="246" y="411"/>
                    </a:lnTo>
                    <a:lnTo>
                      <a:pt x="268" y="429"/>
                    </a:lnTo>
                    <a:lnTo>
                      <a:pt x="288" y="445"/>
                    </a:lnTo>
                    <a:lnTo>
                      <a:pt x="311" y="461"/>
                    </a:lnTo>
                    <a:lnTo>
                      <a:pt x="333" y="475"/>
                    </a:lnTo>
                    <a:lnTo>
                      <a:pt x="357" y="490"/>
                    </a:lnTo>
                    <a:lnTo>
                      <a:pt x="380" y="503"/>
                    </a:lnTo>
                    <a:lnTo>
                      <a:pt x="405" y="514"/>
                    </a:lnTo>
                    <a:lnTo>
                      <a:pt x="431" y="524"/>
                    </a:lnTo>
                    <a:lnTo>
                      <a:pt x="456" y="534"/>
                    </a:lnTo>
                    <a:lnTo>
                      <a:pt x="482" y="542"/>
                    </a:lnTo>
                    <a:lnTo>
                      <a:pt x="510" y="549"/>
                    </a:lnTo>
                    <a:lnTo>
                      <a:pt x="537" y="555"/>
                    </a:lnTo>
                    <a:lnTo>
                      <a:pt x="564" y="560"/>
                    </a:lnTo>
                    <a:lnTo>
                      <a:pt x="593" y="563"/>
                    </a:lnTo>
                    <a:lnTo>
                      <a:pt x="621" y="565"/>
                    </a:lnTo>
                    <a:lnTo>
                      <a:pt x="649" y="566"/>
                    </a:lnTo>
                    <a:lnTo>
                      <a:pt x="680" y="565"/>
                    </a:lnTo>
                    <a:lnTo>
                      <a:pt x="707" y="563"/>
                    </a:lnTo>
                    <a:lnTo>
                      <a:pt x="736" y="559"/>
                    </a:lnTo>
                    <a:lnTo>
                      <a:pt x="763" y="555"/>
                    </a:lnTo>
                    <a:lnTo>
                      <a:pt x="792" y="549"/>
                    </a:lnTo>
                    <a:lnTo>
                      <a:pt x="818" y="542"/>
                    </a:lnTo>
                    <a:lnTo>
                      <a:pt x="845" y="534"/>
                    </a:lnTo>
                    <a:lnTo>
                      <a:pt x="871" y="524"/>
                    </a:lnTo>
                    <a:lnTo>
                      <a:pt x="896" y="514"/>
                    </a:lnTo>
                    <a:lnTo>
                      <a:pt x="920" y="503"/>
                    </a:lnTo>
                    <a:lnTo>
                      <a:pt x="945" y="490"/>
                    </a:lnTo>
                    <a:lnTo>
                      <a:pt x="968" y="475"/>
                    </a:lnTo>
                    <a:lnTo>
                      <a:pt x="991" y="461"/>
                    </a:lnTo>
                    <a:lnTo>
                      <a:pt x="1012" y="445"/>
                    </a:lnTo>
                    <a:lnTo>
                      <a:pt x="1034" y="428"/>
                    </a:lnTo>
                    <a:lnTo>
                      <a:pt x="1054" y="411"/>
                    </a:lnTo>
                    <a:lnTo>
                      <a:pt x="1074" y="392"/>
                    </a:lnTo>
                    <a:lnTo>
                      <a:pt x="1093" y="372"/>
                    </a:lnTo>
                    <a:lnTo>
                      <a:pt x="1110" y="352"/>
                    </a:lnTo>
                    <a:lnTo>
                      <a:pt x="1128" y="331"/>
                    </a:lnTo>
                    <a:lnTo>
                      <a:pt x="1143" y="308"/>
                    </a:lnTo>
                    <a:lnTo>
                      <a:pt x="1159" y="287"/>
                    </a:lnTo>
                    <a:lnTo>
                      <a:pt x="1172" y="262"/>
                    </a:lnTo>
                    <a:lnTo>
                      <a:pt x="1185" y="238"/>
                    </a:lnTo>
                    <a:lnTo>
                      <a:pt x="1198" y="213"/>
                    </a:lnTo>
                    <a:lnTo>
                      <a:pt x="1208" y="187"/>
                    </a:lnTo>
                    <a:lnTo>
                      <a:pt x="1218" y="162"/>
                    </a:lnTo>
                    <a:lnTo>
                      <a:pt x="1227" y="136"/>
                    </a:lnTo>
                    <a:lnTo>
                      <a:pt x="1234" y="108"/>
                    </a:lnTo>
                    <a:lnTo>
                      <a:pt x="1240" y="81"/>
                    </a:lnTo>
                    <a:lnTo>
                      <a:pt x="1244" y="52"/>
                    </a:lnTo>
                    <a:lnTo>
                      <a:pt x="1248" y="23"/>
                    </a:lnTo>
                    <a:lnTo>
                      <a:pt x="1248" y="18"/>
                    </a:lnTo>
                    <a:lnTo>
                      <a:pt x="1251" y="13"/>
                    </a:lnTo>
                    <a:lnTo>
                      <a:pt x="1254" y="9"/>
                    </a:lnTo>
                    <a:lnTo>
                      <a:pt x="1257" y="6"/>
                    </a:lnTo>
                    <a:lnTo>
                      <a:pt x="1261" y="3"/>
                    </a:lnTo>
                    <a:lnTo>
                      <a:pt x="1266" y="0"/>
                    </a:lnTo>
                    <a:lnTo>
                      <a:pt x="1272" y="0"/>
                    </a:lnTo>
                    <a:lnTo>
                      <a:pt x="1277" y="0"/>
                    </a:lnTo>
                    <a:lnTo>
                      <a:pt x="1282" y="0"/>
                    </a:lnTo>
                    <a:lnTo>
                      <a:pt x="1286" y="3"/>
                    </a:lnTo>
                    <a:lnTo>
                      <a:pt x="1290" y="6"/>
                    </a:lnTo>
                    <a:lnTo>
                      <a:pt x="1295" y="9"/>
                    </a:lnTo>
                    <a:lnTo>
                      <a:pt x="1297" y="13"/>
                    </a:lnTo>
                    <a:lnTo>
                      <a:pt x="1299" y="18"/>
                    </a:lnTo>
                    <a:lnTo>
                      <a:pt x="1300" y="23"/>
                    </a:lnTo>
                    <a:lnTo>
                      <a:pt x="1300" y="28"/>
                    </a:lnTo>
                    <a:lnTo>
                      <a:pt x="1296" y="59"/>
                    </a:lnTo>
                    <a:lnTo>
                      <a:pt x="1292" y="91"/>
                    </a:lnTo>
                    <a:lnTo>
                      <a:pt x="1284" y="121"/>
                    </a:lnTo>
                    <a:lnTo>
                      <a:pt x="1277" y="150"/>
                    </a:lnTo>
                    <a:lnTo>
                      <a:pt x="1267" y="179"/>
                    </a:lnTo>
                    <a:lnTo>
                      <a:pt x="1257" y="208"/>
                    </a:lnTo>
                    <a:lnTo>
                      <a:pt x="1246" y="235"/>
                    </a:lnTo>
                    <a:lnTo>
                      <a:pt x="1233" y="262"/>
                    </a:lnTo>
                    <a:lnTo>
                      <a:pt x="1218" y="288"/>
                    </a:lnTo>
                    <a:lnTo>
                      <a:pt x="1202" y="314"/>
                    </a:lnTo>
                    <a:lnTo>
                      <a:pt x="1187" y="339"/>
                    </a:lnTo>
                    <a:lnTo>
                      <a:pt x="1169" y="363"/>
                    </a:lnTo>
                    <a:lnTo>
                      <a:pt x="1151" y="386"/>
                    </a:lnTo>
                    <a:lnTo>
                      <a:pt x="1132" y="408"/>
                    </a:lnTo>
                    <a:lnTo>
                      <a:pt x="1112" y="429"/>
                    </a:lnTo>
                    <a:lnTo>
                      <a:pt x="1090" y="450"/>
                    </a:lnTo>
                    <a:lnTo>
                      <a:pt x="1067" y="468"/>
                    </a:lnTo>
                    <a:lnTo>
                      <a:pt x="1044" y="487"/>
                    </a:lnTo>
                    <a:lnTo>
                      <a:pt x="1021" y="504"/>
                    </a:lnTo>
                    <a:lnTo>
                      <a:pt x="996" y="520"/>
                    </a:lnTo>
                    <a:lnTo>
                      <a:pt x="971" y="534"/>
                    </a:lnTo>
                    <a:lnTo>
                      <a:pt x="945" y="549"/>
                    </a:lnTo>
                    <a:lnTo>
                      <a:pt x="917" y="562"/>
                    </a:lnTo>
                    <a:lnTo>
                      <a:pt x="890" y="573"/>
                    </a:lnTo>
                    <a:lnTo>
                      <a:pt x="861" y="583"/>
                    </a:lnTo>
                    <a:lnTo>
                      <a:pt x="832" y="592"/>
                    </a:lnTo>
                    <a:lnTo>
                      <a:pt x="804" y="601"/>
                    </a:lnTo>
                    <a:lnTo>
                      <a:pt x="773" y="606"/>
                    </a:lnTo>
                    <a:lnTo>
                      <a:pt x="743" y="611"/>
                    </a:lnTo>
                    <a:lnTo>
                      <a:pt x="713" y="615"/>
                    </a:lnTo>
                    <a:lnTo>
                      <a:pt x="681" y="617"/>
                    </a:lnTo>
                    <a:lnTo>
                      <a:pt x="64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0" name="Freeform 265">
                <a:extLst>
                  <a:ext uri="{FF2B5EF4-FFF2-40B4-BE49-F238E27FC236}">
                    <a16:creationId xmlns:a16="http://schemas.microsoft.com/office/drawing/2014/main" id="{B5E81F62-B196-498D-90B8-98C6A2F7640C}"/>
                  </a:ext>
                </a:extLst>
              </p:cNvPr>
              <p:cNvSpPr>
                <a:spLocks/>
              </p:cNvSpPr>
              <p:nvPr/>
            </p:nvSpPr>
            <p:spPr bwMode="auto">
              <a:xfrm>
                <a:off x="10964454" y="3163658"/>
                <a:ext cx="60414" cy="37242"/>
              </a:xfrm>
              <a:custGeom>
                <a:avLst/>
                <a:gdLst>
                  <a:gd name="T0" fmla="*/ 192 w 218"/>
                  <a:gd name="T1" fmla="*/ 135 h 135"/>
                  <a:gd name="T2" fmla="*/ 186 w 218"/>
                  <a:gd name="T3" fmla="*/ 134 h 135"/>
                  <a:gd name="T4" fmla="*/ 182 w 218"/>
                  <a:gd name="T5" fmla="*/ 132 h 135"/>
                  <a:gd name="T6" fmla="*/ 177 w 218"/>
                  <a:gd name="T7" fmla="*/ 131 h 135"/>
                  <a:gd name="T8" fmla="*/ 173 w 218"/>
                  <a:gd name="T9" fmla="*/ 126 h 135"/>
                  <a:gd name="T10" fmla="*/ 108 w 218"/>
                  <a:gd name="T11" fmla="*/ 62 h 135"/>
                  <a:gd name="T12" fmla="*/ 45 w 218"/>
                  <a:gd name="T13" fmla="*/ 125 h 135"/>
                  <a:gd name="T14" fmla="*/ 40 w 218"/>
                  <a:gd name="T15" fmla="*/ 129 h 135"/>
                  <a:gd name="T16" fmla="*/ 36 w 218"/>
                  <a:gd name="T17" fmla="*/ 131 h 135"/>
                  <a:gd name="T18" fmla="*/ 32 w 218"/>
                  <a:gd name="T19" fmla="*/ 132 h 135"/>
                  <a:gd name="T20" fmla="*/ 26 w 218"/>
                  <a:gd name="T21" fmla="*/ 134 h 135"/>
                  <a:gd name="T22" fmla="*/ 22 w 218"/>
                  <a:gd name="T23" fmla="*/ 132 h 135"/>
                  <a:gd name="T24" fmla="*/ 17 w 218"/>
                  <a:gd name="T25" fmla="*/ 131 h 135"/>
                  <a:gd name="T26" fmla="*/ 13 w 218"/>
                  <a:gd name="T27" fmla="*/ 129 h 135"/>
                  <a:gd name="T28" fmla="*/ 9 w 218"/>
                  <a:gd name="T29" fmla="*/ 125 h 135"/>
                  <a:gd name="T30" fmla="*/ 4 w 218"/>
                  <a:gd name="T31" fmla="*/ 121 h 135"/>
                  <a:gd name="T32" fmla="*/ 3 w 218"/>
                  <a:gd name="T33" fmla="*/ 116 h 135"/>
                  <a:gd name="T34" fmla="*/ 2 w 218"/>
                  <a:gd name="T35" fmla="*/ 112 h 135"/>
                  <a:gd name="T36" fmla="*/ 0 w 218"/>
                  <a:gd name="T37" fmla="*/ 106 h 135"/>
                  <a:gd name="T38" fmla="*/ 2 w 218"/>
                  <a:gd name="T39" fmla="*/ 102 h 135"/>
                  <a:gd name="T40" fmla="*/ 3 w 218"/>
                  <a:gd name="T41" fmla="*/ 98 h 135"/>
                  <a:gd name="T42" fmla="*/ 4 w 218"/>
                  <a:gd name="T43" fmla="*/ 92 h 135"/>
                  <a:gd name="T44" fmla="*/ 9 w 218"/>
                  <a:gd name="T45" fmla="*/ 89 h 135"/>
                  <a:gd name="T46" fmla="*/ 89 w 218"/>
                  <a:gd name="T47" fmla="*/ 7 h 135"/>
                  <a:gd name="T48" fmla="*/ 94 w 218"/>
                  <a:gd name="T49" fmla="*/ 4 h 135"/>
                  <a:gd name="T50" fmla="*/ 98 w 218"/>
                  <a:gd name="T51" fmla="*/ 1 h 135"/>
                  <a:gd name="T52" fmla="*/ 104 w 218"/>
                  <a:gd name="T53" fmla="*/ 0 h 135"/>
                  <a:gd name="T54" fmla="*/ 108 w 218"/>
                  <a:gd name="T55" fmla="*/ 0 h 135"/>
                  <a:gd name="T56" fmla="*/ 114 w 218"/>
                  <a:gd name="T57" fmla="*/ 0 h 135"/>
                  <a:gd name="T58" fmla="*/ 118 w 218"/>
                  <a:gd name="T59" fmla="*/ 1 h 135"/>
                  <a:gd name="T60" fmla="*/ 123 w 218"/>
                  <a:gd name="T61" fmla="*/ 4 h 135"/>
                  <a:gd name="T62" fmla="*/ 127 w 218"/>
                  <a:gd name="T63" fmla="*/ 7 h 135"/>
                  <a:gd name="T64" fmla="*/ 210 w 218"/>
                  <a:gd name="T65" fmla="*/ 90 h 135"/>
                  <a:gd name="T66" fmla="*/ 213 w 218"/>
                  <a:gd name="T67" fmla="*/ 95 h 135"/>
                  <a:gd name="T68" fmla="*/ 216 w 218"/>
                  <a:gd name="T69" fmla="*/ 99 h 135"/>
                  <a:gd name="T70" fmla="*/ 218 w 218"/>
                  <a:gd name="T71" fmla="*/ 103 h 135"/>
                  <a:gd name="T72" fmla="*/ 218 w 218"/>
                  <a:gd name="T73" fmla="*/ 108 h 135"/>
                  <a:gd name="T74" fmla="*/ 218 w 218"/>
                  <a:gd name="T75" fmla="*/ 113 h 135"/>
                  <a:gd name="T76" fmla="*/ 216 w 218"/>
                  <a:gd name="T77" fmla="*/ 118 h 135"/>
                  <a:gd name="T78" fmla="*/ 213 w 218"/>
                  <a:gd name="T79" fmla="*/ 122 h 135"/>
                  <a:gd name="T80" fmla="*/ 210 w 218"/>
                  <a:gd name="T81" fmla="*/ 126 h 135"/>
                  <a:gd name="T82" fmla="*/ 206 w 218"/>
                  <a:gd name="T83" fmla="*/ 131 h 135"/>
                  <a:gd name="T84" fmla="*/ 202 w 218"/>
                  <a:gd name="T85" fmla="*/ 132 h 135"/>
                  <a:gd name="T86" fmla="*/ 196 w 218"/>
                  <a:gd name="T87" fmla="*/ 134 h 135"/>
                  <a:gd name="T88" fmla="*/ 192 w 218"/>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35">
                    <a:moveTo>
                      <a:pt x="192" y="135"/>
                    </a:moveTo>
                    <a:lnTo>
                      <a:pt x="186" y="134"/>
                    </a:lnTo>
                    <a:lnTo>
                      <a:pt x="182" y="132"/>
                    </a:lnTo>
                    <a:lnTo>
                      <a:pt x="177" y="131"/>
                    </a:lnTo>
                    <a:lnTo>
                      <a:pt x="173" y="126"/>
                    </a:lnTo>
                    <a:lnTo>
                      <a:pt x="108" y="62"/>
                    </a:lnTo>
                    <a:lnTo>
                      <a:pt x="45" y="125"/>
                    </a:lnTo>
                    <a:lnTo>
                      <a:pt x="40" y="129"/>
                    </a:lnTo>
                    <a:lnTo>
                      <a:pt x="36" y="131"/>
                    </a:lnTo>
                    <a:lnTo>
                      <a:pt x="32" y="132"/>
                    </a:lnTo>
                    <a:lnTo>
                      <a:pt x="26" y="134"/>
                    </a:lnTo>
                    <a:lnTo>
                      <a:pt x="22" y="132"/>
                    </a:lnTo>
                    <a:lnTo>
                      <a:pt x="17" y="131"/>
                    </a:lnTo>
                    <a:lnTo>
                      <a:pt x="13" y="129"/>
                    </a:lnTo>
                    <a:lnTo>
                      <a:pt x="9" y="125"/>
                    </a:lnTo>
                    <a:lnTo>
                      <a:pt x="4" y="121"/>
                    </a:lnTo>
                    <a:lnTo>
                      <a:pt x="3" y="116"/>
                    </a:lnTo>
                    <a:lnTo>
                      <a:pt x="2" y="112"/>
                    </a:lnTo>
                    <a:lnTo>
                      <a:pt x="0" y="106"/>
                    </a:lnTo>
                    <a:lnTo>
                      <a:pt x="2" y="102"/>
                    </a:lnTo>
                    <a:lnTo>
                      <a:pt x="3" y="98"/>
                    </a:lnTo>
                    <a:lnTo>
                      <a:pt x="4" y="92"/>
                    </a:lnTo>
                    <a:lnTo>
                      <a:pt x="9" y="89"/>
                    </a:lnTo>
                    <a:lnTo>
                      <a:pt x="89" y="7"/>
                    </a:lnTo>
                    <a:lnTo>
                      <a:pt x="94" y="4"/>
                    </a:lnTo>
                    <a:lnTo>
                      <a:pt x="98" y="1"/>
                    </a:lnTo>
                    <a:lnTo>
                      <a:pt x="104" y="0"/>
                    </a:lnTo>
                    <a:lnTo>
                      <a:pt x="108" y="0"/>
                    </a:lnTo>
                    <a:lnTo>
                      <a:pt x="114" y="0"/>
                    </a:lnTo>
                    <a:lnTo>
                      <a:pt x="118" y="1"/>
                    </a:lnTo>
                    <a:lnTo>
                      <a:pt x="123" y="4"/>
                    </a:lnTo>
                    <a:lnTo>
                      <a:pt x="127" y="7"/>
                    </a:lnTo>
                    <a:lnTo>
                      <a:pt x="210" y="90"/>
                    </a:lnTo>
                    <a:lnTo>
                      <a:pt x="213" y="95"/>
                    </a:lnTo>
                    <a:lnTo>
                      <a:pt x="216" y="99"/>
                    </a:lnTo>
                    <a:lnTo>
                      <a:pt x="218" y="103"/>
                    </a:lnTo>
                    <a:lnTo>
                      <a:pt x="218" y="108"/>
                    </a:lnTo>
                    <a:lnTo>
                      <a:pt x="218" y="113"/>
                    </a:lnTo>
                    <a:lnTo>
                      <a:pt x="216" y="118"/>
                    </a:lnTo>
                    <a:lnTo>
                      <a:pt x="213" y="122"/>
                    </a:lnTo>
                    <a:lnTo>
                      <a:pt x="210" y="126"/>
                    </a:lnTo>
                    <a:lnTo>
                      <a:pt x="206" y="131"/>
                    </a:lnTo>
                    <a:lnTo>
                      <a:pt x="202" y="132"/>
                    </a:lnTo>
                    <a:lnTo>
                      <a:pt x="196" y="134"/>
                    </a:lnTo>
                    <a:lnTo>
                      <a:pt x="192"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1" name="Freeform 266">
                <a:extLst>
                  <a:ext uri="{FF2B5EF4-FFF2-40B4-BE49-F238E27FC236}">
                    <a16:creationId xmlns:a16="http://schemas.microsoft.com/office/drawing/2014/main" id="{6EF16C80-CCCE-4037-91E3-A5944D1EC4A3}"/>
                  </a:ext>
                </a:extLst>
              </p:cNvPr>
              <p:cNvSpPr>
                <a:spLocks/>
              </p:cNvSpPr>
              <p:nvPr/>
            </p:nvSpPr>
            <p:spPr bwMode="auto">
              <a:xfrm>
                <a:off x="10984316" y="2979934"/>
                <a:ext cx="358345" cy="170483"/>
              </a:xfrm>
              <a:custGeom>
                <a:avLst/>
                <a:gdLst>
                  <a:gd name="T0" fmla="*/ 23 w 1300"/>
                  <a:gd name="T1" fmla="*/ 618 h 618"/>
                  <a:gd name="T2" fmla="*/ 10 w 1300"/>
                  <a:gd name="T3" fmla="*/ 612 h 618"/>
                  <a:gd name="T4" fmla="*/ 2 w 1300"/>
                  <a:gd name="T5" fmla="*/ 600 h 618"/>
                  <a:gd name="T6" fmla="*/ 4 w 1300"/>
                  <a:gd name="T7" fmla="*/ 559 h 618"/>
                  <a:gd name="T8" fmla="*/ 23 w 1300"/>
                  <a:gd name="T9" fmla="*/ 468 h 618"/>
                  <a:gd name="T10" fmla="*/ 55 w 1300"/>
                  <a:gd name="T11" fmla="*/ 383 h 618"/>
                  <a:gd name="T12" fmla="*/ 97 w 1300"/>
                  <a:gd name="T13" fmla="*/ 304 h 618"/>
                  <a:gd name="T14" fmla="*/ 150 w 1300"/>
                  <a:gd name="T15" fmla="*/ 232 h 618"/>
                  <a:gd name="T16" fmla="*/ 210 w 1300"/>
                  <a:gd name="T17" fmla="*/ 168 h 618"/>
                  <a:gd name="T18" fmla="*/ 279 w 1300"/>
                  <a:gd name="T19" fmla="*/ 114 h 618"/>
                  <a:gd name="T20" fmla="*/ 356 w 1300"/>
                  <a:gd name="T21" fmla="*/ 69 h 618"/>
                  <a:gd name="T22" fmla="*/ 439 w 1300"/>
                  <a:gd name="T23" fmla="*/ 35 h 618"/>
                  <a:gd name="T24" fmla="*/ 527 w 1300"/>
                  <a:gd name="T25" fmla="*/ 11 h 618"/>
                  <a:gd name="T26" fmla="*/ 619 w 1300"/>
                  <a:gd name="T27" fmla="*/ 0 h 618"/>
                  <a:gd name="T28" fmla="*/ 713 w 1300"/>
                  <a:gd name="T29" fmla="*/ 3 h 618"/>
                  <a:gd name="T30" fmla="*/ 804 w 1300"/>
                  <a:gd name="T31" fmla="*/ 17 h 618"/>
                  <a:gd name="T32" fmla="*/ 889 w 1300"/>
                  <a:gd name="T33" fmla="*/ 45 h 618"/>
                  <a:gd name="T34" fmla="*/ 969 w 1300"/>
                  <a:gd name="T35" fmla="*/ 82 h 618"/>
                  <a:gd name="T36" fmla="*/ 1043 w 1300"/>
                  <a:gd name="T37" fmla="*/ 131 h 618"/>
                  <a:gd name="T38" fmla="*/ 1110 w 1300"/>
                  <a:gd name="T39" fmla="*/ 187 h 618"/>
                  <a:gd name="T40" fmla="*/ 1168 w 1300"/>
                  <a:gd name="T41" fmla="*/ 253 h 618"/>
                  <a:gd name="T42" fmla="*/ 1217 w 1300"/>
                  <a:gd name="T43" fmla="*/ 327 h 618"/>
                  <a:gd name="T44" fmla="*/ 1256 w 1300"/>
                  <a:gd name="T45" fmla="*/ 407 h 618"/>
                  <a:gd name="T46" fmla="*/ 1285 w 1300"/>
                  <a:gd name="T47" fmla="*/ 494 h 618"/>
                  <a:gd name="T48" fmla="*/ 1300 w 1300"/>
                  <a:gd name="T49" fmla="*/ 586 h 618"/>
                  <a:gd name="T50" fmla="*/ 1298 w 1300"/>
                  <a:gd name="T51" fmla="*/ 600 h 618"/>
                  <a:gd name="T52" fmla="*/ 1286 w 1300"/>
                  <a:gd name="T53" fmla="*/ 612 h 618"/>
                  <a:gd name="T54" fmla="*/ 1272 w 1300"/>
                  <a:gd name="T55" fmla="*/ 615 h 618"/>
                  <a:gd name="T56" fmla="*/ 1257 w 1300"/>
                  <a:gd name="T57" fmla="*/ 609 h 618"/>
                  <a:gd name="T58" fmla="*/ 1249 w 1300"/>
                  <a:gd name="T59" fmla="*/ 596 h 618"/>
                  <a:gd name="T60" fmla="*/ 1240 w 1300"/>
                  <a:gd name="T61" fmla="*/ 534 h 618"/>
                  <a:gd name="T62" fmla="*/ 1217 w 1300"/>
                  <a:gd name="T63" fmla="*/ 454 h 618"/>
                  <a:gd name="T64" fmla="*/ 1185 w 1300"/>
                  <a:gd name="T65" fmla="*/ 377 h 618"/>
                  <a:gd name="T66" fmla="*/ 1142 w 1300"/>
                  <a:gd name="T67" fmla="*/ 308 h 618"/>
                  <a:gd name="T68" fmla="*/ 1092 w 1300"/>
                  <a:gd name="T69" fmla="*/ 245 h 618"/>
                  <a:gd name="T70" fmla="*/ 1033 w 1300"/>
                  <a:gd name="T71" fmla="*/ 189 h 618"/>
                  <a:gd name="T72" fmla="*/ 966 w 1300"/>
                  <a:gd name="T73" fmla="*/ 141 h 618"/>
                  <a:gd name="T74" fmla="*/ 894 w 1300"/>
                  <a:gd name="T75" fmla="*/ 104 h 618"/>
                  <a:gd name="T76" fmla="*/ 818 w 1300"/>
                  <a:gd name="T77" fmla="*/ 75 h 618"/>
                  <a:gd name="T78" fmla="*/ 736 w 1300"/>
                  <a:gd name="T79" fmla="*/ 58 h 618"/>
                  <a:gd name="T80" fmla="*/ 650 w 1300"/>
                  <a:gd name="T81" fmla="*/ 52 h 618"/>
                  <a:gd name="T82" fmla="*/ 565 w 1300"/>
                  <a:gd name="T83" fmla="*/ 58 h 618"/>
                  <a:gd name="T84" fmla="*/ 483 w 1300"/>
                  <a:gd name="T85" fmla="*/ 76 h 618"/>
                  <a:gd name="T86" fmla="*/ 405 w 1300"/>
                  <a:gd name="T87" fmla="*/ 104 h 618"/>
                  <a:gd name="T88" fmla="*/ 333 w 1300"/>
                  <a:gd name="T89" fmla="*/ 143 h 618"/>
                  <a:gd name="T90" fmla="*/ 267 w 1300"/>
                  <a:gd name="T91" fmla="*/ 190 h 618"/>
                  <a:gd name="T92" fmla="*/ 207 w 1300"/>
                  <a:gd name="T93" fmla="*/ 246 h 618"/>
                  <a:gd name="T94" fmla="*/ 157 w 1300"/>
                  <a:gd name="T95" fmla="*/ 310 h 618"/>
                  <a:gd name="T96" fmla="*/ 114 w 1300"/>
                  <a:gd name="T97" fmla="*/ 379 h 618"/>
                  <a:gd name="T98" fmla="*/ 82 w 1300"/>
                  <a:gd name="T99" fmla="*/ 456 h 618"/>
                  <a:gd name="T100" fmla="*/ 61 w 1300"/>
                  <a:gd name="T101" fmla="*/ 537 h 618"/>
                  <a:gd name="T102" fmla="*/ 52 w 1300"/>
                  <a:gd name="T103" fmla="*/ 599 h 618"/>
                  <a:gd name="T104" fmla="*/ 43 w 1300"/>
                  <a:gd name="T105" fmla="*/ 612 h 618"/>
                  <a:gd name="T106" fmla="*/ 32 w 1300"/>
                  <a:gd name="T107"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0" h="618">
                    <a:moveTo>
                      <a:pt x="26" y="618"/>
                    </a:moveTo>
                    <a:lnTo>
                      <a:pt x="25" y="618"/>
                    </a:lnTo>
                    <a:lnTo>
                      <a:pt x="23" y="618"/>
                    </a:lnTo>
                    <a:lnTo>
                      <a:pt x="19" y="618"/>
                    </a:lnTo>
                    <a:lnTo>
                      <a:pt x="13" y="615"/>
                    </a:lnTo>
                    <a:lnTo>
                      <a:pt x="10" y="612"/>
                    </a:lnTo>
                    <a:lnTo>
                      <a:pt x="6" y="609"/>
                    </a:lnTo>
                    <a:lnTo>
                      <a:pt x="3" y="605"/>
                    </a:lnTo>
                    <a:lnTo>
                      <a:pt x="2" y="600"/>
                    </a:lnTo>
                    <a:lnTo>
                      <a:pt x="0" y="595"/>
                    </a:lnTo>
                    <a:lnTo>
                      <a:pt x="0" y="589"/>
                    </a:lnTo>
                    <a:lnTo>
                      <a:pt x="4" y="559"/>
                    </a:lnTo>
                    <a:lnTo>
                      <a:pt x="9" y="527"/>
                    </a:lnTo>
                    <a:lnTo>
                      <a:pt x="16" y="497"/>
                    </a:lnTo>
                    <a:lnTo>
                      <a:pt x="23" y="468"/>
                    </a:lnTo>
                    <a:lnTo>
                      <a:pt x="33" y="439"/>
                    </a:lnTo>
                    <a:lnTo>
                      <a:pt x="43" y="410"/>
                    </a:lnTo>
                    <a:lnTo>
                      <a:pt x="55" y="383"/>
                    </a:lnTo>
                    <a:lnTo>
                      <a:pt x="68" y="356"/>
                    </a:lnTo>
                    <a:lnTo>
                      <a:pt x="82" y="330"/>
                    </a:lnTo>
                    <a:lnTo>
                      <a:pt x="97" y="304"/>
                    </a:lnTo>
                    <a:lnTo>
                      <a:pt x="114" y="279"/>
                    </a:lnTo>
                    <a:lnTo>
                      <a:pt x="131" y="255"/>
                    </a:lnTo>
                    <a:lnTo>
                      <a:pt x="150" y="232"/>
                    </a:lnTo>
                    <a:lnTo>
                      <a:pt x="169" y="210"/>
                    </a:lnTo>
                    <a:lnTo>
                      <a:pt x="189" y="189"/>
                    </a:lnTo>
                    <a:lnTo>
                      <a:pt x="210" y="168"/>
                    </a:lnTo>
                    <a:lnTo>
                      <a:pt x="233" y="150"/>
                    </a:lnTo>
                    <a:lnTo>
                      <a:pt x="256" y="131"/>
                    </a:lnTo>
                    <a:lnTo>
                      <a:pt x="279" y="114"/>
                    </a:lnTo>
                    <a:lnTo>
                      <a:pt x="304" y="98"/>
                    </a:lnTo>
                    <a:lnTo>
                      <a:pt x="330" y="83"/>
                    </a:lnTo>
                    <a:lnTo>
                      <a:pt x="356" y="69"/>
                    </a:lnTo>
                    <a:lnTo>
                      <a:pt x="383" y="56"/>
                    </a:lnTo>
                    <a:lnTo>
                      <a:pt x="411" y="45"/>
                    </a:lnTo>
                    <a:lnTo>
                      <a:pt x="439" y="35"/>
                    </a:lnTo>
                    <a:lnTo>
                      <a:pt x="467" y="26"/>
                    </a:lnTo>
                    <a:lnTo>
                      <a:pt x="497" y="17"/>
                    </a:lnTo>
                    <a:lnTo>
                      <a:pt x="527" y="11"/>
                    </a:lnTo>
                    <a:lnTo>
                      <a:pt x="557" y="6"/>
                    </a:lnTo>
                    <a:lnTo>
                      <a:pt x="588" y="3"/>
                    </a:lnTo>
                    <a:lnTo>
                      <a:pt x="619" y="0"/>
                    </a:lnTo>
                    <a:lnTo>
                      <a:pt x="650" y="0"/>
                    </a:lnTo>
                    <a:lnTo>
                      <a:pt x="681" y="0"/>
                    </a:lnTo>
                    <a:lnTo>
                      <a:pt x="713" y="3"/>
                    </a:lnTo>
                    <a:lnTo>
                      <a:pt x="743" y="6"/>
                    </a:lnTo>
                    <a:lnTo>
                      <a:pt x="773" y="11"/>
                    </a:lnTo>
                    <a:lnTo>
                      <a:pt x="804" y="17"/>
                    </a:lnTo>
                    <a:lnTo>
                      <a:pt x="832" y="26"/>
                    </a:lnTo>
                    <a:lnTo>
                      <a:pt x="861" y="35"/>
                    </a:lnTo>
                    <a:lnTo>
                      <a:pt x="889" y="45"/>
                    </a:lnTo>
                    <a:lnTo>
                      <a:pt x="916" y="56"/>
                    </a:lnTo>
                    <a:lnTo>
                      <a:pt x="943" y="69"/>
                    </a:lnTo>
                    <a:lnTo>
                      <a:pt x="969" y="82"/>
                    </a:lnTo>
                    <a:lnTo>
                      <a:pt x="995" y="98"/>
                    </a:lnTo>
                    <a:lnTo>
                      <a:pt x="1020" y="114"/>
                    </a:lnTo>
                    <a:lnTo>
                      <a:pt x="1043" y="131"/>
                    </a:lnTo>
                    <a:lnTo>
                      <a:pt x="1066" y="148"/>
                    </a:lnTo>
                    <a:lnTo>
                      <a:pt x="1089" y="167"/>
                    </a:lnTo>
                    <a:lnTo>
                      <a:pt x="1110" y="187"/>
                    </a:lnTo>
                    <a:lnTo>
                      <a:pt x="1131" y="209"/>
                    </a:lnTo>
                    <a:lnTo>
                      <a:pt x="1149" y="230"/>
                    </a:lnTo>
                    <a:lnTo>
                      <a:pt x="1168" y="253"/>
                    </a:lnTo>
                    <a:lnTo>
                      <a:pt x="1185" y="278"/>
                    </a:lnTo>
                    <a:lnTo>
                      <a:pt x="1203" y="302"/>
                    </a:lnTo>
                    <a:lnTo>
                      <a:pt x="1217" y="327"/>
                    </a:lnTo>
                    <a:lnTo>
                      <a:pt x="1231" y="354"/>
                    </a:lnTo>
                    <a:lnTo>
                      <a:pt x="1244" y="380"/>
                    </a:lnTo>
                    <a:lnTo>
                      <a:pt x="1256" y="407"/>
                    </a:lnTo>
                    <a:lnTo>
                      <a:pt x="1267" y="436"/>
                    </a:lnTo>
                    <a:lnTo>
                      <a:pt x="1276" y="465"/>
                    </a:lnTo>
                    <a:lnTo>
                      <a:pt x="1285" y="494"/>
                    </a:lnTo>
                    <a:lnTo>
                      <a:pt x="1290" y="524"/>
                    </a:lnTo>
                    <a:lnTo>
                      <a:pt x="1296" y="556"/>
                    </a:lnTo>
                    <a:lnTo>
                      <a:pt x="1300" y="586"/>
                    </a:lnTo>
                    <a:lnTo>
                      <a:pt x="1300" y="592"/>
                    </a:lnTo>
                    <a:lnTo>
                      <a:pt x="1299" y="596"/>
                    </a:lnTo>
                    <a:lnTo>
                      <a:pt x="1298" y="600"/>
                    </a:lnTo>
                    <a:lnTo>
                      <a:pt x="1295" y="605"/>
                    </a:lnTo>
                    <a:lnTo>
                      <a:pt x="1290" y="609"/>
                    </a:lnTo>
                    <a:lnTo>
                      <a:pt x="1286" y="612"/>
                    </a:lnTo>
                    <a:lnTo>
                      <a:pt x="1282" y="613"/>
                    </a:lnTo>
                    <a:lnTo>
                      <a:pt x="1276" y="615"/>
                    </a:lnTo>
                    <a:lnTo>
                      <a:pt x="1272" y="615"/>
                    </a:lnTo>
                    <a:lnTo>
                      <a:pt x="1266" y="613"/>
                    </a:lnTo>
                    <a:lnTo>
                      <a:pt x="1262" y="612"/>
                    </a:lnTo>
                    <a:lnTo>
                      <a:pt x="1257" y="609"/>
                    </a:lnTo>
                    <a:lnTo>
                      <a:pt x="1254" y="606"/>
                    </a:lnTo>
                    <a:lnTo>
                      <a:pt x="1251" y="602"/>
                    </a:lnTo>
                    <a:lnTo>
                      <a:pt x="1249" y="596"/>
                    </a:lnTo>
                    <a:lnTo>
                      <a:pt x="1247" y="592"/>
                    </a:lnTo>
                    <a:lnTo>
                      <a:pt x="1244" y="563"/>
                    </a:lnTo>
                    <a:lnTo>
                      <a:pt x="1240" y="534"/>
                    </a:lnTo>
                    <a:lnTo>
                      <a:pt x="1233" y="507"/>
                    </a:lnTo>
                    <a:lnTo>
                      <a:pt x="1226" y="479"/>
                    </a:lnTo>
                    <a:lnTo>
                      <a:pt x="1217" y="454"/>
                    </a:lnTo>
                    <a:lnTo>
                      <a:pt x="1208" y="428"/>
                    </a:lnTo>
                    <a:lnTo>
                      <a:pt x="1197" y="402"/>
                    </a:lnTo>
                    <a:lnTo>
                      <a:pt x="1185" y="377"/>
                    </a:lnTo>
                    <a:lnTo>
                      <a:pt x="1172" y="353"/>
                    </a:lnTo>
                    <a:lnTo>
                      <a:pt x="1158" y="330"/>
                    </a:lnTo>
                    <a:lnTo>
                      <a:pt x="1142" y="308"/>
                    </a:lnTo>
                    <a:lnTo>
                      <a:pt x="1126" y="285"/>
                    </a:lnTo>
                    <a:lnTo>
                      <a:pt x="1110" y="265"/>
                    </a:lnTo>
                    <a:lnTo>
                      <a:pt x="1092" y="245"/>
                    </a:lnTo>
                    <a:lnTo>
                      <a:pt x="1073" y="225"/>
                    </a:lnTo>
                    <a:lnTo>
                      <a:pt x="1053" y="206"/>
                    </a:lnTo>
                    <a:lnTo>
                      <a:pt x="1033" y="189"/>
                    </a:lnTo>
                    <a:lnTo>
                      <a:pt x="1012" y="173"/>
                    </a:lnTo>
                    <a:lnTo>
                      <a:pt x="989" y="157"/>
                    </a:lnTo>
                    <a:lnTo>
                      <a:pt x="966" y="141"/>
                    </a:lnTo>
                    <a:lnTo>
                      <a:pt x="943" y="128"/>
                    </a:lnTo>
                    <a:lnTo>
                      <a:pt x="920" y="115"/>
                    </a:lnTo>
                    <a:lnTo>
                      <a:pt x="894" y="104"/>
                    </a:lnTo>
                    <a:lnTo>
                      <a:pt x="870" y="94"/>
                    </a:lnTo>
                    <a:lnTo>
                      <a:pt x="844" y="83"/>
                    </a:lnTo>
                    <a:lnTo>
                      <a:pt x="818" y="75"/>
                    </a:lnTo>
                    <a:lnTo>
                      <a:pt x="791" y="69"/>
                    </a:lnTo>
                    <a:lnTo>
                      <a:pt x="763" y="63"/>
                    </a:lnTo>
                    <a:lnTo>
                      <a:pt x="736" y="58"/>
                    </a:lnTo>
                    <a:lnTo>
                      <a:pt x="707" y="55"/>
                    </a:lnTo>
                    <a:lnTo>
                      <a:pt x="678" y="53"/>
                    </a:lnTo>
                    <a:lnTo>
                      <a:pt x="650" y="52"/>
                    </a:lnTo>
                    <a:lnTo>
                      <a:pt x="621" y="53"/>
                    </a:lnTo>
                    <a:lnTo>
                      <a:pt x="592" y="55"/>
                    </a:lnTo>
                    <a:lnTo>
                      <a:pt x="565" y="58"/>
                    </a:lnTo>
                    <a:lnTo>
                      <a:pt x="536" y="63"/>
                    </a:lnTo>
                    <a:lnTo>
                      <a:pt x="508" y="69"/>
                    </a:lnTo>
                    <a:lnTo>
                      <a:pt x="483" y="76"/>
                    </a:lnTo>
                    <a:lnTo>
                      <a:pt x="455" y="83"/>
                    </a:lnTo>
                    <a:lnTo>
                      <a:pt x="429" y="94"/>
                    </a:lnTo>
                    <a:lnTo>
                      <a:pt x="405" y="104"/>
                    </a:lnTo>
                    <a:lnTo>
                      <a:pt x="380" y="115"/>
                    </a:lnTo>
                    <a:lnTo>
                      <a:pt x="356" y="128"/>
                    </a:lnTo>
                    <a:lnTo>
                      <a:pt x="333" y="143"/>
                    </a:lnTo>
                    <a:lnTo>
                      <a:pt x="310" y="157"/>
                    </a:lnTo>
                    <a:lnTo>
                      <a:pt x="287" y="173"/>
                    </a:lnTo>
                    <a:lnTo>
                      <a:pt x="267" y="190"/>
                    </a:lnTo>
                    <a:lnTo>
                      <a:pt x="246" y="207"/>
                    </a:lnTo>
                    <a:lnTo>
                      <a:pt x="226" y="226"/>
                    </a:lnTo>
                    <a:lnTo>
                      <a:pt x="207" y="246"/>
                    </a:lnTo>
                    <a:lnTo>
                      <a:pt x="189" y="266"/>
                    </a:lnTo>
                    <a:lnTo>
                      <a:pt x="173" y="287"/>
                    </a:lnTo>
                    <a:lnTo>
                      <a:pt x="157" y="310"/>
                    </a:lnTo>
                    <a:lnTo>
                      <a:pt x="141" y="331"/>
                    </a:lnTo>
                    <a:lnTo>
                      <a:pt x="127" y="356"/>
                    </a:lnTo>
                    <a:lnTo>
                      <a:pt x="114" y="379"/>
                    </a:lnTo>
                    <a:lnTo>
                      <a:pt x="102" y="405"/>
                    </a:lnTo>
                    <a:lnTo>
                      <a:pt x="92" y="429"/>
                    </a:lnTo>
                    <a:lnTo>
                      <a:pt x="82" y="456"/>
                    </a:lnTo>
                    <a:lnTo>
                      <a:pt x="74" y="482"/>
                    </a:lnTo>
                    <a:lnTo>
                      <a:pt x="66" y="510"/>
                    </a:lnTo>
                    <a:lnTo>
                      <a:pt x="61" y="537"/>
                    </a:lnTo>
                    <a:lnTo>
                      <a:pt x="56" y="566"/>
                    </a:lnTo>
                    <a:lnTo>
                      <a:pt x="52" y="595"/>
                    </a:lnTo>
                    <a:lnTo>
                      <a:pt x="52" y="599"/>
                    </a:lnTo>
                    <a:lnTo>
                      <a:pt x="49" y="603"/>
                    </a:lnTo>
                    <a:lnTo>
                      <a:pt x="46" y="608"/>
                    </a:lnTo>
                    <a:lnTo>
                      <a:pt x="43" y="612"/>
                    </a:lnTo>
                    <a:lnTo>
                      <a:pt x="40" y="615"/>
                    </a:lnTo>
                    <a:lnTo>
                      <a:pt x="36" y="616"/>
                    </a:lnTo>
                    <a:lnTo>
                      <a:pt x="32" y="618"/>
                    </a:lnTo>
                    <a:lnTo>
                      <a:pt x="26"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2" name="Freeform 267">
                <a:extLst>
                  <a:ext uri="{FF2B5EF4-FFF2-40B4-BE49-F238E27FC236}">
                    <a16:creationId xmlns:a16="http://schemas.microsoft.com/office/drawing/2014/main" id="{FA547D96-C747-41A9-BC9D-0867AD92DC87}"/>
                  </a:ext>
                </a:extLst>
              </p:cNvPr>
              <p:cNvSpPr>
                <a:spLocks/>
              </p:cNvSpPr>
              <p:nvPr/>
            </p:nvSpPr>
            <p:spPr bwMode="auto">
              <a:xfrm>
                <a:off x="11303765" y="3118969"/>
                <a:ext cx="59586" cy="37242"/>
              </a:xfrm>
              <a:custGeom>
                <a:avLst/>
                <a:gdLst>
                  <a:gd name="T0" fmla="*/ 109 w 217"/>
                  <a:gd name="T1" fmla="*/ 135 h 135"/>
                  <a:gd name="T2" fmla="*/ 104 w 217"/>
                  <a:gd name="T3" fmla="*/ 135 h 135"/>
                  <a:gd name="T4" fmla="*/ 99 w 217"/>
                  <a:gd name="T5" fmla="*/ 134 h 135"/>
                  <a:gd name="T6" fmla="*/ 95 w 217"/>
                  <a:gd name="T7" fmla="*/ 131 h 135"/>
                  <a:gd name="T8" fmla="*/ 91 w 217"/>
                  <a:gd name="T9" fmla="*/ 128 h 135"/>
                  <a:gd name="T10" fmla="*/ 7 w 217"/>
                  <a:gd name="T11" fmla="*/ 45 h 135"/>
                  <a:gd name="T12" fmla="*/ 4 w 217"/>
                  <a:gd name="T13" fmla="*/ 40 h 135"/>
                  <a:gd name="T14" fmla="*/ 1 w 217"/>
                  <a:gd name="T15" fmla="*/ 36 h 135"/>
                  <a:gd name="T16" fmla="*/ 0 w 217"/>
                  <a:gd name="T17" fmla="*/ 32 h 135"/>
                  <a:gd name="T18" fmla="*/ 0 w 217"/>
                  <a:gd name="T19" fmla="*/ 26 h 135"/>
                  <a:gd name="T20" fmla="*/ 0 w 217"/>
                  <a:gd name="T21" fmla="*/ 22 h 135"/>
                  <a:gd name="T22" fmla="*/ 1 w 217"/>
                  <a:gd name="T23" fmla="*/ 17 h 135"/>
                  <a:gd name="T24" fmla="*/ 4 w 217"/>
                  <a:gd name="T25" fmla="*/ 11 h 135"/>
                  <a:gd name="T26" fmla="*/ 7 w 217"/>
                  <a:gd name="T27" fmla="*/ 9 h 135"/>
                  <a:gd name="T28" fmla="*/ 11 w 217"/>
                  <a:gd name="T29" fmla="*/ 4 h 135"/>
                  <a:gd name="T30" fmla="*/ 16 w 217"/>
                  <a:gd name="T31" fmla="*/ 3 h 135"/>
                  <a:gd name="T32" fmla="*/ 21 w 217"/>
                  <a:gd name="T33" fmla="*/ 1 h 135"/>
                  <a:gd name="T34" fmla="*/ 26 w 217"/>
                  <a:gd name="T35" fmla="*/ 0 h 135"/>
                  <a:gd name="T36" fmla="*/ 30 w 217"/>
                  <a:gd name="T37" fmla="*/ 1 h 135"/>
                  <a:gd name="T38" fmla="*/ 36 w 217"/>
                  <a:gd name="T39" fmla="*/ 3 h 135"/>
                  <a:gd name="T40" fmla="*/ 40 w 217"/>
                  <a:gd name="T41" fmla="*/ 4 h 135"/>
                  <a:gd name="T42" fmla="*/ 45 w 217"/>
                  <a:gd name="T43" fmla="*/ 9 h 135"/>
                  <a:gd name="T44" fmla="*/ 109 w 217"/>
                  <a:gd name="T45" fmla="*/ 72 h 135"/>
                  <a:gd name="T46" fmla="*/ 173 w 217"/>
                  <a:gd name="T47" fmla="*/ 10 h 135"/>
                  <a:gd name="T48" fmla="*/ 176 w 217"/>
                  <a:gd name="T49" fmla="*/ 6 h 135"/>
                  <a:gd name="T50" fmla="*/ 181 w 217"/>
                  <a:gd name="T51" fmla="*/ 4 h 135"/>
                  <a:gd name="T52" fmla="*/ 186 w 217"/>
                  <a:gd name="T53" fmla="*/ 3 h 135"/>
                  <a:gd name="T54" fmla="*/ 190 w 217"/>
                  <a:gd name="T55" fmla="*/ 1 h 135"/>
                  <a:gd name="T56" fmla="*/ 196 w 217"/>
                  <a:gd name="T57" fmla="*/ 3 h 135"/>
                  <a:gd name="T58" fmla="*/ 200 w 217"/>
                  <a:gd name="T59" fmla="*/ 4 h 135"/>
                  <a:gd name="T60" fmla="*/ 204 w 217"/>
                  <a:gd name="T61" fmla="*/ 6 h 135"/>
                  <a:gd name="T62" fmla="*/ 209 w 217"/>
                  <a:gd name="T63" fmla="*/ 10 h 135"/>
                  <a:gd name="T64" fmla="*/ 213 w 217"/>
                  <a:gd name="T65" fmla="*/ 13 h 135"/>
                  <a:gd name="T66" fmla="*/ 214 w 217"/>
                  <a:gd name="T67" fmla="*/ 19 h 135"/>
                  <a:gd name="T68" fmla="*/ 216 w 217"/>
                  <a:gd name="T69" fmla="*/ 23 h 135"/>
                  <a:gd name="T70" fmla="*/ 217 w 217"/>
                  <a:gd name="T71" fmla="*/ 27 h 135"/>
                  <a:gd name="T72" fmla="*/ 216 w 217"/>
                  <a:gd name="T73" fmla="*/ 33 h 135"/>
                  <a:gd name="T74" fmla="*/ 214 w 217"/>
                  <a:gd name="T75" fmla="*/ 37 h 135"/>
                  <a:gd name="T76" fmla="*/ 213 w 217"/>
                  <a:gd name="T77" fmla="*/ 42 h 135"/>
                  <a:gd name="T78" fmla="*/ 209 w 217"/>
                  <a:gd name="T79" fmla="*/ 46 h 135"/>
                  <a:gd name="T80" fmla="*/ 128 w 217"/>
                  <a:gd name="T81" fmla="*/ 128 h 135"/>
                  <a:gd name="T82" fmla="*/ 124 w 217"/>
                  <a:gd name="T83" fmla="*/ 131 h 135"/>
                  <a:gd name="T84" fmla="*/ 119 w 217"/>
                  <a:gd name="T85" fmla="*/ 134 h 135"/>
                  <a:gd name="T86" fmla="*/ 114 w 217"/>
                  <a:gd name="T87" fmla="*/ 135 h 135"/>
                  <a:gd name="T88" fmla="*/ 109 w 217"/>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7" h="135">
                    <a:moveTo>
                      <a:pt x="109" y="135"/>
                    </a:moveTo>
                    <a:lnTo>
                      <a:pt x="104" y="135"/>
                    </a:lnTo>
                    <a:lnTo>
                      <a:pt x="99" y="134"/>
                    </a:lnTo>
                    <a:lnTo>
                      <a:pt x="95" y="131"/>
                    </a:lnTo>
                    <a:lnTo>
                      <a:pt x="91" y="128"/>
                    </a:lnTo>
                    <a:lnTo>
                      <a:pt x="7" y="45"/>
                    </a:lnTo>
                    <a:lnTo>
                      <a:pt x="4" y="40"/>
                    </a:lnTo>
                    <a:lnTo>
                      <a:pt x="1" y="36"/>
                    </a:lnTo>
                    <a:lnTo>
                      <a:pt x="0" y="32"/>
                    </a:lnTo>
                    <a:lnTo>
                      <a:pt x="0" y="26"/>
                    </a:lnTo>
                    <a:lnTo>
                      <a:pt x="0" y="22"/>
                    </a:lnTo>
                    <a:lnTo>
                      <a:pt x="1" y="17"/>
                    </a:lnTo>
                    <a:lnTo>
                      <a:pt x="4" y="11"/>
                    </a:lnTo>
                    <a:lnTo>
                      <a:pt x="7" y="9"/>
                    </a:lnTo>
                    <a:lnTo>
                      <a:pt x="11" y="4"/>
                    </a:lnTo>
                    <a:lnTo>
                      <a:pt x="16" y="3"/>
                    </a:lnTo>
                    <a:lnTo>
                      <a:pt x="21" y="1"/>
                    </a:lnTo>
                    <a:lnTo>
                      <a:pt x="26" y="0"/>
                    </a:lnTo>
                    <a:lnTo>
                      <a:pt x="30" y="1"/>
                    </a:lnTo>
                    <a:lnTo>
                      <a:pt x="36" y="3"/>
                    </a:lnTo>
                    <a:lnTo>
                      <a:pt x="40" y="4"/>
                    </a:lnTo>
                    <a:lnTo>
                      <a:pt x="45" y="9"/>
                    </a:lnTo>
                    <a:lnTo>
                      <a:pt x="109" y="72"/>
                    </a:lnTo>
                    <a:lnTo>
                      <a:pt x="173" y="10"/>
                    </a:lnTo>
                    <a:lnTo>
                      <a:pt x="176" y="6"/>
                    </a:lnTo>
                    <a:lnTo>
                      <a:pt x="181" y="4"/>
                    </a:lnTo>
                    <a:lnTo>
                      <a:pt x="186" y="3"/>
                    </a:lnTo>
                    <a:lnTo>
                      <a:pt x="190" y="1"/>
                    </a:lnTo>
                    <a:lnTo>
                      <a:pt x="196" y="3"/>
                    </a:lnTo>
                    <a:lnTo>
                      <a:pt x="200" y="4"/>
                    </a:lnTo>
                    <a:lnTo>
                      <a:pt x="204" y="6"/>
                    </a:lnTo>
                    <a:lnTo>
                      <a:pt x="209" y="10"/>
                    </a:lnTo>
                    <a:lnTo>
                      <a:pt x="213" y="13"/>
                    </a:lnTo>
                    <a:lnTo>
                      <a:pt x="214" y="19"/>
                    </a:lnTo>
                    <a:lnTo>
                      <a:pt x="216" y="23"/>
                    </a:lnTo>
                    <a:lnTo>
                      <a:pt x="217" y="27"/>
                    </a:lnTo>
                    <a:lnTo>
                      <a:pt x="216" y="33"/>
                    </a:lnTo>
                    <a:lnTo>
                      <a:pt x="214" y="37"/>
                    </a:lnTo>
                    <a:lnTo>
                      <a:pt x="213" y="42"/>
                    </a:lnTo>
                    <a:lnTo>
                      <a:pt x="209" y="46"/>
                    </a:lnTo>
                    <a:lnTo>
                      <a:pt x="128" y="128"/>
                    </a:lnTo>
                    <a:lnTo>
                      <a:pt x="124" y="131"/>
                    </a:lnTo>
                    <a:lnTo>
                      <a:pt x="119" y="134"/>
                    </a:lnTo>
                    <a:lnTo>
                      <a:pt x="114" y="135"/>
                    </a:lnTo>
                    <a:lnTo>
                      <a:pt x="109"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02" name="Group 160">
              <a:extLst>
                <a:ext uri="{FF2B5EF4-FFF2-40B4-BE49-F238E27FC236}">
                  <a16:creationId xmlns:a16="http://schemas.microsoft.com/office/drawing/2014/main" id="{020CEE8B-9058-4064-AA97-45CA7801A3C8}"/>
                </a:ext>
              </a:extLst>
            </p:cNvPr>
            <p:cNvGrpSpPr>
              <a:grpSpLocks noChangeAspect="1"/>
            </p:cNvGrpSpPr>
            <p:nvPr/>
          </p:nvGrpSpPr>
          <p:grpSpPr>
            <a:xfrm>
              <a:off x="11026937" y="3022969"/>
              <a:ext cx="273931" cy="273931"/>
              <a:chOff x="5297488" y="2084388"/>
              <a:chExt cx="371475" cy="371475"/>
            </a:xfrm>
            <a:grpFill/>
            <a:effectLst/>
          </p:grpSpPr>
          <p:sp>
            <p:nvSpPr>
              <p:cNvPr id="2003" name="Freeform 74">
                <a:extLst>
                  <a:ext uri="{FF2B5EF4-FFF2-40B4-BE49-F238E27FC236}">
                    <a16:creationId xmlns:a16="http://schemas.microsoft.com/office/drawing/2014/main" id="{78A35457-FE1F-4AB6-B8EB-90DE37A27E89}"/>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4" name="Freeform 75">
                <a:extLst>
                  <a:ext uri="{FF2B5EF4-FFF2-40B4-BE49-F238E27FC236}">
                    <a16:creationId xmlns:a16="http://schemas.microsoft.com/office/drawing/2014/main" id="{C8C6B8BC-8170-4757-B7DB-1356D17A0589}"/>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5" name="Freeform 76">
                <a:extLst>
                  <a:ext uri="{FF2B5EF4-FFF2-40B4-BE49-F238E27FC236}">
                    <a16:creationId xmlns:a16="http://schemas.microsoft.com/office/drawing/2014/main" id="{08AFC400-CEEA-4D4A-9ED7-A04C5F48FFDE}"/>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6" name="Rectangle 77">
                <a:extLst>
                  <a:ext uri="{FF2B5EF4-FFF2-40B4-BE49-F238E27FC236}">
                    <a16:creationId xmlns:a16="http://schemas.microsoft.com/office/drawing/2014/main" id="{4AFE7678-39FD-46E3-A110-E9C5C14BC8FF}"/>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7" name="Rectangle 78">
                <a:extLst>
                  <a:ext uri="{FF2B5EF4-FFF2-40B4-BE49-F238E27FC236}">
                    <a16:creationId xmlns:a16="http://schemas.microsoft.com/office/drawing/2014/main" id="{A68B8699-240F-43F4-8719-064A8212CED1}"/>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08" name="Rectangle 79">
                <a:extLst>
                  <a:ext uri="{FF2B5EF4-FFF2-40B4-BE49-F238E27FC236}">
                    <a16:creationId xmlns:a16="http://schemas.microsoft.com/office/drawing/2014/main" id="{7C7D4670-A366-4542-9040-89F3EF0E2211}"/>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2013" name="Gruppieren 2012">
            <a:extLst>
              <a:ext uri="{FF2B5EF4-FFF2-40B4-BE49-F238E27FC236}">
                <a16:creationId xmlns:a16="http://schemas.microsoft.com/office/drawing/2014/main" id="{02E1F80F-004D-4820-8875-0EB4CC4BF31E}"/>
              </a:ext>
            </a:extLst>
          </p:cNvPr>
          <p:cNvGrpSpPr>
            <a:grpSpLocks noChangeAspect="1"/>
          </p:cNvGrpSpPr>
          <p:nvPr/>
        </p:nvGrpSpPr>
        <p:grpSpPr>
          <a:xfrm>
            <a:off x="1100291" y="4879041"/>
            <a:ext cx="238016" cy="285619"/>
            <a:chOff x="1282479" y="4472754"/>
            <a:chExt cx="300000" cy="360000"/>
          </a:xfrm>
          <a:solidFill>
            <a:schemeClr val="bg1"/>
          </a:solidFill>
        </p:grpSpPr>
        <p:sp>
          <p:nvSpPr>
            <p:cNvPr id="2014" name="Freeform 24">
              <a:extLst>
                <a:ext uri="{FF2B5EF4-FFF2-40B4-BE49-F238E27FC236}">
                  <a16:creationId xmlns:a16="http://schemas.microsoft.com/office/drawing/2014/main" id="{1AA423B3-D949-4C2A-9311-33954B0DF8D4}"/>
                </a:ext>
              </a:extLst>
            </p:cNvPr>
            <p:cNvSpPr>
              <a:spLocks noEditPoints="1"/>
            </p:cNvSpPr>
            <p:nvPr/>
          </p:nvSpPr>
          <p:spPr bwMode="auto">
            <a:xfrm>
              <a:off x="1282479" y="4472754"/>
              <a:ext cx="300000" cy="360000"/>
            </a:xfrm>
            <a:custGeom>
              <a:avLst/>
              <a:gdLst>
                <a:gd name="T0" fmla="*/ 315 w 749"/>
                <a:gd name="T1" fmla="*/ 794 h 899"/>
                <a:gd name="T2" fmla="*/ 345 w 749"/>
                <a:gd name="T3" fmla="*/ 748 h 899"/>
                <a:gd name="T4" fmla="*/ 218 w 749"/>
                <a:gd name="T5" fmla="*/ 842 h 899"/>
                <a:gd name="T6" fmla="*/ 330 w 749"/>
                <a:gd name="T7" fmla="*/ 823 h 899"/>
                <a:gd name="T8" fmla="*/ 442 w 749"/>
                <a:gd name="T9" fmla="*/ 842 h 899"/>
                <a:gd name="T10" fmla="*/ 626 w 749"/>
                <a:gd name="T11" fmla="*/ 627 h 899"/>
                <a:gd name="T12" fmla="*/ 691 w 749"/>
                <a:gd name="T13" fmla="*/ 545 h 899"/>
                <a:gd name="T14" fmla="*/ 731 w 749"/>
                <a:gd name="T15" fmla="*/ 453 h 899"/>
                <a:gd name="T16" fmla="*/ 748 w 749"/>
                <a:gd name="T17" fmla="*/ 356 h 899"/>
                <a:gd name="T18" fmla="*/ 743 w 749"/>
                <a:gd name="T19" fmla="*/ 259 h 899"/>
                <a:gd name="T20" fmla="*/ 715 w 749"/>
                <a:gd name="T21" fmla="*/ 163 h 899"/>
                <a:gd name="T22" fmla="*/ 664 w 749"/>
                <a:gd name="T23" fmla="*/ 76 h 899"/>
                <a:gd name="T24" fmla="*/ 658 w 749"/>
                <a:gd name="T25" fmla="*/ 21 h 899"/>
                <a:gd name="T26" fmla="*/ 657 w 749"/>
                <a:gd name="T27" fmla="*/ 7 h 899"/>
                <a:gd name="T28" fmla="*/ 645 w 749"/>
                <a:gd name="T29" fmla="*/ 0 h 899"/>
                <a:gd name="T30" fmla="*/ 606 w 749"/>
                <a:gd name="T31" fmla="*/ 33 h 899"/>
                <a:gd name="T32" fmla="*/ 570 w 749"/>
                <a:gd name="T33" fmla="*/ 75 h 899"/>
                <a:gd name="T34" fmla="*/ 576 w 749"/>
                <a:gd name="T35" fmla="*/ 87 h 899"/>
                <a:gd name="T36" fmla="*/ 591 w 749"/>
                <a:gd name="T37" fmla="*/ 89 h 899"/>
                <a:gd name="T38" fmla="*/ 640 w 749"/>
                <a:gd name="T39" fmla="*/ 95 h 899"/>
                <a:gd name="T40" fmla="*/ 688 w 749"/>
                <a:gd name="T41" fmla="*/ 176 h 899"/>
                <a:gd name="T42" fmla="*/ 714 w 749"/>
                <a:gd name="T43" fmla="*/ 264 h 899"/>
                <a:gd name="T44" fmla="*/ 718 w 749"/>
                <a:gd name="T45" fmla="*/ 355 h 899"/>
                <a:gd name="T46" fmla="*/ 702 w 749"/>
                <a:gd name="T47" fmla="*/ 445 h 899"/>
                <a:gd name="T48" fmla="*/ 665 w 749"/>
                <a:gd name="T49" fmla="*/ 529 h 899"/>
                <a:gd name="T50" fmla="*/ 606 w 749"/>
                <a:gd name="T51" fmla="*/ 605 h 899"/>
                <a:gd name="T52" fmla="*/ 530 w 749"/>
                <a:gd name="T53" fmla="*/ 664 h 899"/>
                <a:gd name="T54" fmla="*/ 446 w 749"/>
                <a:gd name="T55" fmla="*/ 701 h 899"/>
                <a:gd name="T56" fmla="*/ 356 w 749"/>
                <a:gd name="T57" fmla="*/ 717 h 899"/>
                <a:gd name="T58" fmla="*/ 265 w 749"/>
                <a:gd name="T59" fmla="*/ 713 h 899"/>
                <a:gd name="T60" fmla="*/ 176 w 749"/>
                <a:gd name="T61" fmla="*/ 687 h 899"/>
                <a:gd name="T62" fmla="*/ 96 w 749"/>
                <a:gd name="T63" fmla="*/ 640 h 899"/>
                <a:gd name="T64" fmla="*/ 89 w 749"/>
                <a:gd name="T65" fmla="*/ 590 h 899"/>
                <a:gd name="T66" fmla="*/ 88 w 749"/>
                <a:gd name="T67" fmla="*/ 576 h 899"/>
                <a:gd name="T68" fmla="*/ 75 w 749"/>
                <a:gd name="T69" fmla="*/ 569 h 899"/>
                <a:gd name="T70" fmla="*/ 5 w 749"/>
                <a:gd name="T71" fmla="*/ 633 h 899"/>
                <a:gd name="T72" fmla="*/ 0 w 749"/>
                <a:gd name="T73" fmla="*/ 647 h 899"/>
                <a:gd name="T74" fmla="*/ 10 w 749"/>
                <a:gd name="T75" fmla="*/ 658 h 899"/>
                <a:gd name="T76" fmla="*/ 24 w 749"/>
                <a:gd name="T77" fmla="*/ 656 h 899"/>
                <a:gd name="T78" fmla="*/ 85 w 749"/>
                <a:gd name="T79" fmla="*/ 669 h 899"/>
                <a:gd name="T80" fmla="*/ 158 w 749"/>
                <a:gd name="T81" fmla="*/ 712 h 899"/>
                <a:gd name="T82" fmla="*/ 237 w 749"/>
                <a:gd name="T83" fmla="*/ 738 h 899"/>
                <a:gd name="T84" fmla="*/ 259 w 749"/>
                <a:gd name="T85" fmla="*/ 801 h 899"/>
                <a:gd name="T86" fmla="*/ 140 w 749"/>
                <a:gd name="T87" fmla="*/ 844 h 899"/>
                <a:gd name="T88" fmla="*/ 90 w 749"/>
                <a:gd name="T89" fmla="*/ 884 h 899"/>
                <a:gd name="T90" fmla="*/ 105 w 749"/>
                <a:gd name="T91" fmla="*/ 899 h 899"/>
                <a:gd name="T92" fmla="*/ 570 w 749"/>
                <a:gd name="T93" fmla="*/ 889 h 899"/>
                <a:gd name="T94" fmla="*/ 543 w 749"/>
                <a:gd name="T95" fmla="*/ 856 h 899"/>
                <a:gd name="T96" fmla="*/ 425 w 749"/>
                <a:gd name="T97" fmla="*/ 806 h 899"/>
                <a:gd name="T98" fmla="*/ 409 w 749"/>
                <a:gd name="T99" fmla="*/ 741 h 899"/>
                <a:gd name="T100" fmla="*/ 493 w 749"/>
                <a:gd name="T101" fmla="*/ 716 h 899"/>
                <a:gd name="T102" fmla="*/ 571 w 749"/>
                <a:gd name="T103" fmla="*/ 67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9" h="899">
                  <a:moveTo>
                    <a:pt x="345" y="794"/>
                  </a:moveTo>
                  <a:lnTo>
                    <a:pt x="337" y="794"/>
                  </a:lnTo>
                  <a:lnTo>
                    <a:pt x="330" y="794"/>
                  </a:lnTo>
                  <a:lnTo>
                    <a:pt x="323" y="794"/>
                  </a:lnTo>
                  <a:lnTo>
                    <a:pt x="315" y="794"/>
                  </a:lnTo>
                  <a:lnTo>
                    <a:pt x="315" y="748"/>
                  </a:lnTo>
                  <a:lnTo>
                    <a:pt x="323" y="748"/>
                  </a:lnTo>
                  <a:lnTo>
                    <a:pt x="330" y="748"/>
                  </a:lnTo>
                  <a:lnTo>
                    <a:pt x="337" y="748"/>
                  </a:lnTo>
                  <a:lnTo>
                    <a:pt x="345" y="748"/>
                  </a:lnTo>
                  <a:lnTo>
                    <a:pt x="345" y="794"/>
                  </a:lnTo>
                  <a:close/>
                  <a:moveTo>
                    <a:pt x="156" y="869"/>
                  </a:moveTo>
                  <a:lnTo>
                    <a:pt x="176" y="859"/>
                  </a:lnTo>
                  <a:lnTo>
                    <a:pt x="197" y="849"/>
                  </a:lnTo>
                  <a:lnTo>
                    <a:pt x="218" y="842"/>
                  </a:lnTo>
                  <a:lnTo>
                    <a:pt x="240" y="835"/>
                  </a:lnTo>
                  <a:lnTo>
                    <a:pt x="262" y="831"/>
                  </a:lnTo>
                  <a:lnTo>
                    <a:pt x="284" y="827"/>
                  </a:lnTo>
                  <a:lnTo>
                    <a:pt x="308" y="824"/>
                  </a:lnTo>
                  <a:lnTo>
                    <a:pt x="330" y="823"/>
                  </a:lnTo>
                  <a:lnTo>
                    <a:pt x="354" y="824"/>
                  </a:lnTo>
                  <a:lnTo>
                    <a:pt x="376" y="827"/>
                  </a:lnTo>
                  <a:lnTo>
                    <a:pt x="398" y="830"/>
                  </a:lnTo>
                  <a:lnTo>
                    <a:pt x="421" y="835"/>
                  </a:lnTo>
                  <a:lnTo>
                    <a:pt x="442" y="842"/>
                  </a:lnTo>
                  <a:lnTo>
                    <a:pt x="464" y="849"/>
                  </a:lnTo>
                  <a:lnTo>
                    <a:pt x="484" y="859"/>
                  </a:lnTo>
                  <a:lnTo>
                    <a:pt x="504" y="869"/>
                  </a:lnTo>
                  <a:lnTo>
                    <a:pt x="156" y="869"/>
                  </a:lnTo>
                  <a:close/>
                  <a:moveTo>
                    <a:pt x="626" y="627"/>
                  </a:moveTo>
                  <a:lnTo>
                    <a:pt x="641" y="610"/>
                  </a:lnTo>
                  <a:lnTo>
                    <a:pt x="655" y="596"/>
                  </a:lnTo>
                  <a:lnTo>
                    <a:pt x="668" y="578"/>
                  </a:lnTo>
                  <a:lnTo>
                    <a:pt x="680" y="562"/>
                  </a:lnTo>
                  <a:lnTo>
                    <a:pt x="691" y="545"/>
                  </a:lnTo>
                  <a:lnTo>
                    <a:pt x="700" y="527"/>
                  </a:lnTo>
                  <a:lnTo>
                    <a:pt x="710" y="509"/>
                  </a:lnTo>
                  <a:lnTo>
                    <a:pt x="717" y="491"/>
                  </a:lnTo>
                  <a:lnTo>
                    <a:pt x="725" y="473"/>
                  </a:lnTo>
                  <a:lnTo>
                    <a:pt x="731" y="453"/>
                  </a:lnTo>
                  <a:lnTo>
                    <a:pt x="737" y="434"/>
                  </a:lnTo>
                  <a:lnTo>
                    <a:pt x="741" y="415"/>
                  </a:lnTo>
                  <a:lnTo>
                    <a:pt x="744" y="395"/>
                  </a:lnTo>
                  <a:lnTo>
                    <a:pt x="747" y="376"/>
                  </a:lnTo>
                  <a:lnTo>
                    <a:pt x="748" y="356"/>
                  </a:lnTo>
                  <a:lnTo>
                    <a:pt x="749" y="337"/>
                  </a:lnTo>
                  <a:lnTo>
                    <a:pt x="749" y="317"/>
                  </a:lnTo>
                  <a:lnTo>
                    <a:pt x="748" y="297"/>
                  </a:lnTo>
                  <a:lnTo>
                    <a:pt x="746" y="278"/>
                  </a:lnTo>
                  <a:lnTo>
                    <a:pt x="743" y="259"/>
                  </a:lnTo>
                  <a:lnTo>
                    <a:pt x="740" y="238"/>
                  </a:lnTo>
                  <a:lnTo>
                    <a:pt x="734" y="220"/>
                  </a:lnTo>
                  <a:lnTo>
                    <a:pt x="729" y="201"/>
                  </a:lnTo>
                  <a:lnTo>
                    <a:pt x="723" y="182"/>
                  </a:lnTo>
                  <a:lnTo>
                    <a:pt x="715" y="163"/>
                  </a:lnTo>
                  <a:lnTo>
                    <a:pt x="707" y="145"/>
                  </a:lnTo>
                  <a:lnTo>
                    <a:pt x="697" y="127"/>
                  </a:lnTo>
                  <a:lnTo>
                    <a:pt x="687" y="110"/>
                  </a:lnTo>
                  <a:lnTo>
                    <a:pt x="676" y="93"/>
                  </a:lnTo>
                  <a:lnTo>
                    <a:pt x="664" y="76"/>
                  </a:lnTo>
                  <a:lnTo>
                    <a:pt x="651" y="60"/>
                  </a:lnTo>
                  <a:lnTo>
                    <a:pt x="637" y="44"/>
                  </a:lnTo>
                  <a:lnTo>
                    <a:pt x="655" y="25"/>
                  </a:lnTo>
                  <a:lnTo>
                    <a:pt x="657" y="23"/>
                  </a:lnTo>
                  <a:lnTo>
                    <a:pt x="658" y="21"/>
                  </a:lnTo>
                  <a:lnTo>
                    <a:pt x="660" y="18"/>
                  </a:lnTo>
                  <a:lnTo>
                    <a:pt x="660" y="15"/>
                  </a:lnTo>
                  <a:lnTo>
                    <a:pt x="660" y="13"/>
                  </a:lnTo>
                  <a:lnTo>
                    <a:pt x="658" y="9"/>
                  </a:lnTo>
                  <a:lnTo>
                    <a:pt x="657" y="7"/>
                  </a:lnTo>
                  <a:lnTo>
                    <a:pt x="655" y="4"/>
                  </a:lnTo>
                  <a:lnTo>
                    <a:pt x="653" y="3"/>
                  </a:lnTo>
                  <a:lnTo>
                    <a:pt x="651" y="1"/>
                  </a:lnTo>
                  <a:lnTo>
                    <a:pt x="648" y="1"/>
                  </a:lnTo>
                  <a:lnTo>
                    <a:pt x="645" y="0"/>
                  </a:lnTo>
                  <a:lnTo>
                    <a:pt x="642" y="1"/>
                  </a:lnTo>
                  <a:lnTo>
                    <a:pt x="639" y="1"/>
                  </a:lnTo>
                  <a:lnTo>
                    <a:pt x="636" y="3"/>
                  </a:lnTo>
                  <a:lnTo>
                    <a:pt x="634" y="4"/>
                  </a:lnTo>
                  <a:lnTo>
                    <a:pt x="606" y="33"/>
                  </a:lnTo>
                  <a:lnTo>
                    <a:pt x="574" y="64"/>
                  </a:lnTo>
                  <a:lnTo>
                    <a:pt x="572" y="67"/>
                  </a:lnTo>
                  <a:lnTo>
                    <a:pt x="571" y="69"/>
                  </a:lnTo>
                  <a:lnTo>
                    <a:pt x="570" y="72"/>
                  </a:lnTo>
                  <a:lnTo>
                    <a:pt x="570" y="75"/>
                  </a:lnTo>
                  <a:lnTo>
                    <a:pt x="570" y="78"/>
                  </a:lnTo>
                  <a:lnTo>
                    <a:pt x="571" y="81"/>
                  </a:lnTo>
                  <a:lnTo>
                    <a:pt x="572" y="83"/>
                  </a:lnTo>
                  <a:lnTo>
                    <a:pt x="574" y="85"/>
                  </a:lnTo>
                  <a:lnTo>
                    <a:pt x="576" y="87"/>
                  </a:lnTo>
                  <a:lnTo>
                    <a:pt x="579" y="89"/>
                  </a:lnTo>
                  <a:lnTo>
                    <a:pt x="583" y="90"/>
                  </a:lnTo>
                  <a:lnTo>
                    <a:pt x="585" y="90"/>
                  </a:lnTo>
                  <a:lnTo>
                    <a:pt x="588" y="90"/>
                  </a:lnTo>
                  <a:lnTo>
                    <a:pt x="591" y="89"/>
                  </a:lnTo>
                  <a:lnTo>
                    <a:pt x="593" y="87"/>
                  </a:lnTo>
                  <a:lnTo>
                    <a:pt x="595" y="85"/>
                  </a:lnTo>
                  <a:lnTo>
                    <a:pt x="616" y="65"/>
                  </a:lnTo>
                  <a:lnTo>
                    <a:pt x="629" y="80"/>
                  </a:lnTo>
                  <a:lnTo>
                    <a:pt x="640" y="95"/>
                  </a:lnTo>
                  <a:lnTo>
                    <a:pt x="652" y="110"/>
                  </a:lnTo>
                  <a:lnTo>
                    <a:pt x="662" y="126"/>
                  </a:lnTo>
                  <a:lnTo>
                    <a:pt x="671" y="142"/>
                  </a:lnTo>
                  <a:lnTo>
                    <a:pt x="680" y="159"/>
                  </a:lnTo>
                  <a:lnTo>
                    <a:pt x="688" y="176"/>
                  </a:lnTo>
                  <a:lnTo>
                    <a:pt x="695" y="193"/>
                  </a:lnTo>
                  <a:lnTo>
                    <a:pt x="701" y="210"/>
                  </a:lnTo>
                  <a:lnTo>
                    <a:pt x="706" y="228"/>
                  </a:lnTo>
                  <a:lnTo>
                    <a:pt x="711" y="246"/>
                  </a:lnTo>
                  <a:lnTo>
                    <a:pt x="714" y="264"/>
                  </a:lnTo>
                  <a:lnTo>
                    <a:pt x="716" y="282"/>
                  </a:lnTo>
                  <a:lnTo>
                    <a:pt x="718" y="300"/>
                  </a:lnTo>
                  <a:lnTo>
                    <a:pt x="719" y="318"/>
                  </a:lnTo>
                  <a:lnTo>
                    <a:pt x="719" y="337"/>
                  </a:lnTo>
                  <a:lnTo>
                    <a:pt x="718" y="355"/>
                  </a:lnTo>
                  <a:lnTo>
                    <a:pt x="717" y="373"/>
                  </a:lnTo>
                  <a:lnTo>
                    <a:pt x="714" y="391"/>
                  </a:lnTo>
                  <a:lnTo>
                    <a:pt x="711" y="409"/>
                  </a:lnTo>
                  <a:lnTo>
                    <a:pt x="707" y="427"/>
                  </a:lnTo>
                  <a:lnTo>
                    <a:pt x="702" y="445"/>
                  </a:lnTo>
                  <a:lnTo>
                    <a:pt x="696" y="462"/>
                  </a:lnTo>
                  <a:lnTo>
                    <a:pt x="690" y="480"/>
                  </a:lnTo>
                  <a:lnTo>
                    <a:pt x="682" y="496"/>
                  </a:lnTo>
                  <a:lnTo>
                    <a:pt x="673" y="513"/>
                  </a:lnTo>
                  <a:lnTo>
                    <a:pt x="665" y="529"/>
                  </a:lnTo>
                  <a:lnTo>
                    <a:pt x="654" y="545"/>
                  </a:lnTo>
                  <a:lnTo>
                    <a:pt x="644" y="561"/>
                  </a:lnTo>
                  <a:lnTo>
                    <a:pt x="632" y="576"/>
                  </a:lnTo>
                  <a:lnTo>
                    <a:pt x="619" y="591"/>
                  </a:lnTo>
                  <a:lnTo>
                    <a:pt x="606" y="605"/>
                  </a:lnTo>
                  <a:lnTo>
                    <a:pt x="591" y="618"/>
                  </a:lnTo>
                  <a:lnTo>
                    <a:pt x="577" y="631"/>
                  </a:lnTo>
                  <a:lnTo>
                    <a:pt x="561" y="643"/>
                  </a:lnTo>
                  <a:lnTo>
                    <a:pt x="546" y="653"/>
                  </a:lnTo>
                  <a:lnTo>
                    <a:pt x="530" y="664"/>
                  </a:lnTo>
                  <a:lnTo>
                    <a:pt x="514" y="673"/>
                  </a:lnTo>
                  <a:lnTo>
                    <a:pt x="497" y="681"/>
                  </a:lnTo>
                  <a:lnTo>
                    <a:pt x="480" y="689"/>
                  </a:lnTo>
                  <a:lnTo>
                    <a:pt x="463" y="696"/>
                  </a:lnTo>
                  <a:lnTo>
                    <a:pt x="446" y="701"/>
                  </a:lnTo>
                  <a:lnTo>
                    <a:pt x="427" y="707"/>
                  </a:lnTo>
                  <a:lnTo>
                    <a:pt x="410" y="711"/>
                  </a:lnTo>
                  <a:lnTo>
                    <a:pt x="392" y="714"/>
                  </a:lnTo>
                  <a:lnTo>
                    <a:pt x="374" y="716"/>
                  </a:lnTo>
                  <a:lnTo>
                    <a:pt x="356" y="717"/>
                  </a:lnTo>
                  <a:lnTo>
                    <a:pt x="337" y="719"/>
                  </a:lnTo>
                  <a:lnTo>
                    <a:pt x="319" y="719"/>
                  </a:lnTo>
                  <a:lnTo>
                    <a:pt x="301" y="717"/>
                  </a:lnTo>
                  <a:lnTo>
                    <a:pt x="283" y="716"/>
                  </a:lnTo>
                  <a:lnTo>
                    <a:pt x="265" y="713"/>
                  </a:lnTo>
                  <a:lnTo>
                    <a:pt x="247" y="710"/>
                  </a:lnTo>
                  <a:lnTo>
                    <a:pt x="228" y="706"/>
                  </a:lnTo>
                  <a:lnTo>
                    <a:pt x="211" y="700"/>
                  </a:lnTo>
                  <a:lnTo>
                    <a:pt x="193" y="694"/>
                  </a:lnTo>
                  <a:lnTo>
                    <a:pt x="176" y="687"/>
                  </a:lnTo>
                  <a:lnTo>
                    <a:pt x="160" y="680"/>
                  </a:lnTo>
                  <a:lnTo>
                    <a:pt x="143" y="670"/>
                  </a:lnTo>
                  <a:lnTo>
                    <a:pt x="127" y="662"/>
                  </a:lnTo>
                  <a:lnTo>
                    <a:pt x="111" y="651"/>
                  </a:lnTo>
                  <a:lnTo>
                    <a:pt x="96" y="640"/>
                  </a:lnTo>
                  <a:lnTo>
                    <a:pt x="81" y="628"/>
                  </a:lnTo>
                  <a:lnTo>
                    <a:pt x="66" y="615"/>
                  </a:lnTo>
                  <a:lnTo>
                    <a:pt x="86" y="594"/>
                  </a:lnTo>
                  <a:lnTo>
                    <a:pt x="88" y="592"/>
                  </a:lnTo>
                  <a:lnTo>
                    <a:pt x="89" y="590"/>
                  </a:lnTo>
                  <a:lnTo>
                    <a:pt x="90" y="587"/>
                  </a:lnTo>
                  <a:lnTo>
                    <a:pt x="90" y="584"/>
                  </a:lnTo>
                  <a:lnTo>
                    <a:pt x="90" y="582"/>
                  </a:lnTo>
                  <a:lnTo>
                    <a:pt x="89" y="578"/>
                  </a:lnTo>
                  <a:lnTo>
                    <a:pt x="88" y="576"/>
                  </a:lnTo>
                  <a:lnTo>
                    <a:pt x="86" y="574"/>
                  </a:lnTo>
                  <a:lnTo>
                    <a:pt x="84" y="572"/>
                  </a:lnTo>
                  <a:lnTo>
                    <a:pt x="81" y="570"/>
                  </a:lnTo>
                  <a:lnTo>
                    <a:pt x="79" y="570"/>
                  </a:lnTo>
                  <a:lnTo>
                    <a:pt x="75" y="569"/>
                  </a:lnTo>
                  <a:lnTo>
                    <a:pt x="72" y="570"/>
                  </a:lnTo>
                  <a:lnTo>
                    <a:pt x="70" y="570"/>
                  </a:lnTo>
                  <a:lnTo>
                    <a:pt x="67" y="572"/>
                  </a:lnTo>
                  <a:lnTo>
                    <a:pt x="65" y="574"/>
                  </a:lnTo>
                  <a:lnTo>
                    <a:pt x="5" y="633"/>
                  </a:lnTo>
                  <a:lnTo>
                    <a:pt x="3" y="636"/>
                  </a:lnTo>
                  <a:lnTo>
                    <a:pt x="2" y="638"/>
                  </a:lnTo>
                  <a:lnTo>
                    <a:pt x="0" y="641"/>
                  </a:lnTo>
                  <a:lnTo>
                    <a:pt x="0" y="644"/>
                  </a:lnTo>
                  <a:lnTo>
                    <a:pt x="0" y="647"/>
                  </a:lnTo>
                  <a:lnTo>
                    <a:pt x="2" y="650"/>
                  </a:lnTo>
                  <a:lnTo>
                    <a:pt x="3" y="652"/>
                  </a:lnTo>
                  <a:lnTo>
                    <a:pt x="5" y="654"/>
                  </a:lnTo>
                  <a:lnTo>
                    <a:pt x="7" y="656"/>
                  </a:lnTo>
                  <a:lnTo>
                    <a:pt x="10" y="658"/>
                  </a:lnTo>
                  <a:lnTo>
                    <a:pt x="12" y="659"/>
                  </a:lnTo>
                  <a:lnTo>
                    <a:pt x="15" y="660"/>
                  </a:lnTo>
                  <a:lnTo>
                    <a:pt x="19" y="659"/>
                  </a:lnTo>
                  <a:lnTo>
                    <a:pt x="21" y="658"/>
                  </a:lnTo>
                  <a:lnTo>
                    <a:pt x="24" y="656"/>
                  </a:lnTo>
                  <a:lnTo>
                    <a:pt x="26" y="654"/>
                  </a:lnTo>
                  <a:lnTo>
                    <a:pt x="44" y="636"/>
                  </a:lnTo>
                  <a:lnTo>
                    <a:pt x="57" y="648"/>
                  </a:lnTo>
                  <a:lnTo>
                    <a:pt x="71" y="659"/>
                  </a:lnTo>
                  <a:lnTo>
                    <a:pt x="85" y="669"/>
                  </a:lnTo>
                  <a:lnTo>
                    <a:pt x="99" y="679"/>
                  </a:lnTo>
                  <a:lnTo>
                    <a:pt x="113" y="689"/>
                  </a:lnTo>
                  <a:lnTo>
                    <a:pt x="128" y="697"/>
                  </a:lnTo>
                  <a:lnTo>
                    <a:pt x="143" y="705"/>
                  </a:lnTo>
                  <a:lnTo>
                    <a:pt x="158" y="712"/>
                  </a:lnTo>
                  <a:lnTo>
                    <a:pt x="173" y="719"/>
                  </a:lnTo>
                  <a:lnTo>
                    <a:pt x="189" y="724"/>
                  </a:lnTo>
                  <a:lnTo>
                    <a:pt x="205" y="729"/>
                  </a:lnTo>
                  <a:lnTo>
                    <a:pt x="221" y="735"/>
                  </a:lnTo>
                  <a:lnTo>
                    <a:pt x="237" y="738"/>
                  </a:lnTo>
                  <a:lnTo>
                    <a:pt x="253" y="742"/>
                  </a:lnTo>
                  <a:lnTo>
                    <a:pt x="269" y="744"/>
                  </a:lnTo>
                  <a:lnTo>
                    <a:pt x="285" y="746"/>
                  </a:lnTo>
                  <a:lnTo>
                    <a:pt x="285" y="797"/>
                  </a:lnTo>
                  <a:lnTo>
                    <a:pt x="259" y="801"/>
                  </a:lnTo>
                  <a:lnTo>
                    <a:pt x="235" y="806"/>
                  </a:lnTo>
                  <a:lnTo>
                    <a:pt x="210" y="813"/>
                  </a:lnTo>
                  <a:lnTo>
                    <a:pt x="187" y="821"/>
                  </a:lnTo>
                  <a:lnTo>
                    <a:pt x="163" y="832"/>
                  </a:lnTo>
                  <a:lnTo>
                    <a:pt x="140" y="844"/>
                  </a:lnTo>
                  <a:lnTo>
                    <a:pt x="118" y="856"/>
                  </a:lnTo>
                  <a:lnTo>
                    <a:pt x="97" y="871"/>
                  </a:lnTo>
                  <a:lnTo>
                    <a:pt x="94" y="875"/>
                  </a:lnTo>
                  <a:lnTo>
                    <a:pt x="91" y="879"/>
                  </a:lnTo>
                  <a:lnTo>
                    <a:pt x="90" y="884"/>
                  </a:lnTo>
                  <a:lnTo>
                    <a:pt x="91" y="889"/>
                  </a:lnTo>
                  <a:lnTo>
                    <a:pt x="94" y="893"/>
                  </a:lnTo>
                  <a:lnTo>
                    <a:pt x="97" y="896"/>
                  </a:lnTo>
                  <a:lnTo>
                    <a:pt x="101" y="898"/>
                  </a:lnTo>
                  <a:lnTo>
                    <a:pt x="105" y="899"/>
                  </a:lnTo>
                  <a:lnTo>
                    <a:pt x="555" y="898"/>
                  </a:lnTo>
                  <a:lnTo>
                    <a:pt x="560" y="898"/>
                  </a:lnTo>
                  <a:lnTo>
                    <a:pt x="563" y="896"/>
                  </a:lnTo>
                  <a:lnTo>
                    <a:pt x="566" y="893"/>
                  </a:lnTo>
                  <a:lnTo>
                    <a:pt x="570" y="889"/>
                  </a:lnTo>
                  <a:lnTo>
                    <a:pt x="570" y="884"/>
                  </a:lnTo>
                  <a:lnTo>
                    <a:pt x="570" y="879"/>
                  </a:lnTo>
                  <a:lnTo>
                    <a:pt x="568" y="875"/>
                  </a:lnTo>
                  <a:lnTo>
                    <a:pt x="564" y="871"/>
                  </a:lnTo>
                  <a:lnTo>
                    <a:pt x="543" y="856"/>
                  </a:lnTo>
                  <a:lnTo>
                    <a:pt x="520" y="844"/>
                  </a:lnTo>
                  <a:lnTo>
                    <a:pt x="498" y="832"/>
                  </a:lnTo>
                  <a:lnTo>
                    <a:pt x="474" y="821"/>
                  </a:lnTo>
                  <a:lnTo>
                    <a:pt x="450" y="813"/>
                  </a:lnTo>
                  <a:lnTo>
                    <a:pt x="425" y="806"/>
                  </a:lnTo>
                  <a:lnTo>
                    <a:pt x="401" y="801"/>
                  </a:lnTo>
                  <a:lnTo>
                    <a:pt x="375" y="797"/>
                  </a:lnTo>
                  <a:lnTo>
                    <a:pt x="375" y="746"/>
                  </a:lnTo>
                  <a:lnTo>
                    <a:pt x="392" y="744"/>
                  </a:lnTo>
                  <a:lnTo>
                    <a:pt x="409" y="741"/>
                  </a:lnTo>
                  <a:lnTo>
                    <a:pt x="426" y="738"/>
                  </a:lnTo>
                  <a:lnTo>
                    <a:pt x="443" y="733"/>
                  </a:lnTo>
                  <a:lnTo>
                    <a:pt x="461" y="728"/>
                  </a:lnTo>
                  <a:lnTo>
                    <a:pt x="477" y="723"/>
                  </a:lnTo>
                  <a:lnTo>
                    <a:pt x="493" y="716"/>
                  </a:lnTo>
                  <a:lnTo>
                    <a:pt x="509" y="709"/>
                  </a:lnTo>
                  <a:lnTo>
                    <a:pt x="525" y="701"/>
                  </a:lnTo>
                  <a:lnTo>
                    <a:pt x="541" y="693"/>
                  </a:lnTo>
                  <a:lnTo>
                    <a:pt x="556" y="683"/>
                  </a:lnTo>
                  <a:lnTo>
                    <a:pt x="571" y="674"/>
                  </a:lnTo>
                  <a:lnTo>
                    <a:pt x="586" y="663"/>
                  </a:lnTo>
                  <a:lnTo>
                    <a:pt x="600" y="651"/>
                  </a:lnTo>
                  <a:lnTo>
                    <a:pt x="614" y="639"/>
                  </a:lnTo>
                  <a:lnTo>
                    <a:pt x="626" y="6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015" name="Group 160">
              <a:extLst>
                <a:ext uri="{FF2B5EF4-FFF2-40B4-BE49-F238E27FC236}">
                  <a16:creationId xmlns:a16="http://schemas.microsoft.com/office/drawing/2014/main" id="{2BEEC914-6B57-4268-AD8D-4E3B883BBAE6}"/>
                </a:ext>
              </a:extLst>
            </p:cNvPr>
            <p:cNvGrpSpPr>
              <a:grpSpLocks noChangeAspect="1"/>
            </p:cNvGrpSpPr>
            <p:nvPr/>
          </p:nvGrpSpPr>
          <p:grpSpPr>
            <a:xfrm>
              <a:off x="1294479" y="4484754"/>
              <a:ext cx="240000" cy="240000"/>
              <a:chOff x="5297488" y="2084388"/>
              <a:chExt cx="371475" cy="371475"/>
            </a:xfrm>
            <a:grpFill/>
            <a:effectLst/>
          </p:grpSpPr>
          <p:sp>
            <p:nvSpPr>
              <p:cNvPr id="2016" name="Freeform 74">
                <a:extLst>
                  <a:ext uri="{FF2B5EF4-FFF2-40B4-BE49-F238E27FC236}">
                    <a16:creationId xmlns:a16="http://schemas.microsoft.com/office/drawing/2014/main" id="{27702C0E-38B2-46A8-8D18-99229CBA9769}"/>
                  </a:ext>
                </a:extLst>
              </p:cNvPr>
              <p:cNvSpPr>
                <a:spLocks noEditPoints="1"/>
              </p:cNvSpPr>
              <p:nvPr/>
            </p:nvSpPr>
            <p:spPr bwMode="auto">
              <a:xfrm>
                <a:off x="5297488" y="2084388"/>
                <a:ext cx="371475" cy="371475"/>
              </a:xfrm>
              <a:custGeom>
                <a:avLst/>
                <a:gdLst>
                  <a:gd name="T0" fmla="*/ 48 w 96"/>
                  <a:gd name="T1" fmla="*/ 96 h 96"/>
                  <a:gd name="T2" fmla="*/ 0 w 96"/>
                  <a:gd name="T3" fmla="*/ 47 h 96"/>
                  <a:gd name="T4" fmla="*/ 46 w 96"/>
                  <a:gd name="T5" fmla="*/ 0 h 96"/>
                  <a:gd name="T6" fmla="*/ 48 w 96"/>
                  <a:gd name="T7" fmla="*/ 0 h 96"/>
                  <a:gd name="T8" fmla="*/ 96 w 96"/>
                  <a:gd name="T9" fmla="*/ 48 h 96"/>
                  <a:gd name="T10" fmla="*/ 48 w 96"/>
                  <a:gd name="T11" fmla="*/ 96 h 96"/>
                  <a:gd name="T12" fmla="*/ 48 w 96"/>
                  <a:gd name="T13" fmla="*/ 4 h 96"/>
                  <a:gd name="T14" fmla="*/ 46 w 96"/>
                  <a:gd name="T15" fmla="*/ 4 h 96"/>
                  <a:gd name="T16" fmla="*/ 4 w 96"/>
                  <a:gd name="T17" fmla="*/ 47 h 96"/>
                  <a:gd name="T18" fmla="*/ 48 w 96"/>
                  <a:gd name="T19" fmla="*/ 92 h 96"/>
                  <a:gd name="T20" fmla="*/ 92 w 96"/>
                  <a:gd name="T21" fmla="*/ 48 h 96"/>
                  <a:gd name="T22" fmla="*/ 48 w 96"/>
                  <a:gd name="T23"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96"/>
                    </a:moveTo>
                    <a:cubicBezTo>
                      <a:pt x="21" y="96"/>
                      <a:pt x="0" y="74"/>
                      <a:pt x="0" y="47"/>
                    </a:cubicBezTo>
                    <a:cubicBezTo>
                      <a:pt x="0" y="21"/>
                      <a:pt x="20" y="1"/>
                      <a:pt x="46" y="0"/>
                    </a:cubicBezTo>
                    <a:cubicBezTo>
                      <a:pt x="47" y="0"/>
                      <a:pt x="47" y="0"/>
                      <a:pt x="48" y="0"/>
                    </a:cubicBezTo>
                    <a:cubicBezTo>
                      <a:pt x="74" y="0"/>
                      <a:pt x="96" y="21"/>
                      <a:pt x="96" y="48"/>
                    </a:cubicBezTo>
                    <a:cubicBezTo>
                      <a:pt x="96" y="74"/>
                      <a:pt x="74" y="96"/>
                      <a:pt x="48" y="96"/>
                    </a:cubicBezTo>
                    <a:close/>
                    <a:moveTo>
                      <a:pt x="48" y="4"/>
                    </a:moveTo>
                    <a:cubicBezTo>
                      <a:pt x="47" y="4"/>
                      <a:pt x="47" y="4"/>
                      <a:pt x="46" y="4"/>
                    </a:cubicBezTo>
                    <a:cubicBezTo>
                      <a:pt x="22" y="5"/>
                      <a:pt x="4" y="23"/>
                      <a:pt x="4" y="47"/>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7" name="Freeform 75">
                <a:extLst>
                  <a:ext uri="{FF2B5EF4-FFF2-40B4-BE49-F238E27FC236}">
                    <a16:creationId xmlns:a16="http://schemas.microsoft.com/office/drawing/2014/main" id="{1C08A65A-1D26-4305-8D4B-1F9889491B66}"/>
                  </a:ext>
                </a:extLst>
              </p:cNvPr>
              <p:cNvSpPr>
                <a:spLocks/>
              </p:cNvSpPr>
              <p:nvPr/>
            </p:nvSpPr>
            <p:spPr bwMode="auto">
              <a:xfrm>
                <a:off x="5375276" y="2087563"/>
                <a:ext cx="107950" cy="365125"/>
              </a:xfrm>
              <a:custGeom>
                <a:avLst/>
                <a:gdLst>
                  <a:gd name="T0" fmla="*/ 24 w 28"/>
                  <a:gd name="T1" fmla="*/ 94 h 94"/>
                  <a:gd name="T2" fmla="*/ 25 w 28"/>
                  <a:gd name="T3" fmla="*/ 0 h 94"/>
                  <a:gd name="T4" fmla="*/ 27 w 28"/>
                  <a:gd name="T5" fmla="*/ 2 h 94"/>
                  <a:gd name="T6" fmla="*/ 28 w 28"/>
                  <a:gd name="T7" fmla="*/ 92 h 94"/>
                  <a:gd name="T8" fmla="*/ 24 w 28"/>
                  <a:gd name="T9" fmla="*/ 94 h 94"/>
                </a:gdLst>
                <a:ahLst/>
                <a:cxnLst>
                  <a:cxn ang="0">
                    <a:pos x="T0" y="T1"/>
                  </a:cxn>
                  <a:cxn ang="0">
                    <a:pos x="T2" y="T3"/>
                  </a:cxn>
                  <a:cxn ang="0">
                    <a:pos x="T4" y="T5"/>
                  </a:cxn>
                  <a:cxn ang="0">
                    <a:pos x="T6" y="T7"/>
                  </a:cxn>
                  <a:cxn ang="0">
                    <a:pos x="T8" y="T9"/>
                  </a:cxn>
                </a:cxnLst>
                <a:rect l="0" t="0" r="r" b="b"/>
                <a:pathLst>
                  <a:path w="28" h="94">
                    <a:moveTo>
                      <a:pt x="24" y="94"/>
                    </a:moveTo>
                    <a:cubicBezTo>
                      <a:pt x="0" y="62"/>
                      <a:pt x="0" y="26"/>
                      <a:pt x="25" y="0"/>
                    </a:cubicBezTo>
                    <a:cubicBezTo>
                      <a:pt x="27" y="2"/>
                      <a:pt x="27" y="2"/>
                      <a:pt x="27" y="2"/>
                    </a:cubicBezTo>
                    <a:cubicBezTo>
                      <a:pt x="4" y="28"/>
                      <a:pt x="4" y="60"/>
                      <a:pt x="28" y="92"/>
                    </a:cubicBezTo>
                    <a:lnTo>
                      <a:pt x="2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8" name="Freeform 76">
                <a:extLst>
                  <a:ext uri="{FF2B5EF4-FFF2-40B4-BE49-F238E27FC236}">
                    <a16:creationId xmlns:a16="http://schemas.microsoft.com/office/drawing/2014/main" id="{026E8EAE-6F58-45C0-9B84-5CB707DB44EE}"/>
                  </a:ext>
                </a:extLst>
              </p:cNvPr>
              <p:cNvSpPr>
                <a:spLocks/>
              </p:cNvSpPr>
              <p:nvPr/>
            </p:nvSpPr>
            <p:spPr bwMode="auto">
              <a:xfrm>
                <a:off x="5483226" y="2087563"/>
                <a:ext cx="107950" cy="365125"/>
              </a:xfrm>
              <a:custGeom>
                <a:avLst/>
                <a:gdLst>
                  <a:gd name="T0" fmla="*/ 4 w 28"/>
                  <a:gd name="T1" fmla="*/ 94 h 94"/>
                  <a:gd name="T2" fmla="*/ 0 w 28"/>
                  <a:gd name="T3" fmla="*/ 92 h 94"/>
                  <a:gd name="T4" fmla="*/ 1 w 28"/>
                  <a:gd name="T5" fmla="*/ 2 h 94"/>
                  <a:gd name="T6" fmla="*/ 3 w 28"/>
                  <a:gd name="T7" fmla="*/ 0 h 94"/>
                  <a:gd name="T8" fmla="*/ 4 w 28"/>
                  <a:gd name="T9" fmla="*/ 94 h 94"/>
                </a:gdLst>
                <a:ahLst/>
                <a:cxnLst>
                  <a:cxn ang="0">
                    <a:pos x="T0" y="T1"/>
                  </a:cxn>
                  <a:cxn ang="0">
                    <a:pos x="T2" y="T3"/>
                  </a:cxn>
                  <a:cxn ang="0">
                    <a:pos x="T4" y="T5"/>
                  </a:cxn>
                  <a:cxn ang="0">
                    <a:pos x="T6" y="T7"/>
                  </a:cxn>
                  <a:cxn ang="0">
                    <a:pos x="T8" y="T9"/>
                  </a:cxn>
                </a:cxnLst>
                <a:rect l="0" t="0" r="r" b="b"/>
                <a:pathLst>
                  <a:path w="28" h="94">
                    <a:moveTo>
                      <a:pt x="4" y="94"/>
                    </a:moveTo>
                    <a:cubicBezTo>
                      <a:pt x="0" y="92"/>
                      <a:pt x="0" y="92"/>
                      <a:pt x="0" y="92"/>
                    </a:cubicBezTo>
                    <a:cubicBezTo>
                      <a:pt x="24" y="60"/>
                      <a:pt x="24" y="28"/>
                      <a:pt x="1" y="2"/>
                    </a:cubicBezTo>
                    <a:cubicBezTo>
                      <a:pt x="3" y="0"/>
                      <a:pt x="3" y="0"/>
                      <a:pt x="3" y="0"/>
                    </a:cubicBezTo>
                    <a:cubicBezTo>
                      <a:pt x="28" y="26"/>
                      <a:pt x="28" y="62"/>
                      <a:pt x="4"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19" name="Rectangle 77">
                <a:extLst>
                  <a:ext uri="{FF2B5EF4-FFF2-40B4-BE49-F238E27FC236}">
                    <a16:creationId xmlns:a16="http://schemas.microsoft.com/office/drawing/2014/main" id="{44A0AB57-5E1B-4780-9C09-857B837E5C08}"/>
                  </a:ext>
                </a:extLst>
              </p:cNvPr>
              <p:cNvSpPr>
                <a:spLocks noChangeArrowheads="1"/>
              </p:cNvSpPr>
              <p:nvPr/>
            </p:nvSpPr>
            <p:spPr bwMode="auto">
              <a:xfrm>
                <a:off x="5335588" y="2162176"/>
                <a:ext cx="2952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20" name="Rectangle 78">
                <a:extLst>
                  <a:ext uri="{FF2B5EF4-FFF2-40B4-BE49-F238E27FC236}">
                    <a16:creationId xmlns:a16="http://schemas.microsoft.com/office/drawing/2014/main" id="{0BE1335E-920A-4299-8F3A-009F871798A2}"/>
                  </a:ext>
                </a:extLst>
              </p:cNvPr>
              <p:cNvSpPr>
                <a:spLocks noChangeArrowheads="1"/>
              </p:cNvSpPr>
              <p:nvPr/>
            </p:nvSpPr>
            <p:spPr bwMode="auto">
              <a:xfrm>
                <a:off x="5305426" y="2254251"/>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21" name="Rectangle 79">
                <a:extLst>
                  <a:ext uri="{FF2B5EF4-FFF2-40B4-BE49-F238E27FC236}">
                    <a16:creationId xmlns:a16="http://schemas.microsoft.com/office/drawing/2014/main" id="{874077E0-B150-40A6-87D1-DFEF9ECD8AA8}"/>
                  </a:ext>
                </a:extLst>
              </p:cNvPr>
              <p:cNvSpPr>
                <a:spLocks noChangeArrowheads="1"/>
              </p:cNvSpPr>
              <p:nvPr/>
            </p:nvSpPr>
            <p:spPr bwMode="auto">
              <a:xfrm>
                <a:off x="5329238" y="2347913"/>
                <a:ext cx="30956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sp>
        <p:nvSpPr>
          <p:cNvPr id="15" name="Foliennummernplatzhalter 14">
            <a:extLst>
              <a:ext uri="{FF2B5EF4-FFF2-40B4-BE49-F238E27FC236}">
                <a16:creationId xmlns:a16="http://schemas.microsoft.com/office/drawing/2014/main" id="{CB9D6C0A-F6A6-4B99-9CFE-44CA3D17B5D1}"/>
              </a:ext>
            </a:extLst>
          </p:cNvPr>
          <p:cNvSpPr>
            <a:spLocks noGrp="1"/>
          </p:cNvSpPr>
          <p:nvPr>
            <p:ph type="sldNum" sz="quarter" idx="4"/>
          </p:nvPr>
        </p:nvSpPr>
        <p:spPr/>
        <p:txBody>
          <a:bodyPr/>
          <a:lstStyle/>
          <a:p>
            <a:fld id="{60F8E2DC-8382-49B6-A2A6-01CCC12CBD17}" type="slidenum">
              <a:rPr lang="de-DE" smtClean="0"/>
              <a:pPr/>
              <a:t>37</a:t>
            </a:fld>
            <a:endParaRPr lang="de-DE" dirty="0"/>
          </a:p>
        </p:txBody>
      </p:sp>
    </p:spTree>
    <p:extLst>
      <p:ext uri="{BB962C8B-B14F-4D97-AF65-F5344CB8AC3E}">
        <p14:creationId xmlns:p14="http://schemas.microsoft.com/office/powerpoint/2010/main" val="773850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CD58C0D-211B-486E-910B-D66B5FD5B617}"/>
              </a:ext>
            </a:extLst>
          </p:cNvPr>
          <p:cNvGraphicFramePr>
            <a:graphicFrameLocks noChangeAspect="1"/>
          </p:cNvGraphicFramePr>
          <p:nvPr>
            <p:custDataLst>
              <p:tags r:id="rId2"/>
            </p:custDataLst>
            <p:extLst>
              <p:ext uri="{D42A27DB-BD31-4B8C-83A1-F6EECF244321}">
                <p14:modId xmlns:p14="http://schemas.microsoft.com/office/powerpoint/2010/main" val="190918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0" name="think-cell Folie" r:id="rId8" imgW="425" imgH="426" progId="TCLayout.ActiveDocument.1">
                  <p:embed/>
                </p:oleObj>
              </mc:Choice>
              <mc:Fallback>
                <p:oleObj name="think-cell Folie" r:id="rId8" imgW="425" imgH="426" progId="TCLayout.ActiveDocument.1">
                  <p:embed/>
                  <p:pic>
                    <p:nvPicPr>
                      <p:cNvPr id="5" name="Objekt 4" hidden="1">
                        <a:extLst>
                          <a:ext uri="{FF2B5EF4-FFF2-40B4-BE49-F238E27FC236}">
                            <a16:creationId xmlns:a16="http://schemas.microsoft.com/office/drawing/2014/main" id="{FCD58C0D-211B-486E-910B-D66B5FD5B6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1F5AD03-7DFE-47C3-922A-9897297D18AD}"/>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648" name="Rechteck 647">
            <a:extLst>
              <a:ext uri="{FF2B5EF4-FFF2-40B4-BE49-F238E27FC236}">
                <a16:creationId xmlns:a16="http://schemas.microsoft.com/office/drawing/2014/main" id="{75BED24A-780F-4A98-8706-D09EA1D4CD3D}"/>
              </a:ext>
            </a:extLst>
          </p:cNvPr>
          <p:cNvSpPr/>
          <p:nvPr/>
        </p:nvSpPr>
        <p:spPr>
          <a:xfrm>
            <a:off x="0" y="1495425"/>
            <a:ext cx="9906000" cy="4878388"/>
          </a:xfrm>
          <a:prstGeom prst="rect">
            <a:avLst/>
          </a:prstGeom>
          <a:solidFill>
            <a:schemeClr val="accent3">
              <a:alpha val="80000"/>
            </a:schemeClr>
          </a:solidFill>
        </p:spPr>
        <p:txBody>
          <a:bodyPr vert="horz" lIns="270000" tIns="108000" rIns="270000" bIns="0" rtlCol="0" anchor="t" anchorCtr="0">
            <a:noAutofit/>
          </a:bodyPr>
          <a:lstStyle/>
          <a:p>
            <a:pPr defTabSz="914400">
              <a:lnSpc>
                <a:spcPct val="90000"/>
              </a:lnSpc>
              <a:spcBef>
                <a:spcPct val="0"/>
              </a:spcBef>
            </a:pPr>
            <a:endParaRPr lang="de-DE" sz="2400">
              <a:solidFill>
                <a:schemeClr val="bg1"/>
              </a:solidFill>
              <a:latin typeface="+mj-lt"/>
              <a:ea typeface="+mj-ea"/>
              <a:cs typeface="+mj-cs"/>
            </a:endParaRPr>
          </a:p>
        </p:txBody>
      </p:sp>
      <p:sp>
        <p:nvSpPr>
          <p:cNvPr id="4" name="Titel 3"/>
          <p:cNvSpPr>
            <a:spLocks noGrp="1"/>
          </p:cNvSpPr>
          <p:nvPr>
            <p:ph type="title"/>
          </p:nvPr>
        </p:nvSpPr>
        <p:spPr/>
        <p:txBody>
          <a:bodyPr/>
          <a:lstStyle/>
          <a:p>
            <a:r>
              <a:rPr lang="de-DE" dirty="0"/>
              <a:t>Farben der Icons änderbar über „Füllbereich“</a:t>
            </a:r>
          </a:p>
        </p:txBody>
      </p:sp>
      <p:sp>
        <p:nvSpPr>
          <p:cNvPr id="179" name="Textplatzhalter 178"/>
          <p:cNvSpPr>
            <a:spLocks noGrp="1"/>
          </p:cNvSpPr>
          <p:nvPr>
            <p:ph type="body" sz="quarter" idx="13"/>
          </p:nvPr>
        </p:nvSpPr>
        <p:spPr/>
        <p:txBody>
          <a:bodyPr/>
          <a:lstStyle/>
          <a:p>
            <a:endParaRPr lang="de-DE"/>
          </a:p>
        </p:txBody>
      </p:sp>
      <p:sp>
        <p:nvSpPr>
          <p:cNvPr id="180" name="Textplatzhalter 179"/>
          <p:cNvSpPr>
            <a:spLocks noGrp="1"/>
          </p:cNvSpPr>
          <p:nvPr>
            <p:ph type="body" sz="quarter" idx="14"/>
          </p:nvPr>
        </p:nvSpPr>
        <p:spPr/>
        <p:txBody>
          <a:bodyPr/>
          <a:lstStyle/>
          <a:p>
            <a:pPr>
              <a:spcAft>
                <a:spcPts val="0"/>
              </a:spcAft>
            </a:pPr>
            <a:endParaRPr lang="de-DE"/>
          </a:p>
        </p:txBody>
      </p:sp>
      <p:sp>
        <p:nvSpPr>
          <p:cNvPr id="3" name="Foliennummernplatzhalter 2"/>
          <p:cNvSpPr>
            <a:spLocks noGrp="1"/>
          </p:cNvSpPr>
          <p:nvPr>
            <p:ph type="sldNum" sz="quarter" idx="4"/>
          </p:nvPr>
        </p:nvSpPr>
        <p:spPr>
          <a:xfrm>
            <a:off x="928939" y="6621990"/>
            <a:ext cx="209993" cy="153888"/>
          </a:xfrm>
        </p:spPr>
        <p:txBody>
          <a:bodyPr/>
          <a:lstStyle/>
          <a:p>
            <a:fld id="{70DB0CEF-E182-42EF-B1DF-BA42708E991C}" type="slidenum">
              <a:rPr lang="de-DE" noProof="0" smtClean="0"/>
              <a:pPr/>
              <a:t>38</a:t>
            </a:fld>
            <a:endParaRPr lang="de-DE" noProof="0" dirty="0"/>
          </a:p>
        </p:txBody>
      </p:sp>
      <p:sp>
        <p:nvSpPr>
          <p:cNvPr id="181" name="Datumsplatzhalter 180"/>
          <p:cNvSpPr>
            <a:spLocks noGrp="1"/>
          </p:cNvSpPr>
          <p:nvPr>
            <p:ph type="dt" sz="half" idx="2"/>
          </p:nvPr>
        </p:nvSpPr>
        <p:spPr/>
        <p:txBody>
          <a:bodyPr/>
          <a:lstStyle/>
          <a:p>
            <a:fld id="{B3E88A1C-199F-41F0-99B3-9EAC732EBB38}" type="datetime1">
              <a:rPr lang="de-DE" smtClean="0"/>
              <a:t>04.05.2020</a:t>
            </a:fld>
            <a:endParaRPr lang="de-DE" dirty="0"/>
          </a:p>
        </p:txBody>
      </p:sp>
      <p:grpSp>
        <p:nvGrpSpPr>
          <p:cNvPr id="267" name="Group 45">
            <a:extLst>
              <a:ext uri="{FF2B5EF4-FFF2-40B4-BE49-F238E27FC236}">
                <a16:creationId xmlns:a16="http://schemas.microsoft.com/office/drawing/2014/main" id="{01150795-2720-4297-961D-85FAF4B968A9}"/>
              </a:ext>
            </a:extLst>
          </p:cNvPr>
          <p:cNvGrpSpPr>
            <a:grpSpLocks noChangeAspect="1"/>
          </p:cNvGrpSpPr>
          <p:nvPr/>
        </p:nvGrpSpPr>
        <p:grpSpPr>
          <a:xfrm>
            <a:off x="271917" y="5944848"/>
            <a:ext cx="308144" cy="308144"/>
            <a:chOff x="8736013" y="1925638"/>
            <a:chExt cx="287338" cy="287338"/>
          </a:xfrm>
          <a:solidFill>
            <a:schemeClr val="bg1"/>
          </a:solidFill>
          <a:effectLst/>
        </p:grpSpPr>
        <p:sp>
          <p:nvSpPr>
            <p:cNvPr id="268" name="Freeform 97">
              <a:extLst>
                <a:ext uri="{FF2B5EF4-FFF2-40B4-BE49-F238E27FC236}">
                  <a16:creationId xmlns:a16="http://schemas.microsoft.com/office/drawing/2014/main" id="{201FF6B2-CCA9-4EA8-96C9-C7D309A534DB}"/>
                </a:ext>
              </a:extLst>
            </p:cNvPr>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98">
              <a:extLst>
                <a:ext uri="{FF2B5EF4-FFF2-40B4-BE49-F238E27FC236}">
                  <a16:creationId xmlns:a16="http://schemas.microsoft.com/office/drawing/2014/main" id="{F5E0A258-E7DB-4FBD-B38A-4A007E5C6874}"/>
                </a:ext>
              </a:extLst>
            </p:cNvPr>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0" name="Freeform 31">
            <a:extLst>
              <a:ext uri="{FF2B5EF4-FFF2-40B4-BE49-F238E27FC236}">
                <a16:creationId xmlns:a16="http://schemas.microsoft.com/office/drawing/2014/main" id="{8A18276F-44FA-4C1A-B2AC-293B48480AA6}"/>
              </a:ext>
            </a:extLst>
          </p:cNvPr>
          <p:cNvSpPr>
            <a:spLocks noChangeAspect="1" noEditPoints="1"/>
          </p:cNvSpPr>
          <p:nvPr/>
        </p:nvSpPr>
        <p:spPr bwMode="auto">
          <a:xfrm>
            <a:off x="288135" y="2724897"/>
            <a:ext cx="275708" cy="275708"/>
          </a:xfrm>
          <a:custGeom>
            <a:avLst/>
            <a:gdLst>
              <a:gd name="T0" fmla="*/ 38 w 903"/>
              <a:gd name="T1" fmla="*/ 290 h 903"/>
              <a:gd name="T2" fmla="*/ 62 w 903"/>
              <a:gd name="T3" fmla="*/ 215 h 903"/>
              <a:gd name="T4" fmla="*/ 105 w 903"/>
              <a:gd name="T5" fmla="*/ 149 h 903"/>
              <a:gd name="T6" fmla="*/ 162 w 903"/>
              <a:gd name="T7" fmla="*/ 95 h 903"/>
              <a:gd name="T8" fmla="*/ 230 w 903"/>
              <a:gd name="T9" fmla="*/ 56 h 903"/>
              <a:gd name="T10" fmla="*/ 307 w 903"/>
              <a:gd name="T11" fmla="*/ 34 h 903"/>
              <a:gd name="T12" fmla="*/ 390 w 903"/>
              <a:gd name="T13" fmla="*/ 32 h 903"/>
              <a:gd name="T14" fmla="*/ 469 w 903"/>
              <a:gd name="T15" fmla="*/ 50 h 903"/>
              <a:gd name="T16" fmla="*/ 539 w 903"/>
              <a:gd name="T17" fmla="*/ 86 h 903"/>
              <a:gd name="T18" fmla="*/ 598 w 903"/>
              <a:gd name="T19" fmla="*/ 137 h 903"/>
              <a:gd name="T20" fmla="*/ 643 w 903"/>
              <a:gd name="T21" fmla="*/ 201 h 903"/>
              <a:gd name="T22" fmla="*/ 672 w 903"/>
              <a:gd name="T23" fmla="*/ 275 h 903"/>
              <a:gd name="T24" fmla="*/ 683 w 903"/>
              <a:gd name="T25" fmla="*/ 357 h 903"/>
              <a:gd name="T26" fmla="*/ 672 w 903"/>
              <a:gd name="T27" fmla="*/ 438 h 903"/>
              <a:gd name="T28" fmla="*/ 643 w 903"/>
              <a:gd name="T29" fmla="*/ 512 h 903"/>
              <a:gd name="T30" fmla="*/ 598 w 903"/>
              <a:gd name="T31" fmla="*/ 576 h 903"/>
              <a:gd name="T32" fmla="*/ 539 w 903"/>
              <a:gd name="T33" fmla="*/ 627 h 903"/>
              <a:gd name="T34" fmla="*/ 469 w 903"/>
              <a:gd name="T35" fmla="*/ 663 h 903"/>
              <a:gd name="T36" fmla="*/ 390 w 903"/>
              <a:gd name="T37" fmla="*/ 681 h 903"/>
              <a:gd name="T38" fmla="*/ 307 w 903"/>
              <a:gd name="T39" fmla="*/ 680 h 903"/>
              <a:gd name="T40" fmla="*/ 230 w 903"/>
              <a:gd name="T41" fmla="*/ 657 h 903"/>
              <a:gd name="T42" fmla="*/ 162 w 903"/>
              <a:gd name="T43" fmla="*/ 618 h 903"/>
              <a:gd name="T44" fmla="*/ 105 w 903"/>
              <a:gd name="T45" fmla="*/ 564 h 903"/>
              <a:gd name="T46" fmla="*/ 62 w 903"/>
              <a:gd name="T47" fmla="*/ 498 h 903"/>
              <a:gd name="T48" fmla="*/ 38 w 903"/>
              <a:gd name="T49" fmla="*/ 422 h 903"/>
              <a:gd name="T50" fmla="*/ 899 w 903"/>
              <a:gd name="T51" fmla="*/ 877 h 903"/>
              <a:gd name="T52" fmla="*/ 659 w 903"/>
              <a:gd name="T53" fmla="*/ 547 h 903"/>
              <a:gd name="T54" fmla="*/ 694 w 903"/>
              <a:gd name="T55" fmla="*/ 473 h 903"/>
              <a:gd name="T56" fmla="*/ 711 w 903"/>
              <a:gd name="T57" fmla="*/ 391 h 903"/>
              <a:gd name="T58" fmla="*/ 709 w 903"/>
              <a:gd name="T59" fmla="*/ 302 h 903"/>
              <a:gd name="T60" fmla="*/ 685 w 903"/>
              <a:gd name="T61" fmla="*/ 217 h 903"/>
              <a:gd name="T62" fmla="*/ 642 w 903"/>
              <a:gd name="T63" fmla="*/ 144 h 903"/>
              <a:gd name="T64" fmla="*/ 583 w 903"/>
              <a:gd name="T65" fmla="*/ 81 h 903"/>
              <a:gd name="T66" fmla="*/ 512 w 903"/>
              <a:gd name="T67" fmla="*/ 35 h 903"/>
              <a:gd name="T68" fmla="*/ 429 w 903"/>
              <a:gd name="T69" fmla="*/ 7 h 903"/>
              <a:gd name="T70" fmla="*/ 339 w 903"/>
              <a:gd name="T71" fmla="*/ 1 h 903"/>
              <a:gd name="T72" fmla="*/ 251 w 903"/>
              <a:gd name="T73" fmla="*/ 16 h 903"/>
              <a:gd name="T74" fmla="*/ 172 w 903"/>
              <a:gd name="T75" fmla="*/ 52 h 903"/>
              <a:gd name="T76" fmla="*/ 105 w 903"/>
              <a:gd name="T77" fmla="*/ 105 h 903"/>
              <a:gd name="T78" fmla="*/ 52 w 903"/>
              <a:gd name="T79" fmla="*/ 171 h 903"/>
              <a:gd name="T80" fmla="*/ 16 w 903"/>
              <a:gd name="T81" fmla="*/ 251 h 903"/>
              <a:gd name="T82" fmla="*/ 1 w 903"/>
              <a:gd name="T83" fmla="*/ 339 h 903"/>
              <a:gd name="T84" fmla="*/ 8 w 903"/>
              <a:gd name="T85" fmla="*/ 429 h 903"/>
              <a:gd name="T86" fmla="*/ 36 w 903"/>
              <a:gd name="T87" fmla="*/ 511 h 903"/>
              <a:gd name="T88" fmla="*/ 82 w 903"/>
              <a:gd name="T89" fmla="*/ 583 h 903"/>
              <a:gd name="T90" fmla="*/ 144 w 903"/>
              <a:gd name="T91" fmla="*/ 642 h 903"/>
              <a:gd name="T92" fmla="*/ 218 w 903"/>
              <a:gd name="T93" fmla="*/ 685 h 903"/>
              <a:gd name="T94" fmla="*/ 303 w 903"/>
              <a:gd name="T95" fmla="*/ 709 h 903"/>
              <a:gd name="T96" fmla="*/ 392 w 903"/>
              <a:gd name="T97" fmla="*/ 712 h 903"/>
              <a:gd name="T98" fmla="*/ 473 w 903"/>
              <a:gd name="T99" fmla="*/ 693 h 903"/>
              <a:gd name="T100" fmla="*/ 547 w 903"/>
              <a:gd name="T101" fmla="*/ 658 h 903"/>
              <a:gd name="T102" fmla="*/ 877 w 903"/>
              <a:gd name="T103" fmla="*/ 898 h 903"/>
              <a:gd name="T104" fmla="*/ 891 w 903"/>
              <a:gd name="T105" fmla="*/ 903 h 903"/>
              <a:gd name="T106" fmla="*/ 902 w 903"/>
              <a:gd name="T107" fmla="*/ 893 h 903"/>
              <a:gd name="T108" fmla="*/ 901 w 903"/>
              <a:gd name="T109" fmla="*/ 879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3" h="903">
                <a:moveTo>
                  <a:pt x="30" y="357"/>
                </a:moveTo>
                <a:lnTo>
                  <a:pt x="31" y="340"/>
                </a:lnTo>
                <a:lnTo>
                  <a:pt x="32" y="324"/>
                </a:lnTo>
                <a:lnTo>
                  <a:pt x="34" y="306"/>
                </a:lnTo>
                <a:lnTo>
                  <a:pt x="38" y="290"/>
                </a:lnTo>
                <a:lnTo>
                  <a:pt x="41" y="275"/>
                </a:lnTo>
                <a:lnTo>
                  <a:pt x="45" y="259"/>
                </a:lnTo>
                <a:lnTo>
                  <a:pt x="51" y="244"/>
                </a:lnTo>
                <a:lnTo>
                  <a:pt x="56" y="229"/>
                </a:lnTo>
                <a:lnTo>
                  <a:pt x="62" y="215"/>
                </a:lnTo>
                <a:lnTo>
                  <a:pt x="70" y="201"/>
                </a:lnTo>
                <a:lnTo>
                  <a:pt x="77" y="187"/>
                </a:lnTo>
                <a:lnTo>
                  <a:pt x="86" y="175"/>
                </a:lnTo>
                <a:lnTo>
                  <a:pt x="96" y="162"/>
                </a:lnTo>
                <a:lnTo>
                  <a:pt x="105" y="149"/>
                </a:lnTo>
                <a:lnTo>
                  <a:pt x="115" y="137"/>
                </a:lnTo>
                <a:lnTo>
                  <a:pt x="127" y="126"/>
                </a:lnTo>
                <a:lnTo>
                  <a:pt x="137" y="116"/>
                </a:lnTo>
                <a:lnTo>
                  <a:pt x="149" y="105"/>
                </a:lnTo>
                <a:lnTo>
                  <a:pt x="162" y="95"/>
                </a:lnTo>
                <a:lnTo>
                  <a:pt x="175" y="86"/>
                </a:lnTo>
                <a:lnTo>
                  <a:pt x="188" y="78"/>
                </a:lnTo>
                <a:lnTo>
                  <a:pt x="202" y="70"/>
                </a:lnTo>
                <a:lnTo>
                  <a:pt x="216" y="62"/>
                </a:lnTo>
                <a:lnTo>
                  <a:pt x="230" y="56"/>
                </a:lnTo>
                <a:lnTo>
                  <a:pt x="245" y="50"/>
                </a:lnTo>
                <a:lnTo>
                  <a:pt x="260" y="45"/>
                </a:lnTo>
                <a:lnTo>
                  <a:pt x="276" y="41"/>
                </a:lnTo>
                <a:lnTo>
                  <a:pt x="291" y="37"/>
                </a:lnTo>
                <a:lnTo>
                  <a:pt x="307" y="34"/>
                </a:lnTo>
                <a:lnTo>
                  <a:pt x="324" y="32"/>
                </a:lnTo>
                <a:lnTo>
                  <a:pt x="340" y="31"/>
                </a:lnTo>
                <a:lnTo>
                  <a:pt x="357" y="30"/>
                </a:lnTo>
                <a:lnTo>
                  <a:pt x="373" y="31"/>
                </a:lnTo>
                <a:lnTo>
                  <a:pt x="390" y="32"/>
                </a:lnTo>
                <a:lnTo>
                  <a:pt x="407" y="34"/>
                </a:lnTo>
                <a:lnTo>
                  <a:pt x="423" y="37"/>
                </a:lnTo>
                <a:lnTo>
                  <a:pt x="439" y="41"/>
                </a:lnTo>
                <a:lnTo>
                  <a:pt x="454" y="45"/>
                </a:lnTo>
                <a:lnTo>
                  <a:pt x="469" y="50"/>
                </a:lnTo>
                <a:lnTo>
                  <a:pt x="484" y="56"/>
                </a:lnTo>
                <a:lnTo>
                  <a:pt x="498" y="62"/>
                </a:lnTo>
                <a:lnTo>
                  <a:pt x="513" y="70"/>
                </a:lnTo>
                <a:lnTo>
                  <a:pt x="526" y="78"/>
                </a:lnTo>
                <a:lnTo>
                  <a:pt x="539" y="86"/>
                </a:lnTo>
                <a:lnTo>
                  <a:pt x="552" y="95"/>
                </a:lnTo>
                <a:lnTo>
                  <a:pt x="564" y="105"/>
                </a:lnTo>
                <a:lnTo>
                  <a:pt x="576" y="116"/>
                </a:lnTo>
                <a:lnTo>
                  <a:pt x="588" y="126"/>
                </a:lnTo>
                <a:lnTo>
                  <a:pt x="598" y="137"/>
                </a:lnTo>
                <a:lnTo>
                  <a:pt x="608" y="149"/>
                </a:lnTo>
                <a:lnTo>
                  <a:pt x="618" y="162"/>
                </a:lnTo>
                <a:lnTo>
                  <a:pt x="627" y="175"/>
                </a:lnTo>
                <a:lnTo>
                  <a:pt x="636" y="187"/>
                </a:lnTo>
                <a:lnTo>
                  <a:pt x="643" y="201"/>
                </a:lnTo>
                <a:lnTo>
                  <a:pt x="651" y="215"/>
                </a:lnTo>
                <a:lnTo>
                  <a:pt x="657" y="229"/>
                </a:lnTo>
                <a:lnTo>
                  <a:pt x="663" y="244"/>
                </a:lnTo>
                <a:lnTo>
                  <a:pt x="668" y="259"/>
                </a:lnTo>
                <a:lnTo>
                  <a:pt x="672" y="275"/>
                </a:lnTo>
                <a:lnTo>
                  <a:pt x="677" y="290"/>
                </a:lnTo>
                <a:lnTo>
                  <a:pt x="679" y="306"/>
                </a:lnTo>
                <a:lnTo>
                  <a:pt x="681" y="324"/>
                </a:lnTo>
                <a:lnTo>
                  <a:pt x="683" y="340"/>
                </a:lnTo>
                <a:lnTo>
                  <a:pt x="683" y="357"/>
                </a:lnTo>
                <a:lnTo>
                  <a:pt x="683" y="373"/>
                </a:lnTo>
                <a:lnTo>
                  <a:pt x="681" y="390"/>
                </a:lnTo>
                <a:lnTo>
                  <a:pt x="679" y="406"/>
                </a:lnTo>
                <a:lnTo>
                  <a:pt x="677" y="422"/>
                </a:lnTo>
                <a:lnTo>
                  <a:pt x="672" y="438"/>
                </a:lnTo>
                <a:lnTo>
                  <a:pt x="668" y="453"/>
                </a:lnTo>
                <a:lnTo>
                  <a:pt x="663" y="468"/>
                </a:lnTo>
                <a:lnTo>
                  <a:pt x="657" y="483"/>
                </a:lnTo>
                <a:lnTo>
                  <a:pt x="651" y="498"/>
                </a:lnTo>
                <a:lnTo>
                  <a:pt x="643" y="512"/>
                </a:lnTo>
                <a:lnTo>
                  <a:pt x="636" y="525"/>
                </a:lnTo>
                <a:lnTo>
                  <a:pt x="627" y="539"/>
                </a:lnTo>
                <a:lnTo>
                  <a:pt x="618" y="552"/>
                </a:lnTo>
                <a:lnTo>
                  <a:pt x="608" y="564"/>
                </a:lnTo>
                <a:lnTo>
                  <a:pt x="598" y="576"/>
                </a:lnTo>
                <a:lnTo>
                  <a:pt x="588" y="587"/>
                </a:lnTo>
                <a:lnTo>
                  <a:pt x="576" y="598"/>
                </a:lnTo>
                <a:lnTo>
                  <a:pt x="564" y="608"/>
                </a:lnTo>
                <a:lnTo>
                  <a:pt x="552" y="618"/>
                </a:lnTo>
                <a:lnTo>
                  <a:pt x="539" y="627"/>
                </a:lnTo>
                <a:lnTo>
                  <a:pt x="526" y="636"/>
                </a:lnTo>
                <a:lnTo>
                  <a:pt x="513" y="643"/>
                </a:lnTo>
                <a:lnTo>
                  <a:pt x="498" y="651"/>
                </a:lnTo>
                <a:lnTo>
                  <a:pt x="484" y="657"/>
                </a:lnTo>
                <a:lnTo>
                  <a:pt x="469" y="663"/>
                </a:lnTo>
                <a:lnTo>
                  <a:pt x="454" y="668"/>
                </a:lnTo>
                <a:lnTo>
                  <a:pt x="439" y="672"/>
                </a:lnTo>
                <a:lnTo>
                  <a:pt x="423" y="676"/>
                </a:lnTo>
                <a:lnTo>
                  <a:pt x="407" y="680"/>
                </a:lnTo>
                <a:lnTo>
                  <a:pt x="390" y="681"/>
                </a:lnTo>
                <a:lnTo>
                  <a:pt x="373" y="683"/>
                </a:lnTo>
                <a:lnTo>
                  <a:pt x="357" y="683"/>
                </a:lnTo>
                <a:lnTo>
                  <a:pt x="340" y="683"/>
                </a:lnTo>
                <a:lnTo>
                  <a:pt x="324" y="681"/>
                </a:lnTo>
                <a:lnTo>
                  <a:pt x="307" y="680"/>
                </a:lnTo>
                <a:lnTo>
                  <a:pt x="291" y="676"/>
                </a:lnTo>
                <a:lnTo>
                  <a:pt x="276" y="672"/>
                </a:lnTo>
                <a:lnTo>
                  <a:pt x="260" y="668"/>
                </a:lnTo>
                <a:lnTo>
                  <a:pt x="245" y="663"/>
                </a:lnTo>
                <a:lnTo>
                  <a:pt x="230" y="657"/>
                </a:lnTo>
                <a:lnTo>
                  <a:pt x="216" y="651"/>
                </a:lnTo>
                <a:lnTo>
                  <a:pt x="202" y="643"/>
                </a:lnTo>
                <a:lnTo>
                  <a:pt x="188" y="636"/>
                </a:lnTo>
                <a:lnTo>
                  <a:pt x="175" y="627"/>
                </a:lnTo>
                <a:lnTo>
                  <a:pt x="162" y="618"/>
                </a:lnTo>
                <a:lnTo>
                  <a:pt x="149" y="608"/>
                </a:lnTo>
                <a:lnTo>
                  <a:pt x="137" y="598"/>
                </a:lnTo>
                <a:lnTo>
                  <a:pt x="127" y="587"/>
                </a:lnTo>
                <a:lnTo>
                  <a:pt x="115" y="576"/>
                </a:lnTo>
                <a:lnTo>
                  <a:pt x="105" y="564"/>
                </a:lnTo>
                <a:lnTo>
                  <a:pt x="96" y="552"/>
                </a:lnTo>
                <a:lnTo>
                  <a:pt x="86" y="539"/>
                </a:lnTo>
                <a:lnTo>
                  <a:pt x="77" y="525"/>
                </a:lnTo>
                <a:lnTo>
                  <a:pt x="70" y="512"/>
                </a:lnTo>
                <a:lnTo>
                  <a:pt x="62" y="498"/>
                </a:lnTo>
                <a:lnTo>
                  <a:pt x="56" y="483"/>
                </a:lnTo>
                <a:lnTo>
                  <a:pt x="51" y="468"/>
                </a:lnTo>
                <a:lnTo>
                  <a:pt x="45" y="453"/>
                </a:lnTo>
                <a:lnTo>
                  <a:pt x="41" y="438"/>
                </a:lnTo>
                <a:lnTo>
                  <a:pt x="38" y="422"/>
                </a:lnTo>
                <a:lnTo>
                  <a:pt x="34" y="406"/>
                </a:lnTo>
                <a:lnTo>
                  <a:pt x="32" y="390"/>
                </a:lnTo>
                <a:lnTo>
                  <a:pt x="31" y="373"/>
                </a:lnTo>
                <a:lnTo>
                  <a:pt x="30" y="357"/>
                </a:lnTo>
                <a:close/>
                <a:moveTo>
                  <a:pt x="899" y="877"/>
                </a:moveTo>
                <a:lnTo>
                  <a:pt x="619" y="597"/>
                </a:lnTo>
                <a:lnTo>
                  <a:pt x="630" y="585"/>
                </a:lnTo>
                <a:lnTo>
                  <a:pt x="640" y="572"/>
                </a:lnTo>
                <a:lnTo>
                  <a:pt x="650" y="559"/>
                </a:lnTo>
                <a:lnTo>
                  <a:pt x="659" y="547"/>
                </a:lnTo>
                <a:lnTo>
                  <a:pt x="667" y="533"/>
                </a:lnTo>
                <a:lnTo>
                  <a:pt x="675" y="518"/>
                </a:lnTo>
                <a:lnTo>
                  <a:pt x="682" y="503"/>
                </a:lnTo>
                <a:lnTo>
                  <a:pt x="689" y="488"/>
                </a:lnTo>
                <a:lnTo>
                  <a:pt x="694" y="473"/>
                </a:lnTo>
                <a:lnTo>
                  <a:pt x="699" y="457"/>
                </a:lnTo>
                <a:lnTo>
                  <a:pt x="704" y="440"/>
                </a:lnTo>
                <a:lnTo>
                  <a:pt x="707" y="424"/>
                </a:lnTo>
                <a:lnTo>
                  <a:pt x="710" y="408"/>
                </a:lnTo>
                <a:lnTo>
                  <a:pt x="711" y="391"/>
                </a:lnTo>
                <a:lnTo>
                  <a:pt x="713" y="374"/>
                </a:lnTo>
                <a:lnTo>
                  <a:pt x="713" y="357"/>
                </a:lnTo>
                <a:lnTo>
                  <a:pt x="713" y="339"/>
                </a:lnTo>
                <a:lnTo>
                  <a:pt x="711" y="320"/>
                </a:lnTo>
                <a:lnTo>
                  <a:pt x="709" y="302"/>
                </a:lnTo>
                <a:lnTo>
                  <a:pt x="706" y="285"/>
                </a:lnTo>
                <a:lnTo>
                  <a:pt x="702" y="268"/>
                </a:lnTo>
                <a:lnTo>
                  <a:pt x="697" y="251"/>
                </a:lnTo>
                <a:lnTo>
                  <a:pt x="692" y="235"/>
                </a:lnTo>
                <a:lnTo>
                  <a:pt x="685" y="217"/>
                </a:lnTo>
                <a:lnTo>
                  <a:pt x="678" y="202"/>
                </a:lnTo>
                <a:lnTo>
                  <a:pt x="670" y="186"/>
                </a:lnTo>
                <a:lnTo>
                  <a:pt x="662" y="171"/>
                </a:lnTo>
                <a:lnTo>
                  <a:pt x="652" y="157"/>
                </a:lnTo>
                <a:lnTo>
                  <a:pt x="642" y="144"/>
                </a:lnTo>
                <a:lnTo>
                  <a:pt x="632" y="130"/>
                </a:lnTo>
                <a:lnTo>
                  <a:pt x="621" y="117"/>
                </a:lnTo>
                <a:lnTo>
                  <a:pt x="609" y="105"/>
                </a:lnTo>
                <a:lnTo>
                  <a:pt x="596" y="93"/>
                </a:lnTo>
                <a:lnTo>
                  <a:pt x="583" y="81"/>
                </a:lnTo>
                <a:lnTo>
                  <a:pt x="570" y="71"/>
                </a:lnTo>
                <a:lnTo>
                  <a:pt x="556" y="61"/>
                </a:lnTo>
                <a:lnTo>
                  <a:pt x="542" y="52"/>
                </a:lnTo>
                <a:lnTo>
                  <a:pt x="527" y="44"/>
                </a:lnTo>
                <a:lnTo>
                  <a:pt x="512" y="35"/>
                </a:lnTo>
                <a:lnTo>
                  <a:pt x="496" y="29"/>
                </a:lnTo>
                <a:lnTo>
                  <a:pt x="479" y="22"/>
                </a:lnTo>
                <a:lnTo>
                  <a:pt x="462" y="16"/>
                </a:lnTo>
                <a:lnTo>
                  <a:pt x="446" y="12"/>
                </a:lnTo>
                <a:lnTo>
                  <a:pt x="429" y="7"/>
                </a:lnTo>
                <a:lnTo>
                  <a:pt x="411" y="4"/>
                </a:lnTo>
                <a:lnTo>
                  <a:pt x="394" y="2"/>
                </a:lnTo>
                <a:lnTo>
                  <a:pt x="375" y="1"/>
                </a:lnTo>
                <a:lnTo>
                  <a:pt x="357" y="0"/>
                </a:lnTo>
                <a:lnTo>
                  <a:pt x="339" y="1"/>
                </a:lnTo>
                <a:lnTo>
                  <a:pt x="321" y="2"/>
                </a:lnTo>
                <a:lnTo>
                  <a:pt x="303" y="4"/>
                </a:lnTo>
                <a:lnTo>
                  <a:pt x="285" y="7"/>
                </a:lnTo>
                <a:lnTo>
                  <a:pt x="268" y="12"/>
                </a:lnTo>
                <a:lnTo>
                  <a:pt x="251" y="16"/>
                </a:lnTo>
                <a:lnTo>
                  <a:pt x="234" y="22"/>
                </a:lnTo>
                <a:lnTo>
                  <a:pt x="218" y="28"/>
                </a:lnTo>
                <a:lnTo>
                  <a:pt x="203" y="35"/>
                </a:lnTo>
                <a:lnTo>
                  <a:pt x="187" y="44"/>
                </a:lnTo>
                <a:lnTo>
                  <a:pt x="172" y="52"/>
                </a:lnTo>
                <a:lnTo>
                  <a:pt x="158" y="61"/>
                </a:lnTo>
                <a:lnTo>
                  <a:pt x="144" y="71"/>
                </a:lnTo>
                <a:lnTo>
                  <a:pt x="130" y="81"/>
                </a:lnTo>
                <a:lnTo>
                  <a:pt x="117" y="93"/>
                </a:lnTo>
                <a:lnTo>
                  <a:pt x="105" y="105"/>
                </a:lnTo>
                <a:lnTo>
                  <a:pt x="93" y="117"/>
                </a:lnTo>
                <a:lnTo>
                  <a:pt x="82" y="130"/>
                </a:lnTo>
                <a:lnTo>
                  <a:pt x="71" y="144"/>
                </a:lnTo>
                <a:lnTo>
                  <a:pt x="61" y="157"/>
                </a:lnTo>
                <a:lnTo>
                  <a:pt x="52" y="171"/>
                </a:lnTo>
                <a:lnTo>
                  <a:pt x="43" y="186"/>
                </a:lnTo>
                <a:lnTo>
                  <a:pt x="36" y="202"/>
                </a:lnTo>
                <a:lnTo>
                  <a:pt x="28" y="217"/>
                </a:lnTo>
                <a:lnTo>
                  <a:pt x="22" y="235"/>
                </a:lnTo>
                <a:lnTo>
                  <a:pt x="16" y="251"/>
                </a:lnTo>
                <a:lnTo>
                  <a:pt x="12" y="268"/>
                </a:lnTo>
                <a:lnTo>
                  <a:pt x="8" y="285"/>
                </a:lnTo>
                <a:lnTo>
                  <a:pt x="4" y="302"/>
                </a:lnTo>
                <a:lnTo>
                  <a:pt x="2" y="320"/>
                </a:lnTo>
                <a:lnTo>
                  <a:pt x="1" y="339"/>
                </a:lnTo>
                <a:lnTo>
                  <a:pt x="0" y="357"/>
                </a:lnTo>
                <a:lnTo>
                  <a:pt x="1" y="375"/>
                </a:lnTo>
                <a:lnTo>
                  <a:pt x="2" y="393"/>
                </a:lnTo>
                <a:lnTo>
                  <a:pt x="4" y="410"/>
                </a:lnTo>
                <a:lnTo>
                  <a:pt x="8" y="429"/>
                </a:lnTo>
                <a:lnTo>
                  <a:pt x="12" y="446"/>
                </a:lnTo>
                <a:lnTo>
                  <a:pt x="16" y="462"/>
                </a:lnTo>
                <a:lnTo>
                  <a:pt x="22" y="479"/>
                </a:lnTo>
                <a:lnTo>
                  <a:pt x="28" y="495"/>
                </a:lnTo>
                <a:lnTo>
                  <a:pt x="36" y="511"/>
                </a:lnTo>
                <a:lnTo>
                  <a:pt x="43" y="526"/>
                </a:lnTo>
                <a:lnTo>
                  <a:pt x="52" y="541"/>
                </a:lnTo>
                <a:lnTo>
                  <a:pt x="61" y="555"/>
                </a:lnTo>
                <a:lnTo>
                  <a:pt x="71" y="569"/>
                </a:lnTo>
                <a:lnTo>
                  <a:pt x="82" y="583"/>
                </a:lnTo>
                <a:lnTo>
                  <a:pt x="93" y="596"/>
                </a:lnTo>
                <a:lnTo>
                  <a:pt x="105" y="609"/>
                </a:lnTo>
                <a:lnTo>
                  <a:pt x="117" y="621"/>
                </a:lnTo>
                <a:lnTo>
                  <a:pt x="130" y="631"/>
                </a:lnTo>
                <a:lnTo>
                  <a:pt x="144" y="642"/>
                </a:lnTo>
                <a:lnTo>
                  <a:pt x="158" y="652"/>
                </a:lnTo>
                <a:lnTo>
                  <a:pt x="172" y="661"/>
                </a:lnTo>
                <a:lnTo>
                  <a:pt x="187" y="670"/>
                </a:lnTo>
                <a:lnTo>
                  <a:pt x="203" y="677"/>
                </a:lnTo>
                <a:lnTo>
                  <a:pt x="218" y="685"/>
                </a:lnTo>
                <a:lnTo>
                  <a:pt x="234" y="691"/>
                </a:lnTo>
                <a:lnTo>
                  <a:pt x="251" y="697"/>
                </a:lnTo>
                <a:lnTo>
                  <a:pt x="268" y="702"/>
                </a:lnTo>
                <a:lnTo>
                  <a:pt x="285" y="705"/>
                </a:lnTo>
                <a:lnTo>
                  <a:pt x="303" y="709"/>
                </a:lnTo>
                <a:lnTo>
                  <a:pt x="321" y="711"/>
                </a:lnTo>
                <a:lnTo>
                  <a:pt x="339" y="713"/>
                </a:lnTo>
                <a:lnTo>
                  <a:pt x="357" y="713"/>
                </a:lnTo>
                <a:lnTo>
                  <a:pt x="374" y="713"/>
                </a:lnTo>
                <a:lnTo>
                  <a:pt x="392" y="712"/>
                </a:lnTo>
                <a:lnTo>
                  <a:pt x="408" y="710"/>
                </a:lnTo>
                <a:lnTo>
                  <a:pt x="425" y="706"/>
                </a:lnTo>
                <a:lnTo>
                  <a:pt x="441" y="703"/>
                </a:lnTo>
                <a:lnTo>
                  <a:pt x="457" y="699"/>
                </a:lnTo>
                <a:lnTo>
                  <a:pt x="473" y="693"/>
                </a:lnTo>
                <a:lnTo>
                  <a:pt x="488" y="688"/>
                </a:lnTo>
                <a:lnTo>
                  <a:pt x="503" y="682"/>
                </a:lnTo>
                <a:lnTo>
                  <a:pt x="518" y="674"/>
                </a:lnTo>
                <a:lnTo>
                  <a:pt x="532" y="667"/>
                </a:lnTo>
                <a:lnTo>
                  <a:pt x="547" y="658"/>
                </a:lnTo>
                <a:lnTo>
                  <a:pt x="560" y="650"/>
                </a:lnTo>
                <a:lnTo>
                  <a:pt x="573" y="640"/>
                </a:lnTo>
                <a:lnTo>
                  <a:pt x="586" y="629"/>
                </a:lnTo>
                <a:lnTo>
                  <a:pt x="597" y="618"/>
                </a:lnTo>
                <a:lnTo>
                  <a:pt x="877" y="898"/>
                </a:lnTo>
                <a:lnTo>
                  <a:pt x="879" y="900"/>
                </a:lnTo>
                <a:lnTo>
                  <a:pt x="883" y="901"/>
                </a:lnTo>
                <a:lnTo>
                  <a:pt x="885" y="903"/>
                </a:lnTo>
                <a:lnTo>
                  <a:pt x="888" y="903"/>
                </a:lnTo>
                <a:lnTo>
                  <a:pt x="891" y="903"/>
                </a:lnTo>
                <a:lnTo>
                  <a:pt x="893" y="901"/>
                </a:lnTo>
                <a:lnTo>
                  <a:pt x="897" y="900"/>
                </a:lnTo>
                <a:lnTo>
                  <a:pt x="899" y="898"/>
                </a:lnTo>
                <a:lnTo>
                  <a:pt x="901" y="896"/>
                </a:lnTo>
                <a:lnTo>
                  <a:pt x="902" y="893"/>
                </a:lnTo>
                <a:lnTo>
                  <a:pt x="903" y="891"/>
                </a:lnTo>
                <a:lnTo>
                  <a:pt x="903" y="888"/>
                </a:lnTo>
                <a:lnTo>
                  <a:pt x="903" y="884"/>
                </a:lnTo>
                <a:lnTo>
                  <a:pt x="902" y="882"/>
                </a:lnTo>
                <a:lnTo>
                  <a:pt x="901" y="879"/>
                </a:lnTo>
                <a:lnTo>
                  <a:pt x="899" y="87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rgbClr val="5FAEE3"/>
              </a:solidFill>
            </a:endParaRPr>
          </a:p>
        </p:txBody>
      </p:sp>
      <p:grpSp>
        <p:nvGrpSpPr>
          <p:cNvPr id="271" name="Group 21">
            <a:extLst>
              <a:ext uri="{FF2B5EF4-FFF2-40B4-BE49-F238E27FC236}">
                <a16:creationId xmlns:a16="http://schemas.microsoft.com/office/drawing/2014/main" id="{74827C2B-A0E5-4C2B-992C-CBB5BA290809}"/>
              </a:ext>
            </a:extLst>
          </p:cNvPr>
          <p:cNvGrpSpPr>
            <a:grpSpLocks noChangeAspect="1"/>
          </p:cNvGrpSpPr>
          <p:nvPr/>
        </p:nvGrpSpPr>
        <p:grpSpPr>
          <a:xfrm>
            <a:off x="271814" y="3263433"/>
            <a:ext cx="308350" cy="306482"/>
            <a:chOff x="11028363" y="1930401"/>
            <a:chExt cx="261937" cy="260350"/>
          </a:xfrm>
          <a:solidFill>
            <a:schemeClr val="bg1"/>
          </a:solidFill>
          <a:effectLst/>
        </p:grpSpPr>
        <p:sp>
          <p:nvSpPr>
            <p:cNvPr id="272" name="Freeform 234">
              <a:extLst>
                <a:ext uri="{FF2B5EF4-FFF2-40B4-BE49-F238E27FC236}">
                  <a16:creationId xmlns:a16="http://schemas.microsoft.com/office/drawing/2014/main" id="{C9A2F9F8-A4AA-4D4E-AB2C-DC5B4B72F426}"/>
                </a:ext>
              </a:extLst>
            </p:cNvPr>
            <p:cNvSpPr>
              <a:spLocks/>
            </p:cNvSpPr>
            <p:nvPr/>
          </p:nvSpPr>
          <p:spPr bwMode="auto">
            <a:xfrm>
              <a:off x="11139488" y="1930401"/>
              <a:ext cx="150812" cy="149225"/>
            </a:xfrm>
            <a:custGeom>
              <a:avLst/>
              <a:gdLst>
                <a:gd name="T0" fmla="*/ 337 w 473"/>
                <a:gd name="T1" fmla="*/ 23 h 472"/>
                <a:gd name="T2" fmla="*/ 310 w 473"/>
                <a:gd name="T3" fmla="*/ 7 h 472"/>
                <a:gd name="T4" fmla="*/ 281 w 473"/>
                <a:gd name="T5" fmla="*/ 0 h 472"/>
                <a:gd name="T6" fmla="*/ 250 w 473"/>
                <a:gd name="T7" fmla="*/ 2 h 472"/>
                <a:gd name="T8" fmla="*/ 221 w 473"/>
                <a:gd name="T9" fmla="*/ 12 h 472"/>
                <a:gd name="T10" fmla="*/ 197 w 473"/>
                <a:gd name="T11" fmla="*/ 30 h 472"/>
                <a:gd name="T12" fmla="*/ 11 w 473"/>
                <a:gd name="T13" fmla="*/ 219 h 472"/>
                <a:gd name="T14" fmla="*/ 1 w 473"/>
                <a:gd name="T15" fmla="*/ 242 h 472"/>
                <a:gd name="T16" fmla="*/ 0 w 473"/>
                <a:gd name="T17" fmla="*/ 265 h 472"/>
                <a:gd name="T18" fmla="*/ 7 w 473"/>
                <a:gd name="T19" fmla="*/ 291 h 472"/>
                <a:gd name="T20" fmla="*/ 21 w 473"/>
                <a:gd name="T21" fmla="*/ 315 h 472"/>
                <a:gd name="T22" fmla="*/ 39 w 473"/>
                <a:gd name="T23" fmla="*/ 333 h 472"/>
                <a:gd name="T24" fmla="*/ 46 w 473"/>
                <a:gd name="T25" fmla="*/ 336 h 472"/>
                <a:gd name="T26" fmla="*/ 55 w 473"/>
                <a:gd name="T27" fmla="*/ 333 h 472"/>
                <a:gd name="T28" fmla="*/ 60 w 473"/>
                <a:gd name="T29" fmla="*/ 326 h 472"/>
                <a:gd name="T30" fmla="*/ 61 w 473"/>
                <a:gd name="T31" fmla="*/ 318 h 472"/>
                <a:gd name="T32" fmla="*/ 57 w 473"/>
                <a:gd name="T33" fmla="*/ 310 h 472"/>
                <a:gd name="T34" fmla="*/ 33 w 473"/>
                <a:gd name="T35" fmla="*/ 276 h 472"/>
                <a:gd name="T36" fmla="*/ 30 w 473"/>
                <a:gd name="T37" fmla="*/ 254 h 472"/>
                <a:gd name="T38" fmla="*/ 33 w 473"/>
                <a:gd name="T39" fmla="*/ 239 h 472"/>
                <a:gd name="T40" fmla="*/ 42 w 473"/>
                <a:gd name="T41" fmla="*/ 227 h 472"/>
                <a:gd name="T42" fmla="*/ 229 w 473"/>
                <a:gd name="T43" fmla="*/ 42 h 472"/>
                <a:gd name="T44" fmla="*/ 249 w 473"/>
                <a:gd name="T45" fmla="*/ 33 h 472"/>
                <a:gd name="T46" fmla="*/ 271 w 473"/>
                <a:gd name="T47" fmla="*/ 30 h 472"/>
                <a:gd name="T48" fmla="*/ 292 w 473"/>
                <a:gd name="T49" fmla="*/ 33 h 472"/>
                <a:gd name="T50" fmla="*/ 312 w 473"/>
                <a:gd name="T51" fmla="*/ 42 h 472"/>
                <a:gd name="T52" fmla="*/ 420 w 473"/>
                <a:gd name="T53" fmla="*/ 148 h 472"/>
                <a:gd name="T54" fmla="*/ 434 w 473"/>
                <a:gd name="T55" fmla="*/ 167 h 472"/>
                <a:gd name="T56" fmla="*/ 441 w 473"/>
                <a:gd name="T57" fmla="*/ 187 h 472"/>
                <a:gd name="T58" fmla="*/ 442 w 473"/>
                <a:gd name="T59" fmla="*/ 208 h 472"/>
                <a:gd name="T60" fmla="*/ 436 w 473"/>
                <a:gd name="T61" fmla="*/ 230 h 472"/>
                <a:gd name="T62" fmla="*/ 426 w 473"/>
                <a:gd name="T63" fmla="*/ 249 h 472"/>
                <a:gd name="T64" fmla="*/ 242 w 473"/>
                <a:gd name="T65" fmla="*/ 433 h 472"/>
                <a:gd name="T66" fmla="*/ 229 w 473"/>
                <a:gd name="T67" fmla="*/ 440 h 472"/>
                <a:gd name="T68" fmla="*/ 214 w 473"/>
                <a:gd name="T69" fmla="*/ 443 h 472"/>
                <a:gd name="T70" fmla="*/ 197 w 473"/>
                <a:gd name="T71" fmla="*/ 439 h 472"/>
                <a:gd name="T72" fmla="*/ 173 w 473"/>
                <a:gd name="T73" fmla="*/ 425 h 472"/>
                <a:gd name="T74" fmla="*/ 156 w 473"/>
                <a:gd name="T75" fmla="*/ 412 h 472"/>
                <a:gd name="T76" fmla="*/ 149 w 473"/>
                <a:gd name="T77" fmla="*/ 410 h 472"/>
                <a:gd name="T78" fmla="*/ 140 w 473"/>
                <a:gd name="T79" fmla="*/ 415 h 472"/>
                <a:gd name="T80" fmla="*/ 136 w 473"/>
                <a:gd name="T81" fmla="*/ 422 h 472"/>
                <a:gd name="T82" fmla="*/ 137 w 473"/>
                <a:gd name="T83" fmla="*/ 431 h 472"/>
                <a:gd name="T84" fmla="*/ 148 w 473"/>
                <a:gd name="T85" fmla="*/ 444 h 472"/>
                <a:gd name="T86" fmla="*/ 172 w 473"/>
                <a:gd name="T87" fmla="*/ 460 h 472"/>
                <a:gd name="T88" fmla="*/ 197 w 473"/>
                <a:gd name="T89" fmla="*/ 470 h 472"/>
                <a:gd name="T90" fmla="*/ 216 w 473"/>
                <a:gd name="T91" fmla="*/ 472 h 472"/>
                <a:gd name="T92" fmla="*/ 236 w 473"/>
                <a:gd name="T93" fmla="*/ 469 h 472"/>
                <a:gd name="T94" fmla="*/ 256 w 473"/>
                <a:gd name="T95" fmla="*/ 460 h 472"/>
                <a:gd name="T96" fmla="*/ 442 w 473"/>
                <a:gd name="T97" fmla="*/ 276 h 472"/>
                <a:gd name="T98" fmla="*/ 460 w 473"/>
                <a:gd name="T99" fmla="*/ 250 h 472"/>
                <a:gd name="T100" fmla="*/ 471 w 473"/>
                <a:gd name="T101" fmla="*/ 222 h 472"/>
                <a:gd name="T102" fmla="*/ 472 w 473"/>
                <a:gd name="T103" fmla="*/ 191 h 472"/>
                <a:gd name="T104" fmla="*/ 464 w 473"/>
                <a:gd name="T105" fmla="*/ 161 h 472"/>
                <a:gd name="T106" fmla="*/ 449 w 473"/>
                <a:gd name="T107" fmla="*/ 13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3" h="472">
                  <a:moveTo>
                    <a:pt x="442" y="127"/>
                  </a:moveTo>
                  <a:lnTo>
                    <a:pt x="344" y="30"/>
                  </a:lnTo>
                  <a:lnTo>
                    <a:pt x="337" y="23"/>
                  </a:lnTo>
                  <a:lnTo>
                    <a:pt x="328" y="17"/>
                  </a:lnTo>
                  <a:lnTo>
                    <a:pt x="320" y="12"/>
                  </a:lnTo>
                  <a:lnTo>
                    <a:pt x="310" y="7"/>
                  </a:lnTo>
                  <a:lnTo>
                    <a:pt x="301" y="4"/>
                  </a:lnTo>
                  <a:lnTo>
                    <a:pt x="291" y="2"/>
                  </a:lnTo>
                  <a:lnTo>
                    <a:pt x="281" y="0"/>
                  </a:lnTo>
                  <a:lnTo>
                    <a:pt x="271" y="0"/>
                  </a:lnTo>
                  <a:lnTo>
                    <a:pt x="260" y="0"/>
                  </a:lnTo>
                  <a:lnTo>
                    <a:pt x="250" y="2"/>
                  </a:lnTo>
                  <a:lnTo>
                    <a:pt x="240" y="4"/>
                  </a:lnTo>
                  <a:lnTo>
                    <a:pt x="230" y="7"/>
                  </a:lnTo>
                  <a:lnTo>
                    <a:pt x="221" y="12"/>
                  </a:lnTo>
                  <a:lnTo>
                    <a:pt x="213" y="17"/>
                  </a:lnTo>
                  <a:lnTo>
                    <a:pt x="204" y="23"/>
                  </a:lnTo>
                  <a:lnTo>
                    <a:pt x="197" y="30"/>
                  </a:lnTo>
                  <a:lnTo>
                    <a:pt x="21" y="205"/>
                  </a:lnTo>
                  <a:lnTo>
                    <a:pt x="15" y="212"/>
                  </a:lnTo>
                  <a:lnTo>
                    <a:pt x="11" y="219"/>
                  </a:lnTo>
                  <a:lnTo>
                    <a:pt x="6" y="225"/>
                  </a:lnTo>
                  <a:lnTo>
                    <a:pt x="3" y="233"/>
                  </a:lnTo>
                  <a:lnTo>
                    <a:pt x="1" y="242"/>
                  </a:lnTo>
                  <a:lnTo>
                    <a:pt x="0" y="249"/>
                  </a:lnTo>
                  <a:lnTo>
                    <a:pt x="0" y="258"/>
                  </a:lnTo>
                  <a:lnTo>
                    <a:pt x="0" y="265"/>
                  </a:lnTo>
                  <a:lnTo>
                    <a:pt x="1" y="274"/>
                  </a:lnTo>
                  <a:lnTo>
                    <a:pt x="4" y="282"/>
                  </a:lnTo>
                  <a:lnTo>
                    <a:pt x="7" y="291"/>
                  </a:lnTo>
                  <a:lnTo>
                    <a:pt x="11" y="299"/>
                  </a:lnTo>
                  <a:lnTo>
                    <a:pt x="16" y="307"/>
                  </a:lnTo>
                  <a:lnTo>
                    <a:pt x="21" y="315"/>
                  </a:lnTo>
                  <a:lnTo>
                    <a:pt x="29" y="324"/>
                  </a:lnTo>
                  <a:lnTo>
                    <a:pt x="36" y="331"/>
                  </a:lnTo>
                  <a:lnTo>
                    <a:pt x="39" y="333"/>
                  </a:lnTo>
                  <a:lnTo>
                    <a:pt x="41" y="335"/>
                  </a:lnTo>
                  <a:lnTo>
                    <a:pt x="44" y="336"/>
                  </a:lnTo>
                  <a:lnTo>
                    <a:pt x="46" y="336"/>
                  </a:lnTo>
                  <a:lnTo>
                    <a:pt x="49" y="336"/>
                  </a:lnTo>
                  <a:lnTo>
                    <a:pt x="52" y="335"/>
                  </a:lnTo>
                  <a:lnTo>
                    <a:pt x="55" y="333"/>
                  </a:lnTo>
                  <a:lnTo>
                    <a:pt x="57" y="331"/>
                  </a:lnTo>
                  <a:lnTo>
                    <a:pt x="59" y="329"/>
                  </a:lnTo>
                  <a:lnTo>
                    <a:pt x="60" y="326"/>
                  </a:lnTo>
                  <a:lnTo>
                    <a:pt x="61" y="324"/>
                  </a:lnTo>
                  <a:lnTo>
                    <a:pt x="61" y="321"/>
                  </a:lnTo>
                  <a:lnTo>
                    <a:pt x="61" y="318"/>
                  </a:lnTo>
                  <a:lnTo>
                    <a:pt x="60" y="315"/>
                  </a:lnTo>
                  <a:lnTo>
                    <a:pt x="59" y="313"/>
                  </a:lnTo>
                  <a:lnTo>
                    <a:pt x="57" y="310"/>
                  </a:lnTo>
                  <a:lnTo>
                    <a:pt x="47" y="299"/>
                  </a:lnTo>
                  <a:lnTo>
                    <a:pt x="40" y="287"/>
                  </a:lnTo>
                  <a:lnTo>
                    <a:pt x="33" y="276"/>
                  </a:lnTo>
                  <a:lnTo>
                    <a:pt x="30" y="265"/>
                  </a:lnTo>
                  <a:lnTo>
                    <a:pt x="30" y="260"/>
                  </a:lnTo>
                  <a:lnTo>
                    <a:pt x="30" y="254"/>
                  </a:lnTo>
                  <a:lnTo>
                    <a:pt x="30" y="249"/>
                  </a:lnTo>
                  <a:lnTo>
                    <a:pt x="31" y="245"/>
                  </a:lnTo>
                  <a:lnTo>
                    <a:pt x="33" y="239"/>
                  </a:lnTo>
                  <a:lnTo>
                    <a:pt x="35" y="235"/>
                  </a:lnTo>
                  <a:lnTo>
                    <a:pt x="39" y="231"/>
                  </a:lnTo>
                  <a:lnTo>
                    <a:pt x="42" y="227"/>
                  </a:lnTo>
                  <a:lnTo>
                    <a:pt x="218" y="51"/>
                  </a:lnTo>
                  <a:lnTo>
                    <a:pt x="224" y="46"/>
                  </a:lnTo>
                  <a:lnTo>
                    <a:pt x="229" y="42"/>
                  </a:lnTo>
                  <a:lnTo>
                    <a:pt x="235" y="38"/>
                  </a:lnTo>
                  <a:lnTo>
                    <a:pt x="242" y="35"/>
                  </a:lnTo>
                  <a:lnTo>
                    <a:pt x="249" y="33"/>
                  </a:lnTo>
                  <a:lnTo>
                    <a:pt x="256" y="31"/>
                  </a:lnTo>
                  <a:lnTo>
                    <a:pt x="263" y="30"/>
                  </a:lnTo>
                  <a:lnTo>
                    <a:pt x="271" y="30"/>
                  </a:lnTo>
                  <a:lnTo>
                    <a:pt x="278" y="30"/>
                  </a:lnTo>
                  <a:lnTo>
                    <a:pt x="286" y="31"/>
                  </a:lnTo>
                  <a:lnTo>
                    <a:pt x="292" y="33"/>
                  </a:lnTo>
                  <a:lnTo>
                    <a:pt x="300" y="35"/>
                  </a:lnTo>
                  <a:lnTo>
                    <a:pt x="306" y="38"/>
                  </a:lnTo>
                  <a:lnTo>
                    <a:pt x="312" y="42"/>
                  </a:lnTo>
                  <a:lnTo>
                    <a:pt x="318" y="46"/>
                  </a:lnTo>
                  <a:lnTo>
                    <a:pt x="323" y="51"/>
                  </a:lnTo>
                  <a:lnTo>
                    <a:pt x="420" y="148"/>
                  </a:lnTo>
                  <a:lnTo>
                    <a:pt x="426" y="154"/>
                  </a:lnTo>
                  <a:lnTo>
                    <a:pt x="430" y="160"/>
                  </a:lnTo>
                  <a:lnTo>
                    <a:pt x="434" y="167"/>
                  </a:lnTo>
                  <a:lnTo>
                    <a:pt x="436" y="173"/>
                  </a:lnTo>
                  <a:lnTo>
                    <a:pt x="440" y="179"/>
                  </a:lnTo>
                  <a:lnTo>
                    <a:pt x="441" y="187"/>
                  </a:lnTo>
                  <a:lnTo>
                    <a:pt x="442" y="194"/>
                  </a:lnTo>
                  <a:lnTo>
                    <a:pt x="443" y="201"/>
                  </a:lnTo>
                  <a:lnTo>
                    <a:pt x="442" y="208"/>
                  </a:lnTo>
                  <a:lnTo>
                    <a:pt x="441" y="216"/>
                  </a:lnTo>
                  <a:lnTo>
                    <a:pt x="440" y="223"/>
                  </a:lnTo>
                  <a:lnTo>
                    <a:pt x="436" y="230"/>
                  </a:lnTo>
                  <a:lnTo>
                    <a:pt x="434" y="236"/>
                  </a:lnTo>
                  <a:lnTo>
                    <a:pt x="430" y="243"/>
                  </a:lnTo>
                  <a:lnTo>
                    <a:pt x="426" y="249"/>
                  </a:lnTo>
                  <a:lnTo>
                    <a:pt x="420" y="254"/>
                  </a:lnTo>
                  <a:lnTo>
                    <a:pt x="245" y="430"/>
                  </a:lnTo>
                  <a:lnTo>
                    <a:pt x="242" y="433"/>
                  </a:lnTo>
                  <a:lnTo>
                    <a:pt x="237" y="436"/>
                  </a:lnTo>
                  <a:lnTo>
                    <a:pt x="233" y="438"/>
                  </a:lnTo>
                  <a:lnTo>
                    <a:pt x="229" y="440"/>
                  </a:lnTo>
                  <a:lnTo>
                    <a:pt x="224" y="441"/>
                  </a:lnTo>
                  <a:lnTo>
                    <a:pt x="219" y="443"/>
                  </a:lnTo>
                  <a:lnTo>
                    <a:pt x="214" y="443"/>
                  </a:lnTo>
                  <a:lnTo>
                    <a:pt x="209" y="441"/>
                  </a:lnTo>
                  <a:lnTo>
                    <a:pt x="203" y="440"/>
                  </a:lnTo>
                  <a:lnTo>
                    <a:pt x="197" y="439"/>
                  </a:lnTo>
                  <a:lnTo>
                    <a:pt x="191" y="436"/>
                  </a:lnTo>
                  <a:lnTo>
                    <a:pt x="185" y="433"/>
                  </a:lnTo>
                  <a:lnTo>
                    <a:pt x="173" y="425"/>
                  </a:lnTo>
                  <a:lnTo>
                    <a:pt x="162" y="415"/>
                  </a:lnTo>
                  <a:lnTo>
                    <a:pt x="159" y="413"/>
                  </a:lnTo>
                  <a:lnTo>
                    <a:pt x="156" y="412"/>
                  </a:lnTo>
                  <a:lnTo>
                    <a:pt x="154" y="410"/>
                  </a:lnTo>
                  <a:lnTo>
                    <a:pt x="151" y="410"/>
                  </a:lnTo>
                  <a:lnTo>
                    <a:pt x="149" y="410"/>
                  </a:lnTo>
                  <a:lnTo>
                    <a:pt x="145" y="412"/>
                  </a:lnTo>
                  <a:lnTo>
                    <a:pt x="142" y="413"/>
                  </a:lnTo>
                  <a:lnTo>
                    <a:pt x="140" y="415"/>
                  </a:lnTo>
                  <a:lnTo>
                    <a:pt x="139" y="417"/>
                  </a:lnTo>
                  <a:lnTo>
                    <a:pt x="137" y="420"/>
                  </a:lnTo>
                  <a:lnTo>
                    <a:pt x="136" y="422"/>
                  </a:lnTo>
                  <a:lnTo>
                    <a:pt x="136" y="425"/>
                  </a:lnTo>
                  <a:lnTo>
                    <a:pt x="136" y="429"/>
                  </a:lnTo>
                  <a:lnTo>
                    <a:pt x="137" y="431"/>
                  </a:lnTo>
                  <a:lnTo>
                    <a:pt x="139" y="434"/>
                  </a:lnTo>
                  <a:lnTo>
                    <a:pt x="140" y="436"/>
                  </a:lnTo>
                  <a:lnTo>
                    <a:pt x="148" y="444"/>
                  </a:lnTo>
                  <a:lnTo>
                    <a:pt x="156" y="450"/>
                  </a:lnTo>
                  <a:lnTo>
                    <a:pt x="164" y="455"/>
                  </a:lnTo>
                  <a:lnTo>
                    <a:pt x="172" y="460"/>
                  </a:lnTo>
                  <a:lnTo>
                    <a:pt x="180" y="464"/>
                  </a:lnTo>
                  <a:lnTo>
                    <a:pt x="188" y="467"/>
                  </a:lnTo>
                  <a:lnTo>
                    <a:pt x="197" y="470"/>
                  </a:lnTo>
                  <a:lnTo>
                    <a:pt x="204" y="471"/>
                  </a:lnTo>
                  <a:lnTo>
                    <a:pt x="210" y="472"/>
                  </a:lnTo>
                  <a:lnTo>
                    <a:pt x="216" y="472"/>
                  </a:lnTo>
                  <a:lnTo>
                    <a:pt x="223" y="471"/>
                  </a:lnTo>
                  <a:lnTo>
                    <a:pt x="230" y="470"/>
                  </a:lnTo>
                  <a:lnTo>
                    <a:pt x="236" y="469"/>
                  </a:lnTo>
                  <a:lnTo>
                    <a:pt x="243" y="467"/>
                  </a:lnTo>
                  <a:lnTo>
                    <a:pt x="249" y="464"/>
                  </a:lnTo>
                  <a:lnTo>
                    <a:pt x="256" y="460"/>
                  </a:lnTo>
                  <a:lnTo>
                    <a:pt x="261" y="455"/>
                  </a:lnTo>
                  <a:lnTo>
                    <a:pt x="266" y="451"/>
                  </a:lnTo>
                  <a:lnTo>
                    <a:pt x="442" y="276"/>
                  </a:lnTo>
                  <a:lnTo>
                    <a:pt x="449" y="267"/>
                  </a:lnTo>
                  <a:lnTo>
                    <a:pt x="455" y="260"/>
                  </a:lnTo>
                  <a:lnTo>
                    <a:pt x="460" y="250"/>
                  </a:lnTo>
                  <a:lnTo>
                    <a:pt x="464" y="242"/>
                  </a:lnTo>
                  <a:lnTo>
                    <a:pt x="469" y="232"/>
                  </a:lnTo>
                  <a:lnTo>
                    <a:pt x="471" y="222"/>
                  </a:lnTo>
                  <a:lnTo>
                    <a:pt x="472" y="212"/>
                  </a:lnTo>
                  <a:lnTo>
                    <a:pt x="473" y="201"/>
                  </a:lnTo>
                  <a:lnTo>
                    <a:pt x="472" y="191"/>
                  </a:lnTo>
                  <a:lnTo>
                    <a:pt x="471" y="181"/>
                  </a:lnTo>
                  <a:lnTo>
                    <a:pt x="469" y="171"/>
                  </a:lnTo>
                  <a:lnTo>
                    <a:pt x="464" y="161"/>
                  </a:lnTo>
                  <a:lnTo>
                    <a:pt x="460" y="152"/>
                  </a:lnTo>
                  <a:lnTo>
                    <a:pt x="455" y="143"/>
                  </a:lnTo>
                  <a:lnTo>
                    <a:pt x="449" y="135"/>
                  </a:lnTo>
                  <a:lnTo>
                    <a:pt x="44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73" name="Freeform 235">
              <a:extLst>
                <a:ext uri="{FF2B5EF4-FFF2-40B4-BE49-F238E27FC236}">
                  <a16:creationId xmlns:a16="http://schemas.microsoft.com/office/drawing/2014/main" id="{B1EB598D-4EE6-4DDF-B126-8C0B8F13C6FB}"/>
                </a:ext>
              </a:extLst>
            </p:cNvPr>
            <p:cNvSpPr>
              <a:spLocks/>
            </p:cNvSpPr>
            <p:nvPr/>
          </p:nvSpPr>
          <p:spPr bwMode="auto">
            <a:xfrm>
              <a:off x="11028363" y="2039938"/>
              <a:ext cx="150812" cy="150813"/>
            </a:xfrm>
            <a:custGeom>
              <a:avLst/>
              <a:gdLst>
                <a:gd name="T0" fmla="*/ 412 w 473"/>
                <a:gd name="T1" fmla="*/ 147 h 473"/>
                <a:gd name="T2" fmla="*/ 412 w 473"/>
                <a:gd name="T3" fmla="*/ 155 h 473"/>
                <a:gd name="T4" fmla="*/ 415 w 473"/>
                <a:gd name="T5" fmla="*/ 163 h 473"/>
                <a:gd name="T6" fmla="*/ 439 w 473"/>
                <a:gd name="T7" fmla="*/ 197 h 473"/>
                <a:gd name="T8" fmla="*/ 443 w 473"/>
                <a:gd name="T9" fmla="*/ 219 h 473"/>
                <a:gd name="T10" fmla="*/ 440 w 473"/>
                <a:gd name="T11" fmla="*/ 234 h 473"/>
                <a:gd name="T12" fmla="*/ 430 w 473"/>
                <a:gd name="T13" fmla="*/ 246 h 473"/>
                <a:gd name="T14" fmla="*/ 245 w 473"/>
                <a:gd name="T15" fmla="*/ 431 h 473"/>
                <a:gd name="T16" fmla="*/ 226 w 473"/>
                <a:gd name="T17" fmla="*/ 440 h 473"/>
                <a:gd name="T18" fmla="*/ 203 w 473"/>
                <a:gd name="T19" fmla="*/ 443 h 473"/>
                <a:gd name="T20" fmla="*/ 182 w 473"/>
                <a:gd name="T21" fmla="*/ 440 h 473"/>
                <a:gd name="T22" fmla="*/ 163 w 473"/>
                <a:gd name="T23" fmla="*/ 431 h 473"/>
                <a:gd name="T24" fmla="*/ 52 w 473"/>
                <a:gd name="T25" fmla="*/ 322 h 473"/>
                <a:gd name="T26" fmla="*/ 39 w 473"/>
                <a:gd name="T27" fmla="*/ 305 h 473"/>
                <a:gd name="T28" fmla="*/ 31 w 473"/>
                <a:gd name="T29" fmla="*/ 285 h 473"/>
                <a:gd name="T30" fmla="*/ 30 w 473"/>
                <a:gd name="T31" fmla="*/ 262 h 473"/>
                <a:gd name="T32" fmla="*/ 36 w 473"/>
                <a:gd name="T33" fmla="*/ 241 h 473"/>
                <a:gd name="T34" fmla="*/ 47 w 473"/>
                <a:gd name="T35" fmla="*/ 223 h 473"/>
                <a:gd name="T36" fmla="*/ 232 w 473"/>
                <a:gd name="T37" fmla="*/ 39 h 473"/>
                <a:gd name="T38" fmla="*/ 248 w 473"/>
                <a:gd name="T39" fmla="*/ 31 h 473"/>
                <a:gd name="T40" fmla="*/ 264 w 473"/>
                <a:gd name="T41" fmla="*/ 31 h 473"/>
                <a:gd name="T42" fmla="*/ 291 w 473"/>
                <a:gd name="T43" fmla="*/ 42 h 473"/>
                <a:gd name="T44" fmla="*/ 314 w 473"/>
                <a:gd name="T45" fmla="*/ 60 h 473"/>
                <a:gd name="T46" fmla="*/ 322 w 473"/>
                <a:gd name="T47" fmla="*/ 62 h 473"/>
                <a:gd name="T48" fmla="*/ 330 w 473"/>
                <a:gd name="T49" fmla="*/ 60 h 473"/>
                <a:gd name="T50" fmla="*/ 335 w 473"/>
                <a:gd name="T51" fmla="*/ 53 h 473"/>
                <a:gd name="T52" fmla="*/ 336 w 473"/>
                <a:gd name="T53" fmla="*/ 44 h 473"/>
                <a:gd name="T54" fmla="*/ 332 w 473"/>
                <a:gd name="T55" fmla="*/ 37 h 473"/>
                <a:gd name="T56" fmla="*/ 308 w 473"/>
                <a:gd name="T57" fmla="*/ 18 h 473"/>
                <a:gd name="T58" fmla="*/ 283 w 473"/>
                <a:gd name="T59" fmla="*/ 5 h 473"/>
                <a:gd name="T60" fmla="*/ 258 w 473"/>
                <a:gd name="T61" fmla="*/ 0 h 473"/>
                <a:gd name="T62" fmla="*/ 234 w 473"/>
                <a:gd name="T63" fmla="*/ 5 h 473"/>
                <a:gd name="T64" fmla="*/ 213 w 473"/>
                <a:gd name="T65" fmla="*/ 16 h 473"/>
                <a:gd name="T66" fmla="*/ 24 w 473"/>
                <a:gd name="T67" fmla="*/ 204 h 473"/>
                <a:gd name="T68" fmla="*/ 9 w 473"/>
                <a:gd name="T69" fmla="*/ 229 h 473"/>
                <a:gd name="T70" fmla="*/ 1 w 473"/>
                <a:gd name="T71" fmla="*/ 259 h 473"/>
                <a:gd name="T72" fmla="*/ 2 w 473"/>
                <a:gd name="T73" fmla="*/ 290 h 473"/>
                <a:gd name="T74" fmla="*/ 12 w 473"/>
                <a:gd name="T75" fmla="*/ 319 h 473"/>
                <a:gd name="T76" fmla="*/ 31 w 473"/>
                <a:gd name="T77" fmla="*/ 344 h 473"/>
                <a:gd name="T78" fmla="*/ 146 w 473"/>
                <a:gd name="T79" fmla="*/ 456 h 473"/>
                <a:gd name="T80" fmla="*/ 174 w 473"/>
                <a:gd name="T81" fmla="*/ 469 h 473"/>
                <a:gd name="T82" fmla="*/ 203 w 473"/>
                <a:gd name="T83" fmla="*/ 473 h 473"/>
                <a:gd name="T84" fmla="*/ 214 w 473"/>
                <a:gd name="T85" fmla="*/ 473 h 473"/>
                <a:gd name="T86" fmla="*/ 244 w 473"/>
                <a:gd name="T87" fmla="*/ 466 h 473"/>
                <a:gd name="T88" fmla="*/ 270 w 473"/>
                <a:gd name="T89" fmla="*/ 450 h 473"/>
                <a:gd name="T90" fmla="*/ 458 w 473"/>
                <a:gd name="T91" fmla="*/ 260 h 473"/>
                <a:gd name="T92" fmla="*/ 470 w 473"/>
                <a:gd name="T93" fmla="*/ 240 h 473"/>
                <a:gd name="T94" fmla="*/ 473 w 473"/>
                <a:gd name="T95" fmla="*/ 216 h 473"/>
                <a:gd name="T96" fmla="*/ 469 w 473"/>
                <a:gd name="T97" fmla="*/ 191 h 473"/>
                <a:gd name="T98" fmla="*/ 457 w 473"/>
                <a:gd name="T99" fmla="*/ 166 h 473"/>
                <a:gd name="T100" fmla="*/ 437 w 473"/>
                <a:gd name="T101" fmla="*/ 142 h 473"/>
                <a:gd name="T102" fmla="*/ 429 w 473"/>
                <a:gd name="T103" fmla="*/ 137 h 473"/>
                <a:gd name="T104" fmla="*/ 421 w 473"/>
                <a:gd name="T105" fmla="*/ 138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3" h="473">
                  <a:moveTo>
                    <a:pt x="415" y="142"/>
                  </a:moveTo>
                  <a:lnTo>
                    <a:pt x="414" y="144"/>
                  </a:lnTo>
                  <a:lnTo>
                    <a:pt x="412" y="147"/>
                  </a:lnTo>
                  <a:lnTo>
                    <a:pt x="412" y="149"/>
                  </a:lnTo>
                  <a:lnTo>
                    <a:pt x="411" y="152"/>
                  </a:lnTo>
                  <a:lnTo>
                    <a:pt x="412" y="155"/>
                  </a:lnTo>
                  <a:lnTo>
                    <a:pt x="412" y="158"/>
                  </a:lnTo>
                  <a:lnTo>
                    <a:pt x="414" y="161"/>
                  </a:lnTo>
                  <a:lnTo>
                    <a:pt x="415" y="163"/>
                  </a:lnTo>
                  <a:lnTo>
                    <a:pt x="426" y="174"/>
                  </a:lnTo>
                  <a:lnTo>
                    <a:pt x="433" y="185"/>
                  </a:lnTo>
                  <a:lnTo>
                    <a:pt x="439" y="197"/>
                  </a:lnTo>
                  <a:lnTo>
                    <a:pt x="442" y="208"/>
                  </a:lnTo>
                  <a:lnTo>
                    <a:pt x="443" y="213"/>
                  </a:lnTo>
                  <a:lnTo>
                    <a:pt x="443" y="219"/>
                  </a:lnTo>
                  <a:lnTo>
                    <a:pt x="442" y="224"/>
                  </a:lnTo>
                  <a:lnTo>
                    <a:pt x="441" y="228"/>
                  </a:lnTo>
                  <a:lnTo>
                    <a:pt x="440" y="234"/>
                  </a:lnTo>
                  <a:lnTo>
                    <a:pt x="438" y="238"/>
                  </a:lnTo>
                  <a:lnTo>
                    <a:pt x="435" y="242"/>
                  </a:lnTo>
                  <a:lnTo>
                    <a:pt x="430" y="246"/>
                  </a:lnTo>
                  <a:lnTo>
                    <a:pt x="257" y="422"/>
                  </a:lnTo>
                  <a:lnTo>
                    <a:pt x="252" y="426"/>
                  </a:lnTo>
                  <a:lnTo>
                    <a:pt x="245" y="431"/>
                  </a:lnTo>
                  <a:lnTo>
                    <a:pt x="239" y="435"/>
                  </a:lnTo>
                  <a:lnTo>
                    <a:pt x="232" y="438"/>
                  </a:lnTo>
                  <a:lnTo>
                    <a:pt x="226" y="440"/>
                  </a:lnTo>
                  <a:lnTo>
                    <a:pt x="218" y="442"/>
                  </a:lnTo>
                  <a:lnTo>
                    <a:pt x="211" y="443"/>
                  </a:lnTo>
                  <a:lnTo>
                    <a:pt x="203" y="443"/>
                  </a:lnTo>
                  <a:lnTo>
                    <a:pt x="197" y="443"/>
                  </a:lnTo>
                  <a:lnTo>
                    <a:pt x="190" y="442"/>
                  </a:lnTo>
                  <a:lnTo>
                    <a:pt x="182" y="440"/>
                  </a:lnTo>
                  <a:lnTo>
                    <a:pt x="176" y="438"/>
                  </a:lnTo>
                  <a:lnTo>
                    <a:pt x="169" y="435"/>
                  </a:lnTo>
                  <a:lnTo>
                    <a:pt x="163" y="431"/>
                  </a:lnTo>
                  <a:lnTo>
                    <a:pt x="156" y="427"/>
                  </a:lnTo>
                  <a:lnTo>
                    <a:pt x="151" y="422"/>
                  </a:lnTo>
                  <a:lnTo>
                    <a:pt x="52" y="322"/>
                  </a:lnTo>
                  <a:lnTo>
                    <a:pt x="47" y="317"/>
                  </a:lnTo>
                  <a:lnTo>
                    <a:pt x="43" y="312"/>
                  </a:lnTo>
                  <a:lnTo>
                    <a:pt x="39" y="305"/>
                  </a:lnTo>
                  <a:lnTo>
                    <a:pt x="36" y="299"/>
                  </a:lnTo>
                  <a:lnTo>
                    <a:pt x="33" y="291"/>
                  </a:lnTo>
                  <a:lnTo>
                    <a:pt x="31" y="285"/>
                  </a:lnTo>
                  <a:lnTo>
                    <a:pt x="30" y="277"/>
                  </a:lnTo>
                  <a:lnTo>
                    <a:pt x="30" y="270"/>
                  </a:lnTo>
                  <a:lnTo>
                    <a:pt x="30" y="262"/>
                  </a:lnTo>
                  <a:lnTo>
                    <a:pt x="31" y="255"/>
                  </a:lnTo>
                  <a:lnTo>
                    <a:pt x="33" y="249"/>
                  </a:lnTo>
                  <a:lnTo>
                    <a:pt x="36" y="241"/>
                  </a:lnTo>
                  <a:lnTo>
                    <a:pt x="39" y="235"/>
                  </a:lnTo>
                  <a:lnTo>
                    <a:pt x="43" y="228"/>
                  </a:lnTo>
                  <a:lnTo>
                    <a:pt x="47" y="223"/>
                  </a:lnTo>
                  <a:lnTo>
                    <a:pt x="53" y="218"/>
                  </a:lnTo>
                  <a:lnTo>
                    <a:pt x="228" y="43"/>
                  </a:lnTo>
                  <a:lnTo>
                    <a:pt x="232" y="39"/>
                  </a:lnTo>
                  <a:lnTo>
                    <a:pt x="238" y="36"/>
                  </a:lnTo>
                  <a:lnTo>
                    <a:pt x="243" y="34"/>
                  </a:lnTo>
                  <a:lnTo>
                    <a:pt x="248" y="31"/>
                  </a:lnTo>
                  <a:lnTo>
                    <a:pt x="254" y="30"/>
                  </a:lnTo>
                  <a:lnTo>
                    <a:pt x="259" y="30"/>
                  </a:lnTo>
                  <a:lnTo>
                    <a:pt x="264" y="31"/>
                  </a:lnTo>
                  <a:lnTo>
                    <a:pt x="270" y="33"/>
                  </a:lnTo>
                  <a:lnTo>
                    <a:pt x="280" y="37"/>
                  </a:lnTo>
                  <a:lnTo>
                    <a:pt x="291" y="42"/>
                  </a:lnTo>
                  <a:lnTo>
                    <a:pt x="302" y="50"/>
                  </a:lnTo>
                  <a:lnTo>
                    <a:pt x="312" y="58"/>
                  </a:lnTo>
                  <a:lnTo>
                    <a:pt x="314" y="60"/>
                  </a:lnTo>
                  <a:lnTo>
                    <a:pt x="316" y="61"/>
                  </a:lnTo>
                  <a:lnTo>
                    <a:pt x="319" y="62"/>
                  </a:lnTo>
                  <a:lnTo>
                    <a:pt x="322" y="62"/>
                  </a:lnTo>
                  <a:lnTo>
                    <a:pt x="324" y="62"/>
                  </a:lnTo>
                  <a:lnTo>
                    <a:pt x="328" y="61"/>
                  </a:lnTo>
                  <a:lnTo>
                    <a:pt x="330" y="60"/>
                  </a:lnTo>
                  <a:lnTo>
                    <a:pt x="332" y="58"/>
                  </a:lnTo>
                  <a:lnTo>
                    <a:pt x="334" y="56"/>
                  </a:lnTo>
                  <a:lnTo>
                    <a:pt x="335" y="53"/>
                  </a:lnTo>
                  <a:lnTo>
                    <a:pt x="336" y="51"/>
                  </a:lnTo>
                  <a:lnTo>
                    <a:pt x="336" y="47"/>
                  </a:lnTo>
                  <a:lnTo>
                    <a:pt x="336" y="44"/>
                  </a:lnTo>
                  <a:lnTo>
                    <a:pt x="335" y="42"/>
                  </a:lnTo>
                  <a:lnTo>
                    <a:pt x="334" y="39"/>
                  </a:lnTo>
                  <a:lnTo>
                    <a:pt x="332" y="37"/>
                  </a:lnTo>
                  <a:lnTo>
                    <a:pt x="324" y="29"/>
                  </a:lnTo>
                  <a:lnTo>
                    <a:pt x="316" y="23"/>
                  </a:lnTo>
                  <a:lnTo>
                    <a:pt x="308" y="18"/>
                  </a:lnTo>
                  <a:lnTo>
                    <a:pt x="300" y="12"/>
                  </a:lnTo>
                  <a:lnTo>
                    <a:pt x="291" y="8"/>
                  </a:lnTo>
                  <a:lnTo>
                    <a:pt x="283" y="5"/>
                  </a:lnTo>
                  <a:lnTo>
                    <a:pt x="274" y="3"/>
                  </a:lnTo>
                  <a:lnTo>
                    <a:pt x="266" y="2"/>
                  </a:lnTo>
                  <a:lnTo>
                    <a:pt x="258" y="0"/>
                  </a:lnTo>
                  <a:lnTo>
                    <a:pt x="249" y="2"/>
                  </a:lnTo>
                  <a:lnTo>
                    <a:pt x="242" y="3"/>
                  </a:lnTo>
                  <a:lnTo>
                    <a:pt x="234" y="5"/>
                  </a:lnTo>
                  <a:lnTo>
                    <a:pt x="227" y="8"/>
                  </a:lnTo>
                  <a:lnTo>
                    <a:pt x="220" y="11"/>
                  </a:lnTo>
                  <a:lnTo>
                    <a:pt x="213" y="16"/>
                  </a:lnTo>
                  <a:lnTo>
                    <a:pt x="207" y="22"/>
                  </a:lnTo>
                  <a:lnTo>
                    <a:pt x="31" y="196"/>
                  </a:lnTo>
                  <a:lnTo>
                    <a:pt x="24" y="204"/>
                  </a:lnTo>
                  <a:lnTo>
                    <a:pt x="18" y="212"/>
                  </a:lnTo>
                  <a:lnTo>
                    <a:pt x="13" y="221"/>
                  </a:lnTo>
                  <a:lnTo>
                    <a:pt x="9" y="229"/>
                  </a:lnTo>
                  <a:lnTo>
                    <a:pt x="5" y="239"/>
                  </a:lnTo>
                  <a:lnTo>
                    <a:pt x="2" y="250"/>
                  </a:lnTo>
                  <a:lnTo>
                    <a:pt x="1" y="259"/>
                  </a:lnTo>
                  <a:lnTo>
                    <a:pt x="0" y="270"/>
                  </a:lnTo>
                  <a:lnTo>
                    <a:pt x="1" y="281"/>
                  </a:lnTo>
                  <a:lnTo>
                    <a:pt x="2" y="290"/>
                  </a:lnTo>
                  <a:lnTo>
                    <a:pt x="5" y="300"/>
                  </a:lnTo>
                  <a:lnTo>
                    <a:pt x="8" y="309"/>
                  </a:lnTo>
                  <a:lnTo>
                    <a:pt x="12" y="319"/>
                  </a:lnTo>
                  <a:lnTo>
                    <a:pt x="17" y="328"/>
                  </a:lnTo>
                  <a:lnTo>
                    <a:pt x="24" y="336"/>
                  </a:lnTo>
                  <a:lnTo>
                    <a:pt x="31" y="344"/>
                  </a:lnTo>
                  <a:lnTo>
                    <a:pt x="130" y="443"/>
                  </a:lnTo>
                  <a:lnTo>
                    <a:pt x="138" y="450"/>
                  </a:lnTo>
                  <a:lnTo>
                    <a:pt x="146" y="456"/>
                  </a:lnTo>
                  <a:lnTo>
                    <a:pt x="154" y="461"/>
                  </a:lnTo>
                  <a:lnTo>
                    <a:pt x="164" y="466"/>
                  </a:lnTo>
                  <a:lnTo>
                    <a:pt x="174" y="469"/>
                  </a:lnTo>
                  <a:lnTo>
                    <a:pt x="183" y="471"/>
                  </a:lnTo>
                  <a:lnTo>
                    <a:pt x="194" y="473"/>
                  </a:lnTo>
                  <a:lnTo>
                    <a:pt x="203" y="473"/>
                  </a:lnTo>
                  <a:lnTo>
                    <a:pt x="203" y="473"/>
                  </a:lnTo>
                  <a:lnTo>
                    <a:pt x="205" y="473"/>
                  </a:lnTo>
                  <a:lnTo>
                    <a:pt x="214" y="473"/>
                  </a:lnTo>
                  <a:lnTo>
                    <a:pt x="225" y="471"/>
                  </a:lnTo>
                  <a:lnTo>
                    <a:pt x="234" y="469"/>
                  </a:lnTo>
                  <a:lnTo>
                    <a:pt x="244" y="466"/>
                  </a:lnTo>
                  <a:lnTo>
                    <a:pt x="254" y="461"/>
                  </a:lnTo>
                  <a:lnTo>
                    <a:pt x="262" y="456"/>
                  </a:lnTo>
                  <a:lnTo>
                    <a:pt x="270" y="450"/>
                  </a:lnTo>
                  <a:lnTo>
                    <a:pt x="278" y="443"/>
                  </a:lnTo>
                  <a:lnTo>
                    <a:pt x="452" y="267"/>
                  </a:lnTo>
                  <a:lnTo>
                    <a:pt x="458" y="260"/>
                  </a:lnTo>
                  <a:lnTo>
                    <a:pt x="462" y="254"/>
                  </a:lnTo>
                  <a:lnTo>
                    <a:pt x="467" y="247"/>
                  </a:lnTo>
                  <a:lnTo>
                    <a:pt x="470" y="240"/>
                  </a:lnTo>
                  <a:lnTo>
                    <a:pt x="472" y="231"/>
                  </a:lnTo>
                  <a:lnTo>
                    <a:pt x="473" y="224"/>
                  </a:lnTo>
                  <a:lnTo>
                    <a:pt x="473" y="216"/>
                  </a:lnTo>
                  <a:lnTo>
                    <a:pt x="473" y="208"/>
                  </a:lnTo>
                  <a:lnTo>
                    <a:pt x="471" y="199"/>
                  </a:lnTo>
                  <a:lnTo>
                    <a:pt x="469" y="191"/>
                  </a:lnTo>
                  <a:lnTo>
                    <a:pt x="466" y="182"/>
                  </a:lnTo>
                  <a:lnTo>
                    <a:pt x="461" y="175"/>
                  </a:lnTo>
                  <a:lnTo>
                    <a:pt x="457" y="166"/>
                  </a:lnTo>
                  <a:lnTo>
                    <a:pt x="451" y="158"/>
                  </a:lnTo>
                  <a:lnTo>
                    <a:pt x="444" y="149"/>
                  </a:lnTo>
                  <a:lnTo>
                    <a:pt x="437" y="142"/>
                  </a:lnTo>
                  <a:lnTo>
                    <a:pt x="435" y="139"/>
                  </a:lnTo>
                  <a:lnTo>
                    <a:pt x="432" y="138"/>
                  </a:lnTo>
                  <a:lnTo>
                    <a:pt x="429" y="137"/>
                  </a:lnTo>
                  <a:lnTo>
                    <a:pt x="426" y="137"/>
                  </a:lnTo>
                  <a:lnTo>
                    <a:pt x="424" y="137"/>
                  </a:lnTo>
                  <a:lnTo>
                    <a:pt x="421" y="138"/>
                  </a:lnTo>
                  <a:lnTo>
                    <a:pt x="418" y="139"/>
                  </a:lnTo>
                  <a:lnTo>
                    <a:pt x="415"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274" name="Freeform 236">
              <a:extLst>
                <a:ext uri="{FF2B5EF4-FFF2-40B4-BE49-F238E27FC236}">
                  <a16:creationId xmlns:a16="http://schemas.microsoft.com/office/drawing/2014/main" id="{7803DE84-0240-4321-AD1A-57F704255C3F}"/>
                </a:ext>
              </a:extLst>
            </p:cNvPr>
            <p:cNvSpPr>
              <a:spLocks/>
            </p:cNvSpPr>
            <p:nvPr/>
          </p:nvSpPr>
          <p:spPr bwMode="auto">
            <a:xfrm>
              <a:off x="11107738" y="2008188"/>
              <a:ext cx="104775" cy="104775"/>
            </a:xfrm>
            <a:custGeom>
              <a:avLst/>
              <a:gdLst>
                <a:gd name="T0" fmla="*/ 5 w 329"/>
                <a:gd name="T1" fmla="*/ 325 h 329"/>
                <a:gd name="T2" fmla="*/ 7 w 329"/>
                <a:gd name="T3" fmla="*/ 326 h 329"/>
                <a:gd name="T4" fmla="*/ 9 w 329"/>
                <a:gd name="T5" fmla="*/ 328 h 329"/>
                <a:gd name="T6" fmla="*/ 12 w 329"/>
                <a:gd name="T7" fmla="*/ 329 h 329"/>
                <a:gd name="T8" fmla="*/ 15 w 329"/>
                <a:gd name="T9" fmla="*/ 329 h 329"/>
                <a:gd name="T10" fmla="*/ 17 w 329"/>
                <a:gd name="T11" fmla="*/ 328 h 329"/>
                <a:gd name="T12" fmla="*/ 21 w 329"/>
                <a:gd name="T13" fmla="*/ 328 h 329"/>
                <a:gd name="T14" fmla="*/ 23 w 329"/>
                <a:gd name="T15" fmla="*/ 326 h 329"/>
                <a:gd name="T16" fmla="*/ 26 w 329"/>
                <a:gd name="T17" fmla="*/ 325 h 329"/>
                <a:gd name="T18" fmla="*/ 324 w 329"/>
                <a:gd name="T19" fmla="*/ 25 h 329"/>
                <a:gd name="T20" fmla="*/ 327 w 329"/>
                <a:gd name="T21" fmla="*/ 23 h 329"/>
                <a:gd name="T22" fmla="*/ 328 w 329"/>
                <a:gd name="T23" fmla="*/ 21 h 329"/>
                <a:gd name="T24" fmla="*/ 329 w 329"/>
                <a:gd name="T25" fmla="*/ 18 h 329"/>
                <a:gd name="T26" fmla="*/ 329 w 329"/>
                <a:gd name="T27" fmla="*/ 15 h 329"/>
                <a:gd name="T28" fmla="*/ 329 w 329"/>
                <a:gd name="T29" fmla="*/ 13 h 329"/>
                <a:gd name="T30" fmla="*/ 328 w 329"/>
                <a:gd name="T31" fmla="*/ 9 h 329"/>
                <a:gd name="T32" fmla="*/ 327 w 329"/>
                <a:gd name="T33" fmla="*/ 7 h 329"/>
                <a:gd name="T34" fmla="*/ 324 w 329"/>
                <a:gd name="T35" fmla="*/ 4 h 329"/>
                <a:gd name="T36" fmla="*/ 322 w 329"/>
                <a:gd name="T37" fmla="*/ 3 h 329"/>
                <a:gd name="T38" fmla="*/ 319 w 329"/>
                <a:gd name="T39" fmla="*/ 1 h 329"/>
                <a:gd name="T40" fmla="*/ 317 w 329"/>
                <a:gd name="T41" fmla="*/ 1 h 329"/>
                <a:gd name="T42" fmla="*/ 314 w 329"/>
                <a:gd name="T43" fmla="*/ 0 h 329"/>
                <a:gd name="T44" fmla="*/ 311 w 329"/>
                <a:gd name="T45" fmla="*/ 1 h 329"/>
                <a:gd name="T46" fmla="*/ 308 w 329"/>
                <a:gd name="T47" fmla="*/ 1 h 329"/>
                <a:gd name="T48" fmla="*/ 305 w 329"/>
                <a:gd name="T49" fmla="*/ 3 h 329"/>
                <a:gd name="T50" fmla="*/ 303 w 329"/>
                <a:gd name="T51" fmla="*/ 4 h 329"/>
                <a:gd name="T52" fmla="*/ 5 w 329"/>
                <a:gd name="T53" fmla="*/ 303 h 329"/>
                <a:gd name="T54" fmla="*/ 2 w 329"/>
                <a:gd name="T55" fmla="*/ 306 h 329"/>
                <a:gd name="T56" fmla="*/ 1 w 329"/>
                <a:gd name="T57" fmla="*/ 308 h 329"/>
                <a:gd name="T58" fmla="*/ 0 w 329"/>
                <a:gd name="T59" fmla="*/ 311 h 329"/>
                <a:gd name="T60" fmla="*/ 0 w 329"/>
                <a:gd name="T61" fmla="*/ 314 h 329"/>
                <a:gd name="T62" fmla="*/ 0 w 329"/>
                <a:gd name="T63" fmla="*/ 316 h 329"/>
                <a:gd name="T64" fmla="*/ 1 w 329"/>
                <a:gd name="T65" fmla="*/ 320 h 329"/>
                <a:gd name="T66" fmla="*/ 2 w 329"/>
                <a:gd name="T67" fmla="*/ 322 h 329"/>
                <a:gd name="T68" fmla="*/ 5 w 329"/>
                <a:gd name="T69" fmla="*/ 325 h 329"/>
                <a:gd name="T70" fmla="*/ 5 w 329"/>
                <a:gd name="T71" fmla="*/ 325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9" h="329">
                  <a:moveTo>
                    <a:pt x="5" y="325"/>
                  </a:moveTo>
                  <a:lnTo>
                    <a:pt x="7" y="326"/>
                  </a:lnTo>
                  <a:lnTo>
                    <a:pt x="9" y="328"/>
                  </a:lnTo>
                  <a:lnTo>
                    <a:pt x="12" y="329"/>
                  </a:lnTo>
                  <a:lnTo>
                    <a:pt x="15" y="329"/>
                  </a:lnTo>
                  <a:lnTo>
                    <a:pt x="17" y="328"/>
                  </a:lnTo>
                  <a:lnTo>
                    <a:pt x="21" y="328"/>
                  </a:lnTo>
                  <a:lnTo>
                    <a:pt x="23" y="326"/>
                  </a:lnTo>
                  <a:lnTo>
                    <a:pt x="26" y="325"/>
                  </a:lnTo>
                  <a:lnTo>
                    <a:pt x="324" y="25"/>
                  </a:lnTo>
                  <a:lnTo>
                    <a:pt x="327" y="23"/>
                  </a:lnTo>
                  <a:lnTo>
                    <a:pt x="328" y="21"/>
                  </a:lnTo>
                  <a:lnTo>
                    <a:pt x="329" y="18"/>
                  </a:lnTo>
                  <a:lnTo>
                    <a:pt x="329" y="15"/>
                  </a:lnTo>
                  <a:lnTo>
                    <a:pt x="329" y="13"/>
                  </a:lnTo>
                  <a:lnTo>
                    <a:pt x="328" y="9"/>
                  </a:lnTo>
                  <a:lnTo>
                    <a:pt x="327" y="7"/>
                  </a:lnTo>
                  <a:lnTo>
                    <a:pt x="324" y="4"/>
                  </a:lnTo>
                  <a:lnTo>
                    <a:pt x="322" y="3"/>
                  </a:lnTo>
                  <a:lnTo>
                    <a:pt x="319" y="1"/>
                  </a:lnTo>
                  <a:lnTo>
                    <a:pt x="317" y="1"/>
                  </a:lnTo>
                  <a:lnTo>
                    <a:pt x="314" y="0"/>
                  </a:lnTo>
                  <a:lnTo>
                    <a:pt x="311" y="1"/>
                  </a:lnTo>
                  <a:lnTo>
                    <a:pt x="308" y="1"/>
                  </a:lnTo>
                  <a:lnTo>
                    <a:pt x="305" y="3"/>
                  </a:lnTo>
                  <a:lnTo>
                    <a:pt x="303" y="4"/>
                  </a:lnTo>
                  <a:lnTo>
                    <a:pt x="5" y="303"/>
                  </a:lnTo>
                  <a:lnTo>
                    <a:pt x="2" y="306"/>
                  </a:lnTo>
                  <a:lnTo>
                    <a:pt x="1" y="308"/>
                  </a:lnTo>
                  <a:lnTo>
                    <a:pt x="0" y="311"/>
                  </a:lnTo>
                  <a:lnTo>
                    <a:pt x="0" y="314"/>
                  </a:lnTo>
                  <a:lnTo>
                    <a:pt x="0" y="316"/>
                  </a:lnTo>
                  <a:lnTo>
                    <a:pt x="1" y="320"/>
                  </a:lnTo>
                  <a:lnTo>
                    <a:pt x="2" y="322"/>
                  </a:lnTo>
                  <a:lnTo>
                    <a:pt x="5" y="325"/>
                  </a:lnTo>
                  <a:lnTo>
                    <a:pt x="5"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275" name="Group 76">
            <a:extLst>
              <a:ext uri="{FF2B5EF4-FFF2-40B4-BE49-F238E27FC236}">
                <a16:creationId xmlns:a16="http://schemas.microsoft.com/office/drawing/2014/main" id="{BD2C90F0-3BB3-4589-89E8-21A02199D796}"/>
              </a:ext>
            </a:extLst>
          </p:cNvPr>
          <p:cNvGrpSpPr>
            <a:grpSpLocks noChangeAspect="1"/>
          </p:cNvGrpSpPr>
          <p:nvPr/>
        </p:nvGrpSpPr>
        <p:grpSpPr>
          <a:xfrm>
            <a:off x="289418" y="4340505"/>
            <a:ext cx="273141" cy="316953"/>
            <a:chOff x="5376863" y="1733551"/>
            <a:chExt cx="633413" cy="735013"/>
          </a:xfrm>
          <a:solidFill>
            <a:schemeClr val="bg1"/>
          </a:solidFill>
          <a:effectLst/>
        </p:grpSpPr>
        <p:sp>
          <p:nvSpPr>
            <p:cNvPr id="276" name="Freeform 116">
              <a:extLst>
                <a:ext uri="{FF2B5EF4-FFF2-40B4-BE49-F238E27FC236}">
                  <a16:creationId xmlns:a16="http://schemas.microsoft.com/office/drawing/2014/main" id="{283AA6BC-DB2F-4762-A541-064118AE6523}"/>
                </a:ext>
              </a:extLst>
            </p:cNvPr>
            <p:cNvSpPr>
              <a:spLocks noEditPoints="1"/>
            </p:cNvSpPr>
            <p:nvPr/>
          </p:nvSpPr>
          <p:spPr bwMode="auto">
            <a:xfrm>
              <a:off x="5605463" y="1733551"/>
              <a:ext cx="404813" cy="336550"/>
            </a:xfrm>
            <a:custGeom>
              <a:avLst/>
              <a:gdLst>
                <a:gd name="T0" fmla="*/ 285 w 765"/>
                <a:gd name="T1" fmla="*/ 61 h 637"/>
                <a:gd name="T2" fmla="*/ 174 w 765"/>
                <a:gd name="T3" fmla="*/ 98 h 637"/>
                <a:gd name="T4" fmla="*/ 92 w 765"/>
                <a:gd name="T5" fmla="*/ 156 h 637"/>
                <a:gd name="T6" fmla="*/ 63 w 765"/>
                <a:gd name="T7" fmla="*/ 200 h 637"/>
                <a:gd name="T8" fmla="*/ 53 w 765"/>
                <a:gd name="T9" fmla="*/ 238 h 637"/>
                <a:gd name="T10" fmla="*/ 61 w 765"/>
                <a:gd name="T11" fmla="*/ 291 h 637"/>
                <a:gd name="T12" fmla="*/ 95 w 765"/>
                <a:gd name="T13" fmla="*/ 343 h 637"/>
                <a:gd name="T14" fmla="*/ 153 w 765"/>
                <a:gd name="T15" fmla="*/ 387 h 637"/>
                <a:gd name="T16" fmla="*/ 230 w 765"/>
                <a:gd name="T17" fmla="*/ 422 h 637"/>
                <a:gd name="T18" fmla="*/ 266 w 765"/>
                <a:gd name="T19" fmla="*/ 436 h 637"/>
                <a:gd name="T20" fmla="*/ 272 w 765"/>
                <a:gd name="T21" fmla="*/ 458 h 637"/>
                <a:gd name="T22" fmla="*/ 238 w 765"/>
                <a:gd name="T23" fmla="*/ 529 h 637"/>
                <a:gd name="T24" fmla="*/ 236 w 765"/>
                <a:gd name="T25" fmla="*/ 565 h 637"/>
                <a:gd name="T26" fmla="*/ 338 w 765"/>
                <a:gd name="T27" fmla="*/ 526 h 637"/>
                <a:gd name="T28" fmla="*/ 390 w 765"/>
                <a:gd name="T29" fmla="*/ 488 h 637"/>
                <a:gd name="T30" fmla="*/ 425 w 765"/>
                <a:gd name="T31" fmla="*/ 448 h 637"/>
                <a:gd name="T32" fmla="*/ 470 w 765"/>
                <a:gd name="T33" fmla="*/ 436 h 637"/>
                <a:gd name="T34" fmla="*/ 572 w 765"/>
                <a:gd name="T35" fmla="*/ 408 h 637"/>
                <a:gd name="T36" fmla="*/ 651 w 765"/>
                <a:gd name="T37" fmla="*/ 360 h 637"/>
                <a:gd name="T38" fmla="*/ 700 w 765"/>
                <a:gd name="T39" fmla="*/ 300 h 637"/>
                <a:gd name="T40" fmla="*/ 711 w 765"/>
                <a:gd name="T41" fmla="*/ 238 h 637"/>
                <a:gd name="T42" fmla="*/ 701 w 765"/>
                <a:gd name="T43" fmla="*/ 200 h 637"/>
                <a:gd name="T44" fmla="*/ 671 w 765"/>
                <a:gd name="T45" fmla="*/ 156 h 637"/>
                <a:gd name="T46" fmla="*/ 590 w 765"/>
                <a:gd name="T47" fmla="*/ 98 h 637"/>
                <a:gd name="T48" fmla="*/ 480 w 765"/>
                <a:gd name="T49" fmla="*/ 61 h 637"/>
                <a:gd name="T50" fmla="*/ 97 w 765"/>
                <a:gd name="T51" fmla="*/ 637 h 637"/>
                <a:gd name="T52" fmla="*/ 79 w 765"/>
                <a:gd name="T53" fmla="*/ 629 h 637"/>
                <a:gd name="T54" fmla="*/ 71 w 765"/>
                <a:gd name="T55" fmla="*/ 612 h 637"/>
                <a:gd name="T56" fmla="*/ 76 w 765"/>
                <a:gd name="T57" fmla="*/ 593 h 637"/>
                <a:gd name="T58" fmla="*/ 92 w 765"/>
                <a:gd name="T59" fmla="*/ 585 h 637"/>
                <a:gd name="T60" fmla="*/ 133 w 765"/>
                <a:gd name="T61" fmla="*/ 567 h 637"/>
                <a:gd name="T62" fmla="*/ 166 w 765"/>
                <a:gd name="T63" fmla="*/ 540 h 637"/>
                <a:gd name="T64" fmla="*/ 210 w 765"/>
                <a:gd name="T65" fmla="*/ 470 h 637"/>
                <a:gd name="T66" fmla="*/ 124 w 765"/>
                <a:gd name="T67" fmla="*/ 431 h 637"/>
                <a:gd name="T68" fmla="*/ 58 w 765"/>
                <a:gd name="T69" fmla="*/ 379 h 637"/>
                <a:gd name="T70" fmla="*/ 14 w 765"/>
                <a:gd name="T71" fmla="*/ 317 h 637"/>
                <a:gd name="T72" fmla="*/ 0 w 765"/>
                <a:gd name="T73" fmla="*/ 248 h 637"/>
                <a:gd name="T74" fmla="*/ 7 w 765"/>
                <a:gd name="T75" fmla="*/ 197 h 637"/>
                <a:gd name="T76" fmla="*/ 30 w 765"/>
                <a:gd name="T77" fmla="*/ 150 h 637"/>
                <a:gd name="T78" fmla="*/ 65 w 765"/>
                <a:gd name="T79" fmla="*/ 108 h 637"/>
                <a:gd name="T80" fmla="*/ 167 w 765"/>
                <a:gd name="T81" fmla="*/ 42 h 637"/>
                <a:gd name="T82" fmla="*/ 304 w 765"/>
                <a:gd name="T83" fmla="*/ 4 h 637"/>
                <a:gd name="T84" fmla="*/ 459 w 765"/>
                <a:gd name="T85" fmla="*/ 4 h 637"/>
                <a:gd name="T86" fmla="*/ 598 w 765"/>
                <a:gd name="T87" fmla="*/ 42 h 637"/>
                <a:gd name="T88" fmla="*/ 700 w 765"/>
                <a:gd name="T89" fmla="*/ 108 h 637"/>
                <a:gd name="T90" fmla="*/ 734 w 765"/>
                <a:gd name="T91" fmla="*/ 150 h 637"/>
                <a:gd name="T92" fmla="*/ 756 w 765"/>
                <a:gd name="T93" fmla="*/ 197 h 637"/>
                <a:gd name="T94" fmla="*/ 765 w 765"/>
                <a:gd name="T95" fmla="*/ 248 h 637"/>
                <a:gd name="T96" fmla="*/ 759 w 765"/>
                <a:gd name="T97" fmla="*/ 292 h 637"/>
                <a:gd name="T98" fmla="*/ 714 w 765"/>
                <a:gd name="T99" fmla="*/ 372 h 637"/>
                <a:gd name="T100" fmla="*/ 634 w 765"/>
                <a:gd name="T101" fmla="*/ 435 h 637"/>
                <a:gd name="T102" fmla="*/ 523 w 765"/>
                <a:gd name="T103" fmla="*/ 480 h 637"/>
                <a:gd name="T104" fmla="*/ 436 w 765"/>
                <a:gd name="T105" fmla="*/ 516 h 637"/>
                <a:gd name="T106" fmla="*/ 386 w 765"/>
                <a:gd name="T107" fmla="*/ 557 h 637"/>
                <a:gd name="T108" fmla="*/ 300 w 765"/>
                <a:gd name="T109" fmla="*/ 599 h 637"/>
                <a:gd name="T110" fmla="*/ 189 w 765"/>
                <a:gd name="T111" fmla="*/ 628 h 637"/>
                <a:gd name="T112" fmla="*/ 98 w 765"/>
                <a:gd name="T113"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637">
                  <a:moveTo>
                    <a:pt x="382" y="52"/>
                  </a:moveTo>
                  <a:lnTo>
                    <a:pt x="349" y="53"/>
                  </a:lnTo>
                  <a:lnTo>
                    <a:pt x="317" y="56"/>
                  </a:lnTo>
                  <a:lnTo>
                    <a:pt x="285" y="61"/>
                  </a:lnTo>
                  <a:lnTo>
                    <a:pt x="255" y="68"/>
                  </a:lnTo>
                  <a:lnTo>
                    <a:pt x="226" y="76"/>
                  </a:lnTo>
                  <a:lnTo>
                    <a:pt x="199" y="86"/>
                  </a:lnTo>
                  <a:lnTo>
                    <a:pt x="174" y="98"/>
                  </a:lnTo>
                  <a:lnTo>
                    <a:pt x="150" y="110"/>
                  </a:lnTo>
                  <a:lnTo>
                    <a:pt x="128" y="124"/>
                  </a:lnTo>
                  <a:lnTo>
                    <a:pt x="110" y="140"/>
                  </a:lnTo>
                  <a:lnTo>
                    <a:pt x="92" y="156"/>
                  </a:lnTo>
                  <a:lnTo>
                    <a:pt x="79" y="173"/>
                  </a:lnTo>
                  <a:lnTo>
                    <a:pt x="74" y="182"/>
                  </a:lnTo>
                  <a:lnTo>
                    <a:pt x="68" y="190"/>
                  </a:lnTo>
                  <a:lnTo>
                    <a:pt x="63" y="200"/>
                  </a:lnTo>
                  <a:lnTo>
                    <a:pt x="59" y="209"/>
                  </a:lnTo>
                  <a:lnTo>
                    <a:pt x="56" y="219"/>
                  </a:lnTo>
                  <a:lnTo>
                    <a:pt x="55" y="228"/>
                  </a:lnTo>
                  <a:lnTo>
                    <a:pt x="53" y="238"/>
                  </a:lnTo>
                  <a:lnTo>
                    <a:pt x="52" y="248"/>
                  </a:lnTo>
                  <a:lnTo>
                    <a:pt x="53" y="262"/>
                  </a:lnTo>
                  <a:lnTo>
                    <a:pt x="56" y="277"/>
                  </a:lnTo>
                  <a:lnTo>
                    <a:pt x="61" y="291"/>
                  </a:lnTo>
                  <a:lnTo>
                    <a:pt x="66" y="304"/>
                  </a:lnTo>
                  <a:lnTo>
                    <a:pt x="75" y="317"/>
                  </a:lnTo>
                  <a:lnTo>
                    <a:pt x="84" y="330"/>
                  </a:lnTo>
                  <a:lnTo>
                    <a:pt x="95" y="343"/>
                  </a:lnTo>
                  <a:lnTo>
                    <a:pt x="108" y="356"/>
                  </a:lnTo>
                  <a:lnTo>
                    <a:pt x="121" y="367"/>
                  </a:lnTo>
                  <a:lnTo>
                    <a:pt x="137" y="377"/>
                  </a:lnTo>
                  <a:lnTo>
                    <a:pt x="153" y="387"/>
                  </a:lnTo>
                  <a:lnTo>
                    <a:pt x="171" y="398"/>
                  </a:lnTo>
                  <a:lnTo>
                    <a:pt x="190" y="406"/>
                  </a:lnTo>
                  <a:lnTo>
                    <a:pt x="210" y="415"/>
                  </a:lnTo>
                  <a:lnTo>
                    <a:pt x="230" y="422"/>
                  </a:lnTo>
                  <a:lnTo>
                    <a:pt x="254" y="428"/>
                  </a:lnTo>
                  <a:lnTo>
                    <a:pt x="258" y="429"/>
                  </a:lnTo>
                  <a:lnTo>
                    <a:pt x="262" y="434"/>
                  </a:lnTo>
                  <a:lnTo>
                    <a:pt x="266" y="436"/>
                  </a:lnTo>
                  <a:lnTo>
                    <a:pt x="269" y="441"/>
                  </a:lnTo>
                  <a:lnTo>
                    <a:pt x="272" y="446"/>
                  </a:lnTo>
                  <a:lnTo>
                    <a:pt x="272" y="452"/>
                  </a:lnTo>
                  <a:lnTo>
                    <a:pt x="272" y="458"/>
                  </a:lnTo>
                  <a:lnTo>
                    <a:pt x="271" y="462"/>
                  </a:lnTo>
                  <a:lnTo>
                    <a:pt x="261" y="487"/>
                  </a:lnTo>
                  <a:lnTo>
                    <a:pt x="246" y="516"/>
                  </a:lnTo>
                  <a:lnTo>
                    <a:pt x="238" y="529"/>
                  </a:lnTo>
                  <a:lnTo>
                    <a:pt x="229" y="543"/>
                  </a:lnTo>
                  <a:lnTo>
                    <a:pt x="219" y="557"/>
                  </a:lnTo>
                  <a:lnTo>
                    <a:pt x="207" y="570"/>
                  </a:lnTo>
                  <a:lnTo>
                    <a:pt x="236" y="565"/>
                  </a:lnTo>
                  <a:lnTo>
                    <a:pt x="266" y="556"/>
                  </a:lnTo>
                  <a:lnTo>
                    <a:pt x="295" y="546"/>
                  </a:lnTo>
                  <a:lnTo>
                    <a:pt x="326" y="533"/>
                  </a:lnTo>
                  <a:lnTo>
                    <a:pt x="338" y="526"/>
                  </a:lnTo>
                  <a:lnTo>
                    <a:pt x="353" y="517"/>
                  </a:lnTo>
                  <a:lnTo>
                    <a:pt x="366" y="508"/>
                  </a:lnTo>
                  <a:lnTo>
                    <a:pt x="379" y="498"/>
                  </a:lnTo>
                  <a:lnTo>
                    <a:pt x="390" y="488"/>
                  </a:lnTo>
                  <a:lnTo>
                    <a:pt x="402" y="477"/>
                  </a:lnTo>
                  <a:lnTo>
                    <a:pt x="412" y="465"/>
                  </a:lnTo>
                  <a:lnTo>
                    <a:pt x="422" y="452"/>
                  </a:lnTo>
                  <a:lnTo>
                    <a:pt x="425" y="448"/>
                  </a:lnTo>
                  <a:lnTo>
                    <a:pt x="429" y="444"/>
                  </a:lnTo>
                  <a:lnTo>
                    <a:pt x="435" y="442"/>
                  </a:lnTo>
                  <a:lnTo>
                    <a:pt x="441" y="441"/>
                  </a:lnTo>
                  <a:lnTo>
                    <a:pt x="470" y="436"/>
                  </a:lnTo>
                  <a:lnTo>
                    <a:pt x="497" y="431"/>
                  </a:lnTo>
                  <a:lnTo>
                    <a:pt x="523" y="425"/>
                  </a:lnTo>
                  <a:lnTo>
                    <a:pt x="549" y="416"/>
                  </a:lnTo>
                  <a:lnTo>
                    <a:pt x="572" y="408"/>
                  </a:lnTo>
                  <a:lnTo>
                    <a:pt x="595" y="398"/>
                  </a:lnTo>
                  <a:lnTo>
                    <a:pt x="615" y="386"/>
                  </a:lnTo>
                  <a:lnTo>
                    <a:pt x="634" y="373"/>
                  </a:lnTo>
                  <a:lnTo>
                    <a:pt x="651" y="360"/>
                  </a:lnTo>
                  <a:lnTo>
                    <a:pt x="667" y="346"/>
                  </a:lnTo>
                  <a:lnTo>
                    <a:pt x="680" y="330"/>
                  </a:lnTo>
                  <a:lnTo>
                    <a:pt x="691" y="315"/>
                  </a:lnTo>
                  <a:lnTo>
                    <a:pt x="700" y="300"/>
                  </a:lnTo>
                  <a:lnTo>
                    <a:pt x="707" y="282"/>
                  </a:lnTo>
                  <a:lnTo>
                    <a:pt x="710" y="265"/>
                  </a:lnTo>
                  <a:lnTo>
                    <a:pt x="711" y="248"/>
                  </a:lnTo>
                  <a:lnTo>
                    <a:pt x="711" y="238"/>
                  </a:lnTo>
                  <a:lnTo>
                    <a:pt x="710" y="228"/>
                  </a:lnTo>
                  <a:lnTo>
                    <a:pt x="709" y="219"/>
                  </a:lnTo>
                  <a:lnTo>
                    <a:pt x="706" y="209"/>
                  </a:lnTo>
                  <a:lnTo>
                    <a:pt x="701" y="200"/>
                  </a:lnTo>
                  <a:lnTo>
                    <a:pt x="697" y="190"/>
                  </a:lnTo>
                  <a:lnTo>
                    <a:pt x="691" y="182"/>
                  </a:lnTo>
                  <a:lnTo>
                    <a:pt x="686" y="173"/>
                  </a:lnTo>
                  <a:lnTo>
                    <a:pt x="671" y="156"/>
                  </a:lnTo>
                  <a:lnTo>
                    <a:pt x="655" y="140"/>
                  </a:lnTo>
                  <a:lnTo>
                    <a:pt x="635" y="124"/>
                  </a:lnTo>
                  <a:lnTo>
                    <a:pt x="614" y="110"/>
                  </a:lnTo>
                  <a:lnTo>
                    <a:pt x="590" y="98"/>
                  </a:lnTo>
                  <a:lnTo>
                    <a:pt x="565" y="86"/>
                  </a:lnTo>
                  <a:lnTo>
                    <a:pt x="537" y="76"/>
                  </a:lnTo>
                  <a:lnTo>
                    <a:pt x="510" y="68"/>
                  </a:lnTo>
                  <a:lnTo>
                    <a:pt x="480" y="61"/>
                  </a:lnTo>
                  <a:lnTo>
                    <a:pt x="448" y="56"/>
                  </a:lnTo>
                  <a:lnTo>
                    <a:pt x="415" y="53"/>
                  </a:lnTo>
                  <a:lnTo>
                    <a:pt x="382" y="52"/>
                  </a:lnTo>
                  <a:close/>
                  <a:moveTo>
                    <a:pt x="97" y="637"/>
                  </a:moveTo>
                  <a:lnTo>
                    <a:pt x="92" y="635"/>
                  </a:lnTo>
                  <a:lnTo>
                    <a:pt x="88" y="634"/>
                  </a:lnTo>
                  <a:lnTo>
                    <a:pt x="84" y="632"/>
                  </a:lnTo>
                  <a:lnTo>
                    <a:pt x="79" y="629"/>
                  </a:lnTo>
                  <a:lnTo>
                    <a:pt x="76" y="625"/>
                  </a:lnTo>
                  <a:lnTo>
                    <a:pt x="74" y="622"/>
                  </a:lnTo>
                  <a:lnTo>
                    <a:pt x="72" y="616"/>
                  </a:lnTo>
                  <a:lnTo>
                    <a:pt x="71" y="612"/>
                  </a:lnTo>
                  <a:lnTo>
                    <a:pt x="71" y="608"/>
                  </a:lnTo>
                  <a:lnTo>
                    <a:pt x="72" y="602"/>
                  </a:lnTo>
                  <a:lnTo>
                    <a:pt x="74" y="598"/>
                  </a:lnTo>
                  <a:lnTo>
                    <a:pt x="76" y="593"/>
                  </a:lnTo>
                  <a:lnTo>
                    <a:pt x="79" y="590"/>
                  </a:lnTo>
                  <a:lnTo>
                    <a:pt x="84" y="588"/>
                  </a:lnTo>
                  <a:lnTo>
                    <a:pt x="88" y="586"/>
                  </a:lnTo>
                  <a:lnTo>
                    <a:pt x="92" y="585"/>
                  </a:lnTo>
                  <a:lnTo>
                    <a:pt x="104" y="582"/>
                  </a:lnTo>
                  <a:lnTo>
                    <a:pt x="114" y="578"/>
                  </a:lnTo>
                  <a:lnTo>
                    <a:pt x="124" y="573"/>
                  </a:lnTo>
                  <a:lnTo>
                    <a:pt x="133" y="567"/>
                  </a:lnTo>
                  <a:lnTo>
                    <a:pt x="141" y="562"/>
                  </a:lnTo>
                  <a:lnTo>
                    <a:pt x="150" y="556"/>
                  </a:lnTo>
                  <a:lnTo>
                    <a:pt x="158" y="547"/>
                  </a:lnTo>
                  <a:lnTo>
                    <a:pt x="166" y="540"/>
                  </a:lnTo>
                  <a:lnTo>
                    <a:pt x="179" y="523"/>
                  </a:lnTo>
                  <a:lnTo>
                    <a:pt x="192" y="506"/>
                  </a:lnTo>
                  <a:lnTo>
                    <a:pt x="202" y="488"/>
                  </a:lnTo>
                  <a:lnTo>
                    <a:pt x="210" y="470"/>
                  </a:lnTo>
                  <a:lnTo>
                    <a:pt x="187" y="462"/>
                  </a:lnTo>
                  <a:lnTo>
                    <a:pt x="164" y="452"/>
                  </a:lnTo>
                  <a:lnTo>
                    <a:pt x="144" y="442"/>
                  </a:lnTo>
                  <a:lnTo>
                    <a:pt x="124" y="431"/>
                  </a:lnTo>
                  <a:lnTo>
                    <a:pt x="105" y="419"/>
                  </a:lnTo>
                  <a:lnTo>
                    <a:pt x="88" y="406"/>
                  </a:lnTo>
                  <a:lnTo>
                    <a:pt x="72" y="393"/>
                  </a:lnTo>
                  <a:lnTo>
                    <a:pt x="58" y="379"/>
                  </a:lnTo>
                  <a:lnTo>
                    <a:pt x="45" y="364"/>
                  </a:lnTo>
                  <a:lnTo>
                    <a:pt x="33" y="350"/>
                  </a:lnTo>
                  <a:lnTo>
                    <a:pt x="23" y="334"/>
                  </a:lnTo>
                  <a:lnTo>
                    <a:pt x="14" y="317"/>
                  </a:lnTo>
                  <a:lnTo>
                    <a:pt x="9" y="301"/>
                  </a:lnTo>
                  <a:lnTo>
                    <a:pt x="4" y="284"/>
                  </a:lnTo>
                  <a:lnTo>
                    <a:pt x="2" y="265"/>
                  </a:lnTo>
                  <a:lnTo>
                    <a:pt x="0" y="248"/>
                  </a:lnTo>
                  <a:lnTo>
                    <a:pt x="0" y="235"/>
                  </a:lnTo>
                  <a:lnTo>
                    <a:pt x="2" y="222"/>
                  </a:lnTo>
                  <a:lnTo>
                    <a:pt x="4" y="210"/>
                  </a:lnTo>
                  <a:lnTo>
                    <a:pt x="7" y="197"/>
                  </a:lnTo>
                  <a:lnTo>
                    <a:pt x="12" y="186"/>
                  </a:lnTo>
                  <a:lnTo>
                    <a:pt x="17" y="173"/>
                  </a:lnTo>
                  <a:lnTo>
                    <a:pt x="23" y="161"/>
                  </a:lnTo>
                  <a:lnTo>
                    <a:pt x="30" y="150"/>
                  </a:lnTo>
                  <a:lnTo>
                    <a:pt x="38" y="140"/>
                  </a:lnTo>
                  <a:lnTo>
                    <a:pt x="46" y="128"/>
                  </a:lnTo>
                  <a:lnTo>
                    <a:pt x="55" y="118"/>
                  </a:lnTo>
                  <a:lnTo>
                    <a:pt x="65" y="108"/>
                  </a:lnTo>
                  <a:lnTo>
                    <a:pt x="86" y="89"/>
                  </a:lnTo>
                  <a:lnTo>
                    <a:pt x="111" y="72"/>
                  </a:lnTo>
                  <a:lnTo>
                    <a:pt x="138" y="56"/>
                  </a:lnTo>
                  <a:lnTo>
                    <a:pt x="167" y="42"/>
                  </a:lnTo>
                  <a:lnTo>
                    <a:pt x="199" y="29"/>
                  </a:lnTo>
                  <a:lnTo>
                    <a:pt x="232" y="19"/>
                  </a:lnTo>
                  <a:lnTo>
                    <a:pt x="268" y="10"/>
                  </a:lnTo>
                  <a:lnTo>
                    <a:pt x="304" y="4"/>
                  </a:lnTo>
                  <a:lnTo>
                    <a:pt x="343" y="2"/>
                  </a:lnTo>
                  <a:lnTo>
                    <a:pt x="382" y="0"/>
                  </a:lnTo>
                  <a:lnTo>
                    <a:pt x="422" y="2"/>
                  </a:lnTo>
                  <a:lnTo>
                    <a:pt x="459" y="4"/>
                  </a:lnTo>
                  <a:lnTo>
                    <a:pt x="497" y="10"/>
                  </a:lnTo>
                  <a:lnTo>
                    <a:pt x="533" y="19"/>
                  </a:lnTo>
                  <a:lnTo>
                    <a:pt x="566" y="29"/>
                  </a:lnTo>
                  <a:lnTo>
                    <a:pt x="598" y="42"/>
                  </a:lnTo>
                  <a:lnTo>
                    <a:pt x="626" y="56"/>
                  </a:lnTo>
                  <a:lnTo>
                    <a:pt x="654" y="72"/>
                  </a:lnTo>
                  <a:lnTo>
                    <a:pt x="678" y="89"/>
                  </a:lnTo>
                  <a:lnTo>
                    <a:pt x="700" y="108"/>
                  </a:lnTo>
                  <a:lnTo>
                    <a:pt x="710" y="118"/>
                  </a:lnTo>
                  <a:lnTo>
                    <a:pt x="719" y="128"/>
                  </a:lnTo>
                  <a:lnTo>
                    <a:pt x="727" y="140"/>
                  </a:lnTo>
                  <a:lnTo>
                    <a:pt x="734" y="150"/>
                  </a:lnTo>
                  <a:lnTo>
                    <a:pt x="742" y="161"/>
                  </a:lnTo>
                  <a:lnTo>
                    <a:pt x="747" y="173"/>
                  </a:lnTo>
                  <a:lnTo>
                    <a:pt x="752" y="186"/>
                  </a:lnTo>
                  <a:lnTo>
                    <a:pt x="756" y="197"/>
                  </a:lnTo>
                  <a:lnTo>
                    <a:pt x="760" y="210"/>
                  </a:lnTo>
                  <a:lnTo>
                    <a:pt x="762" y="222"/>
                  </a:lnTo>
                  <a:lnTo>
                    <a:pt x="763" y="235"/>
                  </a:lnTo>
                  <a:lnTo>
                    <a:pt x="765" y="248"/>
                  </a:lnTo>
                  <a:lnTo>
                    <a:pt x="763" y="259"/>
                  </a:lnTo>
                  <a:lnTo>
                    <a:pt x="763" y="271"/>
                  </a:lnTo>
                  <a:lnTo>
                    <a:pt x="760" y="281"/>
                  </a:lnTo>
                  <a:lnTo>
                    <a:pt x="759" y="292"/>
                  </a:lnTo>
                  <a:lnTo>
                    <a:pt x="752" y="313"/>
                  </a:lnTo>
                  <a:lnTo>
                    <a:pt x="742" y="333"/>
                  </a:lnTo>
                  <a:lnTo>
                    <a:pt x="729" y="353"/>
                  </a:lnTo>
                  <a:lnTo>
                    <a:pt x="714" y="372"/>
                  </a:lnTo>
                  <a:lnTo>
                    <a:pt x="697" y="389"/>
                  </a:lnTo>
                  <a:lnTo>
                    <a:pt x="678" y="406"/>
                  </a:lnTo>
                  <a:lnTo>
                    <a:pt x="657" y="421"/>
                  </a:lnTo>
                  <a:lnTo>
                    <a:pt x="634" y="435"/>
                  </a:lnTo>
                  <a:lnTo>
                    <a:pt x="608" y="448"/>
                  </a:lnTo>
                  <a:lnTo>
                    <a:pt x="580" y="461"/>
                  </a:lnTo>
                  <a:lnTo>
                    <a:pt x="553" y="471"/>
                  </a:lnTo>
                  <a:lnTo>
                    <a:pt x="523" y="480"/>
                  </a:lnTo>
                  <a:lnTo>
                    <a:pt x="491" y="485"/>
                  </a:lnTo>
                  <a:lnTo>
                    <a:pt x="458" y="491"/>
                  </a:lnTo>
                  <a:lnTo>
                    <a:pt x="448" y="504"/>
                  </a:lnTo>
                  <a:lnTo>
                    <a:pt x="436" y="516"/>
                  </a:lnTo>
                  <a:lnTo>
                    <a:pt x="425" y="527"/>
                  </a:lnTo>
                  <a:lnTo>
                    <a:pt x="412" y="539"/>
                  </a:lnTo>
                  <a:lnTo>
                    <a:pt x="399" y="549"/>
                  </a:lnTo>
                  <a:lnTo>
                    <a:pt x="386" y="557"/>
                  </a:lnTo>
                  <a:lnTo>
                    <a:pt x="373" y="566"/>
                  </a:lnTo>
                  <a:lnTo>
                    <a:pt x="359" y="575"/>
                  </a:lnTo>
                  <a:lnTo>
                    <a:pt x="330" y="588"/>
                  </a:lnTo>
                  <a:lnTo>
                    <a:pt x="300" y="599"/>
                  </a:lnTo>
                  <a:lnTo>
                    <a:pt x="271" y="609"/>
                  </a:lnTo>
                  <a:lnTo>
                    <a:pt x="242" y="616"/>
                  </a:lnTo>
                  <a:lnTo>
                    <a:pt x="215" y="624"/>
                  </a:lnTo>
                  <a:lnTo>
                    <a:pt x="189" y="628"/>
                  </a:lnTo>
                  <a:lnTo>
                    <a:pt x="164" y="631"/>
                  </a:lnTo>
                  <a:lnTo>
                    <a:pt x="143" y="634"/>
                  </a:lnTo>
                  <a:lnTo>
                    <a:pt x="111" y="635"/>
                  </a:lnTo>
                  <a:lnTo>
                    <a:pt x="98" y="637"/>
                  </a:lnTo>
                  <a:lnTo>
                    <a:pt x="97" y="6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7" name="Group 78">
              <a:extLst>
                <a:ext uri="{FF2B5EF4-FFF2-40B4-BE49-F238E27FC236}">
                  <a16:creationId xmlns:a16="http://schemas.microsoft.com/office/drawing/2014/main" id="{6F1719F7-B564-46F9-99A2-1072D505DE48}"/>
                </a:ext>
              </a:extLst>
            </p:cNvPr>
            <p:cNvGrpSpPr/>
            <p:nvPr/>
          </p:nvGrpSpPr>
          <p:grpSpPr>
            <a:xfrm>
              <a:off x="5376863" y="1790701"/>
              <a:ext cx="514350" cy="677863"/>
              <a:chOff x="5376863" y="1790701"/>
              <a:chExt cx="514350" cy="677863"/>
            </a:xfrm>
            <a:grpFill/>
          </p:grpSpPr>
          <p:sp>
            <p:nvSpPr>
              <p:cNvPr id="278" name="Freeform 82">
                <a:extLst>
                  <a:ext uri="{FF2B5EF4-FFF2-40B4-BE49-F238E27FC236}">
                    <a16:creationId xmlns:a16="http://schemas.microsoft.com/office/drawing/2014/main" id="{7960CAEE-6AB0-4808-8E0C-610AB7F875F6}"/>
                  </a:ext>
                </a:extLst>
              </p:cNvPr>
              <p:cNvSpPr>
                <a:spLocks/>
              </p:cNvSpPr>
              <p:nvPr/>
            </p:nvSpPr>
            <p:spPr bwMode="auto">
              <a:xfrm>
                <a:off x="5405438" y="1790701"/>
                <a:ext cx="473075" cy="677863"/>
              </a:xfrm>
              <a:custGeom>
                <a:avLst/>
                <a:gdLst>
                  <a:gd name="T0" fmla="*/ 28 w 895"/>
                  <a:gd name="T1" fmla="*/ 1281 h 1281"/>
                  <a:gd name="T2" fmla="*/ 18 w 895"/>
                  <a:gd name="T3" fmla="*/ 1278 h 1281"/>
                  <a:gd name="T4" fmla="*/ 9 w 895"/>
                  <a:gd name="T5" fmla="*/ 1273 h 1281"/>
                  <a:gd name="T6" fmla="*/ 3 w 895"/>
                  <a:gd name="T7" fmla="*/ 1264 h 1281"/>
                  <a:gd name="T8" fmla="*/ 0 w 895"/>
                  <a:gd name="T9" fmla="*/ 1254 h 1281"/>
                  <a:gd name="T10" fmla="*/ 2 w 895"/>
                  <a:gd name="T11" fmla="*/ 21 h 1281"/>
                  <a:gd name="T12" fmla="*/ 6 w 895"/>
                  <a:gd name="T13" fmla="*/ 11 h 1281"/>
                  <a:gd name="T14" fmla="*/ 12 w 895"/>
                  <a:gd name="T15" fmla="*/ 4 h 1281"/>
                  <a:gd name="T16" fmla="*/ 22 w 895"/>
                  <a:gd name="T17" fmla="*/ 0 h 1281"/>
                  <a:gd name="T18" fmla="*/ 457 w 895"/>
                  <a:gd name="T19" fmla="*/ 0 h 1281"/>
                  <a:gd name="T20" fmla="*/ 467 w 895"/>
                  <a:gd name="T21" fmla="*/ 1 h 1281"/>
                  <a:gd name="T22" fmla="*/ 476 w 895"/>
                  <a:gd name="T23" fmla="*/ 7 h 1281"/>
                  <a:gd name="T24" fmla="*/ 481 w 895"/>
                  <a:gd name="T25" fmla="*/ 15 h 1281"/>
                  <a:gd name="T26" fmla="*/ 483 w 895"/>
                  <a:gd name="T27" fmla="*/ 26 h 1281"/>
                  <a:gd name="T28" fmla="*/ 481 w 895"/>
                  <a:gd name="T29" fmla="*/ 36 h 1281"/>
                  <a:gd name="T30" fmla="*/ 476 w 895"/>
                  <a:gd name="T31" fmla="*/ 44 h 1281"/>
                  <a:gd name="T32" fmla="*/ 467 w 895"/>
                  <a:gd name="T33" fmla="*/ 50 h 1281"/>
                  <a:gd name="T34" fmla="*/ 457 w 895"/>
                  <a:gd name="T35" fmla="*/ 51 h 1281"/>
                  <a:gd name="T36" fmla="*/ 54 w 895"/>
                  <a:gd name="T37" fmla="*/ 1228 h 1281"/>
                  <a:gd name="T38" fmla="*/ 843 w 895"/>
                  <a:gd name="T39" fmla="*/ 375 h 1281"/>
                  <a:gd name="T40" fmla="*/ 844 w 895"/>
                  <a:gd name="T41" fmla="*/ 365 h 1281"/>
                  <a:gd name="T42" fmla="*/ 850 w 895"/>
                  <a:gd name="T43" fmla="*/ 357 h 1281"/>
                  <a:gd name="T44" fmla="*/ 859 w 895"/>
                  <a:gd name="T45" fmla="*/ 351 h 1281"/>
                  <a:gd name="T46" fmla="*/ 869 w 895"/>
                  <a:gd name="T47" fmla="*/ 350 h 1281"/>
                  <a:gd name="T48" fmla="*/ 879 w 895"/>
                  <a:gd name="T49" fmla="*/ 351 h 1281"/>
                  <a:gd name="T50" fmla="*/ 887 w 895"/>
                  <a:gd name="T51" fmla="*/ 357 h 1281"/>
                  <a:gd name="T52" fmla="*/ 893 w 895"/>
                  <a:gd name="T53" fmla="*/ 365 h 1281"/>
                  <a:gd name="T54" fmla="*/ 895 w 895"/>
                  <a:gd name="T55" fmla="*/ 375 h 1281"/>
                  <a:gd name="T56" fmla="*/ 895 w 895"/>
                  <a:gd name="T57" fmla="*/ 1260 h 1281"/>
                  <a:gd name="T58" fmla="*/ 890 w 895"/>
                  <a:gd name="T59" fmla="*/ 1270 h 1281"/>
                  <a:gd name="T60" fmla="*/ 883 w 895"/>
                  <a:gd name="T61" fmla="*/ 1275 h 1281"/>
                  <a:gd name="T62" fmla="*/ 873 w 895"/>
                  <a:gd name="T6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5" h="1281">
                    <a:moveTo>
                      <a:pt x="869" y="1281"/>
                    </a:moveTo>
                    <a:lnTo>
                      <a:pt x="28" y="1281"/>
                    </a:lnTo>
                    <a:lnTo>
                      <a:pt x="22" y="1280"/>
                    </a:lnTo>
                    <a:lnTo>
                      <a:pt x="18" y="1278"/>
                    </a:lnTo>
                    <a:lnTo>
                      <a:pt x="12" y="1275"/>
                    </a:lnTo>
                    <a:lnTo>
                      <a:pt x="9" y="1273"/>
                    </a:lnTo>
                    <a:lnTo>
                      <a:pt x="6" y="1270"/>
                    </a:lnTo>
                    <a:lnTo>
                      <a:pt x="3" y="1264"/>
                    </a:lnTo>
                    <a:lnTo>
                      <a:pt x="2" y="1260"/>
                    </a:lnTo>
                    <a:lnTo>
                      <a:pt x="0" y="1254"/>
                    </a:lnTo>
                    <a:lnTo>
                      <a:pt x="0" y="26"/>
                    </a:lnTo>
                    <a:lnTo>
                      <a:pt x="2" y="21"/>
                    </a:lnTo>
                    <a:lnTo>
                      <a:pt x="3" y="15"/>
                    </a:lnTo>
                    <a:lnTo>
                      <a:pt x="6" y="11"/>
                    </a:lnTo>
                    <a:lnTo>
                      <a:pt x="9" y="7"/>
                    </a:lnTo>
                    <a:lnTo>
                      <a:pt x="12" y="4"/>
                    </a:lnTo>
                    <a:lnTo>
                      <a:pt x="18" y="1"/>
                    </a:lnTo>
                    <a:lnTo>
                      <a:pt x="22" y="0"/>
                    </a:lnTo>
                    <a:lnTo>
                      <a:pt x="28" y="0"/>
                    </a:lnTo>
                    <a:lnTo>
                      <a:pt x="457" y="0"/>
                    </a:lnTo>
                    <a:lnTo>
                      <a:pt x="463" y="0"/>
                    </a:lnTo>
                    <a:lnTo>
                      <a:pt x="467" y="1"/>
                    </a:lnTo>
                    <a:lnTo>
                      <a:pt x="471" y="4"/>
                    </a:lnTo>
                    <a:lnTo>
                      <a:pt x="476" y="7"/>
                    </a:lnTo>
                    <a:lnTo>
                      <a:pt x="478" y="11"/>
                    </a:lnTo>
                    <a:lnTo>
                      <a:pt x="481" y="15"/>
                    </a:lnTo>
                    <a:lnTo>
                      <a:pt x="483" y="21"/>
                    </a:lnTo>
                    <a:lnTo>
                      <a:pt x="483" y="26"/>
                    </a:lnTo>
                    <a:lnTo>
                      <a:pt x="483" y="31"/>
                    </a:lnTo>
                    <a:lnTo>
                      <a:pt x="481" y="36"/>
                    </a:lnTo>
                    <a:lnTo>
                      <a:pt x="478" y="40"/>
                    </a:lnTo>
                    <a:lnTo>
                      <a:pt x="476" y="44"/>
                    </a:lnTo>
                    <a:lnTo>
                      <a:pt x="471" y="47"/>
                    </a:lnTo>
                    <a:lnTo>
                      <a:pt x="467" y="50"/>
                    </a:lnTo>
                    <a:lnTo>
                      <a:pt x="463" y="51"/>
                    </a:lnTo>
                    <a:lnTo>
                      <a:pt x="457" y="51"/>
                    </a:lnTo>
                    <a:lnTo>
                      <a:pt x="54" y="51"/>
                    </a:lnTo>
                    <a:lnTo>
                      <a:pt x="54" y="1228"/>
                    </a:lnTo>
                    <a:lnTo>
                      <a:pt x="843" y="1228"/>
                    </a:lnTo>
                    <a:lnTo>
                      <a:pt x="843" y="375"/>
                    </a:lnTo>
                    <a:lnTo>
                      <a:pt x="843" y="370"/>
                    </a:lnTo>
                    <a:lnTo>
                      <a:pt x="844" y="365"/>
                    </a:lnTo>
                    <a:lnTo>
                      <a:pt x="847" y="361"/>
                    </a:lnTo>
                    <a:lnTo>
                      <a:pt x="850" y="357"/>
                    </a:lnTo>
                    <a:lnTo>
                      <a:pt x="854" y="354"/>
                    </a:lnTo>
                    <a:lnTo>
                      <a:pt x="859" y="351"/>
                    </a:lnTo>
                    <a:lnTo>
                      <a:pt x="863" y="350"/>
                    </a:lnTo>
                    <a:lnTo>
                      <a:pt x="869" y="350"/>
                    </a:lnTo>
                    <a:lnTo>
                      <a:pt x="873" y="350"/>
                    </a:lnTo>
                    <a:lnTo>
                      <a:pt x="879" y="351"/>
                    </a:lnTo>
                    <a:lnTo>
                      <a:pt x="883" y="354"/>
                    </a:lnTo>
                    <a:lnTo>
                      <a:pt x="887" y="357"/>
                    </a:lnTo>
                    <a:lnTo>
                      <a:pt x="890" y="361"/>
                    </a:lnTo>
                    <a:lnTo>
                      <a:pt x="893" y="365"/>
                    </a:lnTo>
                    <a:lnTo>
                      <a:pt x="895" y="370"/>
                    </a:lnTo>
                    <a:lnTo>
                      <a:pt x="895" y="375"/>
                    </a:lnTo>
                    <a:lnTo>
                      <a:pt x="895" y="1254"/>
                    </a:lnTo>
                    <a:lnTo>
                      <a:pt x="895" y="1260"/>
                    </a:lnTo>
                    <a:lnTo>
                      <a:pt x="893" y="1264"/>
                    </a:lnTo>
                    <a:lnTo>
                      <a:pt x="890" y="1270"/>
                    </a:lnTo>
                    <a:lnTo>
                      <a:pt x="887" y="1273"/>
                    </a:lnTo>
                    <a:lnTo>
                      <a:pt x="883" y="1275"/>
                    </a:lnTo>
                    <a:lnTo>
                      <a:pt x="879" y="1278"/>
                    </a:lnTo>
                    <a:lnTo>
                      <a:pt x="873" y="1280"/>
                    </a:lnTo>
                    <a:lnTo>
                      <a:pt x="869"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83">
                <a:extLst>
                  <a:ext uri="{FF2B5EF4-FFF2-40B4-BE49-F238E27FC236}">
                    <a16:creationId xmlns:a16="http://schemas.microsoft.com/office/drawing/2014/main" id="{F221BF95-B15E-466D-ACBF-5FE69EE1CA67}"/>
                  </a:ext>
                </a:extLst>
              </p:cNvPr>
              <p:cNvSpPr>
                <a:spLocks/>
              </p:cNvSpPr>
              <p:nvPr/>
            </p:nvSpPr>
            <p:spPr bwMode="auto">
              <a:xfrm>
                <a:off x="5376863" y="1878013"/>
                <a:ext cx="85725" cy="28575"/>
              </a:xfrm>
              <a:custGeom>
                <a:avLst/>
                <a:gdLst>
                  <a:gd name="T0" fmla="*/ 136 w 162"/>
                  <a:gd name="T1" fmla="*/ 53 h 53"/>
                  <a:gd name="T2" fmla="*/ 26 w 162"/>
                  <a:gd name="T3" fmla="*/ 53 h 53"/>
                  <a:gd name="T4" fmla="*/ 20 w 162"/>
                  <a:gd name="T5" fmla="*/ 52 h 53"/>
                  <a:gd name="T6" fmla="*/ 15 w 162"/>
                  <a:gd name="T7" fmla="*/ 50 h 53"/>
                  <a:gd name="T8" fmla="*/ 11 w 162"/>
                  <a:gd name="T9" fmla="*/ 49 h 53"/>
                  <a:gd name="T10" fmla="*/ 7 w 162"/>
                  <a:gd name="T11" fmla="*/ 44 h 53"/>
                  <a:gd name="T12" fmla="*/ 4 w 162"/>
                  <a:gd name="T13" fmla="*/ 41 h 53"/>
                  <a:gd name="T14" fmla="*/ 1 w 162"/>
                  <a:gd name="T15" fmla="*/ 37 h 53"/>
                  <a:gd name="T16" fmla="*/ 0 w 162"/>
                  <a:gd name="T17" fmla="*/ 31 h 53"/>
                  <a:gd name="T18" fmla="*/ 0 w 162"/>
                  <a:gd name="T19" fmla="*/ 27 h 53"/>
                  <a:gd name="T20" fmla="*/ 0 w 162"/>
                  <a:gd name="T21" fmla="*/ 21 h 53"/>
                  <a:gd name="T22" fmla="*/ 1 w 162"/>
                  <a:gd name="T23" fmla="*/ 16 h 53"/>
                  <a:gd name="T24" fmla="*/ 4 w 162"/>
                  <a:gd name="T25" fmla="*/ 11 h 53"/>
                  <a:gd name="T26" fmla="*/ 7 w 162"/>
                  <a:gd name="T27" fmla="*/ 8 h 53"/>
                  <a:gd name="T28" fmla="*/ 11 w 162"/>
                  <a:gd name="T29" fmla="*/ 4 h 53"/>
                  <a:gd name="T30" fmla="*/ 15 w 162"/>
                  <a:gd name="T31" fmla="*/ 3 h 53"/>
                  <a:gd name="T32" fmla="*/ 20 w 162"/>
                  <a:gd name="T33" fmla="*/ 1 h 53"/>
                  <a:gd name="T34" fmla="*/ 26 w 162"/>
                  <a:gd name="T35" fmla="*/ 0 h 53"/>
                  <a:gd name="T36" fmla="*/ 136 w 162"/>
                  <a:gd name="T37" fmla="*/ 0 h 53"/>
                  <a:gd name="T38" fmla="*/ 142 w 162"/>
                  <a:gd name="T39" fmla="*/ 1 h 53"/>
                  <a:gd name="T40" fmla="*/ 147 w 162"/>
                  <a:gd name="T41" fmla="*/ 3 h 53"/>
                  <a:gd name="T42" fmla="*/ 152 w 162"/>
                  <a:gd name="T43" fmla="*/ 4 h 53"/>
                  <a:gd name="T44" fmla="*/ 155 w 162"/>
                  <a:gd name="T45" fmla="*/ 8 h 53"/>
                  <a:gd name="T46" fmla="*/ 158 w 162"/>
                  <a:gd name="T47" fmla="*/ 11 h 53"/>
                  <a:gd name="T48" fmla="*/ 161 w 162"/>
                  <a:gd name="T49" fmla="*/ 16 h 53"/>
                  <a:gd name="T50" fmla="*/ 162 w 162"/>
                  <a:gd name="T51" fmla="*/ 21 h 53"/>
                  <a:gd name="T52" fmla="*/ 162 w 162"/>
                  <a:gd name="T53" fmla="*/ 27 h 53"/>
                  <a:gd name="T54" fmla="*/ 162 w 162"/>
                  <a:gd name="T55" fmla="*/ 31 h 53"/>
                  <a:gd name="T56" fmla="*/ 161 w 162"/>
                  <a:gd name="T57" fmla="*/ 37 h 53"/>
                  <a:gd name="T58" fmla="*/ 158 w 162"/>
                  <a:gd name="T59" fmla="*/ 41 h 53"/>
                  <a:gd name="T60" fmla="*/ 155 w 162"/>
                  <a:gd name="T61" fmla="*/ 44 h 53"/>
                  <a:gd name="T62" fmla="*/ 152 w 162"/>
                  <a:gd name="T63" fmla="*/ 49 h 53"/>
                  <a:gd name="T64" fmla="*/ 147 w 162"/>
                  <a:gd name="T65" fmla="*/ 50 h 53"/>
                  <a:gd name="T66" fmla="*/ 142 w 162"/>
                  <a:gd name="T67" fmla="*/ 52 h 53"/>
                  <a:gd name="T68" fmla="*/ 136 w 162"/>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3">
                    <a:moveTo>
                      <a:pt x="136" y="53"/>
                    </a:moveTo>
                    <a:lnTo>
                      <a:pt x="26" y="53"/>
                    </a:lnTo>
                    <a:lnTo>
                      <a:pt x="20" y="52"/>
                    </a:lnTo>
                    <a:lnTo>
                      <a:pt x="15" y="50"/>
                    </a:lnTo>
                    <a:lnTo>
                      <a:pt x="11" y="49"/>
                    </a:lnTo>
                    <a:lnTo>
                      <a:pt x="7" y="44"/>
                    </a:lnTo>
                    <a:lnTo>
                      <a:pt x="4" y="41"/>
                    </a:lnTo>
                    <a:lnTo>
                      <a:pt x="1" y="37"/>
                    </a:lnTo>
                    <a:lnTo>
                      <a:pt x="0" y="31"/>
                    </a:lnTo>
                    <a:lnTo>
                      <a:pt x="0" y="27"/>
                    </a:lnTo>
                    <a:lnTo>
                      <a:pt x="0" y="21"/>
                    </a:lnTo>
                    <a:lnTo>
                      <a:pt x="1" y="16"/>
                    </a:lnTo>
                    <a:lnTo>
                      <a:pt x="4" y="11"/>
                    </a:lnTo>
                    <a:lnTo>
                      <a:pt x="7" y="8"/>
                    </a:lnTo>
                    <a:lnTo>
                      <a:pt x="11" y="4"/>
                    </a:lnTo>
                    <a:lnTo>
                      <a:pt x="15" y="3"/>
                    </a:lnTo>
                    <a:lnTo>
                      <a:pt x="20" y="1"/>
                    </a:lnTo>
                    <a:lnTo>
                      <a:pt x="26" y="0"/>
                    </a:lnTo>
                    <a:lnTo>
                      <a:pt x="136" y="0"/>
                    </a:lnTo>
                    <a:lnTo>
                      <a:pt x="142" y="1"/>
                    </a:lnTo>
                    <a:lnTo>
                      <a:pt x="147" y="3"/>
                    </a:lnTo>
                    <a:lnTo>
                      <a:pt x="152" y="4"/>
                    </a:lnTo>
                    <a:lnTo>
                      <a:pt x="155" y="8"/>
                    </a:lnTo>
                    <a:lnTo>
                      <a:pt x="158" y="11"/>
                    </a:lnTo>
                    <a:lnTo>
                      <a:pt x="161" y="16"/>
                    </a:lnTo>
                    <a:lnTo>
                      <a:pt x="162" y="21"/>
                    </a:lnTo>
                    <a:lnTo>
                      <a:pt x="162" y="27"/>
                    </a:lnTo>
                    <a:lnTo>
                      <a:pt x="162" y="31"/>
                    </a:lnTo>
                    <a:lnTo>
                      <a:pt x="161" y="37"/>
                    </a:lnTo>
                    <a:lnTo>
                      <a:pt x="158" y="41"/>
                    </a:lnTo>
                    <a:lnTo>
                      <a:pt x="155" y="44"/>
                    </a:lnTo>
                    <a:lnTo>
                      <a:pt x="152" y="49"/>
                    </a:lnTo>
                    <a:lnTo>
                      <a:pt x="147" y="50"/>
                    </a:lnTo>
                    <a:lnTo>
                      <a:pt x="142" y="52"/>
                    </a:lnTo>
                    <a:lnTo>
                      <a:pt x="136"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84">
                <a:extLst>
                  <a:ext uri="{FF2B5EF4-FFF2-40B4-BE49-F238E27FC236}">
                    <a16:creationId xmlns:a16="http://schemas.microsoft.com/office/drawing/2014/main" id="{6B89FA45-2F3E-4966-8C4C-63D0C1076872}"/>
                  </a:ext>
                </a:extLst>
              </p:cNvPr>
              <p:cNvSpPr>
                <a:spLocks/>
              </p:cNvSpPr>
              <p:nvPr/>
            </p:nvSpPr>
            <p:spPr bwMode="auto">
              <a:xfrm>
                <a:off x="5376863" y="1997076"/>
                <a:ext cx="85725" cy="26988"/>
              </a:xfrm>
              <a:custGeom>
                <a:avLst/>
                <a:gdLst>
                  <a:gd name="T0" fmla="*/ 136 w 162"/>
                  <a:gd name="T1" fmla="*/ 52 h 52"/>
                  <a:gd name="T2" fmla="*/ 26 w 162"/>
                  <a:gd name="T3" fmla="*/ 52 h 52"/>
                  <a:gd name="T4" fmla="*/ 20 w 162"/>
                  <a:gd name="T5" fmla="*/ 51 h 52"/>
                  <a:gd name="T6" fmla="*/ 15 w 162"/>
                  <a:gd name="T7" fmla="*/ 49 h 52"/>
                  <a:gd name="T8" fmla="*/ 11 w 162"/>
                  <a:gd name="T9" fmla="*/ 48 h 52"/>
                  <a:gd name="T10" fmla="*/ 7 w 162"/>
                  <a:gd name="T11" fmla="*/ 44 h 52"/>
                  <a:gd name="T12" fmla="*/ 4 w 162"/>
                  <a:gd name="T13" fmla="*/ 41 h 52"/>
                  <a:gd name="T14" fmla="*/ 1 w 162"/>
                  <a:gd name="T15" fmla="*/ 36 h 52"/>
                  <a:gd name="T16" fmla="*/ 0 w 162"/>
                  <a:gd name="T17" fmla="*/ 31 h 52"/>
                  <a:gd name="T18" fmla="*/ 0 w 162"/>
                  <a:gd name="T19" fmla="*/ 26 h 52"/>
                  <a:gd name="T20" fmla="*/ 0 w 162"/>
                  <a:gd name="T21" fmla="*/ 20 h 52"/>
                  <a:gd name="T22" fmla="*/ 1 w 162"/>
                  <a:gd name="T23" fmla="*/ 16 h 52"/>
                  <a:gd name="T24" fmla="*/ 4 w 162"/>
                  <a:gd name="T25" fmla="*/ 12 h 52"/>
                  <a:gd name="T26" fmla="*/ 7 w 162"/>
                  <a:gd name="T27" fmla="*/ 8 h 52"/>
                  <a:gd name="T28" fmla="*/ 11 w 162"/>
                  <a:gd name="T29" fmla="*/ 5 h 52"/>
                  <a:gd name="T30" fmla="*/ 15 w 162"/>
                  <a:gd name="T31" fmla="*/ 2 h 52"/>
                  <a:gd name="T32" fmla="*/ 20 w 162"/>
                  <a:gd name="T33" fmla="*/ 0 h 52"/>
                  <a:gd name="T34" fmla="*/ 26 w 162"/>
                  <a:gd name="T35" fmla="*/ 0 h 52"/>
                  <a:gd name="T36" fmla="*/ 136 w 162"/>
                  <a:gd name="T37" fmla="*/ 0 h 52"/>
                  <a:gd name="T38" fmla="*/ 142 w 162"/>
                  <a:gd name="T39" fmla="*/ 0 h 52"/>
                  <a:gd name="T40" fmla="*/ 147 w 162"/>
                  <a:gd name="T41" fmla="*/ 2 h 52"/>
                  <a:gd name="T42" fmla="*/ 152 w 162"/>
                  <a:gd name="T43" fmla="*/ 5 h 52"/>
                  <a:gd name="T44" fmla="*/ 155 w 162"/>
                  <a:gd name="T45" fmla="*/ 8 h 52"/>
                  <a:gd name="T46" fmla="*/ 158 w 162"/>
                  <a:gd name="T47" fmla="*/ 12 h 52"/>
                  <a:gd name="T48" fmla="*/ 161 w 162"/>
                  <a:gd name="T49" fmla="*/ 16 h 52"/>
                  <a:gd name="T50" fmla="*/ 162 w 162"/>
                  <a:gd name="T51" fmla="*/ 20 h 52"/>
                  <a:gd name="T52" fmla="*/ 162 w 162"/>
                  <a:gd name="T53" fmla="*/ 26 h 52"/>
                  <a:gd name="T54" fmla="*/ 162 w 162"/>
                  <a:gd name="T55" fmla="*/ 31 h 52"/>
                  <a:gd name="T56" fmla="*/ 161 w 162"/>
                  <a:gd name="T57" fmla="*/ 36 h 52"/>
                  <a:gd name="T58" fmla="*/ 158 w 162"/>
                  <a:gd name="T59" fmla="*/ 41 h 52"/>
                  <a:gd name="T60" fmla="*/ 155 w 162"/>
                  <a:gd name="T61" fmla="*/ 44 h 52"/>
                  <a:gd name="T62" fmla="*/ 152 w 162"/>
                  <a:gd name="T63" fmla="*/ 48 h 52"/>
                  <a:gd name="T64" fmla="*/ 147 w 162"/>
                  <a:gd name="T65" fmla="*/ 49 h 52"/>
                  <a:gd name="T66" fmla="*/ 142 w 162"/>
                  <a:gd name="T67" fmla="*/ 51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1"/>
                    </a:lnTo>
                    <a:lnTo>
                      <a:pt x="15" y="49"/>
                    </a:lnTo>
                    <a:lnTo>
                      <a:pt x="11" y="48"/>
                    </a:lnTo>
                    <a:lnTo>
                      <a:pt x="7" y="44"/>
                    </a:lnTo>
                    <a:lnTo>
                      <a:pt x="4" y="41"/>
                    </a:lnTo>
                    <a:lnTo>
                      <a:pt x="1" y="36"/>
                    </a:lnTo>
                    <a:lnTo>
                      <a:pt x="0" y="31"/>
                    </a:lnTo>
                    <a:lnTo>
                      <a:pt x="0" y="26"/>
                    </a:lnTo>
                    <a:lnTo>
                      <a:pt x="0" y="20"/>
                    </a:lnTo>
                    <a:lnTo>
                      <a:pt x="1" y="16"/>
                    </a:lnTo>
                    <a:lnTo>
                      <a:pt x="4" y="12"/>
                    </a:lnTo>
                    <a:lnTo>
                      <a:pt x="7" y="8"/>
                    </a:lnTo>
                    <a:lnTo>
                      <a:pt x="11" y="5"/>
                    </a:lnTo>
                    <a:lnTo>
                      <a:pt x="15" y="2"/>
                    </a:lnTo>
                    <a:lnTo>
                      <a:pt x="20" y="0"/>
                    </a:lnTo>
                    <a:lnTo>
                      <a:pt x="26" y="0"/>
                    </a:lnTo>
                    <a:lnTo>
                      <a:pt x="136" y="0"/>
                    </a:lnTo>
                    <a:lnTo>
                      <a:pt x="142" y="0"/>
                    </a:lnTo>
                    <a:lnTo>
                      <a:pt x="147" y="2"/>
                    </a:lnTo>
                    <a:lnTo>
                      <a:pt x="152" y="5"/>
                    </a:lnTo>
                    <a:lnTo>
                      <a:pt x="155" y="8"/>
                    </a:lnTo>
                    <a:lnTo>
                      <a:pt x="158" y="12"/>
                    </a:lnTo>
                    <a:lnTo>
                      <a:pt x="161" y="16"/>
                    </a:lnTo>
                    <a:lnTo>
                      <a:pt x="162" y="20"/>
                    </a:lnTo>
                    <a:lnTo>
                      <a:pt x="162" y="26"/>
                    </a:lnTo>
                    <a:lnTo>
                      <a:pt x="162" y="31"/>
                    </a:lnTo>
                    <a:lnTo>
                      <a:pt x="161" y="36"/>
                    </a:lnTo>
                    <a:lnTo>
                      <a:pt x="158" y="41"/>
                    </a:lnTo>
                    <a:lnTo>
                      <a:pt x="155" y="44"/>
                    </a:lnTo>
                    <a:lnTo>
                      <a:pt x="152" y="48"/>
                    </a:lnTo>
                    <a:lnTo>
                      <a:pt x="147" y="49"/>
                    </a:lnTo>
                    <a:lnTo>
                      <a:pt x="142" y="51"/>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85">
                <a:extLst>
                  <a:ext uri="{FF2B5EF4-FFF2-40B4-BE49-F238E27FC236}">
                    <a16:creationId xmlns:a16="http://schemas.microsoft.com/office/drawing/2014/main" id="{5D4C7AF4-1C79-4DA5-A8AF-7C9E4DB79501}"/>
                  </a:ext>
                </a:extLst>
              </p:cNvPr>
              <p:cNvSpPr>
                <a:spLocks/>
              </p:cNvSpPr>
              <p:nvPr/>
            </p:nvSpPr>
            <p:spPr bwMode="auto">
              <a:xfrm>
                <a:off x="5376863" y="2116138"/>
                <a:ext cx="85725" cy="26988"/>
              </a:xfrm>
              <a:custGeom>
                <a:avLst/>
                <a:gdLst>
                  <a:gd name="T0" fmla="*/ 136 w 162"/>
                  <a:gd name="T1" fmla="*/ 51 h 51"/>
                  <a:gd name="T2" fmla="*/ 26 w 162"/>
                  <a:gd name="T3" fmla="*/ 51 h 51"/>
                  <a:gd name="T4" fmla="*/ 20 w 162"/>
                  <a:gd name="T5" fmla="*/ 51 h 51"/>
                  <a:gd name="T6" fmla="*/ 15 w 162"/>
                  <a:gd name="T7" fmla="*/ 50 h 51"/>
                  <a:gd name="T8" fmla="*/ 11 w 162"/>
                  <a:gd name="T9" fmla="*/ 47 h 51"/>
                  <a:gd name="T10" fmla="*/ 7 w 162"/>
                  <a:gd name="T11" fmla="*/ 44 h 51"/>
                  <a:gd name="T12" fmla="*/ 4 w 162"/>
                  <a:gd name="T13" fmla="*/ 40 h 51"/>
                  <a:gd name="T14" fmla="*/ 1 w 162"/>
                  <a:gd name="T15" fmla="*/ 36 h 51"/>
                  <a:gd name="T16" fmla="*/ 0 w 162"/>
                  <a:gd name="T17" fmla="*/ 30 h 51"/>
                  <a:gd name="T18" fmla="*/ 0 w 162"/>
                  <a:gd name="T19" fmla="*/ 25 h 51"/>
                  <a:gd name="T20" fmla="*/ 0 w 162"/>
                  <a:gd name="T21" fmla="*/ 20 h 51"/>
                  <a:gd name="T22" fmla="*/ 1 w 162"/>
                  <a:gd name="T23" fmla="*/ 15 h 51"/>
                  <a:gd name="T24" fmla="*/ 4 w 162"/>
                  <a:gd name="T25" fmla="*/ 11 h 51"/>
                  <a:gd name="T26" fmla="*/ 7 w 162"/>
                  <a:gd name="T27" fmla="*/ 7 h 51"/>
                  <a:gd name="T28" fmla="*/ 11 w 162"/>
                  <a:gd name="T29" fmla="*/ 4 h 51"/>
                  <a:gd name="T30" fmla="*/ 15 w 162"/>
                  <a:gd name="T31" fmla="*/ 1 h 51"/>
                  <a:gd name="T32" fmla="*/ 20 w 162"/>
                  <a:gd name="T33" fmla="*/ 0 h 51"/>
                  <a:gd name="T34" fmla="*/ 26 w 162"/>
                  <a:gd name="T35" fmla="*/ 0 h 51"/>
                  <a:gd name="T36" fmla="*/ 136 w 162"/>
                  <a:gd name="T37" fmla="*/ 0 h 51"/>
                  <a:gd name="T38" fmla="*/ 142 w 162"/>
                  <a:gd name="T39" fmla="*/ 0 h 51"/>
                  <a:gd name="T40" fmla="*/ 147 w 162"/>
                  <a:gd name="T41" fmla="*/ 1 h 51"/>
                  <a:gd name="T42" fmla="*/ 152 w 162"/>
                  <a:gd name="T43" fmla="*/ 4 h 51"/>
                  <a:gd name="T44" fmla="*/ 155 w 162"/>
                  <a:gd name="T45" fmla="*/ 7 h 51"/>
                  <a:gd name="T46" fmla="*/ 158 w 162"/>
                  <a:gd name="T47" fmla="*/ 11 h 51"/>
                  <a:gd name="T48" fmla="*/ 161 w 162"/>
                  <a:gd name="T49" fmla="*/ 15 h 51"/>
                  <a:gd name="T50" fmla="*/ 162 w 162"/>
                  <a:gd name="T51" fmla="*/ 20 h 51"/>
                  <a:gd name="T52" fmla="*/ 162 w 162"/>
                  <a:gd name="T53" fmla="*/ 25 h 51"/>
                  <a:gd name="T54" fmla="*/ 162 w 162"/>
                  <a:gd name="T55" fmla="*/ 30 h 51"/>
                  <a:gd name="T56" fmla="*/ 161 w 162"/>
                  <a:gd name="T57" fmla="*/ 36 h 51"/>
                  <a:gd name="T58" fmla="*/ 158 w 162"/>
                  <a:gd name="T59" fmla="*/ 40 h 51"/>
                  <a:gd name="T60" fmla="*/ 155 w 162"/>
                  <a:gd name="T61" fmla="*/ 44 h 51"/>
                  <a:gd name="T62" fmla="*/ 152 w 162"/>
                  <a:gd name="T63" fmla="*/ 47 h 51"/>
                  <a:gd name="T64" fmla="*/ 147 w 162"/>
                  <a:gd name="T65" fmla="*/ 50 h 51"/>
                  <a:gd name="T66" fmla="*/ 142 w 162"/>
                  <a:gd name="T67" fmla="*/ 51 h 51"/>
                  <a:gd name="T68" fmla="*/ 136 w 162"/>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1">
                    <a:moveTo>
                      <a:pt x="136" y="51"/>
                    </a:moveTo>
                    <a:lnTo>
                      <a:pt x="26" y="51"/>
                    </a:lnTo>
                    <a:lnTo>
                      <a:pt x="20" y="51"/>
                    </a:lnTo>
                    <a:lnTo>
                      <a:pt x="15" y="50"/>
                    </a:lnTo>
                    <a:lnTo>
                      <a:pt x="11" y="47"/>
                    </a:lnTo>
                    <a:lnTo>
                      <a:pt x="7" y="44"/>
                    </a:lnTo>
                    <a:lnTo>
                      <a:pt x="4" y="40"/>
                    </a:lnTo>
                    <a:lnTo>
                      <a:pt x="1" y="36"/>
                    </a:lnTo>
                    <a:lnTo>
                      <a:pt x="0" y="30"/>
                    </a:lnTo>
                    <a:lnTo>
                      <a:pt x="0" y="25"/>
                    </a:lnTo>
                    <a:lnTo>
                      <a:pt x="0" y="20"/>
                    </a:lnTo>
                    <a:lnTo>
                      <a:pt x="1" y="15"/>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5"/>
                    </a:lnTo>
                    <a:lnTo>
                      <a:pt x="162" y="20"/>
                    </a:lnTo>
                    <a:lnTo>
                      <a:pt x="162" y="25"/>
                    </a:lnTo>
                    <a:lnTo>
                      <a:pt x="162" y="30"/>
                    </a:lnTo>
                    <a:lnTo>
                      <a:pt x="161" y="36"/>
                    </a:lnTo>
                    <a:lnTo>
                      <a:pt x="158" y="40"/>
                    </a:lnTo>
                    <a:lnTo>
                      <a:pt x="155" y="44"/>
                    </a:lnTo>
                    <a:lnTo>
                      <a:pt x="152" y="47"/>
                    </a:lnTo>
                    <a:lnTo>
                      <a:pt x="147" y="50"/>
                    </a:lnTo>
                    <a:lnTo>
                      <a:pt x="142" y="51"/>
                    </a:lnTo>
                    <a:lnTo>
                      <a:pt x="1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86">
                <a:extLst>
                  <a:ext uri="{FF2B5EF4-FFF2-40B4-BE49-F238E27FC236}">
                    <a16:creationId xmlns:a16="http://schemas.microsoft.com/office/drawing/2014/main" id="{ECADFC1F-9D89-4E1D-B4BD-A120A06A2F52}"/>
                  </a:ext>
                </a:extLst>
              </p:cNvPr>
              <p:cNvSpPr>
                <a:spLocks/>
              </p:cNvSpPr>
              <p:nvPr/>
            </p:nvSpPr>
            <p:spPr bwMode="auto">
              <a:xfrm>
                <a:off x="5495925" y="2116138"/>
                <a:ext cx="295275" cy="26988"/>
              </a:xfrm>
              <a:custGeom>
                <a:avLst/>
                <a:gdLst>
                  <a:gd name="T0" fmla="*/ 531 w 557"/>
                  <a:gd name="T1" fmla="*/ 51 h 51"/>
                  <a:gd name="T2" fmla="*/ 26 w 557"/>
                  <a:gd name="T3" fmla="*/ 51 h 51"/>
                  <a:gd name="T4" fmla="*/ 20 w 557"/>
                  <a:gd name="T5" fmla="*/ 51 h 51"/>
                  <a:gd name="T6" fmla="*/ 16 w 557"/>
                  <a:gd name="T7" fmla="*/ 50 h 51"/>
                  <a:gd name="T8" fmla="*/ 11 w 557"/>
                  <a:gd name="T9" fmla="*/ 47 h 51"/>
                  <a:gd name="T10" fmla="*/ 7 w 557"/>
                  <a:gd name="T11" fmla="*/ 44 h 51"/>
                  <a:gd name="T12" fmla="*/ 4 w 557"/>
                  <a:gd name="T13" fmla="*/ 40 h 51"/>
                  <a:gd name="T14" fmla="*/ 1 w 557"/>
                  <a:gd name="T15" fmla="*/ 36 h 51"/>
                  <a:gd name="T16" fmla="*/ 0 w 557"/>
                  <a:gd name="T17" fmla="*/ 30 h 51"/>
                  <a:gd name="T18" fmla="*/ 0 w 557"/>
                  <a:gd name="T19" fmla="*/ 25 h 51"/>
                  <a:gd name="T20" fmla="*/ 0 w 557"/>
                  <a:gd name="T21" fmla="*/ 20 h 51"/>
                  <a:gd name="T22" fmla="*/ 1 w 557"/>
                  <a:gd name="T23" fmla="*/ 15 h 51"/>
                  <a:gd name="T24" fmla="*/ 4 w 557"/>
                  <a:gd name="T25" fmla="*/ 11 h 51"/>
                  <a:gd name="T26" fmla="*/ 7 w 557"/>
                  <a:gd name="T27" fmla="*/ 7 h 51"/>
                  <a:gd name="T28" fmla="*/ 11 w 557"/>
                  <a:gd name="T29" fmla="*/ 4 h 51"/>
                  <a:gd name="T30" fmla="*/ 16 w 557"/>
                  <a:gd name="T31" fmla="*/ 1 h 51"/>
                  <a:gd name="T32" fmla="*/ 20 w 557"/>
                  <a:gd name="T33" fmla="*/ 0 h 51"/>
                  <a:gd name="T34" fmla="*/ 26 w 557"/>
                  <a:gd name="T35" fmla="*/ 0 h 51"/>
                  <a:gd name="T36" fmla="*/ 531 w 557"/>
                  <a:gd name="T37" fmla="*/ 0 h 51"/>
                  <a:gd name="T38" fmla="*/ 537 w 557"/>
                  <a:gd name="T39" fmla="*/ 0 h 51"/>
                  <a:gd name="T40" fmla="*/ 541 w 557"/>
                  <a:gd name="T41" fmla="*/ 1 h 51"/>
                  <a:gd name="T42" fmla="*/ 545 w 557"/>
                  <a:gd name="T43" fmla="*/ 4 h 51"/>
                  <a:gd name="T44" fmla="*/ 550 w 557"/>
                  <a:gd name="T45" fmla="*/ 7 h 51"/>
                  <a:gd name="T46" fmla="*/ 553 w 557"/>
                  <a:gd name="T47" fmla="*/ 11 h 51"/>
                  <a:gd name="T48" fmla="*/ 556 w 557"/>
                  <a:gd name="T49" fmla="*/ 15 h 51"/>
                  <a:gd name="T50" fmla="*/ 557 w 557"/>
                  <a:gd name="T51" fmla="*/ 20 h 51"/>
                  <a:gd name="T52" fmla="*/ 557 w 557"/>
                  <a:gd name="T53" fmla="*/ 25 h 51"/>
                  <a:gd name="T54" fmla="*/ 557 w 557"/>
                  <a:gd name="T55" fmla="*/ 30 h 51"/>
                  <a:gd name="T56" fmla="*/ 556 w 557"/>
                  <a:gd name="T57" fmla="*/ 36 h 51"/>
                  <a:gd name="T58" fmla="*/ 553 w 557"/>
                  <a:gd name="T59" fmla="*/ 40 h 51"/>
                  <a:gd name="T60" fmla="*/ 550 w 557"/>
                  <a:gd name="T61" fmla="*/ 44 h 51"/>
                  <a:gd name="T62" fmla="*/ 545 w 557"/>
                  <a:gd name="T63" fmla="*/ 47 h 51"/>
                  <a:gd name="T64" fmla="*/ 541 w 557"/>
                  <a:gd name="T65" fmla="*/ 50 h 51"/>
                  <a:gd name="T66" fmla="*/ 537 w 557"/>
                  <a:gd name="T67" fmla="*/ 51 h 51"/>
                  <a:gd name="T68" fmla="*/ 531 w 55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1">
                    <a:moveTo>
                      <a:pt x="531" y="51"/>
                    </a:moveTo>
                    <a:lnTo>
                      <a:pt x="26" y="51"/>
                    </a:lnTo>
                    <a:lnTo>
                      <a:pt x="20" y="51"/>
                    </a:lnTo>
                    <a:lnTo>
                      <a:pt x="16" y="50"/>
                    </a:lnTo>
                    <a:lnTo>
                      <a:pt x="11" y="47"/>
                    </a:lnTo>
                    <a:lnTo>
                      <a:pt x="7" y="44"/>
                    </a:lnTo>
                    <a:lnTo>
                      <a:pt x="4" y="40"/>
                    </a:lnTo>
                    <a:lnTo>
                      <a:pt x="1" y="36"/>
                    </a:lnTo>
                    <a:lnTo>
                      <a:pt x="0" y="30"/>
                    </a:lnTo>
                    <a:lnTo>
                      <a:pt x="0" y="25"/>
                    </a:lnTo>
                    <a:lnTo>
                      <a:pt x="0" y="20"/>
                    </a:lnTo>
                    <a:lnTo>
                      <a:pt x="1" y="15"/>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5"/>
                    </a:lnTo>
                    <a:lnTo>
                      <a:pt x="557" y="20"/>
                    </a:lnTo>
                    <a:lnTo>
                      <a:pt x="557" y="25"/>
                    </a:lnTo>
                    <a:lnTo>
                      <a:pt x="557" y="30"/>
                    </a:lnTo>
                    <a:lnTo>
                      <a:pt x="556" y="36"/>
                    </a:lnTo>
                    <a:lnTo>
                      <a:pt x="553" y="40"/>
                    </a:lnTo>
                    <a:lnTo>
                      <a:pt x="550" y="44"/>
                    </a:lnTo>
                    <a:lnTo>
                      <a:pt x="545" y="47"/>
                    </a:lnTo>
                    <a:lnTo>
                      <a:pt x="541" y="50"/>
                    </a:lnTo>
                    <a:lnTo>
                      <a:pt x="537" y="51"/>
                    </a:lnTo>
                    <a:lnTo>
                      <a:pt x="53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87">
                <a:extLst>
                  <a:ext uri="{FF2B5EF4-FFF2-40B4-BE49-F238E27FC236}">
                    <a16:creationId xmlns:a16="http://schemas.microsoft.com/office/drawing/2014/main" id="{0373D4D5-6FDE-41EC-9AC6-07E997409146}"/>
                  </a:ext>
                </a:extLst>
              </p:cNvPr>
              <p:cNvSpPr>
                <a:spLocks/>
              </p:cNvSpPr>
              <p:nvPr/>
            </p:nvSpPr>
            <p:spPr bwMode="auto">
              <a:xfrm>
                <a:off x="5495925" y="2233613"/>
                <a:ext cx="295275" cy="26988"/>
              </a:xfrm>
              <a:custGeom>
                <a:avLst/>
                <a:gdLst>
                  <a:gd name="T0" fmla="*/ 531 w 557"/>
                  <a:gd name="T1" fmla="*/ 52 h 52"/>
                  <a:gd name="T2" fmla="*/ 26 w 557"/>
                  <a:gd name="T3" fmla="*/ 52 h 52"/>
                  <a:gd name="T4" fmla="*/ 20 w 557"/>
                  <a:gd name="T5" fmla="*/ 52 h 52"/>
                  <a:gd name="T6" fmla="*/ 16 w 557"/>
                  <a:gd name="T7" fmla="*/ 50 h 52"/>
                  <a:gd name="T8" fmla="*/ 11 w 557"/>
                  <a:gd name="T9" fmla="*/ 47 h 52"/>
                  <a:gd name="T10" fmla="*/ 7 w 557"/>
                  <a:gd name="T11" fmla="*/ 44 h 52"/>
                  <a:gd name="T12" fmla="*/ 4 w 557"/>
                  <a:gd name="T13" fmla="*/ 40 h 52"/>
                  <a:gd name="T14" fmla="*/ 1 w 557"/>
                  <a:gd name="T15" fmla="*/ 36 h 52"/>
                  <a:gd name="T16" fmla="*/ 0 w 557"/>
                  <a:gd name="T17" fmla="*/ 31 h 52"/>
                  <a:gd name="T18" fmla="*/ 0 w 557"/>
                  <a:gd name="T19" fmla="*/ 26 h 52"/>
                  <a:gd name="T20" fmla="*/ 0 w 557"/>
                  <a:gd name="T21" fmla="*/ 20 h 52"/>
                  <a:gd name="T22" fmla="*/ 1 w 557"/>
                  <a:gd name="T23" fmla="*/ 16 h 52"/>
                  <a:gd name="T24" fmla="*/ 4 w 557"/>
                  <a:gd name="T25" fmla="*/ 11 h 52"/>
                  <a:gd name="T26" fmla="*/ 7 w 557"/>
                  <a:gd name="T27" fmla="*/ 7 h 52"/>
                  <a:gd name="T28" fmla="*/ 11 w 557"/>
                  <a:gd name="T29" fmla="*/ 4 h 52"/>
                  <a:gd name="T30" fmla="*/ 16 w 557"/>
                  <a:gd name="T31" fmla="*/ 1 h 52"/>
                  <a:gd name="T32" fmla="*/ 20 w 557"/>
                  <a:gd name="T33" fmla="*/ 0 h 52"/>
                  <a:gd name="T34" fmla="*/ 26 w 557"/>
                  <a:gd name="T35" fmla="*/ 0 h 52"/>
                  <a:gd name="T36" fmla="*/ 531 w 557"/>
                  <a:gd name="T37" fmla="*/ 0 h 52"/>
                  <a:gd name="T38" fmla="*/ 537 w 557"/>
                  <a:gd name="T39" fmla="*/ 0 h 52"/>
                  <a:gd name="T40" fmla="*/ 541 w 557"/>
                  <a:gd name="T41" fmla="*/ 1 h 52"/>
                  <a:gd name="T42" fmla="*/ 545 w 557"/>
                  <a:gd name="T43" fmla="*/ 4 h 52"/>
                  <a:gd name="T44" fmla="*/ 550 w 557"/>
                  <a:gd name="T45" fmla="*/ 7 h 52"/>
                  <a:gd name="T46" fmla="*/ 553 w 557"/>
                  <a:gd name="T47" fmla="*/ 11 h 52"/>
                  <a:gd name="T48" fmla="*/ 556 w 557"/>
                  <a:gd name="T49" fmla="*/ 16 h 52"/>
                  <a:gd name="T50" fmla="*/ 557 w 557"/>
                  <a:gd name="T51" fmla="*/ 20 h 52"/>
                  <a:gd name="T52" fmla="*/ 557 w 557"/>
                  <a:gd name="T53" fmla="*/ 26 h 52"/>
                  <a:gd name="T54" fmla="*/ 557 w 557"/>
                  <a:gd name="T55" fmla="*/ 31 h 52"/>
                  <a:gd name="T56" fmla="*/ 556 w 557"/>
                  <a:gd name="T57" fmla="*/ 36 h 52"/>
                  <a:gd name="T58" fmla="*/ 553 w 557"/>
                  <a:gd name="T59" fmla="*/ 40 h 52"/>
                  <a:gd name="T60" fmla="*/ 550 w 557"/>
                  <a:gd name="T61" fmla="*/ 44 h 52"/>
                  <a:gd name="T62" fmla="*/ 545 w 557"/>
                  <a:gd name="T63" fmla="*/ 47 h 52"/>
                  <a:gd name="T64" fmla="*/ 541 w 557"/>
                  <a:gd name="T65" fmla="*/ 50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6"/>
                    </a:lnTo>
                    <a:lnTo>
                      <a:pt x="557" y="20"/>
                    </a:lnTo>
                    <a:lnTo>
                      <a:pt x="557" y="26"/>
                    </a:lnTo>
                    <a:lnTo>
                      <a:pt x="557" y="31"/>
                    </a:lnTo>
                    <a:lnTo>
                      <a:pt x="556" y="36"/>
                    </a:lnTo>
                    <a:lnTo>
                      <a:pt x="553" y="40"/>
                    </a:lnTo>
                    <a:lnTo>
                      <a:pt x="550" y="44"/>
                    </a:lnTo>
                    <a:lnTo>
                      <a:pt x="545" y="47"/>
                    </a:lnTo>
                    <a:lnTo>
                      <a:pt x="541" y="50"/>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88">
                <a:extLst>
                  <a:ext uri="{FF2B5EF4-FFF2-40B4-BE49-F238E27FC236}">
                    <a16:creationId xmlns:a16="http://schemas.microsoft.com/office/drawing/2014/main" id="{7C0CBA06-A8C5-49DE-9327-08C2FBFB1097}"/>
                  </a:ext>
                </a:extLst>
              </p:cNvPr>
              <p:cNvSpPr>
                <a:spLocks/>
              </p:cNvSpPr>
              <p:nvPr/>
            </p:nvSpPr>
            <p:spPr bwMode="auto">
              <a:xfrm>
                <a:off x="5495925" y="2174876"/>
                <a:ext cx="295275" cy="26988"/>
              </a:xfrm>
              <a:custGeom>
                <a:avLst/>
                <a:gdLst>
                  <a:gd name="T0" fmla="*/ 531 w 557"/>
                  <a:gd name="T1" fmla="*/ 52 h 52"/>
                  <a:gd name="T2" fmla="*/ 26 w 557"/>
                  <a:gd name="T3" fmla="*/ 52 h 52"/>
                  <a:gd name="T4" fmla="*/ 20 w 557"/>
                  <a:gd name="T5" fmla="*/ 52 h 52"/>
                  <a:gd name="T6" fmla="*/ 16 w 557"/>
                  <a:gd name="T7" fmla="*/ 50 h 52"/>
                  <a:gd name="T8" fmla="*/ 11 w 557"/>
                  <a:gd name="T9" fmla="*/ 47 h 52"/>
                  <a:gd name="T10" fmla="*/ 7 w 557"/>
                  <a:gd name="T11" fmla="*/ 44 h 52"/>
                  <a:gd name="T12" fmla="*/ 4 w 557"/>
                  <a:gd name="T13" fmla="*/ 40 h 52"/>
                  <a:gd name="T14" fmla="*/ 1 w 557"/>
                  <a:gd name="T15" fmla="*/ 36 h 52"/>
                  <a:gd name="T16" fmla="*/ 0 w 557"/>
                  <a:gd name="T17" fmla="*/ 31 h 52"/>
                  <a:gd name="T18" fmla="*/ 0 w 557"/>
                  <a:gd name="T19" fmla="*/ 26 h 52"/>
                  <a:gd name="T20" fmla="*/ 0 w 557"/>
                  <a:gd name="T21" fmla="*/ 20 h 52"/>
                  <a:gd name="T22" fmla="*/ 1 w 557"/>
                  <a:gd name="T23" fmla="*/ 16 h 52"/>
                  <a:gd name="T24" fmla="*/ 4 w 557"/>
                  <a:gd name="T25" fmla="*/ 11 h 52"/>
                  <a:gd name="T26" fmla="*/ 7 w 557"/>
                  <a:gd name="T27" fmla="*/ 7 h 52"/>
                  <a:gd name="T28" fmla="*/ 11 w 557"/>
                  <a:gd name="T29" fmla="*/ 4 h 52"/>
                  <a:gd name="T30" fmla="*/ 16 w 557"/>
                  <a:gd name="T31" fmla="*/ 1 h 52"/>
                  <a:gd name="T32" fmla="*/ 20 w 557"/>
                  <a:gd name="T33" fmla="*/ 0 h 52"/>
                  <a:gd name="T34" fmla="*/ 26 w 557"/>
                  <a:gd name="T35" fmla="*/ 0 h 52"/>
                  <a:gd name="T36" fmla="*/ 531 w 557"/>
                  <a:gd name="T37" fmla="*/ 0 h 52"/>
                  <a:gd name="T38" fmla="*/ 537 w 557"/>
                  <a:gd name="T39" fmla="*/ 0 h 52"/>
                  <a:gd name="T40" fmla="*/ 541 w 557"/>
                  <a:gd name="T41" fmla="*/ 1 h 52"/>
                  <a:gd name="T42" fmla="*/ 545 w 557"/>
                  <a:gd name="T43" fmla="*/ 4 h 52"/>
                  <a:gd name="T44" fmla="*/ 550 w 557"/>
                  <a:gd name="T45" fmla="*/ 7 h 52"/>
                  <a:gd name="T46" fmla="*/ 553 w 557"/>
                  <a:gd name="T47" fmla="*/ 11 h 52"/>
                  <a:gd name="T48" fmla="*/ 556 w 557"/>
                  <a:gd name="T49" fmla="*/ 16 h 52"/>
                  <a:gd name="T50" fmla="*/ 557 w 557"/>
                  <a:gd name="T51" fmla="*/ 20 h 52"/>
                  <a:gd name="T52" fmla="*/ 557 w 557"/>
                  <a:gd name="T53" fmla="*/ 26 h 52"/>
                  <a:gd name="T54" fmla="*/ 557 w 557"/>
                  <a:gd name="T55" fmla="*/ 31 h 52"/>
                  <a:gd name="T56" fmla="*/ 556 w 557"/>
                  <a:gd name="T57" fmla="*/ 36 h 52"/>
                  <a:gd name="T58" fmla="*/ 553 w 557"/>
                  <a:gd name="T59" fmla="*/ 40 h 52"/>
                  <a:gd name="T60" fmla="*/ 550 w 557"/>
                  <a:gd name="T61" fmla="*/ 44 h 52"/>
                  <a:gd name="T62" fmla="*/ 545 w 557"/>
                  <a:gd name="T63" fmla="*/ 47 h 52"/>
                  <a:gd name="T64" fmla="*/ 541 w 557"/>
                  <a:gd name="T65" fmla="*/ 50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531" y="0"/>
                    </a:lnTo>
                    <a:lnTo>
                      <a:pt x="537" y="0"/>
                    </a:lnTo>
                    <a:lnTo>
                      <a:pt x="541" y="1"/>
                    </a:lnTo>
                    <a:lnTo>
                      <a:pt x="545" y="4"/>
                    </a:lnTo>
                    <a:lnTo>
                      <a:pt x="550" y="7"/>
                    </a:lnTo>
                    <a:lnTo>
                      <a:pt x="553" y="11"/>
                    </a:lnTo>
                    <a:lnTo>
                      <a:pt x="556" y="16"/>
                    </a:lnTo>
                    <a:lnTo>
                      <a:pt x="557" y="20"/>
                    </a:lnTo>
                    <a:lnTo>
                      <a:pt x="557" y="26"/>
                    </a:lnTo>
                    <a:lnTo>
                      <a:pt x="557" y="31"/>
                    </a:lnTo>
                    <a:lnTo>
                      <a:pt x="556" y="36"/>
                    </a:lnTo>
                    <a:lnTo>
                      <a:pt x="553" y="40"/>
                    </a:lnTo>
                    <a:lnTo>
                      <a:pt x="550" y="44"/>
                    </a:lnTo>
                    <a:lnTo>
                      <a:pt x="545" y="47"/>
                    </a:lnTo>
                    <a:lnTo>
                      <a:pt x="541" y="50"/>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89">
                <a:extLst>
                  <a:ext uri="{FF2B5EF4-FFF2-40B4-BE49-F238E27FC236}">
                    <a16:creationId xmlns:a16="http://schemas.microsoft.com/office/drawing/2014/main" id="{BE156A6F-4853-4C70-950C-7BE331D86A01}"/>
                  </a:ext>
                </a:extLst>
              </p:cNvPr>
              <p:cNvSpPr>
                <a:spLocks/>
              </p:cNvSpPr>
              <p:nvPr/>
            </p:nvSpPr>
            <p:spPr bwMode="auto">
              <a:xfrm>
                <a:off x="5495925" y="2289176"/>
                <a:ext cx="295275" cy="28575"/>
              </a:xfrm>
              <a:custGeom>
                <a:avLst/>
                <a:gdLst>
                  <a:gd name="T0" fmla="*/ 531 w 557"/>
                  <a:gd name="T1" fmla="*/ 52 h 52"/>
                  <a:gd name="T2" fmla="*/ 26 w 557"/>
                  <a:gd name="T3" fmla="*/ 52 h 52"/>
                  <a:gd name="T4" fmla="*/ 20 w 557"/>
                  <a:gd name="T5" fmla="*/ 52 h 52"/>
                  <a:gd name="T6" fmla="*/ 16 w 557"/>
                  <a:gd name="T7" fmla="*/ 49 h 52"/>
                  <a:gd name="T8" fmla="*/ 11 w 557"/>
                  <a:gd name="T9" fmla="*/ 48 h 52"/>
                  <a:gd name="T10" fmla="*/ 7 w 557"/>
                  <a:gd name="T11" fmla="*/ 45 h 52"/>
                  <a:gd name="T12" fmla="*/ 4 w 557"/>
                  <a:gd name="T13" fmla="*/ 41 h 52"/>
                  <a:gd name="T14" fmla="*/ 1 w 557"/>
                  <a:gd name="T15" fmla="*/ 36 h 52"/>
                  <a:gd name="T16" fmla="*/ 0 w 557"/>
                  <a:gd name="T17" fmla="*/ 30 h 52"/>
                  <a:gd name="T18" fmla="*/ 0 w 557"/>
                  <a:gd name="T19" fmla="*/ 26 h 52"/>
                  <a:gd name="T20" fmla="*/ 0 w 557"/>
                  <a:gd name="T21" fmla="*/ 20 h 52"/>
                  <a:gd name="T22" fmla="*/ 1 w 557"/>
                  <a:gd name="T23" fmla="*/ 16 h 52"/>
                  <a:gd name="T24" fmla="*/ 4 w 557"/>
                  <a:gd name="T25" fmla="*/ 12 h 52"/>
                  <a:gd name="T26" fmla="*/ 7 w 557"/>
                  <a:gd name="T27" fmla="*/ 7 h 52"/>
                  <a:gd name="T28" fmla="*/ 11 w 557"/>
                  <a:gd name="T29" fmla="*/ 5 h 52"/>
                  <a:gd name="T30" fmla="*/ 16 w 557"/>
                  <a:gd name="T31" fmla="*/ 2 h 52"/>
                  <a:gd name="T32" fmla="*/ 20 w 557"/>
                  <a:gd name="T33" fmla="*/ 0 h 52"/>
                  <a:gd name="T34" fmla="*/ 26 w 557"/>
                  <a:gd name="T35" fmla="*/ 0 h 52"/>
                  <a:gd name="T36" fmla="*/ 531 w 557"/>
                  <a:gd name="T37" fmla="*/ 0 h 52"/>
                  <a:gd name="T38" fmla="*/ 537 w 557"/>
                  <a:gd name="T39" fmla="*/ 0 h 52"/>
                  <a:gd name="T40" fmla="*/ 541 w 557"/>
                  <a:gd name="T41" fmla="*/ 2 h 52"/>
                  <a:gd name="T42" fmla="*/ 545 w 557"/>
                  <a:gd name="T43" fmla="*/ 5 h 52"/>
                  <a:gd name="T44" fmla="*/ 550 w 557"/>
                  <a:gd name="T45" fmla="*/ 7 h 52"/>
                  <a:gd name="T46" fmla="*/ 553 w 557"/>
                  <a:gd name="T47" fmla="*/ 12 h 52"/>
                  <a:gd name="T48" fmla="*/ 556 w 557"/>
                  <a:gd name="T49" fmla="*/ 16 h 52"/>
                  <a:gd name="T50" fmla="*/ 557 w 557"/>
                  <a:gd name="T51" fmla="*/ 20 h 52"/>
                  <a:gd name="T52" fmla="*/ 557 w 557"/>
                  <a:gd name="T53" fmla="*/ 26 h 52"/>
                  <a:gd name="T54" fmla="*/ 557 w 557"/>
                  <a:gd name="T55" fmla="*/ 30 h 52"/>
                  <a:gd name="T56" fmla="*/ 556 w 557"/>
                  <a:gd name="T57" fmla="*/ 36 h 52"/>
                  <a:gd name="T58" fmla="*/ 553 w 557"/>
                  <a:gd name="T59" fmla="*/ 41 h 52"/>
                  <a:gd name="T60" fmla="*/ 550 w 557"/>
                  <a:gd name="T61" fmla="*/ 45 h 52"/>
                  <a:gd name="T62" fmla="*/ 545 w 557"/>
                  <a:gd name="T63" fmla="*/ 48 h 52"/>
                  <a:gd name="T64" fmla="*/ 541 w 557"/>
                  <a:gd name="T65" fmla="*/ 49 h 52"/>
                  <a:gd name="T66" fmla="*/ 537 w 557"/>
                  <a:gd name="T67" fmla="*/ 52 h 52"/>
                  <a:gd name="T68" fmla="*/ 531 w 55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7" h="52">
                    <a:moveTo>
                      <a:pt x="531" y="52"/>
                    </a:moveTo>
                    <a:lnTo>
                      <a:pt x="26" y="52"/>
                    </a:lnTo>
                    <a:lnTo>
                      <a:pt x="20" y="52"/>
                    </a:lnTo>
                    <a:lnTo>
                      <a:pt x="16" y="49"/>
                    </a:lnTo>
                    <a:lnTo>
                      <a:pt x="11" y="48"/>
                    </a:lnTo>
                    <a:lnTo>
                      <a:pt x="7" y="45"/>
                    </a:lnTo>
                    <a:lnTo>
                      <a:pt x="4" y="41"/>
                    </a:lnTo>
                    <a:lnTo>
                      <a:pt x="1" y="36"/>
                    </a:lnTo>
                    <a:lnTo>
                      <a:pt x="0" y="30"/>
                    </a:lnTo>
                    <a:lnTo>
                      <a:pt x="0" y="26"/>
                    </a:lnTo>
                    <a:lnTo>
                      <a:pt x="0" y="20"/>
                    </a:lnTo>
                    <a:lnTo>
                      <a:pt x="1" y="16"/>
                    </a:lnTo>
                    <a:lnTo>
                      <a:pt x="4" y="12"/>
                    </a:lnTo>
                    <a:lnTo>
                      <a:pt x="7" y="7"/>
                    </a:lnTo>
                    <a:lnTo>
                      <a:pt x="11" y="5"/>
                    </a:lnTo>
                    <a:lnTo>
                      <a:pt x="16" y="2"/>
                    </a:lnTo>
                    <a:lnTo>
                      <a:pt x="20" y="0"/>
                    </a:lnTo>
                    <a:lnTo>
                      <a:pt x="26" y="0"/>
                    </a:lnTo>
                    <a:lnTo>
                      <a:pt x="531" y="0"/>
                    </a:lnTo>
                    <a:lnTo>
                      <a:pt x="537" y="0"/>
                    </a:lnTo>
                    <a:lnTo>
                      <a:pt x="541" y="2"/>
                    </a:lnTo>
                    <a:lnTo>
                      <a:pt x="545" y="5"/>
                    </a:lnTo>
                    <a:lnTo>
                      <a:pt x="550" y="7"/>
                    </a:lnTo>
                    <a:lnTo>
                      <a:pt x="553" y="12"/>
                    </a:lnTo>
                    <a:lnTo>
                      <a:pt x="556" y="16"/>
                    </a:lnTo>
                    <a:lnTo>
                      <a:pt x="557" y="20"/>
                    </a:lnTo>
                    <a:lnTo>
                      <a:pt x="557" y="26"/>
                    </a:lnTo>
                    <a:lnTo>
                      <a:pt x="557" y="30"/>
                    </a:lnTo>
                    <a:lnTo>
                      <a:pt x="556" y="36"/>
                    </a:lnTo>
                    <a:lnTo>
                      <a:pt x="553" y="41"/>
                    </a:lnTo>
                    <a:lnTo>
                      <a:pt x="550" y="45"/>
                    </a:lnTo>
                    <a:lnTo>
                      <a:pt x="545" y="48"/>
                    </a:lnTo>
                    <a:lnTo>
                      <a:pt x="541" y="49"/>
                    </a:lnTo>
                    <a:lnTo>
                      <a:pt x="537" y="52"/>
                    </a:lnTo>
                    <a:lnTo>
                      <a:pt x="53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90">
                <a:extLst>
                  <a:ext uri="{FF2B5EF4-FFF2-40B4-BE49-F238E27FC236}">
                    <a16:creationId xmlns:a16="http://schemas.microsoft.com/office/drawing/2014/main" id="{09E4A0A1-AE3E-4B5A-B179-3D15B2FE73A2}"/>
                  </a:ext>
                </a:extLst>
              </p:cNvPr>
              <p:cNvSpPr>
                <a:spLocks/>
              </p:cNvSpPr>
              <p:nvPr/>
            </p:nvSpPr>
            <p:spPr bwMode="auto">
              <a:xfrm>
                <a:off x="5376863" y="2233613"/>
                <a:ext cx="85725" cy="26988"/>
              </a:xfrm>
              <a:custGeom>
                <a:avLst/>
                <a:gdLst>
                  <a:gd name="T0" fmla="*/ 136 w 162"/>
                  <a:gd name="T1" fmla="*/ 52 h 52"/>
                  <a:gd name="T2" fmla="*/ 26 w 162"/>
                  <a:gd name="T3" fmla="*/ 52 h 52"/>
                  <a:gd name="T4" fmla="*/ 20 w 162"/>
                  <a:gd name="T5" fmla="*/ 52 h 52"/>
                  <a:gd name="T6" fmla="*/ 15 w 162"/>
                  <a:gd name="T7" fmla="*/ 50 h 52"/>
                  <a:gd name="T8" fmla="*/ 11 w 162"/>
                  <a:gd name="T9" fmla="*/ 47 h 52"/>
                  <a:gd name="T10" fmla="*/ 7 w 162"/>
                  <a:gd name="T11" fmla="*/ 44 h 52"/>
                  <a:gd name="T12" fmla="*/ 4 w 162"/>
                  <a:gd name="T13" fmla="*/ 40 h 52"/>
                  <a:gd name="T14" fmla="*/ 1 w 162"/>
                  <a:gd name="T15" fmla="*/ 36 h 52"/>
                  <a:gd name="T16" fmla="*/ 0 w 162"/>
                  <a:gd name="T17" fmla="*/ 31 h 52"/>
                  <a:gd name="T18" fmla="*/ 0 w 162"/>
                  <a:gd name="T19" fmla="*/ 26 h 52"/>
                  <a:gd name="T20" fmla="*/ 0 w 162"/>
                  <a:gd name="T21" fmla="*/ 20 h 52"/>
                  <a:gd name="T22" fmla="*/ 1 w 162"/>
                  <a:gd name="T23" fmla="*/ 16 h 52"/>
                  <a:gd name="T24" fmla="*/ 4 w 162"/>
                  <a:gd name="T25" fmla="*/ 11 h 52"/>
                  <a:gd name="T26" fmla="*/ 7 w 162"/>
                  <a:gd name="T27" fmla="*/ 7 h 52"/>
                  <a:gd name="T28" fmla="*/ 11 w 162"/>
                  <a:gd name="T29" fmla="*/ 4 h 52"/>
                  <a:gd name="T30" fmla="*/ 15 w 162"/>
                  <a:gd name="T31" fmla="*/ 1 h 52"/>
                  <a:gd name="T32" fmla="*/ 20 w 162"/>
                  <a:gd name="T33" fmla="*/ 0 h 52"/>
                  <a:gd name="T34" fmla="*/ 26 w 162"/>
                  <a:gd name="T35" fmla="*/ 0 h 52"/>
                  <a:gd name="T36" fmla="*/ 136 w 162"/>
                  <a:gd name="T37" fmla="*/ 0 h 52"/>
                  <a:gd name="T38" fmla="*/ 142 w 162"/>
                  <a:gd name="T39" fmla="*/ 0 h 52"/>
                  <a:gd name="T40" fmla="*/ 147 w 162"/>
                  <a:gd name="T41" fmla="*/ 1 h 52"/>
                  <a:gd name="T42" fmla="*/ 152 w 162"/>
                  <a:gd name="T43" fmla="*/ 4 h 52"/>
                  <a:gd name="T44" fmla="*/ 155 w 162"/>
                  <a:gd name="T45" fmla="*/ 7 h 52"/>
                  <a:gd name="T46" fmla="*/ 158 w 162"/>
                  <a:gd name="T47" fmla="*/ 11 h 52"/>
                  <a:gd name="T48" fmla="*/ 161 w 162"/>
                  <a:gd name="T49" fmla="*/ 16 h 52"/>
                  <a:gd name="T50" fmla="*/ 162 w 162"/>
                  <a:gd name="T51" fmla="*/ 20 h 52"/>
                  <a:gd name="T52" fmla="*/ 162 w 162"/>
                  <a:gd name="T53" fmla="*/ 26 h 52"/>
                  <a:gd name="T54" fmla="*/ 162 w 162"/>
                  <a:gd name="T55" fmla="*/ 31 h 52"/>
                  <a:gd name="T56" fmla="*/ 161 w 162"/>
                  <a:gd name="T57" fmla="*/ 36 h 52"/>
                  <a:gd name="T58" fmla="*/ 158 w 162"/>
                  <a:gd name="T59" fmla="*/ 40 h 52"/>
                  <a:gd name="T60" fmla="*/ 155 w 162"/>
                  <a:gd name="T61" fmla="*/ 44 h 52"/>
                  <a:gd name="T62" fmla="*/ 152 w 162"/>
                  <a:gd name="T63" fmla="*/ 47 h 52"/>
                  <a:gd name="T64" fmla="*/ 147 w 162"/>
                  <a:gd name="T65" fmla="*/ 50 h 52"/>
                  <a:gd name="T66" fmla="*/ 142 w 162"/>
                  <a:gd name="T67" fmla="*/ 52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2"/>
                    </a:lnTo>
                    <a:lnTo>
                      <a:pt x="15" y="50"/>
                    </a:lnTo>
                    <a:lnTo>
                      <a:pt x="11" y="47"/>
                    </a:lnTo>
                    <a:lnTo>
                      <a:pt x="7" y="44"/>
                    </a:lnTo>
                    <a:lnTo>
                      <a:pt x="4" y="40"/>
                    </a:lnTo>
                    <a:lnTo>
                      <a:pt x="1" y="36"/>
                    </a:lnTo>
                    <a:lnTo>
                      <a:pt x="0" y="31"/>
                    </a:lnTo>
                    <a:lnTo>
                      <a:pt x="0" y="26"/>
                    </a:lnTo>
                    <a:lnTo>
                      <a:pt x="0" y="20"/>
                    </a:lnTo>
                    <a:lnTo>
                      <a:pt x="1" y="16"/>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6"/>
                    </a:lnTo>
                    <a:lnTo>
                      <a:pt x="162" y="20"/>
                    </a:lnTo>
                    <a:lnTo>
                      <a:pt x="162" y="26"/>
                    </a:lnTo>
                    <a:lnTo>
                      <a:pt x="162" y="31"/>
                    </a:lnTo>
                    <a:lnTo>
                      <a:pt x="161" y="36"/>
                    </a:lnTo>
                    <a:lnTo>
                      <a:pt x="158" y="40"/>
                    </a:lnTo>
                    <a:lnTo>
                      <a:pt x="155" y="44"/>
                    </a:lnTo>
                    <a:lnTo>
                      <a:pt x="152" y="47"/>
                    </a:lnTo>
                    <a:lnTo>
                      <a:pt x="147" y="50"/>
                    </a:lnTo>
                    <a:lnTo>
                      <a:pt x="142" y="52"/>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91">
                <a:extLst>
                  <a:ext uri="{FF2B5EF4-FFF2-40B4-BE49-F238E27FC236}">
                    <a16:creationId xmlns:a16="http://schemas.microsoft.com/office/drawing/2014/main" id="{B485CF8C-52D1-4887-8FA7-778ECE7EB26A}"/>
                  </a:ext>
                </a:extLst>
              </p:cNvPr>
              <p:cNvSpPr>
                <a:spLocks/>
              </p:cNvSpPr>
              <p:nvPr/>
            </p:nvSpPr>
            <p:spPr bwMode="auto">
              <a:xfrm>
                <a:off x="5376863" y="2351088"/>
                <a:ext cx="85725" cy="28575"/>
              </a:xfrm>
              <a:custGeom>
                <a:avLst/>
                <a:gdLst>
                  <a:gd name="T0" fmla="*/ 136 w 162"/>
                  <a:gd name="T1" fmla="*/ 52 h 52"/>
                  <a:gd name="T2" fmla="*/ 26 w 162"/>
                  <a:gd name="T3" fmla="*/ 52 h 52"/>
                  <a:gd name="T4" fmla="*/ 20 w 162"/>
                  <a:gd name="T5" fmla="*/ 52 h 52"/>
                  <a:gd name="T6" fmla="*/ 15 w 162"/>
                  <a:gd name="T7" fmla="*/ 50 h 52"/>
                  <a:gd name="T8" fmla="*/ 11 w 162"/>
                  <a:gd name="T9" fmla="*/ 47 h 52"/>
                  <a:gd name="T10" fmla="*/ 7 w 162"/>
                  <a:gd name="T11" fmla="*/ 45 h 52"/>
                  <a:gd name="T12" fmla="*/ 4 w 162"/>
                  <a:gd name="T13" fmla="*/ 40 h 52"/>
                  <a:gd name="T14" fmla="*/ 1 w 162"/>
                  <a:gd name="T15" fmla="*/ 36 h 52"/>
                  <a:gd name="T16" fmla="*/ 0 w 162"/>
                  <a:gd name="T17" fmla="*/ 32 h 52"/>
                  <a:gd name="T18" fmla="*/ 0 w 162"/>
                  <a:gd name="T19" fmla="*/ 26 h 52"/>
                  <a:gd name="T20" fmla="*/ 0 w 162"/>
                  <a:gd name="T21" fmla="*/ 20 h 52"/>
                  <a:gd name="T22" fmla="*/ 1 w 162"/>
                  <a:gd name="T23" fmla="*/ 16 h 52"/>
                  <a:gd name="T24" fmla="*/ 4 w 162"/>
                  <a:gd name="T25" fmla="*/ 11 h 52"/>
                  <a:gd name="T26" fmla="*/ 7 w 162"/>
                  <a:gd name="T27" fmla="*/ 7 h 52"/>
                  <a:gd name="T28" fmla="*/ 11 w 162"/>
                  <a:gd name="T29" fmla="*/ 4 h 52"/>
                  <a:gd name="T30" fmla="*/ 15 w 162"/>
                  <a:gd name="T31" fmla="*/ 1 h 52"/>
                  <a:gd name="T32" fmla="*/ 20 w 162"/>
                  <a:gd name="T33" fmla="*/ 0 h 52"/>
                  <a:gd name="T34" fmla="*/ 26 w 162"/>
                  <a:gd name="T35" fmla="*/ 0 h 52"/>
                  <a:gd name="T36" fmla="*/ 136 w 162"/>
                  <a:gd name="T37" fmla="*/ 0 h 52"/>
                  <a:gd name="T38" fmla="*/ 142 w 162"/>
                  <a:gd name="T39" fmla="*/ 0 h 52"/>
                  <a:gd name="T40" fmla="*/ 147 w 162"/>
                  <a:gd name="T41" fmla="*/ 1 h 52"/>
                  <a:gd name="T42" fmla="*/ 152 w 162"/>
                  <a:gd name="T43" fmla="*/ 4 h 52"/>
                  <a:gd name="T44" fmla="*/ 155 w 162"/>
                  <a:gd name="T45" fmla="*/ 7 h 52"/>
                  <a:gd name="T46" fmla="*/ 158 w 162"/>
                  <a:gd name="T47" fmla="*/ 11 h 52"/>
                  <a:gd name="T48" fmla="*/ 161 w 162"/>
                  <a:gd name="T49" fmla="*/ 16 h 52"/>
                  <a:gd name="T50" fmla="*/ 162 w 162"/>
                  <a:gd name="T51" fmla="*/ 20 h 52"/>
                  <a:gd name="T52" fmla="*/ 162 w 162"/>
                  <a:gd name="T53" fmla="*/ 26 h 52"/>
                  <a:gd name="T54" fmla="*/ 162 w 162"/>
                  <a:gd name="T55" fmla="*/ 32 h 52"/>
                  <a:gd name="T56" fmla="*/ 161 w 162"/>
                  <a:gd name="T57" fmla="*/ 36 h 52"/>
                  <a:gd name="T58" fmla="*/ 158 w 162"/>
                  <a:gd name="T59" fmla="*/ 40 h 52"/>
                  <a:gd name="T60" fmla="*/ 155 w 162"/>
                  <a:gd name="T61" fmla="*/ 45 h 52"/>
                  <a:gd name="T62" fmla="*/ 152 w 162"/>
                  <a:gd name="T63" fmla="*/ 47 h 52"/>
                  <a:gd name="T64" fmla="*/ 147 w 162"/>
                  <a:gd name="T65" fmla="*/ 50 h 52"/>
                  <a:gd name="T66" fmla="*/ 142 w 162"/>
                  <a:gd name="T67" fmla="*/ 52 h 52"/>
                  <a:gd name="T68" fmla="*/ 136 w 162"/>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52">
                    <a:moveTo>
                      <a:pt x="136" y="52"/>
                    </a:moveTo>
                    <a:lnTo>
                      <a:pt x="26" y="52"/>
                    </a:lnTo>
                    <a:lnTo>
                      <a:pt x="20" y="52"/>
                    </a:lnTo>
                    <a:lnTo>
                      <a:pt x="15" y="50"/>
                    </a:lnTo>
                    <a:lnTo>
                      <a:pt x="11" y="47"/>
                    </a:lnTo>
                    <a:lnTo>
                      <a:pt x="7" y="45"/>
                    </a:lnTo>
                    <a:lnTo>
                      <a:pt x="4" y="40"/>
                    </a:lnTo>
                    <a:lnTo>
                      <a:pt x="1" y="36"/>
                    </a:lnTo>
                    <a:lnTo>
                      <a:pt x="0" y="32"/>
                    </a:lnTo>
                    <a:lnTo>
                      <a:pt x="0" y="26"/>
                    </a:lnTo>
                    <a:lnTo>
                      <a:pt x="0" y="20"/>
                    </a:lnTo>
                    <a:lnTo>
                      <a:pt x="1" y="16"/>
                    </a:lnTo>
                    <a:lnTo>
                      <a:pt x="4" y="11"/>
                    </a:lnTo>
                    <a:lnTo>
                      <a:pt x="7" y="7"/>
                    </a:lnTo>
                    <a:lnTo>
                      <a:pt x="11" y="4"/>
                    </a:lnTo>
                    <a:lnTo>
                      <a:pt x="15" y="1"/>
                    </a:lnTo>
                    <a:lnTo>
                      <a:pt x="20" y="0"/>
                    </a:lnTo>
                    <a:lnTo>
                      <a:pt x="26" y="0"/>
                    </a:lnTo>
                    <a:lnTo>
                      <a:pt x="136" y="0"/>
                    </a:lnTo>
                    <a:lnTo>
                      <a:pt x="142" y="0"/>
                    </a:lnTo>
                    <a:lnTo>
                      <a:pt x="147" y="1"/>
                    </a:lnTo>
                    <a:lnTo>
                      <a:pt x="152" y="4"/>
                    </a:lnTo>
                    <a:lnTo>
                      <a:pt x="155" y="7"/>
                    </a:lnTo>
                    <a:lnTo>
                      <a:pt x="158" y="11"/>
                    </a:lnTo>
                    <a:lnTo>
                      <a:pt x="161" y="16"/>
                    </a:lnTo>
                    <a:lnTo>
                      <a:pt x="162" y="20"/>
                    </a:lnTo>
                    <a:lnTo>
                      <a:pt x="162" y="26"/>
                    </a:lnTo>
                    <a:lnTo>
                      <a:pt x="162" y="32"/>
                    </a:lnTo>
                    <a:lnTo>
                      <a:pt x="161" y="36"/>
                    </a:lnTo>
                    <a:lnTo>
                      <a:pt x="158" y="40"/>
                    </a:lnTo>
                    <a:lnTo>
                      <a:pt x="155" y="45"/>
                    </a:lnTo>
                    <a:lnTo>
                      <a:pt x="152" y="47"/>
                    </a:lnTo>
                    <a:lnTo>
                      <a:pt x="147" y="50"/>
                    </a:lnTo>
                    <a:lnTo>
                      <a:pt x="142" y="52"/>
                    </a:lnTo>
                    <a:lnTo>
                      <a:pt x="13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17">
                <a:extLst>
                  <a:ext uri="{FF2B5EF4-FFF2-40B4-BE49-F238E27FC236}">
                    <a16:creationId xmlns:a16="http://schemas.microsoft.com/office/drawing/2014/main" id="{F7811FAD-10B3-4B90-8BCC-772C23D6D8E0}"/>
                  </a:ext>
                </a:extLst>
              </p:cNvPr>
              <p:cNvSpPr>
                <a:spLocks/>
              </p:cNvSpPr>
              <p:nvPr/>
            </p:nvSpPr>
            <p:spPr bwMode="auto">
              <a:xfrm>
                <a:off x="5721350" y="1851026"/>
                <a:ext cx="26988" cy="28575"/>
              </a:xfrm>
              <a:custGeom>
                <a:avLst/>
                <a:gdLst>
                  <a:gd name="T0" fmla="*/ 25 w 51"/>
                  <a:gd name="T1" fmla="*/ 52 h 52"/>
                  <a:gd name="T2" fmla="*/ 20 w 51"/>
                  <a:gd name="T3" fmla="*/ 52 h 52"/>
                  <a:gd name="T4" fmla="*/ 15 w 51"/>
                  <a:gd name="T5" fmla="*/ 51 h 52"/>
                  <a:gd name="T6" fmla="*/ 11 w 51"/>
                  <a:gd name="T7" fmla="*/ 48 h 52"/>
                  <a:gd name="T8" fmla="*/ 7 w 51"/>
                  <a:gd name="T9" fmla="*/ 45 h 52"/>
                  <a:gd name="T10" fmla="*/ 4 w 51"/>
                  <a:gd name="T11" fmla="*/ 41 h 52"/>
                  <a:gd name="T12" fmla="*/ 1 w 51"/>
                  <a:gd name="T13" fmla="*/ 36 h 52"/>
                  <a:gd name="T14" fmla="*/ 0 w 51"/>
                  <a:gd name="T15" fmla="*/ 32 h 52"/>
                  <a:gd name="T16" fmla="*/ 0 w 51"/>
                  <a:gd name="T17" fmla="*/ 26 h 52"/>
                  <a:gd name="T18" fmla="*/ 0 w 51"/>
                  <a:gd name="T19" fmla="*/ 22 h 52"/>
                  <a:gd name="T20" fmla="*/ 1 w 51"/>
                  <a:gd name="T21" fmla="*/ 16 h 52"/>
                  <a:gd name="T22" fmla="*/ 4 w 51"/>
                  <a:gd name="T23" fmla="*/ 12 h 52"/>
                  <a:gd name="T24" fmla="*/ 7 w 51"/>
                  <a:gd name="T25" fmla="*/ 9 h 52"/>
                  <a:gd name="T26" fmla="*/ 11 w 51"/>
                  <a:gd name="T27" fmla="*/ 5 h 52"/>
                  <a:gd name="T28" fmla="*/ 15 w 51"/>
                  <a:gd name="T29" fmla="*/ 3 h 52"/>
                  <a:gd name="T30" fmla="*/ 20 w 51"/>
                  <a:gd name="T31" fmla="*/ 2 h 52"/>
                  <a:gd name="T32" fmla="*/ 25 w 51"/>
                  <a:gd name="T33" fmla="*/ 0 h 52"/>
                  <a:gd name="T34" fmla="*/ 31 w 51"/>
                  <a:gd name="T35" fmla="*/ 2 h 52"/>
                  <a:gd name="T36" fmla="*/ 36 w 51"/>
                  <a:gd name="T37" fmla="*/ 3 h 52"/>
                  <a:gd name="T38" fmla="*/ 40 w 51"/>
                  <a:gd name="T39" fmla="*/ 5 h 52"/>
                  <a:gd name="T40" fmla="*/ 44 w 51"/>
                  <a:gd name="T41" fmla="*/ 9 h 52"/>
                  <a:gd name="T42" fmla="*/ 47 w 51"/>
                  <a:gd name="T43" fmla="*/ 12 h 52"/>
                  <a:gd name="T44" fmla="*/ 50 w 51"/>
                  <a:gd name="T45" fmla="*/ 16 h 52"/>
                  <a:gd name="T46" fmla="*/ 51 w 51"/>
                  <a:gd name="T47" fmla="*/ 22 h 52"/>
                  <a:gd name="T48" fmla="*/ 51 w 51"/>
                  <a:gd name="T49" fmla="*/ 26 h 52"/>
                  <a:gd name="T50" fmla="*/ 51 w 51"/>
                  <a:gd name="T51" fmla="*/ 32 h 52"/>
                  <a:gd name="T52" fmla="*/ 50 w 51"/>
                  <a:gd name="T53" fmla="*/ 36 h 52"/>
                  <a:gd name="T54" fmla="*/ 47 w 51"/>
                  <a:gd name="T55" fmla="*/ 41 h 52"/>
                  <a:gd name="T56" fmla="*/ 44 w 51"/>
                  <a:gd name="T57" fmla="*/ 45 h 52"/>
                  <a:gd name="T58" fmla="*/ 40 w 51"/>
                  <a:gd name="T59" fmla="*/ 48 h 52"/>
                  <a:gd name="T60" fmla="*/ 36 w 51"/>
                  <a:gd name="T61" fmla="*/ 51 h 52"/>
                  <a:gd name="T62" fmla="*/ 30 w 51"/>
                  <a:gd name="T63" fmla="*/ 52 h 52"/>
                  <a:gd name="T64" fmla="*/ 25 w 51"/>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2">
                    <a:moveTo>
                      <a:pt x="25" y="52"/>
                    </a:moveTo>
                    <a:lnTo>
                      <a:pt x="20" y="52"/>
                    </a:lnTo>
                    <a:lnTo>
                      <a:pt x="15" y="51"/>
                    </a:lnTo>
                    <a:lnTo>
                      <a:pt x="11" y="48"/>
                    </a:lnTo>
                    <a:lnTo>
                      <a:pt x="7" y="45"/>
                    </a:lnTo>
                    <a:lnTo>
                      <a:pt x="4" y="41"/>
                    </a:lnTo>
                    <a:lnTo>
                      <a:pt x="1" y="36"/>
                    </a:lnTo>
                    <a:lnTo>
                      <a:pt x="0" y="32"/>
                    </a:lnTo>
                    <a:lnTo>
                      <a:pt x="0" y="26"/>
                    </a:lnTo>
                    <a:lnTo>
                      <a:pt x="0" y="22"/>
                    </a:lnTo>
                    <a:lnTo>
                      <a:pt x="1" y="16"/>
                    </a:lnTo>
                    <a:lnTo>
                      <a:pt x="4" y="12"/>
                    </a:lnTo>
                    <a:lnTo>
                      <a:pt x="7" y="9"/>
                    </a:lnTo>
                    <a:lnTo>
                      <a:pt x="11" y="5"/>
                    </a:lnTo>
                    <a:lnTo>
                      <a:pt x="15" y="3"/>
                    </a:lnTo>
                    <a:lnTo>
                      <a:pt x="20" y="2"/>
                    </a:lnTo>
                    <a:lnTo>
                      <a:pt x="25" y="0"/>
                    </a:lnTo>
                    <a:lnTo>
                      <a:pt x="31" y="2"/>
                    </a:lnTo>
                    <a:lnTo>
                      <a:pt x="36" y="3"/>
                    </a:lnTo>
                    <a:lnTo>
                      <a:pt x="40" y="5"/>
                    </a:lnTo>
                    <a:lnTo>
                      <a:pt x="44" y="9"/>
                    </a:lnTo>
                    <a:lnTo>
                      <a:pt x="47" y="12"/>
                    </a:lnTo>
                    <a:lnTo>
                      <a:pt x="50" y="16"/>
                    </a:lnTo>
                    <a:lnTo>
                      <a:pt x="51" y="22"/>
                    </a:lnTo>
                    <a:lnTo>
                      <a:pt x="51" y="26"/>
                    </a:lnTo>
                    <a:lnTo>
                      <a:pt x="51" y="32"/>
                    </a:lnTo>
                    <a:lnTo>
                      <a:pt x="50" y="36"/>
                    </a:lnTo>
                    <a:lnTo>
                      <a:pt x="47" y="41"/>
                    </a:lnTo>
                    <a:lnTo>
                      <a:pt x="44" y="45"/>
                    </a:lnTo>
                    <a:lnTo>
                      <a:pt x="40" y="48"/>
                    </a:lnTo>
                    <a:lnTo>
                      <a:pt x="36" y="51"/>
                    </a:lnTo>
                    <a:lnTo>
                      <a:pt x="30" y="52"/>
                    </a:lnTo>
                    <a:lnTo>
                      <a:pt x="2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18">
                <a:extLst>
                  <a:ext uri="{FF2B5EF4-FFF2-40B4-BE49-F238E27FC236}">
                    <a16:creationId xmlns:a16="http://schemas.microsoft.com/office/drawing/2014/main" id="{0999E7B0-2807-40FE-A3E6-EB2DAD02F59E}"/>
                  </a:ext>
                </a:extLst>
              </p:cNvPr>
              <p:cNvSpPr>
                <a:spLocks/>
              </p:cNvSpPr>
              <p:nvPr/>
            </p:nvSpPr>
            <p:spPr bwMode="auto">
              <a:xfrm>
                <a:off x="5792788" y="1851026"/>
                <a:ext cx="26988" cy="28575"/>
              </a:xfrm>
              <a:custGeom>
                <a:avLst/>
                <a:gdLst>
                  <a:gd name="T0" fmla="*/ 26 w 52"/>
                  <a:gd name="T1" fmla="*/ 52 h 52"/>
                  <a:gd name="T2" fmla="*/ 20 w 52"/>
                  <a:gd name="T3" fmla="*/ 52 h 52"/>
                  <a:gd name="T4" fmla="*/ 16 w 52"/>
                  <a:gd name="T5" fmla="*/ 51 h 52"/>
                  <a:gd name="T6" fmla="*/ 11 w 52"/>
                  <a:gd name="T7" fmla="*/ 48 h 52"/>
                  <a:gd name="T8" fmla="*/ 7 w 52"/>
                  <a:gd name="T9" fmla="*/ 45 h 52"/>
                  <a:gd name="T10" fmla="*/ 4 w 52"/>
                  <a:gd name="T11" fmla="*/ 41 h 52"/>
                  <a:gd name="T12" fmla="*/ 1 w 52"/>
                  <a:gd name="T13" fmla="*/ 36 h 52"/>
                  <a:gd name="T14" fmla="*/ 0 w 52"/>
                  <a:gd name="T15" fmla="*/ 32 h 52"/>
                  <a:gd name="T16" fmla="*/ 0 w 52"/>
                  <a:gd name="T17" fmla="*/ 26 h 52"/>
                  <a:gd name="T18" fmla="*/ 0 w 52"/>
                  <a:gd name="T19" fmla="*/ 22 h 52"/>
                  <a:gd name="T20" fmla="*/ 1 w 52"/>
                  <a:gd name="T21" fmla="*/ 16 h 52"/>
                  <a:gd name="T22" fmla="*/ 4 w 52"/>
                  <a:gd name="T23" fmla="*/ 12 h 52"/>
                  <a:gd name="T24" fmla="*/ 7 w 52"/>
                  <a:gd name="T25" fmla="*/ 9 h 52"/>
                  <a:gd name="T26" fmla="*/ 11 w 52"/>
                  <a:gd name="T27" fmla="*/ 5 h 52"/>
                  <a:gd name="T28" fmla="*/ 16 w 52"/>
                  <a:gd name="T29" fmla="*/ 3 h 52"/>
                  <a:gd name="T30" fmla="*/ 20 w 52"/>
                  <a:gd name="T31" fmla="*/ 2 h 52"/>
                  <a:gd name="T32" fmla="*/ 26 w 52"/>
                  <a:gd name="T33" fmla="*/ 0 h 52"/>
                  <a:gd name="T34" fmla="*/ 30 w 52"/>
                  <a:gd name="T35" fmla="*/ 2 h 52"/>
                  <a:gd name="T36" fmla="*/ 36 w 52"/>
                  <a:gd name="T37" fmla="*/ 3 h 52"/>
                  <a:gd name="T38" fmla="*/ 40 w 52"/>
                  <a:gd name="T39" fmla="*/ 5 h 52"/>
                  <a:gd name="T40" fmla="*/ 45 w 52"/>
                  <a:gd name="T41" fmla="*/ 9 h 52"/>
                  <a:gd name="T42" fmla="*/ 47 w 52"/>
                  <a:gd name="T43" fmla="*/ 12 h 52"/>
                  <a:gd name="T44" fmla="*/ 49 w 52"/>
                  <a:gd name="T45" fmla="*/ 16 h 52"/>
                  <a:gd name="T46" fmla="*/ 50 w 52"/>
                  <a:gd name="T47" fmla="*/ 22 h 52"/>
                  <a:gd name="T48" fmla="*/ 52 w 52"/>
                  <a:gd name="T49" fmla="*/ 26 h 52"/>
                  <a:gd name="T50" fmla="*/ 50 w 52"/>
                  <a:gd name="T51" fmla="*/ 32 h 52"/>
                  <a:gd name="T52" fmla="*/ 49 w 52"/>
                  <a:gd name="T53" fmla="*/ 36 h 52"/>
                  <a:gd name="T54" fmla="*/ 47 w 52"/>
                  <a:gd name="T55" fmla="*/ 41 h 52"/>
                  <a:gd name="T56" fmla="*/ 45 w 52"/>
                  <a:gd name="T57" fmla="*/ 45 h 52"/>
                  <a:gd name="T58" fmla="*/ 40 w 52"/>
                  <a:gd name="T59" fmla="*/ 48 h 52"/>
                  <a:gd name="T60" fmla="*/ 36 w 52"/>
                  <a:gd name="T61" fmla="*/ 51 h 52"/>
                  <a:gd name="T62" fmla="*/ 30 w 52"/>
                  <a:gd name="T63" fmla="*/ 52 h 52"/>
                  <a:gd name="T64" fmla="*/ 26 w 52"/>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52">
                    <a:moveTo>
                      <a:pt x="26" y="52"/>
                    </a:moveTo>
                    <a:lnTo>
                      <a:pt x="20" y="52"/>
                    </a:lnTo>
                    <a:lnTo>
                      <a:pt x="16" y="51"/>
                    </a:lnTo>
                    <a:lnTo>
                      <a:pt x="11" y="48"/>
                    </a:lnTo>
                    <a:lnTo>
                      <a:pt x="7" y="45"/>
                    </a:lnTo>
                    <a:lnTo>
                      <a:pt x="4" y="41"/>
                    </a:lnTo>
                    <a:lnTo>
                      <a:pt x="1" y="36"/>
                    </a:lnTo>
                    <a:lnTo>
                      <a:pt x="0" y="32"/>
                    </a:lnTo>
                    <a:lnTo>
                      <a:pt x="0" y="26"/>
                    </a:lnTo>
                    <a:lnTo>
                      <a:pt x="0" y="22"/>
                    </a:lnTo>
                    <a:lnTo>
                      <a:pt x="1" y="16"/>
                    </a:lnTo>
                    <a:lnTo>
                      <a:pt x="4" y="12"/>
                    </a:lnTo>
                    <a:lnTo>
                      <a:pt x="7" y="9"/>
                    </a:lnTo>
                    <a:lnTo>
                      <a:pt x="11" y="5"/>
                    </a:lnTo>
                    <a:lnTo>
                      <a:pt x="16" y="3"/>
                    </a:lnTo>
                    <a:lnTo>
                      <a:pt x="20" y="2"/>
                    </a:lnTo>
                    <a:lnTo>
                      <a:pt x="26" y="0"/>
                    </a:lnTo>
                    <a:lnTo>
                      <a:pt x="30" y="2"/>
                    </a:lnTo>
                    <a:lnTo>
                      <a:pt x="36" y="3"/>
                    </a:lnTo>
                    <a:lnTo>
                      <a:pt x="40" y="5"/>
                    </a:lnTo>
                    <a:lnTo>
                      <a:pt x="45" y="9"/>
                    </a:lnTo>
                    <a:lnTo>
                      <a:pt x="47" y="12"/>
                    </a:lnTo>
                    <a:lnTo>
                      <a:pt x="49" y="16"/>
                    </a:lnTo>
                    <a:lnTo>
                      <a:pt x="50" y="22"/>
                    </a:lnTo>
                    <a:lnTo>
                      <a:pt x="52" y="26"/>
                    </a:lnTo>
                    <a:lnTo>
                      <a:pt x="50" y="32"/>
                    </a:lnTo>
                    <a:lnTo>
                      <a:pt x="49" y="36"/>
                    </a:lnTo>
                    <a:lnTo>
                      <a:pt x="47" y="41"/>
                    </a:lnTo>
                    <a:lnTo>
                      <a:pt x="45" y="45"/>
                    </a:lnTo>
                    <a:lnTo>
                      <a:pt x="40" y="48"/>
                    </a:lnTo>
                    <a:lnTo>
                      <a:pt x="36" y="51"/>
                    </a:lnTo>
                    <a:lnTo>
                      <a:pt x="30" y="52"/>
                    </a:lnTo>
                    <a:lnTo>
                      <a:pt x="2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1">
                <a:extLst>
                  <a:ext uri="{FF2B5EF4-FFF2-40B4-BE49-F238E27FC236}">
                    <a16:creationId xmlns:a16="http://schemas.microsoft.com/office/drawing/2014/main" id="{10B24A56-4461-4EFD-86AA-FCCF4D05A28E}"/>
                  </a:ext>
                </a:extLst>
              </p:cNvPr>
              <p:cNvSpPr>
                <a:spLocks/>
              </p:cNvSpPr>
              <p:nvPr/>
            </p:nvSpPr>
            <p:spPr bwMode="auto">
              <a:xfrm>
                <a:off x="5864225" y="1851026"/>
                <a:ext cx="26988" cy="28575"/>
              </a:xfrm>
              <a:custGeom>
                <a:avLst/>
                <a:gdLst>
                  <a:gd name="T0" fmla="*/ 26 w 53"/>
                  <a:gd name="T1" fmla="*/ 52 h 52"/>
                  <a:gd name="T2" fmla="*/ 21 w 53"/>
                  <a:gd name="T3" fmla="*/ 52 h 52"/>
                  <a:gd name="T4" fmla="*/ 16 w 53"/>
                  <a:gd name="T5" fmla="*/ 51 h 52"/>
                  <a:gd name="T6" fmla="*/ 11 w 53"/>
                  <a:gd name="T7" fmla="*/ 48 h 52"/>
                  <a:gd name="T8" fmla="*/ 8 w 53"/>
                  <a:gd name="T9" fmla="*/ 45 h 52"/>
                  <a:gd name="T10" fmla="*/ 4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4 w 53"/>
                  <a:gd name="T23" fmla="*/ 12 h 52"/>
                  <a:gd name="T24" fmla="*/ 8 w 53"/>
                  <a:gd name="T25" fmla="*/ 9 h 52"/>
                  <a:gd name="T26" fmla="*/ 11 w 53"/>
                  <a:gd name="T27" fmla="*/ 5 h 52"/>
                  <a:gd name="T28" fmla="*/ 16 w 53"/>
                  <a:gd name="T29" fmla="*/ 3 h 52"/>
                  <a:gd name="T30" fmla="*/ 21 w 53"/>
                  <a:gd name="T31" fmla="*/ 2 h 52"/>
                  <a:gd name="T32" fmla="*/ 26 w 53"/>
                  <a:gd name="T33" fmla="*/ 0 h 52"/>
                  <a:gd name="T34" fmla="*/ 31 w 53"/>
                  <a:gd name="T35" fmla="*/ 2 h 52"/>
                  <a:gd name="T36" fmla="*/ 36 w 53"/>
                  <a:gd name="T37" fmla="*/ 3 h 52"/>
                  <a:gd name="T38" fmla="*/ 40 w 53"/>
                  <a:gd name="T39" fmla="*/ 5 h 52"/>
                  <a:gd name="T40" fmla="*/ 44 w 53"/>
                  <a:gd name="T41" fmla="*/ 7 h 52"/>
                  <a:gd name="T42" fmla="*/ 47 w 53"/>
                  <a:gd name="T43" fmla="*/ 12 h 52"/>
                  <a:gd name="T44" fmla="*/ 50 w 53"/>
                  <a:gd name="T45" fmla="*/ 16 h 52"/>
                  <a:gd name="T46" fmla="*/ 52 w 53"/>
                  <a:gd name="T47" fmla="*/ 22 h 52"/>
                  <a:gd name="T48" fmla="*/ 53 w 53"/>
                  <a:gd name="T49" fmla="*/ 26 h 52"/>
                  <a:gd name="T50" fmla="*/ 52 w 53"/>
                  <a:gd name="T51" fmla="*/ 32 h 52"/>
                  <a:gd name="T52" fmla="*/ 50 w 53"/>
                  <a:gd name="T53" fmla="*/ 36 h 52"/>
                  <a:gd name="T54" fmla="*/ 47 w 53"/>
                  <a:gd name="T55" fmla="*/ 41 h 52"/>
                  <a:gd name="T56" fmla="*/ 44 w 53"/>
                  <a:gd name="T57" fmla="*/ 45 h 52"/>
                  <a:gd name="T58" fmla="*/ 40 w 53"/>
                  <a:gd name="T59" fmla="*/ 48 h 52"/>
                  <a:gd name="T60" fmla="*/ 36 w 53"/>
                  <a:gd name="T61" fmla="*/ 51 h 52"/>
                  <a:gd name="T62" fmla="*/ 31 w 53"/>
                  <a:gd name="T63" fmla="*/ 52 h 52"/>
                  <a:gd name="T64" fmla="*/ 26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6" y="52"/>
                    </a:moveTo>
                    <a:lnTo>
                      <a:pt x="21" y="52"/>
                    </a:lnTo>
                    <a:lnTo>
                      <a:pt x="16" y="51"/>
                    </a:lnTo>
                    <a:lnTo>
                      <a:pt x="11" y="48"/>
                    </a:lnTo>
                    <a:lnTo>
                      <a:pt x="8" y="45"/>
                    </a:lnTo>
                    <a:lnTo>
                      <a:pt x="4" y="41"/>
                    </a:lnTo>
                    <a:lnTo>
                      <a:pt x="3" y="36"/>
                    </a:lnTo>
                    <a:lnTo>
                      <a:pt x="1" y="32"/>
                    </a:lnTo>
                    <a:lnTo>
                      <a:pt x="0" y="26"/>
                    </a:lnTo>
                    <a:lnTo>
                      <a:pt x="1" y="22"/>
                    </a:lnTo>
                    <a:lnTo>
                      <a:pt x="3" y="16"/>
                    </a:lnTo>
                    <a:lnTo>
                      <a:pt x="4" y="12"/>
                    </a:lnTo>
                    <a:lnTo>
                      <a:pt x="8" y="9"/>
                    </a:lnTo>
                    <a:lnTo>
                      <a:pt x="11" y="5"/>
                    </a:lnTo>
                    <a:lnTo>
                      <a:pt x="16" y="3"/>
                    </a:lnTo>
                    <a:lnTo>
                      <a:pt x="21" y="2"/>
                    </a:lnTo>
                    <a:lnTo>
                      <a:pt x="26" y="0"/>
                    </a:lnTo>
                    <a:lnTo>
                      <a:pt x="31" y="2"/>
                    </a:lnTo>
                    <a:lnTo>
                      <a:pt x="36" y="3"/>
                    </a:lnTo>
                    <a:lnTo>
                      <a:pt x="40" y="5"/>
                    </a:lnTo>
                    <a:lnTo>
                      <a:pt x="44" y="7"/>
                    </a:lnTo>
                    <a:lnTo>
                      <a:pt x="47" y="12"/>
                    </a:lnTo>
                    <a:lnTo>
                      <a:pt x="50" y="16"/>
                    </a:lnTo>
                    <a:lnTo>
                      <a:pt x="52" y="22"/>
                    </a:lnTo>
                    <a:lnTo>
                      <a:pt x="53" y="26"/>
                    </a:lnTo>
                    <a:lnTo>
                      <a:pt x="52" y="32"/>
                    </a:lnTo>
                    <a:lnTo>
                      <a:pt x="50" y="36"/>
                    </a:lnTo>
                    <a:lnTo>
                      <a:pt x="47" y="41"/>
                    </a:lnTo>
                    <a:lnTo>
                      <a:pt x="44" y="45"/>
                    </a:lnTo>
                    <a:lnTo>
                      <a:pt x="40" y="48"/>
                    </a:lnTo>
                    <a:lnTo>
                      <a:pt x="36" y="51"/>
                    </a:lnTo>
                    <a:lnTo>
                      <a:pt x="31" y="52"/>
                    </a:lnTo>
                    <a:lnTo>
                      <a:pt x="2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1" name="Gruppieren 290">
            <a:extLst>
              <a:ext uri="{FF2B5EF4-FFF2-40B4-BE49-F238E27FC236}">
                <a16:creationId xmlns:a16="http://schemas.microsoft.com/office/drawing/2014/main" id="{EE4BB443-37EA-4155-862E-754711F0924E}"/>
              </a:ext>
            </a:extLst>
          </p:cNvPr>
          <p:cNvGrpSpPr>
            <a:grpSpLocks noChangeAspect="1"/>
          </p:cNvGrpSpPr>
          <p:nvPr/>
        </p:nvGrpSpPr>
        <p:grpSpPr>
          <a:xfrm>
            <a:off x="323545" y="4961148"/>
            <a:ext cx="204887" cy="143929"/>
            <a:chOff x="6330621" y="1471797"/>
            <a:chExt cx="240663" cy="169061"/>
          </a:xfrm>
          <a:solidFill>
            <a:schemeClr val="bg1"/>
          </a:solidFill>
          <a:effectLst/>
        </p:grpSpPr>
        <p:sp>
          <p:nvSpPr>
            <p:cNvPr id="292" name="Freeform 103">
              <a:extLst>
                <a:ext uri="{FF2B5EF4-FFF2-40B4-BE49-F238E27FC236}">
                  <a16:creationId xmlns:a16="http://schemas.microsoft.com/office/drawing/2014/main" id="{975F4B23-C9F1-4D3D-9BE7-8702E72C7C16}"/>
                </a:ext>
              </a:extLst>
            </p:cNvPr>
            <p:cNvSpPr>
              <a:spLocks noEditPoints="1"/>
            </p:cNvSpPr>
            <p:nvPr/>
          </p:nvSpPr>
          <p:spPr bwMode="auto">
            <a:xfrm>
              <a:off x="6330621" y="1471797"/>
              <a:ext cx="240663" cy="169061"/>
            </a:xfrm>
            <a:custGeom>
              <a:avLst/>
              <a:gdLst>
                <a:gd name="T0" fmla="*/ 68 w 603"/>
                <a:gd name="T1" fmla="*/ 31 h 422"/>
                <a:gd name="T2" fmla="*/ 52 w 603"/>
                <a:gd name="T3" fmla="*/ 39 h 422"/>
                <a:gd name="T4" fmla="*/ 39 w 603"/>
                <a:gd name="T5" fmla="*/ 51 h 422"/>
                <a:gd name="T6" fmla="*/ 31 w 603"/>
                <a:gd name="T7" fmla="*/ 67 h 422"/>
                <a:gd name="T8" fmla="*/ 30 w 603"/>
                <a:gd name="T9" fmla="*/ 346 h 422"/>
                <a:gd name="T10" fmla="*/ 35 w 603"/>
                <a:gd name="T11" fmla="*/ 363 h 422"/>
                <a:gd name="T12" fmla="*/ 44 w 603"/>
                <a:gd name="T13" fmla="*/ 378 h 422"/>
                <a:gd name="T14" fmla="*/ 59 w 603"/>
                <a:gd name="T15" fmla="*/ 387 h 422"/>
                <a:gd name="T16" fmla="*/ 76 w 603"/>
                <a:gd name="T17" fmla="*/ 391 h 422"/>
                <a:gd name="T18" fmla="*/ 536 w 603"/>
                <a:gd name="T19" fmla="*/ 390 h 422"/>
                <a:gd name="T20" fmla="*/ 551 w 603"/>
                <a:gd name="T21" fmla="*/ 383 h 422"/>
                <a:gd name="T22" fmla="*/ 564 w 603"/>
                <a:gd name="T23" fmla="*/ 371 h 422"/>
                <a:gd name="T24" fmla="*/ 572 w 603"/>
                <a:gd name="T25" fmla="*/ 355 h 422"/>
                <a:gd name="T26" fmla="*/ 573 w 603"/>
                <a:gd name="T27" fmla="*/ 75 h 422"/>
                <a:gd name="T28" fmla="*/ 569 w 603"/>
                <a:gd name="T29" fmla="*/ 59 h 422"/>
                <a:gd name="T30" fmla="*/ 559 w 603"/>
                <a:gd name="T31" fmla="*/ 44 h 422"/>
                <a:gd name="T32" fmla="*/ 544 w 603"/>
                <a:gd name="T33" fmla="*/ 34 h 422"/>
                <a:gd name="T34" fmla="*/ 528 w 603"/>
                <a:gd name="T35" fmla="*/ 30 h 422"/>
                <a:gd name="T36" fmla="*/ 528 w 603"/>
                <a:gd name="T37" fmla="*/ 422 h 422"/>
                <a:gd name="T38" fmla="*/ 69 w 603"/>
                <a:gd name="T39" fmla="*/ 422 h 422"/>
                <a:gd name="T40" fmla="*/ 54 w 603"/>
                <a:gd name="T41" fmla="*/ 418 h 422"/>
                <a:gd name="T42" fmla="*/ 41 w 603"/>
                <a:gd name="T43" fmla="*/ 412 h 422"/>
                <a:gd name="T44" fmla="*/ 29 w 603"/>
                <a:gd name="T45" fmla="*/ 403 h 422"/>
                <a:gd name="T46" fmla="*/ 19 w 603"/>
                <a:gd name="T47" fmla="*/ 394 h 422"/>
                <a:gd name="T48" fmla="*/ 10 w 603"/>
                <a:gd name="T49" fmla="*/ 382 h 422"/>
                <a:gd name="T50" fmla="*/ 5 w 603"/>
                <a:gd name="T51" fmla="*/ 368 h 422"/>
                <a:gd name="T52" fmla="*/ 1 w 603"/>
                <a:gd name="T53" fmla="*/ 354 h 422"/>
                <a:gd name="T54" fmla="*/ 0 w 603"/>
                <a:gd name="T55" fmla="*/ 75 h 422"/>
                <a:gd name="T56" fmla="*/ 2 w 603"/>
                <a:gd name="T57" fmla="*/ 60 h 422"/>
                <a:gd name="T58" fmla="*/ 7 w 603"/>
                <a:gd name="T59" fmla="*/ 46 h 422"/>
                <a:gd name="T60" fmla="*/ 14 w 603"/>
                <a:gd name="T61" fmla="*/ 34 h 422"/>
                <a:gd name="T62" fmla="*/ 23 w 603"/>
                <a:gd name="T63" fmla="*/ 23 h 422"/>
                <a:gd name="T64" fmla="*/ 35 w 603"/>
                <a:gd name="T65" fmla="*/ 13 h 422"/>
                <a:gd name="T66" fmla="*/ 48 w 603"/>
                <a:gd name="T67" fmla="*/ 7 h 422"/>
                <a:gd name="T68" fmla="*/ 61 w 603"/>
                <a:gd name="T69" fmla="*/ 2 h 422"/>
                <a:gd name="T70" fmla="*/ 76 w 603"/>
                <a:gd name="T71" fmla="*/ 0 h 422"/>
                <a:gd name="T72" fmla="*/ 534 w 603"/>
                <a:gd name="T73" fmla="*/ 0 h 422"/>
                <a:gd name="T74" fmla="*/ 549 w 603"/>
                <a:gd name="T75" fmla="*/ 3 h 422"/>
                <a:gd name="T76" fmla="*/ 562 w 603"/>
                <a:gd name="T77" fmla="*/ 10 h 422"/>
                <a:gd name="T78" fmla="*/ 575 w 603"/>
                <a:gd name="T79" fmla="*/ 17 h 422"/>
                <a:gd name="T80" fmla="*/ 585 w 603"/>
                <a:gd name="T81" fmla="*/ 28 h 422"/>
                <a:gd name="T82" fmla="*/ 593 w 603"/>
                <a:gd name="T83" fmla="*/ 40 h 422"/>
                <a:gd name="T84" fmla="*/ 599 w 603"/>
                <a:gd name="T85" fmla="*/ 54 h 422"/>
                <a:gd name="T86" fmla="*/ 602 w 603"/>
                <a:gd name="T87" fmla="*/ 68 h 422"/>
                <a:gd name="T88" fmla="*/ 603 w 603"/>
                <a:gd name="T89" fmla="*/ 346 h 422"/>
                <a:gd name="T90" fmla="*/ 601 w 603"/>
                <a:gd name="T91" fmla="*/ 361 h 422"/>
                <a:gd name="T92" fmla="*/ 596 w 603"/>
                <a:gd name="T93" fmla="*/ 374 h 422"/>
                <a:gd name="T94" fmla="*/ 589 w 603"/>
                <a:gd name="T95" fmla="*/ 387 h 422"/>
                <a:gd name="T96" fmla="*/ 580 w 603"/>
                <a:gd name="T97" fmla="*/ 399 h 422"/>
                <a:gd name="T98" fmla="*/ 569 w 603"/>
                <a:gd name="T99" fmla="*/ 409 h 422"/>
                <a:gd name="T100" fmla="*/ 556 w 603"/>
                <a:gd name="T101" fmla="*/ 415 h 422"/>
                <a:gd name="T102" fmla="*/ 542 w 603"/>
                <a:gd name="T103" fmla="*/ 419 h 422"/>
                <a:gd name="T104" fmla="*/ 528 w 603"/>
                <a:gd name="T105"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3" h="422">
                  <a:moveTo>
                    <a:pt x="76" y="30"/>
                  </a:moveTo>
                  <a:lnTo>
                    <a:pt x="68" y="31"/>
                  </a:lnTo>
                  <a:lnTo>
                    <a:pt x="59" y="34"/>
                  </a:lnTo>
                  <a:lnTo>
                    <a:pt x="52" y="39"/>
                  </a:lnTo>
                  <a:lnTo>
                    <a:pt x="44" y="44"/>
                  </a:lnTo>
                  <a:lnTo>
                    <a:pt x="39" y="51"/>
                  </a:lnTo>
                  <a:lnTo>
                    <a:pt x="35" y="59"/>
                  </a:lnTo>
                  <a:lnTo>
                    <a:pt x="31" y="67"/>
                  </a:lnTo>
                  <a:lnTo>
                    <a:pt x="30" y="75"/>
                  </a:lnTo>
                  <a:lnTo>
                    <a:pt x="30" y="346"/>
                  </a:lnTo>
                  <a:lnTo>
                    <a:pt x="31" y="355"/>
                  </a:lnTo>
                  <a:lnTo>
                    <a:pt x="35" y="363"/>
                  </a:lnTo>
                  <a:lnTo>
                    <a:pt x="39" y="371"/>
                  </a:lnTo>
                  <a:lnTo>
                    <a:pt x="44" y="378"/>
                  </a:lnTo>
                  <a:lnTo>
                    <a:pt x="52" y="383"/>
                  </a:lnTo>
                  <a:lnTo>
                    <a:pt x="59" y="387"/>
                  </a:lnTo>
                  <a:lnTo>
                    <a:pt x="68" y="390"/>
                  </a:lnTo>
                  <a:lnTo>
                    <a:pt x="76" y="391"/>
                  </a:lnTo>
                  <a:lnTo>
                    <a:pt x="528" y="391"/>
                  </a:lnTo>
                  <a:lnTo>
                    <a:pt x="536" y="390"/>
                  </a:lnTo>
                  <a:lnTo>
                    <a:pt x="544" y="387"/>
                  </a:lnTo>
                  <a:lnTo>
                    <a:pt x="551" y="383"/>
                  </a:lnTo>
                  <a:lnTo>
                    <a:pt x="559" y="378"/>
                  </a:lnTo>
                  <a:lnTo>
                    <a:pt x="564" y="371"/>
                  </a:lnTo>
                  <a:lnTo>
                    <a:pt x="569" y="364"/>
                  </a:lnTo>
                  <a:lnTo>
                    <a:pt x="572" y="355"/>
                  </a:lnTo>
                  <a:lnTo>
                    <a:pt x="573" y="346"/>
                  </a:lnTo>
                  <a:lnTo>
                    <a:pt x="573" y="75"/>
                  </a:lnTo>
                  <a:lnTo>
                    <a:pt x="572" y="67"/>
                  </a:lnTo>
                  <a:lnTo>
                    <a:pt x="569" y="59"/>
                  </a:lnTo>
                  <a:lnTo>
                    <a:pt x="564" y="51"/>
                  </a:lnTo>
                  <a:lnTo>
                    <a:pt x="559" y="44"/>
                  </a:lnTo>
                  <a:lnTo>
                    <a:pt x="551" y="39"/>
                  </a:lnTo>
                  <a:lnTo>
                    <a:pt x="544" y="34"/>
                  </a:lnTo>
                  <a:lnTo>
                    <a:pt x="536" y="31"/>
                  </a:lnTo>
                  <a:lnTo>
                    <a:pt x="528" y="30"/>
                  </a:lnTo>
                  <a:lnTo>
                    <a:pt x="76" y="30"/>
                  </a:lnTo>
                  <a:close/>
                  <a:moveTo>
                    <a:pt x="528" y="422"/>
                  </a:moveTo>
                  <a:lnTo>
                    <a:pt x="76" y="422"/>
                  </a:lnTo>
                  <a:lnTo>
                    <a:pt x="69" y="422"/>
                  </a:lnTo>
                  <a:lnTo>
                    <a:pt x="61" y="419"/>
                  </a:lnTo>
                  <a:lnTo>
                    <a:pt x="54" y="418"/>
                  </a:lnTo>
                  <a:lnTo>
                    <a:pt x="48" y="415"/>
                  </a:lnTo>
                  <a:lnTo>
                    <a:pt x="41" y="412"/>
                  </a:lnTo>
                  <a:lnTo>
                    <a:pt x="35" y="409"/>
                  </a:lnTo>
                  <a:lnTo>
                    <a:pt x="29" y="403"/>
                  </a:lnTo>
                  <a:lnTo>
                    <a:pt x="23" y="399"/>
                  </a:lnTo>
                  <a:lnTo>
                    <a:pt x="19" y="394"/>
                  </a:lnTo>
                  <a:lnTo>
                    <a:pt x="14" y="387"/>
                  </a:lnTo>
                  <a:lnTo>
                    <a:pt x="10" y="382"/>
                  </a:lnTo>
                  <a:lnTo>
                    <a:pt x="7" y="375"/>
                  </a:lnTo>
                  <a:lnTo>
                    <a:pt x="5" y="368"/>
                  </a:lnTo>
                  <a:lnTo>
                    <a:pt x="2" y="361"/>
                  </a:lnTo>
                  <a:lnTo>
                    <a:pt x="1" y="354"/>
                  </a:lnTo>
                  <a:lnTo>
                    <a:pt x="0" y="346"/>
                  </a:lnTo>
                  <a:lnTo>
                    <a:pt x="0" y="75"/>
                  </a:lnTo>
                  <a:lnTo>
                    <a:pt x="1" y="68"/>
                  </a:lnTo>
                  <a:lnTo>
                    <a:pt x="2" y="60"/>
                  </a:lnTo>
                  <a:lnTo>
                    <a:pt x="5" y="54"/>
                  </a:lnTo>
                  <a:lnTo>
                    <a:pt x="7" y="46"/>
                  </a:lnTo>
                  <a:lnTo>
                    <a:pt x="10" y="40"/>
                  </a:lnTo>
                  <a:lnTo>
                    <a:pt x="14" y="34"/>
                  </a:lnTo>
                  <a:lnTo>
                    <a:pt x="19" y="28"/>
                  </a:lnTo>
                  <a:lnTo>
                    <a:pt x="23" y="23"/>
                  </a:lnTo>
                  <a:lnTo>
                    <a:pt x="29" y="17"/>
                  </a:lnTo>
                  <a:lnTo>
                    <a:pt x="35" y="13"/>
                  </a:lnTo>
                  <a:lnTo>
                    <a:pt x="41" y="10"/>
                  </a:lnTo>
                  <a:lnTo>
                    <a:pt x="48" y="7"/>
                  </a:lnTo>
                  <a:lnTo>
                    <a:pt x="54" y="3"/>
                  </a:lnTo>
                  <a:lnTo>
                    <a:pt x="61" y="2"/>
                  </a:lnTo>
                  <a:lnTo>
                    <a:pt x="69" y="0"/>
                  </a:lnTo>
                  <a:lnTo>
                    <a:pt x="76" y="0"/>
                  </a:lnTo>
                  <a:lnTo>
                    <a:pt x="528" y="0"/>
                  </a:lnTo>
                  <a:lnTo>
                    <a:pt x="534" y="0"/>
                  </a:lnTo>
                  <a:lnTo>
                    <a:pt x="542" y="2"/>
                  </a:lnTo>
                  <a:lnTo>
                    <a:pt x="549" y="3"/>
                  </a:lnTo>
                  <a:lnTo>
                    <a:pt x="556" y="7"/>
                  </a:lnTo>
                  <a:lnTo>
                    <a:pt x="562" y="10"/>
                  </a:lnTo>
                  <a:lnTo>
                    <a:pt x="569" y="13"/>
                  </a:lnTo>
                  <a:lnTo>
                    <a:pt x="575" y="17"/>
                  </a:lnTo>
                  <a:lnTo>
                    <a:pt x="580" y="23"/>
                  </a:lnTo>
                  <a:lnTo>
                    <a:pt x="585" y="28"/>
                  </a:lnTo>
                  <a:lnTo>
                    <a:pt x="589" y="34"/>
                  </a:lnTo>
                  <a:lnTo>
                    <a:pt x="593" y="40"/>
                  </a:lnTo>
                  <a:lnTo>
                    <a:pt x="596" y="46"/>
                  </a:lnTo>
                  <a:lnTo>
                    <a:pt x="599" y="54"/>
                  </a:lnTo>
                  <a:lnTo>
                    <a:pt x="601" y="60"/>
                  </a:lnTo>
                  <a:lnTo>
                    <a:pt x="602" y="68"/>
                  </a:lnTo>
                  <a:lnTo>
                    <a:pt x="603" y="75"/>
                  </a:lnTo>
                  <a:lnTo>
                    <a:pt x="603" y="346"/>
                  </a:lnTo>
                  <a:lnTo>
                    <a:pt x="602" y="354"/>
                  </a:lnTo>
                  <a:lnTo>
                    <a:pt x="601" y="361"/>
                  </a:lnTo>
                  <a:lnTo>
                    <a:pt x="599" y="368"/>
                  </a:lnTo>
                  <a:lnTo>
                    <a:pt x="596" y="374"/>
                  </a:lnTo>
                  <a:lnTo>
                    <a:pt x="593" y="382"/>
                  </a:lnTo>
                  <a:lnTo>
                    <a:pt x="589" y="387"/>
                  </a:lnTo>
                  <a:lnTo>
                    <a:pt x="585" y="394"/>
                  </a:lnTo>
                  <a:lnTo>
                    <a:pt x="580" y="399"/>
                  </a:lnTo>
                  <a:lnTo>
                    <a:pt x="575" y="403"/>
                  </a:lnTo>
                  <a:lnTo>
                    <a:pt x="569" y="409"/>
                  </a:lnTo>
                  <a:lnTo>
                    <a:pt x="562" y="412"/>
                  </a:lnTo>
                  <a:lnTo>
                    <a:pt x="556" y="415"/>
                  </a:lnTo>
                  <a:lnTo>
                    <a:pt x="549" y="418"/>
                  </a:lnTo>
                  <a:lnTo>
                    <a:pt x="542" y="419"/>
                  </a:lnTo>
                  <a:lnTo>
                    <a:pt x="534" y="422"/>
                  </a:lnTo>
                  <a:lnTo>
                    <a:pt x="528"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04">
              <a:extLst>
                <a:ext uri="{FF2B5EF4-FFF2-40B4-BE49-F238E27FC236}">
                  <a16:creationId xmlns:a16="http://schemas.microsoft.com/office/drawing/2014/main" id="{4298BA0D-37C8-410C-9D44-2399E0EDF34C}"/>
                </a:ext>
              </a:extLst>
            </p:cNvPr>
            <p:cNvSpPr>
              <a:spLocks/>
            </p:cNvSpPr>
            <p:nvPr/>
          </p:nvSpPr>
          <p:spPr bwMode="auto">
            <a:xfrm>
              <a:off x="6362445" y="1495665"/>
              <a:ext cx="179005" cy="77570"/>
            </a:xfrm>
            <a:custGeom>
              <a:avLst/>
              <a:gdLst>
                <a:gd name="T0" fmla="*/ 226 w 452"/>
                <a:gd name="T1" fmla="*/ 196 h 196"/>
                <a:gd name="T2" fmla="*/ 220 w 452"/>
                <a:gd name="T3" fmla="*/ 195 h 196"/>
                <a:gd name="T4" fmla="*/ 216 w 452"/>
                <a:gd name="T5" fmla="*/ 193 h 196"/>
                <a:gd name="T6" fmla="*/ 6 w 452"/>
                <a:gd name="T7" fmla="*/ 27 h 196"/>
                <a:gd name="T8" fmla="*/ 4 w 452"/>
                <a:gd name="T9" fmla="*/ 25 h 196"/>
                <a:gd name="T10" fmla="*/ 2 w 452"/>
                <a:gd name="T11" fmla="*/ 23 h 196"/>
                <a:gd name="T12" fmla="*/ 0 w 452"/>
                <a:gd name="T13" fmla="*/ 19 h 196"/>
                <a:gd name="T14" fmla="*/ 0 w 452"/>
                <a:gd name="T15" fmla="*/ 17 h 196"/>
                <a:gd name="T16" fmla="*/ 0 w 452"/>
                <a:gd name="T17" fmla="*/ 14 h 196"/>
                <a:gd name="T18" fmla="*/ 0 w 452"/>
                <a:gd name="T19" fmla="*/ 11 h 196"/>
                <a:gd name="T20" fmla="*/ 2 w 452"/>
                <a:gd name="T21" fmla="*/ 9 h 196"/>
                <a:gd name="T22" fmla="*/ 4 w 452"/>
                <a:gd name="T23" fmla="*/ 7 h 196"/>
                <a:gd name="T24" fmla="*/ 5 w 452"/>
                <a:gd name="T25" fmla="*/ 3 h 196"/>
                <a:gd name="T26" fmla="*/ 8 w 452"/>
                <a:gd name="T27" fmla="*/ 2 h 196"/>
                <a:gd name="T28" fmla="*/ 10 w 452"/>
                <a:gd name="T29" fmla="*/ 1 h 196"/>
                <a:gd name="T30" fmla="*/ 13 w 452"/>
                <a:gd name="T31" fmla="*/ 0 h 196"/>
                <a:gd name="T32" fmla="*/ 17 w 452"/>
                <a:gd name="T33" fmla="*/ 0 h 196"/>
                <a:gd name="T34" fmla="*/ 19 w 452"/>
                <a:gd name="T35" fmla="*/ 1 h 196"/>
                <a:gd name="T36" fmla="*/ 22 w 452"/>
                <a:gd name="T37" fmla="*/ 2 h 196"/>
                <a:gd name="T38" fmla="*/ 24 w 452"/>
                <a:gd name="T39" fmla="*/ 3 h 196"/>
                <a:gd name="T40" fmla="*/ 226 w 452"/>
                <a:gd name="T41" fmla="*/ 162 h 196"/>
                <a:gd name="T42" fmla="*/ 427 w 452"/>
                <a:gd name="T43" fmla="*/ 3 h 196"/>
                <a:gd name="T44" fmla="*/ 429 w 452"/>
                <a:gd name="T45" fmla="*/ 2 h 196"/>
                <a:gd name="T46" fmla="*/ 433 w 452"/>
                <a:gd name="T47" fmla="*/ 1 h 196"/>
                <a:gd name="T48" fmla="*/ 435 w 452"/>
                <a:gd name="T49" fmla="*/ 0 h 196"/>
                <a:gd name="T50" fmla="*/ 438 w 452"/>
                <a:gd name="T51" fmla="*/ 0 h 196"/>
                <a:gd name="T52" fmla="*/ 441 w 452"/>
                <a:gd name="T53" fmla="*/ 1 h 196"/>
                <a:gd name="T54" fmla="*/ 443 w 452"/>
                <a:gd name="T55" fmla="*/ 2 h 196"/>
                <a:gd name="T56" fmla="*/ 446 w 452"/>
                <a:gd name="T57" fmla="*/ 3 h 196"/>
                <a:gd name="T58" fmla="*/ 449 w 452"/>
                <a:gd name="T59" fmla="*/ 7 h 196"/>
                <a:gd name="T60" fmla="*/ 450 w 452"/>
                <a:gd name="T61" fmla="*/ 9 h 196"/>
                <a:gd name="T62" fmla="*/ 451 w 452"/>
                <a:gd name="T63" fmla="*/ 11 h 196"/>
                <a:gd name="T64" fmla="*/ 452 w 452"/>
                <a:gd name="T65" fmla="*/ 14 h 196"/>
                <a:gd name="T66" fmla="*/ 451 w 452"/>
                <a:gd name="T67" fmla="*/ 17 h 196"/>
                <a:gd name="T68" fmla="*/ 451 w 452"/>
                <a:gd name="T69" fmla="*/ 19 h 196"/>
                <a:gd name="T70" fmla="*/ 450 w 452"/>
                <a:gd name="T71" fmla="*/ 23 h 196"/>
                <a:gd name="T72" fmla="*/ 448 w 452"/>
                <a:gd name="T73" fmla="*/ 25 h 196"/>
                <a:gd name="T74" fmla="*/ 445 w 452"/>
                <a:gd name="T75" fmla="*/ 27 h 196"/>
                <a:gd name="T76" fmla="*/ 235 w 452"/>
                <a:gd name="T77" fmla="*/ 193 h 196"/>
                <a:gd name="T78" fmla="*/ 231 w 452"/>
                <a:gd name="T79" fmla="*/ 195 h 196"/>
                <a:gd name="T80" fmla="*/ 226 w 452"/>
                <a:gd name="T8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2" h="196">
                  <a:moveTo>
                    <a:pt x="226" y="196"/>
                  </a:moveTo>
                  <a:lnTo>
                    <a:pt x="220" y="195"/>
                  </a:lnTo>
                  <a:lnTo>
                    <a:pt x="216" y="193"/>
                  </a:lnTo>
                  <a:lnTo>
                    <a:pt x="6" y="27"/>
                  </a:lnTo>
                  <a:lnTo>
                    <a:pt x="4" y="25"/>
                  </a:lnTo>
                  <a:lnTo>
                    <a:pt x="2" y="23"/>
                  </a:lnTo>
                  <a:lnTo>
                    <a:pt x="0" y="19"/>
                  </a:lnTo>
                  <a:lnTo>
                    <a:pt x="0" y="17"/>
                  </a:lnTo>
                  <a:lnTo>
                    <a:pt x="0" y="14"/>
                  </a:lnTo>
                  <a:lnTo>
                    <a:pt x="0" y="11"/>
                  </a:lnTo>
                  <a:lnTo>
                    <a:pt x="2" y="9"/>
                  </a:lnTo>
                  <a:lnTo>
                    <a:pt x="4" y="7"/>
                  </a:lnTo>
                  <a:lnTo>
                    <a:pt x="5" y="3"/>
                  </a:lnTo>
                  <a:lnTo>
                    <a:pt x="8" y="2"/>
                  </a:lnTo>
                  <a:lnTo>
                    <a:pt x="10" y="1"/>
                  </a:lnTo>
                  <a:lnTo>
                    <a:pt x="13" y="0"/>
                  </a:lnTo>
                  <a:lnTo>
                    <a:pt x="17" y="0"/>
                  </a:lnTo>
                  <a:lnTo>
                    <a:pt x="19" y="1"/>
                  </a:lnTo>
                  <a:lnTo>
                    <a:pt x="22" y="2"/>
                  </a:lnTo>
                  <a:lnTo>
                    <a:pt x="24" y="3"/>
                  </a:lnTo>
                  <a:lnTo>
                    <a:pt x="226" y="162"/>
                  </a:lnTo>
                  <a:lnTo>
                    <a:pt x="427" y="3"/>
                  </a:lnTo>
                  <a:lnTo>
                    <a:pt x="429" y="2"/>
                  </a:lnTo>
                  <a:lnTo>
                    <a:pt x="433" y="1"/>
                  </a:lnTo>
                  <a:lnTo>
                    <a:pt x="435" y="0"/>
                  </a:lnTo>
                  <a:lnTo>
                    <a:pt x="438" y="0"/>
                  </a:lnTo>
                  <a:lnTo>
                    <a:pt x="441" y="1"/>
                  </a:lnTo>
                  <a:lnTo>
                    <a:pt x="443" y="2"/>
                  </a:lnTo>
                  <a:lnTo>
                    <a:pt x="446" y="3"/>
                  </a:lnTo>
                  <a:lnTo>
                    <a:pt x="449" y="7"/>
                  </a:lnTo>
                  <a:lnTo>
                    <a:pt x="450" y="9"/>
                  </a:lnTo>
                  <a:lnTo>
                    <a:pt x="451" y="11"/>
                  </a:lnTo>
                  <a:lnTo>
                    <a:pt x="452" y="14"/>
                  </a:lnTo>
                  <a:lnTo>
                    <a:pt x="451" y="17"/>
                  </a:lnTo>
                  <a:lnTo>
                    <a:pt x="451" y="19"/>
                  </a:lnTo>
                  <a:lnTo>
                    <a:pt x="450" y="23"/>
                  </a:lnTo>
                  <a:lnTo>
                    <a:pt x="448" y="25"/>
                  </a:lnTo>
                  <a:lnTo>
                    <a:pt x="445" y="27"/>
                  </a:lnTo>
                  <a:lnTo>
                    <a:pt x="235" y="193"/>
                  </a:lnTo>
                  <a:lnTo>
                    <a:pt x="231" y="195"/>
                  </a:lnTo>
                  <a:lnTo>
                    <a:pt x="226"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05">
              <a:extLst>
                <a:ext uri="{FF2B5EF4-FFF2-40B4-BE49-F238E27FC236}">
                  <a16:creationId xmlns:a16="http://schemas.microsoft.com/office/drawing/2014/main" id="{7C0D120D-57CF-4F62-80B5-F66A6D3354C0}"/>
                </a:ext>
              </a:extLst>
            </p:cNvPr>
            <p:cNvSpPr>
              <a:spLocks/>
            </p:cNvSpPr>
            <p:nvPr/>
          </p:nvSpPr>
          <p:spPr bwMode="auto">
            <a:xfrm>
              <a:off x="6469848" y="1543400"/>
              <a:ext cx="71602" cy="59668"/>
            </a:xfrm>
            <a:custGeom>
              <a:avLst/>
              <a:gdLst>
                <a:gd name="T0" fmla="*/ 166 w 181"/>
                <a:gd name="T1" fmla="*/ 152 h 152"/>
                <a:gd name="T2" fmla="*/ 161 w 181"/>
                <a:gd name="T3" fmla="*/ 151 h 152"/>
                <a:gd name="T4" fmla="*/ 157 w 181"/>
                <a:gd name="T5" fmla="*/ 149 h 152"/>
                <a:gd name="T6" fmla="*/ 5 w 181"/>
                <a:gd name="T7" fmla="*/ 27 h 152"/>
                <a:gd name="T8" fmla="*/ 3 w 181"/>
                <a:gd name="T9" fmla="*/ 25 h 152"/>
                <a:gd name="T10" fmla="*/ 2 w 181"/>
                <a:gd name="T11" fmla="*/ 23 h 152"/>
                <a:gd name="T12" fmla="*/ 1 w 181"/>
                <a:gd name="T13" fmla="*/ 19 h 152"/>
                <a:gd name="T14" fmla="*/ 0 w 181"/>
                <a:gd name="T15" fmla="*/ 17 h 152"/>
                <a:gd name="T16" fmla="*/ 0 w 181"/>
                <a:gd name="T17" fmla="*/ 14 h 152"/>
                <a:gd name="T18" fmla="*/ 1 w 181"/>
                <a:gd name="T19" fmla="*/ 11 h 152"/>
                <a:gd name="T20" fmla="*/ 2 w 181"/>
                <a:gd name="T21" fmla="*/ 9 h 152"/>
                <a:gd name="T22" fmla="*/ 3 w 181"/>
                <a:gd name="T23" fmla="*/ 7 h 152"/>
                <a:gd name="T24" fmla="*/ 5 w 181"/>
                <a:gd name="T25" fmla="*/ 3 h 152"/>
                <a:gd name="T26" fmla="*/ 7 w 181"/>
                <a:gd name="T27" fmla="*/ 2 h 152"/>
                <a:gd name="T28" fmla="*/ 10 w 181"/>
                <a:gd name="T29" fmla="*/ 1 h 152"/>
                <a:gd name="T30" fmla="*/ 14 w 181"/>
                <a:gd name="T31" fmla="*/ 0 h 152"/>
                <a:gd name="T32" fmla="*/ 16 w 181"/>
                <a:gd name="T33" fmla="*/ 0 h 152"/>
                <a:gd name="T34" fmla="*/ 19 w 181"/>
                <a:gd name="T35" fmla="*/ 1 h 152"/>
                <a:gd name="T36" fmla="*/ 22 w 181"/>
                <a:gd name="T37" fmla="*/ 2 h 152"/>
                <a:gd name="T38" fmla="*/ 24 w 181"/>
                <a:gd name="T39" fmla="*/ 3 h 152"/>
                <a:gd name="T40" fmla="*/ 175 w 181"/>
                <a:gd name="T41" fmla="*/ 126 h 152"/>
                <a:gd name="T42" fmla="*/ 178 w 181"/>
                <a:gd name="T43" fmla="*/ 128 h 152"/>
                <a:gd name="T44" fmla="*/ 180 w 181"/>
                <a:gd name="T45" fmla="*/ 130 h 152"/>
                <a:gd name="T46" fmla="*/ 181 w 181"/>
                <a:gd name="T47" fmla="*/ 132 h 152"/>
                <a:gd name="T48" fmla="*/ 181 w 181"/>
                <a:gd name="T49" fmla="*/ 135 h 152"/>
                <a:gd name="T50" fmla="*/ 181 w 181"/>
                <a:gd name="T51" fmla="*/ 139 h 152"/>
                <a:gd name="T52" fmla="*/ 181 w 181"/>
                <a:gd name="T53" fmla="*/ 141 h 152"/>
                <a:gd name="T54" fmla="*/ 180 w 181"/>
                <a:gd name="T55" fmla="*/ 144 h 152"/>
                <a:gd name="T56" fmla="*/ 178 w 181"/>
                <a:gd name="T57" fmla="*/ 146 h 152"/>
                <a:gd name="T58" fmla="*/ 175 w 181"/>
                <a:gd name="T59" fmla="*/ 149 h 152"/>
                <a:gd name="T60" fmla="*/ 172 w 181"/>
                <a:gd name="T61" fmla="*/ 150 h 152"/>
                <a:gd name="T62" fmla="*/ 170 w 181"/>
                <a:gd name="T63" fmla="*/ 151 h 152"/>
                <a:gd name="T64" fmla="*/ 166 w 181"/>
                <a:gd name="T6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1" h="152">
                  <a:moveTo>
                    <a:pt x="166" y="152"/>
                  </a:moveTo>
                  <a:lnTo>
                    <a:pt x="161" y="151"/>
                  </a:lnTo>
                  <a:lnTo>
                    <a:pt x="157" y="149"/>
                  </a:lnTo>
                  <a:lnTo>
                    <a:pt x="5" y="27"/>
                  </a:lnTo>
                  <a:lnTo>
                    <a:pt x="3" y="25"/>
                  </a:lnTo>
                  <a:lnTo>
                    <a:pt x="2" y="23"/>
                  </a:lnTo>
                  <a:lnTo>
                    <a:pt x="1" y="19"/>
                  </a:lnTo>
                  <a:lnTo>
                    <a:pt x="0" y="17"/>
                  </a:lnTo>
                  <a:lnTo>
                    <a:pt x="0" y="14"/>
                  </a:lnTo>
                  <a:lnTo>
                    <a:pt x="1" y="11"/>
                  </a:lnTo>
                  <a:lnTo>
                    <a:pt x="2" y="9"/>
                  </a:lnTo>
                  <a:lnTo>
                    <a:pt x="3" y="7"/>
                  </a:lnTo>
                  <a:lnTo>
                    <a:pt x="5" y="3"/>
                  </a:lnTo>
                  <a:lnTo>
                    <a:pt x="7" y="2"/>
                  </a:lnTo>
                  <a:lnTo>
                    <a:pt x="10" y="1"/>
                  </a:lnTo>
                  <a:lnTo>
                    <a:pt x="14" y="0"/>
                  </a:lnTo>
                  <a:lnTo>
                    <a:pt x="16" y="0"/>
                  </a:lnTo>
                  <a:lnTo>
                    <a:pt x="19" y="1"/>
                  </a:lnTo>
                  <a:lnTo>
                    <a:pt x="22" y="2"/>
                  </a:lnTo>
                  <a:lnTo>
                    <a:pt x="24" y="3"/>
                  </a:lnTo>
                  <a:lnTo>
                    <a:pt x="175" y="126"/>
                  </a:lnTo>
                  <a:lnTo>
                    <a:pt x="178" y="128"/>
                  </a:lnTo>
                  <a:lnTo>
                    <a:pt x="180" y="130"/>
                  </a:lnTo>
                  <a:lnTo>
                    <a:pt x="181" y="132"/>
                  </a:lnTo>
                  <a:lnTo>
                    <a:pt x="181" y="135"/>
                  </a:lnTo>
                  <a:lnTo>
                    <a:pt x="181" y="139"/>
                  </a:lnTo>
                  <a:lnTo>
                    <a:pt x="181" y="141"/>
                  </a:lnTo>
                  <a:lnTo>
                    <a:pt x="180" y="144"/>
                  </a:lnTo>
                  <a:lnTo>
                    <a:pt x="178" y="146"/>
                  </a:lnTo>
                  <a:lnTo>
                    <a:pt x="175" y="149"/>
                  </a:lnTo>
                  <a:lnTo>
                    <a:pt x="172" y="150"/>
                  </a:lnTo>
                  <a:lnTo>
                    <a:pt x="170" y="151"/>
                  </a:lnTo>
                  <a:lnTo>
                    <a:pt x="166"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06">
              <a:extLst>
                <a:ext uri="{FF2B5EF4-FFF2-40B4-BE49-F238E27FC236}">
                  <a16:creationId xmlns:a16="http://schemas.microsoft.com/office/drawing/2014/main" id="{9D69B05E-499A-4C71-958B-AB1AB4F913EB}"/>
                </a:ext>
              </a:extLst>
            </p:cNvPr>
            <p:cNvSpPr>
              <a:spLocks/>
            </p:cNvSpPr>
            <p:nvPr/>
          </p:nvSpPr>
          <p:spPr bwMode="auto">
            <a:xfrm>
              <a:off x="6362445" y="1543400"/>
              <a:ext cx="71602" cy="59668"/>
            </a:xfrm>
            <a:custGeom>
              <a:avLst/>
              <a:gdLst>
                <a:gd name="T0" fmla="*/ 15 w 182"/>
                <a:gd name="T1" fmla="*/ 152 h 152"/>
                <a:gd name="T2" fmla="*/ 12 w 182"/>
                <a:gd name="T3" fmla="*/ 151 h 152"/>
                <a:gd name="T4" fmla="*/ 9 w 182"/>
                <a:gd name="T5" fmla="*/ 150 h 152"/>
                <a:gd name="T6" fmla="*/ 6 w 182"/>
                <a:gd name="T7" fmla="*/ 149 h 152"/>
                <a:gd name="T8" fmla="*/ 4 w 182"/>
                <a:gd name="T9" fmla="*/ 146 h 152"/>
                <a:gd name="T10" fmla="*/ 2 w 182"/>
                <a:gd name="T11" fmla="*/ 144 h 152"/>
                <a:gd name="T12" fmla="*/ 0 w 182"/>
                <a:gd name="T13" fmla="*/ 141 h 152"/>
                <a:gd name="T14" fmla="*/ 0 w 182"/>
                <a:gd name="T15" fmla="*/ 139 h 152"/>
                <a:gd name="T16" fmla="*/ 0 w 182"/>
                <a:gd name="T17" fmla="*/ 135 h 152"/>
                <a:gd name="T18" fmla="*/ 0 w 182"/>
                <a:gd name="T19" fmla="*/ 133 h 152"/>
                <a:gd name="T20" fmla="*/ 2 w 182"/>
                <a:gd name="T21" fmla="*/ 130 h 152"/>
                <a:gd name="T22" fmla="*/ 4 w 182"/>
                <a:gd name="T23" fmla="*/ 128 h 152"/>
                <a:gd name="T24" fmla="*/ 6 w 182"/>
                <a:gd name="T25" fmla="*/ 126 h 152"/>
                <a:gd name="T26" fmla="*/ 157 w 182"/>
                <a:gd name="T27" fmla="*/ 3 h 152"/>
                <a:gd name="T28" fmla="*/ 160 w 182"/>
                <a:gd name="T29" fmla="*/ 2 h 152"/>
                <a:gd name="T30" fmla="*/ 162 w 182"/>
                <a:gd name="T31" fmla="*/ 1 h 152"/>
                <a:gd name="T32" fmla="*/ 166 w 182"/>
                <a:gd name="T33" fmla="*/ 0 h 152"/>
                <a:gd name="T34" fmla="*/ 168 w 182"/>
                <a:gd name="T35" fmla="*/ 0 h 152"/>
                <a:gd name="T36" fmla="*/ 171 w 182"/>
                <a:gd name="T37" fmla="*/ 1 h 152"/>
                <a:gd name="T38" fmla="*/ 174 w 182"/>
                <a:gd name="T39" fmla="*/ 2 h 152"/>
                <a:gd name="T40" fmla="*/ 176 w 182"/>
                <a:gd name="T41" fmla="*/ 3 h 152"/>
                <a:gd name="T42" fmla="*/ 178 w 182"/>
                <a:gd name="T43" fmla="*/ 7 h 152"/>
                <a:gd name="T44" fmla="*/ 180 w 182"/>
                <a:gd name="T45" fmla="*/ 9 h 152"/>
                <a:gd name="T46" fmla="*/ 181 w 182"/>
                <a:gd name="T47" fmla="*/ 11 h 152"/>
                <a:gd name="T48" fmla="*/ 182 w 182"/>
                <a:gd name="T49" fmla="*/ 14 h 152"/>
                <a:gd name="T50" fmla="*/ 182 w 182"/>
                <a:gd name="T51" fmla="*/ 17 h 152"/>
                <a:gd name="T52" fmla="*/ 181 w 182"/>
                <a:gd name="T53" fmla="*/ 19 h 152"/>
                <a:gd name="T54" fmla="*/ 180 w 182"/>
                <a:gd name="T55" fmla="*/ 23 h 152"/>
                <a:gd name="T56" fmla="*/ 178 w 182"/>
                <a:gd name="T57" fmla="*/ 25 h 152"/>
                <a:gd name="T58" fmla="*/ 176 w 182"/>
                <a:gd name="T59" fmla="*/ 27 h 152"/>
                <a:gd name="T60" fmla="*/ 24 w 182"/>
                <a:gd name="T61" fmla="*/ 149 h 152"/>
                <a:gd name="T62" fmla="*/ 20 w 182"/>
                <a:gd name="T63" fmla="*/ 151 h 152"/>
                <a:gd name="T64" fmla="*/ 15 w 182"/>
                <a:gd name="T65"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2" h="152">
                  <a:moveTo>
                    <a:pt x="15" y="152"/>
                  </a:moveTo>
                  <a:lnTo>
                    <a:pt x="12" y="151"/>
                  </a:lnTo>
                  <a:lnTo>
                    <a:pt x="9" y="150"/>
                  </a:lnTo>
                  <a:lnTo>
                    <a:pt x="6" y="149"/>
                  </a:lnTo>
                  <a:lnTo>
                    <a:pt x="4" y="146"/>
                  </a:lnTo>
                  <a:lnTo>
                    <a:pt x="2" y="144"/>
                  </a:lnTo>
                  <a:lnTo>
                    <a:pt x="0" y="141"/>
                  </a:lnTo>
                  <a:lnTo>
                    <a:pt x="0" y="139"/>
                  </a:lnTo>
                  <a:lnTo>
                    <a:pt x="0" y="135"/>
                  </a:lnTo>
                  <a:lnTo>
                    <a:pt x="0" y="133"/>
                  </a:lnTo>
                  <a:lnTo>
                    <a:pt x="2" y="130"/>
                  </a:lnTo>
                  <a:lnTo>
                    <a:pt x="4" y="128"/>
                  </a:lnTo>
                  <a:lnTo>
                    <a:pt x="6" y="126"/>
                  </a:lnTo>
                  <a:lnTo>
                    <a:pt x="157" y="3"/>
                  </a:lnTo>
                  <a:lnTo>
                    <a:pt x="160" y="2"/>
                  </a:lnTo>
                  <a:lnTo>
                    <a:pt x="162" y="1"/>
                  </a:lnTo>
                  <a:lnTo>
                    <a:pt x="166" y="0"/>
                  </a:lnTo>
                  <a:lnTo>
                    <a:pt x="168" y="0"/>
                  </a:lnTo>
                  <a:lnTo>
                    <a:pt x="171" y="1"/>
                  </a:lnTo>
                  <a:lnTo>
                    <a:pt x="174" y="2"/>
                  </a:lnTo>
                  <a:lnTo>
                    <a:pt x="176" y="3"/>
                  </a:lnTo>
                  <a:lnTo>
                    <a:pt x="178" y="7"/>
                  </a:lnTo>
                  <a:lnTo>
                    <a:pt x="180" y="9"/>
                  </a:lnTo>
                  <a:lnTo>
                    <a:pt x="181" y="11"/>
                  </a:lnTo>
                  <a:lnTo>
                    <a:pt x="182" y="14"/>
                  </a:lnTo>
                  <a:lnTo>
                    <a:pt x="182" y="17"/>
                  </a:lnTo>
                  <a:lnTo>
                    <a:pt x="181" y="19"/>
                  </a:lnTo>
                  <a:lnTo>
                    <a:pt x="180" y="23"/>
                  </a:lnTo>
                  <a:lnTo>
                    <a:pt x="178" y="25"/>
                  </a:lnTo>
                  <a:lnTo>
                    <a:pt x="176" y="27"/>
                  </a:lnTo>
                  <a:lnTo>
                    <a:pt x="24" y="149"/>
                  </a:lnTo>
                  <a:lnTo>
                    <a:pt x="20" y="151"/>
                  </a:lnTo>
                  <a:lnTo>
                    <a:pt x="15"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6" name="Group 45">
            <a:extLst>
              <a:ext uri="{FF2B5EF4-FFF2-40B4-BE49-F238E27FC236}">
                <a16:creationId xmlns:a16="http://schemas.microsoft.com/office/drawing/2014/main" id="{26373C97-9E94-4A72-A663-F5EA22AD1930}"/>
              </a:ext>
            </a:extLst>
          </p:cNvPr>
          <p:cNvGrpSpPr>
            <a:grpSpLocks noChangeAspect="1"/>
          </p:cNvGrpSpPr>
          <p:nvPr/>
        </p:nvGrpSpPr>
        <p:grpSpPr>
          <a:xfrm>
            <a:off x="266660" y="5417577"/>
            <a:ext cx="318657" cy="306482"/>
            <a:chOff x="7065963" y="2254250"/>
            <a:chExt cx="249237" cy="239713"/>
          </a:xfrm>
          <a:solidFill>
            <a:schemeClr val="bg1"/>
          </a:solidFill>
          <a:effectLst/>
        </p:grpSpPr>
        <p:sp>
          <p:nvSpPr>
            <p:cNvPr id="327" name="Freeform 145">
              <a:extLst>
                <a:ext uri="{FF2B5EF4-FFF2-40B4-BE49-F238E27FC236}">
                  <a16:creationId xmlns:a16="http://schemas.microsoft.com/office/drawing/2014/main" id="{A58E76C9-76D0-4BF0-A8CE-2424EF2A8F60}"/>
                </a:ext>
              </a:extLst>
            </p:cNvPr>
            <p:cNvSpPr>
              <a:spLocks/>
            </p:cNvSpPr>
            <p:nvPr/>
          </p:nvSpPr>
          <p:spPr bwMode="auto">
            <a:xfrm>
              <a:off x="7104063" y="2293938"/>
              <a:ext cx="173037" cy="128588"/>
            </a:xfrm>
            <a:custGeom>
              <a:avLst/>
              <a:gdLst>
                <a:gd name="T0" fmla="*/ 242 w 542"/>
                <a:gd name="T1" fmla="*/ 1 h 407"/>
                <a:gd name="T2" fmla="*/ 203 w 542"/>
                <a:gd name="T3" fmla="*/ 8 h 407"/>
                <a:gd name="T4" fmla="*/ 164 w 542"/>
                <a:gd name="T5" fmla="*/ 21 h 407"/>
                <a:gd name="T6" fmla="*/ 130 w 542"/>
                <a:gd name="T7" fmla="*/ 39 h 407"/>
                <a:gd name="T8" fmla="*/ 98 w 542"/>
                <a:gd name="T9" fmla="*/ 62 h 407"/>
                <a:gd name="T10" fmla="*/ 69 w 542"/>
                <a:gd name="T11" fmla="*/ 88 h 407"/>
                <a:gd name="T12" fmla="*/ 46 w 542"/>
                <a:gd name="T13" fmla="*/ 119 h 407"/>
                <a:gd name="T14" fmla="*/ 26 w 542"/>
                <a:gd name="T15" fmla="*/ 154 h 407"/>
                <a:gd name="T16" fmla="*/ 11 w 542"/>
                <a:gd name="T17" fmla="*/ 190 h 407"/>
                <a:gd name="T18" fmla="*/ 3 w 542"/>
                <a:gd name="T19" fmla="*/ 230 h 407"/>
                <a:gd name="T20" fmla="*/ 0 w 542"/>
                <a:gd name="T21" fmla="*/ 270 h 407"/>
                <a:gd name="T22" fmla="*/ 4 w 542"/>
                <a:gd name="T23" fmla="*/ 320 h 407"/>
                <a:gd name="T24" fmla="*/ 17 w 542"/>
                <a:gd name="T25" fmla="*/ 369 h 407"/>
                <a:gd name="T26" fmla="*/ 33 w 542"/>
                <a:gd name="T27" fmla="*/ 402 h 407"/>
                <a:gd name="T28" fmla="*/ 40 w 542"/>
                <a:gd name="T29" fmla="*/ 406 h 407"/>
                <a:gd name="T30" fmla="*/ 49 w 542"/>
                <a:gd name="T31" fmla="*/ 406 h 407"/>
                <a:gd name="T32" fmla="*/ 56 w 542"/>
                <a:gd name="T33" fmla="*/ 402 h 407"/>
                <a:gd name="T34" fmla="*/ 60 w 542"/>
                <a:gd name="T35" fmla="*/ 394 h 407"/>
                <a:gd name="T36" fmla="*/ 57 w 542"/>
                <a:gd name="T37" fmla="*/ 385 h 407"/>
                <a:gd name="T38" fmla="*/ 40 w 542"/>
                <a:gd name="T39" fmla="*/ 344 h 407"/>
                <a:gd name="T40" fmla="*/ 31 w 542"/>
                <a:gd name="T41" fmla="*/ 301 h 407"/>
                <a:gd name="T42" fmla="*/ 30 w 542"/>
                <a:gd name="T43" fmla="*/ 258 h 407"/>
                <a:gd name="T44" fmla="*/ 34 w 542"/>
                <a:gd name="T45" fmla="*/ 222 h 407"/>
                <a:gd name="T46" fmla="*/ 44 w 542"/>
                <a:gd name="T47" fmla="*/ 188 h 407"/>
                <a:gd name="T48" fmla="*/ 58 w 542"/>
                <a:gd name="T49" fmla="*/ 156 h 407"/>
                <a:gd name="T50" fmla="*/ 78 w 542"/>
                <a:gd name="T51" fmla="*/ 127 h 407"/>
                <a:gd name="T52" fmla="*/ 100 w 542"/>
                <a:gd name="T53" fmla="*/ 100 h 407"/>
                <a:gd name="T54" fmla="*/ 126 w 542"/>
                <a:gd name="T55" fmla="*/ 78 h 407"/>
                <a:gd name="T56" fmla="*/ 156 w 542"/>
                <a:gd name="T57" fmla="*/ 58 h 407"/>
                <a:gd name="T58" fmla="*/ 188 w 542"/>
                <a:gd name="T59" fmla="*/ 44 h 407"/>
                <a:gd name="T60" fmla="*/ 222 w 542"/>
                <a:gd name="T61" fmla="*/ 35 h 407"/>
                <a:gd name="T62" fmla="*/ 257 w 542"/>
                <a:gd name="T63" fmla="*/ 30 h 407"/>
                <a:gd name="T64" fmla="*/ 295 w 542"/>
                <a:gd name="T65" fmla="*/ 31 h 407"/>
                <a:gd name="T66" fmla="*/ 330 w 542"/>
                <a:gd name="T67" fmla="*/ 37 h 407"/>
                <a:gd name="T68" fmla="*/ 364 w 542"/>
                <a:gd name="T69" fmla="*/ 49 h 407"/>
                <a:gd name="T70" fmla="*/ 395 w 542"/>
                <a:gd name="T71" fmla="*/ 65 h 407"/>
                <a:gd name="T72" fmla="*/ 423 w 542"/>
                <a:gd name="T73" fmla="*/ 85 h 407"/>
                <a:gd name="T74" fmla="*/ 449 w 542"/>
                <a:gd name="T75" fmla="*/ 109 h 407"/>
                <a:gd name="T76" fmla="*/ 470 w 542"/>
                <a:gd name="T77" fmla="*/ 136 h 407"/>
                <a:gd name="T78" fmla="*/ 487 w 542"/>
                <a:gd name="T79" fmla="*/ 166 h 407"/>
                <a:gd name="T80" fmla="*/ 500 w 542"/>
                <a:gd name="T81" fmla="*/ 200 h 407"/>
                <a:gd name="T82" fmla="*/ 509 w 542"/>
                <a:gd name="T83" fmla="*/ 234 h 407"/>
                <a:gd name="T84" fmla="*/ 511 w 542"/>
                <a:gd name="T85" fmla="*/ 270 h 407"/>
                <a:gd name="T86" fmla="*/ 508 w 542"/>
                <a:gd name="T87" fmla="*/ 315 h 407"/>
                <a:gd name="T88" fmla="*/ 495 w 542"/>
                <a:gd name="T89" fmla="*/ 358 h 407"/>
                <a:gd name="T90" fmla="*/ 482 w 542"/>
                <a:gd name="T91" fmla="*/ 388 h 407"/>
                <a:gd name="T92" fmla="*/ 482 w 542"/>
                <a:gd name="T93" fmla="*/ 396 h 407"/>
                <a:gd name="T94" fmla="*/ 486 w 542"/>
                <a:gd name="T95" fmla="*/ 403 h 407"/>
                <a:gd name="T96" fmla="*/ 496 w 542"/>
                <a:gd name="T97" fmla="*/ 406 h 407"/>
                <a:gd name="T98" fmla="*/ 508 w 542"/>
                <a:gd name="T99" fmla="*/ 402 h 407"/>
                <a:gd name="T100" fmla="*/ 524 w 542"/>
                <a:gd name="T101" fmla="*/ 369 h 407"/>
                <a:gd name="T102" fmla="*/ 537 w 542"/>
                <a:gd name="T103" fmla="*/ 320 h 407"/>
                <a:gd name="T104" fmla="*/ 542 w 542"/>
                <a:gd name="T105" fmla="*/ 270 h 407"/>
                <a:gd name="T106" fmla="*/ 539 w 542"/>
                <a:gd name="T107" fmla="*/ 230 h 407"/>
                <a:gd name="T108" fmla="*/ 529 w 542"/>
                <a:gd name="T109" fmla="*/ 190 h 407"/>
                <a:gd name="T110" fmla="*/ 515 w 542"/>
                <a:gd name="T111" fmla="*/ 154 h 407"/>
                <a:gd name="T112" fmla="*/ 495 w 542"/>
                <a:gd name="T113" fmla="*/ 119 h 407"/>
                <a:gd name="T114" fmla="*/ 471 w 542"/>
                <a:gd name="T115" fmla="*/ 88 h 407"/>
                <a:gd name="T116" fmla="*/ 443 w 542"/>
                <a:gd name="T117" fmla="*/ 62 h 407"/>
                <a:gd name="T118" fmla="*/ 410 w 542"/>
                <a:gd name="T119" fmla="*/ 39 h 407"/>
                <a:gd name="T120" fmla="*/ 376 w 542"/>
                <a:gd name="T121" fmla="*/ 21 h 407"/>
                <a:gd name="T122" fmla="*/ 338 w 542"/>
                <a:gd name="T123" fmla="*/ 8 h 407"/>
                <a:gd name="T124" fmla="*/ 298 w 542"/>
                <a:gd name="T125" fmla="*/ 1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2" h="407">
                  <a:moveTo>
                    <a:pt x="270" y="0"/>
                  </a:moveTo>
                  <a:lnTo>
                    <a:pt x="256" y="0"/>
                  </a:lnTo>
                  <a:lnTo>
                    <a:pt x="242" y="1"/>
                  </a:lnTo>
                  <a:lnTo>
                    <a:pt x="230" y="3"/>
                  </a:lnTo>
                  <a:lnTo>
                    <a:pt x="216" y="5"/>
                  </a:lnTo>
                  <a:lnTo>
                    <a:pt x="203" y="8"/>
                  </a:lnTo>
                  <a:lnTo>
                    <a:pt x="190" y="11"/>
                  </a:lnTo>
                  <a:lnTo>
                    <a:pt x="177" y="16"/>
                  </a:lnTo>
                  <a:lnTo>
                    <a:pt x="164" y="21"/>
                  </a:lnTo>
                  <a:lnTo>
                    <a:pt x="153" y="26"/>
                  </a:lnTo>
                  <a:lnTo>
                    <a:pt x="141" y="33"/>
                  </a:lnTo>
                  <a:lnTo>
                    <a:pt x="130" y="39"/>
                  </a:lnTo>
                  <a:lnTo>
                    <a:pt x="118" y="46"/>
                  </a:lnTo>
                  <a:lnTo>
                    <a:pt x="108" y="53"/>
                  </a:lnTo>
                  <a:lnTo>
                    <a:pt x="98" y="62"/>
                  </a:lnTo>
                  <a:lnTo>
                    <a:pt x="88" y="70"/>
                  </a:lnTo>
                  <a:lnTo>
                    <a:pt x="79" y="79"/>
                  </a:lnTo>
                  <a:lnTo>
                    <a:pt x="69" y="88"/>
                  </a:lnTo>
                  <a:lnTo>
                    <a:pt x="62" y="98"/>
                  </a:lnTo>
                  <a:lnTo>
                    <a:pt x="53" y="109"/>
                  </a:lnTo>
                  <a:lnTo>
                    <a:pt x="46" y="119"/>
                  </a:lnTo>
                  <a:lnTo>
                    <a:pt x="38" y="130"/>
                  </a:lnTo>
                  <a:lnTo>
                    <a:pt x="32" y="142"/>
                  </a:lnTo>
                  <a:lnTo>
                    <a:pt x="26" y="154"/>
                  </a:lnTo>
                  <a:lnTo>
                    <a:pt x="21" y="165"/>
                  </a:lnTo>
                  <a:lnTo>
                    <a:pt x="16" y="177"/>
                  </a:lnTo>
                  <a:lnTo>
                    <a:pt x="11" y="190"/>
                  </a:lnTo>
                  <a:lnTo>
                    <a:pt x="8" y="203"/>
                  </a:lnTo>
                  <a:lnTo>
                    <a:pt x="5" y="216"/>
                  </a:lnTo>
                  <a:lnTo>
                    <a:pt x="3" y="230"/>
                  </a:lnTo>
                  <a:lnTo>
                    <a:pt x="1" y="243"/>
                  </a:lnTo>
                  <a:lnTo>
                    <a:pt x="0" y="256"/>
                  </a:lnTo>
                  <a:lnTo>
                    <a:pt x="0" y="270"/>
                  </a:lnTo>
                  <a:lnTo>
                    <a:pt x="0" y="287"/>
                  </a:lnTo>
                  <a:lnTo>
                    <a:pt x="2" y="304"/>
                  </a:lnTo>
                  <a:lnTo>
                    <a:pt x="4" y="320"/>
                  </a:lnTo>
                  <a:lnTo>
                    <a:pt x="7" y="336"/>
                  </a:lnTo>
                  <a:lnTo>
                    <a:pt x="11" y="353"/>
                  </a:lnTo>
                  <a:lnTo>
                    <a:pt x="17" y="369"/>
                  </a:lnTo>
                  <a:lnTo>
                    <a:pt x="23" y="384"/>
                  </a:lnTo>
                  <a:lnTo>
                    <a:pt x="31" y="399"/>
                  </a:lnTo>
                  <a:lnTo>
                    <a:pt x="33" y="402"/>
                  </a:lnTo>
                  <a:lnTo>
                    <a:pt x="35" y="404"/>
                  </a:lnTo>
                  <a:lnTo>
                    <a:pt x="37" y="405"/>
                  </a:lnTo>
                  <a:lnTo>
                    <a:pt x="40" y="406"/>
                  </a:lnTo>
                  <a:lnTo>
                    <a:pt x="42" y="407"/>
                  </a:lnTo>
                  <a:lnTo>
                    <a:pt x="46" y="407"/>
                  </a:lnTo>
                  <a:lnTo>
                    <a:pt x="49" y="406"/>
                  </a:lnTo>
                  <a:lnTo>
                    <a:pt x="51" y="405"/>
                  </a:lnTo>
                  <a:lnTo>
                    <a:pt x="54" y="403"/>
                  </a:lnTo>
                  <a:lnTo>
                    <a:pt x="56" y="402"/>
                  </a:lnTo>
                  <a:lnTo>
                    <a:pt x="57" y="400"/>
                  </a:lnTo>
                  <a:lnTo>
                    <a:pt x="58" y="396"/>
                  </a:lnTo>
                  <a:lnTo>
                    <a:pt x="60" y="394"/>
                  </a:lnTo>
                  <a:lnTo>
                    <a:pt x="60" y="391"/>
                  </a:lnTo>
                  <a:lnTo>
                    <a:pt x="58" y="388"/>
                  </a:lnTo>
                  <a:lnTo>
                    <a:pt x="57" y="385"/>
                  </a:lnTo>
                  <a:lnTo>
                    <a:pt x="51" y="372"/>
                  </a:lnTo>
                  <a:lnTo>
                    <a:pt x="46" y="358"/>
                  </a:lnTo>
                  <a:lnTo>
                    <a:pt x="40" y="344"/>
                  </a:lnTo>
                  <a:lnTo>
                    <a:pt x="36" y="330"/>
                  </a:lnTo>
                  <a:lnTo>
                    <a:pt x="34" y="315"/>
                  </a:lnTo>
                  <a:lnTo>
                    <a:pt x="31" y="301"/>
                  </a:lnTo>
                  <a:lnTo>
                    <a:pt x="30" y="286"/>
                  </a:lnTo>
                  <a:lnTo>
                    <a:pt x="30" y="270"/>
                  </a:lnTo>
                  <a:lnTo>
                    <a:pt x="30" y="258"/>
                  </a:lnTo>
                  <a:lnTo>
                    <a:pt x="31" y="246"/>
                  </a:lnTo>
                  <a:lnTo>
                    <a:pt x="32" y="234"/>
                  </a:lnTo>
                  <a:lnTo>
                    <a:pt x="34" y="222"/>
                  </a:lnTo>
                  <a:lnTo>
                    <a:pt x="37" y="210"/>
                  </a:lnTo>
                  <a:lnTo>
                    <a:pt x="40" y="200"/>
                  </a:lnTo>
                  <a:lnTo>
                    <a:pt x="44" y="188"/>
                  </a:lnTo>
                  <a:lnTo>
                    <a:pt x="48" y="177"/>
                  </a:lnTo>
                  <a:lnTo>
                    <a:pt x="53" y="166"/>
                  </a:lnTo>
                  <a:lnTo>
                    <a:pt x="58" y="156"/>
                  </a:lnTo>
                  <a:lnTo>
                    <a:pt x="64" y="146"/>
                  </a:lnTo>
                  <a:lnTo>
                    <a:pt x="70" y="136"/>
                  </a:lnTo>
                  <a:lnTo>
                    <a:pt x="78" y="127"/>
                  </a:lnTo>
                  <a:lnTo>
                    <a:pt x="84" y="117"/>
                  </a:lnTo>
                  <a:lnTo>
                    <a:pt x="92" y="109"/>
                  </a:lnTo>
                  <a:lnTo>
                    <a:pt x="100" y="100"/>
                  </a:lnTo>
                  <a:lnTo>
                    <a:pt x="109" y="93"/>
                  </a:lnTo>
                  <a:lnTo>
                    <a:pt x="117" y="85"/>
                  </a:lnTo>
                  <a:lnTo>
                    <a:pt x="126" y="78"/>
                  </a:lnTo>
                  <a:lnTo>
                    <a:pt x="136" y="71"/>
                  </a:lnTo>
                  <a:lnTo>
                    <a:pt x="145" y="65"/>
                  </a:lnTo>
                  <a:lnTo>
                    <a:pt x="156" y="58"/>
                  </a:lnTo>
                  <a:lnTo>
                    <a:pt x="165" y="53"/>
                  </a:lnTo>
                  <a:lnTo>
                    <a:pt x="176" y="49"/>
                  </a:lnTo>
                  <a:lnTo>
                    <a:pt x="188" y="44"/>
                  </a:lnTo>
                  <a:lnTo>
                    <a:pt x="199" y="40"/>
                  </a:lnTo>
                  <a:lnTo>
                    <a:pt x="210" y="37"/>
                  </a:lnTo>
                  <a:lnTo>
                    <a:pt x="222" y="35"/>
                  </a:lnTo>
                  <a:lnTo>
                    <a:pt x="234" y="33"/>
                  </a:lnTo>
                  <a:lnTo>
                    <a:pt x="246" y="31"/>
                  </a:lnTo>
                  <a:lnTo>
                    <a:pt x="257" y="30"/>
                  </a:lnTo>
                  <a:lnTo>
                    <a:pt x="270" y="30"/>
                  </a:lnTo>
                  <a:lnTo>
                    <a:pt x="283" y="30"/>
                  </a:lnTo>
                  <a:lnTo>
                    <a:pt x="295" y="31"/>
                  </a:lnTo>
                  <a:lnTo>
                    <a:pt x="307" y="33"/>
                  </a:lnTo>
                  <a:lnTo>
                    <a:pt x="318" y="35"/>
                  </a:lnTo>
                  <a:lnTo>
                    <a:pt x="330" y="37"/>
                  </a:lnTo>
                  <a:lnTo>
                    <a:pt x="342" y="40"/>
                  </a:lnTo>
                  <a:lnTo>
                    <a:pt x="353" y="44"/>
                  </a:lnTo>
                  <a:lnTo>
                    <a:pt x="364" y="49"/>
                  </a:lnTo>
                  <a:lnTo>
                    <a:pt x="375" y="53"/>
                  </a:lnTo>
                  <a:lnTo>
                    <a:pt x="385" y="58"/>
                  </a:lnTo>
                  <a:lnTo>
                    <a:pt x="395" y="65"/>
                  </a:lnTo>
                  <a:lnTo>
                    <a:pt x="405" y="71"/>
                  </a:lnTo>
                  <a:lnTo>
                    <a:pt x="415" y="78"/>
                  </a:lnTo>
                  <a:lnTo>
                    <a:pt x="423" y="85"/>
                  </a:lnTo>
                  <a:lnTo>
                    <a:pt x="432" y="93"/>
                  </a:lnTo>
                  <a:lnTo>
                    <a:pt x="440" y="100"/>
                  </a:lnTo>
                  <a:lnTo>
                    <a:pt x="449" y="109"/>
                  </a:lnTo>
                  <a:lnTo>
                    <a:pt x="456" y="117"/>
                  </a:lnTo>
                  <a:lnTo>
                    <a:pt x="464" y="127"/>
                  </a:lnTo>
                  <a:lnTo>
                    <a:pt x="470" y="136"/>
                  </a:lnTo>
                  <a:lnTo>
                    <a:pt x="477" y="146"/>
                  </a:lnTo>
                  <a:lnTo>
                    <a:pt x="482" y="156"/>
                  </a:lnTo>
                  <a:lnTo>
                    <a:pt x="487" y="166"/>
                  </a:lnTo>
                  <a:lnTo>
                    <a:pt x="493" y="177"/>
                  </a:lnTo>
                  <a:lnTo>
                    <a:pt x="497" y="188"/>
                  </a:lnTo>
                  <a:lnTo>
                    <a:pt x="500" y="200"/>
                  </a:lnTo>
                  <a:lnTo>
                    <a:pt x="503" y="210"/>
                  </a:lnTo>
                  <a:lnTo>
                    <a:pt x="507" y="222"/>
                  </a:lnTo>
                  <a:lnTo>
                    <a:pt x="509" y="234"/>
                  </a:lnTo>
                  <a:lnTo>
                    <a:pt x="510" y="246"/>
                  </a:lnTo>
                  <a:lnTo>
                    <a:pt x="511" y="258"/>
                  </a:lnTo>
                  <a:lnTo>
                    <a:pt x="511" y="270"/>
                  </a:lnTo>
                  <a:lnTo>
                    <a:pt x="511" y="286"/>
                  </a:lnTo>
                  <a:lnTo>
                    <a:pt x="510" y="301"/>
                  </a:lnTo>
                  <a:lnTo>
                    <a:pt x="508" y="315"/>
                  </a:lnTo>
                  <a:lnTo>
                    <a:pt x="505" y="330"/>
                  </a:lnTo>
                  <a:lnTo>
                    <a:pt x="500" y="344"/>
                  </a:lnTo>
                  <a:lnTo>
                    <a:pt x="495" y="358"/>
                  </a:lnTo>
                  <a:lnTo>
                    <a:pt x="490" y="372"/>
                  </a:lnTo>
                  <a:lnTo>
                    <a:pt x="483" y="385"/>
                  </a:lnTo>
                  <a:lnTo>
                    <a:pt x="482" y="388"/>
                  </a:lnTo>
                  <a:lnTo>
                    <a:pt x="481" y="391"/>
                  </a:lnTo>
                  <a:lnTo>
                    <a:pt x="481" y="394"/>
                  </a:lnTo>
                  <a:lnTo>
                    <a:pt x="482" y="396"/>
                  </a:lnTo>
                  <a:lnTo>
                    <a:pt x="483" y="400"/>
                  </a:lnTo>
                  <a:lnTo>
                    <a:pt x="484" y="402"/>
                  </a:lnTo>
                  <a:lnTo>
                    <a:pt x="486" y="403"/>
                  </a:lnTo>
                  <a:lnTo>
                    <a:pt x="490" y="405"/>
                  </a:lnTo>
                  <a:lnTo>
                    <a:pt x="493" y="406"/>
                  </a:lnTo>
                  <a:lnTo>
                    <a:pt x="496" y="406"/>
                  </a:lnTo>
                  <a:lnTo>
                    <a:pt x="500" y="406"/>
                  </a:lnTo>
                  <a:lnTo>
                    <a:pt x="505" y="404"/>
                  </a:lnTo>
                  <a:lnTo>
                    <a:pt x="508" y="402"/>
                  </a:lnTo>
                  <a:lnTo>
                    <a:pt x="510" y="399"/>
                  </a:lnTo>
                  <a:lnTo>
                    <a:pt x="517" y="384"/>
                  </a:lnTo>
                  <a:lnTo>
                    <a:pt x="524" y="369"/>
                  </a:lnTo>
                  <a:lnTo>
                    <a:pt x="529" y="353"/>
                  </a:lnTo>
                  <a:lnTo>
                    <a:pt x="533" y="336"/>
                  </a:lnTo>
                  <a:lnTo>
                    <a:pt x="537" y="320"/>
                  </a:lnTo>
                  <a:lnTo>
                    <a:pt x="540" y="304"/>
                  </a:lnTo>
                  <a:lnTo>
                    <a:pt x="541" y="287"/>
                  </a:lnTo>
                  <a:lnTo>
                    <a:pt x="542" y="270"/>
                  </a:lnTo>
                  <a:lnTo>
                    <a:pt x="541" y="256"/>
                  </a:lnTo>
                  <a:lnTo>
                    <a:pt x="540" y="243"/>
                  </a:lnTo>
                  <a:lnTo>
                    <a:pt x="539" y="230"/>
                  </a:lnTo>
                  <a:lnTo>
                    <a:pt x="536" y="216"/>
                  </a:lnTo>
                  <a:lnTo>
                    <a:pt x="533" y="203"/>
                  </a:lnTo>
                  <a:lnTo>
                    <a:pt x="529" y="190"/>
                  </a:lnTo>
                  <a:lnTo>
                    <a:pt x="525" y="177"/>
                  </a:lnTo>
                  <a:lnTo>
                    <a:pt x="521" y="165"/>
                  </a:lnTo>
                  <a:lnTo>
                    <a:pt x="515" y="154"/>
                  </a:lnTo>
                  <a:lnTo>
                    <a:pt x="509" y="142"/>
                  </a:lnTo>
                  <a:lnTo>
                    <a:pt x="502" y="130"/>
                  </a:lnTo>
                  <a:lnTo>
                    <a:pt x="495" y="119"/>
                  </a:lnTo>
                  <a:lnTo>
                    <a:pt x="487" y="109"/>
                  </a:lnTo>
                  <a:lnTo>
                    <a:pt x="480" y="98"/>
                  </a:lnTo>
                  <a:lnTo>
                    <a:pt x="471" y="88"/>
                  </a:lnTo>
                  <a:lnTo>
                    <a:pt x="462" y="79"/>
                  </a:lnTo>
                  <a:lnTo>
                    <a:pt x="452" y="70"/>
                  </a:lnTo>
                  <a:lnTo>
                    <a:pt x="443" y="62"/>
                  </a:lnTo>
                  <a:lnTo>
                    <a:pt x="433" y="53"/>
                  </a:lnTo>
                  <a:lnTo>
                    <a:pt x="422" y="46"/>
                  </a:lnTo>
                  <a:lnTo>
                    <a:pt x="410" y="39"/>
                  </a:lnTo>
                  <a:lnTo>
                    <a:pt x="400" y="33"/>
                  </a:lnTo>
                  <a:lnTo>
                    <a:pt x="388" y="26"/>
                  </a:lnTo>
                  <a:lnTo>
                    <a:pt x="376" y="21"/>
                  </a:lnTo>
                  <a:lnTo>
                    <a:pt x="363" y="16"/>
                  </a:lnTo>
                  <a:lnTo>
                    <a:pt x="351" y="11"/>
                  </a:lnTo>
                  <a:lnTo>
                    <a:pt x="338" y="8"/>
                  </a:lnTo>
                  <a:lnTo>
                    <a:pt x="325" y="5"/>
                  </a:lnTo>
                  <a:lnTo>
                    <a:pt x="312" y="3"/>
                  </a:lnTo>
                  <a:lnTo>
                    <a:pt x="298" y="1"/>
                  </a:lnTo>
                  <a:lnTo>
                    <a:pt x="284" y="0"/>
                  </a:lnTo>
                  <a:lnTo>
                    <a:pt x="2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46">
              <a:extLst>
                <a:ext uri="{FF2B5EF4-FFF2-40B4-BE49-F238E27FC236}">
                  <a16:creationId xmlns:a16="http://schemas.microsoft.com/office/drawing/2014/main" id="{388C67E3-6033-45D5-8E30-D6A6D2C6C5F6}"/>
                </a:ext>
              </a:extLst>
            </p:cNvPr>
            <p:cNvSpPr>
              <a:spLocks noEditPoints="1"/>
            </p:cNvSpPr>
            <p:nvPr/>
          </p:nvSpPr>
          <p:spPr bwMode="auto">
            <a:xfrm>
              <a:off x="7161213" y="2351088"/>
              <a:ext cx="58737" cy="57150"/>
            </a:xfrm>
            <a:custGeom>
              <a:avLst/>
              <a:gdLst>
                <a:gd name="T0" fmla="*/ 30 w 181"/>
                <a:gd name="T1" fmla="*/ 151 h 181"/>
                <a:gd name="T2" fmla="*/ 30 w 181"/>
                <a:gd name="T3" fmla="*/ 85 h 181"/>
                <a:gd name="T4" fmla="*/ 33 w 181"/>
                <a:gd name="T5" fmla="*/ 73 h 181"/>
                <a:gd name="T6" fmla="*/ 38 w 181"/>
                <a:gd name="T7" fmla="*/ 62 h 181"/>
                <a:gd name="T8" fmla="*/ 44 w 181"/>
                <a:gd name="T9" fmla="*/ 53 h 181"/>
                <a:gd name="T10" fmla="*/ 52 w 181"/>
                <a:gd name="T11" fmla="*/ 44 h 181"/>
                <a:gd name="T12" fmla="*/ 61 w 181"/>
                <a:gd name="T13" fmla="*/ 38 h 181"/>
                <a:gd name="T14" fmla="*/ 72 w 181"/>
                <a:gd name="T15" fmla="*/ 33 h 181"/>
                <a:gd name="T16" fmla="*/ 84 w 181"/>
                <a:gd name="T17" fmla="*/ 30 h 181"/>
                <a:gd name="T18" fmla="*/ 97 w 181"/>
                <a:gd name="T19" fmla="*/ 30 h 181"/>
                <a:gd name="T20" fmla="*/ 108 w 181"/>
                <a:gd name="T21" fmla="*/ 33 h 181"/>
                <a:gd name="T22" fmla="*/ 119 w 181"/>
                <a:gd name="T23" fmla="*/ 38 h 181"/>
                <a:gd name="T24" fmla="*/ 129 w 181"/>
                <a:gd name="T25" fmla="*/ 44 h 181"/>
                <a:gd name="T26" fmla="*/ 137 w 181"/>
                <a:gd name="T27" fmla="*/ 53 h 181"/>
                <a:gd name="T28" fmla="*/ 144 w 181"/>
                <a:gd name="T29" fmla="*/ 62 h 181"/>
                <a:gd name="T30" fmla="*/ 148 w 181"/>
                <a:gd name="T31" fmla="*/ 73 h 181"/>
                <a:gd name="T32" fmla="*/ 150 w 181"/>
                <a:gd name="T33" fmla="*/ 85 h 181"/>
                <a:gd name="T34" fmla="*/ 150 w 181"/>
                <a:gd name="T35" fmla="*/ 151 h 181"/>
                <a:gd name="T36" fmla="*/ 81 w 181"/>
                <a:gd name="T37" fmla="*/ 0 h 181"/>
                <a:gd name="T38" fmla="*/ 64 w 181"/>
                <a:gd name="T39" fmla="*/ 5 h 181"/>
                <a:gd name="T40" fmla="*/ 48 w 181"/>
                <a:gd name="T41" fmla="*/ 11 h 181"/>
                <a:gd name="T42" fmla="*/ 33 w 181"/>
                <a:gd name="T43" fmla="*/ 21 h 181"/>
                <a:gd name="T44" fmla="*/ 21 w 181"/>
                <a:gd name="T45" fmla="*/ 33 h 181"/>
                <a:gd name="T46" fmla="*/ 11 w 181"/>
                <a:gd name="T47" fmla="*/ 47 h 181"/>
                <a:gd name="T48" fmla="*/ 4 w 181"/>
                <a:gd name="T49" fmla="*/ 63 h 181"/>
                <a:gd name="T50" fmla="*/ 0 w 181"/>
                <a:gd name="T51" fmla="*/ 82 h 181"/>
                <a:gd name="T52" fmla="*/ 0 w 181"/>
                <a:gd name="T53" fmla="*/ 166 h 181"/>
                <a:gd name="T54" fmla="*/ 2 w 181"/>
                <a:gd name="T55" fmla="*/ 173 h 181"/>
                <a:gd name="T56" fmla="*/ 5 w 181"/>
                <a:gd name="T57" fmla="*/ 177 h 181"/>
                <a:gd name="T58" fmla="*/ 9 w 181"/>
                <a:gd name="T59" fmla="*/ 180 h 181"/>
                <a:gd name="T60" fmla="*/ 15 w 181"/>
                <a:gd name="T61" fmla="*/ 181 h 181"/>
                <a:gd name="T62" fmla="*/ 168 w 181"/>
                <a:gd name="T63" fmla="*/ 181 h 181"/>
                <a:gd name="T64" fmla="*/ 174 w 181"/>
                <a:gd name="T65" fmla="*/ 179 h 181"/>
                <a:gd name="T66" fmla="*/ 178 w 181"/>
                <a:gd name="T67" fmla="*/ 175 h 181"/>
                <a:gd name="T68" fmla="*/ 180 w 181"/>
                <a:gd name="T69" fmla="*/ 169 h 181"/>
                <a:gd name="T70" fmla="*/ 181 w 181"/>
                <a:gd name="T71" fmla="*/ 90 h 181"/>
                <a:gd name="T72" fmla="*/ 179 w 181"/>
                <a:gd name="T73" fmla="*/ 72 h 181"/>
                <a:gd name="T74" fmla="*/ 174 w 181"/>
                <a:gd name="T75" fmla="*/ 56 h 181"/>
                <a:gd name="T76" fmla="*/ 165 w 181"/>
                <a:gd name="T77" fmla="*/ 40 h 181"/>
                <a:gd name="T78" fmla="*/ 154 w 181"/>
                <a:gd name="T79" fmla="*/ 27 h 181"/>
                <a:gd name="T80" fmla="*/ 141 w 181"/>
                <a:gd name="T81" fmla="*/ 15 h 181"/>
                <a:gd name="T82" fmla="*/ 126 w 181"/>
                <a:gd name="T83" fmla="*/ 8 h 181"/>
                <a:gd name="T84" fmla="*/ 108 w 181"/>
                <a:gd name="T85" fmla="*/ 2 h 181"/>
                <a:gd name="T86" fmla="*/ 90 w 181"/>
                <a:gd name="T8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81">
                  <a:moveTo>
                    <a:pt x="150" y="151"/>
                  </a:moveTo>
                  <a:lnTo>
                    <a:pt x="30" y="151"/>
                  </a:lnTo>
                  <a:lnTo>
                    <a:pt x="30" y="90"/>
                  </a:lnTo>
                  <a:lnTo>
                    <a:pt x="30" y="85"/>
                  </a:lnTo>
                  <a:lnTo>
                    <a:pt x="31" y="78"/>
                  </a:lnTo>
                  <a:lnTo>
                    <a:pt x="33" y="73"/>
                  </a:lnTo>
                  <a:lnTo>
                    <a:pt x="35" y="67"/>
                  </a:lnTo>
                  <a:lnTo>
                    <a:pt x="38" y="62"/>
                  </a:lnTo>
                  <a:lnTo>
                    <a:pt x="40" y="57"/>
                  </a:lnTo>
                  <a:lnTo>
                    <a:pt x="44" y="53"/>
                  </a:lnTo>
                  <a:lnTo>
                    <a:pt x="48" y="48"/>
                  </a:lnTo>
                  <a:lnTo>
                    <a:pt x="52" y="44"/>
                  </a:lnTo>
                  <a:lnTo>
                    <a:pt x="57" y="41"/>
                  </a:lnTo>
                  <a:lnTo>
                    <a:pt x="61" y="38"/>
                  </a:lnTo>
                  <a:lnTo>
                    <a:pt x="67" y="35"/>
                  </a:lnTo>
                  <a:lnTo>
                    <a:pt x="72" y="33"/>
                  </a:lnTo>
                  <a:lnTo>
                    <a:pt x="79" y="31"/>
                  </a:lnTo>
                  <a:lnTo>
                    <a:pt x="84" y="30"/>
                  </a:lnTo>
                  <a:lnTo>
                    <a:pt x="90" y="30"/>
                  </a:lnTo>
                  <a:lnTo>
                    <a:pt x="97" y="30"/>
                  </a:lnTo>
                  <a:lnTo>
                    <a:pt x="102" y="31"/>
                  </a:lnTo>
                  <a:lnTo>
                    <a:pt x="108" y="33"/>
                  </a:lnTo>
                  <a:lnTo>
                    <a:pt x="114" y="35"/>
                  </a:lnTo>
                  <a:lnTo>
                    <a:pt x="119" y="38"/>
                  </a:lnTo>
                  <a:lnTo>
                    <a:pt x="125" y="41"/>
                  </a:lnTo>
                  <a:lnTo>
                    <a:pt x="129" y="44"/>
                  </a:lnTo>
                  <a:lnTo>
                    <a:pt x="133" y="48"/>
                  </a:lnTo>
                  <a:lnTo>
                    <a:pt x="137" y="53"/>
                  </a:lnTo>
                  <a:lnTo>
                    <a:pt x="141" y="57"/>
                  </a:lnTo>
                  <a:lnTo>
                    <a:pt x="144" y="62"/>
                  </a:lnTo>
                  <a:lnTo>
                    <a:pt x="146" y="67"/>
                  </a:lnTo>
                  <a:lnTo>
                    <a:pt x="148" y="73"/>
                  </a:lnTo>
                  <a:lnTo>
                    <a:pt x="149" y="78"/>
                  </a:lnTo>
                  <a:lnTo>
                    <a:pt x="150" y="85"/>
                  </a:lnTo>
                  <a:lnTo>
                    <a:pt x="150" y="90"/>
                  </a:lnTo>
                  <a:lnTo>
                    <a:pt x="150" y="151"/>
                  </a:lnTo>
                  <a:close/>
                  <a:moveTo>
                    <a:pt x="90" y="0"/>
                  </a:moveTo>
                  <a:lnTo>
                    <a:pt x="81" y="0"/>
                  </a:lnTo>
                  <a:lnTo>
                    <a:pt x="72" y="2"/>
                  </a:lnTo>
                  <a:lnTo>
                    <a:pt x="64" y="5"/>
                  </a:lnTo>
                  <a:lnTo>
                    <a:pt x="55" y="8"/>
                  </a:lnTo>
                  <a:lnTo>
                    <a:pt x="48" y="11"/>
                  </a:lnTo>
                  <a:lnTo>
                    <a:pt x="40" y="15"/>
                  </a:lnTo>
                  <a:lnTo>
                    <a:pt x="33" y="21"/>
                  </a:lnTo>
                  <a:lnTo>
                    <a:pt x="26" y="27"/>
                  </a:lnTo>
                  <a:lnTo>
                    <a:pt x="21" y="33"/>
                  </a:lnTo>
                  <a:lnTo>
                    <a:pt x="15" y="40"/>
                  </a:lnTo>
                  <a:lnTo>
                    <a:pt x="11" y="47"/>
                  </a:lnTo>
                  <a:lnTo>
                    <a:pt x="7" y="56"/>
                  </a:lnTo>
                  <a:lnTo>
                    <a:pt x="4" y="63"/>
                  </a:lnTo>
                  <a:lnTo>
                    <a:pt x="2" y="72"/>
                  </a:lnTo>
                  <a:lnTo>
                    <a:pt x="0" y="82"/>
                  </a:lnTo>
                  <a:lnTo>
                    <a:pt x="0" y="90"/>
                  </a:lnTo>
                  <a:lnTo>
                    <a:pt x="0" y="166"/>
                  </a:lnTo>
                  <a:lnTo>
                    <a:pt x="0" y="169"/>
                  </a:lnTo>
                  <a:lnTo>
                    <a:pt x="2" y="173"/>
                  </a:lnTo>
                  <a:lnTo>
                    <a:pt x="3" y="175"/>
                  </a:lnTo>
                  <a:lnTo>
                    <a:pt x="5" y="177"/>
                  </a:lnTo>
                  <a:lnTo>
                    <a:pt x="7" y="179"/>
                  </a:lnTo>
                  <a:lnTo>
                    <a:pt x="9" y="180"/>
                  </a:lnTo>
                  <a:lnTo>
                    <a:pt x="12" y="181"/>
                  </a:lnTo>
                  <a:lnTo>
                    <a:pt x="15" y="181"/>
                  </a:lnTo>
                  <a:lnTo>
                    <a:pt x="165" y="181"/>
                  </a:lnTo>
                  <a:lnTo>
                    <a:pt x="168" y="181"/>
                  </a:lnTo>
                  <a:lnTo>
                    <a:pt x="172" y="180"/>
                  </a:lnTo>
                  <a:lnTo>
                    <a:pt x="174" y="179"/>
                  </a:lnTo>
                  <a:lnTo>
                    <a:pt x="176" y="177"/>
                  </a:lnTo>
                  <a:lnTo>
                    <a:pt x="178" y="175"/>
                  </a:lnTo>
                  <a:lnTo>
                    <a:pt x="179" y="173"/>
                  </a:lnTo>
                  <a:lnTo>
                    <a:pt x="180" y="169"/>
                  </a:lnTo>
                  <a:lnTo>
                    <a:pt x="181" y="166"/>
                  </a:lnTo>
                  <a:lnTo>
                    <a:pt x="181" y="90"/>
                  </a:lnTo>
                  <a:lnTo>
                    <a:pt x="180" y="82"/>
                  </a:lnTo>
                  <a:lnTo>
                    <a:pt x="179" y="72"/>
                  </a:lnTo>
                  <a:lnTo>
                    <a:pt x="177" y="63"/>
                  </a:lnTo>
                  <a:lnTo>
                    <a:pt x="174" y="56"/>
                  </a:lnTo>
                  <a:lnTo>
                    <a:pt x="169" y="47"/>
                  </a:lnTo>
                  <a:lnTo>
                    <a:pt x="165" y="40"/>
                  </a:lnTo>
                  <a:lnTo>
                    <a:pt x="160" y="33"/>
                  </a:lnTo>
                  <a:lnTo>
                    <a:pt x="154" y="27"/>
                  </a:lnTo>
                  <a:lnTo>
                    <a:pt x="148" y="21"/>
                  </a:lnTo>
                  <a:lnTo>
                    <a:pt x="141" y="15"/>
                  </a:lnTo>
                  <a:lnTo>
                    <a:pt x="133" y="11"/>
                  </a:lnTo>
                  <a:lnTo>
                    <a:pt x="126" y="8"/>
                  </a:lnTo>
                  <a:lnTo>
                    <a:pt x="117" y="5"/>
                  </a:lnTo>
                  <a:lnTo>
                    <a:pt x="108" y="2"/>
                  </a:lnTo>
                  <a:lnTo>
                    <a:pt x="10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47">
              <a:extLst>
                <a:ext uri="{FF2B5EF4-FFF2-40B4-BE49-F238E27FC236}">
                  <a16:creationId xmlns:a16="http://schemas.microsoft.com/office/drawing/2014/main" id="{72BC3B2D-79C2-48C6-944B-6F09C69827C4}"/>
                </a:ext>
              </a:extLst>
            </p:cNvPr>
            <p:cNvSpPr>
              <a:spLocks/>
            </p:cNvSpPr>
            <p:nvPr/>
          </p:nvSpPr>
          <p:spPr bwMode="auto">
            <a:xfrm>
              <a:off x="7142163" y="2332038"/>
              <a:ext cx="96837" cy="161925"/>
            </a:xfrm>
            <a:custGeom>
              <a:avLst/>
              <a:gdLst>
                <a:gd name="T0" fmla="*/ 136 w 302"/>
                <a:gd name="T1" fmla="*/ 0 h 512"/>
                <a:gd name="T2" fmla="*/ 106 w 302"/>
                <a:gd name="T3" fmla="*/ 7 h 512"/>
                <a:gd name="T4" fmla="*/ 80 w 302"/>
                <a:gd name="T5" fmla="*/ 19 h 512"/>
                <a:gd name="T6" fmla="*/ 56 w 302"/>
                <a:gd name="T7" fmla="*/ 35 h 512"/>
                <a:gd name="T8" fmla="*/ 35 w 302"/>
                <a:gd name="T9" fmla="*/ 55 h 512"/>
                <a:gd name="T10" fmla="*/ 19 w 302"/>
                <a:gd name="T11" fmla="*/ 79 h 512"/>
                <a:gd name="T12" fmla="*/ 8 w 302"/>
                <a:gd name="T13" fmla="*/ 106 h 512"/>
                <a:gd name="T14" fmla="*/ 2 w 302"/>
                <a:gd name="T15" fmla="*/ 135 h 512"/>
                <a:gd name="T16" fmla="*/ 0 w 302"/>
                <a:gd name="T17" fmla="*/ 497 h 512"/>
                <a:gd name="T18" fmla="*/ 2 w 302"/>
                <a:gd name="T19" fmla="*/ 503 h 512"/>
                <a:gd name="T20" fmla="*/ 5 w 302"/>
                <a:gd name="T21" fmla="*/ 507 h 512"/>
                <a:gd name="T22" fmla="*/ 10 w 302"/>
                <a:gd name="T23" fmla="*/ 511 h 512"/>
                <a:gd name="T24" fmla="*/ 15 w 302"/>
                <a:gd name="T25" fmla="*/ 512 h 512"/>
                <a:gd name="T26" fmla="*/ 22 w 302"/>
                <a:gd name="T27" fmla="*/ 511 h 512"/>
                <a:gd name="T28" fmla="*/ 26 w 302"/>
                <a:gd name="T29" fmla="*/ 507 h 512"/>
                <a:gd name="T30" fmla="*/ 29 w 302"/>
                <a:gd name="T31" fmla="*/ 503 h 512"/>
                <a:gd name="T32" fmla="*/ 30 w 302"/>
                <a:gd name="T33" fmla="*/ 497 h 512"/>
                <a:gd name="T34" fmla="*/ 31 w 302"/>
                <a:gd name="T35" fmla="*/ 138 h 512"/>
                <a:gd name="T36" fmla="*/ 36 w 302"/>
                <a:gd name="T37" fmla="*/ 115 h 512"/>
                <a:gd name="T38" fmla="*/ 45 w 302"/>
                <a:gd name="T39" fmla="*/ 93 h 512"/>
                <a:gd name="T40" fmla="*/ 58 w 302"/>
                <a:gd name="T41" fmla="*/ 74 h 512"/>
                <a:gd name="T42" fmla="*/ 74 w 302"/>
                <a:gd name="T43" fmla="*/ 58 h 512"/>
                <a:gd name="T44" fmla="*/ 94 w 302"/>
                <a:gd name="T45" fmla="*/ 44 h 512"/>
                <a:gd name="T46" fmla="*/ 116 w 302"/>
                <a:gd name="T47" fmla="*/ 36 h 512"/>
                <a:gd name="T48" fmla="*/ 140 w 302"/>
                <a:gd name="T49" fmla="*/ 30 h 512"/>
                <a:gd name="T50" fmla="*/ 164 w 302"/>
                <a:gd name="T51" fmla="*/ 30 h 512"/>
                <a:gd name="T52" fmla="*/ 188 w 302"/>
                <a:gd name="T53" fmla="*/ 36 h 512"/>
                <a:gd name="T54" fmla="*/ 209 w 302"/>
                <a:gd name="T55" fmla="*/ 44 h 512"/>
                <a:gd name="T56" fmla="*/ 228 w 302"/>
                <a:gd name="T57" fmla="*/ 58 h 512"/>
                <a:gd name="T58" fmla="*/ 244 w 302"/>
                <a:gd name="T59" fmla="*/ 74 h 512"/>
                <a:gd name="T60" fmla="*/ 257 w 302"/>
                <a:gd name="T61" fmla="*/ 93 h 512"/>
                <a:gd name="T62" fmla="*/ 267 w 302"/>
                <a:gd name="T63" fmla="*/ 115 h 512"/>
                <a:gd name="T64" fmla="*/ 271 w 302"/>
                <a:gd name="T65" fmla="*/ 138 h 512"/>
                <a:gd name="T66" fmla="*/ 272 w 302"/>
                <a:gd name="T67" fmla="*/ 497 h 512"/>
                <a:gd name="T68" fmla="*/ 273 w 302"/>
                <a:gd name="T69" fmla="*/ 503 h 512"/>
                <a:gd name="T70" fmla="*/ 276 w 302"/>
                <a:gd name="T71" fmla="*/ 507 h 512"/>
                <a:gd name="T72" fmla="*/ 281 w 302"/>
                <a:gd name="T73" fmla="*/ 511 h 512"/>
                <a:gd name="T74" fmla="*/ 287 w 302"/>
                <a:gd name="T75" fmla="*/ 512 h 512"/>
                <a:gd name="T76" fmla="*/ 292 w 302"/>
                <a:gd name="T77" fmla="*/ 511 h 512"/>
                <a:gd name="T78" fmla="*/ 298 w 302"/>
                <a:gd name="T79" fmla="*/ 507 h 512"/>
                <a:gd name="T80" fmla="*/ 301 w 302"/>
                <a:gd name="T81" fmla="*/ 503 h 512"/>
                <a:gd name="T82" fmla="*/ 302 w 302"/>
                <a:gd name="T83" fmla="*/ 497 h 512"/>
                <a:gd name="T84" fmla="*/ 301 w 302"/>
                <a:gd name="T85" fmla="*/ 135 h 512"/>
                <a:gd name="T86" fmla="*/ 296 w 302"/>
                <a:gd name="T87" fmla="*/ 106 h 512"/>
                <a:gd name="T88" fmla="*/ 284 w 302"/>
                <a:gd name="T89" fmla="*/ 79 h 512"/>
                <a:gd name="T90" fmla="*/ 268 w 302"/>
                <a:gd name="T91" fmla="*/ 55 h 512"/>
                <a:gd name="T92" fmla="*/ 248 w 302"/>
                <a:gd name="T93" fmla="*/ 35 h 512"/>
                <a:gd name="T94" fmla="*/ 223 w 302"/>
                <a:gd name="T95" fmla="*/ 19 h 512"/>
                <a:gd name="T96" fmla="*/ 196 w 302"/>
                <a:gd name="T97" fmla="*/ 7 h 512"/>
                <a:gd name="T98" fmla="*/ 166 w 302"/>
                <a:gd name="T9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2" h="512">
                  <a:moveTo>
                    <a:pt x="151" y="0"/>
                  </a:moveTo>
                  <a:lnTo>
                    <a:pt x="136" y="0"/>
                  </a:lnTo>
                  <a:lnTo>
                    <a:pt x="121" y="3"/>
                  </a:lnTo>
                  <a:lnTo>
                    <a:pt x="106" y="7"/>
                  </a:lnTo>
                  <a:lnTo>
                    <a:pt x="92" y="12"/>
                  </a:lnTo>
                  <a:lnTo>
                    <a:pt x="80" y="19"/>
                  </a:lnTo>
                  <a:lnTo>
                    <a:pt x="67" y="26"/>
                  </a:lnTo>
                  <a:lnTo>
                    <a:pt x="56" y="35"/>
                  </a:lnTo>
                  <a:lnTo>
                    <a:pt x="45" y="44"/>
                  </a:lnTo>
                  <a:lnTo>
                    <a:pt x="35" y="55"/>
                  </a:lnTo>
                  <a:lnTo>
                    <a:pt x="26" y="67"/>
                  </a:lnTo>
                  <a:lnTo>
                    <a:pt x="19" y="79"/>
                  </a:lnTo>
                  <a:lnTo>
                    <a:pt x="12" y="92"/>
                  </a:lnTo>
                  <a:lnTo>
                    <a:pt x="8" y="106"/>
                  </a:lnTo>
                  <a:lnTo>
                    <a:pt x="4" y="120"/>
                  </a:lnTo>
                  <a:lnTo>
                    <a:pt x="2" y="135"/>
                  </a:lnTo>
                  <a:lnTo>
                    <a:pt x="0" y="150"/>
                  </a:lnTo>
                  <a:lnTo>
                    <a:pt x="0" y="497"/>
                  </a:lnTo>
                  <a:lnTo>
                    <a:pt x="2" y="500"/>
                  </a:lnTo>
                  <a:lnTo>
                    <a:pt x="2" y="503"/>
                  </a:lnTo>
                  <a:lnTo>
                    <a:pt x="4" y="505"/>
                  </a:lnTo>
                  <a:lnTo>
                    <a:pt x="5" y="507"/>
                  </a:lnTo>
                  <a:lnTo>
                    <a:pt x="7" y="510"/>
                  </a:lnTo>
                  <a:lnTo>
                    <a:pt x="10" y="511"/>
                  </a:lnTo>
                  <a:lnTo>
                    <a:pt x="13" y="512"/>
                  </a:lnTo>
                  <a:lnTo>
                    <a:pt x="15" y="512"/>
                  </a:lnTo>
                  <a:lnTo>
                    <a:pt x="19" y="512"/>
                  </a:lnTo>
                  <a:lnTo>
                    <a:pt x="22" y="511"/>
                  </a:lnTo>
                  <a:lnTo>
                    <a:pt x="24" y="510"/>
                  </a:lnTo>
                  <a:lnTo>
                    <a:pt x="26" y="507"/>
                  </a:lnTo>
                  <a:lnTo>
                    <a:pt x="28" y="505"/>
                  </a:lnTo>
                  <a:lnTo>
                    <a:pt x="29" y="503"/>
                  </a:lnTo>
                  <a:lnTo>
                    <a:pt x="30" y="500"/>
                  </a:lnTo>
                  <a:lnTo>
                    <a:pt x="30" y="497"/>
                  </a:lnTo>
                  <a:lnTo>
                    <a:pt x="30" y="150"/>
                  </a:lnTo>
                  <a:lnTo>
                    <a:pt x="31" y="138"/>
                  </a:lnTo>
                  <a:lnTo>
                    <a:pt x="34" y="127"/>
                  </a:lnTo>
                  <a:lnTo>
                    <a:pt x="36" y="115"/>
                  </a:lnTo>
                  <a:lnTo>
                    <a:pt x="40" y="104"/>
                  </a:lnTo>
                  <a:lnTo>
                    <a:pt x="45" y="93"/>
                  </a:lnTo>
                  <a:lnTo>
                    <a:pt x="52" y="83"/>
                  </a:lnTo>
                  <a:lnTo>
                    <a:pt x="58" y="74"/>
                  </a:lnTo>
                  <a:lnTo>
                    <a:pt x="66" y="66"/>
                  </a:lnTo>
                  <a:lnTo>
                    <a:pt x="74" y="58"/>
                  </a:lnTo>
                  <a:lnTo>
                    <a:pt x="84" y="51"/>
                  </a:lnTo>
                  <a:lnTo>
                    <a:pt x="94" y="44"/>
                  </a:lnTo>
                  <a:lnTo>
                    <a:pt x="104" y="40"/>
                  </a:lnTo>
                  <a:lnTo>
                    <a:pt x="116" y="36"/>
                  </a:lnTo>
                  <a:lnTo>
                    <a:pt x="127" y="33"/>
                  </a:lnTo>
                  <a:lnTo>
                    <a:pt x="140" y="30"/>
                  </a:lnTo>
                  <a:lnTo>
                    <a:pt x="151" y="30"/>
                  </a:lnTo>
                  <a:lnTo>
                    <a:pt x="164" y="30"/>
                  </a:lnTo>
                  <a:lnTo>
                    <a:pt x="176" y="33"/>
                  </a:lnTo>
                  <a:lnTo>
                    <a:pt x="188" y="36"/>
                  </a:lnTo>
                  <a:lnTo>
                    <a:pt x="198" y="40"/>
                  </a:lnTo>
                  <a:lnTo>
                    <a:pt x="209" y="44"/>
                  </a:lnTo>
                  <a:lnTo>
                    <a:pt x="219" y="51"/>
                  </a:lnTo>
                  <a:lnTo>
                    <a:pt x="228" y="58"/>
                  </a:lnTo>
                  <a:lnTo>
                    <a:pt x="237" y="66"/>
                  </a:lnTo>
                  <a:lnTo>
                    <a:pt x="244" y="74"/>
                  </a:lnTo>
                  <a:lnTo>
                    <a:pt x="251" y="83"/>
                  </a:lnTo>
                  <a:lnTo>
                    <a:pt x="257" y="93"/>
                  </a:lnTo>
                  <a:lnTo>
                    <a:pt x="263" y="104"/>
                  </a:lnTo>
                  <a:lnTo>
                    <a:pt x="267" y="115"/>
                  </a:lnTo>
                  <a:lnTo>
                    <a:pt x="269" y="127"/>
                  </a:lnTo>
                  <a:lnTo>
                    <a:pt x="271" y="138"/>
                  </a:lnTo>
                  <a:lnTo>
                    <a:pt x="272" y="150"/>
                  </a:lnTo>
                  <a:lnTo>
                    <a:pt x="272" y="497"/>
                  </a:lnTo>
                  <a:lnTo>
                    <a:pt x="272" y="500"/>
                  </a:lnTo>
                  <a:lnTo>
                    <a:pt x="273" y="503"/>
                  </a:lnTo>
                  <a:lnTo>
                    <a:pt x="274" y="505"/>
                  </a:lnTo>
                  <a:lnTo>
                    <a:pt x="276" y="507"/>
                  </a:lnTo>
                  <a:lnTo>
                    <a:pt x="279" y="510"/>
                  </a:lnTo>
                  <a:lnTo>
                    <a:pt x="281" y="511"/>
                  </a:lnTo>
                  <a:lnTo>
                    <a:pt x="284" y="512"/>
                  </a:lnTo>
                  <a:lnTo>
                    <a:pt x="287" y="512"/>
                  </a:lnTo>
                  <a:lnTo>
                    <a:pt x="290" y="512"/>
                  </a:lnTo>
                  <a:lnTo>
                    <a:pt x="292" y="511"/>
                  </a:lnTo>
                  <a:lnTo>
                    <a:pt x="296" y="510"/>
                  </a:lnTo>
                  <a:lnTo>
                    <a:pt x="298" y="507"/>
                  </a:lnTo>
                  <a:lnTo>
                    <a:pt x="299" y="505"/>
                  </a:lnTo>
                  <a:lnTo>
                    <a:pt x="301" y="503"/>
                  </a:lnTo>
                  <a:lnTo>
                    <a:pt x="302" y="500"/>
                  </a:lnTo>
                  <a:lnTo>
                    <a:pt x="302" y="497"/>
                  </a:lnTo>
                  <a:lnTo>
                    <a:pt x="302" y="150"/>
                  </a:lnTo>
                  <a:lnTo>
                    <a:pt x="301" y="135"/>
                  </a:lnTo>
                  <a:lnTo>
                    <a:pt x="299" y="120"/>
                  </a:lnTo>
                  <a:lnTo>
                    <a:pt x="296" y="106"/>
                  </a:lnTo>
                  <a:lnTo>
                    <a:pt x="290" y="92"/>
                  </a:lnTo>
                  <a:lnTo>
                    <a:pt x="284" y="79"/>
                  </a:lnTo>
                  <a:lnTo>
                    <a:pt x="276" y="67"/>
                  </a:lnTo>
                  <a:lnTo>
                    <a:pt x="268" y="55"/>
                  </a:lnTo>
                  <a:lnTo>
                    <a:pt x="258" y="44"/>
                  </a:lnTo>
                  <a:lnTo>
                    <a:pt x="248" y="35"/>
                  </a:lnTo>
                  <a:lnTo>
                    <a:pt x="236" y="26"/>
                  </a:lnTo>
                  <a:lnTo>
                    <a:pt x="223" y="19"/>
                  </a:lnTo>
                  <a:lnTo>
                    <a:pt x="210" y="12"/>
                  </a:lnTo>
                  <a:lnTo>
                    <a:pt x="196" y="7"/>
                  </a:lnTo>
                  <a:lnTo>
                    <a:pt x="181" y="3"/>
                  </a:lnTo>
                  <a:lnTo>
                    <a:pt x="166" y="0"/>
                  </a:lnTo>
                  <a:lnTo>
                    <a:pt x="1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48">
              <a:extLst>
                <a:ext uri="{FF2B5EF4-FFF2-40B4-BE49-F238E27FC236}">
                  <a16:creationId xmlns:a16="http://schemas.microsoft.com/office/drawing/2014/main" id="{C86F2B80-D105-4CDB-8358-C13068B03CE1}"/>
                </a:ext>
              </a:extLst>
            </p:cNvPr>
            <p:cNvSpPr>
              <a:spLocks/>
            </p:cNvSpPr>
            <p:nvPr/>
          </p:nvSpPr>
          <p:spPr bwMode="auto">
            <a:xfrm>
              <a:off x="7065963" y="2254250"/>
              <a:ext cx="249237" cy="206375"/>
            </a:xfrm>
            <a:custGeom>
              <a:avLst/>
              <a:gdLst>
                <a:gd name="T0" fmla="*/ 331 w 783"/>
                <a:gd name="T1" fmla="*/ 4 h 648"/>
                <a:gd name="T2" fmla="*/ 257 w 783"/>
                <a:gd name="T3" fmla="*/ 24 h 648"/>
                <a:gd name="T4" fmla="*/ 188 w 783"/>
                <a:gd name="T5" fmla="*/ 56 h 648"/>
                <a:gd name="T6" fmla="*/ 128 w 783"/>
                <a:gd name="T7" fmla="*/ 102 h 648"/>
                <a:gd name="T8" fmla="*/ 78 w 783"/>
                <a:gd name="T9" fmla="*/ 158 h 648"/>
                <a:gd name="T10" fmla="*/ 38 w 783"/>
                <a:gd name="T11" fmla="*/ 222 h 648"/>
                <a:gd name="T12" fmla="*/ 12 w 783"/>
                <a:gd name="T13" fmla="*/ 294 h 648"/>
                <a:gd name="T14" fmla="*/ 0 w 783"/>
                <a:gd name="T15" fmla="*/ 372 h 648"/>
                <a:gd name="T16" fmla="*/ 3 w 783"/>
                <a:gd name="T17" fmla="*/ 443 h 648"/>
                <a:gd name="T18" fmla="*/ 18 w 783"/>
                <a:gd name="T19" fmla="*/ 509 h 648"/>
                <a:gd name="T20" fmla="*/ 44 w 783"/>
                <a:gd name="T21" fmla="*/ 572 h 648"/>
                <a:gd name="T22" fmla="*/ 80 w 783"/>
                <a:gd name="T23" fmla="*/ 630 h 648"/>
                <a:gd name="T24" fmla="*/ 99 w 783"/>
                <a:gd name="T25" fmla="*/ 648 h 648"/>
                <a:gd name="T26" fmla="*/ 110 w 783"/>
                <a:gd name="T27" fmla="*/ 647 h 648"/>
                <a:gd name="T28" fmla="*/ 116 w 783"/>
                <a:gd name="T29" fmla="*/ 637 h 648"/>
                <a:gd name="T30" fmla="*/ 115 w 783"/>
                <a:gd name="T31" fmla="*/ 626 h 648"/>
                <a:gd name="T32" fmla="*/ 85 w 783"/>
                <a:gd name="T33" fmla="*/ 585 h 648"/>
                <a:gd name="T34" fmla="*/ 58 w 783"/>
                <a:gd name="T35" fmla="*/ 529 h 648"/>
                <a:gd name="T36" fmla="*/ 38 w 783"/>
                <a:gd name="T37" fmla="*/ 469 h 648"/>
                <a:gd name="T38" fmla="*/ 30 w 783"/>
                <a:gd name="T39" fmla="*/ 407 h 648"/>
                <a:gd name="T40" fmla="*/ 34 w 783"/>
                <a:gd name="T41" fmla="*/ 337 h 648"/>
                <a:gd name="T42" fmla="*/ 52 w 783"/>
                <a:gd name="T43" fmla="*/ 267 h 648"/>
                <a:gd name="T44" fmla="*/ 82 w 783"/>
                <a:gd name="T45" fmla="*/ 204 h 648"/>
                <a:gd name="T46" fmla="*/ 124 w 783"/>
                <a:gd name="T47" fmla="*/ 148 h 648"/>
                <a:gd name="T48" fmla="*/ 175 w 783"/>
                <a:gd name="T49" fmla="*/ 102 h 648"/>
                <a:gd name="T50" fmla="*/ 235 w 783"/>
                <a:gd name="T51" fmla="*/ 66 h 648"/>
                <a:gd name="T52" fmla="*/ 301 w 783"/>
                <a:gd name="T53" fmla="*/ 41 h 648"/>
                <a:gd name="T54" fmla="*/ 373 w 783"/>
                <a:gd name="T55" fmla="*/ 31 h 648"/>
                <a:gd name="T56" fmla="*/ 446 w 783"/>
                <a:gd name="T57" fmla="*/ 34 h 648"/>
                <a:gd name="T58" fmla="*/ 515 w 783"/>
                <a:gd name="T59" fmla="*/ 52 h 648"/>
                <a:gd name="T60" fmla="*/ 578 w 783"/>
                <a:gd name="T61" fmla="*/ 82 h 648"/>
                <a:gd name="T62" fmla="*/ 634 w 783"/>
                <a:gd name="T63" fmla="*/ 124 h 648"/>
                <a:gd name="T64" fmla="*/ 681 w 783"/>
                <a:gd name="T65" fmla="*/ 175 h 648"/>
                <a:gd name="T66" fmla="*/ 718 w 783"/>
                <a:gd name="T67" fmla="*/ 235 h 648"/>
                <a:gd name="T68" fmla="*/ 741 w 783"/>
                <a:gd name="T69" fmla="*/ 301 h 648"/>
                <a:gd name="T70" fmla="*/ 753 w 783"/>
                <a:gd name="T71" fmla="*/ 373 h 648"/>
                <a:gd name="T72" fmla="*/ 750 w 783"/>
                <a:gd name="T73" fmla="*/ 438 h 648"/>
                <a:gd name="T74" fmla="*/ 736 w 783"/>
                <a:gd name="T75" fmla="*/ 500 h 648"/>
                <a:gd name="T76" fmla="*/ 712 w 783"/>
                <a:gd name="T77" fmla="*/ 558 h 648"/>
                <a:gd name="T78" fmla="*/ 679 w 783"/>
                <a:gd name="T79" fmla="*/ 611 h 648"/>
                <a:gd name="T80" fmla="*/ 666 w 783"/>
                <a:gd name="T81" fmla="*/ 632 h 648"/>
                <a:gd name="T82" fmla="*/ 669 w 783"/>
                <a:gd name="T83" fmla="*/ 643 h 648"/>
                <a:gd name="T84" fmla="*/ 679 w 783"/>
                <a:gd name="T85" fmla="*/ 648 h 648"/>
                <a:gd name="T86" fmla="*/ 690 w 783"/>
                <a:gd name="T87" fmla="*/ 645 h 648"/>
                <a:gd name="T88" fmla="*/ 723 w 783"/>
                <a:gd name="T89" fmla="*/ 602 h 648"/>
                <a:gd name="T90" fmla="*/ 754 w 783"/>
                <a:gd name="T91" fmla="*/ 541 h 648"/>
                <a:gd name="T92" fmla="*/ 774 w 783"/>
                <a:gd name="T93" fmla="*/ 477 h 648"/>
                <a:gd name="T94" fmla="*/ 783 w 783"/>
                <a:gd name="T95" fmla="*/ 408 h 648"/>
                <a:gd name="T96" fmla="*/ 779 w 783"/>
                <a:gd name="T97" fmla="*/ 332 h 648"/>
                <a:gd name="T98" fmla="*/ 759 w 783"/>
                <a:gd name="T99" fmla="*/ 257 h 648"/>
                <a:gd name="T100" fmla="*/ 726 w 783"/>
                <a:gd name="T101" fmla="*/ 189 h 648"/>
                <a:gd name="T102" fmla="*/ 681 w 783"/>
                <a:gd name="T103" fmla="*/ 129 h 648"/>
                <a:gd name="T104" fmla="*/ 626 w 783"/>
                <a:gd name="T105" fmla="*/ 78 h 648"/>
                <a:gd name="T106" fmla="*/ 561 w 783"/>
                <a:gd name="T107" fmla="*/ 38 h 648"/>
                <a:gd name="T108" fmla="*/ 489 w 783"/>
                <a:gd name="T109" fmla="*/ 13 h 648"/>
                <a:gd name="T110" fmla="*/ 412 w 783"/>
                <a:gd name="T111" fmla="*/ 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3" h="648">
                  <a:moveTo>
                    <a:pt x="391" y="0"/>
                  </a:moveTo>
                  <a:lnTo>
                    <a:pt x="371" y="1"/>
                  </a:lnTo>
                  <a:lnTo>
                    <a:pt x="352" y="2"/>
                  </a:lnTo>
                  <a:lnTo>
                    <a:pt x="331" y="4"/>
                  </a:lnTo>
                  <a:lnTo>
                    <a:pt x="312" y="8"/>
                  </a:lnTo>
                  <a:lnTo>
                    <a:pt x="294" y="13"/>
                  </a:lnTo>
                  <a:lnTo>
                    <a:pt x="275" y="18"/>
                  </a:lnTo>
                  <a:lnTo>
                    <a:pt x="257" y="24"/>
                  </a:lnTo>
                  <a:lnTo>
                    <a:pt x="239" y="31"/>
                  </a:lnTo>
                  <a:lnTo>
                    <a:pt x="221" y="38"/>
                  </a:lnTo>
                  <a:lnTo>
                    <a:pt x="205" y="48"/>
                  </a:lnTo>
                  <a:lnTo>
                    <a:pt x="188" y="56"/>
                  </a:lnTo>
                  <a:lnTo>
                    <a:pt x="172" y="67"/>
                  </a:lnTo>
                  <a:lnTo>
                    <a:pt x="157" y="78"/>
                  </a:lnTo>
                  <a:lnTo>
                    <a:pt x="142" y="90"/>
                  </a:lnTo>
                  <a:lnTo>
                    <a:pt x="128" y="102"/>
                  </a:lnTo>
                  <a:lnTo>
                    <a:pt x="114" y="115"/>
                  </a:lnTo>
                  <a:lnTo>
                    <a:pt x="101" y="129"/>
                  </a:lnTo>
                  <a:lnTo>
                    <a:pt x="90" y="143"/>
                  </a:lnTo>
                  <a:lnTo>
                    <a:pt x="78" y="158"/>
                  </a:lnTo>
                  <a:lnTo>
                    <a:pt x="67" y="173"/>
                  </a:lnTo>
                  <a:lnTo>
                    <a:pt x="56" y="189"/>
                  </a:lnTo>
                  <a:lnTo>
                    <a:pt x="47" y="205"/>
                  </a:lnTo>
                  <a:lnTo>
                    <a:pt x="38" y="222"/>
                  </a:lnTo>
                  <a:lnTo>
                    <a:pt x="31" y="239"/>
                  </a:lnTo>
                  <a:lnTo>
                    <a:pt x="23" y="257"/>
                  </a:lnTo>
                  <a:lnTo>
                    <a:pt x="17" y="276"/>
                  </a:lnTo>
                  <a:lnTo>
                    <a:pt x="12" y="294"/>
                  </a:lnTo>
                  <a:lnTo>
                    <a:pt x="7" y="313"/>
                  </a:lnTo>
                  <a:lnTo>
                    <a:pt x="4" y="332"/>
                  </a:lnTo>
                  <a:lnTo>
                    <a:pt x="2" y="352"/>
                  </a:lnTo>
                  <a:lnTo>
                    <a:pt x="0" y="372"/>
                  </a:lnTo>
                  <a:lnTo>
                    <a:pt x="0" y="391"/>
                  </a:lnTo>
                  <a:lnTo>
                    <a:pt x="0" y="408"/>
                  </a:lnTo>
                  <a:lnTo>
                    <a:pt x="1" y="425"/>
                  </a:lnTo>
                  <a:lnTo>
                    <a:pt x="3" y="443"/>
                  </a:lnTo>
                  <a:lnTo>
                    <a:pt x="5" y="460"/>
                  </a:lnTo>
                  <a:lnTo>
                    <a:pt x="9" y="477"/>
                  </a:lnTo>
                  <a:lnTo>
                    <a:pt x="13" y="493"/>
                  </a:lnTo>
                  <a:lnTo>
                    <a:pt x="18" y="509"/>
                  </a:lnTo>
                  <a:lnTo>
                    <a:pt x="23" y="525"/>
                  </a:lnTo>
                  <a:lnTo>
                    <a:pt x="30" y="541"/>
                  </a:lnTo>
                  <a:lnTo>
                    <a:pt x="36" y="557"/>
                  </a:lnTo>
                  <a:lnTo>
                    <a:pt x="44" y="572"/>
                  </a:lnTo>
                  <a:lnTo>
                    <a:pt x="51" y="587"/>
                  </a:lnTo>
                  <a:lnTo>
                    <a:pt x="61" y="602"/>
                  </a:lnTo>
                  <a:lnTo>
                    <a:pt x="69" y="616"/>
                  </a:lnTo>
                  <a:lnTo>
                    <a:pt x="80" y="630"/>
                  </a:lnTo>
                  <a:lnTo>
                    <a:pt x="91" y="644"/>
                  </a:lnTo>
                  <a:lnTo>
                    <a:pt x="93" y="645"/>
                  </a:lnTo>
                  <a:lnTo>
                    <a:pt x="96" y="647"/>
                  </a:lnTo>
                  <a:lnTo>
                    <a:pt x="99" y="648"/>
                  </a:lnTo>
                  <a:lnTo>
                    <a:pt x="102" y="648"/>
                  </a:lnTo>
                  <a:lnTo>
                    <a:pt x="105" y="648"/>
                  </a:lnTo>
                  <a:lnTo>
                    <a:pt x="107" y="647"/>
                  </a:lnTo>
                  <a:lnTo>
                    <a:pt x="110" y="647"/>
                  </a:lnTo>
                  <a:lnTo>
                    <a:pt x="112" y="645"/>
                  </a:lnTo>
                  <a:lnTo>
                    <a:pt x="114" y="643"/>
                  </a:lnTo>
                  <a:lnTo>
                    <a:pt x="115" y="640"/>
                  </a:lnTo>
                  <a:lnTo>
                    <a:pt x="116" y="637"/>
                  </a:lnTo>
                  <a:lnTo>
                    <a:pt x="117" y="635"/>
                  </a:lnTo>
                  <a:lnTo>
                    <a:pt x="117" y="632"/>
                  </a:lnTo>
                  <a:lnTo>
                    <a:pt x="116" y="629"/>
                  </a:lnTo>
                  <a:lnTo>
                    <a:pt x="115" y="626"/>
                  </a:lnTo>
                  <a:lnTo>
                    <a:pt x="113" y="623"/>
                  </a:lnTo>
                  <a:lnTo>
                    <a:pt x="104" y="611"/>
                  </a:lnTo>
                  <a:lnTo>
                    <a:pt x="95" y="599"/>
                  </a:lnTo>
                  <a:lnTo>
                    <a:pt x="85" y="585"/>
                  </a:lnTo>
                  <a:lnTo>
                    <a:pt x="78" y="572"/>
                  </a:lnTo>
                  <a:lnTo>
                    <a:pt x="70" y="558"/>
                  </a:lnTo>
                  <a:lnTo>
                    <a:pt x="63" y="544"/>
                  </a:lnTo>
                  <a:lnTo>
                    <a:pt x="58" y="529"/>
                  </a:lnTo>
                  <a:lnTo>
                    <a:pt x="51" y="515"/>
                  </a:lnTo>
                  <a:lnTo>
                    <a:pt x="47" y="500"/>
                  </a:lnTo>
                  <a:lnTo>
                    <a:pt x="43" y="485"/>
                  </a:lnTo>
                  <a:lnTo>
                    <a:pt x="38" y="469"/>
                  </a:lnTo>
                  <a:lnTo>
                    <a:pt x="35" y="454"/>
                  </a:lnTo>
                  <a:lnTo>
                    <a:pt x="33" y="438"/>
                  </a:lnTo>
                  <a:lnTo>
                    <a:pt x="31" y="423"/>
                  </a:lnTo>
                  <a:lnTo>
                    <a:pt x="30" y="407"/>
                  </a:lnTo>
                  <a:lnTo>
                    <a:pt x="30" y="391"/>
                  </a:lnTo>
                  <a:lnTo>
                    <a:pt x="31" y="373"/>
                  </a:lnTo>
                  <a:lnTo>
                    <a:pt x="32" y="355"/>
                  </a:lnTo>
                  <a:lnTo>
                    <a:pt x="34" y="337"/>
                  </a:lnTo>
                  <a:lnTo>
                    <a:pt x="37" y="318"/>
                  </a:lnTo>
                  <a:lnTo>
                    <a:pt x="42" y="301"/>
                  </a:lnTo>
                  <a:lnTo>
                    <a:pt x="46" y="284"/>
                  </a:lnTo>
                  <a:lnTo>
                    <a:pt x="52" y="267"/>
                  </a:lnTo>
                  <a:lnTo>
                    <a:pt x="59" y="251"/>
                  </a:lnTo>
                  <a:lnTo>
                    <a:pt x="65" y="235"/>
                  </a:lnTo>
                  <a:lnTo>
                    <a:pt x="74" y="220"/>
                  </a:lnTo>
                  <a:lnTo>
                    <a:pt x="82" y="204"/>
                  </a:lnTo>
                  <a:lnTo>
                    <a:pt x="92" y="190"/>
                  </a:lnTo>
                  <a:lnTo>
                    <a:pt x="101" y="175"/>
                  </a:lnTo>
                  <a:lnTo>
                    <a:pt x="112" y="162"/>
                  </a:lnTo>
                  <a:lnTo>
                    <a:pt x="124" y="148"/>
                  </a:lnTo>
                  <a:lnTo>
                    <a:pt x="136" y="137"/>
                  </a:lnTo>
                  <a:lnTo>
                    <a:pt x="148" y="124"/>
                  </a:lnTo>
                  <a:lnTo>
                    <a:pt x="161" y="113"/>
                  </a:lnTo>
                  <a:lnTo>
                    <a:pt x="175" y="102"/>
                  </a:lnTo>
                  <a:lnTo>
                    <a:pt x="189" y="92"/>
                  </a:lnTo>
                  <a:lnTo>
                    <a:pt x="204" y="82"/>
                  </a:lnTo>
                  <a:lnTo>
                    <a:pt x="219" y="74"/>
                  </a:lnTo>
                  <a:lnTo>
                    <a:pt x="235" y="66"/>
                  </a:lnTo>
                  <a:lnTo>
                    <a:pt x="251" y="59"/>
                  </a:lnTo>
                  <a:lnTo>
                    <a:pt x="267" y="52"/>
                  </a:lnTo>
                  <a:lnTo>
                    <a:pt x="284" y="47"/>
                  </a:lnTo>
                  <a:lnTo>
                    <a:pt x="301" y="41"/>
                  </a:lnTo>
                  <a:lnTo>
                    <a:pt x="319" y="37"/>
                  </a:lnTo>
                  <a:lnTo>
                    <a:pt x="337" y="34"/>
                  </a:lnTo>
                  <a:lnTo>
                    <a:pt x="355" y="32"/>
                  </a:lnTo>
                  <a:lnTo>
                    <a:pt x="373" y="31"/>
                  </a:lnTo>
                  <a:lnTo>
                    <a:pt x="391" y="30"/>
                  </a:lnTo>
                  <a:lnTo>
                    <a:pt x="409" y="31"/>
                  </a:lnTo>
                  <a:lnTo>
                    <a:pt x="429" y="32"/>
                  </a:lnTo>
                  <a:lnTo>
                    <a:pt x="446" y="34"/>
                  </a:lnTo>
                  <a:lnTo>
                    <a:pt x="464" y="37"/>
                  </a:lnTo>
                  <a:lnTo>
                    <a:pt x="481" y="41"/>
                  </a:lnTo>
                  <a:lnTo>
                    <a:pt x="498" y="47"/>
                  </a:lnTo>
                  <a:lnTo>
                    <a:pt x="515" y="52"/>
                  </a:lnTo>
                  <a:lnTo>
                    <a:pt x="531" y="59"/>
                  </a:lnTo>
                  <a:lnTo>
                    <a:pt x="547" y="66"/>
                  </a:lnTo>
                  <a:lnTo>
                    <a:pt x="564" y="74"/>
                  </a:lnTo>
                  <a:lnTo>
                    <a:pt x="578" y="82"/>
                  </a:lnTo>
                  <a:lnTo>
                    <a:pt x="593" y="92"/>
                  </a:lnTo>
                  <a:lnTo>
                    <a:pt x="607" y="102"/>
                  </a:lnTo>
                  <a:lnTo>
                    <a:pt x="621" y="113"/>
                  </a:lnTo>
                  <a:lnTo>
                    <a:pt x="634" y="124"/>
                  </a:lnTo>
                  <a:lnTo>
                    <a:pt x="647" y="137"/>
                  </a:lnTo>
                  <a:lnTo>
                    <a:pt x="659" y="148"/>
                  </a:lnTo>
                  <a:lnTo>
                    <a:pt x="670" y="162"/>
                  </a:lnTo>
                  <a:lnTo>
                    <a:pt x="681" y="175"/>
                  </a:lnTo>
                  <a:lnTo>
                    <a:pt x="691" y="190"/>
                  </a:lnTo>
                  <a:lnTo>
                    <a:pt x="700" y="204"/>
                  </a:lnTo>
                  <a:lnTo>
                    <a:pt x="709" y="220"/>
                  </a:lnTo>
                  <a:lnTo>
                    <a:pt x="718" y="235"/>
                  </a:lnTo>
                  <a:lnTo>
                    <a:pt x="724" y="251"/>
                  </a:lnTo>
                  <a:lnTo>
                    <a:pt x="731" y="267"/>
                  </a:lnTo>
                  <a:lnTo>
                    <a:pt x="737" y="284"/>
                  </a:lnTo>
                  <a:lnTo>
                    <a:pt x="741" y="301"/>
                  </a:lnTo>
                  <a:lnTo>
                    <a:pt x="745" y="318"/>
                  </a:lnTo>
                  <a:lnTo>
                    <a:pt x="749" y="337"/>
                  </a:lnTo>
                  <a:lnTo>
                    <a:pt x="751" y="355"/>
                  </a:lnTo>
                  <a:lnTo>
                    <a:pt x="753" y="373"/>
                  </a:lnTo>
                  <a:lnTo>
                    <a:pt x="753" y="391"/>
                  </a:lnTo>
                  <a:lnTo>
                    <a:pt x="753" y="407"/>
                  </a:lnTo>
                  <a:lnTo>
                    <a:pt x="752" y="423"/>
                  </a:lnTo>
                  <a:lnTo>
                    <a:pt x="750" y="438"/>
                  </a:lnTo>
                  <a:lnTo>
                    <a:pt x="747" y="454"/>
                  </a:lnTo>
                  <a:lnTo>
                    <a:pt x="744" y="469"/>
                  </a:lnTo>
                  <a:lnTo>
                    <a:pt x="741" y="485"/>
                  </a:lnTo>
                  <a:lnTo>
                    <a:pt x="736" y="500"/>
                  </a:lnTo>
                  <a:lnTo>
                    <a:pt x="731" y="515"/>
                  </a:lnTo>
                  <a:lnTo>
                    <a:pt x="726" y="529"/>
                  </a:lnTo>
                  <a:lnTo>
                    <a:pt x="720" y="544"/>
                  </a:lnTo>
                  <a:lnTo>
                    <a:pt x="712" y="558"/>
                  </a:lnTo>
                  <a:lnTo>
                    <a:pt x="705" y="572"/>
                  </a:lnTo>
                  <a:lnTo>
                    <a:pt x="697" y="585"/>
                  </a:lnTo>
                  <a:lnTo>
                    <a:pt x="689" y="599"/>
                  </a:lnTo>
                  <a:lnTo>
                    <a:pt x="679" y="611"/>
                  </a:lnTo>
                  <a:lnTo>
                    <a:pt x="669" y="623"/>
                  </a:lnTo>
                  <a:lnTo>
                    <a:pt x="667" y="626"/>
                  </a:lnTo>
                  <a:lnTo>
                    <a:pt x="666" y="629"/>
                  </a:lnTo>
                  <a:lnTo>
                    <a:pt x="666" y="632"/>
                  </a:lnTo>
                  <a:lnTo>
                    <a:pt x="666" y="635"/>
                  </a:lnTo>
                  <a:lnTo>
                    <a:pt x="666" y="637"/>
                  </a:lnTo>
                  <a:lnTo>
                    <a:pt x="667" y="640"/>
                  </a:lnTo>
                  <a:lnTo>
                    <a:pt x="669" y="643"/>
                  </a:lnTo>
                  <a:lnTo>
                    <a:pt x="672" y="645"/>
                  </a:lnTo>
                  <a:lnTo>
                    <a:pt x="674" y="647"/>
                  </a:lnTo>
                  <a:lnTo>
                    <a:pt x="676" y="648"/>
                  </a:lnTo>
                  <a:lnTo>
                    <a:pt x="679" y="648"/>
                  </a:lnTo>
                  <a:lnTo>
                    <a:pt x="682" y="648"/>
                  </a:lnTo>
                  <a:lnTo>
                    <a:pt x="684" y="648"/>
                  </a:lnTo>
                  <a:lnTo>
                    <a:pt x="688" y="647"/>
                  </a:lnTo>
                  <a:lnTo>
                    <a:pt x="690" y="645"/>
                  </a:lnTo>
                  <a:lnTo>
                    <a:pt x="692" y="644"/>
                  </a:lnTo>
                  <a:lnTo>
                    <a:pt x="703" y="630"/>
                  </a:lnTo>
                  <a:lnTo>
                    <a:pt x="713" y="616"/>
                  </a:lnTo>
                  <a:lnTo>
                    <a:pt x="723" y="602"/>
                  </a:lnTo>
                  <a:lnTo>
                    <a:pt x="731" y="587"/>
                  </a:lnTo>
                  <a:lnTo>
                    <a:pt x="739" y="572"/>
                  </a:lnTo>
                  <a:lnTo>
                    <a:pt x="746" y="557"/>
                  </a:lnTo>
                  <a:lnTo>
                    <a:pt x="754" y="541"/>
                  </a:lnTo>
                  <a:lnTo>
                    <a:pt x="759" y="525"/>
                  </a:lnTo>
                  <a:lnTo>
                    <a:pt x="765" y="509"/>
                  </a:lnTo>
                  <a:lnTo>
                    <a:pt x="770" y="493"/>
                  </a:lnTo>
                  <a:lnTo>
                    <a:pt x="774" y="477"/>
                  </a:lnTo>
                  <a:lnTo>
                    <a:pt x="777" y="460"/>
                  </a:lnTo>
                  <a:lnTo>
                    <a:pt x="780" y="443"/>
                  </a:lnTo>
                  <a:lnTo>
                    <a:pt x="782" y="425"/>
                  </a:lnTo>
                  <a:lnTo>
                    <a:pt x="783" y="408"/>
                  </a:lnTo>
                  <a:lnTo>
                    <a:pt x="783" y="391"/>
                  </a:lnTo>
                  <a:lnTo>
                    <a:pt x="783" y="372"/>
                  </a:lnTo>
                  <a:lnTo>
                    <a:pt x="781" y="352"/>
                  </a:lnTo>
                  <a:lnTo>
                    <a:pt x="779" y="332"/>
                  </a:lnTo>
                  <a:lnTo>
                    <a:pt x="775" y="313"/>
                  </a:lnTo>
                  <a:lnTo>
                    <a:pt x="771" y="294"/>
                  </a:lnTo>
                  <a:lnTo>
                    <a:pt x="766" y="276"/>
                  </a:lnTo>
                  <a:lnTo>
                    <a:pt x="759" y="257"/>
                  </a:lnTo>
                  <a:lnTo>
                    <a:pt x="752" y="239"/>
                  </a:lnTo>
                  <a:lnTo>
                    <a:pt x="744" y="222"/>
                  </a:lnTo>
                  <a:lnTo>
                    <a:pt x="736" y="205"/>
                  </a:lnTo>
                  <a:lnTo>
                    <a:pt x="726" y="189"/>
                  </a:lnTo>
                  <a:lnTo>
                    <a:pt x="716" y="173"/>
                  </a:lnTo>
                  <a:lnTo>
                    <a:pt x="705" y="158"/>
                  </a:lnTo>
                  <a:lnTo>
                    <a:pt x="694" y="143"/>
                  </a:lnTo>
                  <a:lnTo>
                    <a:pt x="681" y="129"/>
                  </a:lnTo>
                  <a:lnTo>
                    <a:pt x="668" y="115"/>
                  </a:lnTo>
                  <a:lnTo>
                    <a:pt x="654" y="102"/>
                  </a:lnTo>
                  <a:lnTo>
                    <a:pt x="641" y="90"/>
                  </a:lnTo>
                  <a:lnTo>
                    <a:pt x="626" y="78"/>
                  </a:lnTo>
                  <a:lnTo>
                    <a:pt x="611" y="67"/>
                  </a:lnTo>
                  <a:lnTo>
                    <a:pt x="595" y="56"/>
                  </a:lnTo>
                  <a:lnTo>
                    <a:pt x="577" y="48"/>
                  </a:lnTo>
                  <a:lnTo>
                    <a:pt x="561" y="38"/>
                  </a:lnTo>
                  <a:lnTo>
                    <a:pt x="543" y="31"/>
                  </a:lnTo>
                  <a:lnTo>
                    <a:pt x="526" y="24"/>
                  </a:lnTo>
                  <a:lnTo>
                    <a:pt x="508" y="18"/>
                  </a:lnTo>
                  <a:lnTo>
                    <a:pt x="489" y="13"/>
                  </a:lnTo>
                  <a:lnTo>
                    <a:pt x="470" y="8"/>
                  </a:lnTo>
                  <a:lnTo>
                    <a:pt x="451" y="4"/>
                  </a:lnTo>
                  <a:lnTo>
                    <a:pt x="431" y="2"/>
                  </a:lnTo>
                  <a:lnTo>
                    <a:pt x="412" y="1"/>
                  </a:lnTo>
                  <a:lnTo>
                    <a:pt x="3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0" name="Group 58">
            <a:extLst>
              <a:ext uri="{FF2B5EF4-FFF2-40B4-BE49-F238E27FC236}">
                <a16:creationId xmlns:a16="http://schemas.microsoft.com/office/drawing/2014/main" id="{906C54FC-47F8-4468-960B-A3A09B7245F5}"/>
              </a:ext>
            </a:extLst>
          </p:cNvPr>
          <p:cNvGrpSpPr>
            <a:grpSpLocks noChangeAspect="1"/>
          </p:cNvGrpSpPr>
          <p:nvPr/>
        </p:nvGrpSpPr>
        <p:grpSpPr>
          <a:xfrm>
            <a:off x="308504" y="2186361"/>
            <a:ext cx="234969" cy="306484"/>
            <a:chOff x="363538" y="1927225"/>
            <a:chExt cx="219075" cy="285750"/>
          </a:xfrm>
          <a:solidFill>
            <a:schemeClr val="bg1"/>
          </a:solidFill>
          <a:effectLst/>
        </p:grpSpPr>
        <p:sp>
          <p:nvSpPr>
            <p:cNvPr id="381" name="Freeform 66">
              <a:extLst>
                <a:ext uri="{FF2B5EF4-FFF2-40B4-BE49-F238E27FC236}">
                  <a16:creationId xmlns:a16="http://schemas.microsoft.com/office/drawing/2014/main" id="{409CD8FF-8D91-4D1E-A3D4-7CCD19869A06}"/>
                </a:ext>
              </a:extLst>
            </p:cNvPr>
            <p:cNvSpPr>
              <a:spLocks noEditPoints="1"/>
            </p:cNvSpPr>
            <p:nvPr/>
          </p:nvSpPr>
          <p:spPr bwMode="auto">
            <a:xfrm>
              <a:off x="363538" y="1927225"/>
              <a:ext cx="219075" cy="285750"/>
            </a:xfrm>
            <a:custGeom>
              <a:avLst/>
              <a:gdLst>
                <a:gd name="T0" fmla="*/ 248 w 689"/>
                <a:gd name="T1" fmla="*/ 778 h 898"/>
                <a:gd name="T2" fmla="*/ 154 w 689"/>
                <a:gd name="T3" fmla="*/ 669 h 898"/>
                <a:gd name="T4" fmla="*/ 103 w 689"/>
                <a:gd name="T5" fmla="*/ 592 h 898"/>
                <a:gd name="T6" fmla="*/ 62 w 689"/>
                <a:gd name="T7" fmla="*/ 508 h 898"/>
                <a:gd name="T8" fmla="*/ 36 w 689"/>
                <a:gd name="T9" fmla="*/ 416 h 898"/>
                <a:gd name="T10" fmla="*/ 30 w 689"/>
                <a:gd name="T11" fmla="*/ 328 h 898"/>
                <a:gd name="T12" fmla="*/ 39 w 689"/>
                <a:gd name="T13" fmla="*/ 266 h 898"/>
                <a:gd name="T14" fmla="*/ 61 w 689"/>
                <a:gd name="T15" fmla="*/ 209 h 898"/>
                <a:gd name="T16" fmla="*/ 93 w 689"/>
                <a:gd name="T17" fmla="*/ 157 h 898"/>
                <a:gd name="T18" fmla="*/ 133 w 689"/>
                <a:gd name="T19" fmla="*/ 112 h 898"/>
                <a:gd name="T20" fmla="*/ 183 w 689"/>
                <a:gd name="T21" fmla="*/ 76 h 898"/>
                <a:gd name="T22" fmla="*/ 237 w 689"/>
                <a:gd name="T23" fmla="*/ 49 h 898"/>
                <a:gd name="T24" fmla="*/ 297 w 689"/>
                <a:gd name="T25" fmla="*/ 33 h 898"/>
                <a:gd name="T26" fmla="*/ 360 w 689"/>
                <a:gd name="T27" fmla="*/ 30 h 898"/>
                <a:gd name="T28" fmla="*/ 421 w 689"/>
                <a:gd name="T29" fmla="*/ 39 h 898"/>
                <a:gd name="T30" fmla="*/ 479 w 689"/>
                <a:gd name="T31" fmla="*/ 61 h 898"/>
                <a:gd name="T32" fmla="*/ 530 w 689"/>
                <a:gd name="T33" fmla="*/ 93 h 898"/>
                <a:gd name="T34" fmla="*/ 575 w 689"/>
                <a:gd name="T35" fmla="*/ 133 h 898"/>
                <a:gd name="T36" fmla="*/ 613 w 689"/>
                <a:gd name="T37" fmla="*/ 183 h 898"/>
                <a:gd name="T38" fmla="*/ 639 w 689"/>
                <a:gd name="T39" fmla="*/ 237 h 898"/>
                <a:gd name="T40" fmla="*/ 654 w 689"/>
                <a:gd name="T41" fmla="*/ 297 h 898"/>
                <a:gd name="T42" fmla="*/ 658 w 689"/>
                <a:gd name="T43" fmla="*/ 369 h 898"/>
                <a:gd name="T44" fmla="*/ 642 w 689"/>
                <a:gd name="T45" fmla="*/ 463 h 898"/>
                <a:gd name="T46" fmla="*/ 606 w 689"/>
                <a:gd name="T47" fmla="*/ 552 h 898"/>
                <a:gd name="T48" fmla="*/ 560 w 689"/>
                <a:gd name="T49" fmla="*/ 632 h 898"/>
                <a:gd name="T50" fmla="*/ 494 w 689"/>
                <a:gd name="T51" fmla="*/ 719 h 898"/>
                <a:gd name="T52" fmla="*/ 372 w 689"/>
                <a:gd name="T53" fmla="*/ 840 h 898"/>
                <a:gd name="T54" fmla="*/ 327 w 689"/>
                <a:gd name="T55" fmla="*/ 0 h 898"/>
                <a:gd name="T56" fmla="*/ 259 w 689"/>
                <a:gd name="T57" fmla="*/ 10 h 898"/>
                <a:gd name="T58" fmla="*/ 196 w 689"/>
                <a:gd name="T59" fmla="*/ 34 h 898"/>
                <a:gd name="T60" fmla="*/ 140 w 689"/>
                <a:gd name="T61" fmla="*/ 69 h 898"/>
                <a:gd name="T62" fmla="*/ 91 w 689"/>
                <a:gd name="T63" fmla="*/ 114 h 898"/>
                <a:gd name="T64" fmla="*/ 50 w 689"/>
                <a:gd name="T65" fmla="*/ 166 h 898"/>
                <a:gd name="T66" fmla="*/ 21 w 689"/>
                <a:gd name="T67" fmla="*/ 226 h 898"/>
                <a:gd name="T68" fmla="*/ 4 w 689"/>
                <a:gd name="T69" fmla="*/ 292 h 898"/>
                <a:gd name="T70" fmla="*/ 0 w 689"/>
                <a:gd name="T71" fmla="*/ 368 h 898"/>
                <a:gd name="T72" fmla="*/ 17 w 689"/>
                <a:gd name="T73" fmla="*/ 464 h 898"/>
                <a:gd name="T74" fmla="*/ 53 w 689"/>
                <a:gd name="T75" fmla="*/ 563 h 898"/>
                <a:gd name="T76" fmla="*/ 111 w 689"/>
                <a:gd name="T77" fmla="*/ 662 h 898"/>
                <a:gd name="T78" fmla="*/ 199 w 689"/>
                <a:gd name="T79" fmla="*/ 770 h 898"/>
                <a:gd name="T80" fmla="*/ 302 w 689"/>
                <a:gd name="T81" fmla="*/ 869 h 898"/>
                <a:gd name="T82" fmla="*/ 340 w 689"/>
                <a:gd name="T83" fmla="*/ 897 h 898"/>
                <a:gd name="T84" fmla="*/ 358 w 689"/>
                <a:gd name="T85" fmla="*/ 892 h 898"/>
                <a:gd name="T86" fmla="*/ 432 w 689"/>
                <a:gd name="T87" fmla="*/ 829 h 898"/>
                <a:gd name="T88" fmla="*/ 540 w 689"/>
                <a:gd name="T89" fmla="*/ 711 h 898"/>
                <a:gd name="T90" fmla="*/ 608 w 689"/>
                <a:gd name="T91" fmla="*/ 613 h 898"/>
                <a:gd name="T92" fmla="*/ 656 w 689"/>
                <a:gd name="T93" fmla="*/ 513 h 898"/>
                <a:gd name="T94" fmla="*/ 682 w 689"/>
                <a:gd name="T95" fmla="*/ 416 h 898"/>
                <a:gd name="T96" fmla="*/ 688 w 689"/>
                <a:gd name="T97" fmla="*/ 327 h 898"/>
                <a:gd name="T98" fmla="*/ 678 w 689"/>
                <a:gd name="T99" fmla="*/ 258 h 898"/>
                <a:gd name="T100" fmla="*/ 654 w 689"/>
                <a:gd name="T101" fmla="*/ 196 h 898"/>
                <a:gd name="T102" fmla="*/ 619 w 689"/>
                <a:gd name="T103" fmla="*/ 139 h 898"/>
                <a:gd name="T104" fmla="*/ 574 w 689"/>
                <a:gd name="T105" fmla="*/ 91 h 898"/>
                <a:gd name="T106" fmla="*/ 521 w 689"/>
                <a:gd name="T107" fmla="*/ 50 h 898"/>
                <a:gd name="T108" fmla="*/ 461 w 689"/>
                <a:gd name="T109" fmla="*/ 21 h 898"/>
                <a:gd name="T110" fmla="*/ 395 w 689"/>
                <a:gd name="T111" fmla="*/ 4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9" h="898">
                  <a:moveTo>
                    <a:pt x="344" y="864"/>
                  </a:moveTo>
                  <a:lnTo>
                    <a:pt x="315" y="840"/>
                  </a:lnTo>
                  <a:lnTo>
                    <a:pt x="272" y="802"/>
                  </a:lnTo>
                  <a:lnTo>
                    <a:pt x="248" y="778"/>
                  </a:lnTo>
                  <a:lnTo>
                    <a:pt x="222" y="750"/>
                  </a:lnTo>
                  <a:lnTo>
                    <a:pt x="194" y="719"/>
                  </a:lnTo>
                  <a:lnTo>
                    <a:pt x="168" y="686"/>
                  </a:lnTo>
                  <a:lnTo>
                    <a:pt x="154" y="669"/>
                  </a:lnTo>
                  <a:lnTo>
                    <a:pt x="141" y="651"/>
                  </a:lnTo>
                  <a:lnTo>
                    <a:pt x="128" y="632"/>
                  </a:lnTo>
                  <a:lnTo>
                    <a:pt x="115" y="613"/>
                  </a:lnTo>
                  <a:lnTo>
                    <a:pt x="103" y="592"/>
                  </a:lnTo>
                  <a:lnTo>
                    <a:pt x="92" y="572"/>
                  </a:lnTo>
                  <a:lnTo>
                    <a:pt x="81" y="552"/>
                  </a:lnTo>
                  <a:lnTo>
                    <a:pt x="71" y="530"/>
                  </a:lnTo>
                  <a:lnTo>
                    <a:pt x="62" y="508"/>
                  </a:lnTo>
                  <a:lnTo>
                    <a:pt x="54" y="485"/>
                  </a:lnTo>
                  <a:lnTo>
                    <a:pt x="47" y="463"/>
                  </a:lnTo>
                  <a:lnTo>
                    <a:pt x="40" y="439"/>
                  </a:lnTo>
                  <a:lnTo>
                    <a:pt x="36" y="416"/>
                  </a:lnTo>
                  <a:lnTo>
                    <a:pt x="33" y="392"/>
                  </a:lnTo>
                  <a:lnTo>
                    <a:pt x="30" y="369"/>
                  </a:lnTo>
                  <a:lnTo>
                    <a:pt x="30" y="344"/>
                  </a:lnTo>
                  <a:lnTo>
                    <a:pt x="30" y="328"/>
                  </a:lnTo>
                  <a:lnTo>
                    <a:pt x="31" y="312"/>
                  </a:lnTo>
                  <a:lnTo>
                    <a:pt x="33" y="297"/>
                  </a:lnTo>
                  <a:lnTo>
                    <a:pt x="36" y="281"/>
                  </a:lnTo>
                  <a:lnTo>
                    <a:pt x="39" y="266"/>
                  </a:lnTo>
                  <a:lnTo>
                    <a:pt x="43" y="251"/>
                  </a:lnTo>
                  <a:lnTo>
                    <a:pt x="49" y="237"/>
                  </a:lnTo>
                  <a:lnTo>
                    <a:pt x="54" y="223"/>
                  </a:lnTo>
                  <a:lnTo>
                    <a:pt x="61" y="209"/>
                  </a:lnTo>
                  <a:lnTo>
                    <a:pt x="68" y="195"/>
                  </a:lnTo>
                  <a:lnTo>
                    <a:pt x="76" y="183"/>
                  </a:lnTo>
                  <a:lnTo>
                    <a:pt x="84" y="170"/>
                  </a:lnTo>
                  <a:lnTo>
                    <a:pt x="93" y="157"/>
                  </a:lnTo>
                  <a:lnTo>
                    <a:pt x="102" y="145"/>
                  </a:lnTo>
                  <a:lnTo>
                    <a:pt x="112" y="133"/>
                  </a:lnTo>
                  <a:lnTo>
                    <a:pt x="123" y="123"/>
                  </a:lnTo>
                  <a:lnTo>
                    <a:pt x="133" y="112"/>
                  </a:lnTo>
                  <a:lnTo>
                    <a:pt x="145" y="102"/>
                  </a:lnTo>
                  <a:lnTo>
                    <a:pt x="157" y="93"/>
                  </a:lnTo>
                  <a:lnTo>
                    <a:pt x="170" y="84"/>
                  </a:lnTo>
                  <a:lnTo>
                    <a:pt x="183" y="76"/>
                  </a:lnTo>
                  <a:lnTo>
                    <a:pt x="195" y="68"/>
                  </a:lnTo>
                  <a:lnTo>
                    <a:pt x="209" y="61"/>
                  </a:lnTo>
                  <a:lnTo>
                    <a:pt x="223" y="54"/>
                  </a:lnTo>
                  <a:lnTo>
                    <a:pt x="237" y="49"/>
                  </a:lnTo>
                  <a:lnTo>
                    <a:pt x="252" y="43"/>
                  </a:lnTo>
                  <a:lnTo>
                    <a:pt x="266" y="39"/>
                  </a:lnTo>
                  <a:lnTo>
                    <a:pt x="281" y="36"/>
                  </a:lnTo>
                  <a:lnTo>
                    <a:pt x="297" y="33"/>
                  </a:lnTo>
                  <a:lnTo>
                    <a:pt x="312" y="31"/>
                  </a:lnTo>
                  <a:lnTo>
                    <a:pt x="328" y="30"/>
                  </a:lnTo>
                  <a:lnTo>
                    <a:pt x="344" y="30"/>
                  </a:lnTo>
                  <a:lnTo>
                    <a:pt x="360" y="30"/>
                  </a:lnTo>
                  <a:lnTo>
                    <a:pt x="375" y="31"/>
                  </a:lnTo>
                  <a:lnTo>
                    <a:pt x="391" y="33"/>
                  </a:lnTo>
                  <a:lnTo>
                    <a:pt x="406" y="36"/>
                  </a:lnTo>
                  <a:lnTo>
                    <a:pt x="421" y="39"/>
                  </a:lnTo>
                  <a:lnTo>
                    <a:pt x="436" y="43"/>
                  </a:lnTo>
                  <a:lnTo>
                    <a:pt x="451" y="49"/>
                  </a:lnTo>
                  <a:lnTo>
                    <a:pt x="465" y="54"/>
                  </a:lnTo>
                  <a:lnTo>
                    <a:pt x="479" y="61"/>
                  </a:lnTo>
                  <a:lnTo>
                    <a:pt x="493" y="68"/>
                  </a:lnTo>
                  <a:lnTo>
                    <a:pt x="506" y="76"/>
                  </a:lnTo>
                  <a:lnTo>
                    <a:pt x="519" y="84"/>
                  </a:lnTo>
                  <a:lnTo>
                    <a:pt x="530" y="93"/>
                  </a:lnTo>
                  <a:lnTo>
                    <a:pt x="543" y="102"/>
                  </a:lnTo>
                  <a:lnTo>
                    <a:pt x="554" y="112"/>
                  </a:lnTo>
                  <a:lnTo>
                    <a:pt x="566" y="123"/>
                  </a:lnTo>
                  <a:lnTo>
                    <a:pt x="575" y="133"/>
                  </a:lnTo>
                  <a:lnTo>
                    <a:pt x="586" y="145"/>
                  </a:lnTo>
                  <a:lnTo>
                    <a:pt x="596" y="157"/>
                  </a:lnTo>
                  <a:lnTo>
                    <a:pt x="604" y="170"/>
                  </a:lnTo>
                  <a:lnTo>
                    <a:pt x="613" y="183"/>
                  </a:lnTo>
                  <a:lnTo>
                    <a:pt x="620" y="195"/>
                  </a:lnTo>
                  <a:lnTo>
                    <a:pt x="627" y="209"/>
                  </a:lnTo>
                  <a:lnTo>
                    <a:pt x="633" y="223"/>
                  </a:lnTo>
                  <a:lnTo>
                    <a:pt x="639" y="237"/>
                  </a:lnTo>
                  <a:lnTo>
                    <a:pt x="644" y="251"/>
                  </a:lnTo>
                  <a:lnTo>
                    <a:pt x="648" y="266"/>
                  </a:lnTo>
                  <a:lnTo>
                    <a:pt x="652" y="281"/>
                  </a:lnTo>
                  <a:lnTo>
                    <a:pt x="654" y="297"/>
                  </a:lnTo>
                  <a:lnTo>
                    <a:pt x="657" y="312"/>
                  </a:lnTo>
                  <a:lnTo>
                    <a:pt x="658" y="328"/>
                  </a:lnTo>
                  <a:lnTo>
                    <a:pt x="659" y="344"/>
                  </a:lnTo>
                  <a:lnTo>
                    <a:pt x="658" y="369"/>
                  </a:lnTo>
                  <a:lnTo>
                    <a:pt x="656" y="392"/>
                  </a:lnTo>
                  <a:lnTo>
                    <a:pt x="652" y="416"/>
                  </a:lnTo>
                  <a:lnTo>
                    <a:pt x="647" y="439"/>
                  </a:lnTo>
                  <a:lnTo>
                    <a:pt x="642" y="463"/>
                  </a:lnTo>
                  <a:lnTo>
                    <a:pt x="634" y="485"/>
                  </a:lnTo>
                  <a:lnTo>
                    <a:pt x="626" y="508"/>
                  </a:lnTo>
                  <a:lnTo>
                    <a:pt x="617" y="529"/>
                  </a:lnTo>
                  <a:lnTo>
                    <a:pt x="606" y="552"/>
                  </a:lnTo>
                  <a:lnTo>
                    <a:pt x="596" y="572"/>
                  </a:lnTo>
                  <a:lnTo>
                    <a:pt x="585" y="592"/>
                  </a:lnTo>
                  <a:lnTo>
                    <a:pt x="573" y="613"/>
                  </a:lnTo>
                  <a:lnTo>
                    <a:pt x="560" y="632"/>
                  </a:lnTo>
                  <a:lnTo>
                    <a:pt x="547" y="651"/>
                  </a:lnTo>
                  <a:lnTo>
                    <a:pt x="535" y="669"/>
                  </a:lnTo>
                  <a:lnTo>
                    <a:pt x="521" y="686"/>
                  </a:lnTo>
                  <a:lnTo>
                    <a:pt x="494" y="719"/>
                  </a:lnTo>
                  <a:lnTo>
                    <a:pt x="466" y="750"/>
                  </a:lnTo>
                  <a:lnTo>
                    <a:pt x="439" y="778"/>
                  </a:lnTo>
                  <a:lnTo>
                    <a:pt x="415" y="803"/>
                  </a:lnTo>
                  <a:lnTo>
                    <a:pt x="372" y="840"/>
                  </a:lnTo>
                  <a:lnTo>
                    <a:pt x="344" y="864"/>
                  </a:lnTo>
                  <a:lnTo>
                    <a:pt x="344" y="864"/>
                  </a:lnTo>
                  <a:close/>
                  <a:moveTo>
                    <a:pt x="344" y="0"/>
                  </a:moveTo>
                  <a:lnTo>
                    <a:pt x="327" y="0"/>
                  </a:lnTo>
                  <a:lnTo>
                    <a:pt x="309" y="1"/>
                  </a:lnTo>
                  <a:lnTo>
                    <a:pt x="293" y="4"/>
                  </a:lnTo>
                  <a:lnTo>
                    <a:pt x="276" y="6"/>
                  </a:lnTo>
                  <a:lnTo>
                    <a:pt x="259" y="10"/>
                  </a:lnTo>
                  <a:lnTo>
                    <a:pt x="242" y="15"/>
                  </a:lnTo>
                  <a:lnTo>
                    <a:pt x="226" y="21"/>
                  </a:lnTo>
                  <a:lnTo>
                    <a:pt x="211" y="26"/>
                  </a:lnTo>
                  <a:lnTo>
                    <a:pt x="196" y="34"/>
                  </a:lnTo>
                  <a:lnTo>
                    <a:pt x="181" y="41"/>
                  </a:lnTo>
                  <a:lnTo>
                    <a:pt x="167" y="50"/>
                  </a:lnTo>
                  <a:lnTo>
                    <a:pt x="153" y="60"/>
                  </a:lnTo>
                  <a:lnTo>
                    <a:pt x="140" y="69"/>
                  </a:lnTo>
                  <a:lnTo>
                    <a:pt x="126" y="79"/>
                  </a:lnTo>
                  <a:lnTo>
                    <a:pt x="114" y="91"/>
                  </a:lnTo>
                  <a:lnTo>
                    <a:pt x="101" y="101"/>
                  </a:lnTo>
                  <a:lnTo>
                    <a:pt x="91" y="114"/>
                  </a:lnTo>
                  <a:lnTo>
                    <a:pt x="79" y="126"/>
                  </a:lnTo>
                  <a:lnTo>
                    <a:pt x="69" y="140"/>
                  </a:lnTo>
                  <a:lnTo>
                    <a:pt x="60" y="153"/>
                  </a:lnTo>
                  <a:lnTo>
                    <a:pt x="50" y="166"/>
                  </a:lnTo>
                  <a:lnTo>
                    <a:pt x="41" y="181"/>
                  </a:lnTo>
                  <a:lnTo>
                    <a:pt x="34" y="196"/>
                  </a:lnTo>
                  <a:lnTo>
                    <a:pt x="27" y="211"/>
                  </a:lnTo>
                  <a:lnTo>
                    <a:pt x="21" y="226"/>
                  </a:lnTo>
                  <a:lnTo>
                    <a:pt x="16" y="242"/>
                  </a:lnTo>
                  <a:lnTo>
                    <a:pt x="10" y="258"/>
                  </a:lnTo>
                  <a:lnTo>
                    <a:pt x="6" y="276"/>
                  </a:lnTo>
                  <a:lnTo>
                    <a:pt x="4" y="292"/>
                  </a:lnTo>
                  <a:lnTo>
                    <a:pt x="1" y="309"/>
                  </a:lnTo>
                  <a:lnTo>
                    <a:pt x="0" y="327"/>
                  </a:lnTo>
                  <a:lnTo>
                    <a:pt x="0" y="344"/>
                  </a:lnTo>
                  <a:lnTo>
                    <a:pt x="0" y="368"/>
                  </a:lnTo>
                  <a:lnTo>
                    <a:pt x="2" y="391"/>
                  </a:lnTo>
                  <a:lnTo>
                    <a:pt x="5" y="416"/>
                  </a:lnTo>
                  <a:lnTo>
                    <a:pt x="10" y="440"/>
                  </a:lnTo>
                  <a:lnTo>
                    <a:pt x="17" y="464"/>
                  </a:lnTo>
                  <a:lnTo>
                    <a:pt x="23" y="488"/>
                  </a:lnTo>
                  <a:lnTo>
                    <a:pt x="33" y="513"/>
                  </a:lnTo>
                  <a:lnTo>
                    <a:pt x="42" y="538"/>
                  </a:lnTo>
                  <a:lnTo>
                    <a:pt x="53" y="563"/>
                  </a:lnTo>
                  <a:lnTo>
                    <a:pt x="66" y="588"/>
                  </a:lnTo>
                  <a:lnTo>
                    <a:pt x="80" y="613"/>
                  </a:lnTo>
                  <a:lnTo>
                    <a:pt x="95" y="637"/>
                  </a:lnTo>
                  <a:lnTo>
                    <a:pt x="111" y="662"/>
                  </a:lnTo>
                  <a:lnTo>
                    <a:pt x="129" y="686"/>
                  </a:lnTo>
                  <a:lnTo>
                    <a:pt x="147" y="711"/>
                  </a:lnTo>
                  <a:lnTo>
                    <a:pt x="168" y="736"/>
                  </a:lnTo>
                  <a:lnTo>
                    <a:pt x="199" y="770"/>
                  </a:lnTo>
                  <a:lnTo>
                    <a:pt x="229" y="801"/>
                  </a:lnTo>
                  <a:lnTo>
                    <a:pt x="256" y="829"/>
                  </a:lnTo>
                  <a:lnTo>
                    <a:pt x="281" y="851"/>
                  </a:lnTo>
                  <a:lnTo>
                    <a:pt x="302" y="869"/>
                  </a:lnTo>
                  <a:lnTo>
                    <a:pt x="320" y="883"/>
                  </a:lnTo>
                  <a:lnTo>
                    <a:pt x="330" y="892"/>
                  </a:lnTo>
                  <a:lnTo>
                    <a:pt x="336" y="895"/>
                  </a:lnTo>
                  <a:lnTo>
                    <a:pt x="340" y="897"/>
                  </a:lnTo>
                  <a:lnTo>
                    <a:pt x="344" y="898"/>
                  </a:lnTo>
                  <a:lnTo>
                    <a:pt x="348" y="897"/>
                  </a:lnTo>
                  <a:lnTo>
                    <a:pt x="353" y="895"/>
                  </a:lnTo>
                  <a:lnTo>
                    <a:pt x="358" y="892"/>
                  </a:lnTo>
                  <a:lnTo>
                    <a:pt x="369" y="883"/>
                  </a:lnTo>
                  <a:lnTo>
                    <a:pt x="386" y="869"/>
                  </a:lnTo>
                  <a:lnTo>
                    <a:pt x="407" y="851"/>
                  </a:lnTo>
                  <a:lnTo>
                    <a:pt x="432" y="829"/>
                  </a:lnTo>
                  <a:lnTo>
                    <a:pt x="460" y="801"/>
                  </a:lnTo>
                  <a:lnTo>
                    <a:pt x="490" y="770"/>
                  </a:lnTo>
                  <a:lnTo>
                    <a:pt x="520" y="736"/>
                  </a:lnTo>
                  <a:lnTo>
                    <a:pt x="540" y="711"/>
                  </a:lnTo>
                  <a:lnTo>
                    <a:pt x="559" y="686"/>
                  </a:lnTo>
                  <a:lnTo>
                    <a:pt x="576" y="662"/>
                  </a:lnTo>
                  <a:lnTo>
                    <a:pt x="592" y="637"/>
                  </a:lnTo>
                  <a:lnTo>
                    <a:pt x="608" y="613"/>
                  </a:lnTo>
                  <a:lnTo>
                    <a:pt x="621" y="588"/>
                  </a:lnTo>
                  <a:lnTo>
                    <a:pt x="634" y="562"/>
                  </a:lnTo>
                  <a:lnTo>
                    <a:pt x="646" y="538"/>
                  </a:lnTo>
                  <a:lnTo>
                    <a:pt x="656" y="513"/>
                  </a:lnTo>
                  <a:lnTo>
                    <a:pt x="664" y="488"/>
                  </a:lnTo>
                  <a:lnTo>
                    <a:pt x="672" y="464"/>
                  </a:lnTo>
                  <a:lnTo>
                    <a:pt x="678" y="440"/>
                  </a:lnTo>
                  <a:lnTo>
                    <a:pt x="682" y="416"/>
                  </a:lnTo>
                  <a:lnTo>
                    <a:pt x="685" y="391"/>
                  </a:lnTo>
                  <a:lnTo>
                    <a:pt x="688" y="368"/>
                  </a:lnTo>
                  <a:lnTo>
                    <a:pt x="689" y="344"/>
                  </a:lnTo>
                  <a:lnTo>
                    <a:pt x="688" y="327"/>
                  </a:lnTo>
                  <a:lnTo>
                    <a:pt x="687" y="309"/>
                  </a:lnTo>
                  <a:lnTo>
                    <a:pt x="684" y="292"/>
                  </a:lnTo>
                  <a:lnTo>
                    <a:pt x="681" y="276"/>
                  </a:lnTo>
                  <a:lnTo>
                    <a:pt x="678" y="258"/>
                  </a:lnTo>
                  <a:lnTo>
                    <a:pt x="673" y="242"/>
                  </a:lnTo>
                  <a:lnTo>
                    <a:pt x="667" y="226"/>
                  </a:lnTo>
                  <a:lnTo>
                    <a:pt x="661" y="211"/>
                  </a:lnTo>
                  <a:lnTo>
                    <a:pt x="654" y="196"/>
                  </a:lnTo>
                  <a:lnTo>
                    <a:pt x="646" y="181"/>
                  </a:lnTo>
                  <a:lnTo>
                    <a:pt x="637" y="166"/>
                  </a:lnTo>
                  <a:lnTo>
                    <a:pt x="629" y="153"/>
                  </a:lnTo>
                  <a:lnTo>
                    <a:pt x="619" y="139"/>
                  </a:lnTo>
                  <a:lnTo>
                    <a:pt x="608" y="126"/>
                  </a:lnTo>
                  <a:lnTo>
                    <a:pt x="598" y="114"/>
                  </a:lnTo>
                  <a:lnTo>
                    <a:pt x="586" y="101"/>
                  </a:lnTo>
                  <a:lnTo>
                    <a:pt x="574" y="91"/>
                  </a:lnTo>
                  <a:lnTo>
                    <a:pt x="561" y="79"/>
                  </a:lnTo>
                  <a:lnTo>
                    <a:pt x="549" y="69"/>
                  </a:lnTo>
                  <a:lnTo>
                    <a:pt x="535" y="60"/>
                  </a:lnTo>
                  <a:lnTo>
                    <a:pt x="521" y="50"/>
                  </a:lnTo>
                  <a:lnTo>
                    <a:pt x="507" y="41"/>
                  </a:lnTo>
                  <a:lnTo>
                    <a:pt x="492" y="34"/>
                  </a:lnTo>
                  <a:lnTo>
                    <a:pt x="477" y="27"/>
                  </a:lnTo>
                  <a:lnTo>
                    <a:pt x="461" y="21"/>
                  </a:lnTo>
                  <a:lnTo>
                    <a:pt x="445" y="15"/>
                  </a:lnTo>
                  <a:lnTo>
                    <a:pt x="429" y="10"/>
                  </a:lnTo>
                  <a:lnTo>
                    <a:pt x="413" y="6"/>
                  </a:lnTo>
                  <a:lnTo>
                    <a:pt x="395" y="4"/>
                  </a:lnTo>
                  <a:lnTo>
                    <a:pt x="378" y="1"/>
                  </a:lnTo>
                  <a:lnTo>
                    <a:pt x="361" y="0"/>
                  </a:lnTo>
                  <a:lnTo>
                    <a:pt x="3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67">
              <a:extLst>
                <a:ext uri="{FF2B5EF4-FFF2-40B4-BE49-F238E27FC236}">
                  <a16:creationId xmlns:a16="http://schemas.microsoft.com/office/drawing/2014/main" id="{C01D3987-1617-4B4D-9055-7F05F8419983}"/>
                </a:ext>
              </a:extLst>
            </p:cNvPr>
            <p:cNvSpPr>
              <a:spLocks noEditPoints="1"/>
            </p:cNvSpPr>
            <p:nvPr/>
          </p:nvSpPr>
          <p:spPr bwMode="auto">
            <a:xfrm>
              <a:off x="406400" y="1970088"/>
              <a:ext cx="133350" cy="133350"/>
            </a:xfrm>
            <a:custGeom>
              <a:avLst/>
              <a:gdLst>
                <a:gd name="T0" fmla="*/ 174 w 420"/>
                <a:gd name="T1" fmla="*/ 385 h 420"/>
                <a:gd name="T2" fmla="*/ 125 w 420"/>
                <a:gd name="T3" fmla="*/ 367 h 420"/>
                <a:gd name="T4" fmla="*/ 83 w 420"/>
                <a:gd name="T5" fmla="*/ 337 h 420"/>
                <a:gd name="T6" fmla="*/ 52 w 420"/>
                <a:gd name="T7" fmla="*/ 296 h 420"/>
                <a:gd name="T8" fmla="*/ 34 w 420"/>
                <a:gd name="T9" fmla="*/ 246 h 420"/>
                <a:gd name="T10" fmla="*/ 31 w 420"/>
                <a:gd name="T11" fmla="*/ 192 h 420"/>
                <a:gd name="T12" fmla="*/ 44 w 420"/>
                <a:gd name="T13" fmla="*/ 139 h 420"/>
                <a:gd name="T14" fmla="*/ 71 w 420"/>
                <a:gd name="T15" fmla="*/ 96 h 420"/>
                <a:gd name="T16" fmla="*/ 110 w 420"/>
                <a:gd name="T17" fmla="*/ 60 h 420"/>
                <a:gd name="T18" fmla="*/ 157 w 420"/>
                <a:gd name="T19" fmla="*/ 38 h 420"/>
                <a:gd name="T20" fmla="*/ 210 w 420"/>
                <a:gd name="T21" fmla="*/ 30 h 420"/>
                <a:gd name="T22" fmla="*/ 264 w 420"/>
                <a:gd name="T23" fmla="*/ 38 h 420"/>
                <a:gd name="T24" fmla="*/ 311 w 420"/>
                <a:gd name="T25" fmla="*/ 60 h 420"/>
                <a:gd name="T26" fmla="*/ 348 w 420"/>
                <a:gd name="T27" fmla="*/ 96 h 420"/>
                <a:gd name="T28" fmla="*/ 376 w 420"/>
                <a:gd name="T29" fmla="*/ 139 h 420"/>
                <a:gd name="T30" fmla="*/ 389 w 420"/>
                <a:gd name="T31" fmla="*/ 192 h 420"/>
                <a:gd name="T32" fmla="*/ 386 w 420"/>
                <a:gd name="T33" fmla="*/ 246 h 420"/>
                <a:gd name="T34" fmla="*/ 368 w 420"/>
                <a:gd name="T35" fmla="*/ 296 h 420"/>
                <a:gd name="T36" fmla="*/ 337 w 420"/>
                <a:gd name="T37" fmla="*/ 336 h 420"/>
                <a:gd name="T38" fmla="*/ 296 w 420"/>
                <a:gd name="T39" fmla="*/ 367 h 420"/>
                <a:gd name="T40" fmla="*/ 247 w 420"/>
                <a:gd name="T41" fmla="*/ 385 h 420"/>
                <a:gd name="T42" fmla="*/ 210 w 420"/>
                <a:gd name="T43" fmla="*/ 0 h 420"/>
                <a:gd name="T44" fmla="*/ 178 w 420"/>
                <a:gd name="T45" fmla="*/ 3 h 420"/>
                <a:gd name="T46" fmla="*/ 129 w 420"/>
                <a:gd name="T47" fmla="*/ 16 h 420"/>
                <a:gd name="T48" fmla="*/ 76 w 420"/>
                <a:gd name="T49" fmla="*/ 49 h 420"/>
                <a:gd name="T50" fmla="*/ 36 w 420"/>
                <a:gd name="T51" fmla="*/ 92 h 420"/>
                <a:gd name="T52" fmla="*/ 10 w 420"/>
                <a:gd name="T53" fmla="*/ 148 h 420"/>
                <a:gd name="T54" fmla="*/ 1 w 420"/>
                <a:gd name="T55" fmla="*/ 189 h 420"/>
                <a:gd name="T56" fmla="*/ 0 w 420"/>
                <a:gd name="T57" fmla="*/ 221 h 420"/>
                <a:gd name="T58" fmla="*/ 5 w 420"/>
                <a:gd name="T59" fmla="*/ 252 h 420"/>
                <a:gd name="T60" fmla="*/ 25 w 420"/>
                <a:gd name="T61" fmla="*/ 310 h 420"/>
                <a:gd name="T62" fmla="*/ 61 w 420"/>
                <a:gd name="T63" fmla="*/ 358 h 420"/>
                <a:gd name="T64" fmla="*/ 110 w 420"/>
                <a:gd name="T65" fmla="*/ 394 h 420"/>
                <a:gd name="T66" fmla="*/ 167 w 420"/>
                <a:gd name="T67" fmla="*/ 415 h 420"/>
                <a:gd name="T68" fmla="*/ 199 w 420"/>
                <a:gd name="T69" fmla="*/ 420 h 420"/>
                <a:gd name="T70" fmla="*/ 232 w 420"/>
                <a:gd name="T71" fmla="*/ 419 h 420"/>
                <a:gd name="T72" fmla="*/ 272 w 420"/>
                <a:gd name="T73" fmla="*/ 410 h 420"/>
                <a:gd name="T74" fmla="*/ 327 w 420"/>
                <a:gd name="T75" fmla="*/ 383 h 420"/>
                <a:gd name="T76" fmla="*/ 372 w 420"/>
                <a:gd name="T77" fmla="*/ 343 h 420"/>
                <a:gd name="T78" fmla="*/ 403 w 420"/>
                <a:gd name="T79" fmla="*/ 291 h 420"/>
                <a:gd name="T80" fmla="*/ 418 w 420"/>
                <a:gd name="T81" fmla="*/ 242 h 420"/>
                <a:gd name="T82" fmla="*/ 420 w 420"/>
                <a:gd name="T83" fmla="*/ 210 h 420"/>
                <a:gd name="T84" fmla="*/ 418 w 420"/>
                <a:gd name="T85" fmla="*/ 178 h 420"/>
                <a:gd name="T86" fmla="*/ 403 w 420"/>
                <a:gd name="T87" fmla="*/ 129 h 420"/>
                <a:gd name="T88" fmla="*/ 372 w 420"/>
                <a:gd name="T89" fmla="*/ 76 h 420"/>
                <a:gd name="T90" fmla="*/ 327 w 420"/>
                <a:gd name="T91" fmla="*/ 36 h 420"/>
                <a:gd name="T92" fmla="*/ 272 w 420"/>
                <a:gd name="T93" fmla="*/ 10 h 420"/>
                <a:gd name="T94" fmla="*/ 232 w 420"/>
                <a:gd name="T95" fmla="*/ 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0">
                  <a:moveTo>
                    <a:pt x="210" y="390"/>
                  </a:moveTo>
                  <a:lnTo>
                    <a:pt x="192" y="389"/>
                  </a:lnTo>
                  <a:lnTo>
                    <a:pt x="174" y="385"/>
                  </a:lnTo>
                  <a:lnTo>
                    <a:pt x="157" y="381"/>
                  </a:lnTo>
                  <a:lnTo>
                    <a:pt x="140" y="376"/>
                  </a:lnTo>
                  <a:lnTo>
                    <a:pt x="125" y="367"/>
                  </a:lnTo>
                  <a:lnTo>
                    <a:pt x="110" y="359"/>
                  </a:lnTo>
                  <a:lnTo>
                    <a:pt x="96" y="348"/>
                  </a:lnTo>
                  <a:lnTo>
                    <a:pt x="83" y="337"/>
                  </a:lnTo>
                  <a:lnTo>
                    <a:pt x="71" y="324"/>
                  </a:lnTo>
                  <a:lnTo>
                    <a:pt x="61" y="311"/>
                  </a:lnTo>
                  <a:lnTo>
                    <a:pt x="52" y="296"/>
                  </a:lnTo>
                  <a:lnTo>
                    <a:pt x="44" y="280"/>
                  </a:lnTo>
                  <a:lnTo>
                    <a:pt x="38" y="264"/>
                  </a:lnTo>
                  <a:lnTo>
                    <a:pt x="34" y="246"/>
                  </a:lnTo>
                  <a:lnTo>
                    <a:pt x="31" y="228"/>
                  </a:lnTo>
                  <a:lnTo>
                    <a:pt x="30" y="210"/>
                  </a:lnTo>
                  <a:lnTo>
                    <a:pt x="31" y="192"/>
                  </a:lnTo>
                  <a:lnTo>
                    <a:pt x="34" y="174"/>
                  </a:lnTo>
                  <a:lnTo>
                    <a:pt x="38" y="157"/>
                  </a:lnTo>
                  <a:lnTo>
                    <a:pt x="44" y="139"/>
                  </a:lnTo>
                  <a:lnTo>
                    <a:pt x="52" y="124"/>
                  </a:lnTo>
                  <a:lnTo>
                    <a:pt x="61" y="110"/>
                  </a:lnTo>
                  <a:lnTo>
                    <a:pt x="71" y="96"/>
                  </a:lnTo>
                  <a:lnTo>
                    <a:pt x="83" y="83"/>
                  </a:lnTo>
                  <a:lnTo>
                    <a:pt x="96" y="71"/>
                  </a:lnTo>
                  <a:lnTo>
                    <a:pt x="110" y="60"/>
                  </a:lnTo>
                  <a:lnTo>
                    <a:pt x="125" y="52"/>
                  </a:lnTo>
                  <a:lnTo>
                    <a:pt x="140" y="44"/>
                  </a:lnTo>
                  <a:lnTo>
                    <a:pt x="157" y="38"/>
                  </a:lnTo>
                  <a:lnTo>
                    <a:pt x="174" y="34"/>
                  </a:lnTo>
                  <a:lnTo>
                    <a:pt x="192" y="31"/>
                  </a:lnTo>
                  <a:lnTo>
                    <a:pt x="210" y="30"/>
                  </a:lnTo>
                  <a:lnTo>
                    <a:pt x="228" y="31"/>
                  </a:lnTo>
                  <a:lnTo>
                    <a:pt x="247" y="34"/>
                  </a:lnTo>
                  <a:lnTo>
                    <a:pt x="264" y="38"/>
                  </a:lnTo>
                  <a:lnTo>
                    <a:pt x="280" y="44"/>
                  </a:lnTo>
                  <a:lnTo>
                    <a:pt x="296" y="52"/>
                  </a:lnTo>
                  <a:lnTo>
                    <a:pt x="311" y="60"/>
                  </a:lnTo>
                  <a:lnTo>
                    <a:pt x="325" y="71"/>
                  </a:lnTo>
                  <a:lnTo>
                    <a:pt x="337" y="83"/>
                  </a:lnTo>
                  <a:lnTo>
                    <a:pt x="348" y="96"/>
                  </a:lnTo>
                  <a:lnTo>
                    <a:pt x="359" y="110"/>
                  </a:lnTo>
                  <a:lnTo>
                    <a:pt x="368" y="124"/>
                  </a:lnTo>
                  <a:lnTo>
                    <a:pt x="376" y="139"/>
                  </a:lnTo>
                  <a:lnTo>
                    <a:pt x="381" y="157"/>
                  </a:lnTo>
                  <a:lnTo>
                    <a:pt x="386" y="174"/>
                  </a:lnTo>
                  <a:lnTo>
                    <a:pt x="389" y="192"/>
                  </a:lnTo>
                  <a:lnTo>
                    <a:pt x="390" y="210"/>
                  </a:lnTo>
                  <a:lnTo>
                    <a:pt x="389" y="228"/>
                  </a:lnTo>
                  <a:lnTo>
                    <a:pt x="386" y="246"/>
                  </a:lnTo>
                  <a:lnTo>
                    <a:pt x="381" y="264"/>
                  </a:lnTo>
                  <a:lnTo>
                    <a:pt x="376" y="280"/>
                  </a:lnTo>
                  <a:lnTo>
                    <a:pt x="368" y="296"/>
                  </a:lnTo>
                  <a:lnTo>
                    <a:pt x="359" y="311"/>
                  </a:lnTo>
                  <a:lnTo>
                    <a:pt x="348" y="324"/>
                  </a:lnTo>
                  <a:lnTo>
                    <a:pt x="337" y="336"/>
                  </a:lnTo>
                  <a:lnTo>
                    <a:pt x="325" y="348"/>
                  </a:lnTo>
                  <a:lnTo>
                    <a:pt x="311" y="359"/>
                  </a:lnTo>
                  <a:lnTo>
                    <a:pt x="296" y="367"/>
                  </a:lnTo>
                  <a:lnTo>
                    <a:pt x="280" y="376"/>
                  </a:lnTo>
                  <a:lnTo>
                    <a:pt x="264" y="381"/>
                  </a:lnTo>
                  <a:lnTo>
                    <a:pt x="247" y="385"/>
                  </a:lnTo>
                  <a:lnTo>
                    <a:pt x="228" y="389"/>
                  </a:lnTo>
                  <a:lnTo>
                    <a:pt x="210" y="390"/>
                  </a:lnTo>
                  <a:close/>
                  <a:moveTo>
                    <a:pt x="210" y="0"/>
                  </a:moveTo>
                  <a:lnTo>
                    <a:pt x="199" y="0"/>
                  </a:lnTo>
                  <a:lnTo>
                    <a:pt x="189" y="1"/>
                  </a:lnTo>
                  <a:lnTo>
                    <a:pt x="178" y="3"/>
                  </a:lnTo>
                  <a:lnTo>
                    <a:pt x="167" y="5"/>
                  </a:lnTo>
                  <a:lnTo>
                    <a:pt x="148" y="10"/>
                  </a:lnTo>
                  <a:lnTo>
                    <a:pt x="129" y="16"/>
                  </a:lnTo>
                  <a:lnTo>
                    <a:pt x="110" y="25"/>
                  </a:lnTo>
                  <a:lnTo>
                    <a:pt x="92" y="36"/>
                  </a:lnTo>
                  <a:lnTo>
                    <a:pt x="76" y="49"/>
                  </a:lnTo>
                  <a:lnTo>
                    <a:pt x="61" y="61"/>
                  </a:lnTo>
                  <a:lnTo>
                    <a:pt x="49" y="76"/>
                  </a:lnTo>
                  <a:lnTo>
                    <a:pt x="36" y="92"/>
                  </a:lnTo>
                  <a:lnTo>
                    <a:pt x="25" y="110"/>
                  </a:lnTo>
                  <a:lnTo>
                    <a:pt x="16" y="129"/>
                  </a:lnTo>
                  <a:lnTo>
                    <a:pt x="10" y="148"/>
                  </a:lnTo>
                  <a:lnTo>
                    <a:pt x="5" y="167"/>
                  </a:lnTo>
                  <a:lnTo>
                    <a:pt x="3" y="178"/>
                  </a:lnTo>
                  <a:lnTo>
                    <a:pt x="1" y="189"/>
                  </a:lnTo>
                  <a:lnTo>
                    <a:pt x="0" y="199"/>
                  </a:lnTo>
                  <a:lnTo>
                    <a:pt x="0" y="210"/>
                  </a:lnTo>
                  <a:lnTo>
                    <a:pt x="0" y="221"/>
                  </a:lnTo>
                  <a:lnTo>
                    <a:pt x="1" y="231"/>
                  </a:lnTo>
                  <a:lnTo>
                    <a:pt x="3" y="242"/>
                  </a:lnTo>
                  <a:lnTo>
                    <a:pt x="5" y="252"/>
                  </a:lnTo>
                  <a:lnTo>
                    <a:pt x="10" y="272"/>
                  </a:lnTo>
                  <a:lnTo>
                    <a:pt x="16" y="291"/>
                  </a:lnTo>
                  <a:lnTo>
                    <a:pt x="25" y="310"/>
                  </a:lnTo>
                  <a:lnTo>
                    <a:pt x="36" y="327"/>
                  </a:lnTo>
                  <a:lnTo>
                    <a:pt x="49" y="343"/>
                  </a:lnTo>
                  <a:lnTo>
                    <a:pt x="61" y="358"/>
                  </a:lnTo>
                  <a:lnTo>
                    <a:pt x="76" y="372"/>
                  </a:lnTo>
                  <a:lnTo>
                    <a:pt x="92" y="383"/>
                  </a:lnTo>
                  <a:lnTo>
                    <a:pt x="110" y="394"/>
                  </a:lnTo>
                  <a:lnTo>
                    <a:pt x="129" y="403"/>
                  </a:lnTo>
                  <a:lnTo>
                    <a:pt x="148" y="410"/>
                  </a:lnTo>
                  <a:lnTo>
                    <a:pt x="167" y="415"/>
                  </a:lnTo>
                  <a:lnTo>
                    <a:pt x="178" y="418"/>
                  </a:lnTo>
                  <a:lnTo>
                    <a:pt x="189" y="419"/>
                  </a:lnTo>
                  <a:lnTo>
                    <a:pt x="199" y="420"/>
                  </a:lnTo>
                  <a:lnTo>
                    <a:pt x="210" y="420"/>
                  </a:lnTo>
                  <a:lnTo>
                    <a:pt x="221" y="420"/>
                  </a:lnTo>
                  <a:lnTo>
                    <a:pt x="232" y="419"/>
                  </a:lnTo>
                  <a:lnTo>
                    <a:pt x="242" y="418"/>
                  </a:lnTo>
                  <a:lnTo>
                    <a:pt x="252" y="415"/>
                  </a:lnTo>
                  <a:lnTo>
                    <a:pt x="272" y="410"/>
                  </a:lnTo>
                  <a:lnTo>
                    <a:pt x="291" y="403"/>
                  </a:lnTo>
                  <a:lnTo>
                    <a:pt x="310" y="394"/>
                  </a:lnTo>
                  <a:lnTo>
                    <a:pt x="327" y="383"/>
                  </a:lnTo>
                  <a:lnTo>
                    <a:pt x="343" y="372"/>
                  </a:lnTo>
                  <a:lnTo>
                    <a:pt x="358" y="358"/>
                  </a:lnTo>
                  <a:lnTo>
                    <a:pt x="372" y="343"/>
                  </a:lnTo>
                  <a:lnTo>
                    <a:pt x="383" y="327"/>
                  </a:lnTo>
                  <a:lnTo>
                    <a:pt x="394" y="310"/>
                  </a:lnTo>
                  <a:lnTo>
                    <a:pt x="403" y="291"/>
                  </a:lnTo>
                  <a:lnTo>
                    <a:pt x="410" y="272"/>
                  </a:lnTo>
                  <a:lnTo>
                    <a:pt x="416" y="252"/>
                  </a:lnTo>
                  <a:lnTo>
                    <a:pt x="418" y="242"/>
                  </a:lnTo>
                  <a:lnTo>
                    <a:pt x="419" y="231"/>
                  </a:lnTo>
                  <a:lnTo>
                    <a:pt x="420" y="221"/>
                  </a:lnTo>
                  <a:lnTo>
                    <a:pt x="420" y="210"/>
                  </a:lnTo>
                  <a:lnTo>
                    <a:pt x="420" y="199"/>
                  </a:lnTo>
                  <a:lnTo>
                    <a:pt x="419" y="189"/>
                  </a:lnTo>
                  <a:lnTo>
                    <a:pt x="418" y="178"/>
                  </a:lnTo>
                  <a:lnTo>
                    <a:pt x="416" y="167"/>
                  </a:lnTo>
                  <a:lnTo>
                    <a:pt x="410" y="148"/>
                  </a:lnTo>
                  <a:lnTo>
                    <a:pt x="403" y="129"/>
                  </a:lnTo>
                  <a:lnTo>
                    <a:pt x="394" y="110"/>
                  </a:lnTo>
                  <a:lnTo>
                    <a:pt x="383" y="92"/>
                  </a:lnTo>
                  <a:lnTo>
                    <a:pt x="372" y="76"/>
                  </a:lnTo>
                  <a:lnTo>
                    <a:pt x="358" y="61"/>
                  </a:lnTo>
                  <a:lnTo>
                    <a:pt x="343" y="49"/>
                  </a:lnTo>
                  <a:lnTo>
                    <a:pt x="327" y="36"/>
                  </a:lnTo>
                  <a:lnTo>
                    <a:pt x="310" y="25"/>
                  </a:lnTo>
                  <a:lnTo>
                    <a:pt x="291" y="16"/>
                  </a:lnTo>
                  <a:lnTo>
                    <a:pt x="272" y="10"/>
                  </a:lnTo>
                  <a:lnTo>
                    <a:pt x="252" y="5"/>
                  </a:lnTo>
                  <a:lnTo>
                    <a:pt x="242" y="3"/>
                  </a:lnTo>
                  <a:lnTo>
                    <a:pt x="232" y="1"/>
                  </a:lnTo>
                  <a:lnTo>
                    <a:pt x="221" y="0"/>
                  </a:lnTo>
                  <a:lnTo>
                    <a:pt x="2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0" name="Freeform 260">
            <a:extLst>
              <a:ext uri="{FF2B5EF4-FFF2-40B4-BE49-F238E27FC236}">
                <a16:creationId xmlns:a16="http://schemas.microsoft.com/office/drawing/2014/main" id="{9DB68BAE-79C7-45AF-B55D-882470A604AC}"/>
              </a:ext>
            </a:extLst>
          </p:cNvPr>
          <p:cNvSpPr>
            <a:spLocks noChangeAspect="1" noEditPoints="1"/>
          </p:cNvSpPr>
          <p:nvPr/>
        </p:nvSpPr>
        <p:spPr bwMode="auto">
          <a:xfrm>
            <a:off x="288134" y="1677519"/>
            <a:ext cx="275708" cy="247097"/>
          </a:xfrm>
          <a:custGeom>
            <a:avLst/>
            <a:gdLst>
              <a:gd name="T0" fmla="*/ 35 w 846"/>
              <a:gd name="T1" fmla="*/ 722 h 758"/>
              <a:gd name="T2" fmla="*/ 35 w 846"/>
              <a:gd name="T3" fmla="*/ 440 h 758"/>
              <a:gd name="T4" fmla="*/ 300 w 846"/>
              <a:gd name="T5" fmla="*/ 440 h 758"/>
              <a:gd name="T6" fmla="*/ 300 w 846"/>
              <a:gd name="T7" fmla="*/ 510 h 758"/>
              <a:gd name="T8" fmla="*/ 546 w 846"/>
              <a:gd name="T9" fmla="*/ 510 h 758"/>
              <a:gd name="T10" fmla="*/ 546 w 846"/>
              <a:gd name="T11" fmla="*/ 440 h 758"/>
              <a:gd name="T12" fmla="*/ 811 w 846"/>
              <a:gd name="T13" fmla="*/ 440 h 758"/>
              <a:gd name="T14" fmla="*/ 811 w 846"/>
              <a:gd name="T15" fmla="*/ 722 h 758"/>
              <a:gd name="T16" fmla="*/ 35 w 846"/>
              <a:gd name="T17" fmla="*/ 722 h 758"/>
              <a:gd name="T18" fmla="*/ 512 w 846"/>
              <a:gd name="T19" fmla="*/ 370 h 758"/>
              <a:gd name="T20" fmla="*/ 512 w 846"/>
              <a:gd name="T21" fmla="*/ 476 h 758"/>
              <a:gd name="T22" fmla="*/ 334 w 846"/>
              <a:gd name="T23" fmla="*/ 476 h 758"/>
              <a:gd name="T24" fmla="*/ 334 w 846"/>
              <a:gd name="T25" fmla="*/ 370 h 758"/>
              <a:gd name="T26" fmla="*/ 512 w 846"/>
              <a:gd name="T27" fmla="*/ 370 h 758"/>
              <a:gd name="T28" fmla="*/ 300 w 846"/>
              <a:gd name="T29" fmla="*/ 123 h 758"/>
              <a:gd name="T30" fmla="*/ 546 w 846"/>
              <a:gd name="T31" fmla="*/ 123 h 758"/>
              <a:gd name="T32" fmla="*/ 811 w 846"/>
              <a:gd name="T33" fmla="*/ 123 h 758"/>
              <a:gd name="T34" fmla="*/ 811 w 846"/>
              <a:gd name="T35" fmla="*/ 405 h 758"/>
              <a:gd name="T36" fmla="*/ 546 w 846"/>
              <a:gd name="T37" fmla="*/ 405 h 758"/>
              <a:gd name="T38" fmla="*/ 546 w 846"/>
              <a:gd name="T39" fmla="*/ 334 h 758"/>
              <a:gd name="T40" fmla="*/ 300 w 846"/>
              <a:gd name="T41" fmla="*/ 334 h 758"/>
              <a:gd name="T42" fmla="*/ 300 w 846"/>
              <a:gd name="T43" fmla="*/ 405 h 758"/>
              <a:gd name="T44" fmla="*/ 35 w 846"/>
              <a:gd name="T45" fmla="*/ 405 h 758"/>
              <a:gd name="T46" fmla="*/ 35 w 846"/>
              <a:gd name="T47" fmla="*/ 123 h 758"/>
              <a:gd name="T48" fmla="*/ 300 w 846"/>
              <a:gd name="T49" fmla="*/ 123 h 758"/>
              <a:gd name="T50" fmla="*/ 334 w 846"/>
              <a:gd name="T51" fmla="*/ 34 h 758"/>
              <a:gd name="T52" fmla="*/ 512 w 846"/>
              <a:gd name="T53" fmla="*/ 34 h 758"/>
              <a:gd name="T54" fmla="*/ 512 w 846"/>
              <a:gd name="T55" fmla="*/ 87 h 758"/>
              <a:gd name="T56" fmla="*/ 334 w 846"/>
              <a:gd name="T57" fmla="*/ 87 h 758"/>
              <a:gd name="T58" fmla="*/ 334 w 846"/>
              <a:gd name="T59" fmla="*/ 34 h 758"/>
              <a:gd name="T60" fmla="*/ 546 w 846"/>
              <a:gd name="T61" fmla="*/ 87 h 758"/>
              <a:gd name="T62" fmla="*/ 546 w 846"/>
              <a:gd name="T63" fmla="*/ 0 h 758"/>
              <a:gd name="T64" fmla="*/ 300 w 846"/>
              <a:gd name="T65" fmla="*/ 0 h 758"/>
              <a:gd name="T66" fmla="*/ 300 w 846"/>
              <a:gd name="T67" fmla="*/ 87 h 758"/>
              <a:gd name="T68" fmla="*/ 0 w 846"/>
              <a:gd name="T69" fmla="*/ 87 h 758"/>
              <a:gd name="T70" fmla="*/ 0 w 846"/>
              <a:gd name="T71" fmla="*/ 758 h 758"/>
              <a:gd name="T72" fmla="*/ 846 w 846"/>
              <a:gd name="T73" fmla="*/ 758 h 758"/>
              <a:gd name="T74" fmla="*/ 846 w 846"/>
              <a:gd name="T75" fmla="*/ 87 h 758"/>
              <a:gd name="T76" fmla="*/ 546 w 846"/>
              <a:gd name="T77" fmla="*/ 87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6" h="758">
                <a:moveTo>
                  <a:pt x="35" y="722"/>
                </a:moveTo>
                <a:lnTo>
                  <a:pt x="35" y="440"/>
                </a:lnTo>
                <a:lnTo>
                  <a:pt x="300" y="440"/>
                </a:lnTo>
                <a:lnTo>
                  <a:pt x="300" y="510"/>
                </a:lnTo>
                <a:lnTo>
                  <a:pt x="546" y="510"/>
                </a:lnTo>
                <a:lnTo>
                  <a:pt x="546" y="440"/>
                </a:lnTo>
                <a:lnTo>
                  <a:pt x="811" y="440"/>
                </a:lnTo>
                <a:lnTo>
                  <a:pt x="811" y="722"/>
                </a:lnTo>
                <a:lnTo>
                  <a:pt x="35" y="722"/>
                </a:lnTo>
                <a:close/>
                <a:moveTo>
                  <a:pt x="512" y="370"/>
                </a:moveTo>
                <a:lnTo>
                  <a:pt x="512" y="476"/>
                </a:lnTo>
                <a:lnTo>
                  <a:pt x="334" y="476"/>
                </a:lnTo>
                <a:lnTo>
                  <a:pt x="334" y="370"/>
                </a:lnTo>
                <a:lnTo>
                  <a:pt x="512" y="370"/>
                </a:lnTo>
                <a:close/>
                <a:moveTo>
                  <a:pt x="300" y="123"/>
                </a:moveTo>
                <a:lnTo>
                  <a:pt x="546" y="123"/>
                </a:lnTo>
                <a:lnTo>
                  <a:pt x="811" y="123"/>
                </a:lnTo>
                <a:lnTo>
                  <a:pt x="811" y="405"/>
                </a:lnTo>
                <a:lnTo>
                  <a:pt x="546" y="405"/>
                </a:lnTo>
                <a:lnTo>
                  <a:pt x="546" y="334"/>
                </a:lnTo>
                <a:lnTo>
                  <a:pt x="300" y="334"/>
                </a:lnTo>
                <a:lnTo>
                  <a:pt x="300" y="405"/>
                </a:lnTo>
                <a:lnTo>
                  <a:pt x="35" y="405"/>
                </a:lnTo>
                <a:lnTo>
                  <a:pt x="35" y="123"/>
                </a:lnTo>
                <a:lnTo>
                  <a:pt x="300" y="123"/>
                </a:lnTo>
                <a:close/>
                <a:moveTo>
                  <a:pt x="334" y="34"/>
                </a:moveTo>
                <a:lnTo>
                  <a:pt x="512" y="34"/>
                </a:lnTo>
                <a:lnTo>
                  <a:pt x="512" y="87"/>
                </a:lnTo>
                <a:lnTo>
                  <a:pt x="334" y="87"/>
                </a:lnTo>
                <a:lnTo>
                  <a:pt x="334" y="34"/>
                </a:lnTo>
                <a:close/>
                <a:moveTo>
                  <a:pt x="546" y="87"/>
                </a:moveTo>
                <a:lnTo>
                  <a:pt x="546" y="0"/>
                </a:lnTo>
                <a:lnTo>
                  <a:pt x="300" y="0"/>
                </a:lnTo>
                <a:lnTo>
                  <a:pt x="300" y="87"/>
                </a:lnTo>
                <a:lnTo>
                  <a:pt x="0" y="87"/>
                </a:lnTo>
                <a:lnTo>
                  <a:pt x="0" y="758"/>
                </a:lnTo>
                <a:lnTo>
                  <a:pt x="846" y="758"/>
                </a:lnTo>
                <a:lnTo>
                  <a:pt x="846" y="87"/>
                </a:lnTo>
                <a:lnTo>
                  <a:pt x="546" y="8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304" name="Group 34">
            <a:extLst>
              <a:ext uri="{FF2B5EF4-FFF2-40B4-BE49-F238E27FC236}">
                <a16:creationId xmlns:a16="http://schemas.microsoft.com/office/drawing/2014/main" id="{D05D6793-09E9-41A2-B3FC-E2CA91E87F31}"/>
              </a:ext>
            </a:extLst>
          </p:cNvPr>
          <p:cNvGrpSpPr>
            <a:grpSpLocks noChangeAspect="1"/>
          </p:cNvGrpSpPr>
          <p:nvPr/>
        </p:nvGrpSpPr>
        <p:grpSpPr>
          <a:xfrm>
            <a:off x="710143" y="4346209"/>
            <a:ext cx="207912" cy="305545"/>
            <a:chOff x="7188200" y="1789113"/>
            <a:chExt cx="469901" cy="690563"/>
          </a:xfrm>
          <a:solidFill>
            <a:schemeClr val="bg1"/>
          </a:solidFill>
          <a:effectLst/>
        </p:grpSpPr>
        <p:sp>
          <p:nvSpPr>
            <p:cNvPr id="305" name="Freeform 121">
              <a:extLst>
                <a:ext uri="{FF2B5EF4-FFF2-40B4-BE49-F238E27FC236}">
                  <a16:creationId xmlns:a16="http://schemas.microsoft.com/office/drawing/2014/main" id="{0272D2D5-0BE0-43FE-A36C-09EA17F114D2}"/>
                </a:ext>
              </a:extLst>
            </p:cNvPr>
            <p:cNvSpPr>
              <a:spLocks/>
            </p:cNvSpPr>
            <p:nvPr/>
          </p:nvSpPr>
          <p:spPr bwMode="auto">
            <a:xfrm>
              <a:off x="7243763" y="1925638"/>
              <a:ext cx="220663" cy="28575"/>
            </a:xfrm>
            <a:custGeom>
              <a:avLst/>
              <a:gdLst>
                <a:gd name="T0" fmla="*/ 391 w 417"/>
                <a:gd name="T1" fmla="*/ 54 h 54"/>
                <a:gd name="T2" fmla="*/ 26 w 417"/>
                <a:gd name="T3" fmla="*/ 54 h 54"/>
                <a:gd name="T4" fmla="*/ 21 w 417"/>
                <a:gd name="T5" fmla="*/ 52 h 54"/>
                <a:gd name="T6" fmla="*/ 15 w 417"/>
                <a:gd name="T7" fmla="*/ 51 h 54"/>
                <a:gd name="T8" fmla="*/ 11 w 417"/>
                <a:gd name="T9" fmla="*/ 49 h 54"/>
                <a:gd name="T10" fmla="*/ 7 w 417"/>
                <a:gd name="T11" fmla="*/ 45 h 54"/>
                <a:gd name="T12" fmla="*/ 4 w 417"/>
                <a:gd name="T13" fmla="*/ 42 h 54"/>
                <a:gd name="T14" fmla="*/ 3 w 417"/>
                <a:gd name="T15" fmla="*/ 38 h 54"/>
                <a:gd name="T16" fmla="*/ 1 w 417"/>
                <a:gd name="T17" fmla="*/ 32 h 54"/>
                <a:gd name="T18" fmla="*/ 0 w 417"/>
                <a:gd name="T19" fmla="*/ 28 h 54"/>
                <a:gd name="T20" fmla="*/ 1 w 417"/>
                <a:gd name="T21" fmla="*/ 22 h 54"/>
                <a:gd name="T22" fmla="*/ 3 w 417"/>
                <a:gd name="T23" fmla="*/ 18 h 54"/>
                <a:gd name="T24" fmla="*/ 4 w 417"/>
                <a:gd name="T25" fmla="*/ 12 h 54"/>
                <a:gd name="T26" fmla="*/ 7 w 417"/>
                <a:gd name="T27" fmla="*/ 9 h 54"/>
                <a:gd name="T28" fmla="*/ 11 w 417"/>
                <a:gd name="T29" fmla="*/ 6 h 54"/>
                <a:gd name="T30" fmla="*/ 15 w 417"/>
                <a:gd name="T31" fmla="*/ 3 h 54"/>
                <a:gd name="T32" fmla="*/ 21 w 417"/>
                <a:gd name="T33" fmla="*/ 2 h 54"/>
                <a:gd name="T34" fmla="*/ 26 w 417"/>
                <a:gd name="T35" fmla="*/ 0 h 54"/>
                <a:gd name="T36" fmla="*/ 391 w 417"/>
                <a:gd name="T37" fmla="*/ 0 h 54"/>
                <a:gd name="T38" fmla="*/ 397 w 417"/>
                <a:gd name="T39" fmla="*/ 2 h 54"/>
                <a:gd name="T40" fmla="*/ 401 w 417"/>
                <a:gd name="T41" fmla="*/ 3 h 54"/>
                <a:gd name="T42" fmla="*/ 406 w 417"/>
                <a:gd name="T43" fmla="*/ 6 h 54"/>
                <a:gd name="T44" fmla="*/ 410 w 417"/>
                <a:gd name="T45" fmla="*/ 9 h 54"/>
                <a:gd name="T46" fmla="*/ 413 w 417"/>
                <a:gd name="T47" fmla="*/ 12 h 54"/>
                <a:gd name="T48" fmla="*/ 416 w 417"/>
                <a:gd name="T49" fmla="*/ 18 h 54"/>
                <a:gd name="T50" fmla="*/ 417 w 417"/>
                <a:gd name="T51" fmla="*/ 22 h 54"/>
                <a:gd name="T52" fmla="*/ 417 w 417"/>
                <a:gd name="T53" fmla="*/ 28 h 54"/>
                <a:gd name="T54" fmla="*/ 417 w 417"/>
                <a:gd name="T55" fmla="*/ 32 h 54"/>
                <a:gd name="T56" fmla="*/ 416 w 417"/>
                <a:gd name="T57" fmla="*/ 38 h 54"/>
                <a:gd name="T58" fmla="*/ 413 w 417"/>
                <a:gd name="T59" fmla="*/ 42 h 54"/>
                <a:gd name="T60" fmla="*/ 410 w 417"/>
                <a:gd name="T61" fmla="*/ 45 h 54"/>
                <a:gd name="T62" fmla="*/ 406 w 417"/>
                <a:gd name="T63" fmla="*/ 49 h 54"/>
                <a:gd name="T64" fmla="*/ 401 w 417"/>
                <a:gd name="T65" fmla="*/ 51 h 54"/>
                <a:gd name="T66" fmla="*/ 397 w 417"/>
                <a:gd name="T67" fmla="*/ 52 h 54"/>
                <a:gd name="T68" fmla="*/ 391 w 417"/>
                <a:gd name="T6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4">
                  <a:moveTo>
                    <a:pt x="391" y="54"/>
                  </a:moveTo>
                  <a:lnTo>
                    <a:pt x="26" y="54"/>
                  </a:lnTo>
                  <a:lnTo>
                    <a:pt x="21" y="52"/>
                  </a:lnTo>
                  <a:lnTo>
                    <a:pt x="15" y="51"/>
                  </a:lnTo>
                  <a:lnTo>
                    <a:pt x="11" y="49"/>
                  </a:lnTo>
                  <a:lnTo>
                    <a:pt x="7" y="45"/>
                  </a:lnTo>
                  <a:lnTo>
                    <a:pt x="4" y="42"/>
                  </a:lnTo>
                  <a:lnTo>
                    <a:pt x="3" y="38"/>
                  </a:lnTo>
                  <a:lnTo>
                    <a:pt x="1" y="32"/>
                  </a:lnTo>
                  <a:lnTo>
                    <a:pt x="0" y="28"/>
                  </a:lnTo>
                  <a:lnTo>
                    <a:pt x="1" y="22"/>
                  </a:lnTo>
                  <a:lnTo>
                    <a:pt x="3" y="18"/>
                  </a:lnTo>
                  <a:lnTo>
                    <a:pt x="4" y="12"/>
                  </a:lnTo>
                  <a:lnTo>
                    <a:pt x="7" y="9"/>
                  </a:lnTo>
                  <a:lnTo>
                    <a:pt x="11" y="6"/>
                  </a:lnTo>
                  <a:lnTo>
                    <a:pt x="15" y="3"/>
                  </a:lnTo>
                  <a:lnTo>
                    <a:pt x="21" y="2"/>
                  </a:lnTo>
                  <a:lnTo>
                    <a:pt x="26" y="0"/>
                  </a:lnTo>
                  <a:lnTo>
                    <a:pt x="391" y="0"/>
                  </a:lnTo>
                  <a:lnTo>
                    <a:pt x="397" y="2"/>
                  </a:lnTo>
                  <a:lnTo>
                    <a:pt x="401" y="3"/>
                  </a:lnTo>
                  <a:lnTo>
                    <a:pt x="406" y="6"/>
                  </a:lnTo>
                  <a:lnTo>
                    <a:pt x="410" y="9"/>
                  </a:lnTo>
                  <a:lnTo>
                    <a:pt x="413" y="12"/>
                  </a:lnTo>
                  <a:lnTo>
                    <a:pt x="416" y="18"/>
                  </a:lnTo>
                  <a:lnTo>
                    <a:pt x="417" y="22"/>
                  </a:lnTo>
                  <a:lnTo>
                    <a:pt x="417" y="28"/>
                  </a:lnTo>
                  <a:lnTo>
                    <a:pt x="417" y="32"/>
                  </a:lnTo>
                  <a:lnTo>
                    <a:pt x="416" y="38"/>
                  </a:lnTo>
                  <a:lnTo>
                    <a:pt x="413" y="42"/>
                  </a:lnTo>
                  <a:lnTo>
                    <a:pt x="410" y="45"/>
                  </a:lnTo>
                  <a:lnTo>
                    <a:pt x="406" y="49"/>
                  </a:lnTo>
                  <a:lnTo>
                    <a:pt x="401" y="51"/>
                  </a:lnTo>
                  <a:lnTo>
                    <a:pt x="397" y="52"/>
                  </a:lnTo>
                  <a:lnTo>
                    <a:pt x="391"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6" name="Freeform 122">
              <a:extLst>
                <a:ext uri="{FF2B5EF4-FFF2-40B4-BE49-F238E27FC236}">
                  <a16:creationId xmlns:a16="http://schemas.microsoft.com/office/drawing/2014/main" id="{B2749EEF-2485-4712-AB49-CF959F74A833}"/>
                </a:ext>
              </a:extLst>
            </p:cNvPr>
            <p:cNvSpPr>
              <a:spLocks/>
            </p:cNvSpPr>
            <p:nvPr/>
          </p:nvSpPr>
          <p:spPr bwMode="auto">
            <a:xfrm>
              <a:off x="7243763" y="2038351"/>
              <a:ext cx="220663" cy="26988"/>
            </a:xfrm>
            <a:custGeom>
              <a:avLst/>
              <a:gdLst>
                <a:gd name="T0" fmla="*/ 391 w 417"/>
                <a:gd name="T1" fmla="*/ 51 h 51"/>
                <a:gd name="T2" fmla="*/ 26 w 417"/>
                <a:gd name="T3" fmla="*/ 51 h 51"/>
                <a:gd name="T4" fmla="*/ 21 w 417"/>
                <a:gd name="T5" fmla="*/ 50 h 51"/>
                <a:gd name="T6" fmla="*/ 15 w 417"/>
                <a:gd name="T7" fmla="*/ 49 h 51"/>
                <a:gd name="T8" fmla="*/ 11 w 417"/>
                <a:gd name="T9" fmla="*/ 47 h 51"/>
                <a:gd name="T10" fmla="*/ 7 w 417"/>
                <a:gd name="T11" fmla="*/ 44 h 51"/>
                <a:gd name="T12" fmla="*/ 4 w 417"/>
                <a:gd name="T13" fmla="*/ 40 h 51"/>
                <a:gd name="T14" fmla="*/ 3 w 417"/>
                <a:gd name="T15" fmla="*/ 36 h 51"/>
                <a:gd name="T16" fmla="*/ 1 w 417"/>
                <a:gd name="T17" fmla="*/ 30 h 51"/>
                <a:gd name="T18" fmla="*/ 0 w 417"/>
                <a:gd name="T19" fmla="*/ 26 h 51"/>
                <a:gd name="T20" fmla="*/ 1 w 417"/>
                <a:gd name="T21" fmla="*/ 20 h 51"/>
                <a:gd name="T22" fmla="*/ 3 w 417"/>
                <a:gd name="T23" fmla="*/ 15 h 51"/>
                <a:gd name="T24" fmla="*/ 4 w 417"/>
                <a:gd name="T25" fmla="*/ 11 h 51"/>
                <a:gd name="T26" fmla="*/ 7 w 417"/>
                <a:gd name="T27" fmla="*/ 7 h 51"/>
                <a:gd name="T28" fmla="*/ 11 w 417"/>
                <a:gd name="T29" fmla="*/ 4 h 51"/>
                <a:gd name="T30" fmla="*/ 15 w 417"/>
                <a:gd name="T31" fmla="*/ 1 h 51"/>
                <a:gd name="T32" fmla="*/ 21 w 417"/>
                <a:gd name="T33" fmla="*/ 0 h 51"/>
                <a:gd name="T34" fmla="*/ 26 w 417"/>
                <a:gd name="T35" fmla="*/ 0 h 51"/>
                <a:gd name="T36" fmla="*/ 391 w 417"/>
                <a:gd name="T37" fmla="*/ 0 h 51"/>
                <a:gd name="T38" fmla="*/ 397 w 417"/>
                <a:gd name="T39" fmla="*/ 0 h 51"/>
                <a:gd name="T40" fmla="*/ 401 w 417"/>
                <a:gd name="T41" fmla="*/ 1 h 51"/>
                <a:gd name="T42" fmla="*/ 406 w 417"/>
                <a:gd name="T43" fmla="*/ 4 h 51"/>
                <a:gd name="T44" fmla="*/ 410 w 417"/>
                <a:gd name="T45" fmla="*/ 7 h 51"/>
                <a:gd name="T46" fmla="*/ 413 w 417"/>
                <a:gd name="T47" fmla="*/ 11 h 51"/>
                <a:gd name="T48" fmla="*/ 416 w 417"/>
                <a:gd name="T49" fmla="*/ 15 h 51"/>
                <a:gd name="T50" fmla="*/ 417 w 417"/>
                <a:gd name="T51" fmla="*/ 20 h 51"/>
                <a:gd name="T52" fmla="*/ 417 w 417"/>
                <a:gd name="T53" fmla="*/ 26 h 51"/>
                <a:gd name="T54" fmla="*/ 417 w 417"/>
                <a:gd name="T55" fmla="*/ 30 h 51"/>
                <a:gd name="T56" fmla="*/ 416 w 417"/>
                <a:gd name="T57" fmla="*/ 36 h 51"/>
                <a:gd name="T58" fmla="*/ 413 w 417"/>
                <a:gd name="T59" fmla="*/ 40 h 51"/>
                <a:gd name="T60" fmla="*/ 410 w 417"/>
                <a:gd name="T61" fmla="*/ 44 h 51"/>
                <a:gd name="T62" fmla="*/ 406 w 417"/>
                <a:gd name="T63" fmla="*/ 47 h 51"/>
                <a:gd name="T64" fmla="*/ 401 w 417"/>
                <a:gd name="T65" fmla="*/ 49 h 51"/>
                <a:gd name="T66" fmla="*/ 397 w 417"/>
                <a:gd name="T67" fmla="*/ 50 h 51"/>
                <a:gd name="T68" fmla="*/ 391 w 417"/>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1">
                  <a:moveTo>
                    <a:pt x="391" y="51"/>
                  </a:moveTo>
                  <a:lnTo>
                    <a:pt x="26" y="51"/>
                  </a:lnTo>
                  <a:lnTo>
                    <a:pt x="21" y="50"/>
                  </a:lnTo>
                  <a:lnTo>
                    <a:pt x="15" y="49"/>
                  </a:lnTo>
                  <a:lnTo>
                    <a:pt x="11" y="47"/>
                  </a:lnTo>
                  <a:lnTo>
                    <a:pt x="7" y="44"/>
                  </a:lnTo>
                  <a:lnTo>
                    <a:pt x="4" y="40"/>
                  </a:lnTo>
                  <a:lnTo>
                    <a:pt x="3" y="36"/>
                  </a:lnTo>
                  <a:lnTo>
                    <a:pt x="1" y="30"/>
                  </a:lnTo>
                  <a:lnTo>
                    <a:pt x="0" y="26"/>
                  </a:lnTo>
                  <a:lnTo>
                    <a:pt x="1" y="20"/>
                  </a:lnTo>
                  <a:lnTo>
                    <a:pt x="3" y="15"/>
                  </a:lnTo>
                  <a:lnTo>
                    <a:pt x="4" y="11"/>
                  </a:lnTo>
                  <a:lnTo>
                    <a:pt x="7" y="7"/>
                  </a:lnTo>
                  <a:lnTo>
                    <a:pt x="11" y="4"/>
                  </a:lnTo>
                  <a:lnTo>
                    <a:pt x="15" y="1"/>
                  </a:lnTo>
                  <a:lnTo>
                    <a:pt x="21" y="0"/>
                  </a:lnTo>
                  <a:lnTo>
                    <a:pt x="26" y="0"/>
                  </a:lnTo>
                  <a:lnTo>
                    <a:pt x="391" y="0"/>
                  </a:lnTo>
                  <a:lnTo>
                    <a:pt x="397" y="0"/>
                  </a:lnTo>
                  <a:lnTo>
                    <a:pt x="401" y="1"/>
                  </a:lnTo>
                  <a:lnTo>
                    <a:pt x="406" y="4"/>
                  </a:lnTo>
                  <a:lnTo>
                    <a:pt x="410" y="7"/>
                  </a:lnTo>
                  <a:lnTo>
                    <a:pt x="413" y="11"/>
                  </a:lnTo>
                  <a:lnTo>
                    <a:pt x="416" y="15"/>
                  </a:lnTo>
                  <a:lnTo>
                    <a:pt x="417" y="20"/>
                  </a:lnTo>
                  <a:lnTo>
                    <a:pt x="417" y="26"/>
                  </a:lnTo>
                  <a:lnTo>
                    <a:pt x="417" y="30"/>
                  </a:lnTo>
                  <a:lnTo>
                    <a:pt x="416" y="36"/>
                  </a:lnTo>
                  <a:lnTo>
                    <a:pt x="413" y="40"/>
                  </a:lnTo>
                  <a:lnTo>
                    <a:pt x="410" y="44"/>
                  </a:lnTo>
                  <a:lnTo>
                    <a:pt x="406" y="47"/>
                  </a:lnTo>
                  <a:lnTo>
                    <a:pt x="401" y="49"/>
                  </a:lnTo>
                  <a:lnTo>
                    <a:pt x="397" y="50"/>
                  </a:lnTo>
                  <a:lnTo>
                    <a:pt x="39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7" name="Freeform 123">
              <a:extLst>
                <a:ext uri="{FF2B5EF4-FFF2-40B4-BE49-F238E27FC236}">
                  <a16:creationId xmlns:a16="http://schemas.microsoft.com/office/drawing/2014/main" id="{6E944527-D030-4725-A586-AD39BECE96A3}"/>
                </a:ext>
              </a:extLst>
            </p:cNvPr>
            <p:cNvSpPr>
              <a:spLocks/>
            </p:cNvSpPr>
            <p:nvPr/>
          </p:nvSpPr>
          <p:spPr bwMode="auto">
            <a:xfrm>
              <a:off x="7243763" y="2147888"/>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1 h 52"/>
                <a:gd name="T18" fmla="*/ 0 w 417"/>
                <a:gd name="T19" fmla="*/ 26 h 52"/>
                <a:gd name="T20" fmla="*/ 1 w 417"/>
                <a:gd name="T21" fmla="*/ 21 h 52"/>
                <a:gd name="T22" fmla="*/ 3 w 417"/>
                <a:gd name="T23" fmla="*/ 16 h 52"/>
                <a:gd name="T24" fmla="*/ 4 w 417"/>
                <a:gd name="T25" fmla="*/ 12 h 52"/>
                <a:gd name="T26" fmla="*/ 7 w 417"/>
                <a:gd name="T27" fmla="*/ 8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8 h 52"/>
                <a:gd name="T46" fmla="*/ 413 w 417"/>
                <a:gd name="T47" fmla="*/ 12 h 52"/>
                <a:gd name="T48" fmla="*/ 416 w 417"/>
                <a:gd name="T49" fmla="*/ 16 h 52"/>
                <a:gd name="T50" fmla="*/ 417 w 417"/>
                <a:gd name="T51" fmla="*/ 21 h 52"/>
                <a:gd name="T52" fmla="*/ 417 w 417"/>
                <a:gd name="T53" fmla="*/ 26 h 52"/>
                <a:gd name="T54" fmla="*/ 417 w 417"/>
                <a:gd name="T55" fmla="*/ 31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1"/>
                  </a:lnTo>
                  <a:lnTo>
                    <a:pt x="0" y="26"/>
                  </a:lnTo>
                  <a:lnTo>
                    <a:pt x="1" y="21"/>
                  </a:lnTo>
                  <a:lnTo>
                    <a:pt x="3" y="16"/>
                  </a:lnTo>
                  <a:lnTo>
                    <a:pt x="4" y="12"/>
                  </a:lnTo>
                  <a:lnTo>
                    <a:pt x="7" y="8"/>
                  </a:lnTo>
                  <a:lnTo>
                    <a:pt x="11" y="5"/>
                  </a:lnTo>
                  <a:lnTo>
                    <a:pt x="15" y="2"/>
                  </a:lnTo>
                  <a:lnTo>
                    <a:pt x="21" y="0"/>
                  </a:lnTo>
                  <a:lnTo>
                    <a:pt x="26" y="0"/>
                  </a:lnTo>
                  <a:lnTo>
                    <a:pt x="391" y="0"/>
                  </a:lnTo>
                  <a:lnTo>
                    <a:pt x="397" y="0"/>
                  </a:lnTo>
                  <a:lnTo>
                    <a:pt x="401" y="2"/>
                  </a:lnTo>
                  <a:lnTo>
                    <a:pt x="406" y="5"/>
                  </a:lnTo>
                  <a:lnTo>
                    <a:pt x="410" y="8"/>
                  </a:lnTo>
                  <a:lnTo>
                    <a:pt x="413" y="12"/>
                  </a:lnTo>
                  <a:lnTo>
                    <a:pt x="416" y="16"/>
                  </a:lnTo>
                  <a:lnTo>
                    <a:pt x="417" y="21"/>
                  </a:lnTo>
                  <a:lnTo>
                    <a:pt x="417" y="26"/>
                  </a:lnTo>
                  <a:lnTo>
                    <a:pt x="417" y="31"/>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8" name="Freeform 124">
              <a:extLst>
                <a:ext uri="{FF2B5EF4-FFF2-40B4-BE49-F238E27FC236}">
                  <a16:creationId xmlns:a16="http://schemas.microsoft.com/office/drawing/2014/main" id="{E5B64303-7B93-40E2-9C08-98E2F1258B68}"/>
                </a:ext>
              </a:extLst>
            </p:cNvPr>
            <p:cNvSpPr>
              <a:spLocks/>
            </p:cNvSpPr>
            <p:nvPr/>
          </p:nvSpPr>
          <p:spPr bwMode="auto">
            <a:xfrm>
              <a:off x="7243763" y="2259013"/>
              <a:ext cx="220663" cy="26988"/>
            </a:xfrm>
            <a:custGeom>
              <a:avLst/>
              <a:gdLst>
                <a:gd name="T0" fmla="*/ 391 w 417"/>
                <a:gd name="T1" fmla="*/ 52 h 52"/>
                <a:gd name="T2" fmla="*/ 26 w 417"/>
                <a:gd name="T3" fmla="*/ 52 h 52"/>
                <a:gd name="T4" fmla="*/ 21 w 417"/>
                <a:gd name="T5" fmla="*/ 52 h 52"/>
                <a:gd name="T6" fmla="*/ 15 w 417"/>
                <a:gd name="T7" fmla="*/ 51 h 52"/>
                <a:gd name="T8" fmla="*/ 11 w 417"/>
                <a:gd name="T9" fmla="*/ 48 h 52"/>
                <a:gd name="T10" fmla="*/ 7 w 417"/>
                <a:gd name="T11" fmla="*/ 45 h 52"/>
                <a:gd name="T12" fmla="*/ 4 w 417"/>
                <a:gd name="T13" fmla="*/ 41 h 52"/>
                <a:gd name="T14" fmla="*/ 3 w 417"/>
                <a:gd name="T15" fmla="*/ 36 h 52"/>
                <a:gd name="T16" fmla="*/ 1 w 417"/>
                <a:gd name="T17" fmla="*/ 32 h 52"/>
                <a:gd name="T18" fmla="*/ 0 w 417"/>
                <a:gd name="T19" fmla="*/ 26 h 52"/>
                <a:gd name="T20" fmla="*/ 1 w 417"/>
                <a:gd name="T21" fmla="*/ 20 h 52"/>
                <a:gd name="T22" fmla="*/ 3 w 417"/>
                <a:gd name="T23" fmla="*/ 16 h 52"/>
                <a:gd name="T24" fmla="*/ 4 w 417"/>
                <a:gd name="T25" fmla="*/ 12 h 52"/>
                <a:gd name="T26" fmla="*/ 7 w 417"/>
                <a:gd name="T27" fmla="*/ 7 h 52"/>
                <a:gd name="T28" fmla="*/ 11 w 417"/>
                <a:gd name="T29" fmla="*/ 5 h 52"/>
                <a:gd name="T30" fmla="*/ 15 w 417"/>
                <a:gd name="T31" fmla="*/ 2 h 52"/>
                <a:gd name="T32" fmla="*/ 21 w 417"/>
                <a:gd name="T33" fmla="*/ 0 h 52"/>
                <a:gd name="T34" fmla="*/ 26 w 417"/>
                <a:gd name="T35" fmla="*/ 0 h 52"/>
                <a:gd name="T36" fmla="*/ 391 w 417"/>
                <a:gd name="T37" fmla="*/ 0 h 52"/>
                <a:gd name="T38" fmla="*/ 397 w 417"/>
                <a:gd name="T39" fmla="*/ 0 h 52"/>
                <a:gd name="T40" fmla="*/ 401 w 417"/>
                <a:gd name="T41" fmla="*/ 2 h 52"/>
                <a:gd name="T42" fmla="*/ 406 w 417"/>
                <a:gd name="T43" fmla="*/ 5 h 52"/>
                <a:gd name="T44" fmla="*/ 410 w 417"/>
                <a:gd name="T45" fmla="*/ 7 h 52"/>
                <a:gd name="T46" fmla="*/ 413 w 417"/>
                <a:gd name="T47" fmla="*/ 12 h 52"/>
                <a:gd name="T48" fmla="*/ 416 w 417"/>
                <a:gd name="T49" fmla="*/ 16 h 52"/>
                <a:gd name="T50" fmla="*/ 417 w 417"/>
                <a:gd name="T51" fmla="*/ 20 h 52"/>
                <a:gd name="T52" fmla="*/ 417 w 417"/>
                <a:gd name="T53" fmla="*/ 26 h 52"/>
                <a:gd name="T54" fmla="*/ 417 w 417"/>
                <a:gd name="T55" fmla="*/ 32 h 52"/>
                <a:gd name="T56" fmla="*/ 416 w 417"/>
                <a:gd name="T57" fmla="*/ 36 h 52"/>
                <a:gd name="T58" fmla="*/ 413 w 417"/>
                <a:gd name="T59" fmla="*/ 41 h 52"/>
                <a:gd name="T60" fmla="*/ 410 w 417"/>
                <a:gd name="T61" fmla="*/ 45 h 52"/>
                <a:gd name="T62" fmla="*/ 406 w 417"/>
                <a:gd name="T63" fmla="*/ 48 h 52"/>
                <a:gd name="T64" fmla="*/ 401 w 417"/>
                <a:gd name="T65" fmla="*/ 51 h 52"/>
                <a:gd name="T66" fmla="*/ 397 w 417"/>
                <a:gd name="T67" fmla="*/ 52 h 52"/>
                <a:gd name="T68" fmla="*/ 391 w 417"/>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7" h="52">
                  <a:moveTo>
                    <a:pt x="391" y="52"/>
                  </a:moveTo>
                  <a:lnTo>
                    <a:pt x="26" y="52"/>
                  </a:lnTo>
                  <a:lnTo>
                    <a:pt x="21" y="52"/>
                  </a:lnTo>
                  <a:lnTo>
                    <a:pt x="15" y="51"/>
                  </a:lnTo>
                  <a:lnTo>
                    <a:pt x="11" y="48"/>
                  </a:lnTo>
                  <a:lnTo>
                    <a:pt x="7" y="45"/>
                  </a:lnTo>
                  <a:lnTo>
                    <a:pt x="4" y="41"/>
                  </a:lnTo>
                  <a:lnTo>
                    <a:pt x="3" y="36"/>
                  </a:lnTo>
                  <a:lnTo>
                    <a:pt x="1" y="32"/>
                  </a:lnTo>
                  <a:lnTo>
                    <a:pt x="0" y="26"/>
                  </a:lnTo>
                  <a:lnTo>
                    <a:pt x="1" y="20"/>
                  </a:lnTo>
                  <a:lnTo>
                    <a:pt x="3" y="16"/>
                  </a:lnTo>
                  <a:lnTo>
                    <a:pt x="4" y="12"/>
                  </a:lnTo>
                  <a:lnTo>
                    <a:pt x="7" y="7"/>
                  </a:lnTo>
                  <a:lnTo>
                    <a:pt x="11" y="5"/>
                  </a:lnTo>
                  <a:lnTo>
                    <a:pt x="15" y="2"/>
                  </a:lnTo>
                  <a:lnTo>
                    <a:pt x="21" y="0"/>
                  </a:lnTo>
                  <a:lnTo>
                    <a:pt x="26" y="0"/>
                  </a:lnTo>
                  <a:lnTo>
                    <a:pt x="391" y="0"/>
                  </a:lnTo>
                  <a:lnTo>
                    <a:pt x="397" y="0"/>
                  </a:lnTo>
                  <a:lnTo>
                    <a:pt x="401" y="2"/>
                  </a:lnTo>
                  <a:lnTo>
                    <a:pt x="406" y="5"/>
                  </a:lnTo>
                  <a:lnTo>
                    <a:pt x="410" y="7"/>
                  </a:lnTo>
                  <a:lnTo>
                    <a:pt x="413" y="12"/>
                  </a:lnTo>
                  <a:lnTo>
                    <a:pt x="416" y="16"/>
                  </a:lnTo>
                  <a:lnTo>
                    <a:pt x="417" y="20"/>
                  </a:lnTo>
                  <a:lnTo>
                    <a:pt x="417" y="26"/>
                  </a:lnTo>
                  <a:lnTo>
                    <a:pt x="417" y="32"/>
                  </a:lnTo>
                  <a:lnTo>
                    <a:pt x="416" y="36"/>
                  </a:lnTo>
                  <a:lnTo>
                    <a:pt x="413" y="41"/>
                  </a:lnTo>
                  <a:lnTo>
                    <a:pt x="410" y="45"/>
                  </a:lnTo>
                  <a:lnTo>
                    <a:pt x="406" y="48"/>
                  </a:lnTo>
                  <a:lnTo>
                    <a:pt x="401" y="51"/>
                  </a:lnTo>
                  <a:lnTo>
                    <a:pt x="397" y="52"/>
                  </a:lnTo>
                  <a:lnTo>
                    <a:pt x="391"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217">
              <a:extLst>
                <a:ext uri="{FF2B5EF4-FFF2-40B4-BE49-F238E27FC236}">
                  <a16:creationId xmlns:a16="http://schemas.microsoft.com/office/drawing/2014/main" id="{18FB316E-9DCD-49EE-9813-B2979658DE23}"/>
                </a:ext>
              </a:extLst>
            </p:cNvPr>
            <p:cNvSpPr>
              <a:spLocks noEditPoints="1"/>
            </p:cNvSpPr>
            <p:nvPr/>
          </p:nvSpPr>
          <p:spPr bwMode="auto">
            <a:xfrm>
              <a:off x="7188200" y="1789113"/>
              <a:ext cx="469900" cy="690563"/>
            </a:xfrm>
            <a:custGeom>
              <a:avLst/>
              <a:gdLst>
                <a:gd name="T0" fmla="*/ 52 w 887"/>
                <a:gd name="T1" fmla="*/ 1254 h 1306"/>
                <a:gd name="T2" fmla="*/ 642 w 887"/>
                <a:gd name="T3" fmla="*/ 1254 h 1306"/>
                <a:gd name="T4" fmla="*/ 835 w 887"/>
                <a:gd name="T5" fmla="*/ 1060 h 1306"/>
                <a:gd name="T6" fmla="*/ 835 w 887"/>
                <a:gd name="T7" fmla="*/ 52 h 1306"/>
                <a:gd name="T8" fmla="*/ 52 w 887"/>
                <a:gd name="T9" fmla="*/ 52 h 1306"/>
                <a:gd name="T10" fmla="*/ 52 w 887"/>
                <a:gd name="T11" fmla="*/ 1254 h 1306"/>
                <a:gd name="T12" fmla="*/ 652 w 887"/>
                <a:gd name="T13" fmla="*/ 1306 h 1306"/>
                <a:gd name="T14" fmla="*/ 26 w 887"/>
                <a:gd name="T15" fmla="*/ 1306 h 1306"/>
                <a:gd name="T16" fmla="*/ 20 w 887"/>
                <a:gd name="T17" fmla="*/ 1306 h 1306"/>
                <a:gd name="T18" fmla="*/ 16 w 887"/>
                <a:gd name="T19" fmla="*/ 1304 h 1306"/>
                <a:gd name="T20" fmla="*/ 11 w 887"/>
                <a:gd name="T21" fmla="*/ 1301 h 1306"/>
                <a:gd name="T22" fmla="*/ 7 w 887"/>
                <a:gd name="T23" fmla="*/ 1299 h 1306"/>
                <a:gd name="T24" fmla="*/ 4 w 887"/>
                <a:gd name="T25" fmla="*/ 1294 h 1306"/>
                <a:gd name="T26" fmla="*/ 1 w 887"/>
                <a:gd name="T27" fmla="*/ 1290 h 1306"/>
                <a:gd name="T28" fmla="*/ 0 w 887"/>
                <a:gd name="T29" fmla="*/ 1286 h 1306"/>
                <a:gd name="T30" fmla="*/ 0 w 887"/>
                <a:gd name="T31" fmla="*/ 1280 h 1306"/>
                <a:gd name="T32" fmla="*/ 0 w 887"/>
                <a:gd name="T33" fmla="*/ 26 h 1306"/>
                <a:gd name="T34" fmla="*/ 0 w 887"/>
                <a:gd name="T35" fmla="*/ 21 h 1306"/>
                <a:gd name="T36" fmla="*/ 1 w 887"/>
                <a:gd name="T37" fmla="*/ 16 h 1306"/>
                <a:gd name="T38" fmla="*/ 4 w 887"/>
                <a:gd name="T39" fmla="*/ 11 h 1306"/>
                <a:gd name="T40" fmla="*/ 7 w 887"/>
                <a:gd name="T41" fmla="*/ 7 h 1306"/>
                <a:gd name="T42" fmla="*/ 11 w 887"/>
                <a:gd name="T43" fmla="*/ 4 h 1306"/>
                <a:gd name="T44" fmla="*/ 16 w 887"/>
                <a:gd name="T45" fmla="*/ 1 h 1306"/>
                <a:gd name="T46" fmla="*/ 20 w 887"/>
                <a:gd name="T47" fmla="*/ 0 h 1306"/>
                <a:gd name="T48" fmla="*/ 26 w 887"/>
                <a:gd name="T49" fmla="*/ 0 h 1306"/>
                <a:gd name="T50" fmla="*/ 861 w 887"/>
                <a:gd name="T51" fmla="*/ 0 h 1306"/>
                <a:gd name="T52" fmla="*/ 867 w 887"/>
                <a:gd name="T53" fmla="*/ 0 h 1306"/>
                <a:gd name="T54" fmla="*/ 871 w 887"/>
                <a:gd name="T55" fmla="*/ 1 h 1306"/>
                <a:gd name="T56" fmla="*/ 875 w 887"/>
                <a:gd name="T57" fmla="*/ 4 h 1306"/>
                <a:gd name="T58" fmla="*/ 880 w 887"/>
                <a:gd name="T59" fmla="*/ 7 h 1306"/>
                <a:gd name="T60" fmla="*/ 883 w 887"/>
                <a:gd name="T61" fmla="*/ 11 h 1306"/>
                <a:gd name="T62" fmla="*/ 886 w 887"/>
                <a:gd name="T63" fmla="*/ 16 h 1306"/>
                <a:gd name="T64" fmla="*/ 887 w 887"/>
                <a:gd name="T65" fmla="*/ 21 h 1306"/>
                <a:gd name="T66" fmla="*/ 887 w 887"/>
                <a:gd name="T67" fmla="*/ 26 h 1306"/>
                <a:gd name="T68" fmla="*/ 887 w 887"/>
                <a:gd name="T69" fmla="*/ 1071 h 1306"/>
                <a:gd name="T70" fmla="*/ 887 w 887"/>
                <a:gd name="T71" fmla="*/ 1075 h 1306"/>
                <a:gd name="T72" fmla="*/ 886 w 887"/>
                <a:gd name="T73" fmla="*/ 1081 h 1306"/>
                <a:gd name="T74" fmla="*/ 883 w 887"/>
                <a:gd name="T75" fmla="*/ 1085 h 1306"/>
                <a:gd name="T76" fmla="*/ 880 w 887"/>
                <a:gd name="T77" fmla="*/ 1090 h 1306"/>
                <a:gd name="T78" fmla="*/ 671 w 887"/>
                <a:gd name="T79" fmla="*/ 1299 h 1306"/>
                <a:gd name="T80" fmla="*/ 667 w 887"/>
                <a:gd name="T81" fmla="*/ 1301 h 1306"/>
                <a:gd name="T82" fmla="*/ 662 w 887"/>
                <a:gd name="T83" fmla="*/ 1304 h 1306"/>
                <a:gd name="T84" fmla="*/ 658 w 887"/>
                <a:gd name="T85" fmla="*/ 1306 h 1306"/>
                <a:gd name="T86" fmla="*/ 652 w 887"/>
                <a:gd name="T87" fmla="*/ 1306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7" h="1306">
                  <a:moveTo>
                    <a:pt x="52" y="1254"/>
                  </a:moveTo>
                  <a:lnTo>
                    <a:pt x="642" y="1254"/>
                  </a:lnTo>
                  <a:lnTo>
                    <a:pt x="835" y="1060"/>
                  </a:lnTo>
                  <a:lnTo>
                    <a:pt x="835" y="52"/>
                  </a:lnTo>
                  <a:lnTo>
                    <a:pt x="52" y="52"/>
                  </a:lnTo>
                  <a:lnTo>
                    <a:pt x="52" y="1254"/>
                  </a:lnTo>
                  <a:close/>
                  <a:moveTo>
                    <a:pt x="652" y="1306"/>
                  </a:moveTo>
                  <a:lnTo>
                    <a:pt x="26" y="1306"/>
                  </a:lnTo>
                  <a:lnTo>
                    <a:pt x="20" y="1306"/>
                  </a:lnTo>
                  <a:lnTo>
                    <a:pt x="16" y="1304"/>
                  </a:lnTo>
                  <a:lnTo>
                    <a:pt x="11" y="1301"/>
                  </a:lnTo>
                  <a:lnTo>
                    <a:pt x="7" y="1299"/>
                  </a:lnTo>
                  <a:lnTo>
                    <a:pt x="4" y="1294"/>
                  </a:lnTo>
                  <a:lnTo>
                    <a:pt x="1" y="1290"/>
                  </a:lnTo>
                  <a:lnTo>
                    <a:pt x="0" y="1286"/>
                  </a:lnTo>
                  <a:lnTo>
                    <a:pt x="0" y="1280"/>
                  </a:lnTo>
                  <a:lnTo>
                    <a:pt x="0" y="26"/>
                  </a:lnTo>
                  <a:lnTo>
                    <a:pt x="0" y="21"/>
                  </a:lnTo>
                  <a:lnTo>
                    <a:pt x="1" y="16"/>
                  </a:lnTo>
                  <a:lnTo>
                    <a:pt x="4" y="11"/>
                  </a:lnTo>
                  <a:lnTo>
                    <a:pt x="7" y="7"/>
                  </a:lnTo>
                  <a:lnTo>
                    <a:pt x="11" y="4"/>
                  </a:lnTo>
                  <a:lnTo>
                    <a:pt x="16" y="1"/>
                  </a:lnTo>
                  <a:lnTo>
                    <a:pt x="20" y="0"/>
                  </a:lnTo>
                  <a:lnTo>
                    <a:pt x="26" y="0"/>
                  </a:lnTo>
                  <a:lnTo>
                    <a:pt x="861" y="0"/>
                  </a:lnTo>
                  <a:lnTo>
                    <a:pt x="867" y="0"/>
                  </a:lnTo>
                  <a:lnTo>
                    <a:pt x="871" y="1"/>
                  </a:lnTo>
                  <a:lnTo>
                    <a:pt x="875" y="4"/>
                  </a:lnTo>
                  <a:lnTo>
                    <a:pt x="880" y="7"/>
                  </a:lnTo>
                  <a:lnTo>
                    <a:pt x="883" y="11"/>
                  </a:lnTo>
                  <a:lnTo>
                    <a:pt x="886" y="16"/>
                  </a:lnTo>
                  <a:lnTo>
                    <a:pt x="887" y="21"/>
                  </a:lnTo>
                  <a:lnTo>
                    <a:pt x="887" y="26"/>
                  </a:lnTo>
                  <a:lnTo>
                    <a:pt x="887" y="1071"/>
                  </a:lnTo>
                  <a:lnTo>
                    <a:pt x="887" y="1075"/>
                  </a:lnTo>
                  <a:lnTo>
                    <a:pt x="886" y="1081"/>
                  </a:lnTo>
                  <a:lnTo>
                    <a:pt x="883" y="1085"/>
                  </a:lnTo>
                  <a:lnTo>
                    <a:pt x="880" y="1090"/>
                  </a:lnTo>
                  <a:lnTo>
                    <a:pt x="671" y="1299"/>
                  </a:lnTo>
                  <a:lnTo>
                    <a:pt x="667" y="1301"/>
                  </a:lnTo>
                  <a:lnTo>
                    <a:pt x="662" y="1304"/>
                  </a:lnTo>
                  <a:lnTo>
                    <a:pt x="658" y="1306"/>
                  </a:lnTo>
                  <a:lnTo>
                    <a:pt x="652" y="1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220">
              <a:extLst>
                <a:ext uri="{FF2B5EF4-FFF2-40B4-BE49-F238E27FC236}">
                  <a16:creationId xmlns:a16="http://schemas.microsoft.com/office/drawing/2014/main" id="{E85E2F1A-8159-4188-BC40-04ADA3B97C48}"/>
                </a:ext>
              </a:extLst>
            </p:cNvPr>
            <p:cNvSpPr>
              <a:spLocks/>
            </p:cNvSpPr>
            <p:nvPr/>
          </p:nvSpPr>
          <p:spPr bwMode="auto">
            <a:xfrm>
              <a:off x="7519988" y="2341563"/>
              <a:ext cx="138113" cy="138113"/>
            </a:xfrm>
            <a:custGeom>
              <a:avLst/>
              <a:gdLst>
                <a:gd name="T0" fmla="*/ 26 w 261"/>
                <a:gd name="T1" fmla="*/ 261 h 261"/>
                <a:gd name="T2" fmla="*/ 21 w 261"/>
                <a:gd name="T3" fmla="*/ 261 h 261"/>
                <a:gd name="T4" fmla="*/ 16 w 261"/>
                <a:gd name="T5" fmla="*/ 259 h 261"/>
                <a:gd name="T6" fmla="*/ 12 w 261"/>
                <a:gd name="T7" fmla="*/ 256 h 261"/>
                <a:gd name="T8" fmla="*/ 8 w 261"/>
                <a:gd name="T9" fmla="*/ 254 h 261"/>
                <a:gd name="T10" fmla="*/ 5 w 261"/>
                <a:gd name="T11" fmla="*/ 249 h 261"/>
                <a:gd name="T12" fmla="*/ 2 w 261"/>
                <a:gd name="T13" fmla="*/ 245 h 261"/>
                <a:gd name="T14" fmla="*/ 0 w 261"/>
                <a:gd name="T15" fmla="*/ 241 h 261"/>
                <a:gd name="T16" fmla="*/ 0 w 261"/>
                <a:gd name="T17" fmla="*/ 235 h 261"/>
                <a:gd name="T18" fmla="*/ 0 w 261"/>
                <a:gd name="T19" fmla="*/ 26 h 261"/>
                <a:gd name="T20" fmla="*/ 0 w 261"/>
                <a:gd name="T21" fmla="*/ 20 h 261"/>
                <a:gd name="T22" fmla="*/ 2 w 261"/>
                <a:gd name="T23" fmla="*/ 16 h 261"/>
                <a:gd name="T24" fmla="*/ 5 w 261"/>
                <a:gd name="T25" fmla="*/ 12 h 261"/>
                <a:gd name="T26" fmla="*/ 8 w 261"/>
                <a:gd name="T27" fmla="*/ 7 h 261"/>
                <a:gd name="T28" fmla="*/ 12 w 261"/>
                <a:gd name="T29" fmla="*/ 4 h 261"/>
                <a:gd name="T30" fmla="*/ 16 w 261"/>
                <a:gd name="T31" fmla="*/ 2 h 261"/>
                <a:gd name="T32" fmla="*/ 21 w 261"/>
                <a:gd name="T33" fmla="*/ 0 h 261"/>
                <a:gd name="T34" fmla="*/ 26 w 261"/>
                <a:gd name="T35" fmla="*/ 0 h 261"/>
                <a:gd name="T36" fmla="*/ 235 w 261"/>
                <a:gd name="T37" fmla="*/ 0 h 261"/>
                <a:gd name="T38" fmla="*/ 241 w 261"/>
                <a:gd name="T39" fmla="*/ 0 h 261"/>
                <a:gd name="T40" fmla="*/ 245 w 261"/>
                <a:gd name="T41" fmla="*/ 2 h 261"/>
                <a:gd name="T42" fmla="*/ 249 w 261"/>
                <a:gd name="T43" fmla="*/ 4 h 261"/>
                <a:gd name="T44" fmla="*/ 254 w 261"/>
                <a:gd name="T45" fmla="*/ 7 h 261"/>
                <a:gd name="T46" fmla="*/ 257 w 261"/>
                <a:gd name="T47" fmla="*/ 12 h 261"/>
                <a:gd name="T48" fmla="*/ 260 w 261"/>
                <a:gd name="T49" fmla="*/ 16 h 261"/>
                <a:gd name="T50" fmla="*/ 261 w 261"/>
                <a:gd name="T51" fmla="*/ 20 h 261"/>
                <a:gd name="T52" fmla="*/ 261 w 261"/>
                <a:gd name="T53" fmla="*/ 26 h 261"/>
                <a:gd name="T54" fmla="*/ 261 w 261"/>
                <a:gd name="T55" fmla="*/ 30 h 261"/>
                <a:gd name="T56" fmla="*/ 260 w 261"/>
                <a:gd name="T57" fmla="*/ 36 h 261"/>
                <a:gd name="T58" fmla="*/ 257 w 261"/>
                <a:gd name="T59" fmla="*/ 40 h 261"/>
                <a:gd name="T60" fmla="*/ 254 w 261"/>
                <a:gd name="T61" fmla="*/ 45 h 261"/>
                <a:gd name="T62" fmla="*/ 249 w 261"/>
                <a:gd name="T63" fmla="*/ 48 h 261"/>
                <a:gd name="T64" fmla="*/ 245 w 261"/>
                <a:gd name="T65" fmla="*/ 51 h 261"/>
                <a:gd name="T66" fmla="*/ 241 w 261"/>
                <a:gd name="T67" fmla="*/ 52 h 261"/>
                <a:gd name="T68" fmla="*/ 235 w 261"/>
                <a:gd name="T69" fmla="*/ 52 h 261"/>
                <a:gd name="T70" fmla="*/ 52 w 261"/>
                <a:gd name="T71" fmla="*/ 52 h 261"/>
                <a:gd name="T72" fmla="*/ 52 w 261"/>
                <a:gd name="T73" fmla="*/ 235 h 261"/>
                <a:gd name="T74" fmla="*/ 52 w 261"/>
                <a:gd name="T75" fmla="*/ 241 h 261"/>
                <a:gd name="T76" fmla="*/ 51 w 261"/>
                <a:gd name="T77" fmla="*/ 245 h 261"/>
                <a:gd name="T78" fmla="*/ 48 w 261"/>
                <a:gd name="T79" fmla="*/ 249 h 261"/>
                <a:gd name="T80" fmla="*/ 45 w 261"/>
                <a:gd name="T81" fmla="*/ 254 h 261"/>
                <a:gd name="T82" fmla="*/ 41 w 261"/>
                <a:gd name="T83" fmla="*/ 256 h 261"/>
                <a:gd name="T84" fmla="*/ 36 w 261"/>
                <a:gd name="T85" fmla="*/ 259 h 261"/>
                <a:gd name="T86" fmla="*/ 32 w 261"/>
                <a:gd name="T87" fmla="*/ 261 h 261"/>
                <a:gd name="T88" fmla="*/ 26 w 261"/>
                <a:gd name="T8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261">
                  <a:moveTo>
                    <a:pt x="26" y="261"/>
                  </a:moveTo>
                  <a:lnTo>
                    <a:pt x="21" y="261"/>
                  </a:lnTo>
                  <a:lnTo>
                    <a:pt x="16" y="259"/>
                  </a:lnTo>
                  <a:lnTo>
                    <a:pt x="12" y="256"/>
                  </a:lnTo>
                  <a:lnTo>
                    <a:pt x="8" y="254"/>
                  </a:lnTo>
                  <a:lnTo>
                    <a:pt x="5" y="249"/>
                  </a:lnTo>
                  <a:lnTo>
                    <a:pt x="2" y="245"/>
                  </a:lnTo>
                  <a:lnTo>
                    <a:pt x="0" y="241"/>
                  </a:lnTo>
                  <a:lnTo>
                    <a:pt x="0" y="235"/>
                  </a:lnTo>
                  <a:lnTo>
                    <a:pt x="0" y="26"/>
                  </a:lnTo>
                  <a:lnTo>
                    <a:pt x="0" y="20"/>
                  </a:lnTo>
                  <a:lnTo>
                    <a:pt x="2" y="16"/>
                  </a:lnTo>
                  <a:lnTo>
                    <a:pt x="5" y="12"/>
                  </a:lnTo>
                  <a:lnTo>
                    <a:pt x="8" y="7"/>
                  </a:lnTo>
                  <a:lnTo>
                    <a:pt x="12" y="4"/>
                  </a:lnTo>
                  <a:lnTo>
                    <a:pt x="16" y="2"/>
                  </a:lnTo>
                  <a:lnTo>
                    <a:pt x="21" y="0"/>
                  </a:lnTo>
                  <a:lnTo>
                    <a:pt x="26" y="0"/>
                  </a:lnTo>
                  <a:lnTo>
                    <a:pt x="235" y="0"/>
                  </a:lnTo>
                  <a:lnTo>
                    <a:pt x="241" y="0"/>
                  </a:lnTo>
                  <a:lnTo>
                    <a:pt x="245" y="2"/>
                  </a:lnTo>
                  <a:lnTo>
                    <a:pt x="249" y="4"/>
                  </a:lnTo>
                  <a:lnTo>
                    <a:pt x="254" y="7"/>
                  </a:lnTo>
                  <a:lnTo>
                    <a:pt x="257" y="12"/>
                  </a:lnTo>
                  <a:lnTo>
                    <a:pt x="260" y="16"/>
                  </a:lnTo>
                  <a:lnTo>
                    <a:pt x="261" y="20"/>
                  </a:lnTo>
                  <a:lnTo>
                    <a:pt x="261" y="26"/>
                  </a:lnTo>
                  <a:lnTo>
                    <a:pt x="261" y="30"/>
                  </a:lnTo>
                  <a:lnTo>
                    <a:pt x="260" y="36"/>
                  </a:lnTo>
                  <a:lnTo>
                    <a:pt x="257" y="40"/>
                  </a:lnTo>
                  <a:lnTo>
                    <a:pt x="254" y="45"/>
                  </a:lnTo>
                  <a:lnTo>
                    <a:pt x="249" y="48"/>
                  </a:lnTo>
                  <a:lnTo>
                    <a:pt x="245" y="51"/>
                  </a:lnTo>
                  <a:lnTo>
                    <a:pt x="241" y="52"/>
                  </a:lnTo>
                  <a:lnTo>
                    <a:pt x="235" y="52"/>
                  </a:lnTo>
                  <a:lnTo>
                    <a:pt x="52" y="52"/>
                  </a:lnTo>
                  <a:lnTo>
                    <a:pt x="52" y="235"/>
                  </a:lnTo>
                  <a:lnTo>
                    <a:pt x="52" y="241"/>
                  </a:lnTo>
                  <a:lnTo>
                    <a:pt x="51" y="245"/>
                  </a:lnTo>
                  <a:lnTo>
                    <a:pt x="48" y="249"/>
                  </a:lnTo>
                  <a:lnTo>
                    <a:pt x="45" y="254"/>
                  </a:lnTo>
                  <a:lnTo>
                    <a:pt x="41" y="256"/>
                  </a:lnTo>
                  <a:lnTo>
                    <a:pt x="36" y="259"/>
                  </a:lnTo>
                  <a:lnTo>
                    <a:pt x="32" y="261"/>
                  </a:lnTo>
                  <a:lnTo>
                    <a:pt x="26"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223">
              <a:extLst>
                <a:ext uri="{FF2B5EF4-FFF2-40B4-BE49-F238E27FC236}">
                  <a16:creationId xmlns:a16="http://schemas.microsoft.com/office/drawing/2014/main" id="{C96D8511-7C57-449D-84F1-5338742408C5}"/>
                </a:ext>
              </a:extLst>
            </p:cNvPr>
            <p:cNvSpPr>
              <a:spLocks/>
            </p:cNvSpPr>
            <p:nvPr/>
          </p:nvSpPr>
          <p:spPr bwMode="auto">
            <a:xfrm>
              <a:off x="7493000" y="1898651"/>
              <a:ext cx="109538" cy="84138"/>
            </a:xfrm>
            <a:custGeom>
              <a:avLst/>
              <a:gdLst>
                <a:gd name="T0" fmla="*/ 77 w 208"/>
                <a:gd name="T1" fmla="*/ 157 h 157"/>
                <a:gd name="T2" fmla="*/ 73 w 208"/>
                <a:gd name="T3" fmla="*/ 157 h 157"/>
                <a:gd name="T4" fmla="*/ 67 w 208"/>
                <a:gd name="T5" fmla="*/ 155 h 157"/>
                <a:gd name="T6" fmla="*/ 63 w 208"/>
                <a:gd name="T7" fmla="*/ 152 h 157"/>
                <a:gd name="T8" fmla="*/ 59 w 208"/>
                <a:gd name="T9" fmla="*/ 149 h 157"/>
                <a:gd name="T10" fmla="*/ 7 w 208"/>
                <a:gd name="T11" fmla="*/ 96 h 157"/>
                <a:gd name="T12" fmla="*/ 4 w 208"/>
                <a:gd name="T13" fmla="*/ 93 h 157"/>
                <a:gd name="T14" fmla="*/ 1 w 208"/>
                <a:gd name="T15" fmla="*/ 87 h 157"/>
                <a:gd name="T16" fmla="*/ 0 w 208"/>
                <a:gd name="T17" fmla="*/ 83 h 157"/>
                <a:gd name="T18" fmla="*/ 0 w 208"/>
                <a:gd name="T19" fmla="*/ 79 h 157"/>
                <a:gd name="T20" fmla="*/ 0 w 208"/>
                <a:gd name="T21" fmla="*/ 73 h 157"/>
                <a:gd name="T22" fmla="*/ 1 w 208"/>
                <a:gd name="T23" fmla="*/ 69 h 157"/>
                <a:gd name="T24" fmla="*/ 4 w 208"/>
                <a:gd name="T25" fmla="*/ 64 h 157"/>
                <a:gd name="T26" fmla="*/ 7 w 208"/>
                <a:gd name="T27" fmla="*/ 60 h 157"/>
                <a:gd name="T28" fmla="*/ 11 w 208"/>
                <a:gd name="T29" fmla="*/ 56 h 157"/>
                <a:gd name="T30" fmla="*/ 15 w 208"/>
                <a:gd name="T31" fmla="*/ 54 h 157"/>
                <a:gd name="T32" fmla="*/ 20 w 208"/>
                <a:gd name="T33" fmla="*/ 53 h 157"/>
                <a:gd name="T34" fmla="*/ 25 w 208"/>
                <a:gd name="T35" fmla="*/ 51 h 157"/>
                <a:gd name="T36" fmla="*/ 30 w 208"/>
                <a:gd name="T37" fmla="*/ 53 h 157"/>
                <a:gd name="T38" fmla="*/ 36 w 208"/>
                <a:gd name="T39" fmla="*/ 54 h 157"/>
                <a:gd name="T40" fmla="*/ 40 w 208"/>
                <a:gd name="T41" fmla="*/ 56 h 157"/>
                <a:gd name="T42" fmla="*/ 44 w 208"/>
                <a:gd name="T43" fmla="*/ 60 h 157"/>
                <a:gd name="T44" fmla="*/ 77 w 208"/>
                <a:gd name="T45" fmla="*/ 93 h 157"/>
                <a:gd name="T46" fmla="*/ 164 w 208"/>
                <a:gd name="T47" fmla="*/ 7 h 157"/>
                <a:gd name="T48" fmla="*/ 168 w 208"/>
                <a:gd name="T49" fmla="*/ 4 h 157"/>
                <a:gd name="T50" fmla="*/ 172 w 208"/>
                <a:gd name="T51" fmla="*/ 2 h 157"/>
                <a:gd name="T52" fmla="*/ 177 w 208"/>
                <a:gd name="T53" fmla="*/ 1 h 157"/>
                <a:gd name="T54" fmla="*/ 182 w 208"/>
                <a:gd name="T55" fmla="*/ 0 h 157"/>
                <a:gd name="T56" fmla="*/ 187 w 208"/>
                <a:gd name="T57" fmla="*/ 1 h 157"/>
                <a:gd name="T58" fmla="*/ 191 w 208"/>
                <a:gd name="T59" fmla="*/ 2 h 157"/>
                <a:gd name="T60" fmla="*/ 197 w 208"/>
                <a:gd name="T61" fmla="*/ 4 h 157"/>
                <a:gd name="T62" fmla="*/ 200 w 208"/>
                <a:gd name="T63" fmla="*/ 7 h 157"/>
                <a:gd name="T64" fmla="*/ 204 w 208"/>
                <a:gd name="T65" fmla="*/ 11 h 157"/>
                <a:gd name="T66" fmla="*/ 205 w 208"/>
                <a:gd name="T67" fmla="*/ 15 h 157"/>
                <a:gd name="T68" fmla="*/ 207 w 208"/>
                <a:gd name="T69" fmla="*/ 21 h 157"/>
                <a:gd name="T70" fmla="*/ 208 w 208"/>
                <a:gd name="T71" fmla="*/ 25 h 157"/>
                <a:gd name="T72" fmla="*/ 207 w 208"/>
                <a:gd name="T73" fmla="*/ 31 h 157"/>
                <a:gd name="T74" fmla="*/ 205 w 208"/>
                <a:gd name="T75" fmla="*/ 36 h 157"/>
                <a:gd name="T76" fmla="*/ 204 w 208"/>
                <a:gd name="T77" fmla="*/ 40 h 157"/>
                <a:gd name="T78" fmla="*/ 200 w 208"/>
                <a:gd name="T79" fmla="*/ 44 h 157"/>
                <a:gd name="T80" fmla="*/ 96 w 208"/>
                <a:gd name="T81" fmla="*/ 149 h 157"/>
                <a:gd name="T82" fmla="*/ 92 w 208"/>
                <a:gd name="T83" fmla="*/ 152 h 157"/>
                <a:gd name="T84" fmla="*/ 87 w 208"/>
                <a:gd name="T85" fmla="*/ 155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5"/>
                  </a:lnTo>
                  <a:lnTo>
                    <a:pt x="63" y="152"/>
                  </a:lnTo>
                  <a:lnTo>
                    <a:pt x="59" y="149"/>
                  </a:lnTo>
                  <a:lnTo>
                    <a:pt x="7" y="96"/>
                  </a:lnTo>
                  <a:lnTo>
                    <a:pt x="4" y="93"/>
                  </a:lnTo>
                  <a:lnTo>
                    <a:pt x="1" y="87"/>
                  </a:lnTo>
                  <a:lnTo>
                    <a:pt x="0" y="83"/>
                  </a:lnTo>
                  <a:lnTo>
                    <a:pt x="0" y="79"/>
                  </a:lnTo>
                  <a:lnTo>
                    <a:pt x="0" y="73"/>
                  </a:lnTo>
                  <a:lnTo>
                    <a:pt x="1" y="69"/>
                  </a:lnTo>
                  <a:lnTo>
                    <a:pt x="4" y="64"/>
                  </a:lnTo>
                  <a:lnTo>
                    <a:pt x="7" y="60"/>
                  </a:lnTo>
                  <a:lnTo>
                    <a:pt x="11" y="56"/>
                  </a:lnTo>
                  <a:lnTo>
                    <a:pt x="15" y="54"/>
                  </a:lnTo>
                  <a:lnTo>
                    <a:pt x="20" y="53"/>
                  </a:lnTo>
                  <a:lnTo>
                    <a:pt x="25" y="51"/>
                  </a:lnTo>
                  <a:lnTo>
                    <a:pt x="30" y="53"/>
                  </a:lnTo>
                  <a:lnTo>
                    <a:pt x="36" y="54"/>
                  </a:lnTo>
                  <a:lnTo>
                    <a:pt x="40" y="56"/>
                  </a:lnTo>
                  <a:lnTo>
                    <a:pt x="44" y="60"/>
                  </a:lnTo>
                  <a:lnTo>
                    <a:pt x="77" y="93"/>
                  </a:lnTo>
                  <a:lnTo>
                    <a:pt x="164" y="7"/>
                  </a:lnTo>
                  <a:lnTo>
                    <a:pt x="168" y="4"/>
                  </a:lnTo>
                  <a:lnTo>
                    <a:pt x="172" y="2"/>
                  </a:lnTo>
                  <a:lnTo>
                    <a:pt x="177" y="1"/>
                  </a:lnTo>
                  <a:lnTo>
                    <a:pt x="182" y="0"/>
                  </a:lnTo>
                  <a:lnTo>
                    <a:pt x="187" y="1"/>
                  </a:lnTo>
                  <a:lnTo>
                    <a:pt x="191" y="2"/>
                  </a:lnTo>
                  <a:lnTo>
                    <a:pt x="197" y="4"/>
                  </a:lnTo>
                  <a:lnTo>
                    <a:pt x="200" y="7"/>
                  </a:lnTo>
                  <a:lnTo>
                    <a:pt x="204" y="11"/>
                  </a:lnTo>
                  <a:lnTo>
                    <a:pt x="205" y="15"/>
                  </a:lnTo>
                  <a:lnTo>
                    <a:pt x="207" y="21"/>
                  </a:lnTo>
                  <a:lnTo>
                    <a:pt x="208" y="25"/>
                  </a:lnTo>
                  <a:lnTo>
                    <a:pt x="207" y="31"/>
                  </a:lnTo>
                  <a:lnTo>
                    <a:pt x="205" y="36"/>
                  </a:lnTo>
                  <a:lnTo>
                    <a:pt x="204" y="40"/>
                  </a:lnTo>
                  <a:lnTo>
                    <a:pt x="200" y="44"/>
                  </a:lnTo>
                  <a:lnTo>
                    <a:pt x="96" y="149"/>
                  </a:lnTo>
                  <a:lnTo>
                    <a:pt x="92" y="152"/>
                  </a:lnTo>
                  <a:lnTo>
                    <a:pt x="87" y="155"/>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2" name="Freeform 224">
              <a:extLst>
                <a:ext uri="{FF2B5EF4-FFF2-40B4-BE49-F238E27FC236}">
                  <a16:creationId xmlns:a16="http://schemas.microsoft.com/office/drawing/2014/main" id="{2872AF1E-D308-4358-AB65-A5D202CBBAA5}"/>
                </a:ext>
              </a:extLst>
            </p:cNvPr>
            <p:cNvSpPr>
              <a:spLocks/>
            </p:cNvSpPr>
            <p:nvPr/>
          </p:nvSpPr>
          <p:spPr bwMode="auto">
            <a:xfrm>
              <a:off x="7493000" y="2009776"/>
              <a:ext cx="109538" cy="82550"/>
            </a:xfrm>
            <a:custGeom>
              <a:avLst/>
              <a:gdLst>
                <a:gd name="T0" fmla="*/ 77 w 208"/>
                <a:gd name="T1" fmla="*/ 157 h 157"/>
                <a:gd name="T2" fmla="*/ 73 w 208"/>
                <a:gd name="T3" fmla="*/ 157 h 157"/>
                <a:gd name="T4" fmla="*/ 67 w 208"/>
                <a:gd name="T5" fmla="*/ 156 h 157"/>
                <a:gd name="T6" fmla="*/ 63 w 208"/>
                <a:gd name="T7" fmla="*/ 153 h 157"/>
                <a:gd name="T8" fmla="*/ 59 w 208"/>
                <a:gd name="T9" fmla="*/ 150 h 157"/>
                <a:gd name="T10" fmla="*/ 7 w 208"/>
                <a:gd name="T11" fmla="*/ 98 h 157"/>
                <a:gd name="T12" fmla="*/ 4 w 208"/>
                <a:gd name="T13" fmla="*/ 94 h 157"/>
                <a:gd name="T14" fmla="*/ 1 w 208"/>
                <a:gd name="T15" fmla="*/ 90 h 157"/>
                <a:gd name="T16" fmla="*/ 0 w 208"/>
                <a:gd name="T17" fmla="*/ 84 h 157"/>
                <a:gd name="T18" fmla="*/ 0 w 208"/>
                <a:gd name="T19" fmla="*/ 80 h 157"/>
                <a:gd name="T20" fmla="*/ 0 w 208"/>
                <a:gd name="T21" fmla="*/ 74 h 157"/>
                <a:gd name="T22" fmla="*/ 1 w 208"/>
                <a:gd name="T23" fmla="*/ 69 h 157"/>
                <a:gd name="T24" fmla="*/ 4 w 208"/>
                <a:gd name="T25" fmla="*/ 65 h 157"/>
                <a:gd name="T26" fmla="*/ 7 w 208"/>
                <a:gd name="T27" fmla="*/ 61 h 157"/>
                <a:gd name="T28" fmla="*/ 11 w 208"/>
                <a:gd name="T29" fmla="*/ 58 h 157"/>
                <a:gd name="T30" fmla="*/ 15 w 208"/>
                <a:gd name="T31" fmla="*/ 55 h 157"/>
                <a:gd name="T32" fmla="*/ 20 w 208"/>
                <a:gd name="T33" fmla="*/ 54 h 157"/>
                <a:gd name="T34" fmla="*/ 25 w 208"/>
                <a:gd name="T35" fmla="*/ 54 h 157"/>
                <a:gd name="T36" fmla="*/ 30 w 208"/>
                <a:gd name="T37" fmla="*/ 54 h 157"/>
                <a:gd name="T38" fmla="*/ 36 w 208"/>
                <a:gd name="T39" fmla="*/ 55 h 157"/>
                <a:gd name="T40" fmla="*/ 40 w 208"/>
                <a:gd name="T41" fmla="*/ 58 h 157"/>
                <a:gd name="T42" fmla="*/ 44 w 208"/>
                <a:gd name="T43" fmla="*/ 61 h 157"/>
                <a:gd name="T44" fmla="*/ 77 w 208"/>
                <a:gd name="T45" fmla="*/ 94 h 157"/>
                <a:gd name="T46" fmla="*/ 164 w 208"/>
                <a:gd name="T47" fmla="*/ 9 h 157"/>
                <a:gd name="T48" fmla="*/ 168 w 208"/>
                <a:gd name="T49" fmla="*/ 5 h 157"/>
                <a:gd name="T50" fmla="*/ 172 w 208"/>
                <a:gd name="T51" fmla="*/ 3 h 157"/>
                <a:gd name="T52" fmla="*/ 177 w 208"/>
                <a:gd name="T53" fmla="*/ 2 h 157"/>
                <a:gd name="T54" fmla="*/ 182 w 208"/>
                <a:gd name="T55" fmla="*/ 0 h 157"/>
                <a:gd name="T56" fmla="*/ 187 w 208"/>
                <a:gd name="T57" fmla="*/ 2 h 157"/>
                <a:gd name="T58" fmla="*/ 191 w 208"/>
                <a:gd name="T59" fmla="*/ 3 h 157"/>
                <a:gd name="T60" fmla="*/ 197 w 208"/>
                <a:gd name="T61" fmla="*/ 5 h 157"/>
                <a:gd name="T62" fmla="*/ 200 w 208"/>
                <a:gd name="T63" fmla="*/ 9 h 157"/>
                <a:gd name="T64" fmla="*/ 204 w 208"/>
                <a:gd name="T65" fmla="*/ 12 h 157"/>
                <a:gd name="T66" fmla="*/ 205 w 208"/>
                <a:gd name="T67" fmla="*/ 18 h 157"/>
                <a:gd name="T68" fmla="*/ 207 w 208"/>
                <a:gd name="T69" fmla="*/ 22 h 157"/>
                <a:gd name="T70" fmla="*/ 208 w 208"/>
                <a:gd name="T71" fmla="*/ 26 h 157"/>
                <a:gd name="T72" fmla="*/ 207 w 208"/>
                <a:gd name="T73" fmla="*/ 32 h 157"/>
                <a:gd name="T74" fmla="*/ 205 w 208"/>
                <a:gd name="T75" fmla="*/ 36 h 157"/>
                <a:gd name="T76" fmla="*/ 204 w 208"/>
                <a:gd name="T77" fmla="*/ 41 h 157"/>
                <a:gd name="T78" fmla="*/ 200 w 208"/>
                <a:gd name="T79" fmla="*/ 45 h 157"/>
                <a:gd name="T80" fmla="*/ 96 w 208"/>
                <a:gd name="T81" fmla="*/ 150 h 157"/>
                <a:gd name="T82" fmla="*/ 92 w 208"/>
                <a:gd name="T83" fmla="*/ 153 h 157"/>
                <a:gd name="T84" fmla="*/ 87 w 208"/>
                <a:gd name="T85" fmla="*/ 156 h 157"/>
                <a:gd name="T86" fmla="*/ 83 w 208"/>
                <a:gd name="T87" fmla="*/ 157 h 157"/>
                <a:gd name="T88" fmla="*/ 77 w 208"/>
                <a:gd name="T8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7">
                  <a:moveTo>
                    <a:pt x="77" y="157"/>
                  </a:moveTo>
                  <a:lnTo>
                    <a:pt x="73" y="157"/>
                  </a:lnTo>
                  <a:lnTo>
                    <a:pt x="67" y="156"/>
                  </a:lnTo>
                  <a:lnTo>
                    <a:pt x="63" y="153"/>
                  </a:lnTo>
                  <a:lnTo>
                    <a:pt x="59" y="150"/>
                  </a:lnTo>
                  <a:lnTo>
                    <a:pt x="7" y="98"/>
                  </a:lnTo>
                  <a:lnTo>
                    <a:pt x="4" y="94"/>
                  </a:lnTo>
                  <a:lnTo>
                    <a:pt x="1" y="90"/>
                  </a:lnTo>
                  <a:lnTo>
                    <a:pt x="0" y="84"/>
                  </a:lnTo>
                  <a:lnTo>
                    <a:pt x="0" y="80"/>
                  </a:lnTo>
                  <a:lnTo>
                    <a:pt x="0" y="74"/>
                  </a:lnTo>
                  <a:lnTo>
                    <a:pt x="1" y="69"/>
                  </a:lnTo>
                  <a:lnTo>
                    <a:pt x="4" y="65"/>
                  </a:lnTo>
                  <a:lnTo>
                    <a:pt x="7" y="61"/>
                  </a:lnTo>
                  <a:lnTo>
                    <a:pt x="11" y="58"/>
                  </a:lnTo>
                  <a:lnTo>
                    <a:pt x="15" y="55"/>
                  </a:lnTo>
                  <a:lnTo>
                    <a:pt x="20" y="54"/>
                  </a:lnTo>
                  <a:lnTo>
                    <a:pt x="25" y="54"/>
                  </a:lnTo>
                  <a:lnTo>
                    <a:pt x="30" y="54"/>
                  </a:lnTo>
                  <a:lnTo>
                    <a:pt x="36" y="55"/>
                  </a:lnTo>
                  <a:lnTo>
                    <a:pt x="40" y="58"/>
                  </a:lnTo>
                  <a:lnTo>
                    <a:pt x="44" y="61"/>
                  </a:lnTo>
                  <a:lnTo>
                    <a:pt x="77" y="94"/>
                  </a:lnTo>
                  <a:lnTo>
                    <a:pt x="164" y="9"/>
                  </a:lnTo>
                  <a:lnTo>
                    <a:pt x="168" y="5"/>
                  </a:lnTo>
                  <a:lnTo>
                    <a:pt x="172" y="3"/>
                  </a:lnTo>
                  <a:lnTo>
                    <a:pt x="177" y="2"/>
                  </a:lnTo>
                  <a:lnTo>
                    <a:pt x="182" y="0"/>
                  </a:lnTo>
                  <a:lnTo>
                    <a:pt x="187" y="2"/>
                  </a:lnTo>
                  <a:lnTo>
                    <a:pt x="191" y="3"/>
                  </a:lnTo>
                  <a:lnTo>
                    <a:pt x="197" y="5"/>
                  </a:lnTo>
                  <a:lnTo>
                    <a:pt x="200" y="9"/>
                  </a:lnTo>
                  <a:lnTo>
                    <a:pt x="204" y="12"/>
                  </a:lnTo>
                  <a:lnTo>
                    <a:pt x="205" y="18"/>
                  </a:lnTo>
                  <a:lnTo>
                    <a:pt x="207" y="22"/>
                  </a:lnTo>
                  <a:lnTo>
                    <a:pt x="208" y="26"/>
                  </a:lnTo>
                  <a:lnTo>
                    <a:pt x="207" y="32"/>
                  </a:lnTo>
                  <a:lnTo>
                    <a:pt x="205" y="36"/>
                  </a:lnTo>
                  <a:lnTo>
                    <a:pt x="204" y="41"/>
                  </a:lnTo>
                  <a:lnTo>
                    <a:pt x="200" y="45"/>
                  </a:lnTo>
                  <a:lnTo>
                    <a:pt x="96" y="150"/>
                  </a:lnTo>
                  <a:lnTo>
                    <a:pt x="92" y="153"/>
                  </a:lnTo>
                  <a:lnTo>
                    <a:pt x="87" y="156"/>
                  </a:lnTo>
                  <a:lnTo>
                    <a:pt x="83" y="157"/>
                  </a:lnTo>
                  <a:lnTo>
                    <a:pt x="77"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225">
              <a:extLst>
                <a:ext uri="{FF2B5EF4-FFF2-40B4-BE49-F238E27FC236}">
                  <a16:creationId xmlns:a16="http://schemas.microsoft.com/office/drawing/2014/main" id="{B376AAA0-8A9D-40C3-A669-F842EB7DF51F}"/>
                </a:ext>
              </a:extLst>
            </p:cNvPr>
            <p:cNvSpPr>
              <a:spLocks/>
            </p:cNvSpPr>
            <p:nvPr/>
          </p:nvSpPr>
          <p:spPr bwMode="auto">
            <a:xfrm>
              <a:off x="7493000" y="2230438"/>
              <a:ext cx="109538" cy="82550"/>
            </a:xfrm>
            <a:custGeom>
              <a:avLst/>
              <a:gdLst>
                <a:gd name="T0" fmla="*/ 77 w 208"/>
                <a:gd name="T1" fmla="*/ 156 h 156"/>
                <a:gd name="T2" fmla="*/ 73 w 208"/>
                <a:gd name="T3" fmla="*/ 156 h 156"/>
                <a:gd name="T4" fmla="*/ 67 w 208"/>
                <a:gd name="T5" fmla="*/ 154 h 156"/>
                <a:gd name="T6" fmla="*/ 63 w 208"/>
                <a:gd name="T7" fmla="*/ 152 h 156"/>
                <a:gd name="T8" fmla="*/ 59 w 208"/>
                <a:gd name="T9" fmla="*/ 149 h 156"/>
                <a:gd name="T10" fmla="*/ 7 w 208"/>
                <a:gd name="T11" fmla="*/ 97 h 156"/>
                <a:gd name="T12" fmla="*/ 4 w 208"/>
                <a:gd name="T13" fmla="*/ 93 h 156"/>
                <a:gd name="T14" fmla="*/ 1 w 208"/>
                <a:gd name="T15" fmla="*/ 88 h 156"/>
                <a:gd name="T16" fmla="*/ 0 w 208"/>
                <a:gd name="T17" fmla="*/ 82 h 156"/>
                <a:gd name="T18" fmla="*/ 0 w 208"/>
                <a:gd name="T19" fmla="*/ 78 h 156"/>
                <a:gd name="T20" fmla="*/ 0 w 208"/>
                <a:gd name="T21" fmla="*/ 74 h 156"/>
                <a:gd name="T22" fmla="*/ 1 w 208"/>
                <a:gd name="T23" fmla="*/ 68 h 156"/>
                <a:gd name="T24" fmla="*/ 4 w 208"/>
                <a:gd name="T25" fmla="*/ 64 h 156"/>
                <a:gd name="T26" fmla="*/ 7 w 208"/>
                <a:gd name="T27" fmla="*/ 59 h 156"/>
                <a:gd name="T28" fmla="*/ 11 w 208"/>
                <a:gd name="T29" fmla="*/ 57 h 156"/>
                <a:gd name="T30" fmla="*/ 15 w 208"/>
                <a:gd name="T31" fmla="*/ 54 h 156"/>
                <a:gd name="T32" fmla="*/ 20 w 208"/>
                <a:gd name="T33" fmla="*/ 52 h 156"/>
                <a:gd name="T34" fmla="*/ 25 w 208"/>
                <a:gd name="T35" fmla="*/ 52 h 156"/>
                <a:gd name="T36" fmla="*/ 30 w 208"/>
                <a:gd name="T37" fmla="*/ 52 h 156"/>
                <a:gd name="T38" fmla="*/ 36 w 208"/>
                <a:gd name="T39" fmla="*/ 54 h 156"/>
                <a:gd name="T40" fmla="*/ 40 w 208"/>
                <a:gd name="T41" fmla="*/ 57 h 156"/>
                <a:gd name="T42" fmla="*/ 44 w 208"/>
                <a:gd name="T43" fmla="*/ 59 h 156"/>
                <a:gd name="T44" fmla="*/ 77 w 208"/>
                <a:gd name="T45" fmla="*/ 94 h 156"/>
                <a:gd name="T46" fmla="*/ 164 w 208"/>
                <a:gd name="T47" fmla="*/ 8 h 156"/>
                <a:gd name="T48" fmla="*/ 168 w 208"/>
                <a:gd name="T49" fmla="*/ 5 h 156"/>
                <a:gd name="T50" fmla="*/ 172 w 208"/>
                <a:gd name="T51" fmla="*/ 2 h 156"/>
                <a:gd name="T52" fmla="*/ 177 w 208"/>
                <a:gd name="T53" fmla="*/ 0 h 156"/>
                <a:gd name="T54" fmla="*/ 182 w 208"/>
                <a:gd name="T55" fmla="*/ 0 h 156"/>
                <a:gd name="T56" fmla="*/ 187 w 208"/>
                <a:gd name="T57" fmla="*/ 0 h 156"/>
                <a:gd name="T58" fmla="*/ 191 w 208"/>
                <a:gd name="T59" fmla="*/ 2 h 156"/>
                <a:gd name="T60" fmla="*/ 197 w 208"/>
                <a:gd name="T61" fmla="*/ 5 h 156"/>
                <a:gd name="T62" fmla="*/ 200 w 208"/>
                <a:gd name="T63" fmla="*/ 8 h 156"/>
                <a:gd name="T64" fmla="*/ 204 w 208"/>
                <a:gd name="T65" fmla="*/ 12 h 156"/>
                <a:gd name="T66" fmla="*/ 205 w 208"/>
                <a:gd name="T67" fmla="*/ 16 h 156"/>
                <a:gd name="T68" fmla="*/ 207 w 208"/>
                <a:gd name="T69" fmla="*/ 21 h 156"/>
                <a:gd name="T70" fmla="*/ 208 w 208"/>
                <a:gd name="T71" fmla="*/ 26 h 156"/>
                <a:gd name="T72" fmla="*/ 207 w 208"/>
                <a:gd name="T73" fmla="*/ 31 h 156"/>
                <a:gd name="T74" fmla="*/ 205 w 208"/>
                <a:gd name="T75" fmla="*/ 36 h 156"/>
                <a:gd name="T76" fmla="*/ 204 w 208"/>
                <a:gd name="T77" fmla="*/ 41 h 156"/>
                <a:gd name="T78" fmla="*/ 200 w 208"/>
                <a:gd name="T79" fmla="*/ 45 h 156"/>
                <a:gd name="T80" fmla="*/ 96 w 208"/>
                <a:gd name="T81" fmla="*/ 149 h 156"/>
                <a:gd name="T82" fmla="*/ 92 w 208"/>
                <a:gd name="T83" fmla="*/ 152 h 156"/>
                <a:gd name="T84" fmla="*/ 87 w 208"/>
                <a:gd name="T85" fmla="*/ 154 h 156"/>
                <a:gd name="T86" fmla="*/ 83 w 208"/>
                <a:gd name="T87" fmla="*/ 156 h 156"/>
                <a:gd name="T88" fmla="*/ 77 w 208"/>
                <a:gd name="T8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 h="156">
                  <a:moveTo>
                    <a:pt x="77" y="156"/>
                  </a:moveTo>
                  <a:lnTo>
                    <a:pt x="73" y="156"/>
                  </a:lnTo>
                  <a:lnTo>
                    <a:pt x="67" y="154"/>
                  </a:lnTo>
                  <a:lnTo>
                    <a:pt x="63" y="152"/>
                  </a:lnTo>
                  <a:lnTo>
                    <a:pt x="59" y="149"/>
                  </a:lnTo>
                  <a:lnTo>
                    <a:pt x="7" y="97"/>
                  </a:lnTo>
                  <a:lnTo>
                    <a:pt x="4" y="93"/>
                  </a:lnTo>
                  <a:lnTo>
                    <a:pt x="1" y="88"/>
                  </a:lnTo>
                  <a:lnTo>
                    <a:pt x="0" y="82"/>
                  </a:lnTo>
                  <a:lnTo>
                    <a:pt x="0" y="78"/>
                  </a:lnTo>
                  <a:lnTo>
                    <a:pt x="0" y="74"/>
                  </a:lnTo>
                  <a:lnTo>
                    <a:pt x="1" y="68"/>
                  </a:lnTo>
                  <a:lnTo>
                    <a:pt x="4" y="64"/>
                  </a:lnTo>
                  <a:lnTo>
                    <a:pt x="7" y="59"/>
                  </a:lnTo>
                  <a:lnTo>
                    <a:pt x="11" y="57"/>
                  </a:lnTo>
                  <a:lnTo>
                    <a:pt x="15" y="54"/>
                  </a:lnTo>
                  <a:lnTo>
                    <a:pt x="20" y="52"/>
                  </a:lnTo>
                  <a:lnTo>
                    <a:pt x="25" y="52"/>
                  </a:lnTo>
                  <a:lnTo>
                    <a:pt x="30" y="52"/>
                  </a:lnTo>
                  <a:lnTo>
                    <a:pt x="36" y="54"/>
                  </a:lnTo>
                  <a:lnTo>
                    <a:pt x="40" y="57"/>
                  </a:lnTo>
                  <a:lnTo>
                    <a:pt x="44" y="59"/>
                  </a:lnTo>
                  <a:lnTo>
                    <a:pt x="77" y="94"/>
                  </a:lnTo>
                  <a:lnTo>
                    <a:pt x="164" y="8"/>
                  </a:lnTo>
                  <a:lnTo>
                    <a:pt x="168" y="5"/>
                  </a:lnTo>
                  <a:lnTo>
                    <a:pt x="172" y="2"/>
                  </a:lnTo>
                  <a:lnTo>
                    <a:pt x="177" y="0"/>
                  </a:lnTo>
                  <a:lnTo>
                    <a:pt x="182" y="0"/>
                  </a:lnTo>
                  <a:lnTo>
                    <a:pt x="187" y="0"/>
                  </a:lnTo>
                  <a:lnTo>
                    <a:pt x="191" y="2"/>
                  </a:lnTo>
                  <a:lnTo>
                    <a:pt x="197" y="5"/>
                  </a:lnTo>
                  <a:lnTo>
                    <a:pt x="200" y="8"/>
                  </a:lnTo>
                  <a:lnTo>
                    <a:pt x="204" y="12"/>
                  </a:lnTo>
                  <a:lnTo>
                    <a:pt x="205" y="16"/>
                  </a:lnTo>
                  <a:lnTo>
                    <a:pt x="207" y="21"/>
                  </a:lnTo>
                  <a:lnTo>
                    <a:pt x="208" y="26"/>
                  </a:lnTo>
                  <a:lnTo>
                    <a:pt x="207" y="31"/>
                  </a:lnTo>
                  <a:lnTo>
                    <a:pt x="205" y="36"/>
                  </a:lnTo>
                  <a:lnTo>
                    <a:pt x="204" y="41"/>
                  </a:lnTo>
                  <a:lnTo>
                    <a:pt x="200" y="45"/>
                  </a:lnTo>
                  <a:lnTo>
                    <a:pt x="96" y="149"/>
                  </a:lnTo>
                  <a:lnTo>
                    <a:pt x="92" y="152"/>
                  </a:lnTo>
                  <a:lnTo>
                    <a:pt x="87" y="154"/>
                  </a:lnTo>
                  <a:lnTo>
                    <a:pt x="83" y="156"/>
                  </a:lnTo>
                  <a:lnTo>
                    <a:pt x="77"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Freeform 226">
              <a:extLst>
                <a:ext uri="{FF2B5EF4-FFF2-40B4-BE49-F238E27FC236}">
                  <a16:creationId xmlns:a16="http://schemas.microsoft.com/office/drawing/2014/main" id="{6ADF43DE-9E0A-4FBE-8FE8-D6654605CFDB}"/>
                </a:ext>
              </a:extLst>
            </p:cNvPr>
            <p:cNvSpPr>
              <a:spLocks/>
            </p:cNvSpPr>
            <p:nvPr/>
          </p:nvSpPr>
          <p:spPr bwMode="auto">
            <a:xfrm>
              <a:off x="7502525" y="2130426"/>
              <a:ext cx="90488" cy="90488"/>
            </a:xfrm>
            <a:custGeom>
              <a:avLst/>
              <a:gdLst>
                <a:gd name="T0" fmla="*/ 147 w 173"/>
                <a:gd name="T1" fmla="*/ 173 h 173"/>
                <a:gd name="T2" fmla="*/ 141 w 173"/>
                <a:gd name="T3" fmla="*/ 171 h 173"/>
                <a:gd name="T4" fmla="*/ 137 w 173"/>
                <a:gd name="T5" fmla="*/ 170 h 173"/>
                <a:gd name="T6" fmla="*/ 132 w 173"/>
                <a:gd name="T7" fmla="*/ 168 h 173"/>
                <a:gd name="T8" fmla="*/ 128 w 173"/>
                <a:gd name="T9" fmla="*/ 164 h 173"/>
                <a:gd name="T10" fmla="*/ 8 w 173"/>
                <a:gd name="T11" fmla="*/ 44 h 173"/>
                <a:gd name="T12" fmla="*/ 4 w 173"/>
                <a:gd name="T13" fmla="*/ 40 h 173"/>
                <a:gd name="T14" fmla="*/ 3 w 173"/>
                <a:gd name="T15" fmla="*/ 36 h 173"/>
                <a:gd name="T16" fmla="*/ 1 w 173"/>
                <a:gd name="T17" fmla="*/ 32 h 173"/>
                <a:gd name="T18" fmla="*/ 0 w 173"/>
                <a:gd name="T19" fmla="*/ 26 h 173"/>
                <a:gd name="T20" fmla="*/ 1 w 173"/>
                <a:gd name="T21" fmla="*/ 21 h 173"/>
                <a:gd name="T22" fmla="*/ 3 w 173"/>
                <a:gd name="T23" fmla="*/ 17 h 173"/>
                <a:gd name="T24" fmla="*/ 4 w 173"/>
                <a:gd name="T25" fmla="*/ 11 h 173"/>
                <a:gd name="T26" fmla="*/ 8 w 173"/>
                <a:gd name="T27" fmla="*/ 9 h 173"/>
                <a:gd name="T28" fmla="*/ 13 w 173"/>
                <a:gd name="T29" fmla="*/ 4 h 173"/>
                <a:gd name="T30" fmla="*/ 17 w 173"/>
                <a:gd name="T31" fmla="*/ 3 h 173"/>
                <a:gd name="T32" fmla="*/ 21 w 173"/>
                <a:gd name="T33" fmla="*/ 1 h 173"/>
                <a:gd name="T34" fmla="*/ 27 w 173"/>
                <a:gd name="T35" fmla="*/ 0 h 173"/>
                <a:gd name="T36" fmla="*/ 31 w 173"/>
                <a:gd name="T37" fmla="*/ 1 h 173"/>
                <a:gd name="T38" fmla="*/ 36 w 173"/>
                <a:gd name="T39" fmla="*/ 3 h 173"/>
                <a:gd name="T40" fmla="*/ 42 w 173"/>
                <a:gd name="T41" fmla="*/ 4 h 173"/>
                <a:gd name="T42" fmla="*/ 44 w 173"/>
                <a:gd name="T43" fmla="*/ 9 h 173"/>
                <a:gd name="T44" fmla="*/ 165 w 173"/>
                <a:gd name="T45" fmla="*/ 128 h 173"/>
                <a:gd name="T46" fmla="*/ 168 w 173"/>
                <a:gd name="T47" fmla="*/ 132 h 173"/>
                <a:gd name="T48" fmla="*/ 171 w 173"/>
                <a:gd name="T49" fmla="*/ 137 h 173"/>
                <a:gd name="T50" fmla="*/ 173 w 173"/>
                <a:gd name="T51" fmla="*/ 141 h 173"/>
                <a:gd name="T52" fmla="*/ 173 w 173"/>
                <a:gd name="T53" fmla="*/ 147 h 173"/>
                <a:gd name="T54" fmla="*/ 173 w 173"/>
                <a:gd name="T55" fmla="*/ 151 h 173"/>
                <a:gd name="T56" fmla="*/ 171 w 173"/>
                <a:gd name="T57" fmla="*/ 155 h 173"/>
                <a:gd name="T58" fmla="*/ 168 w 173"/>
                <a:gd name="T59" fmla="*/ 161 h 173"/>
                <a:gd name="T60" fmla="*/ 165 w 173"/>
                <a:gd name="T61" fmla="*/ 164 h 173"/>
                <a:gd name="T62" fmla="*/ 161 w 173"/>
                <a:gd name="T63" fmla="*/ 168 h 173"/>
                <a:gd name="T64" fmla="*/ 157 w 173"/>
                <a:gd name="T65" fmla="*/ 170 h 173"/>
                <a:gd name="T66" fmla="*/ 151 w 173"/>
                <a:gd name="T67" fmla="*/ 171 h 173"/>
                <a:gd name="T68" fmla="*/ 14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147" y="173"/>
                  </a:moveTo>
                  <a:lnTo>
                    <a:pt x="141" y="171"/>
                  </a:lnTo>
                  <a:lnTo>
                    <a:pt x="137" y="170"/>
                  </a:lnTo>
                  <a:lnTo>
                    <a:pt x="132" y="168"/>
                  </a:lnTo>
                  <a:lnTo>
                    <a:pt x="128" y="164"/>
                  </a:lnTo>
                  <a:lnTo>
                    <a:pt x="8" y="44"/>
                  </a:lnTo>
                  <a:lnTo>
                    <a:pt x="4" y="40"/>
                  </a:lnTo>
                  <a:lnTo>
                    <a:pt x="3" y="36"/>
                  </a:lnTo>
                  <a:lnTo>
                    <a:pt x="1" y="32"/>
                  </a:lnTo>
                  <a:lnTo>
                    <a:pt x="0" y="26"/>
                  </a:lnTo>
                  <a:lnTo>
                    <a:pt x="1" y="21"/>
                  </a:lnTo>
                  <a:lnTo>
                    <a:pt x="3" y="17"/>
                  </a:lnTo>
                  <a:lnTo>
                    <a:pt x="4" y="11"/>
                  </a:lnTo>
                  <a:lnTo>
                    <a:pt x="8" y="9"/>
                  </a:lnTo>
                  <a:lnTo>
                    <a:pt x="13" y="4"/>
                  </a:lnTo>
                  <a:lnTo>
                    <a:pt x="17" y="3"/>
                  </a:lnTo>
                  <a:lnTo>
                    <a:pt x="21" y="1"/>
                  </a:lnTo>
                  <a:lnTo>
                    <a:pt x="27" y="0"/>
                  </a:lnTo>
                  <a:lnTo>
                    <a:pt x="31" y="1"/>
                  </a:lnTo>
                  <a:lnTo>
                    <a:pt x="36" y="3"/>
                  </a:lnTo>
                  <a:lnTo>
                    <a:pt x="42" y="4"/>
                  </a:lnTo>
                  <a:lnTo>
                    <a:pt x="44" y="9"/>
                  </a:lnTo>
                  <a:lnTo>
                    <a:pt x="165" y="128"/>
                  </a:lnTo>
                  <a:lnTo>
                    <a:pt x="168" y="132"/>
                  </a:lnTo>
                  <a:lnTo>
                    <a:pt x="171" y="137"/>
                  </a:lnTo>
                  <a:lnTo>
                    <a:pt x="173" y="141"/>
                  </a:lnTo>
                  <a:lnTo>
                    <a:pt x="173" y="147"/>
                  </a:lnTo>
                  <a:lnTo>
                    <a:pt x="173" y="151"/>
                  </a:lnTo>
                  <a:lnTo>
                    <a:pt x="171" y="155"/>
                  </a:lnTo>
                  <a:lnTo>
                    <a:pt x="168" y="161"/>
                  </a:lnTo>
                  <a:lnTo>
                    <a:pt x="165" y="164"/>
                  </a:lnTo>
                  <a:lnTo>
                    <a:pt x="161" y="168"/>
                  </a:lnTo>
                  <a:lnTo>
                    <a:pt x="157" y="170"/>
                  </a:lnTo>
                  <a:lnTo>
                    <a:pt x="151" y="171"/>
                  </a:lnTo>
                  <a:lnTo>
                    <a:pt x="14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Freeform 227">
              <a:extLst>
                <a:ext uri="{FF2B5EF4-FFF2-40B4-BE49-F238E27FC236}">
                  <a16:creationId xmlns:a16="http://schemas.microsoft.com/office/drawing/2014/main" id="{8E2F46DF-F100-4972-98F7-EC028BB90E5D}"/>
                </a:ext>
              </a:extLst>
            </p:cNvPr>
            <p:cNvSpPr>
              <a:spLocks/>
            </p:cNvSpPr>
            <p:nvPr/>
          </p:nvSpPr>
          <p:spPr bwMode="auto">
            <a:xfrm>
              <a:off x="7502525" y="2130426"/>
              <a:ext cx="90488" cy="90488"/>
            </a:xfrm>
            <a:custGeom>
              <a:avLst/>
              <a:gdLst>
                <a:gd name="T0" fmla="*/ 27 w 173"/>
                <a:gd name="T1" fmla="*/ 173 h 173"/>
                <a:gd name="T2" fmla="*/ 21 w 173"/>
                <a:gd name="T3" fmla="*/ 171 h 173"/>
                <a:gd name="T4" fmla="*/ 17 w 173"/>
                <a:gd name="T5" fmla="*/ 170 h 173"/>
                <a:gd name="T6" fmla="*/ 13 w 173"/>
                <a:gd name="T7" fmla="*/ 168 h 173"/>
                <a:gd name="T8" fmla="*/ 8 w 173"/>
                <a:gd name="T9" fmla="*/ 164 h 173"/>
                <a:gd name="T10" fmla="*/ 4 w 173"/>
                <a:gd name="T11" fmla="*/ 161 h 173"/>
                <a:gd name="T12" fmla="*/ 3 w 173"/>
                <a:gd name="T13" fmla="*/ 155 h 173"/>
                <a:gd name="T14" fmla="*/ 1 w 173"/>
                <a:gd name="T15" fmla="*/ 151 h 173"/>
                <a:gd name="T16" fmla="*/ 0 w 173"/>
                <a:gd name="T17" fmla="*/ 147 h 173"/>
                <a:gd name="T18" fmla="*/ 1 w 173"/>
                <a:gd name="T19" fmla="*/ 141 h 173"/>
                <a:gd name="T20" fmla="*/ 3 w 173"/>
                <a:gd name="T21" fmla="*/ 137 h 173"/>
                <a:gd name="T22" fmla="*/ 4 w 173"/>
                <a:gd name="T23" fmla="*/ 132 h 173"/>
                <a:gd name="T24" fmla="*/ 8 w 173"/>
                <a:gd name="T25" fmla="*/ 128 h 173"/>
                <a:gd name="T26" fmla="*/ 128 w 173"/>
                <a:gd name="T27" fmla="*/ 9 h 173"/>
                <a:gd name="T28" fmla="*/ 132 w 173"/>
                <a:gd name="T29" fmla="*/ 4 h 173"/>
                <a:gd name="T30" fmla="*/ 137 w 173"/>
                <a:gd name="T31" fmla="*/ 3 h 173"/>
                <a:gd name="T32" fmla="*/ 141 w 173"/>
                <a:gd name="T33" fmla="*/ 1 h 173"/>
                <a:gd name="T34" fmla="*/ 147 w 173"/>
                <a:gd name="T35" fmla="*/ 0 h 173"/>
                <a:gd name="T36" fmla="*/ 151 w 173"/>
                <a:gd name="T37" fmla="*/ 1 h 173"/>
                <a:gd name="T38" fmla="*/ 157 w 173"/>
                <a:gd name="T39" fmla="*/ 3 h 173"/>
                <a:gd name="T40" fmla="*/ 161 w 173"/>
                <a:gd name="T41" fmla="*/ 4 h 173"/>
                <a:gd name="T42" fmla="*/ 165 w 173"/>
                <a:gd name="T43" fmla="*/ 9 h 173"/>
                <a:gd name="T44" fmla="*/ 168 w 173"/>
                <a:gd name="T45" fmla="*/ 11 h 173"/>
                <a:gd name="T46" fmla="*/ 171 w 173"/>
                <a:gd name="T47" fmla="*/ 17 h 173"/>
                <a:gd name="T48" fmla="*/ 173 w 173"/>
                <a:gd name="T49" fmla="*/ 21 h 173"/>
                <a:gd name="T50" fmla="*/ 173 w 173"/>
                <a:gd name="T51" fmla="*/ 26 h 173"/>
                <a:gd name="T52" fmla="*/ 173 w 173"/>
                <a:gd name="T53" fmla="*/ 32 h 173"/>
                <a:gd name="T54" fmla="*/ 171 w 173"/>
                <a:gd name="T55" fmla="*/ 36 h 173"/>
                <a:gd name="T56" fmla="*/ 168 w 173"/>
                <a:gd name="T57" fmla="*/ 40 h 173"/>
                <a:gd name="T58" fmla="*/ 165 w 173"/>
                <a:gd name="T59" fmla="*/ 44 h 173"/>
                <a:gd name="T60" fmla="*/ 44 w 173"/>
                <a:gd name="T61" fmla="*/ 164 h 173"/>
                <a:gd name="T62" fmla="*/ 42 w 173"/>
                <a:gd name="T63" fmla="*/ 168 h 173"/>
                <a:gd name="T64" fmla="*/ 36 w 173"/>
                <a:gd name="T65" fmla="*/ 170 h 173"/>
                <a:gd name="T66" fmla="*/ 31 w 173"/>
                <a:gd name="T67" fmla="*/ 171 h 173"/>
                <a:gd name="T68" fmla="*/ 27 w 173"/>
                <a:gd name="T69"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3" h="173">
                  <a:moveTo>
                    <a:pt x="27" y="173"/>
                  </a:moveTo>
                  <a:lnTo>
                    <a:pt x="21" y="171"/>
                  </a:lnTo>
                  <a:lnTo>
                    <a:pt x="17" y="170"/>
                  </a:lnTo>
                  <a:lnTo>
                    <a:pt x="13" y="168"/>
                  </a:lnTo>
                  <a:lnTo>
                    <a:pt x="8" y="164"/>
                  </a:lnTo>
                  <a:lnTo>
                    <a:pt x="4" y="161"/>
                  </a:lnTo>
                  <a:lnTo>
                    <a:pt x="3" y="155"/>
                  </a:lnTo>
                  <a:lnTo>
                    <a:pt x="1" y="151"/>
                  </a:lnTo>
                  <a:lnTo>
                    <a:pt x="0" y="147"/>
                  </a:lnTo>
                  <a:lnTo>
                    <a:pt x="1" y="141"/>
                  </a:lnTo>
                  <a:lnTo>
                    <a:pt x="3" y="137"/>
                  </a:lnTo>
                  <a:lnTo>
                    <a:pt x="4" y="132"/>
                  </a:lnTo>
                  <a:lnTo>
                    <a:pt x="8" y="128"/>
                  </a:lnTo>
                  <a:lnTo>
                    <a:pt x="128" y="9"/>
                  </a:lnTo>
                  <a:lnTo>
                    <a:pt x="132" y="4"/>
                  </a:lnTo>
                  <a:lnTo>
                    <a:pt x="137" y="3"/>
                  </a:lnTo>
                  <a:lnTo>
                    <a:pt x="141" y="1"/>
                  </a:lnTo>
                  <a:lnTo>
                    <a:pt x="147" y="0"/>
                  </a:lnTo>
                  <a:lnTo>
                    <a:pt x="151" y="1"/>
                  </a:lnTo>
                  <a:lnTo>
                    <a:pt x="157" y="3"/>
                  </a:lnTo>
                  <a:lnTo>
                    <a:pt x="161" y="4"/>
                  </a:lnTo>
                  <a:lnTo>
                    <a:pt x="165" y="9"/>
                  </a:lnTo>
                  <a:lnTo>
                    <a:pt x="168" y="11"/>
                  </a:lnTo>
                  <a:lnTo>
                    <a:pt x="171" y="17"/>
                  </a:lnTo>
                  <a:lnTo>
                    <a:pt x="173" y="21"/>
                  </a:lnTo>
                  <a:lnTo>
                    <a:pt x="173" y="26"/>
                  </a:lnTo>
                  <a:lnTo>
                    <a:pt x="173" y="32"/>
                  </a:lnTo>
                  <a:lnTo>
                    <a:pt x="171" y="36"/>
                  </a:lnTo>
                  <a:lnTo>
                    <a:pt x="168" y="40"/>
                  </a:lnTo>
                  <a:lnTo>
                    <a:pt x="165" y="44"/>
                  </a:lnTo>
                  <a:lnTo>
                    <a:pt x="44" y="164"/>
                  </a:lnTo>
                  <a:lnTo>
                    <a:pt x="42" y="168"/>
                  </a:lnTo>
                  <a:lnTo>
                    <a:pt x="36" y="170"/>
                  </a:lnTo>
                  <a:lnTo>
                    <a:pt x="31" y="171"/>
                  </a:lnTo>
                  <a:lnTo>
                    <a:pt x="27"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16" name="Group 25">
            <a:extLst>
              <a:ext uri="{FF2B5EF4-FFF2-40B4-BE49-F238E27FC236}">
                <a16:creationId xmlns:a16="http://schemas.microsoft.com/office/drawing/2014/main" id="{07CD7C16-861A-4CFF-B6DA-EE4C89090D6D}"/>
              </a:ext>
            </a:extLst>
          </p:cNvPr>
          <p:cNvGrpSpPr>
            <a:grpSpLocks noChangeAspect="1"/>
          </p:cNvGrpSpPr>
          <p:nvPr/>
        </p:nvGrpSpPr>
        <p:grpSpPr>
          <a:xfrm>
            <a:off x="1115156" y="4346209"/>
            <a:ext cx="208285" cy="305545"/>
            <a:chOff x="8640211" y="1701541"/>
            <a:chExt cx="418808" cy="614374"/>
          </a:xfrm>
          <a:solidFill>
            <a:schemeClr val="bg1"/>
          </a:solidFill>
          <a:effectLst/>
        </p:grpSpPr>
        <p:sp>
          <p:nvSpPr>
            <p:cNvPr id="317" name="Freeform 10">
              <a:extLst>
                <a:ext uri="{FF2B5EF4-FFF2-40B4-BE49-F238E27FC236}">
                  <a16:creationId xmlns:a16="http://schemas.microsoft.com/office/drawing/2014/main" id="{A307B1DC-5721-4F43-AF70-41D43955FF8C}"/>
                </a:ext>
              </a:extLst>
            </p:cNvPr>
            <p:cNvSpPr>
              <a:spLocks noEditPoints="1"/>
            </p:cNvSpPr>
            <p:nvPr/>
          </p:nvSpPr>
          <p:spPr bwMode="auto">
            <a:xfrm>
              <a:off x="8640211" y="1701541"/>
              <a:ext cx="418808" cy="614374"/>
            </a:xfrm>
            <a:custGeom>
              <a:avLst/>
              <a:gdLst>
                <a:gd name="T0" fmla="*/ 40 w 680"/>
                <a:gd name="T1" fmla="*/ 960 h 1000"/>
                <a:gd name="T2" fmla="*/ 640 w 680"/>
                <a:gd name="T3" fmla="*/ 960 h 1000"/>
                <a:gd name="T4" fmla="*/ 640 w 680"/>
                <a:gd name="T5" fmla="*/ 40 h 1000"/>
                <a:gd name="T6" fmla="*/ 189 w 680"/>
                <a:gd name="T7" fmla="*/ 40 h 1000"/>
                <a:gd name="T8" fmla="*/ 40 w 680"/>
                <a:gd name="T9" fmla="*/ 189 h 1000"/>
                <a:gd name="T10" fmla="*/ 40 w 680"/>
                <a:gd name="T11" fmla="*/ 960 h 1000"/>
                <a:gd name="T12" fmla="*/ 660 w 680"/>
                <a:gd name="T13" fmla="*/ 1000 h 1000"/>
                <a:gd name="T14" fmla="*/ 20 w 680"/>
                <a:gd name="T15" fmla="*/ 1000 h 1000"/>
                <a:gd name="T16" fmla="*/ 16 w 680"/>
                <a:gd name="T17" fmla="*/ 999 h 1000"/>
                <a:gd name="T18" fmla="*/ 13 w 680"/>
                <a:gd name="T19" fmla="*/ 999 h 1000"/>
                <a:gd name="T20" fmla="*/ 9 w 680"/>
                <a:gd name="T21" fmla="*/ 996 h 1000"/>
                <a:gd name="T22" fmla="*/ 7 w 680"/>
                <a:gd name="T23" fmla="*/ 994 h 1000"/>
                <a:gd name="T24" fmla="*/ 4 w 680"/>
                <a:gd name="T25" fmla="*/ 991 h 1000"/>
                <a:gd name="T26" fmla="*/ 2 w 680"/>
                <a:gd name="T27" fmla="*/ 988 h 1000"/>
                <a:gd name="T28" fmla="*/ 0 w 680"/>
                <a:gd name="T29" fmla="*/ 984 h 1000"/>
                <a:gd name="T30" fmla="*/ 0 w 680"/>
                <a:gd name="T31" fmla="*/ 980 h 1000"/>
                <a:gd name="T32" fmla="*/ 0 w 680"/>
                <a:gd name="T33" fmla="*/ 180 h 1000"/>
                <a:gd name="T34" fmla="*/ 0 w 680"/>
                <a:gd name="T35" fmla="*/ 176 h 1000"/>
                <a:gd name="T36" fmla="*/ 2 w 680"/>
                <a:gd name="T37" fmla="*/ 173 h 1000"/>
                <a:gd name="T38" fmla="*/ 4 w 680"/>
                <a:gd name="T39" fmla="*/ 169 h 1000"/>
                <a:gd name="T40" fmla="*/ 7 w 680"/>
                <a:gd name="T41" fmla="*/ 165 h 1000"/>
                <a:gd name="T42" fmla="*/ 167 w 680"/>
                <a:gd name="T43" fmla="*/ 6 h 1000"/>
                <a:gd name="T44" fmla="*/ 169 w 680"/>
                <a:gd name="T45" fmla="*/ 4 h 1000"/>
                <a:gd name="T46" fmla="*/ 173 w 680"/>
                <a:gd name="T47" fmla="*/ 1 h 1000"/>
                <a:gd name="T48" fmla="*/ 177 w 680"/>
                <a:gd name="T49" fmla="*/ 0 h 1000"/>
                <a:gd name="T50" fmla="*/ 180 w 680"/>
                <a:gd name="T51" fmla="*/ 0 h 1000"/>
                <a:gd name="T52" fmla="*/ 660 w 680"/>
                <a:gd name="T53" fmla="*/ 0 h 1000"/>
                <a:gd name="T54" fmla="*/ 664 w 680"/>
                <a:gd name="T55" fmla="*/ 0 h 1000"/>
                <a:gd name="T56" fmla="*/ 667 w 680"/>
                <a:gd name="T57" fmla="*/ 1 h 1000"/>
                <a:gd name="T58" fmla="*/ 671 w 680"/>
                <a:gd name="T59" fmla="*/ 4 h 1000"/>
                <a:gd name="T60" fmla="*/ 675 w 680"/>
                <a:gd name="T61" fmla="*/ 6 h 1000"/>
                <a:gd name="T62" fmla="*/ 677 w 680"/>
                <a:gd name="T63" fmla="*/ 9 h 1000"/>
                <a:gd name="T64" fmla="*/ 678 w 680"/>
                <a:gd name="T65" fmla="*/ 12 h 1000"/>
                <a:gd name="T66" fmla="*/ 680 w 680"/>
                <a:gd name="T67" fmla="*/ 16 h 1000"/>
                <a:gd name="T68" fmla="*/ 680 w 680"/>
                <a:gd name="T69" fmla="*/ 20 h 1000"/>
                <a:gd name="T70" fmla="*/ 680 w 680"/>
                <a:gd name="T71" fmla="*/ 980 h 1000"/>
                <a:gd name="T72" fmla="*/ 680 w 680"/>
                <a:gd name="T73" fmla="*/ 984 h 1000"/>
                <a:gd name="T74" fmla="*/ 678 w 680"/>
                <a:gd name="T75" fmla="*/ 988 h 1000"/>
                <a:gd name="T76" fmla="*/ 677 w 680"/>
                <a:gd name="T77" fmla="*/ 991 h 1000"/>
                <a:gd name="T78" fmla="*/ 675 w 680"/>
                <a:gd name="T79" fmla="*/ 994 h 1000"/>
                <a:gd name="T80" fmla="*/ 671 w 680"/>
                <a:gd name="T81" fmla="*/ 996 h 1000"/>
                <a:gd name="T82" fmla="*/ 667 w 680"/>
                <a:gd name="T83" fmla="*/ 999 h 1000"/>
                <a:gd name="T84" fmla="*/ 664 w 680"/>
                <a:gd name="T85" fmla="*/ 999 h 1000"/>
                <a:gd name="T86" fmla="*/ 660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0" y="960"/>
                  </a:moveTo>
                  <a:lnTo>
                    <a:pt x="640" y="960"/>
                  </a:lnTo>
                  <a:lnTo>
                    <a:pt x="640" y="40"/>
                  </a:lnTo>
                  <a:lnTo>
                    <a:pt x="189" y="40"/>
                  </a:lnTo>
                  <a:lnTo>
                    <a:pt x="40" y="189"/>
                  </a:lnTo>
                  <a:lnTo>
                    <a:pt x="40" y="960"/>
                  </a:lnTo>
                  <a:close/>
                  <a:moveTo>
                    <a:pt x="660" y="1000"/>
                  </a:moveTo>
                  <a:lnTo>
                    <a:pt x="20" y="1000"/>
                  </a:lnTo>
                  <a:lnTo>
                    <a:pt x="16" y="999"/>
                  </a:lnTo>
                  <a:lnTo>
                    <a:pt x="13" y="999"/>
                  </a:lnTo>
                  <a:lnTo>
                    <a:pt x="9" y="996"/>
                  </a:lnTo>
                  <a:lnTo>
                    <a:pt x="7" y="994"/>
                  </a:lnTo>
                  <a:lnTo>
                    <a:pt x="4" y="991"/>
                  </a:lnTo>
                  <a:lnTo>
                    <a:pt x="2" y="988"/>
                  </a:lnTo>
                  <a:lnTo>
                    <a:pt x="0" y="984"/>
                  </a:lnTo>
                  <a:lnTo>
                    <a:pt x="0" y="980"/>
                  </a:lnTo>
                  <a:lnTo>
                    <a:pt x="0" y="180"/>
                  </a:lnTo>
                  <a:lnTo>
                    <a:pt x="0" y="176"/>
                  </a:lnTo>
                  <a:lnTo>
                    <a:pt x="2" y="173"/>
                  </a:lnTo>
                  <a:lnTo>
                    <a:pt x="4" y="169"/>
                  </a:lnTo>
                  <a:lnTo>
                    <a:pt x="7" y="165"/>
                  </a:lnTo>
                  <a:lnTo>
                    <a:pt x="167" y="6"/>
                  </a:lnTo>
                  <a:lnTo>
                    <a:pt x="169" y="4"/>
                  </a:lnTo>
                  <a:lnTo>
                    <a:pt x="173" y="1"/>
                  </a:lnTo>
                  <a:lnTo>
                    <a:pt x="177" y="0"/>
                  </a:lnTo>
                  <a:lnTo>
                    <a:pt x="180" y="0"/>
                  </a:lnTo>
                  <a:lnTo>
                    <a:pt x="660" y="0"/>
                  </a:lnTo>
                  <a:lnTo>
                    <a:pt x="664" y="0"/>
                  </a:lnTo>
                  <a:lnTo>
                    <a:pt x="667" y="1"/>
                  </a:lnTo>
                  <a:lnTo>
                    <a:pt x="671" y="4"/>
                  </a:lnTo>
                  <a:lnTo>
                    <a:pt x="675" y="6"/>
                  </a:lnTo>
                  <a:lnTo>
                    <a:pt x="677" y="9"/>
                  </a:lnTo>
                  <a:lnTo>
                    <a:pt x="678" y="12"/>
                  </a:lnTo>
                  <a:lnTo>
                    <a:pt x="680" y="16"/>
                  </a:lnTo>
                  <a:lnTo>
                    <a:pt x="680" y="20"/>
                  </a:lnTo>
                  <a:lnTo>
                    <a:pt x="680" y="980"/>
                  </a:lnTo>
                  <a:lnTo>
                    <a:pt x="680" y="984"/>
                  </a:lnTo>
                  <a:lnTo>
                    <a:pt x="678" y="988"/>
                  </a:lnTo>
                  <a:lnTo>
                    <a:pt x="677" y="991"/>
                  </a:lnTo>
                  <a:lnTo>
                    <a:pt x="675" y="994"/>
                  </a:lnTo>
                  <a:lnTo>
                    <a:pt x="671" y="996"/>
                  </a:lnTo>
                  <a:lnTo>
                    <a:pt x="667" y="999"/>
                  </a:lnTo>
                  <a:lnTo>
                    <a:pt x="664"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11">
              <a:extLst>
                <a:ext uri="{FF2B5EF4-FFF2-40B4-BE49-F238E27FC236}">
                  <a16:creationId xmlns:a16="http://schemas.microsoft.com/office/drawing/2014/main" id="{C15FEBDE-BA5E-4078-8397-FCE0FED7C66B}"/>
                </a:ext>
              </a:extLst>
            </p:cNvPr>
            <p:cNvSpPr>
              <a:spLocks/>
            </p:cNvSpPr>
            <p:nvPr/>
          </p:nvSpPr>
          <p:spPr bwMode="auto">
            <a:xfrm>
              <a:off x="8640211"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7 w 200"/>
                <a:gd name="T11" fmla="*/ 194 h 200"/>
                <a:gd name="T12" fmla="*/ 4 w 200"/>
                <a:gd name="T13" fmla="*/ 191 h 200"/>
                <a:gd name="T14" fmla="*/ 2 w 200"/>
                <a:gd name="T15" fmla="*/ 188 h 200"/>
                <a:gd name="T16" fmla="*/ 0 w 200"/>
                <a:gd name="T17" fmla="*/ 184 h 200"/>
                <a:gd name="T18" fmla="*/ 0 w 200"/>
                <a:gd name="T19" fmla="*/ 180 h 200"/>
                <a:gd name="T20" fmla="*/ 0 w 200"/>
                <a:gd name="T21" fmla="*/ 176 h 200"/>
                <a:gd name="T22" fmla="*/ 2 w 200"/>
                <a:gd name="T23" fmla="*/ 173 h 200"/>
                <a:gd name="T24" fmla="*/ 4 w 200"/>
                <a:gd name="T25" fmla="*/ 169 h 200"/>
                <a:gd name="T26" fmla="*/ 7 w 200"/>
                <a:gd name="T27" fmla="*/ 165 h 200"/>
                <a:gd name="T28" fmla="*/ 9 w 200"/>
                <a:gd name="T29" fmla="*/ 164 h 200"/>
                <a:gd name="T30" fmla="*/ 13 w 200"/>
                <a:gd name="T31" fmla="*/ 162 h 200"/>
                <a:gd name="T32" fmla="*/ 16 w 200"/>
                <a:gd name="T33" fmla="*/ 160 h 200"/>
                <a:gd name="T34" fmla="*/ 20 w 200"/>
                <a:gd name="T35" fmla="*/ 160 h 200"/>
                <a:gd name="T36" fmla="*/ 161 w 200"/>
                <a:gd name="T37" fmla="*/ 160 h 200"/>
                <a:gd name="T38" fmla="*/ 161 w 200"/>
                <a:gd name="T39" fmla="*/ 20 h 200"/>
                <a:gd name="T40" fmla="*/ 161 w 200"/>
                <a:gd name="T41" fmla="*/ 16 h 200"/>
                <a:gd name="T42" fmla="*/ 162 w 200"/>
                <a:gd name="T43" fmla="*/ 12 h 200"/>
                <a:gd name="T44" fmla="*/ 164 w 200"/>
                <a:gd name="T45" fmla="*/ 9 h 200"/>
                <a:gd name="T46" fmla="*/ 167 w 200"/>
                <a:gd name="T47" fmla="*/ 6 h 200"/>
                <a:gd name="T48" fmla="*/ 169 w 200"/>
                <a:gd name="T49" fmla="*/ 4 h 200"/>
                <a:gd name="T50" fmla="*/ 173 w 200"/>
                <a:gd name="T51" fmla="*/ 1 h 200"/>
                <a:gd name="T52" fmla="*/ 177 w 200"/>
                <a:gd name="T53" fmla="*/ 0 h 200"/>
                <a:gd name="T54" fmla="*/ 180 w 200"/>
                <a:gd name="T55" fmla="*/ 0 h 200"/>
                <a:gd name="T56" fmla="*/ 184 w 200"/>
                <a:gd name="T57" fmla="*/ 0 h 200"/>
                <a:gd name="T58" fmla="*/ 188 w 200"/>
                <a:gd name="T59" fmla="*/ 1 h 200"/>
                <a:gd name="T60" fmla="*/ 192 w 200"/>
                <a:gd name="T61" fmla="*/ 4 h 200"/>
                <a:gd name="T62" fmla="*/ 194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4 w 200"/>
                <a:gd name="T81" fmla="*/ 194 h 200"/>
                <a:gd name="T82" fmla="*/ 192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7" y="194"/>
                  </a:lnTo>
                  <a:lnTo>
                    <a:pt x="4" y="191"/>
                  </a:lnTo>
                  <a:lnTo>
                    <a:pt x="2" y="188"/>
                  </a:lnTo>
                  <a:lnTo>
                    <a:pt x="0" y="184"/>
                  </a:lnTo>
                  <a:lnTo>
                    <a:pt x="0" y="180"/>
                  </a:lnTo>
                  <a:lnTo>
                    <a:pt x="0" y="176"/>
                  </a:lnTo>
                  <a:lnTo>
                    <a:pt x="2" y="173"/>
                  </a:lnTo>
                  <a:lnTo>
                    <a:pt x="4" y="169"/>
                  </a:lnTo>
                  <a:lnTo>
                    <a:pt x="7" y="165"/>
                  </a:lnTo>
                  <a:lnTo>
                    <a:pt x="9" y="164"/>
                  </a:lnTo>
                  <a:lnTo>
                    <a:pt x="13" y="162"/>
                  </a:lnTo>
                  <a:lnTo>
                    <a:pt x="16" y="160"/>
                  </a:lnTo>
                  <a:lnTo>
                    <a:pt x="20" y="160"/>
                  </a:lnTo>
                  <a:lnTo>
                    <a:pt x="161" y="160"/>
                  </a:lnTo>
                  <a:lnTo>
                    <a:pt x="161" y="20"/>
                  </a:lnTo>
                  <a:lnTo>
                    <a:pt x="161" y="16"/>
                  </a:lnTo>
                  <a:lnTo>
                    <a:pt x="162" y="12"/>
                  </a:lnTo>
                  <a:lnTo>
                    <a:pt x="164" y="9"/>
                  </a:lnTo>
                  <a:lnTo>
                    <a:pt x="167" y="6"/>
                  </a:lnTo>
                  <a:lnTo>
                    <a:pt x="169" y="4"/>
                  </a:lnTo>
                  <a:lnTo>
                    <a:pt x="173" y="1"/>
                  </a:lnTo>
                  <a:lnTo>
                    <a:pt x="177" y="0"/>
                  </a:lnTo>
                  <a:lnTo>
                    <a:pt x="180" y="0"/>
                  </a:lnTo>
                  <a:lnTo>
                    <a:pt x="184" y="0"/>
                  </a:lnTo>
                  <a:lnTo>
                    <a:pt x="188" y="1"/>
                  </a:lnTo>
                  <a:lnTo>
                    <a:pt x="192" y="4"/>
                  </a:lnTo>
                  <a:lnTo>
                    <a:pt x="194" y="6"/>
                  </a:lnTo>
                  <a:lnTo>
                    <a:pt x="197" y="9"/>
                  </a:lnTo>
                  <a:lnTo>
                    <a:pt x="199" y="12"/>
                  </a:lnTo>
                  <a:lnTo>
                    <a:pt x="200" y="16"/>
                  </a:lnTo>
                  <a:lnTo>
                    <a:pt x="200" y="20"/>
                  </a:lnTo>
                  <a:lnTo>
                    <a:pt x="200" y="180"/>
                  </a:lnTo>
                  <a:lnTo>
                    <a:pt x="200" y="184"/>
                  </a:lnTo>
                  <a:lnTo>
                    <a:pt x="199" y="188"/>
                  </a:lnTo>
                  <a:lnTo>
                    <a:pt x="197" y="191"/>
                  </a:lnTo>
                  <a:lnTo>
                    <a:pt x="194" y="194"/>
                  </a:lnTo>
                  <a:lnTo>
                    <a:pt x="192"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59">
              <a:extLst>
                <a:ext uri="{FF2B5EF4-FFF2-40B4-BE49-F238E27FC236}">
                  <a16:creationId xmlns:a16="http://schemas.microsoft.com/office/drawing/2014/main" id="{610B56A0-E4F6-45B7-AFA8-EA00B52BED34}"/>
                </a:ext>
              </a:extLst>
            </p:cNvPr>
            <p:cNvSpPr>
              <a:spLocks noEditPoints="1"/>
            </p:cNvSpPr>
            <p:nvPr/>
          </p:nvSpPr>
          <p:spPr bwMode="auto">
            <a:xfrm>
              <a:off x="8715855" y="1898953"/>
              <a:ext cx="269365" cy="269365"/>
            </a:xfrm>
            <a:custGeom>
              <a:avLst/>
              <a:gdLst>
                <a:gd name="T0" fmla="*/ 184 w 439"/>
                <a:gd name="T1" fmla="*/ 43 h 439"/>
                <a:gd name="T2" fmla="*/ 134 w 439"/>
                <a:gd name="T3" fmla="*/ 60 h 439"/>
                <a:gd name="T4" fmla="*/ 92 w 439"/>
                <a:gd name="T5" fmla="*/ 91 h 439"/>
                <a:gd name="T6" fmla="*/ 61 w 439"/>
                <a:gd name="T7" fmla="*/ 134 h 439"/>
                <a:gd name="T8" fmla="*/ 43 w 439"/>
                <a:gd name="T9" fmla="*/ 182 h 439"/>
                <a:gd name="T10" fmla="*/ 41 w 439"/>
                <a:gd name="T11" fmla="*/ 237 h 439"/>
                <a:gd name="T12" fmla="*/ 53 w 439"/>
                <a:gd name="T13" fmla="*/ 289 h 439"/>
                <a:gd name="T14" fmla="*/ 81 w 439"/>
                <a:gd name="T15" fmla="*/ 334 h 439"/>
                <a:gd name="T16" fmla="*/ 119 w 439"/>
                <a:gd name="T17" fmla="*/ 369 h 439"/>
                <a:gd name="T18" fmla="*/ 166 w 439"/>
                <a:gd name="T19" fmla="*/ 391 h 439"/>
                <a:gd name="T20" fmla="*/ 220 w 439"/>
                <a:gd name="T21" fmla="*/ 398 h 439"/>
                <a:gd name="T22" fmla="*/ 273 w 439"/>
                <a:gd name="T23" fmla="*/ 391 h 439"/>
                <a:gd name="T24" fmla="*/ 320 w 439"/>
                <a:gd name="T25" fmla="*/ 369 h 439"/>
                <a:gd name="T26" fmla="*/ 358 w 439"/>
                <a:gd name="T27" fmla="*/ 334 h 439"/>
                <a:gd name="T28" fmla="*/ 385 w 439"/>
                <a:gd name="T29" fmla="*/ 289 h 439"/>
                <a:gd name="T30" fmla="*/ 399 w 439"/>
                <a:gd name="T31" fmla="*/ 237 h 439"/>
                <a:gd name="T32" fmla="*/ 396 w 439"/>
                <a:gd name="T33" fmla="*/ 182 h 439"/>
                <a:gd name="T34" fmla="*/ 377 w 439"/>
                <a:gd name="T35" fmla="*/ 134 h 439"/>
                <a:gd name="T36" fmla="*/ 346 w 439"/>
                <a:gd name="T37" fmla="*/ 91 h 439"/>
                <a:gd name="T38" fmla="*/ 305 w 439"/>
                <a:gd name="T39" fmla="*/ 60 h 439"/>
                <a:gd name="T40" fmla="*/ 256 w 439"/>
                <a:gd name="T41" fmla="*/ 43 h 439"/>
                <a:gd name="T42" fmla="*/ 220 w 439"/>
                <a:gd name="T43" fmla="*/ 439 h 439"/>
                <a:gd name="T44" fmla="*/ 154 w 439"/>
                <a:gd name="T45" fmla="*/ 429 h 439"/>
                <a:gd name="T46" fmla="*/ 97 w 439"/>
                <a:gd name="T47" fmla="*/ 401 h 439"/>
                <a:gd name="T48" fmla="*/ 49 w 439"/>
                <a:gd name="T49" fmla="*/ 359 h 439"/>
                <a:gd name="T50" fmla="*/ 17 w 439"/>
                <a:gd name="T51" fmla="*/ 304 h 439"/>
                <a:gd name="T52" fmla="*/ 1 w 439"/>
                <a:gd name="T53" fmla="*/ 242 h 439"/>
                <a:gd name="T54" fmla="*/ 4 w 439"/>
                <a:gd name="T55" fmla="*/ 175 h 439"/>
                <a:gd name="T56" fmla="*/ 26 w 439"/>
                <a:gd name="T57" fmla="*/ 114 h 439"/>
                <a:gd name="T58" fmla="*/ 64 w 439"/>
                <a:gd name="T59" fmla="*/ 63 h 439"/>
                <a:gd name="T60" fmla="*/ 114 w 439"/>
                <a:gd name="T61" fmla="*/ 26 h 439"/>
                <a:gd name="T62" fmla="*/ 175 w 439"/>
                <a:gd name="T63" fmla="*/ 3 h 439"/>
                <a:gd name="T64" fmla="*/ 242 w 439"/>
                <a:gd name="T65" fmla="*/ 0 h 439"/>
                <a:gd name="T66" fmla="*/ 305 w 439"/>
                <a:gd name="T67" fmla="*/ 16 h 439"/>
                <a:gd name="T68" fmla="*/ 359 w 439"/>
                <a:gd name="T69" fmla="*/ 49 h 439"/>
                <a:gd name="T70" fmla="*/ 401 w 439"/>
                <a:gd name="T71" fmla="*/ 96 h 439"/>
                <a:gd name="T72" fmla="*/ 430 w 439"/>
                <a:gd name="T73" fmla="*/ 154 h 439"/>
                <a:gd name="T74" fmla="*/ 439 w 439"/>
                <a:gd name="T75" fmla="*/ 219 h 439"/>
                <a:gd name="T76" fmla="*/ 430 w 439"/>
                <a:gd name="T77" fmla="*/ 284 h 439"/>
                <a:gd name="T78" fmla="*/ 401 w 439"/>
                <a:gd name="T79" fmla="*/ 342 h 439"/>
                <a:gd name="T80" fmla="*/ 359 w 439"/>
                <a:gd name="T81" fmla="*/ 388 h 439"/>
                <a:gd name="T82" fmla="*/ 305 w 439"/>
                <a:gd name="T83" fmla="*/ 422 h 439"/>
                <a:gd name="T84" fmla="*/ 242 w 439"/>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9" h="439">
                  <a:moveTo>
                    <a:pt x="220" y="39"/>
                  </a:moveTo>
                  <a:lnTo>
                    <a:pt x="201" y="39"/>
                  </a:lnTo>
                  <a:lnTo>
                    <a:pt x="184" y="43"/>
                  </a:lnTo>
                  <a:lnTo>
                    <a:pt x="166" y="47"/>
                  </a:lnTo>
                  <a:lnTo>
                    <a:pt x="149" y="53"/>
                  </a:lnTo>
                  <a:lnTo>
                    <a:pt x="134" y="60"/>
                  </a:lnTo>
                  <a:lnTo>
                    <a:pt x="119" y="70"/>
                  </a:lnTo>
                  <a:lnTo>
                    <a:pt x="105" y="80"/>
                  </a:lnTo>
                  <a:lnTo>
                    <a:pt x="92" y="91"/>
                  </a:lnTo>
                  <a:lnTo>
                    <a:pt x="81" y="105"/>
                  </a:lnTo>
                  <a:lnTo>
                    <a:pt x="71" y="119"/>
                  </a:lnTo>
                  <a:lnTo>
                    <a:pt x="61" y="134"/>
                  </a:lnTo>
                  <a:lnTo>
                    <a:pt x="53" y="149"/>
                  </a:lnTo>
                  <a:lnTo>
                    <a:pt x="47" y="166"/>
                  </a:lnTo>
                  <a:lnTo>
                    <a:pt x="43" y="182"/>
                  </a:lnTo>
                  <a:lnTo>
                    <a:pt x="41" y="201"/>
                  </a:lnTo>
                  <a:lnTo>
                    <a:pt x="40" y="219"/>
                  </a:lnTo>
                  <a:lnTo>
                    <a:pt x="41" y="237"/>
                  </a:lnTo>
                  <a:lnTo>
                    <a:pt x="43" y="255"/>
                  </a:lnTo>
                  <a:lnTo>
                    <a:pt x="47" y="273"/>
                  </a:lnTo>
                  <a:lnTo>
                    <a:pt x="53" y="289"/>
                  </a:lnTo>
                  <a:lnTo>
                    <a:pt x="61" y="305"/>
                  </a:lnTo>
                  <a:lnTo>
                    <a:pt x="71" y="320"/>
                  </a:lnTo>
                  <a:lnTo>
                    <a:pt x="81" y="334"/>
                  </a:lnTo>
                  <a:lnTo>
                    <a:pt x="92" y="346"/>
                  </a:lnTo>
                  <a:lnTo>
                    <a:pt x="105" y="357"/>
                  </a:lnTo>
                  <a:lnTo>
                    <a:pt x="119" y="369"/>
                  </a:lnTo>
                  <a:lnTo>
                    <a:pt x="134" y="377"/>
                  </a:lnTo>
                  <a:lnTo>
                    <a:pt x="149" y="385"/>
                  </a:lnTo>
                  <a:lnTo>
                    <a:pt x="166" y="391"/>
                  </a:lnTo>
                  <a:lnTo>
                    <a:pt x="184" y="396"/>
                  </a:lnTo>
                  <a:lnTo>
                    <a:pt x="201" y="398"/>
                  </a:lnTo>
                  <a:lnTo>
                    <a:pt x="220" y="398"/>
                  </a:lnTo>
                  <a:lnTo>
                    <a:pt x="237" y="398"/>
                  </a:lnTo>
                  <a:lnTo>
                    <a:pt x="256" y="396"/>
                  </a:lnTo>
                  <a:lnTo>
                    <a:pt x="273" y="391"/>
                  </a:lnTo>
                  <a:lnTo>
                    <a:pt x="289" y="385"/>
                  </a:lnTo>
                  <a:lnTo>
                    <a:pt x="305" y="377"/>
                  </a:lnTo>
                  <a:lnTo>
                    <a:pt x="320" y="369"/>
                  </a:lnTo>
                  <a:lnTo>
                    <a:pt x="334" y="357"/>
                  </a:lnTo>
                  <a:lnTo>
                    <a:pt x="346" y="346"/>
                  </a:lnTo>
                  <a:lnTo>
                    <a:pt x="358" y="334"/>
                  </a:lnTo>
                  <a:lnTo>
                    <a:pt x="369" y="320"/>
                  </a:lnTo>
                  <a:lnTo>
                    <a:pt x="377" y="305"/>
                  </a:lnTo>
                  <a:lnTo>
                    <a:pt x="385" y="289"/>
                  </a:lnTo>
                  <a:lnTo>
                    <a:pt x="391" y="273"/>
                  </a:lnTo>
                  <a:lnTo>
                    <a:pt x="396" y="255"/>
                  </a:lnTo>
                  <a:lnTo>
                    <a:pt x="399" y="237"/>
                  </a:lnTo>
                  <a:lnTo>
                    <a:pt x="400" y="219"/>
                  </a:lnTo>
                  <a:lnTo>
                    <a:pt x="399" y="201"/>
                  </a:lnTo>
                  <a:lnTo>
                    <a:pt x="396" y="182"/>
                  </a:lnTo>
                  <a:lnTo>
                    <a:pt x="391" y="166"/>
                  </a:lnTo>
                  <a:lnTo>
                    <a:pt x="385" y="149"/>
                  </a:lnTo>
                  <a:lnTo>
                    <a:pt x="377" y="134"/>
                  </a:lnTo>
                  <a:lnTo>
                    <a:pt x="369" y="119"/>
                  </a:lnTo>
                  <a:lnTo>
                    <a:pt x="358" y="105"/>
                  </a:lnTo>
                  <a:lnTo>
                    <a:pt x="346" y="91"/>
                  </a:lnTo>
                  <a:lnTo>
                    <a:pt x="334" y="80"/>
                  </a:lnTo>
                  <a:lnTo>
                    <a:pt x="320" y="70"/>
                  </a:lnTo>
                  <a:lnTo>
                    <a:pt x="305" y="60"/>
                  </a:lnTo>
                  <a:lnTo>
                    <a:pt x="289" y="53"/>
                  </a:lnTo>
                  <a:lnTo>
                    <a:pt x="273" y="47"/>
                  </a:lnTo>
                  <a:lnTo>
                    <a:pt x="256" y="43"/>
                  </a:lnTo>
                  <a:lnTo>
                    <a:pt x="237" y="39"/>
                  </a:lnTo>
                  <a:lnTo>
                    <a:pt x="220" y="39"/>
                  </a:lnTo>
                  <a:close/>
                  <a:moveTo>
                    <a:pt x="220" y="439"/>
                  </a:moveTo>
                  <a:lnTo>
                    <a:pt x="197" y="438"/>
                  </a:lnTo>
                  <a:lnTo>
                    <a:pt x="175" y="434"/>
                  </a:lnTo>
                  <a:lnTo>
                    <a:pt x="154" y="429"/>
                  </a:lnTo>
                  <a:lnTo>
                    <a:pt x="134" y="422"/>
                  </a:lnTo>
                  <a:lnTo>
                    <a:pt x="114" y="412"/>
                  </a:lnTo>
                  <a:lnTo>
                    <a:pt x="97" y="401"/>
                  </a:lnTo>
                  <a:lnTo>
                    <a:pt x="79" y="388"/>
                  </a:lnTo>
                  <a:lnTo>
                    <a:pt x="64" y="375"/>
                  </a:lnTo>
                  <a:lnTo>
                    <a:pt x="49"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49" y="79"/>
                  </a:lnTo>
                  <a:lnTo>
                    <a:pt x="64" y="63"/>
                  </a:lnTo>
                  <a:lnTo>
                    <a:pt x="79" y="49"/>
                  </a:lnTo>
                  <a:lnTo>
                    <a:pt x="97" y="37"/>
                  </a:lnTo>
                  <a:lnTo>
                    <a:pt x="114" y="26"/>
                  </a:lnTo>
                  <a:lnTo>
                    <a:pt x="134" y="16"/>
                  </a:lnTo>
                  <a:lnTo>
                    <a:pt x="154" y="9"/>
                  </a:lnTo>
                  <a:lnTo>
                    <a:pt x="175" y="3"/>
                  </a:lnTo>
                  <a:lnTo>
                    <a:pt x="197" y="0"/>
                  </a:lnTo>
                  <a:lnTo>
                    <a:pt x="220" y="0"/>
                  </a:lnTo>
                  <a:lnTo>
                    <a:pt x="242" y="0"/>
                  </a:lnTo>
                  <a:lnTo>
                    <a:pt x="263" y="3"/>
                  </a:lnTo>
                  <a:lnTo>
                    <a:pt x="284" y="9"/>
                  </a:lnTo>
                  <a:lnTo>
                    <a:pt x="305" y="16"/>
                  </a:lnTo>
                  <a:lnTo>
                    <a:pt x="324" y="26"/>
                  </a:lnTo>
                  <a:lnTo>
                    <a:pt x="343" y="37"/>
                  </a:lnTo>
                  <a:lnTo>
                    <a:pt x="359" y="49"/>
                  </a:lnTo>
                  <a:lnTo>
                    <a:pt x="375" y="63"/>
                  </a:lnTo>
                  <a:lnTo>
                    <a:pt x="389" y="79"/>
                  </a:lnTo>
                  <a:lnTo>
                    <a:pt x="401" y="96"/>
                  </a:lnTo>
                  <a:lnTo>
                    <a:pt x="412" y="114"/>
                  </a:lnTo>
                  <a:lnTo>
                    <a:pt x="422" y="134"/>
                  </a:lnTo>
                  <a:lnTo>
                    <a:pt x="430" y="154"/>
                  </a:lnTo>
                  <a:lnTo>
                    <a:pt x="435" y="175"/>
                  </a:lnTo>
                  <a:lnTo>
                    <a:pt x="438" y="197"/>
                  </a:lnTo>
                  <a:lnTo>
                    <a:pt x="439" y="219"/>
                  </a:lnTo>
                  <a:lnTo>
                    <a:pt x="438" y="242"/>
                  </a:lnTo>
                  <a:lnTo>
                    <a:pt x="435" y="263"/>
                  </a:lnTo>
                  <a:lnTo>
                    <a:pt x="430" y="284"/>
                  </a:lnTo>
                  <a:lnTo>
                    <a:pt x="422" y="304"/>
                  </a:lnTo>
                  <a:lnTo>
                    <a:pt x="412" y="324"/>
                  </a:lnTo>
                  <a:lnTo>
                    <a:pt x="401" y="342"/>
                  </a:lnTo>
                  <a:lnTo>
                    <a:pt x="389" y="359"/>
                  </a:lnTo>
                  <a:lnTo>
                    <a:pt x="375" y="375"/>
                  </a:lnTo>
                  <a:lnTo>
                    <a:pt x="359" y="388"/>
                  </a:lnTo>
                  <a:lnTo>
                    <a:pt x="343" y="401"/>
                  </a:lnTo>
                  <a:lnTo>
                    <a:pt x="324" y="412"/>
                  </a:lnTo>
                  <a:lnTo>
                    <a:pt x="305"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60">
              <a:extLst>
                <a:ext uri="{FF2B5EF4-FFF2-40B4-BE49-F238E27FC236}">
                  <a16:creationId xmlns:a16="http://schemas.microsoft.com/office/drawing/2014/main" id="{B2E57B45-4CDD-466D-B3C3-AF34A7C38A6F}"/>
                </a:ext>
              </a:extLst>
            </p:cNvPr>
            <p:cNvSpPr>
              <a:spLocks/>
            </p:cNvSpPr>
            <p:nvPr/>
          </p:nvSpPr>
          <p:spPr bwMode="auto">
            <a:xfrm>
              <a:off x="8763824" y="1983821"/>
              <a:ext cx="160512" cy="110698"/>
            </a:xfrm>
            <a:custGeom>
              <a:avLst/>
              <a:gdLst>
                <a:gd name="T0" fmla="*/ 100 w 260"/>
                <a:gd name="T1" fmla="*/ 180 h 180"/>
                <a:gd name="T2" fmla="*/ 96 w 260"/>
                <a:gd name="T3" fmla="*/ 180 h 180"/>
                <a:gd name="T4" fmla="*/ 92 w 260"/>
                <a:gd name="T5" fmla="*/ 179 h 180"/>
                <a:gd name="T6" fmla="*/ 90 w 260"/>
                <a:gd name="T7" fmla="*/ 176 h 180"/>
                <a:gd name="T8" fmla="*/ 86 w 260"/>
                <a:gd name="T9" fmla="*/ 174 h 180"/>
                <a:gd name="T10" fmla="*/ 7 w 260"/>
                <a:gd name="T11" fmla="*/ 94 h 180"/>
                <a:gd name="T12" fmla="*/ 4 w 260"/>
                <a:gd name="T13" fmla="*/ 90 h 180"/>
                <a:gd name="T14" fmla="*/ 2 w 260"/>
                <a:gd name="T15" fmla="*/ 88 h 180"/>
                <a:gd name="T16" fmla="*/ 0 w 260"/>
                <a:gd name="T17" fmla="*/ 84 h 180"/>
                <a:gd name="T18" fmla="*/ 0 w 260"/>
                <a:gd name="T19" fmla="*/ 80 h 180"/>
                <a:gd name="T20" fmla="*/ 0 w 260"/>
                <a:gd name="T21" fmla="*/ 77 h 180"/>
                <a:gd name="T22" fmla="*/ 2 w 260"/>
                <a:gd name="T23" fmla="*/ 73 h 180"/>
                <a:gd name="T24" fmla="*/ 4 w 260"/>
                <a:gd name="T25" fmla="*/ 69 h 180"/>
                <a:gd name="T26" fmla="*/ 7 w 260"/>
                <a:gd name="T27" fmla="*/ 66 h 180"/>
                <a:gd name="T28" fmla="*/ 9 w 260"/>
                <a:gd name="T29" fmla="*/ 63 h 180"/>
                <a:gd name="T30" fmla="*/ 13 w 260"/>
                <a:gd name="T31" fmla="*/ 62 h 180"/>
                <a:gd name="T32" fmla="*/ 16 w 260"/>
                <a:gd name="T33" fmla="*/ 61 h 180"/>
                <a:gd name="T34" fmla="*/ 20 w 260"/>
                <a:gd name="T35" fmla="*/ 61 h 180"/>
                <a:gd name="T36" fmla="*/ 24 w 260"/>
                <a:gd name="T37" fmla="*/ 61 h 180"/>
                <a:gd name="T38" fmla="*/ 28 w 260"/>
                <a:gd name="T39" fmla="*/ 62 h 180"/>
                <a:gd name="T40" fmla="*/ 31 w 260"/>
                <a:gd name="T41" fmla="*/ 63 h 180"/>
                <a:gd name="T42" fmla="*/ 34 w 260"/>
                <a:gd name="T43" fmla="*/ 66 h 180"/>
                <a:gd name="T44" fmla="*/ 100 w 260"/>
                <a:gd name="T45" fmla="*/ 131 h 180"/>
                <a:gd name="T46" fmla="*/ 226 w 260"/>
                <a:gd name="T47" fmla="*/ 6 h 180"/>
                <a:gd name="T48" fmla="*/ 229 w 260"/>
                <a:gd name="T49" fmla="*/ 3 h 180"/>
                <a:gd name="T50" fmla="*/ 233 w 260"/>
                <a:gd name="T51" fmla="*/ 1 h 180"/>
                <a:gd name="T52" fmla="*/ 236 w 260"/>
                <a:gd name="T53" fmla="*/ 1 h 180"/>
                <a:gd name="T54" fmla="*/ 240 w 260"/>
                <a:gd name="T55" fmla="*/ 0 h 180"/>
                <a:gd name="T56" fmla="*/ 244 w 260"/>
                <a:gd name="T57" fmla="*/ 1 h 180"/>
                <a:gd name="T58" fmla="*/ 247 w 260"/>
                <a:gd name="T59" fmla="*/ 1 h 180"/>
                <a:gd name="T60" fmla="*/ 251 w 260"/>
                <a:gd name="T61" fmla="*/ 3 h 180"/>
                <a:gd name="T62" fmla="*/ 255 w 260"/>
                <a:gd name="T63" fmla="*/ 6 h 180"/>
                <a:gd name="T64" fmla="*/ 257 w 260"/>
                <a:gd name="T65" fmla="*/ 8 h 180"/>
                <a:gd name="T66" fmla="*/ 259 w 260"/>
                <a:gd name="T67" fmla="*/ 12 h 180"/>
                <a:gd name="T68" fmla="*/ 260 w 260"/>
                <a:gd name="T69" fmla="*/ 16 h 180"/>
                <a:gd name="T70" fmla="*/ 260 w 260"/>
                <a:gd name="T71" fmla="*/ 20 h 180"/>
                <a:gd name="T72" fmla="*/ 260 w 260"/>
                <a:gd name="T73" fmla="*/ 23 h 180"/>
                <a:gd name="T74" fmla="*/ 259 w 260"/>
                <a:gd name="T75" fmla="*/ 27 h 180"/>
                <a:gd name="T76" fmla="*/ 257 w 260"/>
                <a:gd name="T77" fmla="*/ 31 h 180"/>
                <a:gd name="T78" fmla="*/ 255 w 260"/>
                <a:gd name="T79" fmla="*/ 34 h 180"/>
                <a:gd name="T80" fmla="*/ 115 w 260"/>
                <a:gd name="T81" fmla="*/ 174 h 180"/>
                <a:gd name="T82" fmla="*/ 111 w 260"/>
                <a:gd name="T83" fmla="*/ 176 h 180"/>
                <a:gd name="T84" fmla="*/ 108 w 260"/>
                <a:gd name="T85" fmla="*/ 179 h 180"/>
                <a:gd name="T86" fmla="*/ 105 w 260"/>
                <a:gd name="T87" fmla="*/ 180 h 180"/>
                <a:gd name="T88" fmla="*/ 100 w 260"/>
                <a:gd name="T8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180">
                  <a:moveTo>
                    <a:pt x="100" y="180"/>
                  </a:moveTo>
                  <a:lnTo>
                    <a:pt x="96" y="180"/>
                  </a:lnTo>
                  <a:lnTo>
                    <a:pt x="92" y="179"/>
                  </a:lnTo>
                  <a:lnTo>
                    <a:pt x="90" y="176"/>
                  </a:lnTo>
                  <a:lnTo>
                    <a:pt x="86" y="174"/>
                  </a:lnTo>
                  <a:lnTo>
                    <a:pt x="7" y="94"/>
                  </a:lnTo>
                  <a:lnTo>
                    <a:pt x="4" y="90"/>
                  </a:lnTo>
                  <a:lnTo>
                    <a:pt x="2" y="88"/>
                  </a:lnTo>
                  <a:lnTo>
                    <a:pt x="0" y="84"/>
                  </a:lnTo>
                  <a:lnTo>
                    <a:pt x="0" y="80"/>
                  </a:lnTo>
                  <a:lnTo>
                    <a:pt x="0" y="77"/>
                  </a:lnTo>
                  <a:lnTo>
                    <a:pt x="2" y="73"/>
                  </a:lnTo>
                  <a:lnTo>
                    <a:pt x="4" y="69"/>
                  </a:lnTo>
                  <a:lnTo>
                    <a:pt x="7" y="66"/>
                  </a:lnTo>
                  <a:lnTo>
                    <a:pt x="9" y="63"/>
                  </a:lnTo>
                  <a:lnTo>
                    <a:pt x="13" y="62"/>
                  </a:lnTo>
                  <a:lnTo>
                    <a:pt x="16" y="61"/>
                  </a:lnTo>
                  <a:lnTo>
                    <a:pt x="20" y="61"/>
                  </a:lnTo>
                  <a:lnTo>
                    <a:pt x="24" y="61"/>
                  </a:lnTo>
                  <a:lnTo>
                    <a:pt x="28" y="62"/>
                  </a:lnTo>
                  <a:lnTo>
                    <a:pt x="31" y="63"/>
                  </a:lnTo>
                  <a:lnTo>
                    <a:pt x="34" y="66"/>
                  </a:lnTo>
                  <a:lnTo>
                    <a:pt x="100" y="131"/>
                  </a:lnTo>
                  <a:lnTo>
                    <a:pt x="226" y="6"/>
                  </a:lnTo>
                  <a:lnTo>
                    <a:pt x="229" y="3"/>
                  </a:lnTo>
                  <a:lnTo>
                    <a:pt x="233" y="1"/>
                  </a:lnTo>
                  <a:lnTo>
                    <a:pt x="236" y="1"/>
                  </a:lnTo>
                  <a:lnTo>
                    <a:pt x="240" y="0"/>
                  </a:lnTo>
                  <a:lnTo>
                    <a:pt x="244" y="1"/>
                  </a:lnTo>
                  <a:lnTo>
                    <a:pt x="247" y="1"/>
                  </a:lnTo>
                  <a:lnTo>
                    <a:pt x="251" y="3"/>
                  </a:lnTo>
                  <a:lnTo>
                    <a:pt x="255" y="6"/>
                  </a:lnTo>
                  <a:lnTo>
                    <a:pt x="257" y="8"/>
                  </a:lnTo>
                  <a:lnTo>
                    <a:pt x="259" y="12"/>
                  </a:lnTo>
                  <a:lnTo>
                    <a:pt x="260" y="16"/>
                  </a:lnTo>
                  <a:lnTo>
                    <a:pt x="260" y="20"/>
                  </a:lnTo>
                  <a:lnTo>
                    <a:pt x="260" y="23"/>
                  </a:lnTo>
                  <a:lnTo>
                    <a:pt x="259" y="27"/>
                  </a:lnTo>
                  <a:lnTo>
                    <a:pt x="257" y="31"/>
                  </a:lnTo>
                  <a:lnTo>
                    <a:pt x="255" y="34"/>
                  </a:lnTo>
                  <a:lnTo>
                    <a:pt x="115" y="174"/>
                  </a:lnTo>
                  <a:lnTo>
                    <a:pt x="111" y="176"/>
                  </a:lnTo>
                  <a:lnTo>
                    <a:pt x="108" y="179"/>
                  </a:lnTo>
                  <a:lnTo>
                    <a:pt x="105" y="180"/>
                  </a:lnTo>
                  <a:lnTo>
                    <a:pt x="1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31" name="Group 167">
            <a:extLst>
              <a:ext uri="{FF2B5EF4-FFF2-40B4-BE49-F238E27FC236}">
                <a16:creationId xmlns:a16="http://schemas.microsoft.com/office/drawing/2014/main" id="{327C7E76-C27E-41D0-A500-FA60CC10DAF2}"/>
              </a:ext>
            </a:extLst>
          </p:cNvPr>
          <p:cNvGrpSpPr>
            <a:grpSpLocks noChangeAspect="1"/>
          </p:cNvGrpSpPr>
          <p:nvPr/>
        </p:nvGrpSpPr>
        <p:grpSpPr>
          <a:xfrm>
            <a:off x="1482452" y="4343798"/>
            <a:ext cx="278398" cy="310367"/>
            <a:chOff x="3616325" y="1790701"/>
            <a:chExt cx="663576" cy="739775"/>
          </a:xfrm>
          <a:solidFill>
            <a:schemeClr val="bg1"/>
          </a:solidFill>
          <a:effectLst/>
        </p:grpSpPr>
        <p:sp>
          <p:nvSpPr>
            <p:cNvPr id="332" name="Freeform 99">
              <a:extLst>
                <a:ext uri="{FF2B5EF4-FFF2-40B4-BE49-F238E27FC236}">
                  <a16:creationId xmlns:a16="http://schemas.microsoft.com/office/drawing/2014/main" id="{D53FA5D9-28DC-4E7F-88C2-710EF5429671}"/>
                </a:ext>
              </a:extLst>
            </p:cNvPr>
            <p:cNvSpPr>
              <a:spLocks/>
            </p:cNvSpPr>
            <p:nvPr/>
          </p:nvSpPr>
          <p:spPr bwMode="auto">
            <a:xfrm>
              <a:off x="3644900" y="1790701"/>
              <a:ext cx="473075" cy="677863"/>
            </a:xfrm>
            <a:custGeom>
              <a:avLst/>
              <a:gdLst>
                <a:gd name="T0" fmla="*/ 26 w 893"/>
                <a:gd name="T1" fmla="*/ 1281 h 1281"/>
                <a:gd name="T2" fmla="*/ 16 w 893"/>
                <a:gd name="T3" fmla="*/ 1278 h 1281"/>
                <a:gd name="T4" fmla="*/ 7 w 893"/>
                <a:gd name="T5" fmla="*/ 1273 h 1281"/>
                <a:gd name="T6" fmla="*/ 1 w 893"/>
                <a:gd name="T7" fmla="*/ 1264 h 1281"/>
                <a:gd name="T8" fmla="*/ 0 w 893"/>
                <a:gd name="T9" fmla="*/ 1254 h 1281"/>
                <a:gd name="T10" fmla="*/ 0 w 893"/>
                <a:gd name="T11" fmla="*/ 21 h 1281"/>
                <a:gd name="T12" fmla="*/ 4 w 893"/>
                <a:gd name="T13" fmla="*/ 11 h 1281"/>
                <a:gd name="T14" fmla="*/ 11 w 893"/>
                <a:gd name="T15" fmla="*/ 4 h 1281"/>
                <a:gd name="T16" fmla="*/ 20 w 893"/>
                <a:gd name="T17" fmla="*/ 0 h 1281"/>
                <a:gd name="T18" fmla="*/ 867 w 893"/>
                <a:gd name="T19" fmla="*/ 0 h 1281"/>
                <a:gd name="T20" fmla="*/ 877 w 893"/>
                <a:gd name="T21" fmla="*/ 1 h 1281"/>
                <a:gd name="T22" fmla="*/ 886 w 893"/>
                <a:gd name="T23" fmla="*/ 7 h 1281"/>
                <a:gd name="T24" fmla="*/ 891 w 893"/>
                <a:gd name="T25" fmla="*/ 15 h 1281"/>
                <a:gd name="T26" fmla="*/ 893 w 893"/>
                <a:gd name="T27" fmla="*/ 26 h 1281"/>
                <a:gd name="T28" fmla="*/ 893 w 893"/>
                <a:gd name="T29" fmla="*/ 757 h 1281"/>
                <a:gd name="T30" fmla="*/ 888 w 893"/>
                <a:gd name="T31" fmla="*/ 766 h 1281"/>
                <a:gd name="T32" fmla="*/ 881 w 893"/>
                <a:gd name="T33" fmla="*/ 773 h 1281"/>
                <a:gd name="T34" fmla="*/ 873 w 893"/>
                <a:gd name="T35" fmla="*/ 777 h 1281"/>
                <a:gd name="T36" fmla="*/ 861 w 893"/>
                <a:gd name="T37" fmla="*/ 777 h 1281"/>
                <a:gd name="T38" fmla="*/ 852 w 893"/>
                <a:gd name="T39" fmla="*/ 773 h 1281"/>
                <a:gd name="T40" fmla="*/ 845 w 893"/>
                <a:gd name="T41" fmla="*/ 766 h 1281"/>
                <a:gd name="T42" fmla="*/ 841 w 893"/>
                <a:gd name="T43" fmla="*/ 757 h 1281"/>
                <a:gd name="T44" fmla="*/ 841 w 893"/>
                <a:gd name="T45" fmla="*/ 51 h 1281"/>
                <a:gd name="T46" fmla="*/ 52 w 893"/>
                <a:gd name="T47" fmla="*/ 1228 h 1281"/>
                <a:gd name="T48" fmla="*/ 611 w 893"/>
                <a:gd name="T49" fmla="*/ 1229 h 1281"/>
                <a:gd name="T50" fmla="*/ 621 w 893"/>
                <a:gd name="T51" fmla="*/ 1232 h 1281"/>
                <a:gd name="T52" fmla="*/ 628 w 893"/>
                <a:gd name="T53" fmla="*/ 1239 h 1281"/>
                <a:gd name="T54" fmla="*/ 631 w 893"/>
                <a:gd name="T55" fmla="*/ 1250 h 1281"/>
                <a:gd name="T56" fmla="*/ 631 w 893"/>
                <a:gd name="T57" fmla="*/ 1260 h 1281"/>
                <a:gd name="T58" fmla="*/ 628 w 893"/>
                <a:gd name="T59" fmla="*/ 1270 h 1281"/>
                <a:gd name="T60" fmla="*/ 621 w 893"/>
                <a:gd name="T61" fmla="*/ 1275 h 1281"/>
                <a:gd name="T62" fmla="*/ 611 w 893"/>
                <a:gd name="T6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3" h="1281">
                  <a:moveTo>
                    <a:pt x="606"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3" y="0"/>
                  </a:lnTo>
                  <a:lnTo>
                    <a:pt x="877" y="1"/>
                  </a:lnTo>
                  <a:lnTo>
                    <a:pt x="881" y="4"/>
                  </a:lnTo>
                  <a:lnTo>
                    <a:pt x="886" y="7"/>
                  </a:lnTo>
                  <a:lnTo>
                    <a:pt x="888" y="11"/>
                  </a:lnTo>
                  <a:lnTo>
                    <a:pt x="891" y="15"/>
                  </a:lnTo>
                  <a:lnTo>
                    <a:pt x="893" y="21"/>
                  </a:lnTo>
                  <a:lnTo>
                    <a:pt x="893" y="26"/>
                  </a:lnTo>
                  <a:lnTo>
                    <a:pt x="893" y="751"/>
                  </a:lnTo>
                  <a:lnTo>
                    <a:pt x="893" y="757"/>
                  </a:lnTo>
                  <a:lnTo>
                    <a:pt x="891" y="761"/>
                  </a:lnTo>
                  <a:lnTo>
                    <a:pt x="888" y="766"/>
                  </a:lnTo>
                  <a:lnTo>
                    <a:pt x="886" y="770"/>
                  </a:lnTo>
                  <a:lnTo>
                    <a:pt x="881" y="773"/>
                  </a:lnTo>
                  <a:lnTo>
                    <a:pt x="877" y="776"/>
                  </a:lnTo>
                  <a:lnTo>
                    <a:pt x="873" y="777"/>
                  </a:lnTo>
                  <a:lnTo>
                    <a:pt x="867" y="777"/>
                  </a:lnTo>
                  <a:lnTo>
                    <a:pt x="861" y="777"/>
                  </a:lnTo>
                  <a:lnTo>
                    <a:pt x="857" y="776"/>
                  </a:lnTo>
                  <a:lnTo>
                    <a:pt x="852" y="773"/>
                  </a:lnTo>
                  <a:lnTo>
                    <a:pt x="848" y="770"/>
                  </a:lnTo>
                  <a:lnTo>
                    <a:pt x="845" y="766"/>
                  </a:lnTo>
                  <a:lnTo>
                    <a:pt x="842" y="761"/>
                  </a:lnTo>
                  <a:lnTo>
                    <a:pt x="841" y="757"/>
                  </a:lnTo>
                  <a:lnTo>
                    <a:pt x="841" y="751"/>
                  </a:lnTo>
                  <a:lnTo>
                    <a:pt x="841" y="51"/>
                  </a:lnTo>
                  <a:lnTo>
                    <a:pt x="52" y="51"/>
                  </a:lnTo>
                  <a:lnTo>
                    <a:pt x="52" y="1228"/>
                  </a:lnTo>
                  <a:lnTo>
                    <a:pt x="606" y="1228"/>
                  </a:lnTo>
                  <a:lnTo>
                    <a:pt x="611" y="1229"/>
                  </a:lnTo>
                  <a:lnTo>
                    <a:pt x="616" y="1231"/>
                  </a:lnTo>
                  <a:lnTo>
                    <a:pt x="621" y="1232"/>
                  </a:lnTo>
                  <a:lnTo>
                    <a:pt x="623" y="1237"/>
                  </a:lnTo>
                  <a:lnTo>
                    <a:pt x="628" y="1239"/>
                  </a:lnTo>
                  <a:lnTo>
                    <a:pt x="629" y="1244"/>
                  </a:lnTo>
                  <a:lnTo>
                    <a:pt x="631" y="1250"/>
                  </a:lnTo>
                  <a:lnTo>
                    <a:pt x="632" y="1254"/>
                  </a:lnTo>
                  <a:lnTo>
                    <a:pt x="631" y="1260"/>
                  </a:lnTo>
                  <a:lnTo>
                    <a:pt x="629" y="1264"/>
                  </a:lnTo>
                  <a:lnTo>
                    <a:pt x="628" y="1270"/>
                  </a:lnTo>
                  <a:lnTo>
                    <a:pt x="623" y="1273"/>
                  </a:lnTo>
                  <a:lnTo>
                    <a:pt x="621" y="1275"/>
                  </a:lnTo>
                  <a:lnTo>
                    <a:pt x="616" y="1278"/>
                  </a:lnTo>
                  <a:lnTo>
                    <a:pt x="611" y="1280"/>
                  </a:lnTo>
                  <a:lnTo>
                    <a:pt x="606"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00">
              <a:extLst>
                <a:ext uri="{FF2B5EF4-FFF2-40B4-BE49-F238E27FC236}">
                  <a16:creationId xmlns:a16="http://schemas.microsoft.com/office/drawing/2014/main" id="{67E5FC9C-4B56-43C4-B2BC-DA51C9A833F5}"/>
                </a:ext>
              </a:extLst>
            </p:cNvPr>
            <p:cNvSpPr>
              <a:spLocks/>
            </p:cNvSpPr>
            <p:nvPr/>
          </p:nvSpPr>
          <p:spPr bwMode="auto">
            <a:xfrm>
              <a:off x="3616325" y="1878013"/>
              <a:ext cx="85725" cy="28575"/>
            </a:xfrm>
            <a:custGeom>
              <a:avLst/>
              <a:gdLst>
                <a:gd name="T0" fmla="*/ 138 w 164"/>
                <a:gd name="T1" fmla="*/ 53 h 53"/>
                <a:gd name="T2" fmla="*/ 26 w 164"/>
                <a:gd name="T3" fmla="*/ 53 h 53"/>
                <a:gd name="T4" fmla="*/ 20 w 164"/>
                <a:gd name="T5" fmla="*/ 52 h 53"/>
                <a:gd name="T6" fmla="*/ 16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6 w 164"/>
                <a:gd name="T31" fmla="*/ 3 h 53"/>
                <a:gd name="T32" fmla="*/ 20 w 164"/>
                <a:gd name="T33" fmla="*/ 1 h 53"/>
                <a:gd name="T34" fmla="*/ 26 w 164"/>
                <a:gd name="T35" fmla="*/ 0 h 53"/>
                <a:gd name="T36" fmla="*/ 138 w 164"/>
                <a:gd name="T37" fmla="*/ 0 h 53"/>
                <a:gd name="T38" fmla="*/ 142 w 164"/>
                <a:gd name="T39" fmla="*/ 1 h 53"/>
                <a:gd name="T40" fmla="*/ 148 w 164"/>
                <a:gd name="T41" fmla="*/ 3 h 53"/>
                <a:gd name="T42" fmla="*/ 152 w 164"/>
                <a:gd name="T43" fmla="*/ 4 h 53"/>
                <a:gd name="T44" fmla="*/ 155 w 164"/>
                <a:gd name="T45" fmla="*/ 8 h 53"/>
                <a:gd name="T46" fmla="*/ 160 w 164"/>
                <a:gd name="T47" fmla="*/ 11 h 53"/>
                <a:gd name="T48" fmla="*/ 161 w 164"/>
                <a:gd name="T49" fmla="*/ 16 h 53"/>
                <a:gd name="T50" fmla="*/ 163 w 164"/>
                <a:gd name="T51" fmla="*/ 21 h 53"/>
                <a:gd name="T52" fmla="*/ 164 w 164"/>
                <a:gd name="T53" fmla="*/ 27 h 53"/>
                <a:gd name="T54" fmla="*/ 163 w 164"/>
                <a:gd name="T55" fmla="*/ 31 h 53"/>
                <a:gd name="T56" fmla="*/ 161 w 164"/>
                <a:gd name="T57" fmla="*/ 37 h 53"/>
                <a:gd name="T58" fmla="*/ 160 w 164"/>
                <a:gd name="T59" fmla="*/ 41 h 53"/>
                <a:gd name="T60" fmla="*/ 155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6" y="53"/>
                  </a:lnTo>
                  <a:lnTo>
                    <a:pt x="20" y="52"/>
                  </a:lnTo>
                  <a:lnTo>
                    <a:pt x="16" y="50"/>
                  </a:lnTo>
                  <a:lnTo>
                    <a:pt x="11" y="49"/>
                  </a:lnTo>
                  <a:lnTo>
                    <a:pt x="7" y="44"/>
                  </a:lnTo>
                  <a:lnTo>
                    <a:pt x="4" y="41"/>
                  </a:lnTo>
                  <a:lnTo>
                    <a:pt x="1" y="37"/>
                  </a:lnTo>
                  <a:lnTo>
                    <a:pt x="0" y="31"/>
                  </a:lnTo>
                  <a:lnTo>
                    <a:pt x="0" y="27"/>
                  </a:lnTo>
                  <a:lnTo>
                    <a:pt x="0" y="21"/>
                  </a:lnTo>
                  <a:lnTo>
                    <a:pt x="1" y="16"/>
                  </a:lnTo>
                  <a:lnTo>
                    <a:pt x="4" y="11"/>
                  </a:lnTo>
                  <a:lnTo>
                    <a:pt x="7" y="8"/>
                  </a:lnTo>
                  <a:lnTo>
                    <a:pt x="11" y="4"/>
                  </a:lnTo>
                  <a:lnTo>
                    <a:pt x="16" y="3"/>
                  </a:lnTo>
                  <a:lnTo>
                    <a:pt x="20" y="1"/>
                  </a:lnTo>
                  <a:lnTo>
                    <a:pt x="26" y="0"/>
                  </a:lnTo>
                  <a:lnTo>
                    <a:pt x="138" y="0"/>
                  </a:lnTo>
                  <a:lnTo>
                    <a:pt x="142" y="1"/>
                  </a:lnTo>
                  <a:lnTo>
                    <a:pt x="148" y="3"/>
                  </a:lnTo>
                  <a:lnTo>
                    <a:pt x="152" y="4"/>
                  </a:lnTo>
                  <a:lnTo>
                    <a:pt x="155" y="8"/>
                  </a:lnTo>
                  <a:lnTo>
                    <a:pt x="160" y="11"/>
                  </a:lnTo>
                  <a:lnTo>
                    <a:pt x="161" y="16"/>
                  </a:lnTo>
                  <a:lnTo>
                    <a:pt x="163" y="21"/>
                  </a:lnTo>
                  <a:lnTo>
                    <a:pt x="164" y="27"/>
                  </a:lnTo>
                  <a:lnTo>
                    <a:pt x="163" y="31"/>
                  </a:lnTo>
                  <a:lnTo>
                    <a:pt x="161" y="37"/>
                  </a:lnTo>
                  <a:lnTo>
                    <a:pt x="160" y="41"/>
                  </a:lnTo>
                  <a:lnTo>
                    <a:pt x="155"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01">
              <a:extLst>
                <a:ext uri="{FF2B5EF4-FFF2-40B4-BE49-F238E27FC236}">
                  <a16:creationId xmlns:a16="http://schemas.microsoft.com/office/drawing/2014/main" id="{1F6421B2-FD2C-4EA5-B5EE-9C95384150E5}"/>
                </a:ext>
              </a:extLst>
            </p:cNvPr>
            <p:cNvSpPr>
              <a:spLocks/>
            </p:cNvSpPr>
            <p:nvPr/>
          </p:nvSpPr>
          <p:spPr bwMode="auto">
            <a:xfrm>
              <a:off x="3616325" y="1997076"/>
              <a:ext cx="85725" cy="26988"/>
            </a:xfrm>
            <a:custGeom>
              <a:avLst/>
              <a:gdLst>
                <a:gd name="T0" fmla="*/ 138 w 164"/>
                <a:gd name="T1" fmla="*/ 52 h 52"/>
                <a:gd name="T2" fmla="*/ 26 w 164"/>
                <a:gd name="T3" fmla="*/ 52 h 52"/>
                <a:gd name="T4" fmla="*/ 20 w 164"/>
                <a:gd name="T5" fmla="*/ 51 h 52"/>
                <a:gd name="T6" fmla="*/ 16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6 w 164"/>
                <a:gd name="T31" fmla="*/ 2 h 52"/>
                <a:gd name="T32" fmla="*/ 20 w 164"/>
                <a:gd name="T33" fmla="*/ 0 h 52"/>
                <a:gd name="T34" fmla="*/ 26 w 164"/>
                <a:gd name="T35" fmla="*/ 0 h 52"/>
                <a:gd name="T36" fmla="*/ 138 w 164"/>
                <a:gd name="T37" fmla="*/ 0 h 52"/>
                <a:gd name="T38" fmla="*/ 142 w 164"/>
                <a:gd name="T39" fmla="*/ 0 h 52"/>
                <a:gd name="T40" fmla="*/ 148 w 164"/>
                <a:gd name="T41" fmla="*/ 2 h 52"/>
                <a:gd name="T42" fmla="*/ 152 w 164"/>
                <a:gd name="T43" fmla="*/ 5 h 52"/>
                <a:gd name="T44" fmla="*/ 155 w 164"/>
                <a:gd name="T45" fmla="*/ 8 h 52"/>
                <a:gd name="T46" fmla="*/ 160 w 164"/>
                <a:gd name="T47" fmla="*/ 12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1 h 52"/>
                <a:gd name="T60" fmla="*/ 155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1"/>
                  </a:lnTo>
                  <a:lnTo>
                    <a:pt x="16" y="49"/>
                  </a:lnTo>
                  <a:lnTo>
                    <a:pt x="11" y="48"/>
                  </a:lnTo>
                  <a:lnTo>
                    <a:pt x="7" y="44"/>
                  </a:lnTo>
                  <a:lnTo>
                    <a:pt x="4" y="41"/>
                  </a:lnTo>
                  <a:lnTo>
                    <a:pt x="1" y="36"/>
                  </a:lnTo>
                  <a:lnTo>
                    <a:pt x="0" y="31"/>
                  </a:lnTo>
                  <a:lnTo>
                    <a:pt x="0" y="26"/>
                  </a:lnTo>
                  <a:lnTo>
                    <a:pt x="0" y="20"/>
                  </a:lnTo>
                  <a:lnTo>
                    <a:pt x="1" y="16"/>
                  </a:lnTo>
                  <a:lnTo>
                    <a:pt x="4" y="12"/>
                  </a:lnTo>
                  <a:lnTo>
                    <a:pt x="7" y="8"/>
                  </a:lnTo>
                  <a:lnTo>
                    <a:pt x="11" y="5"/>
                  </a:lnTo>
                  <a:lnTo>
                    <a:pt x="16" y="2"/>
                  </a:lnTo>
                  <a:lnTo>
                    <a:pt x="20" y="0"/>
                  </a:lnTo>
                  <a:lnTo>
                    <a:pt x="26" y="0"/>
                  </a:lnTo>
                  <a:lnTo>
                    <a:pt x="138" y="0"/>
                  </a:lnTo>
                  <a:lnTo>
                    <a:pt x="142" y="0"/>
                  </a:lnTo>
                  <a:lnTo>
                    <a:pt x="148" y="2"/>
                  </a:lnTo>
                  <a:lnTo>
                    <a:pt x="152" y="5"/>
                  </a:lnTo>
                  <a:lnTo>
                    <a:pt x="155" y="8"/>
                  </a:lnTo>
                  <a:lnTo>
                    <a:pt x="160" y="12"/>
                  </a:lnTo>
                  <a:lnTo>
                    <a:pt x="161" y="16"/>
                  </a:lnTo>
                  <a:lnTo>
                    <a:pt x="163" y="20"/>
                  </a:lnTo>
                  <a:lnTo>
                    <a:pt x="164" y="26"/>
                  </a:lnTo>
                  <a:lnTo>
                    <a:pt x="163" y="31"/>
                  </a:lnTo>
                  <a:lnTo>
                    <a:pt x="161" y="36"/>
                  </a:lnTo>
                  <a:lnTo>
                    <a:pt x="160" y="41"/>
                  </a:lnTo>
                  <a:lnTo>
                    <a:pt x="155"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02">
              <a:extLst>
                <a:ext uri="{FF2B5EF4-FFF2-40B4-BE49-F238E27FC236}">
                  <a16:creationId xmlns:a16="http://schemas.microsoft.com/office/drawing/2014/main" id="{B531ED55-12DB-42A6-9DAD-AFBE38B2A9BF}"/>
                </a:ext>
              </a:extLst>
            </p:cNvPr>
            <p:cNvSpPr>
              <a:spLocks/>
            </p:cNvSpPr>
            <p:nvPr/>
          </p:nvSpPr>
          <p:spPr bwMode="auto">
            <a:xfrm>
              <a:off x="3616325" y="2116138"/>
              <a:ext cx="85725" cy="26988"/>
            </a:xfrm>
            <a:custGeom>
              <a:avLst/>
              <a:gdLst>
                <a:gd name="T0" fmla="*/ 138 w 164"/>
                <a:gd name="T1" fmla="*/ 51 h 51"/>
                <a:gd name="T2" fmla="*/ 26 w 164"/>
                <a:gd name="T3" fmla="*/ 51 h 51"/>
                <a:gd name="T4" fmla="*/ 20 w 164"/>
                <a:gd name="T5" fmla="*/ 51 h 51"/>
                <a:gd name="T6" fmla="*/ 16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6 w 164"/>
                <a:gd name="T31" fmla="*/ 1 h 51"/>
                <a:gd name="T32" fmla="*/ 20 w 164"/>
                <a:gd name="T33" fmla="*/ 0 h 51"/>
                <a:gd name="T34" fmla="*/ 26 w 164"/>
                <a:gd name="T35" fmla="*/ 0 h 51"/>
                <a:gd name="T36" fmla="*/ 138 w 164"/>
                <a:gd name="T37" fmla="*/ 0 h 51"/>
                <a:gd name="T38" fmla="*/ 142 w 164"/>
                <a:gd name="T39" fmla="*/ 0 h 51"/>
                <a:gd name="T40" fmla="*/ 148 w 164"/>
                <a:gd name="T41" fmla="*/ 1 h 51"/>
                <a:gd name="T42" fmla="*/ 152 w 164"/>
                <a:gd name="T43" fmla="*/ 4 h 51"/>
                <a:gd name="T44" fmla="*/ 155 w 164"/>
                <a:gd name="T45" fmla="*/ 7 h 51"/>
                <a:gd name="T46" fmla="*/ 160 w 164"/>
                <a:gd name="T47" fmla="*/ 11 h 51"/>
                <a:gd name="T48" fmla="*/ 161 w 164"/>
                <a:gd name="T49" fmla="*/ 15 h 51"/>
                <a:gd name="T50" fmla="*/ 163 w 164"/>
                <a:gd name="T51" fmla="*/ 20 h 51"/>
                <a:gd name="T52" fmla="*/ 164 w 164"/>
                <a:gd name="T53" fmla="*/ 25 h 51"/>
                <a:gd name="T54" fmla="*/ 163 w 164"/>
                <a:gd name="T55" fmla="*/ 30 h 51"/>
                <a:gd name="T56" fmla="*/ 161 w 164"/>
                <a:gd name="T57" fmla="*/ 36 h 51"/>
                <a:gd name="T58" fmla="*/ 160 w 164"/>
                <a:gd name="T59" fmla="*/ 40 h 51"/>
                <a:gd name="T60" fmla="*/ 155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6" y="51"/>
                  </a:lnTo>
                  <a:lnTo>
                    <a:pt x="20" y="51"/>
                  </a:lnTo>
                  <a:lnTo>
                    <a:pt x="16" y="50"/>
                  </a:lnTo>
                  <a:lnTo>
                    <a:pt x="11" y="47"/>
                  </a:lnTo>
                  <a:lnTo>
                    <a:pt x="7" y="44"/>
                  </a:lnTo>
                  <a:lnTo>
                    <a:pt x="4" y="40"/>
                  </a:lnTo>
                  <a:lnTo>
                    <a:pt x="1" y="36"/>
                  </a:lnTo>
                  <a:lnTo>
                    <a:pt x="0" y="30"/>
                  </a:lnTo>
                  <a:lnTo>
                    <a:pt x="0" y="25"/>
                  </a:lnTo>
                  <a:lnTo>
                    <a:pt x="0" y="20"/>
                  </a:lnTo>
                  <a:lnTo>
                    <a:pt x="1" y="15"/>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5"/>
                  </a:lnTo>
                  <a:lnTo>
                    <a:pt x="163" y="20"/>
                  </a:lnTo>
                  <a:lnTo>
                    <a:pt x="164" y="25"/>
                  </a:lnTo>
                  <a:lnTo>
                    <a:pt x="163" y="30"/>
                  </a:lnTo>
                  <a:lnTo>
                    <a:pt x="161" y="36"/>
                  </a:lnTo>
                  <a:lnTo>
                    <a:pt x="160" y="40"/>
                  </a:lnTo>
                  <a:lnTo>
                    <a:pt x="155"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03">
              <a:extLst>
                <a:ext uri="{FF2B5EF4-FFF2-40B4-BE49-F238E27FC236}">
                  <a16:creationId xmlns:a16="http://schemas.microsoft.com/office/drawing/2014/main" id="{953636F1-72D6-429C-B785-55648E3F4291}"/>
                </a:ext>
              </a:extLst>
            </p:cNvPr>
            <p:cNvSpPr>
              <a:spLocks/>
            </p:cNvSpPr>
            <p:nvPr/>
          </p:nvSpPr>
          <p:spPr bwMode="auto">
            <a:xfrm>
              <a:off x="3616325" y="2233613"/>
              <a:ext cx="85725" cy="26988"/>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1 h 52"/>
                <a:gd name="T56" fmla="*/ 161 w 164"/>
                <a:gd name="T57" fmla="*/ 36 h 52"/>
                <a:gd name="T58" fmla="*/ 160 w 164"/>
                <a:gd name="T59" fmla="*/ 40 h 52"/>
                <a:gd name="T60" fmla="*/ 155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4"/>
                  </a:lnTo>
                  <a:lnTo>
                    <a:pt x="4" y="40"/>
                  </a:lnTo>
                  <a:lnTo>
                    <a:pt x="1" y="36"/>
                  </a:lnTo>
                  <a:lnTo>
                    <a:pt x="0" y="31"/>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1"/>
                  </a:lnTo>
                  <a:lnTo>
                    <a:pt x="161" y="36"/>
                  </a:lnTo>
                  <a:lnTo>
                    <a:pt x="160" y="40"/>
                  </a:lnTo>
                  <a:lnTo>
                    <a:pt x="155"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04">
              <a:extLst>
                <a:ext uri="{FF2B5EF4-FFF2-40B4-BE49-F238E27FC236}">
                  <a16:creationId xmlns:a16="http://schemas.microsoft.com/office/drawing/2014/main" id="{47FFF530-5767-4941-A232-028CE2282459}"/>
                </a:ext>
              </a:extLst>
            </p:cNvPr>
            <p:cNvSpPr>
              <a:spLocks/>
            </p:cNvSpPr>
            <p:nvPr/>
          </p:nvSpPr>
          <p:spPr bwMode="auto">
            <a:xfrm>
              <a:off x="3616325" y="2351088"/>
              <a:ext cx="85725" cy="28575"/>
            </a:xfrm>
            <a:custGeom>
              <a:avLst/>
              <a:gdLst>
                <a:gd name="T0" fmla="*/ 138 w 164"/>
                <a:gd name="T1" fmla="*/ 52 h 52"/>
                <a:gd name="T2" fmla="*/ 26 w 164"/>
                <a:gd name="T3" fmla="*/ 52 h 52"/>
                <a:gd name="T4" fmla="*/ 20 w 164"/>
                <a:gd name="T5" fmla="*/ 52 h 52"/>
                <a:gd name="T6" fmla="*/ 16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6 w 164"/>
                <a:gd name="T31" fmla="*/ 1 h 52"/>
                <a:gd name="T32" fmla="*/ 20 w 164"/>
                <a:gd name="T33" fmla="*/ 0 h 52"/>
                <a:gd name="T34" fmla="*/ 26 w 164"/>
                <a:gd name="T35" fmla="*/ 0 h 52"/>
                <a:gd name="T36" fmla="*/ 138 w 164"/>
                <a:gd name="T37" fmla="*/ 0 h 52"/>
                <a:gd name="T38" fmla="*/ 142 w 164"/>
                <a:gd name="T39" fmla="*/ 0 h 52"/>
                <a:gd name="T40" fmla="*/ 148 w 164"/>
                <a:gd name="T41" fmla="*/ 1 h 52"/>
                <a:gd name="T42" fmla="*/ 152 w 164"/>
                <a:gd name="T43" fmla="*/ 4 h 52"/>
                <a:gd name="T44" fmla="*/ 155 w 164"/>
                <a:gd name="T45" fmla="*/ 7 h 52"/>
                <a:gd name="T46" fmla="*/ 160 w 164"/>
                <a:gd name="T47" fmla="*/ 11 h 52"/>
                <a:gd name="T48" fmla="*/ 161 w 164"/>
                <a:gd name="T49" fmla="*/ 16 h 52"/>
                <a:gd name="T50" fmla="*/ 163 w 164"/>
                <a:gd name="T51" fmla="*/ 20 h 52"/>
                <a:gd name="T52" fmla="*/ 164 w 164"/>
                <a:gd name="T53" fmla="*/ 26 h 52"/>
                <a:gd name="T54" fmla="*/ 163 w 164"/>
                <a:gd name="T55" fmla="*/ 32 h 52"/>
                <a:gd name="T56" fmla="*/ 161 w 164"/>
                <a:gd name="T57" fmla="*/ 36 h 52"/>
                <a:gd name="T58" fmla="*/ 160 w 164"/>
                <a:gd name="T59" fmla="*/ 40 h 52"/>
                <a:gd name="T60" fmla="*/ 155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6" y="52"/>
                  </a:lnTo>
                  <a:lnTo>
                    <a:pt x="20" y="52"/>
                  </a:lnTo>
                  <a:lnTo>
                    <a:pt x="16" y="50"/>
                  </a:lnTo>
                  <a:lnTo>
                    <a:pt x="11" y="47"/>
                  </a:lnTo>
                  <a:lnTo>
                    <a:pt x="7" y="45"/>
                  </a:lnTo>
                  <a:lnTo>
                    <a:pt x="4" y="40"/>
                  </a:lnTo>
                  <a:lnTo>
                    <a:pt x="1" y="36"/>
                  </a:lnTo>
                  <a:lnTo>
                    <a:pt x="0" y="32"/>
                  </a:lnTo>
                  <a:lnTo>
                    <a:pt x="0" y="26"/>
                  </a:lnTo>
                  <a:lnTo>
                    <a:pt x="0" y="20"/>
                  </a:lnTo>
                  <a:lnTo>
                    <a:pt x="1" y="16"/>
                  </a:lnTo>
                  <a:lnTo>
                    <a:pt x="4" y="11"/>
                  </a:lnTo>
                  <a:lnTo>
                    <a:pt x="7" y="7"/>
                  </a:lnTo>
                  <a:lnTo>
                    <a:pt x="11" y="4"/>
                  </a:lnTo>
                  <a:lnTo>
                    <a:pt x="16" y="1"/>
                  </a:lnTo>
                  <a:lnTo>
                    <a:pt x="20" y="0"/>
                  </a:lnTo>
                  <a:lnTo>
                    <a:pt x="26" y="0"/>
                  </a:lnTo>
                  <a:lnTo>
                    <a:pt x="138" y="0"/>
                  </a:lnTo>
                  <a:lnTo>
                    <a:pt x="142" y="0"/>
                  </a:lnTo>
                  <a:lnTo>
                    <a:pt x="148" y="1"/>
                  </a:lnTo>
                  <a:lnTo>
                    <a:pt x="152" y="4"/>
                  </a:lnTo>
                  <a:lnTo>
                    <a:pt x="155" y="7"/>
                  </a:lnTo>
                  <a:lnTo>
                    <a:pt x="160" y="11"/>
                  </a:lnTo>
                  <a:lnTo>
                    <a:pt x="161" y="16"/>
                  </a:lnTo>
                  <a:lnTo>
                    <a:pt x="163" y="20"/>
                  </a:lnTo>
                  <a:lnTo>
                    <a:pt x="164" y="26"/>
                  </a:lnTo>
                  <a:lnTo>
                    <a:pt x="163" y="32"/>
                  </a:lnTo>
                  <a:lnTo>
                    <a:pt x="161" y="36"/>
                  </a:lnTo>
                  <a:lnTo>
                    <a:pt x="160" y="40"/>
                  </a:lnTo>
                  <a:lnTo>
                    <a:pt x="155"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05">
              <a:extLst>
                <a:ext uri="{FF2B5EF4-FFF2-40B4-BE49-F238E27FC236}">
                  <a16:creationId xmlns:a16="http://schemas.microsoft.com/office/drawing/2014/main" id="{BC75F5E7-223A-4EF5-994B-7C7475F95389}"/>
                </a:ext>
              </a:extLst>
            </p:cNvPr>
            <p:cNvSpPr>
              <a:spLocks/>
            </p:cNvSpPr>
            <p:nvPr/>
          </p:nvSpPr>
          <p:spPr bwMode="auto">
            <a:xfrm>
              <a:off x="3779838" y="1909763"/>
              <a:ext cx="236538" cy="168275"/>
            </a:xfrm>
            <a:custGeom>
              <a:avLst/>
              <a:gdLst>
                <a:gd name="T0" fmla="*/ 153 w 447"/>
                <a:gd name="T1" fmla="*/ 319 h 319"/>
                <a:gd name="T2" fmla="*/ 147 w 447"/>
                <a:gd name="T3" fmla="*/ 319 h 319"/>
                <a:gd name="T4" fmla="*/ 143 w 447"/>
                <a:gd name="T5" fmla="*/ 318 h 319"/>
                <a:gd name="T6" fmla="*/ 139 w 447"/>
                <a:gd name="T7" fmla="*/ 315 h 319"/>
                <a:gd name="T8" fmla="*/ 134 w 447"/>
                <a:gd name="T9" fmla="*/ 312 h 319"/>
                <a:gd name="T10" fmla="*/ 8 w 447"/>
                <a:gd name="T11" fmla="*/ 185 h 319"/>
                <a:gd name="T12" fmla="*/ 5 w 447"/>
                <a:gd name="T13" fmla="*/ 181 h 319"/>
                <a:gd name="T14" fmla="*/ 2 w 447"/>
                <a:gd name="T15" fmla="*/ 177 h 319"/>
                <a:gd name="T16" fmla="*/ 0 w 447"/>
                <a:gd name="T17" fmla="*/ 173 h 319"/>
                <a:gd name="T18" fmla="*/ 0 w 447"/>
                <a:gd name="T19" fmla="*/ 167 h 319"/>
                <a:gd name="T20" fmla="*/ 0 w 447"/>
                <a:gd name="T21" fmla="*/ 162 h 319"/>
                <a:gd name="T22" fmla="*/ 2 w 447"/>
                <a:gd name="T23" fmla="*/ 157 h 319"/>
                <a:gd name="T24" fmla="*/ 5 w 447"/>
                <a:gd name="T25" fmla="*/ 152 h 319"/>
                <a:gd name="T26" fmla="*/ 8 w 447"/>
                <a:gd name="T27" fmla="*/ 148 h 319"/>
                <a:gd name="T28" fmla="*/ 12 w 447"/>
                <a:gd name="T29" fmla="*/ 145 h 319"/>
                <a:gd name="T30" fmla="*/ 16 w 447"/>
                <a:gd name="T31" fmla="*/ 142 h 319"/>
                <a:gd name="T32" fmla="*/ 21 w 447"/>
                <a:gd name="T33" fmla="*/ 141 h 319"/>
                <a:gd name="T34" fmla="*/ 26 w 447"/>
                <a:gd name="T35" fmla="*/ 141 h 319"/>
                <a:gd name="T36" fmla="*/ 31 w 447"/>
                <a:gd name="T37" fmla="*/ 141 h 319"/>
                <a:gd name="T38" fmla="*/ 36 w 447"/>
                <a:gd name="T39" fmla="*/ 142 h 319"/>
                <a:gd name="T40" fmla="*/ 41 w 447"/>
                <a:gd name="T41" fmla="*/ 145 h 319"/>
                <a:gd name="T42" fmla="*/ 45 w 447"/>
                <a:gd name="T43" fmla="*/ 148 h 319"/>
                <a:gd name="T44" fmla="*/ 153 w 447"/>
                <a:gd name="T45" fmla="*/ 256 h 319"/>
                <a:gd name="T46" fmla="*/ 402 w 447"/>
                <a:gd name="T47" fmla="*/ 8 h 319"/>
                <a:gd name="T48" fmla="*/ 406 w 447"/>
                <a:gd name="T49" fmla="*/ 4 h 319"/>
                <a:gd name="T50" fmla="*/ 411 w 447"/>
                <a:gd name="T51" fmla="*/ 3 h 319"/>
                <a:gd name="T52" fmla="*/ 415 w 447"/>
                <a:gd name="T53" fmla="*/ 1 h 319"/>
                <a:gd name="T54" fmla="*/ 421 w 447"/>
                <a:gd name="T55" fmla="*/ 0 h 319"/>
                <a:gd name="T56" fmla="*/ 425 w 447"/>
                <a:gd name="T57" fmla="*/ 1 h 319"/>
                <a:gd name="T58" fmla="*/ 430 w 447"/>
                <a:gd name="T59" fmla="*/ 3 h 319"/>
                <a:gd name="T60" fmla="*/ 435 w 447"/>
                <a:gd name="T61" fmla="*/ 4 h 319"/>
                <a:gd name="T62" fmla="*/ 438 w 447"/>
                <a:gd name="T63" fmla="*/ 8 h 319"/>
                <a:gd name="T64" fmla="*/ 442 w 447"/>
                <a:gd name="T65" fmla="*/ 11 h 319"/>
                <a:gd name="T66" fmla="*/ 444 w 447"/>
                <a:gd name="T67" fmla="*/ 17 h 319"/>
                <a:gd name="T68" fmla="*/ 445 w 447"/>
                <a:gd name="T69" fmla="*/ 21 h 319"/>
                <a:gd name="T70" fmla="*/ 447 w 447"/>
                <a:gd name="T71" fmla="*/ 26 h 319"/>
                <a:gd name="T72" fmla="*/ 445 w 447"/>
                <a:gd name="T73" fmla="*/ 31 h 319"/>
                <a:gd name="T74" fmla="*/ 444 w 447"/>
                <a:gd name="T75" fmla="*/ 36 h 319"/>
                <a:gd name="T76" fmla="*/ 442 w 447"/>
                <a:gd name="T77" fmla="*/ 40 h 319"/>
                <a:gd name="T78" fmla="*/ 438 w 447"/>
                <a:gd name="T79" fmla="*/ 44 h 319"/>
                <a:gd name="T80" fmla="*/ 172 w 447"/>
                <a:gd name="T81" fmla="*/ 312 h 319"/>
                <a:gd name="T82" fmla="*/ 167 w 447"/>
                <a:gd name="T83" fmla="*/ 315 h 319"/>
                <a:gd name="T84" fmla="*/ 163 w 447"/>
                <a:gd name="T85" fmla="*/ 318 h 319"/>
                <a:gd name="T86" fmla="*/ 157 w 447"/>
                <a:gd name="T87" fmla="*/ 319 h 319"/>
                <a:gd name="T88" fmla="*/ 153 w 447"/>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319">
                  <a:moveTo>
                    <a:pt x="153" y="319"/>
                  </a:moveTo>
                  <a:lnTo>
                    <a:pt x="147" y="319"/>
                  </a:lnTo>
                  <a:lnTo>
                    <a:pt x="143" y="318"/>
                  </a:lnTo>
                  <a:lnTo>
                    <a:pt x="139" y="315"/>
                  </a:lnTo>
                  <a:lnTo>
                    <a:pt x="134" y="312"/>
                  </a:lnTo>
                  <a:lnTo>
                    <a:pt x="8" y="185"/>
                  </a:lnTo>
                  <a:lnTo>
                    <a:pt x="5" y="181"/>
                  </a:lnTo>
                  <a:lnTo>
                    <a:pt x="2" y="177"/>
                  </a:lnTo>
                  <a:lnTo>
                    <a:pt x="0" y="173"/>
                  </a:lnTo>
                  <a:lnTo>
                    <a:pt x="0" y="167"/>
                  </a:lnTo>
                  <a:lnTo>
                    <a:pt x="0" y="162"/>
                  </a:lnTo>
                  <a:lnTo>
                    <a:pt x="2" y="157"/>
                  </a:lnTo>
                  <a:lnTo>
                    <a:pt x="5" y="152"/>
                  </a:lnTo>
                  <a:lnTo>
                    <a:pt x="8" y="148"/>
                  </a:lnTo>
                  <a:lnTo>
                    <a:pt x="12" y="145"/>
                  </a:lnTo>
                  <a:lnTo>
                    <a:pt x="16" y="142"/>
                  </a:lnTo>
                  <a:lnTo>
                    <a:pt x="21" y="141"/>
                  </a:lnTo>
                  <a:lnTo>
                    <a:pt x="26" y="141"/>
                  </a:lnTo>
                  <a:lnTo>
                    <a:pt x="31" y="141"/>
                  </a:lnTo>
                  <a:lnTo>
                    <a:pt x="36" y="142"/>
                  </a:lnTo>
                  <a:lnTo>
                    <a:pt x="41" y="145"/>
                  </a:lnTo>
                  <a:lnTo>
                    <a:pt x="45" y="148"/>
                  </a:lnTo>
                  <a:lnTo>
                    <a:pt x="153" y="256"/>
                  </a:lnTo>
                  <a:lnTo>
                    <a:pt x="402" y="8"/>
                  </a:lnTo>
                  <a:lnTo>
                    <a:pt x="406" y="4"/>
                  </a:lnTo>
                  <a:lnTo>
                    <a:pt x="411" y="3"/>
                  </a:lnTo>
                  <a:lnTo>
                    <a:pt x="415" y="1"/>
                  </a:lnTo>
                  <a:lnTo>
                    <a:pt x="421" y="0"/>
                  </a:lnTo>
                  <a:lnTo>
                    <a:pt x="425" y="1"/>
                  </a:lnTo>
                  <a:lnTo>
                    <a:pt x="430" y="3"/>
                  </a:lnTo>
                  <a:lnTo>
                    <a:pt x="435" y="4"/>
                  </a:lnTo>
                  <a:lnTo>
                    <a:pt x="438" y="8"/>
                  </a:lnTo>
                  <a:lnTo>
                    <a:pt x="442" y="11"/>
                  </a:lnTo>
                  <a:lnTo>
                    <a:pt x="444" y="17"/>
                  </a:lnTo>
                  <a:lnTo>
                    <a:pt x="445" y="21"/>
                  </a:lnTo>
                  <a:lnTo>
                    <a:pt x="447" y="26"/>
                  </a:lnTo>
                  <a:lnTo>
                    <a:pt x="445" y="31"/>
                  </a:lnTo>
                  <a:lnTo>
                    <a:pt x="444" y="36"/>
                  </a:lnTo>
                  <a:lnTo>
                    <a:pt x="442" y="40"/>
                  </a:lnTo>
                  <a:lnTo>
                    <a:pt x="438" y="44"/>
                  </a:lnTo>
                  <a:lnTo>
                    <a:pt x="172" y="312"/>
                  </a:lnTo>
                  <a:lnTo>
                    <a:pt x="167" y="315"/>
                  </a:lnTo>
                  <a:lnTo>
                    <a:pt x="163" y="318"/>
                  </a:lnTo>
                  <a:lnTo>
                    <a:pt x="157" y="319"/>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11">
              <a:extLst>
                <a:ext uri="{FF2B5EF4-FFF2-40B4-BE49-F238E27FC236}">
                  <a16:creationId xmlns:a16="http://schemas.microsoft.com/office/drawing/2014/main" id="{656A9E61-26CA-4A4C-8DD1-6E2F81853549}"/>
                </a:ext>
              </a:extLst>
            </p:cNvPr>
            <p:cNvSpPr>
              <a:spLocks noEditPoints="1"/>
            </p:cNvSpPr>
            <p:nvPr/>
          </p:nvSpPr>
          <p:spPr bwMode="auto">
            <a:xfrm>
              <a:off x="3925888" y="2178051"/>
              <a:ext cx="354013" cy="352425"/>
            </a:xfrm>
            <a:custGeom>
              <a:avLst/>
              <a:gdLst>
                <a:gd name="T0" fmla="*/ 287 w 667"/>
                <a:gd name="T1" fmla="*/ 262 h 666"/>
                <a:gd name="T2" fmla="*/ 252 w 667"/>
                <a:gd name="T3" fmla="*/ 306 h 666"/>
                <a:gd name="T4" fmla="*/ 255 w 667"/>
                <a:gd name="T5" fmla="*/ 365 h 666"/>
                <a:gd name="T6" fmla="*/ 293 w 667"/>
                <a:gd name="T7" fmla="*/ 407 h 666"/>
                <a:gd name="T8" fmla="*/ 352 w 667"/>
                <a:gd name="T9" fmla="*/ 416 h 666"/>
                <a:gd name="T10" fmla="*/ 401 w 667"/>
                <a:gd name="T11" fmla="*/ 387 h 666"/>
                <a:gd name="T12" fmla="*/ 419 w 667"/>
                <a:gd name="T13" fmla="*/ 332 h 666"/>
                <a:gd name="T14" fmla="*/ 401 w 667"/>
                <a:gd name="T15" fmla="*/ 277 h 666"/>
                <a:gd name="T16" fmla="*/ 352 w 667"/>
                <a:gd name="T17" fmla="*/ 249 h 666"/>
                <a:gd name="T18" fmla="*/ 281 w 667"/>
                <a:gd name="T19" fmla="*/ 459 h 666"/>
                <a:gd name="T20" fmla="*/ 213 w 667"/>
                <a:gd name="T21" fmla="*/ 398 h 666"/>
                <a:gd name="T22" fmla="*/ 199 w 667"/>
                <a:gd name="T23" fmla="*/ 305 h 666"/>
                <a:gd name="T24" fmla="*/ 247 w 667"/>
                <a:gd name="T25" fmla="*/ 226 h 666"/>
                <a:gd name="T26" fmla="*/ 334 w 667"/>
                <a:gd name="T27" fmla="*/ 194 h 666"/>
                <a:gd name="T28" fmla="*/ 422 w 667"/>
                <a:gd name="T29" fmla="*/ 226 h 666"/>
                <a:gd name="T30" fmla="*/ 470 w 667"/>
                <a:gd name="T31" fmla="*/ 305 h 666"/>
                <a:gd name="T32" fmla="*/ 455 w 667"/>
                <a:gd name="T33" fmla="*/ 398 h 666"/>
                <a:gd name="T34" fmla="*/ 388 w 667"/>
                <a:gd name="T35" fmla="*/ 459 h 666"/>
                <a:gd name="T36" fmla="*/ 363 w 667"/>
                <a:gd name="T37" fmla="*/ 548 h 666"/>
                <a:gd name="T38" fmla="*/ 422 w 667"/>
                <a:gd name="T39" fmla="*/ 509 h 666"/>
                <a:gd name="T40" fmla="*/ 555 w 667"/>
                <a:gd name="T41" fmla="*/ 511 h 666"/>
                <a:gd name="T42" fmla="*/ 516 w 667"/>
                <a:gd name="T43" fmla="*/ 409 h 666"/>
                <a:gd name="T44" fmla="*/ 615 w 667"/>
                <a:gd name="T45" fmla="*/ 362 h 666"/>
                <a:gd name="T46" fmla="*/ 522 w 667"/>
                <a:gd name="T47" fmla="*/ 270 h 666"/>
                <a:gd name="T48" fmla="*/ 509 w 667"/>
                <a:gd name="T49" fmla="*/ 200 h 666"/>
                <a:gd name="T50" fmla="*/ 434 w 667"/>
                <a:gd name="T51" fmla="*/ 162 h 666"/>
                <a:gd name="T52" fmla="*/ 365 w 667"/>
                <a:gd name="T53" fmla="*/ 125 h 666"/>
                <a:gd name="T54" fmla="*/ 293 w 667"/>
                <a:gd name="T55" fmla="*/ 138 h 666"/>
                <a:gd name="T56" fmla="*/ 218 w 667"/>
                <a:gd name="T57" fmla="*/ 165 h 666"/>
                <a:gd name="T58" fmla="*/ 167 w 667"/>
                <a:gd name="T59" fmla="*/ 216 h 666"/>
                <a:gd name="T60" fmla="*/ 140 w 667"/>
                <a:gd name="T61" fmla="*/ 290 h 666"/>
                <a:gd name="T62" fmla="*/ 126 w 667"/>
                <a:gd name="T63" fmla="*/ 364 h 666"/>
                <a:gd name="T64" fmla="*/ 164 w 667"/>
                <a:gd name="T65" fmla="*/ 433 h 666"/>
                <a:gd name="T66" fmla="*/ 202 w 667"/>
                <a:gd name="T67" fmla="*/ 506 h 666"/>
                <a:gd name="T68" fmla="*/ 271 w 667"/>
                <a:gd name="T69" fmla="*/ 519 h 666"/>
                <a:gd name="T70" fmla="*/ 375 w 667"/>
                <a:gd name="T71" fmla="*/ 666 h 666"/>
                <a:gd name="T72" fmla="*/ 255 w 667"/>
                <a:gd name="T73" fmla="*/ 640 h 666"/>
                <a:gd name="T74" fmla="*/ 179 w 667"/>
                <a:gd name="T75" fmla="*/ 603 h 666"/>
                <a:gd name="T76" fmla="*/ 127 w 667"/>
                <a:gd name="T77" fmla="*/ 597 h 666"/>
                <a:gd name="T78" fmla="*/ 61 w 667"/>
                <a:gd name="T79" fmla="*/ 495 h 666"/>
                <a:gd name="T80" fmla="*/ 33 w 667"/>
                <a:gd name="T81" fmla="*/ 413 h 666"/>
                <a:gd name="T82" fmla="*/ 0 w 667"/>
                <a:gd name="T83" fmla="*/ 374 h 666"/>
                <a:gd name="T84" fmla="*/ 26 w 667"/>
                <a:gd name="T85" fmla="*/ 253 h 666"/>
                <a:gd name="T86" fmla="*/ 64 w 667"/>
                <a:gd name="T87" fmla="*/ 177 h 666"/>
                <a:gd name="T88" fmla="*/ 69 w 667"/>
                <a:gd name="T89" fmla="*/ 126 h 666"/>
                <a:gd name="T90" fmla="*/ 172 w 667"/>
                <a:gd name="T91" fmla="*/ 59 h 666"/>
                <a:gd name="T92" fmla="*/ 252 w 667"/>
                <a:gd name="T93" fmla="*/ 31 h 666"/>
                <a:gd name="T94" fmla="*/ 293 w 667"/>
                <a:gd name="T95" fmla="*/ 0 h 666"/>
                <a:gd name="T96" fmla="*/ 412 w 667"/>
                <a:gd name="T97" fmla="*/ 24 h 666"/>
                <a:gd name="T98" fmla="*/ 490 w 667"/>
                <a:gd name="T99" fmla="*/ 63 h 666"/>
                <a:gd name="T100" fmla="*/ 540 w 667"/>
                <a:gd name="T101" fmla="*/ 67 h 666"/>
                <a:gd name="T102" fmla="*/ 608 w 667"/>
                <a:gd name="T103" fmla="*/ 169 h 666"/>
                <a:gd name="T104" fmla="*/ 635 w 667"/>
                <a:gd name="T105" fmla="*/ 252 h 666"/>
                <a:gd name="T106" fmla="*/ 667 w 667"/>
                <a:gd name="T107" fmla="*/ 292 h 666"/>
                <a:gd name="T108" fmla="*/ 643 w 667"/>
                <a:gd name="T109" fmla="*/ 411 h 666"/>
                <a:gd name="T110" fmla="*/ 604 w 667"/>
                <a:gd name="T111" fmla="*/ 488 h 666"/>
                <a:gd name="T112" fmla="*/ 599 w 667"/>
                <a:gd name="T113" fmla="*/ 540 h 666"/>
                <a:gd name="T114" fmla="*/ 496 w 667"/>
                <a:gd name="T115" fmla="*/ 606 h 666"/>
                <a:gd name="T116" fmla="*/ 415 w 667"/>
                <a:gd name="T117" fmla="*/ 633 h 666"/>
                <a:gd name="T118" fmla="*/ 375 w 667"/>
                <a:gd name="T119" fmla="*/ 66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7" h="666">
                  <a:moveTo>
                    <a:pt x="334" y="247"/>
                  </a:moveTo>
                  <a:lnTo>
                    <a:pt x="326" y="247"/>
                  </a:lnTo>
                  <a:lnTo>
                    <a:pt x="317" y="249"/>
                  </a:lnTo>
                  <a:lnTo>
                    <a:pt x="308" y="250"/>
                  </a:lnTo>
                  <a:lnTo>
                    <a:pt x="301" y="253"/>
                  </a:lnTo>
                  <a:lnTo>
                    <a:pt x="293" y="257"/>
                  </a:lnTo>
                  <a:lnTo>
                    <a:pt x="287" y="262"/>
                  </a:lnTo>
                  <a:lnTo>
                    <a:pt x="280" y="266"/>
                  </a:lnTo>
                  <a:lnTo>
                    <a:pt x="274" y="272"/>
                  </a:lnTo>
                  <a:lnTo>
                    <a:pt x="268" y="277"/>
                  </a:lnTo>
                  <a:lnTo>
                    <a:pt x="262" y="285"/>
                  </a:lnTo>
                  <a:lnTo>
                    <a:pt x="258" y="292"/>
                  </a:lnTo>
                  <a:lnTo>
                    <a:pt x="255" y="299"/>
                  </a:lnTo>
                  <a:lnTo>
                    <a:pt x="252" y="306"/>
                  </a:lnTo>
                  <a:lnTo>
                    <a:pt x="251" y="315"/>
                  </a:lnTo>
                  <a:lnTo>
                    <a:pt x="249" y="324"/>
                  </a:lnTo>
                  <a:lnTo>
                    <a:pt x="248" y="332"/>
                  </a:lnTo>
                  <a:lnTo>
                    <a:pt x="249" y="341"/>
                  </a:lnTo>
                  <a:lnTo>
                    <a:pt x="251" y="349"/>
                  </a:lnTo>
                  <a:lnTo>
                    <a:pt x="252" y="358"/>
                  </a:lnTo>
                  <a:lnTo>
                    <a:pt x="255" y="365"/>
                  </a:lnTo>
                  <a:lnTo>
                    <a:pt x="258" y="373"/>
                  </a:lnTo>
                  <a:lnTo>
                    <a:pt x="262" y="380"/>
                  </a:lnTo>
                  <a:lnTo>
                    <a:pt x="268" y="387"/>
                  </a:lnTo>
                  <a:lnTo>
                    <a:pt x="274" y="393"/>
                  </a:lnTo>
                  <a:lnTo>
                    <a:pt x="280" y="398"/>
                  </a:lnTo>
                  <a:lnTo>
                    <a:pt x="287" y="403"/>
                  </a:lnTo>
                  <a:lnTo>
                    <a:pt x="293" y="407"/>
                  </a:lnTo>
                  <a:lnTo>
                    <a:pt x="301" y="411"/>
                  </a:lnTo>
                  <a:lnTo>
                    <a:pt x="308" y="414"/>
                  </a:lnTo>
                  <a:lnTo>
                    <a:pt x="317" y="416"/>
                  </a:lnTo>
                  <a:lnTo>
                    <a:pt x="326" y="417"/>
                  </a:lnTo>
                  <a:lnTo>
                    <a:pt x="334" y="419"/>
                  </a:lnTo>
                  <a:lnTo>
                    <a:pt x="343" y="417"/>
                  </a:lnTo>
                  <a:lnTo>
                    <a:pt x="352" y="416"/>
                  </a:lnTo>
                  <a:lnTo>
                    <a:pt x="359" y="414"/>
                  </a:lnTo>
                  <a:lnTo>
                    <a:pt x="368" y="411"/>
                  </a:lnTo>
                  <a:lnTo>
                    <a:pt x="375" y="407"/>
                  </a:lnTo>
                  <a:lnTo>
                    <a:pt x="382" y="403"/>
                  </a:lnTo>
                  <a:lnTo>
                    <a:pt x="389" y="398"/>
                  </a:lnTo>
                  <a:lnTo>
                    <a:pt x="395" y="393"/>
                  </a:lnTo>
                  <a:lnTo>
                    <a:pt x="401" y="387"/>
                  </a:lnTo>
                  <a:lnTo>
                    <a:pt x="405" y="380"/>
                  </a:lnTo>
                  <a:lnTo>
                    <a:pt x="409" y="373"/>
                  </a:lnTo>
                  <a:lnTo>
                    <a:pt x="414" y="365"/>
                  </a:lnTo>
                  <a:lnTo>
                    <a:pt x="416" y="358"/>
                  </a:lnTo>
                  <a:lnTo>
                    <a:pt x="418" y="349"/>
                  </a:lnTo>
                  <a:lnTo>
                    <a:pt x="419" y="341"/>
                  </a:lnTo>
                  <a:lnTo>
                    <a:pt x="419" y="332"/>
                  </a:lnTo>
                  <a:lnTo>
                    <a:pt x="419" y="324"/>
                  </a:lnTo>
                  <a:lnTo>
                    <a:pt x="418" y="315"/>
                  </a:lnTo>
                  <a:lnTo>
                    <a:pt x="416" y="306"/>
                  </a:lnTo>
                  <a:lnTo>
                    <a:pt x="414" y="299"/>
                  </a:lnTo>
                  <a:lnTo>
                    <a:pt x="409" y="292"/>
                  </a:lnTo>
                  <a:lnTo>
                    <a:pt x="405" y="285"/>
                  </a:lnTo>
                  <a:lnTo>
                    <a:pt x="401" y="277"/>
                  </a:lnTo>
                  <a:lnTo>
                    <a:pt x="395" y="272"/>
                  </a:lnTo>
                  <a:lnTo>
                    <a:pt x="389" y="266"/>
                  </a:lnTo>
                  <a:lnTo>
                    <a:pt x="382" y="262"/>
                  </a:lnTo>
                  <a:lnTo>
                    <a:pt x="375" y="257"/>
                  </a:lnTo>
                  <a:lnTo>
                    <a:pt x="368" y="253"/>
                  </a:lnTo>
                  <a:lnTo>
                    <a:pt x="359" y="250"/>
                  </a:lnTo>
                  <a:lnTo>
                    <a:pt x="352" y="249"/>
                  </a:lnTo>
                  <a:lnTo>
                    <a:pt x="343" y="247"/>
                  </a:lnTo>
                  <a:lnTo>
                    <a:pt x="334" y="247"/>
                  </a:lnTo>
                  <a:close/>
                  <a:moveTo>
                    <a:pt x="334" y="470"/>
                  </a:moveTo>
                  <a:lnTo>
                    <a:pt x="320" y="469"/>
                  </a:lnTo>
                  <a:lnTo>
                    <a:pt x="307" y="468"/>
                  </a:lnTo>
                  <a:lnTo>
                    <a:pt x="293" y="465"/>
                  </a:lnTo>
                  <a:lnTo>
                    <a:pt x="281" y="459"/>
                  </a:lnTo>
                  <a:lnTo>
                    <a:pt x="268" y="453"/>
                  </a:lnTo>
                  <a:lnTo>
                    <a:pt x="257" y="447"/>
                  </a:lnTo>
                  <a:lnTo>
                    <a:pt x="247" y="439"/>
                  </a:lnTo>
                  <a:lnTo>
                    <a:pt x="236" y="430"/>
                  </a:lnTo>
                  <a:lnTo>
                    <a:pt x="228" y="420"/>
                  </a:lnTo>
                  <a:lnTo>
                    <a:pt x="219" y="410"/>
                  </a:lnTo>
                  <a:lnTo>
                    <a:pt x="213" y="398"/>
                  </a:lnTo>
                  <a:lnTo>
                    <a:pt x="208" y="385"/>
                  </a:lnTo>
                  <a:lnTo>
                    <a:pt x="202" y="374"/>
                  </a:lnTo>
                  <a:lnTo>
                    <a:pt x="199" y="360"/>
                  </a:lnTo>
                  <a:lnTo>
                    <a:pt x="198" y="347"/>
                  </a:lnTo>
                  <a:lnTo>
                    <a:pt x="196" y="332"/>
                  </a:lnTo>
                  <a:lnTo>
                    <a:pt x="198" y="318"/>
                  </a:lnTo>
                  <a:lnTo>
                    <a:pt x="199" y="305"/>
                  </a:lnTo>
                  <a:lnTo>
                    <a:pt x="202" y="292"/>
                  </a:lnTo>
                  <a:lnTo>
                    <a:pt x="208" y="279"/>
                  </a:lnTo>
                  <a:lnTo>
                    <a:pt x="213" y="267"/>
                  </a:lnTo>
                  <a:lnTo>
                    <a:pt x="219" y="256"/>
                  </a:lnTo>
                  <a:lnTo>
                    <a:pt x="228" y="244"/>
                  </a:lnTo>
                  <a:lnTo>
                    <a:pt x="236" y="234"/>
                  </a:lnTo>
                  <a:lnTo>
                    <a:pt x="247" y="226"/>
                  </a:lnTo>
                  <a:lnTo>
                    <a:pt x="257" y="218"/>
                  </a:lnTo>
                  <a:lnTo>
                    <a:pt x="268" y="211"/>
                  </a:lnTo>
                  <a:lnTo>
                    <a:pt x="281" y="205"/>
                  </a:lnTo>
                  <a:lnTo>
                    <a:pt x="293" y="201"/>
                  </a:lnTo>
                  <a:lnTo>
                    <a:pt x="307" y="197"/>
                  </a:lnTo>
                  <a:lnTo>
                    <a:pt x="320" y="195"/>
                  </a:lnTo>
                  <a:lnTo>
                    <a:pt x="334" y="194"/>
                  </a:lnTo>
                  <a:lnTo>
                    <a:pt x="349" y="195"/>
                  </a:lnTo>
                  <a:lnTo>
                    <a:pt x="362" y="197"/>
                  </a:lnTo>
                  <a:lnTo>
                    <a:pt x="375" y="201"/>
                  </a:lnTo>
                  <a:lnTo>
                    <a:pt x="388" y="205"/>
                  </a:lnTo>
                  <a:lnTo>
                    <a:pt x="399" y="211"/>
                  </a:lnTo>
                  <a:lnTo>
                    <a:pt x="411" y="218"/>
                  </a:lnTo>
                  <a:lnTo>
                    <a:pt x="422" y="226"/>
                  </a:lnTo>
                  <a:lnTo>
                    <a:pt x="431" y="234"/>
                  </a:lnTo>
                  <a:lnTo>
                    <a:pt x="441" y="244"/>
                  </a:lnTo>
                  <a:lnTo>
                    <a:pt x="448" y="256"/>
                  </a:lnTo>
                  <a:lnTo>
                    <a:pt x="455" y="267"/>
                  </a:lnTo>
                  <a:lnTo>
                    <a:pt x="461" y="279"/>
                  </a:lnTo>
                  <a:lnTo>
                    <a:pt x="465" y="292"/>
                  </a:lnTo>
                  <a:lnTo>
                    <a:pt x="470" y="305"/>
                  </a:lnTo>
                  <a:lnTo>
                    <a:pt x="471" y="318"/>
                  </a:lnTo>
                  <a:lnTo>
                    <a:pt x="473" y="332"/>
                  </a:lnTo>
                  <a:lnTo>
                    <a:pt x="471" y="347"/>
                  </a:lnTo>
                  <a:lnTo>
                    <a:pt x="470" y="360"/>
                  </a:lnTo>
                  <a:lnTo>
                    <a:pt x="465" y="374"/>
                  </a:lnTo>
                  <a:lnTo>
                    <a:pt x="461" y="385"/>
                  </a:lnTo>
                  <a:lnTo>
                    <a:pt x="455" y="398"/>
                  </a:lnTo>
                  <a:lnTo>
                    <a:pt x="448" y="410"/>
                  </a:lnTo>
                  <a:lnTo>
                    <a:pt x="441" y="420"/>
                  </a:lnTo>
                  <a:lnTo>
                    <a:pt x="431" y="430"/>
                  </a:lnTo>
                  <a:lnTo>
                    <a:pt x="422" y="439"/>
                  </a:lnTo>
                  <a:lnTo>
                    <a:pt x="411" y="447"/>
                  </a:lnTo>
                  <a:lnTo>
                    <a:pt x="399" y="453"/>
                  </a:lnTo>
                  <a:lnTo>
                    <a:pt x="388" y="459"/>
                  </a:lnTo>
                  <a:lnTo>
                    <a:pt x="375" y="465"/>
                  </a:lnTo>
                  <a:lnTo>
                    <a:pt x="362" y="468"/>
                  </a:lnTo>
                  <a:lnTo>
                    <a:pt x="349" y="469"/>
                  </a:lnTo>
                  <a:lnTo>
                    <a:pt x="334" y="470"/>
                  </a:lnTo>
                  <a:close/>
                  <a:moveTo>
                    <a:pt x="304" y="613"/>
                  </a:moveTo>
                  <a:lnTo>
                    <a:pt x="363" y="613"/>
                  </a:lnTo>
                  <a:lnTo>
                    <a:pt x="363" y="548"/>
                  </a:lnTo>
                  <a:lnTo>
                    <a:pt x="365" y="541"/>
                  </a:lnTo>
                  <a:lnTo>
                    <a:pt x="369" y="532"/>
                  </a:lnTo>
                  <a:lnTo>
                    <a:pt x="376" y="527"/>
                  </a:lnTo>
                  <a:lnTo>
                    <a:pt x="383" y="524"/>
                  </a:lnTo>
                  <a:lnTo>
                    <a:pt x="396" y="519"/>
                  </a:lnTo>
                  <a:lnTo>
                    <a:pt x="409" y="515"/>
                  </a:lnTo>
                  <a:lnTo>
                    <a:pt x="422" y="509"/>
                  </a:lnTo>
                  <a:lnTo>
                    <a:pt x="434" y="502"/>
                  </a:lnTo>
                  <a:lnTo>
                    <a:pt x="442" y="499"/>
                  </a:lnTo>
                  <a:lnTo>
                    <a:pt x="451" y="499"/>
                  </a:lnTo>
                  <a:lnTo>
                    <a:pt x="460" y="502"/>
                  </a:lnTo>
                  <a:lnTo>
                    <a:pt x="465" y="506"/>
                  </a:lnTo>
                  <a:lnTo>
                    <a:pt x="512" y="553"/>
                  </a:lnTo>
                  <a:lnTo>
                    <a:pt x="555" y="511"/>
                  </a:lnTo>
                  <a:lnTo>
                    <a:pt x="509" y="465"/>
                  </a:lnTo>
                  <a:lnTo>
                    <a:pt x="503" y="457"/>
                  </a:lnTo>
                  <a:lnTo>
                    <a:pt x="500" y="449"/>
                  </a:lnTo>
                  <a:lnTo>
                    <a:pt x="501" y="440"/>
                  </a:lnTo>
                  <a:lnTo>
                    <a:pt x="504" y="433"/>
                  </a:lnTo>
                  <a:lnTo>
                    <a:pt x="510" y="420"/>
                  </a:lnTo>
                  <a:lnTo>
                    <a:pt x="516" y="409"/>
                  </a:lnTo>
                  <a:lnTo>
                    <a:pt x="522" y="396"/>
                  </a:lnTo>
                  <a:lnTo>
                    <a:pt x="526" y="381"/>
                  </a:lnTo>
                  <a:lnTo>
                    <a:pt x="529" y="374"/>
                  </a:lnTo>
                  <a:lnTo>
                    <a:pt x="535" y="368"/>
                  </a:lnTo>
                  <a:lnTo>
                    <a:pt x="542" y="364"/>
                  </a:lnTo>
                  <a:lnTo>
                    <a:pt x="550" y="362"/>
                  </a:lnTo>
                  <a:lnTo>
                    <a:pt x="615" y="362"/>
                  </a:lnTo>
                  <a:lnTo>
                    <a:pt x="615" y="302"/>
                  </a:lnTo>
                  <a:lnTo>
                    <a:pt x="550" y="302"/>
                  </a:lnTo>
                  <a:lnTo>
                    <a:pt x="542" y="301"/>
                  </a:lnTo>
                  <a:lnTo>
                    <a:pt x="535" y="298"/>
                  </a:lnTo>
                  <a:lnTo>
                    <a:pt x="529" y="290"/>
                  </a:lnTo>
                  <a:lnTo>
                    <a:pt x="526" y="283"/>
                  </a:lnTo>
                  <a:lnTo>
                    <a:pt x="522" y="270"/>
                  </a:lnTo>
                  <a:lnTo>
                    <a:pt x="516" y="257"/>
                  </a:lnTo>
                  <a:lnTo>
                    <a:pt x="510" y="244"/>
                  </a:lnTo>
                  <a:lnTo>
                    <a:pt x="504" y="233"/>
                  </a:lnTo>
                  <a:lnTo>
                    <a:pt x="501" y="224"/>
                  </a:lnTo>
                  <a:lnTo>
                    <a:pt x="501" y="216"/>
                  </a:lnTo>
                  <a:lnTo>
                    <a:pt x="503" y="207"/>
                  </a:lnTo>
                  <a:lnTo>
                    <a:pt x="509" y="200"/>
                  </a:lnTo>
                  <a:lnTo>
                    <a:pt x="555" y="155"/>
                  </a:lnTo>
                  <a:lnTo>
                    <a:pt x="512" y="112"/>
                  </a:lnTo>
                  <a:lnTo>
                    <a:pt x="465" y="158"/>
                  </a:lnTo>
                  <a:lnTo>
                    <a:pt x="460" y="164"/>
                  </a:lnTo>
                  <a:lnTo>
                    <a:pt x="451" y="165"/>
                  </a:lnTo>
                  <a:lnTo>
                    <a:pt x="442" y="165"/>
                  </a:lnTo>
                  <a:lnTo>
                    <a:pt x="434" y="162"/>
                  </a:lnTo>
                  <a:lnTo>
                    <a:pt x="422" y="155"/>
                  </a:lnTo>
                  <a:lnTo>
                    <a:pt x="409" y="149"/>
                  </a:lnTo>
                  <a:lnTo>
                    <a:pt x="396" y="145"/>
                  </a:lnTo>
                  <a:lnTo>
                    <a:pt x="383" y="141"/>
                  </a:lnTo>
                  <a:lnTo>
                    <a:pt x="376" y="138"/>
                  </a:lnTo>
                  <a:lnTo>
                    <a:pt x="369" y="132"/>
                  </a:lnTo>
                  <a:lnTo>
                    <a:pt x="365" y="125"/>
                  </a:lnTo>
                  <a:lnTo>
                    <a:pt x="363" y="116"/>
                  </a:lnTo>
                  <a:lnTo>
                    <a:pt x="363" y="51"/>
                  </a:lnTo>
                  <a:lnTo>
                    <a:pt x="304" y="51"/>
                  </a:lnTo>
                  <a:lnTo>
                    <a:pt x="304" y="116"/>
                  </a:lnTo>
                  <a:lnTo>
                    <a:pt x="303" y="125"/>
                  </a:lnTo>
                  <a:lnTo>
                    <a:pt x="298" y="132"/>
                  </a:lnTo>
                  <a:lnTo>
                    <a:pt x="293" y="138"/>
                  </a:lnTo>
                  <a:lnTo>
                    <a:pt x="284" y="141"/>
                  </a:lnTo>
                  <a:lnTo>
                    <a:pt x="271" y="145"/>
                  </a:lnTo>
                  <a:lnTo>
                    <a:pt x="258" y="149"/>
                  </a:lnTo>
                  <a:lnTo>
                    <a:pt x="247" y="155"/>
                  </a:lnTo>
                  <a:lnTo>
                    <a:pt x="234" y="162"/>
                  </a:lnTo>
                  <a:lnTo>
                    <a:pt x="226" y="165"/>
                  </a:lnTo>
                  <a:lnTo>
                    <a:pt x="218" y="165"/>
                  </a:lnTo>
                  <a:lnTo>
                    <a:pt x="209" y="164"/>
                  </a:lnTo>
                  <a:lnTo>
                    <a:pt x="202" y="158"/>
                  </a:lnTo>
                  <a:lnTo>
                    <a:pt x="156" y="112"/>
                  </a:lnTo>
                  <a:lnTo>
                    <a:pt x="114" y="155"/>
                  </a:lnTo>
                  <a:lnTo>
                    <a:pt x="160" y="200"/>
                  </a:lnTo>
                  <a:lnTo>
                    <a:pt x="164" y="207"/>
                  </a:lnTo>
                  <a:lnTo>
                    <a:pt x="167" y="216"/>
                  </a:lnTo>
                  <a:lnTo>
                    <a:pt x="167" y="224"/>
                  </a:lnTo>
                  <a:lnTo>
                    <a:pt x="164" y="233"/>
                  </a:lnTo>
                  <a:lnTo>
                    <a:pt x="157" y="244"/>
                  </a:lnTo>
                  <a:lnTo>
                    <a:pt x="152" y="257"/>
                  </a:lnTo>
                  <a:lnTo>
                    <a:pt x="147" y="270"/>
                  </a:lnTo>
                  <a:lnTo>
                    <a:pt x="143" y="283"/>
                  </a:lnTo>
                  <a:lnTo>
                    <a:pt x="140" y="290"/>
                  </a:lnTo>
                  <a:lnTo>
                    <a:pt x="134" y="298"/>
                  </a:lnTo>
                  <a:lnTo>
                    <a:pt x="126" y="301"/>
                  </a:lnTo>
                  <a:lnTo>
                    <a:pt x="117" y="302"/>
                  </a:lnTo>
                  <a:lnTo>
                    <a:pt x="52" y="302"/>
                  </a:lnTo>
                  <a:lnTo>
                    <a:pt x="52" y="362"/>
                  </a:lnTo>
                  <a:lnTo>
                    <a:pt x="117" y="362"/>
                  </a:lnTo>
                  <a:lnTo>
                    <a:pt x="126" y="364"/>
                  </a:lnTo>
                  <a:lnTo>
                    <a:pt x="134" y="368"/>
                  </a:lnTo>
                  <a:lnTo>
                    <a:pt x="140" y="374"/>
                  </a:lnTo>
                  <a:lnTo>
                    <a:pt x="143" y="381"/>
                  </a:lnTo>
                  <a:lnTo>
                    <a:pt x="147" y="396"/>
                  </a:lnTo>
                  <a:lnTo>
                    <a:pt x="152" y="409"/>
                  </a:lnTo>
                  <a:lnTo>
                    <a:pt x="157" y="420"/>
                  </a:lnTo>
                  <a:lnTo>
                    <a:pt x="164" y="433"/>
                  </a:lnTo>
                  <a:lnTo>
                    <a:pt x="167" y="440"/>
                  </a:lnTo>
                  <a:lnTo>
                    <a:pt x="167" y="449"/>
                  </a:lnTo>
                  <a:lnTo>
                    <a:pt x="164" y="457"/>
                  </a:lnTo>
                  <a:lnTo>
                    <a:pt x="160" y="465"/>
                  </a:lnTo>
                  <a:lnTo>
                    <a:pt x="114" y="511"/>
                  </a:lnTo>
                  <a:lnTo>
                    <a:pt x="156" y="553"/>
                  </a:lnTo>
                  <a:lnTo>
                    <a:pt x="202" y="506"/>
                  </a:lnTo>
                  <a:lnTo>
                    <a:pt x="209" y="502"/>
                  </a:lnTo>
                  <a:lnTo>
                    <a:pt x="218" y="499"/>
                  </a:lnTo>
                  <a:lnTo>
                    <a:pt x="226" y="499"/>
                  </a:lnTo>
                  <a:lnTo>
                    <a:pt x="234" y="502"/>
                  </a:lnTo>
                  <a:lnTo>
                    <a:pt x="247" y="509"/>
                  </a:lnTo>
                  <a:lnTo>
                    <a:pt x="258" y="515"/>
                  </a:lnTo>
                  <a:lnTo>
                    <a:pt x="271" y="519"/>
                  </a:lnTo>
                  <a:lnTo>
                    <a:pt x="284" y="524"/>
                  </a:lnTo>
                  <a:lnTo>
                    <a:pt x="293" y="527"/>
                  </a:lnTo>
                  <a:lnTo>
                    <a:pt x="298" y="532"/>
                  </a:lnTo>
                  <a:lnTo>
                    <a:pt x="303" y="541"/>
                  </a:lnTo>
                  <a:lnTo>
                    <a:pt x="304" y="548"/>
                  </a:lnTo>
                  <a:lnTo>
                    <a:pt x="304" y="613"/>
                  </a:lnTo>
                  <a:close/>
                  <a:moveTo>
                    <a:pt x="375" y="666"/>
                  </a:moveTo>
                  <a:lnTo>
                    <a:pt x="293" y="666"/>
                  </a:lnTo>
                  <a:lnTo>
                    <a:pt x="285" y="665"/>
                  </a:lnTo>
                  <a:lnTo>
                    <a:pt x="277" y="662"/>
                  </a:lnTo>
                  <a:lnTo>
                    <a:pt x="270" y="659"/>
                  </a:lnTo>
                  <a:lnTo>
                    <a:pt x="264" y="653"/>
                  </a:lnTo>
                  <a:lnTo>
                    <a:pt x="260" y="648"/>
                  </a:lnTo>
                  <a:lnTo>
                    <a:pt x="255" y="640"/>
                  </a:lnTo>
                  <a:lnTo>
                    <a:pt x="252" y="633"/>
                  </a:lnTo>
                  <a:lnTo>
                    <a:pt x="252" y="625"/>
                  </a:lnTo>
                  <a:lnTo>
                    <a:pt x="252" y="568"/>
                  </a:lnTo>
                  <a:lnTo>
                    <a:pt x="238" y="563"/>
                  </a:lnTo>
                  <a:lnTo>
                    <a:pt x="225" y="557"/>
                  </a:lnTo>
                  <a:lnTo>
                    <a:pt x="185" y="597"/>
                  </a:lnTo>
                  <a:lnTo>
                    <a:pt x="179" y="603"/>
                  </a:lnTo>
                  <a:lnTo>
                    <a:pt x="172" y="606"/>
                  </a:lnTo>
                  <a:lnTo>
                    <a:pt x="164" y="609"/>
                  </a:lnTo>
                  <a:lnTo>
                    <a:pt x="156" y="609"/>
                  </a:lnTo>
                  <a:lnTo>
                    <a:pt x="149" y="609"/>
                  </a:lnTo>
                  <a:lnTo>
                    <a:pt x="140" y="606"/>
                  </a:lnTo>
                  <a:lnTo>
                    <a:pt x="134" y="603"/>
                  </a:lnTo>
                  <a:lnTo>
                    <a:pt x="127" y="597"/>
                  </a:lnTo>
                  <a:lnTo>
                    <a:pt x="69" y="540"/>
                  </a:lnTo>
                  <a:lnTo>
                    <a:pt x="64" y="532"/>
                  </a:lnTo>
                  <a:lnTo>
                    <a:pt x="61" y="525"/>
                  </a:lnTo>
                  <a:lnTo>
                    <a:pt x="58" y="518"/>
                  </a:lnTo>
                  <a:lnTo>
                    <a:pt x="58" y="511"/>
                  </a:lnTo>
                  <a:lnTo>
                    <a:pt x="58" y="502"/>
                  </a:lnTo>
                  <a:lnTo>
                    <a:pt x="61" y="495"/>
                  </a:lnTo>
                  <a:lnTo>
                    <a:pt x="64" y="488"/>
                  </a:lnTo>
                  <a:lnTo>
                    <a:pt x="69" y="482"/>
                  </a:lnTo>
                  <a:lnTo>
                    <a:pt x="110" y="442"/>
                  </a:lnTo>
                  <a:lnTo>
                    <a:pt x="104" y="427"/>
                  </a:lnTo>
                  <a:lnTo>
                    <a:pt x="98" y="414"/>
                  </a:lnTo>
                  <a:lnTo>
                    <a:pt x="42" y="414"/>
                  </a:lnTo>
                  <a:lnTo>
                    <a:pt x="33" y="413"/>
                  </a:lnTo>
                  <a:lnTo>
                    <a:pt x="26" y="411"/>
                  </a:lnTo>
                  <a:lnTo>
                    <a:pt x="19" y="407"/>
                  </a:lnTo>
                  <a:lnTo>
                    <a:pt x="13" y="403"/>
                  </a:lnTo>
                  <a:lnTo>
                    <a:pt x="8" y="397"/>
                  </a:lnTo>
                  <a:lnTo>
                    <a:pt x="3" y="390"/>
                  </a:lnTo>
                  <a:lnTo>
                    <a:pt x="2" y="381"/>
                  </a:lnTo>
                  <a:lnTo>
                    <a:pt x="0" y="374"/>
                  </a:lnTo>
                  <a:lnTo>
                    <a:pt x="0" y="292"/>
                  </a:lnTo>
                  <a:lnTo>
                    <a:pt x="2" y="283"/>
                  </a:lnTo>
                  <a:lnTo>
                    <a:pt x="3" y="276"/>
                  </a:lnTo>
                  <a:lnTo>
                    <a:pt x="8" y="269"/>
                  </a:lnTo>
                  <a:lnTo>
                    <a:pt x="13" y="263"/>
                  </a:lnTo>
                  <a:lnTo>
                    <a:pt x="19" y="257"/>
                  </a:lnTo>
                  <a:lnTo>
                    <a:pt x="26" y="253"/>
                  </a:lnTo>
                  <a:lnTo>
                    <a:pt x="33" y="252"/>
                  </a:lnTo>
                  <a:lnTo>
                    <a:pt x="42" y="250"/>
                  </a:lnTo>
                  <a:lnTo>
                    <a:pt x="98" y="250"/>
                  </a:lnTo>
                  <a:lnTo>
                    <a:pt x="104" y="237"/>
                  </a:lnTo>
                  <a:lnTo>
                    <a:pt x="110" y="224"/>
                  </a:lnTo>
                  <a:lnTo>
                    <a:pt x="69" y="184"/>
                  </a:lnTo>
                  <a:lnTo>
                    <a:pt x="64" y="177"/>
                  </a:lnTo>
                  <a:lnTo>
                    <a:pt x="61" y="169"/>
                  </a:lnTo>
                  <a:lnTo>
                    <a:pt x="58" y="162"/>
                  </a:lnTo>
                  <a:lnTo>
                    <a:pt x="58" y="155"/>
                  </a:lnTo>
                  <a:lnTo>
                    <a:pt x="58" y="146"/>
                  </a:lnTo>
                  <a:lnTo>
                    <a:pt x="61" y="139"/>
                  </a:lnTo>
                  <a:lnTo>
                    <a:pt x="64" y="132"/>
                  </a:lnTo>
                  <a:lnTo>
                    <a:pt x="69" y="126"/>
                  </a:lnTo>
                  <a:lnTo>
                    <a:pt x="127" y="67"/>
                  </a:lnTo>
                  <a:lnTo>
                    <a:pt x="134" y="63"/>
                  </a:lnTo>
                  <a:lnTo>
                    <a:pt x="140" y="59"/>
                  </a:lnTo>
                  <a:lnTo>
                    <a:pt x="149" y="57"/>
                  </a:lnTo>
                  <a:lnTo>
                    <a:pt x="156" y="56"/>
                  </a:lnTo>
                  <a:lnTo>
                    <a:pt x="164" y="57"/>
                  </a:lnTo>
                  <a:lnTo>
                    <a:pt x="172" y="59"/>
                  </a:lnTo>
                  <a:lnTo>
                    <a:pt x="179" y="63"/>
                  </a:lnTo>
                  <a:lnTo>
                    <a:pt x="185" y="67"/>
                  </a:lnTo>
                  <a:lnTo>
                    <a:pt x="225" y="108"/>
                  </a:lnTo>
                  <a:lnTo>
                    <a:pt x="238" y="102"/>
                  </a:lnTo>
                  <a:lnTo>
                    <a:pt x="252" y="96"/>
                  </a:lnTo>
                  <a:lnTo>
                    <a:pt x="252" y="40"/>
                  </a:lnTo>
                  <a:lnTo>
                    <a:pt x="252" y="31"/>
                  </a:lnTo>
                  <a:lnTo>
                    <a:pt x="255" y="24"/>
                  </a:lnTo>
                  <a:lnTo>
                    <a:pt x="260" y="17"/>
                  </a:lnTo>
                  <a:lnTo>
                    <a:pt x="264" y="11"/>
                  </a:lnTo>
                  <a:lnTo>
                    <a:pt x="270" y="5"/>
                  </a:lnTo>
                  <a:lnTo>
                    <a:pt x="277" y="2"/>
                  </a:lnTo>
                  <a:lnTo>
                    <a:pt x="285" y="0"/>
                  </a:lnTo>
                  <a:lnTo>
                    <a:pt x="293" y="0"/>
                  </a:lnTo>
                  <a:lnTo>
                    <a:pt x="375" y="0"/>
                  </a:lnTo>
                  <a:lnTo>
                    <a:pt x="383" y="0"/>
                  </a:lnTo>
                  <a:lnTo>
                    <a:pt x="391" y="2"/>
                  </a:lnTo>
                  <a:lnTo>
                    <a:pt x="398" y="5"/>
                  </a:lnTo>
                  <a:lnTo>
                    <a:pt x="404" y="11"/>
                  </a:lnTo>
                  <a:lnTo>
                    <a:pt x="409" y="17"/>
                  </a:lnTo>
                  <a:lnTo>
                    <a:pt x="412" y="24"/>
                  </a:lnTo>
                  <a:lnTo>
                    <a:pt x="415" y="31"/>
                  </a:lnTo>
                  <a:lnTo>
                    <a:pt x="416" y="40"/>
                  </a:lnTo>
                  <a:lnTo>
                    <a:pt x="416" y="96"/>
                  </a:lnTo>
                  <a:lnTo>
                    <a:pt x="429" y="102"/>
                  </a:lnTo>
                  <a:lnTo>
                    <a:pt x="442" y="108"/>
                  </a:lnTo>
                  <a:lnTo>
                    <a:pt x="483" y="67"/>
                  </a:lnTo>
                  <a:lnTo>
                    <a:pt x="490" y="63"/>
                  </a:lnTo>
                  <a:lnTo>
                    <a:pt x="496" y="59"/>
                  </a:lnTo>
                  <a:lnTo>
                    <a:pt x="504" y="57"/>
                  </a:lnTo>
                  <a:lnTo>
                    <a:pt x="512" y="56"/>
                  </a:lnTo>
                  <a:lnTo>
                    <a:pt x="520" y="57"/>
                  </a:lnTo>
                  <a:lnTo>
                    <a:pt x="527" y="59"/>
                  </a:lnTo>
                  <a:lnTo>
                    <a:pt x="535" y="63"/>
                  </a:lnTo>
                  <a:lnTo>
                    <a:pt x="540" y="67"/>
                  </a:lnTo>
                  <a:lnTo>
                    <a:pt x="599" y="125"/>
                  </a:lnTo>
                  <a:lnTo>
                    <a:pt x="604" y="132"/>
                  </a:lnTo>
                  <a:lnTo>
                    <a:pt x="608" y="139"/>
                  </a:lnTo>
                  <a:lnTo>
                    <a:pt x="609" y="146"/>
                  </a:lnTo>
                  <a:lnTo>
                    <a:pt x="611" y="155"/>
                  </a:lnTo>
                  <a:lnTo>
                    <a:pt x="609" y="162"/>
                  </a:lnTo>
                  <a:lnTo>
                    <a:pt x="608" y="169"/>
                  </a:lnTo>
                  <a:lnTo>
                    <a:pt x="604" y="177"/>
                  </a:lnTo>
                  <a:lnTo>
                    <a:pt x="599" y="184"/>
                  </a:lnTo>
                  <a:lnTo>
                    <a:pt x="559" y="224"/>
                  </a:lnTo>
                  <a:lnTo>
                    <a:pt x="565" y="237"/>
                  </a:lnTo>
                  <a:lnTo>
                    <a:pt x="571" y="250"/>
                  </a:lnTo>
                  <a:lnTo>
                    <a:pt x="627" y="250"/>
                  </a:lnTo>
                  <a:lnTo>
                    <a:pt x="635" y="252"/>
                  </a:lnTo>
                  <a:lnTo>
                    <a:pt x="643" y="253"/>
                  </a:lnTo>
                  <a:lnTo>
                    <a:pt x="650" y="257"/>
                  </a:lnTo>
                  <a:lnTo>
                    <a:pt x="656" y="263"/>
                  </a:lnTo>
                  <a:lnTo>
                    <a:pt x="661" y="269"/>
                  </a:lnTo>
                  <a:lnTo>
                    <a:pt x="664" y="276"/>
                  </a:lnTo>
                  <a:lnTo>
                    <a:pt x="667" y="283"/>
                  </a:lnTo>
                  <a:lnTo>
                    <a:pt x="667" y="292"/>
                  </a:lnTo>
                  <a:lnTo>
                    <a:pt x="667" y="374"/>
                  </a:lnTo>
                  <a:lnTo>
                    <a:pt x="667" y="381"/>
                  </a:lnTo>
                  <a:lnTo>
                    <a:pt x="664" y="390"/>
                  </a:lnTo>
                  <a:lnTo>
                    <a:pt x="661" y="397"/>
                  </a:lnTo>
                  <a:lnTo>
                    <a:pt x="656" y="403"/>
                  </a:lnTo>
                  <a:lnTo>
                    <a:pt x="650" y="407"/>
                  </a:lnTo>
                  <a:lnTo>
                    <a:pt x="643" y="411"/>
                  </a:lnTo>
                  <a:lnTo>
                    <a:pt x="635" y="413"/>
                  </a:lnTo>
                  <a:lnTo>
                    <a:pt x="627" y="414"/>
                  </a:lnTo>
                  <a:lnTo>
                    <a:pt x="571" y="414"/>
                  </a:lnTo>
                  <a:lnTo>
                    <a:pt x="565" y="427"/>
                  </a:lnTo>
                  <a:lnTo>
                    <a:pt x="559" y="442"/>
                  </a:lnTo>
                  <a:lnTo>
                    <a:pt x="599" y="482"/>
                  </a:lnTo>
                  <a:lnTo>
                    <a:pt x="604" y="488"/>
                  </a:lnTo>
                  <a:lnTo>
                    <a:pt x="608" y="495"/>
                  </a:lnTo>
                  <a:lnTo>
                    <a:pt x="609" y="502"/>
                  </a:lnTo>
                  <a:lnTo>
                    <a:pt x="611" y="511"/>
                  </a:lnTo>
                  <a:lnTo>
                    <a:pt x="609" y="518"/>
                  </a:lnTo>
                  <a:lnTo>
                    <a:pt x="608" y="525"/>
                  </a:lnTo>
                  <a:lnTo>
                    <a:pt x="604" y="532"/>
                  </a:lnTo>
                  <a:lnTo>
                    <a:pt x="599" y="540"/>
                  </a:lnTo>
                  <a:lnTo>
                    <a:pt x="540" y="597"/>
                  </a:lnTo>
                  <a:lnTo>
                    <a:pt x="535" y="603"/>
                  </a:lnTo>
                  <a:lnTo>
                    <a:pt x="527" y="606"/>
                  </a:lnTo>
                  <a:lnTo>
                    <a:pt x="520" y="609"/>
                  </a:lnTo>
                  <a:lnTo>
                    <a:pt x="512" y="609"/>
                  </a:lnTo>
                  <a:lnTo>
                    <a:pt x="504" y="609"/>
                  </a:lnTo>
                  <a:lnTo>
                    <a:pt x="496" y="606"/>
                  </a:lnTo>
                  <a:lnTo>
                    <a:pt x="490" y="603"/>
                  </a:lnTo>
                  <a:lnTo>
                    <a:pt x="483" y="597"/>
                  </a:lnTo>
                  <a:lnTo>
                    <a:pt x="442" y="557"/>
                  </a:lnTo>
                  <a:lnTo>
                    <a:pt x="429" y="563"/>
                  </a:lnTo>
                  <a:lnTo>
                    <a:pt x="416" y="568"/>
                  </a:lnTo>
                  <a:lnTo>
                    <a:pt x="416" y="625"/>
                  </a:lnTo>
                  <a:lnTo>
                    <a:pt x="415" y="633"/>
                  </a:lnTo>
                  <a:lnTo>
                    <a:pt x="412" y="640"/>
                  </a:lnTo>
                  <a:lnTo>
                    <a:pt x="409" y="648"/>
                  </a:lnTo>
                  <a:lnTo>
                    <a:pt x="404" y="653"/>
                  </a:lnTo>
                  <a:lnTo>
                    <a:pt x="398" y="659"/>
                  </a:lnTo>
                  <a:lnTo>
                    <a:pt x="391" y="662"/>
                  </a:lnTo>
                  <a:lnTo>
                    <a:pt x="383" y="665"/>
                  </a:lnTo>
                  <a:lnTo>
                    <a:pt x="375" y="6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0" name="Group 75">
            <a:extLst>
              <a:ext uri="{FF2B5EF4-FFF2-40B4-BE49-F238E27FC236}">
                <a16:creationId xmlns:a16="http://schemas.microsoft.com/office/drawing/2014/main" id="{2C67D376-0912-41CF-ADC8-12BB744C2048}"/>
              </a:ext>
            </a:extLst>
          </p:cNvPr>
          <p:cNvGrpSpPr>
            <a:grpSpLocks noChangeAspect="1"/>
          </p:cNvGrpSpPr>
          <p:nvPr/>
        </p:nvGrpSpPr>
        <p:grpSpPr>
          <a:xfrm>
            <a:off x="1915852" y="4343798"/>
            <a:ext cx="241691" cy="310367"/>
            <a:chOff x="6248400" y="1760538"/>
            <a:chExt cx="581025" cy="746125"/>
          </a:xfrm>
          <a:solidFill>
            <a:schemeClr val="bg1"/>
          </a:solidFill>
          <a:effectLst/>
        </p:grpSpPr>
        <p:sp>
          <p:nvSpPr>
            <p:cNvPr id="341" name="Freeform 119">
              <a:extLst>
                <a:ext uri="{FF2B5EF4-FFF2-40B4-BE49-F238E27FC236}">
                  <a16:creationId xmlns:a16="http://schemas.microsoft.com/office/drawing/2014/main" id="{C227B96B-1259-4BB4-91AA-DFBF23C8AFB0}"/>
                </a:ext>
              </a:extLst>
            </p:cNvPr>
            <p:cNvSpPr>
              <a:spLocks/>
            </p:cNvSpPr>
            <p:nvPr/>
          </p:nvSpPr>
          <p:spPr bwMode="auto">
            <a:xfrm>
              <a:off x="6386513" y="1982788"/>
              <a:ext cx="28575" cy="26988"/>
            </a:xfrm>
            <a:custGeom>
              <a:avLst/>
              <a:gdLst>
                <a:gd name="T0" fmla="*/ 27 w 53"/>
                <a:gd name="T1" fmla="*/ 51 h 51"/>
                <a:gd name="T2" fmla="*/ 21 w 53"/>
                <a:gd name="T3" fmla="*/ 51 h 51"/>
                <a:gd name="T4" fmla="*/ 17 w 53"/>
                <a:gd name="T5" fmla="*/ 50 h 51"/>
                <a:gd name="T6" fmla="*/ 13 w 53"/>
                <a:gd name="T7" fmla="*/ 47 h 51"/>
                <a:gd name="T8" fmla="*/ 8 w 53"/>
                <a:gd name="T9" fmla="*/ 44 h 51"/>
                <a:gd name="T10" fmla="*/ 5 w 53"/>
                <a:gd name="T11" fmla="*/ 40 h 51"/>
                <a:gd name="T12" fmla="*/ 3 w 53"/>
                <a:gd name="T13" fmla="*/ 36 h 51"/>
                <a:gd name="T14" fmla="*/ 1 w 53"/>
                <a:gd name="T15" fmla="*/ 31 h 51"/>
                <a:gd name="T16" fmla="*/ 0 w 53"/>
                <a:gd name="T17" fmla="*/ 25 h 51"/>
                <a:gd name="T18" fmla="*/ 1 w 53"/>
                <a:gd name="T19" fmla="*/ 21 h 51"/>
                <a:gd name="T20" fmla="*/ 3 w 53"/>
                <a:gd name="T21" fmla="*/ 15 h 51"/>
                <a:gd name="T22" fmla="*/ 5 w 53"/>
                <a:gd name="T23" fmla="*/ 11 h 51"/>
                <a:gd name="T24" fmla="*/ 8 w 53"/>
                <a:gd name="T25" fmla="*/ 7 h 51"/>
                <a:gd name="T26" fmla="*/ 13 w 53"/>
                <a:gd name="T27" fmla="*/ 4 h 51"/>
                <a:gd name="T28" fmla="*/ 17 w 53"/>
                <a:gd name="T29" fmla="*/ 2 h 51"/>
                <a:gd name="T30" fmla="*/ 21 w 53"/>
                <a:gd name="T31" fmla="*/ 1 h 51"/>
                <a:gd name="T32" fmla="*/ 27 w 53"/>
                <a:gd name="T33" fmla="*/ 0 h 51"/>
                <a:gd name="T34" fmla="*/ 31 w 53"/>
                <a:gd name="T35" fmla="*/ 1 h 51"/>
                <a:gd name="T36" fmla="*/ 37 w 53"/>
                <a:gd name="T37" fmla="*/ 2 h 51"/>
                <a:gd name="T38" fmla="*/ 41 w 53"/>
                <a:gd name="T39" fmla="*/ 4 h 51"/>
                <a:gd name="T40" fmla="*/ 44 w 53"/>
                <a:gd name="T41" fmla="*/ 7 h 51"/>
                <a:gd name="T42" fmla="*/ 49 w 53"/>
                <a:gd name="T43" fmla="*/ 11 h 51"/>
                <a:gd name="T44" fmla="*/ 50 w 53"/>
                <a:gd name="T45" fmla="*/ 15 h 51"/>
                <a:gd name="T46" fmla="*/ 51 w 53"/>
                <a:gd name="T47" fmla="*/ 21 h 51"/>
                <a:gd name="T48" fmla="*/ 53 w 53"/>
                <a:gd name="T49" fmla="*/ 25 h 51"/>
                <a:gd name="T50" fmla="*/ 51 w 53"/>
                <a:gd name="T51" fmla="*/ 31 h 51"/>
                <a:gd name="T52" fmla="*/ 50 w 53"/>
                <a:gd name="T53" fmla="*/ 36 h 51"/>
                <a:gd name="T54" fmla="*/ 49 w 53"/>
                <a:gd name="T55" fmla="*/ 40 h 51"/>
                <a:gd name="T56" fmla="*/ 44 w 53"/>
                <a:gd name="T57" fmla="*/ 44 h 51"/>
                <a:gd name="T58" fmla="*/ 41 w 53"/>
                <a:gd name="T59" fmla="*/ 47 h 51"/>
                <a:gd name="T60" fmla="*/ 37 w 53"/>
                <a:gd name="T61" fmla="*/ 50 h 51"/>
                <a:gd name="T62" fmla="*/ 31 w 53"/>
                <a:gd name="T63" fmla="*/ 51 h 51"/>
                <a:gd name="T64" fmla="*/ 27 w 53"/>
                <a:gd name="T6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1">
                  <a:moveTo>
                    <a:pt x="27" y="51"/>
                  </a:moveTo>
                  <a:lnTo>
                    <a:pt x="21" y="51"/>
                  </a:lnTo>
                  <a:lnTo>
                    <a:pt x="17" y="50"/>
                  </a:lnTo>
                  <a:lnTo>
                    <a:pt x="13" y="47"/>
                  </a:lnTo>
                  <a:lnTo>
                    <a:pt x="8" y="44"/>
                  </a:lnTo>
                  <a:lnTo>
                    <a:pt x="5" y="40"/>
                  </a:lnTo>
                  <a:lnTo>
                    <a:pt x="3" y="36"/>
                  </a:lnTo>
                  <a:lnTo>
                    <a:pt x="1" y="31"/>
                  </a:lnTo>
                  <a:lnTo>
                    <a:pt x="0" y="25"/>
                  </a:lnTo>
                  <a:lnTo>
                    <a:pt x="1" y="21"/>
                  </a:lnTo>
                  <a:lnTo>
                    <a:pt x="3" y="15"/>
                  </a:lnTo>
                  <a:lnTo>
                    <a:pt x="5" y="11"/>
                  </a:lnTo>
                  <a:lnTo>
                    <a:pt x="8" y="7"/>
                  </a:lnTo>
                  <a:lnTo>
                    <a:pt x="13" y="4"/>
                  </a:lnTo>
                  <a:lnTo>
                    <a:pt x="17" y="2"/>
                  </a:lnTo>
                  <a:lnTo>
                    <a:pt x="21" y="1"/>
                  </a:lnTo>
                  <a:lnTo>
                    <a:pt x="27" y="0"/>
                  </a:lnTo>
                  <a:lnTo>
                    <a:pt x="31" y="1"/>
                  </a:lnTo>
                  <a:lnTo>
                    <a:pt x="37" y="2"/>
                  </a:lnTo>
                  <a:lnTo>
                    <a:pt x="41" y="4"/>
                  </a:lnTo>
                  <a:lnTo>
                    <a:pt x="44" y="7"/>
                  </a:lnTo>
                  <a:lnTo>
                    <a:pt x="49" y="11"/>
                  </a:lnTo>
                  <a:lnTo>
                    <a:pt x="50" y="15"/>
                  </a:lnTo>
                  <a:lnTo>
                    <a:pt x="51" y="21"/>
                  </a:lnTo>
                  <a:lnTo>
                    <a:pt x="53" y="25"/>
                  </a:lnTo>
                  <a:lnTo>
                    <a:pt x="51" y="31"/>
                  </a:lnTo>
                  <a:lnTo>
                    <a:pt x="50" y="36"/>
                  </a:lnTo>
                  <a:lnTo>
                    <a:pt x="49" y="40"/>
                  </a:lnTo>
                  <a:lnTo>
                    <a:pt x="44" y="44"/>
                  </a:lnTo>
                  <a:lnTo>
                    <a:pt x="41" y="47"/>
                  </a:lnTo>
                  <a:lnTo>
                    <a:pt x="37" y="50"/>
                  </a:lnTo>
                  <a:lnTo>
                    <a:pt x="31" y="51"/>
                  </a:lnTo>
                  <a:lnTo>
                    <a:pt x="2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20">
              <a:extLst>
                <a:ext uri="{FF2B5EF4-FFF2-40B4-BE49-F238E27FC236}">
                  <a16:creationId xmlns:a16="http://schemas.microsoft.com/office/drawing/2014/main" id="{5E875D98-7630-4D37-90CE-1A06292B0EF5}"/>
                </a:ext>
              </a:extLst>
            </p:cNvPr>
            <p:cNvSpPr>
              <a:spLocks/>
            </p:cNvSpPr>
            <p:nvPr/>
          </p:nvSpPr>
          <p:spPr bwMode="auto">
            <a:xfrm>
              <a:off x="6442075" y="1982788"/>
              <a:ext cx="249238" cy="26988"/>
            </a:xfrm>
            <a:custGeom>
              <a:avLst/>
              <a:gdLst>
                <a:gd name="T0" fmla="*/ 443 w 471"/>
                <a:gd name="T1" fmla="*/ 51 h 51"/>
                <a:gd name="T2" fmla="*/ 26 w 471"/>
                <a:gd name="T3" fmla="*/ 51 h 51"/>
                <a:gd name="T4" fmla="*/ 21 w 471"/>
                <a:gd name="T5" fmla="*/ 51 h 51"/>
                <a:gd name="T6" fmla="*/ 16 w 471"/>
                <a:gd name="T7" fmla="*/ 50 h 51"/>
                <a:gd name="T8" fmla="*/ 11 w 471"/>
                <a:gd name="T9" fmla="*/ 47 h 51"/>
                <a:gd name="T10" fmla="*/ 7 w 471"/>
                <a:gd name="T11" fmla="*/ 44 h 51"/>
                <a:gd name="T12" fmla="*/ 4 w 471"/>
                <a:gd name="T13" fmla="*/ 40 h 51"/>
                <a:gd name="T14" fmla="*/ 1 w 471"/>
                <a:gd name="T15" fmla="*/ 36 h 51"/>
                <a:gd name="T16" fmla="*/ 0 w 471"/>
                <a:gd name="T17" fmla="*/ 31 h 51"/>
                <a:gd name="T18" fmla="*/ 0 w 471"/>
                <a:gd name="T19" fmla="*/ 25 h 51"/>
                <a:gd name="T20" fmla="*/ 0 w 471"/>
                <a:gd name="T21" fmla="*/ 21 h 51"/>
                <a:gd name="T22" fmla="*/ 1 w 471"/>
                <a:gd name="T23" fmla="*/ 15 h 51"/>
                <a:gd name="T24" fmla="*/ 4 w 471"/>
                <a:gd name="T25" fmla="*/ 11 h 51"/>
                <a:gd name="T26" fmla="*/ 7 w 471"/>
                <a:gd name="T27" fmla="*/ 7 h 51"/>
                <a:gd name="T28" fmla="*/ 11 w 471"/>
                <a:gd name="T29" fmla="*/ 4 h 51"/>
                <a:gd name="T30" fmla="*/ 16 w 471"/>
                <a:gd name="T31" fmla="*/ 1 h 51"/>
                <a:gd name="T32" fmla="*/ 21 w 471"/>
                <a:gd name="T33" fmla="*/ 0 h 51"/>
                <a:gd name="T34" fmla="*/ 26 w 471"/>
                <a:gd name="T35" fmla="*/ 0 h 51"/>
                <a:gd name="T36" fmla="*/ 443 w 471"/>
                <a:gd name="T37" fmla="*/ 0 h 51"/>
                <a:gd name="T38" fmla="*/ 449 w 471"/>
                <a:gd name="T39" fmla="*/ 0 h 51"/>
                <a:gd name="T40" fmla="*/ 453 w 471"/>
                <a:gd name="T41" fmla="*/ 1 h 51"/>
                <a:gd name="T42" fmla="*/ 459 w 471"/>
                <a:gd name="T43" fmla="*/ 4 h 51"/>
                <a:gd name="T44" fmla="*/ 462 w 471"/>
                <a:gd name="T45" fmla="*/ 7 h 51"/>
                <a:gd name="T46" fmla="*/ 465 w 471"/>
                <a:gd name="T47" fmla="*/ 11 h 51"/>
                <a:gd name="T48" fmla="*/ 468 w 471"/>
                <a:gd name="T49" fmla="*/ 15 h 51"/>
                <a:gd name="T50" fmla="*/ 469 w 471"/>
                <a:gd name="T51" fmla="*/ 21 h 51"/>
                <a:gd name="T52" fmla="*/ 471 w 471"/>
                <a:gd name="T53" fmla="*/ 25 h 51"/>
                <a:gd name="T54" fmla="*/ 469 w 471"/>
                <a:gd name="T55" fmla="*/ 31 h 51"/>
                <a:gd name="T56" fmla="*/ 468 w 471"/>
                <a:gd name="T57" fmla="*/ 36 h 51"/>
                <a:gd name="T58" fmla="*/ 465 w 471"/>
                <a:gd name="T59" fmla="*/ 40 h 51"/>
                <a:gd name="T60" fmla="*/ 462 w 471"/>
                <a:gd name="T61" fmla="*/ 44 h 51"/>
                <a:gd name="T62" fmla="*/ 459 w 471"/>
                <a:gd name="T63" fmla="*/ 47 h 51"/>
                <a:gd name="T64" fmla="*/ 453 w 471"/>
                <a:gd name="T65" fmla="*/ 50 h 51"/>
                <a:gd name="T66" fmla="*/ 449 w 471"/>
                <a:gd name="T67" fmla="*/ 51 h 51"/>
                <a:gd name="T68" fmla="*/ 443 w 471"/>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1">
                  <a:moveTo>
                    <a:pt x="443" y="51"/>
                  </a:moveTo>
                  <a:lnTo>
                    <a:pt x="26" y="51"/>
                  </a:lnTo>
                  <a:lnTo>
                    <a:pt x="21" y="51"/>
                  </a:lnTo>
                  <a:lnTo>
                    <a:pt x="16" y="50"/>
                  </a:lnTo>
                  <a:lnTo>
                    <a:pt x="11" y="47"/>
                  </a:lnTo>
                  <a:lnTo>
                    <a:pt x="7" y="44"/>
                  </a:lnTo>
                  <a:lnTo>
                    <a:pt x="4" y="40"/>
                  </a:lnTo>
                  <a:lnTo>
                    <a:pt x="1" y="36"/>
                  </a:lnTo>
                  <a:lnTo>
                    <a:pt x="0" y="31"/>
                  </a:lnTo>
                  <a:lnTo>
                    <a:pt x="0" y="25"/>
                  </a:lnTo>
                  <a:lnTo>
                    <a:pt x="0" y="21"/>
                  </a:lnTo>
                  <a:lnTo>
                    <a:pt x="1" y="15"/>
                  </a:lnTo>
                  <a:lnTo>
                    <a:pt x="4" y="11"/>
                  </a:lnTo>
                  <a:lnTo>
                    <a:pt x="7" y="7"/>
                  </a:lnTo>
                  <a:lnTo>
                    <a:pt x="11" y="4"/>
                  </a:lnTo>
                  <a:lnTo>
                    <a:pt x="16" y="1"/>
                  </a:lnTo>
                  <a:lnTo>
                    <a:pt x="21" y="0"/>
                  </a:lnTo>
                  <a:lnTo>
                    <a:pt x="26" y="0"/>
                  </a:lnTo>
                  <a:lnTo>
                    <a:pt x="443" y="0"/>
                  </a:lnTo>
                  <a:lnTo>
                    <a:pt x="449" y="0"/>
                  </a:lnTo>
                  <a:lnTo>
                    <a:pt x="453" y="1"/>
                  </a:lnTo>
                  <a:lnTo>
                    <a:pt x="459" y="4"/>
                  </a:lnTo>
                  <a:lnTo>
                    <a:pt x="462" y="7"/>
                  </a:lnTo>
                  <a:lnTo>
                    <a:pt x="465" y="11"/>
                  </a:lnTo>
                  <a:lnTo>
                    <a:pt x="468" y="15"/>
                  </a:lnTo>
                  <a:lnTo>
                    <a:pt x="469" y="21"/>
                  </a:lnTo>
                  <a:lnTo>
                    <a:pt x="471" y="25"/>
                  </a:lnTo>
                  <a:lnTo>
                    <a:pt x="469" y="31"/>
                  </a:lnTo>
                  <a:lnTo>
                    <a:pt x="468" y="36"/>
                  </a:lnTo>
                  <a:lnTo>
                    <a:pt x="465" y="40"/>
                  </a:lnTo>
                  <a:lnTo>
                    <a:pt x="462" y="44"/>
                  </a:lnTo>
                  <a:lnTo>
                    <a:pt x="459" y="47"/>
                  </a:lnTo>
                  <a:lnTo>
                    <a:pt x="453" y="50"/>
                  </a:lnTo>
                  <a:lnTo>
                    <a:pt x="449" y="51"/>
                  </a:lnTo>
                  <a:lnTo>
                    <a:pt x="44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25">
              <a:extLst>
                <a:ext uri="{FF2B5EF4-FFF2-40B4-BE49-F238E27FC236}">
                  <a16:creationId xmlns:a16="http://schemas.microsoft.com/office/drawing/2014/main" id="{6E611BFC-728A-40DD-8D09-4B27AD7B5AD2}"/>
                </a:ext>
              </a:extLst>
            </p:cNvPr>
            <p:cNvSpPr>
              <a:spLocks/>
            </p:cNvSpPr>
            <p:nvPr/>
          </p:nvSpPr>
          <p:spPr bwMode="auto">
            <a:xfrm>
              <a:off x="6386513" y="2092326"/>
              <a:ext cx="28575" cy="26988"/>
            </a:xfrm>
            <a:custGeom>
              <a:avLst/>
              <a:gdLst>
                <a:gd name="T0" fmla="*/ 27 w 53"/>
                <a:gd name="T1" fmla="*/ 52 h 52"/>
                <a:gd name="T2" fmla="*/ 21 w 53"/>
                <a:gd name="T3" fmla="*/ 52 h 52"/>
                <a:gd name="T4" fmla="*/ 17 w 53"/>
                <a:gd name="T5" fmla="*/ 51 h 52"/>
                <a:gd name="T6" fmla="*/ 13 w 53"/>
                <a:gd name="T7" fmla="*/ 48 h 52"/>
                <a:gd name="T8" fmla="*/ 8 w 53"/>
                <a:gd name="T9" fmla="*/ 45 h 52"/>
                <a:gd name="T10" fmla="*/ 5 w 53"/>
                <a:gd name="T11" fmla="*/ 41 h 52"/>
                <a:gd name="T12" fmla="*/ 3 w 53"/>
                <a:gd name="T13" fmla="*/ 36 h 52"/>
                <a:gd name="T14" fmla="*/ 1 w 53"/>
                <a:gd name="T15" fmla="*/ 32 h 52"/>
                <a:gd name="T16" fmla="*/ 0 w 53"/>
                <a:gd name="T17" fmla="*/ 26 h 52"/>
                <a:gd name="T18" fmla="*/ 1 w 53"/>
                <a:gd name="T19" fmla="*/ 22 h 52"/>
                <a:gd name="T20" fmla="*/ 3 w 53"/>
                <a:gd name="T21" fmla="*/ 16 h 52"/>
                <a:gd name="T22" fmla="*/ 5 w 53"/>
                <a:gd name="T23" fmla="*/ 12 h 52"/>
                <a:gd name="T24" fmla="*/ 8 w 53"/>
                <a:gd name="T25" fmla="*/ 8 h 52"/>
                <a:gd name="T26" fmla="*/ 13 w 53"/>
                <a:gd name="T27" fmla="*/ 5 h 52"/>
                <a:gd name="T28" fmla="*/ 17 w 53"/>
                <a:gd name="T29" fmla="*/ 3 h 52"/>
                <a:gd name="T30" fmla="*/ 21 w 53"/>
                <a:gd name="T31" fmla="*/ 2 h 52"/>
                <a:gd name="T32" fmla="*/ 27 w 53"/>
                <a:gd name="T33" fmla="*/ 0 h 52"/>
                <a:gd name="T34" fmla="*/ 31 w 53"/>
                <a:gd name="T35" fmla="*/ 2 h 52"/>
                <a:gd name="T36" fmla="*/ 37 w 53"/>
                <a:gd name="T37" fmla="*/ 3 h 52"/>
                <a:gd name="T38" fmla="*/ 41 w 53"/>
                <a:gd name="T39" fmla="*/ 5 h 52"/>
                <a:gd name="T40" fmla="*/ 44 w 53"/>
                <a:gd name="T41" fmla="*/ 8 h 52"/>
                <a:gd name="T42" fmla="*/ 49 w 53"/>
                <a:gd name="T43" fmla="*/ 12 h 52"/>
                <a:gd name="T44" fmla="*/ 50 w 53"/>
                <a:gd name="T45" fmla="*/ 16 h 52"/>
                <a:gd name="T46" fmla="*/ 51 w 53"/>
                <a:gd name="T47" fmla="*/ 22 h 52"/>
                <a:gd name="T48" fmla="*/ 53 w 53"/>
                <a:gd name="T49" fmla="*/ 26 h 52"/>
                <a:gd name="T50" fmla="*/ 51 w 53"/>
                <a:gd name="T51" fmla="*/ 32 h 52"/>
                <a:gd name="T52" fmla="*/ 50 w 53"/>
                <a:gd name="T53" fmla="*/ 36 h 52"/>
                <a:gd name="T54" fmla="*/ 49 w 53"/>
                <a:gd name="T55" fmla="*/ 41 h 52"/>
                <a:gd name="T56" fmla="*/ 44 w 53"/>
                <a:gd name="T57" fmla="*/ 45 h 52"/>
                <a:gd name="T58" fmla="*/ 41 w 53"/>
                <a:gd name="T59" fmla="*/ 48 h 52"/>
                <a:gd name="T60" fmla="*/ 37 w 53"/>
                <a:gd name="T61" fmla="*/ 51 h 52"/>
                <a:gd name="T62" fmla="*/ 31 w 53"/>
                <a:gd name="T63" fmla="*/ 52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2"/>
                  </a:lnTo>
                  <a:lnTo>
                    <a:pt x="17" y="51"/>
                  </a:lnTo>
                  <a:lnTo>
                    <a:pt x="13" y="48"/>
                  </a:lnTo>
                  <a:lnTo>
                    <a:pt x="8" y="45"/>
                  </a:lnTo>
                  <a:lnTo>
                    <a:pt x="5" y="41"/>
                  </a:lnTo>
                  <a:lnTo>
                    <a:pt x="3" y="36"/>
                  </a:lnTo>
                  <a:lnTo>
                    <a:pt x="1" y="32"/>
                  </a:lnTo>
                  <a:lnTo>
                    <a:pt x="0" y="26"/>
                  </a:lnTo>
                  <a:lnTo>
                    <a:pt x="1" y="22"/>
                  </a:lnTo>
                  <a:lnTo>
                    <a:pt x="3" y="16"/>
                  </a:lnTo>
                  <a:lnTo>
                    <a:pt x="5" y="12"/>
                  </a:lnTo>
                  <a:lnTo>
                    <a:pt x="8" y="8"/>
                  </a:lnTo>
                  <a:lnTo>
                    <a:pt x="13" y="5"/>
                  </a:lnTo>
                  <a:lnTo>
                    <a:pt x="17" y="3"/>
                  </a:lnTo>
                  <a:lnTo>
                    <a:pt x="21" y="2"/>
                  </a:lnTo>
                  <a:lnTo>
                    <a:pt x="27" y="0"/>
                  </a:lnTo>
                  <a:lnTo>
                    <a:pt x="31" y="2"/>
                  </a:lnTo>
                  <a:lnTo>
                    <a:pt x="37" y="3"/>
                  </a:lnTo>
                  <a:lnTo>
                    <a:pt x="41" y="5"/>
                  </a:lnTo>
                  <a:lnTo>
                    <a:pt x="44" y="8"/>
                  </a:lnTo>
                  <a:lnTo>
                    <a:pt x="49" y="12"/>
                  </a:lnTo>
                  <a:lnTo>
                    <a:pt x="50" y="16"/>
                  </a:lnTo>
                  <a:lnTo>
                    <a:pt x="51" y="22"/>
                  </a:lnTo>
                  <a:lnTo>
                    <a:pt x="53" y="26"/>
                  </a:lnTo>
                  <a:lnTo>
                    <a:pt x="51" y="32"/>
                  </a:lnTo>
                  <a:lnTo>
                    <a:pt x="50" y="36"/>
                  </a:lnTo>
                  <a:lnTo>
                    <a:pt x="49" y="41"/>
                  </a:lnTo>
                  <a:lnTo>
                    <a:pt x="44" y="45"/>
                  </a:lnTo>
                  <a:lnTo>
                    <a:pt x="41" y="48"/>
                  </a:lnTo>
                  <a:lnTo>
                    <a:pt x="37" y="51"/>
                  </a:lnTo>
                  <a:lnTo>
                    <a:pt x="31" y="52"/>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26">
              <a:extLst>
                <a:ext uri="{FF2B5EF4-FFF2-40B4-BE49-F238E27FC236}">
                  <a16:creationId xmlns:a16="http://schemas.microsoft.com/office/drawing/2014/main" id="{DAE30785-E7BA-49AB-AD9C-2B6F44CABF9A}"/>
                </a:ext>
              </a:extLst>
            </p:cNvPr>
            <p:cNvSpPr>
              <a:spLocks/>
            </p:cNvSpPr>
            <p:nvPr/>
          </p:nvSpPr>
          <p:spPr bwMode="auto">
            <a:xfrm>
              <a:off x="6442075" y="2092326"/>
              <a:ext cx="249238" cy="26988"/>
            </a:xfrm>
            <a:custGeom>
              <a:avLst/>
              <a:gdLst>
                <a:gd name="T0" fmla="*/ 443 w 471"/>
                <a:gd name="T1" fmla="*/ 52 h 52"/>
                <a:gd name="T2" fmla="*/ 26 w 471"/>
                <a:gd name="T3" fmla="*/ 52 h 52"/>
                <a:gd name="T4" fmla="*/ 21 w 471"/>
                <a:gd name="T5" fmla="*/ 52 h 52"/>
                <a:gd name="T6" fmla="*/ 16 w 471"/>
                <a:gd name="T7" fmla="*/ 51 h 52"/>
                <a:gd name="T8" fmla="*/ 11 w 471"/>
                <a:gd name="T9" fmla="*/ 48 h 52"/>
                <a:gd name="T10" fmla="*/ 7 w 471"/>
                <a:gd name="T11" fmla="*/ 45 h 52"/>
                <a:gd name="T12" fmla="*/ 4 w 471"/>
                <a:gd name="T13" fmla="*/ 41 h 52"/>
                <a:gd name="T14" fmla="*/ 1 w 471"/>
                <a:gd name="T15" fmla="*/ 36 h 52"/>
                <a:gd name="T16" fmla="*/ 0 w 471"/>
                <a:gd name="T17" fmla="*/ 32 h 52"/>
                <a:gd name="T18" fmla="*/ 0 w 471"/>
                <a:gd name="T19" fmla="*/ 26 h 52"/>
                <a:gd name="T20" fmla="*/ 0 w 471"/>
                <a:gd name="T21" fmla="*/ 22 h 52"/>
                <a:gd name="T22" fmla="*/ 1 w 471"/>
                <a:gd name="T23" fmla="*/ 16 h 52"/>
                <a:gd name="T24" fmla="*/ 4 w 471"/>
                <a:gd name="T25" fmla="*/ 12 h 52"/>
                <a:gd name="T26" fmla="*/ 7 w 471"/>
                <a:gd name="T27" fmla="*/ 8 h 52"/>
                <a:gd name="T28" fmla="*/ 11 w 471"/>
                <a:gd name="T29" fmla="*/ 5 h 52"/>
                <a:gd name="T30" fmla="*/ 16 w 471"/>
                <a:gd name="T31" fmla="*/ 3 h 52"/>
                <a:gd name="T32" fmla="*/ 21 w 471"/>
                <a:gd name="T33" fmla="*/ 2 h 52"/>
                <a:gd name="T34" fmla="*/ 26 w 471"/>
                <a:gd name="T35" fmla="*/ 0 h 52"/>
                <a:gd name="T36" fmla="*/ 443 w 471"/>
                <a:gd name="T37" fmla="*/ 0 h 52"/>
                <a:gd name="T38" fmla="*/ 449 w 471"/>
                <a:gd name="T39" fmla="*/ 2 h 52"/>
                <a:gd name="T40" fmla="*/ 453 w 471"/>
                <a:gd name="T41" fmla="*/ 3 h 52"/>
                <a:gd name="T42" fmla="*/ 459 w 471"/>
                <a:gd name="T43" fmla="*/ 5 h 52"/>
                <a:gd name="T44" fmla="*/ 462 w 471"/>
                <a:gd name="T45" fmla="*/ 8 h 52"/>
                <a:gd name="T46" fmla="*/ 465 w 471"/>
                <a:gd name="T47" fmla="*/ 12 h 52"/>
                <a:gd name="T48" fmla="*/ 468 w 471"/>
                <a:gd name="T49" fmla="*/ 16 h 52"/>
                <a:gd name="T50" fmla="*/ 469 w 471"/>
                <a:gd name="T51" fmla="*/ 22 h 52"/>
                <a:gd name="T52" fmla="*/ 471 w 471"/>
                <a:gd name="T53" fmla="*/ 26 h 52"/>
                <a:gd name="T54" fmla="*/ 469 w 471"/>
                <a:gd name="T55" fmla="*/ 32 h 52"/>
                <a:gd name="T56" fmla="*/ 468 w 471"/>
                <a:gd name="T57" fmla="*/ 36 h 52"/>
                <a:gd name="T58" fmla="*/ 465 w 471"/>
                <a:gd name="T59" fmla="*/ 41 h 52"/>
                <a:gd name="T60" fmla="*/ 462 w 471"/>
                <a:gd name="T61" fmla="*/ 45 h 52"/>
                <a:gd name="T62" fmla="*/ 459 w 471"/>
                <a:gd name="T63" fmla="*/ 48 h 52"/>
                <a:gd name="T64" fmla="*/ 453 w 471"/>
                <a:gd name="T65" fmla="*/ 51 h 52"/>
                <a:gd name="T66" fmla="*/ 449 w 471"/>
                <a:gd name="T67" fmla="*/ 52 h 52"/>
                <a:gd name="T68" fmla="*/ 443 w 471"/>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2">
                  <a:moveTo>
                    <a:pt x="443" y="52"/>
                  </a:moveTo>
                  <a:lnTo>
                    <a:pt x="26" y="52"/>
                  </a:lnTo>
                  <a:lnTo>
                    <a:pt x="21" y="52"/>
                  </a:lnTo>
                  <a:lnTo>
                    <a:pt x="16" y="51"/>
                  </a:lnTo>
                  <a:lnTo>
                    <a:pt x="11" y="48"/>
                  </a:lnTo>
                  <a:lnTo>
                    <a:pt x="7" y="45"/>
                  </a:lnTo>
                  <a:lnTo>
                    <a:pt x="4" y="41"/>
                  </a:lnTo>
                  <a:lnTo>
                    <a:pt x="1" y="36"/>
                  </a:lnTo>
                  <a:lnTo>
                    <a:pt x="0" y="32"/>
                  </a:lnTo>
                  <a:lnTo>
                    <a:pt x="0" y="26"/>
                  </a:lnTo>
                  <a:lnTo>
                    <a:pt x="0" y="22"/>
                  </a:lnTo>
                  <a:lnTo>
                    <a:pt x="1" y="16"/>
                  </a:lnTo>
                  <a:lnTo>
                    <a:pt x="4" y="12"/>
                  </a:lnTo>
                  <a:lnTo>
                    <a:pt x="7" y="8"/>
                  </a:lnTo>
                  <a:lnTo>
                    <a:pt x="11" y="5"/>
                  </a:lnTo>
                  <a:lnTo>
                    <a:pt x="16" y="3"/>
                  </a:lnTo>
                  <a:lnTo>
                    <a:pt x="21" y="2"/>
                  </a:lnTo>
                  <a:lnTo>
                    <a:pt x="26" y="0"/>
                  </a:lnTo>
                  <a:lnTo>
                    <a:pt x="443" y="0"/>
                  </a:lnTo>
                  <a:lnTo>
                    <a:pt x="449" y="2"/>
                  </a:lnTo>
                  <a:lnTo>
                    <a:pt x="453" y="3"/>
                  </a:lnTo>
                  <a:lnTo>
                    <a:pt x="459" y="5"/>
                  </a:lnTo>
                  <a:lnTo>
                    <a:pt x="462" y="8"/>
                  </a:lnTo>
                  <a:lnTo>
                    <a:pt x="465" y="12"/>
                  </a:lnTo>
                  <a:lnTo>
                    <a:pt x="468" y="16"/>
                  </a:lnTo>
                  <a:lnTo>
                    <a:pt x="469" y="22"/>
                  </a:lnTo>
                  <a:lnTo>
                    <a:pt x="471" y="26"/>
                  </a:lnTo>
                  <a:lnTo>
                    <a:pt x="469" y="32"/>
                  </a:lnTo>
                  <a:lnTo>
                    <a:pt x="468" y="36"/>
                  </a:lnTo>
                  <a:lnTo>
                    <a:pt x="465" y="41"/>
                  </a:lnTo>
                  <a:lnTo>
                    <a:pt x="462" y="45"/>
                  </a:lnTo>
                  <a:lnTo>
                    <a:pt x="459" y="48"/>
                  </a:lnTo>
                  <a:lnTo>
                    <a:pt x="453" y="51"/>
                  </a:lnTo>
                  <a:lnTo>
                    <a:pt x="449" y="52"/>
                  </a:lnTo>
                  <a:lnTo>
                    <a:pt x="44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27">
              <a:extLst>
                <a:ext uri="{FF2B5EF4-FFF2-40B4-BE49-F238E27FC236}">
                  <a16:creationId xmlns:a16="http://schemas.microsoft.com/office/drawing/2014/main" id="{0BD9EA27-1294-4A20-9FF9-42FE8852171B}"/>
                </a:ext>
              </a:extLst>
            </p:cNvPr>
            <p:cNvSpPr>
              <a:spLocks/>
            </p:cNvSpPr>
            <p:nvPr/>
          </p:nvSpPr>
          <p:spPr bwMode="auto">
            <a:xfrm>
              <a:off x="6386513" y="2203451"/>
              <a:ext cx="28575" cy="26988"/>
            </a:xfrm>
            <a:custGeom>
              <a:avLst/>
              <a:gdLst>
                <a:gd name="T0" fmla="*/ 27 w 53"/>
                <a:gd name="T1" fmla="*/ 53 h 53"/>
                <a:gd name="T2" fmla="*/ 21 w 53"/>
                <a:gd name="T3" fmla="*/ 52 h 53"/>
                <a:gd name="T4" fmla="*/ 17 w 53"/>
                <a:gd name="T5" fmla="*/ 50 h 53"/>
                <a:gd name="T6" fmla="*/ 13 w 53"/>
                <a:gd name="T7" fmla="*/ 48 h 53"/>
                <a:gd name="T8" fmla="*/ 8 w 53"/>
                <a:gd name="T9" fmla="*/ 45 h 53"/>
                <a:gd name="T10" fmla="*/ 5 w 53"/>
                <a:gd name="T11" fmla="*/ 40 h 53"/>
                <a:gd name="T12" fmla="*/ 3 w 53"/>
                <a:gd name="T13" fmla="*/ 36 h 53"/>
                <a:gd name="T14" fmla="*/ 1 w 53"/>
                <a:gd name="T15" fmla="*/ 32 h 53"/>
                <a:gd name="T16" fmla="*/ 0 w 53"/>
                <a:gd name="T17" fmla="*/ 26 h 53"/>
                <a:gd name="T18" fmla="*/ 1 w 53"/>
                <a:gd name="T19" fmla="*/ 22 h 53"/>
                <a:gd name="T20" fmla="*/ 3 w 53"/>
                <a:gd name="T21" fmla="*/ 16 h 53"/>
                <a:gd name="T22" fmla="*/ 5 w 53"/>
                <a:gd name="T23" fmla="*/ 12 h 53"/>
                <a:gd name="T24" fmla="*/ 8 w 53"/>
                <a:gd name="T25" fmla="*/ 9 h 53"/>
                <a:gd name="T26" fmla="*/ 13 w 53"/>
                <a:gd name="T27" fmla="*/ 4 h 53"/>
                <a:gd name="T28" fmla="*/ 17 w 53"/>
                <a:gd name="T29" fmla="*/ 3 h 53"/>
                <a:gd name="T30" fmla="*/ 21 w 53"/>
                <a:gd name="T31" fmla="*/ 2 h 53"/>
                <a:gd name="T32" fmla="*/ 27 w 53"/>
                <a:gd name="T33" fmla="*/ 0 h 53"/>
                <a:gd name="T34" fmla="*/ 31 w 53"/>
                <a:gd name="T35" fmla="*/ 2 h 53"/>
                <a:gd name="T36" fmla="*/ 37 w 53"/>
                <a:gd name="T37" fmla="*/ 3 h 53"/>
                <a:gd name="T38" fmla="*/ 41 w 53"/>
                <a:gd name="T39" fmla="*/ 4 h 53"/>
                <a:gd name="T40" fmla="*/ 44 w 53"/>
                <a:gd name="T41" fmla="*/ 9 h 53"/>
                <a:gd name="T42" fmla="*/ 49 w 53"/>
                <a:gd name="T43" fmla="*/ 12 h 53"/>
                <a:gd name="T44" fmla="*/ 50 w 53"/>
                <a:gd name="T45" fmla="*/ 16 h 53"/>
                <a:gd name="T46" fmla="*/ 51 w 53"/>
                <a:gd name="T47" fmla="*/ 22 h 53"/>
                <a:gd name="T48" fmla="*/ 53 w 53"/>
                <a:gd name="T49" fmla="*/ 26 h 53"/>
                <a:gd name="T50" fmla="*/ 51 w 53"/>
                <a:gd name="T51" fmla="*/ 32 h 53"/>
                <a:gd name="T52" fmla="*/ 50 w 53"/>
                <a:gd name="T53" fmla="*/ 36 h 53"/>
                <a:gd name="T54" fmla="*/ 49 w 53"/>
                <a:gd name="T55" fmla="*/ 40 h 53"/>
                <a:gd name="T56" fmla="*/ 44 w 53"/>
                <a:gd name="T57" fmla="*/ 45 h 53"/>
                <a:gd name="T58" fmla="*/ 41 w 53"/>
                <a:gd name="T59" fmla="*/ 48 h 53"/>
                <a:gd name="T60" fmla="*/ 37 w 53"/>
                <a:gd name="T61" fmla="*/ 50 h 53"/>
                <a:gd name="T62" fmla="*/ 31 w 53"/>
                <a:gd name="T63" fmla="*/ 52 h 53"/>
                <a:gd name="T64" fmla="*/ 27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27" y="53"/>
                  </a:moveTo>
                  <a:lnTo>
                    <a:pt x="21" y="52"/>
                  </a:lnTo>
                  <a:lnTo>
                    <a:pt x="17" y="50"/>
                  </a:lnTo>
                  <a:lnTo>
                    <a:pt x="13" y="48"/>
                  </a:lnTo>
                  <a:lnTo>
                    <a:pt x="8" y="45"/>
                  </a:lnTo>
                  <a:lnTo>
                    <a:pt x="5" y="40"/>
                  </a:lnTo>
                  <a:lnTo>
                    <a:pt x="3" y="36"/>
                  </a:lnTo>
                  <a:lnTo>
                    <a:pt x="1" y="32"/>
                  </a:lnTo>
                  <a:lnTo>
                    <a:pt x="0" y="26"/>
                  </a:lnTo>
                  <a:lnTo>
                    <a:pt x="1" y="22"/>
                  </a:lnTo>
                  <a:lnTo>
                    <a:pt x="3" y="16"/>
                  </a:lnTo>
                  <a:lnTo>
                    <a:pt x="5" y="12"/>
                  </a:lnTo>
                  <a:lnTo>
                    <a:pt x="8" y="9"/>
                  </a:lnTo>
                  <a:lnTo>
                    <a:pt x="13" y="4"/>
                  </a:lnTo>
                  <a:lnTo>
                    <a:pt x="17" y="3"/>
                  </a:lnTo>
                  <a:lnTo>
                    <a:pt x="21" y="2"/>
                  </a:lnTo>
                  <a:lnTo>
                    <a:pt x="27" y="0"/>
                  </a:lnTo>
                  <a:lnTo>
                    <a:pt x="31" y="2"/>
                  </a:lnTo>
                  <a:lnTo>
                    <a:pt x="37" y="3"/>
                  </a:lnTo>
                  <a:lnTo>
                    <a:pt x="41" y="4"/>
                  </a:lnTo>
                  <a:lnTo>
                    <a:pt x="44" y="9"/>
                  </a:lnTo>
                  <a:lnTo>
                    <a:pt x="49" y="12"/>
                  </a:lnTo>
                  <a:lnTo>
                    <a:pt x="50" y="16"/>
                  </a:lnTo>
                  <a:lnTo>
                    <a:pt x="51" y="22"/>
                  </a:lnTo>
                  <a:lnTo>
                    <a:pt x="53" y="26"/>
                  </a:lnTo>
                  <a:lnTo>
                    <a:pt x="51" y="32"/>
                  </a:lnTo>
                  <a:lnTo>
                    <a:pt x="50" y="36"/>
                  </a:lnTo>
                  <a:lnTo>
                    <a:pt x="49" y="40"/>
                  </a:lnTo>
                  <a:lnTo>
                    <a:pt x="44" y="45"/>
                  </a:lnTo>
                  <a:lnTo>
                    <a:pt x="41" y="48"/>
                  </a:lnTo>
                  <a:lnTo>
                    <a:pt x="37" y="50"/>
                  </a:lnTo>
                  <a:lnTo>
                    <a:pt x="31" y="52"/>
                  </a:lnTo>
                  <a:lnTo>
                    <a:pt x="27"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28">
              <a:extLst>
                <a:ext uri="{FF2B5EF4-FFF2-40B4-BE49-F238E27FC236}">
                  <a16:creationId xmlns:a16="http://schemas.microsoft.com/office/drawing/2014/main" id="{880F6D7E-A108-4F03-9E54-2D7FADF8A8B1}"/>
                </a:ext>
              </a:extLst>
            </p:cNvPr>
            <p:cNvSpPr>
              <a:spLocks/>
            </p:cNvSpPr>
            <p:nvPr/>
          </p:nvSpPr>
          <p:spPr bwMode="auto">
            <a:xfrm>
              <a:off x="6442075" y="2203451"/>
              <a:ext cx="249238" cy="26988"/>
            </a:xfrm>
            <a:custGeom>
              <a:avLst/>
              <a:gdLst>
                <a:gd name="T0" fmla="*/ 443 w 471"/>
                <a:gd name="T1" fmla="*/ 53 h 53"/>
                <a:gd name="T2" fmla="*/ 26 w 471"/>
                <a:gd name="T3" fmla="*/ 53 h 53"/>
                <a:gd name="T4" fmla="*/ 21 w 471"/>
                <a:gd name="T5" fmla="*/ 52 h 53"/>
                <a:gd name="T6" fmla="*/ 16 w 471"/>
                <a:gd name="T7" fmla="*/ 50 h 53"/>
                <a:gd name="T8" fmla="*/ 11 w 471"/>
                <a:gd name="T9" fmla="*/ 48 h 53"/>
                <a:gd name="T10" fmla="*/ 7 w 471"/>
                <a:gd name="T11" fmla="*/ 45 h 53"/>
                <a:gd name="T12" fmla="*/ 4 w 471"/>
                <a:gd name="T13" fmla="*/ 42 h 53"/>
                <a:gd name="T14" fmla="*/ 1 w 471"/>
                <a:gd name="T15" fmla="*/ 36 h 53"/>
                <a:gd name="T16" fmla="*/ 0 w 471"/>
                <a:gd name="T17" fmla="*/ 32 h 53"/>
                <a:gd name="T18" fmla="*/ 0 w 471"/>
                <a:gd name="T19" fmla="*/ 26 h 53"/>
                <a:gd name="T20" fmla="*/ 0 w 471"/>
                <a:gd name="T21" fmla="*/ 22 h 53"/>
                <a:gd name="T22" fmla="*/ 1 w 471"/>
                <a:gd name="T23" fmla="*/ 16 h 53"/>
                <a:gd name="T24" fmla="*/ 4 w 471"/>
                <a:gd name="T25" fmla="*/ 12 h 53"/>
                <a:gd name="T26" fmla="*/ 7 w 471"/>
                <a:gd name="T27" fmla="*/ 9 h 53"/>
                <a:gd name="T28" fmla="*/ 11 w 471"/>
                <a:gd name="T29" fmla="*/ 4 h 53"/>
                <a:gd name="T30" fmla="*/ 16 w 471"/>
                <a:gd name="T31" fmla="*/ 3 h 53"/>
                <a:gd name="T32" fmla="*/ 21 w 471"/>
                <a:gd name="T33" fmla="*/ 2 h 53"/>
                <a:gd name="T34" fmla="*/ 26 w 471"/>
                <a:gd name="T35" fmla="*/ 0 h 53"/>
                <a:gd name="T36" fmla="*/ 443 w 471"/>
                <a:gd name="T37" fmla="*/ 0 h 53"/>
                <a:gd name="T38" fmla="*/ 449 w 471"/>
                <a:gd name="T39" fmla="*/ 2 h 53"/>
                <a:gd name="T40" fmla="*/ 453 w 471"/>
                <a:gd name="T41" fmla="*/ 3 h 53"/>
                <a:gd name="T42" fmla="*/ 459 w 471"/>
                <a:gd name="T43" fmla="*/ 4 h 53"/>
                <a:gd name="T44" fmla="*/ 462 w 471"/>
                <a:gd name="T45" fmla="*/ 9 h 53"/>
                <a:gd name="T46" fmla="*/ 465 w 471"/>
                <a:gd name="T47" fmla="*/ 12 h 53"/>
                <a:gd name="T48" fmla="*/ 468 w 471"/>
                <a:gd name="T49" fmla="*/ 16 h 53"/>
                <a:gd name="T50" fmla="*/ 469 w 471"/>
                <a:gd name="T51" fmla="*/ 22 h 53"/>
                <a:gd name="T52" fmla="*/ 471 w 471"/>
                <a:gd name="T53" fmla="*/ 26 h 53"/>
                <a:gd name="T54" fmla="*/ 469 w 471"/>
                <a:gd name="T55" fmla="*/ 32 h 53"/>
                <a:gd name="T56" fmla="*/ 468 w 471"/>
                <a:gd name="T57" fmla="*/ 36 h 53"/>
                <a:gd name="T58" fmla="*/ 465 w 471"/>
                <a:gd name="T59" fmla="*/ 42 h 53"/>
                <a:gd name="T60" fmla="*/ 462 w 471"/>
                <a:gd name="T61" fmla="*/ 45 h 53"/>
                <a:gd name="T62" fmla="*/ 459 w 471"/>
                <a:gd name="T63" fmla="*/ 48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8"/>
                  </a:lnTo>
                  <a:lnTo>
                    <a:pt x="7" y="45"/>
                  </a:lnTo>
                  <a:lnTo>
                    <a:pt x="4" y="42"/>
                  </a:lnTo>
                  <a:lnTo>
                    <a:pt x="1" y="36"/>
                  </a:lnTo>
                  <a:lnTo>
                    <a:pt x="0" y="32"/>
                  </a:lnTo>
                  <a:lnTo>
                    <a:pt x="0" y="26"/>
                  </a:lnTo>
                  <a:lnTo>
                    <a:pt x="0" y="22"/>
                  </a:lnTo>
                  <a:lnTo>
                    <a:pt x="1" y="16"/>
                  </a:lnTo>
                  <a:lnTo>
                    <a:pt x="4" y="12"/>
                  </a:lnTo>
                  <a:lnTo>
                    <a:pt x="7" y="9"/>
                  </a:lnTo>
                  <a:lnTo>
                    <a:pt x="11" y="4"/>
                  </a:lnTo>
                  <a:lnTo>
                    <a:pt x="16" y="3"/>
                  </a:lnTo>
                  <a:lnTo>
                    <a:pt x="21" y="2"/>
                  </a:lnTo>
                  <a:lnTo>
                    <a:pt x="26" y="0"/>
                  </a:lnTo>
                  <a:lnTo>
                    <a:pt x="443" y="0"/>
                  </a:lnTo>
                  <a:lnTo>
                    <a:pt x="449" y="2"/>
                  </a:lnTo>
                  <a:lnTo>
                    <a:pt x="453" y="3"/>
                  </a:lnTo>
                  <a:lnTo>
                    <a:pt x="459" y="4"/>
                  </a:lnTo>
                  <a:lnTo>
                    <a:pt x="462" y="9"/>
                  </a:lnTo>
                  <a:lnTo>
                    <a:pt x="465" y="12"/>
                  </a:lnTo>
                  <a:lnTo>
                    <a:pt x="468" y="16"/>
                  </a:lnTo>
                  <a:lnTo>
                    <a:pt x="469" y="22"/>
                  </a:lnTo>
                  <a:lnTo>
                    <a:pt x="471" y="26"/>
                  </a:lnTo>
                  <a:lnTo>
                    <a:pt x="469" y="32"/>
                  </a:lnTo>
                  <a:lnTo>
                    <a:pt x="468" y="36"/>
                  </a:lnTo>
                  <a:lnTo>
                    <a:pt x="465" y="42"/>
                  </a:lnTo>
                  <a:lnTo>
                    <a:pt x="462" y="45"/>
                  </a:lnTo>
                  <a:lnTo>
                    <a:pt x="459" y="48"/>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29">
              <a:extLst>
                <a:ext uri="{FF2B5EF4-FFF2-40B4-BE49-F238E27FC236}">
                  <a16:creationId xmlns:a16="http://schemas.microsoft.com/office/drawing/2014/main" id="{DA85C238-6AEB-4A3A-9EFC-D04D62E71449}"/>
                </a:ext>
              </a:extLst>
            </p:cNvPr>
            <p:cNvSpPr>
              <a:spLocks/>
            </p:cNvSpPr>
            <p:nvPr/>
          </p:nvSpPr>
          <p:spPr bwMode="auto">
            <a:xfrm>
              <a:off x="6386513" y="2314576"/>
              <a:ext cx="28575" cy="26988"/>
            </a:xfrm>
            <a:custGeom>
              <a:avLst/>
              <a:gdLst>
                <a:gd name="T0" fmla="*/ 27 w 53"/>
                <a:gd name="T1" fmla="*/ 52 h 52"/>
                <a:gd name="T2" fmla="*/ 21 w 53"/>
                <a:gd name="T3" fmla="*/ 51 h 52"/>
                <a:gd name="T4" fmla="*/ 17 w 53"/>
                <a:gd name="T5" fmla="*/ 49 h 52"/>
                <a:gd name="T6" fmla="*/ 13 w 53"/>
                <a:gd name="T7" fmla="*/ 48 h 52"/>
                <a:gd name="T8" fmla="*/ 8 w 53"/>
                <a:gd name="T9" fmla="*/ 44 h 52"/>
                <a:gd name="T10" fmla="*/ 5 w 53"/>
                <a:gd name="T11" fmla="*/ 41 h 52"/>
                <a:gd name="T12" fmla="*/ 3 w 53"/>
                <a:gd name="T13" fmla="*/ 35 h 52"/>
                <a:gd name="T14" fmla="*/ 1 w 53"/>
                <a:gd name="T15" fmla="*/ 31 h 52"/>
                <a:gd name="T16" fmla="*/ 0 w 53"/>
                <a:gd name="T17" fmla="*/ 26 h 52"/>
                <a:gd name="T18" fmla="*/ 1 w 53"/>
                <a:gd name="T19" fmla="*/ 20 h 52"/>
                <a:gd name="T20" fmla="*/ 3 w 53"/>
                <a:gd name="T21" fmla="*/ 16 h 52"/>
                <a:gd name="T22" fmla="*/ 5 w 53"/>
                <a:gd name="T23" fmla="*/ 10 h 52"/>
                <a:gd name="T24" fmla="*/ 8 w 53"/>
                <a:gd name="T25" fmla="*/ 8 h 52"/>
                <a:gd name="T26" fmla="*/ 13 w 53"/>
                <a:gd name="T27" fmla="*/ 3 h 52"/>
                <a:gd name="T28" fmla="*/ 17 w 53"/>
                <a:gd name="T29" fmla="*/ 2 h 52"/>
                <a:gd name="T30" fmla="*/ 21 w 53"/>
                <a:gd name="T31" fmla="*/ 0 h 52"/>
                <a:gd name="T32" fmla="*/ 27 w 53"/>
                <a:gd name="T33" fmla="*/ 0 h 52"/>
                <a:gd name="T34" fmla="*/ 31 w 53"/>
                <a:gd name="T35" fmla="*/ 0 h 52"/>
                <a:gd name="T36" fmla="*/ 37 w 53"/>
                <a:gd name="T37" fmla="*/ 2 h 52"/>
                <a:gd name="T38" fmla="*/ 41 w 53"/>
                <a:gd name="T39" fmla="*/ 3 h 52"/>
                <a:gd name="T40" fmla="*/ 44 w 53"/>
                <a:gd name="T41" fmla="*/ 8 h 52"/>
                <a:gd name="T42" fmla="*/ 49 w 53"/>
                <a:gd name="T43" fmla="*/ 10 h 52"/>
                <a:gd name="T44" fmla="*/ 50 w 53"/>
                <a:gd name="T45" fmla="*/ 16 h 52"/>
                <a:gd name="T46" fmla="*/ 51 w 53"/>
                <a:gd name="T47" fmla="*/ 20 h 52"/>
                <a:gd name="T48" fmla="*/ 53 w 53"/>
                <a:gd name="T49" fmla="*/ 26 h 52"/>
                <a:gd name="T50" fmla="*/ 51 w 53"/>
                <a:gd name="T51" fmla="*/ 31 h 52"/>
                <a:gd name="T52" fmla="*/ 50 w 53"/>
                <a:gd name="T53" fmla="*/ 35 h 52"/>
                <a:gd name="T54" fmla="*/ 49 w 53"/>
                <a:gd name="T55" fmla="*/ 41 h 52"/>
                <a:gd name="T56" fmla="*/ 44 w 53"/>
                <a:gd name="T57" fmla="*/ 44 h 52"/>
                <a:gd name="T58" fmla="*/ 41 w 53"/>
                <a:gd name="T59" fmla="*/ 48 h 52"/>
                <a:gd name="T60" fmla="*/ 37 w 53"/>
                <a:gd name="T61" fmla="*/ 49 h 52"/>
                <a:gd name="T62" fmla="*/ 31 w 53"/>
                <a:gd name="T63" fmla="*/ 51 h 52"/>
                <a:gd name="T64" fmla="*/ 27 w 53"/>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2">
                  <a:moveTo>
                    <a:pt x="27" y="52"/>
                  </a:moveTo>
                  <a:lnTo>
                    <a:pt x="21" y="51"/>
                  </a:lnTo>
                  <a:lnTo>
                    <a:pt x="17" y="49"/>
                  </a:lnTo>
                  <a:lnTo>
                    <a:pt x="13" y="48"/>
                  </a:lnTo>
                  <a:lnTo>
                    <a:pt x="8" y="44"/>
                  </a:lnTo>
                  <a:lnTo>
                    <a:pt x="5" y="41"/>
                  </a:lnTo>
                  <a:lnTo>
                    <a:pt x="3" y="35"/>
                  </a:lnTo>
                  <a:lnTo>
                    <a:pt x="1" y="31"/>
                  </a:lnTo>
                  <a:lnTo>
                    <a:pt x="0" y="26"/>
                  </a:lnTo>
                  <a:lnTo>
                    <a:pt x="1" y="20"/>
                  </a:lnTo>
                  <a:lnTo>
                    <a:pt x="3" y="16"/>
                  </a:lnTo>
                  <a:lnTo>
                    <a:pt x="5" y="10"/>
                  </a:lnTo>
                  <a:lnTo>
                    <a:pt x="8" y="8"/>
                  </a:lnTo>
                  <a:lnTo>
                    <a:pt x="13" y="3"/>
                  </a:lnTo>
                  <a:lnTo>
                    <a:pt x="17" y="2"/>
                  </a:lnTo>
                  <a:lnTo>
                    <a:pt x="21" y="0"/>
                  </a:lnTo>
                  <a:lnTo>
                    <a:pt x="27" y="0"/>
                  </a:lnTo>
                  <a:lnTo>
                    <a:pt x="31" y="0"/>
                  </a:lnTo>
                  <a:lnTo>
                    <a:pt x="37" y="2"/>
                  </a:lnTo>
                  <a:lnTo>
                    <a:pt x="41" y="3"/>
                  </a:lnTo>
                  <a:lnTo>
                    <a:pt x="44" y="8"/>
                  </a:lnTo>
                  <a:lnTo>
                    <a:pt x="49" y="10"/>
                  </a:lnTo>
                  <a:lnTo>
                    <a:pt x="50" y="16"/>
                  </a:lnTo>
                  <a:lnTo>
                    <a:pt x="51" y="20"/>
                  </a:lnTo>
                  <a:lnTo>
                    <a:pt x="53" y="26"/>
                  </a:lnTo>
                  <a:lnTo>
                    <a:pt x="51" y="31"/>
                  </a:lnTo>
                  <a:lnTo>
                    <a:pt x="50" y="35"/>
                  </a:lnTo>
                  <a:lnTo>
                    <a:pt x="49" y="41"/>
                  </a:lnTo>
                  <a:lnTo>
                    <a:pt x="44" y="44"/>
                  </a:lnTo>
                  <a:lnTo>
                    <a:pt x="41" y="48"/>
                  </a:lnTo>
                  <a:lnTo>
                    <a:pt x="37" y="49"/>
                  </a:lnTo>
                  <a:lnTo>
                    <a:pt x="31" y="51"/>
                  </a:lnTo>
                  <a:lnTo>
                    <a:pt x="27"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30">
              <a:extLst>
                <a:ext uri="{FF2B5EF4-FFF2-40B4-BE49-F238E27FC236}">
                  <a16:creationId xmlns:a16="http://schemas.microsoft.com/office/drawing/2014/main" id="{63D8BF5E-9F83-4A42-B8F6-05F37CF51239}"/>
                </a:ext>
              </a:extLst>
            </p:cNvPr>
            <p:cNvSpPr>
              <a:spLocks/>
            </p:cNvSpPr>
            <p:nvPr/>
          </p:nvSpPr>
          <p:spPr bwMode="auto">
            <a:xfrm>
              <a:off x="6442075" y="2312988"/>
              <a:ext cx="249238" cy="28575"/>
            </a:xfrm>
            <a:custGeom>
              <a:avLst/>
              <a:gdLst>
                <a:gd name="T0" fmla="*/ 443 w 471"/>
                <a:gd name="T1" fmla="*/ 53 h 53"/>
                <a:gd name="T2" fmla="*/ 26 w 471"/>
                <a:gd name="T3" fmla="*/ 53 h 53"/>
                <a:gd name="T4" fmla="*/ 21 w 471"/>
                <a:gd name="T5" fmla="*/ 52 h 53"/>
                <a:gd name="T6" fmla="*/ 16 w 471"/>
                <a:gd name="T7" fmla="*/ 50 h 53"/>
                <a:gd name="T8" fmla="*/ 11 w 471"/>
                <a:gd name="T9" fmla="*/ 49 h 53"/>
                <a:gd name="T10" fmla="*/ 7 w 471"/>
                <a:gd name="T11" fmla="*/ 45 h 53"/>
                <a:gd name="T12" fmla="*/ 4 w 471"/>
                <a:gd name="T13" fmla="*/ 42 h 53"/>
                <a:gd name="T14" fmla="*/ 1 w 471"/>
                <a:gd name="T15" fmla="*/ 37 h 53"/>
                <a:gd name="T16" fmla="*/ 0 w 471"/>
                <a:gd name="T17" fmla="*/ 32 h 53"/>
                <a:gd name="T18" fmla="*/ 0 w 471"/>
                <a:gd name="T19" fmla="*/ 27 h 53"/>
                <a:gd name="T20" fmla="*/ 0 w 471"/>
                <a:gd name="T21" fmla="*/ 21 h 53"/>
                <a:gd name="T22" fmla="*/ 1 w 471"/>
                <a:gd name="T23" fmla="*/ 16 h 53"/>
                <a:gd name="T24" fmla="*/ 4 w 471"/>
                <a:gd name="T25" fmla="*/ 11 h 53"/>
                <a:gd name="T26" fmla="*/ 7 w 471"/>
                <a:gd name="T27" fmla="*/ 9 h 53"/>
                <a:gd name="T28" fmla="*/ 11 w 471"/>
                <a:gd name="T29" fmla="*/ 4 h 53"/>
                <a:gd name="T30" fmla="*/ 16 w 471"/>
                <a:gd name="T31" fmla="*/ 3 h 53"/>
                <a:gd name="T32" fmla="*/ 21 w 471"/>
                <a:gd name="T33" fmla="*/ 1 h 53"/>
                <a:gd name="T34" fmla="*/ 26 w 471"/>
                <a:gd name="T35" fmla="*/ 0 h 53"/>
                <a:gd name="T36" fmla="*/ 443 w 471"/>
                <a:gd name="T37" fmla="*/ 0 h 53"/>
                <a:gd name="T38" fmla="*/ 449 w 471"/>
                <a:gd name="T39" fmla="*/ 1 h 53"/>
                <a:gd name="T40" fmla="*/ 453 w 471"/>
                <a:gd name="T41" fmla="*/ 3 h 53"/>
                <a:gd name="T42" fmla="*/ 459 w 471"/>
                <a:gd name="T43" fmla="*/ 4 h 53"/>
                <a:gd name="T44" fmla="*/ 462 w 471"/>
                <a:gd name="T45" fmla="*/ 9 h 53"/>
                <a:gd name="T46" fmla="*/ 465 w 471"/>
                <a:gd name="T47" fmla="*/ 11 h 53"/>
                <a:gd name="T48" fmla="*/ 468 w 471"/>
                <a:gd name="T49" fmla="*/ 16 h 53"/>
                <a:gd name="T50" fmla="*/ 469 w 471"/>
                <a:gd name="T51" fmla="*/ 21 h 53"/>
                <a:gd name="T52" fmla="*/ 471 w 471"/>
                <a:gd name="T53" fmla="*/ 27 h 53"/>
                <a:gd name="T54" fmla="*/ 469 w 471"/>
                <a:gd name="T55" fmla="*/ 32 h 53"/>
                <a:gd name="T56" fmla="*/ 468 w 471"/>
                <a:gd name="T57" fmla="*/ 37 h 53"/>
                <a:gd name="T58" fmla="*/ 465 w 471"/>
                <a:gd name="T59" fmla="*/ 42 h 53"/>
                <a:gd name="T60" fmla="*/ 462 w 471"/>
                <a:gd name="T61" fmla="*/ 45 h 53"/>
                <a:gd name="T62" fmla="*/ 459 w 471"/>
                <a:gd name="T63" fmla="*/ 49 h 53"/>
                <a:gd name="T64" fmla="*/ 453 w 471"/>
                <a:gd name="T65" fmla="*/ 50 h 53"/>
                <a:gd name="T66" fmla="*/ 449 w 471"/>
                <a:gd name="T67" fmla="*/ 52 h 53"/>
                <a:gd name="T68" fmla="*/ 443 w 471"/>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53">
                  <a:moveTo>
                    <a:pt x="443" y="53"/>
                  </a:moveTo>
                  <a:lnTo>
                    <a:pt x="26" y="53"/>
                  </a:lnTo>
                  <a:lnTo>
                    <a:pt x="21" y="52"/>
                  </a:lnTo>
                  <a:lnTo>
                    <a:pt x="16" y="50"/>
                  </a:lnTo>
                  <a:lnTo>
                    <a:pt x="11" y="49"/>
                  </a:lnTo>
                  <a:lnTo>
                    <a:pt x="7" y="45"/>
                  </a:lnTo>
                  <a:lnTo>
                    <a:pt x="4" y="42"/>
                  </a:lnTo>
                  <a:lnTo>
                    <a:pt x="1" y="37"/>
                  </a:lnTo>
                  <a:lnTo>
                    <a:pt x="0" y="32"/>
                  </a:lnTo>
                  <a:lnTo>
                    <a:pt x="0" y="27"/>
                  </a:lnTo>
                  <a:lnTo>
                    <a:pt x="0" y="21"/>
                  </a:lnTo>
                  <a:lnTo>
                    <a:pt x="1" y="16"/>
                  </a:lnTo>
                  <a:lnTo>
                    <a:pt x="4" y="11"/>
                  </a:lnTo>
                  <a:lnTo>
                    <a:pt x="7" y="9"/>
                  </a:lnTo>
                  <a:lnTo>
                    <a:pt x="11" y="4"/>
                  </a:lnTo>
                  <a:lnTo>
                    <a:pt x="16" y="3"/>
                  </a:lnTo>
                  <a:lnTo>
                    <a:pt x="21" y="1"/>
                  </a:lnTo>
                  <a:lnTo>
                    <a:pt x="26" y="0"/>
                  </a:lnTo>
                  <a:lnTo>
                    <a:pt x="443" y="0"/>
                  </a:lnTo>
                  <a:lnTo>
                    <a:pt x="449" y="1"/>
                  </a:lnTo>
                  <a:lnTo>
                    <a:pt x="453" y="3"/>
                  </a:lnTo>
                  <a:lnTo>
                    <a:pt x="459" y="4"/>
                  </a:lnTo>
                  <a:lnTo>
                    <a:pt x="462" y="9"/>
                  </a:lnTo>
                  <a:lnTo>
                    <a:pt x="465" y="11"/>
                  </a:lnTo>
                  <a:lnTo>
                    <a:pt x="468" y="16"/>
                  </a:lnTo>
                  <a:lnTo>
                    <a:pt x="469" y="21"/>
                  </a:lnTo>
                  <a:lnTo>
                    <a:pt x="471" y="27"/>
                  </a:lnTo>
                  <a:lnTo>
                    <a:pt x="469" y="32"/>
                  </a:lnTo>
                  <a:lnTo>
                    <a:pt x="468" y="37"/>
                  </a:lnTo>
                  <a:lnTo>
                    <a:pt x="465" y="42"/>
                  </a:lnTo>
                  <a:lnTo>
                    <a:pt x="462" y="45"/>
                  </a:lnTo>
                  <a:lnTo>
                    <a:pt x="459" y="49"/>
                  </a:lnTo>
                  <a:lnTo>
                    <a:pt x="453" y="50"/>
                  </a:lnTo>
                  <a:lnTo>
                    <a:pt x="449" y="52"/>
                  </a:lnTo>
                  <a:lnTo>
                    <a:pt x="44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16">
              <a:extLst>
                <a:ext uri="{FF2B5EF4-FFF2-40B4-BE49-F238E27FC236}">
                  <a16:creationId xmlns:a16="http://schemas.microsoft.com/office/drawing/2014/main" id="{3140EAFA-2C3A-4C90-B18F-64D77DB57D91}"/>
                </a:ext>
              </a:extLst>
            </p:cNvPr>
            <p:cNvSpPr>
              <a:spLocks/>
            </p:cNvSpPr>
            <p:nvPr/>
          </p:nvSpPr>
          <p:spPr bwMode="auto">
            <a:xfrm>
              <a:off x="6303963" y="1816101"/>
              <a:ext cx="469900" cy="636588"/>
            </a:xfrm>
            <a:custGeom>
              <a:avLst/>
              <a:gdLst>
                <a:gd name="T0" fmla="*/ 26 w 887"/>
                <a:gd name="T1" fmla="*/ 1202 h 1202"/>
                <a:gd name="T2" fmla="*/ 16 w 887"/>
                <a:gd name="T3" fmla="*/ 1199 h 1202"/>
                <a:gd name="T4" fmla="*/ 7 w 887"/>
                <a:gd name="T5" fmla="*/ 1193 h 1202"/>
                <a:gd name="T6" fmla="*/ 2 w 887"/>
                <a:gd name="T7" fmla="*/ 1186 h 1202"/>
                <a:gd name="T8" fmla="*/ 0 w 887"/>
                <a:gd name="T9" fmla="*/ 1176 h 1202"/>
                <a:gd name="T10" fmla="*/ 0 w 887"/>
                <a:gd name="T11" fmla="*/ 21 h 1202"/>
                <a:gd name="T12" fmla="*/ 4 w 887"/>
                <a:gd name="T13" fmla="*/ 11 h 1202"/>
                <a:gd name="T14" fmla="*/ 12 w 887"/>
                <a:gd name="T15" fmla="*/ 4 h 1202"/>
                <a:gd name="T16" fmla="*/ 20 w 887"/>
                <a:gd name="T17" fmla="*/ 1 h 1202"/>
                <a:gd name="T18" fmla="*/ 235 w 887"/>
                <a:gd name="T19" fmla="*/ 0 h 1202"/>
                <a:gd name="T20" fmla="*/ 245 w 887"/>
                <a:gd name="T21" fmla="*/ 2 h 1202"/>
                <a:gd name="T22" fmla="*/ 254 w 887"/>
                <a:gd name="T23" fmla="*/ 8 h 1202"/>
                <a:gd name="T24" fmla="*/ 259 w 887"/>
                <a:gd name="T25" fmla="*/ 15 h 1202"/>
                <a:gd name="T26" fmla="*/ 261 w 887"/>
                <a:gd name="T27" fmla="*/ 26 h 1202"/>
                <a:gd name="T28" fmla="*/ 259 w 887"/>
                <a:gd name="T29" fmla="*/ 37 h 1202"/>
                <a:gd name="T30" fmla="*/ 254 w 887"/>
                <a:gd name="T31" fmla="*/ 44 h 1202"/>
                <a:gd name="T32" fmla="*/ 245 w 887"/>
                <a:gd name="T33" fmla="*/ 50 h 1202"/>
                <a:gd name="T34" fmla="*/ 235 w 887"/>
                <a:gd name="T35" fmla="*/ 53 h 1202"/>
                <a:gd name="T36" fmla="*/ 52 w 887"/>
                <a:gd name="T37" fmla="*/ 1150 h 1202"/>
                <a:gd name="T38" fmla="*/ 835 w 887"/>
                <a:gd name="T39" fmla="*/ 53 h 1202"/>
                <a:gd name="T40" fmla="*/ 700 w 887"/>
                <a:gd name="T41" fmla="*/ 51 h 1202"/>
                <a:gd name="T42" fmla="*/ 690 w 887"/>
                <a:gd name="T43" fmla="*/ 49 h 1202"/>
                <a:gd name="T44" fmla="*/ 683 w 887"/>
                <a:gd name="T45" fmla="*/ 41 h 1202"/>
                <a:gd name="T46" fmla="*/ 680 w 887"/>
                <a:gd name="T47" fmla="*/ 31 h 1202"/>
                <a:gd name="T48" fmla="*/ 680 w 887"/>
                <a:gd name="T49" fmla="*/ 21 h 1202"/>
                <a:gd name="T50" fmla="*/ 683 w 887"/>
                <a:gd name="T51" fmla="*/ 11 h 1202"/>
                <a:gd name="T52" fmla="*/ 690 w 887"/>
                <a:gd name="T53" fmla="*/ 4 h 1202"/>
                <a:gd name="T54" fmla="*/ 700 w 887"/>
                <a:gd name="T55" fmla="*/ 1 h 1202"/>
                <a:gd name="T56" fmla="*/ 861 w 887"/>
                <a:gd name="T57" fmla="*/ 0 h 1202"/>
                <a:gd name="T58" fmla="*/ 871 w 887"/>
                <a:gd name="T59" fmla="*/ 2 h 1202"/>
                <a:gd name="T60" fmla="*/ 880 w 887"/>
                <a:gd name="T61" fmla="*/ 8 h 1202"/>
                <a:gd name="T62" fmla="*/ 886 w 887"/>
                <a:gd name="T63" fmla="*/ 15 h 1202"/>
                <a:gd name="T64" fmla="*/ 887 w 887"/>
                <a:gd name="T65" fmla="*/ 26 h 1202"/>
                <a:gd name="T66" fmla="*/ 887 w 887"/>
                <a:gd name="T67" fmla="*/ 1180 h 1202"/>
                <a:gd name="T68" fmla="*/ 883 w 887"/>
                <a:gd name="T69" fmla="*/ 1190 h 1202"/>
                <a:gd name="T70" fmla="*/ 876 w 887"/>
                <a:gd name="T71" fmla="*/ 1198 h 1202"/>
                <a:gd name="T72" fmla="*/ 867 w 887"/>
                <a:gd name="T73" fmla="*/ 120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7" h="1202">
                  <a:moveTo>
                    <a:pt x="861" y="1202"/>
                  </a:moveTo>
                  <a:lnTo>
                    <a:pt x="26" y="1202"/>
                  </a:lnTo>
                  <a:lnTo>
                    <a:pt x="20" y="1201"/>
                  </a:lnTo>
                  <a:lnTo>
                    <a:pt x="16" y="1199"/>
                  </a:lnTo>
                  <a:lnTo>
                    <a:pt x="12" y="1198"/>
                  </a:lnTo>
                  <a:lnTo>
                    <a:pt x="7" y="1193"/>
                  </a:lnTo>
                  <a:lnTo>
                    <a:pt x="4" y="1190"/>
                  </a:lnTo>
                  <a:lnTo>
                    <a:pt x="2" y="1186"/>
                  </a:lnTo>
                  <a:lnTo>
                    <a:pt x="0" y="1180"/>
                  </a:lnTo>
                  <a:lnTo>
                    <a:pt x="0" y="1176"/>
                  </a:lnTo>
                  <a:lnTo>
                    <a:pt x="0" y="26"/>
                  </a:lnTo>
                  <a:lnTo>
                    <a:pt x="0" y="21"/>
                  </a:lnTo>
                  <a:lnTo>
                    <a:pt x="2" y="15"/>
                  </a:lnTo>
                  <a:lnTo>
                    <a:pt x="4" y="11"/>
                  </a:lnTo>
                  <a:lnTo>
                    <a:pt x="7" y="8"/>
                  </a:lnTo>
                  <a:lnTo>
                    <a:pt x="12" y="4"/>
                  </a:lnTo>
                  <a:lnTo>
                    <a:pt x="16" y="2"/>
                  </a:lnTo>
                  <a:lnTo>
                    <a:pt x="20" y="1"/>
                  </a:lnTo>
                  <a:lnTo>
                    <a:pt x="26" y="0"/>
                  </a:lnTo>
                  <a:lnTo>
                    <a:pt x="235" y="0"/>
                  </a:lnTo>
                  <a:lnTo>
                    <a:pt x="241" y="1"/>
                  </a:lnTo>
                  <a:lnTo>
                    <a:pt x="245" y="2"/>
                  </a:lnTo>
                  <a:lnTo>
                    <a:pt x="249" y="4"/>
                  </a:lnTo>
                  <a:lnTo>
                    <a:pt x="254" y="8"/>
                  </a:lnTo>
                  <a:lnTo>
                    <a:pt x="256" y="11"/>
                  </a:lnTo>
                  <a:lnTo>
                    <a:pt x="259" y="15"/>
                  </a:lnTo>
                  <a:lnTo>
                    <a:pt x="261" y="21"/>
                  </a:lnTo>
                  <a:lnTo>
                    <a:pt x="261" y="26"/>
                  </a:lnTo>
                  <a:lnTo>
                    <a:pt x="261" y="31"/>
                  </a:lnTo>
                  <a:lnTo>
                    <a:pt x="259" y="37"/>
                  </a:lnTo>
                  <a:lnTo>
                    <a:pt x="256" y="41"/>
                  </a:lnTo>
                  <a:lnTo>
                    <a:pt x="254" y="44"/>
                  </a:lnTo>
                  <a:lnTo>
                    <a:pt x="249" y="49"/>
                  </a:lnTo>
                  <a:lnTo>
                    <a:pt x="245" y="50"/>
                  </a:lnTo>
                  <a:lnTo>
                    <a:pt x="241" y="51"/>
                  </a:lnTo>
                  <a:lnTo>
                    <a:pt x="235" y="53"/>
                  </a:lnTo>
                  <a:lnTo>
                    <a:pt x="52" y="53"/>
                  </a:lnTo>
                  <a:lnTo>
                    <a:pt x="52" y="1150"/>
                  </a:lnTo>
                  <a:lnTo>
                    <a:pt x="835" y="1150"/>
                  </a:lnTo>
                  <a:lnTo>
                    <a:pt x="835" y="53"/>
                  </a:lnTo>
                  <a:lnTo>
                    <a:pt x="704" y="53"/>
                  </a:lnTo>
                  <a:lnTo>
                    <a:pt x="700" y="51"/>
                  </a:lnTo>
                  <a:lnTo>
                    <a:pt x="694" y="50"/>
                  </a:lnTo>
                  <a:lnTo>
                    <a:pt x="690" y="49"/>
                  </a:lnTo>
                  <a:lnTo>
                    <a:pt x="687" y="44"/>
                  </a:lnTo>
                  <a:lnTo>
                    <a:pt x="683" y="41"/>
                  </a:lnTo>
                  <a:lnTo>
                    <a:pt x="681" y="37"/>
                  </a:lnTo>
                  <a:lnTo>
                    <a:pt x="680" y="31"/>
                  </a:lnTo>
                  <a:lnTo>
                    <a:pt x="678" y="26"/>
                  </a:lnTo>
                  <a:lnTo>
                    <a:pt x="680" y="21"/>
                  </a:lnTo>
                  <a:lnTo>
                    <a:pt x="681" y="15"/>
                  </a:lnTo>
                  <a:lnTo>
                    <a:pt x="683" y="11"/>
                  </a:lnTo>
                  <a:lnTo>
                    <a:pt x="687" y="8"/>
                  </a:lnTo>
                  <a:lnTo>
                    <a:pt x="690" y="4"/>
                  </a:lnTo>
                  <a:lnTo>
                    <a:pt x="694" y="2"/>
                  </a:lnTo>
                  <a:lnTo>
                    <a:pt x="700" y="1"/>
                  </a:lnTo>
                  <a:lnTo>
                    <a:pt x="704" y="0"/>
                  </a:lnTo>
                  <a:lnTo>
                    <a:pt x="861" y="0"/>
                  </a:lnTo>
                  <a:lnTo>
                    <a:pt x="867" y="1"/>
                  </a:lnTo>
                  <a:lnTo>
                    <a:pt x="871" y="2"/>
                  </a:lnTo>
                  <a:lnTo>
                    <a:pt x="876" y="4"/>
                  </a:lnTo>
                  <a:lnTo>
                    <a:pt x="880" y="8"/>
                  </a:lnTo>
                  <a:lnTo>
                    <a:pt x="883" y="11"/>
                  </a:lnTo>
                  <a:lnTo>
                    <a:pt x="886" y="15"/>
                  </a:lnTo>
                  <a:lnTo>
                    <a:pt x="887" y="21"/>
                  </a:lnTo>
                  <a:lnTo>
                    <a:pt x="887" y="26"/>
                  </a:lnTo>
                  <a:lnTo>
                    <a:pt x="887" y="1176"/>
                  </a:lnTo>
                  <a:lnTo>
                    <a:pt x="887" y="1180"/>
                  </a:lnTo>
                  <a:lnTo>
                    <a:pt x="886" y="1186"/>
                  </a:lnTo>
                  <a:lnTo>
                    <a:pt x="883" y="1190"/>
                  </a:lnTo>
                  <a:lnTo>
                    <a:pt x="880" y="1193"/>
                  </a:lnTo>
                  <a:lnTo>
                    <a:pt x="876" y="1198"/>
                  </a:lnTo>
                  <a:lnTo>
                    <a:pt x="871" y="1199"/>
                  </a:lnTo>
                  <a:lnTo>
                    <a:pt x="867" y="1201"/>
                  </a:lnTo>
                  <a:lnTo>
                    <a:pt x="861" y="1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18">
              <a:extLst>
                <a:ext uri="{FF2B5EF4-FFF2-40B4-BE49-F238E27FC236}">
                  <a16:creationId xmlns:a16="http://schemas.microsoft.com/office/drawing/2014/main" id="{52CFD4FD-A3E5-4F2A-A9F6-C0FA32BC7105}"/>
                </a:ext>
              </a:extLst>
            </p:cNvPr>
            <p:cNvSpPr>
              <a:spLocks noEditPoints="1"/>
            </p:cNvSpPr>
            <p:nvPr/>
          </p:nvSpPr>
          <p:spPr bwMode="auto">
            <a:xfrm>
              <a:off x="6248400" y="1760538"/>
              <a:ext cx="581025" cy="746125"/>
            </a:xfrm>
            <a:custGeom>
              <a:avLst/>
              <a:gdLst>
                <a:gd name="T0" fmla="*/ 52 w 1097"/>
                <a:gd name="T1" fmla="*/ 1358 h 1410"/>
                <a:gd name="T2" fmla="*/ 1045 w 1097"/>
                <a:gd name="T3" fmla="*/ 1358 h 1410"/>
                <a:gd name="T4" fmla="*/ 1045 w 1097"/>
                <a:gd name="T5" fmla="*/ 52 h 1410"/>
                <a:gd name="T6" fmla="*/ 52 w 1097"/>
                <a:gd name="T7" fmla="*/ 52 h 1410"/>
                <a:gd name="T8" fmla="*/ 52 w 1097"/>
                <a:gd name="T9" fmla="*/ 1358 h 1410"/>
                <a:gd name="T10" fmla="*/ 1071 w 1097"/>
                <a:gd name="T11" fmla="*/ 1410 h 1410"/>
                <a:gd name="T12" fmla="*/ 26 w 1097"/>
                <a:gd name="T13" fmla="*/ 1410 h 1410"/>
                <a:gd name="T14" fmla="*/ 22 w 1097"/>
                <a:gd name="T15" fmla="*/ 1410 h 1410"/>
                <a:gd name="T16" fmla="*/ 16 w 1097"/>
                <a:gd name="T17" fmla="*/ 1408 h 1410"/>
                <a:gd name="T18" fmla="*/ 12 w 1097"/>
                <a:gd name="T19" fmla="*/ 1405 h 1410"/>
                <a:gd name="T20" fmla="*/ 7 w 1097"/>
                <a:gd name="T21" fmla="*/ 1402 h 1410"/>
                <a:gd name="T22" fmla="*/ 4 w 1097"/>
                <a:gd name="T23" fmla="*/ 1398 h 1410"/>
                <a:gd name="T24" fmla="*/ 3 w 1097"/>
                <a:gd name="T25" fmla="*/ 1394 h 1410"/>
                <a:gd name="T26" fmla="*/ 0 w 1097"/>
                <a:gd name="T27" fmla="*/ 1389 h 1410"/>
                <a:gd name="T28" fmla="*/ 0 w 1097"/>
                <a:gd name="T29" fmla="*/ 1384 h 1410"/>
                <a:gd name="T30" fmla="*/ 0 w 1097"/>
                <a:gd name="T31" fmla="*/ 26 h 1410"/>
                <a:gd name="T32" fmla="*/ 0 w 1097"/>
                <a:gd name="T33" fmla="*/ 20 h 1410"/>
                <a:gd name="T34" fmla="*/ 3 w 1097"/>
                <a:gd name="T35" fmla="*/ 16 h 1410"/>
                <a:gd name="T36" fmla="*/ 4 w 1097"/>
                <a:gd name="T37" fmla="*/ 11 h 1410"/>
                <a:gd name="T38" fmla="*/ 7 w 1097"/>
                <a:gd name="T39" fmla="*/ 7 h 1410"/>
                <a:gd name="T40" fmla="*/ 12 w 1097"/>
                <a:gd name="T41" fmla="*/ 4 h 1410"/>
                <a:gd name="T42" fmla="*/ 16 w 1097"/>
                <a:gd name="T43" fmla="*/ 1 h 1410"/>
                <a:gd name="T44" fmla="*/ 22 w 1097"/>
                <a:gd name="T45" fmla="*/ 0 h 1410"/>
                <a:gd name="T46" fmla="*/ 26 w 1097"/>
                <a:gd name="T47" fmla="*/ 0 h 1410"/>
                <a:gd name="T48" fmla="*/ 1071 w 1097"/>
                <a:gd name="T49" fmla="*/ 0 h 1410"/>
                <a:gd name="T50" fmla="*/ 1076 w 1097"/>
                <a:gd name="T51" fmla="*/ 0 h 1410"/>
                <a:gd name="T52" fmla="*/ 1081 w 1097"/>
                <a:gd name="T53" fmla="*/ 1 h 1410"/>
                <a:gd name="T54" fmla="*/ 1086 w 1097"/>
                <a:gd name="T55" fmla="*/ 4 h 1410"/>
                <a:gd name="T56" fmla="*/ 1090 w 1097"/>
                <a:gd name="T57" fmla="*/ 7 h 1410"/>
                <a:gd name="T58" fmla="*/ 1093 w 1097"/>
                <a:gd name="T59" fmla="*/ 11 h 1410"/>
                <a:gd name="T60" fmla="*/ 1096 w 1097"/>
                <a:gd name="T61" fmla="*/ 16 h 1410"/>
                <a:gd name="T62" fmla="*/ 1097 w 1097"/>
                <a:gd name="T63" fmla="*/ 20 h 1410"/>
                <a:gd name="T64" fmla="*/ 1097 w 1097"/>
                <a:gd name="T65" fmla="*/ 26 h 1410"/>
                <a:gd name="T66" fmla="*/ 1097 w 1097"/>
                <a:gd name="T67" fmla="*/ 1384 h 1410"/>
                <a:gd name="T68" fmla="*/ 1097 w 1097"/>
                <a:gd name="T69" fmla="*/ 1389 h 1410"/>
                <a:gd name="T70" fmla="*/ 1096 w 1097"/>
                <a:gd name="T71" fmla="*/ 1394 h 1410"/>
                <a:gd name="T72" fmla="*/ 1093 w 1097"/>
                <a:gd name="T73" fmla="*/ 1398 h 1410"/>
                <a:gd name="T74" fmla="*/ 1090 w 1097"/>
                <a:gd name="T75" fmla="*/ 1402 h 1410"/>
                <a:gd name="T76" fmla="*/ 1086 w 1097"/>
                <a:gd name="T77" fmla="*/ 1405 h 1410"/>
                <a:gd name="T78" fmla="*/ 1081 w 1097"/>
                <a:gd name="T79" fmla="*/ 1408 h 1410"/>
                <a:gd name="T80" fmla="*/ 1076 w 1097"/>
                <a:gd name="T81" fmla="*/ 1410 h 1410"/>
                <a:gd name="T82" fmla="*/ 1071 w 1097"/>
                <a:gd name="T83" fmla="*/ 141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7" h="1410">
                  <a:moveTo>
                    <a:pt x="52" y="1358"/>
                  </a:moveTo>
                  <a:lnTo>
                    <a:pt x="1045" y="1358"/>
                  </a:lnTo>
                  <a:lnTo>
                    <a:pt x="1045" y="52"/>
                  </a:lnTo>
                  <a:lnTo>
                    <a:pt x="52" y="52"/>
                  </a:lnTo>
                  <a:lnTo>
                    <a:pt x="52" y="1358"/>
                  </a:lnTo>
                  <a:close/>
                  <a:moveTo>
                    <a:pt x="1071" y="1410"/>
                  </a:moveTo>
                  <a:lnTo>
                    <a:pt x="26" y="1410"/>
                  </a:lnTo>
                  <a:lnTo>
                    <a:pt x="22" y="1410"/>
                  </a:lnTo>
                  <a:lnTo>
                    <a:pt x="16" y="1408"/>
                  </a:lnTo>
                  <a:lnTo>
                    <a:pt x="12" y="1405"/>
                  </a:lnTo>
                  <a:lnTo>
                    <a:pt x="7" y="1402"/>
                  </a:lnTo>
                  <a:lnTo>
                    <a:pt x="4" y="1398"/>
                  </a:lnTo>
                  <a:lnTo>
                    <a:pt x="3" y="1394"/>
                  </a:lnTo>
                  <a:lnTo>
                    <a:pt x="0" y="1389"/>
                  </a:lnTo>
                  <a:lnTo>
                    <a:pt x="0" y="1384"/>
                  </a:lnTo>
                  <a:lnTo>
                    <a:pt x="0" y="26"/>
                  </a:lnTo>
                  <a:lnTo>
                    <a:pt x="0" y="20"/>
                  </a:lnTo>
                  <a:lnTo>
                    <a:pt x="3" y="16"/>
                  </a:lnTo>
                  <a:lnTo>
                    <a:pt x="4" y="11"/>
                  </a:lnTo>
                  <a:lnTo>
                    <a:pt x="7" y="7"/>
                  </a:lnTo>
                  <a:lnTo>
                    <a:pt x="12" y="4"/>
                  </a:lnTo>
                  <a:lnTo>
                    <a:pt x="16" y="1"/>
                  </a:lnTo>
                  <a:lnTo>
                    <a:pt x="22" y="0"/>
                  </a:lnTo>
                  <a:lnTo>
                    <a:pt x="26" y="0"/>
                  </a:lnTo>
                  <a:lnTo>
                    <a:pt x="1071" y="0"/>
                  </a:lnTo>
                  <a:lnTo>
                    <a:pt x="1076" y="0"/>
                  </a:lnTo>
                  <a:lnTo>
                    <a:pt x="1081" y="1"/>
                  </a:lnTo>
                  <a:lnTo>
                    <a:pt x="1086" y="4"/>
                  </a:lnTo>
                  <a:lnTo>
                    <a:pt x="1090" y="7"/>
                  </a:lnTo>
                  <a:lnTo>
                    <a:pt x="1093" y="11"/>
                  </a:lnTo>
                  <a:lnTo>
                    <a:pt x="1096" y="16"/>
                  </a:lnTo>
                  <a:lnTo>
                    <a:pt x="1097" y="20"/>
                  </a:lnTo>
                  <a:lnTo>
                    <a:pt x="1097" y="26"/>
                  </a:lnTo>
                  <a:lnTo>
                    <a:pt x="1097" y="1384"/>
                  </a:lnTo>
                  <a:lnTo>
                    <a:pt x="1097" y="1389"/>
                  </a:lnTo>
                  <a:lnTo>
                    <a:pt x="1096" y="1394"/>
                  </a:lnTo>
                  <a:lnTo>
                    <a:pt x="1093" y="1398"/>
                  </a:lnTo>
                  <a:lnTo>
                    <a:pt x="1090" y="1402"/>
                  </a:lnTo>
                  <a:lnTo>
                    <a:pt x="1086" y="1405"/>
                  </a:lnTo>
                  <a:lnTo>
                    <a:pt x="1081" y="1408"/>
                  </a:lnTo>
                  <a:lnTo>
                    <a:pt x="1076" y="1410"/>
                  </a:lnTo>
                  <a:lnTo>
                    <a:pt x="1071" y="1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19">
              <a:extLst>
                <a:ext uri="{FF2B5EF4-FFF2-40B4-BE49-F238E27FC236}">
                  <a16:creationId xmlns:a16="http://schemas.microsoft.com/office/drawing/2014/main" id="{9C97C718-87A9-4F62-8917-C152EB58C54B}"/>
                </a:ext>
              </a:extLst>
            </p:cNvPr>
            <p:cNvSpPr>
              <a:spLocks noEditPoints="1"/>
            </p:cNvSpPr>
            <p:nvPr/>
          </p:nvSpPr>
          <p:spPr bwMode="auto">
            <a:xfrm>
              <a:off x="6415088" y="1760538"/>
              <a:ext cx="276225" cy="138113"/>
            </a:xfrm>
            <a:custGeom>
              <a:avLst/>
              <a:gdLst>
                <a:gd name="T0" fmla="*/ 52 w 523"/>
                <a:gd name="T1" fmla="*/ 209 h 261"/>
                <a:gd name="T2" fmla="*/ 469 w 523"/>
                <a:gd name="T3" fmla="*/ 209 h 261"/>
                <a:gd name="T4" fmla="*/ 469 w 523"/>
                <a:gd name="T5" fmla="*/ 52 h 261"/>
                <a:gd name="T6" fmla="*/ 52 w 523"/>
                <a:gd name="T7" fmla="*/ 52 h 261"/>
                <a:gd name="T8" fmla="*/ 52 w 523"/>
                <a:gd name="T9" fmla="*/ 209 h 261"/>
                <a:gd name="T10" fmla="*/ 495 w 523"/>
                <a:gd name="T11" fmla="*/ 261 h 261"/>
                <a:gd name="T12" fmla="*/ 26 w 523"/>
                <a:gd name="T13" fmla="*/ 261 h 261"/>
                <a:gd name="T14" fmla="*/ 20 w 523"/>
                <a:gd name="T15" fmla="*/ 261 h 261"/>
                <a:gd name="T16" fmla="*/ 16 w 523"/>
                <a:gd name="T17" fmla="*/ 259 h 261"/>
                <a:gd name="T18" fmla="*/ 11 w 523"/>
                <a:gd name="T19" fmla="*/ 256 h 261"/>
                <a:gd name="T20" fmla="*/ 7 w 523"/>
                <a:gd name="T21" fmla="*/ 253 h 261"/>
                <a:gd name="T22" fmla="*/ 4 w 523"/>
                <a:gd name="T23" fmla="*/ 249 h 261"/>
                <a:gd name="T24" fmla="*/ 1 w 523"/>
                <a:gd name="T25" fmla="*/ 245 h 261"/>
                <a:gd name="T26" fmla="*/ 0 w 523"/>
                <a:gd name="T27" fmla="*/ 240 h 261"/>
                <a:gd name="T28" fmla="*/ 0 w 523"/>
                <a:gd name="T29" fmla="*/ 235 h 261"/>
                <a:gd name="T30" fmla="*/ 0 w 523"/>
                <a:gd name="T31" fmla="*/ 26 h 261"/>
                <a:gd name="T32" fmla="*/ 0 w 523"/>
                <a:gd name="T33" fmla="*/ 20 h 261"/>
                <a:gd name="T34" fmla="*/ 1 w 523"/>
                <a:gd name="T35" fmla="*/ 16 h 261"/>
                <a:gd name="T36" fmla="*/ 4 w 523"/>
                <a:gd name="T37" fmla="*/ 11 h 261"/>
                <a:gd name="T38" fmla="*/ 7 w 523"/>
                <a:gd name="T39" fmla="*/ 7 h 261"/>
                <a:gd name="T40" fmla="*/ 11 w 523"/>
                <a:gd name="T41" fmla="*/ 4 h 261"/>
                <a:gd name="T42" fmla="*/ 16 w 523"/>
                <a:gd name="T43" fmla="*/ 1 h 261"/>
                <a:gd name="T44" fmla="*/ 20 w 523"/>
                <a:gd name="T45" fmla="*/ 0 h 261"/>
                <a:gd name="T46" fmla="*/ 26 w 523"/>
                <a:gd name="T47" fmla="*/ 0 h 261"/>
                <a:gd name="T48" fmla="*/ 495 w 523"/>
                <a:gd name="T49" fmla="*/ 0 h 261"/>
                <a:gd name="T50" fmla="*/ 501 w 523"/>
                <a:gd name="T51" fmla="*/ 0 h 261"/>
                <a:gd name="T52" fmla="*/ 505 w 523"/>
                <a:gd name="T53" fmla="*/ 1 h 261"/>
                <a:gd name="T54" fmla="*/ 511 w 523"/>
                <a:gd name="T55" fmla="*/ 4 h 261"/>
                <a:gd name="T56" fmla="*/ 514 w 523"/>
                <a:gd name="T57" fmla="*/ 7 h 261"/>
                <a:gd name="T58" fmla="*/ 517 w 523"/>
                <a:gd name="T59" fmla="*/ 11 h 261"/>
                <a:gd name="T60" fmla="*/ 520 w 523"/>
                <a:gd name="T61" fmla="*/ 16 h 261"/>
                <a:gd name="T62" fmla="*/ 521 w 523"/>
                <a:gd name="T63" fmla="*/ 20 h 261"/>
                <a:gd name="T64" fmla="*/ 523 w 523"/>
                <a:gd name="T65" fmla="*/ 26 h 261"/>
                <a:gd name="T66" fmla="*/ 523 w 523"/>
                <a:gd name="T67" fmla="*/ 235 h 261"/>
                <a:gd name="T68" fmla="*/ 521 w 523"/>
                <a:gd name="T69" fmla="*/ 240 h 261"/>
                <a:gd name="T70" fmla="*/ 520 w 523"/>
                <a:gd name="T71" fmla="*/ 245 h 261"/>
                <a:gd name="T72" fmla="*/ 517 w 523"/>
                <a:gd name="T73" fmla="*/ 249 h 261"/>
                <a:gd name="T74" fmla="*/ 514 w 523"/>
                <a:gd name="T75" fmla="*/ 253 h 261"/>
                <a:gd name="T76" fmla="*/ 511 w 523"/>
                <a:gd name="T77" fmla="*/ 256 h 261"/>
                <a:gd name="T78" fmla="*/ 505 w 523"/>
                <a:gd name="T79" fmla="*/ 259 h 261"/>
                <a:gd name="T80" fmla="*/ 501 w 523"/>
                <a:gd name="T81" fmla="*/ 261 h 261"/>
                <a:gd name="T82" fmla="*/ 495 w 523"/>
                <a:gd name="T8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3" h="261">
                  <a:moveTo>
                    <a:pt x="52" y="209"/>
                  </a:moveTo>
                  <a:lnTo>
                    <a:pt x="469" y="209"/>
                  </a:lnTo>
                  <a:lnTo>
                    <a:pt x="469" y="52"/>
                  </a:lnTo>
                  <a:lnTo>
                    <a:pt x="52" y="52"/>
                  </a:lnTo>
                  <a:lnTo>
                    <a:pt x="52" y="209"/>
                  </a:lnTo>
                  <a:close/>
                  <a:moveTo>
                    <a:pt x="495" y="261"/>
                  </a:moveTo>
                  <a:lnTo>
                    <a:pt x="26" y="261"/>
                  </a:lnTo>
                  <a:lnTo>
                    <a:pt x="20" y="261"/>
                  </a:lnTo>
                  <a:lnTo>
                    <a:pt x="16" y="259"/>
                  </a:lnTo>
                  <a:lnTo>
                    <a:pt x="11" y="256"/>
                  </a:lnTo>
                  <a:lnTo>
                    <a:pt x="7" y="253"/>
                  </a:lnTo>
                  <a:lnTo>
                    <a:pt x="4" y="249"/>
                  </a:lnTo>
                  <a:lnTo>
                    <a:pt x="1" y="245"/>
                  </a:lnTo>
                  <a:lnTo>
                    <a:pt x="0" y="240"/>
                  </a:lnTo>
                  <a:lnTo>
                    <a:pt x="0" y="235"/>
                  </a:lnTo>
                  <a:lnTo>
                    <a:pt x="0" y="26"/>
                  </a:lnTo>
                  <a:lnTo>
                    <a:pt x="0" y="20"/>
                  </a:lnTo>
                  <a:lnTo>
                    <a:pt x="1" y="16"/>
                  </a:lnTo>
                  <a:lnTo>
                    <a:pt x="4" y="11"/>
                  </a:lnTo>
                  <a:lnTo>
                    <a:pt x="7" y="7"/>
                  </a:lnTo>
                  <a:lnTo>
                    <a:pt x="11" y="4"/>
                  </a:lnTo>
                  <a:lnTo>
                    <a:pt x="16" y="1"/>
                  </a:lnTo>
                  <a:lnTo>
                    <a:pt x="20" y="0"/>
                  </a:lnTo>
                  <a:lnTo>
                    <a:pt x="26" y="0"/>
                  </a:lnTo>
                  <a:lnTo>
                    <a:pt x="495" y="0"/>
                  </a:lnTo>
                  <a:lnTo>
                    <a:pt x="501" y="0"/>
                  </a:lnTo>
                  <a:lnTo>
                    <a:pt x="505" y="1"/>
                  </a:lnTo>
                  <a:lnTo>
                    <a:pt x="511" y="4"/>
                  </a:lnTo>
                  <a:lnTo>
                    <a:pt x="514" y="7"/>
                  </a:lnTo>
                  <a:lnTo>
                    <a:pt x="517" y="11"/>
                  </a:lnTo>
                  <a:lnTo>
                    <a:pt x="520" y="16"/>
                  </a:lnTo>
                  <a:lnTo>
                    <a:pt x="521" y="20"/>
                  </a:lnTo>
                  <a:lnTo>
                    <a:pt x="523" y="26"/>
                  </a:lnTo>
                  <a:lnTo>
                    <a:pt x="523" y="235"/>
                  </a:lnTo>
                  <a:lnTo>
                    <a:pt x="521" y="240"/>
                  </a:lnTo>
                  <a:lnTo>
                    <a:pt x="520" y="245"/>
                  </a:lnTo>
                  <a:lnTo>
                    <a:pt x="517" y="249"/>
                  </a:lnTo>
                  <a:lnTo>
                    <a:pt x="514" y="253"/>
                  </a:lnTo>
                  <a:lnTo>
                    <a:pt x="511" y="256"/>
                  </a:lnTo>
                  <a:lnTo>
                    <a:pt x="505" y="259"/>
                  </a:lnTo>
                  <a:lnTo>
                    <a:pt x="501" y="261"/>
                  </a:lnTo>
                  <a:lnTo>
                    <a:pt x="495"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7" name="Group 51">
            <a:extLst>
              <a:ext uri="{FF2B5EF4-FFF2-40B4-BE49-F238E27FC236}">
                <a16:creationId xmlns:a16="http://schemas.microsoft.com/office/drawing/2014/main" id="{0E32F0FB-E1EB-4014-A6B5-1C78F7C58584}"/>
              </a:ext>
            </a:extLst>
          </p:cNvPr>
          <p:cNvGrpSpPr>
            <a:grpSpLocks noChangeAspect="1"/>
          </p:cNvGrpSpPr>
          <p:nvPr/>
        </p:nvGrpSpPr>
        <p:grpSpPr>
          <a:xfrm>
            <a:off x="2338949" y="4345739"/>
            <a:ext cx="236675" cy="306484"/>
            <a:chOff x="8205788" y="788988"/>
            <a:chExt cx="220663" cy="285750"/>
          </a:xfrm>
          <a:solidFill>
            <a:schemeClr val="bg1"/>
          </a:solidFill>
          <a:effectLst/>
        </p:grpSpPr>
        <p:sp>
          <p:nvSpPr>
            <p:cNvPr id="368" name="Freeform 147">
              <a:extLst>
                <a:ext uri="{FF2B5EF4-FFF2-40B4-BE49-F238E27FC236}">
                  <a16:creationId xmlns:a16="http://schemas.microsoft.com/office/drawing/2014/main" id="{751364D8-8ECB-42D8-9A28-23C52DE25B3D}"/>
                </a:ext>
              </a:extLst>
            </p:cNvPr>
            <p:cNvSpPr>
              <a:spLocks noEditPoints="1"/>
            </p:cNvSpPr>
            <p:nvPr/>
          </p:nvSpPr>
          <p:spPr bwMode="auto">
            <a:xfrm>
              <a:off x="8205788" y="788988"/>
              <a:ext cx="220663" cy="285750"/>
            </a:xfrm>
            <a:custGeom>
              <a:avLst/>
              <a:gdLst>
                <a:gd name="T0" fmla="*/ 660 w 691"/>
                <a:gd name="T1" fmla="*/ 872 h 903"/>
                <a:gd name="T2" fmla="*/ 30 w 691"/>
                <a:gd name="T3" fmla="*/ 872 h 903"/>
                <a:gd name="T4" fmla="*/ 30 w 691"/>
                <a:gd name="T5" fmla="*/ 31 h 903"/>
                <a:gd name="T6" fmla="*/ 420 w 691"/>
                <a:gd name="T7" fmla="*/ 31 h 903"/>
                <a:gd name="T8" fmla="*/ 420 w 691"/>
                <a:gd name="T9" fmla="*/ 256 h 903"/>
                <a:gd name="T10" fmla="*/ 420 w 691"/>
                <a:gd name="T11" fmla="*/ 259 h 903"/>
                <a:gd name="T12" fmla="*/ 421 w 691"/>
                <a:gd name="T13" fmla="*/ 263 h 903"/>
                <a:gd name="T14" fmla="*/ 422 w 691"/>
                <a:gd name="T15" fmla="*/ 265 h 903"/>
                <a:gd name="T16" fmla="*/ 424 w 691"/>
                <a:gd name="T17" fmla="*/ 267 h 903"/>
                <a:gd name="T18" fmla="*/ 426 w 691"/>
                <a:gd name="T19" fmla="*/ 269 h 903"/>
                <a:gd name="T20" fmla="*/ 429 w 691"/>
                <a:gd name="T21" fmla="*/ 270 h 903"/>
                <a:gd name="T22" fmla="*/ 432 w 691"/>
                <a:gd name="T23" fmla="*/ 271 h 903"/>
                <a:gd name="T24" fmla="*/ 435 w 691"/>
                <a:gd name="T25" fmla="*/ 271 h 903"/>
                <a:gd name="T26" fmla="*/ 660 w 691"/>
                <a:gd name="T27" fmla="*/ 271 h 903"/>
                <a:gd name="T28" fmla="*/ 660 w 691"/>
                <a:gd name="T29" fmla="*/ 872 h 903"/>
                <a:gd name="T30" fmla="*/ 450 w 691"/>
                <a:gd name="T31" fmla="*/ 54 h 903"/>
                <a:gd name="T32" fmla="*/ 639 w 691"/>
                <a:gd name="T33" fmla="*/ 241 h 903"/>
                <a:gd name="T34" fmla="*/ 450 w 691"/>
                <a:gd name="T35" fmla="*/ 241 h 903"/>
                <a:gd name="T36" fmla="*/ 450 w 691"/>
                <a:gd name="T37" fmla="*/ 54 h 903"/>
                <a:gd name="T38" fmla="*/ 685 w 691"/>
                <a:gd name="T39" fmla="*/ 245 h 903"/>
                <a:gd name="T40" fmla="*/ 446 w 691"/>
                <a:gd name="T41" fmla="*/ 6 h 903"/>
                <a:gd name="T42" fmla="*/ 444 w 691"/>
                <a:gd name="T43" fmla="*/ 4 h 903"/>
                <a:gd name="T44" fmla="*/ 440 w 691"/>
                <a:gd name="T45" fmla="*/ 3 h 903"/>
                <a:gd name="T46" fmla="*/ 438 w 691"/>
                <a:gd name="T47" fmla="*/ 1 h 903"/>
                <a:gd name="T48" fmla="*/ 435 w 691"/>
                <a:gd name="T49" fmla="*/ 0 h 903"/>
                <a:gd name="T50" fmla="*/ 15 w 691"/>
                <a:gd name="T51" fmla="*/ 0 h 903"/>
                <a:gd name="T52" fmla="*/ 11 w 691"/>
                <a:gd name="T53" fmla="*/ 1 h 903"/>
                <a:gd name="T54" fmla="*/ 8 w 691"/>
                <a:gd name="T55" fmla="*/ 3 h 903"/>
                <a:gd name="T56" fmla="*/ 6 w 691"/>
                <a:gd name="T57" fmla="*/ 4 h 903"/>
                <a:gd name="T58" fmla="*/ 4 w 691"/>
                <a:gd name="T59" fmla="*/ 6 h 903"/>
                <a:gd name="T60" fmla="*/ 2 w 691"/>
                <a:gd name="T61" fmla="*/ 8 h 903"/>
                <a:gd name="T62" fmla="*/ 1 w 691"/>
                <a:gd name="T63" fmla="*/ 10 h 903"/>
                <a:gd name="T64" fmla="*/ 0 w 691"/>
                <a:gd name="T65" fmla="*/ 13 h 903"/>
                <a:gd name="T66" fmla="*/ 0 w 691"/>
                <a:gd name="T67" fmla="*/ 16 h 903"/>
                <a:gd name="T68" fmla="*/ 0 w 691"/>
                <a:gd name="T69" fmla="*/ 887 h 903"/>
                <a:gd name="T70" fmla="*/ 0 w 691"/>
                <a:gd name="T71" fmla="*/ 891 h 903"/>
                <a:gd name="T72" fmla="*/ 1 w 691"/>
                <a:gd name="T73" fmla="*/ 893 h 903"/>
                <a:gd name="T74" fmla="*/ 2 w 691"/>
                <a:gd name="T75" fmla="*/ 896 h 903"/>
                <a:gd name="T76" fmla="*/ 4 w 691"/>
                <a:gd name="T77" fmla="*/ 898 h 903"/>
                <a:gd name="T78" fmla="*/ 6 w 691"/>
                <a:gd name="T79" fmla="*/ 899 h 903"/>
                <a:gd name="T80" fmla="*/ 8 w 691"/>
                <a:gd name="T81" fmla="*/ 901 h 903"/>
                <a:gd name="T82" fmla="*/ 11 w 691"/>
                <a:gd name="T83" fmla="*/ 901 h 903"/>
                <a:gd name="T84" fmla="*/ 15 w 691"/>
                <a:gd name="T85" fmla="*/ 903 h 903"/>
                <a:gd name="T86" fmla="*/ 675 w 691"/>
                <a:gd name="T87" fmla="*/ 903 h 903"/>
                <a:gd name="T88" fmla="*/ 678 w 691"/>
                <a:gd name="T89" fmla="*/ 901 h 903"/>
                <a:gd name="T90" fmla="*/ 681 w 691"/>
                <a:gd name="T91" fmla="*/ 901 h 903"/>
                <a:gd name="T92" fmla="*/ 683 w 691"/>
                <a:gd name="T93" fmla="*/ 899 h 903"/>
                <a:gd name="T94" fmla="*/ 685 w 691"/>
                <a:gd name="T95" fmla="*/ 898 h 903"/>
                <a:gd name="T96" fmla="*/ 688 w 691"/>
                <a:gd name="T97" fmla="*/ 896 h 903"/>
                <a:gd name="T98" fmla="*/ 689 w 691"/>
                <a:gd name="T99" fmla="*/ 893 h 903"/>
                <a:gd name="T100" fmla="*/ 690 w 691"/>
                <a:gd name="T101" fmla="*/ 891 h 903"/>
                <a:gd name="T102" fmla="*/ 691 w 691"/>
                <a:gd name="T103" fmla="*/ 888 h 903"/>
                <a:gd name="T104" fmla="*/ 691 w 691"/>
                <a:gd name="T105" fmla="*/ 256 h 903"/>
                <a:gd name="T106" fmla="*/ 689 w 691"/>
                <a:gd name="T107" fmla="*/ 251 h 903"/>
                <a:gd name="T108" fmla="*/ 685 w 691"/>
                <a:gd name="T109" fmla="*/ 2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3">
                  <a:moveTo>
                    <a:pt x="660" y="872"/>
                  </a:moveTo>
                  <a:lnTo>
                    <a:pt x="30" y="872"/>
                  </a:lnTo>
                  <a:lnTo>
                    <a:pt x="30" y="31"/>
                  </a:lnTo>
                  <a:lnTo>
                    <a:pt x="420" y="31"/>
                  </a:lnTo>
                  <a:lnTo>
                    <a:pt x="420" y="256"/>
                  </a:lnTo>
                  <a:lnTo>
                    <a:pt x="420" y="259"/>
                  </a:lnTo>
                  <a:lnTo>
                    <a:pt x="421" y="263"/>
                  </a:lnTo>
                  <a:lnTo>
                    <a:pt x="422" y="265"/>
                  </a:lnTo>
                  <a:lnTo>
                    <a:pt x="424" y="267"/>
                  </a:lnTo>
                  <a:lnTo>
                    <a:pt x="426" y="269"/>
                  </a:lnTo>
                  <a:lnTo>
                    <a:pt x="429" y="270"/>
                  </a:lnTo>
                  <a:lnTo>
                    <a:pt x="432" y="271"/>
                  </a:lnTo>
                  <a:lnTo>
                    <a:pt x="435" y="271"/>
                  </a:lnTo>
                  <a:lnTo>
                    <a:pt x="660" y="271"/>
                  </a:lnTo>
                  <a:lnTo>
                    <a:pt x="660" y="872"/>
                  </a:lnTo>
                  <a:close/>
                  <a:moveTo>
                    <a:pt x="450" y="54"/>
                  </a:moveTo>
                  <a:lnTo>
                    <a:pt x="639" y="241"/>
                  </a:lnTo>
                  <a:lnTo>
                    <a:pt x="450" y="241"/>
                  </a:lnTo>
                  <a:lnTo>
                    <a:pt x="450" y="54"/>
                  </a:lnTo>
                  <a:close/>
                  <a:moveTo>
                    <a:pt x="685" y="245"/>
                  </a:moveTo>
                  <a:lnTo>
                    <a:pt x="446" y="6"/>
                  </a:lnTo>
                  <a:lnTo>
                    <a:pt x="444" y="4"/>
                  </a:lnTo>
                  <a:lnTo>
                    <a:pt x="440" y="3"/>
                  </a:lnTo>
                  <a:lnTo>
                    <a:pt x="438" y="1"/>
                  </a:lnTo>
                  <a:lnTo>
                    <a:pt x="435" y="0"/>
                  </a:lnTo>
                  <a:lnTo>
                    <a:pt x="15" y="0"/>
                  </a:lnTo>
                  <a:lnTo>
                    <a:pt x="11" y="1"/>
                  </a:lnTo>
                  <a:lnTo>
                    <a:pt x="8" y="3"/>
                  </a:lnTo>
                  <a:lnTo>
                    <a:pt x="6" y="4"/>
                  </a:lnTo>
                  <a:lnTo>
                    <a:pt x="4" y="6"/>
                  </a:lnTo>
                  <a:lnTo>
                    <a:pt x="2" y="8"/>
                  </a:lnTo>
                  <a:lnTo>
                    <a:pt x="1" y="10"/>
                  </a:lnTo>
                  <a:lnTo>
                    <a:pt x="0" y="13"/>
                  </a:lnTo>
                  <a:lnTo>
                    <a:pt x="0" y="16"/>
                  </a:lnTo>
                  <a:lnTo>
                    <a:pt x="0" y="887"/>
                  </a:lnTo>
                  <a:lnTo>
                    <a:pt x="0" y="891"/>
                  </a:lnTo>
                  <a:lnTo>
                    <a:pt x="1" y="893"/>
                  </a:lnTo>
                  <a:lnTo>
                    <a:pt x="2" y="896"/>
                  </a:lnTo>
                  <a:lnTo>
                    <a:pt x="4" y="898"/>
                  </a:lnTo>
                  <a:lnTo>
                    <a:pt x="6" y="899"/>
                  </a:lnTo>
                  <a:lnTo>
                    <a:pt x="8" y="901"/>
                  </a:lnTo>
                  <a:lnTo>
                    <a:pt x="11" y="901"/>
                  </a:lnTo>
                  <a:lnTo>
                    <a:pt x="15" y="903"/>
                  </a:lnTo>
                  <a:lnTo>
                    <a:pt x="675" y="903"/>
                  </a:lnTo>
                  <a:lnTo>
                    <a:pt x="678" y="901"/>
                  </a:lnTo>
                  <a:lnTo>
                    <a:pt x="681" y="901"/>
                  </a:lnTo>
                  <a:lnTo>
                    <a:pt x="683" y="899"/>
                  </a:lnTo>
                  <a:lnTo>
                    <a:pt x="685" y="898"/>
                  </a:lnTo>
                  <a:lnTo>
                    <a:pt x="688" y="896"/>
                  </a:lnTo>
                  <a:lnTo>
                    <a:pt x="689" y="893"/>
                  </a:lnTo>
                  <a:lnTo>
                    <a:pt x="690" y="891"/>
                  </a:lnTo>
                  <a:lnTo>
                    <a:pt x="691" y="888"/>
                  </a:lnTo>
                  <a:lnTo>
                    <a:pt x="691" y="256"/>
                  </a:lnTo>
                  <a:lnTo>
                    <a:pt x="689" y="251"/>
                  </a:lnTo>
                  <a:lnTo>
                    <a:pt x="685"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369" name="Freeform 148">
              <a:extLst>
                <a:ext uri="{FF2B5EF4-FFF2-40B4-BE49-F238E27FC236}">
                  <a16:creationId xmlns:a16="http://schemas.microsoft.com/office/drawing/2014/main" id="{CD90298D-3FDF-42B4-82E4-65C47D35728F}"/>
                </a:ext>
              </a:extLst>
            </p:cNvPr>
            <p:cNvSpPr>
              <a:spLocks/>
            </p:cNvSpPr>
            <p:nvPr/>
          </p:nvSpPr>
          <p:spPr bwMode="auto">
            <a:xfrm>
              <a:off x="8243888" y="879476"/>
              <a:ext cx="146050" cy="147638"/>
            </a:xfrm>
            <a:custGeom>
              <a:avLst/>
              <a:gdLst>
                <a:gd name="T0" fmla="*/ 181 w 457"/>
                <a:gd name="T1" fmla="*/ 170 h 466"/>
                <a:gd name="T2" fmla="*/ 172 w 457"/>
                <a:gd name="T3" fmla="*/ 171 h 466"/>
                <a:gd name="T4" fmla="*/ 30 w 457"/>
                <a:gd name="T5" fmla="*/ 298 h 466"/>
                <a:gd name="T6" fmla="*/ 30 w 457"/>
                <a:gd name="T7" fmla="*/ 12 h 466"/>
                <a:gd name="T8" fmla="*/ 28 w 457"/>
                <a:gd name="T9" fmla="*/ 7 h 466"/>
                <a:gd name="T10" fmla="*/ 24 w 457"/>
                <a:gd name="T11" fmla="*/ 2 h 466"/>
                <a:gd name="T12" fmla="*/ 19 w 457"/>
                <a:gd name="T13" fmla="*/ 0 h 466"/>
                <a:gd name="T14" fmla="*/ 12 w 457"/>
                <a:gd name="T15" fmla="*/ 0 h 466"/>
                <a:gd name="T16" fmla="*/ 7 w 457"/>
                <a:gd name="T17" fmla="*/ 2 h 466"/>
                <a:gd name="T18" fmla="*/ 4 w 457"/>
                <a:gd name="T19" fmla="*/ 7 h 466"/>
                <a:gd name="T20" fmla="*/ 0 w 457"/>
                <a:gd name="T21" fmla="*/ 12 h 466"/>
                <a:gd name="T22" fmla="*/ 0 w 457"/>
                <a:gd name="T23" fmla="*/ 451 h 466"/>
                <a:gd name="T24" fmla="*/ 1 w 457"/>
                <a:gd name="T25" fmla="*/ 457 h 466"/>
                <a:gd name="T26" fmla="*/ 5 w 457"/>
                <a:gd name="T27" fmla="*/ 461 h 466"/>
                <a:gd name="T28" fmla="*/ 10 w 457"/>
                <a:gd name="T29" fmla="*/ 465 h 466"/>
                <a:gd name="T30" fmla="*/ 15 w 457"/>
                <a:gd name="T31" fmla="*/ 466 h 466"/>
                <a:gd name="T32" fmla="*/ 446 w 457"/>
                <a:gd name="T33" fmla="*/ 466 h 466"/>
                <a:gd name="T34" fmla="*/ 451 w 457"/>
                <a:gd name="T35" fmla="*/ 464 h 466"/>
                <a:gd name="T36" fmla="*/ 455 w 457"/>
                <a:gd name="T37" fmla="*/ 459 h 466"/>
                <a:gd name="T38" fmla="*/ 457 w 457"/>
                <a:gd name="T39" fmla="*/ 454 h 466"/>
                <a:gd name="T40" fmla="*/ 457 w 457"/>
                <a:gd name="T41" fmla="*/ 449 h 466"/>
                <a:gd name="T42" fmla="*/ 455 w 457"/>
                <a:gd name="T43" fmla="*/ 443 h 466"/>
                <a:gd name="T44" fmla="*/ 451 w 457"/>
                <a:gd name="T45" fmla="*/ 439 h 466"/>
                <a:gd name="T46" fmla="*/ 446 w 457"/>
                <a:gd name="T47" fmla="*/ 436 h 466"/>
                <a:gd name="T48" fmla="*/ 30 w 457"/>
                <a:gd name="T49" fmla="*/ 436 h 466"/>
                <a:gd name="T50" fmla="*/ 179 w 457"/>
                <a:gd name="T51" fmla="*/ 205 h 466"/>
                <a:gd name="T52" fmla="*/ 287 w 457"/>
                <a:gd name="T53" fmla="*/ 275 h 466"/>
                <a:gd name="T54" fmla="*/ 298 w 457"/>
                <a:gd name="T55" fmla="*/ 274 h 466"/>
                <a:gd name="T56" fmla="*/ 447 w 457"/>
                <a:gd name="T57" fmla="*/ 116 h 466"/>
                <a:gd name="T58" fmla="*/ 450 w 457"/>
                <a:gd name="T59" fmla="*/ 111 h 466"/>
                <a:gd name="T60" fmla="*/ 451 w 457"/>
                <a:gd name="T61" fmla="*/ 105 h 466"/>
                <a:gd name="T62" fmla="*/ 450 w 457"/>
                <a:gd name="T63" fmla="*/ 100 h 466"/>
                <a:gd name="T64" fmla="*/ 447 w 457"/>
                <a:gd name="T65" fmla="*/ 95 h 466"/>
                <a:gd name="T66" fmla="*/ 441 w 457"/>
                <a:gd name="T67" fmla="*/ 92 h 466"/>
                <a:gd name="T68" fmla="*/ 436 w 457"/>
                <a:gd name="T69" fmla="*/ 91 h 466"/>
                <a:gd name="T70" fmla="*/ 425 w 457"/>
                <a:gd name="T71" fmla="*/ 96 h 466"/>
                <a:gd name="T72" fmla="*/ 186 w 457"/>
                <a:gd name="T73" fmla="*/ 17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7" h="466">
                  <a:moveTo>
                    <a:pt x="186" y="173"/>
                  </a:moveTo>
                  <a:lnTo>
                    <a:pt x="181" y="170"/>
                  </a:lnTo>
                  <a:lnTo>
                    <a:pt x="177" y="170"/>
                  </a:lnTo>
                  <a:lnTo>
                    <a:pt x="172" y="171"/>
                  </a:lnTo>
                  <a:lnTo>
                    <a:pt x="167" y="175"/>
                  </a:lnTo>
                  <a:lnTo>
                    <a:pt x="30" y="298"/>
                  </a:lnTo>
                  <a:lnTo>
                    <a:pt x="30" y="15"/>
                  </a:lnTo>
                  <a:lnTo>
                    <a:pt x="30" y="12"/>
                  </a:lnTo>
                  <a:lnTo>
                    <a:pt x="29" y="9"/>
                  </a:lnTo>
                  <a:lnTo>
                    <a:pt x="28" y="7"/>
                  </a:lnTo>
                  <a:lnTo>
                    <a:pt x="26" y="4"/>
                  </a:lnTo>
                  <a:lnTo>
                    <a:pt x="24" y="2"/>
                  </a:lnTo>
                  <a:lnTo>
                    <a:pt x="22" y="1"/>
                  </a:lnTo>
                  <a:lnTo>
                    <a:pt x="19" y="0"/>
                  </a:lnTo>
                  <a:lnTo>
                    <a:pt x="15" y="0"/>
                  </a:lnTo>
                  <a:lnTo>
                    <a:pt x="12" y="0"/>
                  </a:lnTo>
                  <a:lnTo>
                    <a:pt x="10" y="1"/>
                  </a:lnTo>
                  <a:lnTo>
                    <a:pt x="7" y="2"/>
                  </a:lnTo>
                  <a:lnTo>
                    <a:pt x="5" y="4"/>
                  </a:lnTo>
                  <a:lnTo>
                    <a:pt x="4" y="7"/>
                  </a:lnTo>
                  <a:lnTo>
                    <a:pt x="1" y="9"/>
                  </a:lnTo>
                  <a:lnTo>
                    <a:pt x="0" y="12"/>
                  </a:lnTo>
                  <a:lnTo>
                    <a:pt x="0" y="15"/>
                  </a:lnTo>
                  <a:lnTo>
                    <a:pt x="0" y="451"/>
                  </a:lnTo>
                  <a:lnTo>
                    <a:pt x="0" y="454"/>
                  </a:lnTo>
                  <a:lnTo>
                    <a:pt x="1" y="457"/>
                  </a:lnTo>
                  <a:lnTo>
                    <a:pt x="4" y="459"/>
                  </a:lnTo>
                  <a:lnTo>
                    <a:pt x="5" y="461"/>
                  </a:lnTo>
                  <a:lnTo>
                    <a:pt x="7" y="464"/>
                  </a:lnTo>
                  <a:lnTo>
                    <a:pt x="10" y="465"/>
                  </a:lnTo>
                  <a:lnTo>
                    <a:pt x="12" y="466"/>
                  </a:lnTo>
                  <a:lnTo>
                    <a:pt x="15" y="466"/>
                  </a:lnTo>
                  <a:lnTo>
                    <a:pt x="442" y="466"/>
                  </a:lnTo>
                  <a:lnTo>
                    <a:pt x="446" y="466"/>
                  </a:lnTo>
                  <a:lnTo>
                    <a:pt x="449" y="465"/>
                  </a:lnTo>
                  <a:lnTo>
                    <a:pt x="451" y="464"/>
                  </a:lnTo>
                  <a:lnTo>
                    <a:pt x="453" y="461"/>
                  </a:lnTo>
                  <a:lnTo>
                    <a:pt x="455" y="459"/>
                  </a:lnTo>
                  <a:lnTo>
                    <a:pt x="456" y="457"/>
                  </a:lnTo>
                  <a:lnTo>
                    <a:pt x="457" y="454"/>
                  </a:lnTo>
                  <a:lnTo>
                    <a:pt x="457" y="451"/>
                  </a:lnTo>
                  <a:lnTo>
                    <a:pt x="457" y="449"/>
                  </a:lnTo>
                  <a:lnTo>
                    <a:pt x="456" y="445"/>
                  </a:lnTo>
                  <a:lnTo>
                    <a:pt x="455" y="443"/>
                  </a:lnTo>
                  <a:lnTo>
                    <a:pt x="453" y="441"/>
                  </a:lnTo>
                  <a:lnTo>
                    <a:pt x="451" y="439"/>
                  </a:lnTo>
                  <a:lnTo>
                    <a:pt x="449" y="437"/>
                  </a:lnTo>
                  <a:lnTo>
                    <a:pt x="446" y="436"/>
                  </a:lnTo>
                  <a:lnTo>
                    <a:pt x="442" y="436"/>
                  </a:lnTo>
                  <a:lnTo>
                    <a:pt x="30" y="436"/>
                  </a:lnTo>
                  <a:lnTo>
                    <a:pt x="30" y="338"/>
                  </a:lnTo>
                  <a:lnTo>
                    <a:pt x="179" y="205"/>
                  </a:lnTo>
                  <a:lnTo>
                    <a:pt x="283" y="274"/>
                  </a:lnTo>
                  <a:lnTo>
                    <a:pt x="287" y="275"/>
                  </a:lnTo>
                  <a:lnTo>
                    <a:pt x="293" y="275"/>
                  </a:lnTo>
                  <a:lnTo>
                    <a:pt x="298" y="274"/>
                  </a:lnTo>
                  <a:lnTo>
                    <a:pt x="302" y="271"/>
                  </a:lnTo>
                  <a:lnTo>
                    <a:pt x="447" y="116"/>
                  </a:lnTo>
                  <a:lnTo>
                    <a:pt x="449" y="114"/>
                  </a:lnTo>
                  <a:lnTo>
                    <a:pt x="450" y="111"/>
                  </a:lnTo>
                  <a:lnTo>
                    <a:pt x="451" y="108"/>
                  </a:lnTo>
                  <a:lnTo>
                    <a:pt x="451" y="105"/>
                  </a:lnTo>
                  <a:lnTo>
                    <a:pt x="451" y="103"/>
                  </a:lnTo>
                  <a:lnTo>
                    <a:pt x="450" y="100"/>
                  </a:lnTo>
                  <a:lnTo>
                    <a:pt x="449" y="98"/>
                  </a:lnTo>
                  <a:lnTo>
                    <a:pt x="447" y="95"/>
                  </a:lnTo>
                  <a:lnTo>
                    <a:pt x="444" y="93"/>
                  </a:lnTo>
                  <a:lnTo>
                    <a:pt x="441" y="92"/>
                  </a:lnTo>
                  <a:lnTo>
                    <a:pt x="438" y="91"/>
                  </a:lnTo>
                  <a:lnTo>
                    <a:pt x="436" y="91"/>
                  </a:lnTo>
                  <a:lnTo>
                    <a:pt x="429" y="93"/>
                  </a:lnTo>
                  <a:lnTo>
                    <a:pt x="425" y="96"/>
                  </a:lnTo>
                  <a:lnTo>
                    <a:pt x="289" y="241"/>
                  </a:lnTo>
                  <a:lnTo>
                    <a:pt x="186"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370" name="Group 16">
            <a:extLst>
              <a:ext uri="{FF2B5EF4-FFF2-40B4-BE49-F238E27FC236}">
                <a16:creationId xmlns:a16="http://schemas.microsoft.com/office/drawing/2014/main" id="{76045C2D-D6CA-4273-8781-2E3E317C955C}"/>
              </a:ext>
            </a:extLst>
          </p:cNvPr>
          <p:cNvGrpSpPr>
            <a:grpSpLocks noChangeAspect="1"/>
          </p:cNvGrpSpPr>
          <p:nvPr/>
        </p:nvGrpSpPr>
        <p:grpSpPr>
          <a:xfrm>
            <a:off x="2738745" y="4345739"/>
            <a:ext cx="280646" cy="306484"/>
            <a:chOff x="4502150" y="1790701"/>
            <a:chExt cx="620713" cy="677863"/>
          </a:xfrm>
          <a:solidFill>
            <a:schemeClr val="bg1"/>
          </a:solidFill>
          <a:effectLst/>
        </p:grpSpPr>
        <p:sp>
          <p:nvSpPr>
            <p:cNvPr id="371" name="Freeform 92">
              <a:extLst>
                <a:ext uri="{FF2B5EF4-FFF2-40B4-BE49-F238E27FC236}">
                  <a16:creationId xmlns:a16="http://schemas.microsoft.com/office/drawing/2014/main" id="{93956E60-7647-498B-A304-01AEA33F2816}"/>
                </a:ext>
              </a:extLst>
            </p:cNvPr>
            <p:cNvSpPr>
              <a:spLocks/>
            </p:cNvSpPr>
            <p:nvPr/>
          </p:nvSpPr>
          <p:spPr bwMode="auto">
            <a:xfrm>
              <a:off x="4532313" y="1790701"/>
              <a:ext cx="471488" cy="677863"/>
            </a:xfrm>
            <a:custGeom>
              <a:avLst/>
              <a:gdLst>
                <a:gd name="T0" fmla="*/ 26 w 892"/>
                <a:gd name="T1" fmla="*/ 1281 h 1281"/>
                <a:gd name="T2" fmla="*/ 16 w 892"/>
                <a:gd name="T3" fmla="*/ 1278 h 1281"/>
                <a:gd name="T4" fmla="*/ 7 w 892"/>
                <a:gd name="T5" fmla="*/ 1273 h 1281"/>
                <a:gd name="T6" fmla="*/ 1 w 892"/>
                <a:gd name="T7" fmla="*/ 1264 h 1281"/>
                <a:gd name="T8" fmla="*/ 0 w 892"/>
                <a:gd name="T9" fmla="*/ 1254 h 1281"/>
                <a:gd name="T10" fmla="*/ 0 w 892"/>
                <a:gd name="T11" fmla="*/ 21 h 1281"/>
                <a:gd name="T12" fmla="*/ 4 w 892"/>
                <a:gd name="T13" fmla="*/ 11 h 1281"/>
                <a:gd name="T14" fmla="*/ 11 w 892"/>
                <a:gd name="T15" fmla="*/ 4 h 1281"/>
                <a:gd name="T16" fmla="*/ 20 w 892"/>
                <a:gd name="T17" fmla="*/ 0 h 1281"/>
                <a:gd name="T18" fmla="*/ 867 w 892"/>
                <a:gd name="T19" fmla="*/ 0 h 1281"/>
                <a:gd name="T20" fmla="*/ 877 w 892"/>
                <a:gd name="T21" fmla="*/ 1 h 1281"/>
                <a:gd name="T22" fmla="*/ 885 w 892"/>
                <a:gd name="T23" fmla="*/ 7 h 1281"/>
                <a:gd name="T24" fmla="*/ 891 w 892"/>
                <a:gd name="T25" fmla="*/ 15 h 1281"/>
                <a:gd name="T26" fmla="*/ 892 w 892"/>
                <a:gd name="T27" fmla="*/ 26 h 1281"/>
                <a:gd name="T28" fmla="*/ 892 w 892"/>
                <a:gd name="T29" fmla="*/ 737 h 1281"/>
                <a:gd name="T30" fmla="*/ 888 w 892"/>
                <a:gd name="T31" fmla="*/ 747 h 1281"/>
                <a:gd name="T32" fmla="*/ 881 w 892"/>
                <a:gd name="T33" fmla="*/ 754 h 1281"/>
                <a:gd name="T34" fmla="*/ 872 w 892"/>
                <a:gd name="T35" fmla="*/ 757 h 1281"/>
                <a:gd name="T36" fmla="*/ 861 w 892"/>
                <a:gd name="T37" fmla="*/ 757 h 1281"/>
                <a:gd name="T38" fmla="*/ 852 w 892"/>
                <a:gd name="T39" fmla="*/ 754 h 1281"/>
                <a:gd name="T40" fmla="*/ 845 w 892"/>
                <a:gd name="T41" fmla="*/ 747 h 1281"/>
                <a:gd name="T42" fmla="*/ 841 w 892"/>
                <a:gd name="T43" fmla="*/ 737 h 1281"/>
                <a:gd name="T44" fmla="*/ 841 w 892"/>
                <a:gd name="T45" fmla="*/ 51 h 1281"/>
                <a:gd name="T46" fmla="*/ 52 w 892"/>
                <a:gd name="T47" fmla="*/ 1228 h 1281"/>
                <a:gd name="T48" fmla="*/ 841 w 892"/>
                <a:gd name="T49" fmla="*/ 996 h 1281"/>
                <a:gd name="T50" fmla="*/ 842 w 892"/>
                <a:gd name="T51" fmla="*/ 986 h 1281"/>
                <a:gd name="T52" fmla="*/ 848 w 892"/>
                <a:gd name="T53" fmla="*/ 977 h 1281"/>
                <a:gd name="T54" fmla="*/ 856 w 892"/>
                <a:gd name="T55" fmla="*/ 972 h 1281"/>
                <a:gd name="T56" fmla="*/ 867 w 892"/>
                <a:gd name="T57" fmla="*/ 970 h 1281"/>
                <a:gd name="T58" fmla="*/ 877 w 892"/>
                <a:gd name="T59" fmla="*/ 972 h 1281"/>
                <a:gd name="T60" fmla="*/ 885 w 892"/>
                <a:gd name="T61" fmla="*/ 977 h 1281"/>
                <a:gd name="T62" fmla="*/ 891 w 892"/>
                <a:gd name="T63" fmla="*/ 986 h 1281"/>
                <a:gd name="T64" fmla="*/ 892 w 892"/>
                <a:gd name="T65" fmla="*/ 996 h 1281"/>
                <a:gd name="T66" fmla="*/ 892 w 892"/>
                <a:gd name="T67" fmla="*/ 1260 h 1281"/>
                <a:gd name="T68" fmla="*/ 888 w 892"/>
                <a:gd name="T69" fmla="*/ 1270 h 1281"/>
                <a:gd name="T70" fmla="*/ 881 w 892"/>
                <a:gd name="T71" fmla="*/ 1275 h 1281"/>
                <a:gd name="T72" fmla="*/ 872 w 892"/>
                <a:gd name="T73" fmla="*/ 128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2" h="1281">
                  <a:moveTo>
                    <a:pt x="867" y="1281"/>
                  </a:moveTo>
                  <a:lnTo>
                    <a:pt x="26" y="1281"/>
                  </a:lnTo>
                  <a:lnTo>
                    <a:pt x="20" y="1280"/>
                  </a:lnTo>
                  <a:lnTo>
                    <a:pt x="16" y="1278"/>
                  </a:lnTo>
                  <a:lnTo>
                    <a:pt x="11" y="1275"/>
                  </a:lnTo>
                  <a:lnTo>
                    <a:pt x="7" y="1273"/>
                  </a:lnTo>
                  <a:lnTo>
                    <a:pt x="4" y="1270"/>
                  </a:lnTo>
                  <a:lnTo>
                    <a:pt x="1" y="1264"/>
                  </a:lnTo>
                  <a:lnTo>
                    <a:pt x="0" y="1260"/>
                  </a:lnTo>
                  <a:lnTo>
                    <a:pt x="0" y="1254"/>
                  </a:lnTo>
                  <a:lnTo>
                    <a:pt x="0" y="26"/>
                  </a:lnTo>
                  <a:lnTo>
                    <a:pt x="0" y="21"/>
                  </a:lnTo>
                  <a:lnTo>
                    <a:pt x="1" y="15"/>
                  </a:lnTo>
                  <a:lnTo>
                    <a:pt x="4" y="11"/>
                  </a:lnTo>
                  <a:lnTo>
                    <a:pt x="7" y="7"/>
                  </a:lnTo>
                  <a:lnTo>
                    <a:pt x="11" y="4"/>
                  </a:lnTo>
                  <a:lnTo>
                    <a:pt x="16" y="1"/>
                  </a:lnTo>
                  <a:lnTo>
                    <a:pt x="20" y="0"/>
                  </a:lnTo>
                  <a:lnTo>
                    <a:pt x="26" y="0"/>
                  </a:lnTo>
                  <a:lnTo>
                    <a:pt x="867" y="0"/>
                  </a:lnTo>
                  <a:lnTo>
                    <a:pt x="872" y="0"/>
                  </a:lnTo>
                  <a:lnTo>
                    <a:pt x="877" y="1"/>
                  </a:lnTo>
                  <a:lnTo>
                    <a:pt x="881" y="4"/>
                  </a:lnTo>
                  <a:lnTo>
                    <a:pt x="885" y="7"/>
                  </a:lnTo>
                  <a:lnTo>
                    <a:pt x="888" y="11"/>
                  </a:lnTo>
                  <a:lnTo>
                    <a:pt x="891" y="15"/>
                  </a:lnTo>
                  <a:lnTo>
                    <a:pt x="892" y="21"/>
                  </a:lnTo>
                  <a:lnTo>
                    <a:pt x="892" y="26"/>
                  </a:lnTo>
                  <a:lnTo>
                    <a:pt x="892" y="733"/>
                  </a:lnTo>
                  <a:lnTo>
                    <a:pt x="892" y="737"/>
                  </a:lnTo>
                  <a:lnTo>
                    <a:pt x="891" y="743"/>
                  </a:lnTo>
                  <a:lnTo>
                    <a:pt x="888" y="747"/>
                  </a:lnTo>
                  <a:lnTo>
                    <a:pt x="885" y="750"/>
                  </a:lnTo>
                  <a:lnTo>
                    <a:pt x="881" y="754"/>
                  </a:lnTo>
                  <a:lnTo>
                    <a:pt x="877" y="756"/>
                  </a:lnTo>
                  <a:lnTo>
                    <a:pt x="872" y="757"/>
                  </a:lnTo>
                  <a:lnTo>
                    <a:pt x="867" y="758"/>
                  </a:lnTo>
                  <a:lnTo>
                    <a:pt x="861" y="757"/>
                  </a:lnTo>
                  <a:lnTo>
                    <a:pt x="856" y="756"/>
                  </a:lnTo>
                  <a:lnTo>
                    <a:pt x="852" y="754"/>
                  </a:lnTo>
                  <a:lnTo>
                    <a:pt x="848" y="750"/>
                  </a:lnTo>
                  <a:lnTo>
                    <a:pt x="845" y="747"/>
                  </a:lnTo>
                  <a:lnTo>
                    <a:pt x="842" y="743"/>
                  </a:lnTo>
                  <a:lnTo>
                    <a:pt x="841" y="737"/>
                  </a:lnTo>
                  <a:lnTo>
                    <a:pt x="841" y="733"/>
                  </a:lnTo>
                  <a:lnTo>
                    <a:pt x="841" y="51"/>
                  </a:lnTo>
                  <a:lnTo>
                    <a:pt x="52" y="51"/>
                  </a:lnTo>
                  <a:lnTo>
                    <a:pt x="52" y="1228"/>
                  </a:lnTo>
                  <a:lnTo>
                    <a:pt x="841" y="1228"/>
                  </a:lnTo>
                  <a:lnTo>
                    <a:pt x="841" y="996"/>
                  </a:lnTo>
                  <a:lnTo>
                    <a:pt x="841" y="990"/>
                  </a:lnTo>
                  <a:lnTo>
                    <a:pt x="842" y="986"/>
                  </a:lnTo>
                  <a:lnTo>
                    <a:pt x="845" y="982"/>
                  </a:lnTo>
                  <a:lnTo>
                    <a:pt x="848" y="977"/>
                  </a:lnTo>
                  <a:lnTo>
                    <a:pt x="852" y="974"/>
                  </a:lnTo>
                  <a:lnTo>
                    <a:pt x="856" y="972"/>
                  </a:lnTo>
                  <a:lnTo>
                    <a:pt x="861" y="970"/>
                  </a:lnTo>
                  <a:lnTo>
                    <a:pt x="867" y="970"/>
                  </a:lnTo>
                  <a:lnTo>
                    <a:pt x="872" y="970"/>
                  </a:lnTo>
                  <a:lnTo>
                    <a:pt x="877" y="972"/>
                  </a:lnTo>
                  <a:lnTo>
                    <a:pt x="881" y="974"/>
                  </a:lnTo>
                  <a:lnTo>
                    <a:pt x="885" y="977"/>
                  </a:lnTo>
                  <a:lnTo>
                    <a:pt x="888" y="982"/>
                  </a:lnTo>
                  <a:lnTo>
                    <a:pt x="891" y="986"/>
                  </a:lnTo>
                  <a:lnTo>
                    <a:pt x="892" y="990"/>
                  </a:lnTo>
                  <a:lnTo>
                    <a:pt x="892" y="996"/>
                  </a:lnTo>
                  <a:lnTo>
                    <a:pt x="892" y="1254"/>
                  </a:lnTo>
                  <a:lnTo>
                    <a:pt x="892" y="1260"/>
                  </a:lnTo>
                  <a:lnTo>
                    <a:pt x="891" y="1264"/>
                  </a:lnTo>
                  <a:lnTo>
                    <a:pt x="888" y="1270"/>
                  </a:lnTo>
                  <a:lnTo>
                    <a:pt x="885" y="1273"/>
                  </a:lnTo>
                  <a:lnTo>
                    <a:pt x="881" y="1275"/>
                  </a:lnTo>
                  <a:lnTo>
                    <a:pt x="877" y="1278"/>
                  </a:lnTo>
                  <a:lnTo>
                    <a:pt x="872" y="1280"/>
                  </a:lnTo>
                  <a:lnTo>
                    <a:pt x="867" y="1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93">
              <a:extLst>
                <a:ext uri="{FF2B5EF4-FFF2-40B4-BE49-F238E27FC236}">
                  <a16:creationId xmlns:a16="http://schemas.microsoft.com/office/drawing/2014/main" id="{ECF4CF12-3EF7-4D4C-88E7-262671D1503C}"/>
                </a:ext>
              </a:extLst>
            </p:cNvPr>
            <p:cNvSpPr>
              <a:spLocks/>
            </p:cNvSpPr>
            <p:nvPr/>
          </p:nvSpPr>
          <p:spPr bwMode="auto">
            <a:xfrm>
              <a:off x="4502150" y="1878013"/>
              <a:ext cx="87313" cy="28575"/>
            </a:xfrm>
            <a:custGeom>
              <a:avLst/>
              <a:gdLst>
                <a:gd name="T0" fmla="*/ 138 w 164"/>
                <a:gd name="T1" fmla="*/ 53 h 53"/>
                <a:gd name="T2" fmla="*/ 25 w 164"/>
                <a:gd name="T3" fmla="*/ 53 h 53"/>
                <a:gd name="T4" fmla="*/ 20 w 164"/>
                <a:gd name="T5" fmla="*/ 52 h 53"/>
                <a:gd name="T6" fmla="*/ 15 w 164"/>
                <a:gd name="T7" fmla="*/ 50 h 53"/>
                <a:gd name="T8" fmla="*/ 11 w 164"/>
                <a:gd name="T9" fmla="*/ 49 h 53"/>
                <a:gd name="T10" fmla="*/ 7 w 164"/>
                <a:gd name="T11" fmla="*/ 44 h 53"/>
                <a:gd name="T12" fmla="*/ 4 w 164"/>
                <a:gd name="T13" fmla="*/ 41 h 53"/>
                <a:gd name="T14" fmla="*/ 1 w 164"/>
                <a:gd name="T15" fmla="*/ 37 h 53"/>
                <a:gd name="T16" fmla="*/ 0 w 164"/>
                <a:gd name="T17" fmla="*/ 31 h 53"/>
                <a:gd name="T18" fmla="*/ 0 w 164"/>
                <a:gd name="T19" fmla="*/ 27 h 53"/>
                <a:gd name="T20" fmla="*/ 0 w 164"/>
                <a:gd name="T21" fmla="*/ 21 h 53"/>
                <a:gd name="T22" fmla="*/ 1 w 164"/>
                <a:gd name="T23" fmla="*/ 16 h 53"/>
                <a:gd name="T24" fmla="*/ 4 w 164"/>
                <a:gd name="T25" fmla="*/ 11 h 53"/>
                <a:gd name="T26" fmla="*/ 7 w 164"/>
                <a:gd name="T27" fmla="*/ 8 h 53"/>
                <a:gd name="T28" fmla="*/ 11 w 164"/>
                <a:gd name="T29" fmla="*/ 4 h 53"/>
                <a:gd name="T30" fmla="*/ 15 w 164"/>
                <a:gd name="T31" fmla="*/ 3 h 53"/>
                <a:gd name="T32" fmla="*/ 20 w 164"/>
                <a:gd name="T33" fmla="*/ 1 h 53"/>
                <a:gd name="T34" fmla="*/ 25 w 164"/>
                <a:gd name="T35" fmla="*/ 0 h 53"/>
                <a:gd name="T36" fmla="*/ 138 w 164"/>
                <a:gd name="T37" fmla="*/ 0 h 53"/>
                <a:gd name="T38" fmla="*/ 142 w 164"/>
                <a:gd name="T39" fmla="*/ 1 h 53"/>
                <a:gd name="T40" fmla="*/ 148 w 164"/>
                <a:gd name="T41" fmla="*/ 3 h 53"/>
                <a:gd name="T42" fmla="*/ 152 w 164"/>
                <a:gd name="T43" fmla="*/ 4 h 53"/>
                <a:gd name="T44" fmla="*/ 156 w 164"/>
                <a:gd name="T45" fmla="*/ 8 h 53"/>
                <a:gd name="T46" fmla="*/ 159 w 164"/>
                <a:gd name="T47" fmla="*/ 11 h 53"/>
                <a:gd name="T48" fmla="*/ 161 w 164"/>
                <a:gd name="T49" fmla="*/ 16 h 53"/>
                <a:gd name="T50" fmla="*/ 162 w 164"/>
                <a:gd name="T51" fmla="*/ 21 h 53"/>
                <a:gd name="T52" fmla="*/ 164 w 164"/>
                <a:gd name="T53" fmla="*/ 27 h 53"/>
                <a:gd name="T54" fmla="*/ 162 w 164"/>
                <a:gd name="T55" fmla="*/ 31 h 53"/>
                <a:gd name="T56" fmla="*/ 161 w 164"/>
                <a:gd name="T57" fmla="*/ 37 h 53"/>
                <a:gd name="T58" fmla="*/ 159 w 164"/>
                <a:gd name="T59" fmla="*/ 41 h 53"/>
                <a:gd name="T60" fmla="*/ 156 w 164"/>
                <a:gd name="T61" fmla="*/ 44 h 53"/>
                <a:gd name="T62" fmla="*/ 152 w 164"/>
                <a:gd name="T63" fmla="*/ 49 h 53"/>
                <a:gd name="T64" fmla="*/ 148 w 164"/>
                <a:gd name="T65" fmla="*/ 50 h 53"/>
                <a:gd name="T66" fmla="*/ 142 w 164"/>
                <a:gd name="T67" fmla="*/ 52 h 53"/>
                <a:gd name="T68" fmla="*/ 138 w 164"/>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3">
                  <a:moveTo>
                    <a:pt x="138" y="53"/>
                  </a:moveTo>
                  <a:lnTo>
                    <a:pt x="25" y="53"/>
                  </a:lnTo>
                  <a:lnTo>
                    <a:pt x="20" y="52"/>
                  </a:lnTo>
                  <a:lnTo>
                    <a:pt x="15" y="50"/>
                  </a:lnTo>
                  <a:lnTo>
                    <a:pt x="11" y="49"/>
                  </a:lnTo>
                  <a:lnTo>
                    <a:pt x="7" y="44"/>
                  </a:lnTo>
                  <a:lnTo>
                    <a:pt x="4" y="41"/>
                  </a:lnTo>
                  <a:lnTo>
                    <a:pt x="1" y="37"/>
                  </a:lnTo>
                  <a:lnTo>
                    <a:pt x="0" y="31"/>
                  </a:lnTo>
                  <a:lnTo>
                    <a:pt x="0" y="27"/>
                  </a:lnTo>
                  <a:lnTo>
                    <a:pt x="0" y="21"/>
                  </a:lnTo>
                  <a:lnTo>
                    <a:pt x="1" y="16"/>
                  </a:lnTo>
                  <a:lnTo>
                    <a:pt x="4" y="11"/>
                  </a:lnTo>
                  <a:lnTo>
                    <a:pt x="7" y="8"/>
                  </a:lnTo>
                  <a:lnTo>
                    <a:pt x="11" y="4"/>
                  </a:lnTo>
                  <a:lnTo>
                    <a:pt x="15" y="3"/>
                  </a:lnTo>
                  <a:lnTo>
                    <a:pt x="20" y="1"/>
                  </a:lnTo>
                  <a:lnTo>
                    <a:pt x="25" y="0"/>
                  </a:lnTo>
                  <a:lnTo>
                    <a:pt x="138" y="0"/>
                  </a:lnTo>
                  <a:lnTo>
                    <a:pt x="142" y="1"/>
                  </a:lnTo>
                  <a:lnTo>
                    <a:pt x="148" y="3"/>
                  </a:lnTo>
                  <a:lnTo>
                    <a:pt x="152" y="4"/>
                  </a:lnTo>
                  <a:lnTo>
                    <a:pt x="156" y="8"/>
                  </a:lnTo>
                  <a:lnTo>
                    <a:pt x="159" y="11"/>
                  </a:lnTo>
                  <a:lnTo>
                    <a:pt x="161" y="16"/>
                  </a:lnTo>
                  <a:lnTo>
                    <a:pt x="162" y="21"/>
                  </a:lnTo>
                  <a:lnTo>
                    <a:pt x="164" y="27"/>
                  </a:lnTo>
                  <a:lnTo>
                    <a:pt x="162" y="31"/>
                  </a:lnTo>
                  <a:lnTo>
                    <a:pt x="161" y="37"/>
                  </a:lnTo>
                  <a:lnTo>
                    <a:pt x="159" y="41"/>
                  </a:lnTo>
                  <a:lnTo>
                    <a:pt x="156" y="44"/>
                  </a:lnTo>
                  <a:lnTo>
                    <a:pt x="152" y="49"/>
                  </a:lnTo>
                  <a:lnTo>
                    <a:pt x="148" y="50"/>
                  </a:lnTo>
                  <a:lnTo>
                    <a:pt x="142" y="52"/>
                  </a:lnTo>
                  <a:lnTo>
                    <a:pt x="138"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94">
              <a:extLst>
                <a:ext uri="{FF2B5EF4-FFF2-40B4-BE49-F238E27FC236}">
                  <a16:creationId xmlns:a16="http://schemas.microsoft.com/office/drawing/2014/main" id="{A3C2282E-AD74-423B-B3F5-774B4E22E639}"/>
                </a:ext>
              </a:extLst>
            </p:cNvPr>
            <p:cNvSpPr>
              <a:spLocks/>
            </p:cNvSpPr>
            <p:nvPr/>
          </p:nvSpPr>
          <p:spPr bwMode="auto">
            <a:xfrm>
              <a:off x="4502150" y="1997076"/>
              <a:ext cx="87313" cy="26988"/>
            </a:xfrm>
            <a:custGeom>
              <a:avLst/>
              <a:gdLst>
                <a:gd name="T0" fmla="*/ 138 w 164"/>
                <a:gd name="T1" fmla="*/ 52 h 52"/>
                <a:gd name="T2" fmla="*/ 25 w 164"/>
                <a:gd name="T3" fmla="*/ 52 h 52"/>
                <a:gd name="T4" fmla="*/ 20 w 164"/>
                <a:gd name="T5" fmla="*/ 51 h 52"/>
                <a:gd name="T6" fmla="*/ 15 w 164"/>
                <a:gd name="T7" fmla="*/ 49 h 52"/>
                <a:gd name="T8" fmla="*/ 11 w 164"/>
                <a:gd name="T9" fmla="*/ 48 h 52"/>
                <a:gd name="T10" fmla="*/ 7 w 164"/>
                <a:gd name="T11" fmla="*/ 44 h 52"/>
                <a:gd name="T12" fmla="*/ 4 w 164"/>
                <a:gd name="T13" fmla="*/ 41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2 h 52"/>
                <a:gd name="T26" fmla="*/ 7 w 164"/>
                <a:gd name="T27" fmla="*/ 8 h 52"/>
                <a:gd name="T28" fmla="*/ 11 w 164"/>
                <a:gd name="T29" fmla="*/ 5 h 52"/>
                <a:gd name="T30" fmla="*/ 15 w 164"/>
                <a:gd name="T31" fmla="*/ 2 h 52"/>
                <a:gd name="T32" fmla="*/ 20 w 164"/>
                <a:gd name="T33" fmla="*/ 0 h 52"/>
                <a:gd name="T34" fmla="*/ 25 w 164"/>
                <a:gd name="T35" fmla="*/ 0 h 52"/>
                <a:gd name="T36" fmla="*/ 138 w 164"/>
                <a:gd name="T37" fmla="*/ 0 h 52"/>
                <a:gd name="T38" fmla="*/ 142 w 164"/>
                <a:gd name="T39" fmla="*/ 0 h 52"/>
                <a:gd name="T40" fmla="*/ 148 w 164"/>
                <a:gd name="T41" fmla="*/ 2 h 52"/>
                <a:gd name="T42" fmla="*/ 152 w 164"/>
                <a:gd name="T43" fmla="*/ 5 h 52"/>
                <a:gd name="T44" fmla="*/ 156 w 164"/>
                <a:gd name="T45" fmla="*/ 8 h 52"/>
                <a:gd name="T46" fmla="*/ 159 w 164"/>
                <a:gd name="T47" fmla="*/ 12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1 h 52"/>
                <a:gd name="T60" fmla="*/ 156 w 164"/>
                <a:gd name="T61" fmla="*/ 44 h 52"/>
                <a:gd name="T62" fmla="*/ 152 w 164"/>
                <a:gd name="T63" fmla="*/ 48 h 52"/>
                <a:gd name="T64" fmla="*/ 148 w 164"/>
                <a:gd name="T65" fmla="*/ 49 h 52"/>
                <a:gd name="T66" fmla="*/ 142 w 164"/>
                <a:gd name="T67" fmla="*/ 51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1"/>
                  </a:lnTo>
                  <a:lnTo>
                    <a:pt x="15" y="49"/>
                  </a:lnTo>
                  <a:lnTo>
                    <a:pt x="11" y="48"/>
                  </a:lnTo>
                  <a:lnTo>
                    <a:pt x="7" y="44"/>
                  </a:lnTo>
                  <a:lnTo>
                    <a:pt x="4" y="41"/>
                  </a:lnTo>
                  <a:lnTo>
                    <a:pt x="1" y="36"/>
                  </a:lnTo>
                  <a:lnTo>
                    <a:pt x="0" y="31"/>
                  </a:lnTo>
                  <a:lnTo>
                    <a:pt x="0" y="26"/>
                  </a:lnTo>
                  <a:lnTo>
                    <a:pt x="0" y="20"/>
                  </a:lnTo>
                  <a:lnTo>
                    <a:pt x="1" y="16"/>
                  </a:lnTo>
                  <a:lnTo>
                    <a:pt x="4" y="12"/>
                  </a:lnTo>
                  <a:lnTo>
                    <a:pt x="7" y="8"/>
                  </a:lnTo>
                  <a:lnTo>
                    <a:pt x="11" y="5"/>
                  </a:lnTo>
                  <a:lnTo>
                    <a:pt x="15" y="2"/>
                  </a:lnTo>
                  <a:lnTo>
                    <a:pt x="20" y="0"/>
                  </a:lnTo>
                  <a:lnTo>
                    <a:pt x="25" y="0"/>
                  </a:lnTo>
                  <a:lnTo>
                    <a:pt x="138" y="0"/>
                  </a:lnTo>
                  <a:lnTo>
                    <a:pt x="142" y="0"/>
                  </a:lnTo>
                  <a:lnTo>
                    <a:pt x="148" y="2"/>
                  </a:lnTo>
                  <a:lnTo>
                    <a:pt x="152" y="5"/>
                  </a:lnTo>
                  <a:lnTo>
                    <a:pt x="156" y="8"/>
                  </a:lnTo>
                  <a:lnTo>
                    <a:pt x="159" y="12"/>
                  </a:lnTo>
                  <a:lnTo>
                    <a:pt x="161" y="16"/>
                  </a:lnTo>
                  <a:lnTo>
                    <a:pt x="162" y="20"/>
                  </a:lnTo>
                  <a:lnTo>
                    <a:pt x="164" y="26"/>
                  </a:lnTo>
                  <a:lnTo>
                    <a:pt x="162" y="31"/>
                  </a:lnTo>
                  <a:lnTo>
                    <a:pt x="161" y="36"/>
                  </a:lnTo>
                  <a:lnTo>
                    <a:pt x="159" y="41"/>
                  </a:lnTo>
                  <a:lnTo>
                    <a:pt x="156" y="44"/>
                  </a:lnTo>
                  <a:lnTo>
                    <a:pt x="152" y="48"/>
                  </a:lnTo>
                  <a:lnTo>
                    <a:pt x="148" y="49"/>
                  </a:lnTo>
                  <a:lnTo>
                    <a:pt x="142" y="51"/>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95">
              <a:extLst>
                <a:ext uri="{FF2B5EF4-FFF2-40B4-BE49-F238E27FC236}">
                  <a16:creationId xmlns:a16="http://schemas.microsoft.com/office/drawing/2014/main" id="{DD275079-22D0-4CC4-8537-DB14CD8B4FF4}"/>
                </a:ext>
              </a:extLst>
            </p:cNvPr>
            <p:cNvSpPr>
              <a:spLocks/>
            </p:cNvSpPr>
            <p:nvPr/>
          </p:nvSpPr>
          <p:spPr bwMode="auto">
            <a:xfrm>
              <a:off x="4502150" y="2116138"/>
              <a:ext cx="87313" cy="26988"/>
            </a:xfrm>
            <a:custGeom>
              <a:avLst/>
              <a:gdLst>
                <a:gd name="T0" fmla="*/ 138 w 164"/>
                <a:gd name="T1" fmla="*/ 51 h 51"/>
                <a:gd name="T2" fmla="*/ 25 w 164"/>
                <a:gd name="T3" fmla="*/ 51 h 51"/>
                <a:gd name="T4" fmla="*/ 20 w 164"/>
                <a:gd name="T5" fmla="*/ 51 h 51"/>
                <a:gd name="T6" fmla="*/ 15 w 164"/>
                <a:gd name="T7" fmla="*/ 50 h 51"/>
                <a:gd name="T8" fmla="*/ 11 w 164"/>
                <a:gd name="T9" fmla="*/ 47 h 51"/>
                <a:gd name="T10" fmla="*/ 7 w 164"/>
                <a:gd name="T11" fmla="*/ 44 h 51"/>
                <a:gd name="T12" fmla="*/ 4 w 164"/>
                <a:gd name="T13" fmla="*/ 40 h 51"/>
                <a:gd name="T14" fmla="*/ 1 w 164"/>
                <a:gd name="T15" fmla="*/ 36 h 51"/>
                <a:gd name="T16" fmla="*/ 0 w 164"/>
                <a:gd name="T17" fmla="*/ 30 h 51"/>
                <a:gd name="T18" fmla="*/ 0 w 164"/>
                <a:gd name="T19" fmla="*/ 25 h 51"/>
                <a:gd name="T20" fmla="*/ 0 w 164"/>
                <a:gd name="T21" fmla="*/ 20 h 51"/>
                <a:gd name="T22" fmla="*/ 1 w 164"/>
                <a:gd name="T23" fmla="*/ 15 h 51"/>
                <a:gd name="T24" fmla="*/ 4 w 164"/>
                <a:gd name="T25" fmla="*/ 11 h 51"/>
                <a:gd name="T26" fmla="*/ 7 w 164"/>
                <a:gd name="T27" fmla="*/ 7 h 51"/>
                <a:gd name="T28" fmla="*/ 11 w 164"/>
                <a:gd name="T29" fmla="*/ 4 h 51"/>
                <a:gd name="T30" fmla="*/ 15 w 164"/>
                <a:gd name="T31" fmla="*/ 1 h 51"/>
                <a:gd name="T32" fmla="*/ 20 w 164"/>
                <a:gd name="T33" fmla="*/ 0 h 51"/>
                <a:gd name="T34" fmla="*/ 25 w 164"/>
                <a:gd name="T35" fmla="*/ 0 h 51"/>
                <a:gd name="T36" fmla="*/ 138 w 164"/>
                <a:gd name="T37" fmla="*/ 0 h 51"/>
                <a:gd name="T38" fmla="*/ 142 w 164"/>
                <a:gd name="T39" fmla="*/ 0 h 51"/>
                <a:gd name="T40" fmla="*/ 148 w 164"/>
                <a:gd name="T41" fmla="*/ 1 h 51"/>
                <a:gd name="T42" fmla="*/ 152 w 164"/>
                <a:gd name="T43" fmla="*/ 4 h 51"/>
                <a:gd name="T44" fmla="*/ 156 w 164"/>
                <a:gd name="T45" fmla="*/ 7 h 51"/>
                <a:gd name="T46" fmla="*/ 159 w 164"/>
                <a:gd name="T47" fmla="*/ 11 h 51"/>
                <a:gd name="T48" fmla="*/ 161 w 164"/>
                <a:gd name="T49" fmla="*/ 15 h 51"/>
                <a:gd name="T50" fmla="*/ 162 w 164"/>
                <a:gd name="T51" fmla="*/ 20 h 51"/>
                <a:gd name="T52" fmla="*/ 164 w 164"/>
                <a:gd name="T53" fmla="*/ 25 h 51"/>
                <a:gd name="T54" fmla="*/ 162 w 164"/>
                <a:gd name="T55" fmla="*/ 30 h 51"/>
                <a:gd name="T56" fmla="*/ 161 w 164"/>
                <a:gd name="T57" fmla="*/ 36 h 51"/>
                <a:gd name="T58" fmla="*/ 159 w 164"/>
                <a:gd name="T59" fmla="*/ 40 h 51"/>
                <a:gd name="T60" fmla="*/ 156 w 164"/>
                <a:gd name="T61" fmla="*/ 44 h 51"/>
                <a:gd name="T62" fmla="*/ 152 w 164"/>
                <a:gd name="T63" fmla="*/ 47 h 51"/>
                <a:gd name="T64" fmla="*/ 148 w 164"/>
                <a:gd name="T65" fmla="*/ 50 h 51"/>
                <a:gd name="T66" fmla="*/ 142 w 164"/>
                <a:gd name="T67" fmla="*/ 51 h 51"/>
                <a:gd name="T68" fmla="*/ 138 w 164"/>
                <a:gd name="T6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1">
                  <a:moveTo>
                    <a:pt x="138" y="51"/>
                  </a:moveTo>
                  <a:lnTo>
                    <a:pt x="25" y="51"/>
                  </a:lnTo>
                  <a:lnTo>
                    <a:pt x="20" y="51"/>
                  </a:lnTo>
                  <a:lnTo>
                    <a:pt x="15" y="50"/>
                  </a:lnTo>
                  <a:lnTo>
                    <a:pt x="11" y="47"/>
                  </a:lnTo>
                  <a:lnTo>
                    <a:pt x="7" y="44"/>
                  </a:lnTo>
                  <a:lnTo>
                    <a:pt x="4" y="40"/>
                  </a:lnTo>
                  <a:lnTo>
                    <a:pt x="1" y="36"/>
                  </a:lnTo>
                  <a:lnTo>
                    <a:pt x="0" y="30"/>
                  </a:lnTo>
                  <a:lnTo>
                    <a:pt x="0" y="25"/>
                  </a:lnTo>
                  <a:lnTo>
                    <a:pt x="0" y="20"/>
                  </a:lnTo>
                  <a:lnTo>
                    <a:pt x="1" y="15"/>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5"/>
                  </a:lnTo>
                  <a:lnTo>
                    <a:pt x="162" y="20"/>
                  </a:lnTo>
                  <a:lnTo>
                    <a:pt x="164" y="25"/>
                  </a:lnTo>
                  <a:lnTo>
                    <a:pt x="162" y="30"/>
                  </a:lnTo>
                  <a:lnTo>
                    <a:pt x="161" y="36"/>
                  </a:lnTo>
                  <a:lnTo>
                    <a:pt x="159" y="40"/>
                  </a:lnTo>
                  <a:lnTo>
                    <a:pt x="156" y="44"/>
                  </a:lnTo>
                  <a:lnTo>
                    <a:pt x="152" y="47"/>
                  </a:lnTo>
                  <a:lnTo>
                    <a:pt x="148" y="50"/>
                  </a:lnTo>
                  <a:lnTo>
                    <a:pt x="142" y="51"/>
                  </a:lnTo>
                  <a:lnTo>
                    <a:pt x="138"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96">
              <a:extLst>
                <a:ext uri="{FF2B5EF4-FFF2-40B4-BE49-F238E27FC236}">
                  <a16:creationId xmlns:a16="http://schemas.microsoft.com/office/drawing/2014/main" id="{D54CBFFF-E495-4104-B258-15F5FD2BF3EC}"/>
                </a:ext>
              </a:extLst>
            </p:cNvPr>
            <p:cNvSpPr>
              <a:spLocks/>
            </p:cNvSpPr>
            <p:nvPr/>
          </p:nvSpPr>
          <p:spPr bwMode="auto">
            <a:xfrm>
              <a:off x="4502150" y="2233613"/>
              <a:ext cx="87313" cy="26988"/>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4 h 52"/>
                <a:gd name="T12" fmla="*/ 4 w 164"/>
                <a:gd name="T13" fmla="*/ 40 h 52"/>
                <a:gd name="T14" fmla="*/ 1 w 164"/>
                <a:gd name="T15" fmla="*/ 36 h 52"/>
                <a:gd name="T16" fmla="*/ 0 w 164"/>
                <a:gd name="T17" fmla="*/ 31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1 h 52"/>
                <a:gd name="T56" fmla="*/ 161 w 164"/>
                <a:gd name="T57" fmla="*/ 36 h 52"/>
                <a:gd name="T58" fmla="*/ 159 w 164"/>
                <a:gd name="T59" fmla="*/ 40 h 52"/>
                <a:gd name="T60" fmla="*/ 156 w 164"/>
                <a:gd name="T61" fmla="*/ 44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4"/>
                  </a:lnTo>
                  <a:lnTo>
                    <a:pt x="4" y="40"/>
                  </a:lnTo>
                  <a:lnTo>
                    <a:pt x="1" y="36"/>
                  </a:lnTo>
                  <a:lnTo>
                    <a:pt x="0" y="31"/>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1"/>
                  </a:lnTo>
                  <a:lnTo>
                    <a:pt x="161" y="36"/>
                  </a:lnTo>
                  <a:lnTo>
                    <a:pt x="159" y="40"/>
                  </a:lnTo>
                  <a:lnTo>
                    <a:pt x="156" y="44"/>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97">
              <a:extLst>
                <a:ext uri="{FF2B5EF4-FFF2-40B4-BE49-F238E27FC236}">
                  <a16:creationId xmlns:a16="http://schemas.microsoft.com/office/drawing/2014/main" id="{1AB1F06E-DC52-4231-924E-B62B8C6827DC}"/>
                </a:ext>
              </a:extLst>
            </p:cNvPr>
            <p:cNvSpPr>
              <a:spLocks/>
            </p:cNvSpPr>
            <p:nvPr/>
          </p:nvSpPr>
          <p:spPr bwMode="auto">
            <a:xfrm>
              <a:off x="4502150" y="2351088"/>
              <a:ext cx="87313" cy="28575"/>
            </a:xfrm>
            <a:custGeom>
              <a:avLst/>
              <a:gdLst>
                <a:gd name="T0" fmla="*/ 138 w 164"/>
                <a:gd name="T1" fmla="*/ 52 h 52"/>
                <a:gd name="T2" fmla="*/ 25 w 164"/>
                <a:gd name="T3" fmla="*/ 52 h 52"/>
                <a:gd name="T4" fmla="*/ 20 w 164"/>
                <a:gd name="T5" fmla="*/ 52 h 52"/>
                <a:gd name="T6" fmla="*/ 15 w 164"/>
                <a:gd name="T7" fmla="*/ 50 h 52"/>
                <a:gd name="T8" fmla="*/ 11 w 164"/>
                <a:gd name="T9" fmla="*/ 47 h 52"/>
                <a:gd name="T10" fmla="*/ 7 w 164"/>
                <a:gd name="T11" fmla="*/ 45 h 52"/>
                <a:gd name="T12" fmla="*/ 4 w 164"/>
                <a:gd name="T13" fmla="*/ 40 h 52"/>
                <a:gd name="T14" fmla="*/ 1 w 164"/>
                <a:gd name="T15" fmla="*/ 36 h 52"/>
                <a:gd name="T16" fmla="*/ 0 w 164"/>
                <a:gd name="T17" fmla="*/ 32 h 52"/>
                <a:gd name="T18" fmla="*/ 0 w 164"/>
                <a:gd name="T19" fmla="*/ 26 h 52"/>
                <a:gd name="T20" fmla="*/ 0 w 164"/>
                <a:gd name="T21" fmla="*/ 20 h 52"/>
                <a:gd name="T22" fmla="*/ 1 w 164"/>
                <a:gd name="T23" fmla="*/ 16 h 52"/>
                <a:gd name="T24" fmla="*/ 4 w 164"/>
                <a:gd name="T25" fmla="*/ 11 h 52"/>
                <a:gd name="T26" fmla="*/ 7 w 164"/>
                <a:gd name="T27" fmla="*/ 7 h 52"/>
                <a:gd name="T28" fmla="*/ 11 w 164"/>
                <a:gd name="T29" fmla="*/ 4 h 52"/>
                <a:gd name="T30" fmla="*/ 15 w 164"/>
                <a:gd name="T31" fmla="*/ 1 h 52"/>
                <a:gd name="T32" fmla="*/ 20 w 164"/>
                <a:gd name="T33" fmla="*/ 0 h 52"/>
                <a:gd name="T34" fmla="*/ 25 w 164"/>
                <a:gd name="T35" fmla="*/ 0 h 52"/>
                <a:gd name="T36" fmla="*/ 138 w 164"/>
                <a:gd name="T37" fmla="*/ 0 h 52"/>
                <a:gd name="T38" fmla="*/ 142 w 164"/>
                <a:gd name="T39" fmla="*/ 0 h 52"/>
                <a:gd name="T40" fmla="*/ 148 w 164"/>
                <a:gd name="T41" fmla="*/ 1 h 52"/>
                <a:gd name="T42" fmla="*/ 152 w 164"/>
                <a:gd name="T43" fmla="*/ 4 h 52"/>
                <a:gd name="T44" fmla="*/ 156 w 164"/>
                <a:gd name="T45" fmla="*/ 7 h 52"/>
                <a:gd name="T46" fmla="*/ 159 w 164"/>
                <a:gd name="T47" fmla="*/ 11 h 52"/>
                <a:gd name="T48" fmla="*/ 161 w 164"/>
                <a:gd name="T49" fmla="*/ 16 h 52"/>
                <a:gd name="T50" fmla="*/ 162 w 164"/>
                <a:gd name="T51" fmla="*/ 20 h 52"/>
                <a:gd name="T52" fmla="*/ 164 w 164"/>
                <a:gd name="T53" fmla="*/ 26 h 52"/>
                <a:gd name="T54" fmla="*/ 162 w 164"/>
                <a:gd name="T55" fmla="*/ 32 h 52"/>
                <a:gd name="T56" fmla="*/ 161 w 164"/>
                <a:gd name="T57" fmla="*/ 36 h 52"/>
                <a:gd name="T58" fmla="*/ 159 w 164"/>
                <a:gd name="T59" fmla="*/ 40 h 52"/>
                <a:gd name="T60" fmla="*/ 156 w 164"/>
                <a:gd name="T61" fmla="*/ 45 h 52"/>
                <a:gd name="T62" fmla="*/ 152 w 164"/>
                <a:gd name="T63" fmla="*/ 47 h 52"/>
                <a:gd name="T64" fmla="*/ 148 w 164"/>
                <a:gd name="T65" fmla="*/ 50 h 52"/>
                <a:gd name="T66" fmla="*/ 142 w 164"/>
                <a:gd name="T67" fmla="*/ 52 h 52"/>
                <a:gd name="T68" fmla="*/ 138 w 164"/>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52">
                  <a:moveTo>
                    <a:pt x="138" y="52"/>
                  </a:moveTo>
                  <a:lnTo>
                    <a:pt x="25" y="52"/>
                  </a:lnTo>
                  <a:lnTo>
                    <a:pt x="20" y="52"/>
                  </a:lnTo>
                  <a:lnTo>
                    <a:pt x="15" y="50"/>
                  </a:lnTo>
                  <a:lnTo>
                    <a:pt x="11" y="47"/>
                  </a:lnTo>
                  <a:lnTo>
                    <a:pt x="7" y="45"/>
                  </a:lnTo>
                  <a:lnTo>
                    <a:pt x="4" y="40"/>
                  </a:lnTo>
                  <a:lnTo>
                    <a:pt x="1" y="36"/>
                  </a:lnTo>
                  <a:lnTo>
                    <a:pt x="0" y="32"/>
                  </a:lnTo>
                  <a:lnTo>
                    <a:pt x="0" y="26"/>
                  </a:lnTo>
                  <a:lnTo>
                    <a:pt x="0" y="20"/>
                  </a:lnTo>
                  <a:lnTo>
                    <a:pt x="1" y="16"/>
                  </a:lnTo>
                  <a:lnTo>
                    <a:pt x="4" y="11"/>
                  </a:lnTo>
                  <a:lnTo>
                    <a:pt x="7" y="7"/>
                  </a:lnTo>
                  <a:lnTo>
                    <a:pt x="11" y="4"/>
                  </a:lnTo>
                  <a:lnTo>
                    <a:pt x="15" y="1"/>
                  </a:lnTo>
                  <a:lnTo>
                    <a:pt x="20" y="0"/>
                  </a:lnTo>
                  <a:lnTo>
                    <a:pt x="25" y="0"/>
                  </a:lnTo>
                  <a:lnTo>
                    <a:pt x="138" y="0"/>
                  </a:lnTo>
                  <a:lnTo>
                    <a:pt x="142" y="0"/>
                  </a:lnTo>
                  <a:lnTo>
                    <a:pt x="148" y="1"/>
                  </a:lnTo>
                  <a:lnTo>
                    <a:pt x="152" y="4"/>
                  </a:lnTo>
                  <a:lnTo>
                    <a:pt x="156" y="7"/>
                  </a:lnTo>
                  <a:lnTo>
                    <a:pt x="159" y="11"/>
                  </a:lnTo>
                  <a:lnTo>
                    <a:pt x="161" y="16"/>
                  </a:lnTo>
                  <a:lnTo>
                    <a:pt x="162" y="20"/>
                  </a:lnTo>
                  <a:lnTo>
                    <a:pt x="164" y="26"/>
                  </a:lnTo>
                  <a:lnTo>
                    <a:pt x="162" y="32"/>
                  </a:lnTo>
                  <a:lnTo>
                    <a:pt x="161" y="36"/>
                  </a:lnTo>
                  <a:lnTo>
                    <a:pt x="159" y="40"/>
                  </a:lnTo>
                  <a:lnTo>
                    <a:pt x="156" y="45"/>
                  </a:lnTo>
                  <a:lnTo>
                    <a:pt x="152" y="47"/>
                  </a:lnTo>
                  <a:lnTo>
                    <a:pt x="148" y="50"/>
                  </a:lnTo>
                  <a:lnTo>
                    <a:pt x="142" y="52"/>
                  </a:ln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106">
              <a:extLst>
                <a:ext uri="{FF2B5EF4-FFF2-40B4-BE49-F238E27FC236}">
                  <a16:creationId xmlns:a16="http://schemas.microsoft.com/office/drawing/2014/main" id="{37FD3B58-2308-4275-8630-51B8A7D77036}"/>
                </a:ext>
              </a:extLst>
            </p:cNvPr>
            <p:cNvSpPr>
              <a:spLocks/>
            </p:cNvSpPr>
            <p:nvPr/>
          </p:nvSpPr>
          <p:spPr bwMode="auto">
            <a:xfrm>
              <a:off x="4673600" y="1954213"/>
              <a:ext cx="236538" cy="169863"/>
            </a:xfrm>
            <a:custGeom>
              <a:avLst/>
              <a:gdLst>
                <a:gd name="T0" fmla="*/ 153 w 446"/>
                <a:gd name="T1" fmla="*/ 319 h 319"/>
                <a:gd name="T2" fmla="*/ 147 w 446"/>
                <a:gd name="T3" fmla="*/ 318 h 319"/>
                <a:gd name="T4" fmla="*/ 143 w 446"/>
                <a:gd name="T5" fmla="*/ 316 h 319"/>
                <a:gd name="T6" fmla="*/ 138 w 446"/>
                <a:gd name="T7" fmla="*/ 315 h 319"/>
                <a:gd name="T8" fmla="*/ 134 w 446"/>
                <a:gd name="T9" fmla="*/ 311 h 319"/>
                <a:gd name="T10" fmla="*/ 7 w 446"/>
                <a:gd name="T11" fmla="*/ 184 h 319"/>
                <a:gd name="T12" fmla="*/ 4 w 446"/>
                <a:gd name="T13" fmla="*/ 180 h 319"/>
                <a:gd name="T14" fmla="*/ 1 w 446"/>
                <a:gd name="T15" fmla="*/ 175 h 319"/>
                <a:gd name="T16" fmla="*/ 0 w 446"/>
                <a:gd name="T17" fmla="*/ 171 h 319"/>
                <a:gd name="T18" fmla="*/ 0 w 446"/>
                <a:gd name="T19" fmla="*/ 165 h 319"/>
                <a:gd name="T20" fmla="*/ 0 w 446"/>
                <a:gd name="T21" fmla="*/ 161 h 319"/>
                <a:gd name="T22" fmla="*/ 1 w 446"/>
                <a:gd name="T23" fmla="*/ 157 h 319"/>
                <a:gd name="T24" fmla="*/ 4 w 446"/>
                <a:gd name="T25" fmla="*/ 151 h 319"/>
                <a:gd name="T26" fmla="*/ 7 w 446"/>
                <a:gd name="T27" fmla="*/ 148 h 319"/>
                <a:gd name="T28" fmla="*/ 11 w 446"/>
                <a:gd name="T29" fmla="*/ 144 h 319"/>
                <a:gd name="T30" fmla="*/ 16 w 446"/>
                <a:gd name="T31" fmla="*/ 142 h 319"/>
                <a:gd name="T32" fmla="*/ 20 w 446"/>
                <a:gd name="T33" fmla="*/ 141 h 319"/>
                <a:gd name="T34" fmla="*/ 26 w 446"/>
                <a:gd name="T35" fmla="*/ 139 h 319"/>
                <a:gd name="T36" fmla="*/ 30 w 446"/>
                <a:gd name="T37" fmla="*/ 141 h 319"/>
                <a:gd name="T38" fmla="*/ 36 w 446"/>
                <a:gd name="T39" fmla="*/ 142 h 319"/>
                <a:gd name="T40" fmla="*/ 40 w 446"/>
                <a:gd name="T41" fmla="*/ 144 h 319"/>
                <a:gd name="T42" fmla="*/ 45 w 446"/>
                <a:gd name="T43" fmla="*/ 148 h 319"/>
                <a:gd name="T44" fmla="*/ 153 w 446"/>
                <a:gd name="T45" fmla="*/ 256 h 319"/>
                <a:gd name="T46" fmla="*/ 402 w 446"/>
                <a:gd name="T47" fmla="*/ 7 h 319"/>
                <a:gd name="T48" fmla="*/ 406 w 446"/>
                <a:gd name="T49" fmla="*/ 4 h 319"/>
                <a:gd name="T50" fmla="*/ 410 w 446"/>
                <a:gd name="T51" fmla="*/ 1 h 319"/>
                <a:gd name="T52" fmla="*/ 415 w 446"/>
                <a:gd name="T53" fmla="*/ 0 h 319"/>
                <a:gd name="T54" fmla="*/ 420 w 446"/>
                <a:gd name="T55" fmla="*/ 0 h 319"/>
                <a:gd name="T56" fmla="*/ 425 w 446"/>
                <a:gd name="T57" fmla="*/ 0 h 319"/>
                <a:gd name="T58" fmla="*/ 429 w 446"/>
                <a:gd name="T59" fmla="*/ 1 h 319"/>
                <a:gd name="T60" fmla="*/ 435 w 446"/>
                <a:gd name="T61" fmla="*/ 4 h 319"/>
                <a:gd name="T62" fmla="*/ 438 w 446"/>
                <a:gd name="T63" fmla="*/ 7 h 319"/>
                <a:gd name="T64" fmla="*/ 442 w 446"/>
                <a:gd name="T65" fmla="*/ 11 h 319"/>
                <a:gd name="T66" fmla="*/ 443 w 446"/>
                <a:gd name="T67" fmla="*/ 16 h 319"/>
                <a:gd name="T68" fmla="*/ 445 w 446"/>
                <a:gd name="T69" fmla="*/ 20 h 319"/>
                <a:gd name="T70" fmla="*/ 446 w 446"/>
                <a:gd name="T71" fmla="*/ 26 h 319"/>
                <a:gd name="T72" fmla="*/ 445 w 446"/>
                <a:gd name="T73" fmla="*/ 30 h 319"/>
                <a:gd name="T74" fmla="*/ 443 w 446"/>
                <a:gd name="T75" fmla="*/ 36 h 319"/>
                <a:gd name="T76" fmla="*/ 442 w 446"/>
                <a:gd name="T77" fmla="*/ 40 h 319"/>
                <a:gd name="T78" fmla="*/ 438 w 446"/>
                <a:gd name="T79" fmla="*/ 44 h 319"/>
                <a:gd name="T80" fmla="*/ 171 w 446"/>
                <a:gd name="T81" fmla="*/ 311 h 319"/>
                <a:gd name="T82" fmla="*/ 167 w 446"/>
                <a:gd name="T83" fmla="*/ 315 h 319"/>
                <a:gd name="T84" fmla="*/ 163 w 446"/>
                <a:gd name="T85" fmla="*/ 316 h 319"/>
                <a:gd name="T86" fmla="*/ 157 w 446"/>
                <a:gd name="T87" fmla="*/ 318 h 319"/>
                <a:gd name="T88" fmla="*/ 153 w 446"/>
                <a:gd name="T89"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319">
                  <a:moveTo>
                    <a:pt x="153" y="319"/>
                  </a:moveTo>
                  <a:lnTo>
                    <a:pt x="147" y="318"/>
                  </a:lnTo>
                  <a:lnTo>
                    <a:pt x="143" y="316"/>
                  </a:lnTo>
                  <a:lnTo>
                    <a:pt x="138" y="315"/>
                  </a:lnTo>
                  <a:lnTo>
                    <a:pt x="134" y="311"/>
                  </a:lnTo>
                  <a:lnTo>
                    <a:pt x="7" y="184"/>
                  </a:lnTo>
                  <a:lnTo>
                    <a:pt x="4" y="180"/>
                  </a:lnTo>
                  <a:lnTo>
                    <a:pt x="1" y="175"/>
                  </a:lnTo>
                  <a:lnTo>
                    <a:pt x="0" y="171"/>
                  </a:lnTo>
                  <a:lnTo>
                    <a:pt x="0" y="165"/>
                  </a:lnTo>
                  <a:lnTo>
                    <a:pt x="0" y="161"/>
                  </a:lnTo>
                  <a:lnTo>
                    <a:pt x="1" y="157"/>
                  </a:lnTo>
                  <a:lnTo>
                    <a:pt x="4" y="151"/>
                  </a:lnTo>
                  <a:lnTo>
                    <a:pt x="7" y="148"/>
                  </a:lnTo>
                  <a:lnTo>
                    <a:pt x="11" y="144"/>
                  </a:lnTo>
                  <a:lnTo>
                    <a:pt x="16" y="142"/>
                  </a:lnTo>
                  <a:lnTo>
                    <a:pt x="20" y="141"/>
                  </a:lnTo>
                  <a:lnTo>
                    <a:pt x="26" y="139"/>
                  </a:lnTo>
                  <a:lnTo>
                    <a:pt x="30" y="141"/>
                  </a:lnTo>
                  <a:lnTo>
                    <a:pt x="36" y="142"/>
                  </a:lnTo>
                  <a:lnTo>
                    <a:pt x="40" y="144"/>
                  </a:lnTo>
                  <a:lnTo>
                    <a:pt x="45" y="148"/>
                  </a:lnTo>
                  <a:lnTo>
                    <a:pt x="153" y="256"/>
                  </a:lnTo>
                  <a:lnTo>
                    <a:pt x="402" y="7"/>
                  </a:lnTo>
                  <a:lnTo>
                    <a:pt x="406" y="4"/>
                  </a:lnTo>
                  <a:lnTo>
                    <a:pt x="410" y="1"/>
                  </a:lnTo>
                  <a:lnTo>
                    <a:pt x="415" y="0"/>
                  </a:lnTo>
                  <a:lnTo>
                    <a:pt x="420" y="0"/>
                  </a:lnTo>
                  <a:lnTo>
                    <a:pt x="425" y="0"/>
                  </a:lnTo>
                  <a:lnTo>
                    <a:pt x="429" y="1"/>
                  </a:lnTo>
                  <a:lnTo>
                    <a:pt x="435" y="4"/>
                  </a:lnTo>
                  <a:lnTo>
                    <a:pt x="438" y="7"/>
                  </a:lnTo>
                  <a:lnTo>
                    <a:pt x="442" y="11"/>
                  </a:lnTo>
                  <a:lnTo>
                    <a:pt x="443" y="16"/>
                  </a:lnTo>
                  <a:lnTo>
                    <a:pt x="445" y="20"/>
                  </a:lnTo>
                  <a:lnTo>
                    <a:pt x="446" y="26"/>
                  </a:lnTo>
                  <a:lnTo>
                    <a:pt x="445" y="30"/>
                  </a:lnTo>
                  <a:lnTo>
                    <a:pt x="443" y="36"/>
                  </a:lnTo>
                  <a:lnTo>
                    <a:pt x="442" y="40"/>
                  </a:lnTo>
                  <a:lnTo>
                    <a:pt x="438" y="44"/>
                  </a:lnTo>
                  <a:lnTo>
                    <a:pt x="171" y="311"/>
                  </a:lnTo>
                  <a:lnTo>
                    <a:pt x="167" y="315"/>
                  </a:lnTo>
                  <a:lnTo>
                    <a:pt x="163" y="316"/>
                  </a:lnTo>
                  <a:lnTo>
                    <a:pt x="157" y="318"/>
                  </a:lnTo>
                  <a:lnTo>
                    <a:pt x="15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114">
              <a:extLst>
                <a:ext uri="{FF2B5EF4-FFF2-40B4-BE49-F238E27FC236}">
                  <a16:creationId xmlns:a16="http://schemas.microsoft.com/office/drawing/2014/main" id="{725D29A5-36B0-413B-B879-1CCD56EB307B}"/>
                </a:ext>
              </a:extLst>
            </p:cNvPr>
            <p:cNvSpPr>
              <a:spLocks noEditPoints="1"/>
            </p:cNvSpPr>
            <p:nvPr/>
          </p:nvSpPr>
          <p:spPr bwMode="auto">
            <a:xfrm>
              <a:off x="4614863" y="1887538"/>
              <a:ext cx="328613" cy="327025"/>
            </a:xfrm>
            <a:custGeom>
              <a:avLst/>
              <a:gdLst>
                <a:gd name="T0" fmla="*/ 257 w 620"/>
                <a:gd name="T1" fmla="*/ 57 h 620"/>
                <a:gd name="T2" fmla="*/ 187 w 620"/>
                <a:gd name="T3" fmla="*/ 83 h 620"/>
                <a:gd name="T4" fmla="*/ 128 w 620"/>
                <a:gd name="T5" fmla="*/ 128 h 620"/>
                <a:gd name="T6" fmla="*/ 83 w 620"/>
                <a:gd name="T7" fmla="*/ 187 h 620"/>
                <a:gd name="T8" fmla="*/ 57 w 620"/>
                <a:gd name="T9" fmla="*/ 259 h 620"/>
                <a:gd name="T10" fmla="*/ 53 w 620"/>
                <a:gd name="T11" fmla="*/ 336 h 620"/>
                <a:gd name="T12" fmla="*/ 72 w 620"/>
                <a:gd name="T13" fmla="*/ 410 h 620"/>
                <a:gd name="T14" fmla="*/ 111 w 620"/>
                <a:gd name="T15" fmla="*/ 473 h 620"/>
                <a:gd name="T16" fmla="*/ 165 w 620"/>
                <a:gd name="T17" fmla="*/ 524 h 620"/>
                <a:gd name="T18" fmla="*/ 233 w 620"/>
                <a:gd name="T19" fmla="*/ 557 h 620"/>
                <a:gd name="T20" fmla="*/ 309 w 620"/>
                <a:gd name="T21" fmla="*/ 568 h 620"/>
                <a:gd name="T22" fmla="*/ 386 w 620"/>
                <a:gd name="T23" fmla="*/ 557 h 620"/>
                <a:gd name="T24" fmla="*/ 453 w 620"/>
                <a:gd name="T25" fmla="*/ 524 h 620"/>
                <a:gd name="T26" fmla="*/ 508 w 620"/>
                <a:gd name="T27" fmla="*/ 473 h 620"/>
                <a:gd name="T28" fmla="*/ 547 w 620"/>
                <a:gd name="T29" fmla="*/ 410 h 620"/>
                <a:gd name="T30" fmla="*/ 566 w 620"/>
                <a:gd name="T31" fmla="*/ 336 h 620"/>
                <a:gd name="T32" fmla="*/ 563 w 620"/>
                <a:gd name="T33" fmla="*/ 259 h 620"/>
                <a:gd name="T34" fmla="*/ 537 w 620"/>
                <a:gd name="T35" fmla="*/ 187 h 620"/>
                <a:gd name="T36" fmla="*/ 492 w 620"/>
                <a:gd name="T37" fmla="*/ 128 h 620"/>
                <a:gd name="T38" fmla="*/ 432 w 620"/>
                <a:gd name="T39" fmla="*/ 83 h 620"/>
                <a:gd name="T40" fmla="*/ 361 w 620"/>
                <a:gd name="T41" fmla="*/ 57 h 620"/>
                <a:gd name="T42" fmla="*/ 309 w 620"/>
                <a:gd name="T43" fmla="*/ 620 h 620"/>
                <a:gd name="T44" fmla="*/ 262 w 620"/>
                <a:gd name="T45" fmla="*/ 616 h 620"/>
                <a:gd name="T46" fmla="*/ 217 w 620"/>
                <a:gd name="T47" fmla="*/ 606 h 620"/>
                <a:gd name="T48" fmla="*/ 175 w 620"/>
                <a:gd name="T49" fmla="*/ 590 h 620"/>
                <a:gd name="T50" fmla="*/ 136 w 620"/>
                <a:gd name="T51" fmla="*/ 567 h 620"/>
                <a:gd name="T52" fmla="*/ 70 w 620"/>
                <a:gd name="T53" fmla="*/ 508 h 620"/>
                <a:gd name="T54" fmla="*/ 37 w 620"/>
                <a:gd name="T55" fmla="*/ 457 h 620"/>
                <a:gd name="T56" fmla="*/ 18 w 620"/>
                <a:gd name="T57" fmla="*/ 417 h 620"/>
                <a:gd name="T58" fmla="*/ 5 w 620"/>
                <a:gd name="T59" fmla="*/ 372 h 620"/>
                <a:gd name="T60" fmla="*/ 0 w 620"/>
                <a:gd name="T61" fmla="*/ 326 h 620"/>
                <a:gd name="T62" fmla="*/ 1 w 620"/>
                <a:gd name="T63" fmla="*/ 279 h 620"/>
                <a:gd name="T64" fmla="*/ 10 w 620"/>
                <a:gd name="T65" fmla="*/ 233 h 620"/>
                <a:gd name="T66" fmla="*/ 24 w 620"/>
                <a:gd name="T67" fmla="*/ 190 h 620"/>
                <a:gd name="T68" fmla="*/ 44 w 620"/>
                <a:gd name="T69" fmla="*/ 149 h 620"/>
                <a:gd name="T70" fmla="*/ 90 w 620"/>
                <a:gd name="T71" fmla="*/ 90 h 620"/>
                <a:gd name="T72" fmla="*/ 149 w 620"/>
                <a:gd name="T73" fmla="*/ 46 h 620"/>
                <a:gd name="T74" fmla="*/ 188 w 620"/>
                <a:gd name="T75" fmla="*/ 24 h 620"/>
                <a:gd name="T76" fmla="*/ 231 w 620"/>
                <a:gd name="T77" fmla="*/ 10 h 620"/>
                <a:gd name="T78" fmla="*/ 278 w 620"/>
                <a:gd name="T79" fmla="*/ 1 h 620"/>
                <a:gd name="T80" fmla="*/ 325 w 620"/>
                <a:gd name="T81" fmla="*/ 1 h 620"/>
                <a:gd name="T82" fmla="*/ 373 w 620"/>
                <a:gd name="T83" fmla="*/ 7 h 620"/>
                <a:gd name="T84" fmla="*/ 416 w 620"/>
                <a:gd name="T85" fmla="*/ 18 h 620"/>
                <a:gd name="T86" fmla="*/ 458 w 620"/>
                <a:gd name="T87" fmla="*/ 37 h 620"/>
                <a:gd name="T88" fmla="*/ 507 w 620"/>
                <a:gd name="T89" fmla="*/ 72 h 620"/>
                <a:gd name="T90" fmla="*/ 567 w 620"/>
                <a:gd name="T91" fmla="*/ 136 h 620"/>
                <a:gd name="T92" fmla="*/ 589 w 620"/>
                <a:gd name="T93" fmla="*/ 175 h 620"/>
                <a:gd name="T94" fmla="*/ 606 w 620"/>
                <a:gd name="T95" fmla="*/ 218 h 620"/>
                <a:gd name="T96" fmla="*/ 616 w 620"/>
                <a:gd name="T97" fmla="*/ 263 h 620"/>
                <a:gd name="T98" fmla="*/ 620 w 620"/>
                <a:gd name="T99" fmla="*/ 311 h 620"/>
                <a:gd name="T100" fmla="*/ 616 w 620"/>
                <a:gd name="T101" fmla="*/ 357 h 620"/>
                <a:gd name="T102" fmla="*/ 606 w 620"/>
                <a:gd name="T103" fmla="*/ 403 h 620"/>
                <a:gd name="T104" fmla="*/ 589 w 620"/>
                <a:gd name="T105" fmla="*/ 444 h 620"/>
                <a:gd name="T106" fmla="*/ 567 w 620"/>
                <a:gd name="T107" fmla="*/ 483 h 620"/>
                <a:gd name="T108" fmla="*/ 507 w 620"/>
                <a:gd name="T109" fmla="*/ 550 h 620"/>
                <a:gd name="T110" fmla="*/ 458 w 620"/>
                <a:gd name="T111" fmla="*/ 583 h 620"/>
                <a:gd name="T112" fmla="*/ 416 w 620"/>
                <a:gd name="T113" fmla="*/ 601 h 620"/>
                <a:gd name="T114" fmla="*/ 373 w 620"/>
                <a:gd name="T115" fmla="*/ 614 h 620"/>
                <a:gd name="T116" fmla="*/ 325 w 620"/>
                <a:gd name="T117"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0" h="620">
                  <a:moveTo>
                    <a:pt x="309" y="53"/>
                  </a:moveTo>
                  <a:lnTo>
                    <a:pt x="283" y="53"/>
                  </a:lnTo>
                  <a:lnTo>
                    <a:pt x="257" y="57"/>
                  </a:lnTo>
                  <a:lnTo>
                    <a:pt x="233" y="64"/>
                  </a:lnTo>
                  <a:lnTo>
                    <a:pt x="210" y="73"/>
                  </a:lnTo>
                  <a:lnTo>
                    <a:pt x="187" y="83"/>
                  </a:lnTo>
                  <a:lnTo>
                    <a:pt x="165" y="96"/>
                  </a:lnTo>
                  <a:lnTo>
                    <a:pt x="145" y="112"/>
                  </a:lnTo>
                  <a:lnTo>
                    <a:pt x="128" y="128"/>
                  </a:lnTo>
                  <a:lnTo>
                    <a:pt x="111" y="146"/>
                  </a:lnTo>
                  <a:lnTo>
                    <a:pt x="96" y="167"/>
                  </a:lnTo>
                  <a:lnTo>
                    <a:pt x="83" y="187"/>
                  </a:lnTo>
                  <a:lnTo>
                    <a:pt x="72" y="210"/>
                  </a:lnTo>
                  <a:lnTo>
                    <a:pt x="63" y="233"/>
                  </a:lnTo>
                  <a:lnTo>
                    <a:pt x="57" y="259"/>
                  </a:lnTo>
                  <a:lnTo>
                    <a:pt x="53" y="283"/>
                  </a:lnTo>
                  <a:lnTo>
                    <a:pt x="51" y="311"/>
                  </a:lnTo>
                  <a:lnTo>
                    <a:pt x="53" y="336"/>
                  </a:lnTo>
                  <a:lnTo>
                    <a:pt x="57" y="362"/>
                  </a:lnTo>
                  <a:lnTo>
                    <a:pt x="63" y="387"/>
                  </a:lnTo>
                  <a:lnTo>
                    <a:pt x="72" y="410"/>
                  </a:lnTo>
                  <a:lnTo>
                    <a:pt x="83" y="433"/>
                  </a:lnTo>
                  <a:lnTo>
                    <a:pt x="96" y="455"/>
                  </a:lnTo>
                  <a:lnTo>
                    <a:pt x="111" y="473"/>
                  </a:lnTo>
                  <a:lnTo>
                    <a:pt x="128" y="492"/>
                  </a:lnTo>
                  <a:lnTo>
                    <a:pt x="145" y="509"/>
                  </a:lnTo>
                  <a:lnTo>
                    <a:pt x="165" y="524"/>
                  </a:lnTo>
                  <a:lnTo>
                    <a:pt x="187" y="537"/>
                  </a:lnTo>
                  <a:lnTo>
                    <a:pt x="210" y="548"/>
                  </a:lnTo>
                  <a:lnTo>
                    <a:pt x="233" y="557"/>
                  </a:lnTo>
                  <a:lnTo>
                    <a:pt x="257" y="563"/>
                  </a:lnTo>
                  <a:lnTo>
                    <a:pt x="283" y="567"/>
                  </a:lnTo>
                  <a:lnTo>
                    <a:pt x="309" y="568"/>
                  </a:lnTo>
                  <a:lnTo>
                    <a:pt x="335" y="567"/>
                  </a:lnTo>
                  <a:lnTo>
                    <a:pt x="361" y="563"/>
                  </a:lnTo>
                  <a:lnTo>
                    <a:pt x="386" y="557"/>
                  </a:lnTo>
                  <a:lnTo>
                    <a:pt x="410" y="548"/>
                  </a:lnTo>
                  <a:lnTo>
                    <a:pt x="432" y="537"/>
                  </a:lnTo>
                  <a:lnTo>
                    <a:pt x="453" y="524"/>
                  </a:lnTo>
                  <a:lnTo>
                    <a:pt x="473" y="509"/>
                  </a:lnTo>
                  <a:lnTo>
                    <a:pt x="492" y="492"/>
                  </a:lnTo>
                  <a:lnTo>
                    <a:pt x="508" y="473"/>
                  </a:lnTo>
                  <a:lnTo>
                    <a:pt x="524" y="455"/>
                  </a:lnTo>
                  <a:lnTo>
                    <a:pt x="537" y="433"/>
                  </a:lnTo>
                  <a:lnTo>
                    <a:pt x="547" y="410"/>
                  </a:lnTo>
                  <a:lnTo>
                    <a:pt x="555" y="387"/>
                  </a:lnTo>
                  <a:lnTo>
                    <a:pt x="563" y="362"/>
                  </a:lnTo>
                  <a:lnTo>
                    <a:pt x="566" y="336"/>
                  </a:lnTo>
                  <a:lnTo>
                    <a:pt x="567" y="311"/>
                  </a:lnTo>
                  <a:lnTo>
                    <a:pt x="566" y="283"/>
                  </a:lnTo>
                  <a:lnTo>
                    <a:pt x="563" y="259"/>
                  </a:lnTo>
                  <a:lnTo>
                    <a:pt x="555" y="233"/>
                  </a:lnTo>
                  <a:lnTo>
                    <a:pt x="547" y="210"/>
                  </a:lnTo>
                  <a:lnTo>
                    <a:pt x="537" y="187"/>
                  </a:lnTo>
                  <a:lnTo>
                    <a:pt x="524" y="167"/>
                  </a:lnTo>
                  <a:lnTo>
                    <a:pt x="508" y="146"/>
                  </a:lnTo>
                  <a:lnTo>
                    <a:pt x="492" y="128"/>
                  </a:lnTo>
                  <a:lnTo>
                    <a:pt x="473" y="112"/>
                  </a:lnTo>
                  <a:lnTo>
                    <a:pt x="453" y="96"/>
                  </a:lnTo>
                  <a:lnTo>
                    <a:pt x="432" y="83"/>
                  </a:lnTo>
                  <a:lnTo>
                    <a:pt x="410" y="73"/>
                  </a:lnTo>
                  <a:lnTo>
                    <a:pt x="386" y="64"/>
                  </a:lnTo>
                  <a:lnTo>
                    <a:pt x="361" y="57"/>
                  </a:lnTo>
                  <a:lnTo>
                    <a:pt x="335" y="53"/>
                  </a:lnTo>
                  <a:lnTo>
                    <a:pt x="309" y="53"/>
                  </a:lnTo>
                  <a:close/>
                  <a:moveTo>
                    <a:pt x="309" y="620"/>
                  </a:moveTo>
                  <a:lnTo>
                    <a:pt x="293" y="620"/>
                  </a:lnTo>
                  <a:lnTo>
                    <a:pt x="278" y="619"/>
                  </a:lnTo>
                  <a:lnTo>
                    <a:pt x="262" y="616"/>
                  </a:lnTo>
                  <a:lnTo>
                    <a:pt x="247" y="614"/>
                  </a:lnTo>
                  <a:lnTo>
                    <a:pt x="231" y="610"/>
                  </a:lnTo>
                  <a:lnTo>
                    <a:pt x="217" y="606"/>
                  </a:lnTo>
                  <a:lnTo>
                    <a:pt x="203" y="601"/>
                  </a:lnTo>
                  <a:lnTo>
                    <a:pt x="188" y="596"/>
                  </a:lnTo>
                  <a:lnTo>
                    <a:pt x="175" y="590"/>
                  </a:lnTo>
                  <a:lnTo>
                    <a:pt x="162" y="583"/>
                  </a:lnTo>
                  <a:lnTo>
                    <a:pt x="149" y="575"/>
                  </a:lnTo>
                  <a:lnTo>
                    <a:pt x="136" y="567"/>
                  </a:lnTo>
                  <a:lnTo>
                    <a:pt x="112" y="550"/>
                  </a:lnTo>
                  <a:lnTo>
                    <a:pt x="90" y="529"/>
                  </a:lnTo>
                  <a:lnTo>
                    <a:pt x="70" y="508"/>
                  </a:lnTo>
                  <a:lnTo>
                    <a:pt x="53" y="483"/>
                  </a:lnTo>
                  <a:lnTo>
                    <a:pt x="44" y="470"/>
                  </a:lnTo>
                  <a:lnTo>
                    <a:pt x="37" y="457"/>
                  </a:lnTo>
                  <a:lnTo>
                    <a:pt x="30" y="444"/>
                  </a:lnTo>
                  <a:lnTo>
                    <a:pt x="24" y="430"/>
                  </a:lnTo>
                  <a:lnTo>
                    <a:pt x="18" y="417"/>
                  </a:lnTo>
                  <a:lnTo>
                    <a:pt x="14" y="403"/>
                  </a:lnTo>
                  <a:lnTo>
                    <a:pt x="10" y="387"/>
                  </a:lnTo>
                  <a:lnTo>
                    <a:pt x="5" y="372"/>
                  </a:lnTo>
                  <a:lnTo>
                    <a:pt x="3" y="357"/>
                  </a:lnTo>
                  <a:lnTo>
                    <a:pt x="1" y="342"/>
                  </a:lnTo>
                  <a:lnTo>
                    <a:pt x="0" y="326"/>
                  </a:lnTo>
                  <a:lnTo>
                    <a:pt x="0" y="311"/>
                  </a:lnTo>
                  <a:lnTo>
                    <a:pt x="0" y="295"/>
                  </a:lnTo>
                  <a:lnTo>
                    <a:pt x="1" y="279"/>
                  </a:lnTo>
                  <a:lnTo>
                    <a:pt x="3" y="263"/>
                  </a:lnTo>
                  <a:lnTo>
                    <a:pt x="5" y="247"/>
                  </a:lnTo>
                  <a:lnTo>
                    <a:pt x="10" y="233"/>
                  </a:lnTo>
                  <a:lnTo>
                    <a:pt x="14" y="218"/>
                  </a:lnTo>
                  <a:lnTo>
                    <a:pt x="18" y="204"/>
                  </a:lnTo>
                  <a:lnTo>
                    <a:pt x="24" y="190"/>
                  </a:lnTo>
                  <a:lnTo>
                    <a:pt x="30" y="175"/>
                  </a:lnTo>
                  <a:lnTo>
                    <a:pt x="37" y="162"/>
                  </a:lnTo>
                  <a:lnTo>
                    <a:pt x="44" y="149"/>
                  </a:lnTo>
                  <a:lnTo>
                    <a:pt x="53" y="136"/>
                  </a:lnTo>
                  <a:lnTo>
                    <a:pt x="70" y="113"/>
                  </a:lnTo>
                  <a:lnTo>
                    <a:pt x="90" y="90"/>
                  </a:lnTo>
                  <a:lnTo>
                    <a:pt x="112" y="72"/>
                  </a:lnTo>
                  <a:lnTo>
                    <a:pt x="136" y="53"/>
                  </a:lnTo>
                  <a:lnTo>
                    <a:pt x="149" y="46"/>
                  </a:lnTo>
                  <a:lnTo>
                    <a:pt x="162" y="37"/>
                  </a:lnTo>
                  <a:lnTo>
                    <a:pt x="175" y="31"/>
                  </a:lnTo>
                  <a:lnTo>
                    <a:pt x="188" y="24"/>
                  </a:lnTo>
                  <a:lnTo>
                    <a:pt x="203" y="18"/>
                  </a:lnTo>
                  <a:lnTo>
                    <a:pt x="217" y="14"/>
                  </a:lnTo>
                  <a:lnTo>
                    <a:pt x="231" y="10"/>
                  </a:lnTo>
                  <a:lnTo>
                    <a:pt x="247" y="7"/>
                  </a:lnTo>
                  <a:lnTo>
                    <a:pt x="262" y="4"/>
                  </a:lnTo>
                  <a:lnTo>
                    <a:pt x="278" y="1"/>
                  </a:lnTo>
                  <a:lnTo>
                    <a:pt x="293" y="1"/>
                  </a:lnTo>
                  <a:lnTo>
                    <a:pt x="309" y="0"/>
                  </a:lnTo>
                  <a:lnTo>
                    <a:pt x="325" y="1"/>
                  </a:lnTo>
                  <a:lnTo>
                    <a:pt x="341" y="1"/>
                  </a:lnTo>
                  <a:lnTo>
                    <a:pt x="357" y="4"/>
                  </a:lnTo>
                  <a:lnTo>
                    <a:pt x="373" y="7"/>
                  </a:lnTo>
                  <a:lnTo>
                    <a:pt x="387" y="10"/>
                  </a:lnTo>
                  <a:lnTo>
                    <a:pt x="401" y="14"/>
                  </a:lnTo>
                  <a:lnTo>
                    <a:pt x="416" y="18"/>
                  </a:lnTo>
                  <a:lnTo>
                    <a:pt x="430" y="24"/>
                  </a:lnTo>
                  <a:lnTo>
                    <a:pt x="443" y="31"/>
                  </a:lnTo>
                  <a:lnTo>
                    <a:pt x="458" y="37"/>
                  </a:lnTo>
                  <a:lnTo>
                    <a:pt x="471" y="46"/>
                  </a:lnTo>
                  <a:lnTo>
                    <a:pt x="482" y="53"/>
                  </a:lnTo>
                  <a:lnTo>
                    <a:pt x="507" y="72"/>
                  </a:lnTo>
                  <a:lnTo>
                    <a:pt x="528" y="90"/>
                  </a:lnTo>
                  <a:lnTo>
                    <a:pt x="548" y="113"/>
                  </a:lnTo>
                  <a:lnTo>
                    <a:pt x="567" y="136"/>
                  </a:lnTo>
                  <a:lnTo>
                    <a:pt x="574" y="149"/>
                  </a:lnTo>
                  <a:lnTo>
                    <a:pt x="581" y="162"/>
                  </a:lnTo>
                  <a:lnTo>
                    <a:pt x="589" y="175"/>
                  </a:lnTo>
                  <a:lnTo>
                    <a:pt x="596" y="190"/>
                  </a:lnTo>
                  <a:lnTo>
                    <a:pt x="600" y="204"/>
                  </a:lnTo>
                  <a:lnTo>
                    <a:pt x="606" y="218"/>
                  </a:lnTo>
                  <a:lnTo>
                    <a:pt x="610" y="233"/>
                  </a:lnTo>
                  <a:lnTo>
                    <a:pt x="613" y="247"/>
                  </a:lnTo>
                  <a:lnTo>
                    <a:pt x="616" y="263"/>
                  </a:lnTo>
                  <a:lnTo>
                    <a:pt x="617" y="279"/>
                  </a:lnTo>
                  <a:lnTo>
                    <a:pt x="619" y="295"/>
                  </a:lnTo>
                  <a:lnTo>
                    <a:pt x="620" y="311"/>
                  </a:lnTo>
                  <a:lnTo>
                    <a:pt x="619" y="326"/>
                  </a:lnTo>
                  <a:lnTo>
                    <a:pt x="617" y="342"/>
                  </a:lnTo>
                  <a:lnTo>
                    <a:pt x="616" y="357"/>
                  </a:lnTo>
                  <a:lnTo>
                    <a:pt x="613" y="372"/>
                  </a:lnTo>
                  <a:lnTo>
                    <a:pt x="610" y="387"/>
                  </a:lnTo>
                  <a:lnTo>
                    <a:pt x="606" y="403"/>
                  </a:lnTo>
                  <a:lnTo>
                    <a:pt x="600" y="417"/>
                  </a:lnTo>
                  <a:lnTo>
                    <a:pt x="596" y="430"/>
                  </a:lnTo>
                  <a:lnTo>
                    <a:pt x="589" y="444"/>
                  </a:lnTo>
                  <a:lnTo>
                    <a:pt x="581" y="457"/>
                  </a:lnTo>
                  <a:lnTo>
                    <a:pt x="574" y="470"/>
                  </a:lnTo>
                  <a:lnTo>
                    <a:pt x="567" y="483"/>
                  </a:lnTo>
                  <a:lnTo>
                    <a:pt x="548" y="508"/>
                  </a:lnTo>
                  <a:lnTo>
                    <a:pt x="528" y="529"/>
                  </a:lnTo>
                  <a:lnTo>
                    <a:pt x="507" y="550"/>
                  </a:lnTo>
                  <a:lnTo>
                    <a:pt x="482" y="567"/>
                  </a:lnTo>
                  <a:lnTo>
                    <a:pt x="471" y="575"/>
                  </a:lnTo>
                  <a:lnTo>
                    <a:pt x="458" y="583"/>
                  </a:lnTo>
                  <a:lnTo>
                    <a:pt x="443" y="590"/>
                  </a:lnTo>
                  <a:lnTo>
                    <a:pt x="430" y="596"/>
                  </a:lnTo>
                  <a:lnTo>
                    <a:pt x="416" y="601"/>
                  </a:lnTo>
                  <a:lnTo>
                    <a:pt x="401" y="606"/>
                  </a:lnTo>
                  <a:lnTo>
                    <a:pt x="387" y="610"/>
                  </a:lnTo>
                  <a:lnTo>
                    <a:pt x="373" y="614"/>
                  </a:lnTo>
                  <a:lnTo>
                    <a:pt x="357" y="616"/>
                  </a:lnTo>
                  <a:lnTo>
                    <a:pt x="341" y="619"/>
                  </a:lnTo>
                  <a:lnTo>
                    <a:pt x="325" y="620"/>
                  </a:lnTo>
                  <a:lnTo>
                    <a:pt x="309"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15">
              <a:extLst>
                <a:ext uri="{FF2B5EF4-FFF2-40B4-BE49-F238E27FC236}">
                  <a16:creationId xmlns:a16="http://schemas.microsoft.com/office/drawing/2014/main" id="{2D8AC96D-BE85-46A4-AA09-C2CD37D261EC}"/>
                </a:ext>
              </a:extLst>
            </p:cNvPr>
            <p:cNvSpPr>
              <a:spLocks/>
            </p:cNvSpPr>
            <p:nvPr/>
          </p:nvSpPr>
          <p:spPr bwMode="auto">
            <a:xfrm>
              <a:off x="4891088" y="2135188"/>
              <a:ext cx="231775" cy="231775"/>
            </a:xfrm>
            <a:custGeom>
              <a:avLst/>
              <a:gdLst>
                <a:gd name="T0" fmla="*/ 412 w 438"/>
                <a:gd name="T1" fmla="*/ 438 h 438"/>
                <a:gd name="T2" fmla="*/ 407 w 438"/>
                <a:gd name="T3" fmla="*/ 438 h 438"/>
                <a:gd name="T4" fmla="*/ 402 w 438"/>
                <a:gd name="T5" fmla="*/ 437 h 438"/>
                <a:gd name="T6" fmla="*/ 397 w 438"/>
                <a:gd name="T7" fmla="*/ 434 h 438"/>
                <a:gd name="T8" fmla="*/ 393 w 438"/>
                <a:gd name="T9" fmla="*/ 431 h 438"/>
                <a:gd name="T10" fmla="*/ 7 w 438"/>
                <a:gd name="T11" fmla="*/ 45 h 438"/>
                <a:gd name="T12" fmla="*/ 4 w 438"/>
                <a:gd name="T13" fmla="*/ 41 h 438"/>
                <a:gd name="T14" fmla="*/ 1 w 438"/>
                <a:gd name="T15" fmla="*/ 36 h 438"/>
                <a:gd name="T16" fmla="*/ 0 w 438"/>
                <a:gd name="T17" fmla="*/ 31 h 438"/>
                <a:gd name="T18" fmla="*/ 0 w 438"/>
                <a:gd name="T19" fmla="*/ 26 h 438"/>
                <a:gd name="T20" fmla="*/ 0 w 438"/>
                <a:gd name="T21" fmla="*/ 22 h 438"/>
                <a:gd name="T22" fmla="*/ 1 w 438"/>
                <a:gd name="T23" fmla="*/ 16 h 438"/>
                <a:gd name="T24" fmla="*/ 4 w 438"/>
                <a:gd name="T25" fmla="*/ 12 h 438"/>
                <a:gd name="T26" fmla="*/ 7 w 438"/>
                <a:gd name="T27" fmla="*/ 8 h 438"/>
                <a:gd name="T28" fmla="*/ 11 w 438"/>
                <a:gd name="T29" fmla="*/ 5 h 438"/>
                <a:gd name="T30" fmla="*/ 16 w 438"/>
                <a:gd name="T31" fmla="*/ 2 h 438"/>
                <a:gd name="T32" fmla="*/ 22 w 438"/>
                <a:gd name="T33" fmla="*/ 0 h 438"/>
                <a:gd name="T34" fmla="*/ 26 w 438"/>
                <a:gd name="T35" fmla="*/ 0 h 438"/>
                <a:gd name="T36" fmla="*/ 30 w 438"/>
                <a:gd name="T37" fmla="*/ 0 h 438"/>
                <a:gd name="T38" fmla="*/ 36 w 438"/>
                <a:gd name="T39" fmla="*/ 2 h 438"/>
                <a:gd name="T40" fmla="*/ 40 w 438"/>
                <a:gd name="T41" fmla="*/ 5 h 438"/>
                <a:gd name="T42" fmla="*/ 45 w 438"/>
                <a:gd name="T43" fmla="*/ 8 h 438"/>
                <a:gd name="T44" fmla="*/ 430 w 438"/>
                <a:gd name="T45" fmla="*/ 393 h 438"/>
                <a:gd name="T46" fmla="*/ 433 w 438"/>
                <a:gd name="T47" fmla="*/ 398 h 438"/>
                <a:gd name="T48" fmla="*/ 436 w 438"/>
                <a:gd name="T49" fmla="*/ 402 h 438"/>
                <a:gd name="T50" fmla="*/ 438 w 438"/>
                <a:gd name="T51" fmla="*/ 408 h 438"/>
                <a:gd name="T52" fmla="*/ 438 w 438"/>
                <a:gd name="T53" fmla="*/ 412 h 438"/>
                <a:gd name="T54" fmla="*/ 438 w 438"/>
                <a:gd name="T55" fmla="*/ 418 h 438"/>
                <a:gd name="T56" fmla="*/ 436 w 438"/>
                <a:gd name="T57" fmla="*/ 422 h 438"/>
                <a:gd name="T58" fmla="*/ 433 w 438"/>
                <a:gd name="T59" fmla="*/ 427 h 438"/>
                <a:gd name="T60" fmla="*/ 430 w 438"/>
                <a:gd name="T61" fmla="*/ 431 h 438"/>
                <a:gd name="T62" fmla="*/ 426 w 438"/>
                <a:gd name="T63" fmla="*/ 434 h 438"/>
                <a:gd name="T64" fmla="*/ 422 w 438"/>
                <a:gd name="T65" fmla="*/ 437 h 438"/>
                <a:gd name="T66" fmla="*/ 418 w 438"/>
                <a:gd name="T67" fmla="*/ 438 h 438"/>
                <a:gd name="T68" fmla="*/ 412 w 438"/>
                <a:gd name="T6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8" h="438">
                  <a:moveTo>
                    <a:pt x="412" y="438"/>
                  </a:moveTo>
                  <a:lnTo>
                    <a:pt x="407" y="438"/>
                  </a:lnTo>
                  <a:lnTo>
                    <a:pt x="402" y="437"/>
                  </a:lnTo>
                  <a:lnTo>
                    <a:pt x="397" y="434"/>
                  </a:lnTo>
                  <a:lnTo>
                    <a:pt x="393" y="431"/>
                  </a:lnTo>
                  <a:lnTo>
                    <a:pt x="7" y="45"/>
                  </a:lnTo>
                  <a:lnTo>
                    <a:pt x="4" y="41"/>
                  </a:lnTo>
                  <a:lnTo>
                    <a:pt x="1" y="36"/>
                  </a:lnTo>
                  <a:lnTo>
                    <a:pt x="0" y="31"/>
                  </a:lnTo>
                  <a:lnTo>
                    <a:pt x="0" y="26"/>
                  </a:lnTo>
                  <a:lnTo>
                    <a:pt x="0" y="22"/>
                  </a:lnTo>
                  <a:lnTo>
                    <a:pt x="1" y="16"/>
                  </a:lnTo>
                  <a:lnTo>
                    <a:pt x="4" y="12"/>
                  </a:lnTo>
                  <a:lnTo>
                    <a:pt x="7" y="8"/>
                  </a:lnTo>
                  <a:lnTo>
                    <a:pt x="11" y="5"/>
                  </a:lnTo>
                  <a:lnTo>
                    <a:pt x="16" y="2"/>
                  </a:lnTo>
                  <a:lnTo>
                    <a:pt x="22" y="0"/>
                  </a:lnTo>
                  <a:lnTo>
                    <a:pt x="26" y="0"/>
                  </a:lnTo>
                  <a:lnTo>
                    <a:pt x="30" y="0"/>
                  </a:lnTo>
                  <a:lnTo>
                    <a:pt x="36" y="2"/>
                  </a:lnTo>
                  <a:lnTo>
                    <a:pt x="40" y="5"/>
                  </a:lnTo>
                  <a:lnTo>
                    <a:pt x="45" y="8"/>
                  </a:lnTo>
                  <a:lnTo>
                    <a:pt x="430" y="393"/>
                  </a:lnTo>
                  <a:lnTo>
                    <a:pt x="433" y="398"/>
                  </a:lnTo>
                  <a:lnTo>
                    <a:pt x="436" y="402"/>
                  </a:lnTo>
                  <a:lnTo>
                    <a:pt x="438" y="408"/>
                  </a:lnTo>
                  <a:lnTo>
                    <a:pt x="438" y="412"/>
                  </a:lnTo>
                  <a:lnTo>
                    <a:pt x="438" y="418"/>
                  </a:lnTo>
                  <a:lnTo>
                    <a:pt x="436" y="422"/>
                  </a:lnTo>
                  <a:lnTo>
                    <a:pt x="433" y="427"/>
                  </a:lnTo>
                  <a:lnTo>
                    <a:pt x="430" y="431"/>
                  </a:lnTo>
                  <a:lnTo>
                    <a:pt x="426" y="434"/>
                  </a:lnTo>
                  <a:lnTo>
                    <a:pt x="422" y="437"/>
                  </a:lnTo>
                  <a:lnTo>
                    <a:pt x="418" y="438"/>
                  </a:lnTo>
                  <a:lnTo>
                    <a:pt x="412"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7" name="Group 91">
            <a:extLst>
              <a:ext uri="{FF2B5EF4-FFF2-40B4-BE49-F238E27FC236}">
                <a16:creationId xmlns:a16="http://schemas.microsoft.com/office/drawing/2014/main" id="{378F72A8-4D48-4CE3-BA16-E5CF32640624}"/>
              </a:ext>
            </a:extLst>
          </p:cNvPr>
          <p:cNvGrpSpPr>
            <a:grpSpLocks noChangeAspect="1"/>
          </p:cNvGrpSpPr>
          <p:nvPr/>
        </p:nvGrpSpPr>
        <p:grpSpPr>
          <a:xfrm>
            <a:off x="3241442" y="4345739"/>
            <a:ext cx="208005" cy="306484"/>
            <a:chOff x="7854254" y="1701541"/>
            <a:chExt cx="416963" cy="614374"/>
          </a:xfrm>
          <a:solidFill>
            <a:schemeClr val="bg1"/>
          </a:solidFill>
          <a:effectLst/>
        </p:grpSpPr>
        <p:sp>
          <p:nvSpPr>
            <p:cNvPr id="388" name="Freeform 8">
              <a:extLst>
                <a:ext uri="{FF2B5EF4-FFF2-40B4-BE49-F238E27FC236}">
                  <a16:creationId xmlns:a16="http://schemas.microsoft.com/office/drawing/2014/main" id="{7A5090F3-689D-4CD2-96A2-4C4E17B65E99}"/>
                </a:ext>
              </a:extLst>
            </p:cNvPr>
            <p:cNvSpPr>
              <a:spLocks noEditPoints="1"/>
            </p:cNvSpPr>
            <p:nvPr/>
          </p:nvSpPr>
          <p:spPr bwMode="auto">
            <a:xfrm>
              <a:off x="7854254" y="1701541"/>
              <a:ext cx="416963" cy="614374"/>
            </a:xfrm>
            <a:custGeom>
              <a:avLst/>
              <a:gdLst>
                <a:gd name="T0" fmla="*/ 40 w 679"/>
                <a:gd name="T1" fmla="*/ 960 h 1000"/>
                <a:gd name="T2" fmla="*/ 640 w 679"/>
                <a:gd name="T3" fmla="*/ 960 h 1000"/>
                <a:gd name="T4" fmla="*/ 640 w 679"/>
                <a:gd name="T5" fmla="*/ 40 h 1000"/>
                <a:gd name="T6" fmla="*/ 188 w 679"/>
                <a:gd name="T7" fmla="*/ 40 h 1000"/>
                <a:gd name="T8" fmla="*/ 40 w 679"/>
                <a:gd name="T9" fmla="*/ 189 h 1000"/>
                <a:gd name="T10" fmla="*/ 40 w 679"/>
                <a:gd name="T11" fmla="*/ 960 h 1000"/>
                <a:gd name="T12" fmla="*/ 660 w 679"/>
                <a:gd name="T13" fmla="*/ 1000 h 1000"/>
                <a:gd name="T14" fmla="*/ 20 w 679"/>
                <a:gd name="T15" fmla="*/ 1000 h 1000"/>
                <a:gd name="T16" fmla="*/ 16 w 679"/>
                <a:gd name="T17" fmla="*/ 999 h 1000"/>
                <a:gd name="T18" fmla="*/ 13 w 679"/>
                <a:gd name="T19" fmla="*/ 999 h 1000"/>
                <a:gd name="T20" fmla="*/ 9 w 679"/>
                <a:gd name="T21" fmla="*/ 996 h 1000"/>
                <a:gd name="T22" fmla="*/ 6 w 679"/>
                <a:gd name="T23" fmla="*/ 994 h 1000"/>
                <a:gd name="T24" fmla="*/ 4 w 679"/>
                <a:gd name="T25" fmla="*/ 991 h 1000"/>
                <a:gd name="T26" fmla="*/ 1 w 679"/>
                <a:gd name="T27" fmla="*/ 988 h 1000"/>
                <a:gd name="T28" fmla="*/ 0 w 679"/>
                <a:gd name="T29" fmla="*/ 984 h 1000"/>
                <a:gd name="T30" fmla="*/ 0 w 679"/>
                <a:gd name="T31" fmla="*/ 980 h 1000"/>
                <a:gd name="T32" fmla="*/ 0 w 679"/>
                <a:gd name="T33" fmla="*/ 180 h 1000"/>
                <a:gd name="T34" fmla="*/ 0 w 679"/>
                <a:gd name="T35" fmla="*/ 176 h 1000"/>
                <a:gd name="T36" fmla="*/ 1 w 679"/>
                <a:gd name="T37" fmla="*/ 173 h 1000"/>
                <a:gd name="T38" fmla="*/ 4 w 679"/>
                <a:gd name="T39" fmla="*/ 169 h 1000"/>
                <a:gd name="T40" fmla="*/ 6 w 679"/>
                <a:gd name="T41" fmla="*/ 165 h 1000"/>
                <a:gd name="T42" fmla="*/ 165 w 679"/>
                <a:gd name="T43" fmla="*/ 6 h 1000"/>
                <a:gd name="T44" fmla="*/ 169 w 679"/>
                <a:gd name="T45" fmla="*/ 4 h 1000"/>
                <a:gd name="T46" fmla="*/ 173 w 679"/>
                <a:gd name="T47" fmla="*/ 1 h 1000"/>
                <a:gd name="T48" fmla="*/ 176 w 679"/>
                <a:gd name="T49" fmla="*/ 0 h 1000"/>
                <a:gd name="T50" fmla="*/ 180 w 679"/>
                <a:gd name="T51" fmla="*/ 0 h 1000"/>
                <a:gd name="T52" fmla="*/ 660 w 679"/>
                <a:gd name="T53" fmla="*/ 0 h 1000"/>
                <a:gd name="T54" fmla="*/ 663 w 679"/>
                <a:gd name="T55" fmla="*/ 0 h 1000"/>
                <a:gd name="T56" fmla="*/ 667 w 679"/>
                <a:gd name="T57" fmla="*/ 1 h 1000"/>
                <a:gd name="T58" fmla="*/ 671 w 679"/>
                <a:gd name="T59" fmla="*/ 4 h 1000"/>
                <a:gd name="T60" fmla="*/ 673 w 679"/>
                <a:gd name="T61" fmla="*/ 6 h 1000"/>
                <a:gd name="T62" fmla="*/ 676 w 679"/>
                <a:gd name="T63" fmla="*/ 9 h 1000"/>
                <a:gd name="T64" fmla="*/ 678 w 679"/>
                <a:gd name="T65" fmla="*/ 12 h 1000"/>
                <a:gd name="T66" fmla="*/ 679 w 679"/>
                <a:gd name="T67" fmla="*/ 16 h 1000"/>
                <a:gd name="T68" fmla="*/ 679 w 679"/>
                <a:gd name="T69" fmla="*/ 20 h 1000"/>
                <a:gd name="T70" fmla="*/ 679 w 679"/>
                <a:gd name="T71" fmla="*/ 980 h 1000"/>
                <a:gd name="T72" fmla="*/ 679 w 679"/>
                <a:gd name="T73" fmla="*/ 984 h 1000"/>
                <a:gd name="T74" fmla="*/ 678 w 679"/>
                <a:gd name="T75" fmla="*/ 988 h 1000"/>
                <a:gd name="T76" fmla="*/ 676 w 679"/>
                <a:gd name="T77" fmla="*/ 991 h 1000"/>
                <a:gd name="T78" fmla="*/ 673 w 679"/>
                <a:gd name="T79" fmla="*/ 994 h 1000"/>
                <a:gd name="T80" fmla="*/ 671 w 679"/>
                <a:gd name="T81" fmla="*/ 996 h 1000"/>
                <a:gd name="T82" fmla="*/ 667 w 679"/>
                <a:gd name="T83" fmla="*/ 999 h 1000"/>
                <a:gd name="T84" fmla="*/ 663 w 679"/>
                <a:gd name="T85" fmla="*/ 999 h 1000"/>
                <a:gd name="T86" fmla="*/ 660 w 679"/>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9" h="1000">
                  <a:moveTo>
                    <a:pt x="40" y="960"/>
                  </a:moveTo>
                  <a:lnTo>
                    <a:pt x="640" y="960"/>
                  </a:lnTo>
                  <a:lnTo>
                    <a:pt x="640" y="40"/>
                  </a:lnTo>
                  <a:lnTo>
                    <a:pt x="188" y="40"/>
                  </a:lnTo>
                  <a:lnTo>
                    <a:pt x="40" y="189"/>
                  </a:lnTo>
                  <a:lnTo>
                    <a:pt x="40" y="960"/>
                  </a:lnTo>
                  <a:close/>
                  <a:moveTo>
                    <a:pt x="660" y="1000"/>
                  </a:moveTo>
                  <a:lnTo>
                    <a:pt x="20" y="1000"/>
                  </a:lnTo>
                  <a:lnTo>
                    <a:pt x="16" y="999"/>
                  </a:lnTo>
                  <a:lnTo>
                    <a:pt x="13" y="999"/>
                  </a:lnTo>
                  <a:lnTo>
                    <a:pt x="9" y="996"/>
                  </a:lnTo>
                  <a:lnTo>
                    <a:pt x="6" y="994"/>
                  </a:lnTo>
                  <a:lnTo>
                    <a:pt x="4" y="991"/>
                  </a:lnTo>
                  <a:lnTo>
                    <a:pt x="1" y="988"/>
                  </a:lnTo>
                  <a:lnTo>
                    <a:pt x="0" y="984"/>
                  </a:lnTo>
                  <a:lnTo>
                    <a:pt x="0" y="980"/>
                  </a:lnTo>
                  <a:lnTo>
                    <a:pt x="0" y="180"/>
                  </a:lnTo>
                  <a:lnTo>
                    <a:pt x="0" y="176"/>
                  </a:lnTo>
                  <a:lnTo>
                    <a:pt x="1" y="173"/>
                  </a:lnTo>
                  <a:lnTo>
                    <a:pt x="4" y="169"/>
                  </a:lnTo>
                  <a:lnTo>
                    <a:pt x="6" y="165"/>
                  </a:lnTo>
                  <a:lnTo>
                    <a:pt x="165" y="6"/>
                  </a:lnTo>
                  <a:lnTo>
                    <a:pt x="169" y="4"/>
                  </a:lnTo>
                  <a:lnTo>
                    <a:pt x="173" y="1"/>
                  </a:lnTo>
                  <a:lnTo>
                    <a:pt x="176" y="0"/>
                  </a:lnTo>
                  <a:lnTo>
                    <a:pt x="180" y="0"/>
                  </a:lnTo>
                  <a:lnTo>
                    <a:pt x="660" y="0"/>
                  </a:lnTo>
                  <a:lnTo>
                    <a:pt x="663" y="0"/>
                  </a:lnTo>
                  <a:lnTo>
                    <a:pt x="667" y="1"/>
                  </a:lnTo>
                  <a:lnTo>
                    <a:pt x="671" y="4"/>
                  </a:lnTo>
                  <a:lnTo>
                    <a:pt x="673" y="6"/>
                  </a:lnTo>
                  <a:lnTo>
                    <a:pt x="676" y="9"/>
                  </a:lnTo>
                  <a:lnTo>
                    <a:pt x="678" y="12"/>
                  </a:lnTo>
                  <a:lnTo>
                    <a:pt x="679" y="16"/>
                  </a:lnTo>
                  <a:lnTo>
                    <a:pt x="679" y="20"/>
                  </a:lnTo>
                  <a:lnTo>
                    <a:pt x="679" y="980"/>
                  </a:lnTo>
                  <a:lnTo>
                    <a:pt x="679" y="984"/>
                  </a:lnTo>
                  <a:lnTo>
                    <a:pt x="678" y="988"/>
                  </a:lnTo>
                  <a:lnTo>
                    <a:pt x="676" y="991"/>
                  </a:lnTo>
                  <a:lnTo>
                    <a:pt x="673" y="994"/>
                  </a:lnTo>
                  <a:lnTo>
                    <a:pt x="671" y="996"/>
                  </a:lnTo>
                  <a:lnTo>
                    <a:pt x="667" y="999"/>
                  </a:lnTo>
                  <a:lnTo>
                    <a:pt x="663" y="999"/>
                  </a:lnTo>
                  <a:lnTo>
                    <a:pt x="660"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9">
              <a:extLst>
                <a:ext uri="{FF2B5EF4-FFF2-40B4-BE49-F238E27FC236}">
                  <a16:creationId xmlns:a16="http://schemas.microsoft.com/office/drawing/2014/main" id="{C8BCEBBC-38F5-4B13-A878-1C0F4DF3CCEB}"/>
                </a:ext>
              </a:extLst>
            </p:cNvPr>
            <p:cNvSpPr>
              <a:spLocks/>
            </p:cNvSpPr>
            <p:nvPr/>
          </p:nvSpPr>
          <p:spPr bwMode="auto">
            <a:xfrm>
              <a:off x="7854254" y="1701541"/>
              <a:ext cx="123613" cy="123613"/>
            </a:xfrm>
            <a:custGeom>
              <a:avLst/>
              <a:gdLst>
                <a:gd name="T0" fmla="*/ 180 w 200"/>
                <a:gd name="T1" fmla="*/ 200 h 200"/>
                <a:gd name="T2" fmla="*/ 20 w 200"/>
                <a:gd name="T3" fmla="*/ 200 h 200"/>
                <a:gd name="T4" fmla="*/ 16 w 200"/>
                <a:gd name="T5" fmla="*/ 200 h 200"/>
                <a:gd name="T6" fmla="*/ 13 w 200"/>
                <a:gd name="T7" fmla="*/ 199 h 200"/>
                <a:gd name="T8" fmla="*/ 9 w 200"/>
                <a:gd name="T9" fmla="*/ 196 h 200"/>
                <a:gd name="T10" fmla="*/ 6 w 200"/>
                <a:gd name="T11" fmla="*/ 194 h 200"/>
                <a:gd name="T12" fmla="*/ 4 w 200"/>
                <a:gd name="T13" fmla="*/ 191 h 200"/>
                <a:gd name="T14" fmla="*/ 1 w 200"/>
                <a:gd name="T15" fmla="*/ 188 h 200"/>
                <a:gd name="T16" fmla="*/ 0 w 200"/>
                <a:gd name="T17" fmla="*/ 184 h 200"/>
                <a:gd name="T18" fmla="*/ 0 w 200"/>
                <a:gd name="T19" fmla="*/ 180 h 200"/>
                <a:gd name="T20" fmla="*/ 0 w 200"/>
                <a:gd name="T21" fmla="*/ 176 h 200"/>
                <a:gd name="T22" fmla="*/ 1 w 200"/>
                <a:gd name="T23" fmla="*/ 173 h 200"/>
                <a:gd name="T24" fmla="*/ 4 w 200"/>
                <a:gd name="T25" fmla="*/ 169 h 200"/>
                <a:gd name="T26" fmla="*/ 6 w 200"/>
                <a:gd name="T27" fmla="*/ 165 h 200"/>
                <a:gd name="T28" fmla="*/ 9 w 200"/>
                <a:gd name="T29" fmla="*/ 164 h 200"/>
                <a:gd name="T30" fmla="*/ 13 w 200"/>
                <a:gd name="T31" fmla="*/ 162 h 200"/>
                <a:gd name="T32" fmla="*/ 16 w 200"/>
                <a:gd name="T33" fmla="*/ 160 h 200"/>
                <a:gd name="T34" fmla="*/ 20 w 200"/>
                <a:gd name="T35" fmla="*/ 160 h 200"/>
                <a:gd name="T36" fmla="*/ 160 w 200"/>
                <a:gd name="T37" fmla="*/ 160 h 200"/>
                <a:gd name="T38" fmla="*/ 160 w 200"/>
                <a:gd name="T39" fmla="*/ 20 h 200"/>
                <a:gd name="T40" fmla="*/ 160 w 200"/>
                <a:gd name="T41" fmla="*/ 16 h 200"/>
                <a:gd name="T42" fmla="*/ 162 w 200"/>
                <a:gd name="T43" fmla="*/ 12 h 200"/>
                <a:gd name="T44" fmla="*/ 163 w 200"/>
                <a:gd name="T45" fmla="*/ 9 h 200"/>
                <a:gd name="T46" fmla="*/ 165 w 200"/>
                <a:gd name="T47" fmla="*/ 6 h 200"/>
                <a:gd name="T48" fmla="*/ 169 w 200"/>
                <a:gd name="T49" fmla="*/ 4 h 200"/>
                <a:gd name="T50" fmla="*/ 171 w 200"/>
                <a:gd name="T51" fmla="*/ 1 h 200"/>
                <a:gd name="T52" fmla="*/ 175 w 200"/>
                <a:gd name="T53" fmla="*/ 0 h 200"/>
                <a:gd name="T54" fmla="*/ 180 w 200"/>
                <a:gd name="T55" fmla="*/ 0 h 200"/>
                <a:gd name="T56" fmla="*/ 184 w 200"/>
                <a:gd name="T57" fmla="*/ 0 h 200"/>
                <a:gd name="T58" fmla="*/ 188 w 200"/>
                <a:gd name="T59" fmla="*/ 1 h 200"/>
                <a:gd name="T60" fmla="*/ 191 w 200"/>
                <a:gd name="T61" fmla="*/ 4 h 200"/>
                <a:gd name="T62" fmla="*/ 194 w 200"/>
                <a:gd name="T63" fmla="*/ 6 h 200"/>
                <a:gd name="T64" fmla="*/ 196 w 200"/>
                <a:gd name="T65" fmla="*/ 9 h 200"/>
                <a:gd name="T66" fmla="*/ 199 w 200"/>
                <a:gd name="T67" fmla="*/ 12 h 200"/>
                <a:gd name="T68" fmla="*/ 199 w 200"/>
                <a:gd name="T69" fmla="*/ 16 h 200"/>
                <a:gd name="T70" fmla="*/ 200 w 200"/>
                <a:gd name="T71" fmla="*/ 20 h 200"/>
                <a:gd name="T72" fmla="*/ 200 w 200"/>
                <a:gd name="T73" fmla="*/ 180 h 200"/>
                <a:gd name="T74" fmla="*/ 199 w 200"/>
                <a:gd name="T75" fmla="*/ 184 h 200"/>
                <a:gd name="T76" fmla="*/ 199 w 200"/>
                <a:gd name="T77" fmla="*/ 188 h 200"/>
                <a:gd name="T78" fmla="*/ 196 w 200"/>
                <a:gd name="T79" fmla="*/ 191 h 200"/>
                <a:gd name="T80" fmla="*/ 194 w 200"/>
                <a:gd name="T81" fmla="*/ 194 h 200"/>
                <a:gd name="T82" fmla="*/ 191 w 200"/>
                <a:gd name="T83" fmla="*/ 196 h 200"/>
                <a:gd name="T84" fmla="*/ 188 w 200"/>
                <a:gd name="T85" fmla="*/ 199 h 200"/>
                <a:gd name="T86" fmla="*/ 184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3" y="199"/>
                  </a:lnTo>
                  <a:lnTo>
                    <a:pt x="9" y="196"/>
                  </a:lnTo>
                  <a:lnTo>
                    <a:pt x="6" y="194"/>
                  </a:lnTo>
                  <a:lnTo>
                    <a:pt x="4" y="191"/>
                  </a:lnTo>
                  <a:lnTo>
                    <a:pt x="1" y="188"/>
                  </a:lnTo>
                  <a:lnTo>
                    <a:pt x="0" y="184"/>
                  </a:lnTo>
                  <a:lnTo>
                    <a:pt x="0" y="180"/>
                  </a:lnTo>
                  <a:lnTo>
                    <a:pt x="0" y="176"/>
                  </a:lnTo>
                  <a:lnTo>
                    <a:pt x="1" y="173"/>
                  </a:lnTo>
                  <a:lnTo>
                    <a:pt x="4" y="169"/>
                  </a:lnTo>
                  <a:lnTo>
                    <a:pt x="6" y="165"/>
                  </a:lnTo>
                  <a:lnTo>
                    <a:pt x="9" y="164"/>
                  </a:lnTo>
                  <a:lnTo>
                    <a:pt x="13" y="162"/>
                  </a:lnTo>
                  <a:lnTo>
                    <a:pt x="16" y="160"/>
                  </a:lnTo>
                  <a:lnTo>
                    <a:pt x="20" y="160"/>
                  </a:lnTo>
                  <a:lnTo>
                    <a:pt x="160" y="160"/>
                  </a:lnTo>
                  <a:lnTo>
                    <a:pt x="160" y="20"/>
                  </a:lnTo>
                  <a:lnTo>
                    <a:pt x="160" y="16"/>
                  </a:lnTo>
                  <a:lnTo>
                    <a:pt x="162" y="12"/>
                  </a:lnTo>
                  <a:lnTo>
                    <a:pt x="163" y="9"/>
                  </a:lnTo>
                  <a:lnTo>
                    <a:pt x="165" y="6"/>
                  </a:lnTo>
                  <a:lnTo>
                    <a:pt x="169" y="4"/>
                  </a:lnTo>
                  <a:lnTo>
                    <a:pt x="171" y="1"/>
                  </a:lnTo>
                  <a:lnTo>
                    <a:pt x="175" y="0"/>
                  </a:lnTo>
                  <a:lnTo>
                    <a:pt x="180" y="0"/>
                  </a:lnTo>
                  <a:lnTo>
                    <a:pt x="184" y="0"/>
                  </a:lnTo>
                  <a:lnTo>
                    <a:pt x="188" y="1"/>
                  </a:lnTo>
                  <a:lnTo>
                    <a:pt x="191" y="4"/>
                  </a:lnTo>
                  <a:lnTo>
                    <a:pt x="194" y="6"/>
                  </a:lnTo>
                  <a:lnTo>
                    <a:pt x="196" y="9"/>
                  </a:lnTo>
                  <a:lnTo>
                    <a:pt x="199" y="12"/>
                  </a:lnTo>
                  <a:lnTo>
                    <a:pt x="199" y="16"/>
                  </a:lnTo>
                  <a:lnTo>
                    <a:pt x="200" y="20"/>
                  </a:lnTo>
                  <a:lnTo>
                    <a:pt x="200" y="180"/>
                  </a:lnTo>
                  <a:lnTo>
                    <a:pt x="199" y="184"/>
                  </a:lnTo>
                  <a:lnTo>
                    <a:pt x="199" y="188"/>
                  </a:lnTo>
                  <a:lnTo>
                    <a:pt x="196" y="191"/>
                  </a:lnTo>
                  <a:lnTo>
                    <a:pt x="194" y="194"/>
                  </a:lnTo>
                  <a:lnTo>
                    <a:pt x="191" y="196"/>
                  </a:lnTo>
                  <a:lnTo>
                    <a:pt x="188" y="199"/>
                  </a:lnTo>
                  <a:lnTo>
                    <a:pt x="184"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94">
              <a:extLst>
                <a:ext uri="{FF2B5EF4-FFF2-40B4-BE49-F238E27FC236}">
                  <a16:creationId xmlns:a16="http://schemas.microsoft.com/office/drawing/2014/main" id="{B7E8A2EC-82D7-40A2-975B-9A429F0905A8}"/>
                </a:ext>
              </a:extLst>
            </p:cNvPr>
            <p:cNvSpPr>
              <a:spLocks noEditPoints="1"/>
            </p:cNvSpPr>
            <p:nvPr/>
          </p:nvSpPr>
          <p:spPr bwMode="auto">
            <a:xfrm>
              <a:off x="7977867" y="1849138"/>
              <a:ext cx="171582" cy="368994"/>
            </a:xfrm>
            <a:custGeom>
              <a:avLst/>
              <a:gdLst>
                <a:gd name="T0" fmla="*/ 240 w 279"/>
                <a:gd name="T1" fmla="*/ 560 h 600"/>
                <a:gd name="T2" fmla="*/ 163 w 279"/>
                <a:gd name="T3" fmla="*/ 312 h 600"/>
                <a:gd name="T4" fmla="*/ 160 w 279"/>
                <a:gd name="T5" fmla="*/ 300 h 600"/>
                <a:gd name="T6" fmla="*/ 163 w 279"/>
                <a:gd name="T7" fmla="*/ 289 h 600"/>
                <a:gd name="T8" fmla="*/ 240 w 279"/>
                <a:gd name="T9" fmla="*/ 40 h 600"/>
                <a:gd name="T10" fmla="*/ 40 w 279"/>
                <a:gd name="T11" fmla="*/ 174 h 600"/>
                <a:gd name="T12" fmla="*/ 119 w 279"/>
                <a:gd name="T13" fmla="*/ 294 h 600"/>
                <a:gd name="T14" fmla="*/ 119 w 279"/>
                <a:gd name="T15" fmla="*/ 305 h 600"/>
                <a:gd name="T16" fmla="*/ 40 w 279"/>
                <a:gd name="T17" fmla="*/ 426 h 600"/>
                <a:gd name="T18" fmla="*/ 260 w 279"/>
                <a:gd name="T19" fmla="*/ 600 h 600"/>
                <a:gd name="T20" fmla="*/ 16 w 279"/>
                <a:gd name="T21" fmla="*/ 600 h 600"/>
                <a:gd name="T22" fmla="*/ 9 w 279"/>
                <a:gd name="T23" fmla="*/ 596 h 600"/>
                <a:gd name="T24" fmla="*/ 4 w 279"/>
                <a:gd name="T25" fmla="*/ 591 h 600"/>
                <a:gd name="T26" fmla="*/ 0 w 279"/>
                <a:gd name="T27" fmla="*/ 584 h 600"/>
                <a:gd name="T28" fmla="*/ 0 w 279"/>
                <a:gd name="T29" fmla="*/ 420 h 600"/>
                <a:gd name="T30" fmla="*/ 3 w 279"/>
                <a:gd name="T31" fmla="*/ 409 h 600"/>
                <a:gd name="T32" fmla="*/ 4 w 279"/>
                <a:gd name="T33" fmla="*/ 191 h 600"/>
                <a:gd name="T34" fmla="*/ 0 w 279"/>
                <a:gd name="T35" fmla="*/ 180 h 600"/>
                <a:gd name="T36" fmla="*/ 0 w 279"/>
                <a:gd name="T37" fmla="*/ 16 h 600"/>
                <a:gd name="T38" fmla="*/ 4 w 279"/>
                <a:gd name="T39" fmla="*/ 8 h 600"/>
                <a:gd name="T40" fmla="*/ 9 w 279"/>
                <a:gd name="T41" fmla="*/ 4 h 600"/>
                <a:gd name="T42" fmla="*/ 16 w 279"/>
                <a:gd name="T43" fmla="*/ 0 h 600"/>
                <a:gd name="T44" fmla="*/ 260 w 279"/>
                <a:gd name="T45" fmla="*/ 0 h 600"/>
                <a:gd name="T46" fmla="*/ 267 w 279"/>
                <a:gd name="T47" fmla="*/ 1 h 600"/>
                <a:gd name="T48" fmla="*/ 273 w 279"/>
                <a:gd name="T49" fmla="*/ 6 h 600"/>
                <a:gd name="T50" fmla="*/ 278 w 279"/>
                <a:gd name="T51" fmla="*/ 12 h 600"/>
                <a:gd name="T52" fmla="*/ 279 w 279"/>
                <a:gd name="T53" fmla="*/ 20 h 600"/>
                <a:gd name="T54" fmla="*/ 278 w 279"/>
                <a:gd name="T55" fmla="*/ 186 h 600"/>
                <a:gd name="T56" fmla="*/ 204 w 279"/>
                <a:gd name="T57" fmla="*/ 300 h 600"/>
                <a:gd name="T58" fmla="*/ 278 w 279"/>
                <a:gd name="T59" fmla="*/ 415 h 600"/>
                <a:gd name="T60" fmla="*/ 279 w 279"/>
                <a:gd name="T61" fmla="*/ 580 h 600"/>
                <a:gd name="T62" fmla="*/ 278 w 279"/>
                <a:gd name="T63" fmla="*/ 587 h 600"/>
                <a:gd name="T64" fmla="*/ 273 w 279"/>
                <a:gd name="T65" fmla="*/ 594 h 600"/>
                <a:gd name="T66" fmla="*/ 267 w 279"/>
                <a:gd name="T67" fmla="*/ 599 h 600"/>
                <a:gd name="T68" fmla="*/ 260 w 279"/>
                <a:gd name="T69"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600">
                  <a:moveTo>
                    <a:pt x="40" y="560"/>
                  </a:moveTo>
                  <a:lnTo>
                    <a:pt x="240" y="560"/>
                  </a:lnTo>
                  <a:lnTo>
                    <a:pt x="240" y="426"/>
                  </a:lnTo>
                  <a:lnTo>
                    <a:pt x="163" y="312"/>
                  </a:lnTo>
                  <a:lnTo>
                    <a:pt x="160" y="305"/>
                  </a:lnTo>
                  <a:lnTo>
                    <a:pt x="160" y="300"/>
                  </a:lnTo>
                  <a:lnTo>
                    <a:pt x="160" y="294"/>
                  </a:lnTo>
                  <a:lnTo>
                    <a:pt x="163" y="289"/>
                  </a:lnTo>
                  <a:lnTo>
                    <a:pt x="240" y="174"/>
                  </a:lnTo>
                  <a:lnTo>
                    <a:pt x="240" y="40"/>
                  </a:lnTo>
                  <a:lnTo>
                    <a:pt x="40" y="40"/>
                  </a:lnTo>
                  <a:lnTo>
                    <a:pt x="40" y="174"/>
                  </a:lnTo>
                  <a:lnTo>
                    <a:pt x="117" y="289"/>
                  </a:lnTo>
                  <a:lnTo>
                    <a:pt x="119" y="294"/>
                  </a:lnTo>
                  <a:lnTo>
                    <a:pt x="119" y="300"/>
                  </a:lnTo>
                  <a:lnTo>
                    <a:pt x="119" y="305"/>
                  </a:lnTo>
                  <a:lnTo>
                    <a:pt x="117" y="312"/>
                  </a:lnTo>
                  <a:lnTo>
                    <a:pt x="40" y="426"/>
                  </a:lnTo>
                  <a:lnTo>
                    <a:pt x="40" y="560"/>
                  </a:lnTo>
                  <a:close/>
                  <a:moveTo>
                    <a:pt x="260" y="600"/>
                  </a:moveTo>
                  <a:lnTo>
                    <a:pt x="20" y="600"/>
                  </a:lnTo>
                  <a:lnTo>
                    <a:pt x="16" y="600"/>
                  </a:lnTo>
                  <a:lnTo>
                    <a:pt x="12" y="599"/>
                  </a:lnTo>
                  <a:lnTo>
                    <a:pt x="9" y="596"/>
                  </a:lnTo>
                  <a:lnTo>
                    <a:pt x="6" y="594"/>
                  </a:lnTo>
                  <a:lnTo>
                    <a:pt x="4" y="591"/>
                  </a:lnTo>
                  <a:lnTo>
                    <a:pt x="1" y="587"/>
                  </a:lnTo>
                  <a:lnTo>
                    <a:pt x="0" y="584"/>
                  </a:lnTo>
                  <a:lnTo>
                    <a:pt x="0" y="580"/>
                  </a:lnTo>
                  <a:lnTo>
                    <a:pt x="0" y="420"/>
                  </a:lnTo>
                  <a:lnTo>
                    <a:pt x="0" y="415"/>
                  </a:lnTo>
                  <a:lnTo>
                    <a:pt x="3" y="409"/>
                  </a:lnTo>
                  <a:lnTo>
                    <a:pt x="76" y="300"/>
                  </a:lnTo>
                  <a:lnTo>
                    <a:pt x="4" y="191"/>
                  </a:lnTo>
                  <a:lnTo>
                    <a:pt x="0" y="186"/>
                  </a:lnTo>
                  <a:lnTo>
                    <a:pt x="0" y="180"/>
                  </a:lnTo>
                  <a:lnTo>
                    <a:pt x="0" y="20"/>
                  </a:lnTo>
                  <a:lnTo>
                    <a:pt x="0" y="16"/>
                  </a:lnTo>
                  <a:lnTo>
                    <a:pt x="1" y="12"/>
                  </a:lnTo>
                  <a:lnTo>
                    <a:pt x="4" y="8"/>
                  </a:lnTo>
                  <a:lnTo>
                    <a:pt x="6" y="6"/>
                  </a:lnTo>
                  <a:lnTo>
                    <a:pt x="9" y="4"/>
                  </a:lnTo>
                  <a:lnTo>
                    <a:pt x="12" y="1"/>
                  </a:lnTo>
                  <a:lnTo>
                    <a:pt x="16" y="0"/>
                  </a:lnTo>
                  <a:lnTo>
                    <a:pt x="20" y="0"/>
                  </a:lnTo>
                  <a:lnTo>
                    <a:pt x="260" y="0"/>
                  </a:lnTo>
                  <a:lnTo>
                    <a:pt x="263" y="0"/>
                  </a:lnTo>
                  <a:lnTo>
                    <a:pt x="267" y="1"/>
                  </a:lnTo>
                  <a:lnTo>
                    <a:pt x="271" y="4"/>
                  </a:lnTo>
                  <a:lnTo>
                    <a:pt x="273" y="6"/>
                  </a:lnTo>
                  <a:lnTo>
                    <a:pt x="276" y="8"/>
                  </a:lnTo>
                  <a:lnTo>
                    <a:pt x="278" y="12"/>
                  </a:lnTo>
                  <a:lnTo>
                    <a:pt x="279" y="16"/>
                  </a:lnTo>
                  <a:lnTo>
                    <a:pt x="279" y="20"/>
                  </a:lnTo>
                  <a:lnTo>
                    <a:pt x="279" y="180"/>
                  </a:lnTo>
                  <a:lnTo>
                    <a:pt x="278" y="186"/>
                  </a:lnTo>
                  <a:lnTo>
                    <a:pt x="276" y="191"/>
                  </a:lnTo>
                  <a:lnTo>
                    <a:pt x="204" y="300"/>
                  </a:lnTo>
                  <a:lnTo>
                    <a:pt x="276" y="409"/>
                  </a:lnTo>
                  <a:lnTo>
                    <a:pt x="278" y="415"/>
                  </a:lnTo>
                  <a:lnTo>
                    <a:pt x="279" y="420"/>
                  </a:lnTo>
                  <a:lnTo>
                    <a:pt x="279" y="580"/>
                  </a:lnTo>
                  <a:lnTo>
                    <a:pt x="279" y="584"/>
                  </a:lnTo>
                  <a:lnTo>
                    <a:pt x="278" y="587"/>
                  </a:lnTo>
                  <a:lnTo>
                    <a:pt x="276" y="591"/>
                  </a:lnTo>
                  <a:lnTo>
                    <a:pt x="273" y="594"/>
                  </a:lnTo>
                  <a:lnTo>
                    <a:pt x="271" y="596"/>
                  </a:lnTo>
                  <a:lnTo>
                    <a:pt x="267" y="599"/>
                  </a:lnTo>
                  <a:lnTo>
                    <a:pt x="263" y="600"/>
                  </a:lnTo>
                  <a:lnTo>
                    <a:pt x="260"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95">
              <a:extLst>
                <a:ext uri="{FF2B5EF4-FFF2-40B4-BE49-F238E27FC236}">
                  <a16:creationId xmlns:a16="http://schemas.microsoft.com/office/drawing/2014/main" id="{8C1AF9DB-D267-412C-AC58-1FCB9185EA3C}"/>
                </a:ext>
              </a:extLst>
            </p:cNvPr>
            <p:cNvSpPr>
              <a:spLocks/>
            </p:cNvSpPr>
            <p:nvPr/>
          </p:nvSpPr>
          <p:spPr bwMode="auto">
            <a:xfrm>
              <a:off x="7977867" y="2144333"/>
              <a:ext cx="171582" cy="23985"/>
            </a:xfrm>
            <a:custGeom>
              <a:avLst/>
              <a:gdLst>
                <a:gd name="T0" fmla="*/ 260 w 279"/>
                <a:gd name="T1" fmla="*/ 41 h 41"/>
                <a:gd name="T2" fmla="*/ 20 w 279"/>
                <a:gd name="T3" fmla="*/ 41 h 41"/>
                <a:gd name="T4" fmla="*/ 16 w 279"/>
                <a:gd name="T5" fmla="*/ 40 h 41"/>
                <a:gd name="T6" fmla="*/ 12 w 279"/>
                <a:gd name="T7" fmla="*/ 39 h 41"/>
                <a:gd name="T8" fmla="*/ 9 w 279"/>
                <a:gd name="T9" fmla="*/ 38 h 41"/>
                <a:gd name="T10" fmla="*/ 6 w 279"/>
                <a:gd name="T11" fmla="*/ 35 h 41"/>
                <a:gd name="T12" fmla="*/ 4 w 279"/>
                <a:gd name="T13" fmla="*/ 33 h 41"/>
                <a:gd name="T14" fmla="*/ 1 w 279"/>
                <a:gd name="T15" fmla="*/ 29 h 41"/>
                <a:gd name="T16" fmla="*/ 0 w 279"/>
                <a:gd name="T17" fmla="*/ 25 h 41"/>
                <a:gd name="T18" fmla="*/ 0 w 279"/>
                <a:gd name="T19" fmla="*/ 21 h 41"/>
                <a:gd name="T20" fmla="*/ 0 w 279"/>
                <a:gd name="T21" fmla="*/ 16 h 41"/>
                <a:gd name="T22" fmla="*/ 1 w 279"/>
                <a:gd name="T23" fmla="*/ 13 h 41"/>
                <a:gd name="T24" fmla="*/ 4 w 279"/>
                <a:gd name="T25" fmla="*/ 10 h 41"/>
                <a:gd name="T26" fmla="*/ 6 w 279"/>
                <a:gd name="T27" fmla="*/ 7 h 41"/>
                <a:gd name="T28" fmla="*/ 9 w 279"/>
                <a:gd name="T29" fmla="*/ 4 h 41"/>
                <a:gd name="T30" fmla="*/ 12 w 279"/>
                <a:gd name="T31" fmla="*/ 3 h 41"/>
                <a:gd name="T32" fmla="*/ 16 w 279"/>
                <a:gd name="T33" fmla="*/ 2 h 41"/>
                <a:gd name="T34" fmla="*/ 20 w 279"/>
                <a:gd name="T35" fmla="*/ 0 h 41"/>
                <a:gd name="T36" fmla="*/ 260 w 279"/>
                <a:gd name="T37" fmla="*/ 0 h 41"/>
                <a:gd name="T38" fmla="*/ 263 w 279"/>
                <a:gd name="T39" fmla="*/ 2 h 41"/>
                <a:gd name="T40" fmla="*/ 267 w 279"/>
                <a:gd name="T41" fmla="*/ 3 h 41"/>
                <a:gd name="T42" fmla="*/ 271 w 279"/>
                <a:gd name="T43" fmla="*/ 4 h 41"/>
                <a:gd name="T44" fmla="*/ 273 w 279"/>
                <a:gd name="T45" fmla="*/ 7 h 41"/>
                <a:gd name="T46" fmla="*/ 276 w 279"/>
                <a:gd name="T47" fmla="*/ 10 h 41"/>
                <a:gd name="T48" fmla="*/ 278 w 279"/>
                <a:gd name="T49" fmla="*/ 13 h 41"/>
                <a:gd name="T50" fmla="*/ 279 w 279"/>
                <a:gd name="T51" fmla="*/ 16 h 41"/>
                <a:gd name="T52" fmla="*/ 279 w 279"/>
                <a:gd name="T53" fmla="*/ 21 h 41"/>
                <a:gd name="T54" fmla="*/ 279 w 279"/>
                <a:gd name="T55" fmla="*/ 25 h 41"/>
                <a:gd name="T56" fmla="*/ 278 w 279"/>
                <a:gd name="T57" fmla="*/ 29 h 41"/>
                <a:gd name="T58" fmla="*/ 276 w 279"/>
                <a:gd name="T59" fmla="*/ 33 h 41"/>
                <a:gd name="T60" fmla="*/ 273 w 279"/>
                <a:gd name="T61" fmla="*/ 35 h 41"/>
                <a:gd name="T62" fmla="*/ 271 w 279"/>
                <a:gd name="T63" fmla="*/ 38 h 41"/>
                <a:gd name="T64" fmla="*/ 267 w 279"/>
                <a:gd name="T65" fmla="*/ 39 h 41"/>
                <a:gd name="T66" fmla="*/ 263 w 279"/>
                <a:gd name="T67" fmla="*/ 40 h 41"/>
                <a:gd name="T68" fmla="*/ 260 w 279"/>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41">
                  <a:moveTo>
                    <a:pt x="260" y="41"/>
                  </a:moveTo>
                  <a:lnTo>
                    <a:pt x="20" y="41"/>
                  </a:lnTo>
                  <a:lnTo>
                    <a:pt x="16" y="40"/>
                  </a:lnTo>
                  <a:lnTo>
                    <a:pt x="12" y="39"/>
                  </a:lnTo>
                  <a:lnTo>
                    <a:pt x="9" y="38"/>
                  </a:lnTo>
                  <a:lnTo>
                    <a:pt x="6" y="35"/>
                  </a:lnTo>
                  <a:lnTo>
                    <a:pt x="4" y="33"/>
                  </a:lnTo>
                  <a:lnTo>
                    <a:pt x="1" y="29"/>
                  </a:lnTo>
                  <a:lnTo>
                    <a:pt x="0" y="25"/>
                  </a:lnTo>
                  <a:lnTo>
                    <a:pt x="0" y="21"/>
                  </a:lnTo>
                  <a:lnTo>
                    <a:pt x="0" y="16"/>
                  </a:lnTo>
                  <a:lnTo>
                    <a:pt x="1" y="13"/>
                  </a:lnTo>
                  <a:lnTo>
                    <a:pt x="4" y="10"/>
                  </a:lnTo>
                  <a:lnTo>
                    <a:pt x="6" y="7"/>
                  </a:lnTo>
                  <a:lnTo>
                    <a:pt x="9" y="4"/>
                  </a:lnTo>
                  <a:lnTo>
                    <a:pt x="12" y="3"/>
                  </a:lnTo>
                  <a:lnTo>
                    <a:pt x="16" y="2"/>
                  </a:lnTo>
                  <a:lnTo>
                    <a:pt x="20" y="0"/>
                  </a:lnTo>
                  <a:lnTo>
                    <a:pt x="260" y="0"/>
                  </a:lnTo>
                  <a:lnTo>
                    <a:pt x="263" y="2"/>
                  </a:lnTo>
                  <a:lnTo>
                    <a:pt x="267" y="3"/>
                  </a:lnTo>
                  <a:lnTo>
                    <a:pt x="271" y="4"/>
                  </a:lnTo>
                  <a:lnTo>
                    <a:pt x="273" y="7"/>
                  </a:lnTo>
                  <a:lnTo>
                    <a:pt x="276" y="10"/>
                  </a:lnTo>
                  <a:lnTo>
                    <a:pt x="278" y="13"/>
                  </a:lnTo>
                  <a:lnTo>
                    <a:pt x="279" y="16"/>
                  </a:lnTo>
                  <a:lnTo>
                    <a:pt x="279" y="21"/>
                  </a:lnTo>
                  <a:lnTo>
                    <a:pt x="279" y="25"/>
                  </a:lnTo>
                  <a:lnTo>
                    <a:pt x="278" y="29"/>
                  </a:lnTo>
                  <a:lnTo>
                    <a:pt x="276" y="33"/>
                  </a:lnTo>
                  <a:lnTo>
                    <a:pt x="273" y="35"/>
                  </a:lnTo>
                  <a:lnTo>
                    <a:pt x="271" y="38"/>
                  </a:lnTo>
                  <a:lnTo>
                    <a:pt x="267" y="39"/>
                  </a:lnTo>
                  <a:lnTo>
                    <a:pt x="263" y="40"/>
                  </a:lnTo>
                  <a:lnTo>
                    <a:pt x="26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96">
              <a:extLst>
                <a:ext uri="{FF2B5EF4-FFF2-40B4-BE49-F238E27FC236}">
                  <a16:creationId xmlns:a16="http://schemas.microsoft.com/office/drawing/2014/main" id="{3F22E23D-C307-49E7-B892-D42DE5E93B48}"/>
                </a:ext>
              </a:extLst>
            </p:cNvPr>
            <p:cNvSpPr>
              <a:spLocks/>
            </p:cNvSpPr>
            <p:nvPr/>
          </p:nvSpPr>
          <p:spPr bwMode="auto">
            <a:xfrm>
              <a:off x="7977867" y="1898953"/>
              <a:ext cx="171582" cy="23985"/>
            </a:xfrm>
            <a:custGeom>
              <a:avLst/>
              <a:gdLst>
                <a:gd name="T0" fmla="*/ 260 w 279"/>
                <a:gd name="T1" fmla="*/ 39 h 39"/>
                <a:gd name="T2" fmla="*/ 20 w 279"/>
                <a:gd name="T3" fmla="*/ 39 h 39"/>
                <a:gd name="T4" fmla="*/ 16 w 279"/>
                <a:gd name="T5" fmla="*/ 38 h 39"/>
                <a:gd name="T6" fmla="*/ 12 w 279"/>
                <a:gd name="T7" fmla="*/ 37 h 39"/>
                <a:gd name="T8" fmla="*/ 9 w 279"/>
                <a:gd name="T9" fmla="*/ 36 h 39"/>
                <a:gd name="T10" fmla="*/ 6 w 279"/>
                <a:gd name="T11" fmla="*/ 33 h 39"/>
                <a:gd name="T12" fmla="*/ 4 w 279"/>
                <a:gd name="T13" fmla="*/ 31 h 39"/>
                <a:gd name="T14" fmla="*/ 1 w 279"/>
                <a:gd name="T15" fmla="*/ 27 h 39"/>
                <a:gd name="T16" fmla="*/ 0 w 279"/>
                <a:gd name="T17" fmla="*/ 23 h 39"/>
                <a:gd name="T18" fmla="*/ 0 w 279"/>
                <a:gd name="T19" fmla="*/ 19 h 39"/>
                <a:gd name="T20" fmla="*/ 0 w 279"/>
                <a:gd name="T21" fmla="*/ 14 h 39"/>
                <a:gd name="T22" fmla="*/ 1 w 279"/>
                <a:gd name="T23" fmla="*/ 11 h 39"/>
                <a:gd name="T24" fmla="*/ 4 w 279"/>
                <a:gd name="T25" fmla="*/ 8 h 39"/>
                <a:gd name="T26" fmla="*/ 6 w 279"/>
                <a:gd name="T27" fmla="*/ 4 h 39"/>
                <a:gd name="T28" fmla="*/ 9 w 279"/>
                <a:gd name="T29" fmla="*/ 2 h 39"/>
                <a:gd name="T30" fmla="*/ 12 w 279"/>
                <a:gd name="T31" fmla="*/ 1 h 39"/>
                <a:gd name="T32" fmla="*/ 16 w 279"/>
                <a:gd name="T33" fmla="*/ 0 h 39"/>
                <a:gd name="T34" fmla="*/ 20 w 279"/>
                <a:gd name="T35" fmla="*/ 0 h 39"/>
                <a:gd name="T36" fmla="*/ 260 w 279"/>
                <a:gd name="T37" fmla="*/ 0 h 39"/>
                <a:gd name="T38" fmla="*/ 263 w 279"/>
                <a:gd name="T39" fmla="*/ 0 h 39"/>
                <a:gd name="T40" fmla="*/ 267 w 279"/>
                <a:gd name="T41" fmla="*/ 1 h 39"/>
                <a:gd name="T42" fmla="*/ 271 w 279"/>
                <a:gd name="T43" fmla="*/ 2 h 39"/>
                <a:gd name="T44" fmla="*/ 273 w 279"/>
                <a:gd name="T45" fmla="*/ 4 h 39"/>
                <a:gd name="T46" fmla="*/ 276 w 279"/>
                <a:gd name="T47" fmla="*/ 8 h 39"/>
                <a:gd name="T48" fmla="*/ 278 w 279"/>
                <a:gd name="T49" fmla="*/ 11 h 39"/>
                <a:gd name="T50" fmla="*/ 279 w 279"/>
                <a:gd name="T51" fmla="*/ 14 h 39"/>
                <a:gd name="T52" fmla="*/ 279 w 279"/>
                <a:gd name="T53" fmla="*/ 19 h 39"/>
                <a:gd name="T54" fmla="*/ 279 w 279"/>
                <a:gd name="T55" fmla="*/ 23 h 39"/>
                <a:gd name="T56" fmla="*/ 278 w 279"/>
                <a:gd name="T57" fmla="*/ 27 h 39"/>
                <a:gd name="T58" fmla="*/ 276 w 279"/>
                <a:gd name="T59" fmla="*/ 31 h 39"/>
                <a:gd name="T60" fmla="*/ 273 w 279"/>
                <a:gd name="T61" fmla="*/ 33 h 39"/>
                <a:gd name="T62" fmla="*/ 271 w 279"/>
                <a:gd name="T63" fmla="*/ 36 h 39"/>
                <a:gd name="T64" fmla="*/ 267 w 279"/>
                <a:gd name="T65" fmla="*/ 37 h 39"/>
                <a:gd name="T66" fmla="*/ 263 w 279"/>
                <a:gd name="T67" fmla="*/ 38 h 39"/>
                <a:gd name="T68" fmla="*/ 260 w 279"/>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9" h="39">
                  <a:moveTo>
                    <a:pt x="260" y="39"/>
                  </a:moveTo>
                  <a:lnTo>
                    <a:pt x="20" y="39"/>
                  </a:lnTo>
                  <a:lnTo>
                    <a:pt x="16" y="38"/>
                  </a:lnTo>
                  <a:lnTo>
                    <a:pt x="12" y="37"/>
                  </a:lnTo>
                  <a:lnTo>
                    <a:pt x="9" y="36"/>
                  </a:lnTo>
                  <a:lnTo>
                    <a:pt x="6" y="33"/>
                  </a:lnTo>
                  <a:lnTo>
                    <a:pt x="4" y="31"/>
                  </a:lnTo>
                  <a:lnTo>
                    <a:pt x="1" y="27"/>
                  </a:lnTo>
                  <a:lnTo>
                    <a:pt x="0" y="23"/>
                  </a:lnTo>
                  <a:lnTo>
                    <a:pt x="0" y="19"/>
                  </a:lnTo>
                  <a:lnTo>
                    <a:pt x="0" y="14"/>
                  </a:lnTo>
                  <a:lnTo>
                    <a:pt x="1" y="11"/>
                  </a:lnTo>
                  <a:lnTo>
                    <a:pt x="4" y="8"/>
                  </a:lnTo>
                  <a:lnTo>
                    <a:pt x="6" y="4"/>
                  </a:lnTo>
                  <a:lnTo>
                    <a:pt x="9" y="2"/>
                  </a:lnTo>
                  <a:lnTo>
                    <a:pt x="12" y="1"/>
                  </a:lnTo>
                  <a:lnTo>
                    <a:pt x="16" y="0"/>
                  </a:lnTo>
                  <a:lnTo>
                    <a:pt x="20" y="0"/>
                  </a:lnTo>
                  <a:lnTo>
                    <a:pt x="260" y="0"/>
                  </a:lnTo>
                  <a:lnTo>
                    <a:pt x="263" y="0"/>
                  </a:lnTo>
                  <a:lnTo>
                    <a:pt x="267" y="1"/>
                  </a:lnTo>
                  <a:lnTo>
                    <a:pt x="271" y="2"/>
                  </a:lnTo>
                  <a:lnTo>
                    <a:pt x="273" y="4"/>
                  </a:lnTo>
                  <a:lnTo>
                    <a:pt x="276" y="8"/>
                  </a:lnTo>
                  <a:lnTo>
                    <a:pt x="278" y="11"/>
                  </a:lnTo>
                  <a:lnTo>
                    <a:pt x="279" y="14"/>
                  </a:lnTo>
                  <a:lnTo>
                    <a:pt x="279" y="19"/>
                  </a:lnTo>
                  <a:lnTo>
                    <a:pt x="279" y="23"/>
                  </a:lnTo>
                  <a:lnTo>
                    <a:pt x="278" y="27"/>
                  </a:lnTo>
                  <a:lnTo>
                    <a:pt x="276" y="31"/>
                  </a:lnTo>
                  <a:lnTo>
                    <a:pt x="273" y="33"/>
                  </a:lnTo>
                  <a:lnTo>
                    <a:pt x="271" y="36"/>
                  </a:lnTo>
                  <a:lnTo>
                    <a:pt x="267" y="37"/>
                  </a:lnTo>
                  <a:lnTo>
                    <a:pt x="263" y="38"/>
                  </a:lnTo>
                  <a:lnTo>
                    <a:pt x="26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9" name="Group 36">
            <a:extLst>
              <a:ext uri="{FF2B5EF4-FFF2-40B4-BE49-F238E27FC236}">
                <a16:creationId xmlns:a16="http://schemas.microsoft.com/office/drawing/2014/main" id="{A7F101BE-92D6-4E85-9EB8-707B0ED8B062}"/>
              </a:ext>
            </a:extLst>
          </p:cNvPr>
          <p:cNvGrpSpPr>
            <a:grpSpLocks noChangeAspect="1"/>
          </p:cNvGrpSpPr>
          <p:nvPr/>
        </p:nvGrpSpPr>
        <p:grpSpPr>
          <a:xfrm>
            <a:off x="3650322" y="4345739"/>
            <a:ext cx="306484" cy="306484"/>
            <a:chOff x="885825" y="1925638"/>
            <a:chExt cx="287338" cy="287338"/>
          </a:xfrm>
          <a:solidFill>
            <a:schemeClr val="bg1"/>
          </a:solidFill>
          <a:effectLst/>
        </p:grpSpPr>
        <p:sp>
          <p:nvSpPr>
            <p:cNvPr id="410" name="Freeform 50">
              <a:extLst>
                <a:ext uri="{FF2B5EF4-FFF2-40B4-BE49-F238E27FC236}">
                  <a16:creationId xmlns:a16="http://schemas.microsoft.com/office/drawing/2014/main" id="{DFD17062-600A-4F53-A60B-4B775AA82DDD}"/>
                </a:ext>
              </a:extLst>
            </p:cNvPr>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51">
              <a:extLst>
                <a:ext uri="{FF2B5EF4-FFF2-40B4-BE49-F238E27FC236}">
                  <a16:creationId xmlns:a16="http://schemas.microsoft.com/office/drawing/2014/main" id="{3CA03942-3D88-4449-AE5A-D01639B5AC1B}"/>
                </a:ext>
              </a:extLst>
            </p:cNvPr>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52">
              <a:extLst>
                <a:ext uri="{FF2B5EF4-FFF2-40B4-BE49-F238E27FC236}">
                  <a16:creationId xmlns:a16="http://schemas.microsoft.com/office/drawing/2014/main" id="{1A4A5866-AB71-4ACF-B8B5-3ED945A0C527}"/>
                </a:ext>
              </a:extLst>
            </p:cNvPr>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53">
              <a:extLst>
                <a:ext uri="{FF2B5EF4-FFF2-40B4-BE49-F238E27FC236}">
                  <a16:creationId xmlns:a16="http://schemas.microsoft.com/office/drawing/2014/main" id="{4F7BAA9B-3EED-4BD9-A055-DB2CF7CC38F3}"/>
                </a:ext>
              </a:extLst>
            </p:cNvPr>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54">
              <a:extLst>
                <a:ext uri="{FF2B5EF4-FFF2-40B4-BE49-F238E27FC236}">
                  <a16:creationId xmlns:a16="http://schemas.microsoft.com/office/drawing/2014/main" id="{EBEA7174-0D27-4BFC-988A-407C8C1B9F8B}"/>
                </a:ext>
              </a:extLst>
            </p:cNvPr>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55">
              <a:extLst>
                <a:ext uri="{FF2B5EF4-FFF2-40B4-BE49-F238E27FC236}">
                  <a16:creationId xmlns:a16="http://schemas.microsoft.com/office/drawing/2014/main" id="{0229CA39-DD8E-494A-A830-4B1C51E03AB2}"/>
                </a:ext>
              </a:extLst>
            </p:cNvPr>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56">
              <a:extLst>
                <a:ext uri="{FF2B5EF4-FFF2-40B4-BE49-F238E27FC236}">
                  <a16:creationId xmlns:a16="http://schemas.microsoft.com/office/drawing/2014/main" id="{135FFA07-46C6-49B4-BBD5-E19419620A8C}"/>
                </a:ext>
              </a:extLst>
            </p:cNvPr>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2" name="Group 136">
            <a:extLst>
              <a:ext uri="{FF2B5EF4-FFF2-40B4-BE49-F238E27FC236}">
                <a16:creationId xmlns:a16="http://schemas.microsoft.com/office/drawing/2014/main" id="{F4F43B67-7386-40C7-9CCB-D24ECA72FF99}"/>
              </a:ext>
            </a:extLst>
          </p:cNvPr>
          <p:cNvGrpSpPr>
            <a:grpSpLocks noChangeAspect="1"/>
          </p:cNvGrpSpPr>
          <p:nvPr/>
        </p:nvGrpSpPr>
        <p:grpSpPr>
          <a:xfrm>
            <a:off x="4074887" y="4345739"/>
            <a:ext cx="224751" cy="306484"/>
            <a:chOff x="7634288" y="788988"/>
            <a:chExt cx="209550" cy="285750"/>
          </a:xfrm>
          <a:solidFill>
            <a:schemeClr val="bg1"/>
          </a:solidFill>
          <a:effectLst/>
        </p:grpSpPr>
        <p:sp>
          <p:nvSpPr>
            <p:cNvPr id="423" name="Freeform 163">
              <a:extLst>
                <a:ext uri="{FF2B5EF4-FFF2-40B4-BE49-F238E27FC236}">
                  <a16:creationId xmlns:a16="http://schemas.microsoft.com/office/drawing/2014/main" id="{4E0F19D2-6492-44C7-AB08-1B499D15699C}"/>
                </a:ext>
              </a:extLst>
            </p:cNvPr>
            <p:cNvSpPr>
              <a:spLocks noEditPoints="1"/>
            </p:cNvSpPr>
            <p:nvPr/>
          </p:nvSpPr>
          <p:spPr bwMode="auto">
            <a:xfrm>
              <a:off x="7634288" y="788988"/>
              <a:ext cx="209550" cy="285750"/>
            </a:xfrm>
            <a:custGeom>
              <a:avLst/>
              <a:gdLst>
                <a:gd name="T0" fmla="*/ 30 w 660"/>
                <a:gd name="T1" fmla="*/ 872 h 903"/>
                <a:gd name="T2" fmla="*/ 30 w 660"/>
                <a:gd name="T3" fmla="*/ 31 h 903"/>
                <a:gd name="T4" fmla="*/ 420 w 660"/>
                <a:gd name="T5" fmla="*/ 31 h 903"/>
                <a:gd name="T6" fmla="*/ 420 w 660"/>
                <a:gd name="T7" fmla="*/ 226 h 903"/>
                <a:gd name="T8" fmla="*/ 420 w 660"/>
                <a:gd name="T9" fmla="*/ 229 h 903"/>
                <a:gd name="T10" fmla="*/ 421 w 660"/>
                <a:gd name="T11" fmla="*/ 233 h 903"/>
                <a:gd name="T12" fmla="*/ 422 w 660"/>
                <a:gd name="T13" fmla="*/ 235 h 903"/>
                <a:gd name="T14" fmla="*/ 424 w 660"/>
                <a:gd name="T15" fmla="*/ 237 h 903"/>
                <a:gd name="T16" fmla="*/ 427 w 660"/>
                <a:gd name="T17" fmla="*/ 239 h 903"/>
                <a:gd name="T18" fmla="*/ 429 w 660"/>
                <a:gd name="T19" fmla="*/ 240 h 903"/>
                <a:gd name="T20" fmla="*/ 432 w 660"/>
                <a:gd name="T21" fmla="*/ 241 h 903"/>
                <a:gd name="T22" fmla="*/ 435 w 660"/>
                <a:gd name="T23" fmla="*/ 241 h 903"/>
                <a:gd name="T24" fmla="*/ 630 w 660"/>
                <a:gd name="T25" fmla="*/ 241 h 903"/>
                <a:gd name="T26" fmla="*/ 630 w 660"/>
                <a:gd name="T27" fmla="*/ 872 h 903"/>
                <a:gd name="T28" fmla="*/ 30 w 660"/>
                <a:gd name="T29" fmla="*/ 872 h 903"/>
                <a:gd name="T30" fmla="*/ 450 w 660"/>
                <a:gd name="T31" fmla="*/ 54 h 903"/>
                <a:gd name="T32" fmla="*/ 609 w 660"/>
                <a:gd name="T33" fmla="*/ 211 h 903"/>
                <a:gd name="T34" fmla="*/ 450 w 660"/>
                <a:gd name="T35" fmla="*/ 211 h 903"/>
                <a:gd name="T36" fmla="*/ 450 w 660"/>
                <a:gd name="T37" fmla="*/ 54 h 903"/>
                <a:gd name="T38" fmla="*/ 656 w 660"/>
                <a:gd name="T39" fmla="*/ 215 h 903"/>
                <a:gd name="T40" fmla="*/ 446 w 660"/>
                <a:gd name="T41" fmla="*/ 6 h 903"/>
                <a:gd name="T42" fmla="*/ 443 w 660"/>
                <a:gd name="T43" fmla="*/ 4 h 903"/>
                <a:gd name="T44" fmla="*/ 441 w 660"/>
                <a:gd name="T45" fmla="*/ 3 h 903"/>
                <a:gd name="T46" fmla="*/ 437 w 660"/>
                <a:gd name="T47" fmla="*/ 1 h 903"/>
                <a:gd name="T48" fmla="*/ 435 w 660"/>
                <a:gd name="T49" fmla="*/ 0 h 903"/>
                <a:gd name="T50" fmla="*/ 15 w 660"/>
                <a:gd name="T51" fmla="*/ 0 h 903"/>
                <a:gd name="T52" fmla="*/ 11 w 660"/>
                <a:gd name="T53" fmla="*/ 1 h 903"/>
                <a:gd name="T54" fmla="*/ 8 w 660"/>
                <a:gd name="T55" fmla="*/ 3 h 903"/>
                <a:gd name="T56" fmla="*/ 6 w 660"/>
                <a:gd name="T57" fmla="*/ 4 h 903"/>
                <a:gd name="T58" fmla="*/ 4 w 660"/>
                <a:gd name="T59" fmla="*/ 6 h 903"/>
                <a:gd name="T60" fmla="*/ 2 w 660"/>
                <a:gd name="T61" fmla="*/ 8 h 903"/>
                <a:gd name="T62" fmla="*/ 1 w 660"/>
                <a:gd name="T63" fmla="*/ 10 h 903"/>
                <a:gd name="T64" fmla="*/ 0 w 660"/>
                <a:gd name="T65" fmla="*/ 13 h 903"/>
                <a:gd name="T66" fmla="*/ 0 w 660"/>
                <a:gd name="T67" fmla="*/ 16 h 903"/>
                <a:gd name="T68" fmla="*/ 0 w 660"/>
                <a:gd name="T69" fmla="*/ 887 h 903"/>
                <a:gd name="T70" fmla="*/ 0 w 660"/>
                <a:gd name="T71" fmla="*/ 891 h 903"/>
                <a:gd name="T72" fmla="*/ 1 w 660"/>
                <a:gd name="T73" fmla="*/ 893 h 903"/>
                <a:gd name="T74" fmla="*/ 2 w 660"/>
                <a:gd name="T75" fmla="*/ 896 h 903"/>
                <a:gd name="T76" fmla="*/ 4 w 660"/>
                <a:gd name="T77" fmla="*/ 898 h 903"/>
                <a:gd name="T78" fmla="*/ 6 w 660"/>
                <a:gd name="T79" fmla="*/ 899 h 903"/>
                <a:gd name="T80" fmla="*/ 8 w 660"/>
                <a:gd name="T81" fmla="*/ 901 h 903"/>
                <a:gd name="T82" fmla="*/ 11 w 660"/>
                <a:gd name="T83" fmla="*/ 901 h 903"/>
                <a:gd name="T84" fmla="*/ 15 w 660"/>
                <a:gd name="T85" fmla="*/ 903 h 903"/>
                <a:gd name="T86" fmla="*/ 645 w 660"/>
                <a:gd name="T87" fmla="*/ 903 h 903"/>
                <a:gd name="T88" fmla="*/ 648 w 660"/>
                <a:gd name="T89" fmla="*/ 901 h 903"/>
                <a:gd name="T90" fmla="*/ 651 w 660"/>
                <a:gd name="T91" fmla="*/ 901 h 903"/>
                <a:gd name="T92" fmla="*/ 653 w 660"/>
                <a:gd name="T93" fmla="*/ 899 h 903"/>
                <a:gd name="T94" fmla="*/ 656 w 660"/>
                <a:gd name="T95" fmla="*/ 898 h 903"/>
                <a:gd name="T96" fmla="*/ 658 w 660"/>
                <a:gd name="T97" fmla="*/ 896 h 903"/>
                <a:gd name="T98" fmla="*/ 659 w 660"/>
                <a:gd name="T99" fmla="*/ 893 h 903"/>
                <a:gd name="T100" fmla="*/ 660 w 660"/>
                <a:gd name="T101" fmla="*/ 891 h 903"/>
                <a:gd name="T102" fmla="*/ 660 w 660"/>
                <a:gd name="T103" fmla="*/ 888 h 903"/>
                <a:gd name="T104" fmla="*/ 660 w 660"/>
                <a:gd name="T105" fmla="*/ 226 h 903"/>
                <a:gd name="T106" fmla="*/ 659 w 660"/>
                <a:gd name="T107" fmla="*/ 221 h 903"/>
                <a:gd name="T108" fmla="*/ 656 w 660"/>
                <a:gd name="T109" fmla="*/ 21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0" h="903">
                  <a:moveTo>
                    <a:pt x="30" y="872"/>
                  </a:moveTo>
                  <a:lnTo>
                    <a:pt x="30" y="31"/>
                  </a:lnTo>
                  <a:lnTo>
                    <a:pt x="420" y="31"/>
                  </a:lnTo>
                  <a:lnTo>
                    <a:pt x="420" y="226"/>
                  </a:lnTo>
                  <a:lnTo>
                    <a:pt x="420" y="229"/>
                  </a:lnTo>
                  <a:lnTo>
                    <a:pt x="421" y="233"/>
                  </a:lnTo>
                  <a:lnTo>
                    <a:pt x="422" y="235"/>
                  </a:lnTo>
                  <a:lnTo>
                    <a:pt x="424" y="237"/>
                  </a:lnTo>
                  <a:lnTo>
                    <a:pt x="427" y="239"/>
                  </a:lnTo>
                  <a:lnTo>
                    <a:pt x="429" y="240"/>
                  </a:lnTo>
                  <a:lnTo>
                    <a:pt x="432" y="241"/>
                  </a:lnTo>
                  <a:lnTo>
                    <a:pt x="435" y="241"/>
                  </a:lnTo>
                  <a:lnTo>
                    <a:pt x="630" y="241"/>
                  </a:lnTo>
                  <a:lnTo>
                    <a:pt x="630" y="872"/>
                  </a:lnTo>
                  <a:lnTo>
                    <a:pt x="30" y="872"/>
                  </a:lnTo>
                  <a:close/>
                  <a:moveTo>
                    <a:pt x="450" y="54"/>
                  </a:moveTo>
                  <a:lnTo>
                    <a:pt x="609" y="211"/>
                  </a:lnTo>
                  <a:lnTo>
                    <a:pt x="450" y="211"/>
                  </a:lnTo>
                  <a:lnTo>
                    <a:pt x="450" y="54"/>
                  </a:lnTo>
                  <a:close/>
                  <a:moveTo>
                    <a:pt x="656" y="215"/>
                  </a:moveTo>
                  <a:lnTo>
                    <a:pt x="446" y="6"/>
                  </a:lnTo>
                  <a:lnTo>
                    <a:pt x="443" y="4"/>
                  </a:lnTo>
                  <a:lnTo>
                    <a:pt x="441" y="3"/>
                  </a:lnTo>
                  <a:lnTo>
                    <a:pt x="437" y="1"/>
                  </a:lnTo>
                  <a:lnTo>
                    <a:pt x="435" y="0"/>
                  </a:lnTo>
                  <a:lnTo>
                    <a:pt x="15" y="0"/>
                  </a:lnTo>
                  <a:lnTo>
                    <a:pt x="11" y="1"/>
                  </a:lnTo>
                  <a:lnTo>
                    <a:pt x="8" y="3"/>
                  </a:lnTo>
                  <a:lnTo>
                    <a:pt x="6" y="4"/>
                  </a:lnTo>
                  <a:lnTo>
                    <a:pt x="4" y="6"/>
                  </a:lnTo>
                  <a:lnTo>
                    <a:pt x="2" y="8"/>
                  </a:lnTo>
                  <a:lnTo>
                    <a:pt x="1" y="10"/>
                  </a:lnTo>
                  <a:lnTo>
                    <a:pt x="0" y="13"/>
                  </a:lnTo>
                  <a:lnTo>
                    <a:pt x="0" y="16"/>
                  </a:lnTo>
                  <a:lnTo>
                    <a:pt x="0" y="887"/>
                  </a:lnTo>
                  <a:lnTo>
                    <a:pt x="0" y="891"/>
                  </a:lnTo>
                  <a:lnTo>
                    <a:pt x="1" y="893"/>
                  </a:lnTo>
                  <a:lnTo>
                    <a:pt x="2" y="896"/>
                  </a:lnTo>
                  <a:lnTo>
                    <a:pt x="4" y="898"/>
                  </a:lnTo>
                  <a:lnTo>
                    <a:pt x="6" y="899"/>
                  </a:lnTo>
                  <a:lnTo>
                    <a:pt x="8" y="901"/>
                  </a:lnTo>
                  <a:lnTo>
                    <a:pt x="11" y="901"/>
                  </a:lnTo>
                  <a:lnTo>
                    <a:pt x="15" y="903"/>
                  </a:lnTo>
                  <a:lnTo>
                    <a:pt x="645" y="903"/>
                  </a:lnTo>
                  <a:lnTo>
                    <a:pt x="648" y="901"/>
                  </a:lnTo>
                  <a:lnTo>
                    <a:pt x="651" y="901"/>
                  </a:lnTo>
                  <a:lnTo>
                    <a:pt x="653" y="899"/>
                  </a:lnTo>
                  <a:lnTo>
                    <a:pt x="656" y="898"/>
                  </a:lnTo>
                  <a:lnTo>
                    <a:pt x="658" y="896"/>
                  </a:lnTo>
                  <a:lnTo>
                    <a:pt x="659" y="893"/>
                  </a:lnTo>
                  <a:lnTo>
                    <a:pt x="660" y="891"/>
                  </a:lnTo>
                  <a:lnTo>
                    <a:pt x="660" y="888"/>
                  </a:lnTo>
                  <a:lnTo>
                    <a:pt x="660" y="226"/>
                  </a:lnTo>
                  <a:lnTo>
                    <a:pt x="659" y="221"/>
                  </a:lnTo>
                  <a:lnTo>
                    <a:pt x="656"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64">
              <a:extLst>
                <a:ext uri="{FF2B5EF4-FFF2-40B4-BE49-F238E27FC236}">
                  <a16:creationId xmlns:a16="http://schemas.microsoft.com/office/drawing/2014/main" id="{37BBF553-6ED6-4BEA-ACFB-6F52EBEF5873}"/>
                </a:ext>
              </a:extLst>
            </p:cNvPr>
            <p:cNvSpPr>
              <a:spLocks/>
            </p:cNvSpPr>
            <p:nvPr/>
          </p:nvSpPr>
          <p:spPr bwMode="auto">
            <a:xfrm>
              <a:off x="7683500" y="874713"/>
              <a:ext cx="63500" cy="9525"/>
            </a:xfrm>
            <a:custGeom>
              <a:avLst/>
              <a:gdLst>
                <a:gd name="T0" fmla="*/ 15 w 200"/>
                <a:gd name="T1" fmla="*/ 30 h 30"/>
                <a:gd name="T2" fmla="*/ 185 w 200"/>
                <a:gd name="T3" fmla="*/ 30 h 30"/>
                <a:gd name="T4" fmla="*/ 188 w 200"/>
                <a:gd name="T5" fmla="*/ 30 h 30"/>
                <a:gd name="T6" fmla="*/ 191 w 200"/>
                <a:gd name="T7" fmla="*/ 29 h 30"/>
                <a:gd name="T8" fmla="*/ 193 w 200"/>
                <a:gd name="T9" fmla="*/ 28 h 30"/>
                <a:gd name="T10" fmla="*/ 195 w 200"/>
                <a:gd name="T11" fmla="*/ 26 h 30"/>
                <a:gd name="T12" fmla="*/ 198 w 200"/>
                <a:gd name="T13" fmla="*/ 24 h 30"/>
                <a:gd name="T14" fmla="*/ 199 w 200"/>
                <a:gd name="T15" fmla="*/ 22 h 30"/>
                <a:gd name="T16" fmla="*/ 200 w 200"/>
                <a:gd name="T17" fmla="*/ 18 h 30"/>
                <a:gd name="T18" fmla="*/ 200 w 200"/>
                <a:gd name="T19" fmla="*/ 15 h 30"/>
                <a:gd name="T20" fmla="*/ 200 w 200"/>
                <a:gd name="T21" fmla="*/ 13 h 30"/>
                <a:gd name="T22" fmla="*/ 199 w 200"/>
                <a:gd name="T23" fmla="*/ 10 h 30"/>
                <a:gd name="T24" fmla="*/ 198 w 200"/>
                <a:gd name="T25" fmla="*/ 8 h 30"/>
                <a:gd name="T26" fmla="*/ 195 w 200"/>
                <a:gd name="T27" fmla="*/ 4 h 30"/>
                <a:gd name="T28" fmla="*/ 193 w 200"/>
                <a:gd name="T29" fmla="*/ 3 h 30"/>
                <a:gd name="T30" fmla="*/ 191 w 200"/>
                <a:gd name="T31" fmla="*/ 1 h 30"/>
                <a:gd name="T32" fmla="*/ 188 w 200"/>
                <a:gd name="T33" fmla="*/ 0 h 30"/>
                <a:gd name="T34" fmla="*/ 185 w 200"/>
                <a:gd name="T35" fmla="*/ 0 h 30"/>
                <a:gd name="T36" fmla="*/ 15 w 200"/>
                <a:gd name="T37" fmla="*/ 0 h 30"/>
                <a:gd name="T38" fmla="*/ 11 w 200"/>
                <a:gd name="T39" fmla="*/ 0 h 30"/>
                <a:gd name="T40" fmla="*/ 9 w 200"/>
                <a:gd name="T41" fmla="*/ 1 h 30"/>
                <a:gd name="T42" fmla="*/ 6 w 200"/>
                <a:gd name="T43" fmla="*/ 3 h 30"/>
                <a:gd name="T44" fmla="*/ 4 w 200"/>
                <a:gd name="T45" fmla="*/ 4 h 30"/>
                <a:gd name="T46" fmla="*/ 2 w 200"/>
                <a:gd name="T47" fmla="*/ 8 h 30"/>
                <a:gd name="T48" fmla="*/ 1 w 200"/>
                <a:gd name="T49" fmla="*/ 10 h 30"/>
                <a:gd name="T50" fmla="*/ 0 w 200"/>
                <a:gd name="T51" fmla="*/ 13 h 30"/>
                <a:gd name="T52" fmla="*/ 0 w 200"/>
                <a:gd name="T53" fmla="*/ 15 h 30"/>
                <a:gd name="T54" fmla="*/ 0 w 200"/>
                <a:gd name="T55" fmla="*/ 18 h 30"/>
                <a:gd name="T56" fmla="*/ 1 w 200"/>
                <a:gd name="T57" fmla="*/ 22 h 30"/>
                <a:gd name="T58" fmla="*/ 2 w 200"/>
                <a:gd name="T59" fmla="*/ 24 h 30"/>
                <a:gd name="T60" fmla="*/ 4 w 200"/>
                <a:gd name="T61" fmla="*/ 26 h 30"/>
                <a:gd name="T62" fmla="*/ 6 w 200"/>
                <a:gd name="T63" fmla="*/ 28 h 30"/>
                <a:gd name="T64" fmla="*/ 9 w 200"/>
                <a:gd name="T65" fmla="*/ 29 h 30"/>
                <a:gd name="T66" fmla="*/ 11 w 200"/>
                <a:gd name="T67" fmla="*/ 30 h 30"/>
                <a:gd name="T68" fmla="*/ 15 w 20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 h="30">
                  <a:moveTo>
                    <a:pt x="15" y="30"/>
                  </a:moveTo>
                  <a:lnTo>
                    <a:pt x="185" y="30"/>
                  </a:lnTo>
                  <a:lnTo>
                    <a:pt x="188" y="30"/>
                  </a:lnTo>
                  <a:lnTo>
                    <a:pt x="191" y="29"/>
                  </a:lnTo>
                  <a:lnTo>
                    <a:pt x="193" y="28"/>
                  </a:lnTo>
                  <a:lnTo>
                    <a:pt x="195" y="26"/>
                  </a:lnTo>
                  <a:lnTo>
                    <a:pt x="198" y="24"/>
                  </a:lnTo>
                  <a:lnTo>
                    <a:pt x="199" y="22"/>
                  </a:lnTo>
                  <a:lnTo>
                    <a:pt x="200" y="18"/>
                  </a:lnTo>
                  <a:lnTo>
                    <a:pt x="200" y="15"/>
                  </a:lnTo>
                  <a:lnTo>
                    <a:pt x="200" y="13"/>
                  </a:lnTo>
                  <a:lnTo>
                    <a:pt x="199" y="10"/>
                  </a:lnTo>
                  <a:lnTo>
                    <a:pt x="198" y="8"/>
                  </a:lnTo>
                  <a:lnTo>
                    <a:pt x="195" y="4"/>
                  </a:lnTo>
                  <a:lnTo>
                    <a:pt x="193" y="3"/>
                  </a:lnTo>
                  <a:lnTo>
                    <a:pt x="191" y="1"/>
                  </a:lnTo>
                  <a:lnTo>
                    <a:pt x="188" y="0"/>
                  </a:lnTo>
                  <a:lnTo>
                    <a:pt x="185" y="0"/>
                  </a:lnTo>
                  <a:lnTo>
                    <a:pt x="15" y="0"/>
                  </a:lnTo>
                  <a:lnTo>
                    <a:pt x="11" y="0"/>
                  </a:lnTo>
                  <a:lnTo>
                    <a:pt x="9" y="1"/>
                  </a:lnTo>
                  <a:lnTo>
                    <a:pt x="6" y="3"/>
                  </a:lnTo>
                  <a:lnTo>
                    <a:pt x="4" y="4"/>
                  </a:lnTo>
                  <a:lnTo>
                    <a:pt x="2" y="8"/>
                  </a:lnTo>
                  <a:lnTo>
                    <a:pt x="1" y="10"/>
                  </a:lnTo>
                  <a:lnTo>
                    <a:pt x="0" y="13"/>
                  </a:lnTo>
                  <a:lnTo>
                    <a:pt x="0" y="15"/>
                  </a:lnTo>
                  <a:lnTo>
                    <a:pt x="0" y="18"/>
                  </a:lnTo>
                  <a:lnTo>
                    <a:pt x="1" y="22"/>
                  </a:lnTo>
                  <a:lnTo>
                    <a:pt x="2" y="24"/>
                  </a:lnTo>
                  <a:lnTo>
                    <a:pt x="4" y="26"/>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165">
              <a:extLst>
                <a:ext uri="{FF2B5EF4-FFF2-40B4-BE49-F238E27FC236}">
                  <a16:creationId xmlns:a16="http://schemas.microsoft.com/office/drawing/2014/main" id="{26CBA846-D149-4E15-98F8-C846EA423BCF}"/>
                </a:ext>
              </a:extLst>
            </p:cNvPr>
            <p:cNvSpPr>
              <a:spLocks/>
            </p:cNvSpPr>
            <p:nvPr/>
          </p:nvSpPr>
          <p:spPr bwMode="auto">
            <a:xfrm>
              <a:off x="7683500" y="912813"/>
              <a:ext cx="117475" cy="9525"/>
            </a:xfrm>
            <a:custGeom>
              <a:avLst/>
              <a:gdLst>
                <a:gd name="T0" fmla="*/ 356 w 371"/>
                <a:gd name="T1" fmla="*/ 0 h 30"/>
                <a:gd name="T2" fmla="*/ 15 w 371"/>
                <a:gd name="T3" fmla="*/ 0 h 30"/>
                <a:gd name="T4" fmla="*/ 11 w 371"/>
                <a:gd name="T5" fmla="*/ 1 h 30"/>
                <a:gd name="T6" fmla="*/ 9 w 371"/>
                <a:gd name="T7" fmla="*/ 2 h 30"/>
                <a:gd name="T8" fmla="*/ 6 w 371"/>
                <a:gd name="T9" fmla="*/ 3 h 30"/>
                <a:gd name="T10" fmla="*/ 4 w 371"/>
                <a:gd name="T11" fmla="*/ 5 h 30"/>
                <a:gd name="T12" fmla="*/ 2 w 371"/>
                <a:gd name="T13" fmla="*/ 7 h 30"/>
                <a:gd name="T14" fmla="*/ 1 w 371"/>
                <a:gd name="T15" fmla="*/ 10 h 30"/>
                <a:gd name="T16" fmla="*/ 0 w 371"/>
                <a:gd name="T17" fmla="*/ 13 h 30"/>
                <a:gd name="T18" fmla="*/ 0 w 371"/>
                <a:gd name="T19" fmla="*/ 15 h 30"/>
                <a:gd name="T20" fmla="*/ 0 w 371"/>
                <a:gd name="T21" fmla="*/ 18 h 30"/>
                <a:gd name="T22" fmla="*/ 1 w 371"/>
                <a:gd name="T23" fmla="*/ 21 h 30"/>
                <a:gd name="T24" fmla="*/ 2 w 371"/>
                <a:gd name="T25" fmla="*/ 25 h 30"/>
                <a:gd name="T26" fmla="*/ 4 w 371"/>
                <a:gd name="T27" fmla="*/ 27 h 30"/>
                <a:gd name="T28" fmla="*/ 6 w 371"/>
                <a:gd name="T29" fmla="*/ 28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8 h 30"/>
                <a:gd name="T44" fmla="*/ 367 w 371"/>
                <a:gd name="T45" fmla="*/ 27 h 30"/>
                <a:gd name="T46" fmla="*/ 368 w 371"/>
                <a:gd name="T47" fmla="*/ 25 h 30"/>
                <a:gd name="T48" fmla="*/ 370 w 371"/>
                <a:gd name="T49" fmla="*/ 21 h 30"/>
                <a:gd name="T50" fmla="*/ 370 w 371"/>
                <a:gd name="T51" fmla="*/ 18 h 30"/>
                <a:gd name="T52" fmla="*/ 371 w 371"/>
                <a:gd name="T53" fmla="*/ 15 h 30"/>
                <a:gd name="T54" fmla="*/ 370 w 371"/>
                <a:gd name="T55" fmla="*/ 13 h 30"/>
                <a:gd name="T56" fmla="*/ 370 w 371"/>
                <a:gd name="T57" fmla="*/ 10 h 30"/>
                <a:gd name="T58" fmla="*/ 368 w 371"/>
                <a:gd name="T59" fmla="*/ 7 h 30"/>
                <a:gd name="T60" fmla="*/ 367 w 371"/>
                <a:gd name="T61" fmla="*/ 5 h 30"/>
                <a:gd name="T62" fmla="*/ 365 w 371"/>
                <a:gd name="T63" fmla="*/ 3 h 30"/>
                <a:gd name="T64" fmla="*/ 361 w 371"/>
                <a:gd name="T65" fmla="*/ 2 h 30"/>
                <a:gd name="T66" fmla="*/ 358 w 371"/>
                <a:gd name="T67" fmla="*/ 1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1"/>
                  </a:lnTo>
                  <a:lnTo>
                    <a:pt x="9" y="2"/>
                  </a:lnTo>
                  <a:lnTo>
                    <a:pt x="6" y="3"/>
                  </a:lnTo>
                  <a:lnTo>
                    <a:pt x="4" y="5"/>
                  </a:lnTo>
                  <a:lnTo>
                    <a:pt x="2" y="7"/>
                  </a:lnTo>
                  <a:lnTo>
                    <a:pt x="1" y="10"/>
                  </a:lnTo>
                  <a:lnTo>
                    <a:pt x="0" y="13"/>
                  </a:lnTo>
                  <a:lnTo>
                    <a:pt x="0" y="15"/>
                  </a:lnTo>
                  <a:lnTo>
                    <a:pt x="0" y="18"/>
                  </a:lnTo>
                  <a:lnTo>
                    <a:pt x="1" y="21"/>
                  </a:lnTo>
                  <a:lnTo>
                    <a:pt x="2" y="25"/>
                  </a:lnTo>
                  <a:lnTo>
                    <a:pt x="4" y="27"/>
                  </a:lnTo>
                  <a:lnTo>
                    <a:pt x="6" y="28"/>
                  </a:lnTo>
                  <a:lnTo>
                    <a:pt x="9" y="29"/>
                  </a:lnTo>
                  <a:lnTo>
                    <a:pt x="11" y="30"/>
                  </a:lnTo>
                  <a:lnTo>
                    <a:pt x="15" y="30"/>
                  </a:lnTo>
                  <a:lnTo>
                    <a:pt x="356" y="30"/>
                  </a:lnTo>
                  <a:lnTo>
                    <a:pt x="358" y="30"/>
                  </a:lnTo>
                  <a:lnTo>
                    <a:pt x="361" y="29"/>
                  </a:lnTo>
                  <a:lnTo>
                    <a:pt x="365" y="28"/>
                  </a:lnTo>
                  <a:lnTo>
                    <a:pt x="367" y="27"/>
                  </a:lnTo>
                  <a:lnTo>
                    <a:pt x="368" y="25"/>
                  </a:lnTo>
                  <a:lnTo>
                    <a:pt x="370" y="21"/>
                  </a:lnTo>
                  <a:lnTo>
                    <a:pt x="370" y="18"/>
                  </a:lnTo>
                  <a:lnTo>
                    <a:pt x="371" y="15"/>
                  </a:lnTo>
                  <a:lnTo>
                    <a:pt x="370" y="13"/>
                  </a:lnTo>
                  <a:lnTo>
                    <a:pt x="370" y="10"/>
                  </a:lnTo>
                  <a:lnTo>
                    <a:pt x="368" y="7"/>
                  </a:lnTo>
                  <a:lnTo>
                    <a:pt x="367" y="5"/>
                  </a:lnTo>
                  <a:lnTo>
                    <a:pt x="365" y="3"/>
                  </a:lnTo>
                  <a:lnTo>
                    <a:pt x="361" y="2"/>
                  </a:lnTo>
                  <a:lnTo>
                    <a:pt x="358"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66">
              <a:extLst>
                <a:ext uri="{FF2B5EF4-FFF2-40B4-BE49-F238E27FC236}">
                  <a16:creationId xmlns:a16="http://schemas.microsoft.com/office/drawing/2014/main" id="{B8F379EC-3FEC-49F1-8366-67A61FDA60D3}"/>
                </a:ext>
              </a:extLst>
            </p:cNvPr>
            <p:cNvSpPr>
              <a:spLocks/>
            </p:cNvSpPr>
            <p:nvPr/>
          </p:nvSpPr>
          <p:spPr bwMode="auto">
            <a:xfrm>
              <a:off x="7683500" y="950913"/>
              <a:ext cx="117475" cy="9525"/>
            </a:xfrm>
            <a:custGeom>
              <a:avLst/>
              <a:gdLst>
                <a:gd name="T0" fmla="*/ 356 w 371"/>
                <a:gd name="T1" fmla="*/ 0 h 30"/>
                <a:gd name="T2" fmla="*/ 15 w 371"/>
                <a:gd name="T3" fmla="*/ 0 h 30"/>
                <a:gd name="T4" fmla="*/ 11 w 371"/>
                <a:gd name="T5" fmla="*/ 0 h 30"/>
                <a:gd name="T6" fmla="*/ 9 w 371"/>
                <a:gd name="T7" fmla="*/ 1 h 30"/>
                <a:gd name="T8" fmla="*/ 6 w 371"/>
                <a:gd name="T9" fmla="*/ 2 h 30"/>
                <a:gd name="T10" fmla="*/ 4 w 371"/>
                <a:gd name="T11" fmla="*/ 4 h 30"/>
                <a:gd name="T12" fmla="*/ 2 w 371"/>
                <a:gd name="T13" fmla="*/ 6 h 30"/>
                <a:gd name="T14" fmla="*/ 1 w 371"/>
                <a:gd name="T15" fmla="*/ 10 h 30"/>
                <a:gd name="T16" fmla="*/ 0 w 371"/>
                <a:gd name="T17" fmla="*/ 12 h 30"/>
                <a:gd name="T18" fmla="*/ 0 w 371"/>
                <a:gd name="T19" fmla="*/ 15 h 30"/>
                <a:gd name="T20" fmla="*/ 0 w 371"/>
                <a:gd name="T21" fmla="*/ 18 h 30"/>
                <a:gd name="T22" fmla="*/ 1 w 371"/>
                <a:gd name="T23" fmla="*/ 20 h 30"/>
                <a:gd name="T24" fmla="*/ 2 w 371"/>
                <a:gd name="T25" fmla="*/ 23 h 30"/>
                <a:gd name="T26" fmla="*/ 4 w 371"/>
                <a:gd name="T27" fmla="*/ 26 h 30"/>
                <a:gd name="T28" fmla="*/ 6 w 371"/>
                <a:gd name="T29" fmla="*/ 27 h 30"/>
                <a:gd name="T30" fmla="*/ 9 w 371"/>
                <a:gd name="T31" fmla="*/ 29 h 30"/>
                <a:gd name="T32" fmla="*/ 11 w 371"/>
                <a:gd name="T33" fmla="*/ 29 h 30"/>
                <a:gd name="T34" fmla="*/ 15 w 371"/>
                <a:gd name="T35" fmla="*/ 30 h 30"/>
                <a:gd name="T36" fmla="*/ 356 w 371"/>
                <a:gd name="T37" fmla="*/ 30 h 30"/>
                <a:gd name="T38" fmla="*/ 358 w 371"/>
                <a:gd name="T39" fmla="*/ 29 h 30"/>
                <a:gd name="T40" fmla="*/ 361 w 371"/>
                <a:gd name="T41" fmla="*/ 29 h 30"/>
                <a:gd name="T42" fmla="*/ 365 w 371"/>
                <a:gd name="T43" fmla="*/ 27 h 30"/>
                <a:gd name="T44" fmla="*/ 367 w 371"/>
                <a:gd name="T45" fmla="*/ 26 h 30"/>
                <a:gd name="T46" fmla="*/ 368 w 371"/>
                <a:gd name="T47" fmla="*/ 23 h 30"/>
                <a:gd name="T48" fmla="*/ 370 w 371"/>
                <a:gd name="T49" fmla="*/ 20 h 30"/>
                <a:gd name="T50" fmla="*/ 370 w 371"/>
                <a:gd name="T51" fmla="*/ 18 h 30"/>
                <a:gd name="T52" fmla="*/ 371 w 371"/>
                <a:gd name="T53" fmla="*/ 15 h 30"/>
                <a:gd name="T54" fmla="*/ 370 w 371"/>
                <a:gd name="T55" fmla="*/ 12 h 30"/>
                <a:gd name="T56" fmla="*/ 370 w 371"/>
                <a:gd name="T57" fmla="*/ 10 h 30"/>
                <a:gd name="T58" fmla="*/ 368 w 371"/>
                <a:gd name="T59" fmla="*/ 6 h 30"/>
                <a:gd name="T60" fmla="*/ 367 w 371"/>
                <a:gd name="T61" fmla="*/ 4 h 30"/>
                <a:gd name="T62" fmla="*/ 365 w 371"/>
                <a:gd name="T63" fmla="*/ 2 h 30"/>
                <a:gd name="T64" fmla="*/ 361 w 371"/>
                <a:gd name="T65" fmla="*/ 1 h 30"/>
                <a:gd name="T66" fmla="*/ 358 w 371"/>
                <a:gd name="T67" fmla="*/ 0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0"/>
                  </a:lnTo>
                  <a:lnTo>
                    <a:pt x="9" y="1"/>
                  </a:lnTo>
                  <a:lnTo>
                    <a:pt x="6" y="2"/>
                  </a:lnTo>
                  <a:lnTo>
                    <a:pt x="4" y="4"/>
                  </a:lnTo>
                  <a:lnTo>
                    <a:pt x="2" y="6"/>
                  </a:lnTo>
                  <a:lnTo>
                    <a:pt x="1" y="10"/>
                  </a:lnTo>
                  <a:lnTo>
                    <a:pt x="0" y="12"/>
                  </a:lnTo>
                  <a:lnTo>
                    <a:pt x="0" y="15"/>
                  </a:lnTo>
                  <a:lnTo>
                    <a:pt x="0" y="18"/>
                  </a:lnTo>
                  <a:lnTo>
                    <a:pt x="1" y="20"/>
                  </a:lnTo>
                  <a:lnTo>
                    <a:pt x="2" y="23"/>
                  </a:lnTo>
                  <a:lnTo>
                    <a:pt x="4" y="26"/>
                  </a:lnTo>
                  <a:lnTo>
                    <a:pt x="6" y="27"/>
                  </a:lnTo>
                  <a:lnTo>
                    <a:pt x="9" y="29"/>
                  </a:lnTo>
                  <a:lnTo>
                    <a:pt x="11" y="29"/>
                  </a:lnTo>
                  <a:lnTo>
                    <a:pt x="15" y="30"/>
                  </a:lnTo>
                  <a:lnTo>
                    <a:pt x="356" y="30"/>
                  </a:lnTo>
                  <a:lnTo>
                    <a:pt x="358" y="29"/>
                  </a:lnTo>
                  <a:lnTo>
                    <a:pt x="361" y="29"/>
                  </a:lnTo>
                  <a:lnTo>
                    <a:pt x="365" y="27"/>
                  </a:lnTo>
                  <a:lnTo>
                    <a:pt x="367" y="26"/>
                  </a:lnTo>
                  <a:lnTo>
                    <a:pt x="368" y="23"/>
                  </a:lnTo>
                  <a:lnTo>
                    <a:pt x="370" y="20"/>
                  </a:lnTo>
                  <a:lnTo>
                    <a:pt x="370" y="18"/>
                  </a:lnTo>
                  <a:lnTo>
                    <a:pt x="371" y="15"/>
                  </a:lnTo>
                  <a:lnTo>
                    <a:pt x="370" y="12"/>
                  </a:lnTo>
                  <a:lnTo>
                    <a:pt x="370" y="10"/>
                  </a:lnTo>
                  <a:lnTo>
                    <a:pt x="368" y="6"/>
                  </a:lnTo>
                  <a:lnTo>
                    <a:pt x="367" y="4"/>
                  </a:lnTo>
                  <a:lnTo>
                    <a:pt x="365" y="2"/>
                  </a:lnTo>
                  <a:lnTo>
                    <a:pt x="361" y="1"/>
                  </a:lnTo>
                  <a:lnTo>
                    <a:pt x="358" y="0"/>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167">
              <a:extLst>
                <a:ext uri="{FF2B5EF4-FFF2-40B4-BE49-F238E27FC236}">
                  <a16:creationId xmlns:a16="http://schemas.microsoft.com/office/drawing/2014/main" id="{A9D2B11D-9AE2-48C4-A771-7A58CA275A17}"/>
                </a:ext>
              </a:extLst>
            </p:cNvPr>
            <p:cNvSpPr>
              <a:spLocks/>
            </p:cNvSpPr>
            <p:nvPr/>
          </p:nvSpPr>
          <p:spPr bwMode="auto">
            <a:xfrm>
              <a:off x="7683500" y="989013"/>
              <a:ext cx="117475" cy="9525"/>
            </a:xfrm>
            <a:custGeom>
              <a:avLst/>
              <a:gdLst>
                <a:gd name="T0" fmla="*/ 356 w 371"/>
                <a:gd name="T1" fmla="*/ 0 h 30"/>
                <a:gd name="T2" fmla="*/ 15 w 371"/>
                <a:gd name="T3" fmla="*/ 0 h 30"/>
                <a:gd name="T4" fmla="*/ 11 w 371"/>
                <a:gd name="T5" fmla="*/ 0 h 30"/>
                <a:gd name="T6" fmla="*/ 9 w 371"/>
                <a:gd name="T7" fmla="*/ 1 h 30"/>
                <a:gd name="T8" fmla="*/ 6 w 371"/>
                <a:gd name="T9" fmla="*/ 3 h 30"/>
                <a:gd name="T10" fmla="*/ 4 w 371"/>
                <a:gd name="T11" fmla="*/ 4 h 30"/>
                <a:gd name="T12" fmla="*/ 2 w 371"/>
                <a:gd name="T13" fmla="*/ 6 h 30"/>
                <a:gd name="T14" fmla="*/ 1 w 371"/>
                <a:gd name="T15" fmla="*/ 9 h 30"/>
                <a:gd name="T16" fmla="*/ 0 w 371"/>
                <a:gd name="T17" fmla="*/ 12 h 30"/>
                <a:gd name="T18" fmla="*/ 0 w 371"/>
                <a:gd name="T19" fmla="*/ 15 h 30"/>
                <a:gd name="T20" fmla="*/ 0 w 371"/>
                <a:gd name="T21" fmla="*/ 18 h 30"/>
                <a:gd name="T22" fmla="*/ 1 w 371"/>
                <a:gd name="T23" fmla="*/ 21 h 30"/>
                <a:gd name="T24" fmla="*/ 2 w 371"/>
                <a:gd name="T25" fmla="*/ 23 h 30"/>
                <a:gd name="T26" fmla="*/ 4 w 371"/>
                <a:gd name="T27" fmla="*/ 25 h 30"/>
                <a:gd name="T28" fmla="*/ 6 w 371"/>
                <a:gd name="T29" fmla="*/ 28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8 h 30"/>
                <a:gd name="T44" fmla="*/ 367 w 371"/>
                <a:gd name="T45" fmla="*/ 25 h 30"/>
                <a:gd name="T46" fmla="*/ 368 w 371"/>
                <a:gd name="T47" fmla="*/ 23 h 30"/>
                <a:gd name="T48" fmla="*/ 370 w 371"/>
                <a:gd name="T49" fmla="*/ 21 h 30"/>
                <a:gd name="T50" fmla="*/ 370 w 371"/>
                <a:gd name="T51" fmla="*/ 18 h 30"/>
                <a:gd name="T52" fmla="*/ 371 w 371"/>
                <a:gd name="T53" fmla="*/ 15 h 30"/>
                <a:gd name="T54" fmla="*/ 370 w 371"/>
                <a:gd name="T55" fmla="*/ 12 h 30"/>
                <a:gd name="T56" fmla="*/ 370 w 371"/>
                <a:gd name="T57" fmla="*/ 9 h 30"/>
                <a:gd name="T58" fmla="*/ 368 w 371"/>
                <a:gd name="T59" fmla="*/ 6 h 30"/>
                <a:gd name="T60" fmla="*/ 367 w 371"/>
                <a:gd name="T61" fmla="*/ 4 h 30"/>
                <a:gd name="T62" fmla="*/ 365 w 371"/>
                <a:gd name="T63" fmla="*/ 3 h 30"/>
                <a:gd name="T64" fmla="*/ 361 w 371"/>
                <a:gd name="T65" fmla="*/ 1 h 30"/>
                <a:gd name="T66" fmla="*/ 358 w 371"/>
                <a:gd name="T67" fmla="*/ 0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0"/>
                  </a:lnTo>
                  <a:lnTo>
                    <a:pt x="9" y="1"/>
                  </a:lnTo>
                  <a:lnTo>
                    <a:pt x="6" y="3"/>
                  </a:lnTo>
                  <a:lnTo>
                    <a:pt x="4" y="4"/>
                  </a:lnTo>
                  <a:lnTo>
                    <a:pt x="2" y="6"/>
                  </a:lnTo>
                  <a:lnTo>
                    <a:pt x="1" y="9"/>
                  </a:lnTo>
                  <a:lnTo>
                    <a:pt x="0" y="12"/>
                  </a:lnTo>
                  <a:lnTo>
                    <a:pt x="0" y="15"/>
                  </a:lnTo>
                  <a:lnTo>
                    <a:pt x="0" y="18"/>
                  </a:lnTo>
                  <a:lnTo>
                    <a:pt x="1" y="21"/>
                  </a:lnTo>
                  <a:lnTo>
                    <a:pt x="2" y="23"/>
                  </a:lnTo>
                  <a:lnTo>
                    <a:pt x="4" y="25"/>
                  </a:lnTo>
                  <a:lnTo>
                    <a:pt x="6" y="28"/>
                  </a:lnTo>
                  <a:lnTo>
                    <a:pt x="9" y="29"/>
                  </a:lnTo>
                  <a:lnTo>
                    <a:pt x="11" y="30"/>
                  </a:lnTo>
                  <a:lnTo>
                    <a:pt x="15" y="30"/>
                  </a:lnTo>
                  <a:lnTo>
                    <a:pt x="356" y="30"/>
                  </a:lnTo>
                  <a:lnTo>
                    <a:pt x="358" y="30"/>
                  </a:lnTo>
                  <a:lnTo>
                    <a:pt x="361" y="29"/>
                  </a:lnTo>
                  <a:lnTo>
                    <a:pt x="365" y="28"/>
                  </a:lnTo>
                  <a:lnTo>
                    <a:pt x="367" y="25"/>
                  </a:lnTo>
                  <a:lnTo>
                    <a:pt x="368" y="23"/>
                  </a:lnTo>
                  <a:lnTo>
                    <a:pt x="370" y="21"/>
                  </a:lnTo>
                  <a:lnTo>
                    <a:pt x="370" y="18"/>
                  </a:lnTo>
                  <a:lnTo>
                    <a:pt x="371" y="15"/>
                  </a:lnTo>
                  <a:lnTo>
                    <a:pt x="370" y="12"/>
                  </a:lnTo>
                  <a:lnTo>
                    <a:pt x="370" y="9"/>
                  </a:lnTo>
                  <a:lnTo>
                    <a:pt x="368" y="6"/>
                  </a:lnTo>
                  <a:lnTo>
                    <a:pt x="367" y="4"/>
                  </a:lnTo>
                  <a:lnTo>
                    <a:pt x="365" y="3"/>
                  </a:lnTo>
                  <a:lnTo>
                    <a:pt x="361" y="1"/>
                  </a:lnTo>
                  <a:lnTo>
                    <a:pt x="358" y="0"/>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68">
              <a:extLst>
                <a:ext uri="{FF2B5EF4-FFF2-40B4-BE49-F238E27FC236}">
                  <a16:creationId xmlns:a16="http://schemas.microsoft.com/office/drawing/2014/main" id="{B97F71CA-9602-4F20-9400-91E6E04B2010}"/>
                </a:ext>
              </a:extLst>
            </p:cNvPr>
            <p:cNvSpPr>
              <a:spLocks/>
            </p:cNvSpPr>
            <p:nvPr/>
          </p:nvSpPr>
          <p:spPr bwMode="auto">
            <a:xfrm>
              <a:off x="7683500" y="1027113"/>
              <a:ext cx="117475" cy="9525"/>
            </a:xfrm>
            <a:custGeom>
              <a:avLst/>
              <a:gdLst>
                <a:gd name="T0" fmla="*/ 356 w 371"/>
                <a:gd name="T1" fmla="*/ 0 h 30"/>
                <a:gd name="T2" fmla="*/ 15 w 371"/>
                <a:gd name="T3" fmla="*/ 0 h 30"/>
                <a:gd name="T4" fmla="*/ 11 w 371"/>
                <a:gd name="T5" fmla="*/ 1 h 30"/>
                <a:gd name="T6" fmla="*/ 9 w 371"/>
                <a:gd name="T7" fmla="*/ 1 h 30"/>
                <a:gd name="T8" fmla="*/ 6 w 371"/>
                <a:gd name="T9" fmla="*/ 3 h 30"/>
                <a:gd name="T10" fmla="*/ 4 w 371"/>
                <a:gd name="T11" fmla="*/ 5 h 30"/>
                <a:gd name="T12" fmla="*/ 2 w 371"/>
                <a:gd name="T13" fmla="*/ 7 h 30"/>
                <a:gd name="T14" fmla="*/ 1 w 371"/>
                <a:gd name="T15" fmla="*/ 9 h 30"/>
                <a:gd name="T16" fmla="*/ 0 w 371"/>
                <a:gd name="T17" fmla="*/ 13 h 30"/>
                <a:gd name="T18" fmla="*/ 0 w 371"/>
                <a:gd name="T19" fmla="*/ 15 h 30"/>
                <a:gd name="T20" fmla="*/ 0 w 371"/>
                <a:gd name="T21" fmla="*/ 18 h 30"/>
                <a:gd name="T22" fmla="*/ 1 w 371"/>
                <a:gd name="T23" fmla="*/ 21 h 30"/>
                <a:gd name="T24" fmla="*/ 2 w 371"/>
                <a:gd name="T25" fmla="*/ 23 h 30"/>
                <a:gd name="T26" fmla="*/ 4 w 371"/>
                <a:gd name="T27" fmla="*/ 25 h 30"/>
                <a:gd name="T28" fmla="*/ 6 w 371"/>
                <a:gd name="T29" fmla="*/ 27 h 30"/>
                <a:gd name="T30" fmla="*/ 9 w 371"/>
                <a:gd name="T31" fmla="*/ 29 h 30"/>
                <a:gd name="T32" fmla="*/ 11 w 371"/>
                <a:gd name="T33" fmla="*/ 30 h 30"/>
                <a:gd name="T34" fmla="*/ 15 w 371"/>
                <a:gd name="T35" fmla="*/ 30 h 30"/>
                <a:gd name="T36" fmla="*/ 356 w 371"/>
                <a:gd name="T37" fmla="*/ 30 h 30"/>
                <a:gd name="T38" fmla="*/ 358 w 371"/>
                <a:gd name="T39" fmla="*/ 30 h 30"/>
                <a:gd name="T40" fmla="*/ 361 w 371"/>
                <a:gd name="T41" fmla="*/ 29 h 30"/>
                <a:gd name="T42" fmla="*/ 365 w 371"/>
                <a:gd name="T43" fmla="*/ 27 h 30"/>
                <a:gd name="T44" fmla="*/ 367 w 371"/>
                <a:gd name="T45" fmla="*/ 25 h 30"/>
                <a:gd name="T46" fmla="*/ 368 w 371"/>
                <a:gd name="T47" fmla="*/ 23 h 30"/>
                <a:gd name="T48" fmla="*/ 370 w 371"/>
                <a:gd name="T49" fmla="*/ 21 h 30"/>
                <a:gd name="T50" fmla="*/ 370 w 371"/>
                <a:gd name="T51" fmla="*/ 18 h 30"/>
                <a:gd name="T52" fmla="*/ 371 w 371"/>
                <a:gd name="T53" fmla="*/ 15 h 30"/>
                <a:gd name="T54" fmla="*/ 370 w 371"/>
                <a:gd name="T55" fmla="*/ 13 h 30"/>
                <a:gd name="T56" fmla="*/ 370 w 371"/>
                <a:gd name="T57" fmla="*/ 9 h 30"/>
                <a:gd name="T58" fmla="*/ 368 w 371"/>
                <a:gd name="T59" fmla="*/ 7 h 30"/>
                <a:gd name="T60" fmla="*/ 367 w 371"/>
                <a:gd name="T61" fmla="*/ 5 h 30"/>
                <a:gd name="T62" fmla="*/ 365 w 371"/>
                <a:gd name="T63" fmla="*/ 3 h 30"/>
                <a:gd name="T64" fmla="*/ 361 w 371"/>
                <a:gd name="T65" fmla="*/ 1 h 30"/>
                <a:gd name="T66" fmla="*/ 358 w 371"/>
                <a:gd name="T67" fmla="*/ 1 h 30"/>
                <a:gd name="T68" fmla="*/ 356 w 37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1" h="30">
                  <a:moveTo>
                    <a:pt x="356" y="0"/>
                  </a:moveTo>
                  <a:lnTo>
                    <a:pt x="15" y="0"/>
                  </a:lnTo>
                  <a:lnTo>
                    <a:pt x="11" y="1"/>
                  </a:lnTo>
                  <a:lnTo>
                    <a:pt x="9" y="1"/>
                  </a:lnTo>
                  <a:lnTo>
                    <a:pt x="6" y="3"/>
                  </a:lnTo>
                  <a:lnTo>
                    <a:pt x="4" y="5"/>
                  </a:lnTo>
                  <a:lnTo>
                    <a:pt x="2" y="7"/>
                  </a:lnTo>
                  <a:lnTo>
                    <a:pt x="1" y="9"/>
                  </a:lnTo>
                  <a:lnTo>
                    <a:pt x="0" y="13"/>
                  </a:lnTo>
                  <a:lnTo>
                    <a:pt x="0" y="15"/>
                  </a:lnTo>
                  <a:lnTo>
                    <a:pt x="0" y="18"/>
                  </a:lnTo>
                  <a:lnTo>
                    <a:pt x="1" y="21"/>
                  </a:lnTo>
                  <a:lnTo>
                    <a:pt x="2" y="23"/>
                  </a:lnTo>
                  <a:lnTo>
                    <a:pt x="4" y="25"/>
                  </a:lnTo>
                  <a:lnTo>
                    <a:pt x="6" y="27"/>
                  </a:lnTo>
                  <a:lnTo>
                    <a:pt x="9" y="29"/>
                  </a:lnTo>
                  <a:lnTo>
                    <a:pt x="11" y="30"/>
                  </a:lnTo>
                  <a:lnTo>
                    <a:pt x="15" y="30"/>
                  </a:lnTo>
                  <a:lnTo>
                    <a:pt x="356" y="30"/>
                  </a:lnTo>
                  <a:lnTo>
                    <a:pt x="358" y="30"/>
                  </a:lnTo>
                  <a:lnTo>
                    <a:pt x="361" y="29"/>
                  </a:lnTo>
                  <a:lnTo>
                    <a:pt x="365" y="27"/>
                  </a:lnTo>
                  <a:lnTo>
                    <a:pt x="367" y="25"/>
                  </a:lnTo>
                  <a:lnTo>
                    <a:pt x="368" y="23"/>
                  </a:lnTo>
                  <a:lnTo>
                    <a:pt x="370" y="21"/>
                  </a:lnTo>
                  <a:lnTo>
                    <a:pt x="370" y="18"/>
                  </a:lnTo>
                  <a:lnTo>
                    <a:pt x="371" y="15"/>
                  </a:lnTo>
                  <a:lnTo>
                    <a:pt x="370" y="13"/>
                  </a:lnTo>
                  <a:lnTo>
                    <a:pt x="370" y="9"/>
                  </a:lnTo>
                  <a:lnTo>
                    <a:pt x="368" y="7"/>
                  </a:lnTo>
                  <a:lnTo>
                    <a:pt x="367" y="5"/>
                  </a:lnTo>
                  <a:lnTo>
                    <a:pt x="365" y="3"/>
                  </a:lnTo>
                  <a:lnTo>
                    <a:pt x="361" y="1"/>
                  </a:lnTo>
                  <a:lnTo>
                    <a:pt x="358" y="1"/>
                  </a:lnTo>
                  <a:lnTo>
                    <a:pt x="3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9" name="Group 6">
            <a:extLst>
              <a:ext uri="{FF2B5EF4-FFF2-40B4-BE49-F238E27FC236}">
                <a16:creationId xmlns:a16="http://schemas.microsoft.com/office/drawing/2014/main" id="{E28A8C55-E37A-4DA1-B8D3-82F8FDD2078D}"/>
              </a:ext>
            </a:extLst>
          </p:cNvPr>
          <p:cNvGrpSpPr>
            <a:grpSpLocks noChangeAspect="1"/>
          </p:cNvGrpSpPr>
          <p:nvPr/>
        </p:nvGrpSpPr>
        <p:grpSpPr>
          <a:xfrm>
            <a:off x="4439747" y="4345739"/>
            <a:ext cx="306484" cy="306484"/>
            <a:chOff x="9318625" y="771526"/>
            <a:chExt cx="282575" cy="282575"/>
          </a:xfrm>
          <a:solidFill>
            <a:schemeClr val="bg1"/>
          </a:solidFill>
          <a:effectLst/>
        </p:grpSpPr>
        <p:sp>
          <p:nvSpPr>
            <p:cNvPr id="430" name="Freeform 177">
              <a:extLst>
                <a:ext uri="{FF2B5EF4-FFF2-40B4-BE49-F238E27FC236}">
                  <a16:creationId xmlns:a16="http://schemas.microsoft.com/office/drawing/2014/main" id="{A727B06D-3FDF-4FDA-BAC4-D4E00D27A2D2}"/>
                </a:ext>
              </a:extLst>
            </p:cNvPr>
            <p:cNvSpPr>
              <a:spLocks/>
            </p:cNvSpPr>
            <p:nvPr/>
          </p:nvSpPr>
          <p:spPr bwMode="auto">
            <a:xfrm>
              <a:off x="9318625" y="798513"/>
              <a:ext cx="236537" cy="255588"/>
            </a:xfrm>
            <a:custGeom>
              <a:avLst/>
              <a:gdLst>
                <a:gd name="T0" fmla="*/ 729 w 747"/>
                <a:gd name="T1" fmla="*/ 306 h 806"/>
                <a:gd name="T2" fmla="*/ 723 w 747"/>
                <a:gd name="T3" fmla="*/ 308 h 806"/>
                <a:gd name="T4" fmla="*/ 720 w 747"/>
                <a:gd name="T5" fmla="*/ 312 h 806"/>
                <a:gd name="T6" fmla="*/ 717 w 747"/>
                <a:gd name="T7" fmla="*/ 318 h 806"/>
                <a:gd name="T8" fmla="*/ 717 w 747"/>
                <a:gd name="T9" fmla="*/ 776 h 806"/>
                <a:gd name="T10" fmla="*/ 30 w 747"/>
                <a:gd name="T11" fmla="*/ 30 h 806"/>
                <a:gd name="T12" fmla="*/ 621 w 747"/>
                <a:gd name="T13" fmla="*/ 29 h 806"/>
                <a:gd name="T14" fmla="*/ 626 w 747"/>
                <a:gd name="T15" fmla="*/ 27 h 806"/>
                <a:gd name="T16" fmla="*/ 630 w 747"/>
                <a:gd name="T17" fmla="*/ 22 h 806"/>
                <a:gd name="T18" fmla="*/ 632 w 747"/>
                <a:gd name="T19" fmla="*/ 17 h 806"/>
                <a:gd name="T20" fmla="*/ 632 w 747"/>
                <a:gd name="T21" fmla="*/ 12 h 806"/>
                <a:gd name="T22" fmla="*/ 630 w 747"/>
                <a:gd name="T23" fmla="*/ 6 h 806"/>
                <a:gd name="T24" fmla="*/ 626 w 747"/>
                <a:gd name="T25" fmla="*/ 2 h 806"/>
                <a:gd name="T26" fmla="*/ 621 w 747"/>
                <a:gd name="T27" fmla="*/ 0 h 806"/>
                <a:gd name="T28" fmla="*/ 15 w 747"/>
                <a:gd name="T29" fmla="*/ 0 h 806"/>
                <a:gd name="T30" fmla="*/ 9 w 747"/>
                <a:gd name="T31" fmla="*/ 1 h 806"/>
                <a:gd name="T32" fmla="*/ 5 w 747"/>
                <a:gd name="T33" fmla="*/ 4 h 806"/>
                <a:gd name="T34" fmla="*/ 1 w 747"/>
                <a:gd name="T35" fmla="*/ 9 h 806"/>
                <a:gd name="T36" fmla="*/ 0 w 747"/>
                <a:gd name="T37" fmla="*/ 15 h 806"/>
                <a:gd name="T38" fmla="*/ 0 w 747"/>
                <a:gd name="T39" fmla="*/ 794 h 806"/>
                <a:gd name="T40" fmla="*/ 2 w 747"/>
                <a:gd name="T41" fmla="*/ 800 h 806"/>
                <a:gd name="T42" fmla="*/ 7 w 747"/>
                <a:gd name="T43" fmla="*/ 804 h 806"/>
                <a:gd name="T44" fmla="*/ 12 w 747"/>
                <a:gd name="T45" fmla="*/ 806 h 806"/>
                <a:gd name="T46" fmla="*/ 732 w 747"/>
                <a:gd name="T47" fmla="*/ 806 h 806"/>
                <a:gd name="T48" fmla="*/ 738 w 747"/>
                <a:gd name="T49" fmla="*/ 805 h 806"/>
                <a:gd name="T50" fmla="*/ 743 w 747"/>
                <a:gd name="T51" fmla="*/ 802 h 806"/>
                <a:gd name="T52" fmla="*/ 746 w 747"/>
                <a:gd name="T53" fmla="*/ 798 h 806"/>
                <a:gd name="T54" fmla="*/ 747 w 747"/>
                <a:gd name="T55" fmla="*/ 791 h 806"/>
                <a:gd name="T56" fmla="*/ 747 w 747"/>
                <a:gd name="T57" fmla="*/ 318 h 806"/>
                <a:gd name="T58" fmla="*/ 745 w 747"/>
                <a:gd name="T59" fmla="*/ 312 h 806"/>
                <a:gd name="T60" fmla="*/ 741 w 747"/>
                <a:gd name="T61" fmla="*/ 308 h 806"/>
                <a:gd name="T62" fmla="*/ 735 w 747"/>
                <a:gd name="T63" fmla="*/ 306 h 806"/>
                <a:gd name="T64" fmla="*/ 732 w 747"/>
                <a:gd name="T65" fmla="*/ 306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7" h="806">
                  <a:moveTo>
                    <a:pt x="732" y="306"/>
                  </a:moveTo>
                  <a:lnTo>
                    <a:pt x="729" y="306"/>
                  </a:lnTo>
                  <a:lnTo>
                    <a:pt x="727" y="307"/>
                  </a:lnTo>
                  <a:lnTo>
                    <a:pt x="723" y="308"/>
                  </a:lnTo>
                  <a:lnTo>
                    <a:pt x="721" y="310"/>
                  </a:lnTo>
                  <a:lnTo>
                    <a:pt x="720" y="312"/>
                  </a:lnTo>
                  <a:lnTo>
                    <a:pt x="718" y="314"/>
                  </a:lnTo>
                  <a:lnTo>
                    <a:pt x="717" y="318"/>
                  </a:lnTo>
                  <a:lnTo>
                    <a:pt x="717" y="321"/>
                  </a:lnTo>
                  <a:lnTo>
                    <a:pt x="717" y="776"/>
                  </a:lnTo>
                  <a:lnTo>
                    <a:pt x="30" y="776"/>
                  </a:lnTo>
                  <a:lnTo>
                    <a:pt x="30" y="30"/>
                  </a:lnTo>
                  <a:lnTo>
                    <a:pt x="617" y="30"/>
                  </a:lnTo>
                  <a:lnTo>
                    <a:pt x="621" y="29"/>
                  </a:lnTo>
                  <a:lnTo>
                    <a:pt x="624" y="28"/>
                  </a:lnTo>
                  <a:lnTo>
                    <a:pt x="626" y="27"/>
                  </a:lnTo>
                  <a:lnTo>
                    <a:pt x="628" y="25"/>
                  </a:lnTo>
                  <a:lnTo>
                    <a:pt x="630" y="22"/>
                  </a:lnTo>
                  <a:lnTo>
                    <a:pt x="631" y="20"/>
                  </a:lnTo>
                  <a:lnTo>
                    <a:pt x="632" y="17"/>
                  </a:lnTo>
                  <a:lnTo>
                    <a:pt x="632" y="15"/>
                  </a:lnTo>
                  <a:lnTo>
                    <a:pt x="632" y="12"/>
                  </a:lnTo>
                  <a:lnTo>
                    <a:pt x="631" y="9"/>
                  </a:lnTo>
                  <a:lnTo>
                    <a:pt x="630" y="6"/>
                  </a:lnTo>
                  <a:lnTo>
                    <a:pt x="628" y="4"/>
                  </a:lnTo>
                  <a:lnTo>
                    <a:pt x="626" y="2"/>
                  </a:lnTo>
                  <a:lnTo>
                    <a:pt x="624" y="1"/>
                  </a:lnTo>
                  <a:lnTo>
                    <a:pt x="621" y="0"/>
                  </a:lnTo>
                  <a:lnTo>
                    <a:pt x="617" y="0"/>
                  </a:lnTo>
                  <a:lnTo>
                    <a:pt x="15" y="0"/>
                  </a:lnTo>
                  <a:lnTo>
                    <a:pt x="12" y="0"/>
                  </a:lnTo>
                  <a:lnTo>
                    <a:pt x="9" y="1"/>
                  </a:lnTo>
                  <a:lnTo>
                    <a:pt x="7" y="2"/>
                  </a:lnTo>
                  <a:lnTo>
                    <a:pt x="5" y="4"/>
                  </a:lnTo>
                  <a:lnTo>
                    <a:pt x="2" y="6"/>
                  </a:lnTo>
                  <a:lnTo>
                    <a:pt x="1" y="9"/>
                  </a:lnTo>
                  <a:lnTo>
                    <a:pt x="0" y="12"/>
                  </a:lnTo>
                  <a:lnTo>
                    <a:pt x="0" y="15"/>
                  </a:lnTo>
                  <a:lnTo>
                    <a:pt x="0" y="791"/>
                  </a:lnTo>
                  <a:lnTo>
                    <a:pt x="0" y="794"/>
                  </a:lnTo>
                  <a:lnTo>
                    <a:pt x="1" y="798"/>
                  </a:lnTo>
                  <a:lnTo>
                    <a:pt x="2" y="800"/>
                  </a:lnTo>
                  <a:lnTo>
                    <a:pt x="5" y="802"/>
                  </a:lnTo>
                  <a:lnTo>
                    <a:pt x="7" y="804"/>
                  </a:lnTo>
                  <a:lnTo>
                    <a:pt x="9" y="805"/>
                  </a:lnTo>
                  <a:lnTo>
                    <a:pt x="12" y="806"/>
                  </a:lnTo>
                  <a:lnTo>
                    <a:pt x="15" y="806"/>
                  </a:lnTo>
                  <a:lnTo>
                    <a:pt x="732" y="806"/>
                  </a:lnTo>
                  <a:lnTo>
                    <a:pt x="735" y="806"/>
                  </a:lnTo>
                  <a:lnTo>
                    <a:pt x="738" y="805"/>
                  </a:lnTo>
                  <a:lnTo>
                    <a:pt x="741" y="804"/>
                  </a:lnTo>
                  <a:lnTo>
                    <a:pt x="743" y="802"/>
                  </a:lnTo>
                  <a:lnTo>
                    <a:pt x="745" y="800"/>
                  </a:lnTo>
                  <a:lnTo>
                    <a:pt x="746" y="798"/>
                  </a:lnTo>
                  <a:lnTo>
                    <a:pt x="747" y="794"/>
                  </a:lnTo>
                  <a:lnTo>
                    <a:pt x="747" y="791"/>
                  </a:lnTo>
                  <a:lnTo>
                    <a:pt x="747" y="321"/>
                  </a:lnTo>
                  <a:lnTo>
                    <a:pt x="747" y="318"/>
                  </a:lnTo>
                  <a:lnTo>
                    <a:pt x="746" y="314"/>
                  </a:lnTo>
                  <a:lnTo>
                    <a:pt x="745" y="312"/>
                  </a:lnTo>
                  <a:lnTo>
                    <a:pt x="743" y="310"/>
                  </a:lnTo>
                  <a:lnTo>
                    <a:pt x="741" y="308"/>
                  </a:lnTo>
                  <a:lnTo>
                    <a:pt x="738" y="307"/>
                  </a:lnTo>
                  <a:lnTo>
                    <a:pt x="735" y="306"/>
                  </a:lnTo>
                  <a:lnTo>
                    <a:pt x="732" y="306"/>
                  </a:lnTo>
                  <a:lnTo>
                    <a:pt x="732" y="30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31" name="Freeform 178">
              <a:extLst>
                <a:ext uri="{FF2B5EF4-FFF2-40B4-BE49-F238E27FC236}">
                  <a16:creationId xmlns:a16="http://schemas.microsoft.com/office/drawing/2014/main" id="{1539654F-3CCE-4E04-8410-D159A36DC803}"/>
                </a:ext>
              </a:extLst>
            </p:cNvPr>
            <p:cNvSpPr>
              <a:spLocks noEditPoints="1"/>
            </p:cNvSpPr>
            <p:nvPr/>
          </p:nvSpPr>
          <p:spPr bwMode="auto">
            <a:xfrm>
              <a:off x="9442450" y="771526"/>
              <a:ext cx="158750" cy="160338"/>
            </a:xfrm>
            <a:custGeom>
              <a:avLst/>
              <a:gdLst>
                <a:gd name="T0" fmla="*/ 433 w 503"/>
                <a:gd name="T1" fmla="*/ 110 h 504"/>
                <a:gd name="T2" fmla="*/ 429 w 503"/>
                <a:gd name="T3" fmla="*/ 37 h 504"/>
                <a:gd name="T4" fmla="*/ 435 w 503"/>
                <a:gd name="T5" fmla="*/ 31 h 504"/>
                <a:gd name="T6" fmla="*/ 442 w 503"/>
                <a:gd name="T7" fmla="*/ 30 h 504"/>
                <a:gd name="T8" fmla="*/ 451 w 503"/>
                <a:gd name="T9" fmla="*/ 31 h 504"/>
                <a:gd name="T10" fmla="*/ 460 w 503"/>
                <a:gd name="T11" fmla="*/ 36 h 504"/>
                <a:gd name="T12" fmla="*/ 466 w 503"/>
                <a:gd name="T13" fmla="*/ 43 h 504"/>
                <a:gd name="T14" fmla="*/ 471 w 503"/>
                <a:gd name="T15" fmla="*/ 52 h 504"/>
                <a:gd name="T16" fmla="*/ 473 w 503"/>
                <a:gd name="T17" fmla="*/ 65 h 504"/>
                <a:gd name="T18" fmla="*/ 467 w 503"/>
                <a:gd name="T19" fmla="*/ 75 h 504"/>
                <a:gd name="T20" fmla="*/ 111 w 503"/>
                <a:gd name="T21" fmla="*/ 431 h 504"/>
                <a:gd name="T22" fmla="*/ 72 w 503"/>
                <a:gd name="T23" fmla="*/ 393 h 504"/>
                <a:gd name="T24" fmla="*/ 411 w 503"/>
                <a:gd name="T25" fmla="*/ 131 h 504"/>
                <a:gd name="T26" fmla="*/ 499 w 503"/>
                <a:gd name="T27" fmla="*/ 40 h 504"/>
                <a:gd name="T28" fmla="*/ 489 w 503"/>
                <a:gd name="T29" fmla="*/ 24 h 504"/>
                <a:gd name="T30" fmla="*/ 476 w 503"/>
                <a:gd name="T31" fmla="*/ 11 h 504"/>
                <a:gd name="T32" fmla="*/ 460 w 503"/>
                <a:gd name="T33" fmla="*/ 4 h 504"/>
                <a:gd name="T34" fmla="*/ 442 w 503"/>
                <a:gd name="T35" fmla="*/ 0 h 504"/>
                <a:gd name="T36" fmla="*/ 424 w 503"/>
                <a:gd name="T37" fmla="*/ 4 h 504"/>
                <a:gd name="T38" fmla="*/ 407 w 503"/>
                <a:gd name="T39" fmla="*/ 15 h 504"/>
                <a:gd name="T40" fmla="*/ 47 w 503"/>
                <a:gd name="T41" fmla="*/ 376 h 504"/>
                <a:gd name="T42" fmla="*/ 1 w 503"/>
                <a:gd name="T43" fmla="*/ 483 h 504"/>
                <a:gd name="T44" fmla="*/ 0 w 503"/>
                <a:gd name="T45" fmla="*/ 492 h 504"/>
                <a:gd name="T46" fmla="*/ 4 w 503"/>
                <a:gd name="T47" fmla="*/ 500 h 504"/>
                <a:gd name="T48" fmla="*/ 9 w 503"/>
                <a:gd name="T49" fmla="*/ 503 h 504"/>
                <a:gd name="T50" fmla="*/ 15 w 503"/>
                <a:gd name="T51" fmla="*/ 504 h 504"/>
                <a:gd name="T52" fmla="*/ 20 w 503"/>
                <a:gd name="T53" fmla="*/ 503 h 504"/>
                <a:gd name="T54" fmla="*/ 127 w 503"/>
                <a:gd name="T55" fmla="*/ 457 h 504"/>
                <a:gd name="T56" fmla="*/ 488 w 503"/>
                <a:gd name="T57" fmla="*/ 96 h 504"/>
                <a:gd name="T58" fmla="*/ 497 w 503"/>
                <a:gd name="T59" fmla="*/ 84 h 504"/>
                <a:gd name="T60" fmla="*/ 502 w 503"/>
                <a:gd name="T61" fmla="*/ 70 h 504"/>
                <a:gd name="T62" fmla="*/ 503 w 503"/>
                <a:gd name="T63" fmla="*/ 55 h 504"/>
                <a:gd name="T64" fmla="*/ 499 w 503"/>
                <a:gd name="T65" fmla="*/ 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3" h="504">
                  <a:moveTo>
                    <a:pt x="467" y="75"/>
                  </a:moveTo>
                  <a:lnTo>
                    <a:pt x="433" y="110"/>
                  </a:lnTo>
                  <a:lnTo>
                    <a:pt x="394" y="71"/>
                  </a:lnTo>
                  <a:lnTo>
                    <a:pt x="429" y="37"/>
                  </a:lnTo>
                  <a:lnTo>
                    <a:pt x="432" y="34"/>
                  </a:lnTo>
                  <a:lnTo>
                    <a:pt x="435" y="31"/>
                  </a:lnTo>
                  <a:lnTo>
                    <a:pt x="439" y="30"/>
                  </a:lnTo>
                  <a:lnTo>
                    <a:pt x="442" y="30"/>
                  </a:lnTo>
                  <a:lnTo>
                    <a:pt x="447" y="30"/>
                  </a:lnTo>
                  <a:lnTo>
                    <a:pt x="451" y="31"/>
                  </a:lnTo>
                  <a:lnTo>
                    <a:pt x="455" y="34"/>
                  </a:lnTo>
                  <a:lnTo>
                    <a:pt x="460" y="36"/>
                  </a:lnTo>
                  <a:lnTo>
                    <a:pt x="463" y="39"/>
                  </a:lnTo>
                  <a:lnTo>
                    <a:pt x="466" y="43"/>
                  </a:lnTo>
                  <a:lnTo>
                    <a:pt x="469" y="48"/>
                  </a:lnTo>
                  <a:lnTo>
                    <a:pt x="471" y="52"/>
                  </a:lnTo>
                  <a:lnTo>
                    <a:pt x="473" y="58"/>
                  </a:lnTo>
                  <a:lnTo>
                    <a:pt x="473" y="65"/>
                  </a:lnTo>
                  <a:lnTo>
                    <a:pt x="471" y="70"/>
                  </a:lnTo>
                  <a:lnTo>
                    <a:pt x="467" y="75"/>
                  </a:lnTo>
                  <a:lnTo>
                    <a:pt x="467" y="75"/>
                  </a:lnTo>
                  <a:close/>
                  <a:moveTo>
                    <a:pt x="111" y="431"/>
                  </a:moveTo>
                  <a:lnTo>
                    <a:pt x="42" y="460"/>
                  </a:lnTo>
                  <a:lnTo>
                    <a:pt x="72" y="393"/>
                  </a:lnTo>
                  <a:lnTo>
                    <a:pt x="373" y="91"/>
                  </a:lnTo>
                  <a:lnTo>
                    <a:pt x="411" y="131"/>
                  </a:lnTo>
                  <a:lnTo>
                    <a:pt x="111" y="431"/>
                  </a:lnTo>
                  <a:close/>
                  <a:moveTo>
                    <a:pt x="499" y="40"/>
                  </a:moveTo>
                  <a:lnTo>
                    <a:pt x="495" y="31"/>
                  </a:lnTo>
                  <a:lnTo>
                    <a:pt x="489" y="24"/>
                  </a:lnTo>
                  <a:lnTo>
                    <a:pt x="483" y="18"/>
                  </a:lnTo>
                  <a:lnTo>
                    <a:pt x="476" y="11"/>
                  </a:lnTo>
                  <a:lnTo>
                    <a:pt x="468" y="7"/>
                  </a:lnTo>
                  <a:lnTo>
                    <a:pt x="460" y="4"/>
                  </a:lnTo>
                  <a:lnTo>
                    <a:pt x="451" y="0"/>
                  </a:lnTo>
                  <a:lnTo>
                    <a:pt x="442" y="0"/>
                  </a:lnTo>
                  <a:lnTo>
                    <a:pt x="433" y="2"/>
                  </a:lnTo>
                  <a:lnTo>
                    <a:pt x="424" y="4"/>
                  </a:lnTo>
                  <a:lnTo>
                    <a:pt x="415" y="9"/>
                  </a:lnTo>
                  <a:lnTo>
                    <a:pt x="407" y="15"/>
                  </a:lnTo>
                  <a:lnTo>
                    <a:pt x="49" y="374"/>
                  </a:lnTo>
                  <a:lnTo>
                    <a:pt x="47" y="376"/>
                  </a:lnTo>
                  <a:lnTo>
                    <a:pt x="46" y="379"/>
                  </a:lnTo>
                  <a:lnTo>
                    <a:pt x="1" y="483"/>
                  </a:lnTo>
                  <a:lnTo>
                    <a:pt x="0" y="487"/>
                  </a:lnTo>
                  <a:lnTo>
                    <a:pt x="0" y="492"/>
                  </a:lnTo>
                  <a:lnTo>
                    <a:pt x="1" y="496"/>
                  </a:lnTo>
                  <a:lnTo>
                    <a:pt x="4" y="500"/>
                  </a:lnTo>
                  <a:lnTo>
                    <a:pt x="6" y="502"/>
                  </a:lnTo>
                  <a:lnTo>
                    <a:pt x="9" y="503"/>
                  </a:lnTo>
                  <a:lnTo>
                    <a:pt x="11" y="504"/>
                  </a:lnTo>
                  <a:lnTo>
                    <a:pt x="15" y="504"/>
                  </a:lnTo>
                  <a:lnTo>
                    <a:pt x="18" y="504"/>
                  </a:lnTo>
                  <a:lnTo>
                    <a:pt x="20" y="503"/>
                  </a:lnTo>
                  <a:lnTo>
                    <a:pt x="125" y="458"/>
                  </a:lnTo>
                  <a:lnTo>
                    <a:pt x="127" y="457"/>
                  </a:lnTo>
                  <a:lnTo>
                    <a:pt x="129" y="455"/>
                  </a:lnTo>
                  <a:lnTo>
                    <a:pt x="488" y="96"/>
                  </a:lnTo>
                  <a:lnTo>
                    <a:pt x="494" y="90"/>
                  </a:lnTo>
                  <a:lnTo>
                    <a:pt x="497" y="84"/>
                  </a:lnTo>
                  <a:lnTo>
                    <a:pt x="500" y="77"/>
                  </a:lnTo>
                  <a:lnTo>
                    <a:pt x="502" y="70"/>
                  </a:lnTo>
                  <a:lnTo>
                    <a:pt x="503" y="63"/>
                  </a:lnTo>
                  <a:lnTo>
                    <a:pt x="503" y="55"/>
                  </a:lnTo>
                  <a:lnTo>
                    <a:pt x="501" y="48"/>
                  </a:lnTo>
                  <a:lnTo>
                    <a:pt x="499" y="4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446" name="Gruppieren 445">
            <a:extLst>
              <a:ext uri="{FF2B5EF4-FFF2-40B4-BE49-F238E27FC236}">
                <a16:creationId xmlns:a16="http://schemas.microsoft.com/office/drawing/2014/main" id="{B79F4984-8484-433E-8E39-2646A69F27B7}"/>
              </a:ext>
            </a:extLst>
          </p:cNvPr>
          <p:cNvGrpSpPr>
            <a:grpSpLocks noChangeAspect="1"/>
          </p:cNvGrpSpPr>
          <p:nvPr/>
        </p:nvGrpSpPr>
        <p:grpSpPr>
          <a:xfrm>
            <a:off x="4922232" y="4345739"/>
            <a:ext cx="256712" cy="306484"/>
            <a:chOff x="6816973" y="3951367"/>
            <a:chExt cx="211076" cy="252000"/>
          </a:xfrm>
          <a:solidFill>
            <a:schemeClr val="bg1"/>
          </a:solidFill>
          <a:effectLst/>
        </p:grpSpPr>
        <p:sp>
          <p:nvSpPr>
            <p:cNvPr id="447" name="Freeform 51">
              <a:extLst>
                <a:ext uri="{FF2B5EF4-FFF2-40B4-BE49-F238E27FC236}">
                  <a16:creationId xmlns:a16="http://schemas.microsoft.com/office/drawing/2014/main" id="{0090D936-117D-4A33-BE72-FB2DA8FCAC7B}"/>
                </a:ext>
              </a:extLst>
            </p:cNvPr>
            <p:cNvSpPr>
              <a:spLocks/>
            </p:cNvSpPr>
            <p:nvPr/>
          </p:nvSpPr>
          <p:spPr bwMode="auto">
            <a:xfrm>
              <a:off x="6816973" y="3982598"/>
              <a:ext cx="211076" cy="220769"/>
            </a:xfrm>
            <a:custGeom>
              <a:avLst/>
              <a:gdLst>
                <a:gd name="T0" fmla="*/ 78 w 80"/>
                <a:gd name="T1" fmla="*/ 84 h 84"/>
                <a:gd name="T2" fmla="*/ 2 w 80"/>
                <a:gd name="T3" fmla="*/ 84 h 84"/>
                <a:gd name="T4" fmla="*/ 0 w 80"/>
                <a:gd name="T5" fmla="*/ 82 h 84"/>
                <a:gd name="T6" fmla="*/ 0 w 80"/>
                <a:gd name="T7" fmla="*/ 2 h 84"/>
                <a:gd name="T8" fmla="*/ 2 w 80"/>
                <a:gd name="T9" fmla="*/ 0 h 84"/>
                <a:gd name="T10" fmla="*/ 24 w 80"/>
                <a:gd name="T11" fmla="*/ 0 h 84"/>
                <a:gd name="T12" fmla="*/ 26 w 80"/>
                <a:gd name="T13" fmla="*/ 2 h 84"/>
                <a:gd name="T14" fmla="*/ 24 w 80"/>
                <a:gd name="T15" fmla="*/ 4 h 84"/>
                <a:gd name="T16" fmla="*/ 4 w 80"/>
                <a:gd name="T17" fmla="*/ 4 h 84"/>
                <a:gd name="T18" fmla="*/ 4 w 80"/>
                <a:gd name="T19" fmla="*/ 80 h 84"/>
                <a:gd name="T20" fmla="*/ 76 w 80"/>
                <a:gd name="T21" fmla="*/ 80 h 84"/>
                <a:gd name="T22" fmla="*/ 76 w 80"/>
                <a:gd name="T23" fmla="*/ 4 h 84"/>
                <a:gd name="T24" fmla="*/ 56 w 80"/>
                <a:gd name="T25" fmla="*/ 4 h 84"/>
                <a:gd name="T26" fmla="*/ 54 w 80"/>
                <a:gd name="T27" fmla="*/ 2 h 84"/>
                <a:gd name="T28" fmla="*/ 56 w 80"/>
                <a:gd name="T29" fmla="*/ 0 h 84"/>
                <a:gd name="T30" fmla="*/ 78 w 80"/>
                <a:gd name="T31" fmla="*/ 0 h 84"/>
                <a:gd name="T32" fmla="*/ 80 w 80"/>
                <a:gd name="T33" fmla="*/ 2 h 84"/>
                <a:gd name="T34" fmla="*/ 80 w 80"/>
                <a:gd name="T35" fmla="*/ 82 h 84"/>
                <a:gd name="T36" fmla="*/ 78 w 8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4">
                  <a:moveTo>
                    <a:pt x="78" y="84"/>
                  </a:moveTo>
                  <a:cubicBezTo>
                    <a:pt x="2" y="84"/>
                    <a:pt x="2" y="84"/>
                    <a:pt x="2" y="84"/>
                  </a:cubicBezTo>
                  <a:cubicBezTo>
                    <a:pt x="1" y="84"/>
                    <a:pt x="0" y="83"/>
                    <a:pt x="0" y="82"/>
                  </a:cubicBezTo>
                  <a:cubicBezTo>
                    <a:pt x="0" y="2"/>
                    <a:pt x="0" y="2"/>
                    <a:pt x="0" y="2"/>
                  </a:cubicBezTo>
                  <a:cubicBezTo>
                    <a:pt x="0" y="1"/>
                    <a:pt x="1" y="0"/>
                    <a:pt x="2" y="0"/>
                  </a:cubicBezTo>
                  <a:cubicBezTo>
                    <a:pt x="24" y="0"/>
                    <a:pt x="24" y="0"/>
                    <a:pt x="24" y="0"/>
                  </a:cubicBezTo>
                  <a:cubicBezTo>
                    <a:pt x="25" y="0"/>
                    <a:pt x="26" y="1"/>
                    <a:pt x="26" y="2"/>
                  </a:cubicBezTo>
                  <a:cubicBezTo>
                    <a:pt x="26" y="3"/>
                    <a:pt x="25" y="4"/>
                    <a:pt x="24" y="4"/>
                  </a:cubicBezTo>
                  <a:cubicBezTo>
                    <a:pt x="4" y="4"/>
                    <a:pt x="4" y="4"/>
                    <a:pt x="4" y="4"/>
                  </a:cubicBezTo>
                  <a:cubicBezTo>
                    <a:pt x="4" y="80"/>
                    <a:pt x="4" y="80"/>
                    <a:pt x="4" y="80"/>
                  </a:cubicBezTo>
                  <a:cubicBezTo>
                    <a:pt x="76" y="80"/>
                    <a:pt x="76" y="80"/>
                    <a:pt x="76" y="80"/>
                  </a:cubicBezTo>
                  <a:cubicBezTo>
                    <a:pt x="76" y="4"/>
                    <a:pt x="76" y="4"/>
                    <a:pt x="76" y="4"/>
                  </a:cubicBezTo>
                  <a:cubicBezTo>
                    <a:pt x="56" y="4"/>
                    <a:pt x="56" y="4"/>
                    <a:pt x="56" y="4"/>
                  </a:cubicBezTo>
                  <a:cubicBezTo>
                    <a:pt x="55" y="4"/>
                    <a:pt x="54" y="3"/>
                    <a:pt x="54" y="2"/>
                  </a:cubicBezTo>
                  <a:cubicBezTo>
                    <a:pt x="54" y="1"/>
                    <a:pt x="55" y="0"/>
                    <a:pt x="56" y="0"/>
                  </a:cubicBezTo>
                  <a:cubicBezTo>
                    <a:pt x="78" y="0"/>
                    <a:pt x="78" y="0"/>
                    <a:pt x="78" y="0"/>
                  </a:cubicBezTo>
                  <a:cubicBezTo>
                    <a:pt x="79" y="0"/>
                    <a:pt x="80" y="1"/>
                    <a:pt x="80" y="2"/>
                  </a:cubicBezTo>
                  <a:cubicBezTo>
                    <a:pt x="80" y="82"/>
                    <a:pt x="80" y="82"/>
                    <a:pt x="80" y="82"/>
                  </a:cubicBezTo>
                  <a:cubicBezTo>
                    <a:pt x="80" y="83"/>
                    <a:pt x="79"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52">
              <a:extLst>
                <a:ext uri="{FF2B5EF4-FFF2-40B4-BE49-F238E27FC236}">
                  <a16:creationId xmlns:a16="http://schemas.microsoft.com/office/drawing/2014/main" id="{578ECE1E-86BD-4180-BD08-FABB925910E1}"/>
                </a:ext>
              </a:extLst>
            </p:cNvPr>
            <p:cNvSpPr>
              <a:spLocks noEditPoints="1"/>
            </p:cNvSpPr>
            <p:nvPr/>
          </p:nvSpPr>
          <p:spPr bwMode="auto">
            <a:xfrm>
              <a:off x="6874050" y="3951367"/>
              <a:ext cx="95846" cy="73231"/>
            </a:xfrm>
            <a:custGeom>
              <a:avLst/>
              <a:gdLst>
                <a:gd name="T0" fmla="*/ 34 w 36"/>
                <a:gd name="T1" fmla="*/ 28 h 28"/>
                <a:gd name="T2" fmla="*/ 2 w 36"/>
                <a:gd name="T3" fmla="*/ 28 h 28"/>
                <a:gd name="T4" fmla="*/ 0 w 36"/>
                <a:gd name="T5" fmla="*/ 26 h 28"/>
                <a:gd name="T6" fmla="*/ 0 w 36"/>
                <a:gd name="T7" fmla="*/ 10 h 28"/>
                <a:gd name="T8" fmla="*/ 2 w 36"/>
                <a:gd name="T9" fmla="*/ 8 h 28"/>
                <a:gd name="T10" fmla="*/ 8 w 36"/>
                <a:gd name="T11" fmla="*/ 8 h 28"/>
                <a:gd name="T12" fmla="*/ 18 w 36"/>
                <a:gd name="T13" fmla="*/ 0 h 28"/>
                <a:gd name="T14" fmla="*/ 28 w 36"/>
                <a:gd name="T15" fmla="*/ 8 h 28"/>
                <a:gd name="T16" fmla="*/ 34 w 36"/>
                <a:gd name="T17" fmla="*/ 8 h 28"/>
                <a:gd name="T18" fmla="*/ 36 w 36"/>
                <a:gd name="T19" fmla="*/ 10 h 28"/>
                <a:gd name="T20" fmla="*/ 36 w 36"/>
                <a:gd name="T21" fmla="*/ 26 h 28"/>
                <a:gd name="T22" fmla="*/ 34 w 36"/>
                <a:gd name="T23" fmla="*/ 28 h 28"/>
                <a:gd name="T24" fmla="*/ 4 w 36"/>
                <a:gd name="T25" fmla="*/ 24 h 28"/>
                <a:gd name="T26" fmla="*/ 32 w 36"/>
                <a:gd name="T27" fmla="*/ 24 h 28"/>
                <a:gd name="T28" fmla="*/ 32 w 36"/>
                <a:gd name="T29" fmla="*/ 12 h 28"/>
                <a:gd name="T30" fmla="*/ 26 w 36"/>
                <a:gd name="T31" fmla="*/ 12 h 28"/>
                <a:gd name="T32" fmla="*/ 24 w 36"/>
                <a:gd name="T33" fmla="*/ 10 h 28"/>
                <a:gd name="T34" fmla="*/ 18 w 36"/>
                <a:gd name="T35" fmla="*/ 4 h 28"/>
                <a:gd name="T36" fmla="*/ 12 w 36"/>
                <a:gd name="T37" fmla="*/ 10 h 28"/>
                <a:gd name="T38" fmla="*/ 10 w 36"/>
                <a:gd name="T39" fmla="*/ 12 h 28"/>
                <a:gd name="T40" fmla="*/ 4 w 36"/>
                <a:gd name="T41" fmla="*/ 12 h 28"/>
                <a:gd name="T42" fmla="*/ 4 w 36"/>
                <a:gd name="T4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28">
                  <a:moveTo>
                    <a:pt x="34" y="28"/>
                  </a:moveTo>
                  <a:cubicBezTo>
                    <a:pt x="2" y="28"/>
                    <a:pt x="2" y="28"/>
                    <a:pt x="2" y="28"/>
                  </a:cubicBezTo>
                  <a:cubicBezTo>
                    <a:pt x="1" y="28"/>
                    <a:pt x="0" y="27"/>
                    <a:pt x="0" y="26"/>
                  </a:cubicBezTo>
                  <a:cubicBezTo>
                    <a:pt x="0" y="10"/>
                    <a:pt x="0" y="10"/>
                    <a:pt x="0" y="10"/>
                  </a:cubicBezTo>
                  <a:cubicBezTo>
                    <a:pt x="0" y="9"/>
                    <a:pt x="1" y="8"/>
                    <a:pt x="2" y="8"/>
                  </a:cubicBezTo>
                  <a:cubicBezTo>
                    <a:pt x="8" y="8"/>
                    <a:pt x="8" y="8"/>
                    <a:pt x="8" y="8"/>
                  </a:cubicBezTo>
                  <a:cubicBezTo>
                    <a:pt x="9" y="3"/>
                    <a:pt x="13" y="0"/>
                    <a:pt x="18" y="0"/>
                  </a:cubicBezTo>
                  <a:cubicBezTo>
                    <a:pt x="23" y="0"/>
                    <a:pt x="27" y="3"/>
                    <a:pt x="28" y="8"/>
                  </a:cubicBezTo>
                  <a:cubicBezTo>
                    <a:pt x="34" y="8"/>
                    <a:pt x="34" y="8"/>
                    <a:pt x="34" y="8"/>
                  </a:cubicBezTo>
                  <a:cubicBezTo>
                    <a:pt x="35" y="8"/>
                    <a:pt x="36" y="9"/>
                    <a:pt x="36" y="10"/>
                  </a:cubicBezTo>
                  <a:cubicBezTo>
                    <a:pt x="36" y="26"/>
                    <a:pt x="36" y="26"/>
                    <a:pt x="36" y="26"/>
                  </a:cubicBezTo>
                  <a:cubicBezTo>
                    <a:pt x="36" y="27"/>
                    <a:pt x="35" y="28"/>
                    <a:pt x="34" y="28"/>
                  </a:cubicBezTo>
                  <a:close/>
                  <a:moveTo>
                    <a:pt x="4" y="24"/>
                  </a:moveTo>
                  <a:cubicBezTo>
                    <a:pt x="32" y="24"/>
                    <a:pt x="32" y="24"/>
                    <a:pt x="32" y="24"/>
                  </a:cubicBezTo>
                  <a:cubicBezTo>
                    <a:pt x="32" y="12"/>
                    <a:pt x="32" y="12"/>
                    <a:pt x="32" y="12"/>
                  </a:cubicBezTo>
                  <a:cubicBezTo>
                    <a:pt x="26" y="12"/>
                    <a:pt x="26" y="12"/>
                    <a:pt x="26" y="12"/>
                  </a:cubicBezTo>
                  <a:cubicBezTo>
                    <a:pt x="25" y="12"/>
                    <a:pt x="24" y="11"/>
                    <a:pt x="24" y="10"/>
                  </a:cubicBezTo>
                  <a:cubicBezTo>
                    <a:pt x="24" y="7"/>
                    <a:pt x="21" y="4"/>
                    <a:pt x="18" y="4"/>
                  </a:cubicBezTo>
                  <a:cubicBezTo>
                    <a:pt x="15" y="4"/>
                    <a:pt x="12" y="7"/>
                    <a:pt x="12" y="10"/>
                  </a:cubicBezTo>
                  <a:cubicBezTo>
                    <a:pt x="12" y="11"/>
                    <a:pt x="11" y="12"/>
                    <a:pt x="10" y="12"/>
                  </a:cubicBezTo>
                  <a:cubicBezTo>
                    <a:pt x="4" y="12"/>
                    <a:pt x="4" y="12"/>
                    <a:pt x="4" y="12"/>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53">
              <a:extLst>
                <a:ext uri="{FF2B5EF4-FFF2-40B4-BE49-F238E27FC236}">
                  <a16:creationId xmlns:a16="http://schemas.microsoft.com/office/drawing/2014/main" id="{C81873F9-FE86-4CE2-A7DA-8592EAA4185A}"/>
                </a:ext>
              </a:extLst>
            </p:cNvPr>
            <p:cNvSpPr>
              <a:spLocks/>
            </p:cNvSpPr>
            <p:nvPr/>
          </p:nvSpPr>
          <p:spPr bwMode="auto">
            <a:xfrm>
              <a:off x="6837434" y="4004136"/>
              <a:ext cx="169076" cy="178769"/>
            </a:xfrm>
            <a:custGeom>
              <a:avLst/>
              <a:gdLst>
                <a:gd name="T0" fmla="*/ 48 w 64"/>
                <a:gd name="T1" fmla="*/ 68 h 68"/>
                <a:gd name="T2" fmla="*/ 48 w 64"/>
                <a:gd name="T3" fmla="*/ 68 h 68"/>
                <a:gd name="T4" fmla="*/ 2 w 64"/>
                <a:gd name="T5" fmla="*/ 68 h 68"/>
                <a:gd name="T6" fmla="*/ 0 w 64"/>
                <a:gd name="T7" fmla="*/ 66 h 68"/>
                <a:gd name="T8" fmla="*/ 0 w 64"/>
                <a:gd name="T9" fmla="*/ 2 h 68"/>
                <a:gd name="T10" fmla="*/ 2 w 64"/>
                <a:gd name="T11" fmla="*/ 0 h 68"/>
                <a:gd name="T12" fmla="*/ 16 w 64"/>
                <a:gd name="T13" fmla="*/ 0 h 68"/>
                <a:gd name="T14" fmla="*/ 18 w 64"/>
                <a:gd name="T15" fmla="*/ 2 h 68"/>
                <a:gd name="T16" fmla="*/ 16 w 64"/>
                <a:gd name="T17" fmla="*/ 4 h 68"/>
                <a:gd name="T18" fmla="*/ 4 w 64"/>
                <a:gd name="T19" fmla="*/ 4 h 68"/>
                <a:gd name="T20" fmla="*/ 4 w 64"/>
                <a:gd name="T21" fmla="*/ 64 h 68"/>
                <a:gd name="T22" fmla="*/ 47 w 64"/>
                <a:gd name="T23" fmla="*/ 64 h 68"/>
                <a:gd name="T24" fmla="*/ 60 w 64"/>
                <a:gd name="T25" fmla="*/ 49 h 68"/>
                <a:gd name="T26" fmla="*/ 60 w 64"/>
                <a:gd name="T27" fmla="*/ 4 h 68"/>
                <a:gd name="T28" fmla="*/ 48 w 64"/>
                <a:gd name="T29" fmla="*/ 4 h 68"/>
                <a:gd name="T30" fmla="*/ 46 w 64"/>
                <a:gd name="T31" fmla="*/ 2 h 68"/>
                <a:gd name="T32" fmla="*/ 48 w 64"/>
                <a:gd name="T33" fmla="*/ 0 h 68"/>
                <a:gd name="T34" fmla="*/ 62 w 64"/>
                <a:gd name="T35" fmla="*/ 0 h 68"/>
                <a:gd name="T36" fmla="*/ 64 w 64"/>
                <a:gd name="T37" fmla="*/ 2 h 68"/>
                <a:gd name="T38" fmla="*/ 64 w 64"/>
                <a:gd name="T39" fmla="*/ 50 h 68"/>
                <a:gd name="T40" fmla="*/ 64 w 64"/>
                <a:gd name="T41" fmla="*/ 51 h 68"/>
                <a:gd name="T42" fmla="*/ 50 w 64"/>
                <a:gd name="T43" fmla="*/ 67 h 68"/>
                <a:gd name="T44" fmla="*/ 48 w 64"/>
                <a:gd name="T4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68">
                  <a:moveTo>
                    <a:pt x="48" y="68"/>
                  </a:moveTo>
                  <a:cubicBezTo>
                    <a:pt x="48" y="68"/>
                    <a:pt x="48" y="68"/>
                    <a:pt x="48" y="68"/>
                  </a:cubicBezTo>
                  <a:cubicBezTo>
                    <a:pt x="2" y="68"/>
                    <a:pt x="2" y="68"/>
                    <a:pt x="2" y="68"/>
                  </a:cubicBezTo>
                  <a:cubicBezTo>
                    <a:pt x="1" y="68"/>
                    <a:pt x="0" y="67"/>
                    <a:pt x="0" y="66"/>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64"/>
                    <a:pt x="4" y="64"/>
                    <a:pt x="4" y="64"/>
                  </a:cubicBezTo>
                  <a:cubicBezTo>
                    <a:pt x="47" y="64"/>
                    <a:pt x="47" y="64"/>
                    <a:pt x="47" y="64"/>
                  </a:cubicBezTo>
                  <a:cubicBezTo>
                    <a:pt x="60" y="49"/>
                    <a:pt x="60" y="49"/>
                    <a:pt x="60" y="49"/>
                  </a:cubicBezTo>
                  <a:cubicBezTo>
                    <a:pt x="60" y="4"/>
                    <a:pt x="60" y="4"/>
                    <a:pt x="60" y="4"/>
                  </a:cubicBezTo>
                  <a:cubicBezTo>
                    <a:pt x="48" y="4"/>
                    <a:pt x="48" y="4"/>
                    <a:pt x="48" y="4"/>
                  </a:cubicBezTo>
                  <a:cubicBezTo>
                    <a:pt x="47" y="4"/>
                    <a:pt x="46" y="3"/>
                    <a:pt x="46" y="2"/>
                  </a:cubicBezTo>
                  <a:cubicBezTo>
                    <a:pt x="46" y="1"/>
                    <a:pt x="47" y="0"/>
                    <a:pt x="48" y="0"/>
                  </a:cubicBezTo>
                  <a:cubicBezTo>
                    <a:pt x="62" y="0"/>
                    <a:pt x="62" y="0"/>
                    <a:pt x="62" y="0"/>
                  </a:cubicBezTo>
                  <a:cubicBezTo>
                    <a:pt x="63" y="0"/>
                    <a:pt x="64" y="1"/>
                    <a:pt x="64" y="2"/>
                  </a:cubicBezTo>
                  <a:cubicBezTo>
                    <a:pt x="64" y="50"/>
                    <a:pt x="64" y="50"/>
                    <a:pt x="64" y="50"/>
                  </a:cubicBezTo>
                  <a:cubicBezTo>
                    <a:pt x="64" y="50"/>
                    <a:pt x="64" y="51"/>
                    <a:pt x="64" y="51"/>
                  </a:cubicBezTo>
                  <a:cubicBezTo>
                    <a:pt x="50" y="67"/>
                    <a:pt x="50" y="67"/>
                    <a:pt x="50" y="67"/>
                  </a:cubicBezTo>
                  <a:cubicBezTo>
                    <a:pt x="49" y="68"/>
                    <a:pt x="49" y="68"/>
                    <a:pt x="4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54">
              <a:extLst>
                <a:ext uri="{FF2B5EF4-FFF2-40B4-BE49-F238E27FC236}">
                  <a16:creationId xmlns:a16="http://schemas.microsoft.com/office/drawing/2014/main" id="{659E8E30-B376-48A4-8D09-7938BDCF02EC}"/>
                </a:ext>
              </a:extLst>
            </p:cNvPr>
            <p:cNvSpPr>
              <a:spLocks/>
            </p:cNvSpPr>
            <p:nvPr/>
          </p:nvSpPr>
          <p:spPr bwMode="auto">
            <a:xfrm>
              <a:off x="6877281" y="4053675"/>
              <a:ext cx="87230" cy="71077"/>
            </a:xfrm>
            <a:custGeom>
              <a:avLst/>
              <a:gdLst>
                <a:gd name="T0" fmla="*/ 12 w 33"/>
                <a:gd name="T1" fmla="*/ 27 h 27"/>
                <a:gd name="T2" fmla="*/ 11 w 33"/>
                <a:gd name="T3" fmla="*/ 26 h 27"/>
                <a:gd name="T4" fmla="*/ 1 w 33"/>
                <a:gd name="T5" fmla="*/ 16 h 27"/>
                <a:gd name="T6" fmla="*/ 1 w 33"/>
                <a:gd name="T7" fmla="*/ 14 h 27"/>
                <a:gd name="T8" fmla="*/ 4 w 33"/>
                <a:gd name="T9" fmla="*/ 14 h 27"/>
                <a:gd name="T10" fmla="*/ 12 w 33"/>
                <a:gd name="T11" fmla="*/ 22 h 27"/>
                <a:gd name="T12" fmla="*/ 29 w 33"/>
                <a:gd name="T13" fmla="*/ 1 h 27"/>
                <a:gd name="T14" fmla="*/ 32 w 33"/>
                <a:gd name="T15" fmla="*/ 0 h 27"/>
                <a:gd name="T16" fmla="*/ 33 w 33"/>
                <a:gd name="T17" fmla="*/ 3 h 27"/>
                <a:gd name="T18" fmla="*/ 14 w 33"/>
                <a:gd name="T19" fmla="*/ 26 h 27"/>
                <a:gd name="T20" fmla="*/ 13 w 33"/>
                <a:gd name="T21" fmla="*/ 27 h 27"/>
                <a:gd name="T22" fmla="*/ 12 w 33"/>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7">
                  <a:moveTo>
                    <a:pt x="12" y="27"/>
                  </a:moveTo>
                  <a:cubicBezTo>
                    <a:pt x="12" y="27"/>
                    <a:pt x="11" y="27"/>
                    <a:pt x="11" y="26"/>
                  </a:cubicBezTo>
                  <a:cubicBezTo>
                    <a:pt x="1" y="16"/>
                    <a:pt x="1" y="16"/>
                    <a:pt x="1" y="16"/>
                  </a:cubicBezTo>
                  <a:cubicBezTo>
                    <a:pt x="0" y="16"/>
                    <a:pt x="0" y="14"/>
                    <a:pt x="1" y="14"/>
                  </a:cubicBezTo>
                  <a:cubicBezTo>
                    <a:pt x="2" y="13"/>
                    <a:pt x="3" y="13"/>
                    <a:pt x="4" y="14"/>
                  </a:cubicBezTo>
                  <a:cubicBezTo>
                    <a:pt x="12" y="22"/>
                    <a:pt x="12" y="22"/>
                    <a:pt x="12" y="22"/>
                  </a:cubicBezTo>
                  <a:cubicBezTo>
                    <a:pt x="29" y="1"/>
                    <a:pt x="29" y="1"/>
                    <a:pt x="29" y="1"/>
                  </a:cubicBezTo>
                  <a:cubicBezTo>
                    <a:pt x="30" y="0"/>
                    <a:pt x="31" y="0"/>
                    <a:pt x="32" y="0"/>
                  </a:cubicBezTo>
                  <a:cubicBezTo>
                    <a:pt x="33" y="1"/>
                    <a:pt x="33" y="2"/>
                    <a:pt x="33" y="3"/>
                  </a:cubicBezTo>
                  <a:cubicBezTo>
                    <a:pt x="14" y="26"/>
                    <a:pt x="14" y="26"/>
                    <a:pt x="14" y="26"/>
                  </a:cubicBezTo>
                  <a:cubicBezTo>
                    <a:pt x="14" y="27"/>
                    <a:pt x="13" y="27"/>
                    <a:pt x="13" y="27"/>
                  </a:cubicBezTo>
                  <a:cubicBezTo>
                    <a:pt x="13" y="27"/>
                    <a:pt x="13" y="27"/>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55">
              <a:extLst>
                <a:ext uri="{FF2B5EF4-FFF2-40B4-BE49-F238E27FC236}">
                  <a16:creationId xmlns:a16="http://schemas.microsoft.com/office/drawing/2014/main" id="{8CB203B1-6C81-4999-87A0-E8481BEFAD12}"/>
                </a:ext>
              </a:extLst>
            </p:cNvPr>
            <p:cNvSpPr>
              <a:spLocks/>
            </p:cNvSpPr>
            <p:nvPr/>
          </p:nvSpPr>
          <p:spPr bwMode="auto">
            <a:xfrm>
              <a:off x="6959127" y="4124751"/>
              <a:ext cx="47385" cy="58154"/>
            </a:xfrm>
            <a:custGeom>
              <a:avLst/>
              <a:gdLst>
                <a:gd name="T0" fmla="*/ 2 w 18"/>
                <a:gd name="T1" fmla="*/ 22 h 22"/>
                <a:gd name="T2" fmla="*/ 0 w 18"/>
                <a:gd name="T3" fmla="*/ 20 h 22"/>
                <a:gd name="T4" fmla="*/ 0 w 18"/>
                <a:gd name="T5" fmla="*/ 2 h 22"/>
                <a:gd name="T6" fmla="*/ 2 w 18"/>
                <a:gd name="T7" fmla="*/ 0 h 22"/>
                <a:gd name="T8" fmla="*/ 16 w 18"/>
                <a:gd name="T9" fmla="*/ 0 h 22"/>
                <a:gd name="T10" fmla="*/ 18 w 18"/>
                <a:gd name="T11" fmla="*/ 2 h 22"/>
                <a:gd name="T12" fmla="*/ 16 w 18"/>
                <a:gd name="T13" fmla="*/ 4 h 22"/>
                <a:gd name="T14" fmla="*/ 4 w 18"/>
                <a:gd name="T15" fmla="*/ 4 h 22"/>
                <a:gd name="T16" fmla="*/ 4 w 18"/>
                <a:gd name="T17" fmla="*/ 20 h 22"/>
                <a:gd name="T18" fmla="*/ 2 w 18"/>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2">
                  <a:moveTo>
                    <a:pt x="2" y="22"/>
                  </a:moveTo>
                  <a:cubicBezTo>
                    <a:pt x="1" y="22"/>
                    <a:pt x="0" y="21"/>
                    <a:pt x="0" y="20"/>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20"/>
                    <a:pt x="4" y="20"/>
                    <a:pt x="4" y="20"/>
                  </a:cubicBezTo>
                  <a:cubicBezTo>
                    <a:pt x="4" y="21"/>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2" name="Gruppieren 451">
            <a:extLst>
              <a:ext uri="{FF2B5EF4-FFF2-40B4-BE49-F238E27FC236}">
                <a16:creationId xmlns:a16="http://schemas.microsoft.com/office/drawing/2014/main" id="{62A4F194-E23E-4DB2-8116-83473EBD62B9}"/>
              </a:ext>
            </a:extLst>
          </p:cNvPr>
          <p:cNvGrpSpPr>
            <a:grpSpLocks noChangeAspect="1"/>
          </p:cNvGrpSpPr>
          <p:nvPr/>
        </p:nvGrpSpPr>
        <p:grpSpPr>
          <a:xfrm>
            <a:off x="5368420" y="4345739"/>
            <a:ext cx="305173" cy="306484"/>
            <a:chOff x="5825872" y="2331440"/>
            <a:chExt cx="228111" cy="229091"/>
          </a:xfrm>
          <a:solidFill>
            <a:schemeClr val="bg1"/>
          </a:solidFill>
          <a:effectLst/>
        </p:grpSpPr>
        <p:sp>
          <p:nvSpPr>
            <p:cNvPr id="453" name="Freeform 34">
              <a:extLst>
                <a:ext uri="{FF2B5EF4-FFF2-40B4-BE49-F238E27FC236}">
                  <a16:creationId xmlns:a16="http://schemas.microsoft.com/office/drawing/2014/main" id="{28B3BA61-58EE-4B35-AF61-F928A994F64E}"/>
                </a:ext>
              </a:extLst>
            </p:cNvPr>
            <p:cNvSpPr>
              <a:spLocks noEditPoints="1"/>
            </p:cNvSpPr>
            <p:nvPr/>
          </p:nvSpPr>
          <p:spPr bwMode="auto">
            <a:xfrm>
              <a:off x="5940417" y="2445986"/>
              <a:ext cx="113566" cy="114545"/>
            </a:xfrm>
            <a:custGeom>
              <a:avLst/>
              <a:gdLst>
                <a:gd name="T0" fmla="*/ 2 w 48"/>
                <a:gd name="T1" fmla="*/ 48 h 48"/>
                <a:gd name="T2" fmla="*/ 1 w 48"/>
                <a:gd name="T3" fmla="*/ 47 h 48"/>
                <a:gd name="T4" fmla="*/ 0 w 48"/>
                <a:gd name="T5" fmla="*/ 45 h 48"/>
                <a:gd name="T6" fmla="*/ 4 w 48"/>
                <a:gd name="T7" fmla="*/ 31 h 48"/>
                <a:gd name="T8" fmla="*/ 5 w 48"/>
                <a:gd name="T9" fmla="*/ 31 h 48"/>
                <a:gd name="T10" fmla="*/ 35 w 48"/>
                <a:gd name="T11" fmla="*/ 1 h 48"/>
                <a:gd name="T12" fmla="*/ 37 w 48"/>
                <a:gd name="T13" fmla="*/ 1 h 48"/>
                <a:gd name="T14" fmla="*/ 47 w 48"/>
                <a:gd name="T15" fmla="*/ 11 h 48"/>
                <a:gd name="T16" fmla="*/ 47 w 48"/>
                <a:gd name="T17" fmla="*/ 13 h 48"/>
                <a:gd name="T18" fmla="*/ 17 w 48"/>
                <a:gd name="T19" fmla="*/ 43 h 48"/>
                <a:gd name="T20" fmla="*/ 17 w 48"/>
                <a:gd name="T21" fmla="*/ 44 h 48"/>
                <a:gd name="T22" fmla="*/ 3 w 48"/>
                <a:gd name="T23" fmla="*/ 48 h 48"/>
                <a:gd name="T24" fmla="*/ 2 w 48"/>
                <a:gd name="T25" fmla="*/ 48 h 48"/>
                <a:gd name="T26" fmla="*/ 8 w 48"/>
                <a:gd name="T27" fmla="*/ 33 h 48"/>
                <a:gd name="T28" fmla="*/ 5 w 48"/>
                <a:gd name="T29" fmla="*/ 43 h 48"/>
                <a:gd name="T30" fmla="*/ 15 w 48"/>
                <a:gd name="T31" fmla="*/ 40 h 48"/>
                <a:gd name="T32" fmla="*/ 43 w 48"/>
                <a:gd name="T33" fmla="*/ 12 h 48"/>
                <a:gd name="T34" fmla="*/ 36 w 48"/>
                <a:gd name="T35" fmla="*/ 5 h 48"/>
                <a:gd name="T36" fmla="*/ 8 w 48"/>
                <a:gd name="T37"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2" y="48"/>
                  </a:moveTo>
                  <a:cubicBezTo>
                    <a:pt x="1" y="48"/>
                    <a:pt x="1" y="48"/>
                    <a:pt x="1" y="47"/>
                  </a:cubicBezTo>
                  <a:cubicBezTo>
                    <a:pt x="0" y="47"/>
                    <a:pt x="0" y="46"/>
                    <a:pt x="0" y="45"/>
                  </a:cubicBezTo>
                  <a:cubicBezTo>
                    <a:pt x="4" y="31"/>
                    <a:pt x="4" y="31"/>
                    <a:pt x="4" y="31"/>
                  </a:cubicBezTo>
                  <a:cubicBezTo>
                    <a:pt x="4" y="31"/>
                    <a:pt x="4" y="31"/>
                    <a:pt x="5" y="31"/>
                  </a:cubicBezTo>
                  <a:cubicBezTo>
                    <a:pt x="35" y="1"/>
                    <a:pt x="35" y="1"/>
                    <a:pt x="35" y="1"/>
                  </a:cubicBezTo>
                  <a:cubicBezTo>
                    <a:pt x="35" y="0"/>
                    <a:pt x="37" y="0"/>
                    <a:pt x="37" y="1"/>
                  </a:cubicBezTo>
                  <a:cubicBezTo>
                    <a:pt x="47" y="11"/>
                    <a:pt x="47" y="11"/>
                    <a:pt x="47" y="11"/>
                  </a:cubicBezTo>
                  <a:cubicBezTo>
                    <a:pt x="48" y="11"/>
                    <a:pt x="48" y="13"/>
                    <a:pt x="47" y="13"/>
                  </a:cubicBezTo>
                  <a:cubicBezTo>
                    <a:pt x="17" y="43"/>
                    <a:pt x="17" y="43"/>
                    <a:pt x="17" y="43"/>
                  </a:cubicBezTo>
                  <a:cubicBezTo>
                    <a:pt x="17" y="44"/>
                    <a:pt x="17" y="44"/>
                    <a:pt x="17" y="44"/>
                  </a:cubicBezTo>
                  <a:cubicBezTo>
                    <a:pt x="3" y="48"/>
                    <a:pt x="3" y="48"/>
                    <a:pt x="3" y="48"/>
                  </a:cubicBezTo>
                  <a:cubicBezTo>
                    <a:pt x="2" y="48"/>
                    <a:pt x="2" y="48"/>
                    <a:pt x="2" y="48"/>
                  </a:cubicBezTo>
                  <a:close/>
                  <a:moveTo>
                    <a:pt x="8" y="33"/>
                  </a:moveTo>
                  <a:cubicBezTo>
                    <a:pt x="5" y="43"/>
                    <a:pt x="5" y="43"/>
                    <a:pt x="5" y="43"/>
                  </a:cubicBezTo>
                  <a:cubicBezTo>
                    <a:pt x="15" y="40"/>
                    <a:pt x="15" y="40"/>
                    <a:pt x="15" y="40"/>
                  </a:cubicBezTo>
                  <a:cubicBezTo>
                    <a:pt x="43" y="12"/>
                    <a:pt x="43" y="12"/>
                    <a:pt x="43" y="12"/>
                  </a:cubicBezTo>
                  <a:cubicBezTo>
                    <a:pt x="36" y="5"/>
                    <a:pt x="36" y="5"/>
                    <a:pt x="36" y="5"/>
                  </a:cubicBezTo>
                  <a:lnTo>
                    <a:pt x="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4" name="Gruppieren 453">
              <a:extLst>
                <a:ext uri="{FF2B5EF4-FFF2-40B4-BE49-F238E27FC236}">
                  <a16:creationId xmlns:a16="http://schemas.microsoft.com/office/drawing/2014/main" id="{DD017AA9-8C70-4ABC-8F0A-769F2964D85E}"/>
                </a:ext>
              </a:extLst>
            </p:cNvPr>
            <p:cNvGrpSpPr/>
            <p:nvPr/>
          </p:nvGrpSpPr>
          <p:grpSpPr>
            <a:xfrm>
              <a:off x="5825872" y="2331440"/>
              <a:ext cx="206572" cy="219301"/>
              <a:chOff x="5825872" y="2331440"/>
              <a:chExt cx="206572" cy="219301"/>
            </a:xfrm>
            <a:grpFill/>
          </p:grpSpPr>
          <p:sp>
            <p:nvSpPr>
              <p:cNvPr id="455" name="Freeform 35">
                <a:extLst>
                  <a:ext uri="{FF2B5EF4-FFF2-40B4-BE49-F238E27FC236}">
                    <a16:creationId xmlns:a16="http://schemas.microsoft.com/office/drawing/2014/main" id="{C1C4D640-ADC9-43F1-AB55-6544936BD5F0}"/>
                  </a:ext>
                </a:extLst>
              </p:cNvPr>
              <p:cNvSpPr>
                <a:spLocks/>
              </p:cNvSpPr>
              <p:nvPr/>
            </p:nvSpPr>
            <p:spPr bwMode="auto">
              <a:xfrm>
                <a:off x="6004053" y="2467524"/>
                <a:ext cx="28391" cy="28392"/>
              </a:xfrm>
              <a:custGeom>
                <a:avLst/>
                <a:gdLst>
                  <a:gd name="T0" fmla="*/ 24 w 29"/>
                  <a:gd name="T1" fmla="*/ 29 h 29"/>
                  <a:gd name="T2" fmla="*/ 0 w 29"/>
                  <a:gd name="T3" fmla="*/ 5 h 29"/>
                  <a:gd name="T4" fmla="*/ 5 w 29"/>
                  <a:gd name="T5" fmla="*/ 0 h 29"/>
                  <a:gd name="T6" fmla="*/ 29 w 29"/>
                  <a:gd name="T7" fmla="*/ 24 h 29"/>
                  <a:gd name="T8" fmla="*/ 24 w 29"/>
                  <a:gd name="T9" fmla="*/ 29 h 29"/>
                </a:gdLst>
                <a:ahLst/>
                <a:cxnLst>
                  <a:cxn ang="0">
                    <a:pos x="T0" y="T1"/>
                  </a:cxn>
                  <a:cxn ang="0">
                    <a:pos x="T2" y="T3"/>
                  </a:cxn>
                  <a:cxn ang="0">
                    <a:pos x="T4" y="T5"/>
                  </a:cxn>
                  <a:cxn ang="0">
                    <a:pos x="T6" y="T7"/>
                  </a:cxn>
                  <a:cxn ang="0">
                    <a:pos x="T8" y="T9"/>
                  </a:cxn>
                </a:cxnLst>
                <a:rect l="0" t="0" r="r" b="b"/>
                <a:pathLst>
                  <a:path w="29" h="29">
                    <a:moveTo>
                      <a:pt x="24" y="29"/>
                    </a:moveTo>
                    <a:lnTo>
                      <a:pt x="0" y="5"/>
                    </a:lnTo>
                    <a:lnTo>
                      <a:pt x="5" y="0"/>
                    </a:lnTo>
                    <a:lnTo>
                      <a:pt x="29" y="24"/>
                    </a:lnTo>
                    <a:lnTo>
                      <a:pt x="2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36">
                <a:extLst>
                  <a:ext uri="{FF2B5EF4-FFF2-40B4-BE49-F238E27FC236}">
                    <a16:creationId xmlns:a16="http://schemas.microsoft.com/office/drawing/2014/main" id="{1E2385AE-C495-43AB-8705-CEAC7F2D11AD}"/>
                  </a:ext>
                </a:extLst>
              </p:cNvPr>
              <p:cNvSpPr>
                <a:spLocks/>
              </p:cNvSpPr>
              <p:nvPr/>
            </p:nvSpPr>
            <p:spPr bwMode="auto">
              <a:xfrm>
                <a:off x="5949228" y="2517454"/>
                <a:ext cx="33287" cy="33287"/>
              </a:xfrm>
              <a:custGeom>
                <a:avLst/>
                <a:gdLst>
                  <a:gd name="T0" fmla="*/ 12 w 14"/>
                  <a:gd name="T1" fmla="*/ 14 h 14"/>
                  <a:gd name="T2" fmla="*/ 11 w 14"/>
                  <a:gd name="T3" fmla="*/ 13 h 14"/>
                  <a:gd name="T4" fmla="*/ 1 w 14"/>
                  <a:gd name="T5" fmla="*/ 3 h 14"/>
                  <a:gd name="T6" fmla="*/ 1 w 14"/>
                  <a:gd name="T7" fmla="*/ 1 h 14"/>
                  <a:gd name="T8" fmla="*/ 3 w 14"/>
                  <a:gd name="T9" fmla="*/ 1 h 14"/>
                  <a:gd name="T10" fmla="*/ 13 w 14"/>
                  <a:gd name="T11" fmla="*/ 11 h 14"/>
                  <a:gd name="T12" fmla="*/ 13 w 14"/>
                  <a:gd name="T13" fmla="*/ 13 h 14"/>
                  <a:gd name="T14" fmla="*/ 12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2" y="14"/>
                    </a:moveTo>
                    <a:cubicBezTo>
                      <a:pt x="11" y="14"/>
                      <a:pt x="11" y="14"/>
                      <a:pt x="11" y="13"/>
                    </a:cubicBezTo>
                    <a:cubicBezTo>
                      <a:pt x="1" y="3"/>
                      <a:pt x="1" y="3"/>
                      <a:pt x="1" y="3"/>
                    </a:cubicBezTo>
                    <a:cubicBezTo>
                      <a:pt x="0" y="3"/>
                      <a:pt x="0" y="1"/>
                      <a:pt x="1" y="1"/>
                    </a:cubicBezTo>
                    <a:cubicBezTo>
                      <a:pt x="1" y="0"/>
                      <a:pt x="3" y="0"/>
                      <a:pt x="3" y="1"/>
                    </a:cubicBezTo>
                    <a:cubicBezTo>
                      <a:pt x="13" y="11"/>
                      <a:pt x="13" y="11"/>
                      <a:pt x="13" y="11"/>
                    </a:cubicBezTo>
                    <a:cubicBezTo>
                      <a:pt x="14" y="11"/>
                      <a:pt x="14" y="13"/>
                      <a:pt x="13" y="13"/>
                    </a:cubicBezTo>
                    <a:cubicBezTo>
                      <a:pt x="13" y="14"/>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37">
                <a:extLst>
                  <a:ext uri="{FF2B5EF4-FFF2-40B4-BE49-F238E27FC236}">
                    <a16:creationId xmlns:a16="http://schemas.microsoft.com/office/drawing/2014/main" id="{DE33D624-2F46-4867-BE7F-4D899E769A4A}"/>
                  </a:ext>
                </a:extLst>
              </p:cNvPr>
              <p:cNvSpPr>
                <a:spLocks/>
              </p:cNvSpPr>
              <p:nvPr/>
            </p:nvSpPr>
            <p:spPr bwMode="auto">
              <a:xfrm>
                <a:off x="5907130" y="2427384"/>
                <a:ext cx="46993" cy="8811"/>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38">
                <a:extLst>
                  <a:ext uri="{FF2B5EF4-FFF2-40B4-BE49-F238E27FC236}">
                    <a16:creationId xmlns:a16="http://schemas.microsoft.com/office/drawing/2014/main" id="{CA833EEE-4D23-457D-8A89-181BD57819EA}"/>
                  </a:ext>
                </a:extLst>
              </p:cNvPr>
              <p:cNvSpPr>
                <a:spLocks/>
              </p:cNvSpPr>
              <p:nvPr/>
            </p:nvSpPr>
            <p:spPr bwMode="auto">
              <a:xfrm>
                <a:off x="5907130" y="2465566"/>
                <a:ext cx="46993" cy="8811"/>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39">
                <a:extLst>
                  <a:ext uri="{FF2B5EF4-FFF2-40B4-BE49-F238E27FC236}">
                    <a16:creationId xmlns:a16="http://schemas.microsoft.com/office/drawing/2014/main" id="{CC701286-C523-4CC1-A4A9-E19F716C6A3F}"/>
                  </a:ext>
                </a:extLst>
              </p:cNvPr>
              <p:cNvSpPr>
                <a:spLocks/>
              </p:cNvSpPr>
              <p:nvPr/>
            </p:nvSpPr>
            <p:spPr bwMode="auto">
              <a:xfrm>
                <a:off x="5854263" y="2407803"/>
                <a:ext cx="47972" cy="33287"/>
              </a:xfrm>
              <a:custGeom>
                <a:avLst/>
                <a:gdLst>
                  <a:gd name="T0" fmla="*/ 8 w 20"/>
                  <a:gd name="T1" fmla="*/ 14 h 14"/>
                  <a:gd name="T2" fmla="*/ 7 w 20"/>
                  <a:gd name="T3" fmla="*/ 13 h 14"/>
                  <a:gd name="T4" fmla="*/ 1 w 20"/>
                  <a:gd name="T5" fmla="*/ 7 h 14"/>
                  <a:gd name="T6" fmla="*/ 1 w 20"/>
                  <a:gd name="T7" fmla="*/ 5 h 14"/>
                  <a:gd name="T8" fmla="*/ 3 w 20"/>
                  <a:gd name="T9" fmla="*/ 5 h 14"/>
                  <a:gd name="T10" fmla="*/ 8 w 20"/>
                  <a:gd name="T11" fmla="*/ 9 h 14"/>
                  <a:gd name="T12" fmla="*/ 17 w 20"/>
                  <a:gd name="T13" fmla="*/ 1 h 14"/>
                  <a:gd name="T14" fmla="*/ 19 w 20"/>
                  <a:gd name="T15" fmla="*/ 1 h 14"/>
                  <a:gd name="T16" fmla="*/ 19 w 20"/>
                  <a:gd name="T17" fmla="*/ 3 h 14"/>
                  <a:gd name="T18" fmla="*/ 9 w 20"/>
                  <a:gd name="T19" fmla="*/ 13 h 14"/>
                  <a:gd name="T20" fmla="*/ 8 w 20"/>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8" y="14"/>
                    </a:moveTo>
                    <a:cubicBezTo>
                      <a:pt x="7" y="14"/>
                      <a:pt x="7" y="14"/>
                      <a:pt x="7" y="13"/>
                    </a:cubicBezTo>
                    <a:cubicBezTo>
                      <a:pt x="1" y="7"/>
                      <a:pt x="1" y="7"/>
                      <a:pt x="1" y="7"/>
                    </a:cubicBezTo>
                    <a:cubicBezTo>
                      <a:pt x="0" y="7"/>
                      <a:pt x="0" y="5"/>
                      <a:pt x="1" y="5"/>
                    </a:cubicBezTo>
                    <a:cubicBezTo>
                      <a:pt x="1" y="4"/>
                      <a:pt x="3" y="4"/>
                      <a:pt x="3" y="5"/>
                    </a:cubicBezTo>
                    <a:cubicBezTo>
                      <a:pt x="8" y="9"/>
                      <a:pt x="8" y="9"/>
                      <a:pt x="8" y="9"/>
                    </a:cubicBezTo>
                    <a:cubicBezTo>
                      <a:pt x="17" y="1"/>
                      <a:pt x="17" y="1"/>
                      <a:pt x="17" y="1"/>
                    </a:cubicBezTo>
                    <a:cubicBezTo>
                      <a:pt x="17" y="0"/>
                      <a:pt x="19" y="0"/>
                      <a:pt x="19" y="1"/>
                    </a:cubicBezTo>
                    <a:cubicBezTo>
                      <a:pt x="20" y="1"/>
                      <a:pt x="20" y="3"/>
                      <a:pt x="19" y="3"/>
                    </a:cubicBezTo>
                    <a:cubicBezTo>
                      <a:pt x="9" y="13"/>
                      <a:pt x="9" y="13"/>
                      <a:pt x="9" y="13"/>
                    </a:cubicBezTo>
                    <a:cubicBezTo>
                      <a:pt x="9"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40">
                <a:extLst>
                  <a:ext uri="{FF2B5EF4-FFF2-40B4-BE49-F238E27FC236}">
                    <a16:creationId xmlns:a16="http://schemas.microsoft.com/office/drawing/2014/main" id="{A4B87134-2339-40D6-8EE3-31D980ACFE6F}"/>
                  </a:ext>
                </a:extLst>
              </p:cNvPr>
              <p:cNvSpPr>
                <a:spLocks/>
              </p:cNvSpPr>
              <p:nvPr/>
            </p:nvSpPr>
            <p:spPr bwMode="auto">
              <a:xfrm>
                <a:off x="5854263" y="2445986"/>
                <a:ext cx="47972" cy="33287"/>
              </a:xfrm>
              <a:custGeom>
                <a:avLst/>
                <a:gdLst>
                  <a:gd name="T0" fmla="*/ 8 w 20"/>
                  <a:gd name="T1" fmla="*/ 14 h 14"/>
                  <a:gd name="T2" fmla="*/ 7 w 20"/>
                  <a:gd name="T3" fmla="*/ 13 h 14"/>
                  <a:gd name="T4" fmla="*/ 1 w 20"/>
                  <a:gd name="T5" fmla="*/ 7 h 14"/>
                  <a:gd name="T6" fmla="*/ 1 w 20"/>
                  <a:gd name="T7" fmla="*/ 5 h 14"/>
                  <a:gd name="T8" fmla="*/ 3 w 20"/>
                  <a:gd name="T9" fmla="*/ 5 h 14"/>
                  <a:gd name="T10" fmla="*/ 8 w 20"/>
                  <a:gd name="T11" fmla="*/ 9 h 14"/>
                  <a:gd name="T12" fmla="*/ 17 w 20"/>
                  <a:gd name="T13" fmla="*/ 1 h 14"/>
                  <a:gd name="T14" fmla="*/ 19 w 20"/>
                  <a:gd name="T15" fmla="*/ 1 h 14"/>
                  <a:gd name="T16" fmla="*/ 19 w 20"/>
                  <a:gd name="T17" fmla="*/ 3 h 14"/>
                  <a:gd name="T18" fmla="*/ 9 w 20"/>
                  <a:gd name="T19" fmla="*/ 13 h 14"/>
                  <a:gd name="T20" fmla="*/ 8 w 20"/>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8" y="14"/>
                    </a:moveTo>
                    <a:cubicBezTo>
                      <a:pt x="7" y="14"/>
                      <a:pt x="7" y="14"/>
                      <a:pt x="7" y="13"/>
                    </a:cubicBezTo>
                    <a:cubicBezTo>
                      <a:pt x="1" y="7"/>
                      <a:pt x="1" y="7"/>
                      <a:pt x="1" y="7"/>
                    </a:cubicBezTo>
                    <a:cubicBezTo>
                      <a:pt x="0" y="7"/>
                      <a:pt x="0" y="5"/>
                      <a:pt x="1" y="5"/>
                    </a:cubicBezTo>
                    <a:cubicBezTo>
                      <a:pt x="1" y="4"/>
                      <a:pt x="3" y="4"/>
                      <a:pt x="3" y="5"/>
                    </a:cubicBezTo>
                    <a:cubicBezTo>
                      <a:pt x="8" y="9"/>
                      <a:pt x="8" y="9"/>
                      <a:pt x="8" y="9"/>
                    </a:cubicBezTo>
                    <a:cubicBezTo>
                      <a:pt x="17" y="1"/>
                      <a:pt x="17" y="1"/>
                      <a:pt x="17" y="1"/>
                    </a:cubicBezTo>
                    <a:cubicBezTo>
                      <a:pt x="17" y="0"/>
                      <a:pt x="19" y="0"/>
                      <a:pt x="19" y="1"/>
                    </a:cubicBezTo>
                    <a:cubicBezTo>
                      <a:pt x="20" y="1"/>
                      <a:pt x="20" y="3"/>
                      <a:pt x="19" y="3"/>
                    </a:cubicBezTo>
                    <a:cubicBezTo>
                      <a:pt x="9" y="13"/>
                      <a:pt x="9" y="13"/>
                      <a:pt x="9" y="13"/>
                    </a:cubicBezTo>
                    <a:cubicBezTo>
                      <a:pt x="9" y="14"/>
                      <a:pt x="9" y="14"/>
                      <a:pt x="8"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41">
                <a:extLst>
                  <a:ext uri="{FF2B5EF4-FFF2-40B4-BE49-F238E27FC236}">
                    <a16:creationId xmlns:a16="http://schemas.microsoft.com/office/drawing/2014/main" id="{D2261450-EA09-476E-B617-8BB1BB3CAD98}"/>
                  </a:ext>
                </a:extLst>
              </p:cNvPr>
              <p:cNvSpPr>
                <a:spLocks/>
              </p:cNvSpPr>
              <p:nvPr/>
            </p:nvSpPr>
            <p:spPr bwMode="auto">
              <a:xfrm>
                <a:off x="5825872" y="2331440"/>
                <a:ext cx="161538" cy="210489"/>
              </a:xfrm>
              <a:custGeom>
                <a:avLst/>
                <a:gdLst>
                  <a:gd name="T0" fmla="*/ 36 w 68"/>
                  <a:gd name="T1" fmla="*/ 88 h 88"/>
                  <a:gd name="T2" fmla="*/ 2 w 68"/>
                  <a:gd name="T3" fmla="*/ 88 h 88"/>
                  <a:gd name="T4" fmla="*/ 0 w 68"/>
                  <a:gd name="T5" fmla="*/ 86 h 88"/>
                  <a:gd name="T6" fmla="*/ 0 w 68"/>
                  <a:gd name="T7" fmla="*/ 2 h 88"/>
                  <a:gd name="T8" fmla="*/ 2 w 68"/>
                  <a:gd name="T9" fmla="*/ 0 h 88"/>
                  <a:gd name="T10" fmla="*/ 46 w 68"/>
                  <a:gd name="T11" fmla="*/ 0 h 88"/>
                  <a:gd name="T12" fmla="*/ 47 w 68"/>
                  <a:gd name="T13" fmla="*/ 1 h 88"/>
                  <a:gd name="T14" fmla="*/ 67 w 68"/>
                  <a:gd name="T15" fmla="*/ 21 h 88"/>
                  <a:gd name="T16" fmla="*/ 68 w 68"/>
                  <a:gd name="T17" fmla="*/ 22 h 88"/>
                  <a:gd name="T18" fmla="*/ 68 w 68"/>
                  <a:gd name="T19" fmla="*/ 52 h 88"/>
                  <a:gd name="T20" fmla="*/ 66 w 68"/>
                  <a:gd name="T21" fmla="*/ 54 h 88"/>
                  <a:gd name="T22" fmla="*/ 64 w 68"/>
                  <a:gd name="T23" fmla="*/ 52 h 88"/>
                  <a:gd name="T24" fmla="*/ 64 w 68"/>
                  <a:gd name="T25" fmla="*/ 23 h 88"/>
                  <a:gd name="T26" fmla="*/ 45 w 68"/>
                  <a:gd name="T27" fmla="*/ 4 h 88"/>
                  <a:gd name="T28" fmla="*/ 4 w 68"/>
                  <a:gd name="T29" fmla="*/ 4 h 88"/>
                  <a:gd name="T30" fmla="*/ 4 w 68"/>
                  <a:gd name="T31" fmla="*/ 84 h 88"/>
                  <a:gd name="T32" fmla="*/ 36 w 68"/>
                  <a:gd name="T33" fmla="*/ 84 h 88"/>
                  <a:gd name="T34" fmla="*/ 38 w 68"/>
                  <a:gd name="T35" fmla="*/ 86 h 88"/>
                  <a:gd name="T36" fmla="*/ 36 w 6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88">
                    <a:moveTo>
                      <a:pt x="36" y="88"/>
                    </a:moveTo>
                    <a:cubicBezTo>
                      <a:pt x="2" y="88"/>
                      <a:pt x="2" y="88"/>
                      <a:pt x="2" y="88"/>
                    </a:cubicBezTo>
                    <a:cubicBezTo>
                      <a:pt x="1" y="88"/>
                      <a:pt x="0" y="87"/>
                      <a:pt x="0" y="86"/>
                    </a:cubicBezTo>
                    <a:cubicBezTo>
                      <a:pt x="0" y="2"/>
                      <a:pt x="0" y="2"/>
                      <a:pt x="0" y="2"/>
                    </a:cubicBezTo>
                    <a:cubicBezTo>
                      <a:pt x="0" y="1"/>
                      <a:pt x="1" y="0"/>
                      <a:pt x="2" y="0"/>
                    </a:cubicBezTo>
                    <a:cubicBezTo>
                      <a:pt x="46" y="0"/>
                      <a:pt x="46" y="0"/>
                      <a:pt x="46" y="0"/>
                    </a:cubicBezTo>
                    <a:cubicBezTo>
                      <a:pt x="47" y="0"/>
                      <a:pt x="47" y="0"/>
                      <a:pt x="47" y="1"/>
                    </a:cubicBezTo>
                    <a:cubicBezTo>
                      <a:pt x="67" y="21"/>
                      <a:pt x="67" y="21"/>
                      <a:pt x="67" y="21"/>
                    </a:cubicBezTo>
                    <a:cubicBezTo>
                      <a:pt x="68" y="21"/>
                      <a:pt x="68" y="21"/>
                      <a:pt x="68" y="22"/>
                    </a:cubicBezTo>
                    <a:cubicBezTo>
                      <a:pt x="68" y="52"/>
                      <a:pt x="68" y="52"/>
                      <a:pt x="68" y="52"/>
                    </a:cubicBezTo>
                    <a:cubicBezTo>
                      <a:pt x="68" y="53"/>
                      <a:pt x="67" y="54"/>
                      <a:pt x="66" y="54"/>
                    </a:cubicBezTo>
                    <a:cubicBezTo>
                      <a:pt x="65" y="54"/>
                      <a:pt x="64" y="53"/>
                      <a:pt x="64" y="52"/>
                    </a:cubicBezTo>
                    <a:cubicBezTo>
                      <a:pt x="64" y="23"/>
                      <a:pt x="64" y="23"/>
                      <a:pt x="64" y="23"/>
                    </a:cubicBezTo>
                    <a:cubicBezTo>
                      <a:pt x="45" y="4"/>
                      <a:pt x="45" y="4"/>
                      <a:pt x="45" y="4"/>
                    </a:cubicBezTo>
                    <a:cubicBezTo>
                      <a:pt x="4" y="4"/>
                      <a:pt x="4" y="4"/>
                      <a:pt x="4" y="4"/>
                    </a:cubicBezTo>
                    <a:cubicBezTo>
                      <a:pt x="4" y="84"/>
                      <a:pt x="4" y="84"/>
                      <a:pt x="4" y="84"/>
                    </a:cubicBezTo>
                    <a:cubicBezTo>
                      <a:pt x="36" y="84"/>
                      <a:pt x="36" y="84"/>
                      <a:pt x="36" y="84"/>
                    </a:cubicBezTo>
                    <a:cubicBezTo>
                      <a:pt x="37" y="84"/>
                      <a:pt x="38" y="85"/>
                      <a:pt x="38" y="86"/>
                    </a:cubicBezTo>
                    <a:cubicBezTo>
                      <a:pt x="38" y="87"/>
                      <a:pt x="37" y="88"/>
                      <a:pt x="36"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42">
                <a:extLst>
                  <a:ext uri="{FF2B5EF4-FFF2-40B4-BE49-F238E27FC236}">
                    <a16:creationId xmlns:a16="http://schemas.microsoft.com/office/drawing/2014/main" id="{328FDFFB-C1D5-4042-A7CF-05C849C887EF}"/>
                  </a:ext>
                </a:extLst>
              </p:cNvPr>
              <p:cNvSpPr>
                <a:spLocks/>
              </p:cNvSpPr>
              <p:nvPr/>
            </p:nvSpPr>
            <p:spPr bwMode="auto">
              <a:xfrm>
                <a:off x="5930627" y="2331440"/>
                <a:ext cx="56783" cy="577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8" name="Group 23">
            <a:extLst>
              <a:ext uri="{FF2B5EF4-FFF2-40B4-BE49-F238E27FC236}">
                <a16:creationId xmlns:a16="http://schemas.microsoft.com/office/drawing/2014/main" id="{44B2F801-B749-4F3E-97D1-CC7D31E4D1F0}"/>
              </a:ext>
            </a:extLst>
          </p:cNvPr>
          <p:cNvGrpSpPr>
            <a:grpSpLocks noChangeAspect="1"/>
          </p:cNvGrpSpPr>
          <p:nvPr/>
        </p:nvGrpSpPr>
        <p:grpSpPr>
          <a:xfrm>
            <a:off x="6214920" y="4345739"/>
            <a:ext cx="229044" cy="306484"/>
            <a:chOff x="2765425" y="1792288"/>
            <a:chExt cx="554038" cy="741363"/>
          </a:xfrm>
          <a:solidFill>
            <a:schemeClr val="bg1"/>
          </a:solidFill>
          <a:effectLst/>
        </p:grpSpPr>
        <p:sp>
          <p:nvSpPr>
            <p:cNvPr id="469" name="Freeform 107">
              <a:extLst>
                <a:ext uri="{FF2B5EF4-FFF2-40B4-BE49-F238E27FC236}">
                  <a16:creationId xmlns:a16="http://schemas.microsoft.com/office/drawing/2014/main" id="{B422F5B2-EBF2-49CE-BA91-067385B4A2B3}"/>
                </a:ext>
              </a:extLst>
            </p:cNvPr>
            <p:cNvSpPr>
              <a:spLocks noEditPoints="1"/>
            </p:cNvSpPr>
            <p:nvPr/>
          </p:nvSpPr>
          <p:spPr bwMode="auto">
            <a:xfrm>
              <a:off x="2765425" y="1792288"/>
              <a:ext cx="473075" cy="676275"/>
            </a:xfrm>
            <a:custGeom>
              <a:avLst/>
              <a:gdLst>
                <a:gd name="T0" fmla="*/ 53 w 892"/>
                <a:gd name="T1" fmla="*/ 1224 h 1277"/>
                <a:gd name="T2" fmla="*/ 840 w 892"/>
                <a:gd name="T3" fmla="*/ 1224 h 1277"/>
                <a:gd name="T4" fmla="*/ 840 w 892"/>
                <a:gd name="T5" fmla="*/ 52 h 1277"/>
                <a:gd name="T6" fmla="*/ 258 w 892"/>
                <a:gd name="T7" fmla="*/ 52 h 1277"/>
                <a:gd name="T8" fmla="*/ 53 w 892"/>
                <a:gd name="T9" fmla="*/ 259 h 1277"/>
                <a:gd name="T10" fmla="*/ 53 w 892"/>
                <a:gd name="T11" fmla="*/ 1224 h 1277"/>
                <a:gd name="T12" fmla="*/ 866 w 892"/>
                <a:gd name="T13" fmla="*/ 1277 h 1277"/>
                <a:gd name="T14" fmla="*/ 26 w 892"/>
                <a:gd name="T15" fmla="*/ 1277 h 1277"/>
                <a:gd name="T16" fmla="*/ 22 w 892"/>
                <a:gd name="T17" fmla="*/ 1276 h 1277"/>
                <a:gd name="T18" fmla="*/ 16 w 892"/>
                <a:gd name="T19" fmla="*/ 1274 h 1277"/>
                <a:gd name="T20" fmla="*/ 12 w 892"/>
                <a:gd name="T21" fmla="*/ 1271 h 1277"/>
                <a:gd name="T22" fmla="*/ 9 w 892"/>
                <a:gd name="T23" fmla="*/ 1269 h 1277"/>
                <a:gd name="T24" fmla="*/ 5 w 892"/>
                <a:gd name="T25" fmla="*/ 1266 h 1277"/>
                <a:gd name="T26" fmla="*/ 3 w 892"/>
                <a:gd name="T27" fmla="*/ 1260 h 1277"/>
                <a:gd name="T28" fmla="*/ 2 w 892"/>
                <a:gd name="T29" fmla="*/ 1256 h 1277"/>
                <a:gd name="T30" fmla="*/ 0 w 892"/>
                <a:gd name="T31" fmla="*/ 1250 h 1277"/>
                <a:gd name="T32" fmla="*/ 0 w 892"/>
                <a:gd name="T33" fmla="*/ 248 h 1277"/>
                <a:gd name="T34" fmla="*/ 2 w 892"/>
                <a:gd name="T35" fmla="*/ 243 h 1277"/>
                <a:gd name="T36" fmla="*/ 3 w 892"/>
                <a:gd name="T37" fmla="*/ 239 h 1277"/>
                <a:gd name="T38" fmla="*/ 5 w 892"/>
                <a:gd name="T39" fmla="*/ 233 h 1277"/>
                <a:gd name="T40" fmla="*/ 9 w 892"/>
                <a:gd name="T41" fmla="*/ 230 h 1277"/>
                <a:gd name="T42" fmla="*/ 229 w 892"/>
                <a:gd name="T43" fmla="*/ 7 h 1277"/>
                <a:gd name="T44" fmla="*/ 232 w 892"/>
                <a:gd name="T45" fmla="*/ 4 h 1277"/>
                <a:gd name="T46" fmla="*/ 238 w 892"/>
                <a:gd name="T47" fmla="*/ 1 h 1277"/>
                <a:gd name="T48" fmla="*/ 242 w 892"/>
                <a:gd name="T49" fmla="*/ 0 h 1277"/>
                <a:gd name="T50" fmla="*/ 248 w 892"/>
                <a:gd name="T51" fmla="*/ 0 h 1277"/>
                <a:gd name="T52" fmla="*/ 866 w 892"/>
                <a:gd name="T53" fmla="*/ 0 h 1277"/>
                <a:gd name="T54" fmla="*/ 870 w 892"/>
                <a:gd name="T55" fmla="*/ 0 h 1277"/>
                <a:gd name="T56" fmla="*/ 876 w 892"/>
                <a:gd name="T57" fmla="*/ 1 h 1277"/>
                <a:gd name="T58" fmla="*/ 880 w 892"/>
                <a:gd name="T59" fmla="*/ 4 h 1277"/>
                <a:gd name="T60" fmla="*/ 884 w 892"/>
                <a:gd name="T61" fmla="*/ 7 h 1277"/>
                <a:gd name="T62" fmla="*/ 887 w 892"/>
                <a:gd name="T63" fmla="*/ 11 h 1277"/>
                <a:gd name="T64" fmla="*/ 889 w 892"/>
                <a:gd name="T65" fmla="*/ 16 h 1277"/>
                <a:gd name="T66" fmla="*/ 892 w 892"/>
                <a:gd name="T67" fmla="*/ 20 h 1277"/>
                <a:gd name="T68" fmla="*/ 892 w 892"/>
                <a:gd name="T69" fmla="*/ 26 h 1277"/>
                <a:gd name="T70" fmla="*/ 892 w 892"/>
                <a:gd name="T71" fmla="*/ 1250 h 1277"/>
                <a:gd name="T72" fmla="*/ 892 w 892"/>
                <a:gd name="T73" fmla="*/ 1256 h 1277"/>
                <a:gd name="T74" fmla="*/ 889 w 892"/>
                <a:gd name="T75" fmla="*/ 1260 h 1277"/>
                <a:gd name="T76" fmla="*/ 887 w 892"/>
                <a:gd name="T77" fmla="*/ 1266 h 1277"/>
                <a:gd name="T78" fmla="*/ 884 w 892"/>
                <a:gd name="T79" fmla="*/ 1269 h 1277"/>
                <a:gd name="T80" fmla="*/ 880 w 892"/>
                <a:gd name="T81" fmla="*/ 1271 h 1277"/>
                <a:gd name="T82" fmla="*/ 876 w 892"/>
                <a:gd name="T83" fmla="*/ 1274 h 1277"/>
                <a:gd name="T84" fmla="*/ 870 w 892"/>
                <a:gd name="T85" fmla="*/ 1276 h 1277"/>
                <a:gd name="T86" fmla="*/ 866 w 892"/>
                <a:gd name="T87" fmla="*/ 1277 h 1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2" h="1277">
                  <a:moveTo>
                    <a:pt x="53" y="1224"/>
                  </a:moveTo>
                  <a:lnTo>
                    <a:pt x="840" y="1224"/>
                  </a:lnTo>
                  <a:lnTo>
                    <a:pt x="840" y="52"/>
                  </a:lnTo>
                  <a:lnTo>
                    <a:pt x="258" y="52"/>
                  </a:lnTo>
                  <a:lnTo>
                    <a:pt x="53" y="259"/>
                  </a:lnTo>
                  <a:lnTo>
                    <a:pt x="53" y="1224"/>
                  </a:lnTo>
                  <a:close/>
                  <a:moveTo>
                    <a:pt x="866" y="1277"/>
                  </a:moveTo>
                  <a:lnTo>
                    <a:pt x="26" y="1277"/>
                  </a:lnTo>
                  <a:lnTo>
                    <a:pt x="22" y="1276"/>
                  </a:lnTo>
                  <a:lnTo>
                    <a:pt x="16" y="1274"/>
                  </a:lnTo>
                  <a:lnTo>
                    <a:pt x="12" y="1271"/>
                  </a:lnTo>
                  <a:lnTo>
                    <a:pt x="9" y="1269"/>
                  </a:lnTo>
                  <a:lnTo>
                    <a:pt x="5" y="1266"/>
                  </a:lnTo>
                  <a:lnTo>
                    <a:pt x="3" y="1260"/>
                  </a:lnTo>
                  <a:lnTo>
                    <a:pt x="2" y="1256"/>
                  </a:lnTo>
                  <a:lnTo>
                    <a:pt x="0" y="1250"/>
                  </a:lnTo>
                  <a:lnTo>
                    <a:pt x="0" y="248"/>
                  </a:lnTo>
                  <a:lnTo>
                    <a:pt x="2" y="243"/>
                  </a:lnTo>
                  <a:lnTo>
                    <a:pt x="3" y="239"/>
                  </a:lnTo>
                  <a:lnTo>
                    <a:pt x="5" y="233"/>
                  </a:lnTo>
                  <a:lnTo>
                    <a:pt x="9" y="230"/>
                  </a:lnTo>
                  <a:lnTo>
                    <a:pt x="229" y="7"/>
                  </a:lnTo>
                  <a:lnTo>
                    <a:pt x="232" y="4"/>
                  </a:lnTo>
                  <a:lnTo>
                    <a:pt x="238" y="1"/>
                  </a:lnTo>
                  <a:lnTo>
                    <a:pt x="242" y="0"/>
                  </a:lnTo>
                  <a:lnTo>
                    <a:pt x="248" y="0"/>
                  </a:lnTo>
                  <a:lnTo>
                    <a:pt x="866" y="0"/>
                  </a:lnTo>
                  <a:lnTo>
                    <a:pt x="870" y="0"/>
                  </a:lnTo>
                  <a:lnTo>
                    <a:pt x="876" y="1"/>
                  </a:lnTo>
                  <a:lnTo>
                    <a:pt x="880" y="4"/>
                  </a:lnTo>
                  <a:lnTo>
                    <a:pt x="884" y="7"/>
                  </a:lnTo>
                  <a:lnTo>
                    <a:pt x="887" y="11"/>
                  </a:lnTo>
                  <a:lnTo>
                    <a:pt x="889" y="16"/>
                  </a:lnTo>
                  <a:lnTo>
                    <a:pt x="892" y="20"/>
                  </a:lnTo>
                  <a:lnTo>
                    <a:pt x="892" y="26"/>
                  </a:lnTo>
                  <a:lnTo>
                    <a:pt x="892" y="1250"/>
                  </a:lnTo>
                  <a:lnTo>
                    <a:pt x="892" y="1256"/>
                  </a:lnTo>
                  <a:lnTo>
                    <a:pt x="889" y="1260"/>
                  </a:lnTo>
                  <a:lnTo>
                    <a:pt x="887" y="1266"/>
                  </a:lnTo>
                  <a:lnTo>
                    <a:pt x="884" y="1269"/>
                  </a:lnTo>
                  <a:lnTo>
                    <a:pt x="880" y="1271"/>
                  </a:lnTo>
                  <a:lnTo>
                    <a:pt x="876" y="1274"/>
                  </a:lnTo>
                  <a:lnTo>
                    <a:pt x="870" y="1276"/>
                  </a:lnTo>
                  <a:lnTo>
                    <a:pt x="866" y="1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08">
              <a:extLst>
                <a:ext uri="{FF2B5EF4-FFF2-40B4-BE49-F238E27FC236}">
                  <a16:creationId xmlns:a16="http://schemas.microsoft.com/office/drawing/2014/main" id="{43020519-874E-4423-ACBC-3AB3767BC093}"/>
                </a:ext>
              </a:extLst>
            </p:cNvPr>
            <p:cNvSpPr>
              <a:spLocks/>
            </p:cNvSpPr>
            <p:nvPr/>
          </p:nvSpPr>
          <p:spPr bwMode="auto">
            <a:xfrm>
              <a:off x="2833688" y="1909763"/>
              <a:ext cx="485775" cy="623888"/>
            </a:xfrm>
            <a:custGeom>
              <a:avLst/>
              <a:gdLst>
                <a:gd name="T0" fmla="*/ 26 w 918"/>
                <a:gd name="T1" fmla="*/ 1180 h 1180"/>
                <a:gd name="T2" fmla="*/ 16 w 918"/>
                <a:gd name="T3" fmla="*/ 1178 h 1180"/>
                <a:gd name="T4" fmla="*/ 8 w 918"/>
                <a:gd name="T5" fmla="*/ 1173 h 1180"/>
                <a:gd name="T6" fmla="*/ 3 w 918"/>
                <a:gd name="T7" fmla="*/ 1165 h 1180"/>
                <a:gd name="T8" fmla="*/ 0 w 918"/>
                <a:gd name="T9" fmla="*/ 1155 h 1180"/>
                <a:gd name="T10" fmla="*/ 0 w 918"/>
                <a:gd name="T11" fmla="*/ 1024 h 1180"/>
                <a:gd name="T12" fmla="*/ 5 w 918"/>
                <a:gd name="T13" fmla="*/ 1013 h 1180"/>
                <a:gd name="T14" fmla="*/ 12 w 918"/>
                <a:gd name="T15" fmla="*/ 1006 h 1180"/>
                <a:gd name="T16" fmla="*/ 22 w 918"/>
                <a:gd name="T17" fmla="*/ 1003 h 1180"/>
                <a:gd name="T18" fmla="*/ 32 w 918"/>
                <a:gd name="T19" fmla="*/ 1003 h 1180"/>
                <a:gd name="T20" fmla="*/ 41 w 918"/>
                <a:gd name="T21" fmla="*/ 1006 h 1180"/>
                <a:gd name="T22" fmla="*/ 48 w 918"/>
                <a:gd name="T23" fmla="*/ 1013 h 1180"/>
                <a:gd name="T24" fmla="*/ 52 w 918"/>
                <a:gd name="T25" fmla="*/ 1024 h 1180"/>
                <a:gd name="T26" fmla="*/ 52 w 918"/>
                <a:gd name="T27" fmla="*/ 1129 h 1180"/>
                <a:gd name="T28" fmla="*/ 866 w 918"/>
                <a:gd name="T29" fmla="*/ 53 h 1180"/>
                <a:gd name="T30" fmla="*/ 751 w 918"/>
                <a:gd name="T31" fmla="*/ 52 h 1180"/>
                <a:gd name="T32" fmla="*/ 742 w 918"/>
                <a:gd name="T33" fmla="*/ 49 h 1180"/>
                <a:gd name="T34" fmla="*/ 735 w 918"/>
                <a:gd name="T35" fmla="*/ 41 h 1180"/>
                <a:gd name="T36" fmla="*/ 730 w 918"/>
                <a:gd name="T37" fmla="*/ 31 h 1180"/>
                <a:gd name="T38" fmla="*/ 730 w 918"/>
                <a:gd name="T39" fmla="*/ 21 h 1180"/>
                <a:gd name="T40" fmla="*/ 735 w 918"/>
                <a:gd name="T41" fmla="*/ 11 h 1180"/>
                <a:gd name="T42" fmla="*/ 742 w 918"/>
                <a:gd name="T43" fmla="*/ 4 h 1180"/>
                <a:gd name="T44" fmla="*/ 751 w 918"/>
                <a:gd name="T45" fmla="*/ 1 h 1180"/>
                <a:gd name="T46" fmla="*/ 892 w 918"/>
                <a:gd name="T47" fmla="*/ 0 h 1180"/>
                <a:gd name="T48" fmla="*/ 902 w 918"/>
                <a:gd name="T49" fmla="*/ 3 h 1180"/>
                <a:gd name="T50" fmla="*/ 910 w 918"/>
                <a:gd name="T51" fmla="*/ 8 h 1180"/>
                <a:gd name="T52" fmla="*/ 915 w 918"/>
                <a:gd name="T53" fmla="*/ 16 h 1180"/>
                <a:gd name="T54" fmla="*/ 918 w 918"/>
                <a:gd name="T55" fmla="*/ 26 h 1180"/>
                <a:gd name="T56" fmla="*/ 916 w 918"/>
                <a:gd name="T57" fmla="*/ 1159 h 1180"/>
                <a:gd name="T58" fmla="*/ 913 w 918"/>
                <a:gd name="T59" fmla="*/ 1169 h 1180"/>
                <a:gd name="T60" fmla="*/ 906 w 918"/>
                <a:gd name="T61" fmla="*/ 1176 h 1180"/>
                <a:gd name="T62" fmla="*/ 896 w 918"/>
                <a:gd name="T63"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8" h="1180">
                  <a:moveTo>
                    <a:pt x="892" y="1180"/>
                  </a:moveTo>
                  <a:lnTo>
                    <a:pt x="26" y="1180"/>
                  </a:lnTo>
                  <a:lnTo>
                    <a:pt x="22" y="1180"/>
                  </a:lnTo>
                  <a:lnTo>
                    <a:pt x="16" y="1178"/>
                  </a:lnTo>
                  <a:lnTo>
                    <a:pt x="12" y="1176"/>
                  </a:lnTo>
                  <a:lnTo>
                    <a:pt x="8" y="1173"/>
                  </a:lnTo>
                  <a:lnTo>
                    <a:pt x="5" y="1169"/>
                  </a:lnTo>
                  <a:lnTo>
                    <a:pt x="3" y="1165"/>
                  </a:lnTo>
                  <a:lnTo>
                    <a:pt x="0" y="1159"/>
                  </a:lnTo>
                  <a:lnTo>
                    <a:pt x="0" y="1155"/>
                  </a:lnTo>
                  <a:lnTo>
                    <a:pt x="0" y="1028"/>
                  </a:lnTo>
                  <a:lnTo>
                    <a:pt x="0" y="1024"/>
                  </a:lnTo>
                  <a:lnTo>
                    <a:pt x="3" y="1018"/>
                  </a:lnTo>
                  <a:lnTo>
                    <a:pt x="5" y="1013"/>
                  </a:lnTo>
                  <a:lnTo>
                    <a:pt x="8" y="1011"/>
                  </a:lnTo>
                  <a:lnTo>
                    <a:pt x="12" y="1006"/>
                  </a:lnTo>
                  <a:lnTo>
                    <a:pt x="16" y="1005"/>
                  </a:lnTo>
                  <a:lnTo>
                    <a:pt x="22" y="1003"/>
                  </a:lnTo>
                  <a:lnTo>
                    <a:pt x="26" y="1002"/>
                  </a:lnTo>
                  <a:lnTo>
                    <a:pt x="32" y="1003"/>
                  </a:lnTo>
                  <a:lnTo>
                    <a:pt x="36" y="1005"/>
                  </a:lnTo>
                  <a:lnTo>
                    <a:pt x="41" y="1006"/>
                  </a:lnTo>
                  <a:lnTo>
                    <a:pt x="45" y="1011"/>
                  </a:lnTo>
                  <a:lnTo>
                    <a:pt x="48" y="1013"/>
                  </a:lnTo>
                  <a:lnTo>
                    <a:pt x="51" y="1018"/>
                  </a:lnTo>
                  <a:lnTo>
                    <a:pt x="52" y="1024"/>
                  </a:lnTo>
                  <a:lnTo>
                    <a:pt x="52" y="1028"/>
                  </a:lnTo>
                  <a:lnTo>
                    <a:pt x="52" y="1129"/>
                  </a:lnTo>
                  <a:lnTo>
                    <a:pt x="866" y="1129"/>
                  </a:lnTo>
                  <a:lnTo>
                    <a:pt x="866" y="53"/>
                  </a:lnTo>
                  <a:lnTo>
                    <a:pt x="756" y="53"/>
                  </a:lnTo>
                  <a:lnTo>
                    <a:pt x="751" y="52"/>
                  </a:lnTo>
                  <a:lnTo>
                    <a:pt x="746" y="50"/>
                  </a:lnTo>
                  <a:lnTo>
                    <a:pt x="742" y="49"/>
                  </a:lnTo>
                  <a:lnTo>
                    <a:pt x="738" y="44"/>
                  </a:lnTo>
                  <a:lnTo>
                    <a:pt x="735" y="41"/>
                  </a:lnTo>
                  <a:lnTo>
                    <a:pt x="732" y="37"/>
                  </a:lnTo>
                  <a:lnTo>
                    <a:pt x="730" y="31"/>
                  </a:lnTo>
                  <a:lnTo>
                    <a:pt x="730" y="26"/>
                  </a:lnTo>
                  <a:lnTo>
                    <a:pt x="730" y="21"/>
                  </a:lnTo>
                  <a:lnTo>
                    <a:pt x="732" y="16"/>
                  </a:lnTo>
                  <a:lnTo>
                    <a:pt x="735" y="11"/>
                  </a:lnTo>
                  <a:lnTo>
                    <a:pt x="738" y="8"/>
                  </a:lnTo>
                  <a:lnTo>
                    <a:pt x="742" y="4"/>
                  </a:lnTo>
                  <a:lnTo>
                    <a:pt x="746" y="3"/>
                  </a:lnTo>
                  <a:lnTo>
                    <a:pt x="751" y="1"/>
                  </a:lnTo>
                  <a:lnTo>
                    <a:pt x="756" y="0"/>
                  </a:lnTo>
                  <a:lnTo>
                    <a:pt x="892" y="0"/>
                  </a:lnTo>
                  <a:lnTo>
                    <a:pt x="896" y="1"/>
                  </a:lnTo>
                  <a:lnTo>
                    <a:pt x="902" y="3"/>
                  </a:lnTo>
                  <a:lnTo>
                    <a:pt x="906" y="4"/>
                  </a:lnTo>
                  <a:lnTo>
                    <a:pt x="910" y="8"/>
                  </a:lnTo>
                  <a:lnTo>
                    <a:pt x="913" y="11"/>
                  </a:lnTo>
                  <a:lnTo>
                    <a:pt x="915" y="16"/>
                  </a:lnTo>
                  <a:lnTo>
                    <a:pt x="916" y="21"/>
                  </a:lnTo>
                  <a:lnTo>
                    <a:pt x="918" y="26"/>
                  </a:lnTo>
                  <a:lnTo>
                    <a:pt x="918" y="1155"/>
                  </a:lnTo>
                  <a:lnTo>
                    <a:pt x="916" y="1159"/>
                  </a:lnTo>
                  <a:lnTo>
                    <a:pt x="915" y="1165"/>
                  </a:lnTo>
                  <a:lnTo>
                    <a:pt x="913" y="1169"/>
                  </a:lnTo>
                  <a:lnTo>
                    <a:pt x="910" y="1173"/>
                  </a:lnTo>
                  <a:lnTo>
                    <a:pt x="906" y="1176"/>
                  </a:lnTo>
                  <a:lnTo>
                    <a:pt x="902" y="1178"/>
                  </a:lnTo>
                  <a:lnTo>
                    <a:pt x="896" y="1180"/>
                  </a:lnTo>
                  <a:lnTo>
                    <a:pt x="892" y="1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109">
              <a:extLst>
                <a:ext uri="{FF2B5EF4-FFF2-40B4-BE49-F238E27FC236}">
                  <a16:creationId xmlns:a16="http://schemas.microsoft.com/office/drawing/2014/main" id="{FFD19303-60C2-43D3-9D1B-2137C2357B86}"/>
                </a:ext>
              </a:extLst>
            </p:cNvPr>
            <p:cNvSpPr>
              <a:spLocks/>
            </p:cNvSpPr>
            <p:nvPr/>
          </p:nvSpPr>
          <p:spPr bwMode="auto">
            <a:xfrm>
              <a:off x="2765425" y="1792288"/>
              <a:ext cx="146050" cy="146050"/>
            </a:xfrm>
            <a:custGeom>
              <a:avLst/>
              <a:gdLst>
                <a:gd name="T0" fmla="*/ 249 w 275"/>
                <a:gd name="T1" fmla="*/ 275 h 275"/>
                <a:gd name="T2" fmla="*/ 26 w 275"/>
                <a:gd name="T3" fmla="*/ 275 h 275"/>
                <a:gd name="T4" fmla="*/ 22 w 275"/>
                <a:gd name="T5" fmla="*/ 274 h 275"/>
                <a:gd name="T6" fmla="*/ 16 w 275"/>
                <a:gd name="T7" fmla="*/ 272 h 275"/>
                <a:gd name="T8" fmla="*/ 12 w 275"/>
                <a:gd name="T9" fmla="*/ 271 h 275"/>
                <a:gd name="T10" fmla="*/ 9 w 275"/>
                <a:gd name="T11" fmla="*/ 266 h 275"/>
                <a:gd name="T12" fmla="*/ 5 w 275"/>
                <a:gd name="T13" fmla="*/ 263 h 275"/>
                <a:gd name="T14" fmla="*/ 3 w 275"/>
                <a:gd name="T15" fmla="*/ 259 h 275"/>
                <a:gd name="T16" fmla="*/ 2 w 275"/>
                <a:gd name="T17" fmla="*/ 253 h 275"/>
                <a:gd name="T18" fmla="*/ 0 w 275"/>
                <a:gd name="T19" fmla="*/ 248 h 275"/>
                <a:gd name="T20" fmla="*/ 2 w 275"/>
                <a:gd name="T21" fmla="*/ 243 h 275"/>
                <a:gd name="T22" fmla="*/ 3 w 275"/>
                <a:gd name="T23" fmla="*/ 238 h 275"/>
                <a:gd name="T24" fmla="*/ 5 w 275"/>
                <a:gd name="T25" fmla="*/ 233 h 275"/>
                <a:gd name="T26" fmla="*/ 9 w 275"/>
                <a:gd name="T27" fmla="*/ 230 h 275"/>
                <a:gd name="T28" fmla="*/ 12 w 275"/>
                <a:gd name="T29" fmla="*/ 226 h 275"/>
                <a:gd name="T30" fmla="*/ 16 w 275"/>
                <a:gd name="T31" fmla="*/ 225 h 275"/>
                <a:gd name="T32" fmla="*/ 22 w 275"/>
                <a:gd name="T33" fmla="*/ 223 h 275"/>
                <a:gd name="T34" fmla="*/ 26 w 275"/>
                <a:gd name="T35" fmla="*/ 222 h 275"/>
                <a:gd name="T36" fmla="*/ 223 w 275"/>
                <a:gd name="T37" fmla="*/ 222 h 275"/>
                <a:gd name="T38" fmla="*/ 223 w 275"/>
                <a:gd name="T39" fmla="*/ 26 h 275"/>
                <a:gd name="T40" fmla="*/ 223 w 275"/>
                <a:gd name="T41" fmla="*/ 20 h 275"/>
                <a:gd name="T42" fmla="*/ 225 w 275"/>
                <a:gd name="T43" fmla="*/ 16 h 275"/>
                <a:gd name="T44" fmla="*/ 228 w 275"/>
                <a:gd name="T45" fmla="*/ 11 h 275"/>
                <a:gd name="T46" fmla="*/ 231 w 275"/>
                <a:gd name="T47" fmla="*/ 7 h 275"/>
                <a:gd name="T48" fmla="*/ 235 w 275"/>
                <a:gd name="T49" fmla="*/ 4 h 275"/>
                <a:gd name="T50" fmla="*/ 239 w 275"/>
                <a:gd name="T51" fmla="*/ 1 h 275"/>
                <a:gd name="T52" fmla="*/ 244 w 275"/>
                <a:gd name="T53" fmla="*/ 0 h 275"/>
                <a:gd name="T54" fmla="*/ 249 w 275"/>
                <a:gd name="T55" fmla="*/ 0 h 275"/>
                <a:gd name="T56" fmla="*/ 255 w 275"/>
                <a:gd name="T57" fmla="*/ 0 h 275"/>
                <a:gd name="T58" fmla="*/ 259 w 275"/>
                <a:gd name="T59" fmla="*/ 1 h 275"/>
                <a:gd name="T60" fmla="*/ 264 w 275"/>
                <a:gd name="T61" fmla="*/ 4 h 275"/>
                <a:gd name="T62" fmla="*/ 268 w 275"/>
                <a:gd name="T63" fmla="*/ 7 h 275"/>
                <a:gd name="T64" fmla="*/ 271 w 275"/>
                <a:gd name="T65" fmla="*/ 11 h 275"/>
                <a:gd name="T66" fmla="*/ 274 w 275"/>
                <a:gd name="T67" fmla="*/ 16 h 275"/>
                <a:gd name="T68" fmla="*/ 275 w 275"/>
                <a:gd name="T69" fmla="*/ 20 h 275"/>
                <a:gd name="T70" fmla="*/ 275 w 275"/>
                <a:gd name="T71" fmla="*/ 26 h 275"/>
                <a:gd name="T72" fmla="*/ 275 w 275"/>
                <a:gd name="T73" fmla="*/ 248 h 275"/>
                <a:gd name="T74" fmla="*/ 275 w 275"/>
                <a:gd name="T75" fmla="*/ 253 h 275"/>
                <a:gd name="T76" fmla="*/ 274 w 275"/>
                <a:gd name="T77" fmla="*/ 259 h 275"/>
                <a:gd name="T78" fmla="*/ 271 w 275"/>
                <a:gd name="T79" fmla="*/ 263 h 275"/>
                <a:gd name="T80" fmla="*/ 268 w 275"/>
                <a:gd name="T81" fmla="*/ 266 h 275"/>
                <a:gd name="T82" fmla="*/ 264 w 275"/>
                <a:gd name="T83" fmla="*/ 271 h 275"/>
                <a:gd name="T84" fmla="*/ 259 w 275"/>
                <a:gd name="T85" fmla="*/ 272 h 275"/>
                <a:gd name="T86" fmla="*/ 255 w 275"/>
                <a:gd name="T87" fmla="*/ 274 h 275"/>
                <a:gd name="T88" fmla="*/ 249 w 275"/>
                <a:gd name="T8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5">
                  <a:moveTo>
                    <a:pt x="249" y="275"/>
                  </a:moveTo>
                  <a:lnTo>
                    <a:pt x="26" y="275"/>
                  </a:lnTo>
                  <a:lnTo>
                    <a:pt x="22" y="274"/>
                  </a:lnTo>
                  <a:lnTo>
                    <a:pt x="16" y="272"/>
                  </a:lnTo>
                  <a:lnTo>
                    <a:pt x="12" y="271"/>
                  </a:lnTo>
                  <a:lnTo>
                    <a:pt x="9" y="266"/>
                  </a:lnTo>
                  <a:lnTo>
                    <a:pt x="5" y="263"/>
                  </a:lnTo>
                  <a:lnTo>
                    <a:pt x="3" y="259"/>
                  </a:lnTo>
                  <a:lnTo>
                    <a:pt x="2" y="253"/>
                  </a:lnTo>
                  <a:lnTo>
                    <a:pt x="0" y="248"/>
                  </a:lnTo>
                  <a:lnTo>
                    <a:pt x="2" y="243"/>
                  </a:lnTo>
                  <a:lnTo>
                    <a:pt x="3" y="238"/>
                  </a:lnTo>
                  <a:lnTo>
                    <a:pt x="5" y="233"/>
                  </a:lnTo>
                  <a:lnTo>
                    <a:pt x="9" y="230"/>
                  </a:lnTo>
                  <a:lnTo>
                    <a:pt x="12" y="226"/>
                  </a:lnTo>
                  <a:lnTo>
                    <a:pt x="16" y="225"/>
                  </a:lnTo>
                  <a:lnTo>
                    <a:pt x="22" y="223"/>
                  </a:lnTo>
                  <a:lnTo>
                    <a:pt x="26" y="222"/>
                  </a:lnTo>
                  <a:lnTo>
                    <a:pt x="223" y="222"/>
                  </a:lnTo>
                  <a:lnTo>
                    <a:pt x="223" y="26"/>
                  </a:lnTo>
                  <a:lnTo>
                    <a:pt x="223" y="20"/>
                  </a:lnTo>
                  <a:lnTo>
                    <a:pt x="225" y="16"/>
                  </a:lnTo>
                  <a:lnTo>
                    <a:pt x="228" y="11"/>
                  </a:lnTo>
                  <a:lnTo>
                    <a:pt x="231" y="7"/>
                  </a:lnTo>
                  <a:lnTo>
                    <a:pt x="235" y="4"/>
                  </a:lnTo>
                  <a:lnTo>
                    <a:pt x="239" y="1"/>
                  </a:lnTo>
                  <a:lnTo>
                    <a:pt x="244" y="0"/>
                  </a:lnTo>
                  <a:lnTo>
                    <a:pt x="249" y="0"/>
                  </a:lnTo>
                  <a:lnTo>
                    <a:pt x="255" y="0"/>
                  </a:lnTo>
                  <a:lnTo>
                    <a:pt x="259" y="1"/>
                  </a:lnTo>
                  <a:lnTo>
                    <a:pt x="264" y="4"/>
                  </a:lnTo>
                  <a:lnTo>
                    <a:pt x="268" y="7"/>
                  </a:lnTo>
                  <a:lnTo>
                    <a:pt x="271" y="11"/>
                  </a:lnTo>
                  <a:lnTo>
                    <a:pt x="274" y="16"/>
                  </a:lnTo>
                  <a:lnTo>
                    <a:pt x="275" y="20"/>
                  </a:lnTo>
                  <a:lnTo>
                    <a:pt x="275" y="26"/>
                  </a:lnTo>
                  <a:lnTo>
                    <a:pt x="275" y="248"/>
                  </a:lnTo>
                  <a:lnTo>
                    <a:pt x="275" y="253"/>
                  </a:lnTo>
                  <a:lnTo>
                    <a:pt x="274" y="259"/>
                  </a:lnTo>
                  <a:lnTo>
                    <a:pt x="271" y="263"/>
                  </a:lnTo>
                  <a:lnTo>
                    <a:pt x="268" y="266"/>
                  </a:lnTo>
                  <a:lnTo>
                    <a:pt x="264" y="271"/>
                  </a:lnTo>
                  <a:lnTo>
                    <a:pt x="259" y="272"/>
                  </a:lnTo>
                  <a:lnTo>
                    <a:pt x="255" y="274"/>
                  </a:lnTo>
                  <a:lnTo>
                    <a:pt x="249"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6" name="Group 40">
            <a:extLst>
              <a:ext uri="{FF2B5EF4-FFF2-40B4-BE49-F238E27FC236}">
                <a16:creationId xmlns:a16="http://schemas.microsoft.com/office/drawing/2014/main" id="{0681385F-4A20-499E-99AC-2D462E102EA5}"/>
              </a:ext>
            </a:extLst>
          </p:cNvPr>
          <p:cNvGrpSpPr>
            <a:grpSpLocks noChangeAspect="1"/>
          </p:cNvGrpSpPr>
          <p:nvPr/>
        </p:nvGrpSpPr>
        <p:grpSpPr>
          <a:xfrm>
            <a:off x="5786352" y="4345739"/>
            <a:ext cx="296824" cy="306484"/>
            <a:chOff x="6969125" y="5184776"/>
            <a:chExt cx="536575" cy="554038"/>
          </a:xfrm>
          <a:solidFill>
            <a:schemeClr val="bg1"/>
          </a:solidFill>
          <a:effectLst/>
        </p:grpSpPr>
        <p:sp>
          <p:nvSpPr>
            <p:cNvPr id="477" name="Freeform 10">
              <a:extLst>
                <a:ext uri="{FF2B5EF4-FFF2-40B4-BE49-F238E27FC236}">
                  <a16:creationId xmlns:a16="http://schemas.microsoft.com/office/drawing/2014/main" id="{2A3AD7D3-4C8D-46D8-8361-6919DF7C264F}"/>
                </a:ext>
              </a:extLst>
            </p:cNvPr>
            <p:cNvSpPr>
              <a:spLocks noEditPoints="1"/>
            </p:cNvSpPr>
            <p:nvPr/>
          </p:nvSpPr>
          <p:spPr bwMode="auto">
            <a:xfrm>
              <a:off x="6969125" y="5184776"/>
              <a:ext cx="279400" cy="554038"/>
            </a:xfrm>
            <a:custGeom>
              <a:avLst/>
              <a:gdLst>
                <a:gd name="T0" fmla="*/ 169 w 176"/>
                <a:gd name="T1" fmla="*/ 349 h 349"/>
                <a:gd name="T2" fmla="*/ 169 w 176"/>
                <a:gd name="T3" fmla="*/ 349 h 349"/>
                <a:gd name="T4" fmla="*/ 166 w 176"/>
                <a:gd name="T5" fmla="*/ 349 h 349"/>
                <a:gd name="T6" fmla="*/ 3 w 176"/>
                <a:gd name="T7" fmla="*/ 282 h 349"/>
                <a:gd name="T8" fmla="*/ 3 w 176"/>
                <a:gd name="T9" fmla="*/ 282 h 349"/>
                <a:gd name="T10" fmla="*/ 2 w 176"/>
                <a:gd name="T11" fmla="*/ 279 h 349"/>
                <a:gd name="T12" fmla="*/ 0 w 176"/>
                <a:gd name="T13" fmla="*/ 275 h 349"/>
                <a:gd name="T14" fmla="*/ 0 w 176"/>
                <a:gd name="T15" fmla="*/ 6 h 349"/>
                <a:gd name="T16" fmla="*/ 0 w 176"/>
                <a:gd name="T17" fmla="*/ 6 h 349"/>
                <a:gd name="T18" fmla="*/ 0 w 176"/>
                <a:gd name="T19" fmla="*/ 3 h 349"/>
                <a:gd name="T20" fmla="*/ 3 w 176"/>
                <a:gd name="T21" fmla="*/ 0 h 349"/>
                <a:gd name="T22" fmla="*/ 3 w 176"/>
                <a:gd name="T23" fmla="*/ 0 h 349"/>
                <a:gd name="T24" fmla="*/ 5 w 176"/>
                <a:gd name="T25" fmla="*/ 0 h 349"/>
                <a:gd name="T26" fmla="*/ 9 w 176"/>
                <a:gd name="T27" fmla="*/ 0 h 349"/>
                <a:gd name="T28" fmla="*/ 171 w 176"/>
                <a:gd name="T29" fmla="*/ 55 h 349"/>
                <a:gd name="T30" fmla="*/ 171 w 176"/>
                <a:gd name="T31" fmla="*/ 55 h 349"/>
                <a:gd name="T32" fmla="*/ 174 w 176"/>
                <a:gd name="T33" fmla="*/ 58 h 349"/>
                <a:gd name="T34" fmla="*/ 176 w 176"/>
                <a:gd name="T35" fmla="*/ 62 h 349"/>
                <a:gd name="T36" fmla="*/ 176 w 176"/>
                <a:gd name="T37" fmla="*/ 342 h 349"/>
                <a:gd name="T38" fmla="*/ 176 w 176"/>
                <a:gd name="T39" fmla="*/ 342 h 349"/>
                <a:gd name="T40" fmla="*/ 176 w 176"/>
                <a:gd name="T41" fmla="*/ 346 h 349"/>
                <a:gd name="T42" fmla="*/ 172 w 176"/>
                <a:gd name="T43" fmla="*/ 347 h 349"/>
                <a:gd name="T44" fmla="*/ 172 w 176"/>
                <a:gd name="T45" fmla="*/ 347 h 349"/>
                <a:gd name="T46" fmla="*/ 169 w 176"/>
                <a:gd name="T47" fmla="*/ 349 h 349"/>
                <a:gd name="T48" fmla="*/ 169 w 176"/>
                <a:gd name="T49" fmla="*/ 349 h 349"/>
                <a:gd name="T50" fmla="*/ 14 w 176"/>
                <a:gd name="T51" fmla="*/ 270 h 349"/>
                <a:gd name="T52" fmla="*/ 162 w 176"/>
                <a:gd name="T53" fmla="*/ 332 h 349"/>
                <a:gd name="T54" fmla="*/ 162 w 176"/>
                <a:gd name="T55" fmla="*/ 67 h 349"/>
                <a:gd name="T56" fmla="*/ 14 w 176"/>
                <a:gd name="T57" fmla="*/ 15 h 349"/>
                <a:gd name="T58" fmla="*/ 14 w 176"/>
                <a:gd name="T59" fmla="*/ 27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6" h="349">
                  <a:moveTo>
                    <a:pt x="169" y="349"/>
                  </a:moveTo>
                  <a:lnTo>
                    <a:pt x="169" y="349"/>
                  </a:lnTo>
                  <a:lnTo>
                    <a:pt x="166" y="349"/>
                  </a:lnTo>
                  <a:lnTo>
                    <a:pt x="3" y="282"/>
                  </a:lnTo>
                  <a:lnTo>
                    <a:pt x="3" y="282"/>
                  </a:lnTo>
                  <a:lnTo>
                    <a:pt x="2" y="279"/>
                  </a:lnTo>
                  <a:lnTo>
                    <a:pt x="0" y="275"/>
                  </a:lnTo>
                  <a:lnTo>
                    <a:pt x="0" y="6"/>
                  </a:lnTo>
                  <a:lnTo>
                    <a:pt x="0" y="6"/>
                  </a:lnTo>
                  <a:lnTo>
                    <a:pt x="0" y="3"/>
                  </a:lnTo>
                  <a:lnTo>
                    <a:pt x="3" y="0"/>
                  </a:lnTo>
                  <a:lnTo>
                    <a:pt x="3" y="0"/>
                  </a:lnTo>
                  <a:lnTo>
                    <a:pt x="5" y="0"/>
                  </a:lnTo>
                  <a:lnTo>
                    <a:pt x="9" y="0"/>
                  </a:lnTo>
                  <a:lnTo>
                    <a:pt x="171" y="55"/>
                  </a:lnTo>
                  <a:lnTo>
                    <a:pt x="171" y="55"/>
                  </a:lnTo>
                  <a:lnTo>
                    <a:pt x="174" y="58"/>
                  </a:lnTo>
                  <a:lnTo>
                    <a:pt x="176" y="62"/>
                  </a:lnTo>
                  <a:lnTo>
                    <a:pt x="176" y="342"/>
                  </a:lnTo>
                  <a:lnTo>
                    <a:pt x="176" y="342"/>
                  </a:lnTo>
                  <a:lnTo>
                    <a:pt x="176" y="346"/>
                  </a:lnTo>
                  <a:lnTo>
                    <a:pt x="172" y="347"/>
                  </a:lnTo>
                  <a:lnTo>
                    <a:pt x="172" y="347"/>
                  </a:lnTo>
                  <a:lnTo>
                    <a:pt x="169" y="349"/>
                  </a:lnTo>
                  <a:lnTo>
                    <a:pt x="169" y="349"/>
                  </a:lnTo>
                  <a:close/>
                  <a:moveTo>
                    <a:pt x="14" y="270"/>
                  </a:moveTo>
                  <a:lnTo>
                    <a:pt x="162" y="332"/>
                  </a:lnTo>
                  <a:lnTo>
                    <a:pt x="162" y="67"/>
                  </a:lnTo>
                  <a:lnTo>
                    <a:pt x="14" y="15"/>
                  </a:lnTo>
                  <a:lnTo>
                    <a:pt x="14" y="2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1">
              <a:extLst>
                <a:ext uri="{FF2B5EF4-FFF2-40B4-BE49-F238E27FC236}">
                  <a16:creationId xmlns:a16="http://schemas.microsoft.com/office/drawing/2014/main" id="{74A415F0-CD10-4828-8095-C7C1AAAD1A6B}"/>
                </a:ext>
              </a:extLst>
            </p:cNvPr>
            <p:cNvSpPr>
              <a:spLocks noEditPoints="1"/>
            </p:cNvSpPr>
            <p:nvPr/>
          </p:nvSpPr>
          <p:spPr bwMode="auto">
            <a:xfrm>
              <a:off x="7226300" y="5184776"/>
              <a:ext cx="279400" cy="554038"/>
            </a:xfrm>
            <a:custGeom>
              <a:avLst/>
              <a:gdLst>
                <a:gd name="T0" fmla="*/ 7 w 176"/>
                <a:gd name="T1" fmla="*/ 349 h 349"/>
                <a:gd name="T2" fmla="*/ 7 w 176"/>
                <a:gd name="T3" fmla="*/ 349 h 349"/>
                <a:gd name="T4" fmla="*/ 4 w 176"/>
                <a:gd name="T5" fmla="*/ 347 h 349"/>
                <a:gd name="T6" fmla="*/ 4 w 176"/>
                <a:gd name="T7" fmla="*/ 347 h 349"/>
                <a:gd name="T8" fmla="*/ 0 w 176"/>
                <a:gd name="T9" fmla="*/ 346 h 349"/>
                <a:gd name="T10" fmla="*/ 0 w 176"/>
                <a:gd name="T11" fmla="*/ 342 h 349"/>
                <a:gd name="T12" fmla="*/ 0 w 176"/>
                <a:gd name="T13" fmla="*/ 62 h 349"/>
                <a:gd name="T14" fmla="*/ 0 w 176"/>
                <a:gd name="T15" fmla="*/ 62 h 349"/>
                <a:gd name="T16" fmla="*/ 2 w 176"/>
                <a:gd name="T17" fmla="*/ 58 h 349"/>
                <a:gd name="T18" fmla="*/ 5 w 176"/>
                <a:gd name="T19" fmla="*/ 55 h 349"/>
                <a:gd name="T20" fmla="*/ 168 w 176"/>
                <a:gd name="T21" fmla="*/ 0 h 349"/>
                <a:gd name="T22" fmla="*/ 168 w 176"/>
                <a:gd name="T23" fmla="*/ 0 h 349"/>
                <a:gd name="T24" fmla="*/ 171 w 176"/>
                <a:gd name="T25" fmla="*/ 0 h 349"/>
                <a:gd name="T26" fmla="*/ 173 w 176"/>
                <a:gd name="T27" fmla="*/ 0 h 349"/>
                <a:gd name="T28" fmla="*/ 173 w 176"/>
                <a:gd name="T29" fmla="*/ 0 h 349"/>
                <a:gd name="T30" fmla="*/ 176 w 176"/>
                <a:gd name="T31" fmla="*/ 3 h 349"/>
                <a:gd name="T32" fmla="*/ 176 w 176"/>
                <a:gd name="T33" fmla="*/ 6 h 349"/>
                <a:gd name="T34" fmla="*/ 176 w 176"/>
                <a:gd name="T35" fmla="*/ 275 h 349"/>
                <a:gd name="T36" fmla="*/ 176 w 176"/>
                <a:gd name="T37" fmla="*/ 275 h 349"/>
                <a:gd name="T38" fmla="*/ 174 w 176"/>
                <a:gd name="T39" fmla="*/ 279 h 349"/>
                <a:gd name="T40" fmla="*/ 173 w 176"/>
                <a:gd name="T41" fmla="*/ 282 h 349"/>
                <a:gd name="T42" fmla="*/ 10 w 176"/>
                <a:gd name="T43" fmla="*/ 349 h 349"/>
                <a:gd name="T44" fmla="*/ 10 w 176"/>
                <a:gd name="T45" fmla="*/ 349 h 349"/>
                <a:gd name="T46" fmla="*/ 7 w 176"/>
                <a:gd name="T47" fmla="*/ 349 h 349"/>
                <a:gd name="T48" fmla="*/ 7 w 176"/>
                <a:gd name="T49" fmla="*/ 349 h 349"/>
                <a:gd name="T50" fmla="*/ 14 w 176"/>
                <a:gd name="T51" fmla="*/ 67 h 349"/>
                <a:gd name="T52" fmla="*/ 14 w 176"/>
                <a:gd name="T53" fmla="*/ 332 h 349"/>
                <a:gd name="T54" fmla="*/ 163 w 176"/>
                <a:gd name="T55" fmla="*/ 270 h 349"/>
                <a:gd name="T56" fmla="*/ 163 w 176"/>
                <a:gd name="T57" fmla="*/ 15 h 349"/>
                <a:gd name="T58" fmla="*/ 14 w 176"/>
                <a:gd name="T59" fmla="*/ 67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6" h="349">
                  <a:moveTo>
                    <a:pt x="7" y="349"/>
                  </a:moveTo>
                  <a:lnTo>
                    <a:pt x="7" y="349"/>
                  </a:lnTo>
                  <a:lnTo>
                    <a:pt x="4" y="347"/>
                  </a:lnTo>
                  <a:lnTo>
                    <a:pt x="4" y="347"/>
                  </a:lnTo>
                  <a:lnTo>
                    <a:pt x="0" y="346"/>
                  </a:lnTo>
                  <a:lnTo>
                    <a:pt x="0" y="342"/>
                  </a:lnTo>
                  <a:lnTo>
                    <a:pt x="0" y="62"/>
                  </a:lnTo>
                  <a:lnTo>
                    <a:pt x="0" y="62"/>
                  </a:lnTo>
                  <a:lnTo>
                    <a:pt x="2" y="58"/>
                  </a:lnTo>
                  <a:lnTo>
                    <a:pt x="5" y="55"/>
                  </a:lnTo>
                  <a:lnTo>
                    <a:pt x="168" y="0"/>
                  </a:lnTo>
                  <a:lnTo>
                    <a:pt x="168" y="0"/>
                  </a:lnTo>
                  <a:lnTo>
                    <a:pt x="171" y="0"/>
                  </a:lnTo>
                  <a:lnTo>
                    <a:pt x="173" y="0"/>
                  </a:lnTo>
                  <a:lnTo>
                    <a:pt x="173" y="0"/>
                  </a:lnTo>
                  <a:lnTo>
                    <a:pt x="176" y="3"/>
                  </a:lnTo>
                  <a:lnTo>
                    <a:pt x="176" y="6"/>
                  </a:lnTo>
                  <a:lnTo>
                    <a:pt x="176" y="275"/>
                  </a:lnTo>
                  <a:lnTo>
                    <a:pt x="176" y="275"/>
                  </a:lnTo>
                  <a:lnTo>
                    <a:pt x="174" y="279"/>
                  </a:lnTo>
                  <a:lnTo>
                    <a:pt x="173" y="282"/>
                  </a:lnTo>
                  <a:lnTo>
                    <a:pt x="10" y="349"/>
                  </a:lnTo>
                  <a:lnTo>
                    <a:pt x="10" y="349"/>
                  </a:lnTo>
                  <a:lnTo>
                    <a:pt x="7" y="349"/>
                  </a:lnTo>
                  <a:lnTo>
                    <a:pt x="7" y="349"/>
                  </a:lnTo>
                  <a:close/>
                  <a:moveTo>
                    <a:pt x="14" y="67"/>
                  </a:moveTo>
                  <a:lnTo>
                    <a:pt x="14" y="332"/>
                  </a:lnTo>
                  <a:lnTo>
                    <a:pt x="163" y="270"/>
                  </a:lnTo>
                  <a:lnTo>
                    <a:pt x="163" y="15"/>
                  </a:lnTo>
                  <a:lnTo>
                    <a:pt x="1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2">
              <a:extLst>
                <a:ext uri="{FF2B5EF4-FFF2-40B4-BE49-F238E27FC236}">
                  <a16:creationId xmlns:a16="http://schemas.microsoft.com/office/drawing/2014/main" id="{21D589C2-70EB-45F4-9597-C3B994E53568}"/>
                </a:ext>
              </a:extLst>
            </p:cNvPr>
            <p:cNvSpPr>
              <a:spLocks/>
            </p:cNvSpPr>
            <p:nvPr/>
          </p:nvSpPr>
          <p:spPr bwMode="auto">
            <a:xfrm>
              <a:off x="7054850" y="5221288"/>
              <a:ext cx="20637" cy="133350"/>
            </a:xfrm>
            <a:custGeom>
              <a:avLst/>
              <a:gdLst>
                <a:gd name="T0" fmla="*/ 6 w 13"/>
                <a:gd name="T1" fmla="*/ 84 h 84"/>
                <a:gd name="T2" fmla="*/ 6 w 13"/>
                <a:gd name="T3" fmla="*/ 84 h 84"/>
                <a:gd name="T4" fmla="*/ 3 w 13"/>
                <a:gd name="T5" fmla="*/ 84 h 84"/>
                <a:gd name="T6" fmla="*/ 1 w 13"/>
                <a:gd name="T7" fmla="*/ 82 h 84"/>
                <a:gd name="T8" fmla="*/ 0 w 13"/>
                <a:gd name="T9" fmla="*/ 80 h 84"/>
                <a:gd name="T10" fmla="*/ 0 w 13"/>
                <a:gd name="T11" fmla="*/ 77 h 84"/>
                <a:gd name="T12" fmla="*/ 0 w 13"/>
                <a:gd name="T13" fmla="*/ 7 h 84"/>
                <a:gd name="T14" fmla="*/ 0 w 13"/>
                <a:gd name="T15" fmla="*/ 7 h 84"/>
                <a:gd name="T16" fmla="*/ 0 w 13"/>
                <a:gd name="T17" fmla="*/ 3 h 84"/>
                <a:gd name="T18" fmla="*/ 1 w 13"/>
                <a:gd name="T19" fmla="*/ 2 h 84"/>
                <a:gd name="T20" fmla="*/ 3 w 13"/>
                <a:gd name="T21" fmla="*/ 0 h 84"/>
                <a:gd name="T22" fmla="*/ 6 w 13"/>
                <a:gd name="T23" fmla="*/ 0 h 84"/>
                <a:gd name="T24" fmla="*/ 6 w 13"/>
                <a:gd name="T25" fmla="*/ 0 h 84"/>
                <a:gd name="T26" fmla="*/ 8 w 13"/>
                <a:gd name="T27" fmla="*/ 0 h 84"/>
                <a:gd name="T28" fmla="*/ 10 w 13"/>
                <a:gd name="T29" fmla="*/ 2 h 84"/>
                <a:gd name="T30" fmla="*/ 11 w 13"/>
                <a:gd name="T31" fmla="*/ 3 h 84"/>
                <a:gd name="T32" fmla="*/ 13 w 13"/>
                <a:gd name="T33" fmla="*/ 7 h 84"/>
                <a:gd name="T34" fmla="*/ 13 w 13"/>
                <a:gd name="T35" fmla="*/ 77 h 84"/>
                <a:gd name="T36" fmla="*/ 13 w 13"/>
                <a:gd name="T37" fmla="*/ 77 h 84"/>
                <a:gd name="T38" fmla="*/ 11 w 13"/>
                <a:gd name="T39" fmla="*/ 80 h 84"/>
                <a:gd name="T40" fmla="*/ 10 w 13"/>
                <a:gd name="T41" fmla="*/ 82 h 84"/>
                <a:gd name="T42" fmla="*/ 8 w 13"/>
                <a:gd name="T43" fmla="*/ 84 h 84"/>
                <a:gd name="T44" fmla="*/ 6 w 13"/>
                <a:gd name="T45" fmla="*/ 84 h 84"/>
                <a:gd name="T46" fmla="*/ 6 w 13"/>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 h="84">
                  <a:moveTo>
                    <a:pt x="6" y="84"/>
                  </a:moveTo>
                  <a:lnTo>
                    <a:pt x="6" y="84"/>
                  </a:lnTo>
                  <a:lnTo>
                    <a:pt x="3" y="84"/>
                  </a:lnTo>
                  <a:lnTo>
                    <a:pt x="1" y="82"/>
                  </a:lnTo>
                  <a:lnTo>
                    <a:pt x="0" y="80"/>
                  </a:lnTo>
                  <a:lnTo>
                    <a:pt x="0" y="77"/>
                  </a:lnTo>
                  <a:lnTo>
                    <a:pt x="0" y="7"/>
                  </a:lnTo>
                  <a:lnTo>
                    <a:pt x="0" y="7"/>
                  </a:lnTo>
                  <a:lnTo>
                    <a:pt x="0" y="3"/>
                  </a:lnTo>
                  <a:lnTo>
                    <a:pt x="1" y="2"/>
                  </a:lnTo>
                  <a:lnTo>
                    <a:pt x="3" y="0"/>
                  </a:lnTo>
                  <a:lnTo>
                    <a:pt x="6" y="0"/>
                  </a:lnTo>
                  <a:lnTo>
                    <a:pt x="6" y="0"/>
                  </a:lnTo>
                  <a:lnTo>
                    <a:pt x="8" y="0"/>
                  </a:lnTo>
                  <a:lnTo>
                    <a:pt x="10" y="2"/>
                  </a:lnTo>
                  <a:lnTo>
                    <a:pt x="11" y="3"/>
                  </a:lnTo>
                  <a:lnTo>
                    <a:pt x="13" y="7"/>
                  </a:lnTo>
                  <a:lnTo>
                    <a:pt x="13" y="77"/>
                  </a:lnTo>
                  <a:lnTo>
                    <a:pt x="13" y="77"/>
                  </a:lnTo>
                  <a:lnTo>
                    <a:pt x="11" y="80"/>
                  </a:lnTo>
                  <a:lnTo>
                    <a:pt x="10" y="82"/>
                  </a:lnTo>
                  <a:lnTo>
                    <a:pt x="8" y="84"/>
                  </a:lnTo>
                  <a:lnTo>
                    <a:pt x="6" y="84"/>
                  </a:lnTo>
                  <a:lnTo>
                    <a:pt x="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3">
              <a:extLst>
                <a:ext uri="{FF2B5EF4-FFF2-40B4-BE49-F238E27FC236}">
                  <a16:creationId xmlns:a16="http://schemas.microsoft.com/office/drawing/2014/main" id="{7635A56E-D950-41AB-91F8-BF67E7D108E3}"/>
                </a:ext>
              </a:extLst>
            </p:cNvPr>
            <p:cNvSpPr>
              <a:spLocks/>
            </p:cNvSpPr>
            <p:nvPr/>
          </p:nvSpPr>
          <p:spPr bwMode="auto">
            <a:xfrm>
              <a:off x="7285038" y="5332413"/>
              <a:ext cx="177800" cy="77788"/>
            </a:xfrm>
            <a:custGeom>
              <a:avLst/>
              <a:gdLst>
                <a:gd name="T0" fmla="*/ 7 w 112"/>
                <a:gd name="T1" fmla="*/ 49 h 49"/>
                <a:gd name="T2" fmla="*/ 7 w 112"/>
                <a:gd name="T3" fmla="*/ 49 h 49"/>
                <a:gd name="T4" fmla="*/ 4 w 112"/>
                <a:gd name="T5" fmla="*/ 49 h 49"/>
                <a:gd name="T6" fmla="*/ 2 w 112"/>
                <a:gd name="T7" fmla="*/ 45 h 49"/>
                <a:gd name="T8" fmla="*/ 2 w 112"/>
                <a:gd name="T9" fmla="*/ 45 h 49"/>
                <a:gd name="T10" fmla="*/ 0 w 112"/>
                <a:gd name="T11" fmla="*/ 42 h 49"/>
                <a:gd name="T12" fmla="*/ 2 w 112"/>
                <a:gd name="T13" fmla="*/ 40 h 49"/>
                <a:gd name="T14" fmla="*/ 4 w 112"/>
                <a:gd name="T15" fmla="*/ 37 h 49"/>
                <a:gd name="T16" fmla="*/ 5 w 112"/>
                <a:gd name="T17" fmla="*/ 37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5 h 49"/>
                <a:gd name="T30" fmla="*/ 112 w 112"/>
                <a:gd name="T31" fmla="*/ 5 h 49"/>
                <a:gd name="T32" fmla="*/ 112 w 112"/>
                <a:gd name="T33" fmla="*/ 7 h 49"/>
                <a:gd name="T34" fmla="*/ 112 w 112"/>
                <a:gd name="T35" fmla="*/ 10 h 49"/>
                <a:gd name="T36" fmla="*/ 111 w 112"/>
                <a:gd name="T37" fmla="*/ 12 h 49"/>
                <a:gd name="T38" fmla="*/ 107 w 112"/>
                <a:gd name="T39" fmla="*/ 14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9"/>
                  </a:lnTo>
                  <a:lnTo>
                    <a:pt x="2" y="45"/>
                  </a:lnTo>
                  <a:lnTo>
                    <a:pt x="2" y="45"/>
                  </a:lnTo>
                  <a:lnTo>
                    <a:pt x="0" y="42"/>
                  </a:lnTo>
                  <a:lnTo>
                    <a:pt x="2" y="40"/>
                  </a:lnTo>
                  <a:lnTo>
                    <a:pt x="4" y="37"/>
                  </a:lnTo>
                  <a:lnTo>
                    <a:pt x="5" y="37"/>
                  </a:lnTo>
                  <a:lnTo>
                    <a:pt x="104" y="0"/>
                  </a:lnTo>
                  <a:lnTo>
                    <a:pt x="104" y="0"/>
                  </a:lnTo>
                  <a:lnTo>
                    <a:pt x="106" y="0"/>
                  </a:lnTo>
                  <a:lnTo>
                    <a:pt x="109" y="0"/>
                  </a:lnTo>
                  <a:lnTo>
                    <a:pt x="111" y="2"/>
                  </a:lnTo>
                  <a:lnTo>
                    <a:pt x="112" y="5"/>
                  </a:lnTo>
                  <a:lnTo>
                    <a:pt x="112" y="5"/>
                  </a:lnTo>
                  <a:lnTo>
                    <a:pt x="112" y="7"/>
                  </a:lnTo>
                  <a:lnTo>
                    <a:pt x="112" y="10"/>
                  </a:lnTo>
                  <a:lnTo>
                    <a:pt x="111" y="12"/>
                  </a:lnTo>
                  <a:lnTo>
                    <a:pt x="107" y="14"/>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4">
              <a:extLst>
                <a:ext uri="{FF2B5EF4-FFF2-40B4-BE49-F238E27FC236}">
                  <a16:creationId xmlns:a16="http://schemas.microsoft.com/office/drawing/2014/main" id="{EED3D52E-0FC8-4114-BE36-242C95C057B9}"/>
                </a:ext>
              </a:extLst>
            </p:cNvPr>
            <p:cNvSpPr>
              <a:spLocks/>
            </p:cNvSpPr>
            <p:nvPr/>
          </p:nvSpPr>
          <p:spPr bwMode="auto">
            <a:xfrm>
              <a:off x="7285038" y="5403851"/>
              <a:ext cx="177800" cy="80963"/>
            </a:xfrm>
            <a:custGeom>
              <a:avLst/>
              <a:gdLst>
                <a:gd name="T0" fmla="*/ 7 w 112"/>
                <a:gd name="T1" fmla="*/ 51 h 51"/>
                <a:gd name="T2" fmla="*/ 7 w 112"/>
                <a:gd name="T3" fmla="*/ 51 h 51"/>
                <a:gd name="T4" fmla="*/ 4 w 112"/>
                <a:gd name="T5" fmla="*/ 49 h 51"/>
                <a:gd name="T6" fmla="*/ 2 w 112"/>
                <a:gd name="T7" fmla="*/ 46 h 51"/>
                <a:gd name="T8" fmla="*/ 2 w 112"/>
                <a:gd name="T9" fmla="*/ 46 h 51"/>
                <a:gd name="T10" fmla="*/ 0 w 112"/>
                <a:gd name="T11" fmla="*/ 42 h 51"/>
                <a:gd name="T12" fmla="*/ 2 w 112"/>
                <a:gd name="T13" fmla="*/ 41 h 51"/>
                <a:gd name="T14" fmla="*/ 4 w 112"/>
                <a:gd name="T15" fmla="*/ 39 h 51"/>
                <a:gd name="T16" fmla="*/ 5 w 112"/>
                <a:gd name="T17" fmla="*/ 37 h 51"/>
                <a:gd name="T18" fmla="*/ 104 w 112"/>
                <a:gd name="T19" fmla="*/ 2 h 51"/>
                <a:gd name="T20" fmla="*/ 104 w 112"/>
                <a:gd name="T21" fmla="*/ 2 h 51"/>
                <a:gd name="T22" fmla="*/ 106 w 112"/>
                <a:gd name="T23" fmla="*/ 0 h 51"/>
                <a:gd name="T24" fmla="*/ 109 w 112"/>
                <a:gd name="T25" fmla="*/ 2 h 51"/>
                <a:gd name="T26" fmla="*/ 111 w 112"/>
                <a:gd name="T27" fmla="*/ 4 h 51"/>
                <a:gd name="T28" fmla="*/ 112 w 112"/>
                <a:gd name="T29" fmla="*/ 5 h 51"/>
                <a:gd name="T30" fmla="*/ 112 w 112"/>
                <a:gd name="T31" fmla="*/ 5 h 51"/>
                <a:gd name="T32" fmla="*/ 112 w 112"/>
                <a:gd name="T33" fmla="*/ 9 h 51"/>
                <a:gd name="T34" fmla="*/ 112 w 112"/>
                <a:gd name="T35" fmla="*/ 10 h 51"/>
                <a:gd name="T36" fmla="*/ 111 w 112"/>
                <a:gd name="T37" fmla="*/ 12 h 51"/>
                <a:gd name="T38" fmla="*/ 107 w 112"/>
                <a:gd name="T39" fmla="*/ 14 h 51"/>
                <a:gd name="T40" fmla="*/ 10 w 112"/>
                <a:gd name="T41" fmla="*/ 49 h 51"/>
                <a:gd name="T42" fmla="*/ 10 w 112"/>
                <a:gd name="T43" fmla="*/ 49 h 51"/>
                <a:gd name="T44" fmla="*/ 7 w 112"/>
                <a:gd name="T45" fmla="*/ 51 h 51"/>
                <a:gd name="T46" fmla="*/ 7 w 112"/>
                <a:gd name="T4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51">
                  <a:moveTo>
                    <a:pt x="7" y="51"/>
                  </a:moveTo>
                  <a:lnTo>
                    <a:pt x="7" y="51"/>
                  </a:lnTo>
                  <a:lnTo>
                    <a:pt x="4" y="49"/>
                  </a:lnTo>
                  <a:lnTo>
                    <a:pt x="2" y="46"/>
                  </a:lnTo>
                  <a:lnTo>
                    <a:pt x="2" y="46"/>
                  </a:lnTo>
                  <a:lnTo>
                    <a:pt x="0" y="42"/>
                  </a:lnTo>
                  <a:lnTo>
                    <a:pt x="2" y="41"/>
                  </a:lnTo>
                  <a:lnTo>
                    <a:pt x="4" y="39"/>
                  </a:lnTo>
                  <a:lnTo>
                    <a:pt x="5" y="37"/>
                  </a:lnTo>
                  <a:lnTo>
                    <a:pt x="104" y="2"/>
                  </a:lnTo>
                  <a:lnTo>
                    <a:pt x="104" y="2"/>
                  </a:lnTo>
                  <a:lnTo>
                    <a:pt x="106" y="0"/>
                  </a:lnTo>
                  <a:lnTo>
                    <a:pt x="109" y="2"/>
                  </a:lnTo>
                  <a:lnTo>
                    <a:pt x="111" y="4"/>
                  </a:lnTo>
                  <a:lnTo>
                    <a:pt x="112" y="5"/>
                  </a:lnTo>
                  <a:lnTo>
                    <a:pt x="112" y="5"/>
                  </a:lnTo>
                  <a:lnTo>
                    <a:pt x="112" y="9"/>
                  </a:lnTo>
                  <a:lnTo>
                    <a:pt x="112" y="10"/>
                  </a:lnTo>
                  <a:lnTo>
                    <a:pt x="111" y="12"/>
                  </a:lnTo>
                  <a:lnTo>
                    <a:pt x="107" y="14"/>
                  </a:lnTo>
                  <a:lnTo>
                    <a:pt x="10" y="49"/>
                  </a:lnTo>
                  <a:lnTo>
                    <a:pt x="10" y="49"/>
                  </a:lnTo>
                  <a:lnTo>
                    <a:pt x="7" y="51"/>
                  </a:lnTo>
                  <a:lnTo>
                    <a:pt x="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5">
              <a:extLst>
                <a:ext uri="{FF2B5EF4-FFF2-40B4-BE49-F238E27FC236}">
                  <a16:creationId xmlns:a16="http://schemas.microsoft.com/office/drawing/2014/main" id="{0EB812D6-2F32-4C3B-9EBC-A735F5F5BD4A}"/>
                </a:ext>
              </a:extLst>
            </p:cNvPr>
            <p:cNvSpPr>
              <a:spLocks/>
            </p:cNvSpPr>
            <p:nvPr/>
          </p:nvSpPr>
          <p:spPr bwMode="auto">
            <a:xfrm>
              <a:off x="7285038" y="5478463"/>
              <a:ext cx="177800" cy="77788"/>
            </a:xfrm>
            <a:custGeom>
              <a:avLst/>
              <a:gdLst>
                <a:gd name="T0" fmla="*/ 7 w 112"/>
                <a:gd name="T1" fmla="*/ 49 h 49"/>
                <a:gd name="T2" fmla="*/ 7 w 112"/>
                <a:gd name="T3" fmla="*/ 49 h 49"/>
                <a:gd name="T4" fmla="*/ 4 w 112"/>
                <a:gd name="T5" fmla="*/ 47 h 49"/>
                <a:gd name="T6" fmla="*/ 2 w 112"/>
                <a:gd name="T7" fmla="*/ 44 h 49"/>
                <a:gd name="T8" fmla="*/ 2 w 112"/>
                <a:gd name="T9" fmla="*/ 44 h 49"/>
                <a:gd name="T10" fmla="*/ 0 w 112"/>
                <a:gd name="T11" fmla="*/ 42 h 49"/>
                <a:gd name="T12" fmla="*/ 2 w 112"/>
                <a:gd name="T13" fmla="*/ 39 h 49"/>
                <a:gd name="T14" fmla="*/ 4 w 112"/>
                <a:gd name="T15" fmla="*/ 37 h 49"/>
                <a:gd name="T16" fmla="*/ 5 w 112"/>
                <a:gd name="T17" fmla="*/ 35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4 h 49"/>
                <a:gd name="T30" fmla="*/ 112 w 112"/>
                <a:gd name="T31" fmla="*/ 4 h 49"/>
                <a:gd name="T32" fmla="*/ 112 w 112"/>
                <a:gd name="T33" fmla="*/ 7 h 49"/>
                <a:gd name="T34" fmla="*/ 112 w 112"/>
                <a:gd name="T35" fmla="*/ 9 h 49"/>
                <a:gd name="T36" fmla="*/ 111 w 112"/>
                <a:gd name="T37" fmla="*/ 12 h 49"/>
                <a:gd name="T38" fmla="*/ 107 w 112"/>
                <a:gd name="T39" fmla="*/ 12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7"/>
                  </a:lnTo>
                  <a:lnTo>
                    <a:pt x="2" y="44"/>
                  </a:lnTo>
                  <a:lnTo>
                    <a:pt x="2" y="44"/>
                  </a:lnTo>
                  <a:lnTo>
                    <a:pt x="0" y="42"/>
                  </a:lnTo>
                  <a:lnTo>
                    <a:pt x="2" y="39"/>
                  </a:lnTo>
                  <a:lnTo>
                    <a:pt x="4" y="37"/>
                  </a:lnTo>
                  <a:lnTo>
                    <a:pt x="5" y="35"/>
                  </a:lnTo>
                  <a:lnTo>
                    <a:pt x="104" y="0"/>
                  </a:lnTo>
                  <a:lnTo>
                    <a:pt x="104" y="0"/>
                  </a:lnTo>
                  <a:lnTo>
                    <a:pt x="106" y="0"/>
                  </a:lnTo>
                  <a:lnTo>
                    <a:pt x="109" y="0"/>
                  </a:lnTo>
                  <a:lnTo>
                    <a:pt x="111" y="2"/>
                  </a:lnTo>
                  <a:lnTo>
                    <a:pt x="112" y="4"/>
                  </a:lnTo>
                  <a:lnTo>
                    <a:pt x="112" y="4"/>
                  </a:lnTo>
                  <a:lnTo>
                    <a:pt x="112" y="7"/>
                  </a:lnTo>
                  <a:lnTo>
                    <a:pt x="112" y="9"/>
                  </a:lnTo>
                  <a:lnTo>
                    <a:pt x="111" y="12"/>
                  </a:lnTo>
                  <a:lnTo>
                    <a:pt x="107" y="12"/>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6">
              <a:extLst>
                <a:ext uri="{FF2B5EF4-FFF2-40B4-BE49-F238E27FC236}">
                  <a16:creationId xmlns:a16="http://schemas.microsoft.com/office/drawing/2014/main" id="{8173AFD3-FBDF-4A4C-879C-CD2D016ECAC5}"/>
                </a:ext>
              </a:extLst>
            </p:cNvPr>
            <p:cNvSpPr>
              <a:spLocks/>
            </p:cNvSpPr>
            <p:nvPr/>
          </p:nvSpPr>
          <p:spPr bwMode="auto">
            <a:xfrm>
              <a:off x="7285038" y="5549901"/>
              <a:ext cx="177800" cy="77788"/>
            </a:xfrm>
            <a:custGeom>
              <a:avLst/>
              <a:gdLst>
                <a:gd name="T0" fmla="*/ 7 w 112"/>
                <a:gd name="T1" fmla="*/ 49 h 49"/>
                <a:gd name="T2" fmla="*/ 7 w 112"/>
                <a:gd name="T3" fmla="*/ 49 h 49"/>
                <a:gd name="T4" fmla="*/ 4 w 112"/>
                <a:gd name="T5" fmla="*/ 49 h 49"/>
                <a:gd name="T6" fmla="*/ 2 w 112"/>
                <a:gd name="T7" fmla="*/ 45 h 49"/>
                <a:gd name="T8" fmla="*/ 2 w 112"/>
                <a:gd name="T9" fmla="*/ 45 h 49"/>
                <a:gd name="T10" fmla="*/ 0 w 112"/>
                <a:gd name="T11" fmla="*/ 42 h 49"/>
                <a:gd name="T12" fmla="*/ 2 w 112"/>
                <a:gd name="T13" fmla="*/ 40 h 49"/>
                <a:gd name="T14" fmla="*/ 4 w 112"/>
                <a:gd name="T15" fmla="*/ 37 h 49"/>
                <a:gd name="T16" fmla="*/ 5 w 112"/>
                <a:gd name="T17" fmla="*/ 37 h 49"/>
                <a:gd name="T18" fmla="*/ 104 w 112"/>
                <a:gd name="T19" fmla="*/ 0 h 49"/>
                <a:gd name="T20" fmla="*/ 104 w 112"/>
                <a:gd name="T21" fmla="*/ 0 h 49"/>
                <a:gd name="T22" fmla="*/ 106 w 112"/>
                <a:gd name="T23" fmla="*/ 0 h 49"/>
                <a:gd name="T24" fmla="*/ 109 w 112"/>
                <a:gd name="T25" fmla="*/ 0 h 49"/>
                <a:gd name="T26" fmla="*/ 111 w 112"/>
                <a:gd name="T27" fmla="*/ 2 h 49"/>
                <a:gd name="T28" fmla="*/ 112 w 112"/>
                <a:gd name="T29" fmla="*/ 5 h 49"/>
                <a:gd name="T30" fmla="*/ 112 w 112"/>
                <a:gd name="T31" fmla="*/ 5 h 49"/>
                <a:gd name="T32" fmla="*/ 112 w 112"/>
                <a:gd name="T33" fmla="*/ 7 h 49"/>
                <a:gd name="T34" fmla="*/ 112 w 112"/>
                <a:gd name="T35" fmla="*/ 10 h 49"/>
                <a:gd name="T36" fmla="*/ 111 w 112"/>
                <a:gd name="T37" fmla="*/ 12 h 49"/>
                <a:gd name="T38" fmla="*/ 107 w 112"/>
                <a:gd name="T39" fmla="*/ 14 h 49"/>
                <a:gd name="T40" fmla="*/ 10 w 112"/>
                <a:gd name="T41" fmla="*/ 49 h 49"/>
                <a:gd name="T42" fmla="*/ 10 w 112"/>
                <a:gd name="T43" fmla="*/ 49 h 49"/>
                <a:gd name="T44" fmla="*/ 7 w 112"/>
                <a:gd name="T45" fmla="*/ 49 h 49"/>
                <a:gd name="T46" fmla="*/ 7 w 112"/>
                <a:gd name="T4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49">
                  <a:moveTo>
                    <a:pt x="7" y="49"/>
                  </a:moveTo>
                  <a:lnTo>
                    <a:pt x="7" y="49"/>
                  </a:lnTo>
                  <a:lnTo>
                    <a:pt x="4" y="49"/>
                  </a:lnTo>
                  <a:lnTo>
                    <a:pt x="2" y="45"/>
                  </a:lnTo>
                  <a:lnTo>
                    <a:pt x="2" y="45"/>
                  </a:lnTo>
                  <a:lnTo>
                    <a:pt x="0" y="42"/>
                  </a:lnTo>
                  <a:lnTo>
                    <a:pt x="2" y="40"/>
                  </a:lnTo>
                  <a:lnTo>
                    <a:pt x="4" y="37"/>
                  </a:lnTo>
                  <a:lnTo>
                    <a:pt x="5" y="37"/>
                  </a:lnTo>
                  <a:lnTo>
                    <a:pt x="104" y="0"/>
                  </a:lnTo>
                  <a:lnTo>
                    <a:pt x="104" y="0"/>
                  </a:lnTo>
                  <a:lnTo>
                    <a:pt x="106" y="0"/>
                  </a:lnTo>
                  <a:lnTo>
                    <a:pt x="109" y="0"/>
                  </a:lnTo>
                  <a:lnTo>
                    <a:pt x="111" y="2"/>
                  </a:lnTo>
                  <a:lnTo>
                    <a:pt x="112" y="5"/>
                  </a:lnTo>
                  <a:lnTo>
                    <a:pt x="112" y="5"/>
                  </a:lnTo>
                  <a:lnTo>
                    <a:pt x="112" y="7"/>
                  </a:lnTo>
                  <a:lnTo>
                    <a:pt x="112" y="10"/>
                  </a:lnTo>
                  <a:lnTo>
                    <a:pt x="111" y="12"/>
                  </a:lnTo>
                  <a:lnTo>
                    <a:pt x="107" y="14"/>
                  </a:lnTo>
                  <a:lnTo>
                    <a:pt x="10" y="49"/>
                  </a:lnTo>
                  <a:lnTo>
                    <a:pt x="10" y="49"/>
                  </a:lnTo>
                  <a:lnTo>
                    <a:pt x="7" y="49"/>
                  </a:lnTo>
                  <a:lnTo>
                    <a:pt x="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6" name="Group 31">
            <a:extLst>
              <a:ext uri="{FF2B5EF4-FFF2-40B4-BE49-F238E27FC236}">
                <a16:creationId xmlns:a16="http://schemas.microsoft.com/office/drawing/2014/main" id="{42399B5E-8CE6-418B-AE7E-EC851A0AD279}"/>
              </a:ext>
            </a:extLst>
          </p:cNvPr>
          <p:cNvGrpSpPr>
            <a:grpSpLocks noChangeAspect="1"/>
          </p:cNvGrpSpPr>
          <p:nvPr/>
        </p:nvGrpSpPr>
        <p:grpSpPr>
          <a:xfrm>
            <a:off x="6690545" y="4345739"/>
            <a:ext cx="179853" cy="306484"/>
            <a:chOff x="8509001" y="1103313"/>
            <a:chExt cx="311150" cy="530225"/>
          </a:xfrm>
          <a:solidFill>
            <a:schemeClr val="bg1"/>
          </a:solidFill>
          <a:effectLst/>
        </p:grpSpPr>
        <p:sp>
          <p:nvSpPr>
            <p:cNvPr id="537" name="Freeform 142">
              <a:extLst>
                <a:ext uri="{FF2B5EF4-FFF2-40B4-BE49-F238E27FC236}">
                  <a16:creationId xmlns:a16="http://schemas.microsoft.com/office/drawing/2014/main" id="{0733FBDD-A62B-4DF7-9B16-CEFFD802AB5C}"/>
                </a:ext>
              </a:extLst>
            </p:cNvPr>
            <p:cNvSpPr>
              <a:spLocks/>
            </p:cNvSpPr>
            <p:nvPr/>
          </p:nvSpPr>
          <p:spPr bwMode="auto">
            <a:xfrm>
              <a:off x="8564563" y="1231900"/>
              <a:ext cx="200025" cy="17463"/>
            </a:xfrm>
            <a:custGeom>
              <a:avLst/>
              <a:gdLst>
                <a:gd name="T0" fmla="*/ 484 w 507"/>
                <a:gd name="T1" fmla="*/ 47 h 47"/>
                <a:gd name="T2" fmla="*/ 24 w 507"/>
                <a:gd name="T3" fmla="*/ 47 h 47"/>
                <a:gd name="T4" fmla="*/ 19 w 507"/>
                <a:gd name="T5" fmla="*/ 46 h 47"/>
                <a:gd name="T6" fmla="*/ 14 w 507"/>
                <a:gd name="T7" fmla="*/ 44 h 47"/>
                <a:gd name="T8" fmla="*/ 10 w 507"/>
                <a:gd name="T9" fmla="*/ 42 h 47"/>
                <a:gd name="T10" fmla="*/ 8 w 507"/>
                <a:gd name="T11" fmla="*/ 39 h 47"/>
                <a:gd name="T12" fmla="*/ 4 w 507"/>
                <a:gd name="T13" fmla="*/ 36 h 47"/>
                <a:gd name="T14" fmla="*/ 2 w 507"/>
                <a:gd name="T15" fmla="*/ 32 h 47"/>
                <a:gd name="T16" fmla="*/ 0 w 507"/>
                <a:gd name="T17" fmla="*/ 28 h 47"/>
                <a:gd name="T18" fmla="*/ 0 w 507"/>
                <a:gd name="T19" fmla="*/ 24 h 47"/>
                <a:gd name="T20" fmla="*/ 0 w 507"/>
                <a:gd name="T21" fmla="*/ 19 h 47"/>
                <a:gd name="T22" fmla="*/ 2 w 507"/>
                <a:gd name="T23" fmla="*/ 15 h 47"/>
                <a:gd name="T24" fmla="*/ 4 w 507"/>
                <a:gd name="T25" fmla="*/ 10 h 47"/>
                <a:gd name="T26" fmla="*/ 8 w 507"/>
                <a:gd name="T27" fmla="*/ 8 h 47"/>
                <a:gd name="T28" fmla="*/ 10 w 507"/>
                <a:gd name="T29" fmla="*/ 4 h 47"/>
                <a:gd name="T30" fmla="*/ 14 w 507"/>
                <a:gd name="T31" fmla="*/ 3 h 47"/>
                <a:gd name="T32" fmla="*/ 19 w 507"/>
                <a:gd name="T33" fmla="*/ 1 h 47"/>
                <a:gd name="T34" fmla="*/ 24 w 507"/>
                <a:gd name="T35" fmla="*/ 0 h 47"/>
                <a:gd name="T36" fmla="*/ 484 w 507"/>
                <a:gd name="T37" fmla="*/ 0 h 47"/>
                <a:gd name="T38" fmla="*/ 489 w 507"/>
                <a:gd name="T39" fmla="*/ 0 h 47"/>
                <a:gd name="T40" fmla="*/ 493 w 507"/>
                <a:gd name="T41" fmla="*/ 3 h 47"/>
                <a:gd name="T42" fmla="*/ 497 w 507"/>
                <a:gd name="T43" fmla="*/ 4 h 47"/>
                <a:gd name="T44" fmla="*/ 501 w 507"/>
                <a:gd name="T45" fmla="*/ 8 h 47"/>
                <a:gd name="T46" fmla="*/ 503 w 507"/>
                <a:gd name="T47" fmla="*/ 10 h 47"/>
                <a:gd name="T48" fmla="*/ 506 w 507"/>
                <a:gd name="T49" fmla="*/ 15 h 47"/>
                <a:gd name="T50" fmla="*/ 507 w 507"/>
                <a:gd name="T51" fmla="*/ 19 h 47"/>
                <a:gd name="T52" fmla="*/ 507 w 507"/>
                <a:gd name="T53" fmla="*/ 24 h 47"/>
                <a:gd name="T54" fmla="*/ 507 w 507"/>
                <a:gd name="T55" fmla="*/ 28 h 47"/>
                <a:gd name="T56" fmla="*/ 506 w 507"/>
                <a:gd name="T57" fmla="*/ 32 h 47"/>
                <a:gd name="T58" fmla="*/ 503 w 507"/>
                <a:gd name="T59" fmla="*/ 36 h 47"/>
                <a:gd name="T60" fmla="*/ 501 w 507"/>
                <a:gd name="T61" fmla="*/ 39 h 47"/>
                <a:gd name="T62" fmla="*/ 497 w 507"/>
                <a:gd name="T63" fmla="*/ 42 h 47"/>
                <a:gd name="T64" fmla="*/ 493 w 507"/>
                <a:gd name="T65" fmla="*/ 44 h 47"/>
                <a:gd name="T66" fmla="*/ 489 w 507"/>
                <a:gd name="T67" fmla="*/ 46 h 47"/>
                <a:gd name="T68" fmla="*/ 484 w 507"/>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7">
                  <a:moveTo>
                    <a:pt x="484" y="47"/>
                  </a:moveTo>
                  <a:lnTo>
                    <a:pt x="24" y="47"/>
                  </a:lnTo>
                  <a:lnTo>
                    <a:pt x="19" y="46"/>
                  </a:lnTo>
                  <a:lnTo>
                    <a:pt x="14" y="44"/>
                  </a:lnTo>
                  <a:lnTo>
                    <a:pt x="10" y="42"/>
                  </a:lnTo>
                  <a:lnTo>
                    <a:pt x="8" y="39"/>
                  </a:lnTo>
                  <a:lnTo>
                    <a:pt x="4" y="36"/>
                  </a:lnTo>
                  <a:lnTo>
                    <a:pt x="2" y="32"/>
                  </a:lnTo>
                  <a:lnTo>
                    <a:pt x="0" y="28"/>
                  </a:lnTo>
                  <a:lnTo>
                    <a:pt x="0" y="24"/>
                  </a:lnTo>
                  <a:lnTo>
                    <a:pt x="0" y="19"/>
                  </a:lnTo>
                  <a:lnTo>
                    <a:pt x="2" y="15"/>
                  </a:lnTo>
                  <a:lnTo>
                    <a:pt x="4" y="10"/>
                  </a:lnTo>
                  <a:lnTo>
                    <a:pt x="8" y="8"/>
                  </a:lnTo>
                  <a:lnTo>
                    <a:pt x="10" y="4"/>
                  </a:lnTo>
                  <a:lnTo>
                    <a:pt x="14" y="3"/>
                  </a:lnTo>
                  <a:lnTo>
                    <a:pt x="19" y="1"/>
                  </a:lnTo>
                  <a:lnTo>
                    <a:pt x="24" y="0"/>
                  </a:lnTo>
                  <a:lnTo>
                    <a:pt x="484" y="0"/>
                  </a:lnTo>
                  <a:lnTo>
                    <a:pt x="489" y="0"/>
                  </a:lnTo>
                  <a:lnTo>
                    <a:pt x="493" y="3"/>
                  </a:lnTo>
                  <a:lnTo>
                    <a:pt x="497" y="4"/>
                  </a:lnTo>
                  <a:lnTo>
                    <a:pt x="501" y="8"/>
                  </a:lnTo>
                  <a:lnTo>
                    <a:pt x="503" y="10"/>
                  </a:lnTo>
                  <a:lnTo>
                    <a:pt x="506" y="15"/>
                  </a:lnTo>
                  <a:lnTo>
                    <a:pt x="507" y="19"/>
                  </a:lnTo>
                  <a:lnTo>
                    <a:pt x="507" y="24"/>
                  </a:lnTo>
                  <a:lnTo>
                    <a:pt x="507" y="28"/>
                  </a:lnTo>
                  <a:lnTo>
                    <a:pt x="506" y="32"/>
                  </a:lnTo>
                  <a:lnTo>
                    <a:pt x="503" y="36"/>
                  </a:lnTo>
                  <a:lnTo>
                    <a:pt x="501" y="39"/>
                  </a:lnTo>
                  <a:lnTo>
                    <a:pt x="497" y="42"/>
                  </a:lnTo>
                  <a:lnTo>
                    <a:pt x="493" y="44"/>
                  </a:lnTo>
                  <a:lnTo>
                    <a:pt x="489" y="46"/>
                  </a:lnTo>
                  <a:lnTo>
                    <a:pt x="484"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143">
              <a:extLst>
                <a:ext uri="{FF2B5EF4-FFF2-40B4-BE49-F238E27FC236}">
                  <a16:creationId xmlns:a16="http://schemas.microsoft.com/office/drawing/2014/main" id="{C6B8902D-3142-47CD-9AD2-93A44CDAF089}"/>
                </a:ext>
              </a:extLst>
            </p:cNvPr>
            <p:cNvSpPr>
              <a:spLocks/>
            </p:cNvSpPr>
            <p:nvPr/>
          </p:nvSpPr>
          <p:spPr bwMode="auto">
            <a:xfrm>
              <a:off x="8564563" y="1285875"/>
              <a:ext cx="200025" cy="19050"/>
            </a:xfrm>
            <a:custGeom>
              <a:avLst/>
              <a:gdLst>
                <a:gd name="T0" fmla="*/ 484 w 507"/>
                <a:gd name="T1" fmla="*/ 45 h 45"/>
                <a:gd name="T2" fmla="*/ 24 w 507"/>
                <a:gd name="T3" fmla="*/ 45 h 45"/>
                <a:gd name="T4" fmla="*/ 19 w 507"/>
                <a:gd name="T5" fmla="*/ 45 h 45"/>
                <a:gd name="T6" fmla="*/ 14 w 507"/>
                <a:gd name="T7" fmla="*/ 44 h 45"/>
                <a:gd name="T8" fmla="*/ 10 w 507"/>
                <a:gd name="T9" fmla="*/ 42 h 45"/>
                <a:gd name="T10" fmla="*/ 8 w 507"/>
                <a:gd name="T11" fmla="*/ 39 h 45"/>
                <a:gd name="T12" fmla="*/ 4 w 507"/>
                <a:gd name="T13" fmla="*/ 35 h 45"/>
                <a:gd name="T14" fmla="*/ 2 w 507"/>
                <a:gd name="T15" fmla="*/ 32 h 45"/>
                <a:gd name="T16" fmla="*/ 0 w 507"/>
                <a:gd name="T17" fmla="*/ 27 h 45"/>
                <a:gd name="T18" fmla="*/ 0 w 507"/>
                <a:gd name="T19" fmla="*/ 23 h 45"/>
                <a:gd name="T20" fmla="*/ 0 w 507"/>
                <a:gd name="T21" fmla="*/ 18 h 45"/>
                <a:gd name="T22" fmla="*/ 2 w 507"/>
                <a:gd name="T23" fmla="*/ 13 h 45"/>
                <a:gd name="T24" fmla="*/ 4 w 507"/>
                <a:gd name="T25" fmla="*/ 10 h 45"/>
                <a:gd name="T26" fmla="*/ 8 w 507"/>
                <a:gd name="T27" fmla="*/ 6 h 45"/>
                <a:gd name="T28" fmla="*/ 10 w 507"/>
                <a:gd name="T29" fmla="*/ 4 h 45"/>
                <a:gd name="T30" fmla="*/ 14 w 507"/>
                <a:gd name="T31" fmla="*/ 1 h 45"/>
                <a:gd name="T32" fmla="*/ 19 w 507"/>
                <a:gd name="T33" fmla="*/ 0 h 45"/>
                <a:gd name="T34" fmla="*/ 24 w 507"/>
                <a:gd name="T35" fmla="*/ 0 h 45"/>
                <a:gd name="T36" fmla="*/ 484 w 507"/>
                <a:gd name="T37" fmla="*/ 0 h 45"/>
                <a:gd name="T38" fmla="*/ 489 w 507"/>
                <a:gd name="T39" fmla="*/ 0 h 45"/>
                <a:gd name="T40" fmla="*/ 493 w 507"/>
                <a:gd name="T41" fmla="*/ 1 h 45"/>
                <a:gd name="T42" fmla="*/ 497 w 507"/>
                <a:gd name="T43" fmla="*/ 4 h 45"/>
                <a:gd name="T44" fmla="*/ 501 w 507"/>
                <a:gd name="T45" fmla="*/ 6 h 45"/>
                <a:gd name="T46" fmla="*/ 503 w 507"/>
                <a:gd name="T47" fmla="*/ 10 h 45"/>
                <a:gd name="T48" fmla="*/ 506 w 507"/>
                <a:gd name="T49" fmla="*/ 13 h 45"/>
                <a:gd name="T50" fmla="*/ 507 w 507"/>
                <a:gd name="T51" fmla="*/ 18 h 45"/>
                <a:gd name="T52" fmla="*/ 507 w 507"/>
                <a:gd name="T53" fmla="*/ 23 h 45"/>
                <a:gd name="T54" fmla="*/ 507 w 507"/>
                <a:gd name="T55" fmla="*/ 27 h 45"/>
                <a:gd name="T56" fmla="*/ 506 w 507"/>
                <a:gd name="T57" fmla="*/ 32 h 45"/>
                <a:gd name="T58" fmla="*/ 503 w 507"/>
                <a:gd name="T59" fmla="*/ 35 h 45"/>
                <a:gd name="T60" fmla="*/ 501 w 507"/>
                <a:gd name="T61" fmla="*/ 39 h 45"/>
                <a:gd name="T62" fmla="*/ 497 w 507"/>
                <a:gd name="T63" fmla="*/ 42 h 45"/>
                <a:gd name="T64" fmla="*/ 493 w 507"/>
                <a:gd name="T65" fmla="*/ 44 h 45"/>
                <a:gd name="T66" fmla="*/ 489 w 507"/>
                <a:gd name="T67" fmla="*/ 45 h 45"/>
                <a:gd name="T68" fmla="*/ 484 w 507"/>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5">
                  <a:moveTo>
                    <a:pt x="484" y="45"/>
                  </a:moveTo>
                  <a:lnTo>
                    <a:pt x="24" y="45"/>
                  </a:lnTo>
                  <a:lnTo>
                    <a:pt x="19" y="45"/>
                  </a:lnTo>
                  <a:lnTo>
                    <a:pt x="14" y="44"/>
                  </a:lnTo>
                  <a:lnTo>
                    <a:pt x="10" y="42"/>
                  </a:lnTo>
                  <a:lnTo>
                    <a:pt x="8" y="39"/>
                  </a:lnTo>
                  <a:lnTo>
                    <a:pt x="4" y="35"/>
                  </a:lnTo>
                  <a:lnTo>
                    <a:pt x="2" y="32"/>
                  </a:lnTo>
                  <a:lnTo>
                    <a:pt x="0" y="27"/>
                  </a:lnTo>
                  <a:lnTo>
                    <a:pt x="0" y="23"/>
                  </a:lnTo>
                  <a:lnTo>
                    <a:pt x="0" y="18"/>
                  </a:lnTo>
                  <a:lnTo>
                    <a:pt x="2" y="13"/>
                  </a:lnTo>
                  <a:lnTo>
                    <a:pt x="4" y="10"/>
                  </a:lnTo>
                  <a:lnTo>
                    <a:pt x="8" y="6"/>
                  </a:lnTo>
                  <a:lnTo>
                    <a:pt x="10" y="4"/>
                  </a:lnTo>
                  <a:lnTo>
                    <a:pt x="14" y="1"/>
                  </a:lnTo>
                  <a:lnTo>
                    <a:pt x="19" y="0"/>
                  </a:lnTo>
                  <a:lnTo>
                    <a:pt x="24" y="0"/>
                  </a:lnTo>
                  <a:lnTo>
                    <a:pt x="484" y="0"/>
                  </a:lnTo>
                  <a:lnTo>
                    <a:pt x="489" y="0"/>
                  </a:lnTo>
                  <a:lnTo>
                    <a:pt x="493" y="1"/>
                  </a:lnTo>
                  <a:lnTo>
                    <a:pt x="497" y="4"/>
                  </a:lnTo>
                  <a:lnTo>
                    <a:pt x="501" y="6"/>
                  </a:lnTo>
                  <a:lnTo>
                    <a:pt x="503" y="10"/>
                  </a:lnTo>
                  <a:lnTo>
                    <a:pt x="506" y="13"/>
                  </a:lnTo>
                  <a:lnTo>
                    <a:pt x="507" y="18"/>
                  </a:lnTo>
                  <a:lnTo>
                    <a:pt x="507" y="23"/>
                  </a:lnTo>
                  <a:lnTo>
                    <a:pt x="507" y="27"/>
                  </a:lnTo>
                  <a:lnTo>
                    <a:pt x="506" y="32"/>
                  </a:lnTo>
                  <a:lnTo>
                    <a:pt x="503" y="35"/>
                  </a:lnTo>
                  <a:lnTo>
                    <a:pt x="501" y="39"/>
                  </a:lnTo>
                  <a:lnTo>
                    <a:pt x="497" y="42"/>
                  </a:lnTo>
                  <a:lnTo>
                    <a:pt x="493" y="44"/>
                  </a:lnTo>
                  <a:lnTo>
                    <a:pt x="489" y="45"/>
                  </a:lnTo>
                  <a:lnTo>
                    <a:pt x="48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144">
              <a:extLst>
                <a:ext uri="{FF2B5EF4-FFF2-40B4-BE49-F238E27FC236}">
                  <a16:creationId xmlns:a16="http://schemas.microsoft.com/office/drawing/2014/main" id="{438283CC-373D-43B2-96B4-92B34B8956EC}"/>
                </a:ext>
              </a:extLst>
            </p:cNvPr>
            <p:cNvSpPr>
              <a:spLocks/>
            </p:cNvSpPr>
            <p:nvPr/>
          </p:nvSpPr>
          <p:spPr bwMode="auto">
            <a:xfrm>
              <a:off x="8564563" y="1341438"/>
              <a:ext cx="200025" cy="17463"/>
            </a:xfrm>
            <a:custGeom>
              <a:avLst/>
              <a:gdLst>
                <a:gd name="T0" fmla="*/ 484 w 507"/>
                <a:gd name="T1" fmla="*/ 46 h 46"/>
                <a:gd name="T2" fmla="*/ 24 w 507"/>
                <a:gd name="T3" fmla="*/ 46 h 46"/>
                <a:gd name="T4" fmla="*/ 19 w 507"/>
                <a:gd name="T5" fmla="*/ 46 h 46"/>
                <a:gd name="T6" fmla="*/ 14 w 507"/>
                <a:gd name="T7" fmla="*/ 45 h 46"/>
                <a:gd name="T8" fmla="*/ 10 w 507"/>
                <a:gd name="T9" fmla="*/ 42 h 46"/>
                <a:gd name="T10" fmla="*/ 8 w 507"/>
                <a:gd name="T11" fmla="*/ 40 h 46"/>
                <a:gd name="T12" fmla="*/ 4 w 507"/>
                <a:gd name="T13" fmla="*/ 36 h 46"/>
                <a:gd name="T14" fmla="*/ 2 w 507"/>
                <a:gd name="T15" fmla="*/ 32 h 46"/>
                <a:gd name="T16" fmla="*/ 0 w 507"/>
                <a:gd name="T17" fmla="*/ 27 h 46"/>
                <a:gd name="T18" fmla="*/ 0 w 507"/>
                <a:gd name="T19" fmla="*/ 23 h 46"/>
                <a:gd name="T20" fmla="*/ 0 w 507"/>
                <a:gd name="T21" fmla="*/ 19 h 46"/>
                <a:gd name="T22" fmla="*/ 2 w 507"/>
                <a:gd name="T23" fmla="*/ 14 h 46"/>
                <a:gd name="T24" fmla="*/ 4 w 507"/>
                <a:gd name="T25" fmla="*/ 10 h 46"/>
                <a:gd name="T26" fmla="*/ 8 w 507"/>
                <a:gd name="T27" fmla="*/ 7 h 46"/>
                <a:gd name="T28" fmla="*/ 10 w 507"/>
                <a:gd name="T29" fmla="*/ 4 h 46"/>
                <a:gd name="T30" fmla="*/ 14 w 507"/>
                <a:gd name="T31" fmla="*/ 2 h 46"/>
                <a:gd name="T32" fmla="*/ 19 w 507"/>
                <a:gd name="T33" fmla="*/ 0 h 46"/>
                <a:gd name="T34" fmla="*/ 24 w 507"/>
                <a:gd name="T35" fmla="*/ 0 h 46"/>
                <a:gd name="T36" fmla="*/ 484 w 507"/>
                <a:gd name="T37" fmla="*/ 0 h 46"/>
                <a:gd name="T38" fmla="*/ 489 w 507"/>
                <a:gd name="T39" fmla="*/ 0 h 46"/>
                <a:gd name="T40" fmla="*/ 493 w 507"/>
                <a:gd name="T41" fmla="*/ 2 h 46"/>
                <a:gd name="T42" fmla="*/ 497 w 507"/>
                <a:gd name="T43" fmla="*/ 4 h 46"/>
                <a:gd name="T44" fmla="*/ 501 w 507"/>
                <a:gd name="T45" fmla="*/ 7 h 46"/>
                <a:gd name="T46" fmla="*/ 503 w 507"/>
                <a:gd name="T47" fmla="*/ 10 h 46"/>
                <a:gd name="T48" fmla="*/ 506 w 507"/>
                <a:gd name="T49" fmla="*/ 14 h 46"/>
                <a:gd name="T50" fmla="*/ 507 w 507"/>
                <a:gd name="T51" fmla="*/ 19 h 46"/>
                <a:gd name="T52" fmla="*/ 507 w 507"/>
                <a:gd name="T53" fmla="*/ 23 h 46"/>
                <a:gd name="T54" fmla="*/ 507 w 507"/>
                <a:gd name="T55" fmla="*/ 27 h 46"/>
                <a:gd name="T56" fmla="*/ 506 w 507"/>
                <a:gd name="T57" fmla="*/ 32 h 46"/>
                <a:gd name="T58" fmla="*/ 503 w 507"/>
                <a:gd name="T59" fmla="*/ 36 h 46"/>
                <a:gd name="T60" fmla="*/ 501 w 507"/>
                <a:gd name="T61" fmla="*/ 40 h 46"/>
                <a:gd name="T62" fmla="*/ 497 w 507"/>
                <a:gd name="T63" fmla="*/ 42 h 46"/>
                <a:gd name="T64" fmla="*/ 493 w 507"/>
                <a:gd name="T65" fmla="*/ 45 h 46"/>
                <a:gd name="T66" fmla="*/ 489 w 507"/>
                <a:gd name="T67" fmla="*/ 46 h 46"/>
                <a:gd name="T68" fmla="*/ 484 w 507"/>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7" h="46">
                  <a:moveTo>
                    <a:pt x="484" y="46"/>
                  </a:moveTo>
                  <a:lnTo>
                    <a:pt x="24" y="46"/>
                  </a:lnTo>
                  <a:lnTo>
                    <a:pt x="19" y="46"/>
                  </a:lnTo>
                  <a:lnTo>
                    <a:pt x="14" y="45"/>
                  </a:lnTo>
                  <a:lnTo>
                    <a:pt x="10" y="42"/>
                  </a:lnTo>
                  <a:lnTo>
                    <a:pt x="8" y="40"/>
                  </a:lnTo>
                  <a:lnTo>
                    <a:pt x="4" y="36"/>
                  </a:lnTo>
                  <a:lnTo>
                    <a:pt x="2" y="32"/>
                  </a:lnTo>
                  <a:lnTo>
                    <a:pt x="0" y="27"/>
                  </a:lnTo>
                  <a:lnTo>
                    <a:pt x="0" y="23"/>
                  </a:lnTo>
                  <a:lnTo>
                    <a:pt x="0" y="19"/>
                  </a:lnTo>
                  <a:lnTo>
                    <a:pt x="2" y="14"/>
                  </a:lnTo>
                  <a:lnTo>
                    <a:pt x="4" y="10"/>
                  </a:lnTo>
                  <a:lnTo>
                    <a:pt x="8" y="7"/>
                  </a:lnTo>
                  <a:lnTo>
                    <a:pt x="10" y="4"/>
                  </a:lnTo>
                  <a:lnTo>
                    <a:pt x="14" y="2"/>
                  </a:lnTo>
                  <a:lnTo>
                    <a:pt x="19" y="0"/>
                  </a:lnTo>
                  <a:lnTo>
                    <a:pt x="24" y="0"/>
                  </a:lnTo>
                  <a:lnTo>
                    <a:pt x="484" y="0"/>
                  </a:lnTo>
                  <a:lnTo>
                    <a:pt x="489" y="0"/>
                  </a:lnTo>
                  <a:lnTo>
                    <a:pt x="493" y="2"/>
                  </a:lnTo>
                  <a:lnTo>
                    <a:pt x="497" y="4"/>
                  </a:lnTo>
                  <a:lnTo>
                    <a:pt x="501" y="7"/>
                  </a:lnTo>
                  <a:lnTo>
                    <a:pt x="503" y="10"/>
                  </a:lnTo>
                  <a:lnTo>
                    <a:pt x="506" y="14"/>
                  </a:lnTo>
                  <a:lnTo>
                    <a:pt x="507" y="19"/>
                  </a:lnTo>
                  <a:lnTo>
                    <a:pt x="507" y="23"/>
                  </a:lnTo>
                  <a:lnTo>
                    <a:pt x="507" y="27"/>
                  </a:lnTo>
                  <a:lnTo>
                    <a:pt x="506" y="32"/>
                  </a:lnTo>
                  <a:lnTo>
                    <a:pt x="503" y="36"/>
                  </a:lnTo>
                  <a:lnTo>
                    <a:pt x="501" y="40"/>
                  </a:lnTo>
                  <a:lnTo>
                    <a:pt x="497" y="42"/>
                  </a:lnTo>
                  <a:lnTo>
                    <a:pt x="493" y="45"/>
                  </a:lnTo>
                  <a:lnTo>
                    <a:pt x="489" y="46"/>
                  </a:lnTo>
                  <a:lnTo>
                    <a:pt x="484"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45">
              <a:extLst>
                <a:ext uri="{FF2B5EF4-FFF2-40B4-BE49-F238E27FC236}">
                  <a16:creationId xmlns:a16="http://schemas.microsoft.com/office/drawing/2014/main" id="{8253DA1F-FD13-407E-AE9A-9A6D18FDEB36}"/>
                </a:ext>
              </a:extLst>
            </p:cNvPr>
            <p:cNvSpPr>
              <a:spLocks/>
            </p:cNvSpPr>
            <p:nvPr/>
          </p:nvSpPr>
          <p:spPr bwMode="auto">
            <a:xfrm>
              <a:off x="8509001" y="1103313"/>
              <a:ext cx="311150" cy="457200"/>
            </a:xfrm>
            <a:custGeom>
              <a:avLst/>
              <a:gdLst>
                <a:gd name="T0" fmla="*/ 585 w 783"/>
                <a:gd name="T1" fmla="*/ 1151 h 1151"/>
                <a:gd name="T2" fmla="*/ 576 w 783"/>
                <a:gd name="T3" fmla="*/ 1150 h 1151"/>
                <a:gd name="T4" fmla="*/ 569 w 783"/>
                <a:gd name="T5" fmla="*/ 1145 h 1151"/>
                <a:gd name="T6" fmla="*/ 564 w 783"/>
                <a:gd name="T7" fmla="*/ 1138 h 1151"/>
                <a:gd name="T8" fmla="*/ 563 w 783"/>
                <a:gd name="T9" fmla="*/ 1129 h 1151"/>
                <a:gd name="T10" fmla="*/ 564 w 783"/>
                <a:gd name="T11" fmla="*/ 1120 h 1151"/>
                <a:gd name="T12" fmla="*/ 569 w 783"/>
                <a:gd name="T13" fmla="*/ 1112 h 1151"/>
                <a:gd name="T14" fmla="*/ 576 w 783"/>
                <a:gd name="T15" fmla="*/ 1107 h 1151"/>
                <a:gd name="T16" fmla="*/ 585 w 783"/>
                <a:gd name="T17" fmla="*/ 1106 h 1151"/>
                <a:gd name="T18" fmla="*/ 737 w 783"/>
                <a:gd name="T19" fmla="*/ 46 h 1151"/>
                <a:gd name="T20" fmla="*/ 46 w 783"/>
                <a:gd name="T21" fmla="*/ 217 h 1151"/>
                <a:gd name="T22" fmla="*/ 198 w 783"/>
                <a:gd name="T23" fmla="*/ 1106 h 1151"/>
                <a:gd name="T24" fmla="*/ 207 w 783"/>
                <a:gd name="T25" fmla="*/ 1107 h 1151"/>
                <a:gd name="T26" fmla="*/ 214 w 783"/>
                <a:gd name="T27" fmla="*/ 1112 h 1151"/>
                <a:gd name="T28" fmla="*/ 219 w 783"/>
                <a:gd name="T29" fmla="*/ 1120 h 1151"/>
                <a:gd name="T30" fmla="*/ 222 w 783"/>
                <a:gd name="T31" fmla="*/ 1129 h 1151"/>
                <a:gd name="T32" fmla="*/ 219 w 783"/>
                <a:gd name="T33" fmla="*/ 1138 h 1151"/>
                <a:gd name="T34" fmla="*/ 214 w 783"/>
                <a:gd name="T35" fmla="*/ 1145 h 1151"/>
                <a:gd name="T36" fmla="*/ 207 w 783"/>
                <a:gd name="T37" fmla="*/ 1150 h 1151"/>
                <a:gd name="T38" fmla="*/ 198 w 783"/>
                <a:gd name="T39" fmla="*/ 1151 h 1151"/>
                <a:gd name="T40" fmla="*/ 18 w 783"/>
                <a:gd name="T41" fmla="*/ 1151 h 1151"/>
                <a:gd name="T42" fmla="*/ 11 w 783"/>
                <a:gd name="T43" fmla="*/ 1148 h 1151"/>
                <a:gd name="T44" fmla="*/ 5 w 783"/>
                <a:gd name="T45" fmla="*/ 1142 h 1151"/>
                <a:gd name="T46" fmla="*/ 1 w 783"/>
                <a:gd name="T47" fmla="*/ 1133 h 1151"/>
                <a:gd name="T48" fmla="*/ 0 w 783"/>
                <a:gd name="T49" fmla="*/ 207 h 1151"/>
                <a:gd name="T50" fmla="*/ 2 w 783"/>
                <a:gd name="T51" fmla="*/ 198 h 1151"/>
                <a:gd name="T52" fmla="*/ 7 w 783"/>
                <a:gd name="T53" fmla="*/ 191 h 1151"/>
                <a:gd name="T54" fmla="*/ 195 w 783"/>
                <a:gd name="T55" fmla="*/ 3 h 1151"/>
                <a:gd name="T56" fmla="*/ 203 w 783"/>
                <a:gd name="T57" fmla="*/ 1 h 1151"/>
                <a:gd name="T58" fmla="*/ 760 w 783"/>
                <a:gd name="T59" fmla="*/ 0 h 1151"/>
                <a:gd name="T60" fmla="*/ 769 w 783"/>
                <a:gd name="T61" fmla="*/ 2 h 1151"/>
                <a:gd name="T62" fmla="*/ 776 w 783"/>
                <a:gd name="T63" fmla="*/ 7 h 1151"/>
                <a:gd name="T64" fmla="*/ 781 w 783"/>
                <a:gd name="T65" fmla="*/ 14 h 1151"/>
                <a:gd name="T66" fmla="*/ 783 w 783"/>
                <a:gd name="T67" fmla="*/ 23 h 1151"/>
                <a:gd name="T68" fmla="*/ 783 w 783"/>
                <a:gd name="T69" fmla="*/ 1133 h 1151"/>
                <a:gd name="T70" fmla="*/ 780 w 783"/>
                <a:gd name="T71" fmla="*/ 1142 h 1151"/>
                <a:gd name="T72" fmla="*/ 774 w 783"/>
                <a:gd name="T73" fmla="*/ 1148 h 1151"/>
                <a:gd name="T74" fmla="*/ 765 w 783"/>
                <a:gd name="T75" fmla="*/ 1151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3" h="1151">
                  <a:moveTo>
                    <a:pt x="760" y="1151"/>
                  </a:moveTo>
                  <a:lnTo>
                    <a:pt x="585" y="1151"/>
                  </a:lnTo>
                  <a:lnTo>
                    <a:pt x="581" y="1151"/>
                  </a:lnTo>
                  <a:lnTo>
                    <a:pt x="576" y="1150"/>
                  </a:lnTo>
                  <a:lnTo>
                    <a:pt x="573" y="1148"/>
                  </a:lnTo>
                  <a:lnTo>
                    <a:pt x="569" y="1145"/>
                  </a:lnTo>
                  <a:lnTo>
                    <a:pt x="566" y="1142"/>
                  </a:lnTo>
                  <a:lnTo>
                    <a:pt x="564" y="1138"/>
                  </a:lnTo>
                  <a:lnTo>
                    <a:pt x="563" y="1133"/>
                  </a:lnTo>
                  <a:lnTo>
                    <a:pt x="563" y="1129"/>
                  </a:lnTo>
                  <a:lnTo>
                    <a:pt x="563" y="1124"/>
                  </a:lnTo>
                  <a:lnTo>
                    <a:pt x="564" y="1120"/>
                  </a:lnTo>
                  <a:lnTo>
                    <a:pt x="566" y="1116"/>
                  </a:lnTo>
                  <a:lnTo>
                    <a:pt x="569" y="1112"/>
                  </a:lnTo>
                  <a:lnTo>
                    <a:pt x="573" y="1110"/>
                  </a:lnTo>
                  <a:lnTo>
                    <a:pt x="576" y="1107"/>
                  </a:lnTo>
                  <a:lnTo>
                    <a:pt x="581" y="1106"/>
                  </a:lnTo>
                  <a:lnTo>
                    <a:pt x="585" y="1106"/>
                  </a:lnTo>
                  <a:lnTo>
                    <a:pt x="737" y="1106"/>
                  </a:lnTo>
                  <a:lnTo>
                    <a:pt x="737" y="46"/>
                  </a:lnTo>
                  <a:lnTo>
                    <a:pt x="217" y="46"/>
                  </a:lnTo>
                  <a:lnTo>
                    <a:pt x="46" y="217"/>
                  </a:lnTo>
                  <a:lnTo>
                    <a:pt x="46" y="1106"/>
                  </a:lnTo>
                  <a:lnTo>
                    <a:pt x="198" y="1106"/>
                  </a:lnTo>
                  <a:lnTo>
                    <a:pt x="203" y="1106"/>
                  </a:lnTo>
                  <a:lnTo>
                    <a:pt x="207" y="1107"/>
                  </a:lnTo>
                  <a:lnTo>
                    <a:pt x="211" y="1110"/>
                  </a:lnTo>
                  <a:lnTo>
                    <a:pt x="214" y="1112"/>
                  </a:lnTo>
                  <a:lnTo>
                    <a:pt x="217" y="1116"/>
                  </a:lnTo>
                  <a:lnTo>
                    <a:pt x="219" y="1120"/>
                  </a:lnTo>
                  <a:lnTo>
                    <a:pt x="221" y="1124"/>
                  </a:lnTo>
                  <a:lnTo>
                    <a:pt x="222" y="1129"/>
                  </a:lnTo>
                  <a:lnTo>
                    <a:pt x="221" y="1133"/>
                  </a:lnTo>
                  <a:lnTo>
                    <a:pt x="219" y="1138"/>
                  </a:lnTo>
                  <a:lnTo>
                    <a:pt x="217" y="1142"/>
                  </a:lnTo>
                  <a:lnTo>
                    <a:pt x="214" y="1145"/>
                  </a:lnTo>
                  <a:lnTo>
                    <a:pt x="211" y="1148"/>
                  </a:lnTo>
                  <a:lnTo>
                    <a:pt x="207" y="1150"/>
                  </a:lnTo>
                  <a:lnTo>
                    <a:pt x="203" y="1151"/>
                  </a:lnTo>
                  <a:lnTo>
                    <a:pt x="198" y="1151"/>
                  </a:lnTo>
                  <a:lnTo>
                    <a:pt x="23" y="1151"/>
                  </a:lnTo>
                  <a:lnTo>
                    <a:pt x="18" y="1151"/>
                  </a:lnTo>
                  <a:lnTo>
                    <a:pt x="14" y="1150"/>
                  </a:lnTo>
                  <a:lnTo>
                    <a:pt x="11" y="1148"/>
                  </a:lnTo>
                  <a:lnTo>
                    <a:pt x="7" y="1145"/>
                  </a:lnTo>
                  <a:lnTo>
                    <a:pt x="5" y="1142"/>
                  </a:lnTo>
                  <a:lnTo>
                    <a:pt x="2" y="1138"/>
                  </a:lnTo>
                  <a:lnTo>
                    <a:pt x="1" y="1133"/>
                  </a:lnTo>
                  <a:lnTo>
                    <a:pt x="0" y="1129"/>
                  </a:lnTo>
                  <a:lnTo>
                    <a:pt x="0" y="207"/>
                  </a:lnTo>
                  <a:lnTo>
                    <a:pt x="1" y="203"/>
                  </a:lnTo>
                  <a:lnTo>
                    <a:pt x="2" y="198"/>
                  </a:lnTo>
                  <a:lnTo>
                    <a:pt x="3" y="195"/>
                  </a:lnTo>
                  <a:lnTo>
                    <a:pt x="7" y="191"/>
                  </a:lnTo>
                  <a:lnTo>
                    <a:pt x="191" y="7"/>
                  </a:lnTo>
                  <a:lnTo>
                    <a:pt x="195" y="3"/>
                  </a:lnTo>
                  <a:lnTo>
                    <a:pt x="198" y="2"/>
                  </a:lnTo>
                  <a:lnTo>
                    <a:pt x="203" y="1"/>
                  </a:lnTo>
                  <a:lnTo>
                    <a:pt x="207" y="0"/>
                  </a:lnTo>
                  <a:lnTo>
                    <a:pt x="760" y="0"/>
                  </a:lnTo>
                  <a:lnTo>
                    <a:pt x="765" y="1"/>
                  </a:lnTo>
                  <a:lnTo>
                    <a:pt x="769" y="2"/>
                  </a:lnTo>
                  <a:lnTo>
                    <a:pt x="774" y="3"/>
                  </a:lnTo>
                  <a:lnTo>
                    <a:pt x="776" y="7"/>
                  </a:lnTo>
                  <a:lnTo>
                    <a:pt x="780" y="9"/>
                  </a:lnTo>
                  <a:lnTo>
                    <a:pt x="781" y="14"/>
                  </a:lnTo>
                  <a:lnTo>
                    <a:pt x="783" y="18"/>
                  </a:lnTo>
                  <a:lnTo>
                    <a:pt x="783" y="23"/>
                  </a:lnTo>
                  <a:lnTo>
                    <a:pt x="783" y="1129"/>
                  </a:lnTo>
                  <a:lnTo>
                    <a:pt x="783" y="1133"/>
                  </a:lnTo>
                  <a:lnTo>
                    <a:pt x="781" y="1138"/>
                  </a:lnTo>
                  <a:lnTo>
                    <a:pt x="780" y="1142"/>
                  </a:lnTo>
                  <a:lnTo>
                    <a:pt x="776" y="1145"/>
                  </a:lnTo>
                  <a:lnTo>
                    <a:pt x="774" y="1148"/>
                  </a:lnTo>
                  <a:lnTo>
                    <a:pt x="769" y="1150"/>
                  </a:lnTo>
                  <a:lnTo>
                    <a:pt x="765" y="1151"/>
                  </a:lnTo>
                  <a:lnTo>
                    <a:pt x="760" y="1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46">
              <a:extLst>
                <a:ext uri="{FF2B5EF4-FFF2-40B4-BE49-F238E27FC236}">
                  <a16:creationId xmlns:a16="http://schemas.microsoft.com/office/drawing/2014/main" id="{85846280-9D46-415E-AE58-85D9E64CE28C}"/>
                </a:ext>
              </a:extLst>
            </p:cNvPr>
            <p:cNvSpPr>
              <a:spLocks/>
            </p:cNvSpPr>
            <p:nvPr/>
          </p:nvSpPr>
          <p:spPr bwMode="auto">
            <a:xfrm>
              <a:off x="8509001" y="1103313"/>
              <a:ext cx="92075" cy="92075"/>
            </a:xfrm>
            <a:custGeom>
              <a:avLst/>
              <a:gdLst>
                <a:gd name="T0" fmla="*/ 207 w 230"/>
                <a:gd name="T1" fmla="*/ 230 h 230"/>
                <a:gd name="T2" fmla="*/ 23 w 230"/>
                <a:gd name="T3" fmla="*/ 230 h 230"/>
                <a:gd name="T4" fmla="*/ 18 w 230"/>
                <a:gd name="T5" fmla="*/ 230 h 230"/>
                <a:gd name="T6" fmla="*/ 14 w 230"/>
                <a:gd name="T7" fmla="*/ 229 h 230"/>
                <a:gd name="T8" fmla="*/ 11 w 230"/>
                <a:gd name="T9" fmla="*/ 227 h 230"/>
                <a:gd name="T10" fmla="*/ 7 w 230"/>
                <a:gd name="T11" fmla="*/ 223 h 230"/>
                <a:gd name="T12" fmla="*/ 5 w 230"/>
                <a:gd name="T13" fmla="*/ 220 h 230"/>
                <a:gd name="T14" fmla="*/ 2 w 230"/>
                <a:gd name="T15" fmla="*/ 217 h 230"/>
                <a:gd name="T16" fmla="*/ 1 w 230"/>
                <a:gd name="T17" fmla="*/ 212 h 230"/>
                <a:gd name="T18" fmla="*/ 0 w 230"/>
                <a:gd name="T19" fmla="*/ 207 h 230"/>
                <a:gd name="T20" fmla="*/ 1 w 230"/>
                <a:gd name="T21" fmla="*/ 202 h 230"/>
                <a:gd name="T22" fmla="*/ 2 w 230"/>
                <a:gd name="T23" fmla="*/ 198 h 230"/>
                <a:gd name="T24" fmla="*/ 5 w 230"/>
                <a:gd name="T25" fmla="*/ 195 h 230"/>
                <a:gd name="T26" fmla="*/ 7 w 230"/>
                <a:gd name="T27" fmla="*/ 191 h 230"/>
                <a:gd name="T28" fmla="*/ 11 w 230"/>
                <a:gd name="T29" fmla="*/ 189 h 230"/>
                <a:gd name="T30" fmla="*/ 14 w 230"/>
                <a:gd name="T31" fmla="*/ 186 h 230"/>
                <a:gd name="T32" fmla="*/ 18 w 230"/>
                <a:gd name="T33" fmla="*/ 185 h 230"/>
                <a:gd name="T34" fmla="*/ 23 w 230"/>
                <a:gd name="T35" fmla="*/ 184 h 230"/>
                <a:gd name="T36" fmla="*/ 185 w 230"/>
                <a:gd name="T37" fmla="*/ 184 h 230"/>
                <a:gd name="T38" fmla="*/ 185 w 230"/>
                <a:gd name="T39" fmla="*/ 23 h 230"/>
                <a:gd name="T40" fmla="*/ 185 w 230"/>
                <a:gd name="T41" fmla="*/ 18 h 230"/>
                <a:gd name="T42" fmla="*/ 186 w 230"/>
                <a:gd name="T43" fmla="*/ 14 h 230"/>
                <a:gd name="T44" fmla="*/ 189 w 230"/>
                <a:gd name="T45" fmla="*/ 9 h 230"/>
                <a:gd name="T46" fmla="*/ 191 w 230"/>
                <a:gd name="T47" fmla="*/ 7 h 230"/>
                <a:gd name="T48" fmla="*/ 195 w 230"/>
                <a:gd name="T49" fmla="*/ 3 h 230"/>
                <a:gd name="T50" fmla="*/ 198 w 230"/>
                <a:gd name="T51" fmla="*/ 2 h 230"/>
                <a:gd name="T52" fmla="*/ 203 w 230"/>
                <a:gd name="T53" fmla="*/ 1 h 230"/>
                <a:gd name="T54" fmla="*/ 207 w 230"/>
                <a:gd name="T55" fmla="*/ 0 h 230"/>
                <a:gd name="T56" fmla="*/ 212 w 230"/>
                <a:gd name="T57" fmla="*/ 1 h 230"/>
                <a:gd name="T58" fmla="*/ 217 w 230"/>
                <a:gd name="T59" fmla="*/ 2 h 230"/>
                <a:gd name="T60" fmla="*/ 221 w 230"/>
                <a:gd name="T61" fmla="*/ 3 h 230"/>
                <a:gd name="T62" fmla="*/ 224 w 230"/>
                <a:gd name="T63" fmla="*/ 7 h 230"/>
                <a:gd name="T64" fmla="*/ 227 w 230"/>
                <a:gd name="T65" fmla="*/ 9 h 230"/>
                <a:gd name="T66" fmla="*/ 229 w 230"/>
                <a:gd name="T67" fmla="*/ 14 h 230"/>
                <a:gd name="T68" fmla="*/ 230 w 230"/>
                <a:gd name="T69" fmla="*/ 18 h 230"/>
                <a:gd name="T70" fmla="*/ 230 w 230"/>
                <a:gd name="T71" fmla="*/ 23 h 230"/>
                <a:gd name="T72" fmla="*/ 230 w 230"/>
                <a:gd name="T73" fmla="*/ 207 h 230"/>
                <a:gd name="T74" fmla="*/ 230 w 230"/>
                <a:gd name="T75" fmla="*/ 212 h 230"/>
                <a:gd name="T76" fmla="*/ 229 w 230"/>
                <a:gd name="T77" fmla="*/ 217 h 230"/>
                <a:gd name="T78" fmla="*/ 227 w 230"/>
                <a:gd name="T79" fmla="*/ 220 h 230"/>
                <a:gd name="T80" fmla="*/ 224 w 230"/>
                <a:gd name="T81" fmla="*/ 223 h 230"/>
                <a:gd name="T82" fmla="*/ 221 w 230"/>
                <a:gd name="T83" fmla="*/ 227 h 230"/>
                <a:gd name="T84" fmla="*/ 217 w 230"/>
                <a:gd name="T85" fmla="*/ 229 h 230"/>
                <a:gd name="T86" fmla="*/ 212 w 230"/>
                <a:gd name="T87" fmla="*/ 230 h 230"/>
                <a:gd name="T88" fmla="*/ 207 w 230"/>
                <a:gd name="T89"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0" h="230">
                  <a:moveTo>
                    <a:pt x="207" y="230"/>
                  </a:moveTo>
                  <a:lnTo>
                    <a:pt x="23" y="230"/>
                  </a:lnTo>
                  <a:lnTo>
                    <a:pt x="18" y="230"/>
                  </a:lnTo>
                  <a:lnTo>
                    <a:pt x="14" y="229"/>
                  </a:lnTo>
                  <a:lnTo>
                    <a:pt x="11" y="227"/>
                  </a:lnTo>
                  <a:lnTo>
                    <a:pt x="7" y="223"/>
                  </a:lnTo>
                  <a:lnTo>
                    <a:pt x="5" y="220"/>
                  </a:lnTo>
                  <a:lnTo>
                    <a:pt x="2" y="217"/>
                  </a:lnTo>
                  <a:lnTo>
                    <a:pt x="1" y="212"/>
                  </a:lnTo>
                  <a:lnTo>
                    <a:pt x="0" y="207"/>
                  </a:lnTo>
                  <a:lnTo>
                    <a:pt x="1" y="202"/>
                  </a:lnTo>
                  <a:lnTo>
                    <a:pt x="2" y="198"/>
                  </a:lnTo>
                  <a:lnTo>
                    <a:pt x="5" y="195"/>
                  </a:lnTo>
                  <a:lnTo>
                    <a:pt x="7" y="191"/>
                  </a:lnTo>
                  <a:lnTo>
                    <a:pt x="11" y="189"/>
                  </a:lnTo>
                  <a:lnTo>
                    <a:pt x="14" y="186"/>
                  </a:lnTo>
                  <a:lnTo>
                    <a:pt x="18" y="185"/>
                  </a:lnTo>
                  <a:lnTo>
                    <a:pt x="23" y="184"/>
                  </a:lnTo>
                  <a:lnTo>
                    <a:pt x="185" y="184"/>
                  </a:lnTo>
                  <a:lnTo>
                    <a:pt x="185" y="23"/>
                  </a:lnTo>
                  <a:lnTo>
                    <a:pt x="185" y="18"/>
                  </a:lnTo>
                  <a:lnTo>
                    <a:pt x="186" y="14"/>
                  </a:lnTo>
                  <a:lnTo>
                    <a:pt x="189" y="9"/>
                  </a:lnTo>
                  <a:lnTo>
                    <a:pt x="191" y="7"/>
                  </a:lnTo>
                  <a:lnTo>
                    <a:pt x="195" y="3"/>
                  </a:lnTo>
                  <a:lnTo>
                    <a:pt x="198" y="2"/>
                  </a:lnTo>
                  <a:lnTo>
                    <a:pt x="203" y="1"/>
                  </a:lnTo>
                  <a:lnTo>
                    <a:pt x="207" y="0"/>
                  </a:lnTo>
                  <a:lnTo>
                    <a:pt x="212" y="1"/>
                  </a:lnTo>
                  <a:lnTo>
                    <a:pt x="217" y="2"/>
                  </a:lnTo>
                  <a:lnTo>
                    <a:pt x="221" y="3"/>
                  </a:lnTo>
                  <a:lnTo>
                    <a:pt x="224" y="7"/>
                  </a:lnTo>
                  <a:lnTo>
                    <a:pt x="227" y="9"/>
                  </a:lnTo>
                  <a:lnTo>
                    <a:pt x="229" y="14"/>
                  </a:lnTo>
                  <a:lnTo>
                    <a:pt x="230" y="18"/>
                  </a:lnTo>
                  <a:lnTo>
                    <a:pt x="230" y="23"/>
                  </a:lnTo>
                  <a:lnTo>
                    <a:pt x="230" y="207"/>
                  </a:lnTo>
                  <a:lnTo>
                    <a:pt x="230" y="212"/>
                  </a:lnTo>
                  <a:lnTo>
                    <a:pt x="229" y="217"/>
                  </a:lnTo>
                  <a:lnTo>
                    <a:pt x="227" y="220"/>
                  </a:lnTo>
                  <a:lnTo>
                    <a:pt x="224" y="223"/>
                  </a:lnTo>
                  <a:lnTo>
                    <a:pt x="221" y="227"/>
                  </a:lnTo>
                  <a:lnTo>
                    <a:pt x="217" y="229"/>
                  </a:lnTo>
                  <a:lnTo>
                    <a:pt x="212" y="230"/>
                  </a:lnTo>
                  <a:lnTo>
                    <a:pt x="207"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65">
              <a:extLst>
                <a:ext uri="{FF2B5EF4-FFF2-40B4-BE49-F238E27FC236}">
                  <a16:creationId xmlns:a16="http://schemas.microsoft.com/office/drawing/2014/main" id="{51F3731D-28DA-41CB-B0D6-5F1E1654DDF2}"/>
                </a:ext>
              </a:extLst>
            </p:cNvPr>
            <p:cNvSpPr>
              <a:spLocks/>
            </p:cNvSpPr>
            <p:nvPr/>
          </p:nvSpPr>
          <p:spPr bwMode="auto">
            <a:xfrm>
              <a:off x="8564563" y="1509713"/>
              <a:ext cx="109538" cy="123825"/>
            </a:xfrm>
            <a:custGeom>
              <a:avLst/>
              <a:gdLst>
                <a:gd name="T0" fmla="*/ 155 w 276"/>
                <a:gd name="T1" fmla="*/ 310 h 312"/>
                <a:gd name="T2" fmla="*/ 145 w 276"/>
                <a:gd name="T3" fmla="*/ 303 h 312"/>
                <a:gd name="T4" fmla="*/ 106 w 276"/>
                <a:gd name="T5" fmla="*/ 227 h 312"/>
                <a:gd name="T6" fmla="*/ 27 w 276"/>
                <a:gd name="T7" fmla="*/ 265 h 312"/>
                <a:gd name="T8" fmla="*/ 14 w 276"/>
                <a:gd name="T9" fmla="*/ 263 h 312"/>
                <a:gd name="T10" fmla="*/ 4 w 276"/>
                <a:gd name="T11" fmla="*/ 254 h 312"/>
                <a:gd name="T12" fmla="*/ 0 w 276"/>
                <a:gd name="T13" fmla="*/ 241 h 312"/>
                <a:gd name="T14" fmla="*/ 90 w 276"/>
                <a:gd name="T15" fmla="*/ 15 h 312"/>
                <a:gd name="T16" fmla="*/ 95 w 276"/>
                <a:gd name="T17" fmla="*/ 7 h 312"/>
                <a:gd name="T18" fmla="*/ 102 w 276"/>
                <a:gd name="T19" fmla="*/ 3 h 312"/>
                <a:gd name="T20" fmla="*/ 111 w 276"/>
                <a:gd name="T21" fmla="*/ 0 h 312"/>
                <a:gd name="T22" fmla="*/ 119 w 276"/>
                <a:gd name="T23" fmla="*/ 1 h 312"/>
                <a:gd name="T24" fmla="*/ 127 w 276"/>
                <a:gd name="T25" fmla="*/ 7 h 312"/>
                <a:gd name="T26" fmla="*/ 132 w 276"/>
                <a:gd name="T27" fmla="*/ 14 h 312"/>
                <a:gd name="T28" fmla="*/ 134 w 276"/>
                <a:gd name="T29" fmla="*/ 23 h 312"/>
                <a:gd name="T30" fmla="*/ 133 w 276"/>
                <a:gd name="T31" fmla="*/ 32 h 312"/>
                <a:gd name="T32" fmla="*/ 106 w 276"/>
                <a:gd name="T33" fmla="*/ 176 h 312"/>
                <a:gd name="T34" fmla="*/ 114 w 276"/>
                <a:gd name="T35" fmla="*/ 173 h 312"/>
                <a:gd name="T36" fmla="*/ 123 w 276"/>
                <a:gd name="T37" fmla="*/ 174 h 312"/>
                <a:gd name="T38" fmla="*/ 130 w 276"/>
                <a:gd name="T39" fmla="*/ 178 h 312"/>
                <a:gd name="T40" fmla="*/ 136 w 276"/>
                <a:gd name="T41" fmla="*/ 185 h 312"/>
                <a:gd name="T42" fmla="*/ 233 w 276"/>
                <a:gd name="T43" fmla="*/ 93 h 312"/>
                <a:gd name="T44" fmla="*/ 238 w 276"/>
                <a:gd name="T45" fmla="*/ 86 h 312"/>
                <a:gd name="T46" fmla="*/ 247 w 276"/>
                <a:gd name="T47" fmla="*/ 82 h 312"/>
                <a:gd name="T48" fmla="*/ 255 w 276"/>
                <a:gd name="T49" fmla="*/ 81 h 312"/>
                <a:gd name="T50" fmla="*/ 264 w 276"/>
                <a:gd name="T51" fmla="*/ 84 h 312"/>
                <a:gd name="T52" fmla="*/ 271 w 276"/>
                <a:gd name="T53" fmla="*/ 88 h 312"/>
                <a:gd name="T54" fmla="*/ 275 w 276"/>
                <a:gd name="T55" fmla="*/ 97 h 312"/>
                <a:gd name="T56" fmla="*/ 276 w 276"/>
                <a:gd name="T57" fmla="*/ 106 h 312"/>
                <a:gd name="T58" fmla="*/ 274 w 276"/>
                <a:gd name="T59" fmla="*/ 114 h 312"/>
                <a:gd name="T60" fmla="*/ 178 w 276"/>
                <a:gd name="T61" fmla="*/ 303 h 312"/>
                <a:gd name="T62" fmla="*/ 168 w 276"/>
                <a:gd name="T63" fmla="*/ 31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12">
                  <a:moveTo>
                    <a:pt x="161" y="312"/>
                  </a:moveTo>
                  <a:lnTo>
                    <a:pt x="155" y="310"/>
                  </a:lnTo>
                  <a:lnTo>
                    <a:pt x="150" y="308"/>
                  </a:lnTo>
                  <a:lnTo>
                    <a:pt x="145" y="303"/>
                  </a:lnTo>
                  <a:lnTo>
                    <a:pt x="141" y="298"/>
                  </a:lnTo>
                  <a:lnTo>
                    <a:pt x="106" y="227"/>
                  </a:lnTo>
                  <a:lnTo>
                    <a:pt x="33" y="263"/>
                  </a:lnTo>
                  <a:lnTo>
                    <a:pt x="27" y="265"/>
                  </a:lnTo>
                  <a:lnTo>
                    <a:pt x="20" y="265"/>
                  </a:lnTo>
                  <a:lnTo>
                    <a:pt x="14" y="263"/>
                  </a:lnTo>
                  <a:lnTo>
                    <a:pt x="8" y="259"/>
                  </a:lnTo>
                  <a:lnTo>
                    <a:pt x="4" y="254"/>
                  </a:lnTo>
                  <a:lnTo>
                    <a:pt x="0" y="247"/>
                  </a:lnTo>
                  <a:lnTo>
                    <a:pt x="0" y="241"/>
                  </a:lnTo>
                  <a:lnTo>
                    <a:pt x="2" y="233"/>
                  </a:lnTo>
                  <a:lnTo>
                    <a:pt x="90" y="15"/>
                  </a:lnTo>
                  <a:lnTo>
                    <a:pt x="91" y="11"/>
                  </a:lnTo>
                  <a:lnTo>
                    <a:pt x="95" y="7"/>
                  </a:lnTo>
                  <a:lnTo>
                    <a:pt x="98" y="4"/>
                  </a:lnTo>
                  <a:lnTo>
                    <a:pt x="102" y="3"/>
                  </a:lnTo>
                  <a:lnTo>
                    <a:pt x="106" y="1"/>
                  </a:lnTo>
                  <a:lnTo>
                    <a:pt x="111" y="0"/>
                  </a:lnTo>
                  <a:lnTo>
                    <a:pt x="114" y="0"/>
                  </a:lnTo>
                  <a:lnTo>
                    <a:pt x="119" y="1"/>
                  </a:lnTo>
                  <a:lnTo>
                    <a:pt x="123" y="4"/>
                  </a:lnTo>
                  <a:lnTo>
                    <a:pt x="127" y="7"/>
                  </a:lnTo>
                  <a:lnTo>
                    <a:pt x="130" y="10"/>
                  </a:lnTo>
                  <a:lnTo>
                    <a:pt x="132" y="14"/>
                  </a:lnTo>
                  <a:lnTo>
                    <a:pt x="133" y="19"/>
                  </a:lnTo>
                  <a:lnTo>
                    <a:pt x="134" y="23"/>
                  </a:lnTo>
                  <a:lnTo>
                    <a:pt x="134" y="27"/>
                  </a:lnTo>
                  <a:lnTo>
                    <a:pt x="133" y="32"/>
                  </a:lnTo>
                  <a:lnTo>
                    <a:pt x="68" y="194"/>
                  </a:lnTo>
                  <a:lnTo>
                    <a:pt x="106" y="176"/>
                  </a:lnTo>
                  <a:lnTo>
                    <a:pt x="110" y="173"/>
                  </a:lnTo>
                  <a:lnTo>
                    <a:pt x="114" y="173"/>
                  </a:lnTo>
                  <a:lnTo>
                    <a:pt x="118" y="173"/>
                  </a:lnTo>
                  <a:lnTo>
                    <a:pt x="123" y="174"/>
                  </a:lnTo>
                  <a:lnTo>
                    <a:pt x="127" y="176"/>
                  </a:lnTo>
                  <a:lnTo>
                    <a:pt x="130" y="178"/>
                  </a:lnTo>
                  <a:lnTo>
                    <a:pt x="134" y="182"/>
                  </a:lnTo>
                  <a:lnTo>
                    <a:pt x="136" y="185"/>
                  </a:lnTo>
                  <a:lnTo>
                    <a:pt x="161" y="237"/>
                  </a:lnTo>
                  <a:lnTo>
                    <a:pt x="233" y="93"/>
                  </a:lnTo>
                  <a:lnTo>
                    <a:pt x="236" y="90"/>
                  </a:lnTo>
                  <a:lnTo>
                    <a:pt x="238" y="86"/>
                  </a:lnTo>
                  <a:lnTo>
                    <a:pt x="242" y="84"/>
                  </a:lnTo>
                  <a:lnTo>
                    <a:pt x="247" y="82"/>
                  </a:lnTo>
                  <a:lnTo>
                    <a:pt x="251" y="81"/>
                  </a:lnTo>
                  <a:lnTo>
                    <a:pt x="255" y="81"/>
                  </a:lnTo>
                  <a:lnTo>
                    <a:pt x="259" y="81"/>
                  </a:lnTo>
                  <a:lnTo>
                    <a:pt x="264" y="84"/>
                  </a:lnTo>
                  <a:lnTo>
                    <a:pt x="268" y="86"/>
                  </a:lnTo>
                  <a:lnTo>
                    <a:pt x="271" y="88"/>
                  </a:lnTo>
                  <a:lnTo>
                    <a:pt x="274" y="92"/>
                  </a:lnTo>
                  <a:lnTo>
                    <a:pt x="275" y="97"/>
                  </a:lnTo>
                  <a:lnTo>
                    <a:pt x="276" y="101"/>
                  </a:lnTo>
                  <a:lnTo>
                    <a:pt x="276" y="106"/>
                  </a:lnTo>
                  <a:lnTo>
                    <a:pt x="276" y="109"/>
                  </a:lnTo>
                  <a:lnTo>
                    <a:pt x="274" y="114"/>
                  </a:lnTo>
                  <a:lnTo>
                    <a:pt x="182" y="298"/>
                  </a:lnTo>
                  <a:lnTo>
                    <a:pt x="178" y="303"/>
                  </a:lnTo>
                  <a:lnTo>
                    <a:pt x="173" y="308"/>
                  </a:lnTo>
                  <a:lnTo>
                    <a:pt x="168" y="310"/>
                  </a:lnTo>
                  <a:lnTo>
                    <a:pt x="161"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66">
              <a:extLst>
                <a:ext uri="{FF2B5EF4-FFF2-40B4-BE49-F238E27FC236}">
                  <a16:creationId xmlns:a16="http://schemas.microsoft.com/office/drawing/2014/main" id="{7DA0FF4F-D905-4F55-895A-BEAD7A64875E}"/>
                </a:ext>
              </a:extLst>
            </p:cNvPr>
            <p:cNvSpPr>
              <a:spLocks/>
            </p:cNvSpPr>
            <p:nvPr/>
          </p:nvSpPr>
          <p:spPr bwMode="auto">
            <a:xfrm>
              <a:off x="8655051" y="1506538"/>
              <a:ext cx="109538" cy="127000"/>
            </a:xfrm>
            <a:custGeom>
              <a:avLst/>
              <a:gdLst>
                <a:gd name="T0" fmla="*/ 109 w 276"/>
                <a:gd name="T1" fmla="*/ 321 h 323"/>
                <a:gd name="T2" fmla="*/ 98 w 276"/>
                <a:gd name="T3" fmla="*/ 314 h 323"/>
                <a:gd name="T4" fmla="*/ 2 w 276"/>
                <a:gd name="T5" fmla="*/ 125 h 323"/>
                <a:gd name="T6" fmla="*/ 0 w 276"/>
                <a:gd name="T7" fmla="*/ 117 h 323"/>
                <a:gd name="T8" fmla="*/ 1 w 276"/>
                <a:gd name="T9" fmla="*/ 108 h 323"/>
                <a:gd name="T10" fmla="*/ 5 w 276"/>
                <a:gd name="T11" fmla="*/ 99 h 323"/>
                <a:gd name="T12" fmla="*/ 12 w 276"/>
                <a:gd name="T13" fmla="*/ 95 h 323"/>
                <a:gd name="T14" fmla="*/ 21 w 276"/>
                <a:gd name="T15" fmla="*/ 92 h 323"/>
                <a:gd name="T16" fmla="*/ 31 w 276"/>
                <a:gd name="T17" fmla="*/ 93 h 323"/>
                <a:gd name="T18" fmla="*/ 38 w 276"/>
                <a:gd name="T19" fmla="*/ 97 h 323"/>
                <a:gd name="T20" fmla="*/ 43 w 276"/>
                <a:gd name="T21" fmla="*/ 104 h 323"/>
                <a:gd name="T22" fmla="*/ 140 w 276"/>
                <a:gd name="T23" fmla="*/ 196 h 323"/>
                <a:gd name="T24" fmla="*/ 146 w 276"/>
                <a:gd name="T25" fmla="*/ 189 h 323"/>
                <a:gd name="T26" fmla="*/ 153 w 276"/>
                <a:gd name="T27" fmla="*/ 185 h 323"/>
                <a:gd name="T28" fmla="*/ 162 w 276"/>
                <a:gd name="T29" fmla="*/ 184 h 323"/>
                <a:gd name="T30" fmla="*/ 172 w 276"/>
                <a:gd name="T31" fmla="*/ 187 h 323"/>
                <a:gd name="T32" fmla="*/ 140 w 276"/>
                <a:gd name="T33" fmla="*/ 31 h 323"/>
                <a:gd name="T34" fmla="*/ 139 w 276"/>
                <a:gd name="T35" fmla="*/ 22 h 323"/>
                <a:gd name="T36" fmla="*/ 140 w 276"/>
                <a:gd name="T37" fmla="*/ 14 h 323"/>
                <a:gd name="T38" fmla="*/ 145 w 276"/>
                <a:gd name="T39" fmla="*/ 6 h 323"/>
                <a:gd name="T40" fmla="*/ 152 w 276"/>
                <a:gd name="T41" fmla="*/ 1 h 323"/>
                <a:gd name="T42" fmla="*/ 162 w 276"/>
                <a:gd name="T43" fmla="*/ 0 h 323"/>
                <a:gd name="T44" fmla="*/ 170 w 276"/>
                <a:gd name="T45" fmla="*/ 1 h 323"/>
                <a:gd name="T46" fmla="*/ 178 w 276"/>
                <a:gd name="T47" fmla="*/ 6 h 323"/>
                <a:gd name="T48" fmla="*/ 183 w 276"/>
                <a:gd name="T49" fmla="*/ 14 h 323"/>
                <a:gd name="T50" fmla="*/ 276 w 276"/>
                <a:gd name="T51" fmla="*/ 252 h 323"/>
                <a:gd name="T52" fmla="*/ 273 w 276"/>
                <a:gd name="T53" fmla="*/ 265 h 323"/>
                <a:gd name="T54" fmla="*/ 262 w 276"/>
                <a:gd name="T55" fmla="*/ 274 h 323"/>
                <a:gd name="T56" fmla="*/ 249 w 276"/>
                <a:gd name="T57" fmla="*/ 276 h 323"/>
                <a:gd name="T58" fmla="*/ 172 w 276"/>
                <a:gd name="T59" fmla="*/ 238 h 323"/>
                <a:gd name="T60" fmla="*/ 132 w 276"/>
                <a:gd name="T61" fmla="*/ 314 h 323"/>
                <a:gd name="T62" fmla="*/ 121 w 276"/>
                <a:gd name="T63" fmla="*/ 32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23">
                  <a:moveTo>
                    <a:pt x="115" y="323"/>
                  </a:moveTo>
                  <a:lnTo>
                    <a:pt x="109" y="321"/>
                  </a:lnTo>
                  <a:lnTo>
                    <a:pt x="103" y="319"/>
                  </a:lnTo>
                  <a:lnTo>
                    <a:pt x="98" y="314"/>
                  </a:lnTo>
                  <a:lnTo>
                    <a:pt x="94" y="309"/>
                  </a:lnTo>
                  <a:lnTo>
                    <a:pt x="2" y="125"/>
                  </a:lnTo>
                  <a:lnTo>
                    <a:pt x="0" y="120"/>
                  </a:lnTo>
                  <a:lnTo>
                    <a:pt x="0" y="117"/>
                  </a:lnTo>
                  <a:lnTo>
                    <a:pt x="0" y="112"/>
                  </a:lnTo>
                  <a:lnTo>
                    <a:pt x="1" y="108"/>
                  </a:lnTo>
                  <a:lnTo>
                    <a:pt x="2" y="103"/>
                  </a:lnTo>
                  <a:lnTo>
                    <a:pt x="5" y="99"/>
                  </a:lnTo>
                  <a:lnTo>
                    <a:pt x="9" y="97"/>
                  </a:lnTo>
                  <a:lnTo>
                    <a:pt x="12" y="95"/>
                  </a:lnTo>
                  <a:lnTo>
                    <a:pt x="17" y="92"/>
                  </a:lnTo>
                  <a:lnTo>
                    <a:pt x="21" y="92"/>
                  </a:lnTo>
                  <a:lnTo>
                    <a:pt x="26" y="92"/>
                  </a:lnTo>
                  <a:lnTo>
                    <a:pt x="31" y="93"/>
                  </a:lnTo>
                  <a:lnTo>
                    <a:pt x="34" y="95"/>
                  </a:lnTo>
                  <a:lnTo>
                    <a:pt x="38" y="97"/>
                  </a:lnTo>
                  <a:lnTo>
                    <a:pt x="40" y="101"/>
                  </a:lnTo>
                  <a:lnTo>
                    <a:pt x="43" y="104"/>
                  </a:lnTo>
                  <a:lnTo>
                    <a:pt x="115" y="248"/>
                  </a:lnTo>
                  <a:lnTo>
                    <a:pt x="140" y="196"/>
                  </a:lnTo>
                  <a:lnTo>
                    <a:pt x="143" y="193"/>
                  </a:lnTo>
                  <a:lnTo>
                    <a:pt x="146" y="189"/>
                  </a:lnTo>
                  <a:lnTo>
                    <a:pt x="150" y="187"/>
                  </a:lnTo>
                  <a:lnTo>
                    <a:pt x="153" y="185"/>
                  </a:lnTo>
                  <a:lnTo>
                    <a:pt x="158" y="184"/>
                  </a:lnTo>
                  <a:lnTo>
                    <a:pt x="162" y="184"/>
                  </a:lnTo>
                  <a:lnTo>
                    <a:pt x="167" y="184"/>
                  </a:lnTo>
                  <a:lnTo>
                    <a:pt x="172" y="187"/>
                  </a:lnTo>
                  <a:lnTo>
                    <a:pt x="210" y="205"/>
                  </a:lnTo>
                  <a:lnTo>
                    <a:pt x="140" y="31"/>
                  </a:lnTo>
                  <a:lnTo>
                    <a:pt x="139" y="27"/>
                  </a:lnTo>
                  <a:lnTo>
                    <a:pt x="139" y="22"/>
                  </a:lnTo>
                  <a:lnTo>
                    <a:pt x="139" y="17"/>
                  </a:lnTo>
                  <a:lnTo>
                    <a:pt x="140" y="14"/>
                  </a:lnTo>
                  <a:lnTo>
                    <a:pt x="142" y="10"/>
                  </a:lnTo>
                  <a:lnTo>
                    <a:pt x="145" y="6"/>
                  </a:lnTo>
                  <a:lnTo>
                    <a:pt x="148" y="4"/>
                  </a:lnTo>
                  <a:lnTo>
                    <a:pt x="152" y="1"/>
                  </a:lnTo>
                  <a:lnTo>
                    <a:pt x="157" y="0"/>
                  </a:lnTo>
                  <a:lnTo>
                    <a:pt x="162" y="0"/>
                  </a:lnTo>
                  <a:lnTo>
                    <a:pt x="166" y="0"/>
                  </a:lnTo>
                  <a:lnTo>
                    <a:pt x="170" y="1"/>
                  </a:lnTo>
                  <a:lnTo>
                    <a:pt x="174" y="4"/>
                  </a:lnTo>
                  <a:lnTo>
                    <a:pt x="178" y="6"/>
                  </a:lnTo>
                  <a:lnTo>
                    <a:pt x="180" y="10"/>
                  </a:lnTo>
                  <a:lnTo>
                    <a:pt x="183" y="14"/>
                  </a:lnTo>
                  <a:lnTo>
                    <a:pt x="275" y="244"/>
                  </a:lnTo>
                  <a:lnTo>
                    <a:pt x="276" y="252"/>
                  </a:lnTo>
                  <a:lnTo>
                    <a:pt x="276" y="258"/>
                  </a:lnTo>
                  <a:lnTo>
                    <a:pt x="273" y="265"/>
                  </a:lnTo>
                  <a:lnTo>
                    <a:pt x="269" y="270"/>
                  </a:lnTo>
                  <a:lnTo>
                    <a:pt x="262" y="274"/>
                  </a:lnTo>
                  <a:lnTo>
                    <a:pt x="256" y="276"/>
                  </a:lnTo>
                  <a:lnTo>
                    <a:pt x="249" y="276"/>
                  </a:lnTo>
                  <a:lnTo>
                    <a:pt x="243" y="274"/>
                  </a:lnTo>
                  <a:lnTo>
                    <a:pt x="172" y="238"/>
                  </a:lnTo>
                  <a:lnTo>
                    <a:pt x="136" y="309"/>
                  </a:lnTo>
                  <a:lnTo>
                    <a:pt x="132" y="314"/>
                  </a:lnTo>
                  <a:lnTo>
                    <a:pt x="127" y="319"/>
                  </a:lnTo>
                  <a:lnTo>
                    <a:pt x="121" y="321"/>
                  </a:lnTo>
                  <a:lnTo>
                    <a:pt x="115"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67">
              <a:extLst>
                <a:ext uri="{FF2B5EF4-FFF2-40B4-BE49-F238E27FC236}">
                  <a16:creationId xmlns:a16="http://schemas.microsoft.com/office/drawing/2014/main" id="{5F7925F7-DBDB-4795-97B9-0CE7BBE614CE}"/>
                </a:ext>
              </a:extLst>
            </p:cNvPr>
            <p:cNvSpPr>
              <a:spLocks noEditPoints="1"/>
            </p:cNvSpPr>
            <p:nvPr/>
          </p:nvSpPr>
          <p:spPr bwMode="auto">
            <a:xfrm>
              <a:off x="8623301" y="1457325"/>
              <a:ext cx="68263" cy="68263"/>
            </a:xfrm>
            <a:custGeom>
              <a:avLst/>
              <a:gdLst>
                <a:gd name="T0" fmla="*/ 77 w 171"/>
                <a:gd name="T1" fmla="*/ 46 h 170"/>
                <a:gd name="T2" fmla="*/ 63 w 171"/>
                <a:gd name="T3" fmla="*/ 52 h 170"/>
                <a:gd name="T4" fmla="*/ 53 w 171"/>
                <a:gd name="T5" fmla="*/ 63 h 170"/>
                <a:gd name="T6" fmla="*/ 47 w 171"/>
                <a:gd name="T7" fmla="*/ 77 h 170"/>
                <a:gd name="T8" fmla="*/ 47 w 171"/>
                <a:gd name="T9" fmla="*/ 93 h 170"/>
                <a:gd name="T10" fmla="*/ 53 w 171"/>
                <a:gd name="T11" fmla="*/ 108 h 170"/>
                <a:gd name="T12" fmla="*/ 63 w 171"/>
                <a:gd name="T13" fmla="*/ 117 h 170"/>
                <a:gd name="T14" fmla="*/ 77 w 171"/>
                <a:gd name="T15" fmla="*/ 124 h 170"/>
                <a:gd name="T16" fmla="*/ 93 w 171"/>
                <a:gd name="T17" fmla="*/ 124 h 170"/>
                <a:gd name="T18" fmla="*/ 107 w 171"/>
                <a:gd name="T19" fmla="*/ 117 h 170"/>
                <a:gd name="T20" fmla="*/ 118 w 171"/>
                <a:gd name="T21" fmla="*/ 108 h 170"/>
                <a:gd name="T22" fmla="*/ 124 w 171"/>
                <a:gd name="T23" fmla="*/ 93 h 170"/>
                <a:gd name="T24" fmla="*/ 124 w 171"/>
                <a:gd name="T25" fmla="*/ 77 h 170"/>
                <a:gd name="T26" fmla="*/ 118 w 171"/>
                <a:gd name="T27" fmla="*/ 63 h 170"/>
                <a:gd name="T28" fmla="*/ 107 w 171"/>
                <a:gd name="T29" fmla="*/ 52 h 170"/>
                <a:gd name="T30" fmla="*/ 93 w 171"/>
                <a:gd name="T31" fmla="*/ 46 h 170"/>
                <a:gd name="T32" fmla="*/ 85 w 171"/>
                <a:gd name="T33" fmla="*/ 170 h 170"/>
                <a:gd name="T34" fmla="*/ 68 w 171"/>
                <a:gd name="T35" fmla="*/ 169 h 170"/>
                <a:gd name="T36" fmla="*/ 52 w 171"/>
                <a:gd name="T37" fmla="*/ 164 h 170"/>
                <a:gd name="T38" fmla="*/ 37 w 171"/>
                <a:gd name="T39" fmla="*/ 155 h 170"/>
                <a:gd name="T40" fmla="*/ 25 w 171"/>
                <a:gd name="T41" fmla="*/ 146 h 170"/>
                <a:gd name="T42" fmla="*/ 14 w 171"/>
                <a:gd name="T43" fmla="*/ 133 h 170"/>
                <a:gd name="T44" fmla="*/ 6 w 171"/>
                <a:gd name="T45" fmla="*/ 119 h 170"/>
                <a:gd name="T46" fmla="*/ 1 w 171"/>
                <a:gd name="T47" fmla="*/ 103 h 170"/>
                <a:gd name="T48" fmla="*/ 0 w 171"/>
                <a:gd name="T49" fmla="*/ 85 h 170"/>
                <a:gd name="T50" fmla="*/ 1 w 171"/>
                <a:gd name="T51" fmla="*/ 68 h 170"/>
                <a:gd name="T52" fmla="*/ 6 w 171"/>
                <a:gd name="T53" fmla="*/ 52 h 170"/>
                <a:gd name="T54" fmla="*/ 14 w 171"/>
                <a:gd name="T55" fmla="*/ 38 h 170"/>
                <a:gd name="T56" fmla="*/ 25 w 171"/>
                <a:gd name="T57" fmla="*/ 24 h 170"/>
                <a:gd name="T58" fmla="*/ 37 w 171"/>
                <a:gd name="T59" fmla="*/ 14 h 170"/>
                <a:gd name="T60" fmla="*/ 52 w 171"/>
                <a:gd name="T61" fmla="*/ 6 h 170"/>
                <a:gd name="T62" fmla="*/ 68 w 171"/>
                <a:gd name="T63" fmla="*/ 1 h 170"/>
                <a:gd name="T64" fmla="*/ 85 w 171"/>
                <a:gd name="T65" fmla="*/ 0 h 170"/>
                <a:gd name="T66" fmla="*/ 102 w 171"/>
                <a:gd name="T67" fmla="*/ 1 h 170"/>
                <a:gd name="T68" fmla="*/ 118 w 171"/>
                <a:gd name="T69" fmla="*/ 6 h 170"/>
                <a:gd name="T70" fmla="*/ 133 w 171"/>
                <a:gd name="T71" fmla="*/ 14 h 170"/>
                <a:gd name="T72" fmla="*/ 145 w 171"/>
                <a:gd name="T73" fmla="*/ 24 h 170"/>
                <a:gd name="T74" fmla="*/ 156 w 171"/>
                <a:gd name="T75" fmla="*/ 38 h 170"/>
                <a:gd name="T76" fmla="*/ 163 w 171"/>
                <a:gd name="T77" fmla="*/ 52 h 170"/>
                <a:gd name="T78" fmla="*/ 168 w 171"/>
                <a:gd name="T79" fmla="*/ 68 h 170"/>
                <a:gd name="T80" fmla="*/ 171 w 171"/>
                <a:gd name="T81" fmla="*/ 85 h 170"/>
                <a:gd name="T82" fmla="*/ 168 w 171"/>
                <a:gd name="T83" fmla="*/ 103 h 170"/>
                <a:gd name="T84" fmla="*/ 163 w 171"/>
                <a:gd name="T85" fmla="*/ 119 h 170"/>
                <a:gd name="T86" fmla="*/ 156 w 171"/>
                <a:gd name="T87" fmla="*/ 133 h 170"/>
                <a:gd name="T88" fmla="*/ 145 w 171"/>
                <a:gd name="T89" fmla="*/ 146 h 170"/>
                <a:gd name="T90" fmla="*/ 133 w 171"/>
                <a:gd name="T91" fmla="*/ 155 h 170"/>
                <a:gd name="T92" fmla="*/ 118 w 171"/>
                <a:gd name="T93" fmla="*/ 164 h 170"/>
                <a:gd name="T94" fmla="*/ 102 w 171"/>
                <a:gd name="T95" fmla="*/ 169 h 170"/>
                <a:gd name="T96" fmla="*/ 85 w 171"/>
                <a:gd name="T9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170">
                  <a:moveTo>
                    <a:pt x="85" y="46"/>
                  </a:moveTo>
                  <a:lnTo>
                    <a:pt x="77" y="46"/>
                  </a:lnTo>
                  <a:lnTo>
                    <a:pt x="70" y="49"/>
                  </a:lnTo>
                  <a:lnTo>
                    <a:pt x="63" y="52"/>
                  </a:lnTo>
                  <a:lnTo>
                    <a:pt x="58" y="57"/>
                  </a:lnTo>
                  <a:lnTo>
                    <a:pt x="53" y="63"/>
                  </a:lnTo>
                  <a:lnTo>
                    <a:pt x="49" y="70"/>
                  </a:lnTo>
                  <a:lnTo>
                    <a:pt x="47" y="77"/>
                  </a:lnTo>
                  <a:lnTo>
                    <a:pt x="46" y="85"/>
                  </a:lnTo>
                  <a:lnTo>
                    <a:pt x="47" y="93"/>
                  </a:lnTo>
                  <a:lnTo>
                    <a:pt x="49" y="100"/>
                  </a:lnTo>
                  <a:lnTo>
                    <a:pt x="53" y="108"/>
                  </a:lnTo>
                  <a:lnTo>
                    <a:pt x="58" y="112"/>
                  </a:lnTo>
                  <a:lnTo>
                    <a:pt x="63" y="117"/>
                  </a:lnTo>
                  <a:lnTo>
                    <a:pt x="70" y="121"/>
                  </a:lnTo>
                  <a:lnTo>
                    <a:pt x="77" y="124"/>
                  </a:lnTo>
                  <a:lnTo>
                    <a:pt x="85" y="125"/>
                  </a:lnTo>
                  <a:lnTo>
                    <a:pt x="93" y="124"/>
                  </a:lnTo>
                  <a:lnTo>
                    <a:pt x="101" y="121"/>
                  </a:lnTo>
                  <a:lnTo>
                    <a:pt x="107" y="117"/>
                  </a:lnTo>
                  <a:lnTo>
                    <a:pt x="113" y="112"/>
                  </a:lnTo>
                  <a:lnTo>
                    <a:pt x="118" y="108"/>
                  </a:lnTo>
                  <a:lnTo>
                    <a:pt x="122" y="100"/>
                  </a:lnTo>
                  <a:lnTo>
                    <a:pt x="124" y="93"/>
                  </a:lnTo>
                  <a:lnTo>
                    <a:pt x="124" y="85"/>
                  </a:lnTo>
                  <a:lnTo>
                    <a:pt x="124" y="77"/>
                  </a:lnTo>
                  <a:lnTo>
                    <a:pt x="122" y="70"/>
                  </a:lnTo>
                  <a:lnTo>
                    <a:pt x="118" y="63"/>
                  </a:lnTo>
                  <a:lnTo>
                    <a:pt x="113" y="57"/>
                  </a:lnTo>
                  <a:lnTo>
                    <a:pt x="107" y="52"/>
                  </a:lnTo>
                  <a:lnTo>
                    <a:pt x="101" y="49"/>
                  </a:lnTo>
                  <a:lnTo>
                    <a:pt x="93" y="46"/>
                  </a:lnTo>
                  <a:lnTo>
                    <a:pt x="85" y="46"/>
                  </a:lnTo>
                  <a:close/>
                  <a:moveTo>
                    <a:pt x="85" y="170"/>
                  </a:moveTo>
                  <a:lnTo>
                    <a:pt x="76" y="170"/>
                  </a:lnTo>
                  <a:lnTo>
                    <a:pt x="68" y="169"/>
                  </a:lnTo>
                  <a:lnTo>
                    <a:pt x="59" y="166"/>
                  </a:lnTo>
                  <a:lnTo>
                    <a:pt x="52" y="164"/>
                  </a:lnTo>
                  <a:lnTo>
                    <a:pt x="44" y="160"/>
                  </a:lnTo>
                  <a:lnTo>
                    <a:pt x="37" y="155"/>
                  </a:lnTo>
                  <a:lnTo>
                    <a:pt x="31" y="151"/>
                  </a:lnTo>
                  <a:lnTo>
                    <a:pt x="25" y="146"/>
                  </a:lnTo>
                  <a:lnTo>
                    <a:pt x="19" y="139"/>
                  </a:lnTo>
                  <a:lnTo>
                    <a:pt x="14" y="133"/>
                  </a:lnTo>
                  <a:lnTo>
                    <a:pt x="10" y="126"/>
                  </a:lnTo>
                  <a:lnTo>
                    <a:pt x="6" y="119"/>
                  </a:lnTo>
                  <a:lnTo>
                    <a:pt x="4" y="110"/>
                  </a:lnTo>
                  <a:lnTo>
                    <a:pt x="1" y="103"/>
                  </a:lnTo>
                  <a:lnTo>
                    <a:pt x="0" y="94"/>
                  </a:lnTo>
                  <a:lnTo>
                    <a:pt x="0" y="85"/>
                  </a:lnTo>
                  <a:lnTo>
                    <a:pt x="0" y="77"/>
                  </a:lnTo>
                  <a:lnTo>
                    <a:pt x="1" y="68"/>
                  </a:lnTo>
                  <a:lnTo>
                    <a:pt x="4" y="60"/>
                  </a:lnTo>
                  <a:lnTo>
                    <a:pt x="6" y="52"/>
                  </a:lnTo>
                  <a:lnTo>
                    <a:pt x="10" y="44"/>
                  </a:lnTo>
                  <a:lnTo>
                    <a:pt x="14" y="38"/>
                  </a:lnTo>
                  <a:lnTo>
                    <a:pt x="19" y="30"/>
                  </a:lnTo>
                  <a:lnTo>
                    <a:pt x="25" y="24"/>
                  </a:lnTo>
                  <a:lnTo>
                    <a:pt x="31" y="19"/>
                  </a:lnTo>
                  <a:lnTo>
                    <a:pt x="37" y="14"/>
                  </a:lnTo>
                  <a:lnTo>
                    <a:pt x="44" y="9"/>
                  </a:lnTo>
                  <a:lnTo>
                    <a:pt x="52" y="6"/>
                  </a:lnTo>
                  <a:lnTo>
                    <a:pt x="59" y="3"/>
                  </a:lnTo>
                  <a:lnTo>
                    <a:pt x="68" y="1"/>
                  </a:lnTo>
                  <a:lnTo>
                    <a:pt x="76" y="0"/>
                  </a:lnTo>
                  <a:lnTo>
                    <a:pt x="85" y="0"/>
                  </a:lnTo>
                  <a:lnTo>
                    <a:pt x="93" y="0"/>
                  </a:lnTo>
                  <a:lnTo>
                    <a:pt x="102" y="1"/>
                  </a:lnTo>
                  <a:lnTo>
                    <a:pt x="111" y="3"/>
                  </a:lnTo>
                  <a:lnTo>
                    <a:pt x="118" y="6"/>
                  </a:lnTo>
                  <a:lnTo>
                    <a:pt x="125" y="9"/>
                  </a:lnTo>
                  <a:lnTo>
                    <a:pt x="133" y="14"/>
                  </a:lnTo>
                  <a:lnTo>
                    <a:pt x="140" y="19"/>
                  </a:lnTo>
                  <a:lnTo>
                    <a:pt x="145" y="24"/>
                  </a:lnTo>
                  <a:lnTo>
                    <a:pt x="151" y="30"/>
                  </a:lnTo>
                  <a:lnTo>
                    <a:pt x="156" y="38"/>
                  </a:lnTo>
                  <a:lnTo>
                    <a:pt x="160" y="44"/>
                  </a:lnTo>
                  <a:lnTo>
                    <a:pt x="163" y="52"/>
                  </a:lnTo>
                  <a:lnTo>
                    <a:pt x="167" y="60"/>
                  </a:lnTo>
                  <a:lnTo>
                    <a:pt x="168" y="68"/>
                  </a:lnTo>
                  <a:lnTo>
                    <a:pt x="171" y="77"/>
                  </a:lnTo>
                  <a:lnTo>
                    <a:pt x="171" y="85"/>
                  </a:lnTo>
                  <a:lnTo>
                    <a:pt x="171" y="94"/>
                  </a:lnTo>
                  <a:lnTo>
                    <a:pt x="168" y="103"/>
                  </a:lnTo>
                  <a:lnTo>
                    <a:pt x="167" y="110"/>
                  </a:lnTo>
                  <a:lnTo>
                    <a:pt x="163" y="119"/>
                  </a:lnTo>
                  <a:lnTo>
                    <a:pt x="160" y="126"/>
                  </a:lnTo>
                  <a:lnTo>
                    <a:pt x="156" y="133"/>
                  </a:lnTo>
                  <a:lnTo>
                    <a:pt x="151" y="139"/>
                  </a:lnTo>
                  <a:lnTo>
                    <a:pt x="145" y="146"/>
                  </a:lnTo>
                  <a:lnTo>
                    <a:pt x="140" y="151"/>
                  </a:lnTo>
                  <a:lnTo>
                    <a:pt x="133" y="155"/>
                  </a:lnTo>
                  <a:lnTo>
                    <a:pt x="125" y="160"/>
                  </a:lnTo>
                  <a:lnTo>
                    <a:pt x="118" y="164"/>
                  </a:lnTo>
                  <a:lnTo>
                    <a:pt x="111" y="166"/>
                  </a:lnTo>
                  <a:lnTo>
                    <a:pt x="102" y="169"/>
                  </a:lnTo>
                  <a:lnTo>
                    <a:pt x="93" y="170"/>
                  </a:lnTo>
                  <a:lnTo>
                    <a:pt x="85"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68">
              <a:extLst>
                <a:ext uri="{FF2B5EF4-FFF2-40B4-BE49-F238E27FC236}">
                  <a16:creationId xmlns:a16="http://schemas.microsoft.com/office/drawing/2014/main" id="{C1464CB3-C1FB-452F-82BA-DB5BE5F40A0D}"/>
                </a:ext>
              </a:extLst>
            </p:cNvPr>
            <p:cNvSpPr>
              <a:spLocks noEditPoints="1"/>
            </p:cNvSpPr>
            <p:nvPr/>
          </p:nvSpPr>
          <p:spPr bwMode="auto">
            <a:xfrm>
              <a:off x="8583613" y="1414463"/>
              <a:ext cx="147638" cy="153988"/>
            </a:xfrm>
            <a:custGeom>
              <a:avLst/>
              <a:gdLst>
                <a:gd name="T0" fmla="*/ 158 w 374"/>
                <a:gd name="T1" fmla="*/ 291 h 391"/>
                <a:gd name="T2" fmla="*/ 185 w 374"/>
                <a:gd name="T3" fmla="*/ 327 h 391"/>
                <a:gd name="T4" fmla="*/ 217 w 374"/>
                <a:gd name="T5" fmla="*/ 290 h 391"/>
                <a:gd name="T6" fmla="*/ 263 w 374"/>
                <a:gd name="T7" fmla="*/ 302 h 391"/>
                <a:gd name="T8" fmla="*/ 268 w 374"/>
                <a:gd name="T9" fmla="*/ 254 h 391"/>
                <a:gd name="T10" fmla="*/ 312 w 374"/>
                <a:gd name="T11" fmla="*/ 237 h 391"/>
                <a:gd name="T12" fmla="*/ 286 w 374"/>
                <a:gd name="T13" fmla="*/ 195 h 391"/>
                <a:gd name="T14" fmla="*/ 312 w 374"/>
                <a:gd name="T15" fmla="*/ 155 h 391"/>
                <a:gd name="T16" fmla="*/ 268 w 374"/>
                <a:gd name="T17" fmla="*/ 137 h 391"/>
                <a:gd name="T18" fmla="*/ 265 w 374"/>
                <a:gd name="T19" fmla="*/ 90 h 391"/>
                <a:gd name="T20" fmla="*/ 219 w 374"/>
                <a:gd name="T21" fmla="*/ 100 h 391"/>
                <a:gd name="T22" fmla="*/ 188 w 374"/>
                <a:gd name="T23" fmla="*/ 64 h 391"/>
                <a:gd name="T24" fmla="*/ 157 w 374"/>
                <a:gd name="T25" fmla="*/ 100 h 391"/>
                <a:gd name="T26" fmla="*/ 111 w 374"/>
                <a:gd name="T27" fmla="*/ 89 h 391"/>
                <a:gd name="T28" fmla="*/ 107 w 374"/>
                <a:gd name="T29" fmla="*/ 135 h 391"/>
                <a:gd name="T30" fmla="*/ 63 w 374"/>
                <a:gd name="T31" fmla="*/ 154 h 391"/>
                <a:gd name="T32" fmla="*/ 87 w 374"/>
                <a:gd name="T33" fmla="*/ 194 h 391"/>
                <a:gd name="T34" fmla="*/ 62 w 374"/>
                <a:gd name="T35" fmla="*/ 235 h 391"/>
                <a:gd name="T36" fmla="*/ 106 w 374"/>
                <a:gd name="T37" fmla="*/ 253 h 391"/>
                <a:gd name="T38" fmla="*/ 108 w 374"/>
                <a:gd name="T39" fmla="*/ 301 h 391"/>
                <a:gd name="T40" fmla="*/ 147 w 374"/>
                <a:gd name="T41" fmla="*/ 289 h 391"/>
                <a:gd name="T42" fmla="*/ 185 w 374"/>
                <a:gd name="T43" fmla="*/ 391 h 391"/>
                <a:gd name="T44" fmla="*/ 169 w 374"/>
                <a:gd name="T45" fmla="*/ 384 h 391"/>
                <a:gd name="T46" fmla="*/ 92 w 374"/>
                <a:gd name="T47" fmla="*/ 355 h 391"/>
                <a:gd name="T48" fmla="*/ 76 w 374"/>
                <a:gd name="T49" fmla="*/ 355 h 391"/>
                <a:gd name="T50" fmla="*/ 64 w 374"/>
                <a:gd name="T51" fmla="*/ 344 h 391"/>
                <a:gd name="T52" fmla="*/ 63 w 374"/>
                <a:gd name="T53" fmla="*/ 284 h 391"/>
                <a:gd name="T54" fmla="*/ 6 w 374"/>
                <a:gd name="T55" fmla="*/ 263 h 391"/>
                <a:gd name="T56" fmla="*/ 0 w 374"/>
                <a:gd name="T57" fmla="*/ 248 h 391"/>
                <a:gd name="T58" fmla="*/ 5 w 374"/>
                <a:gd name="T59" fmla="*/ 232 h 391"/>
                <a:gd name="T60" fmla="*/ 3 w 374"/>
                <a:gd name="T61" fmla="*/ 150 h 391"/>
                <a:gd name="T62" fmla="*/ 1 w 374"/>
                <a:gd name="T63" fmla="*/ 133 h 391"/>
                <a:gd name="T64" fmla="*/ 12 w 374"/>
                <a:gd name="T65" fmla="*/ 121 h 391"/>
                <a:gd name="T66" fmla="*/ 64 w 374"/>
                <a:gd name="T67" fmla="*/ 56 h 391"/>
                <a:gd name="T68" fmla="*/ 69 w 374"/>
                <a:gd name="T69" fmla="*/ 40 h 391"/>
                <a:gd name="T70" fmla="*/ 84 w 374"/>
                <a:gd name="T71" fmla="*/ 32 h 391"/>
                <a:gd name="T72" fmla="*/ 141 w 374"/>
                <a:gd name="T73" fmla="*/ 51 h 391"/>
                <a:gd name="T74" fmla="*/ 178 w 374"/>
                <a:gd name="T75" fmla="*/ 3 h 391"/>
                <a:gd name="T76" fmla="*/ 194 w 374"/>
                <a:gd name="T77" fmla="*/ 0 h 391"/>
                <a:gd name="T78" fmla="*/ 207 w 374"/>
                <a:gd name="T79" fmla="*/ 10 h 391"/>
                <a:gd name="T80" fmla="*/ 287 w 374"/>
                <a:gd name="T81" fmla="*/ 34 h 391"/>
                <a:gd name="T82" fmla="*/ 303 w 374"/>
                <a:gd name="T83" fmla="*/ 38 h 391"/>
                <a:gd name="T84" fmla="*/ 312 w 374"/>
                <a:gd name="T85" fmla="*/ 52 h 391"/>
                <a:gd name="T86" fmla="*/ 357 w 374"/>
                <a:gd name="T87" fmla="*/ 121 h 391"/>
                <a:gd name="T88" fmla="*/ 371 w 374"/>
                <a:gd name="T89" fmla="*/ 132 h 391"/>
                <a:gd name="T90" fmla="*/ 373 w 374"/>
                <a:gd name="T91" fmla="*/ 148 h 391"/>
                <a:gd name="T92" fmla="*/ 339 w 374"/>
                <a:gd name="T93" fmla="*/ 197 h 391"/>
                <a:gd name="T94" fmla="*/ 373 w 374"/>
                <a:gd name="T95" fmla="*/ 246 h 391"/>
                <a:gd name="T96" fmla="*/ 369 w 374"/>
                <a:gd name="T97" fmla="*/ 262 h 391"/>
                <a:gd name="T98" fmla="*/ 356 w 374"/>
                <a:gd name="T99" fmla="*/ 272 h 391"/>
                <a:gd name="T100" fmla="*/ 309 w 374"/>
                <a:gd name="T101" fmla="*/ 340 h 391"/>
                <a:gd name="T102" fmla="*/ 301 w 374"/>
                <a:gd name="T103" fmla="*/ 354 h 391"/>
                <a:gd name="T104" fmla="*/ 285 w 374"/>
                <a:gd name="T105" fmla="*/ 357 h 391"/>
                <a:gd name="T106" fmla="*/ 204 w 374"/>
                <a:gd name="T107" fmla="*/ 381 h 391"/>
                <a:gd name="T108" fmla="*/ 190 w 374"/>
                <a:gd name="T109" fmla="*/ 389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4" h="391">
                  <a:moveTo>
                    <a:pt x="147" y="289"/>
                  </a:moveTo>
                  <a:lnTo>
                    <a:pt x="154" y="289"/>
                  </a:lnTo>
                  <a:lnTo>
                    <a:pt x="158" y="291"/>
                  </a:lnTo>
                  <a:lnTo>
                    <a:pt x="163" y="295"/>
                  </a:lnTo>
                  <a:lnTo>
                    <a:pt x="167" y="299"/>
                  </a:lnTo>
                  <a:lnTo>
                    <a:pt x="185" y="327"/>
                  </a:lnTo>
                  <a:lnTo>
                    <a:pt x="205" y="299"/>
                  </a:lnTo>
                  <a:lnTo>
                    <a:pt x="210" y="294"/>
                  </a:lnTo>
                  <a:lnTo>
                    <a:pt x="217" y="290"/>
                  </a:lnTo>
                  <a:lnTo>
                    <a:pt x="225" y="289"/>
                  </a:lnTo>
                  <a:lnTo>
                    <a:pt x="232" y="291"/>
                  </a:lnTo>
                  <a:lnTo>
                    <a:pt x="263" y="302"/>
                  </a:lnTo>
                  <a:lnTo>
                    <a:pt x="263" y="269"/>
                  </a:lnTo>
                  <a:lnTo>
                    <a:pt x="264" y="261"/>
                  </a:lnTo>
                  <a:lnTo>
                    <a:pt x="268" y="254"/>
                  </a:lnTo>
                  <a:lnTo>
                    <a:pt x="272" y="249"/>
                  </a:lnTo>
                  <a:lnTo>
                    <a:pt x="279" y="246"/>
                  </a:lnTo>
                  <a:lnTo>
                    <a:pt x="312" y="237"/>
                  </a:lnTo>
                  <a:lnTo>
                    <a:pt x="291" y="210"/>
                  </a:lnTo>
                  <a:lnTo>
                    <a:pt x="287" y="203"/>
                  </a:lnTo>
                  <a:lnTo>
                    <a:pt x="286" y="195"/>
                  </a:lnTo>
                  <a:lnTo>
                    <a:pt x="288" y="188"/>
                  </a:lnTo>
                  <a:lnTo>
                    <a:pt x="291" y="182"/>
                  </a:lnTo>
                  <a:lnTo>
                    <a:pt x="312" y="155"/>
                  </a:lnTo>
                  <a:lnTo>
                    <a:pt x="280" y="145"/>
                  </a:lnTo>
                  <a:lnTo>
                    <a:pt x="274" y="143"/>
                  </a:lnTo>
                  <a:lnTo>
                    <a:pt x="268" y="137"/>
                  </a:lnTo>
                  <a:lnTo>
                    <a:pt x="265" y="130"/>
                  </a:lnTo>
                  <a:lnTo>
                    <a:pt x="264" y="123"/>
                  </a:lnTo>
                  <a:lnTo>
                    <a:pt x="265" y="90"/>
                  </a:lnTo>
                  <a:lnTo>
                    <a:pt x="233" y="100"/>
                  </a:lnTo>
                  <a:lnTo>
                    <a:pt x="226" y="101"/>
                  </a:lnTo>
                  <a:lnTo>
                    <a:pt x="219" y="100"/>
                  </a:lnTo>
                  <a:lnTo>
                    <a:pt x="212" y="97"/>
                  </a:lnTo>
                  <a:lnTo>
                    <a:pt x="206" y="91"/>
                  </a:lnTo>
                  <a:lnTo>
                    <a:pt x="188" y="64"/>
                  </a:lnTo>
                  <a:lnTo>
                    <a:pt x="168" y="91"/>
                  </a:lnTo>
                  <a:lnTo>
                    <a:pt x="163" y="96"/>
                  </a:lnTo>
                  <a:lnTo>
                    <a:pt x="157" y="100"/>
                  </a:lnTo>
                  <a:lnTo>
                    <a:pt x="150" y="101"/>
                  </a:lnTo>
                  <a:lnTo>
                    <a:pt x="142" y="100"/>
                  </a:lnTo>
                  <a:lnTo>
                    <a:pt x="111" y="89"/>
                  </a:lnTo>
                  <a:lnTo>
                    <a:pt x="111" y="122"/>
                  </a:lnTo>
                  <a:lnTo>
                    <a:pt x="109" y="129"/>
                  </a:lnTo>
                  <a:lnTo>
                    <a:pt x="107" y="135"/>
                  </a:lnTo>
                  <a:lnTo>
                    <a:pt x="101" y="142"/>
                  </a:lnTo>
                  <a:lnTo>
                    <a:pt x="95" y="144"/>
                  </a:lnTo>
                  <a:lnTo>
                    <a:pt x="63" y="154"/>
                  </a:lnTo>
                  <a:lnTo>
                    <a:pt x="82" y="181"/>
                  </a:lnTo>
                  <a:lnTo>
                    <a:pt x="86" y="187"/>
                  </a:lnTo>
                  <a:lnTo>
                    <a:pt x="87" y="194"/>
                  </a:lnTo>
                  <a:lnTo>
                    <a:pt x="86" y="202"/>
                  </a:lnTo>
                  <a:lnTo>
                    <a:pt x="82" y="208"/>
                  </a:lnTo>
                  <a:lnTo>
                    <a:pt x="62" y="235"/>
                  </a:lnTo>
                  <a:lnTo>
                    <a:pt x="93" y="245"/>
                  </a:lnTo>
                  <a:lnTo>
                    <a:pt x="101" y="248"/>
                  </a:lnTo>
                  <a:lnTo>
                    <a:pt x="106" y="253"/>
                  </a:lnTo>
                  <a:lnTo>
                    <a:pt x="109" y="259"/>
                  </a:lnTo>
                  <a:lnTo>
                    <a:pt x="109" y="267"/>
                  </a:lnTo>
                  <a:lnTo>
                    <a:pt x="108" y="301"/>
                  </a:lnTo>
                  <a:lnTo>
                    <a:pt x="140" y="290"/>
                  </a:lnTo>
                  <a:lnTo>
                    <a:pt x="144" y="289"/>
                  </a:lnTo>
                  <a:lnTo>
                    <a:pt x="147" y="289"/>
                  </a:lnTo>
                  <a:close/>
                  <a:moveTo>
                    <a:pt x="185" y="391"/>
                  </a:moveTo>
                  <a:lnTo>
                    <a:pt x="185" y="391"/>
                  </a:lnTo>
                  <a:lnTo>
                    <a:pt x="185" y="391"/>
                  </a:lnTo>
                  <a:lnTo>
                    <a:pt x="179" y="389"/>
                  </a:lnTo>
                  <a:lnTo>
                    <a:pt x="174" y="387"/>
                  </a:lnTo>
                  <a:lnTo>
                    <a:pt x="169" y="384"/>
                  </a:lnTo>
                  <a:lnTo>
                    <a:pt x="166" y="379"/>
                  </a:lnTo>
                  <a:lnTo>
                    <a:pt x="139" y="339"/>
                  </a:lnTo>
                  <a:lnTo>
                    <a:pt x="92" y="355"/>
                  </a:lnTo>
                  <a:lnTo>
                    <a:pt x="86" y="356"/>
                  </a:lnTo>
                  <a:lnTo>
                    <a:pt x="81" y="356"/>
                  </a:lnTo>
                  <a:lnTo>
                    <a:pt x="76" y="355"/>
                  </a:lnTo>
                  <a:lnTo>
                    <a:pt x="71" y="353"/>
                  </a:lnTo>
                  <a:lnTo>
                    <a:pt x="66" y="348"/>
                  </a:lnTo>
                  <a:lnTo>
                    <a:pt x="64" y="344"/>
                  </a:lnTo>
                  <a:lnTo>
                    <a:pt x="62" y="338"/>
                  </a:lnTo>
                  <a:lnTo>
                    <a:pt x="62" y="333"/>
                  </a:lnTo>
                  <a:lnTo>
                    <a:pt x="63" y="284"/>
                  </a:lnTo>
                  <a:lnTo>
                    <a:pt x="16" y="269"/>
                  </a:lnTo>
                  <a:lnTo>
                    <a:pt x="11" y="267"/>
                  </a:lnTo>
                  <a:lnTo>
                    <a:pt x="6" y="263"/>
                  </a:lnTo>
                  <a:lnTo>
                    <a:pt x="3" y="259"/>
                  </a:lnTo>
                  <a:lnTo>
                    <a:pt x="1" y="254"/>
                  </a:lnTo>
                  <a:lnTo>
                    <a:pt x="0" y="248"/>
                  </a:lnTo>
                  <a:lnTo>
                    <a:pt x="0" y="243"/>
                  </a:lnTo>
                  <a:lnTo>
                    <a:pt x="1" y="237"/>
                  </a:lnTo>
                  <a:lnTo>
                    <a:pt x="5" y="232"/>
                  </a:lnTo>
                  <a:lnTo>
                    <a:pt x="35" y="194"/>
                  </a:lnTo>
                  <a:lnTo>
                    <a:pt x="5" y="155"/>
                  </a:lnTo>
                  <a:lnTo>
                    <a:pt x="3" y="150"/>
                  </a:lnTo>
                  <a:lnTo>
                    <a:pt x="1" y="144"/>
                  </a:lnTo>
                  <a:lnTo>
                    <a:pt x="0" y="139"/>
                  </a:lnTo>
                  <a:lnTo>
                    <a:pt x="1" y="133"/>
                  </a:lnTo>
                  <a:lnTo>
                    <a:pt x="4" y="128"/>
                  </a:lnTo>
                  <a:lnTo>
                    <a:pt x="8" y="124"/>
                  </a:lnTo>
                  <a:lnTo>
                    <a:pt x="12" y="121"/>
                  </a:lnTo>
                  <a:lnTo>
                    <a:pt x="17" y="118"/>
                  </a:lnTo>
                  <a:lnTo>
                    <a:pt x="65" y="105"/>
                  </a:lnTo>
                  <a:lnTo>
                    <a:pt x="64" y="56"/>
                  </a:lnTo>
                  <a:lnTo>
                    <a:pt x="64" y="50"/>
                  </a:lnTo>
                  <a:lnTo>
                    <a:pt x="66" y="45"/>
                  </a:lnTo>
                  <a:lnTo>
                    <a:pt x="69" y="40"/>
                  </a:lnTo>
                  <a:lnTo>
                    <a:pt x="74" y="36"/>
                  </a:lnTo>
                  <a:lnTo>
                    <a:pt x="79" y="34"/>
                  </a:lnTo>
                  <a:lnTo>
                    <a:pt x="84" y="32"/>
                  </a:lnTo>
                  <a:lnTo>
                    <a:pt x="90" y="32"/>
                  </a:lnTo>
                  <a:lnTo>
                    <a:pt x="95" y="34"/>
                  </a:lnTo>
                  <a:lnTo>
                    <a:pt x="141" y="51"/>
                  </a:lnTo>
                  <a:lnTo>
                    <a:pt x="169" y="10"/>
                  </a:lnTo>
                  <a:lnTo>
                    <a:pt x="173" y="5"/>
                  </a:lnTo>
                  <a:lnTo>
                    <a:pt x="178" y="3"/>
                  </a:lnTo>
                  <a:lnTo>
                    <a:pt x="183" y="0"/>
                  </a:lnTo>
                  <a:lnTo>
                    <a:pt x="188" y="0"/>
                  </a:lnTo>
                  <a:lnTo>
                    <a:pt x="194" y="0"/>
                  </a:lnTo>
                  <a:lnTo>
                    <a:pt x="199" y="3"/>
                  </a:lnTo>
                  <a:lnTo>
                    <a:pt x="204" y="7"/>
                  </a:lnTo>
                  <a:lnTo>
                    <a:pt x="207" y="10"/>
                  </a:lnTo>
                  <a:lnTo>
                    <a:pt x="234" y="51"/>
                  </a:lnTo>
                  <a:lnTo>
                    <a:pt x="281" y="35"/>
                  </a:lnTo>
                  <a:lnTo>
                    <a:pt x="287" y="34"/>
                  </a:lnTo>
                  <a:lnTo>
                    <a:pt x="292" y="34"/>
                  </a:lnTo>
                  <a:lnTo>
                    <a:pt x="298" y="36"/>
                  </a:lnTo>
                  <a:lnTo>
                    <a:pt x="303" y="38"/>
                  </a:lnTo>
                  <a:lnTo>
                    <a:pt x="307" y="42"/>
                  </a:lnTo>
                  <a:lnTo>
                    <a:pt x="309" y="47"/>
                  </a:lnTo>
                  <a:lnTo>
                    <a:pt x="312" y="52"/>
                  </a:lnTo>
                  <a:lnTo>
                    <a:pt x="312" y="58"/>
                  </a:lnTo>
                  <a:lnTo>
                    <a:pt x="310" y="107"/>
                  </a:lnTo>
                  <a:lnTo>
                    <a:pt x="357" y="121"/>
                  </a:lnTo>
                  <a:lnTo>
                    <a:pt x="363" y="123"/>
                  </a:lnTo>
                  <a:lnTo>
                    <a:pt x="367" y="127"/>
                  </a:lnTo>
                  <a:lnTo>
                    <a:pt x="371" y="132"/>
                  </a:lnTo>
                  <a:lnTo>
                    <a:pt x="373" y="137"/>
                  </a:lnTo>
                  <a:lnTo>
                    <a:pt x="374" y="142"/>
                  </a:lnTo>
                  <a:lnTo>
                    <a:pt x="373" y="148"/>
                  </a:lnTo>
                  <a:lnTo>
                    <a:pt x="372" y="153"/>
                  </a:lnTo>
                  <a:lnTo>
                    <a:pt x="369" y="157"/>
                  </a:lnTo>
                  <a:lnTo>
                    <a:pt x="339" y="197"/>
                  </a:lnTo>
                  <a:lnTo>
                    <a:pt x="368" y="236"/>
                  </a:lnTo>
                  <a:lnTo>
                    <a:pt x="371" y="241"/>
                  </a:lnTo>
                  <a:lnTo>
                    <a:pt x="373" y="246"/>
                  </a:lnTo>
                  <a:lnTo>
                    <a:pt x="373" y="252"/>
                  </a:lnTo>
                  <a:lnTo>
                    <a:pt x="372" y="257"/>
                  </a:lnTo>
                  <a:lnTo>
                    <a:pt x="369" y="262"/>
                  </a:lnTo>
                  <a:lnTo>
                    <a:pt x="366" y="267"/>
                  </a:lnTo>
                  <a:lnTo>
                    <a:pt x="362" y="269"/>
                  </a:lnTo>
                  <a:lnTo>
                    <a:pt x="356" y="272"/>
                  </a:lnTo>
                  <a:lnTo>
                    <a:pt x="309" y="285"/>
                  </a:lnTo>
                  <a:lnTo>
                    <a:pt x="309" y="334"/>
                  </a:lnTo>
                  <a:lnTo>
                    <a:pt x="309" y="340"/>
                  </a:lnTo>
                  <a:lnTo>
                    <a:pt x="307" y="345"/>
                  </a:lnTo>
                  <a:lnTo>
                    <a:pt x="304" y="350"/>
                  </a:lnTo>
                  <a:lnTo>
                    <a:pt x="301" y="354"/>
                  </a:lnTo>
                  <a:lnTo>
                    <a:pt x="296" y="356"/>
                  </a:lnTo>
                  <a:lnTo>
                    <a:pt x="290" y="357"/>
                  </a:lnTo>
                  <a:lnTo>
                    <a:pt x="285" y="357"/>
                  </a:lnTo>
                  <a:lnTo>
                    <a:pt x="279" y="356"/>
                  </a:lnTo>
                  <a:lnTo>
                    <a:pt x="232" y="340"/>
                  </a:lnTo>
                  <a:lnTo>
                    <a:pt x="204" y="381"/>
                  </a:lnTo>
                  <a:lnTo>
                    <a:pt x="200" y="384"/>
                  </a:lnTo>
                  <a:lnTo>
                    <a:pt x="196" y="388"/>
                  </a:lnTo>
                  <a:lnTo>
                    <a:pt x="190" y="389"/>
                  </a:lnTo>
                  <a:lnTo>
                    <a:pt x="185"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9" name="Gruppieren 558">
            <a:extLst>
              <a:ext uri="{FF2B5EF4-FFF2-40B4-BE49-F238E27FC236}">
                <a16:creationId xmlns:a16="http://schemas.microsoft.com/office/drawing/2014/main" id="{DAC8643D-A4CB-44D5-812D-204634BDDCA4}"/>
              </a:ext>
            </a:extLst>
          </p:cNvPr>
          <p:cNvGrpSpPr>
            <a:grpSpLocks noChangeAspect="1"/>
          </p:cNvGrpSpPr>
          <p:nvPr/>
        </p:nvGrpSpPr>
        <p:grpSpPr>
          <a:xfrm>
            <a:off x="7084398" y="4345739"/>
            <a:ext cx="257533" cy="306484"/>
            <a:chOff x="4937844" y="5240549"/>
            <a:chExt cx="384176" cy="457200"/>
          </a:xfrm>
          <a:solidFill>
            <a:schemeClr val="bg1"/>
          </a:solidFill>
          <a:effectLst/>
        </p:grpSpPr>
        <p:sp>
          <p:nvSpPr>
            <p:cNvPr id="560" name="Freeform 131">
              <a:extLst>
                <a:ext uri="{FF2B5EF4-FFF2-40B4-BE49-F238E27FC236}">
                  <a16:creationId xmlns:a16="http://schemas.microsoft.com/office/drawing/2014/main" id="{28892544-AACD-4879-BE49-EA0628C76736}"/>
                </a:ext>
              </a:extLst>
            </p:cNvPr>
            <p:cNvSpPr>
              <a:spLocks/>
            </p:cNvSpPr>
            <p:nvPr/>
          </p:nvSpPr>
          <p:spPr bwMode="auto">
            <a:xfrm>
              <a:off x="4991819" y="5367549"/>
              <a:ext cx="201613" cy="19050"/>
            </a:xfrm>
            <a:custGeom>
              <a:avLst/>
              <a:gdLst>
                <a:gd name="T0" fmla="*/ 483 w 506"/>
                <a:gd name="T1" fmla="*/ 45 h 45"/>
                <a:gd name="T2" fmla="*/ 23 w 506"/>
                <a:gd name="T3" fmla="*/ 45 h 45"/>
                <a:gd name="T4" fmla="*/ 18 w 506"/>
                <a:gd name="T5" fmla="*/ 45 h 45"/>
                <a:gd name="T6" fmla="*/ 13 w 506"/>
                <a:gd name="T7" fmla="*/ 44 h 45"/>
                <a:gd name="T8" fmla="*/ 10 w 506"/>
                <a:gd name="T9" fmla="*/ 42 h 45"/>
                <a:gd name="T10" fmla="*/ 6 w 506"/>
                <a:gd name="T11" fmla="*/ 39 h 45"/>
                <a:gd name="T12" fmla="*/ 4 w 506"/>
                <a:gd name="T13" fmla="*/ 35 h 45"/>
                <a:gd name="T14" fmla="*/ 1 w 506"/>
                <a:gd name="T15" fmla="*/ 32 h 45"/>
                <a:gd name="T16" fmla="*/ 0 w 506"/>
                <a:gd name="T17" fmla="*/ 27 h 45"/>
                <a:gd name="T18" fmla="*/ 0 w 506"/>
                <a:gd name="T19" fmla="*/ 22 h 45"/>
                <a:gd name="T20" fmla="*/ 0 w 506"/>
                <a:gd name="T21" fmla="*/ 18 h 45"/>
                <a:gd name="T22" fmla="*/ 1 w 506"/>
                <a:gd name="T23" fmla="*/ 13 h 45"/>
                <a:gd name="T24" fmla="*/ 4 w 506"/>
                <a:gd name="T25" fmla="*/ 10 h 45"/>
                <a:gd name="T26" fmla="*/ 6 w 506"/>
                <a:gd name="T27" fmla="*/ 6 h 45"/>
                <a:gd name="T28" fmla="*/ 10 w 506"/>
                <a:gd name="T29" fmla="*/ 4 h 45"/>
                <a:gd name="T30" fmla="*/ 13 w 506"/>
                <a:gd name="T31" fmla="*/ 1 h 45"/>
                <a:gd name="T32" fmla="*/ 18 w 506"/>
                <a:gd name="T33" fmla="*/ 0 h 45"/>
                <a:gd name="T34" fmla="*/ 23 w 506"/>
                <a:gd name="T35" fmla="*/ 0 h 45"/>
                <a:gd name="T36" fmla="*/ 483 w 506"/>
                <a:gd name="T37" fmla="*/ 0 h 45"/>
                <a:gd name="T38" fmla="*/ 488 w 506"/>
                <a:gd name="T39" fmla="*/ 0 h 45"/>
                <a:gd name="T40" fmla="*/ 493 w 506"/>
                <a:gd name="T41" fmla="*/ 1 h 45"/>
                <a:gd name="T42" fmla="*/ 497 w 506"/>
                <a:gd name="T43" fmla="*/ 4 h 45"/>
                <a:gd name="T44" fmla="*/ 500 w 506"/>
                <a:gd name="T45" fmla="*/ 6 h 45"/>
                <a:gd name="T46" fmla="*/ 503 w 506"/>
                <a:gd name="T47" fmla="*/ 10 h 45"/>
                <a:gd name="T48" fmla="*/ 505 w 506"/>
                <a:gd name="T49" fmla="*/ 13 h 45"/>
                <a:gd name="T50" fmla="*/ 506 w 506"/>
                <a:gd name="T51" fmla="*/ 18 h 45"/>
                <a:gd name="T52" fmla="*/ 506 w 506"/>
                <a:gd name="T53" fmla="*/ 22 h 45"/>
                <a:gd name="T54" fmla="*/ 506 w 506"/>
                <a:gd name="T55" fmla="*/ 27 h 45"/>
                <a:gd name="T56" fmla="*/ 505 w 506"/>
                <a:gd name="T57" fmla="*/ 32 h 45"/>
                <a:gd name="T58" fmla="*/ 503 w 506"/>
                <a:gd name="T59" fmla="*/ 35 h 45"/>
                <a:gd name="T60" fmla="*/ 500 w 506"/>
                <a:gd name="T61" fmla="*/ 39 h 45"/>
                <a:gd name="T62" fmla="*/ 497 w 506"/>
                <a:gd name="T63" fmla="*/ 42 h 45"/>
                <a:gd name="T64" fmla="*/ 493 w 506"/>
                <a:gd name="T65" fmla="*/ 44 h 45"/>
                <a:gd name="T66" fmla="*/ 488 w 506"/>
                <a:gd name="T67" fmla="*/ 45 h 45"/>
                <a:gd name="T68" fmla="*/ 483 w 506"/>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5">
                  <a:moveTo>
                    <a:pt x="483" y="45"/>
                  </a:moveTo>
                  <a:lnTo>
                    <a:pt x="23" y="45"/>
                  </a:lnTo>
                  <a:lnTo>
                    <a:pt x="18" y="45"/>
                  </a:lnTo>
                  <a:lnTo>
                    <a:pt x="13" y="44"/>
                  </a:lnTo>
                  <a:lnTo>
                    <a:pt x="10" y="42"/>
                  </a:lnTo>
                  <a:lnTo>
                    <a:pt x="6" y="39"/>
                  </a:lnTo>
                  <a:lnTo>
                    <a:pt x="4" y="35"/>
                  </a:lnTo>
                  <a:lnTo>
                    <a:pt x="1" y="32"/>
                  </a:lnTo>
                  <a:lnTo>
                    <a:pt x="0" y="27"/>
                  </a:lnTo>
                  <a:lnTo>
                    <a:pt x="0" y="22"/>
                  </a:lnTo>
                  <a:lnTo>
                    <a:pt x="0" y="18"/>
                  </a:lnTo>
                  <a:lnTo>
                    <a:pt x="1" y="13"/>
                  </a:lnTo>
                  <a:lnTo>
                    <a:pt x="4" y="10"/>
                  </a:lnTo>
                  <a:lnTo>
                    <a:pt x="6" y="6"/>
                  </a:lnTo>
                  <a:lnTo>
                    <a:pt x="10" y="4"/>
                  </a:lnTo>
                  <a:lnTo>
                    <a:pt x="13" y="1"/>
                  </a:lnTo>
                  <a:lnTo>
                    <a:pt x="18" y="0"/>
                  </a:lnTo>
                  <a:lnTo>
                    <a:pt x="23" y="0"/>
                  </a:lnTo>
                  <a:lnTo>
                    <a:pt x="483" y="0"/>
                  </a:lnTo>
                  <a:lnTo>
                    <a:pt x="488" y="0"/>
                  </a:lnTo>
                  <a:lnTo>
                    <a:pt x="493" y="1"/>
                  </a:lnTo>
                  <a:lnTo>
                    <a:pt x="497" y="4"/>
                  </a:lnTo>
                  <a:lnTo>
                    <a:pt x="500" y="6"/>
                  </a:lnTo>
                  <a:lnTo>
                    <a:pt x="503" y="10"/>
                  </a:lnTo>
                  <a:lnTo>
                    <a:pt x="505" y="13"/>
                  </a:lnTo>
                  <a:lnTo>
                    <a:pt x="506" y="18"/>
                  </a:lnTo>
                  <a:lnTo>
                    <a:pt x="506" y="22"/>
                  </a:lnTo>
                  <a:lnTo>
                    <a:pt x="506" y="27"/>
                  </a:lnTo>
                  <a:lnTo>
                    <a:pt x="505" y="32"/>
                  </a:lnTo>
                  <a:lnTo>
                    <a:pt x="503" y="35"/>
                  </a:lnTo>
                  <a:lnTo>
                    <a:pt x="500" y="39"/>
                  </a:lnTo>
                  <a:lnTo>
                    <a:pt x="497" y="42"/>
                  </a:lnTo>
                  <a:lnTo>
                    <a:pt x="493" y="44"/>
                  </a:lnTo>
                  <a:lnTo>
                    <a:pt x="488" y="45"/>
                  </a:lnTo>
                  <a:lnTo>
                    <a:pt x="48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Freeform 136">
              <a:extLst>
                <a:ext uri="{FF2B5EF4-FFF2-40B4-BE49-F238E27FC236}">
                  <a16:creationId xmlns:a16="http://schemas.microsoft.com/office/drawing/2014/main" id="{327A0B00-A991-43D5-A439-C3E07904C064}"/>
                </a:ext>
              </a:extLst>
            </p:cNvPr>
            <p:cNvSpPr>
              <a:spLocks/>
            </p:cNvSpPr>
            <p:nvPr/>
          </p:nvSpPr>
          <p:spPr bwMode="auto">
            <a:xfrm>
              <a:off x="4991819" y="5423111"/>
              <a:ext cx="201613" cy="17463"/>
            </a:xfrm>
            <a:custGeom>
              <a:avLst/>
              <a:gdLst>
                <a:gd name="T0" fmla="*/ 483 w 506"/>
                <a:gd name="T1" fmla="*/ 47 h 47"/>
                <a:gd name="T2" fmla="*/ 23 w 506"/>
                <a:gd name="T3" fmla="*/ 47 h 47"/>
                <a:gd name="T4" fmla="*/ 18 w 506"/>
                <a:gd name="T5" fmla="*/ 47 h 47"/>
                <a:gd name="T6" fmla="*/ 13 w 506"/>
                <a:gd name="T7" fmla="*/ 44 h 47"/>
                <a:gd name="T8" fmla="*/ 10 w 506"/>
                <a:gd name="T9" fmla="*/ 43 h 47"/>
                <a:gd name="T10" fmla="*/ 6 w 506"/>
                <a:gd name="T11" fmla="*/ 39 h 47"/>
                <a:gd name="T12" fmla="*/ 4 w 506"/>
                <a:gd name="T13" fmla="*/ 37 h 47"/>
                <a:gd name="T14" fmla="*/ 1 w 506"/>
                <a:gd name="T15" fmla="*/ 32 h 47"/>
                <a:gd name="T16" fmla="*/ 0 w 506"/>
                <a:gd name="T17" fmla="*/ 28 h 47"/>
                <a:gd name="T18" fmla="*/ 0 w 506"/>
                <a:gd name="T19" fmla="*/ 24 h 47"/>
                <a:gd name="T20" fmla="*/ 0 w 506"/>
                <a:gd name="T21" fmla="*/ 19 h 47"/>
                <a:gd name="T22" fmla="*/ 1 w 506"/>
                <a:gd name="T23" fmla="*/ 15 h 47"/>
                <a:gd name="T24" fmla="*/ 4 w 506"/>
                <a:gd name="T25" fmla="*/ 11 h 47"/>
                <a:gd name="T26" fmla="*/ 6 w 506"/>
                <a:gd name="T27" fmla="*/ 8 h 47"/>
                <a:gd name="T28" fmla="*/ 10 w 506"/>
                <a:gd name="T29" fmla="*/ 5 h 47"/>
                <a:gd name="T30" fmla="*/ 13 w 506"/>
                <a:gd name="T31" fmla="*/ 3 h 47"/>
                <a:gd name="T32" fmla="*/ 18 w 506"/>
                <a:gd name="T33" fmla="*/ 1 h 47"/>
                <a:gd name="T34" fmla="*/ 23 w 506"/>
                <a:gd name="T35" fmla="*/ 0 h 47"/>
                <a:gd name="T36" fmla="*/ 483 w 506"/>
                <a:gd name="T37" fmla="*/ 0 h 47"/>
                <a:gd name="T38" fmla="*/ 488 w 506"/>
                <a:gd name="T39" fmla="*/ 1 h 47"/>
                <a:gd name="T40" fmla="*/ 493 w 506"/>
                <a:gd name="T41" fmla="*/ 3 h 47"/>
                <a:gd name="T42" fmla="*/ 497 w 506"/>
                <a:gd name="T43" fmla="*/ 5 h 47"/>
                <a:gd name="T44" fmla="*/ 500 w 506"/>
                <a:gd name="T45" fmla="*/ 8 h 47"/>
                <a:gd name="T46" fmla="*/ 503 w 506"/>
                <a:gd name="T47" fmla="*/ 11 h 47"/>
                <a:gd name="T48" fmla="*/ 505 w 506"/>
                <a:gd name="T49" fmla="*/ 15 h 47"/>
                <a:gd name="T50" fmla="*/ 506 w 506"/>
                <a:gd name="T51" fmla="*/ 19 h 47"/>
                <a:gd name="T52" fmla="*/ 506 w 506"/>
                <a:gd name="T53" fmla="*/ 24 h 47"/>
                <a:gd name="T54" fmla="*/ 506 w 506"/>
                <a:gd name="T55" fmla="*/ 28 h 47"/>
                <a:gd name="T56" fmla="*/ 505 w 506"/>
                <a:gd name="T57" fmla="*/ 32 h 47"/>
                <a:gd name="T58" fmla="*/ 503 w 506"/>
                <a:gd name="T59" fmla="*/ 37 h 47"/>
                <a:gd name="T60" fmla="*/ 500 w 506"/>
                <a:gd name="T61" fmla="*/ 39 h 47"/>
                <a:gd name="T62" fmla="*/ 497 w 506"/>
                <a:gd name="T63" fmla="*/ 43 h 47"/>
                <a:gd name="T64" fmla="*/ 493 w 506"/>
                <a:gd name="T65" fmla="*/ 44 h 47"/>
                <a:gd name="T66" fmla="*/ 488 w 506"/>
                <a:gd name="T67" fmla="*/ 47 h 47"/>
                <a:gd name="T68" fmla="*/ 483 w 506"/>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7">
                  <a:moveTo>
                    <a:pt x="483" y="47"/>
                  </a:moveTo>
                  <a:lnTo>
                    <a:pt x="23" y="47"/>
                  </a:lnTo>
                  <a:lnTo>
                    <a:pt x="18" y="47"/>
                  </a:lnTo>
                  <a:lnTo>
                    <a:pt x="13" y="44"/>
                  </a:lnTo>
                  <a:lnTo>
                    <a:pt x="10" y="43"/>
                  </a:lnTo>
                  <a:lnTo>
                    <a:pt x="6" y="39"/>
                  </a:lnTo>
                  <a:lnTo>
                    <a:pt x="4" y="37"/>
                  </a:lnTo>
                  <a:lnTo>
                    <a:pt x="1" y="32"/>
                  </a:lnTo>
                  <a:lnTo>
                    <a:pt x="0" y="28"/>
                  </a:lnTo>
                  <a:lnTo>
                    <a:pt x="0" y="24"/>
                  </a:lnTo>
                  <a:lnTo>
                    <a:pt x="0" y="19"/>
                  </a:lnTo>
                  <a:lnTo>
                    <a:pt x="1" y="15"/>
                  </a:lnTo>
                  <a:lnTo>
                    <a:pt x="4" y="11"/>
                  </a:lnTo>
                  <a:lnTo>
                    <a:pt x="6" y="8"/>
                  </a:lnTo>
                  <a:lnTo>
                    <a:pt x="10" y="5"/>
                  </a:lnTo>
                  <a:lnTo>
                    <a:pt x="13" y="3"/>
                  </a:lnTo>
                  <a:lnTo>
                    <a:pt x="18" y="1"/>
                  </a:lnTo>
                  <a:lnTo>
                    <a:pt x="23" y="0"/>
                  </a:lnTo>
                  <a:lnTo>
                    <a:pt x="483" y="0"/>
                  </a:lnTo>
                  <a:lnTo>
                    <a:pt x="488" y="1"/>
                  </a:lnTo>
                  <a:lnTo>
                    <a:pt x="493" y="3"/>
                  </a:lnTo>
                  <a:lnTo>
                    <a:pt x="497" y="5"/>
                  </a:lnTo>
                  <a:lnTo>
                    <a:pt x="500" y="8"/>
                  </a:lnTo>
                  <a:lnTo>
                    <a:pt x="503" y="11"/>
                  </a:lnTo>
                  <a:lnTo>
                    <a:pt x="505" y="15"/>
                  </a:lnTo>
                  <a:lnTo>
                    <a:pt x="506" y="19"/>
                  </a:lnTo>
                  <a:lnTo>
                    <a:pt x="506" y="24"/>
                  </a:lnTo>
                  <a:lnTo>
                    <a:pt x="506" y="28"/>
                  </a:lnTo>
                  <a:lnTo>
                    <a:pt x="505" y="32"/>
                  </a:lnTo>
                  <a:lnTo>
                    <a:pt x="503" y="37"/>
                  </a:lnTo>
                  <a:lnTo>
                    <a:pt x="500" y="39"/>
                  </a:lnTo>
                  <a:lnTo>
                    <a:pt x="497" y="43"/>
                  </a:lnTo>
                  <a:lnTo>
                    <a:pt x="493" y="44"/>
                  </a:lnTo>
                  <a:lnTo>
                    <a:pt x="488" y="47"/>
                  </a:lnTo>
                  <a:lnTo>
                    <a:pt x="483"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137">
              <a:extLst>
                <a:ext uri="{FF2B5EF4-FFF2-40B4-BE49-F238E27FC236}">
                  <a16:creationId xmlns:a16="http://schemas.microsoft.com/office/drawing/2014/main" id="{B7A8E4B6-CCF3-4F5E-904B-2C9A6CE7EB19}"/>
                </a:ext>
              </a:extLst>
            </p:cNvPr>
            <p:cNvSpPr>
              <a:spLocks/>
            </p:cNvSpPr>
            <p:nvPr/>
          </p:nvSpPr>
          <p:spPr bwMode="auto">
            <a:xfrm>
              <a:off x="4991819" y="5477086"/>
              <a:ext cx="201613" cy="19050"/>
            </a:xfrm>
            <a:custGeom>
              <a:avLst/>
              <a:gdLst>
                <a:gd name="T0" fmla="*/ 483 w 506"/>
                <a:gd name="T1" fmla="*/ 46 h 46"/>
                <a:gd name="T2" fmla="*/ 23 w 506"/>
                <a:gd name="T3" fmla="*/ 46 h 46"/>
                <a:gd name="T4" fmla="*/ 18 w 506"/>
                <a:gd name="T5" fmla="*/ 45 h 46"/>
                <a:gd name="T6" fmla="*/ 13 w 506"/>
                <a:gd name="T7" fmla="*/ 44 h 46"/>
                <a:gd name="T8" fmla="*/ 10 w 506"/>
                <a:gd name="T9" fmla="*/ 42 h 46"/>
                <a:gd name="T10" fmla="*/ 6 w 506"/>
                <a:gd name="T11" fmla="*/ 39 h 46"/>
                <a:gd name="T12" fmla="*/ 4 w 506"/>
                <a:gd name="T13" fmla="*/ 35 h 46"/>
                <a:gd name="T14" fmla="*/ 1 w 506"/>
                <a:gd name="T15" fmla="*/ 32 h 46"/>
                <a:gd name="T16" fmla="*/ 0 w 506"/>
                <a:gd name="T17" fmla="*/ 28 h 46"/>
                <a:gd name="T18" fmla="*/ 0 w 506"/>
                <a:gd name="T19" fmla="*/ 23 h 46"/>
                <a:gd name="T20" fmla="*/ 0 w 506"/>
                <a:gd name="T21" fmla="*/ 18 h 46"/>
                <a:gd name="T22" fmla="*/ 1 w 506"/>
                <a:gd name="T23" fmla="*/ 15 h 46"/>
                <a:gd name="T24" fmla="*/ 4 w 506"/>
                <a:gd name="T25" fmla="*/ 10 h 46"/>
                <a:gd name="T26" fmla="*/ 6 w 506"/>
                <a:gd name="T27" fmla="*/ 7 h 46"/>
                <a:gd name="T28" fmla="*/ 10 w 506"/>
                <a:gd name="T29" fmla="*/ 4 h 46"/>
                <a:gd name="T30" fmla="*/ 13 w 506"/>
                <a:gd name="T31" fmla="*/ 2 h 46"/>
                <a:gd name="T32" fmla="*/ 18 w 506"/>
                <a:gd name="T33" fmla="*/ 0 h 46"/>
                <a:gd name="T34" fmla="*/ 23 w 506"/>
                <a:gd name="T35" fmla="*/ 0 h 46"/>
                <a:gd name="T36" fmla="*/ 483 w 506"/>
                <a:gd name="T37" fmla="*/ 0 h 46"/>
                <a:gd name="T38" fmla="*/ 488 w 506"/>
                <a:gd name="T39" fmla="*/ 0 h 46"/>
                <a:gd name="T40" fmla="*/ 493 w 506"/>
                <a:gd name="T41" fmla="*/ 2 h 46"/>
                <a:gd name="T42" fmla="*/ 497 w 506"/>
                <a:gd name="T43" fmla="*/ 4 h 46"/>
                <a:gd name="T44" fmla="*/ 500 w 506"/>
                <a:gd name="T45" fmla="*/ 7 h 46"/>
                <a:gd name="T46" fmla="*/ 503 w 506"/>
                <a:gd name="T47" fmla="*/ 10 h 46"/>
                <a:gd name="T48" fmla="*/ 505 w 506"/>
                <a:gd name="T49" fmla="*/ 15 h 46"/>
                <a:gd name="T50" fmla="*/ 506 w 506"/>
                <a:gd name="T51" fmla="*/ 18 h 46"/>
                <a:gd name="T52" fmla="*/ 506 w 506"/>
                <a:gd name="T53" fmla="*/ 23 h 46"/>
                <a:gd name="T54" fmla="*/ 506 w 506"/>
                <a:gd name="T55" fmla="*/ 28 h 46"/>
                <a:gd name="T56" fmla="*/ 505 w 506"/>
                <a:gd name="T57" fmla="*/ 32 h 46"/>
                <a:gd name="T58" fmla="*/ 503 w 506"/>
                <a:gd name="T59" fmla="*/ 35 h 46"/>
                <a:gd name="T60" fmla="*/ 500 w 506"/>
                <a:gd name="T61" fmla="*/ 39 h 46"/>
                <a:gd name="T62" fmla="*/ 497 w 506"/>
                <a:gd name="T63" fmla="*/ 42 h 46"/>
                <a:gd name="T64" fmla="*/ 493 w 506"/>
                <a:gd name="T65" fmla="*/ 44 h 46"/>
                <a:gd name="T66" fmla="*/ 488 w 506"/>
                <a:gd name="T67" fmla="*/ 45 h 46"/>
                <a:gd name="T68" fmla="*/ 483 w 506"/>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6" h="46">
                  <a:moveTo>
                    <a:pt x="483" y="46"/>
                  </a:moveTo>
                  <a:lnTo>
                    <a:pt x="23" y="46"/>
                  </a:lnTo>
                  <a:lnTo>
                    <a:pt x="18" y="45"/>
                  </a:lnTo>
                  <a:lnTo>
                    <a:pt x="13" y="44"/>
                  </a:lnTo>
                  <a:lnTo>
                    <a:pt x="10" y="42"/>
                  </a:lnTo>
                  <a:lnTo>
                    <a:pt x="6" y="39"/>
                  </a:lnTo>
                  <a:lnTo>
                    <a:pt x="4" y="35"/>
                  </a:lnTo>
                  <a:lnTo>
                    <a:pt x="1" y="32"/>
                  </a:lnTo>
                  <a:lnTo>
                    <a:pt x="0" y="28"/>
                  </a:lnTo>
                  <a:lnTo>
                    <a:pt x="0" y="23"/>
                  </a:lnTo>
                  <a:lnTo>
                    <a:pt x="0" y="18"/>
                  </a:lnTo>
                  <a:lnTo>
                    <a:pt x="1" y="15"/>
                  </a:lnTo>
                  <a:lnTo>
                    <a:pt x="4" y="10"/>
                  </a:lnTo>
                  <a:lnTo>
                    <a:pt x="6" y="7"/>
                  </a:lnTo>
                  <a:lnTo>
                    <a:pt x="10" y="4"/>
                  </a:lnTo>
                  <a:lnTo>
                    <a:pt x="13" y="2"/>
                  </a:lnTo>
                  <a:lnTo>
                    <a:pt x="18" y="0"/>
                  </a:lnTo>
                  <a:lnTo>
                    <a:pt x="23" y="0"/>
                  </a:lnTo>
                  <a:lnTo>
                    <a:pt x="483" y="0"/>
                  </a:lnTo>
                  <a:lnTo>
                    <a:pt x="488" y="0"/>
                  </a:lnTo>
                  <a:lnTo>
                    <a:pt x="493" y="2"/>
                  </a:lnTo>
                  <a:lnTo>
                    <a:pt x="497" y="4"/>
                  </a:lnTo>
                  <a:lnTo>
                    <a:pt x="500" y="7"/>
                  </a:lnTo>
                  <a:lnTo>
                    <a:pt x="503" y="10"/>
                  </a:lnTo>
                  <a:lnTo>
                    <a:pt x="505" y="15"/>
                  </a:lnTo>
                  <a:lnTo>
                    <a:pt x="506" y="18"/>
                  </a:lnTo>
                  <a:lnTo>
                    <a:pt x="506" y="23"/>
                  </a:lnTo>
                  <a:lnTo>
                    <a:pt x="506" y="28"/>
                  </a:lnTo>
                  <a:lnTo>
                    <a:pt x="505" y="32"/>
                  </a:lnTo>
                  <a:lnTo>
                    <a:pt x="503" y="35"/>
                  </a:lnTo>
                  <a:lnTo>
                    <a:pt x="500" y="39"/>
                  </a:lnTo>
                  <a:lnTo>
                    <a:pt x="497" y="42"/>
                  </a:lnTo>
                  <a:lnTo>
                    <a:pt x="493" y="44"/>
                  </a:lnTo>
                  <a:lnTo>
                    <a:pt x="488" y="45"/>
                  </a:lnTo>
                  <a:lnTo>
                    <a:pt x="48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138">
              <a:extLst>
                <a:ext uri="{FF2B5EF4-FFF2-40B4-BE49-F238E27FC236}">
                  <a16:creationId xmlns:a16="http://schemas.microsoft.com/office/drawing/2014/main" id="{691E9B3D-FA47-4E24-A2C7-74973D1D2FC5}"/>
                </a:ext>
              </a:extLst>
            </p:cNvPr>
            <p:cNvSpPr>
              <a:spLocks/>
            </p:cNvSpPr>
            <p:nvPr/>
          </p:nvSpPr>
          <p:spPr bwMode="auto">
            <a:xfrm>
              <a:off x="4937844" y="5240549"/>
              <a:ext cx="311150" cy="457200"/>
            </a:xfrm>
            <a:custGeom>
              <a:avLst/>
              <a:gdLst>
                <a:gd name="T0" fmla="*/ 24 w 784"/>
                <a:gd name="T1" fmla="*/ 1152 h 1152"/>
                <a:gd name="T2" fmla="*/ 15 w 784"/>
                <a:gd name="T3" fmla="*/ 1150 h 1152"/>
                <a:gd name="T4" fmla="*/ 8 w 784"/>
                <a:gd name="T5" fmla="*/ 1145 h 1152"/>
                <a:gd name="T6" fmla="*/ 3 w 784"/>
                <a:gd name="T7" fmla="*/ 1137 h 1152"/>
                <a:gd name="T8" fmla="*/ 0 w 784"/>
                <a:gd name="T9" fmla="*/ 1129 h 1152"/>
                <a:gd name="T10" fmla="*/ 1 w 784"/>
                <a:gd name="T11" fmla="*/ 203 h 1152"/>
                <a:gd name="T12" fmla="*/ 4 w 784"/>
                <a:gd name="T13" fmla="*/ 194 h 1152"/>
                <a:gd name="T14" fmla="*/ 192 w 784"/>
                <a:gd name="T15" fmla="*/ 6 h 1152"/>
                <a:gd name="T16" fmla="*/ 199 w 784"/>
                <a:gd name="T17" fmla="*/ 1 h 1152"/>
                <a:gd name="T18" fmla="*/ 208 w 784"/>
                <a:gd name="T19" fmla="*/ 0 h 1152"/>
                <a:gd name="T20" fmla="*/ 766 w 784"/>
                <a:gd name="T21" fmla="*/ 0 h 1152"/>
                <a:gd name="T22" fmla="*/ 774 w 784"/>
                <a:gd name="T23" fmla="*/ 4 h 1152"/>
                <a:gd name="T24" fmla="*/ 780 w 784"/>
                <a:gd name="T25" fmla="*/ 10 h 1152"/>
                <a:gd name="T26" fmla="*/ 783 w 784"/>
                <a:gd name="T27" fmla="*/ 19 h 1152"/>
                <a:gd name="T28" fmla="*/ 784 w 784"/>
                <a:gd name="T29" fmla="*/ 576 h 1152"/>
                <a:gd name="T30" fmla="*/ 782 w 784"/>
                <a:gd name="T31" fmla="*/ 585 h 1152"/>
                <a:gd name="T32" fmla="*/ 777 w 784"/>
                <a:gd name="T33" fmla="*/ 593 h 1152"/>
                <a:gd name="T34" fmla="*/ 769 w 784"/>
                <a:gd name="T35" fmla="*/ 598 h 1152"/>
                <a:gd name="T36" fmla="*/ 761 w 784"/>
                <a:gd name="T37" fmla="*/ 599 h 1152"/>
                <a:gd name="T38" fmla="*/ 752 w 784"/>
                <a:gd name="T39" fmla="*/ 598 h 1152"/>
                <a:gd name="T40" fmla="*/ 745 w 784"/>
                <a:gd name="T41" fmla="*/ 593 h 1152"/>
                <a:gd name="T42" fmla="*/ 740 w 784"/>
                <a:gd name="T43" fmla="*/ 585 h 1152"/>
                <a:gd name="T44" fmla="*/ 737 w 784"/>
                <a:gd name="T45" fmla="*/ 576 h 1152"/>
                <a:gd name="T46" fmla="*/ 217 w 784"/>
                <a:gd name="T47" fmla="*/ 46 h 1152"/>
                <a:gd name="T48" fmla="*/ 47 w 784"/>
                <a:gd name="T49" fmla="*/ 1105 h 1152"/>
                <a:gd name="T50" fmla="*/ 737 w 784"/>
                <a:gd name="T51" fmla="*/ 898 h 1152"/>
                <a:gd name="T52" fmla="*/ 740 w 784"/>
                <a:gd name="T53" fmla="*/ 890 h 1152"/>
                <a:gd name="T54" fmla="*/ 745 w 784"/>
                <a:gd name="T55" fmla="*/ 882 h 1152"/>
                <a:gd name="T56" fmla="*/ 752 w 784"/>
                <a:gd name="T57" fmla="*/ 877 h 1152"/>
                <a:gd name="T58" fmla="*/ 761 w 784"/>
                <a:gd name="T59" fmla="*/ 875 h 1152"/>
                <a:gd name="T60" fmla="*/ 769 w 784"/>
                <a:gd name="T61" fmla="*/ 877 h 1152"/>
                <a:gd name="T62" fmla="*/ 777 w 784"/>
                <a:gd name="T63" fmla="*/ 882 h 1152"/>
                <a:gd name="T64" fmla="*/ 782 w 784"/>
                <a:gd name="T65" fmla="*/ 890 h 1152"/>
                <a:gd name="T66" fmla="*/ 784 w 784"/>
                <a:gd name="T67" fmla="*/ 898 h 1152"/>
                <a:gd name="T68" fmla="*/ 783 w 784"/>
                <a:gd name="T69" fmla="*/ 1134 h 1152"/>
                <a:gd name="T70" fmla="*/ 780 w 784"/>
                <a:gd name="T71" fmla="*/ 1142 h 1152"/>
                <a:gd name="T72" fmla="*/ 774 w 784"/>
                <a:gd name="T73" fmla="*/ 1148 h 1152"/>
                <a:gd name="T74" fmla="*/ 766 w 784"/>
                <a:gd name="T75" fmla="*/ 115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4" h="1152">
                  <a:moveTo>
                    <a:pt x="761" y="1152"/>
                  </a:moveTo>
                  <a:lnTo>
                    <a:pt x="24" y="1152"/>
                  </a:lnTo>
                  <a:lnTo>
                    <a:pt x="19" y="1151"/>
                  </a:lnTo>
                  <a:lnTo>
                    <a:pt x="15" y="1150"/>
                  </a:lnTo>
                  <a:lnTo>
                    <a:pt x="10" y="1148"/>
                  </a:lnTo>
                  <a:lnTo>
                    <a:pt x="8" y="1145"/>
                  </a:lnTo>
                  <a:lnTo>
                    <a:pt x="4" y="1142"/>
                  </a:lnTo>
                  <a:lnTo>
                    <a:pt x="3" y="1137"/>
                  </a:lnTo>
                  <a:lnTo>
                    <a:pt x="1" y="1134"/>
                  </a:lnTo>
                  <a:lnTo>
                    <a:pt x="0" y="1129"/>
                  </a:lnTo>
                  <a:lnTo>
                    <a:pt x="0" y="208"/>
                  </a:lnTo>
                  <a:lnTo>
                    <a:pt x="1" y="203"/>
                  </a:lnTo>
                  <a:lnTo>
                    <a:pt x="3" y="199"/>
                  </a:lnTo>
                  <a:lnTo>
                    <a:pt x="4" y="194"/>
                  </a:lnTo>
                  <a:lnTo>
                    <a:pt x="8" y="190"/>
                  </a:lnTo>
                  <a:lnTo>
                    <a:pt x="192" y="6"/>
                  </a:lnTo>
                  <a:lnTo>
                    <a:pt x="195" y="4"/>
                  </a:lnTo>
                  <a:lnTo>
                    <a:pt x="199" y="1"/>
                  </a:lnTo>
                  <a:lnTo>
                    <a:pt x="204" y="0"/>
                  </a:lnTo>
                  <a:lnTo>
                    <a:pt x="208" y="0"/>
                  </a:lnTo>
                  <a:lnTo>
                    <a:pt x="761" y="0"/>
                  </a:lnTo>
                  <a:lnTo>
                    <a:pt x="766" y="0"/>
                  </a:lnTo>
                  <a:lnTo>
                    <a:pt x="769" y="1"/>
                  </a:lnTo>
                  <a:lnTo>
                    <a:pt x="774" y="4"/>
                  </a:lnTo>
                  <a:lnTo>
                    <a:pt x="777" y="6"/>
                  </a:lnTo>
                  <a:lnTo>
                    <a:pt x="780" y="10"/>
                  </a:lnTo>
                  <a:lnTo>
                    <a:pt x="782" y="14"/>
                  </a:lnTo>
                  <a:lnTo>
                    <a:pt x="783" y="19"/>
                  </a:lnTo>
                  <a:lnTo>
                    <a:pt x="784" y="24"/>
                  </a:lnTo>
                  <a:lnTo>
                    <a:pt x="784" y="576"/>
                  </a:lnTo>
                  <a:lnTo>
                    <a:pt x="783" y="580"/>
                  </a:lnTo>
                  <a:lnTo>
                    <a:pt x="782" y="585"/>
                  </a:lnTo>
                  <a:lnTo>
                    <a:pt x="780" y="589"/>
                  </a:lnTo>
                  <a:lnTo>
                    <a:pt x="777" y="593"/>
                  </a:lnTo>
                  <a:lnTo>
                    <a:pt x="774" y="595"/>
                  </a:lnTo>
                  <a:lnTo>
                    <a:pt x="769" y="598"/>
                  </a:lnTo>
                  <a:lnTo>
                    <a:pt x="766" y="599"/>
                  </a:lnTo>
                  <a:lnTo>
                    <a:pt x="761" y="599"/>
                  </a:lnTo>
                  <a:lnTo>
                    <a:pt x="756" y="599"/>
                  </a:lnTo>
                  <a:lnTo>
                    <a:pt x="752" y="598"/>
                  </a:lnTo>
                  <a:lnTo>
                    <a:pt x="748" y="595"/>
                  </a:lnTo>
                  <a:lnTo>
                    <a:pt x="745" y="593"/>
                  </a:lnTo>
                  <a:lnTo>
                    <a:pt x="741" y="589"/>
                  </a:lnTo>
                  <a:lnTo>
                    <a:pt x="740" y="585"/>
                  </a:lnTo>
                  <a:lnTo>
                    <a:pt x="739" y="580"/>
                  </a:lnTo>
                  <a:lnTo>
                    <a:pt x="737" y="576"/>
                  </a:lnTo>
                  <a:lnTo>
                    <a:pt x="737" y="46"/>
                  </a:lnTo>
                  <a:lnTo>
                    <a:pt x="217" y="46"/>
                  </a:lnTo>
                  <a:lnTo>
                    <a:pt x="47" y="217"/>
                  </a:lnTo>
                  <a:lnTo>
                    <a:pt x="47" y="1105"/>
                  </a:lnTo>
                  <a:lnTo>
                    <a:pt x="737" y="1105"/>
                  </a:lnTo>
                  <a:lnTo>
                    <a:pt x="737" y="898"/>
                  </a:lnTo>
                  <a:lnTo>
                    <a:pt x="739" y="893"/>
                  </a:lnTo>
                  <a:lnTo>
                    <a:pt x="740" y="890"/>
                  </a:lnTo>
                  <a:lnTo>
                    <a:pt x="741" y="886"/>
                  </a:lnTo>
                  <a:lnTo>
                    <a:pt x="745" y="882"/>
                  </a:lnTo>
                  <a:lnTo>
                    <a:pt x="748" y="880"/>
                  </a:lnTo>
                  <a:lnTo>
                    <a:pt x="752" y="877"/>
                  </a:lnTo>
                  <a:lnTo>
                    <a:pt x="756" y="876"/>
                  </a:lnTo>
                  <a:lnTo>
                    <a:pt x="761" y="875"/>
                  </a:lnTo>
                  <a:lnTo>
                    <a:pt x="766" y="876"/>
                  </a:lnTo>
                  <a:lnTo>
                    <a:pt x="769" y="877"/>
                  </a:lnTo>
                  <a:lnTo>
                    <a:pt x="774" y="880"/>
                  </a:lnTo>
                  <a:lnTo>
                    <a:pt x="777" y="882"/>
                  </a:lnTo>
                  <a:lnTo>
                    <a:pt x="780" y="886"/>
                  </a:lnTo>
                  <a:lnTo>
                    <a:pt x="782" y="890"/>
                  </a:lnTo>
                  <a:lnTo>
                    <a:pt x="783" y="893"/>
                  </a:lnTo>
                  <a:lnTo>
                    <a:pt x="784" y="898"/>
                  </a:lnTo>
                  <a:lnTo>
                    <a:pt x="784" y="1129"/>
                  </a:lnTo>
                  <a:lnTo>
                    <a:pt x="783" y="1134"/>
                  </a:lnTo>
                  <a:lnTo>
                    <a:pt x="782" y="1137"/>
                  </a:lnTo>
                  <a:lnTo>
                    <a:pt x="780" y="1142"/>
                  </a:lnTo>
                  <a:lnTo>
                    <a:pt x="777" y="1145"/>
                  </a:lnTo>
                  <a:lnTo>
                    <a:pt x="774" y="1148"/>
                  </a:lnTo>
                  <a:lnTo>
                    <a:pt x="769" y="1150"/>
                  </a:lnTo>
                  <a:lnTo>
                    <a:pt x="766" y="1151"/>
                  </a:lnTo>
                  <a:lnTo>
                    <a:pt x="761" y="1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39">
              <a:extLst>
                <a:ext uri="{FF2B5EF4-FFF2-40B4-BE49-F238E27FC236}">
                  <a16:creationId xmlns:a16="http://schemas.microsoft.com/office/drawing/2014/main" id="{379A1E1D-EBBC-4B70-AA9B-ED8CE1B11A18}"/>
                </a:ext>
              </a:extLst>
            </p:cNvPr>
            <p:cNvSpPr>
              <a:spLocks/>
            </p:cNvSpPr>
            <p:nvPr/>
          </p:nvSpPr>
          <p:spPr bwMode="auto">
            <a:xfrm>
              <a:off x="4937844" y="5240549"/>
              <a:ext cx="90488" cy="90488"/>
            </a:xfrm>
            <a:custGeom>
              <a:avLst/>
              <a:gdLst>
                <a:gd name="T0" fmla="*/ 208 w 231"/>
                <a:gd name="T1" fmla="*/ 231 h 231"/>
                <a:gd name="T2" fmla="*/ 24 w 231"/>
                <a:gd name="T3" fmla="*/ 231 h 231"/>
                <a:gd name="T4" fmla="*/ 19 w 231"/>
                <a:gd name="T5" fmla="*/ 230 h 231"/>
                <a:gd name="T6" fmla="*/ 15 w 231"/>
                <a:gd name="T7" fmla="*/ 228 h 231"/>
                <a:gd name="T8" fmla="*/ 10 w 231"/>
                <a:gd name="T9" fmla="*/ 226 h 231"/>
                <a:gd name="T10" fmla="*/ 8 w 231"/>
                <a:gd name="T11" fmla="*/ 223 h 231"/>
                <a:gd name="T12" fmla="*/ 4 w 231"/>
                <a:gd name="T13" fmla="*/ 220 h 231"/>
                <a:gd name="T14" fmla="*/ 3 w 231"/>
                <a:gd name="T15" fmla="*/ 216 h 231"/>
                <a:gd name="T16" fmla="*/ 1 w 231"/>
                <a:gd name="T17" fmla="*/ 212 h 231"/>
                <a:gd name="T18" fmla="*/ 0 w 231"/>
                <a:gd name="T19" fmla="*/ 208 h 231"/>
                <a:gd name="T20" fmla="*/ 1 w 231"/>
                <a:gd name="T21" fmla="*/ 203 h 231"/>
                <a:gd name="T22" fmla="*/ 3 w 231"/>
                <a:gd name="T23" fmla="*/ 198 h 231"/>
                <a:gd name="T24" fmla="*/ 4 w 231"/>
                <a:gd name="T25" fmla="*/ 194 h 231"/>
                <a:gd name="T26" fmla="*/ 8 w 231"/>
                <a:gd name="T27" fmla="*/ 190 h 231"/>
                <a:gd name="T28" fmla="*/ 10 w 231"/>
                <a:gd name="T29" fmla="*/ 188 h 231"/>
                <a:gd name="T30" fmla="*/ 15 w 231"/>
                <a:gd name="T31" fmla="*/ 185 h 231"/>
                <a:gd name="T32" fmla="*/ 19 w 231"/>
                <a:gd name="T33" fmla="*/ 184 h 231"/>
                <a:gd name="T34" fmla="*/ 24 w 231"/>
                <a:gd name="T35" fmla="*/ 184 h 231"/>
                <a:gd name="T36" fmla="*/ 184 w 231"/>
                <a:gd name="T37" fmla="*/ 184 h 231"/>
                <a:gd name="T38" fmla="*/ 184 w 231"/>
                <a:gd name="T39" fmla="*/ 24 h 231"/>
                <a:gd name="T40" fmla="*/ 185 w 231"/>
                <a:gd name="T41" fmla="*/ 19 h 231"/>
                <a:gd name="T42" fmla="*/ 187 w 231"/>
                <a:gd name="T43" fmla="*/ 14 h 231"/>
                <a:gd name="T44" fmla="*/ 189 w 231"/>
                <a:gd name="T45" fmla="*/ 10 h 231"/>
                <a:gd name="T46" fmla="*/ 192 w 231"/>
                <a:gd name="T47" fmla="*/ 6 h 231"/>
                <a:gd name="T48" fmla="*/ 195 w 231"/>
                <a:gd name="T49" fmla="*/ 4 h 231"/>
                <a:gd name="T50" fmla="*/ 199 w 231"/>
                <a:gd name="T51" fmla="*/ 1 h 231"/>
                <a:gd name="T52" fmla="*/ 203 w 231"/>
                <a:gd name="T53" fmla="*/ 0 h 231"/>
                <a:gd name="T54" fmla="*/ 208 w 231"/>
                <a:gd name="T55" fmla="*/ 0 h 231"/>
                <a:gd name="T56" fmla="*/ 212 w 231"/>
                <a:gd name="T57" fmla="*/ 0 h 231"/>
                <a:gd name="T58" fmla="*/ 217 w 231"/>
                <a:gd name="T59" fmla="*/ 1 h 231"/>
                <a:gd name="T60" fmla="*/ 221 w 231"/>
                <a:gd name="T61" fmla="*/ 4 h 231"/>
                <a:gd name="T62" fmla="*/ 225 w 231"/>
                <a:gd name="T63" fmla="*/ 6 h 231"/>
                <a:gd name="T64" fmla="*/ 227 w 231"/>
                <a:gd name="T65" fmla="*/ 10 h 231"/>
                <a:gd name="T66" fmla="*/ 230 w 231"/>
                <a:gd name="T67" fmla="*/ 14 h 231"/>
                <a:gd name="T68" fmla="*/ 231 w 231"/>
                <a:gd name="T69" fmla="*/ 19 h 231"/>
                <a:gd name="T70" fmla="*/ 231 w 231"/>
                <a:gd name="T71" fmla="*/ 24 h 231"/>
                <a:gd name="T72" fmla="*/ 231 w 231"/>
                <a:gd name="T73" fmla="*/ 208 h 231"/>
                <a:gd name="T74" fmla="*/ 231 w 231"/>
                <a:gd name="T75" fmla="*/ 212 h 231"/>
                <a:gd name="T76" fmla="*/ 230 w 231"/>
                <a:gd name="T77" fmla="*/ 216 h 231"/>
                <a:gd name="T78" fmla="*/ 227 w 231"/>
                <a:gd name="T79" fmla="*/ 220 h 231"/>
                <a:gd name="T80" fmla="*/ 225 w 231"/>
                <a:gd name="T81" fmla="*/ 223 h 231"/>
                <a:gd name="T82" fmla="*/ 221 w 231"/>
                <a:gd name="T83" fmla="*/ 226 h 231"/>
                <a:gd name="T84" fmla="*/ 217 w 231"/>
                <a:gd name="T85" fmla="*/ 228 h 231"/>
                <a:gd name="T86" fmla="*/ 212 w 231"/>
                <a:gd name="T87" fmla="*/ 230 h 231"/>
                <a:gd name="T88" fmla="*/ 208 w 231"/>
                <a:gd name="T89"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1" h="231">
                  <a:moveTo>
                    <a:pt x="208" y="231"/>
                  </a:moveTo>
                  <a:lnTo>
                    <a:pt x="24" y="231"/>
                  </a:lnTo>
                  <a:lnTo>
                    <a:pt x="19" y="230"/>
                  </a:lnTo>
                  <a:lnTo>
                    <a:pt x="15" y="228"/>
                  </a:lnTo>
                  <a:lnTo>
                    <a:pt x="10" y="226"/>
                  </a:lnTo>
                  <a:lnTo>
                    <a:pt x="8" y="223"/>
                  </a:lnTo>
                  <a:lnTo>
                    <a:pt x="4" y="220"/>
                  </a:lnTo>
                  <a:lnTo>
                    <a:pt x="3" y="216"/>
                  </a:lnTo>
                  <a:lnTo>
                    <a:pt x="1" y="212"/>
                  </a:lnTo>
                  <a:lnTo>
                    <a:pt x="0" y="208"/>
                  </a:lnTo>
                  <a:lnTo>
                    <a:pt x="1" y="203"/>
                  </a:lnTo>
                  <a:lnTo>
                    <a:pt x="3" y="198"/>
                  </a:lnTo>
                  <a:lnTo>
                    <a:pt x="4" y="194"/>
                  </a:lnTo>
                  <a:lnTo>
                    <a:pt x="8" y="190"/>
                  </a:lnTo>
                  <a:lnTo>
                    <a:pt x="10" y="188"/>
                  </a:lnTo>
                  <a:lnTo>
                    <a:pt x="15" y="185"/>
                  </a:lnTo>
                  <a:lnTo>
                    <a:pt x="19" y="184"/>
                  </a:lnTo>
                  <a:lnTo>
                    <a:pt x="24" y="184"/>
                  </a:lnTo>
                  <a:lnTo>
                    <a:pt x="184" y="184"/>
                  </a:lnTo>
                  <a:lnTo>
                    <a:pt x="184" y="24"/>
                  </a:lnTo>
                  <a:lnTo>
                    <a:pt x="185" y="19"/>
                  </a:lnTo>
                  <a:lnTo>
                    <a:pt x="187" y="14"/>
                  </a:lnTo>
                  <a:lnTo>
                    <a:pt x="189" y="10"/>
                  </a:lnTo>
                  <a:lnTo>
                    <a:pt x="192" y="6"/>
                  </a:lnTo>
                  <a:lnTo>
                    <a:pt x="195" y="4"/>
                  </a:lnTo>
                  <a:lnTo>
                    <a:pt x="199" y="1"/>
                  </a:lnTo>
                  <a:lnTo>
                    <a:pt x="203" y="0"/>
                  </a:lnTo>
                  <a:lnTo>
                    <a:pt x="208" y="0"/>
                  </a:lnTo>
                  <a:lnTo>
                    <a:pt x="212" y="0"/>
                  </a:lnTo>
                  <a:lnTo>
                    <a:pt x="217" y="1"/>
                  </a:lnTo>
                  <a:lnTo>
                    <a:pt x="221" y="4"/>
                  </a:lnTo>
                  <a:lnTo>
                    <a:pt x="225" y="6"/>
                  </a:lnTo>
                  <a:lnTo>
                    <a:pt x="227" y="10"/>
                  </a:lnTo>
                  <a:lnTo>
                    <a:pt x="230" y="14"/>
                  </a:lnTo>
                  <a:lnTo>
                    <a:pt x="231" y="19"/>
                  </a:lnTo>
                  <a:lnTo>
                    <a:pt x="231" y="24"/>
                  </a:lnTo>
                  <a:lnTo>
                    <a:pt x="231" y="208"/>
                  </a:lnTo>
                  <a:lnTo>
                    <a:pt x="231" y="212"/>
                  </a:lnTo>
                  <a:lnTo>
                    <a:pt x="230" y="216"/>
                  </a:lnTo>
                  <a:lnTo>
                    <a:pt x="227" y="220"/>
                  </a:lnTo>
                  <a:lnTo>
                    <a:pt x="225" y="223"/>
                  </a:lnTo>
                  <a:lnTo>
                    <a:pt x="221" y="226"/>
                  </a:lnTo>
                  <a:lnTo>
                    <a:pt x="217" y="228"/>
                  </a:lnTo>
                  <a:lnTo>
                    <a:pt x="212" y="230"/>
                  </a:lnTo>
                  <a:lnTo>
                    <a:pt x="208"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40">
              <a:extLst>
                <a:ext uri="{FF2B5EF4-FFF2-40B4-BE49-F238E27FC236}">
                  <a16:creationId xmlns:a16="http://schemas.microsoft.com/office/drawing/2014/main" id="{25AB3245-010F-4459-920E-A39090A0E59E}"/>
                </a:ext>
              </a:extLst>
            </p:cNvPr>
            <p:cNvSpPr>
              <a:spLocks/>
            </p:cNvSpPr>
            <p:nvPr/>
          </p:nvSpPr>
          <p:spPr bwMode="auto">
            <a:xfrm>
              <a:off x="5047382" y="5550111"/>
              <a:ext cx="165100" cy="74613"/>
            </a:xfrm>
            <a:custGeom>
              <a:avLst/>
              <a:gdLst>
                <a:gd name="T0" fmla="*/ 300 w 415"/>
                <a:gd name="T1" fmla="*/ 185 h 185"/>
                <a:gd name="T2" fmla="*/ 290 w 415"/>
                <a:gd name="T3" fmla="*/ 183 h 185"/>
                <a:gd name="T4" fmla="*/ 283 w 415"/>
                <a:gd name="T5" fmla="*/ 178 h 185"/>
                <a:gd name="T6" fmla="*/ 278 w 415"/>
                <a:gd name="T7" fmla="*/ 170 h 185"/>
                <a:gd name="T8" fmla="*/ 276 w 415"/>
                <a:gd name="T9" fmla="*/ 162 h 185"/>
                <a:gd name="T10" fmla="*/ 218 w 415"/>
                <a:gd name="T11" fmla="*/ 183 h 185"/>
                <a:gd name="T12" fmla="*/ 204 w 415"/>
                <a:gd name="T13" fmla="*/ 184 h 185"/>
                <a:gd name="T14" fmla="*/ 192 w 415"/>
                <a:gd name="T15" fmla="*/ 179 h 185"/>
                <a:gd name="T16" fmla="*/ 186 w 415"/>
                <a:gd name="T17" fmla="*/ 168 h 185"/>
                <a:gd name="T18" fmla="*/ 186 w 415"/>
                <a:gd name="T19" fmla="*/ 154 h 185"/>
                <a:gd name="T20" fmla="*/ 202 w 415"/>
                <a:gd name="T21" fmla="*/ 91 h 185"/>
                <a:gd name="T22" fmla="*/ 205 w 415"/>
                <a:gd name="T23" fmla="*/ 64 h 185"/>
                <a:gd name="T24" fmla="*/ 204 w 415"/>
                <a:gd name="T25" fmla="*/ 46 h 185"/>
                <a:gd name="T26" fmla="*/ 177 w 415"/>
                <a:gd name="T27" fmla="*/ 60 h 185"/>
                <a:gd name="T28" fmla="*/ 138 w 415"/>
                <a:gd name="T29" fmla="*/ 89 h 185"/>
                <a:gd name="T30" fmla="*/ 90 w 415"/>
                <a:gd name="T31" fmla="*/ 130 h 185"/>
                <a:gd name="T32" fmla="*/ 40 w 415"/>
                <a:gd name="T33" fmla="*/ 178 h 185"/>
                <a:gd name="T34" fmla="*/ 31 w 415"/>
                <a:gd name="T35" fmla="*/ 183 h 185"/>
                <a:gd name="T36" fmla="*/ 23 w 415"/>
                <a:gd name="T37" fmla="*/ 185 h 185"/>
                <a:gd name="T38" fmla="*/ 14 w 415"/>
                <a:gd name="T39" fmla="*/ 183 h 185"/>
                <a:gd name="T40" fmla="*/ 7 w 415"/>
                <a:gd name="T41" fmla="*/ 178 h 185"/>
                <a:gd name="T42" fmla="*/ 2 w 415"/>
                <a:gd name="T43" fmla="*/ 170 h 185"/>
                <a:gd name="T44" fmla="*/ 0 w 415"/>
                <a:gd name="T45" fmla="*/ 162 h 185"/>
                <a:gd name="T46" fmla="*/ 2 w 415"/>
                <a:gd name="T47" fmla="*/ 153 h 185"/>
                <a:gd name="T48" fmla="*/ 7 w 415"/>
                <a:gd name="T49" fmla="*/ 146 h 185"/>
                <a:gd name="T50" fmla="*/ 45 w 415"/>
                <a:gd name="T51" fmla="*/ 108 h 185"/>
                <a:gd name="T52" fmla="*/ 100 w 415"/>
                <a:gd name="T53" fmla="*/ 60 h 185"/>
                <a:gd name="T54" fmla="*/ 130 w 415"/>
                <a:gd name="T55" fmla="*/ 37 h 185"/>
                <a:gd name="T56" fmla="*/ 159 w 415"/>
                <a:gd name="T57" fmla="*/ 18 h 185"/>
                <a:gd name="T58" fmla="*/ 186 w 415"/>
                <a:gd name="T59" fmla="*/ 5 h 185"/>
                <a:gd name="T60" fmla="*/ 208 w 415"/>
                <a:gd name="T61" fmla="*/ 0 h 185"/>
                <a:gd name="T62" fmla="*/ 226 w 415"/>
                <a:gd name="T63" fmla="*/ 5 h 185"/>
                <a:gd name="T64" fmla="*/ 240 w 415"/>
                <a:gd name="T65" fmla="*/ 17 h 185"/>
                <a:gd name="T66" fmla="*/ 248 w 415"/>
                <a:gd name="T67" fmla="*/ 37 h 185"/>
                <a:gd name="T68" fmla="*/ 251 w 415"/>
                <a:gd name="T69" fmla="*/ 61 h 185"/>
                <a:gd name="T70" fmla="*/ 248 w 415"/>
                <a:gd name="T71" fmla="*/ 89 h 185"/>
                <a:gd name="T72" fmla="*/ 243 w 415"/>
                <a:gd name="T73" fmla="*/ 118 h 185"/>
                <a:gd name="T74" fmla="*/ 295 w 415"/>
                <a:gd name="T75" fmla="*/ 93 h 185"/>
                <a:gd name="T76" fmla="*/ 306 w 415"/>
                <a:gd name="T77" fmla="*/ 93 h 185"/>
                <a:gd name="T78" fmla="*/ 316 w 415"/>
                <a:gd name="T79" fmla="*/ 99 h 185"/>
                <a:gd name="T80" fmla="*/ 322 w 415"/>
                <a:gd name="T81" fmla="*/ 109 h 185"/>
                <a:gd name="T82" fmla="*/ 323 w 415"/>
                <a:gd name="T83" fmla="*/ 138 h 185"/>
                <a:gd name="T84" fmla="*/ 397 w 415"/>
                <a:gd name="T85" fmla="*/ 138 h 185"/>
                <a:gd name="T86" fmla="*/ 404 w 415"/>
                <a:gd name="T87" fmla="*/ 142 h 185"/>
                <a:gd name="T88" fmla="*/ 410 w 415"/>
                <a:gd name="T89" fmla="*/ 148 h 185"/>
                <a:gd name="T90" fmla="*/ 414 w 415"/>
                <a:gd name="T91" fmla="*/ 157 h 185"/>
                <a:gd name="T92" fmla="*/ 414 w 415"/>
                <a:gd name="T93" fmla="*/ 167 h 185"/>
                <a:gd name="T94" fmla="*/ 410 w 415"/>
                <a:gd name="T95" fmla="*/ 174 h 185"/>
                <a:gd name="T96" fmla="*/ 404 w 415"/>
                <a:gd name="T97" fmla="*/ 180 h 185"/>
                <a:gd name="T98" fmla="*/ 397 w 415"/>
                <a:gd name="T99"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5" h="185">
                  <a:moveTo>
                    <a:pt x="392" y="185"/>
                  </a:moveTo>
                  <a:lnTo>
                    <a:pt x="300" y="185"/>
                  </a:lnTo>
                  <a:lnTo>
                    <a:pt x="295" y="184"/>
                  </a:lnTo>
                  <a:lnTo>
                    <a:pt x="290" y="183"/>
                  </a:lnTo>
                  <a:lnTo>
                    <a:pt x="286" y="180"/>
                  </a:lnTo>
                  <a:lnTo>
                    <a:pt x="283" y="178"/>
                  </a:lnTo>
                  <a:lnTo>
                    <a:pt x="280" y="174"/>
                  </a:lnTo>
                  <a:lnTo>
                    <a:pt x="278" y="170"/>
                  </a:lnTo>
                  <a:lnTo>
                    <a:pt x="276" y="167"/>
                  </a:lnTo>
                  <a:lnTo>
                    <a:pt x="276" y="162"/>
                  </a:lnTo>
                  <a:lnTo>
                    <a:pt x="276" y="153"/>
                  </a:lnTo>
                  <a:lnTo>
                    <a:pt x="218" y="183"/>
                  </a:lnTo>
                  <a:lnTo>
                    <a:pt x="211" y="184"/>
                  </a:lnTo>
                  <a:lnTo>
                    <a:pt x="204" y="184"/>
                  </a:lnTo>
                  <a:lnTo>
                    <a:pt x="198" y="183"/>
                  </a:lnTo>
                  <a:lnTo>
                    <a:pt x="192" y="179"/>
                  </a:lnTo>
                  <a:lnTo>
                    <a:pt x="188" y="174"/>
                  </a:lnTo>
                  <a:lnTo>
                    <a:pt x="186" y="168"/>
                  </a:lnTo>
                  <a:lnTo>
                    <a:pt x="184" y="161"/>
                  </a:lnTo>
                  <a:lnTo>
                    <a:pt x="186" y="154"/>
                  </a:lnTo>
                  <a:lnTo>
                    <a:pt x="195" y="121"/>
                  </a:lnTo>
                  <a:lnTo>
                    <a:pt x="202" y="91"/>
                  </a:lnTo>
                  <a:lnTo>
                    <a:pt x="204" y="76"/>
                  </a:lnTo>
                  <a:lnTo>
                    <a:pt x="205" y="64"/>
                  </a:lnTo>
                  <a:lnTo>
                    <a:pt x="205" y="54"/>
                  </a:lnTo>
                  <a:lnTo>
                    <a:pt x="204" y="46"/>
                  </a:lnTo>
                  <a:lnTo>
                    <a:pt x="193" y="51"/>
                  </a:lnTo>
                  <a:lnTo>
                    <a:pt x="177" y="60"/>
                  </a:lnTo>
                  <a:lnTo>
                    <a:pt x="159" y="73"/>
                  </a:lnTo>
                  <a:lnTo>
                    <a:pt x="138" y="89"/>
                  </a:lnTo>
                  <a:lnTo>
                    <a:pt x="115" y="108"/>
                  </a:lnTo>
                  <a:lnTo>
                    <a:pt x="90" y="130"/>
                  </a:lnTo>
                  <a:lnTo>
                    <a:pt x="64" y="153"/>
                  </a:lnTo>
                  <a:lnTo>
                    <a:pt x="40" y="178"/>
                  </a:lnTo>
                  <a:lnTo>
                    <a:pt x="36" y="181"/>
                  </a:lnTo>
                  <a:lnTo>
                    <a:pt x="31" y="183"/>
                  </a:lnTo>
                  <a:lnTo>
                    <a:pt x="27" y="184"/>
                  </a:lnTo>
                  <a:lnTo>
                    <a:pt x="23" y="185"/>
                  </a:lnTo>
                  <a:lnTo>
                    <a:pt x="19" y="184"/>
                  </a:lnTo>
                  <a:lnTo>
                    <a:pt x="14" y="183"/>
                  </a:lnTo>
                  <a:lnTo>
                    <a:pt x="10" y="181"/>
                  </a:lnTo>
                  <a:lnTo>
                    <a:pt x="7" y="178"/>
                  </a:lnTo>
                  <a:lnTo>
                    <a:pt x="4" y="174"/>
                  </a:lnTo>
                  <a:lnTo>
                    <a:pt x="2" y="170"/>
                  </a:lnTo>
                  <a:lnTo>
                    <a:pt x="0" y="165"/>
                  </a:lnTo>
                  <a:lnTo>
                    <a:pt x="0" y="162"/>
                  </a:lnTo>
                  <a:lnTo>
                    <a:pt x="0" y="157"/>
                  </a:lnTo>
                  <a:lnTo>
                    <a:pt x="2" y="153"/>
                  </a:lnTo>
                  <a:lnTo>
                    <a:pt x="4" y="148"/>
                  </a:lnTo>
                  <a:lnTo>
                    <a:pt x="7" y="146"/>
                  </a:lnTo>
                  <a:lnTo>
                    <a:pt x="23" y="129"/>
                  </a:lnTo>
                  <a:lnTo>
                    <a:pt x="45" y="108"/>
                  </a:lnTo>
                  <a:lnTo>
                    <a:pt x="72" y="84"/>
                  </a:lnTo>
                  <a:lnTo>
                    <a:pt x="100" y="60"/>
                  </a:lnTo>
                  <a:lnTo>
                    <a:pt x="116" y="48"/>
                  </a:lnTo>
                  <a:lnTo>
                    <a:pt x="130" y="37"/>
                  </a:lnTo>
                  <a:lnTo>
                    <a:pt x="145" y="27"/>
                  </a:lnTo>
                  <a:lnTo>
                    <a:pt x="159" y="18"/>
                  </a:lnTo>
                  <a:lnTo>
                    <a:pt x="172" y="11"/>
                  </a:lnTo>
                  <a:lnTo>
                    <a:pt x="186" y="5"/>
                  </a:lnTo>
                  <a:lnTo>
                    <a:pt x="197" y="1"/>
                  </a:lnTo>
                  <a:lnTo>
                    <a:pt x="208" y="0"/>
                  </a:lnTo>
                  <a:lnTo>
                    <a:pt x="218" y="1"/>
                  </a:lnTo>
                  <a:lnTo>
                    <a:pt x="226" y="5"/>
                  </a:lnTo>
                  <a:lnTo>
                    <a:pt x="233" y="10"/>
                  </a:lnTo>
                  <a:lnTo>
                    <a:pt x="240" y="17"/>
                  </a:lnTo>
                  <a:lnTo>
                    <a:pt x="245" y="26"/>
                  </a:lnTo>
                  <a:lnTo>
                    <a:pt x="248" y="37"/>
                  </a:lnTo>
                  <a:lnTo>
                    <a:pt x="251" y="49"/>
                  </a:lnTo>
                  <a:lnTo>
                    <a:pt x="251" y="61"/>
                  </a:lnTo>
                  <a:lnTo>
                    <a:pt x="251" y="76"/>
                  </a:lnTo>
                  <a:lnTo>
                    <a:pt x="248" y="89"/>
                  </a:lnTo>
                  <a:lnTo>
                    <a:pt x="246" y="104"/>
                  </a:lnTo>
                  <a:lnTo>
                    <a:pt x="243" y="118"/>
                  </a:lnTo>
                  <a:lnTo>
                    <a:pt x="289" y="94"/>
                  </a:lnTo>
                  <a:lnTo>
                    <a:pt x="295" y="93"/>
                  </a:lnTo>
                  <a:lnTo>
                    <a:pt x="301" y="92"/>
                  </a:lnTo>
                  <a:lnTo>
                    <a:pt x="306" y="93"/>
                  </a:lnTo>
                  <a:lnTo>
                    <a:pt x="312" y="96"/>
                  </a:lnTo>
                  <a:lnTo>
                    <a:pt x="316" y="99"/>
                  </a:lnTo>
                  <a:lnTo>
                    <a:pt x="319" y="104"/>
                  </a:lnTo>
                  <a:lnTo>
                    <a:pt x="322" y="109"/>
                  </a:lnTo>
                  <a:lnTo>
                    <a:pt x="323" y="115"/>
                  </a:lnTo>
                  <a:lnTo>
                    <a:pt x="323" y="138"/>
                  </a:lnTo>
                  <a:lnTo>
                    <a:pt x="392" y="138"/>
                  </a:lnTo>
                  <a:lnTo>
                    <a:pt x="397" y="138"/>
                  </a:lnTo>
                  <a:lnTo>
                    <a:pt x="400" y="141"/>
                  </a:lnTo>
                  <a:lnTo>
                    <a:pt x="404" y="142"/>
                  </a:lnTo>
                  <a:lnTo>
                    <a:pt x="408" y="146"/>
                  </a:lnTo>
                  <a:lnTo>
                    <a:pt x="410" y="148"/>
                  </a:lnTo>
                  <a:lnTo>
                    <a:pt x="413" y="153"/>
                  </a:lnTo>
                  <a:lnTo>
                    <a:pt x="414" y="157"/>
                  </a:lnTo>
                  <a:lnTo>
                    <a:pt x="415" y="162"/>
                  </a:lnTo>
                  <a:lnTo>
                    <a:pt x="414" y="167"/>
                  </a:lnTo>
                  <a:lnTo>
                    <a:pt x="413" y="170"/>
                  </a:lnTo>
                  <a:lnTo>
                    <a:pt x="410" y="174"/>
                  </a:lnTo>
                  <a:lnTo>
                    <a:pt x="408" y="178"/>
                  </a:lnTo>
                  <a:lnTo>
                    <a:pt x="404" y="180"/>
                  </a:lnTo>
                  <a:lnTo>
                    <a:pt x="400" y="183"/>
                  </a:lnTo>
                  <a:lnTo>
                    <a:pt x="397" y="184"/>
                  </a:lnTo>
                  <a:lnTo>
                    <a:pt x="392"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41">
              <a:extLst>
                <a:ext uri="{FF2B5EF4-FFF2-40B4-BE49-F238E27FC236}">
                  <a16:creationId xmlns:a16="http://schemas.microsoft.com/office/drawing/2014/main" id="{E38308D9-5229-4442-9F8C-6CD925504EAD}"/>
                </a:ext>
              </a:extLst>
            </p:cNvPr>
            <p:cNvSpPr>
              <a:spLocks/>
            </p:cNvSpPr>
            <p:nvPr/>
          </p:nvSpPr>
          <p:spPr bwMode="auto">
            <a:xfrm>
              <a:off x="5196607" y="5404061"/>
              <a:ext cx="125413" cy="188913"/>
            </a:xfrm>
            <a:custGeom>
              <a:avLst/>
              <a:gdLst>
                <a:gd name="T0" fmla="*/ 22 w 316"/>
                <a:gd name="T1" fmla="*/ 475 h 475"/>
                <a:gd name="T2" fmla="*/ 15 w 316"/>
                <a:gd name="T3" fmla="*/ 473 h 475"/>
                <a:gd name="T4" fmla="*/ 9 w 316"/>
                <a:gd name="T5" fmla="*/ 471 h 475"/>
                <a:gd name="T6" fmla="*/ 6 w 316"/>
                <a:gd name="T7" fmla="*/ 467 h 475"/>
                <a:gd name="T8" fmla="*/ 3 w 316"/>
                <a:gd name="T9" fmla="*/ 464 h 475"/>
                <a:gd name="T10" fmla="*/ 1 w 316"/>
                <a:gd name="T11" fmla="*/ 460 h 475"/>
                <a:gd name="T12" fmla="*/ 0 w 316"/>
                <a:gd name="T13" fmla="*/ 456 h 475"/>
                <a:gd name="T14" fmla="*/ 0 w 316"/>
                <a:gd name="T15" fmla="*/ 451 h 475"/>
                <a:gd name="T16" fmla="*/ 0 w 316"/>
                <a:gd name="T17" fmla="*/ 448 h 475"/>
                <a:gd name="T18" fmla="*/ 1 w 316"/>
                <a:gd name="T19" fmla="*/ 443 h 475"/>
                <a:gd name="T20" fmla="*/ 2 w 316"/>
                <a:gd name="T21" fmla="*/ 439 h 475"/>
                <a:gd name="T22" fmla="*/ 273 w 316"/>
                <a:gd name="T23" fmla="*/ 11 h 475"/>
                <a:gd name="T24" fmla="*/ 277 w 316"/>
                <a:gd name="T25" fmla="*/ 7 h 475"/>
                <a:gd name="T26" fmla="*/ 280 w 316"/>
                <a:gd name="T27" fmla="*/ 4 h 475"/>
                <a:gd name="T28" fmla="*/ 284 w 316"/>
                <a:gd name="T29" fmla="*/ 1 h 475"/>
                <a:gd name="T30" fmla="*/ 288 w 316"/>
                <a:gd name="T31" fmla="*/ 0 h 475"/>
                <a:gd name="T32" fmla="*/ 293 w 316"/>
                <a:gd name="T33" fmla="*/ 0 h 475"/>
                <a:gd name="T34" fmla="*/ 296 w 316"/>
                <a:gd name="T35" fmla="*/ 0 h 475"/>
                <a:gd name="T36" fmla="*/ 301 w 316"/>
                <a:gd name="T37" fmla="*/ 1 h 475"/>
                <a:gd name="T38" fmla="*/ 305 w 316"/>
                <a:gd name="T39" fmla="*/ 4 h 475"/>
                <a:gd name="T40" fmla="*/ 309 w 316"/>
                <a:gd name="T41" fmla="*/ 6 h 475"/>
                <a:gd name="T42" fmla="*/ 312 w 316"/>
                <a:gd name="T43" fmla="*/ 10 h 475"/>
                <a:gd name="T44" fmla="*/ 314 w 316"/>
                <a:gd name="T45" fmla="*/ 13 h 475"/>
                <a:gd name="T46" fmla="*/ 316 w 316"/>
                <a:gd name="T47" fmla="*/ 17 h 475"/>
                <a:gd name="T48" fmla="*/ 316 w 316"/>
                <a:gd name="T49" fmla="*/ 22 h 475"/>
                <a:gd name="T50" fmla="*/ 316 w 316"/>
                <a:gd name="T51" fmla="*/ 27 h 475"/>
                <a:gd name="T52" fmla="*/ 315 w 316"/>
                <a:gd name="T53" fmla="*/ 31 h 475"/>
                <a:gd name="T54" fmla="*/ 312 w 316"/>
                <a:gd name="T55" fmla="*/ 35 h 475"/>
                <a:gd name="T56" fmla="*/ 41 w 316"/>
                <a:gd name="T57" fmla="*/ 464 h 475"/>
                <a:gd name="T58" fmla="*/ 38 w 316"/>
                <a:gd name="T59" fmla="*/ 468 h 475"/>
                <a:gd name="T60" fmla="*/ 33 w 316"/>
                <a:gd name="T61" fmla="*/ 471 h 475"/>
                <a:gd name="T62" fmla="*/ 28 w 316"/>
                <a:gd name="T63" fmla="*/ 473 h 475"/>
                <a:gd name="T64" fmla="*/ 22 w 316"/>
                <a:gd name="T65"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475">
                  <a:moveTo>
                    <a:pt x="22" y="475"/>
                  </a:moveTo>
                  <a:lnTo>
                    <a:pt x="15" y="473"/>
                  </a:lnTo>
                  <a:lnTo>
                    <a:pt x="9" y="471"/>
                  </a:lnTo>
                  <a:lnTo>
                    <a:pt x="6" y="467"/>
                  </a:lnTo>
                  <a:lnTo>
                    <a:pt x="3" y="464"/>
                  </a:lnTo>
                  <a:lnTo>
                    <a:pt x="1" y="460"/>
                  </a:lnTo>
                  <a:lnTo>
                    <a:pt x="0" y="456"/>
                  </a:lnTo>
                  <a:lnTo>
                    <a:pt x="0" y="451"/>
                  </a:lnTo>
                  <a:lnTo>
                    <a:pt x="0" y="448"/>
                  </a:lnTo>
                  <a:lnTo>
                    <a:pt x="1" y="443"/>
                  </a:lnTo>
                  <a:lnTo>
                    <a:pt x="2" y="439"/>
                  </a:lnTo>
                  <a:lnTo>
                    <a:pt x="273" y="11"/>
                  </a:lnTo>
                  <a:lnTo>
                    <a:pt x="277" y="7"/>
                  </a:lnTo>
                  <a:lnTo>
                    <a:pt x="280" y="4"/>
                  </a:lnTo>
                  <a:lnTo>
                    <a:pt x="284" y="1"/>
                  </a:lnTo>
                  <a:lnTo>
                    <a:pt x="288" y="0"/>
                  </a:lnTo>
                  <a:lnTo>
                    <a:pt x="293" y="0"/>
                  </a:lnTo>
                  <a:lnTo>
                    <a:pt x="296" y="0"/>
                  </a:lnTo>
                  <a:lnTo>
                    <a:pt x="301" y="1"/>
                  </a:lnTo>
                  <a:lnTo>
                    <a:pt x="305" y="4"/>
                  </a:lnTo>
                  <a:lnTo>
                    <a:pt x="309" y="6"/>
                  </a:lnTo>
                  <a:lnTo>
                    <a:pt x="312" y="10"/>
                  </a:lnTo>
                  <a:lnTo>
                    <a:pt x="314" y="13"/>
                  </a:lnTo>
                  <a:lnTo>
                    <a:pt x="316" y="17"/>
                  </a:lnTo>
                  <a:lnTo>
                    <a:pt x="316" y="22"/>
                  </a:lnTo>
                  <a:lnTo>
                    <a:pt x="316" y="27"/>
                  </a:lnTo>
                  <a:lnTo>
                    <a:pt x="315" y="31"/>
                  </a:lnTo>
                  <a:lnTo>
                    <a:pt x="312" y="35"/>
                  </a:lnTo>
                  <a:lnTo>
                    <a:pt x="41" y="464"/>
                  </a:lnTo>
                  <a:lnTo>
                    <a:pt x="38" y="468"/>
                  </a:lnTo>
                  <a:lnTo>
                    <a:pt x="33" y="471"/>
                  </a:lnTo>
                  <a:lnTo>
                    <a:pt x="28" y="473"/>
                  </a:lnTo>
                  <a:lnTo>
                    <a:pt x="22"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52">
              <a:extLst>
                <a:ext uri="{FF2B5EF4-FFF2-40B4-BE49-F238E27FC236}">
                  <a16:creationId xmlns:a16="http://schemas.microsoft.com/office/drawing/2014/main" id="{8F566C89-8A34-4944-AE74-ADB187898AAD}"/>
                </a:ext>
              </a:extLst>
            </p:cNvPr>
            <p:cNvSpPr>
              <a:spLocks/>
            </p:cNvSpPr>
            <p:nvPr/>
          </p:nvSpPr>
          <p:spPr bwMode="auto">
            <a:xfrm>
              <a:off x="5266457" y="5423111"/>
              <a:ext cx="55563" cy="73025"/>
            </a:xfrm>
            <a:custGeom>
              <a:avLst/>
              <a:gdLst>
                <a:gd name="T0" fmla="*/ 24 w 139"/>
                <a:gd name="T1" fmla="*/ 185 h 185"/>
                <a:gd name="T2" fmla="*/ 18 w 139"/>
                <a:gd name="T3" fmla="*/ 184 h 185"/>
                <a:gd name="T4" fmla="*/ 11 w 139"/>
                <a:gd name="T5" fmla="*/ 181 h 185"/>
                <a:gd name="T6" fmla="*/ 8 w 139"/>
                <a:gd name="T7" fmla="*/ 178 h 185"/>
                <a:gd name="T8" fmla="*/ 4 w 139"/>
                <a:gd name="T9" fmla="*/ 174 h 185"/>
                <a:gd name="T10" fmla="*/ 3 w 139"/>
                <a:gd name="T11" fmla="*/ 171 h 185"/>
                <a:gd name="T12" fmla="*/ 2 w 139"/>
                <a:gd name="T13" fmla="*/ 167 h 185"/>
                <a:gd name="T14" fmla="*/ 0 w 139"/>
                <a:gd name="T15" fmla="*/ 162 h 185"/>
                <a:gd name="T16" fmla="*/ 2 w 139"/>
                <a:gd name="T17" fmla="*/ 157 h 185"/>
                <a:gd name="T18" fmla="*/ 3 w 139"/>
                <a:gd name="T19" fmla="*/ 154 h 185"/>
                <a:gd name="T20" fmla="*/ 5 w 139"/>
                <a:gd name="T21" fmla="*/ 149 h 185"/>
                <a:gd name="T22" fmla="*/ 97 w 139"/>
                <a:gd name="T23" fmla="*/ 11 h 185"/>
                <a:gd name="T24" fmla="*/ 100 w 139"/>
                <a:gd name="T25" fmla="*/ 8 h 185"/>
                <a:gd name="T26" fmla="*/ 103 w 139"/>
                <a:gd name="T27" fmla="*/ 4 h 185"/>
                <a:gd name="T28" fmla="*/ 107 w 139"/>
                <a:gd name="T29" fmla="*/ 3 h 185"/>
                <a:gd name="T30" fmla="*/ 112 w 139"/>
                <a:gd name="T31" fmla="*/ 1 h 185"/>
                <a:gd name="T32" fmla="*/ 116 w 139"/>
                <a:gd name="T33" fmla="*/ 0 h 185"/>
                <a:gd name="T34" fmla="*/ 121 w 139"/>
                <a:gd name="T35" fmla="*/ 1 h 185"/>
                <a:gd name="T36" fmla="*/ 124 w 139"/>
                <a:gd name="T37" fmla="*/ 3 h 185"/>
                <a:gd name="T38" fmla="*/ 129 w 139"/>
                <a:gd name="T39" fmla="*/ 5 h 185"/>
                <a:gd name="T40" fmla="*/ 133 w 139"/>
                <a:gd name="T41" fmla="*/ 8 h 185"/>
                <a:gd name="T42" fmla="*/ 135 w 139"/>
                <a:gd name="T43" fmla="*/ 11 h 185"/>
                <a:gd name="T44" fmla="*/ 138 w 139"/>
                <a:gd name="T45" fmla="*/ 15 h 185"/>
                <a:gd name="T46" fmla="*/ 139 w 139"/>
                <a:gd name="T47" fmla="*/ 19 h 185"/>
                <a:gd name="T48" fmla="*/ 139 w 139"/>
                <a:gd name="T49" fmla="*/ 24 h 185"/>
                <a:gd name="T50" fmla="*/ 139 w 139"/>
                <a:gd name="T51" fmla="*/ 28 h 185"/>
                <a:gd name="T52" fmla="*/ 138 w 139"/>
                <a:gd name="T53" fmla="*/ 32 h 185"/>
                <a:gd name="T54" fmla="*/ 135 w 139"/>
                <a:gd name="T55" fmla="*/ 37 h 185"/>
                <a:gd name="T56" fmla="*/ 43 w 139"/>
                <a:gd name="T57" fmla="*/ 174 h 185"/>
                <a:gd name="T58" fmla="*/ 40 w 139"/>
                <a:gd name="T59" fmla="*/ 179 h 185"/>
                <a:gd name="T60" fmla="*/ 35 w 139"/>
                <a:gd name="T61" fmla="*/ 182 h 185"/>
                <a:gd name="T62" fmla="*/ 30 w 139"/>
                <a:gd name="T63" fmla="*/ 184 h 185"/>
                <a:gd name="T64" fmla="*/ 24 w 139"/>
                <a:gd name="T6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85">
                  <a:moveTo>
                    <a:pt x="24" y="185"/>
                  </a:moveTo>
                  <a:lnTo>
                    <a:pt x="18" y="184"/>
                  </a:lnTo>
                  <a:lnTo>
                    <a:pt x="11" y="181"/>
                  </a:lnTo>
                  <a:lnTo>
                    <a:pt x="8" y="178"/>
                  </a:lnTo>
                  <a:lnTo>
                    <a:pt x="4" y="174"/>
                  </a:lnTo>
                  <a:lnTo>
                    <a:pt x="3" y="171"/>
                  </a:lnTo>
                  <a:lnTo>
                    <a:pt x="2" y="167"/>
                  </a:lnTo>
                  <a:lnTo>
                    <a:pt x="0" y="162"/>
                  </a:lnTo>
                  <a:lnTo>
                    <a:pt x="2" y="157"/>
                  </a:lnTo>
                  <a:lnTo>
                    <a:pt x="3" y="154"/>
                  </a:lnTo>
                  <a:lnTo>
                    <a:pt x="5" y="149"/>
                  </a:lnTo>
                  <a:lnTo>
                    <a:pt x="97" y="11"/>
                  </a:lnTo>
                  <a:lnTo>
                    <a:pt x="100" y="8"/>
                  </a:lnTo>
                  <a:lnTo>
                    <a:pt x="103" y="4"/>
                  </a:lnTo>
                  <a:lnTo>
                    <a:pt x="107" y="3"/>
                  </a:lnTo>
                  <a:lnTo>
                    <a:pt x="112" y="1"/>
                  </a:lnTo>
                  <a:lnTo>
                    <a:pt x="116" y="0"/>
                  </a:lnTo>
                  <a:lnTo>
                    <a:pt x="121" y="1"/>
                  </a:lnTo>
                  <a:lnTo>
                    <a:pt x="124" y="3"/>
                  </a:lnTo>
                  <a:lnTo>
                    <a:pt x="129" y="5"/>
                  </a:lnTo>
                  <a:lnTo>
                    <a:pt x="133" y="8"/>
                  </a:lnTo>
                  <a:lnTo>
                    <a:pt x="135" y="11"/>
                  </a:lnTo>
                  <a:lnTo>
                    <a:pt x="138" y="15"/>
                  </a:lnTo>
                  <a:lnTo>
                    <a:pt x="139" y="19"/>
                  </a:lnTo>
                  <a:lnTo>
                    <a:pt x="139" y="24"/>
                  </a:lnTo>
                  <a:lnTo>
                    <a:pt x="139" y="28"/>
                  </a:lnTo>
                  <a:lnTo>
                    <a:pt x="138" y="32"/>
                  </a:lnTo>
                  <a:lnTo>
                    <a:pt x="135" y="37"/>
                  </a:lnTo>
                  <a:lnTo>
                    <a:pt x="43" y="174"/>
                  </a:lnTo>
                  <a:lnTo>
                    <a:pt x="40" y="179"/>
                  </a:lnTo>
                  <a:lnTo>
                    <a:pt x="35" y="182"/>
                  </a:lnTo>
                  <a:lnTo>
                    <a:pt x="30" y="184"/>
                  </a:lnTo>
                  <a:lnTo>
                    <a:pt x="24" y="1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7" name="Group 92">
            <a:extLst>
              <a:ext uri="{FF2B5EF4-FFF2-40B4-BE49-F238E27FC236}">
                <a16:creationId xmlns:a16="http://schemas.microsoft.com/office/drawing/2014/main" id="{72332F98-2AA7-4B41-9478-430521AF8E7F}"/>
              </a:ext>
            </a:extLst>
          </p:cNvPr>
          <p:cNvGrpSpPr>
            <a:grpSpLocks noChangeAspect="1"/>
          </p:cNvGrpSpPr>
          <p:nvPr/>
        </p:nvGrpSpPr>
        <p:grpSpPr>
          <a:xfrm>
            <a:off x="7460615" y="4345739"/>
            <a:ext cx="308188" cy="306484"/>
            <a:chOff x="11028363" y="2505076"/>
            <a:chExt cx="287337" cy="285750"/>
          </a:xfrm>
          <a:solidFill>
            <a:schemeClr val="bg1"/>
          </a:solidFill>
          <a:effectLst/>
        </p:grpSpPr>
        <p:sp>
          <p:nvSpPr>
            <p:cNvPr id="578" name="Freeform 340">
              <a:extLst>
                <a:ext uri="{FF2B5EF4-FFF2-40B4-BE49-F238E27FC236}">
                  <a16:creationId xmlns:a16="http://schemas.microsoft.com/office/drawing/2014/main" id="{676218DF-DB47-4787-8FF3-90D43D89BAE3}"/>
                </a:ext>
              </a:extLst>
            </p:cNvPr>
            <p:cNvSpPr>
              <a:spLocks noEditPoints="1"/>
            </p:cNvSpPr>
            <p:nvPr/>
          </p:nvSpPr>
          <p:spPr bwMode="auto">
            <a:xfrm>
              <a:off x="11172825" y="2649538"/>
              <a:ext cx="142875" cy="141288"/>
            </a:xfrm>
            <a:custGeom>
              <a:avLst/>
              <a:gdLst>
                <a:gd name="T0" fmla="*/ 359 w 450"/>
                <a:gd name="T1" fmla="*/ 164 h 446"/>
                <a:gd name="T2" fmla="*/ 285 w 450"/>
                <a:gd name="T3" fmla="*/ 90 h 446"/>
                <a:gd name="T4" fmla="*/ 340 w 450"/>
                <a:gd name="T5" fmla="*/ 36 h 446"/>
                <a:gd name="T6" fmla="*/ 414 w 450"/>
                <a:gd name="T7" fmla="*/ 110 h 446"/>
                <a:gd name="T8" fmla="*/ 359 w 450"/>
                <a:gd name="T9" fmla="*/ 164 h 446"/>
                <a:gd name="T10" fmla="*/ 63 w 450"/>
                <a:gd name="T11" fmla="*/ 327 h 446"/>
                <a:gd name="T12" fmla="*/ 122 w 450"/>
                <a:gd name="T13" fmla="*/ 386 h 446"/>
                <a:gd name="T14" fmla="*/ 37 w 450"/>
                <a:gd name="T15" fmla="*/ 410 h 446"/>
                <a:gd name="T16" fmla="*/ 63 w 450"/>
                <a:gd name="T17" fmla="*/ 327 h 446"/>
                <a:gd name="T18" fmla="*/ 151 w 450"/>
                <a:gd name="T19" fmla="*/ 372 h 446"/>
                <a:gd name="T20" fmla="*/ 78 w 450"/>
                <a:gd name="T21" fmla="*/ 299 h 446"/>
                <a:gd name="T22" fmla="*/ 264 w 450"/>
                <a:gd name="T23" fmla="*/ 112 h 446"/>
                <a:gd name="T24" fmla="*/ 338 w 450"/>
                <a:gd name="T25" fmla="*/ 185 h 446"/>
                <a:gd name="T26" fmla="*/ 151 w 450"/>
                <a:gd name="T27" fmla="*/ 372 h 446"/>
                <a:gd name="T28" fmla="*/ 446 w 450"/>
                <a:gd name="T29" fmla="*/ 99 h 446"/>
                <a:gd name="T30" fmla="*/ 351 w 450"/>
                <a:gd name="T31" fmla="*/ 4 h 446"/>
                <a:gd name="T32" fmla="*/ 348 w 450"/>
                <a:gd name="T33" fmla="*/ 3 h 446"/>
                <a:gd name="T34" fmla="*/ 345 w 450"/>
                <a:gd name="T35" fmla="*/ 1 h 446"/>
                <a:gd name="T36" fmla="*/ 343 w 450"/>
                <a:gd name="T37" fmla="*/ 0 h 446"/>
                <a:gd name="T38" fmla="*/ 340 w 450"/>
                <a:gd name="T39" fmla="*/ 0 h 446"/>
                <a:gd name="T40" fmla="*/ 338 w 450"/>
                <a:gd name="T41" fmla="*/ 0 h 446"/>
                <a:gd name="T42" fmla="*/ 335 w 450"/>
                <a:gd name="T43" fmla="*/ 1 h 446"/>
                <a:gd name="T44" fmla="*/ 332 w 450"/>
                <a:gd name="T45" fmla="*/ 3 h 446"/>
                <a:gd name="T46" fmla="*/ 329 w 450"/>
                <a:gd name="T47" fmla="*/ 4 h 446"/>
                <a:gd name="T48" fmla="*/ 46 w 450"/>
                <a:gd name="T49" fmla="*/ 289 h 446"/>
                <a:gd name="T50" fmla="*/ 44 w 450"/>
                <a:gd name="T51" fmla="*/ 291 h 446"/>
                <a:gd name="T52" fmla="*/ 42 w 450"/>
                <a:gd name="T53" fmla="*/ 294 h 446"/>
                <a:gd name="T54" fmla="*/ 41 w 450"/>
                <a:gd name="T55" fmla="*/ 294 h 446"/>
                <a:gd name="T56" fmla="*/ 41 w 450"/>
                <a:gd name="T57" fmla="*/ 294 h 446"/>
                <a:gd name="T58" fmla="*/ 0 w 450"/>
                <a:gd name="T59" fmla="*/ 427 h 446"/>
                <a:gd name="T60" fmla="*/ 0 w 450"/>
                <a:gd name="T61" fmla="*/ 431 h 446"/>
                <a:gd name="T62" fmla="*/ 0 w 450"/>
                <a:gd name="T63" fmla="*/ 436 h 446"/>
                <a:gd name="T64" fmla="*/ 1 w 450"/>
                <a:gd name="T65" fmla="*/ 439 h 446"/>
                <a:gd name="T66" fmla="*/ 4 w 450"/>
                <a:gd name="T67" fmla="*/ 442 h 446"/>
                <a:gd name="T68" fmla="*/ 6 w 450"/>
                <a:gd name="T69" fmla="*/ 444 h 446"/>
                <a:gd name="T70" fmla="*/ 8 w 450"/>
                <a:gd name="T71" fmla="*/ 445 h 446"/>
                <a:gd name="T72" fmla="*/ 11 w 450"/>
                <a:gd name="T73" fmla="*/ 446 h 446"/>
                <a:gd name="T74" fmla="*/ 15 w 450"/>
                <a:gd name="T75" fmla="*/ 446 h 446"/>
                <a:gd name="T76" fmla="*/ 17 w 450"/>
                <a:gd name="T77" fmla="*/ 446 h 446"/>
                <a:gd name="T78" fmla="*/ 18 w 450"/>
                <a:gd name="T79" fmla="*/ 446 h 446"/>
                <a:gd name="T80" fmla="*/ 155 w 450"/>
                <a:gd name="T81" fmla="*/ 409 h 446"/>
                <a:gd name="T82" fmla="*/ 155 w 450"/>
                <a:gd name="T83" fmla="*/ 409 h 446"/>
                <a:gd name="T84" fmla="*/ 156 w 450"/>
                <a:gd name="T85" fmla="*/ 409 h 446"/>
                <a:gd name="T86" fmla="*/ 156 w 450"/>
                <a:gd name="T87" fmla="*/ 408 h 446"/>
                <a:gd name="T88" fmla="*/ 157 w 450"/>
                <a:gd name="T89" fmla="*/ 408 h 446"/>
                <a:gd name="T90" fmla="*/ 159 w 450"/>
                <a:gd name="T91" fmla="*/ 407 h 446"/>
                <a:gd name="T92" fmla="*/ 161 w 450"/>
                <a:gd name="T93" fmla="*/ 405 h 446"/>
                <a:gd name="T94" fmla="*/ 446 w 450"/>
                <a:gd name="T95" fmla="*/ 120 h 446"/>
                <a:gd name="T96" fmla="*/ 447 w 450"/>
                <a:gd name="T97" fmla="*/ 118 h 446"/>
                <a:gd name="T98" fmla="*/ 449 w 450"/>
                <a:gd name="T99" fmla="*/ 116 h 446"/>
                <a:gd name="T100" fmla="*/ 449 w 450"/>
                <a:gd name="T101" fmla="*/ 113 h 446"/>
                <a:gd name="T102" fmla="*/ 450 w 450"/>
                <a:gd name="T103" fmla="*/ 110 h 446"/>
                <a:gd name="T104" fmla="*/ 449 w 450"/>
                <a:gd name="T105" fmla="*/ 107 h 446"/>
                <a:gd name="T106" fmla="*/ 449 w 450"/>
                <a:gd name="T107" fmla="*/ 104 h 446"/>
                <a:gd name="T108" fmla="*/ 447 w 450"/>
                <a:gd name="T109" fmla="*/ 102 h 446"/>
                <a:gd name="T110" fmla="*/ 446 w 450"/>
                <a:gd name="T111" fmla="*/ 9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0" h="446">
                  <a:moveTo>
                    <a:pt x="359" y="164"/>
                  </a:moveTo>
                  <a:lnTo>
                    <a:pt x="285" y="90"/>
                  </a:lnTo>
                  <a:lnTo>
                    <a:pt x="340" y="36"/>
                  </a:lnTo>
                  <a:lnTo>
                    <a:pt x="414" y="110"/>
                  </a:lnTo>
                  <a:lnTo>
                    <a:pt x="359" y="164"/>
                  </a:lnTo>
                  <a:close/>
                  <a:moveTo>
                    <a:pt x="63" y="327"/>
                  </a:moveTo>
                  <a:lnTo>
                    <a:pt x="122" y="386"/>
                  </a:lnTo>
                  <a:lnTo>
                    <a:pt x="37" y="410"/>
                  </a:lnTo>
                  <a:lnTo>
                    <a:pt x="63" y="327"/>
                  </a:lnTo>
                  <a:close/>
                  <a:moveTo>
                    <a:pt x="151" y="372"/>
                  </a:moveTo>
                  <a:lnTo>
                    <a:pt x="78" y="299"/>
                  </a:lnTo>
                  <a:lnTo>
                    <a:pt x="264" y="112"/>
                  </a:lnTo>
                  <a:lnTo>
                    <a:pt x="338" y="185"/>
                  </a:lnTo>
                  <a:lnTo>
                    <a:pt x="151" y="372"/>
                  </a:lnTo>
                  <a:close/>
                  <a:moveTo>
                    <a:pt x="446" y="99"/>
                  </a:moveTo>
                  <a:lnTo>
                    <a:pt x="351" y="4"/>
                  </a:lnTo>
                  <a:lnTo>
                    <a:pt x="348" y="3"/>
                  </a:lnTo>
                  <a:lnTo>
                    <a:pt x="345" y="1"/>
                  </a:lnTo>
                  <a:lnTo>
                    <a:pt x="343" y="0"/>
                  </a:lnTo>
                  <a:lnTo>
                    <a:pt x="340" y="0"/>
                  </a:lnTo>
                  <a:lnTo>
                    <a:pt x="338" y="0"/>
                  </a:lnTo>
                  <a:lnTo>
                    <a:pt x="335" y="1"/>
                  </a:lnTo>
                  <a:lnTo>
                    <a:pt x="332" y="3"/>
                  </a:lnTo>
                  <a:lnTo>
                    <a:pt x="329" y="4"/>
                  </a:lnTo>
                  <a:lnTo>
                    <a:pt x="46" y="289"/>
                  </a:lnTo>
                  <a:lnTo>
                    <a:pt x="44" y="291"/>
                  </a:lnTo>
                  <a:lnTo>
                    <a:pt x="42" y="294"/>
                  </a:lnTo>
                  <a:lnTo>
                    <a:pt x="41" y="294"/>
                  </a:lnTo>
                  <a:lnTo>
                    <a:pt x="41" y="294"/>
                  </a:lnTo>
                  <a:lnTo>
                    <a:pt x="0" y="427"/>
                  </a:lnTo>
                  <a:lnTo>
                    <a:pt x="0" y="431"/>
                  </a:lnTo>
                  <a:lnTo>
                    <a:pt x="0" y="436"/>
                  </a:lnTo>
                  <a:lnTo>
                    <a:pt x="1" y="439"/>
                  </a:lnTo>
                  <a:lnTo>
                    <a:pt x="4" y="442"/>
                  </a:lnTo>
                  <a:lnTo>
                    <a:pt x="6" y="444"/>
                  </a:lnTo>
                  <a:lnTo>
                    <a:pt x="8" y="445"/>
                  </a:lnTo>
                  <a:lnTo>
                    <a:pt x="11" y="446"/>
                  </a:lnTo>
                  <a:lnTo>
                    <a:pt x="15" y="446"/>
                  </a:lnTo>
                  <a:lnTo>
                    <a:pt x="17" y="446"/>
                  </a:lnTo>
                  <a:lnTo>
                    <a:pt x="18" y="446"/>
                  </a:lnTo>
                  <a:lnTo>
                    <a:pt x="155" y="409"/>
                  </a:lnTo>
                  <a:lnTo>
                    <a:pt x="155" y="409"/>
                  </a:lnTo>
                  <a:lnTo>
                    <a:pt x="156" y="409"/>
                  </a:lnTo>
                  <a:lnTo>
                    <a:pt x="156" y="408"/>
                  </a:lnTo>
                  <a:lnTo>
                    <a:pt x="157" y="408"/>
                  </a:lnTo>
                  <a:lnTo>
                    <a:pt x="159" y="407"/>
                  </a:lnTo>
                  <a:lnTo>
                    <a:pt x="161" y="405"/>
                  </a:lnTo>
                  <a:lnTo>
                    <a:pt x="446" y="120"/>
                  </a:lnTo>
                  <a:lnTo>
                    <a:pt x="447" y="118"/>
                  </a:lnTo>
                  <a:lnTo>
                    <a:pt x="449" y="116"/>
                  </a:lnTo>
                  <a:lnTo>
                    <a:pt x="449" y="113"/>
                  </a:lnTo>
                  <a:lnTo>
                    <a:pt x="450" y="110"/>
                  </a:lnTo>
                  <a:lnTo>
                    <a:pt x="449" y="107"/>
                  </a:lnTo>
                  <a:lnTo>
                    <a:pt x="449" y="104"/>
                  </a:lnTo>
                  <a:lnTo>
                    <a:pt x="447" y="102"/>
                  </a:lnTo>
                  <a:lnTo>
                    <a:pt x="44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79" name="Freeform 341">
              <a:extLst>
                <a:ext uri="{FF2B5EF4-FFF2-40B4-BE49-F238E27FC236}">
                  <a16:creationId xmlns:a16="http://schemas.microsoft.com/office/drawing/2014/main" id="{D3031732-C80C-47CC-97C7-048C804BCDF1}"/>
                </a:ext>
              </a:extLst>
            </p:cNvPr>
            <p:cNvSpPr>
              <a:spLocks noEditPoints="1"/>
            </p:cNvSpPr>
            <p:nvPr/>
          </p:nvSpPr>
          <p:spPr bwMode="auto">
            <a:xfrm>
              <a:off x="11028363" y="2505076"/>
              <a:ext cx="200025" cy="257175"/>
            </a:xfrm>
            <a:custGeom>
              <a:avLst/>
              <a:gdLst>
                <a:gd name="T0" fmla="*/ 251 w 630"/>
                <a:gd name="T1" fmla="*/ 88 h 811"/>
                <a:gd name="T2" fmla="*/ 257 w 630"/>
                <a:gd name="T3" fmla="*/ 75 h 811"/>
                <a:gd name="T4" fmla="*/ 263 w 630"/>
                <a:gd name="T5" fmla="*/ 52 h 811"/>
                <a:gd name="T6" fmla="*/ 291 w 630"/>
                <a:gd name="T7" fmla="*/ 33 h 811"/>
                <a:gd name="T8" fmla="*/ 354 w 630"/>
                <a:gd name="T9" fmla="*/ 37 h 811"/>
                <a:gd name="T10" fmla="*/ 375 w 630"/>
                <a:gd name="T11" fmla="*/ 56 h 811"/>
                <a:gd name="T12" fmla="*/ 379 w 630"/>
                <a:gd name="T13" fmla="*/ 78 h 811"/>
                <a:gd name="T14" fmla="*/ 388 w 630"/>
                <a:gd name="T15" fmla="*/ 89 h 811"/>
                <a:gd name="T16" fmla="*/ 180 w 630"/>
                <a:gd name="T17" fmla="*/ 240 h 811"/>
                <a:gd name="T18" fmla="*/ 54 w 630"/>
                <a:gd name="T19" fmla="*/ 779 h 811"/>
                <a:gd name="T20" fmla="*/ 30 w 630"/>
                <a:gd name="T21" fmla="*/ 748 h 811"/>
                <a:gd name="T22" fmla="*/ 75 w 630"/>
                <a:gd name="T23" fmla="*/ 180 h 811"/>
                <a:gd name="T24" fmla="*/ 62 w 630"/>
                <a:gd name="T25" fmla="*/ 187 h 811"/>
                <a:gd name="T26" fmla="*/ 60 w 630"/>
                <a:gd name="T27" fmla="*/ 740 h 811"/>
                <a:gd name="T28" fmla="*/ 69 w 630"/>
                <a:gd name="T29" fmla="*/ 750 h 811"/>
                <a:gd name="T30" fmla="*/ 362 w 630"/>
                <a:gd name="T31" fmla="*/ 750 h 811"/>
                <a:gd name="T32" fmla="*/ 370 w 630"/>
                <a:gd name="T33" fmla="*/ 740 h 811"/>
                <a:gd name="T34" fmla="*/ 366 w 630"/>
                <a:gd name="T35" fmla="*/ 726 h 811"/>
                <a:gd name="T36" fmla="*/ 90 w 630"/>
                <a:gd name="T37" fmla="*/ 721 h 811"/>
                <a:gd name="T38" fmla="*/ 151 w 630"/>
                <a:gd name="T39" fmla="*/ 261 h 811"/>
                <a:gd name="T40" fmla="*/ 162 w 630"/>
                <a:gd name="T41" fmla="*/ 270 h 811"/>
                <a:gd name="T42" fmla="*/ 474 w 630"/>
                <a:gd name="T43" fmla="*/ 268 h 811"/>
                <a:gd name="T44" fmla="*/ 481 w 630"/>
                <a:gd name="T45" fmla="*/ 256 h 811"/>
                <a:gd name="T46" fmla="*/ 542 w 630"/>
                <a:gd name="T47" fmla="*/ 366 h 811"/>
                <a:gd name="T48" fmla="*/ 552 w 630"/>
                <a:gd name="T49" fmla="*/ 376 h 811"/>
                <a:gd name="T50" fmla="*/ 566 w 630"/>
                <a:gd name="T51" fmla="*/ 371 h 811"/>
                <a:gd name="T52" fmla="*/ 570 w 630"/>
                <a:gd name="T53" fmla="*/ 195 h 811"/>
                <a:gd name="T54" fmla="*/ 564 w 630"/>
                <a:gd name="T55" fmla="*/ 183 h 811"/>
                <a:gd name="T56" fmla="*/ 481 w 630"/>
                <a:gd name="T57" fmla="*/ 150 h 811"/>
                <a:gd name="T58" fmla="*/ 603 w 630"/>
                <a:gd name="T59" fmla="*/ 365 h 811"/>
                <a:gd name="T60" fmla="*/ 615 w 630"/>
                <a:gd name="T61" fmla="*/ 371 h 811"/>
                <a:gd name="T62" fmla="*/ 628 w 630"/>
                <a:gd name="T63" fmla="*/ 365 h 811"/>
                <a:gd name="T64" fmla="*/ 630 w 630"/>
                <a:gd name="T65" fmla="*/ 133 h 811"/>
                <a:gd name="T66" fmla="*/ 622 w 630"/>
                <a:gd name="T67" fmla="*/ 121 h 811"/>
                <a:gd name="T68" fmla="*/ 480 w 630"/>
                <a:gd name="T69" fmla="*/ 72 h 811"/>
                <a:gd name="T70" fmla="*/ 471 w 630"/>
                <a:gd name="T71" fmla="*/ 61 h 811"/>
                <a:gd name="T72" fmla="*/ 400 w 630"/>
                <a:gd name="T73" fmla="*/ 41 h 811"/>
                <a:gd name="T74" fmla="*/ 380 w 630"/>
                <a:gd name="T75" fmla="*/ 17 h 811"/>
                <a:gd name="T76" fmla="*/ 340 w 630"/>
                <a:gd name="T77" fmla="*/ 1 h 811"/>
                <a:gd name="T78" fmla="*/ 285 w 630"/>
                <a:gd name="T79" fmla="*/ 3 h 811"/>
                <a:gd name="T80" fmla="*/ 249 w 630"/>
                <a:gd name="T81" fmla="*/ 22 h 811"/>
                <a:gd name="T82" fmla="*/ 231 w 630"/>
                <a:gd name="T83" fmla="*/ 52 h 811"/>
                <a:gd name="T84" fmla="*/ 156 w 630"/>
                <a:gd name="T85" fmla="*/ 63 h 811"/>
                <a:gd name="T86" fmla="*/ 150 w 630"/>
                <a:gd name="T87" fmla="*/ 75 h 811"/>
                <a:gd name="T88" fmla="*/ 7 w 630"/>
                <a:gd name="T89" fmla="*/ 123 h 811"/>
                <a:gd name="T90" fmla="*/ 0 w 630"/>
                <a:gd name="T91" fmla="*/ 135 h 811"/>
                <a:gd name="T92" fmla="*/ 4 w 630"/>
                <a:gd name="T93" fmla="*/ 770 h 811"/>
                <a:gd name="T94" fmla="*/ 24 w 630"/>
                <a:gd name="T95" fmla="*/ 797 h 811"/>
                <a:gd name="T96" fmla="*/ 57 w 630"/>
                <a:gd name="T97" fmla="*/ 810 h 811"/>
                <a:gd name="T98" fmla="*/ 380 w 630"/>
                <a:gd name="T99" fmla="*/ 810 h 811"/>
                <a:gd name="T100" fmla="*/ 390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80" y="90"/>
                  </a:moveTo>
                  <a:lnTo>
                    <a:pt x="242" y="90"/>
                  </a:lnTo>
                  <a:lnTo>
                    <a:pt x="245" y="90"/>
                  </a:lnTo>
                  <a:lnTo>
                    <a:pt x="248" y="89"/>
                  </a:lnTo>
                  <a:lnTo>
                    <a:pt x="251" y="88"/>
                  </a:lnTo>
                  <a:lnTo>
                    <a:pt x="253" y="86"/>
                  </a:lnTo>
                  <a:lnTo>
                    <a:pt x="255" y="84"/>
                  </a:lnTo>
                  <a:lnTo>
                    <a:pt x="256" y="81"/>
                  </a:lnTo>
                  <a:lnTo>
                    <a:pt x="257" y="78"/>
                  </a:lnTo>
                  <a:lnTo>
                    <a:pt x="257" y="75"/>
                  </a:lnTo>
                  <a:lnTo>
                    <a:pt x="257" y="70"/>
                  </a:lnTo>
                  <a:lnTo>
                    <a:pt x="258" y="64"/>
                  </a:lnTo>
                  <a:lnTo>
                    <a:pt x="259" y="60"/>
                  </a:lnTo>
                  <a:lnTo>
                    <a:pt x="261" y="56"/>
                  </a:lnTo>
                  <a:lnTo>
                    <a:pt x="263" y="52"/>
                  </a:lnTo>
                  <a:lnTo>
                    <a:pt x="266" y="47"/>
                  </a:lnTo>
                  <a:lnTo>
                    <a:pt x="269" y="44"/>
                  </a:lnTo>
                  <a:lnTo>
                    <a:pt x="272" y="42"/>
                  </a:lnTo>
                  <a:lnTo>
                    <a:pt x="281" y="37"/>
                  </a:lnTo>
                  <a:lnTo>
                    <a:pt x="291" y="33"/>
                  </a:lnTo>
                  <a:lnTo>
                    <a:pt x="304" y="31"/>
                  </a:lnTo>
                  <a:lnTo>
                    <a:pt x="318" y="30"/>
                  </a:lnTo>
                  <a:lnTo>
                    <a:pt x="332" y="31"/>
                  </a:lnTo>
                  <a:lnTo>
                    <a:pt x="345" y="33"/>
                  </a:lnTo>
                  <a:lnTo>
                    <a:pt x="354" y="37"/>
                  </a:lnTo>
                  <a:lnTo>
                    <a:pt x="363" y="42"/>
                  </a:lnTo>
                  <a:lnTo>
                    <a:pt x="367" y="44"/>
                  </a:lnTo>
                  <a:lnTo>
                    <a:pt x="370" y="47"/>
                  </a:lnTo>
                  <a:lnTo>
                    <a:pt x="373" y="52"/>
                  </a:lnTo>
                  <a:lnTo>
                    <a:pt x="375" y="56"/>
                  </a:lnTo>
                  <a:lnTo>
                    <a:pt x="377" y="60"/>
                  </a:lnTo>
                  <a:lnTo>
                    <a:pt x="378" y="64"/>
                  </a:lnTo>
                  <a:lnTo>
                    <a:pt x="378" y="70"/>
                  </a:lnTo>
                  <a:lnTo>
                    <a:pt x="379" y="75"/>
                  </a:lnTo>
                  <a:lnTo>
                    <a:pt x="379" y="78"/>
                  </a:lnTo>
                  <a:lnTo>
                    <a:pt x="380" y="81"/>
                  </a:lnTo>
                  <a:lnTo>
                    <a:pt x="381" y="84"/>
                  </a:lnTo>
                  <a:lnTo>
                    <a:pt x="383" y="86"/>
                  </a:lnTo>
                  <a:lnTo>
                    <a:pt x="385" y="88"/>
                  </a:lnTo>
                  <a:lnTo>
                    <a:pt x="388" y="89"/>
                  </a:lnTo>
                  <a:lnTo>
                    <a:pt x="391" y="90"/>
                  </a:lnTo>
                  <a:lnTo>
                    <a:pt x="394" y="90"/>
                  </a:lnTo>
                  <a:lnTo>
                    <a:pt x="451" y="90"/>
                  </a:lnTo>
                  <a:lnTo>
                    <a:pt x="451" y="240"/>
                  </a:lnTo>
                  <a:lnTo>
                    <a:pt x="180" y="240"/>
                  </a:lnTo>
                  <a:lnTo>
                    <a:pt x="180" y="90"/>
                  </a:lnTo>
                  <a:close/>
                  <a:moveTo>
                    <a:pt x="375" y="781"/>
                  </a:moveTo>
                  <a:lnTo>
                    <a:pt x="75" y="781"/>
                  </a:lnTo>
                  <a:lnTo>
                    <a:pt x="63" y="780"/>
                  </a:lnTo>
                  <a:lnTo>
                    <a:pt x="54" y="779"/>
                  </a:lnTo>
                  <a:lnTo>
                    <a:pt x="46" y="776"/>
                  </a:lnTo>
                  <a:lnTo>
                    <a:pt x="40" y="772"/>
                  </a:lnTo>
                  <a:lnTo>
                    <a:pt x="35" y="765"/>
                  </a:lnTo>
                  <a:lnTo>
                    <a:pt x="32" y="758"/>
                  </a:lnTo>
                  <a:lnTo>
                    <a:pt x="30" y="748"/>
                  </a:lnTo>
                  <a:lnTo>
                    <a:pt x="30" y="736"/>
                  </a:lnTo>
                  <a:lnTo>
                    <a:pt x="30" y="150"/>
                  </a:lnTo>
                  <a:lnTo>
                    <a:pt x="150" y="150"/>
                  </a:lnTo>
                  <a:lnTo>
                    <a:pt x="150" y="180"/>
                  </a:lnTo>
                  <a:lnTo>
                    <a:pt x="75" y="180"/>
                  </a:lnTo>
                  <a:lnTo>
                    <a:pt x="72" y="181"/>
                  </a:lnTo>
                  <a:lnTo>
                    <a:pt x="69" y="182"/>
                  </a:lnTo>
                  <a:lnTo>
                    <a:pt x="67" y="183"/>
                  </a:lnTo>
                  <a:lnTo>
                    <a:pt x="64" y="185"/>
                  </a:lnTo>
                  <a:lnTo>
                    <a:pt x="62" y="187"/>
                  </a:lnTo>
                  <a:lnTo>
                    <a:pt x="61" y="190"/>
                  </a:lnTo>
                  <a:lnTo>
                    <a:pt x="60" y="193"/>
                  </a:lnTo>
                  <a:lnTo>
                    <a:pt x="60" y="195"/>
                  </a:lnTo>
                  <a:lnTo>
                    <a:pt x="60" y="736"/>
                  </a:lnTo>
                  <a:lnTo>
                    <a:pt x="60" y="740"/>
                  </a:lnTo>
                  <a:lnTo>
                    <a:pt x="61" y="742"/>
                  </a:lnTo>
                  <a:lnTo>
                    <a:pt x="62" y="745"/>
                  </a:lnTo>
                  <a:lnTo>
                    <a:pt x="64" y="747"/>
                  </a:lnTo>
                  <a:lnTo>
                    <a:pt x="67" y="748"/>
                  </a:lnTo>
                  <a:lnTo>
                    <a:pt x="69" y="750"/>
                  </a:lnTo>
                  <a:lnTo>
                    <a:pt x="72" y="750"/>
                  </a:lnTo>
                  <a:lnTo>
                    <a:pt x="75" y="751"/>
                  </a:lnTo>
                  <a:lnTo>
                    <a:pt x="355" y="751"/>
                  </a:lnTo>
                  <a:lnTo>
                    <a:pt x="359" y="750"/>
                  </a:lnTo>
                  <a:lnTo>
                    <a:pt x="362"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2" y="723"/>
                  </a:lnTo>
                  <a:lnTo>
                    <a:pt x="359"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60" y="270"/>
                  </a:lnTo>
                  <a:lnTo>
                    <a:pt x="162" y="270"/>
                  </a:lnTo>
                  <a:lnTo>
                    <a:pt x="165" y="271"/>
                  </a:lnTo>
                  <a:lnTo>
                    <a:pt x="466" y="271"/>
                  </a:lnTo>
                  <a:lnTo>
                    <a:pt x="469" y="270"/>
                  </a:lnTo>
                  <a:lnTo>
                    <a:pt x="471" y="270"/>
                  </a:lnTo>
                  <a:lnTo>
                    <a:pt x="474" y="268"/>
                  </a:lnTo>
                  <a:lnTo>
                    <a:pt x="476" y="267"/>
                  </a:lnTo>
                  <a:lnTo>
                    <a:pt x="477" y="264"/>
                  </a:lnTo>
                  <a:lnTo>
                    <a:pt x="480" y="261"/>
                  </a:lnTo>
                  <a:lnTo>
                    <a:pt x="480" y="259"/>
                  </a:lnTo>
                  <a:lnTo>
                    <a:pt x="481" y="256"/>
                  </a:lnTo>
                  <a:lnTo>
                    <a:pt x="481" y="210"/>
                  </a:lnTo>
                  <a:lnTo>
                    <a:pt x="541" y="210"/>
                  </a:lnTo>
                  <a:lnTo>
                    <a:pt x="541" y="361"/>
                  </a:lnTo>
                  <a:lnTo>
                    <a:pt x="541" y="364"/>
                  </a:lnTo>
                  <a:lnTo>
                    <a:pt x="542" y="366"/>
                  </a:lnTo>
                  <a:lnTo>
                    <a:pt x="543" y="369"/>
                  </a:lnTo>
                  <a:lnTo>
                    <a:pt x="545" y="371"/>
                  </a:lnTo>
                  <a:lnTo>
                    <a:pt x="547" y="374"/>
                  </a:lnTo>
                  <a:lnTo>
                    <a:pt x="549" y="375"/>
                  </a:lnTo>
                  <a:lnTo>
                    <a:pt x="552" y="376"/>
                  </a:lnTo>
                  <a:lnTo>
                    <a:pt x="556" y="376"/>
                  </a:lnTo>
                  <a:lnTo>
                    <a:pt x="559" y="376"/>
                  </a:lnTo>
                  <a:lnTo>
                    <a:pt x="561"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1" y="182"/>
                  </a:lnTo>
                  <a:lnTo>
                    <a:pt x="559" y="181"/>
                  </a:lnTo>
                  <a:lnTo>
                    <a:pt x="556" y="180"/>
                  </a:lnTo>
                  <a:lnTo>
                    <a:pt x="481" y="180"/>
                  </a:lnTo>
                  <a:lnTo>
                    <a:pt x="481" y="150"/>
                  </a:lnTo>
                  <a:lnTo>
                    <a:pt x="600" y="150"/>
                  </a:lnTo>
                  <a:lnTo>
                    <a:pt x="600" y="357"/>
                  </a:lnTo>
                  <a:lnTo>
                    <a:pt x="600" y="360"/>
                  </a:lnTo>
                  <a:lnTo>
                    <a:pt x="602" y="362"/>
                  </a:lnTo>
                  <a:lnTo>
                    <a:pt x="603" y="365"/>
                  </a:lnTo>
                  <a:lnTo>
                    <a:pt x="605" y="367"/>
                  </a:lnTo>
                  <a:lnTo>
                    <a:pt x="607" y="368"/>
                  </a:lnTo>
                  <a:lnTo>
                    <a:pt x="610" y="370"/>
                  </a:lnTo>
                  <a:lnTo>
                    <a:pt x="612" y="370"/>
                  </a:lnTo>
                  <a:lnTo>
                    <a:pt x="615" y="371"/>
                  </a:lnTo>
                  <a:lnTo>
                    <a:pt x="619" y="370"/>
                  </a:lnTo>
                  <a:lnTo>
                    <a:pt x="622"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2" y="121"/>
                  </a:lnTo>
                  <a:lnTo>
                    <a:pt x="619" y="121"/>
                  </a:lnTo>
                  <a:lnTo>
                    <a:pt x="615" y="120"/>
                  </a:lnTo>
                  <a:lnTo>
                    <a:pt x="481" y="120"/>
                  </a:lnTo>
                  <a:lnTo>
                    <a:pt x="481" y="75"/>
                  </a:lnTo>
                  <a:lnTo>
                    <a:pt x="480" y="72"/>
                  </a:lnTo>
                  <a:lnTo>
                    <a:pt x="480" y="70"/>
                  </a:lnTo>
                  <a:lnTo>
                    <a:pt x="477" y="68"/>
                  </a:lnTo>
                  <a:lnTo>
                    <a:pt x="476" y="64"/>
                  </a:lnTo>
                  <a:lnTo>
                    <a:pt x="474" y="63"/>
                  </a:lnTo>
                  <a:lnTo>
                    <a:pt x="471" y="61"/>
                  </a:lnTo>
                  <a:lnTo>
                    <a:pt x="469" y="60"/>
                  </a:lnTo>
                  <a:lnTo>
                    <a:pt x="466" y="60"/>
                  </a:lnTo>
                  <a:lnTo>
                    <a:pt x="407" y="60"/>
                  </a:lnTo>
                  <a:lnTo>
                    <a:pt x="405" y="52"/>
                  </a:lnTo>
                  <a:lnTo>
                    <a:pt x="400" y="41"/>
                  </a:lnTo>
                  <a:lnTo>
                    <a:pt x="398" y="37"/>
                  </a:lnTo>
                  <a:lnTo>
                    <a:pt x="395" y="31"/>
                  </a:lnTo>
                  <a:lnTo>
                    <a:pt x="391" y="26"/>
                  </a:lnTo>
                  <a:lnTo>
                    <a:pt x="385" y="22"/>
                  </a:lnTo>
                  <a:lnTo>
                    <a:pt x="380" y="17"/>
                  </a:lnTo>
                  <a:lnTo>
                    <a:pt x="375" y="13"/>
                  </a:lnTo>
                  <a:lnTo>
                    <a:pt x="367" y="10"/>
                  </a:lnTo>
                  <a:lnTo>
                    <a:pt x="360" y="7"/>
                  </a:lnTo>
                  <a:lnTo>
                    <a:pt x="350" y="3"/>
                  </a:lnTo>
                  <a:lnTo>
                    <a:pt x="340" y="1"/>
                  </a:lnTo>
                  <a:lnTo>
                    <a:pt x="330" y="0"/>
                  </a:lnTo>
                  <a:lnTo>
                    <a:pt x="318" y="0"/>
                  </a:lnTo>
                  <a:lnTo>
                    <a:pt x="306" y="0"/>
                  </a:lnTo>
                  <a:lnTo>
                    <a:pt x="294" y="1"/>
                  </a:lnTo>
                  <a:lnTo>
                    <a:pt x="285" y="3"/>
                  </a:lnTo>
                  <a:lnTo>
                    <a:pt x="276" y="7"/>
                  </a:lnTo>
                  <a:lnTo>
                    <a:pt x="269" y="10"/>
                  </a:lnTo>
                  <a:lnTo>
                    <a:pt x="261" y="13"/>
                  </a:lnTo>
                  <a:lnTo>
                    <a:pt x="255" y="17"/>
                  </a:lnTo>
                  <a:lnTo>
                    <a:pt x="249" y="22"/>
                  </a:lnTo>
                  <a:lnTo>
                    <a:pt x="245" y="26"/>
                  </a:lnTo>
                  <a:lnTo>
                    <a:pt x="241" y="31"/>
                  </a:lnTo>
                  <a:lnTo>
                    <a:pt x="238" y="37"/>
                  </a:lnTo>
                  <a:lnTo>
                    <a:pt x="235" y="41"/>
                  </a:lnTo>
                  <a:lnTo>
                    <a:pt x="231" y="52"/>
                  </a:lnTo>
                  <a:lnTo>
                    <a:pt x="228" y="60"/>
                  </a:lnTo>
                  <a:lnTo>
                    <a:pt x="165" y="60"/>
                  </a:lnTo>
                  <a:lnTo>
                    <a:pt x="162" y="60"/>
                  </a:lnTo>
                  <a:lnTo>
                    <a:pt x="160" y="61"/>
                  </a:lnTo>
                  <a:lnTo>
                    <a:pt x="156" y="63"/>
                  </a:lnTo>
                  <a:lnTo>
                    <a:pt x="154" y="64"/>
                  </a:lnTo>
                  <a:lnTo>
                    <a:pt x="152" y="68"/>
                  </a:lnTo>
                  <a:lnTo>
                    <a:pt x="151" y="70"/>
                  </a:lnTo>
                  <a:lnTo>
                    <a:pt x="150" y="72"/>
                  </a:lnTo>
                  <a:lnTo>
                    <a:pt x="150" y="75"/>
                  </a:lnTo>
                  <a:lnTo>
                    <a:pt x="150" y="120"/>
                  </a:lnTo>
                  <a:lnTo>
                    <a:pt x="15" y="120"/>
                  </a:lnTo>
                  <a:lnTo>
                    <a:pt x="12" y="121"/>
                  </a:lnTo>
                  <a:lnTo>
                    <a:pt x="9" y="121"/>
                  </a:lnTo>
                  <a:lnTo>
                    <a:pt x="7" y="123"/>
                  </a:lnTo>
                  <a:lnTo>
                    <a:pt x="4" y="125"/>
                  </a:lnTo>
                  <a:lnTo>
                    <a:pt x="2" y="127"/>
                  </a:lnTo>
                  <a:lnTo>
                    <a:pt x="1" y="130"/>
                  </a:lnTo>
                  <a:lnTo>
                    <a:pt x="0" y="133"/>
                  </a:lnTo>
                  <a:lnTo>
                    <a:pt x="0" y="135"/>
                  </a:lnTo>
                  <a:lnTo>
                    <a:pt x="0" y="736"/>
                  </a:lnTo>
                  <a:lnTo>
                    <a:pt x="0" y="745"/>
                  </a:lnTo>
                  <a:lnTo>
                    <a:pt x="1" y="754"/>
                  </a:lnTo>
                  <a:lnTo>
                    <a:pt x="2" y="762"/>
                  </a:lnTo>
                  <a:lnTo>
                    <a:pt x="4" y="770"/>
                  </a:lnTo>
                  <a:lnTo>
                    <a:pt x="8" y="776"/>
                  </a:lnTo>
                  <a:lnTo>
                    <a:pt x="11" y="782"/>
                  </a:lnTo>
                  <a:lnTo>
                    <a:pt x="14" y="788"/>
                  </a:lnTo>
                  <a:lnTo>
                    <a:pt x="18" y="793"/>
                  </a:lnTo>
                  <a:lnTo>
                    <a:pt x="24" y="797"/>
                  </a:lnTo>
                  <a:lnTo>
                    <a:pt x="29" y="801"/>
                  </a:lnTo>
                  <a:lnTo>
                    <a:pt x="35" y="804"/>
                  </a:lnTo>
                  <a:lnTo>
                    <a:pt x="42" y="807"/>
                  </a:lnTo>
                  <a:lnTo>
                    <a:pt x="49" y="808"/>
                  </a:lnTo>
                  <a:lnTo>
                    <a:pt x="57" y="810"/>
                  </a:lnTo>
                  <a:lnTo>
                    <a:pt x="65" y="811"/>
                  </a:lnTo>
                  <a:lnTo>
                    <a:pt x="75" y="811"/>
                  </a:lnTo>
                  <a:lnTo>
                    <a:pt x="375" y="811"/>
                  </a:lnTo>
                  <a:lnTo>
                    <a:pt x="378" y="811"/>
                  </a:lnTo>
                  <a:lnTo>
                    <a:pt x="380" y="810"/>
                  </a:lnTo>
                  <a:lnTo>
                    <a:pt x="383" y="809"/>
                  </a:lnTo>
                  <a:lnTo>
                    <a:pt x="385" y="807"/>
                  </a:lnTo>
                  <a:lnTo>
                    <a:pt x="388" y="805"/>
                  </a:lnTo>
                  <a:lnTo>
                    <a:pt x="389" y="803"/>
                  </a:lnTo>
                  <a:lnTo>
                    <a:pt x="390" y="800"/>
                  </a:lnTo>
                  <a:lnTo>
                    <a:pt x="390" y="796"/>
                  </a:lnTo>
                  <a:lnTo>
                    <a:pt x="390" y="793"/>
                  </a:lnTo>
                  <a:lnTo>
                    <a:pt x="389" y="791"/>
                  </a:lnTo>
                  <a:lnTo>
                    <a:pt x="388" y="788"/>
                  </a:lnTo>
                  <a:lnTo>
                    <a:pt x="385" y="786"/>
                  </a:lnTo>
                  <a:lnTo>
                    <a:pt x="383" y="784"/>
                  </a:lnTo>
                  <a:lnTo>
                    <a:pt x="380" y="782"/>
                  </a:lnTo>
                  <a:lnTo>
                    <a:pt x="378" y="781"/>
                  </a:lnTo>
                  <a:lnTo>
                    <a:pt x="375"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0" name="Freeform 342">
              <a:extLst>
                <a:ext uri="{FF2B5EF4-FFF2-40B4-BE49-F238E27FC236}">
                  <a16:creationId xmlns:a16="http://schemas.microsoft.com/office/drawing/2014/main" id="{EF90BD42-2943-4D36-B342-B08230FA0347}"/>
                </a:ext>
              </a:extLst>
            </p:cNvPr>
            <p:cNvSpPr>
              <a:spLocks/>
            </p:cNvSpPr>
            <p:nvPr/>
          </p:nvSpPr>
          <p:spPr bwMode="auto">
            <a:xfrm>
              <a:off x="11088688" y="260985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29 h 30"/>
                <a:gd name="T40" fmla="*/ 209 w 219"/>
                <a:gd name="T41" fmla="*/ 29 h 30"/>
                <a:gd name="T42" fmla="*/ 211 w 219"/>
                <a:gd name="T43" fmla="*/ 28 h 30"/>
                <a:gd name="T44" fmla="*/ 215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2"/>
                  </a:lnTo>
                  <a:lnTo>
                    <a:pt x="0" y="15"/>
                  </a:lnTo>
                  <a:lnTo>
                    <a:pt x="0" y="18"/>
                  </a:lnTo>
                  <a:lnTo>
                    <a:pt x="1" y="20"/>
                  </a:lnTo>
                  <a:lnTo>
                    <a:pt x="2" y="23"/>
                  </a:lnTo>
                  <a:lnTo>
                    <a:pt x="4" y="26"/>
                  </a:lnTo>
                  <a:lnTo>
                    <a:pt x="6" y="28"/>
                  </a:lnTo>
                  <a:lnTo>
                    <a:pt x="8" y="29"/>
                  </a:lnTo>
                  <a:lnTo>
                    <a:pt x="11" y="30"/>
                  </a:lnTo>
                  <a:lnTo>
                    <a:pt x="15" y="30"/>
                  </a:lnTo>
                  <a:lnTo>
                    <a:pt x="204" y="30"/>
                  </a:lnTo>
                  <a:lnTo>
                    <a:pt x="206" y="29"/>
                  </a:lnTo>
                  <a:lnTo>
                    <a:pt x="209" y="29"/>
                  </a:lnTo>
                  <a:lnTo>
                    <a:pt x="211" y="28"/>
                  </a:lnTo>
                  <a:lnTo>
                    <a:pt x="215" y="26"/>
                  </a:lnTo>
                  <a:lnTo>
                    <a:pt x="216" y="23"/>
                  </a:lnTo>
                  <a:lnTo>
                    <a:pt x="218" y="20"/>
                  </a:lnTo>
                  <a:lnTo>
                    <a:pt x="218" y="18"/>
                  </a:lnTo>
                  <a:lnTo>
                    <a:pt x="219" y="15"/>
                  </a:lnTo>
                  <a:lnTo>
                    <a:pt x="218" y="12"/>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1" name="Freeform 343">
              <a:extLst>
                <a:ext uri="{FF2B5EF4-FFF2-40B4-BE49-F238E27FC236}">
                  <a16:creationId xmlns:a16="http://schemas.microsoft.com/office/drawing/2014/main" id="{B6D89EBD-EEAD-46F7-A217-DCE52E80EEA7}"/>
                </a:ext>
              </a:extLst>
            </p:cNvPr>
            <p:cNvSpPr>
              <a:spLocks/>
            </p:cNvSpPr>
            <p:nvPr/>
          </p:nvSpPr>
          <p:spPr bwMode="auto">
            <a:xfrm>
              <a:off x="11088688" y="2638426"/>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8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8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5 w 219"/>
                <a:gd name="T61" fmla="*/ 4 h 30"/>
                <a:gd name="T62" fmla="*/ 211 w 219"/>
                <a:gd name="T63" fmla="*/ 2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2"/>
                  </a:lnTo>
                  <a:lnTo>
                    <a:pt x="4" y="4"/>
                  </a:lnTo>
                  <a:lnTo>
                    <a:pt x="2" y="6"/>
                  </a:lnTo>
                  <a:lnTo>
                    <a:pt x="1" y="9"/>
                  </a:lnTo>
                  <a:lnTo>
                    <a:pt x="0" y="11"/>
                  </a:lnTo>
                  <a:lnTo>
                    <a:pt x="0" y="15"/>
                  </a:lnTo>
                  <a:lnTo>
                    <a:pt x="0" y="18"/>
                  </a:lnTo>
                  <a:lnTo>
                    <a:pt x="1" y="21"/>
                  </a:lnTo>
                  <a:lnTo>
                    <a:pt x="2" y="23"/>
                  </a:lnTo>
                  <a:lnTo>
                    <a:pt x="4" y="25"/>
                  </a:lnTo>
                  <a:lnTo>
                    <a:pt x="6" y="28"/>
                  </a:lnTo>
                  <a:lnTo>
                    <a:pt x="8" y="29"/>
                  </a:lnTo>
                  <a:lnTo>
                    <a:pt x="11" y="30"/>
                  </a:lnTo>
                  <a:lnTo>
                    <a:pt x="15" y="30"/>
                  </a:lnTo>
                  <a:lnTo>
                    <a:pt x="204" y="30"/>
                  </a:lnTo>
                  <a:lnTo>
                    <a:pt x="206" y="30"/>
                  </a:lnTo>
                  <a:lnTo>
                    <a:pt x="209" y="29"/>
                  </a:lnTo>
                  <a:lnTo>
                    <a:pt x="211" y="28"/>
                  </a:lnTo>
                  <a:lnTo>
                    <a:pt x="215" y="25"/>
                  </a:lnTo>
                  <a:lnTo>
                    <a:pt x="216" y="23"/>
                  </a:lnTo>
                  <a:lnTo>
                    <a:pt x="218" y="21"/>
                  </a:lnTo>
                  <a:lnTo>
                    <a:pt x="218" y="18"/>
                  </a:lnTo>
                  <a:lnTo>
                    <a:pt x="219" y="15"/>
                  </a:lnTo>
                  <a:lnTo>
                    <a:pt x="218" y="11"/>
                  </a:lnTo>
                  <a:lnTo>
                    <a:pt x="218" y="9"/>
                  </a:lnTo>
                  <a:lnTo>
                    <a:pt x="216" y="6"/>
                  </a:lnTo>
                  <a:lnTo>
                    <a:pt x="215" y="4"/>
                  </a:lnTo>
                  <a:lnTo>
                    <a:pt x="211" y="2"/>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2" name="Freeform 344">
              <a:extLst>
                <a:ext uri="{FF2B5EF4-FFF2-40B4-BE49-F238E27FC236}">
                  <a16:creationId xmlns:a16="http://schemas.microsoft.com/office/drawing/2014/main" id="{56D3ADEE-7F17-4553-962A-A5FB8047616D}"/>
                </a:ext>
              </a:extLst>
            </p:cNvPr>
            <p:cNvSpPr>
              <a:spLocks/>
            </p:cNvSpPr>
            <p:nvPr/>
          </p:nvSpPr>
          <p:spPr bwMode="auto">
            <a:xfrm>
              <a:off x="11088688" y="2667001"/>
              <a:ext cx="69850" cy="9525"/>
            </a:xfrm>
            <a:custGeom>
              <a:avLst/>
              <a:gdLst>
                <a:gd name="T0" fmla="*/ 204 w 219"/>
                <a:gd name="T1" fmla="*/ 0 h 30"/>
                <a:gd name="T2" fmla="*/ 15 w 219"/>
                <a:gd name="T3" fmla="*/ 0 h 30"/>
                <a:gd name="T4" fmla="*/ 11 w 219"/>
                <a:gd name="T5" fmla="*/ 0 h 30"/>
                <a:gd name="T6" fmla="*/ 8 w 219"/>
                <a:gd name="T7" fmla="*/ 1 h 30"/>
                <a:gd name="T8" fmla="*/ 6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6 w 219"/>
                <a:gd name="T29" fmla="*/ 27 h 30"/>
                <a:gd name="T30" fmla="*/ 8 w 219"/>
                <a:gd name="T31" fmla="*/ 29 h 30"/>
                <a:gd name="T32" fmla="*/ 11 w 219"/>
                <a:gd name="T33" fmla="*/ 30 h 30"/>
                <a:gd name="T34" fmla="*/ 15 w 219"/>
                <a:gd name="T35" fmla="*/ 30 h 30"/>
                <a:gd name="T36" fmla="*/ 204 w 219"/>
                <a:gd name="T37" fmla="*/ 30 h 30"/>
                <a:gd name="T38" fmla="*/ 206 w 219"/>
                <a:gd name="T39" fmla="*/ 30 h 30"/>
                <a:gd name="T40" fmla="*/ 209 w 219"/>
                <a:gd name="T41" fmla="*/ 29 h 30"/>
                <a:gd name="T42" fmla="*/ 211 w 219"/>
                <a:gd name="T43" fmla="*/ 27 h 30"/>
                <a:gd name="T44" fmla="*/ 215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5 w 219"/>
                <a:gd name="T61" fmla="*/ 4 h 30"/>
                <a:gd name="T62" fmla="*/ 211 w 219"/>
                <a:gd name="T63" fmla="*/ 3 h 30"/>
                <a:gd name="T64" fmla="*/ 209 w 219"/>
                <a:gd name="T65" fmla="*/ 1 h 30"/>
                <a:gd name="T66" fmla="*/ 206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1" y="0"/>
                  </a:lnTo>
                  <a:lnTo>
                    <a:pt x="8" y="1"/>
                  </a:lnTo>
                  <a:lnTo>
                    <a:pt x="6" y="3"/>
                  </a:lnTo>
                  <a:lnTo>
                    <a:pt x="4" y="4"/>
                  </a:lnTo>
                  <a:lnTo>
                    <a:pt x="2" y="7"/>
                  </a:lnTo>
                  <a:lnTo>
                    <a:pt x="1" y="9"/>
                  </a:lnTo>
                  <a:lnTo>
                    <a:pt x="0" y="12"/>
                  </a:lnTo>
                  <a:lnTo>
                    <a:pt x="0" y="15"/>
                  </a:lnTo>
                  <a:lnTo>
                    <a:pt x="0" y="18"/>
                  </a:lnTo>
                  <a:lnTo>
                    <a:pt x="1" y="21"/>
                  </a:lnTo>
                  <a:lnTo>
                    <a:pt x="2" y="23"/>
                  </a:lnTo>
                  <a:lnTo>
                    <a:pt x="4" y="25"/>
                  </a:lnTo>
                  <a:lnTo>
                    <a:pt x="6" y="27"/>
                  </a:lnTo>
                  <a:lnTo>
                    <a:pt x="8" y="29"/>
                  </a:lnTo>
                  <a:lnTo>
                    <a:pt x="11" y="30"/>
                  </a:lnTo>
                  <a:lnTo>
                    <a:pt x="15" y="30"/>
                  </a:lnTo>
                  <a:lnTo>
                    <a:pt x="204" y="30"/>
                  </a:lnTo>
                  <a:lnTo>
                    <a:pt x="206" y="30"/>
                  </a:lnTo>
                  <a:lnTo>
                    <a:pt x="209" y="29"/>
                  </a:lnTo>
                  <a:lnTo>
                    <a:pt x="211" y="27"/>
                  </a:lnTo>
                  <a:lnTo>
                    <a:pt x="215" y="25"/>
                  </a:lnTo>
                  <a:lnTo>
                    <a:pt x="216" y="23"/>
                  </a:lnTo>
                  <a:lnTo>
                    <a:pt x="218" y="21"/>
                  </a:lnTo>
                  <a:lnTo>
                    <a:pt x="218" y="18"/>
                  </a:lnTo>
                  <a:lnTo>
                    <a:pt x="219" y="15"/>
                  </a:lnTo>
                  <a:lnTo>
                    <a:pt x="218" y="12"/>
                  </a:lnTo>
                  <a:lnTo>
                    <a:pt x="218" y="9"/>
                  </a:lnTo>
                  <a:lnTo>
                    <a:pt x="216" y="7"/>
                  </a:lnTo>
                  <a:lnTo>
                    <a:pt x="215" y="4"/>
                  </a:lnTo>
                  <a:lnTo>
                    <a:pt x="211" y="3"/>
                  </a:lnTo>
                  <a:lnTo>
                    <a:pt x="209" y="1"/>
                  </a:lnTo>
                  <a:lnTo>
                    <a:pt x="206"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3" name="Freeform 346">
              <a:extLst>
                <a:ext uri="{FF2B5EF4-FFF2-40B4-BE49-F238E27FC236}">
                  <a16:creationId xmlns:a16="http://schemas.microsoft.com/office/drawing/2014/main" id="{DFCC5C27-69EB-48C5-A840-A4C7750CCFE9}"/>
                </a:ext>
              </a:extLst>
            </p:cNvPr>
            <p:cNvSpPr>
              <a:spLocks/>
            </p:cNvSpPr>
            <p:nvPr/>
          </p:nvSpPr>
          <p:spPr bwMode="auto">
            <a:xfrm>
              <a:off x="11088688" y="2695575"/>
              <a:ext cx="46038" cy="9525"/>
            </a:xfrm>
            <a:custGeom>
              <a:avLst/>
              <a:gdLst>
                <a:gd name="T0" fmla="*/ 128 w 143"/>
                <a:gd name="T1" fmla="*/ 29 h 29"/>
                <a:gd name="T2" fmla="*/ 131 w 143"/>
                <a:gd name="T3" fmla="*/ 29 h 29"/>
                <a:gd name="T4" fmla="*/ 133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3 w 143"/>
                <a:gd name="T29" fmla="*/ 2 h 29"/>
                <a:gd name="T30" fmla="*/ 131 w 143"/>
                <a:gd name="T31" fmla="*/ 1 h 29"/>
                <a:gd name="T32" fmla="*/ 128 w 143"/>
                <a:gd name="T33" fmla="*/ 0 h 29"/>
                <a:gd name="T34" fmla="*/ 15 w 143"/>
                <a:gd name="T35" fmla="*/ 0 h 29"/>
                <a:gd name="T36" fmla="*/ 11 w 143"/>
                <a:gd name="T37" fmla="*/ 1 h 29"/>
                <a:gd name="T38" fmla="*/ 8 w 143"/>
                <a:gd name="T39" fmla="*/ 2 h 29"/>
                <a:gd name="T40" fmla="*/ 6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6 w 143"/>
                <a:gd name="T61" fmla="*/ 27 h 29"/>
                <a:gd name="T62" fmla="*/ 8 w 143"/>
                <a:gd name="T63" fmla="*/ 28 h 29"/>
                <a:gd name="T64" fmla="*/ 11 w 143"/>
                <a:gd name="T65" fmla="*/ 29 h 29"/>
                <a:gd name="T66" fmla="*/ 15 w 143"/>
                <a:gd name="T67" fmla="*/ 29 h 29"/>
                <a:gd name="T68" fmla="*/ 128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8" y="29"/>
                  </a:moveTo>
                  <a:lnTo>
                    <a:pt x="131" y="29"/>
                  </a:lnTo>
                  <a:lnTo>
                    <a:pt x="133"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3" y="2"/>
                  </a:lnTo>
                  <a:lnTo>
                    <a:pt x="131" y="1"/>
                  </a:lnTo>
                  <a:lnTo>
                    <a:pt x="128" y="0"/>
                  </a:lnTo>
                  <a:lnTo>
                    <a:pt x="15" y="0"/>
                  </a:lnTo>
                  <a:lnTo>
                    <a:pt x="11" y="1"/>
                  </a:lnTo>
                  <a:lnTo>
                    <a:pt x="8" y="2"/>
                  </a:lnTo>
                  <a:lnTo>
                    <a:pt x="6" y="3"/>
                  </a:lnTo>
                  <a:lnTo>
                    <a:pt x="4" y="5"/>
                  </a:lnTo>
                  <a:lnTo>
                    <a:pt x="2" y="7"/>
                  </a:lnTo>
                  <a:lnTo>
                    <a:pt x="1" y="9"/>
                  </a:lnTo>
                  <a:lnTo>
                    <a:pt x="0" y="12"/>
                  </a:lnTo>
                  <a:lnTo>
                    <a:pt x="0" y="14"/>
                  </a:lnTo>
                  <a:lnTo>
                    <a:pt x="0" y="18"/>
                  </a:lnTo>
                  <a:lnTo>
                    <a:pt x="1" y="21"/>
                  </a:lnTo>
                  <a:lnTo>
                    <a:pt x="2" y="23"/>
                  </a:lnTo>
                  <a:lnTo>
                    <a:pt x="4" y="26"/>
                  </a:lnTo>
                  <a:lnTo>
                    <a:pt x="6" y="27"/>
                  </a:lnTo>
                  <a:lnTo>
                    <a:pt x="8" y="28"/>
                  </a:lnTo>
                  <a:lnTo>
                    <a:pt x="11" y="29"/>
                  </a:lnTo>
                  <a:lnTo>
                    <a:pt x="15" y="29"/>
                  </a:lnTo>
                  <a:lnTo>
                    <a:pt x="128"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02" name="Freeform 85">
            <a:extLst>
              <a:ext uri="{FF2B5EF4-FFF2-40B4-BE49-F238E27FC236}">
                <a16:creationId xmlns:a16="http://schemas.microsoft.com/office/drawing/2014/main" id="{DE963FA8-79C6-4555-BF4C-A0C42CD84001}"/>
              </a:ext>
            </a:extLst>
          </p:cNvPr>
          <p:cNvSpPr>
            <a:spLocks noChangeAspect="1" noEditPoints="1"/>
          </p:cNvSpPr>
          <p:nvPr/>
        </p:nvSpPr>
        <p:spPr bwMode="auto">
          <a:xfrm rot="9000000">
            <a:off x="7970755" y="4317626"/>
            <a:ext cx="97651" cy="362711"/>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07" name="Gruppieren 606">
            <a:extLst>
              <a:ext uri="{FF2B5EF4-FFF2-40B4-BE49-F238E27FC236}">
                <a16:creationId xmlns:a16="http://schemas.microsoft.com/office/drawing/2014/main" id="{72FD3C36-49AD-4435-8FD9-B3E322CEDCFD}"/>
              </a:ext>
            </a:extLst>
          </p:cNvPr>
          <p:cNvGrpSpPr>
            <a:grpSpLocks noChangeAspect="1"/>
          </p:cNvGrpSpPr>
          <p:nvPr/>
        </p:nvGrpSpPr>
        <p:grpSpPr>
          <a:xfrm>
            <a:off x="8267459" y="4344909"/>
            <a:ext cx="361633" cy="308144"/>
            <a:chOff x="7191868" y="2875794"/>
            <a:chExt cx="358492" cy="305468"/>
          </a:xfrm>
          <a:solidFill>
            <a:schemeClr val="bg1"/>
          </a:solidFill>
          <a:effectLst/>
        </p:grpSpPr>
        <p:sp>
          <p:nvSpPr>
            <p:cNvPr id="608" name="Freeform 132">
              <a:extLst>
                <a:ext uri="{FF2B5EF4-FFF2-40B4-BE49-F238E27FC236}">
                  <a16:creationId xmlns:a16="http://schemas.microsoft.com/office/drawing/2014/main" id="{86296A02-360C-4D1B-AF3D-145E2F718B01}"/>
                </a:ext>
              </a:extLst>
            </p:cNvPr>
            <p:cNvSpPr>
              <a:spLocks/>
            </p:cNvSpPr>
            <p:nvPr/>
          </p:nvSpPr>
          <p:spPr bwMode="auto">
            <a:xfrm>
              <a:off x="7311749" y="2914986"/>
              <a:ext cx="79537" cy="13832"/>
            </a:xfrm>
            <a:custGeom>
              <a:avLst/>
              <a:gdLst>
                <a:gd name="T0" fmla="*/ 252 w 276"/>
                <a:gd name="T1" fmla="*/ 45 h 45"/>
                <a:gd name="T2" fmla="*/ 22 w 276"/>
                <a:gd name="T3" fmla="*/ 45 h 45"/>
                <a:gd name="T4" fmla="*/ 18 w 276"/>
                <a:gd name="T5" fmla="*/ 45 h 45"/>
                <a:gd name="T6" fmla="*/ 13 w 276"/>
                <a:gd name="T7" fmla="*/ 44 h 45"/>
                <a:gd name="T8" fmla="*/ 10 w 276"/>
                <a:gd name="T9" fmla="*/ 42 h 45"/>
                <a:gd name="T10" fmla="*/ 6 w 276"/>
                <a:gd name="T11" fmla="*/ 39 h 45"/>
                <a:gd name="T12" fmla="*/ 3 w 276"/>
                <a:gd name="T13" fmla="*/ 35 h 45"/>
                <a:gd name="T14" fmla="*/ 1 w 276"/>
                <a:gd name="T15" fmla="*/ 32 h 45"/>
                <a:gd name="T16" fmla="*/ 0 w 276"/>
                <a:gd name="T17" fmla="*/ 27 h 45"/>
                <a:gd name="T18" fmla="*/ 0 w 276"/>
                <a:gd name="T19" fmla="*/ 22 h 45"/>
                <a:gd name="T20" fmla="*/ 0 w 276"/>
                <a:gd name="T21" fmla="*/ 18 h 45"/>
                <a:gd name="T22" fmla="*/ 1 w 276"/>
                <a:gd name="T23" fmla="*/ 13 h 45"/>
                <a:gd name="T24" fmla="*/ 3 w 276"/>
                <a:gd name="T25" fmla="*/ 10 h 45"/>
                <a:gd name="T26" fmla="*/ 6 w 276"/>
                <a:gd name="T27" fmla="*/ 6 h 45"/>
                <a:gd name="T28" fmla="*/ 10 w 276"/>
                <a:gd name="T29" fmla="*/ 4 h 45"/>
                <a:gd name="T30" fmla="*/ 13 w 276"/>
                <a:gd name="T31" fmla="*/ 1 h 45"/>
                <a:gd name="T32" fmla="*/ 18 w 276"/>
                <a:gd name="T33" fmla="*/ 0 h 45"/>
                <a:gd name="T34" fmla="*/ 22 w 276"/>
                <a:gd name="T35" fmla="*/ 0 h 45"/>
                <a:gd name="T36" fmla="*/ 252 w 276"/>
                <a:gd name="T37" fmla="*/ 0 h 45"/>
                <a:gd name="T38" fmla="*/ 257 w 276"/>
                <a:gd name="T39" fmla="*/ 0 h 45"/>
                <a:gd name="T40" fmla="*/ 261 w 276"/>
                <a:gd name="T41" fmla="*/ 1 h 45"/>
                <a:gd name="T42" fmla="*/ 266 w 276"/>
                <a:gd name="T43" fmla="*/ 4 h 45"/>
                <a:gd name="T44" fmla="*/ 268 w 276"/>
                <a:gd name="T45" fmla="*/ 6 h 45"/>
                <a:gd name="T46" fmla="*/ 272 w 276"/>
                <a:gd name="T47" fmla="*/ 10 h 45"/>
                <a:gd name="T48" fmla="*/ 273 w 276"/>
                <a:gd name="T49" fmla="*/ 13 h 45"/>
                <a:gd name="T50" fmla="*/ 276 w 276"/>
                <a:gd name="T51" fmla="*/ 18 h 45"/>
                <a:gd name="T52" fmla="*/ 276 w 276"/>
                <a:gd name="T53" fmla="*/ 22 h 45"/>
                <a:gd name="T54" fmla="*/ 276 w 276"/>
                <a:gd name="T55" fmla="*/ 27 h 45"/>
                <a:gd name="T56" fmla="*/ 273 w 276"/>
                <a:gd name="T57" fmla="*/ 32 h 45"/>
                <a:gd name="T58" fmla="*/ 272 w 276"/>
                <a:gd name="T59" fmla="*/ 35 h 45"/>
                <a:gd name="T60" fmla="*/ 268 w 276"/>
                <a:gd name="T61" fmla="*/ 39 h 45"/>
                <a:gd name="T62" fmla="*/ 266 w 276"/>
                <a:gd name="T63" fmla="*/ 42 h 45"/>
                <a:gd name="T64" fmla="*/ 261 w 276"/>
                <a:gd name="T65" fmla="*/ 44 h 45"/>
                <a:gd name="T66" fmla="*/ 257 w 276"/>
                <a:gd name="T67" fmla="*/ 45 h 45"/>
                <a:gd name="T68" fmla="*/ 252 w 276"/>
                <a:gd name="T6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45">
                  <a:moveTo>
                    <a:pt x="252" y="45"/>
                  </a:moveTo>
                  <a:lnTo>
                    <a:pt x="22" y="45"/>
                  </a:lnTo>
                  <a:lnTo>
                    <a:pt x="18" y="45"/>
                  </a:lnTo>
                  <a:lnTo>
                    <a:pt x="13" y="44"/>
                  </a:lnTo>
                  <a:lnTo>
                    <a:pt x="10" y="42"/>
                  </a:lnTo>
                  <a:lnTo>
                    <a:pt x="6" y="39"/>
                  </a:lnTo>
                  <a:lnTo>
                    <a:pt x="3" y="35"/>
                  </a:lnTo>
                  <a:lnTo>
                    <a:pt x="1" y="32"/>
                  </a:lnTo>
                  <a:lnTo>
                    <a:pt x="0" y="27"/>
                  </a:lnTo>
                  <a:lnTo>
                    <a:pt x="0" y="22"/>
                  </a:lnTo>
                  <a:lnTo>
                    <a:pt x="0" y="18"/>
                  </a:lnTo>
                  <a:lnTo>
                    <a:pt x="1" y="13"/>
                  </a:lnTo>
                  <a:lnTo>
                    <a:pt x="3" y="10"/>
                  </a:lnTo>
                  <a:lnTo>
                    <a:pt x="6" y="6"/>
                  </a:lnTo>
                  <a:lnTo>
                    <a:pt x="10" y="4"/>
                  </a:lnTo>
                  <a:lnTo>
                    <a:pt x="13" y="1"/>
                  </a:lnTo>
                  <a:lnTo>
                    <a:pt x="18" y="0"/>
                  </a:lnTo>
                  <a:lnTo>
                    <a:pt x="22" y="0"/>
                  </a:lnTo>
                  <a:lnTo>
                    <a:pt x="252" y="0"/>
                  </a:lnTo>
                  <a:lnTo>
                    <a:pt x="257" y="0"/>
                  </a:lnTo>
                  <a:lnTo>
                    <a:pt x="261" y="1"/>
                  </a:lnTo>
                  <a:lnTo>
                    <a:pt x="266" y="4"/>
                  </a:lnTo>
                  <a:lnTo>
                    <a:pt x="268" y="6"/>
                  </a:lnTo>
                  <a:lnTo>
                    <a:pt x="272" y="10"/>
                  </a:lnTo>
                  <a:lnTo>
                    <a:pt x="273" y="13"/>
                  </a:lnTo>
                  <a:lnTo>
                    <a:pt x="276" y="18"/>
                  </a:lnTo>
                  <a:lnTo>
                    <a:pt x="276" y="22"/>
                  </a:lnTo>
                  <a:lnTo>
                    <a:pt x="276" y="27"/>
                  </a:lnTo>
                  <a:lnTo>
                    <a:pt x="273" y="32"/>
                  </a:lnTo>
                  <a:lnTo>
                    <a:pt x="272" y="35"/>
                  </a:lnTo>
                  <a:lnTo>
                    <a:pt x="268" y="39"/>
                  </a:lnTo>
                  <a:lnTo>
                    <a:pt x="266" y="42"/>
                  </a:lnTo>
                  <a:lnTo>
                    <a:pt x="261" y="44"/>
                  </a:lnTo>
                  <a:lnTo>
                    <a:pt x="257" y="45"/>
                  </a:lnTo>
                  <a:lnTo>
                    <a:pt x="252"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9" name="Freeform 133">
              <a:extLst>
                <a:ext uri="{FF2B5EF4-FFF2-40B4-BE49-F238E27FC236}">
                  <a16:creationId xmlns:a16="http://schemas.microsoft.com/office/drawing/2014/main" id="{296ECC46-E27E-4558-9F6E-79C2ABE2FE2F}"/>
                </a:ext>
              </a:extLst>
            </p:cNvPr>
            <p:cNvSpPr>
              <a:spLocks/>
            </p:cNvSpPr>
            <p:nvPr/>
          </p:nvSpPr>
          <p:spPr bwMode="auto">
            <a:xfrm>
              <a:off x="7244892" y="2955330"/>
              <a:ext cx="212098" cy="12680"/>
            </a:xfrm>
            <a:custGeom>
              <a:avLst/>
              <a:gdLst>
                <a:gd name="T0" fmla="*/ 714 w 737"/>
                <a:gd name="T1" fmla="*/ 47 h 47"/>
                <a:gd name="T2" fmla="*/ 22 w 737"/>
                <a:gd name="T3" fmla="*/ 47 h 47"/>
                <a:gd name="T4" fmla="*/ 19 w 737"/>
                <a:gd name="T5" fmla="*/ 47 h 47"/>
                <a:gd name="T6" fmla="*/ 14 w 737"/>
                <a:gd name="T7" fmla="*/ 44 h 47"/>
                <a:gd name="T8" fmla="*/ 10 w 737"/>
                <a:gd name="T9" fmla="*/ 43 h 47"/>
                <a:gd name="T10" fmla="*/ 6 w 737"/>
                <a:gd name="T11" fmla="*/ 39 h 47"/>
                <a:gd name="T12" fmla="*/ 4 w 737"/>
                <a:gd name="T13" fmla="*/ 37 h 47"/>
                <a:gd name="T14" fmla="*/ 1 w 737"/>
                <a:gd name="T15" fmla="*/ 32 h 47"/>
                <a:gd name="T16" fmla="*/ 0 w 737"/>
                <a:gd name="T17" fmla="*/ 28 h 47"/>
                <a:gd name="T18" fmla="*/ 0 w 737"/>
                <a:gd name="T19" fmla="*/ 24 h 47"/>
                <a:gd name="T20" fmla="*/ 0 w 737"/>
                <a:gd name="T21" fmla="*/ 19 h 47"/>
                <a:gd name="T22" fmla="*/ 1 w 737"/>
                <a:gd name="T23" fmla="*/ 15 h 47"/>
                <a:gd name="T24" fmla="*/ 4 w 737"/>
                <a:gd name="T25" fmla="*/ 11 h 47"/>
                <a:gd name="T26" fmla="*/ 6 w 737"/>
                <a:gd name="T27" fmla="*/ 8 h 47"/>
                <a:gd name="T28" fmla="*/ 10 w 737"/>
                <a:gd name="T29" fmla="*/ 5 h 47"/>
                <a:gd name="T30" fmla="*/ 14 w 737"/>
                <a:gd name="T31" fmla="*/ 3 h 47"/>
                <a:gd name="T32" fmla="*/ 19 w 737"/>
                <a:gd name="T33" fmla="*/ 1 h 47"/>
                <a:gd name="T34" fmla="*/ 22 w 737"/>
                <a:gd name="T35" fmla="*/ 0 h 47"/>
                <a:gd name="T36" fmla="*/ 714 w 737"/>
                <a:gd name="T37" fmla="*/ 0 h 47"/>
                <a:gd name="T38" fmla="*/ 719 w 737"/>
                <a:gd name="T39" fmla="*/ 1 h 47"/>
                <a:gd name="T40" fmla="*/ 723 w 737"/>
                <a:gd name="T41" fmla="*/ 3 h 47"/>
                <a:gd name="T42" fmla="*/ 726 w 737"/>
                <a:gd name="T43" fmla="*/ 5 h 47"/>
                <a:gd name="T44" fmla="*/ 730 w 737"/>
                <a:gd name="T45" fmla="*/ 8 h 47"/>
                <a:gd name="T46" fmla="*/ 734 w 737"/>
                <a:gd name="T47" fmla="*/ 11 h 47"/>
                <a:gd name="T48" fmla="*/ 735 w 737"/>
                <a:gd name="T49" fmla="*/ 15 h 47"/>
                <a:gd name="T50" fmla="*/ 736 w 737"/>
                <a:gd name="T51" fmla="*/ 19 h 47"/>
                <a:gd name="T52" fmla="*/ 737 w 737"/>
                <a:gd name="T53" fmla="*/ 24 h 47"/>
                <a:gd name="T54" fmla="*/ 736 w 737"/>
                <a:gd name="T55" fmla="*/ 28 h 47"/>
                <a:gd name="T56" fmla="*/ 735 w 737"/>
                <a:gd name="T57" fmla="*/ 32 h 47"/>
                <a:gd name="T58" fmla="*/ 734 w 737"/>
                <a:gd name="T59" fmla="*/ 37 h 47"/>
                <a:gd name="T60" fmla="*/ 730 w 737"/>
                <a:gd name="T61" fmla="*/ 39 h 47"/>
                <a:gd name="T62" fmla="*/ 726 w 737"/>
                <a:gd name="T63" fmla="*/ 43 h 47"/>
                <a:gd name="T64" fmla="*/ 723 w 737"/>
                <a:gd name="T65" fmla="*/ 44 h 47"/>
                <a:gd name="T66" fmla="*/ 719 w 737"/>
                <a:gd name="T67" fmla="*/ 47 h 47"/>
                <a:gd name="T68" fmla="*/ 714 w 737"/>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7" h="47">
                  <a:moveTo>
                    <a:pt x="714" y="47"/>
                  </a:moveTo>
                  <a:lnTo>
                    <a:pt x="22" y="47"/>
                  </a:lnTo>
                  <a:lnTo>
                    <a:pt x="19" y="47"/>
                  </a:lnTo>
                  <a:lnTo>
                    <a:pt x="14" y="44"/>
                  </a:lnTo>
                  <a:lnTo>
                    <a:pt x="10" y="43"/>
                  </a:lnTo>
                  <a:lnTo>
                    <a:pt x="6" y="39"/>
                  </a:lnTo>
                  <a:lnTo>
                    <a:pt x="4" y="37"/>
                  </a:lnTo>
                  <a:lnTo>
                    <a:pt x="1" y="32"/>
                  </a:lnTo>
                  <a:lnTo>
                    <a:pt x="0" y="28"/>
                  </a:lnTo>
                  <a:lnTo>
                    <a:pt x="0" y="24"/>
                  </a:lnTo>
                  <a:lnTo>
                    <a:pt x="0" y="19"/>
                  </a:lnTo>
                  <a:lnTo>
                    <a:pt x="1" y="15"/>
                  </a:lnTo>
                  <a:lnTo>
                    <a:pt x="4" y="11"/>
                  </a:lnTo>
                  <a:lnTo>
                    <a:pt x="6" y="8"/>
                  </a:lnTo>
                  <a:lnTo>
                    <a:pt x="10" y="5"/>
                  </a:lnTo>
                  <a:lnTo>
                    <a:pt x="14" y="3"/>
                  </a:lnTo>
                  <a:lnTo>
                    <a:pt x="19" y="1"/>
                  </a:lnTo>
                  <a:lnTo>
                    <a:pt x="22" y="0"/>
                  </a:lnTo>
                  <a:lnTo>
                    <a:pt x="714" y="0"/>
                  </a:lnTo>
                  <a:lnTo>
                    <a:pt x="719" y="1"/>
                  </a:lnTo>
                  <a:lnTo>
                    <a:pt x="723" y="3"/>
                  </a:lnTo>
                  <a:lnTo>
                    <a:pt x="726" y="5"/>
                  </a:lnTo>
                  <a:lnTo>
                    <a:pt x="730" y="8"/>
                  </a:lnTo>
                  <a:lnTo>
                    <a:pt x="734" y="11"/>
                  </a:lnTo>
                  <a:lnTo>
                    <a:pt x="735" y="15"/>
                  </a:lnTo>
                  <a:lnTo>
                    <a:pt x="736" y="19"/>
                  </a:lnTo>
                  <a:lnTo>
                    <a:pt x="737" y="24"/>
                  </a:lnTo>
                  <a:lnTo>
                    <a:pt x="736" y="28"/>
                  </a:lnTo>
                  <a:lnTo>
                    <a:pt x="735" y="32"/>
                  </a:lnTo>
                  <a:lnTo>
                    <a:pt x="734" y="37"/>
                  </a:lnTo>
                  <a:lnTo>
                    <a:pt x="730" y="39"/>
                  </a:lnTo>
                  <a:lnTo>
                    <a:pt x="726" y="43"/>
                  </a:lnTo>
                  <a:lnTo>
                    <a:pt x="723" y="44"/>
                  </a:lnTo>
                  <a:lnTo>
                    <a:pt x="719" y="47"/>
                  </a:lnTo>
                  <a:lnTo>
                    <a:pt x="714" y="4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0" name="Freeform 134">
              <a:extLst>
                <a:ext uri="{FF2B5EF4-FFF2-40B4-BE49-F238E27FC236}">
                  <a16:creationId xmlns:a16="http://schemas.microsoft.com/office/drawing/2014/main" id="{9701979D-9665-4C4E-835E-B62BA93A2213}"/>
                </a:ext>
              </a:extLst>
            </p:cNvPr>
            <p:cNvSpPr>
              <a:spLocks/>
            </p:cNvSpPr>
            <p:nvPr/>
          </p:nvSpPr>
          <p:spPr bwMode="auto">
            <a:xfrm>
              <a:off x="7244892" y="2994523"/>
              <a:ext cx="212098" cy="13832"/>
            </a:xfrm>
            <a:custGeom>
              <a:avLst/>
              <a:gdLst>
                <a:gd name="T0" fmla="*/ 714 w 737"/>
                <a:gd name="T1" fmla="*/ 46 h 46"/>
                <a:gd name="T2" fmla="*/ 22 w 737"/>
                <a:gd name="T3" fmla="*/ 46 h 46"/>
                <a:gd name="T4" fmla="*/ 19 w 737"/>
                <a:gd name="T5" fmla="*/ 45 h 46"/>
                <a:gd name="T6" fmla="*/ 14 w 737"/>
                <a:gd name="T7" fmla="*/ 44 h 46"/>
                <a:gd name="T8" fmla="*/ 10 w 737"/>
                <a:gd name="T9" fmla="*/ 42 h 46"/>
                <a:gd name="T10" fmla="*/ 6 w 737"/>
                <a:gd name="T11" fmla="*/ 39 h 46"/>
                <a:gd name="T12" fmla="*/ 4 w 737"/>
                <a:gd name="T13" fmla="*/ 35 h 46"/>
                <a:gd name="T14" fmla="*/ 1 w 737"/>
                <a:gd name="T15" fmla="*/ 32 h 46"/>
                <a:gd name="T16" fmla="*/ 0 w 737"/>
                <a:gd name="T17" fmla="*/ 28 h 46"/>
                <a:gd name="T18" fmla="*/ 0 w 737"/>
                <a:gd name="T19" fmla="*/ 23 h 46"/>
                <a:gd name="T20" fmla="*/ 0 w 737"/>
                <a:gd name="T21" fmla="*/ 18 h 46"/>
                <a:gd name="T22" fmla="*/ 1 w 737"/>
                <a:gd name="T23" fmla="*/ 15 h 46"/>
                <a:gd name="T24" fmla="*/ 4 w 737"/>
                <a:gd name="T25" fmla="*/ 10 h 46"/>
                <a:gd name="T26" fmla="*/ 6 w 737"/>
                <a:gd name="T27" fmla="*/ 7 h 46"/>
                <a:gd name="T28" fmla="*/ 10 w 737"/>
                <a:gd name="T29" fmla="*/ 4 h 46"/>
                <a:gd name="T30" fmla="*/ 14 w 737"/>
                <a:gd name="T31" fmla="*/ 2 h 46"/>
                <a:gd name="T32" fmla="*/ 19 w 737"/>
                <a:gd name="T33" fmla="*/ 0 h 46"/>
                <a:gd name="T34" fmla="*/ 22 w 737"/>
                <a:gd name="T35" fmla="*/ 0 h 46"/>
                <a:gd name="T36" fmla="*/ 714 w 737"/>
                <a:gd name="T37" fmla="*/ 0 h 46"/>
                <a:gd name="T38" fmla="*/ 719 w 737"/>
                <a:gd name="T39" fmla="*/ 0 h 46"/>
                <a:gd name="T40" fmla="*/ 723 w 737"/>
                <a:gd name="T41" fmla="*/ 2 h 46"/>
                <a:gd name="T42" fmla="*/ 726 w 737"/>
                <a:gd name="T43" fmla="*/ 4 h 46"/>
                <a:gd name="T44" fmla="*/ 730 w 737"/>
                <a:gd name="T45" fmla="*/ 7 h 46"/>
                <a:gd name="T46" fmla="*/ 734 w 737"/>
                <a:gd name="T47" fmla="*/ 10 h 46"/>
                <a:gd name="T48" fmla="*/ 735 w 737"/>
                <a:gd name="T49" fmla="*/ 15 h 46"/>
                <a:gd name="T50" fmla="*/ 736 w 737"/>
                <a:gd name="T51" fmla="*/ 18 h 46"/>
                <a:gd name="T52" fmla="*/ 737 w 737"/>
                <a:gd name="T53" fmla="*/ 23 h 46"/>
                <a:gd name="T54" fmla="*/ 736 w 737"/>
                <a:gd name="T55" fmla="*/ 28 h 46"/>
                <a:gd name="T56" fmla="*/ 735 w 737"/>
                <a:gd name="T57" fmla="*/ 32 h 46"/>
                <a:gd name="T58" fmla="*/ 734 w 737"/>
                <a:gd name="T59" fmla="*/ 35 h 46"/>
                <a:gd name="T60" fmla="*/ 730 w 737"/>
                <a:gd name="T61" fmla="*/ 39 h 46"/>
                <a:gd name="T62" fmla="*/ 726 w 737"/>
                <a:gd name="T63" fmla="*/ 42 h 46"/>
                <a:gd name="T64" fmla="*/ 723 w 737"/>
                <a:gd name="T65" fmla="*/ 44 h 46"/>
                <a:gd name="T66" fmla="*/ 719 w 737"/>
                <a:gd name="T67" fmla="*/ 45 h 46"/>
                <a:gd name="T68" fmla="*/ 714 w 737"/>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7" h="46">
                  <a:moveTo>
                    <a:pt x="714" y="46"/>
                  </a:moveTo>
                  <a:lnTo>
                    <a:pt x="22" y="46"/>
                  </a:lnTo>
                  <a:lnTo>
                    <a:pt x="19" y="45"/>
                  </a:lnTo>
                  <a:lnTo>
                    <a:pt x="14" y="44"/>
                  </a:lnTo>
                  <a:lnTo>
                    <a:pt x="10" y="42"/>
                  </a:lnTo>
                  <a:lnTo>
                    <a:pt x="6" y="39"/>
                  </a:lnTo>
                  <a:lnTo>
                    <a:pt x="4" y="35"/>
                  </a:lnTo>
                  <a:lnTo>
                    <a:pt x="1" y="32"/>
                  </a:lnTo>
                  <a:lnTo>
                    <a:pt x="0" y="28"/>
                  </a:lnTo>
                  <a:lnTo>
                    <a:pt x="0" y="23"/>
                  </a:lnTo>
                  <a:lnTo>
                    <a:pt x="0" y="18"/>
                  </a:lnTo>
                  <a:lnTo>
                    <a:pt x="1" y="15"/>
                  </a:lnTo>
                  <a:lnTo>
                    <a:pt x="4" y="10"/>
                  </a:lnTo>
                  <a:lnTo>
                    <a:pt x="6" y="7"/>
                  </a:lnTo>
                  <a:lnTo>
                    <a:pt x="10" y="4"/>
                  </a:lnTo>
                  <a:lnTo>
                    <a:pt x="14" y="2"/>
                  </a:lnTo>
                  <a:lnTo>
                    <a:pt x="19" y="0"/>
                  </a:lnTo>
                  <a:lnTo>
                    <a:pt x="22" y="0"/>
                  </a:lnTo>
                  <a:lnTo>
                    <a:pt x="714" y="0"/>
                  </a:lnTo>
                  <a:lnTo>
                    <a:pt x="719" y="0"/>
                  </a:lnTo>
                  <a:lnTo>
                    <a:pt x="723" y="2"/>
                  </a:lnTo>
                  <a:lnTo>
                    <a:pt x="726" y="4"/>
                  </a:lnTo>
                  <a:lnTo>
                    <a:pt x="730" y="7"/>
                  </a:lnTo>
                  <a:lnTo>
                    <a:pt x="734" y="10"/>
                  </a:lnTo>
                  <a:lnTo>
                    <a:pt x="735" y="15"/>
                  </a:lnTo>
                  <a:lnTo>
                    <a:pt x="736" y="18"/>
                  </a:lnTo>
                  <a:lnTo>
                    <a:pt x="737" y="23"/>
                  </a:lnTo>
                  <a:lnTo>
                    <a:pt x="736" y="28"/>
                  </a:lnTo>
                  <a:lnTo>
                    <a:pt x="735" y="32"/>
                  </a:lnTo>
                  <a:lnTo>
                    <a:pt x="734" y="35"/>
                  </a:lnTo>
                  <a:lnTo>
                    <a:pt x="730" y="39"/>
                  </a:lnTo>
                  <a:lnTo>
                    <a:pt x="726" y="42"/>
                  </a:lnTo>
                  <a:lnTo>
                    <a:pt x="723" y="44"/>
                  </a:lnTo>
                  <a:lnTo>
                    <a:pt x="719" y="45"/>
                  </a:lnTo>
                  <a:lnTo>
                    <a:pt x="714"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1" name="Freeform 135">
              <a:extLst>
                <a:ext uri="{FF2B5EF4-FFF2-40B4-BE49-F238E27FC236}">
                  <a16:creationId xmlns:a16="http://schemas.microsoft.com/office/drawing/2014/main" id="{03F5D05B-41F1-4951-9344-1C9C70542DFB}"/>
                </a:ext>
              </a:extLst>
            </p:cNvPr>
            <p:cNvSpPr>
              <a:spLocks/>
            </p:cNvSpPr>
            <p:nvPr/>
          </p:nvSpPr>
          <p:spPr bwMode="auto">
            <a:xfrm>
              <a:off x="7244892" y="3034868"/>
              <a:ext cx="79537" cy="12680"/>
            </a:xfrm>
            <a:custGeom>
              <a:avLst/>
              <a:gdLst>
                <a:gd name="T0" fmla="*/ 253 w 276"/>
                <a:gd name="T1" fmla="*/ 46 h 46"/>
                <a:gd name="T2" fmla="*/ 22 w 276"/>
                <a:gd name="T3" fmla="*/ 46 h 46"/>
                <a:gd name="T4" fmla="*/ 19 w 276"/>
                <a:gd name="T5" fmla="*/ 46 h 46"/>
                <a:gd name="T6" fmla="*/ 14 w 276"/>
                <a:gd name="T7" fmla="*/ 45 h 46"/>
                <a:gd name="T8" fmla="*/ 10 w 276"/>
                <a:gd name="T9" fmla="*/ 42 h 46"/>
                <a:gd name="T10" fmla="*/ 6 w 276"/>
                <a:gd name="T11" fmla="*/ 40 h 46"/>
                <a:gd name="T12" fmla="*/ 4 w 276"/>
                <a:gd name="T13" fmla="*/ 36 h 46"/>
                <a:gd name="T14" fmla="*/ 1 w 276"/>
                <a:gd name="T15" fmla="*/ 32 h 46"/>
                <a:gd name="T16" fmla="*/ 0 w 276"/>
                <a:gd name="T17" fmla="*/ 27 h 46"/>
                <a:gd name="T18" fmla="*/ 0 w 276"/>
                <a:gd name="T19" fmla="*/ 24 h 46"/>
                <a:gd name="T20" fmla="*/ 0 w 276"/>
                <a:gd name="T21" fmla="*/ 19 h 46"/>
                <a:gd name="T22" fmla="*/ 1 w 276"/>
                <a:gd name="T23" fmla="*/ 14 h 46"/>
                <a:gd name="T24" fmla="*/ 4 w 276"/>
                <a:gd name="T25" fmla="*/ 10 h 46"/>
                <a:gd name="T26" fmla="*/ 6 w 276"/>
                <a:gd name="T27" fmla="*/ 7 h 46"/>
                <a:gd name="T28" fmla="*/ 10 w 276"/>
                <a:gd name="T29" fmla="*/ 4 h 46"/>
                <a:gd name="T30" fmla="*/ 14 w 276"/>
                <a:gd name="T31" fmla="*/ 2 h 46"/>
                <a:gd name="T32" fmla="*/ 19 w 276"/>
                <a:gd name="T33" fmla="*/ 0 h 46"/>
                <a:gd name="T34" fmla="*/ 22 w 276"/>
                <a:gd name="T35" fmla="*/ 0 h 46"/>
                <a:gd name="T36" fmla="*/ 253 w 276"/>
                <a:gd name="T37" fmla="*/ 0 h 46"/>
                <a:gd name="T38" fmla="*/ 258 w 276"/>
                <a:gd name="T39" fmla="*/ 0 h 46"/>
                <a:gd name="T40" fmla="*/ 263 w 276"/>
                <a:gd name="T41" fmla="*/ 2 h 46"/>
                <a:gd name="T42" fmla="*/ 266 w 276"/>
                <a:gd name="T43" fmla="*/ 4 h 46"/>
                <a:gd name="T44" fmla="*/ 270 w 276"/>
                <a:gd name="T45" fmla="*/ 7 h 46"/>
                <a:gd name="T46" fmla="*/ 272 w 276"/>
                <a:gd name="T47" fmla="*/ 10 h 46"/>
                <a:gd name="T48" fmla="*/ 275 w 276"/>
                <a:gd name="T49" fmla="*/ 14 h 46"/>
                <a:gd name="T50" fmla="*/ 276 w 276"/>
                <a:gd name="T51" fmla="*/ 19 h 46"/>
                <a:gd name="T52" fmla="*/ 276 w 276"/>
                <a:gd name="T53" fmla="*/ 24 h 46"/>
                <a:gd name="T54" fmla="*/ 276 w 276"/>
                <a:gd name="T55" fmla="*/ 27 h 46"/>
                <a:gd name="T56" fmla="*/ 275 w 276"/>
                <a:gd name="T57" fmla="*/ 32 h 46"/>
                <a:gd name="T58" fmla="*/ 272 w 276"/>
                <a:gd name="T59" fmla="*/ 36 h 46"/>
                <a:gd name="T60" fmla="*/ 270 w 276"/>
                <a:gd name="T61" fmla="*/ 40 h 46"/>
                <a:gd name="T62" fmla="*/ 266 w 276"/>
                <a:gd name="T63" fmla="*/ 42 h 46"/>
                <a:gd name="T64" fmla="*/ 263 w 276"/>
                <a:gd name="T65" fmla="*/ 45 h 46"/>
                <a:gd name="T66" fmla="*/ 258 w 276"/>
                <a:gd name="T67" fmla="*/ 46 h 46"/>
                <a:gd name="T68" fmla="*/ 253 w 276"/>
                <a:gd name="T6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46">
                  <a:moveTo>
                    <a:pt x="253" y="46"/>
                  </a:moveTo>
                  <a:lnTo>
                    <a:pt x="22" y="46"/>
                  </a:lnTo>
                  <a:lnTo>
                    <a:pt x="19" y="46"/>
                  </a:lnTo>
                  <a:lnTo>
                    <a:pt x="14" y="45"/>
                  </a:lnTo>
                  <a:lnTo>
                    <a:pt x="10" y="42"/>
                  </a:lnTo>
                  <a:lnTo>
                    <a:pt x="6" y="40"/>
                  </a:lnTo>
                  <a:lnTo>
                    <a:pt x="4" y="36"/>
                  </a:lnTo>
                  <a:lnTo>
                    <a:pt x="1" y="32"/>
                  </a:lnTo>
                  <a:lnTo>
                    <a:pt x="0" y="27"/>
                  </a:lnTo>
                  <a:lnTo>
                    <a:pt x="0" y="24"/>
                  </a:lnTo>
                  <a:lnTo>
                    <a:pt x="0" y="19"/>
                  </a:lnTo>
                  <a:lnTo>
                    <a:pt x="1" y="14"/>
                  </a:lnTo>
                  <a:lnTo>
                    <a:pt x="4" y="10"/>
                  </a:lnTo>
                  <a:lnTo>
                    <a:pt x="6" y="7"/>
                  </a:lnTo>
                  <a:lnTo>
                    <a:pt x="10" y="4"/>
                  </a:lnTo>
                  <a:lnTo>
                    <a:pt x="14" y="2"/>
                  </a:lnTo>
                  <a:lnTo>
                    <a:pt x="19" y="0"/>
                  </a:lnTo>
                  <a:lnTo>
                    <a:pt x="22" y="0"/>
                  </a:lnTo>
                  <a:lnTo>
                    <a:pt x="253" y="0"/>
                  </a:lnTo>
                  <a:lnTo>
                    <a:pt x="258" y="0"/>
                  </a:lnTo>
                  <a:lnTo>
                    <a:pt x="263" y="2"/>
                  </a:lnTo>
                  <a:lnTo>
                    <a:pt x="266" y="4"/>
                  </a:lnTo>
                  <a:lnTo>
                    <a:pt x="270" y="7"/>
                  </a:lnTo>
                  <a:lnTo>
                    <a:pt x="272" y="10"/>
                  </a:lnTo>
                  <a:lnTo>
                    <a:pt x="275" y="14"/>
                  </a:lnTo>
                  <a:lnTo>
                    <a:pt x="276" y="19"/>
                  </a:lnTo>
                  <a:lnTo>
                    <a:pt x="276" y="24"/>
                  </a:lnTo>
                  <a:lnTo>
                    <a:pt x="276" y="27"/>
                  </a:lnTo>
                  <a:lnTo>
                    <a:pt x="275" y="32"/>
                  </a:lnTo>
                  <a:lnTo>
                    <a:pt x="272" y="36"/>
                  </a:lnTo>
                  <a:lnTo>
                    <a:pt x="270" y="40"/>
                  </a:lnTo>
                  <a:lnTo>
                    <a:pt x="266" y="42"/>
                  </a:lnTo>
                  <a:lnTo>
                    <a:pt x="263" y="45"/>
                  </a:lnTo>
                  <a:lnTo>
                    <a:pt x="258" y="46"/>
                  </a:lnTo>
                  <a:lnTo>
                    <a:pt x="253"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2" name="Freeform 153">
              <a:extLst>
                <a:ext uri="{FF2B5EF4-FFF2-40B4-BE49-F238E27FC236}">
                  <a16:creationId xmlns:a16="http://schemas.microsoft.com/office/drawing/2014/main" id="{3D817F8A-E591-46BF-89EF-6C20D3D9A81D}"/>
                </a:ext>
              </a:extLst>
            </p:cNvPr>
            <p:cNvSpPr>
              <a:spLocks/>
            </p:cNvSpPr>
            <p:nvPr/>
          </p:nvSpPr>
          <p:spPr bwMode="auto">
            <a:xfrm>
              <a:off x="7191868" y="2875794"/>
              <a:ext cx="318147" cy="225931"/>
            </a:xfrm>
            <a:custGeom>
              <a:avLst/>
              <a:gdLst>
                <a:gd name="T0" fmla="*/ 23 w 1106"/>
                <a:gd name="T1" fmla="*/ 784 h 784"/>
                <a:gd name="T2" fmla="*/ 15 w 1106"/>
                <a:gd name="T3" fmla="*/ 782 h 784"/>
                <a:gd name="T4" fmla="*/ 7 w 1106"/>
                <a:gd name="T5" fmla="*/ 777 h 784"/>
                <a:gd name="T6" fmla="*/ 2 w 1106"/>
                <a:gd name="T7" fmla="*/ 769 h 784"/>
                <a:gd name="T8" fmla="*/ 0 w 1106"/>
                <a:gd name="T9" fmla="*/ 761 h 784"/>
                <a:gd name="T10" fmla="*/ 1 w 1106"/>
                <a:gd name="T11" fmla="*/ 19 h 784"/>
                <a:gd name="T12" fmla="*/ 5 w 1106"/>
                <a:gd name="T13" fmla="*/ 10 h 784"/>
                <a:gd name="T14" fmla="*/ 11 w 1106"/>
                <a:gd name="T15" fmla="*/ 4 h 784"/>
                <a:gd name="T16" fmla="*/ 18 w 1106"/>
                <a:gd name="T17" fmla="*/ 0 h 784"/>
                <a:gd name="T18" fmla="*/ 1083 w 1106"/>
                <a:gd name="T19" fmla="*/ 0 h 784"/>
                <a:gd name="T20" fmla="*/ 1093 w 1106"/>
                <a:gd name="T21" fmla="*/ 1 h 784"/>
                <a:gd name="T22" fmla="*/ 1099 w 1106"/>
                <a:gd name="T23" fmla="*/ 6 h 784"/>
                <a:gd name="T24" fmla="*/ 1105 w 1106"/>
                <a:gd name="T25" fmla="*/ 14 h 784"/>
                <a:gd name="T26" fmla="*/ 1106 w 1106"/>
                <a:gd name="T27" fmla="*/ 24 h 784"/>
                <a:gd name="T28" fmla="*/ 1106 w 1106"/>
                <a:gd name="T29" fmla="*/ 627 h 784"/>
                <a:gd name="T30" fmla="*/ 1103 w 1106"/>
                <a:gd name="T31" fmla="*/ 636 h 784"/>
                <a:gd name="T32" fmla="*/ 1096 w 1106"/>
                <a:gd name="T33" fmla="*/ 642 h 784"/>
                <a:gd name="T34" fmla="*/ 1088 w 1106"/>
                <a:gd name="T35" fmla="*/ 645 h 784"/>
                <a:gd name="T36" fmla="*/ 1078 w 1106"/>
                <a:gd name="T37" fmla="*/ 645 h 784"/>
                <a:gd name="T38" fmla="*/ 1071 w 1106"/>
                <a:gd name="T39" fmla="*/ 642 h 784"/>
                <a:gd name="T40" fmla="*/ 1065 w 1106"/>
                <a:gd name="T41" fmla="*/ 636 h 784"/>
                <a:gd name="T42" fmla="*/ 1061 w 1106"/>
                <a:gd name="T43" fmla="*/ 627 h 784"/>
                <a:gd name="T44" fmla="*/ 1060 w 1106"/>
                <a:gd name="T45" fmla="*/ 47 h 784"/>
                <a:gd name="T46" fmla="*/ 47 w 1106"/>
                <a:gd name="T47" fmla="*/ 737 h 784"/>
                <a:gd name="T48" fmla="*/ 828 w 1106"/>
                <a:gd name="T49" fmla="*/ 737 h 784"/>
                <a:gd name="T50" fmla="*/ 836 w 1106"/>
                <a:gd name="T51" fmla="*/ 741 h 784"/>
                <a:gd name="T52" fmla="*/ 843 w 1106"/>
                <a:gd name="T53" fmla="*/ 747 h 784"/>
                <a:gd name="T54" fmla="*/ 846 w 1106"/>
                <a:gd name="T55" fmla="*/ 756 h 784"/>
                <a:gd name="T56" fmla="*/ 846 w 1106"/>
                <a:gd name="T57" fmla="*/ 766 h 784"/>
                <a:gd name="T58" fmla="*/ 843 w 1106"/>
                <a:gd name="T59" fmla="*/ 773 h 784"/>
                <a:gd name="T60" fmla="*/ 836 w 1106"/>
                <a:gd name="T61" fmla="*/ 779 h 784"/>
                <a:gd name="T62" fmla="*/ 828 w 1106"/>
                <a:gd name="T63" fmla="*/ 78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6" h="784">
                  <a:moveTo>
                    <a:pt x="823" y="784"/>
                  </a:moveTo>
                  <a:lnTo>
                    <a:pt x="23" y="784"/>
                  </a:lnTo>
                  <a:lnTo>
                    <a:pt x="18" y="783"/>
                  </a:lnTo>
                  <a:lnTo>
                    <a:pt x="15" y="782"/>
                  </a:lnTo>
                  <a:lnTo>
                    <a:pt x="11" y="779"/>
                  </a:lnTo>
                  <a:lnTo>
                    <a:pt x="7" y="777"/>
                  </a:lnTo>
                  <a:lnTo>
                    <a:pt x="5" y="773"/>
                  </a:lnTo>
                  <a:lnTo>
                    <a:pt x="2" y="769"/>
                  </a:lnTo>
                  <a:lnTo>
                    <a:pt x="1" y="766"/>
                  </a:lnTo>
                  <a:lnTo>
                    <a:pt x="0" y="761"/>
                  </a:lnTo>
                  <a:lnTo>
                    <a:pt x="0" y="24"/>
                  </a:lnTo>
                  <a:lnTo>
                    <a:pt x="1" y="19"/>
                  </a:lnTo>
                  <a:lnTo>
                    <a:pt x="2" y="14"/>
                  </a:lnTo>
                  <a:lnTo>
                    <a:pt x="5" y="10"/>
                  </a:lnTo>
                  <a:lnTo>
                    <a:pt x="7" y="6"/>
                  </a:lnTo>
                  <a:lnTo>
                    <a:pt x="11" y="4"/>
                  </a:lnTo>
                  <a:lnTo>
                    <a:pt x="15" y="1"/>
                  </a:lnTo>
                  <a:lnTo>
                    <a:pt x="18" y="0"/>
                  </a:lnTo>
                  <a:lnTo>
                    <a:pt x="23" y="0"/>
                  </a:lnTo>
                  <a:lnTo>
                    <a:pt x="1083" y="0"/>
                  </a:lnTo>
                  <a:lnTo>
                    <a:pt x="1088" y="0"/>
                  </a:lnTo>
                  <a:lnTo>
                    <a:pt x="1093" y="1"/>
                  </a:lnTo>
                  <a:lnTo>
                    <a:pt x="1096" y="4"/>
                  </a:lnTo>
                  <a:lnTo>
                    <a:pt x="1099" y="6"/>
                  </a:lnTo>
                  <a:lnTo>
                    <a:pt x="1103" y="10"/>
                  </a:lnTo>
                  <a:lnTo>
                    <a:pt x="1105" y="14"/>
                  </a:lnTo>
                  <a:lnTo>
                    <a:pt x="1106" y="19"/>
                  </a:lnTo>
                  <a:lnTo>
                    <a:pt x="1106" y="24"/>
                  </a:lnTo>
                  <a:lnTo>
                    <a:pt x="1106" y="622"/>
                  </a:lnTo>
                  <a:lnTo>
                    <a:pt x="1106" y="627"/>
                  </a:lnTo>
                  <a:lnTo>
                    <a:pt x="1105" y="631"/>
                  </a:lnTo>
                  <a:lnTo>
                    <a:pt x="1103" y="636"/>
                  </a:lnTo>
                  <a:lnTo>
                    <a:pt x="1099" y="638"/>
                  </a:lnTo>
                  <a:lnTo>
                    <a:pt x="1096" y="642"/>
                  </a:lnTo>
                  <a:lnTo>
                    <a:pt x="1093" y="643"/>
                  </a:lnTo>
                  <a:lnTo>
                    <a:pt x="1088" y="645"/>
                  </a:lnTo>
                  <a:lnTo>
                    <a:pt x="1083" y="645"/>
                  </a:lnTo>
                  <a:lnTo>
                    <a:pt x="1078" y="645"/>
                  </a:lnTo>
                  <a:lnTo>
                    <a:pt x="1074" y="643"/>
                  </a:lnTo>
                  <a:lnTo>
                    <a:pt x="1071" y="642"/>
                  </a:lnTo>
                  <a:lnTo>
                    <a:pt x="1067" y="638"/>
                  </a:lnTo>
                  <a:lnTo>
                    <a:pt x="1065" y="636"/>
                  </a:lnTo>
                  <a:lnTo>
                    <a:pt x="1062" y="631"/>
                  </a:lnTo>
                  <a:lnTo>
                    <a:pt x="1061" y="627"/>
                  </a:lnTo>
                  <a:lnTo>
                    <a:pt x="1060" y="622"/>
                  </a:lnTo>
                  <a:lnTo>
                    <a:pt x="1060" y="47"/>
                  </a:lnTo>
                  <a:lnTo>
                    <a:pt x="47" y="47"/>
                  </a:lnTo>
                  <a:lnTo>
                    <a:pt x="47" y="737"/>
                  </a:lnTo>
                  <a:lnTo>
                    <a:pt x="823" y="737"/>
                  </a:lnTo>
                  <a:lnTo>
                    <a:pt x="828" y="737"/>
                  </a:lnTo>
                  <a:lnTo>
                    <a:pt x="833" y="740"/>
                  </a:lnTo>
                  <a:lnTo>
                    <a:pt x="836" y="741"/>
                  </a:lnTo>
                  <a:lnTo>
                    <a:pt x="840" y="745"/>
                  </a:lnTo>
                  <a:lnTo>
                    <a:pt x="843" y="747"/>
                  </a:lnTo>
                  <a:lnTo>
                    <a:pt x="845" y="752"/>
                  </a:lnTo>
                  <a:lnTo>
                    <a:pt x="846" y="756"/>
                  </a:lnTo>
                  <a:lnTo>
                    <a:pt x="846" y="761"/>
                  </a:lnTo>
                  <a:lnTo>
                    <a:pt x="846" y="766"/>
                  </a:lnTo>
                  <a:lnTo>
                    <a:pt x="845" y="769"/>
                  </a:lnTo>
                  <a:lnTo>
                    <a:pt x="843" y="773"/>
                  </a:lnTo>
                  <a:lnTo>
                    <a:pt x="840" y="777"/>
                  </a:lnTo>
                  <a:lnTo>
                    <a:pt x="836" y="779"/>
                  </a:lnTo>
                  <a:lnTo>
                    <a:pt x="833" y="782"/>
                  </a:lnTo>
                  <a:lnTo>
                    <a:pt x="828" y="783"/>
                  </a:lnTo>
                  <a:lnTo>
                    <a:pt x="823" y="78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13" name="Freeform 154">
              <a:extLst>
                <a:ext uri="{FF2B5EF4-FFF2-40B4-BE49-F238E27FC236}">
                  <a16:creationId xmlns:a16="http://schemas.microsoft.com/office/drawing/2014/main" id="{D6B0AD6C-FEFF-4CDF-B609-42988D200D4C}"/>
                </a:ext>
              </a:extLst>
            </p:cNvPr>
            <p:cNvSpPr>
              <a:spLocks/>
            </p:cNvSpPr>
            <p:nvPr/>
          </p:nvSpPr>
          <p:spPr bwMode="auto">
            <a:xfrm>
              <a:off x="7403966" y="3090198"/>
              <a:ext cx="79537" cy="91064"/>
            </a:xfrm>
            <a:custGeom>
              <a:avLst/>
              <a:gdLst>
                <a:gd name="T0" fmla="*/ 155 w 276"/>
                <a:gd name="T1" fmla="*/ 314 h 315"/>
                <a:gd name="T2" fmla="*/ 144 w 276"/>
                <a:gd name="T3" fmla="*/ 308 h 315"/>
                <a:gd name="T4" fmla="*/ 105 w 276"/>
                <a:gd name="T5" fmla="*/ 230 h 315"/>
                <a:gd name="T6" fmla="*/ 26 w 276"/>
                <a:gd name="T7" fmla="*/ 268 h 315"/>
                <a:gd name="T8" fmla="*/ 13 w 276"/>
                <a:gd name="T9" fmla="*/ 267 h 315"/>
                <a:gd name="T10" fmla="*/ 3 w 276"/>
                <a:gd name="T11" fmla="*/ 257 h 315"/>
                <a:gd name="T12" fmla="*/ 0 w 276"/>
                <a:gd name="T13" fmla="*/ 244 h 315"/>
                <a:gd name="T14" fmla="*/ 93 w 276"/>
                <a:gd name="T15" fmla="*/ 15 h 315"/>
                <a:gd name="T16" fmla="*/ 98 w 276"/>
                <a:gd name="T17" fmla="*/ 7 h 315"/>
                <a:gd name="T18" fmla="*/ 106 w 276"/>
                <a:gd name="T19" fmla="*/ 2 h 315"/>
                <a:gd name="T20" fmla="*/ 114 w 276"/>
                <a:gd name="T21" fmla="*/ 0 h 315"/>
                <a:gd name="T22" fmla="*/ 124 w 276"/>
                <a:gd name="T23" fmla="*/ 2 h 315"/>
                <a:gd name="T24" fmla="*/ 132 w 276"/>
                <a:gd name="T25" fmla="*/ 7 h 315"/>
                <a:gd name="T26" fmla="*/ 136 w 276"/>
                <a:gd name="T27" fmla="*/ 15 h 315"/>
                <a:gd name="T28" fmla="*/ 138 w 276"/>
                <a:gd name="T29" fmla="*/ 23 h 315"/>
                <a:gd name="T30" fmla="*/ 136 w 276"/>
                <a:gd name="T31" fmla="*/ 32 h 315"/>
                <a:gd name="T32" fmla="*/ 105 w 276"/>
                <a:gd name="T33" fmla="*/ 179 h 315"/>
                <a:gd name="T34" fmla="*/ 113 w 276"/>
                <a:gd name="T35" fmla="*/ 176 h 315"/>
                <a:gd name="T36" fmla="*/ 122 w 276"/>
                <a:gd name="T37" fmla="*/ 178 h 315"/>
                <a:gd name="T38" fmla="*/ 130 w 276"/>
                <a:gd name="T39" fmla="*/ 183 h 315"/>
                <a:gd name="T40" fmla="*/ 135 w 276"/>
                <a:gd name="T41" fmla="*/ 190 h 315"/>
                <a:gd name="T42" fmla="*/ 232 w 276"/>
                <a:gd name="T43" fmla="*/ 98 h 315"/>
                <a:gd name="T44" fmla="*/ 238 w 276"/>
                <a:gd name="T45" fmla="*/ 91 h 315"/>
                <a:gd name="T46" fmla="*/ 246 w 276"/>
                <a:gd name="T47" fmla="*/ 86 h 315"/>
                <a:gd name="T48" fmla="*/ 254 w 276"/>
                <a:gd name="T49" fmla="*/ 84 h 315"/>
                <a:gd name="T50" fmla="*/ 263 w 276"/>
                <a:gd name="T51" fmla="*/ 87 h 315"/>
                <a:gd name="T52" fmla="*/ 270 w 276"/>
                <a:gd name="T53" fmla="*/ 93 h 315"/>
                <a:gd name="T54" fmla="*/ 275 w 276"/>
                <a:gd name="T55" fmla="*/ 100 h 315"/>
                <a:gd name="T56" fmla="*/ 276 w 276"/>
                <a:gd name="T57" fmla="*/ 109 h 315"/>
                <a:gd name="T58" fmla="*/ 274 w 276"/>
                <a:gd name="T59" fmla="*/ 118 h 315"/>
                <a:gd name="T60" fmla="*/ 178 w 276"/>
                <a:gd name="T61" fmla="*/ 308 h 315"/>
                <a:gd name="T62" fmla="*/ 167 w 276"/>
                <a:gd name="T63" fmla="*/ 31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315">
                  <a:moveTo>
                    <a:pt x="161" y="315"/>
                  </a:moveTo>
                  <a:lnTo>
                    <a:pt x="155" y="314"/>
                  </a:lnTo>
                  <a:lnTo>
                    <a:pt x="149" y="311"/>
                  </a:lnTo>
                  <a:lnTo>
                    <a:pt x="144" y="308"/>
                  </a:lnTo>
                  <a:lnTo>
                    <a:pt x="140" y="303"/>
                  </a:lnTo>
                  <a:lnTo>
                    <a:pt x="105" y="230"/>
                  </a:lnTo>
                  <a:lnTo>
                    <a:pt x="33" y="266"/>
                  </a:lnTo>
                  <a:lnTo>
                    <a:pt x="26" y="268"/>
                  </a:lnTo>
                  <a:lnTo>
                    <a:pt x="20" y="268"/>
                  </a:lnTo>
                  <a:lnTo>
                    <a:pt x="13" y="267"/>
                  </a:lnTo>
                  <a:lnTo>
                    <a:pt x="6" y="262"/>
                  </a:lnTo>
                  <a:lnTo>
                    <a:pt x="3" y="257"/>
                  </a:lnTo>
                  <a:lnTo>
                    <a:pt x="0" y="251"/>
                  </a:lnTo>
                  <a:lnTo>
                    <a:pt x="0" y="244"/>
                  </a:lnTo>
                  <a:lnTo>
                    <a:pt x="2" y="237"/>
                  </a:lnTo>
                  <a:lnTo>
                    <a:pt x="93" y="15"/>
                  </a:lnTo>
                  <a:lnTo>
                    <a:pt x="96" y="11"/>
                  </a:lnTo>
                  <a:lnTo>
                    <a:pt x="98" y="7"/>
                  </a:lnTo>
                  <a:lnTo>
                    <a:pt x="102" y="3"/>
                  </a:lnTo>
                  <a:lnTo>
                    <a:pt x="106" y="2"/>
                  </a:lnTo>
                  <a:lnTo>
                    <a:pt x="111" y="1"/>
                  </a:lnTo>
                  <a:lnTo>
                    <a:pt x="114" y="0"/>
                  </a:lnTo>
                  <a:lnTo>
                    <a:pt x="119" y="1"/>
                  </a:lnTo>
                  <a:lnTo>
                    <a:pt x="124" y="2"/>
                  </a:lnTo>
                  <a:lnTo>
                    <a:pt x="128" y="5"/>
                  </a:lnTo>
                  <a:lnTo>
                    <a:pt x="132" y="7"/>
                  </a:lnTo>
                  <a:lnTo>
                    <a:pt x="134" y="11"/>
                  </a:lnTo>
                  <a:lnTo>
                    <a:pt x="136" y="15"/>
                  </a:lnTo>
                  <a:lnTo>
                    <a:pt x="138" y="18"/>
                  </a:lnTo>
                  <a:lnTo>
                    <a:pt x="138" y="23"/>
                  </a:lnTo>
                  <a:lnTo>
                    <a:pt x="138" y="28"/>
                  </a:lnTo>
                  <a:lnTo>
                    <a:pt x="136" y="32"/>
                  </a:lnTo>
                  <a:lnTo>
                    <a:pt x="68" y="197"/>
                  </a:lnTo>
                  <a:lnTo>
                    <a:pt x="105" y="179"/>
                  </a:lnTo>
                  <a:lnTo>
                    <a:pt x="109" y="178"/>
                  </a:lnTo>
                  <a:lnTo>
                    <a:pt x="113" y="176"/>
                  </a:lnTo>
                  <a:lnTo>
                    <a:pt x="118" y="176"/>
                  </a:lnTo>
                  <a:lnTo>
                    <a:pt x="122" y="178"/>
                  </a:lnTo>
                  <a:lnTo>
                    <a:pt x="127" y="180"/>
                  </a:lnTo>
                  <a:lnTo>
                    <a:pt x="130" y="183"/>
                  </a:lnTo>
                  <a:lnTo>
                    <a:pt x="133" y="185"/>
                  </a:lnTo>
                  <a:lnTo>
                    <a:pt x="135" y="190"/>
                  </a:lnTo>
                  <a:lnTo>
                    <a:pt x="161" y="240"/>
                  </a:lnTo>
                  <a:lnTo>
                    <a:pt x="232" y="98"/>
                  </a:lnTo>
                  <a:lnTo>
                    <a:pt x="235" y="93"/>
                  </a:lnTo>
                  <a:lnTo>
                    <a:pt x="238" y="91"/>
                  </a:lnTo>
                  <a:lnTo>
                    <a:pt x="242" y="88"/>
                  </a:lnTo>
                  <a:lnTo>
                    <a:pt x="246" y="86"/>
                  </a:lnTo>
                  <a:lnTo>
                    <a:pt x="250" y="84"/>
                  </a:lnTo>
                  <a:lnTo>
                    <a:pt x="254" y="84"/>
                  </a:lnTo>
                  <a:lnTo>
                    <a:pt x="259" y="86"/>
                  </a:lnTo>
                  <a:lnTo>
                    <a:pt x="263" y="87"/>
                  </a:lnTo>
                  <a:lnTo>
                    <a:pt x="268" y="89"/>
                  </a:lnTo>
                  <a:lnTo>
                    <a:pt x="270" y="93"/>
                  </a:lnTo>
                  <a:lnTo>
                    <a:pt x="273" y="97"/>
                  </a:lnTo>
                  <a:lnTo>
                    <a:pt x="275" y="100"/>
                  </a:lnTo>
                  <a:lnTo>
                    <a:pt x="276" y="105"/>
                  </a:lnTo>
                  <a:lnTo>
                    <a:pt x="276" y="109"/>
                  </a:lnTo>
                  <a:lnTo>
                    <a:pt x="275" y="114"/>
                  </a:lnTo>
                  <a:lnTo>
                    <a:pt x="274" y="118"/>
                  </a:lnTo>
                  <a:lnTo>
                    <a:pt x="182" y="303"/>
                  </a:lnTo>
                  <a:lnTo>
                    <a:pt x="178" y="308"/>
                  </a:lnTo>
                  <a:lnTo>
                    <a:pt x="173" y="311"/>
                  </a:lnTo>
                  <a:lnTo>
                    <a:pt x="167" y="314"/>
                  </a:lnTo>
                  <a:lnTo>
                    <a:pt x="161" y="315"/>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4" name="Freeform 155">
              <a:extLst>
                <a:ext uri="{FF2B5EF4-FFF2-40B4-BE49-F238E27FC236}">
                  <a16:creationId xmlns:a16="http://schemas.microsoft.com/office/drawing/2014/main" id="{D433DE45-C15F-4B84-B753-DB08AB96DCDF}"/>
                </a:ext>
              </a:extLst>
            </p:cNvPr>
            <p:cNvSpPr>
              <a:spLocks/>
            </p:cNvSpPr>
            <p:nvPr/>
          </p:nvSpPr>
          <p:spPr bwMode="auto">
            <a:xfrm>
              <a:off x="7470823" y="3087892"/>
              <a:ext cx="79537" cy="93370"/>
            </a:xfrm>
            <a:custGeom>
              <a:avLst/>
              <a:gdLst>
                <a:gd name="T0" fmla="*/ 109 w 277"/>
                <a:gd name="T1" fmla="*/ 322 h 323"/>
                <a:gd name="T2" fmla="*/ 98 w 277"/>
                <a:gd name="T3" fmla="*/ 316 h 323"/>
                <a:gd name="T4" fmla="*/ 2 w 277"/>
                <a:gd name="T5" fmla="*/ 126 h 323"/>
                <a:gd name="T6" fmla="*/ 0 w 277"/>
                <a:gd name="T7" fmla="*/ 117 h 323"/>
                <a:gd name="T8" fmla="*/ 1 w 277"/>
                <a:gd name="T9" fmla="*/ 108 h 323"/>
                <a:gd name="T10" fmla="*/ 6 w 277"/>
                <a:gd name="T11" fmla="*/ 101 h 323"/>
                <a:gd name="T12" fmla="*/ 13 w 277"/>
                <a:gd name="T13" fmla="*/ 95 h 323"/>
                <a:gd name="T14" fmla="*/ 22 w 277"/>
                <a:gd name="T15" fmla="*/ 92 h 323"/>
                <a:gd name="T16" fmla="*/ 30 w 277"/>
                <a:gd name="T17" fmla="*/ 94 h 323"/>
                <a:gd name="T18" fmla="*/ 38 w 277"/>
                <a:gd name="T19" fmla="*/ 99 h 323"/>
                <a:gd name="T20" fmla="*/ 44 w 277"/>
                <a:gd name="T21" fmla="*/ 106 h 323"/>
                <a:gd name="T22" fmla="*/ 141 w 277"/>
                <a:gd name="T23" fmla="*/ 198 h 323"/>
                <a:gd name="T24" fmla="*/ 147 w 277"/>
                <a:gd name="T25" fmla="*/ 191 h 323"/>
                <a:gd name="T26" fmla="*/ 154 w 277"/>
                <a:gd name="T27" fmla="*/ 186 h 323"/>
                <a:gd name="T28" fmla="*/ 163 w 277"/>
                <a:gd name="T29" fmla="*/ 184 h 323"/>
                <a:gd name="T30" fmla="*/ 171 w 277"/>
                <a:gd name="T31" fmla="*/ 187 h 323"/>
                <a:gd name="T32" fmla="*/ 139 w 277"/>
                <a:gd name="T33" fmla="*/ 32 h 323"/>
                <a:gd name="T34" fmla="*/ 138 w 277"/>
                <a:gd name="T35" fmla="*/ 23 h 323"/>
                <a:gd name="T36" fmla="*/ 141 w 277"/>
                <a:gd name="T37" fmla="*/ 14 h 323"/>
                <a:gd name="T38" fmla="*/ 146 w 277"/>
                <a:gd name="T39" fmla="*/ 7 h 323"/>
                <a:gd name="T40" fmla="*/ 153 w 277"/>
                <a:gd name="T41" fmla="*/ 2 h 323"/>
                <a:gd name="T42" fmla="*/ 162 w 277"/>
                <a:gd name="T43" fmla="*/ 0 h 323"/>
                <a:gd name="T44" fmla="*/ 170 w 277"/>
                <a:gd name="T45" fmla="*/ 3 h 323"/>
                <a:gd name="T46" fmla="*/ 177 w 277"/>
                <a:gd name="T47" fmla="*/ 8 h 323"/>
                <a:gd name="T48" fmla="*/ 182 w 277"/>
                <a:gd name="T49" fmla="*/ 15 h 323"/>
                <a:gd name="T50" fmla="*/ 277 w 277"/>
                <a:gd name="T51" fmla="*/ 252 h 323"/>
                <a:gd name="T52" fmla="*/ 273 w 277"/>
                <a:gd name="T53" fmla="*/ 265 h 323"/>
                <a:gd name="T54" fmla="*/ 263 w 277"/>
                <a:gd name="T55" fmla="*/ 275 h 323"/>
                <a:gd name="T56" fmla="*/ 250 w 277"/>
                <a:gd name="T57" fmla="*/ 276 h 323"/>
                <a:gd name="T58" fmla="*/ 171 w 277"/>
                <a:gd name="T59" fmla="*/ 238 h 323"/>
                <a:gd name="T60" fmla="*/ 132 w 277"/>
                <a:gd name="T61" fmla="*/ 316 h 323"/>
                <a:gd name="T62" fmla="*/ 121 w 277"/>
                <a:gd name="T63" fmla="*/ 32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23">
                  <a:moveTo>
                    <a:pt x="115" y="323"/>
                  </a:moveTo>
                  <a:lnTo>
                    <a:pt x="109" y="322"/>
                  </a:lnTo>
                  <a:lnTo>
                    <a:pt x="103" y="319"/>
                  </a:lnTo>
                  <a:lnTo>
                    <a:pt x="98" y="316"/>
                  </a:lnTo>
                  <a:lnTo>
                    <a:pt x="94" y="311"/>
                  </a:lnTo>
                  <a:lnTo>
                    <a:pt x="2" y="126"/>
                  </a:lnTo>
                  <a:lnTo>
                    <a:pt x="1" y="122"/>
                  </a:lnTo>
                  <a:lnTo>
                    <a:pt x="0" y="117"/>
                  </a:lnTo>
                  <a:lnTo>
                    <a:pt x="0" y="113"/>
                  </a:lnTo>
                  <a:lnTo>
                    <a:pt x="1" y="108"/>
                  </a:lnTo>
                  <a:lnTo>
                    <a:pt x="3" y="105"/>
                  </a:lnTo>
                  <a:lnTo>
                    <a:pt x="6" y="101"/>
                  </a:lnTo>
                  <a:lnTo>
                    <a:pt x="8" y="97"/>
                  </a:lnTo>
                  <a:lnTo>
                    <a:pt x="13" y="95"/>
                  </a:lnTo>
                  <a:lnTo>
                    <a:pt x="17" y="94"/>
                  </a:lnTo>
                  <a:lnTo>
                    <a:pt x="22" y="92"/>
                  </a:lnTo>
                  <a:lnTo>
                    <a:pt x="25" y="92"/>
                  </a:lnTo>
                  <a:lnTo>
                    <a:pt x="30" y="94"/>
                  </a:lnTo>
                  <a:lnTo>
                    <a:pt x="34" y="96"/>
                  </a:lnTo>
                  <a:lnTo>
                    <a:pt x="38" y="99"/>
                  </a:lnTo>
                  <a:lnTo>
                    <a:pt x="41" y="101"/>
                  </a:lnTo>
                  <a:lnTo>
                    <a:pt x="44" y="106"/>
                  </a:lnTo>
                  <a:lnTo>
                    <a:pt x="115" y="248"/>
                  </a:lnTo>
                  <a:lnTo>
                    <a:pt x="141" y="198"/>
                  </a:lnTo>
                  <a:lnTo>
                    <a:pt x="143" y="193"/>
                  </a:lnTo>
                  <a:lnTo>
                    <a:pt x="147" y="191"/>
                  </a:lnTo>
                  <a:lnTo>
                    <a:pt x="150" y="188"/>
                  </a:lnTo>
                  <a:lnTo>
                    <a:pt x="154" y="186"/>
                  </a:lnTo>
                  <a:lnTo>
                    <a:pt x="158" y="184"/>
                  </a:lnTo>
                  <a:lnTo>
                    <a:pt x="163" y="184"/>
                  </a:lnTo>
                  <a:lnTo>
                    <a:pt x="168" y="186"/>
                  </a:lnTo>
                  <a:lnTo>
                    <a:pt x="171" y="187"/>
                  </a:lnTo>
                  <a:lnTo>
                    <a:pt x="209" y="207"/>
                  </a:lnTo>
                  <a:lnTo>
                    <a:pt x="139" y="32"/>
                  </a:lnTo>
                  <a:lnTo>
                    <a:pt x="138" y="27"/>
                  </a:lnTo>
                  <a:lnTo>
                    <a:pt x="138" y="23"/>
                  </a:lnTo>
                  <a:lnTo>
                    <a:pt x="138" y="19"/>
                  </a:lnTo>
                  <a:lnTo>
                    <a:pt x="141" y="14"/>
                  </a:lnTo>
                  <a:lnTo>
                    <a:pt x="142" y="10"/>
                  </a:lnTo>
                  <a:lnTo>
                    <a:pt x="146" y="7"/>
                  </a:lnTo>
                  <a:lnTo>
                    <a:pt x="148" y="4"/>
                  </a:lnTo>
                  <a:lnTo>
                    <a:pt x="153" y="2"/>
                  </a:lnTo>
                  <a:lnTo>
                    <a:pt x="157" y="0"/>
                  </a:lnTo>
                  <a:lnTo>
                    <a:pt x="162" y="0"/>
                  </a:lnTo>
                  <a:lnTo>
                    <a:pt x="166" y="0"/>
                  </a:lnTo>
                  <a:lnTo>
                    <a:pt x="170" y="3"/>
                  </a:lnTo>
                  <a:lnTo>
                    <a:pt x="174" y="4"/>
                  </a:lnTo>
                  <a:lnTo>
                    <a:pt x="177" y="8"/>
                  </a:lnTo>
                  <a:lnTo>
                    <a:pt x="180" y="10"/>
                  </a:lnTo>
                  <a:lnTo>
                    <a:pt x="182" y="15"/>
                  </a:lnTo>
                  <a:lnTo>
                    <a:pt x="274" y="246"/>
                  </a:lnTo>
                  <a:lnTo>
                    <a:pt x="277" y="252"/>
                  </a:lnTo>
                  <a:lnTo>
                    <a:pt x="276" y="259"/>
                  </a:lnTo>
                  <a:lnTo>
                    <a:pt x="273" y="265"/>
                  </a:lnTo>
                  <a:lnTo>
                    <a:pt x="269" y="270"/>
                  </a:lnTo>
                  <a:lnTo>
                    <a:pt x="263" y="275"/>
                  </a:lnTo>
                  <a:lnTo>
                    <a:pt x="256" y="276"/>
                  </a:lnTo>
                  <a:lnTo>
                    <a:pt x="250" y="276"/>
                  </a:lnTo>
                  <a:lnTo>
                    <a:pt x="242" y="274"/>
                  </a:lnTo>
                  <a:lnTo>
                    <a:pt x="171" y="238"/>
                  </a:lnTo>
                  <a:lnTo>
                    <a:pt x="136" y="311"/>
                  </a:lnTo>
                  <a:lnTo>
                    <a:pt x="132" y="316"/>
                  </a:lnTo>
                  <a:lnTo>
                    <a:pt x="127" y="319"/>
                  </a:lnTo>
                  <a:lnTo>
                    <a:pt x="121" y="322"/>
                  </a:lnTo>
                  <a:lnTo>
                    <a:pt x="115" y="32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5" name="Freeform 163">
              <a:extLst>
                <a:ext uri="{FF2B5EF4-FFF2-40B4-BE49-F238E27FC236}">
                  <a16:creationId xmlns:a16="http://schemas.microsoft.com/office/drawing/2014/main" id="{0E32407B-B6A4-4077-83EA-6E218F8E8AA9}"/>
                </a:ext>
              </a:extLst>
            </p:cNvPr>
            <p:cNvSpPr>
              <a:spLocks noEditPoints="1"/>
            </p:cNvSpPr>
            <p:nvPr/>
          </p:nvSpPr>
          <p:spPr bwMode="auto">
            <a:xfrm>
              <a:off x="7447769" y="3053311"/>
              <a:ext cx="48414" cy="48414"/>
            </a:xfrm>
            <a:custGeom>
              <a:avLst/>
              <a:gdLst>
                <a:gd name="T0" fmla="*/ 77 w 170"/>
                <a:gd name="T1" fmla="*/ 48 h 172"/>
                <a:gd name="T2" fmla="*/ 64 w 170"/>
                <a:gd name="T3" fmla="*/ 53 h 172"/>
                <a:gd name="T4" fmla="*/ 53 w 170"/>
                <a:gd name="T5" fmla="*/ 64 h 172"/>
                <a:gd name="T6" fmla="*/ 47 w 170"/>
                <a:gd name="T7" fmla="*/ 79 h 172"/>
                <a:gd name="T8" fmla="*/ 47 w 170"/>
                <a:gd name="T9" fmla="*/ 94 h 172"/>
                <a:gd name="T10" fmla="*/ 53 w 170"/>
                <a:gd name="T11" fmla="*/ 108 h 172"/>
                <a:gd name="T12" fmla="*/ 64 w 170"/>
                <a:gd name="T13" fmla="*/ 119 h 172"/>
                <a:gd name="T14" fmla="*/ 77 w 170"/>
                <a:gd name="T15" fmla="*/ 125 h 172"/>
                <a:gd name="T16" fmla="*/ 93 w 170"/>
                <a:gd name="T17" fmla="*/ 125 h 172"/>
                <a:gd name="T18" fmla="*/ 108 w 170"/>
                <a:gd name="T19" fmla="*/ 119 h 172"/>
                <a:gd name="T20" fmla="*/ 118 w 170"/>
                <a:gd name="T21" fmla="*/ 108 h 172"/>
                <a:gd name="T22" fmla="*/ 124 w 170"/>
                <a:gd name="T23" fmla="*/ 94 h 172"/>
                <a:gd name="T24" fmla="*/ 124 w 170"/>
                <a:gd name="T25" fmla="*/ 79 h 172"/>
                <a:gd name="T26" fmla="*/ 118 w 170"/>
                <a:gd name="T27" fmla="*/ 64 h 172"/>
                <a:gd name="T28" fmla="*/ 108 w 170"/>
                <a:gd name="T29" fmla="*/ 53 h 172"/>
                <a:gd name="T30" fmla="*/ 93 w 170"/>
                <a:gd name="T31" fmla="*/ 48 h 172"/>
                <a:gd name="T32" fmla="*/ 86 w 170"/>
                <a:gd name="T33" fmla="*/ 172 h 172"/>
                <a:gd name="T34" fmla="*/ 69 w 170"/>
                <a:gd name="T35" fmla="*/ 169 h 172"/>
                <a:gd name="T36" fmla="*/ 53 w 170"/>
                <a:gd name="T37" fmla="*/ 164 h 172"/>
                <a:gd name="T38" fmla="*/ 38 w 170"/>
                <a:gd name="T39" fmla="*/ 157 h 172"/>
                <a:gd name="T40" fmla="*/ 24 w 170"/>
                <a:gd name="T41" fmla="*/ 146 h 172"/>
                <a:gd name="T42" fmla="*/ 15 w 170"/>
                <a:gd name="T43" fmla="*/ 134 h 172"/>
                <a:gd name="T44" fmla="*/ 6 w 170"/>
                <a:gd name="T45" fmla="*/ 119 h 172"/>
                <a:gd name="T46" fmla="*/ 1 w 170"/>
                <a:gd name="T47" fmla="*/ 103 h 172"/>
                <a:gd name="T48" fmla="*/ 0 w 170"/>
                <a:gd name="T49" fmla="*/ 86 h 172"/>
                <a:gd name="T50" fmla="*/ 1 w 170"/>
                <a:gd name="T51" fmla="*/ 69 h 172"/>
                <a:gd name="T52" fmla="*/ 6 w 170"/>
                <a:gd name="T53" fmla="*/ 53 h 172"/>
                <a:gd name="T54" fmla="*/ 15 w 170"/>
                <a:gd name="T55" fmla="*/ 38 h 172"/>
                <a:gd name="T56" fmla="*/ 24 w 170"/>
                <a:gd name="T57" fmla="*/ 26 h 172"/>
                <a:gd name="T58" fmla="*/ 38 w 170"/>
                <a:gd name="T59" fmla="*/ 15 h 172"/>
                <a:gd name="T60" fmla="*/ 53 w 170"/>
                <a:gd name="T61" fmla="*/ 7 h 172"/>
                <a:gd name="T62" fmla="*/ 69 w 170"/>
                <a:gd name="T63" fmla="*/ 2 h 172"/>
                <a:gd name="T64" fmla="*/ 86 w 170"/>
                <a:gd name="T65" fmla="*/ 0 h 172"/>
                <a:gd name="T66" fmla="*/ 103 w 170"/>
                <a:gd name="T67" fmla="*/ 2 h 172"/>
                <a:gd name="T68" fmla="*/ 119 w 170"/>
                <a:gd name="T69" fmla="*/ 7 h 172"/>
                <a:gd name="T70" fmla="*/ 134 w 170"/>
                <a:gd name="T71" fmla="*/ 15 h 172"/>
                <a:gd name="T72" fmla="*/ 146 w 170"/>
                <a:gd name="T73" fmla="*/ 26 h 172"/>
                <a:gd name="T74" fmla="*/ 156 w 170"/>
                <a:gd name="T75" fmla="*/ 38 h 172"/>
                <a:gd name="T76" fmla="*/ 164 w 170"/>
                <a:gd name="T77" fmla="*/ 53 h 172"/>
                <a:gd name="T78" fmla="*/ 169 w 170"/>
                <a:gd name="T79" fmla="*/ 69 h 172"/>
                <a:gd name="T80" fmla="*/ 170 w 170"/>
                <a:gd name="T81" fmla="*/ 86 h 172"/>
                <a:gd name="T82" fmla="*/ 169 w 170"/>
                <a:gd name="T83" fmla="*/ 103 h 172"/>
                <a:gd name="T84" fmla="*/ 164 w 170"/>
                <a:gd name="T85" fmla="*/ 119 h 172"/>
                <a:gd name="T86" fmla="*/ 156 w 170"/>
                <a:gd name="T87" fmla="*/ 134 h 172"/>
                <a:gd name="T88" fmla="*/ 146 w 170"/>
                <a:gd name="T89" fmla="*/ 146 h 172"/>
                <a:gd name="T90" fmla="*/ 134 w 170"/>
                <a:gd name="T91" fmla="*/ 157 h 172"/>
                <a:gd name="T92" fmla="*/ 119 w 170"/>
                <a:gd name="T93" fmla="*/ 164 h 172"/>
                <a:gd name="T94" fmla="*/ 103 w 170"/>
                <a:gd name="T95" fmla="*/ 169 h 172"/>
                <a:gd name="T96" fmla="*/ 86 w 170"/>
                <a:gd name="T9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0" h="172">
                  <a:moveTo>
                    <a:pt x="86" y="47"/>
                  </a:moveTo>
                  <a:lnTo>
                    <a:pt x="77" y="48"/>
                  </a:lnTo>
                  <a:lnTo>
                    <a:pt x="70" y="50"/>
                  </a:lnTo>
                  <a:lnTo>
                    <a:pt x="64" y="53"/>
                  </a:lnTo>
                  <a:lnTo>
                    <a:pt x="58" y="58"/>
                  </a:lnTo>
                  <a:lnTo>
                    <a:pt x="53" y="64"/>
                  </a:lnTo>
                  <a:lnTo>
                    <a:pt x="49" y="71"/>
                  </a:lnTo>
                  <a:lnTo>
                    <a:pt x="47" y="79"/>
                  </a:lnTo>
                  <a:lnTo>
                    <a:pt x="47" y="86"/>
                  </a:lnTo>
                  <a:lnTo>
                    <a:pt x="47" y="94"/>
                  </a:lnTo>
                  <a:lnTo>
                    <a:pt x="49" y="102"/>
                  </a:lnTo>
                  <a:lnTo>
                    <a:pt x="53" y="108"/>
                  </a:lnTo>
                  <a:lnTo>
                    <a:pt x="58" y="114"/>
                  </a:lnTo>
                  <a:lnTo>
                    <a:pt x="64" y="119"/>
                  </a:lnTo>
                  <a:lnTo>
                    <a:pt x="70" y="123"/>
                  </a:lnTo>
                  <a:lnTo>
                    <a:pt x="77" y="125"/>
                  </a:lnTo>
                  <a:lnTo>
                    <a:pt x="86" y="125"/>
                  </a:lnTo>
                  <a:lnTo>
                    <a:pt x="93" y="125"/>
                  </a:lnTo>
                  <a:lnTo>
                    <a:pt x="100" y="123"/>
                  </a:lnTo>
                  <a:lnTo>
                    <a:pt x="108" y="119"/>
                  </a:lnTo>
                  <a:lnTo>
                    <a:pt x="113" y="114"/>
                  </a:lnTo>
                  <a:lnTo>
                    <a:pt x="118" y="108"/>
                  </a:lnTo>
                  <a:lnTo>
                    <a:pt x="121" y="102"/>
                  </a:lnTo>
                  <a:lnTo>
                    <a:pt x="124" y="94"/>
                  </a:lnTo>
                  <a:lnTo>
                    <a:pt x="125" y="86"/>
                  </a:lnTo>
                  <a:lnTo>
                    <a:pt x="124" y="79"/>
                  </a:lnTo>
                  <a:lnTo>
                    <a:pt x="121" y="71"/>
                  </a:lnTo>
                  <a:lnTo>
                    <a:pt x="118" y="64"/>
                  </a:lnTo>
                  <a:lnTo>
                    <a:pt x="113" y="58"/>
                  </a:lnTo>
                  <a:lnTo>
                    <a:pt x="108" y="53"/>
                  </a:lnTo>
                  <a:lnTo>
                    <a:pt x="100" y="50"/>
                  </a:lnTo>
                  <a:lnTo>
                    <a:pt x="93" y="48"/>
                  </a:lnTo>
                  <a:lnTo>
                    <a:pt x="86" y="47"/>
                  </a:lnTo>
                  <a:close/>
                  <a:moveTo>
                    <a:pt x="86" y="172"/>
                  </a:moveTo>
                  <a:lnTo>
                    <a:pt x="77" y="171"/>
                  </a:lnTo>
                  <a:lnTo>
                    <a:pt x="69" y="169"/>
                  </a:lnTo>
                  <a:lnTo>
                    <a:pt x="60" y="168"/>
                  </a:lnTo>
                  <a:lnTo>
                    <a:pt x="53" y="164"/>
                  </a:lnTo>
                  <a:lnTo>
                    <a:pt x="44" y="161"/>
                  </a:lnTo>
                  <a:lnTo>
                    <a:pt x="38" y="157"/>
                  </a:lnTo>
                  <a:lnTo>
                    <a:pt x="31" y="152"/>
                  </a:lnTo>
                  <a:lnTo>
                    <a:pt x="24" y="146"/>
                  </a:lnTo>
                  <a:lnTo>
                    <a:pt x="20" y="140"/>
                  </a:lnTo>
                  <a:lnTo>
                    <a:pt x="15" y="134"/>
                  </a:lnTo>
                  <a:lnTo>
                    <a:pt x="10" y="126"/>
                  </a:lnTo>
                  <a:lnTo>
                    <a:pt x="6" y="119"/>
                  </a:lnTo>
                  <a:lnTo>
                    <a:pt x="4" y="112"/>
                  </a:lnTo>
                  <a:lnTo>
                    <a:pt x="1" y="103"/>
                  </a:lnTo>
                  <a:lnTo>
                    <a:pt x="0" y="94"/>
                  </a:lnTo>
                  <a:lnTo>
                    <a:pt x="0" y="86"/>
                  </a:lnTo>
                  <a:lnTo>
                    <a:pt x="0" y="77"/>
                  </a:lnTo>
                  <a:lnTo>
                    <a:pt x="1" y="69"/>
                  </a:lnTo>
                  <a:lnTo>
                    <a:pt x="4" y="60"/>
                  </a:lnTo>
                  <a:lnTo>
                    <a:pt x="6" y="53"/>
                  </a:lnTo>
                  <a:lnTo>
                    <a:pt x="10" y="45"/>
                  </a:lnTo>
                  <a:lnTo>
                    <a:pt x="15" y="38"/>
                  </a:lnTo>
                  <a:lnTo>
                    <a:pt x="20" y="32"/>
                  </a:lnTo>
                  <a:lnTo>
                    <a:pt x="24" y="26"/>
                  </a:lnTo>
                  <a:lnTo>
                    <a:pt x="31" y="20"/>
                  </a:lnTo>
                  <a:lnTo>
                    <a:pt x="38" y="15"/>
                  </a:lnTo>
                  <a:lnTo>
                    <a:pt x="44" y="11"/>
                  </a:lnTo>
                  <a:lnTo>
                    <a:pt x="53" y="7"/>
                  </a:lnTo>
                  <a:lnTo>
                    <a:pt x="60" y="5"/>
                  </a:lnTo>
                  <a:lnTo>
                    <a:pt x="69" y="2"/>
                  </a:lnTo>
                  <a:lnTo>
                    <a:pt x="77" y="1"/>
                  </a:lnTo>
                  <a:lnTo>
                    <a:pt x="86" y="0"/>
                  </a:lnTo>
                  <a:lnTo>
                    <a:pt x="94" y="1"/>
                  </a:lnTo>
                  <a:lnTo>
                    <a:pt x="103" y="2"/>
                  </a:lnTo>
                  <a:lnTo>
                    <a:pt x="110" y="5"/>
                  </a:lnTo>
                  <a:lnTo>
                    <a:pt x="119" y="7"/>
                  </a:lnTo>
                  <a:lnTo>
                    <a:pt x="126" y="11"/>
                  </a:lnTo>
                  <a:lnTo>
                    <a:pt x="134" y="15"/>
                  </a:lnTo>
                  <a:lnTo>
                    <a:pt x="140" y="20"/>
                  </a:lnTo>
                  <a:lnTo>
                    <a:pt x="146" y="26"/>
                  </a:lnTo>
                  <a:lnTo>
                    <a:pt x="151" y="32"/>
                  </a:lnTo>
                  <a:lnTo>
                    <a:pt x="156" y="38"/>
                  </a:lnTo>
                  <a:lnTo>
                    <a:pt x="161" y="45"/>
                  </a:lnTo>
                  <a:lnTo>
                    <a:pt x="164" y="53"/>
                  </a:lnTo>
                  <a:lnTo>
                    <a:pt x="167" y="60"/>
                  </a:lnTo>
                  <a:lnTo>
                    <a:pt x="169" y="69"/>
                  </a:lnTo>
                  <a:lnTo>
                    <a:pt x="170" y="77"/>
                  </a:lnTo>
                  <a:lnTo>
                    <a:pt x="170" y="86"/>
                  </a:lnTo>
                  <a:lnTo>
                    <a:pt x="170" y="94"/>
                  </a:lnTo>
                  <a:lnTo>
                    <a:pt x="169" y="103"/>
                  </a:lnTo>
                  <a:lnTo>
                    <a:pt x="167" y="112"/>
                  </a:lnTo>
                  <a:lnTo>
                    <a:pt x="164" y="119"/>
                  </a:lnTo>
                  <a:lnTo>
                    <a:pt x="161" y="126"/>
                  </a:lnTo>
                  <a:lnTo>
                    <a:pt x="156" y="134"/>
                  </a:lnTo>
                  <a:lnTo>
                    <a:pt x="151" y="140"/>
                  </a:lnTo>
                  <a:lnTo>
                    <a:pt x="146" y="146"/>
                  </a:lnTo>
                  <a:lnTo>
                    <a:pt x="140" y="152"/>
                  </a:lnTo>
                  <a:lnTo>
                    <a:pt x="134" y="157"/>
                  </a:lnTo>
                  <a:lnTo>
                    <a:pt x="126" y="161"/>
                  </a:lnTo>
                  <a:lnTo>
                    <a:pt x="119" y="164"/>
                  </a:lnTo>
                  <a:lnTo>
                    <a:pt x="110" y="168"/>
                  </a:lnTo>
                  <a:lnTo>
                    <a:pt x="103" y="169"/>
                  </a:lnTo>
                  <a:lnTo>
                    <a:pt x="94" y="171"/>
                  </a:lnTo>
                  <a:lnTo>
                    <a:pt x="86" y="17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6" name="Freeform 164">
              <a:extLst>
                <a:ext uri="{FF2B5EF4-FFF2-40B4-BE49-F238E27FC236}">
                  <a16:creationId xmlns:a16="http://schemas.microsoft.com/office/drawing/2014/main" id="{0019F6F7-9F6A-4A0E-882B-8F6E9289915D}"/>
                </a:ext>
              </a:extLst>
            </p:cNvPr>
            <p:cNvSpPr>
              <a:spLocks noEditPoints="1"/>
            </p:cNvSpPr>
            <p:nvPr/>
          </p:nvSpPr>
          <p:spPr bwMode="auto">
            <a:xfrm>
              <a:off x="7417798" y="3021035"/>
              <a:ext cx="107202" cy="112965"/>
            </a:xfrm>
            <a:custGeom>
              <a:avLst/>
              <a:gdLst>
                <a:gd name="T0" fmla="*/ 161 w 374"/>
                <a:gd name="T1" fmla="*/ 292 h 390"/>
                <a:gd name="T2" fmla="*/ 188 w 374"/>
                <a:gd name="T3" fmla="*/ 326 h 390"/>
                <a:gd name="T4" fmla="*/ 212 w 374"/>
                <a:gd name="T5" fmla="*/ 293 h 390"/>
                <a:gd name="T6" fmla="*/ 226 w 374"/>
                <a:gd name="T7" fmla="*/ 288 h 390"/>
                <a:gd name="T8" fmla="*/ 264 w 374"/>
                <a:gd name="T9" fmla="*/ 267 h 390"/>
                <a:gd name="T10" fmla="*/ 266 w 374"/>
                <a:gd name="T11" fmla="*/ 256 h 390"/>
                <a:gd name="T12" fmla="*/ 281 w 374"/>
                <a:gd name="T13" fmla="*/ 244 h 390"/>
                <a:gd name="T14" fmla="*/ 288 w 374"/>
                <a:gd name="T15" fmla="*/ 201 h 390"/>
                <a:gd name="T16" fmla="*/ 292 w 374"/>
                <a:gd name="T17" fmla="*/ 180 h 390"/>
                <a:gd name="T18" fmla="*/ 272 w 374"/>
                <a:gd name="T19" fmla="*/ 141 h 390"/>
                <a:gd name="T20" fmla="*/ 262 w 374"/>
                <a:gd name="T21" fmla="*/ 121 h 390"/>
                <a:gd name="T22" fmla="*/ 228 w 374"/>
                <a:gd name="T23" fmla="*/ 100 h 390"/>
                <a:gd name="T24" fmla="*/ 217 w 374"/>
                <a:gd name="T25" fmla="*/ 100 h 390"/>
                <a:gd name="T26" fmla="*/ 186 w 374"/>
                <a:gd name="T27" fmla="*/ 64 h 390"/>
                <a:gd name="T28" fmla="*/ 156 w 374"/>
                <a:gd name="T29" fmla="*/ 100 h 390"/>
                <a:gd name="T30" fmla="*/ 109 w 374"/>
                <a:gd name="T31" fmla="*/ 89 h 390"/>
                <a:gd name="T32" fmla="*/ 105 w 374"/>
                <a:gd name="T33" fmla="*/ 137 h 390"/>
                <a:gd name="T34" fmla="*/ 62 w 374"/>
                <a:gd name="T35" fmla="*/ 156 h 390"/>
                <a:gd name="T36" fmla="*/ 87 w 374"/>
                <a:gd name="T37" fmla="*/ 196 h 390"/>
                <a:gd name="T38" fmla="*/ 62 w 374"/>
                <a:gd name="T39" fmla="*/ 237 h 390"/>
                <a:gd name="T40" fmla="*/ 107 w 374"/>
                <a:gd name="T41" fmla="*/ 254 h 390"/>
                <a:gd name="T42" fmla="*/ 110 w 374"/>
                <a:gd name="T43" fmla="*/ 302 h 390"/>
                <a:gd name="T44" fmla="*/ 150 w 374"/>
                <a:gd name="T45" fmla="*/ 289 h 390"/>
                <a:gd name="T46" fmla="*/ 178 w 374"/>
                <a:gd name="T47" fmla="*/ 387 h 390"/>
                <a:gd name="T48" fmla="*/ 141 w 374"/>
                <a:gd name="T49" fmla="*/ 340 h 390"/>
                <a:gd name="T50" fmla="*/ 83 w 374"/>
                <a:gd name="T51" fmla="*/ 358 h 390"/>
                <a:gd name="T52" fmla="*/ 70 w 374"/>
                <a:gd name="T53" fmla="*/ 349 h 390"/>
                <a:gd name="T54" fmla="*/ 64 w 374"/>
                <a:gd name="T55" fmla="*/ 335 h 390"/>
                <a:gd name="T56" fmla="*/ 12 w 374"/>
                <a:gd name="T57" fmla="*/ 270 h 390"/>
                <a:gd name="T58" fmla="*/ 2 w 374"/>
                <a:gd name="T59" fmla="*/ 256 h 390"/>
                <a:gd name="T60" fmla="*/ 2 w 374"/>
                <a:gd name="T61" fmla="*/ 240 h 390"/>
                <a:gd name="T62" fmla="*/ 5 w 374"/>
                <a:gd name="T63" fmla="*/ 157 h 390"/>
                <a:gd name="T64" fmla="*/ 0 w 374"/>
                <a:gd name="T65" fmla="*/ 142 h 390"/>
                <a:gd name="T66" fmla="*/ 7 w 374"/>
                <a:gd name="T67" fmla="*/ 126 h 390"/>
                <a:gd name="T68" fmla="*/ 64 w 374"/>
                <a:gd name="T69" fmla="*/ 107 h 390"/>
                <a:gd name="T70" fmla="*/ 64 w 374"/>
                <a:gd name="T71" fmla="*/ 46 h 390"/>
                <a:gd name="T72" fmla="*/ 76 w 374"/>
                <a:gd name="T73" fmla="*/ 35 h 390"/>
                <a:gd name="T74" fmla="*/ 92 w 374"/>
                <a:gd name="T75" fmla="*/ 35 h 390"/>
                <a:gd name="T76" fmla="*/ 170 w 374"/>
                <a:gd name="T77" fmla="*/ 6 h 390"/>
                <a:gd name="T78" fmla="*/ 185 w 374"/>
                <a:gd name="T79" fmla="*/ 0 h 390"/>
                <a:gd name="T80" fmla="*/ 201 w 374"/>
                <a:gd name="T81" fmla="*/ 6 h 390"/>
                <a:gd name="T82" fmla="*/ 280 w 374"/>
                <a:gd name="T83" fmla="*/ 33 h 390"/>
                <a:gd name="T84" fmla="*/ 295 w 374"/>
                <a:gd name="T85" fmla="*/ 34 h 390"/>
                <a:gd name="T86" fmla="*/ 308 w 374"/>
                <a:gd name="T87" fmla="*/ 45 h 390"/>
                <a:gd name="T88" fmla="*/ 309 w 374"/>
                <a:gd name="T89" fmla="*/ 105 h 390"/>
                <a:gd name="T90" fmla="*/ 367 w 374"/>
                <a:gd name="T91" fmla="*/ 124 h 390"/>
                <a:gd name="T92" fmla="*/ 373 w 374"/>
                <a:gd name="T93" fmla="*/ 138 h 390"/>
                <a:gd name="T94" fmla="*/ 369 w 374"/>
                <a:gd name="T95" fmla="*/ 154 h 390"/>
                <a:gd name="T96" fmla="*/ 372 w 374"/>
                <a:gd name="T97" fmla="*/ 238 h 390"/>
                <a:gd name="T98" fmla="*/ 373 w 374"/>
                <a:gd name="T99" fmla="*/ 254 h 390"/>
                <a:gd name="T100" fmla="*/ 363 w 374"/>
                <a:gd name="T101" fmla="*/ 267 h 390"/>
                <a:gd name="T102" fmla="*/ 313 w 374"/>
                <a:gd name="T103" fmla="*/ 332 h 390"/>
                <a:gd name="T104" fmla="*/ 307 w 374"/>
                <a:gd name="T105" fmla="*/ 348 h 390"/>
                <a:gd name="T106" fmla="*/ 293 w 374"/>
                <a:gd name="T107" fmla="*/ 356 h 390"/>
                <a:gd name="T108" fmla="*/ 235 w 374"/>
                <a:gd name="T109" fmla="*/ 340 h 390"/>
                <a:gd name="T110" fmla="*/ 200 w 374"/>
                <a:gd name="T111" fmla="*/ 387 h 390"/>
                <a:gd name="T112" fmla="*/ 189 w 374"/>
                <a:gd name="T113"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390">
                  <a:moveTo>
                    <a:pt x="150" y="289"/>
                  </a:moveTo>
                  <a:lnTo>
                    <a:pt x="156" y="289"/>
                  </a:lnTo>
                  <a:lnTo>
                    <a:pt x="161" y="292"/>
                  </a:lnTo>
                  <a:lnTo>
                    <a:pt x="165" y="294"/>
                  </a:lnTo>
                  <a:lnTo>
                    <a:pt x="169" y="299"/>
                  </a:lnTo>
                  <a:lnTo>
                    <a:pt x="188" y="326"/>
                  </a:lnTo>
                  <a:lnTo>
                    <a:pt x="207" y="299"/>
                  </a:lnTo>
                  <a:lnTo>
                    <a:pt x="210" y="295"/>
                  </a:lnTo>
                  <a:lnTo>
                    <a:pt x="212" y="293"/>
                  </a:lnTo>
                  <a:lnTo>
                    <a:pt x="216" y="291"/>
                  </a:lnTo>
                  <a:lnTo>
                    <a:pt x="218" y="289"/>
                  </a:lnTo>
                  <a:lnTo>
                    <a:pt x="226" y="288"/>
                  </a:lnTo>
                  <a:lnTo>
                    <a:pt x="233" y="289"/>
                  </a:lnTo>
                  <a:lnTo>
                    <a:pt x="265" y="300"/>
                  </a:lnTo>
                  <a:lnTo>
                    <a:pt x="264" y="267"/>
                  </a:lnTo>
                  <a:lnTo>
                    <a:pt x="264" y="264"/>
                  </a:lnTo>
                  <a:lnTo>
                    <a:pt x="265" y="260"/>
                  </a:lnTo>
                  <a:lnTo>
                    <a:pt x="266" y="256"/>
                  </a:lnTo>
                  <a:lnTo>
                    <a:pt x="268" y="253"/>
                  </a:lnTo>
                  <a:lnTo>
                    <a:pt x="273" y="248"/>
                  </a:lnTo>
                  <a:lnTo>
                    <a:pt x="281" y="244"/>
                  </a:lnTo>
                  <a:lnTo>
                    <a:pt x="313" y="234"/>
                  </a:lnTo>
                  <a:lnTo>
                    <a:pt x="292" y="208"/>
                  </a:lnTo>
                  <a:lnTo>
                    <a:pt x="288" y="201"/>
                  </a:lnTo>
                  <a:lnTo>
                    <a:pt x="287" y="195"/>
                  </a:lnTo>
                  <a:lnTo>
                    <a:pt x="288" y="188"/>
                  </a:lnTo>
                  <a:lnTo>
                    <a:pt x="292" y="180"/>
                  </a:lnTo>
                  <a:lnTo>
                    <a:pt x="311" y="153"/>
                  </a:lnTo>
                  <a:lnTo>
                    <a:pt x="280" y="145"/>
                  </a:lnTo>
                  <a:lnTo>
                    <a:pt x="272" y="141"/>
                  </a:lnTo>
                  <a:lnTo>
                    <a:pt x="267" y="136"/>
                  </a:lnTo>
                  <a:lnTo>
                    <a:pt x="264" y="129"/>
                  </a:lnTo>
                  <a:lnTo>
                    <a:pt x="262" y="121"/>
                  </a:lnTo>
                  <a:lnTo>
                    <a:pt x="264" y="88"/>
                  </a:lnTo>
                  <a:lnTo>
                    <a:pt x="232" y="99"/>
                  </a:lnTo>
                  <a:lnTo>
                    <a:pt x="228" y="100"/>
                  </a:lnTo>
                  <a:lnTo>
                    <a:pt x="224" y="100"/>
                  </a:lnTo>
                  <a:lnTo>
                    <a:pt x="221" y="100"/>
                  </a:lnTo>
                  <a:lnTo>
                    <a:pt x="217" y="100"/>
                  </a:lnTo>
                  <a:lnTo>
                    <a:pt x="211" y="97"/>
                  </a:lnTo>
                  <a:lnTo>
                    <a:pt x="205" y="91"/>
                  </a:lnTo>
                  <a:lnTo>
                    <a:pt x="186" y="64"/>
                  </a:lnTo>
                  <a:lnTo>
                    <a:pt x="167" y="92"/>
                  </a:lnTo>
                  <a:lnTo>
                    <a:pt x="162" y="97"/>
                  </a:lnTo>
                  <a:lnTo>
                    <a:pt x="156" y="100"/>
                  </a:lnTo>
                  <a:lnTo>
                    <a:pt x="148" y="102"/>
                  </a:lnTo>
                  <a:lnTo>
                    <a:pt x="141" y="100"/>
                  </a:lnTo>
                  <a:lnTo>
                    <a:pt x="109" y="89"/>
                  </a:lnTo>
                  <a:lnTo>
                    <a:pt x="110" y="123"/>
                  </a:lnTo>
                  <a:lnTo>
                    <a:pt x="109" y="130"/>
                  </a:lnTo>
                  <a:lnTo>
                    <a:pt x="105" y="137"/>
                  </a:lnTo>
                  <a:lnTo>
                    <a:pt x="100" y="142"/>
                  </a:lnTo>
                  <a:lnTo>
                    <a:pt x="94" y="146"/>
                  </a:lnTo>
                  <a:lnTo>
                    <a:pt x="62" y="156"/>
                  </a:lnTo>
                  <a:lnTo>
                    <a:pt x="82" y="181"/>
                  </a:lnTo>
                  <a:lnTo>
                    <a:pt x="86" y="189"/>
                  </a:lnTo>
                  <a:lnTo>
                    <a:pt x="87" y="196"/>
                  </a:lnTo>
                  <a:lnTo>
                    <a:pt x="86" y="203"/>
                  </a:lnTo>
                  <a:lnTo>
                    <a:pt x="82" y="210"/>
                  </a:lnTo>
                  <a:lnTo>
                    <a:pt x="62" y="237"/>
                  </a:lnTo>
                  <a:lnTo>
                    <a:pt x="94" y="246"/>
                  </a:lnTo>
                  <a:lnTo>
                    <a:pt x="102" y="249"/>
                  </a:lnTo>
                  <a:lnTo>
                    <a:pt x="107" y="254"/>
                  </a:lnTo>
                  <a:lnTo>
                    <a:pt x="110" y="261"/>
                  </a:lnTo>
                  <a:lnTo>
                    <a:pt x="111" y="268"/>
                  </a:lnTo>
                  <a:lnTo>
                    <a:pt x="110" y="302"/>
                  </a:lnTo>
                  <a:lnTo>
                    <a:pt x="142" y="291"/>
                  </a:lnTo>
                  <a:lnTo>
                    <a:pt x="146" y="289"/>
                  </a:lnTo>
                  <a:lnTo>
                    <a:pt x="150" y="289"/>
                  </a:lnTo>
                  <a:close/>
                  <a:moveTo>
                    <a:pt x="189" y="390"/>
                  </a:moveTo>
                  <a:lnTo>
                    <a:pt x="183" y="390"/>
                  </a:lnTo>
                  <a:lnTo>
                    <a:pt x="178" y="387"/>
                  </a:lnTo>
                  <a:lnTo>
                    <a:pt x="173" y="384"/>
                  </a:lnTo>
                  <a:lnTo>
                    <a:pt x="169" y="380"/>
                  </a:lnTo>
                  <a:lnTo>
                    <a:pt x="141" y="340"/>
                  </a:lnTo>
                  <a:lnTo>
                    <a:pt x="94" y="357"/>
                  </a:lnTo>
                  <a:lnTo>
                    <a:pt x="89" y="358"/>
                  </a:lnTo>
                  <a:lnTo>
                    <a:pt x="83" y="358"/>
                  </a:lnTo>
                  <a:lnTo>
                    <a:pt x="78" y="357"/>
                  </a:lnTo>
                  <a:lnTo>
                    <a:pt x="73" y="353"/>
                  </a:lnTo>
                  <a:lnTo>
                    <a:pt x="70" y="349"/>
                  </a:lnTo>
                  <a:lnTo>
                    <a:pt x="66" y="346"/>
                  </a:lnTo>
                  <a:lnTo>
                    <a:pt x="65" y="340"/>
                  </a:lnTo>
                  <a:lnTo>
                    <a:pt x="64" y="335"/>
                  </a:lnTo>
                  <a:lnTo>
                    <a:pt x="65" y="286"/>
                  </a:lnTo>
                  <a:lnTo>
                    <a:pt x="17" y="272"/>
                  </a:lnTo>
                  <a:lnTo>
                    <a:pt x="12" y="270"/>
                  </a:lnTo>
                  <a:lnTo>
                    <a:pt x="8" y="266"/>
                  </a:lnTo>
                  <a:lnTo>
                    <a:pt x="5" y="262"/>
                  </a:lnTo>
                  <a:lnTo>
                    <a:pt x="2" y="256"/>
                  </a:lnTo>
                  <a:lnTo>
                    <a:pt x="1" y="251"/>
                  </a:lnTo>
                  <a:lnTo>
                    <a:pt x="1" y="245"/>
                  </a:lnTo>
                  <a:lnTo>
                    <a:pt x="2" y="240"/>
                  </a:lnTo>
                  <a:lnTo>
                    <a:pt x="6" y="235"/>
                  </a:lnTo>
                  <a:lnTo>
                    <a:pt x="35" y="196"/>
                  </a:lnTo>
                  <a:lnTo>
                    <a:pt x="5" y="157"/>
                  </a:lnTo>
                  <a:lnTo>
                    <a:pt x="2" y="152"/>
                  </a:lnTo>
                  <a:lnTo>
                    <a:pt x="0" y="147"/>
                  </a:lnTo>
                  <a:lnTo>
                    <a:pt x="0" y="142"/>
                  </a:lnTo>
                  <a:lnTo>
                    <a:pt x="1" y="136"/>
                  </a:lnTo>
                  <a:lnTo>
                    <a:pt x="4" y="131"/>
                  </a:lnTo>
                  <a:lnTo>
                    <a:pt x="7" y="126"/>
                  </a:lnTo>
                  <a:lnTo>
                    <a:pt x="11" y="124"/>
                  </a:lnTo>
                  <a:lnTo>
                    <a:pt x="16" y="121"/>
                  </a:lnTo>
                  <a:lnTo>
                    <a:pt x="64" y="107"/>
                  </a:lnTo>
                  <a:lnTo>
                    <a:pt x="62" y="57"/>
                  </a:lnTo>
                  <a:lnTo>
                    <a:pt x="62" y="51"/>
                  </a:lnTo>
                  <a:lnTo>
                    <a:pt x="64" y="46"/>
                  </a:lnTo>
                  <a:lnTo>
                    <a:pt x="67" y="42"/>
                  </a:lnTo>
                  <a:lnTo>
                    <a:pt x="71" y="38"/>
                  </a:lnTo>
                  <a:lnTo>
                    <a:pt x="76" y="35"/>
                  </a:lnTo>
                  <a:lnTo>
                    <a:pt x="81" y="34"/>
                  </a:lnTo>
                  <a:lnTo>
                    <a:pt x="87" y="34"/>
                  </a:lnTo>
                  <a:lnTo>
                    <a:pt x="92" y="35"/>
                  </a:lnTo>
                  <a:lnTo>
                    <a:pt x="138" y="51"/>
                  </a:lnTo>
                  <a:lnTo>
                    <a:pt x="167" y="10"/>
                  </a:lnTo>
                  <a:lnTo>
                    <a:pt x="170" y="6"/>
                  </a:lnTo>
                  <a:lnTo>
                    <a:pt x="175" y="2"/>
                  </a:lnTo>
                  <a:lnTo>
                    <a:pt x="180" y="1"/>
                  </a:lnTo>
                  <a:lnTo>
                    <a:pt x="185" y="0"/>
                  </a:lnTo>
                  <a:lnTo>
                    <a:pt x="191" y="0"/>
                  </a:lnTo>
                  <a:lnTo>
                    <a:pt x="196" y="2"/>
                  </a:lnTo>
                  <a:lnTo>
                    <a:pt x="201" y="6"/>
                  </a:lnTo>
                  <a:lnTo>
                    <a:pt x="205" y="10"/>
                  </a:lnTo>
                  <a:lnTo>
                    <a:pt x="233" y="50"/>
                  </a:lnTo>
                  <a:lnTo>
                    <a:pt x="280" y="33"/>
                  </a:lnTo>
                  <a:lnTo>
                    <a:pt x="284" y="32"/>
                  </a:lnTo>
                  <a:lnTo>
                    <a:pt x="291" y="32"/>
                  </a:lnTo>
                  <a:lnTo>
                    <a:pt x="295" y="34"/>
                  </a:lnTo>
                  <a:lnTo>
                    <a:pt x="300" y="37"/>
                  </a:lnTo>
                  <a:lnTo>
                    <a:pt x="304" y="40"/>
                  </a:lnTo>
                  <a:lnTo>
                    <a:pt x="308" y="45"/>
                  </a:lnTo>
                  <a:lnTo>
                    <a:pt x="309" y="50"/>
                  </a:lnTo>
                  <a:lnTo>
                    <a:pt x="310" y="55"/>
                  </a:lnTo>
                  <a:lnTo>
                    <a:pt x="309" y="105"/>
                  </a:lnTo>
                  <a:lnTo>
                    <a:pt x="357" y="119"/>
                  </a:lnTo>
                  <a:lnTo>
                    <a:pt x="362" y="120"/>
                  </a:lnTo>
                  <a:lnTo>
                    <a:pt x="367" y="124"/>
                  </a:lnTo>
                  <a:lnTo>
                    <a:pt x="369" y="129"/>
                  </a:lnTo>
                  <a:lnTo>
                    <a:pt x="372" y="134"/>
                  </a:lnTo>
                  <a:lnTo>
                    <a:pt x="373" y="138"/>
                  </a:lnTo>
                  <a:lnTo>
                    <a:pt x="373" y="145"/>
                  </a:lnTo>
                  <a:lnTo>
                    <a:pt x="372" y="149"/>
                  </a:lnTo>
                  <a:lnTo>
                    <a:pt x="369" y="154"/>
                  </a:lnTo>
                  <a:lnTo>
                    <a:pt x="338" y="194"/>
                  </a:lnTo>
                  <a:lnTo>
                    <a:pt x="369" y="233"/>
                  </a:lnTo>
                  <a:lnTo>
                    <a:pt x="372" y="238"/>
                  </a:lnTo>
                  <a:lnTo>
                    <a:pt x="374" y="243"/>
                  </a:lnTo>
                  <a:lnTo>
                    <a:pt x="374" y="249"/>
                  </a:lnTo>
                  <a:lnTo>
                    <a:pt x="373" y="254"/>
                  </a:lnTo>
                  <a:lnTo>
                    <a:pt x="370" y="259"/>
                  </a:lnTo>
                  <a:lnTo>
                    <a:pt x="367" y="264"/>
                  </a:lnTo>
                  <a:lnTo>
                    <a:pt x="363" y="267"/>
                  </a:lnTo>
                  <a:lnTo>
                    <a:pt x="358" y="268"/>
                  </a:lnTo>
                  <a:lnTo>
                    <a:pt x="310" y="283"/>
                  </a:lnTo>
                  <a:lnTo>
                    <a:pt x="313" y="332"/>
                  </a:lnTo>
                  <a:lnTo>
                    <a:pt x="311" y="338"/>
                  </a:lnTo>
                  <a:lnTo>
                    <a:pt x="310" y="343"/>
                  </a:lnTo>
                  <a:lnTo>
                    <a:pt x="307" y="348"/>
                  </a:lnTo>
                  <a:lnTo>
                    <a:pt x="303" y="352"/>
                  </a:lnTo>
                  <a:lnTo>
                    <a:pt x="298" y="354"/>
                  </a:lnTo>
                  <a:lnTo>
                    <a:pt x="293" y="356"/>
                  </a:lnTo>
                  <a:lnTo>
                    <a:pt x="287" y="357"/>
                  </a:lnTo>
                  <a:lnTo>
                    <a:pt x="282" y="356"/>
                  </a:lnTo>
                  <a:lnTo>
                    <a:pt x="235" y="340"/>
                  </a:lnTo>
                  <a:lnTo>
                    <a:pt x="207" y="380"/>
                  </a:lnTo>
                  <a:lnTo>
                    <a:pt x="203" y="384"/>
                  </a:lnTo>
                  <a:lnTo>
                    <a:pt x="200" y="387"/>
                  </a:lnTo>
                  <a:lnTo>
                    <a:pt x="194" y="390"/>
                  </a:lnTo>
                  <a:lnTo>
                    <a:pt x="189" y="390"/>
                  </a:lnTo>
                  <a:lnTo>
                    <a:pt x="189" y="390"/>
                  </a:lnTo>
                  <a:lnTo>
                    <a:pt x="189" y="39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27" name="Group 38">
            <a:extLst>
              <a:ext uri="{FF2B5EF4-FFF2-40B4-BE49-F238E27FC236}">
                <a16:creationId xmlns:a16="http://schemas.microsoft.com/office/drawing/2014/main" id="{E96796C7-0671-4CBC-A9B8-360895AC4A6F}"/>
              </a:ext>
            </a:extLst>
          </p:cNvPr>
          <p:cNvGrpSpPr>
            <a:grpSpLocks noChangeAspect="1"/>
          </p:cNvGrpSpPr>
          <p:nvPr/>
        </p:nvGrpSpPr>
        <p:grpSpPr>
          <a:xfrm>
            <a:off x="8710218" y="4344909"/>
            <a:ext cx="308144" cy="308144"/>
            <a:chOff x="11601450" y="3078163"/>
            <a:chExt cx="285751" cy="285751"/>
          </a:xfrm>
          <a:solidFill>
            <a:schemeClr val="bg1"/>
          </a:solidFill>
          <a:effectLst/>
        </p:grpSpPr>
        <p:sp>
          <p:nvSpPr>
            <p:cNvPr id="628" name="Freeform 266">
              <a:extLst>
                <a:ext uri="{FF2B5EF4-FFF2-40B4-BE49-F238E27FC236}">
                  <a16:creationId xmlns:a16="http://schemas.microsoft.com/office/drawing/2014/main" id="{FA5312DE-5F8F-4E0C-9C8F-79B71B520F58}"/>
                </a:ext>
              </a:extLst>
            </p:cNvPr>
            <p:cNvSpPr>
              <a:spLocks noEditPoints="1"/>
            </p:cNvSpPr>
            <p:nvPr/>
          </p:nvSpPr>
          <p:spPr bwMode="auto">
            <a:xfrm>
              <a:off x="11601450" y="3078163"/>
              <a:ext cx="200025" cy="257175"/>
            </a:xfrm>
            <a:custGeom>
              <a:avLst/>
              <a:gdLst>
                <a:gd name="T0" fmla="*/ 451 w 630"/>
                <a:gd name="T1" fmla="*/ 53 h 812"/>
                <a:gd name="T2" fmla="*/ 579 w 630"/>
                <a:gd name="T3" fmla="*/ 180 h 812"/>
                <a:gd name="T4" fmla="*/ 451 w 630"/>
                <a:gd name="T5" fmla="*/ 180 h 812"/>
                <a:gd name="T6" fmla="*/ 451 w 630"/>
                <a:gd name="T7" fmla="*/ 53 h 812"/>
                <a:gd name="T8" fmla="*/ 600 w 630"/>
                <a:gd name="T9" fmla="*/ 357 h 812"/>
                <a:gd name="T10" fmla="*/ 630 w 630"/>
                <a:gd name="T11" fmla="*/ 357 h 812"/>
                <a:gd name="T12" fmla="*/ 630 w 630"/>
                <a:gd name="T13" fmla="*/ 196 h 812"/>
                <a:gd name="T14" fmla="*/ 630 w 630"/>
                <a:gd name="T15" fmla="*/ 193 h 812"/>
                <a:gd name="T16" fmla="*/ 629 w 630"/>
                <a:gd name="T17" fmla="*/ 191 h 812"/>
                <a:gd name="T18" fmla="*/ 628 w 630"/>
                <a:gd name="T19" fmla="*/ 188 h 812"/>
                <a:gd name="T20" fmla="*/ 626 w 630"/>
                <a:gd name="T21" fmla="*/ 186 h 812"/>
                <a:gd name="T22" fmla="*/ 446 w 630"/>
                <a:gd name="T23" fmla="*/ 5 h 812"/>
                <a:gd name="T24" fmla="*/ 444 w 630"/>
                <a:gd name="T25" fmla="*/ 4 h 812"/>
                <a:gd name="T26" fmla="*/ 441 w 630"/>
                <a:gd name="T27" fmla="*/ 1 h 812"/>
                <a:gd name="T28" fmla="*/ 439 w 630"/>
                <a:gd name="T29" fmla="*/ 1 h 812"/>
                <a:gd name="T30" fmla="*/ 436 w 630"/>
                <a:gd name="T31" fmla="*/ 0 h 812"/>
                <a:gd name="T32" fmla="*/ 15 w 630"/>
                <a:gd name="T33" fmla="*/ 0 h 812"/>
                <a:gd name="T34" fmla="*/ 12 w 630"/>
                <a:gd name="T35" fmla="*/ 0 h 812"/>
                <a:gd name="T36" fmla="*/ 9 w 630"/>
                <a:gd name="T37" fmla="*/ 1 h 812"/>
                <a:gd name="T38" fmla="*/ 6 w 630"/>
                <a:gd name="T39" fmla="*/ 4 h 812"/>
                <a:gd name="T40" fmla="*/ 4 w 630"/>
                <a:gd name="T41" fmla="*/ 5 h 812"/>
                <a:gd name="T42" fmla="*/ 2 w 630"/>
                <a:gd name="T43" fmla="*/ 8 h 812"/>
                <a:gd name="T44" fmla="*/ 1 w 630"/>
                <a:gd name="T45" fmla="*/ 10 h 812"/>
                <a:gd name="T46" fmla="*/ 0 w 630"/>
                <a:gd name="T47" fmla="*/ 12 h 812"/>
                <a:gd name="T48" fmla="*/ 0 w 630"/>
                <a:gd name="T49" fmla="*/ 15 h 812"/>
                <a:gd name="T50" fmla="*/ 0 w 630"/>
                <a:gd name="T51" fmla="*/ 797 h 812"/>
                <a:gd name="T52" fmla="*/ 0 w 630"/>
                <a:gd name="T53" fmla="*/ 800 h 812"/>
                <a:gd name="T54" fmla="*/ 1 w 630"/>
                <a:gd name="T55" fmla="*/ 803 h 812"/>
                <a:gd name="T56" fmla="*/ 2 w 630"/>
                <a:gd name="T57" fmla="*/ 805 h 812"/>
                <a:gd name="T58" fmla="*/ 4 w 630"/>
                <a:gd name="T59" fmla="*/ 807 h 812"/>
                <a:gd name="T60" fmla="*/ 6 w 630"/>
                <a:gd name="T61" fmla="*/ 809 h 812"/>
                <a:gd name="T62" fmla="*/ 9 w 630"/>
                <a:gd name="T63" fmla="*/ 811 h 812"/>
                <a:gd name="T64" fmla="*/ 12 w 630"/>
                <a:gd name="T65" fmla="*/ 812 h 812"/>
                <a:gd name="T66" fmla="*/ 15 w 630"/>
                <a:gd name="T67" fmla="*/ 812 h 812"/>
                <a:gd name="T68" fmla="*/ 394 w 630"/>
                <a:gd name="T69" fmla="*/ 812 h 812"/>
                <a:gd name="T70" fmla="*/ 394 w 630"/>
                <a:gd name="T71" fmla="*/ 782 h 812"/>
                <a:gd name="T72" fmla="*/ 30 w 630"/>
                <a:gd name="T73" fmla="*/ 782 h 812"/>
                <a:gd name="T74" fmla="*/ 30 w 630"/>
                <a:gd name="T75" fmla="*/ 30 h 812"/>
                <a:gd name="T76" fmla="*/ 421 w 630"/>
                <a:gd name="T77" fmla="*/ 30 h 812"/>
                <a:gd name="T78" fmla="*/ 421 w 630"/>
                <a:gd name="T79" fmla="*/ 196 h 812"/>
                <a:gd name="T80" fmla="*/ 421 w 630"/>
                <a:gd name="T81" fmla="*/ 199 h 812"/>
                <a:gd name="T82" fmla="*/ 422 w 630"/>
                <a:gd name="T83" fmla="*/ 202 h 812"/>
                <a:gd name="T84" fmla="*/ 423 w 630"/>
                <a:gd name="T85" fmla="*/ 205 h 812"/>
                <a:gd name="T86" fmla="*/ 425 w 630"/>
                <a:gd name="T87" fmla="*/ 207 h 812"/>
                <a:gd name="T88" fmla="*/ 427 w 630"/>
                <a:gd name="T89" fmla="*/ 208 h 812"/>
                <a:gd name="T90" fmla="*/ 429 w 630"/>
                <a:gd name="T91" fmla="*/ 210 h 812"/>
                <a:gd name="T92" fmla="*/ 432 w 630"/>
                <a:gd name="T93" fmla="*/ 210 h 812"/>
                <a:gd name="T94" fmla="*/ 436 w 630"/>
                <a:gd name="T95" fmla="*/ 211 h 812"/>
                <a:gd name="T96" fmla="*/ 600 w 630"/>
                <a:gd name="T97" fmla="*/ 211 h 812"/>
                <a:gd name="T98" fmla="*/ 600 w 630"/>
                <a:gd name="T99" fmla="*/ 357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0" h="812">
                  <a:moveTo>
                    <a:pt x="451" y="53"/>
                  </a:moveTo>
                  <a:lnTo>
                    <a:pt x="579" y="180"/>
                  </a:lnTo>
                  <a:lnTo>
                    <a:pt x="451" y="180"/>
                  </a:lnTo>
                  <a:lnTo>
                    <a:pt x="451" y="53"/>
                  </a:lnTo>
                  <a:close/>
                  <a:moveTo>
                    <a:pt x="600" y="357"/>
                  </a:moveTo>
                  <a:lnTo>
                    <a:pt x="630" y="357"/>
                  </a:lnTo>
                  <a:lnTo>
                    <a:pt x="630" y="196"/>
                  </a:lnTo>
                  <a:lnTo>
                    <a:pt x="630" y="193"/>
                  </a:lnTo>
                  <a:lnTo>
                    <a:pt x="629" y="191"/>
                  </a:lnTo>
                  <a:lnTo>
                    <a:pt x="628" y="188"/>
                  </a:lnTo>
                  <a:lnTo>
                    <a:pt x="626" y="186"/>
                  </a:lnTo>
                  <a:lnTo>
                    <a:pt x="446" y="5"/>
                  </a:lnTo>
                  <a:lnTo>
                    <a:pt x="444" y="4"/>
                  </a:lnTo>
                  <a:lnTo>
                    <a:pt x="441" y="1"/>
                  </a:lnTo>
                  <a:lnTo>
                    <a:pt x="439" y="1"/>
                  </a:lnTo>
                  <a:lnTo>
                    <a:pt x="436" y="0"/>
                  </a:lnTo>
                  <a:lnTo>
                    <a:pt x="15" y="0"/>
                  </a:lnTo>
                  <a:lnTo>
                    <a:pt x="12" y="0"/>
                  </a:lnTo>
                  <a:lnTo>
                    <a:pt x="9" y="1"/>
                  </a:lnTo>
                  <a:lnTo>
                    <a:pt x="6" y="4"/>
                  </a:lnTo>
                  <a:lnTo>
                    <a:pt x="4" y="5"/>
                  </a:lnTo>
                  <a:lnTo>
                    <a:pt x="2" y="8"/>
                  </a:lnTo>
                  <a:lnTo>
                    <a:pt x="1" y="10"/>
                  </a:lnTo>
                  <a:lnTo>
                    <a:pt x="0" y="12"/>
                  </a:lnTo>
                  <a:lnTo>
                    <a:pt x="0" y="15"/>
                  </a:lnTo>
                  <a:lnTo>
                    <a:pt x="0" y="797"/>
                  </a:lnTo>
                  <a:lnTo>
                    <a:pt x="0" y="800"/>
                  </a:lnTo>
                  <a:lnTo>
                    <a:pt x="1" y="803"/>
                  </a:lnTo>
                  <a:lnTo>
                    <a:pt x="2" y="805"/>
                  </a:lnTo>
                  <a:lnTo>
                    <a:pt x="4" y="807"/>
                  </a:lnTo>
                  <a:lnTo>
                    <a:pt x="6" y="809"/>
                  </a:lnTo>
                  <a:lnTo>
                    <a:pt x="9" y="811"/>
                  </a:lnTo>
                  <a:lnTo>
                    <a:pt x="12" y="812"/>
                  </a:lnTo>
                  <a:lnTo>
                    <a:pt x="15" y="812"/>
                  </a:lnTo>
                  <a:lnTo>
                    <a:pt x="394" y="812"/>
                  </a:lnTo>
                  <a:lnTo>
                    <a:pt x="394" y="782"/>
                  </a:lnTo>
                  <a:lnTo>
                    <a:pt x="30" y="782"/>
                  </a:lnTo>
                  <a:lnTo>
                    <a:pt x="30" y="30"/>
                  </a:lnTo>
                  <a:lnTo>
                    <a:pt x="421" y="30"/>
                  </a:lnTo>
                  <a:lnTo>
                    <a:pt x="421" y="196"/>
                  </a:lnTo>
                  <a:lnTo>
                    <a:pt x="421" y="199"/>
                  </a:lnTo>
                  <a:lnTo>
                    <a:pt x="422" y="202"/>
                  </a:lnTo>
                  <a:lnTo>
                    <a:pt x="423" y="205"/>
                  </a:lnTo>
                  <a:lnTo>
                    <a:pt x="425" y="207"/>
                  </a:lnTo>
                  <a:lnTo>
                    <a:pt x="427" y="208"/>
                  </a:lnTo>
                  <a:lnTo>
                    <a:pt x="429" y="210"/>
                  </a:lnTo>
                  <a:lnTo>
                    <a:pt x="432" y="210"/>
                  </a:lnTo>
                  <a:lnTo>
                    <a:pt x="436" y="211"/>
                  </a:lnTo>
                  <a:lnTo>
                    <a:pt x="600" y="211"/>
                  </a:lnTo>
                  <a:lnTo>
                    <a:pt x="600"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29" name="Freeform 267">
              <a:extLst>
                <a:ext uri="{FF2B5EF4-FFF2-40B4-BE49-F238E27FC236}">
                  <a16:creationId xmlns:a16="http://schemas.microsoft.com/office/drawing/2014/main" id="{5BDCF2AC-76C5-4039-BE79-40BCE64D4572}"/>
                </a:ext>
              </a:extLst>
            </p:cNvPr>
            <p:cNvSpPr>
              <a:spLocks noEditPoints="1"/>
            </p:cNvSpPr>
            <p:nvPr/>
          </p:nvSpPr>
          <p:spPr bwMode="auto">
            <a:xfrm>
              <a:off x="11758613" y="3225801"/>
              <a:ext cx="128588" cy="138113"/>
            </a:xfrm>
            <a:custGeom>
              <a:avLst/>
              <a:gdLst>
                <a:gd name="T0" fmla="*/ 34 w 406"/>
                <a:gd name="T1" fmla="*/ 138 h 435"/>
                <a:gd name="T2" fmla="*/ 46 w 406"/>
                <a:gd name="T3" fmla="*/ 102 h 435"/>
                <a:gd name="T4" fmla="*/ 70 w 406"/>
                <a:gd name="T5" fmla="*/ 71 h 435"/>
                <a:gd name="T6" fmla="*/ 101 w 406"/>
                <a:gd name="T7" fmla="*/ 47 h 435"/>
                <a:gd name="T8" fmla="*/ 139 w 406"/>
                <a:gd name="T9" fmla="*/ 33 h 435"/>
                <a:gd name="T10" fmla="*/ 179 w 406"/>
                <a:gd name="T11" fmla="*/ 31 h 435"/>
                <a:gd name="T12" fmla="*/ 219 w 406"/>
                <a:gd name="T13" fmla="*/ 41 h 435"/>
                <a:gd name="T14" fmla="*/ 252 w 406"/>
                <a:gd name="T15" fmla="*/ 61 h 435"/>
                <a:gd name="T16" fmla="*/ 278 w 406"/>
                <a:gd name="T17" fmla="*/ 90 h 435"/>
                <a:gd name="T18" fmla="*/ 295 w 406"/>
                <a:gd name="T19" fmla="*/ 125 h 435"/>
                <a:gd name="T20" fmla="*/ 301 w 406"/>
                <a:gd name="T21" fmla="*/ 166 h 435"/>
                <a:gd name="T22" fmla="*/ 295 w 406"/>
                <a:gd name="T23" fmla="*/ 205 h 435"/>
                <a:gd name="T24" fmla="*/ 278 w 406"/>
                <a:gd name="T25" fmla="*/ 241 h 435"/>
                <a:gd name="T26" fmla="*/ 252 w 406"/>
                <a:gd name="T27" fmla="*/ 270 h 435"/>
                <a:gd name="T28" fmla="*/ 219 w 406"/>
                <a:gd name="T29" fmla="*/ 290 h 435"/>
                <a:gd name="T30" fmla="*/ 179 w 406"/>
                <a:gd name="T31" fmla="*/ 300 h 435"/>
                <a:gd name="T32" fmla="*/ 139 w 406"/>
                <a:gd name="T33" fmla="*/ 297 h 435"/>
                <a:gd name="T34" fmla="*/ 101 w 406"/>
                <a:gd name="T35" fmla="*/ 285 h 435"/>
                <a:gd name="T36" fmla="*/ 70 w 406"/>
                <a:gd name="T37" fmla="*/ 261 h 435"/>
                <a:gd name="T38" fmla="*/ 46 w 406"/>
                <a:gd name="T39" fmla="*/ 230 h 435"/>
                <a:gd name="T40" fmla="*/ 34 w 406"/>
                <a:gd name="T41" fmla="*/ 193 h 435"/>
                <a:gd name="T42" fmla="*/ 402 w 406"/>
                <a:gd name="T43" fmla="*/ 410 h 435"/>
                <a:gd name="T44" fmla="*/ 300 w 406"/>
                <a:gd name="T45" fmla="*/ 262 h 435"/>
                <a:gd name="T46" fmla="*/ 323 w 406"/>
                <a:gd name="T47" fmla="*/ 217 h 435"/>
                <a:gd name="T48" fmla="*/ 331 w 406"/>
                <a:gd name="T49" fmla="*/ 166 h 435"/>
                <a:gd name="T50" fmla="*/ 324 w 406"/>
                <a:gd name="T51" fmla="*/ 117 h 435"/>
                <a:gd name="T52" fmla="*/ 302 w 406"/>
                <a:gd name="T53" fmla="*/ 74 h 435"/>
                <a:gd name="T54" fmla="*/ 271 w 406"/>
                <a:gd name="T55" fmla="*/ 38 h 435"/>
                <a:gd name="T56" fmla="*/ 229 w 406"/>
                <a:gd name="T57" fmla="*/ 13 h 435"/>
                <a:gd name="T58" fmla="*/ 182 w 406"/>
                <a:gd name="T59" fmla="*/ 1 h 435"/>
                <a:gd name="T60" fmla="*/ 132 w 406"/>
                <a:gd name="T61" fmla="*/ 3 h 435"/>
                <a:gd name="T62" fmla="*/ 87 w 406"/>
                <a:gd name="T63" fmla="*/ 20 h 435"/>
                <a:gd name="T64" fmla="*/ 49 w 406"/>
                <a:gd name="T65" fmla="*/ 49 h 435"/>
                <a:gd name="T66" fmla="*/ 21 w 406"/>
                <a:gd name="T67" fmla="*/ 87 h 435"/>
                <a:gd name="T68" fmla="*/ 4 w 406"/>
                <a:gd name="T69" fmla="*/ 133 h 435"/>
                <a:gd name="T70" fmla="*/ 2 w 406"/>
                <a:gd name="T71" fmla="*/ 182 h 435"/>
                <a:gd name="T72" fmla="*/ 13 w 406"/>
                <a:gd name="T73" fmla="*/ 230 h 435"/>
                <a:gd name="T74" fmla="*/ 38 w 406"/>
                <a:gd name="T75" fmla="*/ 271 h 435"/>
                <a:gd name="T76" fmla="*/ 73 w 406"/>
                <a:gd name="T77" fmla="*/ 303 h 435"/>
                <a:gd name="T78" fmla="*/ 117 w 406"/>
                <a:gd name="T79" fmla="*/ 323 h 435"/>
                <a:gd name="T80" fmla="*/ 165 w 406"/>
                <a:gd name="T81" fmla="*/ 331 h 435"/>
                <a:gd name="T82" fmla="*/ 202 w 406"/>
                <a:gd name="T83" fmla="*/ 326 h 435"/>
                <a:gd name="T84" fmla="*/ 234 w 406"/>
                <a:gd name="T85" fmla="*/ 316 h 435"/>
                <a:gd name="T86" fmla="*/ 380 w 406"/>
                <a:gd name="T87" fmla="*/ 431 h 435"/>
                <a:gd name="T88" fmla="*/ 388 w 406"/>
                <a:gd name="T89" fmla="*/ 435 h 435"/>
                <a:gd name="T90" fmla="*/ 396 w 406"/>
                <a:gd name="T91" fmla="*/ 434 h 435"/>
                <a:gd name="T92" fmla="*/ 404 w 406"/>
                <a:gd name="T93" fmla="*/ 429 h 435"/>
                <a:gd name="T94" fmla="*/ 406 w 406"/>
                <a:gd name="T95" fmla="*/ 422 h 435"/>
                <a:gd name="T96" fmla="*/ 404 w 406"/>
                <a:gd name="T97" fmla="*/ 413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435">
                  <a:moveTo>
                    <a:pt x="30" y="166"/>
                  </a:moveTo>
                  <a:lnTo>
                    <a:pt x="32" y="152"/>
                  </a:lnTo>
                  <a:lnTo>
                    <a:pt x="34" y="138"/>
                  </a:lnTo>
                  <a:lnTo>
                    <a:pt x="37" y="125"/>
                  </a:lnTo>
                  <a:lnTo>
                    <a:pt x="41" y="113"/>
                  </a:lnTo>
                  <a:lnTo>
                    <a:pt x="46" y="102"/>
                  </a:lnTo>
                  <a:lnTo>
                    <a:pt x="54" y="90"/>
                  </a:lnTo>
                  <a:lnTo>
                    <a:pt x="61" y="80"/>
                  </a:lnTo>
                  <a:lnTo>
                    <a:pt x="70" y="71"/>
                  </a:lnTo>
                  <a:lnTo>
                    <a:pt x="80" y="61"/>
                  </a:lnTo>
                  <a:lnTo>
                    <a:pt x="90" y="53"/>
                  </a:lnTo>
                  <a:lnTo>
                    <a:pt x="101" y="47"/>
                  </a:lnTo>
                  <a:lnTo>
                    <a:pt x="113" y="41"/>
                  </a:lnTo>
                  <a:lnTo>
                    <a:pt x="126" y="36"/>
                  </a:lnTo>
                  <a:lnTo>
                    <a:pt x="139" y="33"/>
                  </a:lnTo>
                  <a:lnTo>
                    <a:pt x="152" y="31"/>
                  </a:lnTo>
                  <a:lnTo>
                    <a:pt x="165" y="30"/>
                  </a:lnTo>
                  <a:lnTo>
                    <a:pt x="179" y="31"/>
                  </a:lnTo>
                  <a:lnTo>
                    <a:pt x="193" y="33"/>
                  </a:lnTo>
                  <a:lnTo>
                    <a:pt x="206" y="36"/>
                  </a:lnTo>
                  <a:lnTo>
                    <a:pt x="219" y="41"/>
                  </a:lnTo>
                  <a:lnTo>
                    <a:pt x="231" y="47"/>
                  </a:lnTo>
                  <a:lnTo>
                    <a:pt x="241" y="53"/>
                  </a:lnTo>
                  <a:lnTo>
                    <a:pt x="252" y="61"/>
                  </a:lnTo>
                  <a:lnTo>
                    <a:pt x="262" y="71"/>
                  </a:lnTo>
                  <a:lnTo>
                    <a:pt x="270" y="80"/>
                  </a:lnTo>
                  <a:lnTo>
                    <a:pt x="278" y="90"/>
                  </a:lnTo>
                  <a:lnTo>
                    <a:pt x="284" y="102"/>
                  </a:lnTo>
                  <a:lnTo>
                    <a:pt x="290" y="113"/>
                  </a:lnTo>
                  <a:lnTo>
                    <a:pt x="295" y="125"/>
                  </a:lnTo>
                  <a:lnTo>
                    <a:pt x="298" y="138"/>
                  </a:lnTo>
                  <a:lnTo>
                    <a:pt x="300" y="152"/>
                  </a:lnTo>
                  <a:lnTo>
                    <a:pt x="301" y="166"/>
                  </a:lnTo>
                  <a:lnTo>
                    <a:pt x="300" y="180"/>
                  </a:lnTo>
                  <a:lnTo>
                    <a:pt x="298" y="193"/>
                  </a:lnTo>
                  <a:lnTo>
                    <a:pt x="295" y="205"/>
                  </a:lnTo>
                  <a:lnTo>
                    <a:pt x="290" y="218"/>
                  </a:lnTo>
                  <a:lnTo>
                    <a:pt x="284" y="230"/>
                  </a:lnTo>
                  <a:lnTo>
                    <a:pt x="278" y="241"/>
                  </a:lnTo>
                  <a:lnTo>
                    <a:pt x="270" y="251"/>
                  </a:lnTo>
                  <a:lnTo>
                    <a:pt x="262" y="261"/>
                  </a:lnTo>
                  <a:lnTo>
                    <a:pt x="252" y="270"/>
                  </a:lnTo>
                  <a:lnTo>
                    <a:pt x="241" y="277"/>
                  </a:lnTo>
                  <a:lnTo>
                    <a:pt x="231" y="285"/>
                  </a:lnTo>
                  <a:lnTo>
                    <a:pt x="219" y="290"/>
                  </a:lnTo>
                  <a:lnTo>
                    <a:pt x="206" y="294"/>
                  </a:lnTo>
                  <a:lnTo>
                    <a:pt x="193" y="297"/>
                  </a:lnTo>
                  <a:lnTo>
                    <a:pt x="179" y="300"/>
                  </a:lnTo>
                  <a:lnTo>
                    <a:pt x="165" y="301"/>
                  </a:lnTo>
                  <a:lnTo>
                    <a:pt x="152" y="300"/>
                  </a:lnTo>
                  <a:lnTo>
                    <a:pt x="139" y="297"/>
                  </a:lnTo>
                  <a:lnTo>
                    <a:pt x="126" y="294"/>
                  </a:lnTo>
                  <a:lnTo>
                    <a:pt x="113" y="290"/>
                  </a:lnTo>
                  <a:lnTo>
                    <a:pt x="101" y="285"/>
                  </a:lnTo>
                  <a:lnTo>
                    <a:pt x="90" y="277"/>
                  </a:lnTo>
                  <a:lnTo>
                    <a:pt x="80" y="270"/>
                  </a:lnTo>
                  <a:lnTo>
                    <a:pt x="70" y="261"/>
                  </a:lnTo>
                  <a:lnTo>
                    <a:pt x="61" y="251"/>
                  </a:lnTo>
                  <a:lnTo>
                    <a:pt x="54" y="241"/>
                  </a:lnTo>
                  <a:lnTo>
                    <a:pt x="46" y="230"/>
                  </a:lnTo>
                  <a:lnTo>
                    <a:pt x="41" y="218"/>
                  </a:lnTo>
                  <a:lnTo>
                    <a:pt x="37" y="205"/>
                  </a:lnTo>
                  <a:lnTo>
                    <a:pt x="34" y="193"/>
                  </a:lnTo>
                  <a:lnTo>
                    <a:pt x="32" y="179"/>
                  </a:lnTo>
                  <a:lnTo>
                    <a:pt x="30" y="166"/>
                  </a:lnTo>
                  <a:close/>
                  <a:moveTo>
                    <a:pt x="402" y="410"/>
                  </a:moveTo>
                  <a:lnTo>
                    <a:pt x="278" y="287"/>
                  </a:lnTo>
                  <a:lnTo>
                    <a:pt x="289" y="275"/>
                  </a:lnTo>
                  <a:lnTo>
                    <a:pt x="300" y="262"/>
                  </a:lnTo>
                  <a:lnTo>
                    <a:pt x="309" y="248"/>
                  </a:lnTo>
                  <a:lnTo>
                    <a:pt x="316" y="233"/>
                  </a:lnTo>
                  <a:lnTo>
                    <a:pt x="323" y="217"/>
                  </a:lnTo>
                  <a:lnTo>
                    <a:pt x="327" y="200"/>
                  </a:lnTo>
                  <a:lnTo>
                    <a:pt x="330" y="183"/>
                  </a:lnTo>
                  <a:lnTo>
                    <a:pt x="331" y="166"/>
                  </a:lnTo>
                  <a:lnTo>
                    <a:pt x="330" y="149"/>
                  </a:lnTo>
                  <a:lnTo>
                    <a:pt x="328" y="133"/>
                  </a:lnTo>
                  <a:lnTo>
                    <a:pt x="324" y="117"/>
                  </a:lnTo>
                  <a:lnTo>
                    <a:pt x="318" y="102"/>
                  </a:lnTo>
                  <a:lnTo>
                    <a:pt x="311" y="87"/>
                  </a:lnTo>
                  <a:lnTo>
                    <a:pt x="302" y="74"/>
                  </a:lnTo>
                  <a:lnTo>
                    <a:pt x="294" y="61"/>
                  </a:lnTo>
                  <a:lnTo>
                    <a:pt x="283" y="49"/>
                  </a:lnTo>
                  <a:lnTo>
                    <a:pt x="271" y="38"/>
                  </a:lnTo>
                  <a:lnTo>
                    <a:pt x="258" y="29"/>
                  </a:lnTo>
                  <a:lnTo>
                    <a:pt x="244" y="20"/>
                  </a:lnTo>
                  <a:lnTo>
                    <a:pt x="229" y="13"/>
                  </a:lnTo>
                  <a:lnTo>
                    <a:pt x="214" y="7"/>
                  </a:lnTo>
                  <a:lnTo>
                    <a:pt x="198" y="3"/>
                  </a:lnTo>
                  <a:lnTo>
                    <a:pt x="182" y="1"/>
                  </a:lnTo>
                  <a:lnTo>
                    <a:pt x="165" y="0"/>
                  </a:lnTo>
                  <a:lnTo>
                    <a:pt x="149" y="1"/>
                  </a:lnTo>
                  <a:lnTo>
                    <a:pt x="132" y="3"/>
                  </a:lnTo>
                  <a:lnTo>
                    <a:pt x="117" y="7"/>
                  </a:lnTo>
                  <a:lnTo>
                    <a:pt x="101" y="13"/>
                  </a:lnTo>
                  <a:lnTo>
                    <a:pt x="87" y="20"/>
                  </a:lnTo>
                  <a:lnTo>
                    <a:pt x="73" y="29"/>
                  </a:lnTo>
                  <a:lnTo>
                    <a:pt x="60" y="38"/>
                  </a:lnTo>
                  <a:lnTo>
                    <a:pt x="49" y="49"/>
                  </a:lnTo>
                  <a:lnTo>
                    <a:pt x="38" y="61"/>
                  </a:lnTo>
                  <a:lnTo>
                    <a:pt x="28" y="74"/>
                  </a:lnTo>
                  <a:lnTo>
                    <a:pt x="21" y="87"/>
                  </a:lnTo>
                  <a:lnTo>
                    <a:pt x="13" y="102"/>
                  </a:lnTo>
                  <a:lnTo>
                    <a:pt x="8" y="117"/>
                  </a:lnTo>
                  <a:lnTo>
                    <a:pt x="4" y="133"/>
                  </a:lnTo>
                  <a:lnTo>
                    <a:pt x="2" y="149"/>
                  </a:lnTo>
                  <a:lnTo>
                    <a:pt x="0" y="166"/>
                  </a:lnTo>
                  <a:lnTo>
                    <a:pt x="2" y="182"/>
                  </a:lnTo>
                  <a:lnTo>
                    <a:pt x="4" y="199"/>
                  </a:lnTo>
                  <a:lnTo>
                    <a:pt x="8" y="215"/>
                  </a:lnTo>
                  <a:lnTo>
                    <a:pt x="13" y="230"/>
                  </a:lnTo>
                  <a:lnTo>
                    <a:pt x="21" y="244"/>
                  </a:lnTo>
                  <a:lnTo>
                    <a:pt x="28" y="258"/>
                  </a:lnTo>
                  <a:lnTo>
                    <a:pt x="38" y="271"/>
                  </a:lnTo>
                  <a:lnTo>
                    <a:pt x="49" y="282"/>
                  </a:lnTo>
                  <a:lnTo>
                    <a:pt x="60" y="293"/>
                  </a:lnTo>
                  <a:lnTo>
                    <a:pt x="73" y="303"/>
                  </a:lnTo>
                  <a:lnTo>
                    <a:pt x="87" y="310"/>
                  </a:lnTo>
                  <a:lnTo>
                    <a:pt x="101" y="318"/>
                  </a:lnTo>
                  <a:lnTo>
                    <a:pt x="117" y="323"/>
                  </a:lnTo>
                  <a:lnTo>
                    <a:pt x="132" y="327"/>
                  </a:lnTo>
                  <a:lnTo>
                    <a:pt x="149" y="330"/>
                  </a:lnTo>
                  <a:lnTo>
                    <a:pt x="165" y="331"/>
                  </a:lnTo>
                  <a:lnTo>
                    <a:pt x="178" y="331"/>
                  </a:lnTo>
                  <a:lnTo>
                    <a:pt x="190" y="328"/>
                  </a:lnTo>
                  <a:lnTo>
                    <a:pt x="202" y="326"/>
                  </a:lnTo>
                  <a:lnTo>
                    <a:pt x="212" y="324"/>
                  </a:lnTo>
                  <a:lnTo>
                    <a:pt x="223" y="320"/>
                  </a:lnTo>
                  <a:lnTo>
                    <a:pt x="234" y="316"/>
                  </a:lnTo>
                  <a:lnTo>
                    <a:pt x="244" y="311"/>
                  </a:lnTo>
                  <a:lnTo>
                    <a:pt x="254" y="305"/>
                  </a:lnTo>
                  <a:lnTo>
                    <a:pt x="380" y="431"/>
                  </a:lnTo>
                  <a:lnTo>
                    <a:pt x="382" y="433"/>
                  </a:lnTo>
                  <a:lnTo>
                    <a:pt x="386" y="434"/>
                  </a:lnTo>
                  <a:lnTo>
                    <a:pt x="388" y="435"/>
                  </a:lnTo>
                  <a:lnTo>
                    <a:pt x="391" y="435"/>
                  </a:lnTo>
                  <a:lnTo>
                    <a:pt x="394" y="435"/>
                  </a:lnTo>
                  <a:lnTo>
                    <a:pt x="396" y="434"/>
                  </a:lnTo>
                  <a:lnTo>
                    <a:pt x="400" y="433"/>
                  </a:lnTo>
                  <a:lnTo>
                    <a:pt x="402" y="431"/>
                  </a:lnTo>
                  <a:lnTo>
                    <a:pt x="404" y="429"/>
                  </a:lnTo>
                  <a:lnTo>
                    <a:pt x="405" y="427"/>
                  </a:lnTo>
                  <a:lnTo>
                    <a:pt x="406" y="424"/>
                  </a:lnTo>
                  <a:lnTo>
                    <a:pt x="406" y="422"/>
                  </a:lnTo>
                  <a:lnTo>
                    <a:pt x="406" y="418"/>
                  </a:lnTo>
                  <a:lnTo>
                    <a:pt x="405" y="415"/>
                  </a:lnTo>
                  <a:lnTo>
                    <a:pt x="404" y="413"/>
                  </a:lnTo>
                  <a:lnTo>
                    <a:pt x="402" y="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60" name="Group 12">
            <a:extLst>
              <a:ext uri="{FF2B5EF4-FFF2-40B4-BE49-F238E27FC236}">
                <a16:creationId xmlns:a16="http://schemas.microsoft.com/office/drawing/2014/main" id="{51B94F2C-7544-4ECC-B2FA-2C8DC5569783}"/>
              </a:ext>
            </a:extLst>
          </p:cNvPr>
          <p:cNvGrpSpPr>
            <a:grpSpLocks noChangeAspect="1"/>
          </p:cNvGrpSpPr>
          <p:nvPr/>
        </p:nvGrpSpPr>
        <p:grpSpPr>
          <a:xfrm>
            <a:off x="9057808" y="4344909"/>
            <a:ext cx="271272" cy="308144"/>
            <a:chOff x="4413251" y="3243263"/>
            <a:chExt cx="327025" cy="371476"/>
          </a:xfrm>
          <a:solidFill>
            <a:schemeClr val="bg1"/>
          </a:solidFill>
          <a:effectLst/>
        </p:grpSpPr>
        <p:sp>
          <p:nvSpPr>
            <p:cNvPr id="661" name="Freeform 6">
              <a:extLst>
                <a:ext uri="{FF2B5EF4-FFF2-40B4-BE49-F238E27FC236}">
                  <a16:creationId xmlns:a16="http://schemas.microsoft.com/office/drawing/2014/main" id="{7CC8ED2C-D440-4CE0-97B8-D4E83A0FFFE5}"/>
                </a:ext>
              </a:extLst>
            </p:cNvPr>
            <p:cNvSpPr>
              <a:spLocks noEditPoints="1"/>
            </p:cNvSpPr>
            <p:nvPr/>
          </p:nvSpPr>
          <p:spPr bwMode="auto">
            <a:xfrm>
              <a:off x="4413251" y="3289301"/>
              <a:ext cx="233363" cy="325438"/>
            </a:xfrm>
            <a:custGeom>
              <a:avLst/>
              <a:gdLst>
                <a:gd name="T0" fmla="*/ 58 w 60"/>
                <a:gd name="T1" fmla="*/ 84 h 84"/>
                <a:gd name="T2" fmla="*/ 2 w 60"/>
                <a:gd name="T3" fmla="*/ 84 h 84"/>
                <a:gd name="T4" fmla="*/ 0 w 60"/>
                <a:gd name="T5" fmla="*/ 82 h 84"/>
                <a:gd name="T6" fmla="*/ 0 w 60"/>
                <a:gd name="T7" fmla="*/ 2 h 84"/>
                <a:gd name="T8" fmla="*/ 2 w 60"/>
                <a:gd name="T9" fmla="*/ 0 h 84"/>
                <a:gd name="T10" fmla="*/ 38 w 60"/>
                <a:gd name="T11" fmla="*/ 0 h 84"/>
                <a:gd name="T12" fmla="*/ 39 w 60"/>
                <a:gd name="T13" fmla="*/ 1 h 84"/>
                <a:gd name="T14" fmla="*/ 59 w 60"/>
                <a:gd name="T15" fmla="*/ 21 h 84"/>
                <a:gd name="T16" fmla="*/ 60 w 60"/>
                <a:gd name="T17" fmla="*/ 22 h 84"/>
                <a:gd name="T18" fmla="*/ 60 w 60"/>
                <a:gd name="T19" fmla="*/ 82 h 84"/>
                <a:gd name="T20" fmla="*/ 58 w 60"/>
                <a:gd name="T21" fmla="*/ 84 h 84"/>
                <a:gd name="T22" fmla="*/ 4 w 60"/>
                <a:gd name="T23" fmla="*/ 80 h 84"/>
                <a:gd name="T24" fmla="*/ 56 w 60"/>
                <a:gd name="T25" fmla="*/ 80 h 84"/>
                <a:gd name="T26" fmla="*/ 56 w 60"/>
                <a:gd name="T27" fmla="*/ 23 h 84"/>
                <a:gd name="T28" fmla="*/ 37 w 60"/>
                <a:gd name="T29" fmla="*/ 4 h 84"/>
                <a:gd name="T30" fmla="*/ 4 w 60"/>
                <a:gd name="T31" fmla="*/ 4 h 84"/>
                <a:gd name="T32" fmla="*/ 4 w 60"/>
                <a:gd name="T3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84">
                  <a:moveTo>
                    <a:pt x="58" y="84"/>
                  </a:moveTo>
                  <a:cubicBezTo>
                    <a:pt x="2" y="84"/>
                    <a:pt x="2" y="84"/>
                    <a:pt x="2" y="84"/>
                  </a:cubicBezTo>
                  <a:cubicBezTo>
                    <a:pt x="1" y="84"/>
                    <a:pt x="0" y="83"/>
                    <a:pt x="0" y="82"/>
                  </a:cubicBezTo>
                  <a:cubicBezTo>
                    <a:pt x="0" y="2"/>
                    <a:pt x="0" y="2"/>
                    <a:pt x="0" y="2"/>
                  </a:cubicBezTo>
                  <a:cubicBezTo>
                    <a:pt x="0" y="1"/>
                    <a:pt x="1" y="0"/>
                    <a:pt x="2" y="0"/>
                  </a:cubicBezTo>
                  <a:cubicBezTo>
                    <a:pt x="38" y="0"/>
                    <a:pt x="38" y="0"/>
                    <a:pt x="38" y="0"/>
                  </a:cubicBezTo>
                  <a:cubicBezTo>
                    <a:pt x="39" y="0"/>
                    <a:pt x="39" y="0"/>
                    <a:pt x="39" y="1"/>
                  </a:cubicBezTo>
                  <a:cubicBezTo>
                    <a:pt x="59" y="21"/>
                    <a:pt x="59" y="21"/>
                    <a:pt x="59" y="21"/>
                  </a:cubicBezTo>
                  <a:cubicBezTo>
                    <a:pt x="60" y="21"/>
                    <a:pt x="60" y="21"/>
                    <a:pt x="60" y="22"/>
                  </a:cubicBezTo>
                  <a:cubicBezTo>
                    <a:pt x="60" y="82"/>
                    <a:pt x="60" y="82"/>
                    <a:pt x="60" y="82"/>
                  </a:cubicBezTo>
                  <a:cubicBezTo>
                    <a:pt x="60" y="83"/>
                    <a:pt x="59" y="84"/>
                    <a:pt x="58" y="84"/>
                  </a:cubicBezTo>
                  <a:close/>
                  <a:moveTo>
                    <a:pt x="4" y="80"/>
                  </a:moveTo>
                  <a:cubicBezTo>
                    <a:pt x="56" y="80"/>
                    <a:pt x="56" y="80"/>
                    <a:pt x="56" y="80"/>
                  </a:cubicBezTo>
                  <a:cubicBezTo>
                    <a:pt x="56" y="23"/>
                    <a:pt x="56" y="23"/>
                    <a:pt x="56" y="23"/>
                  </a:cubicBezTo>
                  <a:cubicBezTo>
                    <a:pt x="37" y="4"/>
                    <a:pt x="37" y="4"/>
                    <a:pt x="37" y="4"/>
                  </a:cubicBezTo>
                  <a:cubicBezTo>
                    <a:pt x="4" y="4"/>
                    <a:pt x="4" y="4"/>
                    <a:pt x="4" y="4"/>
                  </a:cubicBezTo>
                  <a:lnTo>
                    <a:pt x="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2" name="Freeform 7">
              <a:extLst>
                <a:ext uri="{FF2B5EF4-FFF2-40B4-BE49-F238E27FC236}">
                  <a16:creationId xmlns:a16="http://schemas.microsoft.com/office/drawing/2014/main" id="{9E986415-B52A-4EFD-BA22-864C989E1EF8}"/>
                </a:ext>
              </a:extLst>
            </p:cNvPr>
            <p:cNvSpPr>
              <a:spLocks/>
            </p:cNvSpPr>
            <p:nvPr/>
          </p:nvSpPr>
          <p:spPr bwMode="auto">
            <a:xfrm>
              <a:off x="4552951" y="3289301"/>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3" name="Freeform 8">
              <a:extLst>
                <a:ext uri="{FF2B5EF4-FFF2-40B4-BE49-F238E27FC236}">
                  <a16:creationId xmlns:a16="http://schemas.microsoft.com/office/drawing/2014/main" id="{908CD2BA-A9C1-40A1-8BFB-54EDCB5BCBCD}"/>
                </a:ext>
              </a:extLst>
            </p:cNvPr>
            <p:cNvSpPr>
              <a:spLocks/>
            </p:cNvSpPr>
            <p:nvPr/>
          </p:nvSpPr>
          <p:spPr bwMode="auto">
            <a:xfrm>
              <a:off x="4505326" y="3243263"/>
              <a:ext cx="234950" cy="325438"/>
            </a:xfrm>
            <a:custGeom>
              <a:avLst/>
              <a:gdLst>
                <a:gd name="T0" fmla="*/ 58 w 60"/>
                <a:gd name="T1" fmla="*/ 84 h 84"/>
                <a:gd name="T2" fmla="*/ 34 w 60"/>
                <a:gd name="T3" fmla="*/ 84 h 84"/>
                <a:gd name="T4" fmla="*/ 32 w 60"/>
                <a:gd name="T5" fmla="*/ 82 h 84"/>
                <a:gd name="T6" fmla="*/ 34 w 60"/>
                <a:gd name="T7" fmla="*/ 80 h 84"/>
                <a:gd name="T8" fmla="*/ 56 w 60"/>
                <a:gd name="T9" fmla="*/ 80 h 84"/>
                <a:gd name="T10" fmla="*/ 56 w 60"/>
                <a:gd name="T11" fmla="*/ 23 h 84"/>
                <a:gd name="T12" fmla="*/ 37 w 60"/>
                <a:gd name="T13" fmla="*/ 4 h 84"/>
                <a:gd name="T14" fmla="*/ 4 w 60"/>
                <a:gd name="T15" fmla="*/ 4 h 84"/>
                <a:gd name="T16" fmla="*/ 4 w 60"/>
                <a:gd name="T17" fmla="*/ 14 h 84"/>
                <a:gd name="T18" fmla="*/ 2 w 60"/>
                <a:gd name="T19" fmla="*/ 16 h 84"/>
                <a:gd name="T20" fmla="*/ 0 w 60"/>
                <a:gd name="T21" fmla="*/ 14 h 84"/>
                <a:gd name="T22" fmla="*/ 0 w 60"/>
                <a:gd name="T23" fmla="*/ 2 h 84"/>
                <a:gd name="T24" fmla="*/ 2 w 60"/>
                <a:gd name="T25" fmla="*/ 0 h 84"/>
                <a:gd name="T26" fmla="*/ 38 w 60"/>
                <a:gd name="T27" fmla="*/ 0 h 84"/>
                <a:gd name="T28" fmla="*/ 39 w 60"/>
                <a:gd name="T29" fmla="*/ 1 h 84"/>
                <a:gd name="T30" fmla="*/ 59 w 60"/>
                <a:gd name="T31" fmla="*/ 21 h 84"/>
                <a:gd name="T32" fmla="*/ 60 w 60"/>
                <a:gd name="T33" fmla="*/ 22 h 84"/>
                <a:gd name="T34" fmla="*/ 60 w 60"/>
                <a:gd name="T35" fmla="*/ 82 h 84"/>
                <a:gd name="T36" fmla="*/ 58 w 6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4">
                  <a:moveTo>
                    <a:pt x="58" y="84"/>
                  </a:moveTo>
                  <a:cubicBezTo>
                    <a:pt x="34" y="84"/>
                    <a:pt x="34" y="84"/>
                    <a:pt x="34" y="84"/>
                  </a:cubicBezTo>
                  <a:cubicBezTo>
                    <a:pt x="33" y="84"/>
                    <a:pt x="32" y="83"/>
                    <a:pt x="32" y="82"/>
                  </a:cubicBezTo>
                  <a:cubicBezTo>
                    <a:pt x="32" y="81"/>
                    <a:pt x="33" y="80"/>
                    <a:pt x="34" y="80"/>
                  </a:cubicBezTo>
                  <a:cubicBezTo>
                    <a:pt x="56" y="80"/>
                    <a:pt x="56" y="80"/>
                    <a:pt x="56" y="80"/>
                  </a:cubicBezTo>
                  <a:cubicBezTo>
                    <a:pt x="56" y="23"/>
                    <a:pt x="56" y="23"/>
                    <a:pt x="56" y="23"/>
                  </a:cubicBezTo>
                  <a:cubicBezTo>
                    <a:pt x="37" y="4"/>
                    <a:pt x="37" y="4"/>
                    <a:pt x="37" y="4"/>
                  </a:cubicBezTo>
                  <a:cubicBezTo>
                    <a:pt x="4" y="4"/>
                    <a:pt x="4" y="4"/>
                    <a:pt x="4" y="4"/>
                  </a:cubicBezTo>
                  <a:cubicBezTo>
                    <a:pt x="4" y="14"/>
                    <a:pt x="4" y="14"/>
                    <a:pt x="4" y="14"/>
                  </a:cubicBezTo>
                  <a:cubicBezTo>
                    <a:pt x="4" y="15"/>
                    <a:pt x="3" y="16"/>
                    <a:pt x="2" y="16"/>
                  </a:cubicBezTo>
                  <a:cubicBezTo>
                    <a:pt x="1" y="16"/>
                    <a:pt x="0" y="15"/>
                    <a:pt x="0" y="14"/>
                  </a:cubicBezTo>
                  <a:cubicBezTo>
                    <a:pt x="0" y="2"/>
                    <a:pt x="0" y="2"/>
                    <a:pt x="0" y="2"/>
                  </a:cubicBezTo>
                  <a:cubicBezTo>
                    <a:pt x="0" y="1"/>
                    <a:pt x="1" y="0"/>
                    <a:pt x="2" y="0"/>
                  </a:cubicBezTo>
                  <a:cubicBezTo>
                    <a:pt x="38" y="0"/>
                    <a:pt x="38" y="0"/>
                    <a:pt x="38" y="0"/>
                  </a:cubicBezTo>
                  <a:cubicBezTo>
                    <a:pt x="39" y="0"/>
                    <a:pt x="39" y="0"/>
                    <a:pt x="39" y="1"/>
                  </a:cubicBezTo>
                  <a:cubicBezTo>
                    <a:pt x="59" y="21"/>
                    <a:pt x="59" y="21"/>
                    <a:pt x="59" y="21"/>
                  </a:cubicBezTo>
                  <a:cubicBezTo>
                    <a:pt x="60" y="21"/>
                    <a:pt x="60" y="21"/>
                    <a:pt x="60" y="22"/>
                  </a:cubicBezTo>
                  <a:cubicBezTo>
                    <a:pt x="60" y="82"/>
                    <a:pt x="60" y="82"/>
                    <a:pt x="60" y="82"/>
                  </a:cubicBezTo>
                  <a:cubicBezTo>
                    <a:pt x="60" y="83"/>
                    <a:pt x="59" y="84"/>
                    <a:pt x="5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4" name="Freeform 9">
              <a:extLst>
                <a:ext uri="{FF2B5EF4-FFF2-40B4-BE49-F238E27FC236}">
                  <a16:creationId xmlns:a16="http://schemas.microsoft.com/office/drawing/2014/main" id="{7FC16031-681C-4270-98C3-D37E8E5580F2}"/>
                </a:ext>
              </a:extLst>
            </p:cNvPr>
            <p:cNvSpPr>
              <a:spLocks/>
            </p:cNvSpPr>
            <p:nvPr/>
          </p:nvSpPr>
          <p:spPr bwMode="auto">
            <a:xfrm>
              <a:off x="4646613" y="3243263"/>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98" name="Group 27">
            <a:extLst>
              <a:ext uri="{FF2B5EF4-FFF2-40B4-BE49-F238E27FC236}">
                <a16:creationId xmlns:a16="http://schemas.microsoft.com/office/drawing/2014/main" id="{95C4171C-1BD4-4652-9928-3193699413F2}"/>
              </a:ext>
            </a:extLst>
          </p:cNvPr>
          <p:cNvGrpSpPr>
            <a:grpSpLocks noChangeAspect="1"/>
          </p:cNvGrpSpPr>
          <p:nvPr/>
        </p:nvGrpSpPr>
        <p:grpSpPr>
          <a:xfrm>
            <a:off x="271061" y="3801969"/>
            <a:ext cx="309855" cy="308144"/>
            <a:chOff x="11028363" y="3649663"/>
            <a:chExt cx="287337" cy="285750"/>
          </a:xfrm>
          <a:solidFill>
            <a:schemeClr val="bg1"/>
          </a:solidFill>
          <a:effectLst/>
        </p:grpSpPr>
        <p:sp>
          <p:nvSpPr>
            <p:cNvPr id="699" name="Freeform 37">
              <a:extLst>
                <a:ext uri="{FF2B5EF4-FFF2-40B4-BE49-F238E27FC236}">
                  <a16:creationId xmlns:a16="http://schemas.microsoft.com/office/drawing/2014/main" id="{92FD412A-FB5F-4554-A571-47F171A5FAB2}"/>
                </a:ext>
              </a:extLst>
            </p:cNvPr>
            <p:cNvSpPr>
              <a:spLocks noEditPoints="1"/>
            </p:cNvSpPr>
            <p:nvPr/>
          </p:nvSpPr>
          <p:spPr bwMode="auto">
            <a:xfrm>
              <a:off x="11172825" y="3792538"/>
              <a:ext cx="142875" cy="142875"/>
            </a:xfrm>
            <a:custGeom>
              <a:avLst/>
              <a:gdLst>
                <a:gd name="T0" fmla="*/ 186 w 450"/>
                <a:gd name="T1" fmla="*/ 418 h 451"/>
                <a:gd name="T2" fmla="*/ 131 w 450"/>
                <a:gd name="T3" fmla="*/ 397 h 451"/>
                <a:gd name="T4" fmla="*/ 86 w 450"/>
                <a:gd name="T5" fmla="*/ 364 h 451"/>
                <a:gd name="T6" fmla="*/ 53 w 450"/>
                <a:gd name="T7" fmla="*/ 319 h 451"/>
                <a:gd name="T8" fmla="*/ 33 w 450"/>
                <a:gd name="T9" fmla="*/ 266 h 451"/>
                <a:gd name="T10" fmla="*/ 31 w 450"/>
                <a:gd name="T11" fmla="*/ 206 h 451"/>
                <a:gd name="T12" fmla="*/ 45 w 450"/>
                <a:gd name="T13" fmla="*/ 150 h 451"/>
                <a:gd name="T14" fmla="*/ 73 w 450"/>
                <a:gd name="T15" fmla="*/ 102 h 451"/>
                <a:gd name="T16" fmla="*/ 115 w 450"/>
                <a:gd name="T17" fmla="*/ 64 h 451"/>
                <a:gd name="T18" fmla="*/ 167 w 450"/>
                <a:gd name="T19" fmla="*/ 40 h 451"/>
                <a:gd name="T20" fmla="*/ 224 w 450"/>
                <a:gd name="T21" fmla="*/ 30 h 451"/>
                <a:gd name="T22" fmla="*/ 282 w 450"/>
                <a:gd name="T23" fmla="*/ 40 h 451"/>
                <a:gd name="T24" fmla="*/ 333 w 450"/>
                <a:gd name="T25" fmla="*/ 64 h 451"/>
                <a:gd name="T26" fmla="*/ 375 w 450"/>
                <a:gd name="T27" fmla="*/ 102 h 451"/>
                <a:gd name="T28" fmla="*/ 404 w 450"/>
                <a:gd name="T29" fmla="*/ 150 h 451"/>
                <a:gd name="T30" fmla="*/ 419 w 450"/>
                <a:gd name="T31" fmla="*/ 206 h 451"/>
                <a:gd name="T32" fmla="*/ 416 w 450"/>
                <a:gd name="T33" fmla="*/ 266 h 451"/>
                <a:gd name="T34" fmla="*/ 397 w 450"/>
                <a:gd name="T35" fmla="*/ 319 h 451"/>
                <a:gd name="T36" fmla="*/ 362 w 450"/>
                <a:gd name="T37" fmla="*/ 364 h 451"/>
                <a:gd name="T38" fmla="*/ 317 w 450"/>
                <a:gd name="T39" fmla="*/ 397 h 451"/>
                <a:gd name="T40" fmla="*/ 264 w 450"/>
                <a:gd name="T41" fmla="*/ 418 h 451"/>
                <a:gd name="T42" fmla="*/ 224 w 450"/>
                <a:gd name="T43" fmla="*/ 0 h 451"/>
                <a:gd name="T44" fmla="*/ 190 w 450"/>
                <a:gd name="T45" fmla="*/ 3 h 451"/>
                <a:gd name="T46" fmla="*/ 158 w 450"/>
                <a:gd name="T47" fmla="*/ 11 h 451"/>
                <a:gd name="T48" fmla="*/ 117 w 450"/>
                <a:gd name="T49" fmla="*/ 28 h 451"/>
                <a:gd name="T50" fmla="*/ 65 w 450"/>
                <a:gd name="T51" fmla="*/ 66 h 451"/>
                <a:gd name="T52" fmla="*/ 26 w 450"/>
                <a:gd name="T53" fmla="*/ 119 h 451"/>
                <a:gd name="T54" fmla="*/ 9 w 450"/>
                <a:gd name="T55" fmla="*/ 160 h 451"/>
                <a:gd name="T56" fmla="*/ 2 w 450"/>
                <a:gd name="T57" fmla="*/ 192 h 451"/>
                <a:gd name="T58" fmla="*/ 0 w 450"/>
                <a:gd name="T59" fmla="*/ 226 h 451"/>
                <a:gd name="T60" fmla="*/ 2 w 450"/>
                <a:gd name="T61" fmla="*/ 260 h 451"/>
                <a:gd name="T62" fmla="*/ 9 w 450"/>
                <a:gd name="T63" fmla="*/ 292 h 451"/>
                <a:gd name="T64" fmla="*/ 26 w 450"/>
                <a:gd name="T65" fmla="*/ 333 h 451"/>
                <a:gd name="T66" fmla="*/ 65 w 450"/>
                <a:gd name="T67" fmla="*/ 385 h 451"/>
                <a:gd name="T68" fmla="*/ 117 w 450"/>
                <a:gd name="T69" fmla="*/ 424 h 451"/>
                <a:gd name="T70" fmla="*/ 158 w 450"/>
                <a:gd name="T71" fmla="*/ 441 h 451"/>
                <a:gd name="T72" fmla="*/ 190 w 450"/>
                <a:gd name="T73" fmla="*/ 449 h 451"/>
                <a:gd name="T74" fmla="*/ 224 w 450"/>
                <a:gd name="T75" fmla="*/ 451 h 451"/>
                <a:gd name="T76" fmla="*/ 259 w 450"/>
                <a:gd name="T77" fmla="*/ 449 h 451"/>
                <a:gd name="T78" fmla="*/ 292 w 450"/>
                <a:gd name="T79" fmla="*/ 441 h 451"/>
                <a:gd name="T80" fmla="*/ 331 w 450"/>
                <a:gd name="T81" fmla="*/ 424 h 451"/>
                <a:gd name="T82" fmla="*/ 384 w 450"/>
                <a:gd name="T83" fmla="*/ 385 h 451"/>
                <a:gd name="T84" fmla="*/ 422 w 450"/>
                <a:gd name="T85" fmla="*/ 333 h 451"/>
                <a:gd name="T86" fmla="*/ 439 w 450"/>
                <a:gd name="T87" fmla="*/ 292 h 451"/>
                <a:gd name="T88" fmla="*/ 447 w 450"/>
                <a:gd name="T89" fmla="*/ 260 h 451"/>
                <a:gd name="T90" fmla="*/ 450 w 450"/>
                <a:gd name="T91" fmla="*/ 226 h 451"/>
                <a:gd name="T92" fmla="*/ 447 w 450"/>
                <a:gd name="T93" fmla="*/ 192 h 451"/>
                <a:gd name="T94" fmla="*/ 439 w 450"/>
                <a:gd name="T95" fmla="*/ 160 h 451"/>
                <a:gd name="T96" fmla="*/ 422 w 450"/>
                <a:gd name="T97" fmla="*/ 119 h 451"/>
                <a:gd name="T98" fmla="*/ 384 w 450"/>
                <a:gd name="T99" fmla="*/ 66 h 451"/>
                <a:gd name="T100" fmla="*/ 331 w 450"/>
                <a:gd name="T101" fmla="*/ 28 h 451"/>
                <a:gd name="T102" fmla="*/ 292 w 450"/>
                <a:gd name="T103" fmla="*/ 11 h 451"/>
                <a:gd name="T104" fmla="*/ 259 w 450"/>
                <a:gd name="T105" fmla="*/ 3 h 451"/>
                <a:gd name="T106" fmla="*/ 224 w 450"/>
                <a:gd name="T10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0" h="451">
                  <a:moveTo>
                    <a:pt x="224" y="421"/>
                  </a:moveTo>
                  <a:lnTo>
                    <a:pt x="205" y="420"/>
                  </a:lnTo>
                  <a:lnTo>
                    <a:pt x="186" y="418"/>
                  </a:lnTo>
                  <a:lnTo>
                    <a:pt x="167" y="412"/>
                  </a:lnTo>
                  <a:lnTo>
                    <a:pt x="148" y="406"/>
                  </a:lnTo>
                  <a:lnTo>
                    <a:pt x="131" y="397"/>
                  </a:lnTo>
                  <a:lnTo>
                    <a:pt x="115" y="388"/>
                  </a:lnTo>
                  <a:lnTo>
                    <a:pt x="100" y="377"/>
                  </a:lnTo>
                  <a:lnTo>
                    <a:pt x="86" y="364"/>
                  </a:lnTo>
                  <a:lnTo>
                    <a:pt x="73" y="350"/>
                  </a:lnTo>
                  <a:lnTo>
                    <a:pt x="63" y="335"/>
                  </a:lnTo>
                  <a:lnTo>
                    <a:pt x="53" y="319"/>
                  </a:lnTo>
                  <a:lnTo>
                    <a:pt x="45" y="302"/>
                  </a:lnTo>
                  <a:lnTo>
                    <a:pt x="38" y="284"/>
                  </a:lnTo>
                  <a:lnTo>
                    <a:pt x="33" y="266"/>
                  </a:lnTo>
                  <a:lnTo>
                    <a:pt x="31" y="245"/>
                  </a:lnTo>
                  <a:lnTo>
                    <a:pt x="30" y="226"/>
                  </a:lnTo>
                  <a:lnTo>
                    <a:pt x="31" y="206"/>
                  </a:lnTo>
                  <a:lnTo>
                    <a:pt x="33" y="186"/>
                  </a:lnTo>
                  <a:lnTo>
                    <a:pt x="38" y="168"/>
                  </a:lnTo>
                  <a:lnTo>
                    <a:pt x="45" y="150"/>
                  </a:lnTo>
                  <a:lnTo>
                    <a:pt x="53" y="133"/>
                  </a:lnTo>
                  <a:lnTo>
                    <a:pt x="63" y="117"/>
                  </a:lnTo>
                  <a:lnTo>
                    <a:pt x="73" y="102"/>
                  </a:lnTo>
                  <a:lnTo>
                    <a:pt x="86" y="88"/>
                  </a:lnTo>
                  <a:lnTo>
                    <a:pt x="100" y="75"/>
                  </a:lnTo>
                  <a:lnTo>
                    <a:pt x="115" y="64"/>
                  </a:lnTo>
                  <a:lnTo>
                    <a:pt x="131" y="55"/>
                  </a:lnTo>
                  <a:lnTo>
                    <a:pt x="148" y="46"/>
                  </a:lnTo>
                  <a:lnTo>
                    <a:pt x="167" y="40"/>
                  </a:lnTo>
                  <a:lnTo>
                    <a:pt x="185" y="34"/>
                  </a:lnTo>
                  <a:lnTo>
                    <a:pt x="205" y="31"/>
                  </a:lnTo>
                  <a:lnTo>
                    <a:pt x="224" y="30"/>
                  </a:lnTo>
                  <a:lnTo>
                    <a:pt x="245" y="31"/>
                  </a:lnTo>
                  <a:lnTo>
                    <a:pt x="264" y="34"/>
                  </a:lnTo>
                  <a:lnTo>
                    <a:pt x="282" y="40"/>
                  </a:lnTo>
                  <a:lnTo>
                    <a:pt x="300" y="46"/>
                  </a:lnTo>
                  <a:lnTo>
                    <a:pt x="317" y="55"/>
                  </a:lnTo>
                  <a:lnTo>
                    <a:pt x="333" y="64"/>
                  </a:lnTo>
                  <a:lnTo>
                    <a:pt x="348" y="75"/>
                  </a:lnTo>
                  <a:lnTo>
                    <a:pt x="362" y="88"/>
                  </a:lnTo>
                  <a:lnTo>
                    <a:pt x="375" y="102"/>
                  </a:lnTo>
                  <a:lnTo>
                    <a:pt x="386" y="117"/>
                  </a:lnTo>
                  <a:lnTo>
                    <a:pt x="397" y="133"/>
                  </a:lnTo>
                  <a:lnTo>
                    <a:pt x="404" y="150"/>
                  </a:lnTo>
                  <a:lnTo>
                    <a:pt x="411" y="168"/>
                  </a:lnTo>
                  <a:lnTo>
                    <a:pt x="416" y="186"/>
                  </a:lnTo>
                  <a:lnTo>
                    <a:pt x="419" y="206"/>
                  </a:lnTo>
                  <a:lnTo>
                    <a:pt x="420" y="226"/>
                  </a:lnTo>
                  <a:lnTo>
                    <a:pt x="419" y="245"/>
                  </a:lnTo>
                  <a:lnTo>
                    <a:pt x="416" y="266"/>
                  </a:lnTo>
                  <a:lnTo>
                    <a:pt x="411" y="284"/>
                  </a:lnTo>
                  <a:lnTo>
                    <a:pt x="404" y="302"/>
                  </a:lnTo>
                  <a:lnTo>
                    <a:pt x="397" y="319"/>
                  </a:lnTo>
                  <a:lnTo>
                    <a:pt x="386" y="335"/>
                  </a:lnTo>
                  <a:lnTo>
                    <a:pt x="375" y="350"/>
                  </a:lnTo>
                  <a:lnTo>
                    <a:pt x="362" y="364"/>
                  </a:lnTo>
                  <a:lnTo>
                    <a:pt x="348" y="377"/>
                  </a:lnTo>
                  <a:lnTo>
                    <a:pt x="333" y="388"/>
                  </a:lnTo>
                  <a:lnTo>
                    <a:pt x="317" y="397"/>
                  </a:lnTo>
                  <a:lnTo>
                    <a:pt x="300" y="406"/>
                  </a:lnTo>
                  <a:lnTo>
                    <a:pt x="282" y="412"/>
                  </a:lnTo>
                  <a:lnTo>
                    <a:pt x="264" y="418"/>
                  </a:lnTo>
                  <a:lnTo>
                    <a:pt x="245" y="420"/>
                  </a:lnTo>
                  <a:lnTo>
                    <a:pt x="224" y="421"/>
                  </a:lnTo>
                  <a:close/>
                  <a:moveTo>
                    <a:pt x="224" y="0"/>
                  </a:moveTo>
                  <a:lnTo>
                    <a:pt x="213" y="1"/>
                  </a:lnTo>
                  <a:lnTo>
                    <a:pt x="202" y="1"/>
                  </a:lnTo>
                  <a:lnTo>
                    <a:pt x="190" y="3"/>
                  </a:lnTo>
                  <a:lnTo>
                    <a:pt x="179" y="5"/>
                  </a:lnTo>
                  <a:lnTo>
                    <a:pt x="169" y="8"/>
                  </a:lnTo>
                  <a:lnTo>
                    <a:pt x="158" y="11"/>
                  </a:lnTo>
                  <a:lnTo>
                    <a:pt x="147" y="14"/>
                  </a:lnTo>
                  <a:lnTo>
                    <a:pt x="137" y="18"/>
                  </a:lnTo>
                  <a:lnTo>
                    <a:pt x="117" y="28"/>
                  </a:lnTo>
                  <a:lnTo>
                    <a:pt x="99" y="40"/>
                  </a:lnTo>
                  <a:lnTo>
                    <a:pt x="81" y="53"/>
                  </a:lnTo>
                  <a:lnTo>
                    <a:pt x="65" y="66"/>
                  </a:lnTo>
                  <a:lnTo>
                    <a:pt x="51" y="83"/>
                  </a:lnTo>
                  <a:lnTo>
                    <a:pt x="38" y="101"/>
                  </a:lnTo>
                  <a:lnTo>
                    <a:pt x="26" y="119"/>
                  </a:lnTo>
                  <a:lnTo>
                    <a:pt x="17" y="138"/>
                  </a:lnTo>
                  <a:lnTo>
                    <a:pt x="12" y="149"/>
                  </a:lnTo>
                  <a:lnTo>
                    <a:pt x="9" y="160"/>
                  </a:lnTo>
                  <a:lnTo>
                    <a:pt x="6" y="170"/>
                  </a:lnTo>
                  <a:lnTo>
                    <a:pt x="4" y="181"/>
                  </a:lnTo>
                  <a:lnTo>
                    <a:pt x="2" y="192"/>
                  </a:lnTo>
                  <a:lnTo>
                    <a:pt x="1" y="202"/>
                  </a:lnTo>
                  <a:lnTo>
                    <a:pt x="0" y="214"/>
                  </a:lnTo>
                  <a:lnTo>
                    <a:pt x="0" y="226"/>
                  </a:lnTo>
                  <a:lnTo>
                    <a:pt x="0" y="238"/>
                  </a:lnTo>
                  <a:lnTo>
                    <a:pt x="1" y="248"/>
                  </a:lnTo>
                  <a:lnTo>
                    <a:pt x="2" y="260"/>
                  </a:lnTo>
                  <a:lnTo>
                    <a:pt x="4" y="271"/>
                  </a:lnTo>
                  <a:lnTo>
                    <a:pt x="6" y="282"/>
                  </a:lnTo>
                  <a:lnTo>
                    <a:pt x="9" y="292"/>
                  </a:lnTo>
                  <a:lnTo>
                    <a:pt x="12" y="303"/>
                  </a:lnTo>
                  <a:lnTo>
                    <a:pt x="17" y="314"/>
                  </a:lnTo>
                  <a:lnTo>
                    <a:pt x="26" y="333"/>
                  </a:lnTo>
                  <a:lnTo>
                    <a:pt x="38" y="352"/>
                  </a:lnTo>
                  <a:lnTo>
                    <a:pt x="51" y="369"/>
                  </a:lnTo>
                  <a:lnTo>
                    <a:pt x="65" y="385"/>
                  </a:lnTo>
                  <a:lnTo>
                    <a:pt x="81" y="399"/>
                  </a:lnTo>
                  <a:lnTo>
                    <a:pt x="99" y="412"/>
                  </a:lnTo>
                  <a:lnTo>
                    <a:pt x="117" y="424"/>
                  </a:lnTo>
                  <a:lnTo>
                    <a:pt x="137" y="434"/>
                  </a:lnTo>
                  <a:lnTo>
                    <a:pt x="147" y="438"/>
                  </a:lnTo>
                  <a:lnTo>
                    <a:pt x="158" y="441"/>
                  </a:lnTo>
                  <a:lnTo>
                    <a:pt x="169" y="444"/>
                  </a:lnTo>
                  <a:lnTo>
                    <a:pt x="179" y="446"/>
                  </a:lnTo>
                  <a:lnTo>
                    <a:pt x="190" y="449"/>
                  </a:lnTo>
                  <a:lnTo>
                    <a:pt x="202" y="450"/>
                  </a:lnTo>
                  <a:lnTo>
                    <a:pt x="213" y="451"/>
                  </a:lnTo>
                  <a:lnTo>
                    <a:pt x="224" y="451"/>
                  </a:lnTo>
                  <a:lnTo>
                    <a:pt x="236" y="451"/>
                  </a:lnTo>
                  <a:lnTo>
                    <a:pt x="248" y="450"/>
                  </a:lnTo>
                  <a:lnTo>
                    <a:pt x="259" y="449"/>
                  </a:lnTo>
                  <a:lnTo>
                    <a:pt x="270" y="446"/>
                  </a:lnTo>
                  <a:lnTo>
                    <a:pt x="281" y="444"/>
                  </a:lnTo>
                  <a:lnTo>
                    <a:pt x="292" y="441"/>
                  </a:lnTo>
                  <a:lnTo>
                    <a:pt x="302" y="438"/>
                  </a:lnTo>
                  <a:lnTo>
                    <a:pt x="312" y="434"/>
                  </a:lnTo>
                  <a:lnTo>
                    <a:pt x="331" y="424"/>
                  </a:lnTo>
                  <a:lnTo>
                    <a:pt x="351" y="412"/>
                  </a:lnTo>
                  <a:lnTo>
                    <a:pt x="368" y="399"/>
                  </a:lnTo>
                  <a:lnTo>
                    <a:pt x="384" y="385"/>
                  </a:lnTo>
                  <a:lnTo>
                    <a:pt x="399" y="369"/>
                  </a:lnTo>
                  <a:lnTo>
                    <a:pt x="412" y="352"/>
                  </a:lnTo>
                  <a:lnTo>
                    <a:pt x="422" y="333"/>
                  </a:lnTo>
                  <a:lnTo>
                    <a:pt x="432" y="314"/>
                  </a:lnTo>
                  <a:lnTo>
                    <a:pt x="436" y="303"/>
                  </a:lnTo>
                  <a:lnTo>
                    <a:pt x="439" y="292"/>
                  </a:lnTo>
                  <a:lnTo>
                    <a:pt x="443" y="282"/>
                  </a:lnTo>
                  <a:lnTo>
                    <a:pt x="445" y="271"/>
                  </a:lnTo>
                  <a:lnTo>
                    <a:pt x="447" y="260"/>
                  </a:lnTo>
                  <a:lnTo>
                    <a:pt x="449" y="248"/>
                  </a:lnTo>
                  <a:lnTo>
                    <a:pt x="449" y="238"/>
                  </a:lnTo>
                  <a:lnTo>
                    <a:pt x="450" y="226"/>
                  </a:lnTo>
                  <a:lnTo>
                    <a:pt x="449" y="214"/>
                  </a:lnTo>
                  <a:lnTo>
                    <a:pt x="449" y="202"/>
                  </a:lnTo>
                  <a:lnTo>
                    <a:pt x="447" y="192"/>
                  </a:lnTo>
                  <a:lnTo>
                    <a:pt x="445" y="181"/>
                  </a:lnTo>
                  <a:lnTo>
                    <a:pt x="443" y="170"/>
                  </a:lnTo>
                  <a:lnTo>
                    <a:pt x="439" y="160"/>
                  </a:lnTo>
                  <a:lnTo>
                    <a:pt x="436" y="149"/>
                  </a:lnTo>
                  <a:lnTo>
                    <a:pt x="432" y="138"/>
                  </a:lnTo>
                  <a:lnTo>
                    <a:pt x="422" y="119"/>
                  </a:lnTo>
                  <a:lnTo>
                    <a:pt x="412" y="101"/>
                  </a:lnTo>
                  <a:lnTo>
                    <a:pt x="399" y="83"/>
                  </a:lnTo>
                  <a:lnTo>
                    <a:pt x="384" y="66"/>
                  </a:lnTo>
                  <a:lnTo>
                    <a:pt x="368" y="53"/>
                  </a:lnTo>
                  <a:lnTo>
                    <a:pt x="351" y="40"/>
                  </a:lnTo>
                  <a:lnTo>
                    <a:pt x="331" y="28"/>
                  </a:lnTo>
                  <a:lnTo>
                    <a:pt x="312" y="18"/>
                  </a:lnTo>
                  <a:lnTo>
                    <a:pt x="302" y="14"/>
                  </a:lnTo>
                  <a:lnTo>
                    <a:pt x="292" y="11"/>
                  </a:lnTo>
                  <a:lnTo>
                    <a:pt x="281" y="8"/>
                  </a:lnTo>
                  <a:lnTo>
                    <a:pt x="270" y="5"/>
                  </a:lnTo>
                  <a:lnTo>
                    <a:pt x="259" y="3"/>
                  </a:lnTo>
                  <a:lnTo>
                    <a:pt x="248" y="1"/>
                  </a:lnTo>
                  <a:lnTo>
                    <a:pt x="236" y="1"/>
                  </a:lnTo>
                  <a:lnTo>
                    <a:pt x="2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0" name="Freeform 38">
              <a:extLst>
                <a:ext uri="{FF2B5EF4-FFF2-40B4-BE49-F238E27FC236}">
                  <a16:creationId xmlns:a16="http://schemas.microsoft.com/office/drawing/2014/main" id="{B4625142-8618-4ED0-B8E3-D3F17FB8FD4B}"/>
                </a:ext>
              </a:extLst>
            </p:cNvPr>
            <p:cNvSpPr>
              <a:spLocks noEditPoints="1"/>
            </p:cNvSpPr>
            <p:nvPr/>
          </p:nvSpPr>
          <p:spPr bwMode="auto">
            <a:xfrm>
              <a:off x="11028363" y="3649663"/>
              <a:ext cx="228600" cy="247650"/>
            </a:xfrm>
            <a:custGeom>
              <a:avLst/>
              <a:gdLst>
                <a:gd name="T0" fmla="*/ 421 w 720"/>
                <a:gd name="T1" fmla="*/ 119 h 781"/>
                <a:gd name="T2" fmla="*/ 451 w 720"/>
                <a:gd name="T3" fmla="*/ 89 h 781"/>
                <a:gd name="T4" fmla="*/ 300 w 720"/>
                <a:gd name="T5" fmla="*/ 119 h 781"/>
                <a:gd name="T6" fmla="*/ 270 w 720"/>
                <a:gd name="T7" fmla="*/ 89 h 781"/>
                <a:gd name="T8" fmla="*/ 300 w 720"/>
                <a:gd name="T9" fmla="*/ 119 h 781"/>
                <a:gd name="T10" fmla="*/ 120 w 720"/>
                <a:gd name="T11" fmla="*/ 119 h 781"/>
                <a:gd name="T12" fmla="*/ 150 w 720"/>
                <a:gd name="T13" fmla="*/ 89 h 781"/>
                <a:gd name="T14" fmla="*/ 600 w 720"/>
                <a:gd name="T15" fmla="*/ 119 h 781"/>
                <a:gd name="T16" fmla="*/ 570 w 720"/>
                <a:gd name="T17" fmla="*/ 89 h 781"/>
                <a:gd name="T18" fmla="*/ 600 w 720"/>
                <a:gd name="T19" fmla="*/ 119 h 781"/>
                <a:gd name="T20" fmla="*/ 391 w 720"/>
                <a:gd name="T21" fmla="*/ 150 h 781"/>
                <a:gd name="T22" fmla="*/ 481 w 720"/>
                <a:gd name="T23" fmla="*/ 60 h 781"/>
                <a:gd name="T24" fmla="*/ 451 w 720"/>
                <a:gd name="T25" fmla="*/ 30 h 781"/>
                <a:gd name="T26" fmla="*/ 570 w 720"/>
                <a:gd name="T27" fmla="*/ 60 h 781"/>
                <a:gd name="T28" fmla="*/ 541 w 720"/>
                <a:gd name="T29" fmla="*/ 150 h 781"/>
                <a:gd name="T30" fmla="*/ 630 w 720"/>
                <a:gd name="T31" fmla="*/ 60 h 781"/>
                <a:gd name="T32" fmla="*/ 600 w 720"/>
                <a:gd name="T33" fmla="*/ 30 h 781"/>
                <a:gd name="T34" fmla="*/ 690 w 720"/>
                <a:gd name="T35" fmla="*/ 356 h 781"/>
                <a:gd name="T36" fmla="*/ 691 w 720"/>
                <a:gd name="T37" fmla="*/ 362 h 781"/>
                <a:gd name="T38" fmla="*/ 695 w 720"/>
                <a:gd name="T39" fmla="*/ 367 h 781"/>
                <a:gd name="T40" fmla="*/ 700 w 720"/>
                <a:gd name="T41" fmla="*/ 370 h 781"/>
                <a:gd name="T42" fmla="*/ 705 w 720"/>
                <a:gd name="T43" fmla="*/ 371 h 781"/>
                <a:gd name="T44" fmla="*/ 712 w 720"/>
                <a:gd name="T45" fmla="*/ 370 h 781"/>
                <a:gd name="T46" fmla="*/ 716 w 720"/>
                <a:gd name="T47" fmla="*/ 367 h 781"/>
                <a:gd name="T48" fmla="*/ 719 w 720"/>
                <a:gd name="T49" fmla="*/ 362 h 781"/>
                <a:gd name="T50" fmla="*/ 720 w 720"/>
                <a:gd name="T51" fmla="*/ 356 h 781"/>
                <a:gd name="T52" fmla="*/ 720 w 720"/>
                <a:gd name="T53" fmla="*/ 12 h 781"/>
                <a:gd name="T54" fmla="*/ 718 w 720"/>
                <a:gd name="T55" fmla="*/ 7 h 781"/>
                <a:gd name="T56" fmla="*/ 714 w 720"/>
                <a:gd name="T57" fmla="*/ 3 h 781"/>
                <a:gd name="T58" fmla="*/ 709 w 720"/>
                <a:gd name="T59" fmla="*/ 1 h 781"/>
                <a:gd name="T60" fmla="*/ 15 w 720"/>
                <a:gd name="T61" fmla="*/ 0 h 781"/>
                <a:gd name="T62" fmla="*/ 9 w 720"/>
                <a:gd name="T63" fmla="*/ 1 h 781"/>
                <a:gd name="T64" fmla="*/ 4 w 720"/>
                <a:gd name="T65" fmla="*/ 5 h 781"/>
                <a:gd name="T66" fmla="*/ 1 w 720"/>
                <a:gd name="T67" fmla="*/ 9 h 781"/>
                <a:gd name="T68" fmla="*/ 0 w 720"/>
                <a:gd name="T69" fmla="*/ 15 h 781"/>
                <a:gd name="T70" fmla="*/ 0 w 720"/>
                <a:gd name="T71" fmla="*/ 769 h 781"/>
                <a:gd name="T72" fmla="*/ 2 w 720"/>
                <a:gd name="T73" fmla="*/ 774 h 781"/>
                <a:gd name="T74" fmla="*/ 7 w 720"/>
                <a:gd name="T75" fmla="*/ 779 h 781"/>
                <a:gd name="T76" fmla="*/ 12 w 720"/>
                <a:gd name="T77" fmla="*/ 781 h 781"/>
                <a:gd name="T78" fmla="*/ 355 w 720"/>
                <a:gd name="T79" fmla="*/ 781 h 781"/>
                <a:gd name="T80" fmla="*/ 362 w 720"/>
                <a:gd name="T81" fmla="*/ 780 h 781"/>
                <a:gd name="T82" fmla="*/ 366 w 720"/>
                <a:gd name="T83" fmla="*/ 777 h 781"/>
                <a:gd name="T84" fmla="*/ 369 w 720"/>
                <a:gd name="T85" fmla="*/ 772 h 781"/>
                <a:gd name="T86" fmla="*/ 370 w 720"/>
                <a:gd name="T87" fmla="*/ 766 h 781"/>
                <a:gd name="T88" fmla="*/ 369 w 720"/>
                <a:gd name="T89" fmla="*/ 761 h 781"/>
                <a:gd name="T90" fmla="*/ 366 w 720"/>
                <a:gd name="T91" fmla="*/ 755 h 781"/>
                <a:gd name="T92" fmla="*/ 362 w 720"/>
                <a:gd name="T93" fmla="*/ 752 h 781"/>
                <a:gd name="T94" fmla="*/ 355 w 720"/>
                <a:gd name="T95" fmla="*/ 751 h 781"/>
                <a:gd name="T96" fmla="*/ 30 w 720"/>
                <a:gd name="T97" fmla="*/ 30 h 781"/>
                <a:gd name="T98" fmla="*/ 120 w 720"/>
                <a:gd name="T99" fmla="*/ 60 h 781"/>
                <a:gd name="T100" fmla="*/ 90 w 720"/>
                <a:gd name="T101" fmla="*/ 150 h 781"/>
                <a:gd name="T102" fmla="*/ 180 w 720"/>
                <a:gd name="T103" fmla="*/ 60 h 781"/>
                <a:gd name="T104" fmla="*/ 150 w 720"/>
                <a:gd name="T105" fmla="*/ 30 h 781"/>
                <a:gd name="T106" fmla="*/ 270 w 720"/>
                <a:gd name="T107" fmla="*/ 60 h 781"/>
                <a:gd name="T108" fmla="*/ 240 w 720"/>
                <a:gd name="T109" fmla="*/ 150 h 781"/>
                <a:gd name="T110" fmla="*/ 330 w 720"/>
                <a:gd name="T111" fmla="*/ 60 h 781"/>
                <a:gd name="T112" fmla="*/ 300 w 720"/>
                <a:gd name="T113" fmla="*/ 30 h 781"/>
                <a:gd name="T114" fmla="*/ 421 w 720"/>
                <a:gd name="T115" fmla="*/ 6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0" h="781">
                  <a:moveTo>
                    <a:pt x="451" y="119"/>
                  </a:moveTo>
                  <a:lnTo>
                    <a:pt x="421" y="119"/>
                  </a:lnTo>
                  <a:lnTo>
                    <a:pt x="421" y="89"/>
                  </a:lnTo>
                  <a:lnTo>
                    <a:pt x="451" y="89"/>
                  </a:lnTo>
                  <a:lnTo>
                    <a:pt x="451" y="119"/>
                  </a:lnTo>
                  <a:close/>
                  <a:moveTo>
                    <a:pt x="300" y="119"/>
                  </a:moveTo>
                  <a:lnTo>
                    <a:pt x="270" y="119"/>
                  </a:lnTo>
                  <a:lnTo>
                    <a:pt x="270" y="89"/>
                  </a:lnTo>
                  <a:lnTo>
                    <a:pt x="300" y="89"/>
                  </a:lnTo>
                  <a:lnTo>
                    <a:pt x="300" y="119"/>
                  </a:lnTo>
                  <a:close/>
                  <a:moveTo>
                    <a:pt x="150" y="119"/>
                  </a:moveTo>
                  <a:lnTo>
                    <a:pt x="120" y="119"/>
                  </a:lnTo>
                  <a:lnTo>
                    <a:pt x="120" y="89"/>
                  </a:lnTo>
                  <a:lnTo>
                    <a:pt x="150" y="89"/>
                  </a:lnTo>
                  <a:lnTo>
                    <a:pt x="150" y="119"/>
                  </a:lnTo>
                  <a:close/>
                  <a:moveTo>
                    <a:pt x="600" y="119"/>
                  </a:moveTo>
                  <a:lnTo>
                    <a:pt x="570" y="119"/>
                  </a:lnTo>
                  <a:lnTo>
                    <a:pt x="570" y="89"/>
                  </a:lnTo>
                  <a:lnTo>
                    <a:pt x="600" y="89"/>
                  </a:lnTo>
                  <a:lnTo>
                    <a:pt x="600" y="119"/>
                  </a:lnTo>
                  <a:close/>
                  <a:moveTo>
                    <a:pt x="391" y="60"/>
                  </a:moveTo>
                  <a:lnTo>
                    <a:pt x="391" y="150"/>
                  </a:lnTo>
                  <a:lnTo>
                    <a:pt x="481" y="150"/>
                  </a:lnTo>
                  <a:lnTo>
                    <a:pt x="481" y="60"/>
                  </a:lnTo>
                  <a:lnTo>
                    <a:pt x="451" y="60"/>
                  </a:lnTo>
                  <a:lnTo>
                    <a:pt x="451" y="30"/>
                  </a:lnTo>
                  <a:lnTo>
                    <a:pt x="570" y="30"/>
                  </a:lnTo>
                  <a:lnTo>
                    <a:pt x="570" y="60"/>
                  </a:lnTo>
                  <a:lnTo>
                    <a:pt x="541" y="60"/>
                  </a:lnTo>
                  <a:lnTo>
                    <a:pt x="541" y="150"/>
                  </a:lnTo>
                  <a:lnTo>
                    <a:pt x="630" y="150"/>
                  </a:lnTo>
                  <a:lnTo>
                    <a:pt x="630" y="60"/>
                  </a:lnTo>
                  <a:lnTo>
                    <a:pt x="600" y="60"/>
                  </a:lnTo>
                  <a:lnTo>
                    <a:pt x="600" y="30"/>
                  </a:lnTo>
                  <a:lnTo>
                    <a:pt x="690" y="30"/>
                  </a:lnTo>
                  <a:lnTo>
                    <a:pt x="690" y="356"/>
                  </a:lnTo>
                  <a:lnTo>
                    <a:pt x="691" y="359"/>
                  </a:lnTo>
                  <a:lnTo>
                    <a:pt x="691" y="362"/>
                  </a:lnTo>
                  <a:lnTo>
                    <a:pt x="694" y="365"/>
                  </a:lnTo>
                  <a:lnTo>
                    <a:pt x="695" y="367"/>
                  </a:lnTo>
                  <a:lnTo>
                    <a:pt x="697" y="369"/>
                  </a:lnTo>
                  <a:lnTo>
                    <a:pt x="700" y="370"/>
                  </a:lnTo>
                  <a:lnTo>
                    <a:pt x="702" y="371"/>
                  </a:lnTo>
                  <a:lnTo>
                    <a:pt x="705" y="371"/>
                  </a:lnTo>
                  <a:lnTo>
                    <a:pt x="709" y="371"/>
                  </a:lnTo>
                  <a:lnTo>
                    <a:pt x="712" y="370"/>
                  </a:lnTo>
                  <a:lnTo>
                    <a:pt x="714" y="369"/>
                  </a:lnTo>
                  <a:lnTo>
                    <a:pt x="716" y="367"/>
                  </a:lnTo>
                  <a:lnTo>
                    <a:pt x="718" y="365"/>
                  </a:lnTo>
                  <a:lnTo>
                    <a:pt x="719" y="362"/>
                  </a:lnTo>
                  <a:lnTo>
                    <a:pt x="720" y="359"/>
                  </a:lnTo>
                  <a:lnTo>
                    <a:pt x="720" y="356"/>
                  </a:lnTo>
                  <a:lnTo>
                    <a:pt x="720" y="15"/>
                  </a:lnTo>
                  <a:lnTo>
                    <a:pt x="720" y="12"/>
                  </a:lnTo>
                  <a:lnTo>
                    <a:pt x="719" y="9"/>
                  </a:lnTo>
                  <a:lnTo>
                    <a:pt x="718" y="7"/>
                  </a:lnTo>
                  <a:lnTo>
                    <a:pt x="716" y="5"/>
                  </a:lnTo>
                  <a:lnTo>
                    <a:pt x="714" y="3"/>
                  </a:lnTo>
                  <a:lnTo>
                    <a:pt x="712" y="1"/>
                  </a:lnTo>
                  <a:lnTo>
                    <a:pt x="709" y="1"/>
                  </a:lnTo>
                  <a:lnTo>
                    <a:pt x="705" y="0"/>
                  </a:lnTo>
                  <a:lnTo>
                    <a:pt x="15" y="0"/>
                  </a:lnTo>
                  <a:lnTo>
                    <a:pt x="12" y="1"/>
                  </a:lnTo>
                  <a:lnTo>
                    <a:pt x="9" y="1"/>
                  </a:lnTo>
                  <a:lnTo>
                    <a:pt x="7" y="3"/>
                  </a:lnTo>
                  <a:lnTo>
                    <a:pt x="4" y="5"/>
                  </a:lnTo>
                  <a:lnTo>
                    <a:pt x="2" y="7"/>
                  </a:lnTo>
                  <a:lnTo>
                    <a:pt x="1" y="9"/>
                  </a:lnTo>
                  <a:lnTo>
                    <a:pt x="0" y="12"/>
                  </a:lnTo>
                  <a:lnTo>
                    <a:pt x="0" y="15"/>
                  </a:lnTo>
                  <a:lnTo>
                    <a:pt x="0" y="766"/>
                  </a:lnTo>
                  <a:lnTo>
                    <a:pt x="0" y="769"/>
                  </a:lnTo>
                  <a:lnTo>
                    <a:pt x="1" y="772"/>
                  </a:lnTo>
                  <a:lnTo>
                    <a:pt x="2" y="774"/>
                  </a:lnTo>
                  <a:lnTo>
                    <a:pt x="4" y="777"/>
                  </a:lnTo>
                  <a:lnTo>
                    <a:pt x="7" y="779"/>
                  </a:lnTo>
                  <a:lnTo>
                    <a:pt x="9" y="780"/>
                  </a:lnTo>
                  <a:lnTo>
                    <a:pt x="12" y="781"/>
                  </a:lnTo>
                  <a:lnTo>
                    <a:pt x="15" y="781"/>
                  </a:lnTo>
                  <a:lnTo>
                    <a:pt x="355" y="781"/>
                  </a:lnTo>
                  <a:lnTo>
                    <a:pt x="359" y="781"/>
                  </a:lnTo>
                  <a:lnTo>
                    <a:pt x="362" y="780"/>
                  </a:lnTo>
                  <a:lnTo>
                    <a:pt x="364" y="779"/>
                  </a:lnTo>
                  <a:lnTo>
                    <a:pt x="366" y="777"/>
                  </a:lnTo>
                  <a:lnTo>
                    <a:pt x="368" y="774"/>
                  </a:lnTo>
                  <a:lnTo>
                    <a:pt x="369" y="772"/>
                  </a:lnTo>
                  <a:lnTo>
                    <a:pt x="370" y="769"/>
                  </a:lnTo>
                  <a:lnTo>
                    <a:pt x="370" y="766"/>
                  </a:lnTo>
                  <a:lnTo>
                    <a:pt x="370" y="763"/>
                  </a:lnTo>
                  <a:lnTo>
                    <a:pt x="369" y="761"/>
                  </a:lnTo>
                  <a:lnTo>
                    <a:pt x="368" y="757"/>
                  </a:lnTo>
                  <a:lnTo>
                    <a:pt x="366" y="755"/>
                  </a:lnTo>
                  <a:lnTo>
                    <a:pt x="364" y="754"/>
                  </a:lnTo>
                  <a:lnTo>
                    <a:pt x="362" y="752"/>
                  </a:lnTo>
                  <a:lnTo>
                    <a:pt x="359" y="751"/>
                  </a:lnTo>
                  <a:lnTo>
                    <a:pt x="355" y="751"/>
                  </a:lnTo>
                  <a:lnTo>
                    <a:pt x="30" y="751"/>
                  </a:lnTo>
                  <a:lnTo>
                    <a:pt x="30" y="30"/>
                  </a:lnTo>
                  <a:lnTo>
                    <a:pt x="120" y="30"/>
                  </a:lnTo>
                  <a:lnTo>
                    <a:pt x="120" y="60"/>
                  </a:lnTo>
                  <a:lnTo>
                    <a:pt x="90" y="60"/>
                  </a:lnTo>
                  <a:lnTo>
                    <a:pt x="90" y="150"/>
                  </a:lnTo>
                  <a:lnTo>
                    <a:pt x="180" y="150"/>
                  </a:lnTo>
                  <a:lnTo>
                    <a:pt x="180" y="60"/>
                  </a:lnTo>
                  <a:lnTo>
                    <a:pt x="150" y="60"/>
                  </a:lnTo>
                  <a:lnTo>
                    <a:pt x="150" y="30"/>
                  </a:lnTo>
                  <a:lnTo>
                    <a:pt x="270" y="30"/>
                  </a:lnTo>
                  <a:lnTo>
                    <a:pt x="270" y="60"/>
                  </a:lnTo>
                  <a:lnTo>
                    <a:pt x="240" y="60"/>
                  </a:lnTo>
                  <a:lnTo>
                    <a:pt x="240" y="150"/>
                  </a:lnTo>
                  <a:lnTo>
                    <a:pt x="330" y="150"/>
                  </a:lnTo>
                  <a:lnTo>
                    <a:pt x="330" y="60"/>
                  </a:lnTo>
                  <a:lnTo>
                    <a:pt x="300" y="60"/>
                  </a:lnTo>
                  <a:lnTo>
                    <a:pt x="300" y="30"/>
                  </a:lnTo>
                  <a:lnTo>
                    <a:pt x="421" y="30"/>
                  </a:lnTo>
                  <a:lnTo>
                    <a:pt x="421" y="60"/>
                  </a:lnTo>
                  <a:lnTo>
                    <a:pt x="39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1" name="Freeform 39">
              <a:extLst>
                <a:ext uri="{FF2B5EF4-FFF2-40B4-BE49-F238E27FC236}">
                  <a16:creationId xmlns:a16="http://schemas.microsoft.com/office/drawing/2014/main" id="{149DEA03-BBEF-4809-AD1F-764F506500C0}"/>
                </a:ext>
              </a:extLst>
            </p:cNvPr>
            <p:cNvSpPr>
              <a:spLocks/>
            </p:cNvSpPr>
            <p:nvPr/>
          </p:nvSpPr>
          <p:spPr bwMode="auto">
            <a:xfrm>
              <a:off x="11206163" y="3830638"/>
              <a:ext cx="74613" cy="69850"/>
            </a:xfrm>
            <a:custGeom>
              <a:avLst/>
              <a:gdLst>
                <a:gd name="T0" fmla="*/ 212 w 239"/>
                <a:gd name="T1" fmla="*/ 5 h 218"/>
                <a:gd name="T2" fmla="*/ 89 w 239"/>
                <a:gd name="T3" fmla="*/ 171 h 218"/>
                <a:gd name="T4" fmla="*/ 26 w 239"/>
                <a:gd name="T5" fmla="*/ 95 h 218"/>
                <a:gd name="T6" fmla="*/ 24 w 239"/>
                <a:gd name="T7" fmla="*/ 93 h 218"/>
                <a:gd name="T8" fmla="*/ 21 w 239"/>
                <a:gd name="T9" fmla="*/ 92 h 218"/>
                <a:gd name="T10" fmla="*/ 19 w 239"/>
                <a:gd name="T11" fmla="*/ 91 h 218"/>
                <a:gd name="T12" fmla="*/ 16 w 239"/>
                <a:gd name="T13" fmla="*/ 90 h 218"/>
                <a:gd name="T14" fmla="*/ 13 w 239"/>
                <a:gd name="T15" fmla="*/ 90 h 218"/>
                <a:gd name="T16" fmla="*/ 10 w 239"/>
                <a:gd name="T17" fmla="*/ 91 h 218"/>
                <a:gd name="T18" fmla="*/ 7 w 239"/>
                <a:gd name="T19" fmla="*/ 92 h 218"/>
                <a:gd name="T20" fmla="*/ 5 w 239"/>
                <a:gd name="T21" fmla="*/ 94 h 218"/>
                <a:gd name="T22" fmla="*/ 3 w 239"/>
                <a:gd name="T23" fmla="*/ 96 h 218"/>
                <a:gd name="T24" fmla="*/ 1 w 239"/>
                <a:gd name="T25" fmla="*/ 99 h 218"/>
                <a:gd name="T26" fmla="*/ 0 w 239"/>
                <a:gd name="T27" fmla="*/ 102 h 218"/>
                <a:gd name="T28" fmla="*/ 0 w 239"/>
                <a:gd name="T29" fmla="*/ 104 h 218"/>
                <a:gd name="T30" fmla="*/ 0 w 239"/>
                <a:gd name="T31" fmla="*/ 107 h 218"/>
                <a:gd name="T32" fmla="*/ 1 w 239"/>
                <a:gd name="T33" fmla="*/ 110 h 218"/>
                <a:gd name="T34" fmla="*/ 2 w 239"/>
                <a:gd name="T35" fmla="*/ 112 h 218"/>
                <a:gd name="T36" fmla="*/ 3 w 239"/>
                <a:gd name="T37" fmla="*/ 116 h 218"/>
                <a:gd name="T38" fmla="*/ 90 w 239"/>
                <a:gd name="T39" fmla="*/ 218 h 218"/>
                <a:gd name="T40" fmla="*/ 237 w 239"/>
                <a:gd name="T41" fmla="*/ 24 h 218"/>
                <a:gd name="T42" fmla="*/ 238 w 239"/>
                <a:gd name="T43" fmla="*/ 21 h 218"/>
                <a:gd name="T44" fmla="*/ 239 w 239"/>
                <a:gd name="T45" fmla="*/ 18 h 218"/>
                <a:gd name="T46" fmla="*/ 239 w 239"/>
                <a:gd name="T47" fmla="*/ 16 h 218"/>
                <a:gd name="T48" fmla="*/ 239 w 239"/>
                <a:gd name="T49" fmla="*/ 13 h 218"/>
                <a:gd name="T50" fmla="*/ 238 w 239"/>
                <a:gd name="T51" fmla="*/ 8 h 218"/>
                <a:gd name="T52" fmla="*/ 234 w 239"/>
                <a:gd name="T53" fmla="*/ 2 h 218"/>
                <a:gd name="T54" fmla="*/ 231 w 239"/>
                <a:gd name="T55" fmla="*/ 1 h 218"/>
                <a:gd name="T56" fmla="*/ 228 w 239"/>
                <a:gd name="T57" fmla="*/ 0 h 218"/>
                <a:gd name="T58" fmla="*/ 225 w 239"/>
                <a:gd name="T59" fmla="*/ 0 h 218"/>
                <a:gd name="T60" fmla="*/ 222 w 239"/>
                <a:gd name="T61" fmla="*/ 0 h 218"/>
                <a:gd name="T62" fmla="*/ 217 w 239"/>
                <a:gd name="T63" fmla="*/ 2 h 218"/>
                <a:gd name="T64" fmla="*/ 212 w 239"/>
                <a:gd name="T65" fmla="*/ 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9" h="218">
                  <a:moveTo>
                    <a:pt x="212" y="5"/>
                  </a:moveTo>
                  <a:lnTo>
                    <a:pt x="89" y="171"/>
                  </a:lnTo>
                  <a:lnTo>
                    <a:pt x="26" y="95"/>
                  </a:lnTo>
                  <a:lnTo>
                    <a:pt x="24" y="93"/>
                  </a:lnTo>
                  <a:lnTo>
                    <a:pt x="21" y="92"/>
                  </a:lnTo>
                  <a:lnTo>
                    <a:pt x="19" y="91"/>
                  </a:lnTo>
                  <a:lnTo>
                    <a:pt x="16" y="90"/>
                  </a:lnTo>
                  <a:lnTo>
                    <a:pt x="13" y="90"/>
                  </a:lnTo>
                  <a:lnTo>
                    <a:pt x="10" y="91"/>
                  </a:lnTo>
                  <a:lnTo>
                    <a:pt x="7" y="92"/>
                  </a:lnTo>
                  <a:lnTo>
                    <a:pt x="5" y="94"/>
                  </a:lnTo>
                  <a:lnTo>
                    <a:pt x="3" y="96"/>
                  </a:lnTo>
                  <a:lnTo>
                    <a:pt x="1" y="99"/>
                  </a:lnTo>
                  <a:lnTo>
                    <a:pt x="0" y="102"/>
                  </a:lnTo>
                  <a:lnTo>
                    <a:pt x="0" y="104"/>
                  </a:lnTo>
                  <a:lnTo>
                    <a:pt x="0" y="107"/>
                  </a:lnTo>
                  <a:lnTo>
                    <a:pt x="1" y="110"/>
                  </a:lnTo>
                  <a:lnTo>
                    <a:pt x="2" y="112"/>
                  </a:lnTo>
                  <a:lnTo>
                    <a:pt x="3" y="116"/>
                  </a:lnTo>
                  <a:lnTo>
                    <a:pt x="90" y="218"/>
                  </a:lnTo>
                  <a:lnTo>
                    <a:pt x="237" y="24"/>
                  </a:lnTo>
                  <a:lnTo>
                    <a:pt x="238" y="21"/>
                  </a:lnTo>
                  <a:lnTo>
                    <a:pt x="239" y="18"/>
                  </a:lnTo>
                  <a:lnTo>
                    <a:pt x="239" y="16"/>
                  </a:lnTo>
                  <a:lnTo>
                    <a:pt x="239" y="13"/>
                  </a:lnTo>
                  <a:lnTo>
                    <a:pt x="238" y="8"/>
                  </a:lnTo>
                  <a:lnTo>
                    <a:pt x="234" y="2"/>
                  </a:lnTo>
                  <a:lnTo>
                    <a:pt x="231" y="1"/>
                  </a:lnTo>
                  <a:lnTo>
                    <a:pt x="228" y="0"/>
                  </a:lnTo>
                  <a:lnTo>
                    <a:pt x="225" y="0"/>
                  </a:lnTo>
                  <a:lnTo>
                    <a:pt x="222" y="0"/>
                  </a:lnTo>
                  <a:lnTo>
                    <a:pt x="217" y="2"/>
                  </a:lnTo>
                  <a:lnTo>
                    <a:pt x="21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434" name="Group 155">
            <a:extLst>
              <a:ext uri="{FF2B5EF4-FFF2-40B4-BE49-F238E27FC236}">
                <a16:creationId xmlns:a16="http://schemas.microsoft.com/office/drawing/2014/main" id="{BACABCF4-9264-466B-9768-2030E1AC7576}"/>
              </a:ext>
            </a:extLst>
          </p:cNvPr>
          <p:cNvGrpSpPr>
            <a:grpSpLocks noChangeAspect="1"/>
          </p:cNvGrpSpPr>
          <p:nvPr/>
        </p:nvGrpSpPr>
        <p:grpSpPr>
          <a:xfrm>
            <a:off x="1032468" y="3290217"/>
            <a:ext cx="308350" cy="252913"/>
            <a:chOff x="8131175" y="1122363"/>
            <a:chExt cx="371476" cy="295276"/>
          </a:xfrm>
          <a:solidFill>
            <a:schemeClr val="bg1"/>
          </a:solidFill>
          <a:effectLst/>
        </p:grpSpPr>
        <p:sp>
          <p:nvSpPr>
            <p:cNvPr id="435" name="Freeform 97">
              <a:extLst>
                <a:ext uri="{FF2B5EF4-FFF2-40B4-BE49-F238E27FC236}">
                  <a16:creationId xmlns:a16="http://schemas.microsoft.com/office/drawing/2014/main" id="{7F014196-5AC0-4634-8BC7-038B5772F4F4}"/>
                </a:ext>
              </a:extLst>
            </p:cNvPr>
            <p:cNvSpPr>
              <a:spLocks/>
            </p:cNvSpPr>
            <p:nvPr/>
          </p:nvSpPr>
          <p:spPr bwMode="auto">
            <a:xfrm>
              <a:off x="8131175" y="1168401"/>
              <a:ext cx="371475" cy="109538"/>
            </a:xfrm>
            <a:custGeom>
              <a:avLst/>
              <a:gdLst>
                <a:gd name="T0" fmla="*/ 36 w 96"/>
                <a:gd name="T1" fmla="*/ 28 h 28"/>
                <a:gd name="T2" fmla="*/ 2 w 96"/>
                <a:gd name="T3" fmla="*/ 28 h 28"/>
                <a:gd name="T4" fmla="*/ 0 w 96"/>
                <a:gd name="T5" fmla="*/ 26 h 28"/>
                <a:gd name="T6" fmla="*/ 2 w 96"/>
                <a:gd name="T7" fmla="*/ 24 h 28"/>
                <a:gd name="T8" fmla="*/ 36 w 96"/>
                <a:gd name="T9" fmla="*/ 24 h 28"/>
                <a:gd name="T10" fmla="*/ 52 w 96"/>
                <a:gd name="T11" fmla="*/ 13 h 28"/>
                <a:gd name="T12" fmla="*/ 72 w 96"/>
                <a:gd name="T13" fmla="*/ 0 h 28"/>
                <a:gd name="T14" fmla="*/ 94 w 96"/>
                <a:gd name="T15" fmla="*/ 0 h 28"/>
                <a:gd name="T16" fmla="*/ 96 w 96"/>
                <a:gd name="T17" fmla="*/ 2 h 28"/>
                <a:gd name="T18" fmla="*/ 94 w 96"/>
                <a:gd name="T19" fmla="*/ 4 h 28"/>
                <a:gd name="T20" fmla="*/ 72 w 96"/>
                <a:gd name="T21" fmla="*/ 4 h 28"/>
                <a:gd name="T22" fmla="*/ 56 w 96"/>
                <a:gd name="T23" fmla="*/ 15 h 28"/>
                <a:gd name="T24" fmla="*/ 36 w 96"/>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8">
                  <a:moveTo>
                    <a:pt x="36" y="28"/>
                  </a:moveTo>
                  <a:cubicBezTo>
                    <a:pt x="2" y="28"/>
                    <a:pt x="2" y="28"/>
                    <a:pt x="2" y="28"/>
                  </a:cubicBezTo>
                  <a:cubicBezTo>
                    <a:pt x="1" y="28"/>
                    <a:pt x="0" y="27"/>
                    <a:pt x="0" y="26"/>
                  </a:cubicBezTo>
                  <a:cubicBezTo>
                    <a:pt x="0" y="25"/>
                    <a:pt x="1" y="24"/>
                    <a:pt x="2" y="24"/>
                  </a:cubicBezTo>
                  <a:cubicBezTo>
                    <a:pt x="36" y="24"/>
                    <a:pt x="36" y="24"/>
                    <a:pt x="36" y="24"/>
                  </a:cubicBezTo>
                  <a:cubicBezTo>
                    <a:pt x="45" y="24"/>
                    <a:pt x="48" y="19"/>
                    <a:pt x="52" y="13"/>
                  </a:cubicBezTo>
                  <a:cubicBezTo>
                    <a:pt x="56" y="7"/>
                    <a:pt x="61" y="0"/>
                    <a:pt x="72" y="0"/>
                  </a:cubicBezTo>
                  <a:cubicBezTo>
                    <a:pt x="94" y="0"/>
                    <a:pt x="94" y="0"/>
                    <a:pt x="94" y="0"/>
                  </a:cubicBezTo>
                  <a:cubicBezTo>
                    <a:pt x="95" y="0"/>
                    <a:pt x="96" y="1"/>
                    <a:pt x="96" y="2"/>
                  </a:cubicBezTo>
                  <a:cubicBezTo>
                    <a:pt x="96" y="3"/>
                    <a:pt x="95" y="4"/>
                    <a:pt x="94" y="4"/>
                  </a:cubicBezTo>
                  <a:cubicBezTo>
                    <a:pt x="72" y="4"/>
                    <a:pt x="72" y="4"/>
                    <a:pt x="72" y="4"/>
                  </a:cubicBezTo>
                  <a:cubicBezTo>
                    <a:pt x="63" y="4"/>
                    <a:pt x="60" y="9"/>
                    <a:pt x="56" y="15"/>
                  </a:cubicBezTo>
                  <a:cubicBezTo>
                    <a:pt x="52" y="21"/>
                    <a:pt x="47" y="28"/>
                    <a:pt x="3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98">
              <a:extLst>
                <a:ext uri="{FF2B5EF4-FFF2-40B4-BE49-F238E27FC236}">
                  <a16:creationId xmlns:a16="http://schemas.microsoft.com/office/drawing/2014/main" id="{10C30EB9-3958-4234-8F50-B00599B914D0}"/>
                </a:ext>
              </a:extLst>
            </p:cNvPr>
            <p:cNvSpPr>
              <a:spLocks/>
            </p:cNvSpPr>
            <p:nvPr/>
          </p:nvSpPr>
          <p:spPr bwMode="auto">
            <a:xfrm>
              <a:off x="8456613" y="1122363"/>
              <a:ext cx="46038" cy="107950"/>
            </a:xfrm>
            <a:custGeom>
              <a:avLst/>
              <a:gdLst>
                <a:gd name="T0" fmla="*/ 2 w 12"/>
                <a:gd name="T1" fmla="*/ 28 h 28"/>
                <a:gd name="T2" fmla="*/ 1 w 12"/>
                <a:gd name="T3" fmla="*/ 28 h 28"/>
                <a:gd name="T4" fmla="*/ 0 w 12"/>
                <a:gd name="T5" fmla="*/ 25 h 28"/>
                <a:gd name="T6" fmla="*/ 8 w 12"/>
                <a:gd name="T7" fmla="*/ 14 h 28"/>
                <a:gd name="T8" fmla="*/ 0 w 12"/>
                <a:gd name="T9" fmla="*/ 3 h 28"/>
                <a:gd name="T10" fmla="*/ 1 w 12"/>
                <a:gd name="T11" fmla="*/ 0 h 28"/>
                <a:gd name="T12" fmla="*/ 4 w 12"/>
                <a:gd name="T13" fmla="*/ 1 h 28"/>
                <a:gd name="T14" fmla="*/ 12 w 12"/>
                <a:gd name="T15" fmla="*/ 13 h 28"/>
                <a:gd name="T16" fmla="*/ 12 w 12"/>
                <a:gd name="T17" fmla="*/ 15 h 28"/>
                <a:gd name="T18" fmla="*/ 4 w 12"/>
                <a:gd name="T19" fmla="*/ 27 h 28"/>
                <a:gd name="T20" fmla="*/ 2 w 1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2" y="28"/>
                  </a:moveTo>
                  <a:cubicBezTo>
                    <a:pt x="2" y="28"/>
                    <a:pt x="1" y="28"/>
                    <a:pt x="1" y="28"/>
                  </a:cubicBezTo>
                  <a:cubicBezTo>
                    <a:pt x="0" y="27"/>
                    <a:pt x="0" y="26"/>
                    <a:pt x="0" y="25"/>
                  </a:cubicBezTo>
                  <a:cubicBezTo>
                    <a:pt x="8" y="14"/>
                    <a:pt x="8" y="14"/>
                    <a:pt x="8" y="14"/>
                  </a:cubicBezTo>
                  <a:cubicBezTo>
                    <a:pt x="0" y="3"/>
                    <a:pt x="0" y="3"/>
                    <a:pt x="0" y="3"/>
                  </a:cubicBezTo>
                  <a:cubicBezTo>
                    <a:pt x="0" y="2"/>
                    <a:pt x="0" y="1"/>
                    <a:pt x="1" y="0"/>
                  </a:cubicBezTo>
                  <a:cubicBezTo>
                    <a:pt x="2" y="0"/>
                    <a:pt x="3" y="0"/>
                    <a:pt x="4" y="1"/>
                  </a:cubicBezTo>
                  <a:cubicBezTo>
                    <a:pt x="12" y="13"/>
                    <a:pt x="12" y="13"/>
                    <a:pt x="12" y="13"/>
                  </a:cubicBezTo>
                  <a:cubicBezTo>
                    <a:pt x="12" y="14"/>
                    <a:pt x="12" y="14"/>
                    <a:pt x="12" y="15"/>
                  </a:cubicBezTo>
                  <a:cubicBezTo>
                    <a:pt x="4" y="27"/>
                    <a:pt x="4" y="27"/>
                    <a:pt x="4" y="27"/>
                  </a:cubicBezTo>
                  <a:cubicBezTo>
                    <a:pt x="3" y="28"/>
                    <a:pt x="3"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99">
              <a:extLst>
                <a:ext uri="{FF2B5EF4-FFF2-40B4-BE49-F238E27FC236}">
                  <a16:creationId xmlns:a16="http://schemas.microsoft.com/office/drawing/2014/main" id="{3264937C-90B2-4AE6-9A7F-83DCAEAE4E64}"/>
                </a:ext>
              </a:extLst>
            </p:cNvPr>
            <p:cNvSpPr>
              <a:spLocks/>
            </p:cNvSpPr>
            <p:nvPr/>
          </p:nvSpPr>
          <p:spPr bwMode="auto">
            <a:xfrm>
              <a:off x="8262938" y="1262063"/>
              <a:ext cx="239713" cy="109538"/>
            </a:xfrm>
            <a:custGeom>
              <a:avLst/>
              <a:gdLst>
                <a:gd name="T0" fmla="*/ 60 w 62"/>
                <a:gd name="T1" fmla="*/ 28 h 28"/>
                <a:gd name="T2" fmla="*/ 38 w 62"/>
                <a:gd name="T3" fmla="*/ 28 h 28"/>
                <a:gd name="T4" fmla="*/ 18 w 62"/>
                <a:gd name="T5" fmla="*/ 15 h 28"/>
                <a:gd name="T6" fmla="*/ 2 w 62"/>
                <a:gd name="T7" fmla="*/ 4 h 28"/>
                <a:gd name="T8" fmla="*/ 0 w 62"/>
                <a:gd name="T9" fmla="*/ 2 h 28"/>
                <a:gd name="T10" fmla="*/ 2 w 62"/>
                <a:gd name="T11" fmla="*/ 0 h 28"/>
                <a:gd name="T12" fmla="*/ 22 w 62"/>
                <a:gd name="T13" fmla="*/ 13 h 28"/>
                <a:gd name="T14" fmla="*/ 38 w 62"/>
                <a:gd name="T15" fmla="*/ 24 h 28"/>
                <a:gd name="T16" fmla="*/ 60 w 62"/>
                <a:gd name="T17" fmla="*/ 24 h 28"/>
                <a:gd name="T18" fmla="*/ 62 w 62"/>
                <a:gd name="T19" fmla="*/ 26 h 28"/>
                <a:gd name="T20" fmla="*/ 60 w 6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28">
                  <a:moveTo>
                    <a:pt x="60" y="28"/>
                  </a:moveTo>
                  <a:cubicBezTo>
                    <a:pt x="38" y="28"/>
                    <a:pt x="38" y="28"/>
                    <a:pt x="38" y="28"/>
                  </a:cubicBezTo>
                  <a:cubicBezTo>
                    <a:pt x="27" y="28"/>
                    <a:pt x="22" y="21"/>
                    <a:pt x="18" y="15"/>
                  </a:cubicBezTo>
                  <a:cubicBezTo>
                    <a:pt x="14" y="9"/>
                    <a:pt x="11" y="4"/>
                    <a:pt x="2" y="4"/>
                  </a:cubicBezTo>
                  <a:cubicBezTo>
                    <a:pt x="1" y="4"/>
                    <a:pt x="0" y="3"/>
                    <a:pt x="0" y="2"/>
                  </a:cubicBezTo>
                  <a:cubicBezTo>
                    <a:pt x="0" y="1"/>
                    <a:pt x="1" y="0"/>
                    <a:pt x="2" y="0"/>
                  </a:cubicBezTo>
                  <a:cubicBezTo>
                    <a:pt x="13" y="0"/>
                    <a:pt x="18" y="7"/>
                    <a:pt x="22" y="13"/>
                  </a:cubicBezTo>
                  <a:cubicBezTo>
                    <a:pt x="26" y="19"/>
                    <a:pt x="29" y="24"/>
                    <a:pt x="38" y="24"/>
                  </a:cubicBezTo>
                  <a:cubicBezTo>
                    <a:pt x="60" y="24"/>
                    <a:pt x="60" y="24"/>
                    <a:pt x="60" y="24"/>
                  </a:cubicBezTo>
                  <a:cubicBezTo>
                    <a:pt x="61" y="24"/>
                    <a:pt x="62" y="25"/>
                    <a:pt x="62" y="26"/>
                  </a:cubicBezTo>
                  <a:cubicBezTo>
                    <a:pt x="62" y="27"/>
                    <a:pt x="61" y="28"/>
                    <a:pt x="6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00">
              <a:extLst>
                <a:ext uri="{FF2B5EF4-FFF2-40B4-BE49-F238E27FC236}">
                  <a16:creationId xmlns:a16="http://schemas.microsoft.com/office/drawing/2014/main" id="{853519FB-674B-4AC4-8417-C8D3961389A7}"/>
                </a:ext>
              </a:extLst>
            </p:cNvPr>
            <p:cNvSpPr>
              <a:spLocks/>
            </p:cNvSpPr>
            <p:nvPr/>
          </p:nvSpPr>
          <p:spPr bwMode="auto">
            <a:xfrm>
              <a:off x="8456613" y="1308101"/>
              <a:ext cx="46038" cy="109538"/>
            </a:xfrm>
            <a:custGeom>
              <a:avLst/>
              <a:gdLst>
                <a:gd name="T0" fmla="*/ 2 w 12"/>
                <a:gd name="T1" fmla="*/ 28 h 28"/>
                <a:gd name="T2" fmla="*/ 1 w 12"/>
                <a:gd name="T3" fmla="*/ 28 h 28"/>
                <a:gd name="T4" fmla="*/ 0 w 12"/>
                <a:gd name="T5" fmla="*/ 25 h 28"/>
                <a:gd name="T6" fmla="*/ 8 w 12"/>
                <a:gd name="T7" fmla="*/ 14 h 28"/>
                <a:gd name="T8" fmla="*/ 0 w 12"/>
                <a:gd name="T9" fmla="*/ 3 h 28"/>
                <a:gd name="T10" fmla="*/ 1 w 12"/>
                <a:gd name="T11" fmla="*/ 0 h 28"/>
                <a:gd name="T12" fmla="*/ 4 w 12"/>
                <a:gd name="T13" fmla="*/ 1 h 28"/>
                <a:gd name="T14" fmla="*/ 12 w 12"/>
                <a:gd name="T15" fmla="*/ 13 h 28"/>
                <a:gd name="T16" fmla="*/ 12 w 12"/>
                <a:gd name="T17" fmla="*/ 15 h 28"/>
                <a:gd name="T18" fmla="*/ 4 w 12"/>
                <a:gd name="T19" fmla="*/ 27 h 28"/>
                <a:gd name="T20" fmla="*/ 2 w 12"/>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8">
                  <a:moveTo>
                    <a:pt x="2" y="28"/>
                  </a:moveTo>
                  <a:cubicBezTo>
                    <a:pt x="2" y="28"/>
                    <a:pt x="1" y="28"/>
                    <a:pt x="1" y="28"/>
                  </a:cubicBezTo>
                  <a:cubicBezTo>
                    <a:pt x="0" y="27"/>
                    <a:pt x="0" y="26"/>
                    <a:pt x="0" y="25"/>
                  </a:cubicBezTo>
                  <a:cubicBezTo>
                    <a:pt x="8" y="14"/>
                    <a:pt x="8" y="14"/>
                    <a:pt x="8" y="14"/>
                  </a:cubicBezTo>
                  <a:cubicBezTo>
                    <a:pt x="0" y="3"/>
                    <a:pt x="0" y="3"/>
                    <a:pt x="0" y="3"/>
                  </a:cubicBezTo>
                  <a:cubicBezTo>
                    <a:pt x="0" y="2"/>
                    <a:pt x="0" y="1"/>
                    <a:pt x="1" y="0"/>
                  </a:cubicBezTo>
                  <a:cubicBezTo>
                    <a:pt x="2" y="0"/>
                    <a:pt x="3" y="0"/>
                    <a:pt x="4" y="1"/>
                  </a:cubicBezTo>
                  <a:cubicBezTo>
                    <a:pt x="12" y="13"/>
                    <a:pt x="12" y="13"/>
                    <a:pt x="12" y="13"/>
                  </a:cubicBezTo>
                  <a:cubicBezTo>
                    <a:pt x="12" y="14"/>
                    <a:pt x="12" y="14"/>
                    <a:pt x="12" y="15"/>
                  </a:cubicBezTo>
                  <a:cubicBezTo>
                    <a:pt x="4" y="27"/>
                    <a:pt x="4" y="27"/>
                    <a:pt x="4" y="27"/>
                  </a:cubicBezTo>
                  <a:cubicBezTo>
                    <a:pt x="3" y="28"/>
                    <a:pt x="3"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0" name="Group 18">
            <a:extLst>
              <a:ext uri="{FF2B5EF4-FFF2-40B4-BE49-F238E27FC236}">
                <a16:creationId xmlns:a16="http://schemas.microsoft.com/office/drawing/2014/main" id="{8672863E-2207-49EE-B029-CC5334A4A7C4}"/>
              </a:ext>
            </a:extLst>
          </p:cNvPr>
          <p:cNvGrpSpPr>
            <a:grpSpLocks noChangeAspect="1"/>
          </p:cNvGrpSpPr>
          <p:nvPr/>
        </p:nvGrpSpPr>
        <p:grpSpPr>
          <a:xfrm>
            <a:off x="1468410" y="3262499"/>
            <a:ext cx="308350" cy="308350"/>
            <a:chOff x="4386263" y="3243263"/>
            <a:chExt cx="371475" cy="371475"/>
          </a:xfrm>
          <a:solidFill>
            <a:schemeClr val="bg1"/>
          </a:solidFill>
          <a:effectLst/>
        </p:grpSpPr>
        <p:sp>
          <p:nvSpPr>
            <p:cNvPr id="491" name="Freeform 5">
              <a:extLst>
                <a:ext uri="{FF2B5EF4-FFF2-40B4-BE49-F238E27FC236}">
                  <a16:creationId xmlns:a16="http://schemas.microsoft.com/office/drawing/2014/main" id="{89C817C8-12C5-4239-898A-90C1F00AF5C5}"/>
                </a:ext>
              </a:extLst>
            </p:cNvPr>
            <p:cNvSpPr>
              <a:spLocks noEditPoints="1"/>
            </p:cNvSpPr>
            <p:nvPr/>
          </p:nvSpPr>
          <p:spPr bwMode="auto">
            <a:xfrm>
              <a:off x="4386263" y="3243263"/>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6">
              <a:extLst>
                <a:ext uri="{FF2B5EF4-FFF2-40B4-BE49-F238E27FC236}">
                  <a16:creationId xmlns:a16="http://schemas.microsoft.com/office/drawing/2014/main" id="{E080D30E-86C5-44D5-8211-8A7D386BBE95}"/>
                </a:ext>
              </a:extLst>
            </p:cNvPr>
            <p:cNvSpPr>
              <a:spLocks noEditPoints="1"/>
            </p:cNvSpPr>
            <p:nvPr/>
          </p:nvSpPr>
          <p:spPr bwMode="auto">
            <a:xfrm>
              <a:off x="4541838" y="33988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7">
              <a:extLst>
                <a:ext uri="{FF2B5EF4-FFF2-40B4-BE49-F238E27FC236}">
                  <a16:creationId xmlns:a16="http://schemas.microsoft.com/office/drawing/2014/main" id="{51224C93-6379-4488-9359-2C019737C57E}"/>
                </a:ext>
              </a:extLst>
            </p:cNvPr>
            <p:cNvSpPr>
              <a:spLocks/>
            </p:cNvSpPr>
            <p:nvPr/>
          </p:nvSpPr>
          <p:spPr bwMode="auto">
            <a:xfrm>
              <a:off x="4579938" y="3328988"/>
              <a:ext cx="92075" cy="92075"/>
            </a:xfrm>
            <a:custGeom>
              <a:avLst/>
              <a:gdLst>
                <a:gd name="T0" fmla="*/ 2 w 24"/>
                <a:gd name="T1" fmla="*/ 24 h 24"/>
                <a:gd name="T2" fmla="*/ 1 w 24"/>
                <a:gd name="T3" fmla="*/ 23 h 24"/>
                <a:gd name="T4" fmla="*/ 1 w 24"/>
                <a:gd name="T5" fmla="*/ 20 h 24"/>
                <a:gd name="T6" fmla="*/ 21 w 24"/>
                <a:gd name="T7" fmla="*/ 1 h 24"/>
                <a:gd name="T8" fmla="*/ 23 w 24"/>
                <a:gd name="T9" fmla="*/ 1 h 24"/>
                <a:gd name="T10" fmla="*/ 23 w 24"/>
                <a:gd name="T11" fmla="*/ 3 h 24"/>
                <a:gd name="T12" fmla="*/ 4 w 24"/>
                <a:gd name="T13" fmla="*/ 23 h 24"/>
                <a:gd name="T14" fmla="*/ 2 w 24"/>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2" y="24"/>
                  </a:moveTo>
                  <a:cubicBezTo>
                    <a:pt x="2" y="24"/>
                    <a:pt x="1" y="24"/>
                    <a:pt x="1" y="23"/>
                  </a:cubicBezTo>
                  <a:cubicBezTo>
                    <a:pt x="0" y="22"/>
                    <a:pt x="0" y="21"/>
                    <a:pt x="1" y="20"/>
                  </a:cubicBezTo>
                  <a:cubicBezTo>
                    <a:pt x="21" y="1"/>
                    <a:pt x="21" y="1"/>
                    <a:pt x="21" y="1"/>
                  </a:cubicBezTo>
                  <a:cubicBezTo>
                    <a:pt x="21" y="0"/>
                    <a:pt x="23" y="0"/>
                    <a:pt x="23" y="1"/>
                  </a:cubicBezTo>
                  <a:cubicBezTo>
                    <a:pt x="24" y="1"/>
                    <a:pt x="24" y="3"/>
                    <a:pt x="23" y="3"/>
                  </a:cubicBezTo>
                  <a:cubicBezTo>
                    <a:pt x="4" y="23"/>
                    <a:pt x="4" y="23"/>
                    <a:pt x="4" y="23"/>
                  </a:cubicBezTo>
                  <a:cubicBezTo>
                    <a:pt x="3" y="24"/>
                    <a:pt x="3" y="24"/>
                    <a:pt x="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8">
              <a:extLst>
                <a:ext uri="{FF2B5EF4-FFF2-40B4-BE49-F238E27FC236}">
                  <a16:creationId xmlns:a16="http://schemas.microsoft.com/office/drawing/2014/main" id="{C17DAF9D-AC2E-4837-8B23-D9675B989678}"/>
                </a:ext>
              </a:extLst>
            </p:cNvPr>
            <p:cNvSpPr>
              <a:spLocks/>
            </p:cNvSpPr>
            <p:nvPr/>
          </p:nvSpPr>
          <p:spPr bwMode="auto">
            <a:xfrm>
              <a:off x="4418013" y="3413126"/>
              <a:ext cx="46038"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9">
              <a:extLst>
                <a:ext uri="{FF2B5EF4-FFF2-40B4-BE49-F238E27FC236}">
                  <a16:creationId xmlns:a16="http://schemas.microsoft.com/office/drawing/2014/main" id="{3847C930-DD75-4D15-92AF-2B05D053BA54}"/>
                </a:ext>
              </a:extLst>
            </p:cNvPr>
            <p:cNvSpPr>
              <a:spLocks/>
            </p:cNvSpPr>
            <p:nvPr/>
          </p:nvSpPr>
          <p:spPr bwMode="auto">
            <a:xfrm>
              <a:off x="4429126" y="3463926"/>
              <a:ext cx="46038" cy="30163"/>
            </a:xfrm>
            <a:custGeom>
              <a:avLst/>
              <a:gdLst>
                <a:gd name="T0" fmla="*/ 2 w 12"/>
                <a:gd name="T1" fmla="*/ 8 h 8"/>
                <a:gd name="T2" fmla="*/ 0 w 12"/>
                <a:gd name="T3" fmla="*/ 6 h 8"/>
                <a:gd name="T4" fmla="*/ 1 w 12"/>
                <a:gd name="T5" fmla="*/ 4 h 8"/>
                <a:gd name="T6" fmla="*/ 9 w 12"/>
                <a:gd name="T7" fmla="*/ 1 h 8"/>
                <a:gd name="T8" fmla="*/ 11 w 12"/>
                <a:gd name="T9" fmla="*/ 2 h 8"/>
                <a:gd name="T10" fmla="*/ 10 w 12"/>
                <a:gd name="T11" fmla="*/ 4 h 8"/>
                <a:gd name="T12" fmla="*/ 3 w 12"/>
                <a:gd name="T13" fmla="*/ 7 h 8"/>
                <a:gd name="T14" fmla="*/ 2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8"/>
                  </a:moveTo>
                  <a:cubicBezTo>
                    <a:pt x="1" y="8"/>
                    <a:pt x="0" y="7"/>
                    <a:pt x="0" y="6"/>
                  </a:cubicBezTo>
                  <a:cubicBezTo>
                    <a:pt x="0" y="5"/>
                    <a:pt x="0" y="4"/>
                    <a:pt x="1" y="4"/>
                  </a:cubicBezTo>
                  <a:cubicBezTo>
                    <a:pt x="9" y="1"/>
                    <a:pt x="9" y="1"/>
                    <a:pt x="9" y="1"/>
                  </a:cubicBezTo>
                  <a:cubicBezTo>
                    <a:pt x="10" y="0"/>
                    <a:pt x="11" y="1"/>
                    <a:pt x="11" y="2"/>
                  </a:cubicBezTo>
                  <a:cubicBezTo>
                    <a:pt x="12" y="3"/>
                    <a:pt x="11" y="4"/>
                    <a:pt x="10" y="4"/>
                  </a:cubicBezTo>
                  <a:cubicBezTo>
                    <a:pt x="3" y="7"/>
                    <a:pt x="3" y="7"/>
                    <a:pt x="3" y="7"/>
                  </a:cubicBezTo>
                  <a:cubicBezTo>
                    <a:pt x="2" y="7"/>
                    <a:pt x="2"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0">
              <a:extLst>
                <a:ext uri="{FF2B5EF4-FFF2-40B4-BE49-F238E27FC236}">
                  <a16:creationId xmlns:a16="http://schemas.microsoft.com/office/drawing/2014/main" id="{25F400E1-4F01-4329-AEB3-6B5731554599}"/>
                </a:ext>
              </a:extLst>
            </p:cNvPr>
            <p:cNvSpPr>
              <a:spLocks/>
            </p:cNvSpPr>
            <p:nvPr/>
          </p:nvSpPr>
          <p:spPr bwMode="auto">
            <a:xfrm>
              <a:off x="4668838" y="3463926"/>
              <a:ext cx="46038" cy="30163"/>
            </a:xfrm>
            <a:custGeom>
              <a:avLst/>
              <a:gdLst>
                <a:gd name="T0" fmla="*/ 10 w 12"/>
                <a:gd name="T1" fmla="*/ 8 h 8"/>
                <a:gd name="T2" fmla="*/ 9 w 12"/>
                <a:gd name="T3" fmla="*/ 7 h 8"/>
                <a:gd name="T4" fmla="*/ 2 w 12"/>
                <a:gd name="T5" fmla="*/ 4 h 8"/>
                <a:gd name="T6" fmla="*/ 1 w 12"/>
                <a:gd name="T7" fmla="*/ 2 h 8"/>
                <a:gd name="T8" fmla="*/ 3 w 12"/>
                <a:gd name="T9" fmla="*/ 1 h 8"/>
                <a:gd name="T10" fmla="*/ 11 w 12"/>
                <a:gd name="T11" fmla="*/ 4 h 8"/>
                <a:gd name="T12" fmla="*/ 12 w 12"/>
                <a:gd name="T13" fmla="*/ 6 h 8"/>
                <a:gd name="T14" fmla="*/ 10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0" y="8"/>
                  </a:moveTo>
                  <a:cubicBezTo>
                    <a:pt x="10" y="8"/>
                    <a:pt x="10" y="7"/>
                    <a:pt x="9" y="7"/>
                  </a:cubicBezTo>
                  <a:cubicBezTo>
                    <a:pt x="2" y="4"/>
                    <a:pt x="2" y="4"/>
                    <a:pt x="2" y="4"/>
                  </a:cubicBezTo>
                  <a:cubicBezTo>
                    <a:pt x="1" y="4"/>
                    <a:pt x="0" y="3"/>
                    <a:pt x="1" y="2"/>
                  </a:cubicBezTo>
                  <a:cubicBezTo>
                    <a:pt x="1" y="1"/>
                    <a:pt x="2" y="0"/>
                    <a:pt x="3" y="1"/>
                  </a:cubicBezTo>
                  <a:cubicBezTo>
                    <a:pt x="11" y="4"/>
                    <a:pt x="11" y="4"/>
                    <a:pt x="11" y="4"/>
                  </a:cubicBezTo>
                  <a:cubicBezTo>
                    <a:pt x="12" y="4"/>
                    <a:pt x="12" y="5"/>
                    <a:pt x="12" y="6"/>
                  </a:cubicBezTo>
                  <a:cubicBezTo>
                    <a:pt x="12" y="7"/>
                    <a:pt x="11" y="8"/>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1">
              <a:extLst>
                <a:ext uri="{FF2B5EF4-FFF2-40B4-BE49-F238E27FC236}">
                  <a16:creationId xmlns:a16="http://schemas.microsoft.com/office/drawing/2014/main" id="{F030EA2F-B1A3-4FB9-8D81-71554A14C6F8}"/>
                </a:ext>
              </a:extLst>
            </p:cNvPr>
            <p:cNvSpPr>
              <a:spLocks/>
            </p:cNvSpPr>
            <p:nvPr/>
          </p:nvSpPr>
          <p:spPr bwMode="auto">
            <a:xfrm>
              <a:off x="4679951" y="3413126"/>
              <a:ext cx="47625" cy="15875"/>
            </a:xfrm>
            <a:custGeom>
              <a:avLst/>
              <a:gdLst>
                <a:gd name="T0" fmla="*/ 10 w 12"/>
                <a:gd name="T1" fmla="*/ 4 h 4"/>
                <a:gd name="T2" fmla="*/ 10 w 12"/>
                <a:gd name="T3" fmla="*/ 4 h 4"/>
                <a:gd name="T4" fmla="*/ 2 w 12"/>
                <a:gd name="T5" fmla="*/ 4 h 4"/>
                <a:gd name="T6" fmla="*/ 0 w 12"/>
                <a:gd name="T7" fmla="*/ 2 h 4"/>
                <a:gd name="T8" fmla="*/ 2 w 12"/>
                <a:gd name="T9" fmla="*/ 0 h 4"/>
                <a:gd name="T10" fmla="*/ 2 w 12"/>
                <a:gd name="T11" fmla="*/ 0 h 4"/>
                <a:gd name="T12" fmla="*/ 10 w 12"/>
                <a:gd name="T13" fmla="*/ 0 h 4"/>
                <a:gd name="T14" fmla="*/ 12 w 12"/>
                <a:gd name="T15" fmla="*/ 2 h 4"/>
                <a:gd name="T16" fmla="*/ 10 w 12"/>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10" y="4"/>
                  </a:moveTo>
                  <a:cubicBezTo>
                    <a:pt x="10" y="4"/>
                    <a:pt x="10" y="4"/>
                    <a:pt x="10" y="4"/>
                  </a:cubicBezTo>
                  <a:cubicBezTo>
                    <a:pt x="2" y="4"/>
                    <a:pt x="2" y="4"/>
                    <a:pt x="2" y="4"/>
                  </a:cubicBezTo>
                  <a:cubicBezTo>
                    <a:pt x="1" y="4"/>
                    <a:pt x="0" y="3"/>
                    <a:pt x="0" y="2"/>
                  </a:cubicBezTo>
                  <a:cubicBezTo>
                    <a:pt x="0" y="1"/>
                    <a:pt x="1" y="0"/>
                    <a:pt x="2" y="0"/>
                  </a:cubicBezTo>
                  <a:cubicBezTo>
                    <a:pt x="2" y="0"/>
                    <a:pt x="2"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2">
              <a:extLst>
                <a:ext uri="{FF2B5EF4-FFF2-40B4-BE49-F238E27FC236}">
                  <a16:creationId xmlns:a16="http://schemas.microsoft.com/office/drawing/2014/main" id="{9D8A5C3F-0B15-4807-A879-DFFBF2078452}"/>
                </a:ext>
              </a:extLst>
            </p:cNvPr>
            <p:cNvSpPr>
              <a:spLocks/>
            </p:cNvSpPr>
            <p:nvPr/>
          </p:nvSpPr>
          <p:spPr bwMode="auto">
            <a:xfrm>
              <a:off x="4668838" y="3363913"/>
              <a:ext cx="46038" cy="30163"/>
            </a:xfrm>
            <a:custGeom>
              <a:avLst/>
              <a:gdLst>
                <a:gd name="T0" fmla="*/ 3 w 12"/>
                <a:gd name="T1" fmla="*/ 8 h 8"/>
                <a:gd name="T2" fmla="*/ 1 w 12"/>
                <a:gd name="T3" fmla="*/ 6 h 8"/>
                <a:gd name="T4" fmla="*/ 2 w 12"/>
                <a:gd name="T5" fmla="*/ 4 h 8"/>
                <a:gd name="T6" fmla="*/ 9 w 12"/>
                <a:gd name="T7" fmla="*/ 1 h 8"/>
                <a:gd name="T8" fmla="*/ 12 w 12"/>
                <a:gd name="T9" fmla="*/ 2 h 8"/>
                <a:gd name="T10" fmla="*/ 11 w 12"/>
                <a:gd name="T11" fmla="*/ 4 h 8"/>
                <a:gd name="T12" fmla="*/ 3 w 12"/>
                <a:gd name="T13" fmla="*/ 7 h 8"/>
                <a:gd name="T14" fmla="*/ 3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3" y="8"/>
                  </a:moveTo>
                  <a:cubicBezTo>
                    <a:pt x="2" y="8"/>
                    <a:pt x="1" y="7"/>
                    <a:pt x="1" y="6"/>
                  </a:cubicBezTo>
                  <a:cubicBezTo>
                    <a:pt x="0" y="5"/>
                    <a:pt x="1" y="4"/>
                    <a:pt x="2" y="4"/>
                  </a:cubicBezTo>
                  <a:cubicBezTo>
                    <a:pt x="9" y="1"/>
                    <a:pt x="9" y="1"/>
                    <a:pt x="9" y="1"/>
                  </a:cubicBezTo>
                  <a:cubicBezTo>
                    <a:pt x="10" y="0"/>
                    <a:pt x="12" y="1"/>
                    <a:pt x="12" y="2"/>
                  </a:cubicBezTo>
                  <a:cubicBezTo>
                    <a:pt x="12" y="3"/>
                    <a:pt x="12" y="4"/>
                    <a:pt x="11" y="4"/>
                  </a:cubicBezTo>
                  <a:cubicBezTo>
                    <a:pt x="3" y="7"/>
                    <a:pt x="3" y="7"/>
                    <a:pt x="3" y="7"/>
                  </a:cubicBezTo>
                  <a:cubicBezTo>
                    <a:pt x="3" y="7"/>
                    <a:pt x="3"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3">
              <a:extLst>
                <a:ext uri="{FF2B5EF4-FFF2-40B4-BE49-F238E27FC236}">
                  <a16:creationId xmlns:a16="http://schemas.microsoft.com/office/drawing/2014/main" id="{E6604899-3544-492B-B905-75AAE141CB7C}"/>
                </a:ext>
              </a:extLst>
            </p:cNvPr>
            <p:cNvSpPr>
              <a:spLocks/>
            </p:cNvSpPr>
            <p:nvPr/>
          </p:nvSpPr>
          <p:spPr bwMode="auto">
            <a:xfrm>
              <a:off x="4618038" y="3286126"/>
              <a:ext cx="26988" cy="42863"/>
            </a:xfrm>
            <a:custGeom>
              <a:avLst/>
              <a:gdLst>
                <a:gd name="T0" fmla="*/ 2 w 7"/>
                <a:gd name="T1" fmla="*/ 11 h 11"/>
                <a:gd name="T2" fmla="*/ 1 w 7"/>
                <a:gd name="T3" fmla="*/ 11 h 11"/>
                <a:gd name="T4" fmla="*/ 0 w 7"/>
                <a:gd name="T5" fmla="*/ 9 h 11"/>
                <a:gd name="T6" fmla="*/ 3 w 7"/>
                <a:gd name="T7" fmla="*/ 1 h 11"/>
                <a:gd name="T8" fmla="*/ 6 w 7"/>
                <a:gd name="T9" fmla="*/ 0 h 11"/>
                <a:gd name="T10" fmla="*/ 7 w 7"/>
                <a:gd name="T11" fmla="*/ 3 h 11"/>
                <a:gd name="T12" fmla="*/ 4 w 7"/>
                <a:gd name="T13" fmla="*/ 10 h 11"/>
                <a:gd name="T14" fmla="*/ 2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2" y="11"/>
                  </a:moveTo>
                  <a:cubicBezTo>
                    <a:pt x="2" y="11"/>
                    <a:pt x="1" y="11"/>
                    <a:pt x="1" y="11"/>
                  </a:cubicBezTo>
                  <a:cubicBezTo>
                    <a:pt x="0" y="11"/>
                    <a:pt x="0" y="10"/>
                    <a:pt x="0" y="9"/>
                  </a:cubicBezTo>
                  <a:cubicBezTo>
                    <a:pt x="3" y="1"/>
                    <a:pt x="3" y="1"/>
                    <a:pt x="3" y="1"/>
                  </a:cubicBezTo>
                  <a:cubicBezTo>
                    <a:pt x="4" y="0"/>
                    <a:pt x="5" y="0"/>
                    <a:pt x="6" y="0"/>
                  </a:cubicBezTo>
                  <a:cubicBezTo>
                    <a:pt x="7" y="0"/>
                    <a:pt x="7" y="2"/>
                    <a:pt x="7" y="3"/>
                  </a:cubicBezTo>
                  <a:cubicBezTo>
                    <a:pt x="4" y="10"/>
                    <a:pt x="4" y="10"/>
                    <a:pt x="4" y="10"/>
                  </a:cubicBezTo>
                  <a:cubicBezTo>
                    <a:pt x="4" y="11"/>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4">
              <a:extLst>
                <a:ext uri="{FF2B5EF4-FFF2-40B4-BE49-F238E27FC236}">
                  <a16:creationId xmlns:a16="http://schemas.microsoft.com/office/drawing/2014/main" id="{15CE822A-A328-4591-A73A-785A0F2DA87A}"/>
                </a:ext>
              </a:extLst>
            </p:cNvPr>
            <p:cNvSpPr>
              <a:spLocks/>
            </p:cNvSpPr>
            <p:nvPr/>
          </p:nvSpPr>
          <p:spPr bwMode="auto">
            <a:xfrm>
              <a:off x="4572001" y="32781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5">
              <a:extLst>
                <a:ext uri="{FF2B5EF4-FFF2-40B4-BE49-F238E27FC236}">
                  <a16:creationId xmlns:a16="http://schemas.microsoft.com/office/drawing/2014/main" id="{E4955CE0-E280-4883-A194-30AB67EAEC7F}"/>
                </a:ext>
              </a:extLst>
            </p:cNvPr>
            <p:cNvSpPr>
              <a:spLocks/>
            </p:cNvSpPr>
            <p:nvPr/>
          </p:nvSpPr>
          <p:spPr bwMode="auto">
            <a:xfrm>
              <a:off x="4506913" y="3286126"/>
              <a:ext cx="30163" cy="42863"/>
            </a:xfrm>
            <a:custGeom>
              <a:avLst/>
              <a:gdLst>
                <a:gd name="T0" fmla="*/ 6 w 8"/>
                <a:gd name="T1" fmla="*/ 11 h 11"/>
                <a:gd name="T2" fmla="*/ 4 w 8"/>
                <a:gd name="T3" fmla="*/ 10 h 11"/>
                <a:gd name="T4" fmla="*/ 1 w 8"/>
                <a:gd name="T5" fmla="*/ 3 h 11"/>
                <a:gd name="T6" fmla="*/ 2 w 8"/>
                <a:gd name="T7" fmla="*/ 0 h 11"/>
                <a:gd name="T8" fmla="*/ 4 w 8"/>
                <a:gd name="T9" fmla="*/ 1 h 11"/>
                <a:gd name="T10" fmla="*/ 7 w 8"/>
                <a:gd name="T11" fmla="*/ 9 h 11"/>
                <a:gd name="T12" fmla="*/ 6 w 8"/>
                <a:gd name="T13" fmla="*/ 11 h 11"/>
                <a:gd name="T14" fmla="*/ 6 w 8"/>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6" y="11"/>
                  </a:moveTo>
                  <a:cubicBezTo>
                    <a:pt x="5" y="11"/>
                    <a:pt x="4" y="11"/>
                    <a:pt x="4" y="10"/>
                  </a:cubicBezTo>
                  <a:cubicBezTo>
                    <a:pt x="1" y="3"/>
                    <a:pt x="1" y="3"/>
                    <a:pt x="1" y="3"/>
                  </a:cubicBezTo>
                  <a:cubicBezTo>
                    <a:pt x="0" y="2"/>
                    <a:pt x="1" y="0"/>
                    <a:pt x="2" y="0"/>
                  </a:cubicBezTo>
                  <a:cubicBezTo>
                    <a:pt x="3" y="0"/>
                    <a:pt x="4" y="0"/>
                    <a:pt x="4" y="1"/>
                  </a:cubicBezTo>
                  <a:cubicBezTo>
                    <a:pt x="7" y="9"/>
                    <a:pt x="7" y="9"/>
                    <a:pt x="7" y="9"/>
                  </a:cubicBezTo>
                  <a:cubicBezTo>
                    <a:pt x="8" y="10"/>
                    <a:pt x="7" y="11"/>
                    <a:pt x="6" y="11"/>
                  </a:cubicBezTo>
                  <a:cubicBezTo>
                    <a:pt x="6" y="11"/>
                    <a:pt x="6"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6">
              <a:extLst>
                <a:ext uri="{FF2B5EF4-FFF2-40B4-BE49-F238E27FC236}">
                  <a16:creationId xmlns:a16="http://schemas.microsoft.com/office/drawing/2014/main" id="{304F6381-82B7-476B-90DB-A989D5269452}"/>
                </a:ext>
              </a:extLst>
            </p:cNvPr>
            <p:cNvSpPr>
              <a:spLocks/>
            </p:cNvSpPr>
            <p:nvPr/>
          </p:nvSpPr>
          <p:spPr bwMode="auto">
            <a:xfrm>
              <a:off x="4459288" y="3316288"/>
              <a:ext cx="39688" cy="39688"/>
            </a:xfrm>
            <a:custGeom>
              <a:avLst/>
              <a:gdLst>
                <a:gd name="T0" fmla="*/ 8 w 10"/>
                <a:gd name="T1" fmla="*/ 10 h 10"/>
                <a:gd name="T2" fmla="*/ 6 w 10"/>
                <a:gd name="T3" fmla="*/ 9 h 10"/>
                <a:gd name="T4" fmla="*/ 1 w 10"/>
                <a:gd name="T5" fmla="*/ 4 h 10"/>
                <a:gd name="T6" fmla="*/ 1 w 10"/>
                <a:gd name="T7" fmla="*/ 1 h 10"/>
                <a:gd name="T8" fmla="*/ 4 w 10"/>
                <a:gd name="T9" fmla="*/ 1 h 10"/>
                <a:gd name="T10" fmla="*/ 9 w 10"/>
                <a:gd name="T11" fmla="*/ 6 h 10"/>
                <a:gd name="T12" fmla="*/ 9 w 10"/>
                <a:gd name="T13" fmla="*/ 9 h 10"/>
                <a:gd name="T14" fmla="*/ 8 w 1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8" y="10"/>
                  </a:moveTo>
                  <a:cubicBezTo>
                    <a:pt x="7" y="10"/>
                    <a:pt x="7" y="10"/>
                    <a:pt x="6" y="9"/>
                  </a:cubicBezTo>
                  <a:cubicBezTo>
                    <a:pt x="1" y="4"/>
                    <a:pt x="1" y="4"/>
                    <a:pt x="1" y="4"/>
                  </a:cubicBezTo>
                  <a:cubicBezTo>
                    <a:pt x="0" y="3"/>
                    <a:pt x="0" y="1"/>
                    <a:pt x="1" y="1"/>
                  </a:cubicBezTo>
                  <a:cubicBezTo>
                    <a:pt x="1" y="0"/>
                    <a:pt x="3" y="0"/>
                    <a:pt x="4" y="1"/>
                  </a:cubicBezTo>
                  <a:cubicBezTo>
                    <a:pt x="9" y="6"/>
                    <a:pt x="9" y="6"/>
                    <a:pt x="9" y="6"/>
                  </a:cubicBezTo>
                  <a:cubicBezTo>
                    <a:pt x="10" y="7"/>
                    <a:pt x="10" y="8"/>
                    <a:pt x="9" y="9"/>
                  </a:cubicBezTo>
                  <a:cubicBezTo>
                    <a:pt x="9" y="10"/>
                    <a:pt x="8" y="10"/>
                    <a:pt x="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7">
              <a:extLst>
                <a:ext uri="{FF2B5EF4-FFF2-40B4-BE49-F238E27FC236}">
                  <a16:creationId xmlns:a16="http://schemas.microsoft.com/office/drawing/2014/main" id="{D3AF6722-50F3-4CA5-A41B-C3117CD411AC}"/>
                </a:ext>
              </a:extLst>
            </p:cNvPr>
            <p:cNvSpPr>
              <a:spLocks/>
            </p:cNvSpPr>
            <p:nvPr/>
          </p:nvSpPr>
          <p:spPr bwMode="auto">
            <a:xfrm>
              <a:off x="4429126" y="3363913"/>
              <a:ext cx="46038" cy="30163"/>
            </a:xfrm>
            <a:custGeom>
              <a:avLst/>
              <a:gdLst>
                <a:gd name="T0" fmla="*/ 9 w 12"/>
                <a:gd name="T1" fmla="*/ 8 h 8"/>
                <a:gd name="T2" fmla="*/ 9 w 12"/>
                <a:gd name="T3" fmla="*/ 7 h 8"/>
                <a:gd name="T4" fmla="*/ 1 w 12"/>
                <a:gd name="T5" fmla="*/ 4 h 8"/>
                <a:gd name="T6" fmla="*/ 0 w 12"/>
                <a:gd name="T7" fmla="*/ 2 h 8"/>
                <a:gd name="T8" fmla="*/ 3 w 12"/>
                <a:gd name="T9" fmla="*/ 1 h 8"/>
                <a:gd name="T10" fmla="*/ 10 w 12"/>
                <a:gd name="T11" fmla="*/ 4 h 8"/>
                <a:gd name="T12" fmla="*/ 11 w 12"/>
                <a:gd name="T13" fmla="*/ 6 h 8"/>
                <a:gd name="T14" fmla="*/ 9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9" y="8"/>
                  </a:moveTo>
                  <a:cubicBezTo>
                    <a:pt x="9" y="8"/>
                    <a:pt x="9" y="7"/>
                    <a:pt x="9" y="7"/>
                  </a:cubicBezTo>
                  <a:cubicBezTo>
                    <a:pt x="1" y="4"/>
                    <a:pt x="1" y="4"/>
                    <a:pt x="1" y="4"/>
                  </a:cubicBezTo>
                  <a:cubicBezTo>
                    <a:pt x="0" y="4"/>
                    <a:pt x="0" y="3"/>
                    <a:pt x="0" y="2"/>
                  </a:cubicBezTo>
                  <a:cubicBezTo>
                    <a:pt x="0" y="1"/>
                    <a:pt x="2" y="0"/>
                    <a:pt x="3" y="1"/>
                  </a:cubicBezTo>
                  <a:cubicBezTo>
                    <a:pt x="10" y="4"/>
                    <a:pt x="10" y="4"/>
                    <a:pt x="10" y="4"/>
                  </a:cubicBezTo>
                  <a:cubicBezTo>
                    <a:pt x="11" y="4"/>
                    <a:pt x="12" y="5"/>
                    <a:pt x="11" y="6"/>
                  </a:cubicBezTo>
                  <a:cubicBezTo>
                    <a:pt x="11" y="7"/>
                    <a:pt x="10" y="8"/>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8">
              <a:extLst>
                <a:ext uri="{FF2B5EF4-FFF2-40B4-BE49-F238E27FC236}">
                  <a16:creationId xmlns:a16="http://schemas.microsoft.com/office/drawing/2014/main" id="{24223BCF-5807-434A-B18E-5545D73857D0}"/>
                </a:ext>
              </a:extLst>
            </p:cNvPr>
            <p:cNvSpPr>
              <a:spLocks noEditPoints="1"/>
            </p:cNvSpPr>
            <p:nvPr/>
          </p:nvSpPr>
          <p:spPr bwMode="auto">
            <a:xfrm>
              <a:off x="4494213" y="3490913"/>
              <a:ext cx="155575" cy="61913"/>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4" name="Group 181">
            <a:extLst>
              <a:ext uri="{FF2B5EF4-FFF2-40B4-BE49-F238E27FC236}">
                <a16:creationId xmlns:a16="http://schemas.microsoft.com/office/drawing/2014/main" id="{2728E878-D33D-446D-9853-466FF2477F25}"/>
              </a:ext>
            </a:extLst>
          </p:cNvPr>
          <p:cNvGrpSpPr>
            <a:grpSpLocks noChangeAspect="1"/>
          </p:cNvGrpSpPr>
          <p:nvPr/>
        </p:nvGrpSpPr>
        <p:grpSpPr>
          <a:xfrm>
            <a:off x="612190" y="3299661"/>
            <a:ext cx="308350" cy="234027"/>
            <a:chOff x="8221663" y="2922588"/>
            <a:chExt cx="796925" cy="604838"/>
          </a:xfrm>
          <a:solidFill>
            <a:schemeClr val="bg1"/>
          </a:solidFill>
          <a:effectLst/>
        </p:grpSpPr>
        <p:sp>
          <p:nvSpPr>
            <p:cNvPr id="515" name="Freeform 51">
              <a:extLst>
                <a:ext uri="{FF2B5EF4-FFF2-40B4-BE49-F238E27FC236}">
                  <a16:creationId xmlns:a16="http://schemas.microsoft.com/office/drawing/2014/main" id="{0B3FF684-5C3F-42B5-BAA9-66401C7D0E26}"/>
                </a:ext>
              </a:extLst>
            </p:cNvPr>
            <p:cNvSpPr>
              <a:spLocks noEditPoints="1"/>
            </p:cNvSpPr>
            <p:nvPr/>
          </p:nvSpPr>
          <p:spPr bwMode="auto">
            <a:xfrm>
              <a:off x="8502650" y="3290888"/>
              <a:ext cx="234950" cy="236538"/>
            </a:xfrm>
            <a:custGeom>
              <a:avLst/>
              <a:gdLst>
                <a:gd name="T0" fmla="*/ 73 w 148"/>
                <a:gd name="T1" fmla="*/ 0 h 149"/>
                <a:gd name="T2" fmla="*/ 44 w 148"/>
                <a:gd name="T3" fmla="*/ 6 h 149"/>
                <a:gd name="T4" fmla="*/ 22 w 148"/>
                <a:gd name="T5" fmla="*/ 22 h 149"/>
                <a:gd name="T6" fmla="*/ 5 w 148"/>
                <a:gd name="T7" fmla="*/ 46 h 149"/>
                <a:gd name="T8" fmla="*/ 0 w 148"/>
                <a:gd name="T9" fmla="*/ 74 h 149"/>
                <a:gd name="T10" fmla="*/ 1 w 148"/>
                <a:gd name="T11" fmla="*/ 90 h 149"/>
                <a:gd name="T12" fmla="*/ 12 w 148"/>
                <a:gd name="T13" fmla="*/ 115 h 149"/>
                <a:gd name="T14" fmla="*/ 32 w 148"/>
                <a:gd name="T15" fmla="*/ 136 h 149"/>
                <a:gd name="T16" fmla="*/ 59 w 148"/>
                <a:gd name="T17" fmla="*/ 148 h 149"/>
                <a:gd name="T18" fmla="*/ 73 w 148"/>
                <a:gd name="T19" fmla="*/ 149 h 149"/>
                <a:gd name="T20" fmla="*/ 102 w 148"/>
                <a:gd name="T21" fmla="*/ 143 h 149"/>
                <a:gd name="T22" fmla="*/ 126 w 148"/>
                <a:gd name="T23" fmla="*/ 127 h 149"/>
                <a:gd name="T24" fmla="*/ 143 w 148"/>
                <a:gd name="T25" fmla="*/ 103 h 149"/>
                <a:gd name="T26" fmla="*/ 148 w 148"/>
                <a:gd name="T27" fmla="*/ 74 h 149"/>
                <a:gd name="T28" fmla="*/ 146 w 148"/>
                <a:gd name="T29" fmla="*/ 59 h 149"/>
                <a:gd name="T30" fmla="*/ 136 w 148"/>
                <a:gd name="T31" fmla="*/ 34 h 149"/>
                <a:gd name="T32" fmla="*/ 115 w 148"/>
                <a:gd name="T33" fmla="*/ 13 h 149"/>
                <a:gd name="T34" fmla="*/ 88 w 148"/>
                <a:gd name="T35" fmla="*/ 1 h 149"/>
                <a:gd name="T36" fmla="*/ 73 w 148"/>
                <a:gd name="T37" fmla="*/ 0 h 149"/>
                <a:gd name="T38" fmla="*/ 73 w 148"/>
                <a:gd name="T39" fmla="*/ 131 h 149"/>
                <a:gd name="T40" fmla="*/ 53 w 148"/>
                <a:gd name="T41" fmla="*/ 125 h 149"/>
                <a:gd name="T42" fmla="*/ 34 w 148"/>
                <a:gd name="T43" fmla="*/ 114 h 149"/>
                <a:gd name="T44" fmla="*/ 22 w 148"/>
                <a:gd name="T45" fmla="*/ 97 h 149"/>
                <a:gd name="T46" fmla="*/ 18 w 148"/>
                <a:gd name="T47" fmla="*/ 74 h 149"/>
                <a:gd name="T48" fmla="*/ 18 w 148"/>
                <a:gd name="T49" fmla="*/ 63 h 149"/>
                <a:gd name="T50" fmla="*/ 27 w 148"/>
                <a:gd name="T51" fmla="*/ 44 h 149"/>
                <a:gd name="T52" fmla="*/ 42 w 148"/>
                <a:gd name="T53" fmla="*/ 29 h 149"/>
                <a:gd name="T54" fmla="*/ 63 w 148"/>
                <a:gd name="T55" fmla="*/ 20 h 149"/>
                <a:gd name="T56" fmla="*/ 73 w 148"/>
                <a:gd name="T57" fmla="*/ 18 h 149"/>
                <a:gd name="T58" fmla="*/ 95 w 148"/>
                <a:gd name="T59" fmla="*/ 23 h 149"/>
                <a:gd name="T60" fmla="*/ 114 w 148"/>
                <a:gd name="T61" fmla="*/ 35 h 149"/>
                <a:gd name="T62" fmla="*/ 126 w 148"/>
                <a:gd name="T63" fmla="*/ 52 h 149"/>
                <a:gd name="T64" fmla="*/ 129 w 148"/>
                <a:gd name="T65" fmla="*/ 74 h 149"/>
                <a:gd name="T66" fmla="*/ 129 w 148"/>
                <a:gd name="T67" fmla="*/ 86 h 149"/>
                <a:gd name="T68" fmla="*/ 121 w 148"/>
                <a:gd name="T69" fmla="*/ 105 h 149"/>
                <a:gd name="T70" fmla="*/ 105 w 148"/>
                <a:gd name="T71" fmla="*/ 120 h 149"/>
                <a:gd name="T72" fmla="*/ 85 w 148"/>
                <a:gd name="T73" fmla="*/ 129 h 149"/>
                <a:gd name="T74" fmla="*/ 73 w 148"/>
                <a:gd name="T75" fmla="*/ 13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73" y="0"/>
                  </a:moveTo>
                  <a:lnTo>
                    <a:pt x="73" y="0"/>
                  </a:lnTo>
                  <a:lnTo>
                    <a:pt x="59" y="1"/>
                  </a:lnTo>
                  <a:lnTo>
                    <a:pt x="44" y="6"/>
                  </a:lnTo>
                  <a:lnTo>
                    <a:pt x="32" y="13"/>
                  </a:lnTo>
                  <a:lnTo>
                    <a:pt x="22" y="22"/>
                  </a:lnTo>
                  <a:lnTo>
                    <a:pt x="12" y="34"/>
                  </a:lnTo>
                  <a:lnTo>
                    <a:pt x="5" y="46"/>
                  </a:lnTo>
                  <a:lnTo>
                    <a:pt x="1" y="59"/>
                  </a:lnTo>
                  <a:lnTo>
                    <a:pt x="0" y="74"/>
                  </a:lnTo>
                  <a:lnTo>
                    <a:pt x="0" y="74"/>
                  </a:lnTo>
                  <a:lnTo>
                    <a:pt x="1" y="90"/>
                  </a:lnTo>
                  <a:lnTo>
                    <a:pt x="5" y="103"/>
                  </a:lnTo>
                  <a:lnTo>
                    <a:pt x="12" y="115"/>
                  </a:lnTo>
                  <a:lnTo>
                    <a:pt x="22" y="127"/>
                  </a:lnTo>
                  <a:lnTo>
                    <a:pt x="32" y="136"/>
                  </a:lnTo>
                  <a:lnTo>
                    <a:pt x="44" y="143"/>
                  </a:lnTo>
                  <a:lnTo>
                    <a:pt x="59" y="148"/>
                  </a:lnTo>
                  <a:lnTo>
                    <a:pt x="73" y="149"/>
                  </a:lnTo>
                  <a:lnTo>
                    <a:pt x="73" y="149"/>
                  </a:lnTo>
                  <a:lnTo>
                    <a:pt x="88" y="148"/>
                  </a:lnTo>
                  <a:lnTo>
                    <a:pt x="102" y="143"/>
                  </a:lnTo>
                  <a:lnTo>
                    <a:pt x="115" y="136"/>
                  </a:lnTo>
                  <a:lnTo>
                    <a:pt x="126" y="127"/>
                  </a:lnTo>
                  <a:lnTo>
                    <a:pt x="136" y="115"/>
                  </a:lnTo>
                  <a:lnTo>
                    <a:pt x="143" y="103"/>
                  </a:lnTo>
                  <a:lnTo>
                    <a:pt x="146" y="90"/>
                  </a:lnTo>
                  <a:lnTo>
                    <a:pt x="148" y="74"/>
                  </a:lnTo>
                  <a:lnTo>
                    <a:pt x="148" y="74"/>
                  </a:lnTo>
                  <a:lnTo>
                    <a:pt x="146" y="59"/>
                  </a:lnTo>
                  <a:lnTo>
                    <a:pt x="143" y="46"/>
                  </a:lnTo>
                  <a:lnTo>
                    <a:pt x="136" y="34"/>
                  </a:lnTo>
                  <a:lnTo>
                    <a:pt x="126" y="22"/>
                  </a:lnTo>
                  <a:lnTo>
                    <a:pt x="115" y="13"/>
                  </a:lnTo>
                  <a:lnTo>
                    <a:pt x="102" y="6"/>
                  </a:lnTo>
                  <a:lnTo>
                    <a:pt x="88" y="1"/>
                  </a:lnTo>
                  <a:lnTo>
                    <a:pt x="73" y="0"/>
                  </a:lnTo>
                  <a:lnTo>
                    <a:pt x="73" y="0"/>
                  </a:lnTo>
                  <a:close/>
                  <a:moveTo>
                    <a:pt x="73" y="131"/>
                  </a:moveTo>
                  <a:lnTo>
                    <a:pt x="73" y="131"/>
                  </a:lnTo>
                  <a:lnTo>
                    <a:pt x="63" y="129"/>
                  </a:lnTo>
                  <a:lnTo>
                    <a:pt x="53" y="125"/>
                  </a:lnTo>
                  <a:lnTo>
                    <a:pt x="42" y="120"/>
                  </a:lnTo>
                  <a:lnTo>
                    <a:pt x="34" y="114"/>
                  </a:lnTo>
                  <a:lnTo>
                    <a:pt x="27" y="105"/>
                  </a:lnTo>
                  <a:lnTo>
                    <a:pt x="22" y="97"/>
                  </a:lnTo>
                  <a:lnTo>
                    <a:pt x="18" y="86"/>
                  </a:lnTo>
                  <a:lnTo>
                    <a:pt x="18" y="74"/>
                  </a:lnTo>
                  <a:lnTo>
                    <a:pt x="18" y="74"/>
                  </a:lnTo>
                  <a:lnTo>
                    <a:pt x="18" y="63"/>
                  </a:lnTo>
                  <a:lnTo>
                    <a:pt x="22" y="52"/>
                  </a:lnTo>
                  <a:lnTo>
                    <a:pt x="27" y="44"/>
                  </a:lnTo>
                  <a:lnTo>
                    <a:pt x="34" y="35"/>
                  </a:lnTo>
                  <a:lnTo>
                    <a:pt x="42" y="29"/>
                  </a:lnTo>
                  <a:lnTo>
                    <a:pt x="53" y="23"/>
                  </a:lnTo>
                  <a:lnTo>
                    <a:pt x="63" y="20"/>
                  </a:lnTo>
                  <a:lnTo>
                    <a:pt x="73" y="18"/>
                  </a:lnTo>
                  <a:lnTo>
                    <a:pt x="73" y="18"/>
                  </a:lnTo>
                  <a:lnTo>
                    <a:pt x="85" y="20"/>
                  </a:lnTo>
                  <a:lnTo>
                    <a:pt x="95" y="23"/>
                  </a:lnTo>
                  <a:lnTo>
                    <a:pt x="105" y="29"/>
                  </a:lnTo>
                  <a:lnTo>
                    <a:pt x="114" y="35"/>
                  </a:lnTo>
                  <a:lnTo>
                    <a:pt x="121" y="44"/>
                  </a:lnTo>
                  <a:lnTo>
                    <a:pt x="126" y="52"/>
                  </a:lnTo>
                  <a:lnTo>
                    <a:pt x="129" y="63"/>
                  </a:lnTo>
                  <a:lnTo>
                    <a:pt x="129" y="74"/>
                  </a:lnTo>
                  <a:lnTo>
                    <a:pt x="129" y="74"/>
                  </a:lnTo>
                  <a:lnTo>
                    <a:pt x="129" y="86"/>
                  </a:lnTo>
                  <a:lnTo>
                    <a:pt x="126" y="97"/>
                  </a:lnTo>
                  <a:lnTo>
                    <a:pt x="121" y="105"/>
                  </a:lnTo>
                  <a:lnTo>
                    <a:pt x="114" y="114"/>
                  </a:lnTo>
                  <a:lnTo>
                    <a:pt x="105" y="120"/>
                  </a:lnTo>
                  <a:lnTo>
                    <a:pt x="95" y="125"/>
                  </a:lnTo>
                  <a:lnTo>
                    <a:pt x="85" y="129"/>
                  </a:lnTo>
                  <a:lnTo>
                    <a:pt x="73" y="131"/>
                  </a:lnTo>
                  <a:lnTo>
                    <a:pt x="73"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52">
              <a:extLst>
                <a:ext uri="{FF2B5EF4-FFF2-40B4-BE49-F238E27FC236}">
                  <a16:creationId xmlns:a16="http://schemas.microsoft.com/office/drawing/2014/main" id="{EF940DD1-248D-45E1-943D-5327465BC0A5}"/>
                </a:ext>
              </a:extLst>
            </p:cNvPr>
            <p:cNvSpPr>
              <a:spLocks/>
            </p:cNvSpPr>
            <p:nvPr/>
          </p:nvSpPr>
          <p:spPr bwMode="auto">
            <a:xfrm>
              <a:off x="8394700" y="3157538"/>
              <a:ext cx="450850" cy="165100"/>
            </a:xfrm>
            <a:custGeom>
              <a:avLst/>
              <a:gdLst>
                <a:gd name="T0" fmla="*/ 141 w 284"/>
                <a:gd name="T1" fmla="*/ 0 h 104"/>
                <a:gd name="T2" fmla="*/ 141 w 284"/>
                <a:gd name="T3" fmla="*/ 0 h 104"/>
                <a:gd name="T4" fmla="*/ 119 w 284"/>
                <a:gd name="T5" fmla="*/ 2 h 104"/>
                <a:gd name="T6" fmla="*/ 97 w 284"/>
                <a:gd name="T7" fmla="*/ 7 h 104"/>
                <a:gd name="T8" fmla="*/ 76 w 284"/>
                <a:gd name="T9" fmla="*/ 16 h 104"/>
                <a:gd name="T10" fmla="*/ 56 w 284"/>
                <a:gd name="T11" fmla="*/ 26 h 104"/>
                <a:gd name="T12" fmla="*/ 39 w 284"/>
                <a:gd name="T13" fmla="*/ 39 h 104"/>
                <a:gd name="T14" fmla="*/ 24 w 284"/>
                <a:gd name="T15" fmla="*/ 55 h 104"/>
                <a:gd name="T16" fmla="*/ 10 w 284"/>
                <a:gd name="T17" fmla="*/ 72 h 104"/>
                <a:gd name="T18" fmla="*/ 0 w 284"/>
                <a:gd name="T19" fmla="*/ 90 h 104"/>
                <a:gd name="T20" fmla="*/ 13 w 284"/>
                <a:gd name="T21" fmla="*/ 104 h 104"/>
                <a:gd name="T22" fmla="*/ 13 w 284"/>
                <a:gd name="T23" fmla="*/ 104 h 104"/>
                <a:gd name="T24" fmla="*/ 22 w 284"/>
                <a:gd name="T25" fmla="*/ 87 h 104"/>
                <a:gd name="T26" fmla="*/ 34 w 284"/>
                <a:gd name="T27" fmla="*/ 70 h 104"/>
                <a:gd name="T28" fmla="*/ 47 w 284"/>
                <a:gd name="T29" fmla="*/ 55 h 104"/>
                <a:gd name="T30" fmla="*/ 64 w 284"/>
                <a:gd name="T31" fmla="*/ 43 h 104"/>
                <a:gd name="T32" fmla="*/ 81 w 284"/>
                <a:gd name="T33" fmla="*/ 33 h 104"/>
                <a:gd name="T34" fmla="*/ 100 w 284"/>
                <a:gd name="T35" fmla="*/ 26 h 104"/>
                <a:gd name="T36" fmla="*/ 121 w 284"/>
                <a:gd name="T37" fmla="*/ 21 h 104"/>
                <a:gd name="T38" fmla="*/ 141 w 284"/>
                <a:gd name="T39" fmla="*/ 19 h 104"/>
                <a:gd name="T40" fmla="*/ 141 w 284"/>
                <a:gd name="T41" fmla="*/ 19 h 104"/>
                <a:gd name="T42" fmla="*/ 163 w 284"/>
                <a:gd name="T43" fmla="*/ 21 h 104"/>
                <a:gd name="T44" fmla="*/ 183 w 284"/>
                <a:gd name="T45" fmla="*/ 26 h 104"/>
                <a:gd name="T46" fmla="*/ 202 w 284"/>
                <a:gd name="T47" fmla="*/ 33 h 104"/>
                <a:gd name="T48" fmla="*/ 219 w 284"/>
                <a:gd name="T49" fmla="*/ 43 h 104"/>
                <a:gd name="T50" fmla="*/ 234 w 284"/>
                <a:gd name="T51" fmla="*/ 55 h 104"/>
                <a:gd name="T52" fmla="*/ 250 w 284"/>
                <a:gd name="T53" fmla="*/ 70 h 104"/>
                <a:gd name="T54" fmla="*/ 260 w 284"/>
                <a:gd name="T55" fmla="*/ 87 h 104"/>
                <a:gd name="T56" fmla="*/ 270 w 284"/>
                <a:gd name="T57" fmla="*/ 104 h 104"/>
                <a:gd name="T58" fmla="*/ 284 w 284"/>
                <a:gd name="T59" fmla="*/ 90 h 104"/>
                <a:gd name="T60" fmla="*/ 284 w 284"/>
                <a:gd name="T61" fmla="*/ 90 h 104"/>
                <a:gd name="T62" fmla="*/ 274 w 284"/>
                <a:gd name="T63" fmla="*/ 72 h 104"/>
                <a:gd name="T64" fmla="*/ 260 w 284"/>
                <a:gd name="T65" fmla="*/ 55 h 104"/>
                <a:gd name="T66" fmla="*/ 245 w 284"/>
                <a:gd name="T67" fmla="*/ 39 h 104"/>
                <a:gd name="T68" fmla="*/ 226 w 284"/>
                <a:gd name="T69" fmla="*/ 26 h 104"/>
                <a:gd name="T70" fmla="*/ 207 w 284"/>
                <a:gd name="T71" fmla="*/ 16 h 104"/>
                <a:gd name="T72" fmla="*/ 187 w 284"/>
                <a:gd name="T73" fmla="*/ 7 h 104"/>
                <a:gd name="T74" fmla="*/ 165 w 284"/>
                <a:gd name="T75" fmla="*/ 2 h 104"/>
                <a:gd name="T76" fmla="*/ 141 w 284"/>
                <a:gd name="T77" fmla="*/ 0 h 104"/>
                <a:gd name="T78" fmla="*/ 141 w 284"/>
                <a:gd name="T7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104">
                  <a:moveTo>
                    <a:pt x="141" y="0"/>
                  </a:moveTo>
                  <a:lnTo>
                    <a:pt x="141" y="0"/>
                  </a:lnTo>
                  <a:lnTo>
                    <a:pt x="119" y="2"/>
                  </a:lnTo>
                  <a:lnTo>
                    <a:pt x="97" y="7"/>
                  </a:lnTo>
                  <a:lnTo>
                    <a:pt x="76" y="16"/>
                  </a:lnTo>
                  <a:lnTo>
                    <a:pt x="56" y="26"/>
                  </a:lnTo>
                  <a:lnTo>
                    <a:pt x="39" y="39"/>
                  </a:lnTo>
                  <a:lnTo>
                    <a:pt x="24" y="55"/>
                  </a:lnTo>
                  <a:lnTo>
                    <a:pt x="10" y="72"/>
                  </a:lnTo>
                  <a:lnTo>
                    <a:pt x="0" y="90"/>
                  </a:lnTo>
                  <a:lnTo>
                    <a:pt x="13" y="104"/>
                  </a:lnTo>
                  <a:lnTo>
                    <a:pt x="13" y="104"/>
                  </a:lnTo>
                  <a:lnTo>
                    <a:pt x="22" y="87"/>
                  </a:lnTo>
                  <a:lnTo>
                    <a:pt x="34" y="70"/>
                  </a:lnTo>
                  <a:lnTo>
                    <a:pt x="47" y="55"/>
                  </a:lnTo>
                  <a:lnTo>
                    <a:pt x="64" y="43"/>
                  </a:lnTo>
                  <a:lnTo>
                    <a:pt x="81" y="33"/>
                  </a:lnTo>
                  <a:lnTo>
                    <a:pt x="100" y="26"/>
                  </a:lnTo>
                  <a:lnTo>
                    <a:pt x="121" y="21"/>
                  </a:lnTo>
                  <a:lnTo>
                    <a:pt x="141" y="19"/>
                  </a:lnTo>
                  <a:lnTo>
                    <a:pt x="141" y="19"/>
                  </a:lnTo>
                  <a:lnTo>
                    <a:pt x="163" y="21"/>
                  </a:lnTo>
                  <a:lnTo>
                    <a:pt x="183" y="26"/>
                  </a:lnTo>
                  <a:lnTo>
                    <a:pt x="202" y="33"/>
                  </a:lnTo>
                  <a:lnTo>
                    <a:pt x="219" y="43"/>
                  </a:lnTo>
                  <a:lnTo>
                    <a:pt x="234" y="55"/>
                  </a:lnTo>
                  <a:lnTo>
                    <a:pt x="250" y="70"/>
                  </a:lnTo>
                  <a:lnTo>
                    <a:pt x="260" y="87"/>
                  </a:lnTo>
                  <a:lnTo>
                    <a:pt x="270" y="104"/>
                  </a:lnTo>
                  <a:lnTo>
                    <a:pt x="284" y="90"/>
                  </a:lnTo>
                  <a:lnTo>
                    <a:pt x="284" y="90"/>
                  </a:lnTo>
                  <a:lnTo>
                    <a:pt x="274" y="72"/>
                  </a:lnTo>
                  <a:lnTo>
                    <a:pt x="260" y="55"/>
                  </a:lnTo>
                  <a:lnTo>
                    <a:pt x="245" y="39"/>
                  </a:lnTo>
                  <a:lnTo>
                    <a:pt x="226" y="26"/>
                  </a:lnTo>
                  <a:lnTo>
                    <a:pt x="207" y="16"/>
                  </a:lnTo>
                  <a:lnTo>
                    <a:pt x="187" y="7"/>
                  </a:lnTo>
                  <a:lnTo>
                    <a:pt x="165" y="2"/>
                  </a:lnTo>
                  <a:lnTo>
                    <a:pt x="141" y="0"/>
                  </a:ln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53">
              <a:extLst>
                <a:ext uri="{FF2B5EF4-FFF2-40B4-BE49-F238E27FC236}">
                  <a16:creationId xmlns:a16="http://schemas.microsoft.com/office/drawing/2014/main" id="{CB73EA7B-5B33-48A7-B4B0-7ADEADC897DD}"/>
                </a:ext>
              </a:extLst>
            </p:cNvPr>
            <p:cNvSpPr>
              <a:spLocks/>
            </p:cNvSpPr>
            <p:nvPr/>
          </p:nvSpPr>
          <p:spPr bwMode="auto">
            <a:xfrm>
              <a:off x="8221663" y="2922588"/>
              <a:ext cx="796925" cy="230188"/>
            </a:xfrm>
            <a:custGeom>
              <a:avLst/>
              <a:gdLst>
                <a:gd name="T0" fmla="*/ 252 w 502"/>
                <a:gd name="T1" fmla="*/ 0 h 145"/>
                <a:gd name="T2" fmla="*/ 213 w 502"/>
                <a:gd name="T3" fmla="*/ 2 h 145"/>
                <a:gd name="T4" fmla="*/ 177 w 502"/>
                <a:gd name="T5" fmla="*/ 9 h 145"/>
                <a:gd name="T6" fmla="*/ 141 w 502"/>
                <a:gd name="T7" fmla="*/ 21 h 145"/>
                <a:gd name="T8" fmla="*/ 109 w 502"/>
                <a:gd name="T9" fmla="*/ 36 h 145"/>
                <a:gd name="T10" fmla="*/ 76 w 502"/>
                <a:gd name="T11" fmla="*/ 55 h 145"/>
                <a:gd name="T12" fmla="*/ 49 w 502"/>
                <a:gd name="T13" fmla="*/ 77 h 145"/>
                <a:gd name="T14" fmla="*/ 24 w 502"/>
                <a:gd name="T15" fmla="*/ 102 h 145"/>
                <a:gd name="T16" fmla="*/ 0 w 502"/>
                <a:gd name="T17" fmla="*/ 131 h 145"/>
                <a:gd name="T18" fmla="*/ 13 w 502"/>
                <a:gd name="T19" fmla="*/ 145 h 145"/>
                <a:gd name="T20" fmla="*/ 59 w 502"/>
                <a:gd name="T21" fmla="*/ 92 h 145"/>
                <a:gd name="T22" fmla="*/ 100 w 502"/>
                <a:gd name="T23" fmla="*/ 62 h 145"/>
                <a:gd name="T24" fmla="*/ 131 w 502"/>
                <a:gd name="T25" fmla="*/ 44 h 145"/>
                <a:gd name="T26" fmla="*/ 163 w 502"/>
                <a:gd name="T27" fmla="*/ 33 h 145"/>
                <a:gd name="T28" fmla="*/ 197 w 502"/>
                <a:gd name="T29" fmla="*/ 24 h 145"/>
                <a:gd name="T30" fmla="*/ 233 w 502"/>
                <a:gd name="T31" fmla="*/ 19 h 145"/>
                <a:gd name="T32" fmla="*/ 252 w 502"/>
                <a:gd name="T33" fmla="*/ 19 h 145"/>
                <a:gd name="T34" fmla="*/ 287 w 502"/>
                <a:gd name="T35" fmla="*/ 21 h 145"/>
                <a:gd name="T36" fmla="*/ 323 w 502"/>
                <a:gd name="T37" fmla="*/ 27 h 145"/>
                <a:gd name="T38" fmla="*/ 355 w 502"/>
                <a:gd name="T39" fmla="*/ 38 h 145"/>
                <a:gd name="T40" fmla="*/ 388 w 502"/>
                <a:gd name="T41" fmla="*/ 53 h 145"/>
                <a:gd name="T42" fmla="*/ 417 w 502"/>
                <a:gd name="T43" fmla="*/ 70 h 145"/>
                <a:gd name="T44" fmla="*/ 468 w 502"/>
                <a:gd name="T45" fmla="*/ 116 h 145"/>
                <a:gd name="T46" fmla="*/ 502 w 502"/>
                <a:gd name="T47" fmla="*/ 130 h 145"/>
                <a:gd name="T48" fmla="*/ 491 w 502"/>
                <a:gd name="T49" fmla="*/ 116 h 145"/>
                <a:gd name="T50" fmla="*/ 468 w 502"/>
                <a:gd name="T51" fmla="*/ 89 h 145"/>
                <a:gd name="T52" fmla="*/ 440 w 502"/>
                <a:gd name="T53" fmla="*/ 65 h 145"/>
                <a:gd name="T54" fmla="*/ 410 w 502"/>
                <a:gd name="T55" fmla="*/ 44 h 145"/>
                <a:gd name="T56" fmla="*/ 378 w 502"/>
                <a:gd name="T57" fmla="*/ 27 h 145"/>
                <a:gd name="T58" fmla="*/ 343 w 502"/>
                <a:gd name="T59" fmla="*/ 14 h 145"/>
                <a:gd name="T60" fmla="*/ 308 w 502"/>
                <a:gd name="T61" fmla="*/ 5 h 145"/>
                <a:gd name="T62" fmla="*/ 270 w 502"/>
                <a:gd name="T63" fmla="*/ 0 h 145"/>
                <a:gd name="T64" fmla="*/ 252 w 502"/>
                <a:gd name="T6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2" h="145">
                  <a:moveTo>
                    <a:pt x="252" y="0"/>
                  </a:moveTo>
                  <a:lnTo>
                    <a:pt x="252" y="0"/>
                  </a:lnTo>
                  <a:lnTo>
                    <a:pt x="233" y="0"/>
                  </a:lnTo>
                  <a:lnTo>
                    <a:pt x="213" y="2"/>
                  </a:lnTo>
                  <a:lnTo>
                    <a:pt x="195" y="5"/>
                  </a:lnTo>
                  <a:lnTo>
                    <a:pt x="177" y="9"/>
                  </a:lnTo>
                  <a:lnTo>
                    <a:pt x="158" y="14"/>
                  </a:lnTo>
                  <a:lnTo>
                    <a:pt x="141" y="21"/>
                  </a:lnTo>
                  <a:lnTo>
                    <a:pt x="124" y="27"/>
                  </a:lnTo>
                  <a:lnTo>
                    <a:pt x="109" y="36"/>
                  </a:lnTo>
                  <a:lnTo>
                    <a:pt x="92" y="44"/>
                  </a:lnTo>
                  <a:lnTo>
                    <a:pt x="76" y="55"/>
                  </a:lnTo>
                  <a:lnTo>
                    <a:pt x="63" y="65"/>
                  </a:lnTo>
                  <a:lnTo>
                    <a:pt x="49" y="77"/>
                  </a:lnTo>
                  <a:lnTo>
                    <a:pt x="36" y="89"/>
                  </a:lnTo>
                  <a:lnTo>
                    <a:pt x="24" y="102"/>
                  </a:lnTo>
                  <a:lnTo>
                    <a:pt x="12" y="116"/>
                  </a:lnTo>
                  <a:lnTo>
                    <a:pt x="0" y="131"/>
                  </a:lnTo>
                  <a:lnTo>
                    <a:pt x="13" y="145"/>
                  </a:lnTo>
                  <a:lnTo>
                    <a:pt x="13" y="145"/>
                  </a:lnTo>
                  <a:lnTo>
                    <a:pt x="36" y="118"/>
                  </a:lnTo>
                  <a:lnTo>
                    <a:pt x="59" y="92"/>
                  </a:lnTo>
                  <a:lnTo>
                    <a:pt x="87" y="72"/>
                  </a:lnTo>
                  <a:lnTo>
                    <a:pt x="100" y="62"/>
                  </a:lnTo>
                  <a:lnTo>
                    <a:pt x="116" y="53"/>
                  </a:lnTo>
                  <a:lnTo>
                    <a:pt x="131" y="44"/>
                  </a:lnTo>
                  <a:lnTo>
                    <a:pt x="146" y="38"/>
                  </a:lnTo>
                  <a:lnTo>
                    <a:pt x="163" y="33"/>
                  </a:lnTo>
                  <a:lnTo>
                    <a:pt x="180" y="27"/>
                  </a:lnTo>
                  <a:lnTo>
                    <a:pt x="197" y="24"/>
                  </a:lnTo>
                  <a:lnTo>
                    <a:pt x="216" y="21"/>
                  </a:lnTo>
                  <a:lnTo>
                    <a:pt x="233" y="19"/>
                  </a:lnTo>
                  <a:lnTo>
                    <a:pt x="252" y="19"/>
                  </a:lnTo>
                  <a:lnTo>
                    <a:pt x="252" y="19"/>
                  </a:lnTo>
                  <a:lnTo>
                    <a:pt x="270" y="19"/>
                  </a:lnTo>
                  <a:lnTo>
                    <a:pt x="287" y="21"/>
                  </a:lnTo>
                  <a:lnTo>
                    <a:pt x="306" y="24"/>
                  </a:lnTo>
                  <a:lnTo>
                    <a:pt x="323" y="27"/>
                  </a:lnTo>
                  <a:lnTo>
                    <a:pt x="340" y="33"/>
                  </a:lnTo>
                  <a:lnTo>
                    <a:pt x="355" y="38"/>
                  </a:lnTo>
                  <a:lnTo>
                    <a:pt x="372" y="44"/>
                  </a:lnTo>
                  <a:lnTo>
                    <a:pt x="388" y="53"/>
                  </a:lnTo>
                  <a:lnTo>
                    <a:pt x="401" y="62"/>
                  </a:lnTo>
                  <a:lnTo>
                    <a:pt x="417" y="70"/>
                  </a:lnTo>
                  <a:lnTo>
                    <a:pt x="444" y="92"/>
                  </a:lnTo>
                  <a:lnTo>
                    <a:pt x="468" y="116"/>
                  </a:lnTo>
                  <a:lnTo>
                    <a:pt x="488" y="143"/>
                  </a:lnTo>
                  <a:lnTo>
                    <a:pt x="502" y="130"/>
                  </a:lnTo>
                  <a:lnTo>
                    <a:pt x="502" y="130"/>
                  </a:lnTo>
                  <a:lnTo>
                    <a:pt x="491" y="116"/>
                  </a:lnTo>
                  <a:lnTo>
                    <a:pt x="480" y="102"/>
                  </a:lnTo>
                  <a:lnTo>
                    <a:pt x="468" y="89"/>
                  </a:lnTo>
                  <a:lnTo>
                    <a:pt x="454" y="77"/>
                  </a:lnTo>
                  <a:lnTo>
                    <a:pt x="440" y="65"/>
                  </a:lnTo>
                  <a:lnTo>
                    <a:pt x="425" y="55"/>
                  </a:lnTo>
                  <a:lnTo>
                    <a:pt x="410" y="44"/>
                  </a:lnTo>
                  <a:lnTo>
                    <a:pt x="395" y="36"/>
                  </a:lnTo>
                  <a:lnTo>
                    <a:pt x="378" y="27"/>
                  </a:lnTo>
                  <a:lnTo>
                    <a:pt x="362" y="21"/>
                  </a:lnTo>
                  <a:lnTo>
                    <a:pt x="343" y="14"/>
                  </a:lnTo>
                  <a:lnTo>
                    <a:pt x="326" y="9"/>
                  </a:lnTo>
                  <a:lnTo>
                    <a:pt x="308" y="5"/>
                  </a:lnTo>
                  <a:lnTo>
                    <a:pt x="289" y="2"/>
                  </a:lnTo>
                  <a:lnTo>
                    <a:pt x="270" y="0"/>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54">
              <a:extLst>
                <a:ext uri="{FF2B5EF4-FFF2-40B4-BE49-F238E27FC236}">
                  <a16:creationId xmlns:a16="http://schemas.microsoft.com/office/drawing/2014/main" id="{909B48B2-486F-4520-8D0C-294354BCC471}"/>
                </a:ext>
              </a:extLst>
            </p:cNvPr>
            <p:cNvSpPr>
              <a:spLocks/>
            </p:cNvSpPr>
            <p:nvPr/>
          </p:nvSpPr>
          <p:spPr bwMode="auto">
            <a:xfrm>
              <a:off x="8307388" y="3041650"/>
              <a:ext cx="627063" cy="195263"/>
            </a:xfrm>
            <a:custGeom>
              <a:avLst/>
              <a:gdLst>
                <a:gd name="T0" fmla="*/ 198 w 395"/>
                <a:gd name="T1" fmla="*/ 0 h 123"/>
                <a:gd name="T2" fmla="*/ 198 w 395"/>
                <a:gd name="T3" fmla="*/ 0 h 123"/>
                <a:gd name="T4" fmla="*/ 182 w 395"/>
                <a:gd name="T5" fmla="*/ 0 h 123"/>
                <a:gd name="T6" fmla="*/ 167 w 395"/>
                <a:gd name="T7" fmla="*/ 2 h 123"/>
                <a:gd name="T8" fmla="*/ 138 w 395"/>
                <a:gd name="T9" fmla="*/ 7 h 123"/>
                <a:gd name="T10" fmla="*/ 109 w 395"/>
                <a:gd name="T11" fmla="*/ 17 h 123"/>
                <a:gd name="T12" fmla="*/ 84 w 395"/>
                <a:gd name="T13" fmla="*/ 29 h 123"/>
                <a:gd name="T14" fmla="*/ 58 w 395"/>
                <a:gd name="T15" fmla="*/ 46 h 123"/>
                <a:gd name="T16" fmla="*/ 36 w 395"/>
                <a:gd name="T17" fmla="*/ 65 h 123"/>
                <a:gd name="T18" fmla="*/ 17 w 395"/>
                <a:gd name="T19" fmla="*/ 85 h 123"/>
                <a:gd name="T20" fmla="*/ 0 w 395"/>
                <a:gd name="T21" fmla="*/ 109 h 123"/>
                <a:gd name="T22" fmla="*/ 14 w 395"/>
                <a:gd name="T23" fmla="*/ 123 h 123"/>
                <a:gd name="T24" fmla="*/ 14 w 395"/>
                <a:gd name="T25" fmla="*/ 123 h 123"/>
                <a:gd name="T26" fmla="*/ 29 w 395"/>
                <a:gd name="T27" fmla="*/ 100 h 123"/>
                <a:gd name="T28" fmla="*/ 48 w 395"/>
                <a:gd name="T29" fmla="*/ 80 h 123"/>
                <a:gd name="T30" fmla="*/ 68 w 395"/>
                <a:gd name="T31" fmla="*/ 61 h 123"/>
                <a:gd name="T32" fmla="*/ 90 w 395"/>
                <a:gd name="T33" fmla="*/ 48 h 123"/>
                <a:gd name="T34" fmla="*/ 114 w 395"/>
                <a:gd name="T35" fmla="*/ 34 h 123"/>
                <a:gd name="T36" fmla="*/ 141 w 395"/>
                <a:gd name="T37" fmla="*/ 26 h 123"/>
                <a:gd name="T38" fmla="*/ 169 w 395"/>
                <a:gd name="T39" fmla="*/ 21 h 123"/>
                <a:gd name="T40" fmla="*/ 198 w 395"/>
                <a:gd name="T41" fmla="*/ 17 h 123"/>
                <a:gd name="T42" fmla="*/ 198 w 395"/>
                <a:gd name="T43" fmla="*/ 17 h 123"/>
                <a:gd name="T44" fmla="*/ 227 w 395"/>
                <a:gd name="T45" fmla="*/ 21 h 123"/>
                <a:gd name="T46" fmla="*/ 254 w 395"/>
                <a:gd name="T47" fmla="*/ 26 h 123"/>
                <a:gd name="T48" fmla="*/ 279 w 395"/>
                <a:gd name="T49" fmla="*/ 34 h 123"/>
                <a:gd name="T50" fmla="*/ 305 w 395"/>
                <a:gd name="T51" fmla="*/ 46 h 123"/>
                <a:gd name="T52" fmla="*/ 327 w 395"/>
                <a:gd name="T53" fmla="*/ 61 h 123"/>
                <a:gd name="T54" fmla="*/ 347 w 395"/>
                <a:gd name="T55" fmla="*/ 80 h 123"/>
                <a:gd name="T56" fmla="*/ 366 w 395"/>
                <a:gd name="T57" fmla="*/ 99 h 123"/>
                <a:gd name="T58" fmla="*/ 381 w 395"/>
                <a:gd name="T59" fmla="*/ 123 h 123"/>
                <a:gd name="T60" fmla="*/ 395 w 395"/>
                <a:gd name="T61" fmla="*/ 109 h 123"/>
                <a:gd name="T62" fmla="*/ 395 w 395"/>
                <a:gd name="T63" fmla="*/ 109 h 123"/>
                <a:gd name="T64" fmla="*/ 378 w 395"/>
                <a:gd name="T65" fmla="*/ 85 h 123"/>
                <a:gd name="T66" fmla="*/ 358 w 395"/>
                <a:gd name="T67" fmla="*/ 63 h 123"/>
                <a:gd name="T68" fmla="*/ 335 w 395"/>
                <a:gd name="T69" fmla="*/ 44 h 123"/>
                <a:gd name="T70" fmla="*/ 312 w 395"/>
                <a:gd name="T71" fmla="*/ 29 h 123"/>
                <a:gd name="T72" fmla="*/ 286 w 395"/>
                <a:gd name="T73" fmla="*/ 17 h 123"/>
                <a:gd name="T74" fmla="*/ 257 w 395"/>
                <a:gd name="T75" fmla="*/ 7 h 123"/>
                <a:gd name="T76" fmla="*/ 228 w 395"/>
                <a:gd name="T77" fmla="*/ 2 h 123"/>
                <a:gd name="T78" fmla="*/ 198 w 395"/>
                <a:gd name="T79" fmla="*/ 0 h 123"/>
                <a:gd name="T80" fmla="*/ 198 w 395"/>
                <a:gd name="T8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5" h="123">
                  <a:moveTo>
                    <a:pt x="198" y="0"/>
                  </a:moveTo>
                  <a:lnTo>
                    <a:pt x="198" y="0"/>
                  </a:lnTo>
                  <a:lnTo>
                    <a:pt x="182" y="0"/>
                  </a:lnTo>
                  <a:lnTo>
                    <a:pt x="167" y="2"/>
                  </a:lnTo>
                  <a:lnTo>
                    <a:pt x="138" y="7"/>
                  </a:lnTo>
                  <a:lnTo>
                    <a:pt x="109" y="17"/>
                  </a:lnTo>
                  <a:lnTo>
                    <a:pt x="84" y="29"/>
                  </a:lnTo>
                  <a:lnTo>
                    <a:pt x="58" y="46"/>
                  </a:lnTo>
                  <a:lnTo>
                    <a:pt x="36" y="65"/>
                  </a:lnTo>
                  <a:lnTo>
                    <a:pt x="17" y="85"/>
                  </a:lnTo>
                  <a:lnTo>
                    <a:pt x="0" y="109"/>
                  </a:lnTo>
                  <a:lnTo>
                    <a:pt x="14" y="123"/>
                  </a:lnTo>
                  <a:lnTo>
                    <a:pt x="14" y="123"/>
                  </a:lnTo>
                  <a:lnTo>
                    <a:pt x="29" y="100"/>
                  </a:lnTo>
                  <a:lnTo>
                    <a:pt x="48" y="80"/>
                  </a:lnTo>
                  <a:lnTo>
                    <a:pt x="68" y="61"/>
                  </a:lnTo>
                  <a:lnTo>
                    <a:pt x="90" y="48"/>
                  </a:lnTo>
                  <a:lnTo>
                    <a:pt x="114" y="34"/>
                  </a:lnTo>
                  <a:lnTo>
                    <a:pt x="141" y="26"/>
                  </a:lnTo>
                  <a:lnTo>
                    <a:pt x="169" y="21"/>
                  </a:lnTo>
                  <a:lnTo>
                    <a:pt x="198" y="17"/>
                  </a:lnTo>
                  <a:lnTo>
                    <a:pt x="198" y="17"/>
                  </a:lnTo>
                  <a:lnTo>
                    <a:pt x="227" y="21"/>
                  </a:lnTo>
                  <a:lnTo>
                    <a:pt x="254" y="26"/>
                  </a:lnTo>
                  <a:lnTo>
                    <a:pt x="279" y="34"/>
                  </a:lnTo>
                  <a:lnTo>
                    <a:pt x="305" y="46"/>
                  </a:lnTo>
                  <a:lnTo>
                    <a:pt x="327" y="61"/>
                  </a:lnTo>
                  <a:lnTo>
                    <a:pt x="347" y="80"/>
                  </a:lnTo>
                  <a:lnTo>
                    <a:pt x="366" y="99"/>
                  </a:lnTo>
                  <a:lnTo>
                    <a:pt x="381" y="123"/>
                  </a:lnTo>
                  <a:lnTo>
                    <a:pt x="395" y="109"/>
                  </a:lnTo>
                  <a:lnTo>
                    <a:pt x="395" y="109"/>
                  </a:lnTo>
                  <a:lnTo>
                    <a:pt x="378" y="85"/>
                  </a:lnTo>
                  <a:lnTo>
                    <a:pt x="358" y="63"/>
                  </a:lnTo>
                  <a:lnTo>
                    <a:pt x="335" y="44"/>
                  </a:lnTo>
                  <a:lnTo>
                    <a:pt x="312" y="29"/>
                  </a:lnTo>
                  <a:lnTo>
                    <a:pt x="286" y="17"/>
                  </a:lnTo>
                  <a:lnTo>
                    <a:pt x="257" y="7"/>
                  </a:lnTo>
                  <a:lnTo>
                    <a:pt x="228" y="2"/>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0" name="Group 54">
            <a:extLst>
              <a:ext uri="{FF2B5EF4-FFF2-40B4-BE49-F238E27FC236}">
                <a16:creationId xmlns:a16="http://schemas.microsoft.com/office/drawing/2014/main" id="{36D80E38-20E2-44B3-A84F-9CFA9AAA7E5B}"/>
              </a:ext>
            </a:extLst>
          </p:cNvPr>
          <p:cNvGrpSpPr>
            <a:grpSpLocks noChangeAspect="1"/>
          </p:cNvGrpSpPr>
          <p:nvPr/>
        </p:nvGrpSpPr>
        <p:grpSpPr>
          <a:xfrm>
            <a:off x="2724708" y="3263616"/>
            <a:ext cx="308350" cy="306116"/>
            <a:chOff x="7045325" y="2544763"/>
            <a:chExt cx="219075" cy="217488"/>
          </a:xfrm>
          <a:solidFill>
            <a:schemeClr val="bg1"/>
          </a:solidFill>
          <a:effectLst/>
        </p:grpSpPr>
        <p:sp>
          <p:nvSpPr>
            <p:cNvPr id="631" name="Freeform 174">
              <a:extLst>
                <a:ext uri="{FF2B5EF4-FFF2-40B4-BE49-F238E27FC236}">
                  <a16:creationId xmlns:a16="http://schemas.microsoft.com/office/drawing/2014/main" id="{ADDE1334-0CD5-45F0-A641-3AF188DB3C65}"/>
                </a:ext>
              </a:extLst>
            </p:cNvPr>
            <p:cNvSpPr>
              <a:spLocks/>
            </p:cNvSpPr>
            <p:nvPr/>
          </p:nvSpPr>
          <p:spPr bwMode="auto">
            <a:xfrm>
              <a:off x="7045325" y="2614613"/>
              <a:ext cx="133350" cy="147638"/>
            </a:xfrm>
            <a:custGeom>
              <a:avLst/>
              <a:gdLst>
                <a:gd name="T0" fmla="*/ 237 w 422"/>
                <a:gd name="T1" fmla="*/ 402 h 465"/>
                <a:gd name="T2" fmla="*/ 206 w 422"/>
                <a:gd name="T3" fmla="*/ 422 h 465"/>
                <a:gd name="T4" fmla="*/ 172 w 422"/>
                <a:gd name="T5" fmla="*/ 433 h 465"/>
                <a:gd name="T6" fmla="*/ 141 w 422"/>
                <a:gd name="T7" fmla="*/ 434 h 465"/>
                <a:gd name="T8" fmla="*/ 113 w 422"/>
                <a:gd name="T9" fmla="*/ 424 h 465"/>
                <a:gd name="T10" fmla="*/ 88 w 422"/>
                <a:gd name="T11" fmla="*/ 407 h 465"/>
                <a:gd name="T12" fmla="*/ 47 w 422"/>
                <a:gd name="T13" fmla="*/ 362 h 465"/>
                <a:gd name="T14" fmla="*/ 34 w 422"/>
                <a:gd name="T15" fmla="*/ 334 h 465"/>
                <a:gd name="T16" fmla="*/ 30 w 422"/>
                <a:gd name="T17" fmla="*/ 306 h 465"/>
                <a:gd name="T18" fmla="*/ 34 w 422"/>
                <a:gd name="T19" fmla="*/ 277 h 465"/>
                <a:gd name="T20" fmla="*/ 47 w 422"/>
                <a:gd name="T21" fmla="*/ 250 h 465"/>
                <a:gd name="T22" fmla="*/ 223 w 422"/>
                <a:gd name="T23" fmla="*/ 69 h 465"/>
                <a:gd name="T24" fmla="*/ 255 w 422"/>
                <a:gd name="T25" fmla="*/ 44 h 465"/>
                <a:gd name="T26" fmla="*/ 288 w 422"/>
                <a:gd name="T27" fmla="*/ 32 h 465"/>
                <a:gd name="T28" fmla="*/ 322 w 422"/>
                <a:gd name="T29" fmla="*/ 32 h 465"/>
                <a:gd name="T30" fmla="*/ 355 w 422"/>
                <a:gd name="T31" fmla="*/ 46 h 465"/>
                <a:gd name="T32" fmla="*/ 386 w 422"/>
                <a:gd name="T33" fmla="*/ 71 h 465"/>
                <a:gd name="T34" fmla="*/ 400 w 422"/>
                <a:gd name="T35" fmla="*/ 87 h 465"/>
                <a:gd name="T36" fmla="*/ 407 w 422"/>
                <a:gd name="T37" fmla="*/ 90 h 465"/>
                <a:gd name="T38" fmla="*/ 416 w 422"/>
                <a:gd name="T39" fmla="*/ 86 h 465"/>
                <a:gd name="T40" fmla="*/ 421 w 422"/>
                <a:gd name="T41" fmla="*/ 79 h 465"/>
                <a:gd name="T42" fmla="*/ 421 w 422"/>
                <a:gd name="T43" fmla="*/ 70 h 465"/>
                <a:gd name="T44" fmla="*/ 407 w 422"/>
                <a:gd name="T45" fmla="*/ 51 h 465"/>
                <a:gd name="T46" fmla="*/ 370 w 422"/>
                <a:gd name="T47" fmla="*/ 19 h 465"/>
                <a:gd name="T48" fmla="*/ 327 w 422"/>
                <a:gd name="T49" fmla="*/ 2 h 465"/>
                <a:gd name="T50" fmla="*/ 284 w 422"/>
                <a:gd name="T51" fmla="*/ 2 h 465"/>
                <a:gd name="T52" fmla="*/ 242 w 422"/>
                <a:gd name="T53" fmla="*/ 18 h 465"/>
                <a:gd name="T54" fmla="*/ 202 w 422"/>
                <a:gd name="T55" fmla="*/ 49 h 465"/>
                <a:gd name="T56" fmla="*/ 21 w 422"/>
                <a:gd name="T57" fmla="*/ 233 h 465"/>
                <a:gd name="T58" fmla="*/ 5 w 422"/>
                <a:gd name="T59" fmla="*/ 268 h 465"/>
                <a:gd name="T60" fmla="*/ 0 w 422"/>
                <a:gd name="T61" fmla="*/ 306 h 465"/>
                <a:gd name="T62" fmla="*/ 5 w 422"/>
                <a:gd name="T63" fmla="*/ 343 h 465"/>
                <a:gd name="T64" fmla="*/ 21 w 422"/>
                <a:gd name="T65" fmla="*/ 378 h 465"/>
                <a:gd name="T66" fmla="*/ 67 w 422"/>
                <a:gd name="T67" fmla="*/ 429 h 465"/>
                <a:gd name="T68" fmla="*/ 97 w 422"/>
                <a:gd name="T69" fmla="*/ 450 h 465"/>
                <a:gd name="T70" fmla="*/ 131 w 422"/>
                <a:gd name="T71" fmla="*/ 462 h 465"/>
                <a:gd name="T72" fmla="*/ 159 w 422"/>
                <a:gd name="T73" fmla="*/ 464 h 465"/>
                <a:gd name="T74" fmla="*/ 191 w 422"/>
                <a:gd name="T75" fmla="*/ 460 h 465"/>
                <a:gd name="T76" fmla="*/ 231 w 422"/>
                <a:gd name="T77" fmla="*/ 442 h 465"/>
                <a:gd name="T78" fmla="*/ 268 w 422"/>
                <a:gd name="T79" fmla="*/ 414 h 465"/>
                <a:gd name="T80" fmla="*/ 391 w 422"/>
                <a:gd name="T81" fmla="*/ 288 h 465"/>
                <a:gd name="T82" fmla="*/ 391 w 422"/>
                <a:gd name="T83" fmla="*/ 281 h 465"/>
                <a:gd name="T84" fmla="*/ 388 w 422"/>
                <a:gd name="T85" fmla="*/ 272 h 465"/>
                <a:gd name="T86" fmla="*/ 379 w 422"/>
                <a:gd name="T87" fmla="*/ 268 h 465"/>
                <a:gd name="T88" fmla="*/ 371 w 422"/>
                <a:gd name="T89" fmla="*/ 26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2" h="465">
                  <a:moveTo>
                    <a:pt x="367" y="272"/>
                  </a:moveTo>
                  <a:lnTo>
                    <a:pt x="247" y="392"/>
                  </a:lnTo>
                  <a:lnTo>
                    <a:pt x="237" y="402"/>
                  </a:lnTo>
                  <a:lnTo>
                    <a:pt x="226" y="409"/>
                  </a:lnTo>
                  <a:lnTo>
                    <a:pt x="217" y="417"/>
                  </a:lnTo>
                  <a:lnTo>
                    <a:pt x="206" y="422"/>
                  </a:lnTo>
                  <a:lnTo>
                    <a:pt x="194" y="427"/>
                  </a:lnTo>
                  <a:lnTo>
                    <a:pt x="184" y="431"/>
                  </a:lnTo>
                  <a:lnTo>
                    <a:pt x="172" y="433"/>
                  </a:lnTo>
                  <a:lnTo>
                    <a:pt x="161" y="434"/>
                  </a:lnTo>
                  <a:lnTo>
                    <a:pt x="150" y="434"/>
                  </a:lnTo>
                  <a:lnTo>
                    <a:pt x="141" y="434"/>
                  </a:lnTo>
                  <a:lnTo>
                    <a:pt x="131" y="432"/>
                  </a:lnTo>
                  <a:lnTo>
                    <a:pt x="122" y="429"/>
                  </a:lnTo>
                  <a:lnTo>
                    <a:pt x="113" y="424"/>
                  </a:lnTo>
                  <a:lnTo>
                    <a:pt x="104" y="420"/>
                  </a:lnTo>
                  <a:lnTo>
                    <a:pt x="96" y="414"/>
                  </a:lnTo>
                  <a:lnTo>
                    <a:pt x="88" y="407"/>
                  </a:lnTo>
                  <a:lnTo>
                    <a:pt x="58" y="377"/>
                  </a:lnTo>
                  <a:lnTo>
                    <a:pt x="52" y="370"/>
                  </a:lnTo>
                  <a:lnTo>
                    <a:pt x="47" y="362"/>
                  </a:lnTo>
                  <a:lnTo>
                    <a:pt x="41" y="354"/>
                  </a:lnTo>
                  <a:lnTo>
                    <a:pt x="37" y="344"/>
                  </a:lnTo>
                  <a:lnTo>
                    <a:pt x="34" y="334"/>
                  </a:lnTo>
                  <a:lnTo>
                    <a:pt x="32" y="325"/>
                  </a:lnTo>
                  <a:lnTo>
                    <a:pt x="31" y="315"/>
                  </a:lnTo>
                  <a:lnTo>
                    <a:pt x="30" y="306"/>
                  </a:lnTo>
                  <a:lnTo>
                    <a:pt x="31" y="296"/>
                  </a:lnTo>
                  <a:lnTo>
                    <a:pt x="32" y="286"/>
                  </a:lnTo>
                  <a:lnTo>
                    <a:pt x="34" y="277"/>
                  </a:lnTo>
                  <a:lnTo>
                    <a:pt x="37" y="267"/>
                  </a:lnTo>
                  <a:lnTo>
                    <a:pt x="41" y="258"/>
                  </a:lnTo>
                  <a:lnTo>
                    <a:pt x="47" y="250"/>
                  </a:lnTo>
                  <a:lnTo>
                    <a:pt x="52" y="241"/>
                  </a:lnTo>
                  <a:lnTo>
                    <a:pt x="58" y="234"/>
                  </a:lnTo>
                  <a:lnTo>
                    <a:pt x="223" y="69"/>
                  </a:lnTo>
                  <a:lnTo>
                    <a:pt x="234" y="60"/>
                  </a:lnTo>
                  <a:lnTo>
                    <a:pt x="245" y="51"/>
                  </a:lnTo>
                  <a:lnTo>
                    <a:pt x="255" y="44"/>
                  </a:lnTo>
                  <a:lnTo>
                    <a:pt x="266" y="38"/>
                  </a:lnTo>
                  <a:lnTo>
                    <a:pt x="278" y="34"/>
                  </a:lnTo>
                  <a:lnTo>
                    <a:pt x="288" y="32"/>
                  </a:lnTo>
                  <a:lnTo>
                    <a:pt x="299" y="30"/>
                  </a:lnTo>
                  <a:lnTo>
                    <a:pt x="311" y="30"/>
                  </a:lnTo>
                  <a:lnTo>
                    <a:pt x="322" y="32"/>
                  </a:lnTo>
                  <a:lnTo>
                    <a:pt x="333" y="35"/>
                  </a:lnTo>
                  <a:lnTo>
                    <a:pt x="344" y="39"/>
                  </a:lnTo>
                  <a:lnTo>
                    <a:pt x="355" y="46"/>
                  </a:lnTo>
                  <a:lnTo>
                    <a:pt x="365" y="53"/>
                  </a:lnTo>
                  <a:lnTo>
                    <a:pt x="376" y="62"/>
                  </a:lnTo>
                  <a:lnTo>
                    <a:pt x="386" y="71"/>
                  </a:lnTo>
                  <a:lnTo>
                    <a:pt x="394" y="83"/>
                  </a:lnTo>
                  <a:lnTo>
                    <a:pt x="397" y="85"/>
                  </a:lnTo>
                  <a:lnTo>
                    <a:pt x="400" y="87"/>
                  </a:lnTo>
                  <a:lnTo>
                    <a:pt x="402" y="88"/>
                  </a:lnTo>
                  <a:lnTo>
                    <a:pt x="405" y="88"/>
                  </a:lnTo>
                  <a:lnTo>
                    <a:pt x="407" y="90"/>
                  </a:lnTo>
                  <a:lnTo>
                    <a:pt x="410" y="88"/>
                  </a:lnTo>
                  <a:lnTo>
                    <a:pt x="414" y="87"/>
                  </a:lnTo>
                  <a:lnTo>
                    <a:pt x="416" y="86"/>
                  </a:lnTo>
                  <a:lnTo>
                    <a:pt x="418" y="84"/>
                  </a:lnTo>
                  <a:lnTo>
                    <a:pt x="420" y="82"/>
                  </a:lnTo>
                  <a:lnTo>
                    <a:pt x="421" y="79"/>
                  </a:lnTo>
                  <a:lnTo>
                    <a:pt x="422" y="77"/>
                  </a:lnTo>
                  <a:lnTo>
                    <a:pt x="422" y="74"/>
                  </a:lnTo>
                  <a:lnTo>
                    <a:pt x="421" y="70"/>
                  </a:lnTo>
                  <a:lnTo>
                    <a:pt x="420" y="68"/>
                  </a:lnTo>
                  <a:lnTo>
                    <a:pt x="419" y="65"/>
                  </a:lnTo>
                  <a:lnTo>
                    <a:pt x="407" y="51"/>
                  </a:lnTo>
                  <a:lnTo>
                    <a:pt x="395" y="39"/>
                  </a:lnTo>
                  <a:lnTo>
                    <a:pt x="383" y="29"/>
                  </a:lnTo>
                  <a:lnTo>
                    <a:pt x="370" y="19"/>
                  </a:lnTo>
                  <a:lnTo>
                    <a:pt x="356" y="11"/>
                  </a:lnTo>
                  <a:lnTo>
                    <a:pt x="342" y="6"/>
                  </a:lnTo>
                  <a:lnTo>
                    <a:pt x="327" y="2"/>
                  </a:lnTo>
                  <a:lnTo>
                    <a:pt x="313" y="0"/>
                  </a:lnTo>
                  <a:lnTo>
                    <a:pt x="298" y="0"/>
                  </a:lnTo>
                  <a:lnTo>
                    <a:pt x="284" y="2"/>
                  </a:lnTo>
                  <a:lnTo>
                    <a:pt x="270" y="5"/>
                  </a:lnTo>
                  <a:lnTo>
                    <a:pt x="256" y="10"/>
                  </a:lnTo>
                  <a:lnTo>
                    <a:pt x="242" y="18"/>
                  </a:lnTo>
                  <a:lnTo>
                    <a:pt x="229" y="26"/>
                  </a:lnTo>
                  <a:lnTo>
                    <a:pt x="215" y="36"/>
                  </a:lnTo>
                  <a:lnTo>
                    <a:pt x="202" y="49"/>
                  </a:lnTo>
                  <a:lnTo>
                    <a:pt x="37" y="213"/>
                  </a:lnTo>
                  <a:lnTo>
                    <a:pt x="29" y="223"/>
                  </a:lnTo>
                  <a:lnTo>
                    <a:pt x="21" y="233"/>
                  </a:lnTo>
                  <a:lnTo>
                    <a:pt x="15" y="245"/>
                  </a:lnTo>
                  <a:lnTo>
                    <a:pt x="9" y="256"/>
                  </a:lnTo>
                  <a:lnTo>
                    <a:pt x="5" y="268"/>
                  </a:lnTo>
                  <a:lnTo>
                    <a:pt x="2" y="281"/>
                  </a:lnTo>
                  <a:lnTo>
                    <a:pt x="1" y="293"/>
                  </a:lnTo>
                  <a:lnTo>
                    <a:pt x="0" y="306"/>
                  </a:lnTo>
                  <a:lnTo>
                    <a:pt x="1" y="318"/>
                  </a:lnTo>
                  <a:lnTo>
                    <a:pt x="2" y="331"/>
                  </a:lnTo>
                  <a:lnTo>
                    <a:pt x="5" y="343"/>
                  </a:lnTo>
                  <a:lnTo>
                    <a:pt x="9" y="356"/>
                  </a:lnTo>
                  <a:lnTo>
                    <a:pt x="15" y="366"/>
                  </a:lnTo>
                  <a:lnTo>
                    <a:pt x="21" y="378"/>
                  </a:lnTo>
                  <a:lnTo>
                    <a:pt x="29" y="389"/>
                  </a:lnTo>
                  <a:lnTo>
                    <a:pt x="37" y="399"/>
                  </a:lnTo>
                  <a:lnTo>
                    <a:pt x="67" y="429"/>
                  </a:lnTo>
                  <a:lnTo>
                    <a:pt x="77" y="436"/>
                  </a:lnTo>
                  <a:lnTo>
                    <a:pt x="86" y="443"/>
                  </a:lnTo>
                  <a:lnTo>
                    <a:pt x="97" y="450"/>
                  </a:lnTo>
                  <a:lnTo>
                    <a:pt x="108" y="455"/>
                  </a:lnTo>
                  <a:lnTo>
                    <a:pt x="119" y="460"/>
                  </a:lnTo>
                  <a:lnTo>
                    <a:pt x="131" y="462"/>
                  </a:lnTo>
                  <a:lnTo>
                    <a:pt x="143" y="464"/>
                  </a:lnTo>
                  <a:lnTo>
                    <a:pt x="155" y="465"/>
                  </a:lnTo>
                  <a:lnTo>
                    <a:pt x="159" y="464"/>
                  </a:lnTo>
                  <a:lnTo>
                    <a:pt x="162" y="464"/>
                  </a:lnTo>
                  <a:lnTo>
                    <a:pt x="177" y="463"/>
                  </a:lnTo>
                  <a:lnTo>
                    <a:pt x="191" y="460"/>
                  </a:lnTo>
                  <a:lnTo>
                    <a:pt x="204" y="455"/>
                  </a:lnTo>
                  <a:lnTo>
                    <a:pt x="218" y="450"/>
                  </a:lnTo>
                  <a:lnTo>
                    <a:pt x="231" y="442"/>
                  </a:lnTo>
                  <a:lnTo>
                    <a:pt x="244" y="434"/>
                  </a:lnTo>
                  <a:lnTo>
                    <a:pt x="256" y="424"/>
                  </a:lnTo>
                  <a:lnTo>
                    <a:pt x="268" y="414"/>
                  </a:lnTo>
                  <a:lnTo>
                    <a:pt x="388" y="294"/>
                  </a:lnTo>
                  <a:lnTo>
                    <a:pt x="389" y="292"/>
                  </a:lnTo>
                  <a:lnTo>
                    <a:pt x="391" y="288"/>
                  </a:lnTo>
                  <a:lnTo>
                    <a:pt x="391" y="286"/>
                  </a:lnTo>
                  <a:lnTo>
                    <a:pt x="392" y="283"/>
                  </a:lnTo>
                  <a:lnTo>
                    <a:pt x="391" y="281"/>
                  </a:lnTo>
                  <a:lnTo>
                    <a:pt x="391" y="278"/>
                  </a:lnTo>
                  <a:lnTo>
                    <a:pt x="389" y="275"/>
                  </a:lnTo>
                  <a:lnTo>
                    <a:pt x="388" y="272"/>
                  </a:lnTo>
                  <a:lnTo>
                    <a:pt x="385" y="270"/>
                  </a:lnTo>
                  <a:lnTo>
                    <a:pt x="383" y="269"/>
                  </a:lnTo>
                  <a:lnTo>
                    <a:pt x="379" y="268"/>
                  </a:lnTo>
                  <a:lnTo>
                    <a:pt x="377" y="268"/>
                  </a:lnTo>
                  <a:lnTo>
                    <a:pt x="374" y="268"/>
                  </a:lnTo>
                  <a:lnTo>
                    <a:pt x="371" y="269"/>
                  </a:lnTo>
                  <a:lnTo>
                    <a:pt x="369" y="270"/>
                  </a:lnTo>
                  <a:lnTo>
                    <a:pt x="36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2" name="Freeform 175">
              <a:extLst>
                <a:ext uri="{FF2B5EF4-FFF2-40B4-BE49-F238E27FC236}">
                  <a16:creationId xmlns:a16="http://schemas.microsoft.com/office/drawing/2014/main" id="{39548592-163C-44B0-8914-17DC2FDEC62D}"/>
                </a:ext>
              </a:extLst>
            </p:cNvPr>
            <p:cNvSpPr>
              <a:spLocks/>
            </p:cNvSpPr>
            <p:nvPr/>
          </p:nvSpPr>
          <p:spPr bwMode="auto">
            <a:xfrm>
              <a:off x="7140575" y="2544763"/>
              <a:ext cx="123825" cy="146050"/>
            </a:xfrm>
            <a:custGeom>
              <a:avLst/>
              <a:gdLst>
                <a:gd name="T0" fmla="*/ 315 w 392"/>
                <a:gd name="T1" fmla="*/ 38 h 458"/>
                <a:gd name="T2" fmla="*/ 283 w 392"/>
                <a:gd name="T3" fmla="*/ 16 h 458"/>
                <a:gd name="T4" fmla="*/ 245 w 392"/>
                <a:gd name="T5" fmla="*/ 4 h 458"/>
                <a:gd name="T6" fmla="*/ 208 w 392"/>
                <a:gd name="T7" fmla="*/ 1 h 458"/>
                <a:gd name="T8" fmla="*/ 172 w 392"/>
                <a:gd name="T9" fmla="*/ 10 h 458"/>
                <a:gd name="T10" fmla="*/ 139 w 392"/>
                <a:gd name="T11" fmla="*/ 31 h 458"/>
                <a:gd name="T12" fmla="*/ 1 w 392"/>
                <a:gd name="T13" fmla="*/ 171 h 458"/>
                <a:gd name="T14" fmla="*/ 0 w 392"/>
                <a:gd name="T15" fmla="*/ 179 h 458"/>
                <a:gd name="T16" fmla="*/ 5 w 392"/>
                <a:gd name="T17" fmla="*/ 188 h 458"/>
                <a:gd name="T18" fmla="*/ 12 w 392"/>
                <a:gd name="T19" fmla="*/ 192 h 458"/>
                <a:gd name="T20" fmla="*/ 21 w 392"/>
                <a:gd name="T21" fmla="*/ 191 h 458"/>
                <a:gd name="T22" fmla="*/ 160 w 392"/>
                <a:gd name="T23" fmla="*/ 53 h 458"/>
                <a:gd name="T24" fmla="*/ 184 w 392"/>
                <a:gd name="T25" fmla="*/ 37 h 458"/>
                <a:gd name="T26" fmla="*/ 212 w 392"/>
                <a:gd name="T27" fmla="*/ 30 h 458"/>
                <a:gd name="T28" fmla="*/ 242 w 392"/>
                <a:gd name="T29" fmla="*/ 34 h 458"/>
                <a:gd name="T30" fmla="*/ 270 w 392"/>
                <a:gd name="T31" fmla="*/ 44 h 458"/>
                <a:gd name="T32" fmla="*/ 296 w 392"/>
                <a:gd name="T33" fmla="*/ 60 h 458"/>
                <a:gd name="T34" fmla="*/ 341 w 392"/>
                <a:gd name="T35" fmla="*/ 105 h 458"/>
                <a:gd name="T36" fmla="*/ 354 w 392"/>
                <a:gd name="T37" fmla="*/ 128 h 458"/>
                <a:gd name="T38" fmla="*/ 362 w 392"/>
                <a:gd name="T39" fmla="*/ 153 h 458"/>
                <a:gd name="T40" fmla="*/ 360 w 392"/>
                <a:gd name="T41" fmla="*/ 179 h 458"/>
                <a:gd name="T42" fmla="*/ 351 w 392"/>
                <a:gd name="T43" fmla="*/ 204 h 458"/>
                <a:gd name="T44" fmla="*/ 333 w 392"/>
                <a:gd name="T45" fmla="*/ 226 h 458"/>
                <a:gd name="T46" fmla="*/ 141 w 392"/>
                <a:gd name="T47" fmla="*/ 416 h 458"/>
                <a:gd name="T48" fmla="*/ 116 w 392"/>
                <a:gd name="T49" fmla="*/ 426 h 458"/>
                <a:gd name="T50" fmla="*/ 89 w 392"/>
                <a:gd name="T51" fmla="*/ 427 h 458"/>
                <a:gd name="T52" fmla="*/ 62 w 392"/>
                <a:gd name="T53" fmla="*/ 421 h 458"/>
                <a:gd name="T54" fmla="*/ 39 w 392"/>
                <a:gd name="T55" fmla="*/ 406 h 458"/>
                <a:gd name="T56" fmla="*/ 26 w 392"/>
                <a:gd name="T57" fmla="*/ 390 h 458"/>
                <a:gd name="T58" fmla="*/ 19 w 392"/>
                <a:gd name="T59" fmla="*/ 386 h 458"/>
                <a:gd name="T60" fmla="*/ 10 w 392"/>
                <a:gd name="T61" fmla="*/ 386 h 458"/>
                <a:gd name="T62" fmla="*/ 3 w 392"/>
                <a:gd name="T63" fmla="*/ 393 h 458"/>
                <a:gd name="T64" fmla="*/ 0 w 392"/>
                <a:gd name="T65" fmla="*/ 400 h 458"/>
                <a:gd name="T66" fmla="*/ 3 w 392"/>
                <a:gd name="T67" fmla="*/ 409 h 458"/>
                <a:gd name="T68" fmla="*/ 28 w 392"/>
                <a:gd name="T69" fmla="*/ 435 h 458"/>
                <a:gd name="T70" fmla="*/ 61 w 392"/>
                <a:gd name="T71" fmla="*/ 452 h 458"/>
                <a:gd name="T72" fmla="*/ 92 w 392"/>
                <a:gd name="T73" fmla="*/ 457 h 458"/>
                <a:gd name="T74" fmla="*/ 120 w 392"/>
                <a:gd name="T75" fmla="*/ 456 h 458"/>
                <a:gd name="T76" fmla="*/ 150 w 392"/>
                <a:gd name="T77" fmla="*/ 445 h 458"/>
                <a:gd name="T78" fmla="*/ 175 w 392"/>
                <a:gd name="T79" fmla="*/ 426 h 458"/>
                <a:gd name="T80" fmla="*/ 370 w 392"/>
                <a:gd name="T81" fmla="*/ 228 h 458"/>
                <a:gd name="T82" fmla="*/ 387 w 392"/>
                <a:gd name="T83" fmla="*/ 196 h 458"/>
                <a:gd name="T84" fmla="*/ 392 w 392"/>
                <a:gd name="T85" fmla="*/ 162 h 458"/>
                <a:gd name="T86" fmla="*/ 387 w 392"/>
                <a:gd name="T87" fmla="*/ 128 h 458"/>
                <a:gd name="T88" fmla="*/ 370 w 392"/>
                <a:gd name="T89" fmla="*/ 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 h="458">
                  <a:moveTo>
                    <a:pt x="354" y="76"/>
                  </a:moveTo>
                  <a:lnTo>
                    <a:pt x="324" y="46"/>
                  </a:lnTo>
                  <a:lnTo>
                    <a:pt x="315" y="38"/>
                  </a:lnTo>
                  <a:lnTo>
                    <a:pt x="305" y="30"/>
                  </a:lnTo>
                  <a:lnTo>
                    <a:pt x="293" y="23"/>
                  </a:lnTo>
                  <a:lnTo>
                    <a:pt x="283" y="16"/>
                  </a:lnTo>
                  <a:lnTo>
                    <a:pt x="270" y="11"/>
                  </a:lnTo>
                  <a:lnTo>
                    <a:pt x="258" y="7"/>
                  </a:lnTo>
                  <a:lnTo>
                    <a:pt x="245" y="4"/>
                  </a:lnTo>
                  <a:lnTo>
                    <a:pt x="232" y="1"/>
                  </a:lnTo>
                  <a:lnTo>
                    <a:pt x="220" y="0"/>
                  </a:lnTo>
                  <a:lnTo>
                    <a:pt x="208" y="1"/>
                  </a:lnTo>
                  <a:lnTo>
                    <a:pt x="195" y="3"/>
                  </a:lnTo>
                  <a:lnTo>
                    <a:pt x="183" y="6"/>
                  </a:lnTo>
                  <a:lnTo>
                    <a:pt x="172" y="10"/>
                  </a:lnTo>
                  <a:lnTo>
                    <a:pt x="160" y="15"/>
                  </a:lnTo>
                  <a:lnTo>
                    <a:pt x="149" y="23"/>
                  </a:lnTo>
                  <a:lnTo>
                    <a:pt x="139" y="31"/>
                  </a:lnTo>
                  <a:lnTo>
                    <a:pt x="5" y="166"/>
                  </a:lnTo>
                  <a:lnTo>
                    <a:pt x="3" y="168"/>
                  </a:lnTo>
                  <a:lnTo>
                    <a:pt x="1" y="171"/>
                  </a:lnTo>
                  <a:lnTo>
                    <a:pt x="0" y="174"/>
                  </a:lnTo>
                  <a:lnTo>
                    <a:pt x="0" y="177"/>
                  </a:lnTo>
                  <a:lnTo>
                    <a:pt x="0" y="179"/>
                  </a:lnTo>
                  <a:lnTo>
                    <a:pt x="1" y="182"/>
                  </a:lnTo>
                  <a:lnTo>
                    <a:pt x="3" y="184"/>
                  </a:lnTo>
                  <a:lnTo>
                    <a:pt x="5" y="188"/>
                  </a:lnTo>
                  <a:lnTo>
                    <a:pt x="7" y="189"/>
                  </a:lnTo>
                  <a:lnTo>
                    <a:pt x="10" y="191"/>
                  </a:lnTo>
                  <a:lnTo>
                    <a:pt x="12" y="192"/>
                  </a:lnTo>
                  <a:lnTo>
                    <a:pt x="15" y="192"/>
                  </a:lnTo>
                  <a:lnTo>
                    <a:pt x="19" y="192"/>
                  </a:lnTo>
                  <a:lnTo>
                    <a:pt x="21" y="191"/>
                  </a:lnTo>
                  <a:lnTo>
                    <a:pt x="24" y="189"/>
                  </a:lnTo>
                  <a:lnTo>
                    <a:pt x="26" y="188"/>
                  </a:lnTo>
                  <a:lnTo>
                    <a:pt x="160" y="53"/>
                  </a:lnTo>
                  <a:lnTo>
                    <a:pt x="167" y="46"/>
                  </a:lnTo>
                  <a:lnTo>
                    <a:pt x="176" y="41"/>
                  </a:lnTo>
                  <a:lnTo>
                    <a:pt x="184" y="37"/>
                  </a:lnTo>
                  <a:lnTo>
                    <a:pt x="193" y="34"/>
                  </a:lnTo>
                  <a:lnTo>
                    <a:pt x="203" y="31"/>
                  </a:lnTo>
                  <a:lnTo>
                    <a:pt x="212" y="30"/>
                  </a:lnTo>
                  <a:lnTo>
                    <a:pt x="222" y="30"/>
                  </a:lnTo>
                  <a:lnTo>
                    <a:pt x="231" y="31"/>
                  </a:lnTo>
                  <a:lnTo>
                    <a:pt x="242" y="34"/>
                  </a:lnTo>
                  <a:lnTo>
                    <a:pt x="252" y="36"/>
                  </a:lnTo>
                  <a:lnTo>
                    <a:pt x="261" y="40"/>
                  </a:lnTo>
                  <a:lnTo>
                    <a:pt x="270" y="44"/>
                  </a:lnTo>
                  <a:lnTo>
                    <a:pt x="280" y="48"/>
                  </a:lnTo>
                  <a:lnTo>
                    <a:pt x="288" y="55"/>
                  </a:lnTo>
                  <a:lnTo>
                    <a:pt x="296" y="60"/>
                  </a:lnTo>
                  <a:lnTo>
                    <a:pt x="303" y="68"/>
                  </a:lnTo>
                  <a:lnTo>
                    <a:pt x="333" y="98"/>
                  </a:lnTo>
                  <a:lnTo>
                    <a:pt x="341" y="105"/>
                  </a:lnTo>
                  <a:lnTo>
                    <a:pt x="346" y="113"/>
                  </a:lnTo>
                  <a:lnTo>
                    <a:pt x="351" y="120"/>
                  </a:lnTo>
                  <a:lnTo>
                    <a:pt x="354" y="128"/>
                  </a:lnTo>
                  <a:lnTo>
                    <a:pt x="358" y="136"/>
                  </a:lnTo>
                  <a:lnTo>
                    <a:pt x="360" y="145"/>
                  </a:lnTo>
                  <a:lnTo>
                    <a:pt x="362" y="153"/>
                  </a:lnTo>
                  <a:lnTo>
                    <a:pt x="362" y="162"/>
                  </a:lnTo>
                  <a:lnTo>
                    <a:pt x="362" y="170"/>
                  </a:lnTo>
                  <a:lnTo>
                    <a:pt x="360" y="179"/>
                  </a:lnTo>
                  <a:lnTo>
                    <a:pt x="358" y="188"/>
                  </a:lnTo>
                  <a:lnTo>
                    <a:pt x="354" y="195"/>
                  </a:lnTo>
                  <a:lnTo>
                    <a:pt x="351" y="204"/>
                  </a:lnTo>
                  <a:lnTo>
                    <a:pt x="346" y="211"/>
                  </a:lnTo>
                  <a:lnTo>
                    <a:pt x="341" y="219"/>
                  </a:lnTo>
                  <a:lnTo>
                    <a:pt x="333" y="226"/>
                  </a:lnTo>
                  <a:lnTo>
                    <a:pt x="154" y="405"/>
                  </a:lnTo>
                  <a:lnTo>
                    <a:pt x="148" y="411"/>
                  </a:lnTo>
                  <a:lnTo>
                    <a:pt x="141" y="416"/>
                  </a:lnTo>
                  <a:lnTo>
                    <a:pt x="133" y="421"/>
                  </a:lnTo>
                  <a:lnTo>
                    <a:pt x="124" y="424"/>
                  </a:lnTo>
                  <a:lnTo>
                    <a:pt x="116" y="426"/>
                  </a:lnTo>
                  <a:lnTo>
                    <a:pt x="107" y="427"/>
                  </a:lnTo>
                  <a:lnTo>
                    <a:pt x="99" y="428"/>
                  </a:lnTo>
                  <a:lnTo>
                    <a:pt x="89" y="427"/>
                  </a:lnTo>
                  <a:lnTo>
                    <a:pt x="80" y="426"/>
                  </a:lnTo>
                  <a:lnTo>
                    <a:pt x="71" y="424"/>
                  </a:lnTo>
                  <a:lnTo>
                    <a:pt x="62" y="421"/>
                  </a:lnTo>
                  <a:lnTo>
                    <a:pt x="54" y="416"/>
                  </a:lnTo>
                  <a:lnTo>
                    <a:pt x="46" y="411"/>
                  </a:lnTo>
                  <a:lnTo>
                    <a:pt x="39" y="406"/>
                  </a:lnTo>
                  <a:lnTo>
                    <a:pt x="32" y="399"/>
                  </a:lnTo>
                  <a:lnTo>
                    <a:pt x="27" y="393"/>
                  </a:lnTo>
                  <a:lnTo>
                    <a:pt x="26" y="390"/>
                  </a:lnTo>
                  <a:lnTo>
                    <a:pt x="24" y="389"/>
                  </a:lnTo>
                  <a:lnTo>
                    <a:pt x="21" y="386"/>
                  </a:lnTo>
                  <a:lnTo>
                    <a:pt x="19" y="386"/>
                  </a:lnTo>
                  <a:lnTo>
                    <a:pt x="15" y="385"/>
                  </a:lnTo>
                  <a:lnTo>
                    <a:pt x="12" y="386"/>
                  </a:lnTo>
                  <a:lnTo>
                    <a:pt x="10" y="386"/>
                  </a:lnTo>
                  <a:lnTo>
                    <a:pt x="7" y="389"/>
                  </a:lnTo>
                  <a:lnTo>
                    <a:pt x="5" y="391"/>
                  </a:lnTo>
                  <a:lnTo>
                    <a:pt x="3" y="393"/>
                  </a:lnTo>
                  <a:lnTo>
                    <a:pt x="1" y="395"/>
                  </a:lnTo>
                  <a:lnTo>
                    <a:pt x="0" y="398"/>
                  </a:lnTo>
                  <a:lnTo>
                    <a:pt x="0" y="400"/>
                  </a:lnTo>
                  <a:lnTo>
                    <a:pt x="0" y="403"/>
                  </a:lnTo>
                  <a:lnTo>
                    <a:pt x="1" y="407"/>
                  </a:lnTo>
                  <a:lnTo>
                    <a:pt x="3" y="409"/>
                  </a:lnTo>
                  <a:lnTo>
                    <a:pt x="10" y="418"/>
                  </a:lnTo>
                  <a:lnTo>
                    <a:pt x="19" y="427"/>
                  </a:lnTo>
                  <a:lnTo>
                    <a:pt x="28" y="435"/>
                  </a:lnTo>
                  <a:lnTo>
                    <a:pt x="38" y="442"/>
                  </a:lnTo>
                  <a:lnTo>
                    <a:pt x="50" y="447"/>
                  </a:lnTo>
                  <a:lnTo>
                    <a:pt x="61" y="452"/>
                  </a:lnTo>
                  <a:lnTo>
                    <a:pt x="73" y="455"/>
                  </a:lnTo>
                  <a:lnTo>
                    <a:pt x="86" y="457"/>
                  </a:lnTo>
                  <a:lnTo>
                    <a:pt x="92" y="457"/>
                  </a:lnTo>
                  <a:lnTo>
                    <a:pt x="99" y="458"/>
                  </a:lnTo>
                  <a:lnTo>
                    <a:pt x="109" y="457"/>
                  </a:lnTo>
                  <a:lnTo>
                    <a:pt x="120" y="456"/>
                  </a:lnTo>
                  <a:lnTo>
                    <a:pt x="130" y="453"/>
                  </a:lnTo>
                  <a:lnTo>
                    <a:pt x="141" y="449"/>
                  </a:lnTo>
                  <a:lnTo>
                    <a:pt x="150" y="445"/>
                  </a:lnTo>
                  <a:lnTo>
                    <a:pt x="159" y="440"/>
                  </a:lnTo>
                  <a:lnTo>
                    <a:pt x="167" y="433"/>
                  </a:lnTo>
                  <a:lnTo>
                    <a:pt x="175" y="426"/>
                  </a:lnTo>
                  <a:lnTo>
                    <a:pt x="354" y="247"/>
                  </a:lnTo>
                  <a:lnTo>
                    <a:pt x="363" y="238"/>
                  </a:lnTo>
                  <a:lnTo>
                    <a:pt x="370" y="228"/>
                  </a:lnTo>
                  <a:lnTo>
                    <a:pt x="377" y="217"/>
                  </a:lnTo>
                  <a:lnTo>
                    <a:pt x="382" y="207"/>
                  </a:lnTo>
                  <a:lnTo>
                    <a:pt x="387" y="196"/>
                  </a:lnTo>
                  <a:lnTo>
                    <a:pt x="390" y="184"/>
                  </a:lnTo>
                  <a:lnTo>
                    <a:pt x="392" y="174"/>
                  </a:lnTo>
                  <a:lnTo>
                    <a:pt x="392" y="162"/>
                  </a:lnTo>
                  <a:lnTo>
                    <a:pt x="392" y="150"/>
                  </a:lnTo>
                  <a:lnTo>
                    <a:pt x="390" y="138"/>
                  </a:lnTo>
                  <a:lnTo>
                    <a:pt x="387" y="128"/>
                  </a:lnTo>
                  <a:lnTo>
                    <a:pt x="382" y="117"/>
                  </a:lnTo>
                  <a:lnTo>
                    <a:pt x="377" y="106"/>
                  </a:lnTo>
                  <a:lnTo>
                    <a:pt x="370" y="96"/>
                  </a:lnTo>
                  <a:lnTo>
                    <a:pt x="363" y="86"/>
                  </a:lnTo>
                  <a:lnTo>
                    <a:pt x="35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33" name="Group 63">
            <a:extLst>
              <a:ext uri="{FF2B5EF4-FFF2-40B4-BE49-F238E27FC236}">
                <a16:creationId xmlns:a16="http://schemas.microsoft.com/office/drawing/2014/main" id="{5A426514-4B3A-4C5C-9A46-2A5C35208E93}"/>
              </a:ext>
            </a:extLst>
          </p:cNvPr>
          <p:cNvGrpSpPr>
            <a:grpSpLocks noChangeAspect="1"/>
          </p:cNvGrpSpPr>
          <p:nvPr/>
        </p:nvGrpSpPr>
        <p:grpSpPr>
          <a:xfrm>
            <a:off x="3184091" y="3270250"/>
            <a:ext cx="308350" cy="292847"/>
            <a:chOff x="6472238" y="2492376"/>
            <a:chExt cx="284162" cy="269875"/>
          </a:xfrm>
          <a:solidFill>
            <a:schemeClr val="bg1"/>
          </a:solidFill>
          <a:effectLst/>
        </p:grpSpPr>
        <p:sp>
          <p:nvSpPr>
            <p:cNvPr id="634" name="Freeform 248">
              <a:extLst>
                <a:ext uri="{FF2B5EF4-FFF2-40B4-BE49-F238E27FC236}">
                  <a16:creationId xmlns:a16="http://schemas.microsoft.com/office/drawing/2014/main" id="{37264D7C-381E-420A-B583-75B397354C5B}"/>
                </a:ext>
              </a:extLst>
            </p:cNvPr>
            <p:cNvSpPr>
              <a:spLocks/>
            </p:cNvSpPr>
            <p:nvPr/>
          </p:nvSpPr>
          <p:spPr bwMode="auto">
            <a:xfrm>
              <a:off x="6519863" y="2505076"/>
              <a:ext cx="31750" cy="33338"/>
            </a:xfrm>
            <a:custGeom>
              <a:avLst/>
              <a:gdLst>
                <a:gd name="T0" fmla="*/ 79 w 104"/>
                <a:gd name="T1" fmla="*/ 101 h 105"/>
                <a:gd name="T2" fmla="*/ 81 w 104"/>
                <a:gd name="T3" fmla="*/ 103 h 105"/>
                <a:gd name="T4" fmla="*/ 83 w 104"/>
                <a:gd name="T5" fmla="*/ 104 h 105"/>
                <a:gd name="T6" fmla="*/ 86 w 104"/>
                <a:gd name="T7" fmla="*/ 105 h 105"/>
                <a:gd name="T8" fmla="*/ 89 w 104"/>
                <a:gd name="T9" fmla="*/ 105 h 105"/>
                <a:gd name="T10" fmla="*/ 92 w 104"/>
                <a:gd name="T11" fmla="*/ 105 h 105"/>
                <a:gd name="T12" fmla="*/ 95 w 104"/>
                <a:gd name="T13" fmla="*/ 104 h 105"/>
                <a:gd name="T14" fmla="*/ 97 w 104"/>
                <a:gd name="T15" fmla="*/ 103 h 105"/>
                <a:gd name="T16" fmla="*/ 99 w 104"/>
                <a:gd name="T17" fmla="*/ 101 h 105"/>
                <a:gd name="T18" fmla="*/ 101 w 104"/>
                <a:gd name="T19" fmla="*/ 99 h 105"/>
                <a:gd name="T20" fmla="*/ 103 w 104"/>
                <a:gd name="T21" fmla="*/ 96 h 105"/>
                <a:gd name="T22" fmla="*/ 104 w 104"/>
                <a:gd name="T23" fmla="*/ 93 h 105"/>
                <a:gd name="T24" fmla="*/ 104 w 104"/>
                <a:gd name="T25" fmla="*/ 90 h 105"/>
                <a:gd name="T26" fmla="*/ 104 w 104"/>
                <a:gd name="T27" fmla="*/ 88 h 105"/>
                <a:gd name="T28" fmla="*/ 103 w 104"/>
                <a:gd name="T29" fmla="*/ 85 h 105"/>
                <a:gd name="T30" fmla="*/ 101 w 104"/>
                <a:gd name="T31" fmla="*/ 83 h 105"/>
                <a:gd name="T32" fmla="*/ 99 w 104"/>
                <a:gd name="T33" fmla="*/ 80 h 105"/>
                <a:gd name="T34" fmla="*/ 26 w 104"/>
                <a:gd name="T35" fmla="*/ 5 h 105"/>
                <a:gd name="T36" fmla="*/ 22 w 104"/>
                <a:gd name="T37" fmla="*/ 4 h 105"/>
                <a:gd name="T38" fmla="*/ 20 w 104"/>
                <a:gd name="T39" fmla="*/ 1 h 105"/>
                <a:gd name="T40" fmla="*/ 17 w 104"/>
                <a:gd name="T41" fmla="*/ 1 h 105"/>
                <a:gd name="T42" fmla="*/ 15 w 104"/>
                <a:gd name="T43" fmla="*/ 0 h 105"/>
                <a:gd name="T44" fmla="*/ 12 w 104"/>
                <a:gd name="T45" fmla="*/ 1 h 105"/>
                <a:gd name="T46" fmla="*/ 8 w 104"/>
                <a:gd name="T47" fmla="*/ 1 h 105"/>
                <a:gd name="T48" fmla="*/ 6 w 104"/>
                <a:gd name="T49" fmla="*/ 4 h 105"/>
                <a:gd name="T50" fmla="*/ 4 w 104"/>
                <a:gd name="T51" fmla="*/ 5 h 105"/>
                <a:gd name="T52" fmla="*/ 2 w 104"/>
                <a:gd name="T53" fmla="*/ 8 h 105"/>
                <a:gd name="T54" fmla="*/ 1 w 104"/>
                <a:gd name="T55" fmla="*/ 10 h 105"/>
                <a:gd name="T56" fmla="*/ 0 w 104"/>
                <a:gd name="T57" fmla="*/ 13 h 105"/>
                <a:gd name="T58" fmla="*/ 0 w 104"/>
                <a:gd name="T59" fmla="*/ 15 h 105"/>
                <a:gd name="T60" fmla="*/ 0 w 104"/>
                <a:gd name="T61" fmla="*/ 19 h 105"/>
                <a:gd name="T62" fmla="*/ 1 w 104"/>
                <a:gd name="T63" fmla="*/ 22 h 105"/>
                <a:gd name="T64" fmla="*/ 2 w 104"/>
                <a:gd name="T65" fmla="*/ 24 h 105"/>
                <a:gd name="T66" fmla="*/ 4 w 104"/>
                <a:gd name="T67" fmla="*/ 26 h 105"/>
                <a:gd name="T68" fmla="*/ 79 w 104"/>
                <a:gd name="T69"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05">
                  <a:moveTo>
                    <a:pt x="79" y="101"/>
                  </a:moveTo>
                  <a:lnTo>
                    <a:pt x="81" y="103"/>
                  </a:lnTo>
                  <a:lnTo>
                    <a:pt x="83" y="104"/>
                  </a:lnTo>
                  <a:lnTo>
                    <a:pt x="86" y="105"/>
                  </a:lnTo>
                  <a:lnTo>
                    <a:pt x="89" y="105"/>
                  </a:lnTo>
                  <a:lnTo>
                    <a:pt x="92" y="105"/>
                  </a:lnTo>
                  <a:lnTo>
                    <a:pt x="95" y="104"/>
                  </a:lnTo>
                  <a:lnTo>
                    <a:pt x="97" y="103"/>
                  </a:lnTo>
                  <a:lnTo>
                    <a:pt x="99" y="101"/>
                  </a:lnTo>
                  <a:lnTo>
                    <a:pt x="101" y="99"/>
                  </a:lnTo>
                  <a:lnTo>
                    <a:pt x="103" y="96"/>
                  </a:lnTo>
                  <a:lnTo>
                    <a:pt x="104" y="93"/>
                  </a:lnTo>
                  <a:lnTo>
                    <a:pt x="104" y="90"/>
                  </a:lnTo>
                  <a:lnTo>
                    <a:pt x="104" y="88"/>
                  </a:lnTo>
                  <a:lnTo>
                    <a:pt x="103" y="85"/>
                  </a:lnTo>
                  <a:lnTo>
                    <a:pt x="101" y="83"/>
                  </a:lnTo>
                  <a:lnTo>
                    <a:pt x="99" y="80"/>
                  </a:lnTo>
                  <a:lnTo>
                    <a:pt x="26" y="5"/>
                  </a:lnTo>
                  <a:lnTo>
                    <a:pt x="22" y="4"/>
                  </a:lnTo>
                  <a:lnTo>
                    <a:pt x="20" y="1"/>
                  </a:lnTo>
                  <a:lnTo>
                    <a:pt x="17" y="1"/>
                  </a:lnTo>
                  <a:lnTo>
                    <a:pt x="15" y="0"/>
                  </a:lnTo>
                  <a:lnTo>
                    <a:pt x="12" y="1"/>
                  </a:lnTo>
                  <a:lnTo>
                    <a:pt x="8" y="1"/>
                  </a:lnTo>
                  <a:lnTo>
                    <a:pt x="6" y="4"/>
                  </a:lnTo>
                  <a:lnTo>
                    <a:pt x="4" y="5"/>
                  </a:lnTo>
                  <a:lnTo>
                    <a:pt x="2" y="8"/>
                  </a:lnTo>
                  <a:lnTo>
                    <a:pt x="1" y="10"/>
                  </a:lnTo>
                  <a:lnTo>
                    <a:pt x="0" y="13"/>
                  </a:lnTo>
                  <a:lnTo>
                    <a:pt x="0" y="15"/>
                  </a:lnTo>
                  <a:lnTo>
                    <a:pt x="0" y="19"/>
                  </a:lnTo>
                  <a:lnTo>
                    <a:pt x="1" y="22"/>
                  </a:lnTo>
                  <a:lnTo>
                    <a:pt x="2" y="24"/>
                  </a:lnTo>
                  <a:lnTo>
                    <a:pt x="4" y="26"/>
                  </a:lnTo>
                  <a:lnTo>
                    <a:pt x="79"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5" name="Freeform 249">
              <a:extLst>
                <a:ext uri="{FF2B5EF4-FFF2-40B4-BE49-F238E27FC236}">
                  <a16:creationId xmlns:a16="http://schemas.microsoft.com/office/drawing/2014/main" id="{8F1398EC-7717-45E0-8751-05AAB54D6676}"/>
                </a:ext>
              </a:extLst>
            </p:cNvPr>
            <p:cNvSpPr>
              <a:spLocks/>
            </p:cNvSpPr>
            <p:nvPr/>
          </p:nvSpPr>
          <p:spPr bwMode="auto">
            <a:xfrm>
              <a:off x="6575425" y="2492376"/>
              <a:ext cx="9525" cy="36513"/>
            </a:xfrm>
            <a:custGeom>
              <a:avLst/>
              <a:gdLst>
                <a:gd name="T0" fmla="*/ 15 w 30"/>
                <a:gd name="T1" fmla="*/ 119 h 119"/>
                <a:gd name="T2" fmla="*/ 19 w 30"/>
                <a:gd name="T3" fmla="*/ 119 h 119"/>
                <a:gd name="T4" fmla="*/ 22 w 30"/>
                <a:gd name="T5" fmla="*/ 118 h 119"/>
                <a:gd name="T6" fmla="*/ 24 w 30"/>
                <a:gd name="T7" fmla="*/ 117 h 119"/>
                <a:gd name="T8" fmla="*/ 26 w 30"/>
                <a:gd name="T9" fmla="*/ 115 h 119"/>
                <a:gd name="T10" fmla="*/ 28 w 30"/>
                <a:gd name="T11" fmla="*/ 113 h 119"/>
                <a:gd name="T12" fmla="*/ 29 w 30"/>
                <a:gd name="T13" fmla="*/ 111 h 119"/>
                <a:gd name="T14" fmla="*/ 30 w 30"/>
                <a:gd name="T15" fmla="*/ 108 h 119"/>
                <a:gd name="T16" fmla="*/ 30 w 30"/>
                <a:gd name="T17" fmla="*/ 104 h 119"/>
                <a:gd name="T18" fmla="*/ 30 w 30"/>
                <a:gd name="T19" fmla="*/ 14 h 119"/>
                <a:gd name="T20" fmla="*/ 30 w 30"/>
                <a:gd name="T21" fmla="*/ 12 h 119"/>
                <a:gd name="T22" fmla="*/ 29 w 30"/>
                <a:gd name="T23" fmla="*/ 9 h 119"/>
                <a:gd name="T24" fmla="*/ 28 w 30"/>
                <a:gd name="T25" fmla="*/ 7 h 119"/>
                <a:gd name="T26" fmla="*/ 26 w 30"/>
                <a:gd name="T27" fmla="*/ 5 h 119"/>
                <a:gd name="T28" fmla="*/ 24 w 30"/>
                <a:gd name="T29" fmla="*/ 3 h 119"/>
                <a:gd name="T30" fmla="*/ 22 w 30"/>
                <a:gd name="T31" fmla="*/ 2 h 119"/>
                <a:gd name="T32" fmla="*/ 19 w 30"/>
                <a:gd name="T33" fmla="*/ 1 h 119"/>
                <a:gd name="T34" fmla="*/ 15 w 30"/>
                <a:gd name="T35" fmla="*/ 0 h 119"/>
                <a:gd name="T36" fmla="*/ 12 w 30"/>
                <a:gd name="T37" fmla="*/ 1 h 119"/>
                <a:gd name="T38" fmla="*/ 10 w 30"/>
                <a:gd name="T39" fmla="*/ 2 h 119"/>
                <a:gd name="T40" fmla="*/ 7 w 30"/>
                <a:gd name="T41" fmla="*/ 3 h 119"/>
                <a:gd name="T42" fmla="*/ 5 w 30"/>
                <a:gd name="T43" fmla="*/ 5 h 119"/>
                <a:gd name="T44" fmla="*/ 4 w 30"/>
                <a:gd name="T45" fmla="*/ 7 h 119"/>
                <a:gd name="T46" fmla="*/ 2 w 30"/>
                <a:gd name="T47" fmla="*/ 9 h 119"/>
                <a:gd name="T48" fmla="*/ 2 w 30"/>
                <a:gd name="T49" fmla="*/ 12 h 119"/>
                <a:gd name="T50" fmla="*/ 0 w 30"/>
                <a:gd name="T51" fmla="*/ 14 h 119"/>
                <a:gd name="T52" fmla="*/ 0 w 30"/>
                <a:gd name="T53" fmla="*/ 104 h 119"/>
                <a:gd name="T54" fmla="*/ 2 w 30"/>
                <a:gd name="T55" fmla="*/ 108 h 119"/>
                <a:gd name="T56" fmla="*/ 2 w 30"/>
                <a:gd name="T57" fmla="*/ 111 h 119"/>
                <a:gd name="T58" fmla="*/ 4 w 30"/>
                <a:gd name="T59" fmla="*/ 113 h 119"/>
                <a:gd name="T60" fmla="*/ 5 w 30"/>
                <a:gd name="T61" fmla="*/ 115 h 119"/>
                <a:gd name="T62" fmla="*/ 7 w 30"/>
                <a:gd name="T63" fmla="*/ 117 h 119"/>
                <a:gd name="T64" fmla="*/ 10 w 30"/>
                <a:gd name="T65" fmla="*/ 118 h 119"/>
                <a:gd name="T66" fmla="*/ 12 w 30"/>
                <a:gd name="T67" fmla="*/ 119 h 119"/>
                <a:gd name="T68" fmla="*/ 15 w 30"/>
                <a:gd name="T69" fmla="*/ 119 h 119"/>
                <a:gd name="T70" fmla="*/ 15 w 30"/>
                <a:gd name="T7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19">
                  <a:moveTo>
                    <a:pt x="15" y="119"/>
                  </a:moveTo>
                  <a:lnTo>
                    <a:pt x="19" y="119"/>
                  </a:lnTo>
                  <a:lnTo>
                    <a:pt x="22" y="118"/>
                  </a:lnTo>
                  <a:lnTo>
                    <a:pt x="24" y="117"/>
                  </a:lnTo>
                  <a:lnTo>
                    <a:pt x="26" y="115"/>
                  </a:lnTo>
                  <a:lnTo>
                    <a:pt x="28" y="113"/>
                  </a:lnTo>
                  <a:lnTo>
                    <a:pt x="29" y="111"/>
                  </a:lnTo>
                  <a:lnTo>
                    <a:pt x="30" y="108"/>
                  </a:lnTo>
                  <a:lnTo>
                    <a:pt x="30" y="104"/>
                  </a:lnTo>
                  <a:lnTo>
                    <a:pt x="30" y="14"/>
                  </a:lnTo>
                  <a:lnTo>
                    <a:pt x="30" y="12"/>
                  </a:lnTo>
                  <a:lnTo>
                    <a:pt x="29" y="9"/>
                  </a:lnTo>
                  <a:lnTo>
                    <a:pt x="28" y="7"/>
                  </a:lnTo>
                  <a:lnTo>
                    <a:pt x="26" y="5"/>
                  </a:lnTo>
                  <a:lnTo>
                    <a:pt x="24" y="3"/>
                  </a:lnTo>
                  <a:lnTo>
                    <a:pt x="22" y="2"/>
                  </a:lnTo>
                  <a:lnTo>
                    <a:pt x="19" y="1"/>
                  </a:lnTo>
                  <a:lnTo>
                    <a:pt x="15" y="0"/>
                  </a:lnTo>
                  <a:lnTo>
                    <a:pt x="12" y="1"/>
                  </a:lnTo>
                  <a:lnTo>
                    <a:pt x="10" y="2"/>
                  </a:lnTo>
                  <a:lnTo>
                    <a:pt x="7" y="3"/>
                  </a:lnTo>
                  <a:lnTo>
                    <a:pt x="5" y="5"/>
                  </a:lnTo>
                  <a:lnTo>
                    <a:pt x="4" y="7"/>
                  </a:lnTo>
                  <a:lnTo>
                    <a:pt x="2" y="9"/>
                  </a:lnTo>
                  <a:lnTo>
                    <a:pt x="2" y="12"/>
                  </a:lnTo>
                  <a:lnTo>
                    <a:pt x="0" y="14"/>
                  </a:lnTo>
                  <a:lnTo>
                    <a:pt x="0" y="104"/>
                  </a:lnTo>
                  <a:lnTo>
                    <a:pt x="2" y="108"/>
                  </a:lnTo>
                  <a:lnTo>
                    <a:pt x="2" y="111"/>
                  </a:lnTo>
                  <a:lnTo>
                    <a:pt x="4" y="113"/>
                  </a:lnTo>
                  <a:lnTo>
                    <a:pt x="5" y="115"/>
                  </a:lnTo>
                  <a:lnTo>
                    <a:pt x="7" y="117"/>
                  </a:lnTo>
                  <a:lnTo>
                    <a:pt x="10" y="118"/>
                  </a:lnTo>
                  <a:lnTo>
                    <a:pt x="12" y="119"/>
                  </a:lnTo>
                  <a:lnTo>
                    <a:pt x="15" y="119"/>
                  </a:lnTo>
                  <a:lnTo>
                    <a:pt x="1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6" name="Freeform 250">
              <a:extLst>
                <a:ext uri="{FF2B5EF4-FFF2-40B4-BE49-F238E27FC236}">
                  <a16:creationId xmlns:a16="http://schemas.microsoft.com/office/drawing/2014/main" id="{067F5246-9167-4F0D-8C1E-2A2AA8543AEE}"/>
                </a:ext>
              </a:extLst>
            </p:cNvPr>
            <p:cNvSpPr>
              <a:spLocks/>
            </p:cNvSpPr>
            <p:nvPr/>
          </p:nvSpPr>
          <p:spPr bwMode="auto">
            <a:xfrm>
              <a:off x="6500813" y="2562226"/>
              <a:ext cx="38100" cy="9525"/>
            </a:xfrm>
            <a:custGeom>
              <a:avLst/>
              <a:gdLst>
                <a:gd name="T0" fmla="*/ 15 w 120"/>
                <a:gd name="T1" fmla="*/ 30 h 30"/>
                <a:gd name="T2" fmla="*/ 105 w 120"/>
                <a:gd name="T3" fmla="*/ 30 h 30"/>
                <a:gd name="T4" fmla="*/ 107 w 120"/>
                <a:gd name="T5" fmla="*/ 30 h 30"/>
                <a:gd name="T6" fmla="*/ 110 w 120"/>
                <a:gd name="T7" fmla="*/ 29 h 30"/>
                <a:gd name="T8" fmla="*/ 112 w 120"/>
                <a:gd name="T9" fmla="*/ 28 h 30"/>
                <a:gd name="T10" fmla="*/ 114 w 120"/>
                <a:gd name="T11" fmla="*/ 26 h 30"/>
                <a:gd name="T12" fmla="*/ 117 w 120"/>
                <a:gd name="T13" fmla="*/ 24 h 30"/>
                <a:gd name="T14" fmla="*/ 118 w 120"/>
                <a:gd name="T15" fmla="*/ 20 h 30"/>
                <a:gd name="T16" fmla="*/ 119 w 120"/>
                <a:gd name="T17" fmla="*/ 18 h 30"/>
                <a:gd name="T18" fmla="*/ 120 w 120"/>
                <a:gd name="T19" fmla="*/ 15 h 30"/>
                <a:gd name="T20" fmla="*/ 119 w 120"/>
                <a:gd name="T21" fmla="*/ 12 h 30"/>
                <a:gd name="T22" fmla="*/ 118 w 120"/>
                <a:gd name="T23" fmla="*/ 10 h 30"/>
                <a:gd name="T24" fmla="*/ 117 w 120"/>
                <a:gd name="T25" fmla="*/ 6 h 30"/>
                <a:gd name="T26" fmla="*/ 114 w 120"/>
                <a:gd name="T27" fmla="*/ 4 h 30"/>
                <a:gd name="T28" fmla="*/ 112 w 120"/>
                <a:gd name="T29" fmla="*/ 2 h 30"/>
                <a:gd name="T30" fmla="*/ 110 w 120"/>
                <a:gd name="T31" fmla="*/ 1 h 30"/>
                <a:gd name="T32" fmla="*/ 107 w 120"/>
                <a:gd name="T33" fmla="*/ 0 h 30"/>
                <a:gd name="T34" fmla="*/ 105 w 120"/>
                <a:gd name="T35" fmla="*/ 0 h 30"/>
                <a:gd name="T36" fmla="*/ 15 w 120"/>
                <a:gd name="T37" fmla="*/ 0 h 30"/>
                <a:gd name="T38" fmla="*/ 12 w 120"/>
                <a:gd name="T39" fmla="*/ 0 h 30"/>
                <a:gd name="T40" fmla="*/ 8 w 120"/>
                <a:gd name="T41" fmla="*/ 1 h 30"/>
                <a:gd name="T42" fmla="*/ 6 w 120"/>
                <a:gd name="T43" fmla="*/ 2 h 30"/>
                <a:gd name="T44" fmla="*/ 4 w 120"/>
                <a:gd name="T45" fmla="*/ 4 h 30"/>
                <a:gd name="T46" fmla="*/ 2 w 120"/>
                <a:gd name="T47" fmla="*/ 6 h 30"/>
                <a:gd name="T48" fmla="*/ 1 w 120"/>
                <a:gd name="T49" fmla="*/ 10 h 30"/>
                <a:gd name="T50" fmla="*/ 0 w 120"/>
                <a:gd name="T51" fmla="*/ 12 h 30"/>
                <a:gd name="T52" fmla="*/ 0 w 120"/>
                <a:gd name="T53" fmla="*/ 15 h 30"/>
                <a:gd name="T54" fmla="*/ 0 w 120"/>
                <a:gd name="T55" fmla="*/ 18 h 30"/>
                <a:gd name="T56" fmla="*/ 1 w 120"/>
                <a:gd name="T57" fmla="*/ 20 h 30"/>
                <a:gd name="T58" fmla="*/ 2 w 120"/>
                <a:gd name="T59" fmla="*/ 24 h 30"/>
                <a:gd name="T60" fmla="*/ 4 w 120"/>
                <a:gd name="T61" fmla="*/ 26 h 30"/>
                <a:gd name="T62" fmla="*/ 6 w 120"/>
                <a:gd name="T63" fmla="*/ 28 h 30"/>
                <a:gd name="T64" fmla="*/ 8 w 120"/>
                <a:gd name="T65" fmla="*/ 29 h 30"/>
                <a:gd name="T66" fmla="*/ 12 w 120"/>
                <a:gd name="T67" fmla="*/ 30 h 30"/>
                <a:gd name="T68" fmla="*/ 15 w 120"/>
                <a:gd name="T69" fmla="*/ 30 h 30"/>
                <a:gd name="T70" fmla="*/ 15 w 12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30">
                  <a:moveTo>
                    <a:pt x="15" y="30"/>
                  </a:moveTo>
                  <a:lnTo>
                    <a:pt x="105" y="30"/>
                  </a:lnTo>
                  <a:lnTo>
                    <a:pt x="107" y="30"/>
                  </a:lnTo>
                  <a:lnTo>
                    <a:pt x="110" y="29"/>
                  </a:lnTo>
                  <a:lnTo>
                    <a:pt x="112" y="28"/>
                  </a:lnTo>
                  <a:lnTo>
                    <a:pt x="114" y="26"/>
                  </a:lnTo>
                  <a:lnTo>
                    <a:pt x="117" y="24"/>
                  </a:lnTo>
                  <a:lnTo>
                    <a:pt x="118" y="20"/>
                  </a:lnTo>
                  <a:lnTo>
                    <a:pt x="119" y="18"/>
                  </a:lnTo>
                  <a:lnTo>
                    <a:pt x="120" y="15"/>
                  </a:lnTo>
                  <a:lnTo>
                    <a:pt x="119" y="12"/>
                  </a:lnTo>
                  <a:lnTo>
                    <a:pt x="118" y="10"/>
                  </a:lnTo>
                  <a:lnTo>
                    <a:pt x="117" y="6"/>
                  </a:lnTo>
                  <a:lnTo>
                    <a:pt x="114" y="4"/>
                  </a:lnTo>
                  <a:lnTo>
                    <a:pt x="112" y="2"/>
                  </a:lnTo>
                  <a:lnTo>
                    <a:pt x="110" y="1"/>
                  </a:lnTo>
                  <a:lnTo>
                    <a:pt x="107" y="0"/>
                  </a:lnTo>
                  <a:lnTo>
                    <a:pt x="105" y="0"/>
                  </a:lnTo>
                  <a:lnTo>
                    <a:pt x="15" y="0"/>
                  </a:lnTo>
                  <a:lnTo>
                    <a:pt x="12" y="0"/>
                  </a:lnTo>
                  <a:lnTo>
                    <a:pt x="8" y="1"/>
                  </a:lnTo>
                  <a:lnTo>
                    <a:pt x="6" y="2"/>
                  </a:lnTo>
                  <a:lnTo>
                    <a:pt x="4" y="4"/>
                  </a:lnTo>
                  <a:lnTo>
                    <a:pt x="2" y="6"/>
                  </a:lnTo>
                  <a:lnTo>
                    <a:pt x="1" y="10"/>
                  </a:lnTo>
                  <a:lnTo>
                    <a:pt x="0" y="12"/>
                  </a:lnTo>
                  <a:lnTo>
                    <a:pt x="0" y="15"/>
                  </a:lnTo>
                  <a:lnTo>
                    <a:pt x="0" y="18"/>
                  </a:lnTo>
                  <a:lnTo>
                    <a:pt x="1" y="20"/>
                  </a:lnTo>
                  <a:lnTo>
                    <a:pt x="2" y="24"/>
                  </a:lnTo>
                  <a:lnTo>
                    <a:pt x="4" y="26"/>
                  </a:lnTo>
                  <a:lnTo>
                    <a:pt x="6" y="28"/>
                  </a:lnTo>
                  <a:lnTo>
                    <a:pt x="8"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7" name="Freeform 251">
              <a:extLst>
                <a:ext uri="{FF2B5EF4-FFF2-40B4-BE49-F238E27FC236}">
                  <a16:creationId xmlns:a16="http://schemas.microsoft.com/office/drawing/2014/main" id="{27F72C61-E24C-428D-8505-0EA8BE4609EB}"/>
                </a:ext>
              </a:extLst>
            </p:cNvPr>
            <p:cNvSpPr>
              <a:spLocks/>
            </p:cNvSpPr>
            <p:nvPr/>
          </p:nvSpPr>
          <p:spPr bwMode="auto">
            <a:xfrm>
              <a:off x="6472238" y="2628901"/>
              <a:ext cx="131762" cy="133350"/>
            </a:xfrm>
            <a:custGeom>
              <a:avLst/>
              <a:gdLst>
                <a:gd name="T0" fmla="*/ 274 w 418"/>
                <a:gd name="T1" fmla="*/ 347 h 418"/>
                <a:gd name="T2" fmla="*/ 253 w 418"/>
                <a:gd name="T3" fmla="*/ 365 h 418"/>
                <a:gd name="T4" fmla="*/ 231 w 418"/>
                <a:gd name="T5" fmla="*/ 378 h 418"/>
                <a:gd name="T6" fmla="*/ 209 w 418"/>
                <a:gd name="T7" fmla="*/ 386 h 418"/>
                <a:gd name="T8" fmla="*/ 187 w 418"/>
                <a:gd name="T9" fmla="*/ 388 h 418"/>
                <a:gd name="T10" fmla="*/ 165 w 418"/>
                <a:gd name="T11" fmla="*/ 386 h 418"/>
                <a:gd name="T12" fmla="*/ 142 w 418"/>
                <a:gd name="T13" fmla="*/ 378 h 418"/>
                <a:gd name="T14" fmla="*/ 121 w 418"/>
                <a:gd name="T15" fmla="*/ 365 h 418"/>
                <a:gd name="T16" fmla="*/ 101 w 418"/>
                <a:gd name="T17" fmla="*/ 347 h 418"/>
                <a:gd name="T18" fmla="*/ 61 w 418"/>
                <a:gd name="T19" fmla="*/ 308 h 418"/>
                <a:gd name="T20" fmla="*/ 46 w 418"/>
                <a:gd name="T21" fmla="*/ 286 h 418"/>
                <a:gd name="T22" fmla="*/ 35 w 418"/>
                <a:gd name="T23" fmla="*/ 264 h 418"/>
                <a:gd name="T24" fmla="*/ 30 w 418"/>
                <a:gd name="T25" fmla="*/ 242 h 418"/>
                <a:gd name="T26" fmla="*/ 30 w 418"/>
                <a:gd name="T27" fmla="*/ 220 h 418"/>
                <a:gd name="T28" fmla="*/ 35 w 418"/>
                <a:gd name="T29" fmla="*/ 197 h 418"/>
                <a:gd name="T30" fmla="*/ 46 w 418"/>
                <a:gd name="T31" fmla="*/ 176 h 418"/>
                <a:gd name="T32" fmla="*/ 61 w 418"/>
                <a:gd name="T33" fmla="*/ 155 h 418"/>
                <a:gd name="T34" fmla="*/ 189 w 418"/>
                <a:gd name="T35" fmla="*/ 24 h 418"/>
                <a:gd name="T36" fmla="*/ 194 w 418"/>
                <a:gd name="T37" fmla="*/ 20 h 418"/>
                <a:gd name="T38" fmla="*/ 195 w 418"/>
                <a:gd name="T39" fmla="*/ 15 h 418"/>
                <a:gd name="T40" fmla="*/ 194 w 418"/>
                <a:gd name="T41" fmla="*/ 8 h 418"/>
                <a:gd name="T42" fmla="*/ 189 w 418"/>
                <a:gd name="T43" fmla="*/ 4 h 418"/>
                <a:gd name="T44" fmla="*/ 185 w 418"/>
                <a:gd name="T45" fmla="*/ 1 h 418"/>
                <a:gd name="T46" fmla="*/ 180 w 418"/>
                <a:gd name="T47" fmla="*/ 0 h 418"/>
                <a:gd name="T48" fmla="*/ 173 w 418"/>
                <a:gd name="T49" fmla="*/ 1 h 418"/>
                <a:gd name="T50" fmla="*/ 169 w 418"/>
                <a:gd name="T51" fmla="*/ 4 h 418"/>
                <a:gd name="T52" fmla="*/ 38 w 418"/>
                <a:gd name="T53" fmla="*/ 135 h 418"/>
                <a:gd name="T54" fmla="*/ 19 w 418"/>
                <a:gd name="T55" fmla="*/ 162 h 418"/>
                <a:gd name="T56" fmla="*/ 8 w 418"/>
                <a:gd name="T57" fmla="*/ 189 h 418"/>
                <a:gd name="T58" fmla="*/ 1 w 418"/>
                <a:gd name="T59" fmla="*/ 217 h 418"/>
                <a:gd name="T60" fmla="*/ 1 w 418"/>
                <a:gd name="T61" fmla="*/ 244 h 418"/>
                <a:gd name="T62" fmla="*/ 8 w 418"/>
                <a:gd name="T63" fmla="*/ 272 h 418"/>
                <a:gd name="T64" fmla="*/ 19 w 418"/>
                <a:gd name="T65" fmla="*/ 300 h 418"/>
                <a:gd name="T66" fmla="*/ 38 w 418"/>
                <a:gd name="T67" fmla="*/ 326 h 418"/>
                <a:gd name="T68" fmla="*/ 79 w 418"/>
                <a:gd name="T69" fmla="*/ 369 h 418"/>
                <a:gd name="T70" fmla="*/ 105 w 418"/>
                <a:gd name="T71" fmla="*/ 390 h 418"/>
                <a:gd name="T72" fmla="*/ 132 w 418"/>
                <a:gd name="T73" fmla="*/ 405 h 418"/>
                <a:gd name="T74" fmla="*/ 158 w 418"/>
                <a:gd name="T75" fmla="*/ 415 h 418"/>
                <a:gd name="T76" fmla="*/ 187 w 418"/>
                <a:gd name="T77" fmla="*/ 418 h 418"/>
                <a:gd name="T78" fmla="*/ 215 w 418"/>
                <a:gd name="T79" fmla="*/ 415 h 418"/>
                <a:gd name="T80" fmla="*/ 243 w 418"/>
                <a:gd name="T81" fmla="*/ 405 h 418"/>
                <a:gd name="T82" fmla="*/ 270 w 418"/>
                <a:gd name="T83" fmla="*/ 390 h 418"/>
                <a:gd name="T84" fmla="*/ 294 w 418"/>
                <a:gd name="T85" fmla="*/ 369 h 418"/>
                <a:gd name="T86" fmla="*/ 416 w 418"/>
                <a:gd name="T87" fmla="*/ 247 h 418"/>
                <a:gd name="T88" fmla="*/ 418 w 418"/>
                <a:gd name="T89" fmla="*/ 241 h 418"/>
                <a:gd name="T90" fmla="*/ 418 w 418"/>
                <a:gd name="T91" fmla="*/ 236 h 418"/>
                <a:gd name="T92" fmla="*/ 416 w 418"/>
                <a:gd name="T93" fmla="*/ 230 h 418"/>
                <a:gd name="T94" fmla="*/ 412 w 418"/>
                <a:gd name="T95" fmla="*/ 225 h 418"/>
                <a:gd name="T96" fmla="*/ 407 w 418"/>
                <a:gd name="T97" fmla="*/ 223 h 418"/>
                <a:gd name="T98" fmla="*/ 401 w 418"/>
                <a:gd name="T99" fmla="*/ 223 h 418"/>
                <a:gd name="T100" fmla="*/ 395 w 418"/>
                <a:gd name="T101" fmla="*/ 225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418">
                  <a:moveTo>
                    <a:pt x="393" y="227"/>
                  </a:moveTo>
                  <a:lnTo>
                    <a:pt x="274" y="347"/>
                  </a:lnTo>
                  <a:lnTo>
                    <a:pt x="263" y="357"/>
                  </a:lnTo>
                  <a:lnTo>
                    <a:pt x="253" y="365"/>
                  </a:lnTo>
                  <a:lnTo>
                    <a:pt x="242" y="372"/>
                  </a:lnTo>
                  <a:lnTo>
                    <a:pt x="231" y="378"/>
                  </a:lnTo>
                  <a:lnTo>
                    <a:pt x="220" y="382"/>
                  </a:lnTo>
                  <a:lnTo>
                    <a:pt x="209" y="386"/>
                  </a:lnTo>
                  <a:lnTo>
                    <a:pt x="198" y="387"/>
                  </a:lnTo>
                  <a:lnTo>
                    <a:pt x="187" y="388"/>
                  </a:lnTo>
                  <a:lnTo>
                    <a:pt x="176" y="387"/>
                  </a:lnTo>
                  <a:lnTo>
                    <a:pt x="165" y="386"/>
                  </a:lnTo>
                  <a:lnTo>
                    <a:pt x="153" y="382"/>
                  </a:lnTo>
                  <a:lnTo>
                    <a:pt x="142" y="378"/>
                  </a:lnTo>
                  <a:lnTo>
                    <a:pt x="132" y="372"/>
                  </a:lnTo>
                  <a:lnTo>
                    <a:pt x="121" y="365"/>
                  </a:lnTo>
                  <a:lnTo>
                    <a:pt x="110" y="357"/>
                  </a:lnTo>
                  <a:lnTo>
                    <a:pt x="101" y="347"/>
                  </a:lnTo>
                  <a:lnTo>
                    <a:pt x="71" y="317"/>
                  </a:lnTo>
                  <a:lnTo>
                    <a:pt x="61" y="308"/>
                  </a:lnTo>
                  <a:lnTo>
                    <a:pt x="53" y="297"/>
                  </a:lnTo>
                  <a:lnTo>
                    <a:pt x="46" y="286"/>
                  </a:lnTo>
                  <a:lnTo>
                    <a:pt x="40" y="276"/>
                  </a:lnTo>
                  <a:lnTo>
                    <a:pt x="35" y="264"/>
                  </a:lnTo>
                  <a:lnTo>
                    <a:pt x="32" y="253"/>
                  </a:lnTo>
                  <a:lnTo>
                    <a:pt x="30" y="242"/>
                  </a:lnTo>
                  <a:lnTo>
                    <a:pt x="30" y="231"/>
                  </a:lnTo>
                  <a:lnTo>
                    <a:pt x="30" y="220"/>
                  </a:lnTo>
                  <a:lnTo>
                    <a:pt x="32" y="208"/>
                  </a:lnTo>
                  <a:lnTo>
                    <a:pt x="35" y="197"/>
                  </a:lnTo>
                  <a:lnTo>
                    <a:pt x="40" y="187"/>
                  </a:lnTo>
                  <a:lnTo>
                    <a:pt x="46" y="176"/>
                  </a:lnTo>
                  <a:lnTo>
                    <a:pt x="53" y="165"/>
                  </a:lnTo>
                  <a:lnTo>
                    <a:pt x="61" y="155"/>
                  </a:lnTo>
                  <a:lnTo>
                    <a:pt x="71" y="144"/>
                  </a:lnTo>
                  <a:lnTo>
                    <a:pt x="189" y="24"/>
                  </a:lnTo>
                  <a:lnTo>
                    <a:pt x="192" y="22"/>
                  </a:lnTo>
                  <a:lnTo>
                    <a:pt x="194" y="20"/>
                  </a:lnTo>
                  <a:lnTo>
                    <a:pt x="194" y="17"/>
                  </a:lnTo>
                  <a:lnTo>
                    <a:pt x="195" y="15"/>
                  </a:lnTo>
                  <a:lnTo>
                    <a:pt x="194" y="11"/>
                  </a:lnTo>
                  <a:lnTo>
                    <a:pt x="194" y="8"/>
                  </a:lnTo>
                  <a:lnTo>
                    <a:pt x="192" y="6"/>
                  </a:lnTo>
                  <a:lnTo>
                    <a:pt x="189" y="4"/>
                  </a:lnTo>
                  <a:lnTo>
                    <a:pt x="187" y="2"/>
                  </a:lnTo>
                  <a:lnTo>
                    <a:pt x="185" y="1"/>
                  </a:lnTo>
                  <a:lnTo>
                    <a:pt x="182" y="0"/>
                  </a:lnTo>
                  <a:lnTo>
                    <a:pt x="180" y="0"/>
                  </a:lnTo>
                  <a:lnTo>
                    <a:pt x="177" y="0"/>
                  </a:lnTo>
                  <a:lnTo>
                    <a:pt x="173" y="1"/>
                  </a:lnTo>
                  <a:lnTo>
                    <a:pt x="171" y="2"/>
                  </a:lnTo>
                  <a:lnTo>
                    <a:pt x="169" y="4"/>
                  </a:lnTo>
                  <a:lnTo>
                    <a:pt x="49" y="123"/>
                  </a:lnTo>
                  <a:lnTo>
                    <a:pt x="38" y="135"/>
                  </a:lnTo>
                  <a:lnTo>
                    <a:pt x="28" y="148"/>
                  </a:lnTo>
                  <a:lnTo>
                    <a:pt x="19" y="162"/>
                  </a:lnTo>
                  <a:lnTo>
                    <a:pt x="13" y="175"/>
                  </a:lnTo>
                  <a:lnTo>
                    <a:pt x="8" y="189"/>
                  </a:lnTo>
                  <a:lnTo>
                    <a:pt x="3" y="203"/>
                  </a:lnTo>
                  <a:lnTo>
                    <a:pt x="1" y="217"/>
                  </a:lnTo>
                  <a:lnTo>
                    <a:pt x="0" y="231"/>
                  </a:lnTo>
                  <a:lnTo>
                    <a:pt x="1" y="244"/>
                  </a:lnTo>
                  <a:lnTo>
                    <a:pt x="3" y="258"/>
                  </a:lnTo>
                  <a:lnTo>
                    <a:pt x="8" y="272"/>
                  </a:lnTo>
                  <a:lnTo>
                    <a:pt x="13" y="286"/>
                  </a:lnTo>
                  <a:lnTo>
                    <a:pt x="19" y="300"/>
                  </a:lnTo>
                  <a:lnTo>
                    <a:pt x="28" y="313"/>
                  </a:lnTo>
                  <a:lnTo>
                    <a:pt x="38" y="326"/>
                  </a:lnTo>
                  <a:lnTo>
                    <a:pt x="49" y="339"/>
                  </a:lnTo>
                  <a:lnTo>
                    <a:pt x="79" y="369"/>
                  </a:lnTo>
                  <a:lnTo>
                    <a:pt x="92" y="380"/>
                  </a:lnTo>
                  <a:lnTo>
                    <a:pt x="105" y="390"/>
                  </a:lnTo>
                  <a:lnTo>
                    <a:pt x="118" y="398"/>
                  </a:lnTo>
                  <a:lnTo>
                    <a:pt x="132" y="405"/>
                  </a:lnTo>
                  <a:lnTo>
                    <a:pt x="144" y="410"/>
                  </a:lnTo>
                  <a:lnTo>
                    <a:pt x="158" y="415"/>
                  </a:lnTo>
                  <a:lnTo>
                    <a:pt x="172" y="417"/>
                  </a:lnTo>
                  <a:lnTo>
                    <a:pt x="187" y="418"/>
                  </a:lnTo>
                  <a:lnTo>
                    <a:pt x="201" y="417"/>
                  </a:lnTo>
                  <a:lnTo>
                    <a:pt x="215" y="415"/>
                  </a:lnTo>
                  <a:lnTo>
                    <a:pt x="229" y="410"/>
                  </a:lnTo>
                  <a:lnTo>
                    <a:pt x="243" y="405"/>
                  </a:lnTo>
                  <a:lnTo>
                    <a:pt x="256" y="398"/>
                  </a:lnTo>
                  <a:lnTo>
                    <a:pt x="270" y="390"/>
                  </a:lnTo>
                  <a:lnTo>
                    <a:pt x="282" y="380"/>
                  </a:lnTo>
                  <a:lnTo>
                    <a:pt x="294" y="369"/>
                  </a:lnTo>
                  <a:lnTo>
                    <a:pt x="414" y="249"/>
                  </a:lnTo>
                  <a:lnTo>
                    <a:pt x="416" y="247"/>
                  </a:lnTo>
                  <a:lnTo>
                    <a:pt x="417" y="243"/>
                  </a:lnTo>
                  <a:lnTo>
                    <a:pt x="418" y="241"/>
                  </a:lnTo>
                  <a:lnTo>
                    <a:pt x="418" y="238"/>
                  </a:lnTo>
                  <a:lnTo>
                    <a:pt x="418" y="236"/>
                  </a:lnTo>
                  <a:lnTo>
                    <a:pt x="417" y="233"/>
                  </a:lnTo>
                  <a:lnTo>
                    <a:pt x="416" y="230"/>
                  </a:lnTo>
                  <a:lnTo>
                    <a:pt x="414" y="227"/>
                  </a:lnTo>
                  <a:lnTo>
                    <a:pt x="412" y="225"/>
                  </a:lnTo>
                  <a:lnTo>
                    <a:pt x="409" y="224"/>
                  </a:lnTo>
                  <a:lnTo>
                    <a:pt x="407" y="223"/>
                  </a:lnTo>
                  <a:lnTo>
                    <a:pt x="403" y="223"/>
                  </a:lnTo>
                  <a:lnTo>
                    <a:pt x="401" y="223"/>
                  </a:lnTo>
                  <a:lnTo>
                    <a:pt x="398" y="224"/>
                  </a:lnTo>
                  <a:lnTo>
                    <a:pt x="395" y="225"/>
                  </a:lnTo>
                  <a:lnTo>
                    <a:pt x="393"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38" name="Freeform 252">
              <a:extLst>
                <a:ext uri="{FF2B5EF4-FFF2-40B4-BE49-F238E27FC236}">
                  <a16:creationId xmlns:a16="http://schemas.microsoft.com/office/drawing/2014/main" id="{43093C84-6A53-46B2-88E3-DBEDCDD02B63}"/>
                </a:ext>
              </a:extLst>
            </p:cNvPr>
            <p:cNvSpPr>
              <a:spLocks/>
            </p:cNvSpPr>
            <p:nvPr/>
          </p:nvSpPr>
          <p:spPr bwMode="auto">
            <a:xfrm>
              <a:off x="6651625" y="2562226"/>
              <a:ext cx="104775" cy="123825"/>
            </a:xfrm>
            <a:custGeom>
              <a:avLst/>
              <a:gdLst>
                <a:gd name="T0" fmla="*/ 15 w 328"/>
                <a:gd name="T1" fmla="*/ 0 h 388"/>
                <a:gd name="T2" fmla="*/ 9 w 328"/>
                <a:gd name="T3" fmla="*/ 1 h 388"/>
                <a:gd name="T4" fmla="*/ 4 w 328"/>
                <a:gd name="T5" fmla="*/ 4 h 388"/>
                <a:gd name="T6" fmla="*/ 1 w 328"/>
                <a:gd name="T7" fmla="*/ 10 h 388"/>
                <a:gd name="T8" fmla="*/ 0 w 328"/>
                <a:gd name="T9" fmla="*/ 15 h 388"/>
                <a:gd name="T10" fmla="*/ 1 w 328"/>
                <a:gd name="T11" fmla="*/ 20 h 388"/>
                <a:gd name="T12" fmla="*/ 4 w 328"/>
                <a:gd name="T13" fmla="*/ 26 h 388"/>
                <a:gd name="T14" fmla="*/ 9 w 328"/>
                <a:gd name="T15" fmla="*/ 29 h 388"/>
                <a:gd name="T16" fmla="*/ 15 w 328"/>
                <a:gd name="T17" fmla="*/ 30 h 388"/>
                <a:gd name="T18" fmla="*/ 190 w 328"/>
                <a:gd name="T19" fmla="*/ 31 h 388"/>
                <a:gd name="T20" fmla="*/ 213 w 328"/>
                <a:gd name="T21" fmla="*/ 36 h 388"/>
                <a:gd name="T22" fmla="*/ 234 w 328"/>
                <a:gd name="T23" fmla="*/ 47 h 388"/>
                <a:gd name="T24" fmla="*/ 254 w 328"/>
                <a:gd name="T25" fmla="*/ 62 h 388"/>
                <a:gd name="T26" fmla="*/ 270 w 328"/>
                <a:gd name="T27" fmla="*/ 80 h 388"/>
                <a:gd name="T28" fmla="*/ 284 w 328"/>
                <a:gd name="T29" fmla="*/ 102 h 388"/>
                <a:gd name="T30" fmla="*/ 293 w 328"/>
                <a:gd name="T31" fmla="*/ 125 h 388"/>
                <a:gd name="T32" fmla="*/ 299 w 328"/>
                <a:gd name="T33" fmla="*/ 151 h 388"/>
                <a:gd name="T34" fmla="*/ 299 w 328"/>
                <a:gd name="T35" fmla="*/ 240 h 388"/>
                <a:gd name="T36" fmla="*/ 296 w 328"/>
                <a:gd name="T37" fmla="*/ 263 h 388"/>
                <a:gd name="T38" fmla="*/ 289 w 328"/>
                <a:gd name="T39" fmla="*/ 286 h 388"/>
                <a:gd name="T40" fmla="*/ 278 w 328"/>
                <a:gd name="T41" fmla="*/ 306 h 388"/>
                <a:gd name="T42" fmla="*/ 263 w 328"/>
                <a:gd name="T43" fmla="*/ 323 h 388"/>
                <a:gd name="T44" fmla="*/ 245 w 328"/>
                <a:gd name="T45" fmla="*/ 338 h 388"/>
                <a:gd name="T46" fmla="*/ 226 w 328"/>
                <a:gd name="T47" fmla="*/ 349 h 388"/>
                <a:gd name="T48" fmla="*/ 203 w 328"/>
                <a:gd name="T49" fmla="*/ 356 h 388"/>
                <a:gd name="T50" fmla="*/ 180 w 328"/>
                <a:gd name="T51" fmla="*/ 358 h 388"/>
                <a:gd name="T52" fmla="*/ 12 w 328"/>
                <a:gd name="T53" fmla="*/ 359 h 388"/>
                <a:gd name="T54" fmla="*/ 7 w 328"/>
                <a:gd name="T55" fmla="*/ 361 h 388"/>
                <a:gd name="T56" fmla="*/ 2 w 328"/>
                <a:gd name="T57" fmla="*/ 365 h 388"/>
                <a:gd name="T58" fmla="*/ 0 w 328"/>
                <a:gd name="T59" fmla="*/ 370 h 388"/>
                <a:gd name="T60" fmla="*/ 0 w 328"/>
                <a:gd name="T61" fmla="*/ 376 h 388"/>
                <a:gd name="T62" fmla="*/ 2 w 328"/>
                <a:gd name="T63" fmla="*/ 382 h 388"/>
                <a:gd name="T64" fmla="*/ 7 w 328"/>
                <a:gd name="T65" fmla="*/ 386 h 388"/>
                <a:gd name="T66" fmla="*/ 12 w 328"/>
                <a:gd name="T67" fmla="*/ 388 h 388"/>
                <a:gd name="T68" fmla="*/ 180 w 328"/>
                <a:gd name="T69" fmla="*/ 388 h 388"/>
                <a:gd name="T70" fmla="*/ 209 w 328"/>
                <a:gd name="T71" fmla="*/ 385 h 388"/>
                <a:gd name="T72" fmla="*/ 236 w 328"/>
                <a:gd name="T73" fmla="*/ 376 h 388"/>
                <a:gd name="T74" fmla="*/ 262 w 328"/>
                <a:gd name="T75" fmla="*/ 363 h 388"/>
                <a:gd name="T76" fmla="*/ 285 w 328"/>
                <a:gd name="T77" fmla="*/ 344 h 388"/>
                <a:gd name="T78" fmla="*/ 303 w 328"/>
                <a:gd name="T79" fmla="*/ 322 h 388"/>
                <a:gd name="T80" fmla="*/ 317 w 328"/>
                <a:gd name="T81" fmla="*/ 296 h 388"/>
                <a:gd name="T82" fmla="*/ 325 w 328"/>
                <a:gd name="T83" fmla="*/ 268 h 388"/>
                <a:gd name="T84" fmla="*/ 328 w 328"/>
                <a:gd name="T85" fmla="*/ 240 h 388"/>
                <a:gd name="T86" fmla="*/ 327 w 328"/>
                <a:gd name="T87" fmla="*/ 148 h 388"/>
                <a:gd name="T88" fmla="*/ 321 w 328"/>
                <a:gd name="T89" fmla="*/ 118 h 388"/>
                <a:gd name="T90" fmla="*/ 309 w 328"/>
                <a:gd name="T91" fmla="*/ 89 h 388"/>
                <a:gd name="T92" fmla="*/ 293 w 328"/>
                <a:gd name="T93" fmla="*/ 62 h 388"/>
                <a:gd name="T94" fmla="*/ 272 w 328"/>
                <a:gd name="T95" fmla="*/ 40 h 388"/>
                <a:gd name="T96" fmla="*/ 248 w 328"/>
                <a:gd name="T97" fmla="*/ 21 h 388"/>
                <a:gd name="T98" fmla="*/ 222 w 328"/>
                <a:gd name="T99" fmla="*/ 8 h 388"/>
                <a:gd name="T100" fmla="*/ 194 w 328"/>
                <a:gd name="T101" fmla="*/ 1 h 388"/>
                <a:gd name="T102" fmla="*/ 180 w 328"/>
                <a:gd name="T103"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 h="388">
                  <a:moveTo>
                    <a:pt x="180" y="0"/>
                  </a:moveTo>
                  <a:lnTo>
                    <a:pt x="15" y="0"/>
                  </a:lnTo>
                  <a:lnTo>
                    <a:pt x="12" y="0"/>
                  </a:lnTo>
                  <a:lnTo>
                    <a:pt x="9" y="1"/>
                  </a:lnTo>
                  <a:lnTo>
                    <a:pt x="7" y="2"/>
                  </a:lnTo>
                  <a:lnTo>
                    <a:pt x="4" y="4"/>
                  </a:lnTo>
                  <a:lnTo>
                    <a:pt x="2" y="6"/>
                  </a:lnTo>
                  <a:lnTo>
                    <a:pt x="1" y="10"/>
                  </a:lnTo>
                  <a:lnTo>
                    <a:pt x="0" y="12"/>
                  </a:lnTo>
                  <a:lnTo>
                    <a:pt x="0" y="15"/>
                  </a:lnTo>
                  <a:lnTo>
                    <a:pt x="0" y="18"/>
                  </a:lnTo>
                  <a:lnTo>
                    <a:pt x="1" y="20"/>
                  </a:lnTo>
                  <a:lnTo>
                    <a:pt x="2" y="24"/>
                  </a:lnTo>
                  <a:lnTo>
                    <a:pt x="4" y="26"/>
                  </a:lnTo>
                  <a:lnTo>
                    <a:pt x="7" y="28"/>
                  </a:lnTo>
                  <a:lnTo>
                    <a:pt x="9" y="29"/>
                  </a:lnTo>
                  <a:lnTo>
                    <a:pt x="12" y="30"/>
                  </a:lnTo>
                  <a:lnTo>
                    <a:pt x="15" y="30"/>
                  </a:lnTo>
                  <a:lnTo>
                    <a:pt x="180" y="30"/>
                  </a:lnTo>
                  <a:lnTo>
                    <a:pt x="190" y="31"/>
                  </a:lnTo>
                  <a:lnTo>
                    <a:pt x="202" y="33"/>
                  </a:lnTo>
                  <a:lnTo>
                    <a:pt x="213" y="36"/>
                  </a:lnTo>
                  <a:lnTo>
                    <a:pt x="224" y="41"/>
                  </a:lnTo>
                  <a:lnTo>
                    <a:pt x="234" y="47"/>
                  </a:lnTo>
                  <a:lnTo>
                    <a:pt x="244" y="54"/>
                  </a:lnTo>
                  <a:lnTo>
                    <a:pt x="254" y="62"/>
                  </a:lnTo>
                  <a:lnTo>
                    <a:pt x="262" y="71"/>
                  </a:lnTo>
                  <a:lnTo>
                    <a:pt x="270" y="80"/>
                  </a:lnTo>
                  <a:lnTo>
                    <a:pt x="277" y="91"/>
                  </a:lnTo>
                  <a:lnTo>
                    <a:pt x="284" y="102"/>
                  </a:lnTo>
                  <a:lnTo>
                    <a:pt x="289" y="113"/>
                  </a:lnTo>
                  <a:lnTo>
                    <a:pt x="293" y="125"/>
                  </a:lnTo>
                  <a:lnTo>
                    <a:pt x="296" y="138"/>
                  </a:lnTo>
                  <a:lnTo>
                    <a:pt x="299" y="151"/>
                  </a:lnTo>
                  <a:lnTo>
                    <a:pt x="299" y="164"/>
                  </a:lnTo>
                  <a:lnTo>
                    <a:pt x="299" y="240"/>
                  </a:lnTo>
                  <a:lnTo>
                    <a:pt x="299" y="251"/>
                  </a:lnTo>
                  <a:lnTo>
                    <a:pt x="296" y="263"/>
                  </a:lnTo>
                  <a:lnTo>
                    <a:pt x="293" y="274"/>
                  </a:lnTo>
                  <a:lnTo>
                    <a:pt x="289" y="286"/>
                  </a:lnTo>
                  <a:lnTo>
                    <a:pt x="285" y="295"/>
                  </a:lnTo>
                  <a:lnTo>
                    <a:pt x="278" y="306"/>
                  </a:lnTo>
                  <a:lnTo>
                    <a:pt x="271" y="314"/>
                  </a:lnTo>
                  <a:lnTo>
                    <a:pt x="263" y="323"/>
                  </a:lnTo>
                  <a:lnTo>
                    <a:pt x="255" y="330"/>
                  </a:lnTo>
                  <a:lnTo>
                    <a:pt x="245" y="338"/>
                  </a:lnTo>
                  <a:lnTo>
                    <a:pt x="235" y="344"/>
                  </a:lnTo>
                  <a:lnTo>
                    <a:pt x="226" y="349"/>
                  </a:lnTo>
                  <a:lnTo>
                    <a:pt x="214" y="353"/>
                  </a:lnTo>
                  <a:lnTo>
                    <a:pt x="203" y="356"/>
                  </a:lnTo>
                  <a:lnTo>
                    <a:pt x="192" y="358"/>
                  </a:lnTo>
                  <a:lnTo>
                    <a:pt x="180" y="358"/>
                  </a:lnTo>
                  <a:lnTo>
                    <a:pt x="15" y="358"/>
                  </a:lnTo>
                  <a:lnTo>
                    <a:pt x="12" y="359"/>
                  </a:lnTo>
                  <a:lnTo>
                    <a:pt x="9" y="359"/>
                  </a:lnTo>
                  <a:lnTo>
                    <a:pt x="7" y="361"/>
                  </a:lnTo>
                  <a:lnTo>
                    <a:pt x="4" y="363"/>
                  </a:lnTo>
                  <a:lnTo>
                    <a:pt x="2" y="365"/>
                  </a:lnTo>
                  <a:lnTo>
                    <a:pt x="1" y="368"/>
                  </a:lnTo>
                  <a:lnTo>
                    <a:pt x="0" y="370"/>
                  </a:lnTo>
                  <a:lnTo>
                    <a:pt x="0" y="373"/>
                  </a:lnTo>
                  <a:lnTo>
                    <a:pt x="0" y="376"/>
                  </a:lnTo>
                  <a:lnTo>
                    <a:pt x="1" y="380"/>
                  </a:lnTo>
                  <a:lnTo>
                    <a:pt x="2" y="382"/>
                  </a:lnTo>
                  <a:lnTo>
                    <a:pt x="4" y="384"/>
                  </a:lnTo>
                  <a:lnTo>
                    <a:pt x="7" y="386"/>
                  </a:lnTo>
                  <a:lnTo>
                    <a:pt x="9" y="387"/>
                  </a:lnTo>
                  <a:lnTo>
                    <a:pt x="12" y="388"/>
                  </a:lnTo>
                  <a:lnTo>
                    <a:pt x="15" y="388"/>
                  </a:lnTo>
                  <a:lnTo>
                    <a:pt x="180" y="388"/>
                  </a:lnTo>
                  <a:lnTo>
                    <a:pt x="195" y="387"/>
                  </a:lnTo>
                  <a:lnTo>
                    <a:pt x="209" y="385"/>
                  </a:lnTo>
                  <a:lnTo>
                    <a:pt x="224" y="382"/>
                  </a:lnTo>
                  <a:lnTo>
                    <a:pt x="236" y="376"/>
                  </a:lnTo>
                  <a:lnTo>
                    <a:pt x="249" y="370"/>
                  </a:lnTo>
                  <a:lnTo>
                    <a:pt x="262" y="363"/>
                  </a:lnTo>
                  <a:lnTo>
                    <a:pt x="274" y="354"/>
                  </a:lnTo>
                  <a:lnTo>
                    <a:pt x="285" y="344"/>
                  </a:lnTo>
                  <a:lnTo>
                    <a:pt x="294" y="334"/>
                  </a:lnTo>
                  <a:lnTo>
                    <a:pt x="303" y="322"/>
                  </a:lnTo>
                  <a:lnTo>
                    <a:pt x="310" y="310"/>
                  </a:lnTo>
                  <a:lnTo>
                    <a:pt x="317" y="296"/>
                  </a:lnTo>
                  <a:lnTo>
                    <a:pt x="322" y="283"/>
                  </a:lnTo>
                  <a:lnTo>
                    <a:pt x="325" y="268"/>
                  </a:lnTo>
                  <a:lnTo>
                    <a:pt x="327" y="255"/>
                  </a:lnTo>
                  <a:lnTo>
                    <a:pt x="328" y="240"/>
                  </a:lnTo>
                  <a:lnTo>
                    <a:pt x="328" y="164"/>
                  </a:lnTo>
                  <a:lnTo>
                    <a:pt x="327" y="148"/>
                  </a:lnTo>
                  <a:lnTo>
                    <a:pt x="325" y="133"/>
                  </a:lnTo>
                  <a:lnTo>
                    <a:pt x="321" y="118"/>
                  </a:lnTo>
                  <a:lnTo>
                    <a:pt x="316" y="103"/>
                  </a:lnTo>
                  <a:lnTo>
                    <a:pt x="309" y="89"/>
                  </a:lnTo>
                  <a:lnTo>
                    <a:pt x="302" y="75"/>
                  </a:lnTo>
                  <a:lnTo>
                    <a:pt x="293" y="62"/>
                  </a:lnTo>
                  <a:lnTo>
                    <a:pt x="282" y="50"/>
                  </a:lnTo>
                  <a:lnTo>
                    <a:pt x="272" y="40"/>
                  </a:lnTo>
                  <a:lnTo>
                    <a:pt x="260" y="30"/>
                  </a:lnTo>
                  <a:lnTo>
                    <a:pt x="248" y="21"/>
                  </a:lnTo>
                  <a:lnTo>
                    <a:pt x="235" y="14"/>
                  </a:lnTo>
                  <a:lnTo>
                    <a:pt x="222" y="8"/>
                  </a:lnTo>
                  <a:lnTo>
                    <a:pt x="208" y="3"/>
                  </a:lnTo>
                  <a:lnTo>
                    <a:pt x="194" y="1"/>
                  </a:lnTo>
                  <a:lnTo>
                    <a:pt x="180" y="0"/>
                  </a:ln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45" name="Gruppieren 644">
            <a:extLst>
              <a:ext uri="{FF2B5EF4-FFF2-40B4-BE49-F238E27FC236}">
                <a16:creationId xmlns:a16="http://schemas.microsoft.com/office/drawing/2014/main" id="{F4047666-2639-4EBA-9E69-B81D2AD2DC9F}"/>
              </a:ext>
            </a:extLst>
          </p:cNvPr>
          <p:cNvGrpSpPr>
            <a:grpSpLocks noChangeAspect="1"/>
          </p:cNvGrpSpPr>
          <p:nvPr/>
        </p:nvGrpSpPr>
        <p:grpSpPr>
          <a:xfrm>
            <a:off x="3657290" y="3339586"/>
            <a:ext cx="308350" cy="154175"/>
            <a:chOff x="4146137" y="2411021"/>
            <a:chExt cx="476250" cy="238125"/>
          </a:xfrm>
          <a:solidFill>
            <a:schemeClr val="bg1"/>
          </a:solidFill>
          <a:effectLst/>
        </p:grpSpPr>
        <p:sp>
          <p:nvSpPr>
            <p:cNvPr id="646" name="Freeform 5">
              <a:extLst>
                <a:ext uri="{FF2B5EF4-FFF2-40B4-BE49-F238E27FC236}">
                  <a16:creationId xmlns:a16="http://schemas.microsoft.com/office/drawing/2014/main" id="{43B58E86-E514-4745-B921-9D86009F9FA2}"/>
                </a:ext>
              </a:extLst>
            </p:cNvPr>
            <p:cNvSpPr>
              <a:spLocks noEditPoints="1"/>
            </p:cNvSpPr>
            <p:nvPr/>
          </p:nvSpPr>
          <p:spPr bwMode="auto">
            <a:xfrm>
              <a:off x="4146137" y="2411021"/>
              <a:ext cx="476250" cy="238125"/>
            </a:xfrm>
            <a:custGeom>
              <a:avLst/>
              <a:gdLst>
                <a:gd name="T0" fmla="*/ 47 w 1198"/>
                <a:gd name="T1" fmla="*/ 552 h 599"/>
                <a:gd name="T2" fmla="*/ 1152 w 1198"/>
                <a:gd name="T3" fmla="*/ 552 h 599"/>
                <a:gd name="T4" fmla="*/ 1152 w 1198"/>
                <a:gd name="T5" fmla="*/ 46 h 599"/>
                <a:gd name="T6" fmla="*/ 47 w 1198"/>
                <a:gd name="T7" fmla="*/ 46 h 599"/>
                <a:gd name="T8" fmla="*/ 47 w 1198"/>
                <a:gd name="T9" fmla="*/ 552 h 599"/>
                <a:gd name="T10" fmla="*/ 1175 w 1198"/>
                <a:gd name="T11" fmla="*/ 599 h 599"/>
                <a:gd name="T12" fmla="*/ 23 w 1198"/>
                <a:gd name="T13" fmla="*/ 599 h 599"/>
                <a:gd name="T14" fmla="*/ 18 w 1198"/>
                <a:gd name="T15" fmla="*/ 599 h 599"/>
                <a:gd name="T16" fmla="*/ 13 w 1198"/>
                <a:gd name="T17" fmla="*/ 597 h 599"/>
                <a:gd name="T18" fmla="*/ 10 w 1198"/>
                <a:gd name="T19" fmla="*/ 595 h 599"/>
                <a:gd name="T20" fmla="*/ 7 w 1198"/>
                <a:gd name="T21" fmla="*/ 592 h 599"/>
                <a:gd name="T22" fmla="*/ 4 w 1198"/>
                <a:gd name="T23" fmla="*/ 589 h 599"/>
                <a:gd name="T24" fmla="*/ 1 w 1198"/>
                <a:gd name="T25" fmla="*/ 584 h 599"/>
                <a:gd name="T26" fmla="*/ 0 w 1198"/>
                <a:gd name="T27" fmla="*/ 581 h 599"/>
                <a:gd name="T28" fmla="*/ 0 w 1198"/>
                <a:gd name="T29" fmla="*/ 576 h 599"/>
                <a:gd name="T30" fmla="*/ 0 w 1198"/>
                <a:gd name="T31" fmla="*/ 23 h 599"/>
                <a:gd name="T32" fmla="*/ 0 w 1198"/>
                <a:gd name="T33" fmla="*/ 19 h 599"/>
                <a:gd name="T34" fmla="*/ 1 w 1198"/>
                <a:gd name="T35" fmla="*/ 14 h 599"/>
                <a:gd name="T36" fmla="*/ 4 w 1198"/>
                <a:gd name="T37" fmla="*/ 10 h 599"/>
                <a:gd name="T38" fmla="*/ 7 w 1198"/>
                <a:gd name="T39" fmla="*/ 7 h 599"/>
                <a:gd name="T40" fmla="*/ 10 w 1198"/>
                <a:gd name="T41" fmla="*/ 4 h 599"/>
                <a:gd name="T42" fmla="*/ 13 w 1198"/>
                <a:gd name="T43" fmla="*/ 2 h 599"/>
                <a:gd name="T44" fmla="*/ 18 w 1198"/>
                <a:gd name="T45" fmla="*/ 0 h 599"/>
                <a:gd name="T46" fmla="*/ 23 w 1198"/>
                <a:gd name="T47" fmla="*/ 0 h 599"/>
                <a:gd name="T48" fmla="*/ 1175 w 1198"/>
                <a:gd name="T49" fmla="*/ 0 h 599"/>
                <a:gd name="T50" fmla="*/ 1180 w 1198"/>
                <a:gd name="T51" fmla="*/ 0 h 599"/>
                <a:gd name="T52" fmla="*/ 1184 w 1198"/>
                <a:gd name="T53" fmla="*/ 2 h 599"/>
                <a:gd name="T54" fmla="*/ 1187 w 1198"/>
                <a:gd name="T55" fmla="*/ 4 h 599"/>
                <a:gd name="T56" fmla="*/ 1191 w 1198"/>
                <a:gd name="T57" fmla="*/ 7 h 599"/>
                <a:gd name="T58" fmla="*/ 1193 w 1198"/>
                <a:gd name="T59" fmla="*/ 10 h 599"/>
                <a:gd name="T60" fmla="*/ 1196 w 1198"/>
                <a:gd name="T61" fmla="*/ 14 h 599"/>
                <a:gd name="T62" fmla="*/ 1197 w 1198"/>
                <a:gd name="T63" fmla="*/ 19 h 599"/>
                <a:gd name="T64" fmla="*/ 1198 w 1198"/>
                <a:gd name="T65" fmla="*/ 23 h 599"/>
                <a:gd name="T66" fmla="*/ 1198 w 1198"/>
                <a:gd name="T67" fmla="*/ 576 h 599"/>
                <a:gd name="T68" fmla="*/ 1197 w 1198"/>
                <a:gd name="T69" fmla="*/ 581 h 599"/>
                <a:gd name="T70" fmla="*/ 1196 w 1198"/>
                <a:gd name="T71" fmla="*/ 584 h 599"/>
                <a:gd name="T72" fmla="*/ 1193 w 1198"/>
                <a:gd name="T73" fmla="*/ 589 h 599"/>
                <a:gd name="T74" fmla="*/ 1191 w 1198"/>
                <a:gd name="T75" fmla="*/ 592 h 599"/>
                <a:gd name="T76" fmla="*/ 1187 w 1198"/>
                <a:gd name="T77" fmla="*/ 595 h 599"/>
                <a:gd name="T78" fmla="*/ 1184 w 1198"/>
                <a:gd name="T79" fmla="*/ 597 h 599"/>
                <a:gd name="T80" fmla="*/ 1180 w 1198"/>
                <a:gd name="T81" fmla="*/ 599 h 599"/>
                <a:gd name="T82" fmla="*/ 1175 w 1198"/>
                <a:gd name="T83" fmla="*/ 599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8" h="599">
                  <a:moveTo>
                    <a:pt x="47" y="552"/>
                  </a:moveTo>
                  <a:lnTo>
                    <a:pt x="1152" y="552"/>
                  </a:lnTo>
                  <a:lnTo>
                    <a:pt x="1152" y="46"/>
                  </a:lnTo>
                  <a:lnTo>
                    <a:pt x="47" y="46"/>
                  </a:lnTo>
                  <a:lnTo>
                    <a:pt x="47" y="552"/>
                  </a:lnTo>
                  <a:close/>
                  <a:moveTo>
                    <a:pt x="1175" y="599"/>
                  </a:moveTo>
                  <a:lnTo>
                    <a:pt x="23" y="599"/>
                  </a:lnTo>
                  <a:lnTo>
                    <a:pt x="18" y="599"/>
                  </a:lnTo>
                  <a:lnTo>
                    <a:pt x="13" y="597"/>
                  </a:lnTo>
                  <a:lnTo>
                    <a:pt x="10" y="595"/>
                  </a:lnTo>
                  <a:lnTo>
                    <a:pt x="7" y="592"/>
                  </a:lnTo>
                  <a:lnTo>
                    <a:pt x="4" y="589"/>
                  </a:lnTo>
                  <a:lnTo>
                    <a:pt x="1" y="584"/>
                  </a:lnTo>
                  <a:lnTo>
                    <a:pt x="0" y="581"/>
                  </a:lnTo>
                  <a:lnTo>
                    <a:pt x="0" y="576"/>
                  </a:lnTo>
                  <a:lnTo>
                    <a:pt x="0" y="23"/>
                  </a:lnTo>
                  <a:lnTo>
                    <a:pt x="0" y="19"/>
                  </a:lnTo>
                  <a:lnTo>
                    <a:pt x="1" y="14"/>
                  </a:lnTo>
                  <a:lnTo>
                    <a:pt x="4" y="10"/>
                  </a:lnTo>
                  <a:lnTo>
                    <a:pt x="7" y="7"/>
                  </a:lnTo>
                  <a:lnTo>
                    <a:pt x="10" y="4"/>
                  </a:lnTo>
                  <a:lnTo>
                    <a:pt x="13" y="2"/>
                  </a:lnTo>
                  <a:lnTo>
                    <a:pt x="18" y="0"/>
                  </a:lnTo>
                  <a:lnTo>
                    <a:pt x="23" y="0"/>
                  </a:lnTo>
                  <a:lnTo>
                    <a:pt x="1175" y="0"/>
                  </a:lnTo>
                  <a:lnTo>
                    <a:pt x="1180" y="0"/>
                  </a:lnTo>
                  <a:lnTo>
                    <a:pt x="1184" y="2"/>
                  </a:lnTo>
                  <a:lnTo>
                    <a:pt x="1187" y="4"/>
                  </a:lnTo>
                  <a:lnTo>
                    <a:pt x="1191" y="7"/>
                  </a:lnTo>
                  <a:lnTo>
                    <a:pt x="1193" y="10"/>
                  </a:lnTo>
                  <a:lnTo>
                    <a:pt x="1196" y="14"/>
                  </a:lnTo>
                  <a:lnTo>
                    <a:pt x="1197" y="19"/>
                  </a:lnTo>
                  <a:lnTo>
                    <a:pt x="1198" y="23"/>
                  </a:lnTo>
                  <a:lnTo>
                    <a:pt x="1198" y="576"/>
                  </a:lnTo>
                  <a:lnTo>
                    <a:pt x="1197" y="581"/>
                  </a:lnTo>
                  <a:lnTo>
                    <a:pt x="1196" y="584"/>
                  </a:lnTo>
                  <a:lnTo>
                    <a:pt x="1193" y="589"/>
                  </a:lnTo>
                  <a:lnTo>
                    <a:pt x="1191" y="592"/>
                  </a:lnTo>
                  <a:lnTo>
                    <a:pt x="1187" y="595"/>
                  </a:lnTo>
                  <a:lnTo>
                    <a:pt x="1184" y="597"/>
                  </a:lnTo>
                  <a:lnTo>
                    <a:pt x="1180" y="599"/>
                  </a:lnTo>
                  <a:lnTo>
                    <a:pt x="1175" y="5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Freeform 86">
              <a:extLst>
                <a:ext uri="{FF2B5EF4-FFF2-40B4-BE49-F238E27FC236}">
                  <a16:creationId xmlns:a16="http://schemas.microsoft.com/office/drawing/2014/main" id="{273E7C50-8CA9-473F-853C-3AB68C41B9B1}"/>
                </a:ext>
              </a:extLst>
            </p:cNvPr>
            <p:cNvSpPr>
              <a:spLocks/>
            </p:cNvSpPr>
            <p:nvPr/>
          </p:nvSpPr>
          <p:spPr bwMode="auto">
            <a:xfrm>
              <a:off x="4365212" y="2423721"/>
              <a:ext cx="73025" cy="225425"/>
            </a:xfrm>
            <a:custGeom>
              <a:avLst/>
              <a:gdLst>
                <a:gd name="T0" fmla="*/ 20 w 183"/>
                <a:gd name="T1" fmla="*/ 567 h 568"/>
                <a:gd name="T2" fmla="*/ 11 w 183"/>
                <a:gd name="T3" fmla="*/ 564 h 568"/>
                <a:gd name="T4" fmla="*/ 5 w 183"/>
                <a:gd name="T5" fmla="*/ 558 h 568"/>
                <a:gd name="T6" fmla="*/ 1 w 183"/>
                <a:gd name="T7" fmla="*/ 550 h 568"/>
                <a:gd name="T8" fmla="*/ 1 w 183"/>
                <a:gd name="T9" fmla="*/ 317 h 568"/>
                <a:gd name="T10" fmla="*/ 5 w 183"/>
                <a:gd name="T11" fmla="*/ 303 h 568"/>
                <a:gd name="T12" fmla="*/ 16 w 183"/>
                <a:gd name="T13" fmla="*/ 294 h 568"/>
                <a:gd name="T14" fmla="*/ 30 w 183"/>
                <a:gd name="T15" fmla="*/ 294 h 568"/>
                <a:gd name="T16" fmla="*/ 41 w 183"/>
                <a:gd name="T17" fmla="*/ 301 h 568"/>
                <a:gd name="T18" fmla="*/ 59 w 183"/>
                <a:gd name="T19" fmla="*/ 313 h 568"/>
                <a:gd name="T20" fmla="*/ 80 w 183"/>
                <a:gd name="T21" fmla="*/ 318 h 568"/>
                <a:gd name="T22" fmla="*/ 102 w 183"/>
                <a:gd name="T23" fmla="*/ 314 h 568"/>
                <a:gd name="T24" fmla="*/ 120 w 183"/>
                <a:gd name="T25" fmla="*/ 302 h 568"/>
                <a:gd name="T26" fmla="*/ 133 w 183"/>
                <a:gd name="T27" fmla="*/ 285 h 568"/>
                <a:gd name="T28" fmla="*/ 136 w 183"/>
                <a:gd name="T29" fmla="*/ 264 h 568"/>
                <a:gd name="T30" fmla="*/ 133 w 183"/>
                <a:gd name="T31" fmla="*/ 242 h 568"/>
                <a:gd name="T32" fmla="*/ 120 w 183"/>
                <a:gd name="T33" fmla="*/ 225 h 568"/>
                <a:gd name="T34" fmla="*/ 102 w 183"/>
                <a:gd name="T35" fmla="*/ 212 h 568"/>
                <a:gd name="T36" fmla="*/ 81 w 183"/>
                <a:gd name="T37" fmla="*/ 209 h 568"/>
                <a:gd name="T38" fmla="*/ 81 w 183"/>
                <a:gd name="T39" fmla="*/ 209 h 568"/>
                <a:gd name="T40" fmla="*/ 59 w 183"/>
                <a:gd name="T41" fmla="*/ 214 h 568"/>
                <a:gd name="T42" fmla="*/ 41 w 183"/>
                <a:gd name="T43" fmla="*/ 227 h 568"/>
                <a:gd name="T44" fmla="*/ 28 w 183"/>
                <a:gd name="T45" fmla="*/ 233 h 568"/>
                <a:gd name="T46" fmla="*/ 15 w 183"/>
                <a:gd name="T47" fmla="*/ 233 h 568"/>
                <a:gd name="T48" fmla="*/ 4 w 183"/>
                <a:gd name="T49" fmla="*/ 225 h 568"/>
                <a:gd name="T50" fmla="*/ 0 w 183"/>
                <a:gd name="T51" fmla="*/ 211 h 568"/>
                <a:gd name="T52" fmla="*/ 0 w 183"/>
                <a:gd name="T53" fmla="*/ 18 h 568"/>
                <a:gd name="T54" fmla="*/ 4 w 183"/>
                <a:gd name="T55" fmla="*/ 10 h 568"/>
                <a:gd name="T56" fmla="*/ 10 w 183"/>
                <a:gd name="T57" fmla="*/ 4 h 568"/>
                <a:gd name="T58" fmla="*/ 19 w 183"/>
                <a:gd name="T59" fmla="*/ 0 h 568"/>
                <a:gd name="T60" fmla="*/ 27 w 183"/>
                <a:gd name="T61" fmla="*/ 0 h 568"/>
                <a:gd name="T62" fmla="*/ 36 w 183"/>
                <a:gd name="T63" fmla="*/ 4 h 568"/>
                <a:gd name="T64" fmla="*/ 42 w 183"/>
                <a:gd name="T65" fmla="*/ 10 h 568"/>
                <a:gd name="T66" fmla="*/ 46 w 183"/>
                <a:gd name="T67" fmla="*/ 18 h 568"/>
                <a:gd name="T68" fmla="*/ 46 w 183"/>
                <a:gd name="T69" fmla="*/ 168 h 568"/>
                <a:gd name="T70" fmla="*/ 63 w 183"/>
                <a:gd name="T71" fmla="*/ 163 h 568"/>
                <a:gd name="T72" fmla="*/ 81 w 183"/>
                <a:gd name="T73" fmla="*/ 162 h 568"/>
                <a:gd name="T74" fmla="*/ 81 w 183"/>
                <a:gd name="T75" fmla="*/ 162 h 568"/>
                <a:gd name="T76" fmla="*/ 101 w 183"/>
                <a:gd name="T77" fmla="*/ 164 h 568"/>
                <a:gd name="T78" fmla="*/ 120 w 183"/>
                <a:gd name="T79" fmla="*/ 169 h 568"/>
                <a:gd name="T80" fmla="*/ 138 w 183"/>
                <a:gd name="T81" fmla="*/ 179 h 568"/>
                <a:gd name="T82" fmla="*/ 153 w 183"/>
                <a:gd name="T83" fmla="*/ 191 h 568"/>
                <a:gd name="T84" fmla="*/ 166 w 183"/>
                <a:gd name="T85" fmla="*/ 207 h 568"/>
                <a:gd name="T86" fmla="*/ 176 w 183"/>
                <a:gd name="T87" fmla="*/ 225 h 568"/>
                <a:gd name="T88" fmla="*/ 180 w 183"/>
                <a:gd name="T89" fmla="*/ 243 h 568"/>
                <a:gd name="T90" fmla="*/ 183 w 183"/>
                <a:gd name="T91" fmla="*/ 264 h 568"/>
                <a:gd name="T92" fmla="*/ 180 w 183"/>
                <a:gd name="T93" fmla="*/ 283 h 568"/>
                <a:gd name="T94" fmla="*/ 176 w 183"/>
                <a:gd name="T95" fmla="*/ 302 h 568"/>
                <a:gd name="T96" fmla="*/ 166 w 183"/>
                <a:gd name="T97" fmla="*/ 319 h 568"/>
                <a:gd name="T98" fmla="*/ 153 w 183"/>
                <a:gd name="T99" fmla="*/ 335 h 568"/>
                <a:gd name="T100" fmla="*/ 130 w 183"/>
                <a:gd name="T101" fmla="*/ 352 h 568"/>
                <a:gd name="T102" fmla="*/ 103 w 183"/>
                <a:gd name="T103" fmla="*/ 362 h 568"/>
                <a:gd name="T104" fmla="*/ 75 w 183"/>
                <a:gd name="T105" fmla="*/ 364 h 568"/>
                <a:gd name="T106" fmla="*/ 47 w 183"/>
                <a:gd name="T107" fmla="*/ 358 h 568"/>
                <a:gd name="T108" fmla="*/ 47 w 183"/>
                <a:gd name="T109" fmla="*/ 550 h 568"/>
                <a:gd name="T110" fmla="*/ 43 w 183"/>
                <a:gd name="T111" fmla="*/ 558 h 568"/>
                <a:gd name="T112" fmla="*/ 37 w 183"/>
                <a:gd name="T113" fmla="*/ 564 h 568"/>
                <a:gd name="T114" fmla="*/ 28 w 183"/>
                <a:gd name="T115" fmla="*/ 56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3" h="568">
                  <a:moveTo>
                    <a:pt x="23" y="568"/>
                  </a:moveTo>
                  <a:lnTo>
                    <a:pt x="20" y="567"/>
                  </a:lnTo>
                  <a:lnTo>
                    <a:pt x="15" y="566"/>
                  </a:lnTo>
                  <a:lnTo>
                    <a:pt x="11" y="564"/>
                  </a:lnTo>
                  <a:lnTo>
                    <a:pt x="8" y="561"/>
                  </a:lnTo>
                  <a:lnTo>
                    <a:pt x="5" y="558"/>
                  </a:lnTo>
                  <a:lnTo>
                    <a:pt x="3" y="553"/>
                  </a:lnTo>
                  <a:lnTo>
                    <a:pt x="1" y="550"/>
                  </a:lnTo>
                  <a:lnTo>
                    <a:pt x="1" y="545"/>
                  </a:lnTo>
                  <a:lnTo>
                    <a:pt x="1" y="317"/>
                  </a:lnTo>
                  <a:lnTo>
                    <a:pt x="1" y="309"/>
                  </a:lnTo>
                  <a:lnTo>
                    <a:pt x="5" y="303"/>
                  </a:lnTo>
                  <a:lnTo>
                    <a:pt x="10" y="298"/>
                  </a:lnTo>
                  <a:lnTo>
                    <a:pt x="16" y="294"/>
                  </a:lnTo>
                  <a:lnTo>
                    <a:pt x="22" y="293"/>
                  </a:lnTo>
                  <a:lnTo>
                    <a:pt x="30" y="294"/>
                  </a:lnTo>
                  <a:lnTo>
                    <a:pt x="36" y="297"/>
                  </a:lnTo>
                  <a:lnTo>
                    <a:pt x="41" y="301"/>
                  </a:lnTo>
                  <a:lnTo>
                    <a:pt x="49" y="308"/>
                  </a:lnTo>
                  <a:lnTo>
                    <a:pt x="59" y="313"/>
                  </a:lnTo>
                  <a:lnTo>
                    <a:pt x="69" y="317"/>
                  </a:lnTo>
                  <a:lnTo>
                    <a:pt x="80" y="318"/>
                  </a:lnTo>
                  <a:lnTo>
                    <a:pt x="91" y="317"/>
                  </a:lnTo>
                  <a:lnTo>
                    <a:pt x="102" y="314"/>
                  </a:lnTo>
                  <a:lnTo>
                    <a:pt x="112" y="309"/>
                  </a:lnTo>
                  <a:lnTo>
                    <a:pt x="120" y="302"/>
                  </a:lnTo>
                  <a:lnTo>
                    <a:pt x="128" y="294"/>
                  </a:lnTo>
                  <a:lnTo>
                    <a:pt x="133" y="285"/>
                  </a:lnTo>
                  <a:lnTo>
                    <a:pt x="135" y="274"/>
                  </a:lnTo>
                  <a:lnTo>
                    <a:pt x="136" y="264"/>
                  </a:lnTo>
                  <a:lnTo>
                    <a:pt x="135" y="253"/>
                  </a:lnTo>
                  <a:lnTo>
                    <a:pt x="133" y="242"/>
                  </a:lnTo>
                  <a:lnTo>
                    <a:pt x="128" y="233"/>
                  </a:lnTo>
                  <a:lnTo>
                    <a:pt x="120" y="225"/>
                  </a:lnTo>
                  <a:lnTo>
                    <a:pt x="112" y="217"/>
                  </a:lnTo>
                  <a:lnTo>
                    <a:pt x="102" y="212"/>
                  </a:lnTo>
                  <a:lnTo>
                    <a:pt x="92" y="210"/>
                  </a:lnTo>
                  <a:lnTo>
                    <a:pt x="81" y="209"/>
                  </a:lnTo>
                  <a:lnTo>
                    <a:pt x="81" y="209"/>
                  </a:lnTo>
                  <a:lnTo>
                    <a:pt x="81" y="209"/>
                  </a:lnTo>
                  <a:lnTo>
                    <a:pt x="70" y="210"/>
                  </a:lnTo>
                  <a:lnTo>
                    <a:pt x="59" y="214"/>
                  </a:lnTo>
                  <a:lnTo>
                    <a:pt x="49" y="218"/>
                  </a:lnTo>
                  <a:lnTo>
                    <a:pt x="41" y="227"/>
                  </a:lnTo>
                  <a:lnTo>
                    <a:pt x="34" y="231"/>
                  </a:lnTo>
                  <a:lnTo>
                    <a:pt x="28" y="233"/>
                  </a:lnTo>
                  <a:lnTo>
                    <a:pt x="21" y="234"/>
                  </a:lnTo>
                  <a:lnTo>
                    <a:pt x="15" y="233"/>
                  </a:lnTo>
                  <a:lnTo>
                    <a:pt x="9" y="229"/>
                  </a:lnTo>
                  <a:lnTo>
                    <a:pt x="4" y="225"/>
                  </a:lnTo>
                  <a:lnTo>
                    <a:pt x="1" y="218"/>
                  </a:lnTo>
                  <a:lnTo>
                    <a:pt x="0" y="211"/>
                  </a:lnTo>
                  <a:lnTo>
                    <a:pt x="0" y="22"/>
                  </a:lnTo>
                  <a:lnTo>
                    <a:pt x="0" y="18"/>
                  </a:lnTo>
                  <a:lnTo>
                    <a:pt x="1" y="14"/>
                  </a:lnTo>
                  <a:lnTo>
                    <a:pt x="4" y="10"/>
                  </a:lnTo>
                  <a:lnTo>
                    <a:pt x="6" y="6"/>
                  </a:lnTo>
                  <a:lnTo>
                    <a:pt x="10" y="4"/>
                  </a:lnTo>
                  <a:lnTo>
                    <a:pt x="14" y="1"/>
                  </a:lnTo>
                  <a:lnTo>
                    <a:pt x="19" y="0"/>
                  </a:lnTo>
                  <a:lnTo>
                    <a:pt x="23" y="0"/>
                  </a:lnTo>
                  <a:lnTo>
                    <a:pt x="27" y="0"/>
                  </a:lnTo>
                  <a:lnTo>
                    <a:pt x="32" y="1"/>
                  </a:lnTo>
                  <a:lnTo>
                    <a:pt x="36" y="4"/>
                  </a:lnTo>
                  <a:lnTo>
                    <a:pt x="39" y="6"/>
                  </a:lnTo>
                  <a:lnTo>
                    <a:pt x="42" y="10"/>
                  </a:lnTo>
                  <a:lnTo>
                    <a:pt x="44" y="14"/>
                  </a:lnTo>
                  <a:lnTo>
                    <a:pt x="46" y="18"/>
                  </a:lnTo>
                  <a:lnTo>
                    <a:pt x="46" y="22"/>
                  </a:lnTo>
                  <a:lnTo>
                    <a:pt x="46" y="168"/>
                  </a:lnTo>
                  <a:lnTo>
                    <a:pt x="54" y="166"/>
                  </a:lnTo>
                  <a:lnTo>
                    <a:pt x="63" y="163"/>
                  </a:lnTo>
                  <a:lnTo>
                    <a:pt x="73" y="162"/>
                  </a:lnTo>
                  <a:lnTo>
                    <a:pt x="81" y="162"/>
                  </a:lnTo>
                  <a:lnTo>
                    <a:pt x="81" y="162"/>
                  </a:lnTo>
                  <a:lnTo>
                    <a:pt x="81" y="162"/>
                  </a:lnTo>
                  <a:lnTo>
                    <a:pt x="91" y="162"/>
                  </a:lnTo>
                  <a:lnTo>
                    <a:pt x="101" y="164"/>
                  </a:lnTo>
                  <a:lnTo>
                    <a:pt x="111" y="167"/>
                  </a:lnTo>
                  <a:lnTo>
                    <a:pt x="120" y="169"/>
                  </a:lnTo>
                  <a:lnTo>
                    <a:pt x="129" y="174"/>
                  </a:lnTo>
                  <a:lnTo>
                    <a:pt x="138" y="179"/>
                  </a:lnTo>
                  <a:lnTo>
                    <a:pt x="146" y="185"/>
                  </a:lnTo>
                  <a:lnTo>
                    <a:pt x="153" y="191"/>
                  </a:lnTo>
                  <a:lnTo>
                    <a:pt x="160" y="199"/>
                  </a:lnTo>
                  <a:lnTo>
                    <a:pt x="166" y="207"/>
                  </a:lnTo>
                  <a:lnTo>
                    <a:pt x="171" y="216"/>
                  </a:lnTo>
                  <a:lnTo>
                    <a:pt x="176" y="225"/>
                  </a:lnTo>
                  <a:lnTo>
                    <a:pt x="178" y="234"/>
                  </a:lnTo>
                  <a:lnTo>
                    <a:pt x="180" y="243"/>
                  </a:lnTo>
                  <a:lnTo>
                    <a:pt x="182" y="253"/>
                  </a:lnTo>
                  <a:lnTo>
                    <a:pt x="183" y="264"/>
                  </a:lnTo>
                  <a:lnTo>
                    <a:pt x="182" y="274"/>
                  </a:lnTo>
                  <a:lnTo>
                    <a:pt x="180" y="283"/>
                  </a:lnTo>
                  <a:lnTo>
                    <a:pt x="178" y="293"/>
                  </a:lnTo>
                  <a:lnTo>
                    <a:pt x="176" y="302"/>
                  </a:lnTo>
                  <a:lnTo>
                    <a:pt x="171" y="312"/>
                  </a:lnTo>
                  <a:lnTo>
                    <a:pt x="166" y="319"/>
                  </a:lnTo>
                  <a:lnTo>
                    <a:pt x="160" y="328"/>
                  </a:lnTo>
                  <a:lnTo>
                    <a:pt x="153" y="335"/>
                  </a:lnTo>
                  <a:lnTo>
                    <a:pt x="142" y="345"/>
                  </a:lnTo>
                  <a:lnTo>
                    <a:pt x="130" y="352"/>
                  </a:lnTo>
                  <a:lnTo>
                    <a:pt x="117" y="358"/>
                  </a:lnTo>
                  <a:lnTo>
                    <a:pt x="103" y="362"/>
                  </a:lnTo>
                  <a:lnTo>
                    <a:pt x="88" y="364"/>
                  </a:lnTo>
                  <a:lnTo>
                    <a:pt x="75" y="364"/>
                  </a:lnTo>
                  <a:lnTo>
                    <a:pt x="60" y="362"/>
                  </a:lnTo>
                  <a:lnTo>
                    <a:pt x="47" y="358"/>
                  </a:lnTo>
                  <a:lnTo>
                    <a:pt x="47" y="545"/>
                  </a:lnTo>
                  <a:lnTo>
                    <a:pt x="47" y="550"/>
                  </a:lnTo>
                  <a:lnTo>
                    <a:pt x="46" y="553"/>
                  </a:lnTo>
                  <a:lnTo>
                    <a:pt x="43" y="558"/>
                  </a:lnTo>
                  <a:lnTo>
                    <a:pt x="41" y="561"/>
                  </a:lnTo>
                  <a:lnTo>
                    <a:pt x="37" y="564"/>
                  </a:lnTo>
                  <a:lnTo>
                    <a:pt x="33" y="566"/>
                  </a:lnTo>
                  <a:lnTo>
                    <a:pt x="28" y="567"/>
                  </a:lnTo>
                  <a:lnTo>
                    <a:pt x="23"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5" name="Freeform 40">
            <a:extLst>
              <a:ext uri="{FF2B5EF4-FFF2-40B4-BE49-F238E27FC236}">
                <a16:creationId xmlns:a16="http://schemas.microsoft.com/office/drawing/2014/main" id="{F6B8ABA1-7EF4-4CC4-9C9D-47941ADC2671}"/>
              </a:ext>
            </a:extLst>
          </p:cNvPr>
          <p:cNvSpPr>
            <a:spLocks noChangeAspect="1" noEditPoints="1"/>
          </p:cNvSpPr>
          <p:nvPr/>
        </p:nvSpPr>
        <p:spPr bwMode="auto">
          <a:xfrm>
            <a:off x="4034020" y="3262499"/>
            <a:ext cx="308350" cy="308350"/>
          </a:xfrm>
          <a:custGeom>
            <a:avLst/>
            <a:gdLst>
              <a:gd name="T0" fmla="*/ 329 w 906"/>
              <a:gd name="T1" fmla="*/ 404 h 905"/>
              <a:gd name="T2" fmla="*/ 306 w 906"/>
              <a:gd name="T3" fmla="*/ 344 h 905"/>
              <a:gd name="T4" fmla="*/ 365 w 906"/>
              <a:gd name="T5" fmla="*/ 320 h 905"/>
              <a:gd name="T6" fmla="*/ 389 w 906"/>
              <a:gd name="T7" fmla="*/ 379 h 905"/>
              <a:gd name="T8" fmla="*/ 90 w 906"/>
              <a:gd name="T9" fmla="*/ 693 h 905"/>
              <a:gd name="T10" fmla="*/ 49 w 906"/>
              <a:gd name="T11" fmla="*/ 676 h 905"/>
              <a:gd name="T12" fmla="*/ 30 w 906"/>
              <a:gd name="T13" fmla="*/ 633 h 905"/>
              <a:gd name="T14" fmla="*/ 49 w 906"/>
              <a:gd name="T15" fmla="*/ 591 h 905"/>
              <a:gd name="T16" fmla="*/ 90 w 906"/>
              <a:gd name="T17" fmla="*/ 573 h 905"/>
              <a:gd name="T18" fmla="*/ 134 w 906"/>
              <a:gd name="T19" fmla="*/ 591 h 905"/>
              <a:gd name="T20" fmla="*/ 152 w 906"/>
              <a:gd name="T21" fmla="*/ 633 h 905"/>
              <a:gd name="T22" fmla="*/ 134 w 906"/>
              <a:gd name="T23" fmla="*/ 676 h 905"/>
              <a:gd name="T24" fmla="*/ 90 w 906"/>
              <a:gd name="T25" fmla="*/ 693 h 905"/>
              <a:gd name="T26" fmla="*/ 653 w 906"/>
              <a:gd name="T27" fmla="*/ 40 h 905"/>
              <a:gd name="T28" fmla="*/ 678 w 906"/>
              <a:gd name="T29" fmla="*/ 78 h 905"/>
              <a:gd name="T30" fmla="*/ 669 w 906"/>
              <a:gd name="T31" fmla="*/ 124 h 905"/>
              <a:gd name="T32" fmla="*/ 630 w 906"/>
              <a:gd name="T33" fmla="*/ 149 h 905"/>
              <a:gd name="T34" fmla="*/ 585 w 906"/>
              <a:gd name="T35" fmla="*/ 140 h 905"/>
              <a:gd name="T36" fmla="*/ 559 w 906"/>
              <a:gd name="T37" fmla="*/ 103 h 905"/>
              <a:gd name="T38" fmla="*/ 569 w 906"/>
              <a:gd name="T39" fmla="*/ 57 h 905"/>
              <a:gd name="T40" fmla="*/ 607 w 906"/>
              <a:gd name="T41" fmla="*/ 32 h 905"/>
              <a:gd name="T42" fmla="*/ 332 w 906"/>
              <a:gd name="T43" fmla="*/ 875 h 905"/>
              <a:gd name="T44" fmla="*/ 755 w 906"/>
              <a:gd name="T45" fmla="*/ 220 h 905"/>
              <a:gd name="T46" fmla="*/ 594 w 906"/>
              <a:gd name="T47" fmla="*/ 276 h 905"/>
              <a:gd name="T48" fmla="*/ 471 w 906"/>
              <a:gd name="T49" fmla="*/ 309 h 905"/>
              <a:gd name="T50" fmla="*/ 578 w 906"/>
              <a:gd name="T51" fmla="*/ 171 h 905"/>
              <a:gd name="T52" fmla="*/ 645 w 906"/>
              <a:gd name="T53" fmla="*/ 177 h 905"/>
              <a:gd name="T54" fmla="*/ 698 w 906"/>
              <a:gd name="T55" fmla="*/ 134 h 905"/>
              <a:gd name="T56" fmla="*/ 706 w 906"/>
              <a:gd name="T57" fmla="*/ 64 h 905"/>
              <a:gd name="T58" fmla="*/ 662 w 906"/>
              <a:gd name="T59" fmla="*/ 11 h 905"/>
              <a:gd name="T60" fmla="*/ 592 w 906"/>
              <a:gd name="T61" fmla="*/ 4 h 905"/>
              <a:gd name="T62" fmla="*/ 539 w 906"/>
              <a:gd name="T63" fmla="*/ 47 h 905"/>
              <a:gd name="T64" fmla="*/ 530 w 906"/>
              <a:gd name="T65" fmla="*/ 111 h 905"/>
              <a:gd name="T66" fmla="*/ 348 w 906"/>
              <a:gd name="T67" fmla="*/ 287 h 905"/>
              <a:gd name="T68" fmla="*/ 294 w 906"/>
              <a:gd name="T69" fmla="*/ 308 h 905"/>
              <a:gd name="T70" fmla="*/ 272 w 906"/>
              <a:gd name="T71" fmla="*/ 362 h 905"/>
              <a:gd name="T72" fmla="*/ 102 w 906"/>
              <a:gd name="T73" fmla="*/ 544 h 905"/>
              <a:gd name="T74" fmla="*/ 33 w 906"/>
              <a:gd name="T75" fmla="*/ 563 h 905"/>
              <a:gd name="T76" fmla="*/ 1 w 906"/>
              <a:gd name="T77" fmla="*/ 624 h 905"/>
              <a:gd name="T78" fmla="*/ 22 w 906"/>
              <a:gd name="T79" fmla="*/ 691 h 905"/>
              <a:gd name="T80" fmla="*/ 82 w 906"/>
              <a:gd name="T81" fmla="*/ 723 h 905"/>
              <a:gd name="T82" fmla="*/ 149 w 906"/>
              <a:gd name="T83" fmla="*/ 703 h 905"/>
              <a:gd name="T84" fmla="*/ 181 w 906"/>
              <a:gd name="T85" fmla="*/ 643 h 905"/>
              <a:gd name="T86" fmla="*/ 164 w 906"/>
              <a:gd name="T87" fmla="*/ 579 h 905"/>
              <a:gd name="T88" fmla="*/ 286 w 906"/>
              <a:gd name="T89" fmla="*/ 538 h 905"/>
              <a:gd name="T90" fmla="*/ 221 w 906"/>
              <a:gd name="T91" fmla="*/ 755 h 905"/>
              <a:gd name="T92" fmla="*/ 212 w 906"/>
              <a:gd name="T93" fmla="*/ 892 h 905"/>
              <a:gd name="T94" fmla="*/ 348 w 906"/>
              <a:gd name="T95" fmla="*/ 905 h 905"/>
              <a:gd name="T96" fmla="*/ 363 w 906"/>
              <a:gd name="T97" fmla="*/ 890 h 905"/>
              <a:gd name="T98" fmla="*/ 351 w 906"/>
              <a:gd name="T99" fmla="*/ 754 h 905"/>
              <a:gd name="T100" fmla="*/ 322 w 906"/>
              <a:gd name="T101" fmla="*/ 523 h 905"/>
              <a:gd name="T102" fmla="*/ 374 w 906"/>
              <a:gd name="T103" fmla="*/ 432 h 905"/>
              <a:gd name="T104" fmla="*/ 434 w 906"/>
              <a:gd name="T105" fmla="*/ 365 h 905"/>
              <a:gd name="T106" fmla="*/ 545 w 906"/>
              <a:gd name="T107" fmla="*/ 316 h 905"/>
              <a:gd name="T108" fmla="*/ 754 w 906"/>
              <a:gd name="T109" fmla="*/ 302 h 905"/>
              <a:gd name="T110" fmla="*/ 767 w 906"/>
              <a:gd name="T111" fmla="*/ 362 h 905"/>
              <a:gd name="T112" fmla="*/ 904 w 906"/>
              <a:gd name="T113" fmla="*/ 352 h 905"/>
              <a:gd name="T114" fmla="*/ 898 w 906"/>
              <a:gd name="T115" fmla="*/ 214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6" h="905">
                <a:moveTo>
                  <a:pt x="876" y="332"/>
                </a:moveTo>
                <a:lnTo>
                  <a:pt x="784" y="332"/>
                </a:lnTo>
                <a:lnTo>
                  <a:pt x="784" y="241"/>
                </a:lnTo>
                <a:lnTo>
                  <a:pt x="876" y="241"/>
                </a:lnTo>
                <a:lnTo>
                  <a:pt x="876" y="332"/>
                </a:lnTo>
                <a:close/>
                <a:moveTo>
                  <a:pt x="348" y="407"/>
                </a:moveTo>
                <a:lnTo>
                  <a:pt x="338" y="406"/>
                </a:lnTo>
                <a:lnTo>
                  <a:pt x="329" y="404"/>
                </a:lnTo>
                <a:lnTo>
                  <a:pt x="322" y="400"/>
                </a:lnTo>
                <a:lnTo>
                  <a:pt x="315" y="394"/>
                </a:lnTo>
                <a:lnTo>
                  <a:pt x="310" y="387"/>
                </a:lnTo>
                <a:lnTo>
                  <a:pt x="306" y="379"/>
                </a:lnTo>
                <a:lnTo>
                  <a:pt x="303" y="371"/>
                </a:lnTo>
                <a:lnTo>
                  <a:pt x="302" y="362"/>
                </a:lnTo>
                <a:lnTo>
                  <a:pt x="303" y="352"/>
                </a:lnTo>
                <a:lnTo>
                  <a:pt x="306" y="344"/>
                </a:lnTo>
                <a:lnTo>
                  <a:pt x="310" y="336"/>
                </a:lnTo>
                <a:lnTo>
                  <a:pt x="315" y="330"/>
                </a:lnTo>
                <a:lnTo>
                  <a:pt x="322" y="324"/>
                </a:lnTo>
                <a:lnTo>
                  <a:pt x="329" y="320"/>
                </a:lnTo>
                <a:lnTo>
                  <a:pt x="338" y="318"/>
                </a:lnTo>
                <a:lnTo>
                  <a:pt x="348" y="317"/>
                </a:lnTo>
                <a:lnTo>
                  <a:pt x="356" y="318"/>
                </a:lnTo>
                <a:lnTo>
                  <a:pt x="365" y="320"/>
                </a:lnTo>
                <a:lnTo>
                  <a:pt x="372" y="324"/>
                </a:lnTo>
                <a:lnTo>
                  <a:pt x="380" y="330"/>
                </a:lnTo>
                <a:lnTo>
                  <a:pt x="385" y="336"/>
                </a:lnTo>
                <a:lnTo>
                  <a:pt x="389" y="344"/>
                </a:lnTo>
                <a:lnTo>
                  <a:pt x="392" y="352"/>
                </a:lnTo>
                <a:lnTo>
                  <a:pt x="393" y="362"/>
                </a:lnTo>
                <a:lnTo>
                  <a:pt x="392" y="371"/>
                </a:lnTo>
                <a:lnTo>
                  <a:pt x="389" y="379"/>
                </a:lnTo>
                <a:lnTo>
                  <a:pt x="385" y="387"/>
                </a:lnTo>
                <a:lnTo>
                  <a:pt x="380" y="394"/>
                </a:lnTo>
                <a:lnTo>
                  <a:pt x="372" y="400"/>
                </a:lnTo>
                <a:lnTo>
                  <a:pt x="365" y="404"/>
                </a:lnTo>
                <a:lnTo>
                  <a:pt x="356" y="406"/>
                </a:lnTo>
                <a:lnTo>
                  <a:pt x="348" y="407"/>
                </a:lnTo>
                <a:lnTo>
                  <a:pt x="348" y="407"/>
                </a:lnTo>
                <a:close/>
                <a:moveTo>
                  <a:pt x="90" y="693"/>
                </a:moveTo>
                <a:lnTo>
                  <a:pt x="85" y="693"/>
                </a:lnTo>
                <a:lnTo>
                  <a:pt x="79" y="692"/>
                </a:lnTo>
                <a:lnTo>
                  <a:pt x="73" y="691"/>
                </a:lnTo>
                <a:lnTo>
                  <a:pt x="68" y="689"/>
                </a:lnTo>
                <a:lnTo>
                  <a:pt x="63" y="686"/>
                </a:lnTo>
                <a:lnTo>
                  <a:pt x="57" y="683"/>
                </a:lnTo>
                <a:lnTo>
                  <a:pt x="53" y="679"/>
                </a:lnTo>
                <a:lnTo>
                  <a:pt x="49" y="676"/>
                </a:lnTo>
                <a:lnTo>
                  <a:pt x="44" y="672"/>
                </a:lnTo>
                <a:lnTo>
                  <a:pt x="41" y="667"/>
                </a:lnTo>
                <a:lnTo>
                  <a:pt x="38" y="662"/>
                </a:lnTo>
                <a:lnTo>
                  <a:pt x="36" y="657"/>
                </a:lnTo>
                <a:lnTo>
                  <a:pt x="33" y="651"/>
                </a:lnTo>
                <a:lnTo>
                  <a:pt x="32" y="646"/>
                </a:lnTo>
                <a:lnTo>
                  <a:pt x="31" y="639"/>
                </a:lnTo>
                <a:lnTo>
                  <a:pt x="30" y="633"/>
                </a:lnTo>
                <a:lnTo>
                  <a:pt x="31" y="628"/>
                </a:lnTo>
                <a:lnTo>
                  <a:pt x="32" y="621"/>
                </a:lnTo>
                <a:lnTo>
                  <a:pt x="33" y="616"/>
                </a:lnTo>
                <a:lnTo>
                  <a:pt x="36" y="609"/>
                </a:lnTo>
                <a:lnTo>
                  <a:pt x="38" y="604"/>
                </a:lnTo>
                <a:lnTo>
                  <a:pt x="41" y="600"/>
                </a:lnTo>
                <a:lnTo>
                  <a:pt x="44" y="595"/>
                </a:lnTo>
                <a:lnTo>
                  <a:pt x="49" y="591"/>
                </a:lnTo>
                <a:lnTo>
                  <a:pt x="53" y="587"/>
                </a:lnTo>
                <a:lnTo>
                  <a:pt x="57" y="583"/>
                </a:lnTo>
                <a:lnTo>
                  <a:pt x="63" y="580"/>
                </a:lnTo>
                <a:lnTo>
                  <a:pt x="68" y="578"/>
                </a:lnTo>
                <a:lnTo>
                  <a:pt x="73" y="576"/>
                </a:lnTo>
                <a:lnTo>
                  <a:pt x="79" y="574"/>
                </a:lnTo>
                <a:lnTo>
                  <a:pt x="85" y="573"/>
                </a:lnTo>
                <a:lnTo>
                  <a:pt x="90" y="573"/>
                </a:lnTo>
                <a:lnTo>
                  <a:pt x="97" y="573"/>
                </a:lnTo>
                <a:lnTo>
                  <a:pt x="103" y="574"/>
                </a:lnTo>
                <a:lnTo>
                  <a:pt x="109" y="576"/>
                </a:lnTo>
                <a:lnTo>
                  <a:pt x="114" y="578"/>
                </a:lnTo>
                <a:lnTo>
                  <a:pt x="120" y="580"/>
                </a:lnTo>
                <a:lnTo>
                  <a:pt x="125" y="583"/>
                </a:lnTo>
                <a:lnTo>
                  <a:pt x="129" y="587"/>
                </a:lnTo>
                <a:lnTo>
                  <a:pt x="134" y="591"/>
                </a:lnTo>
                <a:lnTo>
                  <a:pt x="138" y="595"/>
                </a:lnTo>
                <a:lnTo>
                  <a:pt x="141" y="600"/>
                </a:lnTo>
                <a:lnTo>
                  <a:pt x="144" y="605"/>
                </a:lnTo>
                <a:lnTo>
                  <a:pt x="146" y="609"/>
                </a:lnTo>
                <a:lnTo>
                  <a:pt x="149" y="616"/>
                </a:lnTo>
                <a:lnTo>
                  <a:pt x="150" y="621"/>
                </a:lnTo>
                <a:lnTo>
                  <a:pt x="151" y="628"/>
                </a:lnTo>
                <a:lnTo>
                  <a:pt x="152" y="633"/>
                </a:lnTo>
                <a:lnTo>
                  <a:pt x="151" y="639"/>
                </a:lnTo>
                <a:lnTo>
                  <a:pt x="150" y="646"/>
                </a:lnTo>
                <a:lnTo>
                  <a:pt x="149" y="651"/>
                </a:lnTo>
                <a:lnTo>
                  <a:pt x="146" y="657"/>
                </a:lnTo>
                <a:lnTo>
                  <a:pt x="144" y="662"/>
                </a:lnTo>
                <a:lnTo>
                  <a:pt x="141" y="667"/>
                </a:lnTo>
                <a:lnTo>
                  <a:pt x="138" y="672"/>
                </a:lnTo>
                <a:lnTo>
                  <a:pt x="134" y="676"/>
                </a:lnTo>
                <a:lnTo>
                  <a:pt x="129" y="679"/>
                </a:lnTo>
                <a:lnTo>
                  <a:pt x="125" y="683"/>
                </a:lnTo>
                <a:lnTo>
                  <a:pt x="120" y="687"/>
                </a:lnTo>
                <a:lnTo>
                  <a:pt x="114" y="689"/>
                </a:lnTo>
                <a:lnTo>
                  <a:pt x="109" y="691"/>
                </a:lnTo>
                <a:lnTo>
                  <a:pt x="103" y="692"/>
                </a:lnTo>
                <a:lnTo>
                  <a:pt x="97" y="693"/>
                </a:lnTo>
                <a:lnTo>
                  <a:pt x="90" y="693"/>
                </a:lnTo>
                <a:lnTo>
                  <a:pt x="90" y="693"/>
                </a:lnTo>
                <a:close/>
                <a:moveTo>
                  <a:pt x="619" y="30"/>
                </a:moveTo>
                <a:lnTo>
                  <a:pt x="625" y="31"/>
                </a:lnTo>
                <a:lnTo>
                  <a:pt x="630" y="31"/>
                </a:lnTo>
                <a:lnTo>
                  <a:pt x="637" y="33"/>
                </a:lnTo>
                <a:lnTo>
                  <a:pt x="642" y="35"/>
                </a:lnTo>
                <a:lnTo>
                  <a:pt x="648" y="37"/>
                </a:lnTo>
                <a:lnTo>
                  <a:pt x="653" y="40"/>
                </a:lnTo>
                <a:lnTo>
                  <a:pt x="657" y="44"/>
                </a:lnTo>
                <a:lnTo>
                  <a:pt x="662" y="48"/>
                </a:lnTo>
                <a:lnTo>
                  <a:pt x="665" y="52"/>
                </a:lnTo>
                <a:lnTo>
                  <a:pt x="669" y="57"/>
                </a:lnTo>
                <a:lnTo>
                  <a:pt x="671" y="62"/>
                </a:lnTo>
                <a:lnTo>
                  <a:pt x="675" y="67"/>
                </a:lnTo>
                <a:lnTo>
                  <a:pt x="677" y="73"/>
                </a:lnTo>
                <a:lnTo>
                  <a:pt x="678" y="78"/>
                </a:lnTo>
                <a:lnTo>
                  <a:pt x="679" y="84"/>
                </a:lnTo>
                <a:lnTo>
                  <a:pt x="679" y="91"/>
                </a:lnTo>
                <a:lnTo>
                  <a:pt x="679" y="96"/>
                </a:lnTo>
                <a:lnTo>
                  <a:pt x="678" y="103"/>
                </a:lnTo>
                <a:lnTo>
                  <a:pt x="677" y="108"/>
                </a:lnTo>
                <a:lnTo>
                  <a:pt x="675" y="114"/>
                </a:lnTo>
                <a:lnTo>
                  <a:pt x="671" y="119"/>
                </a:lnTo>
                <a:lnTo>
                  <a:pt x="669" y="124"/>
                </a:lnTo>
                <a:lnTo>
                  <a:pt x="665" y="129"/>
                </a:lnTo>
                <a:lnTo>
                  <a:pt x="662" y="133"/>
                </a:lnTo>
                <a:lnTo>
                  <a:pt x="657" y="137"/>
                </a:lnTo>
                <a:lnTo>
                  <a:pt x="653" y="140"/>
                </a:lnTo>
                <a:lnTo>
                  <a:pt x="648" y="144"/>
                </a:lnTo>
                <a:lnTo>
                  <a:pt x="642" y="146"/>
                </a:lnTo>
                <a:lnTo>
                  <a:pt x="637" y="148"/>
                </a:lnTo>
                <a:lnTo>
                  <a:pt x="630" y="149"/>
                </a:lnTo>
                <a:lnTo>
                  <a:pt x="625" y="150"/>
                </a:lnTo>
                <a:lnTo>
                  <a:pt x="619" y="151"/>
                </a:lnTo>
                <a:lnTo>
                  <a:pt x="612" y="150"/>
                </a:lnTo>
                <a:lnTo>
                  <a:pt x="607" y="149"/>
                </a:lnTo>
                <a:lnTo>
                  <a:pt x="601" y="148"/>
                </a:lnTo>
                <a:lnTo>
                  <a:pt x="595" y="146"/>
                </a:lnTo>
                <a:lnTo>
                  <a:pt x="590" y="144"/>
                </a:lnTo>
                <a:lnTo>
                  <a:pt x="585" y="140"/>
                </a:lnTo>
                <a:lnTo>
                  <a:pt x="581" y="137"/>
                </a:lnTo>
                <a:lnTo>
                  <a:pt x="577" y="133"/>
                </a:lnTo>
                <a:lnTo>
                  <a:pt x="572" y="129"/>
                </a:lnTo>
                <a:lnTo>
                  <a:pt x="569" y="124"/>
                </a:lnTo>
                <a:lnTo>
                  <a:pt x="566" y="119"/>
                </a:lnTo>
                <a:lnTo>
                  <a:pt x="564" y="114"/>
                </a:lnTo>
                <a:lnTo>
                  <a:pt x="562" y="108"/>
                </a:lnTo>
                <a:lnTo>
                  <a:pt x="559" y="103"/>
                </a:lnTo>
                <a:lnTo>
                  <a:pt x="558" y="96"/>
                </a:lnTo>
                <a:lnTo>
                  <a:pt x="558" y="91"/>
                </a:lnTo>
                <a:lnTo>
                  <a:pt x="558" y="84"/>
                </a:lnTo>
                <a:lnTo>
                  <a:pt x="559" y="78"/>
                </a:lnTo>
                <a:lnTo>
                  <a:pt x="562" y="73"/>
                </a:lnTo>
                <a:lnTo>
                  <a:pt x="564" y="67"/>
                </a:lnTo>
                <a:lnTo>
                  <a:pt x="566" y="62"/>
                </a:lnTo>
                <a:lnTo>
                  <a:pt x="569" y="57"/>
                </a:lnTo>
                <a:lnTo>
                  <a:pt x="572" y="52"/>
                </a:lnTo>
                <a:lnTo>
                  <a:pt x="577" y="48"/>
                </a:lnTo>
                <a:lnTo>
                  <a:pt x="581" y="44"/>
                </a:lnTo>
                <a:lnTo>
                  <a:pt x="585" y="40"/>
                </a:lnTo>
                <a:lnTo>
                  <a:pt x="590" y="37"/>
                </a:lnTo>
                <a:lnTo>
                  <a:pt x="595" y="35"/>
                </a:lnTo>
                <a:lnTo>
                  <a:pt x="601" y="33"/>
                </a:lnTo>
                <a:lnTo>
                  <a:pt x="607" y="32"/>
                </a:lnTo>
                <a:lnTo>
                  <a:pt x="612" y="31"/>
                </a:lnTo>
                <a:lnTo>
                  <a:pt x="619" y="30"/>
                </a:lnTo>
                <a:lnTo>
                  <a:pt x="619" y="30"/>
                </a:lnTo>
                <a:close/>
                <a:moveTo>
                  <a:pt x="332" y="875"/>
                </a:moveTo>
                <a:lnTo>
                  <a:pt x="242" y="875"/>
                </a:lnTo>
                <a:lnTo>
                  <a:pt x="242" y="783"/>
                </a:lnTo>
                <a:lnTo>
                  <a:pt x="332" y="783"/>
                </a:lnTo>
                <a:lnTo>
                  <a:pt x="332" y="875"/>
                </a:lnTo>
                <a:close/>
                <a:moveTo>
                  <a:pt x="891" y="211"/>
                </a:moveTo>
                <a:lnTo>
                  <a:pt x="769" y="211"/>
                </a:lnTo>
                <a:lnTo>
                  <a:pt x="767" y="211"/>
                </a:lnTo>
                <a:lnTo>
                  <a:pt x="764" y="212"/>
                </a:lnTo>
                <a:lnTo>
                  <a:pt x="762" y="214"/>
                </a:lnTo>
                <a:lnTo>
                  <a:pt x="760" y="216"/>
                </a:lnTo>
                <a:lnTo>
                  <a:pt x="757" y="218"/>
                </a:lnTo>
                <a:lnTo>
                  <a:pt x="755" y="220"/>
                </a:lnTo>
                <a:lnTo>
                  <a:pt x="755" y="223"/>
                </a:lnTo>
                <a:lnTo>
                  <a:pt x="754" y="226"/>
                </a:lnTo>
                <a:lnTo>
                  <a:pt x="754" y="272"/>
                </a:lnTo>
                <a:lnTo>
                  <a:pt x="664" y="272"/>
                </a:lnTo>
                <a:lnTo>
                  <a:pt x="647" y="272"/>
                </a:lnTo>
                <a:lnTo>
                  <a:pt x="628" y="273"/>
                </a:lnTo>
                <a:lnTo>
                  <a:pt x="611" y="274"/>
                </a:lnTo>
                <a:lnTo>
                  <a:pt x="594" y="276"/>
                </a:lnTo>
                <a:lnTo>
                  <a:pt x="578" y="278"/>
                </a:lnTo>
                <a:lnTo>
                  <a:pt x="562" y="281"/>
                </a:lnTo>
                <a:lnTo>
                  <a:pt x="545" y="284"/>
                </a:lnTo>
                <a:lnTo>
                  <a:pt x="529" y="289"/>
                </a:lnTo>
                <a:lnTo>
                  <a:pt x="514" y="293"/>
                </a:lnTo>
                <a:lnTo>
                  <a:pt x="499" y="297"/>
                </a:lnTo>
                <a:lnTo>
                  <a:pt x="485" y="304"/>
                </a:lnTo>
                <a:lnTo>
                  <a:pt x="471" y="309"/>
                </a:lnTo>
                <a:lnTo>
                  <a:pt x="457" y="316"/>
                </a:lnTo>
                <a:lnTo>
                  <a:pt x="444" y="323"/>
                </a:lnTo>
                <a:lnTo>
                  <a:pt x="431" y="331"/>
                </a:lnTo>
                <a:lnTo>
                  <a:pt x="419" y="338"/>
                </a:lnTo>
                <a:lnTo>
                  <a:pt x="415" y="329"/>
                </a:lnTo>
                <a:lnTo>
                  <a:pt x="410" y="320"/>
                </a:lnTo>
                <a:lnTo>
                  <a:pt x="567" y="164"/>
                </a:lnTo>
                <a:lnTo>
                  <a:pt x="578" y="171"/>
                </a:lnTo>
                <a:lnTo>
                  <a:pt x="591" y="176"/>
                </a:lnTo>
                <a:lnTo>
                  <a:pt x="597" y="178"/>
                </a:lnTo>
                <a:lnTo>
                  <a:pt x="605" y="180"/>
                </a:lnTo>
                <a:lnTo>
                  <a:pt x="611" y="180"/>
                </a:lnTo>
                <a:lnTo>
                  <a:pt x="619" y="181"/>
                </a:lnTo>
                <a:lnTo>
                  <a:pt x="628" y="180"/>
                </a:lnTo>
                <a:lnTo>
                  <a:pt x="637" y="179"/>
                </a:lnTo>
                <a:lnTo>
                  <a:pt x="645" y="177"/>
                </a:lnTo>
                <a:lnTo>
                  <a:pt x="654" y="174"/>
                </a:lnTo>
                <a:lnTo>
                  <a:pt x="662" y="169"/>
                </a:lnTo>
                <a:lnTo>
                  <a:pt x="669" y="165"/>
                </a:lnTo>
                <a:lnTo>
                  <a:pt x="677" y="160"/>
                </a:lnTo>
                <a:lnTo>
                  <a:pt x="683" y="154"/>
                </a:lnTo>
                <a:lnTo>
                  <a:pt x="689" y="148"/>
                </a:lnTo>
                <a:lnTo>
                  <a:pt x="694" y="140"/>
                </a:lnTo>
                <a:lnTo>
                  <a:pt x="698" y="134"/>
                </a:lnTo>
                <a:lnTo>
                  <a:pt x="703" y="125"/>
                </a:lnTo>
                <a:lnTo>
                  <a:pt x="706" y="118"/>
                </a:lnTo>
                <a:lnTo>
                  <a:pt x="708" y="108"/>
                </a:lnTo>
                <a:lnTo>
                  <a:pt x="709" y="100"/>
                </a:lnTo>
                <a:lnTo>
                  <a:pt x="709" y="91"/>
                </a:lnTo>
                <a:lnTo>
                  <a:pt x="709" y="81"/>
                </a:lnTo>
                <a:lnTo>
                  <a:pt x="708" y="73"/>
                </a:lnTo>
                <a:lnTo>
                  <a:pt x="706" y="64"/>
                </a:lnTo>
                <a:lnTo>
                  <a:pt x="703" y="55"/>
                </a:lnTo>
                <a:lnTo>
                  <a:pt x="698" y="47"/>
                </a:lnTo>
                <a:lnTo>
                  <a:pt x="694" y="39"/>
                </a:lnTo>
                <a:lnTo>
                  <a:pt x="689" y="33"/>
                </a:lnTo>
                <a:lnTo>
                  <a:pt x="683" y="26"/>
                </a:lnTo>
                <a:lnTo>
                  <a:pt x="677" y="21"/>
                </a:lnTo>
                <a:lnTo>
                  <a:pt x="669" y="16"/>
                </a:lnTo>
                <a:lnTo>
                  <a:pt x="662" y="11"/>
                </a:lnTo>
                <a:lnTo>
                  <a:pt x="654" y="7"/>
                </a:lnTo>
                <a:lnTo>
                  <a:pt x="645" y="4"/>
                </a:lnTo>
                <a:lnTo>
                  <a:pt x="637" y="2"/>
                </a:lnTo>
                <a:lnTo>
                  <a:pt x="628" y="1"/>
                </a:lnTo>
                <a:lnTo>
                  <a:pt x="619" y="0"/>
                </a:lnTo>
                <a:lnTo>
                  <a:pt x="610" y="1"/>
                </a:lnTo>
                <a:lnTo>
                  <a:pt x="600" y="2"/>
                </a:lnTo>
                <a:lnTo>
                  <a:pt x="592" y="4"/>
                </a:lnTo>
                <a:lnTo>
                  <a:pt x="583" y="7"/>
                </a:lnTo>
                <a:lnTo>
                  <a:pt x="576" y="11"/>
                </a:lnTo>
                <a:lnTo>
                  <a:pt x="568" y="16"/>
                </a:lnTo>
                <a:lnTo>
                  <a:pt x="562" y="21"/>
                </a:lnTo>
                <a:lnTo>
                  <a:pt x="555" y="26"/>
                </a:lnTo>
                <a:lnTo>
                  <a:pt x="549" y="33"/>
                </a:lnTo>
                <a:lnTo>
                  <a:pt x="543" y="39"/>
                </a:lnTo>
                <a:lnTo>
                  <a:pt x="539" y="47"/>
                </a:lnTo>
                <a:lnTo>
                  <a:pt x="536" y="55"/>
                </a:lnTo>
                <a:lnTo>
                  <a:pt x="533" y="64"/>
                </a:lnTo>
                <a:lnTo>
                  <a:pt x="530" y="73"/>
                </a:lnTo>
                <a:lnTo>
                  <a:pt x="529" y="81"/>
                </a:lnTo>
                <a:lnTo>
                  <a:pt x="528" y="91"/>
                </a:lnTo>
                <a:lnTo>
                  <a:pt x="528" y="97"/>
                </a:lnTo>
                <a:lnTo>
                  <a:pt x="529" y="105"/>
                </a:lnTo>
                <a:lnTo>
                  <a:pt x="530" y="111"/>
                </a:lnTo>
                <a:lnTo>
                  <a:pt x="533" y="118"/>
                </a:lnTo>
                <a:lnTo>
                  <a:pt x="538" y="131"/>
                </a:lnTo>
                <a:lnTo>
                  <a:pt x="545" y="143"/>
                </a:lnTo>
                <a:lnTo>
                  <a:pt x="388" y="298"/>
                </a:lnTo>
                <a:lnTo>
                  <a:pt x="380" y="293"/>
                </a:lnTo>
                <a:lnTo>
                  <a:pt x="369" y="290"/>
                </a:lnTo>
                <a:lnTo>
                  <a:pt x="358" y="288"/>
                </a:lnTo>
                <a:lnTo>
                  <a:pt x="348" y="287"/>
                </a:lnTo>
                <a:lnTo>
                  <a:pt x="340" y="287"/>
                </a:lnTo>
                <a:lnTo>
                  <a:pt x="332" y="288"/>
                </a:lnTo>
                <a:lnTo>
                  <a:pt x="325" y="290"/>
                </a:lnTo>
                <a:lnTo>
                  <a:pt x="319" y="292"/>
                </a:lnTo>
                <a:lnTo>
                  <a:pt x="311" y="295"/>
                </a:lnTo>
                <a:lnTo>
                  <a:pt x="306" y="300"/>
                </a:lnTo>
                <a:lnTo>
                  <a:pt x="299" y="304"/>
                </a:lnTo>
                <a:lnTo>
                  <a:pt x="294" y="308"/>
                </a:lnTo>
                <a:lnTo>
                  <a:pt x="289" y="314"/>
                </a:lnTo>
                <a:lnTo>
                  <a:pt x="285" y="320"/>
                </a:lnTo>
                <a:lnTo>
                  <a:pt x="281" y="325"/>
                </a:lnTo>
                <a:lnTo>
                  <a:pt x="278" y="333"/>
                </a:lnTo>
                <a:lnTo>
                  <a:pt x="275" y="339"/>
                </a:lnTo>
                <a:lnTo>
                  <a:pt x="273" y="347"/>
                </a:lnTo>
                <a:lnTo>
                  <a:pt x="272" y="354"/>
                </a:lnTo>
                <a:lnTo>
                  <a:pt x="272" y="362"/>
                </a:lnTo>
                <a:lnTo>
                  <a:pt x="273" y="373"/>
                </a:lnTo>
                <a:lnTo>
                  <a:pt x="275" y="383"/>
                </a:lnTo>
                <a:lnTo>
                  <a:pt x="279" y="394"/>
                </a:lnTo>
                <a:lnTo>
                  <a:pt x="284" y="403"/>
                </a:lnTo>
                <a:lnTo>
                  <a:pt x="135" y="553"/>
                </a:lnTo>
                <a:lnTo>
                  <a:pt x="124" y="549"/>
                </a:lnTo>
                <a:lnTo>
                  <a:pt x="114" y="546"/>
                </a:lnTo>
                <a:lnTo>
                  <a:pt x="102" y="544"/>
                </a:lnTo>
                <a:lnTo>
                  <a:pt x="90" y="543"/>
                </a:lnTo>
                <a:lnTo>
                  <a:pt x="82" y="544"/>
                </a:lnTo>
                <a:lnTo>
                  <a:pt x="73" y="545"/>
                </a:lnTo>
                <a:lnTo>
                  <a:pt x="65" y="547"/>
                </a:lnTo>
                <a:lnTo>
                  <a:pt x="56" y="550"/>
                </a:lnTo>
                <a:lnTo>
                  <a:pt x="47" y="553"/>
                </a:lnTo>
                <a:lnTo>
                  <a:pt x="40" y="558"/>
                </a:lnTo>
                <a:lnTo>
                  <a:pt x="33" y="563"/>
                </a:lnTo>
                <a:lnTo>
                  <a:pt x="27" y="569"/>
                </a:lnTo>
                <a:lnTo>
                  <a:pt x="22" y="576"/>
                </a:lnTo>
                <a:lnTo>
                  <a:pt x="16" y="582"/>
                </a:lnTo>
                <a:lnTo>
                  <a:pt x="12" y="590"/>
                </a:lnTo>
                <a:lnTo>
                  <a:pt x="8" y="598"/>
                </a:lnTo>
                <a:lnTo>
                  <a:pt x="4" y="606"/>
                </a:lnTo>
                <a:lnTo>
                  <a:pt x="2" y="615"/>
                </a:lnTo>
                <a:lnTo>
                  <a:pt x="1" y="624"/>
                </a:lnTo>
                <a:lnTo>
                  <a:pt x="0" y="633"/>
                </a:lnTo>
                <a:lnTo>
                  <a:pt x="1" y="643"/>
                </a:lnTo>
                <a:lnTo>
                  <a:pt x="2" y="651"/>
                </a:lnTo>
                <a:lnTo>
                  <a:pt x="4" y="660"/>
                </a:lnTo>
                <a:lnTo>
                  <a:pt x="8" y="668"/>
                </a:lnTo>
                <a:lnTo>
                  <a:pt x="12" y="676"/>
                </a:lnTo>
                <a:lnTo>
                  <a:pt x="16" y="683"/>
                </a:lnTo>
                <a:lnTo>
                  <a:pt x="22" y="691"/>
                </a:lnTo>
                <a:lnTo>
                  <a:pt x="27" y="697"/>
                </a:lnTo>
                <a:lnTo>
                  <a:pt x="33" y="703"/>
                </a:lnTo>
                <a:lnTo>
                  <a:pt x="40" y="708"/>
                </a:lnTo>
                <a:lnTo>
                  <a:pt x="47" y="712"/>
                </a:lnTo>
                <a:lnTo>
                  <a:pt x="56" y="717"/>
                </a:lnTo>
                <a:lnTo>
                  <a:pt x="65" y="720"/>
                </a:lnTo>
                <a:lnTo>
                  <a:pt x="73" y="722"/>
                </a:lnTo>
                <a:lnTo>
                  <a:pt x="82" y="723"/>
                </a:lnTo>
                <a:lnTo>
                  <a:pt x="90" y="723"/>
                </a:lnTo>
                <a:lnTo>
                  <a:pt x="100" y="723"/>
                </a:lnTo>
                <a:lnTo>
                  <a:pt x="109" y="722"/>
                </a:lnTo>
                <a:lnTo>
                  <a:pt x="117" y="720"/>
                </a:lnTo>
                <a:lnTo>
                  <a:pt x="126" y="717"/>
                </a:lnTo>
                <a:lnTo>
                  <a:pt x="135" y="712"/>
                </a:lnTo>
                <a:lnTo>
                  <a:pt x="141" y="708"/>
                </a:lnTo>
                <a:lnTo>
                  <a:pt x="149" y="703"/>
                </a:lnTo>
                <a:lnTo>
                  <a:pt x="155" y="697"/>
                </a:lnTo>
                <a:lnTo>
                  <a:pt x="160" y="691"/>
                </a:lnTo>
                <a:lnTo>
                  <a:pt x="166" y="683"/>
                </a:lnTo>
                <a:lnTo>
                  <a:pt x="170" y="676"/>
                </a:lnTo>
                <a:lnTo>
                  <a:pt x="174" y="668"/>
                </a:lnTo>
                <a:lnTo>
                  <a:pt x="178" y="660"/>
                </a:lnTo>
                <a:lnTo>
                  <a:pt x="180" y="651"/>
                </a:lnTo>
                <a:lnTo>
                  <a:pt x="181" y="643"/>
                </a:lnTo>
                <a:lnTo>
                  <a:pt x="182" y="633"/>
                </a:lnTo>
                <a:lnTo>
                  <a:pt x="181" y="624"/>
                </a:lnTo>
                <a:lnTo>
                  <a:pt x="180" y="616"/>
                </a:lnTo>
                <a:lnTo>
                  <a:pt x="178" y="608"/>
                </a:lnTo>
                <a:lnTo>
                  <a:pt x="175" y="600"/>
                </a:lnTo>
                <a:lnTo>
                  <a:pt x="172" y="592"/>
                </a:lnTo>
                <a:lnTo>
                  <a:pt x="168" y="586"/>
                </a:lnTo>
                <a:lnTo>
                  <a:pt x="164" y="579"/>
                </a:lnTo>
                <a:lnTo>
                  <a:pt x="158" y="573"/>
                </a:lnTo>
                <a:lnTo>
                  <a:pt x="306" y="424"/>
                </a:lnTo>
                <a:lnTo>
                  <a:pt x="316" y="431"/>
                </a:lnTo>
                <a:lnTo>
                  <a:pt x="328" y="434"/>
                </a:lnTo>
                <a:lnTo>
                  <a:pt x="315" y="459"/>
                </a:lnTo>
                <a:lnTo>
                  <a:pt x="303" y="483"/>
                </a:lnTo>
                <a:lnTo>
                  <a:pt x="294" y="510"/>
                </a:lnTo>
                <a:lnTo>
                  <a:pt x="286" y="538"/>
                </a:lnTo>
                <a:lnTo>
                  <a:pt x="280" y="568"/>
                </a:lnTo>
                <a:lnTo>
                  <a:pt x="275" y="598"/>
                </a:lnTo>
                <a:lnTo>
                  <a:pt x="273" y="631"/>
                </a:lnTo>
                <a:lnTo>
                  <a:pt x="272" y="663"/>
                </a:lnTo>
                <a:lnTo>
                  <a:pt x="272" y="753"/>
                </a:lnTo>
                <a:lnTo>
                  <a:pt x="227" y="753"/>
                </a:lnTo>
                <a:lnTo>
                  <a:pt x="224" y="754"/>
                </a:lnTo>
                <a:lnTo>
                  <a:pt x="221" y="755"/>
                </a:lnTo>
                <a:lnTo>
                  <a:pt x="218" y="757"/>
                </a:lnTo>
                <a:lnTo>
                  <a:pt x="216" y="759"/>
                </a:lnTo>
                <a:lnTo>
                  <a:pt x="214" y="761"/>
                </a:lnTo>
                <a:lnTo>
                  <a:pt x="213" y="763"/>
                </a:lnTo>
                <a:lnTo>
                  <a:pt x="212" y="766"/>
                </a:lnTo>
                <a:lnTo>
                  <a:pt x="212" y="768"/>
                </a:lnTo>
                <a:lnTo>
                  <a:pt x="212" y="890"/>
                </a:lnTo>
                <a:lnTo>
                  <a:pt x="212" y="892"/>
                </a:lnTo>
                <a:lnTo>
                  <a:pt x="213" y="895"/>
                </a:lnTo>
                <a:lnTo>
                  <a:pt x="214" y="897"/>
                </a:lnTo>
                <a:lnTo>
                  <a:pt x="216" y="900"/>
                </a:lnTo>
                <a:lnTo>
                  <a:pt x="218" y="902"/>
                </a:lnTo>
                <a:lnTo>
                  <a:pt x="221" y="904"/>
                </a:lnTo>
                <a:lnTo>
                  <a:pt x="224" y="904"/>
                </a:lnTo>
                <a:lnTo>
                  <a:pt x="227" y="905"/>
                </a:lnTo>
                <a:lnTo>
                  <a:pt x="348" y="905"/>
                </a:lnTo>
                <a:lnTo>
                  <a:pt x="351" y="904"/>
                </a:lnTo>
                <a:lnTo>
                  <a:pt x="353" y="903"/>
                </a:lnTo>
                <a:lnTo>
                  <a:pt x="356" y="902"/>
                </a:lnTo>
                <a:lnTo>
                  <a:pt x="358" y="900"/>
                </a:lnTo>
                <a:lnTo>
                  <a:pt x="359" y="897"/>
                </a:lnTo>
                <a:lnTo>
                  <a:pt x="362" y="895"/>
                </a:lnTo>
                <a:lnTo>
                  <a:pt x="363" y="892"/>
                </a:lnTo>
                <a:lnTo>
                  <a:pt x="363" y="890"/>
                </a:lnTo>
                <a:lnTo>
                  <a:pt x="363" y="768"/>
                </a:lnTo>
                <a:lnTo>
                  <a:pt x="363" y="766"/>
                </a:lnTo>
                <a:lnTo>
                  <a:pt x="362" y="763"/>
                </a:lnTo>
                <a:lnTo>
                  <a:pt x="359" y="761"/>
                </a:lnTo>
                <a:lnTo>
                  <a:pt x="358" y="759"/>
                </a:lnTo>
                <a:lnTo>
                  <a:pt x="356" y="757"/>
                </a:lnTo>
                <a:lnTo>
                  <a:pt x="353" y="755"/>
                </a:lnTo>
                <a:lnTo>
                  <a:pt x="351" y="754"/>
                </a:lnTo>
                <a:lnTo>
                  <a:pt x="348" y="753"/>
                </a:lnTo>
                <a:lnTo>
                  <a:pt x="302" y="753"/>
                </a:lnTo>
                <a:lnTo>
                  <a:pt x="302" y="663"/>
                </a:lnTo>
                <a:lnTo>
                  <a:pt x="303" y="630"/>
                </a:lnTo>
                <a:lnTo>
                  <a:pt x="306" y="597"/>
                </a:lnTo>
                <a:lnTo>
                  <a:pt x="311" y="567"/>
                </a:lnTo>
                <a:lnTo>
                  <a:pt x="317" y="537"/>
                </a:lnTo>
                <a:lnTo>
                  <a:pt x="322" y="523"/>
                </a:lnTo>
                <a:lnTo>
                  <a:pt x="326" y="509"/>
                </a:lnTo>
                <a:lnTo>
                  <a:pt x="331" y="496"/>
                </a:lnTo>
                <a:lnTo>
                  <a:pt x="337" y="483"/>
                </a:lnTo>
                <a:lnTo>
                  <a:pt x="343" y="471"/>
                </a:lnTo>
                <a:lnTo>
                  <a:pt x="349" y="459"/>
                </a:lnTo>
                <a:lnTo>
                  <a:pt x="356" y="447"/>
                </a:lnTo>
                <a:lnTo>
                  <a:pt x="364" y="435"/>
                </a:lnTo>
                <a:lnTo>
                  <a:pt x="374" y="432"/>
                </a:lnTo>
                <a:lnTo>
                  <a:pt x="384" y="427"/>
                </a:lnTo>
                <a:lnTo>
                  <a:pt x="394" y="421"/>
                </a:lnTo>
                <a:lnTo>
                  <a:pt x="402" y="414"/>
                </a:lnTo>
                <a:lnTo>
                  <a:pt x="409" y="405"/>
                </a:lnTo>
                <a:lnTo>
                  <a:pt x="414" y="395"/>
                </a:lnTo>
                <a:lnTo>
                  <a:pt x="419" y="384"/>
                </a:lnTo>
                <a:lnTo>
                  <a:pt x="422" y="374"/>
                </a:lnTo>
                <a:lnTo>
                  <a:pt x="434" y="365"/>
                </a:lnTo>
                <a:lnTo>
                  <a:pt x="445" y="357"/>
                </a:lnTo>
                <a:lnTo>
                  <a:pt x="458" y="349"/>
                </a:lnTo>
                <a:lnTo>
                  <a:pt x="472" y="343"/>
                </a:lnTo>
                <a:lnTo>
                  <a:pt x="485" y="336"/>
                </a:lnTo>
                <a:lnTo>
                  <a:pt x="500" y="330"/>
                </a:lnTo>
                <a:lnTo>
                  <a:pt x="514" y="324"/>
                </a:lnTo>
                <a:lnTo>
                  <a:pt x="529" y="320"/>
                </a:lnTo>
                <a:lnTo>
                  <a:pt x="545" y="316"/>
                </a:lnTo>
                <a:lnTo>
                  <a:pt x="561" y="311"/>
                </a:lnTo>
                <a:lnTo>
                  <a:pt x="577" y="308"/>
                </a:lnTo>
                <a:lnTo>
                  <a:pt x="594" y="306"/>
                </a:lnTo>
                <a:lnTo>
                  <a:pt x="611" y="304"/>
                </a:lnTo>
                <a:lnTo>
                  <a:pt x="628" y="303"/>
                </a:lnTo>
                <a:lnTo>
                  <a:pt x="645" y="302"/>
                </a:lnTo>
                <a:lnTo>
                  <a:pt x="664" y="302"/>
                </a:lnTo>
                <a:lnTo>
                  <a:pt x="754" y="302"/>
                </a:lnTo>
                <a:lnTo>
                  <a:pt x="754" y="347"/>
                </a:lnTo>
                <a:lnTo>
                  <a:pt x="755" y="350"/>
                </a:lnTo>
                <a:lnTo>
                  <a:pt x="755" y="352"/>
                </a:lnTo>
                <a:lnTo>
                  <a:pt x="757" y="355"/>
                </a:lnTo>
                <a:lnTo>
                  <a:pt x="760" y="358"/>
                </a:lnTo>
                <a:lnTo>
                  <a:pt x="762" y="359"/>
                </a:lnTo>
                <a:lnTo>
                  <a:pt x="764" y="361"/>
                </a:lnTo>
                <a:lnTo>
                  <a:pt x="767" y="362"/>
                </a:lnTo>
                <a:lnTo>
                  <a:pt x="769" y="362"/>
                </a:lnTo>
                <a:lnTo>
                  <a:pt x="891" y="362"/>
                </a:lnTo>
                <a:lnTo>
                  <a:pt x="893" y="362"/>
                </a:lnTo>
                <a:lnTo>
                  <a:pt x="896" y="361"/>
                </a:lnTo>
                <a:lnTo>
                  <a:pt x="898" y="359"/>
                </a:lnTo>
                <a:lnTo>
                  <a:pt x="900" y="358"/>
                </a:lnTo>
                <a:lnTo>
                  <a:pt x="903" y="355"/>
                </a:lnTo>
                <a:lnTo>
                  <a:pt x="904" y="352"/>
                </a:lnTo>
                <a:lnTo>
                  <a:pt x="905" y="350"/>
                </a:lnTo>
                <a:lnTo>
                  <a:pt x="906" y="347"/>
                </a:lnTo>
                <a:lnTo>
                  <a:pt x="906" y="226"/>
                </a:lnTo>
                <a:lnTo>
                  <a:pt x="905" y="223"/>
                </a:lnTo>
                <a:lnTo>
                  <a:pt x="904" y="220"/>
                </a:lnTo>
                <a:lnTo>
                  <a:pt x="903" y="218"/>
                </a:lnTo>
                <a:lnTo>
                  <a:pt x="900" y="216"/>
                </a:lnTo>
                <a:lnTo>
                  <a:pt x="898" y="214"/>
                </a:lnTo>
                <a:lnTo>
                  <a:pt x="896" y="212"/>
                </a:lnTo>
                <a:lnTo>
                  <a:pt x="893" y="211"/>
                </a:lnTo>
                <a:lnTo>
                  <a:pt x="891" y="21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743" name="Group 61">
            <a:extLst>
              <a:ext uri="{FF2B5EF4-FFF2-40B4-BE49-F238E27FC236}">
                <a16:creationId xmlns:a16="http://schemas.microsoft.com/office/drawing/2014/main" id="{450CB39D-E105-4C34-88B4-5BF21581F57F}"/>
              </a:ext>
            </a:extLst>
          </p:cNvPr>
          <p:cNvGrpSpPr>
            <a:grpSpLocks noChangeAspect="1"/>
          </p:cNvGrpSpPr>
          <p:nvPr/>
        </p:nvGrpSpPr>
        <p:grpSpPr>
          <a:xfrm rot="10800000" flipH="1">
            <a:off x="1882431" y="3263522"/>
            <a:ext cx="308350" cy="306304"/>
            <a:chOff x="8574798" y="4329608"/>
            <a:chExt cx="574675" cy="570864"/>
          </a:xfrm>
          <a:solidFill>
            <a:schemeClr val="bg1"/>
          </a:solidFill>
          <a:effectLst/>
        </p:grpSpPr>
        <p:grpSp>
          <p:nvGrpSpPr>
            <p:cNvPr id="744" name="Group 75">
              <a:extLst>
                <a:ext uri="{FF2B5EF4-FFF2-40B4-BE49-F238E27FC236}">
                  <a16:creationId xmlns:a16="http://schemas.microsoft.com/office/drawing/2014/main" id="{896B76DD-761E-404A-A575-31D1536B29DE}"/>
                </a:ext>
              </a:extLst>
            </p:cNvPr>
            <p:cNvGrpSpPr/>
            <p:nvPr/>
          </p:nvGrpSpPr>
          <p:grpSpPr>
            <a:xfrm rot="10800000">
              <a:off x="8737834" y="4329608"/>
              <a:ext cx="361951" cy="296862"/>
              <a:chOff x="6156325" y="5795963"/>
              <a:chExt cx="361951" cy="296862"/>
            </a:xfrm>
            <a:grpFill/>
          </p:grpSpPr>
          <p:sp>
            <p:nvSpPr>
              <p:cNvPr id="749" name="Freeform 12">
                <a:extLst>
                  <a:ext uri="{FF2B5EF4-FFF2-40B4-BE49-F238E27FC236}">
                    <a16:creationId xmlns:a16="http://schemas.microsoft.com/office/drawing/2014/main" id="{9241F72D-E3E0-4719-A09E-9D353527371F}"/>
                  </a:ext>
                </a:extLst>
              </p:cNvPr>
              <p:cNvSpPr>
                <a:spLocks/>
              </p:cNvSpPr>
              <p:nvPr/>
            </p:nvSpPr>
            <p:spPr bwMode="auto">
              <a:xfrm>
                <a:off x="6176963" y="5795963"/>
                <a:ext cx="341313" cy="233363"/>
              </a:xfrm>
              <a:custGeom>
                <a:avLst/>
                <a:gdLst>
                  <a:gd name="T0" fmla="*/ 23 w 859"/>
                  <a:gd name="T1" fmla="*/ 590 h 590"/>
                  <a:gd name="T2" fmla="*/ 8 w 859"/>
                  <a:gd name="T3" fmla="*/ 582 h 590"/>
                  <a:gd name="T4" fmla="*/ 1 w 859"/>
                  <a:gd name="T5" fmla="*/ 568 h 590"/>
                  <a:gd name="T6" fmla="*/ 2 w 859"/>
                  <a:gd name="T7" fmla="*/ 553 h 590"/>
                  <a:gd name="T8" fmla="*/ 12 w 859"/>
                  <a:gd name="T9" fmla="*/ 540 h 590"/>
                  <a:gd name="T10" fmla="*/ 27 w 859"/>
                  <a:gd name="T11" fmla="*/ 536 h 590"/>
                  <a:gd name="T12" fmla="*/ 589 w 859"/>
                  <a:gd name="T13" fmla="*/ 535 h 590"/>
                  <a:gd name="T14" fmla="*/ 625 w 859"/>
                  <a:gd name="T15" fmla="*/ 528 h 590"/>
                  <a:gd name="T16" fmla="*/ 658 w 859"/>
                  <a:gd name="T17" fmla="*/ 517 h 590"/>
                  <a:gd name="T18" fmla="*/ 690 w 859"/>
                  <a:gd name="T19" fmla="*/ 501 h 590"/>
                  <a:gd name="T20" fmla="*/ 734 w 859"/>
                  <a:gd name="T21" fmla="*/ 465 h 590"/>
                  <a:gd name="T22" fmla="*/ 770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0 w 859"/>
                  <a:gd name="T35" fmla="*/ 212 h 590"/>
                  <a:gd name="T36" fmla="*/ 776 w 859"/>
                  <a:gd name="T37" fmla="*/ 179 h 590"/>
                  <a:gd name="T38" fmla="*/ 750 w 859"/>
                  <a:gd name="T39" fmla="*/ 141 h 590"/>
                  <a:gd name="T40" fmla="*/ 699 w 859"/>
                  <a:gd name="T41" fmla="*/ 94 h 590"/>
                  <a:gd name="T42" fmla="*/ 668 w 859"/>
                  <a:gd name="T43" fmla="*/ 77 h 590"/>
                  <a:gd name="T44" fmla="*/ 636 w 859"/>
                  <a:gd name="T45" fmla="*/ 64 h 590"/>
                  <a:gd name="T46" fmla="*/ 601 w 859"/>
                  <a:gd name="T47" fmla="*/ 56 h 590"/>
                  <a:gd name="T48" fmla="*/ 564 w 859"/>
                  <a:gd name="T49" fmla="*/ 53 h 590"/>
                  <a:gd name="T50" fmla="*/ 17 w 859"/>
                  <a:gd name="T51" fmla="*/ 52 h 590"/>
                  <a:gd name="T52" fmla="*/ 6 w 859"/>
                  <a:gd name="T53" fmla="*/ 42 h 590"/>
                  <a:gd name="T54" fmla="*/ 0 w 859"/>
                  <a:gd name="T55" fmla="*/ 27 h 590"/>
                  <a:gd name="T56" fmla="*/ 6 w 859"/>
                  <a:gd name="T57" fmla="*/ 11 h 590"/>
                  <a:gd name="T58" fmla="*/ 17 w 859"/>
                  <a:gd name="T59" fmla="*/ 1 h 590"/>
                  <a:gd name="T60" fmla="*/ 564 w 859"/>
                  <a:gd name="T61" fmla="*/ 0 h 590"/>
                  <a:gd name="T62" fmla="*/ 609 w 859"/>
                  <a:gd name="T63" fmla="*/ 3 h 590"/>
                  <a:gd name="T64" fmla="*/ 651 w 859"/>
                  <a:gd name="T65" fmla="*/ 12 h 590"/>
                  <a:gd name="T66" fmla="*/ 692 w 859"/>
                  <a:gd name="T67" fmla="*/ 29 h 590"/>
                  <a:gd name="T68" fmla="*/ 729 w 859"/>
                  <a:gd name="T69" fmla="*/ 50 h 590"/>
                  <a:gd name="T70" fmla="*/ 762 w 859"/>
                  <a:gd name="T71" fmla="*/ 76 h 590"/>
                  <a:gd name="T72" fmla="*/ 792 w 859"/>
                  <a:gd name="T73" fmla="*/ 107 h 590"/>
                  <a:gd name="T74" fmla="*/ 816 w 859"/>
                  <a:gd name="T75" fmla="*/ 141 h 590"/>
                  <a:gd name="T76" fmla="*/ 835 w 859"/>
                  <a:gd name="T77" fmla="*/ 179 h 590"/>
                  <a:gd name="T78" fmla="*/ 850 w 859"/>
                  <a:gd name="T79" fmla="*/ 221 h 590"/>
                  <a:gd name="T80" fmla="*/ 858 w 859"/>
                  <a:gd name="T81" fmla="*/ 265 h 590"/>
                  <a:gd name="T82" fmla="*/ 859 w 859"/>
                  <a:gd name="T83" fmla="*/ 309 h 590"/>
                  <a:gd name="T84" fmla="*/ 853 w 859"/>
                  <a:gd name="T85" fmla="*/ 354 h 590"/>
                  <a:gd name="T86" fmla="*/ 841 w 859"/>
                  <a:gd name="T87" fmla="*/ 396 h 590"/>
                  <a:gd name="T88" fmla="*/ 823 w 859"/>
                  <a:gd name="T89" fmla="*/ 435 h 590"/>
                  <a:gd name="T90" fmla="*/ 801 w 859"/>
                  <a:gd name="T91" fmla="*/ 471 h 590"/>
                  <a:gd name="T92" fmla="*/ 773 w 859"/>
                  <a:gd name="T93" fmla="*/ 503 h 590"/>
                  <a:gd name="T94" fmla="*/ 740 w 859"/>
                  <a:gd name="T95" fmla="*/ 531 h 590"/>
                  <a:gd name="T96" fmla="*/ 704 w 859"/>
                  <a:gd name="T97" fmla="*/ 554 h 590"/>
                  <a:gd name="T98" fmla="*/ 665 w 859"/>
                  <a:gd name="T99" fmla="*/ 572 h 590"/>
                  <a:gd name="T100" fmla="*/ 623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27" y="590"/>
                    </a:lnTo>
                    <a:lnTo>
                      <a:pt x="23" y="590"/>
                    </a:lnTo>
                    <a:lnTo>
                      <a:pt x="17" y="588"/>
                    </a:lnTo>
                    <a:lnTo>
                      <a:pt x="12" y="585"/>
                    </a:lnTo>
                    <a:lnTo>
                      <a:pt x="8" y="582"/>
                    </a:lnTo>
                    <a:lnTo>
                      <a:pt x="6" y="577"/>
                    </a:lnTo>
                    <a:lnTo>
                      <a:pt x="2" y="573"/>
                    </a:lnTo>
                    <a:lnTo>
                      <a:pt x="1" y="568"/>
                    </a:lnTo>
                    <a:lnTo>
                      <a:pt x="0" y="563"/>
                    </a:lnTo>
                    <a:lnTo>
                      <a:pt x="1" y="557"/>
                    </a:lnTo>
                    <a:lnTo>
                      <a:pt x="2" y="553"/>
                    </a:lnTo>
                    <a:lnTo>
                      <a:pt x="6" y="548"/>
                    </a:lnTo>
                    <a:lnTo>
                      <a:pt x="8" y="544"/>
                    </a:lnTo>
                    <a:lnTo>
                      <a:pt x="12" y="540"/>
                    </a:lnTo>
                    <a:lnTo>
                      <a:pt x="17" y="538"/>
                    </a:lnTo>
                    <a:lnTo>
                      <a:pt x="23" y="537"/>
                    </a:lnTo>
                    <a:lnTo>
                      <a:pt x="27" y="536"/>
                    </a:lnTo>
                    <a:lnTo>
                      <a:pt x="564" y="536"/>
                    </a:lnTo>
                    <a:lnTo>
                      <a:pt x="576" y="536"/>
                    </a:lnTo>
                    <a:lnTo>
                      <a:pt x="589" y="535"/>
                    </a:lnTo>
                    <a:lnTo>
                      <a:pt x="601" y="534"/>
                    </a:lnTo>
                    <a:lnTo>
                      <a:pt x="612" y="531"/>
                    </a:lnTo>
                    <a:lnTo>
                      <a:pt x="625" y="528"/>
                    </a:lnTo>
                    <a:lnTo>
                      <a:pt x="636" y="525"/>
                    </a:lnTo>
                    <a:lnTo>
                      <a:pt x="647" y="521"/>
                    </a:lnTo>
                    <a:lnTo>
                      <a:pt x="658" y="517"/>
                    </a:lnTo>
                    <a:lnTo>
                      <a:pt x="668" y="512"/>
                    </a:lnTo>
                    <a:lnTo>
                      <a:pt x="679" y="507"/>
                    </a:lnTo>
                    <a:lnTo>
                      <a:pt x="690" y="501"/>
                    </a:lnTo>
                    <a:lnTo>
                      <a:pt x="699" y="494"/>
                    </a:lnTo>
                    <a:lnTo>
                      <a:pt x="718" y="481"/>
                    </a:lnTo>
                    <a:lnTo>
                      <a:pt x="734" y="465"/>
                    </a:lnTo>
                    <a:lnTo>
                      <a:pt x="750" y="449"/>
                    </a:lnTo>
                    <a:lnTo>
                      <a:pt x="764" y="429"/>
                    </a:lnTo>
                    <a:lnTo>
                      <a:pt x="770" y="419"/>
                    </a:lnTo>
                    <a:lnTo>
                      <a:pt x="776" y="409"/>
                    </a:lnTo>
                    <a:lnTo>
                      <a:pt x="781" y="399"/>
                    </a:lnTo>
                    <a:lnTo>
                      <a:pt x="786" y="389"/>
                    </a:lnTo>
                    <a:lnTo>
                      <a:pt x="790" y="378"/>
                    </a:lnTo>
                    <a:lnTo>
                      <a:pt x="795" y="367"/>
                    </a:lnTo>
                    <a:lnTo>
                      <a:pt x="797" y="355"/>
                    </a:lnTo>
                    <a:lnTo>
                      <a:pt x="801" y="343"/>
                    </a:lnTo>
                    <a:lnTo>
                      <a:pt x="803" y="332"/>
                    </a:lnTo>
                    <a:lnTo>
                      <a:pt x="804" y="320"/>
                    </a:lnTo>
                    <a:lnTo>
                      <a:pt x="805" y="307"/>
                    </a:lnTo>
                    <a:lnTo>
                      <a:pt x="805" y="295"/>
                    </a:lnTo>
                    <a:lnTo>
                      <a:pt x="805" y="283"/>
                    </a:lnTo>
                    <a:lnTo>
                      <a:pt x="804" y="270"/>
                    </a:lnTo>
                    <a:lnTo>
                      <a:pt x="803" y="258"/>
                    </a:lnTo>
                    <a:lnTo>
                      <a:pt x="801" y="246"/>
                    </a:lnTo>
                    <a:lnTo>
                      <a:pt x="797" y="234"/>
                    </a:lnTo>
                    <a:lnTo>
                      <a:pt x="795" y="223"/>
                    </a:lnTo>
                    <a:lnTo>
                      <a:pt x="790" y="212"/>
                    </a:lnTo>
                    <a:lnTo>
                      <a:pt x="786" y="201"/>
                    </a:lnTo>
                    <a:lnTo>
                      <a:pt x="781" y="191"/>
                    </a:lnTo>
                    <a:lnTo>
                      <a:pt x="776" y="179"/>
                    </a:lnTo>
                    <a:lnTo>
                      <a:pt x="770" y="169"/>
                    </a:lnTo>
                    <a:lnTo>
                      <a:pt x="764" y="159"/>
                    </a:lnTo>
                    <a:lnTo>
                      <a:pt x="750" y="141"/>
                    </a:lnTo>
                    <a:lnTo>
                      <a:pt x="734" y="124"/>
                    </a:lnTo>
                    <a:lnTo>
                      <a:pt x="718" y="109"/>
                    </a:lnTo>
                    <a:lnTo>
                      <a:pt x="699" y="94"/>
                    </a:lnTo>
                    <a:lnTo>
                      <a:pt x="690" y="89"/>
                    </a:lnTo>
                    <a:lnTo>
                      <a:pt x="679" y="82"/>
                    </a:lnTo>
                    <a:lnTo>
                      <a:pt x="668" y="77"/>
                    </a:lnTo>
                    <a:lnTo>
                      <a:pt x="658" y="72"/>
                    </a:lnTo>
                    <a:lnTo>
                      <a:pt x="647" y="68"/>
                    </a:lnTo>
                    <a:lnTo>
                      <a:pt x="636" y="64"/>
                    </a:lnTo>
                    <a:lnTo>
                      <a:pt x="625" y="61"/>
                    </a:lnTo>
                    <a:lnTo>
                      <a:pt x="612" y="58"/>
                    </a:lnTo>
                    <a:lnTo>
                      <a:pt x="601" y="56"/>
                    </a:lnTo>
                    <a:lnTo>
                      <a:pt x="589" y="55"/>
                    </a:lnTo>
                    <a:lnTo>
                      <a:pt x="576" y="54"/>
                    </a:lnTo>
                    <a:lnTo>
                      <a:pt x="564" y="53"/>
                    </a:lnTo>
                    <a:lnTo>
                      <a:pt x="27" y="53"/>
                    </a:lnTo>
                    <a:lnTo>
                      <a:pt x="23" y="53"/>
                    </a:lnTo>
                    <a:lnTo>
                      <a:pt x="17" y="52"/>
                    </a:lnTo>
                    <a:lnTo>
                      <a:pt x="12" y="48"/>
                    </a:lnTo>
                    <a:lnTo>
                      <a:pt x="8" y="45"/>
                    </a:lnTo>
                    <a:lnTo>
                      <a:pt x="6" y="42"/>
                    </a:lnTo>
                    <a:lnTo>
                      <a:pt x="2" y="37"/>
                    </a:lnTo>
                    <a:lnTo>
                      <a:pt x="1" y="31"/>
                    </a:lnTo>
                    <a:lnTo>
                      <a:pt x="0" y="27"/>
                    </a:lnTo>
                    <a:lnTo>
                      <a:pt x="1" y="21"/>
                    </a:lnTo>
                    <a:lnTo>
                      <a:pt x="2" y="16"/>
                    </a:lnTo>
                    <a:lnTo>
                      <a:pt x="6" y="11"/>
                    </a:lnTo>
                    <a:lnTo>
                      <a:pt x="8" y="8"/>
                    </a:lnTo>
                    <a:lnTo>
                      <a:pt x="12" y="5"/>
                    </a:lnTo>
                    <a:lnTo>
                      <a:pt x="17" y="1"/>
                    </a:lnTo>
                    <a:lnTo>
                      <a:pt x="23" y="0"/>
                    </a:lnTo>
                    <a:lnTo>
                      <a:pt x="27" y="0"/>
                    </a:lnTo>
                    <a:lnTo>
                      <a:pt x="564" y="0"/>
                    </a:lnTo>
                    <a:lnTo>
                      <a:pt x="579" y="0"/>
                    </a:lnTo>
                    <a:lnTo>
                      <a:pt x="594" y="1"/>
                    </a:lnTo>
                    <a:lnTo>
                      <a:pt x="609" y="3"/>
                    </a:lnTo>
                    <a:lnTo>
                      <a:pt x="623" y="6"/>
                    </a:lnTo>
                    <a:lnTo>
                      <a:pt x="638" y="9"/>
                    </a:lnTo>
                    <a:lnTo>
                      <a:pt x="651" y="12"/>
                    </a:lnTo>
                    <a:lnTo>
                      <a:pt x="665" y="18"/>
                    </a:lnTo>
                    <a:lnTo>
                      <a:pt x="678" y="22"/>
                    </a:lnTo>
                    <a:lnTo>
                      <a:pt x="692" y="29"/>
                    </a:lnTo>
                    <a:lnTo>
                      <a:pt x="704" y="35"/>
                    </a:lnTo>
                    <a:lnTo>
                      <a:pt x="716" y="43"/>
                    </a:lnTo>
                    <a:lnTo>
                      <a:pt x="729" y="50"/>
                    </a:lnTo>
                    <a:lnTo>
                      <a:pt x="740" y="58"/>
                    </a:lnTo>
                    <a:lnTo>
                      <a:pt x="751" y="67"/>
                    </a:lnTo>
                    <a:lnTo>
                      <a:pt x="762" y="76"/>
                    </a:lnTo>
                    <a:lnTo>
                      <a:pt x="773" y="86"/>
                    </a:lnTo>
                    <a:lnTo>
                      <a:pt x="783" y="96"/>
                    </a:lnTo>
                    <a:lnTo>
                      <a:pt x="792" y="107"/>
                    </a:lnTo>
                    <a:lnTo>
                      <a:pt x="801" y="118"/>
                    </a:lnTo>
                    <a:lnTo>
                      <a:pt x="808" y="130"/>
                    </a:lnTo>
                    <a:lnTo>
                      <a:pt x="816" y="141"/>
                    </a:lnTo>
                    <a:lnTo>
                      <a:pt x="823" y="154"/>
                    </a:lnTo>
                    <a:lnTo>
                      <a:pt x="830" y="167"/>
                    </a:lnTo>
                    <a:lnTo>
                      <a:pt x="835" y="179"/>
                    </a:lnTo>
                    <a:lnTo>
                      <a:pt x="841" y="193"/>
                    </a:lnTo>
                    <a:lnTo>
                      <a:pt x="845" y="207"/>
                    </a:lnTo>
                    <a:lnTo>
                      <a:pt x="850" y="221"/>
                    </a:lnTo>
                    <a:lnTo>
                      <a:pt x="853" y="235"/>
                    </a:lnTo>
                    <a:lnTo>
                      <a:pt x="855" y="250"/>
                    </a:lnTo>
                    <a:lnTo>
                      <a:pt x="858" y="265"/>
                    </a:lnTo>
                    <a:lnTo>
                      <a:pt x="859" y="279"/>
                    </a:lnTo>
                    <a:lnTo>
                      <a:pt x="859" y="295"/>
                    </a:lnTo>
                    <a:lnTo>
                      <a:pt x="859" y="309"/>
                    </a:lnTo>
                    <a:lnTo>
                      <a:pt x="858" y="325"/>
                    </a:lnTo>
                    <a:lnTo>
                      <a:pt x="855" y="340"/>
                    </a:lnTo>
                    <a:lnTo>
                      <a:pt x="853" y="354"/>
                    </a:lnTo>
                    <a:lnTo>
                      <a:pt x="850" y="369"/>
                    </a:lnTo>
                    <a:lnTo>
                      <a:pt x="845" y="382"/>
                    </a:lnTo>
                    <a:lnTo>
                      <a:pt x="841" y="396"/>
                    </a:lnTo>
                    <a:lnTo>
                      <a:pt x="835" y="409"/>
                    </a:lnTo>
                    <a:lnTo>
                      <a:pt x="830" y="423"/>
                    </a:lnTo>
                    <a:lnTo>
                      <a:pt x="823" y="435"/>
                    </a:lnTo>
                    <a:lnTo>
                      <a:pt x="816" y="447"/>
                    </a:lnTo>
                    <a:lnTo>
                      <a:pt x="808" y="460"/>
                    </a:lnTo>
                    <a:lnTo>
                      <a:pt x="801" y="471"/>
                    </a:lnTo>
                    <a:lnTo>
                      <a:pt x="792" y="482"/>
                    </a:lnTo>
                    <a:lnTo>
                      <a:pt x="783" y="493"/>
                    </a:lnTo>
                    <a:lnTo>
                      <a:pt x="773" y="503"/>
                    </a:lnTo>
                    <a:lnTo>
                      <a:pt x="762" y="514"/>
                    </a:lnTo>
                    <a:lnTo>
                      <a:pt x="751" y="522"/>
                    </a:lnTo>
                    <a:lnTo>
                      <a:pt x="740" y="531"/>
                    </a:lnTo>
                    <a:lnTo>
                      <a:pt x="729" y="539"/>
                    </a:lnTo>
                    <a:lnTo>
                      <a:pt x="716" y="547"/>
                    </a:lnTo>
                    <a:lnTo>
                      <a:pt x="704" y="554"/>
                    </a:lnTo>
                    <a:lnTo>
                      <a:pt x="692" y="561"/>
                    </a:lnTo>
                    <a:lnTo>
                      <a:pt x="678" y="566"/>
                    </a:lnTo>
                    <a:lnTo>
                      <a:pt x="665" y="572"/>
                    </a:lnTo>
                    <a:lnTo>
                      <a:pt x="651" y="576"/>
                    </a:lnTo>
                    <a:lnTo>
                      <a:pt x="638" y="581"/>
                    </a:lnTo>
                    <a:lnTo>
                      <a:pt x="623" y="584"/>
                    </a:lnTo>
                    <a:lnTo>
                      <a:pt x="609" y="586"/>
                    </a:lnTo>
                    <a:lnTo>
                      <a:pt x="594"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13">
                <a:extLst>
                  <a:ext uri="{FF2B5EF4-FFF2-40B4-BE49-F238E27FC236}">
                    <a16:creationId xmlns:a16="http://schemas.microsoft.com/office/drawing/2014/main" id="{45BFA3B7-296E-4C18-ABA0-71A1AE581DD4}"/>
                  </a:ext>
                </a:extLst>
              </p:cNvPr>
              <p:cNvSpPr>
                <a:spLocks/>
              </p:cNvSpPr>
              <p:nvPr/>
            </p:nvSpPr>
            <p:spPr bwMode="auto">
              <a:xfrm>
                <a:off x="6156325" y="5943600"/>
                <a:ext cx="85725" cy="149225"/>
              </a:xfrm>
              <a:custGeom>
                <a:avLst/>
                <a:gdLst>
                  <a:gd name="T0" fmla="*/ 188 w 215"/>
                  <a:gd name="T1" fmla="*/ 375 h 375"/>
                  <a:gd name="T2" fmla="*/ 183 w 215"/>
                  <a:gd name="T3" fmla="*/ 374 h 375"/>
                  <a:gd name="T4" fmla="*/ 178 w 215"/>
                  <a:gd name="T5" fmla="*/ 373 h 375"/>
                  <a:gd name="T6" fmla="*/ 173 w 215"/>
                  <a:gd name="T7" fmla="*/ 371 h 375"/>
                  <a:gd name="T8" fmla="*/ 169 w 215"/>
                  <a:gd name="T9" fmla="*/ 367 h 375"/>
                  <a:gd name="T10" fmla="*/ 8 w 215"/>
                  <a:gd name="T11" fmla="*/ 206 h 375"/>
                  <a:gd name="T12" fmla="*/ 5 w 215"/>
                  <a:gd name="T13" fmla="*/ 201 h 375"/>
                  <a:gd name="T14" fmla="*/ 2 w 215"/>
                  <a:gd name="T15" fmla="*/ 197 h 375"/>
                  <a:gd name="T16" fmla="*/ 0 w 215"/>
                  <a:gd name="T17" fmla="*/ 192 h 375"/>
                  <a:gd name="T18" fmla="*/ 0 w 215"/>
                  <a:gd name="T19" fmla="*/ 187 h 375"/>
                  <a:gd name="T20" fmla="*/ 0 w 215"/>
                  <a:gd name="T21" fmla="*/ 182 h 375"/>
                  <a:gd name="T22" fmla="*/ 2 w 215"/>
                  <a:gd name="T23" fmla="*/ 177 h 375"/>
                  <a:gd name="T24" fmla="*/ 5 w 215"/>
                  <a:gd name="T25" fmla="*/ 172 h 375"/>
                  <a:gd name="T26" fmla="*/ 8 w 215"/>
                  <a:gd name="T27" fmla="*/ 168 h 375"/>
                  <a:gd name="T28" fmla="*/ 169 w 215"/>
                  <a:gd name="T29" fmla="*/ 7 h 375"/>
                  <a:gd name="T30" fmla="*/ 173 w 215"/>
                  <a:gd name="T31" fmla="*/ 4 h 375"/>
                  <a:gd name="T32" fmla="*/ 178 w 215"/>
                  <a:gd name="T33" fmla="*/ 1 h 375"/>
                  <a:gd name="T34" fmla="*/ 183 w 215"/>
                  <a:gd name="T35" fmla="*/ 0 h 375"/>
                  <a:gd name="T36" fmla="*/ 188 w 215"/>
                  <a:gd name="T37" fmla="*/ 0 h 375"/>
                  <a:gd name="T38" fmla="*/ 193 w 215"/>
                  <a:gd name="T39" fmla="*/ 0 h 375"/>
                  <a:gd name="T40" fmla="*/ 198 w 215"/>
                  <a:gd name="T41" fmla="*/ 1 h 375"/>
                  <a:gd name="T42" fmla="*/ 202 w 215"/>
                  <a:gd name="T43" fmla="*/ 4 h 375"/>
                  <a:gd name="T44" fmla="*/ 207 w 215"/>
                  <a:gd name="T45" fmla="*/ 7 h 375"/>
                  <a:gd name="T46" fmla="*/ 210 w 215"/>
                  <a:gd name="T47" fmla="*/ 11 h 375"/>
                  <a:gd name="T48" fmla="*/ 212 w 215"/>
                  <a:gd name="T49" fmla="*/ 16 h 375"/>
                  <a:gd name="T50" fmla="*/ 215 w 215"/>
                  <a:gd name="T51" fmla="*/ 21 h 375"/>
                  <a:gd name="T52" fmla="*/ 215 w 215"/>
                  <a:gd name="T53" fmla="*/ 27 h 375"/>
                  <a:gd name="T54" fmla="*/ 215 w 215"/>
                  <a:gd name="T55" fmla="*/ 31 h 375"/>
                  <a:gd name="T56" fmla="*/ 212 w 215"/>
                  <a:gd name="T57" fmla="*/ 37 h 375"/>
                  <a:gd name="T58" fmla="*/ 210 w 215"/>
                  <a:gd name="T59" fmla="*/ 41 h 375"/>
                  <a:gd name="T60" fmla="*/ 207 w 215"/>
                  <a:gd name="T61" fmla="*/ 44 h 375"/>
                  <a:gd name="T62" fmla="*/ 64 w 215"/>
                  <a:gd name="T63" fmla="*/ 187 h 375"/>
                  <a:gd name="T64" fmla="*/ 207 w 215"/>
                  <a:gd name="T65" fmla="*/ 329 h 375"/>
                  <a:gd name="T66" fmla="*/ 210 w 215"/>
                  <a:gd name="T67" fmla="*/ 333 h 375"/>
                  <a:gd name="T68" fmla="*/ 212 w 215"/>
                  <a:gd name="T69" fmla="*/ 338 h 375"/>
                  <a:gd name="T70" fmla="*/ 215 w 215"/>
                  <a:gd name="T71" fmla="*/ 343 h 375"/>
                  <a:gd name="T72" fmla="*/ 215 w 215"/>
                  <a:gd name="T73" fmla="*/ 348 h 375"/>
                  <a:gd name="T74" fmla="*/ 215 w 215"/>
                  <a:gd name="T75" fmla="*/ 353 h 375"/>
                  <a:gd name="T76" fmla="*/ 212 w 215"/>
                  <a:gd name="T77" fmla="*/ 358 h 375"/>
                  <a:gd name="T78" fmla="*/ 210 w 215"/>
                  <a:gd name="T79" fmla="*/ 363 h 375"/>
                  <a:gd name="T80" fmla="*/ 207 w 215"/>
                  <a:gd name="T81" fmla="*/ 367 h 375"/>
                  <a:gd name="T82" fmla="*/ 202 w 215"/>
                  <a:gd name="T83" fmla="*/ 371 h 375"/>
                  <a:gd name="T84" fmla="*/ 198 w 215"/>
                  <a:gd name="T85" fmla="*/ 373 h 375"/>
                  <a:gd name="T86" fmla="*/ 193 w 215"/>
                  <a:gd name="T87" fmla="*/ 374 h 375"/>
                  <a:gd name="T88" fmla="*/ 188 w 215"/>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375">
                    <a:moveTo>
                      <a:pt x="188" y="375"/>
                    </a:moveTo>
                    <a:lnTo>
                      <a:pt x="183" y="374"/>
                    </a:lnTo>
                    <a:lnTo>
                      <a:pt x="178" y="373"/>
                    </a:lnTo>
                    <a:lnTo>
                      <a:pt x="173" y="371"/>
                    </a:lnTo>
                    <a:lnTo>
                      <a:pt x="169" y="367"/>
                    </a:lnTo>
                    <a:lnTo>
                      <a:pt x="8" y="206"/>
                    </a:lnTo>
                    <a:lnTo>
                      <a:pt x="5" y="201"/>
                    </a:lnTo>
                    <a:lnTo>
                      <a:pt x="2" y="197"/>
                    </a:lnTo>
                    <a:lnTo>
                      <a:pt x="0" y="192"/>
                    </a:lnTo>
                    <a:lnTo>
                      <a:pt x="0" y="187"/>
                    </a:lnTo>
                    <a:lnTo>
                      <a:pt x="0" y="182"/>
                    </a:lnTo>
                    <a:lnTo>
                      <a:pt x="2" y="177"/>
                    </a:lnTo>
                    <a:lnTo>
                      <a:pt x="5" y="172"/>
                    </a:lnTo>
                    <a:lnTo>
                      <a:pt x="8" y="168"/>
                    </a:lnTo>
                    <a:lnTo>
                      <a:pt x="169" y="7"/>
                    </a:lnTo>
                    <a:lnTo>
                      <a:pt x="173" y="4"/>
                    </a:lnTo>
                    <a:lnTo>
                      <a:pt x="178" y="1"/>
                    </a:lnTo>
                    <a:lnTo>
                      <a:pt x="183" y="0"/>
                    </a:lnTo>
                    <a:lnTo>
                      <a:pt x="188" y="0"/>
                    </a:lnTo>
                    <a:lnTo>
                      <a:pt x="193" y="0"/>
                    </a:lnTo>
                    <a:lnTo>
                      <a:pt x="198" y="1"/>
                    </a:lnTo>
                    <a:lnTo>
                      <a:pt x="202" y="4"/>
                    </a:lnTo>
                    <a:lnTo>
                      <a:pt x="207" y="7"/>
                    </a:lnTo>
                    <a:lnTo>
                      <a:pt x="210" y="11"/>
                    </a:lnTo>
                    <a:lnTo>
                      <a:pt x="212" y="16"/>
                    </a:lnTo>
                    <a:lnTo>
                      <a:pt x="215" y="21"/>
                    </a:lnTo>
                    <a:lnTo>
                      <a:pt x="215" y="27"/>
                    </a:lnTo>
                    <a:lnTo>
                      <a:pt x="215" y="31"/>
                    </a:lnTo>
                    <a:lnTo>
                      <a:pt x="212" y="37"/>
                    </a:lnTo>
                    <a:lnTo>
                      <a:pt x="210" y="41"/>
                    </a:lnTo>
                    <a:lnTo>
                      <a:pt x="207" y="44"/>
                    </a:lnTo>
                    <a:lnTo>
                      <a:pt x="64" y="187"/>
                    </a:lnTo>
                    <a:lnTo>
                      <a:pt x="207" y="329"/>
                    </a:lnTo>
                    <a:lnTo>
                      <a:pt x="210" y="333"/>
                    </a:lnTo>
                    <a:lnTo>
                      <a:pt x="212" y="338"/>
                    </a:lnTo>
                    <a:lnTo>
                      <a:pt x="215" y="343"/>
                    </a:lnTo>
                    <a:lnTo>
                      <a:pt x="215" y="348"/>
                    </a:lnTo>
                    <a:lnTo>
                      <a:pt x="215" y="353"/>
                    </a:lnTo>
                    <a:lnTo>
                      <a:pt x="212" y="358"/>
                    </a:lnTo>
                    <a:lnTo>
                      <a:pt x="210" y="363"/>
                    </a:lnTo>
                    <a:lnTo>
                      <a:pt x="207" y="367"/>
                    </a:lnTo>
                    <a:lnTo>
                      <a:pt x="202" y="371"/>
                    </a:lnTo>
                    <a:lnTo>
                      <a:pt x="198" y="373"/>
                    </a:lnTo>
                    <a:lnTo>
                      <a:pt x="193" y="374"/>
                    </a:lnTo>
                    <a:lnTo>
                      <a:pt x="188"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5" name="Group 76">
              <a:extLst>
                <a:ext uri="{FF2B5EF4-FFF2-40B4-BE49-F238E27FC236}">
                  <a16:creationId xmlns:a16="http://schemas.microsoft.com/office/drawing/2014/main" id="{83061349-56AA-4448-B838-DB71DD1F7F0A}"/>
                </a:ext>
              </a:extLst>
            </p:cNvPr>
            <p:cNvGrpSpPr/>
            <p:nvPr/>
          </p:nvGrpSpPr>
          <p:grpSpPr>
            <a:xfrm>
              <a:off x="8574798" y="4603610"/>
              <a:ext cx="574675" cy="296862"/>
              <a:chOff x="6731000" y="5795963"/>
              <a:chExt cx="574675" cy="296862"/>
            </a:xfrm>
            <a:grpFill/>
          </p:grpSpPr>
          <p:sp>
            <p:nvSpPr>
              <p:cNvPr id="746" name="Freeform 14">
                <a:extLst>
                  <a:ext uri="{FF2B5EF4-FFF2-40B4-BE49-F238E27FC236}">
                    <a16:creationId xmlns:a16="http://schemas.microsoft.com/office/drawing/2014/main" id="{BA564BC0-055C-4D6B-9B13-A4280AC80AAA}"/>
                  </a:ext>
                </a:extLst>
              </p:cNvPr>
              <p:cNvSpPr>
                <a:spLocks/>
              </p:cNvSpPr>
              <p:nvPr/>
            </p:nvSpPr>
            <p:spPr bwMode="auto">
              <a:xfrm>
                <a:off x="6965950" y="5795963"/>
                <a:ext cx="339725" cy="233363"/>
              </a:xfrm>
              <a:custGeom>
                <a:avLst/>
                <a:gdLst>
                  <a:gd name="T0" fmla="*/ 183 w 859"/>
                  <a:gd name="T1" fmla="*/ 590 h 590"/>
                  <a:gd name="T2" fmla="*/ 170 w 859"/>
                  <a:gd name="T3" fmla="*/ 582 h 590"/>
                  <a:gd name="T4" fmla="*/ 162 w 859"/>
                  <a:gd name="T5" fmla="*/ 568 h 590"/>
                  <a:gd name="T6" fmla="*/ 164 w 859"/>
                  <a:gd name="T7" fmla="*/ 553 h 590"/>
                  <a:gd name="T8" fmla="*/ 173 w 859"/>
                  <a:gd name="T9" fmla="*/ 540 h 590"/>
                  <a:gd name="T10" fmla="*/ 189 w 859"/>
                  <a:gd name="T11" fmla="*/ 536 h 590"/>
                  <a:gd name="T12" fmla="*/ 589 w 859"/>
                  <a:gd name="T13" fmla="*/ 535 h 590"/>
                  <a:gd name="T14" fmla="*/ 624 w 859"/>
                  <a:gd name="T15" fmla="*/ 528 h 590"/>
                  <a:gd name="T16" fmla="*/ 657 w 859"/>
                  <a:gd name="T17" fmla="*/ 517 h 590"/>
                  <a:gd name="T18" fmla="*/ 689 w 859"/>
                  <a:gd name="T19" fmla="*/ 501 h 590"/>
                  <a:gd name="T20" fmla="*/ 735 w 859"/>
                  <a:gd name="T21" fmla="*/ 465 h 590"/>
                  <a:gd name="T22" fmla="*/ 771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1 w 859"/>
                  <a:gd name="T35" fmla="*/ 212 h 590"/>
                  <a:gd name="T36" fmla="*/ 776 w 859"/>
                  <a:gd name="T37" fmla="*/ 179 h 590"/>
                  <a:gd name="T38" fmla="*/ 750 w 859"/>
                  <a:gd name="T39" fmla="*/ 141 h 590"/>
                  <a:gd name="T40" fmla="*/ 699 w 859"/>
                  <a:gd name="T41" fmla="*/ 94 h 590"/>
                  <a:gd name="T42" fmla="*/ 669 w 859"/>
                  <a:gd name="T43" fmla="*/ 77 h 590"/>
                  <a:gd name="T44" fmla="*/ 636 w 859"/>
                  <a:gd name="T45" fmla="*/ 64 h 590"/>
                  <a:gd name="T46" fmla="*/ 600 w 859"/>
                  <a:gd name="T47" fmla="*/ 56 h 590"/>
                  <a:gd name="T48" fmla="*/ 564 w 859"/>
                  <a:gd name="T49" fmla="*/ 53 h 590"/>
                  <a:gd name="T50" fmla="*/ 17 w 859"/>
                  <a:gd name="T51" fmla="*/ 52 h 590"/>
                  <a:gd name="T52" fmla="*/ 5 w 859"/>
                  <a:gd name="T53" fmla="*/ 42 h 590"/>
                  <a:gd name="T54" fmla="*/ 0 w 859"/>
                  <a:gd name="T55" fmla="*/ 27 h 590"/>
                  <a:gd name="T56" fmla="*/ 5 w 859"/>
                  <a:gd name="T57" fmla="*/ 11 h 590"/>
                  <a:gd name="T58" fmla="*/ 17 w 859"/>
                  <a:gd name="T59" fmla="*/ 1 h 590"/>
                  <a:gd name="T60" fmla="*/ 564 w 859"/>
                  <a:gd name="T61" fmla="*/ 0 h 590"/>
                  <a:gd name="T62" fmla="*/ 609 w 859"/>
                  <a:gd name="T63" fmla="*/ 3 h 590"/>
                  <a:gd name="T64" fmla="*/ 652 w 859"/>
                  <a:gd name="T65" fmla="*/ 12 h 590"/>
                  <a:gd name="T66" fmla="*/ 692 w 859"/>
                  <a:gd name="T67" fmla="*/ 29 h 590"/>
                  <a:gd name="T68" fmla="*/ 729 w 859"/>
                  <a:gd name="T69" fmla="*/ 50 h 590"/>
                  <a:gd name="T70" fmla="*/ 763 w 859"/>
                  <a:gd name="T71" fmla="*/ 76 h 590"/>
                  <a:gd name="T72" fmla="*/ 792 w 859"/>
                  <a:gd name="T73" fmla="*/ 107 h 590"/>
                  <a:gd name="T74" fmla="*/ 817 w 859"/>
                  <a:gd name="T75" fmla="*/ 141 h 590"/>
                  <a:gd name="T76" fmla="*/ 836 w 859"/>
                  <a:gd name="T77" fmla="*/ 179 h 590"/>
                  <a:gd name="T78" fmla="*/ 850 w 859"/>
                  <a:gd name="T79" fmla="*/ 221 h 590"/>
                  <a:gd name="T80" fmla="*/ 857 w 859"/>
                  <a:gd name="T81" fmla="*/ 265 h 590"/>
                  <a:gd name="T82" fmla="*/ 858 w 859"/>
                  <a:gd name="T83" fmla="*/ 309 h 590"/>
                  <a:gd name="T84" fmla="*/ 852 w 859"/>
                  <a:gd name="T85" fmla="*/ 354 h 590"/>
                  <a:gd name="T86" fmla="*/ 841 w 859"/>
                  <a:gd name="T87" fmla="*/ 396 h 590"/>
                  <a:gd name="T88" fmla="*/ 823 w 859"/>
                  <a:gd name="T89" fmla="*/ 435 h 590"/>
                  <a:gd name="T90" fmla="*/ 800 w 859"/>
                  <a:gd name="T91" fmla="*/ 471 h 590"/>
                  <a:gd name="T92" fmla="*/ 773 w 859"/>
                  <a:gd name="T93" fmla="*/ 503 h 590"/>
                  <a:gd name="T94" fmla="*/ 740 w 859"/>
                  <a:gd name="T95" fmla="*/ 531 h 590"/>
                  <a:gd name="T96" fmla="*/ 704 w 859"/>
                  <a:gd name="T97" fmla="*/ 554 h 590"/>
                  <a:gd name="T98" fmla="*/ 665 w 859"/>
                  <a:gd name="T99" fmla="*/ 572 h 590"/>
                  <a:gd name="T100" fmla="*/ 624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189" y="590"/>
                    </a:lnTo>
                    <a:lnTo>
                      <a:pt x="183" y="590"/>
                    </a:lnTo>
                    <a:lnTo>
                      <a:pt x="178" y="588"/>
                    </a:lnTo>
                    <a:lnTo>
                      <a:pt x="173" y="585"/>
                    </a:lnTo>
                    <a:lnTo>
                      <a:pt x="170" y="582"/>
                    </a:lnTo>
                    <a:lnTo>
                      <a:pt x="166" y="577"/>
                    </a:lnTo>
                    <a:lnTo>
                      <a:pt x="164" y="573"/>
                    </a:lnTo>
                    <a:lnTo>
                      <a:pt x="162" y="568"/>
                    </a:lnTo>
                    <a:lnTo>
                      <a:pt x="162" y="563"/>
                    </a:lnTo>
                    <a:lnTo>
                      <a:pt x="162" y="557"/>
                    </a:lnTo>
                    <a:lnTo>
                      <a:pt x="164" y="553"/>
                    </a:lnTo>
                    <a:lnTo>
                      <a:pt x="166" y="548"/>
                    </a:lnTo>
                    <a:lnTo>
                      <a:pt x="170" y="544"/>
                    </a:lnTo>
                    <a:lnTo>
                      <a:pt x="173" y="540"/>
                    </a:lnTo>
                    <a:lnTo>
                      <a:pt x="178" y="538"/>
                    </a:lnTo>
                    <a:lnTo>
                      <a:pt x="183" y="537"/>
                    </a:lnTo>
                    <a:lnTo>
                      <a:pt x="189" y="536"/>
                    </a:lnTo>
                    <a:lnTo>
                      <a:pt x="564" y="536"/>
                    </a:lnTo>
                    <a:lnTo>
                      <a:pt x="577" y="536"/>
                    </a:lnTo>
                    <a:lnTo>
                      <a:pt x="589" y="535"/>
                    </a:lnTo>
                    <a:lnTo>
                      <a:pt x="600" y="534"/>
                    </a:lnTo>
                    <a:lnTo>
                      <a:pt x="613" y="531"/>
                    </a:lnTo>
                    <a:lnTo>
                      <a:pt x="624" y="528"/>
                    </a:lnTo>
                    <a:lnTo>
                      <a:pt x="636" y="525"/>
                    </a:lnTo>
                    <a:lnTo>
                      <a:pt x="647" y="521"/>
                    </a:lnTo>
                    <a:lnTo>
                      <a:pt x="657" y="517"/>
                    </a:lnTo>
                    <a:lnTo>
                      <a:pt x="669" y="512"/>
                    </a:lnTo>
                    <a:lnTo>
                      <a:pt x="679" y="507"/>
                    </a:lnTo>
                    <a:lnTo>
                      <a:pt x="689" y="501"/>
                    </a:lnTo>
                    <a:lnTo>
                      <a:pt x="699" y="494"/>
                    </a:lnTo>
                    <a:lnTo>
                      <a:pt x="718" y="481"/>
                    </a:lnTo>
                    <a:lnTo>
                      <a:pt x="735" y="465"/>
                    </a:lnTo>
                    <a:lnTo>
                      <a:pt x="750" y="449"/>
                    </a:lnTo>
                    <a:lnTo>
                      <a:pt x="764" y="429"/>
                    </a:lnTo>
                    <a:lnTo>
                      <a:pt x="771" y="419"/>
                    </a:lnTo>
                    <a:lnTo>
                      <a:pt x="776" y="409"/>
                    </a:lnTo>
                    <a:lnTo>
                      <a:pt x="782" y="399"/>
                    </a:lnTo>
                    <a:lnTo>
                      <a:pt x="786" y="389"/>
                    </a:lnTo>
                    <a:lnTo>
                      <a:pt x="791" y="378"/>
                    </a:lnTo>
                    <a:lnTo>
                      <a:pt x="794" y="367"/>
                    </a:lnTo>
                    <a:lnTo>
                      <a:pt x="797" y="355"/>
                    </a:lnTo>
                    <a:lnTo>
                      <a:pt x="801" y="343"/>
                    </a:lnTo>
                    <a:lnTo>
                      <a:pt x="802" y="332"/>
                    </a:lnTo>
                    <a:lnTo>
                      <a:pt x="804" y="320"/>
                    </a:lnTo>
                    <a:lnTo>
                      <a:pt x="805" y="307"/>
                    </a:lnTo>
                    <a:lnTo>
                      <a:pt x="805" y="295"/>
                    </a:lnTo>
                    <a:lnTo>
                      <a:pt x="805" y="283"/>
                    </a:lnTo>
                    <a:lnTo>
                      <a:pt x="804" y="270"/>
                    </a:lnTo>
                    <a:lnTo>
                      <a:pt x="802" y="258"/>
                    </a:lnTo>
                    <a:lnTo>
                      <a:pt x="801" y="246"/>
                    </a:lnTo>
                    <a:lnTo>
                      <a:pt x="797" y="234"/>
                    </a:lnTo>
                    <a:lnTo>
                      <a:pt x="794" y="223"/>
                    </a:lnTo>
                    <a:lnTo>
                      <a:pt x="791" y="212"/>
                    </a:lnTo>
                    <a:lnTo>
                      <a:pt x="786" y="201"/>
                    </a:lnTo>
                    <a:lnTo>
                      <a:pt x="782" y="191"/>
                    </a:lnTo>
                    <a:lnTo>
                      <a:pt x="776" y="179"/>
                    </a:lnTo>
                    <a:lnTo>
                      <a:pt x="771" y="169"/>
                    </a:lnTo>
                    <a:lnTo>
                      <a:pt x="764" y="159"/>
                    </a:lnTo>
                    <a:lnTo>
                      <a:pt x="750" y="141"/>
                    </a:lnTo>
                    <a:lnTo>
                      <a:pt x="735" y="124"/>
                    </a:lnTo>
                    <a:lnTo>
                      <a:pt x="718" y="109"/>
                    </a:lnTo>
                    <a:lnTo>
                      <a:pt x="699" y="94"/>
                    </a:lnTo>
                    <a:lnTo>
                      <a:pt x="689" y="89"/>
                    </a:lnTo>
                    <a:lnTo>
                      <a:pt x="679" y="82"/>
                    </a:lnTo>
                    <a:lnTo>
                      <a:pt x="669" y="77"/>
                    </a:lnTo>
                    <a:lnTo>
                      <a:pt x="657" y="72"/>
                    </a:lnTo>
                    <a:lnTo>
                      <a:pt x="647" y="68"/>
                    </a:lnTo>
                    <a:lnTo>
                      <a:pt x="636" y="64"/>
                    </a:lnTo>
                    <a:lnTo>
                      <a:pt x="624" y="61"/>
                    </a:lnTo>
                    <a:lnTo>
                      <a:pt x="613" y="58"/>
                    </a:lnTo>
                    <a:lnTo>
                      <a:pt x="600" y="56"/>
                    </a:lnTo>
                    <a:lnTo>
                      <a:pt x="589" y="55"/>
                    </a:lnTo>
                    <a:lnTo>
                      <a:pt x="577" y="54"/>
                    </a:lnTo>
                    <a:lnTo>
                      <a:pt x="564" y="53"/>
                    </a:lnTo>
                    <a:lnTo>
                      <a:pt x="27" y="53"/>
                    </a:lnTo>
                    <a:lnTo>
                      <a:pt x="22" y="53"/>
                    </a:lnTo>
                    <a:lnTo>
                      <a:pt x="17" y="52"/>
                    </a:lnTo>
                    <a:lnTo>
                      <a:pt x="13" y="48"/>
                    </a:lnTo>
                    <a:lnTo>
                      <a:pt x="8" y="45"/>
                    </a:lnTo>
                    <a:lnTo>
                      <a:pt x="5" y="42"/>
                    </a:lnTo>
                    <a:lnTo>
                      <a:pt x="3" y="37"/>
                    </a:lnTo>
                    <a:lnTo>
                      <a:pt x="2" y="31"/>
                    </a:lnTo>
                    <a:lnTo>
                      <a:pt x="0" y="27"/>
                    </a:lnTo>
                    <a:lnTo>
                      <a:pt x="2" y="21"/>
                    </a:lnTo>
                    <a:lnTo>
                      <a:pt x="3" y="16"/>
                    </a:lnTo>
                    <a:lnTo>
                      <a:pt x="5" y="11"/>
                    </a:lnTo>
                    <a:lnTo>
                      <a:pt x="8" y="8"/>
                    </a:lnTo>
                    <a:lnTo>
                      <a:pt x="13" y="5"/>
                    </a:lnTo>
                    <a:lnTo>
                      <a:pt x="17" y="1"/>
                    </a:lnTo>
                    <a:lnTo>
                      <a:pt x="22" y="0"/>
                    </a:lnTo>
                    <a:lnTo>
                      <a:pt x="27" y="0"/>
                    </a:lnTo>
                    <a:lnTo>
                      <a:pt x="564" y="0"/>
                    </a:lnTo>
                    <a:lnTo>
                      <a:pt x="579" y="0"/>
                    </a:lnTo>
                    <a:lnTo>
                      <a:pt x="593" y="1"/>
                    </a:lnTo>
                    <a:lnTo>
                      <a:pt x="609" y="3"/>
                    </a:lnTo>
                    <a:lnTo>
                      <a:pt x="624" y="6"/>
                    </a:lnTo>
                    <a:lnTo>
                      <a:pt x="637" y="9"/>
                    </a:lnTo>
                    <a:lnTo>
                      <a:pt x="652" y="12"/>
                    </a:lnTo>
                    <a:lnTo>
                      <a:pt x="665" y="18"/>
                    </a:lnTo>
                    <a:lnTo>
                      <a:pt x="679" y="22"/>
                    </a:lnTo>
                    <a:lnTo>
                      <a:pt x="692" y="29"/>
                    </a:lnTo>
                    <a:lnTo>
                      <a:pt x="704" y="35"/>
                    </a:lnTo>
                    <a:lnTo>
                      <a:pt x="717" y="43"/>
                    </a:lnTo>
                    <a:lnTo>
                      <a:pt x="729" y="50"/>
                    </a:lnTo>
                    <a:lnTo>
                      <a:pt x="740" y="58"/>
                    </a:lnTo>
                    <a:lnTo>
                      <a:pt x="752" y="67"/>
                    </a:lnTo>
                    <a:lnTo>
                      <a:pt x="763" y="76"/>
                    </a:lnTo>
                    <a:lnTo>
                      <a:pt x="773" y="86"/>
                    </a:lnTo>
                    <a:lnTo>
                      <a:pt x="782" y="96"/>
                    </a:lnTo>
                    <a:lnTo>
                      <a:pt x="792" y="107"/>
                    </a:lnTo>
                    <a:lnTo>
                      <a:pt x="800" y="118"/>
                    </a:lnTo>
                    <a:lnTo>
                      <a:pt x="809" y="130"/>
                    </a:lnTo>
                    <a:lnTo>
                      <a:pt x="817" y="141"/>
                    </a:lnTo>
                    <a:lnTo>
                      <a:pt x="823" y="154"/>
                    </a:lnTo>
                    <a:lnTo>
                      <a:pt x="830" y="167"/>
                    </a:lnTo>
                    <a:lnTo>
                      <a:pt x="836" y="179"/>
                    </a:lnTo>
                    <a:lnTo>
                      <a:pt x="841" y="193"/>
                    </a:lnTo>
                    <a:lnTo>
                      <a:pt x="846" y="207"/>
                    </a:lnTo>
                    <a:lnTo>
                      <a:pt x="850" y="221"/>
                    </a:lnTo>
                    <a:lnTo>
                      <a:pt x="852" y="235"/>
                    </a:lnTo>
                    <a:lnTo>
                      <a:pt x="856" y="250"/>
                    </a:lnTo>
                    <a:lnTo>
                      <a:pt x="857" y="265"/>
                    </a:lnTo>
                    <a:lnTo>
                      <a:pt x="858" y="279"/>
                    </a:lnTo>
                    <a:lnTo>
                      <a:pt x="859" y="295"/>
                    </a:lnTo>
                    <a:lnTo>
                      <a:pt x="858" y="309"/>
                    </a:lnTo>
                    <a:lnTo>
                      <a:pt x="857" y="325"/>
                    </a:lnTo>
                    <a:lnTo>
                      <a:pt x="856" y="340"/>
                    </a:lnTo>
                    <a:lnTo>
                      <a:pt x="852" y="354"/>
                    </a:lnTo>
                    <a:lnTo>
                      <a:pt x="850" y="369"/>
                    </a:lnTo>
                    <a:lnTo>
                      <a:pt x="846" y="382"/>
                    </a:lnTo>
                    <a:lnTo>
                      <a:pt x="841" y="396"/>
                    </a:lnTo>
                    <a:lnTo>
                      <a:pt x="836" y="409"/>
                    </a:lnTo>
                    <a:lnTo>
                      <a:pt x="830" y="423"/>
                    </a:lnTo>
                    <a:lnTo>
                      <a:pt x="823" y="435"/>
                    </a:lnTo>
                    <a:lnTo>
                      <a:pt x="817" y="447"/>
                    </a:lnTo>
                    <a:lnTo>
                      <a:pt x="809" y="460"/>
                    </a:lnTo>
                    <a:lnTo>
                      <a:pt x="800" y="471"/>
                    </a:lnTo>
                    <a:lnTo>
                      <a:pt x="792" y="482"/>
                    </a:lnTo>
                    <a:lnTo>
                      <a:pt x="782" y="493"/>
                    </a:lnTo>
                    <a:lnTo>
                      <a:pt x="773" y="503"/>
                    </a:lnTo>
                    <a:lnTo>
                      <a:pt x="763" y="514"/>
                    </a:lnTo>
                    <a:lnTo>
                      <a:pt x="752" y="522"/>
                    </a:lnTo>
                    <a:lnTo>
                      <a:pt x="740" y="531"/>
                    </a:lnTo>
                    <a:lnTo>
                      <a:pt x="729" y="539"/>
                    </a:lnTo>
                    <a:lnTo>
                      <a:pt x="717" y="547"/>
                    </a:lnTo>
                    <a:lnTo>
                      <a:pt x="704" y="554"/>
                    </a:lnTo>
                    <a:lnTo>
                      <a:pt x="692" y="561"/>
                    </a:lnTo>
                    <a:lnTo>
                      <a:pt x="679" y="566"/>
                    </a:lnTo>
                    <a:lnTo>
                      <a:pt x="665" y="572"/>
                    </a:lnTo>
                    <a:lnTo>
                      <a:pt x="652" y="576"/>
                    </a:lnTo>
                    <a:lnTo>
                      <a:pt x="637" y="581"/>
                    </a:lnTo>
                    <a:lnTo>
                      <a:pt x="624" y="584"/>
                    </a:lnTo>
                    <a:lnTo>
                      <a:pt x="609" y="586"/>
                    </a:lnTo>
                    <a:lnTo>
                      <a:pt x="593"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7" name="Freeform 15">
                <a:extLst>
                  <a:ext uri="{FF2B5EF4-FFF2-40B4-BE49-F238E27FC236}">
                    <a16:creationId xmlns:a16="http://schemas.microsoft.com/office/drawing/2014/main" id="{0A704419-9AE0-4700-8BF2-45E9D9E988A7}"/>
                  </a:ext>
                </a:extLst>
              </p:cNvPr>
              <p:cNvSpPr>
                <a:spLocks/>
              </p:cNvSpPr>
              <p:nvPr/>
            </p:nvSpPr>
            <p:spPr bwMode="auto">
              <a:xfrm>
                <a:off x="6731000" y="5795963"/>
                <a:ext cx="341313" cy="233363"/>
              </a:xfrm>
              <a:custGeom>
                <a:avLst/>
                <a:gdLst>
                  <a:gd name="T0" fmla="*/ 279 w 857"/>
                  <a:gd name="T1" fmla="*/ 590 h 590"/>
                  <a:gd name="T2" fmla="*/ 235 w 857"/>
                  <a:gd name="T3" fmla="*/ 584 h 590"/>
                  <a:gd name="T4" fmla="*/ 194 w 857"/>
                  <a:gd name="T5" fmla="*/ 572 h 590"/>
                  <a:gd name="T6" fmla="*/ 154 w 857"/>
                  <a:gd name="T7" fmla="*/ 554 h 590"/>
                  <a:gd name="T8" fmla="*/ 119 w 857"/>
                  <a:gd name="T9" fmla="*/ 531 h 590"/>
                  <a:gd name="T10" fmla="*/ 86 w 857"/>
                  <a:gd name="T11" fmla="*/ 503 h 590"/>
                  <a:gd name="T12" fmla="*/ 58 w 857"/>
                  <a:gd name="T13" fmla="*/ 471 h 590"/>
                  <a:gd name="T14" fmla="*/ 36 w 857"/>
                  <a:gd name="T15" fmla="*/ 435 h 590"/>
                  <a:gd name="T16" fmla="*/ 18 w 857"/>
                  <a:gd name="T17" fmla="*/ 396 h 590"/>
                  <a:gd name="T18" fmla="*/ 5 w 857"/>
                  <a:gd name="T19" fmla="*/ 354 h 590"/>
                  <a:gd name="T20" fmla="*/ 0 w 857"/>
                  <a:gd name="T21" fmla="*/ 309 h 590"/>
                  <a:gd name="T22" fmla="*/ 1 w 857"/>
                  <a:gd name="T23" fmla="*/ 265 h 590"/>
                  <a:gd name="T24" fmla="*/ 9 w 857"/>
                  <a:gd name="T25" fmla="*/ 221 h 590"/>
                  <a:gd name="T26" fmla="*/ 22 w 857"/>
                  <a:gd name="T27" fmla="*/ 179 h 590"/>
                  <a:gd name="T28" fmla="*/ 42 w 857"/>
                  <a:gd name="T29" fmla="*/ 141 h 590"/>
                  <a:gd name="T30" fmla="*/ 67 w 857"/>
                  <a:gd name="T31" fmla="*/ 107 h 590"/>
                  <a:gd name="T32" fmla="*/ 96 w 857"/>
                  <a:gd name="T33" fmla="*/ 76 h 590"/>
                  <a:gd name="T34" fmla="*/ 130 w 857"/>
                  <a:gd name="T35" fmla="*/ 50 h 590"/>
                  <a:gd name="T36" fmla="*/ 167 w 857"/>
                  <a:gd name="T37" fmla="*/ 29 h 590"/>
                  <a:gd name="T38" fmla="*/ 207 w 857"/>
                  <a:gd name="T39" fmla="*/ 12 h 590"/>
                  <a:gd name="T40" fmla="*/ 250 w 857"/>
                  <a:gd name="T41" fmla="*/ 3 h 590"/>
                  <a:gd name="T42" fmla="*/ 295 w 857"/>
                  <a:gd name="T43" fmla="*/ 0 h 590"/>
                  <a:gd name="T44" fmla="*/ 842 w 857"/>
                  <a:gd name="T45" fmla="*/ 1 h 590"/>
                  <a:gd name="T46" fmla="*/ 853 w 857"/>
                  <a:gd name="T47" fmla="*/ 11 h 590"/>
                  <a:gd name="T48" fmla="*/ 857 w 857"/>
                  <a:gd name="T49" fmla="*/ 27 h 590"/>
                  <a:gd name="T50" fmla="*/ 853 w 857"/>
                  <a:gd name="T51" fmla="*/ 42 h 590"/>
                  <a:gd name="T52" fmla="*/ 842 w 857"/>
                  <a:gd name="T53" fmla="*/ 52 h 590"/>
                  <a:gd name="T54" fmla="*/ 295 w 857"/>
                  <a:gd name="T55" fmla="*/ 53 h 590"/>
                  <a:gd name="T56" fmla="*/ 258 w 857"/>
                  <a:gd name="T57" fmla="*/ 56 h 590"/>
                  <a:gd name="T58" fmla="*/ 223 w 857"/>
                  <a:gd name="T59" fmla="*/ 64 h 590"/>
                  <a:gd name="T60" fmla="*/ 190 w 857"/>
                  <a:gd name="T61" fmla="*/ 77 h 590"/>
                  <a:gd name="T62" fmla="*/ 160 w 857"/>
                  <a:gd name="T63" fmla="*/ 94 h 590"/>
                  <a:gd name="T64" fmla="*/ 109 w 857"/>
                  <a:gd name="T65" fmla="*/ 141 h 590"/>
                  <a:gd name="T66" fmla="*/ 83 w 857"/>
                  <a:gd name="T67" fmla="*/ 179 h 590"/>
                  <a:gd name="T68" fmla="*/ 68 w 857"/>
                  <a:gd name="T69" fmla="*/ 212 h 590"/>
                  <a:gd name="T70" fmla="*/ 58 w 857"/>
                  <a:gd name="T71" fmla="*/ 246 h 590"/>
                  <a:gd name="T72" fmla="*/ 54 w 857"/>
                  <a:gd name="T73" fmla="*/ 283 h 590"/>
                  <a:gd name="T74" fmla="*/ 55 w 857"/>
                  <a:gd name="T75" fmla="*/ 320 h 590"/>
                  <a:gd name="T76" fmla="*/ 60 w 857"/>
                  <a:gd name="T77" fmla="*/ 355 h 590"/>
                  <a:gd name="T78" fmla="*/ 73 w 857"/>
                  <a:gd name="T79" fmla="*/ 389 h 590"/>
                  <a:gd name="T80" fmla="*/ 88 w 857"/>
                  <a:gd name="T81" fmla="*/ 419 h 590"/>
                  <a:gd name="T82" fmla="*/ 124 w 857"/>
                  <a:gd name="T83" fmla="*/ 465 h 590"/>
                  <a:gd name="T84" fmla="*/ 169 w 857"/>
                  <a:gd name="T85" fmla="*/ 501 h 590"/>
                  <a:gd name="T86" fmla="*/ 200 w 857"/>
                  <a:gd name="T87" fmla="*/ 517 h 590"/>
                  <a:gd name="T88" fmla="*/ 234 w 857"/>
                  <a:gd name="T89" fmla="*/ 528 h 590"/>
                  <a:gd name="T90" fmla="*/ 270 w 857"/>
                  <a:gd name="T91" fmla="*/ 535 h 590"/>
                  <a:gd name="T92" fmla="*/ 616 w 857"/>
                  <a:gd name="T93" fmla="*/ 536 h 590"/>
                  <a:gd name="T94" fmla="*/ 631 w 857"/>
                  <a:gd name="T95" fmla="*/ 540 h 590"/>
                  <a:gd name="T96" fmla="*/ 641 w 857"/>
                  <a:gd name="T97" fmla="*/ 553 h 590"/>
                  <a:gd name="T98" fmla="*/ 642 w 857"/>
                  <a:gd name="T99" fmla="*/ 568 h 590"/>
                  <a:gd name="T100" fmla="*/ 635 w 857"/>
                  <a:gd name="T101" fmla="*/ 582 h 590"/>
                  <a:gd name="T102" fmla="*/ 622 w 857"/>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7" h="590">
                    <a:moveTo>
                      <a:pt x="616" y="590"/>
                    </a:moveTo>
                    <a:lnTo>
                      <a:pt x="295" y="590"/>
                    </a:lnTo>
                    <a:lnTo>
                      <a:pt x="279" y="590"/>
                    </a:lnTo>
                    <a:lnTo>
                      <a:pt x="264" y="589"/>
                    </a:lnTo>
                    <a:lnTo>
                      <a:pt x="250" y="586"/>
                    </a:lnTo>
                    <a:lnTo>
                      <a:pt x="235" y="584"/>
                    </a:lnTo>
                    <a:lnTo>
                      <a:pt x="221" y="581"/>
                    </a:lnTo>
                    <a:lnTo>
                      <a:pt x="207" y="576"/>
                    </a:lnTo>
                    <a:lnTo>
                      <a:pt x="194" y="572"/>
                    </a:lnTo>
                    <a:lnTo>
                      <a:pt x="180" y="566"/>
                    </a:lnTo>
                    <a:lnTo>
                      <a:pt x="167" y="561"/>
                    </a:lnTo>
                    <a:lnTo>
                      <a:pt x="154" y="554"/>
                    </a:lnTo>
                    <a:lnTo>
                      <a:pt x="142" y="547"/>
                    </a:lnTo>
                    <a:lnTo>
                      <a:pt x="130" y="539"/>
                    </a:lnTo>
                    <a:lnTo>
                      <a:pt x="119" y="531"/>
                    </a:lnTo>
                    <a:lnTo>
                      <a:pt x="107" y="522"/>
                    </a:lnTo>
                    <a:lnTo>
                      <a:pt x="96" y="514"/>
                    </a:lnTo>
                    <a:lnTo>
                      <a:pt x="86" y="503"/>
                    </a:lnTo>
                    <a:lnTo>
                      <a:pt x="76" y="493"/>
                    </a:lnTo>
                    <a:lnTo>
                      <a:pt x="67" y="482"/>
                    </a:lnTo>
                    <a:lnTo>
                      <a:pt x="58" y="471"/>
                    </a:lnTo>
                    <a:lnTo>
                      <a:pt x="50" y="460"/>
                    </a:lnTo>
                    <a:lnTo>
                      <a:pt x="42" y="447"/>
                    </a:lnTo>
                    <a:lnTo>
                      <a:pt x="36" y="435"/>
                    </a:lnTo>
                    <a:lnTo>
                      <a:pt x="29" y="423"/>
                    </a:lnTo>
                    <a:lnTo>
                      <a:pt x="22" y="409"/>
                    </a:lnTo>
                    <a:lnTo>
                      <a:pt x="18" y="396"/>
                    </a:lnTo>
                    <a:lnTo>
                      <a:pt x="13" y="382"/>
                    </a:lnTo>
                    <a:lnTo>
                      <a:pt x="9" y="369"/>
                    </a:lnTo>
                    <a:lnTo>
                      <a:pt x="5" y="354"/>
                    </a:lnTo>
                    <a:lnTo>
                      <a:pt x="3" y="340"/>
                    </a:lnTo>
                    <a:lnTo>
                      <a:pt x="1" y="325"/>
                    </a:lnTo>
                    <a:lnTo>
                      <a:pt x="0" y="309"/>
                    </a:lnTo>
                    <a:lnTo>
                      <a:pt x="0" y="295"/>
                    </a:lnTo>
                    <a:lnTo>
                      <a:pt x="0" y="279"/>
                    </a:lnTo>
                    <a:lnTo>
                      <a:pt x="1" y="265"/>
                    </a:lnTo>
                    <a:lnTo>
                      <a:pt x="3" y="250"/>
                    </a:lnTo>
                    <a:lnTo>
                      <a:pt x="5" y="235"/>
                    </a:lnTo>
                    <a:lnTo>
                      <a:pt x="9" y="221"/>
                    </a:lnTo>
                    <a:lnTo>
                      <a:pt x="13" y="207"/>
                    </a:lnTo>
                    <a:lnTo>
                      <a:pt x="18" y="193"/>
                    </a:lnTo>
                    <a:lnTo>
                      <a:pt x="22" y="179"/>
                    </a:lnTo>
                    <a:lnTo>
                      <a:pt x="29" y="167"/>
                    </a:lnTo>
                    <a:lnTo>
                      <a:pt x="36" y="154"/>
                    </a:lnTo>
                    <a:lnTo>
                      <a:pt x="42" y="141"/>
                    </a:lnTo>
                    <a:lnTo>
                      <a:pt x="50" y="130"/>
                    </a:lnTo>
                    <a:lnTo>
                      <a:pt x="58" y="118"/>
                    </a:lnTo>
                    <a:lnTo>
                      <a:pt x="67" y="107"/>
                    </a:lnTo>
                    <a:lnTo>
                      <a:pt x="76" y="96"/>
                    </a:lnTo>
                    <a:lnTo>
                      <a:pt x="86" y="86"/>
                    </a:lnTo>
                    <a:lnTo>
                      <a:pt x="96" y="76"/>
                    </a:lnTo>
                    <a:lnTo>
                      <a:pt x="107" y="67"/>
                    </a:lnTo>
                    <a:lnTo>
                      <a:pt x="119" y="58"/>
                    </a:lnTo>
                    <a:lnTo>
                      <a:pt x="130" y="50"/>
                    </a:lnTo>
                    <a:lnTo>
                      <a:pt x="142" y="43"/>
                    </a:lnTo>
                    <a:lnTo>
                      <a:pt x="154" y="35"/>
                    </a:lnTo>
                    <a:lnTo>
                      <a:pt x="167" y="29"/>
                    </a:lnTo>
                    <a:lnTo>
                      <a:pt x="180" y="22"/>
                    </a:lnTo>
                    <a:lnTo>
                      <a:pt x="194" y="18"/>
                    </a:lnTo>
                    <a:lnTo>
                      <a:pt x="207" y="12"/>
                    </a:lnTo>
                    <a:lnTo>
                      <a:pt x="221" y="9"/>
                    </a:lnTo>
                    <a:lnTo>
                      <a:pt x="235" y="6"/>
                    </a:lnTo>
                    <a:lnTo>
                      <a:pt x="250" y="3"/>
                    </a:lnTo>
                    <a:lnTo>
                      <a:pt x="264" y="1"/>
                    </a:lnTo>
                    <a:lnTo>
                      <a:pt x="279" y="0"/>
                    </a:lnTo>
                    <a:lnTo>
                      <a:pt x="295" y="0"/>
                    </a:lnTo>
                    <a:lnTo>
                      <a:pt x="830" y="0"/>
                    </a:lnTo>
                    <a:lnTo>
                      <a:pt x="836" y="0"/>
                    </a:lnTo>
                    <a:lnTo>
                      <a:pt x="842" y="1"/>
                    </a:lnTo>
                    <a:lnTo>
                      <a:pt x="846" y="5"/>
                    </a:lnTo>
                    <a:lnTo>
                      <a:pt x="850" y="8"/>
                    </a:lnTo>
                    <a:lnTo>
                      <a:pt x="853" y="11"/>
                    </a:lnTo>
                    <a:lnTo>
                      <a:pt x="856" y="16"/>
                    </a:lnTo>
                    <a:lnTo>
                      <a:pt x="857" y="21"/>
                    </a:lnTo>
                    <a:lnTo>
                      <a:pt x="857" y="27"/>
                    </a:lnTo>
                    <a:lnTo>
                      <a:pt x="857" y="31"/>
                    </a:lnTo>
                    <a:lnTo>
                      <a:pt x="856" y="37"/>
                    </a:lnTo>
                    <a:lnTo>
                      <a:pt x="853" y="42"/>
                    </a:lnTo>
                    <a:lnTo>
                      <a:pt x="850" y="45"/>
                    </a:lnTo>
                    <a:lnTo>
                      <a:pt x="846" y="48"/>
                    </a:lnTo>
                    <a:lnTo>
                      <a:pt x="842" y="52"/>
                    </a:lnTo>
                    <a:lnTo>
                      <a:pt x="836" y="53"/>
                    </a:lnTo>
                    <a:lnTo>
                      <a:pt x="830" y="53"/>
                    </a:lnTo>
                    <a:lnTo>
                      <a:pt x="295" y="53"/>
                    </a:lnTo>
                    <a:lnTo>
                      <a:pt x="282" y="54"/>
                    </a:lnTo>
                    <a:lnTo>
                      <a:pt x="270" y="55"/>
                    </a:lnTo>
                    <a:lnTo>
                      <a:pt x="258" y="56"/>
                    </a:lnTo>
                    <a:lnTo>
                      <a:pt x="246" y="58"/>
                    </a:lnTo>
                    <a:lnTo>
                      <a:pt x="234" y="61"/>
                    </a:lnTo>
                    <a:lnTo>
                      <a:pt x="223" y="64"/>
                    </a:lnTo>
                    <a:lnTo>
                      <a:pt x="212" y="68"/>
                    </a:lnTo>
                    <a:lnTo>
                      <a:pt x="200" y="72"/>
                    </a:lnTo>
                    <a:lnTo>
                      <a:pt x="190" y="77"/>
                    </a:lnTo>
                    <a:lnTo>
                      <a:pt x="179" y="82"/>
                    </a:lnTo>
                    <a:lnTo>
                      <a:pt x="169" y="89"/>
                    </a:lnTo>
                    <a:lnTo>
                      <a:pt x="160" y="94"/>
                    </a:lnTo>
                    <a:lnTo>
                      <a:pt x="141" y="109"/>
                    </a:lnTo>
                    <a:lnTo>
                      <a:pt x="124" y="124"/>
                    </a:lnTo>
                    <a:lnTo>
                      <a:pt x="109" y="141"/>
                    </a:lnTo>
                    <a:lnTo>
                      <a:pt x="94" y="159"/>
                    </a:lnTo>
                    <a:lnTo>
                      <a:pt x="88" y="169"/>
                    </a:lnTo>
                    <a:lnTo>
                      <a:pt x="83" y="179"/>
                    </a:lnTo>
                    <a:lnTo>
                      <a:pt x="77" y="191"/>
                    </a:lnTo>
                    <a:lnTo>
                      <a:pt x="73" y="201"/>
                    </a:lnTo>
                    <a:lnTo>
                      <a:pt x="68" y="212"/>
                    </a:lnTo>
                    <a:lnTo>
                      <a:pt x="64" y="223"/>
                    </a:lnTo>
                    <a:lnTo>
                      <a:pt x="60" y="234"/>
                    </a:lnTo>
                    <a:lnTo>
                      <a:pt x="58" y="246"/>
                    </a:lnTo>
                    <a:lnTo>
                      <a:pt x="56" y="258"/>
                    </a:lnTo>
                    <a:lnTo>
                      <a:pt x="55" y="270"/>
                    </a:lnTo>
                    <a:lnTo>
                      <a:pt x="54" y="283"/>
                    </a:lnTo>
                    <a:lnTo>
                      <a:pt x="54" y="295"/>
                    </a:lnTo>
                    <a:lnTo>
                      <a:pt x="54" y="307"/>
                    </a:lnTo>
                    <a:lnTo>
                      <a:pt x="55" y="320"/>
                    </a:lnTo>
                    <a:lnTo>
                      <a:pt x="56" y="332"/>
                    </a:lnTo>
                    <a:lnTo>
                      <a:pt x="58" y="343"/>
                    </a:lnTo>
                    <a:lnTo>
                      <a:pt x="60" y="355"/>
                    </a:lnTo>
                    <a:lnTo>
                      <a:pt x="64" y="367"/>
                    </a:lnTo>
                    <a:lnTo>
                      <a:pt x="68" y="378"/>
                    </a:lnTo>
                    <a:lnTo>
                      <a:pt x="73" y="389"/>
                    </a:lnTo>
                    <a:lnTo>
                      <a:pt x="77" y="399"/>
                    </a:lnTo>
                    <a:lnTo>
                      <a:pt x="83" y="409"/>
                    </a:lnTo>
                    <a:lnTo>
                      <a:pt x="88" y="419"/>
                    </a:lnTo>
                    <a:lnTo>
                      <a:pt x="94" y="429"/>
                    </a:lnTo>
                    <a:lnTo>
                      <a:pt x="109" y="449"/>
                    </a:lnTo>
                    <a:lnTo>
                      <a:pt x="124" y="465"/>
                    </a:lnTo>
                    <a:lnTo>
                      <a:pt x="141" y="481"/>
                    </a:lnTo>
                    <a:lnTo>
                      <a:pt x="160" y="494"/>
                    </a:lnTo>
                    <a:lnTo>
                      <a:pt x="169" y="501"/>
                    </a:lnTo>
                    <a:lnTo>
                      <a:pt x="179" y="507"/>
                    </a:lnTo>
                    <a:lnTo>
                      <a:pt x="190" y="512"/>
                    </a:lnTo>
                    <a:lnTo>
                      <a:pt x="200" y="517"/>
                    </a:lnTo>
                    <a:lnTo>
                      <a:pt x="212" y="521"/>
                    </a:lnTo>
                    <a:lnTo>
                      <a:pt x="223" y="525"/>
                    </a:lnTo>
                    <a:lnTo>
                      <a:pt x="234" y="528"/>
                    </a:lnTo>
                    <a:lnTo>
                      <a:pt x="246" y="531"/>
                    </a:lnTo>
                    <a:lnTo>
                      <a:pt x="258" y="534"/>
                    </a:lnTo>
                    <a:lnTo>
                      <a:pt x="270" y="535"/>
                    </a:lnTo>
                    <a:lnTo>
                      <a:pt x="282" y="536"/>
                    </a:lnTo>
                    <a:lnTo>
                      <a:pt x="295" y="536"/>
                    </a:lnTo>
                    <a:lnTo>
                      <a:pt x="616" y="536"/>
                    </a:lnTo>
                    <a:lnTo>
                      <a:pt x="622" y="537"/>
                    </a:lnTo>
                    <a:lnTo>
                      <a:pt x="626" y="538"/>
                    </a:lnTo>
                    <a:lnTo>
                      <a:pt x="631" y="540"/>
                    </a:lnTo>
                    <a:lnTo>
                      <a:pt x="635" y="544"/>
                    </a:lnTo>
                    <a:lnTo>
                      <a:pt x="639" y="548"/>
                    </a:lnTo>
                    <a:lnTo>
                      <a:pt x="641" y="553"/>
                    </a:lnTo>
                    <a:lnTo>
                      <a:pt x="642" y="557"/>
                    </a:lnTo>
                    <a:lnTo>
                      <a:pt x="643" y="563"/>
                    </a:lnTo>
                    <a:lnTo>
                      <a:pt x="642" y="568"/>
                    </a:lnTo>
                    <a:lnTo>
                      <a:pt x="641" y="573"/>
                    </a:lnTo>
                    <a:lnTo>
                      <a:pt x="639" y="577"/>
                    </a:lnTo>
                    <a:lnTo>
                      <a:pt x="635" y="582"/>
                    </a:lnTo>
                    <a:lnTo>
                      <a:pt x="631" y="585"/>
                    </a:lnTo>
                    <a:lnTo>
                      <a:pt x="626" y="588"/>
                    </a:lnTo>
                    <a:lnTo>
                      <a:pt x="622" y="590"/>
                    </a:lnTo>
                    <a:lnTo>
                      <a:pt x="616"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16">
                <a:extLst>
                  <a:ext uri="{FF2B5EF4-FFF2-40B4-BE49-F238E27FC236}">
                    <a16:creationId xmlns:a16="http://schemas.microsoft.com/office/drawing/2014/main" id="{DFDEF0AC-C764-4574-8DEC-C06B762A65C5}"/>
                  </a:ext>
                </a:extLst>
              </p:cNvPr>
              <p:cNvSpPr>
                <a:spLocks/>
              </p:cNvSpPr>
              <p:nvPr/>
            </p:nvSpPr>
            <p:spPr bwMode="auto">
              <a:xfrm>
                <a:off x="7008813" y="5943600"/>
                <a:ext cx="84138" cy="149225"/>
              </a:xfrm>
              <a:custGeom>
                <a:avLst/>
                <a:gdLst>
                  <a:gd name="T0" fmla="*/ 187 w 214"/>
                  <a:gd name="T1" fmla="*/ 375 h 375"/>
                  <a:gd name="T2" fmla="*/ 183 w 214"/>
                  <a:gd name="T3" fmla="*/ 374 h 375"/>
                  <a:gd name="T4" fmla="*/ 177 w 214"/>
                  <a:gd name="T5" fmla="*/ 373 h 375"/>
                  <a:gd name="T6" fmla="*/ 173 w 214"/>
                  <a:gd name="T7" fmla="*/ 371 h 375"/>
                  <a:gd name="T8" fmla="*/ 168 w 214"/>
                  <a:gd name="T9" fmla="*/ 367 h 375"/>
                  <a:gd name="T10" fmla="*/ 8 w 214"/>
                  <a:gd name="T11" fmla="*/ 206 h 375"/>
                  <a:gd name="T12" fmla="*/ 5 w 214"/>
                  <a:gd name="T13" fmla="*/ 201 h 375"/>
                  <a:gd name="T14" fmla="*/ 2 w 214"/>
                  <a:gd name="T15" fmla="*/ 197 h 375"/>
                  <a:gd name="T16" fmla="*/ 0 w 214"/>
                  <a:gd name="T17" fmla="*/ 192 h 375"/>
                  <a:gd name="T18" fmla="*/ 0 w 214"/>
                  <a:gd name="T19" fmla="*/ 187 h 375"/>
                  <a:gd name="T20" fmla="*/ 0 w 214"/>
                  <a:gd name="T21" fmla="*/ 182 h 375"/>
                  <a:gd name="T22" fmla="*/ 2 w 214"/>
                  <a:gd name="T23" fmla="*/ 177 h 375"/>
                  <a:gd name="T24" fmla="*/ 5 w 214"/>
                  <a:gd name="T25" fmla="*/ 172 h 375"/>
                  <a:gd name="T26" fmla="*/ 8 w 214"/>
                  <a:gd name="T27" fmla="*/ 168 h 375"/>
                  <a:gd name="T28" fmla="*/ 168 w 214"/>
                  <a:gd name="T29" fmla="*/ 7 h 375"/>
                  <a:gd name="T30" fmla="*/ 173 w 214"/>
                  <a:gd name="T31" fmla="*/ 4 h 375"/>
                  <a:gd name="T32" fmla="*/ 177 w 214"/>
                  <a:gd name="T33" fmla="*/ 1 h 375"/>
                  <a:gd name="T34" fmla="*/ 183 w 214"/>
                  <a:gd name="T35" fmla="*/ 0 h 375"/>
                  <a:gd name="T36" fmla="*/ 187 w 214"/>
                  <a:gd name="T37" fmla="*/ 0 h 375"/>
                  <a:gd name="T38" fmla="*/ 193 w 214"/>
                  <a:gd name="T39" fmla="*/ 0 h 375"/>
                  <a:gd name="T40" fmla="*/ 197 w 214"/>
                  <a:gd name="T41" fmla="*/ 1 h 375"/>
                  <a:gd name="T42" fmla="*/ 203 w 214"/>
                  <a:gd name="T43" fmla="*/ 4 h 375"/>
                  <a:gd name="T44" fmla="*/ 206 w 214"/>
                  <a:gd name="T45" fmla="*/ 7 h 375"/>
                  <a:gd name="T46" fmla="*/ 210 w 214"/>
                  <a:gd name="T47" fmla="*/ 11 h 375"/>
                  <a:gd name="T48" fmla="*/ 213 w 214"/>
                  <a:gd name="T49" fmla="*/ 16 h 375"/>
                  <a:gd name="T50" fmla="*/ 214 w 214"/>
                  <a:gd name="T51" fmla="*/ 21 h 375"/>
                  <a:gd name="T52" fmla="*/ 214 w 214"/>
                  <a:gd name="T53" fmla="*/ 27 h 375"/>
                  <a:gd name="T54" fmla="*/ 214 w 214"/>
                  <a:gd name="T55" fmla="*/ 31 h 375"/>
                  <a:gd name="T56" fmla="*/ 213 w 214"/>
                  <a:gd name="T57" fmla="*/ 37 h 375"/>
                  <a:gd name="T58" fmla="*/ 210 w 214"/>
                  <a:gd name="T59" fmla="*/ 41 h 375"/>
                  <a:gd name="T60" fmla="*/ 206 w 214"/>
                  <a:gd name="T61" fmla="*/ 44 h 375"/>
                  <a:gd name="T62" fmla="*/ 65 w 214"/>
                  <a:gd name="T63" fmla="*/ 187 h 375"/>
                  <a:gd name="T64" fmla="*/ 206 w 214"/>
                  <a:gd name="T65" fmla="*/ 329 h 375"/>
                  <a:gd name="T66" fmla="*/ 210 w 214"/>
                  <a:gd name="T67" fmla="*/ 333 h 375"/>
                  <a:gd name="T68" fmla="*/ 213 w 214"/>
                  <a:gd name="T69" fmla="*/ 338 h 375"/>
                  <a:gd name="T70" fmla="*/ 214 w 214"/>
                  <a:gd name="T71" fmla="*/ 343 h 375"/>
                  <a:gd name="T72" fmla="*/ 214 w 214"/>
                  <a:gd name="T73" fmla="*/ 348 h 375"/>
                  <a:gd name="T74" fmla="*/ 214 w 214"/>
                  <a:gd name="T75" fmla="*/ 353 h 375"/>
                  <a:gd name="T76" fmla="*/ 213 w 214"/>
                  <a:gd name="T77" fmla="*/ 358 h 375"/>
                  <a:gd name="T78" fmla="*/ 210 w 214"/>
                  <a:gd name="T79" fmla="*/ 363 h 375"/>
                  <a:gd name="T80" fmla="*/ 206 w 214"/>
                  <a:gd name="T81" fmla="*/ 367 h 375"/>
                  <a:gd name="T82" fmla="*/ 203 w 214"/>
                  <a:gd name="T83" fmla="*/ 371 h 375"/>
                  <a:gd name="T84" fmla="*/ 197 w 214"/>
                  <a:gd name="T85" fmla="*/ 373 h 375"/>
                  <a:gd name="T86" fmla="*/ 193 w 214"/>
                  <a:gd name="T87" fmla="*/ 374 h 375"/>
                  <a:gd name="T88" fmla="*/ 187 w 214"/>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375">
                    <a:moveTo>
                      <a:pt x="187" y="375"/>
                    </a:moveTo>
                    <a:lnTo>
                      <a:pt x="183" y="374"/>
                    </a:lnTo>
                    <a:lnTo>
                      <a:pt x="177" y="373"/>
                    </a:lnTo>
                    <a:lnTo>
                      <a:pt x="173" y="371"/>
                    </a:lnTo>
                    <a:lnTo>
                      <a:pt x="168" y="367"/>
                    </a:lnTo>
                    <a:lnTo>
                      <a:pt x="8" y="206"/>
                    </a:lnTo>
                    <a:lnTo>
                      <a:pt x="5" y="201"/>
                    </a:lnTo>
                    <a:lnTo>
                      <a:pt x="2" y="197"/>
                    </a:lnTo>
                    <a:lnTo>
                      <a:pt x="0" y="192"/>
                    </a:lnTo>
                    <a:lnTo>
                      <a:pt x="0" y="187"/>
                    </a:lnTo>
                    <a:lnTo>
                      <a:pt x="0" y="182"/>
                    </a:lnTo>
                    <a:lnTo>
                      <a:pt x="2" y="177"/>
                    </a:lnTo>
                    <a:lnTo>
                      <a:pt x="5" y="172"/>
                    </a:lnTo>
                    <a:lnTo>
                      <a:pt x="8" y="168"/>
                    </a:lnTo>
                    <a:lnTo>
                      <a:pt x="168" y="7"/>
                    </a:lnTo>
                    <a:lnTo>
                      <a:pt x="173" y="4"/>
                    </a:lnTo>
                    <a:lnTo>
                      <a:pt x="177" y="1"/>
                    </a:lnTo>
                    <a:lnTo>
                      <a:pt x="183" y="0"/>
                    </a:lnTo>
                    <a:lnTo>
                      <a:pt x="187" y="0"/>
                    </a:lnTo>
                    <a:lnTo>
                      <a:pt x="193" y="0"/>
                    </a:lnTo>
                    <a:lnTo>
                      <a:pt x="197" y="1"/>
                    </a:lnTo>
                    <a:lnTo>
                      <a:pt x="203" y="4"/>
                    </a:lnTo>
                    <a:lnTo>
                      <a:pt x="206" y="7"/>
                    </a:lnTo>
                    <a:lnTo>
                      <a:pt x="210" y="11"/>
                    </a:lnTo>
                    <a:lnTo>
                      <a:pt x="213" y="16"/>
                    </a:lnTo>
                    <a:lnTo>
                      <a:pt x="214" y="21"/>
                    </a:lnTo>
                    <a:lnTo>
                      <a:pt x="214" y="27"/>
                    </a:lnTo>
                    <a:lnTo>
                      <a:pt x="214" y="31"/>
                    </a:lnTo>
                    <a:lnTo>
                      <a:pt x="213" y="37"/>
                    </a:lnTo>
                    <a:lnTo>
                      <a:pt x="210" y="41"/>
                    </a:lnTo>
                    <a:lnTo>
                      <a:pt x="206" y="44"/>
                    </a:lnTo>
                    <a:lnTo>
                      <a:pt x="65" y="187"/>
                    </a:lnTo>
                    <a:lnTo>
                      <a:pt x="206" y="329"/>
                    </a:lnTo>
                    <a:lnTo>
                      <a:pt x="210" y="333"/>
                    </a:lnTo>
                    <a:lnTo>
                      <a:pt x="213" y="338"/>
                    </a:lnTo>
                    <a:lnTo>
                      <a:pt x="214" y="343"/>
                    </a:lnTo>
                    <a:lnTo>
                      <a:pt x="214" y="348"/>
                    </a:lnTo>
                    <a:lnTo>
                      <a:pt x="214" y="353"/>
                    </a:lnTo>
                    <a:lnTo>
                      <a:pt x="213" y="358"/>
                    </a:lnTo>
                    <a:lnTo>
                      <a:pt x="210" y="363"/>
                    </a:lnTo>
                    <a:lnTo>
                      <a:pt x="206" y="367"/>
                    </a:lnTo>
                    <a:lnTo>
                      <a:pt x="203" y="371"/>
                    </a:lnTo>
                    <a:lnTo>
                      <a:pt x="197" y="373"/>
                    </a:lnTo>
                    <a:lnTo>
                      <a:pt x="193" y="374"/>
                    </a:lnTo>
                    <a:lnTo>
                      <a:pt x="187"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1" name="Group 192">
            <a:extLst>
              <a:ext uri="{FF2B5EF4-FFF2-40B4-BE49-F238E27FC236}">
                <a16:creationId xmlns:a16="http://schemas.microsoft.com/office/drawing/2014/main" id="{59D31C1E-4186-478F-9FFA-43288B3412F9}"/>
              </a:ext>
            </a:extLst>
          </p:cNvPr>
          <p:cNvGrpSpPr>
            <a:grpSpLocks noChangeAspect="1"/>
          </p:cNvGrpSpPr>
          <p:nvPr/>
        </p:nvGrpSpPr>
        <p:grpSpPr>
          <a:xfrm>
            <a:off x="2290912" y="3337031"/>
            <a:ext cx="308350" cy="159286"/>
            <a:chOff x="6731000" y="5795963"/>
            <a:chExt cx="574675" cy="296862"/>
          </a:xfrm>
          <a:solidFill>
            <a:schemeClr val="bg1"/>
          </a:solidFill>
          <a:effectLst/>
        </p:grpSpPr>
        <p:sp>
          <p:nvSpPr>
            <p:cNvPr id="752" name="Freeform 14">
              <a:extLst>
                <a:ext uri="{FF2B5EF4-FFF2-40B4-BE49-F238E27FC236}">
                  <a16:creationId xmlns:a16="http://schemas.microsoft.com/office/drawing/2014/main" id="{580D1B7C-038F-4D12-8F93-E133E09CAD21}"/>
                </a:ext>
              </a:extLst>
            </p:cNvPr>
            <p:cNvSpPr>
              <a:spLocks/>
            </p:cNvSpPr>
            <p:nvPr/>
          </p:nvSpPr>
          <p:spPr bwMode="auto">
            <a:xfrm>
              <a:off x="6965950" y="5795963"/>
              <a:ext cx="339725" cy="233363"/>
            </a:xfrm>
            <a:custGeom>
              <a:avLst/>
              <a:gdLst>
                <a:gd name="T0" fmla="*/ 183 w 859"/>
                <a:gd name="T1" fmla="*/ 590 h 590"/>
                <a:gd name="T2" fmla="*/ 170 w 859"/>
                <a:gd name="T3" fmla="*/ 582 h 590"/>
                <a:gd name="T4" fmla="*/ 162 w 859"/>
                <a:gd name="T5" fmla="*/ 568 h 590"/>
                <a:gd name="T6" fmla="*/ 164 w 859"/>
                <a:gd name="T7" fmla="*/ 553 h 590"/>
                <a:gd name="T8" fmla="*/ 173 w 859"/>
                <a:gd name="T9" fmla="*/ 540 h 590"/>
                <a:gd name="T10" fmla="*/ 189 w 859"/>
                <a:gd name="T11" fmla="*/ 536 h 590"/>
                <a:gd name="T12" fmla="*/ 589 w 859"/>
                <a:gd name="T13" fmla="*/ 535 h 590"/>
                <a:gd name="T14" fmla="*/ 624 w 859"/>
                <a:gd name="T15" fmla="*/ 528 h 590"/>
                <a:gd name="T16" fmla="*/ 657 w 859"/>
                <a:gd name="T17" fmla="*/ 517 h 590"/>
                <a:gd name="T18" fmla="*/ 689 w 859"/>
                <a:gd name="T19" fmla="*/ 501 h 590"/>
                <a:gd name="T20" fmla="*/ 735 w 859"/>
                <a:gd name="T21" fmla="*/ 465 h 590"/>
                <a:gd name="T22" fmla="*/ 771 w 859"/>
                <a:gd name="T23" fmla="*/ 419 h 590"/>
                <a:gd name="T24" fmla="*/ 786 w 859"/>
                <a:gd name="T25" fmla="*/ 389 h 590"/>
                <a:gd name="T26" fmla="*/ 797 w 859"/>
                <a:gd name="T27" fmla="*/ 355 h 590"/>
                <a:gd name="T28" fmla="*/ 804 w 859"/>
                <a:gd name="T29" fmla="*/ 320 h 590"/>
                <a:gd name="T30" fmla="*/ 805 w 859"/>
                <a:gd name="T31" fmla="*/ 283 h 590"/>
                <a:gd name="T32" fmla="*/ 801 w 859"/>
                <a:gd name="T33" fmla="*/ 246 h 590"/>
                <a:gd name="T34" fmla="*/ 791 w 859"/>
                <a:gd name="T35" fmla="*/ 212 h 590"/>
                <a:gd name="T36" fmla="*/ 776 w 859"/>
                <a:gd name="T37" fmla="*/ 179 h 590"/>
                <a:gd name="T38" fmla="*/ 750 w 859"/>
                <a:gd name="T39" fmla="*/ 141 h 590"/>
                <a:gd name="T40" fmla="*/ 699 w 859"/>
                <a:gd name="T41" fmla="*/ 94 h 590"/>
                <a:gd name="T42" fmla="*/ 669 w 859"/>
                <a:gd name="T43" fmla="*/ 77 h 590"/>
                <a:gd name="T44" fmla="*/ 636 w 859"/>
                <a:gd name="T45" fmla="*/ 64 h 590"/>
                <a:gd name="T46" fmla="*/ 600 w 859"/>
                <a:gd name="T47" fmla="*/ 56 h 590"/>
                <a:gd name="T48" fmla="*/ 564 w 859"/>
                <a:gd name="T49" fmla="*/ 53 h 590"/>
                <a:gd name="T50" fmla="*/ 17 w 859"/>
                <a:gd name="T51" fmla="*/ 52 h 590"/>
                <a:gd name="T52" fmla="*/ 5 w 859"/>
                <a:gd name="T53" fmla="*/ 42 h 590"/>
                <a:gd name="T54" fmla="*/ 0 w 859"/>
                <a:gd name="T55" fmla="*/ 27 h 590"/>
                <a:gd name="T56" fmla="*/ 5 w 859"/>
                <a:gd name="T57" fmla="*/ 11 h 590"/>
                <a:gd name="T58" fmla="*/ 17 w 859"/>
                <a:gd name="T59" fmla="*/ 1 h 590"/>
                <a:gd name="T60" fmla="*/ 564 w 859"/>
                <a:gd name="T61" fmla="*/ 0 h 590"/>
                <a:gd name="T62" fmla="*/ 609 w 859"/>
                <a:gd name="T63" fmla="*/ 3 h 590"/>
                <a:gd name="T64" fmla="*/ 652 w 859"/>
                <a:gd name="T65" fmla="*/ 12 h 590"/>
                <a:gd name="T66" fmla="*/ 692 w 859"/>
                <a:gd name="T67" fmla="*/ 29 h 590"/>
                <a:gd name="T68" fmla="*/ 729 w 859"/>
                <a:gd name="T69" fmla="*/ 50 h 590"/>
                <a:gd name="T70" fmla="*/ 763 w 859"/>
                <a:gd name="T71" fmla="*/ 76 h 590"/>
                <a:gd name="T72" fmla="*/ 792 w 859"/>
                <a:gd name="T73" fmla="*/ 107 h 590"/>
                <a:gd name="T74" fmla="*/ 817 w 859"/>
                <a:gd name="T75" fmla="*/ 141 h 590"/>
                <a:gd name="T76" fmla="*/ 836 w 859"/>
                <a:gd name="T77" fmla="*/ 179 h 590"/>
                <a:gd name="T78" fmla="*/ 850 w 859"/>
                <a:gd name="T79" fmla="*/ 221 h 590"/>
                <a:gd name="T80" fmla="*/ 857 w 859"/>
                <a:gd name="T81" fmla="*/ 265 h 590"/>
                <a:gd name="T82" fmla="*/ 858 w 859"/>
                <a:gd name="T83" fmla="*/ 309 h 590"/>
                <a:gd name="T84" fmla="*/ 852 w 859"/>
                <a:gd name="T85" fmla="*/ 354 h 590"/>
                <a:gd name="T86" fmla="*/ 841 w 859"/>
                <a:gd name="T87" fmla="*/ 396 h 590"/>
                <a:gd name="T88" fmla="*/ 823 w 859"/>
                <a:gd name="T89" fmla="*/ 435 h 590"/>
                <a:gd name="T90" fmla="*/ 800 w 859"/>
                <a:gd name="T91" fmla="*/ 471 h 590"/>
                <a:gd name="T92" fmla="*/ 773 w 859"/>
                <a:gd name="T93" fmla="*/ 503 h 590"/>
                <a:gd name="T94" fmla="*/ 740 w 859"/>
                <a:gd name="T95" fmla="*/ 531 h 590"/>
                <a:gd name="T96" fmla="*/ 704 w 859"/>
                <a:gd name="T97" fmla="*/ 554 h 590"/>
                <a:gd name="T98" fmla="*/ 665 w 859"/>
                <a:gd name="T99" fmla="*/ 572 h 590"/>
                <a:gd name="T100" fmla="*/ 624 w 859"/>
                <a:gd name="T101" fmla="*/ 584 h 590"/>
                <a:gd name="T102" fmla="*/ 579 w 859"/>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9" h="590">
                  <a:moveTo>
                    <a:pt x="564" y="590"/>
                  </a:moveTo>
                  <a:lnTo>
                    <a:pt x="189" y="590"/>
                  </a:lnTo>
                  <a:lnTo>
                    <a:pt x="183" y="590"/>
                  </a:lnTo>
                  <a:lnTo>
                    <a:pt x="178" y="588"/>
                  </a:lnTo>
                  <a:lnTo>
                    <a:pt x="173" y="585"/>
                  </a:lnTo>
                  <a:lnTo>
                    <a:pt x="170" y="582"/>
                  </a:lnTo>
                  <a:lnTo>
                    <a:pt x="166" y="577"/>
                  </a:lnTo>
                  <a:lnTo>
                    <a:pt x="164" y="573"/>
                  </a:lnTo>
                  <a:lnTo>
                    <a:pt x="162" y="568"/>
                  </a:lnTo>
                  <a:lnTo>
                    <a:pt x="162" y="563"/>
                  </a:lnTo>
                  <a:lnTo>
                    <a:pt x="162" y="557"/>
                  </a:lnTo>
                  <a:lnTo>
                    <a:pt x="164" y="553"/>
                  </a:lnTo>
                  <a:lnTo>
                    <a:pt x="166" y="548"/>
                  </a:lnTo>
                  <a:lnTo>
                    <a:pt x="170" y="544"/>
                  </a:lnTo>
                  <a:lnTo>
                    <a:pt x="173" y="540"/>
                  </a:lnTo>
                  <a:lnTo>
                    <a:pt x="178" y="538"/>
                  </a:lnTo>
                  <a:lnTo>
                    <a:pt x="183" y="537"/>
                  </a:lnTo>
                  <a:lnTo>
                    <a:pt x="189" y="536"/>
                  </a:lnTo>
                  <a:lnTo>
                    <a:pt x="564" y="536"/>
                  </a:lnTo>
                  <a:lnTo>
                    <a:pt x="577" y="536"/>
                  </a:lnTo>
                  <a:lnTo>
                    <a:pt x="589" y="535"/>
                  </a:lnTo>
                  <a:lnTo>
                    <a:pt x="600" y="534"/>
                  </a:lnTo>
                  <a:lnTo>
                    <a:pt x="613" y="531"/>
                  </a:lnTo>
                  <a:lnTo>
                    <a:pt x="624" y="528"/>
                  </a:lnTo>
                  <a:lnTo>
                    <a:pt x="636" y="525"/>
                  </a:lnTo>
                  <a:lnTo>
                    <a:pt x="647" y="521"/>
                  </a:lnTo>
                  <a:lnTo>
                    <a:pt x="657" y="517"/>
                  </a:lnTo>
                  <a:lnTo>
                    <a:pt x="669" y="512"/>
                  </a:lnTo>
                  <a:lnTo>
                    <a:pt x="679" y="507"/>
                  </a:lnTo>
                  <a:lnTo>
                    <a:pt x="689" y="501"/>
                  </a:lnTo>
                  <a:lnTo>
                    <a:pt x="699" y="494"/>
                  </a:lnTo>
                  <a:lnTo>
                    <a:pt x="718" y="481"/>
                  </a:lnTo>
                  <a:lnTo>
                    <a:pt x="735" y="465"/>
                  </a:lnTo>
                  <a:lnTo>
                    <a:pt x="750" y="449"/>
                  </a:lnTo>
                  <a:lnTo>
                    <a:pt x="764" y="429"/>
                  </a:lnTo>
                  <a:lnTo>
                    <a:pt x="771" y="419"/>
                  </a:lnTo>
                  <a:lnTo>
                    <a:pt x="776" y="409"/>
                  </a:lnTo>
                  <a:lnTo>
                    <a:pt x="782" y="399"/>
                  </a:lnTo>
                  <a:lnTo>
                    <a:pt x="786" y="389"/>
                  </a:lnTo>
                  <a:lnTo>
                    <a:pt x="791" y="378"/>
                  </a:lnTo>
                  <a:lnTo>
                    <a:pt x="794" y="367"/>
                  </a:lnTo>
                  <a:lnTo>
                    <a:pt x="797" y="355"/>
                  </a:lnTo>
                  <a:lnTo>
                    <a:pt x="801" y="343"/>
                  </a:lnTo>
                  <a:lnTo>
                    <a:pt x="802" y="332"/>
                  </a:lnTo>
                  <a:lnTo>
                    <a:pt x="804" y="320"/>
                  </a:lnTo>
                  <a:lnTo>
                    <a:pt x="805" y="307"/>
                  </a:lnTo>
                  <a:lnTo>
                    <a:pt x="805" y="295"/>
                  </a:lnTo>
                  <a:lnTo>
                    <a:pt x="805" y="283"/>
                  </a:lnTo>
                  <a:lnTo>
                    <a:pt x="804" y="270"/>
                  </a:lnTo>
                  <a:lnTo>
                    <a:pt x="802" y="258"/>
                  </a:lnTo>
                  <a:lnTo>
                    <a:pt x="801" y="246"/>
                  </a:lnTo>
                  <a:lnTo>
                    <a:pt x="797" y="234"/>
                  </a:lnTo>
                  <a:lnTo>
                    <a:pt x="794" y="223"/>
                  </a:lnTo>
                  <a:lnTo>
                    <a:pt x="791" y="212"/>
                  </a:lnTo>
                  <a:lnTo>
                    <a:pt x="786" y="201"/>
                  </a:lnTo>
                  <a:lnTo>
                    <a:pt x="782" y="191"/>
                  </a:lnTo>
                  <a:lnTo>
                    <a:pt x="776" y="179"/>
                  </a:lnTo>
                  <a:lnTo>
                    <a:pt x="771" y="169"/>
                  </a:lnTo>
                  <a:lnTo>
                    <a:pt x="764" y="159"/>
                  </a:lnTo>
                  <a:lnTo>
                    <a:pt x="750" y="141"/>
                  </a:lnTo>
                  <a:lnTo>
                    <a:pt x="735" y="124"/>
                  </a:lnTo>
                  <a:lnTo>
                    <a:pt x="718" y="109"/>
                  </a:lnTo>
                  <a:lnTo>
                    <a:pt x="699" y="94"/>
                  </a:lnTo>
                  <a:lnTo>
                    <a:pt x="689" y="89"/>
                  </a:lnTo>
                  <a:lnTo>
                    <a:pt x="679" y="82"/>
                  </a:lnTo>
                  <a:lnTo>
                    <a:pt x="669" y="77"/>
                  </a:lnTo>
                  <a:lnTo>
                    <a:pt x="657" y="72"/>
                  </a:lnTo>
                  <a:lnTo>
                    <a:pt x="647" y="68"/>
                  </a:lnTo>
                  <a:lnTo>
                    <a:pt x="636" y="64"/>
                  </a:lnTo>
                  <a:lnTo>
                    <a:pt x="624" y="61"/>
                  </a:lnTo>
                  <a:lnTo>
                    <a:pt x="613" y="58"/>
                  </a:lnTo>
                  <a:lnTo>
                    <a:pt x="600" y="56"/>
                  </a:lnTo>
                  <a:lnTo>
                    <a:pt x="589" y="55"/>
                  </a:lnTo>
                  <a:lnTo>
                    <a:pt x="577" y="54"/>
                  </a:lnTo>
                  <a:lnTo>
                    <a:pt x="564" y="53"/>
                  </a:lnTo>
                  <a:lnTo>
                    <a:pt x="27" y="53"/>
                  </a:lnTo>
                  <a:lnTo>
                    <a:pt x="22" y="53"/>
                  </a:lnTo>
                  <a:lnTo>
                    <a:pt x="17" y="52"/>
                  </a:lnTo>
                  <a:lnTo>
                    <a:pt x="13" y="48"/>
                  </a:lnTo>
                  <a:lnTo>
                    <a:pt x="8" y="45"/>
                  </a:lnTo>
                  <a:lnTo>
                    <a:pt x="5" y="42"/>
                  </a:lnTo>
                  <a:lnTo>
                    <a:pt x="3" y="37"/>
                  </a:lnTo>
                  <a:lnTo>
                    <a:pt x="2" y="31"/>
                  </a:lnTo>
                  <a:lnTo>
                    <a:pt x="0" y="27"/>
                  </a:lnTo>
                  <a:lnTo>
                    <a:pt x="2" y="21"/>
                  </a:lnTo>
                  <a:lnTo>
                    <a:pt x="3" y="16"/>
                  </a:lnTo>
                  <a:lnTo>
                    <a:pt x="5" y="11"/>
                  </a:lnTo>
                  <a:lnTo>
                    <a:pt x="8" y="8"/>
                  </a:lnTo>
                  <a:lnTo>
                    <a:pt x="13" y="5"/>
                  </a:lnTo>
                  <a:lnTo>
                    <a:pt x="17" y="1"/>
                  </a:lnTo>
                  <a:lnTo>
                    <a:pt x="22" y="0"/>
                  </a:lnTo>
                  <a:lnTo>
                    <a:pt x="27" y="0"/>
                  </a:lnTo>
                  <a:lnTo>
                    <a:pt x="564" y="0"/>
                  </a:lnTo>
                  <a:lnTo>
                    <a:pt x="579" y="0"/>
                  </a:lnTo>
                  <a:lnTo>
                    <a:pt x="593" y="1"/>
                  </a:lnTo>
                  <a:lnTo>
                    <a:pt x="609" y="3"/>
                  </a:lnTo>
                  <a:lnTo>
                    <a:pt x="624" y="6"/>
                  </a:lnTo>
                  <a:lnTo>
                    <a:pt x="637" y="9"/>
                  </a:lnTo>
                  <a:lnTo>
                    <a:pt x="652" y="12"/>
                  </a:lnTo>
                  <a:lnTo>
                    <a:pt x="665" y="18"/>
                  </a:lnTo>
                  <a:lnTo>
                    <a:pt x="679" y="22"/>
                  </a:lnTo>
                  <a:lnTo>
                    <a:pt x="692" y="29"/>
                  </a:lnTo>
                  <a:lnTo>
                    <a:pt x="704" y="35"/>
                  </a:lnTo>
                  <a:lnTo>
                    <a:pt x="717" y="43"/>
                  </a:lnTo>
                  <a:lnTo>
                    <a:pt x="729" y="50"/>
                  </a:lnTo>
                  <a:lnTo>
                    <a:pt x="740" y="58"/>
                  </a:lnTo>
                  <a:lnTo>
                    <a:pt x="752" y="67"/>
                  </a:lnTo>
                  <a:lnTo>
                    <a:pt x="763" y="76"/>
                  </a:lnTo>
                  <a:lnTo>
                    <a:pt x="773" y="86"/>
                  </a:lnTo>
                  <a:lnTo>
                    <a:pt x="782" y="96"/>
                  </a:lnTo>
                  <a:lnTo>
                    <a:pt x="792" y="107"/>
                  </a:lnTo>
                  <a:lnTo>
                    <a:pt x="800" y="118"/>
                  </a:lnTo>
                  <a:lnTo>
                    <a:pt x="809" y="130"/>
                  </a:lnTo>
                  <a:lnTo>
                    <a:pt x="817" y="141"/>
                  </a:lnTo>
                  <a:lnTo>
                    <a:pt x="823" y="154"/>
                  </a:lnTo>
                  <a:lnTo>
                    <a:pt x="830" y="167"/>
                  </a:lnTo>
                  <a:lnTo>
                    <a:pt x="836" y="179"/>
                  </a:lnTo>
                  <a:lnTo>
                    <a:pt x="841" y="193"/>
                  </a:lnTo>
                  <a:lnTo>
                    <a:pt x="846" y="207"/>
                  </a:lnTo>
                  <a:lnTo>
                    <a:pt x="850" y="221"/>
                  </a:lnTo>
                  <a:lnTo>
                    <a:pt x="852" y="235"/>
                  </a:lnTo>
                  <a:lnTo>
                    <a:pt x="856" y="250"/>
                  </a:lnTo>
                  <a:lnTo>
                    <a:pt x="857" y="265"/>
                  </a:lnTo>
                  <a:lnTo>
                    <a:pt x="858" y="279"/>
                  </a:lnTo>
                  <a:lnTo>
                    <a:pt x="859" y="295"/>
                  </a:lnTo>
                  <a:lnTo>
                    <a:pt x="858" y="309"/>
                  </a:lnTo>
                  <a:lnTo>
                    <a:pt x="857" y="325"/>
                  </a:lnTo>
                  <a:lnTo>
                    <a:pt x="856" y="340"/>
                  </a:lnTo>
                  <a:lnTo>
                    <a:pt x="852" y="354"/>
                  </a:lnTo>
                  <a:lnTo>
                    <a:pt x="850" y="369"/>
                  </a:lnTo>
                  <a:lnTo>
                    <a:pt x="846" y="382"/>
                  </a:lnTo>
                  <a:lnTo>
                    <a:pt x="841" y="396"/>
                  </a:lnTo>
                  <a:lnTo>
                    <a:pt x="836" y="409"/>
                  </a:lnTo>
                  <a:lnTo>
                    <a:pt x="830" y="423"/>
                  </a:lnTo>
                  <a:lnTo>
                    <a:pt x="823" y="435"/>
                  </a:lnTo>
                  <a:lnTo>
                    <a:pt x="817" y="447"/>
                  </a:lnTo>
                  <a:lnTo>
                    <a:pt x="809" y="460"/>
                  </a:lnTo>
                  <a:lnTo>
                    <a:pt x="800" y="471"/>
                  </a:lnTo>
                  <a:lnTo>
                    <a:pt x="792" y="482"/>
                  </a:lnTo>
                  <a:lnTo>
                    <a:pt x="782" y="493"/>
                  </a:lnTo>
                  <a:lnTo>
                    <a:pt x="773" y="503"/>
                  </a:lnTo>
                  <a:lnTo>
                    <a:pt x="763" y="514"/>
                  </a:lnTo>
                  <a:lnTo>
                    <a:pt x="752" y="522"/>
                  </a:lnTo>
                  <a:lnTo>
                    <a:pt x="740" y="531"/>
                  </a:lnTo>
                  <a:lnTo>
                    <a:pt x="729" y="539"/>
                  </a:lnTo>
                  <a:lnTo>
                    <a:pt x="717" y="547"/>
                  </a:lnTo>
                  <a:lnTo>
                    <a:pt x="704" y="554"/>
                  </a:lnTo>
                  <a:lnTo>
                    <a:pt x="692" y="561"/>
                  </a:lnTo>
                  <a:lnTo>
                    <a:pt x="679" y="566"/>
                  </a:lnTo>
                  <a:lnTo>
                    <a:pt x="665" y="572"/>
                  </a:lnTo>
                  <a:lnTo>
                    <a:pt x="652" y="576"/>
                  </a:lnTo>
                  <a:lnTo>
                    <a:pt x="637" y="581"/>
                  </a:lnTo>
                  <a:lnTo>
                    <a:pt x="624" y="584"/>
                  </a:lnTo>
                  <a:lnTo>
                    <a:pt x="609" y="586"/>
                  </a:lnTo>
                  <a:lnTo>
                    <a:pt x="593" y="589"/>
                  </a:lnTo>
                  <a:lnTo>
                    <a:pt x="579" y="590"/>
                  </a:lnTo>
                  <a:lnTo>
                    <a:pt x="56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15">
              <a:extLst>
                <a:ext uri="{FF2B5EF4-FFF2-40B4-BE49-F238E27FC236}">
                  <a16:creationId xmlns:a16="http://schemas.microsoft.com/office/drawing/2014/main" id="{19B0D2D5-7863-4036-9937-CF2DDA92C674}"/>
                </a:ext>
              </a:extLst>
            </p:cNvPr>
            <p:cNvSpPr>
              <a:spLocks/>
            </p:cNvSpPr>
            <p:nvPr/>
          </p:nvSpPr>
          <p:spPr bwMode="auto">
            <a:xfrm>
              <a:off x="6731000" y="5795963"/>
              <a:ext cx="341313" cy="233363"/>
            </a:xfrm>
            <a:custGeom>
              <a:avLst/>
              <a:gdLst>
                <a:gd name="T0" fmla="*/ 279 w 857"/>
                <a:gd name="T1" fmla="*/ 590 h 590"/>
                <a:gd name="T2" fmla="*/ 235 w 857"/>
                <a:gd name="T3" fmla="*/ 584 h 590"/>
                <a:gd name="T4" fmla="*/ 194 w 857"/>
                <a:gd name="T5" fmla="*/ 572 h 590"/>
                <a:gd name="T6" fmla="*/ 154 w 857"/>
                <a:gd name="T7" fmla="*/ 554 h 590"/>
                <a:gd name="T8" fmla="*/ 119 w 857"/>
                <a:gd name="T9" fmla="*/ 531 h 590"/>
                <a:gd name="T10" fmla="*/ 86 w 857"/>
                <a:gd name="T11" fmla="*/ 503 h 590"/>
                <a:gd name="T12" fmla="*/ 58 w 857"/>
                <a:gd name="T13" fmla="*/ 471 h 590"/>
                <a:gd name="T14" fmla="*/ 36 w 857"/>
                <a:gd name="T15" fmla="*/ 435 h 590"/>
                <a:gd name="T16" fmla="*/ 18 w 857"/>
                <a:gd name="T17" fmla="*/ 396 h 590"/>
                <a:gd name="T18" fmla="*/ 5 w 857"/>
                <a:gd name="T19" fmla="*/ 354 h 590"/>
                <a:gd name="T20" fmla="*/ 0 w 857"/>
                <a:gd name="T21" fmla="*/ 309 h 590"/>
                <a:gd name="T22" fmla="*/ 1 w 857"/>
                <a:gd name="T23" fmla="*/ 265 h 590"/>
                <a:gd name="T24" fmla="*/ 9 w 857"/>
                <a:gd name="T25" fmla="*/ 221 h 590"/>
                <a:gd name="T26" fmla="*/ 22 w 857"/>
                <a:gd name="T27" fmla="*/ 179 h 590"/>
                <a:gd name="T28" fmla="*/ 42 w 857"/>
                <a:gd name="T29" fmla="*/ 141 h 590"/>
                <a:gd name="T30" fmla="*/ 67 w 857"/>
                <a:gd name="T31" fmla="*/ 107 h 590"/>
                <a:gd name="T32" fmla="*/ 96 w 857"/>
                <a:gd name="T33" fmla="*/ 76 h 590"/>
                <a:gd name="T34" fmla="*/ 130 w 857"/>
                <a:gd name="T35" fmla="*/ 50 h 590"/>
                <a:gd name="T36" fmla="*/ 167 w 857"/>
                <a:gd name="T37" fmla="*/ 29 h 590"/>
                <a:gd name="T38" fmla="*/ 207 w 857"/>
                <a:gd name="T39" fmla="*/ 12 h 590"/>
                <a:gd name="T40" fmla="*/ 250 w 857"/>
                <a:gd name="T41" fmla="*/ 3 h 590"/>
                <a:gd name="T42" fmla="*/ 295 w 857"/>
                <a:gd name="T43" fmla="*/ 0 h 590"/>
                <a:gd name="T44" fmla="*/ 842 w 857"/>
                <a:gd name="T45" fmla="*/ 1 h 590"/>
                <a:gd name="T46" fmla="*/ 853 w 857"/>
                <a:gd name="T47" fmla="*/ 11 h 590"/>
                <a:gd name="T48" fmla="*/ 857 w 857"/>
                <a:gd name="T49" fmla="*/ 27 h 590"/>
                <a:gd name="T50" fmla="*/ 853 w 857"/>
                <a:gd name="T51" fmla="*/ 42 h 590"/>
                <a:gd name="T52" fmla="*/ 842 w 857"/>
                <a:gd name="T53" fmla="*/ 52 h 590"/>
                <a:gd name="T54" fmla="*/ 295 w 857"/>
                <a:gd name="T55" fmla="*/ 53 h 590"/>
                <a:gd name="T56" fmla="*/ 258 w 857"/>
                <a:gd name="T57" fmla="*/ 56 h 590"/>
                <a:gd name="T58" fmla="*/ 223 w 857"/>
                <a:gd name="T59" fmla="*/ 64 h 590"/>
                <a:gd name="T60" fmla="*/ 190 w 857"/>
                <a:gd name="T61" fmla="*/ 77 h 590"/>
                <a:gd name="T62" fmla="*/ 160 w 857"/>
                <a:gd name="T63" fmla="*/ 94 h 590"/>
                <a:gd name="T64" fmla="*/ 109 w 857"/>
                <a:gd name="T65" fmla="*/ 141 h 590"/>
                <a:gd name="T66" fmla="*/ 83 w 857"/>
                <a:gd name="T67" fmla="*/ 179 h 590"/>
                <a:gd name="T68" fmla="*/ 68 w 857"/>
                <a:gd name="T69" fmla="*/ 212 h 590"/>
                <a:gd name="T70" fmla="*/ 58 w 857"/>
                <a:gd name="T71" fmla="*/ 246 h 590"/>
                <a:gd name="T72" fmla="*/ 54 w 857"/>
                <a:gd name="T73" fmla="*/ 283 h 590"/>
                <a:gd name="T74" fmla="*/ 55 w 857"/>
                <a:gd name="T75" fmla="*/ 320 h 590"/>
                <a:gd name="T76" fmla="*/ 60 w 857"/>
                <a:gd name="T77" fmla="*/ 355 h 590"/>
                <a:gd name="T78" fmla="*/ 73 w 857"/>
                <a:gd name="T79" fmla="*/ 389 h 590"/>
                <a:gd name="T80" fmla="*/ 88 w 857"/>
                <a:gd name="T81" fmla="*/ 419 h 590"/>
                <a:gd name="T82" fmla="*/ 124 w 857"/>
                <a:gd name="T83" fmla="*/ 465 h 590"/>
                <a:gd name="T84" fmla="*/ 169 w 857"/>
                <a:gd name="T85" fmla="*/ 501 h 590"/>
                <a:gd name="T86" fmla="*/ 200 w 857"/>
                <a:gd name="T87" fmla="*/ 517 h 590"/>
                <a:gd name="T88" fmla="*/ 234 w 857"/>
                <a:gd name="T89" fmla="*/ 528 h 590"/>
                <a:gd name="T90" fmla="*/ 270 w 857"/>
                <a:gd name="T91" fmla="*/ 535 h 590"/>
                <a:gd name="T92" fmla="*/ 616 w 857"/>
                <a:gd name="T93" fmla="*/ 536 h 590"/>
                <a:gd name="T94" fmla="*/ 631 w 857"/>
                <a:gd name="T95" fmla="*/ 540 h 590"/>
                <a:gd name="T96" fmla="*/ 641 w 857"/>
                <a:gd name="T97" fmla="*/ 553 h 590"/>
                <a:gd name="T98" fmla="*/ 642 w 857"/>
                <a:gd name="T99" fmla="*/ 568 h 590"/>
                <a:gd name="T100" fmla="*/ 635 w 857"/>
                <a:gd name="T101" fmla="*/ 582 h 590"/>
                <a:gd name="T102" fmla="*/ 622 w 857"/>
                <a:gd name="T103"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57" h="590">
                  <a:moveTo>
                    <a:pt x="616" y="590"/>
                  </a:moveTo>
                  <a:lnTo>
                    <a:pt x="295" y="590"/>
                  </a:lnTo>
                  <a:lnTo>
                    <a:pt x="279" y="590"/>
                  </a:lnTo>
                  <a:lnTo>
                    <a:pt x="264" y="589"/>
                  </a:lnTo>
                  <a:lnTo>
                    <a:pt x="250" y="586"/>
                  </a:lnTo>
                  <a:lnTo>
                    <a:pt x="235" y="584"/>
                  </a:lnTo>
                  <a:lnTo>
                    <a:pt x="221" y="581"/>
                  </a:lnTo>
                  <a:lnTo>
                    <a:pt x="207" y="576"/>
                  </a:lnTo>
                  <a:lnTo>
                    <a:pt x="194" y="572"/>
                  </a:lnTo>
                  <a:lnTo>
                    <a:pt x="180" y="566"/>
                  </a:lnTo>
                  <a:lnTo>
                    <a:pt x="167" y="561"/>
                  </a:lnTo>
                  <a:lnTo>
                    <a:pt x="154" y="554"/>
                  </a:lnTo>
                  <a:lnTo>
                    <a:pt x="142" y="547"/>
                  </a:lnTo>
                  <a:lnTo>
                    <a:pt x="130" y="539"/>
                  </a:lnTo>
                  <a:lnTo>
                    <a:pt x="119" y="531"/>
                  </a:lnTo>
                  <a:lnTo>
                    <a:pt x="107" y="522"/>
                  </a:lnTo>
                  <a:lnTo>
                    <a:pt x="96" y="514"/>
                  </a:lnTo>
                  <a:lnTo>
                    <a:pt x="86" y="503"/>
                  </a:lnTo>
                  <a:lnTo>
                    <a:pt x="76" y="493"/>
                  </a:lnTo>
                  <a:lnTo>
                    <a:pt x="67" y="482"/>
                  </a:lnTo>
                  <a:lnTo>
                    <a:pt x="58" y="471"/>
                  </a:lnTo>
                  <a:lnTo>
                    <a:pt x="50" y="460"/>
                  </a:lnTo>
                  <a:lnTo>
                    <a:pt x="42" y="447"/>
                  </a:lnTo>
                  <a:lnTo>
                    <a:pt x="36" y="435"/>
                  </a:lnTo>
                  <a:lnTo>
                    <a:pt x="29" y="423"/>
                  </a:lnTo>
                  <a:lnTo>
                    <a:pt x="22" y="409"/>
                  </a:lnTo>
                  <a:lnTo>
                    <a:pt x="18" y="396"/>
                  </a:lnTo>
                  <a:lnTo>
                    <a:pt x="13" y="382"/>
                  </a:lnTo>
                  <a:lnTo>
                    <a:pt x="9" y="369"/>
                  </a:lnTo>
                  <a:lnTo>
                    <a:pt x="5" y="354"/>
                  </a:lnTo>
                  <a:lnTo>
                    <a:pt x="3" y="340"/>
                  </a:lnTo>
                  <a:lnTo>
                    <a:pt x="1" y="325"/>
                  </a:lnTo>
                  <a:lnTo>
                    <a:pt x="0" y="309"/>
                  </a:lnTo>
                  <a:lnTo>
                    <a:pt x="0" y="295"/>
                  </a:lnTo>
                  <a:lnTo>
                    <a:pt x="0" y="279"/>
                  </a:lnTo>
                  <a:lnTo>
                    <a:pt x="1" y="265"/>
                  </a:lnTo>
                  <a:lnTo>
                    <a:pt x="3" y="250"/>
                  </a:lnTo>
                  <a:lnTo>
                    <a:pt x="5" y="235"/>
                  </a:lnTo>
                  <a:lnTo>
                    <a:pt x="9" y="221"/>
                  </a:lnTo>
                  <a:lnTo>
                    <a:pt x="13" y="207"/>
                  </a:lnTo>
                  <a:lnTo>
                    <a:pt x="18" y="193"/>
                  </a:lnTo>
                  <a:lnTo>
                    <a:pt x="22" y="179"/>
                  </a:lnTo>
                  <a:lnTo>
                    <a:pt x="29" y="167"/>
                  </a:lnTo>
                  <a:lnTo>
                    <a:pt x="36" y="154"/>
                  </a:lnTo>
                  <a:lnTo>
                    <a:pt x="42" y="141"/>
                  </a:lnTo>
                  <a:lnTo>
                    <a:pt x="50" y="130"/>
                  </a:lnTo>
                  <a:lnTo>
                    <a:pt x="58" y="118"/>
                  </a:lnTo>
                  <a:lnTo>
                    <a:pt x="67" y="107"/>
                  </a:lnTo>
                  <a:lnTo>
                    <a:pt x="76" y="96"/>
                  </a:lnTo>
                  <a:lnTo>
                    <a:pt x="86" y="86"/>
                  </a:lnTo>
                  <a:lnTo>
                    <a:pt x="96" y="76"/>
                  </a:lnTo>
                  <a:lnTo>
                    <a:pt x="107" y="67"/>
                  </a:lnTo>
                  <a:lnTo>
                    <a:pt x="119" y="58"/>
                  </a:lnTo>
                  <a:lnTo>
                    <a:pt x="130" y="50"/>
                  </a:lnTo>
                  <a:lnTo>
                    <a:pt x="142" y="43"/>
                  </a:lnTo>
                  <a:lnTo>
                    <a:pt x="154" y="35"/>
                  </a:lnTo>
                  <a:lnTo>
                    <a:pt x="167" y="29"/>
                  </a:lnTo>
                  <a:lnTo>
                    <a:pt x="180" y="22"/>
                  </a:lnTo>
                  <a:lnTo>
                    <a:pt x="194" y="18"/>
                  </a:lnTo>
                  <a:lnTo>
                    <a:pt x="207" y="12"/>
                  </a:lnTo>
                  <a:lnTo>
                    <a:pt x="221" y="9"/>
                  </a:lnTo>
                  <a:lnTo>
                    <a:pt x="235" y="6"/>
                  </a:lnTo>
                  <a:lnTo>
                    <a:pt x="250" y="3"/>
                  </a:lnTo>
                  <a:lnTo>
                    <a:pt x="264" y="1"/>
                  </a:lnTo>
                  <a:lnTo>
                    <a:pt x="279" y="0"/>
                  </a:lnTo>
                  <a:lnTo>
                    <a:pt x="295" y="0"/>
                  </a:lnTo>
                  <a:lnTo>
                    <a:pt x="830" y="0"/>
                  </a:lnTo>
                  <a:lnTo>
                    <a:pt x="836" y="0"/>
                  </a:lnTo>
                  <a:lnTo>
                    <a:pt x="842" y="1"/>
                  </a:lnTo>
                  <a:lnTo>
                    <a:pt x="846" y="5"/>
                  </a:lnTo>
                  <a:lnTo>
                    <a:pt x="850" y="8"/>
                  </a:lnTo>
                  <a:lnTo>
                    <a:pt x="853" y="11"/>
                  </a:lnTo>
                  <a:lnTo>
                    <a:pt x="856" y="16"/>
                  </a:lnTo>
                  <a:lnTo>
                    <a:pt x="857" y="21"/>
                  </a:lnTo>
                  <a:lnTo>
                    <a:pt x="857" y="27"/>
                  </a:lnTo>
                  <a:lnTo>
                    <a:pt x="857" y="31"/>
                  </a:lnTo>
                  <a:lnTo>
                    <a:pt x="856" y="37"/>
                  </a:lnTo>
                  <a:lnTo>
                    <a:pt x="853" y="42"/>
                  </a:lnTo>
                  <a:lnTo>
                    <a:pt x="850" y="45"/>
                  </a:lnTo>
                  <a:lnTo>
                    <a:pt x="846" y="48"/>
                  </a:lnTo>
                  <a:lnTo>
                    <a:pt x="842" y="52"/>
                  </a:lnTo>
                  <a:lnTo>
                    <a:pt x="836" y="53"/>
                  </a:lnTo>
                  <a:lnTo>
                    <a:pt x="830" y="53"/>
                  </a:lnTo>
                  <a:lnTo>
                    <a:pt x="295" y="53"/>
                  </a:lnTo>
                  <a:lnTo>
                    <a:pt x="282" y="54"/>
                  </a:lnTo>
                  <a:lnTo>
                    <a:pt x="270" y="55"/>
                  </a:lnTo>
                  <a:lnTo>
                    <a:pt x="258" y="56"/>
                  </a:lnTo>
                  <a:lnTo>
                    <a:pt x="246" y="58"/>
                  </a:lnTo>
                  <a:lnTo>
                    <a:pt x="234" y="61"/>
                  </a:lnTo>
                  <a:lnTo>
                    <a:pt x="223" y="64"/>
                  </a:lnTo>
                  <a:lnTo>
                    <a:pt x="212" y="68"/>
                  </a:lnTo>
                  <a:lnTo>
                    <a:pt x="200" y="72"/>
                  </a:lnTo>
                  <a:lnTo>
                    <a:pt x="190" y="77"/>
                  </a:lnTo>
                  <a:lnTo>
                    <a:pt x="179" y="82"/>
                  </a:lnTo>
                  <a:lnTo>
                    <a:pt x="169" y="89"/>
                  </a:lnTo>
                  <a:lnTo>
                    <a:pt x="160" y="94"/>
                  </a:lnTo>
                  <a:lnTo>
                    <a:pt x="141" y="109"/>
                  </a:lnTo>
                  <a:lnTo>
                    <a:pt x="124" y="124"/>
                  </a:lnTo>
                  <a:lnTo>
                    <a:pt x="109" y="141"/>
                  </a:lnTo>
                  <a:lnTo>
                    <a:pt x="94" y="159"/>
                  </a:lnTo>
                  <a:lnTo>
                    <a:pt x="88" y="169"/>
                  </a:lnTo>
                  <a:lnTo>
                    <a:pt x="83" y="179"/>
                  </a:lnTo>
                  <a:lnTo>
                    <a:pt x="77" y="191"/>
                  </a:lnTo>
                  <a:lnTo>
                    <a:pt x="73" y="201"/>
                  </a:lnTo>
                  <a:lnTo>
                    <a:pt x="68" y="212"/>
                  </a:lnTo>
                  <a:lnTo>
                    <a:pt x="64" y="223"/>
                  </a:lnTo>
                  <a:lnTo>
                    <a:pt x="60" y="234"/>
                  </a:lnTo>
                  <a:lnTo>
                    <a:pt x="58" y="246"/>
                  </a:lnTo>
                  <a:lnTo>
                    <a:pt x="56" y="258"/>
                  </a:lnTo>
                  <a:lnTo>
                    <a:pt x="55" y="270"/>
                  </a:lnTo>
                  <a:lnTo>
                    <a:pt x="54" y="283"/>
                  </a:lnTo>
                  <a:lnTo>
                    <a:pt x="54" y="295"/>
                  </a:lnTo>
                  <a:lnTo>
                    <a:pt x="54" y="307"/>
                  </a:lnTo>
                  <a:lnTo>
                    <a:pt x="55" y="320"/>
                  </a:lnTo>
                  <a:lnTo>
                    <a:pt x="56" y="332"/>
                  </a:lnTo>
                  <a:lnTo>
                    <a:pt x="58" y="343"/>
                  </a:lnTo>
                  <a:lnTo>
                    <a:pt x="60" y="355"/>
                  </a:lnTo>
                  <a:lnTo>
                    <a:pt x="64" y="367"/>
                  </a:lnTo>
                  <a:lnTo>
                    <a:pt x="68" y="378"/>
                  </a:lnTo>
                  <a:lnTo>
                    <a:pt x="73" y="389"/>
                  </a:lnTo>
                  <a:lnTo>
                    <a:pt x="77" y="399"/>
                  </a:lnTo>
                  <a:lnTo>
                    <a:pt x="83" y="409"/>
                  </a:lnTo>
                  <a:lnTo>
                    <a:pt x="88" y="419"/>
                  </a:lnTo>
                  <a:lnTo>
                    <a:pt x="94" y="429"/>
                  </a:lnTo>
                  <a:lnTo>
                    <a:pt x="109" y="449"/>
                  </a:lnTo>
                  <a:lnTo>
                    <a:pt x="124" y="465"/>
                  </a:lnTo>
                  <a:lnTo>
                    <a:pt x="141" y="481"/>
                  </a:lnTo>
                  <a:lnTo>
                    <a:pt x="160" y="494"/>
                  </a:lnTo>
                  <a:lnTo>
                    <a:pt x="169" y="501"/>
                  </a:lnTo>
                  <a:lnTo>
                    <a:pt x="179" y="507"/>
                  </a:lnTo>
                  <a:lnTo>
                    <a:pt x="190" y="512"/>
                  </a:lnTo>
                  <a:lnTo>
                    <a:pt x="200" y="517"/>
                  </a:lnTo>
                  <a:lnTo>
                    <a:pt x="212" y="521"/>
                  </a:lnTo>
                  <a:lnTo>
                    <a:pt x="223" y="525"/>
                  </a:lnTo>
                  <a:lnTo>
                    <a:pt x="234" y="528"/>
                  </a:lnTo>
                  <a:lnTo>
                    <a:pt x="246" y="531"/>
                  </a:lnTo>
                  <a:lnTo>
                    <a:pt x="258" y="534"/>
                  </a:lnTo>
                  <a:lnTo>
                    <a:pt x="270" y="535"/>
                  </a:lnTo>
                  <a:lnTo>
                    <a:pt x="282" y="536"/>
                  </a:lnTo>
                  <a:lnTo>
                    <a:pt x="295" y="536"/>
                  </a:lnTo>
                  <a:lnTo>
                    <a:pt x="616" y="536"/>
                  </a:lnTo>
                  <a:lnTo>
                    <a:pt x="622" y="537"/>
                  </a:lnTo>
                  <a:lnTo>
                    <a:pt x="626" y="538"/>
                  </a:lnTo>
                  <a:lnTo>
                    <a:pt x="631" y="540"/>
                  </a:lnTo>
                  <a:lnTo>
                    <a:pt x="635" y="544"/>
                  </a:lnTo>
                  <a:lnTo>
                    <a:pt x="639" y="548"/>
                  </a:lnTo>
                  <a:lnTo>
                    <a:pt x="641" y="553"/>
                  </a:lnTo>
                  <a:lnTo>
                    <a:pt x="642" y="557"/>
                  </a:lnTo>
                  <a:lnTo>
                    <a:pt x="643" y="563"/>
                  </a:lnTo>
                  <a:lnTo>
                    <a:pt x="642" y="568"/>
                  </a:lnTo>
                  <a:lnTo>
                    <a:pt x="641" y="573"/>
                  </a:lnTo>
                  <a:lnTo>
                    <a:pt x="639" y="577"/>
                  </a:lnTo>
                  <a:lnTo>
                    <a:pt x="635" y="582"/>
                  </a:lnTo>
                  <a:lnTo>
                    <a:pt x="631" y="585"/>
                  </a:lnTo>
                  <a:lnTo>
                    <a:pt x="626" y="588"/>
                  </a:lnTo>
                  <a:lnTo>
                    <a:pt x="622" y="590"/>
                  </a:lnTo>
                  <a:lnTo>
                    <a:pt x="616"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16">
              <a:extLst>
                <a:ext uri="{FF2B5EF4-FFF2-40B4-BE49-F238E27FC236}">
                  <a16:creationId xmlns:a16="http://schemas.microsoft.com/office/drawing/2014/main" id="{DE81B55E-B189-41EA-85F0-1A1C0CAC5279}"/>
                </a:ext>
              </a:extLst>
            </p:cNvPr>
            <p:cNvSpPr>
              <a:spLocks/>
            </p:cNvSpPr>
            <p:nvPr/>
          </p:nvSpPr>
          <p:spPr bwMode="auto">
            <a:xfrm>
              <a:off x="7008813" y="5943600"/>
              <a:ext cx="84138" cy="149225"/>
            </a:xfrm>
            <a:custGeom>
              <a:avLst/>
              <a:gdLst>
                <a:gd name="T0" fmla="*/ 187 w 214"/>
                <a:gd name="T1" fmla="*/ 375 h 375"/>
                <a:gd name="T2" fmla="*/ 183 w 214"/>
                <a:gd name="T3" fmla="*/ 374 h 375"/>
                <a:gd name="T4" fmla="*/ 177 w 214"/>
                <a:gd name="T5" fmla="*/ 373 h 375"/>
                <a:gd name="T6" fmla="*/ 173 w 214"/>
                <a:gd name="T7" fmla="*/ 371 h 375"/>
                <a:gd name="T8" fmla="*/ 168 w 214"/>
                <a:gd name="T9" fmla="*/ 367 h 375"/>
                <a:gd name="T10" fmla="*/ 8 w 214"/>
                <a:gd name="T11" fmla="*/ 206 h 375"/>
                <a:gd name="T12" fmla="*/ 5 w 214"/>
                <a:gd name="T13" fmla="*/ 201 h 375"/>
                <a:gd name="T14" fmla="*/ 2 w 214"/>
                <a:gd name="T15" fmla="*/ 197 h 375"/>
                <a:gd name="T16" fmla="*/ 0 w 214"/>
                <a:gd name="T17" fmla="*/ 192 h 375"/>
                <a:gd name="T18" fmla="*/ 0 w 214"/>
                <a:gd name="T19" fmla="*/ 187 h 375"/>
                <a:gd name="T20" fmla="*/ 0 w 214"/>
                <a:gd name="T21" fmla="*/ 182 h 375"/>
                <a:gd name="T22" fmla="*/ 2 w 214"/>
                <a:gd name="T23" fmla="*/ 177 h 375"/>
                <a:gd name="T24" fmla="*/ 5 w 214"/>
                <a:gd name="T25" fmla="*/ 172 h 375"/>
                <a:gd name="T26" fmla="*/ 8 w 214"/>
                <a:gd name="T27" fmla="*/ 168 h 375"/>
                <a:gd name="T28" fmla="*/ 168 w 214"/>
                <a:gd name="T29" fmla="*/ 7 h 375"/>
                <a:gd name="T30" fmla="*/ 173 w 214"/>
                <a:gd name="T31" fmla="*/ 4 h 375"/>
                <a:gd name="T32" fmla="*/ 177 w 214"/>
                <a:gd name="T33" fmla="*/ 1 h 375"/>
                <a:gd name="T34" fmla="*/ 183 w 214"/>
                <a:gd name="T35" fmla="*/ 0 h 375"/>
                <a:gd name="T36" fmla="*/ 187 w 214"/>
                <a:gd name="T37" fmla="*/ 0 h 375"/>
                <a:gd name="T38" fmla="*/ 193 w 214"/>
                <a:gd name="T39" fmla="*/ 0 h 375"/>
                <a:gd name="T40" fmla="*/ 197 w 214"/>
                <a:gd name="T41" fmla="*/ 1 h 375"/>
                <a:gd name="T42" fmla="*/ 203 w 214"/>
                <a:gd name="T43" fmla="*/ 4 h 375"/>
                <a:gd name="T44" fmla="*/ 206 w 214"/>
                <a:gd name="T45" fmla="*/ 7 h 375"/>
                <a:gd name="T46" fmla="*/ 210 w 214"/>
                <a:gd name="T47" fmla="*/ 11 h 375"/>
                <a:gd name="T48" fmla="*/ 213 w 214"/>
                <a:gd name="T49" fmla="*/ 16 h 375"/>
                <a:gd name="T50" fmla="*/ 214 w 214"/>
                <a:gd name="T51" fmla="*/ 21 h 375"/>
                <a:gd name="T52" fmla="*/ 214 w 214"/>
                <a:gd name="T53" fmla="*/ 27 h 375"/>
                <a:gd name="T54" fmla="*/ 214 w 214"/>
                <a:gd name="T55" fmla="*/ 31 h 375"/>
                <a:gd name="T56" fmla="*/ 213 w 214"/>
                <a:gd name="T57" fmla="*/ 37 h 375"/>
                <a:gd name="T58" fmla="*/ 210 w 214"/>
                <a:gd name="T59" fmla="*/ 41 h 375"/>
                <a:gd name="T60" fmla="*/ 206 w 214"/>
                <a:gd name="T61" fmla="*/ 44 h 375"/>
                <a:gd name="T62" fmla="*/ 65 w 214"/>
                <a:gd name="T63" fmla="*/ 187 h 375"/>
                <a:gd name="T64" fmla="*/ 206 w 214"/>
                <a:gd name="T65" fmla="*/ 329 h 375"/>
                <a:gd name="T66" fmla="*/ 210 w 214"/>
                <a:gd name="T67" fmla="*/ 333 h 375"/>
                <a:gd name="T68" fmla="*/ 213 w 214"/>
                <a:gd name="T69" fmla="*/ 338 h 375"/>
                <a:gd name="T70" fmla="*/ 214 w 214"/>
                <a:gd name="T71" fmla="*/ 343 h 375"/>
                <a:gd name="T72" fmla="*/ 214 w 214"/>
                <a:gd name="T73" fmla="*/ 348 h 375"/>
                <a:gd name="T74" fmla="*/ 214 w 214"/>
                <a:gd name="T75" fmla="*/ 353 h 375"/>
                <a:gd name="T76" fmla="*/ 213 w 214"/>
                <a:gd name="T77" fmla="*/ 358 h 375"/>
                <a:gd name="T78" fmla="*/ 210 w 214"/>
                <a:gd name="T79" fmla="*/ 363 h 375"/>
                <a:gd name="T80" fmla="*/ 206 w 214"/>
                <a:gd name="T81" fmla="*/ 367 h 375"/>
                <a:gd name="T82" fmla="*/ 203 w 214"/>
                <a:gd name="T83" fmla="*/ 371 h 375"/>
                <a:gd name="T84" fmla="*/ 197 w 214"/>
                <a:gd name="T85" fmla="*/ 373 h 375"/>
                <a:gd name="T86" fmla="*/ 193 w 214"/>
                <a:gd name="T87" fmla="*/ 374 h 375"/>
                <a:gd name="T88" fmla="*/ 187 w 214"/>
                <a:gd name="T8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375">
                  <a:moveTo>
                    <a:pt x="187" y="375"/>
                  </a:moveTo>
                  <a:lnTo>
                    <a:pt x="183" y="374"/>
                  </a:lnTo>
                  <a:lnTo>
                    <a:pt x="177" y="373"/>
                  </a:lnTo>
                  <a:lnTo>
                    <a:pt x="173" y="371"/>
                  </a:lnTo>
                  <a:lnTo>
                    <a:pt x="168" y="367"/>
                  </a:lnTo>
                  <a:lnTo>
                    <a:pt x="8" y="206"/>
                  </a:lnTo>
                  <a:lnTo>
                    <a:pt x="5" y="201"/>
                  </a:lnTo>
                  <a:lnTo>
                    <a:pt x="2" y="197"/>
                  </a:lnTo>
                  <a:lnTo>
                    <a:pt x="0" y="192"/>
                  </a:lnTo>
                  <a:lnTo>
                    <a:pt x="0" y="187"/>
                  </a:lnTo>
                  <a:lnTo>
                    <a:pt x="0" y="182"/>
                  </a:lnTo>
                  <a:lnTo>
                    <a:pt x="2" y="177"/>
                  </a:lnTo>
                  <a:lnTo>
                    <a:pt x="5" y="172"/>
                  </a:lnTo>
                  <a:lnTo>
                    <a:pt x="8" y="168"/>
                  </a:lnTo>
                  <a:lnTo>
                    <a:pt x="168" y="7"/>
                  </a:lnTo>
                  <a:lnTo>
                    <a:pt x="173" y="4"/>
                  </a:lnTo>
                  <a:lnTo>
                    <a:pt x="177" y="1"/>
                  </a:lnTo>
                  <a:lnTo>
                    <a:pt x="183" y="0"/>
                  </a:lnTo>
                  <a:lnTo>
                    <a:pt x="187" y="0"/>
                  </a:lnTo>
                  <a:lnTo>
                    <a:pt x="193" y="0"/>
                  </a:lnTo>
                  <a:lnTo>
                    <a:pt x="197" y="1"/>
                  </a:lnTo>
                  <a:lnTo>
                    <a:pt x="203" y="4"/>
                  </a:lnTo>
                  <a:lnTo>
                    <a:pt x="206" y="7"/>
                  </a:lnTo>
                  <a:lnTo>
                    <a:pt x="210" y="11"/>
                  </a:lnTo>
                  <a:lnTo>
                    <a:pt x="213" y="16"/>
                  </a:lnTo>
                  <a:lnTo>
                    <a:pt x="214" y="21"/>
                  </a:lnTo>
                  <a:lnTo>
                    <a:pt x="214" y="27"/>
                  </a:lnTo>
                  <a:lnTo>
                    <a:pt x="214" y="31"/>
                  </a:lnTo>
                  <a:lnTo>
                    <a:pt x="213" y="37"/>
                  </a:lnTo>
                  <a:lnTo>
                    <a:pt x="210" y="41"/>
                  </a:lnTo>
                  <a:lnTo>
                    <a:pt x="206" y="44"/>
                  </a:lnTo>
                  <a:lnTo>
                    <a:pt x="65" y="187"/>
                  </a:lnTo>
                  <a:lnTo>
                    <a:pt x="206" y="329"/>
                  </a:lnTo>
                  <a:lnTo>
                    <a:pt x="210" y="333"/>
                  </a:lnTo>
                  <a:lnTo>
                    <a:pt x="213" y="338"/>
                  </a:lnTo>
                  <a:lnTo>
                    <a:pt x="214" y="343"/>
                  </a:lnTo>
                  <a:lnTo>
                    <a:pt x="214" y="348"/>
                  </a:lnTo>
                  <a:lnTo>
                    <a:pt x="214" y="353"/>
                  </a:lnTo>
                  <a:lnTo>
                    <a:pt x="213" y="358"/>
                  </a:lnTo>
                  <a:lnTo>
                    <a:pt x="210" y="363"/>
                  </a:lnTo>
                  <a:lnTo>
                    <a:pt x="206" y="367"/>
                  </a:lnTo>
                  <a:lnTo>
                    <a:pt x="203" y="371"/>
                  </a:lnTo>
                  <a:lnTo>
                    <a:pt x="197" y="373"/>
                  </a:lnTo>
                  <a:lnTo>
                    <a:pt x="193" y="374"/>
                  </a:lnTo>
                  <a:lnTo>
                    <a:pt x="187"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0" name="Freeform 40">
            <a:extLst>
              <a:ext uri="{FF2B5EF4-FFF2-40B4-BE49-F238E27FC236}">
                <a16:creationId xmlns:a16="http://schemas.microsoft.com/office/drawing/2014/main" id="{0CB2A91A-0BF4-416A-B349-A2A6D752C7DB}"/>
              </a:ext>
            </a:extLst>
          </p:cNvPr>
          <p:cNvSpPr>
            <a:spLocks noChangeAspect="1"/>
          </p:cNvSpPr>
          <p:nvPr/>
        </p:nvSpPr>
        <p:spPr bwMode="auto">
          <a:xfrm>
            <a:off x="4426614" y="3339586"/>
            <a:ext cx="308350" cy="154175"/>
          </a:xfrm>
          <a:custGeom>
            <a:avLst/>
            <a:gdLst>
              <a:gd name="T0" fmla="*/ 634 w 903"/>
              <a:gd name="T1" fmla="*/ 8 h 448"/>
              <a:gd name="T2" fmla="*/ 561 w 903"/>
              <a:gd name="T3" fmla="*/ 54 h 448"/>
              <a:gd name="T4" fmla="*/ 464 w 903"/>
              <a:gd name="T5" fmla="*/ 177 h 448"/>
              <a:gd name="T6" fmla="*/ 354 w 903"/>
              <a:gd name="T7" fmla="*/ 340 h 448"/>
              <a:gd name="T8" fmla="*/ 270 w 903"/>
              <a:gd name="T9" fmla="*/ 409 h 448"/>
              <a:gd name="T10" fmla="*/ 205 w 903"/>
              <a:gd name="T11" fmla="*/ 417 h 448"/>
              <a:gd name="T12" fmla="*/ 101 w 903"/>
              <a:gd name="T13" fmla="*/ 374 h 448"/>
              <a:gd name="T14" fmla="*/ 38 w 903"/>
              <a:gd name="T15" fmla="*/ 282 h 448"/>
              <a:gd name="T16" fmla="*/ 38 w 903"/>
              <a:gd name="T17" fmla="*/ 166 h 448"/>
              <a:gd name="T18" fmla="*/ 101 w 903"/>
              <a:gd name="T19" fmla="*/ 74 h 448"/>
              <a:gd name="T20" fmla="*/ 205 w 903"/>
              <a:gd name="T21" fmla="*/ 31 h 448"/>
              <a:gd name="T22" fmla="*/ 284 w 903"/>
              <a:gd name="T23" fmla="*/ 45 h 448"/>
              <a:gd name="T24" fmla="*/ 338 w 903"/>
              <a:gd name="T25" fmla="*/ 89 h 448"/>
              <a:gd name="T26" fmla="*/ 259 w 903"/>
              <a:gd name="T27" fmla="*/ 108 h 448"/>
              <a:gd name="T28" fmla="*/ 249 w 903"/>
              <a:gd name="T29" fmla="*/ 127 h 448"/>
              <a:gd name="T30" fmla="*/ 260 w 903"/>
              <a:gd name="T31" fmla="*/ 138 h 448"/>
              <a:gd name="T32" fmla="*/ 394 w 903"/>
              <a:gd name="T33" fmla="*/ 164 h 448"/>
              <a:gd name="T34" fmla="*/ 401 w 903"/>
              <a:gd name="T35" fmla="*/ 161 h 448"/>
              <a:gd name="T36" fmla="*/ 406 w 903"/>
              <a:gd name="T37" fmla="*/ 158 h 448"/>
              <a:gd name="T38" fmla="*/ 409 w 903"/>
              <a:gd name="T39" fmla="*/ 150 h 448"/>
              <a:gd name="T40" fmla="*/ 430 w 903"/>
              <a:gd name="T41" fmla="*/ 5 h 448"/>
              <a:gd name="T42" fmla="*/ 414 w 903"/>
              <a:gd name="T43" fmla="*/ 2 h 448"/>
              <a:gd name="T44" fmla="*/ 362 w 903"/>
              <a:gd name="T45" fmla="*/ 71 h 448"/>
              <a:gd name="T46" fmla="*/ 304 w 903"/>
              <a:gd name="T47" fmla="*/ 23 h 448"/>
              <a:gd name="T48" fmla="*/ 224 w 903"/>
              <a:gd name="T49" fmla="*/ 0 h 448"/>
              <a:gd name="T50" fmla="*/ 157 w 903"/>
              <a:gd name="T51" fmla="*/ 10 h 448"/>
              <a:gd name="T52" fmla="*/ 65 w 903"/>
              <a:gd name="T53" fmla="*/ 66 h 448"/>
              <a:gd name="T54" fmla="*/ 10 w 903"/>
              <a:gd name="T55" fmla="*/ 158 h 448"/>
              <a:gd name="T56" fmla="*/ 0 w 903"/>
              <a:gd name="T57" fmla="*/ 224 h 448"/>
              <a:gd name="T58" fmla="*/ 10 w 903"/>
              <a:gd name="T59" fmla="*/ 291 h 448"/>
              <a:gd name="T60" fmla="*/ 65 w 903"/>
              <a:gd name="T61" fmla="*/ 383 h 448"/>
              <a:gd name="T62" fmla="*/ 157 w 903"/>
              <a:gd name="T63" fmla="*/ 439 h 448"/>
              <a:gd name="T64" fmla="*/ 224 w 903"/>
              <a:gd name="T65" fmla="*/ 448 h 448"/>
              <a:gd name="T66" fmla="*/ 279 w 903"/>
              <a:gd name="T67" fmla="*/ 438 h 448"/>
              <a:gd name="T68" fmla="*/ 358 w 903"/>
              <a:gd name="T69" fmla="*/ 380 h 448"/>
              <a:gd name="T70" fmla="*/ 464 w 903"/>
              <a:gd name="T71" fmla="*/ 232 h 448"/>
              <a:gd name="T72" fmla="*/ 563 w 903"/>
              <a:gd name="T73" fmla="*/ 95 h 448"/>
              <a:gd name="T74" fmla="*/ 647 w 903"/>
              <a:gd name="T75" fmla="*/ 34 h 448"/>
              <a:gd name="T76" fmla="*/ 718 w 903"/>
              <a:gd name="T77" fmla="*/ 34 h 448"/>
              <a:gd name="T78" fmla="*/ 816 w 903"/>
              <a:gd name="T79" fmla="*/ 87 h 448"/>
              <a:gd name="T80" fmla="*/ 870 w 903"/>
              <a:gd name="T81" fmla="*/ 186 h 448"/>
              <a:gd name="T82" fmla="*/ 858 w 903"/>
              <a:gd name="T83" fmla="*/ 299 h 448"/>
              <a:gd name="T84" fmla="*/ 788 w 903"/>
              <a:gd name="T85" fmla="*/ 385 h 448"/>
              <a:gd name="T86" fmla="*/ 680 w 903"/>
              <a:gd name="T87" fmla="*/ 418 h 448"/>
              <a:gd name="T88" fmla="*/ 584 w 903"/>
              <a:gd name="T89" fmla="*/ 392 h 448"/>
              <a:gd name="T90" fmla="*/ 521 w 903"/>
              <a:gd name="T91" fmla="*/ 332 h 448"/>
              <a:gd name="T92" fmla="*/ 506 w 903"/>
              <a:gd name="T93" fmla="*/ 323 h 448"/>
              <a:gd name="T94" fmla="*/ 494 w 903"/>
              <a:gd name="T95" fmla="*/ 335 h 448"/>
              <a:gd name="T96" fmla="*/ 508 w 903"/>
              <a:gd name="T97" fmla="*/ 364 h 448"/>
              <a:gd name="T98" fmla="*/ 568 w 903"/>
              <a:gd name="T99" fmla="*/ 417 h 448"/>
              <a:gd name="T100" fmla="*/ 657 w 903"/>
              <a:gd name="T101" fmla="*/ 447 h 448"/>
              <a:gd name="T102" fmla="*/ 725 w 903"/>
              <a:gd name="T103" fmla="*/ 444 h 448"/>
              <a:gd name="T104" fmla="*/ 804 w 903"/>
              <a:gd name="T105" fmla="*/ 410 h 448"/>
              <a:gd name="T106" fmla="*/ 886 w 903"/>
              <a:gd name="T107" fmla="*/ 311 h 448"/>
              <a:gd name="T108" fmla="*/ 902 w 903"/>
              <a:gd name="T109" fmla="*/ 247 h 448"/>
              <a:gd name="T110" fmla="*/ 898 w 903"/>
              <a:gd name="T111" fmla="*/ 179 h 448"/>
              <a:gd name="T112" fmla="*/ 865 w 903"/>
              <a:gd name="T113" fmla="*/ 99 h 448"/>
              <a:gd name="T114" fmla="*/ 767 w 903"/>
              <a:gd name="T115" fmla="*/ 17 h 448"/>
              <a:gd name="T116" fmla="*/ 702 w 903"/>
              <a:gd name="T117" fmla="*/ 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3" h="448">
                <a:moveTo>
                  <a:pt x="680" y="0"/>
                </a:moveTo>
                <a:lnTo>
                  <a:pt x="670" y="0"/>
                </a:lnTo>
                <a:lnTo>
                  <a:pt x="660" y="1"/>
                </a:lnTo>
                <a:lnTo>
                  <a:pt x="651" y="3"/>
                </a:lnTo>
                <a:lnTo>
                  <a:pt x="642" y="5"/>
                </a:lnTo>
                <a:lnTo>
                  <a:pt x="634" y="8"/>
                </a:lnTo>
                <a:lnTo>
                  <a:pt x="625" y="11"/>
                </a:lnTo>
                <a:lnTo>
                  <a:pt x="616" y="15"/>
                </a:lnTo>
                <a:lnTo>
                  <a:pt x="608" y="18"/>
                </a:lnTo>
                <a:lnTo>
                  <a:pt x="592" y="29"/>
                </a:lnTo>
                <a:lnTo>
                  <a:pt x="576" y="41"/>
                </a:lnTo>
                <a:lnTo>
                  <a:pt x="561" y="54"/>
                </a:lnTo>
                <a:lnTo>
                  <a:pt x="546" y="69"/>
                </a:lnTo>
                <a:lnTo>
                  <a:pt x="532" y="84"/>
                </a:lnTo>
                <a:lnTo>
                  <a:pt x="518" y="101"/>
                </a:lnTo>
                <a:lnTo>
                  <a:pt x="504" y="119"/>
                </a:lnTo>
                <a:lnTo>
                  <a:pt x="491" y="137"/>
                </a:lnTo>
                <a:lnTo>
                  <a:pt x="464" y="177"/>
                </a:lnTo>
                <a:lnTo>
                  <a:pt x="438" y="217"/>
                </a:lnTo>
                <a:lnTo>
                  <a:pt x="415" y="254"/>
                </a:lnTo>
                <a:lnTo>
                  <a:pt x="391" y="290"/>
                </a:lnTo>
                <a:lnTo>
                  <a:pt x="378" y="308"/>
                </a:lnTo>
                <a:lnTo>
                  <a:pt x="365" y="324"/>
                </a:lnTo>
                <a:lnTo>
                  <a:pt x="354" y="340"/>
                </a:lnTo>
                <a:lnTo>
                  <a:pt x="340" y="355"/>
                </a:lnTo>
                <a:lnTo>
                  <a:pt x="327" y="369"/>
                </a:lnTo>
                <a:lnTo>
                  <a:pt x="313" y="381"/>
                </a:lnTo>
                <a:lnTo>
                  <a:pt x="299" y="392"/>
                </a:lnTo>
                <a:lnTo>
                  <a:pt x="285" y="401"/>
                </a:lnTo>
                <a:lnTo>
                  <a:pt x="270" y="409"/>
                </a:lnTo>
                <a:lnTo>
                  <a:pt x="255" y="414"/>
                </a:lnTo>
                <a:lnTo>
                  <a:pt x="247" y="416"/>
                </a:lnTo>
                <a:lnTo>
                  <a:pt x="240" y="417"/>
                </a:lnTo>
                <a:lnTo>
                  <a:pt x="231" y="418"/>
                </a:lnTo>
                <a:lnTo>
                  <a:pt x="224" y="418"/>
                </a:lnTo>
                <a:lnTo>
                  <a:pt x="205" y="417"/>
                </a:lnTo>
                <a:lnTo>
                  <a:pt x="185" y="414"/>
                </a:lnTo>
                <a:lnTo>
                  <a:pt x="166" y="410"/>
                </a:lnTo>
                <a:lnTo>
                  <a:pt x="149" y="403"/>
                </a:lnTo>
                <a:lnTo>
                  <a:pt x="132" y="395"/>
                </a:lnTo>
                <a:lnTo>
                  <a:pt x="116" y="385"/>
                </a:lnTo>
                <a:lnTo>
                  <a:pt x="101" y="374"/>
                </a:lnTo>
                <a:lnTo>
                  <a:pt x="87" y="362"/>
                </a:lnTo>
                <a:lnTo>
                  <a:pt x="75" y="348"/>
                </a:lnTo>
                <a:lnTo>
                  <a:pt x="63" y="333"/>
                </a:lnTo>
                <a:lnTo>
                  <a:pt x="53" y="317"/>
                </a:lnTo>
                <a:lnTo>
                  <a:pt x="46" y="299"/>
                </a:lnTo>
                <a:lnTo>
                  <a:pt x="38" y="282"/>
                </a:lnTo>
                <a:lnTo>
                  <a:pt x="34" y="263"/>
                </a:lnTo>
                <a:lnTo>
                  <a:pt x="31" y="244"/>
                </a:lnTo>
                <a:lnTo>
                  <a:pt x="30" y="224"/>
                </a:lnTo>
                <a:lnTo>
                  <a:pt x="31" y="205"/>
                </a:lnTo>
                <a:lnTo>
                  <a:pt x="34" y="186"/>
                </a:lnTo>
                <a:lnTo>
                  <a:pt x="38" y="166"/>
                </a:lnTo>
                <a:lnTo>
                  <a:pt x="46" y="149"/>
                </a:lnTo>
                <a:lnTo>
                  <a:pt x="53" y="132"/>
                </a:lnTo>
                <a:lnTo>
                  <a:pt x="63" y="116"/>
                </a:lnTo>
                <a:lnTo>
                  <a:pt x="75" y="101"/>
                </a:lnTo>
                <a:lnTo>
                  <a:pt x="87" y="87"/>
                </a:lnTo>
                <a:lnTo>
                  <a:pt x="101" y="74"/>
                </a:lnTo>
                <a:lnTo>
                  <a:pt x="116" y="63"/>
                </a:lnTo>
                <a:lnTo>
                  <a:pt x="132" y="54"/>
                </a:lnTo>
                <a:lnTo>
                  <a:pt x="149" y="45"/>
                </a:lnTo>
                <a:lnTo>
                  <a:pt x="166" y="39"/>
                </a:lnTo>
                <a:lnTo>
                  <a:pt x="185" y="34"/>
                </a:lnTo>
                <a:lnTo>
                  <a:pt x="205" y="31"/>
                </a:lnTo>
                <a:lnTo>
                  <a:pt x="224" y="30"/>
                </a:lnTo>
                <a:lnTo>
                  <a:pt x="237" y="31"/>
                </a:lnTo>
                <a:lnTo>
                  <a:pt x="250" y="33"/>
                </a:lnTo>
                <a:lnTo>
                  <a:pt x="261" y="37"/>
                </a:lnTo>
                <a:lnTo>
                  <a:pt x="273" y="41"/>
                </a:lnTo>
                <a:lnTo>
                  <a:pt x="284" y="45"/>
                </a:lnTo>
                <a:lnTo>
                  <a:pt x="295" y="52"/>
                </a:lnTo>
                <a:lnTo>
                  <a:pt x="304" y="58"/>
                </a:lnTo>
                <a:lnTo>
                  <a:pt x="314" y="66"/>
                </a:lnTo>
                <a:lnTo>
                  <a:pt x="323" y="73"/>
                </a:lnTo>
                <a:lnTo>
                  <a:pt x="330" y="82"/>
                </a:lnTo>
                <a:lnTo>
                  <a:pt x="338" y="89"/>
                </a:lnTo>
                <a:lnTo>
                  <a:pt x="345" y="98"/>
                </a:lnTo>
                <a:lnTo>
                  <a:pt x="357" y="114"/>
                </a:lnTo>
                <a:lnTo>
                  <a:pt x="366" y="128"/>
                </a:lnTo>
                <a:lnTo>
                  <a:pt x="266" y="108"/>
                </a:lnTo>
                <a:lnTo>
                  <a:pt x="262" y="108"/>
                </a:lnTo>
                <a:lnTo>
                  <a:pt x="259" y="108"/>
                </a:lnTo>
                <a:lnTo>
                  <a:pt x="257" y="110"/>
                </a:lnTo>
                <a:lnTo>
                  <a:pt x="254" y="111"/>
                </a:lnTo>
                <a:lnTo>
                  <a:pt x="251" y="115"/>
                </a:lnTo>
                <a:lnTo>
                  <a:pt x="247" y="120"/>
                </a:lnTo>
                <a:lnTo>
                  <a:pt x="247" y="123"/>
                </a:lnTo>
                <a:lnTo>
                  <a:pt x="249" y="127"/>
                </a:lnTo>
                <a:lnTo>
                  <a:pt x="249" y="130"/>
                </a:lnTo>
                <a:lnTo>
                  <a:pt x="251" y="132"/>
                </a:lnTo>
                <a:lnTo>
                  <a:pt x="252" y="134"/>
                </a:lnTo>
                <a:lnTo>
                  <a:pt x="254" y="136"/>
                </a:lnTo>
                <a:lnTo>
                  <a:pt x="257" y="137"/>
                </a:lnTo>
                <a:lnTo>
                  <a:pt x="260" y="138"/>
                </a:lnTo>
                <a:lnTo>
                  <a:pt x="392" y="162"/>
                </a:lnTo>
                <a:lnTo>
                  <a:pt x="393" y="164"/>
                </a:lnTo>
                <a:lnTo>
                  <a:pt x="394" y="164"/>
                </a:lnTo>
                <a:lnTo>
                  <a:pt x="394" y="164"/>
                </a:lnTo>
                <a:lnTo>
                  <a:pt x="394" y="164"/>
                </a:lnTo>
                <a:lnTo>
                  <a:pt x="394" y="164"/>
                </a:lnTo>
                <a:lnTo>
                  <a:pt x="398" y="163"/>
                </a:lnTo>
                <a:lnTo>
                  <a:pt x="400" y="162"/>
                </a:lnTo>
                <a:lnTo>
                  <a:pt x="400" y="162"/>
                </a:lnTo>
                <a:lnTo>
                  <a:pt x="401" y="162"/>
                </a:lnTo>
                <a:lnTo>
                  <a:pt x="401" y="162"/>
                </a:lnTo>
                <a:lnTo>
                  <a:pt x="401" y="161"/>
                </a:lnTo>
                <a:lnTo>
                  <a:pt x="402" y="161"/>
                </a:lnTo>
                <a:lnTo>
                  <a:pt x="403" y="161"/>
                </a:lnTo>
                <a:lnTo>
                  <a:pt x="404" y="160"/>
                </a:lnTo>
                <a:lnTo>
                  <a:pt x="404" y="160"/>
                </a:lnTo>
                <a:lnTo>
                  <a:pt x="405" y="159"/>
                </a:lnTo>
                <a:lnTo>
                  <a:pt x="406" y="158"/>
                </a:lnTo>
                <a:lnTo>
                  <a:pt x="407" y="157"/>
                </a:lnTo>
                <a:lnTo>
                  <a:pt x="407" y="155"/>
                </a:lnTo>
                <a:lnTo>
                  <a:pt x="408" y="155"/>
                </a:lnTo>
                <a:lnTo>
                  <a:pt x="408" y="152"/>
                </a:lnTo>
                <a:lnTo>
                  <a:pt x="409" y="151"/>
                </a:lnTo>
                <a:lnTo>
                  <a:pt x="409" y="150"/>
                </a:lnTo>
                <a:lnTo>
                  <a:pt x="434" y="19"/>
                </a:lnTo>
                <a:lnTo>
                  <a:pt x="434" y="16"/>
                </a:lnTo>
                <a:lnTo>
                  <a:pt x="434" y="13"/>
                </a:lnTo>
                <a:lnTo>
                  <a:pt x="433" y="10"/>
                </a:lnTo>
                <a:lnTo>
                  <a:pt x="432" y="8"/>
                </a:lnTo>
                <a:lnTo>
                  <a:pt x="430" y="5"/>
                </a:lnTo>
                <a:lnTo>
                  <a:pt x="428" y="3"/>
                </a:lnTo>
                <a:lnTo>
                  <a:pt x="425" y="2"/>
                </a:lnTo>
                <a:lnTo>
                  <a:pt x="422" y="1"/>
                </a:lnTo>
                <a:lnTo>
                  <a:pt x="419" y="1"/>
                </a:lnTo>
                <a:lnTo>
                  <a:pt x="416" y="1"/>
                </a:lnTo>
                <a:lnTo>
                  <a:pt x="414" y="2"/>
                </a:lnTo>
                <a:lnTo>
                  <a:pt x="410" y="4"/>
                </a:lnTo>
                <a:lnTo>
                  <a:pt x="407" y="9"/>
                </a:lnTo>
                <a:lnTo>
                  <a:pt x="405" y="14"/>
                </a:lnTo>
                <a:lnTo>
                  <a:pt x="388" y="105"/>
                </a:lnTo>
                <a:lnTo>
                  <a:pt x="376" y="89"/>
                </a:lnTo>
                <a:lnTo>
                  <a:pt x="362" y="71"/>
                </a:lnTo>
                <a:lnTo>
                  <a:pt x="355" y="62"/>
                </a:lnTo>
                <a:lnTo>
                  <a:pt x="345" y="54"/>
                </a:lnTo>
                <a:lnTo>
                  <a:pt x="336" y="45"/>
                </a:lnTo>
                <a:lnTo>
                  <a:pt x="327" y="37"/>
                </a:lnTo>
                <a:lnTo>
                  <a:pt x="316" y="29"/>
                </a:lnTo>
                <a:lnTo>
                  <a:pt x="304" y="23"/>
                </a:lnTo>
                <a:lnTo>
                  <a:pt x="292" y="16"/>
                </a:lnTo>
                <a:lnTo>
                  <a:pt x="281" y="11"/>
                </a:lnTo>
                <a:lnTo>
                  <a:pt x="267" y="7"/>
                </a:lnTo>
                <a:lnTo>
                  <a:pt x="254" y="3"/>
                </a:lnTo>
                <a:lnTo>
                  <a:pt x="239" y="1"/>
                </a:lnTo>
                <a:lnTo>
                  <a:pt x="224" y="0"/>
                </a:lnTo>
                <a:lnTo>
                  <a:pt x="212" y="0"/>
                </a:lnTo>
                <a:lnTo>
                  <a:pt x="201" y="1"/>
                </a:lnTo>
                <a:lnTo>
                  <a:pt x="190" y="2"/>
                </a:lnTo>
                <a:lnTo>
                  <a:pt x="179" y="4"/>
                </a:lnTo>
                <a:lnTo>
                  <a:pt x="168" y="8"/>
                </a:lnTo>
                <a:lnTo>
                  <a:pt x="157" y="10"/>
                </a:lnTo>
                <a:lnTo>
                  <a:pt x="147" y="14"/>
                </a:lnTo>
                <a:lnTo>
                  <a:pt x="137" y="17"/>
                </a:lnTo>
                <a:lnTo>
                  <a:pt x="118" y="27"/>
                </a:lnTo>
                <a:lnTo>
                  <a:pt x="98" y="39"/>
                </a:lnTo>
                <a:lnTo>
                  <a:pt x="81" y="52"/>
                </a:lnTo>
                <a:lnTo>
                  <a:pt x="65" y="66"/>
                </a:lnTo>
                <a:lnTo>
                  <a:pt x="51" y="82"/>
                </a:lnTo>
                <a:lnTo>
                  <a:pt x="38" y="99"/>
                </a:lnTo>
                <a:lnTo>
                  <a:pt x="27" y="118"/>
                </a:lnTo>
                <a:lnTo>
                  <a:pt x="18" y="137"/>
                </a:lnTo>
                <a:lnTo>
                  <a:pt x="14" y="147"/>
                </a:lnTo>
                <a:lnTo>
                  <a:pt x="10" y="158"/>
                </a:lnTo>
                <a:lnTo>
                  <a:pt x="7" y="169"/>
                </a:lnTo>
                <a:lnTo>
                  <a:pt x="5" y="179"/>
                </a:lnTo>
                <a:lnTo>
                  <a:pt x="3" y="190"/>
                </a:lnTo>
                <a:lnTo>
                  <a:pt x="1" y="202"/>
                </a:lnTo>
                <a:lnTo>
                  <a:pt x="1" y="212"/>
                </a:lnTo>
                <a:lnTo>
                  <a:pt x="0" y="224"/>
                </a:lnTo>
                <a:lnTo>
                  <a:pt x="1" y="236"/>
                </a:lnTo>
                <a:lnTo>
                  <a:pt x="1" y="247"/>
                </a:lnTo>
                <a:lnTo>
                  <a:pt x="3" y="259"/>
                </a:lnTo>
                <a:lnTo>
                  <a:pt x="5" y="269"/>
                </a:lnTo>
                <a:lnTo>
                  <a:pt x="7" y="280"/>
                </a:lnTo>
                <a:lnTo>
                  <a:pt x="10" y="291"/>
                </a:lnTo>
                <a:lnTo>
                  <a:pt x="14" y="302"/>
                </a:lnTo>
                <a:lnTo>
                  <a:pt x="18" y="311"/>
                </a:lnTo>
                <a:lnTo>
                  <a:pt x="27" y="332"/>
                </a:lnTo>
                <a:lnTo>
                  <a:pt x="38" y="350"/>
                </a:lnTo>
                <a:lnTo>
                  <a:pt x="51" y="367"/>
                </a:lnTo>
                <a:lnTo>
                  <a:pt x="65" y="383"/>
                </a:lnTo>
                <a:lnTo>
                  <a:pt x="81" y="397"/>
                </a:lnTo>
                <a:lnTo>
                  <a:pt x="98" y="410"/>
                </a:lnTo>
                <a:lnTo>
                  <a:pt x="118" y="422"/>
                </a:lnTo>
                <a:lnTo>
                  <a:pt x="137" y="431"/>
                </a:lnTo>
                <a:lnTo>
                  <a:pt x="147" y="435"/>
                </a:lnTo>
                <a:lnTo>
                  <a:pt x="157" y="439"/>
                </a:lnTo>
                <a:lnTo>
                  <a:pt x="168" y="442"/>
                </a:lnTo>
                <a:lnTo>
                  <a:pt x="179" y="444"/>
                </a:lnTo>
                <a:lnTo>
                  <a:pt x="190" y="446"/>
                </a:lnTo>
                <a:lnTo>
                  <a:pt x="201" y="447"/>
                </a:lnTo>
                <a:lnTo>
                  <a:pt x="212" y="448"/>
                </a:lnTo>
                <a:lnTo>
                  <a:pt x="224" y="448"/>
                </a:lnTo>
                <a:lnTo>
                  <a:pt x="234" y="448"/>
                </a:lnTo>
                <a:lnTo>
                  <a:pt x="243" y="447"/>
                </a:lnTo>
                <a:lnTo>
                  <a:pt x="252" y="446"/>
                </a:lnTo>
                <a:lnTo>
                  <a:pt x="261" y="444"/>
                </a:lnTo>
                <a:lnTo>
                  <a:pt x="270" y="441"/>
                </a:lnTo>
                <a:lnTo>
                  <a:pt x="279" y="438"/>
                </a:lnTo>
                <a:lnTo>
                  <a:pt x="287" y="435"/>
                </a:lnTo>
                <a:lnTo>
                  <a:pt x="296" y="430"/>
                </a:lnTo>
                <a:lnTo>
                  <a:pt x="312" y="419"/>
                </a:lnTo>
                <a:lnTo>
                  <a:pt x="328" y="408"/>
                </a:lnTo>
                <a:lnTo>
                  <a:pt x="343" y="395"/>
                </a:lnTo>
                <a:lnTo>
                  <a:pt x="358" y="380"/>
                </a:lnTo>
                <a:lnTo>
                  <a:pt x="372" y="365"/>
                </a:lnTo>
                <a:lnTo>
                  <a:pt x="386" y="348"/>
                </a:lnTo>
                <a:lnTo>
                  <a:pt x="400" y="329"/>
                </a:lnTo>
                <a:lnTo>
                  <a:pt x="413" y="311"/>
                </a:lnTo>
                <a:lnTo>
                  <a:pt x="438" y="271"/>
                </a:lnTo>
                <a:lnTo>
                  <a:pt x="464" y="232"/>
                </a:lnTo>
                <a:lnTo>
                  <a:pt x="488" y="195"/>
                </a:lnTo>
                <a:lnTo>
                  <a:pt x="512" y="159"/>
                </a:lnTo>
                <a:lnTo>
                  <a:pt x="524" y="142"/>
                </a:lnTo>
                <a:lnTo>
                  <a:pt x="537" y="125"/>
                </a:lnTo>
                <a:lnTo>
                  <a:pt x="550" y="110"/>
                </a:lnTo>
                <a:lnTo>
                  <a:pt x="563" y="95"/>
                </a:lnTo>
                <a:lnTo>
                  <a:pt x="577" y="81"/>
                </a:lnTo>
                <a:lnTo>
                  <a:pt x="590" y="68"/>
                </a:lnTo>
                <a:lnTo>
                  <a:pt x="604" y="57"/>
                </a:lnTo>
                <a:lnTo>
                  <a:pt x="619" y="48"/>
                </a:lnTo>
                <a:lnTo>
                  <a:pt x="632" y="41"/>
                </a:lnTo>
                <a:lnTo>
                  <a:pt x="647" y="34"/>
                </a:lnTo>
                <a:lnTo>
                  <a:pt x="655" y="32"/>
                </a:lnTo>
                <a:lnTo>
                  <a:pt x="664" y="31"/>
                </a:lnTo>
                <a:lnTo>
                  <a:pt x="671" y="30"/>
                </a:lnTo>
                <a:lnTo>
                  <a:pt x="680" y="30"/>
                </a:lnTo>
                <a:lnTo>
                  <a:pt x="699" y="31"/>
                </a:lnTo>
                <a:lnTo>
                  <a:pt x="718" y="34"/>
                </a:lnTo>
                <a:lnTo>
                  <a:pt x="737" y="39"/>
                </a:lnTo>
                <a:lnTo>
                  <a:pt x="755" y="45"/>
                </a:lnTo>
                <a:lnTo>
                  <a:pt x="772" y="54"/>
                </a:lnTo>
                <a:lnTo>
                  <a:pt x="788" y="63"/>
                </a:lnTo>
                <a:lnTo>
                  <a:pt x="802" y="74"/>
                </a:lnTo>
                <a:lnTo>
                  <a:pt x="816" y="87"/>
                </a:lnTo>
                <a:lnTo>
                  <a:pt x="829" y="101"/>
                </a:lnTo>
                <a:lnTo>
                  <a:pt x="839" y="116"/>
                </a:lnTo>
                <a:lnTo>
                  <a:pt x="849" y="132"/>
                </a:lnTo>
                <a:lnTo>
                  <a:pt x="858" y="149"/>
                </a:lnTo>
                <a:lnTo>
                  <a:pt x="864" y="166"/>
                </a:lnTo>
                <a:lnTo>
                  <a:pt x="870" y="186"/>
                </a:lnTo>
                <a:lnTo>
                  <a:pt x="872" y="205"/>
                </a:lnTo>
                <a:lnTo>
                  <a:pt x="873" y="224"/>
                </a:lnTo>
                <a:lnTo>
                  <a:pt x="872" y="244"/>
                </a:lnTo>
                <a:lnTo>
                  <a:pt x="870" y="263"/>
                </a:lnTo>
                <a:lnTo>
                  <a:pt x="864" y="282"/>
                </a:lnTo>
                <a:lnTo>
                  <a:pt x="858" y="299"/>
                </a:lnTo>
                <a:lnTo>
                  <a:pt x="849" y="317"/>
                </a:lnTo>
                <a:lnTo>
                  <a:pt x="839" y="333"/>
                </a:lnTo>
                <a:lnTo>
                  <a:pt x="829" y="348"/>
                </a:lnTo>
                <a:lnTo>
                  <a:pt x="816" y="362"/>
                </a:lnTo>
                <a:lnTo>
                  <a:pt x="802" y="374"/>
                </a:lnTo>
                <a:lnTo>
                  <a:pt x="788" y="385"/>
                </a:lnTo>
                <a:lnTo>
                  <a:pt x="772" y="395"/>
                </a:lnTo>
                <a:lnTo>
                  <a:pt x="755" y="403"/>
                </a:lnTo>
                <a:lnTo>
                  <a:pt x="737" y="410"/>
                </a:lnTo>
                <a:lnTo>
                  <a:pt x="718" y="414"/>
                </a:lnTo>
                <a:lnTo>
                  <a:pt x="699" y="417"/>
                </a:lnTo>
                <a:lnTo>
                  <a:pt x="680" y="418"/>
                </a:lnTo>
                <a:lnTo>
                  <a:pt x="660" y="417"/>
                </a:lnTo>
                <a:lnTo>
                  <a:pt x="643" y="415"/>
                </a:lnTo>
                <a:lnTo>
                  <a:pt x="626" y="411"/>
                </a:lnTo>
                <a:lnTo>
                  <a:pt x="611" y="406"/>
                </a:lnTo>
                <a:lnTo>
                  <a:pt x="597" y="399"/>
                </a:lnTo>
                <a:lnTo>
                  <a:pt x="584" y="392"/>
                </a:lnTo>
                <a:lnTo>
                  <a:pt x="572" y="384"/>
                </a:lnTo>
                <a:lnTo>
                  <a:pt x="563" y="376"/>
                </a:lnTo>
                <a:lnTo>
                  <a:pt x="545" y="361"/>
                </a:lnTo>
                <a:lnTo>
                  <a:pt x="533" y="347"/>
                </a:lnTo>
                <a:lnTo>
                  <a:pt x="524" y="336"/>
                </a:lnTo>
                <a:lnTo>
                  <a:pt x="521" y="332"/>
                </a:lnTo>
                <a:lnTo>
                  <a:pt x="520" y="328"/>
                </a:lnTo>
                <a:lnTo>
                  <a:pt x="518" y="326"/>
                </a:lnTo>
                <a:lnTo>
                  <a:pt x="515" y="325"/>
                </a:lnTo>
                <a:lnTo>
                  <a:pt x="512" y="324"/>
                </a:lnTo>
                <a:lnTo>
                  <a:pt x="509" y="323"/>
                </a:lnTo>
                <a:lnTo>
                  <a:pt x="506" y="323"/>
                </a:lnTo>
                <a:lnTo>
                  <a:pt x="504" y="324"/>
                </a:lnTo>
                <a:lnTo>
                  <a:pt x="501" y="325"/>
                </a:lnTo>
                <a:lnTo>
                  <a:pt x="498" y="327"/>
                </a:lnTo>
                <a:lnTo>
                  <a:pt x="496" y="329"/>
                </a:lnTo>
                <a:lnTo>
                  <a:pt x="495" y="332"/>
                </a:lnTo>
                <a:lnTo>
                  <a:pt x="494" y="335"/>
                </a:lnTo>
                <a:lnTo>
                  <a:pt x="493" y="338"/>
                </a:lnTo>
                <a:lnTo>
                  <a:pt x="493" y="340"/>
                </a:lnTo>
                <a:lnTo>
                  <a:pt x="494" y="343"/>
                </a:lnTo>
                <a:lnTo>
                  <a:pt x="495" y="347"/>
                </a:lnTo>
                <a:lnTo>
                  <a:pt x="499" y="352"/>
                </a:lnTo>
                <a:lnTo>
                  <a:pt x="508" y="364"/>
                </a:lnTo>
                <a:lnTo>
                  <a:pt x="515" y="372"/>
                </a:lnTo>
                <a:lnTo>
                  <a:pt x="523" y="381"/>
                </a:lnTo>
                <a:lnTo>
                  <a:pt x="533" y="389"/>
                </a:lnTo>
                <a:lnTo>
                  <a:pt x="543" y="399"/>
                </a:lnTo>
                <a:lnTo>
                  <a:pt x="555" y="409"/>
                </a:lnTo>
                <a:lnTo>
                  <a:pt x="568" y="417"/>
                </a:lnTo>
                <a:lnTo>
                  <a:pt x="583" y="426"/>
                </a:lnTo>
                <a:lnTo>
                  <a:pt x="600" y="433"/>
                </a:lnTo>
                <a:lnTo>
                  <a:pt x="617" y="440"/>
                </a:lnTo>
                <a:lnTo>
                  <a:pt x="637" y="444"/>
                </a:lnTo>
                <a:lnTo>
                  <a:pt x="646" y="446"/>
                </a:lnTo>
                <a:lnTo>
                  <a:pt x="657" y="447"/>
                </a:lnTo>
                <a:lnTo>
                  <a:pt x="668" y="448"/>
                </a:lnTo>
                <a:lnTo>
                  <a:pt x="680" y="448"/>
                </a:lnTo>
                <a:lnTo>
                  <a:pt x="690" y="448"/>
                </a:lnTo>
                <a:lnTo>
                  <a:pt x="702" y="447"/>
                </a:lnTo>
                <a:lnTo>
                  <a:pt x="713" y="446"/>
                </a:lnTo>
                <a:lnTo>
                  <a:pt x="725" y="444"/>
                </a:lnTo>
                <a:lnTo>
                  <a:pt x="735" y="442"/>
                </a:lnTo>
                <a:lnTo>
                  <a:pt x="746" y="439"/>
                </a:lnTo>
                <a:lnTo>
                  <a:pt x="756" y="435"/>
                </a:lnTo>
                <a:lnTo>
                  <a:pt x="767" y="431"/>
                </a:lnTo>
                <a:lnTo>
                  <a:pt x="786" y="422"/>
                </a:lnTo>
                <a:lnTo>
                  <a:pt x="804" y="410"/>
                </a:lnTo>
                <a:lnTo>
                  <a:pt x="821" y="397"/>
                </a:lnTo>
                <a:lnTo>
                  <a:pt x="837" y="383"/>
                </a:lnTo>
                <a:lnTo>
                  <a:pt x="852" y="367"/>
                </a:lnTo>
                <a:lnTo>
                  <a:pt x="865" y="350"/>
                </a:lnTo>
                <a:lnTo>
                  <a:pt x="876" y="332"/>
                </a:lnTo>
                <a:lnTo>
                  <a:pt x="886" y="311"/>
                </a:lnTo>
                <a:lnTo>
                  <a:pt x="890" y="302"/>
                </a:lnTo>
                <a:lnTo>
                  <a:pt x="893" y="291"/>
                </a:lnTo>
                <a:lnTo>
                  <a:pt x="896" y="280"/>
                </a:lnTo>
                <a:lnTo>
                  <a:pt x="898" y="269"/>
                </a:lnTo>
                <a:lnTo>
                  <a:pt x="901" y="259"/>
                </a:lnTo>
                <a:lnTo>
                  <a:pt x="902" y="247"/>
                </a:lnTo>
                <a:lnTo>
                  <a:pt x="903" y="236"/>
                </a:lnTo>
                <a:lnTo>
                  <a:pt x="903" y="224"/>
                </a:lnTo>
                <a:lnTo>
                  <a:pt x="903" y="212"/>
                </a:lnTo>
                <a:lnTo>
                  <a:pt x="902" y="202"/>
                </a:lnTo>
                <a:lnTo>
                  <a:pt x="901" y="190"/>
                </a:lnTo>
                <a:lnTo>
                  <a:pt x="898" y="179"/>
                </a:lnTo>
                <a:lnTo>
                  <a:pt x="896" y="169"/>
                </a:lnTo>
                <a:lnTo>
                  <a:pt x="893" y="158"/>
                </a:lnTo>
                <a:lnTo>
                  <a:pt x="890" y="147"/>
                </a:lnTo>
                <a:lnTo>
                  <a:pt x="886" y="137"/>
                </a:lnTo>
                <a:lnTo>
                  <a:pt x="876" y="118"/>
                </a:lnTo>
                <a:lnTo>
                  <a:pt x="865" y="99"/>
                </a:lnTo>
                <a:lnTo>
                  <a:pt x="852" y="82"/>
                </a:lnTo>
                <a:lnTo>
                  <a:pt x="837" y="66"/>
                </a:lnTo>
                <a:lnTo>
                  <a:pt x="821" y="52"/>
                </a:lnTo>
                <a:lnTo>
                  <a:pt x="804" y="39"/>
                </a:lnTo>
                <a:lnTo>
                  <a:pt x="786" y="27"/>
                </a:lnTo>
                <a:lnTo>
                  <a:pt x="767" y="17"/>
                </a:lnTo>
                <a:lnTo>
                  <a:pt x="756" y="14"/>
                </a:lnTo>
                <a:lnTo>
                  <a:pt x="746" y="10"/>
                </a:lnTo>
                <a:lnTo>
                  <a:pt x="735" y="8"/>
                </a:lnTo>
                <a:lnTo>
                  <a:pt x="725" y="4"/>
                </a:lnTo>
                <a:lnTo>
                  <a:pt x="713" y="2"/>
                </a:lnTo>
                <a:lnTo>
                  <a:pt x="702" y="1"/>
                </a:lnTo>
                <a:lnTo>
                  <a:pt x="690" y="0"/>
                </a:lnTo>
                <a:lnTo>
                  <a:pt x="680"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296" name="Group 50">
            <a:extLst>
              <a:ext uri="{FF2B5EF4-FFF2-40B4-BE49-F238E27FC236}">
                <a16:creationId xmlns:a16="http://schemas.microsoft.com/office/drawing/2014/main" id="{421FB49D-EF77-46AF-A2D2-DC5FCCC4E8EF}"/>
              </a:ext>
            </a:extLst>
          </p:cNvPr>
          <p:cNvGrpSpPr>
            <a:grpSpLocks noChangeAspect="1"/>
          </p:cNvGrpSpPr>
          <p:nvPr/>
        </p:nvGrpSpPr>
        <p:grpSpPr>
          <a:xfrm>
            <a:off x="614637" y="4940545"/>
            <a:ext cx="398924" cy="185136"/>
            <a:chOff x="1452563" y="838200"/>
            <a:chExt cx="287338" cy="133350"/>
          </a:xfrm>
          <a:solidFill>
            <a:schemeClr val="bg1"/>
          </a:solidFill>
          <a:effectLst/>
        </p:grpSpPr>
        <p:sp>
          <p:nvSpPr>
            <p:cNvPr id="297" name="Freeform 25">
              <a:extLst>
                <a:ext uri="{FF2B5EF4-FFF2-40B4-BE49-F238E27FC236}">
                  <a16:creationId xmlns:a16="http://schemas.microsoft.com/office/drawing/2014/main" id="{EE0A2B2C-C8E0-4443-9BDA-FFE7CD1DFBF3}"/>
                </a:ext>
              </a:extLst>
            </p:cNvPr>
            <p:cNvSpPr>
              <a:spLocks noEditPoints="1"/>
            </p:cNvSpPr>
            <p:nvPr/>
          </p:nvSpPr>
          <p:spPr bwMode="auto">
            <a:xfrm>
              <a:off x="1512888" y="838200"/>
              <a:ext cx="227013" cy="133350"/>
            </a:xfrm>
            <a:custGeom>
              <a:avLst/>
              <a:gdLst>
                <a:gd name="T0" fmla="*/ 575 w 715"/>
                <a:gd name="T1" fmla="*/ 343 h 421"/>
                <a:gd name="T2" fmla="*/ 564 w 715"/>
                <a:gd name="T3" fmla="*/ 363 h 421"/>
                <a:gd name="T4" fmla="*/ 548 w 715"/>
                <a:gd name="T5" fmla="*/ 378 h 421"/>
                <a:gd name="T6" fmla="*/ 529 w 715"/>
                <a:gd name="T7" fmla="*/ 387 h 421"/>
                <a:gd name="T8" fmla="*/ 509 w 715"/>
                <a:gd name="T9" fmla="*/ 391 h 421"/>
                <a:gd name="T10" fmla="*/ 48 w 715"/>
                <a:gd name="T11" fmla="*/ 390 h 421"/>
                <a:gd name="T12" fmla="*/ 38 w 715"/>
                <a:gd name="T13" fmla="*/ 387 h 421"/>
                <a:gd name="T14" fmla="*/ 31 w 715"/>
                <a:gd name="T15" fmla="*/ 378 h 421"/>
                <a:gd name="T16" fmla="*/ 31 w 715"/>
                <a:gd name="T17" fmla="*/ 364 h 421"/>
                <a:gd name="T18" fmla="*/ 139 w 715"/>
                <a:gd name="T19" fmla="*/ 89 h 421"/>
                <a:gd name="T20" fmla="*/ 151 w 715"/>
                <a:gd name="T21" fmla="*/ 66 h 421"/>
                <a:gd name="T22" fmla="*/ 164 w 715"/>
                <a:gd name="T23" fmla="*/ 46 h 421"/>
                <a:gd name="T24" fmla="*/ 181 w 715"/>
                <a:gd name="T25" fmla="*/ 34 h 421"/>
                <a:gd name="T26" fmla="*/ 192 w 715"/>
                <a:gd name="T27" fmla="*/ 31 h 421"/>
                <a:gd name="T28" fmla="*/ 203 w 715"/>
                <a:gd name="T29" fmla="*/ 30 h 421"/>
                <a:gd name="T30" fmla="*/ 664 w 715"/>
                <a:gd name="T31" fmla="*/ 31 h 421"/>
                <a:gd name="T32" fmla="*/ 677 w 715"/>
                <a:gd name="T33" fmla="*/ 37 h 421"/>
                <a:gd name="T34" fmla="*/ 683 w 715"/>
                <a:gd name="T35" fmla="*/ 44 h 421"/>
                <a:gd name="T36" fmla="*/ 685 w 715"/>
                <a:gd name="T37" fmla="*/ 53 h 421"/>
                <a:gd name="T38" fmla="*/ 684 w 715"/>
                <a:gd name="T39" fmla="*/ 68 h 421"/>
                <a:gd name="T40" fmla="*/ 706 w 715"/>
                <a:gd name="T41" fmla="*/ 24 h 421"/>
                <a:gd name="T42" fmla="*/ 699 w 715"/>
                <a:gd name="T43" fmla="*/ 15 h 421"/>
                <a:gd name="T44" fmla="*/ 688 w 715"/>
                <a:gd name="T45" fmla="*/ 8 h 421"/>
                <a:gd name="T46" fmla="*/ 673 w 715"/>
                <a:gd name="T47" fmla="*/ 2 h 421"/>
                <a:gd name="T48" fmla="*/ 654 w 715"/>
                <a:gd name="T49" fmla="*/ 0 h 421"/>
                <a:gd name="T50" fmla="*/ 192 w 715"/>
                <a:gd name="T51" fmla="*/ 1 h 421"/>
                <a:gd name="T52" fmla="*/ 173 w 715"/>
                <a:gd name="T53" fmla="*/ 5 h 421"/>
                <a:gd name="T54" fmla="*/ 158 w 715"/>
                <a:gd name="T55" fmla="*/ 13 h 421"/>
                <a:gd name="T56" fmla="*/ 144 w 715"/>
                <a:gd name="T57" fmla="*/ 25 h 421"/>
                <a:gd name="T58" fmla="*/ 129 w 715"/>
                <a:gd name="T59" fmla="*/ 43 h 421"/>
                <a:gd name="T60" fmla="*/ 116 w 715"/>
                <a:gd name="T61" fmla="*/ 68 h 421"/>
                <a:gd name="T62" fmla="*/ 5 w 715"/>
                <a:gd name="T63" fmla="*/ 343 h 421"/>
                <a:gd name="T64" fmla="*/ 1 w 715"/>
                <a:gd name="T65" fmla="*/ 359 h 421"/>
                <a:gd name="T66" fmla="*/ 0 w 715"/>
                <a:gd name="T67" fmla="*/ 373 h 421"/>
                <a:gd name="T68" fmla="*/ 3 w 715"/>
                <a:gd name="T69" fmla="*/ 387 h 421"/>
                <a:gd name="T70" fmla="*/ 9 w 715"/>
                <a:gd name="T71" fmla="*/ 400 h 421"/>
                <a:gd name="T72" fmla="*/ 17 w 715"/>
                <a:gd name="T73" fmla="*/ 409 h 421"/>
                <a:gd name="T74" fmla="*/ 28 w 715"/>
                <a:gd name="T75" fmla="*/ 416 h 421"/>
                <a:gd name="T76" fmla="*/ 40 w 715"/>
                <a:gd name="T77" fmla="*/ 420 h 421"/>
                <a:gd name="T78" fmla="*/ 54 w 715"/>
                <a:gd name="T79" fmla="*/ 421 h 421"/>
                <a:gd name="T80" fmla="*/ 516 w 715"/>
                <a:gd name="T81" fmla="*/ 421 h 421"/>
                <a:gd name="T82" fmla="*/ 531 w 715"/>
                <a:gd name="T83" fmla="*/ 418 h 421"/>
                <a:gd name="T84" fmla="*/ 551 w 715"/>
                <a:gd name="T85" fmla="*/ 410 h 421"/>
                <a:gd name="T86" fmla="*/ 577 w 715"/>
                <a:gd name="T87" fmla="*/ 393 h 421"/>
                <a:gd name="T88" fmla="*/ 592 w 715"/>
                <a:gd name="T89" fmla="*/ 375 h 421"/>
                <a:gd name="T90" fmla="*/ 599 w 715"/>
                <a:gd name="T91" fmla="*/ 361 h 421"/>
                <a:gd name="T92" fmla="*/ 709 w 715"/>
                <a:gd name="T93" fmla="*/ 89 h 421"/>
                <a:gd name="T94" fmla="*/ 714 w 715"/>
                <a:gd name="T95" fmla="*/ 72 h 421"/>
                <a:gd name="T96" fmla="*/ 715 w 715"/>
                <a:gd name="T97" fmla="*/ 54 h 421"/>
                <a:gd name="T98" fmla="*/ 713 w 715"/>
                <a:gd name="T99" fmla="*/ 38 h 421"/>
                <a:gd name="T100" fmla="*/ 706 w 715"/>
                <a:gd name="T101" fmla="*/ 2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5" h="421">
                  <a:moveTo>
                    <a:pt x="681" y="78"/>
                  </a:moveTo>
                  <a:lnTo>
                    <a:pt x="575" y="343"/>
                  </a:lnTo>
                  <a:lnTo>
                    <a:pt x="570" y="353"/>
                  </a:lnTo>
                  <a:lnTo>
                    <a:pt x="564" y="363"/>
                  </a:lnTo>
                  <a:lnTo>
                    <a:pt x="557" y="370"/>
                  </a:lnTo>
                  <a:lnTo>
                    <a:pt x="548" y="378"/>
                  </a:lnTo>
                  <a:lnTo>
                    <a:pt x="538" y="383"/>
                  </a:lnTo>
                  <a:lnTo>
                    <a:pt x="529" y="387"/>
                  </a:lnTo>
                  <a:lnTo>
                    <a:pt x="519" y="390"/>
                  </a:lnTo>
                  <a:lnTo>
                    <a:pt x="509" y="391"/>
                  </a:lnTo>
                  <a:lnTo>
                    <a:pt x="54" y="391"/>
                  </a:lnTo>
                  <a:lnTo>
                    <a:pt x="48" y="390"/>
                  </a:lnTo>
                  <a:lnTo>
                    <a:pt x="43" y="389"/>
                  </a:lnTo>
                  <a:lnTo>
                    <a:pt x="38" y="387"/>
                  </a:lnTo>
                  <a:lnTo>
                    <a:pt x="33" y="383"/>
                  </a:lnTo>
                  <a:lnTo>
                    <a:pt x="31" y="378"/>
                  </a:lnTo>
                  <a:lnTo>
                    <a:pt x="30" y="370"/>
                  </a:lnTo>
                  <a:lnTo>
                    <a:pt x="31" y="364"/>
                  </a:lnTo>
                  <a:lnTo>
                    <a:pt x="33" y="355"/>
                  </a:lnTo>
                  <a:lnTo>
                    <a:pt x="139" y="89"/>
                  </a:lnTo>
                  <a:lnTo>
                    <a:pt x="146" y="76"/>
                  </a:lnTo>
                  <a:lnTo>
                    <a:pt x="151" y="66"/>
                  </a:lnTo>
                  <a:lnTo>
                    <a:pt x="158" y="55"/>
                  </a:lnTo>
                  <a:lnTo>
                    <a:pt x="164" y="46"/>
                  </a:lnTo>
                  <a:lnTo>
                    <a:pt x="173" y="40"/>
                  </a:lnTo>
                  <a:lnTo>
                    <a:pt x="181" y="34"/>
                  </a:lnTo>
                  <a:lnTo>
                    <a:pt x="187" y="32"/>
                  </a:lnTo>
                  <a:lnTo>
                    <a:pt x="192" y="31"/>
                  </a:lnTo>
                  <a:lnTo>
                    <a:pt x="197" y="30"/>
                  </a:lnTo>
                  <a:lnTo>
                    <a:pt x="203" y="30"/>
                  </a:lnTo>
                  <a:lnTo>
                    <a:pt x="654" y="30"/>
                  </a:lnTo>
                  <a:lnTo>
                    <a:pt x="664" y="31"/>
                  </a:lnTo>
                  <a:lnTo>
                    <a:pt x="670" y="33"/>
                  </a:lnTo>
                  <a:lnTo>
                    <a:pt x="677" y="37"/>
                  </a:lnTo>
                  <a:lnTo>
                    <a:pt x="681" y="41"/>
                  </a:lnTo>
                  <a:lnTo>
                    <a:pt x="683" y="44"/>
                  </a:lnTo>
                  <a:lnTo>
                    <a:pt x="684" y="48"/>
                  </a:lnTo>
                  <a:lnTo>
                    <a:pt x="685" y="53"/>
                  </a:lnTo>
                  <a:lnTo>
                    <a:pt x="685" y="57"/>
                  </a:lnTo>
                  <a:lnTo>
                    <a:pt x="684" y="68"/>
                  </a:lnTo>
                  <a:lnTo>
                    <a:pt x="681" y="78"/>
                  </a:lnTo>
                  <a:close/>
                  <a:moveTo>
                    <a:pt x="706" y="24"/>
                  </a:moveTo>
                  <a:lnTo>
                    <a:pt x="702" y="19"/>
                  </a:lnTo>
                  <a:lnTo>
                    <a:pt x="699" y="15"/>
                  </a:lnTo>
                  <a:lnTo>
                    <a:pt x="694" y="12"/>
                  </a:lnTo>
                  <a:lnTo>
                    <a:pt x="688" y="8"/>
                  </a:lnTo>
                  <a:lnTo>
                    <a:pt x="682" y="4"/>
                  </a:lnTo>
                  <a:lnTo>
                    <a:pt x="673" y="2"/>
                  </a:lnTo>
                  <a:lnTo>
                    <a:pt x="665" y="1"/>
                  </a:lnTo>
                  <a:lnTo>
                    <a:pt x="654" y="0"/>
                  </a:lnTo>
                  <a:lnTo>
                    <a:pt x="203" y="0"/>
                  </a:lnTo>
                  <a:lnTo>
                    <a:pt x="192" y="1"/>
                  </a:lnTo>
                  <a:lnTo>
                    <a:pt x="182" y="2"/>
                  </a:lnTo>
                  <a:lnTo>
                    <a:pt x="173" y="5"/>
                  </a:lnTo>
                  <a:lnTo>
                    <a:pt x="165" y="9"/>
                  </a:lnTo>
                  <a:lnTo>
                    <a:pt x="158" y="13"/>
                  </a:lnTo>
                  <a:lnTo>
                    <a:pt x="150" y="18"/>
                  </a:lnTo>
                  <a:lnTo>
                    <a:pt x="144" y="25"/>
                  </a:lnTo>
                  <a:lnTo>
                    <a:pt x="138" y="30"/>
                  </a:lnTo>
                  <a:lnTo>
                    <a:pt x="129" y="43"/>
                  </a:lnTo>
                  <a:lnTo>
                    <a:pt x="122" y="56"/>
                  </a:lnTo>
                  <a:lnTo>
                    <a:pt x="116" y="68"/>
                  </a:lnTo>
                  <a:lnTo>
                    <a:pt x="112" y="78"/>
                  </a:lnTo>
                  <a:lnTo>
                    <a:pt x="5" y="343"/>
                  </a:lnTo>
                  <a:lnTo>
                    <a:pt x="3" y="352"/>
                  </a:lnTo>
                  <a:lnTo>
                    <a:pt x="1" y="359"/>
                  </a:lnTo>
                  <a:lnTo>
                    <a:pt x="0" y="367"/>
                  </a:lnTo>
                  <a:lnTo>
                    <a:pt x="0" y="373"/>
                  </a:lnTo>
                  <a:lnTo>
                    <a:pt x="1" y="381"/>
                  </a:lnTo>
                  <a:lnTo>
                    <a:pt x="3" y="387"/>
                  </a:lnTo>
                  <a:lnTo>
                    <a:pt x="5" y="394"/>
                  </a:lnTo>
                  <a:lnTo>
                    <a:pt x="9" y="400"/>
                  </a:lnTo>
                  <a:lnTo>
                    <a:pt x="13" y="404"/>
                  </a:lnTo>
                  <a:lnTo>
                    <a:pt x="17" y="409"/>
                  </a:lnTo>
                  <a:lnTo>
                    <a:pt x="23" y="413"/>
                  </a:lnTo>
                  <a:lnTo>
                    <a:pt x="28" y="416"/>
                  </a:lnTo>
                  <a:lnTo>
                    <a:pt x="33" y="418"/>
                  </a:lnTo>
                  <a:lnTo>
                    <a:pt x="40" y="420"/>
                  </a:lnTo>
                  <a:lnTo>
                    <a:pt x="47" y="421"/>
                  </a:lnTo>
                  <a:lnTo>
                    <a:pt x="54" y="421"/>
                  </a:lnTo>
                  <a:lnTo>
                    <a:pt x="509" y="421"/>
                  </a:lnTo>
                  <a:lnTo>
                    <a:pt x="516" y="421"/>
                  </a:lnTo>
                  <a:lnTo>
                    <a:pt x="523" y="420"/>
                  </a:lnTo>
                  <a:lnTo>
                    <a:pt x="531" y="418"/>
                  </a:lnTo>
                  <a:lnTo>
                    <a:pt x="537" y="416"/>
                  </a:lnTo>
                  <a:lnTo>
                    <a:pt x="551" y="410"/>
                  </a:lnTo>
                  <a:lnTo>
                    <a:pt x="564" y="402"/>
                  </a:lnTo>
                  <a:lnTo>
                    <a:pt x="577" y="393"/>
                  </a:lnTo>
                  <a:lnTo>
                    <a:pt x="588" y="381"/>
                  </a:lnTo>
                  <a:lnTo>
                    <a:pt x="592" y="375"/>
                  </a:lnTo>
                  <a:lnTo>
                    <a:pt x="596" y="369"/>
                  </a:lnTo>
                  <a:lnTo>
                    <a:pt x="599" y="361"/>
                  </a:lnTo>
                  <a:lnTo>
                    <a:pt x="603" y="355"/>
                  </a:lnTo>
                  <a:lnTo>
                    <a:pt x="709" y="89"/>
                  </a:lnTo>
                  <a:lnTo>
                    <a:pt x="712" y="81"/>
                  </a:lnTo>
                  <a:lnTo>
                    <a:pt x="714" y="72"/>
                  </a:lnTo>
                  <a:lnTo>
                    <a:pt x="715" y="62"/>
                  </a:lnTo>
                  <a:lnTo>
                    <a:pt x="715" y="54"/>
                  </a:lnTo>
                  <a:lnTo>
                    <a:pt x="714" y="46"/>
                  </a:lnTo>
                  <a:lnTo>
                    <a:pt x="713" y="38"/>
                  </a:lnTo>
                  <a:lnTo>
                    <a:pt x="710" y="31"/>
                  </a:lnTo>
                  <a:lnTo>
                    <a:pt x="70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6">
              <a:extLst>
                <a:ext uri="{FF2B5EF4-FFF2-40B4-BE49-F238E27FC236}">
                  <a16:creationId xmlns:a16="http://schemas.microsoft.com/office/drawing/2014/main" id="{DE6C60E6-ABCF-47F5-A183-7CDCFF415BDA}"/>
                </a:ext>
              </a:extLst>
            </p:cNvPr>
            <p:cNvSpPr>
              <a:spLocks/>
            </p:cNvSpPr>
            <p:nvPr/>
          </p:nvSpPr>
          <p:spPr bwMode="auto">
            <a:xfrm>
              <a:off x="1568450" y="866775"/>
              <a:ext cx="142875" cy="57150"/>
            </a:xfrm>
            <a:custGeom>
              <a:avLst/>
              <a:gdLst>
                <a:gd name="T0" fmla="*/ 425 w 447"/>
                <a:gd name="T1" fmla="*/ 1 h 181"/>
                <a:gd name="T2" fmla="*/ 166 w 447"/>
                <a:gd name="T3" fmla="*/ 148 h 181"/>
                <a:gd name="T4" fmla="*/ 26 w 447"/>
                <a:gd name="T5" fmla="*/ 4 h 181"/>
                <a:gd name="T6" fmla="*/ 24 w 447"/>
                <a:gd name="T7" fmla="*/ 2 h 181"/>
                <a:gd name="T8" fmla="*/ 22 w 447"/>
                <a:gd name="T9" fmla="*/ 1 h 181"/>
                <a:gd name="T10" fmla="*/ 18 w 447"/>
                <a:gd name="T11" fmla="*/ 0 h 181"/>
                <a:gd name="T12" fmla="*/ 15 w 447"/>
                <a:gd name="T13" fmla="*/ 0 h 181"/>
                <a:gd name="T14" fmla="*/ 13 w 447"/>
                <a:gd name="T15" fmla="*/ 0 h 181"/>
                <a:gd name="T16" fmla="*/ 10 w 447"/>
                <a:gd name="T17" fmla="*/ 1 h 181"/>
                <a:gd name="T18" fmla="*/ 8 w 447"/>
                <a:gd name="T19" fmla="*/ 2 h 181"/>
                <a:gd name="T20" fmla="*/ 4 w 447"/>
                <a:gd name="T21" fmla="*/ 4 h 181"/>
                <a:gd name="T22" fmla="*/ 2 w 447"/>
                <a:gd name="T23" fmla="*/ 6 h 181"/>
                <a:gd name="T24" fmla="*/ 1 w 447"/>
                <a:gd name="T25" fmla="*/ 9 h 181"/>
                <a:gd name="T26" fmla="*/ 0 w 447"/>
                <a:gd name="T27" fmla="*/ 12 h 181"/>
                <a:gd name="T28" fmla="*/ 0 w 447"/>
                <a:gd name="T29" fmla="*/ 15 h 181"/>
                <a:gd name="T30" fmla="*/ 0 w 447"/>
                <a:gd name="T31" fmla="*/ 17 h 181"/>
                <a:gd name="T32" fmla="*/ 1 w 447"/>
                <a:gd name="T33" fmla="*/ 20 h 181"/>
                <a:gd name="T34" fmla="*/ 2 w 447"/>
                <a:gd name="T35" fmla="*/ 23 h 181"/>
                <a:gd name="T36" fmla="*/ 4 w 447"/>
                <a:gd name="T37" fmla="*/ 26 h 181"/>
                <a:gd name="T38" fmla="*/ 152 w 447"/>
                <a:gd name="T39" fmla="*/ 177 h 181"/>
                <a:gd name="T40" fmla="*/ 154 w 447"/>
                <a:gd name="T41" fmla="*/ 179 h 181"/>
                <a:gd name="T42" fmla="*/ 158 w 447"/>
                <a:gd name="T43" fmla="*/ 180 h 181"/>
                <a:gd name="T44" fmla="*/ 160 w 447"/>
                <a:gd name="T45" fmla="*/ 181 h 181"/>
                <a:gd name="T46" fmla="*/ 163 w 447"/>
                <a:gd name="T47" fmla="*/ 181 h 181"/>
                <a:gd name="T48" fmla="*/ 167 w 447"/>
                <a:gd name="T49" fmla="*/ 181 h 181"/>
                <a:gd name="T50" fmla="*/ 171 w 447"/>
                <a:gd name="T51" fmla="*/ 179 h 181"/>
                <a:gd name="T52" fmla="*/ 440 w 447"/>
                <a:gd name="T53" fmla="*/ 28 h 181"/>
                <a:gd name="T54" fmla="*/ 443 w 447"/>
                <a:gd name="T55" fmla="*/ 26 h 181"/>
                <a:gd name="T56" fmla="*/ 444 w 447"/>
                <a:gd name="T57" fmla="*/ 24 h 181"/>
                <a:gd name="T58" fmla="*/ 446 w 447"/>
                <a:gd name="T59" fmla="*/ 21 h 181"/>
                <a:gd name="T60" fmla="*/ 447 w 447"/>
                <a:gd name="T61" fmla="*/ 18 h 181"/>
                <a:gd name="T62" fmla="*/ 447 w 447"/>
                <a:gd name="T63" fmla="*/ 16 h 181"/>
                <a:gd name="T64" fmla="*/ 447 w 447"/>
                <a:gd name="T65" fmla="*/ 13 h 181"/>
                <a:gd name="T66" fmla="*/ 447 w 447"/>
                <a:gd name="T67" fmla="*/ 10 h 181"/>
                <a:gd name="T68" fmla="*/ 446 w 447"/>
                <a:gd name="T69" fmla="*/ 8 h 181"/>
                <a:gd name="T70" fmla="*/ 444 w 447"/>
                <a:gd name="T71" fmla="*/ 4 h 181"/>
                <a:gd name="T72" fmla="*/ 442 w 447"/>
                <a:gd name="T73" fmla="*/ 3 h 181"/>
                <a:gd name="T74" fmla="*/ 440 w 447"/>
                <a:gd name="T75" fmla="*/ 1 h 181"/>
                <a:gd name="T76" fmla="*/ 436 w 447"/>
                <a:gd name="T77" fmla="*/ 0 h 181"/>
                <a:gd name="T78" fmla="*/ 433 w 447"/>
                <a:gd name="T79" fmla="*/ 0 h 181"/>
                <a:gd name="T80" fmla="*/ 431 w 447"/>
                <a:gd name="T81" fmla="*/ 0 h 181"/>
                <a:gd name="T82" fmla="*/ 428 w 447"/>
                <a:gd name="T83" fmla="*/ 0 h 181"/>
                <a:gd name="T84" fmla="*/ 425 w 447"/>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7" h="181">
                  <a:moveTo>
                    <a:pt x="425" y="1"/>
                  </a:moveTo>
                  <a:lnTo>
                    <a:pt x="166" y="148"/>
                  </a:lnTo>
                  <a:lnTo>
                    <a:pt x="26" y="4"/>
                  </a:lnTo>
                  <a:lnTo>
                    <a:pt x="24" y="2"/>
                  </a:lnTo>
                  <a:lnTo>
                    <a:pt x="22" y="1"/>
                  </a:lnTo>
                  <a:lnTo>
                    <a:pt x="18" y="0"/>
                  </a:lnTo>
                  <a:lnTo>
                    <a:pt x="15" y="0"/>
                  </a:lnTo>
                  <a:lnTo>
                    <a:pt x="13" y="0"/>
                  </a:lnTo>
                  <a:lnTo>
                    <a:pt x="10" y="1"/>
                  </a:lnTo>
                  <a:lnTo>
                    <a:pt x="8" y="2"/>
                  </a:lnTo>
                  <a:lnTo>
                    <a:pt x="4" y="4"/>
                  </a:lnTo>
                  <a:lnTo>
                    <a:pt x="2" y="6"/>
                  </a:lnTo>
                  <a:lnTo>
                    <a:pt x="1" y="9"/>
                  </a:lnTo>
                  <a:lnTo>
                    <a:pt x="0" y="12"/>
                  </a:lnTo>
                  <a:lnTo>
                    <a:pt x="0" y="15"/>
                  </a:lnTo>
                  <a:lnTo>
                    <a:pt x="0" y="17"/>
                  </a:lnTo>
                  <a:lnTo>
                    <a:pt x="1" y="20"/>
                  </a:lnTo>
                  <a:lnTo>
                    <a:pt x="2" y="23"/>
                  </a:lnTo>
                  <a:lnTo>
                    <a:pt x="4" y="26"/>
                  </a:lnTo>
                  <a:lnTo>
                    <a:pt x="152" y="177"/>
                  </a:lnTo>
                  <a:lnTo>
                    <a:pt x="154" y="179"/>
                  </a:lnTo>
                  <a:lnTo>
                    <a:pt x="158" y="180"/>
                  </a:lnTo>
                  <a:lnTo>
                    <a:pt x="160" y="181"/>
                  </a:lnTo>
                  <a:lnTo>
                    <a:pt x="163" y="181"/>
                  </a:lnTo>
                  <a:lnTo>
                    <a:pt x="167" y="181"/>
                  </a:lnTo>
                  <a:lnTo>
                    <a:pt x="171" y="179"/>
                  </a:lnTo>
                  <a:lnTo>
                    <a:pt x="440" y="28"/>
                  </a:lnTo>
                  <a:lnTo>
                    <a:pt x="443" y="26"/>
                  </a:lnTo>
                  <a:lnTo>
                    <a:pt x="444" y="24"/>
                  </a:lnTo>
                  <a:lnTo>
                    <a:pt x="446" y="21"/>
                  </a:lnTo>
                  <a:lnTo>
                    <a:pt x="447" y="18"/>
                  </a:lnTo>
                  <a:lnTo>
                    <a:pt x="447" y="16"/>
                  </a:lnTo>
                  <a:lnTo>
                    <a:pt x="447" y="13"/>
                  </a:lnTo>
                  <a:lnTo>
                    <a:pt x="447" y="10"/>
                  </a:lnTo>
                  <a:lnTo>
                    <a:pt x="446" y="8"/>
                  </a:lnTo>
                  <a:lnTo>
                    <a:pt x="444" y="4"/>
                  </a:lnTo>
                  <a:lnTo>
                    <a:pt x="442" y="3"/>
                  </a:lnTo>
                  <a:lnTo>
                    <a:pt x="440" y="1"/>
                  </a:lnTo>
                  <a:lnTo>
                    <a:pt x="436" y="0"/>
                  </a:lnTo>
                  <a:lnTo>
                    <a:pt x="433" y="0"/>
                  </a:lnTo>
                  <a:lnTo>
                    <a:pt x="431" y="0"/>
                  </a:lnTo>
                  <a:lnTo>
                    <a:pt x="428" y="0"/>
                  </a:lnTo>
                  <a:lnTo>
                    <a:pt x="42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7">
              <a:extLst>
                <a:ext uri="{FF2B5EF4-FFF2-40B4-BE49-F238E27FC236}">
                  <a16:creationId xmlns:a16="http://schemas.microsoft.com/office/drawing/2014/main" id="{5697A67C-96A7-429F-B5F0-17B8D0C36562}"/>
                </a:ext>
              </a:extLst>
            </p:cNvPr>
            <p:cNvSpPr>
              <a:spLocks/>
            </p:cNvSpPr>
            <p:nvPr/>
          </p:nvSpPr>
          <p:spPr bwMode="auto">
            <a:xfrm>
              <a:off x="1538288" y="914400"/>
              <a:ext cx="47625" cy="38100"/>
            </a:xfrm>
            <a:custGeom>
              <a:avLst/>
              <a:gdLst>
                <a:gd name="T0" fmla="*/ 126 w 150"/>
                <a:gd name="T1" fmla="*/ 3 h 120"/>
                <a:gd name="T2" fmla="*/ 6 w 150"/>
                <a:gd name="T3" fmla="*/ 93 h 120"/>
                <a:gd name="T4" fmla="*/ 4 w 150"/>
                <a:gd name="T5" fmla="*/ 95 h 120"/>
                <a:gd name="T6" fmla="*/ 2 w 150"/>
                <a:gd name="T7" fmla="*/ 98 h 120"/>
                <a:gd name="T8" fmla="*/ 1 w 150"/>
                <a:gd name="T9" fmla="*/ 100 h 120"/>
                <a:gd name="T10" fmla="*/ 0 w 150"/>
                <a:gd name="T11" fmla="*/ 103 h 120"/>
                <a:gd name="T12" fmla="*/ 0 w 150"/>
                <a:gd name="T13" fmla="*/ 105 h 120"/>
                <a:gd name="T14" fmla="*/ 0 w 150"/>
                <a:gd name="T15" fmla="*/ 109 h 120"/>
                <a:gd name="T16" fmla="*/ 1 w 150"/>
                <a:gd name="T17" fmla="*/ 112 h 120"/>
                <a:gd name="T18" fmla="*/ 3 w 150"/>
                <a:gd name="T19" fmla="*/ 114 h 120"/>
                <a:gd name="T20" fmla="*/ 5 w 150"/>
                <a:gd name="T21" fmla="*/ 117 h 120"/>
                <a:gd name="T22" fmla="*/ 8 w 150"/>
                <a:gd name="T23" fmla="*/ 118 h 120"/>
                <a:gd name="T24" fmla="*/ 11 w 150"/>
                <a:gd name="T25" fmla="*/ 119 h 120"/>
                <a:gd name="T26" fmla="*/ 15 w 150"/>
                <a:gd name="T27" fmla="*/ 120 h 120"/>
                <a:gd name="T28" fmla="*/ 19 w 150"/>
                <a:gd name="T29" fmla="*/ 119 h 120"/>
                <a:gd name="T30" fmla="*/ 23 w 150"/>
                <a:gd name="T31" fmla="*/ 117 h 120"/>
                <a:gd name="T32" fmla="*/ 144 w 150"/>
                <a:gd name="T33" fmla="*/ 27 h 120"/>
                <a:gd name="T34" fmla="*/ 146 w 150"/>
                <a:gd name="T35" fmla="*/ 25 h 120"/>
                <a:gd name="T36" fmla="*/ 148 w 150"/>
                <a:gd name="T37" fmla="*/ 23 h 120"/>
                <a:gd name="T38" fmla="*/ 150 w 150"/>
                <a:gd name="T39" fmla="*/ 20 h 120"/>
                <a:gd name="T40" fmla="*/ 150 w 150"/>
                <a:gd name="T41" fmla="*/ 18 h 120"/>
                <a:gd name="T42" fmla="*/ 150 w 150"/>
                <a:gd name="T43" fmla="*/ 14 h 120"/>
                <a:gd name="T44" fmla="*/ 150 w 150"/>
                <a:gd name="T45" fmla="*/ 11 h 120"/>
                <a:gd name="T46" fmla="*/ 149 w 150"/>
                <a:gd name="T47" fmla="*/ 9 h 120"/>
                <a:gd name="T48" fmla="*/ 148 w 150"/>
                <a:gd name="T49" fmla="*/ 6 h 120"/>
                <a:gd name="T50" fmla="*/ 145 w 150"/>
                <a:gd name="T51" fmla="*/ 4 h 120"/>
                <a:gd name="T52" fmla="*/ 142 w 150"/>
                <a:gd name="T53" fmla="*/ 1 h 120"/>
                <a:gd name="T54" fmla="*/ 140 w 150"/>
                <a:gd name="T55" fmla="*/ 0 h 120"/>
                <a:gd name="T56" fmla="*/ 137 w 150"/>
                <a:gd name="T57" fmla="*/ 0 h 120"/>
                <a:gd name="T58" fmla="*/ 135 w 150"/>
                <a:gd name="T59" fmla="*/ 0 h 120"/>
                <a:gd name="T60" fmla="*/ 131 w 150"/>
                <a:gd name="T61" fmla="*/ 0 h 120"/>
                <a:gd name="T62" fmla="*/ 128 w 150"/>
                <a:gd name="T63" fmla="*/ 1 h 120"/>
                <a:gd name="T64" fmla="*/ 126 w 150"/>
                <a:gd name="T65" fmla="*/ 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0" h="120">
                  <a:moveTo>
                    <a:pt x="126" y="3"/>
                  </a:moveTo>
                  <a:lnTo>
                    <a:pt x="6" y="93"/>
                  </a:lnTo>
                  <a:lnTo>
                    <a:pt x="4" y="95"/>
                  </a:lnTo>
                  <a:lnTo>
                    <a:pt x="2" y="98"/>
                  </a:lnTo>
                  <a:lnTo>
                    <a:pt x="1" y="100"/>
                  </a:lnTo>
                  <a:lnTo>
                    <a:pt x="0" y="103"/>
                  </a:lnTo>
                  <a:lnTo>
                    <a:pt x="0" y="105"/>
                  </a:lnTo>
                  <a:lnTo>
                    <a:pt x="0" y="109"/>
                  </a:lnTo>
                  <a:lnTo>
                    <a:pt x="1" y="112"/>
                  </a:lnTo>
                  <a:lnTo>
                    <a:pt x="3" y="114"/>
                  </a:lnTo>
                  <a:lnTo>
                    <a:pt x="5" y="117"/>
                  </a:lnTo>
                  <a:lnTo>
                    <a:pt x="8" y="118"/>
                  </a:lnTo>
                  <a:lnTo>
                    <a:pt x="11" y="119"/>
                  </a:lnTo>
                  <a:lnTo>
                    <a:pt x="15" y="120"/>
                  </a:lnTo>
                  <a:lnTo>
                    <a:pt x="19" y="119"/>
                  </a:lnTo>
                  <a:lnTo>
                    <a:pt x="23" y="117"/>
                  </a:lnTo>
                  <a:lnTo>
                    <a:pt x="144" y="27"/>
                  </a:lnTo>
                  <a:lnTo>
                    <a:pt x="146" y="25"/>
                  </a:lnTo>
                  <a:lnTo>
                    <a:pt x="148" y="23"/>
                  </a:lnTo>
                  <a:lnTo>
                    <a:pt x="150" y="20"/>
                  </a:lnTo>
                  <a:lnTo>
                    <a:pt x="150" y="18"/>
                  </a:lnTo>
                  <a:lnTo>
                    <a:pt x="150" y="14"/>
                  </a:lnTo>
                  <a:lnTo>
                    <a:pt x="150" y="11"/>
                  </a:lnTo>
                  <a:lnTo>
                    <a:pt x="149" y="9"/>
                  </a:lnTo>
                  <a:lnTo>
                    <a:pt x="148" y="6"/>
                  </a:lnTo>
                  <a:lnTo>
                    <a:pt x="145" y="4"/>
                  </a:lnTo>
                  <a:lnTo>
                    <a:pt x="142" y="1"/>
                  </a:lnTo>
                  <a:lnTo>
                    <a:pt x="140" y="0"/>
                  </a:lnTo>
                  <a:lnTo>
                    <a:pt x="137" y="0"/>
                  </a:lnTo>
                  <a:lnTo>
                    <a:pt x="135" y="0"/>
                  </a:lnTo>
                  <a:lnTo>
                    <a:pt x="131" y="0"/>
                  </a:lnTo>
                  <a:lnTo>
                    <a:pt x="128" y="1"/>
                  </a:lnTo>
                  <a:lnTo>
                    <a:pt x="1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28">
              <a:extLst>
                <a:ext uri="{FF2B5EF4-FFF2-40B4-BE49-F238E27FC236}">
                  <a16:creationId xmlns:a16="http://schemas.microsoft.com/office/drawing/2014/main" id="{F28D1636-AD94-433E-B221-737450E036EB}"/>
                </a:ext>
              </a:extLst>
            </p:cNvPr>
            <p:cNvSpPr>
              <a:spLocks/>
            </p:cNvSpPr>
            <p:nvPr/>
          </p:nvSpPr>
          <p:spPr bwMode="auto">
            <a:xfrm>
              <a:off x="1652588" y="914400"/>
              <a:ext cx="28575" cy="38100"/>
            </a:xfrm>
            <a:custGeom>
              <a:avLst/>
              <a:gdLst>
                <a:gd name="T0" fmla="*/ 27 w 90"/>
                <a:gd name="T1" fmla="*/ 8 h 121"/>
                <a:gd name="T2" fmla="*/ 26 w 90"/>
                <a:gd name="T3" fmla="*/ 5 h 121"/>
                <a:gd name="T4" fmla="*/ 24 w 90"/>
                <a:gd name="T5" fmla="*/ 4 h 121"/>
                <a:gd name="T6" fmla="*/ 20 w 90"/>
                <a:gd name="T7" fmla="*/ 2 h 121"/>
                <a:gd name="T8" fmla="*/ 18 w 90"/>
                <a:gd name="T9" fmla="*/ 1 h 121"/>
                <a:gd name="T10" fmla="*/ 15 w 90"/>
                <a:gd name="T11" fmla="*/ 0 h 121"/>
                <a:gd name="T12" fmla="*/ 12 w 90"/>
                <a:gd name="T13" fmla="*/ 1 h 121"/>
                <a:gd name="T14" fmla="*/ 10 w 90"/>
                <a:gd name="T15" fmla="*/ 2 h 121"/>
                <a:gd name="T16" fmla="*/ 6 w 90"/>
                <a:gd name="T17" fmla="*/ 4 h 121"/>
                <a:gd name="T18" fmla="*/ 4 w 90"/>
                <a:gd name="T19" fmla="*/ 6 h 121"/>
                <a:gd name="T20" fmla="*/ 2 w 90"/>
                <a:gd name="T21" fmla="*/ 8 h 121"/>
                <a:gd name="T22" fmla="*/ 1 w 90"/>
                <a:gd name="T23" fmla="*/ 10 h 121"/>
                <a:gd name="T24" fmla="*/ 0 w 90"/>
                <a:gd name="T25" fmla="*/ 13 h 121"/>
                <a:gd name="T26" fmla="*/ 0 w 90"/>
                <a:gd name="T27" fmla="*/ 15 h 121"/>
                <a:gd name="T28" fmla="*/ 0 w 90"/>
                <a:gd name="T29" fmla="*/ 19 h 121"/>
                <a:gd name="T30" fmla="*/ 1 w 90"/>
                <a:gd name="T31" fmla="*/ 22 h 121"/>
                <a:gd name="T32" fmla="*/ 2 w 90"/>
                <a:gd name="T33" fmla="*/ 24 h 121"/>
                <a:gd name="T34" fmla="*/ 62 w 90"/>
                <a:gd name="T35" fmla="*/ 114 h 121"/>
                <a:gd name="T36" fmla="*/ 65 w 90"/>
                <a:gd name="T37" fmla="*/ 117 h 121"/>
                <a:gd name="T38" fmla="*/ 67 w 90"/>
                <a:gd name="T39" fmla="*/ 119 h 121"/>
                <a:gd name="T40" fmla="*/ 72 w 90"/>
                <a:gd name="T41" fmla="*/ 120 h 121"/>
                <a:gd name="T42" fmla="*/ 75 w 90"/>
                <a:gd name="T43" fmla="*/ 121 h 121"/>
                <a:gd name="T44" fmla="*/ 79 w 90"/>
                <a:gd name="T45" fmla="*/ 120 h 121"/>
                <a:gd name="T46" fmla="*/ 84 w 90"/>
                <a:gd name="T47" fmla="*/ 118 h 121"/>
                <a:gd name="T48" fmla="*/ 86 w 90"/>
                <a:gd name="T49" fmla="*/ 117 h 121"/>
                <a:gd name="T50" fmla="*/ 88 w 90"/>
                <a:gd name="T51" fmla="*/ 114 h 121"/>
                <a:gd name="T52" fmla="*/ 89 w 90"/>
                <a:gd name="T53" fmla="*/ 112 h 121"/>
                <a:gd name="T54" fmla="*/ 90 w 90"/>
                <a:gd name="T55" fmla="*/ 109 h 121"/>
                <a:gd name="T56" fmla="*/ 90 w 90"/>
                <a:gd name="T57" fmla="*/ 106 h 121"/>
                <a:gd name="T58" fmla="*/ 90 w 90"/>
                <a:gd name="T59" fmla="*/ 103 h 121"/>
                <a:gd name="T60" fmla="*/ 89 w 90"/>
                <a:gd name="T61" fmla="*/ 100 h 121"/>
                <a:gd name="T62" fmla="*/ 88 w 90"/>
                <a:gd name="T63" fmla="*/ 98 h 121"/>
                <a:gd name="T64" fmla="*/ 27 w 90"/>
                <a:gd name="T65"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21">
                  <a:moveTo>
                    <a:pt x="27" y="8"/>
                  </a:moveTo>
                  <a:lnTo>
                    <a:pt x="26" y="5"/>
                  </a:lnTo>
                  <a:lnTo>
                    <a:pt x="24" y="4"/>
                  </a:lnTo>
                  <a:lnTo>
                    <a:pt x="20" y="2"/>
                  </a:lnTo>
                  <a:lnTo>
                    <a:pt x="18" y="1"/>
                  </a:lnTo>
                  <a:lnTo>
                    <a:pt x="15" y="0"/>
                  </a:lnTo>
                  <a:lnTo>
                    <a:pt x="12" y="1"/>
                  </a:lnTo>
                  <a:lnTo>
                    <a:pt x="10" y="2"/>
                  </a:lnTo>
                  <a:lnTo>
                    <a:pt x="6" y="4"/>
                  </a:lnTo>
                  <a:lnTo>
                    <a:pt x="4" y="6"/>
                  </a:lnTo>
                  <a:lnTo>
                    <a:pt x="2" y="8"/>
                  </a:lnTo>
                  <a:lnTo>
                    <a:pt x="1" y="10"/>
                  </a:lnTo>
                  <a:lnTo>
                    <a:pt x="0" y="13"/>
                  </a:lnTo>
                  <a:lnTo>
                    <a:pt x="0" y="15"/>
                  </a:lnTo>
                  <a:lnTo>
                    <a:pt x="0" y="19"/>
                  </a:lnTo>
                  <a:lnTo>
                    <a:pt x="1" y="22"/>
                  </a:lnTo>
                  <a:lnTo>
                    <a:pt x="2" y="24"/>
                  </a:lnTo>
                  <a:lnTo>
                    <a:pt x="62" y="114"/>
                  </a:lnTo>
                  <a:lnTo>
                    <a:pt x="65" y="117"/>
                  </a:lnTo>
                  <a:lnTo>
                    <a:pt x="67" y="119"/>
                  </a:lnTo>
                  <a:lnTo>
                    <a:pt x="72" y="120"/>
                  </a:lnTo>
                  <a:lnTo>
                    <a:pt x="75" y="121"/>
                  </a:lnTo>
                  <a:lnTo>
                    <a:pt x="79" y="120"/>
                  </a:lnTo>
                  <a:lnTo>
                    <a:pt x="84" y="118"/>
                  </a:lnTo>
                  <a:lnTo>
                    <a:pt x="86" y="117"/>
                  </a:lnTo>
                  <a:lnTo>
                    <a:pt x="88" y="114"/>
                  </a:lnTo>
                  <a:lnTo>
                    <a:pt x="89" y="112"/>
                  </a:lnTo>
                  <a:lnTo>
                    <a:pt x="90" y="109"/>
                  </a:lnTo>
                  <a:lnTo>
                    <a:pt x="90" y="106"/>
                  </a:lnTo>
                  <a:lnTo>
                    <a:pt x="90" y="103"/>
                  </a:lnTo>
                  <a:lnTo>
                    <a:pt x="89" y="100"/>
                  </a:lnTo>
                  <a:lnTo>
                    <a:pt x="88" y="98"/>
                  </a:lnTo>
                  <a:lnTo>
                    <a:pt x="2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29">
              <a:extLst>
                <a:ext uri="{FF2B5EF4-FFF2-40B4-BE49-F238E27FC236}">
                  <a16:creationId xmlns:a16="http://schemas.microsoft.com/office/drawing/2014/main" id="{22F375BF-A0EA-4B67-B8DB-FE24E55B4786}"/>
                </a:ext>
              </a:extLst>
            </p:cNvPr>
            <p:cNvSpPr>
              <a:spLocks/>
            </p:cNvSpPr>
            <p:nvPr/>
          </p:nvSpPr>
          <p:spPr bwMode="auto">
            <a:xfrm>
              <a:off x="1452563" y="838200"/>
              <a:ext cx="71438" cy="9525"/>
            </a:xfrm>
            <a:custGeom>
              <a:avLst/>
              <a:gdLst>
                <a:gd name="T0" fmla="*/ 15 w 227"/>
                <a:gd name="T1" fmla="*/ 30 h 30"/>
                <a:gd name="T2" fmla="*/ 212 w 227"/>
                <a:gd name="T3" fmla="*/ 30 h 30"/>
                <a:gd name="T4" fmla="*/ 215 w 227"/>
                <a:gd name="T5" fmla="*/ 30 h 30"/>
                <a:gd name="T6" fmla="*/ 217 w 227"/>
                <a:gd name="T7" fmla="*/ 29 h 30"/>
                <a:gd name="T8" fmla="*/ 220 w 227"/>
                <a:gd name="T9" fmla="*/ 28 h 30"/>
                <a:gd name="T10" fmla="*/ 222 w 227"/>
                <a:gd name="T11" fmla="*/ 26 h 30"/>
                <a:gd name="T12" fmla="*/ 223 w 227"/>
                <a:gd name="T13" fmla="*/ 24 h 30"/>
                <a:gd name="T14" fmla="*/ 226 w 227"/>
                <a:gd name="T15" fmla="*/ 20 h 30"/>
                <a:gd name="T16" fmla="*/ 227 w 227"/>
                <a:gd name="T17" fmla="*/ 18 h 30"/>
                <a:gd name="T18" fmla="*/ 227 w 227"/>
                <a:gd name="T19" fmla="*/ 15 h 30"/>
                <a:gd name="T20" fmla="*/ 227 w 227"/>
                <a:gd name="T21" fmla="*/ 12 h 30"/>
                <a:gd name="T22" fmla="*/ 226 w 227"/>
                <a:gd name="T23" fmla="*/ 10 h 30"/>
                <a:gd name="T24" fmla="*/ 224 w 227"/>
                <a:gd name="T25" fmla="*/ 7 h 30"/>
                <a:gd name="T26" fmla="*/ 222 w 227"/>
                <a:gd name="T27" fmla="*/ 4 h 30"/>
                <a:gd name="T28" fmla="*/ 220 w 227"/>
                <a:gd name="T29" fmla="*/ 2 h 30"/>
                <a:gd name="T30" fmla="*/ 217 w 227"/>
                <a:gd name="T31" fmla="*/ 1 h 30"/>
                <a:gd name="T32" fmla="*/ 215 w 227"/>
                <a:gd name="T33" fmla="*/ 0 h 30"/>
                <a:gd name="T34" fmla="*/ 212 w 227"/>
                <a:gd name="T35" fmla="*/ 0 h 30"/>
                <a:gd name="T36" fmla="*/ 15 w 227"/>
                <a:gd name="T37" fmla="*/ 0 h 30"/>
                <a:gd name="T38" fmla="*/ 13 w 227"/>
                <a:gd name="T39" fmla="*/ 0 h 30"/>
                <a:gd name="T40" fmla="*/ 10 w 227"/>
                <a:gd name="T41" fmla="*/ 1 h 30"/>
                <a:gd name="T42" fmla="*/ 8 w 227"/>
                <a:gd name="T43" fmla="*/ 2 h 30"/>
                <a:gd name="T44" fmla="*/ 6 w 227"/>
                <a:gd name="T45" fmla="*/ 4 h 30"/>
                <a:gd name="T46" fmla="*/ 4 w 227"/>
                <a:gd name="T47" fmla="*/ 7 h 30"/>
                <a:gd name="T48" fmla="*/ 2 w 227"/>
                <a:gd name="T49" fmla="*/ 10 h 30"/>
                <a:gd name="T50" fmla="*/ 1 w 227"/>
                <a:gd name="T51" fmla="*/ 12 h 30"/>
                <a:gd name="T52" fmla="*/ 0 w 227"/>
                <a:gd name="T53" fmla="*/ 15 h 30"/>
                <a:gd name="T54" fmla="*/ 1 w 227"/>
                <a:gd name="T55" fmla="*/ 18 h 30"/>
                <a:gd name="T56" fmla="*/ 2 w 227"/>
                <a:gd name="T57" fmla="*/ 20 h 30"/>
                <a:gd name="T58" fmla="*/ 4 w 227"/>
                <a:gd name="T59" fmla="*/ 24 h 30"/>
                <a:gd name="T60" fmla="*/ 6 w 227"/>
                <a:gd name="T61" fmla="*/ 26 h 30"/>
                <a:gd name="T62" fmla="*/ 8 w 227"/>
                <a:gd name="T63" fmla="*/ 28 h 30"/>
                <a:gd name="T64" fmla="*/ 10 w 227"/>
                <a:gd name="T65" fmla="*/ 29 h 30"/>
                <a:gd name="T66" fmla="*/ 13 w 227"/>
                <a:gd name="T67" fmla="*/ 30 h 30"/>
                <a:gd name="T68" fmla="*/ 15 w 227"/>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0">
                  <a:moveTo>
                    <a:pt x="15" y="30"/>
                  </a:moveTo>
                  <a:lnTo>
                    <a:pt x="212" y="30"/>
                  </a:lnTo>
                  <a:lnTo>
                    <a:pt x="215" y="30"/>
                  </a:lnTo>
                  <a:lnTo>
                    <a:pt x="217" y="29"/>
                  </a:lnTo>
                  <a:lnTo>
                    <a:pt x="220" y="28"/>
                  </a:lnTo>
                  <a:lnTo>
                    <a:pt x="222" y="26"/>
                  </a:lnTo>
                  <a:lnTo>
                    <a:pt x="223" y="24"/>
                  </a:lnTo>
                  <a:lnTo>
                    <a:pt x="226" y="20"/>
                  </a:lnTo>
                  <a:lnTo>
                    <a:pt x="227" y="18"/>
                  </a:lnTo>
                  <a:lnTo>
                    <a:pt x="227" y="15"/>
                  </a:lnTo>
                  <a:lnTo>
                    <a:pt x="227" y="12"/>
                  </a:lnTo>
                  <a:lnTo>
                    <a:pt x="226" y="10"/>
                  </a:lnTo>
                  <a:lnTo>
                    <a:pt x="224" y="7"/>
                  </a:lnTo>
                  <a:lnTo>
                    <a:pt x="222" y="4"/>
                  </a:lnTo>
                  <a:lnTo>
                    <a:pt x="220" y="2"/>
                  </a:lnTo>
                  <a:lnTo>
                    <a:pt x="217" y="1"/>
                  </a:lnTo>
                  <a:lnTo>
                    <a:pt x="215" y="0"/>
                  </a:lnTo>
                  <a:lnTo>
                    <a:pt x="212" y="0"/>
                  </a:lnTo>
                  <a:lnTo>
                    <a:pt x="15" y="0"/>
                  </a:lnTo>
                  <a:lnTo>
                    <a:pt x="13" y="0"/>
                  </a:lnTo>
                  <a:lnTo>
                    <a:pt x="10" y="1"/>
                  </a:lnTo>
                  <a:lnTo>
                    <a:pt x="8" y="2"/>
                  </a:lnTo>
                  <a:lnTo>
                    <a:pt x="6" y="4"/>
                  </a:lnTo>
                  <a:lnTo>
                    <a:pt x="4" y="7"/>
                  </a:lnTo>
                  <a:lnTo>
                    <a:pt x="2" y="10"/>
                  </a:lnTo>
                  <a:lnTo>
                    <a:pt x="1" y="12"/>
                  </a:lnTo>
                  <a:lnTo>
                    <a:pt x="0" y="15"/>
                  </a:lnTo>
                  <a:lnTo>
                    <a:pt x="1" y="18"/>
                  </a:lnTo>
                  <a:lnTo>
                    <a:pt x="2" y="20"/>
                  </a:lnTo>
                  <a:lnTo>
                    <a:pt x="4" y="24"/>
                  </a:lnTo>
                  <a:lnTo>
                    <a:pt x="6" y="26"/>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30">
              <a:extLst>
                <a:ext uri="{FF2B5EF4-FFF2-40B4-BE49-F238E27FC236}">
                  <a16:creationId xmlns:a16="http://schemas.microsoft.com/office/drawing/2014/main" id="{6670BD2B-3F4A-498C-8DDA-76F5C0C45F7B}"/>
                </a:ext>
              </a:extLst>
            </p:cNvPr>
            <p:cNvSpPr>
              <a:spLocks/>
            </p:cNvSpPr>
            <p:nvPr/>
          </p:nvSpPr>
          <p:spPr bwMode="auto">
            <a:xfrm>
              <a:off x="1452563" y="952500"/>
              <a:ext cx="33338" cy="9525"/>
            </a:xfrm>
            <a:custGeom>
              <a:avLst/>
              <a:gdLst>
                <a:gd name="T0" fmla="*/ 91 w 106"/>
                <a:gd name="T1" fmla="*/ 0 h 30"/>
                <a:gd name="T2" fmla="*/ 15 w 106"/>
                <a:gd name="T3" fmla="*/ 0 h 30"/>
                <a:gd name="T4" fmla="*/ 13 w 106"/>
                <a:gd name="T5" fmla="*/ 0 h 30"/>
                <a:gd name="T6" fmla="*/ 10 w 106"/>
                <a:gd name="T7" fmla="*/ 2 h 30"/>
                <a:gd name="T8" fmla="*/ 8 w 106"/>
                <a:gd name="T9" fmla="*/ 3 h 30"/>
                <a:gd name="T10" fmla="*/ 6 w 106"/>
                <a:gd name="T11" fmla="*/ 5 h 30"/>
                <a:gd name="T12" fmla="*/ 4 w 106"/>
                <a:gd name="T13" fmla="*/ 7 h 30"/>
                <a:gd name="T14" fmla="*/ 2 w 106"/>
                <a:gd name="T15" fmla="*/ 9 h 30"/>
                <a:gd name="T16" fmla="*/ 1 w 106"/>
                <a:gd name="T17" fmla="*/ 12 h 30"/>
                <a:gd name="T18" fmla="*/ 0 w 106"/>
                <a:gd name="T19" fmla="*/ 15 h 30"/>
                <a:gd name="T20" fmla="*/ 1 w 106"/>
                <a:gd name="T21" fmla="*/ 19 h 30"/>
                <a:gd name="T22" fmla="*/ 2 w 106"/>
                <a:gd name="T23" fmla="*/ 21 h 30"/>
                <a:gd name="T24" fmla="*/ 4 w 106"/>
                <a:gd name="T25" fmla="*/ 24 h 30"/>
                <a:gd name="T26" fmla="*/ 6 w 106"/>
                <a:gd name="T27" fmla="*/ 26 h 30"/>
                <a:gd name="T28" fmla="*/ 8 w 106"/>
                <a:gd name="T29" fmla="*/ 27 h 30"/>
                <a:gd name="T30" fmla="*/ 10 w 106"/>
                <a:gd name="T31" fmla="*/ 29 h 30"/>
                <a:gd name="T32" fmla="*/ 13 w 106"/>
                <a:gd name="T33" fmla="*/ 30 h 30"/>
                <a:gd name="T34" fmla="*/ 15 w 106"/>
                <a:gd name="T35" fmla="*/ 30 h 30"/>
                <a:gd name="T36" fmla="*/ 91 w 106"/>
                <a:gd name="T37" fmla="*/ 30 h 30"/>
                <a:gd name="T38" fmla="*/ 94 w 106"/>
                <a:gd name="T39" fmla="*/ 30 h 30"/>
                <a:gd name="T40" fmla="*/ 97 w 106"/>
                <a:gd name="T41" fmla="*/ 29 h 30"/>
                <a:gd name="T42" fmla="*/ 99 w 106"/>
                <a:gd name="T43" fmla="*/ 27 h 30"/>
                <a:gd name="T44" fmla="*/ 102 w 106"/>
                <a:gd name="T45" fmla="*/ 26 h 30"/>
                <a:gd name="T46" fmla="*/ 103 w 106"/>
                <a:gd name="T47" fmla="*/ 24 h 30"/>
                <a:gd name="T48" fmla="*/ 105 w 106"/>
                <a:gd name="T49" fmla="*/ 21 h 30"/>
                <a:gd name="T50" fmla="*/ 105 w 106"/>
                <a:gd name="T51" fmla="*/ 19 h 30"/>
                <a:gd name="T52" fmla="*/ 106 w 106"/>
                <a:gd name="T53" fmla="*/ 15 h 30"/>
                <a:gd name="T54" fmla="*/ 105 w 106"/>
                <a:gd name="T55" fmla="*/ 12 h 30"/>
                <a:gd name="T56" fmla="*/ 105 w 106"/>
                <a:gd name="T57" fmla="*/ 9 h 30"/>
                <a:gd name="T58" fmla="*/ 103 w 106"/>
                <a:gd name="T59" fmla="*/ 7 h 30"/>
                <a:gd name="T60" fmla="*/ 102 w 106"/>
                <a:gd name="T61" fmla="*/ 5 h 30"/>
                <a:gd name="T62" fmla="*/ 99 w 106"/>
                <a:gd name="T63" fmla="*/ 3 h 30"/>
                <a:gd name="T64" fmla="*/ 97 w 106"/>
                <a:gd name="T65" fmla="*/ 2 h 30"/>
                <a:gd name="T66" fmla="*/ 94 w 106"/>
                <a:gd name="T67" fmla="*/ 0 h 30"/>
                <a:gd name="T68" fmla="*/ 91 w 106"/>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30">
                  <a:moveTo>
                    <a:pt x="91" y="0"/>
                  </a:moveTo>
                  <a:lnTo>
                    <a:pt x="15" y="0"/>
                  </a:lnTo>
                  <a:lnTo>
                    <a:pt x="13" y="0"/>
                  </a:lnTo>
                  <a:lnTo>
                    <a:pt x="10" y="2"/>
                  </a:lnTo>
                  <a:lnTo>
                    <a:pt x="8" y="3"/>
                  </a:lnTo>
                  <a:lnTo>
                    <a:pt x="6" y="5"/>
                  </a:lnTo>
                  <a:lnTo>
                    <a:pt x="4" y="7"/>
                  </a:lnTo>
                  <a:lnTo>
                    <a:pt x="2" y="9"/>
                  </a:lnTo>
                  <a:lnTo>
                    <a:pt x="1" y="12"/>
                  </a:lnTo>
                  <a:lnTo>
                    <a:pt x="0" y="15"/>
                  </a:lnTo>
                  <a:lnTo>
                    <a:pt x="1" y="19"/>
                  </a:lnTo>
                  <a:lnTo>
                    <a:pt x="2" y="21"/>
                  </a:lnTo>
                  <a:lnTo>
                    <a:pt x="4" y="24"/>
                  </a:lnTo>
                  <a:lnTo>
                    <a:pt x="6" y="26"/>
                  </a:lnTo>
                  <a:lnTo>
                    <a:pt x="8" y="27"/>
                  </a:lnTo>
                  <a:lnTo>
                    <a:pt x="10" y="29"/>
                  </a:lnTo>
                  <a:lnTo>
                    <a:pt x="13" y="30"/>
                  </a:lnTo>
                  <a:lnTo>
                    <a:pt x="15" y="30"/>
                  </a:lnTo>
                  <a:lnTo>
                    <a:pt x="91" y="30"/>
                  </a:lnTo>
                  <a:lnTo>
                    <a:pt x="94" y="30"/>
                  </a:lnTo>
                  <a:lnTo>
                    <a:pt x="97" y="29"/>
                  </a:lnTo>
                  <a:lnTo>
                    <a:pt x="99" y="27"/>
                  </a:lnTo>
                  <a:lnTo>
                    <a:pt x="102" y="26"/>
                  </a:lnTo>
                  <a:lnTo>
                    <a:pt x="103" y="24"/>
                  </a:lnTo>
                  <a:lnTo>
                    <a:pt x="105" y="21"/>
                  </a:lnTo>
                  <a:lnTo>
                    <a:pt x="105" y="19"/>
                  </a:lnTo>
                  <a:lnTo>
                    <a:pt x="106" y="15"/>
                  </a:lnTo>
                  <a:lnTo>
                    <a:pt x="105" y="12"/>
                  </a:lnTo>
                  <a:lnTo>
                    <a:pt x="105" y="9"/>
                  </a:lnTo>
                  <a:lnTo>
                    <a:pt x="103" y="7"/>
                  </a:lnTo>
                  <a:lnTo>
                    <a:pt x="102" y="5"/>
                  </a:lnTo>
                  <a:lnTo>
                    <a:pt x="99" y="3"/>
                  </a:lnTo>
                  <a:lnTo>
                    <a:pt x="97" y="2"/>
                  </a:lnTo>
                  <a:lnTo>
                    <a:pt x="94"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1">
              <a:extLst>
                <a:ext uri="{FF2B5EF4-FFF2-40B4-BE49-F238E27FC236}">
                  <a16:creationId xmlns:a16="http://schemas.microsoft.com/office/drawing/2014/main" id="{6D3B7B67-CC3F-40E6-9D6D-9B840B6FE81D}"/>
                </a:ext>
              </a:extLst>
            </p:cNvPr>
            <p:cNvSpPr>
              <a:spLocks/>
            </p:cNvSpPr>
            <p:nvPr/>
          </p:nvSpPr>
          <p:spPr bwMode="auto">
            <a:xfrm>
              <a:off x="1452563" y="895350"/>
              <a:ext cx="46038" cy="9525"/>
            </a:xfrm>
            <a:custGeom>
              <a:avLst/>
              <a:gdLst>
                <a:gd name="T0" fmla="*/ 130 w 145"/>
                <a:gd name="T1" fmla="*/ 0 h 30"/>
                <a:gd name="T2" fmla="*/ 15 w 145"/>
                <a:gd name="T3" fmla="*/ 0 h 30"/>
                <a:gd name="T4" fmla="*/ 13 w 145"/>
                <a:gd name="T5" fmla="*/ 1 h 30"/>
                <a:gd name="T6" fmla="*/ 10 w 145"/>
                <a:gd name="T7" fmla="*/ 1 h 30"/>
                <a:gd name="T8" fmla="*/ 8 w 145"/>
                <a:gd name="T9" fmla="*/ 3 h 30"/>
                <a:gd name="T10" fmla="*/ 6 w 145"/>
                <a:gd name="T11" fmla="*/ 5 h 30"/>
                <a:gd name="T12" fmla="*/ 4 w 145"/>
                <a:gd name="T13" fmla="*/ 8 h 30"/>
                <a:gd name="T14" fmla="*/ 2 w 145"/>
                <a:gd name="T15" fmla="*/ 10 h 30"/>
                <a:gd name="T16" fmla="*/ 1 w 145"/>
                <a:gd name="T17" fmla="*/ 13 h 30"/>
                <a:gd name="T18" fmla="*/ 0 w 145"/>
                <a:gd name="T19" fmla="*/ 15 h 30"/>
                <a:gd name="T20" fmla="*/ 1 w 145"/>
                <a:gd name="T21" fmla="*/ 18 h 30"/>
                <a:gd name="T22" fmla="*/ 2 w 145"/>
                <a:gd name="T23" fmla="*/ 22 h 30"/>
                <a:gd name="T24" fmla="*/ 4 w 145"/>
                <a:gd name="T25" fmla="*/ 24 h 30"/>
                <a:gd name="T26" fmla="*/ 6 w 145"/>
                <a:gd name="T27" fmla="*/ 26 h 30"/>
                <a:gd name="T28" fmla="*/ 8 w 145"/>
                <a:gd name="T29" fmla="*/ 28 h 30"/>
                <a:gd name="T30" fmla="*/ 10 w 145"/>
                <a:gd name="T31" fmla="*/ 29 h 30"/>
                <a:gd name="T32" fmla="*/ 13 w 145"/>
                <a:gd name="T33" fmla="*/ 30 h 30"/>
                <a:gd name="T34" fmla="*/ 15 w 145"/>
                <a:gd name="T35" fmla="*/ 30 h 30"/>
                <a:gd name="T36" fmla="*/ 130 w 145"/>
                <a:gd name="T37" fmla="*/ 30 h 30"/>
                <a:gd name="T38" fmla="*/ 132 w 145"/>
                <a:gd name="T39" fmla="*/ 30 h 30"/>
                <a:gd name="T40" fmla="*/ 135 w 145"/>
                <a:gd name="T41" fmla="*/ 29 h 30"/>
                <a:gd name="T42" fmla="*/ 138 w 145"/>
                <a:gd name="T43" fmla="*/ 28 h 30"/>
                <a:gd name="T44" fmla="*/ 141 w 145"/>
                <a:gd name="T45" fmla="*/ 26 h 30"/>
                <a:gd name="T46" fmla="*/ 142 w 145"/>
                <a:gd name="T47" fmla="*/ 24 h 30"/>
                <a:gd name="T48" fmla="*/ 144 w 145"/>
                <a:gd name="T49" fmla="*/ 22 h 30"/>
                <a:gd name="T50" fmla="*/ 144 w 145"/>
                <a:gd name="T51" fmla="*/ 18 h 30"/>
                <a:gd name="T52" fmla="*/ 145 w 145"/>
                <a:gd name="T53" fmla="*/ 15 h 30"/>
                <a:gd name="T54" fmla="*/ 144 w 145"/>
                <a:gd name="T55" fmla="*/ 13 h 30"/>
                <a:gd name="T56" fmla="*/ 144 w 145"/>
                <a:gd name="T57" fmla="*/ 10 h 30"/>
                <a:gd name="T58" fmla="*/ 142 w 145"/>
                <a:gd name="T59" fmla="*/ 8 h 30"/>
                <a:gd name="T60" fmla="*/ 141 w 145"/>
                <a:gd name="T61" fmla="*/ 5 h 30"/>
                <a:gd name="T62" fmla="*/ 138 w 145"/>
                <a:gd name="T63" fmla="*/ 3 h 30"/>
                <a:gd name="T64" fmla="*/ 135 w 145"/>
                <a:gd name="T65" fmla="*/ 1 h 30"/>
                <a:gd name="T66" fmla="*/ 132 w 145"/>
                <a:gd name="T67" fmla="*/ 1 h 30"/>
                <a:gd name="T68" fmla="*/ 130 w 145"/>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30">
                  <a:moveTo>
                    <a:pt x="130" y="0"/>
                  </a:moveTo>
                  <a:lnTo>
                    <a:pt x="15" y="0"/>
                  </a:lnTo>
                  <a:lnTo>
                    <a:pt x="13" y="1"/>
                  </a:lnTo>
                  <a:lnTo>
                    <a:pt x="10" y="1"/>
                  </a:lnTo>
                  <a:lnTo>
                    <a:pt x="8" y="3"/>
                  </a:lnTo>
                  <a:lnTo>
                    <a:pt x="6" y="5"/>
                  </a:lnTo>
                  <a:lnTo>
                    <a:pt x="4" y="8"/>
                  </a:lnTo>
                  <a:lnTo>
                    <a:pt x="2" y="10"/>
                  </a:lnTo>
                  <a:lnTo>
                    <a:pt x="1" y="13"/>
                  </a:lnTo>
                  <a:lnTo>
                    <a:pt x="0" y="15"/>
                  </a:lnTo>
                  <a:lnTo>
                    <a:pt x="1" y="18"/>
                  </a:lnTo>
                  <a:lnTo>
                    <a:pt x="2" y="22"/>
                  </a:lnTo>
                  <a:lnTo>
                    <a:pt x="4" y="24"/>
                  </a:lnTo>
                  <a:lnTo>
                    <a:pt x="6" y="26"/>
                  </a:lnTo>
                  <a:lnTo>
                    <a:pt x="8" y="28"/>
                  </a:lnTo>
                  <a:lnTo>
                    <a:pt x="10" y="29"/>
                  </a:lnTo>
                  <a:lnTo>
                    <a:pt x="13" y="30"/>
                  </a:lnTo>
                  <a:lnTo>
                    <a:pt x="15" y="30"/>
                  </a:lnTo>
                  <a:lnTo>
                    <a:pt x="130" y="30"/>
                  </a:lnTo>
                  <a:lnTo>
                    <a:pt x="132" y="30"/>
                  </a:lnTo>
                  <a:lnTo>
                    <a:pt x="135" y="29"/>
                  </a:lnTo>
                  <a:lnTo>
                    <a:pt x="138" y="28"/>
                  </a:lnTo>
                  <a:lnTo>
                    <a:pt x="141" y="26"/>
                  </a:lnTo>
                  <a:lnTo>
                    <a:pt x="142" y="24"/>
                  </a:lnTo>
                  <a:lnTo>
                    <a:pt x="144" y="22"/>
                  </a:lnTo>
                  <a:lnTo>
                    <a:pt x="144" y="18"/>
                  </a:lnTo>
                  <a:lnTo>
                    <a:pt x="145" y="15"/>
                  </a:lnTo>
                  <a:lnTo>
                    <a:pt x="144" y="13"/>
                  </a:lnTo>
                  <a:lnTo>
                    <a:pt x="144" y="10"/>
                  </a:lnTo>
                  <a:lnTo>
                    <a:pt x="142" y="8"/>
                  </a:lnTo>
                  <a:lnTo>
                    <a:pt x="141" y="5"/>
                  </a:lnTo>
                  <a:lnTo>
                    <a:pt x="138" y="3"/>
                  </a:lnTo>
                  <a:lnTo>
                    <a:pt x="135" y="1"/>
                  </a:lnTo>
                  <a:lnTo>
                    <a:pt x="132" y="1"/>
                  </a:lnTo>
                  <a:lnTo>
                    <a:pt x="1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6" name="Freeform 32">
            <a:extLst>
              <a:ext uri="{FF2B5EF4-FFF2-40B4-BE49-F238E27FC236}">
                <a16:creationId xmlns:a16="http://schemas.microsoft.com/office/drawing/2014/main" id="{183498E1-D877-401E-999F-1AA97A130E8B}"/>
              </a:ext>
            </a:extLst>
          </p:cNvPr>
          <p:cNvSpPr>
            <a:spLocks noChangeAspect="1" noEditPoints="1"/>
          </p:cNvSpPr>
          <p:nvPr/>
        </p:nvSpPr>
        <p:spPr bwMode="auto">
          <a:xfrm>
            <a:off x="1081444" y="4939307"/>
            <a:ext cx="275708" cy="187611"/>
          </a:xfrm>
          <a:custGeom>
            <a:avLst/>
            <a:gdLst>
              <a:gd name="T0" fmla="*/ 811 w 842"/>
              <a:gd name="T1" fmla="*/ 493 h 571"/>
              <a:gd name="T2" fmla="*/ 805 w 842"/>
              <a:gd name="T3" fmla="*/ 510 h 571"/>
              <a:gd name="T4" fmla="*/ 795 w 842"/>
              <a:gd name="T5" fmla="*/ 524 h 571"/>
              <a:gd name="T6" fmla="*/ 781 w 842"/>
              <a:gd name="T7" fmla="*/ 534 h 571"/>
              <a:gd name="T8" fmla="*/ 764 w 842"/>
              <a:gd name="T9" fmla="*/ 540 h 571"/>
              <a:gd name="T10" fmla="*/ 88 w 842"/>
              <a:gd name="T11" fmla="*/ 541 h 571"/>
              <a:gd name="T12" fmla="*/ 70 w 842"/>
              <a:gd name="T13" fmla="*/ 539 h 571"/>
              <a:gd name="T14" fmla="*/ 54 w 842"/>
              <a:gd name="T15" fmla="*/ 531 h 571"/>
              <a:gd name="T16" fmla="*/ 43 w 842"/>
              <a:gd name="T17" fmla="*/ 520 h 571"/>
              <a:gd name="T18" fmla="*/ 34 w 842"/>
              <a:gd name="T19" fmla="*/ 505 h 571"/>
              <a:gd name="T20" fmla="*/ 31 w 842"/>
              <a:gd name="T21" fmla="*/ 488 h 571"/>
              <a:gd name="T22" fmla="*/ 31 w 842"/>
              <a:gd name="T23" fmla="*/ 80 h 571"/>
              <a:gd name="T24" fmla="*/ 38 w 842"/>
              <a:gd name="T25" fmla="*/ 58 h 571"/>
              <a:gd name="T26" fmla="*/ 436 w 842"/>
              <a:gd name="T27" fmla="*/ 346 h 571"/>
              <a:gd name="T28" fmla="*/ 805 w 842"/>
              <a:gd name="T29" fmla="*/ 58 h 571"/>
              <a:gd name="T30" fmla="*/ 812 w 842"/>
              <a:gd name="T31" fmla="*/ 81 h 571"/>
              <a:gd name="T32" fmla="*/ 752 w 842"/>
              <a:gd name="T33" fmla="*/ 30 h 571"/>
              <a:gd name="T34" fmla="*/ 776 w 842"/>
              <a:gd name="T35" fmla="*/ 34 h 571"/>
              <a:gd name="T36" fmla="*/ 61 w 842"/>
              <a:gd name="T37" fmla="*/ 36 h 571"/>
              <a:gd name="T38" fmla="*/ 82 w 842"/>
              <a:gd name="T39" fmla="*/ 30 h 571"/>
              <a:gd name="T40" fmla="*/ 752 w 842"/>
              <a:gd name="T41" fmla="*/ 0 h 571"/>
              <a:gd name="T42" fmla="*/ 72 w 842"/>
              <a:gd name="T43" fmla="*/ 1 h 571"/>
              <a:gd name="T44" fmla="*/ 46 w 842"/>
              <a:gd name="T45" fmla="*/ 9 h 571"/>
              <a:gd name="T46" fmla="*/ 25 w 842"/>
              <a:gd name="T47" fmla="*/ 24 h 571"/>
              <a:gd name="T48" fmla="*/ 10 w 842"/>
              <a:gd name="T49" fmla="*/ 46 h 571"/>
              <a:gd name="T50" fmla="*/ 2 w 842"/>
              <a:gd name="T51" fmla="*/ 70 h 571"/>
              <a:gd name="T52" fmla="*/ 0 w 842"/>
              <a:gd name="T53" fmla="*/ 481 h 571"/>
              <a:gd name="T54" fmla="*/ 4 w 842"/>
              <a:gd name="T55" fmla="*/ 508 h 571"/>
              <a:gd name="T56" fmla="*/ 15 w 842"/>
              <a:gd name="T57" fmla="*/ 533 h 571"/>
              <a:gd name="T58" fmla="*/ 31 w 842"/>
              <a:gd name="T59" fmla="*/ 551 h 571"/>
              <a:gd name="T60" fmla="*/ 53 w 842"/>
              <a:gd name="T61" fmla="*/ 565 h 571"/>
              <a:gd name="T62" fmla="*/ 78 w 842"/>
              <a:gd name="T63" fmla="*/ 571 h 571"/>
              <a:gd name="T64" fmla="*/ 762 w 842"/>
              <a:gd name="T65" fmla="*/ 571 h 571"/>
              <a:gd name="T66" fmla="*/ 788 w 842"/>
              <a:gd name="T67" fmla="*/ 564 h 571"/>
              <a:gd name="T68" fmla="*/ 809 w 842"/>
              <a:gd name="T69" fmla="*/ 551 h 571"/>
              <a:gd name="T70" fmla="*/ 827 w 842"/>
              <a:gd name="T71" fmla="*/ 531 h 571"/>
              <a:gd name="T72" fmla="*/ 838 w 842"/>
              <a:gd name="T73" fmla="*/ 508 h 571"/>
              <a:gd name="T74" fmla="*/ 842 w 842"/>
              <a:gd name="T75" fmla="*/ 481 h 571"/>
              <a:gd name="T76" fmla="*/ 841 w 842"/>
              <a:gd name="T77" fmla="*/ 70 h 571"/>
              <a:gd name="T78" fmla="*/ 833 w 842"/>
              <a:gd name="T79" fmla="*/ 46 h 571"/>
              <a:gd name="T80" fmla="*/ 818 w 842"/>
              <a:gd name="T81" fmla="*/ 24 h 571"/>
              <a:gd name="T82" fmla="*/ 796 w 842"/>
              <a:gd name="T83" fmla="*/ 9 h 571"/>
              <a:gd name="T84" fmla="*/ 772 w 842"/>
              <a:gd name="T85" fmla="*/ 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2" h="571">
                <a:moveTo>
                  <a:pt x="812" y="481"/>
                </a:moveTo>
                <a:lnTo>
                  <a:pt x="812" y="488"/>
                </a:lnTo>
                <a:lnTo>
                  <a:pt x="811" y="493"/>
                </a:lnTo>
                <a:lnTo>
                  <a:pt x="810" y="499"/>
                </a:lnTo>
                <a:lnTo>
                  <a:pt x="808" y="505"/>
                </a:lnTo>
                <a:lnTo>
                  <a:pt x="805" y="510"/>
                </a:lnTo>
                <a:lnTo>
                  <a:pt x="803" y="514"/>
                </a:lnTo>
                <a:lnTo>
                  <a:pt x="798" y="520"/>
                </a:lnTo>
                <a:lnTo>
                  <a:pt x="795" y="524"/>
                </a:lnTo>
                <a:lnTo>
                  <a:pt x="791" y="527"/>
                </a:lnTo>
                <a:lnTo>
                  <a:pt x="787" y="531"/>
                </a:lnTo>
                <a:lnTo>
                  <a:pt x="781" y="534"/>
                </a:lnTo>
                <a:lnTo>
                  <a:pt x="776" y="537"/>
                </a:lnTo>
                <a:lnTo>
                  <a:pt x="771" y="538"/>
                </a:lnTo>
                <a:lnTo>
                  <a:pt x="764" y="540"/>
                </a:lnTo>
                <a:lnTo>
                  <a:pt x="759" y="541"/>
                </a:lnTo>
                <a:lnTo>
                  <a:pt x="752" y="541"/>
                </a:lnTo>
                <a:lnTo>
                  <a:pt x="88" y="541"/>
                </a:lnTo>
                <a:lnTo>
                  <a:pt x="81" y="541"/>
                </a:lnTo>
                <a:lnTo>
                  <a:pt x="76" y="540"/>
                </a:lnTo>
                <a:lnTo>
                  <a:pt x="70" y="539"/>
                </a:lnTo>
                <a:lnTo>
                  <a:pt x="65" y="537"/>
                </a:lnTo>
                <a:lnTo>
                  <a:pt x="60" y="535"/>
                </a:lnTo>
                <a:lnTo>
                  <a:pt x="54" y="531"/>
                </a:lnTo>
                <a:lnTo>
                  <a:pt x="50" y="528"/>
                </a:lnTo>
                <a:lnTo>
                  <a:pt x="47" y="524"/>
                </a:lnTo>
                <a:lnTo>
                  <a:pt x="43" y="520"/>
                </a:lnTo>
                <a:lnTo>
                  <a:pt x="39" y="515"/>
                </a:lnTo>
                <a:lnTo>
                  <a:pt x="37" y="510"/>
                </a:lnTo>
                <a:lnTo>
                  <a:pt x="34" y="505"/>
                </a:lnTo>
                <a:lnTo>
                  <a:pt x="33" y="499"/>
                </a:lnTo>
                <a:lnTo>
                  <a:pt x="31" y="494"/>
                </a:lnTo>
                <a:lnTo>
                  <a:pt x="31" y="488"/>
                </a:lnTo>
                <a:lnTo>
                  <a:pt x="30" y="481"/>
                </a:lnTo>
                <a:lnTo>
                  <a:pt x="30" y="90"/>
                </a:lnTo>
                <a:lnTo>
                  <a:pt x="31" y="80"/>
                </a:lnTo>
                <a:lnTo>
                  <a:pt x="32" y="72"/>
                </a:lnTo>
                <a:lnTo>
                  <a:pt x="35" y="64"/>
                </a:lnTo>
                <a:lnTo>
                  <a:pt x="38" y="58"/>
                </a:lnTo>
                <a:lnTo>
                  <a:pt x="427" y="343"/>
                </a:lnTo>
                <a:lnTo>
                  <a:pt x="432" y="345"/>
                </a:lnTo>
                <a:lnTo>
                  <a:pt x="436" y="346"/>
                </a:lnTo>
                <a:lnTo>
                  <a:pt x="441" y="345"/>
                </a:lnTo>
                <a:lnTo>
                  <a:pt x="446" y="342"/>
                </a:lnTo>
                <a:lnTo>
                  <a:pt x="805" y="58"/>
                </a:lnTo>
                <a:lnTo>
                  <a:pt x="808" y="65"/>
                </a:lnTo>
                <a:lnTo>
                  <a:pt x="810" y="73"/>
                </a:lnTo>
                <a:lnTo>
                  <a:pt x="812" y="81"/>
                </a:lnTo>
                <a:lnTo>
                  <a:pt x="812" y="90"/>
                </a:lnTo>
                <a:lnTo>
                  <a:pt x="812" y="481"/>
                </a:lnTo>
                <a:close/>
                <a:moveTo>
                  <a:pt x="752" y="30"/>
                </a:moveTo>
                <a:lnTo>
                  <a:pt x="761" y="30"/>
                </a:lnTo>
                <a:lnTo>
                  <a:pt x="768" y="32"/>
                </a:lnTo>
                <a:lnTo>
                  <a:pt x="776" y="34"/>
                </a:lnTo>
                <a:lnTo>
                  <a:pt x="782" y="36"/>
                </a:lnTo>
                <a:lnTo>
                  <a:pt x="436" y="312"/>
                </a:lnTo>
                <a:lnTo>
                  <a:pt x="61" y="36"/>
                </a:lnTo>
                <a:lnTo>
                  <a:pt x="67" y="33"/>
                </a:lnTo>
                <a:lnTo>
                  <a:pt x="75" y="31"/>
                </a:lnTo>
                <a:lnTo>
                  <a:pt x="82" y="30"/>
                </a:lnTo>
                <a:lnTo>
                  <a:pt x="91" y="30"/>
                </a:lnTo>
                <a:lnTo>
                  <a:pt x="752" y="30"/>
                </a:lnTo>
                <a:close/>
                <a:moveTo>
                  <a:pt x="752" y="0"/>
                </a:moveTo>
                <a:lnTo>
                  <a:pt x="91" y="0"/>
                </a:lnTo>
                <a:lnTo>
                  <a:pt x="80" y="0"/>
                </a:lnTo>
                <a:lnTo>
                  <a:pt x="72" y="1"/>
                </a:lnTo>
                <a:lnTo>
                  <a:pt x="62" y="3"/>
                </a:lnTo>
                <a:lnTo>
                  <a:pt x="53" y="6"/>
                </a:lnTo>
                <a:lnTo>
                  <a:pt x="46" y="9"/>
                </a:lnTo>
                <a:lnTo>
                  <a:pt x="38" y="14"/>
                </a:lnTo>
                <a:lnTo>
                  <a:pt x="32" y="19"/>
                </a:lnTo>
                <a:lnTo>
                  <a:pt x="25" y="24"/>
                </a:lnTo>
                <a:lnTo>
                  <a:pt x="20" y="31"/>
                </a:lnTo>
                <a:lnTo>
                  <a:pt x="15" y="38"/>
                </a:lnTo>
                <a:lnTo>
                  <a:pt x="10" y="46"/>
                </a:lnTo>
                <a:lnTo>
                  <a:pt x="7" y="53"/>
                </a:lnTo>
                <a:lnTo>
                  <a:pt x="4" y="62"/>
                </a:lnTo>
                <a:lnTo>
                  <a:pt x="2" y="70"/>
                </a:lnTo>
                <a:lnTo>
                  <a:pt x="1" y="80"/>
                </a:lnTo>
                <a:lnTo>
                  <a:pt x="0" y="90"/>
                </a:lnTo>
                <a:lnTo>
                  <a:pt x="0" y="481"/>
                </a:lnTo>
                <a:lnTo>
                  <a:pt x="1" y="491"/>
                </a:lnTo>
                <a:lnTo>
                  <a:pt x="2" y="499"/>
                </a:lnTo>
                <a:lnTo>
                  <a:pt x="4" y="508"/>
                </a:lnTo>
                <a:lnTo>
                  <a:pt x="7" y="516"/>
                </a:lnTo>
                <a:lnTo>
                  <a:pt x="10" y="525"/>
                </a:lnTo>
                <a:lnTo>
                  <a:pt x="15" y="533"/>
                </a:lnTo>
                <a:lnTo>
                  <a:pt x="20" y="539"/>
                </a:lnTo>
                <a:lnTo>
                  <a:pt x="25" y="545"/>
                </a:lnTo>
                <a:lnTo>
                  <a:pt x="31" y="551"/>
                </a:lnTo>
                <a:lnTo>
                  <a:pt x="38" y="556"/>
                </a:lnTo>
                <a:lnTo>
                  <a:pt x="45" y="560"/>
                </a:lnTo>
                <a:lnTo>
                  <a:pt x="53" y="565"/>
                </a:lnTo>
                <a:lnTo>
                  <a:pt x="61" y="567"/>
                </a:lnTo>
                <a:lnTo>
                  <a:pt x="69" y="569"/>
                </a:lnTo>
                <a:lnTo>
                  <a:pt x="78" y="571"/>
                </a:lnTo>
                <a:lnTo>
                  <a:pt x="88" y="571"/>
                </a:lnTo>
                <a:lnTo>
                  <a:pt x="752" y="571"/>
                </a:lnTo>
                <a:lnTo>
                  <a:pt x="762" y="571"/>
                </a:lnTo>
                <a:lnTo>
                  <a:pt x="771" y="569"/>
                </a:lnTo>
                <a:lnTo>
                  <a:pt x="779" y="567"/>
                </a:lnTo>
                <a:lnTo>
                  <a:pt x="788" y="564"/>
                </a:lnTo>
                <a:lnTo>
                  <a:pt x="795" y="560"/>
                </a:lnTo>
                <a:lnTo>
                  <a:pt x="803" y="556"/>
                </a:lnTo>
                <a:lnTo>
                  <a:pt x="809" y="551"/>
                </a:lnTo>
                <a:lnTo>
                  <a:pt x="816" y="544"/>
                </a:lnTo>
                <a:lnTo>
                  <a:pt x="822" y="538"/>
                </a:lnTo>
                <a:lnTo>
                  <a:pt x="827" y="531"/>
                </a:lnTo>
                <a:lnTo>
                  <a:pt x="832" y="524"/>
                </a:lnTo>
                <a:lnTo>
                  <a:pt x="836" y="516"/>
                </a:lnTo>
                <a:lnTo>
                  <a:pt x="838" y="508"/>
                </a:lnTo>
                <a:lnTo>
                  <a:pt x="840" y="499"/>
                </a:lnTo>
                <a:lnTo>
                  <a:pt x="842" y="490"/>
                </a:lnTo>
                <a:lnTo>
                  <a:pt x="842" y="481"/>
                </a:lnTo>
                <a:lnTo>
                  <a:pt x="842" y="90"/>
                </a:lnTo>
                <a:lnTo>
                  <a:pt x="842" y="80"/>
                </a:lnTo>
                <a:lnTo>
                  <a:pt x="841" y="70"/>
                </a:lnTo>
                <a:lnTo>
                  <a:pt x="839" y="62"/>
                </a:lnTo>
                <a:lnTo>
                  <a:pt x="836" y="53"/>
                </a:lnTo>
                <a:lnTo>
                  <a:pt x="833" y="46"/>
                </a:lnTo>
                <a:lnTo>
                  <a:pt x="828" y="38"/>
                </a:lnTo>
                <a:lnTo>
                  <a:pt x="823" y="31"/>
                </a:lnTo>
                <a:lnTo>
                  <a:pt x="818" y="24"/>
                </a:lnTo>
                <a:lnTo>
                  <a:pt x="811" y="19"/>
                </a:lnTo>
                <a:lnTo>
                  <a:pt x="804" y="14"/>
                </a:lnTo>
                <a:lnTo>
                  <a:pt x="796" y="9"/>
                </a:lnTo>
                <a:lnTo>
                  <a:pt x="789" y="6"/>
                </a:lnTo>
                <a:lnTo>
                  <a:pt x="780" y="3"/>
                </a:lnTo>
                <a:lnTo>
                  <a:pt x="772" y="1"/>
                </a:lnTo>
                <a:lnTo>
                  <a:pt x="762" y="0"/>
                </a:lnTo>
                <a:lnTo>
                  <a:pt x="752"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401" name="Group 85">
            <a:extLst>
              <a:ext uri="{FF2B5EF4-FFF2-40B4-BE49-F238E27FC236}">
                <a16:creationId xmlns:a16="http://schemas.microsoft.com/office/drawing/2014/main" id="{69B2650E-A4A6-42D1-83F2-B6E5DF39135C}"/>
              </a:ext>
            </a:extLst>
          </p:cNvPr>
          <p:cNvGrpSpPr>
            <a:grpSpLocks noChangeAspect="1"/>
          </p:cNvGrpSpPr>
          <p:nvPr/>
        </p:nvGrpSpPr>
        <p:grpSpPr>
          <a:xfrm>
            <a:off x="1467579" y="4879041"/>
            <a:ext cx="308144" cy="308144"/>
            <a:chOff x="4891088" y="2490788"/>
            <a:chExt cx="287338" cy="287338"/>
          </a:xfrm>
          <a:solidFill>
            <a:schemeClr val="bg1"/>
          </a:solidFill>
          <a:effectLst/>
        </p:grpSpPr>
        <p:sp>
          <p:nvSpPr>
            <p:cNvPr id="402" name="Freeform 14">
              <a:extLst>
                <a:ext uri="{FF2B5EF4-FFF2-40B4-BE49-F238E27FC236}">
                  <a16:creationId xmlns:a16="http://schemas.microsoft.com/office/drawing/2014/main" id="{28E67CDB-F4CC-4E96-B074-D8FB18B4D9EC}"/>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3" name="Freeform 15">
              <a:extLst>
                <a:ext uri="{FF2B5EF4-FFF2-40B4-BE49-F238E27FC236}">
                  <a16:creationId xmlns:a16="http://schemas.microsoft.com/office/drawing/2014/main" id="{EAB558BC-68EB-4E88-AAF5-371B67847032}"/>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4" name="Freeform 16">
              <a:extLst>
                <a:ext uri="{FF2B5EF4-FFF2-40B4-BE49-F238E27FC236}">
                  <a16:creationId xmlns:a16="http://schemas.microsoft.com/office/drawing/2014/main" id="{DDFD1824-3939-4256-8E4F-DAB20A029141}"/>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5" name="Freeform 17">
              <a:extLst>
                <a:ext uri="{FF2B5EF4-FFF2-40B4-BE49-F238E27FC236}">
                  <a16:creationId xmlns:a16="http://schemas.microsoft.com/office/drawing/2014/main" id="{3BB215C2-F46D-4C51-B04D-BB01A30C45DA}"/>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6" name="Freeform 18">
              <a:extLst>
                <a:ext uri="{FF2B5EF4-FFF2-40B4-BE49-F238E27FC236}">
                  <a16:creationId xmlns:a16="http://schemas.microsoft.com/office/drawing/2014/main" id="{C450286F-4FF2-480A-8DF8-009B612BE259}"/>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407" name="Freeform 19">
              <a:extLst>
                <a:ext uri="{FF2B5EF4-FFF2-40B4-BE49-F238E27FC236}">
                  <a16:creationId xmlns:a16="http://schemas.microsoft.com/office/drawing/2014/main" id="{5697689A-9F03-4B45-95E7-777667ECDDDA}"/>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830" name="Group 34">
            <a:extLst>
              <a:ext uri="{FF2B5EF4-FFF2-40B4-BE49-F238E27FC236}">
                <a16:creationId xmlns:a16="http://schemas.microsoft.com/office/drawing/2014/main" id="{79876AF9-1AB0-4BA7-B27A-5DC53CDBC20E}"/>
              </a:ext>
            </a:extLst>
          </p:cNvPr>
          <p:cNvGrpSpPr>
            <a:grpSpLocks noChangeAspect="1"/>
          </p:cNvGrpSpPr>
          <p:nvPr/>
        </p:nvGrpSpPr>
        <p:grpSpPr>
          <a:xfrm>
            <a:off x="1862148" y="4879041"/>
            <a:ext cx="349099" cy="308144"/>
            <a:chOff x="4318000" y="1955800"/>
            <a:chExt cx="284163" cy="250826"/>
          </a:xfrm>
          <a:solidFill>
            <a:schemeClr val="bg1"/>
          </a:solidFill>
        </p:grpSpPr>
        <p:sp>
          <p:nvSpPr>
            <p:cNvPr id="831" name="Freeform 85">
              <a:extLst>
                <a:ext uri="{FF2B5EF4-FFF2-40B4-BE49-F238E27FC236}">
                  <a16:creationId xmlns:a16="http://schemas.microsoft.com/office/drawing/2014/main" id="{ADFD4000-B1AC-467B-9066-5D16632E9815}"/>
                </a:ext>
              </a:extLst>
            </p:cNvPr>
            <p:cNvSpPr>
              <a:spLocks noEditPoints="1"/>
            </p:cNvSpPr>
            <p:nvPr/>
          </p:nvSpPr>
          <p:spPr bwMode="auto">
            <a:xfrm>
              <a:off x="4318000" y="1955800"/>
              <a:ext cx="258763" cy="173038"/>
            </a:xfrm>
            <a:custGeom>
              <a:avLst/>
              <a:gdLst>
                <a:gd name="T0" fmla="*/ 55 w 813"/>
                <a:gd name="T1" fmla="*/ 30 h 542"/>
                <a:gd name="T2" fmla="*/ 61 w 813"/>
                <a:gd name="T3" fmla="*/ 30 h 542"/>
                <a:gd name="T4" fmla="*/ 756 w 813"/>
                <a:gd name="T5" fmla="*/ 30 h 542"/>
                <a:gd name="T6" fmla="*/ 414 w 813"/>
                <a:gd name="T7" fmla="*/ 311 h 542"/>
                <a:gd name="T8" fmla="*/ 783 w 813"/>
                <a:gd name="T9" fmla="*/ 240 h 542"/>
                <a:gd name="T10" fmla="*/ 784 w 813"/>
                <a:gd name="T11" fmla="*/ 246 h 542"/>
                <a:gd name="T12" fmla="*/ 787 w 813"/>
                <a:gd name="T13" fmla="*/ 251 h 542"/>
                <a:gd name="T14" fmla="*/ 792 w 813"/>
                <a:gd name="T15" fmla="*/ 254 h 542"/>
                <a:gd name="T16" fmla="*/ 798 w 813"/>
                <a:gd name="T17" fmla="*/ 255 h 542"/>
                <a:gd name="T18" fmla="*/ 804 w 813"/>
                <a:gd name="T19" fmla="*/ 254 h 542"/>
                <a:gd name="T20" fmla="*/ 809 w 813"/>
                <a:gd name="T21" fmla="*/ 251 h 542"/>
                <a:gd name="T22" fmla="*/ 812 w 813"/>
                <a:gd name="T23" fmla="*/ 247 h 542"/>
                <a:gd name="T24" fmla="*/ 813 w 813"/>
                <a:gd name="T25" fmla="*/ 240 h 542"/>
                <a:gd name="T26" fmla="*/ 813 w 813"/>
                <a:gd name="T27" fmla="*/ 67 h 542"/>
                <a:gd name="T28" fmla="*/ 811 w 813"/>
                <a:gd name="T29" fmla="*/ 52 h 542"/>
                <a:gd name="T30" fmla="*/ 806 w 813"/>
                <a:gd name="T31" fmla="*/ 38 h 542"/>
                <a:gd name="T32" fmla="*/ 800 w 813"/>
                <a:gd name="T33" fmla="*/ 26 h 542"/>
                <a:gd name="T34" fmla="*/ 792 w 813"/>
                <a:gd name="T35" fmla="*/ 16 h 542"/>
                <a:gd name="T36" fmla="*/ 783 w 813"/>
                <a:gd name="T37" fmla="*/ 8 h 542"/>
                <a:gd name="T38" fmla="*/ 772 w 813"/>
                <a:gd name="T39" fmla="*/ 2 h 542"/>
                <a:gd name="T40" fmla="*/ 759 w 813"/>
                <a:gd name="T41" fmla="*/ 0 h 542"/>
                <a:gd name="T42" fmla="*/ 61 w 813"/>
                <a:gd name="T43" fmla="*/ 0 h 542"/>
                <a:gd name="T44" fmla="*/ 48 w 813"/>
                <a:gd name="T45" fmla="*/ 1 h 542"/>
                <a:gd name="T46" fmla="*/ 37 w 813"/>
                <a:gd name="T47" fmla="*/ 6 h 542"/>
                <a:gd name="T48" fmla="*/ 26 w 813"/>
                <a:gd name="T49" fmla="*/ 12 h 542"/>
                <a:gd name="T50" fmla="*/ 17 w 813"/>
                <a:gd name="T51" fmla="*/ 21 h 542"/>
                <a:gd name="T52" fmla="*/ 10 w 813"/>
                <a:gd name="T53" fmla="*/ 31 h 542"/>
                <a:gd name="T54" fmla="*/ 5 w 813"/>
                <a:gd name="T55" fmla="*/ 44 h 542"/>
                <a:gd name="T56" fmla="*/ 1 w 813"/>
                <a:gd name="T57" fmla="*/ 59 h 542"/>
                <a:gd name="T58" fmla="*/ 0 w 813"/>
                <a:gd name="T59" fmla="*/ 75 h 542"/>
                <a:gd name="T60" fmla="*/ 1 w 813"/>
                <a:gd name="T61" fmla="*/ 474 h 542"/>
                <a:gd name="T62" fmla="*/ 3 w 813"/>
                <a:gd name="T63" fmla="*/ 490 h 542"/>
                <a:gd name="T64" fmla="*/ 8 w 813"/>
                <a:gd name="T65" fmla="*/ 503 h 542"/>
                <a:gd name="T66" fmla="*/ 13 w 813"/>
                <a:gd name="T67" fmla="*/ 516 h 542"/>
                <a:gd name="T68" fmla="*/ 22 w 813"/>
                <a:gd name="T69" fmla="*/ 526 h 542"/>
                <a:gd name="T70" fmla="*/ 31 w 813"/>
                <a:gd name="T71" fmla="*/ 533 h 542"/>
                <a:gd name="T72" fmla="*/ 42 w 813"/>
                <a:gd name="T73" fmla="*/ 538 h 542"/>
                <a:gd name="T74" fmla="*/ 54 w 813"/>
                <a:gd name="T75" fmla="*/ 541 h 542"/>
                <a:gd name="T76" fmla="*/ 376 w 813"/>
                <a:gd name="T77" fmla="*/ 542 h 542"/>
                <a:gd name="T78" fmla="*/ 383 w 813"/>
                <a:gd name="T79" fmla="*/ 541 h 542"/>
                <a:gd name="T80" fmla="*/ 387 w 813"/>
                <a:gd name="T81" fmla="*/ 537 h 542"/>
                <a:gd name="T82" fmla="*/ 390 w 813"/>
                <a:gd name="T83" fmla="*/ 532 h 542"/>
                <a:gd name="T84" fmla="*/ 391 w 813"/>
                <a:gd name="T85" fmla="*/ 527 h 542"/>
                <a:gd name="T86" fmla="*/ 390 w 813"/>
                <a:gd name="T87" fmla="*/ 520 h 542"/>
                <a:gd name="T88" fmla="*/ 387 w 813"/>
                <a:gd name="T89" fmla="*/ 516 h 542"/>
                <a:gd name="T90" fmla="*/ 383 w 813"/>
                <a:gd name="T91" fmla="*/ 513 h 542"/>
                <a:gd name="T92" fmla="*/ 376 w 813"/>
                <a:gd name="T93" fmla="*/ 512 h 542"/>
                <a:gd name="T94" fmla="*/ 56 w 813"/>
                <a:gd name="T95" fmla="*/ 511 h 542"/>
                <a:gd name="T96" fmla="*/ 47 w 813"/>
                <a:gd name="T97" fmla="*/ 508 h 542"/>
                <a:gd name="T98" fmla="*/ 39 w 813"/>
                <a:gd name="T99" fmla="*/ 500 h 542"/>
                <a:gd name="T100" fmla="*/ 33 w 813"/>
                <a:gd name="T101" fmla="*/ 485 h 542"/>
                <a:gd name="T102" fmla="*/ 31 w 813"/>
                <a:gd name="T103" fmla="*/ 471 h 542"/>
                <a:gd name="T104" fmla="*/ 31 w 813"/>
                <a:gd name="T105" fmla="*/ 75 h 542"/>
                <a:gd name="T106" fmla="*/ 33 w 813"/>
                <a:gd name="T107" fmla="*/ 53 h 542"/>
                <a:gd name="T108" fmla="*/ 410 w 813"/>
                <a:gd name="T109" fmla="*/ 345 h 542"/>
                <a:gd name="T110" fmla="*/ 419 w 813"/>
                <a:gd name="T111" fmla="*/ 344 h 542"/>
                <a:gd name="T112" fmla="*/ 780 w 813"/>
                <a:gd name="T113" fmla="*/ 53 h 542"/>
                <a:gd name="T114" fmla="*/ 783 w 813"/>
                <a:gd name="T115" fmla="*/ 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3" h="542">
                  <a:moveTo>
                    <a:pt x="414" y="311"/>
                  </a:moveTo>
                  <a:lnTo>
                    <a:pt x="55" y="30"/>
                  </a:lnTo>
                  <a:lnTo>
                    <a:pt x="58" y="30"/>
                  </a:lnTo>
                  <a:lnTo>
                    <a:pt x="61" y="30"/>
                  </a:lnTo>
                  <a:lnTo>
                    <a:pt x="753" y="30"/>
                  </a:lnTo>
                  <a:lnTo>
                    <a:pt x="756" y="30"/>
                  </a:lnTo>
                  <a:lnTo>
                    <a:pt x="759" y="31"/>
                  </a:lnTo>
                  <a:lnTo>
                    <a:pt x="414" y="311"/>
                  </a:lnTo>
                  <a:close/>
                  <a:moveTo>
                    <a:pt x="783" y="75"/>
                  </a:moveTo>
                  <a:lnTo>
                    <a:pt x="783" y="240"/>
                  </a:lnTo>
                  <a:lnTo>
                    <a:pt x="783" y="244"/>
                  </a:lnTo>
                  <a:lnTo>
                    <a:pt x="784" y="246"/>
                  </a:lnTo>
                  <a:lnTo>
                    <a:pt x="786" y="249"/>
                  </a:lnTo>
                  <a:lnTo>
                    <a:pt x="787" y="251"/>
                  </a:lnTo>
                  <a:lnTo>
                    <a:pt x="789" y="253"/>
                  </a:lnTo>
                  <a:lnTo>
                    <a:pt x="792" y="254"/>
                  </a:lnTo>
                  <a:lnTo>
                    <a:pt x="795" y="255"/>
                  </a:lnTo>
                  <a:lnTo>
                    <a:pt x="798" y="255"/>
                  </a:lnTo>
                  <a:lnTo>
                    <a:pt x="801" y="255"/>
                  </a:lnTo>
                  <a:lnTo>
                    <a:pt x="804" y="254"/>
                  </a:lnTo>
                  <a:lnTo>
                    <a:pt x="806" y="253"/>
                  </a:lnTo>
                  <a:lnTo>
                    <a:pt x="809" y="251"/>
                  </a:lnTo>
                  <a:lnTo>
                    <a:pt x="811" y="249"/>
                  </a:lnTo>
                  <a:lnTo>
                    <a:pt x="812" y="247"/>
                  </a:lnTo>
                  <a:lnTo>
                    <a:pt x="813" y="244"/>
                  </a:lnTo>
                  <a:lnTo>
                    <a:pt x="813" y="240"/>
                  </a:lnTo>
                  <a:lnTo>
                    <a:pt x="813" y="75"/>
                  </a:lnTo>
                  <a:lnTo>
                    <a:pt x="813" y="67"/>
                  </a:lnTo>
                  <a:lnTo>
                    <a:pt x="812" y="59"/>
                  </a:lnTo>
                  <a:lnTo>
                    <a:pt x="811" y="52"/>
                  </a:lnTo>
                  <a:lnTo>
                    <a:pt x="809" y="44"/>
                  </a:lnTo>
                  <a:lnTo>
                    <a:pt x="806" y="38"/>
                  </a:lnTo>
                  <a:lnTo>
                    <a:pt x="803" y="31"/>
                  </a:lnTo>
                  <a:lnTo>
                    <a:pt x="800" y="26"/>
                  </a:lnTo>
                  <a:lnTo>
                    <a:pt x="797" y="21"/>
                  </a:lnTo>
                  <a:lnTo>
                    <a:pt x="792" y="16"/>
                  </a:lnTo>
                  <a:lnTo>
                    <a:pt x="788" y="12"/>
                  </a:lnTo>
                  <a:lnTo>
                    <a:pt x="783" y="8"/>
                  </a:lnTo>
                  <a:lnTo>
                    <a:pt x="777" y="6"/>
                  </a:lnTo>
                  <a:lnTo>
                    <a:pt x="772" y="2"/>
                  </a:lnTo>
                  <a:lnTo>
                    <a:pt x="766" y="1"/>
                  </a:lnTo>
                  <a:lnTo>
                    <a:pt x="759" y="0"/>
                  </a:lnTo>
                  <a:lnTo>
                    <a:pt x="753" y="0"/>
                  </a:lnTo>
                  <a:lnTo>
                    <a:pt x="61" y="0"/>
                  </a:lnTo>
                  <a:lnTo>
                    <a:pt x="54" y="0"/>
                  </a:lnTo>
                  <a:lnTo>
                    <a:pt x="48" y="1"/>
                  </a:lnTo>
                  <a:lnTo>
                    <a:pt x="42" y="2"/>
                  </a:lnTo>
                  <a:lnTo>
                    <a:pt x="37" y="6"/>
                  </a:lnTo>
                  <a:lnTo>
                    <a:pt x="31" y="8"/>
                  </a:lnTo>
                  <a:lnTo>
                    <a:pt x="26" y="12"/>
                  </a:lnTo>
                  <a:lnTo>
                    <a:pt x="22" y="16"/>
                  </a:lnTo>
                  <a:lnTo>
                    <a:pt x="17" y="21"/>
                  </a:lnTo>
                  <a:lnTo>
                    <a:pt x="13" y="26"/>
                  </a:lnTo>
                  <a:lnTo>
                    <a:pt x="10" y="31"/>
                  </a:lnTo>
                  <a:lnTo>
                    <a:pt x="8" y="38"/>
                  </a:lnTo>
                  <a:lnTo>
                    <a:pt x="5" y="44"/>
                  </a:lnTo>
                  <a:lnTo>
                    <a:pt x="3" y="52"/>
                  </a:lnTo>
                  <a:lnTo>
                    <a:pt x="1" y="59"/>
                  </a:lnTo>
                  <a:lnTo>
                    <a:pt x="1" y="67"/>
                  </a:lnTo>
                  <a:lnTo>
                    <a:pt x="0" y="75"/>
                  </a:lnTo>
                  <a:lnTo>
                    <a:pt x="0" y="467"/>
                  </a:lnTo>
                  <a:lnTo>
                    <a:pt x="1" y="474"/>
                  </a:lnTo>
                  <a:lnTo>
                    <a:pt x="1" y="483"/>
                  </a:lnTo>
                  <a:lnTo>
                    <a:pt x="3" y="490"/>
                  </a:lnTo>
                  <a:lnTo>
                    <a:pt x="5" y="497"/>
                  </a:lnTo>
                  <a:lnTo>
                    <a:pt x="8" y="503"/>
                  </a:lnTo>
                  <a:lnTo>
                    <a:pt x="10" y="510"/>
                  </a:lnTo>
                  <a:lnTo>
                    <a:pt x="13" y="516"/>
                  </a:lnTo>
                  <a:lnTo>
                    <a:pt x="17" y="520"/>
                  </a:lnTo>
                  <a:lnTo>
                    <a:pt x="22" y="526"/>
                  </a:lnTo>
                  <a:lnTo>
                    <a:pt x="26" y="530"/>
                  </a:lnTo>
                  <a:lnTo>
                    <a:pt x="31" y="533"/>
                  </a:lnTo>
                  <a:lnTo>
                    <a:pt x="37" y="536"/>
                  </a:lnTo>
                  <a:lnTo>
                    <a:pt x="42" y="538"/>
                  </a:lnTo>
                  <a:lnTo>
                    <a:pt x="48" y="540"/>
                  </a:lnTo>
                  <a:lnTo>
                    <a:pt x="54" y="541"/>
                  </a:lnTo>
                  <a:lnTo>
                    <a:pt x="61" y="542"/>
                  </a:lnTo>
                  <a:lnTo>
                    <a:pt x="376" y="542"/>
                  </a:lnTo>
                  <a:lnTo>
                    <a:pt x="380" y="541"/>
                  </a:lnTo>
                  <a:lnTo>
                    <a:pt x="383" y="541"/>
                  </a:lnTo>
                  <a:lnTo>
                    <a:pt x="385" y="538"/>
                  </a:lnTo>
                  <a:lnTo>
                    <a:pt x="387" y="537"/>
                  </a:lnTo>
                  <a:lnTo>
                    <a:pt x="389" y="535"/>
                  </a:lnTo>
                  <a:lnTo>
                    <a:pt x="390" y="532"/>
                  </a:lnTo>
                  <a:lnTo>
                    <a:pt x="391" y="530"/>
                  </a:lnTo>
                  <a:lnTo>
                    <a:pt x="391" y="527"/>
                  </a:lnTo>
                  <a:lnTo>
                    <a:pt x="391" y="523"/>
                  </a:lnTo>
                  <a:lnTo>
                    <a:pt x="390" y="520"/>
                  </a:lnTo>
                  <a:lnTo>
                    <a:pt x="389" y="518"/>
                  </a:lnTo>
                  <a:lnTo>
                    <a:pt x="387" y="516"/>
                  </a:lnTo>
                  <a:lnTo>
                    <a:pt x="385" y="514"/>
                  </a:lnTo>
                  <a:lnTo>
                    <a:pt x="383" y="513"/>
                  </a:lnTo>
                  <a:lnTo>
                    <a:pt x="380" y="512"/>
                  </a:lnTo>
                  <a:lnTo>
                    <a:pt x="376" y="512"/>
                  </a:lnTo>
                  <a:lnTo>
                    <a:pt x="61" y="512"/>
                  </a:lnTo>
                  <a:lnTo>
                    <a:pt x="56" y="511"/>
                  </a:lnTo>
                  <a:lnTo>
                    <a:pt x="52" y="510"/>
                  </a:lnTo>
                  <a:lnTo>
                    <a:pt x="47" y="508"/>
                  </a:lnTo>
                  <a:lnTo>
                    <a:pt x="44" y="505"/>
                  </a:lnTo>
                  <a:lnTo>
                    <a:pt x="39" y="500"/>
                  </a:lnTo>
                  <a:lnTo>
                    <a:pt x="35" y="492"/>
                  </a:lnTo>
                  <a:lnTo>
                    <a:pt x="33" y="485"/>
                  </a:lnTo>
                  <a:lnTo>
                    <a:pt x="31" y="477"/>
                  </a:lnTo>
                  <a:lnTo>
                    <a:pt x="31" y="471"/>
                  </a:lnTo>
                  <a:lnTo>
                    <a:pt x="31" y="467"/>
                  </a:lnTo>
                  <a:lnTo>
                    <a:pt x="31" y="75"/>
                  </a:lnTo>
                  <a:lnTo>
                    <a:pt x="31" y="66"/>
                  </a:lnTo>
                  <a:lnTo>
                    <a:pt x="33" y="53"/>
                  </a:lnTo>
                  <a:lnTo>
                    <a:pt x="404" y="342"/>
                  </a:lnTo>
                  <a:lnTo>
                    <a:pt x="410" y="345"/>
                  </a:lnTo>
                  <a:lnTo>
                    <a:pt x="414" y="345"/>
                  </a:lnTo>
                  <a:lnTo>
                    <a:pt x="419" y="344"/>
                  </a:lnTo>
                  <a:lnTo>
                    <a:pt x="424" y="342"/>
                  </a:lnTo>
                  <a:lnTo>
                    <a:pt x="780" y="53"/>
                  </a:lnTo>
                  <a:lnTo>
                    <a:pt x="783" y="66"/>
                  </a:lnTo>
                  <a:lnTo>
                    <a:pt x="783"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2" name="Freeform 86">
              <a:extLst>
                <a:ext uri="{FF2B5EF4-FFF2-40B4-BE49-F238E27FC236}">
                  <a16:creationId xmlns:a16="http://schemas.microsoft.com/office/drawing/2014/main" id="{400F4489-B180-46D9-8BAF-14869D6C4DF2}"/>
                </a:ext>
              </a:extLst>
            </p:cNvPr>
            <p:cNvSpPr>
              <a:spLocks/>
            </p:cNvSpPr>
            <p:nvPr/>
          </p:nvSpPr>
          <p:spPr bwMode="auto">
            <a:xfrm>
              <a:off x="4487863" y="2085975"/>
              <a:ext cx="107950" cy="60325"/>
            </a:xfrm>
            <a:custGeom>
              <a:avLst/>
              <a:gdLst>
                <a:gd name="T0" fmla="*/ 196 w 341"/>
                <a:gd name="T1" fmla="*/ 36 h 191"/>
                <a:gd name="T2" fmla="*/ 215 w 341"/>
                <a:gd name="T3" fmla="*/ 39 h 191"/>
                <a:gd name="T4" fmla="*/ 233 w 341"/>
                <a:gd name="T5" fmla="*/ 45 h 191"/>
                <a:gd name="T6" fmla="*/ 249 w 341"/>
                <a:gd name="T7" fmla="*/ 53 h 191"/>
                <a:gd name="T8" fmla="*/ 269 w 341"/>
                <a:gd name="T9" fmla="*/ 68 h 191"/>
                <a:gd name="T10" fmla="*/ 292 w 341"/>
                <a:gd name="T11" fmla="*/ 92 h 191"/>
                <a:gd name="T12" fmla="*/ 236 w 341"/>
                <a:gd name="T13" fmla="*/ 106 h 191"/>
                <a:gd name="T14" fmla="*/ 230 w 341"/>
                <a:gd name="T15" fmla="*/ 107 h 191"/>
                <a:gd name="T16" fmla="*/ 225 w 341"/>
                <a:gd name="T17" fmla="*/ 110 h 191"/>
                <a:gd name="T18" fmla="*/ 222 w 341"/>
                <a:gd name="T19" fmla="*/ 114 h 191"/>
                <a:gd name="T20" fmla="*/ 221 w 341"/>
                <a:gd name="T21" fmla="*/ 121 h 191"/>
                <a:gd name="T22" fmla="*/ 222 w 341"/>
                <a:gd name="T23" fmla="*/ 126 h 191"/>
                <a:gd name="T24" fmla="*/ 225 w 341"/>
                <a:gd name="T25" fmla="*/ 131 h 191"/>
                <a:gd name="T26" fmla="*/ 230 w 341"/>
                <a:gd name="T27" fmla="*/ 135 h 191"/>
                <a:gd name="T28" fmla="*/ 236 w 341"/>
                <a:gd name="T29" fmla="*/ 136 h 191"/>
                <a:gd name="T30" fmla="*/ 341 w 341"/>
                <a:gd name="T31" fmla="*/ 15 h 191"/>
                <a:gd name="T32" fmla="*/ 340 w 341"/>
                <a:gd name="T33" fmla="*/ 9 h 191"/>
                <a:gd name="T34" fmla="*/ 337 w 341"/>
                <a:gd name="T35" fmla="*/ 5 h 191"/>
                <a:gd name="T36" fmla="*/ 332 w 341"/>
                <a:gd name="T37" fmla="*/ 2 h 191"/>
                <a:gd name="T38" fmla="*/ 326 w 341"/>
                <a:gd name="T39" fmla="*/ 0 h 191"/>
                <a:gd name="T40" fmla="*/ 320 w 341"/>
                <a:gd name="T41" fmla="*/ 2 h 191"/>
                <a:gd name="T42" fmla="*/ 315 w 341"/>
                <a:gd name="T43" fmla="*/ 5 h 191"/>
                <a:gd name="T44" fmla="*/ 312 w 341"/>
                <a:gd name="T45" fmla="*/ 9 h 191"/>
                <a:gd name="T46" fmla="*/ 311 w 341"/>
                <a:gd name="T47" fmla="*/ 15 h 191"/>
                <a:gd name="T48" fmla="*/ 298 w 341"/>
                <a:gd name="T49" fmla="*/ 54 h 191"/>
                <a:gd name="T50" fmla="*/ 270 w 341"/>
                <a:gd name="T51" fmla="*/ 31 h 191"/>
                <a:gd name="T52" fmla="*/ 239 w 341"/>
                <a:gd name="T53" fmla="*/ 15 h 191"/>
                <a:gd name="T54" fmla="*/ 204 w 341"/>
                <a:gd name="T55" fmla="*/ 7 h 191"/>
                <a:gd name="T56" fmla="*/ 166 w 341"/>
                <a:gd name="T57" fmla="*/ 7 h 191"/>
                <a:gd name="T58" fmla="*/ 131 w 341"/>
                <a:gd name="T59" fmla="*/ 15 h 191"/>
                <a:gd name="T60" fmla="*/ 97 w 341"/>
                <a:gd name="T61" fmla="*/ 28 h 191"/>
                <a:gd name="T62" fmla="*/ 67 w 341"/>
                <a:gd name="T63" fmla="*/ 49 h 191"/>
                <a:gd name="T64" fmla="*/ 42 w 341"/>
                <a:gd name="T65" fmla="*/ 73 h 191"/>
                <a:gd name="T66" fmla="*/ 22 w 341"/>
                <a:gd name="T67" fmla="*/ 104 h 191"/>
                <a:gd name="T68" fmla="*/ 8 w 341"/>
                <a:gd name="T69" fmla="*/ 137 h 191"/>
                <a:gd name="T70" fmla="*/ 1 w 341"/>
                <a:gd name="T71" fmla="*/ 173 h 191"/>
                <a:gd name="T72" fmla="*/ 30 w 341"/>
                <a:gd name="T73" fmla="*/ 191 h 191"/>
                <a:gd name="T74" fmla="*/ 33 w 341"/>
                <a:gd name="T75" fmla="*/ 160 h 191"/>
                <a:gd name="T76" fmla="*/ 42 w 341"/>
                <a:gd name="T77" fmla="*/ 131 h 191"/>
                <a:gd name="T78" fmla="*/ 57 w 341"/>
                <a:gd name="T79" fmla="*/ 105 h 191"/>
                <a:gd name="T80" fmla="*/ 75 w 341"/>
                <a:gd name="T81" fmla="*/ 82 h 191"/>
                <a:gd name="T82" fmla="*/ 99 w 341"/>
                <a:gd name="T83" fmla="*/ 63 h 191"/>
                <a:gd name="T84" fmla="*/ 125 w 341"/>
                <a:gd name="T85" fmla="*/ 49 h 191"/>
                <a:gd name="T86" fmla="*/ 154 w 341"/>
                <a:gd name="T87" fmla="*/ 39 h 191"/>
                <a:gd name="T88" fmla="*/ 185 w 341"/>
                <a:gd name="T89" fmla="*/ 3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 h="191">
                  <a:moveTo>
                    <a:pt x="185" y="36"/>
                  </a:moveTo>
                  <a:lnTo>
                    <a:pt x="196" y="36"/>
                  </a:lnTo>
                  <a:lnTo>
                    <a:pt x="206" y="38"/>
                  </a:lnTo>
                  <a:lnTo>
                    <a:pt x="215" y="39"/>
                  </a:lnTo>
                  <a:lnTo>
                    <a:pt x="224" y="42"/>
                  </a:lnTo>
                  <a:lnTo>
                    <a:pt x="233" y="45"/>
                  </a:lnTo>
                  <a:lnTo>
                    <a:pt x="240" y="49"/>
                  </a:lnTo>
                  <a:lnTo>
                    <a:pt x="249" y="53"/>
                  </a:lnTo>
                  <a:lnTo>
                    <a:pt x="255" y="57"/>
                  </a:lnTo>
                  <a:lnTo>
                    <a:pt x="269" y="68"/>
                  </a:lnTo>
                  <a:lnTo>
                    <a:pt x="281" y="80"/>
                  </a:lnTo>
                  <a:lnTo>
                    <a:pt x="292" y="92"/>
                  </a:lnTo>
                  <a:lnTo>
                    <a:pt x="300" y="106"/>
                  </a:lnTo>
                  <a:lnTo>
                    <a:pt x="236" y="106"/>
                  </a:lnTo>
                  <a:lnTo>
                    <a:pt x="233" y="106"/>
                  </a:lnTo>
                  <a:lnTo>
                    <a:pt x="230" y="107"/>
                  </a:lnTo>
                  <a:lnTo>
                    <a:pt x="227" y="108"/>
                  </a:lnTo>
                  <a:lnTo>
                    <a:pt x="225" y="110"/>
                  </a:lnTo>
                  <a:lnTo>
                    <a:pt x="223" y="112"/>
                  </a:lnTo>
                  <a:lnTo>
                    <a:pt x="222" y="114"/>
                  </a:lnTo>
                  <a:lnTo>
                    <a:pt x="221" y="117"/>
                  </a:lnTo>
                  <a:lnTo>
                    <a:pt x="221" y="121"/>
                  </a:lnTo>
                  <a:lnTo>
                    <a:pt x="221" y="123"/>
                  </a:lnTo>
                  <a:lnTo>
                    <a:pt x="222" y="126"/>
                  </a:lnTo>
                  <a:lnTo>
                    <a:pt x="223" y="128"/>
                  </a:lnTo>
                  <a:lnTo>
                    <a:pt x="225" y="131"/>
                  </a:lnTo>
                  <a:lnTo>
                    <a:pt x="227" y="132"/>
                  </a:lnTo>
                  <a:lnTo>
                    <a:pt x="230" y="135"/>
                  </a:lnTo>
                  <a:lnTo>
                    <a:pt x="233" y="135"/>
                  </a:lnTo>
                  <a:lnTo>
                    <a:pt x="236" y="136"/>
                  </a:lnTo>
                  <a:lnTo>
                    <a:pt x="341" y="136"/>
                  </a:lnTo>
                  <a:lnTo>
                    <a:pt x="341" y="15"/>
                  </a:lnTo>
                  <a:lnTo>
                    <a:pt x="341" y="12"/>
                  </a:lnTo>
                  <a:lnTo>
                    <a:pt x="340" y="9"/>
                  </a:lnTo>
                  <a:lnTo>
                    <a:pt x="339" y="7"/>
                  </a:lnTo>
                  <a:lnTo>
                    <a:pt x="337" y="5"/>
                  </a:lnTo>
                  <a:lnTo>
                    <a:pt x="334" y="3"/>
                  </a:lnTo>
                  <a:lnTo>
                    <a:pt x="332" y="2"/>
                  </a:lnTo>
                  <a:lnTo>
                    <a:pt x="329" y="1"/>
                  </a:lnTo>
                  <a:lnTo>
                    <a:pt x="326" y="0"/>
                  </a:lnTo>
                  <a:lnTo>
                    <a:pt x="323" y="1"/>
                  </a:lnTo>
                  <a:lnTo>
                    <a:pt x="320" y="2"/>
                  </a:lnTo>
                  <a:lnTo>
                    <a:pt x="317" y="3"/>
                  </a:lnTo>
                  <a:lnTo>
                    <a:pt x="315" y="5"/>
                  </a:lnTo>
                  <a:lnTo>
                    <a:pt x="314" y="7"/>
                  </a:lnTo>
                  <a:lnTo>
                    <a:pt x="312" y="9"/>
                  </a:lnTo>
                  <a:lnTo>
                    <a:pt x="312" y="12"/>
                  </a:lnTo>
                  <a:lnTo>
                    <a:pt x="311" y="15"/>
                  </a:lnTo>
                  <a:lnTo>
                    <a:pt x="311" y="68"/>
                  </a:lnTo>
                  <a:lnTo>
                    <a:pt x="298" y="54"/>
                  </a:lnTo>
                  <a:lnTo>
                    <a:pt x="285" y="41"/>
                  </a:lnTo>
                  <a:lnTo>
                    <a:pt x="270" y="31"/>
                  </a:lnTo>
                  <a:lnTo>
                    <a:pt x="255" y="22"/>
                  </a:lnTo>
                  <a:lnTo>
                    <a:pt x="239" y="15"/>
                  </a:lnTo>
                  <a:lnTo>
                    <a:pt x="222" y="10"/>
                  </a:lnTo>
                  <a:lnTo>
                    <a:pt x="204" y="7"/>
                  </a:lnTo>
                  <a:lnTo>
                    <a:pt x="185" y="6"/>
                  </a:lnTo>
                  <a:lnTo>
                    <a:pt x="166" y="7"/>
                  </a:lnTo>
                  <a:lnTo>
                    <a:pt x="148" y="10"/>
                  </a:lnTo>
                  <a:lnTo>
                    <a:pt x="131" y="15"/>
                  </a:lnTo>
                  <a:lnTo>
                    <a:pt x="114" y="21"/>
                  </a:lnTo>
                  <a:lnTo>
                    <a:pt x="97" y="28"/>
                  </a:lnTo>
                  <a:lnTo>
                    <a:pt x="81" y="38"/>
                  </a:lnTo>
                  <a:lnTo>
                    <a:pt x="67" y="49"/>
                  </a:lnTo>
                  <a:lnTo>
                    <a:pt x="55" y="61"/>
                  </a:lnTo>
                  <a:lnTo>
                    <a:pt x="42" y="73"/>
                  </a:lnTo>
                  <a:lnTo>
                    <a:pt x="31" y="88"/>
                  </a:lnTo>
                  <a:lnTo>
                    <a:pt x="22" y="104"/>
                  </a:lnTo>
                  <a:lnTo>
                    <a:pt x="14" y="120"/>
                  </a:lnTo>
                  <a:lnTo>
                    <a:pt x="8" y="137"/>
                  </a:lnTo>
                  <a:lnTo>
                    <a:pt x="3" y="154"/>
                  </a:lnTo>
                  <a:lnTo>
                    <a:pt x="1" y="173"/>
                  </a:lnTo>
                  <a:lnTo>
                    <a:pt x="0" y="191"/>
                  </a:lnTo>
                  <a:lnTo>
                    <a:pt x="30" y="191"/>
                  </a:lnTo>
                  <a:lnTo>
                    <a:pt x="31" y="175"/>
                  </a:lnTo>
                  <a:lnTo>
                    <a:pt x="33" y="160"/>
                  </a:lnTo>
                  <a:lnTo>
                    <a:pt x="36" y="145"/>
                  </a:lnTo>
                  <a:lnTo>
                    <a:pt x="42" y="131"/>
                  </a:lnTo>
                  <a:lnTo>
                    <a:pt x="48" y="117"/>
                  </a:lnTo>
                  <a:lnTo>
                    <a:pt x="57" y="105"/>
                  </a:lnTo>
                  <a:lnTo>
                    <a:pt x="65" y="93"/>
                  </a:lnTo>
                  <a:lnTo>
                    <a:pt x="75" y="82"/>
                  </a:lnTo>
                  <a:lnTo>
                    <a:pt x="87" y="71"/>
                  </a:lnTo>
                  <a:lnTo>
                    <a:pt x="99" y="63"/>
                  </a:lnTo>
                  <a:lnTo>
                    <a:pt x="111" y="55"/>
                  </a:lnTo>
                  <a:lnTo>
                    <a:pt x="125" y="49"/>
                  </a:lnTo>
                  <a:lnTo>
                    <a:pt x="139" y="43"/>
                  </a:lnTo>
                  <a:lnTo>
                    <a:pt x="154" y="39"/>
                  </a:lnTo>
                  <a:lnTo>
                    <a:pt x="169" y="37"/>
                  </a:lnTo>
                  <a:lnTo>
                    <a:pt x="18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3" name="Freeform 87">
              <a:extLst>
                <a:ext uri="{FF2B5EF4-FFF2-40B4-BE49-F238E27FC236}">
                  <a16:creationId xmlns:a16="http://schemas.microsoft.com/office/drawing/2014/main" id="{2D227058-A4EF-44A4-A026-B5D5642033D9}"/>
                </a:ext>
              </a:extLst>
            </p:cNvPr>
            <p:cNvSpPr>
              <a:spLocks/>
            </p:cNvSpPr>
            <p:nvPr/>
          </p:nvSpPr>
          <p:spPr bwMode="auto">
            <a:xfrm>
              <a:off x="4491038" y="2147888"/>
              <a:ext cx="111125" cy="58738"/>
            </a:xfrm>
            <a:custGeom>
              <a:avLst/>
              <a:gdLst>
                <a:gd name="T0" fmla="*/ 322 w 353"/>
                <a:gd name="T1" fmla="*/ 16 h 185"/>
                <a:gd name="T2" fmla="*/ 316 w 353"/>
                <a:gd name="T3" fmla="*/ 46 h 185"/>
                <a:gd name="T4" fmla="*/ 304 w 353"/>
                <a:gd name="T5" fmla="*/ 74 h 185"/>
                <a:gd name="T6" fmla="*/ 287 w 353"/>
                <a:gd name="T7" fmla="*/ 98 h 185"/>
                <a:gd name="T8" fmla="*/ 267 w 353"/>
                <a:gd name="T9" fmla="*/ 120 h 185"/>
                <a:gd name="T10" fmla="*/ 241 w 353"/>
                <a:gd name="T11" fmla="*/ 137 h 185"/>
                <a:gd name="T12" fmla="*/ 213 w 353"/>
                <a:gd name="T13" fmla="*/ 149 h 185"/>
                <a:gd name="T14" fmla="*/ 183 w 353"/>
                <a:gd name="T15" fmla="*/ 155 h 185"/>
                <a:gd name="T16" fmla="*/ 157 w 353"/>
                <a:gd name="T17" fmla="*/ 155 h 185"/>
                <a:gd name="T18" fmla="*/ 139 w 353"/>
                <a:gd name="T19" fmla="*/ 153 h 185"/>
                <a:gd name="T20" fmla="*/ 121 w 353"/>
                <a:gd name="T21" fmla="*/ 149 h 185"/>
                <a:gd name="T22" fmla="*/ 104 w 353"/>
                <a:gd name="T23" fmla="*/ 142 h 185"/>
                <a:gd name="T24" fmla="*/ 88 w 353"/>
                <a:gd name="T25" fmla="*/ 134 h 185"/>
                <a:gd name="T26" fmla="*/ 73 w 353"/>
                <a:gd name="T27" fmla="*/ 124 h 185"/>
                <a:gd name="T28" fmla="*/ 59 w 353"/>
                <a:gd name="T29" fmla="*/ 112 h 185"/>
                <a:gd name="T30" fmla="*/ 47 w 353"/>
                <a:gd name="T31" fmla="*/ 98 h 185"/>
                <a:gd name="T32" fmla="*/ 105 w 353"/>
                <a:gd name="T33" fmla="*/ 91 h 185"/>
                <a:gd name="T34" fmla="*/ 110 w 353"/>
                <a:gd name="T35" fmla="*/ 90 h 185"/>
                <a:gd name="T36" fmla="*/ 115 w 353"/>
                <a:gd name="T37" fmla="*/ 86 h 185"/>
                <a:gd name="T38" fmla="*/ 119 w 353"/>
                <a:gd name="T39" fmla="*/ 81 h 185"/>
                <a:gd name="T40" fmla="*/ 120 w 353"/>
                <a:gd name="T41" fmla="*/ 76 h 185"/>
                <a:gd name="T42" fmla="*/ 119 w 353"/>
                <a:gd name="T43" fmla="*/ 70 h 185"/>
                <a:gd name="T44" fmla="*/ 115 w 353"/>
                <a:gd name="T45" fmla="*/ 65 h 185"/>
                <a:gd name="T46" fmla="*/ 110 w 353"/>
                <a:gd name="T47" fmla="*/ 62 h 185"/>
                <a:gd name="T48" fmla="*/ 105 w 353"/>
                <a:gd name="T49" fmla="*/ 61 h 185"/>
                <a:gd name="T50" fmla="*/ 0 w 353"/>
                <a:gd name="T51" fmla="*/ 151 h 185"/>
                <a:gd name="T52" fmla="*/ 1 w 353"/>
                <a:gd name="T53" fmla="*/ 157 h 185"/>
                <a:gd name="T54" fmla="*/ 4 w 353"/>
                <a:gd name="T55" fmla="*/ 162 h 185"/>
                <a:gd name="T56" fmla="*/ 8 w 353"/>
                <a:gd name="T57" fmla="*/ 165 h 185"/>
                <a:gd name="T58" fmla="*/ 15 w 353"/>
                <a:gd name="T59" fmla="*/ 166 h 185"/>
                <a:gd name="T60" fmla="*/ 20 w 353"/>
                <a:gd name="T61" fmla="*/ 165 h 185"/>
                <a:gd name="T62" fmla="*/ 25 w 353"/>
                <a:gd name="T63" fmla="*/ 162 h 185"/>
                <a:gd name="T64" fmla="*/ 29 w 353"/>
                <a:gd name="T65" fmla="*/ 157 h 185"/>
                <a:gd name="T66" fmla="*/ 30 w 353"/>
                <a:gd name="T67" fmla="*/ 151 h 185"/>
                <a:gd name="T68" fmla="*/ 43 w 353"/>
                <a:gd name="T69" fmla="*/ 138 h 185"/>
                <a:gd name="T70" fmla="*/ 74 w 353"/>
                <a:gd name="T71" fmla="*/ 160 h 185"/>
                <a:gd name="T72" fmla="*/ 109 w 353"/>
                <a:gd name="T73" fmla="*/ 177 h 185"/>
                <a:gd name="T74" fmla="*/ 148 w 353"/>
                <a:gd name="T75" fmla="*/ 184 h 185"/>
                <a:gd name="T76" fmla="*/ 186 w 353"/>
                <a:gd name="T77" fmla="*/ 185 h 185"/>
                <a:gd name="T78" fmla="*/ 223 w 353"/>
                <a:gd name="T79" fmla="*/ 178 h 185"/>
                <a:gd name="T80" fmla="*/ 256 w 353"/>
                <a:gd name="T81" fmla="*/ 164 h 185"/>
                <a:gd name="T82" fmla="*/ 285 w 353"/>
                <a:gd name="T83" fmla="*/ 143 h 185"/>
                <a:gd name="T84" fmla="*/ 311 w 353"/>
                <a:gd name="T85" fmla="*/ 118 h 185"/>
                <a:gd name="T86" fmla="*/ 331 w 353"/>
                <a:gd name="T87" fmla="*/ 89 h 185"/>
                <a:gd name="T88" fmla="*/ 345 w 353"/>
                <a:gd name="T89" fmla="*/ 55 h 185"/>
                <a:gd name="T90" fmla="*/ 352 w 353"/>
                <a:gd name="T91" fmla="*/ 19 h 185"/>
                <a:gd name="T92" fmla="*/ 323 w 353"/>
                <a:gd name="T9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185">
                  <a:moveTo>
                    <a:pt x="323" y="0"/>
                  </a:moveTo>
                  <a:lnTo>
                    <a:pt x="322" y="16"/>
                  </a:lnTo>
                  <a:lnTo>
                    <a:pt x="320" y="31"/>
                  </a:lnTo>
                  <a:lnTo>
                    <a:pt x="316" y="46"/>
                  </a:lnTo>
                  <a:lnTo>
                    <a:pt x="311" y="61"/>
                  </a:lnTo>
                  <a:lnTo>
                    <a:pt x="304" y="74"/>
                  </a:lnTo>
                  <a:lnTo>
                    <a:pt x="297" y="86"/>
                  </a:lnTo>
                  <a:lnTo>
                    <a:pt x="287" y="98"/>
                  </a:lnTo>
                  <a:lnTo>
                    <a:pt x="277" y="110"/>
                  </a:lnTo>
                  <a:lnTo>
                    <a:pt x="267" y="120"/>
                  </a:lnTo>
                  <a:lnTo>
                    <a:pt x="254" y="129"/>
                  </a:lnTo>
                  <a:lnTo>
                    <a:pt x="241" y="137"/>
                  </a:lnTo>
                  <a:lnTo>
                    <a:pt x="228" y="143"/>
                  </a:lnTo>
                  <a:lnTo>
                    <a:pt x="213" y="149"/>
                  </a:lnTo>
                  <a:lnTo>
                    <a:pt x="199" y="152"/>
                  </a:lnTo>
                  <a:lnTo>
                    <a:pt x="183" y="155"/>
                  </a:lnTo>
                  <a:lnTo>
                    <a:pt x="167" y="155"/>
                  </a:lnTo>
                  <a:lnTo>
                    <a:pt x="157" y="155"/>
                  </a:lnTo>
                  <a:lnTo>
                    <a:pt x="149" y="154"/>
                  </a:lnTo>
                  <a:lnTo>
                    <a:pt x="139" y="153"/>
                  </a:lnTo>
                  <a:lnTo>
                    <a:pt x="130" y="151"/>
                  </a:lnTo>
                  <a:lnTo>
                    <a:pt x="121" y="149"/>
                  </a:lnTo>
                  <a:lnTo>
                    <a:pt x="112" y="145"/>
                  </a:lnTo>
                  <a:lnTo>
                    <a:pt x="104" y="142"/>
                  </a:lnTo>
                  <a:lnTo>
                    <a:pt x="96" y="138"/>
                  </a:lnTo>
                  <a:lnTo>
                    <a:pt x="88" y="134"/>
                  </a:lnTo>
                  <a:lnTo>
                    <a:pt x="80" y="129"/>
                  </a:lnTo>
                  <a:lnTo>
                    <a:pt x="73" y="124"/>
                  </a:lnTo>
                  <a:lnTo>
                    <a:pt x="66" y="118"/>
                  </a:lnTo>
                  <a:lnTo>
                    <a:pt x="59" y="112"/>
                  </a:lnTo>
                  <a:lnTo>
                    <a:pt x="52" y="105"/>
                  </a:lnTo>
                  <a:lnTo>
                    <a:pt x="47" y="98"/>
                  </a:lnTo>
                  <a:lnTo>
                    <a:pt x="41" y="91"/>
                  </a:lnTo>
                  <a:lnTo>
                    <a:pt x="105" y="91"/>
                  </a:lnTo>
                  <a:lnTo>
                    <a:pt x="108" y="91"/>
                  </a:lnTo>
                  <a:lnTo>
                    <a:pt x="110" y="90"/>
                  </a:lnTo>
                  <a:lnTo>
                    <a:pt x="113" y="89"/>
                  </a:lnTo>
                  <a:lnTo>
                    <a:pt x="115" y="86"/>
                  </a:lnTo>
                  <a:lnTo>
                    <a:pt x="116" y="84"/>
                  </a:lnTo>
                  <a:lnTo>
                    <a:pt x="119" y="81"/>
                  </a:lnTo>
                  <a:lnTo>
                    <a:pt x="120" y="79"/>
                  </a:lnTo>
                  <a:lnTo>
                    <a:pt x="120" y="76"/>
                  </a:lnTo>
                  <a:lnTo>
                    <a:pt x="120" y="73"/>
                  </a:lnTo>
                  <a:lnTo>
                    <a:pt x="119" y="70"/>
                  </a:lnTo>
                  <a:lnTo>
                    <a:pt x="116" y="67"/>
                  </a:lnTo>
                  <a:lnTo>
                    <a:pt x="115" y="65"/>
                  </a:lnTo>
                  <a:lnTo>
                    <a:pt x="113" y="63"/>
                  </a:lnTo>
                  <a:lnTo>
                    <a:pt x="110" y="62"/>
                  </a:lnTo>
                  <a:lnTo>
                    <a:pt x="108" y="61"/>
                  </a:lnTo>
                  <a:lnTo>
                    <a:pt x="105" y="61"/>
                  </a:lnTo>
                  <a:lnTo>
                    <a:pt x="0" y="61"/>
                  </a:lnTo>
                  <a:lnTo>
                    <a:pt x="0" y="151"/>
                  </a:lnTo>
                  <a:lnTo>
                    <a:pt x="0" y="154"/>
                  </a:lnTo>
                  <a:lnTo>
                    <a:pt x="1" y="157"/>
                  </a:lnTo>
                  <a:lnTo>
                    <a:pt x="2" y="159"/>
                  </a:lnTo>
                  <a:lnTo>
                    <a:pt x="4" y="162"/>
                  </a:lnTo>
                  <a:lnTo>
                    <a:pt x="6" y="164"/>
                  </a:lnTo>
                  <a:lnTo>
                    <a:pt x="8" y="165"/>
                  </a:lnTo>
                  <a:lnTo>
                    <a:pt x="11" y="166"/>
                  </a:lnTo>
                  <a:lnTo>
                    <a:pt x="15" y="166"/>
                  </a:lnTo>
                  <a:lnTo>
                    <a:pt x="17" y="166"/>
                  </a:lnTo>
                  <a:lnTo>
                    <a:pt x="20" y="165"/>
                  </a:lnTo>
                  <a:lnTo>
                    <a:pt x="22" y="164"/>
                  </a:lnTo>
                  <a:lnTo>
                    <a:pt x="25" y="162"/>
                  </a:lnTo>
                  <a:lnTo>
                    <a:pt x="26" y="159"/>
                  </a:lnTo>
                  <a:lnTo>
                    <a:pt x="29" y="157"/>
                  </a:lnTo>
                  <a:lnTo>
                    <a:pt x="29" y="154"/>
                  </a:lnTo>
                  <a:lnTo>
                    <a:pt x="30" y="151"/>
                  </a:lnTo>
                  <a:lnTo>
                    <a:pt x="30" y="124"/>
                  </a:lnTo>
                  <a:lnTo>
                    <a:pt x="43" y="138"/>
                  </a:lnTo>
                  <a:lnTo>
                    <a:pt x="58" y="150"/>
                  </a:lnTo>
                  <a:lnTo>
                    <a:pt x="74" y="160"/>
                  </a:lnTo>
                  <a:lnTo>
                    <a:pt x="91" y="169"/>
                  </a:lnTo>
                  <a:lnTo>
                    <a:pt x="109" y="177"/>
                  </a:lnTo>
                  <a:lnTo>
                    <a:pt x="128" y="182"/>
                  </a:lnTo>
                  <a:lnTo>
                    <a:pt x="148" y="184"/>
                  </a:lnTo>
                  <a:lnTo>
                    <a:pt x="167" y="185"/>
                  </a:lnTo>
                  <a:lnTo>
                    <a:pt x="186" y="185"/>
                  </a:lnTo>
                  <a:lnTo>
                    <a:pt x="204" y="182"/>
                  </a:lnTo>
                  <a:lnTo>
                    <a:pt x="223" y="178"/>
                  </a:lnTo>
                  <a:lnTo>
                    <a:pt x="240" y="171"/>
                  </a:lnTo>
                  <a:lnTo>
                    <a:pt x="256" y="164"/>
                  </a:lnTo>
                  <a:lnTo>
                    <a:pt x="271" y="154"/>
                  </a:lnTo>
                  <a:lnTo>
                    <a:pt x="285" y="143"/>
                  </a:lnTo>
                  <a:lnTo>
                    <a:pt x="299" y="132"/>
                  </a:lnTo>
                  <a:lnTo>
                    <a:pt x="311" y="118"/>
                  </a:lnTo>
                  <a:lnTo>
                    <a:pt x="321" y="104"/>
                  </a:lnTo>
                  <a:lnTo>
                    <a:pt x="331" y="89"/>
                  </a:lnTo>
                  <a:lnTo>
                    <a:pt x="338" y="73"/>
                  </a:lnTo>
                  <a:lnTo>
                    <a:pt x="345" y="55"/>
                  </a:lnTo>
                  <a:lnTo>
                    <a:pt x="349" y="37"/>
                  </a:lnTo>
                  <a:lnTo>
                    <a:pt x="352" y="19"/>
                  </a:lnTo>
                  <a:lnTo>
                    <a:pt x="353" y="0"/>
                  </a:lnTo>
                  <a:lnTo>
                    <a:pt x="3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52" name="Group 91">
            <a:extLst>
              <a:ext uri="{FF2B5EF4-FFF2-40B4-BE49-F238E27FC236}">
                <a16:creationId xmlns:a16="http://schemas.microsoft.com/office/drawing/2014/main" id="{5FC8B3C3-F940-4D15-B950-E2171E2511C9}"/>
              </a:ext>
            </a:extLst>
          </p:cNvPr>
          <p:cNvGrpSpPr>
            <a:grpSpLocks noChangeAspect="1"/>
          </p:cNvGrpSpPr>
          <p:nvPr/>
        </p:nvGrpSpPr>
        <p:grpSpPr>
          <a:xfrm>
            <a:off x="640294" y="5944848"/>
            <a:ext cx="347611" cy="310367"/>
            <a:chOff x="6543675" y="4589463"/>
            <a:chExt cx="711200" cy="635000"/>
          </a:xfrm>
          <a:solidFill>
            <a:schemeClr val="bg1"/>
          </a:solidFill>
          <a:effectLst/>
        </p:grpSpPr>
        <p:sp>
          <p:nvSpPr>
            <p:cNvPr id="353" name="Freeform 37">
              <a:extLst>
                <a:ext uri="{FF2B5EF4-FFF2-40B4-BE49-F238E27FC236}">
                  <a16:creationId xmlns:a16="http://schemas.microsoft.com/office/drawing/2014/main" id="{B9E9B2EB-80A0-4A98-8A8C-DBCC0F4E260F}"/>
                </a:ext>
              </a:extLst>
            </p:cNvPr>
            <p:cNvSpPr>
              <a:spLocks noEditPoints="1"/>
            </p:cNvSpPr>
            <p:nvPr/>
          </p:nvSpPr>
          <p:spPr bwMode="auto">
            <a:xfrm>
              <a:off x="6543675" y="4814888"/>
              <a:ext cx="711200" cy="409575"/>
            </a:xfrm>
            <a:custGeom>
              <a:avLst/>
              <a:gdLst>
                <a:gd name="T0" fmla="*/ 802 w 2237"/>
                <a:gd name="T1" fmla="*/ 866 h 1289"/>
                <a:gd name="T2" fmla="*/ 779 w 2237"/>
                <a:gd name="T3" fmla="*/ 872 h 1289"/>
                <a:gd name="T4" fmla="*/ 97 w 2237"/>
                <a:gd name="T5" fmla="*/ 830 h 1289"/>
                <a:gd name="T6" fmla="*/ 1547 w 2237"/>
                <a:gd name="T7" fmla="*/ 349 h 1289"/>
                <a:gd name="T8" fmla="*/ 1556 w 2237"/>
                <a:gd name="T9" fmla="*/ 388 h 1289"/>
                <a:gd name="T10" fmla="*/ 1557 w 2237"/>
                <a:gd name="T11" fmla="*/ 430 h 1289"/>
                <a:gd name="T12" fmla="*/ 1551 w 2237"/>
                <a:gd name="T13" fmla="*/ 464 h 1289"/>
                <a:gd name="T14" fmla="*/ 798 w 2237"/>
                <a:gd name="T15" fmla="*/ 488 h 1289"/>
                <a:gd name="T16" fmla="*/ 776 w 2237"/>
                <a:gd name="T17" fmla="*/ 495 h 1289"/>
                <a:gd name="T18" fmla="*/ 761 w 2237"/>
                <a:gd name="T19" fmla="*/ 513 h 1289"/>
                <a:gd name="T20" fmla="*/ 759 w 2237"/>
                <a:gd name="T21" fmla="*/ 537 h 1289"/>
                <a:gd name="T22" fmla="*/ 770 w 2237"/>
                <a:gd name="T23" fmla="*/ 557 h 1289"/>
                <a:gd name="T24" fmla="*/ 790 w 2237"/>
                <a:gd name="T25" fmla="*/ 568 h 1289"/>
                <a:gd name="T26" fmla="*/ 1568 w 2237"/>
                <a:gd name="T27" fmla="*/ 568 h 1289"/>
                <a:gd name="T28" fmla="*/ 1589 w 2237"/>
                <a:gd name="T29" fmla="*/ 555 h 1289"/>
                <a:gd name="T30" fmla="*/ 2063 w 2237"/>
                <a:gd name="T31" fmla="*/ 81 h 1289"/>
                <a:gd name="T32" fmla="*/ 2069 w 2237"/>
                <a:gd name="T33" fmla="*/ 82 h 1289"/>
                <a:gd name="T34" fmla="*/ 2104 w 2237"/>
                <a:gd name="T35" fmla="*/ 99 h 1289"/>
                <a:gd name="T36" fmla="*/ 2142 w 2237"/>
                <a:gd name="T37" fmla="*/ 134 h 1289"/>
                <a:gd name="T38" fmla="*/ 2156 w 2237"/>
                <a:gd name="T39" fmla="*/ 158 h 1289"/>
                <a:gd name="T40" fmla="*/ 2158 w 2237"/>
                <a:gd name="T41" fmla="*/ 175 h 1289"/>
                <a:gd name="T42" fmla="*/ 2174 w 2237"/>
                <a:gd name="T43" fmla="*/ 52 h 1289"/>
                <a:gd name="T44" fmla="*/ 2125 w 2237"/>
                <a:gd name="T45" fmla="*/ 17 h 1289"/>
                <a:gd name="T46" fmla="*/ 2080 w 2237"/>
                <a:gd name="T47" fmla="*/ 2 h 1289"/>
                <a:gd name="T48" fmla="*/ 2044 w 2237"/>
                <a:gd name="T49" fmla="*/ 3 h 1289"/>
                <a:gd name="T50" fmla="*/ 2017 w 2237"/>
                <a:gd name="T51" fmla="*/ 15 h 1289"/>
                <a:gd name="T52" fmla="*/ 1635 w 2237"/>
                <a:gd name="T53" fmla="*/ 379 h 1289"/>
                <a:gd name="T54" fmla="*/ 1627 w 2237"/>
                <a:gd name="T55" fmla="*/ 337 h 1289"/>
                <a:gd name="T56" fmla="*/ 1616 w 2237"/>
                <a:gd name="T57" fmla="*/ 306 h 1289"/>
                <a:gd name="T58" fmla="*/ 1597 w 2237"/>
                <a:gd name="T59" fmla="*/ 276 h 1289"/>
                <a:gd name="T60" fmla="*/ 1580 w 2237"/>
                <a:gd name="T61" fmla="*/ 262 h 1289"/>
                <a:gd name="T62" fmla="*/ 1563 w 2237"/>
                <a:gd name="T63" fmla="*/ 257 h 1289"/>
                <a:gd name="T64" fmla="*/ 558 w 2237"/>
                <a:gd name="T65" fmla="*/ 260 h 1289"/>
                <a:gd name="T66" fmla="*/ 11 w 2237"/>
                <a:gd name="T67" fmla="*/ 802 h 1289"/>
                <a:gd name="T68" fmla="*/ 0 w 2237"/>
                <a:gd name="T69" fmla="*/ 822 h 1289"/>
                <a:gd name="T70" fmla="*/ 3 w 2237"/>
                <a:gd name="T71" fmla="*/ 846 h 1289"/>
                <a:gd name="T72" fmla="*/ 430 w 2237"/>
                <a:gd name="T73" fmla="*/ 1277 h 1289"/>
                <a:gd name="T74" fmla="*/ 451 w 2237"/>
                <a:gd name="T75" fmla="*/ 1288 h 1289"/>
                <a:gd name="T76" fmla="*/ 474 w 2237"/>
                <a:gd name="T77" fmla="*/ 1285 h 1289"/>
                <a:gd name="T78" fmla="*/ 817 w 2237"/>
                <a:gd name="T79" fmla="*/ 946 h 1289"/>
                <a:gd name="T80" fmla="*/ 1501 w 2237"/>
                <a:gd name="T81" fmla="*/ 943 h 1289"/>
                <a:gd name="T82" fmla="*/ 2219 w 2237"/>
                <a:gd name="T83" fmla="*/ 229 h 1289"/>
                <a:gd name="T84" fmla="*/ 2232 w 2237"/>
                <a:gd name="T85" fmla="*/ 209 h 1289"/>
                <a:gd name="T86" fmla="*/ 2237 w 2237"/>
                <a:gd name="T87" fmla="*/ 176 h 1289"/>
                <a:gd name="T88" fmla="*/ 2235 w 2237"/>
                <a:gd name="T89" fmla="*/ 146 h 1289"/>
                <a:gd name="T90" fmla="*/ 2224 w 2237"/>
                <a:gd name="T91" fmla="*/ 114 h 1289"/>
                <a:gd name="T92" fmla="*/ 2200 w 2237"/>
                <a:gd name="T93" fmla="*/ 8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7" h="1289">
                  <a:moveTo>
                    <a:pt x="2157" y="178"/>
                  </a:moveTo>
                  <a:lnTo>
                    <a:pt x="1470" y="866"/>
                  </a:lnTo>
                  <a:lnTo>
                    <a:pt x="802" y="866"/>
                  </a:lnTo>
                  <a:lnTo>
                    <a:pt x="794" y="867"/>
                  </a:lnTo>
                  <a:lnTo>
                    <a:pt x="786" y="869"/>
                  </a:lnTo>
                  <a:lnTo>
                    <a:pt x="779" y="872"/>
                  </a:lnTo>
                  <a:lnTo>
                    <a:pt x="772" y="878"/>
                  </a:lnTo>
                  <a:lnTo>
                    <a:pt x="459" y="1193"/>
                  </a:lnTo>
                  <a:lnTo>
                    <a:pt x="97" y="830"/>
                  </a:lnTo>
                  <a:lnTo>
                    <a:pt x="589" y="337"/>
                  </a:lnTo>
                  <a:lnTo>
                    <a:pt x="1542" y="337"/>
                  </a:lnTo>
                  <a:lnTo>
                    <a:pt x="1547" y="349"/>
                  </a:lnTo>
                  <a:lnTo>
                    <a:pt x="1552" y="365"/>
                  </a:lnTo>
                  <a:lnTo>
                    <a:pt x="1554" y="375"/>
                  </a:lnTo>
                  <a:lnTo>
                    <a:pt x="1556" y="388"/>
                  </a:lnTo>
                  <a:lnTo>
                    <a:pt x="1557" y="401"/>
                  </a:lnTo>
                  <a:lnTo>
                    <a:pt x="1557" y="417"/>
                  </a:lnTo>
                  <a:lnTo>
                    <a:pt x="1557" y="430"/>
                  </a:lnTo>
                  <a:lnTo>
                    <a:pt x="1556" y="444"/>
                  </a:lnTo>
                  <a:lnTo>
                    <a:pt x="1554" y="455"/>
                  </a:lnTo>
                  <a:lnTo>
                    <a:pt x="1551" y="464"/>
                  </a:lnTo>
                  <a:lnTo>
                    <a:pt x="1546" y="480"/>
                  </a:lnTo>
                  <a:lnTo>
                    <a:pt x="1540" y="488"/>
                  </a:lnTo>
                  <a:lnTo>
                    <a:pt x="798" y="488"/>
                  </a:lnTo>
                  <a:lnTo>
                    <a:pt x="790" y="490"/>
                  </a:lnTo>
                  <a:lnTo>
                    <a:pt x="783" y="492"/>
                  </a:lnTo>
                  <a:lnTo>
                    <a:pt x="776" y="495"/>
                  </a:lnTo>
                  <a:lnTo>
                    <a:pt x="770" y="501"/>
                  </a:lnTo>
                  <a:lnTo>
                    <a:pt x="766" y="506"/>
                  </a:lnTo>
                  <a:lnTo>
                    <a:pt x="761" y="513"/>
                  </a:lnTo>
                  <a:lnTo>
                    <a:pt x="759" y="521"/>
                  </a:lnTo>
                  <a:lnTo>
                    <a:pt x="759" y="529"/>
                  </a:lnTo>
                  <a:lnTo>
                    <a:pt x="759" y="537"/>
                  </a:lnTo>
                  <a:lnTo>
                    <a:pt x="761" y="544"/>
                  </a:lnTo>
                  <a:lnTo>
                    <a:pt x="766" y="551"/>
                  </a:lnTo>
                  <a:lnTo>
                    <a:pt x="770" y="557"/>
                  </a:lnTo>
                  <a:lnTo>
                    <a:pt x="776" y="562"/>
                  </a:lnTo>
                  <a:lnTo>
                    <a:pt x="783" y="566"/>
                  </a:lnTo>
                  <a:lnTo>
                    <a:pt x="790" y="568"/>
                  </a:lnTo>
                  <a:lnTo>
                    <a:pt x="798" y="569"/>
                  </a:lnTo>
                  <a:lnTo>
                    <a:pt x="1559" y="569"/>
                  </a:lnTo>
                  <a:lnTo>
                    <a:pt x="1568" y="568"/>
                  </a:lnTo>
                  <a:lnTo>
                    <a:pt x="1576" y="565"/>
                  </a:lnTo>
                  <a:lnTo>
                    <a:pt x="1583" y="560"/>
                  </a:lnTo>
                  <a:lnTo>
                    <a:pt x="1589" y="555"/>
                  </a:lnTo>
                  <a:lnTo>
                    <a:pt x="1591" y="553"/>
                  </a:lnTo>
                  <a:lnTo>
                    <a:pt x="1593" y="551"/>
                  </a:lnTo>
                  <a:lnTo>
                    <a:pt x="2063" y="81"/>
                  </a:lnTo>
                  <a:lnTo>
                    <a:pt x="2063" y="81"/>
                  </a:lnTo>
                  <a:lnTo>
                    <a:pt x="2064" y="81"/>
                  </a:lnTo>
                  <a:lnTo>
                    <a:pt x="2069" y="82"/>
                  </a:lnTo>
                  <a:lnTo>
                    <a:pt x="2083" y="87"/>
                  </a:lnTo>
                  <a:lnTo>
                    <a:pt x="2093" y="91"/>
                  </a:lnTo>
                  <a:lnTo>
                    <a:pt x="2104" y="99"/>
                  </a:lnTo>
                  <a:lnTo>
                    <a:pt x="2118" y="110"/>
                  </a:lnTo>
                  <a:lnTo>
                    <a:pt x="2133" y="125"/>
                  </a:lnTo>
                  <a:lnTo>
                    <a:pt x="2142" y="134"/>
                  </a:lnTo>
                  <a:lnTo>
                    <a:pt x="2149" y="143"/>
                  </a:lnTo>
                  <a:lnTo>
                    <a:pt x="2153" y="152"/>
                  </a:lnTo>
                  <a:lnTo>
                    <a:pt x="2156" y="158"/>
                  </a:lnTo>
                  <a:lnTo>
                    <a:pt x="2157" y="165"/>
                  </a:lnTo>
                  <a:lnTo>
                    <a:pt x="2158" y="171"/>
                  </a:lnTo>
                  <a:lnTo>
                    <a:pt x="2158" y="175"/>
                  </a:lnTo>
                  <a:lnTo>
                    <a:pt x="2157" y="178"/>
                  </a:lnTo>
                  <a:close/>
                  <a:moveTo>
                    <a:pt x="2190" y="68"/>
                  </a:moveTo>
                  <a:lnTo>
                    <a:pt x="2174" y="52"/>
                  </a:lnTo>
                  <a:lnTo>
                    <a:pt x="2157" y="39"/>
                  </a:lnTo>
                  <a:lnTo>
                    <a:pt x="2141" y="27"/>
                  </a:lnTo>
                  <a:lnTo>
                    <a:pt x="2125" y="17"/>
                  </a:lnTo>
                  <a:lnTo>
                    <a:pt x="2110" y="11"/>
                  </a:lnTo>
                  <a:lnTo>
                    <a:pt x="2094" y="5"/>
                  </a:lnTo>
                  <a:lnTo>
                    <a:pt x="2080" y="2"/>
                  </a:lnTo>
                  <a:lnTo>
                    <a:pt x="2065" y="0"/>
                  </a:lnTo>
                  <a:lnTo>
                    <a:pt x="2054" y="2"/>
                  </a:lnTo>
                  <a:lnTo>
                    <a:pt x="2044" y="3"/>
                  </a:lnTo>
                  <a:lnTo>
                    <a:pt x="2036" y="6"/>
                  </a:lnTo>
                  <a:lnTo>
                    <a:pt x="2028" y="8"/>
                  </a:lnTo>
                  <a:lnTo>
                    <a:pt x="2017" y="15"/>
                  </a:lnTo>
                  <a:lnTo>
                    <a:pt x="2011" y="21"/>
                  </a:lnTo>
                  <a:lnTo>
                    <a:pt x="1636" y="394"/>
                  </a:lnTo>
                  <a:lnTo>
                    <a:pt x="1635" y="379"/>
                  </a:lnTo>
                  <a:lnTo>
                    <a:pt x="1633" y="363"/>
                  </a:lnTo>
                  <a:lnTo>
                    <a:pt x="1631" y="350"/>
                  </a:lnTo>
                  <a:lnTo>
                    <a:pt x="1627" y="337"/>
                  </a:lnTo>
                  <a:lnTo>
                    <a:pt x="1624" y="326"/>
                  </a:lnTo>
                  <a:lnTo>
                    <a:pt x="1621" y="316"/>
                  </a:lnTo>
                  <a:lnTo>
                    <a:pt x="1616" y="306"/>
                  </a:lnTo>
                  <a:lnTo>
                    <a:pt x="1613" y="298"/>
                  </a:lnTo>
                  <a:lnTo>
                    <a:pt x="1604" y="285"/>
                  </a:lnTo>
                  <a:lnTo>
                    <a:pt x="1597" y="276"/>
                  </a:lnTo>
                  <a:lnTo>
                    <a:pt x="1591" y="269"/>
                  </a:lnTo>
                  <a:lnTo>
                    <a:pt x="1586" y="266"/>
                  </a:lnTo>
                  <a:lnTo>
                    <a:pt x="1580" y="262"/>
                  </a:lnTo>
                  <a:lnTo>
                    <a:pt x="1575" y="259"/>
                  </a:lnTo>
                  <a:lnTo>
                    <a:pt x="1568" y="258"/>
                  </a:lnTo>
                  <a:lnTo>
                    <a:pt x="1563" y="257"/>
                  </a:lnTo>
                  <a:lnTo>
                    <a:pt x="573" y="257"/>
                  </a:lnTo>
                  <a:lnTo>
                    <a:pt x="565" y="258"/>
                  </a:lnTo>
                  <a:lnTo>
                    <a:pt x="558" y="260"/>
                  </a:lnTo>
                  <a:lnTo>
                    <a:pt x="551" y="263"/>
                  </a:lnTo>
                  <a:lnTo>
                    <a:pt x="544" y="269"/>
                  </a:lnTo>
                  <a:lnTo>
                    <a:pt x="11" y="802"/>
                  </a:lnTo>
                  <a:lnTo>
                    <a:pt x="7" y="808"/>
                  </a:lnTo>
                  <a:lnTo>
                    <a:pt x="3" y="815"/>
                  </a:lnTo>
                  <a:lnTo>
                    <a:pt x="0" y="822"/>
                  </a:lnTo>
                  <a:lnTo>
                    <a:pt x="0" y="830"/>
                  </a:lnTo>
                  <a:lnTo>
                    <a:pt x="0" y="838"/>
                  </a:lnTo>
                  <a:lnTo>
                    <a:pt x="3" y="846"/>
                  </a:lnTo>
                  <a:lnTo>
                    <a:pt x="7" y="852"/>
                  </a:lnTo>
                  <a:lnTo>
                    <a:pt x="11" y="858"/>
                  </a:lnTo>
                  <a:lnTo>
                    <a:pt x="430" y="1277"/>
                  </a:lnTo>
                  <a:lnTo>
                    <a:pt x="437" y="1282"/>
                  </a:lnTo>
                  <a:lnTo>
                    <a:pt x="443" y="1285"/>
                  </a:lnTo>
                  <a:lnTo>
                    <a:pt x="451" y="1288"/>
                  </a:lnTo>
                  <a:lnTo>
                    <a:pt x="459" y="1289"/>
                  </a:lnTo>
                  <a:lnTo>
                    <a:pt x="467" y="1288"/>
                  </a:lnTo>
                  <a:lnTo>
                    <a:pt x="474" y="1285"/>
                  </a:lnTo>
                  <a:lnTo>
                    <a:pt x="480" y="1282"/>
                  </a:lnTo>
                  <a:lnTo>
                    <a:pt x="487" y="1277"/>
                  </a:lnTo>
                  <a:lnTo>
                    <a:pt x="817" y="946"/>
                  </a:lnTo>
                  <a:lnTo>
                    <a:pt x="1486" y="946"/>
                  </a:lnTo>
                  <a:lnTo>
                    <a:pt x="1494" y="945"/>
                  </a:lnTo>
                  <a:lnTo>
                    <a:pt x="1501" y="943"/>
                  </a:lnTo>
                  <a:lnTo>
                    <a:pt x="1508" y="940"/>
                  </a:lnTo>
                  <a:lnTo>
                    <a:pt x="1514" y="934"/>
                  </a:lnTo>
                  <a:lnTo>
                    <a:pt x="2219" y="229"/>
                  </a:lnTo>
                  <a:lnTo>
                    <a:pt x="2223" y="225"/>
                  </a:lnTo>
                  <a:lnTo>
                    <a:pt x="2226" y="220"/>
                  </a:lnTo>
                  <a:lnTo>
                    <a:pt x="2232" y="209"/>
                  </a:lnTo>
                  <a:lnTo>
                    <a:pt x="2235" y="193"/>
                  </a:lnTo>
                  <a:lnTo>
                    <a:pt x="2237" y="185"/>
                  </a:lnTo>
                  <a:lnTo>
                    <a:pt x="2237" y="176"/>
                  </a:lnTo>
                  <a:lnTo>
                    <a:pt x="2237" y="166"/>
                  </a:lnTo>
                  <a:lnTo>
                    <a:pt x="2237" y="157"/>
                  </a:lnTo>
                  <a:lnTo>
                    <a:pt x="2235" y="146"/>
                  </a:lnTo>
                  <a:lnTo>
                    <a:pt x="2233" y="136"/>
                  </a:lnTo>
                  <a:lnTo>
                    <a:pt x="2228" y="125"/>
                  </a:lnTo>
                  <a:lnTo>
                    <a:pt x="2224" y="114"/>
                  </a:lnTo>
                  <a:lnTo>
                    <a:pt x="2217" y="102"/>
                  </a:lnTo>
                  <a:lnTo>
                    <a:pt x="2209" y="91"/>
                  </a:lnTo>
                  <a:lnTo>
                    <a:pt x="2200" y="80"/>
                  </a:lnTo>
                  <a:lnTo>
                    <a:pt x="219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38">
              <a:extLst>
                <a:ext uri="{FF2B5EF4-FFF2-40B4-BE49-F238E27FC236}">
                  <a16:creationId xmlns:a16="http://schemas.microsoft.com/office/drawing/2014/main" id="{06D4BD36-C5B0-4448-984A-6FFCB8B06F01}"/>
                </a:ext>
              </a:extLst>
            </p:cNvPr>
            <p:cNvSpPr>
              <a:spLocks noEditPoints="1"/>
            </p:cNvSpPr>
            <p:nvPr/>
          </p:nvSpPr>
          <p:spPr bwMode="auto">
            <a:xfrm>
              <a:off x="6772275" y="4589463"/>
              <a:ext cx="279400" cy="277813"/>
            </a:xfrm>
            <a:custGeom>
              <a:avLst/>
              <a:gdLst>
                <a:gd name="T0" fmla="*/ 79 w 879"/>
                <a:gd name="T1" fmla="*/ 800 h 879"/>
                <a:gd name="T2" fmla="*/ 800 w 879"/>
                <a:gd name="T3" fmla="*/ 800 h 879"/>
                <a:gd name="T4" fmla="*/ 800 w 879"/>
                <a:gd name="T5" fmla="*/ 80 h 879"/>
                <a:gd name="T6" fmla="*/ 79 w 879"/>
                <a:gd name="T7" fmla="*/ 80 h 879"/>
                <a:gd name="T8" fmla="*/ 79 w 879"/>
                <a:gd name="T9" fmla="*/ 800 h 879"/>
                <a:gd name="T10" fmla="*/ 839 w 879"/>
                <a:gd name="T11" fmla="*/ 879 h 879"/>
                <a:gd name="T12" fmla="*/ 40 w 879"/>
                <a:gd name="T13" fmla="*/ 879 h 879"/>
                <a:gd name="T14" fmla="*/ 31 w 879"/>
                <a:gd name="T15" fmla="*/ 879 h 879"/>
                <a:gd name="T16" fmla="*/ 24 w 879"/>
                <a:gd name="T17" fmla="*/ 877 h 879"/>
                <a:gd name="T18" fmla="*/ 18 w 879"/>
                <a:gd name="T19" fmla="*/ 873 h 879"/>
                <a:gd name="T20" fmla="*/ 11 w 879"/>
                <a:gd name="T21" fmla="*/ 868 h 879"/>
                <a:gd name="T22" fmla="*/ 7 w 879"/>
                <a:gd name="T23" fmla="*/ 863 h 879"/>
                <a:gd name="T24" fmla="*/ 3 w 879"/>
                <a:gd name="T25" fmla="*/ 856 h 879"/>
                <a:gd name="T26" fmla="*/ 1 w 879"/>
                <a:gd name="T27" fmla="*/ 848 h 879"/>
                <a:gd name="T28" fmla="*/ 0 w 879"/>
                <a:gd name="T29" fmla="*/ 840 h 879"/>
                <a:gd name="T30" fmla="*/ 0 w 879"/>
                <a:gd name="T31" fmla="*/ 40 h 879"/>
                <a:gd name="T32" fmla="*/ 1 w 879"/>
                <a:gd name="T33" fmla="*/ 32 h 879"/>
                <a:gd name="T34" fmla="*/ 3 w 879"/>
                <a:gd name="T35" fmla="*/ 24 h 879"/>
                <a:gd name="T36" fmla="*/ 7 w 879"/>
                <a:gd name="T37" fmla="*/ 17 h 879"/>
                <a:gd name="T38" fmla="*/ 11 w 879"/>
                <a:gd name="T39" fmla="*/ 12 h 879"/>
                <a:gd name="T40" fmla="*/ 18 w 879"/>
                <a:gd name="T41" fmla="*/ 6 h 879"/>
                <a:gd name="T42" fmla="*/ 24 w 879"/>
                <a:gd name="T43" fmla="*/ 3 h 879"/>
                <a:gd name="T44" fmla="*/ 31 w 879"/>
                <a:gd name="T45" fmla="*/ 1 h 879"/>
                <a:gd name="T46" fmla="*/ 40 w 879"/>
                <a:gd name="T47" fmla="*/ 0 h 879"/>
                <a:gd name="T48" fmla="*/ 839 w 879"/>
                <a:gd name="T49" fmla="*/ 0 h 879"/>
                <a:gd name="T50" fmla="*/ 847 w 879"/>
                <a:gd name="T51" fmla="*/ 1 h 879"/>
                <a:gd name="T52" fmla="*/ 855 w 879"/>
                <a:gd name="T53" fmla="*/ 3 h 879"/>
                <a:gd name="T54" fmla="*/ 862 w 879"/>
                <a:gd name="T55" fmla="*/ 6 h 879"/>
                <a:gd name="T56" fmla="*/ 868 w 879"/>
                <a:gd name="T57" fmla="*/ 12 h 879"/>
                <a:gd name="T58" fmla="*/ 873 w 879"/>
                <a:gd name="T59" fmla="*/ 17 h 879"/>
                <a:gd name="T60" fmla="*/ 876 w 879"/>
                <a:gd name="T61" fmla="*/ 24 h 879"/>
                <a:gd name="T62" fmla="*/ 878 w 879"/>
                <a:gd name="T63" fmla="*/ 32 h 879"/>
                <a:gd name="T64" fmla="*/ 879 w 879"/>
                <a:gd name="T65" fmla="*/ 40 h 879"/>
                <a:gd name="T66" fmla="*/ 879 w 879"/>
                <a:gd name="T67" fmla="*/ 840 h 879"/>
                <a:gd name="T68" fmla="*/ 878 w 879"/>
                <a:gd name="T69" fmla="*/ 848 h 879"/>
                <a:gd name="T70" fmla="*/ 876 w 879"/>
                <a:gd name="T71" fmla="*/ 856 h 879"/>
                <a:gd name="T72" fmla="*/ 873 w 879"/>
                <a:gd name="T73" fmla="*/ 863 h 879"/>
                <a:gd name="T74" fmla="*/ 868 w 879"/>
                <a:gd name="T75" fmla="*/ 868 h 879"/>
                <a:gd name="T76" fmla="*/ 862 w 879"/>
                <a:gd name="T77" fmla="*/ 873 h 879"/>
                <a:gd name="T78" fmla="*/ 855 w 879"/>
                <a:gd name="T79" fmla="*/ 877 h 879"/>
                <a:gd name="T80" fmla="*/ 847 w 879"/>
                <a:gd name="T81" fmla="*/ 879 h 879"/>
                <a:gd name="T82" fmla="*/ 839 w 879"/>
                <a:gd name="T83"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9" h="879">
                  <a:moveTo>
                    <a:pt x="79" y="800"/>
                  </a:moveTo>
                  <a:lnTo>
                    <a:pt x="800" y="800"/>
                  </a:lnTo>
                  <a:lnTo>
                    <a:pt x="800" y="80"/>
                  </a:lnTo>
                  <a:lnTo>
                    <a:pt x="79" y="80"/>
                  </a:lnTo>
                  <a:lnTo>
                    <a:pt x="79" y="800"/>
                  </a:lnTo>
                  <a:close/>
                  <a:moveTo>
                    <a:pt x="839" y="879"/>
                  </a:moveTo>
                  <a:lnTo>
                    <a:pt x="40" y="879"/>
                  </a:lnTo>
                  <a:lnTo>
                    <a:pt x="31" y="879"/>
                  </a:lnTo>
                  <a:lnTo>
                    <a:pt x="24" y="877"/>
                  </a:lnTo>
                  <a:lnTo>
                    <a:pt x="18" y="873"/>
                  </a:lnTo>
                  <a:lnTo>
                    <a:pt x="11" y="868"/>
                  </a:lnTo>
                  <a:lnTo>
                    <a:pt x="7" y="863"/>
                  </a:lnTo>
                  <a:lnTo>
                    <a:pt x="3" y="856"/>
                  </a:lnTo>
                  <a:lnTo>
                    <a:pt x="1" y="848"/>
                  </a:lnTo>
                  <a:lnTo>
                    <a:pt x="0" y="840"/>
                  </a:lnTo>
                  <a:lnTo>
                    <a:pt x="0" y="40"/>
                  </a:lnTo>
                  <a:lnTo>
                    <a:pt x="1" y="32"/>
                  </a:lnTo>
                  <a:lnTo>
                    <a:pt x="3" y="24"/>
                  </a:lnTo>
                  <a:lnTo>
                    <a:pt x="7" y="17"/>
                  </a:lnTo>
                  <a:lnTo>
                    <a:pt x="11" y="12"/>
                  </a:lnTo>
                  <a:lnTo>
                    <a:pt x="18" y="6"/>
                  </a:lnTo>
                  <a:lnTo>
                    <a:pt x="24" y="3"/>
                  </a:lnTo>
                  <a:lnTo>
                    <a:pt x="31" y="1"/>
                  </a:lnTo>
                  <a:lnTo>
                    <a:pt x="40" y="0"/>
                  </a:lnTo>
                  <a:lnTo>
                    <a:pt x="839" y="0"/>
                  </a:lnTo>
                  <a:lnTo>
                    <a:pt x="847" y="1"/>
                  </a:lnTo>
                  <a:lnTo>
                    <a:pt x="855" y="3"/>
                  </a:lnTo>
                  <a:lnTo>
                    <a:pt x="862" y="6"/>
                  </a:lnTo>
                  <a:lnTo>
                    <a:pt x="868" y="12"/>
                  </a:lnTo>
                  <a:lnTo>
                    <a:pt x="873" y="17"/>
                  </a:lnTo>
                  <a:lnTo>
                    <a:pt x="876" y="24"/>
                  </a:lnTo>
                  <a:lnTo>
                    <a:pt x="878" y="32"/>
                  </a:lnTo>
                  <a:lnTo>
                    <a:pt x="879" y="40"/>
                  </a:lnTo>
                  <a:lnTo>
                    <a:pt x="879" y="840"/>
                  </a:lnTo>
                  <a:lnTo>
                    <a:pt x="878" y="848"/>
                  </a:lnTo>
                  <a:lnTo>
                    <a:pt x="876" y="856"/>
                  </a:lnTo>
                  <a:lnTo>
                    <a:pt x="873" y="863"/>
                  </a:lnTo>
                  <a:lnTo>
                    <a:pt x="868" y="868"/>
                  </a:lnTo>
                  <a:lnTo>
                    <a:pt x="862" y="873"/>
                  </a:lnTo>
                  <a:lnTo>
                    <a:pt x="855" y="877"/>
                  </a:lnTo>
                  <a:lnTo>
                    <a:pt x="847" y="879"/>
                  </a:lnTo>
                  <a:lnTo>
                    <a:pt x="839"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39">
              <a:extLst>
                <a:ext uri="{FF2B5EF4-FFF2-40B4-BE49-F238E27FC236}">
                  <a16:creationId xmlns:a16="http://schemas.microsoft.com/office/drawing/2014/main" id="{B2B13D79-AAB4-425C-BB60-A4B53ECDA921}"/>
                </a:ext>
              </a:extLst>
            </p:cNvPr>
            <p:cNvSpPr>
              <a:spLocks/>
            </p:cNvSpPr>
            <p:nvPr/>
          </p:nvSpPr>
          <p:spPr bwMode="auto">
            <a:xfrm>
              <a:off x="6899275" y="4589463"/>
              <a:ext cx="25400" cy="277813"/>
            </a:xfrm>
            <a:custGeom>
              <a:avLst/>
              <a:gdLst>
                <a:gd name="T0" fmla="*/ 41 w 81"/>
                <a:gd name="T1" fmla="*/ 879 h 879"/>
                <a:gd name="T2" fmla="*/ 33 w 81"/>
                <a:gd name="T3" fmla="*/ 879 h 879"/>
                <a:gd name="T4" fmla="*/ 25 w 81"/>
                <a:gd name="T5" fmla="*/ 877 h 879"/>
                <a:gd name="T6" fmla="*/ 18 w 81"/>
                <a:gd name="T7" fmla="*/ 873 h 879"/>
                <a:gd name="T8" fmla="*/ 13 w 81"/>
                <a:gd name="T9" fmla="*/ 868 h 879"/>
                <a:gd name="T10" fmla="*/ 7 w 81"/>
                <a:gd name="T11" fmla="*/ 863 h 879"/>
                <a:gd name="T12" fmla="*/ 4 w 81"/>
                <a:gd name="T13" fmla="*/ 856 h 879"/>
                <a:gd name="T14" fmla="*/ 2 w 81"/>
                <a:gd name="T15" fmla="*/ 848 h 879"/>
                <a:gd name="T16" fmla="*/ 0 w 81"/>
                <a:gd name="T17" fmla="*/ 840 h 879"/>
                <a:gd name="T18" fmla="*/ 0 w 81"/>
                <a:gd name="T19" fmla="*/ 40 h 879"/>
                <a:gd name="T20" fmla="*/ 2 w 81"/>
                <a:gd name="T21" fmla="*/ 32 h 879"/>
                <a:gd name="T22" fmla="*/ 4 w 81"/>
                <a:gd name="T23" fmla="*/ 24 h 879"/>
                <a:gd name="T24" fmla="*/ 7 w 81"/>
                <a:gd name="T25" fmla="*/ 17 h 879"/>
                <a:gd name="T26" fmla="*/ 13 w 81"/>
                <a:gd name="T27" fmla="*/ 12 h 879"/>
                <a:gd name="T28" fmla="*/ 18 w 81"/>
                <a:gd name="T29" fmla="*/ 6 h 879"/>
                <a:gd name="T30" fmla="*/ 25 w 81"/>
                <a:gd name="T31" fmla="*/ 3 h 879"/>
                <a:gd name="T32" fmla="*/ 33 w 81"/>
                <a:gd name="T33" fmla="*/ 1 h 879"/>
                <a:gd name="T34" fmla="*/ 41 w 81"/>
                <a:gd name="T35" fmla="*/ 0 h 879"/>
                <a:gd name="T36" fmla="*/ 49 w 81"/>
                <a:gd name="T37" fmla="*/ 1 h 879"/>
                <a:gd name="T38" fmla="*/ 56 w 81"/>
                <a:gd name="T39" fmla="*/ 3 h 879"/>
                <a:gd name="T40" fmla="*/ 63 w 81"/>
                <a:gd name="T41" fmla="*/ 6 h 879"/>
                <a:gd name="T42" fmla="*/ 69 w 81"/>
                <a:gd name="T43" fmla="*/ 12 h 879"/>
                <a:gd name="T44" fmla="*/ 74 w 81"/>
                <a:gd name="T45" fmla="*/ 17 h 879"/>
                <a:gd name="T46" fmla="*/ 78 w 81"/>
                <a:gd name="T47" fmla="*/ 24 h 879"/>
                <a:gd name="T48" fmla="*/ 80 w 81"/>
                <a:gd name="T49" fmla="*/ 32 h 879"/>
                <a:gd name="T50" fmla="*/ 81 w 81"/>
                <a:gd name="T51" fmla="*/ 40 h 879"/>
                <a:gd name="T52" fmla="*/ 81 w 81"/>
                <a:gd name="T53" fmla="*/ 840 h 879"/>
                <a:gd name="T54" fmla="*/ 80 w 81"/>
                <a:gd name="T55" fmla="*/ 848 h 879"/>
                <a:gd name="T56" fmla="*/ 78 w 81"/>
                <a:gd name="T57" fmla="*/ 856 h 879"/>
                <a:gd name="T58" fmla="*/ 74 w 81"/>
                <a:gd name="T59" fmla="*/ 863 h 879"/>
                <a:gd name="T60" fmla="*/ 69 w 81"/>
                <a:gd name="T61" fmla="*/ 868 h 879"/>
                <a:gd name="T62" fmla="*/ 63 w 81"/>
                <a:gd name="T63" fmla="*/ 873 h 879"/>
                <a:gd name="T64" fmla="*/ 56 w 81"/>
                <a:gd name="T65" fmla="*/ 877 h 879"/>
                <a:gd name="T66" fmla="*/ 49 w 81"/>
                <a:gd name="T67" fmla="*/ 879 h 879"/>
                <a:gd name="T68" fmla="*/ 41 w 81"/>
                <a:gd name="T69"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1" h="879">
                  <a:moveTo>
                    <a:pt x="41" y="879"/>
                  </a:moveTo>
                  <a:lnTo>
                    <a:pt x="33" y="879"/>
                  </a:lnTo>
                  <a:lnTo>
                    <a:pt x="25" y="877"/>
                  </a:lnTo>
                  <a:lnTo>
                    <a:pt x="18" y="873"/>
                  </a:lnTo>
                  <a:lnTo>
                    <a:pt x="13" y="868"/>
                  </a:lnTo>
                  <a:lnTo>
                    <a:pt x="7" y="863"/>
                  </a:lnTo>
                  <a:lnTo>
                    <a:pt x="4" y="856"/>
                  </a:lnTo>
                  <a:lnTo>
                    <a:pt x="2" y="848"/>
                  </a:lnTo>
                  <a:lnTo>
                    <a:pt x="0" y="840"/>
                  </a:lnTo>
                  <a:lnTo>
                    <a:pt x="0" y="40"/>
                  </a:lnTo>
                  <a:lnTo>
                    <a:pt x="2" y="32"/>
                  </a:lnTo>
                  <a:lnTo>
                    <a:pt x="4" y="24"/>
                  </a:lnTo>
                  <a:lnTo>
                    <a:pt x="7" y="17"/>
                  </a:lnTo>
                  <a:lnTo>
                    <a:pt x="13" y="12"/>
                  </a:lnTo>
                  <a:lnTo>
                    <a:pt x="18" y="6"/>
                  </a:lnTo>
                  <a:lnTo>
                    <a:pt x="25" y="3"/>
                  </a:lnTo>
                  <a:lnTo>
                    <a:pt x="33" y="1"/>
                  </a:lnTo>
                  <a:lnTo>
                    <a:pt x="41" y="0"/>
                  </a:lnTo>
                  <a:lnTo>
                    <a:pt x="49" y="1"/>
                  </a:lnTo>
                  <a:lnTo>
                    <a:pt x="56" y="3"/>
                  </a:lnTo>
                  <a:lnTo>
                    <a:pt x="63" y="6"/>
                  </a:lnTo>
                  <a:lnTo>
                    <a:pt x="69" y="12"/>
                  </a:lnTo>
                  <a:lnTo>
                    <a:pt x="74" y="17"/>
                  </a:lnTo>
                  <a:lnTo>
                    <a:pt x="78" y="24"/>
                  </a:lnTo>
                  <a:lnTo>
                    <a:pt x="80" y="32"/>
                  </a:lnTo>
                  <a:lnTo>
                    <a:pt x="81" y="40"/>
                  </a:lnTo>
                  <a:lnTo>
                    <a:pt x="81" y="840"/>
                  </a:lnTo>
                  <a:lnTo>
                    <a:pt x="80" y="848"/>
                  </a:lnTo>
                  <a:lnTo>
                    <a:pt x="78" y="856"/>
                  </a:lnTo>
                  <a:lnTo>
                    <a:pt x="74" y="863"/>
                  </a:lnTo>
                  <a:lnTo>
                    <a:pt x="69" y="868"/>
                  </a:lnTo>
                  <a:lnTo>
                    <a:pt x="63" y="873"/>
                  </a:lnTo>
                  <a:lnTo>
                    <a:pt x="56" y="877"/>
                  </a:lnTo>
                  <a:lnTo>
                    <a:pt x="49" y="879"/>
                  </a:lnTo>
                  <a:lnTo>
                    <a:pt x="41" y="8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40">
              <a:extLst>
                <a:ext uri="{FF2B5EF4-FFF2-40B4-BE49-F238E27FC236}">
                  <a16:creationId xmlns:a16="http://schemas.microsoft.com/office/drawing/2014/main" id="{400A228C-3B93-4131-A92C-67CF8411AA45}"/>
                </a:ext>
              </a:extLst>
            </p:cNvPr>
            <p:cNvSpPr>
              <a:spLocks/>
            </p:cNvSpPr>
            <p:nvPr/>
          </p:nvSpPr>
          <p:spPr bwMode="auto">
            <a:xfrm>
              <a:off x="6772275" y="4716463"/>
              <a:ext cx="279400" cy="25400"/>
            </a:xfrm>
            <a:custGeom>
              <a:avLst/>
              <a:gdLst>
                <a:gd name="T0" fmla="*/ 839 w 879"/>
                <a:gd name="T1" fmla="*/ 80 h 80"/>
                <a:gd name="T2" fmla="*/ 40 w 879"/>
                <a:gd name="T3" fmla="*/ 80 h 80"/>
                <a:gd name="T4" fmla="*/ 31 w 879"/>
                <a:gd name="T5" fmla="*/ 79 h 80"/>
                <a:gd name="T6" fmla="*/ 24 w 879"/>
                <a:gd name="T7" fmla="*/ 76 h 80"/>
                <a:gd name="T8" fmla="*/ 18 w 879"/>
                <a:gd name="T9" fmla="*/ 73 h 80"/>
                <a:gd name="T10" fmla="*/ 11 w 879"/>
                <a:gd name="T11" fmla="*/ 69 h 80"/>
                <a:gd name="T12" fmla="*/ 7 w 879"/>
                <a:gd name="T13" fmla="*/ 62 h 80"/>
                <a:gd name="T14" fmla="*/ 3 w 879"/>
                <a:gd name="T15" fmla="*/ 55 h 80"/>
                <a:gd name="T16" fmla="*/ 1 w 879"/>
                <a:gd name="T17" fmla="*/ 48 h 80"/>
                <a:gd name="T18" fmla="*/ 0 w 879"/>
                <a:gd name="T19" fmla="*/ 39 h 80"/>
                <a:gd name="T20" fmla="*/ 1 w 879"/>
                <a:gd name="T21" fmla="*/ 32 h 80"/>
                <a:gd name="T22" fmla="*/ 3 w 879"/>
                <a:gd name="T23" fmla="*/ 24 h 80"/>
                <a:gd name="T24" fmla="*/ 7 w 879"/>
                <a:gd name="T25" fmla="*/ 17 h 80"/>
                <a:gd name="T26" fmla="*/ 11 w 879"/>
                <a:gd name="T27" fmla="*/ 11 h 80"/>
                <a:gd name="T28" fmla="*/ 18 w 879"/>
                <a:gd name="T29" fmla="*/ 7 h 80"/>
                <a:gd name="T30" fmla="*/ 24 w 879"/>
                <a:gd name="T31" fmla="*/ 2 h 80"/>
                <a:gd name="T32" fmla="*/ 31 w 879"/>
                <a:gd name="T33" fmla="*/ 0 h 80"/>
                <a:gd name="T34" fmla="*/ 40 w 879"/>
                <a:gd name="T35" fmla="*/ 0 h 80"/>
                <a:gd name="T36" fmla="*/ 839 w 879"/>
                <a:gd name="T37" fmla="*/ 0 h 80"/>
                <a:gd name="T38" fmla="*/ 847 w 879"/>
                <a:gd name="T39" fmla="*/ 0 h 80"/>
                <a:gd name="T40" fmla="*/ 855 w 879"/>
                <a:gd name="T41" fmla="*/ 2 h 80"/>
                <a:gd name="T42" fmla="*/ 862 w 879"/>
                <a:gd name="T43" fmla="*/ 7 h 80"/>
                <a:gd name="T44" fmla="*/ 868 w 879"/>
                <a:gd name="T45" fmla="*/ 11 h 80"/>
                <a:gd name="T46" fmla="*/ 873 w 879"/>
                <a:gd name="T47" fmla="*/ 17 h 80"/>
                <a:gd name="T48" fmla="*/ 876 w 879"/>
                <a:gd name="T49" fmla="*/ 24 h 80"/>
                <a:gd name="T50" fmla="*/ 878 w 879"/>
                <a:gd name="T51" fmla="*/ 32 h 80"/>
                <a:gd name="T52" fmla="*/ 879 w 879"/>
                <a:gd name="T53" fmla="*/ 39 h 80"/>
                <a:gd name="T54" fmla="*/ 878 w 879"/>
                <a:gd name="T55" fmla="*/ 48 h 80"/>
                <a:gd name="T56" fmla="*/ 876 w 879"/>
                <a:gd name="T57" fmla="*/ 55 h 80"/>
                <a:gd name="T58" fmla="*/ 873 w 879"/>
                <a:gd name="T59" fmla="*/ 62 h 80"/>
                <a:gd name="T60" fmla="*/ 868 w 879"/>
                <a:gd name="T61" fmla="*/ 69 h 80"/>
                <a:gd name="T62" fmla="*/ 862 w 879"/>
                <a:gd name="T63" fmla="*/ 73 h 80"/>
                <a:gd name="T64" fmla="*/ 855 w 879"/>
                <a:gd name="T65" fmla="*/ 76 h 80"/>
                <a:gd name="T66" fmla="*/ 847 w 879"/>
                <a:gd name="T67" fmla="*/ 79 h 80"/>
                <a:gd name="T68" fmla="*/ 839 w 87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9" h="80">
                  <a:moveTo>
                    <a:pt x="839" y="80"/>
                  </a:moveTo>
                  <a:lnTo>
                    <a:pt x="40" y="80"/>
                  </a:lnTo>
                  <a:lnTo>
                    <a:pt x="31" y="79"/>
                  </a:lnTo>
                  <a:lnTo>
                    <a:pt x="24" y="76"/>
                  </a:lnTo>
                  <a:lnTo>
                    <a:pt x="18" y="73"/>
                  </a:lnTo>
                  <a:lnTo>
                    <a:pt x="11" y="69"/>
                  </a:lnTo>
                  <a:lnTo>
                    <a:pt x="7" y="62"/>
                  </a:lnTo>
                  <a:lnTo>
                    <a:pt x="3" y="55"/>
                  </a:lnTo>
                  <a:lnTo>
                    <a:pt x="1" y="48"/>
                  </a:lnTo>
                  <a:lnTo>
                    <a:pt x="0" y="39"/>
                  </a:lnTo>
                  <a:lnTo>
                    <a:pt x="1" y="32"/>
                  </a:lnTo>
                  <a:lnTo>
                    <a:pt x="3" y="24"/>
                  </a:lnTo>
                  <a:lnTo>
                    <a:pt x="7" y="17"/>
                  </a:lnTo>
                  <a:lnTo>
                    <a:pt x="11" y="11"/>
                  </a:lnTo>
                  <a:lnTo>
                    <a:pt x="18" y="7"/>
                  </a:lnTo>
                  <a:lnTo>
                    <a:pt x="24" y="2"/>
                  </a:lnTo>
                  <a:lnTo>
                    <a:pt x="31" y="0"/>
                  </a:lnTo>
                  <a:lnTo>
                    <a:pt x="40" y="0"/>
                  </a:lnTo>
                  <a:lnTo>
                    <a:pt x="839" y="0"/>
                  </a:lnTo>
                  <a:lnTo>
                    <a:pt x="847" y="0"/>
                  </a:lnTo>
                  <a:lnTo>
                    <a:pt x="855" y="2"/>
                  </a:lnTo>
                  <a:lnTo>
                    <a:pt x="862" y="7"/>
                  </a:lnTo>
                  <a:lnTo>
                    <a:pt x="868" y="11"/>
                  </a:lnTo>
                  <a:lnTo>
                    <a:pt x="873" y="17"/>
                  </a:lnTo>
                  <a:lnTo>
                    <a:pt x="876" y="24"/>
                  </a:lnTo>
                  <a:lnTo>
                    <a:pt x="878" y="32"/>
                  </a:lnTo>
                  <a:lnTo>
                    <a:pt x="879" y="39"/>
                  </a:lnTo>
                  <a:lnTo>
                    <a:pt x="878" y="48"/>
                  </a:lnTo>
                  <a:lnTo>
                    <a:pt x="876" y="55"/>
                  </a:lnTo>
                  <a:lnTo>
                    <a:pt x="873" y="62"/>
                  </a:lnTo>
                  <a:lnTo>
                    <a:pt x="868" y="69"/>
                  </a:lnTo>
                  <a:lnTo>
                    <a:pt x="862" y="73"/>
                  </a:lnTo>
                  <a:lnTo>
                    <a:pt x="855" y="76"/>
                  </a:lnTo>
                  <a:lnTo>
                    <a:pt x="847" y="79"/>
                  </a:lnTo>
                  <a:lnTo>
                    <a:pt x="8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7" name="Group 48">
            <a:extLst>
              <a:ext uri="{FF2B5EF4-FFF2-40B4-BE49-F238E27FC236}">
                <a16:creationId xmlns:a16="http://schemas.microsoft.com/office/drawing/2014/main" id="{2B171553-D212-40B1-9B6C-D5DA5CC6665F}"/>
              </a:ext>
            </a:extLst>
          </p:cNvPr>
          <p:cNvGrpSpPr>
            <a:grpSpLocks noChangeAspect="1"/>
          </p:cNvGrpSpPr>
          <p:nvPr/>
        </p:nvGrpSpPr>
        <p:grpSpPr>
          <a:xfrm>
            <a:off x="1065227" y="5988207"/>
            <a:ext cx="308144" cy="221425"/>
            <a:chOff x="2223412" y="2552647"/>
            <a:chExt cx="664189" cy="477272"/>
          </a:xfrm>
          <a:solidFill>
            <a:schemeClr val="bg1"/>
          </a:solidFill>
          <a:effectLst/>
        </p:grpSpPr>
        <p:sp>
          <p:nvSpPr>
            <p:cNvPr id="358" name="Freeform 48">
              <a:extLst>
                <a:ext uri="{FF2B5EF4-FFF2-40B4-BE49-F238E27FC236}">
                  <a16:creationId xmlns:a16="http://schemas.microsoft.com/office/drawing/2014/main" id="{558FCA2C-6133-4EAE-94CB-27C7772B387E}"/>
                </a:ext>
              </a:extLst>
            </p:cNvPr>
            <p:cNvSpPr>
              <a:spLocks noEditPoints="1"/>
            </p:cNvSpPr>
            <p:nvPr/>
          </p:nvSpPr>
          <p:spPr bwMode="auto">
            <a:xfrm>
              <a:off x="2223412" y="2832507"/>
              <a:ext cx="664188" cy="197412"/>
            </a:xfrm>
            <a:custGeom>
              <a:avLst/>
              <a:gdLst>
                <a:gd name="T0" fmla="*/ 40 w 1079"/>
                <a:gd name="T1" fmla="*/ 279 h 319"/>
                <a:gd name="T2" fmla="*/ 1040 w 1079"/>
                <a:gd name="T3" fmla="*/ 279 h 319"/>
                <a:gd name="T4" fmla="*/ 1040 w 1079"/>
                <a:gd name="T5" fmla="*/ 40 h 319"/>
                <a:gd name="T6" fmla="*/ 40 w 1079"/>
                <a:gd name="T7" fmla="*/ 40 h 319"/>
                <a:gd name="T8" fmla="*/ 40 w 1079"/>
                <a:gd name="T9" fmla="*/ 279 h 319"/>
                <a:gd name="T10" fmla="*/ 1059 w 1079"/>
                <a:gd name="T11" fmla="*/ 319 h 319"/>
                <a:gd name="T12" fmla="*/ 20 w 1079"/>
                <a:gd name="T13" fmla="*/ 319 h 319"/>
                <a:gd name="T14" fmla="*/ 15 w 1079"/>
                <a:gd name="T15" fmla="*/ 319 h 319"/>
                <a:gd name="T16" fmla="*/ 11 w 1079"/>
                <a:gd name="T17" fmla="*/ 318 h 319"/>
                <a:gd name="T18" fmla="*/ 9 w 1079"/>
                <a:gd name="T19" fmla="*/ 317 h 319"/>
                <a:gd name="T20" fmla="*/ 5 w 1079"/>
                <a:gd name="T21" fmla="*/ 314 h 319"/>
                <a:gd name="T22" fmla="*/ 3 w 1079"/>
                <a:gd name="T23" fmla="*/ 311 h 319"/>
                <a:gd name="T24" fmla="*/ 1 w 1079"/>
                <a:gd name="T25" fmla="*/ 308 h 319"/>
                <a:gd name="T26" fmla="*/ 0 w 1079"/>
                <a:gd name="T27" fmla="*/ 304 h 319"/>
                <a:gd name="T28" fmla="*/ 0 w 1079"/>
                <a:gd name="T29" fmla="*/ 299 h 319"/>
                <a:gd name="T30" fmla="*/ 0 w 1079"/>
                <a:gd name="T31" fmla="*/ 20 h 319"/>
                <a:gd name="T32" fmla="*/ 0 w 1079"/>
                <a:gd name="T33" fmla="*/ 16 h 319"/>
                <a:gd name="T34" fmla="*/ 1 w 1079"/>
                <a:gd name="T35" fmla="*/ 12 h 319"/>
                <a:gd name="T36" fmla="*/ 3 w 1079"/>
                <a:gd name="T37" fmla="*/ 9 h 319"/>
                <a:gd name="T38" fmla="*/ 5 w 1079"/>
                <a:gd name="T39" fmla="*/ 6 h 319"/>
                <a:gd name="T40" fmla="*/ 9 w 1079"/>
                <a:gd name="T41" fmla="*/ 4 h 319"/>
                <a:gd name="T42" fmla="*/ 11 w 1079"/>
                <a:gd name="T43" fmla="*/ 1 h 319"/>
                <a:gd name="T44" fmla="*/ 15 w 1079"/>
                <a:gd name="T45" fmla="*/ 0 h 319"/>
                <a:gd name="T46" fmla="*/ 20 w 1079"/>
                <a:gd name="T47" fmla="*/ 0 h 319"/>
                <a:gd name="T48" fmla="*/ 1059 w 1079"/>
                <a:gd name="T49" fmla="*/ 0 h 319"/>
                <a:gd name="T50" fmla="*/ 1063 w 1079"/>
                <a:gd name="T51" fmla="*/ 0 h 319"/>
                <a:gd name="T52" fmla="*/ 1067 w 1079"/>
                <a:gd name="T53" fmla="*/ 1 h 319"/>
                <a:gd name="T54" fmla="*/ 1071 w 1079"/>
                <a:gd name="T55" fmla="*/ 4 h 319"/>
                <a:gd name="T56" fmla="*/ 1073 w 1079"/>
                <a:gd name="T57" fmla="*/ 6 h 319"/>
                <a:gd name="T58" fmla="*/ 1076 w 1079"/>
                <a:gd name="T59" fmla="*/ 9 h 319"/>
                <a:gd name="T60" fmla="*/ 1078 w 1079"/>
                <a:gd name="T61" fmla="*/ 12 h 319"/>
                <a:gd name="T62" fmla="*/ 1078 w 1079"/>
                <a:gd name="T63" fmla="*/ 16 h 319"/>
                <a:gd name="T64" fmla="*/ 1079 w 1079"/>
                <a:gd name="T65" fmla="*/ 20 h 319"/>
                <a:gd name="T66" fmla="*/ 1079 w 1079"/>
                <a:gd name="T67" fmla="*/ 299 h 319"/>
                <a:gd name="T68" fmla="*/ 1078 w 1079"/>
                <a:gd name="T69" fmla="*/ 304 h 319"/>
                <a:gd name="T70" fmla="*/ 1078 w 1079"/>
                <a:gd name="T71" fmla="*/ 308 h 319"/>
                <a:gd name="T72" fmla="*/ 1076 w 1079"/>
                <a:gd name="T73" fmla="*/ 311 h 319"/>
                <a:gd name="T74" fmla="*/ 1073 w 1079"/>
                <a:gd name="T75" fmla="*/ 314 h 319"/>
                <a:gd name="T76" fmla="*/ 1071 w 1079"/>
                <a:gd name="T77" fmla="*/ 317 h 319"/>
                <a:gd name="T78" fmla="*/ 1067 w 1079"/>
                <a:gd name="T79" fmla="*/ 318 h 319"/>
                <a:gd name="T80" fmla="*/ 1063 w 1079"/>
                <a:gd name="T81" fmla="*/ 319 h 319"/>
                <a:gd name="T82" fmla="*/ 1059 w 1079"/>
                <a:gd name="T83"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9" h="319">
                  <a:moveTo>
                    <a:pt x="40" y="279"/>
                  </a:moveTo>
                  <a:lnTo>
                    <a:pt x="1040" y="279"/>
                  </a:lnTo>
                  <a:lnTo>
                    <a:pt x="1040" y="40"/>
                  </a:lnTo>
                  <a:lnTo>
                    <a:pt x="40" y="40"/>
                  </a:lnTo>
                  <a:lnTo>
                    <a:pt x="40" y="279"/>
                  </a:lnTo>
                  <a:close/>
                  <a:moveTo>
                    <a:pt x="1059" y="319"/>
                  </a:moveTo>
                  <a:lnTo>
                    <a:pt x="20" y="319"/>
                  </a:lnTo>
                  <a:lnTo>
                    <a:pt x="15" y="319"/>
                  </a:lnTo>
                  <a:lnTo>
                    <a:pt x="11" y="318"/>
                  </a:lnTo>
                  <a:lnTo>
                    <a:pt x="9" y="317"/>
                  </a:lnTo>
                  <a:lnTo>
                    <a:pt x="5" y="314"/>
                  </a:lnTo>
                  <a:lnTo>
                    <a:pt x="3" y="311"/>
                  </a:lnTo>
                  <a:lnTo>
                    <a:pt x="1" y="308"/>
                  </a:lnTo>
                  <a:lnTo>
                    <a:pt x="0" y="304"/>
                  </a:lnTo>
                  <a:lnTo>
                    <a:pt x="0" y="299"/>
                  </a:lnTo>
                  <a:lnTo>
                    <a:pt x="0" y="20"/>
                  </a:lnTo>
                  <a:lnTo>
                    <a:pt x="0" y="16"/>
                  </a:lnTo>
                  <a:lnTo>
                    <a:pt x="1" y="12"/>
                  </a:lnTo>
                  <a:lnTo>
                    <a:pt x="3" y="9"/>
                  </a:lnTo>
                  <a:lnTo>
                    <a:pt x="5" y="6"/>
                  </a:lnTo>
                  <a:lnTo>
                    <a:pt x="9" y="4"/>
                  </a:lnTo>
                  <a:lnTo>
                    <a:pt x="11" y="1"/>
                  </a:lnTo>
                  <a:lnTo>
                    <a:pt x="15" y="0"/>
                  </a:lnTo>
                  <a:lnTo>
                    <a:pt x="20" y="0"/>
                  </a:lnTo>
                  <a:lnTo>
                    <a:pt x="1059" y="0"/>
                  </a:lnTo>
                  <a:lnTo>
                    <a:pt x="1063" y="0"/>
                  </a:lnTo>
                  <a:lnTo>
                    <a:pt x="1067" y="1"/>
                  </a:lnTo>
                  <a:lnTo>
                    <a:pt x="1071" y="4"/>
                  </a:lnTo>
                  <a:lnTo>
                    <a:pt x="1073" y="6"/>
                  </a:lnTo>
                  <a:lnTo>
                    <a:pt x="1076" y="9"/>
                  </a:lnTo>
                  <a:lnTo>
                    <a:pt x="1078" y="12"/>
                  </a:lnTo>
                  <a:lnTo>
                    <a:pt x="1078" y="16"/>
                  </a:lnTo>
                  <a:lnTo>
                    <a:pt x="1079" y="20"/>
                  </a:lnTo>
                  <a:lnTo>
                    <a:pt x="1079" y="299"/>
                  </a:lnTo>
                  <a:lnTo>
                    <a:pt x="1078" y="304"/>
                  </a:lnTo>
                  <a:lnTo>
                    <a:pt x="1078" y="308"/>
                  </a:lnTo>
                  <a:lnTo>
                    <a:pt x="1076" y="311"/>
                  </a:lnTo>
                  <a:lnTo>
                    <a:pt x="1073" y="314"/>
                  </a:lnTo>
                  <a:lnTo>
                    <a:pt x="1071" y="317"/>
                  </a:lnTo>
                  <a:lnTo>
                    <a:pt x="1067" y="318"/>
                  </a:lnTo>
                  <a:lnTo>
                    <a:pt x="1063" y="319"/>
                  </a:lnTo>
                  <a:lnTo>
                    <a:pt x="105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49">
              <a:extLst>
                <a:ext uri="{FF2B5EF4-FFF2-40B4-BE49-F238E27FC236}">
                  <a16:creationId xmlns:a16="http://schemas.microsoft.com/office/drawing/2014/main" id="{D058CCE8-3E35-4BA4-8D26-9F197817F5DE}"/>
                </a:ext>
              </a:extLst>
            </p:cNvPr>
            <p:cNvSpPr>
              <a:spLocks/>
            </p:cNvSpPr>
            <p:nvPr/>
          </p:nvSpPr>
          <p:spPr bwMode="auto">
            <a:xfrm>
              <a:off x="2592406" y="2684909"/>
              <a:ext cx="295195" cy="173427"/>
            </a:xfrm>
            <a:custGeom>
              <a:avLst/>
              <a:gdLst>
                <a:gd name="T0" fmla="*/ 460 w 480"/>
                <a:gd name="T1" fmla="*/ 280 h 280"/>
                <a:gd name="T2" fmla="*/ 456 w 480"/>
                <a:gd name="T3" fmla="*/ 280 h 280"/>
                <a:gd name="T4" fmla="*/ 452 w 480"/>
                <a:gd name="T5" fmla="*/ 278 h 280"/>
                <a:gd name="T6" fmla="*/ 448 w 480"/>
                <a:gd name="T7" fmla="*/ 276 h 280"/>
                <a:gd name="T8" fmla="*/ 444 w 480"/>
                <a:gd name="T9" fmla="*/ 272 h 280"/>
                <a:gd name="T10" fmla="*/ 251 w 480"/>
                <a:gd name="T11" fmla="*/ 40 h 280"/>
                <a:gd name="T12" fmla="*/ 21 w 480"/>
                <a:gd name="T13" fmla="*/ 40 h 280"/>
                <a:gd name="T14" fmla="*/ 16 w 480"/>
                <a:gd name="T15" fmla="*/ 40 h 280"/>
                <a:gd name="T16" fmla="*/ 12 w 480"/>
                <a:gd name="T17" fmla="*/ 39 h 280"/>
                <a:gd name="T18" fmla="*/ 10 w 480"/>
                <a:gd name="T19" fmla="*/ 36 h 280"/>
                <a:gd name="T20" fmla="*/ 6 w 480"/>
                <a:gd name="T21" fmla="*/ 34 h 280"/>
                <a:gd name="T22" fmla="*/ 3 w 480"/>
                <a:gd name="T23" fmla="*/ 31 h 280"/>
                <a:gd name="T24" fmla="*/ 2 w 480"/>
                <a:gd name="T25" fmla="*/ 27 h 280"/>
                <a:gd name="T26" fmla="*/ 1 w 480"/>
                <a:gd name="T27" fmla="*/ 24 h 280"/>
                <a:gd name="T28" fmla="*/ 0 w 480"/>
                <a:gd name="T29" fmla="*/ 20 h 280"/>
                <a:gd name="T30" fmla="*/ 1 w 480"/>
                <a:gd name="T31" fmla="*/ 16 h 280"/>
                <a:gd name="T32" fmla="*/ 2 w 480"/>
                <a:gd name="T33" fmla="*/ 13 h 280"/>
                <a:gd name="T34" fmla="*/ 3 w 480"/>
                <a:gd name="T35" fmla="*/ 9 h 280"/>
                <a:gd name="T36" fmla="*/ 6 w 480"/>
                <a:gd name="T37" fmla="*/ 5 h 280"/>
                <a:gd name="T38" fmla="*/ 10 w 480"/>
                <a:gd name="T39" fmla="*/ 3 h 280"/>
                <a:gd name="T40" fmla="*/ 12 w 480"/>
                <a:gd name="T41" fmla="*/ 1 h 280"/>
                <a:gd name="T42" fmla="*/ 16 w 480"/>
                <a:gd name="T43" fmla="*/ 0 h 280"/>
                <a:gd name="T44" fmla="*/ 21 w 480"/>
                <a:gd name="T45" fmla="*/ 0 h 280"/>
                <a:gd name="T46" fmla="*/ 261 w 480"/>
                <a:gd name="T47" fmla="*/ 0 h 280"/>
                <a:gd name="T48" fmla="*/ 264 w 480"/>
                <a:gd name="T49" fmla="*/ 0 h 280"/>
                <a:gd name="T50" fmla="*/ 269 w 480"/>
                <a:gd name="T51" fmla="*/ 1 h 280"/>
                <a:gd name="T52" fmla="*/ 273 w 480"/>
                <a:gd name="T53" fmla="*/ 4 h 280"/>
                <a:gd name="T54" fmla="*/ 275 w 480"/>
                <a:gd name="T55" fmla="*/ 6 h 280"/>
                <a:gd name="T56" fmla="*/ 475 w 480"/>
                <a:gd name="T57" fmla="*/ 247 h 280"/>
                <a:gd name="T58" fmla="*/ 478 w 480"/>
                <a:gd name="T59" fmla="*/ 250 h 280"/>
                <a:gd name="T60" fmla="*/ 479 w 480"/>
                <a:gd name="T61" fmla="*/ 254 h 280"/>
                <a:gd name="T62" fmla="*/ 480 w 480"/>
                <a:gd name="T63" fmla="*/ 257 h 280"/>
                <a:gd name="T64" fmla="*/ 480 w 480"/>
                <a:gd name="T65" fmla="*/ 261 h 280"/>
                <a:gd name="T66" fmla="*/ 479 w 480"/>
                <a:gd name="T67" fmla="*/ 265 h 280"/>
                <a:gd name="T68" fmla="*/ 478 w 480"/>
                <a:gd name="T69" fmla="*/ 269 h 280"/>
                <a:gd name="T70" fmla="*/ 475 w 480"/>
                <a:gd name="T71" fmla="*/ 272 h 280"/>
                <a:gd name="T72" fmla="*/ 473 w 480"/>
                <a:gd name="T73" fmla="*/ 275 h 280"/>
                <a:gd name="T74" fmla="*/ 467 w 480"/>
                <a:gd name="T75" fmla="*/ 278 h 280"/>
                <a:gd name="T76" fmla="*/ 460 w 480"/>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 h="280">
                  <a:moveTo>
                    <a:pt x="460" y="280"/>
                  </a:moveTo>
                  <a:lnTo>
                    <a:pt x="456" y="280"/>
                  </a:lnTo>
                  <a:lnTo>
                    <a:pt x="452" y="278"/>
                  </a:lnTo>
                  <a:lnTo>
                    <a:pt x="448" y="276"/>
                  </a:lnTo>
                  <a:lnTo>
                    <a:pt x="444" y="272"/>
                  </a:lnTo>
                  <a:lnTo>
                    <a:pt x="251" y="40"/>
                  </a:lnTo>
                  <a:lnTo>
                    <a:pt x="21" y="40"/>
                  </a:lnTo>
                  <a:lnTo>
                    <a:pt x="16" y="40"/>
                  </a:lnTo>
                  <a:lnTo>
                    <a:pt x="12" y="39"/>
                  </a:lnTo>
                  <a:lnTo>
                    <a:pt x="10" y="36"/>
                  </a:lnTo>
                  <a:lnTo>
                    <a:pt x="6" y="34"/>
                  </a:lnTo>
                  <a:lnTo>
                    <a:pt x="3" y="31"/>
                  </a:lnTo>
                  <a:lnTo>
                    <a:pt x="2" y="27"/>
                  </a:lnTo>
                  <a:lnTo>
                    <a:pt x="1" y="24"/>
                  </a:lnTo>
                  <a:lnTo>
                    <a:pt x="0" y="20"/>
                  </a:lnTo>
                  <a:lnTo>
                    <a:pt x="1" y="16"/>
                  </a:lnTo>
                  <a:lnTo>
                    <a:pt x="2" y="13"/>
                  </a:lnTo>
                  <a:lnTo>
                    <a:pt x="3" y="9"/>
                  </a:lnTo>
                  <a:lnTo>
                    <a:pt x="6" y="5"/>
                  </a:lnTo>
                  <a:lnTo>
                    <a:pt x="10" y="3"/>
                  </a:lnTo>
                  <a:lnTo>
                    <a:pt x="12" y="1"/>
                  </a:lnTo>
                  <a:lnTo>
                    <a:pt x="16" y="0"/>
                  </a:lnTo>
                  <a:lnTo>
                    <a:pt x="21" y="0"/>
                  </a:lnTo>
                  <a:lnTo>
                    <a:pt x="261" y="0"/>
                  </a:lnTo>
                  <a:lnTo>
                    <a:pt x="264" y="0"/>
                  </a:lnTo>
                  <a:lnTo>
                    <a:pt x="269" y="1"/>
                  </a:lnTo>
                  <a:lnTo>
                    <a:pt x="273" y="4"/>
                  </a:lnTo>
                  <a:lnTo>
                    <a:pt x="275" y="6"/>
                  </a:lnTo>
                  <a:lnTo>
                    <a:pt x="475" y="247"/>
                  </a:lnTo>
                  <a:lnTo>
                    <a:pt x="478" y="250"/>
                  </a:lnTo>
                  <a:lnTo>
                    <a:pt x="479" y="254"/>
                  </a:lnTo>
                  <a:lnTo>
                    <a:pt x="480" y="257"/>
                  </a:lnTo>
                  <a:lnTo>
                    <a:pt x="480" y="261"/>
                  </a:lnTo>
                  <a:lnTo>
                    <a:pt x="479" y="265"/>
                  </a:lnTo>
                  <a:lnTo>
                    <a:pt x="478" y="269"/>
                  </a:lnTo>
                  <a:lnTo>
                    <a:pt x="475" y="272"/>
                  </a:lnTo>
                  <a:lnTo>
                    <a:pt x="473" y="275"/>
                  </a:lnTo>
                  <a:lnTo>
                    <a:pt x="467" y="278"/>
                  </a:lnTo>
                  <a:lnTo>
                    <a:pt x="46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50">
              <a:extLst>
                <a:ext uri="{FF2B5EF4-FFF2-40B4-BE49-F238E27FC236}">
                  <a16:creationId xmlns:a16="http://schemas.microsoft.com/office/drawing/2014/main" id="{B3C3F27F-A180-4D1B-92A8-3B3E3851BD53}"/>
                </a:ext>
              </a:extLst>
            </p:cNvPr>
            <p:cNvSpPr>
              <a:spLocks/>
            </p:cNvSpPr>
            <p:nvPr/>
          </p:nvSpPr>
          <p:spPr bwMode="auto">
            <a:xfrm>
              <a:off x="2223412" y="2684909"/>
              <a:ext cx="295195" cy="173427"/>
            </a:xfrm>
            <a:custGeom>
              <a:avLst/>
              <a:gdLst>
                <a:gd name="T0" fmla="*/ 20 w 479"/>
                <a:gd name="T1" fmla="*/ 280 h 280"/>
                <a:gd name="T2" fmla="*/ 12 w 479"/>
                <a:gd name="T3" fmla="*/ 278 h 280"/>
                <a:gd name="T4" fmla="*/ 6 w 479"/>
                <a:gd name="T5" fmla="*/ 275 h 280"/>
                <a:gd name="T6" fmla="*/ 4 w 479"/>
                <a:gd name="T7" fmla="*/ 272 h 280"/>
                <a:gd name="T8" fmla="*/ 1 w 479"/>
                <a:gd name="T9" fmla="*/ 269 h 280"/>
                <a:gd name="T10" fmla="*/ 0 w 479"/>
                <a:gd name="T11" fmla="*/ 265 h 280"/>
                <a:gd name="T12" fmla="*/ 0 w 479"/>
                <a:gd name="T13" fmla="*/ 261 h 280"/>
                <a:gd name="T14" fmla="*/ 0 w 479"/>
                <a:gd name="T15" fmla="*/ 257 h 280"/>
                <a:gd name="T16" fmla="*/ 0 w 479"/>
                <a:gd name="T17" fmla="*/ 254 h 280"/>
                <a:gd name="T18" fmla="*/ 1 w 479"/>
                <a:gd name="T19" fmla="*/ 250 h 280"/>
                <a:gd name="T20" fmla="*/ 4 w 479"/>
                <a:gd name="T21" fmla="*/ 247 h 280"/>
                <a:gd name="T22" fmla="*/ 204 w 479"/>
                <a:gd name="T23" fmla="*/ 6 h 280"/>
                <a:gd name="T24" fmla="*/ 207 w 479"/>
                <a:gd name="T25" fmla="*/ 4 h 280"/>
                <a:gd name="T26" fmla="*/ 211 w 479"/>
                <a:gd name="T27" fmla="*/ 1 h 280"/>
                <a:gd name="T28" fmla="*/ 215 w 479"/>
                <a:gd name="T29" fmla="*/ 0 h 280"/>
                <a:gd name="T30" fmla="*/ 220 w 479"/>
                <a:gd name="T31" fmla="*/ 0 h 280"/>
                <a:gd name="T32" fmla="*/ 460 w 479"/>
                <a:gd name="T33" fmla="*/ 0 h 280"/>
                <a:gd name="T34" fmla="*/ 463 w 479"/>
                <a:gd name="T35" fmla="*/ 0 h 280"/>
                <a:gd name="T36" fmla="*/ 467 w 479"/>
                <a:gd name="T37" fmla="*/ 1 h 280"/>
                <a:gd name="T38" fmla="*/ 471 w 479"/>
                <a:gd name="T39" fmla="*/ 3 h 280"/>
                <a:gd name="T40" fmla="*/ 473 w 479"/>
                <a:gd name="T41" fmla="*/ 5 h 280"/>
                <a:gd name="T42" fmla="*/ 476 w 479"/>
                <a:gd name="T43" fmla="*/ 9 h 280"/>
                <a:gd name="T44" fmla="*/ 478 w 479"/>
                <a:gd name="T45" fmla="*/ 13 h 280"/>
                <a:gd name="T46" fmla="*/ 479 w 479"/>
                <a:gd name="T47" fmla="*/ 16 h 280"/>
                <a:gd name="T48" fmla="*/ 479 w 479"/>
                <a:gd name="T49" fmla="*/ 20 h 280"/>
                <a:gd name="T50" fmla="*/ 479 w 479"/>
                <a:gd name="T51" fmla="*/ 24 h 280"/>
                <a:gd name="T52" fmla="*/ 478 w 479"/>
                <a:gd name="T53" fmla="*/ 27 h 280"/>
                <a:gd name="T54" fmla="*/ 476 w 479"/>
                <a:gd name="T55" fmla="*/ 31 h 280"/>
                <a:gd name="T56" fmla="*/ 473 w 479"/>
                <a:gd name="T57" fmla="*/ 34 h 280"/>
                <a:gd name="T58" fmla="*/ 471 w 479"/>
                <a:gd name="T59" fmla="*/ 36 h 280"/>
                <a:gd name="T60" fmla="*/ 467 w 479"/>
                <a:gd name="T61" fmla="*/ 39 h 280"/>
                <a:gd name="T62" fmla="*/ 463 w 479"/>
                <a:gd name="T63" fmla="*/ 40 h 280"/>
                <a:gd name="T64" fmla="*/ 460 w 479"/>
                <a:gd name="T65" fmla="*/ 40 h 280"/>
                <a:gd name="T66" fmla="*/ 229 w 479"/>
                <a:gd name="T67" fmla="*/ 40 h 280"/>
                <a:gd name="T68" fmla="*/ 35 w 479"/>
                <a:gd name="T69" fmla="*/ 272 h 280"/>
                <a:gd name="T70" fmla="*/ 31 w 479"/>
                <a:gd name="T71" fmla="*/ 276 h 280"/>
                <a:gd name="T72" fmla="*/ 27 w 479"/>
                <a:gd name="T73" fmla="*/ 278 h 280"/>
                <a:gd name="T74" fmla="*/ 24 w 479"/>
                <a:gd name="T75" fmla="*/ 280 h 280"/>
                <a:gd name="T76" fmla="*/ 20 w 479"/>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9" h="280">
                  <a:moveTo>
                    <a:pt x="20" y="280"/>
                  </a:moveTo>
                  <a:lnTo>
                    <a:pt x="12" y="278"/>
                  </a:lnTo>
                  <a:lnTo>
                    <a:pt x="6" y="275"/>
                  </a:lnTo>
                  <a:lnTo>
                    <a:pt x="4" y="272"/>
                  </a:lnTo>
                  <a:lnTo>
                    <a:pt x="1" y="269"/>
                  </a:lnTo>
                  <a:lnTo>
                    <a:pt x="0" y="265"/>
                  </a:lnTo>
                  <a:lnTo>
                    <a:pt x="0" y="261"/>
                  </a:lnTo>
                  <a:lnTo>
                    <a:pt x="0" y="257"/>
                  </a:lnTo>
                  <a:lnTo>
                    <a:pt x="0" y="254"/>
                  </a:lnTo>
                  <a:lnTo>
                    <a:pt x="1" y="250"/>
                  </a:lnTo>
                  <a:lnTo>
                    <a:pt x="4" y="247"/>
                  </a:lnTo>
                  <a:lnTo>
                    <a:pt x="204" y="6"/>
                  </a:lnTo>
                  <a:lnTo>
                    <a:pt x="207" y="4"/>
                  </a:lnTo>
                  <a:lnTo>
                    <a:pt x="211" y="1"/>
                  </a:lnTo>
                  <a:lnTo>
                    <a:pt x="215" y="0"/>
                  </a:lnTo>
                  <a:lnTo>
                    <a:pt x="220" y="0"/>
                  </a:lnTo>
                  <a:lnTo>
                    <a:pt x="460" y="0"/>
                  </a:lnTo>
                  <a:lnTo>
                    <a:pt x="463" y="0"/>
                  </a:lnTo>
                  <a:lnTo>
                    <a:pt x="467" y="1"/>
                  </a:lnTo>
                  <a:lnTo>
                    <a:pt x="471" y="3"/>
                  </a:lnTo>
                  <a:lnTo>
                    <a:pt x="473" y="5"/>
                  </a:lnTo>
                  <a:lnTo>
                    <a:pt x="476" y="9"/>
                  </a:lnTo>
                  <a:lnTo>
                    <a:pt x="478" y="13"/>
                  </a:lnTo>
                  <a:lnTo>
                    <a:pt x="479" y="16"/>
                  </a:lnTo>
                  <a:lnTo>
                    <a:pt x="479" y="20"/>
                  </a:lnTo>
                  <a:lnTo>
                    <a:pt x="479" y="24"/>
                  </a:lnTo>
                  <a:lnTo>
                    <a:pt x="478" y="27"/>
                  </a:lnTo>
                  <a:lnTo>
                    <a:pt x="476" y="31"/>
                  </a:lnTo>
                  <a:lnTo>
                    <a:pt x="473" y="34"/>
                  </a:lnTo>
                  <a:lnTo>
                    <a:pt x="471" y="36"/>
                  </a:lnTo>
                  <a:lnTo>
                    <a:pt x="467" y="39"/>
                  </a:lnTo>
                  <a:lnTo>
                    <a:pt x="463" y="40"/>
                  </a:lnTo>
                  <a:lnTo>
                    <a:pt x="460" y="40"/>
                  </a:lnTo>
                  <a:lnTo>
                    <a:pt x="229" y="40"/>
                  </a:lnTo>
                  <a:lnTo>
                    <a:pt x="35" y="272"/>
                  </a:lnTo>
                  <a:lnTo>
                    <a:pt x="31" y="276"/>
                  </a:lnTo>
                  <a:lnTo>
                    <a:pt x="27" y="278"/>
                  </a:lnTo>
                  <a:lnTo>
                    <a:pt x="24" y="280"/>
                  </a:lnTo>
                  <a:lnTo>
                    <a:pt x="20"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51">
              <a:extLst>
                <a:ext uri="{FF2B5EF4-FFF2-40B4-BE49-F238E27FC236}">
                  <a16:creationId xmlns:a16="http://schemas.microsoft.com/office/drawing/2014/main" id="{30811D99-003D-4734-BF3D-F6396819A599}"/>
                </a:ext>
              </a:extLst>
            </p:cNvPr>
            <p:cNvSpPr>
              <a:spLocks/>
            </p:cNvSpPr>
            <p:nvPr/>
          </p:nvSpPr>
          <p:spPr bwMode="auto">
            <a:xfrm>
              <a:off x="2544437" y="2552647"/>
              <a:ext cx="25830" cy="293350"/>
            </a:xfrm>
            <a:custGeom>
              <a:avLst/>
              <a:gdLst>
                <a:gd name="T0" fmla="*/ 20 w 41"/>
                <a:gd name="T1" fmla="*/ 478 h 478"/>
                <a:gd name="T2" fmla="*/ 16 w 41"/>
                <a:gd name="T3" fmla="*/ 478 h 478"/>
                <a:gd name="T4" fmla="*/ 12 w 41"/>
                <a:gd name="T5" fmla="*/ 477 h 478"/>
                <a:gd name="T6" fmla="*/ 8 w 41"/>
                <a:gd name="T7" fmla="*/ 475 h 478"/>
                <a:gd name="T8" fmla="*/ 6 w 41"/>
                <a:gd name="T9" fmla="*/ 472 h 478"/>
                <a:gd name="T10" fmla="*/ 3 w 41"/>
                <a:gd name="T11" fmla="*/ 470 h 478"/>
                <a:gd name="T12" fmla="*/ 2 w 41"/>
                <a:gd name="T13" fmla="*/ 466 h 478"/>
                <a:gd name="T14" fmla="*/ 1 w 41"/>
                <a:gd name="T15" fmla="*/ 462 h 478"/>
                <a:gd name="T16" fmla="*/ 0 w 41"/>
                <a:gd name="T17" fmla="*/ 459 h 478"/>
                <a:gd name="T18" fmla="*/ 0 w 41"/>
                <a:gd name="T19" fmla="*/ 20 h 478"/>
                <a:gd name="T20" fmla="*/ 1 w 41"/>
                <a:gd name="T21" fmla="*/ 16 h 478"/>
                <a:gd name="T22" fmla="*/ 2 w 41"/>
                <a:gd name="T23" fmla="*/ 13 h 478"/>
                <a:gd name="T24" fmla="*/ 3 w 41"/>
                <a:gd name="T25" fmla="*/ 9 h 478"/>
                <a:gd name="T26" fmla="*/ 6 w 41"/>
                <a:gd name="T27" fmla="*/ 5 h 478"/>
                <a:gd name="T28" fmla="*/ 8 w 41"/>
                <a:gd name="T29" fmla="*/ 3 h 478"/>
                <a:gd name="T30" fmla="*/ 12 w 41"/>
                <a:gd name="T31" fmla="*/ 1 h 478"/>
                <a:gd name="T32" fmla="*/ 16 w 41"/>
                <a:gd name="T33" fmla="*/ 0 h 478"/>
                <a:gd name="T34" fmla="*/ 20 w 41"/>
                <a:gd name="T35" fmla="*/ 0 h 478"/>
                <a:gd name="T36" fmla="*/ 25 w 41"/>
                <a:gd name="T37" fmla="*/ 0 h 478"/>
                <a:gd name="T38" fmla="*/ 28 w 41"/>
                <a:gd name="T39" fmla="*/ 1 h 478"/>
                <a:gd name="T40" fmla="*/ 31 w 41"/>
                <a:gd name="T41" fmla="*/ 3 h 478"/>
                <a:gd name="T42" fmla="*/ 34 w 41"/>
                <a:gd name="T43" fmla="*/ 5 h 478"/>
                <a:gd name="T44" fmla="*/ 37 w 41"/>
                <a:gd name="T45" fmla="*/ 9 h 478"/>
                <a:gd name="T46" fmla="*/ 38 w 41"/>
                <a:gd name="T47" fmla="*/ 13 h 478"/>
                <a:gd name="T48" fmla="*/ 39 w 41"/>
                <a:gd name="T49" fmla="*/ 16 h 478"/>
                <a:gd name="T50" fmla="*/ 41 w 41"/>
                <a:gd name="T51" fmla="*/ 20 h 478"/>
                <a:gd name="T52" fmla="*/ 41 w 41"/>
                <a:gd name="T53" fmla="*/ 459 h 478"/>
                <a:gd name="T54" fmla="*/ 39 w 41"/>
                <a:gd name="T55" fmla="*/ 462 h 478"/>
                <a:gd name="T56" fmla="*/ 38 w 41"/>
                <a:gd name="T57" fmla="*/ 466 h 478"/>
                <a:gd name="T58" fmla="*/ 37 w 41"/>
                <a:gd name="T59" fmla="*/ 470 h 478"/>
                <a:gd name="T60" fmla="*/ 34 w 41"/>
                <a:gd name="T61" fmla="*/ 472 h 478"/>
                <a:gd name="T62" fmla="*/ 31 w 41"/>
                <a:gd name="T63" fmla="*/ 475 h 478"/>
                <a:gd name="T64" fmla="*/ 28 w 41"/>
                <a:gd name="T65" fmla="*/ 477 h 478"/>
                <a:gd name="T66" fmla="*/ 25 w 41"/>
                <a:gd name="T67" fmla="*/ 478 h 478"/>
                <a:gd name="T68" fmla="*/ 20 w 41"/>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 h="478">
                  <a:moveTo>
                    <a:pt x="20" y="478"/>
                  </a:moveTo>
                  <a:lnTo>
                    <a:pt x="16" y="478"/>
                  </a:lnTo>
                  <a:lnTo>
                    <a:pt x="12" y="477"/>
                  </a:lnTo>
                  <a:lnTo>
                    <a:pt x="8" y="475"/>
                  </a:lnTo>
                  <a:lnTo>
                    <a:pt x="6" y="472"/>
                  </a:lnTo>
                  <a:lnTo>
                    <a:pt x="3" y="470"/>
                  </a:lnTo>
                  <a:lnTo>
                    <a:pt x="2" y="466"/>
                  </a:lnTo>
                  <a:lnTo>
                    <a:pt x="1" y="462"/>
                  </a:lnTo>
                  <a:lnTo>
                    <a:pt x="0" y="459"/>
                  </a:lnTo>
                  <a:lnTo>
                    <a:pt x="0" y="20"/>
                  </a:lnTo>
                  <a:lnTo>
                    <a:pt x="1" y="16"/>
                  </a:lnTo>
                  <a:lnTo>
                    <a:pt x="2" y="13"/>
                  </a:lnTo>
                  <a:lnTo>
                    <a:pt x="3" y="9"/>
                  </a:lnTo>
                  <a:lnTo>
                    <a:pt x="6" y="5"/>
                  </a:lnTo>
                  <a:lnTo>
                    <a:pt x="8" y="3"/>
                  </a:lnTo>
                  <a:lnTo>
                    <a:pt x="12" y="1"/>
                  </a:lnTo>
                  <a:lnTo>
                    <a:pt x="16" y="0"/>
                  </a:lnTo>
                  <a:lnTo>
                    <a:pt x="20" y="0"/>
                  </a:lnTo>
                  <a:lnTo>
                    <a:pt x="25" y="0"/>
                  </a:lnTo>
                  <a:lnTo>
                    <a:pt x="28" y="1"/>
                  </a:lnTo>
                  <a:lnTo>
                    <a:pt x="31" y="3"/>
                  </a:lnTo>
                  <a:lnTo>
                    <a:pt x="34" y="5"/>
                  </a:lnTo>
                  <a:lnTo>
                    <a:pt x="37" y="9"/>
                  </a:lnTo>
                  <a:lnTo>
                    <a:pt x="38" y="13"/>
                  </a:lnTo>
                  <a:lnTo>
                    <a:pt x="39" y="16"/>
                  </a:lnTo>
                  <a:lnTo>
                    <a:pt x="41" y="20"/>
                  </a:lnTo>
                  <a:lnTo>
                    <a:pt x="41" y="459"/>
                  </a:lnTo>
                  <a:lnTo>
                    <a:pt x="39" y="462"/>
                  </a:lnTo>
                  <a:lnTo>
                    <a:pt x="38" y="466"/>
                  </a:lnTo>
                  <a:lnTo>
                    <a:pt x="37" y="470"/>
                  </a:lnTo>
                  <a:lnTo>
                    <a:pt x="34" y="472"/>
                  </a:lnTo>
                  <a:lnTo>
                    <a:pt x="31" y="475"/>
                  </a:lnTo>
                  <a:lnTo>
                    <a:pt x="28" y="477"/>
                  </a:lnTo>
                  <a:lnTo>
                    <a:pt x="25" y="478"/>
                  </a:lnTo>
                  <a:lnTo>
                    <a:pt x="2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52">
              <a:extLst>
                <a:ext uri="{FF2B5EF4-FFF2-40B4-BE49-F238E27FC236}">
                  <a16:creationId xmlns:a16="http://schemas.microsoft.com/office/drawing/2014/main" id="{279AACCB-0552-4B5C-9983-8F5B9F6A2B02}"/>
                </a:ext>
              </a:extLst>
            </p:cNvPr>
            <p:cNvSpPr>
              <a:spLocks/>
            </p:cNvSpPr>
            <p:nvPr/>
          </p:nvSpPr>
          <p:spPr bwMode="auto">
            <a:xfrm>
              <a:off x="2468794" y="2748214"/>
              <a:ext cx="173427" cy="99628"/>
            </a:xfrm>
            <a:custGeom>
              <a:avLst/>
              <a:gdLst>
                <a:gd name="T0" fmla="*/ 140 w 282"/>
                <a:gd name="T1" fmla="*/ 162 h 162"/>
                <a:gd name="T2" fmla="*/ 137 w 282"/>
                <a:gd name="T3" fmla="*/ 162 h 162"/>
                <a:gd name="T4" fmla="*/ 133 w 282"/>
                <a:gd name="T5" fmla="*/ 160 h 162"/>
                <a:gd name="T6" fmla="*/ 129 w 282"/>
                <a:gd name="T7" fmla="*/ 158 h 162"/>
                <a:gd name="T8" fmla="*/ 127 w 282"/>
                <a:gd name="T9" fmla="*/ 155 h 162"/>
                <a:gd name="T10" fmla="*/ 5 w 282"/>
                <a:gd name="T11" fmla="*/ 35 h 162"/>
                <a:gd name="T12" fmla="*/ 2 w 282"/>
                <a:gd name="T13" fmla="*/ 31 h 162"/>
                <a:gd name="T14" fmla="*/ 1 w 282"/>
                <a:gd name="T15" fmla="*/ 28 h 162"/>
                <a:gd name="T16" fmla="*/ 0 w 282"/>
                <a:gd name="T17" fmla="*/ 24 h 162"/>
                <a:gd name="T18" fmla="*/ 0 w 282"/>
                <a:gd name="T19" fmla="*/ 20 h 162"/>
                <a:gd name="T20" fmla="*/ 0 w 282"/>
                <a:gd name="T21" fmla="*/ 16 h 162"/>
                <a:gd name="T22" fmla="*/ 1 w 282"/>
                <a:gd name="T23" fmla="*/ 13 h 162"/>
                <a:gd name="T24" fmla="*/ 2 w 282"/>
                <a:gd name="T25" fmla="*/ 9 h 162"/>
                <a:gd name="T26" fmla="*/ 5 w 282"/>
                <a:gd name="T27" fmla="*/ 6 h 162"/>
                <a:gd name="T28" fmla="*/ 9 w 282"/>
                <a:gd name="T29" fmla="*/ 4 h 162"/>
                <a:gd name="T30" fmla="*/ 12 w 282"/>
                <a:gd name="T31" fmla="*/ 1 h 162"/>
                <a:gd name="T32" fmla="*/ 16 w 282"/>
                <a:gd name="T33" fmla="*/ 0 h 162"/>
                <a:gd name="T34" fmla="*/ 20 w 282"/>
                <a:gd name="T35" fmla="*/ 0 h 162"/>
                <a:gd name="T36" fmla="*/ 24 w 282"/>
                <a:gd name="T37" fmla="*/ 0 h 162"/>
                <a:gd name="T38" fmla="*/ 27 w 282"/>
                <a:gd name="T39" fmla="*/ 1 h 162"/>
                <a:gd name="T40" fmla="*/ 30 w 282"/>
                <a:gd name="T41" fmla="*/ 4 h 162"/>
                <a:gd name="T42" fmla="*/ 34 w 282"/>
                <a:gd name="T43" fmla="*/ 6 h 162"/>
                <a:gd name="T44" fmla="*/ 140 w 282"/>
                <a:gd name="T45" fmla="*/ 113 h 162"/>
                <a:gd name="T46" fmla="*/ 248 w 282"/>
                <a:gd name="T47" fmla="*/ 6 h 162"/>
                <a:gd name="T48" fmla="*/ 251 w 282"/>
                <a:gd name="T49" fmla="*/ 4 h 162"/>
                <a:gd name="T50" fmla="*/ 255 w 282"/>
                <a:gd name="T51" fmla="*/ 1 h 162"/>
                <a:gd name="T52" fmla="*/ 258 w 282"/>
                <a:gd name="T53" fmla="*/ 0 h 162"/>
                <a:gd name="T54" fmla="*/ 262 w 282"/>
                <a:gd name="T55" fmla="*/ 0 h 162"/>
                <a:gd name="T56" fmla="*/ 266 w 282"/>
                <a:gd name="T57" fmla="*/ 0 h 162"/>
                <a:gd name="T58" fmla="*/ 269 w 282"/>
                <a:gd name="T59" fmla="*/ 1 h 162"/>
                <a:gd name="T60" fmla="*/ 273 w 282"/>
                <a:gd name="T61" fmla="*/ 4 h 162"/>
                <a:gd name="T62" fmla="*/ 276 w 282"/>
                <a:gd name="T63" fmla="*/ 6 h 162"/>
                <a:gd name="T64" fmla="*/ 279 w 282"/>
                <a:gd name="T65" fmla="*/ 9 h 162"/>
                <a:gd name="T66" fmla="*/ 281 w 282"/>
                <a:gd name="T67" fmla="*/ 13 h 162"/>
                <a:gd name="T68" fmla="*/ 282 w 282"/>
                <a:gd name="T69" fmla="*/ 16 h 162"/>
                <a:gd name="T70" fmla="*/ 282 w 282"/>
                <a:gd name="T71" fmla="*/ 20 h 162"/>
                <a:gd name="T72" fmla="*/ 282 w 282"/>
                <a:gd name="T73" fmla="*/ 24 h 162"/>
                <a:gd name="T74" fmla="*/ 281 w 282"/>
                <a:gd name="T75" fmla="*/ 28 h 162"/>
                <a:gd name="T76" fmla="*/ 279 w 282"/>
                <a:gd name="T77" fmla="*/ 31 h 162"/>
                <a:gd name="T78" fmla="*/ 276 w 282"/>
                <a:gd name="T79" fmla="*/ 35 h 162"/>
                <a:gd name="T80" fmla="*/ 155 w 282"/>
                <a:gd name="T81" fmla="*/ 155 h 162"/>
                <a:gd name="T82" fmla="*/ 152 w 282"/>
                <a:gd name="T83" fmla="*/ 158 h 162"/>
                <a:gd name="T84" fmla="*/ 148 w 282"/>
                <a:gd name="T85" fmla="*/ 160 h 162"/>
                <a:gd name="T86" fmla="*/ 144 w 282"/>
                <a:gd name="T87" fmla="*/ 162 h 162"/>
                <a:gd name="T88" fmla="*/ 140 w 282"/>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62">
                  <a:moveTo>
                    <a:pt x="140" y="162"/>
                  </a:moveTo>
                  <a:lnTo>
                    <a:pt x="137" y="162"/>
                  </a:lnTo>
                  <a:lnTo>
                    <a:pt x="133" y="160"/>
                  </a:lnTo>
                  <a:lnTo>
                    <a:pt x="129" y="158"/>
                  </a:lnTo>
                  <a:lnTo>
                    <a:pt x="127" y="155"/>
                  </a:lnTo>
                  <a:lnTo>
                    <a:pt x="5" y="35"/>
                  </a:lnTo>
                  <a:lnTo>
                    <a:pt x="2" y="31"/>
                  </a:lnTo>
                  <a:lnTo>
                    <a:pt x="1" y="28"/>
                  </a:lnTo>
                  <a:lnTo>
                    <a:pt x="0" y="24"/>
                  </a:lnTo>
                  <a:lnTo>
                    <a:pt x="0" y="20"/>
                  </a:lnTo>
                  <a:lnTo>
                    <a:pt x="0" y="16"/>
                  </a:lnTo>
                  <a:lnTo>
                    <a:pt x="1" y="13"/>
                  </a:lnTo>
                  <a:lnTo>
                    <a:pt x="2" y="9"/>
                  </a:lnTo>
                  <a:lnTo>
                    <a:pt x="5" y="6"/>
                  </a:lnTo>
                  <a:lnTo>
                    <a:pt x="9" y="4"/>
                  </a:lnTo>
                  <a:lnTo>
                    <a:pt x="12" y="1"/>
                  </a:lnTo>
                  <a:lnTo>
                    <a:pt x="16" y="0"/>
                  </a:lnTo>
                  <a:lnTo>
                    <a:pt x="20" y="0"/>
                  </a:lnTo>
                  <a:lnTo>
                    <a:pt x="24" y="0"/>
                  </a:lnTo>
                  <a:lnTo>
                    <a:pt x="27" y="1"/>
                  </a:lnTo>
                  <a:lnTo>
                    <a:pt x="30" y="4"/>
                  </a:lnTo>
                  <a:lnTo>
                    <a:pt x="34" y="6"/>
                  </a:lnTo>
                  <a:lnTo>
                    <a:pt x="140" y="113"/>
                  </a:lnTo>
                  <a:lnTo>
                    <a:pt x="248" y="6"/>
                  </a:lnTo>
                  <a:lnTo>
                    <a:pt x="251" y="4"/>
                  </a:lnTo>
                  <a:lnTo>
                    <a:pt x="255" y="1"/>
                  </a:lnTo>
                  <a:lnTo>
                    <a:pt x="258" y="0"/>
                  </a:lnTo>
                  <a:lnTo>
                    <a:pt x="262" y="0"/>
                  </a:lnTo>
                  <a:lnTo>
                    <a:pt x="266" y="0"/>
                  </a:lnTo>
                  <a:lnTo>
                    <a:pt x="269" y="1"/>
                  </a:lnTo>
                  <a:lnTo>
                    <a:pt x="273" y="4"/>
                  </a:lnTo>
                  <a:lnTo>
                    <a:pt x="276" y="6"/>
                  </a:lnTo>
                  <a:lnTo>
                    <a:pt x="279" y="9"/>
                  </a:lnTo>
                  <a:lnTo>
                    <a:pt x="281" y="13"/>
                  </a:lnTo>
                  <a:lnTo>
                    <a:pt x="282" y="16"/>
                  </a:lnTo>
                  <a:lnTo>
                    <a:pt x="282" y="20"/>
                  </a:lnTo>
                  <a:lnTo>
                    <a:pt x="282" y="24"/>
                  </a:lnTo>
                  <a:lnTo>
                    <a:pt x="281" y="28"/>
                  </a:lnTo>
                  <a:lnTo>
                    <a:pt x="279" y="31"/>
                  </a:lnTo>
                  <a:lnTo>
                    <a:pt x="276" y="35"/>
                  </a:lnTo>
                  <a:lnTo>
                    <a:pt x="155" y="155"/>
                  </a:lnTo>
                  <a:lnTo>
                    <a:pt x="152" y="158"/>
                  </a:lnTo>
                  <a:lnTo>
                    <a:pt x="148" y="160"/>
                  </a:lnTo>
                  <a:lnTo>
                    <a:pt x="144" y="162"/>
                  </a:lnTo>
                  <a:lnTo>
                    <a:pt x="140"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2" name="Freeform 329">
            <a:extLst>
              <a:ext uri="{FF2B5EF4-FFF2-40B4-BE49-F238E27FC236}">
                <a16:creationId xmlns:a16="http://schemas.microsoft.com/office/drawing/2014/main" id="{9F5EFAB8-4B86-47D4-BEBE-AAA979557B45}"/>
              </a:ext>
            </a:extLst>
          </p:cNvPr>
          <p:cNvSpPr>
            <a:spLocks noChangeAspect="1" noEditPoints="1"/>
          </p:cNvSpPr>
          <p:nvPr/>
        </p:nvSpPr>
        <p:spPr bwMode="auto">
          <a:xfrm>
            <a:off x="1464006" y="5944848"/>
            <a:ext cx="315291" cy="306484"/>
          </a:xfrm>
          <a:custGeom>
            <a:avLst/>
            <a:gdLst>
              <a:gd name="T0" fmla="*/ 867 w 896"/>
              <a:gd name="T1" fmla="*/ 271 h 869"/>
              <a:gd name="T2" fmla="*/ 598 w 896"/>
              <a:gd name="T3" fmla="*/ 421 h 869"/>
              <a:gd name="T4" fmla="*/ 298 w 896"/>
              <a:gd name="T5" fmla="*/ 421 h 869"/>
              <a:gd name="T6" fmla="*/ 30 w 896"/>
              <a:gd name="T7" fmla="*/ 271 h 869"/>
              <a:gd name="T8" fmla="*/ 30 w 896"/>
              <a:gd name="T9" fmla="*/ 271 h 869"/>
              <a:gd name="T10" fmla="*/ 262 w 896"/>
              <a:gd name="T11" fmla="*/ 39 h 869"/>
              <a:gd name="T12" fmla="*/ 292 w 896"/>
              <a:gd name="T13" fmla="*/ 30 h 869"/>
              <a:gd name="T14" fmla="*/ 323 w 896"/>
              <a:gd name="T15" fmla="*/ 33 h 869"/>
              <a:gd name="T16" fmla="*/ 350 w 896"/>
              <a:gd name="T17" fmla="*/ 47 h 869"/>
              <a:gd name="T18" fmla="*/ 370 w 896"/>
              <a:gd name="T19" fmla="*/ 74 h 869"/>
              <a:gd name="T20" fmla="*/ 403 w 896"/>
              <a:gd name="T21" fmla="*/ 159 h 869"/>
              <a:gd name="T22" fmla="*/ 402 w 896"/>
              <a:gd name="T23" fmla="*/ 228 h 869"/>
              <a:gd name="T24" fmla="*/ 296 w 896"/>
              <a:gd name="T25" fmla="*/ 194 h 869"/>
              <a:gd name="T26" fmla="*/ 249 w 896"/>
              <a:gd name="T27" fmla="*/ 170 h 869"/>
              <a:gd name="T28" fmla="*/ 230 w 896"/>
              <a:gd name="T29" fmla="*/ 146 h 869"/>
              <a:gd name="T30" fmla="*/ 221 w 896"/>
              <a:gd name="T31" fmla="*/ 117 h 869"/>
              <a:gd name="T32" fmla="*/ 224 w 896"/>
              <a:gd name="T33" fmla="*/ 87 h 869"/>
              <a:gd name="T34" fmla="*/ 239 w 896"/>
              <a:gd name="T35" fmla="*/ 59 h 869"/>
              <a:gd name="T36" fmla="*/ 543 w 896"/>
              <a:gd name="T37" fmla="*/ 47 h 869"/>
              <a:gd name="T38" fmla="*/ 570 w 896"/>
              <a:gd name="T39" fmla="*/ 33 h 869"/>
              <a:gd name="T40" fmla="*/ 601 w 896"/>
              <a:gd name="T41" fmla="*/ 30 h 869"/>
              <a:gd name="T42" fmla="*/ 631 w 896"/>
              <a:gd name="T43" fmla="*/ 39 h 869"/>
              <a:gd name="T44" fmla="*/ 654 w 896"/>
              <a:gd name="T45" fmla="*/ 59 h 869"/>
              <a:gd name="T46" fmla="*/ 669 w 896"/>
              <a:gd name="T47" fmla="*/ 87 h 869"/>
              <a:gd name="T48" fmla="*/ 672 w 896"/>
              <a:gd name="T49" fmla="*/ 117 h 869"/>
              <a:gd name="T50" fmla="*/ 663 w 896"/>
              <a:gd name="T51" fmla="*/ 146 h 869"/>
              <a:gd name="T52" fmla="*/ 644 w 896"/>
              <a:gd name="T53" fmla="*/ 169 h 869"/>
              <a:gd name="T54" fmla="*/ 597 w 896"/>
              <a:gd name="T55" fmla="*/ 194 h 869"/>
              <a:gd name="T56" fmla="*/ 491 w 896"/>
              <a:gd name="T57" fmla="*/ 228 h 869"/>
              <a:gd name="T58" fmla="*/ 490 w 896"/>
              <a:gd name="T59" fmla="*/ 159 h 869"/>
              <a:gd name="T60" fmla="*/ 523 w 896"/>
              <a:gd name="T61" fmla="*/ 74 h 869"/>
              <a:gd name="T62" fmla="*/ 537 w 896"/>
              <a:gd name="T63" fmla="*/ 53 h 869"/>
              <a:gd name="T64" fmla="*/ 328 w 896"/>
              <a:gd name="T65" fmla="*/ 421 h 869"/>
              <a:gd name="T66" fmla="*/ 568 w 896"/>
              <a:gd name="T67" fmla="*/ 271 h 869"/>
              <a:gd name="T68" fmla="*/ 554 w 896"/>
              <a:gd name="T69" fmla="*/ 241 h 869"/>
              <a:gd name="T70" fmla="*/ 650 w 896"/>
              <a:gd name="T71" fmla="*/ 201 h 869"/>
              <a:gd name="T72" fmla="*/ 684 w 896"/>
              <a:gd name="T73" fmla="*/ 169 h 869"/>
              <a:gd name="T74" fmla="*/ 700 w 896"/>
              <a:gd name="T75" fmla="*/ 130 h 869"/>
              <a:gd name="T76" fmla="*/ 700 w 896"/>
              <a:gd name="T77" fmla="*/ 88 h 869"/>
              <a:gd name="T78" fmla="*/ 684 w 896"/>
              <a:gd name="T79" fmla="*/ 50 h 869"/>
              <a:gd name="T80" fmla="*/ 653 w 896"/>
              <a:gd name="T81" fmla="*/ 18 h 869"/>
              <a:gd name="T82" fmla="*/ 615 w 896"/>
              <a:gd name="T83" fmla="*/ 2 h 869"/>
              <a:gd name="T84" fmla="*/ 572 w 896"/>
              <a:gd name="T85" fmla="*/ 2 h 869"/>
              <a:gd name="T86" fmla="*/ 533 w 896"/>
              <a:gd name="T87" fmla="*/ 18 h 869"/>
              <a:gd name="T88" fmla="*/ 506 w 896"/>
              <a:gd name="T89" fmla="*/ 44 h 869"/>
              <a:gd name="T90" fmla="*/ 477 w 896"/>
              <a:gd name="T91" fmla="*/ 103 h 869"/>
              <a:gd name="T92" fmla="*/ 447 w 896"/>
              <a:gd name="T93" fmla="*/ 198 h 869"/>
              <a:gd name="T94" fmla="*/ 416 w 896"/>
              <a:gd name="T95" fmla="*/ 103 h 869"/>
              <a:gd name="T96" fmla="*/ 387 w 896"/>
              <a:gd name="T97" fmla="*/ 44 h 869"/>
              <a:gd name="T98" fmla="*/ 360 w 896"/>
              <a:gd name="T99" fmla="*/ 18 h 869"/>
              <a:gd name="T100" fmla="*/ 321 w 896"/>
              <a:gd name="T101" fmla="*/ 2 h 869"/>
              <a:gd name="T102" fmla="*/ 278 w 896"/>
              <a:gd name="T103" fmla="*/ 2 h 869"/>
              <a:gd name="T104" fmla="*/ 240 w 896"/>
              <a:gd name="T105" fmla="*/ 18 h 869"/>
              <a:gd name="T106" fmla="*/ 209 w 896"/>
              <a:gd name="T107" fmla="*/ 50 h 869"/>
              <a:gd name="T108" fmla="*/ 193 w 896"/>
              <a:gd name="T109" fmla="*/ 88 h 869"/>
              <a:gd name="T110" fmla="*/ 193 w 896"/>
              <a:gd name="T111" fmla="*/ 130 h 869"/>
              <a:gd name="T112" fmla="*/ 209 w 896"/>
              <a:gd name="T113" fmla="*/ 169 h 869"/>
              <a:gd name="T114" fmla="*/ 243 w 896"/>
              <a:gd name="T115" fmla="*/ 201 h 869"/>
              <a:gd name="T116" fmla="*/ 339 w 896"/>
              <a:gd name="T117" fmla="*/ 241 h 869"/>
              <a:gd name="T118" fmla="*/ 30 w 896"/>
              <a:gd name="T119" fmla="*/ 869 h 869"/>
              <a:gd name="T120" fmla="*/ 896 w 896"/>
              <a:gd name="T121" fmla="*/ 241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6" h="869">
                <a:moveTo>
                  <a:pt x="867" y="391"/>
                </a:moveTo>
                <a:lnTo>
                  <a:pt x="598" y="391"/>
                </a:lnTo>
                <a:lnTo>
                  <a:pt x="598" y="271"/>
                </a:lnTo>
                <a:lnTo>
                  <a:pt x="867" y="271"/>
                </a:lnTo>
                <a:lnTo>
                  <a:pt x="867" y="391"/>
                </a:lnTo>
                <a:close/>
                <a:moveTo>
                  <a:pt x="837" y="839"/>
                </a:moveTo>
                <a:lnTo>
                  <a:pt x="598" y="839"/>
                </a:lnTo>
                <a:lnTo>
                  <a:pt x="598" y="421"/>
                </a:lnTo>
                <a:lnTo>
                  <a:pt x="837" y="421"/>
                </a:lnTo>
                <a:lnTo>
                  <a:pt x="837" y="839"/>
                </a:lnTo>
                <a:close/>
                <a:moveTo>
                  <a:pt x="60" y="421"/>
                </a:moveTo>
                <a:lnTo>
                  <a:pt x="298" y="421"/>
                </a:lnTo>
                <a:lnTo>
                  <a:pt x="298" y="839"/>
                </a:lnTo>
                <a:lnTo>
                  <a:pt x="60" y="839"/>
                </a:lnTo>
                <a:lnTo>
                  <a:pt x="60" y="421"/>
                </a:lnTo>
                <a:close/>
                <a:moveTo>
                  <a:pt x="30" y="271"/>
                </a:moveTo>
                <a:lnTo>
                  <a:pt x="298" y="271"/>
                </a:lnTo>
                <a:lnTo>
                  <a:pt x="298" y="391"/>
                </a:lnTo>
                <a:lnTo>
                  <a:pt x="30" y="391"/>
                </a:lnTo>
                <a:lnTo>
                  <a:pt x="30" y="271"/>
                </a:lnTo>
                <a:close/>
                <a:moveTo>
                  <a:pt x="244" y="53"/>
                </a:moveTo>
                <a:lnTo>
                  <a:pt x="249" y="47"/>
                </a:lnTo>
                <a:lnTo>
                  <a:pt x="256" y="43"/>
                </a:lnTo>
                <a:lnTo>
                  <a:pt x="262" y="39"/>
                </a:lnTo>
                <a:lnTo>
                  <a:pt x="270" y="36"/>
                </a:lnTo>
                <a:lnTo>
                  <a:pt x="277" y="33"/>
                </a:lnTo>
                <a:lnTo>
                  <a:pt x="284" y="31"/>
                </a:lnTo>
                <a:lnTo>
                  <a:pt x="292" y="30"/>
                </a:lnTo>
                <a:lnTo>
                  <a:pt x="299" y="30"/>
                </a:lnTo>
                <a:lnTo>
                  <a:pt x="308" y="30"/>
                </a:lnTo>
                <a:lnTo>
                  <a:pt x="316" y="31"/>
                </a:lnTo>
                <a:lnTo>
                  <a:pt x="323" y="33"/>
                </a:lnTo>
                <a:lnTo>
                  <a:pt x="330" y="36"/>
                </a:lnTo>
                <a:lnTo>
                  <a:pt x="337" y="39"/>
                </a:lnTo>
                <a:lnTo>
                  <a:pt x="344" y="43"/>
                </a:lnTo>
                <a:lnTo>
                  <a:pt x="350" y="47"/>
                </a:lnTo>
                <a:lnTo>
                  <a:pt x="356" y="53"/>
                </a:lnTo>
                <a:lnTo>
                  <a:pt x="360" y="58"/>
                </a:lnTo>
                <a:lnTo>
                  <a:pt x="365" y="66"/>
                </a:lnTo>
                <a:lnTo>
                  <a:pt x="370" y="74"/>
                </a:lnTo>
                <a:lnTo>
                  <a:pt x="374" y="84"/>
                </a:lnTo>
                <a:lnTo>
                  <a:pt x="384" y="106"/>
                </a:lnTo>
                <a:lnTo>
                  <a:pt x="394" y="131"/>
                </a:lnTo>
                <a:lnTo>
                  <a:pt x="403" y="159"/>
                </a:lnTo>
                <a:lnTo>
                  <a:pt x="412" y="185"/>
                </a:lnTo>
                <a:lnTo>
                  <a:pt x="419" y="212"/>
                </a:lnTo>
                <a:lnTo>
                  <a:pt x="426" y="236"/>
                </a:lnTo>
                <a:lnTo>
                  <a:pt x="402" y="228"/>
                </a:lnTo>
                <a:lnTo>
                  <a:pt x="376" y="221"/>
                </a:lnTo>
                <a:lnTo>
                  <a:pt x="349" y="212"/>
                </a:lnTo>
                <a:lnTo>
                  <a:pt x="322" y="204"/>
                </a:lnTo>
                <a:lnTo>
                  <a:pt x="296" y="194"/>
                </a:lnTo>
                <a:lnTo>
                  <a:pt x="274" y="184"/>
                </a:lnTo>
                <a:lnTo>
                  <a:pt x="264" y="179"/>
                </a:lnTo>
                <a:lnTo>
                  <a:pt x="256" y="175"/>
                </a:lnTo>
                <a:lnTo>
                  <a:pt x="249" y="170"/>
                </a:lnTo>
                <a:lnTo>
                  <a:pt x="244" y="165"/>
                </a:lnTo>
                <a:lnTo>
                  <a:pt x="239" y="160"/>
                </a:lnTo>
                <a:lnTo>
                  <a:pt x="233" y="153"/>
                </a:lnTo>
                <a:lnTo>
                  <a:pt x="230" y="146"/>
                </a:lnTo>
                <a:lnTo>
                  <a:pt x="227" y="139"/>
                </a:lnTo>
                <a:lnTo>
                  <a:pt x="224" y="132"/>
                </a:lnTo>
                <a:lnTo>
                  <a:pt x="222" y="124"/>
                </a:lnTo>
                <a:lnTo>
                  <a:pt x="221" y="117"/>
                </a:lnTo>
                <a:lnTo>
                  <a:pt x="220" y="109"/>
                </a:lnTo>
                <a:lnTo>
                  <a:pt x="221" y="102"/>
                </a:lnTo>
                <a:lnTo>
                  <a:pt x="222" y="94"/>
                </a:lnTo>
                <a:lnTo>
                  <a:pt x="224" y="87"/>
                </a:lnTo>
                <a:lnTo>
                  <a:pt x="227" y="79"/>
                </a:lnTo>
                <a:lnTo>
                  <a:pt x="230" y="72"/>
                </a:lnTo>
                <a:lnTo>
                  <a:pt x="233" y="66"/>
                </a:lnTo>
                <a:lnTo>
                  <a:pt x="239" y="59"/>
                </a:lnTo>
                <a:lnTo>
                  <a:pt x="244" y="53"/>
                </a:lnTo>
                <a:lnTo>
                  <a:pt x="244" y="53"/>
                </a:lnTo>
                <a:close/>
                <a:moveTo>
                  <a:pt x="537" y="53"/>
                </a:moveTo>
                <a:lnTo>
                  <a:pt x="543" y="47"/>
                </a:lnTo>
                <a:lnTo>
                  <a:pt x="550" y="43"/>
                </a:lnTo>
                <a:lnTo>
                  <a:pt x="556" y="39"/>
                </a:lnTo>
                <a:lnTo>
                  <a:pt x="563" y="36"/>
                </a:lnTo>
                <a:lnTo>
                  <a:pt x="570" y="33"/>
                </a:lnTo>
                <a:lnTo>
                  <a:pt x="578" y="31"/>
                </a:lnTo>
                <a:lnTo>
                  <a:pt x="585" y="30"/>
                </a:lnTo>
                <a:lnTo>
                  <a:pt x="594" y="30"/>
                </a:lnTo>
                <a:lnTo>
                  <a:pt x="601" y="30"/>
                </a:lnTo>
                <a:lnTo>
                  <a:pt x="609" y="31"/>
                </a:lnTo>
                <a:lnTo>
                  <a:pt x="616" y="33"/>
                </a:lnTo>
                <a:lnTo>
                  <a:pt x="623" y="36"/>
                </a:lnTo>
                <a:lnTo>
                  <a:pt x="631" y="39"/>
                </a:lnTo>
                <a:lnTo>
                  <a:pt x="637" y="43"/>
                </a:lnTo>
                <a:lnTo>
                  <a:pt x="644" y="47"/>
                </a:lnTo>
                <a:lnTo>
                  <a:pt x="649" y="53"/>
                </a:lnTo>
                <a:lnTo>
                  <a:pt x="654" y="59"/>
                </a:lnTo>
                <a:lnTo>
                  <a:pt x="660" y="66"/>
                </a:lnTo>
                <a:lnTo>
                  <a:pt x="663" y="72"/>
                </a:lnTo>
                <a:lnTo>
                  <a:pt x="666" y="79"/>
                </a:lnTo>
                <a:lnTo>
                  <a:pt x="669" y="87"/>
                </a:lnTo>
                <a:lnTo>
                  <a:pt x="671" y="94"/>
                </a:lnTo>
                <a:lnTo>
                  <a:pt x="672" y="102"/>
                </a:lnTo>
                <a:lnTo>
                  <a:pt x="673" y="109"/>
                </a:lnTo>
                <a:lnTo>
                  <a:pt x="672" y="117"/>
                </a:lnTo>
                <a:lnTo>
                  <a:pt x="671" y="124"/>
                </a:lnTo>
                <a:lnTo>
                  <a:pt x="669" y="132"/>
                </a:lnTo>
                <a:lnTo>
                  <a:pt x="666" y="139"/>
                </a:lnTo>
                <a:lnTo>
                  <a:pt x="663" y="146"/>
                </a:lnTo>
                <a:lnTo>
                  <a:pt x="660" y="153"/>
                </a:lnTo>
                <a:lnTo>
                  <a:pt x="654" y="160"/>
                </a:lnTo>
                <a:lnTo>
                  <a:pt x="649" y="165"/>
                </a:lnTo>
                <a:lnTo>
                  <a:pt x="644" y="169"/>
                </a:lnTo>
                <a:lnTo>
                  <a:pt x="637" y="175"/>
                </a:lnTo>
                <a:lnTo>
                  <a:pt x="629" y="179"/>
                </a:lnTo>
                <a:lnTo>
                  <a:pt x="619" y="184"/>
                </a:lnTo>
                <a:lnTo>
                  <a:pt x="597" y="194"/>
                </a:lnTo>
                <a:lnTo>
                  <a:pt x="571" y="204"/>
                </a:lnTo>
                <a:lnTo>
                  <a:pt x="544" y="212"/>
                </a:lnTo>
                <a:lnTo>
                  <a:pt x="517" y="221"/>
                </a:lnTo>
                <a:lnTo>
                  <a:pt x="491" y="228"/>
                </a:lnTo>
                <a:lnTo>
                  <a:pt x="467" y="236"/>
                </a:lnTo>
                <a:lnTo>
                  <a:pt x="474" y="212"/>
                </a:lnTo>
                <a:lnTo>
                  <a:pt x="481" y="185"/>
                </a:lnTo>
                <a:lnTo>
                  <a:pt x="490" y="159"/>
                </a:lnTo>
                <a:lnTo>
                  <a:pt x="499" y="131"/>
                </a:lnTo>
                <a:lnTo>
                  <a:pt x="509" y="106"/>
                </a:lnTo>
                <a:lnTo>
                  <a:pt x="519" y="84"/>
                </a:lnTo>
                <a:lnTo>
                  <a:pt x="523" y="74"/>
                </a:lnTo>
                <a:lnTo>
                  <a:pt x="528" y="66"/>
                </a:lnTo>
                <a:lnTo>
                  <a:pt x="533" y="58"/>
                </a:lnTo>
                <a:lnTo>
                  <a:pt x="537" y="53"/>
                </a:lnTo>
                <a:lnTo>
                  <a:pt x="537" y="53"/>
                </a:lnTo>
                <a:close/>
                <a:moveTo>
                  <a:pt x="568" y="421"/>
                </a:moveTo>
                <a:lnTo>
                  <a:pt x="568" y="839"/>
                </a:lnTo>
                <a:lnTo>
                  <a:pt x="328" y="839"/>
                </a:lnTo>
                <a:lnTo>
                  <a:pt x="328" y="421"/>
                </a:lnTo>
                <a:lnTo>
                  <a:pt x="568" y="421"/>
                </a:lnTo>
                <a:close/>
                <a:moveTo>
                  <a:pt x="328" y="391"/>
                </a:moveTo>
                <a:lnTo>
                  <a:pt x="328" y="271"/>
                </a:lnTo>
                <a:lnTo>
                  <a:pt x="568" y="271"/>
                </a:lnTo>
                <a:lnTo>
                  <a:pt x="568" y="391"/>
                </a:lnTo>
                <a:lnTo>
                  <a:pt x="328" y="391"/>
                </a:lnTo>
                <a:close/>
                <a:moveTo>
                  <a:pt x="896" y="241"/>
                </a:moveTo>
                <a:lnTo>
                  <a:pt x="554" y="241"/>
                </a:lnTo>
                <a:lnTo>
                  <a:pt x="589" y="228"/>
                </a:lnTo>
                <a:lnTo>
                  <a:pt x="622" y="215"/>
                </a:lnTo>
                <a:lnTo>
                  <a:pt x="637" y="208"/>
                </a:lnTo>
                <a:lnTo>
                  <a:pt x="650" y="201"/>
                </a:lnTo>
                <a:lnTo>
                  <a:pt x="662" y="194"/>
                </a:lnTo>
                <a:lnTo>
                  <a:pt x="671" y="186"/>
                </a:lnTo>
                <a:lnTo>
                  <a:pt x="678" y="178"/>
                </a:lnTo>
                <a:lnTo>
                  <a:pt x="684" y="169"/>
                </a:lnTo>
                <a:lnTo>
                  <a:pt x="690" y="160"/>
                </a:lnTo>
                <a:lnTo>
                  <a:pt x="694" y="150"/>
                </a:lnTo>
                <a:lnTo>
                  <a:pt x="697" y="140"/>
                </a:lnTo>
                <a:lnTo>
                  <a:pt x="700" y="130"/>
                </a:lnTo>
                <a:lnTo>
                  <a:pt x="702" y="120"/>
                </a:lnTo>
                <a:lnTo>
                  <a:pt x="703" y="109"/>
                </a:lnTo>
                <a:lnTo>
                  <a:pt x="702" y="99"/>
                </a:lnTo>
                <a:lnTo>
                  <a:pt x="700" y="88"/>
                </a:lnTo>
                <a:lnTo>
                  <a:pt x="697" y="78"/>
                </a:lnTo>
                <a:lnTo>
                  <a:pt x="694" y="68"/>
                </a:lnTo>
                <a:lnTo>
                  <a:pt x="690" y="58"/>
                </a:lnTo>
                <a:lnTo>
                  <a:pt x="684" y="50"/>
                </a:lnTo>
                <a:lnTo>
                  <a:pt x="678" y="40"/>
                </a:lnTo>
                <a:lnTo>
                  <a:pt x="671" y="32"/>
                </a:lnTo>
                <a:lnTo>
                  <a:pt x="662" y="25"/>
                </a:lnTo>
                <a:lnTo>
                  <a:pt x="653" y="18"/>
                </a:lnTo>
                <a:lnTo>
                  <a:pt x="645" y="13"/>
                </a:lnTo>
                <a:lnTo>
                  <a:pt x="635" y="8"/>
                </a:lnTo>
                <a:lnTo>
                  <a:pt x="625" y="5"/>
                </a:lnTo>
                <a:lnTo>
                  <a:pt x="615" y="2"/>
                </a:lnTo>
                <a:lnTo>
                  <a:pt x="604" y="0"/>
                </a:lnTo>
                <a:lnTo>
                  <a:pt x="594" y="0"/>
                </a:lnTo>
                <a:lnTo>
                  <a:pt x="582" y="0"/>
                </a:lnTo>
                <a:lnTo>
                  <a:pt x="572" y="2"/>
                </a:lnTo>
                <a:lnTo>
                  <a:pt x="561" y="5"/>
                </a:lnTo>
                <a:lnTo>
                  <a:pt x="552" y="8"/>
                </a:lnTo>
                <a:lnTo>
                  <a:pt x="542" y="13"/>
                </a:lnTo>
                <a:lnTo>
                  <a:pt x="533" y="18"/>
                </a:lnTo>
                <a:lnTo>
                  <a:pt x="524" y="25"/>
                </a:lnTo>
                <a:lnTo>
                  <a:pt x="515" y="32"/>
                </a:lnTo>
                <a:lnTo>
                  <a:pt x="511" y="38"/>
                </a:lnTo>
                <a:lnTo>
                  <a:pt x="506" y="44"/>
                </a:lnTo>
                <a:lnTo>
                  <a:pt x="502" y="52"/>
                </a:lnTo>
                <a:lnTo>
                  <a:pt x="496" y="61"/>
                </a:lnTo>
                <a:lnTo>
                  <a:pt x="487" y="81"/>
                </a:lnTo>
                <a:lnTo>
                  <a:pt x="477" y="103"/>
                </a:lnTo>
                <a:lnTo>
                  <a:pt x="468" y="128"/>
                </a:lnTo>
                <a:lnTo>
                  <a:pt x="461" y="152"/>
                </a:lnTo>
                <a:lnTo>
                  <a:pt x="453" y="176"/>
                </a:lnTo>
                <a:lnTo>
                  <a:pt x="447" y="198"/>
                </a:lnTo>
                <a:lnTo>
                  <a:pt x="440" y="176"/>
                </a:lnTo>
                <a:lnTo>
                  <a:pt x="432" y="152"/>
                </a:lnTo>
                <a:lnTo>
                  <a:pt x="425" y="128"/>
                </a:lnTo>
                <a:lnTo>
                  <a:pt x="416" y="103"/>
                </a:lnTo>
                <a:lnTo>
                  <a:pt x="406" y="81"/>
                </a:lnTo>
                <a:lnTo>
                  <a:pt x="397" y="61"/>
                </a:lnTo>
                <a:lnTo>
                  <a:pt x="391" y="52"/>
                </a:lnTo>
                <a:lnTo>
                  <a:pt x="387" y="44"/>
                </a:lnTo>
                <a:lnTo>
                  <a:pt x="382" y="38"/>
                </a:lnTo>
                <a:lnTo>
                  <a:pt x="378" y="32"/>
                </a:lnTo>
                <a:lnTo>
                  <a:pt x="369" y="25"/>
                </a:lnTo>
                <a:lnTo>
                  <a:pt x="360" y="18"/>
                </a:lnTo>
                <a:lnTo>
                  <a:pt x="351" y="13"/>
                </a:lnTo>
                <a:lnTo>
                  <a:pt x="342" y="8"/>
                </a:lnTo>
                <a:lnTo>
                  <a:pt x="332" y="5"/>
                </a:lnTo>
                <a:lnTo>
                  <a:pt x="321" y="2"/>
                </a:lnTo>
                <a:lnTo>
                  <a:pt x="311" y="0"/>
                </a:lnTo>
                <a:lnTo>
                  <a:pt x="299" y="0"/>
                </a:lnTo>
                <a:lnTo>
                  <a:pt x="289" y="0"/>
                </a:lnTo>
                <a:lnTo>
                  <a:pt x="278" y="2"/>
                </a:lnTo>
                <a:lnTo>
                  <a:pt x="268" y="5"/>
                </a:lnTo>
                <a:lnTo>
                  <a:pt x="258" y="8"/>
                </a:lnTo>
                <a:lnTo>
                  <a:pt x="248" y="13"/>
                </a:lnTo>
                <a:lnTo>
                  <a:pt x="240" y="18"/>
                </a:lnTo>
                <a:lnTo>
                  <a:pt x="231" y="25"/>
                </a:lnTo>
                <a:lnTo>
                  <a:pt x="222" y="32"/>
                </a:lnTo>
                <a:lnTo>
                  <a:pt x="215" y="40"/>
                </a:lnTo>
                <a:lnTo>
                  <a:pt x="209" y="50"/>
                </a:lnTo>
                <a:lnTo>
                  <a:pt x="203" y="58"/>
                </a:lnTo>
                <a:lnTo>
                  <a:pt x="199" y="68"/>
                </a:lnTo>
                <a:lnTo>
                  <a:pt x="196" y="78"/>
                </a:lnTo>
                <a:lnTo>
                  <a:pt x="193" y="88"/>
                </a:lnTo>
                <a:lnTo>
                  <a:pt x="191" y="99"/>
                </a:lnTo>
                <a:lnTo>
                  <a:pt x="190" y="109"/>
                </a:lnTo>
                <a:lnTo>
                  <a:pt x="191" y="120"/>
                </a:lnTo>
                <a:lnTo>
                  <a:pt x="193" y="130"/>
                </a:lnTo>
                <a:lnTo>
                  <a:pt x="196" y="140"/>
                </a:lnTo>
                <a:lnTo>
                  <a:pt x="199" y="150"/>
                </a:lnTo>
                <a:lnTo>
                  <a:pt x="203" y="160"/>
                </a:lnTo>
                <a:lnTo>
                  <a:pt x="209" y="169"/>
                </a:lnTo>
                <a:lnTo>
                  <a:pt x="215" y="178"/>
                </a:lnTo>
                <a:lnTo>
                  <a:pt x="222" y="186"/>
                </a:lnTo>
                <a:lnTo>
                  <a:pt x="231" y="194"/>
                </a:lnTo>
                <a:lnTo>
                  <a:pt x="243" y="201"/>
                </a:lnTo>
                <a:lnTo>
                  <a:pt x="256" y="208"/>
                </a:lnTo>
                <a:lnTo>
                  <a:pt x="271" y="215"/>
                </a:lnTo>
                <a:lnTo>
                  <a:pt x="304" y="228"/>
                </a:lnTo>
                <a:lnTo>
                  <a:pt x="339" y="241"/>
                </a:lnTo>
                <a:lnTo>
                  <a:pt x="0" y="241"/>
                </a:lnTo>
                <a:lnTo>
                  <a:pt x="0" y="421"/>
                </a:lnTo>
                <a:lnTo>
                  <a:pt x="30" y="421"/>
                </a:lnTo>
                <a:lnTo>
                  <a:pt x="30" y="869"/>
                </a:lnTo>
                <a:lnTo>
                  <a:pt x="867" y="869"/>
                </a:lnTo>
                <a:lnTo>
                  <a:pt x="867" y="421"/>
                </a:lnTo>
                <a:lnTo>
                  <a:pt x="896" y="421"/>
                </a:lnTo>
                <a:lnTo>
                  <a:pt x="896" y="241"/>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484" name="Group 60">
            <a:extLst>
              <a:ext uri="{FF2B5EF4-FFF2-40B4-BE49-F238E27FC236}">
                <a16:creationId xmlns:a16="http://schemas.microsoft.com/office/drawing/2014/main" id="{42EEC3E0-D6CB-4A77-BA5E-02BD9229FAE4}"/>
              </a:ext>
            </a:extLst>
          </p:cNvPr>
          <p:cNvGrpSpPr>
            <a:grpSpLocks noChangeAspect="1"/>
          </p:cNvGrpSpPr>
          <p:nvPr/>
        </p:nvGrpSpPr>
        <p:grpSpPr>
          <a:xfrm>
            <a:off x="1898843" y="5975482"/>
            <a:ext cx="275708" cy="214440"/>
            <a:chOff x="1435611" y="2513327"/>
            <a:chExt cx="664188" cy="516592"/>
          </a:xfrm>
          <a:solidFill>
            <a:schemeClr val="bg1"/>
          </a:solidFill>
          <a:effectLst/>
        </p:grpSpPr>
        <p:sp>
          <p:nvSpPr>
            <p:cNvPr id="485" name="Freeform 43">
              <a:extLst>
                <a:ext uri="{FF2B5EF4-FFF2-40B4-BE49-F238E27FC236}">
                  <a16:creationId xmlns:a16="http://schemas.microsoft.com/office/drawing/2014/main" id="{1B7D425F-BADA-45A5-99A8-FA7B60A5692D}"/>
                </a:ext>
              </a:extLst>
            </p:cNvPr>
            <p:cNvSpPr>
              <a:spLocks noEditPoints="1"/>
            </p:cNvSpPr>
            <p:nvPr/>
          </p:nvSpPr>
          <p:spPr bwMode="auto">
            <a:xfrm>
              <a:off x="1435611" y="2832507"/>
              <a:ext cx="664188" cy="197412"/>
            </a:xfrm>
            <a:custGeom>
              <a:avLst/>
              <a:gdLst>
                <a:gd name="T0" fmla="*/ 41 w 1080"/>
                <a:gd name="T1" fmla="*/ 279 h 319"/>
                <a:gd name="T2" fmla="*/ 1039 w 1080"/>
                <a:gd name="T3" fmla="*/ 279 h 319"/>
                <a:gd name="T4" fmla="*/ 1039 w 1080"/>
                <a:gd name="T5" fmla="*/ 40 h 319"/>
                <a:gd name="T6" fmla="*/ 41 w 1080"/>
                <a:gd name="T7" fmla="*/ 40 h 319"/>
                <a:gd name="T8" fmla="*/ 41 w 1080"/>
                <a:gd name="T9" fmla="*/ 279 h 319"/>
                <a:gd name="T10" fmla="*/ 1060 w 1080"/>
                <a:gd name="T11" fmla="*/ 319 h 319"/>
                <a:gd name="T12" fmla="*/ 21 w 1080"/>
                <a:gd name="T13" fmla="*/ 319 h 319"/>
                <a:gd name="T14" fmla="*/ 16 w 1080"/>
                <a:gd name="T15" fmla="*/ 319 h 319"/>
                <a:gd name="T16" fmla="*/ 12 w 1080"/>
                <a:gd name="T17" fmla="*/ 318 h 319"/>
                <a:gd name="T18" fmla="*/ 8 w 1080"/>
                <a:gd name="T19" fmla="*/ 317 h 319"/>
                <a:gd name="T20" fmla="*/ 6 w 1080"/>
                <a:gd name="T21" fmla="*/ 314 h 319"/>
                <a:gd name="T22" fmla="*/ 3 w 1080"/>
                <a:gd name="T23" fmla="*/ 311 h 319"/>
                <a:gd name="T24" fmla="*/ 2 w 1080"/>
                <a:gd name="T25" fmla="*/ 308 h 319"/>
                <a:gd name="T26" fmla="*/ 1 w 1080"/>
                <a:gd name="T27" fmla="*/ 304 h 319"/>
                <a:gd name="T28" fmla="*/ 0 w 1080"/>
                <a:gd name="T29" fmla="*/ 299 h 319"/>
                <a:gd name="T30" fmla="*/ 0 w 1080"/>
                <a:gd name="T31" fmla="*/ 20 h 319"/>
                <a:gd name="T32" fmla="*/ 1 w 1080"/>
                <a:gd name="T33" fmla="*/ 16 h 319"/>
                <a:gd name="T34" fmla="*/ 2 w 1080"/>
                <a:gd name="T35" fmla="*/ 12 h 319"/>
                <a:gd name="T36" fmla="*/ 3 w 1080"/>
                <a:gd name="T37" fmla="*/ 9 h 319"/>
                <a:gd name="T38" fmla="*/ 6 w 1080"/>
                <a:gd name="T39" fmla="*/ 6 h 319"/>
                <a:gd name="T40" fmla="*/ 8 w 1080"/>
                <a:gd name="T41" fmla="*/ 4 h 319"/>
                <a:gd name="T42" fmla="*/ 12 w 1080"/>
                <a:gd name="T43" fmla="*/ 1 h 319"/>
                <a:gd name="T44" fmla="*/ 16 w 1080"/>
                <a:gd name="T45" fmla="*/ 0 h 319"/>
                <a:gd name="T46" fmla="*/ 21 w 1080"/>
                <a:gd name="T47" fmla="*/ 0 h 319"/>
                <a:gd name="T48" fmla="*/ 1060 w 1080"/>
                <a:gd name="T49" fmla="*/ 0 h 319"/>
                <a:gd name="T50" fmla="*/ 1064 w 1080"/>
                <a:gd name="T51" fmla="*/ 0 h 319"/>
                <a:gd name="T52" fmla="*/ 1068 w 1080"/>
                <a:gd name="T53" fmla="*/ 1 h 319"/>
                <a:gd name="T54" fmla="*/ 1071 w 1080"/>
                <a:gd name="T55" fmla="*/ 4 h 319"/>
                <a:gd name="T56" fmla="*/ 1074 w 1080"/>
                <a:gd name="T57" fmla="*/ 6 h 319"/>
                <a:gd name="T58" fmla="*/ 1076 w 1080"/>
                <a:gd name="T59" fmla="*/ 9 h 319"/>
                <a:gd name="T60" fmla="*/ 1078 w 1080"/>
                <a:gd name="T61" fmla="*/ 12 h 319"/>
                <a:gd name="T62" fmla="*/ 1079 w 1080"/>
                <a:gd name="T63" fmla="*/ 16 h 319"/>
                <a:gd name="T64" fmla="*/ 1080 w 1080"/>
                <a:gd name="T65" fmla="*/ 20 h 319"/>
                <a:gd name="T66" fmla="*/ 1080 w 1080"/>
                <a:gd name="T67" fmla="*/ 299 h 319"/>
                <a:gd name="T68" fmla="*/ 1079 w 1080"/>
                <a:gd name="T69" fmla="*/ 304 h 319"/>
                <a:gd name="T70" fmla="*/ 1078 w 1080"/>
                <a:gd name="T71" fmla="*/ 308 h 319"/>
                <a:gd name="T72" fmla="*/ 1076 w 1080"/>
                <a:gd name="T73" fmla="*/ 311 h 319"/>
                <a:gd name="T74" fmla="*/ 1074 w 1080"/>
                <a:gd name="T75" fmla="*/ 314 h 319"/>
                <a:gd name="T76" fmla="*/ 1071 w 1080"/>
                <a:gd name="T77" fmla="*/ 317 h 319"/>
                <a:gd name="T78" fmla="*/ 1068 w 1080"/>
                <a:gd name="T79" fmla="*/ 318 h 319"/>
                <a:gd name="T80" fmla="*/ 1064 w 1080"/>
                <a:gd name="T81" fmla="*/ 319 h 319"/>
                <a:gd name="T82" fmla="*/ 1060 w 1080"/>
                <a:gd name="T83"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0" h="319">
                  <a:moveTo>
                    <a:pt x="41" y="279"/>
                  </a:moveTo>
                  <a:lnTo>
                    <a:pt x="1039" y="279"/>
                  </a:lnTo>
                  <a:lnTo>
                    <a:pt x="1039" y="40"/>
                  </a:lnTo>
                  <a:lnTo>
                    <a:pt x="41" y="40"/>
                  </a:lnTo>
                  <a:lnTo>
                    <a:pt x="41" y="279"/>
                  </a:lnTo>
                  <a:close/>
                  <a:moveTo>
                    <a:pt x="1060" y="319"/>
                  </a:moveTo>
                  <a:lnTo>
                    <a:pt x="21" y="319"/>
                  </a:lnTo>
                  <a:lnTo>
                    <a:pt x="16" y="319"/>
                  </a:lnTo>
                  <a:lnTo>
                    <a:pt x="12" y="318"/>
                  </a:lnTo>
                  <a:lnTo>
                    <a:pt x="8" y="317"/>
                  </a:lnTo>
                  <a:lnTo>
                    <a:pt x="6" y="314"/>
                  </a:lnTo>
                  <a:lnTo>
                    <a:pt x="3" y="311"/>
                  </a:lnTo>
                  <a:lnTo>
                    <a:pt x="2" y="308"/>
                  </a:lnTo>
                  <a:lnTo>
                    <a:pt x="1" y="304"/>
                  </a:lnTo>
                  <a:lnTo>
                    <a:pt x="0" y="299"/>
                  </a:lnTo>
                  <a:lnTo>
                    <a:pt x="0" y="20"/>
                  </a:lnTo>
                  <a:lnTo>
                    <a:pt x="1" y="16"/>
                  </a:lnTo>
                  <a:lnTo>
                    <a:pt x="2" y="12"/>
                  </a:lnTo>
                  <a:lnTo>
                    <a:pt x="3" y="9"/>
                  </a:lnTo>
                  <a:lnTo>
                    <a:pt x="6" y="6"/>
                  </a:lnTo>
                  <a:lnTo>
                    <a:pt x="8" y="4"/>
                  </a:lnTo>
                  <a:lnTo>
                    <a:pt x="12" y="1"/>
                  </a:lnTo>
                  <a:lnTo>
                    <a:pt x="16" y="0"/>
                  </a:lnTo>
                  <a:lnTo>
                    <a:pt x="21" y="0"/>
                  </a:lnTo>
                  <a:lnTo>
                    <a:pt x="1060" y="0"/>
                  </a:lnTo>
                  <a:lnTo>
                    <a:pt x="1064" y="0"/>
                  </a:lnTo>
                  <a:lnTo>
                    <a:pt x="1068" y="1"/>
                  </a:lnTo>
                  <a:lnTo>
                    <a:pt x="1071" y="4"/>
                  </a:lnTo>
                  <a:lnTo>
                    <a:pt x="1074" y="6"/>
                  </a:lnTo>
                  <a:lnTo>
                    <a:pt x="1076" y="9"/>
                  </a:lnTo>
                  <a:lnTo>
                    <a:pt x="1078" y="12"/>
                  </a:lnTo>
                  <a:lnTo>
                    <a:pt x="1079" y="16"/>
                  </a:lnTo>
                  <a:lnTo>
                    <a:pt x="1080" y="20"/>
                  </a:lnTo>
                  <a:lnTo>
                    <a:pt x="1080" y="299"/>
                  </a:lnTo>
                  <a:lnTo>
                    <a:pt x="1079" y="304"/>
                  </a:lnTo>
                  <a:lnTo>
                    <a:pt x="1078" y="308"/>
                  </a:lnTo>
                  <a:lnTo>
                    <a:pt x="1076" y="311"/>
                  </a:lnTo>
                  <a:lnTo>
                    <a:pt x="1074" y="314"/>
                  </a:lnTo>
                  <a:lnTo>
                    <a:pt x="1071" y="317"/>
                  </a:lnTo>
                  <a:lnTo>
                    <a:pt x="1068" y="318"/>
                  </a:lnTo>
                  <a:lnTo>
                    <a:pt x="1064" y="319"/>
                  </a:lnTo>
                  <a:lnTo>
                    <a:pt x="1060"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44">
              <a:extLst>
                <a:ext uri="{FF2B5EF4-FFF2-40B4-BE49-F238E27FC236}">
                  <a16:creationId xmlns:a16="http://schemas.microsoft.com/office/drawing/2014/main" id="{AA66D3D2-8693-4BD9-A2A1-D8E77119BAD5}"/>
                </a:ext>
              </a:extLst>
            </p:cNvPr>
            <p:cNvSpPr>
              <a:spLocks/>
            </p:cNvSpPr>
            <p:nvPr/>
          </p:nvSpPr>
          <p:spPr bwMode="auto">
            <a:xfrm>
              <a:off x="1804604" y="2684909"/>
              <a:ext cx="295195" cy="173427"/>
            </a:xfrm>
            <a:custGeom>
              <a:avLst/>
              <a:gdLst>
                <a:gd name="T0" fmla="*/ 461 w 481"/>
                <a:gd name="T1" fmla="*/ 280 h 280"/>
                <a:gd name="T2" fmla="*/ 456 w 481"/>
                <a:gd name="T3" fmla="*/ 280 h 280"/>
                <a:gd name="T4" fmla="*/ 453 w 481"/>
                <a:gd name="T5" fmla="*/ 278 h 280"/>
                <a:gd name="T6" fmla="*/ 449 w 481"/>
                <a:gd name="T7" fmla="*/ 276 h 280"/>
                <a:gd name="T8" fmla="*/ 445 w 481"/>
                <a:gd name="T9" fmla="*/ 272 h 280"/>
                <a:gd name="T10" fmla="*/ 251 w 481"/>
                <a:gd name="T11" fmla="*/ 40 h 280"/>
                <a:gd name="T12" fmla="*/ 20 w 481"/>
                <a:gd name="T13" fmla="*/ 40 h 280"/>
                <a:gd name="T14" fmla="*/ 17 w 481"/>
                <a:gd name="T15" fmla="*/ 40 h 280"/>
                <a:gd name="T16" fmla="*/ 13 w 481"/>
                <a:gd name="T17" fmla="*/ 39 h 280"/>
                <a:gd name="T18" fmla="*/ 9 w 481"/>
                <a:gd name="T19" fmla="*/ 36 h 280"/>
                <a:gd name="T20" fmla="*/ 7 w 481"/>
                <a:gd name="T21" fmla="*/ 34 h 280"/>
                <a:gd name="T22" fmla="*/ 4 w 481"/>
                <a:gd name="T23" fmla="*/ 31 h 280"/>
                <a:gd name="T24" fmla="*/ 3 w 481"/>
                <a:gd name="T25" fmla="*/ 27 h 280"/>
                <a:gd name="T26" fmla="*/ 2 w 481"/>
                <a:gd name="T27" fmla="*/ 24 h 280"/>
                <a:gd name="T28" fmla="*/ 0 w 481"/>
                <a:gd name="T29" fmla="*/ 20 h 280"/>
                <a:gd name="T30" fmla="*/ 2 w 481"/>
                <a:gd name="T31" fmla="*/ 16 h 280"/>
                <a:gd name="T32" fmla="*/ 3 w 481"/>
                <a:gd name="T33" fmla="*/ 13 h 280"/>
                <a:gd name="T34" fmla="*/ 4 w 481"/>
                <a:gd name="T35" fmla="*/ 9 h 280"/>
                <a:gd name="T36" fmla="*/ 7 w 481"/>
                <a:gd name="T37" fmla="*/ 5 h 280"/>
                <a:gd name="T38" fmla="*/ 9 w 481"/>
                <a:gd name="T39" fmla="*/ 3 h 280"/>
                <a:gd name="T40" fmla="*/ 13 w 481"/>
                <a:gd name="T41" fmla="*/ 1 h 280"/>
                <a:gd name="T42" fmla="*/ 17 w 481"/>
                <a:gd name="T43" fmla="*/ 0 h 280"/>
                <a:gd name="T44" fmla="*/ 20 w 481"/>
                <a:gd name="T45" fmla="*/ 0 h 280"/>
                <a:gd name="T46" fmla="*/ 261 w 481"/>
                <a:gd name="T47" fmla="*/ 0 h 280"/>
                <a:gd name="T48" fmla="*/ 265 w 481"/>
                <a:gd name="T49" fmla="*/ 0 h 280"/>
                <a:gd name="T50" fmla="*/ 269 w 481"/>
                <a:gd name="T51" fmla="*/ 1 h 280"/>
                <a:gd name="T52" fmla="*/ 272 w 481"/>
                <a:gd name="T53" fmla="*/ 4 h 280"/>
                <a:gd name="T54" fmla="*/ 276 w 481"/>
                <a:gd name="T55" fmla="*/ 6 h 280"/>
                <a:gd name="T56" fmla="*/ 476 w 481"/>
                <a:gd name="T57" fmla="*/ 247 h 280"/>
                <a:gd name="T58" fmla="*/ 479 w 481"/>
                <a:gd name="T59" fmla="*/ 250 h 280"/>
                <a:gd name="T60" fmla="*/ 480 w 481"/>
                <a:gd name="T61" fmla="*/ 254 h 280"/>
                <a:gd name="T62" fmla="*/ 481 w 481"/>
                <a:gd name="T63" fmla="*/ 257 h 280"/>
                <a:gd name="T64" fmla="*/ 481 w 481"/>
                <a:gd name="T65" fmla="*/ 261 h 280"/>
                <a:gd name="T66" fmla="*/ 480 w 481"/>
                <a:gd name="T67" fmla="*/ 265 h 280"/>
                <a:gd name="T68" fmla="*/ 479 w 481"/>
                <a:gd name="T69" fmla="*/ 269 h 280"/>
                <a:gd name="T70" fmla="*/ 476 w 481"/>
                <a:gd name="T71" fmla="*/ 272 h 280"/>
                <a:gd name="T72" fmla="*/ 474 w 481"/>
                <a:gd name="T73" fmla="*/ 275 h 280"/>
                <a:gd name="T74" fmla="*/ 467 w 481"/>
                <a:gd name="T75" fmla="*/ 278 h 280"/>
                <a:gd name="T76" fmla="*/ 461 w 481"/>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1" h="280">
                  <a:moveTo>
                    <a:pt x="461" y="280"/>
                  </a:moveTo>
                  <a:lnTo>
                    <a:pt x="456" y="280"/>
                  </a:lnTo>
                  <a:lnTo>
                    <a:pt x="453" y="278"/>
                  </a:lnTo>
                  <a:lnTo>
                    <a:pt x="449" y="276"/>
                  </a:lnTo>
                  <a:lnTo>
                    <a:pt x="445" y="272"/>
                  </a:lnTo>
                  <a:lnTo>
                    <a:pt x="251" y="40"/>
                  </a:lnTo>
                  <a:lnTo>
                    <a:pt x="20" y="40"/>
                  </a:lnTo>
                  <a:lnTo>
                    <a:pt x="17" y="40"/>
                  </a:lnTo>
                  <a:lnTo>
                    <a:pt x="13" y="39"/>
                  </a:lnTo>
                  <a:lnTo>
                    <a:pt x="9" y="36"/>
                  </a:lnTo>
                  <a:lnTo>
                    <a:pt x="7" y="34"/>
                  </a:lnTo>
                  <a:lnTo>
                    <a:pt x="4" y="31"/>
                  </a:lnTo>
                  <a:lnTo>
                    <a:pt x="3" y="27"/>
                  </a:lnTo>
                  <a:lnTo>
                    <a:pt x="2" y="24"/>
                  </a:lnTo>
                  <a:lnTo>
                    <a:pt x="0" y="20"/>
                  </a:lnTo>
                  <a:lnTo>
                    <a:pt x="2" y="16"/>
                  </a:lnTo>
                  <a:lnTo>
                    <a:pt x="3" y="13"/>
                  </a:lnTo>
                  <a:lnTo>
                    <a:pt x="4" y="9"/>
                  </a:lnTo>
                  <a:lnTo>
                    <a:pt x="7" y="5"/>
                  </a:lnTo>
                  <a:lnTo>
                    <a:pt x="9" y="3"/>
                  </a:lnTo>
                  <a:lnTo>
                    <a:pt x="13" y="1"/>
                  </a:lnTo>
                  <a:lnTo>
                    <a:pt x="17" y="0"/>
                  </a:lnTo>
                  <a:lnTo>
                    <a:pt x="20" y="0"/>
                  </a:lnTo>
                  <a:lnTo>
                    <a:pt x="261" y="0"/>
                  </a:lnTo>
                  <a:lnTo>
                    <a:pt x="265" y="0"/>
                  </a:lnTo>
                  <a:lnTo>
                    <a:pt x="269" y="1"/>
                  </a:lnTo>
                  <a:lnTo>
                    <a:pt x="272" y="4"/>
                  </a:lnTo>
                  <a:lnTo>
                    <a:pt x="276" y="6"/>
                  </a:lnTo>
                  <a:lnTo>
                    <a:pt x="476" y="247"/>
                  </a:lnTo>
                  <a:lnTo>
                    <a:pt x="479" y="250"/>
                  </a:lnTo>
                  <a:lnTo>
                    <a:pt x="480" y="254"/>
                  </a:lnTo>
                  <a:lnTo>
                    <a:pt x="481" y="257"/>
                  </a:lnTo>
                  <a:lnTo>
                    <a:pt x="481" y="261"/>
                  </a:lnTo>
                  <a:lnTo>
                    <a:pt x="480" y="265"/>
                  </a:lnTo>
                  <a:lnTo>
                    <a:pt x="479" y="269"/>
                  </a:lnTo>
                  <a:lnTo>
                    <a:pt x="476" y="272"/>
                  </a:lnTo>
                  <a:lnTo>
                    <a:pt x="474" y="275"/>
                  </a:lnTo>
                  <a:lnTo>
                    <a:pt x="467" y="278"/>
                  </a:lnTo>
                  <a:lnTo>
                    <a:pt x="461"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45">
              <a:extLst>
                <a:ext uri="{FF2B5EF4-FFF2-40B4-BE49-F238E27FC236}">
                  <a16:creationId xmlns:a16="http://schemas.microsoft.com/office/drawing/2014/main" id="{D6401BBF-B073-4EFB-8DDE-9CA8E318DFBC}"/>
                </a:ext>
              </a:extLst>
            </p:cNvPr>
            <p:cNvSpPr>
              <a:spLocks/>
            </p:cNvSpPr>
            <p:nvPr/>
          </p:nvSpPr>
          <p:spPr bwMode="auto">
            <a:xfrm>
              <a:off x="1435611" y="2684909"/>
              <a:ext cx="295195" cy="173427"/>
            </a:xfrm>
            <a:custGeom>
              <a:avLst/>
              <a:gdLst>
                <a:gd name="T0" fmla="*/ 19 w 480"/>
                <a:gd name="T1" fmla="*/ 280 h 280"/>
                <a:gd name="T2" fmla="*/ 13 w 480"/>
                <a:gd name="T3" fmla="*/ 278 h 280"/>
                <a:gd name="T4" fmla="*/ 7 w 480"/>
                <a:gd name="T5" fmla="*/ 275 h 280"/>
                <a:gd name="T6" fmla="*/ 5 w 480"/>
                <a:gd name="T7" fmla="*/ 272 h 280"/>
                <a:gd name="T8" fmla="*/ 2 w 480"/>
                <a:gd name="T9" fmla="*/ 269 h 280"/>
                <a:gd name="T10" fmla="*/ 1 w 480"/>
                <a:gd name="T11" fmla="*/ 265 h 280"/>
                <a:gd name="T12" fmla="*/ 0 w 480"/>
                <a:gd name="T13" fmla="*/ 261 h 280"/>
                <a:gd name="T14" fmla="*/ 0 w 480"/>
                <a:gd name="T15" fmla="*/ 257 h 280"/>
                <a:gd name="T16" fmla="*/ 1 w 480"/>
                <a:gd name="T17" fmla="*/ 254 h 280"/>
                <a:gd name="T18" fmla="*/ 2 w 480"/>
                <a:gd name="T19" fmla="*/ 250 h 280"/>
                <a:gd name="T20" fmla="*/ 5 w 480"/>
                <a:gd name="T21" fmla="*/ 247 h 280"/>
                <a:gd name="T22" fmla="*/ 204 w 480"/>
                <a:gd name="T23" fmla="*/ 6 h 280"/>
                <a:gd name="T24" fmla="*/ 208 w 480"/>
                <a:gd name="T25" fmla="*/ 4 h 280"/>
                <a:gd name="T26" fmla="*/ 212 w 480"/>
                <a:gd name="T27" fmla="*/ 1 h 280"/>
                <a:gd name="T28" fmla="*/ 216 w 480"/>
                <a:gd name="T29" fmla="*/ 0 h 280"/>
                <a:gd name="T30" fmla="*/ 219 w 480"/>
                <a:gd name="T31" fmla="*/ 0 h 280"/>
                <a:gd name="T32" fmla="*/ 460 w 480"/>
                <a:gd name="T33" fmla="*/ 0 h 280"/>
                <a:gd name="T34" fmla="*/ 464 w 480"/>
                <a:gd name="T35" fmla="*/ 0 h 280"/>
                <a:gd name="T36" fmla="*/ 468 w 480"/>
                <a:gd name="T37" fmla="*/ 1 h 280"/>
                <a:gd name="T38" fmla="*/ 472 w 480"/>
                <a:gd name="T39" fmla="*/ 3 h 280"/>
                <a:gd name="T40" fmla="*/ 474 w 480"/>
                <a:gd name="T41" fmla="*/ 5 h 280"/>
                <a:gd name="T42" fmla="*/ 476 w 480"/>
                <a:gd name="T43" fmla="*/ 9 h 280"/>
                <a:gd name="T44" fmla="*/ 478 w 480"/>
                <a:gd name="T45" fmla="*/ 13 h 280"/>
                <a:gd name="T46" fmla="*/ 479 w 480"/>
                <a:gd name="T47" fmla="*/ 16 h 280"/>
                <a:gd name="T48" fmla="*/ 480 w 480"/>
                <a:gd name="T49" fmla="*/ 20 h 280"/>
                <a:gd name="T50" fmla="*/ 479 w 480"/>
                <a:gd name="T51" fmla="*/ 24 h 280"/>
                <a:gd name="T52" fmla="*/ 478 w 480"/>
                <a:gd name="T53" fmla="*/ 27 h 280"/>
                <a:gd name="T54" fmla="*/ 476 w 480"/>
                <a:gd name="T55" fmla="*/ 31 h 280"/>
                <a:gd name="T56" fmla="*/ 474 w 480"/>
                <a:gd name="T57" fmla="*/ 34 h 280"/>
                <a:gd name="T58" fmla="*/ 472 w 480"/>
                <a:gd name="T59" fmla="*/ 36 h 280"/>
                <a:gd name="T60" fmla="*/ 468 w 480"/>
                <a:gd name="T61" fmla="*/ 39 h 280"/>
                <a:gd name="T62" fmla="*/ 464 w 480"/>
                <a:gd name="T63" fmla="*/ 40 h 280"/>
                <a:gd name="T64" fmla="*/ 460 w 480"/>
                <a:gd name="T65" fmla="*/ 40 h 280"/>
                <a:gd name="T66" fmla="*/ 229 w 480"/>
                <a:gd name="T67" fmla="*/ 40 h 280"/>
                <a:gd name="T68" fmla="*/ 36 w 480"/>
                <a:gd name="T69" fmla="*/ 272 h 280"/>
                <a:gd name="T70" fmla="*/ 32 w 480"/>
                <a:gd name="T71" fmla="*/ 276 h 280"/>
                <a:gd name="T72" fmla="*/ 28 w 480"/>
                <a:gd name="T73" fmla="*/ 278 h 280"/>
                <a:gd name="T74" fmla="*/ 24 w 480"/>
                <a:gd name="T75" fmla="*/ 280 h 280"/>
                <a:gd name="T76" fmla="*/ 19 w 480"/>
                <a:gd name="T7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 h="280">
                  <a:moveTo>
                    <a:pt x="19" y="280"/>
                  </a:moveTo>
                  <a:lnTo>
                    <a:pt x="13" y="278"/>
                  </a:lnTo>
                  <a:lnTo>
                    <a:pt x="7" y="275"/>
                  </a:lnTo>
                  <a:lnTo>
                    <a:pt x="5" y="272"/>
                  </a:lnTo>
                  <a:lnTo>
                    <a:pt x="2" y="269"/>
                  </a:lnTo>
                  <a:lnTo>
                    <a:pt x="1" y="265"/>
                  </a:lnTo>
                  <a:lnTo>
                    <a:pt x="0" y="261"/>
                  </a:lnTo>
                  <a:lnTo>
                    <a:pt x="0" y="257"/>
                  </a:lnTo>
                  <a:lnTo>
                    <a:pt x="1" y="254"/>
                  </a:lnTo>
                  <a:lnTo>
                    <a:pt x="2" y="250"/>
                  </a:lnTo>
                  <a:lnTo>
                    <a:pt x="5" y="247"/>
                  </a:lnTo>
                  <a:lnTo>
                    <a:pt x="204" y="6"/>
                  </a:lnTo>
                  <a:lnTo>
                    <a:pt x="208" y="4"/>
                  </a:lnTo>
                  <a:lnTo>
                    <a:pt x="212" y="1"/>
                  </a:lnTo>
                  <a:lnTo>
                    <a:pt x="216" y="0"/>
                  </a:lnTo>
                  <a:lnTo>
                    <a:pt x="219" y="0"/>
                  </a:lnTo>
                  <a:lnTo>
                    <a:pt x="460" y="0"/>
                  </a:lnTo>
                  <a:lnTo>
                    <a:pt x="464" y="0"/>
                  </a:lnTo>
                  <a:lnTo>
                    <a:pt x="468" y="1"/>
                  </a:lnTo>
                  <a:lnTo>
                    <a:pt x="472" y="3"/>
                  </a:lnTo>
                  <a:lnTo>
                    <a:pt x="474" y="5"/>
                  </a:lnTo>
                  <a:lnTo>
                    <a:pt x="476" y="9"/>
                  </a:lnTo>
                  <a:lnTo>
                    <a:pt x="478" y="13"/>
                  </a:lnTo>
                  <a:lnTo>
                    <a:pt x="479" y="16"/>
                  </a:lnTo>
                  <a:lnTo>
                    <a:pt x="480" y="20"/>
                  </a:lnTo>
                  <a:lnTo>
                    <a:pt x="479" y="24"/>
                  </a:lnTo>
                  <a:lnTo>
                    <a:pt x="478" y="27"/>
                  </a:lnTo>
                  <a:lnTo>
                    <a:pt x="476" y="31"/>
                  </a:lnTo>
                  <a:lnTo>
                    <a:pt x="474" y="34"/>
                  </a:lnTo>
                  <a:lnTo>
                    <a:pt x="472" y="36"/>
                  </a:lnTo>
                  <a:lnTo>
                    <a:pt x="468" y="39"/>
                  </a:lnTo>
                  <a:lnTo>
                    <a:pt x="464" y="40"/>
                  </a:lnTo>
                  <a:lnTo>
                    <a:pt x="460" y="40"/>
                  </a:lnTo>
                  <a:lnTo>
                    <a:pt x="229" y="40"/>
                  </a:lnTo>
                  <a:lnTo>
                    <a:pt x="36" y="272"/>
                  </a:lnTo>
                  <a:lnTo>
                    <a:pt x="32" y="276"/>
                  </a:lnTo>
                  <a:lnTo>
                    <a:pt x="28" y="278"/>
                  </a:lnTo>
                  <a:lnTo>
                    <a:pt x="24" y="280"/>
                  </a:lnTo>
                  <a:lnTo>
                    <a:pt x="19" y="2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46">
              <a:extLst>
                <a:ext uri="{FF2B5EF4-FFF2-40B4-BE49-F238E27FC236}">
                  <a16:creationId xmlns:a16="http://schemas.microsoft.com/office/drawing/2014/main" id="{06719A4F-B913-45A2-ADF2-9DBAE05DE342}"/>
                </a:ext>
              </a:extLst>
            </p:cNvPr>
            <p:cNvSpPr>
              <a:spLocks/>
            </p:cNvSpPr>
            <p:nvPr/>
          </p:nvSpPr>
          <p:spPr bwMode="auto">
            <a:xfrm>
              <a:off x="1756635" y="2515172"/>
              <a:ext cx="23985" cy="293350"/>
            </a:xfrm>
            <a:custGeom>
              <a:avLst/>
              <a:gdLst>
                <a:gd name="T0" fmla="*/ 20 w 40"/>
                <a:gd name="T1" fmla="*/ 478 h 478"/>
                <a:gd name="T2" fmla="*/ 16 w 40"/>
                <a:gd name="T3" fmla="*/ 477 h 478"/>
                <a:gd name="T4" fmla="*/ 12 w 40"/>
                <a:gd name="T5" fmla="*/ 476 h 478"/>
                <a:gd name="T6" fmla="*/ 9 w 40"/>
                <a:gd name="T7" fmla="*/ 474 h 478"/>
                <a:gd name="T8" fmla="*/ 6 w 40"/>
                <a:gd name="T9" fmla="*/ 472 h 478"/>
                <a:gd name="T10" fmla="*/ 4 w 40"/>
                <a:gd name="T11" fmla="*/ 469 h 478"/>
                <a:gd name="T12" fmla="*/ 1 w 40"/>
                <a:gd name="T13" fmla="*/ 466 h 478"/>
                <a:gd name="T14" fmla="*/ 0 w 40"/>
                <a:gd name="T15" fmla="*/ 462 h 478"/>
                <a:gd name="T16" fmla="*/ 0 w 40"/>
                <a:gd name="T17" fmla="*/ 458 h 478"/>
                <a:gd name="T18" fmla="*/ 0 w 40"/>
                <a:gd name="T19" fmla="*/ 20 h 478"/>
                <a:gd name="T20" fmla="*/ 0 w 40"/>
                <a:gd name="T21" fmla="*/ 15 h 478"/>
                <a:gd name="T22" fmla="*/ 1 w 40"/>
                <a:gd name="T23" fmla="*/ 11 h 478"/>
                <a:gd name="T24" fmla="*/ 4 w 40"/>
                <a:gd name="T25" fmla="*/ 9 h 478"/>
                <a:gd name="T26" fmla="*/ 6 w 40"/>
                <a:gd name="T27" fmla="*/ 5 h 478"/>
                <a:gd name="T28" fmla="*/ 9 w 40"/>
                <a:gd name="T29" fmla="*/ 2 h 478"/>
                <a:gd name="T30" fmla="*/ 12 w 40"/>
                <a:gd name="T31" fmla="*/ 1 h 478"/>
                <a:gd name="T32" fmla="*/ 16 w 40"/>
                <a:gd name="T33" fmla="*/ 0 h 478"/>
                <a:gd name="T34" fmla="*/ 20 w 40"/>
                <a:gd name="T35" fmla="*/ 0 h 478"/>
                <a:gd name="T36" fmla="*/ 24 w 40"/>
                <a:gd name="T37" fmla="*/ 0 h 478"/>
                <a:gd name="T38" fmla="*/ 27 w 40"/>
                <a:gd name="T39" fmla="*/ 1 h 478"/>
                <a:gd name="T40" fmla="*/ 31 w 40"/>
                <a:gd name="T41" fmla="*/ 2 h 478"/>
                <a:gd name="T42" fmla="*/ 33 w 40"/>
                <a:gd name="T43" fmla="*/ 5 h 478"/>
                <a:gd name="T44" fmla="*/ 36 w 40"/>
                <a:gd name="T45" fmla="*/ 9 h 478"/>
                <a:gd name="T46" fmla="*/ 38 w 40"/>
                <a:gd name="T47" fmla="*/ 11 h 478"/>
                <a:gd name="T48" fmla="*/ 40 w 40"/>
                <a:gd name="T49" fmla="*/ 15 h 478"/>
                <a:gd name="T50" fmla="*/ 40 w 40"/>
                <a:gd name="T51" fmla="*/ 20 h 478"/>
                <a:gd name="T52" fmla="*/ 40 w 40"/>
                <a:gd name="T53" fmla="*/ 458 h 478"/>
                <a:gd name="T54" fmla="*/ 40 w 40"/>
                <a:gd name="T55" fmla="*/ 462 h 478"/>
                <a:gd name="T56" fmla="*/ 38 w 40"/>
                <a:gd name="T57" fmla="*/ 466 h 478"/>
                <a:gd name="T58" fmla="*/ 36 w 40"/>
                <a:gd name="T59" fmla="*/ 469 h 478"/>
                <a:gd name="T60" fmla="*/ 33 w 40"/>
                <a:gd name="T61" fmla="*/ 472 h 478"/>
                <a:gd name="T62" fmla="*/ 31 w 40"/>
                <a:gd name="T63" fmla="*/ 474 h 478"/>
                <a:gd name="T64" fmla="*/ 27 w 40"/>
                <a:gd name="T65" fmla="*/ 476 h 478"/>
                <a:gd name="T66" fmla="*/ 24 w 40"/>
                <a:gd name="T67" fmla="*/ 477 h 478"/>
                <a:gd name="T68" fmla="*/ 20 w 40"/>
                <a:gd name="T69"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78">
                  <a:moveTo>
                    <a:pt x="20" y="478"/>
                  </a:moveTo>
                  <a:lnTo>
                    <a:pt x="16" y="477"/>
                  </a:lnTo>
                  <a:lnTo>
                    <a:pt x="12" y="476"/>
                  </a:lnTo>
                  <a:lnTo>
                    <a:pt x="9" y="474"/>
                  </a:lnTo>
                  <a:lnTo>
                    <a:pt x="6" y="472"/>
                  </a:lnTo>
                  <a:lnTo>
                    <a:pt x="4" y="469"/>
                  </a:lnTo>
                  <a:lnTo>
                    <a:pt x="1" y="466"/>
                  </a:lnTo>
                  <a:lnTo>
                    <a:pt x="0" y="462"/>
                  </a:lnTo>
                  <a:lnTo>
                    <a:pt x="0" y="458"/>
                  </a:lnTo>
                  <a:lnTo>
                    <a:pt x="0" y="20"/>
                  </a:lnTo>
                  <a:lnTo>
                    <a:pt x="0" y="15"/>
                  </a:lnTo>
                  <a:lnTo>
                    <a:pt x="1" y="11"/>
                  </a:lnTo>
                  <a:lnTo>
                    <a:pt x="4" y="9"/>
                  </a:lnTo>
                  <a:lnTo>
                    <a:pt x="6" y="5"/>
                  </a:lnTo>
                  <a:lnTo>
                    <a:pt x="9" y="2"/>
                  </a:lnTo>
                  <a:lnTo>
                    <a:pt x="12" y="1"/>
                  </a:lnTo>
                  <a:lnTo>
                    <a:pt x="16" y="0"/>
                  </a:lnTo>
                  <a:lnTo>
                    <a:pt x="20" y="0"/>
                  </a:lnTo>
                  <a:lnTo>
                    <a:pt x="24" y="0"/>
                  </a:lnTo>
                  <a:lnTo>
                    <a:pt x="27" y="1"/>
                  </a:lnTo>
                  <a:lnTo>
                    <a:pt x="31" y="2"/>
                  </a:lnTo>
                  <a:lnTo>
                    <a:pt x="33" y="5"/>
                  </a:lnTo>
                  <a:lnTo>
                    <a:pt x="36" y="9"/>
                  </a:lnTo>
                  <a:lnTo>
                    <a:pt x="38" y="11"/>
                  </a:lnTo>
                  <a:lnTo>
                    <a:pt x="40" y="15"/>
                  </a:lnTo>
                  <a:lnTo>
                    <a:pt x="40" y="20"/>
                  </a:lnTo>
                  <a:lnTo>
                    <a:pt x="40" y="458"/>
                  </a:lnTo>
                  <a:lnTo>
                    <a:pt x="40" y="462"/>
                  </a:lnTo>
                  <a:lnTo>
                    <a:pt x="38" y="466"/>
                  </a:lnTo>
                  <a:lnTo>
                    <a:pt x="36" y="469"/>
                  </a:lnTo>
                  <a:lnTo>
                    <a:pt x="33" y="472"/>
                  </a:lnTo>
                  <a:lnTo>
                    <a:pt x="31" y="474"/>
                  </a:lnTo>
                  <a:lnTo>
                    <a:pt x="27" y="476"/>
                  </a:lnTo>
                  <a:lnTo>
                    <a:pt x="24" y="477"/>
                  </a:lnTo>
                  <a:lnTo>
                    <a:pt x="2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47">
              <a:extLst>
                <a:ext uri="{FF2B5EF4-FFF2-40B4-BE49-F238E27FC236}">
                  <a16:creationId xmlns:a16="http://schemas.microsoft.com/office/drawing/2014/main" id="{A3523922-555F-44F2-B74C-C891DE871DB7}"/>
                </a:ext>
              </a:extLst>
            </p:cNvPr>
            <p:cNvSpPr>
              <a:spLocks/>
            </p:cNvSpPr>
            <p:nvPr/>
          </p:nvSpPr>
          <p:spPr bwMode="auto">
            <a:xfrm>
              <a:off x="1680992" y="2513327"/>
              <a:ext cx="175272" cy="99628"/>
            </a:xfrm>
            <a:custGeom>
              <a:avLst/>
              <a:gdLst>
                <a:gd name="T0" fmla="*/ 264 w 284"/>
                <a:gd name="T1" fmla="*/ 162 h 162"/>
                <a:gd name="T2" fmla="*/ 260 w 284"/>
                <a:gd name="T3" fmla="*/ 162 h 162"/>
                <a:gd name="T4" fmla="*/ 256 w 284"/>
                <a:gd name="T5" fmla="*/ 161 h 162"/>
                <a:gd name="T6" fmla="*/ 253 w 284"/>
                <a:gd name="T7" fmla="*/ 159 h 162"/>
                <a:gd name="T8" fmla="*/ 250 w 284"/>
                <a:gd name="T9" fmla="*/ 157 h 162"/>
                <a:gd name="T10" fmla="*/ 142 w 284"/>
                <a:gd name="T11" fmla="*/ 49 h 162"/>
                <a:gd name="T12" fmla="*/ 35 w 284"/>
                <a:gd name="T13" fmla="*/ 157 h 162"/>
                <a:gd name="T14" fmla="*/ 32 w 284"/>
                <a:gd name="T15" fmla="*/ 159 h 162"/>
                <a:gd name="T16" fmla="*/ 28 w 284"/>
                <a:gd name="T17" fmla="*/ 161 h 162"/>
                <a:gd name="T18" fmla="*/ 25 w 284"/>
                <a:gd name="T19" fmla="*/ 162 h 162"/>
                <a:gd name="T20" fmla="*/ 20 w 284"/>
                <a:gd name="T21" fmla="*/ 162 h 162"/>
                <a:gd name="T22" fmla="*/ 17 w 284"/>
                <a:gd name="T23" fmla="*/ 162 h 162"/>
                <a:gd name="T24" fmla="*/ 13 w 284"/>
                <a:gd name="T25" fmla="*/ 161 h 162"/>
                <a:gd name="T26" fmla="*/ 10 w 284"/>
                <a:gd name="T27" fmla="*/ 159 h 162"/>
                <a:gd name="T28" fmla="*/ 7 w 284"/>
                <a:gd name="T29" fmla="*/ 157 h 162"/>
                <a:gd name="T30" fmla="*/ 4 w 284"/>
                <a:gd name="T31" fmla="*/ 153 h 162"/>
                <a:gd name="T32" fmla="*/ 3 w 284"/>
                <a:gd name="T33" fmla="*/ 149 h 162"/>
                <a:gd name="T34" fmla="*/ 2 w 284"/>
                <a:gd name="T35" fmla="*/ 146 h 162"/>
                <a:gd name="T36" fmla="*/ 0 w 284"/>
                <a:gd name="T37" fmla="*/ 142 h 162"/>
                <a:gd name="T38" fmla="*/ 2 w 284"/>
                <a:gd name="T39" fmla="*/ 138 h 162"/>
                <a:gd name="T40" fmla="*/ 3 w 284"/>
                <a:gd name="T41" fmla="*/ 135 h 162"/>
                <a:gd name="T42" fmla="*/ 4 w 284"/>
                <a:gd name="T43" fmla="*/ 131 h 162"/>
                <a:gd name="T44" fmla="*/ 7 w 284"/>
                <a:gd name="T45" fmla="*/ 128 h 162"/>
                <a:gd name="T46" fmla="*/ 128 w 284"/>
                <a:gd name="T47" fmla="*/ 7 h 162"/>
                <a:gd name="T48" fmla="*/ 131 w 284"/>
                <a:gd name="T49" fmla="*/ 4 h 162"/>
                <a:gd name="T50" fmla="*/ 135 w 284"/>
                <a:gd name="T51" fmla="*/ 3 h 162"/>
                <a:gd name="T52" fmla="*/ 138 w 284"/>
                <a:gd name="T53" fmla="*/ 2 h 162"/>
                <a:gd name="T54" fmla="*/ 142 w 284"/>
                <a:gd name="T55" fmla="*/ 0 h 162"/>
                <a:gd name="T56" fmla="*/ 146 w 284"/>
                <a:gd name="T57" fmla="*/ 2 h 162"/>
                <a:gd name="T58" fmla="*/ 150 w 284"/>
                <a:gd name="T59" fmla="*/ 3 h 162"/>
                <a:gd name="T60" fmla="*/ 153 w 284"/>
                <a:gd name="T61" fmla="*/ 4 h 162"/>
                <a:gd name="T62" fmla="*/ 157 w 284"/>
                <a:gd name="T63" fmla="*/ 7 h 162"/>
                <a:gd name="T64" fmla="*/ 277 w 284"/>
                <a:gd name="T65" fmla="*/ 128 h 162"/>
                <a:gd name="T66" fmla="*/ 280 w 284"/>
                <a:gd name="T67" fmla="*/ 131 h 162"/>
                <a:gd name="T68" fmla="*/ 282 w 284"/>
                <a:gd name="T69" fmla="*/ 135 h 162"/>
                <a:gd name="T70" fmla="*/ 284 w 284"/>
                <a:gd name="T71" fmla="*/ 138 h 162"/>
                <a:gd name="T72" fmla="*/ 284 w 284"/>
                <a:gd name="T73" fmla="*/ 142 h 162"/>
                <a:gd name="T74" fmla="*/ 284 w 284"/>
                <a:gd name="T75" fmla="*/ 146 h 162"/>
                <a:gd name="T76" fmla="*/ 282 w 284"/>
                <a:gd name="T77" fmla="*/ 149 h 162"/>
                <a:gd name="T78" fmla="*/ 280 w 284"/>
                <a:gd name="T79" fmla="*/ 153 h 162"/>
                <a:gd name="T80" fmla="*/ 277 w 284"/>
                <a:gd name="T81" fmla="*/ 157 h 162"/>
                <a:gd name="T82" fmla="*/ 275 w 284"/>
                <a:gd name="T83" fmla="*/ 159 h 162"/>
                <a:gd name="T84" fmla="*/ 271 w 284"/>
                <a:gd name="T85" fmla="*/ 161 h 162"/>
                <a:gd name="T86" fmla="*/ 268 w 284"/>
                <a:gd name="T87" fmla="*/ 162 h 162"/>
                <a:gd name="T88" fmla="*/ 264 w 284"/>
                <a:gd name="T89"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 h="162">
                  <a:moveTo>
                    <a:pt x="264" y="162"/>
                  </a:moveTo>
                  <a:lnTo>
                    <a:pt x="260" y="162"/>
                  </a:lnTo>
                  <a:lnTo>
                    <a:pt x="256" y="161"/>
                  </a:lnTo>
                  <a:lnTo>
                    <a:pt x="253" y="159"/>
                  </a:lnTo>
                  <a:lnTo>
                    <a:pt x="250" y="157"/>
                  </a:lnTo>
                  <a:lnTo>
                    <a:pt x="142" y="49"/>
                  </a:lnTo>
                  <a:lnTo>
                    <a:pt x="35" y="157"/>
                  </a:lnTo>
                  <a:lnTo>
                    <a:pt x="32" y="159"/>
                  </a:lnTo>
                  <a:lnTo>
                    <a:pt x="28" y="161"/>
                  </a:lnTo>
                  <a:lnTo>
                    <a:pt x="25" y="162"/>
                  </a:lnTo>
                  <a:lnTo>
                    <a:pt x="20" y="162"/>
                  </a:lnTo>
                  <a:lnTo>
                    <a:pt x="17" y="162"/>
                  </a:lnTo>
                  <a:lnTo>
                    <a:pt x="13" y="161"/>
                  </a:lnTo>
                  <a:lnTo>
                    <a:pt x="10" y="159"/>
                  </a:lnTo>
                  <a:lnTo>
                    <a:pt x="7" y="157"/>
                  </a:lnTo>
                  <a:lnTo>
                    <a:pt x="4" y="153"/>
                  </a:lnTo>
                  <a:lnTo>
                    <a:pt x="3" y="149"/>
                  </a:lnTo>
                  <a:lnTo>
                    <a:pt x="2" y="146"/>
                  </a:lnTo>
                  <a:lnTo>
                    <a:pt x="0" y="142"/>
                  </a:lnTo>
                  <a:lnTo>
                    <a:pt x="2" y="138"/>
                  </a:lnTo>
                  <a:lnTo>
                    <a:pt x="3" y="135"/>
                  </a:lnTo>
                  <a:lnTo>
                    <a:pt x="4" y="131"/>
                  </a:lnTo>
                  <a:lnTo>
                    <a:pt x="7" y="128"/>
                  </a:lnTo>
                  <a:lnTo>
                    <a:pt x="128" y="7"/>
                  </a:lnTo>
                  <a:lnTo>
                    <a:pt x="131" y="4"/>
                  </a:lnTo>
                  <a:lnTo>
                    <a:pt x="135" y="3"/>
                  </a:lnTo>
                  <a:lnTo>
                    <a:pt x="138" y="2"/>
                  </a:lnTo>
                  <a:lnTo>
                    <a:pt x="142" y="0"/>
                  </a:lnTo>
                  <a:lnTo>
                    <a:pt x="146" y="2"/>
                  </a:lnTo>
                  <a:lnTo>
                    <a:pt x="150" y="3"/>
                  </a:lnTo>
                  <a:lnTo>
                    <a:pt x="153" y="4"/>
                  </a:lnTo>
                  <a:lnTo>
                    <a:pt x="157" y="7"/>
                  </a:lnTo>
                  <a:lnTo>
                    <a:pt x="277" y="128"/>
                  </a:lnTo>
                  <a:lnTo>
                    <a:pt x="280" y="131"/>
                  </a:lnTo>
                  <a:lnTo>
                    <a:pt x="282" y="135"/>
                  </a:lnTo>
                  <a:lnTo>
                    <a:pt x="284" y="138"/>
                  </a:lnTo>
                  <a:lnTo>
                    <a:pt x="284" y="142"/>
                  </a:lnTo>
                  <a:lnTo>
                    <a:pt x="284" y="146"/>
                  </a:lnTo>
                  <a:lnTo>
                    <a:pt x="282" y="149"/>
                  </a:lnTo>
                  <a:lnTo>
                    <a:pt x="280" y="153"/>
                  </a:lnTo>
                  <a:lnTo>
                    <a:pt x="277" y="157"/>
                  </a:lnTo>
                  <a:lnTo>
                    <a:pt x="275" y="159"/>
                  </a:lnTo>
                  <a:lnTo>
                    <a:pt x="271" y="161"/>
                  </a:lnTo>
                  <a:lnTo>
                    <a:pt x="268" y="162"/>
                  </a:lnTo>
                  <a:lnTo>
                    <a:pt x="264"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9" name="Freeform 50">
            <a:extLst>
              <a:ext uri="{FF2B5EF4-FFF2-40B4-BE49-F238E27FC236}">
                <a16:creationId xmlns:a16="http://schemas.microsoft.com/office/drawing/2014/main" id="{6290D32C-FDCF-43D1-B5B1-B74D0DB1CBD2}"/>
              </a:ext>
            </a:extLst>
          </p:cNvPr>
          <p:cNvSpPr>
            <a:spLocks noChangeAspect="1" noEditPoints="1"/>
          </p:cNvSpPr>
          <p:nvPr/>
        </p:nvSpPr>
        <p:spPr bwMode="auto">
          <a:xfrm>
            <a:off x="2310430" y="5944848"/>
            <a:ext cx="293714" cy="306484"/>
          </a:xfrm>
          <a:custGeom>
            <a:avLst/>
            <a:gdLst>
              <a:gd name="T0" fmla="*/ 496 w 506"/>
              <a:gd name="T1" fmla="*/ 89 h 528"/>
              <a:gd name="T2" fmla="*/ 254 w 506"/>
              <a:gd name="T3" fmla="*/ 0 h 528"/>
              <a:gd name="T4" fmla="*/ 10 w 506"/>
              <a:gd name="T5" fmla="*/ 89 h 528"/>
              <a:gd name="T6" fmla="*/ 0 w 506"/>
              <a:gd name="T7" fmla="*/ 91 h 528"/>
              <a:gd name="T8" fmla="*/ 0 w 506"/>
              <a:gd name="T9" fmla="*/ 105 h 528"/>
              <a:gd name="T10" fmla="*/ 0 w 506"/>
              <a:gd name="T11" fmla="*/ 108 h 528"/>
              <a:gd name="T12" fmla="*/ 0 w 506"/>
              <a:gd name="T13" fmla="*/ 437 h 528"/>
              <a:gd name="T14" fmla="*/ 244 w 506"/>
              <a:gd name="T15" fmla="*/ 525 h 528"/>
              <a:gd name="T16" fmla="*/ 254 w 506"/>
              <a:gd name="T17" fmla="*/ 528 h 528"/>
              <a:gd name="T18" fmla="*/ 262 w 506"/>
              <a:gd name="T19" fmla="*/ 525 h 528"/>
              <a:gd name="T20" fmla="*/ 506 w 506"/>
              <a:gd name="T21" fmla="*/ 437 h 528"/>
              <a:gd name="T22" fmla="*/ 506 w 506"/>
              <a:gd name="T23" fmla="*/ 110 h 528"/>
              <a:gd name="T24" fmla="*/ 506 w 506"/>
              <a:gd name="T25" fmla="*/ 106 h 528"/>
              <a:gd name="T26" fmla="*/ 506 w 506"/>
              <a:gd name="T27" fmla="*/ 93 h 528"/>
              <a:gd name="T28" fmla="*/ 496 w 506"/>
              <a:gd name="T29" fmla="*/ 89 h 528"/>
              <a:gd name="T30" fmla="*/ 244 w 506"/>
              <a:gd name="T31" fmla="*/ 504 h 528"/>
              <a:gd name="T32" fmla="*/ 20 w 506"/>
              <a:gd name="T33" fmla="*/ 423 h 528"/>
              <a:gd name="T34" fmla="*/ 20 w 506"/>
              <a:gd name="T35" fmla="*/ 112 h 528"/>
              <a:gd name="T36" fmla="*/ 180 w 506"/>
              <a:gd name="T37" fmla="*/ 171 h 528"/>
              <a:gd name="T38" fmla="*/ 244 w 506"/>
              <a:gd name="T39" fmla="*/ 193 h 528"/>
              <a:gd name="T40" fmla="*/ 244 w 506"/>
              <a:gd name="T41" fmla="*/ 504 h 528"/>
              <a:gd name="T42" fmla="*/ 254 w 506"/>
              <a:gd name="T43" fmla="*/ 178 h 528"/>
              <a:gd name="T44" fmla="*/ 139 w 506"/>
              <a:gd name="T45" fmla="*/ 135 h 528"/>
              <a:gd name="T46" fmla="*/ 37 w 506"/>
              <a:gd name="T47" fmla="*/ 98 h 528"/>
              <a:gd name="T48" fmla="*/ 254 w 506"/>
              <a:gd name="T49" fmla="*/ 20 h 528"/>
              <a:gd name="T50" fmla="*/ 469 w 506"/>
              <a:gd name="T51" fmla="*/ 98 h 528"/>
              <a:gd name="T52" fmla="*/ 254 w 506"/>
              <a:gd name="T53" fmla="*/ 178 h 528"/>
              <a:gd name="T54" fmla="*/ 488 w 506"/>
              <a:gd name="T55" fmla="*/ 423 h 528"/>
              <a:gd name="T56" fmla="*/ 262 w 506"/>
              <a:gd name="T57" fmla="*/ 504 h 528"/>
              <a:gd name="T58" fmla="*/ 262 w 506"/>
              <a:gd name="T59" fmla="*/ 193 h 528"/>
              <a:gd name="T60" fmla="*/ 488 w 506"/>
              <a:gd name="T61" fmla="*/ 113 h 528"/>
              <a:gd name="T62" fmla="*/ 488 w 506"/>
              <a:gd name="T63" fmla="*/ 423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6" h="528">
                <a:moveTo>
                  <a:pt x="496" y="89"/>
                </a:moveTo>
                <a:lnTo>
                  <a:pt x="254" y="0"/>
                </a:lnTo>
                <a:lnTo>
                  <a:pt x="10" y="89"/>
                </a:lnTo>
                <a:lnTo>
                  <a:pt x="0" y="91"/>
                </a:lnTo>
                <a:lnTo>
                  <a:pt x="0" y="105"/>
                </a:lnTo>
                <a:lnTo>
                  <a:pt x="0" y="108"/>
                </a:lnTo>
                <a:lnTo>
                  <a:pt x="0" y="437"/>
                </a:lnTo>
                <a:lnTo>
                  <a:pt x="244" y="525"/>
                </a:lnTo>
                <a:lnTo>
                  <a:pt x="254" y="528"/>
                </a:lnTo>
                <a:lnTo>
                  <a:pt x="262" y="525"/>
                </a:lnTo>
                <a:lnTo>
                  <a:pt x="506" y="437"/>
                </a:lnTo>
                <a:lnTo>
                  <a:pt x="506" y="110"/>
                </a:lnTo>
                <a:lnTo>
                  <a:pt x="506" y="106"/>
                </a:lnTo>
                <a:lnTo>
                  <a:pt x="506" y="93"/>
                </a:lnTo>
                <a:lnTo>
                  <a:pt x="496" y="89"/>
                </a:lnTo>
                <a:close/>
                <a:moveTo>
                  <a:pt x="244" y="504"/>
                </a:moveTo>
                <a:lnTo>
                  <a:pt x="20" y="423"/>
                </a:lnTo>
                <a:lnTo>
                  <a:pt x="20" y="112"/>
                </a:lnTo>
                <a:lnTo>
                  <a:pt x="180" y="171"/>
                </a:lnTo>
                <a:lnTo>
                  <a:pt x="244" y="193"/>
                </a:lnTo>
                <a:lnTo>
                  <a:pt x="244" y="504"/>
                </a:lnTo>
                <a:close/>
                <a:moveTo>
                  <a:pt x="254" y="178"/>
                </a:moveTo>
                <a:lnTo>
                  <a:pt x="139" y="135"/>
                </a:lnTo>
                <a:lnTo>
                  <a:pt x="37" y="98"/>
                </a:lnTo>
                <a:lnTo>
                  <a:pt x="254" y="20"/>
                </a:lnTo>
                <a:lnTo>
                  <a:pt x="469" y="98"/>
                </a:lnTo>
                <a:lnTo>
                  <a:pt x="254" y="178"/>
                </a:lnTo>
                <a:close/>
                <a:moveTo>
                  <a:pt x="488" y="423"/>
                </a:moveTo>
                <a:lnTo>
                  <a:pt x="262" y="504"/>
                </a:lnTo>
                <a:lnTo>
                  <a:pt x="262" y="193"/>
                </a:lnTo>
                <a:lnTo>
                  <a:pt x="488" y="113"/>
                </a:lnTo>
                <a:lnTo>
                  <a:pt x="488" y="42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527" name="Group 76">
            <a:extLst>
              <a:ext uri="{FF2B5EF4-FFF2-40B4-BE49-F238E27FC236}">
                <a16:creationId xmlns:a16="http://schemas.microsoft.com/office/drawing/2014/main" id="{A05A195C-844E-4077-8467-626FF1706308}"/>
              </a:ext>
            </a:extLst>
          </p:cNvPr>
          <p:cNvGrpSpPr>
            <a:grpSpLocks noChangeAspect="1"/>
          </p:cNvGrpSpPr>
          <p:nvPr/>
        </p:nvGrpSpPr>
        <p:grpSpPr>
          <a:xfrm>
            <a:off x="2725826" y="5944848"/>
            <a:ext cx="306484" cy="306484"/>
            <a:chOff x="11593513" y="3067050"/>
            <a:chExt cx="285750" cy="285750"/>
          </a:xfrm>
          <a:solidFill>
            <a:schemeClr val="bg1"/>
          </a:solidFill>
          <a:effectLst/>
        </p:grpSpPr>
        <p:sp>
          <p:nvSpPr>
            <p:cNvPr id="528" name="Freeform 276">
              <a:extLst>
                <a:ext uri="{FF2B5EF4-FFF2-40B4-BE49-F238E27FC236}">
                  <a16:creationId xmlns:a16="http://schemas.microsoft.com/office/drawing/2014/main" id="{58B461F4-0EC8-4B5A-B069-3A81FC76B7F1}"/>
                </a:ext>
              </a:extLst>
            </p:cNvPr>
            <p:cNvSpPr>
              <a:spLocks noEditPoints="1"/>
            </p:cNvSpPr>
            <p:nvPr/>
          </p:nvSpPr>
          <p:spPr bwMode="auto">
            <a:xfrm>
              <a:off x="11688763" y="3067050"/>
              <a:ext cx="123825" cy="123825"/>
            </a:xfrm>
            <a:custGeom>
              <a:avLst/>
              <a:gdLst>
                <a:gd name="T0" fmla="*/ 327 w 390"/>
                <a:gd name="T1" fmla="*/ 75 h 389"/>
                <a:gd name="T2" fmla="*/ 62 w 390"/>
                <a:gd name="T3" fmla="*/ 75 h 389"/>
                <a:gd name="T4" fmla="*/ 359 w 390"/>
                <a:gd name="T5" fmla="*/ 290 h 389"/>
                <a:gd name="T6" fmla="*/ 209 w 390"/>
                <a:gd name="T7" fmla="*/ 146 h 389"/>
                <a:gd name="T8" fmla="*/ 359 w 390"/>
                <a:gd name="T9" fmla="*/ 290 h 389"/>
                <a:gd name="T10" fmla="*/ 179 w 390"/>
                <a:gd name="T11" fmla="*/ 146 h 389"/>
                <a:gd name="T12" fmla="*/ 30 w 390"/>
                <a:gd name="T13" fmla="*/ 290 h 389"/>
                <a:gd name="T14" fmla="*/ 8 w 390"/>
                <a:gd name="T15" fmla="*/ 313 h 389"/>
                <a:gd name="T16" fmla="*/ 189 w 390"/>
                <a:gd name="T17" fmla="*/ 388 h 389"/>
                <a:gd name="T18" fmla="*/ 189 w 390"/>
                <a:gd name="T19" fmla="*/ 388 h 389"/>
                <a:gd name="T20" fmla="*/ 194 w 390"/>
                <a:gd name="T21" fmla="*/ 389 h 389"/>
                <a:gd name="T22" fmla="*/ 199 w 390"/>
                <a:gd name="T23" fmla="*/ 388 h 389"/>
                <a:gd name="T24" fmla="*/ 200 w 390"/>
                <a:gd name="T25" fmla="*/ 388 h 389"/>
                <a:gd name="T26" fmla="*/ 380 w 390"/>
                <a:gd name="T27" fmla="*/ 313 h 389"/>
                <a:gd name="T28" fmla="*/ 386 w 390"/>
                <a:gd name="T29" fmla="*/ 308 h 389"/>
                <a:gd name="T30" fmla="*/ 389 w 390"/>
                <a:gd name="T31" fmla="*/ 299 h 389"/>
                <a:gd name="T32" fmla="*/ 389 w 390"/>
                <a:gd name="T33" fmla="*/ 74 h 389"/>
                <a:gd name="T34" fmla="*/ 389 w 390"/>
                <a:gd name="T35" fmla="*/ 73 h 389"/>
                <a:gd name="T36" fmla="*/ 389 w 390"/>
                <a:gd name="T37" fmla="*/ 71 h 389"/>
                <a:gd name="T38" fmla="*/ 387 w 390"/>
                <a:gd name="T39" fmla="*/ 68 h 389"/>
                <a:gd name="T40" fmla="*/ 386 w 390"/>
                <a:gd name="T41" fmla="*/ 65 h 389"/>
                <a:gd name="T42" fmla="*/ 384 w 390"/>
                <a:gd name="T43" fmla="*/ 63 h 389"/>
                <a:gd name="T44" fmla="*/ 383 w 390"/>
                <a:gd name="T45" fmla="*/ 63 h 389"/>
                <a:gd name="T46" fmla="*/ 382 w 390"/>
                <a:gd name="T47" fmla="*/ 62 h 389"/>
                <a:gd name="T48" fmla="*/ 380 w 390"/>
                <a:gd name="T49" fmla="*/ 61 h 389"/>
                <a:gd name="T50" fmla="*/ 199 w 390"/>
                <a:gd name="T51" fmla="*/ 0 h 389"/>
                <a:gd name="T52" fmla="*/ 190 w 390"/>
                <a:gd name="T53" fmla="*/ 0 h 389"/>
                <a:gd name="T54" fmla="*/ 8 w 390"/>
                <a:gd name="T55" fmla="*/ 61 h 389"/>
                <a:gd name="T56" fmla="*/ 6 w 390"/>
                <a:gd name="T57" fmla="*/ 62 h 389"/>
                <a:gd name="T58" fmla="*/ 5 w 390"/>
                <a:gd name="T59" fmla="*/ 63 h 389"/>
                <a:gd name="T60" fmla="*/ 4 w 390"/>
                <a:gd name="T61" fmla="*/ 63 h 389"/>
                <a:gd name="T62" fmla="*/ 2 w 390"/>
                <a:gd name="T63" fmla="*/ 65 h 389"/>
                <a:gd name="T64" fmla="*/ 1 w 390"/>
                <a:gd name="T65" fmla="*/ 69 h 389"/>
                <a:gd name="T66" fmla="*/ 0 w 390"/>
                <a:gd name="T67" fmla="*/ 71 h 389"/>
                <a:gd name="T68" fmla="*/ 0 w 390"/>
                <a:gd name="T69" fmla="*/ 74 h 389"/>
                <a:gd name="T70" fmla="*/ 0 w 390"/>
                <a:gd name="T71" fmla="*/ 74 h 389"/>
                <a:gd name="T72" fmla="*/ 0 w 390"/>
                <a:gd name="T73" fmla="*/ 299 h 389"/>
                <a:gd name="T74" fmla="*/ 2 w 390"/>
                <a:gd name="T75" fmla="*/ 308 h 389"/>
                <a:gd name="T76" fmla="*/ 8 w 390"/>
                <a:gd name="T77" fmla="*/ 313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389">
                  <a:moveTo>
                    <a:pt x="194" y="30"/>
                  </a:moveTo>
                  <a:lnTo>
                    <a:pt x="327" y="75"/>
                  </a:lnTo>
                  <a:lnTo>
                    <a:pt x="194" y="119"/>
                  </a:lnTo>
                  <a:lnTo>
                    <a:pt x="62" y="75"/>
                  </a:lnTo>
                  <a:lnTo>
                    <a:pt x="194" y="30"/>
                  </a:lnTo>
                  <a:close/>
                  <a:moveTo>
                    <a:pt x="359" y="290"/>
                  </a:moveTo>
                  <a:lnTo>
                    <a:pt x="209" y="352"/>
                  </a:lnTo>
                  <a:lnTo>
                    <a:pt x="209" y="146"/>
                  </a:lnTo>
                  <a:lnTo>
                    <a:pt x="359" y="95"/>
                  </a:lnTo>
                  <a:lnTo>
                    <a:pt x="359" y="290"/>
                  </a:lnTo>
                  <a:close/>
                  <a:moveTo>
                    <a:pt x="30" y="95"/>
                  </a:moveTo>
                  <a:lnTo>
                    <a:pt x="179" y="146"/>
                  </a:lnTo>
                  <a:lnTo>
                    <a:pt x="179" y="352"/>
                  </a:lnTo>
                  <a:lnTo>
                    <a:pt x="30" y="290"/>
                  </a:lnTo>
                  <a:lnTo>
                    <a:pt x="30" y="95"/>
                  </a:lnTo>
                  <a:close/>
                  <a:moveTo>
                    <a:pt x="8" y="313"/>
                  </a:moveTo>
                  <a:lnTo>
                    <a:pt x="189" y="388"/>
                  </a:lnTo>
                  <a:lnTo>
                    <a:pt x="189" y="388"/>
                  </a:lnTo>
                  <a:lnTo>
                    <a:pt x="189" y="388"/>
                  </a:lnTo>
                  <a:lnTo>
                    <a:pt x="189" y="388"/>
                  </a:lnTo>
                  <a:lnTo>
                    <a:pt x="191" y="389"/>
                  </a:lnTo>
                  <a:lnTo>
                    <a:pt x="194" y="389"/>
                  </a:lnTo>
                  <a:lnTo>
                    <a:pt x="197" y="389"/>
                  </a:lnTo>
                  <a:lnTo>
                    <a:pt x="199" y="388"/>
                  </a:lnTo>
                  <a:lnTo>
                    <a:pt x="200" y="388"/>
                  </a:lnTo>
                  <a:lnTo>
                    <a:pt x="200" y="388"/>
                  </a:lnTo>
                  <a:lnTo>
                    <a:pt x="200" y="388"/>
                  </a:lnTo>
                  <a:lnTo>
                    <a:pt x="380" y="313"/>
                  </a:lnTo>
                  <a:lnTo>
                    <a:pt x="383" y="311"/>
                  </a:lnTo>
                  <a:lnTo>
                    <a:pt x="386" y="308"/>
                  </a:lnTo>
                  <a:lnTo>
                    <a:pt x="389" y="304"/>
                  </a:lnTo>
                  <a:lnTo>
                    <a:pt x="389" y="299"/>
                  </a:lnTo>
                  <a:lnTo>
                    <a:pt x="390" y="75"/>
                  </a:lnTo>
                  <a:lnTo>
                    <a:pt x="389" y="74"/>
                  </a:lnTo>
                  <a:lnTo>
                    <a:pt x="389" y="74"/>
                  </a:lnTo>
                  <a:lnTo>
                    <a:pt x="389" y="73"/>
                  </a:lnTo>
                  <a:lnTo>
                    <a:pt x="389" y="73"/>
                  </a:lnTo>
                  <a:lnTo>
                    <a:pt x="389" y="71"/>
                  </a:lnTo>
                  <a:lnTo>
                    <a:pt x="387" y="69"/>
                  </a:lnTo>
                  <a:lnTo>
                    <a:pt x="387" y="68"/>
                  </a:lnTo>
                  <a:lnTo>
                    <a:pt x="387" y="68"/>
                  </a:lnTo>
                  <a:lnTo>
                    <a:pt x="386" y="65"/>
                  </a:lnTo>
                  <a:lnTo>
                    <a:pt x="384" y="64"/>
                  </a:lnTo>
                  <a:lnTo>
                    <a:pt x="384" y="63"/>
                  </a:lnTo>
                  <a:lnTo>
                    <a:pt x="383" y="63"/>
                  </a:lnTo>
                  <a:lnTo>
                    <a:pt x="383" y="63"/>
                  </a:lnTo>
                  <a:lnTo>
                    <a:pt x="383" y="62"/>
                  </a:lnTo>
                  <a:lnTo>
                    <a:pt x="382" y="62"/>
                  </a:lnTo>
                  <a:lnTo>
                    <a:pt x="381" y="62"/>
                  </a:lnTo>
                  <a:lnTo>
                    <a:pt x="380" y="61"/>
                  </a:lnTo>
                  <a:lnTo>
                    <a:pt x="379" y="60"/>
                  </a:lnTo>
                  <a:lnTo>
                    <a:pt x="199" y="0"/>
                  </a:lnTo>
                  <a:lnTo>
                    <a:pt x="194" y="0"/>
                  </a:lnTo>
                  <a:lnTo>
                    <a:pt x="190" y="0"/>
                  </a:lnTo>
                  <a:lnTo>
                    <a:pt x="9" y="60"/>
                  </a:lnTo>
                  <a:lnTo>
                    <a:pt x="8" y="61"/>
                  </a:lnTo>
                  <a:lnTo>
                    <a:pt x="7" y="62"/>
                  </a:lnTo>
                  <a:lnTo>
                    <a:pt x="6" y="62"/>
                  </a:lnTo>
                  <a:lnTo>
                    <a:pt x="5" y="62"/>
                  </a:lnTo>
                  <a:lnTo>
                    <a:pt x="5" y="63"/>
                  </a:lnTo>
                  <a:lnTo>
                    <a:pt x="5" y="63"/>
                  </a:lnTo>
                  <a:lnTo>
                    <a:pt x="4" y="63"/>
                  </a:lnTo>
                  <a:lnTo>
                    <a:pt x="4" y="64"/>
                  </a:lnTo>
                  <a:lnTo>
                    <a:pt x="2" y="65"/>
                  </a:lnTo>
                  <a:lnTo>
                    <a:pt x="1" y="68"/>
                  </a:lnTo>
                  <a:lnTo>
                    <a:pt x="1" y="69"/>
                  </a:lnTo>
                  <a:lnTo>
                    <a:pt x="1" y="69"/>
                  </a:lnTo>
                  <a:lnTo>
                    <a:pt x="0" y="71"/>
                  </a:lnTo>
                  <a:lnTo>
                    <a:pt x="0" y="73"/>
                  </a:lnTo>
                  <a:lnTo>
                    <a:pt x="0" y="74"/>
                  </a:lnTo>
                  <a:lnTo>
                    <a:pt x="0" y="74"/>
                  </a:lnTo>
                  <a:lnTo>
                    <a:pt x="0" y="74"/>
                  </a:lnTo>
                  <a:lnTo>
                    <a:pt x="0" y="75"/>
                  </a:lnTo>
                  <a:lnTo>
                    <a:pt x="0" y="299"/>
                  </a:lnTo>
                  <a:lnTo>
                    <a:pt x="0" y="304"/>
                  </a:lnTo>
                  <a:lnTo>
                    <a:pt x="2" y="308"/>
                  </a:lnTo>
                  <a:lnTo>
                    <a:pt x="5" y="311"/>
                  </a:lnTo>
                  <a:lnTo>
                    <a:pt x="8"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277">
              <a:extLst>
                <a:ext uri="{FF2B5EF4-FFF2-40B4-BE49-F238E27FC236}">
                  <a16:creationId xmlns:a16="http://schemas.microsoft.com/office/drawing/2014/main" id="{202FE555-F7DB-4FF7-B310-79018005BDE8}"/>
                </a:ext>
              </a:extLst>
            </p:cNvPr>
            <p:cNvSpPr>
              <a:spLocks noEditPoints="1"/>
            </p:cNvSpPr>
            <p:nvPr/>
          </p:nvSpPr>
          <p:spPr bwMode="auto">
            <a:xfrm>
              <a:off x="11774488" y="3190875"/>
              <a:ext cx="104775" cy="104775"/>
            </a:xfrm>
            <a:custGeom>
              <a:avLst/>
              <a:gdLst>
                <a:gd name="T0" fmla="*/ 180 w 330"/>
                <a:gd name="T1" fmla="*/ 291 h 330"/>
                <a:gd name="T2" fmla="*/ 300 w 330"/>
                <a:gd name="T3" fmla="*/ 97 h 330"/>
                <a:gd name="T4" fmla="*/ 30 w 330"/>
                <a:gd name="T5" fmla="*/ 97 h 330"/>
                <a:gd name="T6" fmla="*/ 151 w 330"/>
                <a:gd name="T7" fmla="*/ 291 h 330"/>
                <a:gd name="T8" fmla="*/ 30 w 330"/>
                <a:gd name="T9" fmla="*/ 97 h 330"/>
                <a:gd name="T10" fmla="*/ 274 w 330"/>
                <a:gd name="T11" fmla="*/ 76 h 330"/>
                <a:gd name="T12" fmla="*/ 55 w 330"/>
                <a:gd name="T13" fmla="*/ 76 h 330"/>
                <a:gd name="T14" fmla="*/ 330 w 330"/>
                <a:gd name="T15" fmla="*/ 75 h 330"/>
                <a:gd name="T16" fmla="*/ 329 w 330"/>
                <a:gd name="T17" fmla="*/ 71 h 330"/>
                <a:gd name="T18" fmla="*/ 329 w 330"/>
                <a:gd name="T19" fmla="*/ 70 h 330"/>
                <a:gd name="T20" fmla="*/ 326 w 330"/>
                <a:gd name="T21" fmla="*/ 65 h 330"/>
                <a:gd name="T22" fmla="*/ 325 w 330"/>
                <a:gd name="T23" fmla="*/ 64 h 330"/>
                <a:gd name="T24" fmla="*/ 324 w 330"/>
                <a:gd name="T25" fmla="*/ 63 h 330"/>
                <a:gd name="T26" fmla="*/ 321 w 330"/>
                <a:gd name="T27" fmla="*/ 62 h 330"/>
                <a:gd name="T28" fmla="*/ 320 w 330"/>
                <a:gd name="T29" fmla="*/ 62 h 330"/>
                <a:gd name="T30" fmla="*/ 168 w 330"/>
                <a:gd name="T31" fmla="*/ 1 h 330"/>
                <a:gd name="T32" fmla="*/ 162 w 330"/>
                <a:gd name="T33" fmla="*/ 1 h 330"/>
                <a:gd name="T34" fmla="*/ 9 w 330"/>
                <a:gd name="T35" fmla="*/ 62 h 330"/>
                <a:gd name="T36" fmla="*/ 9 w 330"/>
                <a:gd name="T37" fmla="*/ 62 h 330"/>
                <a:gd name="T38" fmla="*/ 6 w 330"/>
                <a:gd name="T39" fmla="*/ 63 h 330"/>
                <a:gd name="T40" fmla="*/ 5 w 330"/>
                <a:gd name="T41" fmla="*/ 64 h 330"/>
                <a:gd name="T42" fmla="*/ 4 w 330"/>
                <a:gd name="T43" fmla="*/ 65 h 330"/>
                <a:gd name="T44" fmla="*/ 2 w 330"/>
                <a:gd name="T45" fmla="*/ 70 h 330"/>
                <a:gd name="T46" fmla="*/ 1 w 330"/>
                <a:gd name="T47" fmla="*/ 71 h 330"/>
                <a:gd name="T48" fmla="*/ 0 w 330"/>
                <a:gd name="T49" fmla="*/ 75 h 330"/>
                <a:gd name="T50" fmla="*/ 0 w 330"/>
                <a:gd name="T51" fmla="*/ 76 h 330"/>
                <a:gd name="T52" fmla="*/ 0 w 330"/>
                <a:gd name="T53" fmla="*/ 241 h 330"/>
                <a:gd name="T54" fmla="*/ 2 w 330"/>
                <a:gd name="T55" fmla="*/ 248 h 330"/>
                <a:gd name="T56" fmla="*/ 8 w 330"/>
                <a:gd name="T57" fmla="*/ 254 h 330"/>
                <a:gd name="T58" fmla="*/ 159 w 330"/>
                <a:gd name="T59" fmla="*/ 329 h 330"/>
                <a:gd name="T60" fmla="*/ 162 w 330"/>
                <a:gd name="T61" fmla="*/ 330 h 330"/>
                <a:gd name="T62" fmla="*/ 169 w 330"/>
                <a:gd name="T63" fmla="*/ 330 h 330"/>
                <a:gd name="T64" fmla="*/ 172 w 330"/>
                <a:gd name="T65" fmla="*/ 329 h 330"/>
                <a:gd name="T66" fmla="*/ 321 w 330"/>
                <a:gd name="T67" fmla="*/ 254 h 330"/>
                <a:gd name="T68" fmla="*/ 328 w 330"/>
                <a:gd name="T69" fmla="*/ 248 h 330"/>
                <a:gd name="T70" fmla="*/ 330 w 330"/>
                <a:gd name="T71" fmla="*/ 241 h 330"/>
                <a:gd name="T72" fmla="*/ 330 w 330"/>
                <a:gd name="T73" fmla="*/ 76 h 330"/>
                <a:gd name="T74" fmla="*/ 330 w 330"/>
                <a:gd name="T75" fmla="*/ 7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0" h="330">
                  <a:moveTo>
                    <a:pt x="300" y="231"/>
                  </a:moveTo>
                  <a:lnTo>
                    <a:pt x="180" y="291"/>
                  </a:lnTo>
                  <a:lnTo>
                    <a:pt x="180" y="145"/>
                  </a:lnTo>
                  <a:lnTo>
                    <a:pt x="300" y="97"/>
                  </a:lnTo>
                  <a:lnTo>
                    <a:pt x="300" y="231"/>
                  </a:lnTo>
                  <a:close/>
                  <a:moveTo>
                    <a:pt x="30" y="97"/>
                  </a:moveTo>
                  <a:lnTo>
                    <a:pt x="151" y="145"/>
                  </a:lnTo>
                  <a:lnTo>
                    <a:pt x="151" y="291"/>
                  </a:lnTo>
                  <a:lnTo>
                    <a:pt x="30" y="231"/>
                  </a:lnTo>
                  <a:lnTo>
                    <a:pt x="30" y="97"/>
                  </a:lnTo>
                  <a:close/>
                  <a:moveTo>
                    <a:pt x="165" y="32"/>
                  </a:moveTo>
                  <a:lnTo>
                    <a:pt x="274" y="76"/>
                  </a:lnTo>
                  <a:lnTo>
                    <a:pt x="165" y="120"/>
                  </a:lnTo>
                  <a:lnTo>
                    <a:pt x="55" y="76"/>
                  </a:lnTo>
                  <a:lnTo>
                    <a:pt x="165" y="32"/>
                  </a:lnTo>
                  <a:close/>
                  <a:moveTo>
                    <a:pt x="330" y="75"/>
                  </a:moveTo>
                  <a:lnTo>
                    <a:pt x="330" y="73"/>
                  </a:lnTo>
                  <a:lnTo>
                    <a:pt x="329" y="71"/>
                  </a:lnTo>
                  <a:lnTo>
                    <a:pt x="329" y="70"/>
                  </a:lnTo>
                  <a:lnTo>
                    <a:pt x="329" y="70"/>
                  </a:lnTo>
                  <a:lnTo>
                    <a:pt x="327" y="67"/>
                  </a:lnTo>
                  <a:lnTo>
                    <a:pt x="326" y="65"/>
                  </a:lnTo>
                  <a:lnTo>
                    <a:pt x="326" y="65"/>
                  </a:lnTo>
                  <a:lnTo>
                    <a:pt x="325" y="64"/>
                  </a:lnTo>
                  <a:lnTo>
                    <a:pt x="325" y="64"/>
                  </a:lnTo>
                  <a:lnTo>
                    <a:pt x="324" y="63"/>
                  </a:lnTo>
                  <a:lnTo>
                    <a:pt x="323" y="62"/>
                  </a:lnTo>
                  <a:lnTo>
                    <a:pt x="321" y="62"/>
                  </a:lnTo>
                  <a:lnTo>
                    <a:pt x="320" y="62"/>
                  </a:lnTo>
                  <a:lnTo>
                    <a:pt x="320" y="62"/>
                  </a:lnTo>
                  <a:lnTo>
                    <a:pt x="171" y="1"/>
                  </a:lnTo>
                  <a:lnTo>
                    <a:pt x="168" y="1"/>
                  </a:lnTo>
                  <a:lnTo>
                    <a:pt x="165" y="0"/>
                  </a:lnTo>
                  <a:lnTo>
                    <a:pt x="162" y="1"/>
                  </a:lnTo>
                  <a:lnTo>
                    <a:pt x="159" y="1"/>
                  </a:lnTo>
                  <a:lnTo>
                    <a:pt x="9" y="62"/>
                  </a:lnTo>
                  <a:lnTo>
                    <a:pt x="9" y="62"/>
                  </a:lnTo>
                  <a:lnTo>
                    <a:pt x="9" y="62"/>
                  </a:lnTo>
                  <a:lnTo>
                    <a:pt x="7" y="62"/>
                  </a:lnTo>
                  <a:lnTo>
                    <a:pt x="6" y="63"/>
                  </a:lnTo>
                  <a:lnTo>
                    <a:pt x="6" y="64"/>
                  </a:lnTo>
                  <a:lnTo>
                    <a:pt x="5" y="64"/>
                  </a:lnTo>
                  <a:lnTo>
                    <a:pt x="5" y="65"/>
                  </a:lnTo>
                  <a:lnTo>
                    <a:pt x="4" y="65"/>
                  </a:lnTo>
                  <a:lnTo>
                    <a:pt x="3" y="67"/>
                  </a:lnTo>
                  <a:lnTo>
                    <a:pt x="2" y="70"/>
                  </a:lnTo>
                  <a:lnTo>
                    <a:pt x="1" y="70"/>
                  </a:lnTo>
                  <a:lnTo>
                    <a:pt x="1" y="71"/>
                  </a:lnTo>
                  <a:lnTo>
                    <a:pt x="1" y="73"/>
                  </a:lnTo>
                  <a:lnTo>
                    <a:pt x="0" y="75"/>
                  </a:lnTo>
                  <a:lnTo>
                    <a:pt x="0" y="75"/>
                  </a:lnTo>
                  <a:lnTo>
                    <a:pt x="0" y="76"/>
                  </a:lnTo>
                  <a:lnTo>
                    <a:pt x="0" y="76"/>
                  </a:lnTo>
                  <a:lnTo>
                    <a:pt x="0" y="241"/>
                  </a:lnTo>
                  <a:lnTo>
                    <a:pt x="1" y="245"/>
                  </a:lnTo>
                  <a:lnTo>
                    <a:pt x="2" y="248"/>
                  </a:lnTo>
                  <a:lnTo>
                    <a:pt x="5" y="251"/>
                  </a:lnTo>
                  <a:lnTo>
                    <a:pt x="8" y="254"/>
                  </a:lnTo>
                  <a:lnTo>
                    <a:pt x="158" y="329"/>
                  </a:lnTo>
                  <a:lnTo>
                    <a:pt x="159" y="329"/>
                  </a:lnTo>
                  <a:lnTo>
                    <a:pt x="159" y="329"/>
                  </a:lnTo>
                  <a:lnTo>
                    <a:pt x="162" y="330"/>
                  </a:lnTo>
                  <a:lnTo>
                    <a:pt x="165" y="330"/>
                  </a:lnTo>
                  <a:lnTo>
                    <a:pt x="169" y="330"/>
                  </a:lnTo>
                  <a:lnTo>
                    <a:pt x="171" y="329"/>
                  </a:lnTo>
                  <a:lnTo>
                    <a:pt x="172" y="329"/>
                  </a:lnTo>
                  <a:lnTo>
                    <a:pt x="172" y="329"/>
                  </a:lnTo>
                  <a:lnTo>
                    <a:pt x="321" y="254"/>
                  </a:lnTo>
                  <a:lnTo>
                    <a:pt x="326" y="251"/>
                  </a:lnTo>
                  <a:lnTo>
                    <a:pt x="328" y="248"/>
                  </a:lnTo>
                  <a:lnTo>
                    <a:pt x="329" y="245"/>
                  </a:lnTo>
                  <a:lnTo>
                    <a:pt x="330" y="241"/>
                  </a:lnTo>
                  <a:lnTo>
                    <a:pt x="330" y="76"/>
                  </a:lnTo>
                  <a:lnTo>
                    <a:pt x="330" y="76"/>
                  </a:lnTo>
                  <a:lnTo>
                    <a:pt x="330" y="76"/>
                  </a:lnTo>
                  <a:lnTo>
                    <a:pt x="330" y="75"/>
                  </a:lnTo>
                  <a:lnTo>
                    <a:pt x="33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278">
              <a:extLst>
                <a:ext uri="{FF2B5EF4-FFF2-40B4-BE49-F238E27FC236}">
                  <a16:creationId xmlns:a16="http://schemas.microsoft.com/office/drawing/2014/main" id="{CBC77AA9-BA08-437A-A2FE-0C0C0BC8DEB7}"/>
                </a:ext>
              </a:extLst>
            </p:cNvPr>
            <p:cNvSpPr>
              <a:spLocks noEditPoints="1"/>
            </p:cNvSpPr>
            <p:nvPr/>
          </p:nvSpPr>
          <p:spPr bwMode="auto">
            <a:xfrm>
              <a:off x="11593513" y="3200400"/>
              <a:ext cx="161925" cy="152400"/>
            </a:xfrm>
            <a:custGeom>
              <a:avLst/>
              <a:gdLst>
                <a:gd name="T0" fmla="*/ 271 w 510"/>
                <a:gd name="T1" fmla="*/ 443 h 481"/>
                <a:gd name="T2" fmla="*/ 480 w 510"/>
                <a:gd name="T3" fmla="*/ 111 h 481"/>
                <a:gd name="T4" fmla="*/ 30 w 510"/>
                <a:gd name="T5" fmla="*/ 111 h 481"/>
                <a:gd name="T6" fmla="*/ 240 w 510"/>
                <a:gd name="T7" fmla="*/ 443 h 481"/>
                <a:gd name="T8" fmla="*/ 30 w 510"/>
                <a:gd name="T9" fmla="*/ 111 h 481"/>
                <a:gd name="T10" fmla="*/ 445 w 510"/>
                <a:gd name="T11" fmla="*/ 91 h 481"/>
                <a:gd name="T12" fmla="*/ 66 w 510"/>
                <a:gd name="T13" fmla="*/ 91 h 481"/>
                <a:gd name="T14" fmla="*/ 510 w 510"/>
                <a:gd name="T15" fmla="*/ 89 h 481"/>
                <a:gd name="T16" fmla="*/ 509 w 510"/>
                <a:gd name="T17" fmla="*/ 83 h 481"/>
                <a:gd name="T18" fmla="*/ 508 w 510"/>
                <a:gd name="T19" fmla="*/ 83 h 481"/>
                <a:gd name="T20" fmla="*/ 505 w 510"/>
                <a:gd name="T21" fmla="*/ 79 h 481"/>
                <a:gd name="T22" fmla="*/ 505 w 510"/>
                <a:gd name="T23" fmla="*/ 79 h 481"/>
                <a:gd name="T24" fmla="*/ 504 w 510"/>
                <a:gd name="T25" fmla="*/ 78 h 481"/>
                <a:gd name="T26" fmla="*/ 503 w 510"/>
                <a:gd name="T27" fmla="*/ 78 h 481"/>
                <a:gd name="T28" fmla="*/ 499 w 510"/>
                <a:gd name="T29" fmla="*/ 76 h 481"/>
                <a:gd name="T30" fmla="*/ 255 w 510"/>
                <a:gd name="T31" fmla="*/ 0 h 481"/>
                <a:gd name="T32" fmla="*/ 11 w 510"/>
                <a:gd name="T33" fmla="*/ 76 h 481"/>
                <a:gd name="T34" fmla="*/ 8 w 510"/>
                <a:gd name="T35" fmla="*/ 78 h 481"/>
                <a:gd name="T36" fmla="*/ 7 w 510"/>
                <a:gd name="T37" fmla="*/ 78 h 481"/>
                <a:gd name="T38" fmla="*/ 6 w 510"/>
                <a:gd name="T39" fmla="*/ 79 h 481"/>
                <a:gd name="T40" fmla="*/ 6 w 510"/>
                <a:gd name="T41" fmla="*/ 79 h 481"/>
                <a:gd name="T42" fmla="*/ 3 w 510"/>
                <a:gd name="T43" fmla="*/ 83 h 481"/>
                <a:gd name="T44" fmla="*/ 1 w 510"/>
                <a:gd name="T45" fmla="*/ 83 h 481"/>
                <a:gd name="T46" fmla="*/ 0 w 510"/>
                <a:gd name="T47" fmla="*/ 89 h 481"/>
                <a:gd name="T48" fmla="*/ 0 w 510"/>
                <a:gd name="T49" fmla="*/ 90 h 481"/>
                <a:gd name="T50" fmla="*/ 0 w 510"/>
                <a:gd name="T51" fmla="*/ 91 h 481"/>
                <a:gd name="T52" fmla="*/ 1 w 510"/>
                <a:gd name="T53" fmla="*/ 380 h 481"/>
                <a:gd name="T54" fmla="*/ 6 w 510"/>
                <a:gd name="T55" fmla="*/ 387 h 481"/>
                <a:gd name="T56" fmla="*/ 250 w 510"/>
                <a:gd name="T57" fmla="*/ 480 h 481"/>
                <a:gd name="T58" fmla="*/ 255 w 510"/>
                <a:gd name="T59" fmla="*/ 481 h 481"/>
                <a:gd name="T60" fmla="*/ 260 w 510"/>
                <a:gd name="T61" fmla="*/ 480 h 481"/>
                <a:gd name="T62" fmla="*/ 505 w 510"/>
                <a:gd name="T63" fmla="*/ 387 h 481"/>
                <a:gd name="T64" fmla="*/ 509 w 510"/>
                <a:gd name="T65" fmla="*/ 380 h 481"/>
                <a:gd name="T66" fmla="*/ 510 w 510"/>
                <a:gd name="T67" fmla="*/ 91 h 481"/>
                <a:gd name="T68" fmla="*/ 510 w 510"/>
                <a:gd name="T69" fmla="*/ 90 h 481"/>
                <a:gd name="T70" fmla="*/ 510 w 510"/>
                <a:gd name="T71" fmla="*/ 89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481">
                  <a:moveTo>
                    <a:pt x="480" y="365"/>
                  </a:moveTo>
                  <a:lnTo>
                    <a:pt x="271" y="443"/>
                  </a:lnTo>
                  <a:lnTo>
                    <a:pt x="271" y="176"/>
                  </a:lnTo>
                  <a:lnTo>
                    <a:pt x="480" y="111"/>
                  </a:lnTo>
                  <a:lnTo>
                    <a:pt x="480" y="365"/>
                  </a:lnTo>
                  <a:close/>
                  <a:moveTo>
                    <a:pt x="30" y="111"/>
                  </a:moveTo>
                  <a:lnTo>
                    <a:pt x="240" y="176"/>
                  </a:lnTo>
                  <a:lnTo>
                    <a:pt x="240" y="443"/>
                  </a:lnTo>
                  <a:lnTo>
                    <a:pt x="30" y="365"/>
                  </a:lnTo>
                  <a:lnTo>
                    <a:pt x="30" y="111"/>
                  </a:lnTo>
                  <a:close/>
                  <a:moveTo>
                    <a:pt x="255" y="31"/>
                  </a:moveTo>
                  <a:lnTo>
                    <a:pt x="445" y="91"/>
                  </a:lnTo>
                  <a:lnTo>
                    <a:pt x="255" y="150"/>
                  </a:lnTo>
                  <a:lnTo>
                    <a:pt x="66" y="91"/>
                  </a:lnTo>
                  <a:lnTo>
                    <a:pt x="255" y="31"/>
                  </a:lnTo>
                  <a:close/>
                  <a:moveTo>
                    <a:pt x="510" y="89"/>
                  </a:moveTo>
                  <a:lnTo>
                    <a:pt x="509" y="87"/>
                  </a:lnTo>
                  <a:lnTo>
                    <a:pt x="509" y="83"/>
                  </a:lnTo>
                  <a:lnTo>
                    <a:pt x="508" y="83"/>
                  </a:lnTo>
                  <a:lnTo>
                    <a:pt x="508" y="83"/>
                  </a:lnTo>
                  <a:lnTo>
                    <a:pt x="507" y="81"/>
                  </a:lnTo>
                  <a:lnTo>
                    <a:pt x="505" y="79"/>
                  </a:lnTo>
                  <a:lnTo>
                    <a:pt x="505" y="79"/>
                  </a:lnTo>
                  <a:lnTo>
                    <a:pt x="505" y="79"/>
                  </a:lnTo>
                  <a:lnTo>
                    <a:pt x="505" y="79"/>
                  </a:lnTo>
                  <a:lnTo>
                    <a:pt x="504" y="78"/>
                  </a:lnTo>
                  <a:lnTo>
                    <a:pt x="504" y="78"/>
                  </a:lnTo>
                  <a:lnTo>
                    <a:pt x="503" y="78"/>
                  </a:lnTo>
                  <a:lnTo>
                    <a:pt x="501" y="77"/>
                  </a:lnTo>
                  <a:lnTo>
                    <a:pt x="499" y="76"/>
                  </a:lnTo>
                  <a:lnTo>
                    <a:pt x="260" y="1"/>
                  </a:lnTo>
                  <a:lnTo>
                    <a:pt x="255" y="0"/>
                  </a:lnTo>
                  <a:lnTo>
                    <a:pt x="250" y="1"/>
                  </a:lnTo>
                  <a:lnTo>
                    <a:pt x="11" y="76"/>
                  </a:lnTo>
                  <a:lnTo>
                    <a:pt x="9" y="77"/>
                  </a:lnTo>
                  <a:lnTo>
                    <a:pt x="8" y="78"/>
                  </a:lnTo>
                  <a:lnTo>
                    <a:pt x="7" y="78"/>
                  </a:lnTo>
                  <a:lnTo>
                    <a:pt x="7" y="78"/>
                  </a:lnTo>
                  <a:lnTo>
                    <a:pt x="6" y="79"/>
                  </a:lnTo>
                  <a:lnTo>
                    <a:pt x="6" y="79"/>
                  </a:lnTo>
                  <a:lnTo>
                    <a:pt x="6" y="79"/>
                  </a:lnTo>
                  <a:lnTo>
                    <a:pt x="6" y="79"/>
                  </a:lnTo>
                  <a:lnTo>
                    <a:pt x="4" y="81"/>
                  </a:lnTo>
                  <a:lnTo>
                    <a:pt x="3" y="83"/>
                  </a:lnTo>
                  <a:lnTo>
                    <a:pt x="3" y="83"/>
                  </a:lnTo>
                  <a:lnTo>
                    <a:pt x="1" y="83"/>
                  </a:lnTo>
                  <a:lnTo>
                    <a:pt x="1" y="87"/>
                  </a:lnTo>
                  <a:lnTo>
                    <a:pt x="0" y="89"/>
                  </a:lnTo>
                  <a:lnTo>
                    <a:pt x="0" y="89"/>
                  </a:lnTo>
                  <a:lnTo>
                    <a:pt x="0" y="90"/>
                  </a:lnTo>
                  <a:lnTo>
                    <a:pt x="0" y="90"/>
                  </a:lnTo>
                  <a:lnTo>
                    <a:pt x="0" y="91"/>
                  </a:lnTo>
                  <a:lnTo>
                    <a:pt x="0" y="375"/>
                  </a:lnTo>
                  <a:lnTo>
                    <a:pt x="1" y="380"/>
                  </a:lnTo>
                  <a:lnTo>
                    <a:pt x="3" y="384"/>
                  </a:lnTo>
                  <a:lnTo>
                    <a:pt x="6" y="387"/>
                  </a:lnTo>
                  <a:lnTo>
                    <a:pt x="10" y="390"/>
                  </a:lnTo>
                  <a:lnTo>
                    <a:pt x="250" y="480"/>
                  </a:lnTo>
                  <a:lnTo>
                    <a:pt x="253" y="480"/>
                  </a:lnTo>
                  <a:lnTo>
                    <a:pt x="255" y="481"/>
                  </a:lnTo>
                  <a:lnTo>
                    <a:pt x="258" y="480"/>
                  </a:lnTo>
                  <a:lnTo>
                    <a:pt x="260" y="480"/>
                  </a:lnTo>
                  <a:lnTo>
                    <a:pt x="500" y="389"/>
                  </a:lnTo>
                  <a:lnTo>
                    <a:pt x="505" y="387"/>
                  </a:lnTo>
                  <a:lnTo>
                    <a:pt x="508" y="384"/>
                  </a:lnTo>
                  <a:lnTo>
                    <a:pt x="509" y="380"/>
                  </a:lnTo>
                  <a:lnTo>
                    <a:pt x="510" y="375"/>
                  </a:lnTo>
                  <a:lnTo>
                    <a:pt x="510" y="91"/>
                  </a:lnTo>
                  <a:lnTo>
                    <a:pt x="510" y="90"/>
                  </a:lnTo>
                  <a:lnTo>
                    <a:pt x="510" y="90"/>
                  </a:lnTo>
                  <a:lnTo>
                    <a:pt x="510" y="89"/>
                  </a:lnTo>
                  <a:lnTo>
                    <a:pt x="510"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2" name="Group 45">
            <a:extLst>
              <a:ext uri="{FF2B5EF4-FFF2-40B4-BE49-F238E27FC236}">
                <a16:creationId xmlns:a16="http://schemas.microsoft.com/office/drawing/2014/main" id="{F8B6E61B-646E-4438-80D9-1AC4EA00E3D3}"/>
              </a:ext>
            </a:extLst>
          </p:cNvPr>
          <p:cNvGrpSpPr>
            <a:grpSpLocks noChangeAspect="1"/>
          </p:cNvGrpSpPr>
          <p:nvPr/>
        </p:nvGrpSpPr>
        <p:grpSpPr>
          <a:xfrm>
            <a:off x="3227960" y="5944848"/>
            <a:ext cx="234971" cy="306484"/>
            <a:chOff x="7632700" y="3638550"/>
            <a:chExt cx="219075" cy="285750"/>
          </a:xfrm>
          <a:solidFill>
            <a:schemeClr val="bg1"/>
          </a:solidFill>
          <a:effectLst/>
        </p:grpSpPr>
        <p:sp>
          <p:nvSpPr>
            <p:cNvPr id="623" name="Freeform 362">
              <a:extLst>
                <a:ext uri="{FF2B5EF4-FFF2-40B4-BE49-F238E27FC236}">
                  <a16:creationId xmlns:a16="http://schemas.microsoft.com/office/drawing/2014/main" id="{A5857099-393D-42D4-AC3B-816C9506A542}"/>
                </a:ext>
              </a:extLst>
            </p:cNvPr>
            <p:cNvSpPr>
              <a:spLocks noEditPoints="1"/>
            </p:cNvSpPr>
            <p:nvPr/>
          </p:nvSpPr>
          <p:spPr bwMode="auto">
            <a:xfrm>
              <a:off x="7632700" y="3638550"/>
              <a:ext cx="219075" cy="285750"/>
            </a:xfrm>
            <a:custGeom>
              <a:avLst/>
              <a:gdLst>
                <a:gd name="T0" fmla="*/ 84 w 689"/>
                <a:gd name="T1" fmla="*/ 870 h 900"/>
                <a:gd name="T2" fmla="*/ 66 w 689"/>
                <a:gd name="T3" fmla="*/ 865 h 900"/>
                <a:gd name="T4" fmla="*/ 52 w 689"/>
                <a:gd name="T5" fmla="*/ 856 h 900"/>
                <a:gd name="T6" fmla="*/ 40 w 689"/>
                <a:gd name="T7" fmla="*/ 843 h 900"/>
                <a:gd name="T8" fmla="*/ 32 w 689"/>
                <a:gd name="T9" fmla="*/ 827 h 900"/>
                <a:gd name="T10" fmla="*/ 30 w 689"/>
                <a:gd name="T11" fmla="*/ 810 h 900"/>
                <a:gd name="T12" fmla="*/ 659 w 689"/>
                <a:gd name="T13" fmla="*/ 810 h 900"/>
                <a:gd name="T14" fmla="*/ 657 w 689"/>
                <a:gd name="T15" fmla="*/ 827 h 900"/>
                <a:gd name="T16" fmla="*/ 650 w 689"/>
                <a:gd name="T17" fmla="*/ 843 h 900"/>
                <a:gd name="T18" fmla="*/ 638 w 689"/>
                <a:gd name="T19" fmla="*/ 856 h 900"/>
                <a:gd name="T20" fmla="*/ 623 w 689"/>
                <a:gd name="T21" fmla="*/ 865 h 900"/>
                <a:gd name="T22" fmla="*/ 606 w 689"/>
                <a:gd name="T23" fmla="*/ 870 h 900"/>
                <a:gd name="T24" fmla="*/ 659 w 689"/>
                <a:gd name="T25" fmla="*/ 570 h 900"/>
                <a:gd name="T26" fmla="*/ 659 w 689"/>
                <a:gd name="T27" fmla="*/ 331 h 900"/>
                <a:gd name="T28" fmla="*/ 606 w 689"/>
                <a:gd name="T29" fmla="*/ 30 h 900"/>
                <a:gd name="T30" fmla="*/ 623 w 689"/>
                <a:gd name="T31" fmla="*/ 35 h 900"/>
                <a:gd name="T32" fmla="*/ 638 w 689"/>
                <a:gd name="T33" fmla="*/ 44 h 900"/>
                <a:gd name="T34" fmla="*/ 650 w 689"/>
                <a:gd name="T35" fmla="*/ 57 h 900"/>
                <a:gd name="T36" fmla="*/ 657 w 689"/>
                <a:gd name="T37" fmla="*/ 72 h 900"/>
                <a:gd name="T38" fmla="*/ 659 w 689"/>
                <a:gd name="T39" fmla="*/ 90 h 900"/>
                <a:gd name="T40" fmla="*/ 30 w 689"/>
                <a:gd name="T41" fmla="*/ 90 h 900"/>
                <a:gd name="T42" fmla="*/ 32 w 689"/>
                <a:gd name="T43" fmla="*/ 72 h 900"/>
                <a:gd name="T44" fmla="*/ 40 w 689"/>
                <a:gd name="T45" fmla="*/ 57 h 900"/>
                <a:gd name="T46" fmla="*/ 52 w 689"/>
                <a:gd name="T47" fmla="*/ 44 h 900"/>
                <a:gd name="T48" fmla="*/ 66 w 689"/>
                <a:gd name="T49" fmla="*/ 35 h 900"/>
                <a:gd name="T50" fmla="*/ 84 w 689"/>
                <a:gd name="T51" fmla="*/ 30 h 900"/>
                <a:gd name="T52" fmla="*/ 90 w 689"/>
                <a:gd name="T53" fmla="*/ 0 h 900"/>
                <a:gd name="T54" fmla="*/ 63 w 689"/>
                <a:gd name="T55" fmla="*/ 5 h 900"/>
                <a:gd name="T56" fmla="*/ 40 w 689"/>
                <a:gd name="T57" fmla="*/ 15 h 900"/>
                <a:gd name="T58" fmla="*/ 21 w 689"/>
                <a:gd name="T59" fmla="*/ 34 h 900"/>
                <a:gd name="T60" fmla="*/ 7 w 689"/>
                <a:gd name="T61" fmla="*/ 55 h 900"/>
                <a:gd name="T62" fmla="*/ 0 w 689"/>
                <a:gd name="T63" fmla="*/ 81 h 900"/>
                <a:gd name="T64" fmla="*/ 0 w 689"/>
                <a:gd name="T65" fmla="*/ 819 h 900"/>
                <a:gd name="T66" fmla="*/ 7 w 689"/>
                <a:gd name="T67" fmla="*/ 846 h 900"/>
                <a:gd name="T68" fmla="*/ 21 w 689"/>
                <a:gd name="T69" fmla="*/ 867 h 900"/>
                <a:gd name="T70" fmla="*/ 40 w 689"/>
                <a:gd name="T71" fmla="*/ 885 h 900"/>
                <a:gd name="T72" fmla="*/ 63 w 689"/>
                <a:gd name="T73" fmla="*/ 896 h 900"/>
                <a:gd name="T74" fmla="*/ 90 w 689"/>
                <a:gd name="T75" fmla="*/ 900 h 900"/>
                <a:gd name="T76" fmla="*/ 618 w 689"/>
                <a:gd name="T77" fmla="*/ 898 h 900"/>
                <a:gd name="T78" fmla="*/ 642 w 689"/>
                <a:gd name="T79" fmla="*/ 889 h 900"/>
                <a:gd name="T80" fmla="*/ 664 w 689"/>
                <a:gd name="T81" fmla="*/ 873 h 900"/>
                <a:gd name="T82" fmla="*/ 679 w 689"/>
                <a:gd name="T83" fmla="*/ 853 h 900"/>
                <a:gd name="T84" fmla="*/ 688 w 689"/>
                <a:gd name="T85" fmla="*/ 828 h 900"/>
                <a:gd name="T86" fmla="*/ 689 w 689"/>
                <a:gd name="T87" fmla="*/ 90 h 900"/>
                <a:gd name="T88" fmla="*/ 686 w 689"/>
                <a:gd name="T89" fmla="*/ 63 h 900"/>
                <a:gd name="T90" fmla="*/ 674 w 689"/>
                <a:gd name="T91" fmla="*/ 40 h 900"/>
                <a:gd name="T92" fmla="*/ 657 w 689"/>
                <a:gd name="T93" fmla="*/ 21 h 900"/>
                <a:gd name="T94" fmla="*/ 635 w 689"/>
                <a:gd name="T95" fmla="*/ 7 h 900"/>
                <a:gd name="T96" fmla="*/ 609 w 689"/>
                <a:gd name="T97"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9" h="900">
                  <a:moveTo>
                    <a:pt x="600" y="870"/>
                  </a:moveTo>
                  <a:lnTo>
                    <a:pt x="90" y="870"/>
                  </a:lnTo>
                  <a:lnTo>
                    <a:pt x="84" y="870"/>
                  </a:lnTo>
                  <a:lnTo>
                    <a:pt x="78" y="869"/>
                  </a:lnTo>
                  <a:lnTo>
                    <a:pt x="72" y="867"/>
                  </a:lnTo>
                  <a:lnTo>
                    <a:pt x="66" y="865"/>
                  </a:lnTo>
                  <a:lnTo>
                    <a:pt x="61" y="863"/>
                  </a:lnTo>
                  <a:lnTo>
                    <a:pt x="57" y="859"/>
                  </a:lnTo>
                  <a:lnTo>
                    <a:pt x="52" y="856"/>
                  </a:lnTo>
                  <a:lnTo>
                    <a:pt x="47" y="852"/>
                  </a:lnTo>
                  <a:lnTo>
                    <a:pt x="44" y="848"/>
                  </a:lnTo>
                  <a:lnTo>
                    <a:pt x="40" y="843"/>
                  </a:lnTo>
                  <a:lnTo>
                    <a:pt x="38" y="838"/>
                  </a:lnTo>
                  <a:lnTo>
                    <a:pt x="34" y="834"/>
                  </a:lnTo>
                  <a:lnTo>
                    <a:pt x="32" y="827"/>
                  </a:lnTo>
                  <a:lnTo>
                    <a:pt x="31" y="822"/>
                  </a:lnTo>
                  <a:lnTo>
                    <a:pt x="30" y="817"/>
                  </a:lnTo>
                  <a:lnTo>
                    <a:pt x="30" y="810"/>
                  </a:lnTo>
                  <a:lnTo>
                    <a:pt x="30" y="600"/>
                  </a:lnTo>
                  <a:lnTo>
                    <a:pt x="659" y="600"/>
                  </a:lnTo>
                  <a:lnTo>
                    <a:pt x="659" y="810"/>
                  </a:lnTo>
                  <a:lnTo>
                    <a:pt x="659" y="816"/>
                  </a:lnTo>
                  <a:lnTo>
                    <a:pt x="658" y="822"/>
                  </a:lnTo>
                  <a:lnTo>
                    <a:pt x="657" y="827"/>
                  </a:lnTo>
                  <a:lnTo>
                    <a:pt x="655" y="834"/>
                  </a:lnTo>
                  <a:lnTo>
                    <a:pt x="652" y="838"/>
                  </a:lnTo>
                  <a:lnTo>
                    <a:pt x="650" y="843"/>
                  </a:lnTo>
                  <a:lnTo>
                    <a:pt x="646" y="848"/>
                  </a:lnTo>
                  <a:lnTo>
                    <a:pt x="642" y="852"/>
                  </a:lnTo>
                  <a:lnTo>
                    <a:pt x="638" y="856"/>
                  </a:lnTo>
                  <a:lnTo>
                    <a:pt x="633" y="859"/>
                  </a:lnTo>
                  <a:lnTo>
                    <a:pt x="628" y="863"/>
                  </a:lnTo>
                  <a:lnTo>
                    <a:pt x="623" y="865"/>
                  </a:lnTo>
                  <a:lnTo>
                    <a:pt x="618" y="867"/>
                  </a:lnTo>
                  <a:lnTo>
                    <a:pt x="611" y="869"/>
                  </a:lnTo>
                  <a:lnTo>
                    <a:pt x="606" y="870"/>
                  </a:lnTo>
                  <a:lnTo>
                    <a:pt x="600" y="870"/>
                  </a:lnTo>
                  <a:close/>
                  <a:moveTo>
                    <a:pt x="659" y="331"/>
                  </a:moveTo>
                  <a:lnTo>
                    <a:pt x="659" y="570"/>
                  </a:lnTo>
                  <a:lnTo>
                    <a:pt x="30" y="570"/>
                  </a:lnTo>
                  <a:lnTo>
                    <a:pt x="30" y="331"/>
                  </a:lnTo>
                  <a:lnTo>
                    <a:pt x="659" y="331"/>
                  </a:lnTo>
                  <a:close/>
                  <a:moveTo>
                    <a:pt x="90" y="30"/>
                  </a:moveTo>
                  <a:lnTo>
                    <a:pt x="600" y="30"/>
                  </a:lnTo>
                  <a:lnTo>
                    <a:pt x="606" y="30"/>
                  </a:lnTo>
                  <a:lnTo>
                    <a:pt x="611" y="31"/>
                  </a:lnTo>
                  <a:lnTo>
                    <a:pt x="618" y="32"/>
                  </a:lnTo>
                  <a:lnTo>
                    <a:pt x="623" y="35"/>
                  </a:lnTo>
                  <a:lnTo>
                    <a:pt x="628" y="38"/>
                  </a:lnTo>
                  <a:lnTo>
                    <a:pt x="633" y="40"/>
                  </a:lnTo>
                  <a:lnTo>
                    <a:pt x="638" y="44"/>
                  </a:lnTo>
                  <a:lnTo>
                    <a:pt x="642" y="47"/>
                  </a:lnTo>
                  <a:lnTo>
                    <a:pt x="646" y="52"/>
                  </a:lnTo>
                  <a:lnTo>
                    <a:pt x="650" y="57"/>
                  </a:lnTo>
                  <a:lnTo>
                    <a:pt x="652" y="61"/>
                  </a:lnTo>
                  <a:lnTo>
                    <a:pt x="655" y="67"/>
                  </a:lnTo>
                  <a:lnTo>
                    <a:pt x="657" y="72"/>
                  </a:lnTo>
                  <a:lnTo>
                    <a:pt x="658" y="78"/>
                  </a:lnTo>
                  <a:lnTo>
                    <a:pt x="659" y="84"/>
                  </a:lnTo>
                  <a:lnTo>
                    <a:pt x="659" y="90"/>
                  </a:lnTo>
                  <a:lnTo>
                    <a:pt x="659" y="301"/>
                  </a:lnTo>
                  <a:lnTo>
                    <a:pt x="30" y="301"/>
                  </a:lnTo>
                  <a:lnTo>
                    <a:pt x="30" y="90"/>
                  </a:lnTo>
                  <a:lnTo>
                    <a:pt x="30" y="84"/>
                  </a:lnTo>
                  <a:lnTo>
                    <a:pt x="31" y="78"/>
                  </a:lnTo>
                  <a:lnTo>
                    <a:pt x="32" y="72"/>
                  </a:lnTo>
                  <a:lnTo>
                    <a:pt x="34" y="67"/>
                  </a:lnTo>
                  <a:lnTo>
                    <a:pt x="38" y="61"/>
                  </a:lnTo>
                  <a:lnTo>
                    <a:pt x="40" y="57"/>
                  </a:lnTo>
                  <a:lnTo>
                    <a:pt x="44" y="52"/>
                  </a:lnTo>
                  <a:lnTo>
                    <a:pt x="47" y="47"/>
                  </a:lnTo>
                  <a:lnTo>
                    <a:pt x="52" y="44"/>
                  </a:lnTo>
                  <a:lnTo>
                    <a:pt x="57" y="41"/>
                  </a:lnTo>
                  <a:lnTo>
                    <a:pt x="61" y="38"/>
                  </a:lnTo>
                  <a:lnTo>
                    <a:pt x="66" y="35"/>
                  </a:lnTo>
                  <a:lnTo>
                    <a:pt x="72" y="32"/>
                  </a:lnTo>
                  <a:lnTo>
                    <a:pt x="78" y="31"/>
                  </a:lnTo>
                  <a:lnTo>
                    <a:pt x="84" y="30"/>
                  </a:lnTo>
                  <a:lnTo>
                    <a:pt x="90" y="30"/>
                  </a:lnTo>
                  <a:close/>
                  <a:moveTo>
                    <a:pt x="600" y="0"/>
                  </a:moveTo>
                  <a:lnTo>
                    <a:pt x="90" y="0"/>
                  </a:lnTo>
                  <a:lnTo>
                    <a:pt x="80" y="0"/>
                  </a:lnTo>
                  <a:lnTo>
                    <a:pt x="72" y="3"/>
                  </a:lnTo>
                  <a:lnTo>
                    <a:pt x="63" y="5"/>
                  </a:lnTo>
                  <a:lnTo>
                    <a:pt x="55" y="7"/>
                  </a:lnTo>
                  <a:lnTo>
                    <a:pt x="47" y="11"/>
                  </a:lnTo>
                  <a:lnTo>
                    <a:pt x="40" y="15"/>
                  </a:lnTo>
                  <a:lnTo>
                    <a:pt x="32" y="21"/>
                  </a:lnTo>
                  <a:lnTo>
                    <a:pt x="26" y="27"/>
                  </a:lnTo>
                  <a:lnTo>
                    <a:pt x="21" y="34"/>
                  </a:lnTo>
                  <a:lnTo>
                    <a:pt x="15" y="40"/>
                  </a:lnTo>
                  <a:lnTo>
                    <a:pt x="11" y="47"/>
                  </a:lnTo>
                  <a:lnTo>
                    <a:pt x="7" y="55"/>
                  </a:lnTo>
                  <a:lnTo>
                    <a:pt x="3" y="63"/>
                  </a:lnTo>
                  <a:lnTo>
                    <a:pt x="1" y="72"/>
                  </a:lnTo>
                  <a:lnTo>
                    <a:pt x="0" y="81"/>
                  </a:lnTo>
                  <a:lnTo>
                    <a:pt x="0" y="90"/>
                  </a:lnTo>
                  <a:lnTo>
                    <a:pt x="0" y="810"/>
                  </a:lnTo>
                  <a:lnTo>
                    <a:pt x="0" y="819"/>
                  </a:lnTo>
                  <a:lnTo>
                    <a:pt x="1" y="828"/>
                  </a:lnTo>
                  <a:lnTo>
                    <a:pt x="3" y="837"/>
                  </a:lnTo>
                  <a:lnTo>
                    <a:pt x="7" y="846"/>
                  </a:lnTo>
                  <a:lnTo>
                    <a:pt x="11" y="853"/>
                  </a:lnTo>
                  <a:lnTo>
                    <a:pt x="15" y="860"/>
                  </a:lnTo>
                  <a:lnTo>
                    <a:pt x="21" y="867"/>
                  </a:lnTo>
                  <a:lnTo>
                    <a:pt x="26" y="873"/>
                  </a:lnTo>
                  <a:lnTo>
                    <a:pt x="32" y="880"/>
                  </a:lnTo>
                  <a:lnTo>
                    <a:pt x="40" y="885"/>
                  </a:lnTo>
                  <a:lnTo>
                    <a:pt x="47" y="889"/>
                  </a:lnTo>
                  <a:lnTo>
                    <a:pt x="55" y="893"/>
                  </a:lnTo>
                  <a:lnTo>
                    <a:pt x="63" y="896"/>
                  </a:lnTo>
                  <a:lnTo>
                    <a:pt x="72" y="898"/>
                  </a:lnTo>
                  <a:lnTo>
                    <a:pt x="80" y="900"/>
                  </a:lnTo>
                  <a:lnTo>
                    <a:pt x="90" y="900"/>
                  </a:lnTo>
                  <a:lnTo>
                    <a:pt x="600" y="900"/>
                  </a:lnTo>
                  <a:lnTo>
                    <a:pt x="609" y="900"/>
                  </a:lnTo>
                  <a:lnTo>
                    <a:pt x="618" y="898"/>
                  </a:lnTo>
                  <a:lnTo>
                    <a:pt x="626" y="896"/>
                  </a:lnTo>
                  <a:lnTo>
                    <a:pt x="635" y="893"/>
                  </a:lnTo>
                  <a:lnTo>
                    <a:pt x="642" y="889"/>
                  </a:lnTo>
                  <a:lnTo>
                    <a:pt x="650" y="885"/>
                  </a:lnTo>
                  <a:lnTo>
                    <a:pt x="657" y="880"/>
                  </a:lnTo>
                  <a:lnTo>
                    <a:pt x="664" y="873"/>
                  </a:lnTo>
                  <a:lnTo>
                    <a:pt x="669" y="867"/>
                  </a:lnTo>
                  <a:lnTo>
                    <a:pt x="674" y="860"/>
                  </a:lnTo>
                  <a:lnTo>
                    <a:pt x="679" y="853"/>
                  </a:lnTo>
                  <a:lnTo>
                    <a:pt x="683" y="846"/>
                  </a:lnTo>
                  <a:lnTo>
                    <a:pt x="686" y="837"/>
                  </a:lnTo>
                  <a:lnTo>
                    <a:pt x="688" y="828"/>
                  </a:lnTo>
                  <a:lnTo>
                    <a:pt x="689" y="819"/>
                  </a:lnTo>
                  <a:lnTo>
                    <a:pt x="689" y="810"/>
                  </a:lnTo>
                  <a:lnTo>
                    <a:pt x="689" y="90"/>
                  </a:lnTo>
                  <a:lnTo>
                    <a:pt x="689" y="81"/>
                  </a:lnTo>
                  <a:lnTo>
                    <a:pt x="688" y="72"/>
                  </a:lnTo>
                  <a:lnTo>
                    <a:pt x="686" y="63"/>
                  </a:lnTo>
                  <a:lnTo>
                    <a:pt x="683" y="55"/>
                  </a:lnTo>
                  <a:lnTo>
                    <a:pt x="679" y="47"/>
                  </a:lnTo>
                  <a:lnTo>
                    <a:pt x="674" y="40"/>
                  </a:lnTo>
                  <a:lnTo>
                    <a:pt x="669" y="34"/>
                  </a:lnTo>
                  <a:lnTo>
                    <a:pt x="664" y="27"/>
                  </a:lnTo>
                  <a:lnTo>
                    <a:pt x="657" y="21"/>
                  </a:lnTo>
                  <a:lnTo>
                    <a:pt x="650" y="15"/>
                  </a:lnTo>
                  <a:lnTo>
                    <a:pt x="642" y="11"/>
                  </a:lnTo>
                  <a:lnTo>
                    <a:pt x="635" y="7"/>
                  </a:lnTo>
                  <a:lnTo>
                    <a:pt x="626" y="5"/>
                  </a:lnTo>
                  <a:lnTo>
                    <a:pt x="618" y="3"/>
                  </a:lnTo>
                  <a:lnTo>
                    <a:pt x="609" y="0"/>
                  </a:lnTo>
                  <a:lnTo>
                    <a:pt x="6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363">
              <a:extLst>
                <a:ext uri="{FF2B5EF4-FFF2-40B4-BE49-F238E27FC236}">
                  <a16:creationId xmlns:a16="http://schemas.microsoft.com/office/drawing/2014/main" id="{8CC7927D-CBAB-4AFE-B40C-C16470CFB391}"/>
                </a:ext>
              </a:extLst>
            </p:cNvPr>
            <p:cNvSpPr>
              <a:spLocks noEditPoints="1"/>
            </p:cNvSpPr>
            <p:nvPr/>
          </p:nvSpPr>
          <p:spPr bwMode="auto">
            <a:xfrm>
              <a:off x="7699375" y="3667125"/>
              <a:ext cx="85725" cy="28575"/>
            </a:xfrm>
            <a:custGeom>
              <a:avLst/>
              <a:gdLst>
                <a:gd name="T0" fmla="*/ 219 w 270"/>
                <a:gd name="T1" fmla="*/ 30 h 90"/>
                <a:gd name="T2" fmla="*/ 189 w 270"/>
                <a:gd name="T3" fmla="*/ 60 h 90"/>
                <a:gd name="T4" fmla="*/ 81 w 270"/>
                <a:gd name="T5" fmla="*/ 60 h 90"/>
                <a:gd name="T6" fmla="*/ 51 w 270"/>
                <a:gd name="T7" fmla="*/ 30 h 90"/>
                <a:gd name="T8" fmla="*/ 219 w 270"/>
                <a:gd name="T9" fmla="*/ 30 h 90"/>
                <a:gd name="T10" fmla="*/ 64 w 270"/>
                <a:gd name="T11" fmla="*/ 86 h 90"/>
                <a:gd name="T12" fmla="*/ 67 w 270"/>
                <a:gd name="T13" fmla="*/ 88 h 90"/>
                <a:gd name="T14" fmla="*/ 69 w 270"/>
                <a:gd name="T15" fmla="*/ 89 h 90"/>
                <a:gd name="T16" fmla="*/ 72 w 270"/>
                <a:gd name="T17" fmla="*/ 90 h 90"/>
                <a:gd name="T18" fmla="*/ 74 w 270"/>
                <a:gd name="T19" fmla="*/ 90 h 90"/>
                <a:gd name="T20" fmla="*/ 195 w 270"/>
                <a:gd name="T21" fmla="*/ 90 h 90"/>
                <a:gd name="T22" fmla="*/ 197 w 270"/>
                <a:gd name="T23" fmla="*/ 90 h 90"/>
                <a:gd name="T24" fmla="*/ 201 w 270"/>
                <a:gd name="T25" fmla="*/ 89 h 90"/>
                <a:gd name="T26" fmla="*/ 203 w 270"/>
                <a:gd name="T27" fmla="*/ 88 h 90"/>
                <a:gd name="T28" fmla="*/ 206 w 270"/>
                <a:gd name="T29" fmla="*/ 86 h 90"/>
                <a:gd name="T30" fmla="*/ 266 w 270"/>
                <a:gd name="T31" fmla="*/ 26 h 90"/>
                <a:gd name="T32" fmla="*/ 268 w 270"/>
                <a:gd name="T33" fmla="*/ 23 h 90"/>
                <a:gd name="T34" fmla="*/ 270 w 270"/>
                <a:gd name="T35" fmla="*/ 18 h 90"/>
                <a:gd name="T36" fmla="*/ 270 w 270"/>
                <a:gd name="T37" fmla="*/ 14 h 90"/>
                <a:gd name="T38" fmla="*/ 269 w 270"/>
                <a:gd name="T39" fmla="*/ 10 h 90"/>
                <a:gd name="T40" fmla="*/ 267 w 270"/>
                <a:gd name="T41" fmla="*/ 6 h 90"/>
                <a:gd name="T42" fmla="*/ 264 w 270"/>
                <a:gd name="T43" fmla="*/ 2 h 90"/>
                <a:gd name="T44" fmla="*/ 259 w 270"/>
                <a:gd name="T45" fmla="*/ 1 h 90"/>
                <a:gd name="T46" fmla="*/ 255 w 270"/>
                <a:gd name="T47" fmla="*/ 0 h 90"/>
                <a:gd name="T48" fmla="*/ 15 w 270"/>
                <a:gd name="T49" fmla="*/ 0 h 90"/>
                <a:gd name="T50" fmla="*/ 10 w 270"/>
                <a:gd name="T51" fmla="*/ 1 h 90"/>
                <a:gd name="T52" fmla="*/ 6 w 270"/>
                <a:gd name="T53" fmla="*/ 2 h 90"/>
                <a:gd name="T54" fmla="*/ 3 w 270"/>
                <a:gd name="T55" fmla="*/ 6 h 90"/>
                <a:gd name="T56" fmla="*/ 1 w 270"/>
                <a:gd name="T57" fmla="*/ 10 h 90"/>
                <a:gd name="T58" fmla="*/ 0 w 270"/>
                <a:gd name="T59" fmla="*/ 14 h 90"/>
                <a:gd name="T60" fmla="*/ 0 w 270"/>
                <a:gd name="T61" fmla="*/ 18 h 90"/>
                <a:gd name="T62" fmla="*/ 2 w 270"/>
                <a:gd name="T63" fmla="*/ 23 h 90"/>
                <a:gd name="T64" fmla="*/ 4 w 270"/>
                <a:gd name="T65" fmla="*/ 26 h 90"/>
                <a:gd name="T66" fmla="*/ 64 w 270"/>
                <a:gd name="T67"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219" y="30"/>
                  </a:moveTo>
                  <a:lnTo>
                    <a:pt x="189" y="60"/>
                  </a:lnTo>
                  <a:lnTo>
                    <a:pt x="81" y="60"/>
                  </a:lnTo>
                  <a:lnTo>
                    <a:pt x="51" y="30"/>
                  </a:lnTo>
                  <a:lnTo>
                    <a:pt x="219" y="30"/>
                  </a:lnTo>
                  <a:close/>
                  <a:moveTo>
                    <a:pt x="64" y="86"/>
                  </a:moveTo>
                  <a:lnTo>
                    <a:pt x="67" y="88"/>
                  </a:lnTo>
                  <a:lnTo>
                    <a:pt x="69" y="89"/>
                  </a:lnTo>
                  <a:lnTo>
                    <a:pt x="72" y="90"/>
                  </a:lnTo>
                  <a:lnTo>
                    <a:pt x="74" y="90"/>
                  </a:lnTo>
                  <a:lnTo>
                    <a:pt x="195" y="90"/>
                  </a:lnTo>
                  <a:lnTo>
                    <a:pt x="197" y="90"/>
                  </a:lnTo>
                  <a:lnTo>
                    <a:pt x="201" y="89"/>
                  </a:lnTo>
                  <a:lnTo>
                    <a:pt x="203" y="88"/>
                  </a:lnTo>
                  <a:lnTo>
                    <a:pt x="206" y="86"/>
                  </a:lnTo>
                  <a:lnTo>
                    <a:pt x="266" y="26"/>
                  </a:lnTo>
                  <a:lnTo>
                    <a:pt x="268" y="23"/>
                  </a:lnTo>
                  <a:lnTo>
                    <a:pt x="270" y="18"/>
                  </a:lnTo>
                  <a:lnTo>
                    <a:pt x="270" y="14"/>
                  </a:lnTo>
                  <a:lnTo>
                    <a:pt x="269" y="10"/>
                  </a:lnTo>
                  <a:lnTo>
                    <a:pt x="267" y="6"/>
                  </a:lnTo>
                  <a:lnTo>
                    <a:pt x="264" y="2"/>
                  </a:lnTo>
                  <a:lnTo>
                    <a:pt x="259" y="1"/>
                  </a:lnTo>
                  <a:lnTo>
                    <a:pt x="255" y="0"/>
                  </a:lnTo>
                  <a:lnTo>
                    <a:pt x="15" y="0"/>
                  </a:lnTo>
                  <a:lnTo>
                    <a:pt x="10" y="1"/>
                  </a:lnTo>
                  <a:lnTo>
                    <a:pt x="6" y="2"/>
                  </a:lnTo>
                  <a:lnTo>
                    <a:pt x="3" y="6"/>
                  </a:lnTo>
                  <a:lnTo>
                    <a:pt x="1" y="10"/>
                  </a:lnTo>
                  <a:lnTo>
                    <a:pt x="0" y="14"/>
                  </a:lnTo>
                  <a:lnTo>
                    <a:pt x="0" y="18"/>
                  </a:lnTo>
                  <a:lnTo>
                    <a:pt x="2" y="23"/>
                  </a:lnTo>
                  <a:lnTo>
                    <a:pt x="4" y="26"/>
                  </a:lnTo>
                  <a:lnTo>
                    <a:pt x="6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364">
              <a:extLst>
                <a:ext uri="{FF2B5EF4-FFF2-40B4-BE49-F238E27FC236}">
                  <a16:creationId xmlns:a16="http://schemas.microsoft.com/office/drawing/2014/main" id="{20CF752F-694D-45ED-8846-97D7288EF498}"/>
                </a:ext>
              </a:extLst>
            </p:cNvPr>
            <p:cNvSpPr>
              <a:spLocks noEditPoints="1"/>
            </p:cNvSpPr>
            <p:nvPr/>
          </p:nvSpPr>
          <p:spPr bwMode="auto">
            <a:xfrm>
              <a:off x="7699375" y="3762375"/>
              <a:ext cx="85725" cy="28575"/>
            </a:xfrm>
            <a:custGeom>
              <a:avLst/>
              <a:gdLst>
                <a:gd name="T0" fmla="*/ 219 w 270"/>
                <a:gd name="T1" fmla="*/ 30 h 90"/>
                <a:gd name="T2" fmla="*/ 189 w 270"/>
                <a:gd name="T3" fmla="*/ 60 h 90"/>
                <a:gd name="T4" fmla="*/ 81 w 270"/>
                <a:gd name="T5" fmla="*/ 60 h 90"/>
                <a:gd name="T6" fmla="*/ 51 w 270"/>
                <a:gd name="T7" fmla="*/ 30 h 90"/>
                <a:gd name="T8" fmla="*/ 219 w 270"/>
                <a:gd name="T9" fmla="*/ 30 h 90"/>
                <a:gd name="T10" fmla="*/ 4 w 270"/>
                <a:gd name="T11" fmla="*/ 26 h 90"/>
                <a:gd name="T12" fmla="*/ 64 w 270"/>
                <a:gd name="T13" fmla="*/ 86 h 90"/>
                <a:gd name="T14" fmla="*/ 67 w 270"/>
                <a:gd name="T15" fmla="*/ 88 h 90"/>
                <a:gd name="T16" fmla="*/ 69 w 270"/>
                <a:gd name="T17" fmla="*/ 89 h 90"/>
                <a:gd name="T18" fmla="*/ 72 w 270"/>
                <a:gd name="T19" fmla="*/ 90 h 90"/>
                <a:gd name="T20" fmla="*/ 74 w 270"/>
                <a:gd name="T21" fmla="*/ 90 h 90"/>
                <a:gd name="T22" fmla="*/ 195 w 270"/>
                <a:gd name="T23" fmla="*/ 90 h 90"/>
                <a:gd name="T24" fmla="*/ 197 w 270"/>
                <a:gd name="T25" fmla="*/ 90 h 90"/>
                <a:gd name="T26" fmla="*/ 201 w 270"/>
                <a:gd name="T27" fmla="*/ 89 h 90"/>
                <a:gd name="T28" fmla="*/ 203 w 270"/>
                <a:gd name="T29" fmla="*/ 88 h 90"/>
                <a:gd name="T30" fmla="*/ 206 w 270"/>
                <a:gd name="T31" fmla="*/ 86 h 90"/>
                <a:gd name="T32" fmla="*/ 266 w 270"/>
                <a:gd name="T33" fmla="*/ 26 h 90"/>
                <a:gd name="T34" fmla="*/ 268 w 270"/>
                <a:gd name="T35" fmla="*/ 22 h 90"/>
                <a:gd name="T36" fmla="*/ 270 w 270"/>
                <a:gd name="T37" fmla="*/ 19 h 90"/>
                <a:gd name="T38" fmla="*/ 270 w 270"/>
                <a:gd name="T39" fmla="*/ 13 h 90"/>
                <a:gd name="T40" fmla="*/ 269 w 270"/>
                <a:gd name="T41" fmla="*/ 9 h 90"/>
                <a:gd name="T42" fmla="*/ 267 w 270"/>
                <a:gd name="T43" fmla="*/ 6 h 90"/>
                <a:gd name="T44" fmla="*/ 264 w 270"/>
                <a:gd name="T45" fmla="*/ 3 h 90"/>
                <a:gd name="T46" fmla="*/ 259 w 270"/>
                <a:gd name="T47" fmla="*/ 0 h 90"/>
                <a:gd name="T48" fmla="*/ 255 w 270"/>
                <a:gd name="T49" fmla="*/ 0 h 90"/>
                <a:gd name="T50" fmla="*/ 15 w 270"/>
                <a:gd name="T51" fmla="*/ 0 h 90"/>
                <a:gd name="T52" fmla="*/ 10 w 270"/>
                <a:gd name="T53" fmla="*/ 0 h 90"/>
                <a:gd name="T54" fmla="*/ 6 w 270"/>
                <a:gd name="T55" fmla="*/ 3 h 90"/>
                <a:gd name="T56" fmla="*/ 3 w 270"/>
                <a:gd name="T57" fmla="*/ 6 h 90"/>
                <a:gd name="T58" fmla="*/ 1 w 270"/>
                <a:gd name="T59" fmla="*/ 9 h 90"/>
                <a:gd name="T60" fmla="*/ 0 w 270"/>
                <a:gd name="T61" fmla="*/ 13 h 90"/>
                <a:gd name="T62" fmla="*/ 0 w 270"/>
                <a:gd name="T63" fmla="*/ 19 h 90"/>
                <a:gd name="T64" fmla="*/ 2 w 270"/>
                <a:gd name="T65" fmla="*/ 22 h 90"/>
                <a:gd name="T66" fmla="*/ 4 w 270"/>
                <a:gd name="T67"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219" y="30"/>
                  </a:moveTo>
                  <a:lnTo>
                    <a:pt x="189" y="60"/>
                  </a:lnTo>
                  <a:lnTo>
                    <a:pt x="81" y="60"/>
                  </a:lnTo>
                  <a:lnTo>
                    <a:pt x="51" y="30"/>
                  </a:lnTo>
                  <a:lnTo>
                    <a:pt x="219" y="30"/>
                  </a:lnTo>
                  <a:close/>
                  <a:moveTo>
                    <a:pt x="4" y="26"/>
                  </a:moveTo>
                  <a:lnTo>
                    <a:pt x="64" y="86"/>
                  </a:lnTo>
                  <a:lnTo>
                    <a:pt x="67" y="88"/>
                  </a:lnTo>
                  <a:lnTo>
                    <a:pt x="69" y="89"/>
                  </a:lnTo>
                  <a:lnTo>
                    <a:pt x="72" y="90"/>
                  </a:lnTo>
                  <a:lnTo>
                    <a:pt x="74" y="90"/>
                  </a:lnTo>
                  <a:lnTo>
                    <a:pt x="195" y="90"/>
                  </a:lnTo>
                  <a:lnTo>
                    <a:pt x="197" y="90"/>
                  </a:lnTo>
                  <a:lnTo>
                    <a:pt x="201" y="89"/>
                  </a:lnTo>
                  <a:lnTo>
                    <a:pt x="203" y="88"/>
                  </a:lnTo>
                  <a:lnTo>
                    <a:pt x="206" y="86"/>
                  </a:lnTo>
                  <a:lnTo>
                    <a:pt x="266" y="26"/>
                  </a:lnTo>
                  <a:lnTo>
                    <a:pt x="268" y="22"/>
                  </a:lnTo>
                  <a:lnTo>
                    <a:pt x="270" y="19"/>
                  </a:lnTo>
                  <a:lnTo>
                    <a:pt x="270" y="13"/>
                  </a:lnTo>
                  <a:lnTo>
                    <a:pt x="269" y="9"/>
                  </a:lnTo>
                  <a:lnTo>
                    <a:pt x="267" y="6"/>
                  </a:lnTo>
                  <a:lnTo>
                    <a:pt x="264" y="3"/>
                  </a:lnTo>
                  <a:lnTo>
                    <a:pt x="259" y="0"/>
                  </a:lnTo>
                  <a:lnTo>
                    <a:pt x="255" y="0"/>
                  </a:lnTo>
                  <a:lnTo>
                    <a:pt x="15" y="0"/>
                  </a:lnTo>
                  <a:lnTo>
                    <a:pt x="10" y="0"/>
                  </a:lnTo>
                  <a:lnTo>
                    <a:pt x="6" y="3"/>
                  </a:lnTo>
                  <a:lnTo>
                    <a:pt x="3" y="6"/>
                  </a:lnTo>
                  <a:lnTo>
                    <a:pt x="1" y="9"/>
                  </a:lnTo>
                  <a:lnTo>
                    <a:pt x="0" y="13"/>
                  </a:lnTo>
                  <a:lnTo>
                    <a:pt x="0" y="19"/>
                  </a:lnTo>
                  <a:lnTo>
                    <a:pt x="2" y="22"/>
                  </a:lnTo>
                  <a:lnTo>
                    <a:pt x="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365">
              <a:extLst>
                <a:ext uri="{FF2B5EF4-FFF2-40B4-BE49-F238E27FC236}">
                  <a16:creationId xmlns:a16="http://schemas.microsoft.com/office/drawing/2014/main" id="{F297237A-AF1E-40C3-8798-B45A16882A1B}"/>
                </a:ext>
              </a:extLst>
            </p:cNvPr>
            <p:cNvSpPr>
              <a:spLocks noEditPoints="1"/>
            </p:cNvSpPr>
            <p:nvPr/>
          </p:nvSpPr>
          <p:spPr bwMode="auto">
            <a:xfrm>
              <a:off x="7699375" y="3848100"/>
              <a:ext cx="85725" cy="28575"/>
            </a:xfrm>
            <a:custGeom>
              <a:avLst/>
              <a:gdLst>
                <a:gd name="T0" fmla="*/ 189 w 270"/>
                <a:gd name="T1" fmla="*/ 61 h 90"/>
                <a:gd name="T2" fmla="*/ 81 w 270"/>
                <a:gd name="T3" fmla="*/ 61 h 90"/>
                <a:gd name="T4" fmla="*/ 51 w 270"/>
                <a:gd name="T5" fmla="*/ 30 h 90"/>
                <a:gd name="T6" fmla="*/ 219 w 270"/>
                <a:gd name="T7" fmla="*/ 30 h 90"/>
                <a:gd name="T8" fmla="*/ 189 w 270"/>
                <a:gd name="T9" fmla="*/ 61 h 90"/>
                <a:gd name="T10" fmla="*/ 255 w 270"/>
                <a:gd name="T11" fmla="*/ 0 h 90"/>
                <a:gd name="T12" fmla="*/ 15 w 270"/>
                <a:gd name="T13" fmla="*/ 0 h 90"/>
                <a:gd name="T14" fmla="*/ 10 w 270"/>
                <a:gd name="T15" fmla="*/ 1 h 90"/>
                <a:gd name="T16" fmla="*/ 6 w 270"/>
                <a:gd name="T17" fmla="*/ 3 h 90"/>
                <a:gd name="T18" fmla="*/ 3 w 270"/>
                <a:gd name="T19" fmla="*/ 6 h 90"/>
                <a:gd name="T20" fmla="*/ 1 w 270"/>
                <a:gd name="T21" fmla="*/ 9 h 90"/>
                <a:gd name="T22" fmla="*/ 0 w 270"/>
                <a:gd name="T23" fmla="*/ 14 h 90"/>
                <a:gd name="T24" fmla="*/ 0 w 270"/>
                <a:gd name="T25" fmla="*/ 18 h 90"/>
                <a:gd name="T26" fmla="*/ 2 w 270"/>
                <a:gd name="T27" fmla="*/ 22 h 90"/>
                <a:gd name="T28" fmla="*/ 4 w 270"/>
                <a:gd name="T29" fmla="*/ 25 h 90"/>
                <a:gd name="T30" fmla="*/ 64 w 270"/>
                <a:gd name="T31" fmla="*/ 86 h 90"/>
                <a:gd name="T32" fmla="*/ 67 w 270"/>
                <a:gd name="T33" fmla="*/ 87 h 90"/>
                <a:gd name="T34" fmla="*/ 69 w 270"/>
                <a:gd name="T35" fmla="*/ 89 h 90"/>
                <a:gd name="T36" fmla="*/ 72 w 270"/>
                <a:gd name="T37" fmla="*/ 89 h 90"/>
                <a:gd name="T38" fmla="*/ 74 w 270"/>
                <a:gd name="T39" fmla="*/ 90 h 90"/>
                <a:gd name="T40" fmla="*/ 195 w 270"/>
                <a:gd name="T41" fmla="*/ 90 h 90"/>
                <a:gd name="T42" fmla="*/ 197 w 270"/>
                <a:gd name="T43" fmla="*/ 89 h 90"/>
                <a:gd name="T44" fmla="*/ 201 w 270"/>
                <a:gd name="T45" fmla="*/ 89 h 90"/>
                <a:gd name="T46" fmla="*/ 203 w 270"/>
                <a:gd name="T47" fmla="*/ 87 h 90"/>
                <a:gd name="T48" fmla="*/ 206 w 270"/>
                <a:gd name="T49" fmla="*/ 86 h 90"/>
                <a:gd name="T50" fmla="*/ 266 w 270"/>
                <a:gd name="T51" fmla="*/ 25 h 90"/>
                <a:gd name="T52" fmla="*/ 268 w 270"/>
                <a:gd name="T53" fmla="*/ 22 h 90"/>
                <a:gd name="T54" fmla="*/ 270 w 270"/>
                <a:gd name="T55" fmla="*/ 18 h 90"/>
                <a:gd name="T56" fmla="*/ 270 w 270"/>
                <a:gd name="T57" fmla="*/ 14 h 90"/>
                <a:gd name="T58" fmla="*/ 269 w 270"/>
                <a:gd name="T59" fmla="*/ 9 h 90"/>
                <a:gd name="T60" fmla="*/ 267 w 270"/>
                <a:gd name="T61" fmla="*/ 5 h 90"/>
                <a:gd name="T62" fmla="*/ 264 w 270"/>
                <a:gd name="T63" fmla="*/ 3 h 90"/>
                <a:gd name="T64" fmla="*/ 259 w 270"/>
                <a:gd name="T65" fmla="*/ 1 h 90"/>
                <a:gd name="T66" fmla="*/ 255 w 270"/>
                <a:gd name="T6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0" h="90">
                  <a:moveTo>
                    <a:pt x="189" y="61"/>
                  </a:moveTo>
                  <a:lnTo>
                    <a:pt x="81" y="61"/>
                  </a:lnTo>
                  <a:lnTo>
                    <a:pt x="51" y="30"/>
                  </a:lnTo>
                  <a:lnTo>
                    <a:pt x="219" y="30"/>
                  </a:lnTo>
                  <a:lnTo>
                    <a:pt x="189" y="61"/>
                  </a:lnTo>
                  <a:close/>
                  <a:moveTo>
                    <a:pt x="255" y="0"/>
                  </a:moveTo>
                  <a:lnTo>
                    <a:pt x="15" y="0"/>
                  </a:lnTo>
                  <a:lnTo>
                    <a:pt x="10" y="1"/>
                  </a:lnTo>
                  <a:lnTo>
                    <a:pt x="6" y="3"/>
                  </a:lnTo>
                  <a:lnTo>
                    <a:pt x="3" y="6"/>
                  </a:lnTo>
                  <a:lnTo>
                    <a:pt x="1" y="9"/>
                  </a:lnTo>
                  <a:lnTo>
                    <a:pt x="0" y="14"/>
                  </a:lnTo>
                  <a:lnTo>
                    <a:pt x="0" y="18"/>
                  </a:lnTo>
                  <a:lnTo>
                    <a:pt x="2" y="22"/>
                  </a:lnTo>
                  <a:lnTo>
                    <a:pt x="4" y="25"/>
                  </a:lnTo>
                  <a:lnTo>
                    <a:pt x="64" y="86"/>
                  </a:lnTo>
                  <a:lnTo>
                    <a:pt x="67" y="87"/>
                  </a:lnTo>
                  <a:lnTo>
                    <a:pt x="69" y="89"/>
                  </a:lnTo>
                  <a:lnTo>
                    <a:pt x="72" y="89"/>
                  </a:lnTo>
                  <a:lnTo>
                    <a:pt x="74" y="90"/>
                  </a:lnTo>
                  <a:lnTo>
                    <a:pt x="195" y="90"/>
                  </a:lnTo>
                  <a:lnTo>
                    <a:pt x="197" y="89"/>
                  </a:lnTo>
                  <a:lnTo>
                    <a:pt x="201" y="89"/>
                  </a:lnTo>
                  <a:lnTo>
                    <a:pt x="203" y="87"/>
                  </a:lnTo>
                  <a:lnTo>
                    <a:pt x="206" y="86"/>
                  </a:lnTo>
                  <a:lnTo>
                    <a:pt x="266" y="25"/>
                  </a:lnTo>
                  <a:lnTo>
                    <a:pt x="268" y="22"/>
                  </a:lnTo>
                  <a:lnTo>
                    <a:pt x="270" y="18"/>
                  </a:lnTo>
                  <a:lnTo>
                    <a:pt x="270" y="14"/>
                  </a:lnTo>
                  <a:lnTo>
                    <a:pt x="269" y="9"/>
                  </a:lnTo>
                  <a:lnTo>
                    <a:pt x="267" y="5"/>
                  </a:lnTo>
                  <a:lnTo>
                    <a:pt x="264" y="3"/>
                  </a:lnTo>
                  <a:lnTo>
                    <a:pt x="259" y="1"/>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9" name="Gruppieren 638">
            <a:extLst>
              <a:ext uri="{FF2B5EF4-FFF2-40B4-BE49-F238E27FC236}">
                <a16:creationId xmlns:a16="http://schemas.microsoft.com/office/drawing/2014/main" id="{8EDACC22-3F33-40DE-BF17-A3CB8CC59FAA}"/>
              </a:ext>
            </a:extLst>
          </p:cNvPr>
          <p:cNvGrpSpPr>
            <a:grpSpLocks noChangeAspect="1"/>
          </p:cNvGrpSpPr>
          <p:nvPr/>
        </p:nvGrpSpPr>
        <p:grpSpPr>
          <a:xfrm>
            <a:off x="3628772" y="5961845"/>
            <a:ext cx="275708" cy="241715"/>
            <a:chOff x="4330747" y="1069773"/>
            <a:chExt cx="345814" cy="303178"/>
          </a:xfrm>
          <a:solidFill>
            <a:schemeClr val="bg1"/>
          </a:solidFill>
          <a:effectLst/>
        </p:grpSpPr>
        <p:sp>
          <p:nvSpPr>
            <p:cNvPr id="640" name="Freeform 102">
              <a:extLst>
                <a:ext uri="{FF2B5EF4-FFF2-40B4-BE49-F238E27FC236}">
                  <a16:creationId xmlns:a16="http://schemas.microsoft.com/office/drawing/2014/main" id="{4D441DEE-3B24-4DB6-824D-D5EC72AE08A8}"/>
                </a:ext>
              </a:extLst>
            </p:cNvPr>
            <p:cNvSpPr>
              <a:spLocks noEditPoints="1"/>
            </p:cNvSpPr>
            <p:nvPr/>
          </p:nvSpPr>
          <p:spPr bwMode="auto">
            <a:xfrm>
              <a:off x="4330747" y="1069773"/>
              <a:ext cx="345814" cy="303178"/>
            </a:xfrm>
            <a:custGeom>
              <a:avLst/>
              <a:gdLst>
                <a:gd name="T0" fmla="*/ 216 w 217"/>
                <a:gd name="T1" fmla="*/ 112 h 190"/>
                <a:gd name="T2" fmla="*/ 189 w 217"/>
                <a:gd name="T3" fmla="*/ 9 h 190"/>
                <a:gd name="T4" fmla="*/ 189 w 217"/>
                <a:gd name="T5" fmla="*/ 9 h 190"/>
                <a:gd name="T6" fmla="*/ 187 w 217"/>
                <a:gd name="T7" fmla="*/ 5 h 190"/>
                <a:gd name="T8" fmla="*/ 184 w 217"/>
                <a:gd name="T9" fmla="*/ 2 h 190"/>
                <a:gd name="T10" fmla="*/ 180 w 217"/>
                <a:gd name="T11" fmla="*/ 0 h 190"/>
                <a:gd name="T12" fmla="*/ 176 w 217"/>
                <a:gd name="T13" fmla="*/ 0 h 190"/>
                <a:gd name="T14" fmla="*/ 108 w 217"/>
                <a:gd name="T15" fmla="*/ 0 h 190"/>
                <a:gd name="T16" fmla="*/ 41 w 217"/>
                <a:gd name="T17" fmla="*/ 0 h 190"/>
                <a:gd name="T18" fmla="*/ 41 w 217"/>
                <a:gd name="T19" fmla="*/ 0 h 190"/>
                <a:gd name="T20" fmla="*/ 36 w 217"/>
                <a:gd name="T21" fmla="*/ 0 h 190"/>
                <a:gd name="T22" fmla="*/ 33 w 217"/>
                <a:gd name="T23" fmla="*/ 2 h 190"/>
                <a:gd name="T24" fmla="*/ 29 w 217"/>
                <a:gd name="T25" fmla="*/ 5 h 190"/>
                <a:gd name="T26" fmla="*/ 27 w 217"/>
                <a:gd name="T27" fmla="*/ 9 h 190"/>
                <a:gd name="T28" fmla="*/ 0 w 217"/>
                <a:gd name="T29" fmla="*/ 112 h 190"/>
                <a:gd name="T30" fmla="*/ 0 w 217"/>
                <a:gd name="T31" fmla="*/ 112 h 190"/>
                <a:gd name="T32" fmla="*/ 0 w 217"/>
                <a:gd name="T33" fmla="*/ 115 h 190"/>
                <a:gd name="T34" fmla="*/ 0 w 217"/>
                <a:gd name="T35" fmla="*/ 162 h 190"/>
                <a:gd name="T36" fmla="*/ 0 w 217"/>
                <a:gd name="T37" fmla="*/ 162 h 190"/>
                <a:gd name="T38" fmla="*/ 0 w 217"/>
                <a:gd name="T39" fmla="*/ 168 h 190"/>
                <a:gd name="T40" fmla="*/ 2 w 217"/>
                <a:gd name="T41" fmla="*/ 173 h 190"/>
                <a:gd name="T42" fmla="*/ 4 w 217"/>
                <a:gd name="T43" fmla="*/ 177 h 190"/>
                <a:gd name="T44" fmla="*/ 8 w 217"/>
                <a:gd name="T45" fmla="*/ 181 h 190"/>
                <a:gd name="T46" fmla="*/ 12 w 217"/>
                <a:gd name="T47" fmla="*/ 185 h 190"/>
                <a:gd name="T48" fmla="*/ 16 w 217"/>
                <a:gd name="T49" fmla="*/ 188 h 190"/>
                <a:gd name="T50" fmla="*/ 21 w 217"/>
                <a:gd name="T51" fmla="*/ 189 h 190"/>
                <a:gd name="T52" fmla="*/ 26 w 217"/>
                <a:gd name="T53" fmla="*/ 190 h 190"/>
                <a:gd name="T54" fmla="*/ 189 w 217"/>
                <a:gd name="T55" fmla="*/ 190 h 190"/>
                <a:gd name="T56" fmla="*/ 189 w 217"/>
                <a:gd name="T57" fmla="*/ 190 h 190"/>
                <a:gd name="T58" fmla="*/ 196 w 217"/>
                <a:gd name="T59" fmla="*/ 189 h 190"/>
                <a:gd name="T60" fmla="*/ 201 w 217"/>
                <a:gd name="T61" fmla="*/ 188 h 190"/>
                <a:gd name="T62" fmla="*/ 205 w 217"/>
                <a:gd name="T63" fmla="*/ 185 h 190"/>
                <a:gd name="T64" fmla="*/ 209 w 217"/>
                <a:gd name="T65" fmla="*/ 181 h 190"/>
                <a:gd name="T66" fmla="*/ 212 w 217"/>
                <a:gd name="T67" fmla="*/ 177 h 190"/>
                <a:gd name="T68" fmla="*/ 215 w 217"/>
                <a:gd name="T69" fmla="*/ 173 h 190"/>
                <a:gd name="T70" fmla="*/ 216 w 217"/>
                <a:gd name="T71" fmla="*/ 168 h 190"/>
                <a:gd name="T72" fmla="*/ 217 w 217"/>
                <a:gd name="T73" fmla="*/ 162 h 190"/>
                <a:gd name="T74" fmla="*/ 217 w 217"/>
                <a:gd name="T75" fmla="*/ 115 h 190"/>
                <a:gd name="T76" fmla="*/ 217 w 217"/>
                <a:gd name="T77" fmla="*/ 115 h 190"/>
                <a:gd name="T78" fmla="*/ 216 w 217"/>
                <a:gd name="T79" fmla="*/ 112 h 190"/>
                <a:gd name="T80" fmla="*/ 216 w 217"/>
                <a:gd name="T81" fmla="*/ 112 h 190"/>
                <a:gd name="T82" fmla="*/ 203 w 217"/>
                <a:gd name="T83" fmla="*/ 162 h 190"/>
                <a:gd name="T84" fmla="*/ 203 w 217"/>
                <a:gd name="T85" fmla="*/ 162 h 190"/>
                <a:gd name="T86" fmla="*/ 202 w 217"/>
                <a:gd name="T87" fmla="*/ 168 h 190"/>
                <a:gd name="T88" fmla="*/ 200 w 217"/>
                <a:gd name="T89" fmla="*/ 172 h 190"/>
                <a:gd name="T90" fmla="*/ 195 w 217"/>
                <a:gd name="T91" fmla="*/ 175 h 190"/>
                <a:gd name="T92" fmla="*/ 189 w 217"/>
                <a:gd name="T93" fmla="*/ 176 h 190"/>
                <a:gd name="T94" fmla="*/ 26 w 217"/>
                <a:gd name="T95" fmla="*/ 176 h 190"/>
                <a:gd name="T96" fmla="*/ 26 w 217"/>
                <a:gd name="T97" fmla="*/ 176 h 190"/>
                <a:gd name="T98" fmla="*/ 21 w 217"/>
                <a:gd name="T99" fmla="*/ 175 h 190"/>
                <a:gd name="T100" fmla="*/ 17 w 217"/>
                <a:gd name="T101" fmla="*/ 172 h 190"/>
                <a:gd name="T102" fmla="*/ 14 w 217"/>
                <a:gd name="T103" fmla="*/ 168 h 190"/>
                <a:gd name="T104" fmla="*/ 13 w 217"/>
                <a:gd name="T105" fmla="*/ 162 h 190"/>
                <a:gd name="T106" fmla="*/ 13 w 217"/>
                <a:gd name="T107" fmla="*/ 115 h 190"/>
                <a:gd name="T108" fmla="*/ 41 w 217"/>
                <a:gd name="T109" fmla="*/ 13 h 190"/>
                <a:gd name="T110" fmla="*/ 176 w 217"/>
                <a:gd name="T111" fmla="*/ 13 h 190"/>
                <a:gd name="T112" fmla="*/ 203 w 217"/>
                <a:gd name="T113" fmla="*/ 115 h 190"/>
                <a:gd name="T114" fmla="*/ 203 w 217"/>
                <a:gd name="T115" fmla="*/ 16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90">
                  <a:moveTo>
                    <a:pt x="216" y="112"/>
                  </a:moveTo>
                  <a:lnTo>
                    <a:pt x="189" y="9"/>
                  </a:lnTo>
                  <a:lnTo>
                    <a:pt x="189" y="9"/>
                  </a:lnTo>
                  <a:lnTo>
                    <a:pt x="187" y="5"/>
                  </a:lnTo>
                  <a:lnTo>
                    <a:pt x="184" y="2"/>
                  </a:lnTo>
                  <a:lnTo>
                    <a:pt x="180" y="0"/>
                  </a:lnTo>
                  <a:lnTo>
                    <a:pt x="176" y="0"/>
                  </a:lnTo>
                  <a:lnTo>
                    <a:pt x="108" y="0"/>
                  </a:lnTo>
                  <a:lnTo>
                    <a:pt x="41" y="0"/>
                  </a:lnTo>
                  <a:lnTo>
                    <a:pt x="41" y="0"/>
                  </a:lnTo>
                  <a:lnTo>
                    <a:pt x="36" y="0"/>
                  </a:lnTo>
                  <a:lnTo>
                    <a:pt x="33" y="2"/>
                  </a:lnTo>
                  <a:lnTo>
                    <a:pt x="29" y="5"/>
                  </a:lnTo>
                  <a:lnTo>
                    <a:pt x="27" y="9"/>
                  </a:lnTo>
                  <a:lnTo>
                    <a:pt x="0" y="112"/>
                  </a:lnTo>
                  <a:lnTo>
                    <a:pt x="0" y="112"/>
                  </a:lnTo>
                  <a:lnTo>
                    <a:pt x="0" y="115"/>
                  </a:lnTo>
                  <a:lnTo>
                    <a:pt x="0" y="162"/>
                  </a:lnTo>
                  <a:lnTo>
                    <a:pt x="0" y="162"/>
                  </a:lnTo>
                  <a:lnTo>
                    <a:pt x="0" y="168"/>
                  </a:lnTo>
                  <a:lnTo>
                    <a:pt x="2" y="173"/>
                  </a:lnTo>
                  <a:lnTo>
                    <a:pt x="4" y="177"/>
                  </a:lnTo>
                  <a:lnTo>
                    <a:pt x="8" y="181"/>
                  </a:lnTo>
                  <a:lnTo>
                    <a:pt x="12" y="185"/>
                  </a:lnTo>
                  <a:lnTo>
                    <a:pt x="16" y="188"/>
                  </a:lnTo>
                  <a:lnTo>
                    <a:pt x="21" y="189"/>
                  </a:lnTo>
                  <a:lnTo>
                    <a:pt x="26" y="190"/>
                  </a:lnTo>
                  <a:lnTo>
                    <a:pt x="189" y="190"/>
                  </a:lnTo>
                  <a:lnTo>
                    <a:pt x="189" y="190"/>
                  </a:lnTo>
                  <a:lnTo>
                    <a:pt x="196" y="189"/>
                  </a:lnTo>
                  <a:lnTo>
                    <a:pt x="201" y="188"/>
                  </a:lnTo>
                  <a:lnTo>
                    <a:pt x="205" y="185"/>
                  </a:lnTo>
                  <a:lnTo>
                    <a:pt x="209" y="181"/>
                  </a:lnTo>
                  <a:lnTo>
                    <a:pt x="212" y="177"/>
                  </a:lnTo>
                  <a:lnTo>
                    <a:pt x="215" y="173"/>
                  </a:lnTo>
                  <a:lnTo>
                    <a:pt x="216" y="168"/>
                  </a:lnTo>
                  <a:lnTo>
                    <a:pt x="217" y="162"/>
                  </a:lnTo>
                  <a:lnTo>
                    <a:pt x="217" y="115"/>
                  </a:lnTo>
                  <a:lnTo>
                    <a:pt x="217" y="115"/>
                  </a:lnTo>
                  <a:lnTo>
                    <a:pt x="216" y="112"/>
                  </a:lnTo>
                  <a:lnTo>
                    <a:pt x="216" y="112"/>
                  </a:lnTo>
                  <a:close/>
                  <a:moveTo>
                    <a:pt x="203" y="162"/>
                  </a:moveTo>
                  <a:lnTo>
                    <a:pt x="203" y="162"/>
                  </a:lnTo>
                  <a:lnTo>
                    <a:pt x="202" y="168"/>
                  </a:lnTo>
                  <a:lnTo>
                    <a:pt x="200" y="172"/>
                  </a:lnTo>
                  <a:lnTo>
                    <a:pt x="195" y="175"/>
                  </a:lnTo>
                  <a:lnTo>
                    <a:pt x="189" y="176"/>
                  </a:lnTo>
                  <a:lnTo>
                    <a:pt x="26" y="176"/>
                  </a:lnTo>
                  <a:lnTo>
                    <a:pt x="26" y="176"/>
                  </a:lnTo>
                  <a:lnTo>
                    <a:pt x="21" y="175"/>
                  </a:lnTo>
                  <a:lnTo>
                    <a:pt x="17" y="172"/>
                  </a:lnTo>
                  <a:lnTo>
                    <a:pt x="14" y="168"/>
                  </a:lnTo>
                  <a:lnTo>
                    <a:pt x="13" y="162"/>
                  </a:lnTo>
                  <a:lnTo>
                    <a:pt x="13" y="115"/>
                  </a:lnTo>
                  <a:lnTo>
                    <a:pt x="41" y="13"/>
                  </a:lnTo>
                  <a:lnTo>
                    <a:pt x="176" y="13"/>
                  </a:lnTo>
                  <a:lnTo>
                    <a:pt x="203" y="115"/>
                  </a:lnTo>
                  <a:lnTo>
                    <a:pt x="203"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41" name="Freeform 103">
              <a:extLst>
                <a:ext uri="{FF2B5EF4-FFF2-40B4-BE49-F238E27FC236}">
                  <a16:creationId xmlns:a16="http://schemas.microsoft.com/office/drawing/2014/main" id="{0D688816-1688-4D9D-BF34-7E4E06107799}"/>
                </a:ext>
              </a:extLst>
            </p:cNvPr>
            <p:cNvSpPr>
              <a:spLocks noEditPoints="1"/>
            </p:cNvSpPr>
            <p:nvPr/>
          </p:nvSpPr>
          <p:spPr bwMode="auto">
            <a:xfrm>
              <a:off x="4373383" y="1112409"/>
              <a:ext cx="260545" cy="194225"/>
            </a:xfrm>
            <a:custGeom>
              <a:avLst/>
              <a:gdLst>
                <a:gd name="T0" fmla="*/ 31 w 165"/>
                <a:gd name="T1" fmla="*/ 0 h 122"/>
                <a:gd name="T2" fmla="*/ 28 w 165"/>
                <a:gd name="T3" fmla="*/ 1 h 122"/>
                <a:gd name="T4" fmla="*/ 25 w 165"/>
                <a:gd name="T5" fmla="*/ 3 h 122"/>
                <a:gd name="T6" fmla="*/ 0 w 165"/>
                <a:gd name="T7" fmla="*/ 86 h 122"/>
                <a:gd name="T8" fmla="*/ 0 w 165"/>
                <a:gd name="T9" fmla="*/ 89 h 122"/>
                <a:gd name="T10" fmla="*/ 2 w 165"/>
                <a:gd name="T11" fmla="*/ 92 h 122"/>
                <a:gd name="T12" fmla="*/ 8 w 165"/>
                <a:gd name="T13" fmla="*/ 95 h 122"/>
                <a:gd name="T14" fmla="*/ 35 w 165"/>
                <a:gd name="T15" fmla="*/ 95 h 122"/>
                <a:gd name="T16" fmla="*/ 49 w 165"/>
                <a:gd name="T17" fmla="*/ 114 h 122"/>
                <a:gd name="T18" fmla="*/ 51 w 165"/>
                <a:gd name="T19" fmla="*/ 118 h 122"/>
                <a:gd name="T20" fmla="*/ 57 w 165"/>
                <a:gd name="T21" fmla="*/ 122 h 122"/>
                <a:gd name="T22" fmla="*/ 106 w 165"/>
                <a:gd name="T23" fmla="*/ 122 h 122"/>
                <a:gd name="T24" fmla="*/ 110 w 165"/>
                <a:gd name="T25" fmla="*/ 122 h 122"/>
                <a:gd name="T26" fmla="*/ 116 w 165"/>
                <a:gd name="T27" fmla="*/ 118 h 122"/>
                <a:gd name="T28" fmla="*/ 129 w 165"/>
                <a:gd name="T29" fmla="*/ 95 h 122"/>
                <a:gd name="T30" fmla="*/ 140 w 165"/>
                <a:gd name="T31" fmla="*/ 95 h 122"/>
                <a:gd name="T32" fmla="*/ 159 w 165"/>
                <a:gd name="T33" fmla="*/ 95 h 122"/>
                <a:gd name="T34" fmla="*/ 164 w 165"/>
                <a:gd name="T35" fmla="*/ 92 h 122"/>
                <a:gd name="T36" fmla="*/ 165 w 165"/>
                <a:gd name="T37" fmla="*/ 89 h 122"/>
                <a:gd name="T38" fmla="*/ 142 w 165"/>
                <a:gd name="T39" fmla="*/ 5 h 122"/>
                <a:gd name="T40" fmla="*/ 142 w 165"/>
                <a:gd name="T41" fmla="*/ 3 h 122"/>
                <a:gd name="T42" fmla="*/ 138 w 165"/>
                <a:gd name="T43" fmla="*/ 1 h 122"/>
                <a:gd name="T44" fmla="*/ 136 w 165"/>
                <a:gd name="T45" fmla="*/ 0 h 122"/>
                <a:gd name="T46" fmla="*/ 129 w 165"/>
                <a:gd name="T47" fmla="*/ 82 h 122"/>
                <a:gd name="T48" fmla="*/ 124 w 165"/>
                <a:gd name="T49" fmla="*/ 82 h 122"/>
                <a:gd name="T50" fmla="*/ 118 w 165"/>
                <a:gd name="T51" fmla="*/ 86 h 122"/>
                <a:gd name="T52" fmla="*/ 106 w 165"/>
                <a:gd name="T53" fmla="*/ 108 h 122"/>
                <a:gd name="T54" fmla="*/ 51 w 165"/>
                <a:gd name="T55" fmla="*/ 89 h 122"/>
                <a:gd name="T56" fmla="*/ 49 w 165"/>
                <a:gd name="T57" fmla="*/ 86 h 122"/>
                <a:gd name="T58" fmla="*/ 42 w 165"/>
                <a:gd name="T59" fmla="*/ 82 h 122"/>
                <a:gd name="T60" fmla="*/ 27 w 165"/>
                <a:gd name="T61" fmla="*/ 82 h 122"/>
                <a:gd name="T62" fmla="*/ 31 w 165"/>
                <a:gd name="T63" fmla="*/ 7 h 122"/>
                <a:gd name="T64" fmla="*/ 155 w 165"/>
                <a:gd name="T65"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22">
                  <a:moveTo>
                    <a:pt x="136" y="0"/>
                  </a:moveTo>
                  <a:lnTo>
                    <a:pt x="31" y="0"/>
                  </a:lnTo>
                  <a:lnTo>
                    <a:pt x="31" y="0"/>
                  </a:lnTo>
                  <a:lnTo>
                    <a:pt x="28" y="1"/>
                  </a:lnTo>
                  <a:lnTo>
                    <a:pt x="27" y="2"/>
                  </a:lnTo>
                  <a:lnTo>
                    <a:pt x="25" y="3"/>
                  </a:lnTo>
                  <a:lnTo>
                    <a:pt x="24" y="5"/>
                  </a:lnTo>
                  <a:lnTo>
                    <a:pt x="0" y="86"/>
                  </a:lnTo>
                  <a:lnTo>
                    <a:pt x="0" y="86"/>
                  </a:lnTo>
                  <a:lnTo>
                    <a:pt x="0" y="89"/>
                  </a:lnTo>
                  <a:lnTo>
                    <a:pt x="2" y="92"/>
                  </a:lnTo>
                  <a:lnTo>
                    <a:pt x="2" y="92"/>
                  </a:lnTo>
                  <a:lnTo>
                    <a:pt x="4" y="94"/>
                  </a:lnTo>
                  <a:lnTo>
                    <a:pt x="8" y="95"/>
                  </a:lnTo>
                  <a:lnTo>
                    <a:pt x="27" y="95"/>
                  </a:lnTo>
                  <a:lnTo>
                    <a:pt x="35" y="95"/>
                  </a:lnTo>
                  <a:lnTo>
                    <a:pt x="38" y="95"/>
                  </a:lnTo>
                  <a:lnTo>
                    <a:pt x="49" y="114"/>
                  </a:lnTo>
                  <a:lnTo>
                    <a:pt x="49" y="114"/>
                  </a:lnTo>
                  <a:lnTo>
                    <a:pt x="51" y="118"/>
                  </a:lnTo>
                  <a:lnTo>
                    <a:pt x="53" y="120"/>
                  </a:lnTo>
                  <a:lnTo>
                    <a:pt x="57" y="122"/>
                  </a:lnTo>
                  <a:lnTo>
                    <a:pt x="60" y="122"/>
                  </a:lnTo>
                  <a:lnTo>
                    <a:pt x="106" y="122"/>
                  </a:lnTo>
                  <a:lnTo>
                    <a:pt x="106" y="122"/>
                  </a:lnTo>
                  <a:lnTo>
                    <a:pt x="110" y="122"/>
                  </a:lnTo>
                  <a:lnTo>
                    <a:pt x="113" y="120"/>
                  </a:lnTo>
                  <a:lnTo>
                    <a:pt x="116" y="118"/>
                  </a:lnTo>
                  <a:lnTo>
                    <a:pt x="118" y="114"/>
                  </a:lnTo>
                  <a:lnTo>
                    <a:pt x="129" y="95"/>
                  </a:lnTo>
                  <a:lnTo>
                    <a:pt x="132" y="95"/>
                  </a:lnTo>
                  <a:lnTo>
                    <a:pt x="140" y="95"/>
                  </a:lnTo>
                  <a:lnTo>
                    <a:pt x="159" y="95"/>
                  </a:lnTo>
                  <a:lnTo>
                    <a:pt x="159" y="95"/>
                  </a:lnTo>
                  <a:lnTo>
                    <a:pt x="162" y="94"/>
                  </a:lnTo>
                  <a:lnTo>
                    <a:pt x="164" y="92"/>
                  </a:lnTo>
                  <a:lnTo>
                    <a:pt x="164" y="92"/>
                  </a:lnTo>
                  <a:lnTo>
                    <a:pt x="165" y="89"/>
                  </a:lnTo>
                  <a:lnTo>
                    <a:pt x="165" y="86"/>
                  </a:lnTo>
                  <a:lnTo>
                    <a:pt x="142" y="5"/>
                  </a:lnTo>
                  <a:lnTo>
                    <a:pt x="142" y="5"/>
                  </a:lnTo>
                  <a:lnTo>
                    <a:pt x="142" y="3"/>
                  </a:lnTo>
                  <a:lnTo>
                    <a:pt x="140" y="2"/>
                  </a:lnTo>
                  <a:lnTo>
                    <a:pt x="138" y="1"/>
                  </a:lnTo>
                  <a:lnTo>
                    <a:pt x="136" y="0"/>
                  </a:lnTo>
                  <a:lnTo>
                    <a:pt x="136" y="0"/>
                  </a:lnTo>
                  <a:close/>
                  <a:moveTo>
                    <a:pt x="140" y="82"/>
                  </a:moveTo>
                  <a:lnTo>
                    <a:pt x="129" y="82"/>
                  </a:lnTo>
                  <a:lnTo>
                    <a:pt x="129" y="82"/>
                  </a:lnTo>
                  <a:lnTo>
                    <a:pt x="124" y="82"/>
                  </a:lnTo>
                  <a:lnTo>
                    <a:pt x="121" y="84"/>
                  </a:lnTo>
                  <a:lnTo>
                    <a:pt x="118" y="86"/>
                  </a:lnTo>
                  <a:lnTo>
                    <a:pt x="116" y="89"/>
                  </a:lnTo>
                  <a:lnTo>
                    <a:pt x="106" y="108"/>
                  </a:lnTo>
                  <a:lnTo>
                    <a:pt x="60" y="108"/>
                  </a:lnTo>
                  <a:lnTo>
                    <a:pt x="51" y="89"/>
                  </a:lnTo>
                  <a:lnTo>
                    <a:pt x="51" y="89"/>
                  </a:lnTo>
                  <a:lnTo>
                    <a:pt x="49" y="86"/>
                  </a:lnTo>
                  <a:lnTo>
                    <a:pt x="45" y="84"/>
                  </a:lnTo>
                  <a:lnTo>
                    <a:pt x="42" y="82"/>
                  </a:lnTo>
                  <a:lnTo>
                    <a:pt x="38" y="82"/>
                  </a:lnTo>
                  <a:lnTo>
                    <a:pt x="27" y="82"/>
                  </a:lnTo>
                  <a:lnTo>
                    <a:pt x="11" y="82"/>
                  </a:lnTo>
                  <a:lnTo>
                    <a:pt x="31" y="7"/>
                  </a:lnTo>
                  <a:lnTo>
                    <a:pt x="136" y="7"/>
                  </a:lnTo>
                  <a:lnTo>
                    <a:pt x="155" y="82"/>
                  </a:lnTo>
                  <a:lnTo>
                    <a:pt x="140"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53" name="Group 15">
            <a:extLst>
              <a:ext uri="{FF2B5EF4-FFF2-40B4-BE49-F238E27FC236}">
                <a16:creationId xmlns:a16="http://schemas.microsoft.com/office/drawing/2014/main" id="{9AF7E26C-3906-4285-B000-DADD44B8587A}"/>
              </a:ext>
            </a:extLst>
          </p:cNvPr>
          <p:cNvGrpSpPr>
            <a:grpSpLocks noChangeAspect="1"/>
          </p:cNvGrpSpPr>
          <p:nvPr/>
        </p:nvGrpSpPr>
        <p:grpSpPr>
          <a:xfrm>
            <a:off x="4033190" y="5956631"/>
            <a:ext cx="275708" cy="252143"/>
            <a:chOff x="6996113" y="1466850"/>
            <a:chExt cx="371475" cy="339725"/>
          </a:xfrm>
          <a:solidFill>
            <a:schemeClr val="bg1"/>
          </a:solidFill>
          <a:effectLst/>
        </p:grpSpPr>
        <p:sp>
          <p:nvSpPr>
            <p:cNvPr id="654" name="Freeform 5">
              <a:extLst>
                <a:ext uri="{FF2B5EF4-FFF2-40B4-BE49-F238E27FC236}">
                  <a16:creationId xmlns:a16="http://schemas.microsoft.com/office/drawing/2014/main" id="{1291C311-11D4-40D1-99DE-E84A43E6497C}"/>
                </a:ext>
              </a:extLst>
            </p:cNvPr>
            <p:cNvSpPr>
              <a:spLocks noEditPoints="1"/>
            </p:cNvSpPr>
            <p:nvPr/>
          </p:nvSpPr>
          <p:spPr bwMode="auto">
            <a:xfrm>
              <a:off x="7119938" y="1466850"/>
              <a:ext cx="247650" cy="92075"/>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5" name="Freeform 6">
              <a:extLst>
                <a:ext uri="{FF2B5EF4-FFF2-40B4-BE49-F238E27FC236}">
                  <a16:creationId xmlns:a16="http://schemas.microsoft.com/office/drawing/2014/main" id="{B99203FE-EA9F-4926-A188-9F5D4F365FBC}"/>
                </a:ext>
              </a:extLst>
            </p:cNvPr>
            <p:cNvSpPr>
              <a:spLocks noEditPoints="1"/>
            </p:cNvSpPr>
            <p:nvPr/>
          </p:nvSpPr>
          <p:spPr bwMode="auto">
            <a:xfrm>
              <a:off x="7119938" y="1589088"/>
              <a:ext cx="247650" cy="93662"/>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6" name="Freeform 7">
              <a:extLst>
                <a:ext uri="{FF2B5EF4-FFF2-40B4-BE49-F238E27FC236}">
                  <a16:creationId xmlns:a16="http://schemas.microsoft.com/office/drawing/2014/main" id="{40F724C4-9D56-4658-A582-B2F2733327A2}"/>
                </a:ext>
              </a:extLst>
            </p:cNvPr>
            <p:cNvSpPr>
              <a:spLocks noEditPoints="1"/>
            </p:cNvSpPr>
            <p:nvPr/>
          </p:nvSpPr>
          <p:spPr bwMode="auto">
            <a:xfrm>
              <a:off x="7119938" y="1712913"/>
              <a:ext cx="247650" cy="93662"/>
            </a:xfrm>
            <a:custGeom>
              <a:avLst/>
              <a:gdLst>
                <a:gd name="T0" fmla="*/ 62 w 64"/>
                <a:gd name="T1" fmla="*/ 24 h 24"/>
                <a:gd name="T2" fmla="*/ 2 w 64"/>
                <a:gd name="T3" fmla="*/ 24 h 24"/>
                <a:gd name="T4" fmla="*/ 0 w 64"/>
                <a:gd name="T5" fmla="*/ 22 h 24"/>
                <a:gd name="T6" fmla="*/ 0 w 64"/>
                <a:gd name="T7" fmla="*/ 2 h 24"/>
                <a:gd name="T8" fmla="*/ 2 w 64"/>
                <a:gd name="T9" fmla="*/ 0 h 24"/>
                <a:gd name="T10" fmla="*/ 62 w 64"/>
                <a:gd name="T11" fmla="*/ 0 h 24"/>
                <a:gd name="T12" fmla="*/ 64 w 64"/>
                <a:gd name="T13" fmla="*/ 2 h 24"/>
                <a:gd name="T14" fmla="*/ 64 w 64"/>
                <a:gd name="T15" fmla="*/ 22 h 24"/>
                <a:gd name="T16" fmla="*/ 62 w 64"/>
                <a:gd name="T17" fmla="*/ 24 h 24"/>
                <a:gd name="T18" fmla="*/ 4 w 64"/>
                <a:gd name="T19" fmla="*/ 20 h 24"/>
                <a:gd name="T20" fmla="*/ 60 w 64"/>
                <a:gd name="T21" fmla="*/ 20 h 24"/>
                <a:gd name="T22" fmla="*/ 60 w 64"/>
                <a:gd name="T23" fmla="*/ 4 h 24"/>
                <a:gd name="T24" fmla="*/ 4 w 64"/>
                <a:gd name="T25" fmla="*/ 4 h 24"/>
                <a:gd name="T26" fmla="*/ 4 w 6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
                  <a:moveTo>
                    <a:pt x="62" y="24"/>
                  </a:moveTo>
                  <a:cubicBezTo>
                    <a:pt x="2" y="24"/>
                    <a:pt x="2" y="24"/>
                    <a:pt x="2" y="24"/>
                  </a:cubicBezTo>
                  <a:cubicBezTo>
                    <a:pt x="1" y="24"/>
                    <a:pt x="0" y="23"/>
                    <a:pt x="0" y="22"/>
                  </a:cubicBezTo>
                  <a:cubicBezTo>
                    <a:pt x="0" y="2"/>
                    <a:pt x="0" y="2"/>
                    <a:pt x="0" y="2"/>
                  </a:cubicBezTo>
                  <a:cubicBezTo>
                    <a:pt x="0" y="1"/>
                    <a:pt x="1" y="0"/>
                    <a:pt x="2" y="0"/>
                  </a:cubicBezTo>
                  <a:cubicBezTo>
                    <a:pt x="62" y="0"/>
                    <a:pt x="62" y="0"/>
                    <a:pt x="62" y="0"/>
                  </a:cubicBezTo>
                  <a:cubicBezTo>
                    <a:pt x="63" y="0"/>
                    <a:pt x="64" y="1"/>
                    <a:pt x="64" y="2"/>
                  </a:cubicBezTo>
                  <a:cubicBezTo>
                    <a:pt x="64" y="22"/>
                    <a:pt x="64" y="22"/>
                    <a:pt x="64" y="22"/>
                  </a:cubicBezTo>
                  <a:cubicBezTo>
                    <a:pt x="64" y="23"/>
                    <a:pt x="63" y="24"/>
                    <a:pt x="62" y="24"/>
                  </a:cubicBezTo>
                  <a:close/>
                  <a:moveTo>
                    <a:pt x="4" y="20"/>
                  </a:moveTo>
                  <a:cubicBezTo>
                    <a:pt x="60" y="20"/>
                    <a:pt x="60" y="20"/>
                    <a:pt x="60" y="20"/>
                  </a:cubicBezTo>
                  <a:cubicBezTo>
                    <a:pt x="60" y="4"/>
                    <a:pt x="60" y="4"/>
                    <a:pt x="6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7" name="Freeform 8">
              <a:extLst>
                <a:ext uri="{FF2B5EF4-FFF2-40B4-BE49-F238E27FC236}">
                  <a16:creationId xmlns:a16="http://schemas.microsoft.com/office/drawing/2014/main" id="{8E28F1DF-5FD6-4D2A-8F65-8C1EB541FB07}"/>
                </a:ext>
              </a:extLst>
            </p:cNvPr>
            <p:cNvSpPr>
              <a:spLocks noEditPoints="1"/>
            </p:cNvSpPr>
            <p:nvPr/>
          </p:nvSpPr>
          <p:spPr bwMode="auto">
            <a:xfrm>
              <a:off x="6996113" y="1466850"/>
              <a:ext cx="93663" cy="92075"/>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8" name="Freeform 9">
              <a:extLst>
                <a:ext uri="{FF2B5EF4-FFF2-40B4-BE49-F238E27FC236}">
                  <a16:creationId xmlns:a16="http://schemas.microsoft.com/office/drawing/2014/main" id="{2F679309-018C-4336-B82E-6B458B06FE14}"/>
                </a:ext>
              </a:extLst>
            </p:cNvPr>
            <p:cNvSpPr>
              <a:spLocks noEditPoints="1"/>
            </p:cNvSpPr>
            <p:nvPr/>
          </p:nvSpPr>
          <p:spPr bwMode="auto">
            <a:xfrm>
              <a:off x="6996113" y="1589088"/>
              <a:ext cx="93663" cy="936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59" name="Freeform 10">
              <a:extLst>
                <a:ext uri="{FF2B5EF4-FFF2-40B4-BE49-F238E27FC236}">
                  <a16:creationId xmlns:a16="http://schemas.microsoft.com/office/drawing/2014/main" id="{F31A20AD-2D8D-403E-9794-0CB2F6F4221C}"/>
                </a:ext>
              </a:extLst>
            </p:cNvPr>
            <p:cNvSpPr>
              <a:spLocks noEditPoints="1"/>
            </p:cNvSpPr>
            <p:nvPr/>
          </p:nvSpPr>
          <p:spPr bwMode="auto">
            <a:xfrm>
              <a:off x="6996113" y="1712913"/>
              <a:ext cx="93663" cy="93662"/>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22 w 24"/>
                <a:gd name="T11" fmla="*/ 0 h 24"/>
                <a:gd name="T12" fmla="*/ 24 w 24"/>
                <a:gd name="T13" fmla="*/ 2 h 24"/>
                <a:gd name="T14" fmla="*/ 24 w 24"/>
                <a:gd name="T15" fmla="*/ 22 h 24"/>
                <a:gd name="T16" fmla="*/ 22 w 24"/>
                <a:gd name="T17" fmla="*/ 24 h 24"/>
                <a:gd name="T18" fmla="*/ 4 w 24"/>
                <a:gd name="T19" fmla="*/ 20 h 24"/>
                <a:gd name="T20" fmla="*/ 20 w 24"/>
                <a:gd name="T21" fmla="*/ 20 h 24"/>
                <a:gd name="T22" fmla="*/ 20 w 24"/>
                <a:gd name="T23" fmla="*/ 4 h 24"/>
                <a:gd name="T24" fmla="*/ 4 w 24"/>
                <a:gd name="T25" fmla="*/ 4 h 24"/>
                <a:gd name="T26" fmla="*/ 4 w 24"/>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22" y="0"/>
                    <a:pt x="22" y="0"/>
                    <a:pt x="22" y="0"/>
                  </a:cubicBezTo>
                  <a:cubicBezTo>
                    <a:pt x="23" y="0"/>
                    <a:pt x="24" y="1"/>
                    <a:pt x="24" y="2"/>
                  </a:cubicBezTo>
                  <a:cubicBezTo>
                    <a:pt x="24" y="22"/>
                    <a:pt x="24" y="22"/>
                    <a:pt x="24" y="22"/>
                  </a:cubicBezTo>
                  <a:cubicBezTo>
                    <a:pt x="24" y="23"/>
                    <a:pt x="23" y="24"/>
                    <a:pt x="22" y="24"/>
                  </a:cubicBezTo>
                  <a:close/>
                  <a:moveTo>
                    <a:pt x="4" y="20"/>
                  </a:moveTo>
                  <a:cubicBezTo>
                    <a:pt x="20" y="20"/>
                    <a:pt x="20" y="20"/>
                    <a:pt x="20" y="20"/>
                  </a:cubicBezTo>
                  <a:cubicBezTo>
                    <a:pt x="20" y="4"/>
                    <a:pt x="20" y="4"/>
                    <a:pt x="20"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68" name="Group 5134">
            <a:extLst>
              <a:ext uri="{FF2B5EF4-FFF2-40B4-BE49-F238E27FC236}">
                <a16:creationId xmlns:a16="http://schemas.microsoft.com/office/drawing/2014/main" id="{7D2CB19E-1BC8-47AF-8D53-81DA5DB6FB71}"/>
              </a:ext>
            </a:extLst>
          </p:cNvPr>
          <p:cNvGrpSpPr>
            <a:grpSpLocks noChangeAspect="1"/>
          </p:cNvGrpSpPr>
          <p:nvPr/>
        </p:nvGrpSpPr>
        <p:grpSpPr>
          <a:xfrm>
            <a:off x="4438917" y="5944848"/>
            <a:ext cx="275708" cy="275708"/>
            <a:chOff x="4386263" y="3243263"/>
            <a:chExt cx="371475" cy="371475"/>
          </a:xfrm>
          <a:solidFill>
            <a:schemeClr val="bg1"/>
          </a:solidFill>
          <a:effectLst/>
        </p:grpSpPr>
        <p:sp>
          <p:nvSpPr>
            <p:cNvPr id="669" name="Freeform 25">
              <a:extLst>
                <a:ext uri="{FF2B5EF4-FFF2-40B4-BE49-F238E27FC236}">
                  <a16:creationId xmlns:a16="http://schemas.microsoft.com/office/drawing/2014/main" id="{760EA597-56DC-4D3C-9607-E29309859B96}"/>
                </a:ext>
              </a:extLst>
            </p:cNvPr>
            <p:cNvSpPr>
              <a:spLocks noEditPoints="1"/>
            </p:cNvSpPr>
            <p:nvPr/>
          </p:nvSpPr>
          <p:spPr bwMode="auto">
            <a:xfrm>
              <a:off x="4386263" y="3243263"/>
              <a:ext cx="371475" cy="371475"/>
            </a:xfrm>
            <a:custGeom>
              <a:avLst/>
              <a:gdLst>
                <a:gd name="T0" fmla="*/ 94 w 96"/>
                <a:gd name="T1" fmla="*/ 96 h 96"/>
                <a:gd name="T2" fmla="*/ 2 w 96"/>
                <a:gd name="T3" fmla="*/ 96 h 96"/>
                <a:gd name="T4" fmla="*/ 0 w 96"/>
                <a:gd name="T5" fmla="*/ 94 h 96"/>
                <a:gd name="T6" fmla="*/ 0 w 96"/>
                <a:gd name="T7" fmla="*/ 2 h 96"/>
                <a:gd name="T8" fmla="*/ 2 w 96"/>
                <a:gd name="T9" fmla="*/ 0 h 96"/>
                <a:gd name="T10" fmla="*/ 94 w 96"/>
                <a:gd name="T11" fmla="*/ 0 h 96"/>
                <a:gd name="T12" fmla="*/ 96 w 96"/>
                <a:gd name="T13" fmla="*/ 2 h 96"/>
                <a:gd name="T14" fmla="*/ 96 w 96"/>
                <a:gd name="T15" fmla="*/ 94 h 96"/>
                <a:gd name="T16" fmla="*/ 94 w 96"/>
                <a:gd name="T17" fmla="*/ 96 h 96"/>
                <a:gd name="T18" fmla="*/ 4 w 96"/>
                <a:gd name="T19" fmla="*/ 92 h 96"/>
                <a:gd name="T20" fmla="*/ 92 w 96"/>
                <a:gd name="T21" fmla="*/ 92 h 96"/>
                <a:gd name="T22" fmla="*/ 92 w 96"/>
                <a:gd name="T23" fmla="*/ 4 h 96"/>
                <a:gd name="T24" fmla="*/ 4 w 96"/>
                <a:gd name="T25" fmla="*/ 4 h 96"/>
                <a:gd name="T26" fmla="*/ 4 w 96"/>
                <a:gd name="T2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96">
                  <a:moveTo>
                    <a:pt x="94" y="96"/>
                  </a:moveTo>
                  <a:cubicBezTo>
                    <a:pt x="2" y="96"/>
                    <a:pt x="2" y="96"/>
                    <a:pt x="2" y="96"/>
                  </a:cubicBezTo>
                  <a:cubicBezTo>
                    <a:pt x="1" y="96"/>
                    <a:pt x="0" y="95"/>
                    <a:pt x="0" y="94"/>
                  </a:cubicBezTo>
                  <a:cubicBezTo>
                    <a:pt x="0" y="2"/>
                    <a:pt x="0" y="2"/>
                    <a:pt x="0" y="2"/>
                  </a:cubicBezTo>
                  <a:cubicBezTo>
                    <a:pt x="0" y="1"/>
                    <a:pt x="1" y="0"/>
                    <a:pt x="2" y="0"/>
                  </a:cubicBezTo>
                  <a:cubicBezTo>
                    <a:pt x="94" y="0"/>
                    <a:pt x="94" y="0"/>
                    <a:pt x="94" y="0"/>
                  </a:cubicBezTo>
                  <a:cubicBezTo>
                    <a:pt x="95" y="0"/>
                    <a:pt x="96" y="1"/>
                    <a:pt x="96" y="2"/>
                  </a:cubicBezTo>
                  <a:cubicBezTo>
                    <a:pt x="96" y="94"/>
                    <a:pt x="96" y="94"/>
                    <a:pt x="96" y="94"/>
                  </a:cubicBezTo>
                  <a:cubicBezTo>
                    <a:pt x="96" y="95"/>
                    <a:pt x="95" y="96"/>
                    <a:pt x="94" y="96"/>
                  </a:cubicBezTo>
                  <a:close/>
                  <a:moveTo>
                    <a:pt x="4" y="92"/>
                  </a:moveTo>
                  <a:cubicBezTo>
                    <a:pt x="92" y="92"/>
                    <a:pt x="92" y="92"/>
                    <a:pt x="92" y="92"/>
                  </a:cubicBezTo>
                  <a:cubicBezTo>
                    <a:pt x="92" y="4"/>
                    <a:pt x="92" y="4"/>
                    <a:pt x="92" y="4"/>
                  </a:cubicBezTo>
                  <a:cubicBezTo>
                    <a:pt x="4" y="4"/>
                    <a:pt x="4" y="4"/>
                    <a:pt x="4" y="4"/>
                  </a:cubicBezTo>
                  <a:lnTo>
                    <a:pt x="4"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0" name="Freeform 26">
              <a:extLst>
                <a:ext uri="{FF2B5EF4-FFF2-40B4-BE49-F238E27FC236}">
                  <a16:creationId xmlns:a16="http://schemas.microsoft.com/office/drawing/2014/main" id="{CA294301-5D95-41D0-8FCC-C4B20F7883D5}"/>
                </a:ext>
              </a:extLst>
            </p:cNvPr>
            <p:cNvSpPr>
              <a:spLocks noEditPoints="1"/>
            </p:cNvSpPr>
            <p:nvPr/>
          </p:nvSpPr>
          <p:spPr bwMode="auto">
            <a:xfrm>
              <a:off x="4432301" y="3289301"/>
              <a:ext cx="279400" cy="109538"/>
            </a:xfrm>
            <a:custGeom>
              <a:avLst/>
              <a:gdLst>
                <a:gd name="T0" fmla="*/ 58 w 72"/>
                <a:gd name="T1" fmla="*/ 28 h 28"/>
                <a:gd name="T2" fmla="*/ 14 w 72"/>
                <a:gd name="T3" fmla="*/ 28 h 28"/>
                <a:gd name="T4" fmla="*/ 0 w 72"/>
                <a:gd name="T5" fmla="*/ 14 h 28"/>
                <a:gd name="T6" fmla="*/ 14 w 72"/>
                <a:gd name="T7" fmla="*/ 0 h 28"/>
                <a:gd name="T8" fmla="*/ 58 w 72"/>
                <a:gd name="T9" fmla="*/ 0 h 28"/>
                <a:gd name="T10" fmla="*/ 72 w 72"/>
                <a:gd name="T11" fmla="*/ 14 h 28"/>
                <a:gd name="T12" fmla="*/ 58 w 72"/>
                <a:gd name="T13" fmla="*/ 28 h 28"/>
                <a:gd name="T14" fmla="*/ 14 w 72"/>
                <a:gd name="T15" fmla="*/ 4 h 28"/>
                <a:gd name="T16" fmla="*/ 4 w 72"/>
                <a:gd name="T17" fmla="*/ 14 h 28"/>
                <a:gd name="T18" fmla="*/ 14 w 72"/>
                <a:gd name="T19" fmla="*/ 24 h 28"/>
                <a:gd name="T20" fmla="*/ 58 w 72"/>
                <a:gd name="T21" fmla="*/ 24 h 28"/>
                <a:gd name="T22" fmla="*/ 68 w 72"/>
                <a:gd name="T23" fmla="*/ 14 h 28"/>
                <a:gd name="T24" fmla="*/ 58 w 72"/>
                <a:gd name="T25" fmla="*/ 4 h 28"/>
                <a:gd name="T26" fmla="*/ 14 w 7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8">
                  <a:moveTo>
                    <a:pt x="58" y="28"/>
                  </a:moveTo>
                  <a:cubicBezTo>
                    <a:pt x="14" y="28"/>
                    <a:pt x="14" y="28"/>
                    <a:pt x="14" y="28"/>
                  </a:cubicBezTo>
                  <a:cubicBezTo>
                    <a:pt x="6" y="28"/>
                    <a:pt x="0" y="22"/>
                    <a:pt x="0" y="14"/>
                  </a:cubicBezTo>
                  <a:cubicBezTo>
                    <a:pt x="0" y="6"/>
                    <a:pt x="6" y="0"/>
                    <a:pt x="14" y="0"/>
                  </a:cubicBezTo>
                  <a:cubicBezTo>
                    <a:pt x="58" y="0"/>
                    <a:pt x="58" y="0"/>
                    <a:pt x="58" y="0"/>
                  </a:cubicBezTo>
                  <a:cubicBezTo>
                    <a:pt x="66" y="0"/>
                    <a:pt x="72" y="6"/>
                    <a:pt x="72" y="14"/>
                  </a:cubicBezTo>
                  <a:cubicBezTo>
                    <a:pt x="72" y="22"/>
                    <a:pt x="66" y="28"/>
                    <a:pt x="58" y="28"/>
                  </a:cubicBezTo>
                  <a:close/>
                  <a:moveTo>
                    <a:pt x="14" y="4"/>
                  </a:moveTo>
                  <a:cubicBezTo>
                    <a:pt x="8" y="4"/>
                    <a:pt x="4" y="8"/>
                    <a:pt x="4" y="14"/>
                  </a:cubicBezTo>
                  <a:cubicBezTo>
                    <a:pt x="4" y="20"/>
                    <a:pt x="8" y="24"/>
                    <a:pt x="14" y="24"/>
                  </a:cubicBezTo>
                  <a:cubicBezTo>
                    <a:pt x="58" y="24"/>
                    <a:pt x="58" y="24"/>
                    <a:pt x="58" y="24"/>
                  </a:cubicBezTo>
                  <a:cubicBezTo>
                    <a:pt x="64" y="24"/>
                    <a:pt x="68" y="20"/>
                    <a:pt x="68" y="14"/>
                  </a:cubicBezTo>
                  <a:cubicBezTo>
                    <a:pt x="68" y="8"/>
                    <a:pt x="64" y="4"/>
                    <a:pt x="58" y="4"/>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1" name="Freeform 27">
              <a:extLst>
                <a:ext uri="{FF2B5EF4-FFF2-40B4-BE49-F238E27FC236}">
                  <a16:creationId xmlns:a16="http://schemas.microsoft.com/office/drawing/2014/main" id="{D4D2C430-1B5A-46E7-AC98-A3E67D98577F}"/>
                </a:ext>
              </a:extLst>
            </p:cNvPr>
            <p:cNvSpPr>
              <a:spLocks noEditPoints="1"/>
            </p:cNvSpPr>
            <p:nvPr/>
          </p:nvSpPr>
          <p:spPr bwMode="auto">
            <a:xfrm>
              <a:off x="4432301" y="3460751"/>
              <a:ext cx="279400" cy="107950"/>
            </a:xfrm>
            <a:custGeom>
              <a:avLst/>
              <a:gdLst>
                <a:gd name="T0" fmla="*/ 58 w 72"/>
                <a:gd name="T1" fmla="*/ 28 h 28"/>
                <a:gd name="T2" fmla="*/ 14 w 72"/>
                <a:gd name="T3" fmla="*/ 28 h 28"/>
                <a:gd name="T4" fmla="*/ 0 w 72"/>
                <a:gd name="T5" fmla="*/ 14 h 28"/>
                <a:gd name="T6" fmla="*/ 14 w 72"/>
                <a:gd name="T7" fmla="*/ 0 h 28"/>
                <a:gd name="T8" fmla="*/ 58 w 72"/>
                <a:gd name="T9" fmla="*/ 0 h 28"/>
                <a:gd name="T10" fmla="*/ 72 w 72"/>
                <a:gd name="T11" fmla="*/ 14 h 28"/>
                <a:gd name="T12" fmla="*/ 58 w 72"/>
                <a:gd name="T13" fmla="*/ 28 h 28"/>
                <a:gd name="T14" fmla="*/ 14 w 72"/>
                <a:gd name="T15" fmla="*/ 4 h 28"/>
                <a:gd name="T16" fmla="*/ 4 w 72"/>
                <a:gd name="T17" fmla="*/ 14 h 28"/>
                <a:gd name="T18" fmla="*/ 14 w 72"/>
                <a:gd name="T19" fmla="*/ 24 h 28"/>
                <a:gd name="T20" fmla="*/ 58 w 72"/>
                <a:gd name="T21" fmla="*/ 24 h 28"/>
                <a:gd name="T22" fmla="*/ 68 w 72"/>
                <a:gd name="T23" fmla="*/ 14 h 28"/>
                <a:gd name="T24" fmla="*/ 58 w 72"/>
                <a:gd name="T25" fmla="*/ 4 h 28"/>
                <a:gd name="T26" fmla="*/ 14 w 72"/>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28">
                  <a:moveTo>
                    <a:pt x="58" y="28"/>
                  </a:moveTo>
                  <a:cubicBezTo>
                    <a:pt x="14" y="28"/>
                    <a:pt x="14" y="28"/>
                    <a:pt x="14" y="28"/>
                  </a:cubicBezTo>
                  <a:cubicBezTo>
                    <a:pt x="6" y="28"/>
                    <a:pt x="0" y="22"/>
                    <a:pt x="0" y="14"/>
                  </a:cubicBezTo>
                  <a:cubicBezTo>
                    <a:pt x="0" y="6"/>
                    <a:pt x="6" y="0"/>
                    <a:pt x="14" y="0"/>
                  </a:cubicBezTo>
                  <a:cubicBezTo>
                    <a:pt x="58" y="0"/>
                    <a:pt x="58" y="0"/>
                    <a:pt x="58" y="0"/>
                  </a:cubicBezTo>
                  <a:cubicBezTo>
                    <a:pt x="66" y="0"/>
                    <a:pt x="72" y="6"/>
                    <a:pt x="72" y="14"/>
                  </a:cubicBezTo>
                  <a:cubicBezTo>
                    <a:pt x="72" y="22"/>
                    <a:pt x="66" y="28"/>
                    <a:pt x="58" y="28"/>
                  </a:cubicBezTo>
                  <a:close/>
                  <a:moveTo>
                    <a:pt x="14" y="4"/>
                  </a:moveTo>
                  <a:cubicBezTo>
                    <a:pt x="8" y="4"/>
                    <a:pt x="4" y="8"/>
                    <a:pt x="4" y="14"/>
                  </a:cubicBezTo>
                  <a:cubicBezTo>
                    <a:pt x="4" y="20"/>
                    <a:pt x="8" y="24"/>
                    <a:pt x="14" y="24"/>
                  </a:cubicBezTo>
                  <a:cubicBezTo>
                    <a:pt x="58" y="24"/>
                    <a:pt x="58" y="24"/>
                    <a:pt x="58" y="24"/>
                  </a:cubicBezTo>
                  <a:cubicBezTo>
                    <a:pt x="64" y="24"/>
                    <a:pt x="68" y="20"/>
                    <a:pt x="68" y="14"/>
                  </a:cubicBezTo>
                  <a:cubicBezTo>
                    <a:pt x="68" y="8"/>
                    <a:pt x="64" y="4"/>
                    <a:pt x="58" y="4"/>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2" name="Freeform 28">
              <a:extLst>
                <a:ext uri="{FF2B5EF4-FFF2-40B4-BE49-F238E27FC236}">
                  <a16:creationId xmlns:a16="http://schemas.microsoft.com/office/drawing/2014/main" id="{65E33A3A-22AB-4108-A31B-32945DBF20B5}"/>
                </a:ext>
              </a:extLst>
            </p:cNvPr>
            <p:cNvSpPr>
              <a:spLocks noEditPoints="1"/>
            </p:cNvSpPr>
            <p:nvPr/>
          </p:nvSpPr>
          <p:spPr bwMode="auto">
            <a:xfrm>
              <a:off x="4432301" y="3289301"/>
              <a:ext cx="109538" cy="10953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3" name="Freeform 29">
              <a:extLst>
                <a:ext uri="{FF2B5EF4-FFF2-40B4-BE49-F238E27FC236}">
                  <a16:creationId xmlns:a16="http://schemas.microsoft.com/office/drawing/2014/main" id="{24179FDB-9194-499E-88C7-8254D056BA5E}"/>
                </a:ext>
              </a:extLst>
            </p:cNvPr>
            <p:cNvSpPr>
              <a:spLocks noEditPoints="1"/>
            </p:cNvSpPr>
            <p:nvPr/>
          </p:nvSpPr>
          <p:spPr bwMode="auto">
            <a:xfrm>
              <a:off x="4603751" y="3460751"/>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78" name="Group 16">
            <a:extLst>
              <a:ext uri="{FF2B5EF4-FFF2-40B4-BE49-F238E27FC236}">
                <a16:creationId xmlns:a16="http://schemas.microsoft.com/office/drawing/2014/main" id="{30E97173-81D1-41F1-A06B-D450FF682C0F}"/>
              </a:ext>
            </a:extLst>
          </p:cNvPr>
          <p:cNvGrpSpPr>
            <a:grpSpLocks noChangeAspect="1"/>
          </p:cNvGrpSpPr>
          <p:nvPr/>
        </p:nvGrpSpPr>
        <p:grpSpPr>
          <a:xfrm>
            <a:off x="4898192" y="5944848"/>
            <a:ext cx="304792" cy="306484"/>
            <a:chOff x="11028363" y="1925638"/>
            <a:chExt cx="285750" cy="287337"/>
          </a:xfrm>
          <a:solidFill>
            <a:schemeClr val="bg1"/>
          </a:solidFill>
          <a:effectLst/>
        </p:grpSpPr>
        <p:sp>
          <p:nvSpPr>
            <p:cNvPr id="679" name="Freeform 210">
              <a:extLst>
                <a:ext uri="{FF2B5EF4-FFF2-40B4-BE49-F238E27FC236}">
                  <a16:creationId xmlns:a16="http://schemas.microsoft.com/office/drawing/2014/main" id="{30C9C7C0-4063-4EAD-8D6A-4BC3F3CF00C6}"/>
                </a:ext>
              </a:extLst>
            </p:cNvPr>
            <p:cNvSpPr>
              <a:spLocks noEditPoints="1"/>
            </p:cNvSpPr>
            <p:nvPr/>
          </p:nvSpPr>
          <p:spPr bwMode="auto">
            <a:xfrm>
              <a:off x="11028363" y="1925638"/>
              <a:ext cx="180975" cy="192088"/>
            </a:xfrm>
            <a:custGeom>
              <a:avLst/>
              <a:gdLst>
                <a:gd name="T0" fmla="*/ 270 w 571"/>
                <a:gd name="T1" fmla="*/ 30 h 601"/>
                <a:gd name="T2" fmla="*/ 51 w 571"/>
                <a:gd name="T3" fmla="*/ 150 h 601"/>
                <a:gd name="T4" fmla="*/ 520 w 571"/>
                <a:gd name="T5" fmla="*/ 150 h 601"/>
                <a:gd name="T6" fmla="*/ 300 w 571"/>
                <a:gd name="T7" fmla="*/ 30 h 601"/>
                <a:gd name="T8" fmla="*/ 520 w 571"/>
                <a:gd name="T9" fmla="*/ 150 h 601"/>
                <a:gd name="T10" fmla="*/ 541 w 571"/>
                <a:gd name="T11" fmla="*/ 254 h 601"/>
                <a:gd name="T12" fmla="*/ 542 w 571"/>
                <a:gd name="T13" fmla="*/ 261 h 601"/>
                <a:gd name="T14" fmla="*/ 545 w 571"/>
                <a:gd name="T15" fmla="*/ 265 h 601"/>
                <a:gd name="T16" fmla="*/ 551 w 571"/>
                <a:gd name="T17" fmla="*/ 268 h 601"/>
                <a:gd name="T18" fmla="*/ 556 w 571"/>
                <a:gd name="T19" fmla="*/ 269 h 601"/>
                <a:gd name="T20" fmla="*/ 561 w 571"/>
                <a:gd name="T21" fmla="*/ 268 h 601"/>
                <a:gd name="T22" fmla="*/ 567 w 571"/>
                <a:gd name="T23" fmla="*/ 265 h 601"/>
                <a:gd name="T24" fmla="*/ 570 w 571"/>
                <a:gd name="T25" fmla="*/ 261 h 601"/>
                <a:gd name="T26" fmla="*/ 571 w 571"/>
                <a:gd name="T27" fmla="*/ 254 h 601"/>
                <a:gd name="T28" fmla="*/ 571 w 571"/>
                <a:gd name="T29" fmla="*/ 167 h 601"/>
                <a:gd name="T30" fmla="*/ 571 w 571"/>
                <a:gd name="T31" fmla="*/ 162 h 601"/>
                <a:gd name="T32" fmla="*/ 568 w 571"/>
                <a:gd name="T33" fmla="*/ 156 h 601"/>
                <a:gd name="T34" fmla="*/ 417 w 571"/>
                <a:gd name="T35" fmla="*/ 5 h 601"/>
                <a:gd name="T36" fmla="*/ 411 w 571"/>
                <a:gd name="T37" fmla="*/ 2 h 601"/>
                <a:gd name="T38" fmla="*/ 406 w 571"/>
                <a:gd name="T39" fmla="*/ 0 h 601"/>
                <a:gd name="T40" fmla="*/ 162 w 571"/>
                <a:gd name="T41" fmla="*/ 0 h 601"/>
                <a:gd name="T42" fmla="*/ 156 w 571"/>
                <a:gd name="T43" fmla="*/ 3 h 601"/>
                <a:gd name="T44" fmla="*/ 4 w 571"/>
                <a:gd name="T45" fmla="*/ 155 h 601"/>
                <a:gd name="T46" fmla="*/ 4 w 571"/>
                <a:gd name="T47" fmla="*/ 155 h 601"/>
                <a:gd name="T48" fmla="*/ 1 w 571"/>
                <a:gd name="T49" fmla="*/ 159 h 601"/>
                <a:gd name="T50" fmla="*/ 1 w 571"/>
                <a:gd name="T51" fmla="*/ 161 h 601"/>
                <a:gd name="T52" fmla="*/ 0 w 571"/>
                <a:gd name="T53" fmla="*/ 164 h 601"/>
                <a:gd name="T54" fmla="*/ 0 w 571"/>
                <a:gd name="T55" fmla="*/ 165 h 601"/>
                <a:gd name="T56" fmla="*/ 0 w 571"/>
                <a:gd name="T57" fmla="*/ 590 h 601"/>
                <a:gd name="T58" fmla="*/ 2 w 571"/>
                <a:gd name="T59" fmla="*/ 595 h 601"/>
                <a:gd name="T60" fmla="*/ 6 w 571"/>
                <a:gd name="T61" fmla="*/ 599 h 601"/>
                <a:gd name="T62" fmla="*/ 12 w 571"/>
                <a:gd name="T63" fmla="*/ 601 h 601"/>
                <a:gd name="T64" fmla="*/ 240 w 571"/>
                <a:gd name="T65" fmla="*/ 601 h 601"/>
                <a:gd name="T66" fmla="*/ 246 w 571"/>
                <a:gd name="T67" fmla="*/ 600 h 601"/>
                <a:gd name="T68" fmla="*/ 251 w 571"/>
                <a:gd name="T69" fmla="*/ 597 h 601"/>
                <a:gd name="T70" fmla="*/ 254 w 571"/>
                <a:gd name="T71" fmla="*/ 593 h 601"/>
                <a:gd name="T72" fmla="*/ 255 w 571"/>
                <a:gd name="T73" fmla="*/ 586 h 601"/>
                <a:gd name="T74" fmla="*/ 254 w 571"/>
                <a:gd name="T75" fmla="*/ 581 h 601"/>
                <a:gd name="T76" fmla="*/ 251 w 571"/>
                <a:gd name="T77" fmla="*/ 576 h 601"/>
                <a:gd name="T78" fmla="*/ 246 w 571"/>
                <a:gd name="T79" fmla="*/ 573 h 601"/>
                <a:gd name="T80" fmla="*/ 240 w 571"/>
                <a:gd name="T81" fmla="*/ 571 h 601"/>
                <a:gd name="T82" fmla="*/ 30 w 571"/>
                <a:gd name="T83" fmla="*/ 18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601">
                  <a:moveTo>
                    <a:pt x="171" y="30"/>
                  </a:moveTo>
                  <a:lnTo>
                    <a:pt x="270" y="30"/>
                  </a:lnTo>
                  <a:lnTo>
                    <a:pt x="270" y="150"/>
                  </a:lnTo>
                  <a:lnTo>
                    <a:pt x="51" y="150"/>
                  </a:lnTo>
                  <a:lnTo>
                    <a:pt x="171" y="30"/>
                  </a:lnTo>
                  <a:close/>
                  <a:moveTo>
                    <a:pt x="520" y="150"/>
                  </a:moveTo>
                  <a:lnTo>
                    <a:pt x="300" y="150"/>
                  </a:lnTo>
                  <a:lnTo>
                    <a:pt x="300" y="30"/>
                  </a:lnTo>
                  <a:lnTo>
                    <a:pt x="400" y="30"/>
                  </a:lnTo>
                  <a:lnTo>
                    <a:pt x="520" y="150"/>
                  </a:lnTo>
                  <a:close/>
                  <a:moveTo>
                    <a:pt x="541" y="180"/>
                  </a:moveTo>
                  <a:lnTo>
                    <a:pt x="541" y="254"/>
                  </a:lnTo>
                  <a:lnTo>
                    <a:pt x="541" y="258"/>
                  </a:lnTo>
                  <a:lnTo>
                    <a:pt x="542" y="261"/>
                  </a:lnTo>
                  <a:lnTo>
                    <a:pt x="543" y="263"/>
                  </a:lnTo>
                  <a:lnTo>
                    <a:pt x="545" y="265"/>
                  </a:lnTo>
                  <a:lnTo>
                    <a:pt x="547" y="267"/>
                  </a:lnTo>
                  <a:lnTo>
                    <a:pt x="551" y="268"/>
                  </a:lnTo>
                  <a:lnTo>
                    <a:pt x="553" y="269"/>
                  </a:lnTo>
                  <a:lnTo>
                    <a:pt x="556" y="269"/>
                  </a:lnTo>
                  <a:lnTo>
                    <a:pt x="559" y="269"/>
                  </a:lnTo>
                  <a:lnTo>
                    <a:pt x="561" y="268"/>
                  </a:lnTo>
                  <a:lnTo>
                    <a:pt x="565" y="267"/>
                  </a:lnTo>
                  <a:lnTo>
                    <a:pt x="567" y="265"/>
                  </a:lnTo>
                  <a:lnTo>
                    <a:pt x="569" y="263"/>
                  </a:lnTo>
                  <a:lnTo>
                    <a:pt x="570" y="261"/>
                  </a:lnTo>
                  <a:lnTo>
                    <a:pt x="571" y="258"/>
                  </a:lnTo>
                  <a:lnTo>
                    <a:pt x="571" y="254"/>
                  </a:lnTo>
                  <a:lnTo>
                    <a:pt x="571" y="168"/>
                  </a:lnTo>
                  <a:lnTo>
                    <a:pt x="571" y="167"/>
                  </a:lnTo>
                  <a:lnTo>
                    <a:pt x="571" y="165"/>
                  </a:lnTo>
                  <a:lnTo>
                    <a:pt x="571" y="162"/>
                  </a:lnTo>
                  <a:lnTo>
                    <a:pt x="570" y="159"/>
                  </a:lnTo>
                  <a:lnTo>
                    <a:pt x="568" y="156"/>
                  </a:lnTo>
                  <a:lnTo>
                    <a:pt x="565" y="154"/>
                  </a:lnTo>
                  <a:lnTo>
                    <a:pt x="417" y="5"/>
                  </a:lnTo>
                  <a:lnTo>
                    <a:pt x="414" y="3"/>
                  </a:lnTo>
                  <a:lnTo>
                    <a:pt x="411" y="2"/>
                  </a:lnTo>
                  <a:lnTo>
                    <a:pt x="408" y="0"/>
                  </a:lnTo>
                  <a:lnTo>
                    <a:pt x="406" y="0"/>
                  </a:lnTo>
                  <a:lnTo>
                    <a:pt x="165" y="0"/>
                  </a:lnTo>
                  <a:lnTo>
                    <a:pt x="162" y="0"/>
                  </a:lnTo>
                  <a:lnTo>
                    <a:pt x="160" y="2"/>
                  </a:lnTo>
                  <a:lnTo>
                    <a:pt x="156" y="3"/>
                  </a:lnTo>
                  <a:lnTo>
                    <a:pt x="154" y="5"/>
                  </a:lnTo>
                  <a:lnTo>
                    <a:pt x="4" y="155"/>
                  </a:lnTo>
                  <a:lnTo>
                    <a:pt x="4" y="155"/>
                  </a:lnTo>
                  <a:lnTo>
                    <a:pt x="4" y="155"/>
                  </a:lnTo>
                  <a:lnTo>
                    <a:pt x="2" y="157"/>
                  </a:lnTo>
                  <a:lnTo>
                    <a:pt x="1" y="159"/>
                  </a:lnTo>
                  <a:lnTo>
                    <a:pt x="1" y="160"/>
                  </a:lnTo>
                  <a:lnTo>
                    <a:pt x="1" y="161"/>
                  </a:lnTo>
                  <a:lnTo>
                    <a:pt x="0" y="162"/>
                  </a:lnTo>
                  <a:lnTo>
                    <a:pt x="0" y="164"/>
                  </a:lnTo>
                  <a:lnTo>
                    <a:pt x="0" y="165"/>
                  </a:lnTo>
                  <a:lnTo>
                    <a:pt x="0" y="165"/>
                  </a:lnTo>
                  <a:lnTo>
                    <a:pt x="0" y="586"/>
                  </a:lnTo>
                  <a:lnTo>
                    <a:pt x="0" y="590"/>
                  </a:lnTo>
                  <a:lnTo>
                    <a:pt x="1" y="593"/>
                  </a:lnTo>
                  <a:lnTo>
                    <a:pt x="2" y="595"/>
                  </a:lnTo>
                  <a:lnTo>
                    <a:pt x="4" y="597"/>
                  </a:lnTo>
                  <a:lnTo>
                    <a:pt x="6" y="599"/>
                  </a:lnTo>
                  <a:lnTo>
                    <a:pt x="9" y="600"/>
                  </a:lnTo>
                  <a:lnTo>
                    <a:pt x="12" y="601"/>
                  </a:lnTo>
                  <a:lnTo>
                    <a:pt x="15" y="601"/>
                  </a:lnTo>
                  <a:lnTo>
                    <a:pt x="240" y="601"/>
                  </a:lnTo>
                  <a:lnTo>
                    <a:pt x="243" y="601"/>
                  </a:lnTo>
                  <a:lnTo>
                    <a:pt x="246" y="600"/>
                  </a:lnTo>
                  <a:lnTo>
                    <a:pt x="249" y="599"/>
                  </a:lnTo>
                  <a:lnTo>
                    <a:pt x="251" y="597"/>
                  </a:lnTo>
                  <a:lnTo>
                    <a:pt x="253" y="595"/>
                  </a:lnTo>
                  <a:lnTo>
                    <a:pt x="254" y="593"/>
                  </a:lnTo>
                  <a:lnTo>
                    <a:pt x="255" y="590"/>
                  </a:lnTo>
                  <a:lnTo>
                    <a:pt x="255" y="586"/>
                  </a:lnTo>
                  <a:lnTo>
                    <a:pt x="255" y="583"/>
                  </a:lnTo>
                  <a:lnTo>
                    <a:pt x="254" y="581"/>
                  </a:lnTo>
                  <a:lnTo>
                    <a:pt x="253" y="578"/>
                  </a:lnTo>
                  <a:lnTo>
                    <a:pt x="251" y="576"/>
                  </a:lnTo>
                  <a:lnTo>
                    <a:pt x="249" y="575"/>
                  </a:lnTo>
                  <a:lnTo>
                    <a:pt x="246" y="573"/>
                  </a:lnTo>
                  <a:lnTo>
                    <a:pt x="243" y="571"/>
                  </a:lnTo>
                  <a:lnTo>
                    <a:pt x="240" y="571"/>
                  </a:lnTo>
                  <a:lnTo>
                    <a:pt x="30" y="571"/>
                  </a:lnTo>
                  <a:lnTo>
                    <a:pt x="30" y="180"/>
                  </a:lnTo>
                  <a:lnTo>
                    <a:pt x="54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211">
              <a:extLst>
                <a:ext uri="{FF2B5EF4-FFF2-40B4-BE49-F238E27FC236}">
                  <a16:creationId xmlns:a16="http://schemas.microsoft.com/office/drawing/2014/main" id="{E660F0A6-1566-4356-94E1-76C0DE80FB06}"/>
                </a:ext>
              </a:extLst>
            </p:cNvPr>
            <p:cNvSpPr>
              <a:spLocks/>
            </p:cNvSpPr>
            <p:nvPr/>
          </p:nvSpPr>
          <p:spPr bwMode="auto">
            <a:xfrm>
              <a:off x="11180763" y="2070100"/>
              <a:ext cx="85725" cy="95250"/>
            </a:xfrm>
            <a:custGeom>
              <a:avLst/>
              <a:gdLst>
                <a:gd name="T0" fmla="*/ 144 w 270"/>
                <a:gd name="T1" fmla="*/ 3 h 301"/>
                <a:gd name="T2" fmla="*/ 138 w 270"/>
                <a:gd name="T3" fmla="*/ 0 h 301"/>
                <a:gd name="T4" fmla="*/ 135 w 270"/>
                <a:gd name="T5" fmla="*/ 0 h 301"/>
                <a:gd name="T6" fmla="*/ 135 w 270"/>
                <a:gd name="T7" fmla="*/ 0 h 301"/>
                <a:gd name="T8" fmla="*/ 132 w 270"/>
                <a:gd name="T9" fmla="*/ 0 h 301"/>
                <a:gd name="T10" fmla="*/ 126 w 270"/>
                <a:gd name="T11" fmla="*/ 3 h 301"/>
                <a:gd name="T12" fmla="*/ 4 w 270"/>
                <a:gd name="T13" fmla="*/ 125 h 301"/>
                <a:gd name="T14" fmla="*/ 1 w 270"/>
                <a:gd name="T15" fmla="*/ 130 h 301"/>
                <a:gd name="T16" fmla="*/ 0 w 270"/>
                <a:gd name="T17" fmla="*/ 135 h 301"/>
                <a:gd name="T18" fmla="*/ 1 w 270"/>
                <a:gd name="T19" fmla="*/ 142 h 301"/>
                <a:gd name="T20" fmla="*/ 4 w 270"/>
                <a:gd name="T21" fmla="*/ 146 h 301"/>
                <a:gd name="T22" fmla="*/ 10 w 270"/>
                <a:gd name="T23" fmla="*/ 149 h 301"/>
                <a:gd name="T24" fmla="*/ 15 w 270"/>
                <a:gd name="T25" fmla="*/ 150 h 301"/>
                <a:gd name="T26" fmla="*/ 20 w 270"/>
                <a:gd name="T27" fmla="*/ 149 h 301"/>
                <a:gd name="T28" fmla="*/ 26 w 270"/>
                <a:gd name="T29" fmla="*/ 146 h 301"/>
                <a:gd name="T30" fmla="*/ 120 w 270"/>
                <a:gd name="T31" fmla="*/ 285 h 301"/>
                <a:gd name="T32" fmla="*/ 121 w 270"/>
                <a:gd name="T33" fmla="*/ 292 h 301"/>
                <a:gd name="T34" fmla="*/ 124 w 270"/>
                <a:gd name="T35" fmla="*/ 296 h 301"/>
                <a:gd name="T36" fmla="*/ 130 w 270"/>
                <a:gd name="T37" fmla="*/ 300 h 301"/>
                <a:gd name="T38" fmla="*/ 135 w 270"/>
                <a:gd name="T39" fmla="*/ 301 h 301"/>
                <a:gd name="T40" fmla="*/ 141 w 270"/>
                <a:gd name="T41" fmla="*/ 299 h 301"/>
                <a:gd name="T42" fmla="*/ 146 w 270"/>
                <a:gd name="T43" fmla="*/ 296 h 301"/>
                <a:gd name="T44" fmla="*/ 149 w 270"/>
                <a:gd name="T45" fmla="*/ 292 h 301"/>
                <a:gd name="T46" fmla="*/ 150 w 270"/>
                <a:gd name="T47" fmla="*/ 286 h 301"/>
                <a:gd name="T48" fmla="*/ 244 w 270"/>
                <a:gd name="T49" fmla="*/ 146 h 301"/>
                <a:gd name="T50" fmla="*/ 250 w 270"/>
                <a:gd name="T51" fmla="*/ 149 h 301"/>
                <a:gd name="T52" fmla="*/ 255 w 270"/>
                <a:gd name="T53" fmla="*/ 150 h 301"/>
                <a:gd name="T54" fmla="*/ 261 w 270"/>
                <a:gd name="T55" fmla="*/ 149 h 301"/>
                <a:gd name="T56" fmla="*/ 266 w 270"/>
                <a:gd name="T57" fmla="*/ 146 h 301"/>
                <a:gd name="T58" fmla="*/ 269 w 270"/>
                <a:gd name="T59" fmla="*/ 141 h 301"/>
                <a:gd name="T60" fmla="*/ 270 w 270"/>
                <a:gd name="T61" fmla="*/ 135 h 301"/>
                <a:gd name="T62" fmla="*/ 269 w 270"/>
                <a:gd name="T63" fmla="*/ 130 h 301"/>
                <a:gd name="T64" fmla="*/ 266 w 270"/>
                <a:gd name="T65" fmla="*/ 12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301">
                  <a:moveTo>
                    <a:pt x="146" y="5"/>
                  </a:moveTo>
                  <a:lnTo>
                    <a:pt x="144" y="3"/>
                  </a:lnTo>
                  <a:lnTo>
                    <a:pt x="140" y="2"/>
                  </a:lnTo>
                  <a:lnTo>
                    <a:pt x="138" y="0"/>
                  </a:lnTo>
                  <a:lnTo>
                    <a:pt x="135" y="0"/>
                  </a:lnTo>
                  <a:lnTo>
                    <a:pt x="135" y="0"/>
                  </a:lnTo>
                  <a:lnTo>
                    <a:pt x="135" y="0"/>
                  </a:lnTo>
                  <a:lnTo>
                    <a:pt x="135" y="0"/>
                  </a:lnTo>
                  <a:lnTo>
                    <a:pt x="135" y="0"/>
                  </a:lnTo>
                  <a:lnTo>
                    <a:pt x="132" y="0"/>
                  </a:lnTo>
                  <a:lnTo>
                    <a:pt x="130" y="2"/>
                  </a:lnTo>
                  <a:lnTo>
                    <a:pt x="126" y="3"/>
                  </a:lnTo>
                  <a:lnTo>
                    <a:pt x="124" y="5"/>
                  </a:lnTo>
                  <a:lnTo>
                    <a:pt x="4" y="125"/>
                  </a:lnTo>
                  <a:lnTo>
                    <a:pt x="2" y="127"/>
                  </a:lnTo>
                  <a:lnTo>
                    <a:pt x="1" y="130"/>
                  </a:lnTo>
                  <a:lnTo>
                    <a:pt x="0" y="133"/>
                  </a:lnTo>
                  <a:lnTo>
                    <a:pt x="0" y="135"/>
                  </a:lnTo>
                  <a:lnTo>
                    <a:pt x="0" y="139"/>
                  </a:lnTo>
                  <a:lnTo>
                    <a:pt x="1" y="142"/>
                  </a:lnTo>
                  <a:lnTo>
                    <a:pt x="2" y="144"/>
                  </a:lnTo>
                  <a:lnTo>
                    <a:pt x="4" y="146"/>
                  </a:lnTo>
                  <a:lnTo>
                    <a:pt x="6" y="148"/>
                  </a:lnTo>
                  <a:lnTo>
                    <a:pt x="10" y="149"/>
                  </a:lnTo>
                  <a:lnTo>
                    <a:pt x="12" y="150"/>
                  </a:lnTo>
                  <a:lnTo>
                    <a:pt x="15" y="150"/>
                  </a:lnTo>
                  <a:lnTo>
                    <a:pt x="18" y="150"/>
                  </a:lnTo>
                  <a:lnTo>
                    <a:pt x="20" y="149"/>
                  </a:lnTo>
                  <a:lnTo>
                    <a:pt x="24" y="148"/>
                  </a:lnTo>
                  <a:lnTo>
                    <a:pt x="26" y="146"/>
                  </a:lnTo>
                  <a:lnTo>
                    <a:pt x="120" y="52"/>
                  </a:lnTo>
                  <a:lnTo>
                    <a:pt x="120" y="285"/>
                  </a:lnTo>
                  <a:lnTo>
                    <a:pt x="120" y="289"/>
                  </a:lnTo>
                  <a:lnTo>
                    <a:pt x="121" y="292"/>
                  </a:lnTo>
                  <a:lnTo>
                    <a:pt x="122" y="294"/>
                  </a:lnTo>
                  <a:lnTo>
                    <a:pt x="124" y="296"/>
                  </a:lnTo>
                  <a:lnTo>
                    <a:pt x="126" y="298"/>
                  </a:lnTo>
                  <a:lnTo>
                    <a:pt x="130" y="300"/>
                  </a:lnTo>
                  <a:lnTo>
                    <a:pt x="132" y="300"/>
                  </a:lnTo>
                  <a:lnTo>
                    <a:pt x="135" y="301"/>
                  </a:lnTo>
                  <a:lnTo>
                    <a:pt x="138" y="300"/>
                  </a:lnTo>
                  <a:lnTo>
                    <a:pt x="141" y="299"/>
                  </a:lnTo>
                  <a:lnTo>
                    <a:pt x="144" y="298"/>
                  </a:lnTo>
                  <a:lnTo>
                    <a:pt x="146" y="296"/>
                  </a:lnTo>
                  <a:lnTo>
                    <a:pt x="148" y="294"/>
                  </a:lnTo>
                  <a:lnTo>
                    <a:pt x="149" y="292"/>
                  </a:lnTo>
                  <a:lnTo>
                    <a:pt x="150" y="289"/>
                  </a:lnTo>
                  <a:lnTo>
                    <a:pt x="150" y="286"/>
                  </a:lnTo>
                  <a:lnTo>
                    <a:pt x="150" y="52"/>
                  </a:lnTo>
                  <a:lnTo>
                    <a:pt x="244" y="146"/>
                  </a:lnTo>
                  <a:lnTo>
                    <a:pt x="247" y="148"/>
                  </a:lnTo>
                  <a:lnTo>
                    <a:pt x="250" y="149"/>
                  </a:lnTo>
                  <a:lnTo>
                    <a:pt x="253" y="150"/>
                  </a:lnTo>
                  <a:lnTo>
                    <a:pt x="255" y="150"/>
                  </a:lnTo>
                  <a:lnTo>
                    <a:pt x="258" y="150"/>
                  </a:lnTo>
                  <a:lnTo>
                    <a:pt x="261" y="149"/>
                  </a:lnTo>
                  <a:lnTo>
                    <a:pt x="264" y="148"/>
                  </a:lnTo>
                  <a:lnTo>
                    <a:pt x="266" y="146"/>
                  </a:lnTo>
                  <a:lnTo>
                    <a:pt x="268" y="144"/>
                  </a:lnTo>
                  <a:lnTo>
                    <a:pt x="269" y="141"/>
                  </a:lnTo>
                  <a:lnTo>
                    <a:pt x="270" y="139"/>
                  </a:lnTo>
                  <a:lnTo>
                    <a:pt x="270" y="135"/>
                  </a:lnTo>
                  <a:lnTo>
                    <a:pt x="270" y="133"/>
                  </a:lnTo>
                  <a:lnTo>
                    <a:pt x="269" y="130"/>
                  </a:lnTo>
                  <a:lnTo>
                    <a:pt x="268" y="128"/>
                  </a:lnTo>
                  <a:lnTo>
                    <a:pt x="266" y="125"/>
                  </a:lnTo>
                  <a:lnTo>
                    <a:pt x="14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212">
              <a:extLst>
                <a:ext uri="{FF2B5EF4-FFF2-40B4-BE49-F238E27FC236}">
                  <a16:creationId xmlns:a16="http://schemas.microsoft.com/office/drawing/2014/main" id="{9878C4C8-C4EC-4B01-9B60-8214F27B0920}"/>
                </a:ext>
              </a:extLst>
            </p:cNvPr>
            <p:cNvSpPr>
              <a:spLocks noEditPoints="1"/>
            </p:cNvSpPr>
            <p:nvPr/>
          </p:nvSpPr>
          <p:spPr bwMode="auto">
            <a:xfrm>
              <a:off x="11133138" y="2032000"/>
              <a:ext cx="180975" cy="180975"/>
            </a:xfrm>
            <a:custGeom>
              <a:avLst/>
              <a:gdLst>
                <a:gd name="T0" fmla="*/ 235 w 572"/>
                <a:gd name="T1" fmla="*/ 536 h 571"/>
                <a:gd name="T2" fmla="*/ 176 w 572"/>
                <a:gd name="T3" fmla="*/ 516 h 571"/>
                <a:gd name="T4" fmla="*/ 123 w 572"/>
                <a:gd name="T5" fmla="*/ 483 h 571"/>
                <a:gd name="T6" fmla="*/ 81 w 572"/>
                <a:gd name="T7" fmla="*/ 439 h 571"/>
                <a:gd name="T8" fmla="*/ 50 w 572"/>
                <a:gd name="T9" fmla="*/ 385 h 571"/>
                <a:gd name="T10" fmla="*/ 33 w 572"/>
                <a:gd name="T11" fmla="*/ 325 h 571"/>
                <a:gd name="T12" fmla="*/ 32 w 572"/>
                <a:gd name="T13" fmla="*/ 260 h 571"/>
                <a:gd name="T14" fmla="*/ 46 w 572"/>
                <a:gd name="T15" fmla="*/ 198 h 571"/>
                <a:gd name="T16" fmla="*/ 74 w 572"/>
                <a:gd name="T17" fmla="*/ 143 h 571"/>
                <a:gd name="T18" fmla="*/ 115 w 572"/>
                <a:gd name="T19" fmla="*/ 97 h 571"/>
                <a:gd name="T20" fmla="*/ 165 w 572"/>
                <a:gd name="T21" fmla="*/ 62 h 571"/>
                <a:gd name="T22" fmla="*/ 223 w 572"/>
                <a:gd name="T23" fmla="*/ 38 h 571"/>
                <a:gd name="T24" fmla="*/ 286 w 572"/>
                <a:gd name="T25" fmla="*/ 30 h 571"/>
                <a:gd name="T26" fmla="*/ 350 w 572"/>
                <a:gd name="T27" fmla="*/ 38 h 571"/>
                <a:gd name="T28" fmla="*/ 408 w 572"/>
                <a:gd name="T29" fmla="*/ 62 h 571"/>
                <a:gd name="T30" fmla="*/ 457 w 572"/>
                <a:gd name="T31" fmla="*/ 97 h 571"/>
                <a:gd name="T32" fmla="*/ 498 w 572"/>
                <a:gd name="T33" fmla="*/ 143 h 571"/>
                <a:gd name="T34" fmla="*/ 526 w 572"/>
                <a:gd name="T35" fmla="*/ 198 h 571"/>
                <a:gd name="T36" fmla="*/ 540 w 572"/>
                <a:gd name="T37" fmla="*/ 260 h 571"/>
                <a:gd name="T38" fmla="*/ 539 w 572"/>
                <a:gd name="T39" fmla="*/ 325 h 571"/>
                <a:gd name="T40" fmla="*/ 522 w 572"/>
                <a:gd name="T41" fmla="*/ 385 h 571"/>
                <a:gd name="T42" fmla="*/ 491 w 572"/>
                <a:gd name="T43" fmla="*/ 439 h 571"/>
                <a:gd name="T44" fmla="*/ 449 w 572"/>
                <a:gd name="T45" fmla="*/ 483 h 571"/>
                <a:gd name="T46" fmla="*/ 396 w 572"/>
                <a:gd name="T47" fmla="*/ 516 h 571"/>
                <a:gd name="T48" fmla="*/ 337 w 572"/>
                <a:gd name="T49" fmla="*/ 536 h 571"/>
                <a:gd name="T50" fmla="*/ 286 w 572"/>
                <a:gd name="T51" fmla="*/ 541 h 571"/>
                <a:gd name="T52" fmla="*/ 228 w 572"/>
                <a:gd name="T53" fmla="*/ 6 h 571"/>
                <a:gd name="T54" fmla="*/ 163 w 572"/>
                <a:gd name="T55" fmla="*/ 28 h 571"/>
                <a:gd name="T56" fmla="*/ 105 w 572"/>
                <a:gd name="T57" fmla="*/ 66 h 571"/>
                <a:gd name="T58" fmla="*/ 57 w 572"/>
                <a:gd name="T59" fmla="*/ 115 h 571"/>
                <a:gd name="T60" fmla="*/ 22 w 572"/>
                <a:gd name="T61" fmla="*/ 175 h 571"/>
                <a:gd name="T62" fmla="*/ 4 w 572"/>
                <a:gd name="T63" fmla="*/ 243 h 571"/>
                <a:gd name="T64" fmla="*/ 2 w 572"/>
                <a:gd name="T65" fmla="*/ 315 h 571"/>
                <a:gd name="T66" fmla="*/ 18 w 572"/>
                <a:gd name="T67" fmla="*/ 384 h 571"/>
                <a:gd name="T68" fmla="*/ 49 w 572"/>
                <a:gd name="T69" fmla="*/ 445 h 571"/>
                <a:gd name="T70" fmla="*/ 94 w 572"/>
                <a:gd name="T71" fmla="*/ 498 h 571"/>
                <a:gd name="T72" fmla="*/ 150 w 572"/>
                <a:gd name="T73" fmla="*/ 537 h 571"/>
                <a:gd name="T74" fmla="*/ 215 w 572"/>
                <a:gd name="T75" fmla="*/ 563 h 571"/>
                <a:gd name="T76" fmla="*/ 286 w 572"/>
                <a:gd name="T77" fmla="*/ 571 h 571"/>
                <a:gd name="T78" fmla="*/ 358 w 572"/>
                <a:gd name="T79" fmla="*/ 563 h 571"/>
                <a:gd name="T80" fmla="*/ 422 w 572"/>
                <a:gd name="T81" fmla="*/ 537 h 571"/>
                <a:gd name="T82" fmla="*/ 478 w 572"/>
                <a:gd name="T83" fmla="*/ 498 h 571"/>
                <a:gd name="T84" fmla="*/ 523 w 572"/>
                <a:gd name="T85" fmla="*/ 445 h 571"/>
                <a:gd name="T86" fmla="*/ 555 w 572"/>
                <a:gd name="T87" fmla="*/ 384 h 571"/>
                <a:gd name="T88" fmla="*/ 570 w 572"/>
                <a:gd name="T89" fmla="*/ 315 h 571"/>
                <a:gd name="T90" fmla="*/ 569 w 572"/>
                <a:gd name="T91" fmla="*/ 243 h 571"/>
                <a:gd name="T92" fmla="*/ 550 w 572"/>
                <a:gd name="T93" fmla="*/ 175 h 571"/>
                <a:gd name="T94" fmla="*/ 515 w 572"/>
                <a:gd name="T95" fmla="*/ 115 h 571"/>
                <a:gd name="T96" fmla="*/ 468 w 572"/>
                <a:gd name="T97" fmla="*/ 66 h 571"/>
                <a:gd name="T98" fmla="*/ 410 w 572"/>
                <a:gd name="T99" fmla="*/ 28 h 571"/>
                <a:gd name="T100" fmla="*/ 344 w 572"/>
                <a:gd name="T101" fmla="*/ 6 h 571"/>
                <a:gd name="T102" fmla="*/ 286 w 572"/>
                <a:gd name="T103"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2" h="571">
                  <a:moveTo>
                    <a:pt x="286" y="541"/>
                  </a:moveTo>
                  <a:lnTo>
                    <a:pt x="273" y="540"/>
                  </a:lnTo>
                  <a:lnTo>
                    <a:pt x="260" y="540"/>
                  </a:lnTo>
                  <a:lnTo>
                    <a:pt x="247" y="538"/>
                  </a:lnTo>
                  <a:lnTo>
                    <a:pt x="235" y="536"/>
                  </a:lnTo>
                  <a:lnTo>
                    <a:pt x="223" y="533"/>
                  </a:lnTo>
                  <a:lnTo>
                    <a:pt x="210" y="530"/>
                  </a:lnTo>
                  <a:lnTo>
                    <a:pt x="198" y="525"/>
                  </a:lnTo>
                  <a:lnTo>
                    <a:pt x="186" y="521"/>
                  </a:lnTo>
                  <a:lnTo>
                    <a:pt x="176" y="516"/>
                  </a:lnTo>
                  <a:lnTo>
                    <a:pt x="165" y="510"/>
                  </a:lnTo>
                  <a:lnTo>
                    <a:pt x="154" y="504"/>
                  </a:lnTo>
                  <a:lnTo>
                    <a:pt x="144" y="498"/>
                  </a:lnTo>
                  <a:lnTo>
                    <a:pt x="133" y="490"/>
                  </a:lnTo>
                  <a:lnTo>
                    <a:pt x="123" y="483"/>
                  </a:lnTo>
                  <a:lnTo>
                    <a:pt x="115" y="475"/>
                  </a:lnTo>
                  <a:lnTo>
                    <a:pt x="106" y="466"/>
                  </a:lnTo>
                  <a:lnTo>
                    <a:pt x="97" y="458"/>
                  </a:lnTo>
                  <a:lnTo>
                    <a:pt x="89" y="448"/>
                  </a:lnTo>
                  <a:lnTo>
                    <a:pt x="81" y="439"/>
                  </a:lnTo>
                  <a:lnTo>
                    <a:pt x="74" y="429"/>
                  </a:lnTo>
                  <a:lnTo>
                    <a:pt x="67" y="418"/>
                  </a:lnTo>
                  <a:lnTo>
                    <a:pt x="61" y="408"/>
                  </a:lnTo>
                  <a:lnTo>
                    <a:pt x="56" y="397"/>
                  </a:lnTo>
                  <a:lnTo>
                    <a:pt x="50" y="385"/>
                  </a:lnTo>
                  <a:lnTo>
                    <a:pt x="46" y="373"/>
                  </a:lnTo>
                  <a:lnTo>
                    <a:pt x="42" y="361"/>
                  </a:lnTo>
                  <a:lnTo>
                    <a:pt x="39" y="350"/>
                  </a:lnTo>
                  <a:lnTo>
                    <a:pt x="35" y="337"/>
                  </a:lnTo>
                  <a:lnTo>
                    <a:pt x="33" y="325"/>
                  </a:lnTo>
                  <a:lnTo>
                    <a:pt x="32" y="312"/>
                  </a:lnTo>
                  <a:lnTo>
                    <a:pt x="31" y="299"/>
                  </a:lnTo>
                  <a:lnTo>
                    <a:pt x="31" y="285"/>
                  </a:lnTo>
                  <a:lnTo>
                    <a:pt x="31" y="273"/>
                  </a:lnTo>
                  <a:lnTo>
                    <a:pt x="32" y="260"/>
                  </a:lnTo>
                  <a:lnTo>
                    <a:pt x="33" y="247"/>
                  </a:lnTo>
                  <a:lnTo>
                    <a:pt x="35" y="234"/>
                  </a:lnTo>
                  <a:lnTo>
                    <a:pt x="39" y="222"/>
                  </a:lnTo>
                  <a:lnTo>
                    <a:pt x="42" y="209"/>
                  </a:lnTo>
                  <a:lnTo>
                    <a:pt x="46" y="198"/>
                  </a:lnTo>
                  <a:lnTo>
                    <a:pt x="50" y="187"/>
                  </a:lnTo>
                  <a:lnTo>
                    <a:pt x="56" y="175"/>
                  </a:lnTo>
                  <a:lnTo>
                    <a:pt x="61" y="164"/>
                  </a:lnTo>
                  <a:lnTo>
                    <a:pt x="67" y="154"/>
                  </a:lnTo>
                  <a:lnTo>
                    <a:pt x="74" y="143"/>
                  </a:lnTo>
                  <a:lnTo>
                    <a:pt x="81" y="133"/>
                  </a:lnTo>
                  <a:lnTo>
                    <a:pt x="89" y="124"/>
                  </a:lnTo>
                  <a:lnTo>
                    <a:pt x="97" y="114"/>
                  </a:lnTo>
                  <a:lnTo>
                    <a:pt x="106" y="105"/>
                  </a:lnTo>
                  <a:lnTo>
                    <a:pt x="115" y="97"/>
                  </a:lnTo>
                  <a:lnTo>
                    <a:pt x="123" y="88"/>
                  </a:lnTo>
                  <a:lnTo>
                    <a:pt x="133" y="81"/>
                  </a:lnTo>
                  <a:lnTo>
                    <a:pt x="144" y="74"/>
                  </a:lnTo>
                  <a:lnTo>
                    <a:pt x="154" y="67"/>
                  </a:lnTo>
                  <a:lnTo>
                    <a:pt x="165" y="62"/>
                  </a:lnTo>
                  <a:lnTo>
                    <a:pt x="176" y="55"/>
                  </a:lnTo>
                  <a:lnTo>
                    <a:pt x="186" y="50"/>
                  </a:lnTo>
                  <a:lnTo>
                    <a:pt x="198" y="45"/>
                  </a:lnTo>
                  <a:lnTo>
                    <a:pt x="210" y="41"/>
                  </a:lnTo>
                  <a:lnTo>
                    <a:pt x="223" y="38"/>
                  </a:lnTo>
                  <a:lnTo>
                    <a:pt x="235" y="36"/>
                  </a:lnTo>
                  <a:lnTo>
                    <a:pt x="247" y="33"/>
                  </a:lnTo>
                  <a:lnTo>
                    <a:pt x="260" y="32"/>
                  </a:lnTo>
                  <a:lnTo>
                    <a:pt x="273" y="30"/>
                  </a:lnTo>
                  <a:lnTo>
                    <a:pt x="286" y="30"/>
                  </a:lnTo>
                  <a:lnTo>
                    <a:pt x="299" y="30"/>
                  </a:lnTo>
                  <a:lnTo>
                    <a:pt x="312" y="32"/>
                  </a:lnTo>
                  <a:lnTo>
                    <a:pt x="325" y="33"/>
                  </a:lnTo>
                  <a:lnTo>
                    <a:pt x="337" y="36"/>
                  </a:lnTo>
                  <a:lnTo>
                    <a:pt x="350" y="38"/>
                  </a:lnTo>
                  <a:lnTo>
                    <a:pt x="362" y="41"/>
                  </a:lnTo>
                  <a:lnTo>
                    <a:pt x="374" y="45"/>
                  </a:lnTo>
                  <a:lnTo>
                    <a:pt x="386" y="50"/>
                  </a:lnTo>
                  <a:lnTo>
                    <a:pt x="396" y="55"/>
                  </a:lnTo>
                  <a:lnTo>
                    <a:pt x="408" y="62"/>
                  </a:lnTo>
                  <a:lnTo>
                    <a:pt x="419" y="67"/>
                  </a:lnTo>
                  <a:lnTo>
                    <a:pt x="428" y="74"/>
                  </a:lnTo>
                  <a:lnTo>
                    <a:pt x="439" y="81"/>
                  </a:lnTo>
                  <a:lnTo>
                    <a:pt x="449" y="88"/>
                  </a:lnTo>
                  <a:lnTo>
                    <a:pt x="457" y="97"/>
                  </a:lnTo>
                  <a:lnTo>
                    <a:pt x="467" y="105"/>
                  </a:lnTo>
                  <a:lnTo>
                    <a:pt x="476" y="114"/>
                  </a:lnTo>
                  <a:lnTo>
                    <a:pt x="483" y="124"/>
                  </a:lnTo>
                  <a:lnTo>
                    <a:pt x="491" y="133"/>
                  </a:lnTo>
                  <a:lnTo>
                    <a:pt x="498" y="143"/>
                  </a:lnTo>
                  <a:lnTo>
                    <a:pt x="505" y="154"/>
                  </a:lnTo>
                  <a:lnTo>
                    <a:pt x="511" y="164"/>
                  </a:lnTo>
                  <a:lnTo>
                    <a:pt x="516" y="175"/>
                  </a:lnTo>
                  <a:lnTo>
                    <a:pt x="522" y="187"/>
                  </a:lnTo>
                  <a:lnTo>
                    <a:pt x="526" y="198"/>
                  </a:lnTo>
                  <a:lnTo>
                    <a:pt x="530" y="209"/>
                  </a:lnTo>
                  <a:lnTo>
                    <a:pt x="533" y="222"/>
                  </a:lnTo>
                  <a:lnTo>
                    <a:pt x="537" y="234"/>
                  </a:lnTo>
                  <a:lnTo>
                    <a:pt x="539" y="247"/>
                  </a:lnTo>
                  <a:lnTo>
                    <a:pt x="540" y="260"/>
                  </a:lnTo>
                  <a:lnTo>
                    <a:pt x="541" y="273"/>
                  </a:lnTo>
                  <a:lnTo>
                    <a:pt x="542" y="285"/>
                  </a:lnTo>
                  <a:lnTo>
                    <a:pt x="541" y="299"/>
                  </a:lnTo>
                  <a:lnTo>
                    <a:pt x="540" y="312"/>
                  </a:lnTo>
                  <a:lnTo>
                    <a:pt x="539" y="325"/>
                  </a:lnTo>
                  <a:lnTo>
                    <a:pt x="537" y="337"/>
                  </a:lnTo>
                  <a:lnTo>
                    <a:pt x="533" y="350"/>
                  </a:lnTo>
                  <a:lnTo>
                    <a:pt x="530" y="361"/>
                  </a:lnTo>
                  <a:lnTo>
                    <a:pt x="526" y="373"/>
                  </a:lnTo>
                  <a:lnTo>
                    <a:pt x="522" y="385"/>
                  </a:lnTo>
                  <a:lnTo>
                    <a:pt x="516" y="397"/>
                  </a:lnTo>
                  <a:lnTo>
                    <a:pt x="511" y="408"/>
                  </a:lnTo>
                  <a:lnTo>
                    <a:pt x="505" y="418"/>
                  </a:lnTo>
                  <a:lnTo>
                    <a:pt x="498" y="429"/>
                  </a:lnTo>
                  <a:lnTo>
                    <a:pt x="491" y="439"/>
                  </a:lnTo>
                  <a:lnTo>
                    <a:pt x="483" y="448"/>
                  </a:lnTo>
                  <a:lnTo>
                    <a:pt x="476" y="458"/>
                  </a:lnTo>
                  <a:lnTo>
                    <a:pt x="467" y="466"/>
                  </a:lnTo>
                  <a:lnTo>
                    <a:pt x="457" y="475"/>
                  </a:lnTo>
                  <a:lnTo>
                    <a:pt x="449" y="483"/>
                  </a:lnTo>
                  <a:lnTo>
                    <a:pt x="439" y="490"/>
                  </a:lnTo>
                  <a:lnTo>
                    <a:pt x="428" y="498"/>
                  </a:lnTo>
                  <a:lnTo>
                    <a:pt x="419" y="504"/>
                  </a:lnTo>
                  <a:lnTo>
                    <a:pt x="408" y="510"/>
                  </a:lnTo>
                  <a:lnTo>
                    <a:pt x="396" y="516"/>
                  </a:lnTo>
                  <a:lnTo>
                    <a:pt x="386" y="521"/>
                  </a:lnTo>
                  <a:lnTo>
                    <a:pt x="374" y="525"/>
                  </a:lnTo>
                  <a:lnTo>
                    <a:pt x="362" y="530"/>
                  </a:lnTo>
                  <a:lnTo>
                    <a:pt x="350" y="533"/>
                  </a:lnTo>
                  <a:lnTo>
                    <a:pt x="337" y="536"/>
                  </a:lnTo>
                  <a:lnTo>
                    <a:pt x="325" y="538"/>
                  </a:lnTo>
                  <a:lnTo>
                    <a:pt x="312" y="540"/>
                  </a:lnTo>
                  <a:lnTo>
                    <a:pt x="299" y="541"/>
                  </a:lnTo>
                  <a:lnTo>
                    <a:pt x="286" y="541"/>
                  </a:lnTo>
                  <a:lnTo>
                    <a:pt x="286" y="541"/>
                  </a:lnTo>
                  <a:close/>
                  <a:moveTo>
                    <a:pt x="286" y="0"/>
                  </a:moveTo>
                  <a:lnTo>
                    <a:pt x="271" y="0"/>
                  </a:lnTo>
                  <a:lnTo>
                    <a:pt x="257" y="2"/>
                  </a:lnTo>
                  <a:lnTo>
                    <a:pt x="243" y="4"/>
                  </a:lnTo>
                  <a:lnTo>
                    <a:pt x="228" y="6"/>
                  </a:lnTo>
                  <a:lnTo>
                    <a:pt x="215" y="9"/>
                  </a:lnTo>
                  <a:lnTo>
                    <a:pt x="201" y="13"/>
                  </a:lnTo>
                  <a:lnTo>
                    <a:pt x="189" y="18"/>
                  </a:lnTo>
                  <a:lnTo>
                    <a:pt x="175" y="23"/>
                  </a:lnTo>
                  <a:lnTo>
                    <a:pt x="163" y="28"/>
                  </a:lnTo>
                  <a:lnTo>
                    <a:pt x="150" y="35"/>
                  </a:lnTo>
                  <a:lnTo>
                    <a:pt x="138" y="41"/>
                  </a:lnTo>
                  <a:lnTo>
                    <a:pt x="126" y="49"/>
                  </a:lnTo>
                  <a:lnTo>
                    <a:pt x="116" y="57"/>
                  </a:lnTo>
                  <a:lnTo>
                    <a:pt x="105" y="66"/>
                  </a:lnTo>
                  <a:lnTo>
                    <a:pt x="94" y="74"/>
                  </a:lnTo>
                  <a:lnTo>
                    <a:pt x="85" y="84"/>
                  </a:lnTo>
                  <a:lnTo>
                    <a:pt x="75" y="94"/>
                  </a:lnTo>
                  <a:lnTo>
                    <a:pt x="65" y="104"/>
                  </a:lnTo>
                  <a:lnTo>
                    <a:pt x="57" y="115"/>
                  </a:lnTo>
                  <a:lnTo>
                    <a:pt x="49" y="126"/>
                  </a:lnTo>
                  <a:lnTo>
                    <a:pt x="42" y="138"/>
                  </a:lnTo>
                  <a:lnTo>
                    <a:pt x="35" y="149"/>
                  </a:lnTo>
                  <a:lnTo>
                    <a:pt x="29" y="162"/>
                  </a:lnTo>
                  <a:lnTo>
                    <a:pt x="22" y="175"/>
                  </a:lnTo>
                  <a:lnTo>
                    <a:pt x="18" y="188"/>
                  </a:lnTo>
                  <a:lnTo>
                    <a:pt x="13" y="201"/>
                  </a:lnTo>
                  <a:lnTo>
                    <a:pt x="10" y="215"/>
                  </a:lnTo>
                  <a:lnTo>
                    <a:pt x="6" y="229"/>
                  </a:lnTo>
                  <a:lnTo>
                    <a:pt x="4" y="243"/>
                  </a:lnTo>
                  <a:lnTo>
                    <a:pt x="2" y="257"/>
                  </a:lnTo>
                  <a:lnTo>
                    <a:pt x="1" y="271"/>
                  </a:lnTo>
                  <a:lnTo>
                    <a:pt x="0" y="285"/>
                  </a:lnTo>
                  <a:lnTo>
                    <a:pt x="1" y="300"/>
                  </a:lnTo>
                  <a:lnTo>
                    <a:pt x="2" y="315"/>
                  </a:lnTo>
                  <a:lnTo>
                    <a:pt x="4" y="329"/>
                  </a:lnTo>
                  <a:lnTo>
                    <a:pt x="6" y="343"/>
                  </a:lnTo>
                  <a:lnTo>
                    <a:pt x="10" y="357"/>
                  </a:lnTo>
                  <a:lnTo>
                    <a:pt x="13" y="371"/>
                  </a:lnTo>
                  <a:lnTo>
                    <a:pt x="18" y="384"/>
                  </a:lnTo>
                  <a:lnTo>
                    <a:pt x="22" y="397"/>
                  </a:lnTo>
                  <a:lnTo>
                    <a:pt x="29" y="410"/>
                  </a:lnTo>
                  <a:lnTo>
                    <a:pt x="35" y="421"/>
                  </a:lnTo>
                  <a:lnTo>
                    <a:pt x="42" y="433"/>
                  </a:lnTo>
                  <a:lnTo>
                    <a:pt x="49" y="445"/>
                  </a:lnTo>
                  <a:lnTo>
                    <a:pt x="57" y="457"/>
                  </a:lnTo>
                  <a:lnTo>
                    <a:pt x="65" y="468"/>
                  </a:lnTo>
                  <a:lnTo>
                    <a:pt x="75" y="478"/>
                  </a:lnTo>
                  <a:lnTo>
                    <a:pt x="85" y="488"/>
                  </a:lnTo>
                  <a:lnTo>
                    <a:pt x="94" y="498"/>
                  </a:lnTo>
                  <a:lnTo>
                    <a:pt x="105" y="506"/>
                  </a:lnTo>
                  <a:lnTo>
                    <a:pt x="116" y="515"/>
                  </a:lnTo>
                  <a:lnTo>
                    <a:pt x="126" y="522"/>
                  </a:lnTo>
                  <a:lnTo>
                    <a:pt x="138" y="530"/>
                  </a:lnTo>
                  <a:lnTo>
                    <a:pt x="150" y="537"/>
                  </a:lnTo>
                  <a:lnTo>
                    <a:pt x="163" y="544"/>
                  </a:lnTo>
                  <a:lnTo>
                    <a:pt x="175" y="549"/>
                  </a:lnTo>
                  <a:lnTo>
                    <a:pt x="189" y="554"/>
                  </a:lnTo>
                  <a:lnTo>
                    <a:pt x="201" y="559"/>
                  </a:lnTo>
                  <a:lnTo>
                    <a:pt x="215" y="563"/>
                  </a:lnTo>
                  <a:lnTo>
                    <a:pt x="228" y="566"/>
                  </a:lnTo>
                  <a:lnTo>
                    <a:pt x="243" y="568"/>
                  </a:lnTo>
                  <a:lnTo>
                    <a:pt x="257" y="570"/>
                  </a:lnTo>
                  <a:lnTo>
                    <a:pt x="271" y="571"/>
                  </a:lnTo>
                  <a:lnTo>
                    <a:pt x="286" y="571"/>
                  </a:lnTo>
                  <a:lnTo>
                    <a:pt x="301" y="571"/>
                  </a:lnTo>
                  <a:lnTo>
                    <a:pt x="315" y="570"/>
                  </a:lnTo>
                  <a:lnTo>
                    <a:pt x="330" y="568"/>
                  </a:lnTo>
                  <a:lnTo>
                    <a:pt x="344" y="566"/>
                  </a:lnTo>
                  <a:lnTo>
                    <a:pt x="358" y="563"/>
                  </a:lnTo>
                  <a:lnTo>
                    <a:pt x="371" y="559"/>
                  </a:lnTo>
                  <a:lnTo>
                    <a:pt x="385" y="554"/>
                  </a:lnTo>
                  <a:lnTo>
                    <a:pt x="397" y="549"/>
                  </a:lnTo>
                  <a:lnTo>
                    <a:pt x="410" y="544"/>
                  </a:lnTo>
                  <a:lnTo>
                    <a:pt x="422" y="537"/>
                  </a:lnTo>
                  <a:lnTo>
                    <a:pt x="434" y="530"/>
                  </a:lnTo>
                  <a:lnTo>
                    <a:pt x="446" y="522"/>
                  </a:lnTo>
                  <a:lnTo>
                    <a:pt x="457" y="515"/>
                  </a:lnTo>
                  <a:lnTo>
                    <a:pt x="468" y="506"/>
                  </a:lnTo>
                  <a:lnTo>
                    <a:pt x="478" y="498"/>
                  </a:lnTo>
                  <a:lnTo>
                    <a:pt x="488" y="488"/>
                  </a:lnTo>
                  <a:lnTo>
                    <a:pt x="497" y="478"/>
                  </a:lnTo>
                  <a:lnTo>
                    <a:pt x="507" y="468"/>
                  </a:lnTo>
                  <a:lnTo>
                    <a:pt x="515" y="457"/>
                  </a:lnTo>
                  <a:lnTo>
                    <a:pt x="523" y="445"/>
                  </a:lnTo>
                  <a:lnTo>
                    <a:pt x="530" y="433"/>
                  </a:lnTo>
                  <a:lnTo>
                    <a:pt x="538" y="421"/>
                  </a:lnTo>
                  <a:lnTo>
                    <a:pt x="543" y="410"/>
                  </a:lnTo>
                  <a:lnTo>
                    <a:pt x="550" y="397"/>
                  </a:lnTo>
                  <a:lnTo>
                    <a:pt x="555" y="384"/>
                  </a:lnTo>
                  <a:lnTo>
                    <a:pt x="559" y="371"/>
                  </a:lnTo>
                  <a:lnTo>
                    <a:pt x="562" y="357"/>
                  </a:lnTo>
                  <a:lnTo>
                    <a:pt x="566" y="343"/>
                  </a:lnTo>
                  <a:lnTo>
                    <a:pt x="569" y="329"/>
                  </a:lnTo>
                  <a:lnTo>
                    <a:pt x="570" y="315"/>
                  </a:lnTo>
                  <a:lnTo>
                    <a:pt x="571" y="300"/>
                  </a:lnTo>
                  <a:lnTo>
                    <a:pt x="572" y="285"/>
                  </a:lnTo>
                  <a:lnTo>
                    <a:pt x="571" y="271"/>
                  </a:lnTo>
                  <a:lnTo>
                    <a:pt x="570" y="257"/>
                  </a:lnTo>
                  <a:lnTo>
                    <a:pt x="569" y="243"/>
                  </a:lnTo>
                  <a:lnTo>
                    <a:pt x="566" y="229"/>
                  </a:lnTo>
                  <a:lnTo>
                    <a:pt x="562" y="215"/>
                  </a:lnTo>
                  <a:lnTo>
                    <a:pt x="559" y="201"/>
                  </a:lnTo>
                  <a:lnTo>
                    <a:pt x="555" y="188"/>
                  </a:lnTo>
                  <a:lnTo>
                    <a:pt x="550" y="175"/>
                  </a:lnTo>
                  <a:lnTo>
                    <a:pt x="543" y="162"/>
                  </a:lnTo>
                  <a:lnTo>
                    <a:pt x="538" y="149"/>
                  </a:lnTo>
                  <a:lnTo>
                    <a:pt x="530" y="138"/>
                  </a:lnTo>
                  <a:lnTo>
                    <a:pt x="523" y="126"/>
                  </a:lnTo>
                  <a:lnTo>
                    <a:pt x="515" y="115"/>
                  </a:lnTo>
                  <a:lnTo>
                    <a:pt x="507" y="104"/>
                  </a:lnTo>
                  <a:lnTo>
                    <a:pt x="497" y="94"/>
                  </a:lnTo>
                  <a:lnTo>
                    <a:pt x="488" y="84"/>
                  </a:lnTo>
                  <a:lnTo>
                    <a:pt x="478" y="74"/>
                  </a:lnTo>
                  <a:lnTo>
                    <a:pt x="468" y="66"/>
                  </a:lnTo>
                  <a:lnTo>
                    <a:pt x="457" y="57"/>
                  </a:lnTo>
                  <a:lnTo>
                    <a:pt x="446" y="49"/>
                  </a:lnTo>
                  <a:lnTo>
                    <a:pt x="434" y="41"/>
                  </a:lnTo>
                  <a:lnTo>
                    <a:pt x="422" y="35"/>
                  </a:lnTo>
                  <a:lnTo>
                    <a:pt x="410" y="28"/>
                  </a:lnTo>
                  <a:lnTo>
                    <a:pt x="397" y="23"/>
                  </a:lnTo>
                  <a:lnTo>
                    <a:pt x="385" y="18"/>
                  </a:lnTo>
                  <a:lnTo>
                    <a:pt x="371" y="13"/>
                  </a:lnTo>
                  <a:lnTo>
                    <a:pt x="358" y="9"/>
                  </a:lnTo>
                  <a:lnTo>
                    <a:pt x="344" y="6"/>
                  </a:lnTo>
                  <a:lnTo>
                    <a:pt x="330" y="4"/>
                  </a:lnTo>
                  <a:lnTo>
                    <a:pt x="315" y="2"/>
                  </a:lnTo>
                  <a:lnTo>
                    <a:pt x="301" y="0"/>
                  </a:lnTo>
                  <a:lnTo>
                    <a:pt x="286" y="0"/>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7" name="Group 44">
            <a:extLst>
              <a:ext uri="{FF2B5EF4-FFF2-40B4-BE49-F238E27FC236}">
                <a16:creationId xmlns:a16="http://schemas.microsoft.com/office/drawing/2014/main" id="{249EAA00-FAB0-4D84-96AA-9F57054FD78C}"/>
              </a:ext>
            </a:extLst>
          </p:cNvPr>
          <p:cNvGrpSpPr>
            <a:grpSpLocks noChangeAspect="1"/>
          </p:cNvGrpSpPr>
          <p:nvPr/>
        </p:nvGrpSpPr>
        <p:grpSpPr>
          <a:xfrm>
            <a:off x="5367763" y="5944848"/>
            <a:ext cx="306486" cy="306484"/>
            <a:chOff x="9309100" y="1925638"/>
            <a:chExt cx="287338" cy="287338"/>
          </a:xfrm>
          <a:solidFill>
            <a:schemeClr val="bg1"/>
          </a:solidFill>
          <a:effectLst/>
        </p:grpSpPr>
        <p:sp>
          <p:nvSpPr>
            <p:cNvPr id="688" name="Freeform 99">
              <a:extLst>
                <a:ext uri="{FF2B5EF4-FFF2-40B4-BE49-F238E27FC236}">
                  <a16:creationId xmlns:a16="http://schemas.microsoft.com/office/drawing/2014/main" id="{49D638CB-3313-4DD9-866D-6D46430FFCBC}"/>
                </a:ext>
              </a:extLst>
            </p:cNvPr>
            <p:cNvSpPr>
              <a:spLocks noEditPoints="1"/>
            </p:cNvSpPr>
            <p:nvPr/>
          </p:nvSpPr>
          <p:spPr bwMode="auto">
            <a:xfrm>
              <a:off x="9309100" y="1925638"/>
              <a:ext cx="287338" cy="287338"/>
            </a:xfrm>
            <a:custGeom>
              <a:avLst/>
              <a:gdLst>
                <a:gd name="T0" fmla="*/ 872 w 902"/>
                <a:gd name="T1" fmla="*/ 872 h 902"/>
                <a:gd name="T2" fmla="*/ 30 w 902"/>
                <a:gd name="T3" fmla="*/ 872 h 902"/>
                <a:gd name="T4" fmla="*/ 30 w 902"/>
                <a:gd name="T5" fmla="*/ 300 h 902"/>
                <a:gd name="T6" fmla="*/ 872 w 902"/>
                <a:gd name="T7" fmla="*/ 300 h 902"/>
                <a:gd name="T8" fmla="*/ 872 w 902"/>
                <a:gd name="T9" fmla="*/ 872 h 902"/>
                <a:gd name="T10" fmla="*/ 219 w 902"/>
                <a:gd name="T11" fmla="*/ 30 h 902"/>
                <a:gd name="T12" fmla="*/ 451 w 902"/>
                <a:gd name="T13" fmla="*/ 30 h 902"/>
                <a:gd name="T14" fmla="*/ 451 w 902"/>
                <a:gd name="T15" fmla="*/ 270 h 902"/>
                <a:gd name="T16" fmla="*/ 45 w 902"/>
                <a:gd name="T17" fmla="*/ 270 h 902"/>
                <a:gd name="T18" fmla="*/ 219 w 902"/>
                <a:gd name="T19" fmla="*/ 30 h 902"/>
                <a:gd name="T20" fmla="*/ 858 w 902"/>
                <a:gd name="T21" fmla="*/ 270 h 902"/>
                <a:gd name="T22" fmla="*/ 481 w 902"/>
                <a:gd name="T23" fmla="*/ 270 h 902"/>
                <a:gd name="T24" fmla="*/ 481 w 902"/>
                <a:gd name="T25" fmla="*/ 30 h 902"/>
                <a:gd name="T26" fmla="*/ 685 w 902"/>
                <a:gd name="T27" fmla="*/ 30 h 902"/>
                <a:gd name="T28" fmla="*/ 858 w 902"/>
                <a:gd name="T29" fmla="*/ 270 h 902"/>
                <a:gd name="T30" fmla="*/ 902 w 902"/>
                <a:gd name="T31" fmla="*/ 285 h 902"/>
                <a:gd name="T32" fmla="*/ 902 w 902"/>
                <a:gd name="T33" fmla="*/ 283 h 902"/>
                <a:gd name="T34" fmla="*/ 901 w 902"/>
                <a:gd name="T35" fmla="*/ 280 h 902"/>
                <a:gd name="T36" fmla="*/ 900 w 902"/>
                <a:gd name="T37" fmla="*/ 278 h 902"/>
                <a:gd name="T38" fmla="*/ 898 w 902"/>
                <a:gd name="T39" fmla="*/ 275 h 902"/>
                <a:gd name="T40" fmla="*/ 704 w 902"/>
                <a:gd name="T41" fmla="*/ 7 h 902"/>
                <a:gd name="T42" fmla="*/ 702 w 902"/>
                <a:gd name="T43" fmla="*/ 4 h 902"/>
                <a:gd name="T44" fmla="*/ 698 w 902"/>
                <a:gd name="T45" fmla="*/ 2 h 902"/>
                <a:gd name="T46" fmla="*/ 695 w 902"/>
                <a:gd name="T47" fmla="*/ 0 h 902"/>
                <a:gd name="T48" fmla="*/ 692 w 902"/>
                <a:gd name="T49" fmla="*/ 0 h 902"/>
                <a:gd name="T50" fmla="*/ 211 w 902"/>
                <a:gd name="T51" fmla="*/ 0 h 902"/>
                <a:gd name="T52" fmla="*/ 207 w 902"/>
                <a:gd name="T53" fmla="*/ 0 h 902"/>
                <a:gd name="T54" fmla="*/ 204 w 902"/>
                <a:gd name="T55" fmla="*/ 2 h 902"/>
                <a:gd name="T56" fmla="*/ 200 w 902"/>
                <a:gd name="T57" fmla="*/ 4 h 902"/>
                <a:gd name="T58" fmla="*/ 198 w 902"/>
                <a:gd name="T59" fmla="*/ 7 h 902"/>
                <a:gd name="T60" fmla="*/ 3 w 902"/>
                <a:gd name="T61" fmla="*/ 277 h 902"/>
                <a:gd name="T62" fmla="*/ 2 w 902"/>
                <a:gd name="T63" fmla="*/ 278 h 902"/>
                <a:gd name="T64" fmla="*/ 2 w 902"/>
                <a:gd name="T65" fmla="*/ 279 h 902"/>
                <a:gd name="T66" fmla="*/ 1 w 902"/>
                <a:gd name="T67" fmla="*/ 280 h 902"/>
                <a:gd name="T68" fmla="*/ 1 w 902"/>
                <a:gd name="T69" fmla="*/ 280 h 902"/>
                <a:gd name="T70" fmla="*/ 0 w 902"/>
                <a:gd name="T71" fmla="*/ 283 h 902"/>
                <a:gd name="T72" fmla="*/ 0 w 902"/>
                <a:gd name="T73" fmla="*/ 285 h 902"/>
                <a:gd name="T74" fmla="*/ 0 w 902"/>
                <a:gd name="T75" fmla="*/ 285 h 902"/>
                <a:gd name="T76" fmla="*/ 0 w 902"/>
                <a:gd name="T77" fmla="*/ 286 h 902"/>
                <a:gd name="T78" fmla="*/ 0 w 902"/>
                <a:gd name="T79" fmla="*/ 887 h 902"/>
                <a:gd name="T80" fmla="*/ 0 w 902"/>
                <a:gd name="T81" fmla="*/ 891 h 902"/>
                <a:gd name="T82" fmla="*/ 1 w 902"/>
                <a:gd name="T83" fmla="*/ 893 h 902"/>
                <a:gd name="T84" fmla="*/ 2 w 902"/>
                <a:gd name="T85" fmla="*/ 896 h 902"/>
                <a:gd name="T86" fmla="*/ 4 w 902"/>
                <a:gd name="T87" fmla="*/ 898 h 902"/>
                <a:gd name="T88" fmla="*/ 6 w 902"/>
                <a:gd name="T89" fmla="*/ 900 h 902"/>
                <a:gd name="T90" fmla="*/ 10 w 902"/>
                <a:gd name="T91" fmla="*/ 901 h 902"/>
                <a:gd name="T92" fmla="*/ 12 w 902"/>
                <a:gd name="T93" fmla="*/ 902 h 902"/>
                <a:gd name="T94" fmla="*/ 15 w 902"/>
                <a:gd name="T95" fmla="*/ 902 h 902"/>
                <a:gd name="T96" fmla="*/ 887 w 902"/>
                <a:gd name="T97" fmla="*/ 902 h 902"/>
                <a:gd name="T98" fmla="*/ 890 w 902"/>
                <a:gd name="T99" fmla="*/ 902 h 902"/>
                <a:gd name="T100" fmla="*/ 893 w 902"/>
                <a:gd name="T101" fmla="*/ 901 h 902"/>
                <a:gd name="T102" fmla="*/ 896 w 902"/>
                <a:gd name="T103" fmla="*/ 900 h 902"/>
                <a:gd name="T104" fmla="*/ 898 w 902"/>
                <a:gd name="T105" fmla="*/ 898 h 902"/>
                <a:gd name="T106" fmla="*/ 900 w 902"/>
                <a:gd name="T107" fmla="*/ 896 h 902"/>
                <a:gd name="T108" fmla="*/ 901 w 902"/>
                <a:gd name="T109" fmla="*/ 893 h 902"/>
                <a:gd name="T110" fmla="*/ 902 w 902"/>
                <a:gd name="T111" fmla="*/ 891 h 902"/>
                <a:gd name="T112" fmla="*/ 902 w 902"/>
                <a:gd name="T113" fmla="*/ 887 h 902"/>
                <a:gd name="T114" fmla="*/ 902 w 902"/>
                <a:gd name="T115" fmla="*/ 288 h 902"/>
                <a:gd name="T116" fmla="*/ 902 w 902"/>
                <a:gd name="T117" fmla="*/ 286 h 902"/>
                <a:gd name="T118" fmla="*/ 902 w 902"/>
                <a:gd name="T119" fmla="*/ 28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872" y="872"/>
                  </a:moveTo>
                  <a:lnTo>
                    <a:pt x="30" y="872"/>
                  </a:lnTo>
                  <a:lnTo>
                    <a:pt x="30" y="300"/>
                  </a:lnTo>
                  <a:lnTo>
                    <a:pt x="872" y="300"/>
                  </a:lnTo>
                  <a:lnTo>
                    <a:pt x="872" y="872"/>
                  </a:lnTo>
                  <a:close/>
                  <a:moveTo>
                    <a:pt x="219" y="30"/>
                  </a:moveTo>
                  <a:lnTo>
                    <a:pt x="451" y="30"/>
                  </a:lnTo>
                  <a:lnTo>
                    <a:pt x="451" y="270"/>
                  </a:lnTo>
                  <a:lnTo>
                    <a:pt x="45" y="270"/>
                  </a:lnTo>
                  <a:lnTo>
                    <a:pt x="219" y="30"/>
                  </a:lnTo>
                  <a:close/>
                  <a:moveTo>
                    <a:pt x="858" y="270"/>
                  </a:moveTo>
                  <a:lnTo>
                    <a:pt x="481" y="270"/>
                  </a:lnTo>
                  <a:lnTo>
                    <a:pt x="481" y="30"/>
                  </a:lnTo>
                  <a:lnTo>
                    <a:pt x="685" y="30"/>
                  </a:lnTo>
                  <a:lnTo>
                    <a:pt x="858" y="270"/>
                  </a:lnTo>
                  <a:close/>
                  <a:moveTo>
                    <a:pt x="902" y="285"/>
                  </a:moveTo>
                  <a:lnTo>
                    <a:pt x="902" y="283"/>
                  </a:lnTo>
                  <a:lnTo>
                    <a:pt x="901" y="280"/>
                  </a:lnTo>
                  <a:lnTo>
                    <a:pt x="900" y="278"/>
                  </a:lnTo>
                  <a:lnTo>
                    <a:pt x="898" y="275"/>
                  </a:lnTo>
                  <a:lnTo>
                    <a:pt x="704" y="7"/>
                  </a:lnTo>
                  <a:lnTo>
                    <a:pt x="702" y="4"/>
                  </a:lnTo>
                  <a:lnTo>
                    <a:pt x="698" y="2"/>
                  </a:lnTo>
                  <a:lnTo>
                    <a:pt x="695" y="0"/>
                  </a:lnTo>
                  <a:lnTo>
                    <a:pt x="692" y="0"/>
                  </a:lnTo>
                  <a:lnTo>
                    <a:pt x="211" y="0"/>
                  </a:lnTo>
                  <a:lnTo>
                    <a:pt x="207" y="0"/>
                  </a:lnTo>
                  <a:lnTo>
                    <a:pt x="204" y="2"/>
                  </a:lnTo>
                  <a:lnTo>
                    <a:pt x="200" y="4"/>
                  </a:lnTo>
                  <a:lnTo>
                    <a:pt x="198" y="7"/>
                  </a:lnTo>
                  <a:lnTo>
                    <a:pt x="3" y="277"/>
                  </a:lnTo>
                  <a:lnTo>
                    <a:pt x="2" y="278"/>
                  </a:lnTo>
                  <a:lnTo>
                    <a:pt x="2" y="279"/>
                  </a:lnTo>
                  <a:lnTo>
                    <a:pt x="1" y="280"/>
                  </a:lnTo>
                  <a:lnTo>
                    <a:pt x="1" y="280"/>
                  </a:lnTo>
                  <a:lnTo>
                    <a:pt x="0" y="283"/>
                  </a:lnTo>
                  <a:lnTo>
                    <a:pt x="0" y="285"/>
                  </a:lnTo>
                  <a:lnTo>
                    <a:pt x="0" y="285"/>
                  </a:lnTo>
                  <a:lnTo>
                    <a:pt x="0" y="286"/>
                  </a:lnTo>
                  <a:lnTo>
                    <a:pt x="0" y="887"/>
                  </a:lnTo>
                  <a:lnTo>
                    <a:pt x="0" y="891"/>
                  </a:lnTo>
                  <a:lnTo>
                    <a:pt x="1" y="893"/>
                  </a:lnTo>
                  <a:lnTo>
                    <a:pt x="2"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288"/>
                  </a:lnTo>
                  <a:lnTo>
                    <a:pt x="902" y="286"/>
                  </a:lnTo>
                  <a:lnTo>
                    <a:pt x="902"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00">
              <a:extLst>
                <a:ext uri="{FF2B5EF4-FFF2-40B4-BE49-F238E27FC236}">
                  <a16:creationId xmlns:a16="http://schemas.microsoft.com/office/drawing/2014/main" id="{E8A815F9-FBBC-44F0-9D55-B7FF1400E51D}"/>
                </a:ext>
              </a:extLst>
            </p:cNvPr>
            <p:cNvSpPr>
              <a:spLocks noEditPoints="1"/>
            </p:cNvSpPr>
            <p:nvPr/>
          </p:nvSpPr>
          <p:spPr bwMode="auto">
            <a:xfrm>
              <a:off x="9461500" y="2136775"/>
              <a:ext cx="106363" cy="47625"/>
            </a:xfrm>
            <a:custGeom>
              <a:avLst/>
              <a:gdLst>
                <a:gd name="T0" fmla="*/ 30 w 331"/>
                <a:gd name="T1" fmla="*/ 30 h 151"/>
                <a:gd name="T2" fmla="*/ 301 w 331"/>
                <a:gd name="T3" fmla="*/ 30 h 151"/>
                <a:gd name="T4" fmla="*/ 301 w 331"/>
                <a:gd name="T5" fmla="*/ 121 h 151"/>
                <a:gd name="T6" fmla="*/ 30 w 331"/>
                <a:gd name="T7" fmla="*/ 121 h 151"/>
                <a:gd name="T8" fmla="*/ 30 w 331"/>
                <a:gd name="T9" fmla="*/ 30 h 151"/>
                <a:gd name="T10" fmla="*/ 15 w 331"/>
                <a:gd name="T11" fmla="*/ 151 h 151"/>
                <a:gd name="T12" fmla="*/ 316 w 331"/>
                <a:gd name="T13" fmla="*/ 151 h 151"/>
                <a:gd name="T14" fmla="*/ 319 w 331"/>
                <a:gd name="T15" fmla="*/ 150 h 151"/>
                <a:gd name="T16" fmla="*/ 321 w 331"/>
                <a:gd name="T17" fmla="*/ 150 h 151"/>
                <a:gd name="T18" fmla="*/ 325 w 331"/>
                <a:gd name="T19" fmla="*/ 148 h 151"/>
                <a:gd name="T20" fmla="*/ 327 w 331"/>
                <a:gd name="T21" fmla="*/ 147 h 151"/>
                <a:gd name="T22" fmla="*/ 329 w 331"/>
                <a:gd name="T23" fmla="*/ 145 h 151"/>
                <a:gd name="T24" fmla="*/ 330 w 331"/>
                <a:gd name="T25" fmla="*/ 142 h 151"/>
                <a:gd name="T26" fmla="*/ 331 w 331"/>
                <a:gd name="T27" fmla="*/ 140 h 151"/>
                <a:gd name="T28" fmla="*/ 331 w 331"/>
                <a:gd name="T29" fmla="*/ 136 h 151"/>
                <a:gd name="T30" fmla="*/ 331 w 331"/>
                <a:gd name="T31" fmla="*/ 15 h 151"/>
                <a:gd name="T32" fmla="*/ 331 w 331"/>
                <a:gd name="T33" fmla="*/ 13 h 151"/>
                <a:gd name="T34" fmla="*/ 330 w 331"/>
                <a:gd name="T35" fmla="*/ 10 h 151"/>
                <a:gd name="T36" fmla="*/ 329 w 331"/>
                <a:gd name="T37" fmla="*/ 8 h 151"/>
                <a:gd name="T38" fmla="*/ 327 w 331"/>
                <a:gd name="T39" fmla="*/ 6 h 151"/>
                <a:gd name="T40" fmla="*/ 325 w 331"/>
                <a:gd name="T41" fmla="*/ 4 h 151"/>
                <a:gd name="T42" fmla="*/ 321 w 331"/>
                <a:gd name="T43" fmla="*/ 3 h 151"/>
                <a:gd name="T44" fmla="*/ 319 w 331"/>
                <a:gd name="T45" fmla="*/ 1 h 151"/>
                <a:gd name="T46" fmla="*/ 316 w 331"/>
                <a:gd name="T47" fmla="*/ 0 h 151"/>
                <a:gd name="T48" fmla="*/ 15 w 331"/>
                <a:gd name="T49" fmla="*/ 0 h 151"/>
                <a:gd name="T50" fmla="*/ 12 w 331"/>
                <a:gd name="T51" fmla="*/ 1 h 151"/>
                <a:gd name="T52" fmla="*/ 10 w 331"/>
                <a:gd name="T53" fmla="*/ 1 h 151"/>
                <a:gd name="T54" fmla="*/ 6 w 331"/>
                <a:gd name="T55" fmla="*/ 4 h 151"/>
                <a:gd name="T56" fmla="*/ 4 w 331"/>
                <a:gd name="T57" fmla="*/ 6 h 151"/>
                <a:gd name="T58" fmla="*/ 3 w 331"/>
                <a:gd name="T59" fmla="*/ 8 h 151"/>
                <a:gd name="T60" fmla="*/ 1 w 331"/>
                <a:gd name="T61" fmla="*/ 10 h 151"/>
                <a:gd name="T62" fmla="*/ 0 w 331"/>
                <a:gd name="T63" fmla="*/ 13 h 151"/>
                <a:gd name="T64" fmla="*/ 0 w 331"/>
                <a:gd name="T65" fmla="*/ 15 h 151"/>
                <a:gd name="T66" fmla="*/ 0 w 331"/>
                <a:gd name="T67" fmla="*/ 136 h 151"/>
                <a:gd name="T68" fmla="*/ 0 w 331"/>
                <a:gd name="T69" fmla="*/ 140 h 151"/>
                <a:gd name="T70" fmla="*/ 1 w 331"/>
                <a:gd name="T71" fmla="*/ 142 h 151"/>
                <a:gd name="T72" fmla="*/ 3 w 331"/>
                <a:gd name="T73" fmla="*/ 145 h 151"/>
                <a:gd name="T74" fmla="*/ 4 w 331"/>
                <a:gd name="T75" fmla="*/ 147 h 151"/>
                <a:gd name="T76" fmla="*/ 6 w 331"/>
                <a:gd name="T77" fmla="*/ 148 h 151"/>
                <a:gd name="T78" fmla="*/ 10 w 331"/>
                <a:gd name="T79" fmla="*/ 150 h 151"/>
                <a:gd name="T80" fmla="*/ 12 w 331"/>
                <a:gd name="T81" fmla="*/ 150 h 151"/>
                <a:gd name="T82" fmla="*/ 15 w 331"/>
                <a:gd name="T8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1" h="151">
                  <a:moveTo>
                    <a:pt x="30" y="30"/>
                  </a:moveTo>
                  <a:lnTo>
                    <a:pt x="301" y="30"/>
                  </a:lnTo>
                  <a:lnTo>
                    <a:pt x="301" y="121"/>
                  </a:lnTo>
                  <a:lnTo>
                    <a:pt x="30" y="121"/>
                  </a:lnTo>
                  <a:lnTo>
                    <a:pt x="30" y="30"/>
                  </a:lnTo>
                  <a:close/>
                  <a:moveTo>
                    <a:pt x="15" y="151"/>
                  </a:moveTo>
                  <a:lnTo>
                    <a:pt x="316" y="151"/>
                  </a:lnTo>
                  <a:lnTo>
                    <a:pt x="319" y="150"/>
                  </a:lnTo>
                  <a:lnTo>
                    <a:pt x="321" y="150"/>
                  </a:lnTo>
                  <a:lnTo>
                    <a:pt x="325" y="148"/>
                  </a:lnTo>
                  <a:lnTo>
                    <a:pt x="327" y="147"/>
                  </a:lnTo>
                  <a:lnTo>
                    <a:pt x="329" y="145"/>
                  </a:lnTo>
                  <a:lnTo>
                    <a:pt x="330" y="142"/>
                  </a:lnTo>
                  <a:lnTo>
                    <a:pt x="331" y="140"/>
                  </a:lnTo>
                  <a:lnTo>
                    <a:pt x="331" y="136"/>
                  </a:lnTo>
                  <a:lnTo>
                    <a:pt x="331" y="15"/>
                  </a:lnTo>
                  <a:lnTo>
                    <a:pt x="331" y="13"/>
                  </a:lnTo>
                  <a:lnTo>
                    <a:pt x="330" y="10"/>
                  </a:lnTo>
                  <a:lnTo>
                    <a:pt x="329" y="8"/>
                  </a:lnTo>
                  <a:lnTo>
                    <a:pt x="327" y="6"/>
                  </a:lnTo>
                  <a:lnTo>
                    <a:pt x="325" y="4"/>
                  </a:lnTo>
                  <a:lnTo>
                    <a:pt x="321" y="3"/>
                  </a:lnTo>
                  <a:lnTo>
                    <a:pt x="319" y="1"/>
                  </a:lnTo>
                  <a:lnTo>
                    <a:pt x="316" y="0"/>
                  </a:lnTo>
                  <a:lnTo>
                    <a:pt x="15" y="0"/>
                  </a:lnTo>
                  <a:lnTo>
                    <a:pt x="12" y="1"/>
                  </a:lnTo>
                  <a:lnTo>
                    <a:pt x="10" y="1"/>
                  </a:lnTo>
                  <a:lnTo>
                    <a:pt x="6" y="4"/>
                  </a:lnTo>
                  <a:lnTo>
                    <a:pt x="4" y="6"/>
                  </a:lnTo>
                  <a:lnTo>
                    <a:pt x="3" y="8"/>
                  </a:lnTo>
                  <a:lnTo>
                    <a:pt x="1" y="10"/>
                  </a:lnTo>
                  <a:lnTo>
                    <a:pt x="0" y="13"/>
                  </a:lnTo>
                  <a:lnTo>
                    <a:pt x="0" y="15"/>
                  </a:lnTo>
                  <a:lnTo>
                    <a:pt x="0" y="136"/>
                  </a:lnTo>
                  <a:lnTo>
                    <a:pt x="0" y="140"/>
                  </a:lnTo>
                  <a:lnTo>
                    <a:pt x="1" y="142"/>
                  </a:lnTo>
                  <a:lnTo>
                    <a:pt x="3" y="145"/>
                  </a:lnTo>
                  <a:lnTo>
                    <a:pt x="4" y="147"/>
                  </a:lnTo>
                  <a:lnTo>
                    <a:pt x="6" y="148"/>
                  </a:lnTo>
                  <a:lnTo>
                    <a:pt x="10" y="150"/>
                  </a:lnTo>
                  <a:lnTo>
                    <a:pt x="12" y="150"/>
                  </a:lnTo>
                  <a:lnTo>
                    <a:pt x="1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0" name="Group 55">
            <a:extLst>
              <a:ext uri="{FF2B5EF4-FFF2-40B4-BE49-F238E27FC236}">
                <a16:creationId xmlns:a16="http://schemas.microsoft.com/office/drawing/2014/main" id="{2138BA3B-FF7F-4B58-AE4B-295F9D390281}"/>
              </a:ext>
            </a:extLst>
          </p:cNvPr>
          <p:cNvGrpSpPr>
            <a:grpSpLocks noChangeAspect="1"/>
          </p:cNvGrpSpPr>
          <p:nvPr/>
        </p:nvGrpSpPr>
        <p:grpSpPr>
          <a:xfrm>
            <a:off x="5778939" y="5944848"/>
            <a:ext cx="311649" cy="306484"/>
            <a:chOff x="2598738" y="1349375"/>
            <a:chExt cx="287338" cy="282576"/>
          </a:xfrm>
          <a:solidFill>
            <a:schemeClr val="bg1"/>
          </a:solidFill>
          <a:effectLst/>
        </p:grpSpPr>
        <p:sp>
          <p:nvSpPr>
            <p:cNvPr id="691" name="Freeform 101">
              <a:extLst>
                <a:ext uri="{FF2B5EF4-FFF2-40B4-BE49-F238E27FC236}">
                  <a16:creationId xmlns:a16="http://schemas.microsoft.com/office/drawing/2014/main" id="{1CE7E0BE-67BE-4F23-A81C-EBD793F9349D}"/>
                </a:ext>
              </a:extLst>
            </p:cNvPr>
            <p:cNvSpPr>
              <a:spLocks noEditPoints="1"/>
            </p:cNvSpPr>
            <p:nvPr/>
          </p:nvSpPr>
          <p:spPr bwMode="auto">
            <a:xfrm>
              <a:off x="2598738" y="1468438"/>
              <a:ext cx="287338" cy="163513"/>
            </a:xfrm>
            <a:custGeom>
              <a:avLst/>
              <a:gdLst>
                <a:gd name="T0" fmla="*/ 30 w 903"/>
                <a:gd name="T1" fmla="*/ 271 h 511"/>
                <a:gd name="T2" fmla="*/ 302 w 903"/>
                <a:gd name="T3" fmla="*/ 291 h 511"/>
                <a:gd name="T4" fmla="*/ 308 w 903"/>
                <a:gd name="T5" fmla="*/ 313 h 511"/>
                <a:gd name="T6" fmla="*/ 320 w 903"/>
                <a:gd name="T7" fmla="*/ 332 h 511"/>
                <a:gd name="T8" fmla="*/ 336 w 903"/>
                <a:gd name="T9" fmla="*/ 347 h 511"/>
                <a:gd name="T10" fmla="*/ 355 w 903"/>
                <a:gd name="T11" fmla="*/ 358 h 511"/>
                <a:gd name="T12" fmla="*/ 377 w 903"/>
                <a:gd name="T13" fmla="*/ 361 h 511"/>
                <a:gd name="T14" fmla="*/ 556 w 903"/>
                <a:gd name="T15" fmla="*/ 360 h 511"/>
                <a:gd name="T16" fmla="*/ 578 w 903"/>
                <a:gd name="T17" fmla="*/ 353 h 511"/>
                <a:gd name="T18" fmla="*/ 601 w 903"/>
                <a:gd name="T19" fmla="*/ 339 h 511"/>
                <a:gd name="T20" fmla="*/ 619 w 903"/>
                <a:gd name="T21" fmla="*/ 321 h 511"/>
                <a:gd name="T22" fmla="*/ 630 w 903"/>
                <a:gd name="T23" fmla="*/ 301 h 511"/>
                <a:gd name="T24" fmla="*/ 632 w 903"/>
                <a:gd name="T25" fmla="*/ 271 h 511"/>
                <a:gd name="T26" fmla="*/ 902 w 903"/>
                <a:gd name="T27" fmla="*/ 252 h 511"/>
                <a:gd name="T28" fmla="*/ 901 w 903"/>
                <a:gd name="T29" fmla="*/ 249 h 511"/>
                <a:gd name="T30" fmla="*/ 764 w 903"/>
                <a:gd name="T31" fmla="*/ 4 h 511"/>
                <a:gd name="T32" fmla="*/ 753 w 903"/>
                <a:gd name="T33" fmla="*/ 0 h 511"/>
                <a:gd name="T34" fmla="*/ 537 w 903"/>
                <a:gd name="T35" fmla="*/ 1 h 511"/>
                <a:gd name="T36" fmla="*/ 530 w 903"/>
                <a:gd name="T37" fmla="*/ 6 h 511"/>
                <a:gd name="T38" fmla="*/ 527 w 903"/>
                <a:gd name="T39" fmla="*/ 15 h 511"/>
                <a:gd name="T40" fmla="*/ 530 w 903"/>
                <a:gd name="T41" fmla="*/ 23 h 511"/>
                <a:gd name="T42" fmla="*/ 537 w 903"/>
                <a:gd name="T43" fmla="*/ 29 h 511"/>
                <a:gd name="T44" fmla="*/ 743 w 903"/>
                <a:gd name="T45" fmla="*/ 30 h 511"/>
                <a:gd name="T46" fmla="*/ 615 w 903"/>
                <a:gd name="T47" fmla="*/ 241 h 511"/>
                <a:gd name="T48" fmla="*/ 606 w 903"/>
                <a:gd name="T49" fmla="*/ 245 h 511"/>
                <a:gd name="T50" fmla="*/ 603 w 903"/>
                <a:gd name="T51" fmla="*/ 253 h 511"/>
                <a:gd name="T52" fmla="*/ 602 w 903"/>
                <a:gd name="T53" fmla="*/ 289 h 511"/>
                <a:gd name="T54" fmla="*/ 597 w 903"/>
                <a:gd name="T55" fmla="*/ 301 h 511"/>
                <a:gd name="T56" fmla="*/ 571 w 903"/>
                <a:gd name="T57" fmla="*/ 323 h 511"/>
                <a:gd name="T58" fmla="*/ 542 w 903"/>
                <a:gd name="T59" fmla="*/ 331 h 511"/>
                <a:gd name="T60" fmla="*/ 360 w 903"/>
                <a:gd name="T61" fmla="*/ 327 h 511"/>
                <a:gd name="T62" fmla="*/ 340 w 903"/>
                <a:gd name="T63" fmla="*/ 310 h 511"/>
                <a:gd name="T64" fmla="*/ 332 w 903"/>
                <a:gd name="T65" fmla="*/ 284 h 511"/>
                <a:gd name="T66" fmla="*/ 331 w 903"/>
                <a:gd name="T67" fmla="*/ 250 h 511"/>
                <a:gd name="T68" fmla="*/ 325 w 903"/>
                <a:gd name="T69" fmla="*/ 243 h 511"/>
                <a:gd name="T70" fmla="*/ 317 w 903"/>
                <a:gd name="T71" fmla="*/ 241 h 511"/>
                <a:gd name="T72" fmla="*/ 242 w 903"/>
                <a:gd name="T73" fmla="*/ 30 h 511"/>
                <a:gd name="T74" fmla="*/ 249 w 903"/>
                <a:gd name="T75" fmla="*/ 28 h 511"/>
                <a:gd name="T76" fmla="*/ 255 w 903"/>
                <a:gd name="T77" fmla="*/ 21 h 511"/>
                <a:gd name="T78" fmla="*/ 256 w 903"/>
                <a:gd name="T79" fmla="*/ 12 h 511"/>
                <a:gd name="T80" fmla="*/ 251 w 903"/>
                <a:gd name="T81" fmla="*/ 4 h 511"/>
                <a:gd name="T82" fmla="*/ 244 w 903"/>
                <a:gd name="T83" fmla="*/ 1 h 511"/>
                <a:gd name="T84" fmla="*/ 147 w 903"/>
                <a:gd name="T85" fmla="*/ 1 h 511"/>
                <a:gd name="T86" fmla="*/ 138 w 903"/>
                <a:gd name="T87" fmla="*/ 7 h 511"/>
                <a:gd name="T88" fmla="*/ 3 w 903"/>
                <a:gd name="T89" fmla="*/ 250 h 511"/>
                <a:gd name="T90" fmla="*/ 0 w 903"/>
                <a:gd name="T91" fmla="*/ 254 h 511"/>
                <a:gd name="T92" fmla="*/ 0 w 903"/>
                <a:gd name="T93" fmla="*/ 256 h 511"/>
                <a:gd name="T94" fmla="*/ 2 w 903"/>
                <a:gd name="T95" fmla="*/ 502 h 511"/>
                <a:gd name="T96" fmla="*/ 7 w 903"/>
                <a:gd name="T97" fmla="*/ 508 h 511"/>
                <a:gd name="T98" fmla="*/ 15 w 903"/>
                <a:gd name="T99" fmla="*/ 511 h 511"/>
                <a:gd name="T100" fmla="*/ 894 w 903"/>
                <a:gd name="T101" fmla="*/ 509 h 511"/>
                <a:gd name="T102" fmla="*/ 901 w 903"/>
                <a:gd name="T103" fmla="*/ 504 h 511"/>
                <a:gd name="T104" fmla="*/ 903 w 903"/>
                <a:gd name="T105" fmla="*/ 495 h 511"/>
                <a:gd name="T106" fmla="*/ 903 w 903"/>
                <a:gd name="T107" fmla="*/ 25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3" h="511">
                  <a:moveTo>
                    <a:pt x="873" y="480"/>
                  </a:moveTo>
                  <a:lnTo>
                    <a:pt x="30" y="480"/>
                  </a:lnTo>
                  <a:lnTo>
                    <a:pt x="30" y="271"/>
                  </a:lnTo>
                  <a:lnTo>
                    <a:pt x="302" y="271"/>
                  </a:lnTo>
                  <a:lnTo>
                    <a:pt x="302" y="284"/>
                  </a:lnTo>
                  <a:lnTo>
                    <a:pt x="302" y="291"/>
                  </a:lnTo>
                  <a:lnTo>
                    <a:pt x="303" y="299"/>
                  </a:lnTo>
                  <a:lnTo>
                    <a:pt x="305" y="305"/>
                  </a:lnTo>
                  <a:lnTo>
                    <a:pt x="308" y="313"/>
                  </a:lnTo>
                  <a:lnTo>
                    <a:pt x="311" y="319"/>
                  </a:lnTo>
                  <a:lnTo>
                    <a:pt x="315" y="326"/>
                  </a:lnTo>
                  <a:lnTo>
                    <a:pt x="320" y="332"/>
                  </a:lnTo>
                  <a:lnTo>
                    <a:pt x="324" y="338"/>
                  </a:lnTo>
                  <a:lnTo>
                    <a:pt x="330" y="343"/>
                  </a:lnTo>
                  <a:lnTo>
                    <a:pt x="336" y="347"/>
                  </a:lnTo>
                  <a:lnTo>
                    <a:pt x="342" y="352"/>
                  </a:lnTo>
                  <a:lnTo>
                    <a:pt x="349" y="355"/>
                  </a:lnTo>
                  <a:lnTo>
                    <a:pt x="355" y="358"/>
                  </a:lnTo>
                  <a:lnTo>
                    <a:pt x="362" y="359"/>
                  </a:lnTo>
                  <a:lnTo>
                    <a:pt x="369" y="361"/>
                  </a:lnTo>
                  <a:lnTo>
                    <a:pt x="377" y="361"/>
                  </a:lnTo>
                  <a:lnTo>
                    <a:pt x="542" y="361"/>
                  </a:lnTo>
                  <a:lnTo>
                    <a:pt x="549" y="361"/>
                  </a:lnTo>
                  <a:lnTo>
                    <a:pt x="556" y="360"/>
                  </a:lnTo>
                  <a:lnTo>
                    <a:pt x="563" y="358"/>
                  </a:lnTo>
                  <a:lnTo>
                    <a:pt x="571" y="355"/>
                  </a:lnTo>
                  <a:lnTo>
                    <a:pt x="578" y="353"/>
                  </a:lnTo>
                  <a:lnTo>
                    <a:pt x="586" y="348"/>
                  </a:lnTo>
                  <a:lnTo>
                    <a:pt x="593" y="344"/>
                  </a:lnTo>
                  <a:lnTo>
                    <a:pt x="601" y="339"/>
                  </a:lnTo>
                  <a:lnTo>
                    <a:pt x="607" y="333"/>
                  </a:lnTo>
                  <a:lnTo>
                    <a:pt x="613" y="328"/>
                  </a:lnTo>
                  <a:lnTo>
                    <a:pt x="619" y="321"/>
                  </a:lnTo>
                  <a:lnTo>
                    <a:pt x="623" y="315"/>
                  </a:lnTo>
                  <a:lnTo>
                    <a:pt x="627" y="309"/>
                  </a:lnTo>
                  <a:lnTo>
                    <a:pt x="630" y="301"/>
                  </a:lnTo>
                  <a:lnTo>
                    <a:pt x="632" y="294"/>
                  </a:lnTo>
                  <a:lnTo>
                    <a:pt x="632" y="286"/>
                  </a:lnTo>
                  <a:lnTo>
                    <a:pt x="632" y="271"/>
                  </a:lnTo>
                  <a:lnTo>
                    <a:pt x="873" y="271"/>
                  </a:lnTo>
                  <a:lnTo>
                    <a:pt x="873" y="480"/>
                  </a:lnTo>
                  <a:close/>
                  <a:moveTo>
                    <a:pt x="902" y="252"/>
                  </a:moveTo>
                  <a:lnTo>
                    <a:pt x="902" y="251"/>
                  </a:lnTo>
                  <a:lnTo>
                    <a:pt x="901" y="250"/>
                  </a:lnTo>
                  <a:lnTo>
                    <a:pt x="901" y="249"/>
                  </a:lnTo>
                  <a:lnTo>
                    <a:pt x="901" y="249"/>
                  </a:lnTo>
                  <a:lnTo>
                    <a:pt x="766" y="7"/>
                  </a:lnTo>
                  <a:lnTo>
                    <a:pt x="764" y="4"/>
                  </a:lnTo>
                  <a:lnTo>
                    <a:pt x="761" y="2"/>
                  </a:lnTo>
                  <a:lnTo>
                    <a:pt x="756" y="1"/>
                  </a:lnTo>
                  <a:lnTo>
                    <a:pt x="753" y="0"/>
                  </a:lnTo>
                  <a:lnTo>
                    <a:pt x="542" y="0"/>
                  </a:lnTo>
                  <a:lnTo>
                    <a:pt x="539" y="1"/>
                  </a:lnTo>
                  <a:lnTo>
                    <a:pt x="537" y="1"/>
                  </a:lnTo>
                  <a:lnTo>
                    <a:pt x="533" y="3"/>
                  </a:lnTo>
                  <a:lnTo>
                    <a:pt x="531" y="4"/>
                  </a:lnTo>
                  <a:lnTo>
                    <a:pt x="530" y="6"/>
                  </a:lnTo>
                  <a:lnTo>
                    <a:pt x="528" y="9"/>
                  </a:lnTo>
                  <a:lnTo>
                    <a:pt x="527" y="12"/>
                  </a:lnTo>
                  <a:lnTo>
                    <a:pt x="527" y="15"/>
                  </a:lnTo>
                  <a:lnTo>
                    <a:pt x="527" y="18"/>
                  </a:lnTo>
                  <a:lnTo>
                    <a:pt x="528" y="21"/>
                  </a:lnTo>
                  <a:lnTo>
                    <a:pt x="530" y="23"/>
                  </a:lnTo>
                  <a:lnTo>
                    <a:pt x="531" y="26"/>
                  </a:lnTo>
                  <a:lnTo>
                    <a:pt x="533" y="28"/>
                  </a:lnTo>
                  <a:lnTo>
                    <a:pt x="537" y="29"/>
                  </a:lnTo>
                  <a:lnTo>
                    <a:pt x="539" y="30"/>
                  </a:lnTo>
                  <a:lnTo>
                    <a:pt x="542" y="30"/>
                  </a:lnTo>
                  <a:lnTo>
                    <a:pt x="743" y="30"/>
                  </a:lnTo>
                  <a:lnTo>
                    <a:pt x="863" y="241"/>
                  </a:lnTo>
                  <a:lnTo>
                    <a:pt x="617" y="241"/>
                  </a:lnTo>
                  <a:lnTo>
                    <a:pt x="615" y="241"/>
                  </a:lnTo>
                  <a:lnTo>
                    <a:pt x="612" y="242"/>
                  </a:lnTo>
                  <a:lnTo>
                    <a:pt x="608" y="243"/>
                  </a:lnTo>
                  <a:lnTo>
                    <a:pt x="606" y="245"/>
                  </a:lnTo>
                  <a:lnTo>
                    <a:pt x="605" y="248"/>
                  </a:lnTo>
                  <a:lnTo>
                    <a:pt x="603" y="250"/>
                  </a:lnTo>
                  <a:lnTo>
                    <a:pt x="603" y="253"/>
                  </a:lnTo>
                  <a:lnTo>
                    <a:pt x="602" y="256"/>
                  </a:lnTo>
                  <a:lnTo>
                    <a:pt x="602" y="286"/>
                  </a:lnTo>
                  <a:lnTo>
                    <a:pt x="602" y="289"/>
                  </a:lnTo>
                  <a:lnTo>
                    <a:pt x="601" y="294"/>
                  </a:lnTo>
                  <a:lnTo>
                    <a:pt x="599" y="298"/>
                  </a:lnTo>
                  <a:lnTo>
                    <a:pt x="597" y="301"/>
                  </a:lnTo>
                  <a:lnTo>
                    <a:pt x="589" y="310"/>
                  </a:lnTo>
                  <a:lnTo>
                    <a:pt x="581" y="316"/>
                  </a:lnTo>
                  <a:lnTo>
                    <a:pt x="571" y="323"/>
                  </a:lnTo>
                  <a:lnTo>
                    <a:pt x="561" y="327"/>
                  </a:lnTo>
                  <a:lnTo>
                    <a:pt x="552" y="330"/>
                  </a:lnTo>
                  <a:lnTo>
                    <a:pt x="542" y="331"/>
                  </a:lnTo>
                  <a:lnTo>
                    <a:pt x="377" y="331"/>
                  </a:lnTo>
                  <a:lnTo>
                    <a:pt x="368" y="330"/>
                  </a:lnTo>
                  <a:lnTo>
                    <a:pt x="360" y="327"/>
                  </a:lnTo>
                  <a:lnTo>
                    <a:pt x="352" y="323"/>
                  </a:lnTo>
                  <a:lnTo>
                    <a:pt x="346" y="316"/>
                  </a:lnTo>
                  <a:lnTo>
                    <a:pt x="340" y="310"/>
                  </a:lnTo>
                  <a:lnTo>
                    <a:pt x="335" y="301"/>
                  </a:lnTo>
                  <a:lnTo>
                    <a:pt x="333" y="293"/>
                  </a:lnTo>
                  <a:lnTo>
                    <a:pt x="332" y="284"/>
                  </a:lnTo>
                  <a:lnTo>
                    <a:pt x="332" y="256"/>
                  </a:lnTo>
                  <a:lnTo>
                    <a:pt x="331" y="253"/>
                  </a:lnTo>
                  <a:lnTo>
                    <a:pt x="331" y="250"/>
                  </a:lnTo>
                  <a:lnTo>
                    <a:pt x="329" y="248"/>
                  </a:lnTo>
                  <a:lnTo>
                    <a:pt x="327" y="245"/>
                  </a:lnTo>
                  <a:lnTo>
                    <a:pt x="325" y="243"/>
                  </a:lnTo>
                  <a:lnTo>
                    <a:pt x="322" y="242"/>
                  </a:lnTo>
                  <a:lnTo>
                    <a:pt x="320" y="241"/>
                  </a:lnTo>
                  <a:lnTo>
                    <a:pt x="317" y="241"/>
                  </a:lnTo>
                  <a:lnTo>
                    <a:pt x="41" y="241"/>
                  </a:lnTo>
                  <a:lnTo>
                    <a:pt x="160" y="30"/>
                  </a:lnTo>
                  <a:lnTo>
                    <a:pt x="242" y="30"/>
                  </a:lnTo>
                  <a:lnTo>
                    <a:pt x="244" y="30"/>
                  </a:lnTo>
                  <a:lnTo>
                    <a:pt x="247" y="29"/>
                  </a:lnTo>
                  <a:lnTo>
                    <a:pt x="249" y="28"/>
                  </a:lnTo>
                  <a:lnTo>
                    <a:pt x="251" y="26"/>
                  </a:lnTo>
                  <a:lnTo>
                    <a:pt x="254" y="23"/>
                  </a:lnTo>
                  <a:lnTo>
                    <a:pt x="255" y="21"/>
                  </a:lnTo>
                  <a:lnTo>
                    <a:pt x="256" y="18"/>
                  </a:lnTo>
                  <a:lnTo>
                    <a:pt x="257" y="15"/>
                  </a:lnTo>
                  <a:lnTo>
                    <a:pt x="256" y="12"/>
                  </a:lnTo>
                  <a:lnTo>
                    <a:pt x="255" y="9"/>
                  </a:lnTo>
                  <a:lnTo>
                    <a:pt x="254" y="6"/>
                  </a:lnTo>
                  <a:lnTo>
                    <a:pt x="251" y="4"/>
                  </a:lnTo>
                  <a:lnTo>
                    <a:pt x="249" y="3"/>
                  </a:lnTo>
                  <a:lnTo>
                    <a:pt x="247" y="1"/>
                  </a:lnTo>
                  <a:lnTo>
                    <a:pt x="244" y="1"/>
                  </a:lnTo>
                  <a:lnTo>
                    <a:pt x="242" y="0"/>
                  </a:lnTo>
                  <a:lnTo>
                    <a:pt x="151" y="0"/>
                  </a:lnTo>
                  <a:lnTo>
                    <a:pt x="147" y="1"/>
                  </a:lnTo>
                  <a:lnTo>
                    <a:pt x="143" y="2"/>
                  </a:lnTo>
                  <a:lnTo>
                    <a:pt x="140" y="4"/>
                  </a:lnTo>
                  <a:lnTo>
                    <a:pt x="138" y="7"/>
                  </a:lnTo>
                  <a:lnTo>
                    <a:pt x="3" y="249"/>
                  </a:lnTo>
                  <a:lnTo>
                    <a:pt x="3" y="249"/>
                  </a:lnTo>
                  <a:lnTo>
                    <a:pt x="3" y="250"/>
                  </a:lnTo>
                  <a:lnTo>
                    <a:pt x="2" y="251"/>
                  </a:lnTo>
                  <a:lnTo>
                    <a:pt x="2" y="252"/>
                  </a:lnTo>
                  <a:lnTo>
                    <a:pt x="0" y="254"/>
                  </a:lnTo>
                  <a:lnTo>
                    <a:pt x="0" y="255"/>
                  </a:lnTo>
                  <a:lnTo>
                    <a:pt x="0" y="255"/>
                  </a:lnTo>
                  <a:lnTo>
                    <a:pt x="0" y="256"/>
                  </a:lnTo>
                  <a:lnTo>
                    <a:pt x="0" y="495"/>
                  </a:lnTo>
                  <a:lnTo>
                    <a:pt x="0" y="498"/>
                  </a:lnTo>
                  <a:lnTo>
                    <a:pt x="2" y="502"/>
                  </a:lnTo>
                  <a:lnTo>
                    <a:pt x="3" y="504"/>
                  </a:lnTo>
                  <a:lnTo>
                    <a:pt x="5" y="506"/>
                  </a:lnTo>
                  <a:lnTo>
                    <a:pt x="7" y="508"/>
                  </a:lnTo>
                  <a:lnTo>
                    <a:pt x="10" y="509"/>
                  </a:lnTo>
                  <a:lnTo>
                    <a:pt x="12" y="510"/>
                  </a:lnTo>
                  <a:lnTo>
                    <a:pt x="15" y="511"/>
                  </a:lnTo>
                  <a:lnTo>
                    <a:pt x="888" y="510"/>
                  </a:lnTo>
                  <a:lnTo>
                    <a:pt x="891" y="510"/>
                  </a:lnTo>
                  <a:lnTo>
                    <a:pt x="894" y="509"/>
                  </a:lnTo>
                  <a:lnTo>
                    <a:pt x="897" y="508"/>
                  </a:lnTo>
                  <a:lnTo>
                    <a:pt x="899" y="506"/>
                  </a:lnTo>
                  <a:lnTo>
                    <a:pt x="901" y="504"/>
                  </a:lnTo>
                  <a:lnTo>
                    <a:pt x="902" y="502"/>
                  </a:lnTo>
                  <a:lnTo>
                    <a:pt x="903" y="498"/>
                  </a:lnTo>
                  <a:lnTo>
                    <a:pt x="903" y="495"/>
                  </a:lnTo>
                  <a:lnTo>
                    <a:pt x="903" y="256"/>
                  </a:lnTo>
                  <a:lnTo>
                    <a:pt x="903" y="255"/>
                  </a:lnTo>
                  <a:lnTo>
                    <a:pt x="903" y="255"/>
                  </a:lnTo>
                  <a:lnTo>
                    <a:pt x="903" y="254"/>
                  </a:lnTo>
                  <a:lnTo>
                    <a:pt x="902"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02">
              <a:extLst>
                <a:ext uri="{FF2B5EF4-FFF2-40B4-BE49-F238E27FC236}">
                  <a16:creationId xmlns:a16="http://schemas.microsoft.com/office/drawing/2014/main" id="{70FAD03C-59D5-4E8C-851C-41A498A29776}"/>
                </a:ext>
              </a:extLst>
            </p:cNvPr>
            <p:cNvSpPr>
              <a:spLocks noEditPoints="1"/>
            </p:cNvSpPr>
            <p:nvPr/>
          </p:nvSpPr>
          <p:spPr bwMode="auto">
            <a:xfrm>
              <a:off x="2695575" y="1349375"/>
              <a:ext cx="190500" cy="173038"/>
            </a:xfrm>
            <a:custGeom>
              <a:avLst/>
              <a:gdLst>
                <a:gd name="T0" fmla="*/ 107 w 599"/>
                <a:gd name="T1" fmla="*/ 264 h 541"/>
                <a:gd name="T2" fmla="*/ 153 w 599"/>
                <a:gd name="T3" fmla="*/ 203 h 541"/>
                <a:gd name="T4" fmla="*/ 210 w 599"/>
                <a:gd name="T5" fmla="*/ 157 h 541"/>
                <a:gd name="T6" fmla="*/ 274 w 599"/>
                <a:gd name="T7" fmla="*/ 125 h 541"/>
                <a:gd name="T8" fmla="*/ 349 w 599"/>
                <a:gd name="T9" fmla="*/ 108 h 541"/>
                <a:gd name="T10" fmla="*/ 406 w 599"/>
                <a:gd name="T11" fmla="*/ 104 h 541"/>
                <a:gd name="T12" fmla="*/ 414 w 599"/>
                <a:gd name="T13" fmla="*/ 100 h 541"/>
                <a:gd name="T14" fmla="*/ 418 w 599"/>
                <a:gd name="T15" fmla="*/ 92 h 541"/>
                <a:gd name="T16" fmla="*/ 561 w 599"/>
                <a:gd name="T17" fmla="*/ 166 h 541"/>
                <a:gd name="T18" fmla="*/ 418 w 599"/>
                <a:gd name="T19" fmla="*/ 237 h 541"/>
                <a:gd name="T20" fmla="*/ 414 w 599"/>
                <a:gd name="T21" fmla="*/ 229 h 541"/>
                <a:gd name="T22" fmla="*/ 406 w 599"/>
                <a:gd name="T23" fmla="*/ 225 h 541"/>
                <a:gd name="T24" fmla="*/ 367 w 599"/>
                <a:gd name="T25" fmla="*/ 226 h 541"/>
                <a:gd name="T26" fmla="*/ 316 w 599"/>
                <a:gd name="T27" fmla="*/ 232 h 541"/>
                <a:gd name="T28" fmla="*/ 270 w 599"/>
                <a:gd name="T29" fmla="*/ 243 h 541"/>
                <a:gd name="T30" fmla="*/ 228 w 599"/>
                <a:gd name="T31" fmla="*/ 258 h 541"/>
                <a:gd name="T32" fmla="*/ 168 w 599"/>
                <a:gd name="T33" fmla="*/ 290 h 541"/>
                <a:gd name="T34" fmla="*/ 111 w 599"/>
                <a:gd name="T35" fmla="*/ 336 h 541"/>
                <a:gd name="T36" fmla="*/ 67 w 599"/>
                <a:gd name="T37" fmla="*/ 387 h 541"/>
                <a:gd name="T38" fmla="*/ 51 w 599"/>
                <a:gd name="T39" fmla="*/ 395 h 541"/>
                <a:gd name="T40" fmla="*/ 81 w 599"/>
                <a:gd name="T41" fmla="*/ 313 h 541"/>
                <a:gd name="T42" fmla="*/ 15 w 599"/>
                <a:gd name="T43" fmla="*/ 541 h 541"/>
                <a:gd name="T44" fmla="*/ 28 w 599"/>
                <a:gd name="T45" fmla="*/ 535 h 541"/>
                <a:gd name="T46" fmla="*/ 45 w 599"/>
                <a:gd name="T47" fmla="*/ 486 h 541"/>
                <a:gd name="T48" fmla="*/ 73 w 599"/>
                <a:gd name="T49" fmla="*/ 432 h 541"/>
                <a:gd name="T50" fmla="*/ 100 w 599"/>
                <a:gd name="T51" fmla="*/ 394 h 541"/>
                <a:gd name="T52" fmla="*/ 133 w 599"/>
                <a:gd name="T53" fmla="*/ 357 h 541"/>
                <a:gd name="T54" fmla="*/ 175 w 599"/>
                <a:gd name="T55" fmla="*/ 322 h 541"/>
                <a:gd name="T56" fmla="*/ 227 w 599"/>
                <a:gd name="T57" fmla="*/ 292 h 541"/>
                <a:gd name="T58" fmla="*/ 288 w 599"/>
                <a:gd name="T59" fmla="*/ 269 h 541"/>
                <a:gd name="T60" fmla="*/ 361 w 599"/>
                <a:gd name="T61" fmla="*/ 257 h 541"/>
                <a:gd name="T62" fmla="*/ 389 w 599"/>
                <a:gd name="T63" fmla="*/ 319 h 541"/>
                <a:gd name="T64" fmla="*/ 398 w 599"/>
                <a:gd name="T65" fmla="*/ 329 h 541"/>
                <a:gd name="T66" fmla="*/ 409 w 599"/>
                <a:gd name="T67" fmla="*/ 329 h 541"/>
                <a:gd name="T68" fmla="*/ 596 w 599"/>
                <a:gd name="T69" fmla="*/ 175 h 541"/>
                <a:gd name="T70" fmla="*/ 599 w 599"/>
                <a:gd name="T71" fmla="*/ 166 h 541"/>
                <a:gd name="T72" fmla="*/ 596 w 599"/>
                <a:gd name="T73" fmla="*/ 156 h 541"/>
                <a:gd name="T74" fmla="*/ 409 w 599"/>
                <a:gd name="T75" fmla="*/ 1 h 541"/>
                <a:gd name="T76" fmla="*/ 398 w 599"/>
                <a:gd name="T77" fmla="*/ 1 h 541"/>
                <a:gd name="T78" fmla="*/ 389 w 599"/>
                <a:gd name="T79" fmla="*/ 10 h 541"/>
                <a:gd name="T80" fmla="*/ 355 w 599"/>
                <a:gd name="T81" fmla="*/ 77 h 541"/>
                <a:gd name="T82" fmla="*/ 265 w 599"/>
                <a:gd name="T83" fmla="*/ 97 h 541"/>
                <a:gd name="T84" fmla="*/ 191 w 599"/>
                <a:gd name="T85" fmla="*/ 134 h 541"/>
                <a:gd name="T86" fmla="*/ 133 w 599"/>
                <a:gd name="T87" fmla="*/ 183 h 541"/>
                <a:gd name="T88" fmla="*/ 87 w 599"/>
                <a:gd name="T89" fmla="*/ 241 h 541"/>
                <a:gd name="T90" fmla="*/ 54 w 599"/>
                <a:gd name="T91" fmla="*/ 303 h 541"/>
                <a:gd name="T92" fmla="*/ 30 w 599"/>
                <a:gd name="T93" fmla="*/ 364 h 541"/>
                <a:gd name="T94" fmla="*/ 8 w 599"/>
                <a:gd name="T95" fmla="*/ 455 h 541"/>
                <a:gd name="T96" fmla="*/ 1 w 599"/>
                <a:gd name="T97" fmla="*/ 531 h 541"/>
                <a:gd name="T98" fmla="*/ 13 w 599"/>
                <a:gd name="T99"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9" h="541">
                  <a:moveTo>
                    <a:pt x="81" y="313"/>
                  </a:moveTo>
                  <a:lnTo>
                    <a:pt x="93" y="288"/>
                  </a:lnTo>
                  <a:lnTo>
                    <a:pt x="107" y="264"/>
                  </a:lnTo>
                  <a:lnTo>
                    <a:pt x="121" y="242"/>
                  </a:lnTo>
                  <a:lnTo>
                    <a:pt x="137" y="222"/>
                  </a:lnTo>
                  <a:lnTo>
                    <a:pt x="153" y="203"/>
                  </a:lnTo>
                  <a:lnTo>
                    <a:pt x="171" y="186"/>
                  </a:lnTo>
                  <a:lnTo>
                    <a:pt x="190" y="171"/>
                  </a:lnTo>
                  <a:lnTo>
                    <a:pt x="210" y="157"/>
                  </a:lnTo>
                  <a:lnTo>
                    <a:pt x="230" y="144"/>
                  </a:lnTo>
                  <a:lnTo>
                    <a:pt x="252" y="134"/>
                  </a:lnTo>
                  <a:lnTo>
                    <a:pt x="274" y="125"/>
                  </a:lnTo>
                  <a:lnTo>
                    <a:pt x="299" y="117"/>
                  </a:lnTo>
                  <a:lnTo>
                    <a:pt x="324" y="112"/>
                  </a:lnTo>
                  <a:lnTo>
                    <a:pt x="349" y="108"/>
                  </a:lnTo>
                  <a:lnTo>
                    <a:pt x="376" y="105"/>
                  </a:lnTo>
                  <a:lnTo>
                    <a:pt x="404" y="105"/>
                  </a:lnTo>
                  <a:lnTo>
                    <a:pt x="406" y="104"/>
                  </a:lnTo>
                  <a:lnTo>
                    <a:pt x="409" y="104"/>
                  </a:lnTo>
                  <a:lnTo>
                    <a:pt x="412" y="101"/>
                  </a:lnTo>
                  <a:lnTo>
                    <a:pt x="414" y="100"/>
                  </a:lnTo>
                  <a:lnTo>
                    <a:pt x="416" y="97"/>
                  </a:lnTo>
                  <a:lnTo>
                    <a:pt x="417" y="95"/>
                  </a:lnTo>
                  <a:lnTo>
                    <a:pt x="418" y="92"/>
                  </a:lnTo>
                  <a:lnTo>
                    <a:pt x="419" y="90"/>
                  </a:lnTo>
                  <a:lnTo>
                    <a:pt x="419" y="47"/>
                  </a:lnTo>
                  <a:lnTo>
                    <a:pt x="561" y="166"/>
                  </a:lnTo>
                  <a:lnTo>
                    <a:pt x="419" y="283"/>
                  </a:lnTo>
                  <a:lnTo>
                    <a:pt x="419" y="240"/>
                  </a:lnTo>
                  <a:lnTo>
                    <a:pt x="418" y="237"/>
                  </a:lnTo>
                  <a:lnTo>
                    <a:pt x="417" y="234"/>
                  </a:lnTo>
                  <a:lnTo>
                    <a:pt x="416" y="231"/>
                  </a:lnTo>
                  <a:lnTo>
                    <a:pt x="414" y="229"/>
                  </a:lnTo>
                  <a:lnTo>
                    <a:pt x="412" y="227"/>
                  </a:lnTo>
                  <a:lnTo>
                    <a:pt x="409" y="226"/>
                  </a:lnTo>
                  <a:lnTo>
                    <a:pt x="406" y="225"/>
                  </a:lnTo>
                  <a:lnTo>
                    <a:pt x="404" y="225"/>
                  </a:lnTo>
                  <a:lnTo>
                    <a:pt x="385" y="225"/>
                  </a:lnTo>
                  <a:lnTo>
                    <a:pt x="367" y="226"/>
                  </a:lnTo>
                  <a:lnTo>
                    <a:pt x="349" y="228"/>
                  </a:lnTo>
                  <a:lnTo>
                    <a:pt x="332" y="229"/>
                  </a:lnTo>
                  <a:lnTo>
                    <a:pt x="316" y="232"/>
                  </a:lnTo>
                  <a:lnTo>
                    <a:pt x="300" y="235"/>
                  </a:lnTo>
                  <a:lnTo>
                    <a:pt x="285" y="239"/>
                  </a:lnTo>
                  <a:lnTo>
                    <a:pt x="270" y="243"/>
                  </a:lnTo>
                  <a:lnTo>
                    <a:pt x="256" y="247"/>
                  </a:lnTo>
                  <a:lnTo>
                    <a:pt x="242" y="253"/>
                  </a:lnTo>
                  <a:lnTo>
                    <a:pt x="228" y="258"/>
                  </a:lnTo>
                  <a:lnTo>
                    <a:pt x="215" y="263"/>
                  </a:lnTo>
                  <a:lnTo>
                    <a:pt x="191" y="276"/>
                  </a:lnTo>
                  <a:lnTo>
                    <a:pt x="168" y="290"/>
                  </a:lnTo>
                  <a:lnTo>
                    <a:pt x="148" y="305"/>
                  </a:lnTo>
                  <a:lnTo>
                    <a:pt x="129" y="320"/>
                  </a:lnTo>
                  <a:lnTo>
                    <a:pt x="111" y="336"/>
                  </a:lnTo>
                  <a:lnTo>
                    <a:pt x="95" y="353"/>
                  </a:lnTo>
                  <a:lnTo>
                    <a:pt x="80" y="369"/>
                  </a:lnTo>
                  <a:lnTo>
                    <a:pt x="67" y="387"/>
                  </a:lnTo>
                  <a:lnTo>
                    <a:pt x="56" y="404"/>
                  </a:lnTo>
                  <a:lnTo>
                    <a:pt x="45" y="420"/>
                  </a:lnTo>
                  <a:lnTo>
                    <a:pt x="51" y="395"/>
                  </a:lnTo>
                  <a:lnTo>
                    <a:pt x="60" y="368"/>
                  </a:lnTo>
                  <a:lnTo>
                    <a:pt x="70" y="341"/>
                  </a:lnTo>
                  <a:lnTo>
                    <a:pt x="81" y="313"/>
                  </a:lnTo>
                  <a:close/>
                  <a:moveTo>
                    <a:pt x="13" y="541"/>
                  </a:moveTo>
                  <a:lnTo>
                    <a:pt x="14" y="541"/>
                  </a:lnTo>
                  <a:lnTo>
                    <a:pt x="15" y="541"/>
                  </a:lnTo>
                  <a:lnTo>
                    <a:pt x="20" y="540"/>
                  </a:lnTo>
                  <a:lnTo>
                    <a:pt x="25" y="538"/>
                  </a:lnTo>
                  <a:lnTo>
                    <a:pt x="28" y="535"/>
                  </a:lnTo>
                  <a:lnTo>
                    <a:pt x="30" y="529"/>
                  </a:lnTo>
                  <a:lnTo>
                    <a:pt x="33" y="517"/>
                  </a:lnTo>
                  <a:lnTo>
                    <a:pt x="45" y="486"/>
                  </a:lnTo>
                  <a:lnTo>
                    <a:pt x="54" y="466"/>
                  </a:lnTo>
                  <a:lnTo>
                    <a:pt x="66" y="443"/>
                  </a:lnTo>
                  <a:lnTo>
                    <a:pt x="73" y="432"/>
                  </a:lnTo>
                  <a:lnTo>
                    <a:pt x="81" y="420"/>
                  </a:lnTo>
                  <a:lnTo>
                    <a:pt x="90" y="407"/>
                  </a:lnTo>
                  <a:lnTo>
                    <a:pt x="100" y="394"/>
                  </a:lnTo>
                  <a:lnTo>
                    <a:pt x="109" y="382"/>
                  </a:lnTo>
                  <a:lnTo>
                    <a:pt x="121" y="369"/>
                  </a:lnTo>
                  <a:lnTo>
                    <a:pt x="133" y="357"/>
                  </a:lnTo>
                  <a:lnTo>
                    <a:pt x="146" y="345"/>
                  </a:lnTo>
                  <a:lnTo>
                    <a:pt x="160" y="333"/>
                  </a:lnTo>
                  <a:lnTo>
                    <a:pt x="175" y="322"/>
                  </a:lnTo>
                  <a:lnTo>
                    <a:pt x="192" y="312"/>
                  </a:lnTo>
                  <a:lnTo>
                    <a:pt x="209" y="301"/>
                  </a:lnTo>
                  <a:lnTo>
                    <a:pt x="227" y="292"/>
                  </a:lnTo>
                  <a:lnTo>
                    <a:pt x="247" y="284"/>
                  </a:lnTo>
                  <a:lnTo>
                    <a:pt x="267" y="276"/>
                  </a:lnTo>
                  <a:lnTo>
                    <a:pt x="288" y="269"/>
                  </a:lnTo>
                  <a:lnTo>
                    <a:pt x="312" y="263"/>
                  </a:lnTo>
                  <a:lnTo>
                    <a:pt x="337" y="259"/>
                  </a:lnTo>
                  <a:lnTo>
                    <a:pt x="361" y="257"/>
                  </a:lnTo>
                  <a:lnTo>
                    <a:pt x="388" y="255"/>
                  </a:lnTo>
                  <a:lnTo>
                    <a:pt x="388" y="315"/>
                  </a:lnTo>
                  <a:lnTo>
                    <a:pt x="389" y="319"/>
                  </a:lnTo>
                  <a:lnTo>
                    <a:pt x="391" y="323"/>
                  </a:lnTo>
                  <a:lnTo>
                    <a:pt x="393" y="327"/>
                  </a:lnTo>
                  <a:lnTo>
                    <a:pt x="398" y="329"/>
                  </a:lnTo>
                  <a:lnTo>
                    <a:pt x="401" y="330"/>
                  </a:lnTo>
                  <a:lnTo>
                    <a:pt x="405" y="330"/>
                  </a:lnTo>
                  <a:lnTo>
                    <a:pt x="409" y="329"/>
                  </a:lnTo>
                  <a:lnTo>
                    <a:pt x="413" y="327"/>
                  </a:lnTo>
                  <a:lnTo>
                    <a:pt x="594" y="178"/>
                  </a:lnTo>
                  <a:lnTo>
                    <a:pt x="596" y="175"/>
                  </a:lnTo>
                  <a:lnTo>
                    <a:pt x="598" y="172"/>
                  </a:lnTo>
                  <a:lnTo>
                    <a:pt x="599" y="169"/>
                  </a:lnTo>
                  <a:lnTo>
                    <a:pt x="599" y="166"/>
                  </a:lnTo>
                  <a:lnTo>
                    <a:pt x="599" y="163"/>
                  </a:lnTo>
                  <a:lnTo>
                    <a:pt x="598" y="159"/>
                  </a:lnTo>
                  <a:lnTo>
                    <a:pt x="596" y="156"/>
                  </a:lnTo>
                  <a:lnTo>
                    <a:pt x="594" y="154"/>
                  </a:lnTo>
                  <a:lnTo>
                    <a:pt x="414" y="3"/>
                  </a:lnTo>
                  <a:lnTo>
                    <a:pt x="409" y="1"/>
                  </a:lnTo>
                  <a:lnTo>
                    <a:pt x="405" y="0"/>
                  </a:lnTo>
                  <a:lnTo>
                    <a:pt x="401" y="0"/>
                  </a:lnTo>
                  <a:lnTo>
                    <a:pt x="398" y="1"/>
                  </a:lnTo>
                  <a:lnTo>
                    <a:pt x="393" y="3"/>
                  </a:lnTo>
                  <a:lnTo>
                    <a:pt x="391" y="6"/>
                  </a:lnTo>
                  <a:lnTo>
                    <a:pt x="389" y="10"/>
                  </a:lnTo>
                  <a:lnTo>
                    <a:pt x="388" y="13"/>
                  </a:lnTo>
                  <a:lnTo>
                    <a:pt x="388" y="75"/>
                  </a:lnTo>
                  <a:lnTo>
                    <a:pt x="355" y="77"/>
                  </a:lnTo>
                  <a:lnTo>
                    <a:pt x="323" y="81"/>
                  </a:lnTo>
                  <a:lnTo>
                    <a:pt x="293" y="89"/>
                  </a:lnTo>
                  <a:lnTo>
                    <a:pt x="265" y="97"/>
                  </a:lnTo>
                  <a:lnTo>
                    <a:pt x="238" y="108"/>
                  </a:lnTo>
                  <a:lnTo>
                    <a:pt x="213" y="120"/>
                  </a:lnTo>
                  <a:lnTo>
                    <a:pt x="191" y="134"/>
                  </a:lnTo>
                  <a:lnTo>
                    <a:pt x="169" y="149"/>
                  </a:lnTo>
                  <a:lnTo>
                    <a:pt x="150" y="166"/>
                  </a:lnTo>
                  <a:lnTo>
                    <a:pt x="133" y="183"/>
                  </a:lnTo>
                  <a:lnTo>
                    <a:pt x="116" y="202"/>
                  </a:lnTo>
                  <a:lnTo>
                    <a:pt x="101" y="222"/>
                  </a:lnTo>
                  <a:lnTo>
                    <a:pt x="87" y="241"/>
                  </a:lnTo>
                  <a:lnTo>
                    <a:pt x="75" y="261"/>
                  </a:lnTo>
                  <a:lnTo>
                    <a:pt x="64" y="282"/>
                  </a:lnTo>
                  <a:lnTo>
                    <a:pt x="54" y="303"/>
                  </a:lnTo>
                  <a:lnTo>
                    <a:pt x="45" y="323"/>
                  </a:lnTo>
                  <a:lnTo>
                    <a:pt x="37" y="344"/>
                  </a:lnTo>
                  <a:lnTo>
                    <a:pt x="30" y="364"/>
                  </a:lnTo>
                  <a:lnTo>
                    <a:pt x="25" y="384"/>
                  </a:lnTo>
                  <a:lnTo>
                    <a:pt x="15" y="421"/>
                  </a:lnTo>
                  <a:lnTo>
                    <a:pt x="8" y="455"/>
                  </a:lnTo>
                  <a:lnTo>
                    <a:pt x="1" y="506"/>
                  </a:lnTo>
                  <a:lnTo>
                    <a:pt x="0" y="526"/>
                  </a:lnTo>
                  <a:lnTo>
                    <a:pt x="1" y="531"/>
                  </a:lnTo>
                  <a:lnTo>
                    <a:pt x="4" y="536"/>
                  </a:lnTo>
                  <a:lnTo>
                    <a:pt x="7" y="539"/>
                  </a:lnTo>
                  <a:lnTo>
                    <a:pt x="13"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3" name="Group 71">
            <a:extLst>
              <a:ext uri="{FF2B5EF4-FFF2-40B4-BE49-F238E27FC236}">
                <a16:creationId xmlns:a16="http://schemas.microsoft.com/office/drawing/2014/main" id="{DEDE15B2-CDC8-49DA-89C7-B3AF3F6CB024}"/>
              </a:ext>
            </a:extLst>
          </p:cNvPr>
          <p:cNvGrpSpPr>
            <a:grpSpLocks noChangeAspect="1"/>
          </p:cNvGrpSpPr>
          <p:nvPr/>
        </p:nvGrpSpPr>
        <p:grpSpPr>
          <a:xfrm>
            <a:off x="6151667" y="5944848"/>
            <a:ext cx="355550" cy="308144"/>
            <a:chOff x="9307513" y="2533650"/>
            <a:chExt cx="285750" cy="247651"/>
          </a:xfrm>
          <a:solidFill>
            <a:schemeClr val="bg1"/>
          </a:solidFill>
          <a:effectLst/>
        </p:grpSpPr>
        <p:sp>
          <p:nvSpPr>
            <p:cNvPr id="694" name="Freeform 431">
              <a:extLst>
                <a:ext uri="{FF2B5EF4-FFF2-40B4-BE49-F238E27FC236}">
                  <a16:creationId xmlns:a16="http://schemas.microsoft.com/office/drawing/2014/main" id="{D6242F06-872E-4BD4-B9AB-40D64F8ABF06}"/>
                </a:ext>
              </a:extLst>
            </p:cNvPr>
            <p:cNvSpPr>
              <a:spLocks/>
            </p:cNvSpPr>
            <p:nvPr/>
          </p:nvSpPr>
          <p:spPr bwMode="auto">
            <a:xfrm>
              <a:off x="9307513" y="2709863"/>
              <a:ext cx="285750" cy="71438"/>
            </a:xfrm>
            <a:custGeom>
              <a:avLst/>
              <a:gdLst>
                <a:gd name="T0" fmla="*/ 879 w 900"/>
                <a:gd name="T1" fmla="*/ 1 h 225"/>
                <a:gd name="T2" fmla="*/ 450 w 900"/>
                <a:gd name="T3" fmla="*/ 194 h 225"/>
                <a:gd name="T4" fmla="*/ 22 w 900"/>
                <a:gd name="T5" fmla="*/ 1 h 225"/>
                <a:gd name="T6" fmla="*/ 18 w 900"/>
                <a:gd name="T7" fmla="*/ 0 h 225"/>
                <a:gd name="T8" fmla="*/ 15 w 900"/>
                <a:gd name="T9" fmla="*/ 0 h 225"/>
                <a:gd name="T10" fmla="*/ 13 w 900"/>
                <a:gd name="T11" fmla="*/ 0 h 225"/>
                <a:gd name="T12" fmla="*/ 10 w 900"/>
                <a:gd name="T13" fmla="*/ 1 h 225"/>
                <a:gd name="T14" fmla="*/ 8 w 900"/>
                <a:gd name="T15" fmla="*/ 2 h 225"/>
                <a:gd name="T16" fmla="*/ 5 w 900"/>
                <a:gd name="T17" fmla="*/ 5 h 225"/>
                <a:gd name="T18" fmla="*/ 4 w 900"/>
                <a:gd name="T19" fmla="*/ 7 h 225"/>
                <a:gd name="T20" fmla="*/ 1 w 900"/>
                <a:gd name="T21" fmla="*/ 9 h 225"/>
                <a:gd name="T22" fmla="*/ 0 w 900"/>
                <a:gd name="T23" fmla="*/ 12 h 225"/>
                <a:gd name="T24" fmla="*/ 0 w 900"/>
                <a:gd name="T25" fmla="*/ 15 h 225"/>
                <a:gd name="T26" fmla="*/ 0 w 900"/>
                <a:gd name="T27" fmla="*/ 17 h 225"/>
                <a:gd name="T28" fmla="*/ 1 w 900"/>
                <a:gd name="T29" fmla="*/ 21 h 225"/>
                <a:gd name="T30" fmla="*/ 2 w 900"/>
                <a:gd name="T31" fmla="*/ 23 h 225"/>
                <a:gd name="T32" fmla="*/ 5 w 900"/>
                <a:gd name="T33" fmla="*/ 25 h 225"/>
                <a:gd name="T34" fmla="*/ 7 w 900"/>
                <a:gd name="T35" fmla="*/ 27 h 225"/>
                <a:gd name="T36" fmla="*/ 9 w 900"/>
                <a:gd name="T37" fmla="*/ 29 h 225"/>
                <a:gd name="T38" fmla="*/ 444 w 900"/>
                <a:gd name="T39" fmla="*/ 224 h 225"/>
                <a:gd name="T40" fmla="*/ 447 w 900"/>
                <a:gd name="T41" fmla="*/ 225 h 225"/>
                <a:gd name="T42" fmla="*/ 450 w 900"/>
                <a:gd name="T43" fmla="*/ 225 h 225"/>
                <a:gd name="T44" fmla="*/ 453 w 900"/>
                <a:gd name="T45" fmla="*/ 225 h 225"/>
                <a:gd name="T46" fmla="*/ 457 w 900"/>
                <a:gd name="T47" fmla="*/ 224 h 225"/>
                <a:gd name="T48" fmla="*/ 891 w 900"/>
                <a:gd name="T49" fmla="*/ 29 h 225"/>
                <a:gd name="T50" fmla="*/ 894 w 900"/>
                <a:gd name="T51" fmla="*/ 27 h 225"/>
                <a:gd name="T52" fmla="*/ 896 w 900"/>
                <a:gd name="T53" fmla="*/ 25 h 225"/>
                <a:gd name="T54" fmla="*/ 898 w 900"/>
                <a:gd name="T55" fmla="*/ 23 h 225"/>
                <a:gd name="T56" fmla="*/ 899 w 900"/>
                <a:gd name="T57" fmla="*/ 21 h 225"/>
                <a:gd name="T58" fmla="*/ 900 w 900"/>
                <a:gd name="T59" fmla="*/ 17 h 225"/>
                <a:gd name="T60" fmla="*/ 900 w 900"/>
                <a:gd name="T61" fmla="*/ 15 h 225"/>
                <a:gd name="T62" fmla="*/ 900 w 900"/>
                <a:gd name="T63" fmla="*/ 12 h 225"/>
                <a:gd name="T64" fmla="*/ 899 w 900"/>
                <a:gd name="T65" fmla="*/ 9 h 225"/>
                <a:gd name="T66" fmla="*/ 897 w 900"/>
                <a:gd name="T67" fmla="*/ 7 h 225"/>
                <a:gd name="T68" fmla="*/ 896 w 900"/>
                <a:gd name="T69" fmla="*/ 5 h 225"/>
                <a:gd name="T70" fmla="*/ 894 w 900"/>
                <a:gd name="T71" fmla="*/ 2 h 225"/>
                <a:gd name="T72" fmla="*/ 890 w 900"/>
                <a:gd name="T73" fmla="*/ 1 h 225"/>
                <a:gd name="T74" fmla="*/ 887 w 900"/>
                <a:gd name="T75" fmla="*/ 0 h 225"/>
                <a:gd name="T76" fmla="*/ 885 w 900"/>
                <a:gd name="T77" fmla="*/ 0 h 225"/>
                <a:gd name="T78" fmla="*/ 882 w 900"/>
                <a:gd name="T79" fmla="*/ 0 h 225"/>
                <a:gd name="T80" fmla="*/ 879 w 900"/>
                <a:gd name="T81"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0" h="225">
                  <a:moveTo>
                    <a:pt x="879" y="1"/>
                  </a:moveTo>
                  <a:lnTo>
                    <a:pt x="450" y="194"/>
                  </a:lnTo>
                  <a:lnTo>
                    <a:pt x="22" y="1"/>
                  </a:lnTo>
                  <a:lnTo>
                    <a:pt x="18" y="0"/>
                  </a:lnTo>
                  <a:lnTo>
                    <a:pt x="15" y="0"/>
                  </a:lnTo>
                  <a:lnTo>
                    <a:pt x="13" y="0"/>
                  </a:lnTo>
                  <a:lnTo>
                    <a:pt x="10" y="1"/>
                  </a:lnTo>
                  <a:lnTo>
                    <a:pt x="8" y="2"/>
                  </a:lnTo>
                  <a:lnTo>
                    <a:pt x="5" y="5"/>
                  </a:lnTo>
                  <a:lnTo>
                    <a:pt x="4" y="7"/>
                  </a:lnTo>
                  <a:lnTo>
                    <a:pt x="1" y="9"/>
                  </a:lnTo>
                  <a:lnTo>
                    <a:pt x="0" y="12"/>
                  </a:lnTo>
                  <a:lnTo>
                    <a:pt x="0" y="15"/>
                  </a:lnTo>
                  <a:lnTo>
                    <a:pt x="0" y="17"/>
                  </a:lnTo>
                  <a:lnTo>
                    <a:pt x="1" y="21"/>
                  </a:lnTo>
                  <a:lnTo>
                    <a:pt x="2" y="23"/>
                  </a:lnTo>
                  <a:lnTo>
                    <a:pt x="5" y="25"/>
                  </a:lnTo>
                  <a:lnTo>
                    <a:pt x="7" y="27"/>
                  </a:lnTo>
                  <a:lnTo>
                    <a:pt x="9" y="29"/>
                  </a:lnTo>
                  <a:lnTo>
                    <a:pt x="444" y="224"/>
                  </a:lnTo>
                  <a:lnTo>
                    <a:pt x="447" y="225"/>
                  </a:lnTo>
                  <a:lnTo>
                    <a:pt x="450" y="225"/>
                  </a:lnTo>
                  <a:lnTo>
                    <a:pt x="453" y="225"/>
                  </a:lnTo>
                  <a:lnTo>
                    <a:pt x="457" y="224"/>
                  </a:lnTo>
                  <a:lnTo>
                    <a:pt x="891" y="29"/>
                  </a:lnTo>
                  <a:lnTo>
                    <a:pt x="894" y="27"/>
                  </a:lnTo>
                  <a:lnTo>
                    <a:pt x="896" y="25"/>
                  </a:lnTo>
                  <a:lnTo>
                    <a:pt x="898" y="23"/>
                  </a:lnTo>
                  <a:lnTo>
                    <a:pt x="899" y="21"/>
                  </a:lnTo>
                  <a:lnTo>
                    <a:pt x="900" y="17"/>
                  </a:lnTo>
                  <a:lnTo>
                    <a:pt x="900" y="15"/>
                  </a:lnTo>
                  <a:lnTo>
                    <a:pt x="900" y="12"/>
                  </a:lnTo>
                  <a:lnTo>
                    <a:pt x="899" y="9"/>
                  </a:lnTo>
                  <a:lnTo>
                    <a:pt x="897" y="7"/>
                  </a:lnTo>
                  <a:lnTo>
                    <a:pt x="896" y="5"/>
                  </a:lnTo>
                  <a:lnTo>
                    <a:pt x="894" y="2"/>
                  </a:lnTo>
                  <a:lnTo>
                    <a:pt x="890" y="1"/>
                  </a:lnTo>
                  <a:lnTo>
                    <a:pt x="887" y="0"/>
                  </a:lnTo>
                  <a:lnTo>
                    <a:pt x="885" y="0"/>
                  </a:lnTo>
                  <a:lnTo>
                    <a:pt x="882" y="0"/>
                  </a:lnTo>
                  <a:lnTo>
                    <a:pt x="8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432">
              <a:extLst>
                <a:ext uri="{FF2B5EF4-FFF2-40B4-BE49-F238E27FC236}">
                  <a16:creationId xmlns:a16="http://schemas.microsoft.com/office/drawing/2014/main" id="{62A06CD9-75C3-450B-B189-D99DD3CFA226}"/>
                </a:ext>
              </a:extLst>
            </p:cNvPr>
            <p:cNvSpPr>
              <a:spLocks/>
            </p:cNvSpPr>
            <p:nvPr/>
          </p:nvSpPr>
          <p:spPr bwMode="auto">
            <a:xfrm>
              <a:off x="9307513" y="2671763"/>
              <a:ext cx="285750" cy="71438"/>
            </a:xfrm>
            <a:custGeom>
              <a:avLst/>
              <a:gdLst>
                <a:gd name="T0" fmla="*/ 879 w 900"/>
                <a:gd name="T1" fmla="*/ 1 h 224"/>
                <a:gd name="T2" fmla="*/ 450 w 900"/>
                <a:gd name="T3" fmla="*/ 193 h 224"/>
                <a:gd name="T4" fmla="*/ 22 w 900"/>
                <a:gd name="T5" fmla="*/ 1 h 224"/>
                <a:gd name="T6" fmla="*/ 18 w 900"/>
                <a:gd name="T7" fmla="*/ 0 h 224"/>
                <a:gd name="T8" fmla="*/ 15 w 900"/>
                <a:gd name="T9" fmla="*/ 0 h 224"/>
                <a:gd name="T10" fmla="*/ 13 w 900"/>
                <a:gd name="T11" fmla="*/ 0 h 224"/>
                <a:gd name="T12" fmla="*/ 10 w 900"/>
                <a:gd name="T13" fmla="*/ 1 h 224"/>
                <a:gd name="T14" fmla="*/ 8 w 900"/>
                <a:gd name="T15" fmla="*/ 2 h 224"/>
                <a:gd name="T16" fmla="*/ 5 w 900"/>
                <a:gd name="T17" fmla="*/ 3 h 224"/>
                <a:gd name="T18" fmla="*/ 4 w 900"/>
                <a:gd name="T19" fmla="*/ 5 h 224"/>
                <a:gd name="T20" fmla="*/ 1 w 900"/>
                <a:gd name="T21" fmla="*/ 8 h 224"/>
                <a:gd name="T22" fmla="*/ 0 w 900"/>
                <a:gd name="T23" fmla="*/ 11 h 224"/>
                <a:gd name="T24" fmla="*/ 0 w 900"/>
                <a:gd name="T25" fmla="*/ 14 h 224"/>
                <a:gd name="T26" fmla="*/ 0 w 900"/>
                <a:gd name="T27" fmla="*/ 17 h 224"/>
                <a:gd name="T28" fmla="*/ 1 w 900"/>
                <a:gd name="T29" fmla="*/ 20 h 224"/>
                <a:gd name="T30" fmla="*/ 2 w 900"/>
                <a:gd name="T31" fmla="*/ 22 h 224"/>
                <a:gd name="T32" fmla="*/ 5 w 900"/>
                <a:gd name="T33" fmla="*/ 24 h 224"/>
                <a:gd name="T34" fmla="*/ 7 w 900"/>
                <a:gd name="T35" fmla="*/ 26 h 224"/>
                <a:gd name="T36" fmla="*/ 9 w 900"/>
                <a:gd name="T37" fmla="*/ 27 h 224"/>
                <a:gd name="T38" fmla="*/ 444 w 900"/>
                <a:gd name="T39" fmla="*/ 223 h 224"/>
                <a:gd name="T40" fmla="*/ 447 w 900"/>
                <a:gd name="T41" fmla="*/ 224 h 224"/>
                <a:gd name="T42" fmla="*/ 450 w 900"/>
                <a:gd name="T43" fmla="*/ 224 h 224"/>
                <a:gd name="T44" fmla="*/ 453 w 900"/>
                <a:gd name="T45" fmla="*/ 224 h 224"/>
                <a:gd name="T46" fmla="*/ 457 w 900"/>
                <a:gd name="T47" fmla="*/ 223 h 224"/>
                <a:gd name="T48" fmla="*/ 891 w 900"/>
                <a:gd name="T49" fmla="*/ 27 h 224"/>
                <a:gd name="T50" fmla="*/ 894 w 900"/>
                <a:gd name="T51" fmla="*/ 26 h 224"/>
                <a:gd name="T52" fmla="*/ 896 w 900"/>
                <a:gd name="T53" fmla="*/ 24 h 224"/>
                <a:gd name="T54" fmla="*/ 898 w 900"/>
                <a:gd name="T55" fmla="*/ 22 h 224"/>
                <a:gd name="T56" fmla="*/ 899 w 900"/>
                <a:gd name="T57" fmla="*/ 20 h 224"/>
                <a:gd name="T58" fmla="*/ 900 w 900"/>
                <a:gd name="T59" fmla="*/ 17 h 224"/>
                <a:gd name="T60" fmla="*/ 900 w 900"/>
                <a:gd name="T61" fmla="*/ 14 h 224"/>
                <a:gd name="T62" fmla="*/ 900 w 900"/>
                <a:gd name="T63" fmla="*/ 11 h 224"/>
                <a:gd name="T64" fmla="*/ 899 w 900"/>
                <a:gd name="T65" fmla="*/ 8 h 224"/>
                <a:gd name="T66" fmla="*/ 897 w 900"/>
                <a:gd name="T67" fmla="*/ 5 h 224"/>
                <a:gd name="T68" fmla="*/ 896 w 900"/>
                <a:gd name="T69" fmla="*/ 3 h 224"/>
                <a:gd name="T70" fmla="*/ 894 w 900"/>
                <a:gd name="T71" fmla="*/ 2 h 224"/>
                <a:gd name="T72" fmla="*/ 890 w 900"/>
                <a:gd name="T73" fmla="*/ 1 h 224"/>
                <a:gd name="T74" fmla="*/ 887 w 900"/>
                <a:gd name="T75" fmla="*/ 0 h 224"/>
                <a:gd name="T76" fmla="*/ 885 w 900"/>
                <a:gd name="T77" fmla="*/ 0 h 224"/>
                <a:gd name="T78" fmla="*/ 882 w 900"/>
                <a:gd name="T79" fmla="*/ 0 h 224"/>
                <a:gd name="T80" fmla="*/ 879 w 900"/>
                <a:gd name="T81" fmla="*/ 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0" h="224">
                  <a:moveTo>
                    <a:pt x="879" y="1"/>
                  </a:moveTo>
                  <a:lnTo>
                    <a:pt x="450" y="193"/>
                  </a:lnTo>
                  <a:lnTo>
                    <a:pt x="22" y="1"/>
                  </a:lnTo>
                  <a:lnTo>
                    <a:pt x="18" y="0"/>
                  </a:lnTo>
                  <a:lnTo>
                    <a:pt x="15" y="0"/>
                  </a:lnTo>
                  <a:lnTo>
                    <a:pt x="13" y="0"/>
                  </a:lnTo>
                  <a:lnTo>
                    <a:pt x="10" y="1"/>
                  </a:lnTo>
                  <a:lnTo>
                    <a:pt x="8" y="2"/>
                  </a:lnTo>
                  <a:lnTo>
                    <a:pt x="5" y="3"/>
                  </a:lnTo>
                  <a:lnTo>
                    <a:pt x="4" y="5"/>
                  </a:lnTo>
                  <a:lnTo>
                    <a:pt x="1" y="8"/>
                  </a:lnTo>
                  <a:lnTo>
                    <a:pt x="0" y="11"/>
                  </a:lnTo>
                  <a:lnTo>
                    <a:pt x="0" y="14"/>
                  </a:lnTo>
                  <a:lnTo>
                    <a:pt x="0" y="17"/>
                  </a:lnTo>
                  <a:lnTo>
                    <a:pt x="1" y="20"/>
                  </a:lnTo>
                  <a:lnTo>
                    <a:pt x="2" y="22"/>
                  </a:lnTo>
                  <a:lnTo>
                    <a:pt x="5" y="24"/>
                  </a:lnTo>
                  <a:lnTo>
                    <a:pt x="7" y="26"/>
                  </a:lnTo>
                  <a:lnTo>
                    <a:pt x="9" y="27"/>
                  </a:lnTo>
                  <a:lnTo>
                    <a:pt x="444" y="223"/>
                  </a:lnTo>
                  <a:lnTo>
                    <a:pt x="447" y="224"/>
                  </a:lnTo>
                  <a:lnTo>
                    <a:pt x="450" y="224"/>
                  </a:lnTo>
                  <a:lnTo>
                    <a:pt x="453" y="224"/>
                  </a:lnTo>
                  <a:lnTo>
                    <a:pt x="457" y="223"/>
                  </a:lnTo>
                  <a:lnTo>
                    <a:pt x="891" y="27"/>
                  </a:lnTo>
                  <a:lnTo>
                    <a:pt x="894" y="26"/>
                  </a:lnTo>
                  <a:lnTo>
                    <a:pt x="896" y="24"/>
                  </a:lnTo>
                  <a:lnTo>
                    <a:pt x="898" y="22"/>
                  </a:lnTo>
                  <a:lnTo>
                    <a:pt x="899" y="20"/>
                  </a:lnTo>
                  <a:lnTo>
                    <a:pt x="900" y="17"/>
                  </a:lnTo>
                  <a:lnTo>
                    <a:pt x="900" y="14"/>
                  </a:lnTo>
                  <a:lnTo>
                    <a:pt x="900" y="11"/>
                  </a:lnTo>
                  <a:lnTo>
                    <a:pt x="899" y="8"/>
                  </a:lnTo>
                  <a:lnTo>
                    <a:pt x="897" y="5"/>
                  </a:lnTo>
                  <a:lnTo>
                    <a:pt x="896" y="3"/>
                  </a:lnTo>
                  <a:lnTo>
                    <a:pt x="894" y="2"/>
                  </a:lnTo>
                  <a:lnTo>
                    <a:pt x="890" y="1"/>
                  </a:lnTo>
                  <a:lnTo>
                    <a:pt x="887" y="0"/>
                  </a:lnTo>
                  <a:lnTo>
                    <a:pt x="885" y="0"/>
                  </a:lnTo>
                  <a:lnTo>
                    <a:pt x="882" y="0"/>
                  </a:lnTo>
                  <a:lnTo>
                    <a:pt x="87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433">
              <a:extLst>
                <a:ext uri="{FF2B5EF4-FFF2-40B4-BE49-F238E27FC236}">
                  <a16:creationId xmlns:a16="http://schemas.microsoft.com/office/drawing/2014/main" id="{62848730-14DE-40F8-9353-B2702019C9AD}"/>
                </a:ext>
              </a:extLst>
            </p:cNvPr>
            <p:cNvSpPr>
              <a:spLocks/>
            </p:cNvSpPr>
            <p:nvPr/>
          </p:nvSpPr>
          <p:spPr bwMode="auto">
            <a:xfrm>
              <a:off x="9307513" y="2633663"/>
              <a:ext cx="285750" cy="71438"/>
            </a:xfrm>
            <a:custGeom>
              <a:avLst/>
              <a:gdLst>
                <a:gd name="T0" fmla="*/ 879 w 900"/>
                <a:gd name="T1" fmla="*/ 2 h 225"/>
                <a:gd name="T2" fmla="*/ 450 w 900"/>
                <a:gd name="T3" fmla="*/ 193 h 225"/>
                <a:gd name="T4" fmla="*/ 22 w 900"/>
                <a:gd name="T5" fmla="*/ 2 h 225"/>
                <a:gd name="T6" fmla="*/ 18 w 900"/>
                <a:gd name="T7" fmla="*/ 1 h 225"/>
                <a:gd name="T8" fmla="*/ 15 w 900"/>
                <a:gd name="T9" fmla="*/ 0 h 225"/>
                <a:gd name="T10" fmla="*/ 13 w 900"/>
                <a:gd name="T11" fmla="*/ 0 h 225"/>
                <a:gd name="T12" fmla="*/ 10 w 900"/>
                <a:gd name="T13" fmla="*/ 1 h 225"/>
                <a:gd name="T14" fmla="*/ 8 w 900"/>
                <a:gd name="T15" fmla="*/ 2 h 225"/>
                <a:gd name="T16" fmla="*/ 5 w 900"/>
                <a:gd name="T17" fmla="*/ 4 h 225"/>
                <a:gd name="T18" fmla="*/ 4 w 900"/>
                <a:gd name="T19" fmla="*/ 6 h 225"/>
                <a:gd name="T20" fmla="*/ 1 w 900"/>
                <a:gd name="T21" fmla="*/ 10 h 225"/>
                <a:gd name="T22" fmla="*/ 0 w 900"/>
                <a:gd name="T23" fmla="*/ 12 h 225"/>
                <a:gd name="T24" fmla="*/ 0 w 900"/>
                <a:gd name="T25" fmla="*/ 15 h 225"/>
                <a:gd name="T26" fmla="*/ 0 w 900"/>
                <a:gd name="T27" fmla="*/ 18 h 225"/>
                <a:gd name="T28" fmla="*/ 1 w 900"/>
                <a:gd name="T29" fmla="*/ 20 h 225"/>
                <a:gd name="T30" fmla="*/ 2 w 900"/>
                <a:gd name="T31" fmla="*/ 23 h 225"/>
                <a:gd name="T32" fmla="*/ 5 w 900"/>
                <a:gd name="T33" fmla="*/ 26 h 225"/>
                <a:gd name="T34" fmla="*/ 7 w 900"/>
                <a:gd name="T35" fmla="*/ 28 h 225"/>
                <a:gd name="T36" fmla="*/ 9 w 900"/>
                <a:gd name="T37" fmla="*/ 29 h 225"/>
                <a:gd name="T38" fmla="*/ 444 w 900"/>
                <a:gd name="T39" fmla="*/ 224 h 225"/>
                <a:gd name="T40" fmla="*/ 447 w 900"/>
                <a:gd name="T41" fmla="*/ 225 h 225"/>
                <a:gd name="T42" fmla="*/ 450 w 900"/>
                <a:gd name="T43" fmla="*/ 225 h 225"/>
                <a:gd name="T44" fmla="*/ 453 w 900"/>
                <a:gd name="T45" fmla="*/ 225 h 225"/>
                <a:gd name="T46" fmla="*/ 457 w 900"/>
                <a:gd name="T47" fmla="*/ 224 h 225"/>
                <a:gd name="T48" fmla="*/ 891 w 900"/>
                <a:gd name="T49" fmla="*/ 29 h 225"/>
                <a:gd name="T50" fmla="*/ 894 w 900"/>
                <a:gd name="T51" fmla="*/ 28 h 225"/>
                <a:gd name="T52" fmla="*/ 896 w 900"/>
                <a:gd name="T53" fmla="*/ 26 h 225"/>
                <a:gd name="T54" fmla="*/ 898 w 900"/>
                <a:gd name="T55" fmla="*/ 23 h 225"/>
                <a:gd name="T56" fmla="*/ 899 w 900"/>
                <a:gd name="T57" fmla="*/ 20 h 225"/>
                <a:gd name="T58" fmla="*/ 900 w 900"/>
                <a:gd name="T59" fmla="*/ 18 h 225"/>
                <a:gd name="T60" fmla="*/ 900 w 900"/>
                <a:gd name="T61" fmla="*/ 15 h 225"/>
                <a:gd name="T62" fmla="*/ 900 w 900"/>
                <a:gd name="T63" fmla="*/ 12 h 225"/>
                <a:gd name="T64" fmla="*/ 899 w 900"/>
                <a:gd name="T65" fmla="*/ 10 h 225"/>
                <a:gd name="T66" fmla="*/ 897 w 900"/>
                <a:gd name="T67" fmla="*/ 6 h 225"/>
                <a:gd name="T68" fmla="*/ 896 w 900"/>
                <a:gd name="T69" fmla="*/ 4 h 225"/>
                <a:gd name="T70" fmla="*/ 894 w 900"/>
                <a:gd name="T71" fmla="*/ 2 h 225"/>
                <a:gd name="T72" fmla="*/ 890 w 900"/>
                <a:gd name="T73" fmla="*/ 1 h 225"/>
                <a:gd name="T74" fmla="*/ 887 w 900"/>
                <a:gd name="T75" fmla="*/ 1 h 225"/>
                <a:gd name="T76" fmla="*/ 885 w 900"/>
                <a:gd name="T77" fmla="*/ 0 h 225"/>
                <a:gd name="T78" fmla="*/ 882 w 900"/>
                <a:gd name="T79" fmla="*/ 1 h 225"/>
                <a:gd name="T80" fmla="*/ 879 w 900"/>
                <a:gd name="T81" fmla="*/ 2 h 225"/>
                <a:gd name="T82" fmla="*/ 879 w 900"/>
                <a:gd name="T83" fmla="*/ 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0" h="225">
                  <a:moveTo>
                    <a:pt x="879" y="2"/>
                  </a:moveTo>
                  <a:lnTo>
                    <a:pt x="450" y="193"/>
                  </a:lnTo>
                  <a:lnTo>
                    <a:pt x="22" y="2"/>
                  </a:lnTo>
                  <a:lnTo>
                    <a:pt x="18" y="1"/>
                  </a:lnTo>
                  <a:lnTo>
                    <a:pt x="15" y="0"/>
                  </a:lnTo>
                  <a:lnTo>
                    <a:pt x="13" y="0"/>
                  </a:lnTo>
                  <a:lnTo>
                    <a:pt x="10" y="1"/>
                  </a:lnTo>
                  <a:lnTo>
                    <a:pt x="8" y="2"/>
                  </a:lnTo>
                  <a:lnTo>
                    <a:pt x="5" y="4"/>
                  </a:lnTo>
                  <a:lnTo>
                    <a:pt x="4" y="6"/>
                  </a:lnTo>
                  <a:lnTo>
                    <a:pt x="1" y="10"/>
                  </a:lnTo>
                  <a:lnTo>
                    <a:pt x="0" y="12"/>
                  </a:lnTo>
                  <a:lnTo>
                    <a:pt x="0" y="15"/>
                  </a:lnTo>
                  <a:lnTo>
                    <a:pt x="0" y="18"/>
                  </a:lnTo>
                  <a:lnTo>
                    <a:pt x="1" y="20"/>
                  </a:lnTo>
                  <a:lnTo>
                    <a:pt x="2" y="23"/>
                  </a:lnTo>
                  <a:lnTo>
                    <a:pt x="5" y="26"/>
                  </a:lnTo>
                  <a:lnTo>
                    <a:pt x="7" y="28"/>
                  </a:lnTo>
                  <a:lnTo>
                    <a:pt x="9" y="29"/>
                  </a:lnTo>
                  <a:lnTo>
                    <a:pt x="444" y="224"/>
                  </a:lnTo>
                  <a:lnTo>
                    <a:pt x="447" y="225"/>
                  </a:lnTo>
                  <a:lnTo>
                    <a:pt x="450" y="225"/>
                  </a:lnTo>
                  <a:lnTo>
                    <a:pt x="453" y="225"/>
                  </a:lnTo>
                  <a:lnTo>
                    <a:pt x="457" y="224"/>
                  </a:lnTo>
                  <a:lnTo>
                    <a:pt x="891" y="29"/>
                  </a:lnTo>
                  <a:lnTo>
                    <a:pt x="894" y="28"/>
                  </a:lnTo>
                  <a:lnTo>
                    <a:pt x="896" y="26"/>
                  </a:lnTo>
                  <a:lnTo>
                    <a:pt x="898" y="23"/>
                  </a:lnTo>
                  <a:lnTo>
                    <a:pt x="899" y="20"/>
                  </a:lnTo>
                  <a:lnTo>
                    <a:pt x="900" y="18"/>
                  </a:lnTo>
                  <a:lnTo>
                    <a:pt x="900" y="15"/>
                  </a:lnTo>
                  <a:lnTo>
                    <a:pt x="900" y="12"/>
                  </a:lnTo>
                  <a:lnTo>
                    <a:pt x="899" y="10"/>
                  </a:lnTo>
                  <a:lnTo>
                    <a:pt x="897" y="6"/>
                  </a:lnTo>
                  <a:lnTo>
                    <a:pt x="896" y="4"/>
                  </a:lnTo>
                  <a:lnTo>
                    <a:pt x="894" y="2"/>
                  </a:lnTo>
                  <a:lnTo>
                    <a:pt x="890" y="1"/>
                  </a:lnTo>
                  <a:lnTo>
                    <a:pt x="887" y="1"/>
                  </a:lnTo>
                  <a:lnTo>
                    <a:pt x="885" y="0"/>
                  </a:lnTo>
                  <a:lnTo>
                    <a:pt x="882" y="1"/>
                  </a:lnTo>
                  <a:lnTo>
                    <a:pt x="879" y="2"/>
                  </a:lnTo>
                  <a:lnTo>
                    <a:pt x="87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434">
              <a:extLst>
                <a:ext uri="{FF2B5EF4-FFF2-40B4-BE49-F238E27FC236}">
                  <a16:creationId xmlns:a16="http://schemas.microsoft.com/office/drawing/2014/main" id="{D523A55F-2E5B-468E-A5EF-342A8D4D9ACE}"/>
                </a:ext>
              </a:extLst>
            </p:cNvPr>
            <p:cNvSpPr>
              <a:spLocks noEditPoints="1"/>
            </p:cNvSpPr>
            <p:nvPr/>
          </p:nvSpPr>
          <p:spPr bwMode="auto">
            <a:xfrm>
              <a:off x="9307513" y="2533650"/>
              <a:ext cx="285750" cy="133350"/>
            </a:xfrm>
            <a:custGeom>
              <a:avLst/>
              <a:gdLst>
                <a:gd name="T0" fmla="*/ 450 w 900"/>
                <a:gd name="T1" fmla="*/ 31 h 420"/>
                <a:gd name="T2" fmla="*/ 849 w 900"/>
                <a:gd name="T3" fmla="*/ 209 h 420"/>
                <a:gd name="T4" fmla="*/ 450 w 900"/>
                <a:gd name="T5" fmla="*/ 388 h 420"/>
                <a:gd name="T6" fmla="*/ 52 w 900"/>
                <a:gd name="T7" fmla="*/ 209 h 420"/>
                <a:gd name="T8" fmla="*/ 450 w 900"/>
                <a:gd name="T9" fmla="*/ 31 h 420"/>
                <a:gd name="T10" fmla="*/ 9 w 900"/>
                <a:gd name="T11" fmla="*/ 223 h 420"/>
                <a:gd name="T12" fmla="*/ 444 w 900"/>
                <a:gd name="T13" fmla="*/ 418 h 420"/>
                <a:gd name="T14" fmla="*/ 447 w 900"/>
                <a:gd name="T15" fmla="*/ 419 h 420"/>
                <a:gd name="T16" fmla="*/ 450 w 900"/>
                <a:gd name="T17" fmla="*/ 420 h 420"/>
                <a:gd name="T18" fmla="*/ 453 w 900"/>
                <a:gd name="T19" fmla="*/ 419 h 420"/>
                <a:gd name="T20" fmla="*/ 457 w 900"/>
                <a:gd name="T21" fmla="*/ 418 h 420"/>
                <a:gd name="T22" fmla="*/ 891 w 900"/>
                <a:gd name="T23" fmla="*/ 223 h 420"/>
                <a:gd name="T24" fmla="*/ 895 w 900"/>
                <a:gd name="T25" fmla="*/ 221 h 420"/>
                <a:gd name="T26" fmla="*/ 898 w 900"/>
                <a:gd name="T27" fmla="*/ 218 h 420"/>
                <a:gd name="T28" fmla="*/ 900 w 900"/>
                <a:gd name="T29" fmla="*/ 213 h 420"/>
                <a:gd name="T30" fmla="*/ 900 w 900"/>
                <a:gd name="T31" fmla="*/ 209 h 420"/>
                <a:gd name="T32" fmla="*/ 900 w 900"/>
                <a:gd name="T33" fmla="*/ 205 h 420"/>
                <a:gd name="T34" fmla="*/ 898 w 900"/>
                <a:gd name="T35" fmla="*/ 201 h 420"/>
                <a:gd name="T36" fmla="*/ 895 w 900"/>
                <a:gd name="T37" fmla="*/ 197 h 420"/>
                <a:gd name="T38" fmla="*/ 891 w 900"/>
                <a:gd name="T39" fmla="*/ 195 h 420"/>
                <a:gd name="T40" fmla="*/ 457 w 900"/>
                <a:gd name="T41" fmla="*/ 1 h 420"/>
                <a:gd name="T42" fmla="*/ 453 w 900"/>
                <a:gd name="T43" fmla="*/ 0 h 420"/>
                <a:gd name="T44" fmla="*/ 450 w 900"/>
                <a:gd name="T45" fmla="*/ 0 h 420"/>
                <a:gd name="T46" fmla="*/ 447 w 900"/>
                <a:gd name="T47" fmla="*/ 0 h 420"/>
                <a:gd name="T48" fmla="*/ 444 w 900"/>
                <a:gd name="T49" fmla="*/ 1 h 420"/>
                <a:gd name="T50" fmla="*/ 9 w 900"/>
                <a:gd name="T51" fmla="*/ 195 h 420"/>
                <a:gd name="T52" fmla="*/ 6 w 900"/>
                <a:gd name="T53" fmla="*/ 197 h 420"/>
                <a:gd name="T54" fmla="*/ 2 w 900"/>
                <a:gd name="T55" fmla="*/ 201 h 420"/>
                <a:gd name="T56" fmla="*/ 1 w 900"/>
                <a:gd name="T57" fmla="*/ 205 h 420"/>
                <a:gd name="T58" fmla="*/ 0 w 900"/>
                <a:gd name="T59" fmla="*/ 209 h 420"/>
                <a:gd name="T60" fmla="*/ 1 w 900"/>
                <a:gd name="T61" fmla="*/ 213 h 420"/>
                <a:gd name="T62" fmla="*/ 2 w 900"/>
                <a:gd name="T63" fmla="*/ 218 h 420"/>
                <a:gd name="T64" fmla="*/ 6 w 900"/>
                <a:gd name="T65" fmla="*/ 221 h 420"/>
                <a:gd name="T66" fmla="*/ 9 w 900"/>
                <a:gd name="T67" fmla="*/ 22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0" h="420">
                  <a:moveTo>
                    <a:pt x="450" y="31"/>
                  </a:moveTo>
                  <a:lnTo>
                    <a:pt x="849" y="209"/>
                  </a:lnTo>
                  <a:lnTo>
                    <a:pt x="450" y="388"/>
                  </a:lnTo>
                  <a:lnTo>
                    <a:pt x="52" y="209"/>
                  </a:lnTo>
                  <a:lnTo>
                    <a:pt x="450" y="31"/>
                  </a:lnTo>
                  <a:close/>
                  <a:moveTo>
                    <a:pt x="9" y="223"/>
                  </a:moveTo>
                  <a:lnTo>
                    <a:pt x="444" y="418"/>
                  </a:lnTo>
                  <a:lnTo>
                    <a:pt x="447" y="419"/>
                  </a:lnTo>
                  <a:lnTo>
                    <a:pt x="450" y="420"/>
                  </a:lnTo>
                  <a:lnTo>
                    <a:pt x="453" y="419"/>
                  </a:lnTo>
                  <a:lnTo>
                    <a:pt x="457" y="418"/>
                  </a:lnTo>
                  <a:lnTo>
                    <a:pt x="891" y="223"/>
                  </a:lnTo>
                  <a:lnTo>
                    <a:pt x="895" y="221"/>
                  </a:lnTo>
                  <a:lnTo>
                    <a:pt x="898" y="218"/>
                  </a:lnTo>
                  <a:lnTo>
                    <a:pt x="900" y="213"/>
                  </a:lnTo>
                  <a:lnTo>
                    <a:pt x="900" y="209"/>
                  </a:lnTo>
                  <a:lnTo>
                    <a:pt x="900" y="205"/>
                  </a:lnTo>
                  <a:lnTo>
                    <a:pt x="898" y="201"/>
                  </a:lnTo>
                  <a:lnTo>
                    <a:pt x="895" y="197"/>
                  </a:lnTo>
                  <a:lnTo>
                    <a:pt x="891" y="195"/>
                  </a:lnTo>
                  <a:lnTo>
                    <a:pt x="457" y="1"/>
                  </a:lnTo>
                  <a:lnTo>
                    <a:pt x="453" y="0"/>
                  </a:lnTo>
                  <a:lnTo>
                    <a:pt x="450" y="0"/>
                  </a:lnTo>
                  <a:lnTo>
                    <a:pt x="447" y="0"/>
                  </a:lnTo>
                  <a:lnTo>
                    <a:pt x="444" y="1"/>
                  </a:lnTo>
                  <a:lnTo>
                    <a:pt x="9" y="195"/>
                  </a:lnTo>
                  <a:lnTo>
                    <a:pt x="6" y="197"/>
                  </a:lnTo>
                  <a:lnTo>
                    <a:pt x="2" y="201"/>
                  </a:lnTo>
                  <a:lnTo>
                    <a:pt x="1" y="205"/>
                  </a:lnTo>
                  <a:lnTo>
                    <a:pt x="0" y="209"/>
                  </a:lnTo>
                  <a:lnTo>
                    <a:pt x="1" y="213"/>
                  </a:lnTo>
                  <a:lnTo>
                    <a:pt x="2" y="218"/>
                  </a:lnTo>
                  <a:lnTo>
                    <a:pt x="6" y="221"/>
                  </a:lnTo>
                  <a:lnTo>
                    <a:pt x="9"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6" name="Group 1033">
            <a:extLst>
              <a:ext uri="{FF2B5EF4-FFF2-40B4-BE49-F238E27FC236}">
                <a16:creationId xmlns:a16="http://schemas.microsoft.com/office/drawing/2014/main" id="{0DB3ECE9-2CB4-424D-AC77-E206674EE4C8}"/>
              </a:ext>
            </a:extLst>
          </p:cNvPr>
          <p:cNvGrpSpPr>
            <a:grpSpLocks noChangeAspect="1"/>
          </p:cNvGrpSpPr>
          <p:nvPr/>
        </p:nvGrpSpPr>
        <p:grpSpPr>
          <a:xfrm>
            <a:off x="6625711" y="5944848"/>
            <a:ext cx="309520" cy="308144"/>
            <a:chOff x="6672263" y="3222625"/>
            <a:chExt cx="357187" cy="355600"/>
          </a:xfrm>
          <a:solidFill>
            <a:schemeClr val="bg1"/>
          </a:solidFill>
          <a:effectLst/>
        </p:grpSpPr>
        <p:sp>
          <p:nvSpPr>
            <p:cNvPr id="847" name="Freeform 11">
              <a:extLst>
                <a:ext uri="{FF2B5EF4-FFF2-40B4-BE49-F238E27FC236}">
                  <a16:creationId xmlns:a16="http://schemas.microsoft.com/office/drawing/2014/main" id="{BF1A4124-DA6B-4849-BA8F-DEFC07FA1928}"/>
                </a:ext>
              </a:extLst>
            </p:cNvPr>
            <p:cNvSpPr>
              <a:spLocks/>
            </p:cNvSpPr>
            <p:nvPr/>
          </p:nvSpPr>
          <p:spPr bwMode="auto">
            <a:xfrm>
              <a:off x="6672263" y="3500438"/>
              <a:ext cx="357187"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8" name="Freeform 12">
              <a:extLst>
                <a:ext uri="{FF2B5EF4-FFF2-40B4-BE49-F238E27FC236}">
                  <a16:creationId xmlns:a16="http://schemas.microsoft.com/office/drawing/2014/main" id="{3B63E615-EBBA-42FB-84C0-836B250674A2}"/>
                </a:ext>
              </a:extLst>
            </p:cNvPr>
            <p:cNvSpPr>
              <a:spLocks/>
            </p:cNvSpPr>
            <p:nvPr/>
          </p:nvSpPr>
          <p:spPr bwMode="auto">
            <a:xfrm>
              <a:off x="6672263" y="3562350"/>
              <a:ext cx="357187"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49" name="Freeform 13">
              <a:extLst>
                <a:ext uri="{FF2B5EF4-FFF2-40B4-BE49-F238E27FC236}">
                  <a16:creationId xmlns:a16="http://schemas.microsoft.com/office/drawing/2014/main" id="{C754D1A8-AF66-4004-9FD1-C2130E0DA77A}"/>
                </a:ext>
              </a:extLst>
            </p:cNvPr>
            <p:cNvSpPr>
              <a:spLocks/>
            </p:cNvSpPr>
            <p:nvPr/>
          </p:nvSpPr>
          <p:spPr bwMode="auto">
            <a:xfrm>
              <a:off x="6704013" y="3500438"/>
              <a:ext cx="14287"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0" name="Freeform 14">
              <a:extLst>
                <a:ext uri="{FF2B5EF4-FFF2-40B4-BE49-F238E27FC236}">
                  <a16:creationId xmlns:a16="http://schemas.microsoft.com/office/drawing/2014/main" id="{600ED904-3818-4B89-9A22-EC4A45325D2F}"/>
                </a:ext>
              </a:extLst>
            </p:cNvPr>
            <p:cNvSpPr>
              <a:spLocks/>
            </p:cNvSpPr>
            <p:nvPr/>
          </p:nvSpPr>
          <p:spPr bwMode="auto">
            <a:xfrm>
              <a:off x="6734175"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1" name="Freeform 15">
              <a:extLst>
                <a:ext uri="{FF2B5EF4-FFF2-40B4-BE49-F238E27FC236}">
                  <a16:creationId xmlns:a16="http://schemas.microsoft.com/office/drawing/2014/main" id="{1199E3FE-E355-4411-B97C-9482A0C2FC21}"/>
                </a:ext>
              </a:extLst>
            </p:cNvPr>
            <p:cNvSpPr>
              <a:spLocks/>
            </p:cNvSpPr>
            <p:nvPr/>
          </p:nvSpPr>
          <p:spPr bwMode="auto">
            <a:xfrm>
              <a:off x="6827838" y="3500438"/>
              <a:ext cx="14287"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2" name="Freeform 16">
              <a:extLst>
                <a:ext uri="{FF2B5EF4-FFF2-40B4-BE49-F238E27FC236}">
                  <a16:creationId xmlns:a16="http://schemas.microsoft.com/office/drawing/2014/main" id="{F94E6FB3-B01B-4FD4-A062-AC2DAB00FE6F}"/>
                </a:ext>
              </a:extLst>
            </p:cNvPr>
            <p:cNvSpPr>
              <a:spLocks/>
            </p:cNvSpPr>
            <p:nvPr/>
          </p:nvSpPr>
          <p:spPr bwMode="auto">
            <a:xfrm>
              <a:off x="6858000"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3" name="Freeform 17">
              <a:extLst>
                <a:ext uri="{FF2B5EF4-FFF2-40B4-BE49-F238E27FC236}">
                  <a16:creationId xmlns:a16="http://schemas.microsoft.com/office/drawing/2014/main" id="{D9E3117A-F00C-4A4B-8402-2E4E2281E516}"/>
                </a:ext>
              </a:extLst>
            </p:cNvPr>
            <p:cNvSpPr>
              <a:spLocks/>
            </p:cNvSpPr>
            <p:nvPr/>
          </p:nvSpPr>
          <p:spPr bwMode="auto">
            <a:xfrm>
              <a:off x="6981825"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4" name="Freeform 18">
              <a:extLst>
                <a:ext uri="{FF2B5EF4-FFF2-40B4-BE49-F238E27FC236}">
                  <a16:creationId xmlns:a16="http://schemas.microsoft.com/office/drawing/2014/main" id="{224EFFDD-A311-4987-8AC1-6BDE41A832D5}"/>
                </a:ext>
              </a:extLst>
            </p:cNvPr>
            <p:cNvSpPr>
              <a:spLocks/>
            </p:cNvSpPr>
            <p:nvPr/>
          </p:nvSpPr>
          <p:spPr bwMode="auto">
            <a:xfrm>
              <a:off x="6951663" y="3500438"/>
              <a:ext cx="15875" cy="77787"/>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5" name="Freeform 19">
              <a:extLst>
                <a:ext uri="{FF2B5EF4-FFF2-40B4-BE49-F238E27FC236}">
                  <a16:creationId xmlns:a16="http://schemas.microsoft.com/office/drawing/2014/main" id="{8A6FF2E3-1A1A-4BBA-B32C-62F802B891FA}"/>
                </a:ext>
              </a:extLst>
            </p:cNvPr>
            <p:cNvSpPr>
              <a:spLocks noEditPoints="1"/>
            </p:cNvSpPr>
            <p:nvPr/>
          </p:nvSpPr>
          <p:spPr bwMode="auto">
            <a:xfrm>
              <a:off x="6704013" y="3346450"/>
              <a:ext cx="153987"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6" name="Freeform 20">
              <a:extLst>
                <a:ext uri="{FF2B5EF4-FFF2-40B4-BE49-F238E27FC236}">
                  <a16:creationId xmlns:a16="http://schemas.microsoft.com/office/drawing/2014/main" id="{0D94DE22-9445-4E0E-B6EA-56AF4470DCE6}"/>
                </a:ext>
              </a:extLst>
            </p:cNvPr>
            <p:cNvSpPr>
              <a:spLocks noEditPoints="1"/>
            </p:cNvSpPr>
            <p:nvPr/>
          </p:nvSpPr>
          <p:spPr bwMode="auto">
            <a:xfrm>
              <a:off x="6842125" y="3346450"/>
              <a:ext cx="155575"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7" name="Freeform 21">
              <a:extLst>
                <a:ext uri="{FF2B5EF4-FFF2-40B4-BE49-F238E27FC236}">
                  <a16:creationId xmlns:a16="http://schemas.microsoft.com/office/drawing/2014/main" id="{6E8A4781-E79A-4847-B89E-CA024950D546}"/>
                </a:ext>
              </a:extLst>
            </p:cNvPr>
            <p:cNvSpPr>
              <a:spLocks noEditPoints="1"/>
            </p:cNvSpPr>
            <p:nvPr/>
          </p:nvSpPr>
          <p:spPr bwMode="auto">
            <a:xfrm>
              <a:off x="6780213" y="3222625"/>
              <a:ext cx="155575" cy="138112"/>
            </a:xfrm>
            <a:custGeom>
              <a:avLst/>
              <a:gdLst>
                <a:gd name="T0" fmla="*/ 38 w 40"/>
                <a:gd name="T1" fmla="*/ 36 h 36"/>
                <a:gd name="T2" fmla="*/ 2 w 40"/>
                <a:gd name="T3" fmla="*/ 36 h 36"/>
                <a:gd name="T4" fmla="*/ 0 w 40"/>
                <a:gd name="T5" fmla="*/ 34 h 36"/>
                <a:gd name="T6" fmla="*/ 0 w 40"/>
                <a:gd name="T7" fmla="*/ 2 h 36"/>
                <a:gd name="T8" fmla="*/ 2 w 40"/>
                <a:gd name="T9" fmla="*/ 0 h 36"/>
                <a:gd name="T10" fmla="*/ 38 w 40"/>
                <a:gd name="T11" fmla="*/ 0 h 36"/>
                <a:gd name="T12" fmla="*/ 40 w 40"/>
                <a:gd name="T13" fmla="*/ 2 h 36"/>
                <a:gd name="T14" fmla="*/ 40 w 40"/>
                <a:gd name="T15" fmla="*/ 34 h 36"/>
                <a:gd name="T16" fmla="*/ 38 w 40"/>
                <a:gd name="T17" fmla="*/ 36 h 36"/>
                <a:gd name="T18" fmla="*/ 4 w 40"/>
                <a:gd name="T19" fmla="*/ 32 h 36"/>
                <a:gd name="T20" fmla="*/ 36 w 40"/>
                <a:gd name="T21" fmla="*/ 32 h 36"/>
                <a:gd name="T22" fmla="*/ 36 w 40"/>
                <a:gd name="T23" fmla="*/ 4 h 36"/>
                <a:gd name="T24" fmla="*/ 4 w 40"/>
                <a:gd name="T25" fmla="*/ 4 h 36"/>
                <a:gd name="T26" fmla="*/ 4 w 40"/>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38" y="36"/>
                  </a:moveTo>
                  <a:cubicBezTo>
                    <a:pt x="2" y="36"/>
                    <a:pt x="2" y="36"/>
                    <a:pt x="2" y="36"/>
                  </a:cubicBezTo>
                  <a:cubicBezTo>
                    <a:pt x="1" y="36"/>
                    <a:pt x="0" y="35"/>
                    <a:pt x="0" y="34"/>
                  </a:cubicBezTo>
                  <a:cubicBezTo>
                    <a:pt x="0" y="2"/>
                    <a:pt x="0" y="2"/>
                    <a:pt x="0" y="2"/>
                  </a:cubicBezTo>
                  <a:cubicBezTo>
                    <a:pt x="0" y="1"/>
                    <a:pt x="1" y="0"/>
                    <a:pt x="2" y="0"/>
                  </a:cubicBezTo>
                  <a:cubicBezTo>
                    <a:pt x="38" y="0"/>
                    <a:pt x="38" y="0"/>
                    <a:pt x="38" y="0"/>
                  </a:cubicBezTo>
                  <a:cubicBezTo>
                    <a:pt x="39" y="0"/>
                    <a:pt x="40" y="1"/>
                    <a:pt x="40" y="2"/>
                  </a:cubicBezTo>
                  <a:cubicBezTo>
                    <a:pt x="40" y="34"/>
                    <a:pt x="40" y="34"/>
                    <a:pt x="40" y="34"/>
                  </a:cubicBezTo>
                  <a:cubicBezTo>
                    <a:pt x="40" y="35"/>
                    <a:pt x="39" y="36"/>
                    <a:pt x="38" y="36"/>
                  </a:cubicBezTo>
                  <a:close/>
                  <a:moveTo>
                    <a:pt x="4" y="32"/>
                  </a:moveTo>
                  <a:cubicBezTo>
                    <a:pt x="36" y="32"/>
                    <a:pt x="36" y="32"/>
                    <a:pt x="36" y="32"/>
                  </a:cubicBezTo>
                  <a:cubicBezTo>
                    <a:pt x="36" y="4"/>
                    <a:pt x="36" y="4"/>
                    <a:pt x="36"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8" name="Freeform 22">
              <a:extLst>
                <a:ext uri="{FF2B5EF4-FFF2-40B4-BE49-F238E27FC236}">
                  <a16:creationId xmlns:a16="http://schemas.microsoft.com/office/drawing/2014/main" id="{5AB33462-034A-4A5C-9912-7177B3FB5E7B}"/>
                </a:ext>
              </a:extLst>
            </p:cNvPr>
            <p:cNvSpPr>
              <a:spLocks noEditPoints="1"/>
            </p:cNvSpPr>
            <p:nvPr/>
          </p:nvSpPr>
          <p:spPr bwMode="auto">
            <a:xfrm>
              <a:off x="6827838" y="3222625"/>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9" name="Freeform 23">
              <a:extLst>
                <a:ext uri="{FF2B5EF4-FFF2-40B4-BE49-F238E27FC236}">
                  <a16:creationId xmlns:a16="http://schemas.microsoft.com/office/drawing/2014/main" id="{065A4FE1-1982-4EAA-9912-40F9373D1481}"/>
                </a:ext>
              </a:extLst>
            </p:cNvPr>
            <p:cNvSpPr>
              <a:spLocks noEditPoints="1"/>
            </p:cNvSpPr>
            <p:nvPr/>
          </p:nvSpPr>
          <p:spPr bwMode="auto">
            <a:xfrm>
              <a:off x="6750050" y="3346450"/>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0" name="Freeform 24">
              <a:extLst>
                <a:ext uri="{FF2B5EF4-FFF2-40B4-BE49-F238E27FC236}">
                  <a16:creationId xmlns:a16="http://schemas.microsoft.com/office/drawing/2014/main" id="{AA80A568-6EBD-4E60-82A7-2AA76627D97B}"/>
                </a:ext>
              </a:extLst>
            </p:cNvPr>
            <p:cNvSpPr>
              <a:spLocks noEditPoints="1"/>
            </p:cNvSpPr>
            <p:nvPr/>
          </p:nvSpPr>
          <p:spPr bwMode="auto">
            <a:xfrm>
              <a:off x="6889750" y="3346450"/>
              <a:ext cx="61912" cy="61912"/>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61" name="Group 116">
            <a:extLst>
              <a:ext uri="{FF2B5EF4-FFF2-40B4-BE49-F238E27FC236}">
                <a16:creationId xmlns:a16="http://schemas.microsoft.com/office/drawing/2014/main" id="{2B1F4C36-7D62-4F77-964F-D22786832D53}"/>
              </a:ext>
            </a:extLst>
          </p:cNvPr>
          <p:cNvGrpSpPr>
            <a:grpSpLocks noChangeAspect="1"/>
          </p:cNvGrpSpPr>
          <p:nvPr/>
        </p:nvGrpSpPr>
        <p:grpSpPr>
          <a:xfrm>
            <a:off x="8294869" y="5944848"/>
            <a:ext cx="306814" cy="308144"/>
            <a:chOff x="7993127" y="1193798"/>
            <a:chExt cx="369873" cy="371474"/>
          </a:xfrm>
          <a:solidFill>
            <a:schemeClr val="bg1"/>
          </a:solidFill>
        </p:grpSpPr>
        <p:sp>
          <p:nvSpPr>
            <p:cNvPr id="862" name="Freeform 65">
              <a:extLst>
                <a:ext uri="{FF2B5EF4-FFF2-40B4-BE49-F238E27FC236}">
                  <a16:creationId xmlns:a16="http://schemas.microsoft.com/office/drawing/2014/main" id="{0E946F59-4780-426B-B846-34D7F0DB9CD6}"/>
                </a:ext>
              </a:extLst>
            </p:cNvPr>
            <p:cNvSpPr>
              <a:spLocks/>
            </p:cNvSpPr>
            <p:nvPr/>
          </p:nvSpPr>
          <p:spPr bwMode="auto">
            <a:xfrm>
              <a:off x="7993130" y="1255713"/>
              <a:ext cx="231777"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3" name="Freeform 66">
              <a:extLst>
                <a:ext uri="{FF2B5EF4-FFF2-40B4-BE49-F238E27FC236}">
                  <a16:creationId xmlns:a16="http://schemas.microsoft.com/office/drawing/2014/main" id="{89353958-31AA-4B50-91BE-2CF011F8836D}"/>
                </a:ext>
              </a:extLst>
            </p:cNvPr>
            <p:cNvSpPr>
              <a:spLocks noEditPoints="1"/>
            </p:cNvSpPr>
            <p:nvPr/>
          </p:nvSpPr>
          <p:spPr bwMode="auto">
            <a:xfrm>
              <a:off x="7993127" y="1193800"/>
              <a:ext cx="231777"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4" name="Freeform 67">
              <a:extLst>
                <a:ext uri="{FF2B5EF4-FFF2-40B4-BE49-F238E27FC236}">
                  <a16:creationId xmlns:a16="http://schemas.microsoft.com/office/drawing/2014/main" id="{67C3652E-1E63-4F83-8C4C-6A68DD3CA17B}"/>
                </a:ext>
              </a:extLst>
            </p:cNvPr>
            <p:cNvSpPr>
              <a:spLocks/>
            </p:cNvSpPr>
            <p:nvPr/>
          </p:nvSpPr>
          <p:spPr bwMode="auto">
            <a:xfrm>
              <a:off x="8101074" y="1193798"/>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5" name="Freeform 68">
              <a:extLst>
                <a:ext uri="{FF2B5EF4-FFF2-40B4-BE49-F238E27FC236}">
                  <a16:creationId xmlns:a16="http://schemas.microsoft.com/office/drawing/2014/main" id="{0D249BB7-E469-4AE6-B3AF-A53B27BE1978}"/>
                </a:ext>
              </a:extLst>
            </p:cNvPr>
            <p:cNvSpPr>
              <a:spLocks noEditPoints="1"/>
            </p:cNvSpPr>
            <p:nvPr/>
          </p:nvSpPr>
          <p:spPr bwMode="auto">
            <a:xfrm>
              <a:off x="8131223" y="1333497"/>
              <a:ext cx="231777"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4"/>
                    <a:pt x="13" y="0"/>
                    <a:pt x="30" y="0"/>
                  </a:cubicBezTo>
                  <a:cubicBezTo>
                    <a:pt x="47" y="0"/>
                    <a:pt x="60" y="14"/>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6" name="Freeform 69">
              <a:extLst>
                <a:ext uri="{FF2B5EF4-FFF2-40B4-BE49-F238E27FC236}">
                  <a16:creationId xmlns:a16="http://schemas.microsoft.com/office/drawing/2014/main" id="{A7134051-65D7-48F1-8D04-51EAAF10D172}"/>
                </a:ext>
              </a:extLst>
            </p:cNvPr>
            <p:cNvSpPr>
              <a:spLocks/>
            </p:cNvSpPr>
            <p:nvPr/>
          </p:nvSpPr>
          <p:spPr bwMode="auto">
            <a:xfrm>
              <a:off x="8216934" y="1390648"/>
              <a:ext cx="61912" cy="115888"/>
            </a:xfrm>
            <a:custGeom>
              <a:avLst/>
              <a:gdLst>
                <a:gd name="T0" fmla="*/ 8 w 16"/>
                <a:gd name="T1" fmla="*/ 30 h 30"/>
                <a:gd name="T2" fmla="*/ 0 w 16"/>
                <a:gd name="T3" fmla="*/ 21 h 30"/>
                <a:gd name="T4" fmla="*/ 2 w 16"/>
                <a:gd name="T5" fmla="*/ 19 h 30"/>
                <a:gd name="T6" fmla="*/ 4 w 16"/>
                <a:gd name="T7" fmla="*/ 21 h 30"/>
                <a:gd name="T8" fmla="*/ 8 w 16"/>
                <a:gd name="T9" fmla="*/ 26 h 30"/>
                <a:gd name="T10" fmla="*/ 12 w 16"/>
                <a:gd name="T11" fmla="*/ 21 h 30"/>
                <a:gd name="T12" fmla="*/ 8 w 16"/>
                <a:gd name="T13" fmla="*/ 17 h 30"/>
                <a:gd name="T14" fmla="*/ 0 w 16"/>
                <a:gd name="T15" fmla="*/ 8 h 30"/>
                <a:gd name="T16" fmla="*/ 8 w 16"/>
                <a:gd name="T17" fmla="*/ 0 h 30"/>
                <a:gd name="T18" fmla="*/ 16 w 16"/>
                <a:gd name="T19" fmla="*/ 8 h 30"/>
                <a:gd name="T20" fmla="*/ 14 w 16"/>
                <a:gd name="T21" fmla="*/ 10 h 30"/>
                <a:gd name="T22" fmla="*/ 12 w 16"/>
                <a:gd name="T23" fmla="*/ 8 h 30"/>
                <a:gd name="T24" fmla="*/ 8 w 16"/>
                <a:gd name="T25" fmla="*/ 4 h 30"/>
                <a:gd name="T26" fmla="*/ 4 w 16"/>
                <a:gd name="T27" fmla="*/ 8 h 30"/>
                <a:gd name="T28" fmla="*/ 8 w 16"/>
                <a:gd name="T29" fmla="*/ 13 h 30"/>
                <a:gd name="T30" fmla="*/ 16 w 16"/>
                <a:gd name="T31" fmla="*/ 21 h 30"/>
                <a:gd name="T32" fmla="*/ 8 w 16"/>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30">
                  <a:moveTo>
                    <a:pt x="8" y="30"/>
                  </a:moveTo>
                  <a:cubicBezTo>
                    <a:pt x="3" y="30"/>
                    <a:pt x="0" y="26"/>
                    <a:pt x="0" y="21"/>
                  </a:cubicBezTo>
                  <a:cubicBezTo>
                    <a:pt x="0" y="20"/>
                    <a:pt x="0" y="19"/>
                    <a:pt x="2" y="19"/>
                  </a:cubicBezTo>
                  <a:cubicBezTo>
                    <a:pt x="3" y="19"/>
                    <a:pt x="4" y="20"/>
                    <a:pt x="4" y="21"/>
                  </a:cubicBezTo>
                  <a:cubicBezTo>
                    <a:pt x="4" y="24"/>
                    <a:pt x="6" y="26"/>
                    <a:pt x="8" y="26"/>
                  </a:cubicBezTo>
                  <a:cubicBezTo>
                    <a:pt x="10" y="26"/>
                    <a:pt x="12" y="24"/>
                    <a:pt x="12" y="21"/>
                  </a:cubicBezTo>
                  <a:cubicBezTo>
                    <a:pt x="12" y="19"/>
                    <a:pt x="10" y="17"/>
                    <a:pt x="8" y="17"/>
                  </a:cubicBezTo>
                  <a:cubicBezTo>
                    <a:pt x="3" y="17"/>
                    <a:pt x="0" y="13"/>
                    <a:pt x="0" y="8"/>
                  </a:cubicBezTo>
                  <a:cubicBezTo>
                    <a:pt x="0" y="4"/>
                    <a:pt x="3" y="0"/>
                    <a:pt x="8" y="0"/>
                  </a:cubicBezTo>
                  <a:cubicBezTo>
                    <a:pt x="13" y="0"/>
                    <a:pt x="16" y="4"/>
                    <a:pt x="16" y="8"/>
                  </a:cubicBezTo>
                  <a:cubicBezTo>
                    <a:pt x="16" y="9"/>
                    <a:pt x="16" y="10"/>
                    <a:pt x="14" y="10"/>
                  </a:cubicBezTo>
                  <a:cubicBezTo>
                    <a:pt x="13" y="10"/>
                    <a:pt x="12" y="9"/>
                    <a:pt x="12" y="8"/>
                  </a:cubicBezTo>
                  <a:cubicBezTo>
                    <a:pt x="12" y="6"/>
                    <a:pt x="10" y="4"/>
                    <a:pt x="8" y="4"/>
                  </a:cubicBezTo>
                  <a:cubicBezTo>
                    <a:pt x="6" y="4"/>
                    <a:pt x="4" y="6"/>
                    <a:pt x="4" y="8"/>
                  </a:cubicBezTo>
                  <a:cubicBezTo>
                    <a:pt x="4" y="11"/>
                    <a:pt x="6" y="13"/>
                    <a:pt x="8" y="13"/>
                  </a:cubicBezTo>
                  <a:cubicBezTo>
                    <a:pt x="13" y="13"/>
                    <a:pt x="16" y="17"/>
                    <a:pt x="16" y="21"/>
                  </a:cubicBezTo>
                  <a:cubicBezTo>
                    <a:pt x="16" y="26"/>
                    <a:pt x="13" y="30"/>
                    <a:pt x="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7" name="Freeform 70">
              <a:extLst>
                <a:ext uri="{FF2B5EF4-FFF2-40B4-BE49-F238E27FC236}">
                  <a16:creationId xmlns:a16="http://schemas.microsoft.com/office/drawing/2014/main" id="{A68C43A5-0638-4C77-8B62-66B106739370}"/>
                </a:ext>
              </a:extLst>
            </p:cNvPr>
            <p:cNvSpPr>
              <a:spLocks/>
            </p:cNvSpPr>
            <p:nvPr/>
          </p:nvSpPr>
          <p:spPr bwMode="auto">
            <a:xfrm>
              <a:off x="8239297" y="1492244"/>
              <a:ext cx="15875"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8" name="Freeform 71">
              <a:extLst>
                <a:ext uri="{FF2B5EF4-FFF2-40B4-BE49-F238E27FC236}">
                  <a16:creationId xmlns:a16="http://schemas.microsoft.com/office/drawing/2014/main" id="{EB3714A0-CC27-4D9E-BC96-754D4BD8E4D0}"/>
                </a:ext>
              </a:extLst>
            </p:cNvPr>
            <p:cNvSpPr>
              <a:spLocks/>
            </p:cNvSpPr>
            <p:nvPr/>
          </p:nvSpPr>
          <p:spPr bwMode="auto">
            <a:xfrm>
              <a:off x="8239125" y="1371600"/>
              <a:ext cx="15875" cy="34925"/>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69" name="Group 219">
            <a:extLst>
              <a:ext uri="{FF2B5EF4-FFF2-40B4-BE49-F238E27FC236}">
                <a16:creationId xmlns:a16="http://schemas.microsoft.com/office/drawing/2014/main" id="{2198A826-F152-4BA8-A933-4A497F04FEA9}"/>
              </a:ext>
            </a:extLst>
          </p:cNvPr>
          <p:cNvGrpSpPr>
            <a:grpSpLocks noChangeAspect="1"/>
          </p:cNvGrpSpPr>
          <p:nvPr/>
        </p:nvGrpSpPr>
        <p:grpSpPr>
          <a:xfrm>
            <a:off x="7866168" y="5944848"/>
            <a:ext cx="306827" cy="308144"/>
            <a:chOff x="8855075" y="4826000"/>
            <a:chExt cx="369888" cy="371475"/>
          </a:xfrm>
          <a:solidFill>
            <a:schemeClr val="bg1"/>
          </a:solidFill>
        </p:grpSpPr>
        <p:sp>
          <p:nvSpPr>
            <p:cNvPr id="870" name="Freeform 84">
              <a:extLst>
                <a:ext uri="{FF2B5EF4-FFF2-40B4-BE49-F238E27FC236}">
                  <a16:creationId xmlns:a16="http://schemas.microsoft.com/office/drawing/2014/main" id="{2F696016-F962-4A90-AD0F-15D5495F3CC6}"/>
                </a:ext>
              </a:extLst>
            </p:cNvPr>
            <p:cNvSpPr>
              <a:spLocks noEditPoints="1"/>
            </p:cNvSpPr>
            <p:nvPr/>
          </p:nvSpPr>
          <p:spPr bwMode="auto">
            <a:xfrm>
              <a:off x="8993188" y="4965700"/>
              <a:ext cx="231775"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1" name="Freeform 85">
              <a:extLst>
                <a:ext uri="{FF2B5EF4-FFF2-40B4-BE49-F238E27FC236}">
                  <a16:creationId xmlns:a16="http://schemas.microsoft.com/office/drawing/2014/main" id="{CAFCD759-B2CA-4B32-8A47-D5EF5746F7E4}"/>
                </a:ext>
              </a:extLst>
            </p:cNvPr>
            <p:cNvSpPr>
              <a:spLocks/>
            </p:cNvSpPr>
            <p:nvPr/>
          </p:nvSpPr>
          <p:spPr bwMode="auto">
            <a:xfrm>
              <a:off x="9055100" y="5073650"/>
              <a:ext cx="107950"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2" name="Freeform 86">
              <a:extLst>
                <a:ext uri="{FF2B5EF4-FFF2-40B4-BE49-F238E27FC236}">
                  <a16:creationId xmlns:a16="http://schemas.microsoft.com/office/drawing/2014/main" id="{F63979FC-F55C-4178-B998-FCD7348632D1}"/>
                </a:ext>
              </a:extLst>
            </p:cNvPr>
            <p:cNvSpPr>
              <a:spLocks/>
            </p:cNvSpPr>
            <p:nvPr/>
          </p:nvSpPr>
          <p:spPr bwMode="auto">
            <a:xfrm>
              <a:off x="8855075" y="4887913"/>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3" name="Freeform 87">
              <a:extLst>
                <a:ext uri="{FF2B5EF4-FFF2-40B4-BE49-F238E27FC236}">
                  <a16:creationId xmlns:a16="http://schemas.microsoft.com/office/drawing/2014/main" id="{2A130EC2-807A-40E6-94B6-7887EDC98AAA}"/>
                </a:ext>
              </a:extLst>
            </p:cNvPr>
            <p:cNvSpPr>
              <a:spLocks noEditPoints="1"/>
            </p:cNvSpPr>
            <p:nvPr/>
          </p:nvSpPr>
          <p:spPr bwMode="auto">
            <a:xfrm>
              <a:off x="8855075" y="4826000"/>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4" name="Freeform 88">
              <a:extLst>
                <a:ext uri="{FF2B5EF4-FFF2-40B4-BE49-F238E27FC236}">
                  <a16:creationId xmlns:a16="http://schemas.microsoft.com/office/drawing/2014/main" id="{137548D2-7D42-4CF6-AFE0-2EA9123036DB}"/>
                </a:ext>
              </a:extLst>
            </p:cNvPr>
            <p:cNvSpPr>
              <a:spLocks/>
            </p:cNvSpPr>
            <p:nvPr/>
          </p:nvSpPr>
          <p:spPr bwMode="auto">
            <a:xfrm>
              <a:off x="8963025" y="4826000"/>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75" name="Group 1062">
            <a:extLst>
              <a:ext uri="{FF2B5EF4-FFF2-40B4-BE49-F238E27FC236}">
                <a16:creationId xmlns:a16="http://schemas.microsoft.com/office/drawing/2014/main" id="{BB47F82C-476B-4908-B581-9C3FCDA70CF1}"/>
              </a:ext>
            </a:extLst>
          </p:cNvPr>
          <p:cNvGrpSpPr>
            <a:grpSpLocks noChangeAspect="1"/>
          </p:cNvGrpSpPr>
          <p:nvPr/>
        </p:nvGrpSpPr>
        <p:grpSpPr>
          <a:xfrm>
            <a:off x="7059090" y="5944848"/>
            <a:ext cx="308149" cy="308144"/>
            <a:chOff x="3502025" y="4652942"/>
            <a:chExt cx="371477" cy="371469"/>
          </a:xfrm>
          <a:solidFill>
            <a:schemeClr val="bg1"/>
          </a:solidFill>
        </p:grpSpPr>
        <p:sp>
          <p:nvSpPr>
            <p:cNvPr id="876" name="Freeform 92">
              <a:extLst>
                <a:ext uri="{FF2B5EF4-FFF2-40B4-BE49-F238E27FC236}">
                  <a16:creationId xmlns:a16="http://schemas.microsoft.com/office/drawing/2014/main" id="{57FC0C3A-3E38-444B-8FD7-4906ABDFD23F}"/>
                </a:ext>
              </a:extLst>
            </p:cNvPr>
            <p:cNvSpPr>
              <a:spLocks/>
            </p:cNvSpPr>
            <p:nvPr/>
          </p:nvSpPr>
          <p:spPr bwMode="auto">
            <a:xfrm>
              <a:off x="3502025" y="4714860"/>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7" name="Freeform 93">
              <a:extLst>
                <a:ext uri="{FF2B5EF4-FFF2-40B4-BE49-F238E27FC236}">
                  <a16:creationId xmlns:a16="http://schemas.microsoft.com/office/drawing/2014/main" id="{F57489B7-7870-4515-B3C5-8057ECA53D91}"/>
                </a:ext>
              </a:extLst>
            </p:cNvPr>
            <p:cNvSpPr>
              <a:spLocks noEditPoints="1"/>
            </p:cNvSpPr>
            <p:nvPr/>
          </p:nvSpPr>
          <p:spPr bwMode="auto">
            <a:xfrm>
              <a:off x="3502029" y="4652942"/>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8" name="Freeform 94">
              <a:extLst>
                <a:ext uri="{FF2B5EF4-FFF2-40B4-BE49-F238E27FC236}">
                  <a16:creationId xmlns:a16="http://schemas.microsoft.com/office/drawing/2014/main" id="{DA8D9F39-421A-4731-BE12-2A4EC8E4370D}"/>
                </a:ext>
              </a:extLst>
            </p:cNvPr>
            <p:cNvSpPr>
              <a:spLocks noEditPoints="1"/>
            </p:cNvSpPr>
            <p:nvPr/>
          </p:nvSpPr>
          <p:spPr bwMode="auto">
            <a:xfrm>
              <a:off x="3641727" y="4792637"/>
              <a:ext cx="231775" cy="231774"/>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9" name="Freeform 95">
              <a:extLst>
                <a:ext uri="{FF2B5EF4-FFF2-40B4-BE49-F238E27FC236}">
                  <a16:creationId xmlns:a16="http://schemas.microsoft.com/office/drawing/2014/main" id="{4A0950A6-E97F-41B4-98D9-9B5FC826B2BA}"/>
                </a:ext>
              </a:extLst>
            </p:cNvPr>
            <p:cNvSpPr>
              <a:spLocks/>
            </p:cNvSpPr>
            <p:nvPr/>
          </p:nvSpPr>
          <p:spPr bwMode="auto">
            <a:xfrm>
              <a:off x="3703645" y="4916461"/>
              <a:ext cx="107950" cy="61913"/>
            </a:xfrm>
            <a:custGeom>
              <a:avLst/>
              <a:gdLst>
                <a:gd name="T0" fmla="*/ 14 w 28"/>
                <a:gd name="T1" fmla="*/ 16 h 16"/>
                <a:gd name="T2" fmla="*/ 13 w 28"/>
                <a:gd name="T3" fmla="*/ 15 h 16"/>
                <a:gd name="T4" fmla="*/ 1 w 28"/>
                <a:gd name="T5" fmla="*/ 3 h 16"/>
                <a:gd name="T6" fmla="*/ 1 w 28"/>
                <a:gd name="T7" fmla="*/ 1 h 16"/>
                <a:gd name="T8" fmla="*/ 3 w 28"/>
                <a:gd name="T9" fmla="*/ 1 h 16"/>
                <a:gd name="T10" fmla="*/ 14 w 28"/>
                <a:gd name="T11" fmla="*/ 11 h 16"/>
                <a:gd name="T12" fmla="*/ 25 w 28"/>
                <a:gd name="T13" fmla="*/ 1 h 16"/>
                <a:gd name="T14" fmla="*/ 27 w 28"/>
                <a:gd name="T15" fmla="*/ 1 h 16"/>
                <a:gd name="T16" fmla="*/ 27 w 28"/>
                <a:gd name="T17" fmla="*/ 3 h 16"/>
                <a:gd name="T18" fmla="*/ 15 w 28"/>
                <a:gd name="T19" fmla="*/ 15 h 16"/>
                <a:gd name="T20" fmla="*/ 14 w 28"/>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6">
                  <a:moveTo>
                    <a:pt x="14" y="16"/>
                  </a:moveTo>
                  <a:cubicBezTo>
                    <a:pt x="13" y="16"/>
                    <a:pt x="13" y="16"/>
                    <a:pt x="13" y="15"/>
                  </a:cubicBezTo>
                  <a:cubicBezTo>
                    <a:pt x="1" y="3"/>
                    <a:pt x="1" y="3"/>
                    <a:pt x="1" y="3"/>
                  </a:cubicBezTo>
                  <a:cubicBezTo>
                    <a:pt x="0" y="3"/>
                    <a:pt x="0" y="1"/>
                    <a:pt x="1" y="1"/>
                  </a:cubicBezTo>
                  <a:cubicBezTo>
                    <a:pt x="1" y="0"/>
                    <a:pt x="3" y="0"/>
                    <a:pt x="3" y="1"/>
                  </a:cubicBezTo>
                  <a:cubicBezTo>
                    <a:pt x="14" y="11"/>
                    <a:pt x="14" y="11"/>
                    <a:pt x="14" y="11"/>
                  </a:cubicBezTo>
                  <a:cubicBezTo>
                    <a:pt x="25" y="1"/>
                    <a:pt x="25" y="1"/>
                    <a:pt x="25" y="1"/>
                  </a:cubicBezTo>
                  <a:cubicBezTo>
                    <a:pt x="25" y="0"/>
                    <a:pt x="27" y="0"/>
                    <a:pt x="27" y="1"/>
                  </a:cubicBezTo>
                  <a:cubicBezTo>
                    <a:pt x="28" y="1"/>
                    <a:pt x="28" y="3"/>
                    <a:pt x="27" y="3"/>
                  </a:cubicBezTo>
                  <a:cubicBezTo>
                    <a:pt x="15" y="15"/>
                    <a:pt x="15" y="15"/>
                    <a:pt x="15" y="15"/>
                  </a:cubicBezTo>
                  <a:cubicBezTo>
                    <a:pt x="15" y="16"/>
                    <a:pt x="15" y="16"/>
                    <a:pt x="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0" name="Freeform 96">
              <a:extLst>
                <a:ext uri="{FF2B5EF4-FFF2-40B4-BE49-F238E27FC236}">
                  <a16:creationId xmlns:a16="http://schemas.microsoft.com/office/drawing/2014/main" id="{AC317D36-CC90-407D-819A-D7449DD54BC1}"/>
                </a:ext>
              </a:extLst>
            </p:cNvPr>
            <p:cNvSpPr>
              <a:spLocks/>
            </p:cNvSpPr>
            <p:nvPr/>
          </p:nvSpPr>
          <p:spPr bwMode="auto">
            <a:xfrm>
              <a:off x="3749692" y="4854554"/>
              <a:ext cx="15875" cy="123824"/>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1" name="Freeform 97">
              <a:extLst>
                <a:ext uri="{FF2B5EF4-FFF2-40B4-BE49-F238E27FC236}">
                  <a16:creationId xmlns:a16="http://schemas.microsoft.com/office/drawing/2014/main" id="{C6E50748-9D7A-4BF3-A119-903769B3DBBA}"/>
                </a:ext>
              </a:extLst>
            </p:cNvPr>
            <p:cNvSpPr>
              <a:spLocks/>
            </p:cNvSpPr>
            <p:nvPr/>
          </p:nvSpPr>
          <p:spPr bwMode="auto">
            <a:xfrm>
              <a:off x="3609975" y="4652963"/>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82" name="Group 1083">
            <a:extLst>
              <a:ext uri="{FF2B5EF4-FFF2-40B4-BE49-F238E27FC236}">
                <a16:creationId xmlns:a16="http://schemas.microsoft.com/office/drawing/2014/main" id="{ED344DDA-581A-47AC-8A2B-6097C5382018}"/>
              </a:ext>
            </a:extLst>
          </p:cNvPr>
          <p:cNvGrpSpPr>
            <a:grpSpLocks noChangeAspect="1"/>
          </p:cNvGrpSpPr>
          <p:nvPr/>
        </p:nvGrpSpPr>
        <p:grpSpPr>
          <a:xfrm>
            <a:off x="7460637" y="5944848"/>
            <a:ext cx="308144" cy="308144"/>
            <a:chOff x="8350250" y="4516438"/>
            <a:chExt cx="371475" cy="371475"/>
          </a:xfrm>
          <a:solidFill>
            <a:schemeClr val="bg1"/>
          </a:solidFill>
        </p:grpSpPr>
        <p:sp>
          <p:nvSpPr>
            <p:cNvPr id="883" name="Freeform 110">
              <a:extLst>
                <a:ext uri="{FF2B5EF4-FFF2-40B4-BE49-F238E27FC236}">
                  <a16:creationId xmlns:a16="http://schemas.microsoft.com/office/drawing/2014/main" id="{469BBC93-354A-4E87-9B23-77CC575FB6EC}"/>
                </a:ext>
              </a:extLst>
            </p:cNvPr>
            <p:cNvSpPr>
              <a:spLocks noEditPoints="1"/>
            </p:cNvSpPr>
            <p:nvPr/>
          </p:nvSpPr>
          <p:spPr bwMode="auto">
            <a:xfrm>
              <a:off x="8489950" y="4656138"/>
              <a:ext cx="231775" cy="23177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4" name="Freeform 111">
              <a:extLst>
                <a:ext uri="{FF2B5EF4-FFF2-40B4-BE49-F238E27FC236}">
                  <a16:creationId xmlns:a16="http://schemas.microsoft.com/office/drawing/2014/main" id="{177688C4-19F1-4CB3-8385-5483B64BE076}"/>
                </a:ext>
              </a:extLst>
            </p:cNvPr>
            <p:cNvSpPr>
              <a:spLocks/>
            </p:cNvSpPr>
            <p:nvPr/>
          </p:nvSpPr>
          <p:spPr bwMode="auto">
            <a:xfrm>
              <a:off x="8543925" y="4733926"/>
              <a:ext cx="131763" cy="92075"/>
            </a:xfrm>
            <a:custGeom>
              <a:avLst/>
              <a:gdLst>
                <a:gd name="T0" fmla="*/ 14 w 34"/>
                <a:gd name="T1" fmla="*/ 24 h 24"/>
                <a:gd name="T2" fmla="*/ 13 w 34"/>
                <a:gd name="T3" fmla="*/ 23 h 24"/>
                <a:gd name="T4" fmla="*/ 1 w 34"/>
                <a:gd name="T5" fmla="*/ 11 h 24"/>
                <a:gd name="T6" fmla="*/ 1 w 34"/>
                <a:gd name="T7" fmla="*/ 9 h 24"/>
                <a:gd name="T8" fmla="*/ 3 w 34"/>
                <a:gd name="T9" fmla="*/ 9 h 24"/>
                <a:gd name="T10" fmla="*/ 14 w 34"/>
                <a:gd name="T11" fmla="*/ 19 h 24"/>
                <a:gd name="T12" fmla="*/ 31 w 34"/>
                <a:gd name="T13" fmla="*/ 1 h 24"/>
                <a:gd name="T14" fmla="*/ 33 w 34"/>
                <a:gd name="T15" fmla="*/ 1 h 24"/>
                <a:gd name="T16" fmla="*/ 33 w 34"/>
                <a:gd name="T17" fmla="*/ 3 h 24"/>
                <a:gd name="T18" fmla="*/ 15 w 34"/>
                <a:gd name="T19" fmla="*/ 23 h 24"/>
                <a:gd name="T20" fmla="*/ 14 w 34"/>
                <a:gd name="T21" fmla="*/ 24 h 24"/>
                <a:gd name="T22" fmla="*/ 14 w 34"/>
                <a:gd name="T2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4">
                  <a:moveTo>
                    <a:pt x="14" y="24"/>
                  </a:moveTo>
                  <a:cubicBezTo>
                    <a:pt x="13" y="24"/>
                    <a:pt x="13" y="24"/>
                    <a:pt x="13" y="23"/>
                  </a:cubicBezTo>
                  <a:cubicBezTo>
                    <a:pt x="1" y="11"/>
                    <a:pt x="1" y="11"/>
                    <a:pt x="1" y="11"/>
                  </a:cubicBezTo>
                  <a:cubicBezTo>
                    <a:pt x="0" y="11"/>
                    <a:pt x="0" y="9"/>
                    <a:pt x="1" y="9"/>
                  </a:cubicBezTo>
                  <a:cubicBezTo>
                    <a:pt x="1" y="8"/>
                    <a:pt x="3" y="8"/>
                    <a:pt x="3" y="9"/>
                  </a:cubicBezTo>
                  <a:cubicBezTo>
                    <a:pt x="14" y="19"/>
                    <a:pt x="14" y="19"/>
                    <a:pt x="14" y="19"/>
                  </a:cubicBezTo>
                  <a:cubicBezTo>
                    <a:pt x="31" y="1"/>
                    <a:pt x="31" y="1"/>
                    <a:pt x="31" y="1"/>
                  </a:cubicBezTo>
                  <a:cubicBezTo>
                    <a:pt x="31" y="0"/>
                    <a:pt x="33" y="0"/>
                    <a:pt x="33" y="1"/>
                  </a:cubicBezTo>
                  <a:cubicBezTo>
                    <a:pt x="34" y="1"/>
                    <a:pt x="34" y="3"/>
                    <a:pt x="33" y="3"/>
                  </a:cubicBezTo>
                  <a:cubicBezTo>
                    <a:pt x="15" y="23"/>
                    <a:pt x="15" y="23"/>
                    <a:pt x="15" y="23"/>
                  </a:cubicBezTo>
                  <a:cubicBezTo>
                    <a:pt x="15" y="24"/>
                    <a:pt x="15" y="24"/>
                    <a:pt x="14" y="24"/>
                  </a:cubicBezTo>
                  <a:cubicBezTo>
                    <a:pt x="14" y="24"/>
                    <a:pt x="14"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5" name="Freeform 112">
              <a:extLst>
                <a:ext uri="{FF2B5EF4-FFF2-40B4-BE49-F238E27FC236}">
                  <a16:creationId xmlns:a16="http://schemas.microsoft.com/office/drawing/2014/main" id="{4531245F-A73E-4899-A261-F70AD959F87B}"/>
                </a:ext>
              </a:extLst>
            </p:cNvPr>
            <p:cNvSpPr>
              <a:spLocks/>
            </p:cNvSpPr>
            <p:nvPr/>
          </p:nvSpPr>
          <p:spPr bwMode="auto">
            <a:xfrm>
              <a:off x="8350250" y="4578351"/>
              <a:ext cx="231775" cy="185738"/>
            </a:xfrm>
            <a:custGeom>
              <a:avLst/>
              <a:gdLst>
                <a:gd name="T0" fmla="*/ 26 w 60"/>
                <a:gd name="T1" fmla="*/ 48 h 48"/>
                <a:gd name="T2" fmla="*/ 2 w 60"/>
                <a:gd name="T3" fmla="*/ 48 h 48"/>
                <a:gd name="T4" fmla="*/ 0 w 60"/>
                <a:gd name="T5" fmla="*/ 46 h 48"/>
                <a:gd name="T6" fmla="*/ 0 w 60"/>
                <a:gd name="T7" fmla="*/ 2 h 48"/>
                <a:gd name="T8" fmla="*/ 2 w 60"/>
                <a:gd name="T9" fmla="*/ 0 h 48"/>
                <a:gd name="T10" fmla="*/ 58 w 60"/>
                <a:gd name="T11" fmla="*/ 0 h 48"/>
                <a:gd name="T12" fmla="*/ 60 w 60"/>
                <a:gd name="T13" fmla="*/ 2 h 48"/>
                <a:gd name="T14" fmla="*/ 60 w 60"/>
                <a:gd name="T15" fmla="*/ 10 h 48"/>
                <a:gd name="T16" fmla="*/ 58 w 60"/>
                <a:gd name="T17" fmla="*/ 12 h 48"/>
                <a:gd name="T18" fmla="*/ 56 w 60"/>
                <a:gd name="T19" fmla="*/ 10 h 48"/>
                <a:gd name="T20" fmla="*/ 56 w 60"/>
                <a:gd name="T21" fmla="*/ 4 h 48"/>
                <a:gd name="T22" fmla="*/ 4 w 60"/>
                <a:gd name="T23" fmla="*/ 4 h 48"/>
                <a:gd name="T24" fmla="*/ 4 w 60"/>
                <a:gd name="T25" fmla="*/ 44 h 48"/>
                <a:gd name="T26" fmla="*/ 26 w 60"/>
                <a:gd name="T27" fmla="*/ 44 h 48"/>
                <a:gd name="T28" fmla="*/ 28 w 60"/>
                <a:gd name="T29" fmla="*/ 46 h 48"/>
                <a:gd name="T30" fmla="*/ 26 w 60"/>
                <a:gd name="T3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8">
                  <a:moveTo>
                    <a:pt x="26" y="48"/>
                  </a:moveTo>
                  <a:cubicBezTo>
                    <a:pt x="2" y="48"/>
                    <a:pt x="2" y="48"/>
                    <a:pt x="2" y="48"/>
                  </a:cubicBezTo>
                  <a:cubicBezTo>
                    <a:pt x="1" y="48"/>
                    <a:pt x="0" y="47"/>
                    <a:pt x="0" y="46"/>
                  </a:cubicBezTo>
                  <a:cubicBezTo>
                    <a:pt x="0" y="2"/>
                    <a:pt x="0" y="2"/>
                    <a:pt x="0" y="2"/>
                  </a:cubicBezTo>
                  <a:cubicBezTo>
                    <a:pt x="0" y="1"/>
                    <a:pt x="1" y="0"/>
                    <a:pt x="2" y="0"/>
                  </a:cubicBezTo>
                  <a:cubicBezTo>
                    <a:pt x="58" y="0"/>
                    <a:pt x="58" y="0"/>
                    <a:pt x="58" y="0"/>
                  </a:cubicBezTo>
                  <a:cubicBezTo>
                    <a:pt x="59" y="0"/>
                    <a:pt x="60" y="1"/>
                    <a:pt x="60" y="2"/>
                  </a:cubicBezTo>
                  <a:cubicBezTo>
                    <a:pt x="60" y="10"/>
                    <a:pt x="60" y="10"/>
                    <a:pt x="60" y="10"/>
                  </a:cubicBezTo>
                  <a:cubicBezTo>
                    <a:pt x="60" y="11"/>
                    <a:pt x="59" y="12"/>
                    <a:pt x="58" y="12"/>
                  </a:cubicBezTo>
                  <a:cubicBezTo>
                    <a:pt x="57" y="12"/>
                    <a:pt x="56" y="11"/>
                    <a:pt x="56" y="10"/>
                  </a:cubicBezTo>
                  <a:cubicBezTo>
                    <a:pt x="56" y="4"/>
                    <a:pt x="56" y="4"/>
                    <a:pt x="56" y="4"/>
                  </a:cubicBezTo>
                  <a:cubicBezTo>
                    <a:pt x="4" y="4"/>
                    <a:pt x="4" y="4"/>
                    <a:pt x="4" y="4"/>
                  </a:cubicBezTo>
                  <a:cubicBezTo>
                    <a:pt x="4" y="44"/>
                    <a:pt x="4" y="44"/>
                    <a:pt x="4" y="44"/>
                  </a:cubicBezTo>
                  <a:cubicBezTo>
                    <a:pt x="26" y="44"/>
                    <a:pt x="26" y="44"/>
                    <a:pt x="26" y="44"/>
                  </a:cubicBezTo>
                  <a:cubicBezTo>
                    <a:pt x="27" y="44"/>
                    <a:pt x="28" y="45"/>
                    <a:pt x="28" y="46"/>
                  </a:cubicBezTo>
                  <a:cubicBezTo>
                    <a:pt x="28" y="47"/>
                    <a:pt x="27" y="48"/>
                    <a:pt x="2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6" name="Freeform 113">
              <a:extLst>
                <a:ext uri="{FF2B5EF4-FFF2-40B4-BE49-F238E27FC236}">
                  <a16:creationId xmlns:a16="http://schemas.microsoft.com/office/drawing/2014/main" id="{C751D731-D92E-4E94-81C2-9CF9D7E62157}"/>
                </a:ext>
              </a:extLst>
            </p:cNvPr>
            <p:cNvSpPr>
              <a:spLocks noEditPoints="1"/>
            </p:cNvSpPr>
            <p:nvPr/>
          </p:nvSpPr>
          <p:spPr bwMode="auto">
            <a:xfrm>
              <a:off x="8350250" y="4516438"/>
              <a:ext cx="231775" cy="77788"/>
            </a:xfrm>
            <a:custGeom>
              <a:avLst/>
              <a:gdLst>
                <a:gd name="T0" fmla="*/ 58 w 60"/>
                <a:gd name="T1" fmla="*/ 20 h 20"/>
                <a:gd name="T2" fmla="*/ 58 w 60"/>
                <a:gd name="T3" fmla="*/ 20 h 20"/>
                <a:gd name="T4" fmla="*/ 2 w 60"/>
                <a:gd name="T5" fmla="*/ 20 h 20"/>
                <a:gd name="T6" fmla="*/ 0 w 60"/>
                <a:gd name="T7" fmla="*/ 19 h 20"/>
                <a:gd name="T8" fmla="*/ 1 w 60"/>
                <a:gd name="T9" fmla="*/ 17 h 20"/>
                <a:gd name="T10" fmla="*/ 17 w 60"/>
                <a:gd name="T11" fmla="*/ 1 h 20"/>
                <a:gd name="T12" fmla="*/ 18 w 60"/>
                <a:gd name="T13" fmla="*/ 0 h 20"/>
                <a:gd name="T14" fmla="*/ 42 w 60"/>
                <a:gd name="T15" fmla="*/ 0 h 20"/>
                <a:gd name="T16" fmla="*/ 43 w 60"/>
                <a:gd name="T17" fmla="*/ 1 h 20"/>
                <a:gd name="T18" fmla="*/ 59 w 60"/>
                <a:gd name="T19" fmla="*/ 16 h 20"/>
                <a:gd name="T20" fmla="*/ 60 w 60"/>
                <a:gd name="T21" fmla="*/ 18 h 20"/>
                <a:gd name="T22" fmla="*/ 58 w 60"/>
                <a:gd name="T23" fmla="*/ 20 h 20"/>
                <a:gd name="T24" fmla="*/ 7 w 60"/>
                <a:gd name="T25" fmla="*/ 16 h 20"/>
                <a:gd name="T26" fmla="*/ 53 w 60"/>
                <a:gd name="T27" fmla="*/ 16 h 20"/>
                <a:gd name="T28" fmla="*/ 41 w 60"/>
                <a:gd name="T29" fmla="*/ 4 h 20"/>
                <a:gd name="T30" fmla="*/ 19 w 60"/>
                <a:gd name="T31" fmla="*/ 4 h 20"/>
                <a:gd name="T32" fmla="*/ 7 w 60"/>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0">
                  <a:moveTo>
                    <a:pt x="58" y="20"/>
                  </a:moveTo>
                  <a:cubicBezTo>
                    <a:pt x="58" y="20"/>
                    <a:pt x="58" y="20"/>
                    <a:pt x="58" y="20"/>
                  </a:cubicBezTo>
                  <a:cubicBezTo>
                    <a:pt x="2" y="20"/>
                    <a:pt x="2" y="20"/>
                    <a:pt x="2" y="20"/>
                  </a:cubicBezTo>
                  <a:cubicBezTo>
                    <a:pt x="1" y="20"/>
                    <a:pt x="0" y="20"/>
                    <a:pt x="0" y="19"/>
                  </a:cubicBezTo>
                  <a:cubicBezTo>
                    <a:pt x="0" y="18"/>
                    <a:pt x="0" y="17"/>
                    <a:pt x="1" y="17"/>
                  </a:cubicBezTo>
                  <a:cubicBezTo>
                    <a:pt x="17" y="1"/>
                    <a:pt x="17" y="1"/>
                    <a:pt x="17" y="1"/>
                  </a:cubicBezTo>
                  <a:cubicBezTo>
                    <a:pt x="17" y="0"/>
                    <a:pt x="17" y="0"/>
                    <a:pt x="18" y="0"/>
                  </a:cubicBezTo>
                  <a:cubicBezTo>
                    <a:pt x="42" y="0"/>
                    <a:pt x="42" y="0"/>
                    <a:pt x="42" y="0"/>
                  </a:cubicBezTo>
                  <a:cubicBezTo>
                    <a:pt x="43" y="0"/>
                    <a:pt x="43" y="0"/>
                    <a:pt x="43" y="1"/>
                  </a:cubicBezTo>
                  <a:cubicBezTo>
                    <a:pt x="59" y="16"/>
                    <a:pt x="59" y="16"/>
                    <a:pt x="59" y="16"/>
                  </a:cubicBezTo>
                  <a:cubicBezTo>
                    <a:pt x="60" y="17"/>
                    <a:pt x="60" y="17"/>
                    <a:pt x="60" y="18"/>
                  </a:cubicBezTo>
                  <a:cubicBezTo>
                    <a:pt x="60" y="19"/>
                    <a:pt x="59" y="20"/>
                    <a:pt x="58" y="20"/>
                  </a:cubicBezTo>
                  <a:close/>
                  <a:moveTo>
                    <a:pt x="7" y="16"/>
                  </a:moveTo>
                  <a:cubicBezTo>
                    <a:pt x="53" y="16"/>
                    <a:pt x="53" y="16"/>
                    <a:pt x="53" y="16"/>
                  </a:cubicBezTo>
                  <a:cubicBezTo>
                    <a:pt x="41" y="4"/>
                    <a:pt x="41" y="4"/>
                    <a:pt x="41" y="4"/>
                  </a:cubicBezTo>
                  <a:cubicBezTo>
                    <a:pt x="19" y="4"/>
                    <a:pt x="19" y="4"/>
                    <a:pt x="19" y="4"/>
                  </a:cubicBez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7" name="Freeform 114">
              <a:extLst>
                <a:ext uri="{FF2B5EF4-FFF2-40B4-BE49-F238E27FC236}">
                  <a16:creationId xmlns:a16="http://schemas.microsoft.com/office/drawing/2014/main" id="{93333B30-382F-482A-825D-1FCD0650F60E}"/>
                </a:ext>
              </a:extLst>
            </p:cNvPr>
            <p:cNvSpPr>
              <a:spLocks/>
            </p:cNvSpPr>
            <p:nvPr/>
          </p:nvSpPr>
          <p:spPr bwMode="auto">
            <a:xfrm>
              <a:off x="8458200" y="4516438"/>
              <a:ext cx="15875" cy="777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83" name="Group 61">
            <a:extLst>
              <a:ext uri="{FF2B5EF4-FFF2-40B4-BE49-F238E27FC236}">
                <a16:creationId xmlns:a16="http://schemas.microsoft.com/office/drawing/2014/main" id="{FC1BD4FE-959D-4C52-8566-FD92344DD680}"/>
              </a:ext>
            </a:extLst>
          </p:cNvPr>
          <p:cNvGrpSpPr>
            <a:grpSpLocks noChangeAspect="1"/>
          </p:cNvGrpSpPr>
          <p:nvPr/>
        </p:nvGrpSpPr>
        <p:grpSpPr>
          <a:xfrm>
            <a:off x="690521" y="5386481"/>
            <a:ext cx="247156" cy="368675"/>
            <a:chOff x="11647488" y="3046413"/>
            <a:chExt cx="190500" cy="284163"/>
          </a:xfrm>
          <a:solidFill>
            <a:schemeClr val="bg1"/>
          </a:solidFill>
          <a:effectLst/>
        </p:grpSpPr>
        <p:sp>
          <p:nvSpPr>
            <p:cNvPr id="384" name="Freeform 165">
              <a:extLst>
                <a:ext uri="{FF2B5EF4-FFF2-40B4-BE49-F238E27FC236}">
                  <a16:creationId xmlns:a16="http://schemas.microsoft.com/office/drawing/2014/main" id="{930592E7-2397-4539-B1FD-6CBCE09C2B06}"/>
                </a:ext>
              </a:extLst>
            </p:cNvPr>
            <p:cNvSpPr>
              <a:spLocks noEditPoints="1"/>
            </p:cNvSpPr>
            <p:nvPr/>
          </p:nvSpPr>
          <p:spPr bwMode="auto">
            <a:xfrm>
              <a:off x="11647488" y="3046413"/>
              <a:ext cx="190500" cy="284163"/>
            </a:xfrm>
            <a:custGeom>
              <a:avLst/>
              <a:gdLst>
                <a:gd name="T0" fmla="*/ 232 w 598"/>
                <a:gd name="T1" fmla="*/ 857 h 896"/>
                <a:gd name="T2" fmla="*/ 160 w 598"/>
                <a:gd name="T3" fmla="*/ 827 h 896"/>
                <a:gd name="T4" fmla="*/ 101 w 598"/>
                <a:gd name="T5" fmla="*/ 778 h 896"/>
                <a:gd name="T6" fmla="*/ 57 w 598"/>
                <a:gd name="T7" fmla="*/ 714 h 896"/>
                <a:gd name="T8" fmla="*/ 33 w 598"/>
                <a:gd name="T9" fmla="*/ 638 h 896"/>
                <a:gd name="T10" fmla="*/ 33 w 598"/>
                <a:gd name="T11" fmla="*/ 557 h 896"/>
                <a:gd name="T12" fmla="*/ 57 w 598"/>
                <a:gd name="T13" fmla="*/ 481 h 896"/>
                <a:gd name="T14" fmla="*/ 101 w 598"/>
                <a:gd name="T15" fmla="*/ 417 h 896"/>
                <a:gd name="T16" fmla="*/ 160 w 598"/>
                <a:gd name="T17" fmla="*/ 368 h 896"/>
                <a:gd name="T18" fmla="*/ 232 w 598"/>
                <a:gd name="T19" fmla="*/ 337 h 896"/>
                <a:gd name="T20" fmla="*/ 314 w 598"/>
                <a:gd name="T21" fmla="*/ 329 h 896"/>
                <a:gd name="T22" fmla="*/ 392 w 598"/>
                <a:gd name="T23" fmla="*/ 345 h 896"/>
                <a:gd name="T24" fmla="*/ 460 w 598"/>
                <a:gd name="T25" fmla="*/ 382 h 896"/>
                <a:gd name="T26" fmla="*/ 515 w 598"/>
                <a:gd name="T27" fmla="*/ 437 h 896"/>
                <a:gd name="T28" fmla="*/ 552 w 598"/>
                <a:gd name="T29" fmla="*/ 506 h 896"/>
                <a:gd name="T30" fmla="*/ 568 w 598"/>
                <a:gd name="T31" fmla="*/ 584 h 896"/>
                <a:gd name="T32" fmla="*/ 560 w 598"/>
                <a:gd name="T33" fmla="*/ 665 h 896"/>
                <a:gd name="T34" fmla="*/ 530 w 598"/>
                <a:gd name="T35" fmla="*/ 737 h 896"/>
                <a:gd name="T36" fmla="*/ 481 w 598"/>
                <a:gd name="T37" fmla="*/ 796 h 896"/>
                <a:gd name="T38" fmla="*/ 416 w 598"/>
                <a:gd name="T39" fmla="*/ 840 h 896"/>
                <a:gd name="T40" fmla="*/ 340 w 598"/>
                <a:gd name="T41" fmla="*/ 864 h 896"/>
                <a:gd name="T42" fmla="*/ 522 w 598"/>
                <a:gd name="T43" fmla="*/ 174 h 896"/>
                <a:gd name="T44" fmla="*/ 476 w 598"/>
                <a:gd name="T45" fmla="*/ 70 h 896"/>
                <a:gd name="T46" fmla="*/ 378 w 598"/>
                <a:gd name="T47" fmla="*/ 8 h 896"/>
                <a:gd name="T48" fmla="*/ 255 w 598"/>
                <a:gd name="T49" fmla="*/ 8 h 896"/>
                <a:gd name="T50" fmla="*/ 163 w 598"/>
                <a:gd name="T51" fmla="*/ 68 h 896"/>
                <a:gd name="T52" fmla="*/ 121 w 598"/>
                <a:gd name="T53" fmla="*/ 173 h 896"/>
                <a:gd name="T54" fmla="*/ 163 w 598"/>
                <a:gd name="T55" fmla="*/ 128 h 896"/>
                <a:gd name="T56" fmla="*/ 221 w 598"/>
                <a:gd name="T57" fmla="*/ 56 h 896"/>
                <a:gd name="T58" fmla="*/ 315 w 598"/>
                <a:gd name="T59" fmla="*/ 30 h 896"/>
                <a:gd name="T60" fmla="*/ 415 w 598"/>
                <a:gd name="T61" fmla="*/ 58 h 896"/>
                <a:gd name="T62" fmla="*/ 479 w 598"/>
                <a:gd name="T63" fmla="*/ 129 h 896"/>
                <a:gd name="T64" fmla="*/ 484 w 598"/>
                <a:gd name="T65" fmla="*/ 362 h 896"/>
                <a:gd name="T66" fmla="*/ 417 w 598"/>
                <a:gd name="T67" fmla="*/ 323 h 896"/>
                <a:gd name="T68" fmla="*/ 340 w 598"/>
                <a:gd name="T69" fmla="*/ 301 h 896"/>
                <a:gd name="T70" fmla="*/ 254 w 598"/>
                <a:gd name="T71" fmla="*/ 302 h 896"/>
                <a:gd name="T72" fmla="*/ 170 w 598"/>
                <a:gd name="T73" fmla="*/ 328 h 896"/>
                <a:gd name="T74" fmla="*/ 99 w 598"/>
                <a:gd name="T75" fmla="*/ 376 h 896"/>
                <a:gd name="T76" fmla="*/ 44 w 598"/>
                <a:gd name="T77" fmla="*/ 442 h 896"/>
                <a:gd name="T78" fmla="*/ 10 w 598"/>
                <a:gd name="T79" fmla="*/ 523 h 896"/>
                <a:gd name="T80" fmla="*/ 1 w 598"/>
                <a:gd name="T81" fmla="*/ 612 h 896"/>
                <a:gd name="T82" fmla="*/ 18 w 598"/>
                <a:gd name="T83" fmla="*/ 700 h 896"/>
                <a:gd name="T84" fmla="*/ 60 w 598"/>
                <a:gd name="T85" fmla="*/ 776 h 896"/>
                <a:gd name="T86" fmla="*/ 121 w 598"/>
                <a:gd name="T87" fmla="*/ 837 h 896"/>
                <a:gd name="T88" fmla="*/ 197 w 598"/>
                <a:gd name="T89" fmla="*/ 878 h 896"/>
                <a:gd name="T90" fmla="*/ 284 w 598"/>
                <a:gd name="T91" fmla="*/ 896 h 896"/>
                <a:gd name="T92" fmla="*/ 375 w 598"/>
                <a:gd name="T93" fmla="*/ 887 h 896"/>
                <a:gd name="T94" fmla="*/ 455 w 598"/>
                <a:gd name="T95" fmla="*/ 853 h 896"/>
                <a:gd name="T96" fmla="*/ 521 w 598"/>
                <a:gd name="T97" fmla="*/ 799 h 896"/>
                <a:gd name="T98" fmla="*/ 569 w 598"/>
                <a:gd name="T99" fmla="*/ 727 h 896"/>
                <a:gd name="T100" fmla="*/ 595 w 598"/>
                <a:gd name="T101" fmla="*/ 642 h 896"/>
                <a:gd name="T102" fmla="*/ 595 w 598"/>
                <a:gd name="T103" fmla="*/ 556 h 896"/>
                <a:gd name="T104" fmla="*/ 574 w 598"/>
                <a:gd name="T105" fmla="*/ 478 h 896"/>
                <a:gd name="T106" fmla="*/ 532 w 598"/>
                <a:gd name="T107" fmla="*/ 41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8" h="896">
                  <a:moveTo>
                    <a:pt x="300" y="866"/>
                  </a:moveTo>
                  <a:lnTo>
                    <a:pt x="286" y="866"/>
                  </a:lnTo>
                  <a:lnTo>
                    <a:pt x="272" y="865"/>
                  </a:lnTo>
                  <a:lnTo>
                    <a:pt x="259" y="864"/>
                  </a:lnTo>
                  <a:lnTo>
                    <a:pt x="245" y="861"/>
                  </a:lnTo>
                  <a:lnTo>
                    <a:pt x="232" y="857"/>
                  </a:lnTo>
                  <a:lnTo>
                    <a:pt x="220" y="854"/>
                  </a:lnTo>
                  <a:lnTo>
                    <a:pt x="207" y="850"/>
                  </a:lnTo>
                  <a:lnTo>
                    <a:pt x="195" y="846"/>
                  </a:lnTo>
                  <a:lnTo>
                    <a:pt x="183" y="840"/>
                  </a:lnTo>
                  <a:lnTo>
                    <a:pt x="171" y="834"/>
                  </a:lnTo>
                  <a:lnTo>
                    <a:pt x="160" y="827"/>
                  </a:lnTo>
                  <a:lnTo>
                    <a:pt x="149" y="820"/>
                  </a:lnTo>
                  <a:lnTo>
                    <a:pt x="138" y="812"/>
                  </a:lnTo>
                  <a:lnTo>
                    <a:pt x="129" y="805"/>
                  </a:lnTo>
                  <a:lnTo>
                    <a:pt x="119" y="796"/>
                  </a:lnTo>
                  <a:lnTo>
                    <a:pt x="109" y="788"/>
                  </a:lnTo>
                  <a:lnTo>
                    <a:pt x="101" y="778"/>
                  </a:lnTo>
                  <a:lnTo>
                    <a:pt x="92" y="769"/>
                  </a:lnTo>
                  <a:lnTo>
                    <a:pt x="84" y="758"/>
                  </a:lnTo>
                  <a:lnTo>
                    <a:pt x="76" y="747"/>
                  </a:lnTo>
                  <a:lnTo>
                    <a:pt x="70" y="737"/>
                  </a:lnTo>
                  <a:lnTo>
                    <a:pt x="63" y="726"/>
                  </a:lnTo>
                  <a:lnTo>
                    <a:pt x="57" y="714"/>
                  </a:lnTo>
                  <a:lnTo>
                    <a:pt x="52" y="702"/>
                  </a:lnTo>
                  <a:lnTo>
                    <a:pt x="47" y="689"/>
                  </a:lnTo>
                  <a:lnTo>
                    <a:pt x="43" y="678"/>
                  </a:lnTo>
                  <a:lnTo>
                    <a:pt x="39" y="665"/>
                  </a:lnTo>
                  <a:lnTo>
                    <a:pt x="36" y="652"/>
                  </a:lnTo>
                  <a:lnTo>
                    <a:pt x="33" y="638"/>
                  </a:lnTo>
                  <a:lnTo>
                    <a:pt x="32" y="625"/>
                  </a:lnTo>
                  <a:lnTo>
                    <a:pt x="31" y="611"/>
                  </a:lnTo>
                  <a:lnTo>
                    <a:pt x="30" y="597"/>
                  </a:lnTo>
                  <a:lnTo>
                    <a:pt x="31" y="584"/>
                  </a:lnTo>
                  <a:lnTo>
                    <a:pt x="32" y="570"/>
                  </a:lnTo>
                  <a:lnTo>
                    <a:pt x="33" y="557"/>
                  </a:lnTo>
                  <a:lnTo>
                    <a:pt x="36" y="543"/>
                  </a:lnTo>
                  <a:lnTo>
                    <a:pt x="39" y="530"/>
                  </a:lnTo>
                  <a:lnTo>
                    <a:pt x="43" y="517"/>
                  </a:lnTo>
                  <a:lnTo>
                    <a:pt x="47" y="506"/>
                  </a:lnTo>
                  <a:lnTo>
                    <a:pt x="52" y="493"/>
                  </a:lnTo>
                  <a:lnTo>
                    <a:pt x="57" y="481"/>
                  </a:lnTo>
                  <a:lnTo>
                    <a:pt x="63" y="469"/>
                  </a:lnTo>
                  <a:lnTo>
                    <a:pt x="70" y="458"/>
                  </a:lnTo>
                  <a:lnTo>
                    <a:pt x="76" y="447"/>
                  </a:lnTo>
                  <a:lnTo>
                    <a:pt x="84" y="437"/>
                  </a:lnTo>
                  <a:lnTo>
                    <a:pt x="92" y="426"/>
                  </a:lnTo>
                  <a:lnTo>
                    <a:pt x="101" y="417"/>
                  </a:lnTo>
                  <a:lnTo>
                    <a:pt x="109" y="407"/>
                  </a:lnTo>
                  <a:lnTo>
                    <a:pt x="119" y="399"/>
                  </a:lnTo>
                  <a:lnTo>
                    <a:pt x="129" y="390"/>
                  </a:lnTo>
                  <a:lnTo>
                    <a:pt x="138" y="382"/>
                  </a:lnTo>
                  <a:lnTo>
                    <a:pt x="149" y="374"/>
                  </a:lnTo>
                  <a:lnTo>
                    <a:pt x="160" y="368"/>
                  </a:lnTo>
                  <a:lnTo>
                    <a:pt x="171" y="361"/>
                  </a:lnTo>
                  <a:lnTo>
                    <a:pt x="183" y="355"/>
                  </a:lnTo>
                  <a:lnTo>
                    <a:pt x="195" y="349"/>
                  </a:lnTo>
                  <a:lnTo>
                    <a:pt x="207" y="345"/>
                  </a:lnTo>
                  <a:lnTo>
                    <a:pt x="220" y="341"/>
                  </a:lnTo>
                  <a:lnTo>
                    <a:pt x="232" y="337"/>
                  </a:lnTo>
                  <a:lnTo>
                    <a:pt x="245" y="334"/>
                  </a:lnTo>
                  <a:lnTo>
                    <a:pt x="259" y="331"/>
                  </a:lnTo>
                  <a:lnTo>
                    <a:pt x="272" y="330"/>
                  </a:lnTo>
                  <a:lnTo>
                    <a:pt x="286" y="329"/>
                  </a:lnTo>
                  <a:lnTo>
                    <a:pt x="300" y="328"/>
                  </a:lnTo>
                  <a:lnTo>
                    <a:pt x="314" y="329"/>
                  </a:lnTo>
                  <a:lnTo>
                    <a:pt x="327" y="330"/>
                  </a:lnTo>
                  <a:lnTo>
                    <a:pt x="340" y="331"/>
                  </a:lnTo>
                  <a:lnTo>
                    <a:pt x="353" y="334"/>
                  </a:lnTo>
                  <a:lnTo>
                    <a:pt x="367" y="337"/>
                  </a:lnTo>
                  <a:lnTo>
                    <a:pt x="379" y="341"/>
                  </a:lnTo>
                  <a:lnTo>
                    <a:pt x="392" y="345"/>
                  </a:lnTo>
                  <a:lnTo>
                    <a:pt x="405" y="349"/>
                  </a:lnTo>
                  <a:lnTo>
                    <a:pt x="416" y="355"/>
                  </a:lnTo>
                  <a:lnTo>
                    <a:pt x="428" y="361"/>
                  </a:lnTo>
                  <a:lnTo>
                    <a:pt x="439" y="368"/>
                  </a:lnTo>
                  <a:lnTo>
                    <a:pt x="450" y="374"/>
                  </a:lnTo>
                  <a:lnTo>
                    <a:pt x="460" y="382"/>
                  </a:lnTo>
                  <a:lnTo>
                    <a:pt x="471" y="390"/>
                  </a:lnTo>
                  <a:lnTo>
                    <a:pt x="481" y="399"/>
                  </a:lnTo>
                  <a:lnTo>
                    <a:pt x="490" y="407"/>
                  </a:lnTo>
                  <a:lnTo>
                    <a:pt x="499" y="417"/>
                  </a:lnTo>
                  <a:lnTo>
                    <a:pt x="507" y="426"/>
                  </a:lnTo>
                  <a:lnTo>
                    <a:pt x="515" y="437"/>
                  </a:lnTo>
                  <a:lnTo>
                    <a:pt x="522" y="447"/>
                  </a:lnTo>
                  <a:lnTo>
                    <a:pt x="530" y="458"/>
                  </a:lnTo>
                  <a:lnTo>
                    <a:pt x="536" y="469"/>
                  </a:lnTo>
                  <a:lnTo>
                    <a:pt x="542" y="481"/>
                  </a:lnTo>
                  <a:lnTo>
                    <a:pt x="547" y="493"/>
                  </a:lnTo>
                  <a:lnTo>
                    <a:pt x="552" y="506"/>
                  </a:lnTo>
                  <a:lnTo>
                    <a:pt x="557" y="517"/>
                  </a:lnTo>
                  <a:lnTo>
                    <a:pt x="560" y="530"/>
                  </a:lnTo>
                  <a:lnTo>
                    <a:pt x="563" y="543"/>
                  </a:lnTo>
                  <a:lnTo>
                    <a:pt x="565" y="557"/>
                  </a:lnTo>
                  <a:lnTo>
                    <a:pt x="567" y="570"/>
                  </a:lnTo>
                  <a:lnTo>
                    <a:pt x="568" y="584"/>
                  </a:lnTo>
                  <a:lnTo>
                    <a:pt x="568" y="597"/>
                  </a:lnTo>
                  <a:lnTo>
                    <a:pt x="568" y="611"/>
                  </a:lnTo>
                  <a:lnTo>
                    <a:pt x="567" y="625"/>
                  </a:lnTo>
                  <a:lnTo>
                    <a:pt x="565" y="638"/>
                  </a:lnTo>
                  <a:lnTo>
                    <a:pt x="563" y="652"/>
                  </a:lnTo>
                  <a:lnTo>
                    <a:pt x="560" y="665"/>
                  </a:lnTo>
                  <a:lnTo>
                    <a:pt x="557" y="678"/>
                  </a:lnTo>
                  <a:lnTo>
                    <a:pt x="552" y="689"/>
                  </a:lnTo>
                  <a:lnTo>
                    <a:pt x="547" y="702"/>
                  </a:lnTo>
                  <a:lnTo>
                    <a:pt x="542" y="714"/>
                  </a:lnTo>
                  <a:lnTo>
                    <a:pt x="536" y="726"/>
                  </a:lnTo>
                  <a:lnTo>
                    <a:pt x="530" y="737"/>
                  </a:lnTo>
                  <a:lnTo>
                    <a:pt x="522" y="747"/>
                  </a:lnTo>
                  <a:lnTo>
                    <a:pt x="515" y="758"/>
                  </a:lnTo>
                  <a:lnTo>
                    <a:pt x="507" y="769"/>
                  </a:lnTo>
                  <a:lnTo>
                    <a:pt x="499" y="778"/>
                  </a:lnTo>
                  <a:lnTo>
                    <a:pt x="490" y="788"/>
                  </a:lnTo>
                  <a:lnTo>
                    <a:pt x="481" y="796"/>
                  </a:lnTo>
                  <a:lnTo>
                    <a:pt x="471" y="805"/>
                  </a:lnTo>
                  <a:lnTo>
                    <a:pt x="460" y="812"/>
                  </a:lnTo>
                  <a:lnTo>
                    <a:pt x="450" y="820"/>
                  </a:lnTo>
                  <a:lnTo>
                    <a:pt x="439" y="827"/>
                  </a:lnTo>
                  <a:lnTo>
                    <a:pt x="428" y="834"/>
                  </a:lnTo>
                  <a:lnTo>
                    <a:pt x="416" y="840"/>
                  </a:lnTo>
                  <a:lnTo>
                    <a:pt x="405" y="846"/>
                  </a:lnTo>
                  <a:lnTo>
                    <a:pt x="392" y="850"/>
                  </a:lnTo>
                  <a:lnTo>
                    <a:pt x="379" y="854"/>
                  </a:lnTo>
                  <a:lnTo>
                    <a:pt x="367" y="857"/>
                  </a:lnTo>
                  <a:lnTo>
                    <a:pt x="353" y="861"/>
                  </a:lnTo>
                  <a:lnTo>
                    <a:pt x="340" y="864"/>
                  </a:lnTo>
                  <a:lnTo>
                    <a:pt x="327" y="865"/>
                  </a:lnTo>
                  <a:lnTo>
                    <a:pt x="314" y="866"/>
                  </a:lnTo>
                  <a:lnTo>
                    <a:pt x="300" y="866"/>
                  </a:lnTo>
                  <a:close/>
                  <a:moveTo>
                    <a:pt x="523" y="401"/>
                  </a:moveTo>
                  <a:lnTo>
                    <a:pt x="523" y="194"/>
                  </a:lnTo>
                  <a:lnTo>
                    <a:pt x="522" y="174"/>
                  </a:lnTo>
                  <a:lnTo>
                    <a:pt x="519" y="155"/>
                  </a:lnTo>
                  <a:lnTo>
                    <a:pt x="515" y="136"/>
                  </a:lnTo>
                  <a:lnTo>
                    <a:pt x="507" y="117"/>
                  </a:lnTo>
                  <a:lnTo>
                    <a:pt x="499" y="100"/>
                  </a:lnTo>
                  <a:lnTo>
                    <a:pt x="488" y="84"/>
                  </a:lnTo>
                  <a:lnTo>
                    <a:pt x="476" y="70"/>
                  </a:lnTo>
                  <a:lnTo>
                    <a:pt x="463" y="56"/>
                  </a:lnTo>
                  <a:lnTo>
                    <a:pt x="448" y="44"/>
                  </a:lnTo>
                  <a:lnTo>
                    <a:pt x="432" y="33"/>
                  </a:lnTo>
                  <a:lnTo>
                    <a:pt x="415" y="23"/>
                  </a:lnTo>
                  <a:lnTo>
                    <a:pt x="397" y="15"/>
                  </a:lnTo>
                  <a:lnTo>
                    <a:pt x="378" y="8"/>
                  </a:lnTo>
                  <a:lnTo>
                    <a:pt x="358" y="4"/>
                  </a:lnTo>
                  <a:lnTo>
                    <a:pt x="336" y="1"/>
                  </a:lnTo>
                  <a:lnTo>
                    <a:pt x="315" y="0"/>
                  </a:lnTo>
                  <a:lnTo>
                    <a:pt x="293" y="1"/>
                  </a:lnTo>
                  <a:lnTo>
                    <a:pt x="274" y="4"/>
                  </a:lnTo>
                  <a:lnTo>
                    <a:pt x="255" y="8"/>
                  </a:lnTo>
                  <a:lnTo>
                    <a:pt x="237" y="15"/>
                  </a:lnTo>
                  <a:lnTo>
                    <a:pt x="220" y="22"/>
                  </a:lnTo>
                  <a:lnTo>
                    <a:pt x="204" y="32"/>
                  </a:lnTo>
                  <a:lnTo>
                    <a:pt x="189" y="43"/>
                  </a:lnTo>
                  <a:lnTo>
                    <a:pt x="176" y="54"/>
                  </a:lnTo>
                  <a:lnTo>
                    <a:pt x="163" y="68"/>
                  </a:lnTo>
                  <a:lnTo>
                    <a:pt x="152" y="83"/>
                  </a:lnTo>
                  <a:lnTo>
                    <a:pt x="143" y="99"/>
                  </a:lnTo>
                  <a:lnTo>
                    <a:pt x="135" y="116"/>
                  </a:lnTo>
                  <a:lnTo>
                    <a:pt x="129" y="135"/>
                  </a:lnTo>
                  <a:lnTo>
                    <a:pt x="124" y="154"/>
                  </a:lnTo>
                  <a:lnTo>
                    <a:pt x="121" y="173"/>
                  </a:lnTo>
                  <a:lnTo>
                    <a:pt x="120" y="194"/>
                  </a:lnTo>
                  <a:lnTo>
                    <a:pt x="150" y="194"/>
                  </a:lnTo>
                  <a:lnTo>
                    <a:pt x="151" y="176"/>
                  </a:lnTo>
                  <a:lnTo>
                    <a:pt x="153" y="160"/>
                  </a:lnTo>
                  <a:lnTo>
                    <a:pt x="158" y="143"/>
                  </a:lnTo>
                  <a:lnTo>
                    <a:pt x="163" y="128"/>
                  </a:lnTo>
                  <a:lnTo>
                    <a:pt x="169" y="114"/>
                  </a:lnTo>
                  <a:lnTo>
                    <a:pt x="177" y="100"/>
                  </a:lnTo>
                  <a:lnTo>
                    <a:pt x="186" y="87"/>
                  </a:lnTo>
                  <a:lnTo>
                    <a:pt x="197" y="76"/>
                  </a:lnTo>
                  <a:lnTo>
                    <a:pt x="208" y="66"/>
                  </a:lnTo>
                  <a:lnTo>
                    <a:pt x="221" y="56"/>
                  </a:lnTo>
                  <a:lnTo>
                    <a:pt x="235" y="49"/>
                  </a:lnTo>
                  <a:lnTo>
                    <a:pt x="248" y="43"/>
                  </a:lnTo>
                  <a:lnTo>
                    <a:pt x="264" y="37"/>
                  </a:lnTo>
                  <a:lnTo>
                    <a:pt x="281" y="33"/>
                  </a:lnTo>
                  <a:lnTo>
                    <a:pt x="297" y="31"/>
                  </a:lnTo>
                  <a:lnTo>
                    <a:pt x="315" y="30"/>
                  </a:lnTo>
                  <a:lnTo>
                    <a:pt x="333" y="31"/>
                  </a:lnTo>
                  <a:lnTo>
                    <a:pt x="351" y="33"/>
                  </a:lnTo>
                  <a:lnTo>
                    <a:pt x="368" y="37"/>
                  </a:lnTo>
                  <a:lnTo>
                    <a:pt x="385" y="43"/>
                  </a:lnTo>
                  <a:lnTo>
                    <a:pt x="400" y="49"/>
                  </a:lnTo>
                  <a:lnTo>
                    <a:pt x="415" y="58"/>
                  </a:lnTo>
                  <a:lnTo>
                    <a:pt x="429" y="67"/>
                  </a:lnTo>
                  <a:lnTo>
                    <a:pt x="442" y="78"/>
                  </a:lnTo>
                  <a:lnTo>
                    <a:pt x="454" y="89"/>
                  </a:lnTo>
                  <a:lnTo>
                    <a:pt x="463" y="101"/>
                  </a:lnTo>
                  <a:lnTo>
                    <a:pt x="472" y="115"/>
                  </a:lnTo>
                  <a:lnTo>
                    <a:pt x="479" y="129"/>
                  </a:lnTo>
                  <a:lnTo>
                    <a:pt x="486" y="145"/>
                  </a:lnTo>
                  <a:lnTo>
                    <a:pt x="490" y="160"/>
                  </a:lnTo>
                  <a:lnTo>
                    <a:pt x="493" y="177"/>
                  </a:lnTo>
                  <a:lnTo>
                    <a:pt x="493" y="194"/>
                  </a:lnTo>
                  <a:lnTo>
                    <a:pt x="493" y="371"/>
                  </a:lnTo>
                  <a:lnTo>
                    <a:pt x="484" y="362"/>
                  </a:lnTo>
                  <a:lnTo>
                    <a:pt x="473" y="355"/>
                  </a:lnTo>
                  <a:lnTo>
                    <a:pt x="462" y="347"/>
                  </a:lnTo>
                  <a:lnTo>
                    <a:pt x="452" y="341"/>
                  </a:lnTo>
                  <a:lnTo>
                    <a:pt x="441" y="334"/>
                  </a:lnTo>
                  <a:lnTo>
                    <a:pt x="429" y="328"/>
                  </a:lnTo>
                  <a:lnTo>
                    <a:pt x="417" y="323"/>
                  </a:lnTo>
                  <a:lnTo>
                    <a:pt x="405" y="318"/>
                  </a:lnTo>
                  <a:lnTo>
                    <a:pt x="393" y="313"/>
                  </a:lnTo>
                  <a:lnTo>
                    <a:pt x="380" y="310"/>
                  </a:lnTo>
                  <a:lnTo>
                    <a:pt x="367" y="307"/>
                  </a:lnTo>
                  <a:lnTo>
                    <a:pt x="354" y="303"/>
                  </a:lnTo>
                  <a:lnTo>
                    <a:pt x="340" y="301"/>
                  </a:lnTo>
                  <a:lnTo>
                    <a:pt x="327" y="300"/>
                  </a:lnTo>
                  <a:lnTo>
                    <a:pt x="314" y="299"/>
                  </a:lnTo>
                  <a:lnTo>
                    <a:pt x="300" y="299"/>
                  </a:lnTo>
                  <a:lnTo>
                    <a:pt x="284" y="299"/>
                  </a:lnTo>
                  <a:lnTo>
                    <a:pt x="269" y="300"/>
                  </a:lnTo>
                  <a:lnTo>
                    <a:pt x="254" y="302"/>
                  </a:lnTo>
                  <a:lnTo>
                    <a:pt x="240" y="305"/>
                  </a:lnTo>
                  <a:lnTo>
                    <a:pt x="225" y="308"/>
                  </a:lnTo>
                  <a:lnTo>
                    <a:pt x="211" y="312"/>
                  </a:lnTo>
                  <a:lnTo>
                    <a:pt x="197" y="317"/>
                  </a:lnTo>
                  <a:lnTo>
                    <a:pt x="183" y="323"/>
                  </a:lnTo>
                  <a:lnTo>
                    <a:pt x="170" y="328"/>
                  </a:lnTo>
                  <a:lnTo>
                    <a:pt x="158" y="334"/>
                  </a:lnTo>
                  <a:lnTo>
                    <a:pt x="145" y="342"/>
                  </a:lnTo>
                  <a:lnTo>
                    <a:pt x="133" y="349"/>
                  </a:lnTo>
                  <a:lnTo>
                    <a:pt x="121" y="358"/>
                  </a:lnTo>
                  <a:lnTo>
                    <a:pt x="109" y="367"/>
                  </a:lnTo>
                  <a:lnTo>
                    <a:pt x="99" y="376"/>
                  </a:lnTo>
                  <a:lnTo>
                    <a:pt x="88" y="386"/>
                  </a:lnTo>
                  <a:lnTo>
                    <a:pt x="78" y="396"/>
                  </a:lnTo>
                  <a:lnTo>
                    <a:pt x="69" y="407"/>
                  </a:lnTo>
                  <a:lnTo>
                    <a:pt x="60" y="419"/>
                  </a:lnTo>
                  <a:lnTo>
                    <a:pt x="52" y="431"/>
                  </a:lnTo>
                  <a:lnTo>
                    <a:pt x="44" y="442"/>
                  </a:lnTo>
                  <a:lnTo>
                    <a:pt x="37" y="455"/>
                  </a:lnTo>
                  <a:lnTo>
                    <a:pt x="30" y="468"/>
                  </a:lnTo>
                  <a:lnTo>
                    <a:pt x="24" y="481"/>
                  </a:lnTo>
                  <a:lnTo>
                    <a:pt x="18" y="495"/>
                  </a:lnTo>
                  <a:lnTo>
                    <a:pt x="14" y="509"/>
                  </a:lnTo>
                  <a:lnTo>
                    <a:pt x="10" y="523"/>
                  </a:lnTo>
                  <a:lnTo>
                    <a:pt x="7" y="538"/>
                  </a:lnTo>
                  <a:lnTo>
                    <a:pt x="5" y="552"/>
                  </a:lnTo>
                  <a:lnTo>
                    <a:pt x="2" y="566"/>
                  </a:lnTo>
                  <a:lnTo>
                    <a:pt x="1" y="583"/>
                  </a:lnTo>
                  <a:lnTo>
                    <a:pt x="0" y="597"/>
                  </a:lnTo>
                  <a:lnTo>
                    <a:pt x="1" y="612"/>
                  </a:lnTo>
                  <a:lnTo>
                    <a:pt x="2" y="627"/>
                  </a:lnTo>
                  <a:lnTo>
                    <a:pt x="5" y="642"/>
                  </a:lnTo>
                  <a:lnTo>
                    <a:pt x="7" y="657"/>
                  </a:lnTo>
                  <a:lnTo>
                    <a:pt x="10" y="672"/>
                  </a:lnTo>
                  <a:lnTo>
                    <a:pt x="14" y="686"/>
                  </a:lnTo>
                  <a:lnTo>
                    <a:pt x="18" y="700"/>
                  </a:lnTo>
                  <a:lnTo>
                    <a:pt x="24" y="714"/>
                  </a:lnTo>
                  <a:lnTo>
                    <a:pt x="30" y="727"/>
                  </a:lnTo>
                  <a:lnTo>
                    <a:pt x="37" y="740"/>
                  </a:lnTo>
                  <a:lnTo>
                    <a:pt x="44" y="753"/>
                  </a:lnTo>
                  <a:lnTo>
                    <a:pt x="52" y="764"/>
                  </a:lnTo>
                  <a:lnTo>
                    <a:pt x="60" y="776"/>
                  </a:lnTo>
                  <a:lnTo>
                    <a:pt x="69" y="788"/>
                  </a:lnTo>
                  <a:lnTo>
                    <a:pt x="78" y="799"/>
                  </a:lnTo>
                  <a:lnTo>
                    <a:pt x="88" y="808"/>
                  </a:lnTo>
                  <a:lnTo>
                    <a:pt x="99" y="819"/>
                  </a:lnTo>
                  <a:lnTo>
                    <a:pt x="109" y="827"/>
                  </a:lnTo>
                  <a:lnTo>
                    <a:pt x="121" y="837"/>
                  </a:lnTo>
                  <a:lnTo>
                    <a:pt x="133" y="846"/>
                  </a:lnTo>
                  <a:lnTo>
                    <a:pt x="145" y="853"/>
                  </a:lnTo>
                  <a:lnTo>
                    <a:pt x="158" y="861"/>
                  </a:lnTo>
                  <a:lnTo>
                    <a:pt x="170" y="867"/>
                  </a:lnTo>
                  <a:lnTo>
                    <a:pt x="183" y="872"/>
                  </a:lnTo>
                  <a:lnTo>
                    <a:pt x="197" y="878"/>
                  </a:lnTo>
                  <a:lnTo>
                    <a:pt x="211" y="883"/>
                  </a:lnTo>
                  <a:lnTo>
                    <a:pt x="225" y="887"/>
                  </a:lnTo>
                  <a:lnTo>
                    <a:pt x="240" y="890"/>
                  </a:lnTo>
                  <a:lnTo>
                    <a:pt x="254" y="893"/>
                  </a:lnTo>
                  <a:lnTo>
                    <a:pt x="269" y="895"/>
                  </a:lnTo>
                  <a:lnTo>
                    <a:pt x="284" y="896"/>
                  </a:lnTo>
                  <a:lnTo>
                    <a:pt x="300" y="896"/>
                  </a:lnTo>
                  <a:lnTo>
                    <a:pt x="315" y="896"/>
                  </a:lnTo>
                  <a:lnTo>
                    <a:pt x="330" y="895"/>
                  </a:lnTo>
                  <a:lnTo>
                    <a:pt x="345" y="893"/>
                  </a:lnTo>
                  <a:lnTo>
                    <a:pt x="360" y="890"/>
                  </a:lnTo>
                  <a:lnTo>
                    <a:pt x="375" y="887"/>
                  </a:lnTo>
                  <a:lnTo>
                    <a:pt x="389" y="883"/>
                  </a:lnTo>
                  <a:lnTo>
                    <a:pt x="402" y="878"/>
                  </a:lnTo>
                  <a:lnTo>
                    <a:pt x="415" y="872"/>
                  </a:lnTo>
                  <a:lnTo>
                    <a:pt x="429" y="867"/>
                  </a:lnTo>
                  <a:lnTo>
                    <a:pt x="442" y="861"/>
                  </a:lnTo>
                  <a:lnTo>
                    <a:pt x="455" y="853"/>
                  </a:lnTo>
                  <a:lnTo>
                    <a:pt x="467" y="846"/>
                  </a:lnTo>
                  <a:lnTo>
                    <a:pt x="478" y="837"/>
                  </a:lnTo>
                  <a:lnTo>
                    <a:pt x="489" y="827"/>
                  </a:lnTo>
                  <a:lnTo>
                    <a:pt x="501" y="819"/>
                  </a:lnTo>
                  <a:lnTo>
                    <a:pt x="511" y="808"/>
                  </a:lnTo>
                  <a:lnTo>
                    <a:pt x="521" y="799"/>
                  </a:lnTo>
                  <a:lnTo>
                    <a:pt x="530" y="788"/>
                  </a:lnTo>
                  <a:lnTo>
                    <a:pt x="539" y="776"/>
                  </a:lnTo>
                  <a:lnTo>
                    <a:pt x="547" y="764"/>
                  </a:lnTo>
                  <a:lnTo>
                    <a:pt x="555" y="753"/>
                  </a:lnTo>
                  <a:lnTo>
                    <a:pt x="562" y="740"/>
                  </a:lnTo>
                  <a:lnTo>
                    <a:pt x="569" y="727"/>
                  </a:lnTo>
                  <a:lnTo>
                    <a:pt x="575" y="714"/>
                  </a:lnTo>
                  <a:lnTo>
                    <a:pt x="580" y="700"/>
                  </a:lnTo>
                  <a:lnTo>
                    <a:pt x="585" y="686"/>
                  </a:lnTo>
                  <a:lnTo>
                    <a:pt x="589" y="672"/>
                  </a:lnTo>
                  <a:lnTo>
                    <a:pt x="593" y="657"/>
                  </a:lnTo>
                  <a:lnTo>
                    <a:pt x="595" y="642"/>
                  </a:lnTo>
                  <a:lnTo>
                    <a:pt x="597" y="629"/>
                  </a:lnTo>
                  <a:lnTo>
                    <a:pt x="598" y="612"/>
                  </a:lnTo>
                  <a:lnTo>
                    <a:pt x="598" y="597"/>
                  </a:lnTo>
                  <a:lnTo>
                    <a:pt x="598" y="584"/>
                  </a:lnTo>
                  <a:lnTo>
                    <a:pt x="597" y="570"/>
                  </a:lnTo>
                  <a:lnTo>
                    <a:pt x="595" y="556"/>
                  </a:lnTo>
                  <a:lnTo>
                    <a:pt x="593" y="542"/>
                  </a:lnTo>
                  <a:lnTo>
                    <a:pt x="591" y="529"/>
                  </a:lnTo>
                  <a:lnTo>
                    <a:pt x="588" y="516"/>
                  </a:lnTo>
                  <a:lnTo>
                    <a:pt x="583" y="503"/>
                  </a:lnTo>
                  <a:lnTo>
                    <a:pt x="579" y="491"/>
                  </a:lnTo>
                  <a:lnTo>
                    <a:pt x="574" y="478"/>
                  </a:lnTo>
                  <a:lnTo>
                    <a:pt x="568" y="466"/>
                  </a:lnTo>
                  <a:lnTo>
                    <a:pt x="562" y="454"/>
                  </a:lnTo>
                  <a:lnTo>
                    <a:pt x="555" y="442"/>
                  </a:lnTo>
                  <a:lnTo>
                    <a:pt x="548" y="432"/>
                  </a:lnTo>
                  <a:lnTo>
                    <a:pt x="540" y="421"/>
                  </a:lnTo>
                  <a:lnTo>
                    <a:pt x="532" y="410"/>
                  </a:lnTo>
                  <a:lnTo>
                    <a:pt x="523" y="401"/>
                  </a:lnTo>
                  <a:lnTo>
                    <a:pt x="523"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66">
              <a:extLst>
                <a:ext uri="{FF2B5EF4-FFF2-40B4-BE49-F238E27FC236}">
                  <a16:creationId xmlns:a16="http://schemas.microsoft.com/office/drawing/2014/main" id="{137F3688-B038-476A-A0D8-A0CA3B6A3163}"/>
                </a:ext>
              </a:extLst>
            </p:cNvPr>
            <p:cNvSpPr>
              <a:spLocks/>
            </p:cNvSpPr>
            <p:nvPr/>
          </p:nvSpPr>
          <p:spPr bwMode="auto">
            <a:xfrm>
              <a:off x="11733213" y="3227388"/>
              <a:ext cx="19050" cy="57150"/>
            </a:xfrm>
            <a:custGeom>
              <a:avLst/>
              <a:gdLst>
                <a:gd name="T0" fmla="*/ 30 w 60"/>
                <a:gd name="T1" fmla="*/ 0 h 179"/>
                <a:gd name="T2" fmla="*/ 23 w 60"/>
                <a:gd name="T3" fmla="*/ 1 h 179"/>
                <a:gd name="T4" fmla="*/ 18 w 60"/>
                <a:gd name="T5" fmla="*/ 2 h 179"/>
                <a:gd name="T6" fmla="*/ 13 w 60"/>
                <a:gd name="T7" fmla="*/ 5 h 179"/>
                <a:gd name="T8" fmla="*/ 8 w 60"/>
                <a:gd name="T9" fmla="*/ 8 h 179"/>
                <a:gd name="T10" fmla="*/ 5 w 60"/>
                <a:gd name="T11" fmla="*/ 12 h 179"/>
                <a:gd name="T12" fmla="*/ 2 w 60"/>
                <a:gd name="T13" fmla="*/ 18 h 179"/>
                <a:gd name="T14" fmla="*/ 0 w 60"/>
                <a:gd name="T15" fmla="*/ 23 h 179"/>
                <a:gd name="T16" fmla="*/ 0 w 60"/>
                <a:gd name="T17" fmla="*/ 29 h 179"/>
                <a:gd name="T18" fmla="*/ 1 w 60"/>
                <a:gd name="T19" fmla="*/ 37 h 179"/>
                <a:gd name="T20" fmla="*/ 4 w 60"/>
                <a:gd name="T21" fmla="*/ 44 h 179"/>
                <a:gd name="T22" fmla="*/ 8 w 60"/>
                <a:gd name="T23" fmla="*/ 51 h 179"/>
                <a:gd name="T24" fmla="*/ 15 w 60"/>
                <a:gd name="T25" fmla="*/ 55 h 179"/>
                <a:gd name="T26" fmla="*/ 15 w 60"/>
                <a:gd name="T27" fmla="*/ 164 h 179"/>
                <a:gd name="T28" fmla="*/ 15 w 60"/>
                <a:gd name="T29" fmla="*/ 166 h 179"/>
                <a:gd name="T30" fmla="*/ 16 w 60"/>
                <a:gd name="T31" fmla="*/ 170 h 179"/>
                <a:gd name="T32" fmla="*/ 17 w 60"/>
                <a:gd name="T33" fmla="*/ 172 h 179"/>
                <a:gd name="T34" fmla="*/ 19 w 60"/>
                <a:gd name="T35" fmla="*/ 175 h 179"/>
                <a:gd name="T36" fmla="*/ 21 w 60"/>
                <a:gd name="T37" fmla="*/ 176 h 179"/>
                <a:gd name="T38" fmla="*/ 23 w 60"/>
                <a:gd name="T39" fmla="*/ 178 h 179"/>
                <a:gd name="T40" fmla="*/ 27 w 60"/>
                <a:gd name="T41" fmla="*/ 178 h 179"/>
                <a:gd name="T42" fmla="*/ 30 w 60"/>
                <a:gd name="T43" fmla="*/ 179 h 179"/>
                <a:gd name="T44" fmla="*/ 33 w 60"/>
                <a:gd name="T45" fmla="*/ 178 h 179"/>
                <a:gd name="T46" fmla="*/ 35 w 60"/>
                <a:gd name="T47" fmla="*/ 178 h 179"/>
                <a:gd name="T48" fmla="*/ 38 w 60"/>
                <a:gd name="T49" fmla="*/ 176 h 179"/>
                <a:gd name="T50" fmla="*/ 40 w 60"/>
                <a:gd name="T51" fmla="*/ 175 h 179"/>
                <a:gd name="T52" fmla="*/ 42 w 60"/>
                <a:gd name="T53" fmla="*/ 173 h 179"/>
                <a:gd name="T54" fmla="*/ 44 w 60"/>
                <a:gd name="T55" fmla="*/ 170 h 179"/>
                <a:gd name="T56" fmla="*/ 44 w 60"/>
                <a:gd name="T57" fmla="*/ 167 h 179"/>
                <a:gd name="T58" fmla="*/ 45 w 60"/>
                <a:gd name="T59" fmla="*/ 164 h 179"/>
                <a:gd name="T60" fmla="*/ 45 w 60"/>
                <a:gd name="T61" fmla="*/ 55 h 179"/>
                <a:gd name="T62" fmla="*/ 50 w 60"/>
                <a:gd name="T63" fmla="*/ 51 h 179"/>
                <a:gd name="T64" fmla="*/ 55 w 60"/>
                <a:gd name="T65" fmla="*/ 44 h 179"/>
                <a:gd name="T66" fmla="*/ 59 w 60"/>
                <a:gd name="T67" fmla="*/ 37 h 179"/>
                <a:gd name="T68" fmla="*/ 60 w 60"/>
                <a:gd name="T69" fmla="*/ 29 h 179"/>
                <a:gd name="T70" fmla="*/ 59 w 60"/>
                <a:gd name="T71" fmla="*/ 23 h 179"/>
                <a:gd name="T72" fmla="*/ 58 w 60"/>
                <a:gd name="T73" fmla="*/ 18 h 179"/>
                <a:gd name="T74" fmla="*/ 54 w 60"/>
                <a:gd name="T75" fmla="*/ 12 h 179"/>
                <a:gd name="T76" fmla="*/ 51 w 60"/>
                <a:gd name="T77" fmla="*/ 8 h 179"/>
                <a:gd name="T78" fmla="*/ 46 w 60"/>
                <a:gd name="T79" fmla="*/ 5 h 179"/>
                <a:gd name="T80" fmla="*/ 42 w 60"/>
                <a:gd name="T81" fmla="*/ 2 h 179"/>
                <a:gd name="T82" fmla="*/ 35 w 60"/>
                <a:gd name="T83" fmla="*/ 1 h 179"/>
                <a:gd name="T84" fmla="*/ 30 w 60"/>
                <a:gd name="T8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179">
                  <a:moveTo>
                    <a:pt x="30" y="0"/>
                  </a:moveTo>
                  <a:lnTo>
                    <a:pt x="23" y="1"/>
                  </a:lnTo>
                  <a:lnTo>
                    <a:pt x="18" y="2"/>
                  </a:lnTo>
                  <a:lnTo>
                    <a:pt x="13" y="5"/>
                  </a:lnTo>
                  <a:lnTo>
                    <a:pt x="8" y="8"/>
                  </a:lnTo>
                  <a:lnTo>
                    <a:pt x="5" y="12"/>
                  </a:lnTo>
                  <a:lnTo>
                    <a:pt x="2" y="18"/>
                  </a:lnTo>
                  <a:lnTo>
                    <a:pt x="0" y="23"/>
                  </a:lnTo>
                  <a:lnTo>
                    <a:pt x="0" y="29"/>
                  </a:lnTo>
                  <a:lnTo>
                    <a:pt x="1" y="37"/>
                  </a:lnTo>
                  <a:lnTo>
                    <a:pt x="4" y="44"/>
                  </a:lnTo>
                  <a:lnTo>
                    <a:pt x="8" y="51"/>
                  </a:lnTo>
                  <a:lnTo>
                    <a:pt x="15" y="55"/>
                  </a:lnTo>
                  <a:lnTo>
                    <a:pt x="15" y="164"/>
                  </a:lnTo>
                  <a:lnTo>
                    <a:pt x="15" y="166"/>
                  </a:lnTo>
                  <a:lnTo>
                    <a:pt x="16" y="170"/>
                  </a:lnTo>
                  <a:lnTo>
                    <a:pt x="17" y="172"/>
                  </a:lnTo>
                  <a:lnTo>
                    <a:pt x="19" y="175"/>
                  </a:lnTo>
                  <a:lnTo>
                    <a:pt x="21" y="176"/>
                  </a:lnTo>
                  <a:lnTo>
                    <a:pt x="23" y="178"/>
                  </a:lnTo>
                  <a:lnTo>
                    <a:pt x="27" y="178"/>
                  </a:lnTo>
                  <a:lnTo>
                    <a:pt x="30" y="179"/>
                  </a:lnTo>
                  <a:lnTo>
                    <a:pt x="33" y="178"/>
                  </a:lnTo>
                  <a:lnTo>
                    <a:pt x="35" y="178"/>
                  </a:lnTo>
                  <a:lnTo>
                    <a:pt x="38" y="176"/>
                  </a:lnTo>
                  <a:lnTo>
                    <a:pt x="40" y="175"/>
                  </a:lnTo>
                  <a:lnTo>
                    <a:pt x="42" y="173"/>
                  </a:lnTo>
                  <a:lnTo>
                    <a:pt x="44" y="170"/>
                  </a:lnTo>
                  <a:lnTo>
                    <a:pt x="44" y="167"/>
                  </a:lnTo>
                  <a:lnTo>
                    <a:pt x="45" y="164"/>
                  </a:lnTo>
                  <a:lnTo>
                    <a:pt x="45" y="55"/>
                  </a:lnTo>
                  <a:lnTo>
                    <a:pt x="50" y="51"/>
                  </a:lnTo>
                  <a:lnTo>
                    <a:pt x="55" y="44"/>
                  </a:lnTo>
                  <a:lnTo>
                    <a:pt x="59" y="37"/>
                  </a:lnTo>
                  <a:lnTo>
                    <a:pt x="60" y="29"/>
                  </a:lnTo>
                  <a:lnTo>
                    <a:pt x="59" y="23"/>
                  </a:lnTo>
                  <a:lnTo>
                    <a:pt x="58" y="18"/>
                  </a:lnTo>
                  <a:lnTo>
                    <a:pt x="54" y="12"/>
                  </a:lnTo>
                  <a:lnTo>
                    <a:pt x="51" y="8"/>
                  </a:lnTo>
                  <a:lnTo>
                    <a:pt x="46" y="5"/>
                  </a:lnTo>
                  <a:lnTo>
                    <a:pt x="42" y="2"/>
                  </a:lnTo>
                  <a:lnTo>
                    <a:pt x="35" y="1"/>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9" name="Group 189">
            <a:extLst>
              <a:ext uri="{FF2B5EF4-FFF2-40B4-BE49-F238E27FC236}">
                <a16:creationId xmlns:a16="http://schemas.microsoft.com/office/drawing/2014/main" id="{DE48E0B5-9A4C-481A-A613-87B594E22972}"/>
              </a:ext>
            </a:extLst>
          </p:cNvPr>
          <p:cNvGrpSpPr>
            <a:grpSpLocks noChangeAspect="1"/>
          </p:cNvGrpSpPr>
          <p:nvPr/>
        </p:nvGrpSpPr>
        <p:grpSpPr>
          <a:xfrm>
            <a:off x="1066057" y="5417576"/>
            <a:ext cx="306483" cy="306484"/>
            <a:chOff x="8113713" y="4646613"/>
            <a:chExt cx="371475" cy="371476"/>
          </a:xfrm>
          <a:solidFill>
            <a:schemeClr val="bg1"/>
          </a:solidFill>
          <a:effectLst/>
        </p:grpSpPr>
        <p:sp>
          <p:nvSpPr>
            <p:cNvPr id="440" name="Freeform 104">
              <a:extLst>
                <a:ext uri="{FF2B5EF4-FFF2-40B4-BE49-F238E27FC236}">
                  <a16:creationId xmlns:a16="http://schemas.microsoft.com/office/drawing/2014/main" id="{F365F347-51D7-4A44-B471-6F576B16684E}"/>
                </a:ext>
              </a:extLst>
            </p:cNvPr>
            <p:cNvSpPr>
              <a:spLocks noEditPoints="1"/>
            </p:cNvSpPr>
            <p:nvPr/>
          </p:nvSpPr>
          <p:spPr bwMode="auto">
            <a:xfrm>
              <a:off x="8113713" y="4832351"/>
              <a:ext cx="325438" cy="185738"/>
            </a:xfrm>
            <a:custGeom>
              <a:avLst/>
              <a:gdLst>
                <a:gd name="T0" fmla="*/ 24 w 84"/>
                <a:gd name="T1" fmla="*/ 48 h 48"/>
                <a:gd name="T2" fmla="*/ 0 w 84"/>
                <a:gd name="T3" fmla="*/ 24 h 48"/>
                <a:gd name="T4" fmla="*/ 24 w 84"/>
                <a:gd name="T5" fmla="*/ 0 h 48"/>
                <a:gd name="T6" fmla="*/ 47 w 84"/>
                <a:gd name="T7" fmla="*/ 16 h 48"/>
                <a:gd name="T8" fmla="*/ 76 w 84"/>
                <a:gd name="T9" fmla="*/ 16 h 48"/>
                <a:gd name="T10" fmla="*/ 77 w 84"/>
                <a:gd name="T11" fmla="*/ 17 h 48"/>
                <a:gd name="T12" fmla="*/ 83 w 84"/>
                <a:gd name="T13" fmla="*/ 23 h 48"/>
                <a:gd name="T14" fmla="*/ 83 w 84"/>
                <a:gd name="T15" fmla="*/ 25 h 48"/>
                <a:gd name="T16" fmla="*/ 77 w 84"/>
                <a:gd name="T17" fmla="*/ 31 h 48"/>
                <a:gd name="T18" fmla="*/ 76 w 84"/>
                <a:gd name="T19" fmla="*/ 32 h 48"/>
                <a:gd name="T20" fmla="*/ 71 w 84"/>
                <a:gd name="T21" fmla="*/ 32 h 48"/>
                <a:gd name="T22" fmla="*/ 67 w 84"/>
                <a:gd name="T23" fmla="*/ 35 h 48"/>
                <a:gd name="T24" fmla="*/ 65 w 84"/>
                <a:gd name="T25" fmla="*/ 35 h 48"/>
                <a:gd name="T26" fmla="*/ 61 w 84"/>
                <a:gd name="T27" fmla="*/ 32 h 48"/>
                <a:gd name="T28" fmla="*/ 59 w 84"/>
                <a:gd name="T29" fmla="*/ 32 h 48"/>
                <a:gd name="T30" fmla="*/ 55 w 84"/>
                <a:gd name="T31" fmla="*/ 35 h 48"/>
                <a:gd name="T32" fmla="*/ 53 w 84"/>
                <a:gd name="T33" fmla="*/ 35 h 48"/>
                <a:gd name="T34" fmla="*/ 49 w 84"/>
                <a:gd name="T35" fmla="*/ 32 h 48"/>
                <a:gd name="T36" fmla="*/ 47 w 84"/>
                <a:gd name="T37" fmla="*/ 32 h 48"/>
                <a:gd name="T38" fmla="*/ 24 w 84"/>
                <a:gd name="T39" fmla="*/ 48 h 48"/>
                <a:gd name="T40" fmla="*/ 24 w 84"/>
                <a:gd name="T41" fmla="*/ 4 h 48"/>
                <a:gd name="T42" fmla="*/ 4 w 84"/>
                <a:gd name="T43" fmla="*/ 24 h 48"/>
                <a:gd name="T44" fmla="*/ 24 w 84"/>
                <a:gd name="T45" fmla="*/ 44 h 48"/>
                <a:gd name="T46" fmla="*/ 43 w 84"/>
                <a:gd name="T47" fmla="*/ 29 h 48"/>
                <a:gd name="T48" fmla="*/ 45 w 84"/>
                <a:gd name="T49" fmla="*/ 28 h 48"/>
                <a:gd name="T50" fmla="*/ 50 w 84"/>
                <a:gd name="T51" fmla="*/ 28 h 48"/>
                <a:gd name="T52" fmla="*/ 51 w 84"/>
                <a:gd name="T53" fmla="*/ 29 h 48"/>
                <a:gd name="T54" fmla="*/ 54 w 84"/>
                <a:gd name="T55" fmla="*/ 31 h 48"/>
                <a:gd name="T56" fmla="*/ 57 w 84"/>
                <a:gd name="T57" fmla="*/ 29 h 48"/>
                <a:gd name="T58" fmla="*/ 58 w 84"/>
                <a:gd name="T59" fmla="*/ 28 h 48"/>
                <a:gd name="T60" fmla="*/ 62 w 84"/>
                <a:gd name="T61" fmla="*/ 28 h 48"/>
                <a:gd name="T62" fmla="*/ 63 w 84"/>
                <a:gd name="T63" fmla="*/ 29 h 48"/>
                <a:gd name="T64" fmla="*/ 66 w 84"/>
                <a:gd name="T65" fmla="*/ 31 h 48"/>
                <a:gd name="T66" fmla="*/ 69 w 84"/>
                <a:gd name="T67" fmla="*/ 29 h 48"/>
                <a:gd name="T68" fmla="*/ 70 w 84"/>
                <a:gd name="T69" fmla="*/ 28 h 48"/>
                <a:gd name="T70" fmla="*/ 75 w 84"/>
                <a:gd name="T71" fmla="*/ 28 h 48"/>
                <a:gd name="T72" fmla="*/ 79 w 84"/>
                <a:gd name="T73" fmla="*/ 24 h 48"/>
                <a:gd name="T74" fmla="*/ 75 w 84"/>
                <a:gd name="T75" fmla="*/ 20 h 48"/>
                <a:gd name="T76" fmla="*/ 45 w 84"/>
                <a:gd name="T77" fmla="*/ 20 h 48"/>
                <a:gd name="T78" fmla="*/ 43 w 84"/>
                <a:gd name="T79" fmla="*/ 19 h 48"/>
                <a:gd name="T80" fmla="*/ 24 w 84"/>
                <a:gd name="T8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48">
                  <a:moveTo>
                    <a:pt x="24" y="48"/>
                  </a:moveTo>
                  <a:cubicBezTo>
                    <a:pt x="11" y="48"/>
                    <a:pt x="0" y="37"/>
                    <a:pt x="0" y="24"/>
                  </a:cubicBezTo>
                  <a:cubicBezTo>
                    <a:pt x="0" y="11"/>
                    <a:pt x="11" y="0"/>
                    <a:pt x="24" y="0"/>
                  </a:cubicBezTo>
                  <a:cubicBezTo>
                    <a:pt x="34" y="0"/>
                    <a:pt x="43" y="7"/>
                    <a:pt x="47" y="16"/>
                  </a:cubicBezTo>
                  <a:cubicBezTo>
                    <a:pt x="76" y="16"/>
                    <a:pt x="76" y="16"/>
                    <a:pt x="76" y="16"/>
                  </a:cubicBezTo>
                  <a:cubicBezTo>
                    <a:pt x="77" y="16"/>
                    <a:pt x="77" y="16"/>
                    <a:pt x="77" y="17"/>
                  </a:cubicBezTo>
                  <a:cubicBezTo>
                    <a:pt x="83" y="23"/>
                    <a:pt x="83" y="23"/>
                    <a:pt x="83" y="23"/>
                  </a:cubicBezTo>
                  <a:cubicBezTo>
                    <a:pt x="84" y="23"/>
                    <a:pt x="84" y="25"/>
                    <a:pt x="83" y="25"/>
                  </a:cubicBezTo>
                  <a:cubicBezTo>
                    <a:pt x="77" y="31"/>
                    <a:pt x="77" y="31"/>
                    <a:pt x="77" y="31"/>
                  </a:cubicBezTo>
                  <a:cubicBezTo>
                    <a:pt x="77" y="32"/>
                    <a:pt x="77" y="32"/>
                    <a:pt x="76" y="32"/>
                  </a:cubicBezTo>
                  <a:cubicBezTo>
                    <a:pt x="71" y="32"/>
                    <a:pt x="71" y="32"/>
                    <a:pt x="71" y="32"/>
                  </a:cubicBezTo>
                  <a:cubicBezTo>
                    <a:pt x="67" y="35"/>
                    <a:pt x="67" y="35"/>
                    <a:pt x="67" y="35"/>
                  </a:cubicBezTo>
                  <a:cubicBezTo>
                    <a:pt x="67" y="36"/>
                    <a:pt x="65" y="36"/>
                    <a:pt x="65" y="35"/>
                  </a:cubicBezTo>
                  <a:cubicBezTo>
                    <a:pt x="61" y="32"/>
                    <a:pt x="61" y="32"/>
                    <a:pt x="61" y="32"/>
                  </a:cubicBezTo>
                  <a:cubicBezTo>
                    <a:pt x="59" y="32"/>
                    <a:pt x="59" y="32"/>
                    <a:pt x="59" y="32"/>
                  </a:cubicBezTo>
                  <a:cubicBezTo>
                    <a:pt x="55" y="35"/>
                    <a:pt x="55" y="35"/>
                    <a:pt x="55" y="35"/>
                  </a:cubicBezTo>
                  <a:cubicBezTo>
                    <a:pt x="55" y="36"/>
                    <a:pt x="53" y="36"/>
                    <a:pt x="53" y="35"/>
                  </a:cubicBezTo>
                  <a:cubicBezTo>
                    <a:pt x="49" y="32"/>
                    <a:pt x="49" y="32"/>
                    <a:pt x="49" y="32"/>
                  </a:cubicBezTo>
                  <a:cubicBezTo>
                    <a:pt x="47" y="32"/>
                    <a:pt x="47" y="32"/>
                    <a:pt x="47" y="32"/>
                  </a:cubicBezTo>
                  <a:cubicBezTo>
                    <a:pt x="43" y="41"/>
                    <a:pt x="34" y="48"/>
                    <a:pt x="24" y="48"/>
                  </a:cubicBezTo>
                  <a:close/>
                  <a:moveTo>
                    <a:pt x="24" y="4"/>
                  </a:moveTo>
                  <a:cubicBezTo>
                    <a:pt x="13" y="4"/>
                    <a:pt x="4" y="13"/>
                    <a:pt x="4" y="24"/>
                  </a:cubicBezTo>
                  <a:cubicBezTo>
                    <a:pt x="4" y="35"/>
                    <a:pt x="13" y="44"/>
                    <a:pt x="24" y="44"/>
                  </a:cubicBezTo>
                  <a:cubicBezTo>
                    <a:pt x="33" y="44"/>
                    <a:pt x="41" y="38"/>
                    <a:pt x="43" y="29"/>
                  </a:cubicBezTo>
                  <a:cubicBezTo>
                    <a:pt x="43" y="29"/>
                    <a:pt x="44" y="28"/>
                    <a:pt x="45" y="28"/>
                  </a:cubicBezTo>
                  <a:cubicBezTo>
                    <a:pt x="50" y="28"/>
                    <a:pt x="50" y="28"/>
                    <a:pt x="50" y="28"/>
                  </a:cubicBezTo>
                  <a:cubicBezTo>
                    <a:pt x="51" y="28"/>
                    <a:pt x="51" y="28"/>
                    <a:pt x="51" y="29"/>
                  </a:cubicBezTo>
                  <a:cubicBezTo>
                    <a:pt x="54" y="31"/>
                    <a:pt x="54" y="31"/>
                    <a:pt x="54" y="31"/>
                  </a:cubicBezTo>
                  <a:cubicBezTo>
                    <a:pt x="57" y="29"/>
                    <a:pt x="57" y="29"/>
                    <a:pt x="57" y="29"/>
                  </a:cubicBezTo>
                  <a:cubicBezTo>
                    <a:pt x="57" y="28"/>
                    <a:pt x="57" y="28"/>
                    <a:pt x="58" y="28"/>
                  </a:cubicBezTo>
                  <a:cubicBezTo>
                    <a:pt x="62" y="28"/>
                    <a:pt x="62" y="28"/>
                    <a:pt x="62" y="28"/>
                  </a:cubicBezTo>
                  <a:cubicBezTo>
                    <a:pt x="63" y="28"/>
                    <a:pt x="63" y="28"/>
                    <a:pt x="63" y="29"/>
                  </a:cubicBezTo>
                  <a:cubicBezTo>
                    <a:pt x="66" y="31"/>
                    <a:pt x="66" y="31"/>
                    <a:pt x="66" y="31"/>
                  </a:cubicBezTo>
                  <a:cubicBezTo>
                    <a:pt x="69" y="29"/>
                    <a:pt x="69" y="29"/>
                    <a:pt x="69" y="29"/>
                  </a:cubicBezTo>
                  <a:cubicBezTo>
                    <a:pt x="69" y="28"/>
                    <a:pt x="69" y="28"/>
                    <a:pt x="70" y="28"/>
                  </a:cubicBezTo>
                  <a:cubicBezTo>
                    <a:pt x="75" y="28"/>
                    <a:pt x="75" y="28"/>
                    <a:pt x="75" y="28"/>
                  </a:cubicBezTo>
                  <a:cubicBezTo>
                    <a:pt x="79" y="24"/>
                    <a:pt x="79" y="24"/>
                    <a:pt x="79" y="24"/>
                  </a:cubicBezTo>
                  <a:cubicBezTo>
                    <a:pt x="75" y="20"/>
                    <a:pt x="75" y="20"/>
                    <a:pt x="75" y="20"/>
                  </a:cubicBezTo>
                  <a:cubicBezTo>
                    <a:pt x="45" y="20"/>
                    <a:pt x="45" y="20"/>
                    <a:pt x="45" y="20"/>
                  </a:cubicBezTo>
                  <a:cubicBezTo>
                    <a:pt x="44" y="20"/>
                    <a:pt x="43" y="19"/>
                    <a:pt x="43" y="19"/>
                  </a:cubicBezTo>
                  <a:cubicBezTo>
                    <a:pt x="41" y="10"/>
                    <a:pt x="33"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05">
              <a:extLst>
                <a:ext uri="{FF2B5EF4-FFF2-40B4-BE49-F238E27FC236}">
                  <a16:creationId xmlns:a16="http://schemas.microsoft.com/office/drawing/2014/main" id="{2722475C-BBA1-4989-83AE-A3CD06F8B1D1}"/>
                </a:ext>
              </a:extLst>
            </p:cNvPr>
            <p:cNvSpPr>
              <a:spLocks noEditPoints="1"/>
            </p:cNvSpPr>
            <p:nvPr/>
          </p:nvSpPr>
          <p:spPr bwMode="auto">
            <a:xfrm>
              <a:off x="8145463" y="48942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Oval 106">
              <a:extLst>
                <a:ext uri="{FF2B5EF4-FFF2-40B4-BE49-F238E27FC236}">
                  <a16:creationId xmlns:a16="http://schemas.microsoft.com/office/drawing/2014/main" id="{CF8FEF93-650F-4992-B4FB-0D62CFCFE394}"/>
                </a:ext>
              </a:extLst>
            </p:cNvPr>
            <p:cNvSpPr>
              <a:spLocks noChangeArrowheads="1"/>
            </p:cNvSpPr>
            <p:nvPr/>
          </p:nvSpPr>
          <p:spPr bwMode="auto">
            <a:xfrm>
              <a:off x="8361363" y="4794251"/>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07">
              <a:extLst>
                <a:ext uri="{FF2B5EF4-FFF2-40B4-BE49-F238E27FC236}">
                  <a16:creationId xmlns:a16="http://schemas.microsoft.com/office/drawing/2014/main" id="{48BC79BE-B0D5-4010-81E8-FC719E4E570A}"/>
                </a:ext>
              </a:extLst>
            </p:cNvPr>
            <p:cNvSpPr>
              <a:spLocks/>
            </p:cNvSpPr>
            <p:nvPr/>
          </p:nvSpPr>
          <p:spPr bwMode="auto">
            <a:xfrm>
              <a:off x="8369301" y="4808538"/>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8">
              <a:extLst>
                <a:ext uri="{FF2B5EF4-FFF2-40B4-BE49-F238E27FC236}">
                  <a16:creationId xmlns:a16="http://schemas.microsoft.com/office/drawing/2014/main" id="{36A41A9F-7F0B-496A-A16F-ECBF784C8029}"/>
                </a:ext>
              </a:extLst>
            </p:cNvPr>
            <p:cNvSpPr>
              <a:spLocks/>
            </p:cNvSpPr>
            <p:nvPr/>
          </p:nvSpPr>
          <p:spPr bwMode="auto">
            <a:xfrm>
              <a:off x="8269288" y="4754563"/>
              <a:ext cx="215900" cy="171450"/>
            </a:xfrm>
            <a:custGeom>
              <a:avLst/>
              <a:gdLst>
                <a:gd name="T0" fmla="*/ 54 w 56"/>
                <a:gd name="T1" fmla="*/ 44 h 44"/>
                <a:gd name="T2" fmla="*/ 50 w 56"/>
                <a:gd name="T3" fmla="*/ 44 h 44"/>
                <a:gd name="T4" fmla="*/ 48 w 56"/>
                <a:gd name="T5" fmla="*/ 42 h 44"/>
                <a:gd name="T6" fmla="*/ 50 w 56"/>
                <a:gd name="T7" fmla="*/ 40 h 44"/>
                <a:gd name="T8" fmla="*/ 52 w 56"/>
                <a:gd name="T9" fmla="*/ 40 h 44"/>
                <a:gd name="T10" fmla="*/ 52 w 56"/>
                <a:gd name="T11" fmla="*/ 4 h 44"/>
                <a:gd name="T12" fmla="*/ 4 w 56"/>
                <a:gd name="T13" fmla="*/ 4 h 44"/>
                <a:gd name="T14" fmla="*/ 4 w 56"/>
                <a:gd name="T15" fmla="*/ 18 h 44"/>
                <a:gd name="T16" fmla="*/ 2 w 56"/>
                <a:gd name="T17" fmla="*/ 20 h 44"/>
                <a:gd name="T18" fmla="*/ 0 w 56"/>
                <a:gd name="T19" fmla="*/ 18 h 44"/>
                <a:gd name="T20" fmla="*/ 0 w 56"/>
                <a:gd name="T21" fmla="*/ 2 h 44"/>
                <a:gd name="T22" fmla="*/ 2 w 56"/>
                <a:gd name="T23" fmla="*/ 0 h 44"/>
                <a:gd name="T24" fmla="*/ 54 w 56"/>
                <a:gd name="T25" fmla="*/ 0 h 44"/>
                <a:gd name="T26" fmla="*/ 56 w 56"/>
                <a:gd name="T27" fmla="*/ 2 h 44"/>
                <a:gd name="T28" fmla="*/ 56 w 56"/>
                <a:gd name="T29" fmla="*/ 42 h 44"/>
                <a:gd name="T30" fmla="*/ 54 w 56"/>
                <a:gd name="T3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44">
                  <a:moveTo>
                    <a:pt x="54" y="44"/>
                  </a:moveTo>
                  <a:cubicBezTo>
                    <a:pt x="50" y="44"/>
                    <a:pt x="50" y="44"/>
                    <a:pt x="50" y="44"/>
                  </a:cubicBezTo>
                  <a:cubicBezTo>
                    <a:pt x="49" y="44"/>
                    <a:pt x="48" y="43"/>
                    <a:pt x="48" y="42"/>
                  </a:cubicBezTo>
                  <a:cubicBezTo>
                    <a:pt x="48" y="41"/>
                    <a:pt x="49" y="40"/>
                    <a:pt x="50" y="40"/>
                  </a:cubicBezTo>
                  <a:cubicBezTo>
                    <a:pt x="52" y="40"/>
                    <a:pt x="52" y="40"/>
                    <a:pt x="52" y="40"/>
                  </a:cubicBezTo>
                  <a:cubicBezTo>
                    <a:pt x="52" y="4"/>
                    <a:pt x="52" y="4"/>
                    <a:pt x="52" y="4"/>
                  </a:cubicBezTo>
                  <a:cubicBezTo>
                    <a:pt x="4" y="4"/>
                    <a:pt x="4" y="4"/>
                    <a:pt x="4" y="4"/>
                  </a:cubicBezTo>
                  <a:cubicBezTo>
                    <a:pt x="4" y="18"/>
                    <a:pt x="4" y="18"/>
                    <a:pt x="4" y="18"/>
                  </a:cubicBezTo>
                  <a:cubicBezTo>
                    <a:pt x="4" y="19"/>
                    <a:pt x="3"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42"/>
                    <a:pt x="56" y="42"/>
                    <a:pt x="56" y="42"/>
                  </a:cubicBezTo>
                  <a:cubicBezTo>
                    <a:pt x="56" y="43"/>
                    <a:pt x="55" y="44"/>
                    <a:pt x="5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09">
              <a:extLst>
                <a:ext uri="{FF2B5EF4-FFF2-40B4-BE49-F238E27FC236}">
                  <a16:creationId xmlns:a16="http://schemas.microsoft.com/office/drawing/2014/main" id="{0781D84F-4C0F-4122-A0E2-6584E3F48222}"/>
                </a:ext>
              </a:extLst>
            </p:cNvPr>
            <p:cNvSpPr>
              <a:spLocks/>
            </p:cNvSpPr>
            <p:nvPr/>
          </p:nvSpPr>
          <p:spPr bwMode="auto">
            <a:xfrm>
              <a:off x="8299451" y="4646613"/>
              <a:ext cx="155575" cy="123825"/>
            </a:xfrm>
            <a:custGeom>
              <a:avLst/>
              <a:gdLst>
                <a:gd name="T0" fmla="*/ 38 w 40"/>
                <a:gd name="T1" fmla="*/ 32 h 32"/>
                <a:gd name="T2" fmla="*/ 36 w 40"/>
                <a:gd name="T3" fmla="*/ 30 h 32"/>
                <a:gd name="T4" fmla="*/ 36 w 40"/>
                <a:gd name="T5" fmla="*/ 20 h 32"/>
                <a:gd name="T6" fmla="*/ 20 w 40"/>
                <a:gd name="T7" fmla="*/ 4 h 32"/>
                <a:gd name="T8" fmla="*/ 4 w 40"/>
                <a:gd name="T9" fmla="*/ 20 h 32"/>
                <a:gd name="T10" fmla="*/ 4 w 40"/>
                <a:gd name="T11" fmla="*/ 30 h 32"/>
                <a:gd name="T12" fmla="*/ 2 w 40"/>
                <a:gd name="T13" fmla="*/ 32 h 32"/>
                <a:gd name="T14" fmla="*/ 0 w 40"/>
                <a:gd name="T15" fmla="*/ 30 h 32"/>
                <a:gd name="T16" fmla="*/ 0 w 40"/>
                <a:gd name="T17" fmla="*/ 20 h 32"/>
                <a:gd name="T18" fmla="*/ 20 w 40"/>
                <a:gd name="T19" fmla="*/ 0 h 32"/>
                <a:gd name="T20" fmla="*/ 40 w 40"/>
                <a:gd name="T21" fmla="*/ 20 h 32"/>
                <a:gd name="T22" fmla="*/ 40 w 40"/>
                <a:gd name="T23" fmla="*/ 30 h 32"/>
                <a:gd name="T24" fmla="*/ 38 w 40"/>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2">
                  <a:moveTo>
                    <a:pt x="38" y="32"/>
                  </a:moveTo>
                  <a:cubicBezTo>
                    <a:pt x="37" y="32"/>
                    <a:pt x="36" y="31"/>
                    <a:pt x="36" y="30"/>
                  </a:cubicBezTo>
                  <a:cubicBezTo>
                    <a:pt x="36" y="20"/>
                    <a:pt x="36" y="20"/>
                    <a:pt x="36" y="20"/>
                  </a:cubicBezTo>
                  <a:cubicBezTo>
                    <a:pt x="36" y="11"/>
                    <a:pt x="29" y="4"/>
                    <a:pt x="20" y="4"/>
                  </a:cubicBezTo>
                  <a:cubicBezTo>
                    <a:pt x="11" y="4"/>
                    <a:pt x="4" y="11"/>
                    <a:pt x="4" y="20"/>
                  </a:cubicBezTo>
                  <a:cubicBezTo>
                    <a:pt x="4" y="30"/>
                    <a:pt x="4" y="30"/>
                    <a:pt x="4" y="30"/>
                  </a:cubicBezTo>
                  <a:cubicBezTo>
                    <a:pt x="4" y="31"/>
                    <a:pt x="3" y="32"/>
                    <a:pt x="2" y="32"/>
                  </a:cubicBezTo>
                  <a:cubicBezTo>
                    <a:pt x="1" y="32"/>
                    <a:pt x="0" y="31"/>
                    <a:pt x="0" y="30"/>
                  </a:cubicBezTo>
                  <a:cubicBezTo>
                    <a:pt x="0" y="20"/>
                    <a:pt x="0" y="20"/>
                    <a:pt x="0" y="20"/>
                  </a:cubicBezTo>
                  <a:cubicBezTo>
                    <a:pt x="0" y="9"/>
                    <a:pt x="9" y="0"/>
                    <a:pt x="20" y="0"/>
                  </a:cubicBezTo>
                  <a:cubicBezTo>
                    <a:pt x="31" y="0"/>
                    <a:pt x="40" y="9"/>
                    <a:pt x="40" y="20"/>
                  </a:cubicBezTo>
                  <a:cubicBezTo>
                    <a:pt x="40" y="30"/>
                    <a:pt x="40" y="30"/>
                    <a:pt x="40" y="30"/>
                  </a:cubicBezTo>
                  <a:cubicBezTo>
                    <a:pt x="40" y="31"/>
                    <a:pt x="39" y="32"/>
                    <a:pt x="3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3" name="Group 3161">
            <a:extLst>
              <a:ext uri="{FF2B5EF4-FFF2-40B4-BE49-F238E27FC236}">
                <a16:creationId xmlns:a16="http://schemas.microsoft.com/office/drawing/2014/main" id="{E58CB7E2-F0F1-4589-BD7B-3CC2BC5982D2}"/>
              </a:ext>
            </a:extLst>
          </p:cNvPr>
          <p:cNvGrpSpPr>
            <a:grpSpLocks noChangeAspect="1"/>
          </p:cNvGrpSpPr>
          <p:nvPr/>
        </p:nvGrpSpPr>
        <p:grpSpPr>
          <a:xfrm>
            <a:off x="6664558" y="5417576"/>
            <a:ext cx="231827" cy="306484"/>
            <a:chOff x="9180513" y="1933575"/>
            <a:chExt cx="280987" cy="371475"/>
          </a:xfrm>
          <a:solidFill>
            <a:schemeClr val="bg1"/>
          </a:solidFill>
          <a:effectLst/>
        </p:grpSpPr>
        <p:sp>
          <p:nvSpPr>
            <p:cNvPr id="464" name="Oval 20">
              <a:extLst>
                <a:ext uri="{FF2B5EF4-FFF2-40B4-BE49-F238E27FC236}">
                  <a16:creationId xmlns:a16="http://schemas.microsoft.com/office/drawing/2014/main" id="{27FB389F-23F3-4340-BBB0-97B933D6D37A}"/>
                </a:ext>
              </a:extLst>
            </p:cNvPr>
            <p:cNvSpPr>
              <a:spLocks noChangeArrowheads="1"/>
            </p:cNvSpPr>
            <p:nvPr/>
          </p:nvSpPr>
          <p:spPr bwMode="auto">
            <a:xfrm>
              <a:off x="9305925" y="2151063"/>
              <a:ext cx="30162"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21">
              <a:extLst>
                <a:ext uri="{FF2B5EF4-FFF2-40B4-BE49-F238E27FC236}">
                  <a16:creationId xmlns:a16="http://schemas.microsoft.com/office/drawing/2014/main" id="{9CE1FA4E-0052-4EB6-B3A4-DAB6093EECBC}"/>
                </a:ext>
              </a:extLst>
            </p:cNvPr>
            <p:cNvSpPr>
              <a:spLocks/>
            </p:cNvSpPr>
            <p:nvPr/>
          </p:nvSpPr>
          <p:spPr bwMode="auto">
            <a:xfrm>
              <a:off x="9313863" y="2165350"/>
              <a:ext cx="14287" cy="61913"/>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22">
              <a:extLst>
                <a:ext uri="{FF2B5EF4-FFF2-40B4-BE49-F238E27FC236}">
                  <a16:creationId xmlns:a16="http://schemas.microsoft.com/office/drawing/2014/main" id="{744F8669-232A-4B0C-AAB2-EF5F6FE113C2}"/>
                </a:ext>
              </a:extLst>
            </p:cNvPr>
            <p:cNvSpPr>
              <a:spLocks noEditPoints="1"/>
            </p:cNvSpPr>
            <p:nvPr/>
          </p:nvSpPr>
          <p:spPr bwMode="auto">
            <a:xfrm>
              <a:off x="9180513" y="2073275"/>
              <a:ext cx="280987" cy="231775"/>
            </a:xfrm>
            <a:custGeom>
              <a:avLst/>
              <a:gdLst>
                <a:gd name="T0" fmla="*/ 70 w 72"/>
                <a:gd name="T1" fmla="*/ 60 h 60"/>
                <a:gd name="T2" fmla="*/ 2 w 72"/>
                <a:gd name="T3" fmla="*/ 60 h 60"/>
                <a:gd name="T4" fmla="*/ 0 w 72"/>
                <a:gd name="T5" fmla="*/ 58 h 60"/>
                <a:gd name="T6" fmla="*/ 0 w 72"/>
                <a:gd name="T7" fmla="*/ 2 h 60"/>
                <a:gd name="T8" fmla="*/ 2 w 72"/>
                <a:gd name="T9" fmla="*/ 0 h 60"/>
                <a:gd name="T10" fmla="*/ 70 w 72"/>
                <a:gd name="T11" fmla="*/ 0 h 60"/>
                <a:gd name="T12" fmla="*/ 72 w 72"/>
                <a:gd name="T13" fmla="*/ 2 h 60"/>
                <a:gd name="T14" fmla="*/ 72 w 72"/>
                <a:gd name="T15" fmla="*/ 58 h 60"/>
                <a:gd name="T16" fmla="*/ 70 w 72"/>
                <a:gd name="T17" fmla="*/ 60 h 60"/>
                <a:gd name="T18" fmla="*/ 4 w 72"/>
                <a:gd name="T19" fmla="*/ 56 h 60"/>
                <a:gd name="T20" fmla="*/ 68 w 72"/>
                <a:gd name="T21" fmla="*/ 56 h 60"/>
                <a:gd name="T22" fmla="*/ 68 w 72"/>
                <a:gd name="T23" fmla="*/ 4 h 60"/>
                <a:gd name="T24" fmla="*/ 4 w 72"/>
                <a:gd name="T25" fmla="*/ 4 h 60"/>
                <a:gd name="T26" fmla="*/ 4 w 72"/>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60">
                  <a:moveTo>
                    <a:pt x="70" y="60"/>
                  </a:moveTo>
                  <a:cubicBezTo>
                    <a:pt x="2" y="60"/>
                    <a:pt x="2" y="60"/>
                    <a:pt x="2" y="60"/>
                  </a:cubicBezTo>
                  <a:cubicBezTo>
                    <a:pt x="1" y="60"/>
                    <a:pt x="0" y="59"/>
                    <a:pt x="0" y="58"/>
                  </a:cubicBezTo>
                  <a:cubicBezTo>
                    <a:pt x="0" y="2"/>
                    <a:pt x="0" y="2"/>
                    <a:pt x="0" y="2"/>
                  </a:cubicBezTo>
                  <a:cubicBezTo>
                    <a:pt x="0" y="1"/>
                    <a:pt x="1" y="0"/>
                    <a:pt x="2" y="0"/>
                  </a:cubicBezTo>
                  <a:cubicBezTo>
                    <a:pt x="70" y="0"/>
                    <a:pt x="70" y="0"/>
                    <a:pt x="70" y="0"/>
                  </a:cubicBezTo>
                  <a:cubicBezTo>
                    <a:pt x="71" y="0"/>
                    <a:pt x="72" y="1"/>
                    <a:pt x="72" y="2"/>
                  </a:cubicBezTo>
                  <a:cubicBezTo>
                    <a:pt x="72" y="58"/>
                    <a:pt x="72" y="58"/>
                    <a:pt x="72" y="58"/>
                  </a:cubicBezTo>
                  <a:cubicBezTo>
                    <a:pt x="72" y="59"/>
                    <a:pt x="71" y="60"/>
                    <a:pt x="70" y="60"/>
                  </a:cubicBezTo>
                  <a:close/>
                  <a:moveTo>
                    <a:pt x="4" y="56"/>
                  </a:moveTo>
                  <a:cubicBezTo>
                    <a:pt x="68" y="56"/>
                    <a:pt x="68" y="56"/>
                    <a:pt x="68" y="56"/>
                  </a:cubicBezTo>
                  <a:cubicBezTo>
                    <a:pt x="68" y="4"/>
                    <a:pt x="68" y="4"/>
                    <a:pt x="68"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23">
              <a:extLst>
                <a:ext uri="{FF2B5EF4-FFF2-40B4-BE49-F238E27FC236}">
                  <a16:creationId xmlns:a16="http://schemas.microsoft.com/office/drawing/2014/main" id="{BF2540B3-E406-47FD-9931-D545193A4559}"/>
                </a:ext>
              </a:extLst>
            </p:cNvPr>
            <p:cNvSpPr>
              <a:spLocks/>
            </p:cNvSpPr>
            <p:nvPr/>
          </p:nvSpPr>
          <p:spPr bwMode="auto">
            <a:xfrm>
              <a:off x="9228138" y="1933575"/>
              <a:ext cx="187325" cy="155575"/>
            </a:xfrm>
            <a:custGeom>
              <a:avLst/>
              <a:gdLst>
                <a:gd name="T0" fmla="*/ 46 w 48"/>
                <a:gd name="T1" fmla="*/ 40 h 40"/>
                <a:gd name="T2" fmla="*/ 44 w 48"/>
                <a:gd name="T3" fmla="*/ 38 h 40"/>
                <a:gd name="T4" fmla="*/ 44 w 48"/>
                <a:gd name="T5" fmla="*/ 24 h 40"/>
                <a:gd name="T6" fmla="*/ 24 w 48"/>
                <a:gd name="T7" fmla="*/ 4 h 40"/>
                <a:gd name="T8" fmla="*/ 4 w 48"/>
                <a:gd name="T9" fmla="*/ 24 h 40"/>
                <a:gd name="T10" fmla="*/ 2 w 48"/>
                <a:gd name="T11" fmla="*/ 26 h 40"/>
                <a:gd name="T12" fmla="*/ 0 w 48"/>
                <a:gd name="T13" fmla="*/ 24 h 40"/>
                <a:gd name="T14" fmla="*/ 24 w 48"/>
                <a:gd name="T15" fmla="*/ 0 h 40"/>
                <a:gd name="T16" fmla="*/ 48 w 48"/>
                <a:gd name="T17" fmla="*/ 24 h 40"/>
                <a:gd name="T18" fmla="*/ 48 w 48"/>
                <a:gd name="T19" fmla="*/ 38 h 40"/>
                <a:gd name="T20" fmla="*/ 46 w 48"/>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0">
                  <a:moveTo>
                    <a:pt x="46" y="40"/>
                  </a:moveTo>
                  <a:cubicBezTo>
                    <a:pt x="45" y="40"/>
                    <a:pt x="44" y="39"/>
                    <a:pt x="44" y="38"/>
                  </a:cubicBezTo>
                  <a:cubicBezTo>
                    <a:pt x="44" y="24"/>
                    <a:pt x="44" y="24"/>
                    <a:pt x="44" y="24"/>
                  </a:cubicBezTo>
                  <a:cubicBezTo>
                    <a:pt x="44" y="13"/>
                    <a:pt x="35" y="4"/>
                    <a:pt x="24" y="4"/>
                  </a:cubicBezTo>
                  <a:cubicBezTo>
                    <a:pt x="13" y="4"/>
                    <a:pt x="4" y="13"/>
                    <a:pt x="4" y="24"/>
                  </a:cubicBezTo>
                  <a:cubicBezTo>
                    <a:pt x="4" y="25"/>
                    <a:pt x="3" y="26"/>
                    <a:pt x="2" y="26"/>
                  </a:cubicBezTo>
                  <a:cubicBezTo>
                    <a:pt x="1" y="26"/>
                    <a:pt x="0" y="25"/>
                    <a:pt x="0" y="24"/>
                  </a:cubicBezTo>
                  <a:cubicBezTo>
                    <a:pt x="0" y="11"/>
                    <a:pt x="11" y="0"/>
                    <a:pt x="24" y="0"/>
                  </a:cubicBezTo>
                  <a:cubicBezTo>
                    <a:pt x="37" y="0"/>
                    <a:pt x="48" y="11"/>
                    <a:pt x="48" y="24"/>
                  </a:cubicBezTo>
                  <a:cubicBezTo>
                    <a:pt x="48" y="38"/>
                    <a:pt x="48" y="38"/>
                    <a:pt x="48" y="38"/>
                  </a:cubicBezTo>
                  <a:cubicBezTo>
                    <a:pt x="48" y="39"/>
                    <a:pt x="47" y="40"/>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2" name="Group 36">
            <a:extLst>
              <a:ext uri="{FF2B5EF4-FFF2-40B4-BE49-F238E27FC236}">
                <a16:creationId xmlns:a16="http://schemas.microsoft.com/office/drawing/2014/main" id="{7C3BD149-5D57-4BE6-9F2A-286862CA0CE6}"/>
              </a:ext>
            </a:extLst>
          </p:cNvPr>
          <p:cNvGrpSpPr>
            <a:grpSpLocks noChangeAspect="1"/>
          </p:cNvGrpSpPr>
          <p:nvPr/>
        </p:nvGrpSpPr>
        <p:grpSpPr>
          <a:xfrm>
            <a:off x="1471554" y="5417576"/>
            <a:ext cx="300194" cy="306484"/>
            <a:chOff x="5610225" y="5173663"/>
            <a:chExt cx="530225" cy="541338"/>
          </a:xfrm>
          <a:solidFill>
            <a:schemeClr val="bg1"/>
          </a:solidFill>
          <a:effectLst/>
        </p:grpSpPr>
        <p:sp>
          <p:nvSpPr>
            <p:cNvPr id="473" name="Freeform 5">
              <a:extLst>
                <a:ext uri="{FF2B5EF4-FFF2-40B4-BE49-F238E27FC236}">
                  <a16:creationId xmlns:a16="http://schemas.microsoft.com/office/drawing/2014/main" id="{E138D064-C717-460A-8C0B-2B74C8CEC70D}"/>
                </a:ext>
              </a:extLst>
            </p:cNvPr>
            <p:cNvSpPr>
              <a:spLocks/>
            </p:cNvSpPr>
            <p:nvPr/>
          </p:nvSpPr>
          <p:spPr bwMode="auto">
            <a:xfrm>
              <a:off x="5795963" y="5356226"/>
              <a:ext cx="180975" cy="130175"/>
            </a:xfrm>
            <a:custGeom>
              <a:avLst/>
              <a:gdLst>
                <a:gd name="T0" fmla="*/ 38 w 114"/>
                <a:gd name="T1" fmla="*/ 82 h 82"/>
                <a:gd name="T2" fmla="*/ 38 w 114"/>
                <a:gd name="T3" fmla="*/ 82 h 82"/>
                <a:gd name="T4" fmla="*/ 37 w 114"/>
                <a:gd name="T5" fmla="*/ 82 h 82"/>
                <a:gd name="T6" fmla="*/ 33 w 114"/>
                <a:gd name="T7" fmla="*/ 81 h 82"/>
                <a:gd name="T8" fmla="*/ 2 w 114"/>
                <a:gd name="T9" fmla="*/ 47 h 82"/>
                <a:gd name="T10" fmla="*/ 2 w 114"/>
                <a:gd name="T11" fmla="*/ 47 h 82"/>
                <a:gd name="T12" fmla="*/ 0 w 114"/>
                <a:gd name="T13" fmla="*/ 45 h 82"/>
                <a:gd name="T14" fmla="*/ 0 w 114"/>
                <a:gd name="T15" fmla="*/ 42 h 82"/>
                <a:gd name="T16" fmla="*/ 0 w 114"/>
                <a:gd name="T17" fmla="*/ 40 h 82"/>
                <a:gd name="T18" fmla="*/ 2 w 114"/>
                <a:gd name="T19" fmla="*/ 39 h 82"/>
                <a:gd name="T20" fmla="*/ 2 w 114"/>
                <a:gd name="T21" fmla="*/ 39 h 82"/>
                <a:gd name="T22" fmla="*/ 3 w 114"/>
                <a:gd name="T23" fmla="*/ 37 h 82"/>
                <a:gd name="T24" fmla="*/ 7 w 114"/>
                <a:gd name="T25" fmla="*/ 35 h 82"/>
                <a:gd name="T26" fmla="*/ 8 w 114"/>
                <a:gd name="T27" fmla="*/ 37 h 82"/>
                <a:gd name="T28" fmla="*/ 12 w 114"/>
                <a:gd name="T29" fmla="*/ 39 h 82"/>
                <a:gd name="T30" fmla="*/ 38 w 114"/>
                <a:gd name="T31" fmla="*/ 66 h 82"/>
                <a:gd name="T32" fmla="*/ 102 w 114"/>
                <a:gd name="T33" fmla="*/ 2 h 82"/>
                <a:gd name="T34" fmla="*/ 102 w 114"/>
                <a:gd name="T35" fmla="*/ 2 h 82"/>
                <a:gd name="T36" fmla="*/ 105 w 114"/>
                <a:gd name="T37" fmla="*/ 0 h 82"/>
                <a:gd name="T38" fmla="*/ 107 w 114"/>
                <a:gd name="T39" fmla="*/ 0 h 82"/>
                <a:gd name="T40" fmla="*/ 110 w 114"/>
                <a:gd name="T41" fmla="*/ 0 h 82"/>
                <a:gd name="T42" fmla="*/ 112 w 114"/>
                <a:gd name="T43" fmla="*/ 2 h 82"/>
                <a:gd name="T44" fmla="*/ 112 w 114"/>
                <a:gd name="T45" fmla="*/ 2 h 82"/>
                <a:gd name="T46" fmla="*/ 114 w 114"/>
                <a:gd name="T47" fmla="*/ 4 h 82"/>
                <a:gd name="T48" fmla="*/ 114 w 114"/>
                <a:gd name="T49" fmla="*/ 7 h 82"/>
                <a:gd name="T50" fmla="*/ 114 w 114"/>
                <a:gd name="T51" fmla="*/ 9 h 82"/>
                <a:gd name="T52" fmla="*/ 112 w 114"/>
                <a:gd name="T53" fmla="*/ 12 h 82"/>
                <a:gd name="T54" fmla="*/ 43 w 114"/>
                <a:gd name="T55" fmla="*/ 81 h 82"/>
                <a:gd name="T56" fmla="*/ 43 w 114"/>
                <a:gd name="T57" fmla="*/ 81 h 82"/>
                <a:gd name="T58" fmla="*/ 42 w 114"/>
                <a:gd name="T59" fmla="*/ 82 h 82"/>
                <a:gd name="T60" fmla="*/ 38 w 114"/>
                <a:gd name="T61" fmla="*/ 82 h 82"/>
                <a:gd name="T62" fmla="*/ 38 w 114"/>
                <a:gd name="T6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82">
                  <a:moveTo>
                    <a:pt x="38" y="82"/>
                  </a:moveTo>
                  <a:lnTo>
                    <a:pt x="38" y="82"/>
                  </a:lnTo>
                  <a:lnTo>
                    <a:pt x="37" y="82"/>
                  </a:lnTo>
                  <a:lnTo>
                    <a:pt x="33" y="81"/>
                  </a:lnTo>
                  <a:lnTo>
                    <a:pt x="2" y="47"/>
                  </a:lnTo>
                  <a:lnTo>
                    <a:pt x="2" y="47"/>
                  </a:lnTo>
                  <a:lnTo>
                    <a:pt x="0" y="45"/>
                  </a:lnTo>
                  <a:lnTo>
                    <a:pt x="0" y="42"/>
                  </a:lnTo>
                  <a:lnTo>
                    <a:pt x="0" y="40"/>
                  </a:lnTo>
                  <a:lnTo>
                    <a:pt x="2" y="39"/>
                  </a:lnTo>
                  <a:lnTo>
                    <a:pt x="2" y="39"/>
                  </a:lnTo>
                  <a:lnTo>
                    <a:pt x="3" y="37"/>
                  </a:lnTo>
                  <a:lnTo>
                    <a:pt x="7" y="35"/>
                  </a:lnTo>
                  <a:lnTo>
                    <a:pt x="8" y="37"/>
                  </a:lnTo>
                  <a:lnTo>
                    <a:pt x="12" y="39"/>
                  </a:lnTo>
                  <a:lnTo>
                    <a:pt x="38" y="66"/>
                  </a:lnTo>
                  <a:lnTo>
                    <a:pt x="102" y="2"/>
                  </a:lnTo>
                  <a:lnTo>
                    <a:pt x="102" y="2"/>
                  </a:lnTo>
                  <a:lnTo>
                    <a:pt x="105" y="0"/>
                  </a:lnTo>
                  <a:lnTo>
                    <a:pt x="107" y="0"/>
                  </a:lnTo>
                  <a:lnTo>
                    <a:pt x="110" y="0"/>
                  </a:lnTo>
                  <a:lnTo>
                    <a:pt x="112" y="2"/>
                  </a:lnTo>
                  <a:lnTo>
                    <a:pt x="112" y="2"/>
                  </a:lnTo>
                  <a:lnTo>
                    <a:pt x="114" y="4"/>
                  </a:lnTo>
                  <a:lnTo>
                    <a:pt x="114" y="7"/>
                  </a:lnTo>
                  <a:lnTo>
                    <a:pt x="114" y="9"/>
                  </a:lnTo>
                  <a:lnTo>
                    <a:pt x="112" y="12"/>
                  </a:lnTo>
                  <a:lnTo>
                    <a:pt x="43" y="81"/>
                  </a:lnTo>
                  <a:lnTo>
                    <a:pt x="43" y="81"/>
                  </a:lnTo>
                  <a:lnTo>
                    <a:pt x="42" y="82"/>
                  </a:lnTo>
                  <a:lnTo>
                    <a:pt x="38" y="82"/>
                  </a:lnTo>
                  <a:lnTo>
                    <a:pt x="38"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6">
              <a:extLst>
                <a:ext uri="{FF2B5EF4-FFF2-40B4-BE49-F238E27FC236}">
                  <a16:creationId xmlns:a16="http://schemas.microsoft.com/office/drawing/2014/main" id="{612A5D60-5B5F-415E-A837-F32D70BF8046}"/>
                </a:ext>
              </a:extLst>
            </p:cNvPr>
            <p:cNvSpPr>
              <a:spLocks noEditPoints="1"/>
            </p:cNvSpPr>
            <p:nvPr/>
          </p:nvSpPr>
          <p:spPr bwMode="auto">
            <a:xfrm>
              <a:off x="5749925" y="5303838"/>
              <a:ext cx="250825" cy="252413"/>
            </a:xfrm>
            <a:custGeom>
              <a:avLst/>
              <a:gdLst>
                <a:gd name="T0" fmla="*/ 79 w 158"/>
                <a:gd name="T1" fmla="*/ 159 h 159"/>
                <a:gd name="T2" fmla="*/ 49 w 158"/>
                <a:gd name="T3" fmla="*/ 154 h 159"/>
                <a:gd name="T4" fmla="*/ 22 w 158"/>
                <a:gd name="T5" fmla="*/ 135 h 159"/>
                <a:gd name="T6" fmla="*/ 5 w 158"/>
                <a:gd name="T7" fmla="*/ 110 h 159"/>
                <a:gd name="T8" fmla="*/ 0 w 158"/>
                <a:gd name="T9" fmla="*/ 80 h 159"/>
                <a:gd name="T10" fmla="*/ 0 w 158"/>
                <a:gd name="T11" fmla="*/ 63 h 159"/>
                <a:gd name="T12" fmla="*/ 14 w 158"/>
                <a:gd name="T13" fmla="*/ 35 h 159"/>
                <a:gd name="T14" fmla="*/ 34 w 158"/>
                <a:gd name="T15" fmla="*/ 15 h 159"/>
                <a:gd name="T16" fmla="*/ 62 w 158"/>
                <a:gd name="T17" fmla="*/ 2 h 159"/>
                <a:gd name="T18" fmla="*/ 79 w 158"/>
                <a:gd name="T19" fmla="*/ 0 h 159"/>
                <a:gd name="T20" fmla="*/ 109 w 158"/>
                <a:gd name="T21" fmla="*/ 7 h 159"/>
                <a:gd name="T22" fmla="*/ 136 w 158"/>
                <a:gd name="T23" fmla="*/ 23 h 159"/>
                <a:gd name="T24" fmla="*/ 153 w 158"/>
                <a:gd name="T25" fmla="*/ 48 h 159"/>
                <a:gd name="T26" fmla="*/ 158 w 158"/>
                <a:gd name="T27" fmla="*/ 80 h 159"/>
                <a:gd name="T28" fmla="*/ 158 w 158"/>
                <a:gd name="T29" fmla="*/ 95 h 159"/>
                <a:gd name="T30" fmla="*/ 144 w 158"/>
                <a:gd name="T31" fmla="*/ 124 h 159"/>
                <a:gd name="T32" fmla="*/ 124 w 158"/>
                <a:gd name="T33" fmla="*/ 145 h 159"/>
                <a:gd name="T34" fmla="*/ 96 w 158"/>
                <a:gd name="T35" fmla="*/ 157 h 159"/>
                <a:gd name="T36" fmla="*/ 79 w 158"/>
                <a:gd name="T37" fmla="*/ 159 h 159"/>
                <a:gd name="T38" fmla="*/ 79 w 158"/>
                <a:gd name="T39" fmla="*/ 13 h 159"/>
                <a:gd name="T40" fmla="*/ 54 w 158"/>
                <a:gd name="T41" fmla="*/ 18 h 159"/>
                <a:gd name="T42" fmla="*/ 32 w 158"/>
                <a:gd name="T43" fmla="*/ 33 h 159"/>
                <a:gd name="T44" fmla="*/ 19 w 158"/>
                <a:gd name="T45" fmla="*/ 55 h 159"/>
                <a:gd name="T46" fmla="*/ 14 w 158"/>
                <a:gd name="T47" fmla="*/ 80 h 159"/>
                <a:gd name="T48" fmla="*/ 14 w 158"/>
                <a:gd name="T49" fmla="*/ 93 h 159"/>
                <a:gd name="T50" fmla="*/ 24 w 158"/>
                <a:gd name="T51" fmla="*/ 117 h 159"/>
                <a:gd name="T52" fmla="*/ 42 w 158"/>
                <a:gd name="T53" fmla="*/ 135 h 159"/>
                <a:gd name="T54" fmla="*/ 66 w 158"/>
                <a:gd name="T55" fmla="*/ 145 h 159"/>
                <a:gd name="T56" fmla="*/ 79 w 158"/>
                <a:gd name="T57" fmla="*/ 145 h 159"/>
                <a:gd name="T58" fmla="*/ 104 w 158"/>
                <a:gd name="T59" fmla="*/ 140 h 159"/>
                <a:gd name="T60" fmla="*/ 126 w 158"/>
                <a:gd name="T61" fmla="*/ 127 h 159"/>
                <a:gd name="T62" fmla="*/ 139 w 158"/>
                <a:gd name="T63" fmla="*/ 105 h 159"/>
                <a:gd name="T64" fmla="*/ 144 w 158"/>
                <a:gd name="T65" fmla="*/ 80 h 159"/>
                <a:gd name="T66" fmla="*/ 144 w 158"/>
                <a:gd name="T67" fmla="*/ 67 h 159"/>
                <a:gd name="T68" fmla="*/ 134 w 158"/>
                <a:gd name="T69" fmla="*/ 43 h 159"/>
                <a:gd name="T70" fmla="*/ 116 w 158"/>
                <a:gd name="T71" fmla="*/ 25 h 159"/>
                <a:gd name="T72" fmla="*/ 92 w 158"/>
                <a:gd name="T73" fmla="*/ 15 h 159"/>
                <a:gd name="T74" fmla="*/ 79 w 158"/>
                <a:gd name="T75" fmla="*/ 1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59">
                  <a:moveTo>
                    <a:pt x="79" y="159"/>
                  </a:moveTo>
                  <a:lnTo>
                    <a:pt x="79" y="159"/>
                  </a:lnTo>
                  <a:lnTo>
                    <a:pt x="62" y="157"/>
                  </a:lnTo>
                  <a:lnTo>
                    <a:pt x="49" y="154"/>
                  </a:lnTo>
                  <a:lnTo>
                    <a:pt x="34" y="145"/>
                  </a:lnTo>
                  <a:lnTo>
                    <a:pt x="22" y="135"/>
                  </a:lnTo>
                  <a:lnTo>
                    <a:pt x="14" y="124"/>
                  </a:lnTo>
                  <a:lnTo>
                    <a:pt x="5" y="110"/>
                  </a:lnTo>
                  <a:lnTo>
                    <a:pt x="0" y="95"/>
                  </a:lnTo>
                  <a:lnTo>
                    <a:pt x="0" y="80"/>
                  </a:lnTo>
                  <a:lnTo>
                    <a:pt x="0" y="80"/>
                  </a:lnTo>
                  <a:lnTo>
                    <a:pt x="0" y="63"/>
                  </a:lnTo>
                  <a:lnTo>
                    <a:pt x="5" y="48"/>
                  </a:lnTo>
                  <a:lnTo>
                    <a:pt x="14" y="35"/>
                  </a:lnTo>
                  <a:lnTo>
                    <a:pt x="22" y="23"/>
                  </a:lnTo>
                  <a:lnTo>
                    <a:pt x="34" y="15"/>
                  </a:lnTo>
                  <a:lnTo>
                    <a:pt x="49" y="7"/>
                  </a:lnTo>
                  <a:lnTo>
                    <a:pt x="62" y="2"/>
                  </a:lnTo>
                  <a:lnTo>
                    <a:pt x="79" y="0"/>
                  </a:lnTo>
                  <a:lnTo>
                    <a:pt x="79" y="0"/>
                  </a:lnTo>
                  <a:lnTo>
                    <a:pt x="96" y="2"/>
                  </a:lnTo>
                  <a:lnTo>
                    <a:pt x="109" y="7"/>
                  </a:lnTo>
                  <a:lnTo>
                    <a:pt x="124" y="15"/>
                  </a:lnTo>
                  <a:lnTo>
                    <a:pt x="136" y="23"/>
                  </a:lnTo>
                  <a:lnTo>
                    <a:pt x="144" y="35"/>
                  </a:lnTo>
                  <a:lnTo>
                    <a:pt x="153" y="48"/>
                  </a:lnTo>
                  <a:lnTo>
                    <a:pt x="158" y="63"/>
                  </a:lnTo>
                  <a:lnTo>
                    <a:pt x="158" y="80"/>
                  </a:lnTo>
                  <a:lnTo>
                    <a:pt x="158" y="80"/>
                  </a:lnTo>
                  <a:lnTo>
                    <a:pt x="158" y="95"/>
                  </a:lnTo>
                  <a:lnTo>
                    <a:pt x="153" y="110"/>
                  </a:lnTo>
                  <a:lnTo>
                    <a:pt x="144" y="124"/>
                  </a:lnTo>
                  <a:lnTo>
                    <a:pt x="136" y="135"/>
                  </a:lnTo>
                  <a:lnTo>
                    <a:pt x="124" y="145"/>
                  </a:lnTo>
                  <a:lnTo>
                    <a:pt x="109" y="154"/>
                  </a:lnTo>
                  <a:lnTo>
                    <a:pt x="96" y="157"/>
                  </a:lnTo>
                  <a:lnTo>
                    <a:pt x="79" y="159"/>
                  </a:lnTo>
                  <a:lnTo>
                    <a:pt x="79" y="159"/>
                  </a:lnTo>
                  <a:close/>
                  <a:moveTo>
                    <a:pt x="79" y="13"/>
                  </a:moveTo>
                  <a:lnTo>
                    <a:pt x="79" y="13"/>
                  </a:lnTo>
                  <a:lnTo>
                    <a:pt x="66" y="15"/>
                  </a:lnTo>
                  <a:lnTo>
                    <a:pt x="54" y="18"/>
                  </a:lnTo>
                  <a:lnTo>
                    <a:pt x="42" y="25"/>
                  </a:lnTo>
                  <a:lnTo>
                    <a:pt x="32" y="33"/>
                  </a:lnTo>
                  <a:lnTo>
                    <a:pt x="24" y="43"/>
                  </a:lnTo>
                  <a:lnTo>
                    <a:pt x="19" y="55"/>
                  </a:lnTo>
                  <a:lnTo>
                    <a:pt x="14" y="67"/>
                  </a:lnTo>
                  <a:lnTo>
                    <a:pt x="14" y="80"/>
                  </a:lnTo>
                  <a:lnTo>
                    <a:pt x="14" y="80"/>
                  </a:lnTo>
                  <a:lnTo>
                    <a:pt x="14" y="93"/>
                  </a:lnTo>
                  <a:lnTo>
                    <a:pt x="19" y="105"/>
                  </a:lnTo>
                  <a:lnTo>
                    <a:pt x="24" y="117"/>
                  </a:lnTo>
                  <a:lnTo>
                    <a:pt x="32" y="127"/>
                  </a:lnTo>
                  <a:lnTo>
                    <a:pt x="42" y="135"/>
                  </a:lnTo>
                  <a:lnTo>
                    <a:pt x="54" y="140"/>
                  </a:lnTo>
                  <a:lnTo>
                    <a:pt x="66" y="145"/>
                  </a:lnTo>
                  <a:lnTo>
                    <a:pt x="79" y="145"/>
                  </a:lnTo>
                  <a:lnTo>
                    <a:pt x="79" y="145"/>
                  </a:lnTo>
                  <a:lnTo>
                    <a:pt x="92" y="145"/>
                  </a:lnTo>
                  <a:lnTo>
                    <a:pt x="104" y="140"/>
                  </a:lnTo>
                  <a:lnTo>
                    <a:pt x="116" y="135"/>
                  </a:lnTo>
                  <a:lnTo>
                    <a:pt x="126" y="127"/>
                  </a:lnTo>
                  <a:lnTo>
                    <a:pt x="134" y="117"/>
                  </a:lnTo>
                  <a:lnTo>
                    <a:pt x="139" y="105"/>
                  </a:lnTo>
                  <a:lnTo>
                    <a:pt x="144" y="93"/>
                  </a:lnTo>
                  <a:lnTo>
                    <a:pt x="144" y="80"/>
                  </a:lnTo>
                  <a:lnTo>
                    <a:pt x="144" y="80"/>
                  </a:lnTo>
                  <a:lnTo>
                    <a:pt x="144" y="67"/>
                  </a:lnTo>
                  <a:lnTo>
                    <a:pt x="139" y="55"/>
                  </a:lnTo>
                  <a:lnTo>
                    <a:pt x="134" y="43"/>
                  </a:lnTo>
                  <a:lnTo>
                    <a:pt x="126" y="33"/>
                  </a:lnTo>
                  <a:lnTo>
                    <a:pt x="116" y="25"/>
                  </a:lnTo>
                  <a:lnTo>
                    <a:pt x="104" y="18"/>
                  </a:lnTo>
                  <a:lnTo>
                    <a:pt x="92" y="15"/>
                  </a:lnTo>
                  <a:lnTo>
                    <a:pt x="79" y="13"/>
                  </a:lnTo>
                  <a:lnTo>
                    <a:pt x="7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a:extLst>
                <a:ext uri="{FF2B5EF4-FFF2-40B4-BE49-F238E27FC236}">
                  <a16:creationId xmlns:a16="http://schemas.microsoft.com/office/drawing/2014/main" id="{85CE6690-51B1-4386-8849-73F5F58E8235}"/>
                </a:ext>
              </a:extLst>
            </p:cNvPr>
            <p:cNvSpPr>
              <a:spLocks noEditPoints="1"/>
            </p:cNvSpPr>
            <p:nvPr/>
          </p:nvSpPr>
          <p:spPr bwMode="auto">
            <a:xfrm>
              <a:off x="5610225" y="5173663"/>
              <a:ext cx="530225" cy="541338"/>
            </a:xfrm>
            <a:custGeom>
              <a:avLst/>
              <a:gdLst>
                <a:gd name="T0" fmla="*/ 165 w 334"/>
                <a:gd name="T1" fmla="*/ 341 h 341"/>
                <a:gd name="T2" fmla="*/ 142 w 334"/>
                <a:gd name="T3" fmla="*/ 331 h 341"/>
                <a:gd name="T4" fmla="*/ 100 w 334"/>
                <a:gd name="T5" fmla="*/ 301 h 341"/>
                <a:gd name="T6" fmla="*/ 55 w 334"/>
                <a:gd name="T7" fmla="*/ 236 h 341"/>
                <a:gd name="T8" fmla="*/ 25 w 334"/>
                <a:gd name="T9" fmla="*/ 162 h 341"/>
                <a:gd name="T10" fmla="*/ 1 w 334"/>
                <a:gd name="T11" fmla="*/ 69 h 341"/>
                <a:gd name="T12" fmla="*/ 0 w 334"/>
                <a:gd name="T13" fmla="*/ 52 h 341"/>
                <a:gd name="T14" fmla="*/ 5 w 334"/>
                <a:gd name="T15" fmla="*/ 47 h 341"/>
                <a:gd name="T16" fmla="*/ 18 w 334"/>
                <a:gd name="T17" fmla="*/ 48 h 341"/>
                <a:gd name="T18" fmla="*/ 30 w 334"/>
                <a:gd name="T19" fmla="*/ 50 h 341"/>
                <a:gd name="T20" fmla="*/ 70 w 334"/>
                <a:gd name="T21" fmla="*/ 45 h 341"/>
                <a:gd name="T22" fmla="*/ 129 w 334"/>
                <a:gd name="T23" fmla="*/ 27 h 341"/>
                <a:gd name="T24" fmla="*/ 160 w 334"/>
                <a:gd name="T25" fmla="*/ 3 h 341"/>
                <a:gd name="T26" fmla="*/ 167 w 334"/>
                <a:gd name="T27" fmla="*/ 0 h 341"/>
                <a:gd name="T28" fmla="*/ 174 w 334"/>
                <a:gd name="T29" fmla="*/ 3 h 341"/>
                <a:gd name="T30" fmla="*/ 206 w 334"/>
                <a:gd name="T31" fmla="*/ 27 h 341"/>
                <a:gd name="T32" fmla="*/ 264 w 334"/>
                <a:gd name="T33" fmla="*/ 45 h 341"/>
                <a:gd name="T34" fmla="*/ 304 w 334"/>
                <a:gd name="T35" fmla="*/ 50 h 341"/>
                <a:gd name="T36" fmla="*/ 326 w 334"/>
                <a:gd name="T37" fmla="*/ 47 h 341"/>
                <a:gd name="T38" fmla="*/ 331 w 334"/>
                <a:gd name="T39" fmla="*/ 48 h 341"/>
                <a:gd name="T40" fmla="*/ 334 w 334"/>
                <a:gd name="T41" fmla="*/ 53 h 341"/>
                <a:gd name="T42" fmla="*/ 318 w 334"/>
                <a:gd name="T43" fmla="*/ 139 h 341"/>
                <a:gd name="T44" fmla="*/ 294 w 334"/>
                <a:gd name="T45" fmla="*/ 211 h 341"/>
                <a:gd name="T46" fmla="*/ 254 w 334"/>
                <a:gd name="T47" fmla="*/ 281 h 341"/>
                <a:gd name="T48" fmla="*/ 206 w 334"/>
                <a:gd name="T49" fmla="*/ 324 h 341"/>
                <a:gd name="T50" fmla="*/ 169 w 334"/>
                <a:gd name="T51" fmla="*/ 341 h 341"/>
                <a:gd name="T52" fmla="*/ 167 w 334"/>
                <a:gd name="T53" fmla="*/ 341 h 341"/>
                <a:gd name="T54" fmla="*/ 18 w 334"/>
                <a:gd name="T55" fmla="*/ 85 h 341"/>
                <a:gd name="T56" fmla="*/ 45 w 334"/>
                <a:gd name="T57" fmla="*/ 177 h 341"/>
                <a:gd name="T58" fmla="*/ 73 w 334"/>
                <a:gd name="T59" fmla="*/ 241 h 341"/>
                <a:gd name="T60" fmla="*/ 114 w 334"/>
                <a:gd name="T61" fmla="*/ 294 h 341"/>
                <a:gd name="T62" fmla="*/ 167 w 334"/>
                <a:gd name="T63" fmla="*/ 328 h 341"/>
                <a:gd name="T64" fmla="*/ 206 w 334"/>
                <a:gd name="T65" fmla="*/ 308 h 341"/>
                <a:gd name="T66" fmla="*/ 252 w 334"/>
                <a:gd name="T67" fmla="*/ 259 h 341"/>
                <a:gd name="T68" fmla="*/ 284 w 334"/>
                <a:gd name="T69" fmla="*/ 199 h 341"/>
                <a:gd name="T70" fmla="*/ 309 w 334"/>
                <a:gd name="T71" fmla="*/ 117 h 341"/>
                <a:gd name="T72" fmla="*/ 319 w 334"/>
                <a:gd name="T73" fmla="*/ 62 h 341"/>
                <a:gd name="T74" fmla="*/ 287 w 334"/>
                <a:gd name="T75" fmla="*/ 62 h 341"/>
                <a:gd name="T76" fmla="*/ 227 w 334"/>
                <a:gd name="T77" fmla="*/ 50 h 341"/>
                <a:gd name="T78" fmla="*/ 177 w 334"/>
                <a:gd name="T79" fmla="*/ 27 h 341"/>
                <a:gd name="T80" fmla="*/ 157 w 334"/>
                <a:gd name="T81" fmla="*/ 27 h 341"/>
                <a:gd name="T82" fmla="*/ 107 w 334"/>
                <a:gd name="T83" fmla="*/ 50 h 341"/>
                <a:gd name="T84" fmla="*/ 47 w 334"/>
                <a:gd name="T85" fmla="*/ 62 h 341"/>
                <a:gd name="T86" fmla="*/ 30 w 334"/>
                <a:gd name="T87" fmla="*/ 64 h 341"/>
                <a:gd name="T88" fmla="*/ 15 w 334"/>
                <a:gd name="T89" fmla="*/ 6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4" h="341">
                  <a:moveTo>
                    <a:pt x="167" y="341"/>
                  </a:moveTo>
                  <a:lnTo>
                    <a:pt x="167" y="341"/>
                  </a:lnTo>
                  <a:lnTo>
                    <a:pt x="165" y="341"/>
                  </a:lnTo>
                  <a:lnTo>
                    <a:pt x="165" y="341"/>
                  </a:lnTo>
                  <a:lnTo>
                    <a:pt x="154" y="336"/>
                  </a:lnTo>
                  <a:lnTo>
                    <a:pt x="142" y="331"/>
                  </a:lnTo>
                  <a:lnTo>
                    <a:pt x="130" y="324"/>
                  </a:lnTo>
                  <a:lnTo>
                    <a:pt x="120" y="318"/>
                  </a:lnTo>
                  <a:lnTo>
                    <a:pt x="100" y="301"/>
                  </a:lnTo>
                  <a:lnTo>
                    <a:pt x="83" y="281"/>
                  </a:lnTo>
                  <a:lnTo>
                    <a:pt x="68" y="259"/>
                  </a:lnTo>
                  <a:lnTo>
                    <a:pt x="55" y="236"/>
                  </a:lnTo>
                  <a:lnTo>
                    <a:pt x="43" y="211"/>
                  </a:lnTo>
                  <a:lnTo>
                    <a:pt x="33" y="187"/>
                  </a:lnTo>
                  <a:lnTo>
                    <a:pt x="25" y="162"/>
                  </a:lnTo>
                  <a:lnTo>
                    <a:pt x="18" y="139"/>
                  </a:lnTo>
                  <a:lnTo>
                    <a:pt x="8" y="99"/>
                  </a:lnTo>
                  <a:lnTo>
                    <a:pt x="1" y="69"/>
                  </a:lnTo>
                  <a:lnTo>
                    <a:pt x="0" y="53"/>
                  </a:lnTo>
                  <a:lnTo>
                    <a:pt x="0" y="53"/>
                  </a:lnTo>
                  <a:lnTo>
                    <a:pt x="0" y="52"/>
                  </a:lnTo>
                  <a:lnTo>
                    <a:pt x="1" y="48"/>
                  </a:lnTo>
                  <a:lnTo>
                    <a:pt x="1" y="48"/>
                  </a:lnTo>
                  <a:lnTo>
                    <a:pt x="5" y="47"/>
                  </a:lnTo>
                  <a:lnTo>
                    <a:pt x="8" y="47"/>
                  </a:lnTo>
                  <a:lnTo>
                    <a:pt x="8" y="47"/>
                  </a:lnTo>
                  <a:lnTo>
                    <a:pt x="18" y="48"/>
                  </a:lnTo>
                  <a:lnTo>
                    <a:pt x="30" y="50"/>
                  </a:lnTo>
                  <a:lnTo>
                    <a:pt x="30" y="50"/>
                  </a:lnTo>
                  <a:lnTo>
                    <a:pt x="30" y="50"/>
                  </a:lnTo>
                  <a:lnTo>
                    <a:pt x="30" y="50"/>
                  </a:lnTo>
                  <a:lnTo>
                    <a:pt x="48" y="48"/>
                  </a:lnTo>
                  <a:lnTo>
                    <a:pt x="70" y="45"/>
                  </a:lnTo>
                  <a:lnTo>
                    <a:pt x="90" y="40"/>
                  </a:lnTo>
                  <a:lnTo>
                    <a:pt x="110" y="33"/>
                  </a:lnTo>
                  <a:lnTo>
                    <a:pt x="129" y="27"/>
                  </a:lnTo>
                  <a:lnTo>
                    <a:pt x="144" y="18"/>
                  </a:lnTo>
                  <a:lnTo>
                    <a:pt x="155" y="10"/>
                  </a:lnTo>
                  <a:lnTo>
                    <a:pt x="160" y="3"/>
                  </a:lnTo>
                  <a:lnTo>
                    <a:pt x="160" y="3"/>
                  </a:lnTo>
                  <a:lnTo>
                    <a:pt x="164" y="2"/>
                  </a:lnTo>
                  <a:lnTo>
                    <a:pt x="167" y="0"/>
                  </a:lnTo>
                  <a:lnTo>
                    <a:pt x="170" y="2"/>
                  </a:lnTo>
                  <a:lnTo>
                    <a:pt x="174" y="3"/>
                  </a:lnTo>
                  <a:lnTo>
                    <a:pt x="174" y="3"/>
                  </a:lnTo>
                  <a:lnTo>
                    <a:pt x="179" y="10"/>
                  </a:lnTo>
                  <a:lnTo>
                    <a:pt x="190" y="18"/>
                  </a:lnTo>
                  <a:lnTo>
                    <a:pt x="206" y="27"/>
                  </a:lnTo>
                  <a:lnTo>
                    <a:pt x="224" y="33"/>
                  </a:lnTo>
                  <a:lnTo>
                    <a:pt x="244" y="40"/>
                  </a:lnTo>
                  <a:lnTo>
                    <a:pt x="264" y="45"/>
                  </a:lnTo>
                  <a:lnTo>
                    <a:pt x="286" y="48"/>
                  </a:lnTo>
                  <a:lnTo>
                    <a:pt x="304" y="50"/>
                  </a:lnTo>
                  <a:lnTo>
                    <a:pt x="304" y="50"/>
                  </a:lnTo>
                  <a:lnTo>
                    <a:pt x="316" y="48"/>
                  </a:lnTo>
                  <a:lnTo>
                    <a:pt x="326" y="47"/>
                  </a:lnTo>
                  <a:lnTo>
                    <a:pt x="326" y="47"/>
                  </a:lnTo>
                  <a:lnTo>
                    <a:pt x="329" y="47"/>
                  </a:lnTo>
                  <a:lnTo>
                    <a:pt x="331" y="48"/>
                  </a:lnTo>
                  <a:lnTo>
                    <a:pt x="331" y="48"/>
                  </a:lnTo>
                  <a:lnTo>
                    <a:pt x="334" y="50"/>
                  </a:lnTo>
                  <a:lnTo>
                    <a:pt x="334" y="53"/>
                  </a:lnTo>
                  <a:lnTo>
                    <a:pt x="334" y="53"/>
                  </a:lnTo>
                  <a:lnTo>
                    <a:pt x="333" y="69"/>
                  </a:lnTo>
                  <a:lnTo>
                    <a:pt x="328" y="97"/>
                  </a:lnTo>
                  <a:lnTo>
                    <a:pt x="318" y="139"/>
                  </a:lnTo>
                  <a:lnTo>
                    <a:pt x="313" y="162"/>
                  </a:lnTo>
                  <a:lnTo>
                    <a:pt x="304" y="186"/>
                  </a:lnTo>
                  <a:lnTo>
                    <a:pt x="294" y="211"/>
                  </a:lnTo>
                  <a:lnTo>
                    <a:pt x="282" y="236"/>
                  </a:lnTo>
                  <a:lnTo>
                    <a:pt x="269" y="259"/>
                  </a:lnTo>
                  <a:lnTo>
                    <a:pt x="254" y="281"/>
                  </a:lnTo>
                  <a:lnTo>
                    <a:pt x="236" y="301"/>
                  </a:lnTo>
                  <a:lnTo>
                    <a:pt x="216" y="318"/>
                  </a:lnTo>
                  <a:lnTo>
                    <a:pt x="206" y="324"/>
                  </a:lnTo>
                  <a:lnTo>
                    <a:pt x="194" y="331"/>
                  </a:lnTo>
                  <a:lnTo>
                    <a:pt x="182" y="336"/>
                  </a:lnTo>
                  <a:lnTo>
                    <a:pt x="169" y="341"/>
                  </a:lnTo>
                  <a:lnTo>
                    <a:pt x="169" y="341"/>
                  </a:lnTo>
                  <a:lnTo>
                    <a:pt x="167" y="341"/>
                  </a:lnTo>
                  <a:lnTo>
                    <a:pt x="167" y="341"/>
                  </a:lnTo>
                  <a:close/>
                  <a:moveTo>
                    <a:pt x="15" y="62"/>
                  </a:moveTo>
                  <a:lnTo>
                    <a:pt x="15" y="62"/>
                  </a:lnTo>
                  <a:lnTo>
                    <a:pt x="18" y="85"/>
                  </a:lnTo>
                  <a:lnTo>
                    <a:pt x="27" y="117"/>
                  </a:lnTo>
                  <a:lnTo>
                    <a:pt x="37" y="157"/>
                  </a:lnTo>
                  <a:lnTo>
                    <a:pt x="45" y="177"/>
                  </a:lnTo>
                  <a:lnTo>
                    <a:pt x="53" y="199"/>
                  </a:lnTo>
                  <a:lnTo>
                    <a:pt x="62" y="221"/>
                  </a:lnTo>
                  <a:lnTo>
                    <a:pt x="73" y="241"/>
                  </a:lnTo>
                  <a:lnTo>
                    <a:pt x="85" y="261"/>
                  </a:lnTo>
                  <a:lnTo>
                    <a:pt x="98" y="277"/>
                  </a:lnTo>
                  <a:lnTo>
                    <a:pt x="114" y="294"/>
                  </a:lnTo>
                  <a:lnTo>
                    <a:pt x="130" y="308"/>
                  </a:lnTo>
                  <a:lnTo>
                    <a:pt x="147" y="319"/>
                  </a:lnTo>
                  <a:lnTo>
                    <a:pt x="167" y="328"/>
                  </a:lnTo>
                  <a:lnTo>
                    <a:pt x="167" y="328"/>
                  </a:lnTo>
                  <a:lnTo>
                    <a:pt x="187" y="319"/>
                  </a:lnTo>
                  <a:lnTo>
                    <a:pt x="206" y="308"/>
                  </a:lnTo>
                  <a:lnTo>
                    <a:pt x="224" y="294"/>
                  </a:lnTo>
                  <a:lnTo>
                    <a:pt x="239" y="277"/>
                  </a:lnTo>
                  <a:lnTo>
                    <a:pt x="252" y="259"/>
                  </a:lnTo>
                  <a:lnTo>
                    <a:pt x="264" y="241"/>
                  </a:lnTo>
                  <a:lnTo>
                    <a:pt x="274" y="219"/>
                  </a:lnTo>
                  <a:lnTo>
                    <a:pt x="284" y="199"/>
                  </a:lnTo>
                  <a:lnTo>
                    <a:pt x="293" y="177"/>
                  </a:lnTo>
                  <a:lnTo>
                    <a:pt x="299" y="157"/>
                  </a:lnTo>
                  <a:lnTo>
                    <a:pt x="309" y="117"/>
                  </a:lnTo>
                  <a:lnTo>
                    <a:pt x="316" y="85"/>
                  </a:lnTo>
                  <a:lnTo>
                    <a:pt x="319" y="62"/>
                  </a:lnTo>
                  <a:lnTo>
                    <a:pt x="319" y="62"/>
                  </a:lnTo>
                  <a:lnTo>
                    <a:pt x="304" y="64"/>
                  </a:lnTo>
                  <a:lnTo>
                    <a:pt x="304" y="64"/>
                  </a:lnTo>
                  <a:lnTo>
                    <a:pt x="287" y="62"/>
                  </a:lnTo>
                  <a:lnTo>
                    <a:pt x="267" y="60"/>
                  </a:lnTo>
                  <a:lnTo>
                    <a:pt x="247" y="55"/>
                  </a:lnTo>
                  <a:lnTo>
                    <a:pt x="227" y="50"/>
                  </a:lnTo>
                  <a:lnTo>
                    <a:pt x="209" y="42"/>
                  </a:lnTo>
                  <a:lnTo>
                    <a:pt x="192" y="35"/>
                  </a:lnTo>
                  <a:lnTo>
                    <a:pt x="177" y="27"/>
                  </a:lnTo>
                  <a:lnTo>
                    <a:pt x="167" y="18"/>
                  </a:lnTo>
                  <a:lnTo>
                    <a:pt x="167" y="18"/>
                  </a:lnTo>
                  <a:lnTo>
                    <a:pt x="157" y="27"/>
                  </a:lnTo>
                  <a:lnTo>
                    <a:pt x="142" y="35"/>
                  </a:lnTo>
                  <a:lnTo>
                    <a:pt x="125" y="42"/>
                  </a:lnTo>
                  <a:lnTo>
                    <a:pt x="107" y="50"/>
                  </a:lnTo>
                  <a:lnTo>
                    <a:pt x="87" y="55"/>
                  </a:lnTo>
                  <a:lnTo>
                    <a:pt x="67" y="60"/>
                  </a:lnTo>
                  <a:lnTo>
                    <a:pt x="47" y="62"/>
                  </a:lnTo>
                  <a:lnTo>
                    <a:pt x="30" y="64"/>
                  </a:lnTo>
                  <a:lnTo>
                    <a:pt x="30" y="64"/>
                  </a:lnTo>
                  <a:lnTo>
                    <a:pt x="30" y="64"/>
                  </a:lnTo>
                  <a:lnTo>
                    <a:pt x="30" y="64"/>
                  </a:lnTo>
                  <a:lnTo>
                    <a:pt x="15" y="62"/>
                  </a:lnTo>
                  <a:lnTo>
                    <a:pt x="15"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05" name="Group 4103">
            <a:extLst>
              <a:ext uri="{FF2B5EF4-FFF2-40B4-BE49-F238E27FC236}">
                <a16:creationId xmlns:a16="http://schemas.microsoft.com/office/drawing/2014/main" id="{7BEDD00C-3F2C-486A-A1A7-3F916E5D0006}"/>
              </a:ext>
            </a:extLst>
          </p:cNvPr>
          <p:cNvGrpSpPr>
            <a:grpSpLocks noChangeAspect="1"/>
          </p:cNvGrpSpPr>
          <p:nvPr/>
        </p:nvGrpSpPr>
        <p:grpSpPr>
          <a:xfrm>
            <a:off x="1939775" y="5417576"/>
            <a:ext cx="193844" cy="306484"/>
            <a:chOff x="4454526" y="3243263"/>
            <a:chExt cx="234950" cy="371476"/>
          </a:xfrm>
          <a:solidFill>
            <a:schemeClr val="bg1"/>
          </a:solidFill>
          <a:effectLst/>
        </p:grpSpPr>
        <p:sp>
          <p:nvSpPr>
            <p:cNvPr id="506" name="Freeform 18">
              <a:extLst>
                <a:ext uri="{FF2B5EF4-FFF2-40B4-BE49-F238E27FC236}">
                  <a16:creationId xmlns:a16="http://schemas.microsoft.com/office/drawing/2014/main" id="{BFCBD402-77F8-4F2E-87DD-85D1760D4297}"/>
                </a:ext>
              </a:extLst>
            </p:cNvPr>
            <p:cNvSpPr>
              <a:spLocks/>
            </p:cNvSpPr>
            <p:nvPr/>
          </p:nvSpPr>
          <p:spPr bwMode="auto">
            <a:xfrm>
              <a:off x="4454526" y="3243263"/>
              <a:ext cx="222250" cy="201613"/>
            </a:xfrm>
            <a:custGeom>
              <a:avLst/>
              <a:gdLst>
                <a:gd name="T0" fmla="*/ 42 w 56"/>
                <a:gd name="T1" fmla="*/ 52 h 52"/>
                <a:gd name="T2" fmla="*/ 40 w 56"/>
                <a:gd name="T3" fmla="*/ 51 h 52"/>
                <a:gd name="T4" fmla="*/ 41 w 56"/>
                <a:gd name="T5" fmla="*/ 48 h 52"/>
                <a:gd name="T6" fmla="*/ 52 w 56"/>
                <a:gd name="T7" fmla="*/ 28 h 52"/>
                <a:gd name="T8" fmla="*/ 28 w 56"/>
                <a:gd name="T9" fmla="*/ 4 h 52"/>
                <a:gd name="T10" fmla="*/ 4 w 56"/>
                <a:gd name="T11" fmla="*/ 28 h 52"/>
                <a:gd name="T12" fmla="*/ 15 w 56"/>
                <a:gd name="T13" fmla="*/ 48 h 52"/>
                <a:gd name="T14" fmla="*/ 16 w 56"/>
                <a:gd name="T15" fmla="*/ 51 h 52"/>
                <a:gd name="T16" fmla="*/ 13 w 56"/>
                <a:gd name="T17" fmla="*/ 52 h 52"/>
                <a:gd name="T18" fmla="*/ 0 w 56"/>
                <a:gd name="T19" fmla="*/ 28 h 52"/>
                <a:gd name="T20" fmla="*/ 28 w 56"/>
                <a:gd name="T21" fmla="*/ 0 h 52"/>
                <a:gd name="T22" fmla="*/ 56 w 56"/>
                <a:gd name="T23" fmla="*/ 28 h 52"/>
                <a:gd name="T24" fmla="*/ 43 w 56"/>
                <a:gd name="T25" fmla="*/ 52 h 52"/>
                <a:gd name="T26" fmla="*/ 42 w 56"/>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52">
                  <a:moveTo>
                    <a:pt x="42" y="52"/>
                  </a:moveTo>
                  <a:cubicBezTo>
                    <a:pt x="41" y="52"/>
                    <a:pt x="41" y="52"/>
                    <a:pt x="40" y="51"/>
                  </a:cubicBezTo>
                  <a:cubicBezTo>
                    <a:pt x="40" y="50"/>
                    <a:pt x="40" y="49"/>
                    <a:pt x="41" y="48"/>
                  </a:cubicBezTo>
                  <a:cubicBezTo>
                    <a:pt x="48" y="44"/>
                    <a:pt x="52" y="36"/>
                    <a:pt x="52" y="28"/>
                  </a:cubicBezTo>
                  <a:cubicBezTo>
                    <a:pt x="52" y="15"/>
                    <a:pt x="41" y="4"/>
                    <a:pt x="28" y="4"/>
                  </a:cubicBezTo>
                  <a:cubicBezTo>
                    <a:pt x="15" y="4"/>
                    <a:pt x="4" y="15"/>
                    <a:pt x="4" y="28"/>
                  </a:cubicBezTo>
                  <a:cubicBezTo>
                    <a:pt x="4" y="36"/>
                    <a:pt x="8" y="44"/>
                    <a:pt x="15" y="48"/>
                  </a:cubicBezTo>
                  <a:cubicBezTo>
                    <a:pt x="16" y="49"/>
                    <a:pt x="16" y="50"/>
                    <a:pt x="16" y="51"/>
                  </a:cubicBezTo>
                  <a:cubicBezTo>
                    <a:pt x="15" y="52"/>
                    <a:pt x="14" y="52"/>
                    <a:pt x="13" y="52"/>
                  </a:cubicBezTo>
                  <a:cubicBezTo>
                    <a:pt x="5" y="46"/>
                    <a:pt x="0" y="38"/>
                    <a:pt x="0" y="28"/>
                  </a:cubicBezTo>
                  <a:cubicBezTo>
                    <a:pt x="0" y="13"/>
                    <a:pt x="13" y="0"/>
                    <a:pt x="28" y="0"/>
                  </a:cubicBezTo>
                  <a:cubicBezTo>
                    <a:pt x="43" y="0"/>
                    <a:pt x="56" y="13"/>
                    <a:pt x="56" y="28"/>
                  </a:cubicBezTo>
                  <a:cubicBezTo>
                    <a:pt x="56" y="38"/>
                    <a:pt x="51" y="46"/>
                    <a:pt x="43" y="52"/>
                  </a:cubicBezTo>
                  <a:cubicBezTo>
                    <a:pt x="43" y="52"/>
                    <a:pt x="42" y="52"/>
                    <a:pt x="4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Freeform 19">
              <a:extLst>
                <a:ext uri="{FF2B5EF4-FFF2-40B4-BE49-F238E27FC236}">
                  <a16:creationId xmlns:a16="http://schemas.microsoft.com/office/drawing/2014/main" id="{E236356F-514F-4DE1-BA78-4232438A6B8B}"/>
                </a:ext>
              </a:extLst>
            </p:cNvPr>
            <p:cNvSpPr>
              <a:spLocks noEditPoints="1"/>
            </p:cNvSpPr>
            <p:nvPr/>
          </p:nvSpPr>
          <p:spPr bwMode="auto">
            <a:xfrm>
              <a:off x="4454526" y="3336926"/>
              <a:ext cx="234950" cy="277813"/>
            </a:xfrm>
            <a:custGeom>
              <a:avLst/>
              <a:gdLst>
                <a:gd name="T0" fmla="*/ 52 w 59"/>
                <a:gd name="T1" fmla="*/ 72 h 72"/>
                <a:gd name="T2" fmla="*/ 20 w 59"/>
                <a:gd name="T3" fmla="*/ 72 h 72"/>
                <a:gd name="T4" fmla="*/ 18 w 59"/>
                <a:gd name="T5" fmla="*/ 71 h 72"/>
                <a:gd name="T6" fmla="*/ 2 w 59"/>
                <a:gd name="T7" fmla="*/ 47 h 72"/>
                <a:gd name="T8" fmla="*/ 1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1 h 72"/>
                <a:gd name="T58" fmla="*/ 5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8" y="72"/>
                    <a:pt x="18" y="71"/>
                  </a:cubicBezTo>
                  <a:cubicBezTo>
                    <a:pt x="2" y="47"/>
                    <a:pt x="2" y="47"/>
                    <a:pt x="2" y="47"/>
                  </a:cubicBezTo>
                  <a:cubicBezTo>
                    <a:pt x="0" y="45"/>
                    <a:pt x="0" y="41"/>
                    <a:pt x="1"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8" y="38"/>
                    <a:pt x="59" y="44"/>
                    <a:pt x="58" y="48"/>
                  </a:cubicBezTo>
                  <a:cubicBezTo>
                    <a:pt x="54" y="70"/>
                    <a:pt x="54" y="70"/>
                    <a:pt x="54" y="70"/>
                  </a:cubicBezTo>
                  <a:cubicBezTo>
                    <a:pt x="53" y="71"/>
                    <a:pt x="53" y="72"/>
                    <a:pt x="52" y="72"/>
                  </a:cubicBezTo>
                  <a:close/>
                  <a:moveTo>
                    <a:pt x="21" y="68"/>
                  </a:moveTo>
                  <a:cubicBezTo>
                    <a:pt x="50" y="68"/>
                    <a:pt x="50" y="68"/>
                    <a:pt x="50" y="68"/>
                  </a:cubicBezTo>
                  <a:cubicBezTo>
                    <a:pt x="54" y="48"/>
                    <a:pt x="54" y="48"/>
                    <a:pt x="54" y="48"/>
                  </a:cubicBezTo>
                  <a:cubicBezTo>
                    <a:pt x="54" y="44"/>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1"/>
                  </a:cubicBezTo>
                  <a:cubicBezTo>
                    <a:pt x="4" y="42"/>
                    <a:pt x="4" y="44"/>
                    <a:pt x="5"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23" name="Group 25">
            <a:extLst>
              <a:ext uri="{FF2B5EF4-FFF2-40B4-BE49-F238E27FC236}">
                <a16:creationId xmlns:a16="http://schemas.microsoft.com/office/drawing/2014/main" id="{67C21529-77F1-4B04-8A70-A757DB757E26}"/>
              </a:ext>
            </a:extLst>
          </p:cNvPr>
          <p:cNvGrpSpPr>
            <a:grpSpLocks noChangeAspect="1"/>
          </p:cNvGrpSpPr>
          <p:nvPr/>
        </p:nvGrpSpPr>
        <p:grpSpPr>
          <a:xfrm>
            <a:off x="2304045" y="5417576"/>
            <a:ext cx="306484" cy="306484"/>
            <a:chOff x="11028363" y="3071813"/>
            <a:chExt cx="285750" cy="285750"/>
          </a:xfrm>
          <a:solidFill>
            <a:schemeClr val="bg1"/>
          </a:solidFill>
          <a:effectLst/>
        </p:grpSpPr>
        <p:sp>
          <p:nvSpPr>
            <p:cNvPr id="524" name="Freeform 249">
              <a:extLst>
                <a:ext uri="{FF2B5EF4-FFF2-40B4-BE49-F238E27FC236}">
                  <a16:creationId xmlns:a16="http://schemas.microsoft.com/office/drawing/2014/main" id="{9E336EF8-2EA5-46B6-8805-DEA9C8178A5C}"/>
                </a:ext>
              </a:extLst>
            </p:cNvPr>
            <p:cNvSpPr>
              <a:spLocks noEditPoints="1"/>
            </p:cNvSpPr>
            <p:nvPr/>
          </p:nvSpPr>
          <p:spPr bwMode="auto">
            <a:xfrm>
              <a:off x="11028363" y="3071813"/>
              <a:ext cx="285750" cy="285750"/>
            </a:xfrm>
            <a:custGeom>
              <a:avLst/>
              <a:gdLst>
                <a:gd name="T0" fmla="*/ 870 w 902"/>
                <a:gd name="T1" fmla="*/ 780 h 902"/>
                <a:gd name="T2" fmla="*/ 861 w 902"/>
                <a:gd name="T3" fmla="*/ 799 h 902"/>
                <a:gd name="T4" fmla="*/ 846 w 902"/>
                <a:gd name="T5" fmla="*/ 818 h 902"/>
                <a:gd name="T6" fmla="*/ 829 w 902"/>
                <a:gd name="T7" fmla="*/ 832 h 902"/>
                <a:gd name="T8" fmla="*/ 810 w 902"/>
                <a:gd name="T9" fmla="*/ 840 h 902"/>
                <a:gd name="T10" fmla="*/ 105 w 902"/>
                <a:gd name="T11" fmla="*/ 842 h 902"/>
                <a:gd name="T12" fmla="*/ 86 w 902"/>
                <a:gd name="T13" fmla="*/ 838 h 902"/>
                <a:gd name="T14" fmla="*/ 66 w 902"/>
                <a:gd name="T15" fmla="*/ 827 h 902"/>
                <a:gd name="T16" fmla="*/ 49 w 902"/>
                <a:gd name="T17" fmla="*/ 812 h 902"/>
                <a:gd name="T18" fmla="*/ 36 w 902"/>
                <a:gd name="T19" fmla="*/ 793 h 902"/>
                <a:gd name="T20" fmla="*/ 30 w 902"/>
                <a:gd name="T21" fmla="*/ 774 h 902"/>
                <a:gd name="T22" fmla="*/ 30 w 902"/>
                <a:gd name="T23" fmla="*/ 99 h 902"/>
                <a:gd name="T24" fmla="*/ 36 w 902"/>
                <a:gd name="T25" fmla="*/ 80 h 902"/>
                <a:gd name="T26" fmla="*/ 49 w 902"/>
                <a:gd name="T27" fmla="*/ 61 h 902"/>
                <a:gd name="T28" fmla="*/ 66 w 902"/>
                <a:gd name="T29" fmla="*/ 45 h 902"/>
                <a:gd name="T30" fmla="*/ 86 w 902"/>
                <a:gd name="T31" fmla="*/ 35 h 902"/>
                <a:gd name="T32" fmla="*/ 105 w 902"/>
                <a:gd name="T33" fmla="*/ 30 h 902"/>
                <a:gd name="T34" fmla="*/ 810 w 902"/>
                <a:gd name="T35" fmla="*/ 32 h 902"/>
                <a:gd name="T36" fmla="*/ 829 w 902"/>
                <a:gd name="T37" fmla="*/ 41 h 902"/>
                <a:gd name="T38" fmla="*/ 846 w 902"/>
                <a:gd name="T39" fmla="*/ 56 h 902"/>
                <a:gd name="T40" fmla="*/ 861 w 902"/>
                <a:gd name="T41" fmla="*/ 73 h 902"/>
                <a:gd name="T42" fmla="*/ 870 w 902"/>
                <a:gd name="T43" fmla="*/ 92 h 902"/>
                <a:gd name="T44" fmla="*/ 872 w 902"/>
                <a:gd name="T45" fmla="*/ 767 h 902"/>
                <a:gd name="T46" fmla="*/ 95 w 902"/>
                <a:gd name="T47" fmla="*/ 1 h 902"/>
                <a:gd name="T48" fmla="*/ 68 w 902"/>
                <a:gd name="T49" fmla="*/ 10 h 902"/>
                <a:gd name="T50" fmla="*/ 42 w 902"/>
                <a:gd name="T51" fmla="*/ 27 h 902"/>
                <a:gd name="T52" fmla="*/ 19 w 902"/>
                <a:gd name="T53" fmla="*/ 51 h 902"/>
                <a:gd name="T54" fmla="*/ 5 w 902"/>
                <a:gd name="T55" fmla="*/ 77 h 902"/>
                <a:gd name="T56" fmla="*/ 0 w 902"/>
                <a:gd name="T57" fmla="*/ 106 h 902"/>
                <a:gd name="T58" fmla="*/ 2 w 902"/>
                <a:gd name="T59" fmla="*/ 784 h 902"/>
                <a:gd name="T60" fmla="*/ 12 w 902"/>
                <a:gd name="T61" fmla="*/ 809 h 902"/>
                <a:gd name="T62" fmla="*/ 28 w 902"/>
                <a:gd name="T63" fmla="*/ 833 h 902"/>
                <a:gd name="T64" fmla="*/ 49 w 902"/>
                <a:gd name="T65" fmla="*/ 852 h 902"/>
                <a:gd name="T66" fmla="*/ 73 w 902"/>
                <a:gd name="T67" fmla="*/ 866 h 902"/>
                <a:gd name="T68" fmla="*/ 90 w 902"/>
                <a:gd name="T69" fmla="*/ 887 h 902"/>
                <a:gd name="T70" fmla="*/ 92 w 902"/>
                <a:gd name="T71" fmla="*/ 896 h 902"/>
                <a:gd name="T72" fmla="*/ 99 w 902"/>
                <a:gd name="T73" fmla="*/ 901 h 902"/>
                <a:gd name="T74" fmla="*/ 108 w 902"/>
                <a:gd name="T75" fmla="*/ 902 h 902"/>
                <a:gd name="T76" fmla="*/ 116 w 902"/>
                <a:gd name="T77" fmla="*/ 898 h 902"/>
                <a:gd name="T78" fmla="*/ 120 w 902"/>
                <a:gd name="T79" fmla="*/ 890 h 902"/>
                <a:gd name="T80" fmla="*/ 782 w 902"/>
                <a:gd name="T81" fmla="*/ 872 h 902"/>
                <a:gd name="T82" fmla="*/ 783 w 902"/>
                <a:gd name="T83" fmla="*/ 894 h 902"/>
                <a:gd name="T84" fmla="*/ 788 w 902"/>
                <a:gd name="T85" fmla="*/ 900 h 902"/>
                <a:gd name="T86" fmla="*/ 797 w 902"/>
                <a:gd name="T87" fmla="*/ 902 h 902"/>
                <a:gd name="T88" fmla="*/ 805 w 902"/>
                <a:gd name="T89" fmla="*/ 900 h 902"/>
                <a:gd name="T90" fmla="*/ 810 w 902"/>
                <a:gd name="T91" fmla="*/ 894 h 902"/>
                <a:gd name="T92" fmla="*/ 812 w 902"/>
                <a:gd name="T93" fmla="*/ 871 h 902"/>
                <a:gd name="T94" fmla="*/ 837 w 902"/>
                <a:gd name="T95" fmla="*/ 862 h 902"/>
                <a:gd name="T96" fmla="*/ 860 w 902"/>
                <a:gd name="T97" fmla="*/ 845 h 902"/>
                <a:gd name="T98" fmla="*/ 880 w 902"/>
                <a:gd name="T99" fmla="*/ 825 h 902"/>
                <a:gd name="T100" fmla="*/ 895 w 902"/>
                <a:gd name="T101" fmla="*/ 802 h 902"/>
                <a:gd name="T102" fmla="*/ 901 w 902"/>
                <a:gd name="T103" fmla="*/ 776 h 902"/>
                <a:gd name="T104" fmla="*/ 901 w 902"/>
                <a:gd name="T105" fmla="*/ 97 h 902"/>
                <a:gd name="T106" fmla="*/ 892 w 902"/>
                <a:gd name="T107" fmla="*/ 68 h 902"/>
                <a:gd name="T108" fmla="*/ 875 w 902"/>
                <a:gd name="T109" fmla="*/ 42 h 902"/>
                <a:gd name="T110" fmla="*/ 852 w 902"/>
                <a:gd name="T111" fmla="*/ 21 h 902"/>
                <a:gd name="T112" fmla="*/ 825 w 902"/>
                <a:gd name="T113" fmla="*/ 6 h 902"/>
                <a:gd name="T114" fmla="*/ 797 w 902"/>
                <a:gd name="T11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872" y="767"/>
                  </a:moveTo>
                  <a:lnTo>
                    <a:pt x="871" y="774"/>
                  </a:lnTo>
                  <a:lnTo>
                    <a:pt x="870" y="780"/>
                  </a:lnTo>
                  <a:lnTo>
                    <a:pt x="868" y="787"/>
                  </a:lnTo>
                  <a:lnTo>
                    <a:pt x="865" y="793"/>
                  </a:lnTo>
                  <a:lnTo>
                    <a:pt x="861" y="799"/>
                  </a:lnTo>
                  <a:lnTo>
                    <a:pt x="857" y="806"/>
                  </a:lnTo>
                  <a:lnTo>
                    <a:pt x="852" y="812"/>
                  </a:lnTo>
                  <a:lnTo>
                    <a:pt x="846" y="818"/>
                  </a:lnTo>
                  <a:lnTo>
                    <a:pt x="841" y="823"/>
                  </a:lnTo>
                  <a:lnTo>
                    <a:pt x="836" y="827"/>
                  </a:lnTo>
                  <a:lnTo>
                    <a:pt x="829" y="832"/>
                  </a:lnTo>
                  <a:lnTo>
                    <a:pt x="823" y="836"/>
                  </a:lnTo>
                  <a:lnTo>
                    <a:pt x="816" y="838"/>
                  </a:lnTo>
                  <a:lnTo>
                    <a:pt x="810" y="840"/>
                  </a:lnTo>
                  <a:lnTo>
                    <a:pt x="803" y="842"/>
                  </a:lnTo>
                  <a:lnTo>
                    <a:pt x="797" y="842"/>
                  </a:lnTo>
                  <a:lnTo>
                    <a:pt x="105" y="842"/>
                  </a:lnTo>
                  <a:lnTo>
                    <a:pt x="99" y="842"/>
                  </a:lnTo>
                  <a:lnTo>
                    <a:pt x="92" y="840"/>
                  </a:lnTo>
                  <a:lnTo>
                    <a:pt x="86" y="838"/>
                  </a:lnTo>
                  <a:lnTo>
                    <a:pt x="79" y="836"/>
                  </a:lnTo>
                  <a:lnTo>
                    <a:pt x="73" y="832"/>
                  </a:lnTo>
                  <a:lnTo>
                    <a:pt x="66" y="827"/>
                  </a:lnTo>
                  <a:lnTo>
                    <a:pt x="60" y="823"/>
                  </a:lnTo>
                  <a:lnTo>
                    <a:pt x="55" y="818"/>
                  </a:lnTo>
                  <a:lnTo>
                    <a:pt x="49" y="812"/>
                  </a:lnTo>
                  <a:lnTo>
                    <a:pt x="45" y="806"/>
                  </a:lnTo>
                  <a:lnTo>
                    <a:pt x="41" y="799"/>
                  </a:lnTo>
                  <a:lnTo>
                    <a:pt x="36" y="793"/>
                  </a:lnTo>
                  <a:lnTo>
                    <a:pt x="34" y="787"/>
                  </a:lnTo>
                  <a:lnTo>
                    <a:pt x="31" y="780"/>
                  </a:lnTo>
                  <a:lnTo>
                    <a:pt x="30" y="774"/>
                  </a:lnTo>
                  <a:lnTo>
                    <a:pt x="30" y="767"/>
                  </a:lnTo>
                  <a:lnTo>
                    <a:pt x="30" y="105"/>
                  </a:lnTo>
                  <a:lnTo>
                    <a:pt x="30" y="99"/>
                  </a:lnTo>
                  <a:lnTo>
                    <a:pt x="31" y="92"/>
                  </a:lnTo>
                  <a:lnTo>
                    <a:pt x="34" y="86"/>
                  </a:lnTo>
                  <a:lnTo>
                    <a:pt x="36" y="80"/>
                  </a:lnTo>
                  <a:lnTo>
                    <a:pt x="41" y="73"/>
                  </a:lnTo>
                  <a:lnTo>
                    <a:pt x="45" y="67"/>
                  </a:lnTo>
                  <a:lnTo>
                    <a:pt x="49" y="61"/>
                  </a:lnTo>
                  <a:lnTo>
                    <a:pt x="55" y="56"/>
                  </a:lnTo>
                  <a:lnTo>
                    <a:pt x="60" y="51"/>
                  </a:lnTo>
                  <a:lnTo>
                    <a:pt x="66" y="45"/>
                  </a:lnTo>
                  <a:lnTo>
                    <a:pt x="73" y="41"/>
                  </a:lnTo>
                  <a:lnTo>
                    <a:pt x="79" y="38"/>
                  </a:lnTo>
                  <a:lnTo>
                    <a:pt x="86" y="35"/>
                  </a:lnTo>
                  <a:lnTo>
                    <a:pt x="92" y="32"/>
                  </a:lnTo>
                  <a:lnTo>
                    <a:pt x="99" y="31"/>
                  </a:lnTo>
                  <a:lnTo>
                    <a:pt x="105" y="30"/>
                  </a:lnTo>
                  <a:lnTo>
                    <a:pt x="797" y="30"/>
                  </a:lnTo>
                  <a:lnTo>
                    <a:pt x="803" y="31"/>
                  </a:lnTo>
                  <a:lnTo>
                    <a:pt x="810" y="32"/>
                  </a:lnTo>
                  <a:lnTo>
                    <a:pt x="816" y="35"/>
                  </a:lnTo>
                  <a:lnTo>
                    <a:pt x="823" y="38"/>
                  </a:lnTo>
                  <a:lnTo>
                    <a:pt x="829" y="41"/>
                  </a:lnTo>
                  <a:lnTo>
                    <a:pt x="836" y="45"/>
                  </a:lnTo>
                  <a:lnTo>
                    <a:pt x="841" y="51"/>
                  </a:lnTo>
                  <a:lnTo>
                    <a:pt x="846" y="56"/>
                  </a:lnTo>
                  <a:lnTo>
                    <a:pt x="852" y="61"/>
                  </a:lnTo>
                  <a:lnTo>
                    <a:pt x="857" y="67"/>
                  </a:lnTo>
                  <a:lnTo>
                    <a:pt x="861" y="73"/>
                  </a:lnTo>
                  <a:lnTo>
                    <a:pt x="865" y="80"/>
                  </a:lnTo>
                  <a:lnTo>
                    <a:pt x="868" y="86"/>
                  </a:lnTo>
                  <a:lnTo>
                    <a:pt x="870" y="92"/>
                  </a:lnTo>
                  <a:lnTo>
                    <a:pt x="871" y="100"/>
                  </a:lnTo>
                  <a:lnTo>
                    <a:pt x="872" y="106"/>
                  </a:lnTo>
                  <a:lnTo>
                    <a:pt x="872" y="767"/>
                  </a:lnTo>
                  <a:close/>
                  <a:moveTo>
                    <a:pt x="797" y="0"/>
                  </a:moveTo>
                  <a:lnTo>
                    <a:pt x="105" y="0"/>
                  </a:lnTo>
                  <a:lnTo>
                    <a:pt x="95" y="1"/>
                  </a:lnTo>
                  <a:lnTo>
                    <a:pt x="86" y="3"/>
                  </a:lnTo>
                  <a:lnTo>
                    <a:pt x="76" y="6"/>
                  </a:lnTo>
                  <a:lnTo>
                    <a:pt x="68" y="10"/>
                  </a:lnTo>
                  <a:lnTo>
                    <a:pt x="58" y="15"/>
                  </a:lnTo>
                  <a:lnTo>
                    <a:pt x="49" y="21"/>
                  </a:lnTo>
                  <a:lnTo>
                    <a:pt x="42" y="27"/>
                  </a:lnTo>
                  <a:lnTo>
                    <a:pt x="33" y="35"/>
                  </a:lnTo>
                  <a:lnTo>
                    <a:pt x="27" y="42"/>
                  </a:lnTo>
                  <a:lnTo>
                    <a:pt x="19" y="51"/>
                  </a:lnTo>
                  <a:lnTo>
                    <a:pt x="14" y="59"/>
                  </a:lnTo>
                  <a:lnTo>
                    <a:pt x="9" y="68"/>
                  </a:lnTo>
                  <a:lnTo>
                    <a:pt x="5" y="77"/>
                  </a:lnTo>
                  <a:lnTo>
                    <a:pt x="2" y="87"/>
                  </a:lnTo>
                  <a:lnTo>
                    <a:pt x="0" y="97"/>
                  </a:lnTo>
                  <a:lnTo>
                    <a:pt x="0" y="106"/>
                  </a:lnTo>
                  <a:lnTo>
                    <a:pt x="0" y="767"/>
                  </a:lnTo>
                  <a:lnTo>
                    <a:pt x="0" y="776"/>
                  </a:lnTo>
                  <a:lnTo>
                    <a:pt x="2" y="784"/>
                  </a:lnTo>
                  <a:lnTo>
                    <a:pt x="4" y="793"/>
                  </a:lnTo>
                  <a:lnTo>
                    <a:pt x="8" y="802"/>
                  </a:lnTo>
                  <a:lnTo>
                    <a:pt x="12" y="809"/>
                  </a:lnTo>
                  <a:lnTo>
                    <a:pt x="16" y="818"/>
                  </a:lnTo>
                  <a:lnTo>
                    <a:pt x="21" y="825"/>
                  </a:lnTo>
                  <a:lnTo>
                    <a:pt x="28" y="833"/>
                  </a:lnTo>
                  <a:lnTo>
                    <a:pt x="34" y="839"/>
                  </a:lnTo>
                  <a:lnTo>
                    <a:pt x="42" y="845"/>
                  </a:lnTo>
                  <a:lnTo>
                    <a:pt x="49" y="852"/>
                  </a:lnTo>
                  <a:lnTo>
                    <a:pt x="57" y="857"/>
                  </a:lnTo>
                  <a:lnTo>
                    <a:pt x="64" y="862"/>
                  </a:lnTo>
                  <a:lnTo>
                    <a:pt x="73" y="866"/>
                  </a:lnTo>
                  <a:lnTo>
                    <a:pt x="81" y="869"/>
                  </a:lnTo>
                  <a:lnTo>
                    <a:pt x="90" y="871"/>
                  </a:lnTo>
                  <a:lnTo>
                    <a:pt x="90" y="887"/>
                  </a:lnTo>
                  <a:lnTo>
                    <a:pt x="90" y="890"/>
                  </a:lnTo>
                  <a:lnTo>
                    <a:pt x="91" y="894"/>
                  </a:lnTo>
                  <a:lnTo>
                    <a:pt x="92" y="896"/>
                  </a:lnTo>
                  <a:lnTo>
                    <a:pt x="94" y="898"/>
                  </a:lnTo>
                  <a:lnTo>
                    <a:pt x="96" y="900"/>
                  </a:lnTo>
                  <a:lnTo>
                    <a:pt x="99" y="901"/>
                  </a:lnTo>
                  <a:lnTo>
                    <a:pt x="102" y="902"/>
                  </a:lnTo>
                  <a:lnTo>
                    <a:pt x="105" y="902"/>
                  </a:lnTo>
                  <a:lnTo>
                    <a:pt x="108" y="902"/>
                  </a:lnTo>
                  <a:lnTo>
                    <a:pt x="110" y="901"/>
                  </a:lnTo>
                  <a:lnTo>
                    <a:pt x="114" y="900"/>
                  </a:lnTo>
                  <a:lnTo>
                    <a:pt x="116" y="898"/>
                  </a:lnTo>
                  <a:lnTo>
                    <a:pt x="118" y="896"/>
                  </a:lnTo>
                  <a:lnTo>
                    <a:pt x="119" y="894"/>
                  </a:lnTo>
                  <a:lnTo>
                    <a:pt x="120" y="890"/>
                  </a:lnTo>
                  <a:lnTo>
                    <a:pt x="120" y="887"/>
                  </a:lnTo>
                  <a:lnTo>
                    <a:pt x="120" y="872"/>
                  </a:lnTo>
                  <a:lnTo>
                    <a:pt x="782" y="872"/>
                  </a:lnTo>
                  <a:lnTo>
                    <a:pt x="782" y="887"/>
                  </a:lnTo>
                  <a:lnTo>
                    <a:pt x="782" y="890"/>
                  </a:lnTo>
                  <a:lnTo>
                    <a:pt x="783" y="894"/>
                  </a:lnTo>
                  <a:lnTo>
                    <a:pt x="784" y="896"/>
                  </a:lnTo>
                  <a:lnTo>
                    <a:pt x="786" y="898"/>
                  </a:lnTo>
                  <a:lnTo>
                    <a:pt x="788" y="900"/>
                  </a:lnTo>
                  <a:lnTo>
                    <a:pt x="791" y="901"/>
                  </a:lnTo>
                  <a:lnTo>
                    <a:pt x="794" y="902"/>
                  </a:lnTo>
                  <a:lnTo>
                    <a:pt x="797" y="902"/>
                  </a:lnTo>
                  <a:lnTo>
                    <a:pt x="799" y="902"/>
                  </a:lnTo>
                  <a:lnTo>
                    <a:pt x="802" y="901"/>
                  </a:lnTo>
                  <a:lnTo>
                    <a:pt x="805" y="900"/>
                  </a:lnTo>
                  <a:lnTo>
                    <a:pt x="807" y="898"/>
                  </a:lnTo>
                  <a:lnTo>
                    <a:pt x="809" y="896"/>
                  </a:lnTo>
                  <a:lnTo>
                    <a:pt x="810" y="894"/>
                  </a:lnTo>
                  <a:lnTo>
                    <a:pt x="811" y="890"/>
                  </a:lnTo>
                  <a:lnTo>
                    <a:pt x="812" y="887"/>
                  </a:lnTo>
                  <a:lnTo>
                    <a:pt x="812" y="871"/>
                  </a:lnTo>
                  <a:lnTo>
                    <a:pt x="821" y="869"/>
                  </a:lnTo>
                  <a:lnTo>
                    <a:pt x="828" y="866"/>
                  </a:lnTo>
                  <a:lnTo>
                    <a:pt x="837" y="862"/>
                  </a:lnTo>
                  <a:lnTo>
                    <a:pt x="845" y="857"/>
                  </a:lnTo>
                  <a:lnTo>
                    <a:pt x="853" y="852"/>
                  </a:lnTo>
                  <a:lnTo>
                    <a:pt x="860" y="845"/>
                  </a:lnTo>
                  <a:lnTo>
                    <a:pt x="867" y="839"/>
                  </a:lnTo>
                  <a:lnTo>
                    <a:pt x="874" y="833"/>
                  </a:lnTo>
                  <a:lnTo>
                    <a:pt x="880" y="825"/>
                  </a:lnTo>
                  <a:lnTo>
                    <a:pt x="885" y="818"/>
                  </a:lnTo>
                  <a:lnTo>
                    <a:pt x="890" y="809"/>
                  </a:lnTo>
                  <a:lnTo>
                    <a:pt x="895" y="802"/>
                  </a:lnTo>
                  <a:lnTo>
                    <a:pt x="898" y="793"/>
                  </a:lnTo>
                  <a:lnTo>
                    <a:pt x="900" y="784"/>
                  </a:lnTo>
                  <a:lnTo>
                    <a:pt x="901" y="776"/>
                  </a:lnTo>
                  <a:lnTo>
                    <a:pt x="902" y="767"/>
                  </a:lnTo>
                  <a:lnTo>
                    <a:pt x="902" y="105"/>
                  </a:lnTo>
                  <a:lnTo>
                    <a:pt x="901" y="97"/>
                  </a:lnTo>
                  <a:lnTo>
                    <a:pt x="900" y="87"/>
                  </a:lnTo>
                  <a:lnTo>
                    <a:pt x="897" y="77"/>
                  </a:lnTo>
                  <a:lnTo>
                    <a:pt x="892" y="68"/>
                  </a:lnTo>
                  <a:lnTo>
                    <a:pt x="887" y="59"/>
                  </a:lnTo>
                  <a:lnTo>
                    <a:pt x="882" y="51"/>
                  </a:lnTo>
                  <a:lnTo>
                    <a:pt x="875" y="42"/>
                  </a:lnTo>
                  <a:lnTo>
                    <a:pt x="868" y="35"/>
                  </a:lnTo>
                  <a:lnTo>
                    <a:pt x="860" y="27"/>
                  </a:lnTo>
                  <a:lnTo>
                    <a:pt x="852" y="21"/>
                  </a:lnTo>
                  <a:lnTo>
                    <a:pt x="843" y="15"/>
                  </a:lnTo>
                  <a:lnTo>
                    <a:pt x="835" y="10"/>
                  </a:lnTo>
                  <a:lnTo>
                    <a:pt x="825" y="6"/>
                  </a:lnTo>
                  <a:lnTo>
                    <a:pt x="815" y="3"/>
                  </a:lnTo>
                  <a:lnTo>
                    <a:pt x="806" y="1"/>
                  </a:lnTo>
                  <a:lnTo>
                    <a:pt x="7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250">
              <a:extLst>
                <a:ext uri="{FF2B5EF4-FFF2-40B4-BE49-F238E27FC236}">
                  <a16:creationId xmlns:a16="http://schemas.microsoft.com/office/drawing/2014/main" id="{0B7177F6-7B05-4916-9AA4-F1D9CF6A5D07}"/>
                </a:ext>
              </a:extLst>
            </p:cNvPr>
            <p:cNvSpPr>
              <a:spLocks noEditPoints="1"/>
            </p:cNvSpPr>
            <p:nvPr/>
          </p:nvSpPr>
          <p:spPr bwMode="auto">
            <a:xfrm>
              <a:off x="11056938" y="3109913"/>
              <a:ext cx="219075" cy="200025"/>
            </a:xfrm>
            <a:custGeom>
              <a:avLst/>
              <a:gdLst>
                <a:gd name="T0" fmla="*/ 659 w 692"/>
                <a:gd name="T1" fmla="*/ 562 h 632"/>
                <a:gd name="T2" fmla="*/ 649 w 692"/>
                <a:gd name="T3" fmla="*/ 582 h 632"/>
                <a:gd name="T4" fmla="*/ 631 w 692"/>
                <a:gd name="T5" fmla="*/ 596 h 632"/>
                <a:gd name="T6" fmla="*/ 608 w 692"/>
                <a:gd name="T7" fmla="*/ 602 h 632"/>
                <a:gd name="T8" fmla="*/ 107 w 692"/>
                <a:gd name="T9" fmla="*/ 601 h 632"/>
                <a:gd name="T10" fmla="*/ 85 w 692"/>
                <a:gd name="T11" fmla="*/ 593 h 632"/>
                <a:gd name="T12" fmla="*/ 70 w 692"/>
                <a:gd name="T13" fmla="*/ 578 h 632"/>
                <a:gd name="T14" fmla="*/ 61 w 692"/>
                <a:gd name="T15" fmla="*/ 555 h 632"/>
                <a:gd name="T16" fmla="*/ 75 w 692"/>
                <a:gd name="T17" fmla="*/ 512 h 632"/>
                <a:gd name="T18" fmla="*/ 86 w 692"/>
                <a:gd name="T19" fmla="*/ 508 h 632"/>
                <a:gd name="T20" fmla="*/ 90 w 692"/>
                <a:gd name="T21" fmla="*/ 497 h 632"/>
                <a:gd name="T22" fmla="*/ 88 w 692"/>
                <a:gd name="T23" fmla="*/ 369 h 632"/>
                <a:gd name="T24" fmla="*/ 78 w 692"/>
                <a:gd name="T25" fmla="*/ 362 h 632"/>
                <a:gd name="T26" fmla="*/ 75 w 692"/>
                <a:gd name="T27" fmla="*/ 271 h 632"/>
                <a:gd name="T28" fmla="*/ 86 w 692"/>
                <a:gd name="T29" fmla="*/ 267 h 632"/>
                <a:gd name="T30" fmla="*/ 90 w 692"/>
                <a:gd name="T31" fmla="*/ 256 h 632"/>
                <a:gd name="T32" fmla="*/ 88 w 692"/>
                <a:gd name="T33" fmla="*/ 128 h 632"/>
                <a:gd name="T34" fmla="*/ 78 w 692"/>
                <a:gd name="T35" fmla="*/ 121 h 632"/>
                <a:gd name="T36" fmla="*/ 60 w 692"/>
                <a:gd name="T37" fmla="*/ 84 h 632"/>
                <a:gd name="T38" fmla="*/ 66 w 692"/>
                <a:gd name="T39" fmla="*/ 61 h 632"/>
                <a:gd name="T40" fmla="*/ 80 w 692"/>
                <a:gd name="T41" fmla="*/ 43 h 632"/>
                <a:gd name="T42" fmla="*/ 101 w 692"/>
                <a:gd name="T43" fmla="*/ 33 h 632"/>
                <a:gd name="T44" fmla="*/ 601 w 692"/>
                <a:gd name="T45" fmla="*/ 31 h 632"/>
                <a:gd name="T46" fmla="*/ 626 w 692"/>
                <a:gd name="T47" fmla="*/ 36 h 632"/>
                <a:gd name="T48" fmla="*/ 645 w 692"/>
                <a:gd name="T49" fmla="*/ 47 h 632"/>
                <a:gd name="T50" fmla="*/ 657 w 692"/>
                <a:gd name="T51" fmla="*/ 67 h 632"/>
                <a:gd name="T52" fmla="*/ 661 w 692"/>
                <a:gd name="T53" fmla="*/ 91 h 632"/>
                <a:gd name="T54" fmla="*/ 60 w 692"/>
                <a:gd name="T55" fmla="*/ 482 h 632"/>
                <a:gd name="T56" fmla="*/ 60 w 692"/>
                <a:gd name="T57" fmla="*/ 151 h 632"/>
                <a:gd name="T58" fmla="*/ 601 w 692"/>
                <a:gd name="T59" fmla="*/ 0 h 632"/>
                <a:gd name="T60" fmla="*/ 92 w 692"/>
                <a:gd name="T61" fmla="*/ 5 h 632"/>
                <a:gd name="T62" fmla="*/ 61 w 692"/>
                <a:gd name="T63" fmla="*/ 21 h 632"/>
                <a:gd name="T64" fmla="*/ 41 w 692"/>
                <a:gd name="T65" fmla="*/ 46 h 632"/>
                <a:gd name="T66" fmla="*/ 30 w 692"/>
                <a:gd name="T67" fmla="*/ 82 h 632"/>
                <a:gd name="T68" fmla="*/ 12 w 692"/>
                <a:gd name="T69" fmla="*/ 121 h 632"/>
                <a:gd name="T70" fmla="*/ 2 w 692"/>
                <a:gd name="T71" fmla="*/ 128 h 632"/>
                <a:gd name="T72" fmla="*/ 0 w 692"/>
                <a:gd name="T73" fmla="*/ 256 h 632"/>
                <a:gd name="T74" fmla="*/ 4 w 692"/>
                <a:gd name="T75" fmla="*/ 267 h 632"/>
                <a:gd name="T76" fmla="*/ 15 w 692"/>
                <a:gd name="T77" fmla="*/ 271 h 632"/>
                <a:gd name="T78" fmla="*/ 12 w 692"/>
                <a:gd name="T79" fmla="*/ 362 h 632"/>
                <a:gd name="T80" fmla="*/ 2 w 692"/>
                <a:gd name="T81" fmla="*/ 369 h 632"/>
                <a:gd name="T82" fmla="*/ 0 w 692"/>
                <a:gd name="T83" fmla="*/ 497 h 632"/>
                <a:gd name="T84" fmla="*/ 4 w 692"/>
                <a:gd name="T85" fmla="*/ 508 h 632"/>
                <a:gd name="T86" fmla="*/ 15 w 692"/>
                <a:gd name="T87" fmla="*/ 512 h 632"/>
                <a:gd name="T88" fmla="*/ 32 w 692"/>
                <a:gd name="T89" fmla="*/ 562 h 632"/>
                <a:gd name="T90" fmla="*/ 45 w 692"/>
                <a:gd name="T91" fmla="*/ 594 h 632"/>
                <a:gd name="T92" fmla="*/ 69 w 692"/>
                <a:gd name="T93" fmla="*/ 617 h 632"/>
                <a:gd name="T94" fmla="*/ 101 w 692"/>
                <a:gd name="T95" fmla="*/ 630 h 632"/>
                <a:gd name="T96" fmla="*/ 611 w 692"/>
                <a:gd name="T97" fmla="*/ 632 h 632"/>
                <a:gd name="T98" fmla="*/ 646 w 692"/>
                <a:gd name="T99" fmla="*/ 622 h 632"/>
                <a:gd name="T100" fmla="*/ 672 w 692"/>
                <a:gd name="T101" fmla="*/ 601 h 632"/>
                <a:gd name="T102" fmla="*/ 688 w 692"/>
                <a:gd name="T103" fmla="*/ 570 h 632"/>
                <a:gd name="T104" fmla="*/ 692 w 692"/>
                <a:gd name="T105" fmla="*/ 91 h 632"/>
                <a:gd name="T106" fmla="*/ 685 w 692"/>
                <a:gd name="T107" fmla="*/ 55 h 632"/>
                <a:gd name="T108" fmla="*/ 666 w 692"/>
                <a:gd name="T109" fmla="*/ 26 h 632"/>
                <a:gd name="T110" fmla="*/ 637 w 692"/>
                <a:gd name="T111" fmla="*/ 8 h 632"/>
                <a:gd name="T112" fmla="*/ 601 w 692"/>
                <a:gd name="T113" fmla="*/ 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2" h="632">
                  <a:moveTo>
                    <a:pt x="661" y="542"/>
                  </a:moveTo>
                  <a:lnTo>
                    <a:pt x="661" y="549"/>
                  </a:lnTo>
                  <a:lnTo>
                    <a:pt x="660" y="555"/>
                  </a:lnTo>
                  <a:lnTo>
                    <a:pt x="659" y="562"/>
                  </a:lnTo>
                  <a:lnTo>
                    <a:pt x="657" y="567"/>
                  </a:lnTo>
                  <a:lnTo>
                    <a:pt x="655" y="572"/>
                  </a:lnTo>
                  <a:lnTo>
                    <a:pt x="652" y="577"/>
                  </a:lnTo>
                  <a:lnTo>
                    <a:pt x="649" y="582"/>
                  </a:lnTo>
                  <a:lnTo>
                    <a:pt x="645" y="586"/>
                  </a:lnTo>
                  <a:lnTo>
                    <a:pt x="641" y="589"/>
                  </a:lnTo>
                  <a:lnTo>
                    <a:pt x="636" y="593"/>
                  </a:lnTo>
                  <a:lnTo>
                    <a:pt x="631" y="596"/>
                  </a:lnTo>
                  <a:lnTo>
                    <a:pt x="626" y="598"/>
                  </a:lnTo>
                  <a:lnTo>
                    <a:pt x="620" y="600"/>
                  </a:lnTo>
                  <a:lnTo>
                    <a:pt x="614" y="601"/>
                  </a:lnTo>
                  <a:lnTo>
                    <a:pt x="608" y="602"/>
                  </a:lnTo>
                  <a:lnTo>
                    <a:pt x="601" y="602"/>
                  </a:lnTo>
                  <a:lnTo>
                    <a:pt x="120" y="602"/>
                  </a:lnTo>
                  <a:lnTo>
                    <a:pt x="114" y="602"/>
                  </a:lnTo>
                  <a:lnTo>
                    <a:pt x="107" y="601"/>
                  </a:lnTo>
                  <a:lnTo>
                    <a:pt x="101" y="600"/>
                  </a:lnTo>
                  <a:lnTo>
                    <a:pt x="95" y="598"/>
                  </a:lnTo>
                  <a:lnTo>
                    <a:pt x="90" y="596"/>
                  </a:lnTo>
                  <a:lnTo>
                    <a:pt x="85" y="593"/>
                  </a:lnTo>
                  <a:lnTo>
                    <a:pt x="80" y="589"/>
                  </a:lnTo>
                  <a:lnTo>
                    <a:pt x="76" y="586"/>
                  </a:lnTo>
                  <a:lnTo>
                    <a:pt x="73" y="582"/>
                  </a:lnTo>
                  <a:lnTo>
                    <a:pt x="70" y="578"/>
                  </a:lnTo>
                  <a:lnTo>
                    <a:pt x="66" y="572"/>
                  </a:lnTo>
                  <a:lnTo>
                    <a:pt x="64" y="567"/>
                  </a:lnTo>
                  <a:lnTo>
                    <a:pt x="62" y="562"/>
                  </a:lnTo>
                  <a:lnTo>
                    <a:pt x="61" y="555"/>
                  </a:lnTo>
                  <a:lnTo>
                    <a:pt x="60" y="549"/>
                  </a:lnTo>
                  <a:lnTo>
                    <a:pt x="60" y="542"/>
                  </a:lnTo>
                  <a:lnTo>
                    <a:pt x="60" y="512"/>
                  </a:lnTo>
                  <a:lnTo>
                    <a:pt x="75" y="512"/>
                  </a:lnTo>
                  <a:lnTo>
                    <a:pt x="78" y="511"/>
                  </a:lnTo>
                  <a:lnTo>
                    <a:pt x="81" y="511"/>
                  </a:lnTo>
                  <a:lnTo>
                    <a:pt x="84" y="509"/>
                  </a:lnTo>
                  <a:lnTo>
                    <a:pt x="86" y="508"/>
                  </a:lnTo>
                  <a:lnTo>
                    <a:pt x="88" y="506"/>
                  </a:lnTo>
                  <a:lnTo>
                    <a:pt x="89" y="503"/>
                  </a:lnTo>
                  <a:lnTo>
                    <a:pt x="90" y="501"/>
                  </a:lnTo>
                  <a:lnTo>
                    <a:pt x="90" y="497"/>
                  </a:lnTo>
                  <a:lnTo>
                    <a:pt x="90" y="376"/>
                  </a:lnTo>
                  <a:lnTo>
                    <a:pt x="90" y="374"/>
                  </a:lnTo>
                  <a:lnTo>
                    <a:pt x="89" y="371"/>
                  </a:lnTo>
                  <a:lnTo>
                    <a:pt x="88" y="369"/>
                  </a:lnTo>
                  <a:lnTo>
                    <a:pt x="86" y="366"/>
                  </a:lnTo>
                  <a:lnTo>
                    <a:pt x="84" y="364"/>
                  </a:lnTo>
                  <a:lnTo>
                    <a:pt x="81" y="362"/>
                  </a:lnTo>
                  <a:lnTo>
                    <a:pt x="78" y="362"/>
                  </a:lnTo>
                  <a:lnTo>
                    <a:pt x="75" y="361"/>
                  </a:lnTo>
                  <a:lnTo>
                    <a:pt x="60" y="361"/>
                  </a:lnTo>
                  <a:lnTo>
                    <a:pt x="60" y="271"/>
                  </a:lnTo>
                  <a:lnTo>
                    <a:pt x="75" y="271"/>
                  </a:lnTo>
                  <a:lnTo>
                    <a:pt x="78" y="271"/>
                  </a:lnTo>
                  <a:lnTo>
                    <a:pt x="81" y="270"/>
                  </a:lnTo>
                  <a:lnTo>
                    <a:pt x="84" y="269"/>
                  </a:lnTo>
                  <a:lnTo>
                    <a:pt x="86" y="267"/>
                  </a:lnTo>
                  <a:lnTo>
                    <a:pt x="88" y="265"/>
                  </a:lnTo>
                  <a:lnTo>
                    <a:pt x="89" y="263"/>
                  </a:lnTo>
                  <a:lnTo>
                    <a:pt x="90" y="259"/>
                  </a:lnTo>
                  <a:lnTo>
                    <a:pt x="90" y="256"/>
                  </a:lnTo>
                  <a:lnTo>
                    <a:pt x="90" y="136"/>
                  </a:lnTo>
                  <a:lnTo>
                    <a:pt x="90" y="133"/>
                  </a:lnTo>
                  <a:lnTo>
                    <a:pt x="89" y="130"/>
                  </a:lnTo>
                  <a:lnTo>
                    <a:pt x="88" y="128"/>
                  </a:lnTo>
                  <a:lnTo>
                    <a:pt x="86" y="126"/>
                  </a:lnTo>
                  <a:lnTo>
                    <a:pt x="84" y="123"/>
                  </a:lnTo>
                  <a:lnTo>
                    <a:pt x="81" y="122"/>
                  </a:lnTo>
                  <a:lnTo>
                    <a:pt x="78" y="121"/>
                  </a:lnTo>
                  <a:lnTo>
                    <a:pt x="75" y="121"/>
                  </a:lnTo>
                  <a:lnTo>
                    <a:pt x="60" y="121"/>
                  </a:lnTo>
                  <a:lnTo>
                    <a:pt x="60" y="91"/>
                  </a:lnTo>
                  <a:lnTo>
                    <a:pt x="60" y="84"/>
                  </a:lnTo>
                  <a:lnTo>
                    <a:pt x="61" y="77"/>
                  </a:lnTo>
                  <a:lnTo>
                    <a:pt x="62" y="72"/>
                  </a:lnTo>
                  <a:lnTo>
                    <a:pt x="64" y="67"/>
                  </a:lnTo>
                  <a:lnTo>
                    <a:pt x="66" y="61"/>
                  </a:lnTo>
                  <a:lnTo>
                    <a:pt x="70" y="56"/>
                  </a:lnTo>
                  <a:lnTo>
                    <a:pt x="73" y="52"/>
                  </a:lnTo>
                  <a:lnTo>
                    <a:pt x="76" y="47"/>
                  </a:lnTo>
                  <a:lnTo>
                    <a:pt x="80" y="43"/>
                  </a:lnTo>
                  <a:lnTo>
                    <a:pt x="85" y="40"/>
                  </a:lnTo>
                  <a:lnTo>
                    <a:pt x="90" y="38"/>
                  </a:lnTo>
                  <a:lnTo>
                    <a:pt x="95" y="36"/>
                  </a:lnTo>
                  <a:lnTo>
                    <a:pt x="101" y="33"/>
                  </a:lnTo>
                  <a:lnTo>
                    <a:pt x="107" y="32"/>
                  </a:lnTo>
                  <a:lnTo>
                    <a:pt x="114" y="31"/>
                  </a:lnTo>
                  <a:lnTo>
                    <a:pt x="120" y="31"/>
                  </a:lnTo>
                  <a:lnTo>
                    <a:pt x="601" y="31"/>
                  </a:lnTo>
                  <a:lnTo>
                    <a:pt x="608" y="31"/>
                  </a:lnTo>
                  <a:lnTo>
                    <a:pt x="615" y="32"/>
                  </a:lnTo>
                  <a:lnTo>
                    <a:pt x="620" y="33"/>
                  </a:lnTo>
                  <a:lnTo>
                    <a:pt x="626" y="36"/>
                  </a:lnTo>
                  <a:lnTo>
                    <a:pt x="631" y="38"/>
                  </a:lnTo>
                  <a:lnTo>
                    <a:pt x="636" y="40"/>
                  </a:lnTo>
                  <a:lnTo>
                    <a:pt x="641" y="43"/>
                  </a:lnTo>
                  <a:lnTo>
                    <a:pt x="645" y="47"/>
                  </a:lnTo>
                  <a:lnTo>
                    <a:pt x="649" y="52"/>
                  </a:lnTo>
                  <a:lnTo>
                    <a:pt x="652" y="56"/>
                  </a:lnTo>
                  <a:lnTo>
                    <a:pt x="655" y="61"/>
                  </a:lnTo>
                  <a:lnTo>
                    <a:pt x="657" y="67"/>
                  </a:lnTo>
                  <a:lnTo>
                    <a:pt x="659" y="72"/>
                  </a:lnTo>
                  <a:lnTo>
                    <a:pt x="660" y="78"/>
                  </a:lnTo>
                  <a:lnTo>
                    <a:pt x="661" y="85"/>
                  </a:lnTo>
                  <a:lnTo>
                    <a:pt x="661" y="91"/>
                  </a:lnTo>
                  <a:lnTo>
                    <a:pt x="661" y="542"/>
                  </a:lnTo>
                  <a:close/>
                  <a:moveTo>
                    <a:pt x="30" y="391"/>
                  </a:moveTo>
                  <a:lnTo>
                    <a:pt x="60" y="391"/>
                  </a:lnTo>
                  <a:lnTo>
                    <a:pt x="60" y="482"/>
                  </a:lnTo>
                  <a:lnTo>
                    <a:pt x="30" y="482"/>
                  </a:lnTo>
                  <a:lnTo>
                    <a:pt x="30" y="391"/>
                  </a:lnTo>
                  <a:close/>
                  <a:moveTo>
                    <a:pt x="30" y="151"/>
                  </a:moveTo>
                  <a:lnTo>
                    <a:pt x="60" y="151"/>
                  </a:lnTo>
                  <a:lnTo>
                    <a:pt x="60" y="241"/>
                  </a:lnTo>
                  <a:lnTo>
                    <a:pt x="30" y="241"/>
                  </a:lnTo>
                  <a:lnTo>
                    <a:pt x="30" y="151"/>
                  </a:lnTo>
                  <a:close/>
                  <a:moveTo>
                    <a:pt x="601" y="0"/>
                  </a:moveTo>
                  <a:lnTo>
                    <a:pt x="120" y="0"/>
                  </a:lnTo>
                  <a:lnTo>
                    <a:pt x="110" y="1"/>
                  </a:lnTo>
                  <a:lnTo>
                    <a:pt x="101" y="2"/>
                  </a:lnTo>
                  <a:lnTo>
                    <a:pt x="92" y="5"/>
                  </a:lnTo>
                  <a:lnTo>
                    <a:pt x="84" y="8"/>
                  </a:lnTo>
                  <a:lnTo>
                    <a:pt x="76" y="11"/>
                  </a:lnTo>
                  <a:lnTo>
                    <a:pt x="69" y="15"/>
                  </a:lnTo>
                  <a:lnTo>
                    <a:pt x="61" y="21"/>
                  </a:lnTo>
                  <a:lnTo>
                    <a:pt x="55" y="26"/>
                  </a:lnTo>
                  <a:lnTo>
                    <a:pt x="49" y="32"/>
                  </a:lnTo>
                  <a:lnTo>
                    <a:pt x="45" y="39"/>
                  </a:lnTo>
                  <a:lnTo>
                    <a:pt x="41" y="46"/>
                  </a:lnTo>
                  <a:lnTo>
                    <a:pt x="36" y="55"/>
                  </a:lnTo>
                  <a:lnTo>
                    <a:pt x="33" y="63"/>
                  </a:lnTo>
                  <a:lnTo>
                    <a:pt x="32" y="72"/>
                  </a:lnTo>
                  <a:lnTo>
                    <a:pt x="30" y="82"/>
                  </a:lnTo>
                  <a:lnTo>
                    <a:pt x="30" y="91"/>
                  </a:lnTo>
                  <a:lnTo>
                    <a:pt x="30" y="121"/>
                  </a:lnTo>
                  <a:lnTo>
                    <a:pt x="15" y="121"/>
                  </a:lnTo>
                  <a:lnTo>
                    <a:pt x="12" y="121"/>
                  </a:lnTo>
                  <a:lnTo>
                    <a:pt x="9" y="122"/>
                  </a:lnTo>
                  <a:lnTo>
                    <a:pt x="6" y="123"/>
                  </a:lnTo>
                  <a:lnTo>
                    <a:pt x="4" y="126"/>
                  </a:lnTo>
                  <a:lnTo>
                    <a:pt x="2" y="128"/>
                  </a:lnTo>
                  <a:lnTo>
                    <a:pt x="1" y="130"/>
                  </a:lnTo>
                  <a:lnTo>
                    <a:pt x="0" y="133"/>
                  </a:lnTo>
                  <a:lnTo>
                    <a:pt x="0" y="136"/>
                  </a:lnTo>
                  <a:lnTo>
                    <a:pt x="0" y="256"/>
                  </a:lnTo>
                  <a:lnTo>
                    <a:pt x="0" y="259"/>
                  </a:lnTo>
                  <a:lnTo>
                    <a:pt x="1" y="263"/>
                  </a:lnTo>
                  <a:lnTo>
                    <a:pt x="2" y="265"/>
                  </a:lnTo>
                  <a:lnTo>
                    <a:pt x="4" y="267"/>
                  </a:lnTo>
                  <a:lnTo>
                    <a:pt x="6" y="269"/>
                  </a:lnTo>
                  <a:lnTo>
                    <a:pt x="9" y="270"/>
                  </a:lnTo>
                  <a:lnTo>
                    <a:pt x="12" y="271"/>
                  </a:lnTo>
                  <a:lnTo>
                    <a:pt x="15" y="271"/>
                  </a:lnTo>
                  <a:lnTo>
                    <a:pt x="30" y="271"/>
                  </a:lnTo>
                  <a:lnTo>
                    <a:pt x="30" y="361"/>
                  </a:lnTo>
                  <a:lnTo>
                    <a:pt x="15" y="361"/>
                  </a:lnTo>
                  <a:lnTo>
                    <a:pt x="12" y="362"/>
                  </a:lnTo>
                  <a:lnTo>
                    <a:pt x="9" y="362"/>
                  </a:lnTo>
                  <a:lnTo>
                    <a:pt x="6" y="364"/>
                  </a:lnTo>
                  <a:lnTo>
                    <a:pt x="4" y="366"/>
                  </a:lnTo>
                  <a:lnTo>
                    <a:pt x="2" y="369"/>
                  </a:lnTo>
                  <a:lnTo>
                    <a:pt x="1" y="371"/>
                  </a:lnTo>
                  <a:lnTo>
                    <a:pt x="0" y="374"/>
                  </a:lnTo>
                  <a:lnTo>
                    <a:pt x="0" y="376"/>
                  </a:lnTo>
                  <a:lnTo>
                    <a:pt x="0" y="497"/>
                  </a:lnTo>
                  <a:lnTo>
                    <a:pt x="0" y="499"/>
                  </a:lnTo>
                  <a:lnTo>
                    <a:pt x="1" y="503"/>
                  </a:lnTo>
                  <a:lnTo>
                    <a:pt x="2" y="505"/>
                  </a:lnTo>
                  <a:lnTo>
                    <a:pt x="4" y="508"/>
                  </a:lnTo>
                  <a:lnTo>
                    <a:pt x="6" y="509"/>
                  </a:lnTo>
                  <a:lnTo>
                    <a:pt x="9" y="511"/>
                  </a:lnTo>
                  <a:lnTo>
                    <a:pt x="12" y="511"/>
                  </a:lnTo>
                  <a:lnTo>
                    <a:pt x="15" y="512"/>
                  </a:lnTo>
                  <a:lnTo>
                    <a:pt x="30" y="512"/>
                  </a:lnTo>
                  <a:lnTo>
                    <a:pt x="30" y="542"/>
                  </a:lnTo>
                  <a:lnTo>
                    <a:pt x="30" y="552"/>
                  </a:lnTo>
                  <a:lnTo>
                    <a:pt x="32" y="562"/>
                  </a:lnTo>
                  <a:lnTo>
                    <a:pt x="34" y="570"/>
                  </a:lnTo>
                  <a:lnTo>
                    <a:pt x="36" y="579"/>
                  </a:lnTo>
                  <a:lnTo>
                    <a:pt x="41" y="586"/>
                  </a:lnTo>
                  <a:lnTo>
                    <a:pt x="45" y="594"/>
                  </a:lnTo>
                  <a:lnTo>
                    <a:pt x="49" y="601"/>
                  </a:lnTo>
                  <a:lnTo>
                    <a:pt x="55" y="607"/>
                  </a:lnTo>
                  <a:lnTo>
                    <a:pt x="61" y="613"/>
                  </a:lnTo>
                  <a:lnTo>
                    <a:pt x="69" y="617"/>
                  </a:lnTo>
                  <a:lnTo>
                    <a:pt x="76" y="622"/>
                  </a:lnTo>
                  <a:lnTo>
                    <a:pt x="84" y="626"/>
                  </a:lnTo>
                  <a:lnTo>
                    <a:pt x="92" y="628"/>
                  </a:lnTo>
                  <a:lnTo>
                    <a:pt x="101" y="630"/>
                  </a:lnTo>
                  <a:lnTo>
                    <a:pt x="110" y="632"/>
                  </a:lnTo>
                  <a:lnTo>
                    <a:pt x="120" y="632"/>
                  </a:lnTo>
                  <a:lnTo>
                    <a:pt x="601" y="632"/>
                  </a:lnTo>
                  <a:lnTo>
                    <a:pt x="611" y="632"/>
                  </a:lnTo>
                  <a:lnTo>
                    <a:pt x="620" y="630"/>
                  </a:lnTo>
                  <a:lnTo>
                    <a:pt x="629" y="628"/>
                  </a:lnTo>
                  <a:lnTo>
                    <a:pt x="637" y="626"/>
                  </a:lnTo>
                  <a:lnTo>
                    <a:pt x="646" y="622"/>
                  </a:lnTo>
                  <a:lnTo>
                    <a:pt x="653" y="617"/>
                  </a:lnTo>
                  <a:lnTo>
                    <a:pt x="660" y="613"/>
                  </a:lnTo>
                  <a:lnTo>
                    <a:pt x="666" y="607"/>
                  </a:lnTo>
                  <a:lnTo>
                    <a:pt x="672" y="601"/>
                  </a:lnTo>
                  <a:lnTo>
                    <a:pt x="677" y="594"/>
                  </a:lnTo>
                  <a:lnTo>
                    <a:pt x="681" y="586"/>
                  </a:lnTo>
                  <a:lnTo>
                    <a:pt x="685" y="579"/>
                  </a:lnTo>
                  <a:lnTo>
                    <a:pt x="688" y="570"/>
                  </a:lnTo>
                  <a:lnTo>
                    <a:pt x="690" y="562"/>
                  </a:lnTo>
                  <a:lnTo>
                    <a:pt x="691" y="552"/>
                  </a:lnTo>
                  <a:lnTo>
                    <a:pt x="692" y="542"/>
                  </a:lnTo>
                  <a:lnTo>
                    <a:pt x="692" y="91"/>
                  </a:lnTo>
                  <a:lnTo>
                    <a:pt x="691" y="82"/>
                  </a:lnTo>
                  <a:lnTo>
                    <a:pt x="690" y="72"/>
                  </a:lnTo>
                  <a:lnTo>
                    <a:pt x="688" y="63"/>
                  </a:lnTo>
                  <a:lnTo>
                    <a:pt x="685" y="55"/>
                  </a:lnTo>
                  <a:lnTo>
                    <a:pt x="681" y="46"/>
                  </a:lnTo>
                  <a:lnTo>
                    <a:pt x="677" y="39"/>
                  </a:lnTo>
                  <a:lnTo>
                    <a:pt x="672" y="32"/>
                  </a:lnTo>
                  <a:lnTo>
                    <a:pt x="666" y="26"/>
                  </a:lnTo>
                  <a:lnTo>
                    <a:pt x="660" y="21"/>
                  </a:lnTo>
                  <a:lnTo>
                    <a:pt x="653" y="15"/>
                  </a:lnTo>
                  <a:lnTo>
                    <a:pt x="646" y="11"/>
                  </a:lnTo>
                  <a:lnTo>
                    <a:pt x="637" y="8"/>
                  </a:lnTo>
                  <a:lnTo>
                    <a:pt x="629" y="5"/>
                  </a:lnTo>
                  <a:lnTo>
                    <a:pt x="620" y="2"/>
                  </a:lnTo>
                  <a:lnTo>
                    <a:pt x="611" y="1"/>
                  </a:lnTo>
                  <a:lnTo>
                    <a:pt x="601" y="1"/>
                  </a:lnTo>
                  <a:lnTo>
                    <a:pt x="6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251">
              <a:extLst>
                <a:ext uri="{FF2B5EF4-FFF2-40B4-BE49-F238E27FC236}">
                  <a16:creationId xmlns:a16="http://schemas.microsoft.com/office/drawing/2014/main" id="{5E08FF07-204C-45AB-84E5-3FDD9DFEC33A}"/>
                </a:ext>
              </a:extLst>
            </p:cNvPr>
            <p:cNvSpPr>
              <a:spLocks noEditPoints="1"/>
            </p:cNvSpPr>
            <p:nvPr/>
          </p:nvSpPr>
          <p:spPr bwMode="auto">
            <a:xfrm>
              <a:off x="11114088" y="3148013"/>
              <a:ext cx="123825" cy="123825"/>
            </a:xfrm>
            <a:custGeom>
              <a:avLst/>
              <a:gdLst>
                <a:gd name="T0" fmla="*/ 280 w 391"/>
                <a:gd name="T1" fmla="*/ 133 h 391"/>
                <a:gd name="T2" fmla="*/ 348 w 391"/>
                <a:gd name="T3" fmla="*/ 132 h 391"/>
                <a:gd name="T4" fmla="*/ 300 w 391"/>
                <a:gd name="T5" fmla="*/ 180 h 391"/>
                <a:gd name="T6" fmla="*/ 258 w 391"/>
                <a:gd name="T7" fmla="*/ 280 h 391"/>
                <a:gd name="T8" fmla="*/ 259 w 391"/>
                <a:gd name="T9" fmla="*/ 348 h 391"/>
                <a:gd name="T10" fmla="*/ 211 w 391"/>
                <a:gd name="T11" fmla="*/ 299 h 391"/>
                <a:gd name="T12" fmla="*/ 181 w 391"/>
                <a:gd name="T13" fmla="*/ 299 h 391"/>
                <a:gd name="T14" fmla="*/ 132 w 391"/>
                <a:gd name="T15" fmla="*/ 348 h 391"/>
                <a:gd name="T16" fmla="*/ 133 w 391"/>
                <a:gd name="T17" fmla="*/ 280 h 391"/>
                <a:gd name="T18" fmla="*/ 133 w 391"/>
                <a:gd name="T19" fmla="*/ 112 h 391"/>
                <a:gd name="T20" fmla="*/ 132 w 391"/>
                <a:gd name="T21" fmla="*/ 43 h 391"/>
                <a:gd name="T22" fmla="*/ 181 w 391"/>
                <a:gd name="T23" fmla="*/ 91 h 391"/>
                <a:gd name="T24" fmla="*/ 211 w 391"/>
                <a:gd name="T25" fmla="*/ 91 h 391"/>
                <a:gd name="T26" fmla="*/ 259 w 391"/>
                <a:gd name="T27" fmla="*/ 43 h 391"/>
                <a:gd name="T28" fmla="*/ 258 w 391"/>
                <a:gd name="T29" fmla="*/ 112 h 391"/>
                <a:gd name="T30" fmla="*/ 166 w 391"/>
                <a:gd name="T31" fmla="*/ 265 h 391"/>
                <a:gd name="T32" fmla="*/ 138 w 391"/>
                <a:gd name="T33" fmla="*/ 243 h 391"/>
                <a:gd name="T34" fmla="*/ 122 w 391"/>
                <a:gd name="T35" fmla="*/ 210 h 391"/>
                <a:gd name="T36" fmla="*/ 124 w 391"/>
                <a:gd name="T37" fmla="*/ 173 h 391"/>
                <a:gd name="T38" fmla="*/ 142 w 391"/>
                <a:gd name="T39" fmla="*/ 143 h 391"/>
                <a:gd name="T40" fmla="*/ 174 w 391"/>
                <a:gd name="T41" fmla="*/ 123 h 391"/>
                <a:gd name="T42" fmla="*/ 211 w 391"/>
                <a:gd name="T43" fmla="*/ 122 h 391"/>
                <a:gd name="T44" fmla="*/ 243 w 391"/>
                <a:gd name="T45" fmla="*/ 137 h 391"/>
                <a:gd name="T46" fmla="*/ 265 w 391"/>
                <a:gd name="T47" fmla="*/ 166 h 391"/>
                <a:gd name="T48" fmla="*/ 271 w 391"/>
                <a:gd name="T49" fmla="*/ 203 h 391"/>
                <a:gd name="T50" fmla="*/ 258 w 391"/>
                <a:gd name="T51" fmla="*/ 237 h 391"/>
                <a:gd name="T52" fmla="*/ 231 w 391"/>
                <a:gd name="T53" fmla="*/ 262 h 391"/>
                <a:gd name="T54" fmla="*/ 196 w 391"/>
                <a:gd name="T55" fmla="*/ 270 h 391"/>
                <a:gd name="T56" fmla="*/ 99 w 391"/>
                <a:gd name="T57" fmla="*/ 155 h 391"/>
                <a:gd name="T58" fmla="*/ 35 w 391"/>
                <a:gd name="T59" fmla="*/ 156 h 391"/>
                <a:gd name="T60" fmla="*/ 61 w 391"/>
                <a:gd name="T61" fmla="*/ 100 h 391"/>
                <a:gd name="T62" fmla="*/ 94 w 391"/>
                <a:gd name="T63" fmla="*/ 223 h 391"/>
                <a:gd name="T64" fmla="*/ 61 w 391"/>
                <a:gd name="T65" fmla="*/ 292 h 391"/>
                <a:gd name="T66" fmla="*/ 35 w 391"/>
                <a:gd name="T67" fmla="*/ 236 h 391"/>
                <a:gd name="T68" fmla="*/ 287 w 391"/>
                <a:gd name="T69" fmla="*/ 248 h 391"/>
                <a:gd name="T70" fmla="*/ 359 w 391"/>
                <a:gd name="T71" fmla="*/ 223 h 391"/>
                <a:gd name="T72" fmla="*/ 337 w 391"/>
                <a:gd name="T73" fmla="*/ 281 h 391"/>
                <a:gd name="T74" fmla="*/ 390 w 391"/>
                <a:gd name="T75" fmla="*/ 176 h 391"/>
                <a:gd name="T76" fmla="*/ 358 w 391"/>
                <a:gd name="T77" fmla="*/ 87 h 391"/>
                <a:gd name="T78" fmla="*/ 334 w 391"/>
                <a:gd name="T79" fmla="*/ 57 h 391"/>
                <a:gd name="T80" fmla="*/ 271 w 391"/>
                <a:gd name="T81" fmla="*/ 15 h 391"/>
                <a:gd name="T82" fmla="*/ 176 w 391"/>
                <a:gd name="T83" fmla="*/ 1 h 391"/>
                <a:gd name="T84" fmla="*/ 87 w 391"/>
                <a:gd name="T85" fmla="*/ 34 h 391"/>
                <a:gd name="T86" fmla="*/ 58 w 391"/>
                <a:gd name="T87" fmla="*/ 58 h 391"/>
                <a:gd name="T88" fmla="*/ 16 w 391"/>
                <a:gd name="T89" fmla="*/ 120 h 391"/>
                <a:gd name="T90" fmla="*/ 1 w 391"/>
                <a:gd name="T91" fmla="*/ 216 h 391"/>
                <a:gd name="T92" fmla="*/ 33 w 391"/>
                <a:gd name="T93" fmla="*/ 305 h 391"/>
                <a:gd name="T94" fmla="*/ 58 w 391"/>
                <a:gd name="T95" fmla="*/ 333 h 391"/>
                <a:gd name="T96" fmla="*/ 120 w 391"/>
                <a:gd name="T97" fmla="*/ 375 h 391"/>
                <a:gd name="T98" fmla="*/ 196 w 391"/>
                <a:gd name="T99" fmla="*/ 391 h 391"/>
                <a:gd name="T100" fmla="*/ 235 w 391"/>
                <a:gd name="T101" fmla="*/ 387 h 391"/>
                <a:gd name="T102" fmla="*/ 319 w 391"/>
                <a:gd name="T103" fmla="*/ 346 h 391"/>
                <a:gd name="T104" fmla="*/ 334 w 391"/>
                <a:gd name="T105" fmla="*/ 333 h 391"/>
                <a:gd name="T106" fmla="*/ 382 w 391"/>
                <a:gd name="T107" fmla="*/ 25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1" h="391">
                  <a:moveTo>
                    <a:pt x="300" y="180"/>
                  </a:moveTo>
                  <a:lnTo>
                    <a:pt x="297" y="167"/>
                  </a:lnTo>
                  <a:lnTo>
                    <a:pt x="292" y="155"/>
                  </a:lnTo>
                  <a:lnTo>
                    <a:pt x="287" y="144"/>
                  </a:lnTo>
                  <a:lnTo>
                    <a:pt x="280" y="133"/>
                  </a:lnTo>
                  <a:lnTo>
                    <a:pt x="322" y="89"/>
                  </a:lnTo>
                  <a:lnTo>
                    <a:pt x="330" y="100"/>
                  </a:lnTo>
                  <a:lnTo>
                    <a:pt x="337" y="110"/>
                  </a:lnTo>
                  <a:lnTo>
                    <a:pt x="343" y="120"/>
                  </a:lnTo>
                  <a:lnTo>
                    <a:pt x="348" y="132"/>
                  </a:lnTo>
                  <a:lnTo>
                    <a:pt x="352" y="143"/>
                  </a:lnTo>
                  <a:lnTo>
                    <a:pt x="356" y="156"/>
                  </a:lnTo>
                  <a:lnTo>
                    <a:pt x="359" y="167"/>
                  </a:lnTo>
                  <a:lnTo>
                    <a:pt x="360" y="180"/>
                  </a:lnTo>
                  <a:lnTo>
                    <a:pt x="300" y="180"/>
                  </a:lnTo>
                  <a:close/>
                  <a:moveTo>
                    <a:pt x="211" y="299"/>
                  </a:moveTo>
                  <a:lnTo>
                    <a:pt x="224" y="297"/>
                  </a:lnTo>
                  <a:lnTo>
                    <a:pt x="237" y="293"/>
                  </a:lnTo>
                  <a:lnTo>
                    <a:pt x="247" y="286"/>
                  </a:lnTo>
                  <a:lnTo>
                    <a:pt x="258" y="280"/>
                  </a:lnTo>
                  <a:lnTo>
                    <a:pt x="301" y="323"/>
                  </a:lnTo>
                  <a:lnTo>
                    <a:pt x="291" y="330"/>
                  </a:lnTo>
                  <a:lnTo>
                    <a:pt x="282" y="337"/>
                  </a:lnTo>
                  <a:lnTo>
                    <a:pt x="271" y="343"/>
                  </a:lnTo>
                  <a:lnTo>
                    <a:pt x="259" y="348"/>
                  </a:lnTo>
                  <a:lnTo>
                    <a:pt x="249" y="353"/>
                  </a:lnTo>
                  <a:lnTo>
                    <a:pt x="236" y="356"/>
                  </a:lnTo>
                  <a:lnTo>
                    <a:pt x="224" y="358"/>
                  </a:lnTo>
                  <a:lnTo>
                    <a:pt x="211" y="360"/>
                  </a:lnTo>
                  <a:lnTo>
                    <a:pt x="211" y="299"/>
                  </a:lnTo>
                  <a:close/>
                  <a:moveTo>
                    <a:pt x="133" y="280"/>
                  </a:moveTo>
                  <a:lnTo>
                    <a:pt x="144" y="286"/>
                  </a:lnTo>
                  <a:lnTo>
                    <a:pt x="155" y="293"/>
                  </a:lnTo>
                  <a:lnTo>
                    <a:pt x="168" y="297"/>
                  </a:lnTo>
                  <a:lnTo>
                    <a:pt x="181" y="299"/>
                  </a:lnTo>
                  <a:lnTo>
                    <a:pt x="181" y="360"/>
                  </a:lnTo>
                  <a:lnTo>
                    <a:pt x="168" y="358"/>
                  </a:lnTo>
                  <a:lnTo>
                    <a:pt x="155" y="356"/>
                  </a:lnTo>
                  <a:lnTo>
                    <a:pt x="144" y="353"/>
                  </a:lnTo>
                  <a:lnTo>
                    <a:pt x="132" y="348"/>
                  </a:lnTo>
                  <a:lnTo>
                    <a:pt x="121" y="343"/>
                  </a:lnTo>
                  <a:lnTo>
                    <a:pt x="110" y="337"/>
                  </a:lnTo>
                  <a:lnTo>
                    <a:pt x="100" y="330"/>
                  </a:lnTo>
                  <a:lnTo>
                    <a:pt x="90" y="323"/>
                  </a:lnTo>
                  <a:lnTo>
                    <a:pt x="133" y="280"/>
                  </a:lnTo>
                  <a:close/>
                  <a:moveTo>
                    <a:pt x="181" y="91"/>
                  </a:moveTo>
                  <a:lnTo>
                    <a:pt x="168" y="95"/>
                  </a:lnTo>
                  <a:lnTo>
                    <a:pt x="155" y="99"/>
                  </a:lnTo>
                  <a:lnTo>
                    <a:pt x="144" y="104"/>
                  </a:lnTo>
                  <a:lnTo>
                    <a:pt x="133" y="112"/>
                  </a:lnTo>
                  <a:lnTo>
                    <a:pt x="90" y="69"/>
                  </a:lnTo>
                  <a:lnTo>
                    <a:pt x="100" y="61"/>
                  </a:lnTo>
                  <a:lnTo>
                    <a:pt x="110" y="54"/>
                  </a:lnTo>
                  <a:lnTo>
                    <a:pt x="121" y="49"/>
                  </a:lnTo>
                  <a:lnTo>
                    <a:pt x="132" y="43"/>
                  </a:lnTo>
                  <a:lnTo>
                    <a:pt x="144" y="39"/>
                  </a:lnTo>
                  <a:lnTo>
                    <a:pt x="155" y="36"/>
                  </a:lnTo>
                  <a:lnTo>
                    <a:pt x="168" y="32"/>
                  </a:lnTo>
                  <a:lnTo>
                    <a:pt x="181" y="31"/>
                  </a:lnTo>
                  <a:lnTo>
                    <a:pt x="181" y="91"/>
                  </a:lnTo>
                  <a:close/>
                  <a:moveTo>
                    <a:pt x="258" y="112"/>
                  </a:moveTo>
                  <a:lnTo>
                    <a:pt x="247" y="104"/>
                  </a:lnTo>
                  <a:lnTo>
                    <a:pt x="237" y="99"/>
                  </a:lnTo>
                  <a:lnTo>
                    <a:pt x="224" y="95"/>
                  </a:lnTo>
                  <a:lnTo>
                    <a:pt x="211" y="91"/>
                  </a:lnTo>
                  <a:lnTo>
                    <a:pt x="211" y="31"/>
                  </a:lnTo>
                  <a:lnTo>
                    <a:pt x="224" y="32"/>
                  </a:lnTo>
                  <a:lnTo>
                    <a:pt x="236" y="36"/>
                  </a:lnTo>
                  <a:lnTo>
                    <a:pt x="249" y="39"/>
                  </a:lnTo>
                  <a:lnTo>
                    <a:pt x="259" y="43"/>
                  </a:lnTo>
                  <a:lnTo>
                    <a:pt x="271" y="49"/>
                  </a:lnTo>
                  <a:lnTo>
                    <a:pt x="282" y="54"/>
                  </a:lnTo>
                  <a:lnTo>
                    <a:pt x="291" y="61"/>
                  </a:lnTo>
                  <a:lnTo>
                    <a:pt x="301" y="69"/>
                  </a:lnTo>
                  <a:lnTo>
                    <a:pt x="258" y="112"/>
                  </a:lnTo>
                  <a:close/>
                  <a:moveTo>
                    <a:pt x="196" y="270"/>
                  </a:moveTo>
                  <a:lnTo>
                    <a:pt x="189" y="270"/>
                  </a:lnTo>
                  <a:lnTo>
                    <a:pt x="181" y="269"/>
                  </a:lnTo>
                  <a:lnTo>
                    <a:pt x="174" y="267"/>
                  </a:lnTo>
                  <a:lnTo>
                    <a:pt x="166" y="265"/>
                  </a:lnTo>
                  <a:lnTo>
                    <a:pt x="160" y="262"/>
                  </a:lnTo>
                  <a:lnTo>
                    <a:pt x="154" y="257"/>
                  </a:lnTo>
                  <a:lnTo>
                    <a:pt x="148" y="253"/>
                  </a:lnTo>
                  <a:lnTo>
                    <a:pt x="142" y="249"/>
                  </a:lnTo>
                  <a:lnTo>
                    <a:pt x="138" y="243"/>
                  </a:lnTo>
                  <a:lnTo>
                    <a:pt x="134" y="237"/>
                  </a:lnTo>
                  <a:lnTo>
                    <a:pt x="130" y="232"/>
                  </a:lnTo>
                  <a:lnTo>
                    <a:pt x="126" y="225"/>
                  </a:lnTo>
                  <a:lnTo>
                    <a:pt x="124" y="218"/>
                  </a:lnTo>
                  <a:lnTo>
                    <a:pt x="122" y="210"/>
                  </a:lnTo>
                  <a:lnTo>
                    <a:pt x="121" y="203"/>
                  </a:lnTo>
                  <a:lnTo>
                    <a:pt x="121" y="195"/>
                  </a:lnTo>
                  <a:lnTo>
                    <a:pt x="121" y="188"/>
                  </a:lnTo>
                  <a:lnTo>
                    <a:pt x="122" y="180"/>
                  </a:lnTo>
                  <a:lnTo>
                    <a:pt x="124" y="173"/>
                  </a:lnTo>
                  <a:lnTo>
                    <a:pt x="126" y="166"/>
                  </a:lnTo>
                  <a:lnTo>
                    <a:pt x="130" y="160"/>
                  </a:lnTo>
                  <a:lnTo>
                    <a:pt x="134" y="153"/>
                  </a:lnTo>
                  <a:lnTo>
                    <a:pt x="138" y="148"/>
                  </a:lnTo>
                  <a:lnTo>
                    <a:pt x="142" y="143"/>
                  </a:lnTo>
                  <a:lnTo>
                    <a:pt x="148" y="137"/>
                  </a:lnTo>
                  <a:lnTo>
                    <a:pt x="154" y="133"/>
                  </a:lnTo>
                  <a:lnTo>
                    <a:pt x="160" y="130"/>
                  </a:lnTo>
                  <a:lnTo>
                    <a:pt x="166" y="127"/>
                  </a:lnTo>
                  <a:lnTo>
                    <a:pt x="174" y="123"/>
                  </a:lnTo>
                  <a:lnTo>
                    <a:pt x="181" y="122"/>
                  </a:lnTo>
                  <a:lnTo>
                    <a:pt x="189" y="120"/>
                  </a:lnTo>
                  <a:lnTo>
                    <a:pt x="196" y="120"/>
                  </a:lnTo>
                  <a:lnTo>
                    <a:pt x="204" y="120"/>
                  </a:lnTo>
                  <a:lnTo>
                    <a:pt x="211" y="122"/>
                  </a:lnTo>
                  <a:lnTo>
                    <a:pt x="219" y="123"/>
                  </a:lnTo>
                  <a:lnTo>
                    <a:pt x="225" y="127"/>
                  </a:lnTo>
                  <a:lnTo>
                    <a:pt x="231" y="130"/>
                  </a:lnTo>
                  <a:lnTo>
                    <a:pt x="238" y="133"/>
                  </a:lnTo>
                  <a:lnTo>
                    <a:pt x="243" y="137"/>
                  </a:lnTo>
                  <a:lnTo>
                    <a:pt x="249" y="143"/>
                  </a:lnTo>
                  <a:lnTo>
                    <a:pt x="254" y="148"/>
                  </a:lnTo>
                  <a:lnTo>
                    <a:pt x="258" y="153"/>
                  </a:lnTo>
                  <a:lnTo>
                    <a:pt x="261" y="160"/>
                  </a:lnTo>
                  <a:lnTo>
                    <a:pt x="265" y="166"/>
                  </a:lnTo>
                  <a:lnTo>
                    <a:pt x="268" y="173"/>
                  </a:lnTo>
                  <a:lnTo>
                    <a:pt x="270" y="180"/>
                  </a:lnTo>
                  <a:lnTo>
                    <a:pt x="271" y="188"/>
                  </a:lnTo>
                  <a:lnTo>
                    <a:pt x="271" y="195"/>
                  </a:lnTo>
                  <a:lnTo>
                    <a:pt x="271" y="203"/>
                  </a:lnTo>
                  <a:lnTo>
                    <a:pt x="270" y="210"/>
                  </a:lnTo>
                  <a:lnTo>
                    <a:pt x="268" y="218"/>
                  </a:lnTo>
                  <a:lnTo>
                    <a:pt x="265" y="225"/>
                  </a:lnTo>
                  <a:lnTo>
                    <a:pt x="261" y="232"/>
                  </a:lnTo>
                  <a:lnTo>
                    <a:pt x="258" y="237"/>
                  </a:lnTo>
                  <a:lnTo>
                    <a:pt x="254" y="243"/>
                  </a:lnTo>
                  <a:lnTo>
                    <a:pt x="249" y="249"/>
                  </a:lnTo>
                  <a:lnTo>
                    <a:pt x="243" y="253"/>
                  </a:lnTo>
                  <a:lnTo>
                    <a:pt x="238" y="257"/>
                  </a:lnTo>
                  <a:lnTo>
                    <a:pt x="231" y="262"/>
                  </a:lnTo>
                  <a:lnTo>
                    <a:pt x="225" y="265"/>
                  </a:lnTo>
                  <a:lnTo>
                    <a:pt x="219" y="267"/>
                  </a:lnTo>
                  <a:lnTo>
                    <a:pt x="211" y="269"/>
                  </a:lnTo>
                  <a:lnTo>
                    <a:pt x="204" y="270"/>
                  </a:lnTo>
                  <a:lnTo>
                    <a:pt x="196" y="270"/>
                  </a:lnTo>
                  <a:lnTo>
                    <a:pt x="196" y="270"/>
                  </a:lnTo>
                  <a:close/>
                  <a:moveTo>
                    <a:pt x="69" y="89"/>
                  </a:moveTo>
                  <a:lnTo>
                    <a:pt x="111" y="133"/>
                  </a:lnTo>
                  <a:lnTo>
                    <a:pt x="105" y="144"/>
                  </a:lnTo>
                  <a:lnTo>
                    <a:pt x="99" y="155"/>
                  </a:lnTo>
                  <a:lnTo>
                    <a:pt x="94" y="167"/>
                  </a:lnTo>
                  <a:lnTo>
                    <a:pt x="92" y="180"/>
                  </a:lnTo>
                  <a:lnTo>
                    <a:pt x="31" y="180"/>
                  </a:lnTo>
                  <a:lnTo>
                    <a:pt x="33" y="167"/>
                  </a:lnTo>
                  <a:lnTo>
                    <a:pt x="35" y="156"/>
                  </a:lnTo>
                  <a:lnTo>
                    <a:pt x="39" y="144"/>
                  </a:lnTo>
                  <a:lnTo>
                    <a:pt x="43" y="132"/>
                  </a:lnTo>
                  <a:lnTo>
                    <a:pt x="48" y="120"/>
                  </a:lnTo>
                  <a:lnTo>
                    <a:pt x="55" y="110"/>
                  </a:lnTo>
                  <a:lnTo>
                    <a:pt x="61" y="100"/>
                  </a:lnTo>
                  <a:lnTo>
                    <a:pt x="69" y="90"/>
                  </a:lnTo>
                  <a:lnTo>
                    <a:pt x="69" y="89"/>
                  </a:lnTo>
                  <a:close/>
                  <a:moveTo>
                    <a:pt x="31" y="210"/>
                  </a:moveTo>
                  <a:lnTo>
                    <a:pt x="92" y="210"/>
                  </a:lnTo>
                  <a:lnTo>
                    <a:pt x="94" y="223"/>
                  </a:lnTo>
                  <a:lnTo>
                    <a:pt x="99" y="236"/>
                  </a:lnTo>
                  <a:lnTo>
                    <a:pt x="105" y="248"/>
                  </a:lnTo>
                  <a:lnTo>
                    <a:pt x="111" y="258"/>
                  </a:lnTo>
                  <a:lnTo>
                    <a:pt x="69" y="301"/>
                  </a:lnTo>
                  <a:lnTo>
                    <a:pt x="61" y="292"/>
                  </a:lnTo>
                  <a:lnTo>
                    <a:pt x="55" y="281"/>
                  </a:lnTo>
                  <a:lnTo>
                    <a:pt x="48" y="270"/>
                  </a:lnTo>
                  <a:lnTo>
                    <a:pt x="43" y="260"/>
                  </a:lnTo>
                  <a:lnTo>
                    <a:pt x="39" y="248"/>
                  </a:lnTo>
                  <a:lnTo>
                    <a:pt x="35" y="236"/>
                  </a:lnTo>
                  <a:lnTo>
                    <a:pt x="33" y="223"/>
                  </a:lnTo>
                  <a:lnTo>
                    <a:pt x="31" y="210"/>
                  </a:lnTo>
                  <a:close/>
                  <a:moveTo>
                    <a:pt x="322" y="301"/>
                  </a:moveTo>
                  <a:lnTo>
                    <a:pt x="280" y="258"/>
                  </a:lnTo>
                  <a:lnTo>
                    <a:pt x="287" y="248"/>
                  </a:lnTo>
                  <a:lnTo>
                    <a:pt x="292" y="236"/>
                  </a:lnTo>
                  <a:lnTo>
                    <a:pt x="297" y="223"/>
                  </a:lnTo>
                  <a:lnTo>
                    <a:pt x="300" y="210"/>
                  </a:lnTo>
                  <a:lnTo>
                    <a:pt x="360" y="210"/>
                  </a:lnTo>
                  <a:lnTo>
                    <a:pt x="359" y="223"/>
                  </a:lnTo>
                  <a:lnTo>
                    <a:pt x="356" y="236"/>
                  </a:lnTo>
                  <a:lnTo>
                    <a:pt x="352" y="248"/>
                  </a:lnTo>
                  <a:lnTo>
                    <a:pt x="348" y="260"/>
                  </a:lnTo>
                  <a:lnTo>
                    <a:pt x="343" y="270"/>
                  </a:lnTo>
                  <a:lnTo>
                    <a:pt x="337" y="281"/>
                  </a:lnTo>
                  <a:lnTo>
                    <a:pt x="330" y="292"/>
                  </a:lnTo>
                  <a:lnTo>
                    <a:pt x="322" y="301"/>
                  </a:lnTo>
                  <a:lnTo>
                    <a:pt x="322" y="301"/>
                  </a:lnTo>
                  <a:close/>
                  <a:moveTo>
                    <a:pt x="391" y="195"/>
                  </a:moveTo>
                  <a:lnTo>
                    <a:pt x="390" y="176"/>
                  </a:lnTo>
                  <a:lnTo>
                    <a:pt x="388" y="157"/>
                  </a:lnTo>
                  <a:lnTo>
                    <a:pt x="382" y="137"/>
                  </a:lnTo>
                  <a:lnTo>
                    <a:pt x="376" y="120"/>
                  </a:lnTo>
                  <a:lnTo>
                    <a:pt x="367" y="103"/>
                  </a:lnTo>
                  <a:lnTo>
                    <a:pt x="358" y="87"/>
                  </a:lnTo>
                  <a:lnTo>
                    <a:pt x="347" y="72"/>
                  </a:lnTo>
                  <a:lnTo>
                    <a:pt x="334" y="58"/>
                  </a:lnTo>
                  <a:lnTo>
                    <a:pt x="334" y="57"/>
                  </a:lnTo>
                  <a:lnTo>
                    <a:pt x="334" y="57"/>
                  </a:lnTo>
                  <a:lnTo>
                    <a:pt x="334" y="57"/>
                  </a:lnTo>
                  <a:lnTo>
                    <a:pt x="333" y="57"/>
                  </a:lnTo>
                  <a:lnTo>
                    <a:pt x="319" y="44"/>
                  </a:lnTo>
                  <a:lnTo>
                    <a:pt x="304" y="34"/>
                  </a:lnTo>
                  <a:lnTo>
                    <a:pt x="288" y="24"/>
                  </a:lnTo>
                  <a:lnTo>
                    <a:pt x="271" y="15"/>
                  </a:lnTo>
                  <a:lnTo>
                    <a:pt x="254" y="9"/>
                  </a:lnTo>
                  <a:lnTo>
                    <a:pt x="235" y="5"/>
                  </a:lnTo>
                  <a:lnTo>
                    <a:pt x="215" y="1"/>
                  </a:lnTo>
                  <a:lnTo>
                    <a:pt x="196" y="0"/>
                  </a:lnTo>
                  <a:lnTo>
                    <a:pt x="176" y="1"/>
                  </a:lnTo>
                  <a:lnTo>
                    <a:pt x="156" y="4"/>
                  </a:lnTo>
                  <a:lnTo>
                    <a:pt x="138" y="9"/>
                  </a:lnTo>
                  <a:lnTo>
                    <a:pt x="120" y="15"/>
                  </a:lnTo>
                  <a:lnTo>
                    <a:pt x="103" y="24"/>
                  </a:lnTo>
                  <a:lnTo>
                    <a:pt x="87" y="34"/>
                  </a:lnTo>
                  <a:lnTo>
                    <a:pt x="72" y="44"/>
                  </a:lnTo>
                  <a:lnTo>
                    <a:pt x="58" y="57"/>
                  </a:lnTo>
                  <a:lnTo>
                    <a:pt x="58" y="57"/>
                  </a:lnTo>
                  <a:lnTo>
                    <a:pt x="58" y="57"/>
                  </a:lnTo>
                  <a:lnTo>
                    <a:pt x="58" y="58"/>
                  </a:lnTo>
                  <a:lnTo>
                    <a:pt x="57" y="58"/>
                  </a:lnTo>
                  <a:lnTo>
                    <a:pt x="45" y="72"/>
                  </a:lnTo>
                  <a:lnTo>
                    <a:pt x="33" y="87"/>
                  </a:lnTo>
                  <a:lnTo>
                    <a:pt x="24" y="103"/>
                  </a:lnTo>
                  <a:lnTo>
                    <a:pt x="16" y="120"/>
                  </a:lnTo>
                  <a:lnTo>
                    <a:pt x="9" y="137"/>
                  </a:lnTo>
                  <a:lnTo>
                    <a:pt x="4" y="157"/>
                  </a:lnTo>
                  <a:lnTo>
                    <a:pt x="1" y="176"/>
                  </a:lnTo>
                  <a:lnTo>
                    <a:pt x="0" y="195"/>
                  </a:lnTo>
                  <a:lnTo>
                    <a:pt x="1" y="216"/>
                  </a:lnTo>
                  <a:lnTo>
                    <a:pt x="4" y="235"/>
                  </a:lnTo>
                  <a:lnTo>
                    <a:pt x="9" y="253"/>
                  </a:lnTo>
                  <a:lnTo>
                    <a:pt x="16" y="271"/>
                  </a:lnTo>
                  <a:lnTo>
                    <a:pt x="24" y="288"/>
                  </a:lnTo>
                  <a:lnTo>
                    <a:pt x="33" y="305"/>
                  </a:lnTo>
                  <a:lnTo>
                    <a:pt x="45" y="320"/>
                  </a:lnTo>
                  <a:lnTo>
                    <a:pt x="57" y="333"/>
                  </a:lnTo>
                  <a:lnTo>
                    <a:pt x="58" y="333"/>
                  </a:lnTo>
                  <a:lnTo>
                    <a:pt x="58" y="333"/>
                  </a:lnTo>
                  <a:lnTo>
                    <a:pt x="58" y="333"/>
                  </a:lnTo>
                  <a:lnTo>
                    <a:pt x="58" y="335"/>
                  </a:lnTo>
                  <a:lnTo>
                    <a:pt x="72" y="346"/>
                  </a:lnTo>
                  <a:lnTo>
                    <a:pt x="87" y="358"/>
                  </a:lnTo>
                  <a:lnTo>
                    <a:pt x="103" y="368"/>
                  </a:lnTo>
                  <a:lnTo>
                    <a:pt x="120" y="375"/>
                  </a:lnTo>
                  <a:lnTo>
                    <a:pt x="138" y="383"/>
                  </a:lnTo>
                  <a:lnTo>
                    <a:pt x="156" y="387"/>
                  </a:lnTo>
                  <a:lnTo>
                    <a:pt x="176" y="390"/>
                  </a:lnTo>
                  <a:lnTo>
                    <a:pt x="196" y="391"/>
                  </a:lnTo>
                  <a:lnTo>
                    <a:pt x="196" y="391"/>
                  </a:lnTo>
                  <a:lnTo>
                    <a:pt x="196" y="391"/>
                  </a:lnTo>
                  <a:lnTo>
                    <a:pt x="196" y="391"/>
                  </a:lnTo>
                  <a:lnTo>
                    <a:pt x="196" y="391"/>
                  </a:lnTo>
                  <a:lnTo>
                    <a:pt x="215" y="390"/>
                  </a:lnTo>
                  <a:lnTo>
                    <a:pt x="235" y="387"/>
                  </a:lnTo>
                  <a:lnTo>
                    <a:pt x="254" y="383"/>
                  </a:lnTo>
                  <a:lnTo>
                    <a:pt x="271" y="375"/>
                  </a:lnTo>
                  <a:lnTo>
                    <a:pt x="288" y="368"/>
                  </a:lnTo>
                  <a:lnTo>
                    <a:pt x="304" y="358"/>
                  </a:lnTo>
                  <a:lnTo>
                    <a:pt x="319" y="346"/>
                  </a:lnTo>
                  <a:lnTo>
                    <a:pt x="333" y="335"/>
                  </a:lnTo>
                  <a:lnTo>
                    <a:pt x="334" y="333"/>
                  </a:lnTo>
                  <a:lnTo>
                    <a:pt x="334" y="333"/>
                  </a:lnTo>
                  <a:lnTo>
                    <a:pt x="334" y="333"/>
                  </a:lnTo>
                  <a:lnTo>
                    <a:pt x="334" y="333"/>
                  </a:lnTo>
                  <a:lnTo>
                    <a:pt x="347" y="320"/>
                  </a:lnTo>
                  <a:lnTo>
                    <a:pt x="358" y="305"/>
                  </a:lnTo>
                  <a:lnTo>
                    <a:pt x="367" y="288"/>
                  </a:lnTo>
                  <a:lnTo>
                    <a:pt x="376" y="271"/>
                  </a:lnTo>
                  <a:lnTo>
                    <a:pt x="382" y="253"/>
                  </a:lnTo>
                  <a:lnTo>
                    <a:pt x="388" y="235"/>
                  </a:lnTo>
                  <a:lnTo>
                    <a:pt x="390" y="216"/>
                  </a:lnTo>
                  <a:lnTo>
                    <a:pt x="391" y="195"/>
                  </a:lnTo>
                  <a:lnTo>
                    <a:pt x="391"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4" name="Group 99">
            <a:extLst>
              <a:ext uri="{FF2B5EF4-FFF2-40B4-BE49-F238E27FC236}">
                <a16:creationId xmlns:a16="http://schemas.microsoft.com/office/drawing/2014/main" id="{54DC84F6-F0A3-42DC-90F1-6F56C1F7B2F7}"/>
              </a:ext>
            </a:extLst>
          </p:cNvPr>
          <p:cNvGrpSpPr>
            <a:grpSpLocks noChangeAspect="1"/>
          </p:cNvGrpSpPr>
          <p:nvPr/>
        </p:nvGrpSpPr>
        <p:grpSpPr>
          <a:xfrm>
            <a:off x="2770877" y="5417576"/>
            <a:ext cx="216382" cy="306484"/>
            <a:chOff x="1003300" y="4391025"/>
            <a:chExt cx="503238" cy="712788"/>
          </a:xfrm>
          <a:solidFill>
            <a:schemeClr val="bg1"/>
          </a:solidFill>
          <a:effectLst/>
        </p:grpSpPr>
        <p:sp>
          <p:nvSpPr>
            <p:cNvPr id="585" name="Freeform 5">
              <a:extLst>
                <a:ext uri="{FF2B5EF4-FFF2-40B4-BE49-F238E27FC236}">
                  <a16:creationId xmlns:a16="http://schemas.microsoft.com/office/drawing/2014/main" id="{13353055-AE69-44D0-94C2-7CCC737DA25F}"/>
                </a:ext>
              </a:extLst>
            </p:cNvPr>
            <p:cNvSpPr>
              <a:spLocks noEditPoints="1"/>
            </p:cNvSpPr>
            <p:nvPr/>
          </p:nvSpPr>
          <p:spPr bwMode="auto">
            <a:xfrm>
              <a:off x="1412875" y="4489450"/>
              <a:ext cx="93663" cy="180975"/>
            </a:xfrm>
            <a:custGeom>
              <a:avLst/>
              <a:gdLst>
                <a:gd name="T0" fmla="*/ 31 w 38"/>
                <a:gd name="T1" fmla="*/ 74 h 74"/>
                <a:gd name="T2" fmla="*/ 27 w 38"/>
                <a:gd name="T3" fmla="*/ 73 h 74"/>
                <a:gd name="T4" fmla="*/ 18 w 38"/>
                <a:gd name="T5" fmla="*/ 52 h 74"/>
                <a:gd name="T6" fmla="*/ 17 w 38"/>
                <a:gd name="T7" fmla="*/ 49 h 74"/>
                <a:gd name="T8" fmla="*/ 2 w 38"/>
                <a:gd name="T9" fmla="*/ 10 h 74"/>
                <a:gd name="T10" fmla="*/ 4 w 38"/>
                <a:gd name="T11" fmla="*/ 2 h 74"/>
                <a:gd name="T12" fmla="*/ 12 w 38"/>
                <a:gd name="T13" fmla="*/ 4 h 74"/>
                <a:gd name="T14" fmla="*/ 29 w 38"/>
                <a:gd name="T15" fmla="*/ 46 h 74"/>
                <a:gd name="T16" fmla="*/ 29 w 38"/>
                <a:gd name="T17" fmla="*/ 48 h 74"/>
                <a:gd name="T18" fmla="*/ 30 w 38"/>
                <a:gd name="T19" fmla="*/ 49 h 74"/>
                <a:gd name="T20" fmla="*/ 34 w 38"/>
                <a:gd name="T21" fmla="*/ 63 h 74"/>
                <a:gd name="T22" fmla="*/ 36 w 38"/>
                <a:gd name="T23" fmla="*/ 72 h 74"/>
                <a:gd name="T24" fmla="*/ 31 w 38"/>
                <a:gd name="T25" fmla="*/ 74 h 74"/>
                <a:gd name="T26" fmla="*/ 31 w 38"/>
                <a:gd name="T27" fmla="*/ 74 h 74"/>
                <a:gd name="T28" fmla="*/ 31 w 38"/>
                <a:gd name="T2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74">
                  <a:moveTo>
                    <a:pt x="31" y="74"/>
                  </a:moveTo>
                  <a:cubicBezTo>
                    <a:pt x="29" y="74"/>
                    <a:pt x="28" y="74"/>
                    <a:pt x="27" y="73"/>
                  </a:cubicBezTo>
                  <a:cubicBezTo>
                    <a:pt x="23" y="70"/>
                    <a:pt x="19" y="60"/>
                    <a:pt x="18" y="52"/>
                  </a:cubicBezTo>
                  <a:cubicBezTo>
                    <a:pt x="17" y="52"/>
                    <a:pt x="17" y="51"/>
                    <a:pt x="17" y="49"/>
                  </a:cubicBezTo>
                  <a:cubicBezTo>
                    <a:pt x="15" y="43"/>
                    <a:pt x="11" y="26"/>
                    <a:pt x="2" y="10"/>
                  </a:cubicBezTo>
                  <a:cubicBezTo>
                    <a:pt x="0" y="7"/>
                    <a:pt x="1" y="3"/>
                    <a:pt x="4" y="2"/>
                  </a:cubicBezTo>
                  <a:cubicBezTo>
                    <a:pt x="7" y="0"/>
                    <a:pt x="11" y="1"/>
                    <a:pt x="12" y="4"/>
                  </a:cubicBezTo>
                  <a:cubicBezTo>
                    <a:pt x="23" y="21"/>
                    <a:pt x="27" y="39"/>
                    <a:pt x="29" y="46"/>
                  </a:cubicBezTo>
                  <a:cubicBezTo>
                    <a:pt x="29" y="47"/>
                    <a:pt x="29" y="48"/>
                    <a:pt x="29" y="48"/>
                  </a:cubicBezTo>
                  <a:cubicBezTo>
                    <a:pt x="29" y="48"/>
                    <a:pt x="30" y="49"/>
                    <a:pt x="30" y="49"/>
                  </a:cubicBezTo>
                  <a:cubicBezTo>
                    <a:pt x="31" y="55"/>
                    <a:pt x="33" y="62"/>
                    <a:pt x="34" y="63"/>
                  </a:cubicBezTo>
                  <a:cubicBezTo>
                    <a:pt x="37" y="65"/>
                    <a:pt x="38" y="69"/>
                    <a:pt x="36" y="72"/>
                  </a:cubicBezTo>
                  <a:cubicBezTo>
                    <a:pt x="34" y="73"/>
                    <a:pt x="32" y="74"/>
                    <a:pt x="31" y="74"/>
                  </a:cubicBezTo>
                  <a:close/>
                  <a:moveTo>
                    <a:pt x="31" y="74"/>
                  </a:moveTo>
                  <a:cubicBezTo>
                    <a:pt x="31" y="74"/>
                    <a:pt x="31" y="74"/>
                    <a:pt x="31"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6" name="Freeform 6">
              <a:extLst>
                <a:ext uri="{FF2B5EF4-FFF2-40B4-BE49-F238E27FC236}">
                  <a16:creationId xmlns:a16="http://schemas.microsoft.com/office/drawing/2014/main" id="{1FD42FF9-5A0E-45CB-A1FC-C5EB5C21A66D}"/>
                </a:ext>
              </a:extLst>
            </p:cNvPr>
            <p:cNvSpPr>
              <a:spLocks noEditPoints="1"/>
            </p:cNvSpPr>
            <p:nvPr/>
          </p:nvSpPr>
          <p:spPr bwMode="auto">
            <a:xfrm>
              <a:off x="1216025" y="4391025"/>
              <a:ext cx="196850" cy="85725"/>
            </a:xfrm>
            <a:custGeom>
              <a:avLst/>
              <a:gdLst>
                <a:gd name="T0" fmla="*/ 74 w 80"/>
                <a:gd name="T1" fmla="*/ 35 h 35"/>
                <a:gd name="T2" fmla="*/ 69 w 80"/>
                <a:gd name="T3" fmla="*/ 34 h 35"/>
                <a:gd name="T4" fmla="*/ 25 w 80"/>
                <a:gd name="T5" fmla="*/ 12 h 35"/>
                <a:gd name="T6" fmla="*/ 8 w 80"/>
                <a:gd name="T7" fmla="*/ 14 h 35"/>
                <a:gd name="T8" fmla="*/ 1 w 80"/>
                <a:gd name="T9" fmla="*/ 9 h 35"/>
                <a:gd name="T10" fmla="*/ 6 w 80"/>
                <a:gd name="T11" fmla="*/ 2 h 35"/>
                <a:gd name="T12" fmla="*/ 26 w 80"/>
                <a:gd name="T13" fmla="*/ 0 h 35"/>
                <a:gd name="T14" fmla="*/ 26 w 80"/>
                <a:gd name="T15" fmla="*/ 0 h 35"/>
                <a:gd name="T16" fmla="*/ 78 w 80"/>
                <a:gd name="T17" fmla="*/ 25 h 35"/>
                <a:gd name="T18" fmla="*/ 78 w 80"/>
                <a:gd name="T19" fmla="*/ 34 h 35"/>
                <a:gd name="T20" fmla="*/ 74 w 80"/>
                <a:gd name="T21" fmla="*/ 35 h 35"/>
                <a:gd name="T22" fmla="*/ 74 w 80"/>
                <a:gd name="T23" fmla="*/ 35 h 35"/>
                <a:gd name="T24" fmla="*/ 74 w 80"/>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5">
                  <a:moveTo>
                    <a:pt x="74" y="35"/>
                  </a:moveTo>
                  <a:cubicBezTo>
                    <a:pt x="72" y="35"/>
                    <a:pt x="70" y="35"/>
                    <a:pt x="69" y="34"/>
                  </a:cubicBezTo>
                  <a:cubicBezTo>
                    <a:pt x="57" y="21"/>
                    <a:pt x="42" y="14"/>
                    <a:pt x="25" y="12"/>
                  </a:cubicBezTo>
                  <a:cubicBezTo>
                    <a:pt x="19" y="12"/>
                    <a:pt x="14" y="13"/>
                    <a:pt x="8" y="14"/>
                  </a:cubicBezTo>
                  <a:cubicBezTo>
                    <a:pt x="5" y="14"/>
                    <a:pt x="2" y="12"/>
                    <a:pt x="1" y="9"/>
                  </a:cubicBezTo>
                  <a:cubicBezTo>
                    <a:pt x="0" y="5"/>
                    <a:pt x="3" y="2"/>
                    <a:pt x="6" y="2"/>
                  </a:cubicBezTo>
                  <a:cubicBezTo>
                    <a:pt x="12" y="0"/>
                    <a:pt x="19" y="0"/>
                    <a:pt x="26" y="0"/>
                  </a:cubicBezTo>
                  <a:cubicBezTo>
                    <a:pt x="26" y="0"/>
                    <a:pt x="26" y="0"/>
                    <a:pt x="26" y="0"/>
                  </a:cubicBezTo>
                  <a:cubicBezTo>
                    <a:pt x="46" y="2"/>
                    <a:pt x="64" y="10"/>
                    <a:pt x="78" y="25"/>
                  </a:cubicBezTo>
                  <a:cubicBezTo>
                    <a:pt x="80" y="27"/>
                    <a:pt x="80" y="31"/>
                    <a:pt x="78" y="34"/>
                  </a:cubicBezTo>
                  <a:cubicBezTo>
                    <a:pt x="77" y="35"/>
                    <a:pt x="75" y="35"/>
                    <a:pt x="74" y="35"/>
                  </a:cubicBezTo>
                  <a:close/>
                  <a:moveTo>
                    <a:pt x="74" y="35"/>
                  </a:moveTo>
                  <a:cubicBezTo>
                    <a:pt x="74" y="35"/>
                    <a:pt x="74" y="35"/>
                    <a:pt x="74"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7" name="Freeform 7">
              <a:extLst>
                <a:ext uri="{FF2B5EF4-FFF2-40B4-BE49-F238E27FC236}">
                  <a16:creationId xmlns:a16="http://schemas.microsoft.com/office/drawing/2014/main" id="{A2655096-B6C1-44C5-9D56-A59D91770186}"/>
                </a:ext>
              </a:extLst>
            </p:cNvPr>
            <p:cNvSpPr>
              <a:spLocks noEditPoints="1"/>
            </p:cNvSpPr>
            <p:nvPr/>
          </p:nvSpPr>
          <p:spPr bwMode="auto">
            <a:xfrm>
              <a:off x="1006475" y="4427538"/>
              <a:ext cx="165100" cy="165100"/>
            </a:xfrm>
            <a:custGeom>
              <a:avLst/>
              <a:gdLst>
                <a:gd name="T0" fmla="*/ 6 w 67"/>
                <a:gd name="T1" fmla="*/ 67 h 67"/>
                <a:gd name="T2" fmla="*/ 5 w 67"/>
                <a:gd name="T3" fmla="*/ 67 h 67"/>
                <a:gd name="T4" fmla="*/ 0 w 67"/>
                <a:gd name="T5" fmla="*/ 62 h 67"/>
                <a:gd name="T6" fmla="*/ 3 w 67"/>
                <a:gd name="T7" fmla="*/ 56 h 67"/>
                <a:gd name="T8" fmla="*/ 4 w 67"/>
                <a:gd name="T9" fmla="*/ 55 h 67"/>
                <a:gd name="T10" fmla="*/ 14 w 67"/>
                <a:gd name="T11" fmla="*/ 46 h 67"/>
                <a:gd name="T12" fmla="*/ 15 w 67"/>
                <a:gd name="T13" fmla="*/ 44 h 67"/>
                <a:gd name="T14" fmla="*/ 24 w 67"/>
                <a:gd name="T15" fmla="*/ 33 h 67"/>
                <a:gd name="T16" fmla="*/ 56 w 67"/>
                <a:gd name="T17" fmla="*/ 2 h 67"/>
                <a:gd name="T18" fmla="*/ 65 w 67"/>
                <a:gd name="T19" fmla="*/ 3 h 67"/>
                <a:gd name="T20" fmla="*/ 63 w 67"/>
                <a:gd name="T21" fmla="*/ 12 h 67"/>
                <a:gd name="T22" fmla="*/ 33 w 67"/>
                <a:gd name="T23" fmla="*/ 41 h 67"/>
                <a:gd name="T24" fmla="*/ 25 w 67"/>
                <a:gd name="T25" fmla="*/ 51 h 67"/>
                <a:gd name="T26" fmla="*/ 24 w 67"/>
                <a:gd name="T27" fmla="*/ 53 h 67"/>
                <a:gd name="T28" fmla="*/ 14 w 67"/>
                <a:gd name="T29" fmla="*/ 63 h 67"/>
                <a:gd name="T30" fmla="*/ 6 w 67"/>
                <a:gd name="T31" fmla="*/ 67 h 67"/>
                <a:gd name="T32" fmla="*/ 6 w 67"/>
                <a:gd name="T33" fmla="*/ 67 h 67"/>
                <a:gd name="T34" fmla="*/ 6 w 67"/>
                <a:gd name="T3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67">
                  <a:moveTo>
                    <a:pt x="6" y="67"/>
                  </a:moveTo>
                  <a:cubicBezTo>
                    <a:pt x="6" y="67"/>
                    <a:pt x="6" y="67"/>
                    <a:pt x="5" y="67"/>
                  </a:cubicBezTo>
                  <a:cubicBezTo>
                    <a:pt x="3" y="66"/>
                    <a:pt x="1" y="64"/>
                    <a:pt x="0" y="62"/>
                  </a:cubicBezTo>
                  <a:cubicBezTo>
                    <a:pt x="0" y="59"/>
                    <a:pt x="1" y="57"/>
                    <a:pt x="3" y="56"/>
                  </a:cubicBezTo>
                  <a:cubicBezTo>
                    <a:pt x="3" y="55"/>
                    <a:pt x="4" y="55"/>
                    <a:pt x="4" y="55"/>
                  </a:cubicBezTo>
                  <a:cubicBezTo>
                    <a:pt x="6" y="54"/>
                    <a:pt x="10" y="51"/>
                    <a:pt x="14" y="46"/>
                  </a:cubicBezTo>
                  <a:cubicBezTo>
                    <a:pt x="15" y="44"/>
                    <a:pt x="15" y="44"/>
                    <a:pt x="15" y="44"/>
                  </a:cubicBezTo>
                  <a:cubicBezTo>
                    <a:pt x="18" y="41"/>
                    <a:pt x="20" y="37"/>
                    <a:pt x="24" y="33"/>
                  </a:cubicBezTo>
                  <a:cubicBezTo>
                    <a:pt x="34" y="20"/>
                    <a:pt x="45" y="10"/>
                    <a:pt x="56" y="2"/>
                  </a:cubicBezTo>
                  <a:cubicBezTo>
                    <a:pt x="59" y="0"/>
                    <a:pt x="63" y="1"/>
                    <a:pt x="65" y="3"/>
                  </a:cubicBezTo>
                  <a:cubicBezTo>
                    <a:pt x="67" y="6"/>
                    <a:pt x="66" y="10"/>
                    <a:pt x="63" y="12"/>
                  </a:cubicBezTo>
                  <a:cubicBezTo>
                    <a:pt x="53" y="19"/>
                    <a:pt x="43" y="29"/>
                    <a:pt x="33" y="41"/>
                  </a:cubicBezTo>
                  <a:cubicBezTo>
                    <a:pt x="30" y="45"/>
                    <a:pt x="27" y="48"/>
                    <a:pt x="25" y="51"/>
                  </a:cubicBezTo>
                  <a:cubicBezTo>
                    <a:pt x="24" y="53"/>
                    <a:pt x="24" y="53"/>
                    <a:pt x="24" y="53"/>
                  </a:cubicBezTo>
                  <a:cubicBezTo>
                    <a:pt x="20" y="58"/>
                    <a:pt x="17" y="61"/>
                    <a:pt x="14" y="63"/>
                  </a:cubicBezTo>
                  <a:cubicBezTo>
                    <a:pt x="10" y="66"/>
                    <a:pt x="8" y="67"/>
                    <a:pt x="6" y="67"/>
                  </a:cubicBezTo>
                  <a:close/>
                  <a:moveTo>
                    <a:pt x="6" y="67"/>
                  </a:moveTo>
                  <a:cubicBezTo>
                    <a:pt x="6" y="67"/>
                    <a:pt x="6" y="67"/>
                    <a:pt x="6" y="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8" name="Freeform 8">
              <a:extLst>
                <a:ext uri="{FF2B5EF4-FFF2-40B4-BE49-F238E27FC236}">
                  <a16:creationId xmlns:a16="http://schemas.microsoft.com/office/drawing/2014/main" id="{377353EF-7513-484E-8ED5-FED73457258F}"/>
                </a:ext>
              </a:extLst>
            </p:cNvPr>
            <p:cNvSpPr>
              <a:spLocks noEditPoints="1"/>
            </p:cNvSpPr>
            <p:nvPr/>
          </p:nvSpPr>
          <p:spPr bwMode="auto">
            <a:xfrm>
              <a:off x="1003300" y="4686300"/>
              <a:ext cx="111125" cy="60325"/>
            </a:xfrm>
            <a:custGeom>
              <a:avLst/>
              <a:gdLst>
                <a:gd name="T0" fmla="*/ 7 w 45"/>
                <a:gd name="T1" fmla="*/ 25 h 25"/>
                <a:gd name="T2" fmla="*/ 1 w 45"/>
                <a:gd name="T3" fmla="*/ 21 h 25"/>
                <a:gd name="T4" fmla="*/ 6 w 45"/>
                <a:gd name="T5" fmla="*/ 13 h 25"/>
                <a:gd name="T6" fmla="*/ 35 w 45"/>
                <a:gd name="T7" fmla="*/ 1 h 25"/>
                <a:gd name="T8" fmla="*/ 44 w 45"/>
                <a:gd name="T9" fmla="*/ 4 h 25"/>
                <a:gd name="T10" fmla="*/ 41 w 45"/>
                <a:gd name="T11" fmla="*/ 12 h 25"/>
                <a:gd name="T12" fmla="*/ 9 w 45"/>
                <a:gd name="T13" fmla="*/ 25 h 25"/>
                <a:gd name="T14" fmla="*/ 7 w 45"/>
                <a:gd name="T15" fmla="*/ 25 h 25"/>
                <a:gd name="T16" fmla="*/ 7 w 45"/>
                <a:gd name="T17" fmla="*/ 25 h 25"/>
                <a:gd name="T18" fmla="*/ 7 w 45"/>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25">
                  <a:moveTo>
                    <a:pt x="7" y="25"/>
                  </a:moveTo>
                  <a:cubicBezTo>
                    <a:pt x="4" y="25"/>
                    <a:pt x="2" y="24"/>
                    <a:pt x="1" y="21"/>
                  </a:cubicBezTo>
                  <a:cubicBezTo>
                    <a:pt x="0" y="17"/>
                    <a:pt x="2" y="14"/>
                    <a:pt x="6" y="13"/>
                  </a:cubicBezTo>
                  <a:cubicBezTo>
                    <a:pt x="17" y="10"/>
                    <a:pt x="28" y="5"/>
                    <a:pt x="35" y="1"/>
                  </a:cubicBezTo>
                  <a:cubicBezTo>
                    <a:pt x="38" y="0"/>
                    <a:pt x="42" y="1"/>
                    <a:pt x="44" y="4"/>
                  </a:cubicBezTo>
                  <a:cubicBezTo>
                    <a:pt x="45" y="7"/>
                    <a:pt x="44" y="11"/>
                    <a:pt x="41" y="12"/>
                  </a:cubicBezTo>
                  <a:cubicBezTo>
                    <a:pt x="33" y="16"/>
                    <a:pt x="21" y="22"/>
                    <a:pt x="9" y="25"/>
                  </a:cubicBezTo>
                  <a:cubicBezTo>
                    <a:pt x="8" y="25"/>
                    <a:pt x="8" y="25"/>
                    <a:pt x="7" y="25"/>
                  </a:cubicBezTo>
                  <a:close/>
                  <a:moveTo>
                    <a:pt x="7" y="25"/>
                  </a:moveTo>
                  <a:cubicBezTo>
                    <a:pt x="7" y="25"/>
                    <a:pt x="7" y="25"/>
                    <a:pt x="7"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89" name="Freeform 9">
              <a:extLst>
                <a:ext uri="{FF2B5EF4-FFF2-40B4-BE49-F238E27FC236}">
                  <a16:creationId xmlns:a16="http://schemas.microsoft.com/office/drawing/2014/main" id="{5ADCD0D8-0DBF-4F4B-8780-04110B357F87}"/>
                </a:ext>
              </a:extLst>
            </p:cNvPr>
            <p:cNvSpPr>
              <a:spLocks noEditPoints="1"/>
            </p:cNvSpPr>
            <p:nvPr/>
          </p:nvSpPr>
          <p:spPr bwMode="auto">
            <a:xfrm>
              <a:off x="1117600" y="4513263"/>
              <a:ext cx="290513" cy="182563"/>
            </a:xfrm>
            <a:custGeom>
              <a:avLst/>
              <a:gdLst>
                <a:gd name="T0" fmla="*/ 7 w 118"/>
                <a:gd name="T1" fmla="*/ 74 h 74"/>
                <a:gd name="T2" fmla="*/ 2 w 118"/>
                <a:gd name="T3" fmla="*/ 71 h 74"/>
                <a:gd name="T4" fmla="*/ 3 w 118"/>
                <a:gd name="T5" fmla="*/ 63 h 74"/>
                <a:gd name="T6" fmla="*/ 45 w 118"/>
                <a:gd name="T7" fmla="*/ 27 h 74"/>
                <a:gd name="T8" fmla="*/ 94 w 118"/>
                <a:gd name="T9" fmla="*/ 5 h 74"/>
                <a:gd name="T10" fmla="*/ 117 w 118"/>
                <a:gd name="T11" fmla="*/ 27 h 74"/>
                <a:gd name="T12" fmla="*/ 113 w 118"/>
                <a:gd name="T13" fmla="*/ 34 h 74"/>
                <a:gd name="T14" fmla="*/ 105 w 118"/>
                <a:gd name="T15" fmla="*/ 30 h 74"/>
                <a:gd name="T16" fmla="*/ 90 w 118"/>
                <a:gd name="T17" fmla="*/ 17 h 74"/>
                <a:gd name="T18" fmla="*/ 54 w 118"/>
                <a:gd name="T19" fmla="*/ 35 h 74"/>
                <a:gd name="T20" fmla="*/ 10 w 118"/>
                <a:gd name="T21" fmla="*/ 73 h 74"/>
                <a:gd name="T22" fmla="*/ 7 w 118"/>
                <a:gd name="T23" fmla="*/ 74 h 74"/>
                <a:gd name="T24" fmla="*/ 7 w 118"/>
                <a:gd name="T25" fmla="*/ 74 h 74"/>
                <a:gd name="T26" fmla="*/ 7 w 118"/>
                <a:gd name="T2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74">
                  <a:moveTo>
                    <a:pt x="7" y="74"/>
                  </a:moveTo>
                  <a:cubicBezTo>
                    <a:pt x="5" y="74"/>
                    <a:pt x="3" y="73"/>
                    <a:pt x="2" y="71"/>
                  </a:cubicBezTo>
                  <a:cubicBezTo>
                    <a:pt x="0" y="69"/>
                    <a:pt x="0" y="65"/>
                    <a:pt x="3" y="63"/>
                  </a:cubicBezTo>
                  <a:cubicBezTo>
                    <a:pt x="25" y="48"/>
                    <a:pt x="45" y="27"/>
                    <a:pt x="45" y="27"/>
                  </a:cubicBezTo>
                  <a:cubicBezTo>
                    <a:pt x="61" y="8"/>
                    <a:pt x="79" y="0"/>
                    <a:pt x="94" y="5"/>
                  </a:cubicBezTo>
                  <a:cubicBezTo>
                    <a:pt x="109" y="9"/>
                    <a:pt x="115" y="19"/>
                    <a:pt x="117" y="27"/>
                  </a:cubicBezTo>
                  <a:cubicBezTo>
                    <a:pt x="118" y="30"/>
                    <a:pt x="116" y="33"/>
                    <a:pt x="113" y="34"/>
                  </a:cubicBezTo>
                  <a:cubicBezTo>
                    <a:pt x="110" y="35"/>
                    <a:pt x="106" y="34"/>
                    <a:pt x="105" y="30"/>
                  </a:cubicBezTo>
                  <a:cubicBezTo>
                    <a:pt x="103" y="24"/>
                    <a:pt x="98" y="19"/>
                    <a:pt x="90" y="17"/>
                  </a:cubicBezTo>
                  <a:cubicBezTo>
                    <a:pt x="79" y="13"/>
                    <a:pt x="64" y="24"/>
                    <a:pt x="54" y="35"/>
                  </a:cubicBezTo>
                  <a:cubicBezTo>
                    <a:pt x="52" y="38"/>
                    <a:pt x="32" y="58"/>
                    <a:pt x="10" y="73"/>
                  </a:cubicBezTo>
                  <a:cubicBezTo>
                    <a:pt x="9" y="74"/>
                    <a:pt x="8" y="74"/>
                    <a:pt x="7" y="74"/>
                  </a:cubicBezTo>
                  <a:close/>
                  <a:moveTo>
                    <a:pt x="7" y="74"/>
                  </a:moveTo>
                  <a:cubicBezTo>
                    <a:pt x="7" y="74"/>
                    <a:pt x="7" y="74"/>
                    <a:pt x="7"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0" name="Freeform 10">
              <a:extLst>
                <a:ext uri="{FF2B5EF4-FFF2-40B4-BE49-F238E27FC236}">
                  <a16:creationId xmlns:a16="http://schemas.microsoft.com/office/drawing/2014/main" id="{3DE2469E-F928-417E-AACE-85B95035CDCA}"/>
                </a:ext>
              </a:extLst>
            </p:cNvPr>
            <p:cNvSpPr>
              <a:spLocks noEditPoints="1"/>
            </p:cNvSpPr>
            <p:nvPr/>
          </p:nvSpPr>
          <p:spPr bwMode="auto">
            <a:xfrm>
              <a:off x="1033463" y="4627563"/>
              <a:ext cx="369888" cy="279400"/>
            </a:xfrm>
            <a:custGeom>
              <a:avLst/>
              <a:gdLst>
                <a:gd name="T0" fmla="*/ 7 w 150"/>
                <a:gd name="T1" fmla="*/ 114 h 114"/>
                <a:gd name="T2" fmla="*/ 1 w 150"/>
                <a:gd name="T3" fmla="*/ 110 h 114"/>
                <a:gd name="T4" fmla="*/ 4 w 150"/>
                <a:gd name="T5" fmla="*/ 102 h 114"/>
                <a:gd name="T6" fmla="*/ 82 w 150"/>
                <a:gd name="T7" fmla="*/ 58 h 114"/>
                <a:gd name="T8" fmla="*/ 138 w 150"/>
                <a:gd name="T9" fmla="*/ 5 h 114"/>
                <a:gd name="T10" fmla="*/ 146 w 150"/>
                <a:gd name="T11" fmla="*/ 1 h 114"/>
                <a:gd name="T12" fmla="*/ 149 w 150"/>
                <a:gd name="T13" fmla="*/ 9 h 114"/>
                <a:gd name="T14" fmla="*/ 89 w 150"/>
                <a:gd name="T15" fmla="*/ 69 h 114"/>
                <a:gd name="T16" fmla="*/ 9 w 150"/>
                <a:gd name="T17" fmla="*/ 113 h 114"/>
                <a:gd name="T18" fmla="*/ 7 w 150"/>
                <a:gd name="T19" fmla="*/ 114 h 114"/>
                <a:gd name="T20" fmla="*/ 7 w 150"/>
                <a:gd name="T21" fmla="*/ 114 h 114"/>
                <a:gd name="T22" fmla="*/ 7 w 150"/>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114">
                  <a:moveTo>
                    <a:pt x="7" y="114"/>
                  </a:moveTo>
                  <a:cubicBezTo>
                    <a:pt x="4" y="114"/>
                    <a:pt x="2" y="113"/>
                    <a:pt x="1" y="110"/>
                  </a:cubicBezTo>
                  <a:cubicBezTo>
                    <a:pt x="0" y="107"/>
                    <a:pt x="1" y="103"/>
                    <a:pt x="4" y="102"/>
                  </a:cubicBezTo>
                  <a:cubicBezTo>
                    <a:pt x="31" y="91"/>
                    <a:pt x="68" y="68"/>
                    <a:pt x="82" y="58"/>
                  </a:cubicBezTo>
                  <a:cubicBezTo>
                    <a:pt x="112" y="39"/>
                    <a:pt x="131" y="20"/>
                    <a:pt x="138" y="5"/>
                  </a:cubicBezTo>
                  <a:cubicBezTo>
                    <a:pt x="139" y="2"/>
                    <a:pt x="143" y="0"/>
                    <a:pt x="146" y="1"/>
                  </a:cubicBezTo>
                  <a:cubicBezTo>
                    <a:pt x="149" y="3"/>
                    <a:pt x="150" y="6"/>
                    <a:pt x="149" y="9"/>
                  </a:cubicBezTo>
                  <a:cubicBezTo>
                    <a:pt x="140" y="33"/>
                    <a:pt x="111" y="54"/>
                    <a:pt x="89" y="69"/>
                  </a:cubicBezTo>
                  <a:cubicBezTo>
                    <a:pt x="74" y="78"/>
                    <a:pt x="36" y="102"/>
                    <a:pt x="9" y="113"/>
                  </a:cubicBezTo>
                  <a:cubicBezTo>
                    <a:pt x="8" y="114"/>
                    <a:pt x="8" y="114"/>
                    <a:pt x="7" y="114"/>
                  </a:cubicBezTo>
                  <a:close/>
                  <a:moveTo>
                    <a:pt x="7" y="114"/>
                  </a:moveTo>
                  <a:cubicBezTo>
                    <a:pt x="7" y="114"/>
                    <a:pt x="7" y="114"/>
                    <a:pt x="7" y="1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1" name="Freeform 11">
              <a:extLst>
                <a:ext uri="{FF2B5EF4-FFF2-40B4-BE49-F238E27FC236}">
                  <a16:creationId xmlns:a16="http://schemas.microsoft.com/office/drawing/2014/main" id="{FD280802-CABC-4CAA-AB23-F3190937FA86}"/>
                </a:ext>
              </a:extLst>
            </p:cNvPr>
            <p:cNvSpPr>
              <a:spLocks noEditPoints="1"/>
            </p:cNvSpPr>
            <p:nvPr/>
          </p:nvSpPr>
          <p:spPr bwMode="auto">
            <a:xfrm>
              <a:off x="1155700" y="4454525"/>
              <a:ext cx="153988" cy="101600"/>
            </a:xfrm>
            <a:custGeom>
              <a:avLst/>
              <a:gdLst>
                <a:gd name="T0" fmla="*/ 15 w 62"/>
                <a:gd name="T1" fmla="*/ 35 h 41"/>
                <a:gd name="T2" fmla="*/ 33 w 62"/>
                <a:gd name="T3" fmla="*/ 21 h 41"/>
                <a:gd name="T4" fmla="*/ 56 w 62"/>
                <a:gd name="T5" fmla="*/ 13 h 41"/>
                <a:gd name="T6" fmla="*/ 62 w 62"/>
                <a:gd name="T7" fmla="*/ 7 h 41"/>
                <a:gd name="T8" fmla="*/ 56 w 62"/>
                <a:gd name="T9" fmla="*/ 0 h 41"/>
                <a:gd name="T10" fmla="*/ 6 w 62"/>
                <a:gd name="T11" fmla="*/ 26 h 41"/>
                <a:gd name="T12" fmla="*/ 15 w 62"/>
                <a:gd name="T13" fmla="*/ 35 h 41"/>
                <a:gd name="T14" fmla="*/ 15 w 62"/>
                <a:gd name="T15" fmla="*/ 35 h 41"/>
                <a:gd name="T16" fmla="*/ 15 w 62"/>
                <a:gd name="T1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1">
                  <a:moveTo>
                    <a:pt x="15" y="35"/>
                  </a:moveTo>
                  <a:cubicBezTo>
                    <a:pt x="20" y="30"/>
                    <a:pt x="26" y="25"/>
                    <a:pt x="33" y="21"/>
                  </a:cubicBezTo>
                  <a:cubicBezTo>
                    <a:pt x="40" y="17"/>
                    <a:pt x="48" y="14"/>
                    <a:pt x="56" y="13"/>
                  </a:cubicBezTo>
                  <a:cubicBezTo>
                    <a:pt x="59" y="13"/>
                    <a:pt x="62" y="10"/>
                    <a:pt x="62" y="7"/>
                  </a:cubicBezTo>
                  <a:cubicBezTo>
                    <a:pt x="62" y="4"/>
                    <a:pt x="59" y="0"/>
                    <a:pt x="56" y="0"/>
                  </a:cubicBezTo>
                  <a:cubicBezTo>
                    <a:pt x="36" y="3"/>
                    <a:pt x="20" y="13"/>
                    <a:pt x="6" y="26"/>
                  </a:cubicBezTo>
                  <a:cubicBezTo>
                    <a:pt x="0" y="32"/>
                    <a:pt x="9" y="41"/>
                    <a:pt x="15" y="35"/>
                  </a:cubicBezTo>
                  <a:close/>
                  <a:moveTo>
                    <a:pt x="15" y="35"/>
                  </a:moveTo>
                  <a:cubicBezTo>
                    <a:pt x="15" y="35"/>
                    <a:pt x="15" y="35"/>
                    <a:pt x="15"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2" name="Freeform 12">
              <a:extLst>
                <a:ext uri="{FF2B5EF4-FFF2-40B4-BE49-F238E27FC236}">
                  <a16:creationId xmlns:a16="http://schemas.microsoft.com/office/drawing/2014/main" id="{3CE609D2-8AA9-4BB5-9F2E-B111BB376CD0}"/>
                </a:ext>
              </a:extLst>
            </p:cNvPr>
            <p:cNvSpPr>
              <a:spLocks noEditPoints="1"/>
            </p:cNvSpPr>
            <p:nvPr/>
          </p:nvSpPr>
          <p:spPr bwMode="auto">
            <a:xfrm>
              <a:off x="1011238" y="4560888"/>
              <a:ext cx="144463" cy="107950"/>
            </a:xfrm>
            <a:custGeom>
              <a:avLst/>
              <a:gdLst>
                <a:gd name="T0" fmla="*/ 8 w 59"/>
                <a:gd name="T1" fmla="*/ 43 h 44"/>
                <a:gd name="T2" fmla="*/ 32 w 59"/>
                <a:gd name="T3" fmla="*/ 32 h 44"/>
                <a:gd name="T4" fmla="*/ 54 w 59"/>
                <a:gd name="T5" fmla="*/ 14 h 44"/>
                <a:gd name="T6" fmla="*/ 45 w 59"/>
                <a:gd name="T7" fmla="*/ 6 h 44"/>
                <a:gd name="T8" fmla="*/ 26 w 59"/>
                <a:gd name="T9" fmla="*/ 21 h 44"/>
                <a:gd name="T10" fmla="*/ 5 w 59"/>
                <a:gd name="T11" fmla="*/ 31 h 44"/>
                <a:gd name="T12" fmla="*/ 1 w 59"/>
                <a:gd name="T13" fmla="*/ 39 h 44"/>
                <a:gd name="T14" fmla="*/ 8 w 59"/>
                <a:gd name="T15" fmla="*/ 43 h 44"/>
                <a:gd name="T16" fmla="*/ 8 w 59"/>
                <a:gd name="T17" fmla="*/ 43 h 44"/>
                <a:gd name="T18" fmla="*/ 8 w 59"/>
                <a:gd name="T19"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4">
                  <a:moveTo>
                    <a:pt x="8" y="43"/>
                  </a:moveTo>
                  <a:cubicBezTo>
                    <a:pt x="17" y="41"/>
                    <a:pt x="24" y="36"/>
                    <a:pt x="32" y="32"/>
                  </a:cubicBezTo>
                  <a:cubicBezTo>
                    <a:pt x="40" y="28"/>
                    <a:pt x="47" y="21"/>
                    <a:pt x="54" y="14"/>
                  </a:cubicBezTo>
                  <a:cubicBezTo>
                    <a:pt x="59" y="9"/>
                    <a:pt x="50" y="0"/>
                    <a:pt x="45" y="6"/>
                  </a:cubicBezTo>
                  <a:cubicBezTo>
                    <a:pt x="39" y="12"/>
                    <a:pt x="33" y="17"/>
                    <a:pt x="26" y="21"/>
                  </a:cubicBezTo>
                  <a:cubicBezTo>
                    <a:pt x="19" y="25"/>
                    <a:pt x="12" y="29"/>
                    <a:pt x="5" y="31"/>
                  </a:cubicBezTo>
                  <a:cubicBezTo>
                    <a:pt x="2" y="32"/>
                    <a:pt x="0" y="36"/>
                    <a:pt x="1" y="39"/>
                  </a:cubicBezTo>
                  <a:cubicBezTo>
                    <a:pt x="1" y="42"/>
                    <a:pt x="5" y="44"/>
                    <a:pt x="8" y="43"/>
                  </a:cubicBezTo>
                  <a:close/>
                  <a:moveTo>
                    <a:pt x="8" y="43"/>
                  </a:moveTo>
                  <a:cubicBezTo>
                    <a:pt x="8" y="43"/>
                    <a:pt x="8" y="43"/>
                    <a:pt x="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3" name="Freeform 13">
              <a:extLst>
                <a:ext uri="{FF2B5EF4-FFF2-40B4-BE49-F238E27FC236}">
                  <a16:creationId xmlns:a16="http://schemas.microsoft.com/office/drawing/2014/main" id="{E249284B-4297-4BD8-B9F3-F10F9E82202A}"/>
                </a:ext>
              </a:extLst>
            </p:cNvPr>
            <p:cNvSpPr>
              <a:spLocks noEditPoints="1"/>
            </p:cNvSpPr>
            <p:nvPr/>
          </p:nvSpPr>
          <p:spPr bwMode="auto">
            <a:xfrm>
              <a:off x="1235075" y="4592638"/>
              <a:ext cx="103188" cy="107950"/>
            </a:xfrm>
            <a:custGeom>
              <a:avLst/>
              <a:gdLst>
                <a:gd name="T0" fmla="*/ 7 w 42"/>
                <a:gd name="T1" fmla="*/ 44 h 44"/>
                <a:gd name="T2" fmla="*/ 3 w 42"/>
                <a:gd name="T3" fmla="*/ 42 h 44"/>
                <a:gd name="T4" fmla="*/ 3 w 42"/>
                <a:gd name="T5" fmla="*/ 33 h 44"/>
                <a:gd name="T6" fmla="*/ 30 w 42"/>
                <a:gd name="T7" fmla="*/ 4 h 44"/>
                <a:gd name="T8" fmla="*/ 39 w 42"/>
                <a:gd name="T9" fmla="*/ 2 h 44"/>
                <a:gd name="T10" fmla="*/ 40 w 42"/>
                <a:gd name="T11" fmla="*/ 11 h 44"/>
                <a:gd name="T12" fmla="*/ 11 w 42"/>
                <a:gd name="T13" fmla="*/ 43 h 44"/>
                <a:gd name="T14" fmla="*/ 7 w 42"/>
                <a:gd name="T15" fmla="*/ 44 h 44"/>
                <a:gd name="T16" fmla="*/ 7 w 42"/>
                <a:gd name="T17" fmla="*/ 44 h 44"/>
                <a:gd name="T18" fmla="*/ 7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7" y="44"/>
                  </a:moveTo>
                  <a:cubicBezTo>
                    <a:pt x="6" y="44"/>
                    <a:pt x="4" y="44"/>
                    <a:pt x="3" y="42"/>
                  </a:cubicBezTo>
                  <a:cubicBezTo>
                    <a:pt x="0" y="40"/>
                    <a:pt x="1" y="36"/>
                    <a:pt x="3" y="33"/>
                  </a:cubicBezTo>
                  <a:cubicBezTo>
                    <a:pt x="14" y="24"/>
                    <a:pt x="23" y="14"/>
                    <a:pt x="30" y="4"/>
                  </a:cubicBezTo>
                  <a:cubicBezTo>
                    <a:pt x="32" y="1"/>
                    <a:pt x="36" y="0"/>
                    <a:pt x="39" y="2"/>
                  </a:cubicBezTo>
                  <a:cubicBezTo>
                    <a:pt x="42" y="4"/>
                    <a:pt x="42" y="8"/>
                    <a:pt x="40" y="11"/>
                  </a:cubicBezTo>
                  <a:cubicBezTo>
                    <a:pt x="33" y="22"/>
                    <a:pt x="23" y="33"/>
                    <a:pt x="11" y="43"/>
                  </a:cubicBezTo>
                  <a:cubicBezTo>
                    <a:pt x="10" y="44"/>
                    <a:pt x="9" y="44"/>
                    <a:pt x="7" y="44"/>
                  </a:cubicBezTo>
                  <a:close/>
                  <a:moveTo>
                    <a:pt x="7" y="44"/>
                  </a:moveTo>
                  <a:cubicBezTo>
                    <a:pt x="7" y="44"/>
                    <a:pt x="7" y="44"/>
                    <a:pt x="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4" name="Freeform 14">
              <a:extLst>
                <a:ext uri="{FF2B5EF4-FFF2-40B4-BE49-F238E27FC236}">
                  <a16:creationId xmlns:a16="http://schemas.microsoft.com/office/drawing/2014/main" id="{392D30AD-CD5F-4EBE-A66B-1047779E1A4B}"/>
                </a:ext>
              </a:extLst>
            </p:cNvPr>
            <p:cNvSpPr>
              <a:spLocks noEditPoints="1"/>
            </p:cNvSpPr>
            <p:nvPr/>
          </p:nvSpPr>
          <p:spPr bwMode="auto">
            <a:xfrm>
              <a:off x="1012825" y="4719638"/>
              <a:ext cx="190500" cy="107950"/>
            </a:xfrm>
            <a:custGeom>
              <a:avLst/>
              <a:gdLst>
                <a:gd name="T0" fmla="*/ 7 w 77"/>
                <a:gd name="T1" fmla="*/ 44 h 44"/>
                <a:gd name="T2" fmla="*/ 1 w 77"/>
                <a:gd name="T3" fmla="*/ 40 h 44"/>
                <a:gd name="T4" fmla="*/ 5 w 77"/>
                <a:gd name="T5" fmla="*/ 32 h 44"/>
                <a:gd name="T6" fmla="*/ 5 w 77"/>
                <a:gd name="T7" fmla="*/ 32 h 44"/>
                <a:gd name="T8" fmla="*/ 47 w 77"/>
                <a:gd name="T9" fmla="*/ 13 h 44"/>
                <a:gd name="T10" fmla="*/ 67 w 77"/>
                <a:gd name="T11" fmla="*/ 1 h 44"/>
                <a:gd name="T12" fmla="*/ 75 w 77"/>
                <a:gd name="T13" fmla="*/ 3 h 44"/>
                <a:gd name="T14" fmla="*/ 74 w 77"/>
                <a:gd name="T15" fmla="*/ 12 h 44"/>
                <a:gd name="T16" fmla="*/ 53 w 77"/>
                <a:gd name="T17" fmla="*/ 24 h 44"/>
                <a:gd name="T18" fmla="*/ 9 w 77"/>
                <a:gd name="T19" fmla="*/ 44 h 44"/>
                <a:gd name="T20" fmla="*/ 9 w 77"/>
                <a:gd name="T21" fmla="*/ 44 h 44"/>
                <a:gd name="T22" fmla="*/ 7 w 77"/>
                <a:gd name="T23" fmla="*/ 44 h 44"/>
                <a:gd name="T24" fmla="*/ 7 w 77"/>
                <a:gd name="T25" fmla="*/ 44 h 44"/>
                <a:gd name="T26" fmla="*/ 7 w 77"/>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44">
                  <a:moveTo>
                    <a:pt x="7" y="44"/>
                  </a:moveTo>
                  <a:cubicBezTo>
                    <a:pt x="4" y="44"/>
                    <a:pt x="2" y="43"/>
                    <a:pt x="1" y="40"/>
                  </a:cubicBezTo>
                  <a:cubicBezTo>
                    <a:pt x="0" y="37"/>
                    <a:pt x="2" y="33"/>
                    <a:pt x="5" y="32"/>
                  </a:cubicBezTo>
                  <a:cubicBezTo>
                    <a:pt x="5" y="32"/>
                    <a:pt x="5" y="32"/>
                    <a:pt x="5" y="32"/>
                  </a:cubicBezTo>
                  <a:cubicBezTo>
                    <a:pt x="11" y="30"/>
                    <a:pt x="28" y="24"/>
                    <a:pt x="47" y="13"/>
                  </a:cubicBezTo>
                  <a:cubicBezTo>
                    <a:pt x="54" y="9"/>
                    <a:pt x="61" y="5"/>
                    <a:pt x="67" y="1"/>
                  </a:cubicBezTo>
                  <a:cubicBezTo>
                    <a:pt x="70" y="0"/>
                    <a:pt x="73" y="0"/>
                    <a:pt x="75" y="3"/>
                  </a:cubicBezTo>
                  <a:cubicBezTo>
                    <a:pt x="77" y="6"/>
                    <a:pt x="76" y="10"/>
                    <a:pt x="74" y="12"/>
                  </a:cubicBezTo>
                  <a:cubicBezTo>
                    <a:pt x="67" y="16"/>
                    <a:pt x="60" y="20"/>
                    <a:pt x="53" y="24"/>
                  </a:cubicBezTo>
                  <a:cubicBezTo>
                    <a:pt x="33" y="35"/>
                    <a:pt x="16" y="41"/>
                    <a:pt x="9" y="44"/>
                  </a:cubicBezTo>
                  <a:cubicBezTo>
                    <a:pt x="9" y="44"/>
                    <a:pt x="9" y="44"/>
                    <a:pt x="9" y="44"/>
                  </a:cubicBezTo>
                  <a:cubicBezTo>
                    <a:pt x="8" y="44"/>
                    <a:pt x="8" y="44"/>
                    <a:pt x="7" y="44"/>
                  </a:cubicBezTo>
                  <a:close/>
                  <a:moveTo>
                    <a:pt x="7" y="44"/>
                  </a:moveTo>
                  <a:cubicBezTo>
                    <a:pt x="7" y="44"/>
                    <a:pt x="7" y="44"/>
                    <a:pt x="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5" name="Freeform 15">
              <a:extLst>
                <a:ext uri="{FF2B5EF4-FFF2-40B4-BE49-F238E27FC236}">
                  <a16:creationId xmlns:a16="http://schemas.microsoft.com/office/drawing/2014/main" id="{1E84ED70-F0A5-4E04-B2EB-E4D735CCB9BE}"/>
                </a:ext>
              </a:extLst>
            </p:cNvPr>
            <p:cNvSpPr>
              <a:spLocks noEditPoints="1"/>
            </p:cNvSpPr>
            <p:nvPr/>
          </p:nvSpPr>
          <p:spPr bwMode="auto">
            <a:xfrm>
              <a:off x="1203325" y="4826000"/>
              <a:ext cx="261938" cy="122238"/>
            </a:xfrm>
            <a:custGeom>
              <a:avLst/>
              <a:gdLst>
                <a:gd name="T0" fmla="*/ 99 w 106"/>
                <a:gd name="T1" fmla="*/ 50 h 50"/>
                <a:gd name="T2" fmla="*/ 97 w 106"/>
                <a:gd name="T3" fmla="*/ 49 h 50"/>
                <a:gd name="T4" fmla="*/ 64 w 106"/>
                <a:gd name="T5" fmla="*/ 30 h 50"/>
                <a:gd name="T6" fmla="*/ 36 w 106"/>
                <a:gd name="T7" fmla="*/ 14 h 50"/>
                <a:gd name="T8" fmla="*/ 10 w 106"/>
                <a:gd name="T9" fmla="*/ 29 h 50"/>
                <a:gd name="T10" fmla="*/ 1 w 106"/>
                <a:gd name="T11" fmla="*/ 27 h 50"/>
                <a:gd name="T12" fmla="*/ 3 w 106"/>
                <a:gd name="T13" fmla="*/ 18 h 50"/>
                <a:gd name="T14" fmla="*/ 34 w 106"/>
                <a:gd name="T15" fmla="*/ 2 h 50"/>
                <a:gd name="T16" fmla="*/ 71 w 106"/>
                <a:gd name="T17" fmla="*/ 20 h 50"/>
                <a:gd name="T18" fmla="*/ 101 w 106"/>
                <a:gd name="T19" fmla="*/ 37 h 50"/>
                <a:gd name="T20" fmla="*/ 105 w 106"/>
                <a:gd name="T21" fmla="*/ 45 h 50"/>
                <a:gd name="T22" fmla="*/ 99 w 106"/>
                <a:gd name="T23" fmla="*/ 50 h 50"/>
                <a:gd name="T24" fmla="*/ 99 w 106"/>
                <a:gd name="T25" fmla="*/ 50 h 50"/>
                <a:gd name="T26" fmla="*/ 99 w 106"/>
                <a:gd name="T2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50">
                  <a:moveTo>
                    <a:pt x="99" y="50"/>
                  </a:moveTo>
                  <a:cubicBezTo>
                    <a:pt x="98" y="50"/>
                    <a:pt x="97" y="49"/>
                    <a:pt x="97" y="49"/>
                  </a:cubicBezTo>
                  <a:cubicBezTo>
                    <a:pt x="86" y="46"/>
                    <a:pt x="75" y="38"/>
                    <a:pt x="64" y="30"/>
                  </a:cubicBezTo>
                  <a:cubicBezTo>
                    <a:pt x="54" y="23"/>
                    <a:pt x="41" y="13"/>
                    <a:pt x="36" y="14"/>
                  </a:cubicBezTo>
                  <a:cubicBezTo>
                    <a:pt x="31" y="15"/>
                    <a:pt x="15" y="25"/>
                    <a:pt x="10" y="29"/>
                  </a:cubicBezTo>
                  <a:cubicBezTo>
                    <a:pt x="7" y="30"/>
                    <a:pt x="3" y="30"/>
                    <a:pt x="1" y="27"/>
                  </a:cubicBezTo>
                  <a:cubicBezTo>
                    <a:pt x="0" y="24"/>
                    <a:pt x="0" y="20"/>
                    <a:pt x="3" y="18"/>
                  </a:cubicBezTo>
                  <a:cubicBezTo>
                    <a:pt x="20" y="8"/>
                    <a:pt x="28" y="3"/>
                    <a:pt x="34" y="2"/>
                  </a:cubicBezTo>
                  <a:cubicBezTo>
                    <a:pt x="44" y="0"/>
                    <a:pt x="57" y="9"/>
                    <a:pt x="71" y="20"/>
                  </a:cubicBezTo>
                  <a:cubicBezTo>
                    <a:pt x="82" y="27"/>
                    <a:pt x="92" y="35"/>
                    <a:pt x="101" y="37"/>
                  </a:cubicBezTo>
                  <a:cubicBezTo>
                    <a:pt x="104" y="39"/>
                    <a:pt x="106" y="42"/>
                    <a:pt x="105" y="45"/>
                  </a:cubicBezTo>
                  <a:cubicBezTo>
                    <a:pt x="104" y="48"/>
                    <a:pt x="101" y="50"/>
                    <a:pt x="99" y="50"/>
                  </a:cubicBezTo>
                  <a:close/>
                  <a:moveTo>
                    <a:pt x="99" y="50"/>
                  </a:moveTo>
                  <a:cubicBezTo>
                    <a:pt x="99" y="50"/>
                    <a:pt x="99" y="50"/>
                    <a:pt x="99"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6" name="Freeform 16">
              <a:extLst>
                <a:ext uri="{FF2B5EF4-FFF2-40B4-BE49-F238E27FC236}">
                  <a16:creationId xmlns:a16="http://schemas.microsoft.com/office/drawing/2014/main" id="{FB183058-D96F-4522-B60D-A5EF76319B0C}"/>
                </a:ext>
              </a:extLst>
            </p:cNvPr>
            <p:cNvSpPr>
              <a:spLocks noEditPoints="1"/>
            </p:cNvSpPr>
            <p:nvPr/>
          </p:nvSpPr>
          <p:spPr bwMode="auto">
            <a:xfrm>
              <a:off x="1066800" y="4886325"/>
              <a:ext cx="138113" cy="92075"/>
            </a:xfrm>
            <a:custGeom>
              <a:avLst/>
              <a:gdLst>
                <a:gd name="T0" fmla="*/ 7 w 56"/>
                <a:gd name="T1" fmla="*/ 37 h 37"/>
                <a:gd name="T2" fmla="*/ 1 w 56"/>
                <a:gd name="T3" fmla="*/ 33 h 37"/>
                <a:gd name="T4" fmla="*/ 5 w 56"/>
                <a:gd name="T5" fmla="*/ 25 h 37"/>
                <a:gd name="T6" fmla="*/ 45 w 56"/>
                <a:gd name="T7" fmla="*/ 2 h 37"/>
                <a:gd name="T8" fmla="*/ 54 w 56"/>
                <a:gd name="T9" fmla="*/ 4 h 37"/>
                <a:gd name="T10" fmla="*/ 52 w 56"/>
                <a:gd name="T11" fmla="*/ 12 h 37"/>
                <a:gd name="T12" fmla="*/ 9 w 56"/>
                <a:gd name="T13" fmla="*/ 37 h 37"/>
                <a:gd name="T14" fmla="*/ 7 w 56"/>
                <a:gd name="T15" fmla="*/ 37 h 37"/>
                <a:gd name="T16" fmla="*/ 7 w 56"/>
                <a:gd name="T17" fmla="*/ 37 h 37"/>
                <a:gd name="T18" fmla="*/ 7 w 56"/>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7">
                  <a:moveTo>
                    <a:pt x="7" y="37"/>
                  </a:moveTo>
                  <a:cubicBezTo>
                    <a:pt x="4" y="37"/>
                    <a:pt x="2" y="35"/>
                    <a:pt x="1" y="33"/>
                  </a:cubicBezTo>
                  <a:cubicBezTo>
                    <a:pt x="0" y="29"/>
                    <a:pt x="2" y="26"/>
                    <a:pt x="5" y="25"/>
                  </a:cubicBezTo>
                  <a:cubicBezTo>
                    <a:pt x="13" y="23"/>
                    <a:pt x="31" y="11"/>
                    <a:pt x="45" y="2"/>
                  </a:cubicBezTo>
                  <a:cubicBezTo>
                    <a:pt x="48" y="0"/>
                    <a:pt x="52" y="1"/>
                    <a:pt x="54" y="4"/>
                  </a:cubicBezTo>
                  <a:cubicBezTo>
                    <a:pt x="56" y="6"/>
                    <a:pt x="55" y="10"/>
                    <a:pt x="52" y="12"/>
                  </a:cubicBezTo>
                  <a:cubicBezTo>
                    <a:pt x="32" y="25"/>
                    <a:pt x="17" y="35"/>
                    <a:pt x="9" y="37"/>
                  </a:cubicBezTo>
                  <a:cubicBezTo>
                    <a:pt x="8" y="37"/>
                    <a:pt x="7" y="37"/>
                    <a:pt x="7" y="37"/>
                  </a:cubicBezTo>
                  <a:close/>
                  <a:moveTo>
                    <a:pt x="7" y="37"/>
                  </a:moveTo>
                  <a:cubicBezTo>
                    <a:pt x="7" y="37"/>
                    <a:pt x="7" y="37"/>
                    <a:pt x="7"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7" name="Freeform 17">
              <a:extLst>
                <a:ext uri="{FF2B5EF4-FFF2-40B4-BE49-F238E27FC236}">
                  <a16:creationId xmlns:a16="http://schemas.microsoft.com/office/drawing/2014/main" id="{2DCF6291-BF5B-42BD-BD27-D6FB4B236924}"/>
                </a:ext>
              </a:extLst>
            </p:cNvPr>
            <p:cNvSpPr>
              <a:spLocks noEditPoints="1"/>
            </p:cNvSpPr>
            <p:nvPr/>
          </p:nvSpPr>
          <p:spPr bwMode="auto">
            <a:xfrm>
              <a:off x="1349375" y="4967288"/>
              <a:ext cx="76200" cy="55563"/>
            </a:xfrm>
            <a:custGeom>
              <a:avLst/>
              <a:gdLst>
                <a:gd name="T0" fmla="*/ 24 w 31"/>
                <a:gd name="T1" fmla="*/ 22 h 22"/>
                <a:gd name="T2" fmla="*/ 22 w 31"/>
                <a:gd name="T3" fmla="*/ 21 h 22"/>
                <a:gd name="T4" fmla="*/ 4 w 31"/>
                <a:gd name="T5" fmla="*/ 12 h 22"/>
                <a:gd name="T6" fmla="*/ 2 w 31"/>
                <a:gd name="T7" fmla="*/ 4 h 22"/>
                <a:gd name="T8" fmla="*/ 11 w 31"/>
                <a:gd name="T9" fmla="*/ 1 h 22"/>
                <a:gd name="T10" fmla="*/ 26 w 31"/>
                <a:gd name="T11" fmla="*/ 10 h 22"/>
                <a:gd name="T12" fmla="*/ 30 w 31"/>
                <a:gd name="T13" fmla="*/ 18 h 22"/>
                <a:gd name="T14" fmla="*/ 24 w 31"/>
                <a:gd name="T15" fmla="*/ 22 h 22"/>
                <a:gd name="T16" fmla="*/ 24 w 31"/>
                <a:gd name="T17" fmla="*/ 22 h 22"/>
                <a:gd name="T18" fmla="*/ 24 w 31"/>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2">
                  <a:moveTo>
                    <a:pt x="24" y="22"/>
                  </a:moveTo>
                  <a:cubicBezTo>
                    <a:pt x="23" y="22"/>
                    <a:pt x="23" y="22"/>
                    <a:pt x="22" y="21"/>
                  </a:cubicBezTo>
                  <a:cubicBezTo>
                    <a:pt x="17" y="20"/>
                    <a:pt x="10" y="16"/>
                    <a:pt x="4" y="12"/>
                  </a:cubicBezTo>
                  <a:cubicBezTo>
                    <a:pt x="1" y="10"/>
                    <a:pt x="0" y="6"/>
                    <a:pt x="2" y="4"/>
                  </a:cubicBezTo>
                  <a:cubicBezTo>
                    <a:pt x="4" y="1"/>
                    <a:pt x="8" y="0"/>
                    <a:pt x="11" y="1"/>
                  </a:cubicBezTo>
                  <a:cubicBezTo>
                    <a:pt x="16" y="5"/>
                    <a:pt x="22" y="8"/>
                    <a:pt x="26" y="10"/>
                  </a:cubicBezTo>
                  <a:cubicBezTo>
                    <a:pt x="29" y="11"/>
                    <a:pt x="31" y="15"/>
                    <a:pt x="30" y="18"/>
                  </a:cubicBezTo>
                  <a:cubicBezTo>
                    <a:pt x="29" y="20"/>
                    <a:pt x="27" y="22"/>
                    <a:pt x="24" y="22"/>
                  </a:cubicBezTo>
                  <a:close/>
                  <a:moveTo>
                    <a:pt x="24" y="22"/>
                  </a:moveTo>
                  <a:cubicBezTo>
                    <a:pt x="24" y="22"/>
                    <a:pt x="24" y="22"/>
                    <a:pt x="24"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8" name="Freeform 18">
              <a:extLst>
                <a:ext uri="{FF2B5EF4-FFF2-40B4-BE49-F238E27FC236}">
                  <a16:creationId xmlns:a16="http://schemas.microsoft.com/office/drawing/2014/main" id="{1C3985D6-D972-4AF4-80A9-039A0FBF00E6}"/>
                </a:ext>
              </a:extLst>
            </p:cNvPr>
            <p:cNvSpPr>
              <a:spLocks noEditPoints="1"/>
            </p:cNvSpPr>
            <p:nvPr/>
          </p:nvSpPr>
          <p:spPr bwMode="auto">
            <a:xfrm>
              <a:off x="1122363" y="4924425"/>
              <a:ext cx="227013" cy="122238"/>
            </a:xfrm>
            <a:custGeom>
              <a:avLst/>
              <a:gdLst>
                <a:gd name="T0" fmla="*/ 7 w 92"/>
                <a:gd name="T1" fmla="*/ 50 h 50"/>
                <a:gd name="T2" fmla="*/ 2 w 92"/>
                <a:gd name="T3" fmla="*/ 47 h 50"/>
                <a:gd name="T4" fmla="*/ 4 w 92"/>
                <a:gd name="T5" fmla="*/ 39 h 50"/>
                <a:gd name="T6" fmla="*/ 12 w 92"/>
                <a:gd name="T7" fmla="*/ 33 h 50"/>
                <a:gd name="T8" fmla="*/ 63 w 92"/>
                <a:gd name="T9" fmla="*/ 1 h 50"/>
                <a:gd name="T10" fmla="*/ 88 w 92"/>
                <a:gd name="T11" fmla="*/ 10 h 50"/>
                <a:gd name="T12" fmla="*/ 90 w 92"/>
                <a:gd name="T13" fmla="*/ 19 h 50"/>
                <a:gd name="T14" fmla="*/ 81 w 92"/>
                <a:gd name="T15" fmla="*/ 21 h 50"/>
                <a:gd name="T16" fmla="*/ 65 w 92"/>
                <a:gd name="T17" fmla="*/ 13 h 50"/>
                <a:gd name="T18" fmla="*/ 19 w 92"/>
                <a:gd name="T19" fmla="*/ 43 h 50"/>
                <a:gd name="T20" fmla="*/ 11 w 92"/>
                <a:gd name="T21" fmla="*/ 49 h 50"/>
                <a:gd name="T22" fmla="*/ 7 w 92"/>
                <a:gd name="T23" fmla="*/ 50 h 50"/>
                <a:gd name="T24" fmla="*/ 7 w 92"/>
                <a:gd name="T25" fmla="*/ 50 h 50"/>
                <a:gd name="T26" fmla="*/ 7 w 92"/>
                <a:gd name="T2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50">
                  <a:moveTo>
                    <a:pt x="7" y="50"/>
                  </a:moveTo>
                  <a:cubicBezTo>
                    <a:pt x="5" y="50"/>
                    <a:pt x="3" y="49"/>
                    <a:pt x="2" y="47"/>
                  </a:cubicBezTo>
                  <a:cubicBezTo>
                    <a:pt x="0" y="45"/>
                    <a:pt x="1" y="41"/>
                    <a:pt x="4" y="39"/>
                  </a:cubicBezTo>
                  <a:cubicBezTo>
                    <a:pt x="6" y="37"/>
                    <a:pt x="9" y="35"/>
                    <a:pt x="12" y="33"/>
                  </a:cubicBezTo>
                  <a:cubicBezTo>
                    <a:pt x="39" y="13"/>
                    <a:pt x="55" y="2"/>
                    <a:pt x="63" y="1"/>
                  </a:cubicBezTo>
                  <a:cubicBezTo>
                    <a:pt x="68" y="0"/>
                    <a:pt x="75" y="3"/>
                    <a:pt x="88" y="10"/>
                  </a:cubicBezTo>
                  <a:cubicBezTo>
                    <a:pt x="91" y="12"/>
                    <a:pt x="92" y="16"/>
                    <a:pt x="90" y="19"/>
                  </a:cubicBezTo>
                  <a:cubicBezTo>
                    <a:pt x="88" y="22"/>
                    <a:pt x="84" y="23"/>
                    <a:pt x="81" y="21"/>
                  </a:cubicBezTo>
                  <a:cubicBezTo>
                    <a:pt x="69" y="14"/>
                    <a:pt x="66" y="13"/>
                    <a:pt x="65" y="13"/>
                  </a:cubicBezTo>
                  <a:cubicBezTo>
                    <a:pt x="58" y="14"/>
                    <a:pt x="30" y="35"/>
                    <a:pt x="19" y="43"/>
                  </a:cubicBezTo>
                  <a:cubicBezTo>
                    <a:pt x="16" y="45"/>
                    <a:pt x="13" y="48"/>
                    <a:pt x="11" y="49"/>
                  </a:cubicBezTo>
                  <a:cubicBezTo>
                    <a:pt x="10" y="50"/>
                    <a:pt x="9" y="50"/>
                    <a:pt x="7" y="50"/>
                  </a:cubicBezTo>
                  <a:close/>
                  <a:moveTo>
                    <a:pt x="7" y="50"/>
                  </a:moveTo>
                  <a:cubicBezTo>
                    <a:pt x="7" y="50"/>
                    <a:pt x="7" y="50"/>
                    <a:pt x="7"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599" name="Freeform 19">
              <a:extLst>
                <a:ext uri="{FF2B5EF4-FFF2-40B4-BE49-F238E27FC236}">
                  <a16:creationId xmlns:a16="http://schemas.microsoft.com/office/drawing/2014/main" id="{2BEC47C9-E096-4B5F-9B7C-5F933C35A730}"/>
                </a:ext>
              </a:extLst>
            </p:cNvPr>
            <p:cNvSpPr>
              <a:spLocks noEditPoints="1"/>
            </p:cNvSpPr>
            <p:nvPr/>
          </p:nvSpPr>
          <p:spPr bwMode="auto">
            <a:xfrm>
              <a:off x="1182688" y="5016500"/>
              <a:ext cx="188913" cy="87313"/>
            </a:xfrm>
            <a:custGeom>
              <a:avLst/>
              <a:gdLst>
                <a:gd name="T0" fmla="*/ 7 w 76"/>
                <a:gd name="T1" fmla="*/ 35 h 35"/>
                <a:gd name="T2" fmla="*/ 3 w 76"/>
                <a:gd name="T3" fmla="*/ 33 h 35"/>
                <a:gd name="T4" fmla="*/ 3 w 76"/>
                <a:gd name="T5" fmla="*/ 25 h 35"/>
                <a:gd name="T6" fmla="*/ 34 w 76"/>
                <a:gd name="T7" fmla="*/ 2 h 35"/>
                <a:gd name="T8" fmla="*/ 63 w 76"/>
                <a:gd name="T9" fmla="*/ 14 h 35"/>
                <a:gd name="T10" fmla="*/ 72 w 76"/>
                <a:gd name="T11" fmla="*/ 21 h 35"/>
                <a:gd name="T12" fmla="*/ 74 w 76"/>
                <a:gd name="T13" fmla="*/ 29 h 35"/>
                <a:gd name="T14" fmla="*/ 66 w 76"/>
                <a:gd name="T15" fmla="*/ 31 h 35"/>
                <a:gd name="T16" fmla="*/ 55 w 76"/>
                <a:gd name="T17" fmla="*/ 24 h 35"/>
                <a:gd name="T18" fmla="*/ 36 w 76"/>
                <a:gd name="T19" fmla="*/ 14 h 35"/>
                <a:gd name="T20" fmla="*/ 11 w 76"/>
                <a:gd name="T21" fmla="*/ 33 h 35"/>
                <a:gd name="T22" fmla="*/ 7 w 76"/>
                <a:gd name="T23" fmla="*/ 35 h 35"/>
                <a:gd name="T24" fmla="*/ 7 w 76"/>
                <a:gd name="T25" fmla="*/ 35 h 35"/>
                <a:gd name="T26" fmla="*/ 7 w 76"/>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35">
                  <a:moveTo>
                    <a:pt x="7" y="35"/>
                  </a:moveTo>
                  <a:cubicBezTo>
                    <a:pt x="5" y="35"/>
                    <a:pt x="4" y="35"/>
                    <a:pt x="3" y="33"/>
                  </a:cubicBezTo>
                  <a:cubicBezTo>
                    <a:pt x="0" y="31"/>
                    <a:pt x="0" y="27"/>
                    <a:pt x="3" y="25"/>
                  </a:cubicBezTo>
                  <a:cubicBezTo>
                    <a:pt x="6" y="21"/>
                    <a:pt x="23" y="4"/>
                    <a:pt x="34" y="2"/>
                  </a:cubicBezTo>
                  <a:cubicBezTo>
                    <a:pt x="44" y="0"/>
                    <a:pt x="52" y="7"/>
                    <a:pt x="63" y="14"/>
                  </a:cubicBezTo>
                  <a:cubicBezTo>
                    <a:pt x="66" y="16"/>
                    <a:pt x="69" y="18"/>
                    <a:pt x="72" y="21"/>
                  </a:cubicBezTo>
                  <a:cubicBezTo>
                    <a:pt x="75" y="22"/>
                    <a:pt x="76" y="26"/>
                    <a:pt x="74" y="29"/>
                  </a:cubicBezTo>
                  <a:cubicBezTo>
                    <a:pt x="72" y="32"/>
                    <a:pt x="68" y="33"/>
                    <a:pt x="66" y="31"/>
                  </a:cubicBezTo>
                  <a:cubicBezTo>
                    <a:pt x="62" y="29"/>
                    <a:pt x="58" y="26"/>
                    <a:pt x="55" y="24"/>
                  </a:cubicBezTo>
                  <a:cubicBezTo>
                    <a:pt x="47" y="18"/>
                    <a:pt x="41" y="13"/>
                    <a:pt x="36" y="14"/>
                  </a:cubicBezTo>
                  <a:cubicBezTo>
                    <a:pt x="32" y="15"/>
                    <a:pt x="20" y="25"/>
                    <a:pt x="11" y="33"/>
                  </a:cubicBezTo>
                  <a:cubicBezTo>
                    <a:pt x="10" y="35"/>
                    <a:pt x="9" y="35"/>
                    <a:pt x="7" y="35"/>
                  </a:cubicBezTo>
                  <a:close/>
                  <a:moveTo>
                    <a:pt x="7" y="35"/>
                  </a:moveTo>
                  <a:cubicBezTo>
                    <a:pt x="7" y="35"/>
                    <a:pt x="7" y="35"/>
                    <a:pt x="7"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00" name="Freeform 20">
              <a:extLst>
                <a:ext uri="{FF2B5EF4-FFF2-40B4-BE49-F238E27FC236}">
                  <a16:creationId xmlns:a16="http://schemas.microsoft.com/office/drawing/2014/main" id="{D48A5194-8B6F-4F2D-8EC3-674317BDD507}"/>
                </a:ext>
              </a:extLst>
            </p:cNvPr>
            <p:cNvSpPr>
              <a:spLocks noEditPoints="1"/>
            </p:cNvSpPr>
            <p:nvPr/>
          </p:nvSpPr>
          <p:spPr bwMode="auto">
            <a:xfrm>
              <a:off x="1408113" y="4678363"/>
              <a:ext cx="98425" cy="104775"/>
            </a:xfrm>
            <a:custGeom>
              <a:avLst/>
              <a:gdLst>
                <a:gd name="T0" fmla="*/ 1 w 40"/>
                <a:gd name="T1" fmla="*/ 11 h 43"/>
                <a:gd name="T2" fmla="*/ 30 w 40"/>
                <a:gd name="T3" fmla="*/ 41 h 43"/>
                <a:gd name="T4" fmla="*/ 38 w 40"/>
                <a:gd name="T5" fmla="*/ 39 h 43"/>
                <a:gd name="T6" fmla="*/ 36 w 40"/>
                <a:gd name="T7" fmla="*/ 31 h 43"/>
                <a:gd name="T8" fmla="*/ 21 w 40"/>
                <a:gd name="T9" fmla="*/ 23 h 43"/>
                <a:gd name="T10" fmla="*/ 13 w 40"/>
                <a:gd name="T11" fmla="*/ 7 h 43"/>
                <a:gd name="T12" fmla="*/ 1 w 40"/>
                <a:gd name="T13" fmla="*/ 11 h 43"/>
                <a:gd name="T14" fmla="*/ 1 w 40"/>
                <a:gd name="T15" fmla="*/ 11 h 43"/>
                <a:gd name="T16" fmla="*/ 1 w 40"/>
                <a:gd name="T17"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3">
                  <a:moveTo>
                    <a:pt x="1" y="11"/>
                  </a:moveTo>
                  <a:cubicBezTo>
                    <a:pt x="4" y="27"/>
                    <a:pt x="15" y="36"/>
                    <a:pt x="30" y="41"/>
                  </a:cubicBezTo>
                  <a:cubicBezTo>
                    <a:pt x="33" y="43"/>
                    <a:pt x="36" y="42"/>
                    <a:pt x="38" y="39"/>
                  </a:cubicBezTo>
                  <a:cubicBezTo>
                    <a:pt x="40" y="37"/>
                    <a:pt x="39" y="32"/>
                    <a:pt x="36" y="31"/>
                  </a:cubicBezTo>
                  <a:cubicBezTo>
                    <a:pt x="31" y="29"/>
                    <a:pt x="25" y="26"/>
                    <a:pt x="21" y="23"/>
                  </a:cubicBezTo>
                  <a:cubicBezTo>
                    <a:pt x="16" y="19"/>
                    <a:pt x="14" y="13"/>
                    <a:pt x="13" y="7"/>
                  </a:cubicBezTo>
                  <a:cubicBezTo>
                    <a:pt x="12" y="0"/>
                    <a:pt x="0" y="3"/>
                    <a:pt x="1" y="11"/>
                  </a:cubicBezTo>
                  <a:close/>
                  <a:moveTo>
                    <a:pt x="1" y="11"/>
                  </a:moveTo>
                  <a:cubicBezTo>
                    <a:pt x="1" y="11"/>
                    <a:pt x="1" y="11"/>
                    <a:pt x="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01" name="Freeform 21">
              <a:extLst>
                <a:ext uri="{FF2B5EF4-FFF2-40B4-BE49-F238E27FC236}">
                  <a16:creationId xmlns:a16="http://schemas.microsoft.com/office/drawing/2014/main" id="{7E71AC38-4325-4651-8051-0E9942B1D701}"/>
                </a:ext>
              </a:extLst>
            </p:cNvPr>
            <p:cNvSpPr>
              <a:spLocks noEditPoints="1"/>
            </p:cNvSpPr>
            <p:nvPr/>
          </p:nvSpPr>
          <p:spPr bwMode="auto">
            <a:xfrm>
              <a:off x="1349375" y="4749800"/>
              <a:ext cx="134938" cy="117475"/>
            </a:xfrm>
            <a:custGeom>
              <a:avLst/>
              <a:gdLst>
                <a:gd name="T0" fmla="*/ 2 w 55"/>
                <a:gd name="T1" fmla="*/ 8 h 48"/>
                <a:gd name="T2" fmla="*/ 44 w 55"/>
                <a:gd name="T3" fmla="*/ 46 h 48"/>
                <a:gd name="T4" fmla="*/ 48 w 55"/>
                <a:gd name="T5" fmla="*/ 34 h 48"/>
                <a:gd name="T6" fmla="*/ 35 w 55"/>
                <a:gd name="T7" fmla="*/ 28 h 48"/>
                <a:gd name="T8" fmla="*/ 13 w 55"/>
                <a:gd name="T9" fmla="*/ 5 h 48"/>
                <a:gd name="T10" fmla="*/ 6 w 55"/>
                <a:gd name="T11" fmla="*/ 1 h 48"/>
                <a:gd name="T12" fmla="*/ 2 w 55"/>
                <a:gd name="T13" fmla="*/ 8 h 48"/>
                <a:gd name="T14" fmla="*/ 2 w 55"/>
                <a:gd name="T15" fmla="*/ 8 h 48"/>
                <a:gd name="T16" fmla="*/ 2 w 55"/>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8">
                  <a:moveTo>
                    <a:pt x="2" y="8"/>
                  </a:moveTo>
                  <a:cubicBezTo>
                    <a:pt x="9" y="27"/>
                    <a:pt x="26" y="40"/>
                    <a:pt x="44" y="46"/>
                  </a:cubicBezTo>
                  <a:cubicBezTo>
                    <a:pt x="52" y="48"/>
                    <a:pt x="55" y="36"/>
                    <a:pt x="48" y="34"/>
                  </a:cubicBezTo>
                  <a:cubicBezTo>
                    <a:pt x="43" y="33"/>
                    <a:pt x="40" y="31"/>
                    <a:pt x="35" y="28"/>
                  </a:cubicBezTo>
                  <a:cubicBezTo>
                    <a:pt x="26" y="23"/>
                    <a:pt x="17" y="15"/>
                    <a:pt x="13" y="5"/>
                  </a:cubicBezTo>
                  <a:cubicBezTo>
                    <a:pt x="12" y="2"/>
                    <a:pt x="9" y="0"/>
                    <a:pt x="6" y="1"/>
                  </a:cubicBezTo>
                  <a:cubicBezTo>
                    <a:pt x="3" y="2"/>
                    <a:pt x="0" y="5"/>
                    <a:pt x="2" y="8"/>
                  </a:cubicBezTo>
                  <a:close/>
                  <a:moveTo>
                    <a:pt x="2" y="8"/>
                  </a:moveTo>
                  <a:cubicBezTo>
                    <a:pt x="2" y="8"/>
                    <a:pt x="2" y="8"/>
                    <a:pt x="2"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65" name="Group 5125">
            <a:extLst>
              <a:ext uri="{FF2B5EF4-FFF2-40B4-BE49-F238E27FC236}">
                <a16:creationId xmlns:a16="http://schemas.microsoft.com/office/drawing/2014/main" id="{CA0FD400-311B-4FCB-B3FE-C8114E2C0DD7}"/>
              </a:ext>
            </a:extLst>
          </p:cNvPr>
          <p:cNvGrpSpPr>
            <a:grpSpLocks noChangeAspect="1"/>
          </p:cNvGrpSpPr>
          <p:nvPr/>
        </p:nvGrpSpPr>
        <p:grpSpPr>
          <a:xfrm>
            <a:off x="3191373" y="5416746"/>
            <a:ext cx="308144" cy="308144"/>
            <a:chOff x="411163" y="3849688"/>
            <a:chExt cx="371475" cy="371475"/>
          </a:xfrm>
          <a:solidFill>
            <a:schemeClr val="bg1"/>
          </a:solidFill>
          <a:effectLst/>
        </p:grpSpPr>
        <p:sp>
          <p:nvSpPr>
            <p:cNvPr id="666" name="Freeform 20">
              <a:extLst>
                <a:ext uri="{FF2B5EF4-FFF2-40B4-BE49-F238E27FC236}">
                  <a16:creationId xmlns:a16="http://schemas.microsoft.com/office/drawing/2014/main" id="{11DA0A4A-6750-4AFD-BB5D-F4DAAAB75DBD}"/>
                </a:ext>
              </a:extLst>
            </p:cNvPr>
            <p:cNvSpPr>
              <a:spLocks noEditPoints="1"/>
            </p:cNvSpPr>
            <p:nvPr/>
          </p:nvSpPr>
          <p:spPr bwMode="auto">
            <a:xfrm>
              <a:off x="465138" y="4105276"/>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67" name="Freeform 21">
              <a:extLst>
                <a:ext uri="{FF2B5EF4-FFF2-40B4-BE49-F238E27FC236}">
                  <a16:creationId xmlns:a16="http://schemas.microsoft.com/office/drawing/2014/main" id="{9264E518-385E-4C92-8154-34784DCA01CE}"/>
                </a:ext>
              </a:extLst>
            </p:cNvPr>
            <p:cNvSpPr>
              <a:spLocks noEditPoints="1"/>
            </p:cNvSpPr>
            <p:nvPr/>
          </p:nvSpPr>
          <p:spPr bwMode="auto">
            <a:xfrm>
              <a:off x="411163" y="3849688"/>
              <a:ext cx="371475" cy="371475"/>
            </a:xfrm>
            <a:custGeom>
              <a:avLst/>
              <a:gdLst>
                <a:gd name="T0" fmla="*/ 30 w 96"/>
                <a:gd name="T1" fmla="*/ 96 h 96"/>
                <a:gd name="T2" fmla="*/ 9 w 96"/>
                <a:gd name="T3" fmla="*/ 87 h 96"/>
                <a:gd name="T4" fmla="*/ 0 w 96"/>
                <a:gd name="T5" fmla="*/ 66 h 96"/>
                <a:gd name="T6" fmla="*/ 9 w 96"/>
                <a:gd name="T7" fmla="*/ 45 h 96"/>
                <a:gd name="T8" fmla="*/ 30 w 96"/>
                <a:gd name="T9" fmla="*/ 36 h 96"/>
                <a:gd name="T10" fmla="*/ 42 w 96"/>
                <a:gd name="T11" fmla="*/ 39 h 96"/>
                <a:gd name="T12" fmla="*/ 81 w 96"/>
                <a:gd name="T13" fmla="*/ 1 h 96"/>
                <a:gd name="T14" fmla="*/ 82 w 96"/>
                <a:gd name="T15" fmla="*/ 0 h 96"/>
                <a:gd name="T16" fmla="*/ 94 w 96"/>
                <a:gd name="T17" fmla="*/ 0 h 96"/>
                <a:gd name="T18" fmla="*/ 96 w 96"/>
                <a:gd name="T19" fmla="*/ 2 h 96"/>
                <a:gd name="T20" fmla="*/ 96 w 96"/>
                <a:gd name="T21" fmla="*/ 14 h 96"/>
                <a:gd name="T22" fmla="*/ 95 w 96"/>
                <a:gd name="T23" fmla="*/ 15 h 96"/>
                <a:gd name="T24" fmla="*/ 92 w 96"/>
                <a:gd name="T25" fmla="*/ 19 h 96"/>
                <a:gd name="T26" fmla="*/ 92 w 96"/>
                <a:gd name="T27" fmla="*/ 24 h 96"/>
                <a:gd name="T28" fmla="*/ 90 w 96"/>
                <a:gd name="T29" fmla="*/ 26 h 96"/>
                <a:gd name="T30" fmla="*/ 85 w 96"/>
                <a:gd name="T31" fmla="*/ 26 h 96"/>
                <a:gd name="T32" fmla="*/ 84 w 96"/>
                <a:gd name="T33" fmla="*/ 27 h 96"/>
                <a:gd name="T34" fmla="*/ 84 w 96"/>
                <a:gd name="T35" fmla="*/ 32 h 96"/>
                <a:gd name="T36" fmla="*/ 82 w 96"/>
                <a:gd name="T37" fmla="*/ 34 h 96"/>
                <a:gd name="T38" fmla="*/ 77 w 96"/>
                <a:gd name="T39" fmla="*/ 34 h 96"/>
                <a:gd name="T40" fmla="*/ 76 w 96"/>
                <a:gd name="T41" fmla="*/ 35 h 96"/>
                <a:gd name="T42" fmla="*/ 76 w 96"/>
                <a:gd name="T43" fmla="*/ 40 h 96"/>
                <a:gd name="T44" fmla="*/ 74 w 96"/>
                <a:gd name="T45" fmla="*/ 42 h 96"/>
                <a:gd name="T46" fmla="*/ 69 w 96"/>
                <a:gd name="T47" fmla="*/ 42 h 96"/>
                <a:gd name="T48" fmla="*/ 57 w 96"/>
                <a:gd name="T49" fmla="*/ 54 h 96"/>
                <a:gd name="T50" fmla="*/ 51 w 96"/>
                <a:gd name="T51" fmla="*/ 87 h 96"/>
                <a:gd name="T52" fmla="*/ 30 w 96"/>
                <a:gd name="T53" fmla="*/ 96 h 96"/>
                <a:gd name="T54" fmla="*/ 30 w 96"/>
                <a:gd name="T55" fmla="*/ 40 h 96"/>
                <a:gd name="T56" fmla="*/ 12 w 96"/>
                <a:gd name="T57" fmla="*/ 48 h 96"/>
                <a:gd name="T58" fmla="*/ 4 w 96"/>
                <a:gd name="T59" fmla="*/ 66 h 96"/>
                <a:gd name="T60" fmla="*/ 12 w 96"/>
                <a:gd name="T61" fmla="*/ 84 h 96"/>
                <a:gd name="T62" fmla="*/ 30 w 96"/>
                <a:gd name="T63" fmla="*/ 92 h 96"/>
                <a:gd name="T64" fmla="*/ 48 w 96"/>
                <a:gd name="T65" fmla="*/ 84 h 96"/>
                <a:gd name="T66" fmla="*/ 53 w 96"/>
                <a:gd name="T67" fmla="*/ 54 h 96"/>
                <a:gd name="T68" fmla="*/ 53 w 96"/>
                <a:gd name="T69" fmla="*/ 52 h 96"/>
                <a:gd name="T70" fmla="*/ 67 w 96"/>
                <a:gd name="T71" fmla="*/ 39 h 96"/>
                <a:gd name="T72" fmla="*/ 68 w 96"/>
                <a:gd name="T73" fmla="*/ 38 h 96"/>
                <a:gd name="T74" fmla="*/ 72 w 96"/>
                <a:gd name="T75" fmla="*/ 38 h 96"/>
                <a:gd name="T76" fmla="*/ 72 w 96"/>
                <a:gd name="T77" fmla="*/ 34 h 96"/>
                <a:gd name="T78" fmla="*/ 73 w 96"/>
                <a:gd name="T79" fmla="*/ 33 h 96"/>
                <a:gd name="T80" fmla="*/ 75 w 96"/>
                <a:gd name="T81" fmla="*/ 31 h 96"/>
                <a:gd name="T82" fmla="*/ 76 w 96"/>
                <a:gd name="T83" fmla="*/ 30 h 96"/>
                <a:gd name="T84" fmla="*/ 80 w 96"/>
                <a:gd name="T85" fmla="*/ 30 h 96"/>
                <a:gd name="T86" fmla="*/ 80 w 96"/>
                <a:gd name="T87" fmla="*/ 26 h 96"/>
                <a:gd name="T88" fmla="*/ 81 w 96"/>
                <a:gd name="T89" fmla="*/ 25 h 96"/>
                <a:gd name="T90" fmla="*/ 83 w 96"/>
                <a:gd name="T91" fmla="*/ 23 h 96"/>
                <a:gd name="T92" fmla="*/ 84 w 96"/>
                <a:gd name="T93" fmla="*/ 22 h 96"/>
                <a:gd name="T94" fmla="*/ 88 w 96"/>
                <a:gd name="T95" fmla="*/ 22 h 96"/>
                <a:gd name="T96" fmla="*/ 88 w 96"/>
                <a:gd name="T97" fmla="*/ 18 h 96"/>
                <a:gd name="T98" fmla="*/ 89 w 96"/>
                <a:gd name="T99" fmla="*/ 17 h 96"/>
                <a:gd name="T100" fmla="*/ 92 w 96"/>
                <a:gd name="T101" fmla="*/ 13 h 96"/>
                <a:gd name="T102" fmla="*/ 92 w 96"/>
                <a:gd name="T103" fmla="*/ 4 h 96"/>
                <a:gd name="T104" fmla="*/ 83 w 96"/>
                <a:gd name="T105" fmla="*/ 4 h 96"/>
                <a:gd name="T106" fmla="*/ 44 w 96"/>
                <a:gd name="T107" fmla="*/ 43 h 96"/>
                <a:gd name="T108" fmla="*/ 42 w 96"/>
                <a:gd name="T109" fmla="*/ 43 h 96"/>
                <a:gd name="T110" fmla="*/ 30 w 96"/>
                <a:gd name="T111" fmla="*/ 4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96">
                  <a:moveTo>
                    <a:pt x="30" y="96"/>
                  </a:moveTo>
                  <a:cubicBezTo>
                    <a:pt x="22" y="96"/>
                    <a:pt x="14" y="93"/>
                    <a:pt x="9" y="87"/>
                  </a:cubicBezTo>
                  <a:cubicBezTo>
                    <a:pt x="3" y="82"/>
                    <a:pt x="0" y="74"/>
                    <a:pt x="0" y="66"/>
                  </a:cubicBezTo>
                  <a:cubicBezTo>
                    <a:pt x="0" y="58"/>
                    <a:pt x="3" y="50"/>
                    <a:pt x="9" y="45"/>
                  </a:cubicBezTo>
                  <a:cubicBezTo>
                    <a:pt x="14" y="39"/>
                    <a:pt x="22" y="36"/>
                    <a:pt x="30" y="36"/>
                  </a:cubicBezTo>
                  <a:cubicBezTo>
                    <a:pt x="34" y="36"/>
                    <a:pt x="39" y="37"/>
                    <a:pt x="42" y="39"/>
                  </a:cubicBezTo>
                  <a:cubicBezTo>
                    <a:pt x="81" y="1"/>
                    <a:pt x="81" y="1"/>
                    <a:pt x="81" y="1"/>
                  </a:cubicBezTo>
                  <a:cubicBezTo>
                    <a:pt x="81" y="0"/>
                    <a:pt x="81" y="0"/>
                    <a:pt x="82" y="0"/>
                  </a:cubicBezTo>
                  <a:cubicBezTo>
                    <a:pt x="94" y="0"/>
                    <a:pt x="94" y="0"/>
                    <a:pt x="94" y="0"/>
                  </a:cubicBezTo>
                  <a:cubicBezTo>
                    <a:pt x="95" y="0"/>
                    <a:pt x="96" y="1"/>
                    <a:pt x="96" y="2"/>
                  </a:cubicBezTo>
                  <a:cubicBezTo>
                    <a:pt x="96" y="14"/>
                    <a:pt x="96" y="14"/>
                    <a:pt x="96" y="14"/>
                  </a:cubicBezTo>
                  <a:cubicBezTo>
                    <a:pt x="96" y="15"/>
                    <a:pt x="96" y="15"/>
                    <a:pt x="95" y="15"/>
                  </a:cubicBezTo>
                  <a:cubicBezTo>
                    <a:pt x="92" y="19"/>
                    <a:pt x="92" y="19"/>
                    <a:pt x="92" y="19"/>
                  </a:cubicBezTo>
                  <a:cubicBezTo>
                    <a:pt x="92" y="24"/>
                    <a:pt x="92" y="24"/>
                    <a:pt x="92" y="24"/>
                  </a:cubicBezTo>
                  <a:cubicBezTo>
                    <a:pt x="92" y="25"/>
                    <a:pt x="91" y="26"/>
                    <a:pt x="90" y="26"/>
                  </a:cubicBezTo>
                  <a:cubicBezTo>
                    <a:pt x="85" y="26"/>
                    <a:pt x="85" y="26"/>
                    <a:pt x="85" y="26"/>
                  </a:cubicBezTo>
                  <a:cubicBezTo>
                    <a:pt x="84" y="27"/>
                    <a:pt x="84" y="27"/>
                    <a:pt x="84" y="27"/>
                  </a:cubicBezTo>
                  <a:cubicBezTo>
                    <a:pt x="84" y="32"/>
                    <a:pt x="84" y="32"/>
                    <a:pt x="84" y="32"/>
                  </a:cubicBezTo>
                  <a:cubicBezTo>
                    <a:pt x="84" y="33"/>
                    <a:pt x="83" y="34"/>
                    <a:pt x="82" y="34"/>
                  </a:cubicBezTo>
                  <a:cubicBezTo>
                    <a:pt x="77" y="34"/>
                    <a:pt x="77" y="34"/>
                    <a:pt x="77" y="34"/>
                  </a:cubicBezTo>
                  <a:cubicBezTo>
                    <a:pt x="76" y="35"/>
                    <a:pt x="76" y="35"/>
                    <a:pt x="76" y="35"/>
                  </a:cubicBezTo>
                  <a:cubicBezTo>
                    <a:pt x="76" y="40"/>
                    <a:pt x="76" y="40"/>
                    <a:pt x="76" y="40"/>
                  </a:cubicBezTo>
                  <a:cubicBezTo>
                    <a:pt x="76" y="41"/>
                    <a:pt x="75" y="42"/>
                    <a:pt x="74" y="42"/>
                  </a:cubicBezTo>
                  <a:cubicBezTo>
                    <a:pt x="69" y="42"/>
                    <a:pt x="69" y="42"/>
                    <a:pt x="69" y="42"/>
                  </a:cubicBezTo>
                  <a:cubicBezTo>
                    <a:pt x="57" y="54"/>
                    <a:pt x="57" y="54"/>
                    <a:pt x="57" y="54"/>
                  </a:cubicBezTo>
                  <a:cubicBezTo>
                    <a:pt x="63" y="65"/>
                    <a:pt x="60" y="78"/>
                    <a:pt x="51" y="87"/>
                  </a:cubicBezTo>
                  <a:cubicBezTo>
                    <a:pt x="46" y="93"/>
                    <a:pt x="38" y="96"/>
                    <a:pt x="30" y="96"/>
                  </a:cubicBezTo>
                  <a:close/>
                  <a:moveTo>
                    <a:pt x="30" y="40"/>
                  </a:moveTo>
                  <a:cubicBezTo>
                    <a:pt x="23" y="40"/>
                    <a:pt x="17" y="43"/>
                    <a:pt x="12" y="48"/>
                  </a:cubicBezTo>
                  <a:cubicBezTo>
                    <a:pt x="7" y="53"/>
                    <a:pt x="4" y="59"/>
                    <a:pt x="4" y="66"/>
                  </a:cubicBezTo>
                  <a:cubicBezTo>
                    <a:pt x="4" y="73"/>
                    <a:pt x="7" y="79"/>
                    <a:pt x="12" y="84"/>
                  </a:cubicBezTo>
                  <a:cubicBezTo>
                    <a:pt x="17" y="89"/>
                    <a:pt x="23" y="92"/>
                    <a:pt x="30" y="92"/>
                  </a:cubicBezTo>
                  <a:cubicBezTo>
                    <a:pt x="37" y="92"/>
                    <a:pt x="43" y="89"/>
                    <a:pt x="48" y="84"/>
                  </a:cubicBezTo>
                  <a:cubicBezTo>
                    <a:pt x="56" y="76"/>
                    <a:pt x="58" y="64"/>
                    <a:pt x="53" y="54"/>
                  </a:cubicBezTo>
                  <a:cubicBezTo>
                    <a:pt x="53" y="53"/>
                    <a:pt x="53" y="52"/>
                    <a:pt x="53" y="52"/>
                  </a:cubicBezTo>
                  <a:cubicBezTo>
                    <a:pt x="67" y="39"/>
                    <a:pt x="67" y="39"/>
                    <a:pt x="67" y="39"/>
                  </a:cubicBezTo>
                  <a:cubicBezTo>
                    <a:pt x="67" y="38"/>
                    <a:pt x="67" y="38"/>
                    <a:pt x="68" y="38"/>
                  </a:cubicBezTo>
                  <a:cubicBezTo>
                    <a:pt x="72" y="38"/>
                    <a:pt x="72" y="38"/>
                    <a:pt x="72" y="38"/>
                  </a:cubicBezTo>
                  <a:cubicBezTo>
                    <a:pt x="72" y="34"/>
                    <a:pt x="72" y="34"/>
                    <a:pt x="72" y="34"/>
                  </a:cubicBezTo>
                  <a:cubicBezTo>
                    <a:pt x="72" y="33"/>
                    <a:pt x="72" y="33"/>
                    <a:pt x="73" y="33"/>
                  </a:cubicBezTo>
                  <a:cubicBezTo>
                    <a:pt x="75" y="31"/>
                    <a:pt x="75" y="31"/>
                    <a:pt x="75" y="31"/>
                  </a:cubicBezTo>
                  <a:cubicBezTo>
                    <a:pt x="75" y="30"/>
                    <a:pt x="75" y="30"/>
                    <a:pt x="76" y="30"/>
                  </a:cubicBezTo>
                  <a:cubicBezTo>
                    <a:pt x="80" y="30"/>
                    <a:pt x="80" y="30"/>
                    <a:pt x="80" y="30"/>
                  </a:cubicBezTo>
                  <a:cubicBezTo>
                    <a:pt x="80" y="26"/>
                    <a:pt x="80" y="26"/>
                    <a:pt x="80" y="26"/>
                  </a:cubicBezTo>
                  <a:cubicBezTo>
                    <a:pt x="80" y="25"/>
                    <a:pt x="80" y="25"/>
                    <a:pt x="81" y="25"/>
                  </a:cubicBezTo>
                  <a:cubicBezTo>
                    <a:pt x="83" y="23"/>
                    <a:pt x="83" y="23"/>
                    <a:pt x="83" y="23"/>
                  </a:cubicBezTo>
                  <a:cubicBezTo>
                    <a:pt x="83" y="22"/>
                    <a:pt x="83" y="22"/>
                    <a:pt x="84" y="22"/>
                  </a:cubicBezTo>
                  <a:cubicBezTo>
                    <a:pt x="88" y="22"/>
                    <a:pt x="88" y="22"/>
                    <a:pt x="88" y="22"/>
                  </a:cubicBezTo>
                  <a:cubicBezTo>
                    <a:pt x="88" y="18"/>
                    <a:pt x="88" y="18"/>
                    <a:pt x="88" y="18"/>
                  </a:cubicBezTo>
                  <a:cubicBezTo>
                    <a:pt x="88" y="17"/>
                    <a:pt x="88" y="17"/>
                    <a:pt x="89" y="17"/>
                  </a:cubicBezTo>
                  <a:cubicBezTo>
                    <a:pt x="92" y="13"/>
                    <a:pt x="92" y="13"/>
                    <a:pt x="92" y="13"/>
                  </a:cubicBezTo>
                  <a:cubicBezTo>
                    <a:pt x="92" y="4"/>
                    <a:pt x="92" y="4"/>
                    <a:pt x="92" y="4"/>
                  </a:cubicBezTo>
                  <a:cubicBezTo>
                    <a:pt x="83" y="4"/>
                    <a:pt x="83" y="4"/>
                    <a:pt x="83" y="4"/>
                  </a:cubicBezTo>
                  <a:cubicBezTo>
                    <a:pt x="44" y="43"/>
                    <a:pt x="44" y="43"/>
                    <a:pt x="44" y="43"/>
                  </a:cubicBezTo>
                  <a:cubicBezTo>
                    <a:pt x="44" y="43"/>
                    <a:pt x="43" y="43"/>
                    <a:pt x="42" y="43"/>
                  </a:cubicBezTo>
                  <a:cubicBezTo>
                    <a:pt x="38" y="41"/>
                    <a:pt x="34" y="40"/>
                    <a:pt x="3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682" name="Freeform 21">
            <a:extLst>
              <a:ext uri="{FF2B5EF4-FFF2-40B4-BE49-F238E27FC236}">
                <a16:creationId xmlns:a16="http://schemas.microsoft.com/office/drawing/2014/main" id="{0339FC68-6EB0-4981-8C00-EFE2AEFC04C5}"/>
              </a:ext>
            </a:extLst>
          </p:cNvPr>
          <p:cNvSpPr>
            <a:spLocks noChangeAspect="1" noEditPoints="1"/>
          </p:cNvSpPr>
          <p:nvPr/>
        </p:nvSpPr>
        <p:spPr bwMode="auto">
          <a:xfrm>
            <a:off x="4022019" y="5465574"/>
            <a:ext cx="330486" cy="210489"/>
          </a:xfrm>
          <a:custGeom>
            <a:avLst/>
            <a:gdLst>
              <a:gd name="T0" fmla="*/ 539 w 840"/>
              <a:gd name="T1" fmla="*/ 480 h 533"/>
              <a:gd name="T2" fmla="*/ 486 w 840"/>
              <a:gd name="T3" fmla="*/ 409 h 533"/>
              <a:gd name="T4" fmla="*/ 491 w 840"/>
              <a:gd name="T5" fmla="*/ 315 h 533"/>
              <a:gd name="T6" fmla="*/ 551 w 840"/>
              <a:gd name="T7" fmla="*/ 249 h 533"/>
              <a:gd name="T8" fmla="*/ 642 w 840"/>
              <a:gd name="T9" fmla="*/ 236 h 533"/>
              <a:gd name="T10" fmla="*/ 719 w 840"/>
              <a:gd name="T11" fmla="*/ 282 h 533"/>
              <a:gd name="T12" fmla="*/ 750 w 840"/>
              <a:gd name="T13" fmla="*/ 368 h 533"/>
              <a:gd name="T14" fmla="*/ 719 w 840"/>
              <a:gd name="T15" fmla="*/ 454 h 533"/>
              <a:gd name="T16" fmla="*/ 642 w 840"/>
              <a:gd name="T17" fmla="*/ 501 h 533"/>
              <a:gd name="T18" fmla="*/ 383 w 840"/>
              <a:gd name="T19" fmla="*/ 321 h 533"/>
              <a:gd name="T20" fmla="*/ 312 w 840"/>
              <a:gd name="T21" fmla="*/ 228 h 533"/>
              <a:gd name="T22" fmla="*/ 490 w 840"/>
              <a:gd name="T23" fmla="*/ 261 h 533"/>
              <a:gd name="T24" fmla="*/ 430 w 840"/>
              <a:gd name="T25" fmla="*/ 309 h 533"/>
              <a:gd name="T26" fmla="*/ 161 w 840"/>
              <a:gd name="T27" fmla="*/ 487 h 533"/>
              <a:gd name="T28" fmla="*/ 101 w 840"/>
              <a:gd name="T29" fmla="*/ 420 h 533"/>
              <a:gd name="T30" fmla="*/ 97 w 840"/>
              <a:gd name="T31" fmla="*/ 328 h 533"/>
              <a:gd name="T32" fmla="*/ 150 w 840"/>
              <a:gd name="T33" fmla="*/ 257 h 533"/>
              <a:gd name="T34" fmla="*/ 239 w 840"/>
              <a:gd name="T35" fmla="*/ 234 h 533"/>
              <a:gd name="T36" fmla="*/ 321 w 840"/>
              <a:gd name="T37" fmla="*/ 273 h 533"/>
              <a:gd name="T38" fmla="*/ 359 w 840"/>
              <a:gd name="T39" fmla="*/ 354 h 533"/>
              <a:gd name="T40" fmla="*/ 337 w 840"/>
              <a:gd name="T41" fmla="*/ 444 h 533"/>
              <a:gd name="T42" fmla="*/ 265 w 840"/>
              <a:gd name="T43" fmla="*/ 496 h 533"/>
              <a:gd name="T44" fmla="*/ 774 w 840"/>
              <a:gd name="T45" fmla="*/ 323 h 533"/>
              <a:gd name="T46" fmla="*/ 715 w 840"/>
              <a:gd name="T47" fmla="*/ 237 h 533"/>
              <a:gd name="T48" fmla="*/ 615 w 840"/>
              <a:gd name="T49" fmla="*/ 203 h 533"/>
              <a:gd name="T50" fmla="*/ 630 w 840"/>
              <a:gd name="T51" fmla="*/ 33 h 533"/>
              <a:gd name="T52" fmla="*/ 676 w 840"/>
              <a:gd name="T53" fmla="*/ 46 h 533"/>
              <a:gd name="T54" fmla="*/ 695 w 840"/>
              <a:gd name="T55" fmla="*/ 53 h 533"/>
              <a:gd name="T56" fmla="*/ 704 w 840"/>
              <a:gd name="T57" fmla="*/ 37 h 533"/>
              <a:gd name="T58" fmla="*/ 679 w 840"/>
              <a:gd name="T59" fmla="*/ 7 h 533"/>
              <a:gd name="T60" fmla="*/ 634 w 840"/>
              <a:gd name="T61" fmla="*/ 1 h 533"/>
              <a:gd name="T62" fmla="*/ 226 w 840"/>
              <a:gd name="T63" fmla="*/ 7 h 533"/>
              <a:gd name="T64" fmla="*/ 180 w 840"/>
              <a:gd name="T65" fmla="*/ 1 h 533"/>
              <a:gd name="T66" fmla="*/ 141 w 840"/>
              <a:gd name="T67" fmla="*/ 25 h 533"/>
              <a:gd name="T68" fmla="*/ 139 w 840"/>
              <a:gd name="T69" fmla="*/ 48 h 533"/>
              <a:gd name="T70" fmla="*/ 157 w 840"/>
              <a:gd name="T71" fmla="*/ 52 h 533"/>
              <a:gd name="T72" fmla="*/ 186 w 840"/>
              <a:gd name="T73" fmla="*/ 30 h 533"/>
              <a:gd name="T74" fmla="*/ 250 w 840"/>
              <a:gd name="T75" fmla="*/ 205 h 533"/>
              <a:gd name="T76" fmla="*/ 164 w 840"/>
              <a:gd name="T77" fmla="*/ 215 h 533"/>
              <a:gd name="T78" fmla="*/ 85 w 840"/>
              <a:gd name="T79" fmla="*/ 281 h 533"/>
              <a:gd name="T80" fmla="*/ 12 w 840"/>
              <a:gd name="T81" fmla="*/ 353 h 533"/>
              <a:gd name="T82" fmla="*/ 0 w 840"/>
              <a:gd name="T83" fmla="*/ 368 h 533"/>
              <a:gd name="T84" fmla="*/ 12 w 840"/>
              <a:gd name="T85" fmla="*/ 383 h 533"/>
              <a:gd name="T86" fmla="*/ 85 w 840"/>
              <a:gd name="T87" fmla="*/ 455 h 533"/>
              <a:gd name="T88" fmla="*/ 164 w 840"/>
              <a:gd name="T89" fmla="*/ 521 h 533"/>
              <a:gd name="T90" fmla="*/ 275 w 840"/>
              <a:gd name="T91" fmla="*/ 525 h 533"/>
              <a:gd name="T92" fmla="*/ 361 w 840"/>
              <a:gd name="T93" fmla="*/ 460 h 533"/>
              <a:gd name="T94" fmla="*/ 390 w 840"/>
              <a:gd name="T95" fmla="*/ 363 h 533"/>
              <a:gd name="T96" fmla="*/ 420 w 840"/>
              <a:gd name="T97" fmla="*/ 338 h 533"/>
              <a:gd name="T98" fmla="*/ 449 w 840"/>
              <a:gd name="T99" fmla="*/ 363 h 533"/>
              <a:gd name="T100" fmla="*/ 478 w 840"/>
              <a:gd name="T101" fmla="*/ 460 h 533"/>
              <a:gd name="T102" fmla="*/ 566 w 840"/>
              <a:gd name="T103" fmla="*/ 525 h 533"/>
              <a:gd name="T104" fmla="*/ 675 w 840"/>
              <a:gd name="T105" fmla="*/ 521 h 533"/>
              <a:gd name="T106" fmla="*/ 755 w 840"/>
              <a:gd name="T107" fmla="*/ 455 h 533"/>
              <a:gd name="T108" fmla="*/ 827 w 840"/>
              <a:gd name="T109" fmla="*/ 383 h 533"/>
              <a:gd name="T110" fmla="*/ 840 w 840"/>
              <a:gd name="T111" fmla="*/ 368 h 533"/>
              <a:gd name="T112" fmla="*/ 827 w 840"/>
              <a:gd name="T113" fmla="*/ 35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0" h="533">
                <a:moveTo>
                  <a:pt x="615" y="503"/>
                </a:moveTo>
                <a:lnTo>
                  <a:pt x="601" y="502"/>
                </a:lnTo>
                <a:lnTo>
                  <a:pt x="587" y="501"/>
                </a:lnTo>
                <a:lnTo>
                  <a:pt x="575" y="496"/>
                </a:lnTo>
                <a:lnTo>
                  <a:pt x="563" y="492"/>
                </a:lnTo>
                <a:lnTo>
                  <a:pt x="551" y="487"/>
                </a:lnTo>
                <a:lnTo>
                  <a:pt x="539" y="480"/>
                </a:lnTo>
                <a:lnTo>
                  <a:pt x="530" y="472"/>
                </a:lnTo>
                <a:lnTo>
                  <a:pt x="520" y="463"/>
                </a:lnTo>
                <a:lnTo>
                  <a:pt x="511" y="454"/>
                </a:lnTo>
                <a:lnTo>
                  <a:pt x="503" y="444"/>
                </a:lnTo>
                <a:lnTo>
                  <a:pt x="496" y="432"/>
                </a:lnTo>
                <a:lnTo>
                  <a:pt x="491" y="420"/>
                </a:lnTo>
                <a:lnTo>
                  <a:pt x="486" y="409"/>
                </a:lnTo>
                <a:lnTo>
                  <a:pt x="482" y="396"/>
                </a:lnTo>
                <a:lnTo>
                  <a:pt x="480" y="382"/>
                </a:lnTo>
                <a:lnTo>
                  <a:pt x="480" y="368"/>
                </a:lnTo>
                <a:lnTo>
                  <a:pt x="480" y="354"/>
                </a:lnTo>
                <a:lnTo>
                  <a:pt x="482" y="341"/>
                </a:lnTo>
                <a:lnTo>
                  <a:pt x="486" y="328"/>
                </a:lnTo>
                <a:lnTo>
                  <a:pt x="491" y="315"/>
                </a:lnTo>
                <a:lnTo>
                  <a:pt x="496" y="304"/>
                </a:lnTo>
                <a:lnTo>
                  <a:pt x="503" y="293"/>
                </a:lnTo>
                <a:lnTo>
                  <a:pt x="511" y="282"/>
                </a:lnTo>
                <a:lnTo>
                  <a:pt x="520" y="273"/>
                </a:lnTo>
                <a:lnTo>
                  <a:pt x="530" y="264"/>
                </a:lnTo>
                <a:lnTo>
                  <a:pt x="539" y="257"/>
                </a:lnTo>
                <a:lnTo>
                  <a:pt x="551" y="249"/>
                </a:lnTo>
                <a:lnTo>
                  <a:pt x="563" y="244"/>
                </a:lnTo>
                <a:lnTo>
                  <a:pt x="575" y="239"/>
                </a:lnTo>
                <a:lnTo>
                  <a:pt x="587" y="236"/>
                </a:lnTo>
                <a:lnTo>
                  <a:pt x="601" y="234"/>
                </a:lnTo>
                <a:lnTo>
                  <a:pt x="615" y="233"/>
                </a:lnTo>
                <a:lnTo>
                  <a:pt x="629" y="234"/>
                </a:lnTo>
                <a:lnTo>
                  <a:pt x="642" y="236"/>
                </a:lnTo>
                <a:lnTo>
                  <a:pt x="655" y="239"/>
                </a:lnTo>
                <a:lnTo>
                  <a:pt x="668" y="244"/>
                </a:lnTo>
                <a:lnTo>
                  <a:pt x="680" y="249"/>
                </a:lnTo>
                <a:lnTo>
                  <a:pt x="690" y="257"/>
                </a:lnTo>
                <a:lnTo>
                  <a:pt x="701" y="264"/>
                </a:lnTo>
                <a:lnTo>
                  <a:pt x="711" y="273"/>
                </a:lnTo>
                <a:lnTo>
                  <a:pt x="719" y="282"/>
                </a:lnTo>
                <a:lnTo>
                  <a:pt x="727" y="293"/>
                </a:lnTo>
                <a:lnTo>
                  <a:pt x="733" y="304"/>
                </a:lnTo>
                <a:lnTo>
                  <a:pt x="740" y="315"/>
                </a:lnTo>
                <a:lnTo>
                  <a:pt x="744" y="328"/>
                </a:lnTo>
                <a:lnTo>
                  <a:pt x="747" y="341"/>
                </a:lnTo>
                <a:lnTo>
                  <a:pt x="749" y="354"/>
                </a:lnTo>
                <a:lnTo>
                  <a:pt x="750" y="368"/>
                </a:lnTo>
                <a:lnTo>
                  <a:pt x="749" y="382"/>
                </a:lnTo>
                <a:lnTo>
                  <a:pt x="747" y="396"/>
                </a:lnTo>
                <a:lnTo>
                  <a:pt x="744" y="409"/>
                </a:lnTo>
                <a:lnTo>
                  <a:pt x="740" y="420"/>
                </a:lnTo>
                <a:lnTo>
                  <a:pt x="733" y="432"/>
                </a:lnTo>
                <a:lnTo>
                  <a:pt x="727" y="444"/>
                </a:lnTo>
                <a:lnTo>
                  <a:pt x="719" y="454"/>
                </a:lnTo>
                <a:lnTo>
                  <a:pt x="711" y="463"/>
                </a:lnTo>
                <a:lnTo>
                  <a:pt x="701" y="472"/>
                </a:lnTo>
                <a:lnTo>
                  <a:pt x="690" y="480"/>
                </a:lnTo>
                <a:lnTo>
                  <a:pt x="680" y="487"/>
                </a:lnTo>
                <a:lnTo>
                  <a:pt x="668" y="492"/>
                </a:lnTo>
                <a:lnTo>
                  <a:pt x="655" y="496"/>
                </a:lnTo>
                <a:lnTo>
                  <a:pt x="642" y="501"/>
                </a:lnTo>
                <a:lnTo>
                  <a:pt x="629" y="502"/>
                </a:lnTo>
                <a:lnTo>
                  <a:pt x="615" y="503"/>
                </a:lnTo>
                <a:close/>
                <a:moveTo>
                  <a:pt x="420" y="308"/>
                </a:moveTo>
                <a:lnTo>
                  <a:pt x="410" y="309"/>
                </a:lnTo>
                <a:lnTo>
                  <a:pt x="400" y="311"/>
                </a:lnTo>
                <a:lnTo>
                  <a:pt x="391" y="315"/>
                </a:lnTo>
                <a:lnTo>
                  <a:pt x="383" y="321"/>
                </a:lnTo>
                <a:lnTo>
                  <a:pt x="377" y="305"/>
                </a:lnTo>
                <a:lnTo>
                  <a:pt x="370" y="290"/>
                </a:lnTo>
                <a:lnTo>
                  <a:pt x="360" y="275"/>
                </a:lnTo>
                <a:lnTo>
                  <a:pt x="351" y="261"/>
                </a:lnTo>
                <a:lnTo>
                  <a:pt x="339" y="249"/>
                </a:lnTo>
                <a:lnTo>
                  <a:pt x="326" y="237"/>
                </a:lnTo>
                <a:lnTo>
                  <a:pt x="312" y="228"/>
                </a:lnTo>
                <a:lnTo>
                  <a:pt x="296" y="220"/>
                </a:lnTo>
                <a:lnTo>
                  <a:pt x="420" y="151"/>
                </a:lnTo>
                <a:lnTo>
                  <a:pt x="544" y="220"/>
                </a:lnTo>
                <a:lnTo>
                  <a:pt x="529" y="228"/>
                </a:lnTo>
                <a:lnTo>
                  <a:pt x="515" y="237"/>
                </a:lnTo>
                <a:lnTo>
                  <a:pt x="502" y="249"/>
                </a:lnTo>
                <a:lnTo>
                  <a:pt x="490" y="261"/>
                </a:lnTo>
                <a:lnTo>
                  <a:pt x="479" y="275"/>
                </a:lnTo>
                <a:lnTo>
                  <a:pt x="471" y="290"/>
                </a:lnTo>
                <a:lnTo>
                  <a:pt x="463" y="305"/>
                </a:lnTo>
                <a:lnTo>
                  <a:pt x="457" y="321"/>
                </a:lnTo>
                <a:lnTo>
                  <a:pt x="449" y="315"/>
                </a:lnTo>
                <a:lnTo>
                  <a:pt x="440" y="311"/>
                </a:lnTo>
                <a:lnTo>
                  <a:pt x="430" y="309"/>
                </a:lnTo>
                <a:lnTo>
                  <a:pt x="420" y="308"/>
                </a:lnTo>
                <a:close/>
                <a:moveTo>
                  <a:pt x="225" y="503"/>
                </a:moveTo>
                <a:lnTo>
                  <a:pt x="211" y="502"/>
                </a:lnTo>
                <a:lnTo>
                  <a:pt x="199" y="501"/>
                </a:lnTo>
                <a:lnTo>
                  <a:pt x="185" y="496"/>
                </a:lnTo>
                <a:lnTo>
                  <a:pt x="173" y="492"/>
                </a:lnTo>
                <a:lnTo>
                  <a:pt x="161" y="487"/>
                </a:lnTo>
                <a:lnTo>
                  <a:pt x="150" y="480"/>
                </a:lnTo>
                <a:lnTo>
                  <a:pt x="140" y="472"/>
                </a:lnTo>
                <a:lnTo>
                  <a:pt x="130" y="463"/>
                </a:lnTo>
                <a:lnTo>
                  <a:pt x="121" y="454"/>
                </a:lnTo>
                <a:lnTo>
                  <a:pt x="113" y="444"/>
                </a:lnTo>
                <a:lnTo>
                  <a:pt x="106" y="432"/>
                </a:lnTo>
                <a:lnTo>
                  <a:pt x="101" y="420"/>
                </a:lnTo>
                <a:lnTo>
                  <a:pt x="97" y="409"/>
                </a:lnTo>
                <a:lnTo>
                  <a:pt x="93" y="396"/>
                </a:lnTo>
                <a:lnTo>
                  <a:pt x="91" y="382"/>
                </a:lnTo>
                <a:lnTo>
                  <a:pt x="90" y="368"/>
                </a:lnTo>
                <a:lnTo>
                  <a:pt x="91" y="354"/>
                </a:lnTo>
                <a:lnTo>
                  <a:pt x="93" y="341"/>
                </a:lnTo>
                <a:lnTo>
                  <a:pt x="97" y="328"/>
                </a:lnTo>
                <a:lnTo>
                  <a:pt x="101" y="315"/>
                </a:lnTo>
                <a:lnTo>
                  <a:pt x="106" y="304"/>
                </a:lnTo>
                <a:lnTo>
                  <a:pt x="113" y="293"/>
                </a:lnTo>
                <a:lnTo>
                  <a:pt x="121" y="282"/>
                </a:lnTo>
                <a:lnTo>
                  <a:pt x="130" y="273"/>
                </a:lnTo>
                <a:lnTo>
                  <a:pt x="140" y="264"/>
                </a:lnTo>
                <a:lnTo>
                  <a:pt x="150" y="257"/>
                </a:lnTo>
                <a:lnTo>
                  <a:pt x="161" y="249"/>
                </a:lnTo>
                <a:lnTo>
                  <a:pt x="173" y="244"/>
                </a:lnTo>
                <a:lnTo>
                  <a:pt x="185" y="239"/>
                </a:lnTo>
                <a:lnTo>
                  <a:pt x="199" y="236"/>
                </a:lnTo>
                <a:lnTo>
                  <a:pt x="211" y="234"/>
                </a:lnTo>
                <a:lnTo>
                  <a:pt x="225" y="233"/>
                </a:lnTo>
                <a:lnTo>
                  <a:pt x="239" y="234"/>
                </a:lnTo>
                <a:lnTo>
                  <a:pt x="252" y="236"/>
                </a:lnTo>
                <a:lnTo>
                  <a:pt x="265" y="239"/>
                </a:lnTo>
                <a:lnTo>
                  <a:pt x="278" y="244"/>
                </a:lnTo>
                <a:lnTo>
                  <a:pt x="290" y="249"/>
                </a:lnTo>
                <a:lnTo>
                  <a:pt x="300" y="257"/>
                </a:lnTo>
                <a:lnTo>
                  <a:pt x="311" y="264"/>
                </a:lnTo>
                <a:lnTo>
                  <a:pt x="321" y="273"/>
                </a:lnTo>
                <a:lnTo>
                  <a:pt x="329" y="282"/>
                </a:lnTo>
                <a:lnTo>
                  <a:pt x="337" y="293"/>
                </a:lnTo>
                <a:lnTo>
                  <a:pt x="344" y="304"/>
                </a:lnTo>
                <a:lnTo>
                  <a:pt x="350" y="315"/>
                </a:lnTo>
                <a:lnTo>
                  <a:pt x="354" y="328"/>
                </a:lnTo>
                <a:lnTo>
                  <a:pt x="357" y="341"/>
                </a:lnTo>
                <a:lnTo>
                  <a:pt x="359" y="354"/>
                </a:lnTo>
                <a:lnTo>
                  <a:pt x="360" y="368"/>
                </a:lnTo>
                <a:lnTo>
                  <a:pt x="359" y="382"/>
                </a:lnTo>
                <a:lnTo>
                  <a:pt x="357" y="396"/>
                </a:lnTo>
                <a:lnTo>
                  <a:pt x="354" y="409"/>
                </a:lnTo>
                <a:lnTo>
                  <a:pt x="350" y="420"/>
                </a:lnTo>
                <a:lnTo>
                  <a:pt x="344" y="432"/>
                </a:lnTo>
                <a:lnTo>
                  <a:pt x="337" y="444"/>
                </a:lnTo>
                <a:lnTo>
                  <a:pt x="329" y="454"/>
                </a:lnTo>
                <a:lnTo>
                  <a:pt x="321" y="463"/>
                </a:lnTo>
                <a:lnTo>
                  <a:pt x="311" y="472"/>
                </a:lnTo>
                <a:lnTo>
                  <a:pt x="300" y="480"/>
                </a:lnTo>
                <a:lnTo>
                  <a:pt x="290" y="487"/>
                </a:lnTo>
                <a:lnTo>
                  <a:pt x="278" y="492"/>
                </a:lnTo>
                <a:lnTo>
                  <a:pt x="265" y="496"/>
                </a:lnTo>
                <a:lnTo>
                  <a:pt x="252" y="501"/>
                </a:lnTo>
                <a:lnTo>
                  <a:pt x="239" y="502"/>
                </a:lnTo>
                <a:lnTo>
                  <a:pt x="225" y="503"/>
                </a:lnTo>
                <a:close/>
                <a:moveTo>
                  <a:pt x="825" y="353"/>
                </a:moveTo>
                <a:lnTo>
                  <a:pt x="779" y="353"/>
                </a:lnTo>
                <a:lnTo>
                  <a:pt x="777" y="338"/>
                </a:lnTo>
                <a:lnTo>
                  <a:pt x="774" y="323"/>
                </a:lnTo>
                <a:lnTo>
                  <a:pt x="769" y="308"/>
                </a:lnTo>
                <a:lnTo>
                  <a:pt x="762" y="294"/>
                </a:lnTo>
                <a:lnTo>
                  <a:pt x="755" y="281"/>
                </a:lnTo>
                <a:lnTo>
                  <a:pt x="746" y="268"/>
                </a:lnTo>
                <a:lnTo>
                  <a:pt x="737" y="258"/>
                </a:lnTo>
                <a:lnTo>
                  <a:pt x="727" y="247"/>
                </a:lnTo>
                <a:lnTo>
                  <a:pt x="715" y="237"/>
                </a:lnTo>
                <a:lnTo>
                  <a:pt x="703" y="229"/>
                </a:lnTo>
                <a:lnTo>
                  <a:pt x="689" y="221"/>
                </a:lnTo>
                <a:lnTo>
                  <a:pt x="675" y="215"/>
                </a:lnTo>
                <a:lnTo>
                  <a:pt x="661" y="209"/>
                </a:lnTo>
                <a:lnTo>
                  <a:pt x="646" y="206"/>
                </a:lnTo>
                <a:lnTo>
                  <a:pt x="631" y="204"/>
                </a:lnTo>
                <a:lnTo>
                  <a:pt x="615" y="203"/>
                </a:lnTo>
                <a:lnTo>
                  <a:pt x="607" y="203"/>
                </a:lnTo>
                <a:lnTo>
                  <a:pt x="598" y="204"/>
                </a:lnTo>
                <a:lnTo>
                  <a:pt x="590" y="205"/>
                </a:lnTo>
                <a:lnTo>
                  <a:pt x="581" y="207"/>
                </a:lnTo>
                <a:lnTo>
                  <a:pt x="450" y="133"/>
                </a:lnTo>
                <a:lnTo>
                  <a:pt x="623" y="36"/>
                </a:lnTo>
                <a:lnTo>
                  <a:pt x="630" y="33"/>
                </a:lnTo>
                <a:lnTo>
                  <a:pt x="639" y="31"/>
                </a:lnTo>
                <a:lnTo>
                  <a:pt x="646" y="30"/>
                </a:lnTo>
                <a:lnTo>
                  <a:pt x="654" y="30"/>
                </a:lnTo>
                <a:lnTo>
                  <a:pt x="661" y="32"/>
                </a:lnTo>
                <a:lnTo>
                  <a:pt x="667" y="35"/>
                </a:lnTo>
                <a:lnTo>
                  <a:pt x="672" y="40"/>
                </a:lnTo>
                <a:lnTo>
                  <a:pt x="676" y="46"/>
                </a:lnTo>
                <a:lnTo>
                  <a:pt x="679" y="49"/>
                </a:lnTo>
                <a:lnTo>
                  <a:pt x="681" y="51"/>
                </a:lnTo>
                <a:lnTo>
                  <a:pt x="683" y="52"/>
                </a:lnTo>
                <a:lnTo>
                  <a:pt x="686" y="53"/>
                </a:lnTo>
                <a:lnTo>
                  <a:pt x="689" y="53"/>
                </a:lnTo>
                <a:lnTo>
                  <a:pt x="691" y="53"/>
                </a:lnTo>
                <a:lnTo>
                  <a:pt x="695" y="53"/>
                </a:lnTo>
                <a:lnTo>
                  <a:pt x="698" y="51"/>
                </a:lnTo>
                <a:lnTo>
                  <a:pt x="700" y="50"/>
                </a:lnTo>
                <a:lnTo>
                  <a:pt x="702" y="48"/>
                </a:lnTo>
                <a:lnTo>
                  <a:pt x="703" y="45"/>
                </a:lnTo>
                <a:lnTo>
                  <a:pt x="704" y="42"/>
                </a:lnTo>
                <a:lnTo>
                  <a:pt x="705" y="39"/>
                </a:lnTo>
                <a:lnTo>
                  <a:pt x="704" y="37"/>
                </a:lnTo>
                <a:lnTo>
                  <a:pt x="704" y="34"/>
                </a:lnTo>
                <a:lnTo>
                  <a:pt x="703" y="31"/>
                </a:lnTo>
                <a:lnTo>
                  <a:pt x="699" y="25"/>
                </a:lnTo>
                <a:lnTo>
                  <a:pt x="695" y="20"/>
                </a:lnTo>
                <a:lnTo>
                  <a:pt x="689" y="15"/>
                </a:lnTo>
                <a:lnTo>
                  <a:pt x="684" y="10"/>
                </a:lnTo>
                <a:lnTo>
                  <a:pt x="679" y="7"/>
                </a:lnTo>
                <a:lnTo>
                  <a:pt x="672" y="4"/>
                </a:lnTo>
                <a:lnTo>
                  <a:pt x="666" y="2"/>
                </a:lnTo>
                <a:lnTo>
                  <a:pt x="659" y="1"/>
                </a:lnTo>
                <a:lnTo>
                  <a:pt x="653" y="0"/>
                </a:lnTo>
                <a:lnTo>
                  <a:pt x="646" y="0"/>
                </a:lnTo>
                <a:lnTo>
                  <a:pt x="640" y="0"/>
                </a:lnTo>
                <a:lnTo>
                  <a:pt x="634" y="1"/>
                </a:lnTo>
                <a:lnTo>
                  <a:pt x="627" y="2"/>
                </a:lnTo>
                <a:lnTo>
                  <a:pt x="621" y="5"/>
                </a:lnTo>
                <a:lnTo>
                  <a:pt x="614" y="7"/>
                </a:lnTo>
                <a:lnTo>
                  <a:pt x="608" y="10"/>
                </a:lnTo>
                <a:lnTo>
                  <a:pt x="420" y="116"/>
                </a:lnTo>
                <a:lnTo>
                  <a:pt x="233" y="10"/>
                </a:lnTo>
                <a:lnTo>
                  <a:pt x="226" y="7"/>
                </a:lnTo>
                <a:lnTo>
                  <a:pt x="220" y="5"/>
                </a:lnTo>
                <a:lnTo>
                  <a:pt x="214" y="2"/>
                </a:lnTo>
                <a:lnTo>
                  <a:pt x="207" y="1"/>
                </a:lnTo>
                <a:lnTo>
                  <a:pt x="201" y="0"/>
                </a:lnTo>
                <a:lnTo>
                  <a:pt x="193" y="0"/>
                </a:lnTo>
                <a:lnTo>
                  <a:pt x="187" y="0"/>
                </a:lnTo>
                <a:lnTo>
                  <a:pt x="180" y="1"/>
                </a:lnTo>
                <a:lnTo>
                  <a:pt x="174" y="2"/>
                </a:lnTo>
                <a:lnTo>
                  <a:pt x="168" y="4"/>
                </a:lnTo>
                <a:lnTo>
                  <a:pt x="161" y="7"/>
                </a:lnTo>
                <a:lnTo>
                  <a:pt x="156" y="10"/>
                </a:lnTo>
                <a:lnTo>
                  <a:pt x="150" y="15"/>
                </a:lnTo>
                <a:lnTo>
                  <a:pt x="146" y="20"/>
                </a:lnTo>
                <a:lnTo>
                  <a:pt x="141" y="25"/>
                </a:lnTo>
                <a:lnTo>
                  <a:pt x="138" y="31"/>
                </a:lnTo>
                <a:lnTo>
                  <a:pt x="136" y="34"/>
                </a:lnTo>
                <a:lnTo>
                  <a:pt x="135" y="37"/>
                </a:lnTo>
                <a:lnTo>
                  <a:pt x="135" y="39"/>
                </a:lnTo>
                <a:lnTo>
                  <a:pt x="135" y="42"/>
                </a:lnTo>
                <a:lnTo>
                  <a:pt x="136" y="45"/>
                </a:lnTo>
                <a:lnTo>
                  <a:pt x="139" y="48"/>
                </a:lnTo>
                <a:lnTo>
                  <a:pt x="141" y="50"/>
                </a:lnTo>
                <a:lnTo>
                  <a:pt x="143" y="51"/>
                </a:lnTo>
                <a:lnTo>
                  <a:pt x="145" y="53"/>
                </a:lnTo>
                <a:lnTo>
                  <a:pt x="148" y="53"/>
                </a:lnTo>
                <a:lnTo>
                  <a:pt x="151" y="53"/>
                </a:lnTo>
                <a:lnTo>
                  <a:pt x="155" y="53"/>
                </a:lnTo>
                <a:lnTo>
                  <a:pt x="157" y="52"/>
                </a:lnTo>
                <a:lnTo>
                  <a:pt x="159" y="51"/>
                </a:lnTo>
                <a:lnTo>
                  <a:pt x="161" y="49"/>
                </a:lnTo>
                <a:lnTo>
                  <a:pt x="163" y="46"/>
                </a:lnTo>
                <a:lnTo>
                  <a:pt x="168" y="40"/>
                </a:lnTo>
                <a:lnTo>
                  <a:pt x="173" y="35"/>
                </a:lnTo>
                <a:lnTo>
                  <a:pt x="179" y="32"/>
                </a:lnTo>
                <a:lnTo>
                  <a:pt x="186" y="30"/>
                </a:lnTo>
                <a:lnTo>
                  <a:pt x="193" y="30"/>
                </a:lnTo>
                <a:lnTo>
                  <a:pt x="202" y="31"/>
                </a:lnTo>
                <a:lnTo>
                  <a:pt x="209" y="33"/>
                </a:lnTo>
                <a:lnTo>
                  <a:pt x="218" y="37"/>
                </a:lnTo>
                <a:lnTo>
                  <a:pt x="389" y="133"/>
                </a:lnTo>
                <a:lnTo>
                  <a:pt x="259" y="206"/>
                </a:lnTo>
                <a:lnTo>
                  <a:pt x="250" y="205"/>
                </a:lnTo>
                <a:lnTo>
                  <a:pt x="243" y="204"/>
                </a:lnTo>
                <a:lnTo>
                  <a:pt x="234" y="203"/>
                </a:lnTo>
                <a:lnTo>
                  <a:pt x="225" y="203"/>
                </a:lnTo>
                <a:lnTo>
                  <a:pt x="209" y="204"/>
                </a:lnTo>
                <a:lnTo>
                  <a:pt x="194" y="206"/>
                </a:lnTo>
                <a:lnTo>
                  <a:pt x="179" y="209"/>
                </a:lnTo>
                <a:lnTo>
                  <a:pt x="164" y="215"/>
                </a:lnTo>
                <a:lnTo>
                  <a:pt x="150" y="221"/>
                </a:lnTo>
                <a:lnTo>
                  <a:pt x="138" y="229"/>
                </a:lnTo>
                <a:lnTo>
                  <a:pt x="126" y="237"/>
                </a:lnTo>
                <a:lnTo>
                  <a:pt x="114" y="247"/>
                </a:lnTo>
                <a:lnTo>
                  <a:pt x="103" y="258"/>
                </a:lnTo>
                <a:lnTo>
                  <a:pt x="94" y="269"/>
                </a:lnTo>
                <a:lnTo>
                  <a:pt x="85" y="281"/>
                </a:lnTo>
                <a:lnTo>
                  <a:pt x="78" y="294"/>
                </a:lnTo>
                <a:lnTo>
                  <a:pt x="72" y="308"/>
                </a:lnTo>
                <a:lnTo>
                  <a:pt x="67" y="323"/>
                </a:lnTo>
                <a:lnTo>
                  <a:pt x="64" y="338"/>
                </a:lnTo>
                <a:lnTo>
                  <a:pt x="61" y="353"/>
                </a:lnTo>
                <a:lnTo>
                  <a:pt x="15" y="353"/>
                </a:lnTo>
                <a:lnTo>
                  <a:pt x="12" y="353"/>
                </a:lnTo>
                <a:lnTo>
                  <a:pt x="10" y="354"/>
                </a:lnTo>
                <a:lnTo>
                  <a:pt x="7" y="356"/>
                </a:lnTo>
                <a:lnTo>
                  <a:pt x="5" y="357"/>
                </a:lnTo>
                <a:lnTo>
                  <a:pt x="3" y="359"/>
                </a:lnTo>
                <a:lnTo>
                  <a:pt x="1" y="363"/>
                </a:lnTo>
                <a:lnTo>
                  <a:pt x="0" y="365"/>
                </a:lnTo>
                <a:lnTo>
                  <a:pt x="0" y="368"/>
                </a:lnTo>
                <a:lnTo>
                  <a:pt x="0" y="371"/>
                </a:lnTo>
                <a:lnTo>
                  <a:pt x="1" y="374"/>
                </a:lnTo>
                <a:lnTo>
                  <a:pt x="3" y="377"/>
                </a:lnTo>
                <a:lnTo>
                  <a:pt x="5" y="379"/>
                </a:lnTo>
                <a:lnTo>
                  <a:pt x="7" y="381"/>
                </a:lnTo>
                <a:lnTo>
                  <a:pt x="10" y="382"/>
                </a:lnTo>
                <a:lnTo>
                  <a:pt x="12" y="383"/>
                </a:lnTo>
                <a:lnTo>
                  <a:pt x="15" y="383"/>
                </a:lnTo>
                <a:lnTo>
                  <a:pt x="61" y="383"/>
                </a:lnTo>
                <a:lnTo>
                  <a:pt x="64" y="399"/>
                </a:lnTo>
                <a:lnTo>
                  <a:pt x="67" y="414"/>
                </a:lnTo>
                <a:lnTo>
                  <a:pt x="72" y="428"/>
                </a:lnTo>
                <a:lnTo>
                  <a:pt x="78" y="442"/>
                </a:lnTo>
                <a:lnTo>
                  <a:pt x="85" y="455"/>
                </a:lnTo>
                <a:lnTo>
                  <a:pt x="94" y="468"/>
                </a:lnTo>
                <a:lnTo>
                  <a:pt x="103" y="479"/>
                </a:lnTo>
                <a:lnTo>
                  <a:pt x="114" y="490"/>
                </a:lnTo>
                <a:lnTo>
                  <a:pt x="126" y="500"/>
                </a:lnTo>
                <a:lnTo>
                  <a:pt x="138" y="508"/>
                </a:lnTo>
                <a:lnTo>
                  <a:pt x="150" y="515"/>
                </a:lnTo>
                <a:lnTo>
                  <a:pt x="164" y="521"/>
                </a:lnTo>
                <a:lnTo>
                  <a:pt x="179" y="526"/>
                </a:lnTo>
                <a:lnTo>
                  <a:pt x="194" y="530"/>
                </a:lnTo>
                <a:lnTo>
                  <a:pt x="209" y="532"/>
                </a:lnTo>
                <a:lnTo>
                  <a:pt x="225" y="533"/>
                </a:lnTo>
                <a:lnTo>
                  <a:pt x="243" y="532"/>
                </a:lnTo>
                <a:lnTo>
                  <a:pt x="259" y="530"/>
                </a:lnTo>
                <a:lnTo>
                  <a:pt x="275" y="525"/>
                </a:lnTo>
                <a:lnTo>
                  <a:pt x="290" y="520"/>
                </a:lnTo>
                <a:lnTo>
                  <a:pt x="304" y="514"/>
                </a:lnTo>
                <a:lnTo>
                  <a:pt x="318" y="505"/>
                </a:lnTo>
                <a:lnTo>
                  <a:pt x="330" y="495"/>
                </a:lnTo>
                <a:lnTo>
                  <a:pt x="342" y="485"/>
                </a:lnTo>
                <a:lnTo>
                  <a:pt x="353" y="473"/>
                </a:lnTo>
                <a:lnTo>
                  <a:pt x="361" y="460"/>
                </a:lnTo>
                <a:lnTo>
                  <a:pt x="370" y="446"/>
                </a:lnTo>
                <a:lnTo>
                  <a:pt x="377" y="432"/>
                </a:lnTo>
                <a:lnTo>
                  <a:pt x="383" y="417"/>
                </a:lnTo>
                <a:lnTo>
                  <a:pt x="387" y="401"/>
                </a:lnTo>
                <a:lnTo>
                  <a:pt x="389" y="385"/>
                </a:lnTo>
                <a:lnTo>
                  <a:pt x="390" y="368"/>
                </a:lnTo>
                <a:lnTo>
                  <a:pt x="390" y="363"/>
                </a:lnTo>
                <a:lnTo>
                  <a:pt x="392" y="356"/>
                </a:lnTo>
                <a:lnTo>
                  <a:pt x="396" y="352"/>
                </a:lnTo>
                <a:lnTo>
                  <a:pt x="399" y="347"/>
                </a:lnTo>
                <a:lnTo>
                  <a:pt x="403" y="343"/>
                </a:lnTo>
                <a:lnTo>
                  <a:pt x="409" y="340"/>
                </a:lnTo>
                <a:lnTo>
                  <a:pt x="414" y="339"/>
                </a:lnTo>
                <a:lnTo>
                  <a:pt x="420" y="338"/>
                </a:lnTo>
                <a:lnTo>
                  <a:pt x="426" y="339"/>
                </a:lnTo>
                <a:lnTo>
                  <a:pt x="432" y="340"/>
                </a:lnTo>
                <a:lnTo>
                  <a:pt x="436" y="343"/>
                </a:lnTo>
                <a:lnTo>
                  <a:pt x="442" y="347"/>
                </a:lnTo>
                <a:lnTo>
                  <a:pt x="445" y="352"/>
                </a:lnTo>
                <a:lnTo>
                  <a:pt x="448" y="356"/>
                </a:lnTo>
                <a:lnTo>
                  <a:pt x="449" y="363"/>
                </a:lnTo>
                <a:lnTo>
                  <a:pt x="450" y="368"/>
                </a:lnTo>
                <a:lnTo>
                  <a:pt x="451" y="385"/>
                </a:lnTo>
                <a:lnTo>
                  <a:pt x="454" y="401"/>
                </a:lnTo>
                <a:lnTo>
                  <a:pt x="458" y="417"/>
                </a:lnTo>
                <a:lnTo>
                  <a:pt x="463" y="432"/>
                </a:lnTo>
                <a:lnTo>
                  <a:pt x="470" y="446"/>
                </a:lnTo>
                <a:lnTo>
                  <a:pt x="478" y="460"/>
                </a:lnTo>
                <a:lnTo>
                  <a:pt x="488" y="473"/>
                </a:lnTo>
                <a:lnTo>
                  <a:pt x="499" y="485"/>
                </a:lnTo>
                <a:lnTo>
                  <a:pt x="510" y="495"/>
                </a:lnTo>
                <a:lnTo>
                  <a:pt x="523" y="505"/>
                </a:lnTo>
                <a:lnTo>
                  <a:pt x="536" y="514"/>
                </a:lnTo>
                <a:lnTo>
                  <a:pt x="551" y="520"/>
                </a:lnTo>
                <a:lnTo>
                  <a:pt x="566" y="525"/>
                </a:lnTo>
                <a:lnTo>
                  <a:pt x="582" y="530"/>
                </a:lnTo>
                <a:lnTo>
                  <a:pt x="598" y="532"/>
                </a:lnTo>
                <a:lnTo>
                  <a:pt x="615" y="533"/>
                </a:lnTo>
                <a:lnTo>
                  <a:pt x="631" y="532"/>
                </a:lnTo>
                <a:lnTo>
                  <a:pt x="646" y="530"/>
                </a:lnTo>
                <a:lnTo>
                  <a:pt x="661" y="526"/>
                </a:lnTo>
                <a:lnTo>
                  <a:pt x="675" y="521"/>
                </a:lnTo>
                <a:lnTo>
                  <a:pt x="689" y="515"/>
                </a:lnTo>
                <a:lnTo>
                  <a:pt x="703" y="508"/>
                </a:lnTo>
                <a:lnTo>
                  <a:pt x="715" y="500"/>
                </a:lnTo>
                <a:lnTo>
                  <a:pt x="727" y="490"/>
                </a:lnTo>
                <a:lnTo>
                  <a:pt x="737" y="479"/>
                </a:lnTo>
                <a:lnTo>
                  <a:pt x="746" y="468"/>
                </a:lnTo>
                <a:lnTo>
                  <a:pt x="755" y="455"/>
                </a:lnTo>
                <a:lnTo>
                  <a:pt x="762" y="442"/>
                </a:lnTo>
                <a:lnTo>
                  <a:pt x="769" y="428"/>
                </a:lnTo>
                <a:lnTo>
                  <a:pt x="774" y="414"/>
                </a:lnTo>
                <a:lnTo>
                  <a:pt x="777" y="399"/>
                </a:lnTo>
                <a:lnTo>
                  <a:pt x="779" y="383"/>
                </a:lnTo>
                <a:lnTo>
                  <a:pt x="825" y="383"/>
                </a:lnTo>
                <a:lnTo>
                  <a:pt x="827" y="383"/>
                </a:lnTo>
                <a:lnTo>
                  <a:pt x="831" y="382"/>
                </a:lnTo>
                <a:lnTo>
                  <a:pt x="833" y="381"/>
                </a:lnTo>
                <a:lnTo>
                  <a:pt x="835" y="379"/>
                </a:lnTo>
                <a:lnTo>
                  <a:pt x="837" y="377"/>
                </a:lnTo>
                <a:lnTo>
                  <a:pt x="838" y="374"/>
                </a:lnTo>
                <a:lnTo>
                  <a:pt x="839" y="371"/>
                </a:lnTo>
                <a:lnTo>
                  <a:pt x="840" y="368"/>
                </a:lnTo>
                <a:lnTo>
                  <a:pt x="839" y="365"/>
                </a:lnTo>
                <a:lnTo>
                  <a:pt x="838" y="363"/>
                </a:lnTo>
                <a:lnTo>
                  <a:pt x="837" y="359"/>
                </a:lnTo>
                <a:lnTo>
                  <a:pt x="835" y="357"/>
                </a:lnTo>
                <a:lnTo>
                  <a:pt x="833" y="356"/>
                </a:lnTo>
                <a:lnTo>
                  <a:pt x="831" y="354"/>
                </a:lnTo>
                <a:lnTo>
                  <a:pt x="827" y="353"/>
                </a:lnTo>
                <a:lnTo>
                  <a:pt x="825" y="353"/>
                </a:lnTo>
                <a:close/>
              </a:path>
            </a:pathLst>
          </a:custGeom>
          <a:solidFill>
            <a:schemeClr val="bg1"/>
          </a:solidFill>
          <a:ln w="3175">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683" name="Group 25">
            <a:extLst>
              <a:ext uri="{FF2B5EF4-FFF2-40B4-BE49-F238E27FC236}">
                <a16:creationId xmlns:a16="http://schemas.microsoft.com/office/drawing/2014/main" id="{4F793574-28C5-47A9-8F8B-DB0540552D83}"/>
              </a:ext>
            </a:extLst>
          </p:cNvPr>
          <p:cNvGrpSpPr>
            <a:grpSpLocks noChangeAspect="1"/>
          </p:cNvGrpSpPr>
          <p:nvPr/>
        </p:nvGrpSpPr>
        <p:grpSpPr>
          <a:xfrm>
            <a:off x="3638321" y="5417576"/>
            <a:ext cx="330486" cy="306484"/>
            <a:chOff x="9888538" y="2498726"/>
            <a:chExt cx="284162" cy="263525"/>
          </a:xfrm>
          <a:solidFill>
            <a:schemeClr val="bg1"/>
          </a:solidFill>
          <a:effectLst/>
        </p:grpSpPr>
        <p:sp>
          <p:nvSpPr>
            <p:cNvPr id="684" name="Freeform 26">
              <a:extLst>
                <a:ext uri="{FF2B5EF4-FFF2-40B4-BE49-F238E27FC236}">
                  <a16:creationId xmlns:a16="http://schemas.microsoft.com/office/drawing/2014/main" id="{55EB0950-DF6A-412E-BF1B-690FCE422E23}"/>
                </a:ext>
              </a:extLst>
            </p:cNvPr>
            <p:cNvSpPr>
              <a:spLocks noEditPoints="1"/>
            </p:cNvSpPr>
            <p:nvPr/>
          </p:nvSpPr>
          <p:spPr bwMode="auto">
            <a:xfrm>
              <a:off x="9888538" y="2498726"/>
              <a:ext cx="284162" cy="263525"/>
            </a:xfrm>
            <a:custGeom>
              <a:avLst/>
              <a:gdLst>
                <a:gd name="T0" fmla="*/ 573 w 896"/>
                <a:gd name="T1" fmla="*/ 758 h 829"/>
                <a:gd name="T2" fmla="*/ 509 w 896"/>
                <a:gd name="T3" fmla="*/ 637 h 829"/>
                <a:gd name="T4" fmla="*/ 549 w 896"/>
                <a:gd name="T5" fmla="*/ 506 h 829"/>
                <a:gd name="T6" fmla="*/ 670 w 896"/>
                <a:gd name="T7" fmla="*/ 441 h 829"/>
                <a:gd name="T8" fmla="*/ 801 w 896"/>
                <a:gd name="T9" fmla="*/ 481 h 829"/>
                <a:gd name="T10" fmla="*/ 867 w 896"/>
                <a:gd name="T11" fmla="*/ 601 h 829"/>
                <a:gd name="T12" fmla="*/ 826 w 896"/>
                <a:gd name="T13" fmla="*/ 734 h 829"/>
                <a:gd name="T14" fmla="*/ 706 w 896"/>
                <a:gd name="T15" fmla="*/ 798 h 829"/>
                <a:gd name="T16" fmla="*/ 109 w 896"/>
                <a:gd name="T17" fmla="*/ 768 h 829"/>
                <a:gd name="T18" fmla="*/ 33 w 896"/>
                <a:gd name="T19" fmla="*/ 655 h 829"/>
                <a:gd name="T20" fmla="*/ 61 w 896"/>
                <a:gd name="T21" fmla="*/ 520 h 829"/>
                <a:gd name="T22" fmla="*/ 173 w 896"/>
                <a:gd name="T23" fmla="*/ 444 h 829"/>
                <a:gd name="T24" fmla="*/ 309 w 896"/>
                <a:gd name="T25" fmla="*/ 471 h 829"/>
                <a:gd name="T26" fmla="*/ 385 w 896"/>
                <a:gd name="T27" fmla="*/ 583 h 829"/>
                <a:gd name="T28" fmla="*/ 358 w 896"/>
                <a:gd name="T29" fmla="*/ 720 h 829"/>
                <a:gd name="T30" fmla="*/ 245 w 896"/>
                <a:gd name="T31" fmla="*/ 795 h 829"/>
                <a:gd name="T32" fmla="*/ 744 w 896"/>
                <a:gd name="T33" fmla="*/ 235 h 829"/>
                <a:gd name="T34" fmla="*/ 596 w 896"/>
                <a:gd name="T35" fmla="*/ 8 h 829"/>
                <a:gd name="T36" fmla="*/ 516 w 896"/>
                <a:gd name="T37" fmla="*/ 8 h 829"/>
                <a:gd name="T38" fmla="*/ 478 w 896"/>
                <a:gd name="T39" fmla="*/ 36 h 829"/>
                <a:gd name="T40" fmla="*/ 490 w 896"/>
                <a:gd name="T41" fmla="*/ 201 h 829"/>
                <a:gd name="T42" fmla="*/ 508 w 896"/>
                <a:gd name="T43" fmla="*/ 189 h 829"/>
                <a:gd name="T44" fmla="*/ 557 w 896"/>
                <a:gd name="T45" fmla="*/ 31 h 829"/>
                <a:gd name="T46" fmla="*/ 660 w 896"/>
                <a:gd name="T47" fmla="*/ 195 h 829"/>
                <a:gd name="T48" fmla="*/ 735 w 896"/>
                <a:gd name="T49" fmla="*/ 416 h 829"/>
                <a:gd name="T50" fmla="*/ 619 w 896"/>
                <a:gd name="T51" fmla="*/ 421 h 829"/>
                <a:gd name="T52" fmla="*/ 532 w 896"/>
                <a:gd name="T53" fmla="*/ 480 h 829"/>
                <a:gd name="T54" fmla="*/ 563 w 896"/>
                <a:gd name="T55" fmla="*/ 320 h 829"/>
                <a:gd name="T56" fmla="*/ 584 w 896"/>
                <a:gd name="T57" fmla="*/ 356 h 829"/>
                <a:gd name="T58" fmla="*/ 603 w 896"/>
                <a:gd name="T59" fmla="*/ 365 h 829"/>
                <a:gd name="T60" fmla="*/ 610 w 896"/>
                <a:gd name="T61" fmla="*/ 332 h 829"/>
                <a:gd name="T62" fmla="*/ 541 w 896"/>
                <a:gd name="T63" fmla="*/ 276 h 829"/>
                <a:gd name="T64" fmla="*/ 414 w 896"/>
                <a:gd name="T65" fmla="*/ 263 h 829"/>
                <a:gd name="T66" fmla="*/ 311 w 896"/>
                <a:gd name="T67" fmla="*/ 299 h 829"/>
                <a:gd name="T68" fmla="*/ 286 w 896"/>
                <a:gd name="T69" fmla="*/ 356 h 829"/>
                <a:gd name="T70" fmla="*/ 305 w 896"/>
                <a:gd name="T71" fmla="*/ 365 h 829"/>
                <a:gd name="T72" fmla="*/ 316 w 896"/>
                <a:gd name="T73" fmla="*/ 342 h 829"/>
                <a:gd name="T74" fmla="*/ 388 w 896"/>
                <a:gd name="T75" fmla="*/ 297 h 829"/>
                <a:gd name="T76" fmla="*/ 325 w 896"/>
                <a:gd name="T77" fmla="*/ 446 h 829"/>
                <a:gd name="T78" fmla="*/ 224 w 896"/>
                <a:gd name="T79" fmla="*/ 411 h 829"/>
                <a:gd name="T80" fmla="*/ 105 w 896"/>
                <a:gd name="T81" fmla="*/ 438 h 829"/>
                <a:gd name="T82" fmla="*/ 306 w 896"/>
                <a:gd name="T83" fmla="*/ 39 h 829"/>
                <a:gd name="T84" fmla="*/ 379 w 896"/>
                <a:gd name="T85" fmla="*/ 37 h 829"/>
                <a:gd name="T86" fmla="*/ 396 w 896"/>
                <a:gd name="T87" fmla="*/ 199 h 829"/>
                <a:gd name="T88" fmla="*/ 416 w 896"/>
                <a:gd name="T89" fmla="*/ 195 h 829"/>
                <a:gd name="T90" fmla="*/ 414 w 896"/>
                <a:gd name="T91" fmla="*/ 26 h 829"/>
                <a:gd name="T92" fmla="*/ 343 w 896"/>
                <a:gd name="T93" fmla="*/ 0 h 829"/>
                <a:gd name="T94" fmla="*/ 274 w 896"/>
                <a:gd name="T95" fmla="*/ 26 h 829"/>
                <a:gd name="T96" fmla="*/ 31 w 896"/>
                <a:gd name="T97" fmla="*/ 510 h 829"/>
                <a:gd name="T98" fmla="*/ 1 w 896"/>
                <a:gd name="T99" fmla="*/ 604 h 829"/>
                <a:gd name="T100" fmla="*/ 26 w 896"/>
                <a:gd name="T101" fmla="*/ 719 h 829"/>
                <a:gd name="T102" fmla="*/ 148 w 896"/>
                <a:gd name="T103" fmla="*/ 819 h 829"/>
                <a:gd name="T104" fmla="*/ 272 w 896"/>
                <a:gd name="T105" fmla="*/ 819 h 829"/>
                <a:gd name="T106" fmla="*/ 394 w 896"/>
                <a:gd name="T107" fmla="*/ 719 h 829"/>
                <a:gd name="T108" fmla="*/ 418 w 896"/>
                <a:gd name="T109" fmla="*/ 292 h 829"/>
                <a:gd name="T110" fmla="*/ 480 w 896"/>
                <a:gd name="T111" fmla="*/ 651 h 829"/>
                <a:gd name="T112" fmla="*/ 554 w 896"/>
                <a:gd name="T113" fmla="*/ 781 h 829"/>
                <a:gd name="T114" fmla="*/ 677 w 896"/>
                <a:gd name="T115" fmla="*/ 829 h 829"/>
                <a:gd name="T116" fmla="*/ 821 w 896"/>
                <a:gd name="T117" fmla="*/ 781 h 829"/>
                <a:gd name="T118" fmla="*/ 894 w 896"/>
                <a:gd name="T119" fmla="*/ 651 h 829"/>
                <a:gd name="T120" fmla="*/ 885 w 896"/>
                <a:gd name="T121" fmla="*/ 54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6" h="829">
                  <a:moveTo>
                    <a:pt x="688" y="799"/>
                  </a:moveTo>
                  <a:lnTo>
                    <a:pt x="670" y="798"/>
                  </a:lnTo>
                  <a:lnTo>
                    <a:pt x="652" y="795"/>
                  </a:lnTo>
                  <a:lnTo>
                    <a:pt x="634" y="790"/>
                  </a:lnTo>
                  <a:lnTo>
                    <a:pt x="618" y="785"/>
                  </a:lnTo>
                  <a:lnTo>
                    <a:pt x="602" y="777"/>
                  </a:lnTo>
                  <a:lnTo>
                    <a:pt x="587" y="768"/>
                  </a:lnTo>
                  <a:lnTo>
                    <a:pt x="573" y="758"/>
                  </a:lnTo>
                  <a:lnTo>
                    <a:pt x="561" y="746"/>
                  </a:lnTo>
                  <a:lnTo>
                    <a:pt x="549" y="734"/>
                  </a:lnTo>
                  <a:lnTo>
                    <a:pt x="539" y="720"/>
                  </a:lnTo>
                  <a:lnTo>
                    <a:pt x="530" y="705"/>
                  </a:lnTo>
                  <a:lnTo>
                    <a:pt x="522" y="689"/>
                  </a:lnTo>
                  <a:lnTo>
                    <a:pt x="517" y="673"/>
                  </a:lnTo>
                  <a:lnTo>
                    <a:pt x="512" y="655"/>
                  </a:lnTo>
                  <a:lnTo>
                    <a:pt x="509" y="637"/>
                  </a:lnTo>
                  <a:lnTo>
                    <a:pt x="508" y="619"/>
                  </a:lnTo>
                  <a:lnTo>
                    <a:pt x="509" y="601"/>
                  </a:lnTo>
                  <a:lnTo>
                    <a:pt x="512" y="583"/>
                  </a:lnTo>
                  <a:lnTo>
                    <a:pt x="517" y="566"/>
                  </a:lnTo>
                  <a:lnTo>
                    <a:pt x="522" y="550"/>
                  </a:lnTo>
                  <a:lnTo>
                    <a:pt x="530" y="534"/>
                  </a:lnTo>
                  <a:lnTo>
                    <a:pt x="539" y="520"/>
                  </a:lnTo>
                  <a:lnTo>
                    <a:pt x="549" y="506"/>
                  </a:lnTo>
                  <a:lnTo>
                    <a:pt x="561" y="493"/>
                  </a:lnTo>
                  <a:lnTo>
                    <a:pt x="573" y="481"/>
                  </a:lnTo>
                  <a:lnTo>
                    <a:pt x="587" y="471"/>
                  </a:lnTo>
                  <a:lnTo>
                    <a:pt x="602" y="462"/>
                  </a:lnTo>
                  <a:lnTo>
                    <a:pt x="618" y="454"/>
                  </a:lnTo>
                  <a:lnTo>
                    <a:pt x="634" y="448"/>
                  </a:lnTo>
                  <a:lnTo>
                    <a:pt x="652" y="444"/>
                  </a:lnTo>
                  <a:lnTo>
                    <a:pt x="670" y="441"/>
                  </a:lnTo>
                  <a:lnTo>
                    <a:pt x="688" y="441"/>
                  </a:lnTo>
                  <a:lnTo>
                    <a:pt x="706" y="441"/>
                  </a:lnTo>
                  <a:lnTo>
                    <a:pt x="724" y="444"/>
                  </a:lnTo>
                  <a:lnTo>
                    <a:pt x="741" y="448"/>
                  </a:lnTo>
                  <a:lnTo>
                    <a:pt x="757" y="454"/>
                  </a:lnTo>
                  <a:lnTo>
                    <a:pt x="773" y="462"/>
                  </a:lnTo>
                  <a:lnTo>
                    <a:pt x="787" y="471"/>
                  </a:lnTo>
                  <a:lnTo>
                    <a:pt x="801" y="481"/>
                  </a:lnTo>
                  <a:lnTo>
                    <a:pt x="814" y="493"/>
                  </a:lnTo>
                  <a:lnTo>
                    <a:pt x="826" y="506"/>
                  </a:lnTo>
                  <a:lnTo>
                    <a:pt x="837" y="520"/>
                  </a:lnTo>
                  <a:lnTo>
                    <a:pt x="845" y="534"/>
                  </a:lnTo>
                  <a:lnTo>
                    <a:pt x="853" y="550"/>
                  </a:lnTo>
                  <a:lnTo>
                    <a:pt x="859" y="566"/>
                  </a:lnTo>
                  <a:lnTo>
                    <a:pt x="863" y="583"/>
                  </a:lnTo>
                  <a:lnTo>
                    <a:pt x="867" y="601"/>
                  </a:lnTo>
                  <a:lnTo>
                    <a:pt x="867" y="619"/>
                  </a:lnTo>
                  <a:lnTo>
                    <a:pt x="867" y="637"/>
                  </a:lnTo>
                  <a:lnTo>
                    <a:pt x="863" y="655"/>
                  </a:lnTo>
                  <a:lnTo>
                    <a:pt x="859" y="673"/>
                  </a:lnTo>
                  <a:lnTo>
                    <a:pt x="853" y="689"/>
                  </a:lnTo>
                  <a:lnTo>
                    <a:pt x="845" y="705"/>
                  </a:lnTo>
                  <a:lnTo>
                    <a:pt x="837" y="720"/>
                  </a:lnTo>
                  <a:lnTo>
                    <a:pt x="826" y="734"/>
                  </a:lnTo>
                  <a:lnTo>
                    <a:pt x="814" y="746"/>
                  </a:lnTo>
                  <a:lnTo>
                    <a:pt x="801" y="758"/>
                  </a:lnTo>
                  <a:lnTo>
                    <a:pt x="787" y="768"/>
                  </a:lnTo>
                  <a:lnTo>
                    <a:pt x="773" y="777"/>
                  </a:lnTo>
                  <a:lnTo>
                    <a:pt x="757" y="785"/>
                  </a:lnTo>
                  <a:lnTo>
                    <a:pt x="741" y="790"/>
                  </a:lnTo>
                  <a:lnTo>
                    <a:pt x="724" y="795"/>
                  </a:lnTo>
                  <a:lnTo>
                    <a:pt x="706" y="798"/>
                  </a:lnTo>
                  <a:lnTo>
                    <a:pt x="688" y="799"/>
                  </a:lnTo>
                  <a:close/>
                  <a:moveTo>
                    <a:pt x="210" y="799"/>
                  </a:moveTo>
                  <a:lnTo>
                    <a:pt x="192" y="798"/>
                  </a:lnTo>
                  <a:lnTo>
                    <a:pt x="173" y="795"/>
                  </a:lnTo>
                  <a:lnTo>
                    <a:pt x="156" y="790"/>
                  </a:lnTo>
                  <a:lnTo>
                    <a:pt x="140" y="785"/>
                  </a:lnTo>
                  <a:lnTo>
                    <a:pt x="124" y="777"/>
                  </a:lnTo>
                  <a:lnTo>
                    <a:pt x="109" y="768"/>
                  </a:lnTo>
                  <a:lnTo>
                    <a:pt x="95" y="758"/>
                  </a:lnTo>
                  <a:lnTo>
                    <a:pt x="82" y="746"/>
                  </a:lnTo>
                  <a:lnTo>
                    <a:pt x="71" y="734"/>
                  </a:lnTo>
                  <a:lnTo>
                    <a:pt x="61" y="720"/>
                  </a:lnTo>
                  <a:lnTo>
                    <a:pt x="51" y="705"/>
                  </a:lnTo>
                  <a:lnTo>
                    <a:pt x="44" y="689"/>
                  </a:lnTo>
                  <a:lnTo>
                    <a:pt x="39" y="673"/>
                  </a:lnTo>
                  <a:lnTo>
                    <a:pt x="33" y="655"/>
                  </a:lnTo>
                  <a:lnTo>
                    <a:pt x="31" y="637"/>
                  </a:lnTo>
                  <a:lnTo>
                    <a:pt x="30" y="619"/>
                  </a:lnTo>
                  <a:lnTo>
                    <a:pt x="31" y="601"/>
                  </a:lnTo>
                  <a:lnTo>
                    <a:pt x="33" y="583"/>
                  </a:lnTo>
                  <a:lnTo>
                    <a:pt x="39" y="566"/>
                  </a:lnTo>
                  <a:lnTo>
                    <a:pt x="44" y="550"/>
                  </a:lnTo>
                  <a:lnTo>
                    <a:pt x="51" y="534"/>
                  </a:lnTo>
                  <a:lnTo>
                    <a:pt x="61" y="520"/>
                  </a:lnTo>
                  <a:lnTo>
                    <a:pt x="71" y="506"/>
                  </a:lnTo>
                  <a:lnTo>
                    <a:pt x="82" y="493"/>
                  </a:lnTo>
                  <a:lnTo>
                    <a:pt x="95" y="481"/>
                  </a:lnTo>
                  <a:lnTo>
                    <a:pt x="109" y="471"/>
                  </a:lnTo>
                  <a:lnTo>
                    <a:pt x="124" y="462"/>
                  </a:lnTo>
                  <a:lnTo>
                    <a:pt x="140" y="454"/>
                  </a:lnTo>
                  <a:lnTo>
                    <a:pt x="156" y="448"/>
                  </a:lnTo>
                  <a:lnTo>
                    <a:pt x="173" y="444"/>
                  </a:lnTo>
                  <a:lnTo>
                    <a:pt x="192" y="441"/>
                  </a:lnTo>
                  <a:lnTo>
                    <a:pt x="210" y="441"/>
                  </a:lnTo>
                  <a:lnTo>
                    <a:pt x="228" y="441"/>
                  </a:lnTo>
                  <a:lnTo>
                    <a:pt x="245" y="444"/>
                  </a:lnTo>
                  <a:lnTo>
                    <a:pt x="263" y="448"/>
                  </a:lnTo>
                  <a:lnTo>
                    <a:pt x="279" y="454"/>
                  </a:lnTo>
                  <a:lnTo>
                    <a:pt x="295" y="462"/>
                  </a:lnTo>
                  <a:lnTo>
                    <a:pt x="309" y="471"/>
                  </a:lnTo>
                  <a:lnTo>
                    <a:pt x="323" y="481"/>
                  </a:lnTo>
                  <a:lnTo>
                    <a:pt x="336" y="493"/>
                  </a:lnTo>
                  <a:lnTo>
                    <a:pt x="348" y="506"/>
                  </a:lnTo>
                  <a:lnTo>
                    <a:pt x="358" y="520"/>
                  </a:lnTo>
                  <a:lnTo>
                    <a:pt x="367" y="534"/>
                  </a:lnTo>
                  <a:lnTo>
                    <a:pt x="374" y="550"/>
                  </a:lnTo>
                  <a:lnTo>
                    <a:pt x="381" y="566"/>
                  </a:lnTo>
                  <a:lnTo>
                    <a:pt x="385" y="583"/>
                  </a:lnTo>
                  <a:lnTo>
                    <a:pt x="387" y="601"/>
                  </a:lnTo>
                  <a:lnTo>
                    <a:pt x="388" y="619"/>
                  </a:lnTo>
                  <a:lnTo>
                    <a:pt x="387" y="637"/>
                  </a:lnTo>
                  <a:lnTo>
                    <a:pt x="385" y="655"/>
                  </a:lnTo>
                  <a:lnTo>
                    <a:pt x="381" y="673"/>
                  </a:lnTo>
                  <a:lnTo>
                    <a:pt x="374" y="689"/>
                  </a:lnTo>
                  <a:lnTo>
                    <a:pt x="367" y="705"/>
                  </a:lnTo>
                  <a:lnTo>
                    <a:pt x="358" y="720"/>
                  </a:lnTo>
                  <a:lnTo>
                    <a:pt x="348" y="734"/>
                  </a:lnTo>
                  <a:lnTo>
                    <a:pt x="336" y="746"/>
                  </a:lnTo>
                  <a:lnTo>
                    <a:pt x="323" y="758"/>
                  </a:lnTo>
                  <a:lnTo>
                    <a:pt x="309" y="768"/>
                  </a:lnTo>
                  <a:lnTo>
                    <a:pt x="295" y="777"/>
                  </a:lnTo>
                  <a:lnTo>
                    <a:pt x="279" y="785"/>
                  </a:lnTo>
                  <a:lnTo>
                    <a:pt x="263" y="790"/>
                  </a:lnTo>
                  <a:lnTo>
                    <a:pt x="245" y="795"/>
                  </a:lnTo>
                  <a:lnTo>
                    <a:pt x="228" y="798"/>
                  </a:lnTo>
                  <a:lnTo>
                    <a:pt x="210" y="799"/>
                  </a:lnTo>
                  <a:close/>
                  <a:moveTo>
                    <a:pt x="867" y="511"/>
                  </a:moveTo>
                  <a:lnTo>
                    <a:pt x="865" y="510"/>
                  </a:lnTo>
                  <a:lnTo>
                    <a:pt x="865" y="509"/>
                  </a:lnTo>
                  <a:lnTo>
                    <a:pt x="746" y="240"/>
                  </a:lnTo>
                  <a:lnTo>
                    <a:pt x="745" y="237"/>
                  </a:lnTo>
                  <a:lnTo>
                    <a:pt x="744" y="235"/>
                  </a:lnTo>
                  <a:lnTo>
                    <a:pt x="686" y="178"/>
                  </a:lnTo>
                  <a:lnTo>
                    <a:pt x="632" y="32"/>
                  </a:lnTo>
                  <a:lnTo>
                    <a:pt x="631" y="29"/>
                  </a:lnTo>
                  <a:lnTo>
                    <a:pt x="629" y="26"/>
                  </a:lnTo>
                  <a:lnTo>
                    <a:pt x="622" y="20"/>
                  </a:lnTo>
                  <a:lnTo>
                    <a:pt x="614" y="15"/>
                  </a:lnTo>
                  <a:lnTo>
                    <a:pt x="606" y="11"/>
                  </a:lnTo>
                  <a:lnTo>
                    <a:pt x="596" y="8"/>
                  </a:lnTo>
                  <a:lnTo>
                    <a:pt x="586" y="4"/>
                  </a:lnTo>
                  <a:lnTo>
                    <a:pt x="577" y="2"/>
                  </a:lnTo>
                  <a:lnTo>
                    <a:pt x="566" y="1"/>
                  </a:lnTo>
                  <a:lnTo>
                    <a:pt x="555" y="1"/>
                  </a:lnTo>
                  <a:lnTo>
                    <a:pt x="546" y="1"/>
                  </a:lnTo>
                  <a:lnTo>
                    <a:pt x="535" y="2"/>
                  </a:lnTo>
                  <a:lnTo>
                    <a:pt x="525" y="4"/>
                  </a:lnTo>
                  <a:lnTo>
                    <a:pt x="516" y="8"/>
                  </a:lnTo>
                  <a:lnTo>
                    <a:pt x="506" y="11"/>
                  </a:lnTo>
                  <a:lnTo>
                    <a:pt x="497" y="15"/>
                  </a:lnTo>
                  <a:lnTo>
                    <a:pt x="490" y="20"/>
                  </a:lnTo>
                  <a:lnTo>
                    <a:pt x="483" y="26"/>
                  </a:lnTo>
                  <a:lnTo>
                    <a:pt x="481" y="29"/>
                  </a:lnTo>
                  <a:lnTo>
                    <a:pt x="479" y="31"/>
                  </a:lnTo>
                  <a:lnTo>
                    <a:pt x="478" y="34"/>
                  </a:lnTo>
                  <a:lnTo>
                    <a:pt x="478" y="36"/>
                  </a:lnTo>
                  <a:lnTo>
                    <a:pt x="478" y="186"/>
                  </a:lnTo>
                  <a:lnTo>
                    <a:pt x="478" y="189"/>
                  </a:lnTo>
                  <a:lnTo>
                    <a:pt x="479" y="191"/>
                  </a:lnTo>
                  <a:lnTo>
                    <a:pt x="481" y="195"/>
                  </a:lnTo>
                  <a:lnTo>
                    <a:pt x="483" y="197"/>
                  </a:lnTo>
                  <a:lnTo>
                    <a:pt x="485" y="199"/>
                  </a:lnTo>
                  <a:lnTo>
                    <a:pt x="488" y="200"/>
                  </a:lnTo>
                  <a:lnTo>
                    <a:pt x="490" y="201"/>
                  </a:lnTo>
                  <a:lnTo>
                    <a:pt x="493" y="201"/>
                  </a:lnTo>
                  <a:lnTo>
                    <a:pt x="496" y="201"/>
                  </a:lnTo>
                  <a:lnTo>
                    <a:pt x="500" y="200"/>
                  </a:lnTo>
                  <a:lnTo>
                    <a:pt x="502" y="199"/>
                  </a:lnTo>
                  <a:lnTo>
                    <a:pt x="504" y="197"/>
                  </a:lnTo>
                  <a:lnTo>
                    <a:pt x="506" y="195"/>
                  </a:lnTo>
                  <a:lnTo>
                    <a:pt x="507" y="191"/>
                  </a:lnTo>
                  <a:lnTo>
                    <a:pt x="508" y="189"/>
                  </a:lnTo>
                  <a:lnTo>
                    <a:pt x="508" y="186"/>
                  </a:lnTo>
                  <a:lnTo>
                    <a:pt x="508" y="44"/>
                  </a:lnTo>
                  <a:lnTo>
                    <a:pt x="514" y="41"/>
                  </a:lnTo>
                  <a:lnTo>
                    <a:pt x="519" y="37"/>
                  </a:lnTo>
                  <a:lnTo>
                    <a:pt x="524" y="35"/>
                  </a:lnTo>
                  <a:lnTo>
                    <a:pt x="531" y="33"/>
                  </a:lnTo>
                  <a:lnTo>
                    <a:pt x="543" y="31"/>
                  </a:lnTo>
                  <a:lnTo>
                    <a:pt x="557" y="31"/>
                  </a:lnTo>
                  <a:lnTo>
                    <a:pt x="571" y="32"/>
                  </a:lnTo>
                  <a:lnTo>
                    <a:pt x="584" y="34"/>
                  </a:lnTo>
                  <a:lnTo>
                    <a:pt x="591" y="36"/>
                  </a:lnTo>
                  <a:lnTo>
                    <a:pt x="596" y="39"/>
                  </a:lnTo>
                  <a:lnTo>
                    <a:pt x="601" y="42"/>
                  </a:lnTo>
                  <a:lnTo>
                    <a:pt x="606" y="45"/>
                  </a:lnTo>
                  <a:lnTo>
                    <a:pt x="659" y="191"/>
                  </a:lnTo>
                  <a:lnTo>
                    <a:pt x="660" y="195"/>
                  </a:lnTo>
                  <a:lnTo>
                    <a:pt x="662" y="197"/>
                  </a:lnTo>
                  <a:lnTo>
                    <a:pt x="720" y="255"/>
                  </a:lnTo>
                  <a:lnTo>
                    <a:pt x="806" y="447"/>
                  </a:lnTo>
                  <a:lnTo>
                    <a:pt x="793" y="438"/>
                  </a:lnTo>
                  <a:lnTo>
                    <a:pt x="779" y="431"/>
                  </a:lnTo>
                  <a:lnTo>
                    <a:pt x="765" y="425"/>
                  </a:lnTo>
                  <a:lnTo>
                    <a:pt x="750" y="420"/>
                  </a:lnTo>
                  <a:lnTo>
                    <a:pt x="735" y="416"/>
                  </a:lnTo>
                  <a:lnTo>
                    <a:pt x="720" y="413"/>
                  </a:lnTo>
                  <a:lnTo>
                    <a:pt x="704" y="411"/>
                  </a:lnTo>
                  <a:lnTo>
                    <a:pt x="688" y="411"/>
                  </a:lnTo>
                  <a:lnTo>
                    <a:pt x="674" y="411"/>
                  </a:lnTo>
                  <a:lnTo>
                    <a:pt x="660" y="412"/>
                  </a:lnTo>
                  <a:lnTo>
                    <a:pt x="646" y="415"/>
                  </a:lnTo>
                  <a:lnTo>
                    <a:pt x="632" y="418"/>
                  </a:lnTo>
                  <a:lnTo>
                    <a:pt x="619" y="421"/>
                  </a:lnTo>
                  <a:lnTo>
                    <a:pt x="607" y="427"/>
                  </a:lnTo>
                  <a:lnTo>
                    <a:pt x="595" y="432"/>
                  </a:lnTo>
                  <a:lnTo>
                    <a:pt x="583" y="438"/>
                  </a:lnTo>
                  <a:lnTo>
                    <a:pt x="572" y="446"/>
                  </a:lnTo>
                  <a:lnTo>
                    <a:pt x="561" y="453"/>
                  </a:lnTo>
                  <a:lnTo>
                    <a:pt x="551" y="462"/>
                  </a:lnTo>
                  <a:lnTo>
                    <a:pt x="541" y="471"/>
                  </a:lnTo>
                  <a:lnTo>
                    <a:pt x="532" y="480"/>
                  </a:lnTo>
                  <a:lnTo>
                    <a:pt x="523" y="491"/>
                  </a:lnTo>
                  <a:lnTo>
                    <a:pt x="516" y="502"/>
                  </a:lnTo>
                  <a:lnTo>
                    <a:pt x="508" y="512"/>
                  </a:lnTo>
                  <a:lnTo>
                    <a:pt x="508" y="297"/>
                  </a:lnTo>
                  <a:lnTo>
                    <a:pt x="525" y="302"/>
                  </a:lnTo>
                  <a:lnTo>
                    <a:pt x="539" y="307"/>
                  </a:lnTo>
                  <a:lnTo>
                    <a:pt x="552" y="313"/>
                  </a:lnTo>
                  <a:lnTo>
                    <a:pt x="563" y="320"/>
                  </a:lnTo>
                  <a:lnTo>
                    <a:pt x="571" y="327"/>
                  </a:lnTo>
                  <a:lnTo>
                    <a:pt x="578" y="335"/>
                  </a:lnTo>
                  <a:lnTo>
                    <a:pt x="580" y="339"/>
                  </a:lnTo>
                  <a:lnTo>
                    <a:pt x="582" y="342"/>
                  </a:lnTo>
                  <a:lnTo>
                    <a:pt x="583" y="346"/>
                  </a:lnTo>
                  <a:lnTo>
                    <a:pt x="583" y="351"/>
                  </a:lnTo>
                  <a:lnTo>
                    <a:pt x="583" y="354"/>
                  </a:lnTo>
                  <a:lnTo>
                    <a:pt x="584" y="356"/>
                  </a:lnTo>
                  <a:lnTo>
                    <a:pt x="585" y="359"/>
                  </a:lnTo>
                  <a:lnTo>
                    <a:pt x="587" y="361"/>
                  </a:lnTo>
                  <a:lnTo>
                    <a:pt x="589" y="363"/>
                  </a:lnTo>
                  <a:lnTo>
                    <a:pt x="593" y="365"/>
                  </a:lnTo>
                  <a:lnTo>
                    <a:pt x="595" y="365"/>
                  </a:lnTo>
                  <a:lnTo>
                    <a:pt x="598" y="366"/>
                  </a:lnTo>
                  <a:lnTo>
                    <a:pt x="601" y="365"/>
                  </a:lnTo>
                  <a:lnTo>
                    <a:pt x="603" y="365"/>
                  </a:lnTo>
                  <a:lnTo>
                    <a:pt x="607" y="363"/>
                  </a:lnTo>
                  <a:lnTo>
                    <a:pt x="609" y="361"/>
                  </a:lnTo>
                  <a:lnTo>
                    <a:pt x="611" y="359"/>
                  </a:lnTo>
                  <a:lnTo>
                    <a:pt x="612" y="356"/>
                  </a:lnTo>
                  <a:lnTo>
                    <a:pt x="613" y="354"/>
                  </a:lnTo>
                  <a:lnTo>
                    <a:pt x="613" y="351"/>
                  </a:lnTo>
                  <a:lnTo>
                    <a:pt x="612" y="341"/>
                  </a:lnTo>
                  <a:lnTo>
                    <a:pt x="610" y="332"/>
                  </a:lnTo>
                  <a:lnTo>
                    <a:pt x="606" y="323"/>
                  </a:lnTo>
                  <a:lnTo>
                    <a:pt x="600" y="314"/>
                  </a:lnTo>
                  <a:lnTo>
                    <a:pt x="594" y="307"/>
                  </a:lnTo>
                  <a:lnTo>
                    <a:pt x="585" y="299"/>
                  </a:lnTo>
                  <a:lnTo>
                    <a:pt x="577" y="293"/>
                  </a:lnTo>
                  <a:lnTo>
                    <a:pt x="566" y="287"/>
                  </a:lnTo>
                  <a:lnTo>
                    <a:pt x="554" y="281"/>
                  </a:lnTo>
                  <a:lnTo>
                    <a:pt x="541" y="276"/>
                  </a:lnTo>
                  <a:lnTo>
                    <a:pt x="528" y="272"/>
                  </a:lnTo>
                  <a:lnTo>
                    <a:pt x="514" y="267"/>
                  </a:lnTo>
                  <a:lnTo>
                    <a:pt x="499" y="265"/>
                  </a:lnTo>
                  <a:lnTo>
                    <a:pt x="483" y="263"/>
                  </a:lnTo>
                  <a:lnTo>
                    <a:pt x="465" y="261"/>
                  </a:lnTo>
                  <a:lnTo>
                    <a:pt x="448" y="261"/>
                  </a:lnTo>
                  <a:lnTo>
                    <a:pt x="431" y="261"/>
                  </a:lnTo>
                  <a:lnTo>
                    <a:pt x="414" y="263"/>
                  </a:lnTo>
                  <a:lnTo>
                    <a:pt x="399" y="265"/>
                  </a:lnTo>
                  <a:lnTo>
                    <a:pt x="383" y="267"/>
                  </a:lnTo>
                  <a:lnTo>
                    <a:pt x="369" y="272"/>
                  </a:lnTo>
                  <a:lnTo>
                    <a:pt x="355" y="276"/>
                  </a:lnTo>
                  <a:lnTo>
                    <a:pt x="342" y="281"/>
                  </a:lnTo>
                  <a:lnTo>
                    <a:pt x="332" y="287"/>
                  </a:lnTo>
                  <a:lnTo>
                    <a:pt x="321" y="293"/>
                  </a:lnTo>
                  <a:lnTo>
                    <a:pt x="311" y="299"/>
                  </a:lnTo>
                  <a:lnTo>
                    <a:pt x="304" y="307"/>
                  </a:lnTo>
                  <a:lnTo>
                    <a:pt x="296" y="314"/>
                  </a:lnTo>
                  <a:lnTo>
                    <a:pt x="291" y="323"/>
                  </a:lnTo>
                  <a:lnTo>
                    <a:pt x="288" y="332"/>
                  </a:lnTo>
                  <a:lnTo>
                    <a:pt x="285" y="341"/>
                  </a:lnTo>
                  <a:lnTo>
                    <a:pt x="285" y="351"/>
                  </a:lnTo>
                  <a:lnTo>
                    <a:pt x="285" y="354"/>
                  </a:lnTo>
                  <a:lnTo>
                    <a:pt x="286" y="356"/>
                  </a:lnTo>
                  <a:lnTo>
                    <a:pt x="287" y="359"/>
                  </a:lnTo>
                  <a:lnTo>
                    <a:pt x="289" y="361"/>
                  </a:lnTo>
                  <a:lnTo>
                    <a:pt x="291" y="363"/>
                  </a:lnTo>
                  <a:lnTo>
                    <a:pt x="293" y="365"/>
                  </a:lnTo>
                  <a:lnTo>
                    <a:pt x="296" y="365"/>
                  </a:lnTo>
                  <a:lnTo>
                    <a:pt x="300" y="366"/>
                  </a:lnTo>
                  <a:lnTo>
                    <a:pt x="302" y="365"/>
                  </a:lnTo>
                  <a:lnTo>
                    <a:pt x="305" y="365"/>
                  </a:lnTo>
                  <a:lnTo>
                    <a:pt x="307" y="363"/>
                  </a:lnTo>
                  <a:lnTo>
                    <a:pt x="309" y="361"/>
                  </a:lnTo>
                  <a:lnTo>
                    <a:pt x="311" y="359"/>
                  </a:lnTo>
                  <a:lnTo>
                    <a:pt x="312" y="356"/>
                  </a:lnTo>
                  <a:lnTo>
                    <a:pt x="313" y="354"/>
                  </a:lnTo>
                  <a:lnTo>
                    <a:pt x="313" y="351"/>
                  </a:lnTo>
                  <a:lnTo>
                    <a:pt x="315" y="346"/>
                  </a:lnTo>
                  <a:lnTo>
                    <a:pt x="316" y="342"/>
                  </a:lnTo>
                  <a:lnTo>
                    <a:pt x="317" y="339"/>
                  </a:lnTo>
                  <a:lnTo>
                    <a:pt x="319" y="335"/>
                  </a:lnTo>
                  <a:lnTo>
                    <a:pt x="325" y="327"/>
                  </a:lnTo>
                  <a:lnTo>
                    <a:pt x="334" y="320"/>
                  </a:lnTo>
                  <a:lnTo>
                    <a:pt x="345" y="313"/>
                  </a:lnTo>
                  <a:lnTo>
                    <a:pt x="357" y="307"/>
                  </a:lnTo>
                  <a:lnTo>
                    <a:pt x="372" y="302"/>
                  </a:lnTo>
                  <a:lnTo>
                    <a:pt x="388" y="297"/>
                  </a:lnTo>
                  <a:lnTo>
                    <a:pt x="388" y="512"/>
                  </a:lnTo>
                  <a:lnTo>
                    <a:pt x="382" y="500"/>
                  </a:lnTo>
                  <a:lnTo>
                    <a:pt x="373" y="490"/>
                  </a:lnTo>
                  <a:lnTo>
                    <a:pt x="365" y="480"/>
                  </a:lnTo>
                  <a:lnTo>
                    <a:pt x="356" y="471"/>
                  </a:lnTo>
                  <a:lnTo>
                    <a:pt x="347" y="462"/>
                  </a:lnTo>
                  <a:lnTo>
                    <a:pt x="336" y="453"/>
                  </a:lnTo>
                  <a:lnTo>
                    <a:pt x="325" y="446"/>
                  </a:lnTo>
                  <a:lnTo>
                    <a:pt x="313" y="438"/>
                  </a:lnTo>
                  <a:lnTo>
                    <a:pt x="302" y="432"/>
                  </a:lnTo>
                  <a:lnTo>
                    <a:pt x="290" y="427"/>
                  </a:lnTo>
                  <a:lnTo>
                    <a:pt x="277" y="421"/>
                  </a:lnTo>
                  <a:lnTo>
                    <a:pt x="264" y="418"/>
                  </a:lnTo>
                  <a:lnTo>
                    <a:pt x="251" y="415"/>
                  </a:lnTo>
                  <a:lnTo>
                    <a:pt x="238" y="412"/>
                  </a:lnTo>
                  <a:lnTo>
                    <a:pt x="224" y="411"/>
                  </a:lnTo>
                  <a:lnTo>
                    <a:pt x="210" y="411"/>
                  </a:lnTo>
                  <a:lnTo>
                    <a:pt x="194" y="411"/>
                  </a:lnTo>
                  <a:lnTo>
                    <a:pt x="178" y="413"/>
                  </a:lnTo>
                  <a:lnTo>
                    <a:pt x="162" y="416"/>
                  </a:lnTo>
                  <a:lnTo>
                    <a:pt x="147" y="420"/>
                  </a:lnTo>
                  <a:lnTo>
                    <a:pt x="133" y="425"/>
                  </a:lnTo>
                  <a:lnTo>
                    <a:pt x="118" y="431"/>
                  </a:lnTo>
                  <a:lnTo>
                    <a:pt x="105" y="438"/>
                  </a:lnTo>
                  <a:lnTo>
                    <a:pt x="92" y="447"/>
                  </a:lnTo>
                  <a:lnTo>
                    <a:pt x="178" y="255"/>
                  </a:lnTo>
                  <a:lnTo>
                    <a:pt x="235" y="197"/>
                  </a:lnTo>
                  <a:lnTo>
                    <a:pt x="236" y="195"/>
                  </a:lnTo>
                  <a:lnTo>
                    <a:pt x="239" y="191"/>
                  </a:lnTo>
                  <a:lnTo>
                    <a:pt x="296" y="45"/>
                  </a:lnTo>
                  <a:lnTo>
                    <a:pt x="302" y="42"/>
                  </a:lnTo>
                  <a:lnTo>
                    <a:pt x="306" y="39"/>
                  </a:lnTo>
                  <a:lnTo>
                    <a:pt x="311" y="36"/>
                  </a:lnTo>
                  <a:lnTo>
                    <a:pt x="317" y="34"/>
                  </a:lnTo>
                  <a:lnTo>
                    <a:pt x="330" y="31"/>
                  </a:lnTo>
                  <a:lnTo>
                    <a:pt x="342" y="30"/>
                  </a:lnTo>
                  <a:lnTo>
                    <a:pt x="355" y="31"/>
                  </a:lnTo>
                  <a:lnTo>
                    <a:pt x="367" y="33"/>
                  </a:lnTo>
                  <a:lnTo>
                    <a:pt x="373" y="35"/>
                  </a:lnTo>
                  <a:lnTo>
                    <a:pt x="379" y="37"/>
                  </a:lnTo>
                  <a:lnTo>
                    <a:pt x="384" y="41"/>
                  </a:lnTo>
                  <a:lnTo>
                    <a:pt x="388" y="44"/>
                  </a:lnTo>
                  <a:lnTo>
                    <a:pt x="388" y="186"/>
                  </a:lnTo>
                  <a:lnTo>
                    <a:pt x="389" y="189"/>
                  </a:lnTo>
                  <a:lnTo>
                    <a:pt x="389" y="191"/>
                  </a:lnTo>
                  <a:lnTo>
                    <a:pt x="392" y="195"/>
                  </a:lnTo>
                  <a:lnTo>
                    <a:pt x="393" y="197"/>
                  </a:lnTo>
                  <a:lnTo>
                    <a:pt x="396" y="199"/>
                  </a:lnTo>
                  <a:lnTo>
                    <a:pt x="398" y="200"/>
                  </a:lnTo>
                  <a:lnTo>
                    <a:pt x="401" y="201"/>
                  </a:lnTo>
                  <a:lnTo>
                    <a:pt x="403" y="201"/>
                  </a:lnTo>
                  <a:lnTo>
                    <a:pt x="407" y="201"/>
                  </a:lnTo>
                  <a:lnTo>
                    <a:pt x="410" y="200"/>
                  </a:lnTo>
                  <a:lnTo>
                    <a:pt x="412" y="199"/>
                  </a:lnTo>
                  <a:lnTo>
                    <a:pt x="414" y="197"/>
                  </a:lnTo>
                  <a:lnTo>
                    <a:pt x="416" y="195"/>
                  </a:lnTo>
                  <a:lnTo>
                    <a:pt x="417" y="191"/>
                  </a:lnTo>
                  <a:lnTo>
                    <a:pt x="418" y="189"/>
                  </a:lnTo>
                  <a:lnTo>
                    <a:pt x="418" y="186"/>
                  </a:lnTo>
                  <a:lnTo>
                    <a:pt x="418" y="36"/>
                  </a:lnTo>
                  <a:lnTo>
                    <a:pt x="418" y="34"/>
                  </a:lnTo>
                  <a:lnTo>
                    <a:pt x="417" y="31"/>
                  </a:lnTo>
                  <a:lnTo>
                    <a:pt x="416" y="29"/>
                  </a:lnTo>
                  <a:lnTo>
                    <a:pt x="414" y="26"/>
                  </a:lnTo>
                  <a:lnTo>
                    <a:pt x="408" y="20"/>
                  </a:lnTo>
                  <a:lnTo>
                    <a:pt x="400" y="15"/>
                  </a:lnTo>
                  <a:lnTo>
                    <a:pt x="392" y="11"/>
                  </a:lnTo>
                  <a:lnTo>
                    <a:pt x="383" y="6"/>
                  </a:lnTo>
                  <a:lnTo>
                    <a:pt x="373" y="4"/>
                  </a:lnTo>
                  <a:lnTo>
                    <a:pt x="364" y="2"/>
                  </a:lnTo>
                  <a:lnTo>
                    <a:pt x="354" y="1"/>
                  </a:lnTo>
                  <a:lnTo>
                    <a:pt x="343" y="0"/>
                  </a:lnTo>
                  <a:lnTo>
                    <a:pt x="334" y="1"/>
                  </a:lnTo>
                  <a:lnTo>
                    <a:pt x="324" y="2"/>
                  </a:lnTo>
                  <a:lnTo>
                    <a:pt x="315" y="4"/>
                  </a:lnTo>
                  <a:lnTo>
                    <a:pt x="305" y="6"/>
                  </a:lnTo>
                  <a:lnTo>
                    <a:pt x="296" y="11"/>
                  </a:lnTo>
                  <a:lnTo>
                    <a:pt x="288" y="15"/>
                  </a:lnTo>
                  <a:lnTo>
                    <a:pt x="280" y="20"/>
                  </a:lnTo>
                  <a:lnTo>
                    <a:pt x="274" y="26"/>
                  </a:lnTo>
                  <a:lnTo>
                    <a:pt x="272" y="29"/>
                  </a:lnTo>
                  <a:lnTo>
                    <a:pt x="271" y="31"/>
                  </a:lnTo>
                  <a:lnTo>
                    <a:pt x="212" y="178"/>
                  </a:lnTo>
                  <a:lnTo>
                    <a:pt x="154" y="235"/>
                  </a:lnTo>
                  <a:lnTo>
                    <a:pt x="152" y="237"/>
                  </a:lnTo>
                  <a:lnTo>
                    <a:pt x="151" y="240"/>
                  </a:lnTo>
                  <a:lnTo>
                    <a:pt x="31" y="509"/>
                  </a:lnTo>
                  <a:lnTo>
                    <a:pt x="31" y="510"/>
                  </a:lnTo>
                  <a:lnTo>
                    <a:pt x="31" y="511"/>
                  </a:lnTo>
                  <a:lnTo>
                    <a:pt x="24" y="523"/>
                  </a:lnTo>
                  <a:lnTo>
                    <a:pt x="18" y="536"/>
                  </a:lnTo>
                  <a:lnTo>
                    <a:pt x="13" y="549"/>
                  </a:lnTo>
                  <a:lnTo>
                    <a:pt x="9" y="562"/>
                  </a:lnTo>
                  <a:lnTo>
                    <a:pt x="4" y="576"/>
                  </a:lnTo>
                  <a:lnTo>
                    <a:pt x="2" y="590"/>
                  </a:lnTo>
                  <a:lnTo>
                    <a:pt x="1" y="604"/>
                  </a:lnTo>
                  <a:lnTo>
                    <a:pt x="0" y="619"/>
                  </a:lnTo>
                  <a:lnTo>
                    <a:pt x="0" y="630"/>
                  </a:lnTo>
                  <a:lnTo>
                    <a:pt x="1" y="641"/>
                  </a:lnTo>
                  <a:lnTo>
                    <a:pt x="2" y="651"/>
                  </a:lnTo>
                  <a:lnTo>
                    <a:pt x="4" y="662"/>
                  </a:lnTo>
                  <a:lnTo>
                    <a:pt x="10" y="681"/>
                  </a:lnTo>
                  <a:lnTo>
                    <a:pt x="17" y="700"/>
                  </a:lnTo>
                  <a:lnTo>
                    <a:pt x="26" y="719"/>
                  </a:lnTo>
                  <a:lnTo>
                    <a:pt x="36" y="736"/>
                  </a:lnTo>
                  <a:lnTo>
                    <a:pt x="48" y="753"/>
                  </a:lnTo>
                  <a:lnTo>
                    <a:pt x="61" y="767"/>
                  </a:lnTo>
                  <a:lnTo>
                    <a:pt x="76" y="781"/>
                  </a:lnTo>
                  <a:lnTo>
                    <a:pt x="92" y="792"/>
                  </a:lnTo>
                  <a:lnTo>
                    <a:pt x="110" y="803"/>
                  </a:lnTo>
                  <a:lnTo>
                    <a:pt x="128" y="812"/>
                  </a:lnTo>
                  <a:lnTo>
                    <a:pt x="148" y="819"/>
                  </a:lnTo>
                  <a:lnTo>
                    <a:pt x="167" y="824"/>
                  </a:lnTo>
                  <a:lnTo>
                    <a:pt x="178" y="827"/>
                  </a:lnTo>
                  <a:lnTo>
                    <a:pt x="188" y="828"/>
                  </a:lnTo>
                  <a:lnTo>
                    <a:pt x="199" y="829"/>
                  </a:lnTo>
                  <a:lnTo>
                    <a:pt x="210" y="829"/>
                  </a:lnTo>
                  <a:lnTo>
                    <a:pt x="231" y="828"/>
                  </a:lnTo>
                  <a:lnTo>
                    <a:pt x="251" y="824"/>
                  </a:lnTo>
                  <a:lnTo>
                    <a:pt x="272" y="819"/>
                  </a:lnTo>
                  <a:lnTo>
                    <a:pt x="291" y="812"/>
                  </a:lnTo>
                  <a:lnTo>
                    <a:pt x="309" y="803"/>
                  </a:lnTo>
                  <a:lnTo>
                    <a:pt x="326" y="792"/>
                  </a:lnTo>
                  <a:lnTo>
                    <a:pt x="342" y="781"/>
                  </a:lnTo>
                  <a:lnTo>
                    <a:pt x="357" y="767"/>
                  </a:lnTo>
                  <a:lnTo>
                    <a:pt x="371" y="753"/>
                  </a:lnTo>
                  <a:lnTo>
                    <a:pt x="383" y="737"/>
                  </a:lnTo>
                  <a:lnTo>
                    <a:pt x="394" y="719"/>
                  </a:lnTo>
                  <a:lnTo>
                    <a:pt x="402" y="700"/>
                  </a:lnTo>
                  <a:lnTo>
                    <a:pt x="409" y="681"/>
                  </a:lnTo>
                  <a:lnTo>
                    <a:pt x="414" y="662"/>
                  </a:lnTo>
                  <a:lnTo>
                    <a:pt x="416" y="651"/>
                  </a:lnTo>
                  <a:lnTo>
                    <a:pt x="417" y="641"/>
                  </a:lnTo>
                  <a:lnTo>
                    <a:pt x="418" y="630"/>
                  </a:lnTo>
                  <a:lnTo>
                    <a:pt x="418" y="619"/>
                  </a:lnTo>
                  <a:lnTo>
                    <a:pt x="418" y="292"/>
                  </a:lnTo>
                  <a:lnTo>
                    <a:pt x="433" y="291"/>
                  </a:lnTo>
                  <a:lnTo>
                    <a:pt x="448" y="291"/>
                  </a:lnTo>
                  <a:lnTo>
                    <a:pt x="464" y="291"/>
                  </a:lnTo>
                  <a:lnTo>
                    <a:pt x="478" y="292"/>
                  </a:lnTo>
                  <a:lnTo>
                    <a:pt x="478" y="619"/>
                  </a:lnTo>
                  <a:lnTo>
                    <a:pt x="478" y="630"/>
                  </a:lnTo>
                  <a:lnTo>
                    <a:pt x="479" y="641"/>
                  </a:lnTo>
                  <a:lnTo>
                    <a:pt x="480" y="651"/>
                  </a:lnTo>
                  <a:lnTo>
                    <a:pt x="483" y="662"/>
                  </a:lnTo>
                  <a:lnTo>
                    <a:pt x="488" y="681"/>
                  </a:lnTo>
                  <a:lnTo>
                    <a:pt x="495" y="700"/>
                  </a:lnTo>
                  <a:lnTo>
                    <a:pt x="504" y="719"/>
                  </a:lnTo>
                  <a:lnTo>
                    <a:pt x="515" y="736"/>
                  </a:lnTo>
                  <a:lnTo>
                    <a:pt x="526" y="753"/>
                  </a:lnTo>
                  <a:lnTo>
                    <a:pt x="540" y="767"/>
                  </a:lnTo>
                  <a:lnTo>
                    <a:pt x="554" y="781"/>
                  </a:lnTo>
                  <a:lnTo>
                    <a:pt x="570" y="792"/>
                  </a:lnTo>
                  <a:lnTo>
                    <a:pt x="588" y="803"/>
                  </a:lnTo>
                  <a:lnTo>
                    <a:pt x="607" y="812"/>
                  </a:lnTo>
                  <a:lnTo>
                    <a:pt x="626" y="819"/>
                  </a:lnTo>
                  <a:lnTo>
                    <a:pt x="645" y="824"/>
                  </a:lnTo>
                  <a:lnTo>
                    <a:pt x="656" y="827"/>
                  </a:lnTo>
                  <a:lnTo>
                    <a:pt x="666" y="828"/>
                  </a:lnTo>
                  <a:lnTo>
                    <a:pt x="677" y="829"/>
                  </a:lnTo>
                  <a:lnTo>
                    <a:pt x="688" y="829"/>
                  </a:lnTo>
                  <a:lnTo>
                    <a:pt x="709" y="828"/>
                  </a:lnTo>
                  <a:lnTo>
                    <a:pt x="730" y="824"/>
                  </a:lnTo>
                  <a:lnTo>
                    <a:pt x="750" y="819"/>
                  </a:lnTo>
                  <a:lnTo>
                    <a:pt x="769" y="812"/>
                  </a:lnTo>
                  <a:lnTo>
                    <a:pt x="787" y="803"/>
                  </a:lnTo>
                  <a:lnTo>
                    <a:pt x="804" y="792"/>
                  </a:lnTo>
                  <a:lnTo>
                    <a:pt x="821" y="781"/>
                  </a:lnTo>
                  <a:lnTo>
                    <a:pt x="835" y="767"/>
                  </a:lnTo>
                  <a:lnTo>
                    <a:pt x="849" y="753"/>
                  </a:lnTo>
                  <a:lnTo>
                    <a:pt x="861" y="737"/>
                  </a:lnTo>
                  <a:lnTo>
                    <a:pt x="872" y="719"/>
                  </a:lnTo>
                  <a:lnTo>
                    <a:pt x="880" y="700"/>
                  </a:lnTo>
                  <a:lnTo>
                    <a:pt x="888" y="681"/>
                  </a:lnTo>
                  <a:lnTo>
                    <a:pt x="892" y="662"/>
                  </a:lnTo>
                  <a:lnTo>
                    <a:pt x="894" y="651"/>
                  </a:lnTo>
                  <a:lnTo>
                    <a:pt x="895" y="641"/>
                  </a:lnTo>
                  <a:lnTo>
                    <a:pt x="896" y="630"/>
                  </a:lnTo>
                  <a:lnTo>
                    <a:pt x="896" y="619"/>
                  </a:lnTo>
                  <a:lnTo>
                    <a:pt x="896" y="604"/>
                  </a:lnTo>
                  <a:lnTo>
                    <a:pt x="894" y="590"/>
                  </a:lnTo>
                  <a:lnTo>
                    <a:pt x="892" y="576"/>
                  </a:lnTo>
                  <a:lnTo>
                    <a:pt x="889" y="562"/>
                  </a:lnTo>
                  <a:lnTo>
                    <a:pt x="885" y="549"/>
                  </a:lnTo>
                  <a:lnTo>
                    <a:pt x="879" y="536"/>
                  </a:lnTo>
                  <a:lnTo>
                    <a:pt x="873" y="523"/>
                  </a:lnTo>
                  <a:lnTo>
                    <a:pt x="867" y="511"/>
                  </a:lnTo>
                  <a:lnTo>
                    <a:pt x="867" y="511"/>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85" name="Freeform 27">
              <a:extLst>
                <a:ext uri="{FF2B5EF4-FFF2-40B4-BE49-F238E27FC236}">
                  <a16:creationId xmlns:a16="http://schemas.microsoft.com/office/drawing/2014/main" id="{86AF2571-BDB3-43CD-B0EA-87084D6A5DCA}"/>
                </a:ext>
              </a:extLst>
            </p:cNvPr>
            <p:cNvSpPr>
              <a:spLocks/>
            </p:cNvSpPr>
            <p:nvPr/>
          </p:nvSpPr>
          <p:spPr bwMode="auto">
            <a:xfrm>
              <a:off x="9912350" y="2657476"/>
              <a:ext cx="44450" cy="44450"/>
            </a:xfrm>
            <a:custGeom>
              <a:avLst/>
              <a:gdLst>
                <a:gd name="T0" fmla="*/ 114 w 142"/>
                <a:gd name="T1" fmla="*/ 1 h 144"/>
                <a:gd name="T2" fmla="*/ 90 w 142"/>
                <a:gd name="T3" fmla="*/ 6 h 144"/>
                <a:gd name="T4" fmla="*/ 66 w 142"/>
                <a:gd name="T5" fmla="*/ 15 h 144"/>
                <a:gd name="T6" fmla="*/ 46 w 142"/>
                <a:gd name="T7" fmla="*/ 29 h 144"/>
                <a:gd name="T8" fmla="*/ 29 w 142"/>
                <a:gd name="T9" fmla="*/ 47 h 144"/>
                <a:gd name="T10" fmla="*/ 15 w 142"/>
                <a:gd name="T11" fmla="*/ 68 h 144"/>
                <a:gd name="T12" fmla="*/ 5 w 142"/>
                <a:gd name="T13" fmla="*/ 90 h 144"/>
                <a:gd name="T14" fmla="*/ 0 w 142"/>
                <a:gd name="T15" fmla="*/ 116 h 144"/>
                <a:gd name="T16" fmla="*/ 0 w 142"/>
                <a:gd name="T17" fmla="*/ 132 h 144"/>
                <a:gd name="T18" fmla="*/ 2 w 142"/>
                <a:gd name="T19" fmla="*/ 136 h 144"/>
                <a:gd name="T20" fmla="*/ 6 w 142"/>
                <a:gd name="T21" fmla="*/ 140 h 144"/>
                <a:gd name="T22" fmla="*/ 12 w 142"/>
                <a:gd name="T23" fmla="*/ 142 h 144"/>
                <a:gd name="T24" fmla="*/ 17 w 142"/>
                <a:gd name="T25" fmla="*/ 142 h 144"/>
                <a:gd name="T26" fmla="*/ 22 w 142"/>
                <a:gd name="T27" fmla="*/ 140 h 144"/>
                <a:gd name="T28" fmla="*/ 27 w 142"/>
                <a:gd name="T29" fmla="*/ 137 h 144"/>
                <a:gd name="T30" fmla="*/ 29 w 142"/>
                <a:gd name="T31" fmla="*/ 132 h 144"/>
                <a:gd name="T32" fmla="*/ 30 w 142"/>
                <a:gd name="T33" fmla="*/ 118 h 144"/>
                <a:gd name="T34" fmla="*/ 34 w 142"/>
                <a:gd name="T35" fmla="*/ 99 h 144"/>
                <a:gd name="T36" fmla="*/ 42 w 142"/>
                <a:gd name="T37" fmla="*/ 82 h 144"/>
                <a:gd name="T38" fmla="*/ 51 w 142"/>
                <a:gd name="T39" fmla="*/ 65 h 144"/>
                <a:gd name="T40" fmla="*/ 65 w 142"/>
                <a:gd name="T41" fmla="*/ 53 h 144"/>
                <a:gd name="T42" fmla="*/ 81 w 142"/>
                <a:gd name="T43" fmla="*/ 42 h 144"/>
                <a:gd name="T44" fmla="*/ 98 w 142"/>
                <a:gd name="T45" fmla="*/ 34 h 144"/>
                <a:gd name="T46" fmla="*/ 118 w 142"/>
                <a:gd name="T47" fmla="*/ 30 h 144"/>
                <a:gd name="T48" fmla="*/ 131 w 142"/>
                <a:gd name="T49" fmla="*/ 30 h 144"/>
                <a:gd name="T50" fmla="*/ 136 w 142"/>
                <a:gd name="T51" fmla="*/ 28 h 144"/>
                <a:gd name="T52" fmla="*/ 140 w 142"/>
                <a:gd name="T53" fmla="*/ 24 h 144"/>
                <a:gd name="T54" fmla="*/ 142 w 142"/>
                <a:gd name="T55" fmla="*/ 18 h 144"/>
                <a:gd name="T56" fmla="*/ 142 w 142"/>
                <a:gd name="T57" fmla="*/ 12 h 144"/>
                <a:gd name="T58" fmla="*/ 140 w 142"/>
                <a:gd name="T59" fmla="*/ 7 h 144"/>
                <a:gd name="T60" fmla="*/ 136 w 142"/>
                <a:gd name="T61" fmla="*/ 2 h 144"/>
                <a:gd name="T62" fmla="*/ 131 w 142"/>
                <a:gd name="T63" fmla="*/ 0 h 144"/>
                <a:gd name="T64" fmla="*/ 127 w 142"/>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4">
                  <a:moveTo>
                    <a:pt x="127" y="0"/>
                  </a:moveTo>
                  <a:lnTo>
                    <a:pt x="114" y="1"/>
                  </a:lnTo>
                  <a:lnTo>
                    <a:pt x="102" y="2"/>
                  </a:lnTo>
                  <a:lnTo>
                    <a:pt x="90" y="6"/>
                  </a:lnTo>
                  <a:lnTo>
                    <a:pt x="78" y="10"/>
                  </a:lnTo>
                  <a:lnTo>
                    <a:pt x="66" y="15"/>
                  </a:lnTo>
                  <a:lnTo>
                    <a:pt x="56" y="22"/>
                  </a:lnTo>
                  <a:lnTo>
                    <a:pt x="46" y="29"/>
                  </a:lnTo>
                  <a:lnTo>
                    <a:pt x="37" y="38"/>
                  </a:lnTo>
                  <a:lnTo>
                    <a:pt x="29" y="47"/>
                  </a:lnTo>
                  <a:lnTo>
                    <a:pt x="21" y="57"/>
                  </a:lnTo>
                  <a:lnTo>
                    <a:pt x="15" y="68"/>
                  </a:lnTo>
                  <a:lnTo>
                    <a:pt x="10" y="78"/>
                  </a:lnTo>
                  <a:lnTo>
                    <a:pt x="5" y="90"/>
                  </a:lnTo>
                  <a:lnTo>
                    <a:pt x="2" y="103"/>
                  </a:lnTo>
                  <a:lnTo>
                    <a:pt x="0" y="116"/>
                  </a:lnTo>
                  <a:lnTo>
                    <a:pt x="0" y="129"/>
                  </a:lnTo>
                  <a:lnTo>
                    <a:pt x="0" y="132"/>
                  </a:lnTo>
                  <a:lnTo>
                    <a:pt x="1" y="134"/>
                  </a:lnTo>
                  <a:lnTo>
                    <a:pt x="2" y="136"/>
                  </a:lnTo>
                  <a:lnTo>
                    <a:pt x="4" y="139"/>
                  </a:lnTo>
                  <a:lnTo>
                    <a:pt x="6" y="140"/>
                  </a:lnTo>
                  <a:lnTo>
                    <a:pt x="9" y="142"/>
                  </a:lnTo>
                  <a:lnTo>
                    <a:pt x="12" y="142"/>
                  </a:lnTo>
                  <a:lnTo>
                    <a:pt x="15" y="144"/>
                  </a:lnTo>
                  <a:lnTo>
                    <a:pt x="17" y="142"/>
                  </a:lnTo>
                  <a:lnTo>
                    <a:pt x="20" y="142"/>
                  </a:lnTo>
                  <a:lnTo>
                    <a:pt x="22" y="140"/>
                  </a:lnTo>
                  <a:lnTo>
                    <a:pt x="25" y="139"/>
                  </a:lnTo>
                  <a:lnTo>
                    <a:pt x="27" y="137"/>
                  </a:lnTo>
                  <a:lnTo>
                    <a:pt x="28" y="134"/>
                  </a:lnTo>
                  <a:lnTo>
                    <a:pt x="29" y="132"/>
                  </a:lnTo>
                  <a:lnTo>
                    <a:pt x="30" y="129"/>
                  </a:lnTo>
                  <a:lnTo>
                    <a:pt x="30" y="118"/>
                  </a:lnTo>
                  <a:lnTo>
                    <a:pt x="31" y="108"/>
                  </a:lnTo>
                  <a:lnTo>
                    <a:pt x="34" y="99"/>
                  </a:lnTo>
                  <a:lnTo>
                    <a:pt x="37" y="90"/>
                  </a:lnTo>
                  <a:lnTo>
                    <a:pt x="42" y="82"/>
                  </a:lnTo>
                  <a:lnTo>
                    <a:pt x="46" y="73"/>
                  </a:lnTo>
                  <a:lnTo>
                    <a:pt x="51" y="65"/>
                  </a:lnTo>
                  <a:lnTo>
                    <a:pt x="58" y="59"/>
                  </a:lnTo>
                  <a:lnTo>
                    <a:pt x="65" y="53"/>
                  </a:lnTo>
                  <a:lnTo>
                    <a:pt x="73" y="47"/>
                  </a:lnTo>
                  <a:lnTo>
                    <a:pt x="81" y="42"/>
                  </a:lnTo>
                  <a:lnTo>
                    <a:pt x="90" y="38"/>
                  </a:lnTo>
                  <a:lnTo>
                    <a:pt x="98" y="34"/>
                  </a:lnTo>
                  <a:lnTo>
                    <a:pt x="108" y="32"/>
                  </a:lnTo>
                  <a:lnTo>
                    <a:pt x="118" y="30"/>
                  </a:lnTo>
                  <a:lnTo>
                    <a:pt x="127" y="30"/>
                  </a:lnTo>
                  <a:lnTo>
                    <a:pt x="131" y="30"/>
                  </a:lnTo>
                  <a:lnTo>
                    <a:pt x="134" y="29"/>
                  </a:lnTo>
                  <a:lnTo>
                    <a:pt x="136" y="28"/>
                  </a:lnTo>
                  <a:lnTo>
                    <a:pt x="138" y="26"/>
                  </a:lnTo>
                  <a:lnTo>
                    <a:pt x="140" y="24"/>
                  </a:lnTo>
                  <a:lnTo>
                    <a:pt x="141" y="21"/>
                  </a:lnTo>
                  <a:lnTo>
                    <a:pt x="142" y="18"/>
                  </a:lnTo>
                  <a:lnTo>
                    <a:pt x="142" y="15"/>
                  </a:lnTo>
                  <a:lnTo>
                    <a:pt x="142" y="12"/>
                  </a:lnTo>
                  <a:lnTo>
                    <a:pt x="141" y="10"/>
                  </a:lnTo>
                  <a:lnTo>
                    <a:pt x="140" y="7"/>
                  </a:lnTo>
                  <a:lnTo>
                    <a:pt x="138" y="5"/>
                  </a:lnTo>
                  <a:lnTo>
                    <a:pt x="136" y="2"/>
                  </a:lnTo>
                  <a:lnTo>
                    <a:pt x="134" y="1"/>
                  </a:lnTo>
                  <a:lnTo>
                    <a:pt x="131" y="0"/>
                  </a:lnTo>
                  <a:lnTo>
                    <a:pt x="127" y="0"/>
                  </a:lnTo>
                  <a:lnTo>
                    <a:pt x="127"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86" name="Freeform 28">
              <a:extLst>
                <a:ext uri="{FF2B5EF4-FFF2-40B4-BE49-F238E27FC236}">
                  <a16:creationId xmlns:a16="http://schemas.microsoft.com/office/drawing/2014/main" id="{D605A008-A2D9-4996-9984-B74D1624C1C7}"/>
                </a:ext>
              </a:extLst>
            </p:cNvPr>
            <p:cNvSpPr>
              <a:spLocks/>
            </p:cNvSpPr>
            <p:nvPr/>
          </p:nvSpPr>
          <p:spPr bwMode="auto">
            <a:xfrm>
              <a:off x="10067925" y="2657476"/>
              <a:ext cx="44450" cy="44450"/>
            </a:xfrm>
            <a:custGeom>
              <a:avLst/>
              <a:gdLst>
                <a:gd name="T0" fmla="*/ 114 w 142"/>
                <a:gd name="T1" fmla="*/ 1 h 144"/>
                <a:gd name="T2" fmla="*/ 90 w 142"/>
                <a:gd name="T3" fmla="*/ 6 h 144"/>
                <a:gd name="T4" fmla="*/ 66 w 142"/>
                <a:gd name="T5" fmla="*/ 15 h 144"/>
                <a:gd name="T6" fmla="*/ 46 w 142"/>
                <a:gd name="T7" fmla="*/ 29 h 144"/>
                <a:gd name="T8" fmla="*/ 29 w 142"/>
                <a:gd name="T9" fmla="*/ 47 h 144"/>
                <a:gd name="T10" fmla="*/ 15 w 142"/>
                <a:gd name="T11" fmla="*/ 68 h 144"/>
                <a:gd name="T12" fmla="*/ 5 w 142"/>
                <a:gd name="T13" fmla="*/ 90 h 144"/>
                <a:gd name="T14" fmla="*/ 0 w 142"/>
                <a:gd name="T15" fmla="*/ 116 h 144"/>
                <a:gd name="T16" fmla="*/ 0 w 142"/>
                <a:gd name="T17" fmla="*/ 132 h 144"/>
                <a:gd name="T18" fmla="*/ 2 w 142"/>
                <a:gd name="T19" fmla="*/ 136 h 144"/>
                <a:gd name="T20" fmla="*/ 6 w 142"/>
                <a:gd name="T21" fmla="*/ 140 h 144"/>
                <a:gd name="T22" fmla="*/ 12 w 142"/>
                <a:gd name="T23" fmla="*/ 142 h 144"/>
                <a:gd name="T24" fmla="*/ 17 w 142"/>
                <a:gd name="T25" fmla="*/ 142 h 144"/>
                <a:gd name="T26" fmla="*/ 22 w 142"/>
                <a:gd name="T27" fmla="*/ 140 h 144"/>
                <a:gd name="T28" fmla="*/ 27 w 142"/>
                <a:gd name="T29" fmla="*/ 137 h 144"/>
                <a:gd name="T30" fmla="*/ 29 w 142"/>
                <a:gd name="T31" fmla="*/ 132 h 144"/>
                <a:gd name="T32" fmla="*/ 30 w 142"/>
                <a:gd name="T33" fmla="*/ 118 h 144"/>
                <a:gd name="T34" fmla="*/ 34 w 142"/>
                <a:gd name="T35" fmla="*/ 99 h 144"/>
                <a:gd name="T36" fmla="*/ 42 w 142"/>
                <a:gd name="T37" fmla="*/ 82 h 144"/>
                <a:gd name="T38" fmla="*/ 51 w 142"/>
                <a:gd name="T39" fmla="*/ 65 h 144"/>
                <a:gd name="T40" fmla="*/ 65 w 142"/>
                <a:gd name="T41" fmla="*/ 53 h 144"/>
                <a:gd name="T42" fmla="*/ 81 w 142"/>
                <a:gd name="T43" fmla="*/ 42 h 144"/>
                <a:gd name="T44" fmla="*/ 98 w 142"/>
                <a:gd name="T45" fmla="*/ 34 h 144"/>
                <a:gd name="T46" fmla="*/ 118 w 142"/>
                <a:gd name="T47" fmla="*/ 30 h 144"/>
                <a:gd name="T48" fmla="*/ 130 w 142"/>
                <a:gd name="T49" fmla="*/ 30 h 144"/>
                <a:gd name="T50" fmla="*/ 136 w 142"/>
                <a:gd name="T51" fmla="*/ 28 h 144"/>
                <a:gd name="T52" fmla="*/ 140 w 142"/>
                <a:gd name="T53" fmla="*/ 24 h 144"/>
                <a:gd name="T54" fmla="*/ 142 w 142"/>
                <a:gd name="T55" fmla="*/ 18 h 144"/>
                <a:gd name="T56" fmla="*/ 142 w 142"/>
                <a:gd name="T57" fmla="*/ 12 h 144"/>
                <a:gd name="T58" fmla="*/ 140 w 142"/>
                <a:gd name="T59" fmla="*/ 7 h 144"/>
                <a:gd name="T60" fmla="*/ 136 w 142"/>
                <a:gd name="T61" fmla="*/ 2 h 144"/>
                <a:gd name="T62" fmla="*/ 130 w 142"/>
                <a:gd name="T63" fmla="*/ 0 h 144"/>
                <a:gd name="T64" fmla="*/ 127 w 142"/>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2" h="144">
                  <a:moveTo>
                    <a:pt x="127" y="0"/>
                  </a:moveTo>
                  <a:lnTo>
                    <a:pt x="114" y="1"/>
                  </a:lnTo>
                  <a:lnTo>
                    <a:pt x="102" y="2"/>
                  </a:lnTo>
                  <a:lnTo>
                    <a:pt x="90" y="6"/>
                  </a:lnTo>
                  <a:lnTo>
                    <a:pt x="78" y="10"/>
                  </a:lnTo>
                  <a:lnTo>
                    <a:pt x="66" y="15"/>
                  </a:lnTo>
                  <a:lnTo>
                    <a:pt x="56" y="22"/>
                  </a:lnTo>
                  <a:lnTo>
                    <a:pt x="46" y="29"/>
                  </a:lnTo>
                  <a:lnTo>
                    <a:pt x="37" y="38"/>
                  </a:lnTo>
                  <a:lnTo>
                    <a:pt x="29" y="47"/>
                  </a:lnTo>
                  <a:lnTo>
                    <a:pt x="21" y="57"/>
                  </a:lnTo>
                  <a:lnTo>
                    <a:pt x="15" y="68"/>
                  </a:lnTo>
                  <a:lnTo>
                    <a:pt x="10" y="78"/>
                  </a:lnTo>
                  <a:lnTo>
                    <a:pt x="5" y="90"/>
                  </a:lnTo>
                  <a:lnTo>
                    <a:pt x="2" y="103"/>
                  </a:lnTo>
                  <a:lnTo>
                    <a:pt x="0" y="116"/>
                  </a:lnTo>
                  <a:lnTo>
                    <a:pt x="0" y="129"/>
                  </a:lnTo>
                  <a:lnTo>
                    <a:pt x="0" y="132"/>
                  </a:lnTo>
                  <a:lnTo>
                    <a:pt x="1" y="134"/>
                  </a:lnTo>
                  <a:lnTo>
                    <a:pt x="2" y="136"/>
                  </a:lnTo>
                  <a:lnTo>
                    <a:pt x="4" y="139"/>
                  </a:lnTo>
                  <a:lnTo>
                    <a:pt x="6" y="140"/>
                  </a:lnTo>
                  <a:lnTo>
                    <a:pt x="8" y="142"/>
                  </a:lnTo>
                  <a:lnTo>
                    <a:pt x="12" y="142"/>
                  </a:lnTo>
                  <a:lnTo>
                    <a:pt x="15" y="144"/>
                  </a:lnTo>
                  <a:lnTo>
                    <a:pt x="17" y="142"/>
                  </a:lnTo>
                  <a:lnTo>
                    <a:pt x="20" y="142"/>
                  </a:lnTo>
                  <a:lnTo>
                    <a:pt x="22" y="140"/>
                  </a:lnTo>
                  <a:lnTo>
                    <a:pt x="25" y="139"/>
                  </a:lnTo>
                  <a:lnTo>
                    <a:pt x="27" y="137"/>
                  </a:lnTo>
                  <a:lnTo>
                    <a:pt x="28" y="134"/>
                  </a:lnTo>
                  <a:lnTo>
                    <a:pt x="29" y="132"/>
                  </a:lnTo>
                  <a:lnTo>
                    <a:pt x="30" y="129"/>
                  </a:lnTo>
                  <a:lnTo>
                    <a:pt x="30" y="118"/>
                  </a:lnTo>
                  <a:lnTo>
                    <a:pt x="31" y="108"/>
                  </a:lnTo>
                  <a:lnTo>
                    <a:pt x="34" y="99"/>
                  </a:lnTo>
                  <a:lnTo>
                    <a:pt x="37" y="90"/>
                  </a:lnTo>
                  <a:lnTo>
                    <a:pt x="42" y="82"/>
                  </a:lnTo>
                  <a:lnTo>
                    <a:pt x="46" y="73"/>
                  </a:lnTo>
                  <a:lnTo>
                    <a:pt x="51" y="65"/>
                  </a:lnTo>
                  <a:lnTo>
                    <a:pt x="58" y="59"/>
                  </a:lnTo>
                  <a:lnTo>
                    <a:pt x="65" y="53"/>
                  </a:lnTo>
                  <a:lnTo>
                    <a:pt x="73" y="47"/>
                  </a:lnTo>
                  <a:lnTo>
                    <a:pt x="81" y="42"/>
                  </a:lnTo>
                  <a:lnTo>
                    <a:pt x="90" y="38"/>
                  </a:lnTo>
                  <a:lnTo>
                    <a:pt x="98" y="34"/>
                  </a:lnTo>
                  <a:lnTo>
                    <a:pt x="108" y="32"/>
                  </a:lnTo>
                  <a:lnTo>
                    <a:pt x="118" y="30"/>
                  </a:lnTo>
                  <a:lnTo>
                    <a:pt x="127" y="30"/>
                  </a:lnTo>
                  <a:lnTo>
                    <a:pt x="130" y="30"/>
                  </a:lnTo>
                  <a:lnTo>
                    <a:pt x="134" y="29"/>
                  </a:lnTo>
                  <a:lnTo>
                    <a:pt x="136" y="28"/>
                  </a:lnTo>
                  <a:lnTo>
                    <a:pt x="138" y="26"/>
                  </a:lnTo>
                  <a:lnTo>
                    <a:pt x="140" y="24"/>
                  </a:lnTo>
                  <a:lnTo>
                    <a:pt x="141" y="21"/>
                  </a:lnTo>
                  <a:lnTo>
                    <a:pt x="142" y="18"/>
                  </a:lnTo>
                  <a:lnTo>
                    <a:pt x="142" y="15"/>
                  </a:lnTo>
                  <a:lnTo>
                    <a:pt x="142" y="12"/>
                  </a:lnTo>
                  <a:lnTo>
                    <a:pt x="141" y="10"/>
                  </a:lnTo>
                  <a:lnTo>
                    <a:pt x="140" y="7"/>
                  </a:lnTo>
                  <a:lnTo>
                    <a:pt x="138" y="5"/>
                  </a:lnTo>
                  <a:lnTo>
                    <a:pt x="136" y="2"/>
                  </a:lnTo>
                  <a:lnTo>
                    <a:pt x="134" y="1"/>
                  </a:lnTo>
                  <a:lnTo>
                    <a:pt x="130" y="0"/>
                  </a:lnTo>
                  <a:lnTo>
                    <a:pt x="127" y="0"/>
                  </a:lnTo>
                  <a:lnTo>
                    <a:pt x="127" y="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709" name="Group 30">
            <a:extLst>
              <a:ext uri="{FF2B5EF4-FFF2-40B4-BE49-F238E27FC236}">
                <a16:creationId xmlns:a16="http://schemas.microsoft.com/office/drawing/2014/main" id="{7025E874-E5DD-45C8-94DA-96AA11A2D58D}"/>
              </a:ext>
            </a:extLst>
          </p:cNvPr>
          <p:cNvGrpSpPr>
            <a:grpSpLocks noChangeAspect="1"/>
          </p:cNvGrpSpPr>
          <p:nvPr/>
        </p:nvGrpSpPr>
        <p:grpSpPr>
          <a:xfrm>
            <a:off x="4427747" y="5471237"/>
            <a:ext cx="318657" cy="199162"/>
            <a:chOff x="2563815" y="4944271"/>
            <a:chExt cx="571500" cy="357190"/>
          </a:xfrm>
          <a:solidFill>
            <a:schemeClr val="bg1"/>
          </a:solidFill>
          <a:effectLst/>
        </p:grpSpPr>
        <p:sp>
          <p:nvSpPr>
            <p:cNvPr id="710" name="Freeform 106">
              <a:extLst>
                <a:ext uri="{FF2B5EF4-FFF2-40B4-BE49-F238E27FC236}">
                  <a16:creationId xmlns:a16="http://schemas.microsoft.com/office/drawing/2014/main" id="{72A51143-74D7-47A2-8A63-5A4B924575FA}"/>
                </a:ext>
              </a:extLst>
            </p:cNvPr>
            <p:cNvSpPr>
              <a:spLocks noEditPoints="1"/>
            </p:cNvSpPr>
            <p:nvPr/>
          </p:nvSpPr>
          <p:spPr bwMode="auto">
            <a:xfrm>
              <a:off x="2563815" y="4944271"/>
              <a:ext cx="571500" cy="357190"/>
            </a:xfrm>
            <a:custGeom>
              <a:avLst/>
              <a:gdLst>
                <a:gd name="T0" fmla="*/ 216 w 216"/>
                <a:gd name="T1" fmla="*/ 66 h 135"/>
                <a:gd name="T2" fmla="*/ 216 w 216"/>
                <a:gd name="T3" fmla="*/ 65 h 135"/>
                <a:gd name="T4" fmla="*/ 216 w 216"/>
                <a:gd name="T5" fmla="*/ 65 h 135"/>
                <a:gd name="T6" fmla="*/ 216 w 216"/>
                <a:gd name="T7" fmla="*/ 64 h 135"/>
                <a:gd name="T8" fmla="*/ 197 w 216"/>
                <a:gd name="T9" fmla="*/ 39 h 135"/>
                <a:gd name="T10" fmla="*/ 172 w 216"/>
                <a:gd name="T11" fmla="*/ 18 h 135"/>
                <a:gd name="T12" fmla="*/ 141 w 216"/>
                <a:gd name="T13" fmla="*/ 5 h 135"/>
                <a:gd name="T14" fmla="*/ 117 w 216"/>
                <a:gd name="T15" fmla="*/ 0 h 135"/>
                <a:gd name="T16" fmla="*/ 109 w 216"/>
                <a:gd name="T17" fmla="*/ 0 h 135"/>
                <a:gd name="T18" fmla="*/ 91 w 216"/>
                <a:gd name="T19" fmla="*/ 1 h 135"/>
                <a:gd name="T20" fmla="*/ 59 w 216"/>
                <a:gd name="T21" fmla="*/ 10 h 135"/>
                <a:gd name="T22" fmla="*/ 32 w 216"/>
                <a:gd name="T23" fmla="*/ 27 h 135"/>
                <a:gd name="T24" fmla="*/ 9 w 216"/>
                <a:gd name="T25" fmla="*/ 51 h 135"/>
                <a:gd name="T26" fmla="*/ 1 w 216"/>
                <a:gd name="T27" fmla="*/ 64 h 135"/>
                <a:gd name="T28" fmla="*/ 1 w 216"/>
                <a:gd name="T29" fmla="*/ 65 h 135"/>
                <a:gd name="T30" fmla="*/ 0 w 216"/>
                <a:gd name="T31" fmla="*/ 65 h 135"/>
                <a:gd name="T32" fmla="*/ 0 w 216"/>
                <a:gd name="T33" fmla="*/ 66 h 135"/>
                <a:gd name="T34" fmla="*/ 0 w 216"/>
                <a:gd name="T35" fmla="*/ 67 h 135"/>
                <a:gd name="T36" fmla="*/ 0 w 216"/>
                <a:gd name="T37" fmla="*/ 69 h 135"/>
                <a:gd name="T38" fmla="*/ 0 w 216"/>
                <a:gd name="T39" fmla="*/ 70 h 135"/>
                <a:gd name="T40" fmla="*/ 1 w 216"/>
                <a:gd name="T41" fmla="*/ 70 h 135"/>
                <a:gd name="T42" fmla="*/ 1 w 216"/>
                <a:gd name="T43" fmla="*/ 70 h 135"/>
                <a:gd name="T44" fmla="*/ 19 w 216"/>
                <a:gd name="T45" fmla="*/ 97 h 135"/>
                <a:gd name="T46" fmla="*/ 45 w 216"/>
                <a:gd name="T47" fmla="*/ 118 h 135"/>
                <a:gd name="T48" fmla="*/ 75 w 216"/>
                <a:gd name="T49" fmla="*/ 131 h 135"/>
                <a:gd name="T50" fmla="*/ 100 w 216"/>
                <a:gd name="T51" fmla="*/ 135 h 135"/>
                <a:gd name="T52" fmla="*/ 109 w 216"/>
                <a:gd name="T53" fmla="*/ 135 h 135"/>
                <a:gd name="T54" fmla="*/ 125 w 216"/>
                <a:gd name="T55" fmla="*/ 134 h 135"/>
                <a:gd name="T56" fmla="*/ 157 w 216"/>
                <a:gd name="T57" fmla="*/ 125 h 135"/>
                <a:gd name="T58" fmla="*/ 185 w 216"/>
                <a:gd name="T59" fmla="*/ 107 h 135"/>
                <a:gd name="T60" fmla="*/ 208 w 216"/>
                <a:gd name="T61" fmla="*/ 85 h 135"/>
                <a:gd name="T62" fmla="*/ 216 w 216"/>
                <a:gd name="T63" fmla="*/ 70 h 135"/>
                <a:gd name="T64" fmla="*/ 216 w 216"/>
                <a:gd name="T65" fmla="*/ 70 h 135"/>
                <a:gd name="T66" fmla="*/ 216 w 216"/>
                <a:gd name="T67" fmla="*/ 70 h 135"/>
                <a:gd name="T68" fmla="*/ 216 w 216"/>
                <a:gd name="T69" fmla="*/ 69 h 135"/>
                <a:gd name="T70" fmla="*/ 216 w 216"/>
                <a:gd name="T71" fmla="*/ 67 h 135"/>
                <a:gd name="T72" fmla="*/ 216 w 216"/>
                <a:gd name="T73" fmla="*/ 66 h 135"/>
                <a:gd name="T74" fmla="*/ 109 w 216"/>
                <a:gd name="T75" fmla="*/ 122 h 135"/>
                <a:gd name="T76" fmla="*/ 80 w 216"/>
                <a:gd name="T77" fmla="*/ 118 h 135"/>
                <a:gd name="T78" fmla="*/ 54 w 216"/>
                <a:gd name="T79" fmla="*/ 107 h 135"/>
                <a:gd name="T80" fmla="*/ 32 w 216"/>
                <a:gd name="T81" fmla="*/ 90 h 135"/>
                <a:gd name="T82" fmla="*/ 14 w 216"/>
                <a:gd name="T83" fmla="*/ 67 h 135"/>
                <a:gd name="T84" fmla="*/ 22 w 216"/>
                <a:gd name="T85" fmla="*/ 56 h 135"/>
                <a:gd name="T86" fmla="*/ 42 w 216"/>
                <a:gd name="T87" fmla="*/ 37 h 135"/>
                <a:gd name="T88" fmla="*/ 66 w 216"/>
                <a:gd name="T89" fmla="*/ 22 h 135"/>
                <a:gd name="T90" fmla="*/ 94 w 216"/>
                <a:gd name="T91" fmla="*/ 14 h 135"/>
                <a:gd name="T92" fmla="*/ 109 w 216"/>
                <a:gd name="T93" fmla="*/ 13 h 135"/>
                <a:gd name="T94" fmla="*/ 136 w 216"/>
                <a:gd name="T95" fmla="*/ 17 h 135"/>
                <a:gd name="T96" fmla="*/ 163 w 216"/>
                <a:gd name="T97" fmla="*/ 28 h 135"/>
                <a:gd name="T98" fmla="*/ 185 w 216"/>
                <a:gd name="T99" fmla="*/ 46 h 135"/>
                <a:gd name="T100" fmla="*/ 202 w 216"/>
                <a:gd name="T101" fmla="*/ 67 h 135"/>
                <a:gd name="T102" fmla="*/ 195 w 216"/>
                <a:gd name="T103" fmla="*/ 80 h 135"/>
                <a:gd name="T104" fmla="*/ 174 w 216"/>
                <a:gd name="T105" fmla="*/ 99 h 135"/>
                <a:gd name="T106" fmla="*/ 150 w 216"/>
                <a:gd name="T107" fmla="*/ 113 h 135"/>
                <a:gd name="T108" fmla="*/ 123 w 216"/>
                <a:gd name="T109" fmla="*/ 121 h 135"/>
                <a:gd name="T110" fmla="*/ 109 w 216"/>
                <a:gd name="T111" fmla="*/ 12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6" h="135">
                  <a:moveTo>
                    <a:pt x="216" y="66"/>
                  </a:moveTo>
                  <a:lnTo>
                    <a:pt x="216" y="66"/>
                  </a:lnTo>
                  <a:lnTo>
                    <a:pt x="216" y="65"/>
                  </a:lnTo>
                  <a:lnTo>
                    <a:pt x="216" y="65"/>
                  </a:lnTo>
                  <a:lnTo>
                    <a:pt x="216" y="65"/>
                  </a:lnTo>
                  <a:lnTo>
                    <a:pt x="216" y="65"/>
                  </a:lnTo>
                  <a:lnTo>
                    <a:pt x="216" y="64"/>
                  </a:lnTo>
                  <a:lnTo>
                    <a:pt x="216" y="64"/>
                  </a:lnTo>
                  <a:lnTo>
                    <a:pt x="208" y="51"/>
                  </a:lnTo>
                  <a:lnTo>
                    <a:pt x="197" y="39"/>
                  </a:lnTo>
                  <a:lnTo>
                    <a:pt x="185" y="27"/>
                  </a:lnTo>
                  <a:lnTo>
                    <a:pt x="172" y="18"/>
                  </a:lnTo>
                  <a:lnTo>
                    <a:pt x="157" y="10"/>
                  </a:lnTo>
                  <a:lnTo>
                    <a:pt x="141" y="5"/>
                  </a:lnTo>
                  <a:lnTo>
                    <a:pt x="125" y="1"/>
                  </a:lnTo>
                  <a:lnTo>
                    <a:pt x="117" y="0"/>
                  </a:lnTo>
                  <a:lnTo>
                    <a:pt x="109" y="0"/>
                  </a:lnTo>
                  <a:lnTo>
                    <a:pt x="109" y="0"/>
                  </a:lnTo>
                  <a:lnTo>
                    <a:pt x="100" y="0"/>
                  </a:lnTo>
                  <a:lnTo>
                    <a:pt x="91" y="1"/>
                  </a:lnTo>
                  <a:lnTo>
                    <a:pt x="75" y="5"/>
                  </a:lnTo>
                  <a:lnTo>
                    <a:pt x="59" y="10"/>
                  </a:lnTo>
                  <a:lnTo>
                    <a:pt x="45" y="18"/>
                  </a:lnTo>
                  <a:lnTo>
                    <a:pt x="32" y="27"/>
                  </a:lnTo>
                  <a:lnTo>
                    <a:pt x="19" y="39"/>
                  </a:lnTo>
                  <a:lnTo>
                    <a:pt x="9" y="51"/>
                  </a:lnTo>
                  <a:lnTo>
                    <a:pt x="1" y="64"/>
                  </a:lnTo>
                  <a:lnTo>
                    <a:pt x="1" y="64"/>
                  </a:lnTo>
                  <a:lnTo>
                    <a:pt x="1" y="65"/>
                  </a:lnTo>
                  <a:lnTo>
                    <a:pt x="1" y="65"/>
                  </a:lnTo>
                  <a:lnTo>
                    <a:pt x="0" y="65"/>
                  </a:lnTo>
                  <a:lnTo>
                    <a:pt x="0" y="65"/>
                  </a:lnTo>
                  <a:lnTo>
                    <a:pt x="0" y="66"/>
                  </a:lnTo>
                  <a:lnTo>
                    <a:pt x="0" y="66"/>
                  </a:lnTo>
                  <a:lnTo>
                    <a:pt x="0" y="67"/>
                  </a:lnTo>
                  <a:lnTo>
                    <a:pt x="0" y="67"/>
                  </a:lnTo>
                  <a:lnTo>
                    <a:pt x="0" y="69"/>
                  </a:lnTo>
                  <a:lnTo>
                    <a:pt x="0" y="69"/>
                  </a:lnTo>
                  <a:lnTo>
                    <a:pt x="0" y="70"/>
                  </a:lnTo>
                  <a:lnTo>
                    <a:pt x="0" y="70"/>
                  </a:lnTo>
                  <a:lnTo>
                    <a:pt x="1" y="70"/>
                  </a:lnTo>
                  <a:lnTo>
                    <a:pt x="1" y="70"/>
                  </a:lnTo>
                  <a:lnTo>
                    <a:pt x="1" y="70"/>
                  </a:lnTo>
                  <a:lnTo>
                    <a:pt x="1" y="70"/>
                  </a:lnTo>
                  <a:lnTo>
                    <a:pt x="9" y="85"/>
                  </a:lnTo>
                  <a:lnTo>
                    <a:pt x="19" y="97"/>
                  </a:lnTo>
                  <a:lnTo>
                    <a:pt x="32" y="107"/>
                  </a:lnTo>
                  <a:lnTo>
                    <a:pt x="45" y="118"/>
                  </a:lnTo>
                  <a:lnTo>
                    <a:pt x="59" y="125"/>
                  </a:lnTo>
                  <a:lnTo>
                    <a:pt x="75" y="131"/>
                  </a:lnTo>
                  <a:lnTo>
                    <a:pt x="91" y="134"/>
                  </a:lnTo>
                  <a:lnTo>
                    <a:pt x="100" y="135"/>
                  </a:lnTo>
                  <a:lnTo>
                    <a:pt x="109" y="135"/>
                  </a:lnTo>
                  <a:lnTo>
                    <a:pt x="109" y="135"/>
                  </a:lnTo>
                  <a:lnTo>
                    <a:pt x="117" y="135"/>
                  </a:lnTo>
                  <a:lnTo>
                    <a:pt x="125" y="134"/>
                  </a:lnTo>
                  <a:lnTo>
                    <a:pt x="141" y="131"/>
                  </a:lnTo>
                  <a:lnTo>
                    <a:pt x="157" y="125"/>
                  </a:lnTo>
                  <a:lnTo>
                    <a:pt x="172" y="118"/>
                  </a:lnTo>
                  <a:lnTo>
                    <a:pt x="185" y="107"/>
                  </a:lnTo>
                  <a:lnTo>
                    <a:pt x="197" y="97"/>
                  </a:lnTo>
                  <a:lnTo>
                    <a:pt x="208" y="85"/>
                  </a:lnTo>
                  <a:lnTo>
                    <a:pt x="216" y="70"/>
                  </a:lnTo>
                  <a:lnTo>
                    <a:pt x="216" y="70"/>
                  </a:lnTo>
                  <a:lnTo>
                    <a:pt x="216" y="70"/>
                  </a:lnTo>
                  <a:lnTo>
                    <a:pt x="216" y="70"/>
                  </a:lnTo>
                  <a:lnTo>
                    <a:pt x="216" y="70"/>
                  </a:lnTo>
                  <a:lnTo>
                    <a:pt x="216" y="70"/>
                  </a:lnTo>
                  <a:lnTo>
                    <a:pt x="216" y="69"/>
                  </a:lnTo>
                  <a:lnTo>
                    <a:pt x="216" y="69"/>
                  </a:lnTo>
                  <a:lnTo>
                    <a:pt x="216" y="67"/>
                  </a:lnTo>
                  <a:lnTo>
                    <a:pt x="216" y="67"/>
                  </a:lnTo>
                  <a:lnTo>
                    <a:pt x="216" y="66"/>
                  </a:lnTo>
                  <a:lnTo>
                    <a:pt x="216" y="66"/>
                  </a:lnTo>
                  <a:close/>
                  <a:moveTo>
                    <a:pt x="109" y="122"/>
                  </a:moveTo>
                  <a:lnTo>
                    <a:pt x="109" y="122"/>
                  </a:lnTo>
                  <a:lnTo>
                    <a:pt x="94" y="121"/>
                  </a:lnTo>
                  <a:lnTo>
                    <a:pt x="80" y="118"/>
                  </a:lnTo>
                  <a:lnTo>
                    <a:pt x="66" y="113"/>
                  </a:lnTo>
                  <a:lnTo>
                    <a:pt x="54" y="107"/>
                  </a:lnTo>
                  <a:lnTo>
                    <a:pt x="42" y="99"/>
                  </a:lnTo>
                  <a:lnTo>
                    <a:pt x="32" y="90"/>
                  </a:lnTo>
                  <a:lnTo>
                    <a:pt x="22" y="80"/>
                  </a:lnTo>
                  <a:lnTo>
                    <a:pt x="14" y="67"/>
                  </a:lnTo>
                  <a:lnTo>
                    <a:pt x="14" y="67"/>
                  </a:lnTo>
                  <a:lnTo>
                    <a:pt x="22" y="56"/>
                  </a:lnTo>
                  <a:lnTo>
                    <a:pt x="32" y="46"/>
                  </a:lnTo>
                  <a:lnTo>
                    <a:pt x="42" y="37"/>
                  </a:lnTo>
                  <a:lnTo>
                    <a:pt x="54" y="28"/>
                  </a:lnTo>
                  <a:lnTo>
                    <a:pt x="66" y="22"/>
                  </a:lnTo>
                  <a:lnTo>
                    <a:pt x="80" y="17"/>
                  </a:lnTo>
                  <a:lnTo>
                    <a:pt x="94" y="14"/>
                  </a:lnTo>
                  <a:lnTo>
                    <a:pt x="109" y="13"/>
                  </a:lnTo>
                  <a:lnTo>
                    <a:pt x="109" y="13"/>
                  </a:lnTo>
                  <a:lnTo>
                    <a:pt x="123" y="14"/>
                  </a:lnTo>
                  <a:lnTo>
                    <a:pt x="136" y="17"/>
                  </a:lnTo>
                  <a:lnTo>
                    <a:pt x="150" y="22"/>
                  </a:lnTo>
                  <a:lnTo>
                    <a:pt x="163" y="28"/>
                  </a:lnTo>
                  <a:lnTo>
                    <a:pt x="174" y="37"/>
                  </a:lnTo>
                  <a:lnTo>
                    <a:pt x="185" y="46"/>
                  </a:lnTo>
                  <a:lnTo>
                    <a:pt x="195" y="56"/>
                  </a:lnTo>
                  <a:lnTo>
                    <a:pt x="202" y="67"/>
                  </a:lnTo>
                  <a:lnTo>
                    <a:pt x="202" y="67"/>
                  </a:lnTo>
                  <a:lnTo>
                    <a:pt x="195" y="80"/>
                  </a:lnTo>
                  <a:lnTo>
                    <a:pt x="185" y="90"/>
                  </a:lnTo>
                  <a:lnTo>
                    <a:pt x="174" y="99"/>
                  </a:lnTo>
                  <a:lnTo>
                    <a:pt x="163" y="107"/>
                  </a:lnTo>
                  <a:lnTo>
                    <a:pt x="150" y="113"/>
                  </a:lnTo>
                  <a:lnTo>
                    <a:pt x="136" y="118"/>
                  </a:lnTo>
                  <a:lnTo>
                    <a:pt x="123" y="121"/>
                  </a:lnTo>
                  <a:lnTo>
                    <a:pt x="109" y="122"/>
                  </a:lnTo>
                  <a:lnTo>
                    <a:pt x="109" y="1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107">
              <a:extLst>
                <a:ext uri="{FF2B5EF4-FFF2-40B4-BE49-F238E27FC236}">
                  <a16:creationId xmlns:a16="http://schemas.microsoft.com/office/drawing/2014/main" id="{2A8CC48F-EE4B-4C6C-8759-4222D6C98743}"/>
                </a:ext>
              </a:extLst>
            </p:cNvPr>
            <p:cNvSpPr>
              <a:spLocks/>
            </p:cNvSpPr>
            <p:nvPr/>
          </p:nvSpPr>
          <p:spPr bwMode="auto">
            <a:xfrm>
              <a:off x="2778125" y="5055396"/>
              <a:ext cx="79375" cy="79375"/>
            </a:xfrm>
            <a:custGeom>
              <a:avLst/>
              <a:gdLst>
                <a:gd name="T0" fmla="*/ 28 w 31"/>
                <a:gd name="T1" fmla="*/ 0 h 30"/>
                <a:gd name="T2" fmla="*/ 28 w 31"/>
                <a:gd name="T3" fmla="*/ 0 h 30"/>
                <a:gd name="T4" fmla="*/ 28 w 31"/>
                <a:gd name="T5" fmla="*/ 0 h 30"/>
                <a:gd name="T6" fmla="*/ 28 w 31"/>
                <a:gd name="T7" fmla="*/ 0 h 30"/>
                <a:gd name="T8" fmla="*/ 21 w 31"/>
                <a:gd name="T9" fmla="*/ 0 h 30"/>
                <a:gd name="T10" fmla="*/ 16 w 31"/>
                <a:gd name="T11" fmla="*/ 2 h 30"/>
                <a:gd name="T12" fmla="*/ 12 w 31"/>
                <a:gd name="T13" fmla="*/ 4 h 30"/>
                <a:gd name="T14" fmla="*/ 8 w 31"/>
                <a:gd name="T15" fmla="*/ 8 h 30"/>
                <a:gd name="T16" fmla="*/ 5 w 31"/>
                <a:gd name="T17" fmla="*/ 11 h 30"/>
                <a:gd name="T18" fmla="*/ 2 w 31"/>
                <a:gd name="T19" fmla="*/ 16 h 30"/>
                <a:gd name="T20" fmla="*/ 1 w 31"/>
                <a:gd name="T21" fmla="*/ 21 h 30"/>
                <a:gd name="T22" fmla="*/ 0 w 31"/>
                <a:gd name="T23" fmla="*/ 26 h 30"/>
                <a:gd name="T24" fmla="*/ 0 w 31"/>
                <a:gd name="T25" fmla="*/ 26 h 30"/>
                <a:gd name="T26" fmla="*/ 1 w 31"/>
                <a:gd name="T27" fmla="*/ 29 h 30"/>
                <a:gd name="T28" fmla="*/ 4 w 31"/>
                <a:gd name="T29" fmla="*/ 30 h 30"/>
                <a:gd name="T30" fmla="*/ 4 w 31"/>
                <a:gd name="T31" fmla="*/ 30 h 30"/>
                <a:gd name="T32" fmla="*/ 6 w 31"/>
                <a:gd name="T33" fmla="*/ 29 h 30"/>
                <a:gd name="T34" fmla="*/ 7 w 31"/>
                <a:gd name="T35" fmla="*/ 26 h 30"/>
                <a:gd name="T36" fmla="*/ 7 w 31"/>
                <a:gd name="T37" fmla="*/ 26 h 30"/>
                <a:gd name="T38" fmla="*/ 7 w 31"/>
                <a:gd name="T39" fmla="*/ 22 h 30"/>
                <a:gd name="T40" fmla="*/ 8 w 31"/>
                <a:gd name="T41" fmla="*/ 19 h 30"/>
                <a:gd name="T42" fmla="*/ 10 w 31"/>
                <a:gd name="T43" fmla="*/ 15 h 30"/>
                <a:gd name="T44" fmla="*/ 13 w 31"/>
                <a:gd name="T45" fmla="*/ 12 h 30"/>
                <a:gd name="T46" fmla="*/ 16 w 31"/>
                <a:gd name="T47" fmla="*/ 10 h 30"/>
                <a:gd name="T48" fmla="*/ 19 w 31"/>
                <a:gd name="T49" fmla="*/ 8 h 30"/>
                <a:gd name="T50" fmla="*/ 23 w 31"/>
                <a:gd name="T51" fmla="*/ 7 h 30"/>
                <a:gd name="T52" fmla="*/ 28 w 31"/>
                <a:gd name="T53" fmla="*/ 6 h 30"/>
                <a:gd name="T54" fmla="*/ 28 w 31"/>
                <a:gd name="T55" fmla="*/ 6 h 30"/>
                <a:gd name="T56" fmla="*/ 28 w 31"/>
                <a:gd name="T57" fmla="*/ 6 h 30"/>
                <a:gd name="T58" fmla="*/ 30 w 31"/>
                <a:gd name="T59" fmla="*/ 5 h 30"/>
                <a:gd name="T60" fmla="*/ 31 w 31"/>
                <a:gd name="T61" fmla="*/ 3 h 30"/>
                <a:gd name="T62" fmla="*/ 31 w 31"/>
                <a:gd name="T63" fmla="*/ 3 h 30"/>
                <a:gd name="T64" fmla="*/ 30 w 31"/>
                <a:gd name="T65" fmla="*/ 1 h 30"/>
                <a:gd name="T66" fmla="*/ 28 w 31"/>
                <a:gd name="T67" fmla="*/ 0 h 30"/>
                <a:gd name="T68" fmla="*/ 28 w 3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30">
                  <a:moveTo>
                    <a:pt x="28" y="0"/>
                  </a:moveTo>
                  <a:lnTo>
                    <a:pt x="28" y="0"/>
                  </a:lnTo>
                  <a:lnTo>
                    <a:pt x="28" y="0"/>
                  </a:lnTo>
                  <a:lnTo>
                    <a:pt x="28" y="0"/>
                  </a:lnTo>
                  <a:lnTo>
                    <a:pt x="21" y="0"/>
                  </a:lnTo>
                  <a:lnTo>
                    <a:pt x="16" y="2"/>
                  </a:lnTo>
                  <a:lnTo>
                    <a:pt x="12" y="4"/>
                  </a:lnTo>
                  <a:lnTo>
                    <a:pt x="8" y="8"/>
                  </a:lnTo>
                  <a:lnTo>
                    <a:pt x="5" y="11"/>
                  </a:lnTo>
                  <a:lnTo>
                    <a:pt x="2" y="16"/>
                  </a:lnTo>
                  <a:lnTo>
                    <a:pt x="1" y="21"/>
                  </a:lnTo>
                  <a:lnTo>
                    <a:pt x="0" y="26"/>
                  </a:lnTo>
                  <a:lnTo>
                    <a:pt x="0" y="26"/>
                  </a:lnTo>
                  <a:lnTo>
                    <a:pt x="1" y="29"/>
                  </a:lnTo>
                  <a:lnTo>
                    <a:pt x="4" y="30"/>
                  </a:lnTo>
                  <a:lnTo>
                    <a:pt x="4" y="30"/>
                  </a:lnTo>
                  <a:lnTo>
                    <a:pt x="6" y="29"/>
                  </a:lnTo>
                  <a:lnTo>
                    <a:pt x="7" y="26"/>
                  </a:lnTo>
                  <a:lnTo>
                    <a:pt x="7" y="26"/>
                  </a:lnTo>
                  <a:lnTo>
                    <a:pt x="7" y="22"/>
                  </a:lnTo>
                  <a:lnTo>
                    <a:pt x="8" y="19"/>
                  </a:lnTo>
                  <a:lnTo>
                    <a:pt x="10" y="15"/>
                  </a:lnTo>
                  <a:lnTo>
                    <a:pt x="13" y="12"/>
                  </a:lnTo>
                  <a:lnTo>
                    <a:pt x="16" y="10"/>
                  </a:lnTo>
                  <a:lnTo>
                    <a:pt x="19" y="8"/>
                  </a:lnTo>
                  <a:lnTo>
                    <a:pt x="23" y="7"/>
                  </a:lnTo>
                  <a:lnTo>
                    <a:pt x="28" y="6"/>
                  </a:lnTo>
                  <a:lnTo>
                    <a:pt x="28" y="6"/>
                  </a:lnTo>
                  <a:lnTo>
                    <a:pt x="28" y="6"/>
                  </a:lnTo>
                  <a:lnTo>
                    <a:pt x="30" y="5"/>
                  </a:lnTo>
                  <a:lnTo>
                    <a:pt x="31" y="3"/>
                  </a:lnTo>
                  <a:lnTo>
                    <a:pt x="31" y="3"/>
                  </a:lnTo>
                  <a:lnTo>
                    <a:pt x="30" y="1"/>
                  </a:lnTo>
                  <a:lnTo>
                    <a:pt x="28" y="0"/>
                  </a:lnTo>
                  <a:lnTo>
                    <a:pt x="2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08">
              <a:extLst>
                <a:ext uri="{FF2B5EF4-FFF2-40B4-BE49-F238E27FC236}">
                  <a16:creationId xmlns:a16="http://schemas.microsoft.com/office/drawing/2014/main" id="{CC7726F1-C9DE-415A-BBBA-3D7ACAAA99C5}"/>
                </a:ext>
              </a:extLst>
            </p:cNvPr>
            <p:cNvSpPr>
              <a:spLocks noEditPoints="1"/>
            </p:cNvSpPr>
            <p:nvPr/>
          </p:nvSpPr>
          <p:spPr bwMode="auto">
            <a:xfrm>
              <a:off x="2722565" y="4999831"/>
              <a:ext cx="254000" cy="254000"/>
            </a:xfrm>
            <a:custGeom>
              <a:avLst/>
              <a:gdLst>
                <a:gd name="T0" fmla="*/ 49 w 96"/>
                <a:gd name="T1" fmla="*/ 0 h 95"/>
                <a:gd name="T2" fmla="*/ 30 w 96"/>
                <a:gd name="T3" fmla="*/ 4 h 95"/>
                <a:gd name="T4" fmla="*/ 15 w 96"/>
                <a:gd name="T5" fmla="*/ 14 h 95"/>
                <a:gd name="T6" fmla="*/ 4 w 96"/>
                <a:gd name="T7" fmla="*/ 29 h 95"/>
                <a:gd name="T8" fmla="*/ 0 w 96"/>
                <a:gd name="T9" fmla="*/ 47 h 95"/>
                <a:gd name="T10" fmla="*/ 1 w 96"/>
                <a:gd name="T11" fmla="*/ 58 h 95"/>
                <a:gd name="T12" fmla="*/ 9 w 96"/>
                <a:gd name="T13" fmla="*/ 74 h 95"/>
                <a:gd name="T14" fmla="*/ 22 w 96"/>
                <a:gd name="T15" fmla="*/ 87 h 95"/>
                <a:gd name="T16" fmla="*/ 38 w 96"/>
                <a:gd name="T17" fmla="*/ 94 h 95"/>
                <a:gd name="T18" fmla="*/ 49 w 96"/>
                <a:gd name="T19" fmla="*/ 95 h 95"/>
                <a:gd name="T20" fmla="*/ 67 w 96"/>
                <a:gd name="T21" fmla="*/ 91 h 95"/>
                <a:gd name="T22" fmla="*/ 81 w 96"/>
                <a:gd name="T23" fmla="*/ 81 h 95"/>
                <a:gd name="T24" fmla="*/ 92 w 96"/>
                <a:gd name="T25" fmla="*/ 66 h 95"/>
                <a:gd name="T26" fmla="*/ 96 w 96"/>
                <a:gd name="T27" fmla="*/ 47 h 95"/>
                <a:gd name="T28" fmla="*/ 95 w 96"/>
                <a:gd name="T29" fmla="*/ 38 h 95"/>
                <a:gd name="T30" fmla="*/ 87 w 96"/>
                <a:gd name="T31" fmla="*/ 21 h 95"/>
                <a:gd name="T32" fmla="*/ 74 w 96"/>
                <a:gd name="T33" fmla="*/ 8 h 95"/>
                <a:gd name="T34" fmla="*/ 58 w 96"/>
                <a:gd name="T35" fmla="*/ 1 h 95"/>
                <a:gd name="T36" fmla="*/ 49 w 96"/>
                <a:gd name="T37" fmla="*/ 0 h 95"/>
                <a:gd name="T38" fmla="*/ 49 w 96"/>
                <a:gd name="T39" fmla="*/ 88 h 95"/>
                <a:gd name="T40" fmla="*/ 32 w 96"/>
                <a:gd name="T41" fmla="*/ 85 h 95"/>
                <a:gd name="T42" fmla="*/ 20 w 96"/>
                <a:gd name="T43" fmla="*/ 76 h 95"/>
                <a:gd name="T44" fmla="*/ 11 w 96"/>
                <a:gd name="T45" fmla="*/ 64 h 95"/>
                <a:gd name="T46" fmla="*/ 7 w 96"/>
                <a:gd name="T47" fmla="*/ 47 h 95"/>
                <a:gd name="T48" fmla="*/ 9 w 96"/>
                <a:gd name="T49" fmla="*/ 39 h 95"/>
                <a:gd name="T50" fmla="*/ 15 w 96"/>
                <a:gd name="T51" fmla="*/ 25 h 95"/>
                <a:gd name="T52" fmla="*/ 25 w 96"/>
                <a:gd name="T53" fmla="*/ 13 h 95"/>
                <a:gd name="T54" fmla="*/ 40 w 96"/>
                <a:gd name="T55" fmla="*/ 7 h 95"/>
                <a:gd name="T56" fmla="*/ 49 w 96"/>
                <a:gd name="T57" fmla="*/ 7 h 95"/>
                <a:gd name="T58" fmla="*/ 64 w 96"/>
                <a:gd name="T59" fmla="*/ 10 h 95"/>
                <a:gd name="T60" fmla="*/ 77 w 96"/>
                <a:gd name="T61" fmla="*/ 19 h 95"/>
                <a:gd name="T62" fmla="*/ 85 w 96"/>
                <a:gd name="T63" fmla="*/ 32 h 95"/>
                <a:gd name="T64" fmla="*/ 89 w 96"/>
                <a:gd name="T65" fmla="*/ 47 h 95"/>
                <a:gd name="T66" fmla="*/ 87 w 96"/>
                <a:gd name="T67" fmla="*/ 55 h 95"/>
                <a:gd name="T68" fmla="*/ 82 w 96"/>
                <a:gd name="T69" fmla="*/ 70 h 95"/>
                <a:gd name="T70" fmla="*/ 71 w 96"/>
                <a:gd name="T71" fmla="*/ 81 h 95"/>
                <a:gd name="T72" fmla="*/ 57 w 96"/>
                <a:gd name="T73" fmla="*/ 87 h 95"/>
                <a:gd name="T74" fmla="*/ 49 w 96"/>
                <a:gd name="T75" fmla="*/ 8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49" y="0"/>
                  </a:moveTo>
                  <a:lnTo>
                    <a:pt x="49" y="0"/>
                  </a:lnTo>
                  <a:lnTo>
                    <a:pt x="38" y="1"/>
                  </a:lnTo>
                  <a:lnTo>
                    <a:pt x="30" y="4"/>
                  </a:lnTo>
                  <a:lnTo>
                    <a:pt x="22" y="8"/>
                  </a:lnTo>
                  <a:lnTo>
                    <a:pt x="15" y="14"/>
                  </a:lnTo>
                  <a:lnTo>
                    <a:pt x="9" y="21"/>
                  </a:lnTo>
                  <a:lnTo>
                    <a:pt x="4" y="29"/>
                  </a:lnTo>
                  <a:lnTo>
                    <a:pt x="1" y="38"/>
                  </a:lnTo>
                  <a:lnTo>
                    <a:pt x="0" y="47"/>
                  </a:lnTo>
                  <a:lnTo>
                    <a:pt x="0" y="47"/>
                  </a:lnTo>
                  <a:lnTo>
                    <a:pt x="1" y="58"/>
                  </a:lnTo>
                  <a:lnTo>
                    <a:pt x="4" y="66"/>
                  </a:lnTo>
                  <a:lnTo>
                    <a:pt x="9" y="74"/>
                  </a:lnTo>
                  <a:lnTo>
                    <a:pt x="15" y="81"/>
                  </a:lnTo>
                  <a:lnTo>
                    <a:pt x="22" y="87"/>
                  </a:lnTo>
                  <a:lnTo>
                    <a:pt x="30" y="91"/>
                  </a:lnTo>
                  <a:lnTo>
                    <a:pt x="38" y="94"/>
                  </a:lnTo>
                  <a:lnTo>
                    <a:pt x="49" y="95"/>
                  </a:lnTo>
                  <a:lnTo>
                    <a:pt x="49" y="95"/>
                  </a:lnTo>
                  <a:lnTo>
                    <a:pt x="58" y="94"/>
                  </a:lnTo>
                  <a:lnTo>
                    <a:pt x="67" y="91"/>
                  </a:lnTo>
                  <a:lnTo>
                    <a:pt x="74" y="87"/>
                  </a:lnTo>
                  <a:lnTo>
                    <a:pt x="81" y="81"/>
                  </a:lnTo>
                  <a:lnTo>
                    <a:pt x="87" y="74"/>
                  </a:lnTo>
                  <a:lnTo>
                    <a:pt x="92" y="66"/>
                  </a:lnTo>
                  <a:lnTo>
                    <a:pt x="95" y="58"/>
                  </a:lnTo>
                  <a:lnTo>
                    <a:pt x="96" y="47"/>
                  </a:lnTo>
                  <a:lnTo>
                    <a:pt x="96" y="47"/>
                  </a:lnTo>
                  <a:lnTo>
                    <a:pt x="95" y="38"/>
                  </a:lnTo>
                  <a:lnTo>
                    <a:pt x="92" y="29"/>
                  </a:lnTo>
                  <a:lnTo>
                    <a:pt x="87" y="21"/>
                  </a:lnTo>
                  <a:lnTo>
                    <a:pt x="81" y="14"/>
                  </a:lnTo>
                  <a:lnTo>
                    <a:pt x="74" y="8"/>
                  </a:lnTo>
                  <a:lnTo>
                    <a:pt x="67" y="4"/>
                  </a:lnTo>
                  <a:lnTo>
                    <a:pt x="58" y="1"/>
                  </a:lnTo>
                  <a:lnTo>
                    <a:pt x="49" y="0"/>
                  </a:lnTo>
                  <a:lnTo>
                    <a:pt x="49" y="0"/>
                  </a:lnTo>
                  <a:close/>
                  <a:moveTo>
                    <a:pt x="49" y="88"/>
                  </a:moveTo>
                  <a:lnTo>
                    <a:pt x="49" y="88"/>
                  </a:lnTo>
                  <a:lnTo>
                    <a:pt x="40" y="87"/>
                  </a:lnTo>
                  <a:lnTo>
                    <a:pt x="32" y="85"/>
                  </a:lnTo>
                  <a:lnTo>
                    <a:pt x="25" y="81"/>
                  </a:lnTo>
                  <a:lnTo>
                    <a:pt x="20" y="76"/>
                  </a:lnTo>
                  <a:lnTo>
                    <a:pt x="15" y="70"/>
                  </a:lnTo>
                  <a:lnTo>
                    <a:pt x="11" y="64"/>
                  </a:lnTo>
                  <a:lnTo>
                    <a:pt x="9" y="55"/>
                  </a:lnTo>
                  <a:lnTo>
                    <a:pt x="7" y="47"/>
                  </a:lnTo>
                  <a:lnTo>
                    <a:pt x="7" y="47"/>
                  </a:lnTo>
                  <a:lnTo>
                    <a:pt x="9" y="39"/>
                  </a:lnTo>
                  <a:lnTo>
                    <a:pt x="11" y="32"/>
                  </a:lnTo>
                  <a:lnTo>
                    <a:pt x="15" y="25"/>
                  </a:lnTo>
                  <a:lnTo>
                    <a:pt x="20" y="19"/>
                  </a:lnTo>
                  <a:lnTo>
                    <a:pt x="25" y="13"/>
                  </a:lnTo>
                  <a:lnTo>
                    <a:pt x="32" y="10"/>
                  </a:lnTo>
                  <a:lnTo>
                    <a:pt x="40" y="7"/>
                  </a:lnTo>
                  <a:lnTo>
                    <a:pt x="49" y="7"/>
                  </a:lnTo>
                  <a:lnTo>
                    <a:pt x="49" y="7"/>
                  </a:lnTo>
                  <a:lnTo>
                    <a:pt x="57" y="7"/>
                  </a:lnTo>
                  <a:lnTo>
                    <a:pt x="64" y="10"/>
                  </a:lnTo>
                  <a:lnTo>
                    <a:pt x="71" y="13"/>
                  </a:lnTo>
                  <a:lnTo>
                    <a:pt x="77" y="19"/>
                  </a:lnTo>
                  <a:lnTo>
                    <a:pt x="82" y="25"/>
                  </a:lnTo>
                  <a:lnTo>
                    <a:pt x="85" y="32"/>
                  </a:lnTo>
                  <a:lnTo>
                    <a:pt x="87" y="39"/>
                  </a:lnTo>
                  <a:lnTo>
                    <a:pt x="89" y="47"/>
                  </a:lnTo>
                  <a:lnTo>
                    <a:pt x="89" y="47"/>
                  </a:lnTo>
                  <a:lnTo>
                    <a:pt x="87" y="55"/>
                  </a:lnTo>
                  <a:lnTo>
                    <a:pt x="85" y="64"/>
                  </a:lnTo>
                  <a:lnTo>
                    <a:pt x="82" y="70"/>
                  </a:lnTo>
                  <a:lnTo>
                    <a:pt x="77" y="76"/>
                  </a:lnTo>
                  <a:lnTo>
                    <a:pt x="71" y="81"/>
                  </a:lnTo>
                  <a:lnTo>
                    <a:pt x="64" y="85"/>
                  </a:lnTo>
                  <a:lnTo>
                    <a:pt x="57" y="87"/>
                  </a:lnTo>
                  <a:lnTo>
                    <a:pt x="49" y="88"/>
                  </a:lnTo>
                  <a:lnTo>
                    <a:pt x="49"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13" name="Group 38">
            <a:extLst>
              <a:ext uri="{FF2B5EF4-FFF2-40B4-BE49-F238E27FC236}">
                <a16:creationId xmlns:a16="http://schemas.microsoft.com/office/drawing/2014/main" id="{B53A06B9-6578-4FF7-839F-E58014B5DE6A}"/>
              </a:ext>
            </a:extLst>
          </p:cNvPr>
          <p:cNvGrpSpPr>
            <a:grpSpLocks noChangeAspect="1"/>
          </p:cNvGrpSpPr>
          <p:nvPr/>
        </p:nvGrpSpPr>
        <p:grpSpPr>
          <a:xfrm>
            <a:off x="4933528" y="5417576"/>
            <a:ext cx="234121" cy="306484"/>
            <a:chOff x="3778250" y="3690146"/>
            <a:chExt cx="436565" cy="571500"/>
          </a:xfrm>
          <a:solidFill>
            <a:schemeClr val="bg1"/>
          </a:solidFill>
          <a:effectLst/>
        </p:grpSpPr>
        <p:sp>
          <p:nvSpPr>
            <p:cNvPr id="714" name="Freeform 116">
              <a:extLst>
                <a:ext uri="{FF2B5EF4-FFF2-40B4-BE49-F238E27FC236}">
                  <a16:creationId xmlns:a16="http://schemas.microsoft.com/office/drawing/2014/main" id="{EEBC3567-EA64-4D0C-8383-B89492304253}"/>
                </a:ext>
              </a:extLst>
            </p:cNvPr>
            <p:cNvSpPr>
              <a:spLocks noEditPoints="1"/>
            </p:cNvSpPr>
            <p:nvPr/>
          </p:nvSpPr>
          <p:spPr bwMode="auto">
            <a:xfrm>
              <a:off x="3778250" y="3690146"/>
              <a:ext cx="436565" cy="571500"/>
            </a:xfrm>
            <a:custGeom>
              <a:avLst/>
              <a:gdLst>
                <a:gd name="T0" fmla="*/ 143 w 164"/>
                <a:gd name="T1" fmla="*/ 61 h 217"/>
                <a:gd name="T2" fmla="*/ 138 w 164"/>
                <a:gd name="T3" fmla="*/ 37 h 217"/>
                <a:gd name="T4" fmla="*/ 116 w 164"/>
                <a:gd name="T5" fmla="*/ 10 h 217"/>
                <a:gd name="T6" fmla="*/ 88 w 164"/>
                <a:gd name="T7" fmla="*/ 0 h 217"/>
                <a:gd name="T8" fmla="*/ 75 w 164"/>
                <a:gd name="T9" fmla="*/ 0 h 217"/>
                <a:gd name="T10" fmla="*/ 48 w 164"/>
                <a:gd name="T11" fmla="*/ 10 h 217"/>
                <a:gd name="T12" fmla="*/ 25 w 164"/>
                <a:gd name="T13" fmla="*/ 37 h 217"/>
                <a:gd name="T14" fmla="*/ 21 w 164"/>
                <a:gd name="T15" fmla="*/ 61 h 217"/>
                <a:gd name="T16" fmla="*/ 17 w 164"/>
                <a:gd name="T17" fmla="*/ 88 h 217"/>
                <a:gd name="T18" fmla="*/ 7 w 164"/>
                <a:gd name="T19" fmla="*/ 94 h 217"/>
                <a:gd name="T20" fmla="*/ 0 w 164"/>
                <a:gd name="T21" fmla="*/ 104 h 217"/>
                <a:gd name="T22" fmla="*/ 0 w 164"/>
                <a:gd name="T23" fmla="*/ 135 h 217"/>
                <a:gd name="T24" fmla="*/ 0 w 164"/>
                <a:gd name="T25" fmla="*/ 156 h 217"/>
                <a:gd name="T26" fmla="*/ 6 w 164"/>
                <a:gd name="T27" fmla="*/ 179 h 217"/>
                <a:gd name="T28" fmla="*/ 27 w 164"/>
                <a:gd name="T29" fmla="*/ 207 h 217"/>
                <a:gd name="T30" fmla="*/ 55 w 164"/>
                <a:gd name="T31" fmla="*/ 216 h 217"/>
                <a:gd name="T32" fmla="*/ 102 w 164"/>
                <a:gd name="T33" fmla="*/ 217 h 217"/>
                <a:gd name="T34" fmla="*/ 126 w 164"/>
                <a:gd name="T35" fmla="*/ 212 h 217"/>
                <a:gd name="T36" fmla="*/ 153 w 164"/>
                <a:gd name="T37" fmla="*/ 190 h 217"/>
                <a:gd name="T38" fmla="*/ 162 w 164"/>
                <a:gd name="T39" fmla="*/ 162 h 217"/>
                <a:gd name="T40" fmla="*/ 164 w 164"/>
                <a:gd name="T41" fmla="*/ 135 h 217"/>
                <a:gd name="T42" fmla="*/ 164 w 164"/>
                <a:gd name="T43" fmla="*/ 109 h 217"/>
                <a:gd name="T44" fmla="*/ 159 w 164"/>
                <a:gd name="T45" fmla="*/ 97 h 217"/>
                <a:gd name="T46" fmla="*/ 151 w 164"/>
                <a:gd name="T47" fmla="*/ 90 h 217"/>
                <a:gd name="T48" fmla="*/ 143 w 164"/>
                <a:gd name="T49" fmla="*/ 88 h 217"/>
                <a:gd name="T50" fmla="*/ 35 w 164"/>
                <a:gd name="T51" fmla="*/ 51 h 217"/>
                <a:gd name="T52" fmla="*/ 49 w 164"/>
                <a:gd name="T53" fmla="*/ 28 h 217"/>
                <a:gd name="T54" fmla="*/ 72 w 164"/>
                <a:gd name="T55" fmla="*/ 14 h 217"/>
                <a:gd name="T56" fmla="*/ 92 w 164"/>
                <a:gd name="T57" fmla="*/ 14 h 217"/>
                <a:gd name="T58" fmla="*/ 115 w 164"/>
                <a:gd name="T59" fmla="*/ 28 h 217"/>
                <a:gd name="T60" fmla="*/ 129 w 164"/>
                <a:gd name="T61" fmla="*/ 51 h 217"/>
                <a:gd name="T62" fmla="*/ 115 w 164"/>
                <a:gd name="T63" fmla="*/ 88 h 217"/>
                <a:gd name="T64" fmla="*/ 115 w 164"/>
                <a:gd name="T65" fmla="*/ 54 h 217"/>
                <a:gd name="T66" fmla="*/ 106 w 164"/>
                <a:gd name="T67" fmla="*/ 37 h 217"/>
                <a:gd name="T68" fmla="*/ 89 w 164"/>
                <a:gd name="T69" fmla="*/ 28 h 217"/>
                <a:gd name="T70" fmla="*/ 75 w 164"/>
                <a:gd name="T71" fmla="*/ 28 h 217"/>
                <a:gd name="T72" fmla="*/ 58 w 164"/>
                <a:gd name="T73" fmla="*/ 37 h 217"/>
                <a:gd name="T74" fmla="*/ 49 w 164"/>
                <a:gd name="T75" fmla="*/ 54 h 217"/>
                <a:gd name="T76" fmla="*/ 34 w 164"/>
                <a:gd name="T77" fmla="*/ 88 h 217"/>
                <a:gd name="T78" fmla="*/ 109 w 164"/>
                <a:gd name="T79" fmla="*/ 61 h 217"/>
                <a:gd name="T80" fmla="*/ 55 w 164"/>
                <a:gd name="T81" fmla="*/ 61 h 217"/>
                <a:gd name="T82" fmla="*/ 55 w 164"/>
                <a:gd name="T83" fmla="*/ 55 h 217"/>
                <a:gd name="T84" fmla="*/ 63 w 164"/>
                <a:gd name="T85" fmla="*/ 42 h 217"/>
                <a:gd name="T86" fmla="*/ 76 w 164"/>
                <a:gd name="T87" fmla="*/ 35 h 217"/>
                <a:gd name="T88" fmla="*/ 88 w 164"/>
                <a:gd name="T89" fmla="*/ 35 h 217"/>
                <a:gd name="T90" fmla="*/ 101 w 164"/>
                <a:gd name="T91" fmla="*/ 42 h 217"/>
                <a:gd name="T92" fmla="*/ 108 w 164"/>
                <a:gd name="T93" fmla="*/ 55 h 217"/>
                <a:gd name="T94" fmla="*/ 150 w 164"/>
                <a:gd name="T95" fmla="*/ 129 h 217"/>
                <a:gd name="T96" fmla="*/ 150 w 164"/>
                <a:gd name="T97" fmla="*/ 156 h 217"/>
                <a:gd name="T98" fmla="*/ 146 w 164"/>
                <a:gd name="T99" fmla="*/ 174 h 217"/>
                <a:gd name="T100" fmla="*/ 129 w 164"/>
                <a:gd name="T101" fmla="*/ 196 h 217"/>
                <a:gd name="T102" fmla="*/ 102 w 164"/>
                <a:gd name="T103" fmla="*/ 203 h 217"/>
                <a:gd name="T104" fmla="*/ 52 w 164"/>
                <a:gd name="T105" fmla="*/ 203 h 217"/>
                <a:gd name="T106" fmla="*/ 28 w 164"/>
                <a:gd name="T107" fmla="*/ 190 h 217"/>
                <a:gd name="T108" fmla="*/ 15 w 164"/>
                <a:gd name="T109" fmla="*/ 166 h 217"/>
                <a:gd name="T110" fmla="*/ 14 w 164"/>
                <a:gd name="T111" fmla="*/ 135 h 217"/>
                <a:gd name="T112" fmla="*/ 14 w 164"/>
                <a:gd name="T113" fmla="*/ 109 h 217"/>
                <a:gd name="T114" fmla="*/ 18 w 164"/>
                <a:gd name="T115" fmla="*/ 102 h 217"/>
                <a:gd name="T116" fmla="*/ 34 w 164"/>
                <a:gd name="T117" fmla="*/ 101 h 217"/>
                <a:gd name="T118" fmla="*/ 143 w 164"/>
                <a:gd name="T119" fmla="*/ 101 h 217"/>
                <a:gd name="T120" fmla="*/ 148 w 164"/>
                <a:gd name="T121" fmla="*/ 103 h 217"/>
                <a:gd name="T122" fmla="*/ 150 w 164"/>
                <a:gd name="T123" fmla="*/ 12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217">
                  <a:moveTo>
                    <a:pt x="143" y="88"/>
                  </a:moveTo>
                  <a:lnTo>
                    <a:pt x="143" y="61"/>
                  </a:lnTo>
                  <a:lnTo>
                    <a:pt x="143" y="61"/>
                  </a:lnTo>
                  <a:lnTo>
                    <a:pt x="143" y="54"/>
                  </a:lnTo>
                  <a:lnTo>
                    <a:pt x="142" y="49"/>
                  </a:lnTo>
                  <a:lnTo>
                    <a:pt x="138" y="37"/>
                  </a:lnTo>
                  <a:lnTo>
                    <a:pt x="133" y="27"/>
                  </a:lnTo>
                  <a:lnTo>
                    <a:pt x="125" y="17"/>
                  </a:lnTo>
                  <a:lnTo>
                    <a:pt x="116" y="10"/>
                  </a:lnTo>
                  <a:lnTo>
                    <a:pt x="106" y="5"/>
                  </a:lnTo>
                  <a:lnTo>
                    <a:pt x="94" y="1"/>
                  </a:lnTo>
                  <a:lnTo>
                    <a:pt x="88" y="0"/>
                  </a:lnTo>
                  <a:lnTo>
                    <a:pt x="81" y="0"/>
                  </a:lnTo>
                  <a:lnTo>
                    <a:pt x="81" y="0"/>
                  </a:lnTo>
                  <a:lnTo>
                    <a:pt x="75" y="0"/>
                  </a:lnTo>
                  <a:lnTo>
                    <a:pt x="69" y="1"/>
                  </a:lnTo>
                  <a:lnTo>
                    <a:pt x="58" y="5"/>
                  </a:lnTo>
                  <a:lnTo>
                    <a:pt x="48" y="10"/>
                  </a:lnTo>
                  <a:lnTo>
                    <a:pt x="38" y="17"/>
                  </a:lnTo>
                  <a:lnTo>
                    <a:pt x="31" y="27"/>
                  </a:lnTo>
                  <a:lnTo>
                    <a:pt x="25" y="37"/>
                  </a:lnTo>
                  <a:lnTo>
                    <a:pt x="22" y="49"/>
                  </a:lnTo>
                  <a:lnTo>
                    <a:pt x="21" y="54"/>
                  </a:lnTo>
                  <a:lnTo>
                    <a:pt x="21" y="61"/>
                  </a:lnTo>
                  <a:lnTo>
                    <a:pt x="21" y="88"/>
                  </a:lnTo>
                  <a:lnTo>
                    <a:pt x="21" y="88"/>
                  </a:lnTo>
                  <a:lnTo>
                    <a:pt x="17" y="88"/>
                  </a:lnTo>
                  <a:lnTo>
                    <a:pt x="13" y="90"/>
                  </a:lnTo>
                  <a:lnTo>
                    <a:pt x="10" y="91"/>
                  </a:lnTo>
                  <a:lnTo>
                    <a:pt x="7" y="94"/>
                  </a:lnTo>
                  <a:lnTo>
                    <a:pt x="3" y="97"/>
                  </a:lnTo>
                  <a:lnTo>
                    <a:pt x="2" y="100"/>
                  </a:lnTo>
                  <a:lnTo>
                    <a:pt x="0" y="104"/>
                  </a:lnTo>
                  <a:lnTo>
                    <a:pt x="0" y="109"/>
                  </a:lnTo>
                  <a:lnTo>
                    <a:pt x="0" y="129"/>
                  </a:lnTo>
                  <a:lnTo>
                    <a:pt x="0" y="135"/>
                  </a:lnTo>
                  <a:lnTo>
                    <a:pt x="0" y="150"/>
                  </a:lnTo>
                  <a:lnTo>
                    <a:pt x="0" y="156"/>
                  </a:lnTo>
                  <a:lnTo>
                    <a:pt x="0" y="156"/>
                  </a:lnTo>
                  <a:lnTo>
                    <a:pt x="0" y="162"/>
                  </a:lnTo>
                  <a:lnTo>
                    <a:pt x="1" y="168"/>
                  </a:lnTo>
                  <a:lnTo>
                    <a:pt x="6" y="179"/>
                  </a:lnTo>
                  <a:lnTo>
                    <a:pt x="11" y="190"/>
                  </a:lnTo>
                  <a:lnTo>
                    <a:pt x="18" y="199"/>
                  </a:lnTo>
                  <a:lnTo>
                    <a:pt x="27" y="207"/>
                  </a:lnTo>
                  <a:lnTo>
                    <a:pt x="37" y="212"/>
                  </a:lnTo>
                  <a:lnTo>
                    <a:pt x="50" y="216"/>
                  </a:lnTo>
                  <a:lnTo>
                    <a:pt x="55" y="216"/>
                  </a:lnTo>
                  <a:lnTo>
                    <a:pt x="62" y="217"/>
                  </a:lnTo>
                  <a:lnTo>
                    <a:pt x="102" y="217"/>
                  </a:lnTo>
                  <a:lnTo>
                    <a:pt x="102" y="217"/>
                  </a:lnTo>
                  <a:lnTo>
                    <a:pt x="108" y="216"/>
                  </a:lnTo>
                  <a:lnTo>
                    <a:pt x="114" y="216"/>
                  </a:lnTo>
                  <a:lnTo>
                    <a:pt x="126" y="212"/>
                  </a:lnTo>
                  <a:lnTo>
                    <a:pt x="137" y="207"/>
                  </a:lnTo>
                  <a:lnTo>
                    <a:pt x="145" y="199"/>
                  </a:lnTo>
                  <a:lnTo>
                    <a:pt x="153" y="190"/>
                  </a:lnTo>
                  <a:lnTo>
                    <a:pt x="158" y="179"/>
                  </a:lnTo>
                  <a:lnTo>
                    <a:pt x="162" y="168"/>
                  </a:lnTo>
                  <a:lnTo>
                    <a:pt x="162" y="162"/>
                  </a:lnTo>
                  <a:lnTo>
                    <a:pt x="164" y="156"/>
                  </a:lnTo>
                  <a:lnTo>
                    <a:pt x="164" y="150"/>
                  </a:lnTo>
                  <a:lnTo>
                    <a:pt x="164" y="135"/>
                  </a:lnTo>
                  <a:lnTo>
                    <a:pt x="164" y="129"/>
                  </a:lnTo>
                  <a:lnTo>
                    <a:pt x="164" y="109"/>
                  </a:lnTo>
                  <a:lnTo>
                    <a:pt x="164" y="109"/>
                  </a:lnTo>
                  <a:lnTo>
                    <a:pt x="162" y="104"/>
                  </a:lnTo>
                  <a:lnTo>
                    <a:pt x="161" y="100"/>
                  </a:lnTo>
                  <a:lnTo>
                    <a:pt x="159" y="97"/>
                  </a:lnTo>
                  <a:lnTo>
                    <a:pt x="157" y="94"/>
                  </a:lnTo>
                  <a:lnTo>
                    <a:pt x="154" y="91"/>
                  </a:lnTo>
                  <a:lnTo>
                    <a:pt x="151" y="90"/>
                  </a:lnTo>
                  <a:lnTo>
                    <a:pt x="147" y="88"/>
                  </a:lnTo>
                  <a:lnTo>
                    <a:pt x="143" y="88"/>
                  </a:lnTo>
                  <a:lnTo>
                    <a:pt x="143" y="88"/>
                  </a:lnTo>
                  <a:close/>
                  <a:moveTo>
                    <a:pt x="34" y="61"/>
                  </a:moveTo>
                  <a:lnTo>
                    <a:pt x="34" y="61"/>
                  </a:lnTo>
                  <a:lnTo>
                    <a:pt x="35" y="51"/>
                  </a:lnTo>
                  <a:lnTo>
                    <a:pt x="38" y="43"/>
                  </a:lnTo>
                  <a:lnTo>
                    <a:pt x="42" y="35"/>
                  </a:lnTo>
                  <a:lnTo>
                    <a:pt x="49" y="28"/>
                  </a:lnTo>
                  <a:lnTo>
                    <a:pt x="55" y="21"/>
                  </a:lnTo>
                  <a:lnTo>
                    <a:pt x="63" y="17"/>
                  </a:lnTo>
                  <a:lnTo>
                    <a:pt x="72" y="14"/>
                  </a:lnTo>
                  <a:lnTo>
                    <a:pt x="81" y="13"/>
                  </a:lnTo>
                  <a:lnTo>
                    <a:pt x="81" y="13"/>
                  </a:lnTo>
                  <a:lnTo>
                    <a:pt x="92" y="14"/>
                  </a:lnTo>
                  <a:lnTo>
                    <a:pt x="100" y="17"/>
                  </a:lnTo>
                  <a:lnTo>
                    <a:pt x="108" y="21"/>
                  </a:lnTo>
                  <a:lnTo>
                    <a:pt x="115" y="28"/>
                  </a:lnTo>
                  <a:lnTo>
                    <a:pt x="121" y="35"/>
                  </a:lnTo>
                  <a:lnTo>
                    <a:pt x="126" y="43"/>
                  </a:lnTo>
                  <a:lnTo>
                    <a:pt x="129" y="51"/>
                  </a:lnTo>
                  <a:lnTo>
                    <a:pt x="130" y="61"/>
                  </a:lnTo>
                  <a:lnTo>
                    <a:pt x="130" y="88"/>
                  </a:lnTo>
                  <a:lnTo>
                    <a:pt x="115" y="88"/>
                  </a:lnTo>
                  <a:lnTo>
                    <a:pt x="115" y="61"/>
                  </a:lnTo>
                  <a:lnTo>
                    <a:pt x="115" y="61"/>
                  </a:lnTo>
                  <a:lnTo>
                    <a:pt x="115" y="54"/>
                  </a:lnTo>
                  <a:lnTo>
                    <a:pt x="113" y="48"/>
                  </a:lnTo>
                  <a:lnTo>
                    <a:pt x="110" y="42"/>
                  </a:lnTo>
                  <a:lnTo>
                    <a:pt x="106" y="37"/>
                  </a:lnTo>
                  <a:lnTo>
                    <a:pt x="101" y="33"/>
                  </a:lnTo>
                  <a:lnTo>
                    <a:pt x="95" y="30"/>
                  </a:lnTo>
                  <a:lnTo>
                    <a:pt x="89" y="28"/>
                  </a:lnTo>
                  <a:lnTo>
                    <a:pt x="81" y="27"/>
                  </a:lnTo>
                  <a:lnTo>
                    <a:pt x="81" y="27"/>
                  </a:lnTo>
                  <a:lnTo>
                    <a:pt x="75" y="28"/>
                  </a:lnTo>
                  <a:lnTo>
                    <a:pt x="68" y="30"/>
                  </a:lnTo>
                  <a:lnTo>
                    <a:pt x="63" y="33"/>
                  </a:lnTo>
                  <a:lnTo>
                    <a:pt x="58" y="37"/>
                  </a:lnTo>
                  <a:lnTo>
                    <a:pt x="54" y="42"/>
                  </a:lnTo>
                  <a:lnTo>
                    <a:pt x="51" y="48"/>
                  </a:lnTo>
                  <a:lnTo>
                    <a:pt x="49" y="54"/>
                  </a:lnTo>
                  <a:lnTo>
                    <a:pt x="48" y="61"/>
                  </a:lnTo>
                  <a:lnTo>
                    <a:pt x="48" y="88"/>
                  </a:lnTo>
                  <a:lnTo>
                    <a:pt x="34" y="88"/>
                  </a:lnTo>
                  <a:lnTo>
                    <a:pt x="34" y="61"/>
                  </a:lnTo>
                  <a:close/>
                  <a:moveTo>
                    <a:pt x="109" y="61"/>
                  </a:moveTo>
                  <a:lnTo>
                    <a:pt x="109" y="61"/>
                  </a:lnTo>
                  <a:lnTo>
                    <a:pt x="109" y="88"/>
                  </a:lnTo>
                  <a:lnTo>
                    <a:pt x="55" y="88"/>
                  </a:lnTo>
                  <a:lnTo>
                    <a:pt x="55" y="61"/>
                  </a:lnTo>
                  <a:lnTo>
                    <a:pt x="55" y="61"/>
                  </a:lnTo>
                  <a:lnTo>
                    <a:pt x="55" y="61"/>
                  </a:lnTo>
                  <a:lnTo>
                    <a:pt x="55" y="55"/>
                  </a:lnTo>
                  <a:lnTo>
                    <a:pt x="57" y="50"/>
                  </a:lnTo>
                  <a:lnTo>
                    <a:pt x="59" y="46"/>
                  </a:lnTo>
                  <a:lnTo>
                    <a:pt x="63" y="42"/>
                  </a:lnTo>
                  <a:lnTo>
                    <a:pt x="67" y="39"/>
                  </a:lnTo>
                  <a:lnTo>
                    <a:pt x="71" y="36"/>
                  </a:lnTo>
                  <a:lnTo>
                    <a:pt x="76" y="35"/>
                  </a:lnTo>
                  <a:lnTo>
                    <a:pt x="81" y="34"/>
                  </a:lnTo>
                  <a:lnTo>
                    <a:pt x="81" y="34"/>
                  </a:lnTo>
                  <a:lnTo>
                    <a:pt x="88" y="35"/>
                  </a:lnTo>
                  <a:lnTo>
                    <a:pt x="93" y="36"/>
                  </a:lnTo>
                  <a:lnTo>
                    <a:pt x="97" y="39"/>
                  </a:lnTo>
                  <a:lnTo>
                    <a:pt x="101" y="42"/>
                  </a:lnTo>
                  <a:lnTo>
                    <a:pt x="104" y="46"/>
                  </a:lnTo>
                  <a:lnTo>
                    <a:pt x="107" y="50"/>
                  </a:lnTo>
                  <a:lnTo>
                    <a:pt x="108" y="55"/>
                  </a:lnTo>
                  <a:lnTo>
                    <a:pt x="109" y="61"/>
                  </a:lnTo>
                  <a:lnTo>
                    <a:pt x="109" y="61"/>
                  </a:lnTo>
                  <a:close/>
                  <a:moveTo>
                    <a:pt x="150" y="129"/>
                  </a:moveTo>
                  <a:lnTo>
                    <a:pt x="150" y="135"/>
                  </a:lnTo>
                  <a:lnTo>
                    <a:pt x="150" y="150"/>
                  </a:lnTo>
                  <a:lnTo>
                    <a:pt x="150" y="156"/>
                  </a:lnTo>
                  <a:lnTo>
                    <a:pt x="150" y="156"/>
                  </a:lnTo>
                  <a:lnTo>
                    <a:pt x="149" y="166"/>
                  </a:lnTo>
                  <a:lnTo>
                    <a:pt x="146" y="174"/>
                  </a:lnTo>
                  <a:lnTo>
                    <a:pt x="142" y="182"/>
                  </a:lnTo>
                  <a:lnTo>
                    <a:pt x="136" y="190"/>
                  </a:lnTo>
                  <a:lnTo>
                    <a:pt x="129" y="196"/>
                  </a:lnTo>
                  <a:lnTo>
                    <a:pt x="120" y="200"/>
                  </a:lnTo>
                  <a:lnTo>
                    <a:pt x="112" y="203"/>
                  </a:lnTo>
                  <a:lnTo>
                    <a:pt x="102" y="203"/>
                  </a:lnTo>
                  <a:lnTo>
                    <a:pt x="62" y="203"/>
                  </a:lnTo>
                  <a:lnTo>
                    <a:pt x="62" y="203"/>
                  </a:lnTo>
                  <a:lnTo>
                    <a:pt x="52" y="203"/>
                  </a:lnTo>
                  <a:lnTo>
                    <a:pt x="43" y="200"/>
                  </a:lnTo>
                  <a:lnTo>
                    <a:pt x="35" y="196"/>
                  </a:lnTo>
                  <a:lnTo>
                    <a:pt x="28" y="190"/>
                  </a:lnTo>
                  <a:lnTo>
                    <a:pt x="22" y="182"/>
                  </a:lnTo>
                  <a:lnTo>
                    <a:pt x="18" y="174"/>
                  </a:lnTo>
                  <a:lnTo>
                    <a:pt x="15" y="166"/>
                  </a:lnTo>
                  <a:lnTo>
                    <a:pt x="14" y="156"/>
                  </a:lnTo>
                  <a:lnTo>
                    <a:pt x="14" y="150"/>
                  </a:lnTo>
                  <a:lnTo>
                    <a:pt x="14" y="135"/>
                  </a:lnTo>
                  <a:lnTo>
                    <a:pt x="14" y="129"/>
                  </a:lnTo>
                  <a:lnTo>
                    <a:pt x="14" y="109"/>
                  </a:lnTo>
                  <a:lnTo>
                    <a:pt x="14" y="109"/>
                  </a:lnTo>
                  <a:lnTo>
                    <a:pt x="15" y="105"/>
                  </a:lnTo>
                  <a:lnTo>
                    <a:pt x="16" y="103"/>
                  </a:lnTo>
                  <a:lnTo>
                    <a:pt x="18" y="102"/>
                  </a:lnTo>
                  <a:lnTo>
                    <a:pt x="21" y="101"/>
                  </a:lnTo>
                  <a:lnTo>
                    <a:pt x="21" y="101"/>
                  </a:lnTo>
                  <a:lnTo>
                    <a:pt x="34" y="101"/>
                  </a:lnTo>
                  <a:lnTo>
                    <a:pt x="130" y="101"/>
                  </a:lnTo>
                  <a:lnTo>
                    <a:pt x="130" y="101"/>
                  </a:lnTo>
                  <a:lnTo>
                    <a:pt x="143" y="101"/>
                  </a:lnTo>
                  <a:lnTo>
                    <a:pt x="143" y="101"/>
                  </a:lnTo>
                  <a:lnTo>
                    <a:pt x="145" y="102"/>
                  </a:lnTo>
                  <a:lnTo>
                    <a:pt x="148" y="103"/>
                  </a:lnTo>
                  <a:lnTo>
                    <a:pt x="149" y="105"/>
                  </a:lnTo>
                  <a:lnTo>
                    <a:pt x="150" y="109"/>
                  </a:lnTo>
                  <a:lnTo>
                    <a:pt x="15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17">
              <a:extLst>
                <a:ext uri="{FF2B5EF4-FFF2-40B4-BE49-F238E27FC236}">
                  <a16:creationId xmlns:a16="http://schemas.microsoft.com/office/drawing/2014/main" id="{0D063631-EB07-49E6-B899-553952EE8EE3}"/>
                </a:ext>
              </a:extLst>
            </p:cNvPr>
            <p:cNvSpPr>
              <a:spLocks/>
            </p:cNvSpPr>
            <p:nvPr/>
          </p:nvSpPr>
          <p:spPr bwMode="auto">
            <a:xfrm>
              <a:off x="3960815" y="4031456"/>
              <a:ext cx="71440" cy="103190"/>
            </a:xfrm>
            <a:custGeom>
              <a:avLst/>
              <a:gdLst>
                <a:gd name="T0" fmla="*/ 13 w 28"/>
                <a:gd name="T1" fmla="*/ 0 h 40"/>
                <a:gd name="T2" fmla="*/ 13 w 28"/>
                <a:gd name="T3" fmla="*/ 0 h 40"/>
                <a:gd name="T4" fmla="*/ 8 w 28"/>
                <a:gd name="T5" fmla="*/ 1 h 40"/>
                <a:gd name="T6" fmla="*/ 4 w 28"/>
                <a:gd name="T7" fmla="*/ 4 h 40"/>
                <a:gd name="T8" fmla="*/ 1 w 28"/>
                <a:gd name="T9" fmla="*/ 8 h 40"/>
                <a:gd name="T10" fmla="*/ 0 w 28"/>
                <a:gd name="T11" fmla="*/ 13 h 40"/>
                <a:gd name="T12" fmla="*/ 0 w 28"/>
                <a:gd name="T13" fmla="*/ 13 h 40"/>
                <a:gd name="T14" fmla="*/ 2 w 28"/>
                <a:gd name="T15" fmla="*/ 22 h 40"/>
                <a:gd name="T16" fmla="*/ 5 w 28"/>
                <a:gd name="T17" fmla="*/ 32 h 40"/>
                <a:gd name="T18" fmla="*/ 5 w 28"/>
                <a:gd name="T19" fmla="*/ 32 h 40"/>
                <a:gd name="T20" fmla="*/ 6 w 28"/>
                <a:gd name="T21" fmla="*/ 35 h 40"/>
                <a:gd name="T22" fmla="*/ 8 w 28"/>
                <a:gd name="T23" fmla="*/ 38 h 40"/>
                <a:gd name="T24" fmla="*/ 10 w 28"/>
                <a:gd name="T25" fmla="*/ 40 h 40"/>
                <a:gd name="T26" fmla="*/ 13 w 28"/>
                <a:gd name="T27" fmla="*/ 40 h 40"/>
                <a:gd name="T28" fmla="*/ 13 w 28"/>
                <a:gd name="T29" fmla="*/ 40 h 40"/>
                <a:gd name="T30" fmla="*/ 18 w 28"/>
                <a:gd name="T31" fmla="*/ 40 h 40"/>
                <a:gd name="T32" fmla="*/ 20 w 28"/>
                <a:gd name="T33" fmla="*/ 38 h 40"/>
                <a:gd name="T34" fmla="*/ 22 w 28"/>
                <a:gd name="T35" fmla="*/ 35 h 40"/>
                <a:gd name="T36" fmla="*/ 23 w 28"/>
                <a:gd name="T37" fmla="*/ 32 h 40"/>
                <a:gd name="T38" fmla="*/ 23 w 28"/>
                <a:gd name="T39" fmla="*/ 32 h 40"/>
                <a:gd name="T40" fmla="*/ 26 w 28"/>
                <a:gd name="T41" fmla="*/ 22 h 40"/>
                <a:gd name="T42" fmla="*/ 28 w 28"/>
                <a:gd name="T43" fmla="*/ 13 h 40"/>
                <a:gd name="T44" fmla="*/ 28 w 28"/>
                <a:gd name="T45" fmla="*/ 13 h 40"/>
                <a:gd name="T46" fmla="*/ 27 w 28"/>
                <a:gd name="T47" fmla="*/ 8 h 40"/>
                <a:gd name="T48" fmla="*/ 24 w 28"/>
                <a:gd name="T49" fmla="*/ 4 h 40"/>
                <a:gd name="T50" fmla="*/ 20 w 28"/>
                <a:gd name="T51" fmla="*/ 1 h 40"/>
                <a:gd name="T52" fmla="*/ 13 w 28"/>
                <a:gd name="T53" fmla="*/ 0 h 40"/>
                <a:gd name="T54" fmla="*/ 13 w 28"/>
                <a:gd name="T5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40">
                  <a:moveTo>
                    <a:pt x="13" y="0"/>
                  </a:moveTo>
                  <a:lnTo>
                    <a:pt x="13" y="0"/>
                  </a:lnTo>
                  <a:lnTo>
                    <a:pt x="8" y="1"/>
                  </a:lnTo>
                  <a:lnTo>
                    <a:pt x="4" y="4"/>
                  </a:lnTo>
                  <a:lnTo>
                    <a:pt x="1" y="8"/>
                  </a:lnTo>
                  <a:lnTo>
                    <a:pt x="0" y="13"/>
                  </a:lnTo>
                  <a:lnTo>
                    <a:pt x="0" y="13"/>
                  </a:lnTo>
                  <a:lnTo>
                    <a:pt x="2" y="22"/>
                  </a:lnTo>
                  <a:lnTo>
                    <a:pt x="5" y="32"/>
                  </a:lnTo>
                  <a:lnTo>
                    <a:pt x="5" y="32"/>
                  </a:lnTo>
                  <a:lnTo>
                    <a:pt x="6" y="35"/>
                  </a:lnTo>
                  <a:lnTo>
                    <a:pt x="8" y="38"/>
                  </a:lnTo>
                  <a:lnTo>
                    <a:pt x="10" y="40"/>
                  </a:lnTo>
                  <a:lnTo>
                    <a:pt x="13" y="40"/>
                  </a:lnTo>
                  <a:lnTo>
                    <a:pt x="13" y="40"/>
                  </a:lnTo>
                  <a:lnTo>
                    <a:pt x="18" y="40"/>
                  </a:lnTo>
                  <a:lnTo>
                    <a:pt x="20" y="38"/>
                  </a:lnTo>
                  <a:lnTo>
                    <a:pt x="22" y="35"/>
                  </a:lnTo>
                  <a:lnTo>
                    <a:pt x="23" y="32"/>
                  </a:lnTo>
                  <a:lnTo>
                    <a:pt x="23" y="32"/>
                  </a:lnTo>
                  <a:lnTo>
                    <a:pt x="26" y="22"/>
                  </a:lnTo>
                  <a:lnTo>
                    <a:pt x="28" y="13"/>
                  </a:lnTo>
                  <a:lnTo>
                    <a:pt x="28" y="13"/>
                  </a:lnTo>
                  <a:lnTo>
                    <a:pt x="27" y="8"/>
                  </a:lnTo>
                  <a:lnTo>
                    <a:pt x="24" y="4"/>
                  </a:lnTo>
                  <a:lnTo>
                    <a:pt x="20" y="1"/>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6" name="Group 11">
            <a:extLst>
              <a:ext uri="{FF2B5EF4-FFF2-40B4-BE49-F238E27FC236}">
                <a16:creationId xmlns:a16="http://schemas.microsoft.com/office/drawing/2014/main" id="{05E4EA8A-DEF9-4898-9755-DD591C77CF06}"/>
              </a:ext>
            </a:extLst>
          </p:cNvPr>
          <p:cNvGrpSpPr>
            <a:grpSpLocks noChangeAspect="1"/>
          </p:cNvGrpSpPr>
          <p:nvPr/>
        </p:nvGrpSpPr>
        <p:grpSpPr>
          <a:xfrm>
            <a:off x="5383152" y="5456764"/>
            <a:ext cx="275708" cy="228110"/>
            <a:chOff x="3845139" y="2635095"/>
            <a:chExt cx="566405" cy="468621"/>
          </a:xfrm>
          <a:solidFill>
            <a:schemeClr val="bg1"/>
          </a:solidFill>
          <a:effectLst/>
        </p:grpSpPr>
        <p:sp>
          <p:nvSpPr>
            <p:cNvPr id="717" name="Freeform 28">
              <a:extLst>
                <a:ext uri="{FF2B5EF4-FFF2-40B4-BE49-F238E27FC236}">
                  <a16:creationId xmlns:a16="http://schemas.microsoft.com/office/drawing/2014/main" id="{C6690683-F85F-48B7-B0AD-D9C9A7186905}"/>
                </a:ext>
              </a:extLst>
            </p:cNvPr>
            <p:cNvSpPr>
              <a:spLocks noEditPoints="1"/>
            </p:cNvSpPr>
            <p:nvPr/>
          </p:nvSpPr>
          <p:spPr bwMode="auto">
            <a:xfrm>
              <a:off x="3845139" y="2635095"/>
              <a:ext cx="566405" cy="173427"/>
            </a:xfrm>
            <a:custGeom>
              <a:avLst/>
              <a:gdLst>
                <a:gd name="T0" fmla="*/ 41 w 920"/>
                <a:gd name="T1" fmla="*/ 240 h 281"/>
                <a:gd name="T2" fmla="*/ 881 w 920"/>
                <a:gd name="T3" fmla="*/ 240 h 281"/>
                <a:gd name="T4" fmla="*/ 881 w 920"/>
                <a:gd name="T5" fmla="*/ 41 h 281"/>
                <a:gd name="T6" fmla="*/ 41 w 920"/>
                <a:gd name="T7" fmla="*/ 41 h 281"/>
                <a:gd name="T8" fmla="*/ 41 w 920"/>
                <a:gd name="T9" fmla="*/ 240 h 281"/>
                <a:gd name="T10" fmla="*/ 901 w 920"/>
                <a:gd name="T11" fmla="*/ 281 h 281"/>
                <a:gd name="T12" fmla="*/ 20 w 920"/>
                <a:gd name="T13" fmla="*/ 281 h 281"/>
                <a:gd name="T14" fmla="*/ 16 w 920"/>
                <a:gd name="T15" fmla="*/ 280 h 281"/>
                <a:gd name="T16" fmla="*/ 12 w 920"/>
                <a:gd name="T17" fmla="*/ 279 h 281"/>
                <a:gd name="T18" fmla="*/ 9 w 920"/>
                <a:gd name="T19" fmla="*/ 277 h 281"/>
                <a:gd name="T20" fmla="*/ 6 w 920"/>
                <a:gd name="T21" fmla="*/ 275 h 281"/>
                <a:gd name="T22" fmla="*/ 4 w 920"/>
                <a:gd name="T23" fmla="*/ 272 h 281"/>
                <a:gd name="T24" fmla="*/ 3 w 920"/>
                <a:gd name="T25" fmla="*/ 269 h 281"/>
                <a:gd name="T26" fmla="*/ 1 w 920"/>
                <a:gd name="T27" fmla="*/ 265 h 281"/>
                <a:gd name="T28" fmla="*/ 0 w 920"/>
                <a:gd name="T29" fmla="*/ 261 h 281"/>
                <a:gd name="T30" fmla="*/ 0 w 920"/>
                <a:gd name="T31" fmla="*/ 20 h 281"/>
                <a:gd name="T32" fmla="*/ 1 w 920"/>
                <a:gd name="T33" fmla="*/ 17 h 281"/>
                <a:gd name="T34" fmla="*/ 3 w 920"/>
                <a:gd name="T35" fmla="*/ 13 h 281"/>
                <a:gd name="T36" fmla="*/ 4 w 920"/>
                <a:gd name="T37" fmla="*/ 9 h 281"/>
                <a:gd name="T38" fmla="*/ 6 w 920"/>
                <a:gd name="T39" fmla="*/ 7 h 281"/>
                <a:gd name="T40" fmla="*/ 9 w 920"/>
                <a:gd name="T41" fmla="*/ 4 h 281"/>
                <a:gd name="T42" fmla="*/ 12 w 920"/>
                <a:gd name="T43" fmla="*/ 3 h 281"/>
                <a:gd name="T44" fmla="*/ 16 w 920"/>
                <a:gd name="T45" fmla="*/ 2 h 281"/>
                <a:gd name="T46" fmla="*/ 20 w 920"/>
                <a:gd name="T47" fmla="*/ 0 h 281"/>
                <a:gd name="T48" fmla="*/ 901 w 920"/>
                <a:gd name="T49" fmla="*/ 0 h 281"/>
                <a:gd name="T50" fmla="*/ 904 w 920"/>
                <a:gd name="T51" fmla="*/ 2 h 281"/>
                <a:gd name="T52" fmla="*/ 908 w 920"/>
                <a:gd name="T53" fmla="*/ 3 h 281"/>
                <a:gd name="T54" fmla="*/ 912 w 920"/>
                <a:gd name="T55" fmla="*/ 4 h 281"/>
                <a:gd name="T56" fmla="*/ 914 w 920"/>
                <a:gd name="T57" fmla="*/ 7 h 281"/>
                <a:gd name="T58" fmla="*/ 917 w 920"/>
                <a:gd name="T59" fmla="*/ 9 h 281"/>
                <a:gd name="T60" fmla="*/ 919 w 920"/>
                <a:gd name="T61" fmla="*/ 13 h 281"/>
                <a:gd name="T62" fmla="*/ 919 w 920"/>
                <a:gd name="T63" fmla="*/ 17 h 281"/>
                <a:gd name="T64" fmla="*/ 920 w 920"/>
                <a:gd name="T65" fmla="*/ 20 h 281"/>
                <a:gd name="T66" fmla="*/ 920 w 920"/>
                <a:gd name="T67" fmla="*/ 261 h 281"/>
                <a:gd name="T68" fmla="*/ 919 w 920"/>
                <a:gd name="T69" fmla="*/ 265 h 281"/>
                <a:gd name="T70" fmla="*/ 919 w 920"/>
                <a:gd name="T71" fmla="*/ 269 h 281"/>
                <a:gd name="T72" fmla="*/ 917 w 920"/>
                <a:gd name="T73" fmla="*/ 272 h 281"/>
                <a:gd name="T74" fmla="*/ 914 w 920"/>
                <a:gd name="T75" fmla="*/ 275 h 281"/>
                <a:gd name="T76" fmla="*/ 912 w 920"/>
                <a:gd name="T77" fmla="*/ 277 h 281"/>
                <a:gd name="T78" fmla="*/ 908 w 920"/>
                <a:gd name="T79" fmla="*/ 279 h 281"/>
                <a:gd name="T80" fmla="*/ 904 w 920"/>
                <a:gd name="T81" fmla="*/ 280 h 281"/>
                <a:gd name="T82" fmla="*/ 901 w 920"/>
                <a:gd name="T8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0" h="281">
                  <a:moveTo>
                    <a:pt x="41" y="240"/>
                  </a:moveTo>
                  <a:lnTo>
                    <a:pt x="881" y="240"/>
                  </a:lnTo>
                  <a:lnTo>
                    <a:pt x="881" y="41"/>
                  </a:lnTo>
                  <a:lnTo>
                    <a:pt x="41" y="41"/>
                  </a:lnTo>
                  <a:lnTo>
                    <a:pt x="41" y="240"/>
                  </a:lnTo>
                  <a:close/>
                  <a:moveTo>
                    <a:pt x="901" y="281"/>
                  </a:moveTo>
                  <a:lnTo>
                    <a:pt x="20" y="281"/>
                  </a:lnTo>
                  <a:lnTo>
                    <a:pt x="16" y="280"/>
                  </a:lnTo>
                  <a:lnTo>
                    <a:pt x="12" y="279"/>
                  </a:lnTo>
                  <a:lnTo>
                    <a:pt x="9" y="277"/>
                  </a:lnTo>
                  <a:lnTo>
                    <a:pt x="6" y="275"/>
                  </a:lnTo>
                  <a:lnTo>
                    <a:pt x="4" y="272"/>
                  </a:lnTo>
                  <a:lnTo>
                    <a:pt x="3" y="269"/>
                  </a:lnTo>
                  <a:lnTo>
                    <a:pt x="1" y="265"/>
                  </a:lnTo>
                  <a:lnTo>
                    <a:pt x="0" y="261"/>
                  </a:lnTo>
                  <a:lnTo>
                    <a:pt x="0" y="20"/>
                  </a:lnTo>
                  <a:lnTo>
                    <a:pt x="1" y="17"/>
                  </a:lnTo>
                  <a:lnTo>
                    <a:pt x="3" y="13"/>
                  </a:lnTo>
                  <a:lnTo>
                    <a:pt x="4" y="9"/>
                  </a:lnTo>
                  <a:lnTo>
                    <a:pt x="6" y="7"/>
                  </a:lnTo>
                  <a:lnTo>
                    <a:pt x="9" y="4"/>
                  </a:lnTo>
                  <a:lnTo>
                    <a:pt x="12" y="3"/>
                  </a:lnTo>
                  <a:lnTo>
                    <a:pt x="16" y="2"/>
                  </a:lnTo>
                  <a:lnTo>
                    <a:pt x="20" y="0"/>
                  </a:lnTo>
                  <a:lnTo>
                    <a:pt x="901" y="0"/>
                  </a:lnTo>
                  <a:lnTo>
                    <a:pt x="904" y="2"/>
                  </a:lnTo>
                  <a:lnTo>
                    <a:pt x="908" y="3"/>
                  </a:lnTo>
                  <a:lnTo>
                    <a:pt x="912" y="4"/>
                  </a:lnTo>
                  <a:lnTo>
                    <a:pt x="914" y="7"/>
                  </a:lnTo>
                  <a:lnTo>
                    <a:pt x="917" y="9"/>
                  </a:lnTo>
                  <a:lnTo>
                    <a:pt x="919" y="13"/>
                  </a:lnTo>
                  <a:lnTo>
                    <a:pt x="919" y="17"/>
                  </a:lnTo>
                  <a:lnTo>
                    <a:pt x="920" y="20"/>
                  </a:lnTo>
                  <a:lnTo>
                    <a:pt x="920" y="261"/>
                  </a:lnTo>
                  <a:lnTo>
                    <a:pt x="919" y="265"/>
                  </a:lnTo>
                  <a:lnTo>
                    <a:pt x="919" y="269"/>
                  </a:lnTo>
                  <a:lnTo>
                    <a:pt x="917" y="272"/>
                  </a:lnTo>
                  <a:lnTo>
                    <a:pt x="914" y="275"/>
                  </a:lnTo>
                  <a:lnTo>
                    <a:pt x="912" y="277"/>
                  </a:lnTo>
                  <a:lnTo>
                    <a:pt x="908" y="279"/>
                  </a:lnTo>
                  <a:lnTo>
                    <a:pt x="904" y="280"/>
                  </a:lnTo>
                  <a:lnTo>
                    <a:pt x="90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18" name="Freeform 29">
              <a:extLst>
                <a:ext uri="{FF2B5EF4-FFF2-40B4-BE49-F238E27FC236}">
                  <a16:creationId xmlns:a16="http://schemas.microsoft.com/office/drawing/2014/main" id="{861FE4BE-F5CC-4D5E-8162-74038C0E875E}"/>
                </a:ext>
              </a:extLst>
            </p:cNvPr>
            <p:cNvSpPr>
              <a:spLocks/>
            </p:cNvSpPr>
            <p:nvPr/>
          </p:nvSpPr>
          <p:spPr bwMode="auto">
            <a:xfrm>
              <a:off x="3845139" y="2635095"/>
              <a:ext cx="173427" cy="173427"/>
            </a:xfrm>
            <a:custGeom>
              <a:avLst/>
              <a:gdLst>
                <a:gd name="T0" fmla="*/ 261 w 281"/>
                <a:gd name="T1" fmla="*/ 281 h 281"/>
                <a:gd name="T2" fmla="*/ 257 w 281"/>
                <a:gd name="T3" fmla="*/ 280 h 281"/>
                <a:gd name="T4" fmla="*/ 253 w 281"/>
                <a:gd name="T5" fmla="*/ 279 h 281"/>
                <a:gd name="T6" fmla="*/ 250 w 281"/>
                <a:gd name="T7" fmla="*/ 277 h 281"/>
                <a:gd name="T8" fmla="*/ 246 w 281"/>
                <a:gd name="T9" fmla="*/ 275 h 281"/>
                <a:gd name="T10" fmla="*/ 6 w 281"/>
                <a:gd name="T11" fmla="*/ 35 h 281"/>
                <a:gd name="T12" fmla="*/ 4 w 281"/>
                <a:gd name="T13" fmla="*/ 31 h 281"/>
                <a:gd name="T14" fmla="*/ 3 w 281"/>
                <a:gd name="T15" fmla="*/ 28 h 281"/>
                <a:gd name="T16" fmla="*/ 1 w 281"/>
                <a:gd name="T17" fmla="*/ 24 h 281"/>
                <a:gd name="T18" fmla="*/ 0 w 281"/>
                <a:gd name="T19" fmla="*/ 20 h 281"/>
                <a:gd name="T20" fmla="*/ 1 w 281"/>
                <a:gd name="T21" fmla="*/ 17 h 281"/>
                <a:gd name="T22" fmla="*/ 3 w 281"/>
                <a:gd name="T23" fmla="*/ 13 h 281"/>
                <a:gd name="T24" fmla="*/ 4 w 281"/>
                <a:gd name="T25" fmla="*/ 10 h 281"/>
                <a:gd name="T26" fmla="*/ 6 w 281"/>
                <a:gd name="T27" fmla="*/ 7 h 281"/>
                <a:gd name="T28" fmla="*/ 10 w 281"/>
                <a:gd name="T29" fmla="*/ 4 h 281"/>
                <a:gd name="T30" fmla="*/ 12 w 281"/>
                <a:gd name="T31" fmla="*/ 2 h 281"/>
                <a:gd name="T32" fmla="*/ 16 w 281"/>
                <a:gd name="T33" fmla="*/ 2 h 281"/>
                <a:gd name="T34" fmla="*/ 20 w 281"/>
                <a:gd name="T35" fmla="*/ 0 h 281"/>
                <a:gd name="T36" fmla="*/ 25 w 281"/>
                <a:gd name="T37" fmla="*/ 2 h 281"/>
                <a:gd name="T38" fmla="*/ 27 w 281"/>
                <a:gd name="T39" fmla="*/ 2 h 281"/>
                <a:gd name="T40" fmla="*/ 31 w 281"/>
                <a:gd name="T41" fmla="*/ 4 h 281"/>
                <a:gd name="T42" fmla="*/ 35 w 281"/>
                <a:gd name="T43" fmla="*/ 7 h 281"/>
                <a:gd name="T44" fmla="*/ 275 w 281"/>
                <a:gd name="T45" fmla="*/ 246 h 281"/>
                <a:gd name="T46" fmla="*/ 277 w 281"/>
                <a:gd name="T47" fmla="*/ 250 h 281"/>
                <a:gd name="T48" fmla="*/ 280 w 281"/>
                <a:gd name="T49" fmla="*/ 254 h 281"/>
                <a:gd name="T50" fmla="*/ 280 w 281"/>
                <a:gd name="T51" fmla="*/ 256 h 281"/>
                <a:gd name="T52" fmla="*/ 281 w 281"/>
                <a:gd name="T53" fmla="*/ 261 h 281"/>
                <a:gd name="T54" fmla="*/ 280 w 281"/>
                <a:gd name="T55" fmla="*/ 265 h 281"/>
                <a:gd name="T56" fmla="*/ 280 w 281"/>
                <a:gd name="T57" fmla="*/ 269 h 281"/>
                <a:gd name="T58" fmla="*/ 277 w 281"/>
                <a:gd name="T59" fmla="*/ 271 h 281"/>
                <a:gd name="T60" fmla="*/ 275 w 281"/>
                <a:gd name="T61" fmla="*/ 275 h 281"/>
                <a:gd name="T62" fmla="*/ 271 w 281"/>
                <a:gd name="T63" fmla="*/ 277 h 281"/>
                <a:gd name="T64" fmla="*/ 268 w 281"/>
                <a:gd name="T65" fmla="*/ 279 h 281"/>
                <a:gd name="T66" fmla="*/ 265 w 281"/>
                <a:gd name="T67" fmla="*/ 280 h 281"/>
                <a:gd name="T68" fmla="*/ 261 w 281"/>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1" h="281">
                  <a:moveTo>
                    <a:pt x="261" y="281"/>
                  </a:moveTo>
                  <a:lnTo>
                    <a:pt x="257" y="280"/>
                  </a:lnTo>
                  <a:lnTo>
                    <a:pt x="253" y="279"/>
                  </a:lnTo>
                  <a:lnTo>
                    <a:pt x="250" y="277"/>
                  </a:lnTo>
                  <a:lnTo>
                    <a:pt x="246" y="275"/>
                  </a:lnTo>
                  <a:lnTo>
                    <a:pt x="6" y="35"/>
                  </a:lnTo>
                  <a:lnTo>
                    <a:pt x="4" y="31"/>
                  </a:lnTo>
                  <a:lnTo>
                    <a:pt x="3" y="28"/>
                  </a:lnTo>
                  <a:lnTo>
                    <a:pt x="1" y="24"/>
                  </a:lnTo>
                  <a:lnTo>
                    <a:pt x="0" y="20"/>
                  </a:lnTo>
                  <a:lnTo>
                    <a:pt x="1" y="17"/>
                  </a:lnTo>
                  <a:lnTo>
                    <a:pt x="3" y="13"/>
                  </a:lnTo>
                  <a:lnTo>
                    <a:pt x="4" y="10"/>
                  </a:lnTo>
                  <a:lnTo>
                    <a:pt x="6" y="7"/>
                  </a:lnTo>
                  <a:lnTo>
                    <a:pt x="10" y="4"/>
                  </a:lnTo>
                  <a:lnTo>
                    <a:pt x="12" y="2"/>
                  </a:lnTo>
                  <a:lnTo>
                    <a:pt x="16" y="2"/>
                  </a:lnTo>
                  <a:lnTo>
                    <a:pt x="20" y="0"/>
                  </a:lnTo>
                  <a:lnTo>
                    <a:pt x="25" y="2"/>
                  </a:lnTo>
                  <a:lnTo>
                    <a:pt x="27" y="2"/>
                  </a:lnTo>
                  <a:lnTo>
                    <a:pt x="31" y="4"/>
                  </a:lnTo>
                  <a:lnTo>
                    <a:pt x="35" y="7"/>
                  </a:lnTo>
                  <a:lnTo>
                    <a:pt x="275" y="246"/>
                  </a:lnTo>
                  <a:lnTo>
                    <a:pt x="277" y="250"/>
                  </a:lnTo>
                  <a:lnTo>
                    <a:pt x="280" y="254"/>
                  </a:lnTo>
                  <a:lnTo>
                    <a:pt x="280" y="256"/>
                  </a:lnTo>
                  <a:lnTo>
                    <a:pt x="281" y="261"/>
                  </a:lnTo>
                  <a:lnTo>
                    <a:pt x="280" y="265"/>
                  </a:lnTo>
                  <a:lnTo>
                    <a:pt x="280" y="269"/>
                  </a:lnTo>
                  <a:lnTo>
                    <a:pt x="277" y="271"/>
                  </a:lnTo>
                  <a:lnTo>
                    <a:pt x="275" y="275"/>
                  </a:lnTo>
                  <a:lnTo>
                    <a:pt x="271" y="277"/>
                  </a:lnTo>
                  <a:lnTo>
                    <a:pt x="268" y="279"/>
                  </a:lnTo>
                  <a:lnTo>
                    <a:pt x="265"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19" name="Freeform 30">
              <a:extLst>
                <a:ext uri="{FF2B5EF4-FFF2-40B4-BE49-F238E27FC236}">
                  <a16:creationId xmlns:a16="http://schemas.microsoft.com/office/drawing/2014/main" id="{028AE766-E214-4532-BAD6-F20B1717930E}"/>
                </a:ext>
              </a:extLst>
            </p:cNvPr>
            <p:cNvSpPr>
              <a:spLocks/>
            </p:cNvSpPr>
            <p:nvPr/>
          </p:nvSpPr>
          <p:spPr bwMode="auto">
            <a:xfrm>
              <a:off x="3981667" y="2635095"/>
              <a:ext cx="171582" cy="173427"/>
            </a:xfrm>
            <a:custGeom>
              <a:avLst/>
              <a:gdLst>
                <a:gd name="T0" fmla="*/ 261 w 281"/>
                <a:gd name="T1" fmla="*/ 281 h 281"/>
                <a:gd name="T2" fmla="*/ 257 w 281"/>
                <a:gd name="T3" fmla="*/ 280 h 281"/>
                <a:gd name="T4" fmla="*/ 253 w 281"/>
                <a:gd name="T5" fmla="*/ 279 h 281"/>
                <a:gd name="T6" fmla="*/ 250 w 281"/>
                <a:gd name="T7" fmla="*/ 277 h 281"/>
                <a:gd name="T8" fmla="*/ 246 w 281"/>
                <a:gd name="T9" fmla="*/ 275 h 281"/>
                <a:gd name="T10" fmla="*/ 6 w 281"/>
                <a:gd name="T11" fmla="*/ 35 h 281"/>
                <a:gd name="T12" fmla="*/ 4 w 281"/>
                <a:gd name="T13" fmla="*/ 31 h 281"/>
                <a:gd name="T14" fmla="*/ 2 w 281"/>
                <a:gd name="T15" fmla="*/ 28 h 281"/>
                <a:gd name="T16" fmla="*/ 1 w 281"/>
                <a:gd name="T17" fmla="*/ 24 h 281"/>
                <a:gd name="T18" fmla="*/ 0 w 281"/>
                <a:gd name="T19" fmla="*/ 20 h 281"/>
                <a:gd name="T20" fmla="*/ 1 w 281"/>
                <a:gd name="T21" fmla="*/ 17 h 281"/>
                <a:gd name="T22" fmla="*/ 2 w 281"/>
                <a:gd name="T23" fmla="*/ 13 h 281"/>
                <a:gd name="T24" fmla="*/ 4 w 281"/>
                <a:gd name="T25" fmla="*/ 10 h 281"/>
                <a:gd name="T26" fmla="*/ 6 w 281"/>
                <a:gd name="T27" fmla="*/ 7 h 281"/>
                <a:gd name="T28" fmla="*/ 10 w 281"/>
                <a:gd name="T29" fmla="*/ 4 h 281"/>
                <a:gd name="T30" fmla="*/ 12 w 281"/>
                <a:gd name="T31" fmla="*/ 2 h 281"/>
                <a:gd name="T32" fmla="*/ 16 w 281"/>
                <a:gd name="T33" fmla="*/ 2 h 281"/>
                <a:gd name="T34" fmla="*/ 20 w 281"/>
                <a:gd name="T35" fmla="*/ 0 h 281"/>
                <a:gd name="T36" fmla="*/ 25 w 281"/>
                <a:gd name="T37" fmla="*/ 2 h 281"/>
                <a:gd name="T38" fmla="*/ 28 w 281"/>
                <a:gd name="T39" fmla="*/ 2 h 281"/>
                <a:gd name="T40" fmla="*/ 31 w 281"/>
                <a:gd name="T41" fmla="*/ 4 h 281"/>
                <a:gd name="T42" fmla="*/ 35 w 281"/>
                <a:gd name="T43" fmla="*/ 7 h 281"/>
                <a:gd name="T44" fmla="*/ 274 w 281"/>
                <a:gd name="T45" fmla="*/ 246 h 281"/>
                <a:gd name="T46" fmla="*/ 277 w 281"/>
                <a:gd name="T47" fmla="*/ 250 h 281"/>
                <a:gd name="T48" fmla="*/ 279 w 281"/>
                <a:gd name="T49" fmla="*/ 254 h 281"/>
                <a:gd name="T50" fmla="*/ 279 w 281"/>
                <a:gd name="T51" fmla="*/ 256 h 281"/>
                <a:gd name="T52" fmla="*/ 281 w 281"/>
                <a:gd name="T53" fmla="*/ 261 h 281"/>
                <a:gd name="T54" fmla="*/ 279 w 281"/>
                <a:gd name="T55" fmla="*/ 265 h 281"/>
                <a:gd name="T56" fmla="*/ 279 w 281"/>
                <a:gd name="T57" fmla="*/ 269 h 281"/>
                <a:gd name="T58" fmla="*/ 277 w 281"/>
                <a:gd name="T59" fmla="*/ 271 h 281"/>
                <a:gd name="T60" fmla="*/ 274 w 281"/>
                <a:gd name="T61" fmla="*/ 275 h 281"/>
                <a:gd name="T62" fmla="*/ 272 w 281"/>
                <a:gd name="T63" fmla="*/ 277 h 281"/>
                <a:gd name="T64" fmla="*/ 268 w 281"/>
                <a:gd name="T65" fmla="*/ 279 h 281"/>
                <a:gd name="T66" fmla="*/ 264 w 281"/>
                <a:gd name="T67" fmla="*/ 280 h 281"/>
                <a:gd name="T68" fmla="*/ 261 w 281"/>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1" h="281">
                  <a:moveTo>
                    <a:pt x="261" y="281"/>
                  </a:moveTo>
                  <a:lnTo>
                    <a:pt x="257" y="280"/>
                  </a:lnTo>
                  <a:lnTo>
                    <a:pt x="253" y="279"/>
                  </a:lnTo>
                  <a:lnTo>
                    <a:pt x="250" y="277"/>
                  </a:lnTo>
                  <a:lnTo>
                    <a:pt x="246" y="275"/>
                  </a:lnTo>
                  <a:lnTo>
                    <a:pt x="6" y="35"/>
                  </a:lnTo>
                  <a:lnTo>
                    <a:pt x="4" y="31"/>
                  </a:lnTo>
                  <a:lnTo>
                    <a:pt x="2" y="28"/>
                  </a:lnTo>
                  <a:lnTo>
                    <a:pt x="1" y="24"/>
                  </a:lnTo>
                  <a:lnTo>
                    <a:pt x="0" y="20"/>
                  </a:lnTo>
                  <a:lnTo>
                    <a:pt x="1" y="17"/>
                  </a:lnTo>
                  <a:lnTo>
                    <a:pt x="2" y="13"/>
                  </a:lnTo>
                  <a:lnTo>
                    <a:pt x="4" y="10"/>
                  </a:lnTo>
                  <a:lnTo>
                    <a:pt x="6" y="7"/>
                  </a:lnTo>
                  <a:lnTo>
                    <a:pt x="10" y="4"/>
                  </a:lnTo>
                  <a:lnTo>
                    <a:pt x="12" y="2"/>
                  </a:lnTo>
                  <a:lnTo>
                    <a:pt x="16" y="2"/>
                  </a:lnTo>
                  <a:lnTo>
                    <a:pt x="20" y="0"/>
                  </a:lnTo>
                  <a:lnTo>
                    <a:pt x="25" y="2"/>
                  </a:lnTo>
                  <a:lnTo>
                    <a:pt x="28" y="2"/>
                  </a:lnTo>
                  <a:lnTo>
                    <a:pt x="31" y="4"/>
                  </a:lnTo>
                  <a:lnTo>
                    <a:pt x="35" y="7"/>
                  </a:lnTo>
                  <a:lnTo>
                    <a:pt x="274" y="246"/>
                  </a:lnTo>
                  <a:lnTo>
                    <a:pt x="277" y="250"/>
                  </a:lnTo>
                  <a:lnTo>
                    <a:pt x="279" y="254"/>
                  </a:lnTo>
                  <a:lnTo>
                    <a:pt x="279" y="256"/>
                  </a:lnTo>
                  <a:lnTo>
                    <a:pt x="281" y="261"/>
                  </a:lnTo>
                  <a:lnTo>
                    <a:pt x="279" y="265"/>
                  </a:lnTo>
                  <a:lnTo>
                    <a:pt x="279" y="269"/>
                  </a:lnTo>
                  <a:lnTo>
                    <a:pt x="277" y="271"/>
                  </a:lnTo>
                  <a:lnTo>
                    <a:pt x="274" y="275"/>
                  </a:lnTo>
                  <a:lnTo>
                    <a:pt x="272" y="277"/>
                  </a:lnTo>
                  <a:lnTo>
                    <a:pt x="268" y="279"/>
                  </a:lnTo>
                  <a:lnTo>
                    <a:pt x="264"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0" name="Freeform 31">
              <a:extLst>
                <a:ext uri="{FF2B5EF4-FFF2-40B4-BE49-F238E27FC236}">
                  <a16:creationId xmlns:a16="http://schemas.microsoft.com/office/drawing/2014/main" id="{89B8C6A0-AFA4-4FAC-A13D-D534EBB17020}"/>
                </a:ext>
              </a:extLst>
            </p:cNvPr>
            <p:cNvSpPr>
              <a:spLocks/>
            </p:cNvSpPr>
            <p:nvPr/>
          </p:nvSpPr>
          <p:spPr bwMode="auto">
            <a:xfrm>
              <a:off x="4116349" y="2635095"/>
              <a:ext cx="171582" cy="173427"/>
            </a:xfrm>
            <a:custGeom>
              <a:avLst/>
              <a:gdLst>
                <a:gd name="T0" fmla="*/ 261 w 280"/>
                <a:gd name="T1" fmla="*/ 281 h 281"/>
                <a:gd name="T2" fmla="*/ 257 w 280"/>
                <a:gd name="T3" fmla="*/ 280 h 281"/>
                <a:gd name="T4" fmla="*/ 253 w 280"/>
                <a:gd name="T5" fmla="*/ 279 h 281"/>
                <a:gd name="T6" fmla="*/ 249 w 280"/>
                <a:gd name="T7" fmla="*/ 277 h 281"/>
                <a:gd name="T8" fmla="*/ 246 w 280"/>
                <a:gd name="T9" fmla="*/ 275 h 281"/>
                <a:gd name="T10" fmla="*/ 6 w 280"/>
                <a:gd name="T11" fmla="*/ 35 h 281"/>
                <a:gd name="T12" fmla="*/ 3 w 280"/>
                <a:gd name="T13" fmla="*/ 31 h 281"/>
                <a:gd name="T14" fmla="*/ 2 w 280"/>
                <a:gd name="T15" fmla="*/ 28 h 281"/>
                <a:gd name="T16" fmla="*/ 1 w 280"/>
                <a:gd name="T17" fmla="*/ 24 h 281"/>
                <a:gd name="T18" fmla="*/ 0 w 280"/>
                <a:gd name="T19" fmla="*/ 20 h 281"/>
                <a:gd name="T20" fmla="*/ 1 w 280"/>
                <a:gd name="T21" fmla="*/ 17 h 281"/>
                <a:gd name="T22" fmla="*/ 2 w 280"/>
                <a:gd name="T23" fmla="*/ 13 h 281"/>
                <a:gd name="T24" fmla="*/ 3 w 280"/>
                <a:gd name="T25" fmla="*/ 10 h 281"/>
                <a:gd name="T26" fmla="*/ 6 w 280"/>
                <a:gd name="T27" fmla="*/ 7 h 281"/>
                <a:gd name="T28" fmla="*/ 10 w 280"/>
                <a:gd name="T29" fmla="*/ 4 h 281"/>
                <a:gd name="T30" fmla="*/ 13 w 280"/>
                <a:gd name="T31" fmla="*/ 2 h 281"/>
                <a:gd name="T32" fmla="*/ 16 w 280"/>
                <a:gd name="T33" fmla="*/ 2 h 281"/>
                <a:gd name="T34" fmla="*/ 21 w 280"/>
                <a:gd name="T35" fmla="*/ 0 h 281"/>
                <a:gd name="T36" fmla="*/ 25 w 280"/>
                <a:gd name="T37" fmla="*/ 2 h 281"/>
                <a:gd name="T38" fmla="*/ 28 w 280"/>
                <a:gd name="T39" fmla="*/ 2 h 281"/>
                <a:gd name="T40" fmla="*/ 31 w 280"/>
                <a:gd name="T41" fmla="*/ 4 h 281"/>
                <a:gd name="T42" fmla="*/ 35 w 280"/>
                <a:gd name="T43" fmla="*/ 7 h 281"/>
                <a:gd name="T44" fmla="*/ 274 w 280"/>
                <a:gd name="T45" fmla="*/ 246 h 281"/>
                <a:gd name="T46" fmla="*/ 277 w 280"/>
                <a:gd name="T47" fmla="*/ 250 h 281"/>
                <a:gd name="T48" fmla="*/ 279 w 280"/>
                <a:gd name="T49" fmla="*/ 254 h 281"/>
                <a:gd name="T50" fmla="*/ 280 w 280"/>
                <a:gd name="T51" fmla="*/ 256 h 281"/>
                <a:gd name="T52" fmla="*/ 280 w 280"/>
                <a:gd name="T53" fmla="*/ 261 h 281"/>
                <a:gd name="T54" fmla="*/ 280 w 280"/>
                <a:gd name="T55" fmla="*/ 265 h 281"/>
                <a:gd name="T56" fmla="*/ 279 w 280"/>
                <a:gd name="T57" fmla="*/ 269 h 281"/>
                <a:gd name="T58" fmla="*/ 277 w 280"/>
                <a:gd name="T59" fmla="*/ 271 h 281"/>
                <a:gd name="T60" fmla="*/ 274 w 280"/>
                <a:gd name="T61" fmla="*/ 275 h 281"/>
                <a:gd name="T62" fmla="*/ 272 w 280"/>
                <a:gd name="T63" fmla="*/ 277 h 281"/>
                <a:gd name="T64" fmla="*/ 268 w 280"/>
                <a:gd name="T65" fmla="*/ 279 h 281"/>
                <a:gd name="T66" fmla="*/ 264 w 280"/>
                <a:gd name="T67" fmla="*/ 280 h 281"/>
                <a:gd name="T68" fmla="*/ 261 w 280"/>
                <a:gd name="T6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281">
                  <a:moveTo>
                    <a:pt x="261" y="281"/>
                  </a:moveTo>
                  <a:lnTo>
                    <a:pt x="257" y="280"/>
                  </a:lnTo>
                  <a:lnTo>
                    <a:pt x="253" y="279"/>
                  </a:lnTo>
                  <a:lnTo>
                    <a:pt x="249" y="277"/>
                  </a:lnTo>
                  <a:lnTo>
                    <a:pt x="246" y="275"/>
                  </a:lnTo>
                  <a:lnTo>
                    <a:pt x="6" y="35"/>
                  </a:lnTo>
                  <a:lnTo>
                    <a:pt x="3" y="31"/>
                  </a:lnTo>
                  <a:lnTo>
                    <a:pt x="2" y="28"/>
                  </a:lnTo>
                  <a:lnTo>
                    <a:pt x="1" y="24"/>
                  </a:lnTo>
                  <a:lnTo>
                    <a:pt x="0" y="20"/>
                  </a:lnTo>
                  <a:lnTo>
                    <a:pt x="1" y="17"/>
                  </a:lnTo>
                  <a:lnTo>
                    <a:pt x="2" y="13"/>
                  </a:lnTo>
                  <a:lnTo>
                    <a:pt x="3" y="10"/>
                  </a:lnTo>
                  <a:lnTo>
                    <a:pt x="6" y="7"/>
                  </a:lnTo>
                  <a:lnTo>
                    <a:pt x="10" y="4"/>
                  </a:lnTo>
                  <a:lnTo>
                    <a:pt x="13" y="2"/>
                  </a:lnTo>
                  <a:lnTo>
                    <a:pt x="16" y="2"/>
                  </a:lnTo>
                  <a:lnTo>
                    <a:pt x="21" y="0"/>
                  </a:lnTo>
                  <a:lnTo>
                    <a:pt x="25" y="2"/>
                  </a:lnTo>
                  <a:lnTo>
                    <a:pt x="28" y="2"/>
                  </a:lnTo>
                  <a:lnTo>
                    <a:pt x="31" y="4"/>
                  </a:lnTo>
                  <a:lnTo>
                    <a:pt x="35" y="7"/>
                  </a:lnTo>
                  <a:lnTo>
                    <a:pt x="274" y="246"/>
                  </a:lnTo>
                  <a:lnTo>
                    <a:pt x="277" y="250"/>
                  </a:lnTo>
                  <a:lnTo>
                    <a:pt x="279" y="254"/>
                  </a:lnTo>
                  <a:lnTo>
                    <a:pt x="280" y="256"/>
                  </a:lnTo>
                  <a:lnTo>
                    <a:pt x="280" y="261"/>
                  </a:lnTo>
                  <a:lnTo>
                    <a:pt x="280" y="265"/>
                  </a:lnTo>
                  <a:lnTo>
                    <a:pt x="279" y="269"/>
                  </a:lnTo>
                  <a:lnTo>
                    <a:pt x="277" y="271"/>
                  </a:lnTo>
                  <a:lnTo>
                    <a:pt x="274" y="275"/>
                  </a:lnTo>
                  <a:lnTo>
                    <a:pt x="272" y="277"/>
                  </a:lnTo>
                  <a:lnTo>
                    <a:pt x="268" y="279"/>
                  </a:lnTo>
                  <a:lnTo>
                    <a:pt x="264" y="280"/>
                  </a:lnTo>
                  <a:lnTo>
                    <a:pt x="261"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1" name="Freeform 32">
              <a:extLst>
                <a:ext uri="{FF2B5EF4-FFF2-40B4-BE49-F238E27FC236}">
                  <a16:creationId xmlns:a16="http://schemas.microsoft.com/office/drawing/2014/main" id="{97436F0D-AC29-4153-B638-F2D5B8F7A3A2}"/>
                </a:ext>
              </a:extLst>
            </p:cNvPr>
            <p:cNvSpPr>
              <a:spLocks/>
            </p:cNvSpPr>
            <p:nvPr/>
          </p:nvSpPr>
          <p:spPr bwMode="auto">
            <a:xfrm>
              <a:off x="4252877" y="2635095"/>
              <a:ext cx="158667" cy="160512"/>
            </a:xfrm>
            <a:custGeom>
              <a:avLst/>
              <a:gdLst>
                <a:gd name="T0" fmla="*/ 240 w 259"/>
                <a:gd name="T1" fmla="*/ 261 h 261"/>
                <a:gd name="T2" fmla="*/ 236 w 259"/>
                <a:gd name="T3" fmla="*/ 260 h 261"/>
                <a:gd name="T4" fmla="*/ 232 w 259"/>
                <a:gd name="T5" fmla="*/ 259 h 261"/>
                <a:gd name="T6" fmla="*/ 228 w 259"/>
                <a:gd name="T7" fmla="*/ 258 h 261"/>
                <a:gd name="T8" fmla="*/ 225 w 259"/>
                <a:gd name="T9" fmla="*/ 255 h 261"/>
                <a:gd name="T10" fmla="*/ 5 w 259"/>
                <a:gd name="T11" fmla="*/ 35 h 261"/>
                <a:gd name="T12" fmla="*/ 2 w 259"/>
                <a:gd name="T13" fmla="*/ 31 h 261"/>
                <a:gd name="T14" fmla="*/ 1 w 259"/>
                <a:gd name="T15" fmla="*/ 28 h 261"/>
                <a:gd name="T16" fmla="*/ 0 w 259"/>
                <a:gd name="T17" fmla="*/ 24 h 261"/>
                <a:gd name="T18" fmla="*/ 0 w 259"/>
                <a:gd name="T19" fmla="*/ 20 h 261"/>
                <a:gd name="T20" fmla="*/ 0 w 259"/>
                <a:gd name="T21" fmla="*/ 17 h 261"/>
                <a:gd name="T22" fmla="*/ 1 w 259"/>
                <a:gd name="T23" fmla="*/ 13 h 261"/>
                <a:gd name="T24" fmla="*/ 2 w 259"/>
                <a:gd name="T25" fmla="*/ 10 h 261"/>
                <a:gd name="T26" fmla="*/ 5 w 259"/>
                <a:gd name="T27" fmla="*/ 7 h 261"/>
                <a:gd name="T28" fmla="*/ 9 w 259"/>
                <a:gd name="T29" fmla="*/ 4 h 261"/>
                <a:gd name="T30" fmla="*/ 12 w 259"/>
                <a:gd name="T31" fmla="*/ 2 h 261"/>
                <a:gd name="T32" fmla="*/ 16 w 259"/>
                <a:gd name="T33" fmla="*/ 2 h 261"/>
                <a:gd name="T34" fmla="*/ 20 w 259"/>
                <a:gd name="T35" fmla="*/ 0 h 261"/>
                <a:gd name="T36" fmla="*/ 23 w 259"/>
                <a:gd name="T37" fmla="*/ 2 h 261"/>
                <a:gd name="T38" fmla="*/ 27 w 259"/>
                <a:gd name="T39" fmla="*/ 2 h 261"/>
                <a:gd name="T40" fmla="*/ 30 w 259"/>
                <a:gd name="T41" fmla="*/ 4 h 261"/>
                <a:gd name="T42" fmla="*/ 33 w 259"/>
                <a:gd name="T43" fmla="*/ 7 h 261"/>
                <a:gd name="T44" fmla="*/ 253 w 259"/>
                <a:gd name="T45" fmla="*/ 227 h 261"/>
                <a:gd name="T46" fmla="*/ 256 w 259"/>
                <a:gd name="T47" fmla="*/ 230 h 261"/>
                <a:gd name="T48" fmla="*/ 258 w 259"/>
                <a:gd name="T49" fmla="*/ 233 h 261"/>
                <a:gd name="T50" fmla="*/ 258 w 259"/>
                <a:gd name="T51" fmla="*/ 236 h 261"/>
                <a:gd name="T52" fmla="*/ 259 w 259"/>
                <a:gd name="T53" fmla="*/ 240 h 261"/>
                <a:gd name="T54" fmla="*/ 258 w 259"/>
                <a:gd name="T55" fmla="*/ 245 h 261"/>
                <a:gd name="T56" fmla="*/ 258 w 259"/>
                <a:gd name="T57" fmla="*/ 249 h 261"/>
                <a:gd name="T58" fmla="*/ 256 w 259"/>
                <a:gd name="T59" fmla="*/ 251 h 261"/>
                <a:gd name="T60" fmla="*/ 253 w 259"/>
                <a:gd name="T61" fmla="*/ 255 h 261"/>
                <a:gd name="T62" fmla="*/ 251 w 259"/>
                <a:gd name="T63" fmla="*/ 258 h 261"/>
                <a:gd name="T64" fmla="*/ 247 w 259"/>
                <a:gd name="T65" fmla="*/ 259 h 261"/>
                <a:gd name="T66" fmla="*/ 243 w 259"/>
                <a:gd name="T67" fmla="*/ 260 h 261"/>
                <a:gd name="T68" fmla="*/ 240 w 259"/>
                <a:gd name="T69"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9" h="261">
                  <a:moveTo>
                    <a:pt x="240" y="261"/>
                  </a:moveTo>
                  <a:lnTo>
                    <a:pt x="236" y="260"/>
                  </a:lnTo>
                  <a:lnTo>
                    <a:pt x="232" y="259"/>
                  </a:lnTo>
                  <a:lnTo>
                    <a:pt x="228" y="258"/>
                  </a:lnTo>
                  <a:lnTo>
                    <a:pt x="225" y="255"/>
                  </a:lnTo>
                  <a:lnTo>
                    <a:pt x="5" y="35"/>
                  </a:lnTo>
                  <a:lnTo>
                    <a:pt x="2" y="31"/>
                  </a:lnTo>
                  <a:lnTo>
                    <a:pt x="1" y="28"/>
                  </a:lnTo>
                  <a:lnTo>
                    <a:pt x="0" y="24"/>
                  </a:lnTo>
                  <a:lnTo>
                    <a:pt x="0" y="20"/>
                  </a:lnTo>
                  <a:lnTo>
                    <a:pt x="0" y="17"/>
                  </a:lnTo>
                  <a:lnTo>
                    <a:pt x="1" y="13"/>
                  </a:lnTo>
                  <a:lnTo>
                    <a:pt x="2" y="10"/>
                  </a:lnTo>
                  <a:lnTo>
                    <a:pt x="5" y="7"/>
                  </a:lnTo>
                  <a:lnTo>
                    <a:pt x="9" y="4"/>
                  </a:lnTo>
                  <a:lnTo>
                    <a:pt x="12" y="2"/>
                  </a:lnTo>
                  <a:lnTo>
                    <a:pt x="16" y="2"/>
                  </a:lnTo>
                  <a:lnTo>
                    <a:pt x="20" y="0"/>
                  </a:lnTo>
                  <a:lnTo>
                    <a:pt x="23" y="2"/>
                  </a:lnTo>
                  <a:lnTo>
                    <a:pt x="27" y="2"/>
                  </a:lnTo>
                  <a:lnTo>
                    <a:pt x="30" y="4"/>
                  </a:lnTo>
                  <a:lnTo>
                    <a:pt x="33" y="7"/>
                  </a:lnTo>
                  <a:lnTo>
                    <a:pt x="253" y="227"/>
                  </a:lnTo>
                  <a:lnTo>
                    <a:pt x="256" y="230"/>
                  </a:lnTo>
                  <a:lnTo>
                    <a:pt x="258" y="233"/>
                  </a:lnTo>
                  <a:lnTo>
                    <a:pt x="258" y="236"/>
                  </a:lnTo>
                  <a:lnTo>
                    <a:pt x="259" y="240"/>
                  </a:lnTo>
                  <a:lnTo>
                    <a:pt x="258" y="245"/>
                  </a:lnTo>
                  <a:lnTo>
                    <a:pt x="258" y="249"/>
                  </a:lnTo>
                  <a:lnTo>
                    <a:pt x="256" y="251"/>
                  </a:lnTo>
                  <a:lnTo>
                    <a:pt x="253" y="255"/>
                  </a:lnTo>
                  <a:lnTo>
                    <a:pt x="251" y="258"/>
                  </a:lnTo>
                  <a:lnTo>
                    <a:pt x="247" y="259"/>
                  </a:lnTo>
                  <a:lnTo>
                    <a:pt x="243" y="260"/>
                  </a:lnTo>
                  <a:lnTo>
                    <a:pt x="240"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2" name="Freeform 33">
              <a:extLst>
                <a:ext uri="{FF2B5EF4-FFF2-40B4-BE49-F238E27FC236}">
                  <a16:creationId xmlns:a16="http://schemas.microsoft.com/office/drawing/2014/main" id="{49289CC8-D1B9-4573-8D86-5F1FBA1F0AEA}"/>
                </a:ext>
              </a:extLst>
            </p:cNvPr>
            <p:cNvSpPr>
              <a:spLocks noEditPoints="1"/>
            </p:cNvSpPr>
            <p:nvPr/>
          </p:nvSpPr>
          <p:spPr bwMode="auto">
            <a:xfrm>
              <a:off x="3894953" y="2782692"/>
              <a:ext cx="99628" cy="321024"/>
            </a:xfrm>
            <a:custGeom>
              <a:avLst/>
              <a:gdLst>
                <a:gd name="T0" fmla="*/ 40 w 160"/>
                <a:gd name="T1" fmla="*/ 481 h 521"/>
                <a:gd name="T2" fmla="*/ 119 w 160"/>
                <a:gd name="T3" fmla="*/ 481 h 521"/>
                <a:gd name="T4" fmla="*/ 119 w 160"/>
                <a:gd name="T5" fmla="*/ 41 h 521"/>
                <a:gd name="T6" fmla="*/ 40 w 160"/>
                <a:gd name="T7" fmla="*/ 41 h 521"/>
                <a:gd name="T8" fmla="*/ 40 w 160"/>
                <a:gd name="T9" fmla="*/ 481 h 521"/>
                <a:gd name="T10" fmla="*/ 139 w 160"/>
                <a:gd name="T11" fmla="*/ 521 h 521"/>
                <a:gd name="T12" fmla="*/ 20 w 160"/>
                <a:gd name="T13" fmla="*/ 521 h 521"/>
                <a:gd name="T14" fmla="*/ 16 w 160"/>
                <a:gd name="T15" fmla="*/ 521 h 521"/>
                <a:gd name="T16" fmla="*/ 12 w 160"/>
                <a:gd name="T17" fmla="*/ 519 h 521"/>
                <a:gd name="T18" fmla="*/ 8 w 160"/>
                <a:gd name="T19" fmla="*/ 517 h 521"/>
                <a:gd name="T20" fmla="*/ 5 w 160"/>
                <a:gd name="T21" fmla="*/ 515 h 521"/>
                <a:gd name="T22" fmla="*/ 2 w 160"/>
                <a:gd name="T23" fmla="*/ 512 h 521"/>
                <a:gd name="T24" fmla="*/ 1 w 160"/>
                <a:gd name="T25" fmla="*/ 508 h 521"/>
                <a:gd name="T26" fmla="*/ 0 w 160"/>
                <a:gd name="T27" fmla="*/ 505 h 521"/>
                <a:gd name="T28" fmla="*/ 0 w 160"/>
                <a:gd name="T29" fmla="*/ 501 h 521"/>
                <a:gd name="T30" fmla="*/ 0 w 160"/>
                <a:gd name="T31" fmla="*/ 21 h 521"/>
                <a:gd name="T32" fmla="*/ 0 w 160"/>
                <a:gd name="T33" fmla="*/ 16 h 521"/>
                <a:gd name="T34" fmla="*/ 1 w 160"/>
                <a:gd name="T35" fmla="*/ 13 h 521"/>
                <a:gd name="T36" fmla="*/ 2 w 160"/>
                <a:gd name="T37" fmla="*/ 10 h 521"/>
                <a:gd name="T38" fmla="*/ 5 w 160"/>
                <a:gd name="T39" fmla="*/ 6 h 521"/>
                <a:gd name="T40" fmla="*/ 8 w 160"/>
                <a:gd name="T41" fmla="*/ 4 h 521"/>
                <a:gd name="T42" fmla="*/ 12 w 160"/>
                <a:gd name="T43" fmla="*/ 3 h 521"/>
                <a:gd name="T44" fmla="*/ 16 w 160"/>
                <a:gd name="T45" fmla="*/ 1 h 521"/>
                <a:gd name="T46" fmla="*/ 20 w 160"/>
                <a:gd name="T47" fmla="*/ 0 h 521"/>
                <a:gd name="T48" fmla="*/ 139 w 160"/>
                <a:gd name="T49" fmla="*/ 0 h 521"/>
                <a:gd name="T50" fmla="*/ 144 w 160"/>
                <a:gd name="T51" fmla="*/ 1 h 521"/>
                <a:gd name="T52" fmla="*/ 148 w 160"/>
                <a:gd name="T53" fmla="*/ 3 h 521"/>
                <a:gd name="T54" fmla="*/ 150 w 160"/>
                <a:gd name="T55" fmla="*/ 4 h 521"/>
                <a:gd name="T56" fmla="*/ 154 w 160"/>
                <a:gd name="T57" fmla="*/ 6 h 521"/>
                <a:gd name="T58" fmla="*/ 156 w 160"/>
                <a:gd name="T59" fmla="*/ 10 h 521"/>
                <a:gd name="T60" fmla="*/ 158 w 160"/>
                <a:gd name="T61" fmla="*/ 13 h 521"/>
                <a:gd name="T62" fmla="*/ 159 w 160"/>
                <a:gd name="T63" fmla="*/ 16 h 521"/>
                <a:gd name="T64" fmla="*/ 160 w 160"/>
                <a:gd name="T65" fmla="*/ 21 h 521"/>
                <a:gd name="T66" fmla="*/ 160 w 160"/>
                <a:gd name="T67" fmla="*/ 501 h 521"/>
                <a:gd name="T68" fmla="*/ 159 w 160"/>
                <a:gd name="T69" fmla="*/ 505 h 521"/>
                <a:gd name="T70" fmla="*/ 158 w 160"/>
                <a:gd name="T71" fmla="*/ 508 h 521"/>
                <a:gd name="T72" fmla="*/ 156 w 160"/>
                <a:gd name="T73" fmla="*/ 512 h 521"/>
                <a:gd name="T74" fmla="*/ 154 w 160"/>
                <a:gd name="T75" fmla="*/ 515 h 521"/>
                <a:gd name="T76" fmla="*/ 150 w 160"/>
                <a:gd name="T77" fmla="*/ 517 h 521"/>
                <a:gd name="T78" fmla="*/ 148 w 160"/>
                <a:gd name="T79" fmla="*/ 519 h 521"/>
                <a:gd name="T80" fmla="*/ 144 w 160"/>
                <a:gd name="T81" fmla="*/ 521 h 521"/>
                <a:gd name="T82" fmla="*/ 139 w 160"/>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521">
                  <a:moveTo>
                    <a:pt x="40" y="481"/>
                  </a:moveTo>
                  <a:lnTo>
                    <a:pt x="119" y="481"/>
                  </a:lnTo>
                  <a:lnTo>
                    <a:pt x="119" y="41"/>
                  </a:lnTo>
                  <a:lnTo>
                    <a:pt x="40" y="41"/>
                  </a:lnTo>
                  <a:lnTo>
                    <a:pt x="40" y="481"/>
                  </a:lnTo>
                  <a:close/>
                  <a:moveTo>
                    <a:pt x="139" y="521"/>
                  </a:moveTo>
                  <a:lnTo>
                    <a:pt x="20" y="521"/>
                  </a:lnTo>
                  <a:lnTo>
                    <a:pt x="16" y="521"/>
                  </a:lnTo>
                  <a:lnTo>
                    <a:pt x="12" y="519"/>
                  </a:lnTo>
                  <a:lnTo>
                    <a:pt x="8" y="517"/>
                  </a:lnTo>
                  <a:lnTo>
                    <a:pt x="5" y="515"/>
                  </a:lnTo>
                  <a:lnTo>
                    <a:pt x="2" y="512"/>
                  </a:lnTo>
                  <a:lnTo>
                    <a:pt x="1" y="508"/>
                  </a:lnTo>
                  <a:lnTo>
                    <a:pt x="0" y="505"/>
                  </a:lnTo>
                  <a:lnTo>
                    <a:pt x="0" y="501"/>
                  </a:lnTo>
                  <a:lnTo>
                    <a:pt x="0" y="21"/>
                  </a:lnTo>
                  <a:lnTo>
                    <a:pt x="0" y="16"/>
                  </a:lnTo>
                  <a:lnTo>
                    <a:pt x="1" y="13"/>
                  </a:lnTo>
                  <a:lnTo>
                    <a:pt x="2" y="10"/>
                  </a:lnTo>
                  <a:lnTo>
                    <a:pt x="5" y="6"/>
                  </a:lnTo>
                  <a:lnTo>
                    <a:pt x="8" y="4"/>
                  </a:lnTo>
                  <a:lnTo>
                    <a:pt x="12" y="3"/>
                  </a:lnTo>
                  <a:lnTo>
                    <a:pt x="16" y="1"/>
                  </a:lnTo>
                  <a:lnTo>
                    <a:pt x="20" y="0"/>
                  </a:lnTo>
                  <a:lnTo>
                    <a:pt x="139" y="0"/>
                  </a:lnTo>
                  <a:lnTo>
                    <a:pt x="144" y="1"/>
                  </a:lnTo>
                  <a:lnTo>
                    <a:pt x="148" y="3"/>
                  </a:lnTo>
                  <a:lnTo>
                    <a:pt x="150" y="4"/>
                  </a:lnTo>
                  <a:lnTo>
                    <a:pt x="154" y="6"/>
                  </a:lnTo>
                  <a:lnTo>
                    <a:pt x="156" y="10"/>
                  </a:lnTo>
                  <a:lnTo>
                    <a:pt x="158" y="13"/>
                  </a:lnTo>
                  <a:lnTo>
                    <a:pt x="159" y="16"/>
                  </a:lnTo>
                  <a:lnTo>
                    <a:pt x="160" y="21"/>
                  </a:lnTo>
                  <a:lnTo>
                    <a:pt x="160" y="501"/>
                  </a:lnTo>
                  <a:lnTo>
                    <a:pt x="159" y="505"/>
                  </a:lnTo>
                  <a:lnTo>
                    <a:pt x="158" y="508"/>
                  </a:lnTo>
                  <a:lnTo>
                    <a:pt x="156" y="512"/>
                  </a:lnTo>
                  <a:lnTo>
                    <a:pt x="154" y="515"/>
                  </a:lnTo>
                  <a:lnTo>
                    <a:pt x="150" y="517"/>
                  </a:lnTo>
                  <a:lnTo>
                    <a:pt x="148" y="519"/>
                  </a:lnTo>
                  <a:lnTo>
                    <a:pt x="144" y="521"/>
                  </a:lnTo>
                  <a:lnTo>
                    <a:pt x="139"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sp>
          <p:nvSpPr>
            <p:cNvPr id="723" name="Freeform 34">
              <a:extLst>
                <a:ext uri="{FF2B5EF4-FFF2-40B4-BE49-F238E27FC236}">
                  <a16:creationId xmlns:a16="http://schemas.microsoft.com/office/drawing/2014/main" id="{7D0109D8-BBA2-42A9-A311-235D6069C758}"/>
                </a:ext>
              </a:extLst>
            </p:cNvPr>
            <p:cNvSpPr>
              <a:spLocks noEditPoints="1"/>
            </p:cNvSpPr>
            <p:nvPr/>
          </p:nvSpPr>
          <p:spPr bwMode="auto">
            <a:xfrm>
              <a:off x="4263947" y="2782692"/>
              <a:ext cx="97783" cy="321024"/>
            </a:xfrm>
            <a:custGeom>
              <a:avLst/>
              <a:gdLst>
                <a:gd name="T0" fmla="*/ 39 w 159"/>
                <a:gd name="T1" fmla="*/ 481 h 521"/>
                <a:gd name="T2" fmla="*/ 119 w 159"/>
                <a:gd name="T3" fmla="*/ 481 h 521"/>
                <a:gd name="T4" fmla="*/ 119 w 159"/>
                <a:gd name="T5" fmla="*/ 41 h 521"/>
                <a:gd name="T6" fmla="*/ 39 w 159"/>
                <a:gd name="T7" fmla="*/ 41 h 521"/>
                <a:gd name="T8" fmla="*/ 39 w 159"/>
                <a:gd name="T9" fmla="*/ 481 h 521"/>
                <a:gd name="T10" fmla="*/ 139 w 159"/>
                <a:gd name="T11" fmla="*/ 521 h 521"/>
                <a:gd name="T12" fmla="*/ 20 w 159"/>
                <a:gd name="T13" fmla="*/ 521 h 521"/>
                <a:gd name="T14" fmla="*/ 15 w 159"/>
                <a:gd name="T15" fmla="*/ 521 h 521"/>
                <a:gd name="T16" fmla="*/ 11 w 159"/>
                <a:gd name="T17" fmla="*/ 519 h 521"/>
                <a:gd name="T18" fmla="*/ 8 w 159"/>
                <a:gd name="T19" fmla="*/ 517 h 521"/>
                <a:gd name="T20" fmla="*/ 5 w 159"/>
                <a:gd name="T21" fmla="*/ 515 h 521"/>
                <a:gd name="T22" fmla="*/ 2 w 159"/>
                <a:gd name="T23" fmla="*/ 512 h 521"/>
                <a:gd name="T24" fmla="*/ 1 w 159"/>
                <a:gd name="T25" fmla="*/ 508 h 521"/>
                <a:gd name="T26" fmla="*/ 0 w 159"/>
                <a:gd name="T27" fmla="*/ 505 h 521"/>
                <a:gd name="T28" fmla="*/ 0 w 159"/>
                <a:gd name="T29" fmla="*/ 501 h 521"/>
                <a:gd name="T30" fmla="*/ 0 w 159"/>
                <a:gd name="T31" fmla="*/ 21 h 521"/>
                <a:gd name="T32" fmla="*/ 0 w 159"/>
                <a:gd name="T33" fmla="*/ 16 h 521"/>
                <a:gd name="T34" fmla="*/ 1 w 159"/>
                <a:gd name="T35" fmla="*/ 13 h 521"/>
                <a:gd name="T36" fmla="*/ 2 w 159"/>
                <a:gd name="T37" fmla="*/ 10 h 521"/>
                <a:gd name="T38" fmla="*/ 5 w 159"/>
                <a:gd name="T39" fmla="*/ 6 h 521"/>
                <a:gd name="T40" fmla="*/ 8 w 159"/>
                <a:gd name="T41" fmla="*/ 4 h 521"/>
                <a:gd name="T42" fmla="*/ 11 w 159"/>
                <a:gd name="T43" fmla="*/ 3 h 521"/>
                <a:gd name="T44" fmla="*/ 15 w 159"/>
                <a:gd name="T45" fmla="*/ 1 h 521"/>
                <a:gd name="T46" fmla="*/ 20 w 159"/>
                <a:gd name="T47" fmla="*/ 0 h 521"/>
                <a:gd name="T48" fmla="*/ 139 w 159"/>
                <a:gd name="T49" fmla="*/ 0 h 521"/>
                <a:gd name="T50" fmla="*/ 144 w 159"/>
                <a:gd name="T51" fmla="*/ 1 h 521"/>
                <a:gd name="T52" fmla="*/ 147 w 159"/>
                <a:gd name="T53" fmla="*/ 3 h 521"/>
                <a:gd name="T54" fmla="*/ 150 w 159"/>
                <a:gd name="T55" fmla="*/ 4 h 521"/>
                <a:gd name="T56" fmla="*/ 154 w 159"/>
                <a:gd name="T57" fmla="*/ 6 h 521"/>
                <a:gd name="T58" fmla="*/ 156 w 159"/>
                <a:gd name="T59" fmla="*/ 10 h 521"/>
                <a:gd name="T60" fmla="*/ 157 w 159"/>
                <a:gd name="T61" fmla="*/ 13 h 521"/>
                <a:gd name="T62" fmla="*/ 159 w 159"/>
                <a:gd name="T63" fmla="*/ 16 h 521"/>
                <a:gd name="T64" fmla="*/ 159 w 159"/>
                <a:gd name="T65" fmla="*/ 21 h 521"/>
                <a:gd name="T66" fmla="*/ 159 w 159"/>
                <a:gd name="T67" fmla="*/ 501 h 521"/>
                <a:gd name="T68" fmla="*/ 159 w 159"/>
                <a:gd name="T69" fmla="*/ 505 h 521"/>
                <a:gd name="T70" fmla="*/ 157 w 159"/>
                <a:gd name="T71" fmla="*/ 508 h 521"/>
                <a:gd name="T72" fmla="*/ 156 w 159"/>
                <a:gd name="T73" fmla="*/ 512 h 521"/>
                <a:gd name="T74" fmla="*/ 154 w 159"/>
                <a:gd name="T75" fmla="*/ 515 h 521"/>
                <a:gd name="T76" fmla="*/ 150 w 159"/>
                <a:gd name="T77" fmla="*/ 517 h 521"/>
                <a:gd name="T78" fmla="*/ 147 w 159"/>
                <a:gd name="T79" fmla="*/ 519 h 521"/>
                <a:gd name="T80" fmla="*/ 144 w 159"/>
                <a:gd name="T81" fmla="*/ 521 h 521"/>
                <a:gd name="T82" fmla="*/ 139 w 159"/>
                <a:gd name="T8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521">
                  <a:moveTo>
                    <a:pt x="39" y="481"/>
                  </a:moveTo>
                  <a:lnTo>
                    <a:pt x="119" y="481"/>
                  </a:lnTo>
                  <a:lnTo>
                    <a:pt x="119" y="41"/>
                  </a:lnTo>
                  <a:lnTo>
                    <a:pt x="39" y="41"/>
                  </a:lnTo>
                  <a:lnTo>
                    <a:pt x="39" y="481"/>
                  </a:lnTo>
                  <a:close/>
                  <a:moveTo>
                    <a:pt x="139" y="521"/>
                  </a:moveTo>
                  <a:lnTo>
                    <a:pt x="20" y="521"/>
                  </a:lnTo>
                  <a:lnTo>
                    <a:pt x="15" y="521"/>
                  </a:lnTo>
                  <a:lnTo>
                    <a:pt x="11" y="519"/>
                  </a:lnTo>
                  <a:lnTo>
                    <a:pt x="8" y="517"/>
                  </a:lnTo>
                  <a:lnTo>
                    <a:pt x="5" y="515"/>
                  </a:lnTo>
                  <a:lnTo>
                    <a:pt x="2" y="512"/>
                  </a:lnTo>
                  <a:lnTo>
                    <a:pt x="1" y="508"/>
                  </a:lnTo>
                  <a:lnTo>
                    <a:pt x="0" y="505"/>
                  </a:lnTo>
                  <a:lnTo>
                    <a:pt x="0" y="501"/>
                  </a:lnTo>
                  <a:lnTo>
                    <a:pt x="0" y="21"/>
                  </a:lnTo>
                  <a:lnTo>
                    <a:pt x="0" y="16"/>
                  </a:lnTo>
                  <a:lnTo>
                    <a:pt x="1" y="13"/>
                  </a:lnTo>
                  <a:lnTo>
                    <a:pt x="2" y="10"/>
                  </a:lnTo>
                  <a:lnTo>
                    <a:pt x="5" y="6"/>
                  </a:lnTo>
                  <a:lnTo>
                    <a:pt x="8" y="4"/>
                  </a:lnTo>
                  <a:lnTo>
                    <a:pt x="11" y="3"/>
                  </a:lnTo>
                  <a:lnTo>
                    <a:pt x="15" y="1"/>
                  </a:lnTo>
                  <a:lnTo>
                    <a:pt x="20" y="0"/>
                  </a:lnTo>
                  <a:lnTo>
                    <a:pt x="139" y="0"/>
                  </a:lnTo>
                  <a:lnTo>
                    <a:pt x="144" y="1"/>
                  </a:lnTo>
                  <a:lnTo>
                    <a:pt x="147" y="3"/>
                  </a:lnTo>
                  <a:lnTo>
                    <a:pt x="150" y="4"/>
                  </a:lnTo>
                  <a:lnTo>
                    <a:pt x="154" y="6"/>
                  </a:lnTo>
                  <a:lnTo>
                    <a:pt x="156" y="10"/>
                  </a:lnTo>
                  <a:lnTo>
                    <a:pt x="157" y="13"/>
                  </a:lnTo>
                  <a:lnTo>
                    <a:pt x="159" y="16"/>
                  </a:lnTo>
                  <a:lnTo>
                    <a:pt x="159" y="21"/>
                  </a:lnTo>
                  <a:lnTo>
                    <a:pt x="159" y="501"/>
                  </a:lnTo>
                  <a:lnTo>
                    <a:pt x="159" y="505"/>
                  </a:lnTo>
                  <a:lnTo>
                    <a:pt x="157" y="508"/>
                  </a:lnTo>
                  <a:lnTo>
                    <a:pt x="156" y="512"/>
                  </a:lnTo>
                  <a:lnTo>
                    <a:pt x="154" y="515"/>
                  </a:lnTo>
                  <a:lnTo>
                    <a:pt x="150" y="517"/>
                  </a:lnTo>
                  <a:lnTo>
                    <a:pt x="147" y="519"/>
                  </a:lnTo>
                  <a:lnTo>
                    <a:pt x="144" y="521"/>
                  </a:lnTo>
                  <a:lnTo>
                    <a:pt x="139" y="5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chemeClr val="bg1"/>
                </a:solidFill>
                <a:latin typeface="Calibri"/>
              </a:endParaRPr>
            </a:p>
          </p:txBody>
        </p:sp>
      </p:grpSp>
      <p:grpSp>
        <p:nvGrpSpPr>
          <p:cNvPr id="776" name="Group 103">
            <a:extLst>
              <a:ext uri="{FF2B5EF4-FFF2-40B4-BE49-F238E27FC236}">
                <a16:creationId xmlns:a16="http://schemas.microsoft.com/office/drawing/2014/main" id="{1A099A4B-1C13-4FCA-8E44-B41B99EB2FEA}"/>
              </a:ext>
            </a:extLst>
          </p:cNvPr>
          <p:cNvGrpSpPr>
            <a:grpSpLocks noChangeAspect="1"/>
          </p:cNvGrpSpPr>
          <p:nvPr/>
        </p:nvGrpSpPr>
        <p:grpSpPr>
          <a:xfrm>
            <a:off x="5765612" y="5473301"/>
            <a:ext cx="338303" cy="195035"/>
            <a:chOff x="7335838" y="1962150"/>
            <a:chExt cx="892175" cy="514350"/>
          </a:xfrm>
          <a:solidFill>
            <a:schemeClr val="bg1"/>
          </a:solidFill>
          <a:effectLst/>
        </p:grpSpPr>
        <p:sp>
          <p:nvSpPr>
            <p:cNvPr id="777" name="Freeform 142">
              <a:extLst>
                <a:ext uri="{FF2B5EF4-FFF2-40B4-BE49-F238E27FC236}">
                  <a16:creationId xmlns:a16="http://schemas.microsoft.com/office/drawing/2014/main" id="{33FA594D-A5AC-4F0D-BEDD-4FB4DB8E58CE}"/>
                </a:ext>
              </a:extLst>
            </p:cNvPr>
            <p:cNvSpPr>
              <a:spLocks noEditPoints="1"/>
            </p:cNvSpPr>
            <p:nvPr/>
          </p:nvSpPr>
          <p:spPr bwMode="auto">
            <a:xfrm>
              <a:off x="7335838" y="1962150"/>
              <a:ext cx="892175" cy="514350"/>
            </a:xfrm>
            <a:custGeom>
              <a:avLst/>
              <a:gdLst>
                <a:gd name="T0" fmla="*/ 67 w 235"/>
                <a:gd name="T1" fmla="*/ 134 h 134"/>
                <a:gd name="T2" fmla="*/ 0 w 235"/>
                <a:gd name="T3" fmla="*/ 67 h 134"/>
                <a:gd name="T4" fmla="*/ 67 w 235"/>
                <a:gd name="T5" fmla="*/ 0 h 134"/>
                <a:gd name="T6" fmla="*/ 130 w 235"/>
                <a:gd name="T7" fmla="*/ 45 h 134"/>
                <a:gd name="T8" fmla="*/ 212 w 235"/>
                <a:gd name="T9" fmla="*/ 45 h 134"/>
                <a:gd name="T10" fmla="*/ 216 w 235"/>
                <a:gd name="T11" fmla="*/ 46 h 134"/>
                <a:gd name="T12" fmla="*/ 233 w 235"/>
                <a:gd name="T13" fmla="*/ 63 h 134"/>
                <a:gd name="T14" fmla="*/ 233 w 235"/>
                <a:gd name="T15" fmla="*/ 71 h 134"/>
                <a:gd name="T16" fmla="*/ 216 w 235"/>
                <a:gd name="T17" fmla="*/ 88 h 134"/>
                <a:gd name="T18" fmla="*/ 212 w 235"/>
                <a:gd name="T19" fmla="*/ 89 h 134"/>
                <a:gd name="T20" fmla="*/ 198 w 235"/>
                <a:gd name="T21" fmla="*/ 89 h 134"/>
                <a:gd name="T22" fmla="*/ 188 w 235"/>
                <a:gd name="T23" fmla="*/ 99 h 134"/>
                <a:gd name="T24" fmla="*/ 180 w 235"/>
                <a:gd name="T25" fmla="*/ 99 h 134"/>
                <a:gd name="T26" fmla="*/ 171 w 235"/>
                <a:gd name="T27" fmla="*/ 89 h 134"/>
                <a:gd name="T28" fmla="*/ 164 w 235"/>
                <a:gd name="T29" fmla="*/ 89 h 134"/>
                <a:gd name="T30" fmla="*/ 155 w 235"/>
                <a:gd name="T31" fmla="*/ 99 h 134"/>
                <a:gd name="T32" fmla="*/ 147 w 235"/>
                <a:gd name="T33" fmla="*/ 99 h 134"/>
                <a:gd name="T34" fmla="*/ 137 w 235"/>
                <a:gd name="T35" fmla="*/ 89 h 134"/>
                <a:gd name="T36" fmla="*/ 130 w 235"/>
                <a:gd name="T37" fmla="*/ 89 h 134"/>
                <a:gd name="T38" fmla="*/ 67 w 235"/>
                <a:gd name="T39" fmla="*/ 134 h 134"/>
                <a:gd name="T40" fmla="*/ 67 w 235"/>
                <a:gd name="T41" fmla="*/ 11 h 134"/>
                <a:gd name="T42" fmla="*/ 11 w 235"/>
                <a:gd name="T43" fmla="*/ 67 h 134"/>
                <a:gd name="T44" fmla="*/ 67 w 235"/>
                <a:gd name="T45" fmla="*/ 123 h 134"/>
                <a:gd name="T46" fmla="*/ 121 w 235"/>
                <a:gd name="T47" fmla="*/ 82 h 134"/>
                <a:gd name="T48" fmla="*/ 126 w 235"/>
                <a:gd name="T49" fmla="*/ 78 h 134"/>
                <a:gd name="T50" fmla="*/ 140 w 235"/>
                <a:gd name="T51" fmla="*/ 78 h 134"/>
                <a:gd name="T52" fmla="*/ 144 w 235"/>
                <a:gd name="T53" fmla="*/ 80 h 134"/>
                <a:gd name="T54" fmla="*/ 151 w 235"/>
                <a:gd name="T55" fmla="*/ 87 h 134"/>
                <a:gd name="T56" fmla="*/ 158 w 235"/>
                <a:gd name="T57" fmla="*/ 80 h 134"/>
                <a:gd name="T58" fmla="*/ 162 w 235"/>
                <a:gd name="T59" fmla="*/ 78 h 134"/>
                <a:gd name="T60" fmla="*/ 173 w 235"/>
                <a:gd name="T61" fmla="*/ 78 h 134"/>
                <a:gd name="T62" fmla="*/ 177 w 235"/>
                <a:gd name="T63" fmla="*/ 80 h 134"/>
                <a:gd name="T64" fmla="*/ 184 w 235"/>
                <a:gd name="T65" fmla="*/ 87 h 134"/>
                <a:gd name="T66" fmla="*/ 191 w 235"/>
                <a:gd name="T67" fmla="*/ 80 h 134"/>
                <a:gd name="T68" fmla="*/ 195 w 235"/>
                <a:gd name="T69" fmla="*/ 78 h 134"/>
                <a:gd name="T70" fmla="*/ 210 w 235"/>
                <a:gd name="T71" fmla="*/ 78 h 134"/>
                <a:gd name="T72" fmla="*/ 221 w 235"/>
                <a:gd name="T73" fmla="*/ 67 h 134"/>
                <a:gd name="T74" fmla="*/ 210 w 235"/>
                <a:gd name="T75" fmla="*/ 56 h 134"/>
                <a:gd name="T76" fmla="*/ 126 w 235"/>
                <a:gd name="T77" fmla="*/ 56 h 134"/>
                <a:gd name="T78" fmla="*/ 121 w 235"/>
                <a:gd name="T79" fmla="*/ 52 h 134"/>
                <a:gd name="T80" fmla="*/ 67 w 235"/>
                <a:gd name="T81" fmla="*/ 1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134">
                  <a:moveTo>
                    <a:pt x="67" y="134"/>
                  </a:moveTo>
                  <a:cubicBezTo>
                    <a:pt x="30" y="134"/>
                    <a:pt x="0" y="104"/>
                    <a:pt x="0" y="67"/>
                  </a:cubicBezTo>
                  <a:cubicBezTo>
                    <a:pt x="0" y="30"/>
                    <a:pt x="30" y="0"/>
                    <a:pt x="67" y="0"/>
                  </a:cubicBezTo>
                  <a:cubicBezTo>
                    <a:pt x="95" y="0"/>
                    <a:pt x="121" y="18"/>
                    <a:pt x="130" y="45"/>
                  </a:cubicBezTo>
                  <a:cubicBezTo>
                    <a:pt x="212" y="45"/>
                    <a:pt x="212" y="45"/>
                    <a:pt x="212" y="45"/>
                  </a:cubicBezTo>
                  <a:cubicBezTo>
                    <a:pt x="214" y="45"/>
                    <a:pt x="215" y="45"/>
                    <a:pt x="216" y="46"/>
                  </a:cubicBezTo>
                  <a:cubicBezTo>
                    <a:pt x="233" y="63"/>
                    <a:pt x="233" y="63"/>
                    <a:pt x="233" y="63"/>
                  </a:cubicBezTo>
                  <a:cubicBezTo>
                    <a:pt x="235" y="65"/>
                    <a:pt x="235" y="69"/>
                    <a:pt x="233" y="71"/>
                  </a:cubicBezTo>
                  <a:cubicBezTo>
                    <a:pt x="216" y="88"/>
                    <a:pt x="216" y="88"/>
                    <a:pt x="216" y="88"/>
                  </a:cubicBezTo>
                  <a:cubicBezTo>
                    <a:pt x="215" y="89"/>
                    <a:pt x="214" y="89"/>
                    <a:pt x="212" y="89"/>
                  </a:cubicBezTo>
                  <a:cubicBezTo>
                    <a:pt x="198" y="89"/>
                    <a:pt x="198" y="89"/>
                    <a:pt x="198" y="89"/>
                  </a:cubicBezTo>
                  <a:cubicBezTo>
                    <a:pt x="188" y="99"/>
                    <a:pt x="188" y="99"/>
                    <a:pt x="188" y="99"/>
                  </a:cubicBezTo>
                  <a:cubicBezTo>
                    <a:pt x="186" y="101"/>
                    <a:pt x="182" y="101"/>
                    <a:pt x="180" y="99"/>
                  </a:cubicBezTo>
                  <a:cubicBezTo>
                    <a:pt x="171" y="89"/>
                    <a:pt x="171" y="89"/>
                    <a:pt x="171" y="89"/>
                  </a:cubicBezTo>
                  <a:cubicBezTo>
                    <a:pt x="164" y="89"/>
                    <a:pt x="164" y="89"/>
                    <a:pt x="164" y="89"/>
                  </a:cubicBezTo>
                  <a:cubicBezTo>
                    <a:pt x="155" y="99"/>
                    <a:pt x="155" y="99"/>
                    <a:pt x="155" y="99"/>
                  </a:cubicBezTo>
                  <a:cubicBezTo>
                    <a:pt x="153" y="101"/>
                    <a:pt x="149" y="101"/>
                    <a:pt x="147" y="99"/>
                  </a:cubicBezTo>
                  <a:cubicBezTo>
                    <a:pt x="137" y="89"/>
                    <a:pt x="137" y="89"/>
                    <a:pt x="137" y="89"/>
                  </a:cubicBezTo>
                  <a:cubicBezTo>
                    <a:pt x="130" y="89"/>
                    <a:pt x="130" y="89"/>
                    <a:pt x="130" y="89"/>
                  </a:cubicBezTo>
                  <a:cubicBezTo>
                    <a:pt x="121" y="116"/>
                    <a:pt x="95" y="134"/>
                    <a:pt x="67" y="134"/>
                  </a:cubicBezTo>
                  <a:close/>
                  <a:moveTo>
                    <a:pt x="67" y="11"/>
                  </a:moveTo>
                  <a:cubicBezTo>
                    <a:pt x="36" y="11"/>
                    <a:pt x="11" y="36"/>
                    <a:pt x="11" y="67"/>
                  </a:cubicBezTo>
                  <a:cubicBezTo>
                    <a:pt x="11" y="98"/>
                    <a:pt x="36" y="123"/>
                    <a:pt x="67" y="123"/>
                  </a:cubicBezTo>
                  <a:cubicBezTo>
                    <a:pt x="92" y="123"/>
                    <a:pt x="114" y="106"/>
                    <a:pt x="121" y="82"/>
                  </a:cubicBezTo>
                  <a:cubicBezTo>
                    <a:pt x="121" y="80"/>
                    <a:pt x="124" y="78"/>
                    <a:pt x="126" y="78"/>
                  </a:cubicBezTo>
                  <a:cubicBezTo>
                    <a:pt x="140" y="78"/>
                    <a:pt x="140" y="78"/>
                    <a:pt x="140" y="78"/>
                  </a:cubicBezTo>
                  <a:cubicBezTo>
                    <a:pt x="141" y="78"/>
                    <a:pt x="142" y="79"/>
                    <a:pt x="144" y="80"/>
                  </a:cubicBezTo>
                  <a:cubicBezTo>
                    <a:pt x="151" y="87"/>
                    <a:pt x="151" y="87"/>
                    <a:pt x="151" y="87"/>
                  </a:cubicBezTo>
                  <a:cubicBezTo>
                    <a:pt x="158" y="80"/>
                    <a:pt x="158" y="80"/>
                    <a:pt x="158" y="80"/>
                  </a:cubicBezTo>
                  <a:cubicBezTo>
                    <a:pt x="159" y="79"/>
                    <a:pt x="160" y="78"/>
                    <a:pt x="162" y="78"/>
                  </a:cubicBezTo>
                  <a:cubicBezTo>
                    <a:pt x="173" y="78"/>
                    <a:pt x="173" y="78"/>
                    <a:pt x="173" y="78"/>
                  </a:cubicBezTo>
                  <a:cubicBezTo>
                    <a:pt x="175" y="78"/>
                    <a:pt x="176" y="79"/>
                    <a:pt x="177" y="80"/>
                  </a:cubicBezTo>
                  <a:cubicBezTo>
                    <a:pt x="184" y="87"/>
                    <a:pt x="184" y="87"/>
                    <a:pt x="184" y="87"/>
                  </a:cubicBezTo>
                  <a:cubicBezTo>
                    <a:pt x="191" y="80"/>
                    <a:pt x="191" y="80"/>
                    <a:pt x="191" y="80"/>
                  </a:cubicBezTo>
                  <a:cubicBezTo>
                    <a:pt x="193" y="79"/>
                    <a:pt x="194" y="78"/>
                    <a:pt x="195" y="78"/>
                  </a:cubicBezTo>
                  <a:cubicBezTo>
                    <a:pt x="210" y="78"/>
                    <a:pt x="210" y="78"/>
                    <a:pt x="210" y="78"/>
                  </a:cubicBezTo>
                  <a:cubicBezTo>
                    <a:pt x="221" y="67"/>
                    <a:pt x="221" y="67"/>
                    <a:pt x="221" y="67"/>
                  </a:cubicBezTo>
                  <a:cubicBezTo>
                    <a:pt x="210" y="56"/>
                    <a:pt x="210" y="56"/>
                    <a:pt x="210" y="56"/>
                  </a:cubicBezTo>
                  <a:cubicBezTo>
                    <a:pt x="126" y="56"/>
                    <a:pt x="126" y="56"/>
                    <a:pt x="126" y="56"/>
                  </a:cubicBezTo>
                  <a:cubicBezTo>
                    <a:pt x="124" y="56"/>
                    <a:pt x="121" y="54"/>
                    <a:pt x="121" y="52"/>
                  </a:cubicBezTo>
                  <a:cubicBezTo>
                    <a:pt x="114" y="28"/>
                    <a:pt x="92" y="11"/>
                    <a:pt x="6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778" name="Freeform 143">
              <a:extLst>
                <a:ext uri="{FF2B5EF4-FFF2-40B4-BE49-F238E27FC236}">
                  <a16:creationId xmlns:a16="http://schemas.microsoft.com/office/drawing/2014/main" id="{F51E51D0-0C1F-4BDA-B76D-210C8F723C35}"/>
                </a:ext>
              </a:extLst>
            </p:cNvPr>
            <p:cNvSpPr>
              <a:spLocks noEditPoints="1"/>
            </p:cNvSpPr>
            <p:nvPr/>
          </p:nvSpPr>
          <p:spPr bwMode="auto">
            <a:xfrm>
              <a:off x="7418388" y="2135188"/>
              <a:ext cx="171450" cy="168275"/>
            </a:xfrm>
            <a:custGeom>
              <a:avLst/>
              <a:gdLst>
                <a:gd name="T0" fmla="*/ 23 w 45"/>
                <a:gd name="T1" fmla="*/ 44 h 44"/>
                <a:gd name="T2" fmla="*/ 0 w 45"/>
                <a:gd name="T3" fmla="*/ 22 h 44"/>
                <a:gd name="T4" fmla="*/ 23 w 45"/>
                <a:gd name="T5" fmla="*/ 0 h 44"/>
                <a:gd name="T6" fmla="*/ 45 w 45"/>
                <a:gd name="T7" fmla="*/ 22 h 44"/>
                <a:gd name="T8" fmla="*/ 23 w 45"/>
                <a:gd name="T9" fmla="*/ 44 h 44"/>
                <a:gd name="T10" fmla="*/ 23 w 45"/>
                <a:gd name="T11" fmla="*/ 11 h 44"/>
                <a:gd name="T12" fmla="*/ 11 w 45"/>
                <a:gd name="T13" fmla="*/ 22 h 44"/>
                <a:gd name="T14" fmla="*/ 23 w 45"/>
                <a:gd name="T15" fmla="*/ 33 h 44"/>
                <a:gd name="T16" fmla="*/ 34 w 45"/>
                <a:gd name="T17" fmla="*/ 22 h 44"/>
                <a:gd name="T18" fmla="*/ 23 w 45"/>
                <a:gd name="T1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3" y="44"/>
                  </a:moveTo>
                  <a:cubicBezTo>
                    <a:pt x="10" y="44"/>
                    <a:pt x="0" y="34"/>
                    <a:pt x="0" y="22"/>
                  </a:cubicBezTo>
                  <a:cubicBezTo>
                    <a:pt x="0" y="10"/>
                    <a:pt x="10" y="0"/>
                    <a:pt x="23" y="0"/>
                  </a:cubicBezTo>
                  <a:cubicBezTo>
                    <a:pt x="35" y="0"/>
                    <a:pt x="45" y="10"/>
                    <a:pt x="45" y="22"/>
                  </a:cubicBezTo>
                  <a:cubicBezTo>
                    <a:pt x="45" y="34"/>
                    <a:pt x="35" y="44"/>
                    <a:pt x="23" y="44"/>
                  </a:cubicBezTo>
                  <a:close/>
                  <a:moveTo>
                    <a:pt x="23" y="11"/>
                  </a:moveTo>
                  <a:cubicBezTo>
                    <a:pt x="17" y="11"/>
                    <a:pt x="11" y="16"/>
                    <a:pt x="11" y="22"/>
                  </a:cubicBezTo>
                  <a:cubicBezTo>
                    <a:pt x="11" y="28"/>
                    <a:pt x="17" y="33"/>
                    <a:pt x="23" y="33"/>
                  </a:cubicBezTo>
                  <a:cubicBezTo>
                    <a:pt x="29" y="33"/>
                    <a:pt x="34" y="28"/>
                    <a:pt x="34" y="22"/>
                  </a:cubicBezTo>
                  <a:cubicBezTo>
                    <a:pt x="34" y="16"/>
                    <a:pt x="29" y="11"/>
                    <a:pt x="2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grpSp>
      <p:grpSp>
        <p:nvGrpSpPr>
          <p:cNvPr id="898" name="Group 87">
            <a:extLst>
              <a:ext uri="{FF2B5EF4-FFF2-40B4-BE49-F238E27FC236}">
                <a16:creationId xmlns:a16="http://schemas.microsoft.com/office/drawing/2014/main" id="{F6B9F785-9A11-45A4-86FB-84B004995D80}"/>
              </a:ext>
            </a:extLst>
          </p:cNvPr>
          <p:cNvGrpSpPr>
            <a:grpSpLocks noChangeAspect="1"/>
          </p:cNvGrpSpPr>
          <p:nvPr/>
        </p:nvGrpSpPr>
        <p:grpSpPr>
          <a:xfrm>
            <a:off x="6201192" y="5416746"/>
            <a:ext cx="256501" cy="308144"/>
            <a:chOff x="6496050" y="3059113"/>
            <a:chExt cx="236538" cy="284162"/>
          </a:xfrm>
          <a:solidFill>
            <a:schemeClr val="bg1"/>
          </a:solidFill>
          <a:effectLst/>
        </p:grpSpPr>
        <p:sp>
          <p:nvSpPr>
            <p:cNvPr id="899" name="Freeform 294">
              <a:extLst>
                <a:ext uri="{FF2B5EF4-FFF2-40B4-BE49-F238E27FC236}">
                  <a16:creationId xmlns:a16="http://schemas.microsoft.com/office/drawing/2014/main" id="{F866BAB9-25BB-4065-A5A9-04B085A68328}"/>
                </a:ext>
              </a:extLst>
            </p:cNvPr>
            <p:cNvSpPr>
              <a:spLocks noEditPoints="1"/>
            </p:cNvSpPr>
            <p:nvPr/>
          </p:nvSpPr>
          <p:spPr bwMode="auto">
            <a:xfrm>
              <a:off x="6546850" y="3130550"/>
              <a:ext cx="128588" cy="127000"/>
            </a:xfrm>
            <a:custGeom>
              <a:avLst/>
              <a:gdLst>
                <a:gd name="T0" fmla="*/ 271 w 404"/>
                <a:gd name="T1" fmla="*/ 229 h 401"/>
                <a:gd name="T2" fmla="*/ 269 w 404"/>
                <a:gd name="T3" fmla="*/ 238 h 401"/>
                <a:gd name="T4" fmla="*/ 312 w 404"/>
                <a:gd name="T5" fmla="*/ 348 h 401"/>
                <a:gd name="T6" fmla="*/ 214 w 404"/>
                <a:gd name="T7" fmla="*/ 284 h 401"/>
                <a:gd name="T8" fmla="*/ 205 w 404"/>
                <a:gd name="T9" fmla="*/ 284 h 401"/>
                <a:gd name="T10" fmla="*/ 106 w 404"/>
                <a:gd name="T11" fmla="*/ 348 h 401"/>
                <a:gd name="T12" fmla="*/ 150 w 404"/>
                <a:gd name="T13" fmla="*/ 238 h 401"/>
                <a:gd name="T14" fmla="*/ 146 w 404"/>
                <a:gd name="T15" fmla="*/ 229 h 401"/>
                <a:gd name="T16" fmla="*/ 60 w 404"/>
                <a:gd name="T17" fmla="*/ 163 h 401"/>
                <a:gd name="T18" fmla="*/ 169 w 404"/>
                <a:gd name="T19" fmla="*/ 162 h 401"/>
                <a:gd name="T20" fmla="*/ 176 w 404"/>
                <a:gd name="T21" fmla="*/ 157 h 401"/>
                <a:gd name="T22" fmla="*/ 209 w 404"/>
                <a:gd name="T23" fmla="*/ 61 h 401"/>
                <a:gd name="T24" fmla="*/ 242 w 404"/>
                <a:gd name="T25" fmla="*/ 157 h 401"/>
                <a:gd name="T26" fmla="*/ 249 w 404"/>
                <a:gd name="T27" fmla="*/ 162 h 401"/>
                <a:gd name="T28" fmla="*/ 348 w 404"/>
                <a:gd name="T29" fmla="*/ 163 h 401"/>
                <a:gd name="T30" fmla="*/ 389 w 404"/>
                <a:gd name="T31" fmla="*/ 133 h 401"/>
                <a:gd name="T32" fmla="*/ 224 w 404"/>
                <a:gd name="T33" fmla="*/ 10 h 401"/>
                <a:gd name="T34" fmla="*/ 219 w 404"/>
                <a:gd name="T35" fmla="*/ 3 h 401"/>
                <a:gd name="T36" fmla="*/ 209 w 404"/>
                <a:gd name="T37" fmla="*/ 0 h 401"/>
                <a:gd name="T38" fmla="*/ 209 w 404"/>
                <a:gd name="T39" fmla="*/ 0 h 401"/>
                <a:gd name="T40" fmla="*/ 201 w 404"/>
                <a:gd name="T41" fmla="*/ 3 h 401"/>
                <a:gd name="T42" fmla="*/ 196 w 404"/>
                <a:gd name="T43" fmla="*/ 10 h 401"/>
                <a:gd name="T44" fmla="*/ 15 w 404"/>
                <a:gd name="T45" fmla="*/ 133 h 401"/>
                <a:gd name="T46" fmla="*/ 6 w 404"/>
                <a:gd name="T47" fmla="*/ 135 h 401"/>
                <a:gd name="T48" fmla="*/ 1 w 404"/>
                <a:gd name="T49" fmla="*/ 143 h 401"/>
                <a:gd name="T50" fmla="*/ 1 w 404"/>
                <a:gd name="T51" fmla="*/ 152 h 401"/>
                <a:gd name="T52" fmla="*/ 6 w 404"/>
                <a:gd name="T53" fmla="*/ 160 h 401"/>
                <a:gd name="T54" fmla="*/ 61 w 404"/>
                <a:gd name="T55" fmla="*/ 381 h 401"/>
                <a:gd name="T56" fmla="*/ 60 w 404"/>
                <a:gd name="T57" fmla="*/ 391 h 401"/>
                <a:gd name="T58" fmla="*/ 65 w 404"/>
                <a:gd name="T59" fmla="*/ 398 h 401"/>
                <a:gd name="T60" fmla="*/ 74 w 404"/>
                <a:gd name="T61" fmla="*/ 401 h 401"/>
                <a:gd name="T62" fmla="*/ 83 w 404"/>
                <a:gd name="T63" fmla="*/ 399 h 401"/>
                <a:gd name="T64" fmla="*/ 336 w 404"/>
                <a:gd name="T65" fmla="*/ 399 h 401"/>
                <a:gd name="T66" fmla="*/ 344 w 404"/>
                <a:gd name="T67" fmla="*/ 401 h 401"/>
                <a:gd name="T68" fmla="*/ 353 w 404"/>
                <a:gd name="T69" fmla="*/ 398 h 401"/>
                <a:gd name="T70" fmla="*/ 358 w 404"/>
                <a:gd name="T71" fmla="*/ 391 h 401"/>
                <a:gd name="T72" fmla="*/ 358 w 404"/>
                <a:gd name="T73" fmla="*/ 381 h 401"/>
                <a:gd name="T74" fmla="*/ 399 w 404"/>
                <a:gd name="T75" fmla="*/ 159 h 401"/>
                <a:gd name="T76" fmla="*/ 403 w 404"/>
                <a:gd name="T77" fmla="*/ 151 h 401"/>
                <a:gd name="T78" fmla="*/ 403 w 404"/>
                <a:gd name="T79" fmla="*/ 143 h 401"/>
                <a:gd name="T80" fmla="*/ 398 w 404"/>
                <a:gd name="T81" fmla="*/ 135 h 401"/>
                <a:gd name="T82" fmla="*/ 389 w 404"/>
                <a:gd name="T83" fmla="*/ 133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4" h="401">
                  <a:moveTo>
                    <a:pt x="275" y="226"/>
                  </a:moveTo>
                  <a:lnTo>
                    <a:pt x="271" y="229"/>
                  </a:lnTo>
                  <a:lnTo>
                    <a:pt x="269" y="234"/>
                  </a:lnTo>
                  <a:lnTo>
                    <a:pt x="269" y="238"/>
                  </a:lnTo>
                  <a:lnTo>
                    <a:pt x="270" y="243"/>
                  </a:lnTo>
                  <a:lnTo>
                    <a:pt x="312" y="348"/>
                  </a:lnTo>
                  <a:lnTo>
                    <a:pt x="218" y="285"/>
                  </a:lnTo>
                  <a:lnTo>
                    <a:pt x="214" y="284"/>
                  </a:lnTo>
                  <a:lnTo>
                    <a:pt x="209" y="283"/>
                  </a:lnTo>
                  <a:lnTo>
                    <a:pt x="205" y="284"/>
                  </a:lnTo>
                  <a:lnTo>
                    <a:pt x="202" y="285"/>
                  </a:lnTo>
                  <a:lnTo>
                    <a:pt x="106" y="348"/>
                  </a:lnTo>
                  <a:lnTo>
                    <a:pt x="149" y="243"/>
                  </a:lnTo>
                  <a:lnTo>
                    <a:pt x="150" y="238"/>
                  </a:lnTo>
                  <a:lnTo>
                    <a:pt x="149" y="234"/>
                  </a:lnTo>
                  <a:lnTo>
                    <a:pt x="146" y="229"/>
                  </a:lnTo>
                  <a:lnTo>
                    <a:pt x="143" y="225"/>
                  </a:lnTo>
                  <a:lnTo>
                    <a:pt x="60" y="163"/>
                  </a:lnTo>
                  <a:lnTo>
                    <a:pt x="165" y="163"/>
                  </a:lnTo>
                  <a:lnTo>
                    <a:pt x="169" y="162"/>
                  </a:lnTo>
                  <a:lnTo>
                    <a:pt x="173" y="160"/>
                  </a:lnTo>
                  <a:lnTo>
                    <a:pt x="176" y="157"/>
                  </a:lnTo>
                  <a:lnTo>
                    <a:pt x="178" y="152"/>
                  </a:lnTo>
                  <a:lnTo>
                    <a:pt x="209" y="61"/>
                  </a:lnTo>
                  <a:lnTo>
                    <a:pt x="239" y="152"/>
                  </a:lnTo>
                  <a:lnTo>
                    <a:pt x="242" y="157"/>
                  </a:lnTo>
                  <a:lnTo>
                    <a:pt x="246" y="160"/>
                  </a:lnTo>
                  <a:lnTo>
                    <a:pt x="249" y="162"/>
                  </a:lnTo>
                  <a:lnTo>
                    <a:pt x="254" y="163"/>
                  </a:lnTo>
                  <a:lnTo>
                    <a:pt x="348" y="163"/>
                  </a:lnTo>
                  <a:lnTo>
                    <a:pt x="275" y="226"/>
                  </a:lnTo>
                  <a:close/>
                  <a:moveTo>
                    <a:pt x="389" y="133"/>
                  </a:moveTo>
                  <a:lnTo>
                    <a:pt x="265" y="133"/>
                  </a:lnTo>
                  <a:lnTo>
                    <a:pt x="224" y="10"/>
                  </a:lnTo>
                  <a:lnTo>
                    <a:pt x="222" y="6"/>
                  </a:lnTo>
                  <a:lnTo>
                    <a:pt x="219" y="3"/>
                  </a:lnTo>
                  <a:lnTo>
                    <a:pt x="215" y="0"/>
                  </a:lnTo>
                  <a:lnTo>
                    <a:pt x="209" y="0"/>
                  </a:lnTo>
                  <a:lnTo>
                    <a:pt x="209" y="0"/>
                  </a:lnTo>
                  <a:lnTo>
                    <a:pt x="209" y="0"/>
                  </a:lnTo>
                  <a:lnTo>
                    <a:pt x="205" y="0"/>
                  </a:lnTo>
                  <a:lnTo>
                    <a:pt x="201" y="3"/>
                  </a:lnTo>
                  <a:lnTo>
                    <a:pt x="198" y="6"/>
                  </a:lnTo>
                  <a:lnTo>
                    <a:pt x="196" y="10"/>
                  </a:lnTo>
                  <a:lnTo>
                    <a:pt x="154" y="133"/>
                  </a:lnTo>
                  <a:lnTo>
                    <a:pt x="15" y="133"/>
                  </a:lnTo>
                  <a:lnTo>
                    <a:pt x="11" y="133"/>
                  </a:lnTo>
                  <a:lnTo>
                    <a:pt x="6" y="135"/>
                  </a:lnTo>
                  <a:lnTo>
                    <a:pt x="3" y="138"/>
                  </a:lnTo>
                  <a:lnTo>
                    <a:pt x="1" y="143"/>
                  </a:lnTo>
                  <a:lnTo>
                    <a:pt x="0" y="148"/>
                  </a:lnTo>
                  <a:lnTo>
                    <a:pt x="1" y="152"/>
                  </a:lnTo>
                  <a:lnTo>
                    <a:pt x="3" y="157"/>
                  </a:lnTo>
                  <a:lnTo>
                    <a:pt x="6" y="160"/>
                  </a:lnTo>
                  <a:lnTo>
                    <a:pt x="116" y="242"/>
                  </a:lnTo>
                  <a:lnTo>
                    <a:pt x="61" y="381"/>
                  </a:lnTo>
                  <a:lnTo>
                    <a:pt x="60" y="385"/>
                  </a:lnTo>
                  <a:lnTo>
                    <a:pt x="60" y="391"/>
                  </a:lnTo>
                  <a:lnTo>
                    <a:pt x="62" y="395"/>
                  </a:lnTo>
                  <a:lnTo>
                    <a:pt x="65" y="398"/>
                  </a:lnTo>
                  <a:lnTo>
                    <a:pt x="69" y="400"/>
                  </a:lnTo>
                  <a:lnTo>
                    <a:pt x="74" y="401"/>
                  </a:lnTo>
                  <a:lnTo>
                    <a:pt x="79" y="401"/>
                  </a:lnTo>
                  <a:lnTo>
                    <a:pt x="83" y="399"/>
                  </a:lnTo>
                  <a:lnTo>
                    <a:pt x="209" y="316"/>
                  </a:lnTo>
                  <a:lnTo>
                    <a:pt x="336" y="399"/>
                  </a:lnTo>
                  <a:lnTo>
                    <a:pt x="340" y="401"/>
                  </a:lnTo>
                  <a:lnTo>
                    <a:pt x="344" y="401"/>
                  </a:lnTo>
                  <a:lnTo>
                    <a:pt x="348" y="401"/>
                  </a:lnTo>
                  <a:lnTo>
                    <a:pt x="353" y="398"/>
                  </a:lnTo>
                  <a:lnTo>
                    <a:pt x="356" y="395"/>
                  </a:lnTo>
                  <a:lnTo>
                    <a:pt x="358" y="391"/>
                  </a:lnTo>
                  <a:lnTo>
                    <a:pt x="359" y="387"/>
                  </a:lnTo>
                  <a:lnTo>
                    <a:pt x="358" y="381"/>
                  </a:lnTo>
                  <a:lnTo>
                    <a:pt x="301" y="242"/>
                  </a:lnTo>
                  <a:lnTo>
                    <a:pt x="399" y="159"/>
                  </a:lnTo>
                  <a:lnTo>
                    <a:pt x="401" y="156"/>
                  </a:lnTo>
                  <a:lnTo>
                    <a:pt x="403" y="151"/>
                  </a:lnTo>
                  <a:lnTo>
                    <a:pt x="404" y="147"/>
                  </a:lnTo>
                  <a:lnTo>
                    <a:pt x="403" y="143"/>
                  </a:lnTo>
                  <a:lnTo>
                    <a:pt x="401" y="138"/>
                  </a:lnTo>
                  <a:lnTo>
                    <a:pt x="398" y="135"/>
                  </a:lnTo>
                  <a:lnTo>
                    <a:pt x="393" y="133"/>
                  </a:lnTo>
                  <a:lnTo>
                    <a:pt x="389"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0" name="Freeform 295">
              <a:extLst>
                <a:ext uri="{FF2B5EF4-FFF2-40B4-BE49-F238E27FC236}">
                  <a16:creationId xmlns:a16="http://schemas.microsoft.com/office/drawing/2014/main" id="{B35121B2-31A7-4E27-B4DD-40575D49D752}"/>
                </a:ext>
              </a:extLst>
            </p:cNvPr>
            <p:cNvSpPr>
              <a:spLocks noEditPoints="1"/>
            </p:cNvSpPr>
            <p:nvPr/>
          </p:nvSpPr>
          <p:spPr bwMode="auto">
            <a:xfrm>
              <a:off x="6496050" y="3059113"/>
              <a:ext cx="236538" cy="284162"/>
            </a:xfrm>
            <a:custGeom>
              <a:avLst/>
              <a:gdLst>
                <a:gd name="T0" fmla="*/ 334 w 746"/>
                <a:gd name="T1" fmla="*/ 842 h 897"/>
                <a:gd name="T2" fmla="*/ 279 w 746"/>
                <a:gd name="T3" fmla="*/ 804 h 897"/>
                <a:gd name="T4" fmla="*/ 230 w 746"/>
                <a:gd name="T5" fmla="*/ 760 h 897"/>
                <a:gd name="T6" fmla="*/ 185 w 746"/>
                <a:gd name="T7" fmla="*/ 713 h 897"/>
                <a:gd name="T8" fmla="*/ 146 w 746"/>
                <a:gd name="T9" fmla="*/ 661 h 897"/>
                <a:gd name="T10" fmla="*/ 112 w 746"/>
                <a:gd name="T11" fmla="*/ 605 h 897"/>
                <a:gd name="T12" fmla="*/ 83 w 746"/>
                <a:gd name="T13" fmla="*/ 547 h 897"/>
                <a:gd name="T14" fmla="*/ 60 w 746"/>
                <a:gd name="T15" fmla="*/ 485 h 897"/>
                <a:gd name="T16" fmla="*/ 43 w 746"/>
                <a:gd name="T17" fmla="*/ 422 h 897"/>
                <a:gd name="T18" fmla="*/ 33 w 746"/>
                <a:gd name="T19" fmla="*/ 356 h 897"/>
                <a:gd name="T20" fmla="*/ 29 w 746"/>
                <a:gd name="T21" fmla="*/ 288 h 897"/>
                <a:gd name="T22" fmla="*/ 716 w 746"/>
                <a:gd name="T23" fmla="*/ 288 h 897"/>
                <a:gd name="T24" fmla="*/ 713 w 746"/>
                <a:gd name="T25" fmla="*/ 356 h 897"/>
                <a:gd name="T26" fmla="*/ 703 w 746"/>
                <a:gd name="T27" fmla="*/ 422 h 897"/>
                <a:gd name="T28" fmla="*/ 686 w 746"/>
                <a:gd name="T29" fmla="*/ 485 h 897"/>
                <a:gd name="T30" fmla="*/ 663 w 746"/>
                <a:gd name="T31" fmla="*/ 547 h 897"/>
                <a:gd name="T32" fmla="*/ 634 w 746"/>
                <a:gd name="T33" fmla="*/ 605 h 897"/>
                <a:gd name="T34" fmla="*/ 600 w 746"/>
                <a:gd name="T35" fmla="*/ 661 h 897"/>
                <a:gd name="T36" fmla="*/ 561 w 746"/>
                <a:gd name="T37" fmla="*/ 713 h 897"/>
                <a:gd name="T38" fmla="*/ 516 w 746"/>
                <a:gd name="T39" fmla="*/ 760 h 897"/>
                <a:gd name="T40" fmla="*/ 467 w 746"/>
                <a:gd name="T41" fmla="*/ 804 h 897"/>
                <a:gd name="T42" fmla="*/ 412 w 746"/>
                <a:gd name="T43" fmla="*/ 842 h 897"/>
                <a:gd name="T44" fmla="*/ 716 w 746"/>
                <a:gd name="T45" fmla="*/ 30 h 897"/>
                <a:gd name="T46" fmla="*/ 29 w 746"/>
                <a:gd name="T47" fmla="*/ 30 h 897"/>
                <a:gd name="T48" fmla="*/ 14 w 746"/>
                <a:gd name="T49" fmla="*/ 0 h 897"/>
                <a:gd name="T50" fmla="*/ 7 w 746"/>
                <a:gd name="T51" fmla="*/ 2 h 897"/>
                <a:gd name="T52" fmla="*/ 1 w 746"/>
                <a:gd name="T53" fmla="*/ 9 h 897"/>
                <a:gd name="T54" fmla="*/ 0 w 746"/>
                <a:gd name="T55" fmla="*/ 288 h 897"/>
                <a:gd name="T56" fmla="*/ 4 w 746"/>
                <a:gd name="T57" fmla="*/ 360 h 897"/>
                <a:gd name="T58" fmla="*/ 14 w 746"/>
                <a:gd name="T59" fmla="*/ 430 h 897"/>
                <a:gd name="T60" fmla="*/ 31 w 746"/>
                <a:gd name="T61" fmla="*/ 497 h 897"/>
                <a:gd name="T62" fmla="*/ 56 w 746"/>
                <a:gd name="T63" fmla="*/ 561 h 897"/>
                <a:gd name="T64" fmla="*/ 87 w 746"/>
                <a:gd name="T65" fmla="*/ 623 h 897"/>
                <a:gd name="T66" fmla="*/ 123 w 746"/>
                <a:gd name="T67" fmla="*/ 682 h 897"/>
                <a:gd name="T68" fmla="*/ 166 w 746"/>
                <a:gd name="T69" fmla="*/ 736 h 897"/>
                <a:gd name="T70" fmla="*/ 213 w 746"/>
                <a:gd name="T71" fmla="*/ 786 h 897"/>
                <a:gd name="T72" fmla="*/ 267 w 746"/>
                <a:gd name="T73" fmla="*/ 832 h 897"/>
                <a:gd name="T74" fmla="*/ 324 w 746"/>
                <a:gd name="T75" fmla="*/ 871 h 897"/>
                <a:gd name="T76" fmla="*/ 369 w 746"/>
                <a:gd name="T77" fmla="*/ 897 h 897"/>
                <a:gd name="T78" fmla="*/ 380 w 746"/>
                <a:gd name="T79" fmla="*/ 895 h 897"/>
                <a:gd name="T80" fmla="*/ 441 w 746"/>
                <a:gd name="T81" fmla="*/ 858 h 897"/>
                <a:gd name="T82" fmla="*/ 498 w 746"/>
                <a:gd name="T83" fmla="*/ 817 h 897"/>
                <a:gd name="T84" fmla="*/ 549 w 746"/>
                <a:gd name="T85" fmla="*/ 770 h 897"/>
                <a:gd name="T86" fmla="*/ 595 w 746"/>
                <a:gd name="T87" fmla="*/ 718 h 897"/>
                <a:gd name="T88" fmla="*/ 636 w 746"/>
                <a:gd name="T89" fmla="*/ 663 h 897"/>
                <a:gd name="T90" fmla="*/ 670 w 746"/>
                <a:gd name="T91" fmla="*/ 603 h 897"/>
                <a:gd name="T92" fmla="*/ 699 w 746"/>
                <a:gd name="T93" fmla="*/ 540 h 897"/>
                <a:gd name="T94" fmla="*/ 720 w 746"/>
                <a:gd name="T95" fmla="*/ 475 h 897"/>
                <a:gd name="T96" fmla="*/ 736 w 746"/>
                <a:gd name="T97" fmla="*/ 406 h 897"/>
                <a:gd name="T98" fmla="*/ 745 w 746"/>
                <a:gd name="T99" fmla="*/ 337 h 897"/>
                <a:gd name="T100" fmla="*/ 746 w 746"/>
                <a:gd name="T101" fmla="*/ 15 h 897"/>
                <a:gd name="T102" fmla="*/ 744 w 746"/>
                <a:gd name="T103" fmla="*/ 6 h 897"/>
                <a:gd name="T104" fmla="*/ 737 w 746"/>
                <a:gd name="T105" fmla="*/ 1 h 897"/>
                <a:gd name="T106" fmla="*/ 731 w 746"/>
                <a:gd name="T107" fmla="*/ 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6" h="897">
                  <a:moveTo>
                    <a:pt x="372" y="865"/>
                  </a:moveTo>
                  <a:lnTo>
                    <a:pt x="353" y="854"/>
                  </a:lnTo>
                  <a:lnTo>
                    <a:pt x="334" y="842"/>
                  </a:lnTo>
                  <a:lnTo>
                    <a:pt x="316" y="830"/>
                  </a:lnTo>
                  <a:lnTo>
                    <a:pt x="298" y="817"/>
                  </a:lnTo>
                  <a:lnTo>
                    <a:pt x="279" y="804"/>
                  </a:lnTo>
                  <a:lnTo>
                    <a:pt x="262" y="790"/>
                  </a:lnTo>
                  <a:lnTo>
                    <a:pt x="246" y="775"/>
                  </a:lnTo>
                  <a:lnTo>
                    <a:pt x="230" y="760"/>
                  </a:lnTo>
                  <a:lnTo>
                    <a:pt x="214" y="745"/>
                  </a:lnTo>
                  <a:lnTo>
                    <a:pt x="199" y="729"/>
                  </a:lnTo>
                  <a:lnTo>
                    <a:pt x="185" y="713"/>
                  </a:lnTo>
                  <a:lnTo>
                    <a:pt x="171" y="696"/>
                  </a:lnTo>
                  <a:lnTo>
                    <a:pt x="158" y="679"/>
                  </a:lnTo>
                  <a:lnTo>
                    <a:pt x="146" y="661"/>
                  </a:lnTo>
                  <a:lnTo>
                    <a:pt x="133" y="642"/>
                  </a:lnTo>
                  <a:lnTo>
                    <a:pt x="122" y="624"/>
                  </a:lnTo>
                  <a:lnTo>
                    <a:pt x="112" y="605"/>
                  </a:lnTo>
                  <a:lnTo>
                    <a:pt x="101" y="587"/>
                  </a:lnTo>
                  <a:lnTo>
                    <a:pt x="91" y="567"/>
                  </a:lnTo>
                  <a:lnTo>
                    <a:pt x="83" y="547"/>
                  </a:lnTo>
                  <a:lnTo>
                    <a:pt x="74" y="527"/>
                  </a:lnTo>
                  <a:lnTo>
                    <a:pt x="67" y="507"/>
                  </a:lnTo>
                  <a:lnTo>
                    <a:pt x="60" y="485"/>
                  </a:lnTo>
                  <a:lnTo>
                    <a:pt x="54" y="465"/>
                  </a:lnTo>
                  <a:lnTo>
                    <a:pt x="48" y="444"/>
                  </a:lnTo>
                  <a:lnTo>
                    <a:pt x="43" y="422"/>
                  </a:lnTo>
                  <a:lnTo>
                    <a:pt x="39" y="400"/>
                  </a:lnTo>
                  <a:lnTo>
                    <a:pt x="36" y="378"/>
                  </a:lnTo>
                  <a:lnTo>
                    <a:pt x="33" y="356"/>
                  </a:lnTo>
                  <a:lnTo>
                    <a:pt x="31" y="333"/>
                  </a:lnTo>
                  <a:lnTo>
                    <a:pt x="30" y="311"/>
                  </a:lnTo>
                  <a:lnTo>
                    <a:pt x="29" y="288"/>
                  </a:lnTo>
                  <a:lnTo>
                    <a:pt x="29" y="149"/>
                  </a:lnTo>
                  <a:lnTo>
                    <a:pt x="716" y="149"/>
                  </a:lnTo>
                  <a:lnTo>
                    <a:pt x="716" y="288"/>
                  </a:lnTo>
                  <a:lnTo>
                    <a:pt x="716" y="311"/>
                  </a:lnTo>
                  <a:lnTo>
                    <a:pt x="715" y="333"/>
                  </a:lnTo>
                  <a:lnTo>
                    <a:pt x="713" y="356"/>
                  </a:lnTo>
                  <a:lnTo>
                    <a:pt x="710" y="378"/>
                  </a:lnTo>
                  <a:lnTo>
                    <a:pt x="707" y="400"/>
                  </a:lnTo>
                  <a:lnTo>
                    <a:pt x="703" y="422"/>
                  </a:lnTo>
                  <a:lnTo>
                    <a:pt x="698" y="444"/>
                  </a:lnTo>
                  <a:lnTo>
                    <a:pt x="692" y="465"/>
                  </a:lnTo>
                  <a:lnTo>
                    <a:pt x="686" y="485"/>
                  </a:lnTo>
                  <a:lnTo>
                    <a:pt x="679" y="507"/>
                  </a:lnTo>
                  <a:lnTo>
                    <a:pt x="672" y="527"/>
                  </a:lnTo>
                  <a:lnTo>
                    <a:pt x="663" y="547"/>
                  </a:lnTo>
                  <a:lnTo>
                    <a:pt x="655" y="567"/>
                  </a:lnTo>
                  <a:lnTo>
                    <a:pt x="645" y="587"/>
                  </a:lnTo>
                  <a:lnTo>
                    <a:pt x="634" y="605"/>
                  </a:lnTo>
                  <a:lnTo>
                    <a:pt x="624" y="624"/>
                  </a:lnTo>
                  <a:lnTo>
                    <a:pt x="612" y="642"/>
                  </a:lnTo>
                  <a:lnTo>
                    <a:pt x="600" y="661"/>
                  </a:lnTo>
                  <a:lnTo>
                    <a:pt x="587" y="679"/>
                  </a:lnTo>
                  <a:lnTo>
                    <a:pt x="575" y="696"/>
                  </a:lnTo>
                  <a:lnTo>
                    <a:pt x="561" y="713"/>
                  </a:lnTo>
                  <a:lnTo>
                    <a:pt x="547" y="729"/>
                  </a:lnTo>
                  <a:lnTo>
                    <a:pt x="532" y="745"/>
                  </a:lnTo>
                  <a:lnTo>
                    <a:pt x="516" y="760"/>
                  </a:lnTo>
                  <a:lnTo>
                    <a:pt x="500" y="775"/>
                  </a:lnTo>
                  <a:lnTo>
                    <a:pt x="484" y="790"/>
                  </a:lnTo>
                  <a:lnTo>
                    <a:pt x="467" y="804"/>
                  </a:lnTo>
                  <a:lnTo>
                    <a:pt x="448" y="817"/>
                  </a:lnTo>
                  <a:lnTo>
                    <a:pt x="430" y="830"/>
                  </a:lnTo>
                  <a:lnTo>
                    <a:pt x="412" y="842"/>
                  </a:lnTo>
                  <a:lnTo>
                    <a:pt x="393" y="854"/>
                  </a:lnTo>
                  <a:lnTo>
                    <a:pt x="372" y="865"/>
                  </a:lnTo>
                  <a:close/>
                  <a:moveTo>
                    <a:pt x="716" y="30"/>
                  </a:moveTo>
                  <a:lnTo>
                    <a:pt x="716" y="119"/>
                  </a:lnTo>
                  <a:lnTo>
                    <a:pt x="29" y="119"/>
                  </a:lnTo>
                  <a:lnTo>
                    <a:pt x="29" y="30"/>
                  </a:lnTo>
                  <a:lnTo>
                    <a:pt x="716" y="30"/>
                  </a:lnTo>
                  <a:close/>
                  <a:moveTo>
                    <a:pt x="731" y="0"/>
                  </a:moveTo>
                  <a:lnTo>
                    <a:pt x="14" y="0"/>
                  </a:lnTo>
                  <a:lnTo>
                    <a:pt x="12" y="0"/>
                  </a:lnTo>
                  <a:lnTo>
                    <a:pt x="9" y="1"/>
                  </a:lnTo>
                  <a:lnTo>
                    <a:pt x="7" y="2"/>
                  </a:lnTo>
                  <a:lnTo>
                    <a:pt x="5" y="4"/>
                  </a:lnTo>
                  <a:lnTo>
                    <a:pt x="2" y="6"/>
                  </a:lnTo>
                  <a:lnTo>
                    <a:pt x="1" y="9"/>
                  </a:lnTo>
                  <a:lnTo>
                    <a:pt x="0" y="11"/>
                  </a:lnTo>
                  <a:lnTo>
                    <a:pt x="0" y="15"/>
                  </a:lnTo>
                  <a:lnTo>
                    <a:pt x="0" y="288"/>
                  </a:lnTo>
                  <a:lnTo>
                    <a:pt x="0" y="313"/>
                  </a:lnTo>
                  <a:lnTo>
                    <a:pt x="1" y="337"/>
                  </a:lnTo>
                  <a:lnTo>
                    <a:pt x="4" y="360"/>
                  </a:lnTo>
                  <a:lnTo>
                    <a:pt x="7" y="384"/>
                  </a:lnTo>
                  <a:lnTo>
                    <a:pt x="10" y="406"/>
                  </a:lnTo>
                  <a:lnTo>
                    <a:pt x="14" y="430"/>
                  </a:lnTo>
                  <a:lnTo>
                    <a:pt x="20" y="452"/>
                  </a:lnTo>
                  <a:lnTo>
                    <a:pt x="25" y="475"/>
                  </a:lnTo>
                  <a:lnTo>
                    <a:pt x="31" y="497"/>
                  </a:lnTo>
                  <a:lnTo>
                    <a:pt x="39" y="518"/>
                  </a:lnTo>
                  <a:lnTo>
                    <a:pt x="47" y="540"/>
                  </a:lnTo>
                  <a:lnTo>
                    <a:pt x="56" y="561"/>
                  </a:lnTo>
                  <a:lnTo>
                    <a:pt x="66" y="583"/>
                  </a:lnTo>
                  <a:lnTo>
                    <a:pt x="76" y="603"/>
                  </a:lnTo>
                  <a:lnTo>
                    <a:pt x="87" y="623"/>
                  </a:lnTo>
                  <a:lnTo>
                    <a:pt x="98" y="644"/>
                  </a:lnTo>
                  <a:lnTo>
                    <a:pt x="110" y="663"/>
                  </a:lnTo>
                  <a:lnTo>
                    <a:pt x="123" y="682"/>
                  </a:lnTo>
                  <a:lnTo>
                    <a:pt x="137" y="700"/>
                  </a:lnTo>
                  <a:lnTo>
                    <a:pt x="151" y="718"/>
                  </a:lnTo>
                  <a:lnTo>
                    <a:pt x="166" y="736"/>
                  </a:lnTo>
                  <a:lnTo>
                    <a:pt x="181" y="754"/>
                  </a:lnTo>
                  <a:lnTo>
                    <a:pt x="197" y="770"/>
                  </a:lnTo>
                  <a:lnTo>
                    <a:pt x="213" y="786"/>
                  </a:lnTo>
                  <a:lnTo>
                    <a:pt x="230" y="802"/>
                  </a:lnTo>
                  <a:lnTo>
                    <a:pt x="248" y="817"/>
                  </a:lnTo>
                  <a:lnTo>
                    <a:pt x="267" y="832"/>
                  </a:lnTo>
                  <a:lnTo>
                    <a:pt x="286" y="846"/>
                  </a:lnTo>
                  <a:lnTo>
                    <a:pt x="305" y="858"/>
                  </a:lnTo>
                  <a:lnTo>
                    <a:pt x="324" y="871"/>
                  </a:lnTo>
                  <a:lnTo>
                    <a:pt x="345" y="884"/>
                  </a:lnTo>
                  <a:lnTo>
                    <a:pt x="366" y="895"/>
                  </a:lnTo>
                  <a:lnTo>
                    <a:pt x="369" y="897"/>
                  </a:lnTo>
                  <a:lnTo>
                    <a:pt x="372" y="897"/>
                  </a:lnTo>
                  <a:lnTo>
                    <a:pt x="377" y="897"/>
                  </a:lnTo>
                  <a:lnTo>
                    <a:pt x="380" y="895"/>
                  </a:lnTo>
                  <a:lnTo>
                    <a:pt x="400" y="884"/>
                  </a:lnTo>
                  <a:lnTo>
                    <a:pt x="422" y="871"/>
                  </a:lnTo>
                  <a:lnTo>
                    <a:pt x="441" y="858"/>
                  </a:lnTo>
                  <a:lnTo>
                    <a:pt x="460" y="846"/>
                  </a:lnTo>
                  <a:lnTo>
                    <a:pt x="479" y="832"/>
                  </a:lnTo>
                  <a:lnTo>
                    <a:pt x="498" y="817"/>
                  </a:lnTo>
                  <a:lnTo>
                    <a:pt x="515" y="802"/>
                  </a:lnTo>
                  <a:lnTo>
                    <a:pt x="532" y="786"/>
                  </a:lnTo>
                  <a:lnTo>
                    <a:pt x="549" y="770"/>
                  </a:lnTo>
                  <a:lnTo>
                    <a:pt x="565" y="754"/>
                  </a:lnTo>
                  <a:lnTo>
                    <a:pt x="580" y="737"/>
                  </a:lnTo>
                  <a:lnTo>
                    <a:pt x="595" y="718"/>
                  </a:lnTo>
                  <a:lnTo>
                    <a:pt x="609" y="700"/>
                  </a:lnTo>
                  <a:lnTo>
                    <a:pt x="623" y="682"/>
                  </a:lnTo>
                  <a:lnTo>
                    <a:pt x="636" y="663"/>
                  </a:lnTo>
                  <a:lnTo>
                    <a:pt x="647" y="644"/>
                  </a:lnTo>
                  <a:lnTo>
                    <a:pt x="659" y="623"/>
                  </a:lnTo>
                  <a:lnTo>
                    <a:pt x="670" y="603"/>
                  </a:lnTo>
                  <a:lnTo>
                    <a:pt x="680" y="583"/>
                  </a:lnTo>
                  <a:lnTo>
                    <a:pt x="690" y="561"/>
                  </a:lnTo>
                  <a:lnTo>
                    <a:pt x="699" y="540"/>
                  </a:lnTo>
                  <a:lnTo>
                    <a:pt x="706" y="518"/>
                  </a:lnTo>
                  <a:lnTo>
                    <a:pt x="714" y="497"/>
                  </a:lnTo>
                  <a:lnTo>
                    <a:pt x="720" y="475"/>
                  </a:lnTo>
                  <a:lnTo>
                    <a:pt x="726" y="452"/>
                  </a:lnTo>
                  <a:lnTo>
                    <a:pt x="732" y="430"/>
                  </a:lnTo>
                  <a:lnTo>
                    <a:pt x="736" y="406"/>
                  </a:lnTo>
                  <a:lnTo>
                    <a:pt x="739" y="384"/>
                  </a:lnTo>
                  <a:lnTo>
                    <a:pt x="742" y="360"/>
                  </a:lnTo>
                  <a:lnTo>
                    <a:pt x="745" y="337"/>
                  </a:lnTo>
                  <a:lnTo>
                    <a:pt x="746" y="313"/>
                  </a:lnTo>
                  <a:lnTo>
                    <a:pt x="746" y="288"/>
                  </a:lnTo>
                  <a:lnTo>
                    <a:pt x="746" y="15"/>
                  </a:lnTo>
                  <a:lnTo>
                    <a:pt x="746" y="11"/>
                  </a:lnTo>
                  <a:lnTo>
                    <a:pt x="745" y="9"/>
                  </a:lnTo>
                  <a:lnTo>
                    <a:pt x="744" y="6"/>
                  </a:lnTo>
                  <a:lnTo>
                    <a:pt x="741" y="4"/>
                  </a:lnTo>
                  <a:lnTo>
                    <a:pt x="739" y="3"/>
                  </a:lnTo>
                  <a:lnTo>
                    <a:pt x="737" y="1"/>
                  </a:lnTo>
                  <a:lnTo>
                    <a:pt x="734" y="0"/>
                  </a:lnTo>
                  <a:lnTo>
                    <a:pt x="731" y="0"/>
                  </a:lnTo>
                  <a:lnTo>
                    <a:pt x="7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21" name="Group 15">
            <a:extLst>
              <a:ext uri="{FF2B5EF4-FFF2-40B4-BE49-F238E27FC236}">
                <a16:creationId xmlns:a16="http://schemas.microsoft.com/office/drawing/2014/main" id="{9A2A8F3B-023D-403E-A9A9-0E4C5BC98644}"/>
              </a:ext>
            </a:extLst>
          </p:cNvPr>
          <p:cNvGrpSpPr>
            <a:grpSpLocks noChangeAspect="1"/>
          </p:cNvGrpSpPr>
          <p:nvPr/>
        </p:nvGrpSpPr>
        <p:grpSpPr>
          <a:xfrm>
            <a:off x="671400" y="2724897"/>
            <a:ext cx="307606" cy="305545"/>
            <a:chOff x="5507038" y="2324101"/>
            <a:chExt cx="711200" cy="706438"/>
          </a:xfrm>
          <a:solidFill>
            <a:schemeClr val="bg1"/>
          </a:solidFill>
          <a:effectLst/>
        </p:grpSpPr>
        <p:sp>
          <p:nvSpPr>
            <p:cNvPr id="322" name="Freeform 23">
              <a:extLst>
                <a:ext uri="{FF2B5EF4-FFF2-40B4-BE49-F238E27FC236}">
                  <a16:creationId xmlns:a16="http://schemas.microsoft.com/office/drawing/2014/main" id="{593BD56F-656E-4DCC-835B-4D91F6F65F07}"/>
                </a:ext>
              </a:extLst>
            </p:cNvPr>
            <p:cNvSpPr>
              <a:spLocks/>
            </p:cNvSpPr>
            <p:nvPr/>
          </p:nvSpPr>
          <p:spPr bwMode="auto">
            <a:xfrm>
              <a:off x="5575300" y="2374901"/>
              <a:ext cx="250825" cy="176213"/>
            </a:xfrm>
            <a:custGeom>
              <a:avLst/>
              <a:gdLst>
                <a:gd name="T0" fmla="*/ 758 w 790"/>
                <a:gd name="T1" fmla="*/ 78 h 559"/>
                <a:gd name="T2" fmla="*/ 772 w 790"/>
                <a:gd name="T3" fmla="*/ 72 h 559"/>
                <a:gd name="T4" fmla="*/ 783 w 790"/>
                <a:gd name="T5" fmla="*/ 61 h 559"/>
                <a:gd name="T6" fmla="*/ 789 w 790"/>
                <a:gd name="T7" fmla="*/ 48 h 559"/>
                <a:gd name="T8" fmla="*/ 789 w 790"/>
                <a:gd name="T9" fmla="*/ 31 h 559"/>
                <a:gd name="T10" fmla="*/ 783 w 790"/>
                <a:gd name="T11" fmla="*/ 18 h 559"/>
                <a:gd name="T12" fmla="*/ 772 w 790"/>
                <a:gd name="T13" fmla="*/ 6 h 559"/>
                <a:gd name="T14" fmla="*/ 758 w 790"/>
                <a:gd name="T15" fmla="*/ 0 h 559"/>
                <a:gd name="T16" fmla="*/ 749 w 790"/>
                <a:gd name="T17" fmla="*/ 0 h 559"/>
                <a:gd name="T18" fmla="*/ 689 w 790"/>
                <a:gd name="T19" fmla="*/ 2 h 559"/>
                <a:gd name="T20" fmla="*/ 627 w 790"/>
                <a:gd name="T21" fmla="*/ 9 h 559"/>
                <a:gd name="T22" fmla="*/ 569 w 790"/>
                <a:gd name="T23" fmla="*/ 20 h 559"/>
                <a:gd name="T24" fmla="*/ 511 w 790"/>
                <a:gd name="T25" fmla="*/ 36 h 559"/>
                <a:gd name="T26" fmla="*/ 455 w 790"/>
                <a:gd name="T27" fmla="*/ 55 h 559"/>
                <a:gd name="T28" fmla="*/ 400 w 790"/>
                <a:gd name="T29" fmla="*/ 78 h 559"/>
                <a:gd name="T30" fmla="*/ 349 w 790"/>
                <a:gd name="T31" fmla="*/ 106 h 559"/>
                <a:gd name="T32" fmla="*/ 298 w 790"/>
                <a:gd name="T33" fmla="*/ 137 h 559"/>
                <a:gd name="T34" fmla="*/ 251 w 790"/>
                <a:gd name="T35" fmla="*/ 172 h 559"/>
                <a:gd name="T36" fmla="*/ 207 w 790"/>
                <a:gd name="T37" fmla="*/ 210 h 559"/>
                <a:gd name="T38" fmla="*/ 164 w 790"/>
                <a:gd name="T39" fmla="*/ 252 h 559"/>
                <a:gd name="T40" fmla="*/ 125 w 790"/>
                <a:gd name="T41" fmla="*/ 296 h 559"/>
                <a:gd name="T42" fmla="*/ 89 w 790"/>
                <a:gd name="T43" fmla="*/ 344 h 559"/>
                <a:gd name="T44" fmla="*/ 57 w 790"/>
                <a:gd name="T45" fmla="*/ 395 h 559"/>
                <a:gd name="T46" fmla="*/ 28 w 790"/>
                <a:gd name="T47" fmla="*/ 449 h 559"/>
                <a:gd name="T48" fmla="*/ 3 w 790"/>
                <a:gd name="T49" fmla="*/ 505 h 559"/>
                <a:gd name="T50" fmla="*/ 0 w 790"/>
                <a:gd name="T51" fmla="*/ 520 h 559"/>
                <a:gd name="T52" fmla="*/ 3 w 790"/>
                <a:gd name="T53" fmla="*/ 535 h 559"/>
                <a:gd name="T54" fmla="*/ 12 w 790"/>
                <a:gd name="T55" fmla="*/ 548 h 559"/>
                <a:gd name="T56" fmla="*/ 24 w 790"/>
                <a:gd name="T57" fmla="*/ 556 h 559"/>
                <a:gd name="T58" fmla="*/ 40 w 790"/>
                <a:gd name="T59" fmla="*/ 559 h 559"/>
                <a:gd name="T60" fmla="*/ 51 w 790"/>
                <a:gd name="T61" fmla="*/ 557 h 559"/>
                <a:gd name="T62" fmla="*/ 61 w 790"/>
                <a:gd name="T63" fmla="*/ 553 h 559"/>
                <a:gd name="T64" fmla="*/ 70 w 790"/>
                <a:gd name="T65" fmla="*/ 545 h 559"/>
                <a:gd name="T66" fmla="*/ 77 w 790"/>
                <a:gd name="T67" fmla="*/ 535 h 559"/>
                <a:gd name="T68" fmla="*/ 99 w 790"/>
                <a:gd name="T69" fmla="*/ 483 h 559"/>
                <a:gd name="T70" fmla="*/ 125 w 790"/>
                <a:gd name="T71" fmla="*/ 435 h 559"/>
                <a:gd name="T72" fmla="*/ 155 w 790"/>
                <a:gd name="T73" fmla="*/ 389 h 559"/>
                <a:gd name="T74" fmla="*/ 187 w 790"/>
                <a:gd name="T75" fmla="*/ 347 h 559"/>
                <a:gd name="T76" fmla="*/ 222 w 790"/>
                <a:gd name="T77" fmla="*/ 306 h 559"/>
                <a:gd name="T78" fmla="*/ 260 w 790"/>
                <a:gd name="T79" fmla="*/ 269 h 559"/>
                <a:gd name="T80" fmla="*/ 301 w 790"/>
                <a:gd name="T81" fmla="*/ 235 h 559"/>
                <a:gd name="T82" fmla="*/ 343 w 790"/>
                <a:gd name="T83" fmla="*/ 203 h 559"/>
                <a:gd name="T84" fmla="*/ 388 w 790"/>
                <a:gd name="T85" fmla="*/ 175 h 559"/>
                <a:gd name="T86" fmla="*/ 435 w 790"/>
                <a:gd name="T87" fmla="*/ 151 h 559"/>
                <a:gd name="T88" fmla="*/ 484 w 790"/>
                <a:gd name="T89" fmla="*/ 130 h 559"/>
                <a:gd name="T90" fmla="*/ 535 w 790"/>
                <a:gd name="T91" fmla="*/ 112 h 559"/>
                <a:gd name="T92" fmla="*/ 587 w 790"/>
                <a:gd name="T93" fmla="*/ 98 h 559"/>
                <a:gd name="T94" fmla="*/ 640 w 790"/>
                <a:gd name="T95" fmla="*/ 88 h 559"/>
                <a:gd name="T96" fmla="*/ 695 w 790"/>
                <a:gd name="T97" fmla="*/ 81 h 559"/>
                <a:gd name="T98" fmla="*/ 749 w 790"/>
                <a:gd name="T99" fmla="*/ 7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0" h="559">
                  <a:moveTo>
                    <a:pt x="749" y="79"/>
                  </a:moveTo>
                  <a:lnTo>
                    <a:pt x="758" y="78"/>
                  </a:lnTo>
                  <a:lnTo>
                    <a:pt x="765" y="76"/>
                  </a:lnTo>
                  <a:lnTo>
                    <a:pt x="772" y="72"/>
                  </a:lnTo>
                  <a:lnTo>
                    <a:pt x="779" y="68"/>
                  </a:lnTo>
                  <a:lnTo>
                    <a:pt x="783" y="61"/>
                  </a:lnTo>
                  <a:lnTo>
                    <a:pt x="786" y="55"/>
                  </a:lnTo>
                  <a:lnTo>
                    <a:pt x="789" y="48"/>
                  </a:lnTo>
                  <a:lnTo>
                    <a:pt x="790" y="39"/>
                  </a:lnTo>
                  <a:lnTo>
                    <a:pt x="789" y="31"/>
                  </a:lnTo>
                  <a:lnTo>
                    <a:pt x="786" y="24"/>
                  </a:lnTo>
                  <a:lnTo>
                    <a:pt x="783" y="18"/>
                  </a:lnTo>
                  <a:lnTo>
                    <a:pt x="779" y="11"/>
                  </a:lnTo>
                  <a:lnTo>
                    <a:pt x="772" y="6"/>
                  </a:lnTo>
                  <a:lnTo>
                    <a:pt x="765" y="3"/>
                  </a:lnTo>
                  <a:lnTo>
                    <a:pt x="758" y="0"/>
                  </a:lnTo>
                  <a:lnTo>
                    <a:pt x="749" y="0"/>
                  </a:lnTo>
                  <a:lnTo>
                    <a:pt x="749" y="0"/>
                  </a:lnTo>
                  <a:lnTo>
                    <a:pt x="719" y="0"/>
                  </a:lnTo>
                  <a:lnTo>
                    <a:pt x="689" y="2"/>
                  </a:lnTo>
                  <a:lnTo>
                    <a:pt x="658" y="4"/>
                  </a:lnTo>
                  <a:lnTo>
                    <a:pt x="627" y="9"/>
                  </a:lnTo>
                  <a:lnTo>
                    <a:pt x="598" y="13"/>
                  </a:lnTo>
                  <a:lnTo>
                    <a:pt x="569" y="20"/>
                  </a:lnTo>
                  <a:lnTo>
                    <a:pt x="540" y="27"/>
                  </a:lnTo>
                  <a:lnTo>
                    <a:pt x="511" y="36"/>
                  </a:lnTo>
                  <a:lnTo>
                    <a:pt x="483" y="44"/>
                  </a:lnTo>
                  <a:lnTo>
                    <a:pt x="455" y="55"/>
                  </a:lnTo>
                  <a:lnTo>
                    <a:pt x="427" y="66"/>
                  </a:lnTo>
                  <a:lnTo>
                    <a:pt x="400" y="78"/>
                  </a:lnTo>
                  <a:lnTo>
                    <a:pt x="375" y="91"/>
                  </a:lnTo>
                  <a:lnTo>
                    <a:pt x="349" y="106"/>
                  </a:lnTo>
                  <a:lnTo>
                    <a:pt x="323" y="121"/>
                  </a:lnTo>
                  <a:lnTo>
                    <a:pt x="298" y="137"/>
                  </a:lnTo>
                  <a:lnTo>
                    <a:pt x="275" y="154"/>
                  </a:lnTo>
                  <a:lnTo>
                    <a:pt x="251" y="172"/>
                  </a:lnTo>
                  <a:lnTo>
                    <a:pt x="228" y="190"/>
                  </a:lnTo>
                  <a:lnTo>
                    <a:pt x="207" y="210"/>
                  </a:lnTo>
                  <a:lnTo>
                    <a:pt x="184" y="230"/>
                  </a:lnTo>
                  <a:lnTo>
                    <a:pt x="164" y="252"/>
                  </a:lnTo>
                  <a:lnTo>
                    <a:pt x="144" y="274"/>
                  </a:lnTo>
                  <a:lnTo>
                    <a:pt x="125" y="296"/>
                  </a:lnTo>
                  <a:lnTo>
                    <a:pt x="107" y="320"/>
                  </a:lnTo>
                  <a:lnTo>
                    <a:pt x="89" y="344"/>
                  </a:lnTo>
                  <a:lnTo>
                    <a:pt x="72" y="369"/>
                  </a:lnTo>
                  <a:lnTo>
                    <a:pt x="57" y="395"/>
                  </a:lnTo>
                  <a:lnTo>
                    <a:pt x="42" y="421"/>
                  </a:lnTo>
                  <a:lnTo>
                    <a:pt x="28" y="449"/>
                  </a:lnTo>
                  <a:lnTo>
                    <a:pt x="14" y="475"/>
                  </a:lnTo>
                  <a:lnTo>
                    <a:pt x="3" y="505"/>
                  </a:lnTo>
                  <a:lnTo>
                    <a:pt x="1" y="512"/>
                  </a:lnTo>
                  <a:lnTo>
                    <a:pt x="0" y="520"/>
                  </a:lnTo>
                  <a:lnTo>
                    <a:pt x="1" y="528"/>
                  </a:lnTo>
                  <a:lnTo>
                    <a:pt x="3" y="535"/>
                  </a:lnTo>
                  <a:lnTo>
                    <a:pt x="6" y="541"/>
                  </a:lnTo>
                  <a:lnTo>
                    <a:pt x="12" y="548"/>
                  </a:lnTo>
                  <a:lnTo>
                    <a:pt x="18" y="553"/>
                  </a:lnTo>
                  <a:lnTo>
                    <a:pt x="24" y="556"/>
                  </a:lnTo>
                  <a:lnTo>
                    <a:pt x="32" y="558"/>
                  </a:lnTo>
                  <a:lnTo>
                    <a:pt x="40" y="559"/>
                  </a:lnTo>
                  <a:lnTo>
                    <a:pt x="46" y="559"/>
                  </a:lnTo>
                  <a:lnTo>
                    <a:pt x="51" y="557"/>
                  </a:lnTo>
                  <a:lnTo>
                    <a:pt x="57" y="556"/>
                  </a:lnTo>
                  <a:lnTo>
                    <a:pt x="61" y="553"/>
                  </a:lnTo>
                  <a:lnTo>
                    <a:pt x="67" y="549"/>
                  </a:lnTo>
                  <a:lnTo>
                    <a:pt x="70" y="545"/>
                  </a:lnTo>
                  <a:lnTo>
                    <a:pt x="74" y="540"/>
                  </a:lnTo>
                  <a:lnTo>
                    <a:pt x="77" y="535"/>
                  </a:lnTo>
                  <a:lnTo>
                    <a:pt x="88" y="509"/>
                  </a:lnTo>
                  <a:lnTo>
                    <a:pt x="99" y="483"/>
                  </a:lnTo>
                  <a:lnTo>
                    <a:pt x="112" y="460"/>
                  </a:lnTo>
                  <a:lnTo>
                    <a:pt x="125" y="435"/>
                  </a:lnTo>
                  <a:lnTo>
                    <a:pt x="140" y="413"/>
                  </a:lnTo>
                  <a:lnTo>
                    <a:pt x="155" y="389"/>
                  </a:lnTo>
                  <a:lnTo>
                    <a:pt x="171" y="368"/>
                  </a:lnTo>
                  <a:lnTo>
                    <a:pt x="187" y="347"/>
                  </a:lnTo>
                  <a:lnTo>
                    <a:pt x="204" y="327"/>
                  </a:lnTo>
                  <a:lnTo>
                    <a:pt x="222" y="306"/>
                  </a:lnTo>
                  <a:lnTo>
                    <a:pt x="241" y="287"/>
                  </a:lnTo>
                  <a:lnTo>
                    <a:pt x="260" y="269"/>
                  </a:lnTo>
                  <a:lnTo>
                    <a:pt x="281" y="252"/>
                  </a:lnTo>
                  <a:lnTo>
                    <a:pt x="301" y="235"/>
                  </a:lnTo>
                  <a:lnTo>
                    <a:pt x="322" y="219"/>
                  </a:lnTo>
                  <a:lnTo>
                    <a:pt x="343" y="203"/>
                  </a:lnTo>
                  <a:lnTo>
                    <a:pt x="366" y="189"/>
                  </a:lnTo>
                  <a:lnTo>
                    <a:pt x="388" y="175"/>
                  </a:lnTo>
                  <a:lnTo>
                    <a:pt x="411" y="162"/>
                  </a:lnTo>
                  <a:lnTo>
                    <a:pt x="435" y="151"/>
                  </a:lnTo>
                  <a:lnTo>
                    <a:pt x="460" y="140"/>
                  </a:lnTo>
                  <a:lnTo>
                    <a:pt x="484" y="130"/>
                  </a:lnTo>
                  <a:lnTo>
                    <a:pt x="509" y="121"/>
                  </a:lnTo>
                  <a:lnTo>
                    <a:pt x="535" y="112"/>
                  </a:lnTo>
                  <a:lnTo>
                    <a:pt x="560" y="104"/>
                  </a:lnTo>
                  <a:lnTo>
                    <a:pt x="587" y="98"/>
                  </a:lnTo>
                  <a:lnTo>
                    <a:pt x="613" y="93"/>
                  </a:lnTo>
                  <a:lnTo>
                    <a:pt x="640" y="88"/>
                  </a:lnTo>
                  <a:lnTo>
                    <a:pt x="668" y="84"/>
                  </a:lnTo>
                  <a:lnTo>
                    <a:pt x="695" y="81"/>
                  </a:lnTo>
                  <a:lnTo>
                    <a:pt x="723" y="80"/>
                  </a:lnTo>
                  <a:lnTo>
                    <a:pt x="749"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24">
              <a:extLst>
                <a:ext uri="{FF2B5EF4-FFF2-40B4-BE49-F238E27FC236}">
                  <a16:creationId xmlns:a16="http://schemas.microsoft.com/office/drawing/2014/main" id="{35E45EC4-1F48-417F-85ED-6E636446C058}"/>
                </a:ext>
              </a:extLst>
            </p:cNvPr>
            <p:cNvSpPr>
              <a:spLocks/>
            </p:cNvSpPr>
            <p:nvPr/>
          </p:nvSpPr>
          <p:spPr bwMode="auto">
            <a:xfrm>
              <a:off x="5557838" y="2574926"/>
              <a:ext cx="30163" cy="68263"/>
            </a:xfrm>
            <a:custGeom>
              <a:avLst/>
              <a:gdLst>
                <a:gd name="T0" fmla="*/ 58 w 92"/>
                <a:gd name="T1" fmla="*/ 0 h 215"/>
                <a:gd name="T2" fmla="*/ 50 w 92"/>
                <a:gd name="T3" fmla="*/ 0 h 215"/>
                <a:gd name="T4" fmla="*/ 42 w 92"/>
                <a:gd name="T5" fmla="*/ 1 h 215"/>
                <a:gd name="T6" fmla="*/ 36 w 92"/>
                <a:gd name="T7" fmla="*/ 3 h 215"/>
                <a:gd name="T8" fmla="*/ 29 w 92"/>
                <a:gd name="T9" fmla="*/ 7 h 215"/>
                <a:gd name="T10" fmla="*/ 22 w 92"/>
                <a:gd name="T11" fmla="*/ 12 h 215"/>
                <a:gd name="T12" fmla="*/ 18 w 92"/>
                <a:gd name="T13" fmla="*/ 18 h 215"/>
                <a:gd name="T14" fmla="*/ 14 w 92"/>
                <a:gd name="T15" fmla="*/ 25 h 215"/>
                <a:gd name="T16" fmla="*/ 12 w 92"/>
                <a:gd name="T17" fmla="*/ 32 h 215"/>
                <a:gd name="T18" fmla="*/ 7 w 92"/>
                <a:gd name="T19" fmla="*/ 68 h 215"/>
                <a:gd name="T20" fmla="*/ 2 w 92"/>
                <a:gd name="T21" fmla="*/ 103 h 215"/>
                <a:gd name="T22" fmla="*/ 0 w 92"/>
                <a:gd name="T23" fmla="*/ 139 h 215"/>
                <a:gd name="T24" fmla="*/ 0 w 92"/>
                <a:gd name="T25" fmla="*/ 176 h 215"/>
                <a:gd name="T26" fmla="*/ 0 w 92"/>
                <a:gd name="T27" fmla="*/ 183 h 215"/>
                <a:gd name="T28" fmla="*/ 2 w 92"/>
                <a:gd name="T29" fmla="*/ 191 h 215"/>
                <a:gd name="T30" fmla="*/ 7 w 92"/>
                <a:gd name="T31" fmla="*/ 198 h 215"/>
                <a:gd name="T32" fmla="*/ 11 w 92"/>
                <a:gd name="T33" fmla="*/ 204 h 215"/>
                <a:gd name="T34" fmla="*/ 17 w 92"/>
                <a:gd name="T35" fmla="*/ 208 h 215"/>
                <a:gd name="T36" fmla="*/ 23 w 92"/>
                <a:gd name="T37" fmla="*/ 213 h 215"/>
                <a:gd name="T38" fmla="*/ 31 w 92"/>
                <a:gd name="T39" fmla="*/ 215 h 215"/>
                <a:gd name="T40" fmla="*/ 39 w 92"/>
                <a:gd name="T41" fmla="*/ 215 h 215"/>
                <a:gd name="T42" fmla="*/ 48 w 92"/>
                <a:gd name="T43" fmla="*/ 215 h 215"/>
                <a:gd name="T44" fmla="*/ 55 w 92"/>
                <a:gd name="T45" fmla="*/ 213 h 215"/>
                <a:gd name="T46" fmla="*/ 61 w 92"/>
                <a:gd name="T47" fmla="*/ 208 h 215"/>
                <a:gd name="T48" fmla="*/ 68 w 92"/>
                <a:gd name="T49" fmla="*/ 204 h 215"/>
                <a:gd name="T50" fmla="*/ 73 w 92"/>
                <a:gd name="T51" fmla="*/ 198 h 215"/>
                <a:gd name="T52" fmla="*/ 76 w 92"/>
                <a:gd name="T53" fmla="*/ 191 h 215"/>
                <a:gd name="T54" fmla="*/ 78 w 92"/>
                <a:gd name="T55" fmla="*/ 183 h 215"/>
                <a:gd name="T56" fmla="*/ 79 w 92"/>
                <a:gd name="T57" fmla="*/ 176 h 215"/>
                <a:gd name="T58" fmla="*/ 80 w 92"/>
                <a:gd name="T59" fmla="*/ 143 h 215"/>
                <a:gd name="T60" fmla="*/ 83 w 92"/>
                <a:gd name="T61" fmla="*/ 111 h 215"/>
                <a:gd name="T62" fmla="*/ 86 w 92"/>
                <a:gd name="T63" fmla="*/ 78 h 215"/>
                <a:gd name="T64" fmla="*/ 90 w 92"/>
                <a:gd name="T65" fmla="*/ 47 h 215"/>
                <a:gd name="T66" fmla="*/ 92 w 92"/>
                <a:gd name="T67" fmla="*/ 39 h 215"/>
                <a:gd name="T68" fmla="*/ 90 w 92"/>
                <a:gd name="T69" fmla="*/ 31 h 215"/>
                <a:gd name="T70" fmla="*/ 88 w 92"/>
                <a:gd name="T71" fmla="*/ 23 h 215"/>
                <a:gd name="T72" fmla="*/ 84 w 92"/>
                <a:gd name="T73" fmla="*/ 17 h 215"/>
                <a:gd name="T74" fmla="*/ 79 w 92"/>
                <a:gd name="T75" fmla="*/ 11 h 215"/>
                <a:gd name="T76" fmla="*/ 74 w 92"/>
                <a:gd name="T77" fmla="*/ 6 h 215"/>
                <a:gd name="T78" fmla="*/ 66 w 92"/>
                <a:gd name="T79" fmla="*/ 2 h 215"/>
                <a:gd name="T80" fmla="*/ 58 w 92"/>
                <a:gd name="T8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215">
                  <a:moveTo>
                    <a:pt x="58" y="0"/>
                  </a:moveTo>
                  <a:lnTo>
                    <a:pt x="50" y="0"/>
                  </a:lnTo>
                  <a:lnTo>
                    <a:pt x="42" y="1"/>
                  </a:lnTo>
                  <a:lnTo>
                    <a:pt x="36" y="3"/>
                  </a:lnTo>
                  <a:lnTo>
                    <a:pt x="29" y="7"/>
                  </a:lnTo>
                  <a:lnTo>
                    <a:pt x="22" y="12"/>
                  </a:lnTo>
                  <a:lnTo>
                    <a:pt x="18" y="18"/>
                  </a:lnTo>
                  <a:lnTo>
                    <a:pt x="14" y="25"/>
                  </a:lnTo>
                  <a:lnTo>
                    <a:pt x="12" y="32"/>
                  </a:lnTo>
                  <a:lnTo>
                    <a:pt x="7" y="68"/>
                  </a:lnTo>
                  <a:lnTo>
                    <a:pt x="2" y="103"/>
                  </a:lnTo>
                  <a:lnTo>
                    <a:pt x="0" y="139"/>
                  </a:lnTo>
                  <a:lnTo>
                    <a:pt x="0" y="176"/>
                  </a:lnTo>
                  <a:lnTo>
                    <a:pt x="0" y="183"/>
                  </a:lnTo>
                  <a:lnTo>
                    <a:pt x="2" y="191"/>
                  </a:lnTo>
                  <a:lnTo>
                    <a:pt x="7" y="198"/>
                  </a:lnTo>
                  <a:lnTo>
                    <a:pt x="11" y="204"/>
                  </a:lnTo>
                  <a:lnTo>
                    <a:pt x="17" y="208"/>
                  </a:lnTo>
                  <a:lnTo>
                    <a:pt x="23" y="213"/>
                  </a:lnTo>
                  <a:lnTo>
                    <a:pt x="31" y="215"/>
                  </a:lnTo>
                  <a:lnTo>
                    <a:pt x="39" y="215"/>
                  </a:lnTo>
                  <a:lnTo>
                    <a:pt x="48" y="215"/>
                  </a:lnTo>
                  <a:lnTo>
                    <a:pt x="55" y="213"/>
                  </a:lnTo>
                  <a:lnTo>
                    <a:pt x="61" y="208"/>
                  </a:lnTo>
                  <a:lnTo>
                    <a:pt x="68" y="204"/>
                  </a:lnTo>
                  <a:lnTo>
                    <a:pt x="73" y="198"/>
                  </a:lnTo>
                  <a:lnTo>
                    <a:pt x="76" y="191"/>
                  </a:lnTo>
                  <a:lnTo>
                    <a:pt x="78" y="183"/>
                  </a:lnTo>
                  <a:lnTo>
                    <a:pt x="79" y="176"/>
                  </a:lnTo>
                  <a:lnTo>
                    <a:pt x="80" y="143"/>
                  </a:lnTo>
                  <a:lnTo>
                    <a:pt x="83" y="111"/>
                  </a:lnTo>
                  <a:lnTo>
                    <a:pt x="86" y="78"/>
                  </a:lnTo>
                  <a:lnTo>
                    <a:pt x="90" y="47"/>
                  </a:lnTo>
                  <a:lnTo>
                    <a:pt x="92" y="39"/>
                  </a:lnTo>
                  <a:lnTo>
                    <a:pt x="90" y="31"/>
                  </a:lnTo>
                  <a:lnTo>
                    <a:pt x="88" y="23"/>
                  </a:lnTo>
                  <a:lnTo>
                    <a:pt x="84" y="17"/>
                  </a:lnTo>
                  <a:lnTo>
                    <a:pt x="79" y="11"/>
                  </a:lnTo>
                  <a:lnTo>
                    <a:pt x="74" y="6"/>
                  </a:lnTo>
                  <a:lnTo>
                    <a:pt x="66" y="2"/>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25">
              <a:extLst>
                <a:ext uri="{FF2B5EF4-FFF2-40B4-BE49-F238E27FC236}">
                  <a16:creationId xmlns:a16="http://schemas.microsoft.com/office/drawing/2014/main" id="{C78EE0D3-3BE4-48BA-A3DD-1647EB7D9AD8}"/>
                </a:ext>
              </a:extLst>
            </p:cNvPr>
            <p:cNvSpPr>
              <a:spLocks noEditPoints="1"/>
            </p:cNvSpPr>
            <p:nvPr/>
          </p:nvSpPr>
          <p:spPr bwMode="auto">
            <a:xfrm>
              <a:off x="5507038" y="2324101"/>
              <a:ext cx="711200" cy="706438"/>
            </a:xfrm>
            <a:custGeom>
              <a:avLst/>
              <a:gdLst>
                <a:gd name="T0" fmla="*/ 874 w 2240"/>
                <a:gd name="T1" fmla="*/ 1847 h 2227"/>
                <a:gd name="T2" fmla="*/ 661 w 2240"/>
                <a:gd name="T3" fmla="*/ 1797 h 2227"/>
                <a:gd name="T4" fmla="*/ 470 w 2240"/>
                <a:gd name="T5" fmla="*/ 1700 h 2227"/>
                <a:gd name="T6" fmla="*/ 310 w 2240"/>
                <a:gd name="T7" fmla="*/ 1560 h 2227"/>
                <a:gd name="T8" fmla="*/ 187 w 2240"/>
                <a:gd name="T9" fmla="*/ 1387 h 2227"/>
                <a:gd name="T10" fmla="*/ 107 w 2240"/>
                <a:gd name="T11" fmla="*/ 1186 h 2227"/>
                <a:gd name="T12" fmla="*/ 79 w 2240"/>
                <a:gd name="T13" fmla="*/ 966 h 2227"/>
                <a:gd name="T14" fmla="*/ 107 w 2240"/>
                <a:gd name="T15" fmla="*/ 744 h 2227"/>
                <a:gd name="T16" fmla="*/ 187 w 2240"/>
                <a:gd name="T17" fmla="*/ 544 h 2227"/>
                <a:gd name="T18" fmla="*/ 310 w 2240"/>
                <a:gd name="T19" fmla="*/ 370 h 2227"/>
                <a:gd name="T20" fmla="*/ 470 w 2240"/>
                <a:gd name="T21" fmla="*/ 231 h 2227"/>
                <a:gd name="T22" fmla="*/ 661 w 2240"/>
                <a:gd name="T23" fmla="*/ 133 h 2227"/>
                <a:gd name="T24" fmla="*/ 875 w 2240"/>
                <a:gd name="T25" fmla="*/ 84 h 2227"/>
                <a:gd name="T26" fmla="*/ 1100 w 2240"/>
                <a:gd name="T27" fmla="*/ 89 h 2227"/>
                <a:gd name="T28" fmla="*/ 1309 w 2240"/>
                <a:gd name="T29" fmla="*/ 150 h 2227"/>
                <a:gd name="T30" fmla="*/ 1495 w 2240"/>
                <a:gd name="T31" fmla="*/ 256 h 2227"/>
                <a:gd name="T32" fmla="*/ 1648 w 2240"/>
                <a:gd name="T33" fmla="*/ 403 h 2227"/>
                <a:gd name="T34" fmla="*/ 1763 w 2240"/>
                <a:gd name="T35" fmla="*/ 582 h 2227"/>
                <a:gd name="T36" fmla="*/ 1833 w 2240"/>
                <a:gd name="T37" fmla="*/ 787 h 2227"/>
                <a:gd name="T38" fmla="*/ 1850 w 2240"/>
                <a:gd name="T39" fmla="*/ 1010 h 2227"/>
                <a:gd name="T40" fmla="*/ 1810 w 2240"/>
                <a:gd name="T41" fmla="*/ 1229 h 2227"/>
                <a:gd name="T42" fmla="*/ 1722 w 2240"/>
                <a:gd name="T43" fmla="*/ 1425 h 2227"/>
                <a:gd name="T44" fmla="*/ 1591 w 2240"/>
                <a:gd name="T45" fmla="*/ 1591 h 2227"/>
                <a:gd name="T46" fmla="*/ 1423 w 2240"/>
                <a:gd name="T47" fmla="*/ 1722 h 2227"/>
                <a:gd name="T48" fmla="*/ 1227 w 2240"/>
                <a:gd name="T49" fmla="*/ 1811 h 2227"/>
                <a:gd name="T50" fmla="*/ 1010 w 2240"/>
                <a:gd name="T51" fmla="*/ 1850 h 2227"/>
                <a:gd name="T52" fmla="*/ 1737 w 2240"/>
                <a:gd name="T53" fmla="*/ 1545 h 2227"/>
                <a:gd name="T54" fmla="*/ 1847 w 2240"/>
                <a:gd name="T55" fmla="*/ 1357 h 2227"/>
                <a:gd name="T56" fmla="*/ 1913 w 2240"/>
                <a:gd name="T57" fmla="*/ 1147 h 2227"/>
                <a:gd name="T58" fmla="*/ 1929 w 2240"/>
                <a:gd name="T59" fmla="*/ 915 h 2227"/>
                <a:gd name="T60" fmla="*/ 1887 w 2240"/>
                <a:gd name="T61" fmla="*/ 678 h 2227"/>
                <a:gd name="T62" fmla="*/ 1790 w 2240"/>
                <a:gd name="T63" fmla="*/ 465 h 2227"/>
                <a:gd name="T64" fmla="*/ 1647 w 2240"/>
                <a:gd name="T65" fmla="*/ 283 h 2227"/>
                <a:gd name="T66" fmla="*/ 1465 w 2240"/>
                <a:gd name="T67" fmla="*/ 140 h 2227"/>
                <a:gd name="T68" fmla="*/ 1252 w 2240"/>
                <a:gd name="T69" fmla="*/ 43 h 2227"/>
                <a:gd name="T70" fmla="*/ 1015 w 2240"/>
                <a:gd name="T71" fmla="*/ 1 h 2227"/>
                <a:gd name="T72" fmla="*/ 771 w 2240"/>
                <a:gd name="T73" fmla="*/ 19 h 2227"/>
                <a:gd name="T74" fmla="*/ 547 w 2240"/>
                <a:gd name="T75" fmla="*/ 95 h 2227"/>
                <a:gd name="T76" fmla="*/ 351 w 2240"/>
                <a:gd name="T77" fmla="*/ 220 h 2227"/>
                <a:gd name="T78" fmla="*/ 191 w 2240"/>
                <a:gd name="T79" fmla="*/ 388 h 2227"/>
                <a:gd name="T80" fmla="*/ 76 w 2240"/>
                <a:gd name="T81" fmla="*/ 590 h 2227"/>
                <a:gd name="T82" fmla="*/ 11 w 2240"/>
                <a:gd name="T83" fmla="*/ 818 h 2227"/>
                <a:gd name="T84" fmla="*/ 4 w 2240"/>
                <a:gd name="T85" fmla="*/ 1064 h 2227"/>
                <a:gd name="T86" fmla="*/ 58 w 2240"/>
                <a:gd name="T87" fmla="*/ 1297 h 2227"/>
                <a:gd name="T88" fmla="*/ 164 w 2240"/>
                <a:gd name="T89" fmla="*/ 1505 h 2227"/>
                <a:gd name="T90" fmla="*/ 316 w 2240"/>
                <a:gd name="T91" fmla="*/ 1680 h 2227"/>
                <a:gd name="T92" fmla="*/ 504 w 2240"/>
                <a:gd name="T93" fmla="*/ 1814 h 2227"/>
                <a:gd name="T94" fmla="*/ 724 w 2240"/>
                <a:gd name="T95" fmla="*/ 1900 h 2227"/>
                <a:gd name="T96" fmla="*/ 964 w 2240"/>
                <a:gd name="T97" fmla="*/ 1931 h 2227"/>
                <a:gd name="T98" fmla="*/ 1060 w 2240"/>
                <a:gd name="T99" fmla="*/ 1926 h 2227"/>
                <a:gd name="T100" fmla="*/ 1196 w 2240"/>
                <a:gd name="T101" fmla="*/ 1903 h 2227"/>
                <a:gd name="T102" fmla="*/ 1408 w 2240"/>
                <a:gd name="T103" fmla="*/ 1823 h 2227"/>
                <a:gd name="T104" fmla="*/ 1592 w 2240"/>
                <a:gd name="T105" fmla="*/ 1699 h 2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0" h="2227">
                  <a:moveTo>
                    <a:pt x="964" y="1851"/>
                  </a:moveTo>
                  <a:lnTo>
                    <a:pt x="964" y="1891"/>
                  </a:lnTo>
                  <a:lnTo>
                    <a:pt x="964" y="1851"/>
                  </a:lnTo>
                  <a:lnTo>
                    <a:pt x="920" y="1850"/>
                  </a:lnTo>
                  <a:lnTo>
                    <a:pt x="874" y="1847"/>
                  </a:lnTo>
                  <a:lnTo>
                    <a:pt x="830" y="1841"/>
                  </a:lnTo>
                  <a:lnTo>
                    <a:pt x="787" y="1833"/>
                  </a:lnTo>
                  <a:lnTo>
                    <a:pt x="744" y="1823"/>
                  </a:lnTo>
                  <a:lnTo>
                    <a:pt x="701" y="1811"/>
                  </a:lnTo>
                  <a:lnTo>
                    <a:pt x="661" y="1797"/>
                  </a:lnTo>
                  <a:lnTo>
                    <a:pt x="621" y="1782"/>
                  </a:lnTo>
                  <a:lnTo>
                    <a:pt x="582" y="1764"/>
                  </a:lnTo>
                  <a:lnTo>
                    <a:pt x="543" y="1744"/>
                  </a:lnTo>
                  <a:lnTo>
                    <a:pt x="506" y="1722"/>
                  </a:lnTo>
                  <a:lnTo>
                    <a:pt x="470" y="1700"/>
                  </a:lnTo>
                  <a:lnTo>
                    <a:pt x="435" y="1674"/>
                  </a:lnTo>
                  <a:lnTo>
                    <a:pt x="402" y="1648"/>
                  </a:lnTo>
                  <a:lnTo>
                    <a:pt x="370" y="1620"/>
                  </a:lnTo>
                  <a:lnTo>
                    <a:pt x="339" y="1591"/>
                  </a:lnTo>
                  <a:lnTo>
                    <a:pt x="310" y="1560"/>
                  </a:lnTo>
                  <a:lnTo>
                    <a:pt x="282" y="1529"/>
                  </a:lnTo>
                  <a:lnTo>
                    <a:pt x="256" y="1495"/>
                  </a:lnTo>
                  <a:lnTo>
                    <a:pt x="230" y="1460"/>
                  </a:lnTo>
                  <a:lnTo>
                    <a:pt x="208" y="1425"/>
                  </a:lnTo>
                  <a:lnTo>
                    <a:pt x="187" y="1387"/>
                  </a:lnTo>
                  <a:lnTo>
                    <a:pt x="167" y="1348"/>
                  </a:lnTo>
                  <a:lnTo>
                    <a:pt x="149" y="1309"/>
                  </a:lnTo>
                  <a:lnTo>
                    <a:pt x="133" y="1269"/>
                  </a:lnTo>
                  <a:lnTo>
                    <a:pt x="120" y="1229"/>
                  </a:lnTo>
                  <a:lnTo>
                    <a:pt x="107" y="1186"/>
                  </a:lnTo>
                  <a:lnTo>
                    <a:pt x="97" y="1144"/>
                  </a:lnTo>
                  <a:lnTo>
                    <a:pt x="89" y="1100"/>
                  </a:lnTo>
                  <a:lnTo>
                    <a:pt x="84" y="1055"/>
                  </a:lnTo>
                  <a:lnTo>
                    <a:pt x="80" y="1010"/>
                  </a:lnTo>
                  <a:lnTo>
                    <a:pt x="79" y="966"/>
                  </a:lnTo>
                  <a:lnTo>
                    <a:pt x="80" y="920"/>
                  </a:lnTo>
                  <a:lnTo>
                    <a:pt x="84" y="875"/>
                  </a:lnTo>
                  <a:lnTo>
                    <a:pt x="89" y="830"/>
                  </a:lnTo>
                  <a:lnTo>
                    <a:pt x="97" y="787"/>
                  </a:lnTo>
                  <a:lnTo>
                    <a:pt x="107" y="744"/>
                  </a:lnTo>
                  <a:lnTo>
                    <a:pt x="120" y="703"/>
                  </a:lnTo>
                  <a:lnTo>
                    <a:pt x="133" y="661"/>
                  </a:lnTo>
                  <a:lnTo>
                    <a:pt x="149" y="621"/>
                  </a:lnTo>
                  <a:lnTo>
                    <a:pt x="167" y="582"/>
                  </a:lnTo>
                  <a:lnTo>
                    <a:pt x="187" y="544"/>
                  </a:lnTo>
                  <a:lnTo>
                    <a:pt x="208" y="507"/>
                  </a:lnTo>
                  <a:lnTo>
                    <a:pt x="231" y="471"/>
                  </a:lnTo>
                  <a:lnTo>
                    <a:pt x="256" y="436"/>
                  </a:lnTo>
                  <a:lnTo>
                    <a:pt x="282" y="403"/>
                  </a:lnTo>
                  <a:lnTo>
                    <a:pt x="310" y="370"/>
                  </a:lnTo>
                  <a:lnTo>
                    <a:pt x="339" y="339"/>
                  </a:lnTo>
                  <a:lnTo>
                    <a:pt x="370" y="310"/>
                  </a:lnTo>
                  <a:lnTo>
                    <a:pt x="402" y="282"/>
                  </a:lnTo>
                  <a:lnTo>
                    <a:pt x="435" y="256"/>
                  </a:lnTo>
                  <a:lnTo>
                    <a:pt x="470" y="231"/>
                  </a:lnTo>
                  <a:lnTo>
                    <a:pt x="506" y="208"/>
                  </a:lnTo>
                  <a:lnTo>
                    <a:pt x="544" y="187"/>
                  </a:lnTo>
                  <a:lnTo>
                    <a:pt x="582" y="168"/>
                  </a:lnTo>
                  <a:lnTo>
                    <a:pt x="621" y="150"/>
                  </a:lnTo>
                  <a:lnTo>
                    <a:pt x="661" y="133"/>
                  </a:lnTo>
                  <a:lnTo>
                    <a:pt x="701" y="119"/>
                  </a:lnTo>
                  <a:lnTo>
                    <a:pt x="744" y="107"/>
                  </a:lnTo>
                  <a:lnTo>
                    <a:pt x="787" y="97"/>
                  </a:lnTo>
                  <a:lnTo>
                    <a:pt x="830" y="89"/>
                  </a:lnTo>
                  <a:lnTo>
                    <a:pt x="875" y="84"/>
                  </a:lnTo>
                  <a:lnTo>
                    <a:pt x="920" y="80"/>
                  </a:lnTo>
                  <a:lnTo>
                    <a:pt x="964" y="79"/>
                  </a:lnTo>
                  <a:lnTo>
                    <a:pt x="1010" y="80"/>
                  </a:lnTo>
                  <a:lnTo>
                    <a:pt x="1055" y="84"/>
                  </a:lnTo>
                  <a:lnTo>
                    <a:pt x="1100" y="89"/>
                  </a:lnTo>
                  <a:lnTo>
                    <a:pt x="1143" y="97"/>
                  </a:lnTo>
                  <a:lnTo>
                    <a:pt x="1186" y="107"/>
                  </a:lnTo>
                  <a:lnTo>
                    <a:pt x="1227" y="119"/>
                  </a:lnTo>
                  <a:lnTo>
                    <a:pt x="1269" y="133"/>
                  </a:lnTo>
                  <a:lnTo>
                    <a:pt x="1309" y="150"/>
                  </a:lnTo>
                  <a:lnTo>
                    <a:pt x="1348" y="166"/>
                  </a:lnTo>
                  <a:lnTo>
                    <a:pt x="1386" y="187"/>
                  </a:lnTo>
                  <a:lnTo>
                    <a:pt x="1423" y="208"/>
                  </a:lnTo>
                  <a:lnTo>
                    <a:pt x="1460" y="231"/>
                  </a:lnTo>
                  <a:lnTo>
                    <a:pt x="1495" y="256"/>
                  </a:lnTo>
                  <a:lnTo>
                    <a:pt x="1527" y="282"/>
                  </a:lnTo>
                  <a:lnTo>
                    <a:pt x="1560" y="310"/>
                  </a:lnTo>
                  <a:lnTo>
                    <a:pt x="1591" y="339"/>
                  </a:lnTo>
                  <a:lnTo>
                    <a:pt x="1620" y="370"/>
                  </a:lnTo>
                  <a:lnTo>
                    <a:pt x="1648" y="403"/>
                  </a:lnTo>
                  <a:lnTo>
                    <a:pt x="1674" y="435"/>
                  </a:lnTo>
                  <a:lnTo>
                    <a:pt x="1699" y="471"/>
                  </a:lnTo>
                  <a:lnTo>
                    <a:pt x="1722" y="507"/>
                  </a:lnTo>
                  <a:lnTo>
                    <a:pt x="1743" y="544"/>
                  </a:lnTo>
                  <a:lnTo>
                    <a:pt x="1763" y="582"/>
                  </a:lnTo>
                  <a:lnTo>
                    <a:pt x="1780" y="621"/>
                  </a:lnTo>
                  <a:lnTo>
                    <a:pt x="1797" y="661"/>
                  </a:lnTo>
                  <a:lnTo>
                    <a:pt x="1810" y="703"/>
                  </a:lnTo>
                  <a:lnTo>
                    <a:pt x="1823" y="744"/>
                  </a:lnTo>
                  <a:lnTo>
                    <a:pt x="1833" y="787"/>
                  </a:lnTo>
                  <a:lnTo>
                    <a:pt x="1841" y="830"/>
                  </a:lnTo>
                  <a:lnTo>
                    <a:pt x="1846" y="875"/>
                  </a:lnTo>
                  <a:lnTo>
                    <a:pt x="1850" y="920"/>
                  </a:lnTo>
                  <a:lnTo>
                    <a:pt x="1851" y="966"/>
                  </a:lnTo>
                  <a:lnTo>
                    <a:pt x="1850" y="1010"/>
                  </a:lnTo>
                  <a:lnTo>
                    <a:pt x="1846" y="1055"/>
                  </a:lnTo>
                  <a:lnTo>
                    <a:pt x="1841" y="1100"/>
                  </a:lnTo>
                  <a:lnTo>
                    <a:pt x="1833" y="1144"/>
                  </a:lnTo>
                  <a:lnTo>
                    <a:pt x="1823" y="1186"/>
                  </a:lnTo>
                  <a:lnTo>
                    <a:pt x="1810" y="1229"/>
                  </a:lnTo>
                  <a:lnTo>
                    <a:pt x="1797" y="1269"/>
                  </a:lnTo>
                  <a:lnTo>
                    <a:pt x="1780" y="1309"/>
                  </a:lnTo>
                  <a:lnTo>
                    <a:pt x="1763" y="1348"/>
                  </a:lnTo>
                  <a:lnTo>
                    <a:pt x="1743" y="1387"/>
                  </a:lnTo>
                  <a:lnTo>
                    <a:pt x="1722" y="1425"/>
                  </a:lnTo>
                  <a:lnTo>
                    <a:pt x="1699" y="1460"/>
                  </a:lnTo>
                  <a:lnTo>
                    <a:pt x="1674" y="1495"/>
                  </a:lnTo>
                  <a:lnTo>
                    <a:pt x="1648" y="1529"/>
                  </a:lnTo>
                  <a:lnTo>
                    <a:pt x="1620" y="1560"/>
                  </a:lnTo>
                  <a:lnTo>
                    <a:pt x="1591" y="1591"/>
                  </a:lnTo>
                  <a:lnTo>
                    <a:pt x="1560" y="1620"/>
                  </a:lnTo>
                  <a:lnTo>
                    <a:pt x="1527" y="1648"/>
                  </a:lnTo>
                  <a:lnTo>
                    <a:pt x="1495" y="1674"/>
                  </a:lnTo>
                  <a:lnTo>
                    <a:pt x="1460" y="1700"/>
                  </a:lnTo>
                  <a:lnTo>
                    <a:pt x="1423" y="1722"/>
                  </a:lnTo>
                  <a:lnTo>
                    <a:pt x="1386" y="1744"/>
                  </a:lnTo>
                  <a:lnTo>
                    <a:pt x="1348" y="1764"/>
                  </a:lnTo>
                  <a:lnTo>
                    <a:pt x="1309" y="1782"/>
                  </a:lnTo>
                  <a:lnTo>
                    <a:pt x="1269" y="1797"/>
                  </a:lnTo>
                  <a:lnTo>
                    <a:pt x="1227" y="1811"/>
                  </a:lnTo>
                  <a:lnTo>
                    <a:pt x="1186" y="1823"/>
                  </a:lnTo>
                  <a:lnTo>
                    <a:pt x="1143" y="1833"/>
                  </a:lnTo>
                  <a:lnTo>
                    <a:pt x="1100" y="1841"/>
                  </a:lnTo>
                  <a:lnTo>
                    <a:pt x="1055" y="1847"/>
                  </a:lnTo>
                  <a:lnTo>
                    <a:pt x="1010" y="1850"/>
                  </a:lnTo>
                  <a:lnTo>
                    <a:pt x="964" y="1851"/>
                  </a:lnTo>
                  <a:close/>
                  <a:moveTo>
                    <a:pt x="2240" y="2171"/>
                  </a:moveTo>
                  <a:lnTo>
                    <a:pt x="1682" y="1612"/>
                  </a:lnTo>
                  <a:lnTo>
                    <a:pt x="1710" y="1579"/>
                  </a:lnTo>
                  <a:lnTo>
                    <a:pt x="1737" y="1545"/>
                  </a:lnTo>
                  <a:lnTo>
                    <a:pt x="1762" y="1510"/>
                  </a:lnTo>
                  <a:lnTo>
                    <a:pt x="1786" y="1474"/>
                  </a:lnTo>
                  <a:lnTo>
                    <a:pt x="1808" y="1436"/>
                  </a:lnTo>
                  <a:lnTo>
                    <a:pt x="1828" y="1398"/>
                  </a:lnTo>
                  <a:lnTo>
                    <a:pt x="1847" y="1357"/>
                  </a:lnTo>
                  <a:lnTo>
                    <a:pt x="1864" y="1317"/>
                  </a:lnTo>
                  <a:lnTo>
                    <a:pt x="1879" y="1276"/>
                  </a:lnTo>
                  <a:lnTo>
                    <a:pt x="1892" y="1234"/>
                  </a:lnTo>
                  <a:lnTo>
                    <a:pt x="1903" y="1191"/>
                  </a:lnTo>
                  <a:lnTo>
                    <a:pt x="1913" y="1147"/>
                  </a:lnTo>
                  <a:lnTo>
                    <a:pt x="1920" y="1102"/>
                  </a:lnTo>
                  <a:lnTo>
                    <a:pt x="1926" y="1057"/>
                  </a:lnTo>
                  <a:lnTo>
                    <a:pt x="1929" y="1012"/>
                  </a:lnTo>
                  <a:lnTo>
                    <a:pt x="1930" y="966"/>
                  </a:lnTo>
                  <a:lnTo>
                    <a:pt x="1929" y="915"/>
                  </a:lnTo>
                  <a:lnTo>
                    <a:pt x="1926" y="867"/>
                  </a:lnTo>
                  <a:lnTo>
                    <a:pt x="1919" y="818"/>
                  </a:lnTo>
                  <a:lnTo>
                    <a:pt x="1911" y="771"/>
                  </a:lnTo>
                  <a:lnTo>
                    <a:pt x="1900" y="724"/>
                  </a:lnTo>
                  <a:lnTo>
                    <a:pt x="1887" y="678"/>
                  </a:lnTo>
                  <a:lnTo>
                    <a:pt x="1872" y="633"/>
                  </a:lnTo>
                  <a:lnTo>
                    <a:pt x="1854" y="590"/>
                  </a:lnTo>
                  <a:lnTo>
                    <a:pt x="1835" y="547"/>
                  </a:lnTo>
                  <a:lnTo>
                    <a:pt x="1814" y="506"/>
                  </a:lnTo>
                  <a:lnTo>
                    <a:pt x="1790" y="465"/>
                  </a:lnTo>
                  <a:lnTo>
                    <a:pt x="1766" y="426"/>
                  </a:lnTo>
                  <a:lnTo>
                    <a:pt x="1739" y="388"/>
                  </a:lnTo>
                  <a:lnTo>
                    <a:pt x="1710" y="351"/>
                  </a:lnTo>
                  <a:lnTo>
                    <a:pt x="1680" y="316"/>
                  </a:lnTo>
                  <a:lnTo>
                    <a:pt x="1647" y="283"/>
                  </a:lnTo>
                  <a:lnTo>
                    <a:pt x="1614" y="250"/>
                  </a:lnTo>
                  <a:lnTo>
                    <a:pt x="1579" y="220"/>
                  </a:lnTo>
                  <a:lnTo>
                    <a:pt x="1542" y="191"/>
                  </a:lnTo>
                  <a:lnTo>
                    <a:pt x="1504" y="164"/>
                  </a:lnTo>
                  <a:lnTo>
                    <a:pt x="1465" y="140"/>
                  </a:lnTo>
                  <a:lnTo>
                    <a:pt x="1424" y="116"/>
                  </a:lnTo>
                  <a:lnTo>
                    <a:pt x="1383" y="95"/>
                  </a:lnTo>
                  <a:lnTo>
                    <a:pt x="1340" y="76"/>
                  </a:lnTo>
                  <a:lnTo>
                    <a:pt x="1297" y="58"/>
                  </a:lnTo>
                  <a:lnTo>
                    <a:pt x="1252" y="43"/>
                  </a:lnTo>
                  <a:lnTo>
                    <a:pt x="1206" y="30"/>
                  </a:lnTo>
                  <a:lnTo>
                    <a:pt x="1159" y="19"/>
                  </a:lnTo>
                  <a:lnTo>
                    <a:pt x="1112" y="11"/>
                  </a:lnTo>
                  <a:lnTo>
                    <a:pt x="1064" y="4"/>
                  </a:lnTo>
                  <a:lnTo>
                    <a:pt x="1015" y="1"/>
                  </a:lnTo>
                  <a:lnTo>
                    <a:pt x="964" y="0"/>
                  </a:lnTo>
                  <a:lnTo>
                    <a:pt x="915" y="1"/>
                  </a:lnTo>
                  <a:lnTo>
                    <a:pt x="866" y="4"/>
                  </a:lnTo>
                  <a:lnTo>
                    <a:pt x="818" y="11"/>
                  </a:lnTo>
                  <a:lnTo>
                    <a:pt x="771" y="19"/>
                  </a:lnTo>
                  <a:lnTo>
                    <a:pt x="724" y="30"/>
                  </a:lnTo>
                  <a:lnTo>
                    <a:pt x="678" y="43"/>
                  </a:lnTo>
                  <a:lnTo>
                    <a:pt x="633" y="58"/>
                  </a:lnTo>
                  <a:lnTo>
                    <a:pt x="590" y="76"/>
                  </a:lnTo>
                  <a:lnTo>
                    <a:pt x="547" y="95"/>
                  </a:lnTo>
                  <a:lnTo>
                    <a:pt x="506" y="116"/>
                  </a:lnTo>
                  <a:lnTo>
                    <a:pt x="464" y="140"/>
                  </a:lnTo>
                  <a:lnTo>
                    <a:pt x="425" y="164"/>
                  </a:lnTo>
                  <a:lnTo>
                    <a:pt x="388" y="192"/>
                  </a:lnTo>
                  <a:lnTo>
                    <a:pt x="351" y="220"/>
                  </a:lnTo>
                  <a:lnTo>
                    <a:pt x="316" y="250"/>
                  </a:lnTo>
                  <a:lnTo>
                    <a:pt x="283" y="283"/>
                  </a:lnTo>
                  <a:lnTo>
                    <a:pt x="250" y="316"/>
                  </a:lnTo>
                  <a:lnTo>
                    <a:pt x="220" y="351"/>
                  </a:lnTo>
                  <a:lnTo>
                    <a:pt x="191" y="388"/>
                  </a:lnTo>
                  <a:lnTo>
                    <a:pt x="164" y="426"/>
                  </a:lnTo>
                  <a:lnTo>
                    <a:pt x="140" y="465"/>
                  </a:lnTo>
                  <a:lnTo>
                    <a:pt x="116" y="506"/>
                  </a:lnTo>
                  <a:lnTo>
                    <a:pt x="95" y="547"/>
                  </a:lnTo>
                  <a:lnTo>
                    <a:pt x="76" y="590"/>
                  </a:lnTo>
                  <a:lnTo>
                    <a:pt x="58" y="633"/>
                  </a:lnTo>
                  <a:lnTo>
                    <a:pt x="43" y="678"/>
                  </a:lnTo>
                  <a:lnTo>
                    <a:pt x="30" y="724"/>
                  </a:lnTo>
                  <a:lnTo>
                    <a:pt x="19" y="771"/>
                  </a:lnTo>
                  <a:lnTo>
                    <a:pt x="11" y="818"/>
                  </a:lnTo>
                  <a:lnTo>
                    <a:pt x="4" y="867"/>
                  </a:lnTo>
                  <a:lnTo>
                    <a:pt x="1" y="915"/>
                  </a:lnTo>
                  <a:lnTo>
                    <a:pt x="0" y="966"/>
                  </a:lnTo>
                  <a:lnTo>
                    <a:pt x="1" y="1015"/>
                  </a:lnTo>
                  <a:lnTo>
                    <a:pt x="4" y="1064"/>
                  </a:lnTo>
                  <a:lnTo>
                    <a:pt x="11" y="1112"/>
                  </a:lnTo>
                  <a:lnTo>
                    <a:pt x="19" y="1159"/>
                  </a:lnTo>
                  <a:lnTo>
                    <a:pt x="30" y="1206"/>
                  </a:lnTo>
                  <a:lnTo>
                    <a:pt x="43" y="1252"/>
                  </a:lnTo>
                  <a:lnTo>
                    <a:pt x="58" y="1297"/>
                  </a:lnTo>
                  <a:lnTo>
                    <a:pt x="76" y="1341"/>
                  </a:lnTo>
                  <a:lnTo>
                    <a:pt x="95" y="1383"/>
                  </a:lnTo>
                  <a:lnTo>
                    <a:pt x="116" y="1426"/>
                  </a:lnTo>
                  <a:lnTo>
                    <a:pt x="140" y="1466"/>
                  </a:lnTo>
                  <a:lnTo>
                    <a:pt x="164" y="1505"/>
                  </a:lnTo>
                  <a:lnTo>
                    <a:pt x="191" y="1542"/>
                  </a:lnTo>
                  <a:lnTo>
                    <a:pt x="220" y="1579"/>
                  </a:lnTo>
                  <a:lnTo>
                    <a:pt x="250" y="1614"/>
                  </a:lnTo>
                  <a:lnTo>
                    <a:pt x="283" y="1647"/>
                  </a:lnTo>
                  <a:lnTo>
                    <a:pt x="316" y="1680"/>
                  </a:lnTo>
                  <a:lnTo>
                    <a:pt x="351" y="1710"/>
                  </a:lnTo>
                  <a:lnTo>
                    <a:pt x="388" y="1739"/>
                  </a:lnTo>
                  <a:lnTo>
                    <a:pt x="425" y="1766"/>
                  </a:lnTo>
                  <a:lnTo>
                    <a:pt x="464" y="1791"/>
                  </a:lnTo>
                  <a:lnTo>
                    <a:pt x="504" y="1814"/>
                  </a:lnTo>
                  <a:lnTo>
                    <a:pt x="547" y="1835"/>
                  </a:lnTo>
                  <a:lnTo>
                    <a:pt x="590" y="1854"/>
                  </a:lnTo>
                  <a:lnTo>
                    <a:pt x="633" y="1872"/>
                  </a:lnTo>
                  <a:lnTo>
                    <a:pt x="678" y="1887"/>
                  </a:lnTo>
                  <a:lnTo>
                    <a:pt x="724" y="1900"/>
                  </a:lnTo>
                  <a:lnTo>
                    <a:pt x="771" y="1912"/>
                  </a:lnTo>
                  <a:lnTo>
                    <a:pt x="818" y="1919"/>
                  </a:lnTo>
                  <a:lnTo>
                    <a:pt x="866" y="1926"/>
                  </a:lnTo>
                  <a:lnTo>
                    <a:pt x="915" y="1929"/>
                  </a:lnTo>
                  <a:lnTo>
                    <a:pt x="964" y="1931"/>
                  </a:lnTo>
                  <a:lnTo>
                    <a:pt x="966" y="1931"/>
                  </a:lnTo>
                  <a:lnTo>
                    <a:pt x="989" y="1931"/>
                  </a:lnTo>
                  <a:lnTo>
                    <a:pt x="1013" y="1929"/>
                  </a:lnTo>
                  <a:lnTo>
                    <a:pt x="1036" y="1928"/>
                  </a:lnTo>
                  <a:lnTo>
                    <a:pt x="1060" y="1926"/>
                  </a:lnTo>
                  <a:lnTo>
                    <a:pt x="1083" y="1924"/>
                  </a:lnTo>
                  <a:lnTo>
                    <a:pt x="1105" y="1920"/>
                  </a:lnTo>
                  <a:lnTo>
                    <a:pt x="1129" y="1917"/>
                  </a:lnTo>
                  <a:lnTo>
                    <a:pt x="1151" y="1913"/>
                  </a:lnTo>
                  <a:lnTo>
                    <a:pt x="1196" y="1903"/>
                  </a:lnTo>
                  <a:lnTo>
                    <a:pt x="1241" y="1891"/>
                  </a:lnTo>
                  <a:lnTo>
                    <a:pt x="1283" y="1877"/>
                  </a:lnTo>
                  <a:lnTo>
                    <a:pt x="1326" y="1861"/>
                  </a:lnTo>
                  <a:lnTo>
                    <a:pt x="1367" y="1843"/>
                  </a:lnTo>
                  <a:lnTo>
                    <a:pt x="1408" y="1823"/>
                  </a:lnTo>
                  <a:lnTo>
                    <a:pt x="1447" y="1802"/>
                  </a:lnTo>
                  <a:lnTo>
                    <a:pt x="1485" y="1778"/>
                  </a:lnTo>
                  <a:lnTo>
                    <a:pt x="1522" y="1754"/>
                  </a:lnTo>
                  <a:lnTo>
                    <a:pt x="1558" y="1727"/>
                  </a:lnTo>
                  <a:lnTo>
                    <a:pt x="1592" y="1699"/>
                  </a:lnTo>
                  <a:lnTo>
                    <a:pt x="1626" y="1669"/>
                  </a:lnTo>
                  <a:lnTo>
                    <a:pt x="2184" y="2227"/>
                  </a:lnTo>
                  <a:lnTo>
                    <a:pt x="2240" y="2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26">
              <a:extLst>
                <a:ext uri="{FF2B5EF4-FFF2-40B4-BE49-F238E27FC236}">
                  <a16:creationId xmlns:a16="http://schemas.microsoft.com/office/drawing/2014/main" id="{4646FFFC-D199-4B2F-AFAF-FD0EA6B1B745}"/>
                </a:ext>
              </a:extLst>
            </p:cNvPr>
            <p:cNvSpPr>
              <a:spLocks noEditPoints="1"/>
            </p:cNvSpPr>
            <p:nvPr/>
          </p:nvSpPr>
          <p:spPr bwMode="auto">
            <a:xfrm>
              <a:off x="5634038" y="2476501"/>
              <a:ext cx="381000" cy="303213"/>
            </a:xfrm>
            <a:custGeom>
              <a:avLst/>
              <a:gdLst>
                <a:gd name="T0" fmla="*/ 880 w 1200"/>
                <a:gd name="T1" fmla="*/ 79 h 959"/>
                <a:gd name="T2" fmla="*/ 960 w 1200"/>
                <a:gd name="T3" fmla="*/ 880 h 959"/>
                <a:gd name="T4" fmla="*/ 560 w 1200"/>
                <a:gd name="T5" fmla="*/ 880 h 959"/>
                <a:gd name="T6" fmla="*/ 640 w 1200"/>
                <a:gd name="T7" fmla="*/ 319 h 959"/>
                <a:gd name="T8" fmla="*/ 560 w 1200"/>
                <a:gd name="T9" fmla="*/ 880 h 959"/>
                <a:gd name="T10" fmla="*/ 240 w 1200"/>
                <a:gd name="T11" fmla="*/ 560 h 959"/>
                <a:gd name="T12" fmla="*/ 320 w 1200"/>
                <a:gd name="T13" fmla="*/ 880 h 959"/>
                <a:gd name="T14" fmla="*/ 1160 w 1200"/>
                <a:gd name="T15" fmla="*/ 880 h 959"/>
                <a:gd name="T16" fmla="*/ 1040 w 1200"/>
                <a:gd name="T17" fmla="*/ 0 h 959"/>
                <a:gd name="T18" fmla="*/ 800 w 1200"/>
                <a:gd name="T19" fmla="*/ 880 h 959"/>
                <a:gd name="T20" fmla="*/ 720 w 1200"/>
                <a:gd name="T21" fmla="*/ 239 h 959"/>
                <a:gd name="T22" fmla="*/ 480 w 1200"/>
                <a:gd name="T23" fmla="*/ 880 h 959"/>
                <a:gd name="T24" fmla="*/ 400 w 1200"/>
                <a:gd name="T25" fmla="*/ 479 h 959"/>
                <a:gd name="T26" fmla="*/ 160 w 1200"/>
                <a:gd name="T27" fmla="*/ 880 h 959"/>
                <a:gd name="T28" fmla="*/ 33 w 1200"/>
                <a:gd name="T29" fmla="*/ 880 h 959"/>
                <a:gd name="T30" fmla="*/ 18 w 1200"/>
                <a:gd name="T31" fmla="*/ 886 h 959"/>
                <a:gd name="T32" fmla="*/ 7 w 1200"/>
                <a:gd name="T33" fmla="*/ 896 h 959"/>
                <a:gd name="T34" fmla="*/ 1 w 1200"/>
                <a:gd name="T35" fmla="*/ 911 h 959"/>
                <a:gd name="T36" fmla="*/ 1 w 1200"/>
                <a:gd name="T37" fmla="*/ 928 h 959"/>
                <a:gd name="T38" fmla="*/ 7 w 1200"/>
                <a:gd name="T39" fmla="*/ 941 h 959"/>
                <a:gd name="T40" fmla="*/ 18 w 1200"/>
                <a:gd name="T41" fmla="*/ 952 h 959"/>
                <a:gd name="T42" fmla="*/ 33 w 1200"/>
                <a:gd name="T43" fmla="*/ 958 h 959"/>
                <a:gd name="T44" fmla="*/ 160 w 1200"/>
                <a:gd name="T45" fmla="*/ 959 h 959"/>
                <a:gd name="T46" fmla="*/ 480 w 1200"/>
                <a:gd name="T47" fmla="*/ 959 h 959"/>
                <a:gd name="T48" fmla="*/ 800 w 1200"/>
                <a:gd name="T49" fmla="*/ 959 h 959"/>
                <a:gd name="T50" fmla="*/ 1160 w 1200"/>
                <a:gd name="T51" fmla="*/ 959 h 959"/>
                <a:gd name="T52" fmla="*/ 1175 w 1200"/>
                <a:gd name="T53" fmla="*/ 956 h 959"/>
                <a:gd name="T54" fmla="*/ 1188 w 1200"/>
                <a:gd name="T55" fmla="*/ 948 h 959"/>
                <a:gd name="T56" fmla="*/ 1197 w 1200"/>
                <a:gd name="T57" fmla="*/ 935 h 959"/>
                <a:gd name="T58" fmla="*/ 1200 w 1200"/>
                <a:gd name="T59" fmla="*/ 919 h 959"/>
                <a:gd name="T60" fmla="*/ 1197 w 1200"/>
                <a:gd name="T61" fmla="*/ 904 h 959"/>
                <a:gd name="T62" fmla="*/ 1188 w 1200"/>
                <a:gd name="T63" fmla="*/ 891 h 959"/>
                <a:gd name="T64" fmla="*/ 1175 w 1200"/>
                <a:gd name="T65" fmla="*/ 882 h 959"/>
                <a:gd name="T66" fmla="*/ 1160 w 1200"/>
                <a:gd name="T67" fmla="*/ 88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0" h="959">
                  <a:moveTo>
                    <a:pt x="880" y="880"/>
                  </a:moveTo>
                  <a:lnTo>
                    <a:pt x="880" y="79"/>
                  </a:lnTo>
                  <a:lnTo>
                    <a:pt x="960" y="79"/>
                  </a:lnTo>
                  <a:lnTo>
                    <a:pt x="960" y="880"/>
                  </a:lnTo>
                  <a:lnTo>
                    <a:pt x="880" y="880"/>
                  </a:lnTo>
                  <a:close/>
                  <a:moveTo>
                    <a:pt x="560" y="880"/>
                  </a:moveTo>
                  <a:lnTo>
                    <a:pt x="560" y="319"/>
                  </a:lnTo>
                  <a:lnTo>
                    <a:pt x="640" y="319"/>
                  </a:lnTo>
                  <a:lnTo>
                    <a:pt x="640" y="880"/>
                  </a:lnTo>
                  <a:lnTo>
                    <a:pt x="560" y="880"/>
                  </a:lnTo>
                  <a:close/>
                  <a:moveTo>
                    <a:pt x="240" y="880"/>
                  </a:moveTo>
                  <a:lnTo>
                    <a:pt x="240" y="560"/>
                  </a:lnTo>
                  <a:lnTo>
                    <a:pt x="320" y="560"/>
                  </a:lnTo>
                  <a:lnTo>
                    <a:pt x="320" y="880"/>
                  </a:lnTo>
                  <a:lnTo>
                    <a:pt x="240" y="880"/>
                  </a:lnTo>
                  <a:close/>
                  <a:moveTo>
                    <a:pt x="1160" y="880"/>
                  </a:moveTo>
                  <a:lnTo>
                    <a:pt x="1040" y="880"/>
                  </a:lnTo>
                  <a:lnTo>
                    <a:pt x="1040" y="0"/>
                  </a:lnTo>
                  <a:lnTo>
                    <a:pt x="800" y="0"/>
                  </a:lnTo>
                  <a:lnTo>
                    <a:pt x="800" y="880"/>
                  </a:lnTo>
                  <a:lnTo>
                    <a:pt x="720" y="880"/>
                  </a:lnTo>
                  <a:lnTo>
                    <a:pt x="720" y="239"/>
                  </a:lnTo>
                  <a:lnTo>
                    <a:pt x="480" y="239"/>
                  </a:lnTo>
                  <a:lnTo>
                    <a:pt x="480" y="880"/>
                  </a:lnTo>
                  <a:lnTo>
                    <a:pt x="400" y="880"/>
                  </a:lnTo>
                  <a:lnTo>
                    <a:pt x="400" y="479"/>
                  </a:lnTo>
                  <a:lnTo>
                    <a:pt x="160" y="479"/>
                  </a:lnTo>
                  <a:lnTo>
                    <a:pt x="160" y="880"/>
                  </a:lnTo>
                  <a:lnTo>
                    <a:pt x="41" y="880"/>
                  </a:lnTo>
                  <a:lnTo>
                    <a:pt x="33" y="880"/>
                  </a:lnTo>
                  <a:lnTo>
                    <a:pt x="25" y="882"/>
                  </a:lnTo>
                  <a:lnTo>
                    <a:pt x="18" y="886"/>
                  </a:lnTo>
                  <a:lnTo>
                    <a:pt x="11" y="891"/>
                  </a:lnTo>
                  <a:lnTo>
                    <a:pt x="7" y="896"/>
                  </a:lnTo>
                  <a:lnTo>
                    <a:pt x="4" y="904"/>
                  </a:lnTo>
                  <a:lnTo>
                    <a:pt x="1" y="911"/>
                  </a:lnTo>
                  <a:lnTo>
                    <a:pt x="0" y="919"/>
                  </a:lnTo>
                  <a:lnTo>
                    <a:pt x="1" y="928"/>
                  </a:lnTo>
                  <a:lnTo>
                    <a:pt x="4" y="935"/>
                  </a:lnTo>
                  <a:lnTo>
                    <a:pt x="7" y="941"/>
                  </a:lnTo>
                  <a:lnTo>
                    <a:pt x="11" y="948"/>
                  </a:lnTo>
                  <a:lnTo>
                    <a:pt x="18" y="952"/>
                  </a:lnTo>
                  <a:lnTo>
                    <a:pt x="25" y="956"/>
                  </a:lnTo>
                  <a:lnTo>
                    <a:pt x="33" y="958"/>
                  </a:lnTo>
                  <a:lnTo>
                    <a:pt x="41" y="959"/>
                  </a:lnTo>
                  <a:lnTo>
                    <a:pt x="160" y="959"/>
                  </a:lnTo>
                  <a:lnTo>
                    <a:pt x="400" y="959"/>
                  </a:lnTo>
                  <a:lnTo>
                    <a:pt x="480" y="959"/>
                  </a:lnTo>
                  <a:lnTo>
                    <a:pt x="720" y="959"/>
                  </a:lnTo>
                  <a:lnTo>
                    <a:pt x="800" y="959"/>
                  </a:lnTo>
                  <a:lnTo>
                    <a:pt x="1040" y="959"/>
                  </a:lnTo>
                  <a:lnTo>
                    <a:pt x="1160" y="959"/>
                  </a:lnTo>
                  <a:lnTo>
                    <a:pt x="1168" y="958"/>
                  </a:lnTo>
                  <a:lnTo>
                    <a:pt x="1175" y="956"/>
                  </a:lnTo>
                  <a:lnTo>
                    <a:pt x="1182" y="952"/>
                  </a:lnTo>
                  <a:lnTo>
                    <a:pt x="1188" y="948"/>
                  </a:lnTo>
                  <a:lnTo>
                    <a:pt x="1193" y="941"/>
                  </a:lnTo>
                  <a:lnTo>
                    <a:pt x="1197" y="935"/>
                  </a:lnTo>
                  <a:lnTo>
                    <a:pt x="1199" y="928"/>
                  </a:lnTo>
                  <a:lnTo>
                    <a:pt x="1200" y="919"/>
                  </a:lnTo>
                  <a:lnTo>
                    <a:pt x="1199" y="911"/>
                  </a:lnTo>
                  <a:lnTo>
                    <a:pt x="1197" y="904"/>
                  </a:lnTo>
                  <a:lnTo>
                    <a:pt x="1193" y="896"/>
                  </a:lnTo>
                  <a:lnTo>
                    <a:pt x="1188" y="891"/>
                  </a:lnTo>
                  <a:lnTo>
                    <a:pt x="1182" y="886"/>
                  </a:lnTo>
                  <a:lnTo>
                    <a:pt x="1175" y="882"/>
                  </a:lnTo>
                  <a:lnTo>
                    <a:pt x="1168" y="880"/>
                  </a:lnTo>
                  <a:lnTo>
                    <a:pt x="1160" y="8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363" name="Gruppieren 362">
            <a:extLst>
              <a:ext uri="{FF2B5EF4-FFF2-40B4-BE49-F238E27FC236}">
                <a16:creationId xmlns:a16="http://schemas.microsoft.com/office/drawing/2014/main" id="{D54FC58E-238B-4546-979B-770DCB295F06}"/>
              </a:ext>
            </a:extLst>
          </p:cNvPr>
          <p:cNvGrpSpPr>
            <a:grpSpLocks noChangeAspect="1"/>
          </p:cNvGrpSpPr>
          <p:nvPr/>
        </p:nvGrpSpPr>
        <p:grpSpPr>
          <a:xfrm>
            <a:off x="1059516" y="2724897"/>
            <a:ext cx="319566" cy="306484"/>
            <a:chOff x="4169357" y="2751655"/>
            <a:chExt cx="805286" cy="772321"/>
          </a:xfrm>
          <a:solidFill>
            <a:schemeClr val="bg1"/>
          </a:solidFill>
          <a:effectLst/>
        </p:grpSpPr>
        <p:sp>
          <p:nvSpPr>
            <p:cNvPr id="364" name="Freeform 9">
              <a:extLst>
                <a:ext uri="{FF2B5EF4-FFF2-40B4-BE49-F238E27FC236}">
                  <a16:creationId xmlns:a16="http://schemas.microsoft.com/office/drawing/2014/main" id="{F6E697EC-1C5A-4324-9FCF-7F4F56CD9F87}"/>
                </a:ext>
              </a:extLst>
            </p:cNvPr>
            <p:cNvSpPr>
              <a:spLocks noEditPoints="1"/>
            </p:cNvSpPr>
            <p:nvPr/>
          </p:nvSpPr>
          <p:spPr bwMode="auto">
            <a:xfrm>
              <a:off x="4169357" y="2751655"/>
              <a:ext cx="569822" cy="567468"/>
            </a:xfrm>
            <a:custGeom>
              <a:avLst/>
              <a:gdLst>
                <a:gd name="T0" fmla="*/ 396 w 965"/>
                <a:gd name="T1" fmla="*/ 62 h 966"/>
                <a:gd name="T2" fmla="*/ 297 w 965"/>
                <a:gd name="T3" fmla="*/ 96 h 966"/>
                <a:gd name="T4" fmla="*/ 210 w 965"/>
                <a:gd name="T5" fmla="*/ 152 h 966"/>
                <a:gd name="T6" fmla="*/ 139 w 965"/>
                <a:gd name="T7" fmla="*/ 226 h 966"/>
                <a:gd name="T8" fmla="*/ 87 w 965"/>
                <a:gd name="T9" fmla="*/ 315 h 966"/>
                <a:gd name="T10" fmla="*/ 58 w 965"/>
                <a:gd name="T11" fmla="*/ 418 h 966"/>
                <a:gd name="T12" fmla="*/ 56 w 965"/>
                <a:gd name="T13" fmla="*/ 526 h 966"/>
                <a:gd name="T14" fmla="*/ 80 w 965"/>
                <a:gd name="T15" fmla="*/ 631 h 966"/>
                <a:gd name="T16" fmla="*/ 127 w 965"/>
                <a:gd name="T17" fmla="*/ 722 h 966"/>
                <a:gd name="T18" fmla="*/ 194 w 965"/>
                <a:gd name="T19" fmla="*/ 801 h 966"/>
                <a:gd name="T20" fmla="*/ 278 w 965"/>
                <a:gd name="T21" fmla="*/ 860 h 966"/>
                <a:gd name="T22" fmla="*/ 376 w 965"/>
                <a:gd name="T23" fmla="*/ 898 h 966"/>
                <a:gd name="T24" fmla="*/ 482 w 965"/>
                <a:gd name="T25" fmla="*/ 912 h 966"/>
                <a:gd name="T26" fmla="*/ 590 w 965"/>
                <a:gd name="T27" fmla="*/ 898 h 966"/>
                <a:gd name="T28" fmla="*/ 687 w 965"/>
                <a:gd name="T29" fmla="*/ 860 h 966"/>
                <a:gd name="T30" fmla="*/ 771 w 965"/>
                <a:gd name="T31" fmla="*/ 801 h 966"/>
                <a:gd name="T32" fmla="*/ 838 w 965"/>
                <a:gd name="T33" fmla="*/ 722 h 966"/>
                <a:gd name="T34" fmla="*/ 886 w 965"/>
                <a:gd name="T35" fmla="*/ 631 h 966"/>
                <a:gd name="T36" fmla="*/ 909 w 965"/>
                <a:gd name="T37" fmla="*/ 526 h 966"/>
                <a:gd name="T38" fmla="*/ 907 w 965"/>
                <a:gd name="T39" fmla="*/ 418 h 966"/>
                <a:gd name="T40" fmla="*/ 878 w 965"/>
                <a:gd name="T41" fmla="*/ 315 h 966"/>
                <a:gd name="T42" fmla="*/ 826 w 965"/>
                <a:gd name="T43" fmla="*/ 226 h 966"/>
                <a:gd name="T44" fmla="*/ 756 w 965"/>
                <a:gd name="T45" fmla="*/ 152 h 966"/>
                <a:gd name="T46" fmla="*/ 668 w 965"/>
                <a:gd name="T47" fmla="*/ 96 h 966"/>
                <a:gd name="T48" fmla="*/ 569 w 965"/>
                <a:gd name="T49" fmla="*/ 62 h 966"/>
                <a:gd name="T50" fmla="*/ 482 w 965"/>
                <a:gd name="T51" fmla="*/ 966 h 966"/>
                <a:gd name="T52" fmla="*/ 362 w 965"/>
                <a:gd name="T53" fmla="*/ 950 h 966"/>
                <a:gd name="T54" fmla="*/ 252 w 965"/>
                <a:gd name="T55" fmla="*/ 907 h 966"/>
                <a:gd name="T56" fmla="*/ 158 w 965"/>
                <a:gd name="T57" fmla="*/ 840 h 966"/>
                <a:gd name="T58" fmla="*/ 82 w 965"/>
                <a:gd name="T59" fmla="*/ 753 h 966"/>
                <a:gd name="T60" fmla="*/ 29 w 965"/>
                <a:gd name="T61" fmla="*/ 648 h 966"/>
                <a:gd name="T62" fmla="*/ 2 w 965"/>
                <a:gd name="T63" fmla="*/ 532 h 966"/>
                <a:gd name="T64" fmla="*/ 6 w 965"/>
                <a:gd name="T65" fmla="*/ 410 h 966"/>
                <a:gd name="T66" fmla="*/ 38 w 965"/>
                <a:gd name="T67" fmla="*/ 295 h 966"/>
                <a:gd name="T68" fmla="*/ 95 w 965"/>
                <a:gd name="T69" fmla="*/ 194 h 966"/>
                <a:gd name="T70" fmla="*/ 176 w 965"/>
                <a:gd name="T71" fmla="*/ 110 h 966"/>
                <a:gd name="T72" fmla="*/ 273 w 965"/>
                <a:gd name="T73" fmla="*/ 48 h 966"/>
                <a:gd name="T74" fmla="*/ 386 w 965"/>
                <a:gd name="T75" fmla="*/ 9 h 966"/>
                <a:gd name="T76" fmla="*/ 508 w 965"/>
                <a:gd name="T77" fmla="*/ 0 h 966"/>
                <a:gd name="T78" fmla="*/ 625 w 965"/>
                <a:gd name="T79" fmla="*/ 22 h 966"/>
                <a:gd name="T80" fmla="*/ 733 w 965"/>
                <a:gd name="T81" fmla="*/ 70 h 966"/>
                <a:gd name="T82" fmla="*/ 824 w 965"/>
                <a:gd name="T83" fmla="*/ 142 h 966"/>
                <a:gd name="T84" fmla="*/ 896 w 965"/>
                <a:gd name="T85" fmla="*/ 233 h 966"/>
                <a:gd name="T86" fmla="*/ 944 w 965"/>
                <a:gd name="T87" fmla="*/ 339 h 966"/>
                <a:gd name="T88" fmla="*/ 965 w 965"/>
                <a:gd name="T89" fmla="*/ 458 h 966"/>
                <a:gd name="T90" fmla="*/ 955 w 965"/>
                <a:gd name="T91" fmla="*/ 580 h 966"/>
                <a:gd name="T92" fmla="*/ 918 w 965"/>
                <a:gd name="T93" fmla="*/ 692 h 966"/>
                <a:gd name="T94" fmla="*/ 855 w 965"/>
                <a:gd name="T95" fmla="*/ 790 h 966"/>
                <a:gd name="T96" fmla="*/ 771 w 965"/>
                <a:gd name="T97" fmla="*/ 869 h 966"/>
                <a:gd name="T98" fmla="*/ 670 w 965"/>
                <a:gd name="T99" fmla="*/ 928 h 966"/>
                <a:gd name="T100" fmla="*/ 556 w 965"/>
                <a:gd name="T101" fmla="*/ 96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5" h="966">
                  <a:moveTo>
                    <a:pt x="482" y="53"/>
                  </a:moveTo>
                  <a:lnTo>
                    <a:pt x="461" y="54"/>
                  </a:lnTo>
                  <a:lnTo>
                    <a:pt x="438" y="55"/>
                  </a:lnTo>
                  <a:lnTo>
                    <a:pt x="417" y="59"/>
                  </a:lnTo>
                  <a:lnTo>
                    <a:pt x="396" y="62"/>
                  </a:lnTo>
                  <a:lnTo>
                    <a:pt x="376" y="68"/>
                  </a:lnTo>
                  <a:lnTo>
                    <a:pt x="355" y="73"/>
                  </a:lnTo>
                  <a:lnTo>
                    <a:pt x="335" y="80"/>
                  </a:lnTo>
                  <a:lnTo>
                    <a:pt x="316" y="88"/>
                  </a:lnTo>
                  <a:lnTo>
                    <a:pt x="297" y="96"/>
                  </a:lnTo>
                  <a:lnTo>
                    <a:pt x="278" y="106"/>
                  </a:lnTo>
                  <a:lnTo>
                    <a:pt x="260" y="116"/>
                  </a:lnTo>
                  <a:lnTo>
                    <a:pt x="243" y="127"/>
                  </a:lnTo>
                  <a:lnTo>
                    <a:pt x="226" y="139"/>
                  </a:lnTo>
                  <a:lnTo>
                    <a:pt x="210" y="152"/>
                  </a:lnTo>
                  <a:lnTo>
                    <a:pt x="194" y="165"/>
                  </a:lnTo>
                  <a:lnTo>
                    <a:pt x="179" y="180"/>
                  </a:lnTo>
                  <a:lnTo>
                    <a:pt x="165" y="194"/>
                  </a:lnTo>
                  <a:lnTo>
                    <a:pt x="151" y="210"/>
                  </a:lnTo>
                  <a:lnTo>
                    <a:pt x="139" y="226"/>
                  </a:lnTo>
                  <a:lnTo>
                    <a:pt x="127" y="243"/>
                  </a:lnTo>
                  <a:lnTo>
                    <a:pt x="115" y="261"/>
                  </a:lnTo>
                  <a:lnTo>
                    <a:pt x="105" y="278"/>
                  </a:lnTo>
                  <a:lnTo>
                    <a:pt x="95" y="296"/>
                  </a:lnTo>
                  <a:lnTo>
                    <a:pt x="87" y="315"/>
                  </a:lnTo>
                  <a:lnTo>
                    <a:pt x="80" y="336"/>
                  </a:lnTo>
                  <a:lnTo>
                    <a:pt x="73" y="356"/>
                  </a:lnTo>
                  <a:lnTo>
                    <a:pt x="67" y="376"/>
                  </a:lnTo>
                  <a:lnTo>
                    <a:pt x="62" y="396"/>
                  </a:lnTo>
                  <a:lnTo>
                    <a:pt x="58" y="418"/>
                  </a:lnTo>
                  <a:lnTo>
                    <a:pt x="56" y="439"/>
                  </a:lnTo>
                  <a:lnTo>
                    <a:pt x="54" y="461"/>
                  </a:lnTo>
                  <a:lnTo>
                    <a:pt x="54" y="483"/>
                  </a:lnTo>
                  <a:lnTo>
                    <a:pt x="54" y="505"/>
                  </a:lnTo>
                  <a:lnTo>
                    <a:pt x="56" y="526"/>
                  </a:lnTo>
                  <a:lnTo>
                    <a:pt x="58" y="549"/>
                  </a:lnTo>
                  <a:lnTo>
                    <a:pt x="62" y="569"/>
                  </a:lnTo>
                  <a:lnTo>
                    <a:pt x="67" y="590"/>
                  </a:lnTo>
                  <a:lnTo>
                    <a:pt x="73" y="610"/>
                  </a:lnTo>
                  <a:lnTo>
                    <a:pt x="80" y="631"/>
                  </a:lnTo>
                  <a:lnTo>
                    <a:pt x="87" y="650"/>
                  </a:lnTo>
                  <a:lnTo>
                    <a:pt x="95" y="669"/>
                  </a:lnTo>
                  <a:lnTo>
                    <a:pt x="105" y="688"/>
                  </a:lnTo>
                  <a:lnTo>
                    <a:pt x="115" y="706"/>
                  </a:lnTo>
                  <a:lnTo>
                    <a:pt x="127" y="722"/>
                  </a:lnTo>
                  <a:lnTo>
                    <a:pt x="139" y="739"/>
                  </a:lnTo>
                  <a:lnTo>
                    <a:pt x="151" y="756"/>
                  </a:lnTo>
                  <a:lnTo>
                    <a:pt x="165" y="772"/>
                  </a:lnTo>
                  <a:lnTo>
                    <a:pt x="179" y="786"/>
                  </a:lnTo>
                  <a:lnTo>
                    <a:pt x="194" y="801"/>
                  </a:lnTo>
                  <a:lnTo>
                    <a:pt x="210" y="814"/>
                  </a:lnTo>
                  <a:lnTo>
                    <a:pt x="226" y="827"/>
                  </a:lnTo>
                  <a:lnTo>
                    <a:pt x="243" y="839"/>
                  </a:lnTo>
                  <a:lnTo>
                    <a:pt x="260" y="850"/>
                  </a:lnTo>
                  <a:lnTo>
                    <a:pt x="278" y="860"/>
                  </a:lnTo>
                  <a:lnTo>
                    <a:pt x="297" y="869"/>
                  </a:lnTo>
                  <a:lnTo>
                    <a:pt x="316" y="878"/>
                  </a:lnTo>
                  <a:lnTo>
                    <a:pt x="335" y="886"/>
                  </a:lnTo>
                  <a:lnTo>
                    <a:pt x="355" y="893"/>
                  </a:lnTo>
                  <a:lnTo>
                    <a:pt x="376" y="898"/>
                  </a:lnTo>
                  <a:lnTo>
                    <a:pt x="396" y="903"/>
                  </a:lnTo>
                  <a:lnTo>
                    <a:pt x="417" y="907"/>
                  </a:lnTo>
                  <a:lnTo>
                    <a:pt x="438" y="910"/>
                  </a:lnTo>
                  <a:lnTo>
                    <a:pt x="461" y="912"/>
                  </a:lnTo>
                  <a:lnTo>
                    <a:pt x="482" y="912"/>
                  </a:lnTo>
                  <a:lnTo>
                    <a:pt x="504" y="912"/>
                  </a:lnTo>
                  <a:lnTo>
                    <a:pt x="527" y="910"/>
                  </a:lnTo>
                  <a:lnTo>
                    <a:pt x="548" y="907"/>
                  </a:lnTo>
                  <a:lnTo>
                    <a:pt x="569" y="903"/>
                  </a:lnTo>
                  <a:lnTo>
                    <a:pt x="590" y="898"/>
                  </a:lnTo>
                  <a:lnTo>
                    <a:pt x="610" y="893"/>
                  </a:lnTo>
                  <a:lnTo>
                    <a:pt x="630" y="886"/>
                  </a:lnTo>
                  <a:lnTo>
                    <a:pt x="649" y="878"/>
                  </a:lnTo>
                  <a:lnTo>
                    <a:pt x="668" y="869"/>
                  </a:lnTo>
                  <a:lnTo>
                    <a:pt x="687" y="860"/>
                  </a:lnTo>
                  <a:lnTo>
                    <a:pt x="705" y="850"/>
                  </a:lnTo>
                  <a:lnTo>
                    <a:pt x="722" y="839"/>
                  </a:lnTo>
                  <a:lnTo>
                    <a:pt x="739" y="827"/>
                  </a:lnTo>
                  <a:lnTo>
                    <a:pt x="756" y="814"/>
                  </a:lnTo>
                  <a:lnTo>
                    <a:pt x="771" y="801"/>
                  </a:lnTo>
                  <a:lnTo>
                    <a:pt x="786" y="786"/>
                  </a:lnTo>
                  <a:lnTo>
                    <a:pt x="800" y="772"/>
                  </a:lnTo>
                  <a:lnTo>
                    <a:pt x="814" y="756"/>
                  </a:lnTo>
                  <a:lnTo>
                    <a:pt x="826" y="739"/>
                  </a:lnTo>
                  <a:lnTo>
                    <a:pt x="838" y="722"/>
                  </a:lnTo>
                  <a:lnTo>
                    <a:pt x="850" y="706"/>
                  </a:lnTo>
                  <a:lnTo>
                    <a:pt x="860" y="688"/>
                  </a:lnTo>
                  <a:lnTo>
                    <a:pt x="870" y="669"/>
                  </a:lnTo>
                  <a:lnTo>
                    <a:pt x="878" y="650"/>
                  </a:lnTo>
                  <a:lnTo>
                    <a:pt x="886" y="631"/>
                  </a:lnTo>
                  <a:lnTo>
                    <a:pt x="892" y="610"/>
                  </a:lnTo>
                  <a:lnTo>
                    <a:pt x="898" y="590"/>
                  </a:lnTo>
                  <a:lnTo>
                    <a:pt x="903" y="569"/>
                  </a:lnTo>
                  <a:lnTo>
                    <a:pt x="907" y="549"/>
                  </a:lnTo>
                  <a:lnTo>
                    <a:pt x="909" y="526"/>
                  </a:lnTo>
                  <a:lnTo>
                    <a:pt x="911" y="505"/>
                  </a:lnTo>
                  <a:lnTo>
                    <a:pt x="911" y="483"/>
                  </a:lnTo>
                  <a:lnTo>
                    <a:pt x="911" y="461"/>
                  </a:lnTo>
                  <a:lnTo>
                    <a:pt x="909" y="439"/>
                  </a:lnTo>
                  <a:lnTo>
                    <a:pt x="907" y="418"/>
                  </a:lnTo>
                  <a:lnTo>
                    <a:pt x="903" y="396"/>
                  </a:lnTo>
                  <a:lnTo>
                    <a:pt x="898" y="376"/>
                  </a:lnTo>
                  <a:lnTo>
                    <a:pt x="892" y="356"/>
                  </a:lnTo>
                  <a:lnTo>
                    <a:pt x="886" y="336"/>
                  </a:lnTo>
                  <a:lnTo>
                    <a:pt x="878" y="315"/>
                  </a:lnTo>
                  <a:lnTo>
                    <a:pt x="870" y="296"/>
                  </a:lnTo>
                  <a:lnTo>
                    <a:pt x="860" y="278"/>
                  </a:lnTo>
                  <a:lnTo>
                    <a:pt x="850" y="261"/>
                  </a:lnTo>
                  <a:lnTo>
                    <a:pt x="838" y="243"/>
                  </a:lnTo>
                  <a:lnTo>
                    <a:pt x="826" y="226"/>
                  </a:lnTo>
                  <a:lnTo>
                    <a:pt x="814" y="210"/>
                  </a:lnTo>
                  <a:lnTo>
                    <a:pt x="800" y="194"/>
                  </a:lnTo>
                  <a:lnTo>
                    <a:pt x="786" y="180"/>
                  </a:lnTo>
                  <a:lnTo>
                    <a:pt x="771" y="165"/>
                  </a:lnTo>
                  <a:lnTo>
                    <a:pt x="756" y="152"/>
                  </a:lnTo>
                  <a:lnTo>
                    <a:pt x="739" y="139"/>
                  </a:lnTo>
                  <a:lnTo>
                    <a:pt x="722" y="127"/>
                  </a:lnTo>
                  <a:lnTo>
                    <a:pt x="705" y="116"/>
                  </a:lnTo>
                  <a:lnTo>
                    <a:pt x="687" y="106"/>
                  </a:lnTo>
                  <a:lnTo>
                    <a:pt x="668" y="96"/>
                  </a:lnTo>
                  <a:lnTo>
                    <a:pt x="649" y="88"/>
                  </a:lnTo>
                  <a:lnTo>
                    <a:pt x="630" y="80"/>
                  </a:lnTo>
                  <a:lnTo>
                    <a:pt x="610" y="73"/>
                  </a:lnTo>
                  <a:lnTo>
                    <a:pt x="590" y="68"/>
                  </a:lnTo>
                  <a:lnTo>
                    <a:pt x="569" y="62"/>
                  </a:lnTo>
                  <a:lnTo>
                    <a:pt x="548" y="59"/>
                  </a:lnTo>
                  <a:lnTo>
                    <a:pt x="527" y="55"/>
                  </a:lnTo>
                  <a:lnTo>
                    <a:pt x="504" y="54"/>
                  </a:lnTo>
                  <a:lnTo>
                    <a:pt x="482" y="53"/>
                  </a:lnTo>
                  <a:close/>
                  <a:moveTo>
                    <a:pt x="482" y="966"/>
                  </a:moveTo>
                  <a:lnTo>
                    <a:pt x="457" y="965"/>
                  </a:lnTo>
                  <a:lnTo>
                    <a:pt x="433" y="964"/>
                  </a:lnTo>
                  <a:lnTo>
                    <a:pt x="409" y="960"/>
                  </a:lnTo>
                  <a:lnTo>
                    <a:pt x="386" y="956"/>
                  </a:lnTo>
                  <a:lnTo>
                    <a:pt x="362" y="950"/>
                  </a:lnTo>
                  <a:lnTo>
                    <a:pt x="340" y="944"/>
                  </a:lnTo>
                  <a:lnTo>
                    <a:pt x="317" y="937"/>
                  </a:lnTo>
                  <a:lnTo>
                    <a:pt x="295" y="928"/>
                  </a:lnTo>
                  <a:lnTo>
                    <a:pt x="273" y="918"/>
                  </a:lnTo>
                  <a:lnTo>
                    <a:pt x="252" y="907"/>
                  </a:lnTo>
                  <a:lnTo>
                    <a:pt x="232" y="896"/>
                  </a:lnTo>
                  <a:lnTo>
                    <a:pt x="213" y="883"/>
                  </a:lnTo>
                  <a:lnTo>
                    <a:pt x="194" y="869"/>
                  </a:lnTo>
                  <a:lnTo>
                    <a:pt x="176" y="856"/>
                  </a:lnTo>
                  <a:lnTo>
                    <a:pt x="158" y="840"/>
                  </a:lnTo>
                  <a:lnTo>
                    <a:pt x="141" y="825"/>
                  </a:lnTo>
                  <a:lnTo>
                    <a:pt x="126" y="808"/>
                  </a:lnTo>
                  <a:lnTo>
                    <a:pt x="110" y="790"/>
                  </a:lnTo>
                  <a:lnTo>
                    <a:pt x="95" y="772"/>
                  </a:lnTo>
                  <a:lnTo>
                    <a:pt x="82" y="753"/>
                  </a:lnTo>
                  <a:lnTo>
                    <a:pt x="69" y="733"/>
                  </a:lnTo>
                  <a:lnTo>
                    <a:pt x="58" y="712"/>
                  </a:lnTo>
                  <a:lnTo>
                    <a:pt x="47" y="692"/>
                  </a:lnTo>
                  <a:lnTo>
                    <a:pt x="38" y="671"/>
                  </a:lnTo>
                  <a:lnTo>
                    <a:pt x="29" y="648"/>
                  </a:lnTo>
                  <a:lnTo>
                    <a:pt x="21" y="626"/>
                  </a:lnTo>
                  <a:lnTo>
                    <a:pt x="15" y="604"/>
                  </a:lnTo>
                  <a:lnTo>
                    <a:pt x="10" y="580"/>
                  </a:lnTo>
                  <a:lnTo>
                    <a:pt x="6" y="557"/>
                  </a:lnTo>
                  <a:lnTo>
                    <a:pt x="2" y="532"/>
                  </a:lnTo>
                  <a:lnTo>
                    <a:pt x="0" y="507"/>
                  </a:lnTo>
                  <a:lnTo>
                    <a:pt x="0" y="483"/>
                  </a:lnTo>
                  <a:lnTo>
                    <a:pt x="0" y="458"/>
                  </a:lnTo>
                  <a:lnTo>
                    <a:pt x="2" y="433"/>
                  </a:lnTo>
                  <a:lnTo>
                    <a:pt x="6" y="410"/>
                  </a:lnTo>
                  <a:lnTo>
                    <a:pt x="10" y="386"/>
                  </a:lnTo>
                  <a:lnTo>
                    <a:pt x="15" y="363"/>
                  </a:lnTo>
                  <a:lnTo>
                    <a:pt x="21" y="339"/>
                  </a:lnTo>
                  <a:lnTo>
                    <a:pt x="29" y="317"/>
                  </a:lnTo>
                  <a:lnTo>
                    <a:pt x="38" y="295"/>
                  </a:lnTo>
                  <a:lnTo>
                    <a:pt x="47" y="274"/>
                  </a:lnTo>
                  <a:lnTo>
                    <a:pt x="58" y="253"/>
                  </a:lnTo>
                  <a:lnTo>
                    <a:pt x="69" y="233"/>
                  </a:lnTo>
                  <a:lnTo>
                    <a:pt x="82" y="213"/>
                  </a:lnTo>
                  <a:lnTo>
                    <a:pt x="95" y="194"/>
                  </a:lnTo>
                  <a:lnTo>
                    <a:pt x="110" y="176"/>
                  </a:lnTo>
                  <a:lnTo>
                    <a:pt x="126" y="159"/>
                  </a:lnTo>
                  <a:lnTo>
                    <a:pt x="141" y="142"/>
                  </a:lnTo>
                  <a:lnTo>
                    <a:pt x="158" y="126"/>
                  </a:lnTo>
                  <a:lnTo>
                    <a:pt x="176" y="110"/>
                  </a:lnTo>
                  <a:lnTo>
                    <a:pt x="194" y="96"/>
                  </a:lnTo>
                  <a:lnTo>
                    <a:pt x="213" y="82"/>
                  </a:lnTo>
                  <a:lnTo>
                    <a:pt x="232" y="70"/>
                  </a:lnTo>
                  <a:lnTo>
                    <a:pt x="252" y="59"/>
                  </a:lnTo>
                  <a:lnTo>
                    <a:pt x="273" y="48"/>
                  </a:lnTo>
                  <a:lnTo>
                    <a:pt x="295" y="39"/>
                  </a:lnTo>
                  <a:lnTo>
                    <a:pt x="317" y="30"/>
                  </a:lnTo>
                  <a:lnTo>
                    <a:pt x="340" y="22"/>
                  </a:lnTo>
                  <a:lnTo>
                    <a:pt x="362" y="15"/>
                  </a:lnTo>
                  <a:lnTo>
                    <a:pt x="386" y="9"/>
                  </a:lnTo>
                  <a:lnTo>
                    <a:pt x="409" y="6"/>
                  </a:lnTo>
                  <a:lnTo>
                    <a:pt x="433" y="3"/>
                  </a:lnTo>
                  <a:lnTo>
                    <a:pt x="457" y="0"/>
                  </a:lnTo>
                  <a:lnTo>
                    <a:pt x="482" y="0"/>
                  </a:lnTo>
                  <a:lnTo>
                    <a:pt x="508" y="0"/>
                  </a:lnTo>
                  <a:lnTo>
                    <a:pt x="531" y="3"/>
                  </a:lnTo>
                  <a:lnTo>
                    <a:pt x="556" y="6"/>
                  </a:lnTo>
                  <a:lnTo>
                    <a:pt x="580" y="9"/>
                  </a:lnTo>
                  <a:lnTo>
                    <a:pt x="603" y="15"/>
                  </a:lnTo>
                  <a:lnTo>
                    <a:pt x="625" y="22"/>
                  </a:lnTo>
                  <a:lnTo>
                    <a:pt x="648" y="30"/>
                  </a:lnTo>
                  <a:lnTo>
                    <a:pt x="670" y="39"/>
                  </a:lnTo>
                  <a:lnTo>
                    <a:pt x="692" y="48"/>
                  </a:lnTo>
                  <a:lnTo>
                    <a:pt x="713" y="59"/>
                  </a:lnTo>
                  <a:lnTo>
                    <a:pt x="733" y="70"/>
                  </a:lnTo>
                  <a:lnTo>
                    <a:pt x="752" y="82"/>
                  </a:lnTo>
                  <a:lnTo>
                    <a:pt x="771" y="96"/>
                  </a:lnTo>
                  <a:lnTo>
                    <a:pt x="789" y="110"/>
                  </a:lnTo>
                  <a:lnTo>
                    <a:pt x="807" y="126"/>
                  </a:lnTo>
                  <a:lnTo>
                    <a:pt x="824" y="142"/>
                  </a:lnTo>
                  <a:lnTo>
                    <a:pt x="840" y="159"/>
                  </a:lnTo>
                  <a:lnTo>
                    <a:pt x="855" y="176"/>
                  </a:lnTo>
                  <a:lnTo>
                    <a:pt x="869" y="194"/>
                  </a:lnTo>
                  <a:lnTo>
                    <a:pt x="883" y="213"/>
                  </a:lnTo>
                  <a:lnTo>
                    <a:pt x="896" y="233"/>
                  </a:lnTo>
                  <a:lnTo>
                    <a:pt x="907" y="253"/>
                  </a:lnTo>
                  <a:lnTo>
                    <a:pt x="918" y="274"/>
                  </a:lnTo>
                  <a:lnTo>
                    <a:pt x="927" y="295"/>
                  </a:lnTo>
                  <a:lnTo>
                    <a:pt x="936" y="317"/>
                  </a:lnTo>
                  <a:lnTo>
                    <a:pt x="944" y="339"/>
                  </a:lnTo>
                  <a:lnTo>
                    <a:pt x="951" y="363"/>
                  </a:lnTo>
                  <a:lnTo>
                    <a:pt x="955" y="386"/>
                  </a:lnTo>
                  <a:lnTo>
                    <a:pt x="960" y="410"/>
                  </a:lnTo>
                  <a:lnTo>
                    <a:pt x="963" y="433"/>
                  </a:lnTo>
                  <a:lnTo>
                    <a:pt x="965" y="458"/>
                  </a:lnTo>
                  <a:lnTo>
                    <a:pt x="965" y="483"/>
                  </a:lnTo>
                  <a:lnTo>
                    <a:pt x="965" y="507"/>
                  </a:lnTo>
                  <a:lnTo>
                    <a:pt x="963" y="532"/>
                  </a:lnTo>
                  <a:lnTo>
                    <a:pt x="960" y="557"/>
                  </a:lnTo>
                  <a:lnTo>
                    <a:pt x="955" y="580"/>
                  </a:lnTo>
                  <a:lnTo>
                    <a:pt x="951" y="604"/>
                  </a:lnTo>
                  <a:lnTo>
                    <a:pt x="944" y="626"/>
                  </a:lnTo>
                  <a:lnTo>
                    <a:pt x="936" y="648"/>
                  </a:lnTo>
                  <a:lnTo>
                    <a:pt x="927" y="671"/>
                  </a:lnTo>
                  <a:lnTo>
                    <a:pt x="918" y="692"/>
                  </a:lnTo>
                  <a:lnTo>
                    <a:pt x="907" y="712"/>
                  </a:lnTo>
                  <a:lnTo>
                    <a:pt x="896" y="733"/>
                  </a:lnTo>
                  <a:lnTo>
                    <a:pt x="883" y="753"/>
                  </a:lnTo>
                  <a:lnTo>
                    <a:pt x="869" y="772"/>
                  </a:lnTo>
                  <a:lnTo>
                    <a:pt x="855" y="790"/>
                  </a:lnTo>
                  <a:lnTo>
                    <a:pt x="840" y="808"/>
                  </a:lnTo>
                  <a:lnTo>
                    <a:pt x="824" y="825"/>
                  </a:lnTo>
                  <a:lnTo>
                    <a:pt x="807" y="840"/>
                  </a:lnTo>
                  <a:lnTo>
                    <a:pt x="789" y="856"/>
                  </a:lnTo>
                  <a:lnTo>
                    <a:pt x="771" y="869"/>
                  </a:lnTo>
                  <a:lnTo>
                    <a:pt x="752" y="883"/>
                  </a:lnTo>
                  <a:lnTo>
                    <a:pt x="733" y="896"/>
                  </a:lnTo>
                  <a:lnTo>
                    <a:pt x="713" y="907"/>
                  </a:lnTo>
                  <a:lnTo>
                    <a:pt x="692" y="918"/>
                  </a:lnTo>
                  <a:lnTo>
                    <a:pt x="670" y="928"/>
                  </a:lnTo>
                  <a:lnTo>
                    <a:pt x="648" y="937"/>
                  </a:lnTo>
                  <a:lnTo>
                    <a:pt x="625" y="944"/>
                  </a:lnTo>
                  <a:lnTo>
                    <a:pt x="603" y="950"/>
                  </a:lnTo>
                  <a:lnTo>
                    <a:pt x="580" y="956"/>
                  </a:lnTo>
                  <a:lnTo>
                    <a:pt x="556" y="960"/>
                  </a:lnTo>
                  <a:lnTo>
                    <a:pt x="531" y="964"/>
                  </a:lnTo>
                  <a:lnTo>
                    <a:pt x="508" y="965"/>
                  </a:lnTo>
                  <a:lnTo>
                    <a:pt x="482" y="9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10">
              <a:extLst>
                <a:ext uri="{FF2B5EF4-FFF2-40B4-BE49-F238E27FC236}">
                  <a16:creationId xmlns:a16="http://schemas.microsoft.com/office/drawing/2014/main" id="{53C6C2D2-5AEE-4BB8-8EEE-0D7C8BEBE15C}"/>
                </a:ext>
              </a:extLst>
            </p:cNvPr>
            <p:cNvSpPr>
              <a:spLocks/>
            </p:cNvSpPr>
            <p:nvPr/>
          </p:nvSpPr>
          <p:spPr bwMode="auto">
            <a:xfrm>
              <a:off x="4642638" y="3191971"/>
              <a:ext cx="332005" cy="332005"/>
            </a:xfrm>
            <a:custGeom>
              <a:avLst/>
              <a:gdLst>
                <a:gd name="T0" fmla="*/ 536 w 563"/>
                <a:gd name="T1" fmla="*/ 562 h 562"/>
                <a:gd name="T2" fmla="*/ 531 w 563"/>
                <a:gd name="T3" fmla="*/ 562 h 562"/>
                <a:gd name="T4" fmla="*/ 526 w 563"/>
                <a:gd name="T5" fmla="*/ 560 h 562"/>
                <a:gd name="T6" fmla="*/ 521 w 563"/>
                <a:gd name="T7" fmla="*/ 558 h 562"/>
                <a:gd name="T8" fmla="*/ 517 w 563"/>
                <a:gd name="T9" fmla="*/ 555 h 562"/>
                <a:gd name="T10" fmla="*/ 8 w 563"/>
                <a:gd name="T11" fmla="*/ 44 h 562"/>
                <a:gd name="T12" fmla="*/ 4 w 563"/>
                <a:gd name="T13" fmla="*/ 41 h 562"/>
                <a:gd name="T14" fmla="*/ 1 w 563"/>
                <a:gd name="T15" fmla="*/ 37 h 562"/>
                <a:gd name="T16" fmla="*/ 0 w 563"/>
                <a:gd name="T17" fmla="*/ 31 h 562"/>
                <a:gd name="T18" fmla="*/ 0 w 563"/>
                <a:gd name="T19" fmla="*/ 27 h 562"/>
                <a:gd name="T20" fmla="*/ 0 w 563"/>
                <a:gd name="T21" fmla="*/ 21 h 562"/>
                <a:gd name="T22" fmla="*/ 1 w 563"/>
                <a:gd name="T23" fmla="*/ 16 h 562"/>
                <a:gd name="T24" fmla="*/ 4 w 563"/>
                <a:gd name="T25" fmla="*/ 11 h 562"/>
                <a:gd name="T26" fmla="*/ 8 w 563"/>
                <a:gd name="T27" fmla="*/ 7 h 562"/>
                <a:gd name="T28" fmla="*/ 11 w 563"/>
                <a:gd name="T29" fmla="*/ 4 h 562"/>
                <a:gd name="T30" fmla="*/ 17 w 563"/>
                <a:gd name="T31" fmla="*/ 1 h 562"/>
                <a:gd name="T32" fmla="*/ 21 w 563"/>
                <a:gd name="T33" fmla="*/ 0 h 562"/>
                <a:gd name="T34" fmla="*/ 27 w 563"/>
                <a:gd name="T35" fmla="*/ 0 h 562"/>
                <a:gd name="T36" fmla="*/ 31 w 563"/>
                <a:gd name="T37" fmla="*/ 0 h 562"/>
                <a:gd name="T38" fmla="*/ 37 w 563"/>
                <a:gd name="T39" fmla="*/ 1 h 562"/>
                <a:gd name="T40" fmla="*/ 41 w 563"/>
                <a:gd name="T41" fmla="*/ 4 h 562"/>
                <a:gd name="T42" fmla="*/ 45 w 563"/>
                <a:gd name="T43" fmla="*/ 7 h 562"/>
                <a:gd name="T44" fmla="*/ 555 w 563"/>
                <a:gd name="T45" fmla="*/ 516 h 562"/>
                <a:gd name="T46" fmla="*/ 558 w 563"/>
                <a:gd name="T47" fmla="*/ 521 h 562"/>
                <a:gd name="T48" fmla="*/ 560 w 563"/>
                <a:gd name="T49" fmla="*/ 525 h 562"/>
                <a:gd name="T50" fmla="*/ 563 w 563"/>
                <a:gd name="T51" fmla="*/ 531 h 562"/>
                <a:gd name="T52" fmla="*/ 563 w 563"/>
                <a:gd name="T53" fmla="*/ 536 h 562"/>
                <a:gd name="T54" fmla="*/ 563 w 563"/>
                <a:gd name="T55" fmla="*/ 541 h 562"/>
                <a:gd name="T56" fmla="*/ 560 w 563"/>
                <a:gd name="T57" fmla="*/ 546 h 562"/>
                <a:gd name="T58" fmla="*/ 558 w 563"/>
                <a:gd name="T59" fmla="*/ 550 h 562"/>
                <a:gd name="T60" fmla="*/ 555 w 563"/>
                <a:gd name="T61" fmla="*/ 555 h 562"/>
                <a:gd name="T62" fmla="*/ 550 w 563"/>
                <a:gd name="T63" fmla="*/ 558 h 562"/>
                <a:gd name="T64" fmla="*/ 546 w 563"/>
                <a:gd name="T65" fmla="*/ 560 h 562"/>
                <a:gd name="T66" fmla="*/ 541 w 563"/>
                <a:gd name="T67" fmla="*/ 562 h 562"/>
                <a:gd name="T68" fmla="*/ 536 w 563"/>
                <a:gd name="T69"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3" h="562">
                  <a:moveTo>
                    <a:pt x="536" y="562"/>
                  </a:moveTo>
                  <a:lnTo>
                    <a:pt x="531" y="562"/>
                  </a:lnTo>
                  <a:lnTo>
                    <a:pt x="526" y="560"/>
                  </a:lnTo>
                  <a:lnTo>
                    <a:pt x="521" y="558"/>
                  </a:lnTo>
                  <a:lnTo>
                    <a:pt x="517" y="555"/>
                  </a:lnTo>
                  <a:lnTo>
                    <a:pt x="8" y="44"/>
                  </a:lnTo>
                  <a:lnTo>
                    <a:pt x="4" y="41"/>
                  </a:lnTo>
                  <a:lnTo>
                    <a:pt x="1" y="37"/>
                  </a:lnTo>
                  <a:lnTo>
                    <a:pt x="0" y="31"/>
                  </a:lnTo>
                  <a:lnTo>
                    <a:pt x="0" y="27"/>
                  </a:lnTo>
                  <a:lnTo>
                    <a:pt x="0" y="21"/>
                  </a:lnTo>
                  <a:lnTo>
                    <a:pt x="1" y="16"/>
                  </a:lnTo>
                  <a:lnTo>
                    <a:pt x="4" y="11"/>
                  </a:lnTo>
                  <a:lnTo>
                    <a:pt x="8" y="7"/>
                  </a:lnTo>
                  <a:lnTo>
                    <a:pt x="11" y="4"/>
                  </a:lnTo>
                  <a:lnTo>
                    <a:pt x="17" y="1"/>
                  </a:lnTo>
                  <a:lnTo>
                    <a:pt x="21" y="0"/>
                  </a:lnTo>
                  <a:lnTo>
                    <a:pt x="27" y="0"/>
                  </a:lnTo>
                  <a:lnTo>
                    <a:pt x="31" y="0"/>
                  </a:lnTo>
                  <a:lnTo>
                    <a:pt x="37" y="1"/>
                  </a:lnTo>
                  <a:lnTo>
                    <a:pt x="41" y="4"/>
                  </a:lnTo>
                  <a:lnTo>
                    <a:pt x="45" y="7"/>
                  </a:lnTo>
                  <a:lnTo>
                    <a:pt x="555" y="516"/>
                  </a:lnTo>
                  <a:lnTo>
                    <a:pt x="558" y="521"/>
                  </a:lnTo>
                  <a:lnTo>
                    <a:pt x="560" y="525"/>
                  </a:lnTo>
                  <a:lnTo>
                    <a:pt x="563" y="531"/>
                  </a:lnTo>
                  <a:lnTo>
                    <a:pt x="563" y="536"/>
                  </a:lnTo>
                  <a:lnTo>
                    <a:pt x="563" y="541"/>
                  </a:lnTo>
                  <a:lnTo>
                    <a:pt x="560" y="546"/>
                  </a:lnTo>
                  <a:lnTo>
                    <a:pt x="558" y="550"/>
                  </a:lnTo>
                  <a:lnTo>
                    <a:pt x="555" y="555"/>
                  </a:lnTo>
                  <a:lnTo>
                    <a:pt x="550" y="558"/>
                  </a:lnTo>
                  <a:lnTo>
                    <a:pt x="546" y="560"/>
                  </a:lnTo>
                  <a:lnTo>
                    <a:pt x="541" y="562"/>
                  </a:lnTo>
                  <a:lnTo>
                    <a:pt x="536" y="5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11">
              <a:extLst>
                <a:ext uri="{FF2B5EF4-FFF2-40B4-BE49-F238E27FC236}">
                  <a16:creationId xmlns:a16="http://schemas.microsoft.com/office/drawing/2014/main" id="{D5E014B4-84F6-4238-8554-5DA607D449B0}"/>
                </a:ext>
              </a:extLst>
            </p:cNvPr>
            <p:cNvSpPr>
              <a:spLocks/>
            </p:cNvSpPr>
            <p:nvPr/>
          </p:nvSpPr>
          <p:spPr bwMode="auto">
            <a:xfrm>
              <a:off x="4232931" y="2812876"/>
              <a:ext cx="235464" cy="237819"/>
            </a:xfrm>
            <a:custGeom>
              <a:avLst/>
              <a:gdLst>
                <a:gd name="T0" fmla="*/ 23 w 403"/>
                <a:gd name="T1" fmla="*/ 402 h 402"/>
                <a:gd name="T2" fmla="*/ 13 w 403"/>
                <a:gd name="T3" fmla="*/ 398 h 402"/>
                <a:gd name="T4" fmla="*/ 6 w 403"/>
                <a:gd name="T5" fmla="*/ 391 h 402"/>
                <a:gd name="T6" fmla="*/ 2 w 403"/>
                <a:gd name="T7" fmla="*/ 381 h 402"/>
                <a:gd name="T8" fmla="*/ 2 w 403"/>
                <a:gd name="T9" fmla="*/ 356 h 402"/>
                <a:gd name="T10" fmla="*/ 5 w 403"/>
                <a:gd name="T11" fmla="*/ 318 h 402"/>
                <a:gd name="T12" fmla="*/ 13 w 403"/>
                <a:gd name="T13" fmla="*/ 282 h 402"/>
                <a:gd name="T14" fmla="*/ 24 w 403"/>
                <a:gd name="T15" fmla="*/ 247 h 402"/>
                <a:gd name="T16" fmla="*/ 39 w 403"/>
                <a:gd name="T17" fmla="*/ 213 h 402"/>
                <a:gd name="T18" fmla="*/ 55 w 403"/>
                <a:gd name="T19" fmla="*/ 182 h 402"/>
                <a:gd name="T20" fmla="*/ 76 w 403"/>
                <a:gd name="T21" fmla="*/ 151 h 402"/>
                <a:gd name="T22" fmla="*/ 99 w 403"/>
                <a:gd name="T23" fmla="*/ 123 h 402"/>
                <a:gd name="T24" fmla="*/ 124 w 403"/>
                <a:gd name="T25" fmla="*/ 97 h 402"/>
                <a:gd name="T26" fmla="*/ 152 w 403"/>
                <a:gd name="T27" fmla="*/ 75 h 402"/>
                <a:gd name="T28" fmla="*/ 182 w 403"/>
                <a:gd name="T29" fmla="*/ 55 h 402"/>
                <a:gd name="T30" fmla="*/ 213 w 403"/>
                <a:gd name="T31" fmla="*/ 37 h 402"/>
                <a:gd name="T32" fmla="*/ 247 w 403"/>
                <a:gd name="T33" fmla="*/ 23 h 402"/>
                <a:gd name="T34" fmla="*/ 283 w 403"/>
                <a:gd name="T35" fmla="*/ 12 h 402"/>
                <a:gd name="T36" fmla="*/ 320 w 403"/>
                <a:gd name="T37" fmla="*/ 4 h 402"/>
                <a:gd name="T38" fmla="*/ 357 w 403"/>
                <a:gd name="T39" fmla="*/ 1 h 402"/>
                <a:gd name="T40" fmla="*/ 382 w 403"/>
                <a:gd name="T41" fmla="*/ 1 h 402"/>
                <a:gd name="T42" fmla="*/ 392 w 403"/>
                <a:gd name="T43" fmla="*/ 4 h 402"/>
                <a:gd name="T44" fmla="*/ 398 w 403"/>
                <a:gd name="T45" fmla="*/ 12 h 402"/>
                <a:gd name="T46" fmla="*/ 403 w 403"/>
                <a:gd name="T47" fmla="*/ 21 h 402"/>
                <a:gd name="T48" fmla="*/ 403 w 403"/>
                <a:gd name="T49" fmla="*/ 32 h 402"/>
                <a:gd name="T50" fmla="*/ 398 w 403"/>
                <a:gd name="T51" fmla="*/ 43 h 402"/>
                <a:gd name="T52" fmla="*/ 392 w 403"/>
                <a:gd name="T53" fmla="*/ 49 h 402"/>
                <a:gd name="T54" fmla="*/ 382 w 403"/>
                <a:gd name="T55" fmla="*/ 54 h 402"/>
                <a:gd name="T56" fmla="*/ 360 w 403"/>
                <a:gd name="T57" fmla="*/ 55 h 402"/>
                <a:gd name="T58" fmla="*/ 328 w 403"/>
                <a:gd name="T59" fmla="*/ 58 h 402"/>
                <a:gd name="T60" fmla="*/ 296 w 403"/>
                <a:gd name="T61" fmla="*/ 64 h 402"/>
                <a:gd name="T62" fmla="*/ 266 w 403"/>
                <a:gd name="T63" fmla="*/ 74 h 402"/>
                <a:gd name="T64" fmla="*/ 237 w 403"/>
                <a:gd name="T65" fmla="*/ 86 h 402"/>
                <a:gd name="T66" fmla="*/ 210 w 403"/>
                <a:gd name="T67" fmla="*/ 101 h 402"/>
                <a:gd name="T68" fmla="*/ 184 w 403"/>
                <a:gd name="T69" fmla="*/ 118 h 402"/>
                <a:gd name="T70" fmla="*/ 160 w 403"/>
                <a:gd name="T71" fmla="*/ 138 h 402"/>
                <a:gd name="T72" fmla="*/ 138 w 403"/>
                <a:gd name="T73" fmla="*/ 159 h 402"/>
                <a:gd name="T74" fmla="*/ 118 w 403"/>
                <a:gd name="T75" fmla="*/ 184 h 402"/>
                <a:gd name="T76" fmla="*/ 101 w 403"/>
                <a:gd name="T77" fmla="*/ 210 h 402"/>
                <a:gd name="T78" fmla="*/ 87 w 403"/>
                <a:gd name="T79" fmla="*/ 237 h 402"/>
                <a:gd name="T80" fmla="*/ 74 w 403"/>
                <a:gd name="T81" fmla="*/ 266 h 402"/>
                <a:gd name="T82" fmla="*/ 64 w 403"/>
                <a:gd name="T83" fmla="*/ 296 h 402"/>
                <a:gd name="T84" fmla="*/ 59 w 403"/>
                <a:gd name="T85" fmla="*/ 327 h 402"/>
                <a:gd name="T86" fmla="*/ 55 w 403"/>
                <a:gd name="T87" fmla="*/ 360 h 402"/>
                <a:gd name="T88" fmla="*/ 54 w 403"/>
                <a:gd name="T89" fmla="*/ 381 h 402"/>
                <a:gd name="T90" fmla="*/ 50 w 403"/>
                <a:gd name="T91" fmla="*/ 391 h 402"/>
                <a:gd name="T92" fmla="*/ 43 w 403"/>
                <a:gd name="T93" fmla="*/ 398 h 402"/>
                <a:gd name="T94" fmla="*/ 33 w 403"/>
                <a:gd name="T9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3" h="402">
                  <a:moveTo>
                    <a:pt x="27" y="402"/>
                  </a:moveTo>
                  <a:lnTo>
                    <a:pt x="23" y="402"/>
                  </a:lnTo>
                  <a:lnTo>
                    <a:pt x="17" y="400"/>
                  </a:lnTo>
                  <a:lnTo>
                    <a:pt x="13" y="398"/>
                  </a:lnTo>
                  <a:lnTo>
                    <a:pt x="8" y="395"/>
                  </a:lnTo>
                  <a:lnTo>
                    <a:pt x="6" y="391"/>
                  </a:lnTo>
                  <a:lnTo>
                    <a:pt x="3" y="387"/>
                  </a:lnTo>
                  <a:lnTo>
                    <a:pt x="2" y="381"/>
                  </a:lnTo>
                  <a:lnTo>
                    <a:pt x="0" y="376"/>
                  </a:lnTo>
                  <a:lnTo>
                    <a:pt x="2" y="356"/>
                  </a:lnTo>
                  <a:lnTo>
                    <a:pt x="3" y="337"/>
                  </a:lnTo>
                  <a:lnTo>
                    <a:pt x="5" y="318"/>
                  </a:lnTo>
                  <a:lnTo>
                    <a:pt x="8" y="300"/>
                  </a:lnTo>
                  <a:lnTo>
                    <a:pt x="13" y="282"/>
                  </a:lnTo>
                  <a:lnTo>
                    <a:pt x="18" y="265"/>
                  </a:lnTo>
                  <a:lnTo>
                    <a:pt x="24" y="247"/>
                  </a:lnTo>
                  <a:lnTo>
                    <a:pt x="31" y="230"/>
                  </a:lnTo>
                  <a:lnTo>
                    <a:pt x="39" y="213"/>
                  </a:lnTo>
                  <a:lnTo>
                    <a:pt x="46" y="197"/>
                  </a:lnTo>
                  <a:lnTo>
                    <a:pt x="55" y="182"/>
                  </a:lnTo>
                  <a:lnTo>
                    <a:pt x="65" y="166"/>
                  </a:lnTo>
                  <a:lnTo>
                    <a:pt x="76" y="151"/>
                  </a:lnTo>
                  <a:lnTo>
                    <a:pt x="87" y="137"/>
                  </a:lnTo>
                  <a:lnTo>
                    <a:pt x="99" y="123"/>
                  </a:lnTo>
                  <a:lnTo>
                    <a:pt x="111" y="111"/>
                  </a:lnTo>
                  <a:lnTo>
                    <a:pt x="124" y="97"/>
                  </a:lnTo>
                  <a:lnTo>
                    <a:pt x="138" y="86"/>
                  </a:lnTo>
                  <a:lnTo>
                    <a:pt x="152" y="75"/>
                  </a:lnTo>
                  <a:lnTo>
                    <a:pt x="166" y="65"/>
                  </a:lnTo>
                  <a:lnTo>
                    <a:pt x="182" y="55"/>
                  </a:lnTo>
                  <a:lnTo>
                    <a:pt x="198" y="46"/>
                  </a:lnTo>
                  <a:lnTo>
                    <a:pt x="213" y="37"/>
                  </a:lnTo>
                  <a:lnTo>
                    <a:pt x="230" y="30"/>
                  </a:lnTo>
                  <a:lnTo>
                    <a:pt x="247" y="23"/>
                  </a:lnTo>
                  <a:lnTo>
                    <a:pt x="265" y="17"/>
                  </a:lnTo>
                  <a:lnTo>
                    <a:pt x="283" y="12"/>
                  </a:lnTo>
                  <a:lnTo>
                    <a:pt x="301" y="8"/>
                  </a:lnTo>
                  <a:lnTo>
                    <a:pt x="320" y="4"/>
                  </a:lnTo>
                  <a:lnTo>
                    <a:pt x="338" y="2"/>
                  </a:lnTo>
                  <a:lnTo>
                    <a:pt x="357" y="1"/>
                  </a:lnTo>
                  <a:lnTo>
                    <a:pt x="376" y="0"/>
                  </a:lnTo>
                  <a:lnTo>
                    <a:pt x="382" y="1"/>
                  </a:lnTo>
                  <a:lnTo>
                    <a:pt x="387" y="2"/>
                  </a:lnTo>
                  <a:lnTo>
                    <a:pt x="392" y="4"/>
                  </a:lnTo>
                  <a:lnTo>
                    <a:pt x="395" y="8"/>
                  </a:lnTo>
                  <a:lnTo>
                    <a:pt x="398" y="12"/>
                  </a:lnTo>
                  <a:lnTo>
                    <a:pt x="402" y="17"/>
                  </a:lnTo>
                  <a:lnTo>
                    <a:pt x="403" y="21"/>
                  </a:lnTo>
                  <a:lnTo>
                    <a:pt x="403" y="27"/>
                  </a:lnTo>
                  <a:lnTo>
                    <a:pt x="403" y="32"/>
                  </a:lnTo>
                  <a:lnTo>
                    <a:pt x="402" y="38"/>
                  </a:lnTo>
                  <a:lnTo>
                    <a:pt x="398" y="43"/>
                  </a:lnTo>
                  <a:lnTo>
                    <a:pt x="395" y="46"/>
                  </a:lnTo>
                  <a:lnTo>
                    <a:pt x="392" y="49"/>
                  </a:lnTo>
                  <a:lnTo>
                    <a:pt x="387" y="52"/>
                  </a:lnTo>
                  <a:lnTo>
                    <a:pt x="382" y="54"/>
                  </a:lnTo>
                  <a:lnTo>
                    <a:pt x="376" y="54"/>
                  </a:lnTo>
                  <a:lnTo>
                    <a:pt x="360" y="55"/>
                  </a:lnTo>
                  <a:lnTo>
                    <a:pt x="343" y="56"/>
                  </a:lnTo>
                  <a:lnTo>
                    <a:pt x="328" y="58"/>
                  </a:lnTo>
                  <a:lnTo>
                    <a:pt x="312" y="60"/>
                  </a:lnTo>
                  <a:lnTo>
                    <a:pt x="296" y="64"/>
                  </a:lnTo>
                  <a:lnTo>
                    <a:pt x="281" y="68"/>
                  </a:lnTo>
                  <a:lnTo>
                    <a:pt x="266" y="74"/>
                  </a:lnTo>
                  <a:lnTo>
                    <a:pt x="252" y="80"/>
                  </a:lnTo>
                  <a:lnTo>
                    <a:pt x="237" y="86"/>
                  </a:lnTo>
                  <a:lnTo>
                    <a:pt x="224" y="93"/>
                  </a:lnTo>
                  <a:lnTo>
                    <a:pt x="210" y="101"/>
                  </a:lnTo>
                  <a:lnTo>
                    <a:pt x="197" y="109"/>
                  </a:lnTo>
                  <a:lnTo>
                    <a:pt x="184" y="118"/>
                  </a:lnTo>
                  <a:lnTo>
                    <a:pt x="172" y="128"/>
                  </a:lnTo>
                  <a:lnTo>
                    <a:pt x="160" y="138"/>
                  </a:lnTo>
                  <a:lnTo>
                    <a:pt x="150" y="148"/>
                  </a:lnTo>
                  <a:lnTo>
                    <a:pt x="138" y="159"/>
                  </a:lnTo>
                  <a:lnTo>
                    <a:pt x="128" y="171"/>
                  </a:lnTo>
                  <a:lnTo>
                    <a:pt x="118" y="184"/>
                  </a:lnTo>
                  <a:lnTo>
                    <a:pt x="109" y="196"/>
                  </a:lnTo>
                  <a:lnTo>
                    <a:pt x="101" y="210"/>
                  </a:lnTo>
                  <a:lnTo>
                    <a:pt x="94" y="223"/>
                  </a:lnTo>
                  <a:lnTo>
                    <a:pt x="87" y="237"/>
                  </a:lnTo>
                  <a:lnTo>
                    <a:pt x="80" y="251"/>
                  </a:lnTo>
                  <a:lnTo>
                    <a:pt x="74" y="266"/>
                  </a:lnTo>
                  <a:lnTo>
                    <a:pt x="69" y="280"/>
                  </a:lnTo>
                  <a:lnTo>
                    <a:pt x="64" y="296"/>
                  </a:lnTo>
                  <a:lnTo>
                    <a:pt x="61" y="312"/>
                  </a:lnTo>
                  <a:lnTo>
                    <a:pt x="59" y="327"/>
                  </a:lnTo>
                  <a:lnTo>
                    <a:pt x="57" y="343"/>
                  </a:lnTo>
                  <a:lnTo>
                    <a:pt x="55" y="360"/>
                  </a:lnTo>
                  <a:lnTo>
                    <a:pt x="54" y="376"/>
                  </a:lnTo>
                  <a:lnTo>
                    <a:pt x="54" y="381"/>
                  </a:lnTo>
                  <a:lnTo>
                    <a:pt x="52" y="387"/>
                  </a:lnTo>
                  <a:lnTo>
                    <a:pt x="50" y="391"/>
                  </a:lnTo>
                  <a:lnTo>
                    <a:pt x="46" y="395"/>
                  </a:lnTo>
                  <a:lnTo>
                    <a:pt x="43" y="398"/>
                  </a:lnTo>
                  <a:lnTo>
                    <a:pt x="39" y="400"/>
                  </a:lnTo>
                  <a:lnTo>
                    <a:pt x="33" y="402"/>
                  </a:lnTo>
                  <a:lnTo>
                    <a:pt x="27"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6" name="Group 17">
            <a:extLst>
              <a:ext uri="{FF2B5EF4-FFF2-40B4-BE49-F238E27FC236}">
                <a16:creationId xmlns:a16="http://schemas.microsoft.com/office/drawing/2014/main" id="{68F50753-713D-4751-B565-FAD5F2E62333}"/>
              </a:ext>
            </a:extLst>
          </p:cNvPr>
          <p:cNvGrpSpPr>
            <a:grpSpLocks noChangeAspect="1"/>
          </p:cNvGrpSpPr>
          <p:nvPr/>
        </p:nvGrpSpPr>
        <p:grpSpPr>
          <a:xfrm>
            <a:off x="1483797" y="2724898"/>
            <a:ext cx="275708" cy="271929"/>
            <a:chOff x="4857750" y="2539206"/>
            <a:chExt cx="579440" cy="571500"/>
          </a:xfrm>
          <a:solidFill>
            <a:schemeClr val="bg1"/>
          </a:solidFill>
          <a:effectLst/>
        </p:grpSpPr>
        <p:sp>
          <p:nvSpPr>
            <p:cNvPr id="707" name="Freeform 127">
              <a:extLst>
                <a:ext uri="{FF2B5EF4-FFF2-40B4-BE49-F238E27FC236}">
                  <a16:creationId xmlns:a16="http://schemas.microsoft.com/office/drawing/2014/main" id="{4C85E65D-990F-4371-B86B-5284EBD0E36F}"/>
                </a:ext>
              </a:extLst>
            </p:cNvPr>
            <p:cNvSpPr>
              <a:spLocks noEditPoints="1"/>
            </p:cNvSpPr>
            <p:nvPr/>
          </p:nvSpPr>
          <p:spPr bwMode="auto">
            <a:xfrm>
              <a:off x="4857750" y="2539206"/>
              <a:ext cx="579440" cy="571500"/>
            </a:xfrm>
            <a:custGeom>
              <a:avLst/>
              <a:gdLst>
                <a:gd name="T0" fmla="*/ 127 w 217"/>
                <a:gd name="T1" fmla="*/ 0 h 216"/>
                <a:gd name="T2" fmla="*/ 103 w 217"/>
                <a:gd name="T3" fmla="*/ 6 h 216"/>
                <a:gd name="T4" fmla="*/ 84 w 217"/>
                <a:gd name="T5" fmla="*/ 19 h 216"/>
                <a:gd name="T6" fmla="*/ 67 w 217"/>
                <a:gd name="T7" fmla="*/ 36 h 216"/>
                <a:gd name="T8" fmla="*/ 57 w 217"/>
                <a:gd name="T9" fmla="*/ 57 h 216"/>
                <a:gd name="T10" fmla="*/ 54 w 217"/>
                <a:gd name="T11" fmla="*/ 81 h 216"/>
                <a:gd name="T12" fmla="*/ 56 w 217"/>
                <a:gd name="T13" fmla="*/ 101 h 216"/>
                <a:gd name="T14" fmla="*/ 7 w 217"/>
                <a:gd name="T15" fmla="*/ 175 h 216"/>
                <a:gd name="T16" fmla="*/ 4 w 217"/>
                <a:gd name="T17" fmla="*/ 180 h 216"/>
                <a:gd name="T18" fmla="*/ 0 w 217"/>
                <a:gd name="T19" fmla="*/ 193 h 216"/>
                <a:gd name="T20" fmla="*/ 2 w 217"/>
                <a:gd name="T21" fmla="*/ 202 h 216"/>
                <a:gd name="T22" fmla="*/ 10 w 217"/>
                <a:gd name="T23" fmla="*/ 212 h 216"/>
                <a:gd name="T24" fmla="*/ 23 w 217"/>
                <a:gd name="T25" fmla="*/ 216 h 216"/>
                <a:gd name="T26" fmla="*/ 33 w 217"/>
                <a:gd name="T27" fmla="*/ 214 h 216"/>
                <a:gd name="T28" fmla="*/ 41 w 217"/>
                <a:gd name="T29" fmla="*/ 209 h 216"/>
                <a:gd name="T30" fmla="*/ 106 w 217"/>
                <a:gd name="T31" fmla="*/ 157 h 216"/>
                <a:gd name="T32" fmla="*/ 135 w 217"/>
                <a:gd name="T33" fmla="*/ 162 h 216"/>
                <a:gd name="T34" fmla="*/ 152 w 217"/>
                <a:gd name="T35" fmla="*/ 161 h 216"/>
                <a:gd name="T36" fmla="*/ 174 w 217"/>
                <a:gd name="T37" fmla="*/ 153 h 216"/>
                <a:gd name="T38" fmla="*/ 193 w 217"/>
                <a:gd name="T39" fmla="*/ 139 h 216"/>
                <a:gd name="T40" fmla="*/ 207 w 217"/>
                <a:gd name="T41" fmla="*/ 120 h 216"/>
                <a:gd name="T42" fmla="*/ 215 w 217"/>
                <a:gd name="T43" fmla="*/ 98 h 216"/>
                <a:gd name="T44" fmla="*/ 217 w 217"/>
                <a:gd name="T45" fmla="*/ 81 h 216"/>
                <a:gd name="T46" fmla="*/ 213 w 217"/>
                <a:gd name="T47" fmla="*/ 57 h 216"/>
                <a:gd name="T48" fmla="*/ 203 w 217"/>
                <a:gd name="T49" fmla="*/ 36 h 216"/>
                <a:gd name="T50" fmla="*/ 187 w 217"/>
                <a:gd name="T51" fmla="*/ 19 h 216"/>
                <a:gd name="T52" fmla="*/ 167 w 217"/>
                <a:gd name="T53" fmla="*/ 6 h 216"/>
                <a:gd name="T54" fmla="*/ 143 w 217"/>
                <a:gd name="T55" fmla="*/ 0 h 216"/>
                <a:gd name="T56" fmla="*/ 33 w 217"/>
                <a:gd name="T57" fmla="*/ 201 h 216"/>
                <a:gd name="T58" fmla="*/ 23 w 217"/>
                <a:gd name="T59" fmla="*/ 205 h 216"/>
                <a:gd name="T60" fmla="*/ 15 w 217"/>
                <a:gd name="T61" fmla="*/ 201 h 216"/>
                <a:gd name="T62" fmla="*/ 12 w 217"/>
                <a:gd name="T63" fmla="*/ 193 h 216"/>
                <a:gd name="T64" fmla="*/ 15 w 217"/>
                <a:gd name="T65" fmla="*/ 185 h 216"/>
                <a:gd name="T66" fmla="*/ 78 w 217"/>
                <a:gd name="T67" fmla="*/ 139 h 216"/>
                <a:gd name="T68" fmla="*/ 135 w 217"/>
                <a:gd name="T69" fmla="*/ 149 h 216"/>
                <a:gd name="T70" fmla="*/ 122 w 217"/>
                <a:gd name="T71" fmla="*/ 148 h 216"/>
                <a:gd name="T72" fmla="*/ 103 w 217"/>
                <a:gd name="T73" fmla="*/ 141 h 216"/>
                <a:gd name="T74" fmla="*/ 87 w 217"/>
                <a:gd name="T75" fmla="*/ 129 h 216"/>
                <a:gd name="T76" fmla="*/ 76 w 217"/>
                <a:gd name="T77" fmla="*/ 113 h 216"/>
                <a:gd name="T78" fmla="*/ 68 w 217"/>
                <a:gd name="T79" fmla="*/ 94 h 216"/>
                <a:gd name="T80" fmla="*/ 67 w 217"/>
                <a:gd name="T81" fmla="*/ 81 h 216"/>
                <a:gd name="T82" fmla="*/ 70 w 217"/>
                <a:gd name="T83" fmla="*/ 61 h 216"/>
                <a:gd name="T84" fmla="*/ 79 w 217"/>
                <a:gd name="T85" fmla="*/ 43 h 216"/>
                <a:gd name="T86" fmla="*/ 92 w 217"/>
                <a:gd name="T87" fmla="*/ 29 h 216"/>
                <a:gd name="T88" fmla="*/ 109 w 217"/>
                <a:gd name="T89" fmla="*/ 19 h 216"/>
                <a:gd name="T90" fmla="*/ 129 w 217"/>
                <a:gd name="T91" fmla="*/ 13 h 216"/>
                <a:gd name="T92" fmla="*/ 142 w 217"/>
                <a:gd name="T93" fmla="*/ 13 h 216"/>
                <a:gd name="T94" fmla="*/ 162 w 217"/>
                <a:gd name="T95" fmla="*/ 19 h 216"/>
                <a:gd name="T96" fmla="*/ 178 w 217"/>
                <a:gd name="T97" fmla="*/ 29 h 216"/>
                <a:gd name="T98" fmla="*/ 192 w 217"/>
                <a:gd name="T99" fmla="*/ 43 h 216"/>
                <a:gd name="T100" fmla="*/ 200 w 217"/>
                <a:gd name="T101" fmla="*/ 61 h 216"/>
                <a:gd name="T102" fmla="*/ 203 w 217"/>
                <a:gd name="T103" fmla="*/ 81 h 216"/>
                <a:gd name="T104" fmla="*/ 202 w 217"/>
                <a:gd name="T105" fmla="*/ 94 h 216"/>
                <a:gd name="T106" fmla="*/ 195 w 217"/>
                <a:gd name="T107" fmla="*/ 113 h 216"/>
                <a:gd name="T108" fmla="*/ 183 w 217"/>
                <a:gd name="T109" fmla="*/ 129 h 216"/>
                <a:gd name="T110" fmla="*/ 168 w 217"/>
                <a:gd name="T111" fmla="*/ 141 h 216"/>
                <a:gd name="T112" fmla="*/ 149 w 217"/>
                <a:gd name="T113" fmla="*/ 148 h 216"/>
                <a:gd name="T114" fmla="*/ 135 w 217"/>
                <a:gd name="T115" fmla="*/ 14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216">
                  <a:moveTo>
                    <a:pt x="135" y="0"/>
                  </a:moveTo>
                  <a:lnTo>
                    <a:pt x="135" y="0"/>
                  </a:lnTo>
                  <a:lnTo>
                    <a:pt x="127" y="0"/>
                  </a:lnTo>
                  <a:lnTo>
                    <a:pt x="119" y="1"/>
                  </a:lnTo>
                  <a:lnTo>
                    <a:pt x="111" y="3"/>
                  </a:lnTo>
                  <a:lnTo>
                    <a:pt x="103" y="6"/>
                  </a:lnTo>
                  <a:lnTo>
                    <a:pt x="96" y="9"/>
                  </a:lnTo>
                  <a:lnTo>
                    <a:pt x="90" y="13"/>
                  </a:lnTo>
                  <a:lnTo>
                    <a:pt x="84" y="19"/>
                  </a:lnTo>
                  <a:lnTo>
                    <a:pt x="78" y="24"/>
                  </a:lnTo>
                  <a:lnTo>
                    <a:pt x="73" y="29"/>
                  </a:lnTo>
                  <a:lnTo>
                    <a:pt x="67" y="36"/>
                  </a:lnTo>
                  <a:lnTo>
                    <a:pt x="63" y="42"/>
                  </a:lnTo>
                  <a:lnTo>
                    <a:pt x="60" y="49"/>
                  </a:lnTo>
                  <a:lnTo>
                    <a:pt x="57" y="57"/>
                  </a:lnTo>
                  <a:lnTo>
                    <a:pt x="55" y="65"/>
                  </a:lnTo>
                  <a:lnTo>
                    <a:pt x="54" y="73"/>
                  </a:lnTo>
                  <a:lnTo>
                    <a:pt x="54" y="81"/>
                  </a:lnTo>
                  <a:lnTo>
                    <a:pt x="54" y="81"/>
                  </a:lnTo>
                  <a:lnTo>
                    <a:pt x="54" y="91"/>
                  </a:lnTo>
                  <a:lnTo>
                    <a:pt x="56" y="101"/>
                  </a:lnTo>
                  <a:lnTo>
                    <a:pt x="59" y="110"/>
                  </a:lnTo>
                  <a:lnTo>
                    <a:pt x="63" y="119"/>
                  </a:lnTo>
                  <a:lnTo>
                    <a:pt x="7" y="175"/>
                  </a:lnTo>
                  <a:lnTo>
                    <a:pt x="7" y="175"/>
                  </a:lnTo>
                  <a:lnTo>
                    <a:pt x="7" y="175"/>
                  </a:lnTo>
                  <a:lnTo>
                    <a:pt x="4" y="180"/>
                  </a:lnTo>
                  <a:lnTo>
                    <a:pt x="2" y="184"/>
                  </a:lnTo>
                  <a:lnTo>
                    <a:pt x="0" y="188"/>
                  </a:lnTo>
                  <a:lnTo>
                    <a:pt x="0" y="193"/>
                  </a:lnTo>
                  <a:lnTo>
                    <a:pt x="0" y="193"/>
                  </a:lnTo>
                  <a:lnTo>
                    <a:pt x="0" y="198"/>
                  </a:lnTo>
                  <a:lnTo>
                    <a:pt x="2" y="202"/>
                  </a:lnTo>
                  <a:lnTo>
                    <a:pt x="4" y="206"/>
                  </a:lnTo>
                  <a:lnTo>
                    <a:pt x="7" y="209"/>
                  </a:lnTo>
                  <a:lnTo>
                    <a:pt x="10" y="212"/>
                  </a:lnTo>
                  <a:lnTo>
                    <a:pt x="14" y="214"/>
                  </a:lnTo>
                  <a:lnTo>
                    <a:pt x="19" y="216"/>
                  </a:lnTo>
                  <a:lnTo>
                    <a:pt x="23" y="216"/>
                  </a:lnTo>
                  <a:lnTo>
                    <a:pt x="23" y="216"/>
                  </a:lnTo>
                  <a:lnTo>
                    <a:pt x="28" y="216"/>
                  </a:lnTo>
                  <a:lnTo>
                    <a:pt x="33" y="214"/>
                  </a:lnTo>
                  <a:lnTo>
                    <a:pt x="37" y="212"/>
                  </a:lnTo>
                  <a:lnTo>
                    <a:pt x="41" y="209"/>
                  </a:lnTo>
                  <a:lnTo>
                    <a:pt x="41" y="209"/>
                  </a:lnTo>
                  <a:lnTo>
                    <a:pt x="97" y="153"/>
                  </a:lnTo>
                  <a:lnTo>
                    <a:pt x="97" y="153"/>
                  </a:lnTo>
                  <a:lnTo>
                    <a:pt x="106" y="157"/>
                  </a:lnTo>
                  <a:lnTo>
                    <a:pt x="116" y="160"/>
                  </a:lnTo>
                  <a:lnTo>
                    <a:pt x="125" y="162"/>
                  </a:lnTo>
                  <a:lnTo>
                    <a:pt x="135" y="162"/>
                  </a:lnTo>
                  <a:lnTo>
                    <a:pt x="135" y="162"/>
                  </a:lnTo>
                  <a:lnTo>
                    <a:pt x="143" y="162"/>
                  </a:lnTo>
                  <a:lnTo>
                    <a:pt x="152" y="161"/>
                  </a:lnTo>
                  <a:lnTo>
                    <a:pt x="160" y="159"/>
                  </a:lnTo>
                  <a:lnTo>
                    <a:pt x="167" y="156"/>
                  </a:lnTo>
                  <a:lnTo>
                    <a:pt x="174" y="153"/>
                  </a:lnTo>
                  <a:lnTo>
                    <a:pt x="181" y="149"/>
                  </a:lnTo>
                  <a:lnTo>
                    <a:pt x="187" y="144"/>
                  </a:lnTo>
                  <a:lnTo>
                    <a:pt x="193" y="139"/>
                  </a:lnTo>
                  <a:lnTo>
                    <a:pt x="199" y="132"/>
                  </a:lnTo>
                  <a:lnTo>
                    <a:pt x="203" y="126"/>
                  </a:lnTo>
                  <a:lnTo>
                    <a:pt x="207" y="120"/>
                  </a:lnTo>
                  <a:lnTo>
                    <a:pt x="210" y="113"/>
                  </a:lnTo>
                  <a:lnTo>
                    <a:pt x="213" y="106"/>
                  </a:lnTo>
                  <a:lnTo>
                    <a:pt x="215" y="98"/>
                  </a:lnTo>
                  <a:lnTo>
                    <a:pt x="216" y="89"/>
                  </a:lnTo>
                  <a:lnTo>
                    <a:pt x="217" y="81"/>
                  </a:lnTo>
                  <a:lnTo>
                    <a:pt x="217" y="81"/>
                  </a:lnTo>
                  <a:lnTo>
                    <a:pt x="216" y="73"/>
                  </a:lnTo>
                  <a:lnTo>
                    <a:pt x="215" y="65"/>
                  </a:lnTo>
                  <a:lnTo>
                    <a:pt x="213" y="57"/>
                  </a:lnTo>
                  <a:lnTo>
                    <a:pt x="210" y="49"/>
                  </a:lnTo>
                  <a:lnTo>
                    <a:pt x="207" y="42"/>
                  </a:lnTo>
                  <a:lnTo>
                    <a:pt x="203" y="36"/>
                  </a:lnTo>
                  <a:lnTo>
                    <a:pt x="199" y="29"/>
                  </a:lnTo>
                  <a:lnTo>
                    <a:pt x="193" y="24"/>
                  </a:lnTo>
                  <a:lnTo>
                    <a:pt x="187" y="19"/>
                  </a:lnTo>
                  <a:lnTo>
                    <a:pt x="181" y="13"/>
                  </a:lnTo>
                  <a:lnTo>
                    <a:pt x="174" y="9"/>
                  </a:lnTo>
                  <a:lnTo>
                    <a:pt x="167" y="6"/>
                  </a:lnTo>
                  <a:lnTo>
                    <a:pt x="160" y="3"/>
                  </a:lnTo>
                  <a:lnTo>
                    <a:pt x="152" y="1"/>
                  </a:lnTo>
                  <a:lnTo>
                    <a:pt x="143" y="0"/>
                  </a:lnTo>
                  <a:lnTo>
                    <a:pt x="135" y="0"/>
                  </a:lnTo>
                  <a:lnTo>
                    <a:pt x="135" y="0"/>
                  </a:lnTo>
                  <a:close/>
                  <a:moveTo>
                    <a:pt x="33" y="201"/>
                  </a:moveTo>
                  <a:lnTo>
                    <a:pt x="33" y="201"/>
                  </a:lnTo>
                  <a:lnTo>
                    <a:pt x="28" y="204"/>
                  </a:lnTo>
                  <a:lnTo>
                    <a:pt x="23" y="205"/>
                  </a:lnTo>
                  <a:lnTo>
                    <a:pt x="23" y="205"/>
                  </a:lnTo>
                  <a:lnTo>
                    <a:pt x="19" y="204"/>
                  </a:lnTo>
                  <a:lnTo>
                    <a:pt x="15" y="201"/>
                  </a:lnTo>
                  <a:lnTo>
                    <a:pt x="13" y="197"/>
                  </a:lnTo>
                  <a:lnTo>
                    <a:pt x="12" y="193"/>
                  </a:lnTo>
                  <a:lnTo>
                    <a:pt x="12" y="193"/>
                  </a:lnTo>
                  <a:lnTo>
                    <a:pt x="13" y="188"/>
                  </a:lnTo>
                  <a:lnTo>
                    <a:pt x="15" y="185"/>
                  </a:lnTo>
                  <a:lnTo>
                    <a:pt x="15" y="185"/>
                  </a:lnTo>
                  <a:lnTo>
                    <a:pt x="70" y="129"/>
                  </a:lnTo>
                  <a:lnTo>
                    <a:pt x="70" y="129"/>
                  </a:lnTo>
                  <a:lnTo>
                    <a:pt x="78" y="139"/>
                  </a:lnTo>
                  <a:lnTo>
                    <a:pt x="87" y="147"/>
                  </a:lnTo>
                  <a:lnTo>
                    <a:pt x="33" y="201"/>
                  </a:lnTo>
                  <a:close/>
                  <a:moveTo>
                    <a:pt x="135" y="149"/>
                  </a:moveTo>
                  <a:lnTo>
                    <a:pt x="135" y="149"/>
                  </a:lnTo>
                  <a:lnTo>
                    <a:pt x="129" y="149"/>
                  </a:lnTo>
                  <a:lnTo>
                    <a:pt x="122" y="148"/>
                  </a:lnTo>
                  <a:lnTo>
                    <a:pt x="116" y="146"/>
                  </a:lnTo>
                  <a:lnTo>
                    <a:pt x="109" y="144"/>
                  </a:lnTo>
                  <a:lnTo>
                    <a:pt x="103" y="141"/>
                  </a:lnTo>
                  <a:lnTo>
                    <a:pt x="97" y="138"/>
                  </a:lnTo>
                  <a:lnTo>
                    <a:pt x="92" y="133"/>
                  </a:lnTo>
                  <a:lnTo>
                    <a:pt x="87" y="129"/>
                  </a:lnTo>
                  <a:lnTo>
                    <a:pt x="83" y="124"/>
                  </a:lnTo>
                  <a:lnTo>
                    <a:pt x="79" y="119"/>
                  </a:lnTo>
                  <a:lnTo>
                    <a:pt x="76" y="113"/>
                  </a:lnTo>
                  <a:lnTo>
                    <a:pt x="73" y="108"/>
                  </a:lnTo>
                  <a:lnTo>
                    <a:pt x="70" y="102"/>
                  </a:lnTo>
                  <a:lnTo>
                    <a:pt x="68" y="94"/>
                  </a:lnTo>
                  <a:lnTo>
                    <a:pt x="67" y="88"/>
                  </a:lnTo>
                  <a:lnTo>
                    <a:pt x="67" y="81"/>
                  </a:lnTo>
                  <a:lnTo>
                    <a:pt x="67" y="81"/>
                  </a:lnTo>
                  <a:lnTo>
                    <a:pt x="67" y="74"/>
                  </a:lnTo>
                  <a:lnTo>
                    <a:pt x="68" y="68"/>
                  </a:lnTo>
                  <a:lnTo>
                    <a:pt x="70" y="61"/>
                  </a:lnTo>
                  <a:lnTo>
                    <a:pt x="73" y="54"/>
                  </a:lnTo>
                  <a:lnTo>
                    <a:pt x="76" y="48"/>
                  </a:lnTo>
                  <a:lnTo>
                    <a:pt x="79" y="43"/>
                  </a:lnTo>
                  <a:lnTo>
                    <a:pt x="83" y="38"/>
                  </a:lnTo>
                  <a:lnTo>
                    <a:pt x="87" y="33"/>
                  </a:lnTo>
                  <a:lnTo>
                    <a:pt x="92" y="29"/>
                  </a:lnTo>
                  <a:lnTo>
                    <a:pt x="97" y="25"/>
                  </a:lnTo>
                  <a:lnTo>
                    <a:pt x="103" y="22"/>
                  </a:lnTo>
                  <a:lnTo>
                    <a:pt x="109" y="19"/>
                  </a:lnTo>
                  <a:lnTo>
                    <a:pt x="116" y="17"/>
                  </a:lnTo>
                  <a:lnTo>
                    <a:pt x="122" y="14"/>
                  </a:lnTo>
                  <a:lnTo>
                    <a:pt x="129" y="13"/>
                  </a:lnTo>
                  <a:lnTo>
                    <a:pt x="135" y="13"/>
                  </a:lnTo>
                  <a:lnTo>
                    <a:pt x="135" y="13"/>
                  </a:lnTo>
                  <a:lnTo>
                    <a:pt x="142" y="13"/>
                  </a:lnTo>
                  <a:lnTo>
                    <a:pt x="149" y="14"/>
                  </a:lnTo>
                  <a:lnTo>
                    <a:pt x="156" y="17"/>
                  </a:lnTo>
                  <a:lnTo>
                    <a:pt x="162" y="19"/>
                  </a:lnTo>
                  <a:lnTo>
                    <a:pt x="168" y="22"/>
                  </a:lnTo>
                  <a:lnTo>
                    <a:pt x="173" y="25"/>
                  </a:lnTo>
                  <a:lnTo>
                    <a:pt x="178" y="29"/>
                  </a:lnTo>
                  <a:lnTo>
                    <a:pt x="183" y="33"/>
                  </a:lnTo>
                  <a:lnTo>
                    <a:pt x="187" y="38"/>
                  </a:lnTo>
                  <a:lnTo>
                    <a:pt x="192" y="43"/>
                  </a:lnTo>
                  <a:lnTo>
                    <a:pt x="195" y="48"/>
                  </a:lnTo>
                  <a:lnTo>
                    <a:pt x="198" y="54"/>
                  </a:lnTo>
                  <a:lnTo>
                    <a:pt x="200" y="61"/>
                  </a:lnTo>
                  <a:lnTo>
                    <a:pt x="202" y="68"/>
                  </a:lnTo>
                  <a:lnTo>
                    <a:pt x="203" y="74"/>
                  </a:lnTo>
                  <a:lnTo>
                    <a:pt x="203" y="81"/>
                  </a:lnTo>
                  <a:lnTo>
                    <a:pt x="203" y="81"/>
                  </a:lnTo>
                  <a:lnTo>
                    <a:pt x="203" y="88"/>
                  </a:lnTo>
                  <a:lnTo>
                    <a:pt x="202" y="94"/>
                  </a:lnTo>
                  <a:lnTo>
                    <a:pt x="200" y="102"/>
                  </a:lnTo>
                  <a:lnTo>
                    <a:pt x="198" y="108"/>
                  </a:lnTo>
                  <a:lnTo>
                    <a:pt x="195" y="113"/>
                  </a:lnTo>
                  <a:lnTo>
                    <a:pt x="192" y="119"/>
                  </a:lnTo>
                  <a:lnTo>
                    <a:pt x="187" y="124"/>
                  </a:lnTo>
                  <a:lnTo>
                    <a:pt x="183" y="129"/>
                  </a:lnTo>
                  <a:lnTo>
                    <a:pt x="178" y="133"/>
                  </a:lnTo>
                  <a:lnTo>
                    <a:pt x="173" y="138"/>
                  </a:lnTo>
                  <a:lnTo>
                    <a:pt x="168" y="141"/>
                  </a:lnTo>
                  <a:lnTo>
                    <a:pt x="162" y="144"/>
                  </a:lnTo>
                  <a:lnTo>
                    <a:pt x="156" y="146"/>
                  </a:lnTo>
                  <a:lnTo>
                    <a:pt x="149" y="148"/>
                  </a:lnTo>
                  <a:lnTo>
                    <a:pt x="142" y="149"/>
                  </a:lnTo>
                  <a:lnTo>
                    <a:pt x="135" y="149"/>
                  </a:lnTo>
                  <a:lnTo>
                    <a:pt x="13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28">
              <a:extLst>
                <a:ext uri="{FF2B5EF4-FFF2-40B4-BE49-F238E27FC236}">
                  <a16:creationId xmlns:a16="http://schemas.microsoft.com/office/drawing/2014/main" id="{535C2503-1326-4713-A1DB-B63349BB4694}"/>
                </a:ext>
              </a:extLst>
            </p:cNvPr>
            <p:cNvSpPr>
              <a:spLocks/>
            </p:cNvSpPr>
            <p:nvPr/>
          </p:nvSpPr>
          <p:spPr bwMode="auto">
            <a:xfrm>
              <a:off x="5095875" y="2634456"/>
              <a:ext cx="134940" cy="127000"/>
            </a:xfrm>
            <a:custGeom>
              <a:avLst/>
              <a:gdLst>
                <a:gd name="T0" fmla="*/ 47 w 51"/>
                <a:gd name="T1" fmla="*/ 0 h 50"/>
                <a:gd name="T2" fmla="*/ 47 w 51"/>
                <a:gd name="T3" fmla="*/ 0 h 50"/>
                <a:gd name="T4" fmla="*/ 38 w 51"/>
                <a:gd name="T5" fmla="*/ 1 h 50"/>
                <a:gd name="T6" fmla="*/ 29 w 51"/>
                <a:gd name="T7" fmla="*/ 3 h 50"/>
                <a:gd name="T8" fmla="*/ 20 w 51"/>
                <a:gd name="T9" fmla="*/ 8 h 50"/>
                <a:gd name="T10" fmla="*/ 14 w 51"/>
                <a:gd name="T11" fmla="*/ 13 h 50"/>
                <a:gd name="T12" fmla="*/ 8 w 51"/>
                <a:gd name="T13" fmla="*/ 20 h 50"/>
                <a:gd name="T14" fmla="*/ 4 w 51"/>
                <a:gd name="T15" fmla="*/ 29 h 50"/>
                <a:gd name="T16" fmla="*/ 1 w 51"/>
                <a:gd name="T17" fmla="*/ 38 h 50"/>
                <a:gd name="T18" fmla="*/ 0 w 51"/>
                <a:gd name="T19" fmla="*/ 47 h 50"/>
                <a:gd name="T20" fmla="*/ 0 w 51"/>
                <a:gd name="T21" fmla="*/ 47 h 50"/>
                <a:gd name="T22" fmla="*/ 1 w 51"/>
                <a:gd name="T23" fmla="*/ 49 h 50"/>
                <a:gd name="T24" fmla="*/ 3 w 51"/>
                <a:gd name="T25" fmla="*/ 50 h 50"/>
                <a:gd name="T26" fmla="*/ 3 w 51"/>
                <a:gd name="T27" fmla="*/ 50 h 50"/>
                <a:gd name="T28" fmla="*/ 6 w 51"/>
                <a:gd name="T29" fmla="*/ 49 h 50"/>
                <a:gd name="T30" fmla="*/ 7 w 51"/>
                <a:gd name="T31" fmla="*/ 47 h 50"/>
                <a:gd name="T32" fmla="*/ 7 w 51"/>
                <a:gd name="T33" fmla="*/ 47 h 50"/>
                <a:gd name="T34" fmla="*/ 7 w 51"/>
                <a:gd name="T35" fmla="*/ 39 h 50"/>
                <a:gd name="T36" fmla="*/ 10 w 51"/>
                <a:gd name="T37" fmla="*/ 31 h 50"/>
                <a:gd name="T38" fmla="*/ 13 w 51"/>
                <a:gd name="T39" fmla="*/ 25 h 50"/>
                <a:gd name="T40" fmla="*/ 18 w 51"/>
                <a:gd name="T41" fmla="*/ 18 h 50"/>
                <a:gd name="T42" fmla="*/ 25 w 51"/>
                <a:gd name="T43" fmla="*/ 13 h 50"/>
                <a:gd name="T44" fmla="*/ 32 w 51"/>
                <a:gd name="T45" fmla="*/ 9 h 50"/>
                <a:gd name="T46" fmla="*/ 39 w 51"/>
                <a:gd name="T47" fmla="*/ 7 h 50"/>
                <a:gd name="T48" fmla="*/ 47 w 51"/>
                <a:gd name="T49" fmla="*/ 6 h 50"/>
                <a:gd name="T50" fmla="*/ 47 w 51"/>
                <a:gd name="T51" fmla="*/ 6 h 50"/>
                <a:gd name="T52" fmla="*/ 50 w 51"/>
                <a:gd name="T53" fmla="*/ 5 h 50"/>
                <a:gd name="T54" fmla="*/ 51 w 51"/>
                <a:gd name="T55" fmla="*/ 3 h 50"/>
                <a:gd name="T56" fmla="*/ 51 w 51"/>
                <a:gd name="T57" fmla="*/ 3 h 50"/>
                <a:gd name="T58" fmla="*/ 50 w 51"/>
                <a:gd name="T59" fmla="*/ 1 h 50"/>
                <a:gd name="T60" fmla="*/ 47 w 51"/>
                <a:gd name="T61" fmla="*/ 0 h 50"/>
                <a:gd name="T62" fmla="*/ 47 w 51"/>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50">
                  <a:moveTo>
                    <a:pt x="47" y="0"/>
                  </a:moveTo>
                  <a:lnTo>
                    <a:pt x="47" y="0"/>
                  </a:lnTo>
                  <a:lnTo>
                    <a:pt x="38" y="1"/>
                  </a:lnTo>
                  <a:lnTo>
                    <a:pt x="29" y="3"/>
                  </a:lnTo>
                  <a:lnTo>
                    <a:pt x="20" y="8"/>
                  </a:lnTo>
                  <a:lnTo>
                    <a:pt x="14" y="13"/>
                  </a:lnTo>
                  <a:lnTo>
                    <a:pt x="8" y="20"/>
                  </a:lnTo>
                  <a:lnTo>
                    <a:pt x="4" y="29"/>
                  </a:lnTo>
                  <a:lnTo>
                    <a:pt x="1" y="38"/>
                  </a:lnTo>
                  <a:lnTo>
                    <a:pt x="0" y="47"/>
                  </a:lnTo>
                  <a:lnTo>
                    <a:pt x="0" y="47"/>
                  </a:lnTo>
                  <a:lnTo>
                    <a:pt x="1" y="49"/>
                  </a:lnTo>
                  <a:lnTo>
                    <a:pt x="3" y="50"/>
                  </a:lnTo>
                  <a:lnTo>
                    <a:pt x="3" y="50"/>
                  </a:lnTo>
                  <a:lnTo>
                    <a:pt x="6" y="49"/>
                  </a:lnTo>
                  <a:lnTo>
                    <a:pt x="7" y="47"/>
                  </a:lnTo>
                  <a:lnTo>
                    <a:pt x="7" y="47"/>
                  </a:lnTo>
                  <a:lnTo>
                    <a:pt x="7" y="39"/>
                  </a:lnTo>
                  <a:lnTo>
                    <a:pt x="10" y="31"/>
                  </a:lnTo>
                  <a:lnTo>
                    <a:pt x="13" y="25"/>
                  </a:lnTo>
                  <a:lnTo>
                    <a:pt x="18" y="18"/>
                  </a:lnTo>
                  <a:lnTo>
                    <a:pt x="25" y="13"/>
                  </a:lnTo>
                  <a:lnTo>
                    <a:pt x="32" y="9"/>
                  </a:lnTo>
                  <a:lnTo>
                    <a:pt x="39" y="7"/>
                  </a:lnTo>
                  <a:lnTo>
                    <a:pt x="47" y="6"/>
                  </a:lnTo>
                  <a:lnTo>
                    <a:pt x="47" y="6"/>
                  </a:lnTo>
                  <a:lnTo>
                    <a:pt x="50" y="5"/>
                  </a:lnTo>
                  <a:lnTo>
                    <a:pt x="51" y="3"/>
                  </a:lnTo>
                  <a:lnTo>
                    <a:pt x="51" y="3"/>
                  </a:lnTo>
                  <a:lnTo>
                    <a:pt x="50" y="1"/>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9" name="Group 412">
            <a:extLst>
              <a:ext uri="{FF2B5EF4-FFF2-40B4-BE49-F238E27FC236}">
                <a16:creationId xmlns:a16="http://schemas.microsoft.com/office/drawing/2014/main" id="{B2898C53-4DBD-48A8-B9C1-B41BC465D916}"/>
              </a:ext>
            </a:extLst>
          </p:cNvPr>
          <p:cNvGrpSpPr>
            <a:grpSpLocks noChangeAspect="1"/>
          </p:cNvGrpSpPr>
          <p:nvPr/>
        </p:nvGrpSpPr>
        <p:grpSpPr>
          <a:xfrm>
            <a:off x="2304707" y="2724897"/>
            <a:ext cx="305161" cy="306484"/>
            <a:chOff x="7996238" y="5214938"/>
            <a:chExt cx="366712" cy="368301"/>
          </a:xfrm>
          <a:solidFill>
            <a:schemeClr val="bg1"/>
          </a:solidFill>
          <a:effectLst/>
        </p:grpSpPr>
        <p:sp>
          <p:nvSpPr>
            <p:cNvPr id="780" name="Freeform 50">
              <a:extLst>
                <a:ext uri="{FF2B5EF4-FFF2-40B4-BE49-F238E27FC236}">
                  <a16:creationId xmlns:a16="http://schemas.microsoft.com/office/drawing/2014/main" id="{4B56388C-C10F-4EE0-A1D8-7883C34FD6C1}"/>
                </a:ext>
              </a:extLst>
            </p:cNvPr>
            <p:cNvSpPr>
              <a:spLocks noEditPoints="1"/>
            </p:cNvSpPr>
            <p:nvPr/>
          </p:nvSpPr>
          <p:spPr bwMode="auto">
            <a:xfrm>
              <a:off x="7996238" y="5214938"/>
              <a:ext cx="293687"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1" name="Freeform 51">
              <a:extLst>
                <a:ext uri="{FF2B5EF4-FFF2-40B4-BE49-F238E27FC236}">
                  <a16:creationId xmlns:a16="http://schemas.microsoft.com/office/drawing/2014/main" id="{F89B7DC0-443F-4F2D-BD29-6FF378D14B33}"/>
                </a:ext>
              </a:extLst>
            </p:cNvPr>
            <p:cNvSpPr>
              <a:spLocks/>
            </p:cNvSpPr>
            <p:nvPr/>
          </p:nvSpPr>
          <p:spPr bwMode="auto">
            <a:xfrm>
              <a:off x="8231188" y="5451476"/>
              <a:ext cx="131762" cy="131763"/>
            </a:xfrm>
            <a:custGeom>
              <a:avLst/>
              <a:gdLst>
                <a:gd name="T0" fmla="*/ 32 w 34"/>
                <a:gd name="T1" fmla="*/ 34 h 34"/>
                <a:gd name="T2" fmla="*/ 31 w 34"/>
                <a:gd name="T3" fmla="*/ 33 h 34"/>
                <a:gd name="T4" fmla="*/ 1 w 34"/>
                <a:gd name="T5" fmla="*/ 4 h 34"/>
                <a:gd name="T6" fmla="*/ 1 w 34"/>
                <a:gd name="T7" fmla="*/ 1 h 34"/>
                <a:gd name="T8" fmla="*/ 4 w 34"/>
                <a:gd name="T9" fmla="*/ 1 h 34"/>
                <a:gd name="T10" fmla="*/ 33 w 34"/>
                <a:gd name="T11" fmla="*/ 31 h 34"/>
                <a:gd name="T12" fmla="*/ 33 w 34"/>
                <a:gd name="T13" fmla="*/ 33 h 34"/>
                <a:gd name="T14" fmla="*/ 32 w 34"/>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4">
                  <a:moveTo>
                    <a:pt x="32" y="34"/>
                  </a:moveTo>
                  <a:cubicBezTo>
                    <a:pt x="31" y="34"/>
                    <a:pt x="31" y="34"/>
                    <a:pt x="31" y="33"/>
                  </a:cubicBezTo>
                  <a:cubicBezTo>
                    <a:pt x="1" y="4"/>
                    <a:pt x="1" y="4"/>
                    <a:pt x="1" y="4"/>
                  </a:cubicBezTo>
                  <a:cubicBezTo>
                    <a:pt x="0" y="3"/>
                    <a:pt x="0" y="2"/>
                    <a:pt x="1" y="1"/>
                  </a:cubicBezTo>
                  <a:cubicBezTo>
                    <a:pt x="2" y="0"/>
                    <a:pt x="3" y="0"/>
                    <a:pt x="4" y="1"/>
                  </a:cubicBezTo>
                  <a:cubicBezTo>
                    <a:pt x="33" y="31"/>
                    <a:pt x="33" y="31"/>
                    <a:pt x="33" y="31"/>
                  </a:cubicBezTo>
                  <a:cubicBezTo>
                    <a:pt x="34" y="31"/>
                    <a:pt x="34" y="33"/>
                    <a:pt x="33" y="33"/>
                  </a:cubicBezTo>
                  <a:cubicBezTo>
                    <a:pt x="33" y="34"/>
                    <a:pt x="33" y="34"/>
                    <a:pt x="32"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2" name="Freeform 52">
              <a:extLst>
                <a:ext uri="{FF2B5EF4-FFF2-40B4-BE49-F238E27FC236}">
                  <a16:creationId xmlns:a16="http://schemas.microsoft.com/office/drawing/2014/main" id="{1B03F7B6-E370-4ED9-B152-19C2873967B5}"/>
                </a:ext>
              </a:extLst>
            </p:cNvPr>
            <p:cNvSpPr>
              <a:spLocks noEditPoints="1"/>
            </p:cNvSpPr>
            <p:nvPr/>
          </p:nvSpPr>
          <p:spPr bwMode="auto">
            <a:xfrm>
              <a:off x="8077200" y="5276851"/>
              <a:ext cx="134937" cy="147638"/>
            </a:xfrm>
            <a:custGeom>
              <a:avLst/>
              <a:gdLst>
                <a:gd name="T0" fmla="*/ 17 w 35"/>
                <a:gd name="T1" fmla="*/ 38 h 38"/>
                <a:gd name="T2" fmla="*/ 17 w 35"/>
                <a:gd name="T3" fmla="*/ 38 h 38"/>
                <a:gd name="T4" fmla="*/ 8 w 35"/>
                <a:gd name="T5" fmla="*/ 31 h 38"/>
                <a:gd name="T6" fmla="*/ 1 w 35"/>
                <a:gd name="T7" fmla="*/ 23 h 38"/>
                <a:gd name="T8" fmla="*/ 4 w 35"/>
                <a:gd name="T9" fmla="*/ 12 h 38"/>
                <a:gd name="T10" fmla="*/ 16 w 35"/>
                <a:gd name="T11" fmla="*/ 6 h 38"/>
                <a:gd name="T12" fmla="*/ 27 w 35"/>
                <a:gd name="T13" fmla="*/ 0 h 38"/>
                <a:gd name="T14" fmla="*/ 29 w 35"/>
                <a:gd name="T15" fmla="*/ 0 h 38"/>
                <a:gd name="T16" fmla="*/ 31 w 35"/>
                <a:gd name="T17" fmla="*/ 1 h 38"/>
                <a:gd name="T18" fmla="*/ 28 w 35"/>
                <a:gd name="T19" fmla="*/ 32 h 38"/>
                <a:gd name="T20" fmla="*/ 17 w 35"/>
                <a:gd name="T21" fmla="*/ 38 h 38"/>
                <a:gd name="T22" fmla="*/ 28 w 35"/>
                <a:gd name="T23" fmla="*/ 5 h 38"/>
                <a:gd name="T24" fmla="*/ 17 w 35"/>
                <a:gd name="T25" fmla="*/ 10 h 38"/>
                <a:gd name="T26" fmla="*/ 7 w 35"/>
                <a:gd name="T27" fmla="*/ 15 h 38"/>
                <a:gd name="T28" fmla="*/ 4 w 35"/>
                <a:gd name="T29" fmla="*/ 22 h 38"/>
                <a:gd name="T30" fmla="*/ 10 w 35"/>
                <a:gd name="T31" fmla="*/ 28 h 38"/>
                <a:gd name="T32" fmla="*/ 11 w 35"/>
                <a:gd name="T33" fmla="*/ 29 h 38"/>
                <a:gd name="T34" fmla="*/ 17 w 35"/>
                <a:gd name="T35" fmla="*/ 34 h 38"/>
                <a:gd name="T36" fmla="*/ 25 w 35"/>
                <a:gd name="T37" fmla="*/ 29 h 38"/>
                <a:gd name="T38" fmla="*/ 28 w 35"/>
                <a:gd name="T39"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8">
                  <a:moveTo>
                    <a:pt x="17" y="38"/>
                  </a:moveTo>
                  <a:cubicBezTo>
                    <a:pt x="17" y="38"/>
                    <a:pt x="17" y="38"/>
                    <a:pt x="17" y="38"/>
                  </a:cubicBezTo>
                  <a:cubicBezTo>
                    <a:pt x="15" y="38"/>
                    <a:pt x="11" y="37"/>
                    <a:pt x="8" y="31"/>
                  </a:cubicBezTo>
                  <a:cubicBezTo>
                    <a:pt x="4" y="29"/>
                    <a:pt x="1" y="26"/>
                    <a:pt x="1" y="23"/>
                  </a:cubicBezTo>
                  <a:cubicBezTo>
                    <a:pt x="0" y="20"/>
                    <a:pt x="1" y="16"/>
                    <a:pt x="4" y="12"/>
                  </a:cubicBezTo>
                  <a:cubicBezTo>
                    <a:pt x="8" y="8"/>
                    <a:pt x="12" y="7"/>
                    <a:pt x="16" y="6"/>
                  </a:cubicBezTo>
                  <a:cubicBezTo>
                    <a:pt x="20" y="5"/>
                    <a:pt x="24" y="3"/>
                    <a:pt x="27" y="0"/>
                  </a:cubicBezTo>
                  <a:cubicBezTo>
                    <a:pt x="28" y="0"/>
                    <a:pt x="29" y="0"/>
                    <a:pt x="29" y="0"/>
                  </a:cubicBezTo>
                  <a:cubicBezTo>
                    <a:pt x="30" y="0"/>
                    <a:pt x="30" y="1"/>
                    <a:pt x="31" y="1"/>
                  </a:cubicBezTo>
                  <a:cubicBezTo>
                    <a:pt x="35" y="10"/>
                    <a:pt x="33" y="26"/>
                    <a:pt x="28" y="32"/>
                  </a:cubicBezTo>
                  <a:cubicBezTo>
                    <a:pt x="25" y="35"/>
                    <a:pt x="22" y="38"/>
                    <a:pt x="17" y="38"/>
                  </a:cubicBezTo>
                  <a:close/>
                  <a:moveTo>
                    <a:pt x="28" y="5"/>
                  </a:moveTo>
                  <a:cubicBezTo>
                    <a:pt x="24" y="7"/>
                    <a:pt x="21" y="9"/>
                    <a:pt x="17" y="10"/>
                  </a:cubicBezTo>
                  <a:cubicBezTo>
                    <a:pt x="13" y="11"/>
                    <a:pt x="10" y="12"/>
                    <a:pt x="7" y="15"/>
                  </a:cubicBezTo>
                  <a:cubicBezTo>
                    <a:pt x="6" y="17"/>
                    <a:pt x="4" y="20"/>
                    <a:pt x="4" y="22"/>
                  </a:cubicBezTo>
                  <a:cubicBezTo>
                    <a:pt x="5" y="24"/>
                    <a:pt x="7" y="26"/>
                    <a:pt x="10" y="28"/>
                  </a:cubicBezTo>
                  <a:cubicBezTo>
                    <a:pt x="11" y="28"/>
                    <a:pt x="11" y="28"/>
                    <a:pt x="11" y="29"/>
                  </a:cubicBezTo>
                  <a:cubicBezTo>
                    <a:pt x="13" y="32"/>
                    <a:pt x="15" y="34"/>
                    <a:pt x="17" y="34"/>
                  </a:cubicBezTo>
                  <a:cubicBezTo>
                    <a:pt x="19" y="34"/>
                    <a:pt x="22" y="32"/>
                    <a:pt x="25" y="29"/>
                  </a:cubicBezTo>
                  <a:cubicBezTo>
                    <a:pt x="29" y="25"/>
                    <a:pt x="30" y="13"/>
                    <a:pt x="2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3" name="Freeform 53">
              <a:extLst>
                <a:ext uri="{FF2B5EF4-FFF2-40B4-BE49-F238E27FC236}">
                  <a16:creationId xmlns:a16="http://schemas.microsoft.com/office/drawing/2014/main" id="{FDACD9DA-7DD9-4AEC-AEB6-BDE09119E75B}"/>
                </a:ext>
              </a:extLst>
            </p:cNvPr>
            <p:cNvSpPr>
              <a:spLocks/>
            </p:cNvSpPr>
            <p:nvPr/>
          </p:nvSpPr>
          <p:spPr bwMode="auto">
            <a:xfrm>
              <a:off x="8080375" y="5322888"/>
              <a:ext cx="88900" cy="123825"/>
            </a:xfrm>
            <a:custGeom>
              <a:avLst/>
              <a:gdLst>
                <a:gd name="T0" fmla="*/ 2 w 23"/>
                <a:gd name="T1" fmla="*/ 32 h 32"/>
                <a:gd name="T2" fmla="*/ 1 w 23"/>
                <a:gd name="T3" fmla="*/ 32 h 32"/>
                <a:gd name="T4" fmla="*/ 0 w 23"/>
                <a:gd name="T5" fmla="*/ 29 h 32"/>
                <a:gd name="T6" fmla="*/ 20 w 23"/>
                <a:gd name="T7" fmla="*/ 0 h 32"/>
                <a:gd name="T8" fmla="*/ 22 w 23"/>
                <a:gd name="T9" fmla="*/ 1 h 32"/>
                <a:gd name="T10" fmla="*/ 22 w 23"/>
                <a:gd name="T11" fmla="*/ 3 h 32"/>
                <a:gd name="T12" fmla="*/ 4 w 23"/>
                <a:gd name="T13" fmla="*/ 31 h 32"/>
                <a:gd name="T14" fmla="*/ 2 w 2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2">
                  <a:moveTo>
                    <a:pt x="2" y="32"/>
                  </a:moveTo>
                  <a:cubicBezTo>
                    <a:pt x="2" y="32"/>
                    <a:pt x="2" y="32"/>
                    <a:pt x="1" y="32"/>
                  </a:cubicBezTo>
                  <a:cubicBezTo>
                    <a:pt x="0" y="31"/>
                    <a:pt x="0" y="30"/>
                    <a:pt x="0" y="29"/>
                  </a:cubicBezTo>
                  <a:cubicBezTo>
                    <a:pt x="3" y="21"/>
                    <a:pt x="9" y="10"/>
                    <a:pt x="20" y="0"/>
                  </a:cubicBezTo>
                  <a:cubicBezTo>
                    <a:pt x="20" y="0"/>
                    <a:pt x="22" y="0"/>
                    <a:pt x="22" y="1"/>
                  </a:cubicBezTo>
                  <a:cubicBezTo>
                    <a:pt x="23" y="1"/>
                    <a:pt x="23" y="3"/>
                    <a:pt x="22" y="3"/>
                  </a:cubicBezTo>
                  <a:cubicBezTo>
                    <a:pt x="12" y="13"/>
                    <a:pt x="7" y="23"/>
                    <a:pt x="4" y="31"/>
                  </a:cubicBezTo>
                  <a:cubicBezTo>
                    <a:pt x="4" y="32"/>
                    <a:pt x="3" y="32"/>
                    <a:pt x="2"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17" name="Group 122">
            <a:extLst>
              <a:ext uri="{FF2B5EF4-FFF2-40B4-BE49-F238E27FC236}">
                <a16:creationId xmlns:a16="http://schemas.microsoft.com/office/drawing/2014/main" id="{42306408-29DE-4BD5-A0B1-F0FDE7302ECE}"/>
              </a:ext>
            </a:extLst>
          </p:cNvPr>
          <p:cNvGrpSpPr>
            <a:grpSpLocks noChangeAspect="1"/>
          </p:cNvGrpSpPr>
          <p:nvPr/>
        </p:nvGrpSpPr>
        <p:grpSpPr>
          <a:xfrm>
            <a:off x="1883284" y="2724897"/>
            <a:ext cx="306826" cy="308144"/>
            <a:chOff x="3417888" y="1931988"/>
            <a:chExt cx="369887" cy="371476"/>
          </a:xfrm>
          <a:solidFill>
            <a:schemeClr val="bg1"/>
          </a:solidFill>
          <a:effectLst/>
        </p:grpSpPr>
        <p:sp>
          <p:nvSpPr>
            <p:cNvPr id="918" name="Freeform 31">
              <a:extLst>
                <a:ext uri="{FF2B5EF4-FFF2-40B4-BE49-F238E27FC236}">
                  <a16:creationId xmlns:a16="http://schemas.microsoft.com/office/drawing/2014/main" id="{0AF7781B-C9C2-4FB6-9F56-0305BFE1BEC6}"/>
                </a:ext>
              </a:extLst>
            </p:cNvPr>
            <p:cNvSpPr>
              <a:spLocks noEditPoints="1"/>
            </p:cNvSpPr>
            <p:nvPr/>
          </p:nvSpPr>
          <p:spPr bwMode="auto">
            <a:xfrm>
              <a:off x="3417888" y="1931988"/>
              <a:ext cx="293687"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9" name="Freeform 32">
              <a:extLst>
                <a:ext uri="{FF2B5EF4-FFF2-40B4-BE49-F238E27FC236}">
                  <a16:creationId xmlns:a16="http://schemas.microsoft.com/office/drawing/2014/main" id="{CA026EC6-3072-4A7C-81ED-3050FF9FC946}"/>
                </a:ext>
              </a:extLst>
            </p:cNvPr>
            <p:cNvSpPr>
              <a:spLocks/>
            </p:cNvSpPr>
            <p:nvPr/>
          </p:nvSpPr>
          <p:spPr bwMode="auto">
            <a:xfrm>
              <a:off x="3652838" y="2168526"/>
              <a:ext cx="134937" cy="134938"/>
            </a:xfrm>
            <a:custGeom>
              <a:avLst/>
              <a:gdLst>
                <a:gd name="T0" fmla="*/ 33 w 35"/>
                <a:gd name="T1" fmla="*/ 35 h 35"/>
                <a:gd name="T2" fmla="*/ 32 w 35"/>
                <a:gd name="T3" fmla="*/ 34 h 35"/>
                <a:gd name="T4" fmla="*/ 1 w 35"/>
                <a:gd name="T5" fmla="*/ 4 h 35"/>
                <a:gd name="T6" fmla="*/ 1 w 35"/>
                <a:gd name="T7" fmla="*/ 1 h 35"/>
                <a:gd name="T8" fmla="*/ 4 w 35"/>
                <a:gd name="T9" fmla="*/ 1 h 35"/>
                <a:gd name="T10" fmla="*/ 34 w 35"/>
                <a:gd name="T11" fmla="*/ 32 h 35"/>
                <a:gd name="T12" fmla="*/ 34 w 35"/>
                <a:gd name="T13" fmla="*/ 34 h 35"/>
                <a:gd name="T14" fmla="*/ 33 w 35"/>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5">
                  <a:moveTo>
                    <a:pt x="33" y="35"/>
                  </a:moveTo>
                  <a:cubicBezTo>
                    <a:pt x="32" y="35"/>
                    <a:pt x="32" y="35"/>
                    <a:pt x="32" y="34"/>
                  </a:cubicBezTo>
                  <a:cubicBezTo>
                    <a:pt x="1" y="4"/>
                    <a:pt x="1" y="4"/>
                    <a:pt x="1" y="4"/>
                  </a:cubicBezTo>
                  <a:cubicBezTo>
                    <a:pt x="0" y="3"/>
                    <a:pt x="0" y="2"/>
                    <a:pt x="1" y="1"/>
                  </a:cubicBezTo>
                  <a:cubicBezTo>
                    <a:pt x="2" y="0"/>
                    <a:pt x="3" y="0"/>
                    <a:pt x="4" y="1"/>
                  </a:cubicBezTo>
                  <a:cubicBezTo>
                    <a:pt x="34" y="32"/>
                    <a:pt x="34" y="32"/>
                    <a:pt x="34" y="32"/>
                  </a:cubicBezTo>
                  <a:cubicBezTo>
                    <a:pt x="35" y="32"/>
                    <a:pt x="35" y="34"/>
                    <a:pt x="34" y="34"/>
                  </a:cubicBezTo>
                  <a:cubicBezTo>
                    <a:pt x="34" y="35"/>
                    <a:pt x="34" y="35"/>
                    <a:pt x="3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0" name="Freeform 33">
              <a:extLst>
                <a:ext uri="{FF2B5EF4-FFF2-40B4-BE49-F238E27FC236}">
                  <a16:creationId xmlns:a16="http://schemas.microsoft.com/office/drawing/2014/main" id="{4FE0106B-4317-4E8F-AD48-9E5AD210FF94}"/>
                </a:ext>
              </a:extLst>
            </p:cNvPr>
            <p:cNvSpPr>
              <a:spLocks/>
            </p:cNvSpPr>
            <p:nvPr/>
          </p:nvSpPr>
          <p:spPr bwMode="auto">
            <a:xfrm>
              <a:off x="3487738" y="1978026"/>
              <a:ext cx="153987" cy="198438"/>
            </a:xfrm>
            <a:custGeom>
              <a:avLst/>
              <a:gdLst>
                <a:gd name="T0" fmla="*/ 2 w 40"/>
                <a:gd name="T1" fmla="*/ 50 h 51"/>
                <a:gd name="T2" fmla="*/ 0 w 40"/>
                <a:gd name="T3" fmla="*/ 49 h 51"/>
                <a:gd name="T4" fmla="*/ 1 w 40"/>
                <a:gd name="T5" fmla="*/ 47 h 51"/>
                <a:gd name="T6" fmla="*/ 10 w 40"/>
                <a:gd name="T7" fmla="*/ 43 h 51"/>
                <a:gd name="T8" fmla="*/ 10 w 40"/>
                <a:gd name="T9" fmla="*/ 37 h 51"/>
                <a:gd name="T10" fmla="*/ 6 w 40"/>
                <a:gd name="T11" fmla="*/ 27 h 51"/>
                <a:gd name="T12" fmla="*/ 3 w 40"/>
                <a:gd name="T13" fmla="*/ 21 h 51"/>
                <a:gd name="T14" fmla="*/ 4 w 40"/>
                <a:gd name="T15" fmla="*/ 18 h 51"/>
                <a:gd name="T16" fmla="*/ 5 w 40"/>
                <a:gd name="T17" fmla="*/ 17 h 51"/>
                <a:gd name="T18" fmla="*/ 5 w 40"/>
                <a:gd name="T19" fmla="*/ 7 h 51"/>
                <a:gd name="T20" fmla="*/ 9 w 40"/>
                <a:gd name="T21" fmla="*/ 6 h 51"/>
                <a:gd name="T22" fmla="*/ 22 w 40"/>
                <a:gd name="T23" fmla="*/ 0 h 51"/>
                <a:gd name="T24" fmla="*/ 36 w 40"/>
                <a:gd name="T25" fmla="*/ 8 h 51"/>
                <a:gd name="T26" fmla="*/ 35 w 40"/>
                <a:gd name="T27" fmla="*/ 17 h 51"/>
                <a:gd name="T28" fmla="*/ 36 w 40"/>
                <a:gd name="T29" fmla="*/ 18 h 51"/>
                <a:gd name="T30" fmla="*/ 37 w 40"/>
                <a:gd name="T31" fmla="*/ 21 h 51"/>
                <a:gd name="T32" fmla="*/ 34 w 40"/>
                <a:gd name="T33" fmla="*/ 27 h 51"/>
                <a:gd name="T34" fmla="*/ 30 w 40"/>
                <a:gd name="T35" fmla="*/ 37 h 51"/>
                <a:gd name="T36" fmla="*/ 30 w 40"/>
                <a:gd name="T37" fmla="*/ 43 h 51"/>
                <a:gd name="T38" fmla="*/ 39 w 40"/>
                <a:gd name="T39" fmla="*/ 47 h 51"/>
                <a:gd name="T40" fmla="*/ 40 w 40"/>
                <a:gd name="T41" fmla="*/ 49 h 51"/>
                <a:gd name="T42" fmla="*/ 37 w 40"/>
                <a:gd name="T43" fmla="*/ 50 h 51"/>
                <a:gd name="T44" fmla="*/ 27 w 40"/>
                <a:gd name="T45" fmla="*/ 46 h 51"/>
                <a:gd name="T46" fmla="*/ 26 w 40"/>
                <a:gd name="T47" fmla="*/ 44 h 51"/>
                <a:gd name="T48" fmla="*/ 26 w 40"/>
                <a:gd name="T49" fmla="*/ 36 h 51"/>
                <a:gd name="T50" fmla="*/ 27 w 40"/>
                <a:gd name="T51" fmla="*/ 34 h 51"/>
                <a:gd name="T52" fmla="*/ 27 w 40"/>
                <a:gd name="T53" fmla="*/ 34 h 51"/>
                <a:gd name="T54" fmla="*/ 30 w 40"/>
                <a:gd name="T55" fmla="*/ 26 h 51"/>
                <a:gd name="T56" fmla="*/ 32 w 40"/>
                <a:gd name="T57" fmla="*/ 24 h 51"/>
                <a:gd name="T58" fmla="*/ 33 w 40"/>
                <a:gd name="T59" fmla="*/ 21 h 51"/>
                <a:gd name="T60" fmla="*/ 32 w 40"/>
                <a:gd name="T61" fmla="*/ 20 h 51"/>
                <a:gd name="T62" fmla="*/ 30 w 40"/>
                <a:gd name="T63" fmla="*/ 18 h 51"/>
                <a:gd name="T64" fmla="*/ 31 w 40"/>
                <a:gd name="T65" fmla="*/ 16 h 51"/>
                <a:gd name="T66" fmla="*/ 32 w 40"/>
                <a:gd name="T67" fmla="*/ 8 h 51"/>
                <a:gd name="T68" fmla="*/ 22 w 40"/>
                <a:gd name="T69" fmla="*/ 4 h 51"/>
                <a:gd name="T70" fmla="*/ 12 w 40"/>
                <a:gd name="T71" fmla="*/ 8 h 51"/>
                <a:gd name="T72" fmla="*/ 10 w 40"/>
                <a:gd name="T73" fmla="*/ 10 h 51"/>
                <a:gd name="T74" fmla="*/ 8 w 40"/>
                <a:gd name="T75" fmla="*/ 10 h 51"/>
                <a:gd name="T76" fmla="*/ 9 w 40"/>
                <a:gd name="T77" fmla="*/ 16 h 51"/>
                <a:gd name="T78" fmla="*/ 10 w 40"/>
                <a:gd name="T79" fmla="*/ 18 h 51"/>
                <a:gd name="T80" fmla="*/ 8 w 40"/>
                <a:gd name="T81" fmla="*/ 20 h 51"/>
                <a:gd name="T82" fmla="*/ 8 w 40"/>
                <a:gd name="T83" fmla="*/ 20 h 51"/>
                <a:gd name="T84" fmla="*/ 8 w 40"/>
                <a:gd name="T85" fmla="*/ 24 h 51"/>
                <a:gd name="T86" fmla="*/ 10 w 40"/>
                <a:gd name="T87" fmla="*/ 26 h 51"/>
                <a:gd name="T88" fmla="*/ 13 w 40"/>
                <a:gd name="T89" fmla="*/ 34 h 51"/>
                <a:gd name="T90" fmla="*/ 14 w 40"/>
                <a:gd name="T91" fmla="*/ 36 h 51"/>
                <a:gd name="T92" fmla="*/ 14 w 40"/>
                <a:gd name="T93" fmla="*/ 44 h 51"/>
                <a:gd name="T94" fmla="*/ 13 w 40"/>
                <a:gd name="T95" fmla="*/ 46 h 51"/>
                <a:gd name="T96" fmla="*/ 3 w 40"/>
                <a:gd name="T97" fmla="*/ 50 h 51"/>
                <a:gd name="T98" fmla="*/ 2 w 40"/>
                <a:gd name="T99"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 h="51">
                  <a:moveTo>
                    <a:pt x="2" y="50"/>
                  </a:moveTo>
                  <a:cubicBezTo>
                    <a:pt x="1" y="50"/>
                    <a:pt x="1" y="50"/>
                    <a:pt x="0" y="49"/>
                  </a:cubicBezTo>
                  <a:cubicBezTo>
                    <a:pt x="0" y="48"/>
                    <a:pt x="0" y="47"/>
                    <a:pt x="1" y="47"/>
                  </a:cubicBezTo>
                  <a:cubicBezTo>
                    <a:pt x="4" y="45"/>
                    <a:pt x="7" y="44"/>
                    <a:pt x="10" y="43"/>
                  </a:cubicBezTo>
                  <a:cubicBezTo>
                    <a:pt x="10" y="37"/>
                    <a:pt x="10" y="37"/>
                    <a:pt x="10" y="37"/>
                  </a:cubicBezTo>
                  <a:cubicBezTo>
                    <a:pt x="9" y="36"/>
                    <a:pt x="6" y="33"/>
                    <a:pt x="6" y="27"/>
                  </a:cubicBezTo>
                  <a:cubicBezTo>
                    <a:pt x="4" y="26"/>
                    <a:pt x="3" y="24"/>
                    <a:pt x="3" y="21"/>
                  </a:cubicBezTo>
                  <a:cubicBezTo>
                    <a:pt x="3" y="20"/>
                    <a:pt x="4" y="19"/>
                    <a:pt x="4" y="18"/>
                  </a:cubicBezTo>
                  <a:cubicBezTo>
                    <a:pt x="5" y="18"/>
                    <a:pt x="5" y="17"/>
                    <a:pt x="5" y="17"/>
                  </a:cubicBezTo>
                  <a:cubicBezTo>
                    <a:pt x="4" y="14"/>
                    <a:pt x="3" y="10"/>
                    <a:pt x="5" y="7"/>
                  </a:cubicBezTo>
                  <a:cubicBezTo>
                    <a:pt x="6" y="6"/>
                    <a:pt x="7" y="6"/>
                    <a:pt x="9" y="6"/>
                  </a:cubicBezTo>
                  <a:cubicBezTo>
                    <a:pt x="11" y="2"/>
                    <a:pt x="17" y="0"/>
                    <a:pt x="22" y="0"/>
                  </a:cubicBezTo>
                  <a:cubicBezTo>
                    <a:pt x="28" y="0"/>
                    <a:pt x="35" y="2"/>
                    <a:pt x="36" y="8"/>
                  </a:cubicBezTo>
                  <a:cubicBezTo>
                    <a:pt x="37" y="11"/>
                    <a:pt x="36" y="15"/>
                    <a:pt x="35" y="17"/>
                  </a:cubicBezTo>
                  <a:cubicBezTo>
                    <a:pt x="35" y="17"/>
                    <a:pt x="35" y="18"/>
                    <a:pt x="36" y="18"/>
                  </a:cubicBezTo>
                  <a:cubicBezTo>
                    <a:pt x="36" y="19"/>
                    <a:pt x="37" y="20"/>
                    <a:pt x="37" y="21"/>
                  </a:cubicBezTo>
                  <a:cubicBezTo>
                    <a:pt x="37" y="24"/>
                    <a:pt x="36" y="26"/>
                    <a:pt x="34" y="27"/>
                  </a:cubicBezTo>
                  <a:cubicBezTo>
                    <a:pt x="34" y="33"/>
                    <a:pt x="31" y="36"/>
                    <a:pt x="30" y="37"/>
                  </a:cubicBezTo>
                  <a:cubicBezTo>
                    <a:pt x="30" y="43"/>
                    <a:pt x="30" y="43"/>
                    <a:pt x="30" y="43"/>
                  </a:cubicBezTo>
                  <a:cubicBezTo>
                    <a:pt x="33" y="44"/>
                    <a:pt x="36" y="45"/>
                    <a:pt x="39" y="47"/>
                  </a:cubicBezTo>
                  <a:cubicBezTo>
                    <a:pt x="40" y="47"/>
                    <a:pt x="40" y="48"/>
                    <a:pt x="40" y="49"/>
                  </a:cubicBezTo>
                  <a:cubicBezTo>
                    <a:pt x="39" y="50"/>
                    <a:pt x="38" y="51"/>
                    <a:pt x="37" y="50"/>
                  </a:cubicBezTo>
                  <a:cubicBezTo>
                    <a:pt x="34" y="49"/>
                    <a:pt x="31" y="47"/>
                    <a:pt x="27" y="46"/>
                  </a:cubicBezTo>
                  <a:cubicBezTo>
                    <a:pt x="26" y="46"/>
                    <a:pt x="26" y="45"/>
                    <a:pt x="26" y="44"/>
                  </a:cubicBezTo>
                  <a:cubicBezTo>
                    <a:pt x="26" y="36"/>
                    <a:pt x="26" y="36"/>
                    <a:pt x="26" y="36"/>
                  </a:cubicBezTo>
                  <a:cubicBezTo>
                    <a:pt x="26" y="35"/>
                    <a:pt x="27" y="34"/>
                    <a:pt x="27" y="34"/>
                  </a:cubicBezTo>
                  <a:cubicBezTo>
                    <a:pt x="27" y="34"/>
                    <a:pt x="27" y="34"/>
                    <a:pt x="27" y="34"/>
                  </a:cubicBezTo>
                  <a:cubicBezTo>
                    <a:pt x="27" y="34"/>
                    <a:pt x="30" y="33"/>
                    <a:pt x="30" y="26"/>
                  </a:cubicBezTo>
                  <a:cubicBezTo>
                    <a:pt x="30" y="25"/>
                    <a:pt x="31" y="24"/>
                    <a:pt x="32" y="24"/>
                  </a:cubicBezTo>
                  <a:cubicBezTo>
                    <a:pt x="32" y="24"/>
                    <a:pt x="33" y="23"/>
                    <a:pt x="33" y="21"/>
                  </a:cubicBezTo>
                  <a:cubicBezTo>
                    <a:pt x="33" y="20"/>
                    <a:pt x="32" y="20"/>
                    <a:pt x="32" y="20"/>
                  </a:cubicBezTo>
                  <a:cubicBezTo>
                    <a:pt x="31" y="20"/>
                    <a:pt x="30" y="19"/>
                    <a:pt x="30" y="18"/>
                  </a:cubicBezTo>
                  <a:cubicBezTo>
                    <a:pt x="30" y="17"/>
                    <a:pt x="30" y="17"/>
                    <a:pt x="31" y="16"/>
                  </a:cubicBezTo>
                  <a:cubicBezTo>
                    <a:pt x="32" y="14"/>
                    <a:pt x="33" y="11"/>
                    <a:pt x="32" y="8"/>
                  </a:cubicBezTo>
                  <a:cubicBezTo>
                    <a:pt x="31" y="6"/>
                    <a:pt x="27" y="4"/>
                    <a:pt x="22" y="4"/>
                  </a:cubicBezTo>
                  <a:cubicBezTo>
                    <a:pt x="17" y="4"/>
                    <a:pt x="13" y="6"/>
                    <a:pt x="12" y="8"/>
                  </a:cubicBezTo>
                  <a:cubicBezTo>
                    <a:pt x="12" y="10"/>
                    <a:pt x="11" y="10"/>
                    <a:pt x="10" y="10"/>
                  </a:cubicBezTo>
                  <a:cubicBezTo>
                    <a:pt x="8" y="10"/>
                    <a:pt x="8" y="10"/>
                    <a:pt x="8" y="10"/>
                  </a:cubicBezTo>
                  <a:cubicBezTo>
                    <a:pt x="7" y="10"/>
                    <a:pt x="8" y="12"/>
                    <a:pt x="9" y="16"/>
                  </a:cubicBezTo>
                  <a:cubicBezTo>
                    <a:pt x="10" y="17"/>
                    <a:pt x="10" y="17"/>
                    <a:pt x="10" y="18"/>
                  </a:cubicBezTo>
                  <a:cubicBezTo>
                    <a:pt x="10" y="19"/>
                    <a:pt x="9" y="20"/>
                    <a:pt x="8" y="20"/>
                  </a:cubicBezTo>
                  <a:cubicBezTo>
                    <a:pt x="8" y="20"/>
                    <a:pt x="8" y="20"/>
                    <a:pt x="8" y="20"/>
                  </a:cubicBezTo>
                  <a:cubicBezTo>
                    <a:pt x="7" y="22"/>
                    <a:pt x="8" y="24"/>
                    <a:pt x="8" y="24"/>
                  </a:cubicBezTo>
                  <a:cubicBezTo>
                    <a:pt x="9" y="24"/>
                    <a:pt x="10" y="25"/>
                    <a:pt x="10" y="26"/>
                  </a:cubicBezTo>
                  <a:cubicBezTo>
                    <a:pt x="10" y="33"/>
                    <a:pt x="13" y="34"/>
                    <a:pt x="13" y="34"/>
                  </a:cubicBezTo>
                  <a:cubicBezTo>
                    <a:pt x="13" y="34"/>
                    <a:pt x="14" y="35"/>
                    <a:pt x="14" y="36"/>
                  </a:cubicBezTo>
                  <a:cubicBezTo>
                    <a:pt x="14" y="44"/>
                    <a:pt x="14" y="44"/>
                    <a:pt x="14" y="44"/>
                  </a:cubicBezTo>
                  <a:cubicBezTo>
                    <a:pt x="14" y="45"/>
                    <a:pt x="14" y="46"/>
                    <a:pt x="13" y="46"/>
                  </a:cubicBezTo>
                  <a:cubicBezTo>
                    <a:pt x="9" y="47"/>
                    <a:pt x="6" y="49"/>
                    <a:pt x="3" y="50"/>
                  </a:cubicBezTo>
                  <a:cubicBezTo>
                    <a:pt x="3" y="50"/>
                    <a:pt x="2"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36" name="Group 14">
            <a:extLst>
              <a:ext uri="{FF2B5EF4-FFF2-40B4-BE49-F238E27FC236}">
                <a16:creationId xmlns:a16="http://schemas.microsoft.com/office/drawing/2014/main" id="{290575C2-4546-4022-A2F0-EBE06D0CE179}"/>
              </a:ext>
            </a:extLst>
          </p:cNvPr>
          <p:cNvGrpSpPr>
            <a:grpSpLocks noChangeAspect="1"/>
          </p:cNvGrpSpPr>
          <p:nvPr/>
        </p:nvGrpSpPr>
        <p:grpSpPr>
          <a:xfrm>
            <a:off x="660857" y="1647825"/>
            <a:ext cx="306484" cy="306484"/>
            <a:chOff x="11593513" y="782638"/>
            <a:chExt cx="285750" cy="285750"/>
          </a:xfrm>
          <a:solidFill>
            <a:schemeClr val="bg1"/>
          </a:solidFill>
          <a:effectLst/>
        </p:grpSpPr>
        <p:sp>
          <p:nvSpPr>
            <p:cNvPr id="737" name="Freeform 300">
              <a:extLst>
                <a:ext uri="{FF2B5EF4-FFF2-40B4-BE49-F238E27FC236}">
                  <a16:creationId xmlns:a16="http://schemas.microsoft.com/office/drawing/2014/main" id="{5C4B32E8-D91D-4EB8-8F16-786623D5FD83}"/>
                </a:ext>
              </a:extLst>
            </p:cNvPr>
            <p:cNvSpPr>
              <a:spLocks/>
            </p:cNvSpPr>
            <p:nvPr/>
          </p:nvSpPr>
          <p:spPr bwMode="auto">
            <a:xfrm>
              <a:off x="11726863" y="1038225"/>
              <a:ext cx="38100" cy="9525"/>
            </a:xfrm>
            <a:custGeom>
              <a:avLst/>
              <a:gdLst>
                <a:gd name="T0" fmla="*/ 15 w 120"/>
                <a:gd name="T1" fmla="*/ 30 h 30"/>
                <a:gd name="T2" fmla="*/ 105 w 120"/>
                <a:gd name="T3" fmla="*/ 30 h 30"/>
                <a:gd name="T4" fmla="*/ 108 w 120"/>
                <a:gd name="T5" fmla="*/ 30 h 30"/>
                <a:gd name="T6" fmla="*/ 111 w 120"/>
                <a:gd name="T7" fmla="*/ 29 h 30"/>
                <a:gd name="T8" fmla="*/ 114 w 120"/>
                <a:gd name="T9" fmla="*/ 28 h 30"/>
                <a:gd name="T10" fmla="*/ 116 w 120"/>
                <a:gd name="T11" fmla="*/ 26 h 30"/>
                <a:gd name="T12" fmla="*/ 118 w 120"/>
                <a:gd name="T13" fmla="*/ 24 h 30"/>
                <a:gd name="T14" fmla="*/ 119 w 120"/>
                <a:gd name="T15" fmla="*/ 22 h 30"/>
                <a:gd name="T16" fmla="*/ 120 w 120"/>
                <a:gd name="T17" fmla="*/ 19 h 30"/>
                <a:gd name="T18" fmla="*/ 120 w 120"/>
                <a:gd name="T19" fmla="*/ 15 h 30"/>
                <a:gd name="T20" fmla="*/ 120 w 120"/>
                <a:gd name="T21" fmla="*/ 13 h 30"/>
                <a:gd name="T22" fmla="*/ 119 w 120"/>
                <a:gd name="T23" fmla="*/ 10 h 30"/>
                <a:gd name="T24" fmla="*/ 118 w 120"/>
                <a:gd name="T25" fmla="*/ 8 h 30"/>
                <a:gd name="T26" fmla="*/ 116 w 120"/>
                <a:gd name="T27" fmla="*/ 5 h 30"/>
                <a:gd name="T28" fmla="*/ 114 w 120"/>
                <a:gd name="T29" fmla="*/ 4 h 30"/>
                <a:gd name="T30" fmla="*/ 111 w 120"/>
                <a:gd name="T31" fmla="*/ 1 h 30"/>
                <a:gd name="T32" fmla="*/ 108 w 120"/>
                <a:gd name="T33" fmla="*/ 1 h 30"/>
                <a:gd name="T34" fmla="*/ 105 w 120"/>
                <a:gd name="T35" fmla="*/ 0 h 30"/>
                <a:gd name="T36" fmla="*/ 15 w 120"/>
                <a:gd name="T37" fmla="*/ 0 h 30"/>
                <a:gd name="T38" fmla="*/ 12 w 120"/>
                <a:gd name="T39" fmla="*/ 1 h 30"/>
                <a:gd name="T40" fmla="*/ 9 w 120"/>
                <a:gd name="T41" fmla="*/ 1 h 30"/>
                <a:gd name="T42" fmla="*/ 7 w 120"/>
                <a:gd name="T43" fmla="*/ 4 h 30"/>
                <a:gd name="T44" fmla="*/ 5 w 120"/>
                <a:gd name="T45" fmla="*/ 5 h 30"/>
                <a:gd name="T46" fmla="*/ 2 w 120"/>
                <a:gd name="T47" fmla="*/ 8 h 30"/>
                <a:gd name="T48" fmla="*/ 1 w 120"/>
                <a:gd name="T49" fmla="*/ 10 h 30"/>
                <a:gd name="T50" fmla="*/ 0 w 120"/>
                <a:gd name="T51" fmla="*/ 13 h 30"/>
                <a:gd name="T52" fmla="*/ 0 w 120"/>
                <a:gd name="T53" fmla="*/ 15 h 30"/>
                <a:gd name="T54" fmla="*/ 0 w 120"/>
                <a:gd name="T55" fmla="*/ 19 h 30"/>
                <a:gd name="T56" fmla="*/ 1 w 120"/>
                <a:gd name="T57" fmla="*/ 22 h 30"/>
                <a:gd name="T58" fmla="*/ 2 w 120"/>
                <a:gd name="T59" fmla="*/ 24 h 30"/>
                <a:gd name="T60" fmla="*/ 5 w 120"/>
                <a:gd name="T61" fmla="*/ 26 h 30"/>
                <a:gd name="T62" fmla="*/ 7 w 120"/>
                <a:gd name="T63" fmla="*/ 28 h 30"/>
                <a:gd name="T64" fmla="*/ 9 w 120"/>
                <a:gd name="T65" fmla="*/ 29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1" y="29"/>
                  </a:lnTo>
                  <a:lnTo>
                    <a:pt x="114" y="28"/>
                  </a:lnTo>
                  <a:lnTo>
                    <a:pt x="116" y="26"/>
                  </a:lnTo>
                  <a:lnTo>
                    <a:pt x="118" y="24"/>
                  </a:lnTo>
                  <a:lnTo>
                    <a:pt x="119" y="22"/>
                  </a:lnTo>
                  <a:lnTo>
                    <a:pt x="120" y="19"/>
                  </a:lnTo>
                  <a:lnTo>
                    <a:pt x="120" y="15"/>
                  </a:lnTo>
                  <a:lnTo>
                    <a:pt x="120" y="13"/>
                  </a:lnTo>
                  <a:lnTo>
                    <a:pt x="119" y="10"/>
                  </a:lnTo>
                  <a:lnTo>
                    <a:pt x="118" y="8"/>
                  </a:lnTo>
                  <a:lnTo>
                    <a:pt x="116" y="5"/>
                  </a:lnTo>
                  <a:lnTo>
                    <a:pt x="114" y="4"/>
                  </a:lnTo>
                  <a:lnTo>
                    <a:pt x="111" y="1"/>
                  </a:lnTo>
                  <a:lnTo>
                    <a:pt x="108" y="1"/>
                  </a:lnTo>
                  <a:lnTo>
                    <a:pt x="105" y="0"/>
                  </a:lnTo>
                  <a:lnTo>
                    <a:pt x="15" y="0"/>
                  </a:lnTo>
                  <a:lnTo>
                    <a:pt x="12" y="1"/>
                  </a:lnTo>
                  <a:lnTo>
                    <a:pt x="9" y="1"/>
                  </a:lnTo>
                  <a:lnTo>
                    <a:pt x="7" y="4"/>
                  </a:lnTo>
                  <a:lnTo>
                    <a:pt x="5" y="5"/>
                  </a:lnTo>
                  <a:lnTo>
                    <a:pt x="2" y="8"/>
                  </a:lnTo>
                  <a:lnTo>
                    <a:pt x="1" y="10"/>
                  </a:lnTo>
                  <a:lnTo>
                    <a:pt x="0" y="13"/>
                  </a:lnTo>
                  <a:lnTo>
                    <a:pt x="0" y="15"/>
                  </a:lnTo>
                  <a:lnTo>
                    <a:pt x="0" y="19"/>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38" name="Freeform 301">
              <a:extLst>
                <a:ext uri="{FF2B5EF4-FFF2-40B4-BE49-F238E27FC236}">
                  <a16:creationId xmlns:a16="http://schemas.microsoft.com/office/drawing/2014/main" id="{FEEE0F0A-EF08-4212-89D4-DB5A66A74995}"/>
                </a:ext>
              </a:extLst>
            </p:cNvPr>
            <p:cNvSpPr>
              <a:spLocks/>
            </p:cNvSpPr>
            <p:nvPr/>
          </p:nvSpPr>
          <p:spPr bwMode="auto">
            <a:xfrm>
              <a:off x="11669713" y="811213"/>
              <a:ext cx="9525" cy="161925"/>
            </a:xfrm>
            <a:custGeom>
              <a:avLst/>
              <a:gdLst>
                <a:gd name="T0" fmla="*/ 15 w 31"/>
                <a:gd name="T1" fmla="*/ 510 h 510"/>
                <a:gd name="T2" fmla="*/ 18 w 31"/>
                <a:gd name="T3" fmla="*/ 510 h 510"/>
                <a:gd name="T4" fmla="*/ 21 w 31"/>
                <a:gd name="T5" fmla="*/ 509 h 510"/>
                <a:gd name="T6" fmla="*/ 23 w 31"/>
                <a:gd name="T7" fmla="*/ 507 h 510"/>
                <a:gd name="T8" fmla="*/ 25 w 31"/>
                <a:gd name="T9" fmla="*/ 506 h 510"/>
                <a:gd name="T10" fmla="*/ 27 w 31"/>
                <a:gd name="T11" fmla="*/ 504 h 510"/>
                <a:gd name="T12" fmla="*/ 29 w 31"/>
                <a:gd name="T13" fmla="*/ 500 h 510"/>
                <a:gd name="T14" fmla="*/ 30 w 31"/>
                <a:gd name="T15" fmla="*/ 498 h 510"/>
                <a:gd name="T16" fmla="*/ 31 w 31"/>
                <a:gd name="T17" fmla="*/ 495 h 510"/>
                <a:gd name="T18" fmla="*/ 31 w 31"/>
                <a:gd name="T19" fmla="*/ 15 h 510"/>
                <a:gd name="T20" fmla="*/ 30 w 31"/>
                <a:gd name="T21" fmla="*/ 12 h 510"/>
                <a:gd name="T22" fmla="*/ 29 w 31"/>
                <a:gd name="T23" fmla="*/ 9 h 510"/>
                <a:gd name="T24" fmla="*/ 27 w 31"/>
                <a:gd name="T25" fmla="*/ 7 h 510"/>
                <a:gd name="T26" fmla="*/ 25 w 31"/>
                <a:gd name="T27" fmla="*/ 5 h 510"/>
                <a:gd name="T28" fmla="*/ 23 w 31"/>
                <a:gd name="T29" fmla="*/ 3 h 510"/>
                <a:gd name="T30" fmla="*/ 21 w 31"/>
                <a:gd name="T31" fmla="*/ 1 h 510"/>
                <a:gd name="T32" fmla="*/ 18 w 31"/>
                <a:gd name="T33" fmla="*/ 0 h 510"/>
                <a:gd name="T34" fmla="*/ 15 w 31"/>
                <a:gd name="T35" fmla="*/ 0 h 510"/>
                <a:gd name="T36" fmla="*/ 13 w 31"/>
                <a:gd name="T37" fmla="*/ 0 h 510"/>
                <a:gd name="T38" fmla="*/ 9 w 31"/>
                <a:gd name="T39" fmla="*/ 1 h 510"/>
                <a:gd name="T40" fmla="*/ 7 w 31"/>
                <a:gd name="T41" fmla="*/ 3 h 510"/>
                <a:gd name="T42" fmla="*/ 5 w 31"/>
                <a:gd name="T43" fmla="*/ 5 h 510"/>
                <a:gd name="T44" fmla="*/ 3 w 31"/>
                <a:gd name="T45" fmla="*/ 7 h 510"/>
                <a:gd name="T46" fmla="*/ 2 w 31"/>
                <a:gd name="T47" fmla="*/ 9 h 510"/>
                <a:gd name="T48" fmla="*/ 1 w 31"/>
                <a:gd name="T49" fmla="*/ 12 h 510"/>
                <a:gd name="T50" fmla="*/ 0 w 31"/>
                <a:gd name="T51" fmla="*/ 15 h 510"/>
                <a:gd name="T52" fmla="*/ 0 w 31"/>
                <a:gd name="T53" fmla="*/ 495 h 510"/>
                <a:gd name="T54" fmla="*/ 1 w 31"/>
                <a:gd name="T55" fmla="*/ 498 h 510"/>
                <a:gd name="T56" fmla="*/ 2 w 31"/>
                <a:gd name="T57" fmla="*/ 500 h 510"/>
                <a:gd name="T58" fmla="*/ 3 w 31"/>
                <a:gd name="T59" fmla="*/ 504 h 510"/>
                <a:gd name="T60" fmla="*/ 5 w 31"/>
                <a:gd name="T61" fmla="*/ 506 h 510"/>
                <a:gd name="T62" fmla="*/ 7 w 31"/>
                <a:gd name="T63" fmla="*/ 507 h 510"/>
                <a:gd name="T64" fmla="*/ 9 w 31"/>
                <a:gd name="T65" fmla="*/ 509 h 510"/>
                <a:gd name="T66" fmla="*/ 13 w 31"/>
                <a:gd name="T67" fmla="*/ 510 h 510"/>
                <a:gd name="T68" fmla="*/ 15 w 31"/>
                <a:gd name="T69"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510">
                  <a:moveTo>
                    <a:pt x="15" y="510"/>
                  </a:moveTo>
                  <a:lnTo>
                    <a:pt x="18" y="510"/>
                  </a:lnTo>
                  <a:lnTo>
                    <a:pt x="21" y="509"/>
                  </a:lnTo>
                  <a:lnTo>
                    <a:pt x="23" y="507"/>
                  </a:lnTo>
                  <a:lnTo>
                    <a:pt x="25" y="506"/>
                  </a:lnTo>
                  <a:lnTo>
                    <a:pt x="27" y="504"/>
                  </a:lnTo>
                  <a:lnTo>
                    <a:pt x="29" y="500"/>
                  </a:lnTo>
                  <a:lnTo>
                    <a:pt x="30" y="498"/>
                  </a:lnTo>
                  <a:lnTo>
                    <a:pt x="31" y="495"/>
                  </a:lnTo>
                  <a:lnTo>
                    <a:pt x="31" y="15"/>
                  </a:lnTo>
                  <a:lnTo>
                    <a:pt x="30" y="12"/>
                  </a:lnTo>
                  <a:lnTo>
                    <a:pt x="29" y="9"/>
                  </a:lnTo>
                  <a:lnTo>
                    <a:pt x="27" y="7"/>
                  </a:lnTo>
                  <a:lnTo>
                    <a:pt x="25" y="5"/>
                  </a:lnTo>
                  <a:lnTo>
                    <a:pt x="23" y="3"/>
                  </a:lnTo>
                  <a:lnTo>
                    <a:pt x="21" y="1"/>
                  </a:lnTo>
                  <a:lnTo>
                    <a:pt x="18" y="0"/>
                  </a:lnTo>
                  <a:lnTo>
                    <a:pt x="15" y="0"/>
                  </a:lnTo>
                  <a:lnTo>
                    <a:pt x="13" y="0"/>
                  </a:lnTo>
                  <a:lnTo>
                    <a:pt x="9" y="1"/>
                  </a:lnTo>
                  <a:lnTo>
                    <a:pt x="7" y="3"/>
                  </a:lnTo>
                  <a:lnTo>
                    <a:pt x="5" y="5"/>
                  </a:lnTo>
                  <a:lnTo>
                    <a:pt x="3" y="7"/>
                  </a:lnTo>
                  <a:lnTo>
                    <a:pt x="2" y="9"/>
                  </a:lnTo>
                  <a:lnTo>
                    <a:pt x="1" y="12"/>
                  </a:lnTo>
                  <a:lnTo>
                    <a:pt x="0" y="15"/>
                  </a:lnTo>
                  <a:lnTo>
                    <a:pt x="0" y="495"/>
                  </a:lnTo>
                  <a:lnTo>
                    <a:pt x="1" y="498"/>
                  </a:lnTo>
                  <a:lnTo>
                    <a:pt x="2" y="500"/>
                  </a:lnTo>
                  <a:lnTo>
                    <a:pt x="3" y="504"/>
                  </a:lnTo>
                  <a:lnTo>
                    <a:pt x="5" y="506"/>
                  </a:lnTo>
                  <a:lnTo>
                    <a:pt x="7" y="507"/>
                  </a:lnTo>
                  <a:lnTo>
                    <a:pt x="9" y="509"/>
                  </a:lnTo>
                  <a:lnTo>
                    <a:pt x="13" y="510"/>
                  </a:lnTo>
                  <a:lnTo>
                    <a:pt x="15"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39" name="Freeform 302">
              <a:extLst>
                <a:ext uri="{FF2B5EF4-FFF2-40B4-BE49-F238E27FC236}">
                  <a16:creationId xmlns:a16="http://schemas.microsoft.com/office/drawing/2014/main" id="{663943CA-EDEF-42EE-9DF9-B661BD200442}"/>
                </a:ext>
              </a:extLst>
            </p:cNvPr>
            <p:cNvSpPr>
              <a:spLocks noEditPoints="1"/>
            </p:cNvSpPr>
            <p:nvPr/>
          </p:nvSpPr>
          <p:spPr bwMode="auto">
            <a:xfrm>
              <a:off x="11660188" y="982663"/>
              <a:ext cx="38100" cy="65088"/>
            </a:xfrm>
            <a:custGeom>
              <a:avLst/>
              <a:gdLst>
                <a:gd name="T0" fmla="*/ 91 w 121"/>
                <a:gd name="T1" fmla="*/ 179 h 209"/>
                <a:gd name="T2" fmla="*/ 30 w 121"/>
                <a:gd name="T3" fmla="*/ 179 h 209"/>
                <a:gd name="T4" fmla="*/ 30 w 121"/>
                <a:gd name="T5" fmla="*/ 30 h 209"/>
                <a:gd name="T6" fmla="*/ 91 w 121"/>
                <a:gd name="T7" fmla="*/ 30 h 209"/>
                <a:gd name="T8" fmla="*/ 91 w 121"/>
                <a:gd name="T9" fmla="*/ 179 h 209"/>
                <a:gd name="T10" fmla="*/ 106 w 121"/>
                <a:gd name="T11" fmla="*/ 0 h 209"/>
                <a:gd name="T12" fmla="*/ 15 w 121"/>
                <a:gd name="T13" fmla="*/ 0 h 209"/>
                <a:gd name="T14" fmla="*/ 13 w 121"/>
                <a:gd name="T15" fmla="*/ 0 h 209"/>
                <a:gd name="T16" fmla="*/ 9 w 121"/>
                <a:gd name="T17" fmla="*/ 1 h 209"/>
                <a:gd name="T18" fmla="*/ 7 w 121"/>
                <a:gd name="T19" fmla="*/ 2 h 209"/>
                <a:gd name="T20" fmla="*/ 5 w 121"/>
                <a:gd name="T21" fmla="*/ 4 h 209"/>
                <a:gd name="T22" fmla="*/ 3 w 121"/>
                <a:gd name="T23" fmla="*/ 6 h 209"/>
                <a:gd name="T24" fmla="*/ 1 w 121"/>
                <a:gd name="T25" fmla="*/ 10 h 209"/>
                <a:gd name="T26" fmla="*/ 1 w 121"/>
                <a:gd name="T27" fmla="*/ 12 h 209"/>
                <a:gd name="T28" fmla="*/ 0 w 121"/>
                <a:gd name="T29" fmla="*/ 15 h 209"/>
                <a:gd name="T30" fmla="*/ 0 w 121"/>
                <a:gd name="T31" fmla="*/ 194 h 209"/>
                <a:gd name="T32" fmla="*/ 1 w 121"/>
                <a:gd name="T33" fmla="*/ 198 h 209"/>
                <a:gd name="T34" fmla="*/ 1 w 121"/>
                <a:gd name="T35" fmla="*/ 201 h 209"/>
                <a:gd name="T36" fmla="*/ 3 w 121"/>
                <a:gd name="T37" fmla="*/ 203 h 209"/>
                <a:gd name="T38" fmla="*/ 5 w 121"/>
                <a:gd name="T39" fmla="*/ 205 h 209"/>
                <a:gd name="T40" fmla="*/ 7 w 121"/>
                <a:gd name="T41" fmla="*/ 207 h 209"/>
                <a:gd name="T42" fmla="*/ 9 w 121"/>
                <a:gd name="T43" fmla="*/ 208 h 209"/>
                <a:gd name="T44" fmla="*/ 13 w 121"/>
                <a:gd name="T45" fmla="*/ 209 h 209"/>
                <a:gd name="T46" fmla="*/ 15 w 121"/>
                <a:gd name="T47" fmla="*/ 209 h 209"/>
                <a:gd name="T48" fmla="*/ 106 w 121"/>
                <a:gd name="T49" fmla="*/ 209 h 209"/>
                <a:gd name="T50" fmla="*/ 108 w 121"/>
                <a:gd name="T51" fmla="*/ 209 h 209"/>
                <a:gd name="T52" fmla="*/ 111 w 121"/>
                <a:gd name="T53" fmla="*/ 208 h 209"/>
                <a:gd name="T54" fmla="*/ 113 w 121"/>
                <a:gd name="T55" fmla="*/ 207 h 209"/>
                <a:gd name="T56" fmla="*/ 116 w 121"/>
                <a:gd name="T57" fmla="*/ 205 h 209"/>
                <a:gd name="T58" fmla="*/ 117 w 121"/>
                <a:gd name="T59" fmla="*/ 203 h 209"/>
                <a:gd name="T60" fmla="*/ 119 w 121"/>
                <a:gd name="T61" fmla="*/ 201 h 209"/>
                <a:gd name="T62" fmla="*/ 119 w 121"/>
                <a:gd name="T63" fmla="*/ 198 h 209"/>
                <a:gd name="T64" fmla="*/ 121 w 121"/>
                <a:gd name="T65" fmla="*/ 194 h 209"/>
                <a:gd name="T66" fmla="*/ 121 w 121"/>
                <a:gd name="T67" fmla="*/ 15 h 209"/>
                <a:gd name="T68" fmla="*/ 119 w 121"/>
                <a:gd name="T69" fmla="*/ 12 h 209"/>
                <a:gd name="T70" fmla="*/ 119 w 121"/>
                <a:gd name="T71" fmla="*/ 10 h 209"/>
                <a:gd name="T72" fmla="*/ 117 w 121"/>
                <a:gd name="T73" fmla="*/ 6 h 209"/>
                <a:gd name="T74" fmla="*/ 116 w 121"/>
                <a:gd name="T75" fmla="*/ 4 h 209"/>
                <a:gd name="T76" fmla="*/ 113 w 121"/>
                <a:gd name="T77" fmla="*/ 2 h 209"/>
                <a:gd name="T78" fmla="*/ 111 w 121"/>
                <a:gd name="T79" fmla="*/ 1 h 209"/>
                <a:gd name="T80" fmla="*/ 108 w 121"/>
                <a:gd name="T81" fmla="*/ 0 h 209"/>
                <a:gd name="T82" fmla="*/ 106 w 121"/>
                <a:gd name="T83" fmla="*/ 0 h 209"/>
                <a:gd name="T84" fmla="*/ 106 w 121"/>
                <a:gd name="T85"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209">
                  <a:moveTo>
                    <a:pt x="91" y="179"/>
                  </a:moveTo>
                  <a:lnTo>
                    <a:pt x="30" y="179"/>
                  </a:lnTo>
                  <a:lnTo>
                    <a:pt x="30" y="30"/>
                  </a:lnTo>
                  <a:lnTo>
                    <a:pt x="91" y="30"/>
                  </a:lnTo>
                  <a:lnTo>
                    <a:pt x="91" y="179"/>
                  </a:lnTo>
                  <a:close/>
                  <a:moveTo>
                    <a:pt x="106" y="0"/>
                  </a:moveTo>
                  <a:lnTo>
                    <a:pt x="15" y="0"/>
                  </a:lnTo>
                  <a:lnTo>
                    <a:pt x="13" y="0"/>
                  </a:lnTo>
                  <a:lnTo>
                    <a:pt x="9" y="1"/>
                  </a:lnTo>
                  <a:lnTo>
                    <a:pt x="7" y="2"/>
                  </a:lnTo>
                  <a:lnTo>
                    <a:pt x="5" y="4"/>
                  </a:lnTo>
                  <a:lnTo>
                    <a:pt x="3" y="6"/>
                  </a:lnTo>
                  <a:lnTo>
                    <a:pt x="1" y="10"/>
                  </a:lnTo>
                  <a:lnTo>
                    <a:pt x="1" y="12"/>
                  </a:lnTo>
                  <a:lnTo>
                    <a:pt x="0" y="15"/>
                  </a:lnTo>
                  <a:lnTo>
                    <a:pt x="0" y="194"/>
                  </a:lnTo>
                  <a:lnTo>
                    <a:pt x="1" y="198"/>
                  </a:lnTo>
                  <a:lnTo>
                    <a:pt x="1" y="201"/>
                  </a:lnTo>
                  <a:lnTo>
                    <a:pt x="3" y="203"/>
                  </a:lnTo>
                  <a:lnTo>
                    <a:pt x="5" y="205"/>
                  </a:lnTo>
                  <a:lnTo>
                    <a:pt x="7" y="207"/>
                  </a:lnTo>
                  <a:lnTo>
                    <a:pt x="9" y="208"/>
                  </a:lnTo>
                  <a:lnTo>
                    <a:pt x="13" y="209"/>
                  </a:lnTo>
                  <a:lnTo>
                    <a:pt x="15" y="209"/>
                  </a:lnTo>
                  <a:lnTo>
                    <a:pt x="106" y="209"/>
                  </a:lnTo>
                  <a:lnTo>
                    <a:pt x="108" y="209"/>
                  </a:lnTo>
                  <a:lnTo>
                    <a:pt x="111" y="208"/>
                  </a:lnTo>
                  <a:lnTo>
                    <a:pt x="113" y="207"/>
                  </a:lnTo>
                  <a:lnTo>
                    <a:pt x="116" y="205"/>
                  </a:lnTo>
                  <a:lnTo>
                    <a:pt x="117" y="203"/>
                  </a:lnTo>
                  <a:lnTo>
                    <a:pt x="119" y="201"/>
                  </a:lnTo>
                  <a:lnTo>
                    <a:pt x="119" y="198"/>
                  </a:lnTo>
                  <a:lnTo>
                    <a:pt x="121" y="194"/>
                  </a:lnTo>
                  <a:lnTo>
                    <a:pt x="121" y="15"/>
                  </a:lnTo>
                  <a:lnTo>
                    <a:pt x="119" y="12"/>
                  </a:lnTo>
                  <a:lnTo>
                    <a:pt x="119" y="10"/>
                  </a:lnTo>
                  <a:lnTo>
                    <a:pt x="117" y="6"/>
                  </a:lnTo>
                  <a:lnTo>
                    <a:pt x="116" y="4"/>
                  </a:lnTo>
                  <a:lnTo>
                    <a:pt x="113" y="2"/>
                  </a:lnTo>
                  <a:lnTo>
                    <a:pt x="111" y="1"/>
                  </a:lnTo>
                  <a:lnTo>
                    <a:pt x="108" y="0"/>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0" name="Freeform 303">
              <a:extLst>
                <a:ext uri="{FF2B5EF4-FFF2-40B4-BE49-F238E27FC236}">
                  <a16:creationId xmlns:a16="http://schemas.microsoft.com/office/drawing/2014/main" id="{692A137E-FE39-4173-B74C-CC6FCCCBF200}"/>
                </a:ext>
              </a:extLst>
            </p:cNvPr>
            <p:cNvSpPr>
              <a:spLocks/>
            </p:cNvSpPr>
            <p:nvPr/>
          </p:nvSpPr>
          <p:spPr bwMode="auto">
            <a:xfrm>
              <a:off x="11736388" y="906463"/>
              <a:ext cx="9525" cy="114300"/>
            </a:xfrm>
            <a:custGeom>
              <a:avLst/>
              <a:gdLst>
                <a:gd name="T0" fmla="*/ 15 w 30"/>
                <a:gd name="T1" fmla="*/ 360 h 360"/>
                <a:gd name="T2" fmla="*/ 18 w 30"/>
                <a:gd name="T3" fmla="*/ 360 h 360"/>
                <a:gd name="T4" fmla="*/ 20 w 30"/>
                <a:gd name="T5" fmla="*/ 358 h 360"/>
                <a:gd name="T6" fmla="*/ 24 w 30"/>
                <a:gd name="T7" fmla="*/ 357 h 360"/>
                <a:gd name="T8" fmla="*/ 26 w 30"/>
                <a:gd name="T9" fmla="*/ 355 h 360"/>
                <a:gd name="T10" fmla="*/ 28 w 30"/>
                <a:gd name="T11" fmla="*/ 353 h 360"/>
                <a:gd name="T12" fmla="*/ 29 w 30"/>
                <a:gd name="T13" fmla="*/ 351 h 360"/>
                <a:gd name="T14" fmla="*/ 30 w 30"/>
                <a:gd name="T15" fmla="*/ 348 h 360"/>
                <a:gd name="T16" fmla="*/ 30 w 30"/>
                <a:gd name="T17" fmla="*/ 345 h 360"/>
                <a:gd name="T18" fmla="*/ 30 w 30"/>
                <a:gd name="T19" fmla="*/ 14 h 360"/>
                <a:gd name="T20" fmla="*/ 30 w 30"/>
                <a:gd name="T21" fmla="*/ 12 h 360"/>
                <a:gd name="T22" fmla="*/ 29 w 30"/>
                <a:gd name="T23" fmla="*/ 9 h 360"/>
                <a:gd name="T24" fmla="*/ 28 w 30"/>
                <a:gd name="T25" fmla="*/ 7 h 360"/>
                <a:gd name="T26" fmla="*/ 26 w 30"/>
                <a:gd name="T27" fmla="*/ 4 h 360"/>
                <a:gd name="T28" fmla="*/ 24 w 30"/>
                <a:gd name="T29" fmla="*/ 3 h 360"/>
                <a:gd name="T30" fmla="*/ 20 w 30"/>
                <a:gd name="T31" fmla="*/ 1 h 360"/>
                <a:gd name="T32" fmla="*/ 18 w 30"/>
                <a:gd name="T33" fmla="*/ 1 h 360"/>
                <a:gd name="T34" fmla="*/ 15 w 30"/>
                <a:gd name="T35" fmla="*/ 0 h 360"/>
                <a:gd name="T36" fmla="*/ 12 w 30"/>
                <a:gd name="T37" fmla="*/ 1 h 360"/>
                <a:gd name="T38" fmla="*/ 10 w 30"/>
                <a:gd name="T39" fmla="*/ 1 h 360"/>
                <a:gd name="T40" fmla="*/ 7 w 30"/>
                <a:gd name="T41" fmla="*/ 3 h 360"/>
                <a:gd name="T42" fmla="*/ 4 w 30"/>
                <a:gd name="T43" fmla="*/ 4 h 360"/>
                <a:gd name="T44" fmla="*/ 2 w 30"/>
                <a:gd name="T45" fmla="*/ 7 h 360"/>
                <a:gd name="T46" fmla="*/ 1 w 30"/>
                <a:gd name="T47" fmla="*/ 9 h 360"/>
                <a:gd name="T48" fmla="*/ 0 w 30"/>
                <a:gd name="T49" fmla="*/ 12 h 360"/>
                <a:gd name="T50" fmla="*/ 0 w 30"/>
                <a:gd name="T51" fmla="*/ 14 h 360"/>
                <a:gd name="T52" fmla="*/ 0 w 30"/>
                <a:gd name="T53" fmla="*/ 345 h 360"/>
                <a:gd name="T54" fmla="*/ 0 w 30"/>
                <a:gd name="T55" fmla="*/ 348 h 360"/>
                <a:gd name="T56" fmla="*/ 1 w 30"/>
                <a:gd name="T57" fmla="*/ 351 h 360"/>
                <a:gd name="T58" fmla="*/ 2 w 30"/>
                <a:gd name="T59" fmla="*/ 353 h 360"/>
                <a:gd name="T60" fmla="*/ 4 w 30"/>
                <a:gd name="T61" fmla="*/ 355 h 360"/>
                <a:gd name="T62" fmla="*/ 7 w 30"/>
                <a:gd name="T63" fmla="*/ 357 h 360"/>
                <a:gd name="T64" fmla="*/ 10 w 30"/>
                <a:gd name="T65" fmla="*/ 358 h 360"/>
                <a:gd name="T66" fmla="*/ 12 w 30"/>
                <a:gd name="T67" fmla="*/ 360 h 360"/>
                <a:gd name="T68" fmla="*/ 15 w 30"/>
                <a:gd name="T69" fmla="*/ 3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60">
                  <a:moveTo>
                    <a:pt x="15" y="360"/>
                  </a:moveTo>
                  <a:lnTo>
                    <a:pt x="18" y="360"/>
                  </a:lnTo>
                  <a:lnTo>
                    <a:pt x="20" y="358"/>
                  </a:lnTo>
                  <a:lnTo>
                    <a:pt x="24" y="357"/>
                  </a:lnTo>
                  <a:lnTo>
                    <a:pt x="26" y="355"/>
                  </a:lnTo>
                  <a:lnTo>
                    <a:pt x="28" y="353"/>
                  </a:lnTo>
                  <a:lnTo>
                    <a:pt x="29" y="351"/>
                  </a:lnTo>
                  <a:lnTo>
                    <a:pt x="30" y="348"/>
                  </a:lnTo>
                  <a:lnTo>
                    <a:pt x="30" y="345"/>
                  </a:lnTo>
                  <a:lnTo>
                    <a:pt x="30" y="14"/>
                  </a:lnTo>
                  <a:lnTo>
                    <a:pt x="30" y="12"/>
                  </a:lnTo>
                  <a:lnTo>
                    <a:pt x="29" y="9"/>
                  </a:lnTo>
                  <a:lnTo>
                    <a:pt x="28" y="7"/>
                  </a:lnTo>
                  <a:lnTo>
                    <a:pt x="26" y="4"/>
                  </a:lnTo>
                  <a:lnTo>
                    <a:pt x="24" y="3"/>
                  </a:lnTo>
                  <a:lnTo>
                    <a:pt x="20" y="1"/>
                  </a:lnTo>
                  <a:lnTo>
                    <a:pt x="18" y="1"/>
                  </a:lnTo>
                  <a:lnTo>
                    <a:pt x="15" y="0"/>
                  </a:lnTo>
                  <a:lnTo>
                    <a:pt x="12" y="1"/>
                  </a:lnTo>
                  <a:lnTo>
                    <a:pt x="10" y="1"/>
                  </a:lnTo>
                  <a:lnTo>
                    <a:pt x="7" y="3"/>
                  </a:lnTo>
                  <a:lnTo>
                    <a:pt x="4" y="4"/>
                  </a:lnTo>
                  <a:lnTo>
                    <a:pt x="2" y="7"/>
                  </a:lnTo>
                  <a:lnTo>
                    <a:pt x="1" y="9"/>
                  </a:lnTo>
                  <a:lnTo>
                    <a:pt x="0" y="12"/>
                  </a:lnTo>
                  <a:lnTo>
                    <a:pt x="0" y="14"/>
                  </a:lnTo>
                  <a:lnTo>
                    <a:pt x="0" y="345"/>
                  </a:lnTo>
                  <a:lnTo>
                    <a:pt x="0" y="348"/>
                  </a:lnTo>
                  <a:lnTo>
                    <a:pt x="1" y="351"/>
                  </a:lnTo>
                  <a:lnTo>
                    <a:pt x="2" y="353"/>
                  </a:lnTo>
                  <a:lnTo>
                    <a:pt x="4" y="355"/>
                  </a:lnTo>
                  <a:lnTo>
                    <a:pt x="7" y="357"/>
                  </a:lnTo>
                  <a:lnTo>
                    <a:pt x="10" y="358"/>
                  </a:lnTo>
                  <a:lnTo>
                    <a:pt x="12" y="360"/>
                  </a:lnTo>
                  <a:lnTo>
                    <a:pt x="15"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1" name="Freeform 304">
              <a:extLst>
                <a:ext uri="{FF2B5EF4-FFF2-40B4-BE49-F238E27FC236}">
                  <a16:creationId xmlns:a16="http://schemas.microsoft.com/office/drawing/2014/main" id="{03FFB01E-B2A8-4CE2-BA02-C8BAC71F43E2}"/>
                </a:ext>
              </a:extLst>
            </p:cNvPr>
            <p:cNvSpPr>
              <a:spLocks/>
            </p:cNvSpPr>
            <p:nvPr/>
          </p:nvSpPr>
          <p:spPr bwMode="auto">
            <a:xfrm>
              <a:off x="11612563" y="858838"/>
              <a:ext cx="9525" cy="169863"/>
            </a:xfrm>
            <a:custGeom>
              <a:avLst/>
              <a:gdLst>
                <a:gd name="T0" fmla="*/ 15 w 30"/>
                <a:gd name="T1" fmla="*/ 0 h 539"/>
                <a:gd name="T2" fmla="*/ 12 w 30"/>
                <a:gd name="T3" fmla="*/ 0 h 539"/>
                <a:gd name="T4" fmla="*/ 10 w 30"/>
                <a:gd name="T5" fmla="*/ 1 h 539"/>
                <a:gd name="T6" fmla="*/ 7 w 30"/>
                <a:gd name="T7" fmla="*/ 2 h 539"/>
                <a:gd name="T8" fmla="*/ 4 w 30"/>
                <a:gd name="T9" fmla="*/ 4 h 539"/>
                <a:gd name="T10" fmla="*/ 2 w 30"/>
                <a:gd name="T11" fmla="*/ 6 h 539"/>
                <a:gd name="T12" fmla="*/ 1 w 30"/>
                <a:gd name="T13" fmla="*/ 10 h 539"/>
                <a:gd name="T14" fmla="*/ 0 w 30"/>
                <a:gd name="T15" fmla="*/ 12 h 539"/>
                <a:gd name="T16" fmla="*/ 0 w 30"/>
                <a:gd name="T17" fmla="*/ 15 h 539"/>
                <a:gd name="T18" fmla="*/ 0 w 30"/>
                <a:gd name="T19" fmla="*/ 525 h 539"/>
                <a:gd name="T20" fmla="*/ 0 w 30"/>
                <a:gd name="T21" fmla="*/ 528 h 539"/>
                <a:gd name="T22" fmla="*/ 1 w 30"/>
                <a:gd name="T23" fmla="*/ 531 h 539"/>
                <a:gd name="T24" fmla="*/ 2 w 30"/>
                <a:gd name="T25" fmla="*/ 533 h 539"/>
                <a:gd name="T26" fmla="*/ 4 w 30"/>
                <a:gd name="T27" fmla="*/ 535 h 539"/>
                <a:gd name="T28" fmla="*/ 7 w 30"/>
                <a:gd name="T29" fmla="*/ 537 h 539"/>
                <a:gd name="T30" fmla="*/ 10 w 30"/>
                <a:gd name="T31" fmla="*/ 538 h 539"/>
                <a:gd name="T32" fmla="*/ 12 w 30"/>
                <a:gd name="T33" fmla="*/ 539 h 539"/>
                <a:gd name="T34" fmla="*/ 15 w 30"/>
                <a:gd name="T35" fmla="*/ 539 h 539"/>
                <a:gd name="T36" fmla="*/ 18 w 30"/>
                <a:gd name="T37" fmla="*/ 539 h 539"/>
                <a:gd name="T38" fmla="*/ 22 w 30"/>
                <a:gd name="T39" fmla="*/ 538 h 539"/>
                <a:gd name="T40" fmla="*/ 24 w 30"/>
                <a:gd name="T41" fmla="*/ 537 h 539"/>
                <a:gd name="T42" fmla="*/ 26 w 30"/>
                <a:gd name="T43" fmla="*/ 535 h 539"/>
                <a:gd name="T44" fmla="*/ 28 w 30"/>
                <a:gd name="T45" fmla="*/ 533 h 539"/>
                <a:gd name="T46" fmla="*/ 29 w 30"/>
                <a:gd name="T47" fmla="*/ 531 h 539"/>
                <a:gd name="T48" fmla="*/ 30 w 30"/>
                <a:gd name="T49" fmla="*/ 528 h 539"/>
                <a:gd name="T50" fmla="*/ 30 w 30"/>
                <a:gd name="T51" fmla="*/ 525 h 539"/>
                <a:gd name="T52" fmla="*/ 30 w 30"/>
                <a:gd name="T53" fmla="*/ 15 h 539"/>
                <a:gd name="T54" fmla="*/ 30 w 30"/>
                <a:gd name="T55" fmla="*/ 12 h 539"/>
                <a:gd name="T56" fmla="*/ 29 w 30"/>
                <a:gd name="T57" fmla="*/ 10 h 539"/>
                <a:gd name="T58" fmla="*/ 28 w 30"/>
                <a:gd name="T59" fmla="*/ 6 h 539"/>
                <a:gd name="T60" fmla="*/ 26 w 30"/>
                <a:gd name="T61" fmla="*/ 4 h 539"/>
                <a:gd name="T62" fmla="*/ 24 w 30"/>
                <a:gd name="T63" fmla="*/ 2 h 539"/>
                <a:gd name="T64" fmla="*/ 22 w 30"/>
                <a:gd name="T65" fmla="*/ 1 h 539"/>
                <a:gd name="T66" fmla="*/ 18 w 30"/>
                <a:gd name="T67" fmla="*/ 0 h 539"/>
                <a:gd name="T68" fmla="*/ 15 w 30"/>
                <a:gd name="T69"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539">
                  <a:moveTo>
                    <a:pt x="15" y="0"/>
                  </a:moveTo>
                  <a:lnTo>
                    <a:pt x="12" y="0"/>
                  </a:lnTo>
                  <a:lnTo>
                    <a:pt x="10" y="1"/>
                  </a:lnTo>
                  <a:lnTo>
                    <a:pt x="7" y="2"/>
                  </a:lnTo>
                  <a:lnTo>
                    <a:pt x="4" y="4"/>
                  </a:lnTo>
                  <a:lnTo>
                    <a:pt x="2" y="6"/>
                  </a:lnTo>
                  <a:lnTo>
                    <a:pt x="1" y="10"/>
                  </a:lnTo>
                  <a:lnTo>
                    <a:pt x="0" y="12"/>
                  </a:lnTo>
                  <a:lnTo>
                    <a:pt x="0" y="15"/>
                  </a:lnTo>
                  <a:lnTo>
                    <a:pt x="0" y="525"/>
                  </a:lnTo>
                  <a:lnTo>
                    <a:pt x="0" y="528"/>
                  </a:lnTo>
                  <a:lnTo>
                    <a:pt x="1" y="531"/>
                  </a:lnTo>
                  <a:lnTo>
                    <a:pt x="2" y="533"/>
                  </a:lnTo>
                  <a:lnTo>
                    <a:pt x="4" y="535"/>
                  </a:lnTo>
                  <a:lnTo>
                    <a:pt x="7" y="537"/>
                  </a:lnTo>
                  <a:lnTo>
                    <a:pt x="10" y="538"/>
                  </a:lnTo>
                  <a:lnTo>
                    <a:pt x="12" y="539"/>
                  </a:lnTo>
                  <a:lnTo>
                    <a:pt x="15" y="539"/>
                  </a:lnTo>
                  <a:lnTo>
                    <a:pt x="18" y="539"/>
                  </a:lnTo>
                  <a:lnTo>
                    <a:pt x="22" y="538"/>
                  </a:lnTo>
                  <a:lnTo>
                    <a:pt x="24" y="537"/>
                  </a:lnTo>
                  <a:lnTo>
                    <a:pt x="26" y="535"/>
                  </a:lnTo>
                  <a:lnTo>
                    <a:pt x="28" y="533"/>
                  </a:lnTo>
                  <a:lnTo>
                    <a:pt x="29" y="531"/>
                  </a:lnTo>
                  <a:lnTo>
                    <a:pt x="30" y="528"/>
                  </a:lnTo>
                  <a:lnTo>
                    <a:pt x="30" y="525"/>
                  </a:lnTo>
                  <a:lnTo>
                    <a:pt x="30" y="15"/>
                  </a:lnTo>
                  <a:lnTo>
                    <a:pt x="30" y="12"/>
                  </a:lnTo>
                  <a:lnTo>
                    <a:pt x="29" y="10"/>
                  </a:lnTo>
                  <a:lnTo>
                    <a:pt x="28" y="6"/>
                  </a:lnTo>
                  <a:lnTo>
                    <a:pt x="26" y="4"/>
                  </a:lnTo>
                  <a:lnTo>
                    <a:pt x="24" y="2"/>
                  </a:lnTo>
                  <a:lnTo>
                    <a:pt x="22"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742" name="Freeform 305">
              <a:extLst>
                <a:ext uri="{FF2B5EF4-FFF2-40B4-BE49-F238E27FC236}">
                  <a16:creationId xmlns:a16="http://schemas.microsoft.com/office/drawing/2014/main" id="{20F4A639-08E8-4BED-ABB0-B933FA202369}"/>
                </a:ext>
              </a:extLst>
            </p:cNvPr>
            <p:cNvSpPr>
              <a:spLocks noEditPoints="1"/>
            </p:cNvSpPr>
            <p:nvPr/>
          </p:nvSpPr>
          <p:spPr bwMode="auto">
            <a:xfrm>
              <a:off x="11593513" y="782638"/>
              <a:ext cx="285750" cy="285750"/>
            </a:xfrm>
            <a:custGeom>
              <a:avLst/>
              <a:gdLst>
                <a:gd name="T0" fmla="*/ 559 w 900"/>
                <a:gd name="T1" fmla="*/ 179 h 900"/>
                <a:gd name="T2" fmla="*/ 866 w 900"/>
                <a:gd name="T3" fmla="*/ 838 h 900"/>
                <a:gd name="T4" fmla="*/ 570 w 900"/>
                <a:gd name="T5" fmla="*/ 869 h 900"/>
                <a:gd name="T6" fmla="*/ 390 w 900"/>
                <a:gd name="T7" fmla="*/ 330 h 900"/>
                <a:gd name="T8" fmla="*/ 570 w 900"/>
                <a:gd name="T9" fmla="*/ 869 h 900"/>
                <a:gd name="T10" fmla="*/ 180 w 900"/>
                <a:gd name="T11" fmla="*/ 29 h 900"/>
                <a:gd name="T12" fmla="*/ 360 w 900"/>
                <a:gd name="T13" fmla="*/ 315 h 900"/>
                <a:gd name="T14" fmla="*/ 180 w 900"/>
                <a:gd name="T15" fmla="*/ 869 h 900"/>
                <a:gd name="T16" fmla="*/ 30 w 900"/>
                <a:gd name="T17" fmla="*/ 150 h 900"/>
                <a:gd name="T18" fmla="*/ 150 w 900"/>
                <a:gd name="T19" fmla="*/ 869 h 900"/>
                <a:gd name="T20" fmla="*/ 30 w 900"/>
                <a:gd name="T21" fmla="*/ 150 h 900"/>
                <a:gd name="T22" fmla="*/ 660 w 900"/>
                <a:gd name="T23" fmla="*/ 128 h 900"/>
                <a:gd name="T24" fmla="*/ 656 w 900"/>
                <a:gd name="T25" fmla="*/ 122 h 900"/>
                <a:gd name="T26" fmla="*/ 652 w 900"/>
                <a:gd name="T27" fmla="*/ 119 h 900"/>
                <a:gd name="T28" fmla="*/ 646 w 900"/>
                <a:gd name="T29" fmla="*/ 118 h 900"/>
                <a:gd name="T30" fmla="*/ 640 w 900"/>
                <a:gd name="T31" fmla="*/ 118 h 900"/>
                <a:gd name="T32" fmla="*/ 532 w 900"/>
                <a:gd name="T33" fmla="*/ 157 h 900"/>
                <a:gd name="T34" fmla="*/ 528 w 900"/>
                <a:gd name="T35" fmla="*/ 161 h 900"/>
                <a:gd name="T36" fmla="*/ 526 w 900"/>
                <a:gd name="T37" fmla="*/ 165 h 900"/>
                <a:gd name="T38" fmla="*/ 525 w 900"/>
                <a:gd name="T39" fmla="*/ 172 h 900"/>
                <a:gd name="T40" fmla="*/ 568 w 900"/>
                <a:gd name="T41" fmla="*/ 300 h 900"/>
                <a:gd name="T42" fmla="*/ 390 w 900"/>
                <a:gd name="T43" fmla="*/ 15 h 900"/>
                <a:gd name="T44" fmla="*/ 389 w 900"/>
                <a:gd name="T45" fmla="*/ 9 h 900"/>
                <a:gd name="T46" fmla="*/ 386 w 900"/>
                <a:gd name="T47" fmla="*/ 5 h 900"/>
                <a:gd name="T48" fmla="*/ 381 w 900"/>
                <a:gd name="T49" fmla="*/ 2 h 900"/>
                <a:gd name="T50" fmla="*/ 375 w 900"/>
                <a:gd name="T51" fmla="*/ 0 h 900"/>
                <a:gd name="T52" fmla="*/ 162 w 900"/>
                <a:gd name="T53" fmla="*/ 1 h 900"/>
                <a:gd name="T54" fmla="*/ 156 w 900"/>
                <a:gd name="T55" fmla="*/ 3 h 900"/>
                <a:gd name="T56" fmla="*/ 153 w 900"/>
                <a:gd name="T57" fmla="*/ 7 h 900"/>
                <a:gd name="T58" fmla="*/ 151 w 900"/>
                <a:gd name="T59" fmla="*/ 12 h 900"/>
                <a:gd name="T60" fmla="*/ 150 w 900"/>
                <a:gd name="T61" fmla="*/ 120 h 900"/>
                <a:gd name="T62" fmla="*/ 12 w 900"/>
                <a:gd name="T63" fmla="*/ 120 h 900"/>
                <a:gd name="T64" fmla="*/ 7 w 900"/>
                <a:gd name="T65" fmla="*/ 122 h 900"/>
                <a:gd name="T66" fmla="*/ 3 w 900"/>
                <a:gd name="T67" fmla="*/ 127 h 900"/>
                <a:gd name="T68" fmla="*/ 0 w 900"/>
                <a:gd name="T69" fmla="*/ 132 h 900"/>
                <a:gd name="T70" fmla="*/ 0 w 900"/>
                <a:gd name="T71" fmla="*/ 885 h 900"/>
                <a:gd name="T72" fmla="*/ 1 w 900"/>
                <a:gd name="T73" fmla="*/ 891 h 900"/>
                <a:gd name="T74" fmla="*/ 5 w 900"/>
                <a:gd name="T75" fmla="*/ 895 h 900"/>
                <a:gd name="T76" fmla="*/ 9 w 900"/>
                <a:gd name="T77" fmla="*/ 898 h 900"/>
                <a:gd name="T78" fmla="*/ 15 w 900"/>
                <a:gd name="T79" fmla="*/ 900 h 900"/>
                <a:gd name="T80" fmla="*/ 375 w 900"/>
                <a:gd name="T81" fmla="*/ 900 h 900"/>
                <a:gd name="T82" fmla="*/ 588 w 900"/>
                <a:gd name="T83" fmla="*/ 899 h 900"/>
                <a:gd name="T84" fmla="*/ 593 w 900"/>
                <a:gd name="T85" fmla="*/ 897 h 900"/>
                <a:gd name="T86" fmla="*/ 598 w 900"/>
                <a:gd name="T87" fmla="*/ 893 h 900"/>
                <a:gd name="T88" fmla="*/ 600 w 900"/>
                <a:gd name="T89" fmla="*/ 887 h 900"/>
                <a:gd name="T90" fmla="*/ 600 w 900"/>
                <a:gd name="T91" fmla="*/ 396 h 900"/>
                <a:gd name="T92" fmla="*/ 768 w 900"/>
                <a:gd name="T93" fmla="*/ 893 h 900"/>
                <a:gd name="T94" fmla="*/ 771 w 900"/>
                <a:gd name="T95" fmla="*/ 897 h 900"/>
                <a:gd name="T96" fmla="*/ 777 w 900"/>
                <a:gd name="T97" fmla="*/ 899 h 900"/>
                <a:gd name="T98" fmla="*/ 782 w 900"/>
                <a:gd name="T99" fmla="*/ 899 h 900"/>
                <a:gd name="T100" fmla="*/ 890 w 900"/>
                <a:gd name="T101" fmla="*/ 862 h 900"/>
                <a:gd name="T102" fmla="*/ 897 w 900"/>
                <a:gd name="T103" fmla="*/ 856 h 900"/>
                <a:gd name="T104" fmla="*/ 900 w 900"/>
                <a:gd name="T105" fmla="*/ 848 h 900"/>
                <a:gd name="T106" fmla="*/ 899 w 900"/>
                <a:gd name="T107" fmla="*/ 844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0" h="900">
                  <a:moveTo>
                    <a:pt x="790" y="866"/>
                  </a:moveTo>
                  <a:lnTo>
                    <a:pt x="559" y="179"/>
                  </a:lnTo>
                  <a:lnTo>
                    <a:pt x="636" y="151"/>
                  </a:lnTo>
                  <a:lnTo>
                    <a:pt x="866" y="838"/>
                  </a:lnTo>
                  <a:lnTo>
                    <a:pt x="790" y="866"/>
                  </a:lnTo>
                  <a:close/>
                  <a:moveTo>
                    <a:pt x="570" y="869"/>
                  </a:moveTo>
                  <a:lnTo>
                    <a:pt x="390" y="869"/>
                  </a:lnTo>
                  <a:lnTo>
                    <a:pt x="390" y="330"/>
                  </a:lnTo>
                  <a:lnTo>
                    <a:pt x="570" y="330"/>
                  </a:lnTo>
                  <a:lnTo>
                    <a:pt x="570" y="869"/>
                  </a:lnTo>
                  <a:close/>
                  <a:moveTo>
                    <a:pt x="180" y="135"/>
                  </a:moveTo>
                  <a:lnTo>
                    <a:pt x="180" y="29"/>
                  </a:lnTo>
                  <a:lnTo>
                    <a:pt x="360" y="29"/>
                  </a:lnTo>
                  <a:lnTo>
                    <a:pt x="360" y="315"/>
                  </a:lnTo>
                  <a:lnTo>
                    <a:pt x="360" y="869"/>
                  </a:lnTo>
                  <a:lnTo>
                    <a:pt x="180" y="869"/>
                  </a:lnTo>
                  <a:lnTo>
                    <a:pt x="180" y="135"/>
                  </a:lnTo>
                  <a:close/>
                  <a:moveTo>
                    <a:pt x="30" y="150"/>
                  </a:moveTo>
                  <a:lnTo>
                    <a:pt x="150" y="150"/>
                  </a:lnTo>
                  <a:lnTo>
                    <a:pt x="150" y="869"/>
                  </a:lnTo>
                  <a:lnTo>
                    <a:pt x="30" y="869"/>
                  </a:lnTo>
                  <a:lnTo>
                    <a:pt x="30" y="150"/>
                  </a:lnTo>
                  <a:close/>
                  <a:moveTo>
                    <a:pt x="899" y="843"/>
                  </a:moveTo>
                  <a:lnTo>
                    <a:pt x="660" y="128"/>
                  </a:lnTo>
                  <a:lnTo>
                    <a:pt x="659" y="125"/>
                  </a:lnTo>
                  <a:lnTo>
                    <a:pt x="656" y="122"/>
                  </a:lnTo>
                  <a:lnTo>
                    <a:pt x="654" y="120"/>
                  </a:lnTo>
                  <a:lnTo>
                    <a:pt x="652" y="119"/>
                  </a:lnTo>
                  <a:lnTo>
                    <a:pt x="649" y="118"/>
                  </a:lnTo>
                  <a:lnTo>
                    <a:pt x="646" y="118"/>
                  </a:lnTo>
                  <a:lnTo>
                    <a:pt x="643" y="118"/>
                  </a:lnTo>
                  <a:lnTo>
                    <a:pt x="640" y="118"/>
                  </a:lnTo>
                  <a:lnTo>
                    <a:pt x="536" y="156"/>
                  </a:lnTo>
                  <a:lnTo>
                    <a:pt x="532" y="157"/>
                  </a:lnTo>
                  <a:lnTo>
                    <a:pt x="530" y="159"/>
                  </a:lnTo>
                  <a:lnTo>
                    <a:pt x="528" y="161"/>
                  </a:lnTo>
                  <a:lnTo>
                    <a:pt x="527" y="163"/>
                  </a:lnTo>
                  <a:lnTo>
                    <a:pt x="526" y="165"/>
                  </a:lnTo>
                  <a:lnTo>
                    <a:pt x="525" y="168"/>
                  </a:lnTo>
                  <a:lnTo>
                    <a:pt x="525" y="172"/>
                  </a:lnTo>
                  <a:lnTo>
                    <a:pt x="526" y="175"/>
                  </a:lnTo>
                  <a:lnTo>
                    <a:pt x="568" y="300"/>
                  </a:lnTo>
                  <a:lnTo>
                    <a:pt x="390" y="300"/>
                  </a:lnTo>
                  <a:lnTo>
                    <a:pt x="390" y="15"/>
                  </a:lnTo>
                  <a:lnTo>
                    <a:pt x="390" y="12"/>
                  </a:lnTo>
                  <a:lnTo>
                    <a:pt x="389" y="9"/>
                  </a:lnTo>
                  <a:lnTo>
                    <a:pt x="387" y="7"/>
                  </a:lnTo>
                  <a:lnTo>
                    <a:pt x="386" y="5"/>
                  </a:lnTo>
                  <a:lnTo>
                    <a:pt x="384" y="3"/>
                  </a:lnTo>
                  <a:lnTo>
                    <a:pt x="381" y="2"/>
                  </a:lnTo>
                  <a:lnTo>
                    <a:pt x="379" y="1"/>
                  </a:lnTo>
                  <a:lnTo>
                    <a:pt x="375" y="0"/>
                  </a:lnTo>
                  <a:lnTo>
                    <a:pt x="165" y="0"/>
                  </a:lnTo>
                  <a:lnTo>
                    <a:pt x="162" y="1"/>
                  </a:lnTo>
                  <a:lnTo>
                    <a:pt x="160" y="2"/>
                  </a:lnTo>
                  <a:lnTo>
                    <a:pt x="156" y="3"/>
                  </a:lnTo>
                  <a:lnTo>
                    <a:pt x="154" y="5"/>
                  </a:lnTo>
                  <a:lnTo>
                    <a:pt x="153" y="7"/>
                  </a:lnTo>
                  <a:lnTo>
                    <a:pt x="151" y="9"/>
                  </a:lnTo>
                  <a:lnTo>
                    <a:pt x="151" y="12"/>
                  </a:lnTo>
                  <a:lnTo>
                    <a:pt x="150" y="15"/>
                  </a:lnTo>
                  <a:lnTo>
                    <a:pt x="150" y="120"/>
                  </a:lnTo>
                  <a:lnTo>
                    <a:pt x="15" y="120"/>
                  </a:lnTo>
                  <a:lnTo>
                    <a:pt x="12" y="120"/>
                  </a:lnTo>
                  <a:lnTo>
                    <a:pt x="9" y="121"/>
                  </a:lnTo>
                  <a:lnTo>
                    <a:pt x="7" y="122"/>
                  </a:lnTo>
                  <a:lnTo>
                    <a:pt x="5" y="125"/>
                  </a:lnTo>
                  <a:lnTo>
                    <a:pt x="3" y="127"/>
                  </a:lnTo>
                  <a:lnTo>
                    <a:pt x="1" y="129"/>
                  </a:lnTo>
                  <a:lnTo>
                    <a:pt x="0" y="132"/>
                  </a:lnTo>
                  <a:lnTo>
                    <a:pt x="0" y="135"/>
                  </a:lnTo>
                  <a:lnTo>
                    <a:pt x="0" y="885"/>
                  </a:lnTo>
                  <a:lnTo>
                    <a:pt x="0" y="887"/>
                  </a:lnTo>
                  <a:lnTo>
                    <a:pt x="1" y="891"/>
                  </a:lnTo>
                  <a:lnTo>
                    <a:pt x="3" y="893"/>
                  </a:lnTo>
                  <a:lnTo>
                    <a:pt x="5" y="895"/>
                  </a:lnTo>
                  <a:lnTo>
                    <a:pt x="7" y="897"/>
                  </a:lnTo>
                  <a:lnTo>
                    <a:pt x="9" y="898"/>
                  </a:lnTo>
                  <a:lnTo>
                    <a:pt x="12" y="899"/>
                  </a:lnTo>
                  <a:lnTo>
                    <a:pt x="15" y="900"/>
                  </a:lnTo>
                  <a:lnTo>
                    <a:pt x="165" y="900"/>
                  </a:lnTo>
                  <a:lnTo>
                    <a:pt x="375" y="900"/>
                  </a:lnTo>
                  <a:lnTo>
                    <a:pt x="585" y="900"/>
                  </a:lnTo>
                  <a:lnTo>
                    <a:pt x="588" y="899"/>
                  </a:lnTo>
                  <a:lnTo>
                    <a:pt x="591" y="898"/>
                  </a:lnTo>
                  <a:lnTo>
                    <a:pt x="593" y="897"/>
                  </a:lnTo>
                  <a:lnTo>
                    <a:pt x="595" y="895"/>
                  </a:lnTo>
                  <a:lnTo>
                    <a:pt x="598" y="893"/>
                  </a:lnTo>
                  <a:lnTo>
                    <a:pt x="599" y="891"/>
                  </a:lnTo>
                  <a:lnTo>
                    <a:pt x="600" y="887"/>
                  </a:lnTo>
                  <a:lnTo>
                    <a:pt x="600" y="885"/>
                  </a:lnTo>
                  <a:lnTo>
                    <a:pt x="600" y="396"/>
                  </a:lnTo>
                  <a:lnTo>
                    <a:pt x="765" y="890"/>
                  </a:lnTo>
                  <a:lnTo>
                    <a:pt x="768" y="893"/>
                  </a:lnTo>
                  <a:lnTo>
                    <a:pt x="769" y="895"/>
                  </a:lnTo>
                  <a:lnTo>
                    <a:pt x="771" y="897"/>
                  </a:lnTo>
                  <a:lnTo>
                    <a:pt x="774" y="898"/>
                  </a:lnTo>
                  <a:lnTo>
                    <a:pt x="777" y="899"/>
                  </a:lnTo>
                  <a:lnTo>
                    <a:pt x="780" y="900"/>
                  </a:lnTo>
                  <a:lnTo>
                    <a:pt x="782" y="899"/>
                  </a:lnTo>
                  <a:lnTo>
                    <a:pt x="785" y="899"/>
                  </a:lnTo>
                  <a:lnTo>
                    <a:pt x="890" y="862"/>
                  </a:lnTo>
                  <a:lnTo>
                    <a:pt x="895" y="860"/>
                  </a:lnTo>
                  <a:lnTo>
                    <a:pt x="897" y="856"/>
                  </a:lnTo>
                  <a:lnTo>
                    <a:pt x="899" y="852"/>
                  </a:lnTo>
                  <a:lnTo>
                    <a:pt x="900" y="848"/>
                  </a:lnTo>
                  <a:lnTo>
                    <a:pt x="900" y="846"/>
                  </a:lnTo>
                  <a:lnTo>
                    <a:pt x="899" y="844"/>
                  </a:lnTo>
                  <a:lnTo>
                    <a:pt x="899" y="8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962" name="Group 8">
            <a:extLst>
              <a:ext uri="{FF2B5EF4-FFF2-40B4-BE49-F238E27FC236}">
                <a16:creationId xmlns:a16="http://schemas.microsoft.com/office/drawing/2014/main" id="{10E4D06B-8357-4D1C-B287-172E9009CF9C}"/>
              </a:ext>
            </a:extLst>
          </p:cNvPr>
          <p:cNvGrpSpPr>
            <a:grpSpLocks noChangeAspect="1"/>
          </p:cNvGrpSpPr>
          <p:nvPr/>
        </p:nvGrpSpPr>
        <p:grpSpPr>
          <a:xfrm>
            <a:off x="1066057" y="1713930"/>
            <a:ext cx="306484" cy="174274"/>
            <a:chOff x="765175" y="1027113"/>
            <a:chExt cx="1052513" cy="598487"/>
          </a:xfrm>
          <a:solidFill>
            <a:schemeClr val="bg1"/>
          </a:solidFill>
        </p:grpSpPr>
        <p:sp>
          <p:nvSpPr>
            <p:cNvPr id="963" name="Freeform 5">
              <a:extLst>
                <a:ext uri="{FF2B5EF4-FFF2-40B4-BE49-F238E27FC236}">
                  <a16:creationId xmlns:a16="http://schemas.microsoft.com/office/drawing/2014/main" id="{45AAA7C4-275A-4F92-8D7A-B8B920D5672A}"/>
                </a:ext>
              </a:extLst>
            </p:cNvPr>
            <p:cNvSpPr>
              <a:spLocks noEditPoints="1"/>
            </p:cNvSpPr>
            <p:nvPr/>
          </p:nvSpPr>
          <p:spPr bwMode="auto">
            <a:xfrm>
              <a:off x="1058863" y="1362075"/>
              <a:ext cx="458788" cy="263525"/>
            </a:xfrm>
            <a:custGeom>
              <a:avLst/>
              <a:gdLst>
                <a:gd name="T0" fmla="*/ 568 w 1152"/>
                <a:gd name="T1" fmla="*/ 663 h 663"/>
                <a:gd name="T2" fmla="*/ 12 w 1152"/>
                <a:gd name="T3" fmla="*/ 447 h 663"/>
                <a:gd name="T4" fmla="*/ 0 w 1152"/>
                <a:gd name="T5" fmla="*/ 418 h 663"/>
                <a:gd name="T6" fmla="*/ 0 w 1152"/>
                <a:gd name="T7" fmla="*/ 49 h 663"/>
                <a:gd name="T8" fmla="*/ 18 w 1152"/>
                <a:gd name="T9" fmla="*/ 13 h 663"/>
                <a:gd name="T10" fmla="*/ 58 w 1152"/>
                <a:gd name="T11" fmla="*/ 7 h 663"/>
                <a:gd name="T12" fmla="*/ 587 w 1152"/>
                <a:gd name="T13" fmla="*/ 184 h 663"/>
                <a:gd name="T14" fmla="*/ 1094 w 1152"/>
                <a:gd name="T15" fmla="*/ 4 h 663"/>
                <a:gd name="T16" fmla="*/ 1134 w 1152"/>
                <a:gd name="T17" fmla="*/ 10 h 663"/>
                <a:gd name="T18" fmla="*/ 1152 w 1152"/>
                <a:gd name="T19" fmla="*/ 45 h 663"/>
                <a:gd name="T20" fmla="*/ 1152 w 1152"/>
                <a:gd name="T21" fmla="*/ 415 h 663"/>
                <a:gd name="T22" fmla="*/ 1140 w 1152"/>
                <a:gd name="T23" fmla="*/ 445 h 663"/>
                <a:gd name="T24" fmla="*/ 568 w 1152"/>
                <a:gd name="T25" fmla="*/ 663 h 663"/>
                <a:gd name="T26" fmla="*/ 88 w 1152"/>
                <a:gd name="T27" fmla="*/ 400 h 663"/>
                <a:gd name="T28" fmla="*/ 568 w 1152"/>
                <a:gd name="T29" fmla="*/ 575 h 663"/>
                <a:gd name="T30" fmla="*/ 1064 w 1152"/>
                <a:gd name="T31" fmla="*/ 396 h 663"/>
                <a:gd name="T32" fmla="*/ 1064 w 1152"/>
                <a:gd name="T33" fmla="*/ 107 h 663"/>
                <a:gd name="T34" fmla="*/ 602 w 1152"/>
                <a:gd name="T35" fmla="*/ 271 h 663"/>
                <a:gd name="T36" fmla="*/ 574 w 1152"/>
                <a:gd name="T37" fmla="*/ 272 h 663"/>
                <a:gd name="T38" fmla="*/ 88 w 1152"/>
                <a:gd name="T39" fmla="*/ 109 h 663"/>
                <a:gd name="T40" fmla="*/ 88 w 1152"/>
                <a:gd name="T41" fmla="*/ 40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2" h="663">
                  <a:moveTo>
                    <a:pt x="568" y="663"/>
                  </a:moveTo>
                  <a:cubicBezTo>
                    <a:pt x="210" y="663"/>
                    <a:pt x="19" y="456"/>
                    <a:pt x="12" y="447"/>
                  </a:cubicBezTo>
                  <a:cubicBezTo>
                    <a:pt x="4" y="439"/>
                    <a:pt x="0" y="429"/>
                    <a:pt x="0" y="418"/>
                  </a:cubicBezTo>
                  <a:cubicBezTo>
                    <a:pt x="0" y="49"/>
                    <a:pt x="0" y="49"/>
                    <a:pt x="0" y="49"/>
                  </a:cubicBezTo>
                  <a:cubicBezTo>
                    <a:pt x="0" y="35"/>
                    <a:pt x="7" y="21"/>
                    <a:pt x="18" y="13"/>
                  </a:cubicBezTo>
                  <a:cubicBezTo>
                    <a:pt x="30" y="5"/>
                    <a:pt x="45" y="3"/>
                    <a:pt x="58" y="7"/>
                  </a:cubicBezTo>
                  <a:cubicBezTo>
                    <a:pt x="587" y="184"/>
                    <a:pt x="587" y="184"/>
                    <a:pt x="587" y="184"/>
                  </a:cubicBezTo>
                  <a:cubicBezTo>
                    <a:pt x="1094" y="4"/>
                    <a:pt x="1094" y="4"/>
                    <a:pt x="1094" y="4"/>
                  </a:cubicBezTo>
                  <a:cubicBezTo>
                    <a:pt x="1107" y="0"/>
                    <a:pt x="1122" y="2"/>
                    <a:pt x="1134" y="10"/>
                  </a:cubicBezTo>
                  <a:cubicBezTo>
                    <a:pt x="1145" y="18"/>
                    <a:pt x="1152" y="31"/>
                    <a:pt x="1152" y="45"/>
                  </a:cubicBezTo>
                  <a:cubicBezTo>
                    <a:pt x="1152" y="415"/>
                    <a:pt x="1152" y="415"/>
                    <a:pt x="1152" y="415"/>
                  </a:cubicBezTo>
                  <a:cubicBezTo>
                    <a:pt x="1152" y="426"/>
                    <a:pt x="1148" y="437"/>
                    <a:pt x="1140" y="445"/>
                  </a:cubicBezTo>
                  <a:cubicBezTo>
                    <a:pt x="1131" y="454"/>
                    <a:pt x="926" y="663"/>
                    <a:pt x="568" y="663"/>
                  </a:cubicBezTo>
                  <a:close/>
                  <a:moveTo>
                    <a:pt x="88" y="400"/>
                  </a:moveTo>
                  <a:cubicBezTo>
                    <a:pt x="132" y="440"/>
                    <a:pt x="296" y="575"/>
                    <a:pt x="568" y="575"/>
                  </a:cubicBezTo>
                  <a:cubicBezTo>
                    <a:pt x="842" y="575"/>
                    <a:pt x="1020" y="437"/>
                    <a:pt x="1064" y="396"/>
                  </a:cubicBezTo>
                  <a:cubicBezTo>
                    <a:pt x="1064" y="107"/>
                    <a:pt x="1064" y="107"/>
                    <a:pt x="1064" y="107"/>
                  </a:cubicBezTo>
                  <a:cubicBezTo>
                    <a:pt x="602" y="271"/>
                    <a:pt x="602" y="271"/>
                    <a:pt x="602" y="271"/>
                  </a:cubicBezTo>
                  <a:cubicBezTo>
                    <a:pt x="593" y="275"/>
                    <a:pt x="583" y="275"/>
                    <a:pt x="574" y="272"/>
                  </a:cubicBezTo>
                  <a:cubicBezTo>
                    <a:pt x="88" y="109"/>
                    <a:pt x="88" y="109"/>
                    <a:pt x="88" y="109"/>
                  </a:cubicBezTo>
                  <a:lnTo>
                    <a:pt x="88" y="40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4" name="Freeform 6">
              <a:extLst>
                <a:ext uri="{FF2B5EF4-FFF2-40B4-BE49-F238E27FC236}">
                  <a16:creationId xmlns:a16="http://schemas.microsoft.com/office/drawing/2014/main" id="{C3AEEFA9-1A02-4C26-A9BB-E1633B56A747}"/>
                </a:ext>
              </a:extLst>
            </p:cNvPr>
            <p:cNvSpPr>
              <a:spLocks/>
            </p:cNvSpPr>
            <p:nvPr/>
          </p:nvSpPr>
          <p:spPr bwMode="auto">
            <a:xfrm>
              <a:off x="765175" y="1027113"/>
              <a:ext cx="1052513" cy="369888"/>
            </a:xfrm>
            <a:custGeom>
              <a:avLst/>
              <a:gdLst>
                <a:gd name="T0" fmla="*/ 2617 w 2647"/>
                <a:gd name="T1" fmla="*/ 431 h 927"/>
                <a:gd name="T2" fmla="*/ 1327 w 2647"/>
                <a:gd name="T3" fmla="*/ 3 h 927"/>
                <a:gd name="T4" fmla="*/ 1300 w 2647"/>
                <a:gd name="T5" fmla="*/ 3 h 927"/>
                <a:gd name="T6" fmla="*/ 30 w 2647"/>
                <a:gd name="T7" fmla="*/ 434 h 927"/>
                <a:gd name="T8" fmla="*/ 0 w 2647"/>
                <a:gd name="T9" fmla="*/ 476 h 927"/>
                <a:gd name="T10" fmla="*/ 30 w 2647"/>
                <a:gd name="T11" fmla="*/ 517 h 927"/>
                <a:gd name="T12" fmla="*/ 1297 w 2647"/>
                <a:gd name="T13" fmla="*/ 925 h 927"/>
                <a:gd name="T14" fmla="*/ 1310 w 2647"/>
                <a:gd name="T15" fmla="*/ 927 h 927"/>
                <a:gd name="T16" fmla="*/ 1324 w 2647"/>
                <a:gd name="T17" fmla="*/ 925 h 927"/>
                <a:gd name="T18" fmla="*/ 1954 w 2647"/>
                <a:gd name="T19" fmla="*/ 725 h 927"/>
                <a:gd name="T20" fmla="*/ 1954 w 2647"/>
                <a:gd name="T21" fmla="*/ 715 h 927"/>
                <a:gd name="T22" fmla="*/ 1821 w 2647"/>
                <a:gd name="T23" fmla="*/ 675 h 927"/>
                <a:gd name="T24" fmla="*/ 1311 w 2647"/>
                <a:gd name="T25" fmla="*/ 838 h 927"/>
                <a:gd name="T26" fmla="*/ 183 w 2647"/>
                <a:gd name="T27" fmla="*/ 474 h 927"/>
                <a:gd name="T28" fmla="*/ 1314 w 2647"/>
                <a:gd name="T29" fmla="*/ 91 h 927"/>
                <a:gd name="T30" fmla="*/ 2461 w 2647"/>
                <a:gd name="T31" fmla="*/ 471 h 927"/>
                <a:gd name="T32" fmla="*/ 2017 w 2647"/>
                <a:gd name="T33" fmla="*/ 613 h 927"/>
                <a:gd name="T34" fmla="*/ 2029 w 2647"/>
                <a:gd name="T35" fmla="*/ 616 h 927"/>
                <a:gd name="T36" fmla="*/ 2070 w 2647"/>
                <a:gd name="T37" fmla="*/ 672 h 927"/>
                <a:gd name="T38" fmla="*/ 2070 w 2647"/>
                <a:gd name="T39" fmla="*/ 688 h 927"/>
                <a:gd name="T40" fmla="*/ 2616 w 2647"/>
                <a:gd name="T41" fmla="*/ 514 h 927"/>
                <a:gd name="T42" fmla="*/ 2647 w 2647"/>
                <a:gd name="T43" fmla="*/ 472 h 927"/>
                <a:gd name="T44" fmla="*/ 2617 w 2647"/>
                <a:gd name="T45" fmla="*/ 431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7" h="927">
                  <a:moveTo>
                    <a:pt x="2617" y="431"/>
                  </a:moveTo>
                  <a:cubicBezTo>
                    <a:pt x="1327" y="3"/>
                    <a:pt x="1327" y="3"/>
                    <a:pt x="1327" y="3"/>
                  </a:cubicBezTo>
                  <a:cubicBezTo>
                    <a:pt x="1318" y="0"/>
                    <a:pt x="1309" y="0"/>
                    <a:pt x="1300" y="3"/>
                  </a:cubicBezTo>
                  <a:cubicBezTo>
                    <a:pt x="30" y="434"/>
                    <a:pt x="30" y="434"/>
                    <a:pt x="30" y="434"/>
                  </a:cubicBezTo>
                  <a:cubicBezTo>
                    <a:pt x="12" y="440"/>
                    <a:pt x="0" y="457"/>
                    <a:pt x="0" y="476"/>
                  </a:cubicBezTo>
                  <a:cubicBezTo>
                    <a:pt x="0" y="495"/>
                    <a:pt x="12" y="511"/>
                    <a:pt x="30" y="517"/>
                  </a:cubicBezTo>
                  <a:cubicBezTo>
                    <a:pt x="1297" y="925"/>
                    <a:pt x="1297" y="925"/>
                    <a:pt x="1297" y="925"/>
                  </a:cubicBezTo>
                  <a:cubicBezTo>
                    <a:pt x="1301" y="927"/>
                    <a:pt x="1306" y="927"/>
                    <a:pt x="1310" y="927"/>
                  </a:cubicBezTo>
                  <a:cubicBezTo>
                    <a:pt x="1315" y="927"/>
                    <a:pt x="1320" y="927"/>
                    <a:pt x="1324" y="925"/>
                  </a:cubicBezTo>
                  <a:cubicBezTo>
                    <a:pt x="1954" y="725"/>
                    <a:pt x="1954" y="725"/>
                    <a:pt x="1954" y="725"/>
                  </a:cubicBezTo>
                  <a:cubicBezTo>
                    <a:pt x="1954" y="715"/>
                    <a:pt x="1954" y="715"/>
                    <a:pt x="1954" y="715"/>
                  </a:cubicBezTo>
                  <a:cubicBezTo>
                    <a:pt x="1821" y="675"/>
                    <a:pt x="1821" y="675"/>
                    <a:pt x="1821" y="675"/>
                  </a:cubicBezTo>
                  <a:cubicBezTo>
                    <a:pt x="1311" y="838"/>
                    <a:pt x="1311" y="838"/>
                    <a:pt x="1311" y="838"/>
                  </a:cubicBezTo>
                  <a:cubicBezTo>
                    <a:pt x="183" y="474"/>
                    <a:pt x="183" y="474"/>
                    <a:pt x="183" y="474"/>
                  </a:cubicBezTo>
                  <a:cubicBezTo>
                    <a:pt x="1314" y="91"/>
                    <a:pt x="1314" y="91"/>
                    <a:pt x="1314" y="91"/>
                  </a:cubicBezTo>
                  <a:cubicBezTo>
                    <a:pt x="2461" y="471"/>
                    <a:pt x="2461" y="471"/>
                    <a:pt x="2461" y="471"/>
                  </a:cubicBezTo>
                  <a:cubicBezTo>
                    <a:pt x="2017" y="613"/>
                    <a:pt x="2017" y="613"/>
                    <a:pt x="2017" y="613"/>
                  </a:cubicBezTo>
                  <a:cubicBezTo>
                    <a:pt x="2029" y="616"/>
                    <a:pt x="2029" y="616"/>
                    <a:pt x="2029" y="616"/>
                  </a:cubicBezTo>
                  <a:cubicBezTo>
                    <a:pt x="2053" y="624"/>
                    <a:pt x="2070" y="646"/>
                    <a:pt x="2070" y="672"/>
                  </a:cubicBezTo>
                  <a:cubicBezTo>
                    <a:pt x="2070" y="688"/>
                    <a:pt x="2070" y="688"/>
                    <a:pt x="2070" y="688"/>
                  </a:cubicBezTo>
                  <a:cubicBezTo>
                    <a:pt x="2616" y="514"/>
                    <a:pt x="2616" y="514"/>
                    <a:pt x="2616" y="514"/>
                  </a:cubicBezTo>
                  <a:cubicBezTo>
                    <a:pt x="2634" y="508"/>
                    <a:pt x="2647" y="491"/>
                    <a:pt x="2647" y="472"/>
                  </a:cubicBezTo>
                  <a:cubicBezTo>
                    <a:pt x="2647" y="453"/>
                    <a:pt x="2635" y="437"/>
                    <a:pt x="2617" y="4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65" name="Freeform 7">
              <a:extLst>
                <a:ext uri="{FF2B5EF4-FFF2-40B4-BE49-F238E27FC236}">
                  <a16:creationId xmlns:a16="http://schemas.microsoft.com/office/drawing/2014/main" id="{EF7EC304-C4B7-4F31-B00B-DC58E1E06CA9}"/>
                </a:ext>
              </a:extLst>
            </p:cNvPr>
            <p:cNvSpPr>
              <a:spLocks/>
            </p:cNvSpPr>
            <p:nvPr/>
          </p:nvSpPr>
          <p:spPr bwMode="auto">
            <a:xfrm>
              <a:off x="1270000" y="1196975"/>
              <a:ext cx="322263" cy="420688"/>
            </a:xfrm>
            <a:custGeom>
              <a:avLst/>
              <a:gdLst>
                <a:gd name="T0" fmla="*/ 808 w 808"/>
                <a:gd name="T1" fmla="*/ 542 h 1058"/>
                <a:gd name="T2" fmla="*/ 772 w 808"/>
                <a:gd name="T3" fmla="*/ 480 h 1058"/>
                <a:gd name="T4" fmla="*/ 772 w 808"/>
                <a:gd name="T5" fmla="*/ 249 h 1058"/>
                <a:gd name="T6" fmla="*/ 751 w 808"/>
                <a:gd name="T7" fmla="*/ 221 h 1058"/>
                <a:gd name="T8" fmla="*/ 41 w 808"/>
                <a:gd name="T9" fmla="*/ 5 h 1058"/>
                <a:gd name="T10" fmla="*/ 5 w 808"/>
                <a:gd name="T11" fmla="*/ 24 h 1058"/>
                <a:gd name="T12" fmla="*/ 24 w 808"/>
                <a:gd name="T13" fmla="*/ 61 h 1058"/>
                <a:gd name="T14" fmla="*/ 712 w 808"/>
                <a:gd name="T15" fmla="*/ 271 h 1058"/>
                <a:gd name="T16" fmla="*/ 712 w 808"/>
                <a:gd name="T17" fmla="*/ 480 h 1058"/>
                <a:gd name="T18" fmla="*/ 676 w 808"/>
                <a:gd name="T19" fmla="*/ 542 h 1058"/>
                <a:gd name="T20" fmla="*/ 712 w 808"/>
                <a:gd name="T21" fmla="*/ 604 h 1058"/>
                <a:gd name="T22" fmla="*/ 712 w 808"/>
                <a:gd name="T23" fmla="*/ 1029 h 1058"/>
                <a:gd name="T24" fmla="*/ 742 w 808"/>
                <a:gd name="T25" fmla="*/ 1058 h 1058"/>
                <a:gd name="T26" fmla="*/ 772 w 808"/>
                <a:gd name="T27" fmla="*/ 1029 h 1058"/>
                <a:gd name="T28" fmla="*/ 772 w 808"/>
                <a:gd name="T29" fmla="*/ 604 h 1058"/>
                <a:gd name="T30" fmla="*/ 808 w 808"/>
                <a:gd name="T31" fmla="*/ 54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8" h="1058">
                  <a:moveTo>
                    <a:pt x="808" y="542"/>
                  </a:moveTo>
                  <a:cubicBezTo>
                    <a:pt x="808" y="515"/>
                    <a:pt x="792" y="491"/>
                    <a:pt x="772" y="480"/>
                  </a:cubicBezTo>
                  <a:cubicBezTo>
                    <a:pt x="772" y="249"/>
                    <a:pt x="772" y="249"/>
                    <a:pt x="772" y="249"/>
                  </a:cubicBezTo>
                  <a:cubicBezTo>
                    <a:pt x="772" y="236"/>
                    <a:pt x="763" y="225"/>
                    <a:pt x="751" y="221"/>
                  </a:cubicBezTo>
                  <a:cubicBezTo>
                    <a:pt x="41" y="5"/>
                    <a:pt x="41" y="5"/>
                    <a:pt x="41" y="5"/>
                  </a:cubicBezTo>
                  <a:cubicBezTo>
                    <a:pt x="26" y="0"/>
                    <a:pt x="9" y="9"/>
                    <a:pt x="5" y="24"/>
                  </a:cubicBezTo>
                  <a:cubicBezTo>
                    <a:pt x="0" y="40"/>
                    <a:pt x="8" y="56"/>
                    <a:pt x="24" y="61"/>
                  </a:cubicBezTo>
                  <a:cubicBezTo>
                    <a:pt x="712" y="271"/>
                    <a:pt x="712" y="271"/>
                    <a:pt x="712" y="271"/>
                  </a:cubicBezTo>
                  <a:cubicBezTo>
                    <a:pt x="712" y="480"/>
                    <a:pt x="712" y="480"/>
                    <a:pt x="712" y="480"/>
                  </a:cubicBezTo>
                  <a:cubicBezTo>
                    <a:pt x="692" y="491"/>
                    <a:pt x="676" y="515"/>
                    <a:pt x="676" y="542"/>
                  </a:cubicBezTo>
                  <a:cubicBezTo>
                    <a:pt x="676" y="569"/>
                    <a:pt x="692" y="593"/>
                    <a:pt x="712" y="604"/>
                  </a:cubicBezTo>
                  <a:cubicBezTo>
                    <a:pt x="712" y="1029"/>
                    <a:pt x="712" y="1029"/>
                    <a:pt x="712" y="1029"/>
                  </a:cubicBezTo>
                  <a:cubicBezTo>
                    <a:pt x="712" y="1045"/>
                    <a:pt x="726" y="1058"/>
                    <a:pt x="742" y="1058"/>
                  </a:cubicBezTo>
                  <a:cubicBezTo>
                    <a:pt x="758" y="1058"/>
                    <a:pt x="772" y="1045"/>
                    <a:pt x="772" y="1029"/>
                  </a:cubicBezTo>
                  <a:cubicBezTo>
                    <a:pt x="772" y="604"/>
                    <a:pt x="772" y="604"/>
                    <a:pt x="772" y="604"/>
                  </a:cubicBezTo>
                  <a:cubicBezTo>
                    <a:pt x="792" y="593"/>
                    <a:pt x="808" y="569"/>
                    <a:pt x="808" y="5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02" name="Group 28">
            <a:extLst>
              <a:ext uri="{FF2B5EF4-FFF2-40B4-BE49-F238E27FC236}">
                <a16:creationId xmlns:a16="http://schemas.microsoft.com/office/drawing/2014/main" id="{56B3FFCB-B041-4FE9-A12E-F30C79DB8162}"/>
              </a:ext>
            </a:extLst>
          </p:cNvPr>
          <p:cNvGrpSpPr>
            <a:grpSpLocks noChangeAspect="1"/>
          </p:cNvGrpSpPr>
          <p:nvPr/>
        </p:nvGrpSpPr>
        <p:grpSpPr>
          <a:xfrm>
            <a:off x="660027" y="3801969"/>
            <a:ext cx="308144" cy="308144"/>
            <a:chOff x="9312275" y="4222751"/>
            <a:chExt cx="285750" cy="285750"/>
          </a:xfrm>
          <a:solidFill>
            <a:schemeClr val="bg1"/>
          </a:solidFill>
          <a:effectLst/>
        </p:grpSpPr>
        <p:sp>
          <p:nvSpPr>
            <p:cNvPr id="703" name="Freeform 35">
              <a:extLst>
                <a:ext uri="{FF2B5EF4-FFF2-40B4-BE49-F238E27FC236}">
                  <a16:creationId xmlns:a16="http://schemas.microsoft.com/office/drawing/2014/main" id="{0C53AE35-1707-424F-8CFD-D12C05676AEC}"/>
                </a:ext>
              </a:extLst>
            </p:cNvPr>
            <p:cNvSpPr>
              <a:spLocks noEditPoints="1"/>
            </p:cNvSpPr>
            <p:nvPr/>
          </p:nvSpPr>
          <p:spPr bwMode="auto">
            <a:xfrm>
              <a:off x="9312275" y="4222751"/>
              <a:ext cx="228600" cy="247650"/>
            </a:xfrm>
            <a:custGeom>
              <a:avLst/>
              <a:gdLst>
                <a:gd name="T0" fmla="*/ 421 w 722"/>
                <a:gd name="T1" fmla="*/ 121 h 781"/>
                <a:gd name="T2" fmla="*/ 451 w 722"/>
                <a:gd name="T3" fmla="*/ 91 h 781"/>
                <a:gd name="T4" fmla="*/ 301 w 722"/>
                <a:gd name="T5" fmla="*/ 121 h 781"/>
                <a:gd name="T6" fmla="*/ 271 w 722"/>
                <a:gd name="T7" fmla="*/ 91 h 781"/>
                <a:gd name="T8" fmla="*/ 301 w 722"/>
                <a:gd name="T9" fmla="*/ 121 h 781"/>
                <a:gd name="T10" fmla="*/ 120 w 722"/>
                <a:gd name="T11" fmla="*/ 121 h 781"/>
                <a:gd name="T12" fmla="*/ 150 w 722"/>
                <a:gd name="T13" fmla="*/ 91 h 781"/>
                <a:gd name="T14" fmla="*/ 601 w 722"/>
                <a:gd name="T15" fmla="*/ 121 h 781"/>
                <a:gd name="T16" fmla="*/ 571 w 722"/>
                <a:gd name="T17" fmla="*/ 91 h 781"/>
                <a:gd name="T18" fmla="*/ 601 w 722"/>
                <a:gd name="T19" fmla="*/ 121 h 781"/>
                <a:gd name="T20" fmla="*/ 391 w 722"/>
                <a:gd name="T21" fmla="*/ 151 h 781"/>
                <a:gd name="T22" fmla="*/ 481 w 722"/>
                <a:gd name="T23" fmla="*/ 61 h 781"/>
                <a:gd name="T24" fmla="*/ 451 w 722"/>
                <a:gd name="T25" fmla="*/ 30 h 781"/>
                <a:gd name="T26" fmla="*/ 571 w 722"/>
                <a:gd name="T27" fmla="*/ 61 h 781"/>
                <a:gd name="T28" fmla="*/ 541 w 722"/>
                <a:gd name="T29" fmla="*/ 151 h 781"/>
                <a:gd name="T30" fmla="*/ 631 w 722"/>
                <a:gd name="T31" fmla="*/ 61 h 781"/>
                <a:gd name="T32" fmla="*/ 601 w 722"/>
                <a:gd name="T33" fmla="*/ 30 h 781"/>
                <a:gd name="T34" fmla="*/ 692 w 722"/>
                <a:gd name="T35" fmla="*/ 356 h 781"/>
                <a:gd name="T36" fmla="*/ 693 w 722"/>
                <a:gd name="T37" fmla="*/ 363 h 781"/>
                <a:gd name="T38" fmla="*/ 696 w 722"/>
                <a:gd name="T39" fmla="*/ 367 h 781"/>
                <a:gd name="T40" fmla="*/ 700 w 722"/>
                <a:gd name="T41" fmla="*/ 370 h 781"/>
                <a:gd name="T42" fmla="*/ 707 w 722"/>
                <a:gd name="T43" fmla="*/ 371 h 781"/>
                <a:gd name="T44" fmla="*/ 712 w 722"/>
                <a:gd name="T45" fmla="*/ 370 h 781"/>
                <a:gd name="T46" fmla="*/ 717 w 722"/>
                <a:gd name="T47" fmla="*/ 367 h 781"/>
                <a:gd name="T48" fmla="*/ 721 w 722"/>
                <a:gd name="T49" fmla="*/ 363 h 781"/>
                <a:gd name="T50" fmla="*/ 722 w 722"/>
                <a:gd name="T51" fmla="*/ 356 h 781"/>
                <a:gd name="T52" fmla="*/ 721 w 722"/>
                <a:gd name="T53" fmla="*/ 13 h 781"/>
                <a:gd name="T54" fmla="*/ 718 w 722"/>
                <a:gd name="T55" fmla="*/ 7 h 781"/>
                <a:gd name="T56" fmla="*/ 715 w 722"/>
                <a:gd name="T57" fmla="*/ 3 h 781"/>
                <a:gd name="T58" fmla="*/ 709 w 722"/>
                <a:gd name="T59" fmla="*/ 1 h 781"/>
                <a:gd name="T60" fmla="*/ 15 w 722"/>
                <a:gd name="T61" fmla="*/ 0 h 781"/>
                <a:gd name="T62" fmla="*/ 10 w 722"/>
                <a:gd name="T63" fmla="*/ 2 h 781"/>
                <a:gd name="T64" fmla="*/ 5 w 722"/>
                <a:gd name="T65" fmla="*/ 5 h 781"/>
                <a:gd name="T66" fmla="*/ 2 w 722"/>
                <a:gd name="T67" fmla="*/ 9 h 781"/>
                <a:gd name="T68" fmla="*/ 0 w 722"/>
                <a:gd name="T69" fmla="*/ 15 h 781"/>
                <a:gd name="T70" fmla="*/ 0 w 722"/>
                <a:gd name="T71" fmla="*/ 769 h 781"/>
                <a:gd name="T72" fmla="*/ 3 w 722"/>
                <a:gd name="T73" fmla="*/ 775 h 781"/>
                <a:gd name="T74" fmla="*/ 7 w 722"/>
                <a:gd name="T75" fmla="*/ 779 h 781"/>
                <a:gd name="T76" fmla="*/ 12 w 722"/>
                <a:gd name="T77" fmla="*/ 781 h 781"/>
                <a:gd name="T78" fmla="*/ 357 w 722"/>
                <a:gd name="T79" fmla="*/ 781 h 781"/>
                <a:gd name="T80" fmla="*/ 362 w 722"/>
                <a:gd name="T81" fmla="*/ 780 h 781"/>
                <a:gd name="T82" fmla="*/ 367 w 722"/>
                <a:gd name="T83" fmla="*/ 777 h 781"/>
                <a:gd name="T84" fmla="*/ 371 w 722"/>
                <a:gd name="T85" fmla="*/ 773 h 781"/>
                <a:gd name="T86" fmla="*/ 372 w 722"/>
                <a:gd name="T87" fmla="*/ 766 h 781"/>
                <a:gd name="T88" fmla="*/ 371 w 722"/>
                <a:gd name="T89" fmla="*/ 761 h 781"/>
                <a:gd name="T90" fmla="*/ 367 w 722"/>
                <a:gd name="T91" fmla="*/ 755 h 781"/>
                <a:gd name="T92" fmla="*/ 362 w 722"/>
                <a:gd name="T93" fmla="*/ 752 h 781"/>
                <a:gd name="T94" fmla="*/ 357 w 722"/>
                <a:gd name="T95" fmla="*/ 751 h 781"/>
                <a:gd name="T96" fmla="*/ 30 w 722"/>
                <a:gd name="T97" fmla="*/ 30 h 781"/>
                <a:gd name="T98" fmla="*/ 120 w 722"/>
                <a:gd name="T99" fmla="*/ 61 h 781"/>
                <a:gd name="T100" fmla="*/ 90 w 722"/>
                <a:gd name="T101" fmla="*/ 151 h 781"/>
                <a:gd name="T102" fmla="*/ 180 w 722"/>
                <a:gd name="T103" fmla="*/ 61 h 781"/>
                <a:gd name="T104" fmla="*/ 150 w 722"/>
                <a:gd name="T105" fmla="*/ 30 h 781"/>
                <a:gd name="T106" fmla="*/ 271 w 722"/>
                <a:gd name="T107" fmla="*/ 61 h 781"/>
                <a:gd name="T108" fmla="*/ 241 w 722"/>
                <a:gd name="T109" fmla="*/ 151 h 781"/>
                <a:gd name="T110" fmla="*/ 331 w 722"/>
                <a:gd name="T111" fmla="*/ 61 h 781"/>
                <a:gd name="T112" fmla="*/ 301 w 722"/>
                <a:gd name="T113" fmla="*/ 30 h 781"/>
                <a:gd name="T114" fmla="*/ 421 w 722"/>
                <a:gd name="T115" fmla="*/ 6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2" h="781">
                  <a:moveTo>
                    <a:pt x="451" y="121"/>
                  </a:moveTo>
                  <a:lnTo>
                    <a:pt x="421" y="121"/>
                  </a:lnTo>
                  <a:lnTo>
                    <a:pt x="421" y="91"/>
                  </a:lnTo>
                  <a:lnTo>
                    <a:pt x="451" y="91"/>
                  </a:lnTo>
                  <a:lnTo>
                    <a:pt x="451" y="121"/>
                  </a:lnTo>
                  <a:close/>
                  <a:moveTo>
                    <a:pt x="301" y="121"/>
                  </a:moveTo>
                  <a:lnTo>
                    <a:pt x="271" y="121"/>
                  </a:lnTo>
                  <a:lnTo>
                    <a:pt x="271" y="91"/>
                  </a:lnTo>
                  <a:lnTo>
                    <a:pt x="301" y="91"/>
                  </a:lnTo>
                  <a:lnTo>
                    <a:pt x="301" y="121"/>
                  </a:lnTo>
                  <a:close/>
                  <a:moveTo>
                    <a:pt x="150" y="121"/>
                  </a:moveTo>
                  <a:lnTo>
                    <a:pt x="120" y="121"/>
                  </a:lnTo>
                  <a:lnTo>
                    <a:pt x="120" y="91"/>
                  </a:lnTo>
                  <a:lnTo>
                    <a:pt x="150" y="91"/>
                  </a:lnTo>
                  <a:lnTo>
                    <a:pt x="150" y="121"/>
                  </a:lnTo>
                  <a:close/>
                  <a:moveTo>
                    <a:pt x="601" y="121"/>
                  </a:moveTo>
                  <a:lnTo>
                    <a:pt x="571" y="121"/>
                  </a:lnTo>
                  <a:lnTo>
                    <a:pt x="571" y="91"/>
                  </a:lnTo>
                  <a:lnTo>
                    <a:pt x="601" y="91"/>
                  </a:lnTo>
                  <a:lnTo>
                    <a:pt x="601" y="121"/>
                  </a:lnTo>
                  <a:close/>
                  <a:moveTo>
                    <a:pt x="391" y="61"/>
                  </a:moveTo>
                  <a:lnTo>
                    <a:pt x="391" y="151"/>
                  </a:lnTo>
                  <a:lnTo>
                    <a:pt x="481" y="151"/>
                  </a:lnTo>
                  <a:lnTo>
                    <a:pt x="481" y="61"/>
                  </a:lnTo>
                  <a:lnTo>
                    <a:pt x="451" y="61"/>
                  </a:lnTo>
                  <a:lnTo>
                    <a:pt x="451" y="30"/>
                  </a:lnTo>
                  <a:lnTo>
                    <a:pt x="571" y="30"/>
                  </a:lnTo>
                  <a:lnTo>
                    <a:pt x="571" y="61"/>
                  </a:lnTo>
                  <a:lnTo>
                    <a:pt x="541" y="61"/>
                  </a:lnTo>
                  <a:lnTo>
                    <a:pt x="541" y="151"/>
                  </a:lnTo>
                  <a:lnTo>
                    <a:pt x="631" y="151"/>
                  </a:lnTo>
                  <a:lnTo>
                    <a:pt x="631" y="61"/>
                  </a:lnTo>
                  <a:lnTo>
                    <a:pt x="601" y="61"/>
                  </a:lnTo>
                  <a:lnTo>
                    <a:pt x="601" y="30"/>
                  </a:lnTo>
                  <a:lnTo>
                    <a:pt x="692" y="30"/>
                  </a:lnTo>
                  <a:lnTo>
                    <a:pt x="692" y="356"/>
                  </a:lnTo>
                  <a:lnTo>
                    <a:pt x="692" y="359"/>
                  </a:lnTo>
                  <a:lnTo>
                    <a:pt x="693" y="363"/>
                  </a:lnTo>
                  <a:lnTo>
                    <a:pt x="694" y="365"/>
                  </a:lnTo>
                  <a:lnTo>
                    <a:pt x="696" y="367"/>
                  </a:lnTo>
                  <a:lnTo>
                    <a:pt x="698" y="369"/>
                  </a:lnTo>
                  <a:lnTo>
                    <a:pt x="700" y="370"/>
                  </a:lnTo>
                  <a:lnTo>
                    <a:pt x="703" y="371"/>
                  </a:lnTo>
                  <a:lnTo>
                    <a:pt x="707" y="371"/>
                  </a:lnTo>
                  <a:lnTo>
                    <a:pt x="709" y="371"/>
                  </a:lnTo>
                  <a:lnTo>
                    <a:pt x="712" y="370"/>
                  </a:lnTo>
                  <a:lnTo>
                    <a:pt x="715" y="369"/>
                  </a:lnTo>
                  <a:lnTo>
                    <a:pt x="717" y="367"/>
                  </a:lnTo>
                  <a:lnTo>
                    <a:pt x="718" y="365"/>
                  </a:lnTo>
                  <a:lnTo>
                    <a:pt x="721" y="363"/>
                  </a:lnTo>
                  <a:lnTo>
                    <a:pt x="721" y="359"/>
                  </a:lnTo>
                  <a:lnTo>
                    <a:pt x="722" y="356"/>
                  </a:lnTo>
                  <a:lnTo>
                    <a:pt x="722" y="15"/>
                  </a:lnTo>
                  <a:lnTo>
                    <a:pt x="721" y="13"/>
                  </a:lnTo>
                  <a:lnTo>
                    <a:pt x="721" y="9"/>
                  </a:lnTo>
                  <a:lnTo>
                    <a:pt x="718" y="7"/>
                  </a:lnTo>
                  <a:lnTo>
                    <a:pt x="717" y="5"/>
                  </a:lnTo>
                  <a:lnTo>
                    <a:pt x="715" y="3"/>
                  </a:lnTo>
                  <a:lnTo>
                    <a:pt x="712" y="2"/>
                  </a:lnTo>
                  <a:lnTo>
                    <a:pt x="709" y="1"/>
                  </a:lnTo>
                  <a:lnTo>
                    <a:pt x="707" y="0"/>
                  </a:lnTo>
                  <a:lnTo>
                    <a:pt x="15" y="0"/>
                  </a:lnTo>
                  <a:lnTo>
                    <a:pt x="12" y="1"/>
                  </a:lnTo>
                  <a:lnTo>
                    <a:pt x="10" y="2"/>
                  </a:lnTo>
                  <a:lnTo>
                    <a:pt x="7" y="3"/>
                  </a:lnTo>
                  <a:lnTo>
                    <a:pt x="5" y="5"/>
                  </a:lnTo>
                  <a:lnTo>
                    <a:pt x="3" y="7"/>
                  </a:lnTo>
                  <a:lnTo>
                    <a:pt x="2" y="9"/>
                  </a:lnTo>
                  <a:lnTo>
                    <a:pt x="0" y="13"/>
                  </a:lnTo>
                  <a:lnTo>
                    <a:pt x="0" y="15"/>
                  </a:lnTo>
                  <a:lnTo>
                    <a:pt x="0" y="766"/>
                  </a:lnTo>
                  <a:lnTo>
                    <a:pt x="0" y="769"/>
                  </a:lnTo>
                  <a:lnTo>
                    <a:pt x="2" y="773"/>
                  </a:lnTo>
                  <a:lnTo>
                    <a:pt x="3" y="775"/>
                  </a:lnTo>
                  <a:lnTo>
                    <a:pt x="5" y="777"/>
                  </a:lnTo>
                  <a:lnTo>
                    <a:pt x="7" y="779"/>
                  </a:lnTo>
                  <a:lnTo>
                    <a:pt x="10" y="780"/>
                  </a:lnTo>
                  <a:lnTo>
                    <a:pt x="12" y="781"/>
                  </a:lnTo>
                  <a:lnTo>
                    <a:pt x="15" y="781"/>
                  </a:lnTo>
                  <a:lnTo>
                    <a:pt x="357" y="781"/>
                  </a:lnTo>
                  <a:lnTo>
                    <a:pt x="359" y="781"/>
                  </a:lnTo>
                  <a:lnTo>
                    <a:pt x="362" y="780"/>
                  </a:lnTo>
                  <a:lnTo>
                    <a:pt x="364" y="779"/>
                  </a:lnTo>
                  <a:lnTo>
                    <a:pt x="367" y="777"/>
                  </a:lnTo>
                  <a:lnTo>
                    <a:pt x="369" y="775"/>
                  </a:lnTo>
                  <a:lnTo>
                    <a:pt x="371" y="773"/>
                  </a:lnTo>
                  <a:lnTo>
                    <a:pt x="371" y="769"/>
                  </a:lnTo>
                  <a:lnTo>
                    <a:pt x="372" y="766"/>
                  </a:lnTo>
                  <a:lnTo>
                    <a:pt x="371" y="764"/>
                  </a:lnTo>
                  <a:lnTo>
                    <a:pt x="371" y="761"/>
                  </a:lnTo>
                  <a:lnTo>
                    <a:pt x="369" y="759"/>
                  </a:lnTo>
                  <a:lnTo>
                    <a:pt x="367" y="755"/>
                  </a:lnTo>
                  <a:lnTo>
                    <a:pt x="364" y="754"/>
                  </a:lnTo>
                  <a:lnTo>
                    <a:pt x="362" y="752"/>
                  </a:lnTo>
                  <a:lnTo>
                    <a:pt x="359" y="751"/>
                  </a:lnTo>
                  <a:lnTo>
                    <a:pt x="357" y="751"/>
                  </a:lnTo>
                  <a:lnTo>
                    <a:pt x="30" y="751"/>
                  </a:lnTo>
                  <a:lnTo>
                    <a:pt x="30" y="30"/>
                  </a:lnTo>
                  <a:lnTo>
                    <a:pt x="120" y="30"/>
                  </a:lnTo>
                  <a:lnTo>
                    <a:pt x="120" y="61"/>
                  </a:lnTo>
                  <a:lnTo>
                    <a:pt x="90" y="61"/>
                  </a:lnTo>
                  <a:lnTo>
                    <a:pt x="90" y="151"/>
                  </a:lnTo>
                  <a:lnTo>
                    <a:pt x="180" y="151"/>
                  </a:lnTo>
                  <a:lnTo>
                    <a:pt x="180" y="61"/>
                  </a:lnTo>
                  <a:lnTo>
                    <a:pt x="150" y="61"/>
                  </a:lnTo>
                  <a:lnTo>
                    <a:pt x="150" y="30"/>
                  </a:lnTo>
                  <a:lnTo>
                    <a:pt x="271" y="30"/>
                  </a:lnTo>
                  <a:lnTo>
                    <a:pt x="271" y="61"/>
                  </a:lnTo>
                  <a:lnTo>
                    <a:pt x="241" y="61"/>
                  </a:lnTo>
                  <a:lnTo>
                    <a:pt x="241" y="151"/>
                  </a:lnTo>
                  <a:lnTo>
                    <a:pt x="331" y="151"/>
                  </a:lnTo>
                  <a:lnTo>
                    <a:pt x="331" y="61"/>
                  </a:lnTo>
                  <a:lnTo>
                    <a:pt x="301" y="61"/>
                  </a:lnTo>
                  <a:lnTo>
                    <a:pt x="301" y="30"/>
                  </a:lnTo>
                  <a:lnTo>
                    <a:pt x="421" y="30"/>
                  </a:lnTo>
                  <a:lnTo>
                    <a:pt x="421" y="61"/>
                  </a:lnTo>
                  <a:lnTo>
                    <a:pt x="391"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04" name="Freeform 36">
              <a:extLst>
                <a:ext uri="{FF2B5EF4-FFF2-40B4-BE49-F238E27FC236}">
                  <a16:creationId xmlns:a16="http://schemas.microsoft.com/office/drawing/2014/main" id="{E63D4C70-16D1-4B2F-BB7A-97341360063C}"/>
                </a:ext>
              </a:extLst>
            </p:cNvPr>
            <p:cNvSpPr>
              <a:spLocks noEditPoints="1"/>
            </p:cNvSpPr>
            <p:nvPr/>
          </p:nvSpPr>
          <p:spPr bwMode="auto">
            <a:xfrm>
              <a:off x="9464675" y="4370388"/>
              <a:ext cx="133350" cy="138113"/>
            </a:xfrm>
            <a:custGeom>
              <a:avLst/>
              <a:gdLst>
                <a:gd name="T0" fmla="*/ 33 w 420"/>
                <a:gd name="T1" fmla="*/ 139 h 436"/>
                <a:gd name="T2" fmla="*/ 46 w 420"/>
                <a:gd name="T3" fmla="*/ 102 h 436"/>
                <a:gd name="T4" fmla="*/ 69 w 420"/>
                <a:gd name="T5" fmla="*/ 71 h 436"/>
                <a:gd name="T6" fmla="*/ 100 w 420"/>
                <a:gd name="T7" fmla="*/ 47 h 436"/>
                <a:gd name="T8" fmla="*/ 138 w 420"/>
                <a:gd name="T9" fmla="*/ 34 h 436"/>
                <a:gd name="T10" fmla="*/ 179 w 420"/>
                <a:gd name="T11" fmla="*/ 31 h 436"/>
                <a:gd name="T12" fmla="*/ 218 w 420"/>
                <a:gd name="T13" fmla="*/ 42 h 436"/>
                <a:gd name="T14" fmla="*/ 251 w 420"/>
                <a:gd name="T15" fmla="*/ 62 h 436"/>
                <a:gd name="T16" fmla="*/ 277 w 420"/>
                <a:gd name="T17" fmla="*/ 91 h 436"/>
                <a:gd name="T18" fmla="*/ 294 w 420"/>
                <a:gd name="T19" fmla="*/ 127 h 436"/>
                <a:gd name="T20" fmla="*/ 301 w 420"/>
                <a:gd name="T21" fmla="*/ 166 h 436"/>
                <a:gd name="T22" fmla="*/ 294 w 420"/>
                <a:gd name="T23" fmla="*/ 207 h 436"/>
                <a:gd name="T24" fmla="*/ 277 w 420"/>
                <a:gd name="T25" fmla="*/ 242 h 436"/>
                <a:gd name="T26" fmla="*/ 251 w 420"/>
                <a:gd name="T27" fmla="*/ 270 h 436"/>
                <a:gd name="T28" fmla="*/ 218 w 420"/>
                <a:gd name="T29" fmla="*/ 290 h 436"/>
                <a:gd name="T30" fmla="*/ 179 w 420"/>
                <a:gd name="T31" fmla="*/ 300 h 436"/>
                <a:gd name="T32" fmla="*/ 138 w 420"/>
                <a:gd name="T33" fmla="*/ 299 h 436"/>
                <a:gd name="T34" fmla="*/ 100 w 420"/>
                <a:gd name="T35" fmla="*/ 285 h 436"/>
                <a:gd name="T36" fmla="*/ 69 w 420"/>
                <a:gd name="T37" fmla="*/ 261 h 436"/>
                <a:gd name="T38" fmla="*/ 46 w 420"/>
                <a:gd name="T39" fmla="*/ 230 h 436"/>
                <a:gd name="T40" fmla="*/ 33 w 420"/>
                <a:gd name="T41" fmla="*/ 193 h 436"/>
                <a:gd name="T42" fmla="*/ 416 w 420"/>
                <a:gd name="T43" fmla="*/ 411 h 436"/>
                <a:gd name="T44" fmla="*/ 304 w 420"/>
                <a:gd name="T45" fmla="*/ 256 h 436"/>
                <a:gd name="T46" fmla="*/ 323 w 420"/>
                <a:gd name="T47" fmla="*/ 214 h 436"/>
                <a:gd name="T48" fmla="*/ 331 w 420"/>
                <a:gd name="T49" fmla="*/ 166 h 436"/>
                <a:gd name="T50" fmla="*/ 323 w 420"/>
                <a:gd name="T51" fmla="*/ 117 h 436"/>
                <a:gd name="T52" fmla="*/ 303 w 420"/>
                <a:gd name="T53" fmla="*/ 74 h 436"/>
                <a:gd name="T54" fmla="*/ 271 w 420"/>
                <a:gd name="T55" fmla="*/ 39 h 436"/>
                <a:gd name="T56" fmla="*/ 230 w 420"/>
                <a:gd name="T57" fmla="*/ 14 h 436"/>
                <a:gd name="T58" fmla="*/ 182 w 420"/>
                <a:gd name="T59" fmla="*/ 1 h 436"/>
                <a:gd name="T60" fmla="*/ 132 w 420"/>
                <a:gd name="T61" fmla="*/ 5 h 436"/>
                <a:gd name="T62" fmla="*/ 87 w 420"/>
                <a:gd name="T63" fmla="*/ 21 h 436"/>
                <a:gd name="T64" fmla="*/ 48 w 420"/>
                <a:gd name="T65" fmla="*/ 50 h 436"/>
                <a:gd name="T66" fmla="*/ 20 w 420"/>
                <a:gd name="T67" fmla="*/ 88 h 436"/>
                <a:gd name="T68" fmla="*/ 3 w 420"/>
                <a:gd name="T69" fmla="*/ 133 h 436"/>
                <a:gd name="T70" fmla="*/ 1 w 420"/>
                <a:gd name="T71" fmla="*/ 183 h 436"/>
                <a:gd name="T72" fmla="*/ 13 w 420"/>
                <a:gd name="T73" fmla="*/ 230 h 436"/>
                <a:gd name="T74" fmla="*/ 37 w 420"/>
                <a:gd name="T75" fmla="*/ 271 h 436"/>
                <a:gd name="T76" fmla="*/ 73 w 420"/>
                <a:gd name="T77" fmla="*/ 303 h 436"/>
                <a:gd name="T78" fmla="*/ 117 w 420"/>
                <a:gd name="T79" fmla="*/ 324 h 436"/>
                <a:gd name="T80" fmla="*/ 166 w 420"/>
                <a:gd name="T81" fmla="*/ 331 h 436"/>
                <a:gd name="T82" fmla="*/ 204 w 420"/>
                <a:gd name="T83" fmla="*/ 327 h 436"/>
                <a:gd name="T84" fmla="*/ 241 w 420"/>
                <a:gd name="T85" fmla="*/ 313 h 436"/>
                <a:gd name="T86" fmla="*/ 395 w 420"/>
                <a:gd name="T87" fmla="*/ 432 h 436"/>
                <a:gd name="T88" fmla="*/ 402 w 420"/>
                <a:gd name="T89" fmla="*/ 436 h 436"/>
                <a:gd name="T90" fmla="*/ 411 w 420"/>
                <a:gd name="T91" fmla="*/ 435 h 436"/>
                <a:gd name="T92" fmla="*/ 418 w 420"/>
                <a:gd name="T93" fmla="*/ 430 h 436"/>
                <a:gd name="T94" fmla="*/ 420 w 420"/>
                <a:gd name="T95" fmla="*/ 422 h 436"/>
                <a:gd name="T96" fmla="*/ 418 w 420"/>
                <a:gd name="T97" fmla="*/ 41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0" h="436">
                  <a:moveTo>
                    <a:pt x="30" y="166"/>
                  </a:moveTo>
                  <a:lnTo>
                    <a:pt x="31" y="152"/>
                  </a:lnTo>
                  <a:lnTo>
                    <a:pt x="33" y="139"/>
                  </a:lnTo>
                  <a:lnTo>
                    <a:pt x="36" y="127"/>
                  </a:lnTo>
                  <a:lnTo>
                    <a:pt x="41" y="114"/>
                  </a:lnTo>
                  <a:lnTo>
                    <a:pt x="46" y="102"/>
                  </a:lnTo>
                  <a:lnTo>
                    <a:pt x="53" y="91"/>
                  </a:lnTo>
                  <a:lnTo>
                    <a:pt x="61" y="81"/>
                  </a:lnTo>
                  <a:lnTo>
                    <a:pt x="69" y="71"/>
                  </a:lnTo>
                  <a:lnTo>
                    <a:pt x="79" y="62"/>
                  </a:lnTo>
                  <a:lnTo>
                    <a:pt x="90" y="54"/>
                  </a:lnTo>
                  <a:lnTo>
                    <a:pt x="100" y="47"/>
                  </a:lnTo>
                  <a:lnTo>
                    <a:pt x="112" y="42"/>
                  </a:lnTo>
                  <a:lnTo>
                    <a:pt x="125" y="37"/>
                  </a:lnTo>
                  <a:lnTo>
                    <a:pt x="138" y="34"/>
                  </a:lnTo>
                  <a:lnTo>
                    <a:pt x="152" y="31"/>
                  </a:lnTo>
                  <a:lnTo>
                    <a:pt x="166" y="31"/>
                  </a:lnTo>
                  <a:lnTo>
                    <a:pt x="179" y="31"/>
                  </a:lnTo>
                  <a:lnTo>
                    <a:pt x="193" y="34"/>
                  </a:lnTo>
                  <a:lnTo>
                    <a:pt x="205" y="37"/>
                  </a:lnTo>
                  <a:lnTo>
                    <a:pt x="218" y="42"/>
                  </a:lnTo>
                  <a:lnTo>
                    <a:pt x="230" y="47"/>
                  </a:lnTo>
                  <a:lnTo>
                    <a:pt x="241" y="54"/>
                  </a:lnTo>
                  <a:lnTo>
                    <a:pt x="251" y="62"/>
                  </a:lnTo>
                  <a:lnTo>
                    <a:pt x="261" y="71"/>
                  </a:lnTo>
                  <a:lnTo>
                    <a:pt x="270" y="81"/>
                  </a:lnTo>
                  <a:lnTo>
                    <a:pt x="277" y="91"/>
                  </a:lnTo>
                  <a:lnTo>
                    <a:pt x="285" y="102"/>
                  </a:lnTo>
                  <a:lnTo>
                    <a:pt x="290" y="114"/>
                  </a:lnTo>
                  <a:lnTo>
                    <a:pt x="294" y="127"/>
                  </a:lnTo>
                  <a:lnTo>
                    <a:pt x="297" y="139"/>
                  </a:lnTo>
                  <a:lnTo>
                    <a:pt x="300" y="152"/>
                  </a:lnTo>
                  <a:lnTo>
                    <a:pt x="301" y="166"/>
                  </a:lnTo>
                  <a:lnTo>
                    <a:pt x="300" y="180"/>
                  </a:lnTo>
                  <a:lnTo>
                    <a:pt x="297" y="193"/>
                  </a:lnTo>
                  <a:lnTo>
                    <a:pt x="294" y="207"/>
                  </a:lnTo>
                  <a:lnTo>
                    <a:pt x="290" y="219"/>
                  </a:lnTo>
                  <a:lnTo>
                    <a:pt x="285" y="230"/>
                  </a:lnTo>
                  <a:lnTo>
                    <a:pt x="277" y="242"/>
                  </a:lnTo>
                  <a:lnTo>
                    <a:pt x="270" y="252"/>
                  </a:lnTo>
                  <a:lnTo>
                    <a:pt x="261" y="261"/>
                  </a:lnTo>
                  <a:lnTo>
                    <a:pt x="251" y="270"/>
                  </a:lnTo>
                  <a:lnTo>
                    <a:pt x="241" y="279"/>
                  </a:lnTo>
                  <a:lnTo>
                    <a:pt x="230" y="285"/>
                  </a:lnTo>
                  <a:lnTo>
                    <a:pt x="218" y="290"/>
                  </a:lnTo>
                  <a:lnTo>
                    <a:pt x="205" y="295"/>
                  </a:lnTo>
                  <a:lnTo>
                    <a:pt x="193" y="299"/>
                  </a:lnTo>
                  <a:lnTo>
                    <a:pt x="179" y="300"/>
                  </a:lnTo>
                  <a:lnTo>
                    <a:pt x="166" y="301"/>
                  </a:lnTo>
                  <a:lnTo>
                    <a:pt x="152" y="300"/>
                  </a:lnTo>
                  <a:lnTo>
                    <a:pt x="138" y="299"/>
                  </a:lnTo>
                  <a:lnTo>
                    <a:pt x="125" y="295"/>
                  </a:lnTo>
                  <a:lnTo>
                    <a:pt x="112" y="290"/>
                  </a:lnTo>
                  <a:lnTo>
                    <a:pt x="100" y="285"/>
                  </a:lnTo>
                  <a:lnTo>
                    <a:pt x="90" y="279"/>
                  </a:lnTo>
                  <a:lnTo>
                    <a:pt x="79" y="270"/>
                  </a:lnTo>
                  <a:lnTo>
                    <a:pt x="69" y="261"/>
                  </a:lnTo>
                  <a:lnTo>
                    <a:pt x="61" y="252"/>
                  </a:lnTo>
                  <a:lnTo>
                    <a:pt x="53" y="242"/>
                  </a:lnTo>
                  <a:lnTo>
                    <a:pt x="46" y="230"/>
                  </a:lnTo>
                  <a:lnTo>
                    <a:pt x="41" y="219"/>
                  </a:lnTo>
                  <a:lnTo>
                    <a:pt x="36" y="207"/>
                  </a:lnTo>
                  <a:lnTo>
                    <a:pt x="33" y="193"/>
                  </a:lnTo>
                  <a:lnTo>
                    <a:pt x="31" y="180"/>
                  </a:lnTo>
                  <a:lnTo>
                    <a:pt x="30" y="166"/>
                  </a:lnTo>
                  <a:close/>
                  <a:moveTo>
                    <a:pt x="416" y="411"/>
                  </a:moveTo>
                  <a:lnTo>
                    <a:pt x="285" y="280"/>
                  </a:lnTo>
                  <a:lnTo>
                    <a:pt x="295" y="269"/>
                  </a:lnTo>
                  <a:lnTo>
                    <a:pt x="304" y="256"/>
                  </a:lnTo>
                  <a:lnTo>
                    <a:pt x="311" y="242"/>
                  </a:lnTo>
                  <a:lnTo>
                    <a:pt x="319" y="228"/>
                  </a:lnTo>
                  <a:lnTo>
                    <a:pt x="323" y="214"/>
                  </a:lnTo>
                  <a:lnTo>
                    <a:pt x="327" y="198"/>
                  </a:lnTo>
                  <a:lnTo>
                    <a:pt x="329" y="182"/>
                  </a:lnTo>
                  <a:lnTo>
                    <a:pt x="331" y="166"/>
                  </a:lnTo>
                  <a:lnTo>
                    <a:pt x="329" y="149"/>
                  </a:lnTo>
                  <a:lnTo>
                    <a:pt x="327" y="133"/>
                  </a:lnTo>
                  <a:lnTo>
                    <a:pt x="323" y="117"/>
                  </a:lnTo>
                  <a:lnTo>
                    <a:pt x="318" y="102"/>
                  </a:lnTo>
                  <a:lnTo>
                    <a:pt x="310" y="88"/>
                  </a:lnTo>
                  <a:lnTo>
                    <a:pt x="303" y="74"/>
                  </a:lnTo>
                  <a:lnTo>
                    <a:pt x="293" y="61"/>
                  </a:lnTo>
                  <a:lnTo>
                    <a:pt x="282" y="50"/>
                  </a:lnTo>
                  <a:lnTo>
                    <a:pt x="271" y="39"/>
                  </a:lnTo>
                  <a:lnTo>
                    <a:pt x="258" y="29"/>
                  </a:lnTo>
                  <a:lnTo>
                    <a:pt x="244" y="21"/>
                  </a:lnTo>
                  <a:lnTo>
                    <a:pt x="230" y="14"/>
                  </a:lnTo>
                  <a:lnTo>
                    <a:pt x="214" y="8"/>
                  </a:lnTo>
                  <a:lnTo>
                    <a:pt x="199" y="5"/>
                  </a:lnTo>
                  <a:lnTo>
                    <a:pt x="182" y="1"/>
                  </a:lnTo>
                  <a:lnTo>
                    <a:pt x="166" y="0"/>
                  </a:lnTo>
                  <a:lnTo>
                    <a:pt x="149" y="1"/>
                  </a:lnTo>
                  <a:lnTo>
                    <a:pt x="132" y="5"/>
                  </a:lnTo>
                  <a:lnTo>
                    <a:pt x="117" y="8"/>
                  </a:lnTo>
                  <a:lnTo>
                    <a:pt x="102" y="14"/>
                  </a:lnTo>
                  <a:lnTo>
                    <a:pt x="87" y="21"/>
                  </a:lnTo>
                  <a:lnTo>
                    <a:pt x="73" y="29"/>
                  </a:lnTo>
                  <a:lnTo>
                    <a:pt x="60" y="39"/>
                  </a:lnTo>
                  <a:lnTo>
                    <a:pt x="48" y="50"/>
                  </a:lnTo>
                  <a:lnTo>
                    <a:pt x="37" y="61"/>
                  </a:lnTo>
                  <a:lnTo>
                    <a:pt x="29" y="74"/>
                  </a:lnTo>
                  <a:lnTo>
                    <a:pt x="20" y="88"/>
                  </a:lnTo>
                  <a:lnTo>
                    <a:pt x="13" y="102"/>
                  </a:lnTo>
                  <a:lnTo>
                    <a:pt x="7" y="117"/>
                  </a:lnTo>
                  <a:lnTo>
                    <a:pt x="3" y="133"/>
                  </a:lnTo>
                  <a:lnTo>
                    <a:pt x="1" y="149"/>
                  </a:lnTo>
                  <a:lnTo>
                    <a:pt x="0" y="166"/>
                  </a:lnTo>
                  <a:lnTo>
                    <a:pt x="1" y="183"/>
                  </a:lnTo>
                  <a:lnTo>
                    <a:pt x="3" y="199"/>
                  </a:lnTo>
                  <a:lnTo>
                    <a:pt x="7" y="215"/>
                  </a:lnTo>
                  <a:lnTo>
                    <a:pt x="13" y="230"/>
                  </a:lnTo>
                  <a:lnTo>
                    <a:pt x="20" y="245"/>
                  </a:lnTo>
                  <a:lnTo>
                    <a:pt x="29" y="258"/>
                  </a:lnTo>
                  <a:lnTo>
                    <a:pt x="37" y="271"/>
                  </a:lnTo>
                  <a:lnTo>
                    <a:pt x="48" y="283"/>
                  </a:lnTo>
                  <a:lnTo>
                    <a:pt x="60" y="294"/>
                  </a:lnTo>
                  <a:lnTo>
                    <a:pt x="73" y="303"/>
                  </a:lnTo>
                  <a:lnTo>
                    <a:pt x="87" y="312"/>
                  </a:lnTo>
                  <a:lnTo>
                    <a:pt x="102" y="318"/>
                  </a:lnTo>
                  <a:lnTo>
                    <a:pt x="117" y="324"/>
                  </a:lnTo>
                  <a:lnTo>
                    <a:pt x="132" y="328"/>
                  </a:lnTo>
                  <a:lnTo>
                    <a:pt x="149" y="330"/>
                  </a:lnTo>
                  <a:lnTo>
                    <a:pt x="166" y="331"/>
                  </a:lnTo>
                  <a:lnTo>
                    <a:pt x="179" y="331"/>
                  </a:lnTo>
                  <a:lnTo>
                    <a:pt x="191" y="329"/>
                  </a:lnTo>
                  <a:lnTo>
                    <a:pt x="204" y="327"/>
                  </a:lnTo>
                  <a:lnTo>
                    <a:pt x="217" y="322"/>
                  </a:lnTo>
                  <a:lnTo>
                    <a:pt x="229" y="318"/>
                  </a:lnTo>
                  <a:lnTo>
                    <a:pt x="241" y="313"/>
                  </a:lnTo>
                  <a:lnTo>
                    <a:pt x="251" y="306"/>
                  </a:lnTo>
                  <a:lnTo>
                    <a:pt x="262" y="300"/>
                  </a:lnTo>
                  <a:lnTo>
                    <a:pt x="395" y="432"/>
                  </a:lnTo>
                  <a:lnTo>
                    <a:pt x="397" y="434"/>
                  </a:lnTo>
                  <a:lnTo>
                    <a:pt x="400" y="435"/>
                  </a:lnTo>
                  <a:lnTo>
                    <a:pt x="402" y="436"/>
                  </a:lnTo>
                  <a:lnTo>
                    <a:pt x="405" y="436"/>
                  </a:lnTo>
                  <a:lnTo>
                    <a:pt x="409" y="436"/>
                  </a:lnTo>
                  <a:lnTo>
                    <a:pt x="411" y="435"/>
                  </a:lnTo>
                  <a:lnTo>
                    <a:pt x="414" y="434"/>
                  </a:lnTo>
                  <a:lnTo>
                    <a:pt x="416" y="432"/>
                  </a:lnTo>
                  <a:lnTo>
                    <a:pt x="418" y="430"/>
                  </a:lnTo>
                  <a:lnTo>
                    <a:pt x="419" y="427"/>
                  </a:lnTo>
                  <a:lnTo>
                    <a:pt x="420" y="425"/>
                  </a:lnTo>
                  <a:lnTo>
                    <a:pt x="420" y="422"/>
                  </a:lnTo>
                  <a:lnTo>
                    <a:pt x="420" y="419"/>
                  </a:lnTo>
                  <a:lnTo>
                    <a:pt x="419" y="416"/>
                  </a:lnTo>
                  <a:lnTo>
                    <a:pt x="418" y="413"/>
                  </a:lnTo>
                  <a:lnTo>
                    <a:pt x="416"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724" name="Group 63">
            <a:extLst>
              <a:ext uri="{FF2B5EF4-FFF2-40B4-BE49-F238E27FC236}">
                <a16:creationId xmlns:a16="http://schemas.microsoft.com/office/drawing/2014/main" id="{6E87007C-021B-41F0-A49D-7FBB46B03692}"/>
              </a:ext>
            </a:extLst>
          </p:cNvPr>
          <p:cNvGrpSpPr>
            <a:grpSpLocks noChangeAspect="1"/>
          </p:cNvGrpSpPr>
          <p:nvPr>
            <p:custDataLst>
              <p:tags r:id="rId4"/>
            </p:custDataLst>
          </p:nvPr>
        </p:nvGrpSpPr>
        <p:grpSpPr>
          <a:xfrm>
            <a:off x="1517085" y="3801969"/>
            <a:ext cx="209131" cy="308144"/>
            <a:chOff x="9428012" y="1701541"/>
            <a:chExt cx="416963" cy="614374"/>
          </a:xfrm>
          <a:solidFill>
            <a:schemeClr val="bg1"/>
          </a:solidFill>
          <a:effectLst/>
        </p:grpSpPr>
        <p:sp>
          <p:nvSpPr>
            <p:cNvPr id="725" name="Freeform 12">
              <a:extLst>
                <a:ext uri="{FF2B5EF4-FFF2-40B4-BE49-F238E27FC236}">
                  <a16:creationId xmlns:a16="http://schemas.microsoft.com/office/drawing/2014/main" id="{49063748-3F94-49CE-92C8-56DCDAB2F014}"/>
                </a:ext>
              </a:extLst>
            </p:cNvPr>
            <p:cNvSpPr>
              <a:spLocks noEditPoints="1"/>
            </p:cNvSpPr>
            <p:nvPr/>
          </p:nvSpPr>
          <p:spPr bwMode="auto">
            <a:xfrm>
              <a:off x="9428012" y="1701541"/>
              <a:ext cx="416963" cy="614374"/>
            </a:xfrm>
            <a:custGeom>
              <a:avLst/>
              <a:gdLst>
                <a:gd name="T0" fmla="*/ 39 w 679"/>
                <a:gd name="T1" fmla="*/ 960 h 1000"/>
                <a:gd name="T2" fmla="*/ 639 w 679"/>
                <a:gd name="T3" fmla="*/ 960 h 1000"/>
                <a:gd name="T4" fmla="*/ 639 w 679"/>
                <a:gd name="T5" fmla="*/ 40 h 1000"/>
                <a:gd name="T6" fmla="*/ 188 w 679"/>
                <a:gd name="T7" fmla="*/ 40 h 1000"/>
                <a:gd name="T8" fmla="*/ 39 w 679"/>
                <a:gd name="T9" fmla="*/ 189 h 1000"/>
                <a:gd name="T10" fmla="*/ 39 w 679"/>
                <a:gd name="T11" fmla="*/ 960 h 1000"/>
                <a:gd name="T12" fmla="*/ 659 w 679"/>
                <a:gd name="T13" fmla="*/ 1000 h 1000"/>
                <a:gd name="T14" fmla="*/ 19 w 679"/>
                <a:gd name="T15" fmla="*/ 1000 h 1000"/>
                <a:gd name="T16" fmla="*/ 16 w 679"/>
                <a:gd name="T17" fmla="*/ 999 h 1000"/>
                <a:gd name="T18" fmla="*/ 12 w 679"/>
                <a:gd name="T19" fmla="*/ 999 h 1000"/>
                <a:gd name="T20" fmla="*/ 8 w 679"/>
                <a:gd name="T21" fmla="*/ 996 h 1000"/>
                <a:gd name="T22" fmla="*/ 6 w 679"/>
                <a:gd name="T23" fmla="*/ 994 h 1000"/>
                <a:gd name="T24" fmla="*/ 3 w 679"/>
                <a:gd name="T25" fmla="*/ 991 h 1000"/>
                <a:gd name="T26" fmla="*/ 1 w 679"/>
                <a:gd name="T27" fmla="*/ 988 h 1000"/>
                <a:gd name="T28" fmla="*/ 1 w 679"/>
                <a:gd name="T29" fmla="*/ 984 h 1000"/>
                <a:gd name="T30" fmla="*/ 0 w 679"/>
                <a:gd name="T31" fmla="*/ 980 h 1000"/>
                <a:gd name="T32" fmla="*/ 0 w 679"/>
                <a:gd name="T33" fmla="*/ 180 h 1000"/>
                <a:gd name="T34" fmla="*/ 1 w 679"/>
                <a:gd name="T35" fmla="*/ 176 h 1000"/>
                <a:gd name="T36" fmla="*/ 1 w 679"/>
                <a:gd name="T37" fmla="*/ 173 h 1000"/>
                <a:gd name="T38" fmla="*/ 3 w 679"/>
                <a:gd name="T39" fmla="*/ 169 h 1000"/>
                <a:gd name="T40" fmla="*/ 6 w 679"/>
                <a:gd name="T41" fmla="*/ 165 h 1000"/>
                <a:gd name="T42" fmla="*/ 166 w 679"/>
                <a:gd name="T43" fmla="*/ 6 h 1000"/>
                <a:gd name="T44" fmla="*/ 169 w 679"/>
                <a:gd name="T45" fmla="*/ 4 h 1000"/>
                <a:gd name="T46" fmla="*/ 172 w 679"/>
                <a:gd name="T47" fmla="*/ 1 h 1000"/>
                <a:gd name="T48" fmla="*/ 176 w 679"/>
                <a:gd name="T49" fmla="*/ 0 h 1000"/>
                <a:gd name="T50" fmla="*/ 180 w 679"/>
                <a:gd name="T51" fmla="*/ 0 h 1000"/>
                <a:gd name="T52" fmla="*/ 659 w 679"/>
                <a:gd name="T53" fmla="*/ 0 h 1000"/>
                <a:gd name="T54" fmla="*/ 664 w 679"/>
                <a:gd name="T55" fmla="*/ 0 h 1000"/>
                <a:gd name="T56" fmla="*/ 668 w 679"/>
                <a:gd name="T57" fmla="*/ 1 h 1000"/>
                <a:gd name="T58" fmla="*/ 670 w 679"/>
                <a:gd name="T59" fmla="*/ 4 h 1000"/>
                <a:gd name="T60" fmla="*/ 674 w 679"/>
                <a:gd name="T61" fmla="*/ 6 h 1000"/>
                <a:gd name="T62" fmla="*/ 676 w 679"/>
                <a:gd name="T63" fmla="*/ 9 h 1000"/>
                <a:gd name="T64" fmla="*/ 678 w 679"/>
                <a:gd name="T65" fmla="*/ 12 h 1000"/>
                <a:gd name="T66" fmla="*/ 679 w 679"/>
                <a:gd name="T67" fmla="*/ 16 h 1000"/>
                <a:gd name="T68" fmla="*/ 679 w 679"/>
                <a:gd name="T69" fmla="*/ 20 h 1000"/>
                <a:gd name="T70" fmla="*/ 679 w 679"/>
                <a:gd name="T71" fmla="*/ 980 h 1000"/>
                <a:gd name="T72" fmla="*/ 679 w 679"/>
                <a:gd name="T73" fmla="*/ 984 h 1000"/>
                <a:gd name="T74" fmla="*/ 678 w 679"/>
                <a:gd name="T75" fmla="*/ 988 h 1000"/>
                <a:gd name="T76" fmla="*/ 676 w 679"/>
                <a:gd name="T77" fmla="*/ 991 h 1000"/>
                <a:gd name="T78" fmla="*/ 674 w 679"/>
                <a:gd name="T79" fmla="*/ 994 h 1000"/>
                <a:gd name="T80" fmla="*/ 670 w 679"/>
                <a:gd name="T81" fmla="*/ 996 h 1000"/>
                <a:gd name="T82" fmla="*/ 668 w 679"/>
                <a:gd name="T83" fmla="*/ 999 h 1000"/>
                <a:gd name="T84" fmla="*/ 664 w 679"/>
                <a:gd name="T85" fmla="*/ 999 h 1000"/>
                <a:gd name="T86" fmla="*/ 659 w 679"/>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9" h="1000">
                  <a:moveTo>
                    <a:pt x="39" y="960"/>
                  </a:moveTo>
                  <a:lnTo>
                    <a:pt x="639" y="960"/>
                  </a:lnTo>
                  <a:lnTo>
                    <a:pt x="639" y="40"/>
                  </a:lnTo>
                  <a:lnTo>
                    <a:pt x="188" y="40"/>
                  </a:lnTo>
                  <a:lnTo>
                    <a:pt x="39" y="189"/>
                  </a:lnTo>
                  <a:lnTo>
                    <a:pt x="39" y="960"/>
                  </a:lnTo>
                  <a:close/>
                  <a:moveTo>
                    <a:pt x="659" y="1000"/>
                  </a:moveTo>
                  <a:lnTo>
                    <a:pt x="19" y="1000"/>
                  </a:lnTo>
                  <a:lnTo>
                    <a:pt x="16" y="999"/>
                  </a:lnTo>
                  <a:lnTo>
                    <a:pt x="12" y="999"/>
                  </a:lnTo>
                  <a:lnTo>
                    <a:pt x="8" y="996"/>
                  </a:lnTo>
                  <a:lnTo>
                    <a:pt x="6" y="994"/>
                  </a:lnTo>
                  <a:lnTo>
                    <a:pt x="3" y="991"/>
                  </a:lnTo>
                  <a:lnTo>
                    <a:pt x="1" y="988"/>
                  </a:lnTo>
                  <a:lnTo>
                    <a:pt x="1" y="984"/>
                  </a:lnTo>
                  <a:lnTo>
                    <a:pt x="0" y="980"/>
                  </a:lnTo>
                  <a:lnTo>
                    <a:pt x="0" y="180"/>
                  </a:lnTo>
                  <a:lnTo>
                    <a:pt x="1" y="176"/>
                  </a:lnTo>
                  <a:lnTo>
                    <a:pt x="1" y="173"/>
                  </a:lnTo>
                  <a:lnTo>
                    <a:pt x="3" y="169"/>
                  </a:lnTo>
                  <a:lnTo>
                    <a:pt x="6" y="165"/>
                  </a:lnTo>
                  <a:lnTo>
                    <a:pt x="166" y="6"/>
                  </a:lnTo>
                  <a:lnTo>
                    <a:pt x="169" y="4"/>
                  </a:lnTo>
                  <a:lnTo>
                    <a:pt x="172" y="1"/>
                  </a:lnTo>
                  <a:lnTo>
                    <a:pt x="176" y="0"/>
                  </a:lnTo>
                  <a:lnTo>
                    <a:pt x="180" y="0"/>
                  </a:lnTo>
                  <a:lnTo>
                    <a:pt x="659" y="0"/>
                  </a:lnTo>
                  <a:lnTo>
                    <a:pt x="664" y="0"/>
                  </a:lnTo>
                  <a:lnTo>
                    <a:pt x="668" y="1"/>
                  </a:lnTo>
                  <a:lnTo>
                    <a:pt x="670" y="4"/>
                  </a:lnTo>
                  <a:lnTo>
                    <a:pt x="674" y="6"/>
                  </a:lnTo>
                  <a:lnTo>
                    <a:pt x="676" y="9"/>
                  </a:lnTo>
                  <a:lnTo>
                    <a:pt x="678" y="12"/>
                  </a:lnTo>
                  <a:lnTo>
                    <a:pt x="679" y="16"/>
                  </a:lnTo>
                  <a:lnTo>
                    <a:pt x="679" y="20"/>
                  </a:lnTo>
                  <a:lnTo>
                    <a:pt x="679" y="980"/>
                  </a:lnTo>
                  <a:lnTo>
                    <a:pt x="679" y="984"/>
                  </a:lnTo>
                  <a:lnTo>
                    <a:pt x="678" y="988"/>
                  </a:lnTo>
                  <a:lnTo>
                    <a:pt x="676" y="991"/>
                  </a:lnTo>
                  <a:lnTo>
                    <a:pt x="674" y="994"/>
                  </a:lnTo>
                  <a:lnTo>
                    <a:pt x="670" y="996"/>
                  </a:lnTo>
                  <a:lnTo>
                    <a:pt x="668" y="999"/>
                  </a:lnTo>
                  <a:lnTo>
                    <a:pt x="664" y="999"/>
                  </a:lnTo>
                  <a:lnTo>
                    <a:pt x="659"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Freeform 13">
              <a:extLst>
                <a:ext uri="{FF2B5EF4-FFF2-40B4-BE49-F238E27FC236}">
                  <a16:creationId xmlns:a16="http://schemas.microsoft.com/office/drawing/2014/main" id="{D19858FA-AC5D-4442-99E4-34F3800B7C14}"/>
                </a:ext>
              </a:extLst>
            </p:cNvPr>
            <p:cNvSpPr>
              <a:spLocks/>
            </p:cNvSpPr>
            <p:nvPr/>
          </p:nvSpPr>
          <p:spPr bwMode="auto">
            <a:xfrm>
              <a:off x="9428012" y="1701542"/>
              <a:ext cx="123612" cy="123614"/>
            </a:xfrm>
            <a:custGeom>
              <a:avLst/>
              <a:gdLst>
                <a:gd name="T0" fmla="*/ 180 w 200"/>
                <a:gd name="T1" fmla="*/ 200 h 200"/>
                <a:gd name="T2" fmla="*/ 19 w 200"/>
                <a:gd name="T3" fmla="*/ 200 h 200"/>
                <a:gd name="T4" fmla="*/ 16 w 200"/>
                <a:gd name="T5" fmla="*/ 200 h 200"/>
                <a:gd name="T6" fmla="*/ 12 w 200"/>
                <a:gd name="T7" fmla="*/ 199 h 200"/>
                <a:gd name="T8" fmla="*/ 8 w 200"/>
                <a:gd name="T9" fmla="*/ 196 h 200"/>
                <a:gd name="T10" fmla="*/ 6 w 200"/>
                <a:gd name="T11" fmla="*/ 194 h 200"/>
                <a:gd name="T12" fmla="*/ 3 w 200"/>
                <a:gd name="T13" fmla="*/ 191 h 200"/>
                <a:gd name="T14" fmla="*/ 1 w 200"/>
                <a:gd name="T15" fmla="*/ 188 h 200"/>
                <a:gd name="T16" fmla="*/ 1 w 200"/>
                <a:gd name="T17" fmla="*/ 184 h 200"/>
                <a:gd name="T18" fmla="*/ 0 w 200"/>
                <a:gd name="T19" fmla="*/ 180 h 200"/>
                <a:gd name="T20" fmla="*/ 1 w 200"/>
                <a:gd name="T21" fmla="*/ 176 h 200"/>
                <a:gd name="T22" fmla="*/ 1 w 200"/>
                <a:gd name="T23" fmla="*/ 173 h 200"/>
                <a:gd name="T24" fmla="*/ 3 w 200"/>
                <a:gd name="T25" fmla="*/ 169 h 200"/>
                <a:gd name="T26" fmla="*/ 6 w 200"/>
                <a:gd name="T27" fmla="*/ 165 h 200"/>
                <a:gd name="T28" fmla="*/ 8 w 200"/>
                <a:gd name="T29" fmla="*/ 164 h 200"/>
                <a:gd name="T30" fmla="*/ 12 w 200"/>
                <a:gd name="T31" fmla="*/ 162 h 200"/>
                <a:gd name="T32" fmla="*/ 16 w 200"/>
                <a:gd name="T33" fmla="*/ 160 h 200"/>
                <a:gd name="T34" fmla="*/ 19 w 200"/>
                <a:gd name="T35" fmla="*/ 160 h 200"/>
                <a:gd name="T36" fmla="*/ 160 w 200"/>
                <a:gd name="T37" fmla="*/ 160 h 200"/>
                <a:gd name="T38" fmla="*/ 160 w 200"/>
                <a:gd name="T39" fmla="*/ 20 h 200"/>
                <a:gd name="T40" fmla="*/ 160 w 200"/>
                <a:gd name="T41" fmla="*/ 16 h 200"/>
                <a:gd name="T42" fmla="*/ 161 w 200"/>
                <a:gd name="T43" fmla="*/ 12 h 200"/>
                <a:gd name="T44" fmla="*/ 164 w 200"/>
                <a:gd name="T45" fmla="*/ 9 h 200"/>
                <a:gd name="T46" fmla="*/ 166 w 200"/>
                <a:gd name="T47" fmla="*/ 6 h 200"/>
                <a:gd name="T48" fmla="*/ 169 w 200"/>
                <a:gd name="T49" fmla="*/ 4 h 200"/>
                <a:gd name="T50" fmla="*/ 172 w 200"/>
                <a:gd name="T51" fmla="*/ 1 h 200"/>
                <a:gd name="T52" fmla="*/ 176 w 200"/>
                <a:gd name="T53" fmla="*/ 0 h 200"/>
                <a:gd name="T54" fmla="*/ 180 w 200"/>
                <a:gd name="T55" fmla="*/ 0 h 200"/>
                <a:gd name="T56" fmla="*/ 183 w 200"/>
                <a:gd name="T57" fmla="*/ 0 h 200"/>
                <a:gd name="T58" fmla="*/ 187 w 200"/>
                <a:gd name="T59" fmla="*/ 1 h 200"/>
                <a:gd name="T60" fmla="*/ 191 w 200"/>
                <a:gd name="T61" fmla="*/ 4 h 200"/>
                <a:gd name="T62" fmla="*/ 193 w 200"/>
                <a:gd name="T63" fmla="*/ 6 h 200"/>
                <a:gd name="T64" fmla="*/ 196 w 200"/>
                <a:gd name="T65" fmla="*/ 9 h 200"/>
                <a:gd name="T66" fmla="*/ 198 w 200"/>
                <a:gd name="T67" fmla="*/ 12 h 200"/>
                <a:gd name="T68" fmla="*/ 200 w 200"/>
                <a:gd name="T69" fmla="*/ 16 h 200"/>
                <a:gd name="T70" fmla="*/ 200 w 200"/>
                <a:gd name="T71" fmla="*/ 20 h 200"/>
                <a:gd name="T72" fmla="*/ 200 w 200"/>
                <a:gd name="T73" fmla="*/ 180 h 200"/>
                <a:gd name="T74" fmla="*/ 200 w 200"/>
                <a:gd name="T75" fmla="*/ 184 h 200"/>
                <a:gd name="T76" fmla="*/ 198 w 200"/>
                <a:gd name="T77" fmla="*/ 188 h 200"/>
                <a:gd name="T78" fmla="*/ 196 w 200"/>
                <a:gd name="T79" fmla="*/ 191 h 200"/>
                <a:gd name="T80" fmla="*/ 193 w 200"/>
                <a:gd name="T81" fmla="*/ 194 h 200"/>
                <a:gd name="T82" fmla="*/ 191 w 200"/>
                <a:gd name="T83" fmla="*/ 196 h 200"/>
                <a:gd name="T84" fmla="*/ 187 w 200"/>
                <a:gd name="T85" fmla="*/ 199 h 200"/>
                <a:gd name="T86" fmla="*/ 183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19" y="200"/>
                  </a:lnTo>
                  <a:lnTo>
                    <a:pt x="16" y="200"/>
                  </a:lnTo>
                  <a:lnTo>
                    <a:pt x="12" y="199"/>
                  </a:lnTo>
                  <a:lnTo>
                    <a:pt x="8" y="196"/>
                  </a:lnTo>
                  <a:lnTo>
                    <a:pt x="6" y="194"/>
                  </a:lnTo>
                  <a:lnTo>
                    <a:pt x="3" y="191"/>
                  </a:lnTo>
                  <a:lnTo>
                    <a:pt x="1" y="188"/>
                  </a:lnTo>
                  <a:lnTo>
                    <a:pt x="1" y="184"/>
                  </a:lnTo>
                  <a:lnTo>
                    <a:pt x="0" y="180"/>
                  </a:lnTo>
                  <a:lnTo>
                    <a:pt x="1" y="176"/>
                  </a:lnTo>
                  <a:lnTo>
                    <a:pt x="1" y="173"/>
                  </a:lnTo>
                  <a:lnTo>
                    <a:pt x="3" y="169"/>
                  </a:lnTo>
                  <a:lnTo>
                    <a:pt x="6" y="165"/>
                  </a:lnTo>
                  <a:lnTo>
                    <a:pt x="8" y="164"/>
                  </a:lnTo>
                  <a:lnTo>
                    <a:pt x="12" y="162"/>
                  </a:lnTo>
                  <a:lnTo>
                    <a:pt x="16" y="160"/>
                  </a:lnTo>
                  <a:lnTo>
                    <a:pt x="19" y="160"/>
                  </a:lnTo>
                  <a:lnTo>
                    <a:pt x="160" y="160"/>
                  </a:lnTo>
                  <a:lnTo>
                    <a:pt x="160" y="20"/>
                  </a:lnTo>
                  <a:lnTo>
                    <a:pt x="160" y="16"/>
                  </a:lnTo>
                  <a:lnTo>
                    <a:pt x="161" y="12"/>
                  </a:lnTo>
                  <a:lnTo>
                    <a:pt x="164" y="9"/>
                  </a:lnTo>
                  <a:lnTo>
                    <a:pt x="166" y="6"/>
                  </a:lnTo>
                  <a:lnTo>
                    <a:pt x="169" y="4"/>
                  </a:lnTo>
                  <a:lnTo>
                    <a:pt x="172" y="1"/>
                  </a:lnTo>
                  <a:lnTo>
                    <a:pt x="176" y="0"/>
                  </a:lnTo>
                  <a:lnTo>
                    <a:pt x="180" y="0"/>
                  </a:lnTo>
                  <a:lnTo>
                    <a:pt x="183" y="0"/>
                  </a:lnTo>
                  <a:lnTo>
                    <a:pt x="187" y="1"/>
                  </a:lnTo>
                  <a:lnTo>
                    <a:pt x="191" y="4"/>
                  </a:lnTo>
                  <a:lnTo>
                    <a:pt x="193" y="6"/>
                  </a:lnTo>
                  <a:lnTo>
                    <a:pt x="196" y="9"/>
                  </a:lnTo>
                  <a:lnTo>
                    <a:pt x="198" y="12"/>
                  </a:lnTo>
                  <a:lnTo>
                    <a:pt x="200" y="16"/>
                  </a:lnTo>
                  <a:lnTo>
                    <a:pt x="200" y="20"/>
                  </a:lnTo>
                  <a:lnTo>
                    <a:pt x="200" y="180"/>
                  </a:lnTo>
                  <a:lnTo>
                    <a:pt x="200" y="184"/>
                  </a:lnTo>
                  <a:lnTo>
                    <a:pt x="198" y="188"/>
                  </a:lnTo>
                  <a:lnTo>
                    <a:pt x="196" y="191"/>
                  </a:lnTo>
                  <a:lnTo>
                    <a:pt x="193" y="194"/>
                  </a:lnTo>
                  <a:lnTo>
                    <a:pt x="191" y="196"/>
                  </a:lnTo>
                  <a:lnTo>
                    <a:pt x="187" y="199"/>
                  </a:lnTo>
                  <a:lnTo>
                    <a:pt x="183"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61">
              <a:extLst>
                <a:ext uri="{FF2B5EF4-FFF2-40B4-BE49-F238E27FC236}">
                  <a16:creationId xmlns:a16="http://schemas.microsoft.com/office/drawing/2014/main" id="{F93EBAF7-190D-4251-B03F-BAB14D97CA1E}"/>
                </a:ext>
              </a:extLst>
            </p:cNvPr>
            <p:cNvSpPr>
              <a:spLocks noEditPoints="1"/>
            </p:cNvSpPr>
            <p:nvPr/>
          </p:nvSpPr>
          <p:spPr bwMode="auto">
            <a:xfrm>
              <a:off x="9501818" y="1898953"/>
              <a:ext cx="271210" cy="269365"/>
            </a:xfrm>
            <a:custGeom>
              <a:avLst/>
              <a:gdLst>
                <a:gd name="T0" fmla="*/ 184 w 440"/>
                <a:gd name="T1" fmla="*/ 43 h 439"/>
                <a:gd name="T2" fmla="*/ 134 w 440"/>
                <a:gd name="T3" fmla="*/ 60 h 439"/>
                <a:gd name="T4" fmla="*/ 92 w 440"/>
                <a:gd name="T5" fmla="*/ 91 h 439"/>
                <a:gd name="T6" fmla="*/ 61 w 440"/>
                <a:gd name="T7" fmla="*/ 134 h 439"/>
                <a:gd name="T8" fmla="*/ 44 w 440"/>
                <a:gd name="T9" fmla="*/ 182 h 439"/>
                <a:gd name="T10" fmla="*/ 41 w 440"/>
                <a:gd name="T11" fmla="*/ 237 h 439"/>
                <a:gd name="T12" fmla="*/ 53 w 440"/>
                <a:gd name="T13" fmla="*/ 289 h 439"/>
                <a:gd name="T14" fmla="*/ 81 w 440"/>
                <a:gd name="T15" fmla="*/ 334 h 439"/>
                <a:gd name="T16" fmla="*/ 119 w 440"/>
                <a:gd name="T17" fmla="*/ 369 h 439"/>
                <a:gd name="T18" fmla="*/ 167 w 440"/>
                <a:gd name="T19" fmla="*/ 391 h 439"/>
                <a:gd name="T20" fmla="*/ 220 w 440"/>
                <a:gd name="T21" fmla="*/ 398 h 439"/>
                <a:gd name="T22" fmla="*/ 273 w 440"/>
                <a:gd name="T23" fmla="*/ 391 h 439"/>
                <a:gd name="T24" fmla="*/ 321 w 440"/>
                <a:gd name="T25" fmla="*/ 369 h 439"/>
                <a:gd name="T26" fmla="*/ 359 w 440"/>
                <a:gd name="T27" fmla="*/ 334 h 439"/>
                <a:gd name="T28" fmla="*/ 385 w 440"/>
                <a:gd name="T29" fmla="*/ 289 h 439"/>
                <a:gd name="T30" fmla="*/ 399 w 440"/>
                <a:gd name="T31" fmla="*/ 237 h 439"/>
                <a:gd name="T32" fmla="*/ 396 w 440"/>
                <a:gd name="T33" fmla="*/ 182 h 439"/>
                <a:gd name="T34" fmla="*/ 378 w 440"/>
                <a:gd name="T35" fmla="*/ 134 h 439"/>
                <a:gd name="T36" fmla="*/ 347 w 440"/>
                <a:gd name="T37" fmla="*/ 91 h 439"/>
                <a:gd name="T38" fmla="*/ 306 w 440"/>
                <a:gd name="T39" fmla="*/ 60 h 439"/>
                <a:gd name="T40" fmla="*/ 256 w 440"/>
                <a:gd name="T41" fmla="*/ 43 h 439"/>
                <a:gd name="T42" fmla="*/ 220 w 440"/>
                <a:gd name="T43" fmla="*/ 439 h 439"/>
                <a:gd name="T44" fmla="*/ 154 w 440"/>
                <a:gd name="T45" fmla="*/ 429 h 439"/>
                <a:gd name="T46" fmla="*/ 97 w 440"/>
                <a:gd name="T47" fmla="*/ 401 h 439"/>
                <a:gd name="T48" fmla="*/ 50 w 440"/>
                <a:gd name="T49" fmla="*/ 359 h 439"/>
                <a:gd name="T50" fmla="*/ 17 w 440"/>
                <a:gd name="T51" fmla="*/ 304 h 439"/>
                <a:gd name="T52" fmla="*/ 1 w 440"/>
                <a:gd name="T53" fmla="*/ 242 h 439"/>
                <a:gd name="T54" fmla="*/ 4 w 440"/>
                <a:gd name="T55" fmla="*/ 175 h 439"/>
                <a:gd name="T56" fmla="*/ 26 w 440"/>
                <a:gd name="T57" fmla="*/ 114 h 439"/>
                <a:gd name="T58" fmla="*/ 65 w 440"/>
                <a:gd name="T59" fmla="*/ 63 h 439"/>
                <a:gd name="T60" fmla="*/ 116 w 440"/>
                <a:gd name="T61" fmla="*/ 26 h 439"/>
                <a:gd name="T62" fmla="*/ 175 w 440"/>
                <a:gd name="T63" fmla="*/ 3 h 439"/>
                <a:gd name="T64" fmla="*/ 242 w 440"/>
                <a:gd name="T65" fmla="*/ 0 h 439"/>
                <a:gd name="T66" fmla="*/ 306 w 440"/>
                <a:gd name="T67" fmla="*/ 16 h 439"/>
                <a:gd name="T68" fmla="*/ 359 w 440"/>
                <a:gd name="T69" fmla="*/ 49 h 439"/>
                <a:gd name="T70" fmla="*/ 402 w 440"/>
                <a:gd name="T71" fmla="*/ 96 h 439"/>
                <a:gd name="T72" fmla="*/ 430 w 440"/>
                <a:gd name="T73" fmla="*/ 154 h 439"/>
                <a:gd name="T74" fmla="*/ 440 w 440"/>
                <a:gd name="T75" fmla="*/ 219 h 439"/>
                <a:gd name="T76" fmla="*/ 430 w 440"/>
                <a:gd name="T77" fmla="*/ 284 h 439"/>
                <a:gd name="T78" fmla="*/ 402 w 440"/>
                <a:gd name="T79" fmla="*/ 342 h 439"/>
                <a:gd name="T80" fmla="*/ 359 w 440"/>
                <a:gd name="T81" fmla="*/ 388 h 439"/>
                <a:gd name="T82" fmla="*/ 306 w 440"/>
                <a:gd name="T83" fmla="*/ 422 h 439"/>
                <a:gd name="T84" fmla="*/ 242 w 440"/>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0" h="439">
                  <a:moveTo>
                    <a:pt x="220" y="39"/>
                  </a:moveTo>
                  <a:lnTo>
                    <a:pt x="201" y="39"/>
                  </a:lnTo>
                  <a:lnTo>
                    <a:pt x="184" y="43"/>
                  </a:lnTo>
                  <a:lnTo>
                    <a:pt x="167" y="47"/>
                  </a:lnTo>
                  <a:lnTo>
                    <a:pt x="150" y="53"/>
                  </a:lnTo>
                  <a:lnTo>
                    <a:pt x="134" y="60"/>
                  </a:lnTo>
                  <a:lnTo>
                    <a:pt x="119" y="70"/>
                  </a:lnTo>
                  <a:lnTo>
                    <a:pt x="106" y="80"/>
                  </a:lnTo>
                  <a:lnTo>
                    <a:pt x="92" y="91"/>
                  </a:lnTo>
                  <a:lnTo>
                    <a:pt x="81" y="105"/>
                  </a:lnTo>
                  <a:lnTo>
                    <a:pt x="71" y="119"/>
                  </a:lnTo>
                  <a:lnTo>
                    <a:pt x="61" y="134"/>
                  </a:lnTo>
                  <a:lnTo>
                    <a:pt x="53" y="149"/>
                  </a:lnTo>
                  <a:lnTo>
                    <a:pt x="49" y="166"/>
                  </a:lnTo>
                  <a:lnTo>
                    <a:pt x="44" y="182"/>
                  </a:lnTo>
                  <a:lnTo>
                    <a:pt x="41" y="201"/>
                  </a:lnTo>
                  <a:lnTo>
                    <a:pt x="40" y="219"/>
                  </a:lnTo>
                  <a:lnTo>
                    <a:pt x="41" y="237"/>
                  </a:lnTo>
                  <a:lnTo>
                    <a:pt x="44" y="255"/>
                  </a:lnTo>
                  <a:lnTo>
                    <a:pt x="49" y="273"/>
                  </a:lnTo>
                  <a:lnTo>
                    <a:pt x="53" y="289"/>
                  </a:lnTo>
                  <a:lnTo>
                    <a:pt x="61" y="305"/>
                  </a:lnTo>
                  <a:lnTo>
                    <a:pt x="71" y="320"/>
                  </a:lnTo>
                  <a:lnTo>
                    <a:pt x="81" y="334"/>
                  </a:lnTo>
                  <a:lnTo>
                    <a:pt x="92" y="346"/>
                  </a:lnTo>
                  <a:lnTo>
                    <a:pt x="106" y="357"/>
                  </a:lnTo>
                  <a:lnTo>
                    <a:pt x="119" y="369"/>
                  </a:lnTo>
                  <a:lnTo>
                    <a:pt x="134" y="377"/>
                  </a:lnTo>
                  <a:lnTo>
                    <a:pt x="150" y="385"/>
                  </a:lnTo>
                  <a:lnTo>
                    <a:pt x="167" y="391"/>
                  </a:lnTo>
                  <a:lnTo>
                    <a:pt x="184" y="396"/>
                  </a:lnTo>
                  <a:lnTo>
                    <a:pt x="201" y="398"/>
                  </a:lnTo>
                  <a:lnTo>
                    <a:pt x="220" y="398"/>
                  </a:lnTo>
                  <a:lnTo>
                    <a:pt x="239" y="398"/>
                  </a:lnTo>
                  <a:lnTo>
                    <a:pt x="256" y="396"/>
                  </a:lnTo>
                  <a:lnTo>
                    <a:pt x="273" y="391"/>
                  </a:lnTo>
                  <a:lnTo>
                    <a:pt x="289" y="385"/>
                  </a:lnTo>
                  <a:lnTo>
                    <a:pt x="306" y="377"/>
                  </a:lnTo>
                  <a:lnTo>
                    <a:pt x="321" y="369"/>
                  </a:lnTo>
                  <a:lnTo>
                    <a:pt x="334" y="357"/>
                  </a:lnTo>
                  <a:lnTo>
                    <a:pt x="347" y="346"/>
                  </a:lnTo>
                  <a:lnTo>
                    <a:pt x="359" y="334"/>
                  </a:lnTo>
                  <a:lnTo>
                    <a:pt x="369" y="320"/>
                  </a:lnTo>
                  <a:lnTo>
                    <a:pt x="378" y="305"/>
                  </a:lnTo>
                  <a:lnTo>
                    <a:pt x="385" y="289"/>
                  </a:lnTo>
                  <a:lnTo>
                    <a:pt x="391" y="273"/>
                  </a:lnTo>
                  <a:lnTo>
                    <a:pt x="396" y="255"/>
                  </a:lnTo>
                  <a:lnTo>
                    <a:pt x="399" y="237"/>
                  </a:lnTo>
                  <a:lnTo>
                    <a:pt x="400" y="219"/>
                  </a:lnTo>
                  <a:lnTo>
                    <a:pt x="399" y="201"/>
                  </a:lnTo>
                  <a:lnTo>
                    <a:pt x="396" y="182"/>
                  </a:lnTo>
                  <a:lnTo>
                    <a:pt x="391" y="166"/>
                  </a:lnTo>
                  <a:lnTo>
                    <a:pt x="385" y="149"/>
                  </a:lnTo>
                  <a:lnTo>
                    <a:pt x="378" y="134"/>
                  </a:lnTo>
                  <a:lnTo>
                    <a:pt x="369" y="119"/>
                  </a:lnTo>
                  <a:lnTo>
                    <a:pt x="359" y="105"/>
                  </a:lnTo>
                  <a:lnTo>
                    <a:pt x="347" y="91"/>
                  </a:lnTo>
                  <a:lnTo>
                    <a:pt x="334" y="80"/>
                  </a:lnTo>
                  <a:lnTo>
                    <a:pt x="321" y="70"/>
                  </a:lnTo>
                  <a:lnTo>
                    <a:pt x="306" y="60"/>
                  </a:lnTo>
                  <a:lnTo>
                    <a:pt x="289" y="53"/>
                  </a:lnTo>
                  <a:lnTo>
                    <a:pt x="273" y="47"/>
                  </a:lnTo>
                  <a:lnTo>
                    <a:pt x="256" y="43"/>
                  </a:lnTo>
                  <a:lnTo>
                    <a:pt x="239" y="39"/>
                  </a:lnTo>
                  <a:lnTo>
                    <a:pt x="220" y="39"/>
                  </a:lnTo>
                  <a:close/>
                  <a:moveTo>
                    <a:pt x="220" y="439"/>
                  </a:moveTo>
                  <a:lnTo>
                    <a:pt x="198" y="438"/>
                  </a:lnTo>
                  <a:lnTo>
                    <a:pt x="175" y="434"/>
                  </a:lnTo>
                  <a:lnTo>
                    <a:pt x="154" y="429"/>
                  </a:lnTo>
                  <a:lnTo>
                    <a:pt x="134" y="422"/>
                  </a:lnTo>
                  <a:lnTo>
                    <a:pt x="116" y="412"/>
                  </a:lnTo>
                  <a:lnTo>
                    <a:pt x="97" y="401"/>
                  </a:lnTo>
                  <a:lnTo>
                    <a:pt x="80" y="388"/>
                  </a:lnTo>
                  <a:lnTo>
                    <a:pt x="65" y="375"/>
                  </a:lnTo>
                  <a:lnTo>
                    <a:pt x="50" y="359"/>
                  </a:lnTo>
                  <a:lnTo>
                    <a:pt x="37" y="342"/>
                  </a:lnTo>
                  <a:lnTo>
                    <a:pt x="26" y="324"/>
                  </a:lnTo>
                  <a:lnTo>
                    <a:pt x="17" y="304"/>
                  </a:lnTo>
                  <a:lnTo>
                    <a:pt x="10" y="284"/>
                  </a:lnTo>
                  <a:lnTo>
                    <a:pt x="4" y="263"/>
                  </a:lnTo>
                  <a:lnTo>
                    <a:pt x="1" y="242"/>
                  </a:lnTo>
                  <a:lnTo>
                    <a:pt x="0" y="219"/>
                  </a:lnTo>
                  <a:lnTo>
                    <a:pt x="1" y="197"/>
                  </a:lnTo>
                  <a:lnTo>
                    <a:pt x="4" y="175"/>
                  </a:lnTo>
                  <a:lnTo>
                    <a:pt x="10" y="154"/>
                  </a:lnTo>
                  <a:lnTo>
                    <a:pt x="17" y="134"/>
                  </a:lnTo>
                  <a:lnTo>
                    <a:pt x="26" y="114"/>
                  </a:lnTo>
                  <a:lnTo>
                    <a:pt x="37" y="96"/>
                  </a:lnTo>
                  <a:lnTo>
                    <a:pt x="50" y="79"/>
                  </a:lnTo>
                  <a:lnTo>
                    <a:pt x="65" y="63"/>
                  </a:lnTo>
                  <a:lnTo>
                    <a:pt x="80" y="49"/>
                  </a:lnTo>
                  <a:lnTo>
                    <a:pt x="97" y="37"/>
                  </a:lnTo>
                  <a:lnTo>
                    <a:pt x="116" y="26"/>
                  </a:lnTo>
                  <a:lnTo>
                    <a:pt x="134" y="16"/>
                  </a:lnTo>
                  <a:lnTo>
                    <a:pt x="154" y="9"/>
                  </a:lnTo>
                  <a:lnTo>
                    <a:pt x="175" y="3"/>
                  </a:lnTo>
                  <a:lnTo>
                    <a:pt x="198" y="0"/>
                  </a:lnTo>
                  <a:lnTo>
                    <a:pt x="220" y="0"/>
                  </a:lnTo>
                  <a:lnTo>
                    <a:pt x="242" y="0"/>
                  </a:lnTo>
                  <a:lnTo>
                    <a:pt x="263" y="3"/>
                  </a:lnTo>
                  <a:lnTo>
                    <a:pt x="284" y="9"/>
                  </a:lnTo>
                  <a:lnTo>
                    <a:pt x="306" y="16"/>
                  </a:lnTo>
                  <a:lnTo>
                    <a:pt x="324" y="26"/>
                  </a:lnTo>
                  <a:lnTo>
                    <a:pt x="343" y="37"/>
                  </a:lnTo>
                  <a:lnTo>
                    <a:pt x="359" y="49"/>
                  </a:lnTo>
                  <a:lnTo>
                    <a:pt x="375" y="63"/>
                  </a:lnTo>
                  <a:lnTo>
                    <a:pt x="389" y="79"/>
                  </a:lnTo>
                  <a:lnTo>
                    <a:pt x="402" y="96"/>
                  </a:lnTo>
                  <a:lnTo>
                    <a:pt x="414" y="114"/>
                  </a:lnTo>
                  <a:lnTo>
                    <a:pt x="422" y="134"/>
                  </a:lnTo>
                  <a:lnTo>
                    <a:pt x="430" y="154"/>
                  </a:lnTo>
                  <a:lnTo>
                    <a:pt x="435" y="175"/>
                  </a:lnTo>
                  <a:lnTo>
                    <a:pt x="439" y="197"/>
                  </a:lnTo>
                  <a:lnTo>
                    <a:pt x="440" y="219"/>
                  </a:lnTo>
                  <a:lnTo>
                    <a:pt x="439" y="242"/>
                  </a:lnTo>
                  <a:lnTo>
                    <a:pt x="435" y="263"/>
                  </a:lnTo>
                  <a:lnTo>
                    <a:pt x="430" y="284"/>
                  </a:lnTo>
                  <a:lnTo>
                    <a:pt x="422" y="304"/>
                  </a:lnTo>
                  <a:lnTo>
                    <a:pt x="414" y="324"/>
                  </a:lnTo>
                  <a:lnTo>
                    <a:pt x="402" y="342"/>
                  </a:lnTo>
                  <a:lnTo>
                    <a:pt x="389" y="359"/>
                  </a:lnTo>
                  <a:lnTo>
                    <a:pt x="375" y="375"/>
                  </a:lnTo>
                  <a:lnTo>
                    <a:pt x="359" y="388"/>
                  </a:lnTo>
                  <a:lnTo>
                    <a:pt x="343" y="401"/>
                  </a:lnTo>
                  <a:lnTo>
                    <a:pt x="324" y="412"/>
                  </a:lnTo>
                  <a:lnTo>
                    <a:pt x="306" y="422"/>
                  </a:lnTo>
                  <a:lnTo>
                    <a:pt x="284" y="429"/>
                  </a:lnTo>
                  <a:lnTo>
                    <a:pt x="263" y="434"/>
                  </a:lnTo>
                  <a:lnTo>
                    <a:pt x="242"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Freeform 62">
              <a:extLst>
                <a:ext uri="{FF2B5EF4-FFF2-40B4-BE49-F238E27FC236}">
                  <a16:creationId xmlns:a16="http://schemas.microsoft.com/office/drawing/2014/main" id="{BB7553BB-5C9B-480A-BFBA-1C282E15D972}"/>
                </a:ext>
              </a:extLst>
            </p:cNvPr>
            <p:cNvSpPr>
              <a:spLocks/>
            </p:cNvSpPr>
            <p:nvPr/>
          </p:nvSpPr>
          <p:spPr bwMode="auto">
            <a:xfrm>
              <a:off x="9575610" y="1983821"/>
              <a:ext cx="110698" cy="110698"/>
            </a:xfrm>
            <a:custGeom>
              <a:avLst/>
              <a:gdLst>
                <a:gd name="T0" fmla="*/ 20 w 180"/>
                <a:gd name="T1" fmla="*/ 180 h 180"/>
                <a:gd name="T2" fmla="*/ 16 w 180"/>
                <a:gd name="T3" fmla="*/ 180 h 180"/>
                <a:gd name="T4" fmla="*/ 13 w 180"/>
                <a:gd name="T5" fmla="*/ 179 h 180"/>
                <a:gd name="T6" fmla="*/ 10 w 180"/>
                <a:gd name="T7" fmla="*/ 176 h 180"/>
                <a:gd name="T8" fmla="*/ 7 w 180"/>
                <a:gd name="T9" fmla="*/ 174 h 180"/>
                <a:gd name="T10" fmla="*/ 4 w 180"/>
                <a:gd name="T11" fmla="*/ 171 h 180"/>
                <a:gd name="T12" fmla="*/ 3 w 180"/>
                <a:gd name="T13" fmla="*/ 167 h 180"/>
                <a:gd name="T14" fmla="*/ 2 w 180"/>
                <a:gd name="T15" fmla="*/ 164 h 180"/>
                <a:gd name="T16" fmla="*/ 0 w 180"/>
                <a:gd name="T17" fmla="*/ 160 h 180"/>
                <a:gd name="T18" fmla="*/ 2 w 180"/>
                <a:gd name="T19" fmla="*/ 156 h 180"/>
                <a:gd name="T20" fmla="*/ 3 w 180"/>
                <a:gd name="T21" fmla="*/ 152 h 180"/>
                <a:gd name="T22" fmla="*/ 4 w 180"/>
                <a:gd name="T23" fmla="*/ 149 h 180"/>
                <a:gd name="T24" fmla="*/ 7 w 180"/>
                <a:gd name="T25" fmla="*/ 146 h 180"/>
                <a:gd name="T26" fmla="*/ 147 w 180"/>
                <a:gd name="T27" fmla="*/ 6 h 180"/>
                <a:gd name="T28" fmla="*/ 149 w 180"/>
                <a:gd name="T29" fmla="*/ 3 h 180"/>
                <a:gd name="T30" fmla="*/ 153 w 180"/>
                <a:gd name="T31" fmla="*/ 1 h 180"/>
                <a:gd name="T32" fmla="*/ 157 w 180"/>
                <a:gd name="T33" fmla="*/ 1 h 180"/>
                <a:gd name="T34" fmla="*/ 161 w 180"/>
                <a:gd name="T35" fmla="*/ 0 h 180"/>
                <a:gd name="T36" fmla="*/ 164 w 180"/>
                <a:gd name="T37" fmla="*/ 1 h 180"/>
                <a:gd name="T38" fmla="*/ 168 w 180"/>
                <a:gd name="T39" fmla="*/ 1 h 180"/>
                <a:gd name="T40" fmla="*/ 172 w 180"/>
                <a:gd name="T41" fmla="*/ 3 h 180"/>
                <a:gd name="T42" fmla="*/ 175 w 180"/>
                <a:gd name="T43" fmla="*/ 6 h 180"/>
                <a:gd name="T44" fmla="*/ 178 w 180"/>
                <a:gd name="T45" fmla="*/ 8 h 180"/>
                <a:gd name="T46" fmla="*/ 179 w 180"/>
                <a:gd name="T47" fmla="*/ 12 h 180"/>
                <a:gd name="T48" fmla="*/ 180 w 180"/>
                <a:gd name="T49" fmla="*/ 16 h 180"/>
                <a:gd name="T50" fmla="*/ 180 w 180"/>
                <a:gd name="T51" fmla="*/ 20 h 180"/>
                <a:gd name="T52" fmla="*/ 180 w 180"/>
                <a:gd name="T53" fmla="*/ 23 h 180"/>
                <a:gd name="T54" fmla="*/ 179 w 180"/>
                <a:gd name="T55" fmla="*/ 27 h 180"/>
                <a:gd name="T56" fmla="*/ 178 w 180"/>
                <a:gd name="T57" fmla="*/ 31 h 180"/>
                <a:gd name="T58" fmla="*/ 175 w 180"/>
                <a:gd name="T59" fmla="*/ 34 h 180"/>
                <a:gd name="T60" fmla="*/ 35 w 180"/>
                <a:gd name="T61" fmla="*/ 174 h 180"/>
                <a:gd name="T62" fmla="*/ 31 w 180"/>
                <a:gd name="T63" fmla="*/ 176 h 180"/>
                <a:gd name="T64" fmla="*/ 29 w 180"/>
                <a:gd name="T65" fmla="*/ 179 h 180"/>
                <a:gd name="T66" fmla="*/ 25 w 180"/>
                <a:gd name="T67" fmla="*/ 180 h 180"/>
                <a:gd name="T68" fmla="*/ 20 w 18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20" y="180"/>
                  </a:moveTo>
                  <a:lnTo>
                    <a:pt x="16" y="180"/>
                  </a:lnTo>
                  <a:lnTo>
                    <a:pt x="13" y="179"/>
                  </a:lnTo>
                  <a:lnTo>
                    <a:pt x="10" y="176"/>
                  </a:lnTo>
                  <a:lnTo>
                    <a:pt x="7" y="174"/>
                  </a:lnTo>
                  <a:lnTo>
                    <a:pt x="4" y="171"/>
                  </a:lnTo>
                  <a:lnTo>
                    <a:pt x="3" y="167"/>
                  </a:lnTo>
                  <a:lnTo>
                    <a:pt x="2" y="164"/>
                  </a:lnTo>
                  <a:lnTo>
                    <a:pt x="0" y="160"/>
                  </a:lnTo>
                  <a:lnTo>
                    <a:pt x="2" y="156"/>
                  </a:lnTo>
                  <a:lnTo>
                    <a:pt x="3" y="152"/>
                  </a:lnTo>
                  <a:lnTo>
                    <a:pt x="4" y="149"/>
                  </a:lnTo>
                  <a:lnTo>
                    <a:pt x="7" y="146"/>
                  </a:lnTo>
                  <a:lnTo>
                    <a:pt x="147" y="6"/>
                  </a:lnTo>
                  <a:lnTo>
                    <a:pt x="149" y="3"/>
                  </a:lnTo>
                  <a:lnTo>
                    <a:pt x="153" y="1"/>
                  </a:lnTo>
                  <a:lnTo>
                    <a:pt x="157" y="1"/>
                  </a:lnTo>
                  <a:lnTo>
                    <a:pt x="161" y="0"/>
                  </a:lnTo>
                  <a:lnTo>
                    <a:pt x="164" y="1"/>
                  </a:lnTo>
                  <a:lnTo>
                    <a:pt x="168" y="1"/>
                  </a:lnTo>
                  <a:lnTo>
                    <a:pt x="172" y="3"/>
                  </a:lnTo>
                  <a:lnTo>
                    <a:pt x="175" y="6"/>
                  </a:lnTo>
                  <a:lnTo>
                    <a:pt x="178" y="8"/>
                  </a:lnTo>
                  <a:lnTo>
                    <a:pt x="179" y="12"/>
                  </a:lnTo>
                  <a:lnTo>
                    <a:pt x="180" y="16"/>
                  </a:lnTo>
                  <a:lnTo>
                    <a:pt x="180" y="20"/>
                  </a:lnTo>
                  <a:lnTo>
                    <a:pt x="180" y="23"/>
                  </a:lnTo>
                  <a:lnTo>
                    <a:pt x="179" y="27"/>
                  </a:lnTo>
                  <a:lnTo>
                    <a:pt x="178" y="31"/>
                  </a:lnTo>
                  <a:lnTo>
                    <a:pt x="175" y="34"/>
                  </a:lnTo>
                  <a:lnTo>
                    <a:pt x="35" y="174"/>
                  </a:lnTo>
                  <a:lnTo>
                    <a:pt x="31" y="176"/>
                  </a:lnTo>
                  <a:lnTo>
                    <a:pt x="29" y="179"/>
                  </a:lnTo>
                  <a:lnTo>
                    <a:pt x="25" y="180"/>
                  </a:lnTo>
                  <a:lnTo>
                    <a:pt x="2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Freeform 63">
              <a:extLst>
                <a:ext uri="{FF2B5EF4-FFF2-40B4-BE49-F238E27FC236}">
                  <a16:creationId xmlns:a16="http://schemas.microsoft.com/office/drawing/2014/main" id="{01DAC39E-9067-4DFA-9D33-720403FF3FF7}"/>
                </a:ext>
              </a:extLst>
            </p:cNvPr>
            <p:cNvSpPr>
              <a:spLocks/>
            </p:cNvSpPr>
            <p:nvPr/>
          </p:nvSpPr>
          <p:spPr bwMode="auto">
            <a:xfrm>
              <a:off x="9575610" y="1983821"/>
              <a:ext cx="110699" cy="110699"/>
            </a:xfrm>
            <a:custGeom>
              <a:avLst/>
              <a:gdLst>
                <a:gd name="T0" fmla="*/ 161 w 180"/>
                <a:gd name="T1" fmla="*/ 180 h 180"/>
                <a:gd name="T2" fmla="*/ 157 w 180"/>
                <a:gd name="T3" fmla="*/ 180 h 180"/>
                <a:gd name="T4" fmla="*/ 153 w 180"/>
                <a:gd name="T5" fmla="*/ 179 h 180"/>
                <a:gd name="T6" fmla="*/ 149 w 180"/>
                <a:gd name="T7" fmla="*/ 176 h 180"/>
                <a:gd name="T8" fmla="*/ 147 w 180"/>
                <a:gd name="T9" fmla="*/ 174 h 180"/>
                <a:gd name="T10" fmla="*/ 7 w 180"/>
                <a:gd name="T11" fmla="*/ 34 h 180"/>
                <a:gd name="T12" fmla="*/ 4 w 180"/>
                <a:gd name="T13" fmla="*/ 31 h 180"/>
                <a:gd name="T14" fmla="*/ 3 w 180"/>
                <a:gd name="T15" fmla="*/ 27 h 180"/>
                <a:gd name="T16" fmla="*/ 2 w 180"/>
                <a:gd name="T17" fmla="*/ 23 h 180"/>
                <a:gd name="T18" fmla="*/ 0 w 180"/>
                <a:gd name="T19" fmla="*/ 20 h 180"/>
                <a:gd name="T20" fmla="*/ 2 w 180"/>
                <a:gd name="T21" fmla="*/ 16 h 180"/>
                <a:gd name="T22" fmla="*/ 3 w 180"/>
                <a:gd name="T23" fmla="*/ 12 h 180"/>
                <a:gd name="T24" fmla="*/ 4 w 180"/>
                <a:gd name="T25" fmla="*/ 8 h 180"/>
                <a:gd name="T26" fmla="*/ 7 w 180"/>
                <a:gd name="T27" fmla="*/ 6 h 180"/>
                <a:gd name="T28" fmla="*/ 10 w 180"/>
                <a:gd name="T29" fmla="*/ 3 h 180"/>
                <a:gd name="T30" fmla="*/ 13 w 180"/>
                <a:gd name="T31" fmla="*/ 1 h 180"/>
                <a:gd name="T32" fmla="*/ 16 w 180"/>
                <a:gd name="T33" fmla="*/ 1 h 180"/>
                <a:gd name="T34" fmla="*/ 20 w 180"/>
                <a:gd name="T35" fmla="*/ 0 h 180"/>
                <a:gd name="T36" fmla="*/ 25 w 180"/>
                <a:gd name="T37" fmla="*/ 1 h 180"/>
                <a:gd name="T38" fmla="*/ 29 w 180"/>
                <a:gd name="T39" fmla="*/ 1 h 180"/>
                <a:gd name="T40" fmla="*/ 31 w 180"/>
                <a:gd name="T41" fmla="*/ 3 h 180"/>
                <a:gd name="T42" fmla="*/ 35 w 180"/>
                <a:gd name="T43" fmla="*/ 6 h 180"/>
                <a:gd name="T44" fmla="*/ 175 w 180"/>
                <a:gd name="T45" fmla="*/ 146 h 180"/>
                <a:gd name="T46" fmla="*/ 178 w 180"/>
                <a:gd name="T47" fmla="*/ 149 h 180"/>
                <a:gd name="T48" fmla="*/ 179 w 180"/>
                <a:gd name="T49" fmla="*/ 152 h 180"/>
                <a:gd name="T50" fmla="*/ 180 w 180"/>
                <a:gd name="T51" fmla="*/ 156 h 180"/>
                <a:gd name="T52" fmla="*/ 180 w 180"/>
                <a:gd name="T53" fmla="*/ 160 h 180"/>
                <a:gd name="T54" fmla="*/ 180 w 180"/>
                <a:gd name="T55" fmla="*/ 164 h 180"/>
                <a:gd name="T56" fmla="*/ 179 w 180"/>
                <a:gd name="T57" fmla="*/ 167 h 180"/>
                <a:gd name="T58" fmla="*/ 178 w 180"/>
                <a:gd name="T59" fmla="*/ 171 h 180"/>
                <a:gd name="T60" fmla="*/ 175 w 180"/>
                <a:gd name="T61" fmla="*/ 174 h 180"/>
                <a:gd name="T62" fmla="*/ 172 w 180"/>
                <a:gd name="T63" fmla="*/ 176 h 180"/>
                <a:gd name="T64" fmla="*/ 168 w 180"/>
                <a:gd name="T65" fmla="*/ 179 h 180"/>
                <a:gd name="T66" fmla="*/ 164 w 180"/>
                <a:gd name="T67" fmla="*/ 180 h 180"/>
                <a:gd name="T68" fmla="*/ 161 w 180"/>
                <a:gd name="T6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161" y="180"/>
                  </a:moveTo>
                  <a:lnTo>
                    <a:pt x="157" y="180"/>
                  </a:lnTo>
                  <a:lnTo>
                    <a:pt x="153" y="179"/>
                  </a:lnTo>
                  <a:lnTo>
                    <a:pt x="149" y="176"/>
                  </a:lnTo>
                  <a:lnTo>
                    <a:pt x="147" y="174"/>
                  </a:lnTo>
                  <a:lnTo>
                    <a:pt x="7" y="34"/>
                  </a:lnTo>
                  <a:lnTo>
                    <a:pt x="4" y="31"/>
                  </a:lnTo>
                  <a:lnTo>
                    <a:pt x="3" y="27"/>
                  </a:lnTo>
                  <a:lnTo>
                    <a:pt x="2" y="23"/>
                  </a:lnTo>
                  <a:lnTo>
                    <a:pt x="0" y="20"/>
                  </a:lnTo>
                  <a:lnTo>
                    <a:pt x="2" y="16"/>
                  </a:lnTo>
                  <a:lnTo>
                    <a:pt x="3" y="12"/>
                  </a:lnTo>
                  <a:lnTo>
                    <a:pt x="4" y="8"/>
                  </a:lnTo>
                  <a:lnTo>
                    <a:pt x="7" y="6"/>
                  </a:lnTo>
                  <a:lnTo>
                    <a:pt x="10" y="3"/>
                  </a:lnTo>
                  <a:lnTo>
                    <a:pt x="13" y="1"/>
                  </a:lnTo>
                  <a:lnTo>
                    <a:pt x="16" y="1"/>
                  </a:lnTo>
                  <a:lnTo>
                    <a:pt x="20" y="0"/>
                  </a:lnTo>
                  <a:lnTo>
                    <a:pt x="25" y="1"/>
                  </a:lnTo>
                  <a:lnTo>
                    <a:pt x="29" y="1"/>
                  </a:lnTo>
                  <a:lnTo>
                    <a:pt x="31" y="3"/>
                  </a:lnTo>
                  <a:lnTo>
                    <a:pt x="35" y="6"/>
                  </a:lnTo>
                  <a:lnTo>
                    <a:pt x="175" y="146"/>
                  </a:lnTo>
                  <a:lnTo>
                    <a:pt x="178" y="149"/>
                  </a:lnTo>
                  <a:lnTo>
                    <a:pt x="179" y="152"/>
                  </a:lnTo>
                  <a:lnTo>
                    <a:pt x="180" y="156"/>
                  </a:lnTo>
                  <a:lnTo>
                    <a:pt x="180" y="160"/>
                  </a:lnTo>
                  <a:lnTo>
                    <a:pt x="180" y="164"/>
                  </a:lnTo>
                  <a:lnTo>
                    <a:pt x="179" y="167"/>
                  </a:lnTo>
                  <a:lnTo>
                    <a:pt x="178" y="171"/>
                  </a:lnTo>
                  <a:lnTo>
                    <a:pt x="175" y="174"/>
                  </a:lnTo>
                  <a:lnTo>
                    <a:pt x="172" y="176"/>
                  </a:lnTo>
                  <a:lnTo>
                    <a:pt x="168" y="179"/>
                  </a:lnTo>
                  <a:lnTo>
                    <a:pt x="164" y="180"/>
                  </a:lnTo>
                  <a:lnTo>
                    <a:pt x="161"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0" name="Group 69">
            <a:extLst>
              <a:ext uri="{FF2B5EF4-FFF2-40B4-BE49-F238E27FC236}">
                <a16:creationId xmlns:a16="http://schemas.microsoft.com/office/drawing/2014/main" id="{BB72AF8C-B011-46C2-A3F1-262F4099717F}"/>
              </a:ext>
            </a:extLst>
          </p:cNvPr>
          <p:cNvGrpSpPr>
            <a:grpSpLocks noChangeAspect="1"/>
          </p:cNvGrpSpPr>
          <p:nvPr>
            <p:custDataLst>
              <p:tags r:id="rId5"/>
            </p:custDataLst>
          </p:nvPr>
        </p:nvGrpSpPr>
        <p:grpSpPr>
          <a:xfrm>
            <a:off x="1114270" y="3801969"/>
            <a:ext cx="210058" cy="308144"/>
            <a:chOff x="10213970" y="1701539"/>
            <a:chExt cx="418811" cy="614373"/>
          </a:xfrm>
          <a:solidFill>
            <a:schemeClr val="bg1"/>
          </a:solidFill>
          <a:effectLst/>
        </p:grpSpPr>
        <p:sp>
          <p:nvSpPr>
            <p:cNvPr id="731" name="Freeform 64">
              <a:extLst>
                <a:ext uri="{FF2B5EF4-FFF2-40B4-BE49-F238E27FC236}">
                  <a16:creationId xmlns:a16="http://schemas.microsoft.com/office/drawing/2014/main" id="{B8DF4C49-A40B-4BE2-86AF-88CFB20A4613}"/>
                </a:ext>
              </a:extLst>
            </p:cNvPr>
            <p:cNvSpPr>
              <a:spLocks noEditPoints="1"/>
            </p:cNvSpPr>
            <p:nvPr/>
          </p:nvSpPr>
          <p:spPr bwMode="auto">
            <a:xfrm>
              <a:off x="10213973" y="1701539"/>
              <a:ext cx="418808" cy="614373"/>
            </a:xfrm>
            <a:custGeom>
              <a:avLst/>
              <a:gdLst>
                <a:gd name="T0" fmla="*/ 41 w 680"/>
                <a:gd name="T1" fmla="*/ 960 h 1000"/>
                <a:gd name="T2" fmla="*/ 639 w 680"/>
                <a:gd name="T3" fmla="*/ 960 h 1000"/>
                <a:gd name="T4" fmla="*/ 639 w 680"/>
                <a:gd name="T5" fmla="*/ 40 h 1000"/>
                <a:gd name="T6" fmla="*/ 189 w 680"/>
                <a:gd name="T7" fmla="*/ 40 h 1000"/>
                <a:gd name="T8" fmla="*/ 41 w 680"/>
                <a:gd name="T9" fmla="*/ 189 h 1000"/>
                <a:gd name="T10" fmla="*/ 41 w 680"/>
                <a:gd name="T11" fmla="*/ 960 h 1000"/>
                <a:gd name="T12" fmla="*/ 661 w 680"/>
                <a:gd name="T13" fmla="*/ 1000 h 1000"/>
                <a:gd name="T14" fmla="*/ 20 w 680"/>
                <a:gd name="T15" fmla="*/ 1000 h 1000"/>
                <a:gd name="T16" fmla="*/ 16 w 680"/>
                <a:gd name="T17" fmla="*/ 999 h 1000"/>
                <a:gd name="T18" fmla="*/ 12 w 680"/>
                <a:gd name="T19" fmla="*/ 999 h 1000"/>
                <a:gd name="T20" fmla="*/ 9 w 680"/>
                <a:gd name="T21" fmla="*/ 996 h 1000"/>
                <a:gd name="T22" fmla="*/ 6 w 680"/>
                <a:gd name="T23" fmla="*/ 994 h 1000"/>
                <a:gd name="T24" fmla="*/ 4 w 680"/>
                <a:gd name="T25" fmla="*/ 991 h 1000"/>
                <a:gd name="T26" fmla="*/ 2 w 680"/>
                <a:gd name="T27" fmla="*/ 988 h 1000"/>
                <a:gd name="T28" fmla="*/ 1 w 680"/>
                <a:gd name="T29" fmla="*/ 984 h 1000"/>
                <a:gd name="T30" fmla="*/ 0 w 680"/>
                <a:gd name="T31" fmla="*/ 980 h 1000"/>
                <a:gd name="T32" fmla="*/ 0 w 680"/>
                <a:gd name="T33" fmla="*/ 180 h 1000"/>
                <a:gd name="T34" fmla="*/ 1 w 680"/>
                <a:gd name="T35" fmla="*/ 176 h 1000"/>
                <a:gd name="T36" fmla="*/ 2 w 680"/>
                <a:gd name="T37" fmla="*/ 173 h 1000"/>
                <a:gd name="T38" fmla="*/ 4 w 680"/>
                <a:gd name="T39" fmla="*/ 169 h 1000"/>
                <a:gd name="T40" fmla="*/ 6 w 680"/>
                <a:gd name="T41" fmla="*/ 165 h 1000"/>
                <a:gd name="T42" fmla="*/ 166 w 680"/>
                <a:gd name="T43" fmla="*/ 6 h 1000"/>
                <a:gd name="T44" fmla="*/ 169 w 680"/>
                <a:gd name="T45" fmla="*/ 4 h 1000"/>
                <a:gd name="T46" fmla="*/ 173 w 680"/>
                <a:gd name="T47" fmla="*/ 1 h 1000"/>
                <a:gd name="T48" fmla="*/ 176 w 680"/>
                <a:gd name="T49" fmla="*/ 0 h 1000"/>
                <a:gd name="T50" fmla="*/ 180 w 680"/>
                <a:gd name="T51" fmla="*/ 0 h 1000"/>
                <a:gd name="T52" fmla="*/ 661 w 680"/>
                <a:gd name="T53" fmla="*/ 0 h 1000"/>
                <a:gd name="T54" fmla="*/ 664 w 680"/>
                <a:gd name="T55" fmla="*/ 0 h 1000"/>
                <a:gd name="T56" fmla="*/ 668 w 680"/>
                <a:gd name="T57" fmla="*/ 1 h 1000"/>
                <a:gd name="T58" fmla="*/ 672 w 680"/>
                <a:gd name="T59" fmla="*/ 4 h 1000"/>
                <a:gd name="T60" fmla="*/ 674 w 680"/>
                <a:gd name="T61" fmla="*/ 6 h 1000"/>
                <a:gd name="T62" fmla="*/ 677 w 680"/>
                <a:gd name="T63" fmla="*/ 9 h 1000"/>
                <a:gd name="T64" fmla="*/ 678 w 680"/>
                <a:gd name="T65" fmla="*/ 12 h 1000"/>
                <a:gd name="T66" fmla="*/ 679 w 680"/>
                <a:gd name="T67" fmla="*/ 16 h 1000"/>
                <a:gd name="T68" fmla="*/ 680 w 680"/>
                <a:gd name="T69" fmla="*/ 20 h 1000"/>
                <a:gd name="T70" fmla="*/ 680 w 680"/>
                <a:gd name="T71" fmla="*/ 980 h 1000"/>
                <a:gd name="T72" fmla="*/ 679 w 680"/>
                <a:gd name="T73" fmla="*/ 984 h 1000"/>
                <a:gd name="T74" fmla="*/ 678 w 680"/>
                <a:gd name="T75" fmla="*/ 988 h 1000"/>
                <a:gd name="T76" fmla="*/ 677 w 680"/>
                <a:gd name="T77" fmla="*/ 991 h 1000"/>
                <a:gd name="T78" fmla="*/ 674 w 680"/>
                <a:gd name="T79" fmla="*/ 994 h 1000"/>
                <a:gd name="T80" fmla="*/ 672 w 680"/>
                <a:gd name="T81" fmla="*/ 996 h 1000"/>
                <a:gd name="T82" fmla="*/ 668 w 680"/>
                <a:gd name="T83" fmla="*/ 999 h 1000"/>
                <a:gd name="T84" fmla="*/ 664 w 680"/>
                <a:gd name="T85" fmla="*/ 999 h 1000"/>
                <a:gd name="T86" fmla="*/ 661 w 680"/>
                <a:gd name="T87"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0" h="1000">
                  <a:moveTo>
                    <a:pt x="41" y="960"/>
                  </a:moveTo>
                  <a:lnTo>
                    <a:pt x="639" y="960"/>
                  </a:lnTo>
                  <a:lnTo>
                    <a:pt x="639" y="40"/>
                  </a:lnTo>
                  <a:lnTo>
                    <a:pt x="189" y="40"/>
                  </a:lnTo>
                  <a:lnTo>
                    <a:pt x="41" y="189"/>
                  </a:lnTo>
                  <a:lnTo>
                    <a:pt x="41" y="960"/>
                  </a:lnTo>
                  <a:close/>
                  <a:moveTo>
                    <a:pt x="661" y="1000"/>
                  </a:moveTo>
                  <a:lnTo>
                    <a:pt x="20" y="1000"/>
                  </a:lnTo>
                  <a:lnTo>
                    <a:pt x="16" y="999"/>
                  </a:lnTo>
                  <a:lnTo>
                    <a:pt x="12" y="999"/>
                  </a:lnTo>
                  <a:lnTo>
                    <a:pt x="9" y="996"/>
                  </a:lnTo>
                  <a:lnTo>
                    <a:pt x="6" y="994"/>
                  </a:lnTo>
                  <a:lnTo>
                    <a:pt x="4" y="991"/>
                  </a:lnTo>
                  <a:lnTo>
                    <a:pt x="2" y="988"/>
                  </a:lnTo>
                  <a:lnTo>
                    <a:pt x="1" y="984"/>
                  </a:lnTo>
                  <a:lnTo>
                    <a:pt x="0" y="980"/>
                  </a:lnTo>
                  <a:lnTo>
                    <a:pt x="0" y="180"/>
                  </a:lnTo>
                  <a:lnTo>
                    <a:pt x="1" y="176"/>
                  </a:lnTo>
                  <a:lnTo>
                    <a:pt x="2" y="173"/>
                  </a:lnTo>
                  <a:lnTo>
                    <a:pt x="4" y="169"/>
                  </a:lnTo>
                  <a:lnTo>
                    <a:pt x="6" y="165"/>
                  </a:lnTo>
                  <a:lnTo>
                    <a:pt x="166" y="6"/>
                  </a:lnTo>
                  <a:lnTo>
                    <a:pt x="169" y="4"/>
                  </a:lnTo>
                  <a:lnTo>
                    <a:pt x="173" y="1"/>
                  </a:lnTo>
                  <a:lnTo>
                    <a:pt x="176" y="0"/>
                  </a:lnTo>
                  <a:lnTo>
                    <a:pt x="180" y="0"/>
                  </a:lnTo>
                  <a:lnTo>
                    <a:pt x="661" y="0"/>
                  </a:lnTo>
                  <a:lnTo>
                    <a:pt x="664" y="0"/>
                  </a:lnTo>
                  <a:lnTo>
                    <a:pt x="668" y="1"/>
                  </a:lnTo>
                  <a:lnTo>
                    <a:pt x="672" y="4"/>
                  </a:lnTo>
                  <a:lnTo>
                    <a:pt x="674" y="6"/>
                  </a:lnTo>
                  <a:lnTo>
                    <a:pt x="677" y="9"/>
                  </a:lnTo>
                  <a:lnTo>
                    <a:pt x="678" y="12"/>
                  </a:lnTo>
                  <a:lnTo>
                    <a:pt x="679" y="16"/>
                  </a:lnTo>
                  <a:lnTo>
                    <a:pt x="680" y="20"/>
                  </a:lnTo>
                  <a:lnTo>
                    <a:pt x="680" y="980"/>
                  </a:lnTo>
                  <a:lnTo>
                    <a:pt x="679" y="984"/>
                  </a:lnTo>
                  <a:lnTo>
                    <a:pt x="678" y="988"/>
                  </a:lnTo>
                  <a:lnTo>
                    <a:pt x="677" y="991"/>
                  </a:lnTo>
                  <a:lnTo>
                    <a:pt x="674" y="994"/>
                  </a:lnTo>
                  <a:lnTo>
                    <a:pt x="672" y="996"/>
                  </a:lnTo>
                  <a:lnTo>
                    <a:pt x="668" y="999"/>
                  </a:lnTo>
                  <a:lnTo>
                    <a:pt x="664" y="999"/>
                  </a:lnTo>
                  <a:lnTo>
                    <a:pt x="661" y="10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65">
              <a:extLst>
                <a:ext uri="{FF2B5EF4-FFF2-40B4-BE49-F238E27FC236}">
                  <a16:creationId xmlns:a16="http://schemas.microsoft.com/office/drawing/2014/main" id="{44ECD01C-7ECB-46CC-844C-BEF886E3FB7B}"/>
                </a:ext>
              </a:extLst>
            </p:cNvPr>
            <p:cNvSpPr>
              <a:spLocks/>
            </p:cNvSpPr>
            <p:nvPr/>
          </p:nvSpPr>
          <p:spPr bwMode="auto">
            <a:xfrm>
              <a:off x="10213970" y="1701540"/>
              <a:ext cx="123613" cy="123613"/>
            </a:xfrm>
            <a:custGeom>
              <a:avLst/>
              <a:gdLst>
                <a:gd name="T0" fmla="*/ 180 w 200"/>
                <a:gd name="T1" fmla="*/ 200 h 200"/>
                <a:gd name="T2" fmla="*/ 20 w 200"/>
                <a:gd name="T3" fmla="*/ 200 h 200"/>
                <a:gd name="T4" fmla="*/ 16 w 200"/>
                <a:gd name="T5" fmla="*/ 200 h 200"/>
                <a:gd name="T6" fmla="*/ 12 w 200"/>
                <a:gd name="T7" fmla="*/ 199 h 200"/>
                <a:gd name="T8" fmla="*/ 9 w 200"/>
                <a:gd name="T9" fmla="*/ 196 h 200"/>
                <a:gd name="T10" fmla="*/ 6 w 200"/>
                <a:gd name="T11" fmla="*/ 194 h 200"/>
                <a:gd name="T12" fmla="*/ 4 w 200"/>
                <a:gd name="T13" fmla="*/ 191 h 200"/>
                <a:gd name="T14" fmla="*/ 2 w 200"/>
                <a:gd name="T15" fmla="*/ 188 h 200"/>
                <a:gd name="T16" fmla="*/ 1 w 200"/>
                <a:gd name="T17" fmla="*/ 184 h 200"/>
                <a:gd name="T18" fmla="*/ 0 w 200"/>
                <a:gd name="T19" fmla="*/ 180 h 200"/>
                <a:gd name="T20" fmla="*/ 1 w 200"/>
                <a:gd name="T21" fmla="*/ 176 h 200"/>
                <a:gd name="T22" fmla="*/ 2 w 200"/>
                <a:gd name="T23" fmla="*/ 173 h 200"/>
                <a:gd name="T24" fmla="*/ 4 w 200"/>
                <a:gd name="T25" fmla="*/ 169 h 200"/>
                <a:gd name="T26" fmla="*/ 6 w 200"/>
                <a:gd name="T27" fmla="*/ 165 h 200"/>
                <a:gd name="T28" fmla="*/ 9 w 200"/>
                <a:gd name="T29" fmla="*/ 164 h 200"/>
                <a:gd name="T30" fmla="*/ 12 w 200"/>
                <a:gd name="T31" fmla="*/ 162 h 200"/>
                <a:gd name="T32" fmla="*/ 16 w 200"/>
                <a:gd name="T33" fmla="*/ 160 h 200"/>
                <a:gd name="T34" fmla="*/ 20 w 200"/>
                <a:gd name="T35" fmla="*/ 160 h 200"/>
                <a:gd name="T36" fmla="*/ 160 w 200"/>
                <a:gd name="T37" fmla="*/ 160 h 200"/>
                <a:gd name="T38" fmla="*/ 160 w 200"/>
                <a:gd name="T39" fmla="*/ 20 h 200"/>
                <a:gd name="T40" fmla="*/ 161 w 200"/>
                <a:gd name="T41" fmla="*/ 16 h 200"/>
                <a:gd name="T42" fmla="*/ 161 w 200"/>
                <a:gd name="T43" fmla="*/ 12 h 200"/>
                <a:gd name="T44" fmla="*/ 164 w 200"/>
                <a:gd name="T45" fmla="*/ 9 h 200"/>
                <a:gd name="T46" fmla="*/ 166 w 200"/>
                <a:gd name="T47" fmla="*/ 6 h 200"/>
                <a:gd name="T48" fmla="*/ 169 w 200"/>
                <a:gd name="T49" fmla="*/ 4 h 200"/>
                <a:gd name="T50" fmla="*/ 173 w 200"/>
                <a:gd name="T51" fmla="*/ 1 h 200"/>
                <a:gd name="T52" fmla="*/ 176 w 200"/>
                <a:gd name="T53" fmla="*/ 0 h 200"/>
                <a:gd name="T54" fmla="*/ 180 w 200"/>
                <a:gd name="T55" fmla="*/ 0 h 200"/>
                <a:gd name="T56" fmla="*/ 185 w 200"/>
                <a:gd name="T57" fmla="*/ 0 h 200"/>
                <a:gd name="T58" fmla="*/ 189 w 200"/>
                <a:gd name="T59" fmla="*/ 1 h 200"/>
                <a:gd name="T60" fmla="*/ 191 w 200"/>
                <a:gd name="T61" fmla="*/ 4 h 200"/>
                <a:gd name="T62" fmla="*/ 195 w 200"/>
                <a:gd name="T63" fmla="*/ 6 h 200"/>
                <a:gd name="T64" fmla="*/ 197 w 200"/>
                <a:gd name="T65" fmla="*/ 9 h 200"/>
                <a:gd name="T66" fmla="*/ 199 w 200"/>
                <a:gd name="T67" fmla="*/ 12 h 200"/>
                <a:gd name="T68" fmla="*/ 200 w 200"/>
                <a:gd name="T69" fmla="*/ 16 h 200"/>
                <a:gd name="T70" fmla="*/ 200 w 200"/>
                <a:gd name="T71" fmla="*/ 20 h 200"/>
                <a:gd name="T72" fmla="*/ 200 w 200"/>
                <a:gd name="T73" fmla="*/ 180 h 200"/>
                <a:gd name="T74" fmla="*/ 200 w 200"/>
                <a:gd name="T75" fmla="*/ 184 h 200"/>
                <a:gd name="T76" fmla="*/ 199 w 200"/>
                <a:gd name="T77" fmla="*/ 188 h 200"/>
                <a:gd name="T78" fmla="*/ 197 w 200"/>
                <a:gd name="T79" fmla="*/ 191 h 200"/>
                <a:gd name="T80" fmla="*/ 195 w 200"/>
                <a:gd name="T81" fmla="*/ 194 h 200"/>
                <a:gd name="T82" fmla="*/ 191 w 200"/>
                <a:gd name="T83" fmla="*/ 196 h 200"/>
                <a:gd name="T84" fmla="*/ 189 w 200"/>
                <a:gd name="T85" fmla="*/ 199 h 200"/>
                <a:gd name="T86" fmla="*/ 185 w 200"/>
                <a:gd name="T87" fmla="*/ 200 h 200"/>
                <a:gd name="T88" fmla="*/ 180 w 200"/>
                <a:gd name="T8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200">
                  <a:moveTo>
                    <a:pt x="180" y="200"/>
                  </a:moveTo>
                  <a:lnTo>
                    <a:pt x="20" y="200"/>
                  </a:lnTo>
                  <a:lnTo>
                    <a:pt x="16" y="200"/>
                  </a:lnTo>
                  <a:lnTo>
                    <a:pt x="12" y="199"/>
                  </a:lnTo>
                  <a:lnTo>
                    <a:pt x="9" y="196"/>
                  </a:lnTo>
                  <a:lnTo>
                    <a:pt x="6" y="194"/>
                  </a:lnTo>
                  <a:lnTo>
                    <a:pt x="4" y="191"/>
                  </a:lnTo>
                  <a:lnTo>
                    <a:pt x="2" y="188"/>
                  </a:lnTo>
                  <a:lnTo>
                    <a:pt x="1" y="184"/>
                  </a:lnTo>
                  <a:lnTo>
                    <a:pt x="0" y="180"/>
                  </a:lnTo>
                  <a:lnTo>
                    <a:pt x="1" y="176"/>
                  </a:lnTo>
                  <a:lnTo>
                    <a:pt x="2" y="173"/>
                  </a:lnTo>
                  <a:lnTo>
                    <a:pt x="4" y="169"/>
                  </a:lnTo>
                  <a:lnTo>
                    <a:pt x="6" y="165"/>
                  </a:lnTo>
                  <a:lnTo>
                    <a:pt x="9" y="164"/>
                  </a:lnTo>
                  <a:lnTo>
                    <a:pt x="12" y="162"/>
                  </a:lnTo>
                  <a:lnTo>
                    <a:pt x="16" y="160"/>
                  </a:lnTo>
                  <a:lnTo>
                    <a:pt x="20" y="160"/>
                  </a:lnTo>
                  <a:lnTo>
                    <a:pt x="160" y="160"/>
                  </a:lnTo>
                  <a:lnTo>
                    <a:pt x="160" y="20"/>
                  </a:lnTo>
                  <a:lnTo>
                    <a:pt x="161" y="16"/>
                  </a:lnTo>
                  <a:lnTo>
                    <a:pt x="161" y="12"/>
                  </a:lnTo>
                  <a:lnTo>
                    <a:pt x="164" y="9"/>
                  </a:lnTo>
                  <a:lnTo>
                    <a:pt x="166" y="6"/>
                  </a:lnTo>
                  <a:lnTo>
                    <a:pt x="169" y="4"/>
                  </a:lnTo>
                  <a:lnTo>
                    <a:pt x="173" y="1"/>
                  </a:lnTo>
                  <a:lnTo>
                    <a:pt x="176" y="0"/>
                  </a:lnTo>
                  <a:lnTo>
                    <a:pt x="180" y="0"/>
                  </a:lnTo>
                  <a:lnTo>
                    <a:pt x="185" y="0"/>
                  </a:lnTo>
                  <a:lnTo>
                    <a:pt x="189" y="1"/>
                  </a:lnTo>
                  <a:lnTo>
                    <a:pt x="191" y="4"/>
                  </a:lnTo>
                  <a:lnTo>
                    <a:pt x="195" y="6"/>
                  </a:lnTo>
                  <a:lnTo>
                    <a:pt x="197" y="9"/>
                  </a:lnTo>
                  <a:lnTo>
                    <a:pt x="199" y="12"/>
                  </a:lnTo>
                  <a:lnTo>
                    <a:pt x="200" y="16"/>
                  </a:lnTo>
                  <a:lnTo>
                    <a:pt x="200" y="20"/>
                  </a:lnTo>
                  <a:lnTo>
                    <a:pt x="200" y="180"/>
                  </a:lnTo>
                  <a:lnTo>
                    <a:pt x="200" y="184"/>
                  </a:lnTo>
                  <a:lnTo>
                    <a:pt x="199" y="188"/>
                  </a:lnTo>
                  <a:lnTo>
                    <a:pt x="197" y="191"/>
                  </a:lnTo>
                  <a:lnTo>
                    <a:pt x="195" y="194"/>
                  </a:lnTo>
                  <a:lnTo>
                    <a:pt x="191" y="196"/>
                  </a:lnTo>
                  <a:lnTo>
                    <a:pt x="189" y="199"/>
                  </a:lnTo>
                  <a:lnTo>
                    <a:pt x="185" y="200"/>
                  </a:lnTo>
                  <a:lnTo>
                    <a:pt x="18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66">
              <a:extLst>
                <a:ext uri="{FF2B5EF4-FFF2-40B4-BE49-F238E27FC236}">
                  <a16:creationId xmlns:a16="http://schemas.microsoft.com/office/drawing/2014/main" id="{6ACF832D-C36C-4590-9BF8-8776304BE8E0}"/>
                </a:ext>
              </a:extLst>
            </p:cNvPr>
            <p:cNvSpPr>
              <a:spLocks noEditPoints="1"/>
            </p:cNvSpPr>
            <p:nvPr/>
          </p:nvSpPr>
          <p:spPr bwMode="auto">
            <a:xfrm>
              <a:off x="10287777" y="1898952"/>
              <a:ext cx="271211" cy="269364"/>
            </a:xfrm>
            <a:custGeom>
              <a:avLst/>
              <a:gdLst>
                <a:gd name="T0" fmla="*/ 184 w 440"/>
                <a:gd name="T1" fmla="*/ 43 h 439"/>
                <a:gd name="T2" fmla="*/ 134 w 440"/>
                <a:gd name="T3" fmla="*/ 60 h 439"/>
                <a:gd name="T4" fmla="*/ 93 w 440"/>
                <a:gd name="T5" fmla="*/ 91 h 439"/>
                <a:gd name="T6" fmla="*/ 62 w 440"/>
                <a:gd name="T7" fmla="*/ 134 h 439"/>
                <a:gd name="T8" fmla="*/ 44 w 440"/>
                <a:gd name="T9" fmla="*/ 182 h 439"/>
                <a:gd name="T10" fmla="*/ 41 w 440"/>
                <a:gd name="T11" fmla="*/ 237 h 439"/>
                <a:gd name="T12" fmla="*/ 55 w 440"/>
                <a:gd name="T13" fmla="*/ 289 h 439"/>
                <a:gd name="T14" fmla="*/ 81 w 440"/>
                <a:gd name="T15" fmla="*/ 334 h 439"/>
                <a:gd name="T16" fmla="*/ 120 w 440"/>
                <a:gd name="T17" fmla="*/ 369 h 439"/>
                <a:gd name="T18" fmla="*/ 167 w 440"/>
                <a:gd name="T19" fmla="*/ 391 h 439"/>
                <a:gd name="T20" fmla="*/ 220 w 440"/>
                <a:gd name="T21" fmla="*/ 398 h 439"/>
                <a:gd name="T22" fmla="*/ 274 w 440"/>
                <a:gd name="T23" fmla="*/ 391 h 439"/>
                <a:gd name="T24" fmla="*/ 321 w 440"/>
                <a:gd name="T25" fmla="*/ 369 h 439"/>
                <a:gd name="T26" fmla="*/ 359 w 440"/>
                <a:gd name="T27" fmla="*/ 334 h 439"/>
                <a:gd name="T28" fmla="*/ 387 w 440"/>
                <a:gd name="T29" fmla="*/ 289 h 439"/>
                <a:gd name="T30" fmla="*/ 399 w 440"/>
                <a:gd name="T31" fmla="*/ 237 h 439"/>
                <a:gd name="T32" fmla="*/ 397 w 440"/>
                <a:gd name="T33" fmla="*/ 182 h 439"/>
                <a:gd name="T34" fmla="*/ 378 w 440"/>
                <a:gd name="T35" fmla="*/ 134 h 439"/>
                <a:gd name="T36" fmla="*/ 347 w 440"/>
                <a:gd name="T37" fmla="*/ 91 h 439"/>
                <a:gd name="T38" fmla="*/ 306 w 440"/>
                <a:gd name="T39" fmla="*/ 60 h 439"/>
                <a:gd name="T40" fmla="*/ 256 w 440"/>
                <a:gd name="T41" fmla="*/ 43 h 439"/>
                <a:gd name="T42" fmla="*/ 220 w 440"/>
                <a:gd name="T43" fmla="*/ 439 h 439"/>
                <a:gd name="T44" fmla="*/ 154 w 440"/>
                <a:gd name="T45" fmla="*/ 429 h 439"/>
                <a:gd name="T46" fmla="*/ 97 w 440"/>
                <a:gd name="T47" fmla="*/ 401 h 439"/>
                <a:gd name="T48" fmla="*/ 50 w 440"/>
                <a:gd name="T49" fmla="*/ 359 h 439"/>
                <a:gd name="T50" fmla="*/ 18 w 440"/>
                <a:gd name="T51" fmla="*/ 304 h 439"/>
                <a:gd name="T52" fmla="*/ 2 w 440"/>
                <a:gd name="T53" fmla="*/ 242 h 439"/>
                <a:gd name="T54" fmla="*/ 5 w 440"/>
                <a:gd name="T55" fmla="*/ 175 h 439"/>
                <a:gd name="T56" fmla="*/ 26 w 440"/>
                <a:gd name="T57" fmla="*/ 114 h 439"/>
                <a:gd name="T58" fmla="*/ 65 w 440"/>
                <a:gd name="T59" fmla="*/ 63 h 439"/>
                <a:gd name="T60" fmla="*/ 116 w 440"/>
                <a:gd name="T61" fmla="*/ 26 h 439"/>
                <a:gd name="T62" fmla="*/ 175 w 440"/>
                <a:gd name="T63" fmla="*/ 3 h 439"/>
                <a:gd name="T64" fmla="*/ 243 w 440"/>
                <a:gd name="T65" fmla="*/ 0 h 439"/>
                <a:gd name="T66" fmla="*/ 306 w 440"/>
                <a:gd name="T67" fmla="*/ 16 h 439"/>
                <a:gd name="T68" fmla="*/ 361 w 440"/>
                <a:gd name="T69" fmla="*/ 49 h 439"/>
                <a:gd name="T70" fmla="*/ 403 w 440"/>
                <a:gd name="T71" fmla="*/ 96 h 439"/>
                <a:gd name="T72" fmla="*/ 430 w 440"/>
                <a:gd name="T73" fmla="*/ 154 h 439"/>
                <a:gd name="T74" fmla="*/ 440 w 440"/>
                <a:gd name="T75" fmla="*/ 219 h 439"/>
                <a:gd name="T76" fmla="*/ 430 w 440"/>
                <a:gd name="T77" fmla="*/ 284 h 439"/>
                <a:gd name="T78" fmla="*/ 403 w 440"/>
                <a:gd name="T79" fmla="*/ 342 h 439"/>
                <a:gd name="T80" fmla="*/ 361 w 440"/>
                <a:gd name="T81" fmla="*/ 388 h 439"/>
                <a:gd name="T82" fmla="*/ 306 w 440"/>
                <a:gd name="T83" fmla="*/ 422 h 439"/>
                <a:gd name="T84" fmla="*/ 243 w 440"/>
                <a:gd name="T85" fmla="*/ 43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0" h="439">
                  <a:moveTo>
                    <a:pt x="220" y="39"/>
                  </a:moveTo>
                  <a:lnTo>
                    <a:pt x="202" y="39"/>
                  </a:lnTo>
                  <a:lnTo>
                    <a:pt x="184" y="43"/>
                  </a:lnTo>
                  <a:lnTo>
                    <a:pt x="167" y="47"/>
                  </a:lnTo>
                  <a:lnTo>
                    <a:pt x="151" y="53"/>
                  </a:lnTo>
                  <a:lnTo>
                    <a:pt x="134" y="60"/>
                  </a:lnTo>
                  <a:lnTo>
                    <a:pt x="120" y="70"/>
                  </a:lnTo>
                  <a:lnTo>
                    <a:pt x="106" y="80"/>
                  </a:lnTo>
                  <a:lnTo>
                    <a:pt x="93" y="91"/>
                  </a:lnTo>
                  <a:lnTo>
                    <a:pt x="81" y="105"/>
                  </a:lnTo>
                  <a:lnTo>
                    <a:pt x="71" y="119"/>
                  </a:lnTo>
                  <a:lnTo>
                    <a:pt x="62" y="134"/>
                  </a:lnTo>
                  <a:lnTo>
                    <a:pt x="55" y="149"/>
                  </a:lnTo>
                  <a:lnTo>
                    <a:pt x="49" y="166"/>
                  </a:lnTo>
                  <a:lnTo>
                    <a:pt x="44" y="182"/>
                  </a:lnTo>
                  <a:lnTo>
                    <a:pt x="41" y="201"/>
                  </a:lnTo>
                  <a:lnTo>
                    <a:pt x="40" y="219"/>
                  </a:lnTo>
                  <a:lnTo>
                    <a:pt x="41" y="237"/>
                  </a:lnTo>
                  <a:lnTo>
                    <a:pt x="44" y="255"/>
                  </a:lnTo>
                  <a:lnTo>
                    <a:pt x="49" y="273"/>
                  </a:lnTo>
                  <a:lnTo>
                    <a:pt x="55" y="289"/>
                  </a:lnTo>
                  <a:lnTo>
                    <a:pt x="62" y="305"/>
                  </a:lnTo>
                  <a:lnTo>
                    <a:pt x="71" y="320"/>
                  </a:lnTo>
                  <a:lnTo>
                    <a:pt x="81" y="334"/>
                  </a:lnTo>
                  <a:lnTo>
                    <a:pt x="93" y="346"/>
                  </a:lnTo>
                  <a:lnTo>
                    <a:pt x="106" y="357"/>
                  </a:lnTo>
                  <a:lnTo>
                    <a:pt x="120" y="369"/>
                  </a:lnTo>
                  <a:lnTo>
                    <a:pt x="134" y="377"/>
                  </a:lnTo>
                  <a:lnTo>
                    <a:pt x="151" y="385"/>
                  </a:lnTo>
                  <a:lnTo>
                    <a:pt x="167" y="391"/>
                  </a:lnTo>
                  <a:lnTo>
                    <a:pt x="184" y="396"/>
                  </a:lnTo>
                  <a:lnTo>
                    <a:pt x="202" y="398"/>
                  </a:lnTo>
                  <a:lnTo>
                    <a:pt x="220" y="398"/>
                  </a:lnTo>
                  <a:lnTo>
                    <a:pt x="239" y="398"/>
                  </a:lnTo>
                  <a:lnTo>
                    <a:pt x="256" y="396"/>
                  </a:lnTo>
                  <a:lnTo>
                    <a:pt x="274" y="391"/>
                  </a:lnTo>
                  <a:lnTo>
                    <a:pt x="290" y="385"/>
                  </a:lnTo>
                  <a:lnTo>
                    <a:pt x="306" y="377"/>
                  </a:lnTo>
                  <a:lnTo>
                    <a:pt x="321" y="369"/>
                  </a:lnTo>
                  <a:lnTo>
                    <a:pt x="334" y="357"/>
                  </a:lnTo>
                  <a:lnTo>
                    <a:pt x="347" y="346"/>
                  </a:lnTo>
                  <a:lnTo>
                    <a:pt x="359" y="334"/>
                  </a:lnTo>
                  <a:lnTo>
                    <a:pt x="369" y="320"/>
                  </a:lnTo>
                  <a:lnTo>
                    <a:pt x="378" y="305"/>
                  </a:lnTo>
                  <a:lnTo>
                    <a:pt x="387" y="289"/>
                  </a:lnTo>
                  <a:lnTo>
                    <a:pt x="392" y="273"/>
                  </a:lnTo>
                  <a:lnTo>
                    <a:pt x="397" y="255"/>
                  </a:lnTo>
                  <a:lnTo>
                    <a:pt x="399" y="237"/>
                  </a:lnTo>
                  <a:lnTo>
                    <a:pt x="400" y="219"/>
                  </a:lnTo>
                  <a:lnTo>
                    <a:pt x="399" y="201"/>
                  </a:lnTo>
                  <a:lnTo>
                    <a:pt x="397" y="182"/>
                  </a:lnTo>
                  <a:lnTo>
                    <a:pt x="392" y="166"/>
                  </a:lnTo>
                  <a:lnTo>
                    <a:pt x="387" y="149"/>
                  </a:lnTo>
                  <a:lnTo>
                    <a:pt x="378" y="134"/>
                  </a:lnTo>
                  <a:lnTo>
                    <a:pt x="369" y="119"/>
                  </a:lnTo>
                  <a:lnTo>
                    <a:pt x="359" y="105"/>
                  </a:lnTo>
                  <a:lnTo>
                    <a:pt x="347" y="91"/>
                  </a:lnTo>
                  <a:lnTo>
                    <a:pt x="334" y="80"/>
                  </a:lnTo>
                  <a:lnTo>
                    <a:pt x="321" y="70"/>
                  </a:lnTo>
                  <a:lnTo>
                    <a:pt x="306" y="60"/>
                  </a:lnTo>
                  <a:lnTo>
                    <a:pt x="290" y="53"/>
                  </a:lnTo>
                  <a:lnTo>
                    <a:pt x="274" y="47"/>
                  </a:lnTo>
                  <a:lnTo>
                    <a:pt x="256" y="43"/>
                  </a:lnTo>
                  <a:lnTo>
                    <a:pt x="239" y="39"/>
                  </a:lnTo>
                  <a:lnTo>
                    <a:pt x="220" y="39"/>
                  </a:lnTo>
                  <a:close/>
                  <a:moveTo>
                    <a:pt x="220" y="439"/>
                  </a:moveTo>
                  <a:lnTo>
                    <a:pt x="198" y="438"/>
                  </a:lnTo>
                  <a:lnTo>
                    <a:pt x="175" y="434"/>
                  </a:lnTo>
                  <a:lnTo>
                    <a:pt x="154" y="429"/>
                  </a:lnTo>
                  <a:lnTo>
                    <a:pt x="134" y="422"/>
                  </a:lnTo>
                  <a:lnTo>
                    <a:pt x="116" y="412"/>
                  </a:lnTo>
                  <a:lnTo>
                    <a:pt x="97" y="401"/>
                  </a:lnTo>
                  <a:lnTo>
                    <a:pt x="80" y="388"/>
                  </a:lnTo>
                  <a:lnTo>
                    <a:pt x="65" y="375"/>
                  </a:lnTo>
                  <a:lnTo>
                    <a:pt x="50" y="359"/>
                  </a:lnTo>
                  <a:lnTo>
                    <a:pt x="38" y="342"/>
                  </a:lnTo>
                  <a:lnTo>
                    <a:pt x="26" y="324"/>
                  </a:lnTo>
                  <a:lnTo>
                    <a:pt x="18" y="304"/>
                  </a:lnTo>
                  <a:lnTo>
                    <a:pt x="10" y="284"/>
                  </a:lnTo>
                  <a:lnTo>
                    <a:pt x="5" y="263"/>
                  </a:lnTo>
                  <a:lnTo>
                    <a:pt x="2" y="242"/>
                  </a:lnTo>
                  <a:lnTo>
                    <a:pt x="0" y="219"/>
                  </a:lnTo>
                  <a:lnTo>
                    <a:pt x="2" y="197"/>
                  </a:lnTo>
                  <a:lnTo>
                    <a:pt x="5" y="175"/>
                  </a:lnTo>
                  <a:lnTo>
                    <a:pt x="10" y="154"/>
                  </a:lnTo>
                  <a:lnTo>
                    <a:pt x="18" y="134"/>
                  </a:lnTo>
                  <a:lnTo>
                    <a:pt x="26" y="114"/>
                  </a:lnTo>
                  <a:lnTo>
                    <a:pt x="38" y="96"/>
                  </a:lnTo>
                  <a:lnTo>
                    <a:pt x="50" y="79"/>
                  </a:lnTo>
                  <a:lnTo>
                    <a:pt x="65" y="63"/>
                  </a:lnTo>
                  <a:lnTo>
                    <a:pt x="80" y="49"/>
                  </a:lnTo>
                  <a:lnTo>
                    <a:pt x="97" y="37"/>
                  </a:lnTo>
                  <a:lnTo>
                    <a:pt x="116" y="26"/>
                  </a:lnTo>
                  <a:lnTo>
                    <a:pt x="134" y="16"/>
                  </a:lnTo>
                  <a:lnTo>
                    <a:pt x="154" y="9"/>
                  </a:lnTo>
                  <a:lnTo>
                    <a:pt x="175" y="3"/>
                  </a:lnTo>
                  <a:lnTo>
                    <a:pt x="198" y="0"/>
                  </a:lnTo>
                  <a:lnTo>
                    <a:pt x="220" y="0"/>
                  </a:lnTo>
                  <a:lnTo>
                    <a:pt x="243" y="0"/>
                  </a:lnTo>
                  <a:lnTo>
                    <a:pt x="265" y="3"/>
                  </a:lnTo>
                  <a:lnTo>
                    <a:pt x="286" y="9"/>
                  </a:lnTo>
                  <a:lnTo>
                    <a:pt x="306" y="16"/>
                  </a:lnTo>
                  <a:lnTo>
                    <a:pt x="325" y="26"/>
                  </a:lnTo>
                  <a:lnTo>
                    <a:pt x="343" y="37"/>
                  </a:lnTo>
                  <a:lnTo>
                    <a:pt x="361" y="49"/>
                  </a:lnTo>
                  <a:lnTo>
                    <a:pt x="375" y="63"/>
                  </a:lnTo>
                  <a:lnTo>
                    <a:pt x="390" y="79"/>
                  </a:lnTo>
                  <a:lnTo>
                    <a:pt x="403" y="96"/>
                  </a:lnTo>
                  <a:lnTo>
                    <a:pt x="414" y="114"/>
                  </a:lnTo>
                  <a:lnTo>
                    <a:pt x="423" y="134"/>
                  </a:lnTo>
                  <a:lnTo>
                    <a:pt x="430" y="154"/>
                  </a:lnTo>
                  <a:lnTo>
                    <a:pt x="435" y="175"/>
                  </a:lnTo>
                  <a:lnTo>
                    <a:pt x="439" y="197"/>
                  </a:lnTo>
                  <a:lnTo>
                    <a:pt x="440" y="219"/>
                  </a:lnTo>
                  <a:lnTo>
                    <a:pt x="439" y="242"/>
                  </a:lnTo>
                  <a:lnTo>
                    <a:pt x="435" y="263"/>
                  </a:lnTo>
                  <a:lnTo>
                    <a:pt x="430" y="284"/>
                  </a:lnTo>
                  <a:lnTo>
                    <a:pt x="423" y="304"/>
                  </a:lnTo>
                  <a:lnTo>
                    <a:pt x="414" y="324"/>
                  </a:lnTo>
                  <a:lnTo>
                    <a:pt x="403" y="342"/>
                  </a:lnTo>
                  <a:lnTo>
                    <a:pt x="390" y="359"/>
                  </a:lnTo>
                  <a:lnTo>
                    <a:pt x="375" y="375"/>
                  </a:lnTo>
                  <a:lnTo>
                    <a:pt x="361" y="388"/>
                  </a:lnTo>
                  <a:lnTo>
                    <a:pt x="343" y="401"/>
                  </a:lnTo>
                  <a:lnTo>
                    <a:pt x="325" y="412"/>
                  </a:lnTo>
                  <a:lnTo>
                    <a:pt x="306" y="422"/>
                  </a:lnTo>
                  <a:lnTo>
                    <a:pt x="286" y="429"/>
                  </a:lnTo>
                  <a:lnTo>
                    <a:pt x="265" y="434"/>
                  </a:lnTo>
                  <a:lnTo>
                    <a:pt x="243" y="438"/>
                  </a:lnTo>
                  <a:lnTo>
                    <a:pt x="22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67">
              <a:extLst>
                <a:ext uri="{FF2B5EF4-FFF2-40B4-BE49-F238E27FC236}">
                  <a16:creationId xmlns:a16="http://schemas.microsoft.com/office/drawing/2014/main" id="{0F5E3289-47EE-4D23-B151-765AF82D5537}"/>
                </a:ext>
              </a:extLst>
            </p:cNvPr>
            <p:cNvSpPr>
              <a:spLocks/>
            </p:cNvSpPr>
            <p:nvPr/>
          </p:nvSpPr>
          <p:spPr bwMode="auto">
            <a:xfrm>
              <a:off x="10387407" y="1972749"/>
              <a:ext cx="23985" cy="121769"/>
            </a:xfrm>
            <a:custGeom>
              <a:avLst/>
              <a:gdLst>
                <a:gd name="T0" fmla="*/ 19 w 39"/>
                <a:gd name="T1" fmla="*/ 200 h 200"/>
                <a:gd name="T2" fmla="*/ 16 w 39"/>
                <a:gd name="T3" fmla="*/ 200 h 200"/>
                <a:gd name="T4" fmla="*/ 12 w 39"/>
                <a:gd name="T5" fmla="*/ 199 h 200"/>
                <a:gd name="T6" fmla="*/ 8 w 39"/>
                <a:gd name="T7" fmla="*/ 196 h 200"/>
                <a:gd name="T8" fmla="*/ 5 w 39"/>
                <a:gd name="T9" fmla="*/ 194 h 200"/>
                <a:gd name="T10" fmla="*/ 2 w 39"/>
                <a:gd name="T11" fmla="*/ 191 h 200"/>
                <a:gd name="T12" fmla="*/ 1 w 39"/>
                <a:gd name="T13" fmla="*/ 187 h 200"/>
                <a:gd name="T14" fmla="*/ 0 w 39"/>
                <a:gd name="T15" fmla="*/ 184 h 200"/>
                <a:gd name="T16" fmla="*/ 0 w 39"/>
                <a:gd name="T17" fmla="*/ 180 h 200"/>
                <a:gd name="T18" fmla="*/ 0 w 39"/>
                <a:gd name="T19" fmla="*/ 20 h 200"/>
                <a:gd name="T20" fmla="*/ 0 w 39"/>
                <a:gd name="T21" fmla="*/ 16 h 200"/>
                <a:gd name="T22" fmla="*/ 1 w 39"/>
                <a:gd name="T23" fmla="*/ 12 h 200"/>
                <a:gd name="T24" fmla="*/ 2 w 39"/>
                <a:gd name="T25" fmla="*/ 8 h 200"/>
                <a:gd name="T26" fmla="*/ 5 w 39"/>
                <a:gd name="T27" fmla="*/ 6 h 200"/>
                <a:gd name="T28" fmla="*/ 8 w 39"/>
                <a:gd name="T29" fmla="*/ 4 h 200"/>
                <a:gd name="T30" fmla="*/ 12 w 39"/>
                <a:gd name="T31" fmla="*/ 1 h 200"/>
                <a:gd name="T32" fmla="*/ 16 w 39"/>
                <a:gd name="T33" fmla="*/ 0 h 200"/>
                <a:gd name="T34" fmla="*/ 19 w 39"/>
                <a:gd name="T35" fmla="*/ 0 h 200"/>
                <a:gd name="T36" fmla="*/ 23 w 39"/>
                <a:gd name="T37" fmla="*/ 0 h 200"/>
                <a:gd name="T38" fmla="*/ 27 w 39"/>
                <a:gd name="T39" fmla="*/ 1 h 200"/>
                <a:gd name="T40" fmla="*/ 31 w 39"/>
                <a:gd name="T41" fmla="*/ 4 h 200"/>
                <a:gd name="T42" fmla="*/ 33 w 39"/>
                <a:gd name="T43" fmla="*/ 6 h 200"/>
                <a:gd name="T44" fmla="*/ 36 w 39"/>
                <a:gd name="T45" fmla="*/ 8 h 200"/>
                <a:gd name="T46" fmla="*/ 38 w 39"/>
                <a:gd name="T47" fmla="*/ 12 h 200"/>
                <a:gd name="T48" fmla="*/ 39 w 39"/>
                <a:gd name="T49" fmla="*/ 16 h 200"/>
                <a:gd name="T50" fmla="*/ 39 w 39"/>
                <a:gd name="T51" fmla="*/ 20 h 200"/>
                <a:gd name="T52" fmla="*/ 39 w 39"/>
                <a:gd name="T53" fmla="*/ 180 h 200"/>
                <a:gd name="T54" fmla="*/ 39 w 39"/>
                <a:gd name="T55" fmla="*/ 184 h 200"/>
                <a:gd name="T56" fmla="*/ 38 w 39"/>
                <a:gd name="T57" fmla="*/ 187 h 200"/>
                <a:gd name="T58" fmla="*/ 36 w 39"/>
                <a:gd name="T59" fmla="*/ 191 h 200"/>
                <a:gd name="T60" fmla="*/ 33 w 39"/>
                <a:gd name="T61" fmla="*/ 194 h 200"/>
                <a:gd name="T62" fmla="*/ 31 w 39"/>
                <a:gd name="T63" fmla="*/ 196 h 200"/>
                <a:gd name="T64" fmla="*/ 27 w 39"/>
                <a:gd name="T65" fmla="*/ 199 h 200"/>
                <a:gd name="T66" fmla="*/ 23 w 39"/>
                <a:gd name="T67" fmla="*/ 200 h 200"/>
                <a:gd name="T68" fmla="*/ 19 w 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0">
                  <a:moveTo>
                    <a:pt x="19" y="200"/>
                  </a:moveTo>
                  <a:lnTo>
                    <a:pt x="16" y="200"/>
                  </a:lnTo>
                  <a:lnTo>
                    <a:pt x="12" y="199"/>
                  </a:lnTo>
                  <a:lnTo>
                    <a:pt x="8" y="196"/>
                  </a:lnTo>
                  <a:lnTo>
                    <a:pt x="5" y="194"/>
                  </a:lnTo>
                  <a:lnTo>
                    <a:pt x="2" y="191"/>
                  </a:lnTo>
                  <a:lnTo>
                    <a:pt x="1" y="187"/>
                  </a:lnTo>
                  <a:lnTo>
                    <a:pt x="0" y="184"/>
                  </a:lnTo>
                  <a:lnTo>
                    <a:pt x="0" y="180"/>
                  </a:lnTo>
                  <a:lnTo>
                    <a:pt x="0" y="20"/>
                  </a:lnTo>
                  <a:lnTo>
                    <a:pt x="0" y="16"/>
                  </a:lnTo>
                  <a:lnTo>
                    <a:pt x="1" y="12"/>
                  </a:lnTo>
                  <a:lnTo>
                    <a:pt x="2" y="8"/>
                  </a:lnTo>
                  <a:lnTo>
                    <a:pt x="5" y="6"/>
                  </a:lnTo>
                  <a:lnTo>
                    <a:pt x="8" y="4"/>
                  </a:lnTo>
                  <a:lnTo>
                    <a:pt x="12" y="1"/>
                  </a:lnTo>
                  <a:lnTo>
                    <a:pt x="16" y="0"/>
                  </a:lnTo>
                  <a:lnTo>
                    <a:pt x="19" y="0"/>
                  </a:lnTo>
                  <a:lnTo>
                    <a:pt x="23" y="0"/>
                  </a:lnTo>
                  <a:lnTo>
                    <a:pt x="27" y="1"/>
                  </a:lnTo>
                  <a:lnTo>
                    <a:pt x="31" y="4"/>
                  </a:lnTo>
                  <a:lnTo>
                    <a:pt x="33" y="6"/>
                  </a:lnTo>
                  <a:lnTo>
                    <a:pt x="36" y="8"/>
                  </a:lnTo>
                  <a:lnTo>
                    <a:pt x="38" y="12"/>
                  </a:lnTo>
                  <a:lnTo>
                    <a:pt x="39" y="16"/>
                  </a:lnTo>
                  <a:lnTo>
                    <a:pt x="39" y="20"/>
                  </a:lnTo>
                  <a:lnTo>
                    <a:pt x="39" y="180"/>
                  </a:lnTo>
                  <a:lnTo>
                    <a:pt x="39" y="184"/>
                  </a:lnTo>
                  <a:lnTo>
                    <a:pt x="38" y="187"/>
                  </a:lnTo>
                  <a:lnTo>
                    <a:pt x="36" y="191"/>
                  </a:lnTo>
                  <a:lnTo>
                    <a:pt x="33" y="194"/>
                  </a:lnTo>
                  <a:lnTo>
                    <a:pt x="31" y="196"/>
                  </a:lnTo>
                  <a:lnTo>
                    <a:pt x="27" y="199"/>
                  </a:lnTo>
                  <a:lnTo>
                    <a:pt x="23" y="200"/>
                  </a:lnTo>
                  <a:lnTo>
                    <a:pt x="19"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68">
              <a:extLst>
                <a:ext uri="{FF2B5EF4-FFF2-40B4-BE49-F238E27FC236}">
                  <a16:creationId xmlns:a16="http://schemas.microsoft.com/office/drawing/2014/main" id="{ABA7F1C4-2840-4B71-9817-A30B00B57685}"/>
                </a:ext>
              </a:extLst>
            </p:cNvPr>
            <p:cNvSpPr>
              <a:spLocks/>
            </p:cNvSpPr>
            <p:nvPr/>
          </p:nvSpPr>
          <p:spPr bwMode="auto">
            <a:xfrm>
              <a:off x="10435376" y="1972749"/>
              <a:ext cx="25830" cy="121769"/>
            </a:xfrm>
            <a:custGeom>
              <a:avLst/>
              <a:gdLst>
                <a:gd name="T0" fmla="*/ 20 w 40"/>
                <a:gd name="T1" fmla="*/ 200 h 200"/>
                <a:gd name="T2" fmla="*/ 16 w 40"/>
                <a:gd name="T3" fmla="*/ 200 h 200"/>
                <a:gd name="T4" fmla="*/ 12 w 40"/>
                <a:gd name="T5" fmla="*/ 199 h 200"/>
                <a:gd name="T6" fmla="*/ 9 w 40"/>
                <a:gd name="T7" fmla="*/ 196 h 200"/>
                <a:gd name="T8" fmla="*/ 6 w 40"/>
                <a:gd name="T9" fmla="*/ 194 h 200"/>
                <a:gd name="T10" fmla="*/ 4 w 40"/>
                <a:gd name="T11" fmla="*/ 191 h 200"/>
                <a:gd name="T12" fmla="*/ 1 w 40"/>
                <a:gd name="T13" fmla="*/ 187 h 200"/>
                <a:gd name="T14" fmla="*/ 0 w 40"/>
                <a:gd name="T15" fmla="*/ 184 h 200"/>
                <a:gd name="T16" fmla="*/ 0 w 40"/>
                <a:gd name="T17" fmla="*/ 180 h 200"/>
                <a:gd name="T18" fmla="*/ 0 w 40"/>
                <a:gd name="T19" fmla="*/ 20 h 200"/>
                <a:gd name="T20" fmla="*/ 0 w 40"/>
                <a:gd name="T21" fmla="*/ 16 h 200"/>
                <a:gd name="T22" fmla="*/ 1 w 40"/>
                <a:gd name="T23" fmla="*/ 12 h 200"/>
                <a:gd name="T24" fmla="*/ 4 w 40"/>
                <a:gd name="T25" fmla="*/ 8 h 200"/>
                <a:gd name="T26" fmla="*/ 6 w 40"/>
                <a:gd name="T27" fmla="*/ 6 h 200"/>
                <a:gd name="T28" fmla="*/ 9 w 40"/>
                <a:gd name="T29" fmla="*/ 4 h 200"/>
                <a:gd name="T30" fmla="*/ 12 w 40"/>
                <a:gd name="T31" fmla="*/ 1 h 200"/>
                <a:gd name="T32" fmla="*/ 16 w 40"/>
                <a:gd name="T33" fmla="*/ 0 h 200"/>
                <a:gd name="T34" fmla="*/ 20 w 40"/>
                <a:gd name="T35" fmla="*/ 0 h 200"/>
                <a:gd name="T36" fmla="*/ 24 w 40"/>
                <a:gd name="T37" fmla="*/ 0 h 200"/>
                <a:gd name="T38" fmla="*/ 27 w 40"/>
                <a:gd name="T39" fmla="*/ 1 h 200"/>
                <a:gd name="T40" fmla="*/ 31 w 40"/>
                <a:gd name="T41" fmla="*/ 4 h 200"/>
                <a:gd name="T42" fmla="*/ 35 w 40"/>
                <a:gd name="T43" fmla="*/ 6 h 200"/>
                <a:gd name="T44" fmla="*/ 37 w 40"/>
                <a:gd name="T45" fmla="*/ 8 h 200"/>
                <a:gd name="T46" fmla="*/ 39 w 40"/>
                <a:gd name="T47" fmla="*/ 12 h 200"/>
                <a:gd name="T48" fmla="*/ 40 w 40"/>
                <a:gd name="T49" fmla="*/ 16 h 200"/>
                <a:gd name="T50" fmla="*/ 40 w 40"/>
                <a:gd name="T51" fmla="*/ 20 h 200"/>
                <a:gd name="T52" fmla="*/ 40 w 40"/>
                <a:gd name="T53" fmla="*/ 180 h 200"/>
                <a:gd name="T54" fmla="*/ 40 w 40"/>
                <a:gd name="T55" fmla="*/ 184 h 200"/>
                <a:gd name="T56" fmla="*/ 39 w 40"/>
                <a:gd name="T57" fmla="*/ 187 h 200"/>
                <a:gd name="T58" fmla="*/ 37 w 40"/>
                <a:gd name="T59" fmla="*/ 191 h 200"/>
                <a:gd name="T60" fmla="*/ 35 w 40"/>
                <a:gd name="T61" fmla="*/ 194 h 200"/>
                <a:gd name="T62" fmla="*/ 31 w 40"/>
                <a:gd name="T63" fmla="*/ 196 h 200"/>
                <a:gd name="T64" fmla="*/ 27 w 40"/>
                <a:gd name="T65" fmla="*/ 199 h 200"/>
                <a:gd name="T66" fmla="*/ 24 w 40"/>
                <a:gd name="T67" fmla="*/ 200 h 200"/>
                <a:gd name="T68" fmla="*/ 20 w 40"/>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00">
                  <a:moveTo>
                    <a:pt x="20" y="200"/>
                  </a:moveTo>
                  <a:lnTo>
                    <a:pt x="16" y="200"/>
                  </a:lnTo>
                  <a:lnTo>
                    <a:pt x="12" y="199"/>
                  </a:lnTo>
                  <a:lnTo>
                    <a:pt x="9" y="196"/>
                  </a:lnTo>
                  <a:lnTo>
                    <a:pt x="6" y="194"/>
                  </a:lnTo>
                  <a:lnTo>
                    <a:pt x="4" y="191"/>
                  </a:lnTo>
                  <a:lnTo>
                    <a:pt x="1" y="187"/>
                  </a:lnTo>
                  <a:lnTo>
                    <a:pt x="0" y="184"/>
                  </a:lnTo>
                  <a:lnTo>
                    <a:pt x="0" y="180"/>
                  </a:lnTo>
                  <a:lnTo>
                    <a:pt x="0" y="20"/>
                  </a:lnTo>
                  <a:lnTo>
                    <a:pt x="0" y="16"/>
                  </a:lnTo>
                  <a:lnTo>
                    <a:pt x="1" y="12"/>
                  </a:lnTo>
                  <a:lnTo>
                    <a:pt x="4" y="8"/>
                  </a:lnTo>
                  <a:lnTo>
                    <a:pt x="6" y="6"/>
                  </a:lnTo>
                  <a:lnTo>
                    <a:pt x="9" y="4"/>
                  </a:lnTo>
                  <a:lnTo>
                    <a:pt x="12" y="1"/>
                  </a:lnTo>
                  <a:lnTo>
                    <a:pt x="16" y="0"/>
                  </a:lnTo>
                  <a:lnTo>
                    <a:pt x="20" y="0"/>
                  </a:lnTo>
                  <a:lnTo>
                    <a:pt x="24" y="0"/>
                  </a:lnTo>
                  <a:lnTo>
                    <a:pt x="27" y="1"/>
                  </a:lnTo>
                  <a:lnTo>
                    <a:pt x="31" y="4"/>
                  </a:lnTo>
                  <a:lnTo>
                    <a:pt x="35" y="6"/>
                  </a:lnTo>
                  <a:lnTo>
                    <a:pt x="37" y="8"/>
                  </a:lnTo>
                  <a:lnTo>
                    <a:pt x="39" y="12"/>
                  </a:lnTo>
                  <a:lnTo>
                    <a:pt x="40" y="16"/>
                  </a:lnTo>
                  <a:lnTo>
                    <a:pt x="40" y="20"/>
                  </a:lnTo>
                  <a:lnTo>
                    <a:pt x="40" y="180"/>
                  </a:lnTo>
                  <a:lnTo>
                    <a:pt x="40" y="184"/>
                  </a:lnTo>
                  <a:lnTo>
                    <a:pt x="39" y="187"/>
                  </a:lnTo>
                  <a:lnTo>
                    <a:pt x="37" y="191"/>
                  </a:lnTo>
                  <a:lnTo>
                    <a:pt x="35" y="194"/>
                  </a:lnTo>
                  <a:lnTo>
                    <a:pt x="31" y="196"/>
                  </a:lnTo>
                  <a:lnTo>
                    <a:pt x="27" y="199"/>
                  </a:lnTo>
                  <a:lnTo>
                    <a:pt x="24" y="200"/>
                  </a:lnTo>
                  <a:lnTo>
                    <a:pt x="2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0" name="Group 63">
            <a:extLst>
              <a:ext uri="{FF2B5EF4-FFF2-40B4-BE49-F238E27FC236}">
                <a16:creationId xmlns:a16="http://schemas.microsoft.com/office/drawing/2014/main" id="{8A5A169F-909B-42E7-A5CE-36C656279FB7}"/>
              </a:ext>
            </a:extLst>
          </p:cNvPr>
          <p:cNvGrpSpPr>
            <a:grpSpLocks noChangeAspect="1"/>
          </p:cNvGrpSpPr>
          <p:nvPr/>
        </p:nvGrpSpPr>
        <p:grpSpPr>
          <a:xfrm>
            <a:off x="1882625" y="3801969"/>
            <a:ext cx="308144" cy="308144"/>
            <a:chOff x="5792788" y="814388"/>
            <a:chExt cx="303213" cy="303213"/>
          </a:xfrm>
          <a:solidFill>
            <a:schemeClr val="bg1"/>
          </a:solidFill>
          <a:effectLst/>
        </p:grpSpPr>
        <p:sp>
          <p:nvSpPr>
            <p:cNvPr id="771" name="Freeform 24">
              <a:extLst>
                <a:ext uri="{FF2B5EF4-FFF2-40B4-BE49-F238E27FC236}">
                  <a16:creationId xmlns:a16="http://schemas.microsoft.com/office/drawing/2014/main" id="{DEDFEFA2-AB87-4130-9EED-3EB857EC1750}"/>
                </a:ext>
              </a:extLst>
            </p:cNvPr>
            <p:cNvSpPr>
              <a:spLocks noEditPoints="1"/>
            </p:cNvSpPr>
            <p:nvPr/>
          </p:nvSpPr>
          <p:spPr bwMode="auto">
            <a:xfrm>
              <a:off x="5792788" y="814388"/>
              <a:ext cx="303213" cy="303213"/>
            </a:xfrm>
            <a:custGeom>
              <a:avLst/>
              <a:gdLst>
                <a:gd name="T0" fmla="*/ 738 w 764"/>
                <a:gd name="T1" fmla="*/ 739 h 765"/>
                <a:gd name="T2" fmla="*/ 25 w 764"/>
                <a:gd name="T3" fmla="*/ 739 h 765"/>
                <a:gd name="T4" fmla="*/ 25 w 764"/>
                <a:gd name="T5" fmla="*/ 26 h 765"/>
                <a:gd name="T6" fmla="*/ 738 w 764"/>
                <a:gd name="T7" fmla="*/ 26 h 765"/>
                <a:gd name="T8" fmla="*/ 738 w 764"/>
                <a:gd name="T9" fmla="*/ 739 h 765"/>
                <a:gd name="T10" fmla="*/ 751 w 764"/>
                <a:gd name="T11" fmla="*/ 0 h 765"/>
                <a:gd name="T12" fmla="*/ 12 w 764"/>
                <a:gd name="T13" fmla="*/ 0 h 765"/>
                <a:gd name="T14" fmla="*/ 8 w 764"/>
                <a:gd name="T15" fmla="*/ 2 h 765"/>
                <a:gd name="T16" fmla="*/ 4 w 764"/>
                <a:gd name="T17" fmla="*/ 5 h 765"/>
                <a:gd name="T18" fmla="*/ 1 w 764"/>
                <a:gd name="T19" fmla="*/ 9 h 765"/>
                <a:gd name="T20" fmla="*/ 0 w 764"/>
                <a:gd name="T21" fmla="*/ 13 h 765"/>
                <a:gd name="T22" fmla="*/ 0 w 764"/>
                <a:gd name="T23" fmla="*/ 752 h 765"/>
                <a:gd name="T24" fmla="*/ 1 w 764"/>
                <a:gd name="T25" fmla="*/ 757 h 765"/>
                <a:gd name="T26" fmla="*/ 4 w 764"/>
                <a:gd name="T27" fmla="*/ 762 h 765"/>
                <a:gd name="T28" fmla="*/ 8 w 764"/>
                <a:gd name="T29" fmla="*/ 764 h 765"/>
                <a:gd name="T30" fmla="*/ 12 w 764"/>
                <a:gd name="T31" fmla="*/ 765 h 765"/>
                <a:gd name="T32" fmla="*/ 751 w 764"/>
                <a:gd name="T33" fmla="*/ 765 h 765"/>
                <a:gd name="T34" fmla="*/ 756 w 764"/>
                <a:gd name="T35" fmla="*/ 764 h 765"/>
                <a:gd name="T36" fmla="*/ 761 w 764"/>
                <a:gd name="T37" fmla="*/ 762 h 765"/>
                <a:gd name="T38" fmla="*/ 763 w 764"/>
                <a:gd name="T39" fmla="*/ 757 h 765"/>
                <a:gd name="T40" fmla="*/ 764 w 764"/>
                <a:gd name="T41" fmla="*/ 752 h 765"/>
                <a:gd name="T42" fmla="*/ 764 w 764"/>
                <a:gd name="T43" fmla="*/ 13 h 765"/>
                <a:gd name="T44" fmla="*/ 763 w 764"/>
                <a:gd name="T45" fmla="*/ 9 h 765"/>
                <a:gd name="T46" fmla="*/ 761 w 764"/>
                <a:gd name="T47" fmla="*/ 5 h 765"/>
                <a:gd name="T48" fmla="*/ 756 w 764"/>
                <a:gd name="T49" fmla="*/ 2 h 765"/>
                <a:gd name="T50" fmla="*/ 751 w 764"/>
                <a:gd name="T5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4" h="765">
                  <a:moveTo>
                    <a:pt x="738" y="739"/>
                  </a:moveTo>
                  <a:lnTo>
                    <a:pt x="25" y="739"/>
                  </a:lnTo>
                  <a:lnTo>
                    <a:pt x="25" y="26"/>
                  </a:lnTo>
                  <a:lnTo>
                    <a:pt x="738" y="26"/>
                  </a:lnTo>
                  <a:lnTo>
                    <a:pt x="738" y="739"/>
                  </a:lnTo>
                  <a:close/>
                  <a:moveTo>
                    <a:pt x="751" y="0"/>
                  </a:moveTo>
                  <a:lnTo>
                    <a:pt x="12" y="0"/>
                  </a:lnTo>
                  <a:lnTo>
                    <a:pt x="8" y="2"/>
                  </a:lnTo>
                  <a:lnTo>
                    <a:pt x="4" y="5"/>
                  </a:lnTo>
                  <a:lnTo>
                    <a:pt x="1" y="9"/>
                  </a:lnTo>
                  <a:lnTo>
                    <a:pt x="0" y="13"/>
                  </a:lnTo>
                  <a:lnTo>
                    <a:pt x="0" y="752"/>
                  </a:lnTo>
                  <a:lnTo>
                    <a:pt x="1" y="757"/>
                  </a:lnTo>
                  <a:lnTo>
                    <a:pt x="4" y="762"/>
                  </a:lnTo>
                  <a:lnTo>
                    <a:pt x="8" y="764"/>
                  </a:lnTo>
                  <a:lnTo>
                    <a:pt x="12" y="765"/>
                  </a:lnTo>
                  <a:lnTo>
                    <a:pt x="751" y="765"/>
                  </a:lnTo>
                  <a:lnTo>
                    <a:pt x="756" y="764"/>
                  </a:lnTo>
                  <a:lnTo>
                    <a:pt x="761" y="762"/>
                  </a:lnTo>
                  <a:lnTo>
                    <a:pt x="763" y="757"/>
                  </a:lnTo>
                  <a:lnTo>
                    <a:pt x="764" y="752"/>
                  </a:lnTo>
                  <a:lnTo>
                    <a:pt x="764" y="13"/>
                  </a:lnTo>
                  <a:lnTo>
                    <a:pt x="763" y="9"/>
                  </a:lnTo>
                  <a:lnTo>
                    <a:pt x="761" y="5"/>
                  </a:lnTo>
                  <a:lnTo>
                    <a:pt x="756" y="2"/>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2" name="Freeform 25">
              <a:extLst>
                <a:ext uri="{FF2B5EF4-FFF2-40B4-BE49-F238E27FC236}">
                  <a16:creationId xmlns:a16="http://schemas.microsoft.com/office/drawing/2014/main" id="{6710C79C-D756-4A9F-AD19-AB53800CBFD1}"/>
                </a:ext>
              </a:extLst>
            </p:cNvPr>
            <p:cNvSpPr>
              <a:spLocks/>
            </p:cNvSpPr>
            <p:nvPr/>
          </p:nvSpPr>
          <p:spPr bwMode="auto">
            <a:xfrm>
              <a:off x="5830888" y="858838"/>
              <a:ext cx="100013" cy="74613"/>
            </a:xfrm>
            <a:custGeom>
              <a:avLst/>
              <a:gdLst>
                <a:gd name="T0" fmla="*/ 68 w 250"/>
                <a:gd name="T1" fmla="*/ 182 h 186"/>
                <a:gd name="T2" fmla="*/ 72 w 250"/>
                <a:gd name="T3" fmla="*/ 185 h 186"/>
                <a:gd name="T4" fmla="*/ 77 w 250"/>
                <a:gd name="T5" fmla="*/ 186 h 186"/>
                <a:gd name="T6" fmla="*/ 82 w 250"/>
                <a:gd name="T7" fmla="*/ 185 h 186"/>
                <a:gd name="T8" fmla="*/ 86 w 250"/>
                <a:gd name="T9" fmla="*/ 182 h 186"/>
                <a:gd name="T10" fmla="*/ 247 w 250"/>
                <a:gd name="T11" fmla="*/ 22 h 186"/>
                <a:gd name="T12" fmla="*/ 249 w 250"/>
                <a:gd name="T13" fmla="*/ 17 h 186"/>
                <a:gd name="T14" fmla="*/ 250 w 250"/>
                <a:gd name="T15" fmla="*/ 12 h 186"/>
                <a:gd name="T16" fmla="*/ 249 w 250"/>
                <a:gd name="T17" fmla="*/ 8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5 h 186"/>
                <a:gd name="T30" fmla="*/ 22 w 250"/>
                <a:gd name="T31" fmla="*/ 99 h 186"/>
                <a:gd name="T32" fmla="*/ 17 w 250"/>
                <a:gd name="T33" fmla="*/ 97 h 186"/>
                <a:gd name="T34" fmla="*/ 13 w 250"/>
                <a:gd name="T35" fmla="*/ 96 h 186"/>
                <a:gd name="T36" fmla="*/ 9 w 250"/>
                <a:gd name="T37" fmla="*/ 97 h 186"/>
                <a:gd name="T38" fmla="*/ 4 w 250"/>
                <a:gd name="T39" fmla="*/ 99 h 186"/>
                <a:gd name="T40" fmla="*/ 1 w 250"/>
                <a:gd name="T41" fmla="*/ 103 h 186"/>
                <a:gd name="T42" fmla="*/ 0 w 250"/>
                <a:gd name="T43" fmla="*/ 109 h 186"/>
                <a:gd name="T44" fmla="*/ 1 w 250"/>
                <a:gd name="T45" fmla="*/ 113 h 186"/>
                <a:gd name="T46" fmla="*/ 4 w 250"/>
                <a:gd name="T47" fmla="*/ 117 h 186"/>
                <a:gd name="T48" fmla="*/ 68 w 250"/>
                <a:gd name="T49" fmla="*/ 1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2"/>
                  </a:moveTo>
                  <a:lnTo>
                    <a:pt x="72" y="185"/>
                  </a:lnTo>
                  <a:lnTo>
                    <a:pt x="77" y="186"/>
                  </a:lnTo>
                  <a:lnTo>
                    <a:pt x="82" y="185"/>
                  </a:lnTo>
                  <a:lnTo>
                    <a:pt x="86" y="182"/>
                  </a:lnTo>
                  <a:lnTo>
                    <a:pt x="247" y="22"/>
                  </a:lnTo>
                  <a:lnTo>
                    <a:pt x="249" y="17"/>
                  </a:lnTo>
                  <a:lnTo>
                    <a:pt x="250" y="12"/>
                  </a:lnTo>
                  <a:lnTo>
                    <a:pt x="249" y="8"/>
                  </a:lnTo>
                  <a:lnTo>
                    <a:pt x="247" y="4"/>
                  </a:lnTo>
                  <a:lnTo>
                    <a:pt x="243" y="1"/>
                  </a:lnTo>
                  <a:lnTo>
                    <a:pt x="237" y="0"/>
                  </a:lnTo>
                  <a:lnTo>
                    <a:pt x="233" y="1"/>
                  </a:lnTo>
                  <a:lnTo>
                    <a:pt x="229" y="4"/>
                  </a:lnTo>
                  <a:lnTo>
                    <a:pt x="77" y="155"/>
                  </a:lnTo>
                  <a:lnTo>
                    <a:pt x="22" y="99"/>
                  </a:lnTo>
                  <a:lnTo>
                    <a:pt x="17" y="97"/>
                  </a:lnTo>
                  <a:lnTo>
                    <a:pt x="13" y="96"/>
                  </a:lnTo>
                  <a:lnTo>
                    <a:pt x="9" y="97"/>
                  </a:lnTo>
                  <a:lnTo>
                    <a:pt x="4" y="99"/>
                  </a:lnTo>
                  <a:lnTo>
                    <a:pt x="1" y="103"/>
                  </a:lnTo>
                  <a:lnTo>
                    <a:pt x="0" y="109"/>
                  </a:lnTo>
                  <a:lnTo>
                    <a:pt x="1" y="113"/>
                  </a:lnTo>
                  <a:lnTo>
                    <a:pt x="4" y="117"/>
                  </a:lnTo>
                  <a:lnTo>
                    <a:pt x="68"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3" name="Freeform 26">
              <a:extLst>
                <a:ext uri="{FF2B5EF4-FFF2-40B4-BE49-F238E27FC236}">
                  <a16:creationId xmlns:a16="http://schemas.microsoft.com/office/drawing/2014/main" id="{F2E7164A-9C9D-475E-86B0-3EBFFF5758F6}"/>
                </a:ext>
              </a:extLst>
            </p:cNvPr>
            <p:cNvSpPr>
              <a:spLocks/>
            </p:cNvSpPr>
            <p:nvPr/>
          </p:nvSpPr>
          <p:spPr bwMode="auto">
            <a:xfrm>
              <a:off x="5830888" y="979488"/>
              <a:ext cx="100013" cy="73025"/>
            </a:xfrm>
            <a:custGeom>
              <a:avLst/>
              <a:gdLst>
                <a:gd name="T0" fmla="*/ 68 w 250"/>
                <a:gd name="T1" fmla="*/ 183 h 186"/>
                <a:gd name="T2" fmla="*/ 72 w 250"/>
                <a:gd name="T3" fmla="*/ 185 h 186"/>
                <a:gd name="T4" fmla="*/ 77 w 250"/>
                <a:gd name="T5" fmla="*/ 186 h 186"/>
                <a:gd name="T6" fmla="*/ 82 w 250"/>
                <a:gd name="T7" fmla="*/ 185 h 186"/>
                <a:gd name="T8" fmla="*/ 86 w 250"/>
                <a:gd name="T9" fmla="*/ 183 h 186"/>
                <a:gd name="T10" fmla="*/ 247 w 250"/>
                <a:gd name="T11" fmla="*/ 22 h 186"/>
                <a:gd name="T12" fmla="*/ 249 w 250"/>
                <a:gd name="T13" fmla="*/ 17 h 186"/>
                <a:gd name="T14" fmla="*/ 250 w 250"/>
                <a:gd name="T15" fmla="*/ 13 h 186"/>
                <a:gd name="T16" fmla="*/ 249 w 250"/>
                <a:gd name="T17" fmla="*/ 9 h 186"/>
                <a:gd name="T18" fmla="*/ 247 w 250"/>
                <a:gd name="T19" fmla="*/ 4 h 186"/>
                <a:gd name="T20" fmla="*/ 243 w 250"/>
                <a:gd name="T21" fmla="*/ 1 h 186"/>
                <a:gd name="T22" fmla="*/ 237 w 250"/>
                <a:gd name="T23" fmla="*/ 0 h 186"/>
                <a:gd name="T24" fmla="*/ 233 w 250"/>
                <a:gd name="T25" fmla="*/ 1 h 186"/>
                <a:gd name="T26" fmla="*/ 229 w 250"/>
                <a:gd name="T27" fmla="*/ 4 h 186"/>
                <a:gd name="T28" fmla="*/ 77 w 250"/>
                <a:gd name="T29" fmla="*/ 156 h 186"/>
                <a:gd name="T30" fmla="*/ 22 w 250"/>
                <a:gd name="T31" fmla="*/ 101 h 186"/>
                <a:gd name="T32" fmla="*/ 17 w 250"/>
                <a:gd name="T33" fmla="*/ 98 h 186"/>
                <a:gd name="T34" fmla="*/ 13 w 250"/>
                <a:gd name="T35" fmla="*/ 97 h 186"/>
                <a:gd name="T36" fmla="*/ 9 w 250"/>
                <a:gd name="T37" fmla="*/ 98 h 186"/>
                <a:gd name="T38" fmla="*/ 4 w 250"/>
                <a:gd name="T39" fmla="*/ 101 h 186"/>
                <a:gd name="T40" fmla="*/ 1 w 250"/>
                <a:gd name="T41" fmla="*/ 105 h 186"/>
                <a:gd name="T42" fmla="*/ 0 w 250"/>
                <a:gd name="T43" fmla="*/ 110 h 186"/>
                <a:gd name="T44" fmla="*/ 1 w 250"/>
                <a:gd name="T45" fmla="*/ 115 h 186"/>
                <a:gd name="T46" fmla="*/ 4 w 250"/>
                <a:gd name="T47" fmla="*/ 119 h 186"/>
                <a:gd name="T48" fmla="*/ 68 w 250"/>
                <a:gd name="T49" fmla="*/ 18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186">
                  <a:moveTo>
                    <a:pt x="68" y="183"/>
                  </a:moveTo>
                  <a:lnTo>
                    <a:pt x="72" y="185"/>
                  </a:lnTo>
                  <a:lnTo>
                    <a:pt x="77" y="186"/>
                  </a:lnTo>
                  <a:lnTo>
                    <a:pt x="82" y="185"/>
                  </a:lnTo>
                  <a:lnTo>
                    <a:pt x="86" y="183"/>
                  </a:lnTo>
                  <a:lnTo>
                    <a:pt x="247" y="22"/>
                  </a:lnTo>
                  <a:lnTo>
                    <a:pt x="249" y="17"/>
                  </a:lnTo>
                  <a:lnTo>
                    <a:pt x="250" y="13"/>
                  </a:lnTo>
                  <a:lnTo>
                    <a:pt x="249" y="9"/>
                  </a:lnTo>
                  <a:lnTo>
                    <a:pt x="247" y="4"/>
                  </a:lnTo>
                  <a:lnTo>
                    <a:pt x="243" y="1"/>
                  </a:lnTo>
                  <a:lnTo>
                    <a:pt x="237" y="0"/>
                  </a:lnTo>
                  <a:lnTo>
                    <a:pt x="233" y="1"/>
                  </a:lnTo>
                  <a:lnTo>
                    <a:pt x="229" y="4"/>
                  </a:lnTo>
                  <a:lnTo>
                    <a:pt x="77" y="156"/>
                  </a:lnTo>
                  <a:lnTo>
                    <a:pt x="22" y="101"/>
                  </a:lnTo>
                  <a:lnTo>
                    <a:pt x="17" y="98"/>
                  </a:lnTo>
                  <a:lnTo>
                    <a:pt x="13" y="97"/>
                  </a:lnTo>
                  <a:lnTo>
                    <a:pt x="9" y="98"/>
                  </a:lnTo>
                  <a:lnTo>
                    <a:pt x="4" y="101"/>
                  </a:lnTo>
                  <a:lnTo>
                    <a:pt x="1" y="105"/>
                  </a:lnTo>
                  <a:lnTo>
                    <a:pt x="0" y="110"/>
                  </a:lnTo>
                  <a:lnTo>
                    <a:pt x="1" y="115"/>
                  </a:lnTo>
                  <a:lnTo>
                    <a:pt x="4" y="119"/>
                  </a:lnTo>
                  <a:lnTo>
                    <a:pt x="68"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4" name="Freeform 27">
              <a:extLst>
                <a:ext uri="{FF2B5EF4-FFF2-40B4-BE49-F238E27FC236}">
                  <a16:creationId xmlns:a16="http://schemas.microsoft.com/office/drawing/2014/main" id="{CFB9DBCD-8DF6-4434-8AB0-809B0E03B411}"/>
                </a:ext>
              </a:extLst>
            </p:cNvPr>
            <p:cNvSpPr>
              <a:spLocks/>
            </p:cNvSpPr>
            <p:nvPr/>
          </p:nvSpPr>
          <p:spPr bwMode="auto">
            <a:xfrm>
              <a:off x="5945188" y="915988"/>
              <a:ext cx="112713" cy="9525"/>
            </a:xfrm>
            <a:custGeom>
              <a:avLst/>
              <a:gdLst>
                <a:gd name="T0" fmla="*/ 13 w 282"/>
                <a:gd name="T1" fmla="*/ 26 h 26"/>
                <a:gd name="T2" fmla="*/ 269 w 282"/>
                <a:gd name="T3" fmla="*/ 26 h 26"/>
                <a:gd name="T4" fmla="*/ 275 w 282"/>
                <a:gd name="T5" fmla="*/ 25 h 26"/>
                <a:gd name="T6" fmla="*/ 279 w 282"/>
                <a:gd name="T7" fmla="*/ 22 h 26"/>
                <a:gd name="T8" fmla="*/ 281 w 282"/>
                <a:gd name="T9" fmla="*/ 18 h 26"/>
                <a:gd name="T10" fmla="*/ 282 w 282"/>
                <a:gd name="T11" fmla="*/ 13 h 26"/>
                <a:gd name="T12" fmla="*/ 281 w 282"/>
                <a:gd name="T13" fmla="*/ 8 h 26"/>
                <a:gd name="T14" fmla="*/ 279 w 282"/>
                <a:gd name="T15" fmla="*/ 4 h 26"/>
                <a:gd name="T16" fmla="*/ 275 w 282"/>
                <a:gd name="T17" fmla="*/ 1 h 26"/>
                <a:gd name="T18" fmla="*/ 269 w 282"/>
                <a:gd name="T19" fmla="*/ 0 h 26"/>
                <a:gd name="T20" fmla="*/ 13 w 282"/>
                <a:gd name="T21" fmla="*/ 0 h 26"/>
                <a:gd name="T22" fmla="*/ 9 w 282"/>
                <a:gd name="T23" fmla="*/ 1 h 26"/>
                <a:gd name="T24" fmla="*/ 4 w 282"/>
                <a:gd name="T25" fmla="*/ 4 h 26"/>
                <a:gd name="T26" fmla="*/ 1 w 282"/>
                <a:gd name="T27" fmla="*/ 8 h 26"/>
                <a:gd name="T28" fmla="*/ 0 w 282"/>
                <a:gd name="T29" fmla="*/ 13 h 26"/>
                <a:gd name="T30" fmla="*/ 1 w 282"/>
                <a:gd name="T31" fmla="*/ 18 h 26"/>
                <a:gd name="T32" fmla="*/ 4 w 282"/>
                <a:gd name="T33" fmla="*/ 22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2"/>
                  </a:lnTo>
                  <a:lnTo>
                    <a:pt x="281" y="18"/>
                  </a:lnTo>
                  <a:lnTo>
                    <a:pt x="282" y="13"/>
                  </a:lnTo>
                  <a:lnTo>
                    <a:pt x="281" y="8"/>
                  </a:lnTo>
                  <a:lnTo>
                    <a:pt x="279" y="4"/>
                  </a:lnTo>
                  <a:lnTo>
                    <a:pt x="275" y="1"/>
                  </a:lnTo>
                  <a:lnTo>
                    <a:pt x="269" y="0"/>
                  </a:lnTo>
                  <a:lnTo>
                    <a:pt x="13" y="0"/>
                  </a:lnTo>
                  <a:lnTo>
                    <a:pt x="9" y="1"/>
                  </a:lnTo>
                  <a:lnTo>
                    <a:pt x="4" y="4"/>
                  </a:lnTo>
                  <a:lnTo>
                    <a:pt x="1" y="8"/>
                  </a:lnTo>
                  <a:lnTo>
                    <a:pt x="0" y="13"/>
                  </a:lnTo>
                  <a:lnTo>
                    <a:pt x="1" y="18"/>
                  </a:lnTo>
                  <a:lnTo>
                    <a:pt x="4" y="22"/>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5" name="Freeform 28">
              <a:extLst>
                <a:ext uri="{FF2B5EF4-FFF2-40B4-BE49-F238E27FC236}">
                  <a16:creationId xmlns:a16="http://schemas.microsoft.com/office/drawing/2014/main" id="{8B8BB423-BE21-45EA-B3C1-4B6896C3C860}"/>
                </a:ext>
              </a:extLst>
            </p:cNvPr>
            <p:cNvSpPr>
              <a:spLocks/>
            </p:cNvSpPr>
            <p:nvPr/>
          </p:nvSpPr>
          <p:spPr bwMode="auto">
            <a:xfrm>
              <a:off x="5945188" y="1025526"/>
              <a:ext cx="112713" cy="11113"/>
            </a:xfrm>
            <a:custGeom>
              <a:avLst/>
              <a:gdLst>
                <a:gd name="T0" fmla="*/ 13 w 282"/>
                <a:gd name="T1" fmla="*/ 26 h 26"/>
                <a:gd name="T2" fmla="*/ 269 w 282"/>
                <a:gd name="T3" fmla="*/ 26 h 26"/>
                <a:gd name="T4" fmla="*/ 275 w 282"/>
                <a:gd name="T5" fmla="*/ 25 h 26"/>
                <a:gd name="T6" fmla="*/ 279 w 282"/>
                <a:gd name="T7" fmla="*/ 23 h 26"/>
                <a:gd name="T8" fmla="*/ 281 w 282"/>
                <a:gd name="T9" fmla="*/ 18 h 26"/>
                <a:gd name="T10" fmla="*/ 282 w 282"/>
                <a:gd name="T11" fmla="*/ 13 h 26"/>
                <a:gd name="T12" fmla="*/ 281 w 282"/>
                <a:gd name="T13" fmla="*/ 9 h 26"/>
                <a:gd name="T14" fmla="*/ 279 w 282"/>
                <a:gd name="T15" fmla="*/ 5 h 26"/>
                <a:gd name="T16" fmla="*/ 275 w 282"/>
                <a:gd name="T17" fmla="*/ 1 h 26"/>
                <a:gd name="T18" fmla="*/ 269 w 282"/>
                <a:gd name="T19" fmla="*/ 0 h 26"/>
                <a:gd name="T20" fmla="*/ 13 w 282"/>
                <a:gd name="T21" fmla="*/ 0 h 26"/>
                <a:gd name="T22" fmla="*/ 9 w 282"/>
                <a:gd name="T23" fmla="*/ 1 h 26"/>
                <a:gd name="T24" fmla="*/ 4 w 282"/>
                <a:gd name="T25" fmla="*/ 5 h 26"/>
                <a:gd name="T26" fmla="*/ 1 w 282"/>
                <a:gd name="T27" fmla="*/ 9 h 26"/>
                <a:gd name="T28" fmla="*/ 0 w 282"/>
                <a:gd name="T29" fmla="*/ 13 h 26"/>
                <a:gd name="T30" fmla="*/ 1 w 282"/>
                <a:gd name="T31" fmla="*/ 18 h 26"/>
                <a:gd name="T32" fmla="*/ 4 w 282"/>
                <a:gd name="T33" fmla="*/ 23 h 26"/>
                <a:gd name="T34" fmla="*/ 9 w 282"/>
                <a:gd name="T35" fmla="*/ 25 h 26"/>
                <a:gd name="T36" fmla="*/ 13 w 282"/>
                <a:gd name="T3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26">
                  <a:moveTo>
                    <a:pt x="13" y="26"/>
                  </a:moveTo>
                  <a:lnTo>
                    <a:pt x="269" y="26"/>
                  </a:lnTo>
                  <a:lnTo>
                    <a:pt x="275" y="25"/>
                  </a:lnTo>
                  <a:lnTo>
                    <a:pt x="279" y="23"/>
                  </a:lnTo>
                  <a:lnTo>
                    <a:pt x="281" y="18"/>
                  </a:lnTo>
                  <a:lnTo>
                    <a:pt x="282" y="13"/>
                  </a:lnTo>
                  <a:lnTo>
                    <a:pt x="281" y="9"/>
                  </a:lnTo>
                  <a:lnTo>
                    <a:pt x="279" y="5"/>
                  </a:lnTo>
                  <a:lnTo>
                    <a:pt x="275" y="1"/>
                  </a:lnTo>
                  <a:lnTo>
                    <a:pt x="269" y="0"/>
                  </a:lnTo>
                  <a:lnTo>
                    <a:pt x="13" y="0"/>
                  </a:lnTo>
                  <a:lnTo>
                    <a:pt x="9" y="1"/>
                  </a:lnTo>
                  <a:lnTo>
                    <a:pt x="4" y="5"/>
                  </a:lnTo>
                  <a:lnTo>
                    <a:pt x="1" y="9"/>
                  </a:lnTo>
                  <a:lnTo>
                    <a:pt x="0" y="13"/>
                  </a:lnTo>
                  <a:lnTo>
                    <a:pt x="1" y="18"/>
                  </a:lnTo>
                  <a:lnTo>
                    <a:pt x="4" y="23"/>
                  </a:lnTo>
                  <a:lnTo>
                    <a:pt x="9" y="25"/>
                  </a:lnTo>
                  <a:lnTo>
                    <a:pt x="1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91" name="Group 112">
            <a:extLst>
              <a:ext uri="{FF2B5EF4-FFF2-40B4-BE49-F238E27FC236}">
                <a16:creationId xmlns:a16="http://schemas.microsoft.com/office/drawing/2014/main" id="{990AE082-20A0-49CB-AB96-C61EB6B8A653}"/>
              </a:ext>
            </a:extLst>
          </p:cNvPr>
          <p:cNvGrpSpPr>
            <a:grpSpLocks noChangeAspect="1"/>
          </p:cNvGrpSpPr>
          <p:nvPr/>
        </p:nvGrpSpPr>
        <p:grpSpPr>
          <a:xfrm>
            <a:off x="2304045" y="3801969"/>
            <a:ext cx="308144" cy="308144"/>
            <a:chOff x="11601450" y="1933576"/>
            <a:chExt cx="285750" cy="285750"/>
          </a:xfrm>
          <a:solidFill>
            <a:schemeClr val="bg1"/>
          </a:solidFill>
          <a:effectLst/>
        </p:grpSpPr>
        <p:sp>
          <p:nvSpPr>
            <p:cNvPr id="792" name="Freeform 293">
              <a:extLst>
                <a:ext uri="{FF2B5EF4-FFF2-40B4-BE49-F238E27FC236}">
                  <a16:creationId xmlns:a16="http://schemas.microsoft.com/office/drawing/2014/main" id="{31BC1D4E-BEC6-4B96-8F1E-C97385C6F3CE}"/>
                </a:ext>
              </a:extLst>
            </p:cNvPr>
            <p:cNvSpPr>
              <a:spLocks noEditPoints="1"/>
            </p:cNvSpPr>
            <p:nvPr/>
          </p:nvSpPr>
          <p:spPr bwMode="auto">
            <a:xfrm>
              <a:off x="11744325" y="1933576"/>
              <a:ext cx="142875" cy="190500"/>
            </a:xfrm>
            <a:custGeom>
              <a:avLst/>
              <a:gdLst>
                <a:gd name="T0" fmla="*/ 29 w 450"/>
                <a:gd name="T1" fmla="*/ 570 h 600"/>
                <a:gd name="T2" fmla="*/ 29 w 450"/>
                <a:gd name="T3" fmla="*/ 30 h 600"/>
                <a:gd name="T4" fmla="*/ 270 w 450"/>
                <a:gd name="T5" fmla="*/ 30 h 600"/>
                <a:gd name="T6" fmla="*/ 270 w 450"/>
                <a:gd name="T7" fmla="*/ 165 h 600"/>
                <a:gd name="T8" fmla="*/ 270 w 450"/>
                <a:gd name="T9" fmla="*/ 168 h 600"/>
                <a:gd name="T10" fmla="*/ 271 w 450"/>
                <a:gd name="T11" fmla="*/ 171 h 600"/>
                <a:gd name="T12" fmla="*/ 272 w 450"/>
                <a:gd name="T13" fmla="*/ 173 h 600"/>
                <a:gd name="T14" fmla="*/ 275 w 450"/>
                <a:gd name="T15" fmla="*/ 175 h 600"/>
                <a:gd name="T16" fmla="*/ 277 w 450"/>
                <a:gd name="T17" fmla="*/ 178 h 600"/>
                <a:gd name="T18" fmla="*/ 279 w 450"/>
                <a:gd name="T19" fmla="*/ 179 h 600"/>
                <a:gd name="T20" fmla="*/ 282 w 450"/>
                <a:gd name="T21" fmla="*/ 180 h 600"/>
                <a:gd name="T22" fmla="*/ 285 w 450"/>
                <a:gd name="T23" fmla="*/ 180 h 600"/>
                <a:gd name="T24" fmla="*/ 420 w 450"/>
                <a:gd name="T25" fmla="*/ 180 h 600"/>
                <a:gd name="T26" fmla="*/ 420 w 450"/>
                <a:gd name="T27" fmla="*/ 570 h 600"/>
                <a:gd name="T28" fmla="*/ 29 w 450"/>
                <a:gd name="T29" fmla="*/ 570 h 600"/>
                <a:gd name="T30" fmla="*/ 300 w 450"/>
                <a:gd name="T31" fmla="*/ 52 h 600"/>
                <a:gd name="T32" fmla="*/ 399 w 450"/>
                <a:gd name="T33" fmla="*/ 150 h 600"/>
                <a:gd name="T34" fmla="*/ 300 w 450"/>
                <a:gd name="T35" fmla="*/ 150 h 600"/>
                <a:gd name="T36" fmla="*/ 300 w 450"/>
                <a:gd name="T37" fmla="*/ 52 h 600"/>
                <a:gd name="T38" fmla="*/ 446 w 450"/>
                <a:gd name="T39" fmla="*/ 154 h 600"/>
                <a:gd name="T40" fmla="*/ 296 w 450"/>
                <a:gd name="T41" fmla="*/ 4 h 600"/>
                <a:gd name="T42" fmla="*/ 293 w 450"/>
                <a:gd name="T43" fmla="*/ 2 h 600"/>
                <a:gd name="T44" fmla="*/ 291 w 450"/>
                <a:gd name="T45" fmla="*/ 1 h 600"/>
                <a:gd name="T46" fmla="*/ 287 w 450"/>
                <a:gd name="T47" fmla="*/ 0 h 600"/>
                <a:gd name="T48" fmla="*/ 285 w 450"/>
                <a:gd name="T49" fmla="*/ 0 h 600"/>
                <a:gd name="T50" fmla="*/ 15 w 450"/>
                <a:gd name="T51" fmla="*/ 0 h 600"/>
                <a:gd name="T52" fmla="*/ 11 w 450"/>
                <a:gd name="T53" fmla="*/ 0 h 600"/>
                <a:gd name="T54" fmla="*/ 8 w 450"/>
                <a:gd name="T55" fmla="*/ 1 h 600"/>
                <a:gd name="T56" fmla="*/ 6 w 450"/>
                <a:gd name="T57" fmla="*/ 2 h 600"/>
                <a:gd name="T58" fmla="*/ 4 w 450"/>
                <a:gd name="T59" fmla="*/ 4 h 600"/>
                <a:gd name="T60" fmla="*/ 2 w 450"/>
                <a:gd name="T61" fmla="*/ 6 h 600"/>
                <a:gd name="T62" fmla="*/ 1 w 450"/>
                <a:gd name="T63" fmla="*/ 10 h 600"/>
                <a:gd name="T64" fmla="*/ 0 w 450"/>
                <a:gd name="T65" fmla="*/ 12 h 600"/>
                <a:gd name="T66" fmla="*/ 0 w 450"/>
                <a:gd name="T67" fmla="*/ 15 h 600"/>
                <a:gd name="T68" fmla="*/ 0 w 450"/>
                <a:gd name="T69" fmla="*/ 585 h 600"/>
                <a:gd name="T70" fmla="*/ 0 w 450"/>
                <a:gd name="T71" fmla="*/ 589 h 600"/>
                <a:gd name="T72" fmla="*/ 1 w 450"/>
                <a:gd name="T73" fmla="*/ 592 h 600"/>
                <a:gd name="T74" fmla="*/ 2 w 450"/>
                <a:gd name="T75" fmla="*/ 594 h 600"/>
                <a:gd name="T76" fmla="*/ 4 w 450"/>
                <a:gd name="T77" fmla="*/ 596 h 600"/>
                <a:gd name="T78" fmla="*/ 6 w 450"/>
                <a:gd name="T79" fmla="*/ 598 h 600"/>
                <a:gd name="T80" fmla="*/ 8 w 450"/>
                <a:gd name="T81" fmla="*/ 599 h 600"/>
                <a:gd name="T82" fmla="*/ 11 w 450"/>
                <a:gd name="T83" fmla="*/ 600 h 600"/>
                <a:gd name="T84" fmla="*/ 15 w 450"/>
                <a:gd name="T85" fmla="*/ 600 h 600"/>
                <a:gd name="T86" fmla="*/ 435 w 450"/>
                <a:gd name="T87" fmla="*/ 600 h 600"/>
                <a:gd name="T88" fmla="*/ 438 w 450"/>
                <a:gd name="T89" fmla="*/ 600 h 600"/>
                <a:gd name="T90" fmla="*/ 440 w 450"/>
                <a:gd name="T91" fmla="*/ 599 h 600"/>
                <a:gd name="T92" fmla="*/ 444 w 450"/>
                <a:gd name="T93" fmla="*/ 598 h 600"/>
                <a:gd name="T94" fmla="*/ 446 w 450"/>
                <a:gd name="T95" fmla="*/ 596 h 600"/>
                <a:gd name="T96" fmla="*/ 448 w 450"/>
                <a:gd name="T97" fmla="*/ 594 h 600"/>
                <a:gd name="T98" fmla="*/ 449 w 450"/>
                <a:gd name="T99" fmla="*/ 592 h 600"/>
                <a:gd name="T100" fmla="*/ 450 w 450"/>
                <a:gd name="T101" fmla="*/ 589 h 600"/>
                <a:gd name="T102" fmla="*/ 450 w 450"/>
                <a:gd name="T103" fmla="*/ 585 h 600"/>
                <a:gd name="T104" fmla="*/ 450 w 450"/>
                <a:gd name="T105" fmla="*/ 165 h 600"/>
                <a:gd name="T106" fmla="*/ 449 w 450"/>
                <a:gd name="T107" fmla="*/ 159 h 600"/>
                <a:gd name="T108" fmla="*/ 446 w 450"/>
                <a:gd name="T109" fmla="*/ 15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600">
                  <a:moveTo>
                    <a:pt x="29" y="570"/>
                  </a:moveTo>
                  <a:lnTo>
                    <a:pt x="29" y="30"/>
                  </a:lnTo>
                  <a:lnTo>
                    <a:pt x="270" y="30"/>
                  </a:lnTo>
                  <a:lnTo>
                    <a:pt x="270" y="165"/>
                  </a:lnTo>
                  <a:lnTo>
                    <a:pt x="270" y="168"/>
                  </a:lnTo>
                  <a:lnTo>
                    <a:pt x="271" y="171"/>
                  </a:lnTo>
                  <a:lnTo>
                    <a:pt x="272" y="173"/>
                  </a:lnTo>
                  <a:lnTo>
                    <a:pt x="275" y="175"/>
                  </a:lnTo>
                  <a:lnTo>
                    <a:pt x="277" y="178"/>
                  </a:lnTo>
                  <a:lnTo>
                    <a:pt x="279" y="179"/>
                  </a:lnTo>
                  <a:lnTo>
                    <a:pt x="282" y="180"/>
                  </a:lnTo>
                  <a:lnTo>
                    <a:pt x="285" y="180"/>
                  </a:lnTo>
                  <a:lnTo>
                    <a:pt x="420" y="180"/>
                  </a:lnTo>
                  <a:lnTo>
                    <a:pt x="420" y="570"/>
                  </a:lnTo>
                  <a:lnTo>
                    <a:pt x="29" y="570"/>
                  </a:lnTo>
                  <a:close/>
                  <a:moveTo>
                    <a:pt x="300" y="52"/>
                  </a:moveTo>
                  <a:lnTo>
                    <a:pt x="399" y="150"/>
                  </a:lnTo>
                  <a:lnTo>
                    <a:pt x="300" y="150"/>
                  </a:lnTo>
                  <a:lnTo>
                    <a:pt x="300" y="52"/>
                  </a:lnTo>
                  <a:close/>
                  <a:moveTo>
                    <a:pt x="446" y="154"/>
                  </a:moveTo>
                  <a:lnTo>
                    <a:pt x="296" y="4"/>
                  </a:lnTo>
                  <a:lnTo>
                    <a:pt x="293" y="2"/>
                  </a:lnTo>
                  <a:lnTo>
                    <a:pt x="291" y="1"/>
                  </a:lnTo>
                  <a:lnTo>
                    <a:pt x="287" y="0"/>
                  </a:lnTo>
                  <a:lnTo>
                    <a:pt x="285" y="0"/>
                  </a:lnTo>
                  <a:lnTo>
                    <a:pt x="15" y="0"/>
                  </a:lnTo>
                  <a:lnTo>
                    <a:pt x="11" y="0"/>
                  </a:lnTo>
                  <a:lnTo>
                    <a:pt x="8" y="1"/>
                  </a:lnTo>
                  <a:lnTo>
                    <a:pt x="6" y="2"/>
                  </a:lnTo>
                  <a:lnTo>
                    <a:pt x="4" y="4"/>
                  </a:lnTo>
                  <a:lnTo>
                    <a:pt x="2" y="6"/>
                  </a:lnTo>
                  <a:lnTo>
                    <a:pt x="1" y="10"/>
                  </a:lnTo>
                  <a:lnTo>
                    <a:pt x="0" y="12"/>
                  </a:lnTo>
                  <a:lnTo>
                    <a:pt x="0" y="15"/>
                  </a:lnTo>
                  <a:lnTo>
                    <a:pt x="0" y="585"/>
                  </a:lnTo>
                  <a:lnTo>
                    <a:pt x="0" y="589"/>
                  </a:lnTo>
                  <a:lnTo>
                    <a:pt x="1" y="592"/>
                  </a:lnTo>
                  <a:lnTo>
                    <a:pt x="2" y="594"/>
                  </a:lnTo>
                  <a:lnTo>
                    <a:pt x="4" y="596"/>
                  </a:lnTo>
                  <a:lnTo>
                    <a:pt x="6" y="598"/>
                  </a:lnTo>
                  <a:lnTo>
                    <a:pt x="8" y="599"/>
                  </a:lnTo>
                  <a:lnTo>
                    <a:pt x="11" y="600"/>
                  </a:lnTo>
                  <a:lnTo>
                    <a:pt x="15" y="600"/>
                  </a:lnTo>
                  <a:lnTo>
                    <a:pt x="435" y="600"/>
                  </a:lnTo>
                  <a:lnTo>
                    <a:pt x="438" y="600"/>
                  </a:lnTo>
                  <a:lnTo>
                    <a:pt x="440" y="599"/>
                  </a:lnTo>
                  <a:lnTo>
                    <a:pt x="444" y="598"/>
                  </a:lnTo>
                  <a:lnTo>
                    <a:pt x="446" y="596"/>
                  </a:lnTo>
                  <a:lnTo>
                    <a:pt x="448" y="594"/>
                  </a:lnTo>
                  <a:lnTo>
                    <a:pt x="449" y="592"/>
                  </a:lnTo>
                  <a:lnTo>
                    <a:pt x="450" y="589"/>
                  </a:lnTo>
                  <a:lnTo>
                    <a:pt x="450" y="585"/>
                  </a:lnTo>
                  <a:lnTo>
                    <a:pt x="450" y="165"/>
                  </a:lnTo>
                  <a:lnTo>
                    <a:pt x="449" y="159"/>
                  </a:lnTo>
                  <a:lnTo>
                    <a:pt x="44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3" name="Freeform 294">
              <a:extLst>
                <a:ext uri="{FF2B5EF4-FFF2-40B4-BE49-F238E27FC236}">
                  <a16:creationId xmlns:a16="http://schemas.microsoft.com/office/drawing/2014/main" id="{8ED017E4-8E16-4B31-A1DD-1A13B1C3E563}"/>
                </a:ext>
              </a:extLst>
            </p:cNvPr>
            <p:cNvSpPr>
              <a:spLocks noEditPoints="1"/>
            </p:cNvSpPr>
            <p:nvPr/>
          </p:nvSpPr>
          <p:spPr bwMode="auto">
            <a:xfrm>
              <a:off x="11601450" y="2124076"/>
              <a:ext cx="261938" cy="95250"/>
            </a:xfrm>
            <a:custGeom>
              <a:avLst/>
              <a:gdLst>
                <a:gd name="T0" fmla="*/ 298 w 825"/>
                <a:gd name="T1" fmla="*/ 60 h 301"/>
                <a:gd name="T2" fmla="*/ 354 w 825"/>
                <a:gd name="T3" fmla="*/ 77 h 301"/>
                <a:gd name="T4" fmla="*/ 396 w 825"/>
                <a:gd name="T5" fmla="*/ 103 h 301"/>
                <a:gd name="T6" fmla="*/ 261 w 825"/>
                <a:gd name="T7" fmla="*/ 120 h 301"/>
                <a:gd name="T8" fmla="*/ 253 w 825"/>
                <a:gd name="T9" fmla="*/ 123 h 301"/>
                <a:gd name="T10" fmla="*/ 247 w 825"/>
                <a:gd name="T11" fmla="*/ 130 h 301"/>
                <a:gd name="T12" fmla="*/ 246 w 825"/>
                <a:gd name="T13" fmla="*/ 138 h 301"/>
                <a:gd name="T14" fmla="*/ 250 w 825"/>
                <a:gd name="T15" fmla="*/ 147 h 301"/>
                <a:gd name="T16" fmla="*/ 258 w 825"/>
                <a:gd name="T17" fmla="*/ 150 h 301"/>
                <a:gd name="T18" fmla="*/ 546 w 825"/>
                <a:gd name="T19" fmla="*/ 151 h 301"/>
                <a:gd name="T20" fmla="*/ 604 w 825"/>
                <a:gd name="T21" fmla="*/ 155 h 301"/>
                <a:gd name="T22" fmla="*/ 658 w 825"/>
                <a:gd name="T23" fmla="*/ 165 h 301"/>
                <a:gd name="T24" fmla="*/ 706 w 825"/>
                <a:gd name="T25" fmla="*/ 180 h 301"/>
                <a:gd name="T26" fmla="*/ 747 w 825"/>
                <a:gd name="T27" fmla="*/ 199 h 301"/>
                <a:gd name="T28" fmla="*/ 777 w 825"/>
                <a:gd name="T29" fmla="*/ 221 h 301"/>
                <a:gd name="T30" fmla="*/ 182 w 825"/>
                <a:gd name="T31" fmla="*/ 241 h 301"/>
                <a:gd name="T32" fmla="*/ 30 w 825"/>
                <a:gd name="T33" fmla="*/ 30 h 301"/>
                <a:gd name="T34" fmla="*/ 532 w 825"/>
                <a:gd name="T35" fmla="*/ 120 h 301"/>
                <a:gd name="T36" fmla="*/ 458 w 825"/>
                <a:gd name="T37" fmla="*/ 120 h 301"/>
                <a:gd name="T38" fmla="*/ 444 w 825"/>
                <a:gd name="T39" fmla="*/ 107 h 301"/>
                <a:gd name="T40" fmla="*/ 401 w 825"/>
                <a:gd name="T41" fmla="*/ 70 h 301"/>
                <a:gd name="T42" fmla="*/ 369 w 825"/>
                <a:gd name="T43" fmla="*/ 52 h 301"/>
                <a:gd name="T44" fmla="*/ 331 w 825"/>
                <a:gd name="T45" fmla="*/ 37 h 301"/>
                <a:gd name="T46" fmla="*/ 300 w 825"/>
                <a:gd name="T47" fmla="*/ 30 h 301"/>
                <a:gd name="T48" fmla="*/ 182 w 825"/>
                <a:gd name="T49" fmla="*/ 15 h 301"/>
                <a:gd name="T50" fmla="*/ 179 w 825"/>
                <a:gd name="T51" fmla="*/ 8 h 301"/>
                <a:gd name="T52" fmla="*/ 172 w 825"/>
                <a:gd name="T53" fmla="*/ 1 h 301"/>
                <a:gd name="T54" fmla="*/ 15 w 825"/>
                <a:gd name="T55" fmla="*/ 0 h 301"/>
                <a:gd name="T56" fmla="*/ 6 w 825"/>
                <a:gd name="T57" fmla="*/ 3 h 301"/>
                <a:gd name="T58" fmla="*/ 1 w 825"/>
                <a:gd name="T59" fmla="*/ 10 h 301"/>
                <a:gd name="T60" fmla="*/ 0 w 825"/>
                <a:gd name="T61" fmla="*/ 286 h 301"/>
                <a:gd name="T62" fmla="*/ 2 w 825"/>
                <a:gd name="T63" fmla="*/ 295 h 301"/>
                <a:gd name="T64" fmla="*/ 9 w 825"/>
                <a:gd name="T65" fmla="*/ 300 h 301"/>
                <a:gd name="T66" fmla="*/ 167 w 825"/>
                <a:gd name="T67" fmla="*/ 301 h 301"/>
                <a:gd name="T68" fmla="*/ 174 w 825"/>
                <a:gd name="T69" fmla="*/ 299 h 301"/>
                <a:gd name="T70" fmla="*/ 180 w 825"/>
                <a:gd name="T71" fmla="*/ 292 h 301"/>
                <a:gd name="T72" fmla="*/ 182 w 825"/>
                <a:gd name="T73" fmla="*/ 271 h 301"/>
                <a:gd name="T74" fmla="*/ 816 w 825"/>
                <a:gd name="T75" fmla="*/ 270 h 301"/>
                <a:gd name="T76" fmla="*/ 823 w 825"/>
                <a:gd name="T77" fmla="*/ 265 h 301"/>
                <a:gd name="T78" fmla="*/ 825 w 825"/>
                <a:gd name="T79" fmla="*/ 256 h 301"/>
                <a:gd name="T80" fmla="*/ 822 w 825"/>
                <a:gd name="T81" fmla="*/ 235 h 301"/>
                <a:gd name="T82" fmla="*/ 810 w 825"/>
                <a:gd name="T83" fmla="*/ 213 h 301"/>
                <a:gd name="T84" fmla="*/ 789 w 825"/>
                <a:gd name="T85" fmla="*/ 192 h 301"/>
                <a:gd name="T86" fmla="*/ 752 w 825"/>
                <a:gd name="T87" fmla="*/ 167 h 301"/>
                <a:gd name="T88" fmla="*/ 706 w 825"/>
                <a:gd name="T89" fmla="*/ 148 h 301"/>
                <a:gd name="T90" fmla="*/ 653 w 825"/>
                <a:gd name="T91" fmla="*/ 133 h 301"/>
                <a:gd name="T92" fmla="*/ 594 w 825"/>
                <a:gd name="T93" fmla="*/ 123 h 301"/>
                <a:gd name="T94" fmla="*/ 532 w 825"/>
                <a:gd name="T95"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5" h="301">
                  <a:moveTo>
                    <a:pt x="182" y="241"/>
                  </a:moveTo>
                  <a:lnTo>
                    <a:pt x="182" y="60"/>
                  </a:lnTo>
                  <a:lnTo>
                    <a:pt x="298" y="60"/>
                  </a:lnTo>
                  <a:lnTo>
                    <a:pt x="319" y="65"/>
                  </a:lnTo>
                  <a:lnTo>
                    <a:pt x="337" y="71"/>
                  </a:lnTo>
                  <a:lnTo>
                    <a:pt x="354" y="77"/>
                  </a:lnTo>
                  <a:lnTo>
                    <a:pt x="370" y="86"/>
                  </a:lnTo>
                  <a:lnTo>
                    <a:pt x="384" y="94"/>
                  </a:lnTo>
                  <a:lnTo>
                    <a:pt x="396" y="103"/>
                  </a:lnTo>
                  <a:lnTo>
                    <a:pt x="407" y="112"/>
                  </a:lnTo>
                  <a:lnTo>
                    <a:pt x="416" y="120"/>
                  </a:lnTo>
                  <a:lnTo>
                    <a:pt x="261" y="120"/>
                  </a:lnTo>
                  <a:lnTo>
                    <a:pt x="258" y="121"/>
                  </a:lnTo>
                  <a:lnTo>
                    <a:pt x="255" y="122"/>
                  </a:lnTo>
                  <a:lnTo>
                    <a:pt x="253" y="123"/>
                  </a:lnTo>
                  <a:lnTo>
                    <a:pt x="250" y="126"/>
                  </a:lnTo>
                  <a:lnTo>
                    <a:pt x="248" y="128"/>
                  </a:lnTo>
                  <a:lnTo>
                    <a:pt x="247" y="130"/>
                  </a:lnTo>
                  <a:lnTo>
                    <a:pt x="246" y="133"/>
                  </a:lnTo>
                  <a:lnTo>
                    <a:pt x="246" y="135"/>
                  </a:lnTo>
                  <a:lnTo>
                    <a:pt x="246" y="138"/>
                  </a:lnTo>
                  <a:lnTo>
                    <a:pt x="247" y="142"/>
                  </a:lnTo>
                  <a:lnTo>
                    <a:pt x="248" y="145"/>
                  </a:lnTo>
                  <a:lnTo>
                    <a:pt x="250" y="147"/>
                  </a:lnTo>
                  <a:lnTo>
                    <a:pt x="253" y="148"/>
                  </a:lnTo>
                  <a:lnTo>
                    <a:pt x="255" y="149"/>
                  </a:lnTo>
                  <a:lnTo>
                    <a:pt x="258" y="150"/>
                  </a:lnTo>
                  <a:lnTo>
                    <a:pt x="261" y="151"/>
                  </a:lnTo>
                  <a:lnTo>
                    <a:pt x="527" y="150"/>
                  </a:lnTo>
                  <a:lnTo>
                    <a:pt x="546" y="151"/>
                  </a:lnTo>
                  <a:lnTo>
                    <a:pt x="565" y="151"/>
                  </a:lnTo>
                  <a:lnTo>
                    <a:pt x="584" y="153"/>
                  </a:lnTo>
                  <a:lnTo>
                    <a:pt x="604" y="155"/>
                  </a:lnTo>
                  <a:lnTo>
                    <a:pt x="623" y="158"/>
                  </a:lnTo>
                  <a:lnTo>
                    <a:pt x="641" y="161"/>
                  </a:lnTo>
                  <a:lnTo>
                    <a:pt x="658" y="165"/>
                  </a:lnTo>
                  <a:lnTo>
                    <a:pt x="675" y="169"/>
                  </a:lnTo>
                  <a:lnTo>
                    <a:pt x="691" y="175"/>
                  </a:lnTo>
                  <a:lnTo>
                    <a:pt x="706" y="180"/>
                  </a:lnTo>
                  <a:lnTo>
                    <a:pt x="721" y="185"/>
                  </a:lnTo>
                  <a:lnTo>
                    <a:pt x="735" y="192"/>
                  </a:lnTo>
                  <a:lnTo>
                    <a:pt x="747" y="199"/>
                  </a:lnTo>
                  <a:lnTo>
                    <a:pt x="759" y="206"/>
                  </a:lnTo>
                  <a:lnTo>
                    <a:pt x="768" y="213"/>
                  </a:lnTo>
                  <a:lnTo>
                    <a:pt x="777" y="221"/>
                  </a:lnTo>
                  <a:lnTo>
                    <a:pt x="785" y="231"/>
                  </a:lnTo>
                  <a:lnTo>
                    <a:pt x="792" y="241"/>
                  </a:lnTo>
                  <a:lnTo>
                    <a:pt x="182" y="241"/>
                  </a:lnTo>
                  <a:close/>
                  <a:moveTo>
                    <a:pt x="151" y="271"/>
                  </a:moveTo>
                  <a:lnTo>
                    <a:pt x="30" y="271"/>
                  </a:lnTo>
                  <a:lnTo>
                    <a:pt x="30" y="30"/>
                  </a:lnTo>
                  <a:lnTo>
                    <a:pt x="151" y="30"/>
                  </a:lnTo>
                  <a:lnTo>
                    <a:pt x="151" y="271"/>
                  </a:lnTo>
                  <a:close/>
                  <a:moveTo>
                    <a:pt x="532" y="120"/>
                  </a:moveTo>
                  <a:lnTo>
                    <a:pt x="529" y="120"/>
                  </a:lnTo>
                  <a:lnTo>
                    <a:pt x="527" y="120"/>
                  </a:lnTo>
                  <a:lnTo>
                    <a:pt x="458" y="120"/>
                  </a:lnTo>
                  <a:lnTo>
                    <a:pt x="456" y="119"/>
                  </a:lnTo>
                  <a:lnTo>
                    <a:pt x="454" y="118"/>
                  </a:lnTo>
                  <a:lnTo>
                    <a:pt x="444" y="107"/>
                  </a:lnTo>
                  <a:lnTo>
                    <a:pt x="432" y="96"/>
                  </a:lnTo>
                  <a:lnTo>
                    <a:pt x="418" y="83"/>
                  </a:lnTo>
                  <a:lnTo>
                    <a:pt x="401" y="70"/>
                  </a:lnTo>
                  <a:lnTo>
                    <a:pt x="392" y="63"/>
                  </a:lnTo>
                  <a:lnTo>
                    <a:pt x="381" y="58"/>
                  </a:lnTo>
                  <a:lnTo>
                    <a:pt x="369" y="52"/>
                  </a:lnTo>
                  <a:lnTo>
                    <a:pt x="357" y="46"/>
                  </a:lnTo>
                  <a:lnTo>
                    <a:pt x="345" y="42"/>
                  </a:lnTo>
                  <a:lnTo>
                    <a:pt x="331" y="37"/>
                  </a:lnTo>
                  <a:lnTo>
                    <a:pt x="317" y="33"/>
                  </a:lnTo>
                  <a:lnTo>
                    <a:pt x="301" y="30"/>
                  </a:lnTo>
                  <a:lnTo>
                    <a:pt x="300" y="30"/>
                  </a:lnTo>
                  <a:lnTo>
                    <a:pt x="299" y="30"/>
                  </a:lnTo>
                  <a:lnTo>
                    <a:pt x="182" y="30"/>
                  </a:lnTo>
                  <a:lnTo>
                    <a:pt x="182" y="15"/>
                  </a:lnTo>
                  <a:lnTo>
                    <a:pt x="181" y="13"/>
                  </a:lnTo>
                  <a:lnTo>
                    <a:pt x="180" y="10"/>
                  </a:lnTo>
                  <a:lnTo>
                    <a:pt x="179" y="8"/>
                  </a:lnTo>
                  <a:lnTo>
                    <a:pt x="177" y="6"/>
                  </a:lnTo>
                  <a:lnTo>
                    <a:pt x="174" y="3"/>
                  </a:lnTo>
                  <a:lnTo>
                    <a:pt x="172" y="1"/>
                  </a:lnTo>
                  <a:lnTo>
                    <a:pt x="169" y="0"/>
                  </a:lnTo>
                  <a:lnTo>
                    <a:pt x="167" y="0"/>
                  </a:lnTo>
                  <a:lnTo>
                    <a:pt x="15" y="0"/>
                  </a:lnTo>
                  <a:lnTo>
                    <a:pt x="12" y="0"/>
                  </a:lnTo>
                  <a:lnTo>
                    <a:pt x="9" y="1"/>
                  </a:lnTo>
                  <a:lnTo>
                    <a:pt x="6" y="3"/>
                  </a:lnTo>
                  <a:lnTo>
                    <a:pt x="4" y="6"/>
                  </a:lnTo>
                  <a:lnTo>
                    <a:pt x="2" y="8"/>
                  </a:lnTo>
                  <a:lnTo>
                    <a:pt x="1" y="10"/>
                  </a:lnTo>
                  <a:lnTo>
                    <a:pt x="0" y="13"/>
                  </a:lnTo>
                  <a:lnTo>
                    <a:pt x="0" y="15"/>
                  </a:lnTo>
                  <a:lnTo>
                    <a:pt x="0" y="286"/>
                  </a:lnTo>
                  <a:lnTo>
                    <a:pt x="0" y="289"/>
                  </a:lnTo>
                  <a:lnTo>
                    <a:pt x="1" y="292"/>
                  </a:lnTo>
                  <a:lnTo>
                    <a:pt x="2" y="295"/>
                  </a:lnTo>
                  <a:lnTo>
                    <a:pt x="4" y="297"/>
                  </a:lnTo>
                  <a:lnTo>
                    <a:pt x="6" y="299"/>
                  </a:lnTo>
                  <a:lnTo>
                    <a:pt x="9" y="300"/>
                  </a:lnTo>
                  <a:lnTo>
                    <a:pt x="12" y="301"/>
                  </a:lnTo>
                  <a:lnTo>
                    <a:pt x="15" y="301"/>
                  </a:lnTo>
                  <a:lnTo>
                    <a:pt x="167" y="301"/>
                  </a:lnTo>
                  <a:lnTo>
                    <a:pt x="169" y="301"/>
                  </a:lnTo>
                  <a:lnTo>
                    <a:pt x="172" y="300"/>
                  </a:lnTo>
                  <a:lnTo>
                    <a:pt x="174" y="299"/>
                  </a:lnTo>
                  <a:lnTo>
                    <a:pt x="177" y="297"/>
                  </a:lnTo>
                  <a:lnTo>
                    <a:pt x="179" y="295"/>
                  </a:lnTo>
                  <a:lnTo>
                    <a:pt x="180" y="292"/>
                  </a:lnTo>
                  <a:lnTo>
                    <a:pt x="181" y="289"/>
                  </a:lnTo>
                  <a:lnTo>
                    <a:pt x="182" y="286"/>
                  </a:lnTo>
                  <a:lnTo>
                    <a:pt x="182" y="271"/>
                  </a:lnTo>
                  <a:lnTo>
                    <a:pt x="810" y="271"/>
                  </a:lnTo>
                  <a:lnTo>
                    <a:pt x="813" y="271"/>
                  </a:lnTo>
                  <a:lnTo>
                    <a:pt x="816" y="270"/>
                  </a:lnTo>
                  <a:lnTo>
                    <a:pt x="819" y="269"/>
                  </a:lnTo>
                  <a:lnTo>
                    <a:pt x="821" y="267"/>
                  </a:lnTo>
                  <a:lnTo>
                    <a:pt x="823" y="265"/>
                  </a:lnTo>
                  <a:lnTo>
                    <a:pt x="824" y="261"/>
                  </a:lnTo>
                  <a:lnTo>
                    <a:pt x="825" y="259"/>
                  </a:lnTo>
                  <a:lnTo>
                    <a:pt x="825" y="256"/>
                  </a:lnTo>
                  <a:lnTo>
                    <a:pt x="825" y="249"/>
                  </a:lnTo>
                  <a:lnTo>
                    <a:pt x="824" y="241"/>
                  </a:lnTo>
                  <a:lnTo>
                    <a:pt x="822" y="235"/>
                  </a:lnTo>
                  <a:lnTo>
                    <a:pt x="819" y="227"/>
                  </a:lnTo>
                  <a:lnTo>
                    <a:pt x="814" y="221"/>
                  </a:lnTo>
                  <a:lnTo>
                    <a:pt x="810" y="213"/>
                  </a:lnTo>
                  <a:lnTo>
                    <a:pt x="805" y="207"/>
                  </a:lnTo>
                  <a:lnTo>
                    <a:pt x="798" y="200"/>
                  </a:lnTo>
                  <a:lnTo>
                    <a:pt x="789" y="192"/>
                  </a:lnTo>
                  <a:lnTo>
                    <a:pt x="778" y="183"/>
                  </a:lnTo>
                  <a:lnTo>
                    <a:pt x="765" y="175"/>
                  </a:lnTo>
                  <a:lnTo>
                    <a:pt x="752" y="167"/>
                  </a:lnTo>
                  <a:lnTo>
                    <a:pt x="738" y="161"/>
                  </a:lnTo>
                  <a:lnTo>
                    <a:pt x="722" y="154"/>
                  </a:lnTo>
                  <a:lnTo>
                    <a:pt x="706" y="148"/>
                  </a:lnTo>
                  <a:lnTo>
                    <a:pt x="689" y="143"/>
                  </a:lnTo>
                  <a:lnTo>
                    <a:pt x="671" y="137"/>
                  </a:lnTo>
                  <a:lnTo>
                    <a:pt x="653" y="133"/>
                  </a:lnTo>
                  <a:lnTo>
                    <a:pt x="634" y="130"/>
                  </a:lnTo>
                  <a:lnTo>
                    <a:pt x="613" y="127"/>
                  </a:lnTo>
                  <a:lnTo>
                    <a:pt x="594" y="123"/>
                  </a:lnTo>
                  <a:lnTo>
                    <a:pt x="574" y="122"/>
                  </a:lnTo>
                  <a:lnTo>
                    <a:pt x="552" y="121"/>
                  </a:lnTo>
                  <a:lnTo>
                    <a:pt x="53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4" name="Freeform 295">
              <a:extLst>
                <a:ext uri="{FF2B5EF4-FFF2-40B4-BE49-F238E27FC236}">
                  <a16:creationId xmlns:a16="http://schemas.microsoft.com/office/drawing/2014/main" id="{E73D72BF-CAE0-4EA0-ABB5-BADE10E54C9E}"/>
                </a:ext>
              </a:extLst>
            </p:cNvPr>
            <p:cNvSpPr>
              <a:spLocks/>
            </p:cNvSpPr>
            <p:nvPr/>
          </p:nvSpPr>
          <p:spPr bwMode="auto">
            <a:xfrm>
              <a:off x="11623675" y="2184401"/>
              <a:ext cx="12700" cy="12700"/>
            </a:xfrm>
            <a:custGeom>
              <a:avLst/>
              <a:gdLst>
                <a:gd name="T0" fmla="*/ 19 w 37"/>
                <a:gd name="T1" fmla="*/ 0 h 39"/>
                <a:gd name="T2" fmla="*/ 15 w 37"/>
                <a:gd name="T3" fmla="*/ 1 h 39"/>
                <a:gd name="T4" fmla="*/ 12 w 37"/>
                <a:gd name="T5" fmla="*/ 2 h 39"/>
                <a:gd name="T6" fmla="*/ 8 w 37"/>
                <a:gd name="T7" fmla="*/ 4 h 39"/>
                <a:gd name="T8" fmla="*/ 5 w 37"/>
                <a:gd name="T9" fmla="*/ 6 h 39"/>
                <a:gd name="T10" fmla="*/ 3 w 37"/>
                <a:gd name="T11" fmla="*/ 9 h 39"/>
                <a:gd name="T12" fmla="*/ 1 w 37"/>
                <a:gd name="T13" fmla="*/ 13 h 39"/>
                <a:gd name="T14" fmla="*/ 0 w 37"/>
                <a:gd name="T15" fmla="*/ 16 h 39"/>
                <a:gd name="T16" fmla="*/ 0 w 37"/>
                <a:gd name="T17" fmla="*/ 20 h 39"/>
                <a:gd name="T18" fmla="*/ 0 w 37"/>
                <a:gd name="T19" fmla="*/ 23 h 39"/>
                <a:gd name="T20" fmla="*/ 1 w 37"/>
                <a:gd name="T21" fmla="*/ 28 h 39"/>
                <a:gd name="T22" fmla="*/ 3 w 37"/>
                <a:gd name="T23" fmla="*/ 31 h 39"/>
                <a:gd name="T24" fmla="*/ 5 w 37"/>
                <a:gd name="T25" fmla="*/ 33 h 39"/>
                <a:gd name="T26" fmla="*/ 8 w 37"/>
                <a:gd name="T27" fmla="*/ 36 h 39"/>
                <a:gd name="T28" fmla="*/ 12 w 37"/>
                <a:gd name="T29" fmla="*/ 37 h 39"/>
                <a:gd name="T30" fmla="*/ 15 w 37"/>
                <a:gd name="T31" fmla="*/ 39 h 39"/>
                <a:gd name="T32" fmla="*/ 19 w 37"/>
                <a:gd name="T33" fmla="*/ 39 h 39"/>
                <a:gd name="T34" fmla="*/ 22 w 37"/>
                <a:gd name="T35" fmla="*/ 38 h 39"/>
                <a:gd name="T36" fmla="*/ 27 w 37"/>
                <a:gd name="T37" fmla="*/ 37 h 39"/>
                <a:gd name="T38" fmla="*/ 30 w 37"/>
                <a:gd name="T39" fmla="*/ 36 h 39"/>
                <a:gd name="T40" fmla="*/ 32 w 37"/>
                <a:gd name="T41" fmla="*/ 33 h 39"/>
                <a:gd name="T42" fmla="*/ 34 w 37"/>
                <a:gd name="T43" fmla="*/ 31 h 39"/>
                <a:gd name="T44" fmla="*/ 36 w 37"/>
                <a:gd name="T45" fmla="*/ 28 h 39"/>
                <a:gd name="T46" fmla="*/ 37 w 37"/>
                <a:gd name="T47" fmla="*/ 23 h 39"/>
                <a:gd name="T48" fmla="*/ 37 w 37"/>
                <a:gd name="T49" fmla="*/ 20 h 39"/>
                <a:gd name="T50" fmla="*/ 37 w 37"/>
                <a:gd name="T51" fmla="*/ 16 h 39"/>
                <a:gd name="T52" fmla="*/ 36 w 37"/>
                <a:gd name="T53" fmla="*/ 13 h 39"/>
                <a:gd name="T54" fmla="*/ 34 w 37"/>
                <a:gd name="T55" fmla="*/ 9 h 39"/>
                <a:gd name="T56" fmla="*/ 32 w 37"/>
                <a:gd name="T57" fmla="*/ 6 h 39"/>
                <a:gd name="T58" fmla="*/ 30 w 37"/>
                <a:gd name="T59" fmla="*/ 4 h 39"/>
                <a:gd name="T60" fmla="*/ 27 w 37"/>
                <a:gd name="T61" fmla="*/ 2 h 39"/>
                <a:gd name="T62" fmla="*/ 22 w 37"/>
                <a:gd name="T63" fmla="*/ 1 h 39"/>
                <a:gd name="T64" fmla="*/ 19 w 37"/>
                <a:gd name="T6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39">
                  <a:moveTo>
                    <a:pt x="19" y="0"/>
                  </a:moveTo>
                  <a:lnTo>
                    <a:pt x="15" y="1"/>
                  </a:lnTo>
                  <a:lnTo>
                    <a:pt x="12" y="2"/>
                  </a:lnTo>
                  <a:lnTo>
                    <a:pt x="8" y="4"/>
                  </a:lnTo>
                  <a:lnTo>
                    <a:pt x="5" y="6"/>
                  </a:lnTo>
                  <a:lnTo>
                    <a:pt x="3" y="9"/>
                  </a:lnTo>
                  <a:lnTo>
                    <a:pt x="1" y="13"/>
                  </a:lnTo>
                  <a:lnTo>
                    <a:pt x="0" y="16"/>
                  </a:lnTo>
                  <a:lnTo>
                    <a:pt x="0" y="20"/>
                  </a:lnTo>
                  <a:lnTo>
                    <a:pt x="0" y="23"/>
                  </a:lnTo>
                  <a:lnTo>
                    <a:pt x="1" y="28"/>
                  </a:lnTo>
                  <a:lnTo>
                    <a:pt x="3" y="31"/>
                  </a:lnTo>
                  <a:lnTo>
                    <a:pt x="5" y="33"/>
                  </a:lnTo>
                  <a:lnTo>
                    <a:pt x="8" y="36"/>
                  </a:lnTo>
                  <a:lnTo>
                    <a:pt x="12" y="37"/>
                  </a:lnTo>
                  <a:lnTo>
                    <a:pt x="15" y="39"/>
                  </a:lnTo>
                  <a:lnTo>
                    <a:pt x="19" y="39"/>
                  </a:lnTo>
                  <a:lnTo>
                    <a:pt x="22" y="38"/>
                  </a:lnTo>
                  <a:lnTo>
                    <a:pt x="27" y="37"/>
                  </a:lnTo>
                  <a:lnTo>
                    <a:pt x="30" y="36"/>
                  </a:lnTo>
                  <a:lnTo>
                    <a:pt x="32" y="33"/>
                  </a:lnTo>
                  <a:lnTo>
                    <a:pt x="34" y="31"/>
                  </a:lnTo>
                  <a:lnTo>
                    <a:pt x="36" y="28"/>
                  </a:lnTo>
                  <a:lnTo>
                    <a:pt x="37" y="23"/>
                  </a:lnTo>
                  <a:lnTo>
                    <a:pt x="37" y="20"/>
                  </a:lnTo>
                  <a:lnTo>
                    <a:pt x="37" y="16"/>
                  </a:lnTo>
                  <a:lnTo>
                    <a:pt x="36" y="13"/>
                  </a:lnTo>
                  <a:lnTo>
                    <a:pt x="34" y="9"/>
                  </a:lnTo>
                  <a:lnTo>
                    <a:pt x="32" y="6"/>
                  </a:lnTo>
                  <a:lnTo>
                    <a:pt x="30" y="4"/>
                  </a:lnTo>
                  <a:lnTo>
                    <a:pt x="27" y="2"/>
                  </a:lnTo>
                  <a:lnTo>
                    <a:pt x="22" y="1"/>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821" name="Freeform 180">
            <a:extLst>
              <a:ext uri="{FF2B5EF4-FFF2-40B4-BE49-F238E27FC236}">
                <a16:creationId xmlns:a16="http://schemas.microsoft.com/office/drawing/2014/main" id="{6C699BE3-1305-47AA-849A-8EBB2A3272A4}"/>
              </a:ext>
            </a:extLst>
          </p:cNvPr>
          <p:cNvSpPr>
            <a:spLocks noChangeAspect="1" noEditPoints="1"/>
          </p:cNvSpPr>
          <p:nvPr/>
        </p:nvSpPr>
        <p:spPr bwMode="auto">
          <a:xfrm>
            <a:off x="2760748" y="3801969"/>
            <a:ext cx="236641" cy="308144"/>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822" name="Group 36">
            <a:extLst>
              <a:ext uri="{FF2B5EF4-FFF2-40B4-BE49-F238E27FC236}">
                <a16:creationId xmlns:a16="http://schemas.microsoft.com/office/drawing/2014/main" id="{3D201513-14C6-4962-9393-C3DB9A0B035C}"/>
              </a:ext>
            </a:extLst>
          </p:cNvPr>
          <p:cNvGrpSpPr>
            <a:grpSpLocks noChangeAspect="1"/>
          </p:cNvGrpSpPr>
          <p:nvPr/>
        </p:nvGrpSpPr>
        <p:grpSpPr>
          <a:xfrm>
            <a:off x="3227125" y="3801969"/>
            <a:ext cx="236641" cy="308144"/>
            <a:chOff x="11066463" y="1360488"/>
            <a:chExt cx="220663" cy="287338"/>
          </a:xfrm>
          <a:solidFill>
            <a:schemeClr val="bg1"/>
          </a:solidFill>
        </p:grpSpPr>
        <p:sp>
          <p:nvSpPr>
            <p:cNvPr id="823" name="Freeform 180">
              <a:extLst>
                <a:ext uri="{FF2B5EF4-FFF2-40B4-BE49-F238E27FC236}">
                  <a16:creationId xmlns:a16="http://schemas.microsoft.com/office/drawing/2014/main" id="{B30BAE1C-A436-4359-B310-20994C9D81B1}"/>
                </a:ext>
              </a:extLst>
            </p:cNvPr>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4" name="Freeform 181">
              <a:extLst>
                <a:ext uri="{FF2B5EF4-FFF2-40B4-BE49-F238E27FC236}">
                  <a16:creationId xmlns:a16="http://schemas.microsoft.com/office/drawing/2014/main" id="{547B2AF2-9F32-4C32-B78A-8BC96584347E}"/>
                </a:ext>
              </a:extLst>
            </p:cNvPr>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5" name="Freeform 182">
              <a:extLst>
                <a:ext uri="{FF2B5EF4-FFF2-40B4-BE49-F238E27FC236}">
                  <a16:creationId xmlns:a16="http://schemas.microsoft.com/office/drawing/2014/main" id="{A569C4C2-7374-41CF-95E8-4D76F24C881F}"/>
                </a:ext>
              </a:extLst>
            </p:cNvPr>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6" name="Freeform 183">
              <a:extLst>
                <a:ext uri="{FF2B5EF4-FFF2-40B4-BE49-F238E27FC236}">
                  <a16:creationId xmlns:a16="http://schemas.microsoft.com/office/drawing/2014/main" id="{B47674F2-DA2A-49BD-A447-41F38310BD87}"/>
                </a:ext>
              </a:extLst>
            </p:cNvPr>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7" name="Freeform 184">
              <a:extLst>
                <a:ext uri="{FF2B5EF4-FFF2-40B4-BE49-F238E27FC236}">
                  <a16:creationId xmlns:a16="http://schemas.microsoft.com/office/drawing/2014/main" id="{A850DF7D-259A-4BE3-AD4D-FE0A9C1CE84B}"/>
                </a:ext>
              </a:extLst>
            </p:cNvPr>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8" name="Freeform 185">
              <a:extLst>
                <a:ext uri="{FF2B5EF4-FFF2-40B4-BE49-F238E27FC236}">
                  <a16:creationId xmlns:a16="http://schemas.microsoft.com/office/drawing/2014/main" id="{67E15788-F58E-442A-B146-C2BF1B1656EE}"/>
                </a:ext>
              </a:extLst>
            </p:cNvPr>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9" name="Freeform 186">
              <a:extLst>
                <a:ext uri="{FF2B5EF4-FFF2-40B4-BE49-F238E27FC236}">
                  <a16:creationId xmlns:a16="http://schemas.microsoft.com/office/drawing/2014/main" id="{A3D3DD90-A23F-4162-8F9A-42193E0B926F}"/>
                </a:ext>
              </a:extLst>
            </p:cNvPr>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34" name="Group 38">
            <a:extLst>
              <a:ext uri="{FF2B5EF4-FFF2-40B4-BE49-F238E27FC236}">
                <a16:creationId xmlns:a16="http://schemas.microsoft.com/office/drawing/2014/main" id="{3D272311-F146-416A-ADD3-27FF77707C22}"/>
              </a:ext>
            </a:extLst>
          </p:cNvPr>
          <p:cNvGrpSpPr>
            <a:grpSpLocks noChangeAspect="1"/>
          </p:cNvGrpSpPr>
          <p:nvPr/>
        </p:nvGrpSpPr>
        <p:grpSpPr>
          <a:xfrm>
            <a:off x="3674454" y="3801969"/>
            <a:ext cx="258221" cy="308144"/>
            <a:chOff x="9907588" y="1354138"/>
            <a:chExt cx="238125" cy="284163"/>
          </a:xfrm>
          <a:solidFill>
            <a:schemeClr val="bg1"/>
          </a:solidFill>
        </p:grpSpPr>
        <p:sp>
          <p:nvSpPr>
            <p:cNvPr id="835" name="Freeform 383">
              <a:extLst>
                <a:ext uri="{FF2B5EF4-FFF2-40B4-BE49-F238E27FC236}">
                  <a16:creationId xmlns:a16="http://schemas.microsoft.com/office/drawing/2014/main" id="{4EA065ED-A8AB-428F-8C72-572A6740A3AD}"/>
                </a:ext>
              </a:extLst>
            </p:cNvPr>
            <p:cNvSpPr>
              <a:spLocks noEditPoints="1"/>
            </p:cNvSpPr>
            <p:nvPr/>
          </p:nvSpPr>
          <p:spPr bwMode="auto">
            <a:xfrm>
              <a:off x="9950450" y="1443038"/>
              <a:ext cx="152400" cy="149225"/>
            </a:xfrm>
            <a:custGeom>
              <a:avLst/>
              <a:gdLst>
                <a:gd name="T0" fmla="*/ 184 w 480"/>
                <a:gd name="T1" fmla="*/ 194 h 466"/>
                <a:gd name="T2" fmla="*/ 191 w 480"/>
                <a:gd name="T3" fmla="*/ 189 h 466"/>
                <a:gd name="T4" fmla="*/ 239 w 480"/>
                <a:gd name="T5" fmla="*/ 59 h 466"/>
                <a:gd name="T6" fmla="*/ 287 w 480"/>
                <a:gd name="T7" fmla="*/ 189 h 466"/>
                <a:gd name="T8" fmla="*/ 295 w 480"/>
                <a:gd name="T9" fmla="*/ 194 h 466"/>
                <a:gd name="T10" fmla="*/ 420 w 480"/>
                <a:gd name="T11" fmla="*/ 195 h 466"/>
                <a:gd name="T12" fmla="*/ 321 w 480"/>
                <a:gd name="T13" fmla="*/ 271 h 466"/>
                <a:gd name="T14" fmla="*/ 317 w 480"/>
                <a:gd name="T15" fmla="*/ 280 h 466"/>
                <a:gd name="T16" fmla="*/ 362 w 480"/>
                <a:gd name="T17" fmla="*/ 417 h 466"/>
                <a:gd name="T18" fmla="*/ 244 w 480"/>
                <a:gd name="T19" fmla="*/ 346 h 466"/>
                <a:gd name="T20" fmla="*/ 236 w 480"/>
                <a:gd name="T21" fmla="*/ 346 h 466"/>
                <a:gd name="T22" fmla="*/ 115 w 480"/>
                <a:gd name="T23" fmla="*/ 417 h 466"/>
                <a:gd name="T24" fmla="*/ 158 w 480"/>
                <a:gd name="T25" fmla="*/ 280 h 466"/>
                <a:gd name="T26" fmla="*/ 156 w 480"/>
                <a:gd name="T27" fmla="*/ 271 h 466"/>
                <a:gd name="T28" fmla="*/ 59 w 480"/>
                <a:gd name="T29" fmla="*/ 195 h 466"/>
                <a:gd name="T30" fmla="*/ 126 w 480"/>
                <a:gd name="T31" fmla="*/ 285 h 466"/>
                <a:gd name="T32" fmla="*/ 75 w 480"/>
                <a:gd name="T33" fmla="*/ 450 h 466"/>
                <a:gd name="T34" fmla="*/ 77 w 480"/>
                <a:gd name="T35" fmla="*/ 458 h 466"/>
                <a:gd name="T36" fmla="*/ 84 w 480"/>
                <a:gd name="T37" fmla="*/ 465 h 466"/>
                <a:gd name="T38" fmla="*/ 94 w 480"/>
                <a:gd name="T39" fmla="*/ 465 h 466"/>
                <a:gd name="T40" fmla="*/ 239 w 480"/>
                <a:gd name="T41" fmla="*/ 378 h 466"/>
                <a:gd name="T42" fmla="*/ 386 w 480"/>
                <a:gd name="T43" fmla="*/ 465 h 466"/>
                <a:gd name="T44" fmla="*/ 395 w 480"/>
                <a:gd name="T45" fmla="*/ 465 h 466"/>
                <a:gd name="T46" fmla="*/ 402 w 480"/>
                <a:gd name="T47" fmla="*/ 458 h 466"/>
                <a:gd name="T48" fmla="*/ 405 w 480"/>
                <a:gd name="T49" fmla="*/ 450 h 466"/>
                <a:gd name="T50" fmla="*/ 350 w 480"/>
                <a:gd name="T51" fmla="*/ 285 h 466"/>
                <a:gd name="T52" fmla="*/ 477 w 480"/>
                <a:gd name="T53" fmla="*/ 189 h 466"/>
                <a:gd name="T54" fmla="*/ 480 w 480"/>
                <a:gd name="T55" fmla="*/ 181 h 466"/>
                <a:gd name="T56" fmla="*/ 477 w 480"/>
                <a:gd name="T57" fmla="*/ 171 h 466"/>
                <a:gd name="T58" fmla="*/ 469 w 480"/>
                <a:gd name="T59" fmla="*/ 166 h 466"/>
                <a:gd name="T60" fmla="*/ 310 w 480"/>
                <a:gd name="T61" fmla="*/ 166 h 466"/>
                <a:gd name="T62" fmla="*/ 251 w 480"/>
                <a:gd name="T63" fmla="*/ 6 h 466"/>
                <a:gd name="T64" fmla="*/ 245 w 480"/>
                <a:gd name="T65" fmla="*/ 1 h 466"/>
                <a:gd name="T66" fmla="*/ 235 w 480"/>
                <a:gd name="T67" fmla="*/ 1 h 466"/>
                <a:gd name="T68" fmla="*/ 228 w 480"/>
                <a:gd name="T69" fmla="*/ 6 h 466"/>
                <a:gd name="T70" fmla="*/ 169 w 480"/>
                <a:gd name="T71" fmla="*/ 166 h 466"/>
                <a:gd name="T72" fmla="*/ 10 w 480"/>
                <a:gd name="T73" fmla="*/ 166 h 466"/>
                <a:gd name="T74" fmla="*/ 3 w 480"/>
                <a:gd name="T75" fmla="*/ 171 h 466"/>
                <a:gd name="T76" fmla="*/ 0 w 480"/>
                <a:gd name="T77" fmla="*/ 181 h 466"/>
                <a:gd name="T78" fmla="*/ 2 w 480"/>
                <a:gd name="T79" fmla="*/ 189 h 466"/>
                <a:gd name="T80" fmla="*/ 126 w 480"/>
                <a:gd name="T81" fmla="*/ 285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0" h="466">
                  <a:moveTo>
                    <a:pt x="179" y="195"/>
                  </a:moveTo>
                  <a:lnTo>
                    <a:pt x="184" y="194"/>
                  </a:lnTo>
                  <a:lnTo>
                    <a:pt x="188" y="192"/>
                  </a:lnTo>
                  <a:lnTo>
                    <a:pt x="191" y="189"/>
                  </a:lnTo>
                  <a:lnTo>
                    <a:pt x="193" y="186"/>
                  </a:lnTo>
                  <a:lnTo>
                    <a:pt x="239" y="59"/>
                  </a:lnTo>
                  <a:lnTo>
                    <a:pt x="285" y="186"/>
                  </a:lnTo>
                  <a:lnTo>
                    <a:pt x="287" y="189"/>
                  </a:lnTo>
                  <a:lnTo>
                    <a:pt x="291" y="192"/>
                  </a:lnTo>
                  <a:lnTo>
                    <a:pt x="295" y="194"/>
                  </a:lnTo>
                  <a:lnTo>
                    <a:pt x="299" y="195"/>
                  </a:lnTo>
                  <a:lnTo>
                    <a:pt x="420" y="195"/>
                  </a:lnTo>
                  <a:lnTo>
                    <a:pt x="324" y="268"/>
                  </a:lnTo>
                  <a:lnTo>
                    <a:pt x="321" y="271"/>
                  </a:lnTo>
                  <a:lnTo>
                    <a:pt x="318" y="276"/>
                  </a:lnTo>
                  <a:lnTo>
                    <a:pt x="317" y="280"/>
                  </a:lnTo>
                  <a:lnTo>
                    <a:pt x="318" y="285"/>
                  </a:lnTo>
                  <a:lnTo>
                    <a:pt x="362" y="417"/>
                  </a:lnTo>
                  <a:lnTo>
                    <a:pt x="248" y="347"/>
                  </a:lnTo>
                  <a:lnTo>
                    <a:pt x="244" y="346"/>
                  </a:lnTo>
                  <a:lnTo>
                    <a:pt x="239" y="345"/>
                  </a:lnTo>
                  <a:lnTo>
                    <a:pt x="236" y="346"/>
                  </a:lnTo>
                  <a:lnTo>
                    <a:pt x="232" y="347"/>
                  </a:lnTo>
                  <a:lnTo>
                    <a:pt x="115" y="417"/>
                  </a:lnTo>
                  <a:lnTo>
                    <a:pt x="157" y="284"/>
                  </a:lnTo>
                  <a:lnTo>
                    <a:pt x="158" y="280"/>
                  </a:lnTo>
                  <a:lnTo>
                    <a:pt x="157" y="276"/>
                  </a:lnTo>
                  <a:lnTo>
                    <a:pt x="156" y="271"/>
                  </a:lnTo>
                  <a:lnTo>
                    <a:pt x="153" y="268"/>
                  </a:lnTo>
                  <a:lnTo>
                    <a:pt x="59" y="195"/>
                  </a:lnTo>
                  <a:lnTo>
                    <a:pt x="179" y="195"/>
                  </a:lnTo>
                  <a:close/>
                  <a:moveTo>
                    <a:pt x="126" y="285"/>
                  </a:moveTo>
                  <a:lnTo>
                    <a:pt x="76" y="445"/>
                  </a:lnTo>
                  <a:lnTo>
                    <a:pt x="75" y="450"/>
                  </a:lnTo>
                  <a:lnTo>
                    <a:pt x="76" y="455"/>
                  </a:lnTo>
                  <a:lnTo>
                    <a:pt x="77" y="458"/>
                  </a:lnTo>
                  <a:lnTo>
                    <a:pt x="80" y="462"/>
                  </a:lnTo>
                  <a:lnTo>
                    <a:pt x="84" y="465"/>
                  </a:lnTo>
                  <a:lnTo>
                    <a:pt x="90" y="466"/>
                  </a:lnTo>
                  <a:lnTo>
                    <a:pt x="94" y="465"/>
                  </a:lnTo>
                  <a:lnTo>
                    <a:pt x="97" y="464"/>
                  </a:lnTo>
                  <a:lnTo>
                    <a:pt x="239" y="378"/>
                  </a:lnTo>
                  <a:lnTo>
                    <a:pt x="381" y="464"/>
                  </a:lnTo>
                  <a:lnTo>
                    <a:pt x="386" y="465"/>
                  </a:lnTo>
                  <a:lnTo>
                    <a:pt x="391" y="465"/>
                  </a:lnTo>
                  <a:lnTo>
                    <a:pt x="395" y="465"/>
                  </a:lnTo>
                  <a:lnTo>
                    <a:pt x="400" y="462"/>
                  </a:lnTo>
                  <a:lnTo>
                    <a:pt x="402" y="458"/>
                  </a:lnTo>
                  <a:lnTo>
                    <a:pt x="404" y="454"/>
                  </a:lnTo>
                  <a:lnTo>
                    <a:pt x="405" y="450"/>
                  </a:lnTo>
                  <a:lnTo>
                    <a:pt x="404" y="445"/>
                  </a:lnTo>
                  <a:lnTo>
                    <a:pt x="350" y="285"/>
                  </a:lnTo>
                  <a:lnTo>
                    <a:pt x="473" y="192"/>
                  </a:lnTo>
                  <a:lnTo>
                    <a:pt x="477" y="189"/>
                  </a:lnTo>
                  <a:lnTo>
                    <a:pt x="479" y="185"/>
                  </a:lnTo>
                  <a:lnTo>
                    <a:pt x="480" y="181"/>
                  </a:lnTo>
                  <a:lnTo>
                    <a:pt x="479" y="175"/>
                  </a:lnTo>
                  <a:lnTo>
                    <a:pt x="477" y="171"/>
                  </a:lnTo>
                  <a:lnTo>
                    <a:pt x="473" y="168"/>
                  </a:lnTo>
                  <a:lnTo>
                    <a:pt x="469" y="166"/>
                  </a:lnTo>
                  <a:lnTo>
                    <a:pt x="465" y="166"/>
                  </a:lnTo>
                  <a:lnTo>
                    <a:pt x="310" y="166"/>
                  </a:lnTo>
                  <a:lnTo>
                    <a:pt x="254" y="11"/>
                  </a:lnTo>
                  <a:lnTo>
                    <a:pt x="251" y="6"/>
                  </a:lnTo>
                  <a:lnTo>
                    <a:pt x="248" y="3"/>
                  </a:lnTo>
                  <a:lnTo>
                    <a:pt x="245" y="1"/>
                  </a:lnTo>
                  <a:lnTo>
                    <a:pt x="239" y="0"/>
                  </a:lnTo>
                  <a:lnTo>
                    <a:pt x="235" y="1"/>
                  </a:lnTo>
                  <a:lnTo>
                    <a:pt x="231" y="3"/>
                  </a:lnTo>
                  <a:lnTo>
                    <a:pt x="228" y="6"/>
                  </a:lnTo>
                  <a:lnTo>
                    <a:pt x="225" y="11"/>
                  </a:lnTo>
                  <a:lnTo>
                    <a:pt x="169" y="166"/>
                  </a:lnTo>
                  <a:lnTo>
                    <a:pt x="15" y="166"/>
                  </a:lnTo>
                  <a:lnTo>
                    <a:pt x="10" y="166"/>
                  </a:lnTo>
                  <a:lnTo>
                    <a:pt x="6" y="168"/>
                  </a:lnTo>
                  <a:lnTo>
                    <a:pt x="3" y="171"/>
                  </a:lnTo>
                  <a:lnTo>
                    <a:pt x="0" y="175"/>
                  </a:lnTo>
                  <a:lnTo>
                    <a:pt x="0" y="181"/>
                  </a:lnTo>
                  <a:lnTo>
                    <a:pt x="0" y="185"/>
                  </a:lnTo>
                  <a:lnTo>
                    <a:pt x="2" y="189"/>
                  </a:lnTo>
                  <a:lnTo>
                    <a:pt x="5" y="192"/>
                  </a:lnTo>
                  <a:lnTo>
                    <a:pt x="126"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6" name="Freeform 384">
              <a:extLst>
                <a:ext uri="{FF2B5EF4-FFF2-40B4-BE49-F238E27FC236}">
                  <a16:creationId xmlns:a16="http://schemas.microsoft.com/office/drawing/2014/main" id="{8F2B9B11-B53F-4044-B62B-9DB32AA4DBDA}"/>
                </a:ext>
              </a:extLst>
            </p:cNvPr>
            <p:cNvSpPr>
              <a:spLocks/>
            </p:cNvSpPr>
            <p:nvPr/>
          </p:nvSpPr>
          <p:spPr bwMode="auto">
            <a:xfrm>
              <a:off x="9936163" y="1382713"/>
              <a:ext cx="200025" cy="7938"/>
            </a:xfrm>
            <a:custGeom>
              <a:avLst/>
              <a:gdLst>
                <a:gd name="T0" fmla="*/ 15 w 629"/>
                <a:gd name="T1" fmla="*/ 0 h 29"/>
                <a:gd name="T2" fmla="*/ 12 w 629"/>
                <a:gd name="T3" fmla="*/ 0 h 29"/>
                <a:gd name="T4" fmla="*/ 9 w 629"/>
                <a:gd name="T5" fmla="*/ 1 h 29"/>
                <a:gd name="T6" fmla="*/ 7 w 629"/>
                <a:gd name="T7" fmla="*/ 2 h 29"/>
                <a:gd name="T8" fmla="*/ 4 w 629"/>
                <a:gd name="T9" fmla="*/ 4 h 29"/>
                <a:gd name="T10" fmla="*/ 2 w 629"/>
                <a:gd name="T11" fmla="*/ 6 h 29"/>
                <a:gd name="T12" fmla="*/ 1 w 629"/>
                <a:gd name="T13" fmla="*/ 9 h 29"/>
                <a:gd name="T14" fmla="*/ 0 w 629"/>
                <a:gd name="T15" fmla="*/ 11 h 29"/>
                <a:gd name="T16" fmla="*/ 0 w 629"/>
                <a:gd name="T17" fmla="*/ 14 h 29"/>
                <a:gd name="T18" fmla="*/ 0 w 629"/>
                <a:gd name="T19" fmla="*/ 18 h 29"/>
                <a:gd name="T20" fmla="*/ 1 w 629"/>
                <a:gd name="T21" fmla="*/ 20 h 29"/>
                <a:gd name="T22" fmla="*/ 2 w 629"/>
                <a:gd name="T23" fmla="*/ 23 h 29"/>
                <a:gd name="T24" fmla="*/ 4 w 629"/>
                <a:gd name="T25" fmla="*/ 25 h 29"/>
                <a:gd name="T26" fmla="*/ 7 w 629"/>
                <a:gd name="T27" fmla="*/ 27 h 29"/>
                <a:gd name="T28" fmla="*/ 9 w 629"/>
                <a:gd name="T29" fmla="*/ 28 h 29"/>
                <a:gd name="T30" fmla="*/ 12 w 629"/>
                <a:gd name="T31" fmla="*/ 29 h 29"/>
                <a:gd name="T32" fmla="*/ 15 w 629"/>
                <a:gd name="T33" fmla="*/ 29 h 29"/>
                <a:gd name="T34" fmla="*/ 614 w 629"/>
                <a:gd name="T35" fmla="*/ 29 h 29"/>
                <a:gd name="T36" fmla="*/ 618 w 629"/>
                <a:gd name="T37" fmla="*/ 29 h 29"/>
                <a:gd name="T38" fmla="*/ 621 w 629"/>
                <a:gd name="T39" fmla="*/ 28 h 29"/>
                <a:gd name="T40" fmla="*/ 623 w 629"/>
                <a:gd name="T41" fmla="*/ 27 h 29"/>
                <a:gd name="T42" fmla="*/ 625 w 629"/>
                <a:gd name="T43" fmla="*/ 25 h 29"/>
                <a:gd name="T44" fmla="*/ 627 w 629"/>
                <a:gd name="T45" fmla="*/ 23 h 29"/>
                <a:gd name="T46" fmla="*/ 628 w 629"/>
                <a:gd name="T47" fmla="*/ 20 h 29"/>
                <a:gd name="T48" fmla="*/ 629 w 629"/>
                <a:gd name="T49" fmla="*/ 18 h 29"/>
                <a:gd name="T50" fmla="*/ 629 w 629"/>
                <a:gd name="T51" fmla="*/ 14 h 29"/>
                <a:gd name="T52" fmla="*/ 629 w 629"/>
                <a:gd name="T53" fmla="*/ 11 h 29"/>
                <a:gd name="T54" fmla="*/ 628 w 629"/>
                <a:gd name="T55" fmla="*/ 9 h 29"/>
                <a:gd name="T56" fmla="*/ 627 w 629"/>
                <a:gd name="T57" fmla="*/ 6 h 29"/>
                <a:gd name="T58" fmla="*/ 625 w 629"/>
                <a:gd name="T59" fmla="*/ 4 h 29"/>
                <a:gd name="T60" fmla="*/ 623 w 629"/>
                <a:gd name="T61" fmla="*/ 2 h 29"/>
                <a:gd name="T62" fmla="*/ 621 w 629"/>
                <a:gd name="T63" fmla="*/ 1 h 29"/>
                <a:gd name="T64" fmla="*/ 618 w 629"/>
                <a:gd name="T65" fmla="*/ 0 h 29"/>
                <a:gd name="T66" fmla="*/ 614 w 629"/>
                <a:gd name="T67" fmla="*/ 0 h 29"/>
                <a:gd name="T68" fmla="*/ 15 w 629"/>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9" h="29">
                  <a:moveTo>
                    <a:pt x="15" y="0"/>
                  </a:moveTo>
                  <a:lnTo>
                    <a:pt x="12" y="0"/>
                  </a:lnTo>
                  <a:lnTo>
                    <a:pt x="9" y="1"/>
                  </a:lnTo>
                  <a:lnTo>
                    <a:pt x="7" y="2"/>
                  </a:lnTo>
                  <a:lnTo>
                    <a:pt x="4" y="4"/>
                  </a:lnTo>
                  <a:lnTo>
                    <a:pt x="2" y="6"/>
                  </a:lnTo>
                  <a:lnTo>
                    <a:pt x="1" y="9"/>
                  </a:lnTo>
                  <a:lnTo>
                    <a:pt x="0" y="11"/>
                  </a:lnTo>
                  <a:lnTo>
                    <a:pt x="0" y="14"/>
                  </a:lnTo>
                  <a:lnTo>
                    <a:pt x="0" y="18"/>
                  </a:lnTo>
                  <a:lnTo>
                    <a:pt x="1" y="20"/>
                  </a:lnTo>
                  <a:lnTo>
                    <a:pt x="2" y="23"/>
                  </a:lnTo>
                  <a:lnTo>
                    <a:pt x="4" y="25"/>
                  </a:lnTo>
                  <a:lnTo>
                    <a:pt x="7" y="27"/>
                  </a:lnTo>
                  <a:lnTo>
                    <a:pt x="9" y="28"/>
                  </a:lnTo>
                  <a:lnTo>
                    <a:pt x="12" y="29"/>
                  </a:lnTo>
                  <a:lnTo>
                    <a:pt x="15" y="29"/>
                  </a:lnTo>
                  <a:lnTo>
                    <a:pt x="614" y="29"/>
                  </a:lnTo>
                  <a:lnTo>
                    <a:pt x="618" y="29"/>
                  </a:lnTo>
                  <a:lnTo>
                    <a:pt x="621" y="28"/>
                  </a:lnTo>
                  <a:lnTo>
                    <a:pt x="623" y="27"/>
                  </a:lnTo>
                  <a:lnTo>
                    <a:pt x="625" y="25"/>
                  </a:lnTo>
                  <a:lnTo>
                    <a:pt x="627" y="23"/>
                  </a:lnTo>
                  <a:lnTo>
                    <a:pt x="628" y="20"/>
                  </a:lnTo>
                  <a:lnTo>
                    <a:pt x="629" y="18"/>
                  </a:lnTo>
                  <a:lnTo>
                    <a:pt x="629" y="14"/>
                  </a:lnTo>
                  <a:lnTo>
                    <a:pt x="629" y="11"/>
                  </a:lnTo>
                  <a:lnTo>
                    <a:pt x="628" y="9"/>
                  </a:lnTo>
                  <a:lnTo>
                    <a:pt x="627" y="6"/>
                  </a:lnTo>
                  <a:lnTo>
                    <a:pt x="625" y="4"/>
                  </a:lnTo>
                  <a:lnTo>
                    <a:pt x="623" y="2"/>
                  </a:lnTo>
                  <a:lnTo>
                    <a:pt x="621" y="1"/>
                  </a:lnTo>
                  <a:lnTo>
                    <a:pt x="618" y="0"/>
                  </a:lnTo>
                  <a:lnTo>
                    <a:pt x="614"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7" name="Freeform 385">
              <a:extLst>
                <a:ext uri="{FF2B5EF4-FFF2-40B4-BE49-F238E27FC236}">
                  <a16:creationId xmlns:a16="http://schemas.microsoft.com/office/drawing/2014/main" id="{F199E7FE-7928-43D3-B547-9A0695722B40}"/>
                </a:ext>
              </a:extLst>
            </p:cNvPr>
            <p:cNvSpPr>
              <a:spLocks noEditPoints="1"/>
            </p:cNvSpPr>
            <p:nvPr/>
          </p:nvSpPr>
          <p:spPr bwMode="auto">
            <a:xfrm>
              <a:off x="9907588" y="1354138"/>
              <a:ext cx="238125" cy="284163"/>
            </a:xfrm>
            <a:custGeom>
              <a:avLst/>
              <a:gdLst>
                <a:gd name="T0" fmla="*/ 85 w 750"/>
                <a:gd name="T1" fmla="*/ 868 h 899"/>
                <a:gd name="T2" fmla="*/ 68 w 750"/>
                <a:gd name="T3" fmla="*/ 864 h 899"/>
                <a:gd name="T4" fmla="*/ 53 w 750"/>
                <a:gd name="T5" fmla="*/ 856 h 899"/>
                <a:gd name="T6" fmla="*/ 41 w 750"/>
                <a:gd name="T7" fmla="*/ 843 h 899"/>
                <a:gd name="T8" fmla="*/ 33 w 750"/>
                <a:gd name="T9" fmla="*/ 827 h 899"/>
                <a:gd name="T10" fmla="*/ 31 w 750"/>
                <a:gd name="T11" fmla="*/ 809 h 899"/>
                <a:gd name="T12" fmla="*/ 46 w 750"/>
                <a:gd name="T13" fmla="*/ 191 h 899"/>
                <a:gd name="T14" fmla="*/ 74 w 750"/>
                <a:gd name="T15" fmla="*/ 205 h 899"/>
                <a:gd name="T16" fmla="*/ 106 w 750"/>
                <a:gd name="T17" fmla="*/ 209 h 899"/>
                <a:gd name="T18" fmla="*/ 735 w 750"/>
                <a:gd name="T19" fmla="*/ 179 h 899"/>
                <a:gd name="T20" fmla="*/ 91 w 750"/>
                <a:gd name="T21" fmla="*/ 178 h 899"/>
                <a:gd name="T22" fmla="*/ 70 w 750"/>
                <a:gd name="T23" fmla="*/ 171 h 899"/>
                <a:gd name="T24" fmla="*/ 53 w 750"/>
                <a:gd name="T25" fmla="*/ 158 h 899"/>
                <a:gd name="T26" fmla="*/ 40 w 750"/>
                <a:gd name="T27" fmla="*/ 140 h 899"/>
                <a:gd name="T28" fmla="*/ 32 w 750"/>
                <a:gd name="T29" fmla="*/ 119 h 899"/>
                <a:gd name="T30" fmla="*/ 31 w 750"/>
                <a:gd name="T31" fmla="*/ 97 h 899"/>
                <a:gd name="T32" fmla="*/ 37 w 750"/>
                <a:gd name="T33" fmla="*/ 76 h 899"/>
                <a:gd name="T34" fmla="*/ 48 w 750"/>
                <a:gd name="T35" fmla="*/ 56 h 899"/>
                <a:gd name="T36" fmla="*/ 63 w 750"/>
                <a:gd name="T37" fmla="*/ 43 h 899"/>
                <a:gd name="T38" fmla="*/ 84 w 750"/>
                <a:gd name="T39" fmla="*/ 33 h 899"/>
                <a:gd name="T40" fmla="*/ 106 w 750"/>
                <a:gd name="T41" fmla="*/ 30 h 899"/>
                <a:gd name="T42" fmla="*/ 742 w 750"/>
                <a:gd name="T43" fmla="*/ 29 h 899"/>
                <a:gd name="T44" fmla="*/ 748 w 750"/>
                <a:gd name="T45" fmla="*/ 23 h 899"/>
                <a:gd name="T46" fmla="*/ 750 w 750"/>
                <a:gd name="T47" fmla="*/ 15 h 899"/>
                <a:gd name="T48" fmla="*/ 748 w 750"/>
                <a:gd name="T49" fmla="*/ 6 h 899"/>
                <a:gd name="T50" fmla="*/ 742 w 750"/>
                <a:gd name="T51" fmla="*/ 1 h 899"/>
                <a:gd name="T52" fmla="*/ 106 w 750"/>
                <a:gd name="T53" fmla="*/ 0 h 899"/>
                <a:gd name="T54" fmla="*/ 75 w 750"/>
                <a:gd name="T55" fmla="*/ 4 h 899"/>
                <a:gd name="T56" fmla="*/ 47 w 750"/>
                <a:gd name="T57" fmla="*/ 18 h 899"/>
                <a:gd name="T58" fmla="*/ 25 w 750"/>
                <a:gd name="T59" fmla="*/ 38 h 899"/>
                <a:gd name="T60" fmla="*/ 9 w 750"/>
                <a:gd name="T61" fmla="*/ 64 h 899"/>
                <a:gd name="T62" fmla="*/ 1 w 750"/>
                <a:gd name="T63" fmla="*/ 94 h 899"/>
                <a:gd name="T64" fmla="*/ 1 w 750"/>
                <a:gd name="T65" fmla="*/ 818 h 899"/>
                <a:gd name="T66" fmla="*/ 8 w 750"/>
                <a:gd name="T67" fmla="*/ 844 h 899"/>
                <a:gd name="T68" fmla="*/ 22 w 750"/>
                <a:gd name="T69" fmla="*/ 866 h 899"/>
                <a:gd name="T70" fmla="*/ 41 w 750"/>
                <a:gd name="T71" fmla="*/ 883 h 899"/>
                <a:gd name="T72" fmla="*/ 64 w 750"/>
                <a:gd name="T73" fmla="*/ 895 h 899"/>
                <a:gd name="T74" fmla="*/ 91 w 750"/>
                <a:gd name="T75" fmla="*/ 899 h 899"/>
                <a:gd name="T76" fmla="*/ 742 w 750"/>
                <a:gd name="T77" fmla="*/ 898 h 899"/>
                <a:gd name="T78" fmla="*/ 748 w 750"/>
                <a:gd name="T79" fmla="*/ 893 h 899"/>
                <a:gd name="T80" fmla="*/ 750 w 750"/>
                <a:gd name="T81" fmla="*/ 884 h 899"/>
                <a:gd name="T82" fmla="*/ 749 w 750"/>
                <a:gd name="T83" fmla="*/ 189 h 899"/>
                <a:gd name="T84" fmla="*/ 744 w 750"/>
                <a:gd name="T85" fmla="*/ 182 h 899"/>
                <a:gd name="T86" fmla="*/ 735 w 750"/>
                <a:gd name="T87" fmla="*/ 179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0" h="899">
                  <a:moveTo>
                    <a:pt x="720" y="869"/>
                  </a:moveTo>
                  <a:lnTo>
                    <a:pt x="91" y="869"/>
                  </a:lnTo>
                  <a:lnTo>
                    <a:pt x="85" y="868"/>
                  </a:lnTo>
                  <a:lnTo>
                    <a:pt x="79" y="868"/>
                  </a:lnTo>
                  <a:lnTo>
                    <a:pt x="73" y="866"/>
                  </a:lnTo>
                  <a:lnTo>
                    <a:pt x="68" y="864"/>
                  </a:lnTo>
                  <a:lnTo>
                    <a:pt x="62" y="862"/>
                  </a:lnTo>
                  <a:lnTo>
                    <a:pt x="58" y="859"/>
                  </a:lnTo>
                  <a:lnTo>
                    <a:pt x="53" y="856"/>
                  </a:lnTo>
                  <a:lnTo>
                    <a:pt x="48" y="851"/>
                  </a:lnTo>
                  <a:lnTo>
                    <a:pt x="44" y="847"/>
                  </a:lnTo>
                  <a:lnTo>
                    <a:pt x="41" y="843"/>
                  </a:lnTo>
                  <a:lnTo>
                    <a:pt x="38" y="837"/>
                  </a:lnTo>
                  <a:lnTo>
                    <a:pt x="36" y="832"/>
                  </a:lnTo>
                  <a:lnTo>
                    <a:pt x="33" y="827"/>
                  </a:lnTo>
                  <a:lnTo>
                    <a:pt x="32" y="820"/>
                  </a:lnTo>
                  <a:lnTo>
                    <a:pt x="31" y="815"/>
                  </a:lnTo>
                  <a:lnTo>
                    <a:pt x="31" y="809"/>
                  </a:lnTo>
                  <a:lnTo>
                    <a:pt x="31" y="178"/>
                  </a:lnTo>
                  <a:lnTo>
                    <a:pt x="39" y="185"/>
                  </a:lnTo>
                  <a:lnTo>
                    <a:pt x="46" y="191"/>
                  </a:lnTo>
                  <a:lnTo>
                    <a:pt x="55" y="196"/>
                  </a:lnTo>
                  <a:lnTo>
                    <a:pt x="64" y="201"/>
                  </a:lnTo>
                  <a:lnTo>
                    <a:pt x="74" y="205"/>
                  </a:lnTo>
                  <a:lnTo>
                    <a:pt x="85" y="207"/>
                  </a:lnTo>
                  <a:lnTo>
                    <a:pt x="95" y="209"/>
                  </a:lnTo>
                  <a:lnTo>
                    <a:pt x="106" y="209"/>
                  </a:lnTo>
                  <a:lnTo>
                    <a:pt x="720" y="209"/>
                  </a:lnTo>
                  <a:lnTo>
                    <a:pt x="720" y="869"/>
                  </a:lnTo>
                  <a:close/>
                  <a:moveTo>
                    <a:pt x="735" y="179"/>
                  </a:moveTo>
                  <a:lnTo>
                    <a:pt x="106" y="179"/>
                  </a:lnTo>
                  <a:lnTo>
                    <a:pt x="99" y="179"/>
                  </a:lnTo>
                  <a:lnTo>
                    <a:pt x="91" y="178"/>
                  </a:lnTo>
                  <a:lnTo>
                    <a:pt x="84" y="176"/>
                  </a:lnTo>
                  <a:lnTo>
                    <a:pt x="76" y="174"/>
                  </a:lnTo>
                  <a:lnTo>
                    <a:pt x="70" y="171"/>
                  </a:lnTo>
                  <a:lnTo>
                    <a:pt x="63" y="166"/>
                  </a:lnTo>
                  <a:lnTo>
                    <a:pt x="58" y="162"/>
                  </a:lnTo>
                  <a:lnTo>
                    <a:pt x="53" y="158"/>
                  </a:lnTo>
                  <a:lnTo>
                    <a:pt x="48" y="153"/>
                  </a:lnTo>
                  <a:lnTo>
                    <a:pt x="44" y="146"/>
                  </a:lnTo>
                  <a:lnTo>
                    <a:pt x="40" y="140"/>
                  </a:lnTo>
                  <a:lnTo>
                    <a:pt x="37" y="133"/>
                  </a:lnTo>
                  <a:lnTo>
                    <a:pt x="34" y="127"/>
                  </a:lnTo>
                  <a:lnTo>
                    <a:pt x="32" y="119"/>
                  </a:lnTo>
                  <a:lnTo>
                    <a:pt x="31" y="112"/>
                  </a:lnTo>
                  <a:lnTo>
                    <a:pt x="31" y="104"/>
                  </a:lnTo>
                  <a:lnTo>
                    <a:pt x="31" y="97"/>
                  </a:lnTo>
                  <a:lnTo>
                    <a:pt x="32" y="90"/>
                  </a:lnTo>
                  <a:lnTo>
                    <a:pt x="34" y="82"/>
                  </a:lnTo>
                  <a:lnTo>
                    <a:pt x="37" y="76"/>
                  </a:lnTo>
                  <a:lnTo>
                    <a:pt x="40" y="69"/>
                  </a:lnTo>
                  <a:lnTo>
                    <a:pt x="44" y="63"/>
                  </a:lnTo>
                  <a:lnTo>
                    <a:pt x="48" y="56"/>
                  </a:lnTo>
                  <a:lnTo>
                    <a:pt x="53" y="51"/>
                  </a:lnTo>
                  <a:lnTo>
                    <a:pt x="58" y="47"/>
                  </a:lnTo>
                  <a:lnTo>
                    <a:pt x="63" y="43"/>
                  </a:lnTo>
                  <a:lnTo>
                    <a:pt x="70" y="38"/>
                  </a:lnTo>
                  <a:lnTo>
                    <a:pt x="76" y="35"/>
                  </a:lnTo>
                  <a:lnTo>
                    <a:pt x="84" y="33"/>
                  </a:lnTo>
                  <a:lnTo>
                    <a:pt x="91" y="31"/>
                  </a:lnTo>
                  <a:lnTo>
                    <a:pt x="99" y="30"/>
                  </a:lnTo>
                  <a:lnTo>
                    <a:pt x="106" y="30"/>
                  </a:lnTo>
                  <a:lnTo>
                    <a:pt x="735" y="30"/>
                  </a:lnTo>
                  <a:lnTo>
                    <a:pt x="739" y="29"/>
                  </a:lnTo>
                  <a:lnTo>
                    <a:pt x="742" y="29"/>
                  </a:lnTo>
                  <a:lnTo>
                    <a:pt x="744" y="26"/>
                  </a:lnTo>
                  <a:lnTo>
                    <a:pt x="746" y="25"/>
                  </a:lnTo>
                  <a:lnTo>
                    <a:pt x="748" y="23"/>
                  </a:lnTo>
                  <a:lnTo>
                    <a:pt x="749" y="20"/>
                  </a:lnTo>
                  <a:lnTo>
                    <a:pt x="750" y="18"/>
                  </a:lnTo>
                  <a:lnTo>
                    <a:pt x="750" y="15"/>
                  </a:lnTo>
                  <a:lnTo>
                    <a:pt x="750" y="12"/>
                  </a:lnTo>
                  <a:lnTo>
                    <a:pt x="749" y="8"/>
                  </a:lnTo>
                  <a:lnTo>
                    <a:pt x="748" y="6"/>
                  </a:lnTo>
                  <a:lnTo>
                    <a:pt x="746" y="4"/>
                  </a:lnTo>
                  <a:lnTo>
                    <a:pt x="744" y="2"/>
                  </a:lnTo>
                  <a:lnTo>
                    <a:pt x="742" y="1"/>
                  </a:lnTo>
                  <a:lnTo>
                    <a:pt x="739" y="0"/>
                  </a:lnTo>
                  <a:lnTo>
                    <a:pt x="735" y="0"/>
                  </a:lnTo>
                  <a:lnTo>
                    <a:pt x="106" y="0"/>
                  </a:lnTo>
                  <a:lnTo>
                    <a:pt x="95" y="0"/>
                  </a:lnTo>
                  <a:lnTo>
                    <a:pt x="85" y="2"/>
                  </a:lnTo>
                  <a:lnTo>
                    <a:pt x="75" y="4"/>
                  </a:lnTo>
                  <a:lnTo>
                    <a:pt x="65" y="7"/>
                  </a:lnTo>
                  <a:lnTo>
                    <a:pt x="56" y="13"/>
                  </a:lnTo>
                  <a:lnTo>
                    <a:pt x="47" y="18"/>
                  </a:lnTo>
                  <a:lnTo>
                    <a:pt x="39" y="23"/>
                  </a:lnTo>
                  <a:lnTo>
                    <a:pt x="31" y="31"/>
                  </a:lnTo>
                  <a:lnTo>
                    <a:pt x="25" y="38"/>
                  </a:lnTo>
                  <a:lnTo>
                    <a:pt x="18" y="46"/>
                  </a:lnTo>
                  <a:lnTo>
                    <a:pt x="13" y="54"/>
                  </a:lnTo>
                  <a:lnTo>
                    <a:pt x="9" y="64"/>
                  </a:lnTo>
                  <a:lnTo>
                    <a:pt x="6" y="73"/>
                  </a:lnTo>
                  <a:lnTo>
                    <a:pt x="2" y="83"/>
                  </a:lnTo>
                  <a:lnTo>
                    <a:pt x="1" y="94"/>
                  </a:lnTo>
                  <a:lnTo>
                    <a:pt x="0" y="104"/>
                  </a:lnTo>
                  <a:lnTo>
                    <a:pt x="0" y="809"/>
                  </a:lnTo>
                  <a:lnTo>
                    <a:pt x="1" y="818"/>
                  </a:lnTo>
                  <a:lnTo>
                    <a:pt x="2" y="827"/>
                  </a:lnTo>
                  <a:lnTo>
                    <a:pt x="5" y="835"/>
                  </a:lnTo>
                  <a:lnTo>
                    <a:pt x="8" y="844"/>
                  </a:lnTo>
                  <a:lnTo>
                    <a:pt x="12" y="851"/>
                  </a:lnTo>
                  <a:lnTo>
                    <a:pt x="16" y="859"/>
                  </a:lnTo>
                  <a:lnTo>
                    <a:pt x="22" y="866"/>
                  </a:lnTo>
                  <a:lnTo>
                    <a:pt x="27" y="873"/>
                  </a:lnTo>
                  <a:lnTo>
                    <a:pt x="33" y="878"/>
                  </a:lnTo>
                  <a:lnTo>
                    <a:pt x="41" y="883"/>
                  </a:lnTo>
                  <a:lnTo>
                    <a:pt x="48" y="889"/>
                  </a:lnTo>
                  <a:lnTo>
                    <a:pt x="56" y="892"/>
                  </a:lnTo>
                  <a:lnTo>
                    <a:pt x="64" y="895"/>
                  </a:lnTo>
                  <a:lnTo>
                    <a:pt x="73" y="897"/>
                  </a:lnTo>
                  <a:lnTo>
                    <a:pt x="83" y="898"/>
                  </a:lnTo>
                  <a:lnTo>
                    <a:pt x="91" y="899"/>
                  </a:lnTo>
                  <a:lnTo>
                    <a:pt x="735" y="899"/>
                  </a:lnTo>
                  <a:lnTo>
                    <a:pt x="739" y="899"/>
                  </a:lnTo>
                  <a:lnTo>
                    <a:pt x="742" y="898"/>
                  </a:lnTo>
                  <a:lnTo>
                    <a:pt x="744" y="896"/>
                  </a:lnTo>
                  <a:lnTo>
                    <a:pt x="746" y="895"/>
                  </a:lnTo>
                  <a:lnTo>
                    <a:pt x="748" y="893"/>
                  </a:lnTo>
                  <a:lnTo>
                    <a:pt x="749" y="890"/>
                  </a:lnTo>
                  <a:lnTo>
                    <a:pt x="750" y="888"/>
                  </a:lnTo>
                  <a:lnTo>
                    <a:pt x="750" y="884"/>
                  </a:lnTo>
                  <a:lnTo>
                    <a:pt x="750" y="194"/>
                  </a:lnTo>
                  <a:lnTo>
                    <a:pt x="750" y="191"/>
                  </a:lnTo>
                  <a:lnTo>
                    <a:pt x="749" y="189"/>
                  </a:lnTo>
                  <a:lnTo>
                    <a:pt x="748" y="186"/>
                  </a:lnTo>
                  <a:lnTo>
                    <a:pt x="746" y="184"/>
                  </a:lnTo>
                  <a:lnTo>
                    <a:pt x="744" y="182"/>
                  </a:lnTo>
                  <a:lnTo>
                    <a:pt x="742" y="180"/>
                  </a:lnTo>
                  <a:lnTo>
                    <a:pt x="739" y="179"/>
                  </a:lnTo>
                  <a:lnTo>
                    <a:pt x="735" y="179"/>
                  </a:lnTo>
                  <a:lnTo>
                    <a:pt x="735"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38" name="Group 215">
            <a:extLst>
              <a:ext uri="{FF2B5EF4-FFF2-40B4-BE49-F238E27FC236}">
                <a16:creationId xmlns:a16="http://schemas.microsoft.com/office/drawing/2014/main" id="{C0341592-A62B-478C-923C-E99FA2E4E1E4}"/>
              </a:ext>
            </a:extLst>
          </p:cNvPr>
          <p:cNvGrpSpPr>
            <a:grpSpLocks noChangeAspect="1"/>
          </p:cNvGrpSpPr>
          <p:nvPr/>
        </p:nvGrpSpPr>
        <p:grpSpPr>
          <a:xfrm>
            <a:off x="4032334" y="3801969"/>
            <a:ext cx="309856" cy="308144"/>
            <a:chOff x="8167688" y="2505075"/>
            <a:chExt cx="287338" cy="285750"/>
          </a:xfrm>
          <a:solidFill>
            <a:schemeClr val="bg1"/>
          </a:solidFill>
        </p:grpSpPr>
        <p:sp>
          <p:nvSpPr>
            <p:cNvPr id="839" name="Freeform 347">
              <a:extLst>
                <a:ext uri="{FF2B5EF4-FFF2-40B4-BE49-F238E27FC236}">
                  <a16:creationId xmlns:a16="http://schemas.microsoft.com/office/drawing/2014/main" id="{F6FE4A10-F072-41CD-90CD-E63F5F0C3F18}"/>
                </a:ext>
              </a:extLst>
            </p:cNvPr>
            <p:cNvSpPr>
              <a:spLocks/>
            </p:cNvSpPr>
            <p:nvPr/>
          </p:nvSpPr>
          <p:spPr bwMode="auto">
            <a:xfrm>
              <a:off x="8343900" y="2692400"/>
              <a:ext cx="76200" cy="58738"/>
            </a:xfrm>
            <a:custGeom>
              <a:avLst/>
              <a:gdLst>
                <a:gd name="T0" fmla="*/ 214 w 240"/>
                <a:gd name="T1" fmla="*/ 5 h 187"/>
                <a:gd name="T2" fmla="*/ 90 w 240"/>
                <a:gd name="T3" fmla="*/ 143 h 187"/>
                <a:gd name="T4" fmla="*/ 26 w 240"/>
                <a:gd name="T5" fmla="*/ 79 h 187"/>
                <a:gd name="T6" fmla="*/ 24 w 240"/>
                <a:gd name="T7" fmla="*/ 77 h 187"/>
                <a:gd name="T8" fmla="*/ 20 w 240"/>
                <a:gd name="T9" fmla="*/ 75 h 187"/>
                <a:gd name="T10" fmla="*/ 18 w 240"/>
                <a:gd name="T11" fmla="*/ 75 h 187"/>
                <a:gd name="T12" fmla="*/ 15 w 240"/>
                <a:gd name="T13" fmla="*/ 73 h 187"/>
                <a:gd name="T14" fmla="*/ 12 w 240"/>
                <a:gd name="T15" fmla="*/ 75 h 187"/>
                <a:gd name="T16" fmla="*/ 10 w 240"/>
                <a:gd name="T17" fmla="*/ 76 h 187"/>
                <a:gd name="T18" fmla="*/ 6 w 240"/>
                <a:gd name="T19" fmla="*/ 77 h 187"/>
                <a:gd name="T20" fmla="*/ 4 w 240"/>
                <a:gd name="T21" fmla="*/ 79 h 187"/>
                <a:gd name="T22" fmla="*/ 2 w 240"/>
                <a:gd name="T23" fmla="*/ 81 h 187"/>
                <a:gd name="T24" fmla="*/ 1 w 240"/>
                <a:gd name="T25" fmla="*/ 84 h 187"/>
                <a:gd name="T26" fmla="*/ 0 w 240"/>
                <a:gd name="T27" fmla="*/ 86 h 187"/>
                <a:gd name="T28" fmla="*/ 0 w 240"/>
                <a:gd name="T29" fmla="*/ 90 h 187"/>
                <a:gd name="T30" fmla="*/ 0 w 240"/>
                <a:gd name="T31" fmla="*/ 93 h 187"/>
                <a:gd name="T32" fmla="*/ 1 w 240"/>
                <a:gd name="T33" fmla="*/ 95 h 187"/>
                <a:gd name="T34" fmla="*/ 2 w 240"/>
                <a:gd name="T35" fmla="*/ 97 h 187"/>
                <a:gd name="T36" fmla="*/ 4 w 240"/>
                <a:gd name="T37" fmla="*/ 99 h 187"/>
                <a:gd name="T38" fmla="*/ 91 w 240"/>
                <a:gd name="T39" fmla="*/ 187 h 187"/>
                <a:gd name="T40" fmla="*/ 237 w 240"/>
                <a:gd name="T41" fmla="*/ 24 h 187"/>
                <a:gd name="T42" fmla="*/ 239 w 240"/>
                <a:gd name="T43" fmla="*/ 22 h 187"/>
                <a:gd name="T44" fmla="*/ 240 w 240"/>
                <a:gd name="T45" fmla="*/ 19 h 187"/>
                <a:gd name="T46" fmla="*/ 240 w 240"/>
                <a:gd name="T47" fmla="*/ 17 h 187"/>
                <a:gd name="T48" fmla="*/ 240 w 240"/>
                <a:gd name="T49" fmla="*/ 14 h 187"/>
                <a:gd name="T50" fmla="*/ 240 w 240"/>
                <a:gd name="T51" fmla="*/ 11 h 187"/>
                <a:gd name="T52" fmla="*/ 239 w 240"/>
                <a:gd name="T53" fmla="*/ 8 h 187"/>
                <a:gd name="T54" fmla="*/ 238 w 240"/>
                <a:gd name="T55" fmla="*/ 6 h 187"/>
                <a:gd name="T56" fmla="*/ 235 w 240"/>
                <a:gd name="T57" fmla="*/ 3 h 187"/>
                <a:gd name="T58" fmla="*/ 233 w 240"/>
                <a:gd name="T59" fmla="*/ 2 h 187"/>
                <a:gd name="T60" fmla="*/ 230 w 240"/>
                <a:gd name="T61" fmla="*/ 1 h 187"/>
                <a:gd name="T62" fmla="*/ 227 w 240"/>
                <a:gd name="T63" fmla="*/ 0 h 187"/>
                <a:gd name="T64" fmla="*/ 225 w 240"/>
                <a:gd name="T65" fmla="*/ 0 h 187"/>
                <a:gd name="T66" fmla="*/ 218 w 240"/>
                <a:gd name="T67" fmla="*/ 2 h 187"/>
                <a:gd name="T68" fmla="*/ 214 w 240"/>
                <a:gd name="T69" fmla="*/ 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87">
                  <a:moveTo>
                    <a:pt x="214" y="5"/>
                  </a:moveTo>
                  <a:lnTo>
                    <a:pt x="90" y="143"/>
                  </a:lnTo>
                  <a:lnTo>
                    <a:pt x="26" y="79"/>
                  </a:lnTo>
                  <a:lnTo>
                    <a:pt x="24" y="77"/>
                  </a:lnTo>
                  <a:lnTo>
                    <a:pt x="20" y="75"/>
                  </a:lnTo>
                  <a:lnTo>
                    <a:pt x="18" y="75"/>
                  </a:lnTo>
                  <a:lnTo>
                    <a:pt x="15" y="73"/>
                  </a:lnTo>
                  <a:lnTo>
                    <a:pt x="12" y="75"/>
                  </a:lnTo>
                  <a:lnTo>
                    <a:pt x="10" y="76"/>
                  </a:lnTo>
                  <a:lnTo>
                    <a:pt x="6" y="77"/>
                  </a:lnTo>
                  <a:lnTo>
                    <a:pt x="4" y="79"/>
                  </a:lnTo>
                  <a:lnTo>
                    <a:pt x="2" y="81"/>
                  </a:lnTo>
                  <a:lnTo>
                    <a:pt x="1" y="84"/>
                  </a:lnTo>
                  <a:lnTo>
                    <a:pt x="0" y="86"/>
                  </a:lnTo>
                  <a:lnTo>
                    <a:pt x="0" y="90"/>
                  </a:lnTo>
                  <a:lnTo>
                    <a:pt x="0" y="93"/>
                  </a:lnTo>
                  <a:lnTo>
                    <a:pt x="1" y="95"/>
                  </a:lnTo>
                  <a:lnTo>
                    <a:pt x="2" y="97"/>
                  </a:lnTo>
                  <a:lnTo>
                    <a:pt x="4" y="99"/>
                  </a:lnTo>
                  <a:lnTo>
                    <a:pt x="91" y="187"/>
                  </a:lnTo>
                  <a:lnTo>
                    <a:pt x="237" y="24"/>
                  </a:lnTo>
                  <a:lnTo>
                    <a:pt x="239" y="22"/>
                  </a:lnTo>
                  <a:lnTo>
                    <a:pt x="240" y="19"/>
                  </a:lnTo>
                  <a:lnTo>
                    <a:pt x="240" y="17"/>
                  </a:lnTo>
                  <a:lnTo>
                    <a:pt x="240" y="14"/>
                  </a:lnTo>
                  <a:lnTo>
                    <a:pt x="240" y="11"/>
                  </a:lnTo>
                  <a:lnTo>
                    <a:pt x="239" y="8"/>
                  </a:lnTo>
                  <a:lnTo>
                    <a:pt x="238" y="6"/>
                  </a:lnTo>
                  <a:lnTo>
                    <a:pt x="235" y="3"/>
                  </a:lnTo>
                  <a:lnTo>
                    <a:pt x="233" y="2"/>
                  </a:lnTo>
                  <a:lnTo>
                    <a:pt x="230" y="1"/>
                  </a:lnTo>
                  <a:lnTo>
                    <a:pt x="227" y="0"/>
                  </a:lnTo>
                  <a:lnTo>
                    <a:pt x="225" y="0"/>
                  </a:lnTo>
                  <a:lnTo>
                    <a:pt x="218" y="2"/>
                  </a:lnTo>
                  <a:lnTo>
                    <a:pt x="2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348">
              <a:extLst>
                <a:ext uri="{FF2B5EF4-FFF2-40B4-BE49-F238E27FC236}">
                  <a16:creationId xmlns:a16="http://schemas.microsoft.com/office/drawing/2014/main" id="{F9A6677B-51B6-4F4E-8FEB-D68980694A18}"/>
                </a:ext>
              </a:extLst>
            </p:cNvPr>
            <p:cNvSpPr>
              <a:spLocks noEditPoints="1"/>
            </p:cNvSpPr>
            <p:nvPr/>
          </p:nvSpPr>
          <p:spPr bwMode="auto">
            <a:xfrm>
              <a:off x="8310563" y="2647950"/>
              <a:ext cx="144463" cy="142875"/>
            </a:xfrm>
            <a:custGeom>
              <a:avLst/>
              <a:gdLst>
                <a:gd name="T0" fmla="*/ 185 w 451"/>
                <a:gd name="T1" fmla="*/ 416 h 450"/>
                <a:gd name="T2" fmla="*/ 132 w 451"/>
                <a:gd name="T3" fmla="*/ 397 h 450"/>
                <a:gd name="T4" fmla="*/ 87 w 451"/>
                <a:gd name="T5" fmla="*/ 364 h 450"/>
                <a:gd name="T6" fmla="*/ 54 w 451"/>
                <a:gd name="T7" fmla="*/ 319 h 450"/>
                <a:gd name="T8" fmla="*/ 33 w 451"/>
                <a:gd name="T9" fmla="*/ 264 h 450"/>
                <a:gd name="T10" fmla="*/ 31 w 451"/>
                <a:gd name="T11" fmla="*/ 205 h 450"/>
                <a:gd name="T12" fmla="*/ 45 w 451"/>
                <a:gd name="T13" fmla="*/ 150 h 450"/>
                <a:gd name="T14" fmla="*/ 74 w 451"/>
                <a:gd name="T15" fmla="*/ 101 h 450"/>
                <a:gd name="T16" fmla="*/ 116 w 451"/>
                <a:gd name="T17" fmla="*/ 63 h 450"/>
                <a:gd name="T18" fmla="*/ 167 w 451"/>
                <a:gd name="T19" fmla="*/ 38 h 450"/>
                <a:gd name="T20" fmla="*/ 225 w 451"/>
                <a:gd name="T21" fmla="*/ 30 h 450"/>
                <a:gd name="T22" fmla="*/ 283 w 451"/>
                <a:gd name="T23" fmla="*/ 38 h 450"/>
                <a:gd name="T24" fmla="*/ 334 w 451"/>
                <a:gd name="T25" fmla="*/ 63 h 450"/>
                <a:gd name="T26" fmla="*/ 376 w 451"/>
                <a:gd name="T27" fmla="*/ 101 h 450"/>
                <a:gd name="T28" fmla="*/ 405 w 451"/>
                <a:gd name="T29" fmla="*/ 150 h 450"/>
                <a:gd name="T30" fmla="*/ 420 w 451"/>
                <a:gd name="T31" fmla="*/ 205 h 450"/>
                <a:gd name="T32" fmla="*/ 416 w 451"/>
                <a:gd name="T33" fmla="*/ 264 h 450"/>
                <a:gd name="T34" fmla="*/ 397 w 451"/>
                <a:gd name="T35" fmla="*/ 319 h 450"/>
                <a:gd name="T36" fmla="*/ 363 w 451"/>
                <a:gd name="T37" fmla="*/ 364 h 450"/>
                <a:gd name="T38" fmla="*/ 318 w 451"/>
                <a:gd name="T39" fmla="*/ 397 h 450"/>
                <a:gd name="T40" fmla="*/ 264 w 451"/>
                <a:gd name="T41" fmla="*/ 416 h 450"/>
                <a:gd name="T42" fmla="*/ 225 w 451"/>
                <a:gd name="T43" fmla="*/ 0 h 450"/>
                <a:gd name="T44" fmla="*/ 191 w 451"/>
                <a:gd name="T45" fmla="*/ 2 h 450"/>
                <a:gd name="T46" fmla="*/ 159 w 451"/>
                <a:gd name="T47" fmla="*/ 10 h 450"/>
                <a:gd name="T48" fmla="*/ 118 w 451"/>
                <a:gd name="T49" fmla="*/ 28 h 450"/>
                <a:gd name="T50" fmla="*/ 65 w 451"/>
                <a:gd name="T51" fmla="*/ 66 h 450"/>
                <a:gd name="T52" fmla="*/ 27 w 451"/>
                <a:gd name="T53" fmla="*/ 118 h 450"/>
                <a:gd name="T54" fmla="*/ 10 w 451"/>
                <a:gd name="T55" fmla="*/ 158 h 450"/>
                <a:gd name="T56" fmla="*/ 2 w 451"/>
                <a:gd name="T57" fmla="*/ 191 h 450"/>
                <a:gd name="T58" fmla="*/ 0 w 451"/>
                <a:gd name="T59" fmla="*/ 224 h 450"/>
                <a:gd name="T60" fmla="*/ 2 w 451"/>
                <a:gd name="T61" fmla="*/ 260 h 450"/>
                <a:gd name="T62" fmla="*/ 10 w 451"/>
                <a:gd name="T63" fmla="*/ 292 h 450"/>
                <a:gd name="T64" fmla="*/ 27 w 451"/>
                <a:gd name="T65" fmla="*/ 333 h 450"/>
                <a:gd name="T66" fmla="*/ 65 w 451"/>
                <a:gd name="T67" fmla="*/ 384 h 450"/>
                <a:gd name="T68" fmla="*/ 118 w 451"/>
                <a:gd name="T69" fmla="*/ 423 h 450"/>
                <a:gd name="T70" fmla="*/ 159 w 451"/>
                <a:gd name="T71" fmla="*/ 441 h 450"/>
                <a:gd name="T72" fmla="*/ 191 w 451"/>
                <a:gd name="T73" fmla="*/ 448 h 450"/>
                <a:gd name="T74" fmla="*/ 225 w 451"/>
                <a:gd name="T75" fmla="*/ 450 h 450"/>
                <a:gd name="T76" fmla="*/ 259 w 451"/>
                <a:gd name="T77" fmla="*/ 448 h 450"/>
                <a:gd name="T78" fmla="*/ 292 w 451"/>
                <a:gd name="T79" fmla="*/ 441 h 450"/>
                <a:gd name="T80" fmla="*/ 332 w 451"/>
                <a:gd name="T81" fmla="*/ 423 h 450"/>
                <a:gd name="T82" fmla="*/ 384 w 451"/>
                <a:gd name="T83" fmla="*/ 384 h 450"/>
                <a:gd name="T84" fmla="*/ 423 w 451"/>
                <a:gd name="T85" fmla="*/ 333 h 450"/>
                <a:gd name="T86" fmla="*/ 440 w 451"/>
                <a:gd name="T87" fmla="*/ 292 h 450"/>
                <a:gd name="T88" fmla="*/ 447 w 451"/>
                <a:gd name="T89" fmla="*/ 260 h 450"/>
                <a:gd name="T90" fmla="*/ 451 w 451"/>
                <a:gd name="T91" fmla="*/ 224 h 450"/>
                <a:gd name="T92" fmla="*/ 447 w 451"/>
                <a:gd name="T93" fmla="*/ 191 h 450"/>
                <a:gd name="T94" fmla="*/ 440 w 451"/>
                <a:gd name="T95" fmla="*/ 158 h 450"/>
                <a:gd name="T96" fmla="*/ 423 w 451"/>
                <a:gd name="T97" fmla="*/ 118 h 450"/>
                <a:gd name="T98" fmla="*/ 384 w 451"/>
                <a:gd name="T99" fmla="*/ 66 h 450"/>
                <a:gd name="T100" fmla="*/ 332 w 451"/>
                <a:gd name="T101" fmla="*/ 28 h 450"/>
                <a:gd name="T102" fmla="*/ 292 w 451"/>
                <a:gd name="T103" fmla="*/ 10 h 450"/>
                <a:gd name="T104" fmla="*/ 259 w 451"/>
                <a:gd name="T105" fmla="*/ 2 h 450"/>
                <a:gd name="T106" fmla="*/ 225 w 451"/>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1" h="450">
                  <a:moveTo>
                    <a:pt x="225" y="420"/>
                  </a:moveTo>
                  <a:lnTo>
                    <a:pt x="206" y="419"/>
                  </a:lnTo>
                  <a:lnTo>
                    <a:pt x="185" y="416"/>
                  </a:lnTo>
                  <a:lnTo>
                    <a:pt x="167" y="412"/>
                  </a:lnTo>
                  <a:lnTo>
                    <a:pt x="149" y="405"/>
                  </a:lnTo>
                  <a:lnTo>
                    <a:pt x="132" y="397"/>
                  </a:lnTo>
                  <a:lnTo>
                    <a:pt x="116" y="387"/>
                  </a:lnTo>
                  <a:lnTo>
                    <a:pt x="101" y="375"/>
                  </a:lnTo>
                  <a:lnTo>
                    <a:pt x="87" y="364"/>
                  </a:lnTo>
                  <a:lnTo>
                    <a:pt x="74" y="350"/>
                  </a:lnTo>
                  <a:lnTo>
                    <a:pt x="63" y="335"/>
                  </a:lnTo>
                  <a:lnTo>
                    <a:pt x="54" y="319"/>
                  </a:lnTo>
                  <a:lnTo>
                    <a:pt x="45" y="301"/>
                  </a:lnTo>
                  <a:lnTo>
                    <a:pt x="39" y="283"/>
                  </a:lnTo>
                  <a:lnTo>
                    <a:pt x="33" y="264"/>
                  </a:lnTo>
                  <a:lnTo>
                    <a:pt x="31" y="245"/>
                  </a:lnTo>
                  <a:lnTo>
                    <a:pt x="30" y="224"/>
                  </a:lnTo>
                  <a:lnTo>
                    <a:pt x="31" y="205"/>
                  </a:lnTo>
                  <a:lnTo>
                    <a:pt x="33" y="186"/>
                  </a:lnTo>
                  <a:lnTo>
                    <a:pt x="39" y="168"/>
                  </a:lnTo>
                  <a:lnTo>
                    <a:pt x="45" y="150"/>
                  </a:lnTo>
                  <a:lnTo>
                    <a:pt x="54" y="132"/>
                  </a:lnTo>
                  <a:lnTo>
                    <a:pt x="63" y="116"/>
                  </a:lnTo>
                  <a:lnTo>
                    <a:pt x="74" y="101"/>
                  </a:lnTo>
                  <a:lnTo>
                    <a:pt x="87" y="87"/>
                  </a:lnTo>
                  <a:lnTo>
                    <a:pt x="101" y="75"/>
                  </a:lnTo>
                  <a:lnTo>
                    <a:pt x="116" y="63"/>
                  </a:lnTo>
                  <a:lnTo>
                    <a:pt x="132" y="53"/>
                  </a:lnTo>
                  <a:lnTo>
                    <a:pt x="149" y="46"/>
                  </a:lnTo>
                  <a:lnTo>
                    <a:pt x="167" y="38"/>
                  </a:lnTo>
                  <a:lnTo>
                    <a:pt x="185" y="34"/>
                  </a:lnTo>
                  <a:lnTo>
                    <a:pt x="206" y="31"/>
                  </a:lnTo>
                  <a:lnTo>
                    <a:pt x="225" y="30"/>
                  </a:lnTo>
                  <a:lnTo>
                    <a:pt x="245" y="31"/>
                  </a:lnTo>
                  <a:lnTo>
                    <a:pt x="264" y="34"/>
                  </a:lnTo>
                  <a:lnTo>
                    <a:pt x="283" y="38"/>
                  </a:lnTo>
                  <a:lnTo>
                    <a:pt x="301" y="46"/>
                  </a:lnTo>
                  <a:lnTo>
                    <a:pt x="318" y="53"/>
                  </a:lnTo>
                  <a:lnTo>
                    <a:pt x="334" y="63"/>
                  </a:lnTo>
                  <a:lnTo>
                    <a:pt x="349" y="75"/>
                  </a:lnTo>
                  <a:lnTo>
                    <a:pt x="363" y="87"/>
                  </a:lnTo>
                  <a:lnTo>
                    <a:pt x="376" y="101"/>
                  </a:lnTo>
                  <a:lnTo>
                    <a:pt x="386" y="116"/>
                  </a:lnTo>
                  <a:lnTo>
                    <a:pt x="397" y="132"/>
                  </a:lnTo>
                  <a:lnTo>
                    <a:pt x="405" y="150"/>
                  </a:lnTo>
                  <a:lnTo>
                    <a:pt x="411" y="168"/>
                  </a:lnTo>
                  <a:lnTo>
                    <a:pt x="416" y="186"/>
                  </a:lnTo>
                  <a:lnTo>
                    <a:pt x="420" y="205"/>
                  </a:lnTo>
                  <a:lnTo>
                    <a:pt x="421" y="224"/>
                  </a:lnTo>
                  <a:lnTo>
                    <a:pt x="420" y="245"/>
                  </a:lnTo>
                  <a:lnTo>
                    <a:pt x="416" y="264"/>
                  </a:lnTo>
                  <a:lnTo>
                    <a:pt x="411" y="283"/>
                  </a:lnTo>
                  <a:lnTo>
                    <a:pt x="405" y="301"/>
                  </a:lnTo>
                  <a:lnTo>
                    <a:pt x="397" y="319"/>
                  </a:lnTo>
                  <a:lnTo>
                    <a:pt x="386" y="335"/>
                  </a:lnTo>
                  <a:lnTo>
                    <a:pt x="376" y="350"/>
                  </a:lnTo>
                  <a:lnTo>
                    <a:pt x="363" y="364"/>
                  </a:lnTo>
                  <a:lnTo>
                    <a:pt x="349" y="375"/>
                  </a:lnTo>
                  <a:lnTo>
                    <a:pt x="334" y="387"/>
                  </a:lnTo>
                  <a:lnTo>
                    <a:pt x="318" y="397"/>
                  </a:lnTo>
                  <a:lnTo>
                    <a:pt x="301" y="405"/>
                  </a:lnTo>
                  <a:lnTo>
                    <a:pt x="283" y="412"/>
                  </a:lnTo>
                  <a:lnTo>
                    <a:pt x="264" y="416"/>
                  </a:lnTo>
                  <a:lnTo>
                    <a:pt x="245" y="419"/>
                  </a:lnTo>
                  <a:lnTo>
                    <a:pt x="225" y="420"/>
                  </a:lnTo>
                  <a:close/>
                  <a:moveTo>
                    <a:pt x="225" y="0"/>
                  </a:moveTo>
                  <a:lnTo>
                    <a:pt x="213" y="0"/>
                  </a:lnTo>
                  <a:lnTo>
                    <a:pt x="202" y="1"/>
                  </a:lnTo>
                  <a:lnTo>
                    <a:pt x="191" y="2"/>
                  </a:lnTo>
                  <a:lnTo>
                    <a:pt x="180" y="4"/>
                  </a:lnTo>
                  <a:lnTo>
                    <a:pt x="169" y="7"/>
                  </a:lnTo>
                  <a:lnTo>
                    <a:pt x="159" y="10"/>
                  </a:lnTo>
                  <a:lnTo>
                    <a:pt x="148" y="14"/>
                  </a:lnTo>
                  <a:lnTo>
                    <a:pt x="137" y="18"/>
                  </a:lnTo>
                  <a:lnTo>
                    <a:pt x="118" y="28"/>
                  </a:lnTo>
                  <a:lnTo>
                    <a:pt x="100" y="38"/>
                  </a:lnTo>
                  <a:lnTo>
                    <a:pt x="82" y="51"/>
                  </a:lnTo>
                  <a:lnTo>
                    <a:pt x="65" y="66"/>
                  </a:lnTo>
                  <a:lnTo>
                    <a:pt x="52" y="82"/>
                  </a:lnTo>
                  <a:lnTo>
                    <a:pt x="39" y="99"/>
                  </a:lnTo>
                  <a:lnTo>
                    <a:pt x="27" y="118"/>
                  </a:lnTo>
                  <a:lnTo>
                    <a:pt x="17" y="138"/>
                  </a:lnTo>
                  <a:lnTo>
                    <a:pt x="13" y="148"/>
                  </a:lnTo>
                  <a:lnTo>
                    <a:pt x="10" y="158"/>
                  </a:lnTo>
                  <a:lnTo>
                    <a:pt x="7" y="169"/>
                  </a:lnTo>
                  <a:lnTo>
                    <a:pt x="4" y="179"/>
                  </a:lnTo>
                  <a:lnTo>
                    <a:pt x="2" y="191"/>
                  </a:lnTo>
                  <a:lnTo>
                    <a:pt x="1" y="202"/>
                  </a:lnTo>
                  <a:lnTo>
                    <a:pt x="0" y="214"/>
                  </a:lnTo>
                  <a:lnTo>
                    <a:pt x="0" y="224"/>
                  </a:lnTo>
                  <a:lnTo>
                    <a:pt x="0" y="236"/>
                  </a:lnTo>
                  <a:lnTo>
                    <a:pt x="1" y="248"/>
                  </a:lnTo>
                  <a:lnTo>
                    <a:pt x="2" y="260"/>
                  </a:lnTo>
                  <a:lnTo>
                    <a:pt x="4" y="270"/>
                  </a:lnTo>
                  <a:lnTo>
                    <a:pt x="7" y="281"/>
                  </a:lnTo>
                  <a:lnTo>
                    <a:pt x="10" y="292"/>
                  </a:lnTo>
                  <a:lnTo>
                    <a:pt x="13" y="303"/>
                  </a:lnTo>
                  <a:lnTo>
                    <a:pt x="17" y="313"/>
                  </a:lnTo>
                  <a:lnTo>
                    <a:pt x="27" y="333"/>
                  </a:lnTo>
                  <a:lnTo>
                    <a:pt x="39" y="351"/>
                  </a:lnTo>
                  <a:lnTo>
                    <a:pt x="52" y="368"/>
                  </a:lnTo>
                  <a:lnTo>
                    <a:pt x="65" y="384"/>
                  </a:lnTo>
                  <a:lnTo>
                    <a:pt x="82" y="399"/>
                  </a:lnTo>
                  <a:lnTo>
                    <a:pt x="100" y="412"/>
                  </a:lnTo>
                  <a:lnTo>
                    <a:pt x="118" y="423"/>
                  </a:lnTo>
                  <a:lnTo>
                    <a:pt x="137" y="432"/>
                  </a:lnTo>
                  <a:lnTo>
                    <a:pt x="148" y="436"/>
                  </a:lnTo>
                  <a:lnTo>
                    <a:pt x="159" y="441"/>
                  </a:lnTo>
                  <a:lnTo>
                    <a:pt x="169" y="443"/>
                  </a:lnTo>
                  <a:lnTo>
                    <a:pt x="180" y="446"/>
                  </a:lnTo>
                  <a:lnTo>
                    <a:pt x="191" y="448"/>
                  </a:lnTo>
                  <a:lnTo>
                    <a:pt x="202" y="449"/>
                  </a:lnTo>
                  <a:lnTo>
                    <a:pt x="213" y="450"/>
                  </a:lnTo>
                  <a:lnTo>
                    <a:pt x="225" y="450"/>
                  </a:lnTo>
                  <a:lnTo>
                    <a:pt x="237" y="450"/>
                  </a:lnTo>
                  <a:lnTo>
                    <a:pt x="248" y="449"/>
                  </a:lnTo>
                  <a:lnTo>
                    <a:pt x="259" y="448"/>
                  </a:lnTo>
                  <a:lnTo>
                    <a:pt x="271" y="446"/>
                  </a:lnTo>
                  <a:lnTo>
                    <a:pt x="282" y="443"/>
                  </a:lnTo>
                  <a:lnTo>
                    <a:pt x="292" y="441"/>
                  </a:lnTo>
                  <a:lnTo>
                    <a:pt x="303" y="436"/>
                  </a:lnTo>
                  <a:lnTo>
                    <a:pt x="313" y="432"/>
                  </a:lnTo>
                  <a:lnTo>
                    <a:pt x="332" y="423"/>
                  </a:lnTo>
                  <a:lnTo>
                    <a:pt x="351" y="412"/>
                  </a:lnTo>
                  <a:lnTo>
                    <a:pt x="368" y="399"/>
                  </a:lnTo>
                  <a:lnTo>
                    <a:pt x="384" y="384"/>
                  </a:lnTo>
                  <a:lnTo>
                    <a:pt x="399" y="368"/>
                  </a:lnTo>
                  <a:lnTo>
                    <a:pt x="412" y="351"/>
                  </a:lnTo>
                  <a:lnTo>
                    <a:pt x="423" y="333"/>
                  </a:lnTo>
                  <a:lnTo>
                    <a:pt x="432" y="313"/>
                  </a:lnTo>
                  <a:lnTo>
                    <a:pt x="437" y="303"/>
                  </a:lnTo>
                  <a:lnTo>
                    <a:pt x="440" y="292"/>
                  </a:lnTo>
                  <a:lnTo>
                    <a:pt x="443" y="281"/>
                  </a:lnTo>
                  <a:lnTo>
                    <a:pt x="445" y="270"/>
                  </a:lnTo>
                  <a:lnTo>
                    <a:pt x="447" y="260"/>
                  </a:lnTo>
                  <a:lnTo>
                    <a:pt x="450" y="248"/>
                  </a:lnTo>
                  <a:lnTo>
                    <a:pt x="450" y="236"/>
                  </a:lnTo>
                  <a:lnTo>
                    <a:pt x="451" y="224"/>
                  </a:lnTo>
                  <a:lnTo>
                    <a:pt x="450" y="214"/>
                  </a:lnTo>
                  <a:lnTo>
                    <a:pt x="450" y="202"/>
                  </a:lnTo>
                  <a:lnTo>
                    <a:pt x="447" y="191"/>
                  </a:lnTo>
                  <a:lnTo>
                    <a:pt x="445" y="179"/>
                  </a:lnTo>
                  <a:lnTo>
                    <a:pt x="443" y="169"/>
                  </a:lnTo>
                  <a:lnTo>
                    <a:pt x="440" y="158"/>
                  </a:lnTo>
                  <a:lnTo>
                    <a:pt x="437" y="148"/>
                  </a:lnTo>
                  <a:lnTo>
                    <a:pt x="432" y="138"/>
                  </a:lnTo>
                  <a:lnTo>
                    <a:pt x="423" y="118"/>
                  </a:lnTo>
                  <a:lnTo>
                    <a:pt x="412" y="99"/>
                  </a:lnTo>
                  <a:lnTo>
                    <a:pt x="399" y="82"/>
                  </a:lnTo>
                  <a:lnTo>
                    <a:pt x="384" y="66"/>
                  </a:lnTo>
                  <a:lnTo>
                    <a:pt x="368" y="51"/>
                  </a:lnTo>
                  <a:lnTo>
                    <a:pt x="351" y="38"/>
                  </a:lnTo>
                  <a:lnTo>
                    <a:pt x="332" y="28"/>
                  </a:lnTo>
                  <a:lnTo>
                    <a:pt x="313" y="18"/>
                  </a:lnTo>
                  <a:lnTo>
                    <a:pt x="303" y="14"/>
                  </a:lnTo>
                  <a:lnTo>
                    <a:pt x="292" y="10"/>
                  </a:lnTo>
                  <a:lnTo>
                    <a:pt x="282" y="7"/>
                  </a:lnTo>
                  <a:lnTo>
                    <a:pt x="271" y="4"/>
                  </a:lnTo>
                  <a:lnTo>
                    <a:pt x="259" y="2"/>
                  </a:lnTo>
                  <a:lnTo>
                    <a:pt x="248" y="1"/>
                  </a:lnTo>
                  <a:lnTo>
                    <a:pt x="237"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349">
              <a:extLst>
                <a:ext uri="{FF2B5EF4-FFF2-40B4-BE49-F238E27FC236}">
                  <a16:creationId xmlns:a16="http://schemas.microsoft.com/office/drawing/2014/main" id="{F9CF074D-806F-403E-80FB-1497AD27A040}"/>
                </a:ext>
              </a:extLst>
            </p:cNvPr>
            <p:cNvSpPr>
              <a:spLocks noEditPoints="1"/>
            </p:cNvSpPr>
            <p:nvPr/>
          </p:nvSpPr>
          <p:spPr bwMode="auto">
            <a:xfrm>
              <a:off x="8167688" y="2505075"/>
              <a:ext cx="200025" cy="257175"/>
            </a:xfrm>
            <a:custGeom>
              <a:avLst/>
              <a:gdLst>
                <a:gd name="T0" fmla="*/ 250 w 630"/>
                <a:gd name="T1" fmla="*/ 88 h 811"/>
                <a:gd name="T2" fmla="*/ 257 w 630"/>
                <a:gd name="T3" fmla="*/ 75 h 811"/>
                <a:gd name="T4" fmla="*/ 263 w 630"/>
                <a:gd name="T5" fmla="*/ 52 h 811"/>
                <a:gd name="T6" fmla="*/ 291 w 630"/>
                <a:gd name="T7" fmla="*/ 33 h 811"/>
                <a:gd name="T8" fmla="*/ 354 w 630"/>
                <a:gd name="T9" fmla="*/ 37 h 811"/>
                <a:gd name="T10" fmla="*/ 374 w 630"/>
                <a:gd name="T11" fmla="*/ 56 h 811"/>
                <a:gd name="T12" fmla="*/ 378 w 630"/>
                <a:gd name="T13" fmla="*/ 78 h 811"/>
                <a:gd name="T14" fmla="*/ 387 w 630"/>
                <a:gd name="T15" fmla="*/ 89 h 811"/>
                <a:gd name="T16" fmla="*/ 179 w 630"/>
                <a:gd name="T17" fmla="*/ 240 h 811"/>
                <a:gd name="T18" fmla="*/ 53 w 630"/>
                <a:gd name="T19" fmla="*/ 779 h 811"/>
                <a:gd name="T20" fmla="*/ 30 w 630"/>
                <a:gd name="T21" fmla="*/ 748 h 811"/>
                <a:gd name="T22" fmla="*/ 75 w 630"/>
                <a:gd name="T23" fmla="*/ 180 h 811"/>
                <a:gd name="T24" fmla="*/ 62 w 630"/>
                <a:gd name="T25" fmla="*/ 187 h 811"/>
                <a:gd name="T26" fmla="*/ 60 w 630"/>
                <a:gd name="T27" fmla="*/ 740 h 811"/>
                <a:gd name="T28" fmla="*/ 68 w 630"/>
                <a:gd name="T29" fmla="*/ 750 h 811"/>
                <a:gd name="T30" fmla="*/ 361 w 630"/>
                <a:gd name="T31" fmla="*/ 750 h 811"/>
                <a:gd name="T32" fmla="*/ 370 w 630"/>
                <a:gd name="T33" fmla="*/ 740 h 811"/>
                <a:gd name="T34" fmla="*/ 366 w 630"/>
                <a:gd name="T35" fmla="*/ 726 h 811"/>
                <a:gd name="T36" fmla="*/ 90 w 630"/>
                <a:gd name="T37" fmla="*/ 721 h 811"/>
                <a:gd name="T38" fmla="*/ 151 w 630"/>
                <a:gd name="T39" fmla="*/ 261 h 811"/>
                <a:gd name="T40" fmla="*/ 161 w 630"/>
                <a:gd name="T41" fmla="*/ 270 h 811"/>
                <a:gd name="T42" fmla="*/ 474 w 630"/>
                <a:gd name="T43" fmla="*/ 268 h 811"/>
                <a:gd name="T44" fmla="*/ 480 w 630"/>
                <a:gd name="T45" fmla="*/ 256 h 811"/>
                <a:gd name="T46" fmla="*/ 541 w 630"/>
                <a:gd name="T47" fmla="*/ 366 h 811"/>
                <a:gd name="T48" fmla="*/ 552 w 630"/>
                <a:gd name="T49" fmla="*/ 376 h 811"/>
                <a:gd name="T50" fmla="*/ 566 w 630"/>
                <a:gd name="T51" fmla="*/ 371 h 811"/>
                <a:gd name="T52" fmla="*/ 570 w 630"/>
                <a:gd name="T53" fmla="*/ 195 h 811"/>
                <a:gd name="T54" fmla="*/ 564 w 630"/>
                <a:gd name="T55" fmla="*/ 183 h 811"/>
                <a:gd name="T56" fmla="*/ 480 w 630"/>
                <a:gd name="T57" fmla="*/ 150 h 811"/>
                <a:gd name="T58" fmla="*/ 602 w 630"/>
                <a:gd name="T59" fmla="*/ 365 h 811"/>
                <a:gd name="T60" fmla="*/ 615 w 630"/>
                <a:gd name="T61" fmla="*/ 371 h 811"/>
                <a:gd name="T62" fmla="*/ 628 w 630"/>
                <a:gd name="T63" fmla="*/ 365 h 811"/>
                <a:gd name="T64" fmla="*/ 630 w 630"/>
                <a:gd name="T65" fmla="*/ 133 h 811"/>
                <a:gd name="T66" fmla="*/ 621 w 630"/>
                <a:gd name="T67" fmla="*/ 121 h 811"/>
                <a:gd name="T68" fmla="*/ 479 w 630"/>
                <a:gd name="T69" fmla="*/ 72 h 811"/>
                <a:gd name="T70" fmla="*/ 471 w 630"/>
                <a:gd name="T71" fmla="*/ 61 h 811"/>
                <a:gd name="T72" fmla="*/ 400 w 630"/>
                <a:gd name="T73" fmla="*/ 41 h 811"/>
                <a:gd name="T74" fmla="*/ 380 w 630"/>
                <a:gd name="T75" fmla="*/ 17 h 811"/>
                <a:gd name="T76" fmla="*/ 340 w 630"/>
                <a:gd name="T77" fmla="*/ 1 h 811"/>
                <a:gd name="T78" fmla="*/ 284 w 630"/>
                <a:gd name="T79" fmla="*/ 3 h 811"/>
                <a:gd name="T80" fmla="*/ 249 w 630"/>
                <a:gd name="T81" fmla="*/ 22 h 811"/>
                <a:gd name="T82" fmla="*/ 231 w 630"/>
                <a:gd name="T83" fmla="*/ 52 h 811"/>
                <a:gd name="T84" fmla="*/ 156 w 630"/>
                <a:gd name="T85" fmla="*/ 63 h 811"/>
                <a:gd name="T86" fmla="*/ 150 w 630"/>
                <a:gd name="T87" fmla="*/ 75 h 811"/>
                <a:gd name="T88" fmla="*/ 6 w 630"/>
                <a:gd name="T89" fmla="*/ 123 h 811"/>
                <a:gd name="T90" fmla="*/ 0 w 630"/>
                <a:gd name="T91" fmla="*/ 135 h 811"/>
                <a:gd name="T92" fmla="*/ 4 w 630"/>
                <a:gd name="T93" fmla="*/ 770 h 811"/>
                <a:gd name="T94" fmla="*/ 23 w 630"/>
                <a:gd name="T95" fmla="*/ 797 h 811"/>
                <a:gd name="T96" fmla="*/ 56 w 630"/>
                <a:gd name="T97" fmla="*/ 810 h 811"/>
                <a:gd name="T98" fmla="*/ 380 w 630"/>
                <a:gd name="T99" fmla="*/ 810 h 811"/>
                <a:gd name="T100" fmla="*/ 389 w 630"/>
                <a:gd name="T101" fmla="*/ 800 h 811"/>
                <a:gd name="T102" fmla="*/ 385 w 630"/>
                <a:gd name="T103" fmla="*/ 786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30" h="811">
                  <a:moveTo>
                    <a:pt x="179" y="90"/>
                  </a:moveTo>
                  <a:lnTo>
                    <a:pt x="242" y="90"/>
                  </a:lnTo>
                  <a:lnTo>
                    <a:pt x="245" y="90"/>
                  </a:lnTo>
                  <a:lnTo>
                    <a:pt x="247" y="89"/>
                  </a:lnTo>
                  <a:lnTo>
                    <a:pt x="250" y="88"/>
                  </a:lnTo>
                  <a:lnTo>
                    <a:pt x="252" y="86"/>
                  </a:lnTo>
                  <a:lnTo>
                    <a:pt x="254" y="84"/>
                  </a:lnTo>
                  <a:lnTo>
                    <a:pt x="255" y="81"/>
                  </a:lnTo>
                  <a:lnTo>
                    <a:pt x="257" y="78"/>
                  </a:lnTo>
                  <a:lnTo>
                    <a:pt x="257" y="75"/>
                  </a:lnTo>
                  <a:lnTo>
                    <a:pt x="257" y="70"/>
                  </a:lnTo>
                  <a:lnTo>
                    <a:pt x="258" y="64"/>
                  </a:lnTo>
                  <a:lnTo>
                    <a:pt x="259" y="60"/>
                  </a:lnTo>
                  <a:lnTo>
                    <a:pt x="261" y="56"/>
                  </a:lnTo>
                  <a:lnTo>
                    <a:pt x="263" y="52"/>
                  </a:lnTo>
                  <a:lnTo>
                    <a:pt x="265" y="47"/>
                  </a:lnTo>
                  <a:lnTo>
                    <a:pt x="268" y="44"/>
                  </a:lnTo>
                  <a:lnTo>
                    <a:pt x="271" y="42"/>
                  </a:lnTo>
                  <a:lnTo>
                    <a:pt x="280" y="37"/>
                  </a:lnTo>
                  <a:lnTo>
                    <a:pt x="291" y="33"/>
                  </a:lnTo>
                  <a:lnTo>
                    <a:pt x="304" y="31"/>
                  </a:lnTo>
                  <a:lnTo>
                    <a:pt x="318" y="30"/>
                  </a:lnTo>
                  <a:lnTo>
                    <a:pt x="331" y="31"/>
                  </a:lnTo>
                  <a:lnTo>
                    <a:pt x="344" y="33"/>
                  </a:lnTo>
                  <a:lnTo>
                    <a:pt x="354" y="37"/>
                  </a:lnTo>
                  <a:lnTo>
                    <a:pt x="362" y="42"/>
                  </a:lnTo>
                  <a:lnTo>
                    <a:pt x="367" y="44"/>
                  </a:lnTo>
                  <a:lnTo>
                    <a:pt x="370" y="47"/>
                  </a:lnTo>
                  <a:lnTo>
                    <a:pt x="372" y="52"/>
                  </a:lnTo>
                  <a:lnTo>
                    <a:pt x="374" y="56"/>
                  </a:lnTo>
                  <a:lnTo>
                    <a:pt x="376" y="60"/>
                  </a:lnTo>
                  <a:lnTo>
                    <a:pt x="377" y="64"/>
                  </a:lnTo>
                  <a:lnTo>
                    <a:pt x="377" y="70"/>
                  </a:lnTo>
                  <a:lnTo>
                    <a:pt x="378" y="75"/>
                  </a:lnTo>
                  <a:lnTo>
                    <a:pt x="378" y="78"/>
                  </a:lnTo>
                  <a:lnTo>
                    <a:pt x="380" y="81"/>
                  </a:lnTo>
                  <a:lnTo>
                    <a:pt x="381" y="84"/>
                  </a:lnTo>
                  <a:lnTo>
                    <a:pt x="383" y="86"/>
                  </a:lnTo>
                  <a:lnTo>
                    <a:pt x="385" y="88"/>
                  </a:lnTo>
                  <a:lnTo>
                    <a:pt x="387" y="89"/>
                  </a:lnTo>
                  <a:lnTo>
                    <a:pt x="390" y="90"/>
                  </a:lnTo>
                  <a:lnTo>
                    <a:pt x="393" y="90"/>
                  </a:lnTo>
                  <a:lnTo>
                    <a:pt x="450" y="90"/>
                  </a:lnTo>
                  <a:lnTo>
                    <a:pt x="450" y="240"/>
                  </a:lnTo>
                  <a:lnTo>
                    <a:pt x="179" y="240"/>
                  </a:lnTo>
                  <a:lnTo>
                    <a:pt x="179" y="90"/>
                  </a:lnTo>
                  <a:close/>
                  <a:moveTo>
                    <a:pt x="374" y="781"/>
                  </a:moveTo>
                  <a:lnTo>
                    <a:pt x="75" y="781"/>
                  </a:lnTo>
                  <a:lnTo>
                    <a:pt x="63" y="780"/>
                  </a:lnTo>
                  <a:lnTo>
                    <a:pt x="53" y="779"/>
                  </a:lnTo>
                  <a:lnTo>
                    <a:pt x="46" y="776"/>
                  </a:lnTo>
                  <a:lnTo>
                    <a:pt x="39" y="772"/>
                  </a:lnTo>
                  <a:lnTo>
                    <a:pt x="35" y="765"/>
                  </a:lnTo>
                  <a:lnTo>
                    <a:pt x="32" y="758"/>
                  </a:lnTo>
                  <a:lnTo>
                    <a:pt x="30" y="748"/>
                  </a:lnTo>
                  <a:lnTo>
                    <a:pt x="30" y="736"/>
                  </a:lnTo>
                  <a:lnTo>
                    <a:pt x="30" y="150"/>
                  </a:lnTo>
                  <a:lnTo>
                    <a:pt x="150" y="150"/>
                  </a:lnTo>
                  <a:lnTo>
                    <a:pt x="150" y="180"/>
                  </a:lnTo>
                  <a:lnTo>
                    <a:pt x="75" y="180"/>
                  </a:lnTo>
                  <a:lnTo>
                    <a:pt x="71" y="181"/>
                  </a:lnTo>
                  <a:lnTo>
                    <a:pt x="68" y="182"/>
                  </a:lnTo>
                  <a:lnTo>
                    <a:pt x="66" y="183"/>
                  </a:lnTo>
                  <a:lnTo>
                    <a:pt x="64" y="185"/>
                  </a:lnTo>
                  <a:lnTo>
                    <a:pt x="62" y="187"/>
                  </a:lnTo>
                  <a:lnTo>
                    <a:pt x="61" y="190"/>
                  </a:lnTo>
                  <a:lnTo>
                    <a:pt x="60" y="193"/>
                  </a:lnTo>
                  <a:lnTo>
                    <a:pt x="60" y="195"/>
                  </a:lnTo>
                  <a:lnTo>
                    <a:pt x="60" y="736"/>
                  </a:lnTo>
                  <a:lnTo>
                    <a:pt x="60" y="740"/>
                  </a:lnTo>
                  <a:lnTo>
                    <a:pt x="61" y="742"/>
                  </a:lnTo>
                  <a:lnTo>
                    <a:pt x="62" y="745"/>
                  </a:lnTo>
                  <a:lnTo>
                    <a:pt x="64" y="747"/>
                  </a:lnTo>
                  <a:lnTo>
                    <a:pt x="66" y="748"/>
                  </a:lnTo>
                  <a:lnTo>
                    <a:pt x="68" y="750"/>
                  </a:lnTo>
                  <a:lnTo>
                    <a:pt x="71" y="750"/>
                  </a:lnTo>
                  <a:lnTo>
                    <a:pt x="75" y="751"/>
                  </a:lnTo>
                  <a:lnTo>
                    <a:pt x="355" y="751"/>
                  </a:lnTo>
                  <a:lnTo>
                    <a:pt x="358" y="750"/>
                  </a:lnTo>
                  <a:lnTo>
                    <a:pt x="361" y="750"/>
                  </a:lnTo>
                  <a:lnTo>
                    <a:pt x="364" y="748"/>
                  </a:lnTo>
                  <a:lnTo>
                    <a:pt x="366" y="747"/>
                  </a:lnTo>
                  <a:lnTo>
                    <a:pt x="368" y="745"/>
                  </a:lnTo>
                  <a:lnTo>
                    <a:pt x="369" y="742"/>
                  </a:lnTo>
                  <a:lnTo>
                    <a:pt x="370" y="740"/>
                  </a:lnTo>
                  <a:lnTo>
                    <a:pt x="370" y="736"/>
                  </a:lnTo>
                  <a:lnTo>
                    <a:pt x="370" y="733"/>
                  </a:lnTo>
                  <a:lnTo>
                    <a:pt x="369" y="730"/>
                  </a:lnTo>
                  <a:lnTo>
                    <a:pt x="368" y="728"/>
                  </a:lnTo>
                  <a:lnTo>
                    <a:pt x="366" y="726"/>
                  </a:lnTo>
                  <a:lnTo>
                    <a:pt x="364" y="724"/>
                  </a:lnTo>
                  <a:lnTo>
                    <a:pt x="361" y="723"/>
                  </a:lnTo>
                  <a:lnTo>
                    <a:pt x="358" y="721"/>
                  </a:lnTo>
                  <a:lnTo>
                    <a:pt x="355" y="721"/>
                  </a:lnTo>
                  <a:lnTo>
                    <a:pt x="90" y="721"/>
                  </a:lnTo>
                  <a:lnTo>
                    <a:pt x="90" y="210"/>
                  </a:lnTo>
                  <a:lnTo>
                    <a:pt x="150" y="210"/>
                  </a:lnTo>
                  <a:lnTo>
                    <a:pt x="150" y="256"/>
                  </a:lnTo>
                  <a:lnTo>
                    <a:pt x="150" y="259"/>
                  </a:lnTo>
                  <a:lnTo>
                    <a:pt x="151" y="261"/>
                  </a:lnTo>
                  <a:lnTo>
                    <a:pt x="152" y="264"/>
                  </a:lnTo>
                  <a:lnTo>
                    <a:pt x="154" y="267"/>
                  </a:lnTo>
                  <a:lnTo>
                    <a:pt x="156" y="268"/>
                  </a:lnTo>
                  <a:lnTo>
                    <a:pt x="159" y="270"/>
                  </a:lnTo>
                  <a:lnTo>
                    <a:pt x="161" y="270"/>
                  </a:lnTo>
                  <a:lnTo>
                    <a:pt x="164" y="271"/>
                  </a:lnTo>
                  <a:lnTo>
                    <a:pt x="465" y="271"/>
                  </a:lnTo>
                  <a:lnTo>
                    <a:pt x="468" y="270"/>
                  </a:lnTo>
                  <a:lnTo>
                    <a:pt x="471" y="270"/>
                  </a:lnTo>
                  <a:lnTo>
                    <a:pt x="474" y="268"/>
                  </a:lnTo>
                  <a:lnTo>
                    <a:pt x="476" y="267"/>
                  </a:lnTo>
                  <a:lnTo>
                    <a:pt x="477" y="264"/>
                  </a:lnTo>
                  <a:lnTo>
                    <a:pt x="479" y="261"/>
                  </a:lnTo>
                  <a:lnTo>
                    <a:pt x="479" y="259"/>
                  </a:lnTo>
                  <a:lnTo>
                    <a:pt x="480" y="256"/>
                  </a:lnTo>
                  <a:lnTo>
                    <a:pt x="480" y="210"/>
                  </a:lnTo>
                  <a:lnTo>
                    <a:pt x="540" y="210"/>
                  </a:lnTo>
                  <a:lnTo>
                    <a:pt x="540" y="361"/>
                  </a:lnTo>
                  <a:lnTo>
                    <a:pt x="540" y="364"/>
                  </a:lnTo>
                  <a:lnTo>
                    <a:pt x="541" y="366"/>
                  </a:lnTo>
                  <a:lnTo>
                    <a:pt x="542" y="369"/>
                  </a:lnTo>
                  <a:lnTo>
                    <a:pt x="544" y="371"/>
                  </a:lnTo>
                  <a:lnTo>
                    <a:pt x="546" y="374"/>
                  </a:lnTo>
                  <a:lnTo>
                    <a:pt x="549" y="375"/>
                  </a:lnTo>
                  <a:lnTo>
                    <a:pt x="552" y="376"/>
                  </a:lnTo>
                  <a:lnTo>
                    <a:pt x="555" y="376"/>
                  </a:lnTo>
                  <a:lnTo>
                    <a:pt x="558" y="376"/>
                  </a:lnTo>
                  <a:lnTo>
                    <a:pt x="560" y="375"/>
                  </a:lnTo>
                  <a:lnTo>
                    <a:pt x="564" y="374"/>
                  </a:lnTo>
                  <a:lnTo>
                    <a:pt x="566" y="371"/>
                  </a:lnTo>
                  <a:lnTo>
                    <a:pt x="568" y="369"/>
                  </a:lnTo>
                  <a:lnTo>
                    <a:pt x="569" y="367"/>
                  </a:lnTo>
                  <a:lnTo>
                    <a:pt x="570" y="364"/>
                  </a:lnTo>
                  <a:lnTo>
                    <a:pt x="570" y="361"/>
                  </a:lnTo>
                  <a:lnTo>
                    <a:pt x="570" y="195"/>
                  </a:lnTo>
                  <a:lnTo>
                    <a:pt x="570" y="193"/>
                  </a:lnTo>
                  <a:lnTo>
                    <a:pt x="569" y="190"/>
                  </a:lnTo>
                  <a:lnTo>
                    <a:pt x="568" y="187"/>
                  </a:lnTo>
                  <a:lnTo>
                    <a:pt x="566" y="185"/>
                  </a:lnTo>
                  <a:lnTo>
                    <a:pt x="564" y="183"/>
                  </a:lnTo>
                  <a:lnTo>
                    <a:pt x="560" y="182"/>
                  </a:lnTo>
                  <a:lnTo>
                    <a:pt x="558" y="181"/>
                  </a:lnTo>
                  <a:lnTo>
                    <a:pt x="555" y="180"/>
                  </a:lnTo>
                  <a:lnTo>
                    <a:pt x="480" y="180"/>
                  </a:lnTo>
                  <a:lnTo>
                    <a:pt x="480" y="150"/>
                  </a:lnTo>
                  <a:lnTo>
                    <a:pt x="600" y="150"/>
                  </a:lnTo>
                  <a:lnTo>
                    <a:pt x="600" y="357"/>
                  </a:lnTo>
                  <a:lnTo>
                    <a:pt x="600" y="360"/>
                  </a:lnTo>
                  <a:lnTo>
                    <a:pt x="601" y="362"/>
                  </a:lnTo>
                  <a:lnTo>
                    <a:pt x="602" y="365"/>
                  </a:lnTo>
                  <a:lnTo>
                    <a:pt x="604" y="367"/>
                  </a:lnTo>
                  <a:lnTo>
                    <a:pt x="606" y="368"/>
                  </a:lnTo>
                  <a:lnTo>
                    <a:pt x="610" y="370"/>
                  </a:lnTo>
                  <a:lnTo>
                    <a:pt x="612" y="370"/>
                  </a:lnTo>
                  <a:lnTo>
                    <a:pt x="615" y="371"/>
                  </a:lnTo>
                  <a:lnTo>
                    <a:pt x="618" y="370"/>
                  </a:lnTo>
                  <a:lnTo>
                    <a:pt x="621" y="370"/>
                  </a:lnTo>
                  <a:lnTo>
                    <a:pt x="624" y="368"/>
                  </a:lnTo>
                  <a:lnTo>
                    <a:pt x="626" y="367"/>
                  </a:lnTo>
                  <a:lnTo>
                    <a:pt x="628" y="365"/>
                  </a:lnTo>
                  <a:lnTo>
                    <a:pt x="629" y="362"/>
                  </a:lnTo>
                  <a:lnTo>
                    <a:pt x="630" y="360"/>
                  </a:lnTo>
                  <a:lnTo>
                    <a:pt x="630" y="357"/>
                  </a:lnTo>
                  <a:lnTo>
                    <a:pt x="630" y="135"/>
                  </a:lnTo>
                  <a:lnTo>
                    <a:pt x="630" y="133"/>
                  </a:lnTo>
                  <a:lnTo>
                    <a:pt x="629" y="130"/>
                  </a:lnTo>
                  <a:lnTo>
                    <a:pt x="628" y="127"/>
                  </a:lnTo>
                  <a:lnTo>
                    <a:pt x="626" y="125"/>
                  </a:lnTo>
                  <a:lnTo>
                    <a:pt x="624" y="123"/>
                  </a:lnTo>
                  <a:lnTo>
                    <a:pt x="621" y="121"/>
                  </a:lnTo>
                  <a:lnTo>
                    <a:pt x="618" y="121"/>
                  </a:lnTo>
                  <a:lnTo>
                    <a:pt x="615" y="120"/>
                  </a:lnTo>
                  <a:lnTo>
                    <a:pt x="480" y="120"/>
                  </a:lnTo>
                  <a:lnTo>
                    <a:pt x="480" y="75"/>
                  </a:lnTo>
                  <a:lnTo>
                    <a:pt x="479" y="72"/>
                  </a:lnTo>
                  <a:lnTo>
                    <a:pt x="479" y="70"/>
                  </a:lnTo>
                  <a:lnTo>
                    <a:pt x="477" y="68"/>
                  </a:lnTo>
                  <a:lnTo>
                    <a:pt x="476" y="64"/>
                  </a:lnTo>
                  <a:lnTo>
                    <a:pt x="474" y="63"/>
                  </a:lnTo>
                  <a:lnTo>
                    <a:pt x="471" y="61"/>
                  </a:lnTo>
                  <a:lnTo>
                    <a:pt x="468" y="60"/>
                  </a:lnTo>
                  <a:lnTo>
                    <a:pt x="465" y="60"/>
                  </a:lnTo>
                  <a:lnTo>
                    <a:pt x="406" y="60"/>
                  </a:lnTo>
                  <a:lnTo>
                    <a:pt x="404" y="52"/>
                  </a:lnTo>
                  <a:lnTo>
                    <a:pt x="400" y="41"/>
                  </a:lnTo>
                  <a:lnTo>
                    <a:pt x="398" y="37"/>
                  </a:lnTo>
                  <a:lnTo>
                    <a:pt x="393" y="31"/>
                  </a:lnTo>
                  <a:lnTo>
                    <a:pt x="390" y="26"/>
                  </a:lnTo>
                  <a:lnTo>
                    <a:pt x="385" y="22"/>
                  </a:lnTo>
                  <a:lnTo>
                    <a:pt x="380" y="17"/>
                  </a:lnTo>
                  <a:lnTo>
                    <a:pt x="374" y="13"/>
                  </a:lnTo>
                  <a:lnTo>
                    <a:pt x="367" y="10"/>
                  </a:lnTo>
                  <a:lnTo>
                    <a:pt x="359" y="7"/>
                  </a:lnTo>
                  <a:lnTo>
                    <a:pt x="350" y="3"/>
                  </a:lnTo>
                  <a:lnTo>
                    <a:pt x="340" y="1"/>
                  </a:lnTo>
                  <a:lnTo>
                    <a:pt x="329" y="0"/>
                  </a:lnTo>
                  <a:lnTo>
                    <a:pt x="318" y="0"/>
                  </a:lnTo>
                  <a:lnTo>
                    <a:pt x="306" y="0"/>
                  </a:lnTo>
                  <a:lnTo>
                    <a:pt x="294" y="1"/>
                  </a:lnTo>
                  <a:lnTo>
                    <a:pt x="284" y="3"/>
                  </a:lnTo>
                  <a:lnTo>
                    <a:pt x="276" y="7"/>
                  </a:lnTo>
                  <a:lnTo>
                    <a:pt x="268" y="10"/>
                  </a:lnTo>
                  <a:lnTo>
                    <a:pt x="261" y="13"/>
                  </a:lnTo>
                  <a:lnTo>
                    <a:pt x="254" y="17"/>
                  </a:lnTo>
                  <a:lnTo>
                    <a:pt x="249" y="22"/>
                  </a:lnTo>
                  <a:lnTo>
                    <a:pt x="245" y="26"/>
                  </a:lnTo>
                  <a:lnTo>
                    <a:pt x="240" y="31"/>
                  </a:lnTo>
                  <a:lnTo>
                    <a:pt x="237" y="37"/>
                  </a:lnTo>
                  <a:lnTo>
                    <a:pt x="234" y="41"/>
                  </a:lnTo>
                  <a:lnTo>
                    <a:pt x="231" y="52"/>
                  </a:lnTo>
                  <a:lnTo>
                    <a:pt x="228" y="60"/>
                  </a:lnTo>
                  <a:lnTo>
                    <a:pt x="164" y="60"/>
                  </a:lnTo>
                  <a:lnTo>
                    <a:pt x="161" y="60"/>
                  </a:lnTo>
                  <a:lnTo>
                    <a:pt x="159" y="61"/>
                  </a:lnTo>
                  <a:lnTo>
                    <a:pt x="156" y="63"/>
                  </a:lnTo>
                  <a:lnTo>
                    <a:pt x="154" y="64"/>
                  </a:lnTo>
                  <a:lnTo>
                    <a:pt x="152" y="68"/>
                  </a:lnTo>
                  <a:lnTo>
                    <a:pt x="151" y="70"/>
                  </a:lnTo>
                  <a:lnTo>
                    <a:pt x="150" y="72"/>
                  </a:lnTo>
                  <a:lnTo>
                    <a:pt x="150" y="75"/>
                  </a:lnTo>
                  <a:lnTo>
                    <a:pt x="150" y="120"/>
                  </a:lnTo>
                  <a:lnTo>
                    <a:pt x="15" y="120"/>
                  </a:lnTo>
                  <a:lnTo>
                    <a:pt x="11" y="121"/>
                  </a:lnTo>
                  <a:lnTo>
                    <a:pt x="8" y="121"/>
                  </a:lnTo>
                  <a:lnTo>
                    <a:pt x="6" y="123"/>
                  </a:lnTo>
                  <a:lnTo>
                    <a:pt x="4" y="125"/>
                  </a:lnTo>
                  <a:lnTo>
                    <a:pt x="2" y="127"/>
                  </a:lnTo>
                  <a:lnTo>
                    <a:pt x="1" y="130"/>
                  </a:lnTo>
                  <a:lnTo>
                    <a:pt x="0" y="133"/>
                  </a:lnTo>
                  <a:lnTo>
                    <a:pt x="0" y="135"/>
                  </a:lnTo>
                  <a:lnTo>
                    <a:pt x="0" y="736"/>
                  </a:lnTo>
                  <a:lnTo>
                    <a:pt x="0" y="745"/>
                  </a:lnTo>
                  <a:lnTo>
                    <a:pt x="1" y="754"/>
                  </a:lnTo>
                  <a:lnTo>
                    <a:pt x="2" y="762"/>
                  </a:lnTo>
                  <a:lnTo>
                    <a:pt x="4" y="770"/>
                  </a:lnTo>
                  <a:lnTo>
                    <a:pt x="7" y="776"/>
                  </a:lnTo>
                  <a:lnTo>
                    <a:pt x="10" y="782"/>
                  </a:lnTo>
                  <a:lnTo>
                    <a:pt x="14" y="788"/>
                  </a:lnTo>
                  <a:lnTo>
                    <a:pt x="18" y="793"/>
                  </a:lnTo>
                  <a:lnTo>
                    <a:pt x="23" y="797"/>
                  </a:lnTo>
                  <a:lnTo>
                    <a:pt x="29" y="801"/>
                  </a:lnTo>
                  <a:lnTo>
                    <a:pt x="35" y="804"/>
                  </a:lnTo>
                  <a:lnTo>
                    <a:pt x="41" y="807"/>
                  </a:lnTo>
                  <a:lnTo>
                    <a:pt x="49" y="808"/>
                  </a:lnTo>
                  <a:lnTo>
                    <a:pt x="56" y="810"/>
                  </a:lnTo>
                  <a:lnTo>
                    <a:pt x="65" y="811"/>
                  </a:lnTo>
                  <a:lnTo>
                    <a:pt x="75" y="811"/>
                  </a:lnTo>
                  <a:lnTo>
                    <a:pt x="374" y="811"/>
                  </a:lnTo>
                  <a:lnTo>
                    <a:pt x="377" y="811"/>
                  </a:lnTo>
                  <a:lnTo>
                    <a:pt x="380" y="810"/>
                  </a:lnTo>
                  <a:lnTo>
                    <a:pt x="383" y="809"/>
                  </a:lnTo>
                  <a:lnTo>
                    <a:pt x="385" y="807"/>
                  </a:lnTo>
                  <a:lnTo>
                    <a:pt x="387" y="805"/>
                  </a:lnTo>
                  <a:lnTo>
                    <a:pt x="388" y="803"/>
                  </a:lnTo>
                  <a:lnTo>
                    <a:pt x="389" y="800"/>
                  </a:lnTo>
                  <a:lnTo>
                    <a:pt x="389" y="796"/>
                  </a:lnTo>
                  <a:lnTo>
                    <a:pt x="389" y="793"/>
                  </a:lnTo>
                  <a:lnTo>
                    <a:pt x="388" y="791"/>
                  </a:lnTo>
                  <a:lnTo>
                    <a:pt x="387" y="788"/>
                  </a:lnTo>
                  <a:lnTo>
                    <a:pt x="385" y="786"/>
                  </a:lnTo>
                  <a:lnTo>
                    <a:pt x="383" y="784"/>
                  </a:lnTo>
                  <a:lnTo>
                    <a:pt x="380" y="782"/>
                  </a:lnTo>
                  <a:lnTo>
                    <a:pt x="377" y="781"/>
                  </a:lnTo>
                  <a:lnTo>
                    <a:pt x="374" y="7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350">
              <a:extLst>
                <a:ext uri="{FF2B5EF4-FFF2-40B4-BE49-F238E27FC236}">
                  <a16:creationId xmlns:a16="http://schemas.microsoft.com/office/drawing/2014/main" id="{B0AE23F3-4647-44CC-B23C-FDB31775BA9D}"/>
                </a:ext>
              </a:extLst>
            </p:cNvPr>
            <p:cNvSpPr>
              <a:spLocks/>
            </p:cNvSpPr>
            <p:nvPr/>
          </p:nvSpPr>
          <p:spPr bwMode="auto">
            <a:xfrm>
              <a:off x="8228013" y="260985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2 h 30"/>
                <a:gd name="T18" fmla="*/ 0 w 219"/>
                <a:gd name="T19" fmla="*/ 15 h 30"/>
                <a:gd name="T20" fmla="*/ 0 w 219"/>
                <a:gd name="T21" fmla="*/ 18 h 30"/>
                <a:gd name="T22" fmla="*/ 1 w 219"/>
                <a:gd name="T23" fmla="*/ 20 h 30"/>
                <a:gd name="T24" fmla="*/ 2 w 219"/>
                <a:gd name="T25" fmla="*/ 23 h 30"/>
                <a:gd name="T26" fmla="*/ 4 w 219"/>
                <a:gd name="T27" fmla="*/ 26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29 h 30"/>
                <a:gd name="T40" fmla="*/ 210 w 219"/>
                <a:gd name="T41" fmla="*/ 29 h 30"/>
                <a:gd name="T42" fmla="*/ 212 w 219"/>
                <a:gd name="T43" fmla="*/ 28 h 30"/>
                <a:gd name="T44" fmla="*/ 214 w 219"/>
                <a:gd name="T45" fmla="*/ 26 h 30"/>
                <a:gd name="T46" fmla="*/ 216 w 219"/>
                <a:gd name="T47" fmla="*/ 23 h 30"/>
                <a:gd name="T48" fmla="*/ 218 w 219"/>
                <a:gd name="T49" fmla="*/ 20 h 30"/>
                <a:gd name="T50" fmla="*/ 218 w 219"/>
                <a:gd name="T51" fmla="*/ 18 h 30"/>
                <a:gd name="T52" fmla="*/ 219 w 219"/>
                <a:gd name="T53" fmla="*/ 15 h 30"/>
                <a:gd name="T54" fmla="*/ 218 w 219"/>
                <a:gd name="T55" fmla="*/ 12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2"/>
                  </a:lnTo>
                  <a:lnTo>
                    <a:pt x="0" y="15"/>
                  </a:lnTo>
                  <a:lnTo>
                    <a:pt x="0" y="18"/>
                  </a:lnTo>
                  <a:lnTo>
                    <a:pt x="1" y="20"/>
                  </a:lnTo>
                  <a:lnTo>
                    <a:pt x="2" y="23"/>
                  </a:lnTo>
                  <a:lnTo>
                    <a:pt x="4" y="26"/>
                  </a:lnTo>
                  <a:lnTo>
                    <a:pt x="7" y="28"/>
                  </a:lnTo>
                  <a:lnTo>
                    <a:pt x="9" y="29"/>
                  </a:lnTo>
                  <a:lnTo>
                    <a:pt x="12" y="30"/>
                  </a:lnTo>
                  <a:lnTo>
                    <a:pt x="15" y="30"/>
                  </a:lnTo>
                  <a:lnTo>
                    <a:pt x="204" y="30"/>
                  </a:lnTo>
                  <a:lnTo>
                    <a:pt x="207" y="29"/>
                  </a:lnTo>
                  <a:lnTo>
                    <a:pt x="210" y="29"/>
                  </a:lnTo>
                  <a:lnTo>
                    <a:pt x="212" y="28"/>
                  </a:lnTo>
                  <a:lnTo>
                    <a:pt x="214" y="26"/>
                  </a:lnTo>
                  <a:lnTo>
                    <a:pt x="216" y="23"/>
                  </a:lnTo>
                  <a:lnTo>
                    <a:pt x="218" y="20"/>
                  </a:lnTo>
                  <a:lnTo>
                    <a:pt x="218" y="18"/>
                  </a:lnTo>
                  <a:lnTo>
                    <a:pt x="219" y="15"/>
                  </a:lnTo>
                  <a:lnTo>
                    <a:pt x="218" y="12"/>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351">
              <a:extLst>
                <a:ext uri="{FF2B5EF4-FFF2-40B4-BE49-F238E27FC236}">
                  <a16:creationId xmlns:a16="http://schemas.microsoft.com/office/drawing/2014/main" id="{BE8DB067-45E1-42EE-8D26-3EE7B707D942}"/>
                </a:ext>
              </a:extLst>
            </p:cNvPr>
            <p:cNvSpPr>
              <a:spLocks/>
            </p:cNvSpPr>
            <p:nvPr/>
          </p:nvSpPr>
          <p:spPr bwMode="auto">
            <a:xfrm>
              <a:off x="8228013" y="2638425"/>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2 h 30"/>
                <a:gd name="T10" fmla="*/ 4 w 219"/>
                <a:gd name="T11" fmla="*/ 4 h 30"/>
                <a:gd name="T12" fmla="*/ 2 w 219"/>
                <a:gd name="T13" fmla="*/ 6 h 30"/>
                <a:gd name="T14" fmla="*/ 1 w 219"/>
                <a:gd name="T15" fmla="*/ 9 h 30"/>
                <a:gd name="T16" fmla="*/ 0 w 219"/>
                <a:gd name="T17" fmla="*/ 11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8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8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1 h 30"/>
                <a:gd name="T56" fmla="*/ 218 w 219"/>
                <a:gd name="T57" fmla="*/ 9 h 30"/>
                <a:gd name="T58" fmla="*/ 216 w 219"/>
                <a:gd name="T59" fmla="*/ 6 h 30"/>
                <a:gd name="T60" fmla="*/ 214 w 219"/>
                <a:gd name="T61" fmla="*/ 4 h 30"/>
                <a:gd name="T62" fmla="*/ 212 w 219"/>
                <a:gd name="T63" fmla="*/ 2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2"/>
                  </a:lnTo>
                  <a:lnTo>
                    <a:pt x="4" y="4"/>
                  </a:lnTo>
                  <a:lnTo>
                    <a:pt x="2" y="6"/>
                  </a:lnTo>
                  <a:lnTo>
                    <a:pt x="1" y="9"/>
                  </a:lnTo>
                  <a:lnTo>
                    <a:pt x="0" y="11"/>
                  </a:lnTo>
                  <a:lnTo>
                    <a:pt x="0" y="15"/>
                  </a:lnTo>
                  <a:lnTo>
                    <a:pt x="0" y="18"/>
                  </a:lnTo>
                  <a:lnTo>
                    <a:pt x="1" y="21"/>
                  </a:lnTo>
                  <a:lnTo>
                    <a:pt x="2" y="23"/>
                  </a:lnTo>
                  <a:lnTo>
                    <a:pt x="4" y="25"/>
                  </a:lnTo>
                  <a:lnTo>
                    <a:pt x="7" y="28"/>
                  </a:lnTo>
                  <a:lnTo>
                    <a:pt x="9" y="29"/>
                  </a:lnTo>
                  <a:lnTo>
                    <a:pt x="12" y="30"/>
                  </a:lnTo>
                  <a:lnTo>
                    <a:pt x="15" y="30"/>
                  </a:lnTo>
                  <a:lnTo>
                    <a:pt x="204" y="30"/>
                  </a:lnTo>
                  <a:lnTo>
                    <a:pt x="207" y="30"/>
                  </a:lnTo>
                  <a:lnTo>
                    <a:pt x="210" y="29"/>
                  </a:lnTo>
                  <a:lnTo>
                    <a:pt x="212" y="28"/>
                  </a:lnTo>
                  <a:lnTo>
                    <a:pt x="214" y="25"/>
                  </a:lnTo>
                  <a:lnTo>
                    <a:pt x="216" y="23"/>
                  </a:lnTo>
                  <a:lnTo>
                    <a:pt x="218" y="21"/>
                  </a:lnTo>
                  <a:lnTo>
                    <a:pt x="218" y="18"/>
                  </a:lnTo>
                  <a:lnTo>
                    <a:pt x="219" y="15"/>
                  </a:lnTo>
                  <a:lnTo>
                    <a:pt x="218" y="11"/>
                  </a:lnTo>
                  <a:lnTo>
                    <a:pt x="218" y="9"/>
                  </a:lnTo>
                  <a:lnTo>
                    <a:pt x="216" y="6"/>
                  </a:lnTo>
                  <a:lnTo>
                    <a:pt x="214" y="4"/>
                  </a:lnTo>
                  <a:lnTo>
                    <a:pt x="212" y="2"/>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352">
              <a:extLst>
                <a:ext uri="{FF2B5EF4-FFF2-40B4-BE49-F238E27FC236}">
                  <a16:creationId xmlns:a16="http://schemas.microsoft.com/office/drawing/2014/main" id="{6CFF5EE2-A695-4856-97A6-20A590455566}"/>
                </a:ext>
              </a:extLst>
            </p:cNvPr>
            <p:cNvSpPr>
              <a:spLocks/>
            </p:cNvSpPr>
            <p:nvPr/>
          </p:nvSpPr>
          <p:spPr bwMode="auto">
            <a:xfrm>
              <a:off x="8228013" y="2667000"/>
              <a:ext cx="69850" cy="9525"/>
            </a:xfrm>
            <a:custGeom>
              <a:avLst/>
              <a:gdLst>
                <a:gd name="T0" fmla="*/ 204 w 219"/>
                <a:gd name="T1" fmla="*/ 0 h 30"/>
                <a:gd name="T2" fmla="*/ 15 w 219"/>
                <a:gd name="T3" fmla="*/ 0 h 30"/>
                <a:gd name="T4" fmla="*/ 12 w 219"/>
                <a:gd name="T5" fmla="*/ 0 h 30"/>
                <a:gd name="T6" fmla="*/ 9 w 219"/>
                <a:gd name="T7" fmla="*/ 1 h 30"/>
                <a:gd name="T8" fmla="*/ 7 w 219"/>
                <a:gd name="T9" fmla="*/ 3 h 30"/>
                <a:gd name="T10" fmla="*/ 4 w 219"/>
                <a:gd name="T11" fmla="*/ 4 h 30"/>
                <a:gd name="T12" fmla="*/ 2 w 219"/>
                <a:gd name="T13" fmla="*/ 7 h 30"/>
                <a:gd name="T14" fmla="*/ 1 w 219"/>
                <a:gd name="T15" fmla="*/ 9 h 30"/>
                <a:gd name="T16" fmla="*/ 0 w 219"/>
                <a:gd name="T17" fmla="*/ 12 h 30"/>
                <a:gd name="T18" fmla="*/ 0 w 219"/>
                <a:gd name="T19" fmla="*/ 15 h 30"/>
                <a:gd name="T20" fmla="*/ 0 w 219"/>
                <a:gd name="T21" fmla="*/ 18 h 30"/>
                <a:gd name="T22" fmla="*/ 1 w 219"/>
                <a:gd name="T23" fmla="*/ 21 h 30"/>
                <a:gd name="T24" fmla="*/ 2 w 219"/>
                <a:gd name="T25" fmla="*/ 23 h 30"/>
                <a:gd name="T26" fmla="*/ 4 w 219"/>
                <a:gd name="T27" fmla="*/ 25 h 30"/>
                <a:gd name="T28" fmla="*/ 7 w 219"/>
                <a:gd name="T29" fmla="*/ 27 h 30"/>
                <a:gd name="T30" fmla="*/ 9 w 219"/>
                <a:gd name="T31" fmla="*/ 29 h 30"/>
                <a:gd name="T32" fmla="*/ 12 w 219"/>
                <a:gd name="T33" fmla="*/ 30 h 30"/>
                <a:gd name="T34" fmla="*/ 15 w 219"/>
                <a:gd name="T35" fmla="*/ 30 h 30"/>
                <a:gd name="T36" fmla="*/ 204 w 219"/>
                <a:gd name="T37" fmla="*/ 30 h 30"/>
                <a:gd name="T38" fmla="*/ 207 w 219"/>
                <a:gd name="T39" fmla="*/ 30 h 30"/>
                <a:gd name="T40" fmla="*/ 210 w 219"/>
                <a:gd name="T41" fmla="*/ 29 h 30"/>
                <a:gd name="T42" fmla="*/ 212 w 219"/>
                <a:gd name="T43" fmla="*/ 27 h 30"/>
                <a:gd name="T44" fmla="*/ 214 w 219"/>
                <a:gd name="T45" fmla="*/ 25 h 30"/>
                <a:gd name="T46" fmla="*/ 216 w 219"/>
                <a:gd name="T47" fmla="*/ 23 h 30"/>
                <a:gd name="T48" fmla="*/ 218 w 219"/>
                <a:gd name="T49" fmla="*/ 21 h 30"/>
                <a:gd name="T50" fmla="*/ 218 w 219"/>
                <a:gd name="T51" fmla="*/ 18 h 30"/>
                <a:gd name="T52" fmla="*/ 219 w 219"/>
                <a:gd name="T53" fmla="*/ 15 h 30"/>
                <a:gd name="T54" fmla="*/ 218 w 219"/>
                <a:gd name="T55" fmla="*/ 12 h 30"/>
                <a:gd name="T56" fmla="*/ 218 w 219"/>
                <a:gd name="T57" fmla="*/ 9 h 30"/>
                <a:gd name="T58" fmla="*/ 216 w 219"/>
                <a:gd name="T59" fmla="*/ 7 h 30"/>
                <a:gd name="T60" fmla="*/ 214 w 219"/>
                <a:gd name="T61" fmla="*/ 4 h 30"/>
                <a:gd name="T62" fmla="*/ 212 w 219"/>
                <a:gd name="T63" fmla="*/ 3 h 30"/>
                <a:gd name="T64" fmla="*/ 210 w 219"/>
                <a:gd name="T65" fmla="*/ 1 h 30"/>
                <a:gd name="T66" fmla="*/ 207 w 219"/>
                <a:gd name="T67" fmla="*/ 0 h 30"/>
                <a:gd name="T68" fmla="*/ 204 w 2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30">
                  <a:moveTo>
                    <a:pt x="204" y="0"/>
                  </a:moveTo>
                  <a:lnTo>
                    <a:pt x="15" y="0"/>
                  </a:lnTo>
                  <a:lnTo>
                    <a:pt x="12" y="0"/>
                  </a:lnTo>
                  <a:lnTo>
                    <a:pt x="9" y="1"/>
                  </a:lnTo>
                  <a:lnTo>
                    <a:pt x="7" y="3"/>
                  </a:lnTo>
                  <a:lnTo>
                    <a:pt x="4" y="4"/>
                  </a:lnTo>
                  <a:lnTo>
                    <a:pt x="2" y="7"/>
                  </a:lnTo>
                  <a:lnTo>
                    <a:pt x="1" y="9"/>
                  </a:lnTo>
                  <a:lnTo>
                    <a:pt x="0" y="12"/>
                  </a:lnTo>
                  <a:lnTo>
                    <a:pt x="0" y="15"/>
                  </a:lnTo>
                  <a:lnTo>
                    <a:pt x="0" y="18"/>
                  </a:lnTo>
                  <a:lnTo>
                    <a:pt x="1" y="21"/>
                  </a:lnTo>
                  <a:lnTo>
                    <a:pt x="2" y="23"/>
                  </a:lnTo>
                  <a:lnTo>
                    <a:pt x="4" y="25"/>
                  </a:lnTo>
                  <a:lnTo>
                    <a:pt x="7" y="27"/>
                  </a:lnTo>
                  <a:lnTo>
                    <a:pt x="9" y="29"/>
                  </a:lnTo>
                  <a:lnTo>
                    <a:pt x="12" y="30"/>
                  </a:lnTo>
                  <a:lnTo>
                    <a:pt x="15" y="30"/>
                  </a:lnTo>
                  <a:lnTo>
                    <a:pt x="204" y="30"/>
                  </a:lnTo>
                  <a:lnTo>
                    <a:pt x="207" y="30"/>
                  </a:lnTo>
                  <a:lnTo>
                    <a:pt x="210" y="29"/>
                  </a:lnTo>
                  <a:lnTo>
                    <a:pt x="212" y="27"/>
                  </a:lnTo>
                  <a:lnTo>
                    <a:pt x="214" y="25"/>
                  </a:lnTo>
                  <a:lnTo>
                    <a:pt x="216" y="23"/>
                  </a:lnTo>
                  <a:lnTo>
                    <a:pt x="218" y="21"/>
                  </a:lnTo>
                  <a:lnTo>
                    <a:pt x="218" y="18"/>
                  </a:lnTo>
                  <a:lnTo>
                    <a:pt x="219" y="15"/>
                  </a:lnTo>
                  <a:lnTo>
                    <a:pt x="218" y="12"/>
                  </a:lnTo>
                  <a:lnTo>
                    <a:pt x="218" y="9"/>
                  </a:lnTo>
                  <a:lnTo>
                    <a:pt x="216" y="7"/>
                  </a:lnTo>
                  <a:lnTo>
                    <a:pt x="214" y="4"/>
                  </a:lnTo>
                  <a:lnTo>
                    <a:pt x="212" y="3"/>
                  </a:lnTo>
                  <a:lnTo>
                    <a:pt x="210" y="1"/>
                  </a:lnTo>
                  <a:lnTo>
                    <a:pt x="207" y="0"/>
                  </a:lnTo>
                  <a:lnTo>
                    <a:pt x="2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353">
              <a:extLst>
                <a:ext uri="{FF2B5EF4-FFF2-40B4-BE49-F238E27FC236}">
                  <a16:creationId xmlns:a16="http://schemas.microsoft.com/office/drawing/2014/main" id="{CAB90323-E09C-4B90-959E-CB33DEDF0D49}"/>
                </a:ext>
              </a:extLst>
            </p:cNvPr>
            <p:cNvSpPr>
              <a:spLocks/>
            </p:cNvSpPr>
            <p:nvPr/>
          </p:nvSpPr>
          <p:spPr bwMode="auto">
            <a:xfrm>
              <a:off x="8228013" y="2695575"/>
              <a:ext cx="46038" cy="9525"/>
            </a:xfrm>
            <a:custGeom>
              <a:avLst/>
              <a:gdLst>
                <a:gd name="T0" fmla="*/ 129 w 143"/>
                <a:gd name="T1" fmla="*/ 29 h 29"/>
                <a:gd name="T2" fmla="*/ 132 w 143"/>
                <a:gd name="T3" fmla="*/ 29 h 29"/>
                <a:gd name="T4" fmla="*/ 134 w 143"/>
                <a:gd name="T5" fmla="*/ 28 h 29"/>
                <a:gd name="T6" fmla="*/ 137 w 143"/>
                <a:gd name="T7" fmla="*/ 27 h 29"/>
                <a:gd name="T8" fmla="*/ 139 w 143"/>
                <a:gd name="T9" fmla="*/ 26 h 29"/>
                <a:gd name="T10" fmla="*/ 140 w 143"/>
                <a:gd name="T11" fmla="*/ 23 h 29"/>
                <a:gd name="T12" fmla="*/ 142 w 143"/>
                <a:gd name="T13" fmla="*/ 21 h 29"/>
                <a:gd name="T14" fmla="*/ 143 w 143"/>
                <a:gd name="T15" fmla="*/ 18 h 29"/>
                <a:gd name="T16" fmla="*/ 143 w 143"/>
                <a:gd name="T17" fmla="*/ 14 h 29"/>
                <a:gd name="T18" fmla="*/ 143 w 143"/>
                <a:gd name="T19" fmla="*/ 12 h 29"/>
                <a:gd name="T20" fmla="*/ 142 w 143"/>
                <a:gd name="T21" fmla="*/ 9 h 29"/>
                <a:gd name="T22" fmla="*/ 140 w 143"/>
                <a:gd name="T23" fmla="*/ 7 h 29"/>
                <a:gd name="T24" fmla="*/ 139 w 143"/>
                <a:gd name="T25" fmla="*/ 5 h 29"/>
                <a:gd name="T26" fmla="*/ 137 w 143"/>
                <a:gd name="T27" fmla="*/ 3 h 29"/>
                <a:gd name="T28" fmla="*/ 134 w 143"/>
                <a:gd name="T29" fmla="*/ 2 h 29"/>
                <a:gd name="T30" fmla="*/ 132 w 143"/>
                <a:gd name="T31" fmla="*/ 1 h 29"/>
                <a:gd name="T32" fmla="*/ 129 w 143"/>
                <a:gd name="T33" fmla="*/ 0 h 29"/>
                <a:gd name="T34" fmla="*/ 15 w 143"/>
                <a:gd name="T35" fmla="*/ 0 h 29"/>
                <a:gd name="T36" fmla="*/ 12 w 143"/>
                <a:gd name="T37" fmla="*/ 1 h 29"/>
                <a:gd name="T38" fmla="*/ 9 w 143"/>
                <a:gd name="T39" fmla="*/ 2 h 29"/>
                <a:gd name="T40" fmla="*/ 7 w 143"/>
                <a:gd name="T41" fmla="*/ 3 h 29"/>
                <a:gd name="T42" fmla="*/ 4 w 143"/>
                <a:gd name="T43" fmla="*/ 5 h 29"/>
                <a:gd name="T44" fmla="*/ 2 w 143"/>
                <a:gd name="T45" fmla="*/ 7 h 29"/>
                <a:gd name="T46" fmla="*/ 1 w 143"/>
                <a:gd name="T47" fmla="*/ 9 h 29"/>
                <a:gd name="T48" fmla="*/ 0 w 143"/>
                <a:gd name="T49" fmla="*/ 12 h 29"/>
                <a:gd name="T50" fmla="*/ 0 w 143"/>
                <a:gd name="T51" fmla="*/ 14 h 29"/>
                <a:gd name="T52" fmla="*/ 0 w 143"/>
                <a:gd name="T53" fmla="*/ 18 h 29"/>
                <a:gd name="T54" fmla="*/ 1 w 143"/>
                <a:gd name="T55" fmla="*/ 21 h 29"/>
                <a:gd name="T56" fmla="*/ 2 w 143"/>
                <a:gd name="T57" fmla="*/ 23 h 29"/>
                <a:gd name="T58" fmla="*/ 4 w 143"/>
                <a:gd name="T59" fmla="*/ 26 h 29"/>
                <a:gd name="T60" fmla="*/ 7 w 143"/>
                <a:gd name="T61" fmla="*/ 27 h 29"/>
                <a:gd name="T62" fmla="*/ 9 w 143"/>
                <a:gd name="T63" fmla="*/ 28 h 29"/>
                <a:gd name="T64" fmla="*/ 12 w 143"/>
                <a:gd name="T65" fmla="*/ 29 h 29"/>
                <a:gd name="T66" fmla="*/ 15 w 143"/>
                <a:gd name="T67" fmla="*/ 29 h 29"/>
                <a:gd name="T68" fmla="*/ 129 w 143"/>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 h="29">
                  <a:moveTo>
                    <a:pt x="129" y="29"/>
                  </a:moveTo>
                  <a:lnTo>
                    <a:pt x="132" y="29"/>
                  </a:lnTo>
                  <a:lnTo>
                    <a:pt x="134" y="28"/>
                  </a:lnTo>
                  <a:lnTo>
                    <a:pt x="137" y="27"/>
                  </a:lnTo>
                  <a:lnTo>
                    <a:pt x="139" y="26"/>
                  </a:lnTo>
                  <a:lnTo>
                    <a:pt x="140" y="23"/>
                  </a:lnTo>
                  <a:lnTo>
                    <a:pt x="142" y="21"/>
                  </a:lnTo>
                  <a:lnTo>
                    <a:pt x="143" y="18"/>
                  </a:lnTo>
                  <a:lnTo>
                    <a:pt x="143" y="14"/>
                  </a:lnTo>
                  <a:lnTo>
                    <a:pt x="143" y="12"/>
                  </a:lnTo>
                  <a:lnTo>
                    <a:pt x="142" y="9"/>
                  </a:lnTo>
                  <a:lnTo>
                    <a:pt x="140" y="7"/>
                  </a:lnTo>
                  <a:lnTo>
                    <a:pt x="139" y="5"/>
                  </a:lnTo>
                  <a:lnTo>
                    <a:pt x="137" y="3"/>
                  </a:lnTo>
                  <a:lnTo>
                    <a:pt x="134" y="2"/>
                  </a:lnTo>
                  <a:lnTo>
                    <a:pt x="132" y="1"/>
                  </a:lnTo>
                  <a:lnTo>
                    <a:pt x="129" y="0"/>
                  </a:lnTo>
                  <a:lnTo>
                    <a:pt x="15" y="0"/>
                  </a:lnTo>
                  <a:lnTo>
                    <a:pt x="12" y="1"/>
                  </a:lnTo>
                  <a:lnTo>
                    <a:pt x="9" y="2"/>
                  </a:lnTo>
                  <a:lnTo>
                    <a:pt x="7" y="3"/>
                  </a:lnTo>
                  <a:lnTo>
                    <a:pt x="4" y="5"/>
                  </a:lnTo>
                  <a:lnTo>
                    <a:pt x="2" y="7"/>
                  </a:lnTo>
                  <a:lnTo>
                    <a:pt x="1" y="9"/>
                  </a:lnTo>
                  <a:lnTo>
                    <a:pt x="0" y="12"/>
                  </a:lnTo>
                  <a:lnTo>
                    <a:pt x="0" y="14"/>
                  </a:lnTo>
                  <a:lnTo>
                    <a:pt x="0" y="18"/>
                  </a:lnTo>
                  <a:lnTo>
                    <a:pt x="1" y="21"/>
                  </a:lnTo>
                  <a:lnTo>
                    <a:pt x="2" y="23"/>
                  </a:lnTo>
                  <a:lnTo>
                    <a:pt x="4" y="26"/>
                  </a:lnTo>
                  <a:lnTo>
                    <a:pt x="7" y="27"/>
                  </a:lnTo>
                  <a:lnTo>
                    <a:pt x="9" y="28"/>
                  </a:lnTo>
                  <a:lnTo>
                    <a:pt x="12" y="29"/>
                  </a:lnTo>
                  <a:lnTo>
                    <a:pt x="15" y="29"/>
                  </a:lnTo>
                  <a:lnTo>
                    <a:pt x="12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117">
            <a:extLst>
              <a:ext uri="{FF2B5EF4-FFF2-40B4-BE49-F238E27FC236}">
                <a16:creationId xmlns:a16="http://schemas.microsoft.com/office/drawing/2014/main" id="{F029C63F-F899-48B0-8C73-43CB3FD8D801}"/>
              </a:ext>
            </a:extLst>
          </p:cNvPr>
          <p:cNvGrpSpPr>
            <a:grpSpLocks noChangeAspect="1"/>
          </p:cNvGrpSpPr>
          <p:nvPr/>
        </p:nvGrpSpPr>
        <p:grpSpPr>
          <a:xfrm>
            <a:off x="4438917" y="3801969"/>
            <a:ext cx="308144" cy="308144"/>
            <a:chOff x="4159250" y="2833688"/>
            <a:chExt cx="371476" cy="371476"/>
          </a:xfrm>
          <a:solidFill>
            <a:schemeClr val="bg1"/>
          </a:solidFill>
        </p:grpSpPr>
        <p:sp>
          <p:nvSpPr>
            <p:cNvPr id="889" name="Freeform 33">
              <a:extLst>
                <a:ext uri="{FF2B5EF4-FFF2-40B4-BE49-F238E27FC236}">
                  <a16:creationId xmlns:a16="http://schemas.microsoft.com/office/drawing/2014/main" id="{CED36EB0-2F6C-4977-BA0F-73F716ABAAC1}"/>
                </a:ext>
              </a:extLst>
            </p:cNvPr>
            <p:cNvSpPr>
              <a:spLocks noEditPoints="1"/>
            </p:cNvSpPr>
            <p:nvPr/>
          </p:nvSpPr>
          <p:spPr bwMode="auto">
            <a:xfrm>
              <a:off x="4344988" y="3019426"/>
              <a:ext cx="185738" cy="185738"/>
            </a:xfrm>
            <a:custGeom>
              <a:avLst/>
              <a:gdLst>
                <a:gd name="T0" fmla="*/ 2 w 48"/>
                <a:gd name="T1" fmla="*/ 48 h 48"/>
                <a:gd name="T2" fmla="*/ 1 w 48"/>
                <a:gd name="T3" fmla="*/ 47 h 48"/>
                <a:gd name="T4" fmla="*/ 0 w 48"/>
                <a:gd name="T5" fmla="*/ 45 h 48"/>
                <a:gd name="T6" fmla="*/ 4 w 48"/>
                <a:gd name="T7" fmla="*/ 31 h 48"/>
                <a:gd name="T8" fmla="*/ 5 w 48"/>
                <a:gd name="T9" fmla="*/ 31 h 48"/>
                <a:gd name="T10" fmla="*/ 35 w 48"/>
                <a:gd name="T11" fmla="*/ 1 h 48"/>
                <a:gd name="T12" fmla="*/ 37 w 48"/>
                <a:gd name="T13" fmla="*/ 1 h 48"/>
                <a:gd name="T14" fmla="*/ 47 w 48"/>
                <a:gd name="T15" fmla="*/ 11 h 48"/>
                <a:gd name="T16" fmla="*/ 47 w 48"/>
                <a:gd name="T17" fmla="*/ 13 h 48"/>
                <a:gd name="T18" fmla="*/ 17 w 48"/>
                <a:gd name="T19" fmla="*/ 43 h 48"/>
                <a:gd name="T20" fmla="*/ 17 w 48"/>
                <a:gd name="T21" fmla="*/ 44 h 48"/>
                <a:gd name="T22" fmla="*/ 3 w 48"/>
                <a:gd name="T23" fmla="*/ 48 h 48"/>
                <a:gd name="T24" fmla="*/ 2 w 48"/>
                <a:gd name="T25" fmla="*/ 48 h 48"/>
                <a:gd name="T26" fmla="*/ 8 w 48"/>
                <a:gd name="T27" fmla="*/ 33 h 48"/>
                <a:gd name="T28" fmla="*/ 5 w 48"/>
                <a:gd name="T29" fmla="*/ 43 h 48"/>
                <a:gd name="T30" fmla="*/ 15 w 48"/>
                <a:gd name="T31" fmla="*/ 40 h 48"/>
                <a:gd name="T32" fmla="*/ 43 w 48"/>
                <a:gd name="T33" fmla="*/ 12 h 48"/>
                <a:gd name="T34" fmla="*/ 36 w 48"/>
                <a:gd name="T35" fmla="*/ 5 h 48"/>
                <a:gd name="T36" fmla="*/ 8 w 48"/>
                <a:gd name="T37"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2" y="48"/>
                  </a:moveTo>
                  <a:cubicBezTo>
                    <a:pt x="1" y="48"/>
                    <a:pt x="1" y="48"/>
                    <a:pt x="1" y="47"/>
                  </a:cubicBezTo>
                  <a:cubicBezTo>
                    <a:pt x="0" y="47"/>
                    <a:pt x="0" y="46"/>
                    <a:pt x="0" y="45"/>
                  </a:cubicBezTo>
                  <a:cubicBezTo>
                    <a:pt x="4" y="31"/>
                    <a:pt x="4" y="31"/>
                    <a:pt x="4" y="31"/>
                  </a:cubicBezTo>
                  <a:cubicBezTo>
                    <a:pt x="4" y="31"/>
                    <a:pt x="4" y="31"/>
                    <a:pt x="5" y="31"/>
                  </a:cubicBezTo>
                  <a:cubicBezTo>
                    <a:pt x="35" y="1"/>
                    <a:pt x="35" y="1"/>
                    <a:pt x="35" y="1"/>
                  </a:cubicBezTo>
                  <a:cubicBezTo>
                    <a:pt x="35" y="0"/>
                    <a:pt x="37" y="0"/>
                    <a:pt x="37" y="1"/>
                  </a:cubicBezTo>
                  <a:cubicBezTo>
                    <a:pt x="47" y="11"/>
                    <a:pt x="47" y="11"/>
                    <a:pt x="47" y="11"/>
                  </a:cubicBezTo>
                  <a:cubicBezTo>
                    <a:pt x="48" y="11"/>
                    <a:pt x="48" y="13"/>
                    <a:pt x="47" y="13"/>
                  </a:cubicBezTo>
                  <a:cubicBezTo>
                    <a:pt x="17" y="43"/>
                    <a:pt x="17" y="43"/>
                    <a:pt x="17" y="43"/>
                  </a:cubicBezTo>
                  <a:cubicBezTo>
                    <a:pt x="17" y="44"/>
                    <a:pt x="17" y="44"/>
                    <a:pt x="17" y="44"/>
                  </a:cubicBezTo>
                  <a:cubicBezTo>
                    <a:pt x="3" y="48"/>
                    <a:pt x="3" y="48"/>
                    <a:pt x="3" y="48"/>
                  </a:cubicBezTo>
                  <a:cubicBezTo>
                    <a:pt x="2" y="48"/>
                    <a:pt x="2" y="48"/>
                    <a:pt x="2" y="48"/>
                  </a:cubicBezTo>
                  <a:close/>
                  <a:moveTo>
                    <a:pt x="8" y="33"/>
                  </a:moveTo>
                  <a:cubicBezTo>
                    <a:pt x="5" y="43"/>
                    <a:pt x="5" y="43"/>
                    <a:pt x="5" y="43"/>
                  </a:cubicBezTo>
                  <a:cubicBezTo>
                    <a:pt x="15" y="40"/>
                    <a:pt x="15" y="40"/>
                    <a:pt x="15" y="40"/>
                  </a:cubicBezTo>
                  <a:cubicBezTo>
                    <a:pt x="43" y="12"/>
                    <a:pt x="43" y="12"/>
                    <a:pt x="43" y="12"/>
                  </a:cubicBezTo>
                  <a:cubicBezTo>
                    <a:pt x="36" y="5"/>
                    <a:pt x="36" y="5"/>
                    <a:pt x="36" y="5"/>
                  </a:cubicBezTo>
                  <a:lnTo>
                    <a:pt x="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0" name="Freeform 34">
              <a:extLst>
                <a:ext uri="{FF2B5EF4-FFF2-40B4-BE49-F238E27FC236}">
                  <a16:creationId xmlns:a16="http://schemas.microsoft.com/office/drawing/2014/main" id="{FB8BEBFB-6831-4057-854B-44076858217F}"/>
                </a:ext>
              </a:extLst>
            </p:cNvPr>
            <p:cNvSpPr>
              <a:spLocks/>
            </p:cNvSpPr>
            <p:nvPr/>
          </p:nvSpPr>
          <p:spPr bwMode="auto">
            <a:xfrm>
              <a:off x="4449763" y="3054351"/>
              <a:ext cx="46038" cy="46038"/>
            </a:xfrm>
            <a:custGeom>
              <a:avLst/>
              <a:gdLst>
                <a:gd name="T0" fmla="*/ 24 w 29"/>
                <a:gd name="T1" fmla="*/ 29 h 29"/>
                <a:gd name="T2" fmla="*/ 0 w 29"/>
                <a:gd name="T3" fmla="*/ 5 h 29"/>
                <a:gd name="T4" fmla="*/ 5 w 29"/>
                <a:gd name="T5" fmla="*/ 0 h 29"/>
                <a:gd name="T6" fmla="*/ 29 w 29"/>
                <a:gd name="T7" fmla="*/ 24 h 29"/>
                <a:gd name="T8" fmla="*/ 24 w 29"/>
                <a:gd name="T9" fmla="*/ 29 h 29"/>
              </a:gdLst>
              <a:ahLst/>
              <a:cxnLst>
                <a:cxn ang="0">
                  <a:pos x="T0" y="T1"/>
                </a:cxn>
                <a:cxn ang="0">
                  <a:pos x="T2" y="T3"/>
                </a:cxn>
                <a:cxn ang="0">
                  <a:pos x="T4" y="T5"/>
                </a:cxn>
                <a:cxn ang="0">
                  <a:pos x="T6" y="T7"/>
                </a:cxn>
                <a:cxn ang="0">
                  <a:pos x="T8" y="T9"/>
                </a:cxn>
              </a:cxnLst>
              <a:rect l="0" t="0" r="r" b="b"/>
              <a:pathLst>
                <a:path w="29" h="29">
                  <a:moveTo>
                    <a:pt x="24" y="29"/>
                  </a:moveTo>
                  <a:lnTo>
                    <a:pt x="0" y="5"/>
                  </a:lnTo>
                  <a:lnTo>
                    <a:pt x="5" y="0"/>
                  </a:lnTo>
                  <a:lnTo>
                    <a:pt x="29" y="24"/>
                  </a:lnTo>
                  <a:lnTo>
                    <a:pt x="2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1" name="Freeform 35">
              <a:extLst>
                <a:ext uri="{FF2B5EF4-FFF2-40B4-BE49-F238E27FC236}">
                  <a16:creationId xmlns:a16="http://schemas.microsoft.com/office/drawing/2014/main" id="{F3365EA3-DD39-4AE2-AA22-3B06936025EA}"/>
                </a:ext>
              </a:extLst>
            </p:cNvPr>
            <p:cNvSpPr>
              <a:spLocks/>
            </p:cNvSpPr>
            <p:nvPr/>
          </p:nvSpPr>
          <p:spPr bwMode="auto">
            <a:xfrm>
              <a:off x="4360863" y="3135313"/>
              <a:ext cx="53975" cy="53975"/>
            </a:xfrm>
            <a:custGeom>
              <a:avLst/>
              <a:gdLst>
                <a:gd name="T0" fmla="*/ 12 w 14"/>
                <a:gd name="T1" fmla="*/ 14 h 14"/>
                <a:gd name="T2" fmla="*/ 11 w 14"/>
                <a:gd name="T3" fmla="*/ 13 h 14"/>
                <a:gd name="T4" fmla="*/ 1 w 14"/>
                <a:gd name="T5" fmla="*/ 3 h 14"/>
                <a:gd name="T6" fmla="*/ 1 w 14"/>
                <a:gd name="T7" fmla="*/ 1 h 14"/>
                <a:gd name="T8" fmla="*/ 3 w 14"/>
                <a:gd name="T9" fmla="*/ 1 h 14"/>
                <a:gd name="T10" fmla="*/ 13 w 14"/>
                <a:gd name="T11" fmla="*/ 11 h 14"/>
                <a:gd name="T12" fmla="*/ 13 w 14"/>
                <a:gd name="T13" fmla="*/ 13 h 14"/>
                <a:gd name="T14" fmla="*/ 12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2" y="14"/>
                  </a:moveTo>
                  <a:cubicBezTo>
                    <a:pt x="11" y="14"/>
                    <a:pt x="11" y="14"/>
                    <a:pt x="11" y="13"/>
                  </a:cubicBezTo>
                  <a:cubicBezTo>
                    <a:pt x="1" y="3"/>
                    <a:pt x="1" y="3"/>
                    <a:pt x="1" y="3"/>
                  </a:cubicBezTo>
                  <a:cubicBezTo>
                    <a:pt x="0" y="3"/>
                    <a:pt x="0" y="1"/>
                    <a:pt x="1" y="1"/>
                  </a:cubicBezTo>
                  <a:cubicBezTo>
                    <a:pt x="1" y="0"/>
                    <a:pt x="3" y="0"/>
                    <a:pt x="3" y="1"/>
                  </a:cubicBezTo>
                  <a:cubicBezTo>
                    <a:pt x="13" y="11"/>
                    <a:pt x="13" y="11"/>
                    <a:pt x="13" y="11"/>
                  </a:cubicBezTo>
                  <a:cubicBezTo>
                    <a:pt x="14" y="11"/>
                    <a:pt x="14" y="13"/>
                    <a:pt x="13" y="13"/>
                  </a:cubicBezTo>
                  <a:cubicBezTo>
                    <a:pt x="13" y="14"/>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2" name="Freeform 36">
              <a:extLst>
                <a:ext uri="{FF2B5EF4-FFF2-40B4-BE49-F238E27FC236}">
                  <a16:creationId xmlns:a16="http://schemas.microsoft.com/office/drawing/2014/main" id="{939100F3-86AA-4AD0-B8DD-DADF400B3BAC}"/>
                </a:ext>
              </a:extLst>
            </p:cNvPr>
            <p:cNvSpPr>
              <a:spLocks/>
            </p:cNvSpPr>
            <p:nvPr/>
          </p:nvSpPr>
          <p:spPr bwMode="auto">
            <a:xfrm>
              <a:off x="4205288" y="2927351"/>
              <a:ext cx="85725" cy="14288"/>
            </a:xfrm>
            <a:custGeom>
              <a:avLst/>
              <a:gdLst>
                <a:gd name="T0" fmla="*/ 20 w 22"/>
                <a:gd name="T1" fmla="*/ 4 h 4"/>
                <a:gd name="T2" fmla="*/ 2 w 22"/>
                <a:gd name="T3" fmla="*/ 4 h 4"/>
                <a:gd name="T4" fmla="*/ 0 w 22"/>
                <a:gd name="T5" fmla="*/ 2 h 4"/>
                <a:gd name="T6" fmla="*/ 2 w 22"/>
                <a:gd name="T7" fmla="*/ 0 h 4"/>
                <a:gd name="T8" fmla="*/ 20 w 22"/>
                <a:gd name="T9" fmla="*/ 0 h 4"/>
                <a:gd name="T10" fmla="*/ 22 w 22"/>
                <a:gd name="T11" fmla="*/ 2 h 4"/>
                <a:gd name="T12" fmla="*/ 20 w 2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2" h="4">
                  <a:moveTo>
                    <a:pt x="20" y="4"/>
                  </a:moveTo>
                  <a:cubicBezTo>
                    <a:pt x="2" y="4"/>
                    <a:pt x="2" y="4"/>
                    <a:pt x="2" y="4"/>
                  </a:cubicBezTo>
                  <a:cubicBezTo>
                    <a:pt x="1" y="4"/>
                    <a:pt x="0" y="3"/>
                    <a:pt x="0" y="2"/>
                  </a:cubicBezTo>
                  <a:cubicBezTo>
                    <a:pt x="0" y="1"/>
                    <a:pt x="1" y="0"/>
                    <a:pt x="2" y="0"/>
                  </a:cubicBezTo>
                  <a:cubicBezTo>
                    <a:pt x="20" y="0"/>
                    <a:pt x="20" y="0"/>
                    <a:pt x="20" y="0"/>
                  </a:cubicBezTo>
                  <a:cubicBezTo>
                    <a:pt x="21" y="0"/>
                    <a:pt x="22" y="1"/>
                    <a:pt x="22" y="2"/>
                  </a:cubicBezTo>
                  <a:cubicBezTo>
                    <a:pt x="22" y="3"/>
                    <a:pt x="21" y="4"/>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3" name="Freeform 37">
              <a:extLst>
                <a:ext uri="{FF2B5EF4-FFF2-40B4-BE49-F238E27FC236}">
                  <a16:creationId xmlns:a16="http://schemas.microsoft.com/office/drawing/2014/main" id="{418449C2-323A-49D2-AAEB-98CED5B97531}"/>
                </a:ext>
              </a:extLst>
            </p:cNvPr>
            <p:cNvSpPr>
              <a:spLocks/>
            </p:cNvSpPr>
            <p:nvPr/>
          </p:nvSpPr>
          <p:spPr bwMode="auto">
            <a:xfrm>
              <a:off x="4205288" y="2973388"/>
              <a:ext cx="139700" cy="15875"/>
            </a:xfrm>
            <a:custGeom>
              <a:avLst/>
              <a:gdLst>
                <a:gd name="T0" fmla="*/ 34 w 36"/>
                <a:gd name="T1" fmla="*/ 4 h 4"/>
                <a:gd name="T2" fmla="*/ 2 w 36"/>
                <a:gd name="T3" fmla="*/ 4 h 4"/>
                <a:gd name="T4" fmla="*/ 0 w 36"/>
                <a:gd name="T5" fmla="*/ 2 h 4"/>
                <a:gd name="T6" fmla="*/ 2 w 36"/>
                <a:gd name="T7" fmla="*/ 0 h 4"/>
                <a:gd name="T8" fmla="*/ 34 w 36"/>
                <a:gd name="T9" fmla="*/ 0 h 4"/>
                <a:gd name="T10" fmla="*/ 36 w 36"/>
                <a:gd name="T11" fmla="*/ 2 h 4"/>
                <a:gd name="T12" fmla="*/ 34 w 3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4"/>
                  </a:moveTo>
                  <a:cubicBezTo>
                    <a:pt x="2" y="4"/>
                    <a:pt x="2" y="4"/>
                    <a:pt x="2" y="4"/>
                  </a:cubicBezTo>
                  <a:cubicBezTo>
                    <a:pt x="1" y="4"/>
                    <a:pt x="0" y="3"/>
                    <a:pt x="0" y="2"/>
                  </a:cubicBezTo>
                  <a:cubicBezTo>
                    <a:pt x="0" y="1"/>
                    <a:pt x="1" y="0"/>
                    <a:pt x="2" y="0"/>
                  </a:cubicBezTo>
                  <a:cubicBezTo>
                    <a:pt x="34" y="0"/>
                    <a:pt x="34" y="0"/>
                    <a:pt x="34" y="0"/>
                  </a:cubicBezTo>
                  <a:cubicBezTo>
                    <a:pt x="35" y="0"/>
                    <a:pt x="36" y="1"/>
                    <a:pt x="36" y="2"/>
                  </a:cubicBezTo>
                  <a:cubicBezTo>
                    <a:pt x="36" y="3"/>
                    <a:pt x="35"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4" name="Freeform 38">
              <a:extLst>
                <a:ext uri="{FF2B5EF4-FFF2-40B4-BE49-F238E27FC236}">
                  <a16:creationId xmlns:a16="http://schemas.microsoft.com/office/drawing/2014/main" id="{74486A9C-526B-47BB-BF3A-E16E1BFD2144}"/>
                </a:ext>
              </a:extLst>
            </p:cNvPr>
            <p:cNvSpPr>
              <a:spLocks/>
            </p:cNvSpPr>
            <p:nvPr/>
          </p:nvSpPr>
          <p:spPr bwMode="auto">
            <a:xfrm>
              <a:off x="4205288" y="3019426"/>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5" name="Freeform 39">
              <a:extLst>
                <a:ext uri="{FF2B5EF4-FFF2-40B4-BE49-F238E27FC236}">
                  <a16:creationId xmlns:a16="http://schemas.microsoft.com/office/drawing/2014/main" id="{C13EFB31-9E9F-4823-AC19-FC7B30E461D1}"/>
                </a:ext>
              </a:extLst>
            </p:cNvPr>
            <p:cNvSpPr>
              <a:spLocks/>
            </p:cNvSpPr>
            <p:nvPr/>
          </p:nvSpPr>
          <p:spPr bwMode="auto">
            <a:xfrm>
              <a:off x="4205288" y="3065463"/>
              <a:ext cx="93663" cy="15875"/>
            </a:xfrm>
            <a:custGeom>
              <a:avLst/>
              <a:gdLst>
                <a:gd name="T0" fmla="*/ 22 w 24"/>
                <a:gd name="T1" fmla="*/ 4 h 4"/>
                <a:gd name="T2" fmla="*/ 2 w 24"/>
                <a:gd name="T3" fmla="*/ 4 h 4"/>
                <a:gd name="T4" fmla="*/ 0 w 24"/>
                <a:gd name="T5" fmla="*/ 2 h 4"/>
                <a:gd name="T6" fmla="*/ 2 w 24"/>
                <a:gd name="T7" fmla="*/ 0 h 4"/>
                <a:gd name="T8" fmla="*/ 22 w 24"/>
                <a:gd name="T9" fmla="*/ 0 h 4"/>
                <a:gd name="T10" fmla="*/ 24 w 24"/>
                <a:gd name="T11" fmla="*/ 2 h 4"/>
                <a:gd name="T12" fmla="*/ 22 w 2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4"/>
                  </a:moveTo>
                  <a:cubicBezTo>
                    <a:pt x="2" y="4"/>
                    <a:pt x="2" y="4"/>
                    <a:pt x="2" y="4"/>
                  </a:cubicBezTo>
                  <a:cubicBezTo>
                    <a:pt x="1" y="4"/>
                    <a:pt x="0" y="3"/>
                    <a:pt x="0" y="2"/>
                  </a:cubicBezTo>
                  <a:cubicBezTo>
                    <a:pt x="0" y="1"/>
                    <a:pt x="1" y="0"/>
                    <a:pt x="2" y="0"/>
                  </a:cubicBezTo>
                  <a:cubicBezTo>
                    <a:pt x="22" y="0"/>
                    <a:pt x="22" y="0"/>
                    <a:pt x="22" y="0"/>
                  </a:cubicBezTo>
                  <a:cubicBezTo>
                    <a:pt x="23" y="0"/>
                    <a:pt x="24" y="1"/>
                    <a:pt x="24" y="2"/>
                  </a:cubicBezTo>
                  <a:cubicBezTo>
                    <a:pt x="24" y="3"/>
                    <a:pt x="23" y="4"/>
                    <a:pt x="2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6" name="Freeform 40">
              <a:extLst>
                <a:ext uri="{FF2B5EF4-FFF2-40B4-BE49-F238E27FC236}">
                  <a16:creationId xmlns:a16="http://schemas.microsoft.com/office/drawing/2014/main" id="{179FEFD7-7C9E-492D-86CB-15D0F16F7FA1}"/>
                </a:ext>
              </a:extLst>
            </p:cNvPr>
            <p:cNvSpPr>
              <a:spLocks/>
            </p:cNvSpPr>
            <p:nvPr/>
          </p:nvSpPr>
          <p:spPr bwMode="auto">
            <a:xfrm>
              <a:off x="4159250" y="2833688"/>
              <a:ext cx="263525" cy="341313"/>
            </a:xfrm>
            <a:custGeom>
              <a:avLst/>
              <a:gdLst>
                <a:gd name="T0" fmla="*/ 44 w 68"/>
                <a:gd name="T1" fmla="*/ 88 h 88"/>
                <a:gd name="T2" fmla="*/ 2 w 68"/>
                <a:gd name="T3" fmla="*/ 88 h 88"/>
                <a:gd name="T4" fmla="*/ 0 w 68"/>
                <a:gd name="T5" fmla="*/ 86 h 88"/>
                <a:gd name="T6" fmla="*/ 0 w 68"/>
                <a:gd name="T7" fmla="*/ 2 h 88"/>
                <a:gd name="T8" fmla="*/ 2 w 68"/>
                <a:gd name="T9" fmla="*/ 0 h 88"/>
                <a:gd name="T10" fmla="*/ 46 w 68"/>
                <a:gd name="T11" fmla="*/ 0 h 88"/>
                <a:gd name="T12" fmla="*/ 47 w 68"/>
                <a:gd name="T13" fmla="*/ 1 h 88"/>
                <a:gd name="T14" fmla="*/ 67 w 68"/>
                <a:gd name="T15" fmla="*/ 21 h 88"/>
                <a:gd name="T16" fmla="*/ 68 w 68"/>
                <a:gd name="T17" fmla="*/ 22 h 88"/>
                <a:gd name="T18" fmla="*/ 68 w 68"/>
                <a:gd name="T19" fmla="*/ 54 h 88"/>
                <a:gd name="T20" fmla="*/ 66 w 68"/>
                <a:gd name="T21" fmla="*/ 56 h 88"/>
                <a:gd name="T22" fmla="*/ 64 w 68"/>
                <a:gd name="T23" fmla="*/ 54 h 88"/>
                <a:gd name="T24" fmla="*/ 64 w 68"/>
                <a:gd name="T25" fmla="*/ 23 h 88"/>
                <a:gd name="T26" fmla="*/ 45 w 68"/>
                <a:gd name="T27" fmla="*/ 4 h 88"/>
                <a:gd name="T28" fmla="*/ 4 w 68"/>
                <a:gd name="T29" fmla="*/ 4 h 88"/>
                <a:gd name="T30" fmla="*/ 4 w 68"/>
                <a:gd name="T31" fmla="*/ 84 h 88"/>
                <a:gd name="T32" fmla="*/ 44 w 68"/>
                <a:gd name="T33" fmla="*/ 84 h 88"/>
                <a:gd name="T34" fmla="*/ 46 w 68"/>
                <a:gd name="T35" fmla="*/ 86 h 88"/>
                <a:gd name="T36" fmla="*/ 44 w 68"/>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88">
                  <a:moveTo>
                    <a:pt x="44" y="88"/>
                  </a:moveTo>
                  <a:cubicBezTo>
                    <a:pt x="2" y="88"/>
                    <a:pt x="2" y="88"/>
                    <a:pt x="2" y="88"/>
                  </a:cubicBezTo>
                  <a:cubicBezTo>
                    <a:pt x="1" y="88"/>
                    <a:pt x="0" y="87"/>
                    <a:pt x="0" y="86"/>
                  </a:cubicBezTo>
                  <a:cubicBezTo>
                    <a:pt x="0" y="2"/>
                    <a:pt x="0" y="2"/>
                    <a:pt x="0" y="2"/>
                  </a:cubicBezTo>
                  <a:cubicBezTo>
                    <a:pt x="0" y="1"/>
                    <a:pt x="1" y="0"/>
                    <a:pt x="2" y="0"/>
                  </a:cubicBezTo>
                  <a:cubicBezTo>
                    <a:pt x="46" y="0"/>
                    <a:pt x="46" y="0"/>
                    <a:pt x="46" y="0"/>
                  </a:cubicBezTo>
                  <a:cubicBezTo>
                    <a:pt x="47" y="0"/>
                    <a:pt x="47" y="0"/>
                    <a:pt x="47" y="1"/>
                  </a:cubicBezTo>
                  <a:cubicBezTo>
                    <a:pt x="67" y="21"/>
                    <a:pt x="67" y="21"/>
                    <a:pt x="67" y="21"/>
                  </a:cubicBezTo>
                  <a:cubicBezTo>
                    <a:pt x="68" y="21"/>
                    <a:pt x="68" y="21"/>
                    <a:pt x="68" y="22"/>
                  </a:cubicBezTo>
                  <a:cubicBezTo>
                    <a:pt x="68" y="54"/>
                    <a:pt x="68" y="54"/>
                    <a:pt x="68" y="54"/>
                  </a:cubicBezTo>
                  <a:cubicBezTo>
                    <a:pt x="68" y="55"/>
                    <a:pt x="67" y="56"/>
                    <a:pt x="66" y="56"/>
                  </a:cubicBezTo>
                  <a:cubicBezTo>
                    <a:pt x="65" y="56"/>
                    <a:pt x="64" y="55"/>
                    <a:pt x="64" y="54"/>
                  </a:cubicBezTo>
                  <a:cubicBezTo>
                    <a:pt x="64" y="23"/>
                    <a:pt x="64" y="23"/>
                    <a:pt x="64" y="23"/>
                  </a:cubicBezTo>
                  <a:cubicBezTo>
                    <a:pt x="45" y="4"/>
                    <a:pt x="45" y="4"/>
                    <a:pt x="45" y="4"/>
                  </a:cubicBezTo>
                  <a:cubicBezTo>
                    <a:pt x="4" y="4"/>
                    <a:pt x="4" y="4"/>
                    <a:pt x="4" y="4"/>
                  </a:cubicBezTo>
                  <a:cubicBezTo>
                    <a:pt x="4" y="84"/>
                    <a:pt x="4" y="84"/>
                    <a:pt x="4" y="84"/>
                  </a:cubicBezTo>
                  <a:cubicBezTo>
                    <a:pt x="44" y="84"/>
                    <a:pt x="44" y="84"/>
                    <a:pt x="44" y="84"/>
                  </a:cubicBezTo>
                  <a:cubicBezTo>
                    <a:pt x="45" y="84"/>
                    <a:pt x="46" y="85"/>
                    <a:pt x="46" y="86"/>
                  </a:cubicBezTo>
                  <a:cubicBezTo>
                    <a:pt x="46" y="87"/>
                    <a:pt x="45" y="88"/>
                    <a:pt x="4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97" name="Freeform 41">
              <a:extLst>
                <a:ext uri="{FF2B5EF4-FFF2-40B4-BE49-F238E27FC236}">
                  <a16:creationId xmlns:a16="http://schemas.microsoft.com/office/drawing/2014/main" id="{2408864C-4FFF-47F2-B83A-8BBE1813828C}"/>
                </a:ext>
              </a:extLst>
            </p:cNvPr>
            <p:cNvSpPr>
              <a:spLocks/>
            </p:cNvSpPr>
            <p:nvPr/>
          </p:nvSpPr>
          <p:spPr bwMode="auto">
            <a:xfrm>
              <a:off x="4329113" y="2833688"/>
              <a:ext cx="93663" cy="93663"/>
            </a:xfrm>
            <a:custGeom>
              <a:avLst/>
              <a:gdLst>
                <a:gd name="T0" fmla="*/ 22 w 24"/>
                <a:gd name="T1" fmla="*/ 24 h 24"/>
                <a:gd name="T2" fmla="*/ 2 w 24"/>
                <a:gd name="T3" fmla="*/ 24 h 24"/>
                <a:gd name="T4" fmla="*/ 0 w 24"/>
                <a:gd name="T5" fmla="*/ 22 h 24"/>
                <a:gd name="T6" fmla="*/ 0 w 24"/>
                <a:gd name="T7" fmla="*/ 2 h 24"/>
                <a:gd name="T8" fmla="*/ 2 w 24"/>
                <a:gd name="T9" fmla="*/ 0 h 24"/>
                <a:gd name="T10" fmla="*/ 4 w 24"/>
                <a:gd name="T11" fmla="*/ 2 h 24"/>
                <a:gd name="T12" fmla="*/ 4 w 24"/>
                <a:gd name="T13" fmla="*/ 20 h 24"/>
                <a:gd name="T14" fmla="*/ 22 w 24"/>
                <a:gd name="T15" fmla="*/ 20 h 24"/>
                <a:gd name="T16" fmla="*/ 24 w 24"/>
                <a:gd name="T17" fmla="*/ 22 h 24"/>
                <a:gd name="T18" fmla="*/ 22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2" y="24"/>
                  </a:moveTo>
                  <a:cubicBezTo>
                    <a:pt x="2" y="24"/>
                    <a:pt x="2" y="24"/>
                    <a:pt x="2" y="24"/>
                  </a:cubicBezTo>
                  <a:cubicBezTo>
                    <a:pt x="1" y="24"/>
                    <a:pt x="0" y="23"/>
                    <a:pt x="0" y="22"/>
                  </a:cubicBezTo>
                  <a:cubicBezTo>
                    <a:pt x="0" y="2"/>
                    <a:pt x="0" y="2"/>
                    <a:pt x="0" y="2"/>
                  </a:cubicBezTo>
                  <a:cubicBezTo>
                    <a:pt x="0" y="1"/>
                    <a:pt x="1" y="0"/>
                    <a:pt x="2" y="0"/>
                  </a:cubicBezTo>
                  <a:cubicBezTo>
                    <a:pt x="3" y="0"/>
                    <a:pt x="4" y="1"/>
                    <a:pt x="4" y="2"/>
                  </a:cubicBezTo>
                  <a:cubicBezTo>
                    <a:pt x="4" y="20"/>
                    <a:pt x="4" y="20"/>
                    <a:pt x="4" y="20"/>
                  </a:cubicBezTo>
                  <a:cubicBezTo>
                    <a:pt x="22" y="20"/>
                    <a:pt x="22" y="20"/>
                    <a:pt x="22" y="20"/>
                  </a:cubicBezTo>
                  <a:cubicBezTo>
                    <a:pt x="23" y="20"/>
                    <a:pt x="24" y="21"/>
                    <a:pt x="24" y="22"/>
                  </a:cubicBezTo>
                  <a:cubicBezTo>
                    <a:pt x="24" y="23"/>
                    <a:pt x="23" y="24"/>
                    <a:pt x="2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01" name="Group 13">
            <a:extLst>
              <a:ext uri="{FF2B5EF4-FFF2-40B4-BE49-F238E27FC236}">
                <a16:creationId xmlns:a16="http://schemas.microsoft.com/office/drawing/2014/main" id="{D3FD6323-76E4-4FDE-856E-F2B55F8B0F2C}"/>
              </a:ext>
            </a:extLst>
          </p:cNvPr>
          <p:cNvGrpSpPr>
            <a:grpSpLocks noChangeAspect="1"/>
          </p:cNvGrpSpPr>
          <p:nvPr/>
        </p:nvGrpSpPr>
        <p:grpSpPr>
          <a:xfrm>
            <a:off x="4922904" y="3801969"/>
            <a:ext cx="255369" cy="308144"/>
            <a:chOff x="11630025" y="1360488"/>
            <a:chExt cx="238125" cy="287338"/>
          </a:xfrm>
          <a:solidFill>
            <a:schemeClr val="bg1"/>
          </a:solidFill>
          <a:effectLst/>
        </p:grpSpPr>
        <p:sp>
          <p:nvSpPr>
            <p:cNvPr id="902" name="Freeform 197">
              <a:extLst>
                <a:ext uri="{FF2B5EF4-FFF2-40B4-BE49-F238E27FC236}">
                  <a16:creationId xmlns:a16="http://schemas.microsoft.com/office/drawing/2014/main" id="{E87E55E4-132D-4A0D-A3E3-D23406AE6FE8}"/>
                </a:ext>
              </a:extLst>
            </p:cNvPr>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3" name="Freeform 198">
              <a:extLst>
                <a:ext uri="{FF2B5EF4-FFF2-40B4-BE49-F238E27FC236}">
                  <a16:creationId xmlns:a16="http://schemas.microsoft.com/office/drawing/2014/main" id="{57835C2C-8EFE-4C8A-98F0-E2169D55A72B}"/>
                </a:ext>
              </a:extLst>
            </p:cNvPr>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4" name="Freeform 199">
              <a:extLst>
                <a:ext uri="{FF2B5EF4-FFF2-40B4-BE49-F238E27FC236}">
                  <a16:creationId xmlns:a16="http://schemas.microsoft.com/office/drawing/2014/main" id="{DC0E8205-A064-4A90-8B89-020A41D779BD}"/>
                </a:ext>
              </a:extLst>
            </p:cNvPr>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5" name="Freeform 200">
              <a:extLst>
                <a:ext uri="{FF2B5EF4-FFF2-40B4-BE49-F238E27FC236}">
                  <a16:creationId xmlns:a16="http://schemas.microsoft.com/office/drawing/2014/main" id="{9D47BF4D-C42F-4BD0-A4FA-4F36B643B62A}"/>
                </a:ext>
              </a:extLst>
            </p:cNvPr>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906" name="Freeform 302">
            <a:extLst>
              <a:ext uri="{FF2B5EF4-FFF2-40B4-BE49-F238E27FC236}">
                <a16:creationId xmlns:a16="http://schemas.microsoft.com/office/drawing/2014/main" id="{2DE2A4AD-A26F-4157-B73F-A31481E1A580}"/>
              </a:ext>
            </a:extLst>
          </p:cNvPr>
          <p:cNvSpPr>
            <a:spLocks noChangeAspect="1" noEditPoints="1"/>
          </p:cNvSpPr>
          <p:nvPr/>
        </p:nvSpPr>
        <p:spPr bwMode="auto">
          <a:xfrm>
            <a:off x="5399949" y="3801969"/>
            <a:ext cx="242113" cy="308144"/>
          </a:xfrm>
          <a:custGeom>
            <a:avLst/>
            <a:gdLst>
              <a:gd name="T0" fmla="*/ 209 w 660"/>
              <a:gd name="T1" fmla="*/ 30 h 841"/>
              <a:gd name="T2" fmla="*/ 480 w 660"/>
              <a:gd name="T3" fmla="*/ 165 h 841"/>
              <a:gd name="T4" fmla="*/ 481 w 660"/>
              <a:gd name="T5" fmla="*/ 171 h 841"/>
              <a:gd name="T6" fmla="*/ 484 w 660"/>
              <a:gd name="T7" fmla="*/ 175 h 841"/>
              <a:gd name="T8" fmla="*/ 489 w 660"/>
              <a:gd name="T9" fmla="*/ 179 h 841"/>
              <a:gd name="T10" fmla="*/ 495 w 660"/>
              <a:gd name="T11" fmla="*/ 180 h 841"/>
              <a:gd name="T12" fmla="*/ 630 w 660"/>
              <a:gd name="T13" fmla="*/ 630 h 841"/>
              <a:gd name="T14" fmla="*/ 570 w 660"/>
              <a:gd name="T15" fmla="*/ 721 h 841"/>
              <a:gd name="T16" fmla="*/ 120 w 660"/>
              <a:gd name="T17" fmla="*/ 122 h 841"/>
              <a:gd name="T18" fmla="*/ 179 w 660"/>
              <a:gd name="T19" fmla="*/ 645 h 841"/>
              <a:gd name="T20" fmla="*/ 181 w 660"/>
              <a:gd name="T21" fmla="*/ 652 h 841"/>
              <a:gd name="T22" fmla="*/ 184 w 660"/>
              <a:gd name="T23" fmla="*/ 657 h 841"/>
              <a:gd name="T24" fmla="*/ 189 w 660"/>
              <a:gd name="T25" fmla="*/ 659 h 841"/>
              <a:gd name="T26" fmla="*/ 194 w 660"/>
              <a:gd name="T27" fmla="*/ 660 h 841"/>
              <a:gd name="T28" fmla="*/ 570 w 660"/>
              <a:gd name="T29" fmla="*/ 721 h 841"/>
              <a:gd name="T30" fmla="*/ 30 w 660"/>
              <a:gd name="T31" fmla="*/ 811 h 841"/>
              <a:gd name="T32" fmla="*/ 90 w 660"/>
              <a:gd name="T33" fmla="*/ 210 h 841"/>
              <a:gd name="T34" fmla="*/ 90 w 660"/>
              <a:gd name="T35" fmla="*/ 739 h 841"/>
              <a:gd name="T36" fmla="*/ 92 w 660"/>
              <a:gd name="T37" fmla="*/ 745 h 841"/>
              <a:gd name="T38" fmla="*/ 96 w 660"/>
              <a:gd name="T39" fmla="*/ 748 h 841"/>
              <a:gd name="T40" fmla="*/ 101 w 660"/>
              <a:gd name="T41" fmla="*/ 750 h 841"/>
              <a:gd name="T42" fmla="*/ 510 w 660"/>
              <a:gd name="T43" fmla="*/ 751 h 841"/>
              <a:gd name="T44" fmla="*/ 510 w 660"/>
              <a:gd name="T45" fmla="*/ 52 h 841"/>
              <a:gd name="T46" fmla="*/ 510 w 660"/>
              <a:gd name="T47" fmla="*/ 150 h 841"/>
              <a:gd name="T48" fmla="*/ 659 w 660"/>
              <a:gd name="T49" fmla="*/ 160 h 841"/>
              <a:gd name="T50" fmla="*/ 656 w 660"/>
              <a:gd name="T51" fmla="*/ 154 h 841"/>
              <a:gd name="T52" fmla="*/ 504 w 660"/>
              <a:gd name="T53" fmla="*/ 3 h 841"/>
              <a:gd name="T54" fmla="*/ 498 w 660"/>
              <a:gd name="T55" fmla="*/ 1 h 841"/>
              <a:gd name="T56" fmla="*/ 194 w 660"/>
              <a:gd name="T57" fmla="*/ 0 h 841"/>
              <a:gd name="T58" fmla="*/ 189 w 660"/>
              <a:gd name="T59" fmla="*/ 1 h 841"/>
              <a:gd name="T60" fmla="*/ 184 w 660"/>
              <a:gd name="T61" fmla="*/ 4 h 841"/>
              <a:gd name="T62" fmla="*/ 181 w 660"/>
              <a:gd name="T63" fmla="*/ 9 h 841"/>
              <a:gd name="T64" fmla="*/ 179 w 660"/>
              <a:gd name="T65" fmla="*/ 15 h 841"/>
              <a:gd name="T66" fmla="*/ 105 w 660"/>
              <a:gd name="T67" fmla="*/ 91 h 841"/>
              <a:gd name="T68" fmla="*/ 98 w 660"/>
              <a:gd name="T69" fmla="*/ 93 h 841"/>
              <a:gd name="T70" fmla="*/ 94 w 660"/>
              <a:gd name="T71" fmla="*/ 96 h 841"/>
              <a:gd name="T72" fmla="*/ 91 w 660"/>
              <a:gd name="T73" fmla="*/ 100 h 841"/>
              <a:gd name="T74" fmla="*/ 90 w 660"/>
              <a:gd name="T75" fmla="*/ 107 h 841"/>
              <a:gd name="T76" fmla="*/ 15 w 660"/>
              <a:gd name="T77" fmla="*/ 180 h 841"/>
              <a:gd name="T78" fmla="*/ 8 w 660"/>
              <a:gd name="T79" fmla="*/ 182 h 841"/>
              <a:gd name="T80" fmla="*/ 4 w 660"/>
              <a:gd name="T81" fmla="*/ 185 h 841"/>
              <a:gd name="T82" fmla="*/ 1 w 660"/>
              <a:gd name="T83" fmla="*/ 189 h 841"/>
              <a:gd name="T84" fmla="*/ 0 w 660"/>
              <a:gd name="T85" fmla="*/ 195 h 841"/>
              <a:gd name="T86" fmla="*/ 0 w 660"/>
              <a:gd name="T87" fmla="*/ 829 h 841"/>
              <a:gd name="T88" fmla="*/ 2 w 660"/>
              <a:gd name="T89" fmla="*/ 835 h 841"/>
              <a:gd name="T90" fmla="*/ 6 w 660"/>
              <a:gd name="T91" fmla="*/ 839 h 841"/>
              <a:gd name="T92" fmla="*/ 11 w 660"/>
              <a:gd name="T93" fmla="*/ 841 h 841"/>
              <a:gd name="T94" fmla="*/ 525 w 660"/>
              <a:gd name="T95" fmla="*/ 841 h 841"/>
              <a:gd name="T96" fmla="*/ 530 w 660"/>
              <a:gd name="T97" fmla="*/ 840 h 841"/>
              <a:gd name="T98" fmla="*/ 536 w 660"/>
              <a:gd name="T99" fmla="*/ 837 h 841"/>
              <a:gd name="T100" fmla="*/ 539 w 660"/>
              <a:gd name="T101" fmla="*/ 832 h 841"/>
              <a:gd name="T102" fmla="*/ 540 w 660"/>
              <a:gd name="T103" fmla="*/ 826 h 841"/>
              <a:gd name="T104" fmla="*/ 585 w 660"/>
              <a:gd name="T105" fmla="*/ 751 h 841"/>
              <a:gd name="T106" fmla="*/ 591 w 660"/>
              <a:gd name="T107" fmla="*/ 750 h 841"/>
              <a:gd name="T108" fmla="*/ 596 w 660"/>
              <a:gd name="T109" fmla="*/ 747 h 841"/>
              <a:gd name="T110" fmla="*/ 599 w 660"/>
              <a:gd name="T111" fmla="*/ 741 h 841"/>
              <a:gd name="T112" fmla="*/ 600 w 660"/>
              <a:gd name="T113" fmla="*/ 736 h 841"/>
              <a:gd name="T114" fmla="*/ 645 w 660"/>
              <a:gd name="T115" fmla="*/ 660 h 841"/>
              <a:gd name="T116" fmla="*/ 651 w 660"/>
              <a:gd name="T117" fmla="*/ 659 h 841"/>
              <a:gd name="T118" fmla="*/ 656 w 660"/>
              <a:gd name="T119" fmla="*/ 657 h 841"/>
              <a:gd name="T120" fmla="*/ 659 w 660"/>
              <a:gd name="T121" fmla="*/ 652 h 841"/>
              <a:gd name="T122" fmla="*/ 660 w 660"/>
              <a:gd name="T123" fmla="*/ 645 h 841"/>
              <a:gd name="T124" fmla="*/ 660 w 660"/>
              <a:gd name="T125" fmla="*/ 163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0" h="841">
                <a:moveTo>
                  <a:pt x="209" y="630"/>
                </a:moveTo>
                <a:lnTo>
                  <a:pt x="209" y="30"/>
                </a:lnTo>
                <a:lnTo>
                  <a:pt x="480" y="30"/>
                </a:lnTo>
                <a:lnTo>
                  <a:pt x="480" y="165"/>
                </a:lnTo>
                <a:lnTo>
                  <a:pt x="480" y="168"/>
                </a:lnTo>
                <a:lnTo>
                  <a:pt x="481" y="171"/>
                </a:lnTo>
                <a:lnTo>
                  <a:pt x="482" y="173"/>
                </a:lnTo>
                <a:lnTo>
                  <a:pt x="484" y="175"/>
                </a:lnTo>
                <a:lnTo>
                  <a:pt x="487" y="177"/>
                </a:lnTo>
                <a:lnTo>
                  <a:pt x="489" y="179"/>
                </a:lnTo>
                <a:lnTo>
                  <a:pt x="492" y="180"/>
                </a:lnTo>
                <a:lnTo>
                  <a:pt x="495" y="180"/>
                </a:lnTo>
                <a:lnTo>
                  <a:pt x="630" y="180"/>
                </a:lnTo>
                <a:lnTo>
                  <a:pt x="630" y="630"/>
                </a:lnTo>
                <a:lnTo>
                  <a:pt x="209" y="630"/>
                </a:lnTo>
                <a:close/>
                <a:moveTo>
                  <a:pt x="570" y="721"/>
                </a:moveTo>
                <a:lnTo>
                  <a:pt x="120" y="721"/>
                </a:lnTo>
                <a:lnTo>
                  <a:pt x="120" y="122"/>
                </a:lnTo>
                <a:lnTo>
                  <a:pt x="179" y="122"/>
                </a:lnTo>
                <a:lnTo>
                  <a:pt x="179" y="645"/>
                </a:lnTo>
                <a:lnTo>
                  <a:pt x="179" y="648"/>
                </a:lnTo>
                <a:lnTo>
                  <a:pt x="181" y="652"/>
                </a:lnTo>
                <a:lnTo>
                  <a:pt x="183" y="655"/>
                </a:lnTo>
                <a:lnTo>
                  <a:pt x="184" y="657"/>
                </a:lnTo>
                <a:lnTo>
                  <a:pt x="186" y="658"/>
                </a:lnTo>
                <a:lnTo>
                  <a:pt x="189" y="659"/>
                </a:lnTo>
                <a:lnTo>
                  <a:pt x="191" y="660"/>
                </a:lnTo>
                <a:lnTo>
                  <a:pt x="194" y="660"/>
                </a:lnTo>
                <a:lnTo>
                  <a:pt x="570" y="660"/>
                </a:lnTo>
                <a:lnTo>
                  <a:pt x="570" y="721"/>
                </a:lnTo>
                <a:close/>
                <a:moveTo>
                  <a:pt x="510" y="811"/>
                </a:moveTo>
                <a:lnTo>
                  <a:pt x="30" y="811"/>
                </a:lnTo>
                <a:lnTo>
                  <a:pt x="30" y="210"/>
                </a:lnTo>
                <a:lnTo>
                  <a:pt x="90" y="210"/>
                </a:lnTo>
                <a:lnTo>
                  <a:pt x="90" y="736"/>
                </a:lnTo>
                <a:lnTo>
                  <a:pt x="90" y="739"/>
                </a:lnTo>
                <a:lnTo>
                  <a:pt x="91" y="741"/>
                </a:lnTo>
                <a:lnTo>
                  <a:pt x="92" y="745"/>
                </a:lnTo>
                <a:lnTo>
                  <a:pt x="94" y="747"/>
                </a:lnTo>
                <a:lnTo>
                  <a:pt x="96" y="748"/>
                </a:lnTo>
                <a:lnTo>
                  <a:pt x="98" y="750"/>
                </a:lnTo>
                <a:lnTo>
                  <a:pt x="101" y="750"/>
                </a:lnTo>
                <a:lnTo>
                  <a:pt x="105" y="751"/>
                </a:lnTo>
                <a:lnTo>
                  <a:pt x="510" y="751"/>
                </a:lnTo>
                <a:lnTo>
                  <a:pt x="510" y="811"/>
                </a:lnTo>
                <a:close/>
                <a:moveTo>
                  <a:pt x="510" y="52"/>
                </a:moveTo>
                <a:lnTo>
                  <a:pt x="609" y="150"/>
                </a:lnTo>
                <a:lnTo>
                  <a:pt x="510" y="150"/>
                </a:lnTo>
                <a:lnTo>
                  <a:pt x="510" y="52"/>
                </a:lnTo>
                <a:close/>
                <a:moveTo>
                  <a:pt x="659" y="160"/>
                </a:moveTo>
                <a:lnTo>
                  <a:pt x="658" y="157"/>
                </a:lnTo>
                <a:lnTo>
                  <a:pt x="656" y="154"/>
                </a:lnTo>
                <a:lnTo>
                  <a:pt x="506" y="4"/>
                </a:lnTo>
                <a:lnTo>
                  <a:pt x="504" y="3"/>
                </a:lnTo>
                <a:lnTo>
                  <a:pt x="500" y="1"/>
                </a:lnTo>
                <a:lnTo>
                  <a:pt x="498" y="1"/>
                </a:lnTo>
                <a:lnTo>
                  <a:pt x="495" y="0"/>
                </a:lnTo>
                <a:lnTo>
                  <a:pt x="194" y="0"/>
                </a:lnTo>
                <a:lnTo>
                  <a:pt x="191" y="0"/>
                </a:lnTo>
                <a:lnTo>
                  <a:pt x="189" y="1"/>
                </a:lnTo>
                <a:lnTo>
                  <a:pt x="186" y="3"/>
                </a:lnTo>
                <a:lnTo>
                  <a:pt x="184" y="4"/>
                </a:lnTo>
                <a:lnTo>
                  <a:pt x="183" y="6"/>
                </a:lnTo>
                <a:lnTo>
                  <a:pt x="181" y="9"/>
                </a:lnTo>
                <a:lnTo>
                  <a:pt x="179" y="12"/>
                </a:lnTo>
                <a:lnTo>
                  <a:pt x="179" y="15"/>
                </a:lnTo>
                <a:lnTo>
                  <a:pt x="179" y="91"/>
                </a:lnTo>
                <a:lnTo>
                  <a:pt x="105" y="91"/>
                </a:lnTo>
                <a:lnTo>
                  <a:pt x="101" y="92"/>
                </a:lnTo>
                <a:lnTo>
                  <a:pt x="98" y="93"/>
                </a:lnTo>
                <a:lnTo>
                  <a:pt x="96" y="94"/>
                </a:lnTo>
                <a:lnTo>
                  <a:pt x="94" y="96"/>
                </a:lnTo>
                <a:lnTo>
                  <a:pt x="92" y="98"/>
                </a:lnTo>
                <a:lnTo>
                  <a:pt x="91" y="100"/>
                </a:lnTo>
                <a:lnTo>
                  <a:pt x="90" y="104"/>
                </a:lnTo>
                <a:lnTo>
                  <a:pt x="90" y="107"/>
                </a:lnTo>
                <a:lnTo>
                  <a:pt x="90" y="180"/>
                </a:lnTo>
                <a:lnTo>
                  <a:pt x="15" y="180"/>
                </a:lnTo>
                <a:lnTo>
                  <a:pt x="11" y="181"/>
                </a:lnTo>
                <a:lnTo>
                  <a:pt x="8" y="182"/>
                </a:lnTo>
                <a:lnTo>
                  <a:pt x="6" y="183"/>
                </a:lnTo>
                <a:lnTo>
                  <a:pt x="4" y="185"/>
                </a:lnTo>
                <a:lnTo>
                  <a:pt x="2" y="187"/>
                </a:lnTo>
                <a:lnTo>
                  <a:pt x="1" y="189"/>
                </a:lnTo>
                <a:lnTo>
                  <a:pt x="0" y="192"/>
                </a:lnTo>
                <a:lnTo>
                  <a:pt x="0" y="195"/>
                </a:lnTo>
                <a:lnTo>
                  <a:pt x="0" y="826"/>
                </a:lnTo>
                <a:lnTo>
                  <a:pt x="0" y="829"/>
                </a:lnTo>
                <a:lnTo>
                  <a:pt x="1" y="832"/>
                </a:lnTo>
                <a:lnTo>
                  <a:pt x="2" y="835"/>
                </a:lnTo>
                <a:lnTo>
                  <a:pt x="4" y="837"/>
                </a:lnTo>
                <a:lnTo>
                  <a:pt x="6" y="839"/>
                </a:lnTo>
                <a:lnTo>
                  <a:pt x="8" y="840"/>
                </a:lnTo>
                <a:lnTo>
                  <a:pt x="11" y="841"/>
                </a:lnTo>
                <a:lnTo>
                  <a:pt x="15" y="841"/>
                </a:lnTo>
                <a:lnTo>
                  <a:pt x="525" y="841"/>
                </a:lnTo>
                <a:lnTo>
                  <a:pt x="528" y="841"/>
                </a:lnTo>
                <a:lnTo>
                  <a:pt x="530" y="840"/>
                </a:lnTo>
                <a:lnTo>
                  <a:pt x="534" y="839"/>
                </a:lnTo>
                <a:lnTo>
                  <a:pt x="536" y="837"/>
                </a:lnTo>
                <a:lnTo>
                  <a:pt x="538" y="835"/>
                </a:lnTo>
                <a:lnTo>
                  <a:pt x="539" y="832"/>
                </a:lnTo>
                <a:lnTo>
                  <a:pt x="540" y="829"/>
                </a:lnTo>
                <a:lnTo>
                  <a:pt x="540" y="826"/>
                </a:lnTo>
                <a:lnTo>
                  <a:pt x="540" y="751"/>
                </a:lnTo>
                <a:lnTo>
                  <a:pt x="585" y="751"/>
                </a:lnTo>
                <a:lnTo>
                  <a:pt x="588" y="750"/>
                </a:lnTo>
                <a:lnTo>
                  <a:pt x="591" y="750"/>
                </a:lnTo>
                <a:lnTo>
                  <a:pt x="594" y="748"/>
                </a:lnTo>
                <a:lnTo>
                  <a:pt x="596" y="747"/>
                </a:lnTo>
                <a:lnTo>
                  <a:pt x="598" y="745"/>
                </a:lnTo>
                <a:lnTo>
                  <a:pt x="599" y="741"/>
                </a:lnTo>
                <a:lnTo>
                  <a:pt x="600" y="739"/>
                </a:lnTo>
                <a:lnTo>
                  <a:pt x="600" y="736"/>
                </a:lnTo>
                <a:lnTo>
                  <a:pt x="600" y="660"/>
                </a:lnTo>
                <a:lnTo>
                  <a:pt x="645" y="660"/>
                </a:lnTo>
                <a:lnTo>
                  <a:pt x="648" y="660"/>
                </a:lnTo>
                <a:lnTo>
                  <a:pt x="651" y="659"/>
                </a:lnTo>
                <a:lnTo>
                  <a:pt x="653" y="658"/>
                </a:lnTo>
                <a:lnTo>
                  <a:pt x="656" y="657"/>
                </a:lnTo>
                <a:lnTo>
                  <a:pt x="658" y="655"/>
                </a:lnTo>
                <a:lnTo>
                  <a:pt x="659" y="652"/>
                </a:lnTo>
                <a:lnTo>
                  <a:pt x="660" y="648"/>
                </a:lnTo>
                <a:lnTo>
                  <a:pt x="660" y="645"/>
                </a:lnTo>
                <a:lnTo>
                  <a:pt x="660" y="165"/>
                </a:lnTo>
                <a:lnTo>
                  <a:pt x="660" y="163"/>
                </a:lnTo>
                <a:lnTo>
                  <a:pt x="659" y="1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907" name="Group 46">
            <a:extLst>
              <a:ext uri="{FF2B5EF4-FFF2-40B4-BE49-F238E27FC236}">
                <a16:creationId xmlns:a16="http://schemas.microsoft.com/office/drawing/2014/main" id="{4E0D0129-A77D-4222-AB21-057755722515}"/>
              </a:ext>
            </a:extLst>
          </p:cNvPr>
          <p:cNvGrpSpPr>
            <a:grpSpLocks noChangeAspect="1"/>
          </p:cNvGrpSpPr>
          <p:nvPr/>
        </p:nvGrpSpPr>
        <p:grpSpPr>
          <a:xfrm>
            <a:off x="5817564" y="3801969"/>
            <a:ext cx="234399" cy="308144"/>
            <a:chOff x="4430713" y="3243263"/>
            <a:chExt cx="282575" cy="371476"/>
          </a:xfrm>
          <a:solidFill>
            <a:schemeClr val="bg1"/>
          </a:solidFill>
          <a:effectLst/>
        </p:grpSpPr>
        <p:sp>
          <p:nvSpPr>
            <p:cNvPr id="908" name="Freeform 19">
              <a:extLst>
                <a:ext uri="{FF2B5EF4-FFF2-40B4-BE49-F238E27FC236}">
                  <a16:creationId xmlns:a16="http://schemas.microsoft.com/office/drawing/2014/main" id="{F7021510-C16F-45B8-AF25-7E73DB3CC853}"/>
                </a:ext>
              </a:extLst>
            </p:cNvPr>
            <p:cNvSpPr>
              <a:spLocks/>
            </p:cNvSpPr>
            <p:nvPr/>
          </p:nvSpPr>
          <p:spPr bwMode="auto">
            <a:xfrm>
              <a:off x="4478338" y="3482976"/>
              <a:ext cx="77788" cy="61913"/>
            </a:xfrm>
            <a:custGeom>
              <a:avLst/>
              <a:gdLst>
                <a:gd name="T0" fmla="*/ 4 w 20"/>
                <a:gd name="T1" fmla="*/ 16 h 16"/>
                <a:gd name="T2" fmla="*/ 0 w 20"/>
                <a:gd name="T3" fmla="*/ 16 h 16"/>
                <a:gd name="T4" fmla="*/ 0 w 20"/>
                <a:gd name="T5" fmla="*/ 14 h 16"/>
                <a:gd name="T6" fmla="*/ 5 w 20"/>
                <a:gd name="T7" fmla="*/ 7 h 16"/>
                <a:gd name="T8" fmla="*/ 16 w 20"/>
                <a:gd name="T9" fmla="*/ 4 h 16"/>
                <a:gd name="T10" fmla="*/ 16 w 20"/>
                <a:gd name="T11" fmla="*/ 0 h 16"/>
                <a:gd name="T12" fmla="*/ 20 w 20"/>
                <a:gd name="T13" fmla="*/ 0 h 16"/>
                <a:gd name="T14" fmla="*/ 20 w 20"/>
                <a:gd name="T15" fmla="*/ 6 h 16"/>
                <a:gd name="T16" fmla="*/ 18 w 20"/>
                <a:gd name="T17" fmla="*/ 8 h 16"/>
                <a:gd name="T18" fmla="*/ 6 w 20"/>
                <a:gd name="T19" fmla="*/ 11 h 16"/>
                <a:gd name="T20" fmla="*/ 4 w 20"/>
                <a:gd name="T21" fmla="*/ 14 h 16"/>
                <a:gd name="T22" fmla="*/ 4 w 2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4" y="16"/>
                  </a:moveTo>
                  <a:cubicBezTo>
                    <a:pt x="0" y="16"/>
                    <a:pt x="0" y="16"/>
                    <a:pt x="0" y="16"/>
                  </a:cubicBezTo>
                  <a:cubicBezTo>
                    <a:pt x="0" y="14"/>
                    <a:pt x="0" y="14"/>
                    <a:pt x="0" y="14"/>
                  </a:cubicBezTo>
                  <a:cubicBezTo>
                    <a:pt x="0" y="11"/>
                    <a:pt x="2" y="8"/>
                    <a:pt x="5" y="7"/>
                  </a:cubicBezTo>
                  <a:cubicBezTo>
                    <a:pt x="16" y="4"/>
                    <a:pt x="16" y="4"/>
                    <a:pt x="16" y="4"/>
                  </a:cubicBezTo>
                  <a:cubicBezTo>
                    <a:pt x="16" y="0"/>
                    <a:pt x="16" y="0"/>
                    <a:pt x="16" y="0"/>
                  </a:cubicBezTo>
                  <a:cubicBezTo>
                    <a:pt x="20" y="0"/>
                    <a:pt x="20" y="0"/>
                    <a:pt x="20" y="0"/>
                  </a:cubicBezTo>
                  <a:cubicBezTo>
                    <a:pt x="20" y="6"/>
                    <a:pt x="20" y="6"/>
                    <a:pt x="20" y="6"/>
                  </a:cubicBezTo>
                  <a:cubicBezTo>
                    <a:pt x="20" y="7"/>
                    <a:pt x="19" y="8"/>
                    <a:pt x="18" y="8"/>
                  </a:cubicBezTo>
                  <a:cubicBezTo>
                    <a:pt x="6" y="11"/>
                    <a:pt x="6" y="11"/>
                    <a:pt x="6" y="11"/>
                  </a:cubicBezTo>
                  <a:cubicBezTo>
                    <a:pt x="5" y="11"/>
                    <a:pt x="4" y="13"/>
                    <a:pt x="4" y="1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9" name="Freeform 20">
              <a:extLst>
                <a:ext uri="{FF2B5EF4-FFF2-40B4-BE49-F238E27FC236}">
                  <a16:creationId xmlns:a16="http://schemas.microsoft.com/office/drawing/2014/main" id="{6E718210-620E-4E5C-8DF0-ED9779BB1B46}"/>
                </a:ext>
              </a:extLst>
            </p:cNvPr>
            <p:cNvSpPr>
              <a:spLocks/>
            </p:cNvSpPr>
            <p:nvPr/>
          </p:nvSpPr>
          <p:spPr bwMode="auto">
            <a:xfrm>
              <a:off x="4587876" y="3482976"/>
              <a:ext cx="77788" cy="61913"/>
            </a:xfrm>
            <a:custGeom>
              <a:avLst/>
              <a:gdLst>
                <a:gd name="T0" fmla="*/ 20 w 20"/>
                <a:gd name="T1" fmla="*/ 16 h 16"/>
                <a:gd name="T2" fmla="*/ 16 w 20"/>
                <a:gd name="T3" fmla="*/ 16 h 16"/>
                <a:gd name="T4" fmla="*/ 16 w 20"/>
                <a:gd name="T5" fmla="*/ 14 h 16"/>
                <a:gd name="T6" fmla="*/ 13 w 20"/>
                <a:gd name="T7" fmla="*/ 11 h 16"/>
                <a:gd name="T8" fmla="*/ 2 w 20"/>
                <a:gd name="T9" fmla="*/ 8 h 16"/>
                <a:gd name="T10" fmla="*/ 0 w 20"/>
                <a:gd name="T11" fmla="*/ 6 h 16"/>
                <a:gd name="T12" fmla="*/ 0 w 20"/>
                <a:gd name="T13" fmla="*/ 0 h 16"/>
                <a:gd name="T14" fmla="*/ 4 w 20"/>
                <a:gd name="T15" fmla="*/ 0 h 16"/>
                <a:gd name="T16" fmla="*/ 4 w 20"/>
                <a:gd name="T17" fmla="*/ 4 h 16"/>
                <a:gd name="T18" fmla="*/ 14 w 20"/>
                <a:gd name="T19" fmla="*/ 7 h 16"/>
                <a:gd name="T20" fmla="*/ 20 w 20"/>
                <a:gd name="T21" fmla="*/ 14 h 16"/>
                <a:gd name="T22" fmla="*/ 20 w 20"/>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6">
                  <a:moveTo>
                    <a:pt x="20" y="16"/>
                  </a:moveTo>
                  <a:cubicBezTo>
                    <a:pt x="16" y="16"/>
                    <a:pt x="16" y="16"/>
                    <a:pt x="16" y="16"/>
                  </a:cubicBezTo>
                  <a:cubicBezTo>
                    <a:pt x="16" y="14"/>
                    <a:pt x="16" y="14"/>
                    <a:pt x="16" y="14"/>
                  </a:cubicBezTo>
                  <a:cubicBezTo>
                    <a:pt x="16" y="13"/>
                    <a:pt x="15" y="11"/>
                    <a:pt x="13" y="11"/>
                  </a:cubicBezTo>
                  <a:cubicBezTo>
                    <a:pt x="2" y="8"/>
                    <a:pt x="2" y="8"/>
                    <a:pt x="2" y="8"/>
                  </a:cubicBezTo>
                  <a:cubicBezTo>
                    <a:pt x="1" y="8"/>
                    <a:pt x="0" y="7"/>
                    <a:pt x="0" y="6"/>
                  </a:cubicBezTo>
                  <a:cubicBezTo>
                    <a:pt x="0" y="0"/>
                    <a:pt x="0" y="0"/>
                    <a:pt x="0" y="0"/>
                  </a:cubicBezTo>
                  <a:cubicBezTo>
                    <a:pt x="4" y="0"/>
                    <a:pt x="4" y="0"/>
                    <a:pt x="4" y="0"/>
                  </a:cubicBezTo>
                  <a:cubicBezTo>
                    <a:pt x="4" y="4"/>
                    <a:pt x="4" y="4"/>
                    <a:pt x="4" y="4"/>
                  </a:cubicBezTo>
                  <a:cubicBezTo>
                    <a:pt x="14" y="7"/>
                    <a:pt x="14" y="7"/>
                    <a:pt x="14" y="7"/>
                  </a:cubicBezTo>
                  <a:cubicBezTo>
                    <a:pt x="18" y="8"/>
                    <a:pt x="20" y="11"/>
                    <a:pt x="20" y="14"/>
                  </a:cubicBezTo>
                  <a:lnTo>
                    <a:pt x="2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0" name="Freeform 21">
              <a:extLst>
                <a:ext uri="{FF2B5EF4-FFF2-40B4-BE49-F238E27FC236}">
                  <a16:creationId xmlns:a16="http://schemas.microsoft.com/office/drawing/2014/main" id="{F6FAFF83-0164-434C-94D4-E2E910589958}"/>
                </a:ext>
              </a:extLst>
            </p:cNvPr>
            <p:cNvSpPr>
              <a:spLocks noEditPoints="1"/>
            </p:cNvSpPr>
            <p:nvPr/>
          </p:nvSpPr>
          <p:spPr bwMode="auto">
            <a:xfrm>
              <a:off x="4516438" y="3382963"/>
              <a:ext cx="111125" cy="115888"/>
            </a:xfrm>
            <a:custGeom>
              <a:avLst/>
              <a:gdLst>
                <a:gd name="T0" fmla="*/ 14 w 28"/>
                <a:gd name="T1" fmla="*/ 30 h 30"/>
                <a:gd name="T2" fmla="*/ 0 w 28"/>
                <a:gd name="T3" fmla="*/ 15 h 30"/>
                <a:gd name="T4" fmla="*/ 14 w 28"/>
                <a:gd name="T5" fmla="*/ 0 h 30"/>
                <a:gd name="T6" fmla="*/ 28 w 28"/>
                <a:gd name="T7" fmla="*/ 15 h 30"/>
                <a:gd name="T8" fmla="*/ 14 w 28"/>
                <a:gd name="T9" fmla="*/ 30 h 30"/>
                <a:gd name="T10" fmla="*/ 14 w 28"/>
                <a:gd name="T11" fmla="*/ 4 h 30"/>
                <a:gd name="T12" fmla="*/ 4 w 28"/>
                <a:gd name="T13" fmla="*/ 15 h 30"/>
                <a:gd name="T14" fmla="*/ 14 w 28"/>
                <a:gd name="T15" fmla="*/ 26 h 30"/>
                <a:gd name="T16" fmla="*/ 24 w 28"/>
                <a:gd name="T17" fmla="*/ 15 h 30"/>
                <a:gd name="T18" fmla="*/ 14 w 28"/>
                <a:gd name="T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0">
                  <a:moveTo>
                    <a:pt x="14" y="30"/>
                  </a:moveTo>
                  <a:cubicBezTo>
                    <a:pt x="6" y="30"/>
                    <a:pt x="0" y="23"/>
                    <a:pt x="0" y="15"/>
                  </a:cubicBezTo>
                  <a:cubicBezTo>
                    <a:pt x="0" y="7"/>
                    <a:pt x="6" y="0"/>
                    <a:pt x="14" y="0"/>
                  </a:cubicBezTo>
                  <a:cubicBezTo>
                    <a:pt x="22" y="0"/>
                    <a:pt x="28" y="7"/>
                    <a:pt x="28" y="15"/>
                  </a:cubicBezTo>
                  <a:cubicBezTo>
                    <a:pt x="28" y="23"/>
                    <a:pt x="22" y="30"/>
                    <a:pt x="14" y="30"/>
                  </a:cubicBezTo>
                  <a:close/>
                  <a:moveTo>
                    <a:pt x="14" y="4"/>
                  </a:moveTo>
                  <a:cubicBezTo>
                    <a:pt x="8" y="4"/>
                    <a:pt x="4" y="9"/>
                    <a:pt x="4" y="15"/>
                  </a:cubicBezTo>
                  <a:cubicBezTo>
                    <a:pt x="4" y="21"/>
                    <a:pt x="8" y="26"/>
                    <a:pt x="14" y="26"/>
                  </a:cubicBezTo>
                  <a:cubicBezTo>
                    <a:pt x="20" y="26"/>
                    <a:pt x="24" y="21"/>
                    <a:pt x="24" y="15"/>
                  </a:cubicBezTo>
                  <a:cubicBezTo>
                    <a:pt x="24" y="9"/>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1" name="Freeform 22">
              <a:extLst>
                <a:ext uri="{FF2B5EF4-FFF2-40B4-BE49-F238E27FC236}">
                  <a16:creationId xmlns:a16="http://schemas.microsoft.com/office/drawing/2014/main" id="{9CD0F07D-260C-4C96-AD3E-483CD50C2A04}"/>
                </a:ext>
              </a:extLst>
            </p:cNvPr>
            <p:cNvSpPr>
              <a:spLocks/>
            </p:cNvSpPr>
            <p:nvPr/>
          </p:nvSpPr>
          <p:spPr bwMode="auto">
            <a:xfrm>
              <a:off x="4521201" y="3417888"/>
              <a:ext cx="101600" cy="30163"/>
            </a:xfrm>
            <a:custGeom>
              <a:avLst/>
              <a:gdLst>
                <a:gd name="T0" fmla="*/ 21 w 26"/>
                <a:gd name="T1" fmla="*/ 7 h 8"/>
                <a:gd name="T2" fmla="*/ 20 w 26"/>
                <a:gd name="T3" fmla="*/ 7 h 8"/>
                <a:gd name="T4" fmla="*/ 15 w 26"/>
                <a:gd name="T5" fmla="*/ 5 h 8"/>
                <a:gd name="T6" fmla="*/ 0 w 26"/>
                <a:gd name="T7" fmla="*/ 5 h 8"/>
                <a:gd name="T8" fmla="*/ 2 w 26"/>
                <a:gd name="T9" fmla="*/ 2 h 8"/>
                <a:gd name="T10" fmla="*/ 14 w 26"/>
                <a:gd name="T11" fmla="*/ 0 h 8"/>
                <a:gd name="T12" fmla="*/ 15 w 26"/>
                <a:gd name="T13" fmla="*/ 0 h 8"/>
                <a:gd name="T14" fmla="*/ 17 w 26"/>
                <a:gd name="T15" fmla="*/ 1 h 8"/>
                <a:gd name="T16" fmla="*/ 20 w 26"/>
                <a:gd name="T17" fmla="*/ 3 h 8"/>
                <a:gd name="T18" fmla="*/ 23 w 26"/>
                <a:gd name="T19" fmla="*/ 2 h 8"/>
                <a:gd name="T20" fmla="*/ 26 w 26"/>
                <a:gd name="T21" fmla="*/ 5 h 8"/>
                <a:gd name="T22" fmla="*/ 21 w 26"/>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8">
                  <a:moveTo>
                    <a:pt x="21" y="7"/>
                  </a:moveTo>
                  <a:cubicBezTo>
                    <a:pt x="21" y="7"/>
                    <a:pt x="20" y="7"/>
                    <a:pt x="20" y="7"/>
                  </a:cubicBezTo>
                  <a:cubicBezTo>
                    <a:pt x="18" y="7"/>
                    <a:pt x="16" y="6"/>
                    <a:pt x="15" y="5"/>
                  </a:cubicBezTo>
                  <a:cubicBezTo>
                    <a:pt x="10" y="8"/>
                    <a:pt x="4" y="8"/>
                    <a:pt x="0" y="5"/>
                  </a:cubicBezTo>
                  <a:cubicBezTo>
                    <a:pt x="2" y="2"/>
                    <a:pt x="2" y="2"/>
                    <a:pt x="2" y="2"/>
                  </a:cubicBezTo>
                  <a:cubicBezTo>
                    <a:pt x="5" y="3"/>
                    <a:pt x="10" y="4"/>
                    <a:pt x="14" y="0"/>
                  </a:cubicBezTo>
                  <a:cubicBezTo>
                    <a:pt x="14" y="0"/>
                    <a:pt x="15" y="0"/>
                    <a:pt x="15" y="0"/>
                  </a:cubicBezTo>
                  <a:cubicBezTo>
                    <a:pt x="16" y="0"/>
                    <a:pt x="16" y="0"/>
                    <a:pt x="17" y="1"/>
                  </a:cubicBezTo>
                  <a:cubicBezTo>
                    <a:pt x="18" y="2"/>
                    <a:pt x="19" y="3"/>
                    <a:pt x="20" y="3"/>
                  </a:cubicBezTo>
                  <a:cubicBezTo>
                    <a:pt x="22" y="3"/>
                    <a:pt x="23" y="3"/>
                    <a:pt x="23" y="2"/>
                  </a:cubicBezTo>
                  <a:cubicBezTo>
                    <a:pt x="26" y="5"/>
                    <a:pt x="26" y="5"/>
                    <a:pt x="26" y="5"/>
                  </a:cubicBezTo>
                  <a:cubicBezTo>
                    <a:pt x="25" y="6"/>
                    <a:pt x="23" y="7"/>
                    <a:pt x="2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2" name="Freeform 23">
              <a:extLst>
                <a:ext uri="{FF2B5EF4-FFF2-40B4-BE49-F238E27FC236}">
                  <a16:creationId xmlns:a16="http://schemas.microsoft.com/office/drawing/2014/main" id="{42F227D6-015C-46BC-BA3C-62E6AF9B116B}"/>
                </a:ext>
              </a:extLst>
            </p:cNvPr>
            <p:cNvSpPr>
              <a:spLocks/>
            </p:cNvSpPr>
            <p:nvPr/>
          </p:nvSpPr>
          <p:spPr bwMode="auto">
            <a:xfrm>
              <a:off x="4430713" y="3305176"/>
              <a:ext cx="282575" cy="309563"/>
            </a:xfrm>
            <a:custGeom>
              <a:avLst/>
              <a:gdLst>
                <a:gd name="T0" fmla="*/ 70 w 72"/>
                <a:gd name="T1" fmla="*/ 80 h 80"/>
                <a:gd name="T2" fmla="*/ 2 w 72"/>
                <a:gd name="T3" fmla="*/ 80 h 80"/>
                <a:gd name="T4" fmla="*/ 0 w 72"/>
                <a:gd name="T5" fmla="*/ 78 h 80"/>
                <a:gd name="T6" fmla="*/ 0 w 72"/>
                <a:gd name="T7" fmla="*/ 2 h 80"/>
                <a:gd name="T8" fmla="*/ 2 w 72"/>
                <a:gd name="T9" fmla="*/ 0 h 80"/>
                <a:gd name="T10" fmla="*/ 26 w 72"/>
                <a:gd name="T11" fmla="*/ 0 h 80"/>
                <a:gd name="T12" fmla="*/ 26 w 72"/>
                <a:gd name="T13" fmla="*/ 4 h 80"/>
                <a:gd name="T14" fmla="*/ 4 w 72"/>
                <a:gd name="T15" fmla="*/ 4 h 80"/>
                <a:gd name="T16" fmla="*/ 4 w 72"/>
                <a:gd name="T17" fmla="*/ 76 h 80"/>
                <a:gd name="T18" fmla="*/ 68 w 72"/>
                <a:gd name="T19" fmla="*/ 76 h 80"/>
                <a:gd name="T20" fmla="*/ 68 w 72"/>
                <a:gd name="T21" fmla="*/ 4 h 80"/>
                <a:gd name="T22" fmla="*/ 46 w 72"/>
                <a:gd name="T23" fmla="*/ 4 h 80"/>
                <a:gd name="T24" fmla="*/ 46 w 72"/>
                <a:gd name="T25" fmla="*/ 0 h 80"/>
                <a:gd name="T26" fmla="*/ 70 w 72"/>
                <a:gd name="T27" fmla="*/ 0 h 80"/>
                <a:gd name="T28" fmla="*/ 72 w 72"/>
                <a:gd name="T29" fmla="*/ 2 h 80"/>
                <a:gd name="T30" fmla="*/ 72 w 72"/>
                <a:gd name="T31" fmla="*/ 78 h 80"/>
                <a:gd name="T32" fmla="*/ 70 w 72"/>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80">
                  <a:moveTo>
                    <a:pt x="70" y="80"/>
                  </a:moveTo>
                  <a:cubicBezTo>
                    <a:pt x="2" y="80"/>
                    <a:pt x="2" y="80"/>
                    <a:pt x="2" y="80"/>
                  </a:cubicBezTo>
                  <a:cubicBezTo>
                    <a:pt x="1" y="80"/>
                    <a:pt x="0" y="79"/>
                    <a:pt x="0" y="78"/>
                  </a:cubicBezTo>
                  <a:cubicBezTo>
                    <a:pt x="0" y="2"/>
                    <a:pt x="0" y="2"/>
                    <a:pt x="0" y="2"/>
                  </a:cubicBezTo>
                  <a:cubicBezTo>
                    <a:pt x="0" y="1"/>
                    <a:pt x="1" y="0"/>
                    <a:pt x="2" y="0"/>
                  </a:cubicBezTo>
                  <a:cubicBezTo>
                    <a:pt x="26" y="0"/>
                    <a:pt x="26" y="0"/>
                    <a:pt x="26" y="0"/>
                  </a:cubicBezTo>
                  <a:cubicBezTo>
                    <a:pt x="26" y="4"/>
                    <a:pt x="26" y="4"/>
                    <a:pt x="26" y="4"/>
                  </a:cubicBezTo>
                  <a:cubicBezTo>
                    <a:pt x="4" y="4"/>
                    <a:pt x="4" y="4"/>
                    <a:pt x="4" y="4"/>
                  </a:cubicBezTo>
                  <a:cubicBezTo>
                    <a:pt x="4" y="76"/>
                    <a:pt x="4" y="76"/>
                    <a:pt x="4" y="76"/>
                  </a:cubicBezTo>
                  <a:cubicBezTo>
                    <a:pt x="68" y="76"/>
                    <a:pt x="68" y="76"/>
                    <a:pt x="68" y="76"/>
                  </a:cubicBezTo>
                  <a:cubicBezTo>
                    <a:pt x="68" y="4"/>
                    <a:pt x="68" y="4"/>
                    <a:pt x="68" y="4"/>
                  </a:cubicBezTo>
                  <a:cubicBezTo>
                    <a:pt x="46" y="4"/>
                    <a:pt x="46" y="4"/>
                    <a:pt x="46" y="4"/>
                  </a:cubicBezTo>
                  <a:cubicBezTo>
                    <a:pt x="46" y="0"/>
                    <a:pt x="46" y="0"/>
                    <a:pt x="46" y="0"/>
                  </a:cubicBezTo>
                  <a:cubicBezTo>
                    <a:pt x="70" y="0"/>
                    <a:pt x="70" y="0"/>
                    <a:pt x="70" y="0"/>
                  </a:cubicBezTo>
                  <a:cubicBezTo>
                    <a:pt x="71" y="0"/>
                    <a:pt x="72" y="1"/>
                    <a:pt x="72" y="2"/>
                  </a:cubicBezTo>
                  <a:cubicBezTo>
                    <a:pt x="72" y="78"/>
                    <a:pt x="72" y="78"/>
                    <a:pt x="72" y="78"/>
                  </a:cubicBezTo>
                  <a:cubicBezTo>
                    <a:pt x="72" y="79"/>
                    <a:pt x="71" y="80"/>
                    <a:pt x="7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3" name="Freeform 24">
              <a:extLst>
                <a:ext uri="{FF2B5EF4-FFF2-40B4-BE49-F238E27FC236}">
                  <a16:creationId xmlns:a16="http://schemas.microsoft.com/office/drawing/2014/main" id="{18FE9CB2-72B4-4ECD-A679-C1FEDEF55BC6}"/>
                </a:ext>
              </a:extLst>
            </p:cNvPr>
            <p:cNvSpPr>
              <a:spLocks noEditPoints="1"/>
            </p:cNvSpPr>
            <p:nvPr/>
          </p:nvSpPr>
          <p:spPr bwMode="auto">
            <a:xfrm>
              <a:off x="4524376" y="3243263"/>
              <a:ext cx="95250" cy="123825"/>
            </a:xfrm>
            <a:custGeom>
              <a:avLst/>
              <a:gdLst>
                <a:gd name="T0" fmla="*/ 22 w 24"/>
                <a:gd name="T1" fmla="*/ 32 h 32"/>
                <a:gd name="T2" fmla="*/ 2 w 24"/>
                <a:gd name="T3" fmla="*/ 32 h 32"/>
                <a:gd name="T4" fmla="*/ 0 w 24"/>
                <a:gd name="T5" fmla="*/ 30 h 32"/>
                <a:gd name="T6" fmla="*/ 0 w 24"/>
                <a:gd name="T7" fmla="*/ 12 h 32"/>
                <a:gd name="T8" fmla="*/ 12 w 24"/>
                <a:gd name="T9" fmla="*/ 0 h 32"/>
                <a:gd name="T10" fmla="*/ 24 w 24"/>
                <a:gd name="T11" fmla="*/ 12 h 32"/>
                <a:gd name="T12" fmla="*/ 24 w 24"/>
                <a:gd name="T13" fmla="*/ 30 h 32"/>
                <a:gd name="T14" fmla="*/ 22 w 24"/>
                <a:gd name="T15" fmla="*/ 32 h 32"/>
                <a:gd name="T16" fmla="*/ 4 w 24"/>
                <a:gd name="T17" fmla="*/ 28 h 32"/>
                <a:gd name="T18" fmla="*/ 20 w 24"/>
                <a:gd name="T19" fmla="*/ 28 h 32"/>
                <a:gd name="T20" fmla="*/ 20 w 24"/>
                <a:gd name="T21" fmla="*/ 12 h 32"/>
                <a:gd name="T22" fmla="*/ 12 w 24"/>
                <a:gd name="T23" fmla="*/ 4 h 32"/>
                <a:gd name="T24" fmla="*/ 4 w 24"/>
                <a:gd name="T25" fmla="*/ 12 h 32"/>
                <a:gd name="T26" fmla="*/ 4 w 24"/>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22" y="32"/>
                  </a:moveTo>
                  <a:cubicBezTo>
                    <a:pt x="2" y="32"/>
                    <a:pt x="2" y="32"/>
                    <a:pt x="2" y="32"/>
                  </a:cubicBezTo>
                  <a:cubicBezTo>
                    <a:pt x="1" y="32"/>
                    <a:pt x="0" y="31"/>
                    <a:pt x="0" y="30"/>
                  </a:cubicBezTo>
                  <a:cubicBezTo>
                    <a:pt x="0" y="12"/>
                    <a:pt x="0" y="12"/>
                    <a:pt x="0" y="12"/>
                  </a:cubicBezTo>
                  <a:cubicBezTo>
                    <a:pt x="0" y="5"/>
                    <a:pt x="5" y="0"/>
                    <a:pt x="12" y="0"/>
                  </a:cubicBezTo>
                  <a:cubicBezTo>
                    <a:pt x="19" y="0"/>
                    <a:pt x="24" y="5"/>
                    <a:pt x="24" y="12"/>
                  </a:cubicBezTo>
                  <a:cubicBezTo>
                    <a:pt x="24" y="30"/>
                    <a:pt x="24" y="30"/>
                    <a:pt x="24" y="30"/>
                  </a:cubicBezTo>
                  <a:cubicBezTo>
                    <a:pt x="24" y="31"/>
                    <a:pt x="23" y="32"/>
                    <a:pt x="22" y="32"/>
                  </a:cubicBezTo>
                  <a:close/>
                  <a:moveTo>
                    <a:pt x="4" y="28"/>
                  </a:moveTo>
                  <a:cubicBezTo>
                    <a:pt x="20" y="28"/>
                    <a:pt x="20" y="28"/>
                    <a:pt x="20" y="28"/>
                  </a:cubicBezTo>
                  <a:cubicBezTo>
                    <a:pt x="20" y="12"/>
                    <a:pt x="20" y="12"/>
                    <a:pt x="20" y="12"/>
                  </a:cubicBezTo>
                  <a:cubicBezTo>
                    <a:pt x="20" y="8"/>
                    <a:pt x="16" y="4"/>
                    <a:pt x="12" y="4"/>
                  </a:cubicBezTo>
                  <a:cubicBezTo>
                    <a:pt x="8" y="4"/>
                    <a:pt x="4" y="8"/>
                    <a:pt x="4" y="12"/>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4" name="Rectangle 25">
              <a:extLst>
                <a:ext uri="{FF2B5EF4-FFF2-40B4-BE49-F238E27FC236}">
                  <a16:creationId xmlns:a16="http://schemas.microsoft.com/office/drawing/2014/main" id="{78A1F972-1D33-4B36-B2DC-0CFB561703F2}"/>
                </a:ext>
              </a:extLst>
            </p:cNvPr>
            <p:cNvSpPr>
              <a:spLocks noChangeArrowheads="1"/>
            </p:cNvSpPr>
            <p:nvPr/>
          </p:nvSpPr>
          <p:spPr bwMode="auto">
            <a:xfrm>
              <a:off x="4438651" y="3536951"/>
              <a:ext cx="2667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5" name="Rectangle 26">
              <a:extLst>
                <a:ext uri="{FF2B5EF4-FFF2-40B4-BE49-F238E27FC236}">
                  <a16:creationId xmlns:a16="http://schemas.microsoft.com/office/drawing/2014/main" id="{BA27E7E7-A2A4-484F-9060-FBFEF5752D9B}"/>
                </a:ext>
              </a:extLst>
            </p:cNvPr>
            <p:cNvSpPr>
              <a:spLocks noChangeArrowheads="1"/>
            </p:cNvSpPr>
            <p:nvPr/>
          </p:nvSpPr>
          <p:spPr bwMode="auto">
            <a:xfrm>
              <a:off x="4603751" y="3568701"/>
              <a:ext cx="61913"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6" name="Oval 27">
              <a:extLst>
                <a:ext uri="{FF2B5EF4-FFF2-40B4-BE49-F238E27FC236}">
                  <a16:creationId xmlns:a16="http://schemas.microsoft.com/office/drawing/2014/main" id="{6FE130EF-A3E4-4A40-96B9-0C5586FD56F1}"/>
                </a:ext>
              </a:extLst>
            </p:cNvPr>
            <p:cNvSpPr>
              <a:spLocks noChangeArrowheads="1"/>
            </p:cNvSpPr>
            <p:nvPr/>
          </p:nvSpPr>
          <p:spPr bwMode="auto">
            <a:xfrm>
              <a:off x="4556126" y="3275013"/>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21" name="Group 4120">
            <a:extLst>
              <a:ext uri="{FF2B5EF4-FFF2-40B4-BE49-F238E27FC236}">
                <a16:creationId xmlns:a16="http://schemas.microsoft.com/office/drawing/2014/main" id="{16C8D63F-7DEA-4467-993D-A07B4D000A0E}"/>
              </a:ext>
            </a:extLst>
          </p:cNvPr>
          <p:cNvGrpSpPr>
            <a:grpSpLocks noChangeAspect="1"/>
          </p:cNvGrpSpPr>
          <p:nvPr/>
        </p:nvGrpSpPr>
        <p:grpSpPr>
          <a:xfrm>
            <a:off x="6206975" y="3801969"/>
            <a:ext cx="244935" cy="308144"/>
            <a:chOff x="4422775" y="3243263"/>
            <a:chExt cx="295275" cy="371475"/>
          </a:xfrm>
          <a:solidFill>
            <a:schemeClr val="bg1"/>
          </a:solidFill>
          <a:effectLst/>
        </p:grpSpPr>
        <p:sp>
          <p:nvSpPr>
            <p:cNvPr id="922" name="Freeform 8">
              <a:extLst>
                <a:ext uri="{FF2B5EF4-FFF2-40B4-BE49-F238E27FC236}">
                  <a16:creationId xmlns:a16="http://schemas.microsoft.com/office/drawing/2014/main" id="{8DADBF57-B200-451E-9839-C63D7212D372}"/>
                </a:ext>
              </a:extLst>
            </p:cNvPr>
            <p:cNvSpPr>
              <a:spLocks/>
            </p:cNvSpPr>
            <p:nvPr/>
          </p:nvSpPr>
          <p:spPr bwMode="auto">
            <a:xfrm>
              <a:off x="4422775" y="3275013"/>
              <a:ext cx="295275" cy="339725"/>
            </a:xfrm>
            <a:custGeom>
              <a:avLst/>
              <a:gdLst>
                <a:gd name="T0" fmla="*/ 74 w 76"/>
                <a:gd name="T1" fmla="*/ 88 h 88"/>
                <a:gd name="T2" fmla="*/ 2 w 76"/>
                <a:gd name="T3" fmla="*/ 88 h 88"/>
                <a:gd name="T4" fmla="*/ 0 w 76"/>
                <a:gd name="T5" fmla="*/ 86 h 88"/>
                <a:gd name="T6" fmla="*/ 0 w 76"/>
                <a:gd name="T7" fmla="*/ 2 h 88"/>
                <a:gd name="T8" fmla="*/ 2 w 76"/>
                <a:gd name="T9" fmla="*/ 0 h 88"/>
                <a:gd name="T10" fmla="*/ 10 w 76"/>
                <a:gd name="T11" fmla="*/ 0 h 88"/>
                <a:gd name="T12" fmla="*/ 12 w 76"/>
                <a:gd name="T13" fmla="*/ 2 h 88"/>
                <a:gd name="T14" fmla="*/ 10 w 76"/>
                <a:gd name="T15" fmla="*/ 4 h 88"/>
                <a:gd name="T16" fmla="*/ 4 w 76"/>
                <a:gd name="T17" fmla="*/ 4 h 88"/>
                <a:gd name="T18" fmla="*/ 4 w 76"/>
                <a:gd name="T19" fmla="*/ 84 h 88"/>
                <a:gd name="T20" fmla="*/ 72 w 76"/>
                <a:gd name="T21" fmla="*/ 84 h 88"/>
                <a:gd name="T22" fmla="*/ 72 w 76"/>
                <a:gd name="T23" fmla="*/ 4 h 88"/>
                <a:gd name="T24" fmla="*/ 66 w 76"/>
                <a:gd name="T25" fmla="*/ 4 h 88"/>
                <a:gd name="T26" fmla="*/ 64 w 76"/>
                <a:gd name="T27" fmla="*/ 2 h 88"/>
                <a:gd name="T28" fmla="*/ 66 w 76"/>
                <a:gd name="T29" fmla="*/ 0 h 88"/>
                <a:gd name="T30" fmla="*/ 74 w 76"/>
                <a:gd name="T31" fmla="*/ 0 h 88"/>
                <a:gd name="T32" fmla="*/ 76 w 76"/>
                <a:gd name="T33" fmla="*/ 2 h 88"/>
                <a:gd name="T34" fmla="*/ 76 w 76"/>
                <a:gd name="T35" fmla="*/ 86 h 88"/>
                <a:gd name="T36" fmla="*/ 74 w 7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8">
                  <a:moveTo>
                    <a:pt x="74" y="88"/>
                  </a:moveTo>
                  <a:cubicBezTo>
                    <a:pt x="2" y="88"/>
                    <a:pt x="2" y="88"/>
                    <a:pt x="2" y="88"/>
                  </a:cubicBezTo>
                  <a:cubicBezTo>
                    <a:pt x="1" y="88"/>
                    <a:pt x="0" y="87"/>
                    <a:pt x="0" y="86"/>
                  </a:cubicBezTo>
                  <a:cubicBezTo>
                    <a:pt x="0" y="2"/>
                    <a:pt x="0" y="2"/>
                    <a:pt x="0" y="2"/>
                  </a:cubicBezTo>
                  <a:cubicBezTo>
                    <a:pt x="0" y="1"/>
                    <a:pt x="1" y="0"/>
                    <a:pt x="2" y="0"/>
                  </a:cubicBezTo>
                  <a:cubicBezTo>
                    <a:pt x="10" y="0"/>
                    <a:pt x="10" y="0"/>
                    <a:pt x="10" y="0"/>
                  </a:cubicBezTo>
                  <a:cubicBezTo>
                    <a:pt x="11" y="0"/>
                    <a:pt x="12" y="1"/>
                    <a:pt x="12" y="2"/>
                  </a:cubicBezTo>
                  <a:cubicBezTo>
                    <a:pt x="12" y="3"/>
                    <a:pt x="11" y="4"/>
                    <a:pt x="10" y="4"/>
                  </a:cubicBezTo>
                  <a:cubicBezTo>
                    <a:pt x="4" y="4"/>
                    <a:pt x="4" y="4"/>
                    <a:pt x="4" y="4"/>
                  </a:cubicBezTo>
                  <a:cubicBezTo>
                    <a:pt x="4" y="84"/>
                    <a:pt x="4" y="84"/>
                    <a:pt x="4" y="84"/>
                  </a:cubicBezTo>
                  <a:cubicBezTo>
                    <a:pt x="72" y="84"/>
                    <a:pt x="72" y="84"/>
                    <a:pt x="72" y="84"/>
                  </a:cubicBezTo>
                  <a:cubicBezTo>
                    <a:pt x="72" y="4"/>
                    <a:pt x="72" y="4"/>
                    <a:pt x="72" y="4"/>
                  </a:cubicBezTo>
                  <a:cubicBezTo>
                    <a:pt x="66" y="4"/>
                    <a:pt x="66" y="4"/>
                    <a:pt x="66" y="4"/>
                  </a:cubicBezTo>
                  <a:cubicBezTo>
                    <a:pt x="65" y="4"/>
                    <a:pt x="64" y="3"/>
                    <a:pt x="64" y="2"/>
                  </a:cubicBezTo>
                  <a:cubicBezTo>
                    <a:pt x="64" y="1"/>
                    <a:pt x="65" y="0"/>
                    <a:pt x="66" y="0"/>
                  </a:cubicBezTo>
                  <a:cubicBezTo>
                    <a:pt x="74" y="0"/>
                    <a:pt x="74" y="0"/>
                    <a:pt x="74" y="0"/>
                  </a:cubicBezTo>
                  <a:cubicBezTo>
                    <a:pt x="75" y="0"/>
                    <a:pt x="76" y="1"/>
                    <a:pt x="76" y="2"/>
                  </a:cubicBezTo>
                  <a:cubicBezTo>
                    <a:pt x="76" y="86"/>
                    <a:pt x="76" y="86"/>
                    <a:pt x="76" y="86"/>
                  </a:cubicBezTo>
                  <a:cubicBezTo>
                    <a:pt x="76" y="87"/>
                    <a:pt x="75" y="88"/>
                    <a:pt x="7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3" name="Freeform 9">
              <a:extLst>
                <a:ext uri="{FF2B5EF4-FFF2-40B4-BE49-F238E27FC236}">
                  <a16:creationId xmlns:a16="http://schemas.microsoft.com/office/drawing/2014/main" id="{04C2CD5B-4558-481C-9E48-7A06C60164A2}"/>
                </a:ext>
              </a:extLst>
            </p:cNvPr>
            <p:cNvSpPr>
              <a:spLocks noEditPoints="1"/>
            </p:cNvSpPr>
            <p:nvPr/>
          </p:nvSpPr>
          <p:spPr bwMode="auto">
            <a:xfrm>
              <a:off x="4484688" y="3243263"/>
              <a:ext cx="171450" cy="77788"/>
            </a:xfrm>
            <a:custGeom>
              <a:avLst/>
              <a:gdLst>
                <a:gd name="T0" fmla="*/ 42 w 44"/>
                <a:gd name="T1" fmla="*/ 20 h 20"/>
                <a:gd name="T2" fmla="*/ 2 w 44"/>
                <a:gd name="T3" fmla="*/ 20 h 20"/>
                <a:gd name="T4" fmla="*/ 0 w 44"/>
                <a:gd name="T5" fmla="*/ 18 h 20"/>
                <a:gd name="T6" fmla="*/ 0 w 44"/>
                <a:gd name="T7" fmla="*/ 10 h 20"/>
                <a:gd name="T8" fmla="*/ 2 w 44"/>
                <a:gd name="T9" fmla="*/ 8 h 20"/>
                <a:gd name="T10" fmla="*/ 12 w 44"/>
                <a:gd name="T11" fmla="*/ 8 h 20"/>
                <a:gd name="T12" fmla="*/ 22 w 44"/>
                <a:gd name="T13" fmla="*/ 0 h 20"/>
                <a:gd name="T14" fmla="*/ 32 w 44"/>
                <a:gd name="T15" fmla="*/ 8 h 20"/>
                <a:gd name="T16" fmla="*/ 42 w 44"/>
                <a:gd name="T17" fmla="*/ 8 h 20"/>
                <a:gd name="T18" fmla="*/ 44 w 44"/>
                <a:gd name="T19" fmla="*/ 10 h 20"/>
                <a:gd name="T20" fmla="*/ 44 w 44"/>
                <a:gd name="T21" fmla="*/ 18 h 20"/>
                <a:gd name="T22" fmla="*/ 42 w 44"/>
                <a:gd name="T23" fmla="*/ 20 h 20"/>
                <a:gd name="T24" fmla="*/ 4 w 44"/>
                <a:gd name="T25" fmla="*/ 16 h 20"/>
                <a:gd name="T26" fmla="*/ 40 w 44"/>
                <a:gd name="T27" fmla="*/ 16 h 20"/>
                <a:gd name="T28" fmla="*/ 40 w 44"/>
                <a:gd name="T29" fmla="*/ 12 h 20"/>
                <a:gd name="T30" fmla="*/ 30 w 44"/>
                <a:gd name="T31" fmla="*/ 12 h 20"/>
                <a:gd name="T32" fmla="*/ 28 w 44"/>
                <a:gd name="T33" fmla="*/ 10 h 20"/>
                <a:gd name="T34" fmla="*/ 22 w 44"/>
                <a:gd name="T35" fmla="*/ 4 h 20"/>
                <a:gd name="T36" fmla="*/ 16 w 44"/>
                <a:gd name="T37" fmla="*/ 10 h 20"/>
                <a:gd name="T38" fmla="*/ 14 w 44"/>
                <a:gd name="T39" fmla="*/ 12 h 20"/>
                <a:gd name="T40" fmla="*/ 4 w 44"/>
                <a:gd name="T41" fmla="*/ 12 h 20"/>
                <a:gd name="T42" fmla="*/ 4 w 44"/>
                <a:gd name="T4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20">
                  <a:moveTo>
                    <a:pt x="42" y="20"/>
                  </a:moveTo>
                  <a:cubicBezTo>
                    <a:pt x="2" y="20"/>
                    <a:pt x="2" y="20"/>
                    <a:pt x="2" y="20"/>
                  </a:cubicBezTo>
                  <a:cubicBezTo>
                    <a:pt x="1" y="20"/>
                    <a:pt x="0" y="19"/>
                    <a:pt x="0" y="18"/>
                  </a:cubicBezTo>
                  <a:cubicBezTo>
                    <a:pt x="0" y="10"/>
                    <a:pt x="0" y="10"/>
                    <a:pt x="0" y="10"/>
                  </a:cubicBezTo>
                  <a:cubicBezTo>
                    <a:pt x="0" y="9"/>
                    <a:pt x="1" y="8"/>
                    <a:pt x="2" y="8"/>
                  </a:cubicBezTo>
                  <a:cubicBezTo>
                    <a:pt x="12" y="8"/>
                    <a:pt x="12" y="8"/>
                    <a:pt x="12" y="8"/>
                  </a:cubicBezTo>
                  <a:cubicBezTo>
                    <a:pt x="13" y="3"/>
                    <a:pt x="17" y="0"/>
                    <a:pt x="22" y="0"/>
                  </a:cubicBezTo>
                  <a:cubicBezTo>
                    <a:pt x="27" y="0"/>
                    <a:pt x="31" y="3"/>
                    <a:pt x="32" y="8"/>
                  </a:cubicBezTo>
                  <a:cubicBezTo>
                    <a:pt x="42" y="8"/>
                    <a:pt x="42" y="8"/>
                    <a:pt x="42" y="8"/>
                  </a:cubicBezTo>
                  <a:cubicBezTo>
                    <a:pt x="43" y="8"/>
                    <a:pt x="44" y="9"/>
                    <a:pt x="44" y="10"/>
                  </a:cubicBezTo>
                  <a:cubicBezTo>
                    <a:pt x="44" y="18"/>
                    <a:pt x="44" y="18"/>
                    <a:pt x="44" y="18"/>
                  </a:cubicBezTo>
                  <a:cubicBezTo>
                    <a:pt x="44" y="19"/>
                    <a:pt x="43" y="20"/>
                    <a:pt x="42" y="20"/>
                  </a:cubicBezTo>
                  <a:close/>
                  <a:moveTo>
                    <a:pt x="4" y="16"/>
                  </a:moveTo>
                  <a:cubicBezTo>
                    <a:pt x="40" y="16"/>
                    <a:pt x="40" y="16"/>
                    <a:pt x="40" y="16"/>
                  </a:cubicBezTo>
                  <a:cubicBezTo>
                    <a:pt x="40" y="12"/>
                    <a:pt x="40" y="12"/>
                    <a:pt x="40" y="12"/>
                  </a:cubicBezTo>
                  <a:cubicBezTo>
                    <a:pt x="30" y="12"/>
                    <a:pt x="30" y="12"/>
                    <a:pt x="30" y="12"/>
                  </a:cubicBezTo>
                  <a:cubicBezTo>
                    <a:pt x="29" y="12"/>
                    <a:pt x="28" y="11"/>
                    <a:pt x="28" y="10"/>
                  </a:cubicBezTo>
                  <a:cubicBezTo>
                    <a:pt x="28" y="7"/>
                    <a:pt x="25" y="4"/>
                    <a:pt x="22" y="4"/>
                  </a:cubicBezTo>
                  <a:cubicBezTo>
                    <a:pt x="19" y="4"/>
                    <a:pt x="16" y="7"/>
                    <a:pt x="16" y="10"/>
                  </a:cubicBezTo>
                  <a:cubicBezTo>
                    <a:pt x="16" y="11"/>
                    <a:pt x="15" y="12"/>
                    <a:pt x="14" y="12"/>
                  </a:cubicBezTo>
                  <a:cubicBezTo>
                    <a:pt x="4" y="12"/>
                    <a:pt x="4" y="12"/>
                    <a:pt x="4" y="12"/>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4" name="Freeform 10">
              <a:extLst>
                <a:ext uri="{FF2B5EF4-FFF2-40B4-BE49-F238E27FC236}">
                  <a16:creationId xmlns:a16="http://schemas.microsoft.com/office/drawing/2014/main" id="{3BF50B22-CFDE-477F-B953-9FB05D7DD259}"/>
                </a:ext>
              </a:extLst>
            </p:cNvPr>
            <p:cNvSpPr>
              <a:spLocks/>
            </p:cNvSpPr>
            <p:nvPr/>
          </p:nvSpPr>
          <p:spPr bwMode="auto">
            <a:xfrm>
              <a:off x="4452938" y="3305176"/>
              <a:ext cx="233363" cy="279400"/>
            </a:xfrm>
            <a:custGeom>
              <a:avLst/>
              <a:gdLst>
                <a:gd name="T0" fmla="*/ 58 w 60"/>
                <a:gd name="T1" fmla="*/ 72 h 72"/>
                <a:gd name="T2" fmla="*/ 2 w 60"/>
                <a:gd name="T3" fmla="*/ 72 h 72"/>
                <a:gd name="T4" fmla="*/ 0 w 60"/>
                <a:gd name="T5" fmla="*/ 70 h 72"/>
                <a:gd name="T6" fmla="*/ 0 w 60"/>
                <a:gd name="T7" fmla="*/ 2 h 72"/>
                <a:gd name="T8" fmla="*/ 2 w 60"/>
                <a:gd name="T9" fmla="*/ 0 h 72"/>
                <a:gd name="T10" fmla="*/ 4 w 60"/>
                <a:gd name="T11" fmla="*/ 2 h 72"/>
                <a:gd name="T12" fmla="*/ 4 w 60"/>
                <a:gd name="T13" fmla="*/ 68 h 72"/>
                <a:gd name="T14" fmla="*/ 56 w 60"/>
                <a:gd name="T15" fmla="*/ 68 h 72"/>
                <a:gd name="T16" fmla="*/ 56 w 60"/>
                <a:gd name="T17" fmla="*/ 2 h 72"/>
                <a:gd name="T18" fmla="*/ 58 w 60"/>
                <a:gd name="T19" fmla="*/ 0 h 72"/>
                <a:gd name="T20" fmla="*/ 60 w 60"/>
                <a:gd name="T21" fmla="*/ 2 h 72"/>
                <a:gd name="T22" fmla="*/ 60 w 60"/>
                <a:gd name="T23" fmla="*/ 70 h 72"/>
                <a:gd name="T24" fmla="*/ 58 w 60"/>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2">
                  <a:moveTo>
                    <a:pt x="58" y="72"/>
                  </a:moveTo>
                  <a:cubicBezTo>
                    <a:pt x="2" y="72"/>
                    <a:pt x="2" y="72"/>
                    <a:pt x="2" y="72"/>
                  </a:cubicBezTo>
                  <a:cubicBezTo>
                    <a:pt x="1" y="72"/>
                    <a:pt x="0" y="71"/>
                    <a:pt x="0" y="70"/>
                  </a:cubicBezTo>
                  <a:cubicBezTo>
                    <a:pt x="0" y="2"/>
                    <a:pt x="0" y="2"/>
                    <a:pt x="0" y="2"/>
                  </a:cubicBezTo>
                  <a:cubicBezTo>
                    <a:pt x="0" y="1"/>
                    <a:pt x="1" y="0"/>
                    <a:pt x="2" y="0"/>
                  </a:cubicBezTo>
                  <a:cubicBezTo>
                    <a:pt x="3" y="0"/>
                    <a:pt x="4" y="1"/>
                    <a:pt x="4" y="2"/>
                  </a:cubicBezTo>
                  <a:cubicBezTo>
                    <a:pt x="4" y="68"/>
                    <a:pt x="4" y="68"/>
                    <a:pt x="4" y="68"/>
                  </a:cubicBezTo>
                  <a:cubicBezTo>
                    <a:pt x="56" y="68"/>
                    <a:pt x="56" y="68"/>
                    <a:pt x="56" y="68"/>
                  </a:cubicBezTo>
                  <a:cubicBezTo>
                    <a:pt x="56" y="2"/>
                    <a:pt x="56" y="2"/>
                    <a:pt x="56" y="2"/>
                  </a:cubicBezTo>
                  <a:cubicBezTo>
                    <a:pt x="56" y="1"/>
                    <a:pt x="57" y="0"/>
                    <a:pt x="58" y="0"/>
                  </a:cubicBezTo>
                  <a:cubicBezTo>
                    <a:pt x="59" y="0"/>
                    <a:pt x="60" y="1"/>
                    <a:pt x="60" y="2"/>
                  </a:cubicBezTo>
                  <a:cubicBezTo>
                    <a:pt x="60" y="70"/>
                    <a:pt x="60" y="70"/>
                    <a:pt x="60" y="70"/>
                  </a:cubicBezTo>
                  <a:cubicBezTo>
                    <a:pt x="60" y="71"/>
                    <a:pt x="59" y="72"/>
                    <a:pt x="58"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5" name="Freeform 11">
              <a:extLst>
                <a:ext uri="{FF2B5EF4-FFF2-40B4-BE49-F238E27FC236}">
                  <a16:creationId xmlns:a16="http://schemas.microsoft.com/office/drawing/2014/main" id="{7E6BD2A8-1EBE-40F6-8F45-CCD91570359F}"/>
                </a:ext>
              </a:extLst>
            </p:cNvPr>
            <p:cNvSpPr>
              <a:spLocks/>
            </p:cNvSpPr>
            <p:nvPr/>
          </p:nvSpPr>
          <p:spPr bwMode="auto">
            <a:xfrm>
              <a:off x="4530725" y="3367088"/>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6" name="Freeform 12">
              <a:extLst>
                <a:ext uri="{FF2B5EF4-FFF2-40B4-BE49-F238E27FC236}">
                  <a16:creationId xmlns:a16="http://schemas.microsoft.com/office/drawing/2014/main" id="{5C9D361F-65A5-41D1-ABB5-F9DD4A75A2B6}"/>
                </a:ext>
              </a:extLst>
            </p:cNvPr>
            <p:cNvSpPr>
              <a:spLocks/>
            </p:cNvSpPr>
            <p:nvPr/>
          </p:nvSpPr>
          <p:spPr bwMode="auto">
            <a:xfrm>
              <a:off x="4530725" y="3413126"/>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7" name="Freeform 13">
              <a:extLst>
                <a:ext uri="{FF2B5EF4-FFF2-40B4-BE49-F238E27FC236}">
                  <a16:creationId xmlns:a16="http://schemas.microsoft.com/office/drawing/2014/main" id="{D38B2C5A-70B6-46BF-9D4F-7ED0A952C203}"/>
                </a:ext>
              </a:extLst>
            </p:cNvPr>
            <p:cNvSpPr>
              <a:spLocks/>
            </p:cNvSpPr>
            <p:nvPr/>
          </p:nvSpPr>
          <p:spPr bwMode="auto">
            <a:xfrm>
              <a:off x="4530725" y="3460751"/>
              <a:ext cx="109538"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8" name="Freeform 14">
              <a:extLst>
                <a:ext uri="{FF2B5EF4-FFF2-40B4-BE49-F238E27FC236}">
                  <a16:creationId xmlns:a16="http://schemas.microsoft.com/office/drawing/2014/main" id="{3BE5C1E7-E45D-4E37-8CAA-72CBAF202490}"/>
                </a:ext>
              </a:extLst>
            </p:cNvPr>
            <p:cNvSpPr>
              <a:spLocks/>
            </p:cNvSpPr>
            <p:nvPr/>
          </p:nvSpPr>
          <p:spPr bwMode="auto">
            <a:xfrm>
              <a:off x="4530725" y="3506788"/>
              <a:ext cx="109538" cy="15875"/>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9" name="Freeform 15">
              <a:extLst>
                <a:ext uri="{FF2B5EF4-FFF2-40B4-BE49-F238E27FC236}">
                  <a16:creationId xmlns:a16="http://schemas.microsoft.com/office/drawing/2014/main" id="{9B230F81-29AB-4C9C-A789-B28FCEA4F926}"/>
                </a:ext>
              </a:extLst>
            </p:cNvPr>
            <p:cNvSpPr>
              <a:spLocks/>
            </p:cNvSpPr>
            <p:nvPr/>
          </p:nvSpPr>
          <p:spPr bwMode="auto">
            <a:xfrm>
              <a:off x="4492625" y="3367088"/>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0" name="Freeform 16">
              <a:extLst>
                <a:ext uri="{FF2B5EF4-FFF2-40B4-BE49-F238E27FC236}">
                  <a16:creationId xmlns:a16="http://schemas.microsoft.com/office/drawing/2014/main" id="{66DA7DF7-BDAD-458C-B752-C0A6478C5650}"/>
                </a:ext>
              </a:extLst>
            </p:cNvPr>
            <p:cNvSpPr>
              <a:spLocks/>
            </p:cNvSpPr>
            <p:nvPr/>
          </p:nvSpPr>
          <p:spPr bwMode="auto">
            <a:xfrm>
              <a:off x="4492625" y="3413126"/>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1" name="Freeform 17">
              <a:extLst>
                <a:ext uri="{FF2B5EF4-FFF2-40B4-BE49-F238E27FC236}">
                  <a16:creationId xmlns:a16="http://schemas.microsoft.com/office/drawing/2014/main" id="{48E4C3FA-552D-4B7A-ADD4-2FE8C45CB0B6}"/>
                </a:ext>
              </a:extLst>
            </p:cNvPr>
            <p:cNvSpPr>
              <a:spLocks/>
            </p:cNvSpPr>
            <p:nvPr/>
          </p:nvSpPr>
          <p:spPr bwMode="auto">
            <a:xfrm>
              <a:off x="4492625" y="3460751"/>
              <a:ext cx="22225" cy="14288"/>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2" name="Freeform 18">
              <a:extLst>
                <a:ext uri="{FF2B5EF4-FFF2-40B4-BE49-F238E27FC236}">
                  <a16:creationId xmlns:a16="http://schemas.microsoft.com/office/drawing/2014/main" id="{6FE81CA5-F2DF-400B-8AFA-79CDA45B4877}"/>
                </a:ext>
              </a:extLst>
            </p:cNvPr>
            <p:cNvSpPr>
              <a:spLocks/>
            </p:cNvSpPr>
            <p:nvPr/>
          </p:nvSpPr>
          <p:spPr bwMode="auto">
            <a:xfrm>
              <a:off x="4492625" y="3506788"/>
              <a:ext cx="22225" cy="15875"/>
            </a:xfrm>
            <a:custGeom>
              <a:avLst/>
              <a:gdLst>
                <a:gd name="T0" fmla="*/ 4 w 6"/>
                <a:gd name="T1" fmla="*/ 4 h 4"/>
                <a:gd name="T2" fmla="*/ 2 w 6"/>
                <a:gd name="T3" fmla="*/ 4 h 4"/>
                <a:gd name="T4" fmla="*/ 0 w 6"/>
                <a:gd name="T5" fmla="*/ 2 h 4"/>
                <a:gd name="T6" fmla="*/ 2 w 6"/>
                <a:gd name="T7" fmla="*/ 0 h 4"/>
                <a:gd name="T8" fmla="*/ 4 w 6"/>
                <a:gd name="T9" fmla="*/ 0 h 4"/>
                <a:gd name="T10" fmla="*/ 6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2" y="4"/>
                    <a:pt x="2" y="4"/>
                    <a:pt x="2" y="4"/>
                  </a:cubicBezTo>
                  <a:cubicBezTo>
                    <a:pt x="1" y="4"/>
                    <a:pt x="0" y="3"/>
                    <a:pt x="0" y="2"/>
                  </a:cubicBezTo>
                  <a:cubicBezTo>
                    <a:pt x="0" y="1"/>
                    <a:pt x="1" y="0"/>
                    <a:pt x="2" y="0"/>
                  </a:cubicBezTo>
                  <a:cubicBezTo>
                    <a:pt x="4" y="0"/>
                    <a:pt x="4" y="0"/>
                    <a:pt x="4" y="0"/>
                  </a:cubicBezTo>
                  <a:cubicBezTo>
                    <a:pt x="5" y="0"/>
                    <a:pt x="6" y="1"/>
                    <a:pt x="6" y="2"/>
                  </a:cubicBezTo>
                  <a:cubicBezTo>
                    <a:pt x="6" y="3"/>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33" name="Group 134">
            <a:extLst>
              <a:ext uri="{FF2B5EF4-FFF2-40B4-BE49-F238E27FC236}">
                <a16:creationId xmlns:a16="http://schemas.microsoft.com/office/drawing/2014/main" id="{20BC701B-DB2E-4E9C-A86A-498D6C7E9717}"/>
              </a:ext>
            </a:extLst>
          </p:cNvPr>
          <p:cNvGrpSpPr>
            <a:grpSpLocks noChangeAspect="1"/>
          </p:cNvGrpSpPr>
          <p:nvPr/>
        </p:nvGrpSpPr>
        <p:grpSpPr>
          <a:xfrm>
            <a:off x="6663929" y="3801969"/>
            <a:ext cx="233085" cy="308144"/>
            <a:chOff x="5570538" y="3949700"/>
            <a:chExt cx="280988" cy="371475"/>
          </a:xfrm>
          <a:solidFill>
            <a:schemeClr val="bg1"/>
          </a:solidFill>
        </p:grpSpPr>
        <p:sp>
          <p:nvSpPr>
            <p:cNvPr id="934" name="Freeform 31">
              <a:extLst>
                <a:ext uri="{FF2B5EF4-FFF2-40B4-BE49-F238E27FC236}">
                  <a16:creationId xmlns:a16="http://schemas.microsoft.com/office/drawing/2014/main" id="{454061ED-5D77-46B1-9592-4A4FE478C5B6}"/>
                </a:ext>
              </a:extLst>
            </p:cNvPr>
            <p:cNvSpPr>
              <a:spLocks/>
            </p:cNvSpPr>
            <p:nvPr/>
          </p:nvSpPr>
          <p:spPr bwMode="auto">
            <a:xfrm>
              <a:off x="5600700" y="3981450"/>
              <a:ext cx="203200" cy="46038"/>
            </a:xfrm>
            <a:custGeom>
              <a:avLst/>
              <a:gdLst>
                <a:gd name="T0" fmla="*/ 50 w 52"/>
                <a:gd name="T1" fmla="*/ 12 h 12"/>
                <a:gd name="T2" fmla="*/ 48 w 52"/>
                <a:gd name="T3" fmla="*/ 10 h 12"/>
                <a:gd name="T4" fmla="*/ 48 w 52"/>
                <a:gd name="T5" fmla="*/ 4 h 12"/>
                <a:gd name="T6" fmla="*/ 2 w 52"/>
                <a:gd name="T7" fmla="*/ 4 h 12"/>
                <a:gd name="T8" fmla="*/ 0 w 52"/>
                <a:gd name="T9" fmla="*/ 2 h 12"/>
                <a:gd name="T10" fmla="*/ 2 w 52"/>
                <a:gd name="T11" fmla="*/ 0 h 12"/>
                <a:gd name="T12" fmla="*/ 50 w 52"/>
                <a:gd name="T13" fmla="*/ 0 h 12"/>
                <a:gd name="T14" fmla="*/ 52 w 52"/>
                <a:gd name="T15" fmla="*/ 2 h 12"/>
                <a:gd name="T16" fmla="*/ 52 w 52"/>
                <a:gd name="T17" fmla="*/ 10 h 12"/>
                <a:gd name="T18" fmla="*/ 50 w 52"/>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2">
                  <a:moveTo>
                    <a:pt x="50" y="12"/>
                  </a:moveTo>
                  <a:cubicBezTo>
                    <a:pt x="49" y="12"/>
                    <a:pt x="48" y="11"/>
                    <a:pt x="48" y="10"/>
                  </a:cubicBezTo>
                  <a:cubicBezTo>
                    <a:pt x="48" y="4"/>
                    <a:pt x="48" y="4"/>
                    <a:pt x="48" y="4"/>
                  </a:cubicBezTo>
                  <a:cubicBezTo>
                    <a:pt x="2" y="4"/>
                    <a:pt x="2" y="4"/>
                    <a:pt x="2" y="4"/>
                  </a:cubicBezTo>
                  <a:cubicBezTo>
                    <a:pt x="1" y="4"/>
                    <a:pt x="0" y="3"/>
                    <a:pt x="0" y="2"/>
                  </a:cubicBezTo>
                  <a:cubicBezTo>
                    <a:pt x="0" y="1"/>
                    <a:pt x="1" y="0"/>
                    <a:pt x="2" y="0"/>
                  </a:cubicBezTo>
                  <a:cubicBezTo>
                    <a:pt x="50" y="0"/>
                    <a:pt x="50" y="0"/>
                    <a:pt x="50" y="0"/>
                  </a:cubicBezTo>
                  <a:cubicBezTo>
                    <a:pt x="51" y="0"/>
                    <a:pt x="52" y="1"/>
                    <a:pt x="52" y="2"/>
                  </a:cubicBezTo>
                  <a:cubicBezTo>
                    <a:pt x="52" y="10"/>
                    <a:pt x="52" y="10"/>
                    <a:pt x="52" y="10"/>
                  </a:cubicBezTo>
                  <a:cubicBezTo>
                    <a:pt x="52" y="11"/>
                    <a:pt x="51" y="12"/>
                    <a:pt x="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5" name="Freeform 32">
              <a:extLst>
                <a:ext uri="{FF2B5EF4-FFF2-40B4-BE49-F238E27FC236}">
                  <a16:creationId xmlns:a16="http://schemas.microsoft.com/office/drawing/2014/main" id="{735A0D33-F86D-4B07-909D-433AD2800123}"/>
                </a:ext>
              </a:extLst>
            </p:cNvPr>
            <p:cNvSpPr>
              <a:spLocks noEditPoints="1"/>
            </p:cNvSpPr>
            <p:nvPr/>
          </p:nvSpPr>
          <p:spPr bwMode="auto">
            <a:xfrm>
              <a:off x="5570538" y="3949700"/>
              <a:ext cx="280988" cy="371475"/>
            </a:xfrm>
            <a:custGeom>
              <a:avLst/>
              <a:gdLst>
                <a:gd name="T0" fmla="*/ 70 w 72"/>
                <a:gd name="T1" fmla="*/ 96 h 96"/>
                <a:gd name="T2" fmla="*/ 10 w 72"/>
                <a:gd name="T3" fmla="*/ 96 h 96"/>
                <a:gd name="T4" fmla="*/ 0 w 72"/>
                <a:gd name="T5" fmla="*/ 86 h 96"/>
                <a:gd name="T6" fmla="*/ 0 w 72"/>
                <a:gd name="T7" fmla="*/ 10 h 96"/>
                <a:gd name="T8" fmla="*/ 10 w 72"/>
                <a:gd name="T9" fmla="*/ 0 h 96"/>
                <a:gd name="T10" fmla="*/ 66 w 72"/>
                <a:gd name="T11" fmla="*/ 0 h 96"/>
                <a:gd name="T12" fmla="*/ 68 w 72"/>
                <a:gd name="T13" fmla="*/ 2 h 96"/>
                <a:gd name="T14" fmla="*/ 68 w 72"/>
                <a:gd name="T15" fmla="*/ 16 h 96"/>
                <a:gd name="T16" fmla="*/ 70 w 72"/>
                <a:gd name="T17" fmla="*/ 16 h 96"/>
                <a:gd name="T18" fmla="*/ 72 w 72"/>
                <a:gd name="T19" fmla="*/ 18 h 96"/>
                <a:gd name="T20" fmla="*/ 72 w 72"/>
                <a:gd name="T21" fmla="*/ 94 h 96"/>
                <a:gd name="T22" fmla="*/ 70 w 72"/>
                <a:gd name="T23" fmla="*/ 96 h 96"/>
                <a:gd name="T24" fmla="*/ 4 w 72"/>
                <a:gd name="T25" fmla="*/ 18 h 96"/>
                <a:gd name="T26" fmla="*/ 4 w 72"/>
                <a:gd name="T27" fmla="*/ 86 h 96"/>
                <a:gd name="T28" fmla="*/ 10 w 72"/>
                <a:gd name="T29" fmla="*/ 92 h 96"/>
                <a:gd name="T30" fmla="*/ 68 w 72"/>
                <a:gd name="T31" fmla="*/ 92 h 96"/>
                <a:gd name="T32" fmla="*/ 68 w 72"/>
                <a:gd name="T33" fmla="*/ 20 h 96"/>
                <a:gd name="T34" fmla="*/ 10 w 72"/>
                <a:gd name="T35" fmla="*/ 20 h 96"/>
                <a:gd name="T36" fmla="*/ 4 w 72"/>
                <a:gd name="T37" fmla="*/ 18 h 96"/>
                <a:gd name="T38" fmla="*/ 10 w 72"/>
                <a:gd name="T39" fmla="*/ 4 h 96"/>
                <a:gd name="T40" fmla="*/ 4 w 72"/>
                <a:gd name="T41" fmla="*/ 10 h 96"/>
                <a:gd name="T42" fmla="*/ 10 w 72"/>
                <a:gd name="T43" fmla="*/ 16 h 96"/>
                <a:gd name="T44" fmla="*/ 64 w 72"/>
                <a:gd name="T45" fmla="*/ 16 h 96"/>
                <a:gd name="T46" fmla="*/ 64 w 72"/>
                <a:gd name="T47" fmla="*/ 4 h 96"/>
                <a:gd name="T48" fmla="*/ 10 w 72"/>
                <a:gd name="T4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96">
                  <a:moveTo>
                    <a:pt x="70" y="96"/>
                  </a:moveTo>
                  <a:cubicBezTo>
                    <a:pt x="10" y="96"/>
                    <a:pt x="10" y="96"/>
                    <a:pt x="10" y="96"/>
                  </a:cubicBezTo>
                  <a:cubicBezTo>
                    <a:pt x="4" y="96"/>
                    <a:pt x="0" y="92"/>
                    <a:pt x="0" y="86"/>
                  </a:cubicBezTo>
                  <a:cubicBezTo>
                    <a:pt x="0" y="10"/>
                    <a:pt x="0" y="10"/>
                    <a:pt x="0" y="10"/>
                  </a:cubicBezTo>
                  <a:cubicBezTo>
                    <a:pt x="0" y="4"/>
                    <a:pt x="4" y="0"/>
                    <a:pt x="10" y="0"/>
                  </a:cubicBezTo>
                  <a:cubicBezTo>
                    <a:pt x="66" y="0"/>
                    <a:pt x="66" y="0"/>
                    <a:pt x="66" y="0"/>
                  </a:cubicBezTo>
                  <a:cubicBezTo>
                    <a:pt x="67" y="0"/>
                    <a:pt x="68" y="1"/>
                    <a:pt x="68" y="2"/>
                  </a:cubicBezTo>
                  <a:cubicBezTo>
                    <a:pt x="68" y="16"/>
                    <a:pt x="68" y="16"/>
                    <a:pt x="68" y="16"/>
                  </a:cubicBezTo>
                  <a:cubicBezTo>
                    <a:pt x="70" y="16"/>
                    <a:pt x="70" y="16"/>
                    <a:pt x="70" y="16"/>
                  </a:cubicBezTo>
                  <a:cubicBezTo>
                    <a:pt x="71" y="16"/>
                    <a:pt x="72" y="17"/>
                    <a:pt x="72" y="18"/>
                  </a:cubicBezTo>
                  <a:cubicBezTo>
                    <a:pt x="72" y="94"/>
                    <a:pt x="72" y="94"/>
                    <a:pt x="72" y="94"/>
                  </a:cubicBezTo>
                  <a:cubicBezTo>
                    <a:pt x="72" y="95"/>
                    <a:pt x="71" y="96"/>
                    <a:pt x="70" y="96"/>
                  </a:cubicBezTo>
                  <a:close/>
                  <a:moveTo>
                    <a:pt x="4" y="18"/>
                  </a:moveTo>
                  <a:cubicBezTo>
                    <a:pt x="4" y="86"/>
                    <a:pt x="4" y="86"/>
                    <a:pt x="4" y="86"/>
                  </a:cubicBezTo>
                  <a:cubicBezTo>
                    <a:pt x="4" y="89"/>
                    <a:pt x="7" y="92"/>
                    <a:pt x="10" y="92"/>
                  </a:cubicBezTo>
                  <a:cubicBezTo>
                    <a:pt x="68" y="92"/>
                    <a:pt x="68" y="92"/>
                    <a:pt x="68" y="92"/>
                  </a:cubicBezTo>
                  <a:cubicBezTo>
                    <a:pt x="68" y="20"/>
                    <a:pt x="68" y="20"/>
                    <a:pt x="68" y="20"/>
                  </a:cubicBezTo>
                  <a:cubicBezTo>
                    <a:pt x="10" y="20"/>
                    <a:pt x="10" y="20"/>
                    <a:pt x="10" y="20"/>
                  </a:cubicBezTo>
                  <a:cubicBezTo>
                    <a:pt x="8" y="20"/>
                    <a:pt x="6" y="19"/>
                    <a:pt x="4" y="18"/>
                  </a:cubicBezTo>
                  <a:close/>
                  <a:moveTo>
                    <a:pt x="10" y="4"/>
                  </a:moveTo>
                  <a:cubicBezTo>
                    <a:pt x="7" y="4"/>
                    <a:pt x="4" y="7"/>
                    <a:pt x="4" y="10"/>
                  </a:cubicBezTo>
                  <a:cubicBezTo>
                    <a:pt x="4" y="13"/>
                    <a:pt x="7" y="16"/>
                    <a:pt x="10" y="16"/>
                  </a:cubicBezTo>
                  <a:cubicBezTo>
                    <a:pt x="64" y="16"/>
                    <a:pt x="64" y="16"/>
                    <a:pt x="64" y="16"/>
                  </a:cubicBezTo>
                  <a:cubicBezTo>
                    <a:pt x="64" y="4"/>
                    <a:pt x="64" y="4"/>
                    <a:pt x="64" y="4"/>
                  </a:cubicBez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6" name="Freeform 33">
              <a:extLst>
                <a:ext uri="{FF2B5EF4-FFF2-40B4-BE49-F238E27FC236}">
                  <a16:creationId xmlns:a16="http://schemas.microsoft.com/office/drawing/2014/main" id="{079CE20B-0C5E-4BC2-BB88-1ED624760526}"/>
                </a:ext>
              </a:extLst>
            </p:cNvPr>
            <p:cNvSpPr>
              <a:spLocks/>
            </p:cNvSpPr>
            <p:nvPr/>
          </p:nvSpPr>
          <p:spPr bwMode="auto">
            <a:xfrm>
              <a:off x="5678488" y="4073525"/>
              <a:ext cx="63500" cy="77788"/>
            </a:xfrm>
            <a:custGeom>
              <a:avLst/>
              <a:gdLst>
                <a:gd name="T0" fmla="*/ 14 w 16"/>
                <a:gd name="T1" fmla="*/ 20 h 20"/>
                <a:gd name="T2" fmla="*/ 12 w 16"/>
                <a:gd name="T3" fmla="*/ 18 h 20"/>
                <a:gd name="T4" fmla="*/ 12 w 16"/>
                <a:gd name="T5" fmla="*/ 8 h 20"/>
                <a:gd name="T6" fmla="*/ 8 w 16"/>
                <a:gd name="T7" fmla="*/ 4 h 20"/>
                <a:gd name="T8" fmla="*/ 4 w 16"/>
                <a:gd name="T9" fmla="*/ 8 h 20"/>
                <a:gd name="T10" fmla="*/ 4 w 16"/>
                <a:gd name="T11" fmla="*/ 18 h 20"/>
                <a:gd name="T12" fmla="*/ 2 w 16"/>
                <a:gd name="T13" fmla="*/ 20 h 20"/>
                <a:gd name="T14" fmla="*/ 0 w 16"/>
                <a:gd name="T15" fmla="*/ 18 h 20"/>
                <a:gd name="T16" fmla="*/ 0 w 16"/>
                <a:gd name="T17" fmla="*/ 8 h 20"/>
                <a:gd name="T18" fmla="*/ 8 w 16"/>
                <a:gd name="T19" fmla="*/ 0 h 20"/>
                <a:gd name="T20" fmla="*/ 16 w 16"/>
                <a:gd name="T21" fmla="*/ 8 h 20"/>
                <a:gd name="T22" fmla="*/ 16 w 16"/>
                <a:gd name="T23" fmla="*/ 18 h 20"/>
                <a:gd name="T24" fmla="*/ 14 w 16"/>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0">
                  <a:moveTo>
                    <a:pt x="14" y="20"/>
                  </a:moveTo>
                  <a:cubicBezTo>
                    <a:pt x="13" y="20"/>
                    <a:pt x="12" y="19"/>
                    <a:pt x="12" y="18"/>
                  </a:cubicBezTo>
                  <a:cubicBezTo>
                    <a:pt x="12" y="8"/>
                    <a:pt x="12" y="8"/>
                    <a:pt x="12" y="8"/>
                  </a:cubicBezTo>
                  <a:cubicBezTo>
                    <a:pt x="12" y="6"/>
                    <a:pt x="10" y="4"/>
                    <a:pt x="8" y="4"/>
                  </a:cubicBezTo>
                  <a:cubicBezTo>
                    <a:pt x="6" y="4"/>
                    <a:pt x="4" y="6"/>
                    <a:pt x="4" y="8"/>
                  </a:cubicBezTo>
                  <a:cubicBezTo>
                    <a:pt x="4" y="18"/>
                    <a:pt x="4" y="18"/>
                    <a:pt x="4" y="18"/>
                  </a:cubicBezTo>
                  <a:cubicBezTo>
                    <a:pt x="4" y="19"/>
                    <a:pt x="3" y="20"/>
                    <a:pt x="2" y="20"/>
                  </a:cubicBezTo>
                  <a:cubicBezTo>
                    <a:pt x="1" y="20"/>
                    <a:pt x="0" y="19"/>
                    <a:pt x="0" y="18"/>
                  </a:cubicBezTo>
                  <a:cubicBezTo>
                    <a:pt x="0" y="8"/>
                    <a:pt x="0" y="8"/>
                    <a:pt x="0" y="8"/>
                  </a:cubicBezTo>
                  <a:cubicBezTo>
                    <a:pt x="0" y="4"/>
                    <a:pt x="4" y="0"/>
                    <a:pt x="8" y="0"/>
                  </a:cubicBezTo>
                  <a:cubicBezTo>
                    <a:pt x="12" y="0"/>
                    <a:pt x="16" y="4"/>
                    <a:pt x="16" y="8"/>
                  </a:cubicBezTo>
                  <a:cubicBezTo>
                    <a:pt x="16" y="18"/>
                    <a:pt x="16" y="18"/>
                    <a:pt x="16" y="18"/>
                  </a:cubicBezTo>
                  <a:cubicBezTo>
                    <a:pt x="16" y="19"/>
                    <a:pt x="15" y="20"/>
                    <a:pt x="1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7" name="Freeform 34">
              <a:extLst>
                <a:ext uri="{FF2B5EF4-FFF2-40B4-BE49-F238E27FC236}">
                  <a16:creationId xmlns:a16="http://schemas.microsoft.com/office/drawing/2014/main" id="{8680E497-B901-4D43-B6B5-3AC8F4C704BC}"/>
                </a:ext>
              </a:extLst>
            </p:cNvPr>
            <p:cNvSpPr>
              <a:spLocks/>
            </p:cNvSpPr>
            <p:nvPr/>
          </p:nvSpPr>
          <p:spPr bwMode="auto">
            <a:xfrm>
              <a:off x="5678488" y="4119563"/>
              <a:ext cx="63500"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8" name="Freeform 35">
              <a:extLst>
                <a:ext uri="{FF2B5EF4-FFF2-40B4-BE49-F238E27FC236}">
                  <a16:creationId xmlns:a16="http://schemas.microsoft.com/office/drawing/2014/main" id="{EE690111-294D-4867-ACB3-B1ADCB692EB8}"/>
                </a:ext>
              </a:extLst>
            </p:cNvPr>
            <p:cNvSpPr>
              <a:spLocks noEditPoints="1"/>
            </p:cNvSpPr>
            <p:nvPr/>
          </p:nvSpPr>
          <p:spPr bwMode="auto">
            <a:xfrm>
              <a:off x="5616575" y="4181475"/>
              <a:ext cx="61913" cy="77788"/>
            </a:xfrm>
            <a:custGeom>
              <a:avLst/>
              <a:gdLst>
                <a:gd name="T0" fmla="*/ 10 w 16"/>
                <a:gd name="T1" fmla="*/ 20 h 20"/>
                <a:gd name="T2" fmla="*/ 2 w 16"/>
                <a:gd name="T3" fmla="*/ 20 h 20"/>
                <a:gd name="T4" fmla="*/ 0 w 16"/>
                <a:gd name="T5" fmla="*/ 18 h 20"/>
                <a:gd name="T6" fmla="*/ 0 w 16"/>
                <a:gd name="T7" fmla="*/ 2 h 20"/>
                <a:gd name="T8" fmla="*/ 2 w 16"/>
                <a:gd name="T9" fmla="*/ 0 h 20"/>
                <a:gd name="T10" fmla="*/ 10 w 16"/>
                <a:gd name="T11" fmla="*/ 0 h 20"/>
                <a:gd name="T12" fmla="*/ 16 w 16"/>
                <a:gd name="T13" fmla="*/ 6 h 20"/>
                <a:gd name="T14" fmla="*/ 14 w 16"/>
                <a:gd name="T15" fmla="*/ 10 h 20"/>
                <a:gd name="T16" fmla="*/ 16 w 16"/>
                <a:gd name="T17" fmla="*/ 14 h 20"/>
                <a:gd name="T18" fmla="*/ 10 w 16"/>
                <a:gd name="T19" fmla="*/ 20 h 20"/>
                <a:gd name="T20" fmla="*/ 4 w 16"/>
                <a:gd name="T21" fmla="*/ 16 h 20"/>
                <a:gd name="T22" fmla="*/ 10 w 16"/>
                <a:gd name="T23" fmla="*/ 16 h 20"/>
                <a:gd name="T24" fmla="*/ 12 w 16"/>
                <a:gd name="T25" fmla="*/ 14 h 20"/>
                <a:gd name="T26" fmla="*/ 10 w 16"/>
                <a:gd name="T27" fmla="*/ 12 h 20"/>
                <a:gd name="T28" fmla="*/ 4 w 16"/>
                <a:gd name="T29" fmla="*/ 12 h 20"/>
                <a:gd name="T30" fmla="*/ 4 w 16"/>
                <a:gd name="T31" fmla="*/ 16 h 20"/>
                <a:gd name="T32" fmla="*/ 4 w 16"/>
                <a:gd name="T33" fmla="*/ 8 h 20"/>
                <a:gd name="T34" fmla="*/ 10 w 16"/>
                <a:gd name="T35" fmla="*/ 8 h 20"/>
                <a:gd name="T36" fmla="*/ 12 w 16"/>
                <a:gd name="T37" fmla="*/ 6 h 20"/>
                <a:gd name="T38" fmla="*/ 10 w 16"/>
                <a:gd name="T39" fmla="*/ 4 h 20"/>
                <a:gd name="T40" fmla="*/ 4 w 16"/>
                <a:gd name="T41" fmla="*/ 4 h 20"/>
                <a:gd name="T42" fmla="*/ 4 w 16"/>
                <a:gd name="T4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20">
                  <a:moveTo>
                    <a:pt x="10" y="20"/>
                  </a:moveTo>
                  <a:cubicBezTo>
                    <a:pt x="2" y="20"/>
                    <a:pt x="2" y="20"/>
                    <a:pt x="2" y="20"/>
                  </a:cubicBezTo>
                  <a:cubicBezTo>
                    <a:pt x="1" y="20"/>
                    <a:pt x="0" y="19"/>
                    <a:pt x="0" y="18"/>
                  </a:cubicBezTo>
                  <a:cubicBezTo>
                    <a:pt x="0" y="2"/>
                    <a:pt x="0" y="2"/>
                    <a:pt x="0" y="2"/>
                  </a:cubicBezTo>
                  <a:cubicBezTo>
                    <a:pt x="0" y="1"/>
                    <a:pt x="1" y="0"/>
                    <a:pt x="2" y="0"/>
                  </a:cubicBezTo>
                  <a:cubicBezTo>
                    <a:pt x="10" y="0"/>
                    <a:pt x="10" y="0"/>
                    <a:pt x="10" y="0"/>
                  </a:cubicBezTo>
                  <a:cubicBezTo>
                    <a:pt x="13" y="0"/>
                    <a:pt x="16" y="3"/>
                    <a:pt x="16" y="6"/>
                  </a:cubicBezTo>
                  <a:cubicBezTo>
                    <a:pt x="16" y="8"/>
                    <a:pt x="15" y="9"/>
                    <a:pt x="14" y="10"/>
                  </a:cubicBezTo>
                  <a:cubicBezTo>
                    <a:pt x="15" y="11"/>
                    <a:pt x="16" y="12"/>
                    <a:pt x="16" y="14"/>
                  </a:cubicBezTo>
                  <a:cubicBezTo>
                    <a:pt x="16" y="17"/>
                    <a:pt x="13" y="20"/>
                    <a:pt x="10" y="20"/>
                  </a:cubicBezTo>
                  <a:close/>
                  <a:moveTo>
                    <a:pt x="4" y="16"/>
                  </a:moveTo>
                  <a:cubicBezTo>
                    <a:pt x="10" y="16"/>
                    <a:pt x="10" y="16"/>
                    <a:pt x="10" y="16"/>
                  </a:cubicBezTo>
                  <a:cubicBezTo>
                    <a:pt x="11" y="16"/>
                    <a:pt x="12" y="15"/>
                    <a:pt x="12" y="14"/>
                  </a:cubicBezTo>
                  <a:cubicBezTo>
                    <a:pt x="12" y="13"/>
                    <a:pt x="11" y="12"/>
                    <a:pt x="10" y="12"/>
                  </a:cubicBezTo>
                  <a:cubicBezTo>
                    <a:pt x="4" y="12"/>
                    <a:pt x="4" y="12"/>
                    <a:pt x="4" y="12"/>
                  </a:cubicBezTo>
                  <a:lnTo>
                    <a:pt x="4" y="16"/>
                  </a:lnTo>
                  <a:close/>
                  <a:moveTo>
                    <a:pt x="4" y="8"/>
                  </a:moveTo>
                  <a:cubicBezTo>
                    <a:pt x="10" y="8"/>
                    <a:pt x="10" y="8"/>
                    <a:pt x="10" y="8"/>
                  </a:cubicBezTo>
                  <a:cubicBezTo>
                    <a:pt x="11" y="8"/>
                    <a:pt x="12" y="7"/>
                    <a:pt x="12" y="6"/>
                  </a:cubicBezTo>
                  <a:cubicBezTo>
                    <a:pt x="12" y="5"/>
                    <a:pt x="11" y="4"/>
                    <a:pt x="10"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9" name="Freeform 36">
              <a:extLst>
                <a:ext uri="{FF2B5EF4-FFF2-40B4-BE49-F238E27FC236}">
                  <a16:creationId xmlns:a16="http://schemas.microsoft.com/office/drawing/2014/main" id="{1D633C6E-1C8B-4819-B115-8DE980CAB7D9}"/>
                </a:ext>
              </a:extLst>
            </p:cNvPr>
            <p:cNvSpPr>
              <a:spLocks/>
            </p:cNvSpPr>
            <p:nvPr/>
          </p:nvSpPr>
          <p:spPr bwMode="auto">
            <a:xfrm>
              <a:off x="5741988" y="4181475"/>
              <a:ext cx="61913" cy="77788"/>
            </a:xfrm>
            <a:custGeom>
              <a:avLst/>
              <a:gdLst>
                <a:gd name="T0" fmla="*/ 14 w 16"/>
                <a:gd name="T1" fmla="*/ 20 h 20"/>
                <a:gd name="T2" fmla="*/ 10 w 16"/>
                <a:gd name="T3" fmla="*/ 20 h 20"/>
                <a:gd name="T4" fmla="*/ 0 w 16"/>
                <a:gd name="T5" fmla="*/ 10 h 20"/>
                <a:gd name="T6" fmla="*/ 10 w 16"/>
                <a:gd name="T7" fmla="*/ 0 h 20"/>
                <a:gd name="T8" fmla="*/ 14 w 16"/>
                <a:gd name="T9" fmla="*/ 0 h 20"/>
                <a:gd name="T10" fmla="*/ 16 w 16"/>
                <a:gd name="T11" fmla="*/ 2 h 20"/>
                <a:gd name="T12" fmla="*/ 14 w 16"/>
                <a:gd name="T13" fmla="*/ 4 h 20"/>
                <a:gd name="T14" fmla="*/ 10 w 16"/>
                <a:gd name="T15" fmla="*/ 4 h 20"/>
                <a:gd name="T16" fmla="*/ 4 w 16"/>
                <a:gd name="T17" fmla="*/ 10 h 20"/>
                <a:gd name="T18" fmla="*/ 10 w 16"/>
                <a:gd name="T19" fmla="*/ 16 h 20"/>
                <a:gd name="T20" fmla="*/ 14 w 16"/>
                <a:gd name="T21" fmla="*/ 16 h 20"/>
                <a:gd name="T22" fmla="*/ 16 w 16"/>
                <a:gd name="T23" fmla="*/ 18 h 20"/>
                <a:gd name="T24" fmla="*/ 14 w 16"/>
                <a:gd name="T2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0">
                  <a:moveTo>
                    <a:pt x="14" y="20"/>
                  </a:moveTo>
                  <a:cubicBezTo>
                    <a:pt x="10" y="20"/>
                    <a:pt x="10" y="20"/>
                    <a:pt x="10" y="20"/>
                  </a:cubicBezTo>
                  <a:cubicBezTo>
                    <a:pt x="4" y="20"/>
                    <a:pt x="0" y="16"/>
                    <a:pt x="0" y="10"/>
                  </a:cubicBezTo>
                  <a:cubicBezTo>
                    <a:pt x="0" y="4"/>
                    <a:pt x="4" y="0"/>
                    <a:pt x="10" y="0"/>
                  </a:cubicBezTo>
                  <a:cubicBezTo>
                    <a:pt x="14" y="0"/>
                    <a:pt x="14" y="0"/>
                    <a:pt x="14" y="0"/>
                  </a:cubicBezTo>
                  <a:cubicBezTo>
                    <a:pt x="15" y="0"/>
                    <a:pt x="16" y="1"/>
                    <a:pt x="16" y="2"/>
                  </a:cubicBezTo>
                  <a:cubicBezTo>
                    <a:pt x="16" y="3"/>
                    <a:pt x="15" y="4"/>
                    <a:pt x="14" y="4"/>
                  </a:cubicBezTo>
                  <a:cubicBezTo>
                    <a:pt x="10" y="4"/>
                    <a:pt x="10" y="4"/>
                    <a:pt x="10" y="4"/>
                  </a:cubicBezTo>
                  <a:cubicBezTo>
                    <a:pt x="7" y="4"/>
                    <a:pt x="4" y="7"/>
                    <a:pt x="4" y="10"/>
                  </a:cubicBezTo>
                  <a:cubicBezTo>
                    <a:pt x="4" y="13"/>
                    <a:pt x="7" y="16"/>
                    <a:pt x="10" y="16"/>
                  </a:cubicBezTo>
                  <a:cubicBezTo>
                    <a:pt x="14" y="16"/>
                    <a:pt x="14" y="16"/>
                    <a:pt x="14" y="16"/>
                  </a:cubicBezTo>
                  <a:cubicBezTo>
                    <a:pt x="15" y="16"/>
                    <a:pt x="16" y="17"/>
                    <a:pt x="16" y="18"/>
                  </a:cubicBezTo>
                  <a:cubicBezTo>
                    <a:pt x="16" y="19"/>
                    <a:pt x="15" y="20"/>
                    <a:pt x="1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47" name="Group 81">
            <a:extLst>
              <a:ext uri="{FF2B5EF4-FFF2-40B4-BE49-F238E27FC236}">
                <a16:creationId xmlns:a16="http://schemas.microsoft.com/office/drawing/2014/main" id="{6C5B7C6D-2FAB-40A8-AC44-072DFBBDF18E}"/>
              </a:ext>
            </a:extLst>
          </p:cNvPr>
          <p:cNvGrpSpPr>
            <a:grpSpLocks noChangeAspect="1"/>
          </p:cNvGrpSpPr>
          <p:nvPr/>
        </p:nvGrpSpPr>
        <p:grpSpPr>
          <a:xfrm>
            <a:off x="7064798" y="3801969"/>
            <a:ext cx="296732" cy="308144"/>
            <a:chOff x="10469563" y="811213"/>
            <a:chExt cx="247650" cy="257175"/>
          </a:xfrm>
          <a:solidFill>
            <a:schemeClr val="bg1"/>
          </a:solidFill>
        </p:grpSpPr>
        <p:sp>
          <p:nvSpPr>
            <p:cNvPr id="948" name="Freeform 354">
              <a:extLst>
                <a:ext uri="{FF2B5EF4-FFF2-40B4-BE49-F238E27FC236}">
                  <a16:creationId xmlns:a16="http://schemas.microsoft.com/office/drawing/2014/main" id="{F68CD5E4-459A-4C8E-9752-7A72F8F37CD0}"/>
                </a:ext>
              </a:extLst>
            </p:cNvPr>
            <p:cNvSpPr>
              <a:spLocks noEditPoints="1"/>
            </p:cNvSpPr>
            <p:nvPr/>
          </p:nvSpPr>
          <p:spPr bwMode="auto">
            <a:xfrm>
              <a:off x="10545763" y="858838"/>
              <a:ext cx="85725" cy="66675"/>
            </a:xfrm>
            <a:custGeom>
              <a:avLst/>
              <a:gdLst>
                <a:gd name="T0" fmla="*/ 240 w 270"/>
                <a:gd name="T1" fmla="*/ 179 h 210"/>
                <a:gd name="T2" fmla="*/ 30 w 270"/>
                <a:gd name="T3" fmla="*/ 179 h 210"/>
                <a:gd name="T4" fmla="*/ 30 w 270"/>
                <a:gd name="T5" fmla="*/ 30 h 210"/>
                <a:gd name="T6" fmla="*/ 240 w 270"/>
                <a:gd name="T7" fmla="*/ 30 h 210"/>
                <a:gd name="T8" fmla="*/ 240 w 270"/>
                <a:gd name="T9" fmla="*/ 179 h 210"/>
                <a:gd name="T10" fmla="*/ 255 w 270"/>
                <a:gd name="T11" fmla="*/ 0 h 210"/>
                <a:gd name="T12" fmla="*/ 15 w 270"/>
                <a:gd name="T13" fmla="*/ 0 h 210"/>
                <a:gd name="T14" fmla="*/ 12 w 270"/>
                <a:gd name="T15" fmla="*/ 0 h 210"/>
                <a:gd name="T16" fmla="*/ 10 w 270"/>
                <a:gd name="T17" fmla="*/ 1 h 210"/>
                <a:gd name="T18" fmla="*/ 6 w 270"/>
                <a:gd name="T19" fmla="*/ 2 h 210"/>
                <a:gd name="T20" fmla="*/ 4 w 270"/>
                <a:gd name="T21" fmla="*/ 4 h 210"/>
                <a:gd name="T22" fmla="*/ 3 w 270"/>
                <a:gd name="T23" fmla="*/ 6 h 210"/>
                <a:gd name="T24" fmla="*/ 1 w 270"/>
                <a:gd name="T25" fmla="*/ 10 h 210"/>
                <a:gd name="T26" fmla="*/ 0 w 270"/>
                <a:gd name="T27" fmla="*/ 12 h 210"/>
                <a:gd name="T28" fmla="*/ 0 w 270"/>
                <a:gd name="T29" fmla="*/ 15 h 210"/>
                <a:gd name="T30" fmla="*/ 0 w 270"/>
                <a:gd name="T31" fmla="*/ 194 h 210"/>
                <a:gd name="T32" fmla="*/ 0 w 270"/>
                <a:gd name="T33" fmla="*/ 198 h 210"/>
                <a:gd name="T34" fmla="*/ 1 w 270"/>
                <a:gd name="T35" fmla="*/ 201 h 210"/>
                <a:gd name="T36" fmla="*/ 3 w 270"/>
                <a:gd name="T37" fmla="*/ 203 h 210"/>
                <a:gd name="T38" fmla="*/ 4 w 270"/>
                <a:gd name="T39" fmla="*/ 205 h 210"/>
                <a:gd name="T40" fmla="*/ 6 w 270"/>
                <a:gd name="T41" fmla="*/ 207 h 210"/>
                <a:gd name="T42" fmla="*/ 10 w 270"/>
                <a:gd name="T43" fmla="*/ 208 h 210"/>
                <a:gd name="T44" fmla="*/ 12 w 270"/>
                <a:gd name="T45" fmla="*/ 209 h 210"/>
                <a:gd name="T46" fmla="*/ 15 w 270"/>
                <a:gd name="T47" fmla="*/ 210 h 210"/>
                <a:gd name="T48" fmla="*/ 255 w 270"/>
                <a:gd name="T49" fmla="*/ 209 h 210"/>
                <a:gd name="T50" fmla="*/ 259 w 270"/>
                <a:gd name="T51" fmla="*/ 209 h 210"/>
                <a:gd name="T52" fmla="*/ 261 w 270"/>
                <a:gd name="T53" fmla="*/ 208 h 210"/>
                <a:gd name="T54" fmla="*/ 264 w 270"/>
                <a:gd name="T55" fmla="*/ 207 h 210"/>
                <a:gd name="T56" fmla="*/ 266 w 270"/>
                <a:gd name="T57" fmla="*/ 205 h 210"/>
                <a:gd name="T58" fmla="*/ 267 w 270"/>
                <a:gd name="T59" fmla="*/ 203 h 210"/>
                <a:gd name="T60" fmla="*/ 269 w 270"/>
                <a:gd name="T61" fmla="*/ 201 h 210"/>
                <a:gd name="T62" fmla="*/ 270 w 270"/>
                <a:gd name="T63" fmla="*/ 198 h 210"/>
                <a:gd name="T64" fmla="*/ 270 w 270"/>
                <a:gd name="T65" fmla="*/ 194 h 210"/>
                <a:gd name="T66" fmla="*/ 270 w 270"/>
                <a:gd name="T67" fmla="*/ 15 h 210"/>
                <a:gd name="T68" fmla="*/ 270 w 270"/>
                <a:gd name="T69" fmla="*/ 12 h 210"/>
                <a:gd name="T70" fmla="*/ 269 w 270"/>
                <a:gd name="T71" fmla="*/ 10 h 210"/>
                <a:gd name="T72" fmla="*/ 267 w 270"/>
                <a:gd name="T73" fmla="*/ 6 h 210"/>
                <a:gd name="T74" fmla="*/ 266 w 270"/>
                <a:gd name="T75" fmla="*/ 4 h 210"/>
                <a:gd name="T76" fmla="*/ 264 w 270"/>
                <a:gd name="T77" fmla="*/ 2 h 210"/>
                <a:gd name="T78" fmla="*/ 261 w 270"/>
                <a:gd name="T79" fmla="*/ 1 h 210"/>
                <a:gd name="T80" fmla="*/ 259 w 270"/>
                <a:gd name="T81" fmla="*/ 0 h 210"/>
                <a:gd name="T82" fmla="*/ 255 w 270"/>
                <a:gd name="T83"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0" h="210">
                  <a:moveTo>
                    <a:pt x="240" y="179"/>
                  </a:moveTo>
                  <a:lnTo>
                    <a:pt x="30" y="179"/>
                  </a:lnTo>
                  <a:lnTo>
                    <a:pt x="30" y="30"/>
                  </a:lnTo>
                  <a:lnTo>
                    <a:pt x="240" y="30"/>
                  </a:lnTo>
                  <a:lnTo>
                    <a:pt x="240" y="179"/>
                  </a:lnTo>
                  <a:close/>
                  <a:moveTo>
                    <a:pt x="255" y="0"/>
                  </a:moveTo>
                  <a:lnTo>
                    <a:pt x="15" y="0"/>
                  </a:lnTo>
                  <a:lnTo>
                    <a:pt x="12" y="0"/>
                  </a:lnTo>
                  <a:lnTo>
                    <a:pt x="10" y="1"/>
                  </a:lnTo>
                  <a:lnTo>
                    <a:pt x="6" y="2"/>
                  </a:lnTo>
                  <a:lnTo>
                    <a:pt x="4" y="4"/>
                  </a:lnTo>
                  <a:lnTo>
                    <a:pt x="3" y="6"/>
                  </a:lnTo>
                  <a:lnTo>
                    <a:pt x="1" y="10"/>
                  </a:lnTo>
                  <a:lnTo>
                    <a:pt x="0" y="12"/>
                  </a:lnTo>
                  <a:lnTo>
                    <a:pt x="0" y="15"/>
                  </a:lnTo>
                  <a:lnTo>
                    <a:pt x="0" y="194"/>
                  </a:lnTo>
                  <a:lnTo>
                    <a:pt x="0" y="198"/>
                  </a:lnTo>
                  <a:lnTo>
                    <a:pt x="1" y="201"/>
                  </a:lnTo>
                  <a:lnTo>
                    <a:pt x="3" y="203"/>
                  </a:lnTo>
                  <a:lnTo>
                    <a:pt x="4" y="205"/>
                  </a:lnTo>
                  <a:lnTo>
                    <a:pt x="6" y="207"/>
                  </a:lnTo>
                  <a:lnTo>
                    <a:pt x="10" y="208"/>
                  </a:lnTo>
                  <a:lnTo>
                    <a:pt x="12" y="209"/>
                  </a:lnTo>
                  <a:lnTo>
                    <a:pt x="15" y="210"/>
                  </a:lnTo>
                  <a:lnTo>
                    <a:pt x="255" y="209"/>
                  </a:lnTo>
                  <a:lnTo>
                    <a:pt x="259" y="209"/>
                  </a:lnTo>
                  <a:lnTo>
                    <a:pt x="261" y="208"/>
                  </a:lnTo>
                  <a:lnTo>
                    <a:pt x="264" y="207"/>
                  </a:lnTo>
                  <a:lnTo>
                    <a:pt x="266" y="205"/>
                  </a:lnTo>
                  <a:lnTo>
                    <a:pt x="267" y="203"/>
                  </a:lnTo>
                  <a:lnTo>
                    <a:pt x="269" y="201"/>
                  </a:lnTo>
                  <a:lnTo>
                    <a:pt x="270" y="198"/>
                  </a:lnTo>
                  <a:lnTo>
                    <a:pt x="270" y="194"/>
                  </a:lnTo>
                  <a:lnTo>
                    <a:pt x="270" y="15"/>
                  </a:lnTo>
                  <a:lnTo>
                    <a:pt x="270" y="12"/>
                  </a:lnTo>
                  <a:lnTo>
                    <a:pt x="269" y="10"/>
                  </a:lnTo>
                  <a:lnTo>
                    <a:pt x="267" y="6"/>
                  </a:lnTo>
                  <a:lnTo>
                    <a:pt x="266" y="4"/>
                  </a:lnTo>
                  <a:lnTo>
                    <a:pt x="264" y="2"/>
                  </a:lnTo>
                  <a:lnTo>
                    <a:pt x="261" y="1"/>
                  </a:lnTo>
                  <a:lnTo>
                    <a:pt x="259" y="0"/>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355">
              <a:extLst>
                <a:ext uri="{FF2B5EF4-FFF2-40B4-BE49-F238E27FC236}">
                  <a16:creationId xmlns:a16="http://schemas.microsoft.com/office/drawing/2014/main" id="{F27A9729-BD32-4061-8704-FAAD8C2EFF2E}"/>
                </a:ext>
              </a:extLst>
            </p:cNvPr>
            <p:cNvSpPr>
              <a:spLocks noEditPoints="1"/>
            </p:cNvSpPr>
            <p:nvPr/>
          </p:nvSpPr>
          <p:spPr bwMode="auto">
            <a:xfrm>
              <a:off x="10469563" y="811213"/>
              <a:ext cx="247650" cy="257175"/>
            </a:xfrm>
            <a:custGeom>
              <a:avLst/>
              <a:gdLst>
                <a:gd name="T0" fmla="*/ 749 w 779"/>
                <a:gd name="T1" fmla="*/ 660 h 810"/>
                <a:gd name="T2" fmla="*/ 138 w 779"/>
                <a:gd name="T3" fmla="*/ 719 h 810"/>
                <a:gd name="T4" fmla="*/ 148 w 779"/>
                <a:gd name="T5" fmla="*/ 711 h 810"/>
                <a:gd name="T6" fmla="*/ 147 w 779"/>
                <a:gd name="T7" fmla="*/ 696 h 810"/>
                <a:gd name="T8" fmla="*/ 134 w 779"/>
                <a:gd name="T9" fmla="*/ 689 h 810"/>
                <a:gd name="T10" fmla="*/ 140 w 779"/>
                <a:gd name="T11" fmla="*/ 599 h 810"/>
                <a:gd name="T12" fmla="*/ 149 w 779"/>
                <a:gd name="T13" fmla="*/ 588 h 810"/>
                <a:gd name="T14" fmla="*/ 145 w 779"/>
                <a:gd name="T15" fmla="*/ 574 h 810"/>
                <a:gd name="T16" fmla="*/ 89 w 779"/>
                <a:gd name="T17" fmla="*/ 570 h 810"/>
                <a:gd name="T18" fmla="*/ 143 w 779"/>
                <a:gd name="T19" fmla="*/ 477 h 810"/>
                <a:gd name="T20" fmla="*/ 149 w 779"/>
                <a:gd name="T21" fmla="*/ 465 h 810"/>
                <a:gd name="T22" fmla="*/ 143 w 779"/>
                <a:gd name="T23" fmla="*/ 452 h 810"/>
                <a:gd name="T24" fmla="*/ 89 w 779"/>
                <a:gd name="T25" fmla="*/ 359 h 810"/>
                <a:gd name="T26" fmla="*/ 145 w 779"/>
                <a:gd name="T27" fmla="*/ 355 h 810"/>
                <a:gd name="T28" fmla="*/ 149 w 779"/>
                <a:gd name="T29" fmla="*/ 342 h 810"/>
                <a:gd name="T30" fmla="*/ 140 w 779"/>
                <a:gd name="T31" fmla="*/ 332 h 810"/>
                <a:gd name="T32" fmla="*/ 134 w 779"/>
                <a:gd name="T33" fmla="*/ 240 h 810"/>
                <a:gd name="T34" fmla="*/ 147 w 779"/>
                <a:gd name="T35" fmla="*/ 233 h 810"/>
                <a:gd name="T36" fmla="*/ 148 w 779"/>
                <a:gd name="T37" fmla="*/ 219 h 810"/>
                <a:gd name="T38" fmla="*/ 138 w 779"/>
                <a:gd name="T39" fmla="*/ 210 h 810"/>
                <a:gd name="T40" fmla="*/ 138 w 779"/>
                <a:gd name="T41" fmla="*/ 120 h 810"/>
                <a:gd name="T42" fmla="*/ 148 w 779"/>
                <a:gd name="T43" fmla="*/ 110 h 810"/>
                <a:gd name="T44" fmla="*/ 147 w 779"/>
                <a:gd name="T45" fmla="*/ 97 h 810"/>
                <a:gd name="T46" fmla="*/ 134 w 779"/>
                <a:gd name="T47" fmla="*/ 90 h 810"/>
                <a:gd name="T48" fmla="*/ 629 w 779"/>
                <a:gd name="T49" fmla="*/ 225 h 810"/>
                <a:gd name="T50" fmla="*/ 749 w 779"/>
                <a:gd name="T51" fmla="*/ 90 h 810"/>
                <a:gd name="T52" fmla="*/ 659 w 779"/>
                <a:gd name="T53" fmla="*/ 390 h 810"/>
                <a:gd name="T54" fmla="*/ 749 w 779"/>
                <a:gd name="T55" fmla="*/ 359 h 810"/>
                <a:gd name="T56" fmla="*/ 764 w 779"/>
                <a:gd name="T57" fmla="*/ 60 h 810"/>
                <a:gd name="T58" fmla="*/ 657 w 779"/>
                <a:gd name="T59" fmla="*/ 7 h 810"/>
                <a:gd name="T60" fmla="*/ 644 w 779"/>
                <a:gd name="T61" fmla="*/ 0 h 810"/>
                <a:gd name="T62" fmla="*/ 64 w 779"/>
                <a:gd name="T63" fmla="*/ 5 h 810"/>
                <a:gd name="T64" fmla="*/ 60 w 779"/>
                <a:gd name="T65" fmla="*/ 90 h 810"/>
                <a:gd name="T66" fmla="*/ 4 w 779"/>
                <a:gd name="T67" fmla="*/ 94 h 810"/>
                <a:gd name="T68" fmla="*/ 0 w 779"/>
                <a:gd name="T69" fmla="*/ 108 h 810"/>
                <a:gd name="T70" fmla="*/ 8 w 779"/>
                <a:gd name="T71" fmla="*/ 119 h 810"/>
                <a:gd name="T72" fmla="*/ 15 w 779"/>
                <a:gd name="T73" fmla="*/ 210 h 810"/>
                <a:gd name="T74" fmla="*/ 2 w 779"/>
                <a:gd name="T75" fmla="*/ 216 h 810"/>
                <a:gd name="T76" fmla="*/ 1 w 779"/>
                <a:gd name="T77" fmla="*/ 231 h 810"/>
                <a:gd name="T78" fmla="*/ 11 w 779"/>
                <a:gd name="T79" fmla="*/ 240 h 810"/>
                <a:gd name="T80" fmla="*/ 11 w 779"/>
                <a:gd name="T81" fmla="*/ 331 h 810"/>
                <a:gd name="T82" fmla="*/ 1 w 779"/>
                <a:gd name="T83" fmla="*/ 339 h 810"/>
                <a:gd name="T84" fmla="*/ 2 w 779"/>
                <a:gd name="T85" fmla="*/ 353 h 810"/>
                <a:gd name="T86" fmla="*/ 15 w 779"/>
                <a:gd name="T87" fmla="*/ 360 h 810"/>
                <a:gd name="T88" fmla="*/ 8 w 779"/>
                <a:gd name="T89" fmla="*/ 451 h 810"/>
                <a:gd name="T90" fmla="*/ 0 w 779"/>
                <a:gd name="T91" fmla="*/ 462 h 810"/>
                <a:gd name="T92" fmla="*/ 4 w 779"/>
                <a:gd name="T93" fmla="*/ 476 h 810"/>
                <a:gd name="T94" fmla="*/ 60 w 779"/>
                <a:gd name="T95" fmla="*/ 480 h 810"/>
                <a:gd name="T96" fmla="*/ 6 w 779"/>
                <a:gd name="T97" fmla="*/ 572 h 810"/>
                <a:gd name="T98" fmla="*/ 0 w 779"/>
                <a:gd name="T99" fmla="*/ 585 h 810"/>
                <a:gd name="T100" fmla="*/ 6 w 779"/>
                <a:gd name="T101" fmla="*/ 598 h 810"/>
                <a:gd name="T102" fmla="*/ 60 w 779"/>
                <a:gd name="T103" fmla="*/ 689 h 810"/>
                <a:gd name="T104" fmla="*/ 4 w 779"/>
                <a:gd name="T105" fmla="*/ 694 h 810"/>
                <a:gd name="T106" fmla="*/ 0 w 779"/>
                <a:gd name="T107" fmla="*/ 708 h 810"/>
                <a:gd name="T108" fmla="*/ 8 w 779"/>
                <a:gd name="T109" fmla="*/ 718 h 810"/>
                <a:gd name="T110" fmla="*/ 60 w 779"/>
                <a:gd name="T111" fmla="*/ 797 h 810"/>
                <a:gd name="T112" fmla="*/ 68 w 779"/>
                <a:gd name="T113" fmla="*/ 808 h 810"/>
                <a:gd name="T114" fmla="*/ 650 w 779"/>
                <a:gd name="T115" fmla="*/ 808 h 810"/>
                <a:gd name="T116" fmla="*/ 659 w 779"/>
                <a:gd name="T117" fmla="*/ 797 h 810"/>
                <a:gd name="T118" fmla="*/ 770 w 779"/>
                <a:gd name="T119" fmla="*/ 688 h 810"/>
                <a:gd name="T120" fmla="*/ 779 w 779"/>
                <a:gd name="T121" fmla="*/ 678 h 810"/>
                <a:gd name="T122" fmla="*/ 779 w 779"/>
                <a:gd name="T123" fmla="*/ 75 h 810"/>
                <a:gd name="T124" fmla="*/ 772 w 779"/>
                <a:gd name="T125" fmla="*/ 62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9" h="810">
                  <a:moveTo>
                    <a:pt x="749" y="660"/>
                  </a:moveTo>
                  <a:lnTo>
                    <a:pt x="659" y="660"/>
                  </a:lnTo>
                  <a:lnTo>
                    <a:pt x="659" y="540"/>
                  </a:lnTo>
                  <a:lnTo>
                    <a:pt x="749" y="540"/>
                  </a:lnTo>
                  <a:lnTo>
                    <a:pt x="749" y="660"/>
                  </a:lnTo>
                  <a:close/>
                  <a:moveTo>
                    <a:pt x="629" y="779"/>
                  </a:moveTo>
                  <a:lnTo>
                    <a:pt x="89" y="779"/>
                  </a:lnTo>
                  <a:lnTo>
                    <a:pt x="89" y="719"/>
                  </a:lnTo>
                  <a:lnTo>
                    <a:pt x="134" y="719"/>
                  </a:lnTo>
                  <a:lnTo>
                    <a:pt x="138" y="719"/>
                  </a:lnTo>
                  <a:lnTo>
                    <a:pt x="140" y="718"/>
                  </a:lnTo>
                  <a:lnTo>
                    <a:pt x="143" y="717"/>
                  </a:lnTo>
                  <a:lnTo>
                    <a:pt x="145" y="715"/>
                  </a:lnTo>
                  <a:lnTo>
                    <a:pt x="147" y="713"/>
                  </a:lnTo>
                  <a:lnTo>
                    <a:pt x="148" y="711"/>
                  </a:lnTo>
                  <a:lnTo>
                    <a:pt x="149" y="708"/>
                  </a:lnTo>
                  <a:lnTo>
                    <a:pt x="149" y="704"/>
                  </a:lnTo>
                  <a:lnTo>
                    <a:pt x="149" y="702"/>
                  </a:lnTo>
                  <a:lnTo>
                    <a:pt x="148" y="699"/>
                  </a:lnTo>
                  <a:lnTo>
                    <a:pt x="147" y="696"/>
                  </a:lnTo>
                  <a:lnTo>
                    <a:pt x="145" y="694"/>
                  </a:lnTo>
                  <a:lnTo>
                    <a:pt x="143" y="693"/>
                  </a:lnTo>
                  <a:lnTo>
                    <a:pt x="140" y="691"/>
                  </a:lnTo>
                  <a:lnTo>
                    <a:pt x="138" y="691"/>
                  </a:lnTo>
                  <a:lnTo>
                    <a:pt x="134" y="689"/>
                  </a:lnTo>
                  <a:lnTo>
                    <a:pt x="89" y="689"/>
                  </a:lnTo>
                  <a:lnTo>
                    <a:pt x="89" y="600"/>
                  </a:lnTo>
                  <a:lnTo>
                    <a:pt x="134" y="600"/>
                  </a:lnTo>
                  <a:lnTo>
                    <a:pt x="138" y="600"/>
                  </a:lnTo>
                  <a:lnTo>
                    <a:pt x="140" y="599"/>
                  </a:lnTo>
                  <a:lnTo>
                    <a:pt x="143" y="598"/>
                  </a:lnTo>
                  <a:lnTo>
                    <a:pt x="145" y="595"/>
                  </a:lnTo>
                  <a:lnTo>
                    <a:pt x="147" y="593"/>
                  </a:lnTo>
                  <a:lnTo>
                    <a:pt x="148" y="590"/>
                  </a:lnTo>
                  <a:lnTo>
                    <a:pt x="149" y="588"/>
                  </a:lnTo>
                  <a:lnTo>
                    <a:pt x="149" y="585"/>
                  </a:lnTo>
                  <a:lnTo>
                    <a:pt x="149" y="582"/>
                  </a:lnTo>
                  <a:lnTo>
                    <a:pt x="148" y="579"/>
                  </a:lnTo>
                  <a:lnTo>
                    <a:pt x="147" y="576"/>
                  </a:lnTo>
                  <a:lnTo>
                    <a:pt x="145" y="574"/>
                  </a:lnTo>
                  <a:lnTo>
                    <a:pt x="143" y="572"/>
                  </a:lnTo>
                  <a:lnTo>
                    <a:pt x="140" y="571"/>
                  </a:lnTo>
                  <a:lnTo>
                    <a:pt x="138" y="570"/>
                  </a:lnTo>
                  <a:lnTo>
                    <a:pt x="134" y="570"/>
                  </a:lnTo>
                  <a:lnTo>
                    <a:pt x="89" y="570"/>
                  </a:lnTo>
                  <a:lnTo>
                    <a:pt x="89" y="480"/>
                  </a:lnTo>
                  <a:lnTo>
                    <a:pt x="134" y="480"/>
                  </a:lnTo>
                  <a:lnTo>
                    <a:pt x="138" y="479"/>
                  </a:lnTo>
                  <a:lnTo>
                    <a:pt x="140" y="479"/>
                  </a:lnTo>
                  <a:lnTo>
                    <a:pt x="143" y="477"/>
                  </a:lnTo>
                  <a:lnTo>
                    <a:pt x="145" y="476"/>
                  </a:lnTo>
                  <a:lnTo>
                    <a:pt x="147" y="474"/>
                  </a:lnTo>
                  <a:lnTo>
                    <a:pt x="148" y="470"/>
                  </a:lnTo>
                  <a:lnTo>
                    <a:pt x="149" y="468"/>
                  </a:lnTo>
                  <a:lnTo>
                    <a:pt x="149" y="465"/>
                  </a:lnTo>
                  <a:lnTo>
                    <a:pt x="149" y="462"/>
                  </a:lnTo>
                  <a:lnTo>
                    <a:pt x="148" y="459"/>
                  </a:lnTo>
                  <a:lnTo>
                    <a:pt x="147" y="457"/>
                  </a:lnTo>
                  <a:lnTo>
                    <a:pt x="145" y="454"/>
                  </a:lnTo>
                  <a:lnTo>
                    <a:pt x="143" y="452"/>
                  </a:lnTo>
                  <a:lnTo>
                    <a:pt x="140" y="451"/>
                  </a:lnTo>
                  <a:lnTo>
                    <a:pt x="138" y="450"/>
                  </a:lnTo>
                  <a:lnTo>
                    <a:pt x="134" y="450"/>
                  </a:lnTo>
                  <a:lnTo>
                    <a:pt x="89" y="450"/>
                  </a:lnTo>
                  <a:lnTo>
                    <a:pt x="89" y="359"/>
                  </a:lnTo>
                  <a:lnTo>
                    <a:pt x="134" y="359"/>
                  </a:lnTo>
                  <a:lnTo>
                    <a:pt x="138" y="359"/>
                  </a:lnTo>
                  <a:lnTo>
                    <a:pt x="140" y="358"/>
                  </a:lnTo>
                  <a:lnTo>
                    <a:pt x="143" y="357"/>
                  </a:lnTo>
                  <a:lnTo>
                    <a:pt x="145" y="355"/>
                  </a:lnTo>
                  <a:lnTo>
                    <a:pt x="147" y="353"/>
                  </a:lnTo>
                  <a:lnTo>
                    <a:pt x="148" y="351"/>
                  </a:lnTo>
                  <a:lnTo>
                    <a:pt x="149" y="348"/>
                  </a:lnTo>
                  <a:lnTo>
                    <a:pt x="149" y="344"/>
                  </a:lnTo>
                  <a:lnTo>
                    <a:pt x="149" y="342"/>
                  </a:lnTo>
                  <a:lnTo>
                    <a:pt x="148" y="339"/>
                  </a:lnTo>
                  <a:lnTo>
                    <a:pt x="147" y="337"/>
                  </a:lnTo>
                  <a:lnTo>
                    <a:pt x="145" y="335"/>
                  </a:lnTo>
                  <a:lnTo>
                    <a:pt x="143" y="333"/>
                  </a:lnTo>
                  <a:lnTo>
                    <a:pt x="140" y="332"/>
                  </a:lnTo>
                  <a:lnTo>
                    <a:pt x="138" y="331"/>
                  </a:lnTo>
                  <a:lnTo>
                    <a:pt x="134" y="329"/>
                  </a:lnTo>
                  <a:lnTo>
                    <a:pt x="89" y="329"/>
                  </a:lnTo>
                  <a:lnTo>
                    <a:pt x="89" y="240"/>
                  </a:lnTo>
                  <a:lnTo>
                    <a:pt x="134" y="240"/>
                  </a:lnTo>
                  <a:lnTo>
                    <a:pt x="138" y="240"/>
                  </a:lnTo>
                  <a:lnTo>
                    <a:pt x="140" y="239"/>
                  </a:lnTo>
                  <a:lnTo>
                    <a:pt x="143" y="238"/>
                  </a:lnTo>
                  <a:lnTo>
                    <a:pt x="145" y="235"/>
                  </a:lnTo>
                  <a:lnTo>
                    <a:pt x="147" y="233"/>
                  </a:lnTo>
                  <a:lnTo>
                    <a:pt x="148" y="231"/>
                  </a:lnTo>
                  <a:lnTo>
                    <a:pt x="149" y="228"/>
                  </a:lnTo>
                  <a:lnTo>
                    <a:pt x="149" y="225"/>
                  </a:lnTo>
                  <a:lnTo>
                    <a:pt x="149" y="222"/>
                  </a:lnTo>
                  <a:lnTo>
                    <a:pt x="148" y="219"/>
                  </a:lnTo>
                  <a:lnTo>
                    <a:pt x="147" y="216"/>
                  </a:lnTo>
                  <a:lnTo>
                    <a:pt x="145" y="214"/>
                  </a:lnTo>
                  <a:lnTo>
                    <a:pt x="143" y="213"/>
                  </a:lnTo>
                  <a:lnTo>
                    <a:pt x="140" y="211"/>
                  </a:lnTo>
                  <a:lnTo>
                    <a:pt x="138" y="210"/>
                  </a:lnTo>
                  <a:lnTo>
                    <a:pt x="134" y="210"/>
                  </a:lnTo>
                  <a:lnTo>
                    <a:pt x="89" y="210"/>
                  </a:lnTo>
                  <a:lnTo>
                    <a:pt x="89" y="120"/>
                  </a:lnTo>
                  <a:lnTo>
                    <a:pt x="134" y="120"/>
                  </a:lnTo>
                  <a:lnTo>
                    <a:pt x="138" y="120"/>
                  </a:lnTo>
                  <a:lnTo>
                    <a:pt x="140" y="119"/>
                  </a:lnTo>
                  <a:lnTo>
                    <a:pt x="143" y="118"/>
                  </a:lnTo>
                  <a:lnTo>
                    <a:pt x="145" y="116"/>
                  </a:lnTo>
                  <a:lnTo>
                    <a:pt x="147" y="114"/>
                  </a:lnTo>
                  <a:lnTo>
                    <a:pt x="148" y="110"/>
                  </a:lnTo>
                  <a:lnTo>
                    <a:pt x="149" y="108"/>
                  </a:lnTo>
                  <a:lnTo>
                    <a:pt x="149" y="105"/>
                  </a:lnTo>
                  <a:lnTo>
                    <a:pt x="149" y="102"/>
                  </a:lnTo>
                  <a:lnTo>
                    <a:pt x="148" y="99"/>
                  </a:lnTo>
                  <a:lnTo>
                    <a:pt x="147" y="97"/>
                  </a:lnTo>
                  <a:lnTo>
                    <a:pt x="145" y="94"/>
                  </a:lnTo>
                  <a:lnTo>
                    <a:pt x="143" y="92"/>
                  </a:lnTo>
                  <a:lnTo>
                    <a:pt x="140" y="91"/>
                  </a:lnTo>
                  <a:lnTo>
                    <a:pt x="138" y="90"/>
                  </a:lnTo>
                  <a:lnTo>
                    <a:pt x="134" y="90"/>
                  </a:lnTo>
                  <a:lnTo>
                    <a:pt x="89" y="90"/>
                  </a:lnTo>
                  <a:lnTo>
                    <a:pt x="89" y="30"/>
                  </a:lnTo>
                  <a:lnTo>
                    <a:pt x="629" y="30"/>
                  </a:lnTo>
                  <a:lnTo>
                    <a:pt x="629" y="75"/>
                  </a:lnTo>
                  <a:lnTo>
                    <a:pt x="629" y="225"/>
                  </a:lnTo>
                  <a:lnTo>
                    <a:pt x="629" y="375"/>
                  </a:lnTo>
                  <a:lnTo>
                    <a:pt x="629" y="525"/>
                  </a:lnTo>
                  <a:lnTo>
                    <a:pt x="629" y="675"/>
                  </a:lnTo>
                  <a:lnTo>
                    <a:pt x="629" y="779"/>
                  </a:lnTo>
                  <a:close/>
                  <a:moveTo>
                    <a:pt x="749" y="90"/>
                  </a:moveTo>
                  <a:lnTo>
                    <a:pt x="749" y="210"/>
                  </a:lnTo>
                  <a:lnTo>
                    <a:pt x="659" y="210"/>
                  </a:lnTo>
                  <a:lnTo>
                    <a:pt x="659" y="90"/>
                  </a:lnTo>
                  <a:lnTo>
                    <a:pt x="749" y="90"/>
                  </a:lnTo>
                  <a:close/>
                  <a:moveTo>
                    <a:pt x="659" y="390"/>
                  </a:moveTo>
                  <a:lnTo>
                    <a:pt x="749" y="390"/>
                  </a:lnTo>
                  <a:lnTo>
                    <a:pt x="749" y="510"/>
                  </a:lnTo>
                  <a:lnTo>
                    <a:pt x="659" y="510"/>
                  </a:lnTo>
                  <a:lnTo>
                    <a:pt x="659" y="390"/>
                  </a:lnTo>
                  <a:close/>
                  <a:moveTo>
                    <a:pt x="749" y="359"/>
                  </a:moveTo>
                  <a:lnTo>
                    <a:pt x="659" y="359"/>
                  </a:lnTo>
                  <a:lnTo>
                    <a:pt x="659" y="240"/>
                  </a:lnTo>
                  <a:lnTo>
                    <a:pt x="749" y="240"/>
                  </a:lnTo>
                  <a:lnTo>
                    <a:pt x="749" y="359"/>
                  </a:lnTo>
                  <a:close/>
                  <a:moveTo>
                    <a:pt x="764" y="60"/>
                  </a:moveTo>
                  <a:lnTo>
                    <a:pt x="659" y="60"/>
                  </a:lnTo>
                  <a:lnTo>
                    <a:pt x="659" y="15"/>
                  </a:lnTo>
                  <a:lnTo>
                    <a:pt x="659" y="12"/>
                  </a:lnTo>
                  <a:lnTo>
                    <a:pt x="658" y="9"/>
                  </a:lnTo>
                  <a:lnTo>
                    <a:pt x="657" y="7"/>
                  </a:lnTo>
                  <a:lnTo>
                    <a:pt x="655" y="5"/>
                  </a:lnTo>
                  <a:lnTo>
                    <a:pt x="653" y="3"/>
                  </a:lnTo>
                  <a:lnTo>
                    <a:pt x="650" y="1"/>
                  </a:lnTo>
                  <a:lnTo>
                    <a:pt x="647" y="0"/>
                  </a:lnTo>
                  <a:lnTo>
                    <a:pt x="644" y="0"/>
                  </a:lnTo>
                  <a:lnTo>
                    <a:pt x="75" y="0"/>
                  </a:lnTo>
                  <a:lnTo>
                    <a:pt x="71" y="0"/>
                  </a:lnTo>
                  <a:lnTo>
                    <a:pt x="68" y="1"/>
                  </a:lnTo>
                  <a:lnTo>
                    <a:pt x="66" y="3"/>
                  </a:lnTo>
                  <a:lnTo>
                    <a:pt x="64" y="5"/>
                  </a:lnTo>
                  <a:lnTo>
                    <a:pt x="62" y="7"/>
                  </a:lnTo>
                  <a:lnTo>
                    <a:pt x="61" y="9"/>
                  </a:lnTo>
                  <a:lnTo>
                    <a:pt x="60" y="12"/>
                  </a:lnTo>
                  <a:lnTo>
                    <a:pt x="60" y="15"/>
                  </a:lnTo>
                  <a:lnTo>
                    <a:pt x="60" y="90"/>
                  </a:lnTo>
                  <a:lnTo>
                    <a:pt x="15" y="90"/>
                  </a:lnTo>
                  <a:lnTo>
                    <a:pt x="11" y="90"/>
                  </a:lnTo>
                  <a:lnTo>
                    <a:pt x="8" y="91"/>
                  </a:lnTo>
                  <a:lnTo>
                    <a:pt x="6" y="92"/>
                  </a:lnTo>
                  <a:lnTo>
                    <a:pt x="4" y="94"/>
                  </a:lnTo>
                  <a:lnTo>
                    <a:pt x="2" y="97"/>
                  </a:lnTo>
                  <a:lnTo>
                    <a:pt x="1" y="99"/>
                  </a:lnTo>
                  <a:lnTo>
                    <a:pt x="0" y="102"/>
                  </a:lnTo>
                  <a:lnTo>
                    <a:pt x="0" y="105"/>
                  </a:lnTo>
                  <a:lnTo>
                    <a:pt x="0" y="108"/>
                  </a:lnTo>
                  <a:lnTo>
                    <a:pt x="1" y="110"/>
                  </a:lnTo>
                  <a:lnTo>
                    <a:pt x="2" y="114"/>
                  </a:lnTo>
                  <a:lnTo>
                    <a:pt x="4" y="116"/>
                  </a:lnTo>
                  <a:lnTo>
                    <a:pt x="6" y="118"/>
                  </a:lnTo>
                  <a:lnTo>
                    <a:pt x="8" y="119"/>
                  </a:lnTo>
                  <a:lnTo>
                    <a:pt x="11" y="120"/>
                  </a:lnTo>
                  <a:lnTo>
                    <a:pt x="15" y="120"/>
                  </a:lnTo>
                  <a:lnTo>
                    <a:pt x="60" y="120"/>
                  </a:lnTo>
                  <a:lnTo>
                    <a:pt x="60" y="210"/>
                  </a:lnTo>
                  <a:lnTo>
                    <a:pt x="15" y="210"/>
                  </a:lnTo>
                  <a:lnTo>
                    <a:pt x="11" y="210"/>
                  </a:lnTo>
                  <a:lnTo>
                    <a:pt x="8" y="211"/>
                  </a:lnTo>
                  <a:lnTo>
                    <a:pt x="6" y="213"/>
                  </a:lnTo>
                  <a:lnTo>
                    <a:pt x="4" y="214"/>
                  </a:lnTo>
                  <a:lnTo>
                    <a:pt x="2" y="216"/>
                  </a:lnTo>
                  <a:lnTo>
                    <a:pt x="1" y="219"/>
                  </a:lnTo>
                  <a:lnTo>
                    <a:pt x="0" y="222"/>
                  </a:lnTo>
                  <a:lnTo>
                    <a:pt x="0" y="225"/>
                  </a:lnTo>
                  <a:lnTo>
                    <a:pt x="0" y="228"/>
                  </a:lnTo>
                  <a:lnTo>
                    <a:pt x="1" y="231"/>
                  </a:lnTo>
                  <a:lnTo>
                    <a:pt x="2" y="233"/>
                  </a:lnTo>
                  <a:lnTo>
                    <a:pt x="4" y="235"/>
                  </a:lnTo>
                  <a:lnTo>
                    <a:pt x="6" y="238"/>
                  </a:lnTo>
                  <a:lnTo>
                    <a:pt x="8" y="239"/>
                  </a:lnTo>
                  <a:lnTo>
                    <a:pt x="11" y="240"/>
                  </a:lnTo>
                  <a:lnTo>
                    <a:pt x="15" y="240"/>
                  </a:lnTo>
                  <a:lnTo>
                    <a:pt x="60" y="240"/>
                  </a:lnTo>
                  <a:lnTo>
                    <a:pt x="60" y="329"/>
                  </a:lnTo>
                  <a:lnTo>
                    <a:pt x="15" y="329"/>
                  </a:lnTo>
                  <a:lnTo>
                    <a:pt x="11" y="331"/>
                  </a:lnTo>
                  <a:lnTo>
                    <a:pt x="8" y="332"/>
                  </a:lnTo>
                  <a:lnTo>
                    <a:pt x="6" y="333"/>
                  </a:lnTo>
                  <a:lnTo>
                    <a:pt x="4" y="335"/>
                  </a:lnTo>
                  <a:lnTo>
                    <a:pt x="2" y="337"/>
                  </a:lnTo>
                  <a:lnTo>
                    <a:pt x="1" y="339"/>
                  </a:lnTo>
                  <a:lnTo>
                    <a:pt x="0" y="342"/>
                  </a:lnTo>
                  <a:lnTo>
                    <a:pt x="0" y="344"/>
                  </a:lnTo>
                  <a:lnTo>
                    <a:pt x="0" y="348"/>
                  </a:lnTo>
                  <a:lnTo>
                    <a:pt x="1" y="351"/>
                  </a:lnTo>
                  <a:lnTo>
                    <a:pt x="2" y="353"/>
                  </a:lnTo>
                  <a:lnTo>
                    <a:pt x="4" y="355"/>
                  </a:lnTo>
                  <a:lnTo>
                    <a:pt x="6" y="357"/>
                  </a:lnTo>
                  <a:lnTo>
                    <a:pt x="8" y="358"/>
                  </a:lnTo>
                  <a:lnTo>
                    <a:pt x="11" y="359"/>
                  </a:lnTo>
                  <a:lnTo>
                    <a:pt x="15" y="360"/>
                  </a:lnTo>
                  <a:lnTo>
                    <a:pt x="60" y="359"/>
                  </a:lnTo>
                  <a:lnTo>
                    <a:pt x="60" y="450"/>
                  </a:lnTo>
                  <a:lnTo>
                    <a:pt x="15" y="450"/>
                  </a:lnTo>
                  <a:lnTo>
                    <a:pt x="11" y="450"/>
                  </a:lnTo>
                  <a:lnTo>
                    <a:pt x="8" y="451"/>
                  </a:lnTo>
                  <a:lnTo>
                    <a:pt x="6" y="452"/>
                  </a:lnTo>
                  <a:lnTo>
                    <a:pt x="4" y="454"/>
                  </a:lnTo>
                  <a:lnTo>
                    <a:pt x="2" y="457"/>
                  </a:lnTo>
                  <a:lnTo>
                    <a:pt x="1" y="459"/>
                  </a:lnTo>
                  <a:lnTo>
                    <a:pt x="0" y="462"/>
                  </a:lnTo>
                  <a:lnTo>
                    <a:pt x="0" y="465"/>
                  </a:lnTo>
                  <a:lnTo>
                    <a:pt x="0" y="468"/>
                  </a:lnTo>
                  <a:lnTo>
                    <a:pt x="1" y="470"/>
                  </a:lnTo>
                  <a:lnTo>
                    <a:pt x="2" y="474"/>
                  </a:lnTo>
                  <a:lnTo>
                    <a:pt x="4" y="476"/>
                  </a:lnTo>
                  <a:lnTo>
                    <a:pt x="6" y="477"/>
                  </a:lnTo>
                  <a:lnTo>
                    <a:pt x="8" y="479"/>
                  </a:lnTo>
                  <a:lnTo>
                    <a:pt x="11" y="479"/>
                  </a:lnTo>
                  <a:lnTo>
                    <a:pt x="15" y="480"/>
                  </a:lnTo>
                  <a:lnTo>
                    <a:pt x="60" y="480"/>
                  </a:lnTo>
                  <a:lnTo>
                    <a:pt x="60" y="570"/>
                  </a:lnTo>
                  <a:lnTo>
                    <a:pt x="15" y="570"/>
                  </a:lnTo>
                  <a:lnTo>
                    <a:pt x="11" y="570"/>
                  </a:lnTo>
                  <a:lnTo>
                    <a:pt x="8" y="571"/>
                  </a:lnTo>
                  <a:lnTo>
                    <a:pt x="6" y="572"/>
                  </a:lnTo>
                  <a:lnTo>
                    <a:pt x="4" y="574"/>
                  </a:lnTo>
                  <a:lnTo>
                    <a:pt x="2" y="576"/>
                  </a:lnTo>
                  <a:lnTo>
                    <a:pt x="1" y="579"/>
                  </a:lnTo>
                  <a:lnTo>
                    <a:pt x="0" y="582"/>
                  </a:lnTo>
                  <a:lnTo>
                    <a:pt x="0" y="585"/>
                  </a:lnTo>
                  <a:lnTo>
                    <a:pt x="0" y="588"/>
                  </a:lnTo>
                  <a:lnTo>
                    <a:pt x="1" y="590"/>
                  </a:lnTo>
                  <a:lnTo>
                    <a:pt x="2" y="593"/>
                  </a:lnTo>
                  <a:lnTo>
                    <a:pt x="4" y="595"/>
                  </a:lnTo>
                  <a:lnTo>
                    <a:pt x="6" y="598"/>
                  </a:lnTo>
                  <a:lnTo>
                    <a:pt x="8" y="599"/>
                  </a:lnTo>
                  <a:lnTo>
                    <a:pt x="11" y="600"/>
                  </a:lnTo>
                  <a:lnTo>
                    <a:pt x="15" y="600"/>
                  </a:lnTo>
                  <a:lnTo>
                    <a:pt x="60" y="600"/>
                  </a:lnTo>
                  <a:lnTo>
                    <a:pt x="60" y="689"/>
                  </a:lnTo>
                  <a:lnTo>
                    <a:pt x="15" y="689"/>
                  </a:lnTo>
                  <a:lnTo>
                    <a:pt x="11" y="691"/>
                  </a:lnTo>
                  <a:lnTo>
                    <a:pt x="8" y="691"/>
                  </a:lnTo>
                  <a:lnTo>
                    <a:pt x="6" y="693"/>
                  </a:lnTo>
                  <a:lnTo>
                    <a:pt x="4" y="694"/>
                  </a:lnTo>
                  <a:lnTo>
                    <a:pt x="2" y="696"/>
                  </a:lnTo>
                  <a:lnTo>
                    <a:pt x="1" y="699"/>
                  </a:lnTo>
                  <a:lnTo>
                    <a:pt x="0" y="702"/>
                  </a:lnTo>
                  <a:lnTo>
                    <a:pt x="0" y="704"/>
                  </a:lnTo>
                  <a:lnTo>
                    <a:pt x="0" y="708"/>
                  </a:lnTo>
                  <a:lnTo>
                    <a:pt x="1" y="711"/>
                  </a:lnTo>
                  <a:lnTo>
                    <a:pt x="2" y="713"/>
                  </a:lnTo>
                  <a:lnTo>
                    <a:pt x="4" y="715"/>
                  </a:lnTo>
                  <a:lnTo>
                    <a:pt x="6" y="717"/>
                  </a:lnTo>
                  <a:lnTo>
                    <a:pt x="8" y="718"/>
                  </a:lnTo>
                  <a:lnTo>
                    <a:pt x="11" y="719"/>
                  </a:lnTo>
                  <a:lnTo>
                    <a:pt x="15" y="719"/>
                  </a:lnTo>
                  <a:lnTo>
                    <a:pt x="60" y="719"/>
                  </a:lnTo>
                  <a:lnTo>
                    <a:pt x="60" y="795"/>
                  </a:lnTo>
                  <a:lnTo>
                    <a:pt x="60" y="797"/>
                  </a:lnTo>
                  <a:lnTo>
                    <a:pt x="61" y="801"/>
                  </a:lnTo>
                  <a:lnTo>
                    <a:pt x="62" y="803"/>
                  </a:lnTo>
                  <a:lnTo>
                    <a:pt x="64" y="805"/>
                  </a:lnTo>
                  <a:lnTo>
                    <a:pt x="66" y="807"/>
                  </a:lnTo>
                  <a:lnTo>
                    <a:pt x="68" y="808"/>
                  </a:lnTo>
                  <a:lnTo>
                    <a:pt x="71" y="809"/>
                  </a:lnTo>
                  <a:lnTo>
                    <a:pt x="75" y="810"/>
                  </a:lnTo>
                  <a:lnTo>
                    <a:pt x="644" y="810"/>
                  </a:lnTo>
                  <a:lnTo>
                    <a:pt x="647" y="809"/>
                  </a:lnTo>
                  <a:lnTo>
                    <a:pt x="650" y="808"/>
                  </a:lnTo>
                  <a:lnTo>
                    <a:pt x="653" y="807"/>
                  </a:lnTo>
                  <a:lnTo>
                    <a:pt x="655" y="805"/>
                  </a:lnTo>
                  <a:lnTo>
                    <a:pt x="657" y="803"/>
                  </a:lnTo>
                  <a:lnTo>
                    <a:pt x="658" y="801"/>
                  </a:lnTo>
                  <a:lnTo>
                    <a:pt x="659" y="797"/>
                  </a:lnTo>
                  <a:lnTo>
                    <a:pt x="659" y="795"/>
                  </a:lnTo>
                  <a:lnTo>
                    <a:pt x="659" y="689"/>
                  </a:lnTo>
                  <a:lnTo>
                    <a:pt x="764" y="689"/>
                  </a:lnTo>
                  <a:lnTo>
                    <a:pt x="767" y="689"/>
                  </a:lnTo>
                  <a:lnTo>
                    <a:pt x="770" y="688"/>
                  </a:lnTo>
                  <a:lnTo>
                    <a:pt x="772" y="687"/>
                  </a:lnTo>
                  <a:lnTo>
                    <a:pt x="774" y="685"/>
                  </a:lnTo>
                  <a:lnTo>
                    <a:pt x="776" y="683"/>
                  </a:lnTo>
                  <a:lnTo>
                    <a:pt x="778" y="681"/>
                  </a:lnTo>
                  <a:lnTo>
                    <a:pt x="779" y="678"/>
                  </a:lnTo>
                  <a:lnTo>
                    <a:pt x="779" y="675"/>
                  </a:lnTo>
                  <a:lnTo>
                    <a:pt x="779" y="525"/>
                  </a:lnTo>
                  <a:lnTo>
                    <a:pt x="779" y="375"/>
                  </a:lnTo>
                  <a:lnTo>
                    <a:pt x="779" y="225"/>
                  </a:lnTo>
                  <a:lnTo>
                    <a:pt x="779" y="75"/>
                  </a:lnTo>
                  <a:lnTo>
                    <a:pt x="779" y="72"/>
                  </a:lnTo>
                  <a:lnTo>
                    <a:pt x="778" y="69"/>
                  </a:lnTo>
                  <a:lnTo>
                    <a:pt x="776" y="67"/>
                  </a:lnTo>
                  <a:lnTo>
                    <a:pt x="774" y="64"/>
                  </a:lnTo>
                  <a:lnTo>
                    <a:pt x="772" y="62"/>
                  </a:lnTo>
                  <a:lnTo>
                    <a:pt x="770" y="61"/>
                  </a:lnTo>
                  <a:lnTo>
                    <a:pt x="767" y="60"/>
                  </a:lnTo>
                  <a:lnTo>
                    <a:pt x="76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0" name="Group 100">
            <a:extLst>
              <a:ext uri="{FF2B5EF4-FFF2-40B4-BE49-F238E27FC236}">
                <a16:creationId xmlns:a16="http://schemas.microsoft.com/office/drawing/2014/main" id="{2AF3D632-61AC-4999-BDEF-0B785A0F7775}"/>
              </a:ext>
            </a:extLst>
          </p:cNvPr>
          <p:cNvGrpSpPr>
            <a:grpSpLocks noChangeAspect="1"/>
          </p:cNvGrpSpPr>
          <p:nvPr/>
        </p:nvGrpSpPr>
        <p:grpSpPr>
          <a:xfrm>
            <a:off x="7460637" y="3801969"/>
            <a:ext cx="308144" cy="308144"/>
            <a:chOff x="8166100" y="1924050"/>
            <a:chExt cx="285750" cy="285750"/>
          </a:xfrm>
          <a:solidFill>
            <a:schemeClr val="bg1"/>
          </a:solidFill>
        </p:grpSpPr>
        <p:sp>
          <p:nvSpPr>
            <p:cNvPr id="951" name="Freeform 402">
              <a:extLst>
                <a:ext uri="{FF2B5EF4-FFF2-40B4-BE49-F238E27FC236}">
                  <a16:creationId xmlns:a16="http://schemas.microsoft.com/office/drawing/2014/main" id="{EBC1A420-69B5-434F-B61E-6416E6908454}"/>
                </a:ext>
              </a:extLst>
            </p:cNvPr>
            <p:cNvSpPr>
              <a:spLocks/>
            </p:cNvSpPr>
            <p:nvPr/>
          </p:nvSpPr>
          <p:spPr bwMode="auto">
            <a:xfrm>
              <a:off x="8204200" y="1962150"/>
              <a:ext cx="133350" cy="9525"/>
            </a:xfrm>
            <a:custGeom>
              <a:avLst/>
              <a:gdLst>
                <a:gd name="T0" fmla="*/ 405 w 420"/>
                <a:gd name="T1" fmla="*/ 0 h 29"/>
                <a:gd name="T2" fmla="*/ 15 w 420"/>
                <a:gd name="T3" fmla="*/ 0 h 29"/>
                <a:gd name="T4" fmla="*/ 12 w 420"/>
                <a:gd name="T5" fmla="*/ 1 h 29"/>
                <a:gd name="T6" fmla="*/ 10 w 420"/>
                <a:gd name="T7" fmla="*/ 1 h 29"/>
                <a:gd name="T8" fmla="*/ 7 w 420"/>
                <a:gd name="T9" fmla="*/ 3 h 29"/>
                <a:gd name="T10" fmla="*/ 5 w 420"/>
                <a:gd name="T11" fmla="*/ 4 h 29"/>
                <a:gd name="T12" fmla="*/ 3 w 420"/>
                <a:gd name="T13" fmla="*/ 6 h 29"/>
                <a:gd name="T14" fmla="*/ 2 w 420"/>
                <a:gd name="T15" fmla="*/ 9 h 29"/>
                <a:gd name="T16" fmla="*/ 0 w 420"/>
                <a:gd name="T17" fmla="*/ 12 h 29"/>
                <a:gd name="T18" fmla="*/ 0 w 420"/>
                <a:gd name="T19" fmla="*/ 15 h 29"/>
                <a:gd name="T20" fmla="*/ 0 w 420"/>
                <a:gd name="T21" fmla="*/ 18 h 29"/>
                <a:gd name="T22" fmla="*/ 2 w 420"/>
                <a:gd name="T23" fmla="*/ 21 h 29"/>
                <a:gd name="T24" fmla="*/ 3 w 420"/>
                <a:gd name="T25" fmla="*/ 23 h 29"/>
                <a:gd name="T26" fmla="*/ 5 w 420"/>
                <a:gd name="T27" fmla="*/ 25 h 29"/>
                <a:gd name="T28" fmla="*/ 7 w 420"/>
                <a:gd name="T29" fmla="*/ 27 h 29"/>
                <a:gd name="T30" fmla="*/ 9 w 420"/>
                <a:gd name="T31" fmla="*/ 28 h 29"/>
                <a:gd name="T32" fmla="*/ 12 w 420"/>
                <a:gd name="T33" fmla="*/ 29 h 29"/>
                <a:gd name="T34" fmla="*/ 15 w 420"/>
                <a:gd name="T35" fmla="*/ 29 h 29"/>
                <a:gd name="T36" fmla="*/ 405 w 420"/>
                <a:gd name="T37" fmla="*/ 29 h 29"/>
                <a:gd name="T38" fmla="*/ 409 w 420"/>
                <a:gd name="T39" fmla="*/ 29 h 29"/>
                <a:gd name="T40" fmla="*/ 411 w 420"/>
                <a:gd name="T41" fmla="*/ 28 h 29"/>
                <a:gd name="T42" fmla="*/ 414 w 420"/>
                <a:gd name="T43" fmla="*/ 27 h 29"/>
                <a:gd name="T44" fmla="*/ 416 w 420"/>
                <a:gd name="T45" fmla="*/ 25 h 29"/>
                <a:gd name="T46" fmla="*/ 417 w 420"/>
                <a:gd name="T47" fmla="*/ 23 h 29"/>
                <a:gd name="T48" fmla="*/ 419 w 420"/>
                <a:gd name="T49" fmla="*/ 21 h 29"/>
                <a:gd name="T50" fmla="*/ 420 w 420"/>
                <a:gd name="T51" fmla="*/ 18 h 29"/>
                <a:gd name="T52" fmla="*/ 420 w 420"/>
                <a:gd name="T53" fmla="*/ 15 h 29"/>
                <a:gd name="T54" fmla="*/ 420 w 420"/>
                <a:gd name="T55" fmla="*/ 11 h 29"/>
                <a:gd name="T56" fmla="*/ 419 w 420"/>
                <a:gd name="T57" fmla="*/ 9 h 29"/>
                <a:gd name="T58" fmla="*/ 417 w 420"/>
                <a:gd name="T59" fmla="*/ 6 h 29"/>
                <a:gd name="T60" fmla="*/ 416 w 420"/>
                <a:gd name="T61" fmla="*/ 4 h 29"/>
                <a:gd name="T62" fmla="*/ 414 w 420"/>
                <a:gd name="T63" fmla="*/ 3 h 29"/>
                <a:gd name="T64" fmla="*/ 411 w 420"/>
                <a:gd name="T65" fmla="*/ 1 h 29"/>
                <a:gd name="T66" fmla="*/ 409 w 420"/>
                <a:gd name="T67" fmla="*/ 1 h 29"/>
                <a:gd name="T68" fmla="*/ 405 w 420"/>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29">
                  <a:moveTo>
                    <a:pt x="405" y="0"/>
                  </a:moveTo>
                  <a:lnTo>
                    <a:pt x="15" y="0"/>
                  </a:lnTo>
                  <a:lnTo>
                    <a:pt x="12" y="1"/>
                  </a:lnTo>
                  <a:lnTo>
                    <a:pt x="10" y="1"/>
                  </a:lnTo>
                  <a:lnTo>
                    <a:pt x="7" y="3"/>
                  </a:lnTo>
                  <a:lnTo>
                    <a:pt x="5" y="4"/>
                  </a:lnTo>
                  <a:lnTo>
                    <a:pt x="3" y="6"/>
                  </a:lnTo>
                  <a:lnTo>
                    <a:pt x="2" y="9"/>
                  </a:lnTo>
                  <a:lnTo>
                    <a:pt x="0" y="12"/>
                  </a:lnTo>
                  <a:lnTo>
                    <a:pt x="0" y="15"/>
                  </a:lnTo>
                  <a:lnTo>
                    <a:pt x="0" y="18"/>
                  </a:lnTo>
                  <a:lnTo>
                    <a:pt x="2" y="21"/>
                  </a:lnTo>
                  <a:lnTo>
                    <a:pt x="3" y="23"/>
                  </a:lnTo>
                  <a:lnTo>
                    <a:pt x="5" y="25"/>
                  </a:lnTo>
                  <a:lnTo>
                    <a:pt x="7" y="27"/>
                  </a:lnTo>
                  <a:lnTo>
                    <a:pt x="9" y="28"/>
                  </a:lnTo>
                  <a:lnTo>
                    <a:pt x="12" y="29"/>
                  </a:lnTo>
                  <a:lnTo>
                    <a:pt x="15" y="29"/>
                  </a:lnTo>
                  <a:lnTo>
                    <a:pt x="405" y="29"/>
                  </a:lnTo>
                  <a:lnTo>
                    <a:pt x="409" y="29"/>
                  </a:lnTo>
                  <a:lnTo>
                    <a:pt x="411" y="28"/>
                  </a:lnTo>
                  <a:lnTo>
                    <a:pt x="414" y="27"/>
                  </a:lnTo>
                  <a:lnTo>
                    <a:pt x="416" y="25"/>
                  </a:lnTo>
                  <a:lnTo>
                    <a:pt x="417" y="23"/>
                  </a:lnTo>
                  <a:lnTo>
                    <a:pt x="419" y="21"/>
                  </a:lnTo>
                  <a:lnTo>
                    <a:pt x="420" y="18"/>
                  </a:lnTo>
                  <a:lnTo>
                    <a:pt x="420" y="15"/>
                  </a:lnTo>
                  <a:lnTo>
                    <a:pt x="420" y="11"/>
                  </a:lnTo>
                  <a:lnTo>
                    <a:pt x="419" y="9"/>
                  </a:lnTo>
                  <a:lnTo>
                    <a:pt x="417" y="6"/>
                  </a:lnTo>
                  <a:lnTo>
                    <a:pt x="416" y="4"/>
                  </a:lnTo>
                  <a:lnTo>
                    <a:pt x="414" y="3"/>
                  </a:lnTo>
                  <a:lnTo>
                    <a:pt x="411" y="1"/>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403">
              <a:extLst>
                <a:ext uri="{FF2B5EF4-FFF2-40B4-BE49-F238E27FC236}">
                  <a16:creationId xmlns:a16="http://schemas.microsoft.com/office/drawing/2014/main" id="{83682441-7334-4D29-B54E-012B1C310BCF}"/>
                </a:ext>
              </a:extLst>
            </p:cNvPr>
            <p:cNvSpPr>
              <a:spLocks noEditPoints="1"/>
            </p:cNvSpPr>
            <p:nvPr/>
          </p:nvSpPr>
          <p:spPr bwMode="auto">
            <a:xfrm>
              <a:off x="8204200" y="1990725"/>
              <a:ext cx="76200" cy="85725"/>
            </a:xfrm>
            <a:custGeom>
              <a:avLst/>
              <a:gdLst>
                <a:gd name="T0" fmla="*/ 30 w 240"/>
                <a:gd name="T1" fmla="*/ 31 h 271"/>
                <a:gd name="T2" fmla="*/ 210 w 240"/>
                <a:gd name="T3" fmla="*/ 31 h 271"/>
                <a:gd name="T4" fmla="*/ 210 w 240"/>
                <a:gd name="T5" fmla="*/ 241 h 271"/>
                <a:gd name="T6" fmla="*/ 30 w 240"/>
                <a:gd name="T7" fmla="*/ 241 h 271"/>
                <a:gd name="T8" fmla="*/ 30 w 240"/>
                <a:gd name="T9" fmla="*/ 31 h 271"/>
                <a:gd name="T10" fmla="*/ 15 w 240"/>
                <a:gd name="T11" fmla="*/ 271 h 271"/>
                <a:gd name="T12" fmla="*/ 225 w 240"/>
                <a:gd name="T13" fmla="*/ 271 h 271"/>
                <a:gd name="T14" fmla="*/ 228 w 240"/>
                <a:gd name="T15" fmla="*/ 271 h 271"/>
                <a:gd name="T16" fmla="*/ 231 w 240"/>
                <a:gd name="T17" fmla="*/ 270 h 271"/>
                <a:gd name="T18" fmla="*/ 233 w 240"/>
                <a:gd name="T19" fmla="*/ 268 h 271"/>
                <a:gd name="T20" fmla="*/ 236 w 240"/>
                <a:gd name="T21" fmla="*/ 266 h 271"/>
                <a:gd name="T22" fmla="*/ 238 w 240"/>
                <a:gd name="T23" fmla="*/ 264 h 271"/>
                <a:gd name="T24" fmla="*/ 239 w 240"/>
                <a:gd name="T25" fmla="*/ 262 h 271"/>
                <a:gd name="T26" fmla="*/ 240 w 240"/>
                <a:gd name="T27" fmla="*/ 259 h 271"/>
                <a:gd name="T28" fmla="*/ 240 w 240"/>
                <a:gd name="T29" fmla="*/ 256 h 271"/>
                <a:gd name="T30" fmla="*/ 240 w 240"/>
                <a:gd name="T31" fmla="*/ 16 h 271"/>
                <a:gd name="T32" fmla="*/ 240 w 240"/>
                <a:gd name="T33" fmla="*/ 13 h 271"/>
                <a:gd name="T34" fmla="*/ 239 w 240"/>
                <a:gd name="T35" fmla="*/ 10 h 271"/>
                <a:gd name="T36" fmla="*/ 238 w 240"/>
                <a:gd name="T37" fmla="*/ 8 h 271"/>
                <a:gd name="T38" fmla="*/ 236 w 240"/>
                <a:gd name="T39" fmla="*/ 6 h 271"/>
                <a:gd name="T40" fmla="*/ 233 w 240"/>
                <a:gd name="T41" fmla="*/ 4 h 271"/>
                <a:gd name="T42" fmla="*/ 231 w 240"/>
                <a:gd name="T43" fmla="*/ 2 h 271"/>
                <a:gd name="T44" fmla="*/ 228 w 240"/>
                <a:gd name="T45" fmla="*/ 1 h 271"/>
                <a:gd name="T46" fmla="*/ 225 w 240"/>
                <a:gd name="T47" fmla="*/ 0 h 271"/>
                <a:gd name="T48" fmla="*/ 15 w 240"/>
                <a:gd name="T49" fmla="*/ 0 h 271"/>
                <a:gd name="T50" fmla="*/ 12 w 240"/>
                <a:gd name="T51" fmla="*/ 1 h 271"/>
                <a:gd name="T52" fmla="*/ 10 w 240"/>
                <a:gd name="T53" fmla="*/ 2 h 271"/>
                <a:gd name="T54" fmla="*/ 7 w 240"/>
                <a:gd name="T55" fmla="*/ 4 h 271"/>
                <a:gd name="T56" fmla="*/ 5 w 240"/>
                <a:gd name="T57" fmla="*/ 6 h 271"/>
                <a:gd name="T58" fmla="*/ 3 w 240"/>
                <a:gd name="T59" fmla="*/ 8 h 271"/>
                <a:gd name="T60" fmla="*/ 2 w 240"/>
                <a:gd name="T61" fmla="*/ 10 h 271"/>
                <a:gd name="T62" fmla="*/ 0 w 240"/>
                <a:gd name="T63" fmla="*/ 13 h 271"/>
                <a:gd name="T64" fmla="*/ 0 w 240"/>
                <a:gd name="T65" fmla="*/ 16 h 271"/>
                <a:gd name="T66" fmla="*/ 0 w 240"/>
                <a:gd name="T67" fmla="*/ 256 h 271"/>
                <a:gd name="T68" fmla="*/ 0 w 240"/>
                <a:gd name="T69" fmla="*/ 259 h 271"/>
                <a:gd name="T70" fmla="*/ 2 w 240"/>
                <a:gd name="T71" fmla="*/ 262 h 271"/>
                <a:gd name="T72" fmla="*/ 3 w 240"/>
                <a:gd name="T73" fmla="*/ 264 h 271"/>
                <a:gd name="T74" fmla="*/ 5 w 240"/>
                <a:gd name="T75" fmla="*/ 266 h 271"/>
                <a:gd name="T76" fmla="*/ 7 w 240"/>
                <a:gd name="T77" fmla="*/ 268 h 271"/>
                <a:gd name="T78" fmla="*/ 9 w 240"/>
                <a:gd name="T79" fmla="*/ 270 h 271"/>
                <a:gd name="T80" fmla="*/ 12 w 240"/>
                <a:gd name="T81" fmla="*/ 271 h 271"/>
                <a:gd name="T82" fmla="*/ 15 w 240"/>
                <a:gd name="T83" fmla="*/ 271 h 271"/>
                <a:gd name="T84" fmla="*/ 15 w 240"/>
                <a:gd name="T85"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71">
                  <a:moveTo>
                    <a:pt x="30" y="31"/>
                  </a:moveTo>
                  <a:lnTo>
                    <a:pt x="210" y="31"/>
                  </a:lnTo>
                  <a:lnTo>
                    <a:pt x="210" y="241"/>
                  </a:lnTo>
                  <a:lnTo>
                    <a:pt x="30" y="241"/>
                  </a:lnTo>
                  <a:lnTo>
                    <a:pt x="30" y="31"/>
                  </a:lnTo>
                  <a:close/>
                  <a:moveTo>
                    <a:pt x="15" y="271"/>
                  </a:moveTo>
                  <a:lnTo>
                    <a:pt x="225" y="271"/>
                  </a:lnTo>
                  <a:lnTo>
                    <a:pt x="228" y="271"/>
                  </a:lnTo>
                  <a:lnTo>
                    <a:pt x="231" y="270"/>
                  </a:lnTo>
                  <a:lnTo>
                    <a:pt x="233" y="268"/>
                  </a:lnTo>
                  <a:lnTo>
                    <a:pt x="236" y="266"/>
                  </a:lnTo>
                  <a:lnTo>
                    <a:pt x="238" y="264"/>
                  </a:lnTo>
                  <a:lnTo>
                    <a:pt x="239" y="262"/>
                  </a:lnTo>
                  <a:lnTo>
                    <a:pt x="240" y="259"/>
                  </a:lnTo>
                  <a:lnTo>
                    <a:pt x="240" y="256"/>
                  </a:lnTo>
                  <a:lnTo>
                    <a:pt x="240" y="16"/>
                  </a:lnTo>
                  <a:lnTo>
                    <a:pt x="240" y="13"/>
                  </a:lnTo>
                  <a:lnTo>
                    <a:pt x="239" y="10"/>
                  </a:lnTo>
                  <a:lnTo>
                    <a:pt x="238" y="8"/>
                  </a:lnTo>
                  <a:lnTo>
                    <a:pt x="236" y="6"/>
                  </a:lnTo>
                  <a:lnTo>
                    <a:pt x="233" y="4"/>
                  </a:lnTo>
                  <a:lnTo>
                    <a:pt x="231" y="2"/>
                  </a:lnTo>
                  <a:lnTo>
                    <a:pt x="228" y="1"/>
                  </a:lnTo>
                  <a:lnTo>
                    <a:pt x="225" y="0"/>
                  </a:lnTo>
                  <a:lnTo>
                    <a:pt x="15" y="0"/>
                  </a:lnTo>
                  <a:lnTo>
                    <a:pt x="12" y="1"/>
                  </a:lnTo>
                  <a:lnTo>
                    <a:pt x="10" y="2"/>
                  </a:lnTo>
                  <a:lnTo>
                    <a:pt x="7" y="4"/>
                  </a:lnTo>
                  <a:lnTo>
                    <a:pt x="5" y="6"/>
                  </a:lnTo>
                  <a:lnTo>
                    <a:pt x="3" y="8"/>
                  </a:lnTo>
                  <a:lnTo>
                    <a:pt x="2" y="10"/>
                  </a:lnTo>
                  <a:lnTo>
                    <a:pt x="0" y="13"/>
                  </a:lnTo>
                  <a:lnTo>
                    <a:pt x="0" y="16"/>
                  </a:lnTo>
                  <a:lnTo>
                    <a:pt x="0" y="256"/>
                  </a:lnTo>
                  <a:lnTo>
                    <a:pt x="0" y="259"/>
                  </a:lnTo>
                  <a:lnTo>
                    <a:pt x="2" y="262"/>
                  </a:lnTo>
                  <a:lnTo>
                    <a:pt x="3" y="264"/>
                  </a:lnTo>
                  <a:lnTo>
                    <a:pt x="5" y="266"/>
                  </a:lnTo>
                  <a:lnTo>
                    <a:pt x="7" y="268"/>
                  </a:lnTo>
                  <a:lnTo>
                    <a:pt x="9" y="270"/>
                  </a:lnTo>
                  <a:lnTo>
                    <a:pt x="12" y="271"/>
                  </a:lnTo>
                  <a:lnTo>
                    <a:pt x="15" y="271"/>
                  </a:lnTo>
                  <a:lnTo>
                    <a:pt x="1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404">
              <a:extLst>
                <a:ext uri="{FF2B5EF4-FFF2-40B4-BE49-F238E27FC236}">
                  <a16:creationId xmlns:a16="http://schemas.microsoft.com/office/drawing/2014/main" id="{9EB07230-B297-41A3-B386-3686ED47D760}"/>
                </a:ext>
              </a:extLst>
            </p:cNvPr>
            <p:cNvSpPr>
              <a:spLocks/>
            </p:cNvSpPr>
            <p:nvPr/>
          </p:nvSpPr>
          <p:spPr bwMode="auto">
            <a:xfrm>
              <a:off x="8299450" y="2009775"/>
              <a:ext cx="38100" cy="9525"/>
            </a:xfrm>
            <a:custGeom>
              <a:avLst/>
              <a:gdLst>
                <a:gd name="T0" fmla="*/ 104 w 119"/>
                <a:gd name="T1" fmla="*/ 0 h 30"/>
                <a:gd name="T2" fmla="*/ 15 w 119"/>
                <a:gd name="T3" fmla="*/ 0 h 30"/>
                <a:gd name="T4" fmla="*/ 11 w 119"/>
                <a:gd name="T5" fmla="*/ 0 h 30"/>
                <a:gd name="T6" fmla="*/ 8 w 119"/>
                <a:gd name="T7" fmla="*/ 1 h 30"/>
                <a:gd name="T8" fmla="*/ 6 w 119"/>
                <a:gd name="T9" fmla="*/ 2 h 30"/>
                <a:gd name="T10" fmla="*/ 4 w 119"/>
                <a:gd name="T11" fmla="*/ 4 h 30"/>
                <a:gd name="T12" fmla="*/ 2 w 119"/>
                <a:gd name="T13" fmla="*/ 7 h 30"/>
                <a:gd name="T14" fmla="*/ 1 w 119"/>
                <a:gd name="T15" fmla="*/ 9 h 30"/>
                <a:gd name="T16" fmla="*/ 0 w 119"/>
                <a:gd name="T17" fmla="*/ 12 h 30"/>
                <a:gd name="T18" fmla="*/ 0 w 119"/>
                <a:gd name="T19" fmla="*/ 15 h 30"/>
                <a:gd name="T20" fmla="*/ 0 w 119"/>
                <a:gd name="T21" fmla="*/ 17 h 30"/>
                <a:gd name="T22" fmla="*/ 1 w 119"/>
                <a:gd name="T23" fmla="*/ 21 h 30"/>
                <a:gd name="T24" fmla="*/ 2 w 119"/>
                <a:gd name="T25" fmla="*/ 24 h 30"/>
                <a:gd name="T26" fmla="*/ 4 w 119"/>
                <a:gd name="T27" fmla="*/ 26 h 30"/>
                <a:gd name="T28" fmla="*/ 6 w 119"/>
                <a:gd name="T29" fmla="*/ 27 h 30"/>
                <a:gd name="T30" fmla="*/ 8 w 119"/>
                <a:gd name="T31" fmla="*/ 29 h 30"/>
                <a:gd name="T32" fmla="*/ 11 w 119"/>
                <a:gd name="T33" fmla="*/ 29 h 30"/>
                <a:gd name="T34" fmla="*/ 15 w 119"/>
                <a:gd name="T35" fmla="*/ 30 h 30"/>
                <a:gd name="T36" fmla="*/ 104 w 119"/>
                <a:gd name="T37" fmla="*/ 30 h 30"/>
                <a:gd name="T38" fmla="*/ 108 w 119"/>
                <a:gd name="T39" fmla="*/ 29 h 30"/>
                <a:gd name="T40" fmla="*/ 110 w 119"/>
                <a:gd name="T41" fmla="*/ 29 h 30"/>
                <a:gd name="T42" fmla="*/ 113 w 119"/>
                <a:gd name="T43" fmla="*/ 27 h 30"/>
                <a:gd name="T44" fmla="*/ 115 w 119"/>
                <a:gd name="T45" fmla="*/ 26 h 30"/>
                <a:gd name="T46" fmla="*/ 116 w 119"/>
                <a:gd name="T47" fmla="*/ 24 h 30"/>
                <a:gd name="T48" fmla="*/ 118 w 119"/>
                <a:gd name="T49" fmla="*/ 21 h 30"/>
                <a:gd name="T50" fmla="*/ 119 w 119"/>
                <a:gd name="T51" fmla="*/ 17 h 30"/>
                <a:gd name="T52" fmla="*/ 119 w 119"/>
                <a:gd name="T53" fmla="*/ 15 h 30"/>
                <a:gd name="T54" fmla="*/ 119 w 119"/>
                <a:gd name="T55" fmla="*/ 12 h 30"/>
                <a:gd name="T56" fmla="*/ 118 w 119"/>
                <a:gd name="T57" fmla="*/ 9 h 30"/>
                <a:gd name="T58" fmla="*/ 116 w 119"/>
                <a:gd name="T59" fmla="*/ 7 h 30"/>
                <a:gd name="T60" fmla="*/ 115 w 119"/>
                <a:gd name="T61" fmla="*/ 4 h 30"/>
                <a:gd name="T62" fmla="*/ 113 w 119"/>
                <a:gd name="T63" fmla="*/ 2 h 30"/>
                <a:gd name="T64" fmla="*/ 110 w 119"/>
                <a:gd name="T65" fmla="*/ 1 h 30"/>
                <a:gd name="T66" fmla="*/ 108 w 119"/>
                <a:gd name="T67" fmla="*/ 0 h 30"/>
                <a:gd name="T68" fmla="*/ 104 w 11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 h="30">
                  <a:moveTo>
                    <a:pt x="104" y="0"/>
                  </a:moveTo>
                  <a:lnTo>
                    <a:pt x="15" y="0"/>
                  </a:lnTo>
                  <a:lnTo>
                    <a:pt x="11" y="0"/>
                  </a:lnTo>
                  <a:lnTo>
                    <a:pt x="8" y="1"/>
                  </a:lnTo>
                  <a:lnTo>
                    <a:pt x="6" y="2"/>
                  </a:lnTo>
                  <a:lnTo>
                    <a:pt x="4" y="4"/>
                  </a:lnTo>
                  <a:lnTo>
                    <a:pt x="2" y="7"/>
                  </a:lnTo>
                  <a:lnTo>
                    <a:pt x="1" y="9"/>
                  </a:lnTo>
                  <a:lnTo>
                    <a:pt x="0" y="12"/>
                  </a:lnTo>
                  <a:lnTo>
                    <a:pt x="0" y="15"/>
                  </a:lnTo>
                  <a:lnTo>
                    <a:pt x="0" y="17"/>
                  </a:lnTo>
                  <a:lnTo>
                    <a:pt x="1" y="21"/>
                  </a:lnTo>
                  <a:lnTo>
                    <a:pt x="2" y="24"/>
                  </a:lnTo>
                  <a:lnTo>
                    <a:pt x="4" y="26"/>
                  </a:lnTo>
                  <a:lnTo>
                    <a:pt x="6" y="27"/>
                  </a:lnTo>
                  <a:lnTo>
                    <a:pt x="8" y="29"/>
                  </a:lnTo>
                  <a:lnTo>
                    <a:pt x="11" y="29"/>
                  </a:lnTo>
                  <a:lnTo>
                    <a:pt x="15" y="30"/>
                  </a:lnTo>
                  <a:lnTo>
                    <a:pt x="104" y="30"/>
                  </a:lnTo>
                  <a:lnTo>
                    <a:pt x="108" y="29"/>
                  </a:lnTo>
                  <a:lnTo>
                    <a:pt x="110" y="29"/>
                  </a:lnTo>
                  <a:lnTo>
                    <a:pt x="113" y="27"/>
                  </a:lnTo>
                  <a:lnTo>
                    <a:pt x="115" y="26"/>
                  </a:lnTo>
                  <a:lnTo>
                    <a:pt x="116" y="24"/>
                  </a:lnTo>
                  <a:lnTo>
                    <a:pt x="118" y="21"/>
                  </a:lnTo>
                  <a:lnTo>
                    <a:pt x="119" y="17"/>
                  </a:lnTo>
                  <a:lnTo>
                    <a:pt x="119" y="15"/>
                  </a:lnTo>
                  <a:lnTo>
                    <a:pt x="119" y="12"/>
                  </a:lnTo>
                  <a:lnTo>
                    <a:pt x="118" y="9"/>
                  </a:lnTo>
                  <a:lnTo>
                    <a:pt x="116" y="7"/>
                  </a:lnTo>
                  <a:lnTo>
                    <a:pt x="115" y="4"/>
                  </a:lnTo>
                  <a:lnTo>
                    <a:pt x="113" y="2"/>
                  </a:lnTo>
                  <a:lnTo>
                    <a:pt x="110" y="1"/>
                  </a:lnTo>
                  <a:lnTo>
                    <a:pt x="108" y="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405">
              <a:extLst>
                <a:ext uri="{FF2B5EF4-FFF2-40B4-BE49-F238E27FC236}">
                  <a16:creationId xmlns:a16="http://schemas.microsoft.com/office/drawing/2014/main" id="{800A31C3-9450-42AE-975D-E3CEB57B9003}"/>
                </a:ext>
              </a:extLst>
            </p:cNvPr>
            <p:cNvSpPr>
              <a:spLocks/>
            </p:cNvSpPr>
            <p:nvPr/>
          </p:nvSpPr>
          <p:spPr bwMode="auto">
            <a:xfrm>
              <a:off x="8289925" y="202882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2 h 30"/>
                <a:gd name="T18" fmla="*/ 0 w 149"/>
                <a:gd name="T19" fmla="*/ 15 h 30"/>
                <a:gd name="T20" fmla="*/ 0 w 149"/>
                <a:gd name="T21" fmla="*/ 18 h 30"/>
                <a:gd name="T22" fmla="*/ 1 w 149"/>
                <a:gd name="T23" fmla="*/ 20 h 30"/>
                <a:gd name="T24" fmla="*/ 2 w 149"/>
                <a:gd name="T25" fmla="*/ 24 h 30"/>
                <a:gd name="T26" fmla="*/ 4 w 149"/>
                <a:gd name="T27" fmla="*/ 26 h 30"/>
                <a:gd name="T28" fmla="*/ 6 w 149"/>
                <a:gd name="T29" fmla="*/ 27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7 h 30"/>
                <a:gd name="T44" fmla="*/ 145 w 149"/>
                <a:gd name="T45" fmla="*/ 26 h 30"/>
                <a:gd name="T46" fmla="*/ 146 w 149"/>
                <a:gd name="T47" fmla="*/ 24 h 30"/>
                <a:gd name="T48" fmla="*/ 148 w 149"/>
                <a:gd name="T49" fmla="*/ 20 h 30"/>
                <a:gd name="T50" fmla="*/ 149 w 149"/>
                <a:gd name="T51" fmla="*/ 18 h 30"/>
                <a:gd name="T52" fmla="*/ 149 w 149"/>
                <a:gd name="T53" fmla="*/ 15 h 30"/>
                <a:gd name="T54" fmla="*/ 149 w 149"/>
                <a:gd name="T55" fmla="*/ 12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7"/>
                  </a:lnTo>
                  <a:lnTo>
                    <a:pt x="8" y="29"/>
                  </a:lnTo>
                  <a:lnTo>
                    <a:pt x="12" y="30"/>
                  </a:lnTo>
                  <a:lnTo>
                    <a:pt x="15" y="30"/>
                  </a:lnTo>
                  <a:lnTo>
                    <a:pt x="134" y="30"/>
                  </a:lnTo>
                  <a:lnTo>
                    <a:pt x="138" y="30"/>
                  </a:lnTo>
                  <a:lnTo>
                    <a:pt x="140" y="29"/>
                  </a:lnTo>
                  <a:lnTo>
                    <a:pt x="143" y="27"/>
                  </a:lnTo>
                  <a:lnTo>
                    <a:pt x="145" y="26"/>
                  </a:lnTo>
                  <a:lnTo>
                    <a:pt x="146" y="24"/>
                  </a:lnTo>
                  <a:lnTo>
                    <a:pt x="148" y="20"/>
                  </a:lnTo>
                  <a:lnTo>
                    <a:pt x="149" y="18"/>
                  </a:lnTo>
                  <a:lnTo>
                    <a:pt x="149" y="15"/>
                  </a:lnTo>
                  <a:lnTo>
                    <a:pt x="149" y="12"/>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406">
              <a:extLst>
                <a:ext uri="{FF2B5EF4-FFF2-40B4-BE49-F238E27FC236}">
                  <a16:creationId xmlns:a16="http://schemas.microsoft.com/office/drawing/2014/main" id="{31E233B0-657C-4B9C-A6FD-62D82054AD0E}"/>
                </a:ext>
              </a:extLst>
            </p:cNvPr>
            <p:cNvSpPr>
              <a:spLocks/>
            </p:cNvSpPr>
            <p:nvPr/>
          </p:nvSpPr>
          <p:spPr bwMode="auto">
            <a:xfrm>
              <a:off x="8289925" y="204787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2 h 30"/>
                <a:gd name="T18" fmla="*/ 0 w 149"/>
                <a:gd name="T19" fmla="*/ 15 h 30"/>
                <a:gd name="T20" fmla="*/ 0 w 149"/>
                <a:gd name="T21" fmla="*/ 18 h 30"/>
                <a:gd name="T22" fmla="*/ 1 w 149"/>
                <a:gd name="T23" fmla="*/ 20 h 30"/>
                <a:gd name="T24" fmla="*/ 2 w 149"/>
                <a:gd name="T25" fmla="*/ 23 h 30"/>
                <a:gd name="T26" fmla="*/ 4 w 149"/>
                <a:gd name="T27" fmla="*/ 26 h 30"/>
                <a:gd name="T28" fmla="*/ 6 w 149"/>
                <a:gd name="T29" fmla="*/ 28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8 h 30"/>
                <a:gd name="T44" fmla="*/ 145 w 149"/>
                <a:gd name="T45" fmla="*/ 26 h 30"/>
                <a:gd name="T46" fmla="*/ 146 w 149"/>
                <a:gd name="T47" fmla="*/ 23 h 30"/>
                <a:gd name="T48" fmla="*/ 148 w 149"/>
                <a:gd name="T49" fmla="*/ 20 h 30"/>
                <a:gd name="T50" fmla="*/ 149 w 149"/>
                <a:gd name="T51" fmla="*/ 18 h 30"/>
                <a:gd name="T52" fmla="*/ 149 w 149"/>
                <a:gd name="T53" fmla="*/ 15 h 30"/>
                <a:gd name="T54" fmla="*/ 149 w 149"/>
                <a:gd name="T55" fmla="*/ 12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2"/>
                  </a:lnTo>
                  <a:lnTo>
                    <a:pt x="0" y="15"/>
                  </a:lnTo>
                  <a:lnTo>
                    <a:pt x="0" y="18"/>
                  </a:lnTo>
                  <a:lnTo>
                    <a:pt x="1" y="20"/>
                  </a:lnTo>
                  <a:lnTo>
                    <a:pt x="2" y="23"/>
                  </a:lnTo>
                  <a:lnTo>
                    <a:pt x="4" y="26"/>
                  </a:lnTo>
                  <a:lnTo>
                    <a:pt x="6" y="28"/>
                  </a:lnTo>
                  <a:lnTo>
                    <a:pt x="8" y="29"/>
                  </a:lnTo>
                  <a:lnTo>
                    <a:pt x="12" y="30"/>
                  </a:lnTo>
                  <a:lnTo>
                    <a:pt x="15" y="30"/>
                  </a:lnTo>
                  <a:lnTo>
                    <a:pt x="134" y="30"/>
                  </a:lnTo>
                  <a:lnTo>
                    <a:pt x="138" y="30"/>
                  </a:lnTo>
                  <a:lnTo>
                    <a:pt x="140" y="29"/>
                  </a:lnTo>
                  <a:lnTo>
                    <a:pt x="143" y="28"/>
                  </a:lnTo>
                  <a:lnTo>
                    <a:pt x="145" y="26"/>
                  </a:lnTo>
                  <a:lnTo>
                    <a:pt x="146" y="23"/>
                  </a:lnTo>
                  <a:lnTo>
                    <a:pt x="148" y="20"/>
                  </a:lnTo>
                  <a:lnTo>
                    <a:pt x="149" y="18"/>
                  </a:lnTo>
                  <a:lnTo>
                    <a:pt x="149" y="15"/>
                  </a:lnTo>
                  <a:lnTo>
                    <a:pt x="149" y="12"/>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407">
              <a:extLst>
                <a:ext uri="{FF2B5EF4-FFF2-40B4-BE49-F238E27FC236}">
                  <a16:creationId xmlns:a16="http://schemas.microsoft.com/office/drawing/2014/main" id="{9DC7BFB5-DB4A-4654-8F18-981B4BCBAA83}"/>
                </a:ext>
              </a:extLst>
            </p:cNvPr>
            <p:cNvSpPr>
              <a:spLocks/>
            </p:cNvSpPr>
            <p:nvPr/>
          </p:nvSpPr>
          <p:spPr bwMode="auto">
            <a:xfrm>
              <a:off x="8289925" y="2066925"/>
              <a:ext cx="47625" cy="9525"/>
            </a:xfrm>
            <a:custGeom>
              <a:avLst/>
              <a:gdLst>
                <a:gd name="T0" fmla="*/ 134 w 149"/>
                <a:gd name="T1" fmla="*/ 0 h 30"/>
                <a:gd name="T2" fmla="*/ 15 w 149"/>
                <a:gd name="T3" fmla="*/ 0 h 30"/>
                <a:gd name="T4" fmla="*/ 12 w 149"/>
                <a:gd name="T5" fmla="*/ 0 h 30"/>
                <a:gd name="T6" fmla="*/ 8 w 149"/>
                <a:gd name="T7" fmla="*/ 1 h 30"/>
                <a:gd name="T8" fmla="*/ 6 w 149"/>
                <a:gd name="T9" fmla="*/ 2 h 30"/>
                <a:gd name="T10" fmla="*/ 4 w 149"/>
                <a:gd name="T11" fmla="*/ 4 h 30"/>
                <a:gd name="T12" fmla="*/ 2 w 149"/>
                <a:gd name="T13" fmla="*/ 6 h 30"/>
                <a:gd name="T14" fmla="*/ 1 w 149"/>
                <a:gd name="T15" fmla="*/ 9 h 30"/>
                <a:gd name="T16" fmla="*/ 0 w 149"/>
                <a:gd name="T17" fmla="*/ 11 h 30"/>
                <a:gd name="T18" fmla="*/ 0 w 149"/>
                <a:gd name="T19" fmla="*/ 15 h 30"/>
                <a:gd name="T20" fmla="*/ 0 w 149"/>
                <a:gd name="T21" fmla="*/ 18 h 30"/>
                <a:gd name="T22" fmla="*/ 1 w 149"/>
                <a:gd name="T23" fmla="*/ 21 h 30"/>
                <a:gd name="T24" fmla="*/ 2 w 149"/>
                <a:gd name="T25" fmla="*/ 23 h 30"/>
                <a:gd name="T26" fmla="*/ 4 w 149"/>
                <a:gd name="T27" fmla="*/ 25 h 30"/>
                <a:gd name="T28" fmla="*/ 6 w 149"/>
                <a:gd name="T29" fmla="*/ 27 h 30"/>
                <a:gd name="T30" fmla="*/ 8 w 149"/>
                <a:gd name="T31" fmla="*/ 29 h 30"/>
                <a:gd name="T32" fmla="*/ 12 w 149"/>
                <a:gd name="T33" fmla="*/ 30 h 30"/>
                <a:gd name="T34" fmla="*/ 15 w 149"/>
                <a:gd name="T35" fmla="*/ 30 h 30"/>
                <a:gd name="T36" fmla="*/ 134 w 149"/>
                <a:gd name="T37" fmla="*/ 30 h 30"/>
                <a:gd name="T38" fmla="*/ 138 w 149"/>
                <a:gd name="T39" fmla="*/ 30 h 30"/>
                <a:gd name="T40" fmla="*/ 140 w 149"/>
                <a:gd name="T41" fmla="*/ 29 h 30"/>
                <a:gd name="T42" fmla="*/ 143 w 149"/>
                <a:gd name="T43" fmla="*/ 27 h 30"/>
                <a:gd name="T44" fmla="*/ 145 w 149"/>
                <a:gd name="T45" fmla="*/ 25 h 30"/>
                <a:gd name="T46" fmla="*/ 146 w 149"/>
                <a:gd name="T47" fmla="*/ 23 h 30"/>
                <a:gd name="T48" fmla="*/ 148 w 149"/>
                <a:gd name="T49" fmla="*/ 21 h 30"/>
                <a:gd name="T50" fmla="*/ 149 w 149"/>
                <a:gd name="T51" fmla="*/ 18 h 30"/>
                <a:gd name="T52" fmla="*/ 149 w 149"/>
                <a:gd name="T53" fmla="*/ 15 h 30"/>
                <a:gd name="T54" fmla="*/ 149 w 149"/>
                <a:gd name="T55" fmla="*/ 11 h 30"/>
                <a:gd name="T56" fmla="*/ 148 w 149"/>
                <a:gd name="T57" fmla="*/ 9 h 30"/>
                <a:gd name="T58" fmla="*/ 146 w 149"/>
                <a:gd name="T59" fmla="*/ 6 h 30"/>
                <a:gd name="T60" fmla="*/ 145 w 149"/>
                <a:gd name="T61" fmla="*/ 4 h 30"/>
                <a:gd name="T62" fmla="*/ 143 w 149"/>
                <a:gd name="T63" fmla="*/ 2 h 30"/>
                <a:gd name="T64" fmla="*/ 140 w 149"/>
                <a:gd name="T65" fmla="*/ 1 h 30"/>
                <a:gd name="T66" fmla="*/ 138 w 149"/>
                <a:gd name="T67" fmla="*/ 0 h 30"/>
                <a:gd name="T68" fmla="*/ 134 w 149"/>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30">
                  <a:moveTo>
                    <a:pt x="134" y="0"/>
                  </a:moveTo>
                  <a:lnTo>
                    <a:pt x="15" y="0"/>
                  </a:ln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34" y="30"/>
                  </a:lnTo>
                  <a:lnTo>
                    <a:pt x="138" y="30"/>
                  </a:lnTo>
                  <a:lnTo>
                    <a:pt x="140" y="29"/>
                  </a:lnTo>
                  <a:lnTo>
                    <a:pt x="143" y="27"/>
                  </a:lnTo>
                  <a:lnTo>
                    <a:pt x="145" y="25"/>
                  </a:lnTo>
                  <a:lnTo>
                    <a:pt x="146" y="23"/>
                  </a:lnTo>
                  <a:lnTo>
                    <a:pt x="148" y="21"/>
                  </a:lnTo>
                  <a:lnTo>
                    <a:pt x="149" y="18"/>
                  </a:lnTo>
                  <a:lnTo>
                    <a:pt x="149" y="15"/>
                  </a:lnTo>
                  <a:lnTo>
                    <a:pt x="149" y="11"/>
                  </a:lnTo>
                  <a:lnTo>
                    <a:pt x="148" y="9"/>
                  </a:lnTo>
                  <a:lnTo>
                    <a:pt x="146" y="6"/>
                  </a:lnTo>
                  <a:lnTo>
                    <a:pt x="145" y="4"/>
                  </a:lnTo>
                  <a:lnTo>
                    <a:pt x="143" y="2"/>
                  </a:lnTo>
                  <a:lnTo>
                    <a:pt x="140" y="1"/>
                  </a:lnTo>
                  <a:lnTo>
                    <a:pt x="138"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408">
              <a:extLst>
                <a:ext uri="{FF2B5EF4-FFF2-40B4-BE49-F238E27FC236}">
                  <a16:creationId xmlns:a16="http://schemas.microsoft.com/office/drawing/2014/main" id="{8819E48D-C555-4637-A960-036F2ACB1D40}"/>
                </a:ext>
              </a:extLst>
            </p:cNvPr>
            <p:cNvSpPr>
              <a:spLocks/>
            </p:cNvSpPr>
            <p:nvPr/>
          </p:nvSpPr>
          <p:spPr bwMode="auto">
            <a:xfrm>
              <a:off x="8204200" y="2085975"/>
              <a:ext cx="133350" cy="9525"/>
            </a:xfrm>
            <a:custGeom>
              <a:avLst/>
              <a:gdLst>
                <a:gd name="T0" fmla="*/ 405 w 420"/>
                <a:gd name="T1" fmla="*/ 0 h 29"/>
                <a:gd name="T2" fmla="*/ 15 w 420"/>
                <a:gd name="T3" fmla="*/ 0 h 29"/>
                <a:gd name="T4" fmla="*/ 12 w 420"/>
                <a:gd name="T5" fmla="*/ 0 h 29"/>
                <a:gd name="T6" fmla="*/ 10 w 420"/>
                <a:gd name="T7" fmla="*/ 1 h 29"/>
                <a:gd name="T8" fmla="*/ 7 w 420"/>
                <a:gd name="T9" fmla="*/ 3 h 29"/>
                <a:gd name="T10" fmla="*/ 5 w 420"/>
                <a:gd name="T11" fmla="*/ 4 h 29"/>
                <a:gd name="T12" fmla="*/ 3 w 420"/>
                <a:gd name="T13" fmla="*/ 6 h 29"/>
                <a:gd name="T14" fmla="*/ 2 w 420"/>
                <a:gd name="T15" fmla="*/ 9 h 29"/>
                <a:gd name="T16" fmla="*/ 0 w 420"/>
                <a:gd name="T17" fmla="*/ 11 h 29"/>
                <a:gd name="T18" fmla="*/ 0 w 420"/>
                <a:gd name="T19" fmla="*/ 14 h 29"/>
                <a:gd name="T20" fmla="*/ 0 w 420"/>
                <a:gd name="T21" fmla="*/ 18 h 29"/>
                <a:gd name="T22" fmla="*/ 2 w 420"/>
                <a:gd name="T23" fmla="*/ 21 h 29"/>
                <a:gd name="T24" fmla="*/ 3 w 420"/>
                <a:gd name="T25" fmla="*/ 23 h 29"/>
                <a:gd name="T26" fmla="*/ 5 w 420"/>
                <a:gd name="T27" fmla="*/ 25 h 29"/>
                <a:gd name="T28" fmla="*/ 7 w 420"/>
                <a:gd name="T29" fmla="*/ 27 h 29"/>
                <a:gd name="T30" fmla="*/ 9 w 420"/>
                <a:gd name="T31" fmla="*/ 28 h 29"/>
                <a:gd name="T32" fmla="*/ 12 w 420"/>
                <a:gd name="T33" fmla="*/ 29 h 29"/>
                <a:gd name="T34" fmla="*/ 15 w 420"/>
                <a:gd name="T35" fmla="*/ 29 h 29"/>
                <a:gd name="T36" fmla="*/ 405 w 420"/>
                <a:gd name="T37" fmla="*/ 29 h 29"/>
                <a:gd name="T38" fmla="*/ 409 w 420"/>
                <a:gd name="T39" fmla="*/ 29 h 29"/>
                <a:gd name="T40" fmla="*/ 411 w 420"/>
                <a:gd name="T41" fmla="*/ 28 h 29"/>
                <a:gd name="T42" fmla="*/ 414 w 420"/>
                <a:gd name="T43" fmla="*/ 27 h 29"/>
                <a:gd name="T44" fmla="*/ 416 w 420"/>
                <a:gd name="T45" fmla="*/ 25 h 29"/>
                <a:gd name="T46" fmla="*/ 417 w 420"/>
                <a:gd name="T47" fmla="*/ 23 h 29"/>
                <a:gd name="T48" fmla="*/ 419 w 420"/>
                <a:gd name="T49" fmla="*/ 21 h 29"/>
                <a:gd name="T50" fmla="*/ 420 w 420"/>
                <a:gd name="T51" fmla="*/ 18 h 29"/>
                <a:gd name="T52" fmla="*/ 420 w 420"/>
                <a:gd name="T53" fmla="*/ 14 h 29"/>
                <a:gd name="T54" fmla="*/ 420 w 420"/>
                <a:gd name="T55" fmla="*/ 11 h 29"/>
                <a:gd name="T56" fmla="*/ 419 w 420"/>
                <a:gd name="T57" fmla="*/ 9 h 29"/>
                <a:gd name="T58" fmla="*/ 417 w 420"/>
                <a:gd name="T59" fmla="*/ 6 h 29"/>
                <a:gd name="T60" fmla="*/ 416 w 420"/>
                <a:gd name="T61" fmla="*/ 4 h 29"/>
                <a:gd name="T62" fmla="*/ 414 w 420"/>
                <a:gd name="T63" fmla="*/ 3 h 29"/>
                <a:gd name="T64" fmla="*/ 411 w 420"/>
                <a:gd name="T65" fmla="*/ 1 h 29"/>
                <a:gd name="T66" fmla="*/ 409 w 420"/>
                <a:gd name="T67" fmla="*/ 0 h 29"/>
                <a:gd name="T68" fmla="*/ 405 w 420"/>
                <a:gd name="T6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29">
                  <a:moveTo>
                    <a:pt x="405" y="0"/>
                  </a:moveTo>
                  <a:lnTo>
                    <a:pt x="15" y="0"/>
                  </a:lnTo>
                  <a:lnTo>
                    <a:pt x="12" y="0"/>
                  </a:lnTo>
                  <a:lnTo>
                    <a:pt x="10" y="1"/>
                  </a:lnTo>
                  <a:lnTo>
                    <a:pt x="7" y="3"/>
                  </a:lnTo>
                  <a:lnTo>
                    <a:pt x="5" y="4"/>
                  </a:lnTo>
                  <a:lnTo>
                    <a:pt x="3" y="6"/>
                  </a:lnTo>
                  <a:lnTo>
                    <a:pt x="2" y="9"/>
                  </a:lnTo>
                  <a:lnTo>
                    <a:pt x="0" y="11"/>
                  </a:lnTo>
                  <a:lnTo>
                    <a:pt x="0" y="14"/>
                  </a:lnTo>
                  <a:lnTo>
                    <a:pt x="0" y="18"/>
                  </a:lnTo>
                  <a:lnTo>
                    <a:pt x="2" y="21"/>
                  </a:lnTo>
                  <a:lnTo>
                    <a:pt x="3" y="23"/>
                  </a:lnTo>
                  <a:lnTo>
                    <a:pt x="5" y="25"/>
                  </a:lnTo>
                  <a:lnTo>
                    <a:pt x="7" y="27"/>
                  </a:lnTo>
                  <a:lnTo>
                    <a:pt x="9" y="28"/>
                  </a:lnTo>
                  <a:lnTo>
                    <a:pt x="12" y="29"/>
                  </a:lnTo>
                  <a:lnTo>
                    <a:pt x="15" y="29"/>
                  </a:lnTo>
                  <a:lnTo>
                    <a:pt x="405" y="29"/>
                  </a:lnTo>
                  <a:lnTo>
                    <a:pt x="409" y="29"/>
                  </a:lnTo>
                  <a:lnTo>
                    <a:pt x="411" y="28"/>
                  </a:lnTo>
                  <a:lnTo>
                    <a:pt x="414" y="27"/>
                  </a:lnTo>
                  <a:lnTo>
                    <a:pt x="416" y="25"/>
                  </a:lnTo>
                  <a:lnTo>
                    <a:pt x="417" y="23"/>
                  </a:lnTo>
                  <a:lnTo>
                    <a:pt x="419" y="21"/>
                  </a:lnTo>
                  <a:lnTo>
                    <a:pt x="420" y="18"/>
                  </a:lnTo>
                  <a:lnTo>
                    <a:pt x="420" y="14"/>
                  </a:lnTo>
                  <a:lnTo>
                    <a:pt x="420" y="11"/>
                  </a:lnTo>
                  <a:lnTo>
                    <a:pt x="419" y="9"/>
                  </a:lnTo>
                  <a:lnTo>
                    <a:pt x="417" y="6"/>
                  </a:lnTo>
                  <a:lnTo>
                    <a:pt x="416" y="4"/>
                  </a:lnTo>
                  <a:lnTo>
                    <a:pt x="414" y="3"/>
                  </a:lnTo>
                  <a:lnTo>
                    <a:pt x="411" y="1"/>
                  </a:lnTo>
                  <a:lnTo>
                    <a:pt x="409" y="0"/>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409">
              <a:extLst>
                <a:ext uri="{FF2B5EF4-FFF2-40B4-BE49-F238E27FC236}">
                  <a16:creationId xmlns:a16="http://schemas.microsoft.com/office/drawing/2014/main" id="{3720630B-7CD1-4BFA-A1F1-07F5EBD4E04E}"/>
                </a:ext>
              </a:extLst>
            </p:cNvPr>
            <p:cNvSpPr>
              <a:spLocks/>
            </p:cNvSpPr>
            <p:nvPr/>
          </p:nvSpPr>
          <p:spPr bwMode="auto">
            <a:xfrm>
              <a:off x="8204200" y="2105025"/>
              <a:ext cx="133350" cy="9525"/>
            </a:xfrm>
            <a:custGeom>
              <a:avLst/>
              <a:gdLst>
                <a:gd name="T0" fmla="*/ 405 w 420"/>
                <a:gd name="T1" fmla="*/ 0 h 30"/>
                <a:gd name="T2" fmla="*/ 15 w 420"/>
                <a:gd name="T3" fmla="*/ 0 h 30"/>
                <a:gd name="T4" fmla="*/ 12 w 420"/>
                <a:gd name="T5" fmla="*/ 1 h 30"/>
                <a:gd name="T6" fmla="*/ 10 w 420"/>
                <a:gd name="T7" fmla="*/ 1 h 30"/>
                <a:gd name="T8" fmla="*/ 7 w 420"/>
                <a:gd name="T9" fmla="*/ 4 h 30"/>
                <a:gd name="T10" fmla="*/ 5 w 420"/>
                <a:gd name="T11" fmla="*/ 5 h 30"/>
                <a:gd name="T12" fmla="*/ 3 w 420"/>
                <a:gd name="T13" fmla="*/ 8 h 30"/>
                <a:gd name="T14" fmla="*/ 2 w 420"/>
                <a:gd name="T15" fmla="*/ 10 h 30"/>
                <a:gd name="T16" fmla="*/ 0 w 420"/>
                <a:gd name="T17" fmla="*/ 13 h 30"/>
                <a:gd name="T18" fmla="*/ 0 w 420"/>
                <a:gd name="T19" fmla="*/ 15 h 30"/>
                <a:gd name="T20" fmla="*/ 0 w 420"/>
                <a:gd name="T21" fmla="*/ 19 h 30"/>
                <a:gd name="T22" fmla="*/ 2 w 420"/>
                <a:gd name="T23" fmla="*/ 22 h 30"/>
                <a:gd name="T24" fmla="*/ 3 w 420"/>
                <a:gd name="T25" fmla="*/ 24 h 30"/>
                <a:gd name="T26" fmla="*/ 5 w 420"/>
                <a:gd name="T27" fmla="*/ 26 h 30"/>
                <a:gd name="T28" fmla="*/ 7 w 420"/>
                <a:gd name="T29" fmla="*/ 28 h 30"/>
                <a:gd name="T30" fmla="*/ 9 w 420"/>
                <a:gd name="T31" fmla="*/ 29 h 30"/>
                <a:gd name="T32" fmla="*/ 12 w 420"/>
                <a:gd name="T33" fmla="*/ 30 h 30"/>
                <a:gd name="T34" fmla="*/ 15 w 420"/>
                <a:gd name="T35" fmla="*/ 30 h 30"/>
                <a:gd name="T36" fmla="*/ 405 w 420"/>
                <a:gd name="T37" fmla="*/ 30 h 30"/>
                <a:gd name="T38" fmla="*/ 409 w 420"/>
                <a:gd name="T39" fmla="*/ 30 h 30"/>
                <a:gd name="T40" fmla="*/ 411 w 420"/>
                <a:gd name="T41" fmla="*/ 29 h 30"/>
                <a:gd name="T42" fmla="*/ 414 w 420"/>
                <a:gd name="T43" fmla="*/ 28 h 30"/>
                <a:gd name="T44" fmla="*/ 416 w 420"/>
                <a:gd name="T45" fmla="*/ 26 h 30"/>
                <a:gd name="T46" fmla="*/ 417 w 420"/>
                <a:gd name="T47" fmla="*/ 24 h 30"/>
                <a:gd name="T48" fmla="*/ 419 w 420"/>
                <a:gd name="T49" fmla="*/ 22 h 30"/>
                <a:gd name="T50" fmla="*/ 420 w 420"/>
                <a:gd name="T51" fmla="*/ 19 h 30"/>
                <a:gd name="T52" fmla="*/ 420 w 420"/>
                <a:gd name="T53" fmla="*/ 15 h 30"/>
                <a:gd name="T54" fmla="*/ 420 w 420"/>
                <a:gd name="T55" fmla="*/ 13 h 30"/>
                <a:gd name="T56" fmla="*/ 419 w 420"/>
                <a:gd name="T57" fmla="*/ 10 h 30"/>
                <a:gd name="T58" fmla="*/ 417 w 420"/>
                <a:gd name="T59" fmla="*/ 8 h 30"/>
                <a:gd name="T60" fmla="*/ 416 w 420"/>
                <a:gd name="T61" fmla="*/ 5 h 30"/>
                <a:gd name="T62" fmla="*/ 414 w 420"/>
                <a:gd name="T63" fmla="*/ 4 h 30"/>
                <a:gd name="T64" fmla="*/ 411 w 420"/>
                <a:gd name="T65" fmla="*/ 1 h 30"/>
                <a:gd name="T66" fmla="*/ 409 w 420"/>
                <a:gd name="T67" fmla="*/ 1 h 30"/>
                <a:gd name="T68" fmla="*/ 405 w 4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405" y="0"/>
                  </a:moveTo>
                  <a:lnTo>
                    <a:pt x="15" y="0"/>
                  </a:lnTo>
                  <a:lnTo>
                    <a:pt x="12" y="1"/>
                  </a:lnTo>
                  <a:lnTo>
                    <a:pt x="10" y="1"/>
                  </a:lnTo>
                  <a:lnTo>
                    <a:pt x="7" y="4"/>
                  </a:lnTo>
                  <a:lnTo>
                    <a:pt x="5" y="5"/>
                  </a:lnTo>
                  <a:lnTo>
                    <a:pt x="3" y="8"/>
                  </a:lnTo>
                  <a:lnTo>
                    <a:pt x="2" y="10"/>
                  </a:lnTo>
                  <a:lnTo>
                    <a:pt x="0" y="13"/>
                  </a:lnTo>
                  <a:lnTo>
                    <a:pt x="0" y="15"/>
                  </a:lnTo>
                  <a:lnTo>
                    <a:pt x="0" y="19"/>
                  </a:lnTo>
                  <a:lnTo>
                    <a:pt x="2" y="22"/>
                  </a:lnTo>
                  <a:lnTo>
                    <a:pt x="3" y="24"/>
                  </a:lnTo>
                  <a:lnTo>
                    <a:pt x="5" y="26"/>
                  </a:lnTo>
                  <a:lnTo>
                    <a:pt x="7" y="28"/>
                  </a:lnTo>
                  <a:lnTo>
                    <a:pt x="9" y="29"/>
                  </a:lnTo>
                  <a:lnTo>
                    <a:pt x="12" y="30"/>
                  </a:lnTo>
                  <a:lnTo>
                    <a:pt x="15" y="30"/>
                  </a:lnTo>
                  <a:lnTo>
                    <a:pt x="405" y="30"/>
                  </a:lnTo>
                  <a:lnTo>
                    <a:pt x="409" y="30"/>
                  </a:lnTo>
                  <a:lnTo>
                    <a:pt x="411" y="29"/>
                  </a:lnTo>
                  <a:lnTo>
                    <a:pt x="414" y="28"/>
                  </a:lnTo>
                  <a:lnTo>
                    <a:pt x="416" y="26"/>
                  </a:lnTo>
                  <a:lnTo>
                    <a:pt x="417" y="24"/>
                  </a:lnTo>
                  <a:lnTo>
                    <a:pt x="419" y="22"/>
                  </a:lnTo>
                  <a:lnTo>
                    <a:pt x="420" y="19"/>
                  </a:lnTo>
                  <a:lnTo>
                    <a:pt x="420" y="15"/>
                  </a:lnTo>
                  <a:lnTo>
                    <a:pt x="420" y="13"/>
                  </a:lnTo>
                  <a:lnTo>
                    <a:pt x="419" y="10"/>
                  </a:lnTo>
                  <a:lnTo>
                    <a:pt x="417" y="8"/>
                  </a:lnTo>
                  <a:lnTo>
                    <a:pt x="416" y="5"/>
                  </a:lnTo>
                  <a:lnTo>
                    <a:pt x="414" y="4"/>
                  </a:lnTo>
                  <a:lnTo>
                    <a:pt x="411" y="1"/>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410">
              <a:extLst>
                <a:ext uri="{FF2B5EF4-FFF2-40B4-BE49-F238E27FC236}">
                  <a16:creationId xmlns:a16="http://schemas.microsoft.com/office/drawing/2014/main" id="{5606805E-9F24-4C6D-954F-514973457757}"/>
                </a:ext>
              </a:extLst>
            </p:cNvPr>
            <p:cNvSpPr>
              <a:spLocks/>
            </p:cNvSpPr>
            <p:nvPr/>
          </p:nvSpPr>
          <p:spPr bwMode="auto">
            <a:xfrm>
              <a:off x="8204200" y="2124075"/>
              <a:ext cx="133350" cy="9525"/>
            </a:xfrm>
            <a:custGeom>
              <a:avLst/>
              <a:gdLst>
                <a:gd name="T0" fmla="*/ 405 w 420"/>
                <a:gd name="T1" fmla="*/ 0 h 31"/>
                <a:gd name="T2" fmla="*/ 15 w 420"/>
                <a:gd name="T3" fmla="*/ 0 h 31"/>
                <a:gd name="T4" fmla="*/ 12 w 420"/>
                <a:gd name="T5" fmla="*/ 1 h 31"/>
                <a:gd name="T6" fmla="*/ 10 w 420"/>
                <a:gd name="T7" fmla="*/ 2 h 31"/>
                <a:gd name="T8" fmla="*/ 7 w 420"/>
                <a:gd name="T9" fmla="*/ 3 h 31"/>
                <a:gd name="T10" fmla="*/ 5 w 420"/>
                <a:gd name="T11" fmla="*/ 6 h 31"/>
                <a:gd name="T12" fmla="*/ 3 w 420"/>
                <a:gd name="T13" fmla="*/ 8 h 31"/>
                <a:gd name="T14" fmla="*/ 2 w 420"/>
                <a:gd name="T15" fmla="*/ 10 h 31"/>
                <a:gd name="T16" fmla="*/ 0 w 420"/>
                <a:gd name="T17" fmla="*/ 13 h 31"/>
                <a:gd name="T18" fmla="*/ 0 w 420"/>
                <a:gd name="T19" fmla="*/ 16 h 31"/>
                <a:gd name="T20" fmla="*/ 0 w 420"/>
                <a:gd name="T21" fmla="*/ 18 h 31"/>
                <a:gd name="T22" fmla="*/ 2 w 420"/>
                <a:gd name="T23" fmla="*/ 22 h 31"/>
                <a:gd name="T24" fmla="*/ 3 w 420"/>
                <a:gd name="T25" fmla="*/ 24 h 31"/>
                <a:gd name="T26" fmla="*/ 5 w 420"/>
                <a:gd name="T27" fmla="*/ 26 h 31"/>
                <a:gd name="T28" fmla="*/ 7 w 420"/>
                <a:gd name="T29" fmla="*/ 28 h 31"/>
                <a:gd name="T30" fmla="*/ 9 w 420"/>
                <a:gd name="T31" fmla="*/ 29 h 31"/>
                <a:gd name="T32" fmla="*/ 12 w 420"/>
                <a:gd name="T33" fmla="*/ 30 h 31"/>
                <a:gd name="T34" fmla="*/ 15 w 420"/>
                <a:gd name="T35" fmla="*/ 31 h 31"/>
                <a:gd name="T36" fmla="*/ 405 w 420"/>
                <a:gd name="T37" fmla="*/ 31 h 31"/>
                <a:gd name="T38" fmla="*/ 409 w 420"/>
                <a:gd name="T39" fmla="*/ 30 h 31"/>
                <a:gd name="T40" fmla="*/ 411 w 420"/>
                <a:gd name="T41" fmla="*/ 29 h 31"/>
                <a:gd name="T42" fmla="*/ 414 w 420"/>
                <a:gd name="T43" fmla="*/ 28 h 31"/>
                <a:gd name="T44" fmla="*/ 416 w 420"/>
                <a:gd name="T45" fmla="*/ 26 h 31"/>
                <a:gd name="T46" fmla="*/ 417 w 420"/>
                <a:gd name="T47" fmla="*/ 24 h 31"/>
                <a:gd name="T48" fmla="*/ 419 w 420"/>
                <a:gd name="T49" fmla="*/ 22 h 31"/>
                <a:gd name="T50" fmla="*/ 420 w 420"/>
                <a:gd name="T51" fmla="*/ 18 h 31"/>
                <a:gd name="T52" fmla="*/ 420 w 420"/>
                <a:gd name="T53" fmla="*/ 16 h 31"/>
                <a:gd name="T54" fmla="*/ 420 w 420"/>
                <a:gd name="T55" fmla="*/ 13 h 31"/>
                <a:gd name="T56" fmla="*/ 419 w 420"/>
                <a:gd name="T57" fmla="*/ 10 h 31"/>
                <a:gd name="T58" fmla="*/ 417 w 420"/>
                <a:gd name="T59" fmla="*/ 8 h 31"/>
                <a:gd name="T60" fmla="*/ 416 w 420"/>
                <a:gd name="T61" fmla="*/ 6 h 31"/>
                <a:gd name="T62" fmla="*/ 414 w 420"/>
                <a:gd name="T63" fmla="*/ 3 h 31"/>
                <a:gd name="T64" fmla="*/ 411 w 420"/>
                <a:gd name="T65" fmla="*/ 2 h 31"/>
                <a:gd name="T66" fmla="*/ 409 w 420"/>
                <a:gd name="T67" fmla="*/ 1 h 31"/>
                <a:gd name="T68" fmla="*/ 405 w 42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1">
                  <a:moveTo>
                    <a:pt x="405" y="0"/>
                  </a:moveTo>
                  <a:lnTo>
                    <a:pt x="15" y="0"/>
                  </a:lnTo>
                  <a:lnTo>
                    <a:pt x="12" y="1"/>
                  </a:lnTo>
                  <a:lnTo>
                    <a:pt x="10" y="2"/>
                  </a:lnTo>
                  <a:lnTo>
                    <a:pt x="7" y="3"/>
                  </a:lnTo>
                  <a:lnTo>
                    <a:pt x="5" y="6"/>
                  </a:lnTo>
                  <a:lnTo>
                    <a:pt x="3" y="8"/>
                  </a:lnTo>
                  <a:lnTo>
                    <a:pt x="2" y="10"/>
                  </a:lnTo>
                  <a:lnTo>
                    <a:pt x="0" y="13"/>
                  </a:lnTo>
                  <a:lnTo>
                    <a:pt x="0" y="16"/>
                  </a:lnTo>
                  <a:lnTo>
                    <a:pt x="0" y="18"/>
                  </a:lnTo>
                  <a:lnTo>
                    <a:pt x="2" y="22"/>
                  </a:lnTo>
                  <a:lnTo>
                    <a:pt x="3" y="24"/>
                  </a:lnTo>
                  <a:lnTo>
                    <a:pt x="5" y="26"/>
                  </a:lnTo>
                  <a:lnTo>
                    <a:pt x="7" y="28"/>
                  </a:lnTo>
                  <a:lnTo>
                    <a:pt x="9" y="29"/>
                  </a:lnTo>
                  <a:lnTo>
                    <a:pt x="12" y="30"/>
                  </a:lnTo>
                  <a:lnTo>
                    <a:pt x="15" y="31"/>
                  </a:lnTo>
                  <a:lnTo>
                    <a:pt x="405" y="31"/>
                  </a:lnTo>
                  <a:lnTo>
                    <a:pt x="409" y="30"/>
                  </a:lnTo>
                  <a:lnTo>
                    <a:pt x="411" y="29"/>
                  </a:lnTo>
                  <a:lnTo>
                    <a:pt x="414" y="28"/>
                  </a:lnTo>
                  <a:lnTo>
                    <a:pt x="416" y="26"/>
                  </a:lnTo>
                  <a:lnTo>
                    <a:pt x="417" y="24"/>
                  </a:lnTo>
                  <a:lnTo>
                    <a:pt x="419" y="22"/>
                  </a:lnTo>
                  <a:lnTo>
                    <a:pt x="420" y="18"/>
                  </a:lnTo>
                  <a:lnTo>
                    <a:pt x="420" y="16"/>
                  </a:lnTo>
                  <a:lnTo>
                    <a:pt x="420" y="13"/>
                  </a:lnTo>
                  <a:lnTo>
                    <a:pt x="419" y="10"/>
                  </a:lnTo>
                  <a:lnTo>
                    <a:pt x="417" y="8"/>
                  </a:lnTo>
                  <a:lnTo>
                    <a:pt x="416" y="6"/>
                  </a:lnTo>
                  <a:lnTo>
                    <a:pt x="414" y="3"/>
                  </a:lnTo>
                  <a:lnTo>
                    <a:pt x="411" y="2"/>
                  </a:lnTo>
                  <a:lnTo>
                    <a:pt x="409" y="1"/>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411">
              <a:extLst>
                <a:ext uri="{FF2B5EF4-FFF2-40B4-BE49-F238E27FC236}">
                  <a16:creationId xmlns:a16="http://schemas.microsoft.com/office/drawing/2014/main" id="{EE711EB0-B3C1-4A45-9E20-561DD3B3012D}"/>
                </a:ext>
              </a:extLst>
            </p:cNvPr>
            <p:cNvSpPr>
              <a:spLocks/>
            </p:cNvSpPr>
            <p:nvPr/>
          </p:nvSpPr>
          <p:spPr bwMode="auto">
            <a:xfrm>
              <a:off x="8204200" y="2143125"/>
              <a:ext cx="133350" cy="9525"/>
            </a:xfrm>
            <a:custGeom>
              <a:avLst/>
              <a:gdLst>
                <a:gd name="T0" fmla="*/ 405 w 420"/>
                <a:gd name="T1" fmla="*/ 0 h 30"/>
                <a:gd name="T2" fmla="*/ 15 w 420"/>
                <a:gd name="T3" fmla="*/ 0 h 30"/>
                <a:gd name="T4" fmla="*/ 12 w 420"/>
                <a:gd name="T5" fmla="*/ 0 h 30"/>
                <a:gd name="T6" fmla="*/ 10 w 420"/>
                <a:gd name="T7" fmla="*/ 1 h 30"/>
                <a:gd name="T8" fmla="*/ 7 w 420"/>
                <a:gd name="T9" fmla="*/ 2 h 30"/>
                <a:gd name="T10" fmla="*/ 5 w 420"/>
                <a:gd name="T11" fmla="*/ 4 h 30"/>
                <a:gd name="T12" fmla="*/ 3 w 420"/>
                <a:gd name="T13" fmla="*/ 7 h 30"/>
                <a:gd name="T14" fmla="*/ 2 w 420"/>
                <a:gd name="T15" fmla="*/ 9 h 30"/>
                <a:gd name="T16" fmla="*/ 0 w 420"/>
                <a:gd name="T17" fmla="*/ 12 h 30"/>
                <a:gd name="T18" fmla="*/ 0 w 420"/>
                <a:gd name="T19" fmla="*/ 15 h 30"/>
                <a:gd name="T20" fmla="*/ 0 w 420"/>
                <a:gd name="T21" fmla="*/ 17 h 30"/>
                <a:gd name="T22" fmla="*/ 2 w 420"/>
                <a:gd name="T23" fmla="*/ 20 h 30"/>
                <a:gd name="T24" fmla="*/ 3 w 420"/>
                <a:gd name="T25" fmla="*/ 24 h 30"/>
                <a:gd name="T26" fmla="*/ 5 w 420"/>
                <a:gd name="T27" fmla="*/ 26 h 30"/>
                <a:gd name="T28" fmla="*/ 7 w 420"/>
                <a:gd name="T29" fmla="*/ 27 h 30"/>
                <a:gd name="T30" fmla="*/ 9 w 420"/>
                <a:gd name="T31" fmla="*/ 29 h 30"/>
                <a:gd name="T32" fmla="*/ 12 w 420"/>
                <a:gd name="T33" fmla="*/ 29 h 30"/>
                <a:gd name="T34" fmla="*/ 15 w 420"/>
                <a:gd name="T35" fmla="*/ 30 h 30"/>
                <a:gd name="T36" fmla="*/ 405 w 420"/>
                <a:gd name="T37" fmla="*/ 30 h 30"/>
                <a:gd name="T38" fmla="*/ 409 w 420"/>
                <a:gd name="T39" fmla="*/ 29 h 30"/>
                <a:gd name="T40" fmla="*/ 411 w 420"/>
                <a:gd name="T41" fmla="*/ 29 h 30"/>
                <a:gd name="T42" fmla="*/ 414 w 420"/>
                <a:gd name="T43" fmla="*/ 27 h 30"/>
                <a:gd name="T44" fmla="*/ 416 w 420"/>
                <a:gd name="T45" fmla="*/ 26 h 30"/>
                <a:gd name="T46" fmla="*/ 417 w 420"/>
                <a:gd name="T47" fmla="*/ 24 h 30"/>
                <a:gd name="T48" fmla="*/ 419 w 420"/>
                <a:gd name="T49" fmla="*/ 20 h 30"/>
                <a:gd name="T50" fmla="*/ 420 w 420"/>
                <a:gd name="T51" fmla="*/ 17 h 30"/>
                <a:gd name="T52" fmla="*/ 420 w 420"/>
                <a:gd name="T53" fmla="*/ 15 h 30"/>
                <a:gd name="T54" fmla="*/ 420 w 420"/>
                <a:gd name="T55" fmla="*/ 12 h 30"/>
                <a:gd name="T56" fmla="*/ 419 w 420"/>
                <a:gd name="T57" fmla="*/ 9 h 30"/>
                <a:gd name="T58" fmla="*/ 417 w 420"/>
                <a:gd name="T59" fmla="*/ 7 h 30"/>
                <a:gd name="T60" fmla="*/ 416 w 420"/>
                <a:gd name="T61" fmla="*/ 4 h 30"/>
                <a:gd name="T62" fmla="*/ 414 w 420"/>
                <a:gd name="T63" fmla="*/ 2 h 30"/>
                <a:gd name="T64" fmla="*/ 411 w 420"/>
                <a:gd name="T65" fmla="*/ 1 h 30"/>
                <a:gd name="T66" fmla="*/ 409 w 420"/>
                <a:gd name="T67" fmla="*/ 0 h 30"/>
                <a:gd name="T68" fmla="*/ 405 w 4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
                  <a:moveTo>
                    <a:pt x="405" y="0"/>
                  </a:moveTo>
                  <a:lnTo>
                    <a:pt x="15" y="0"/>
                  </a:lnTo>
                  <a:lnTo>
                    <a:pt x="12" y="0"/>
                  </a:lnTo>
                  <a:lnTo>
                    <a:pt x="10" y="1"/>
                  </a:lnTo>
                  <a:lnTo>
                    <a:pt x="7" y="2"/>
                  </a:lnTo>
                  <a:lnTo>
                    <a:pt x="5" y="4"/>
                  </a:lnTo>
                  <a:lnTo>
                    <a:pt x="3" y="7"/>
                  </a:lnTo>
                  <a:lnTo>
                    <a:pt x="2" y="9"/>
                  </a:lnTo>
                  <a:lnTo>
                    <a:pt x="0" y="12"/>
                  </a:lnTo>
                  <a:lnTo>
                    <a:pt x="0" y="15"/>
                  </a:lnTo>
                  <a:lnTo>
                    <a:pt x="0" y="17"/>
                  </a:lnTo>
                  <a:lnTo>
                    <a:pt x="2" y="20"/>
                  </a:lnTo>
                  <a:lnTo>
                    <a:pt x="3" y="24"/>
                  </a:lnTo>
                  <a:lnTo>
                    <a:pt x="5" y="26"/>
                  </a:lnTo>
                  <a:lnTo>
                    <a:pt x="7" y="27"/>
                  </a:lnTo>
                  <a:lnTo>
                    <a:pt x="9" y="29"/>
                  </a:lnTo>
                  <a:lnTo>
                    <a:pt x="12" y="29"/>
                  </a:lnTo>
                  <a:lnTo>
                    <a:pt x="15" y="30"/>
                  </a:lnTo>
                  <a:lnTo>
                    <a:pt x="405" y="30"/>
                  </a:lnTo>
                  <a:lnTo>
                    <a:pt x="409" y="29"/>
                  </a:lnTo>
                  <a:lnTo>
                    <a:pt x="411" y="29"/>
                  </a:lnTo>
                  <a:lnTo>
                    <a:pt x="414" y="27"/>
                  </a:lnTo>
                  <a:lnTo>
                    <a:pt x="416" y="26"/>
                  </a:lnTo>
                  <a:lnTo>
                    <a:pt x="417" y="24"/>
                  </a:lnTo>
                  <a:lnTo>
                    <a:pt x="419" y="20"/>
                  </a:lnTo>
                  <a:lnTo>
                    <a:pt x="420" y="17"/>
                  </a:lnTo>
                  <a:lnTo>
                    <a:pt x="420" y="15"/>
                  </a:lnTo>
                  <a:lnTo>
                    <a:pt x="420" y="12"/>
                  </a:lnTo>
                  <a:lnTo>
                    <a:pt x="419" y="9"/>
                  </a:lnTo>
                  <a:lnTo>
                    <a:pt x="417" y="7"/>
                  </a:lnTo>
                  <a:lnTo>
                    <a:pt x="416" y="4"/>
                  </a:lnTo>
                  <a:lnTo>
                    <a:pt x="414" y="2"/>
                  </a:lnTo>
                  <a:lnTo>
                    <a:pt x="411" y="1"/>
                  </a:lnTo>
                  <a:lnTo>
                    <a:pt x="409" y="0"/>
                  </a:lnTo>
                  <a:lnTo>
                    <a:pt x="4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412">
              <a:extLst>
                <a:ext uri="{FF2B5EF4-FFF2-40B4-BE49-F238E27FC236}">
                  <a16:creationId xmlns:a16="http://schemas.microsoft.com/office/drawing/2014/main" id="{20C3FEA4-2A86-407E-997C-1E9972327910}"/>
                </a:ext>
              </a:extLst>
            </p:cNvPr>
            <p:cNvSpPr>
              <a:spLocks noEditPoints="1"/>
            </p:cNvSpPr>
            <p:nvPr/>
          </p:nvSpPr>
          <p:spPr bwMode="auto">
            <a:xfrm>
              <a:off x="8166100" y="1924050"/>
              <a:ext cx="285750" cy="285750"/>
            </a:xfrm>
            <a:custGeom>
              <a:avLst/>
              <a:gdLst>
                <a:gd name="T0" fmla="*/ 867 w 899"/>
                <a:gd name="T1" fmla="*/ 786 h 899"/>
                <a:gd name="T2" fmla="*/ 857 w 899"/>
                <a:gd name="T3" fmla="*/ 815 h 899"/>
                <a:gd name="T4" fmla="*/ 839 w 899"/>
                <a:gd name="T5" fmla="*/ 839 h 899"/>
                <a:gd name="T6" fmla="*/ 814 w 899"/>
                <a:gd name="T7" fmla="*/ 857 h 899"/>
                <a:gd name="T8" fmla="*/ 785 w 899"/>
                <a:gd name="T9" fmla="*/ 867 h 899"/>
                <a:gd name="T10" fmla="*/ 753 w 899"/>
                <a:gd name="T11" fmla="*/ 870 h 899"/>
                <a:gd name="T12" fmla="*/ 723 w 899"/>
                <a:gd name="T13" fmla="*/ 861 h 899"/>
                <a:gd name="T14" fmla="*/ 698 w 899"/>
                <a:gd name="T15" fmla="*/ 846 h 899"/>
                <a:gd name="T16" fmla="*/ 677 w 899"/>
                <a:gd name="T17" fmla="*/ 824 h 899"/>
                <a:gd name="T18" fmla="*/ 664 w 899"/>
                <a:gd name="T19" fmla="*/ 796 h 899"/>
                <a:gd name="T20" fmla="*/ 659 w 899"/>
                <a:gd name="T21" fmla="*/ 765 h 899"/>
                <a:gd name="T22" fmla="*/ 719 w 899"/>
                <a:gd name="T23" fmla="*/ 765 h 899"/>
                <a:gd name="T24" fmla="*/ 727 w 899"/>
                <a:gd name="T25" fmla="*/ 789 h 899"/>
                <a:gd name="T26" fmla="*/ 747 w 899"/>
                <a:gd name="T27" fmla="*/ 807 h 899"/>
                <a:gd name="T28" fmla="*/ 773 w 899"/>
                <a:gd name="T29" fmla="*/ 809 h 899"/>
                <a:gd name="T30" fmla="*/ 796 w 899"/>
                <a:gd name="T31" fmla="*/ 797 h 899"/>
                <a:gd name="T32" fmla="*/ 809 w 899"/>
                <a:gd name="T33" fmla="*/ 773 h 899"/>
                <a:gd name="T34" fmla="*/ 809 w 899"/>
                <a:gd name="T35" fmla="*/ 192 h 899"/>
                <a:gd name="T36" fmla="*/ 804 w 899"/>
                <a:gd name="T37" fmla="*/ 185 h 899"/>
                <a:gd name="T38" fmla="*/ 797 w 899"/>
                <a:gd name="T39" fmla="*/ 180 h 899"/>
                <a:gd name="T40" fmla="*/ 749 w 899"/>
                <a:gd name="T41" fmla="*/ 149 h 899"/>
                <a:gd name="T42" fmla="*/ 134 w 899"/>
                <a:gd name="T43" fmla="*/ 870 h 899"/>
                <a:gd name="T44" fmla="*/ 100 w 899"/>
                <a:gd name="T45" fmla="*/ 865 h 899"/>
                <a:gd name="T46" fmla="*/ 71 w 899"/>
                <a:gd name="T47" fmla="*/ 854 h 899"/>
                <a:gd name="T48" fmla="*/ 50 w 899"/>
                <a:gd name="T49" fmla="*/ 835 h 899"/>
                <a:gd name="T50" fmla="*/ 36 w 899"/>
                <a:gd name="T51" fmla="*/ 810 h 899"/>
                <a:gd name="T52" fmla="*/ 30 w 899"/>
                <a:gd name="T53" fmla="*/ 777 h 899"/>
                <a:gd name="T54" fmla="*/ 629 w 899"/>
                <a:gd name="T55" fmla="*/ 30 h 899"/>
                <a:gd name="T56" fmla="*/ 632 w 899"/>
                <a:gd name="T57" fmla="*/ 796 h 899"/>
                <a:gd name="T58" fmla="*/ 650 w 899"/>
                <a:gd name="T59" fmla="*/ 836 h 899"/>
                <a:gd name="T60" fmla="*/ 679 w 899"/>
                <a:gd name="T61" fmla="*/ 870 h 899"/>
                <a:gd name="T62" fmla="*/ 779 w 899"/>
                <a:gd name="T63" fmla="*/ 209 h 899"/>
                <a:gd name="T64" fmla="*/ 778 w 899"/>
                <a:gd name="T65" fmla="*/ 770 h 899"/>
                <a:gd name="T66" fmla="*/ 772 w 899"/>
                <a:gd name="T67" fmla="*/ 777 h 899"/>
                <a:gd name="T68" fmla="*/ 764 w 899"/>
                <a:gd name="T69" fmla="*/ 780 h 899"/>
                <a:gd name="T70" fmla="*/ 756 w 899"/>
                <a:gd name="T71" fmla="*/ 777 h 899"/>
                <a:gd name="T72" fmla="*/ 750 w 899"/>
                <a:gd name="T73" fmla="*/ 770 h 899"/>
                <a:gd name="T74" fmla="*/ 749 w 899"/>
                <a:gd name="T75" fmla="*/ 209 h 899"/>
                <a:gd name="T76" fmla="*/ 749 w 899"/>
                <a:gd name="T77" fmla="*/ 75 h 899"/>
                <a:gd name="T78" fmla="*/ 747 w 899"/>
                <a:gd name="T79" fmla="*/ 66 h 899"/>
                <a:gd name="T80" fmla="*/ 740 w 899"/>
                <a:gd name="T81" fmla="*/ 61 h 899"/>
                <a:gd name="T82" fmla="*/ 659 w 899"/>
                <a:gd name="T83" fmla="*/ 60 h 899"/>
                <a:gd name="T84" fmla="*/ 658 w 899"/>
                <a:gd name="T85" fmla="*/ 10 h 899"/>
                <a:gd name="T86" fmla="*/ 653 w 899"/>
                <a:gd name="T87" fmla="*/ 2 h 899"/>
                <a:gd name="T88" fmla="*/ 644 w 899"/>
                <a:gd name="T89" fmla="*/ 0 h 899"/>
                <a:gd name="T90" fmla="*/ 8 w 899"/>
                <a:gd name="T91" fmla="*/ 1 h 899"/>
                <a:gd name="T92" fmla="*/ 2 w 899"/>
                <a:gd name="T93" fmla="*/ 6 h 899"/>
                <a:gd name="T94" fmla="*/ 0 w 899"/>
                <a:gd name="T95" fmla="*/ 15 h 899"/>
                <a:gd name="T96" fmla="*/ 2 w 899"/>
                <a:gd name="T97" fmla="*/ 795 h 899"/>
                <a:gd name="T98" fmla="*/ 14 w 899"/>
                <a:gd name="T99" fmla="*/ 833 h 899"/>
                <a:gd name="T100" fmla="*/ 36 w 899"/>
                <a:gd name="T101" fmla="*/ 863 h 899"/>
                <a:gd name="T102" fmla="*/ 66 w 899"/>
                <a:gd name="T103" fmla="*/ 886 h 899"/>
                <a:gd name="T104" fmla="*/ 105 w 899"/>
                <a:gd name="T105" fmla="*/ 897 h 899"/>
                <a:gd name="T106" fmla="*/ 764 w 899"/>
                <a:gd name="T107" fmla="*/ 899 h 899"/>
                <a:gd name="T108" fmla="*/ 804 w 899"/>
                <a:gd name="T109" fmla="*/ 893 h 899"/>
                <a:gd name="T110" fmla="*/ 840 w 899"/>
                <a:gd name="T111" fmla="*/ 877 h 899"/>
                <a:gd name="T112" fmla="*/ 868 w 899"/>
                <a:gd name="T113" fmla="*/ 850 h 899"/>
                <a:gd name="T114" fmla="*/ 889 w 899"/>
                <a:gd name="T115" fmla="*/ 817 h 899"/>
                <a:gd name="T116" fmla="*/ 898 w 899"/>
                <a:gd name="T117" fmla="*/ 779 h 899"/>
                <a:gd name="T118" fmla="*/ 898 w 899"/>
                <a:gd name="T119" fmla="*/ 131 h 899"/>
                <a:gd name="T120" fmla="*/ 895 w 899"/>
                <a:gd name="T121" fmla="*/ 124 h 899"/>
                <a:gd name="T122" fmla="*/ 888 w 899"/>
                <a:gd name="T123" fmla="*/ 121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9" h="899">
                  <a:moveTo>
                    <a:pt x="870" y="765"/>
                  </a:moveTo>
                  <a:lnTo>
                    <a:pt x="868" y="776"/>
                  </a:lnTo>
                  <a:lnTo>
                    <a:pt x="867" y="786"/>
                  </a:lnTo>
                  <a:lnTo>
                    <a:pt x="864" y="796"/>
                  </a:lnTo>
                  <a:lnTo>
                    <a:pt x="861" y="805"/>
                  </a:lnTo>
                  <a:lnTo>
                    <a:pt x="857" y="815"/>
                  </a:lnTo>
                  <a:lnTo>
                    <a:pt x="851" y="824"/>
                  </a:lnTo>
                  <a:lnTo>
                    <a:pt x="845" y="831"/>
                  </a:lnTo>
                  <a:lnTo>
                    <a:pt x="839" y="839"/>
                  </a:lnTo>
                  <a:lnTo>
                    <a:pt x="831" y="846"/>
                  </a:lnTo>
                  <a:lnTo>
                    <a:pt x="823" y="851"/>
                  </a:lnTo>
                  <a:lnTo>
                    <a:pt x="814" y="857"/>
                  </a:lnTo>
                  <a:lnTo>
                    <a:pt x="805" y="861"/>
                  </a:lnTo>
                  <a:lnTo>
                    <a:pt x="796" y="865"/>
                  </a:lnTo>
                  <a:lnTo>
                    <a:pt x="785" y="867"/>
                  </a:lnTo>
                  <a:lnTo>
                    <a:pt x="774" y="870"/>
                  </a:lnTo>
                  <a:lnTo>
                    <a:pt x="764" y="870"/>
                  </a:lnTo>
                  <a:lnTo>
                    <a:pt x="753" y="870"/>
                  </a:lnTo>
                  <a:lnTo>
                    <a:pt x="743" y="867"/>
                  </a:lnTo>
                  <a:lnTo>
                    <a:pt x="733" y="865"/>
                  </a:lnTo>
                  <a:lnTo>
                    <a:pt x="723" y="861"/>
                  </a:lnTo>
                  <a:lnTo>
                    <a:pt x="715" y="857"/>
                  </a:lnTo>
                  <a:lnTo>
                    <a:pt x="706" y="851"/>
                  </a:lnTo>
                  <a:lnTo>
                    <a:pt x="698" y="846"/>
                  </a:lnTo>
                  <a:lnTo>
                    <a:pt x="690" y="839"/>
                  </a:lnTo>
                  <a:lnTo>
                    <a:pt x="684" y="831"/>
                  </a:lnTo>
                  <a:lnTo>
                    <a:pt x="677" y="824"/>
                  </a:lnTo>
                  <a:lnTo>
                    <a:pt x="672" y="815"/>
                  </a:lnTo>
                  <a:lnTo>
                    <a:pt x="668" y="805"/>
                  </a:lnTo>
                  <a:lnTo>
                    <a:pt x="664" y="796"/>
                  </a:lnTo>
                  <a:lnTo>
                    <a:pt x="661" y="786"/>
                  </a:lnTo>
                  <a:lnTo>
                    <a:pt x="660" y="776"/>
                  </a:lnTo>
                  <a:lnTo>
                    <a:pt x="659" y="765"/>
                  </a:lnTo>
                  <a:lnTo>
                    <a:pt x="659" y="90"/>
                  </a:lnTo>
                  <a:lnTo>
                    <a:pt x="719" y="90"/>
                  </a:lnTo>
                  <a:lnTo>
                    <a:pt x="719" y="765"/>
                  </a:lnTo>
                  <a:lnTo>
                    <a:pt x="720" y="773"/>
                  </a:lnTo>
                  <a:lnTo>
                    <a:pt x="723" y="782"/>
                  </a:lnTo>
                  <a:lnTo>
                    <a:pt x="727" y="789"/>
                  </a:lnTo>
                  <a:lnTo>
                    <a:pt x="733" y="797"/>
                  </a:lnTo>
                  <a:lnTo>
                    <a:pt x="739" y="802"/>
                  </a:lnTo>
                  <a:lnTo>
                    <a:pt x="747" y="807"/>
                  </a:lnTo>
                  <a:lnTo>
                    <a:pt x="755" y="809"/>
                  </a:lnTo>
                  <a:lnTo>
                    <a:pt x="764" y="810"/>
                  </a:lnTo>
                  <a:lnTo>
                    <a:pt x="773" y="809"/>
                  </a:lnTo>
                  <a:lnTo>
                    <a:pt x="782" y="807"/>
                  </a:lnTo>
                  <a:lnTo>
                    <a:pt x="789" y="802"/>
                  </a:lnTo>
                  <a:lnTo>
                    <a:pt x="796" y="797"/>
                  </a:lnTo>
                  <a:lnTo>
                    <a:pt x="801" y="789"/>
                  </a:lnTo>
                  <a:lnTo>
                    <a:pt x="805" y="782"/>
                  </a:lnTo>
                  <a:lnTo>
                    <a:pt x="809" y="773"/>
                  </a:lnTo>
                  <a:lnTo>
                    <a:pt x="810" y="765"/>
                  </a:lnTo>
                  <a:lnTo>
                    <a:pt x="810" y="194"/>
                  </a:lnTo>
                  <a:lnTo>
                    <a:pt x="809" y="192"/>
                  </a:lnTo>
                  <a:lnTo>
                    <a:pt x="808" y="189"/>
                  </a:lnTo>
                  <a:lnTo>
                    <a:pt x="806" y="187"/>
                  </a:lnTo>
                  <a:lnTo>
                    <a:pt x="804" y="185"/>
                  </a:lnTo>
                  <a:lnTo>
                    <a:pt x="802" y="183"/>
                  </a:lnTo>
                  <a:lnTo>
                    <a:pt x="800" y="182"/>
                  </a:lnTo>
                  <a:lnTo>
                    <a:pt x="797" y="180"/>
                  </a:lnTo>
                  <a:lnTo>
                    <a:pt x="794" y="179"/>
                  </a:lnTo>
                  <a:lnTo>
                    <a:pt x="749" y="179"/>
                  </a:lnTo>
                  <a:lnTo>
                    <a:pt x="749" y="149"/>
                  </a:lnTo>
                  <a:lnTo>
                    <a:pt x="870" y="149"/>
                  </a:lnTo>
                  <a:lnTo>
                    <a:pt x="870" y="765"/>
                  </a:lnTo>
                  <a:close/>
                  <a:moveTo>
                    <a:pt x="134" y="870"/>
                  </a:moveTo>
                  <a:lnTo>
                    <a:pt x="123" y="870"/>
                  </a:lnTo>
                  <a:lnTo>
                    <a:pt x="111" y="867"/>
                  </a:lnTo>
                  <a:lnTo>
                    <a:pt x="100" y="865"/>
                  </a:lnTo>
                  <a:lnTo>
                    <a:pt x="90" y="862"/>
                  </a:lnTo>
                  <a:lnTo>
                    <a:pt x="80" y="859"/>
                  </a:lnTo>
                  <a:lnTo>
                    <a:pt x="71" y="854"/>
                  </a:lnTo>
                  <a:lnTo>
                    <a:pt x="64" y="848"/>
                  </a:lnTo>
                  <a:lnTo>
                    <a:pt x="56" y="842"/>
                  </a:lnTo>
                  <a:lnTo>
                    <a:pt x="50" y="835"/>
                  </a:lnTo>
                  <a:lnTo>
                    <a:pt x="45" y="827"/>
                  </a:lnTo>
                  <a:lnTo>
                    <a:pt x="40" y="818"/>
                  </a:lnTo>
                  <a:lnTo>
                    <a:pt x="36" y="810"/>
                  </a:lnTo>
                  <a:lnTo>
                    <a:pt x="33" y="799"/>
                  </a:lnTo>
                  <a:lnTo>
                    <a:pt x="31" y="788"/>
                  </a:lnTo>
                  <a:lnTo>
                    <a:pt x="30" y="777"/>
                  </a:lnTo>
                  <a:lnTo>
                    <a:pt x="30" y="765"/>
                  </a:lnTo>
                  <a:lnTo>
                    <a:pt x="30" y="30"/>
                  </a:lnTo>
                  <a:lnTo>
                    <a:pt x="629" y="30"/>
                  </a:lnTo>
                  <a:lnTo>
                    <a:pt x="629" y="765"/>
                  </a:lnTo>
                  <a:lnTo>
                    <a:pt x="630" y="780"/>
                  </a:lnTo>
                  <a:lnTo>
                    <a:pt x="632" y="796"/>
                  </a:lnTo>
                  <a:lnTo>
                    <a:pt x="637" y="810"/>
                  </a:lnTo>
                  <a:lnTo>
                    <a:pt x="643" y="824"/>
                  </a:lnTo>
                  <a:lnTo>
                    <a:pt x="650" y="836"/>
                  </a:lnTo>
                  <a:lnTo>
                    <a:pt x="659" y="849"/>
                  </a:lnTo>
                  <a:lnTo>
                    <a:pt x="669" y="860"/>
                  </a:lnTo>
                  <a:lnTo>
                    <a:pt x="679" y="870"/>
                  </a:lnTo>
                  <a:lnTo>
                    <a:pt x="134" y="870"/>
                  </a:lnTo>
                  <a:close/>
                  <a:moveTo>
                    <a:pt x="749" y="209"/>
                  </a:moveTo>
                  <a:lnTo>
                    <a:pt x="779" y="209"/>
                  </a:lnTo>
                  <a:lnTo>
                    <a:pt x="779" y="765"/>
                  </a:lnTo>
                  <a:lnTo>
                    <a:pt x="779" y="768"/>
                  </a:lnTo>
                  <a:lnTo>
                    <a:pt x="778" y="770"/>
                  </a:lnTo>
                  <a:lnTo>
                    <a:pt x="777" y="773"/>
                  </a:lnTo>
                  <a:lnTo>
                    <a:pt x="774" y="776"/>
                  </a:lnTo>
                  <a:lnTo>
                    <a:pt x="772" y="777"/>
                  </a:lnTo>
                  <a:lnTo>
                    <a:pt x="770" y="779"/>
                  </a:lnTo>
                  <a:lnTo>
                    <a:pt x="767" y="780"/>
                  </a:lnTo>
                  <a:lnTo>
                    <a:pt x="764" y="780"/>
                  </a:lnTo>
                  <a:lnTo>
                    <a:pt x="762" y="780"/>
                  </a:lnTo>
                  <a:lnTo>
                    <a:pt x="758" y="779"/>
                  </a:lnTo>
                  <a:lnTo>
                    <a:pt x="756" y="777"/>
                  </a:lnTo>
                  <a:lnTo>
                    <a:pt x="754" y="776"/>
                  </a:lnTo>
                  <a:lnTo>
                    <a:pt x="752" y="773"/>
                  </a:lnTo>
                  <a:lnTo>
                    <a:pt x="750" y="770"/>
                  </a:lnTo>
                  <a:lnTo>
                    <a:pt x="750" y="768"/>
                  </a:lnTo>
                  <a:lnTo>
                    <a:pt x="749" y="765"/>
                  </a:lnTo>
                  <a:lnTo>
                    <a:pt x="749" y="209"/>
                  </a:lnTo>
                  <a:close/>
                  <a:moveTo>
                    <a:pt x="884" y="120"/>
                  </a:moveTo>
                  <a:lnTo>
                    <a:pt x="749" y="120"/>
                  </a:lnTo>
                  <a:lnTo>
                    <a:pt x="749" y="75"/>
                  </a:lnTo>
                  <a:lnTo>
                    <a:pt x="749" y="72"/>
                  </a:lnTo>
                  <a:lnTo>
                    <a:pt x="748" y="69"/>
                  </a:lnTo>
                  <a:lnTo>
                    <a:pt x="747" y="66"/>
                  </a:lnTo>
                  <a:lnTo>
                    <a:pt x="745" y="64"/>
                  </a:lnTo>
                  <a:lnTo>
                    <a:pt x="742" y="63"/>
                  </a:lnTo>
                  <a:lnTo>
                    <a:pt x="740" y="61"/>
                  </a:lnTo>
                  <a:lnTo>
                    <a:pt x="737" y="60"/>
                  </a:lnTo>
                  <a:lnTo>
                    <a:pt x="734" y="60"/>
                  </a:lnTo>
                  <a:lnTo>
                    <a:pt x="659" y="60"/>
                  </a:lnTo>
                  <a:lnTo>
                    <a:pt x="659" y="15"/>
                  </a:lnTo>
                  <a:lnTo>
                    <a:pt x="659" y="12"/>
                  </a:lnTo>
                  <a:lnTo>
                    <a:pt x="658" y="10"/>
                  </a:lnTo>
                  <a:lnTo>
                    <a:pt x="657" y="6"/>
                  </a:lnTo>
                  <a:lnTo>
                    <a:pt x="655" y="4"/>
                  </a:lnTo>
                  <a:lnTo>
                    <a:pt x="653" y="2"/>
                  </a:lnTo>
                  <a:lnTo>
                    <a:pt x="650" y="1"/>
                  </a:lnTo>
                  <a:lnTo>
                    <a:pt x="647" y="0"/>
                  </a:lnTo>
                  <a:lnTo>
                    <a:pt x="644" y="0"/>
                  </a:lnTo>
                  <a:lnTo>
                    <a:pt x="15" y="0"/>
                  </a:lnTo>
                  <a:lnTo>
                    <a:pt x="12" y="0"/>
                  </a:lnTo>
                  <a:lnTo>
                    <a:pt x="8" y="1"/>
                  </a:lnTo>
                  <a:lnTo>
                    <a:pt x="6" y="2"/>
                  </a:lnTo>
                  <a:lnTo>
                    <a:pt x="4" y="4"/>
                  </a:lnTo>
                  <a:lnTo>
                    <a:pt x="2" y="6"/>
                  </a:lnTo>
                  <a:lnTo>
                    <a:pt x="1" y="10"/>
                  </a:lnTo>
                  <a:lnTo>
                    <a:pt x="0" y="12"/>
                  </a:lnTo>
                  <a:lnTo>
                    <a:pt x="0" y="15"/>
                  </a:lnTo>
                  <a:lnTo>
                    <a:pt x="0" y="765"/>
                  </a:lnTo>
                  <a:lnTo>
                    <a:pt x="0" y="780"/>
                  </a:lnTo>
                  <a:lnTo>
                    <a:pt x="2" y="795"/>
                  </a:lnTo>
                  <a:lnTo>
                    <a:pt x="5" y="808"/>
                  </a:lnTo>
                  <a:lnTo>
                    <a:pt x="8" y="820"/>
                  </a:lnTo>
                  <a:lnTo>
                    <a:pt x="14" y="833"/>
                  </a:lnTo>
                  <a:lnTo>
                    <a:pt x="20" y="844"/>
                  </a:lnTo>
                  <a:lnTo>
                    <a:pt x="28" y="855"/>
                  </a:lnTo>
                  <a:lnTo>
                    <a:pt x="36" y="863"/>
                  </a:lnTo>
                  <a:lnTo>
                    <a:pt x="45" y="872"/>
                  </a:lnTo>
                  <a:lnTo>
                    <a:pt x="55" y="879"/>
                  </a:lnTo>
                  <a:lnTo>
                    <a:pt x="66" y="886"/>
                  </a:lnTo>
                  <a:lnTo>
                    <a:pt x="78" y="890"/>
                  </a:lnTo>
                  <a:lnTo>
                    <a:pt x="91" y="894"/>
                  </a:lnTo>
                  <a:lnTo>
                    <a:pt x="105" y="897"/>
                  </a:lnTo>
                  <a:lnTo>
                    <a:pt x="119" y="899"/>
                  </a:lnTo>
                  <a:lnTo>
                    <a:pt x="134" y="899"/>
                  </a:lnTo>
                  <a:lnTo>
                    <a:pt x="764" y="899"/>
                  </a:lnTo>
                  <a:lnTo>
                    <a:pt x="778" y="898"/>
                  </a:lnTo>
                  <a:lnTo>
                    <a:pt x="792" y="897"/>
                  </a:lnTo>
                  <a:lnTo>
                    <a:pt x="804" y="893"/>
                  </a:lnTo>
                  <a:lnTo>
                    <a:pt x="817" y="889"/>
                  </a:lnTo>
                  <a:lnTo>
                    <a:pt x="829" y="883"/>
                  </a:lnTo>
                  <a:lnTo>
                    <a:pt x="840" y="877"/>
                  </a:lnTo>
                  <a:lnTo>
                    <a:pt x="850" y="869"/>
                  </a:lnTo>
                  <a:lnTo>
                    <a:pt x="860" y="860"/>
                  </a:lnTo>
                  <a:lnTo>
                    <a:pt x="868" y="850"/>
                  </a:lnTo>
                  <a:lnTo>
                    <a:pt x="876" y="840"/>
                  </a:lnTo>
                  <a:lnTo>
                    <a:pt x="882" y="829"/>
                  </a:lnTo>
                  <a:lnTo>
                    <a:pt x="889" y="817"/>
                  </a:lnTo>
                  <a:lnTo>
                    <a:pt x="893" y="804"/>
                  </a:lnTo>
                  <a:lnTo>
                    <a:pt x="896" y="792"/>
                  </a:lnTo>
                  <a:lnTo>
                    <a:pt x="898" y="779"/>
                  </a:lnTo>
                  <a:lnTo>
                    <a:pt x="899" y="765"/>
                  </a:lnTo>
                  <a:lnTo>
                    <a:pt x="899" y="135"/>
                  </a:lnTo>
                  <a:lnTo>
                    <a:pt x="898" y="131"/>
                  </a:lnTo>
                  <a:lnTo>
                    <a:pt x="898" y="129"/>
                  </a:lnTo>
                  <a:lnTo>
                    <a:pt x="896" y="126"/>
                  </a:lnTo>
                  <a:lnTo>
                    <a:pt x="895" y="124"/>
                  </a:lnTo>
                  <a:lnTo>
                    <a:pt x="893" y="123"/>
                  </a:lnTo>
                  <a:lnTo>
                    <a:pt x="890" y="121"/>
                  </a:lnTo>
                  <a:lnTo>
                    <a:pt x="888" y="121"/>
                  </a:lnTo>
                  <a:lnTo>
                    <a:pt x="88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6" name="Group 103">
            <a:extLst>
              <a:ext uri="{FF2B5EF4-FFF2-40B4-BE49-F238E27FC236}">
                <a16:creationId xmlns:a16="http://schemas.microsoft.com/office/drawing/2014/main" id="{F19A4FFA-B075-42D0-B690-F3F58462EFE1}"/>
              </a:ext>
            </a:extLst>
          </p:cNvPr>
          <p:cNvGrpSpPr>
            <a:grpSpLocks noChangeAspect="1"/>
          </p:cNvGrpSpPr>
          <p:nvPr/>
        </p:nvGrpSpPr>
        <p:grpSpPr>
          <a:xfrm>
            <a:off x="7854252" y="3801969"/>
            <a:ext cx="330657" cy="308144"/>
            <a:chOff x="893763" y="1054101"/>
            <a:chExt cx="746125" cy="695324"/>
          </a:xfrm>
          <a:solidFill>
            <a:schemeClr val="bg1"/>
          </a:solidFill>
        </p:grpSpPr>
        <p:sp>
          <p:nvSpPr>
            <p:cNvPr id="967" name="Freeform 18">
              <a:extLst>
                <a:ext uri="{FF2B5EF4-FFF2-40B4-BE49-F238E27FC236}">
                  <a16:creationId xmlns:a16="http://schemas.microsoft.com/office/drawing/2014/main" id="{D8FBCF28-7DE2-4561-92E5-91ED66F0CFC6}"/>
                </a:ext>
              </a:extLst>
            </p:cNvPr>
            <p:cNvSpPr>
              <a:spLocks noEditPoints="1"/>
            </p:cNvSpPr>
            <p:nvPr/>
          </p:nvSpPr>
          <p:spPr bwMode="auto">
            <a:xfrm>
              <a:off x="893763" y="1054101"/>
              <a:ext cx="746125" cy="695324"/>
            </a:xfrm>
            <a:custGeom>
              <a:avLst/>
              <a:gdLst>
                <a:gd name="T0" fmla="*/ 1197 w 1208"/>
                <a:gd name="T1" fmla="*/ 7 h 1017"/>
                <a:gd name="T2" fmla="*/ 1173 w 1208"/>
                <a:gd name="T3" fmla="*/ 2 h 1017"/>
                <a:gd name="T4" fmla="*/ 604 w 1208"/>
                <a:gd name="T5" fmla="*/ 152 h 1017"/>
                <a:gd name="T6" fmla="*/ 35 w 1208"/>
                <a:gd name="T7" fmla="*/ 2 h 1017"/>
                <a:gd name="T8" fmla="*/ 11 w 1208"/>
                <a:gd name="T9" fmla="*/ 7 h 1017"/>
                <a:gd name="T10" fmla="*/ 0 w 1208"/>
                <a:gd name="T11" fmla="*/ 29 h 1017"/>
                <a:gd name="T12" fmla="*/ 0 w 1208"/>
                <a:gd name="T13" fmla="*/ 837 h 1017"/>
                <a:gd name="T14" fmla="*/ 21 w 1208"/>
                <a:gd name="T15" fmla="*/ 864 h 1017"/>
                <a:gd name="T16" fmla="*/ 597 w 1208"/>
                <a:gd name="T17" fmla="*/ 1016 h 1017"/>
                <a:gd name="T18" fmla="*/ 599 w 1208"/>
                <a:gd name="T19" fmla="*/ 1016 h 1017"/>
                <a:gd name="T20" fmla="*/ 600 w 1208"/>
                <a:gd name="T21" fmla="*/ 1017 h 1017"/>
                <a:gd name="T22" fmla="*/ 604 w 1208"/>
                <a:gd name="T23" fmla="*/ 1017 h 1017"/>
                <a:gd name="T24" fmla="*/ 604 w 1208"/>
                <a:gd name="T25" fmla="*/ 1017 h 1017"/>
                <a:gd name="T26" fmla="*/ 604 w 1208"/>
                <a:gd name="T27" fmla="*/ 1017 h 1017"/>
                <a:gd name="T28" fmla="*/ 608 w 1208"/>
                <a:gd name="T29" fmla="*/ 1017 h 1017"/>
                <a:gd name="T30" fmla="*/ 609 w 1208"/>
                <a:gd name="T31" fmla="*/ 1016 h 1017"/>
                <a:gd name="T32" fmla="*/ 611 w 1208"/>
                <a:gd name="T33" fmla="*/ 1016 h 1017"/>
                <a:gd name="T34" fmla="*/ 1187 w 1208"/>
                <a:gd name="T35" fmla="*/ 864 h 1017"/>
                <a:gd name="T36" fmla="*/ 1208 w 1208"/>
                <a:gd name="T37" fmla="*/ 837 h 1017"/>
                <a:gd name="T38" fmla="*/ 1208 w 1208"/>
                <a:gd name="T39" fmla="*/ 29 h 1017"/>
                <a:gd name="T40" fmla="*/ 1197 w 1208"/>
                <a:gd name="T41" fmla="*/ 7 h 1017"/>
                <a:gd name="T42" fmla="*/ 56 w 1208"/>
                <a:gd name="T43" fmla="*/ 65 h 1017"/>
                <a:gd name="T44" fmla="*/ 576 w 1208"/>
                <a:gd name="T45" fmla="*/ 203 h 1017"/>
                <a:gd name="T46" fmla="*/ 576 w 1208"/>
                <a:gd name="T47" fmla="*/ 953 h 1017"/>
                <a:gd name="T48" fmla="*/ 56 w 1208"/>
                <a:gd name="T49" fmla="*/ 815 h 1017"/>
                <a:gd name="T50" fmla="*/ 56 w 1208"/>
                <a:gd name="T51" fmla="*/ 65 h 1017"/>
                <a:gd name="T52" fmla="*/ 1152 w 1208"/>
                <a:gd name="T53" fmla="*/ 815 h 1017"/>
                <a:gd name="T54" fmla="*/ 632 w 1208"/>
                <a:gd name="T55" fmla="*/ 953 h 1017"/>
                <a:gd name="T56" fmla="*/ 632 w 1208"/>
                <a:gd name="T57" fmla="*/ 203 h 1017"/>
                <a:gd name="T58" fmla="*/ 1152 w 1208"/>
                <a:gd name="T59" fmla="*/ 65 h 1017"/>
                <a:gd name="T60" fmla="*/ 1152 w 1208"/>
                <a:gd name="T61" fmla="*/ 815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8" h="1017">
                  <a:moveTo>
                    <a:pt x="1197" y="7"/>
                  </a:moveTo>
                  <a:cubicBezTo>
                    <a:pt x="1190" y="2"/>
                    <a:pt x="1181" y="0"/>
                    <a:pt x="1173" y="2"/>
                  </a:cubicBezTo>
                  <a:cubicBezTo>
                    <a:pt x="604" y="152"/>
                    <a:pt x="604" y="152"/>
                    <a:pt x="604" y="152"/>
                  </a:cubicBezTo>
                  <a:cubicBezTo>
                    <a:pt x="35" y="2"/>
                    <a:pt x="35" y="2"/>
                    <a:pt x="35" y="2"/>
                  </a:cubicBezTo>
                  <a:cubicBezTo>
                    <a:pt x="27" y="0"/>
                    <a:pt x="18" y="2"/>
                    <a:pt x="11" y="7"/>
                  </a:cubicBezTo>
                  <a:cubicBezTo>
                    <a:pt x="4" y="12"/>
                    <a:pt x="0" y="20"/>
                    <a:pt x="0" y="29"/>
                  </a:cubicBezTo>
                  <a:cubicBezTo>
                    <a:pt x="0" y="837"/>
                    <a:pt x="0" y="837"/>
                    <a:pt x="0" y="837"/>
                  </a:cubicBezTo>
                  <a:cubicBezTo>
                    <a:pt x="0" y="850"/>
                    <a:pt x="9" y="861"/>
                    <a:pt x="21" y="864"/>
                  </a:cubicBezTo>
                  <a:cubicBezTo>
                    <a:pt x="597" y="1016"/>
                    <a:pt x="597" y="1016"/>
                    <a:pt x="597" y="1016"/>
                  </a:cubicBezTo>
                  <a:cubicBezTo>
                    <a:pt x="597" y="1016"/>
                    <a:pt x="598" y="1016"/>
                    <a:pt x="599" y="1016"/>
                  </a:cubicBezTo>
                  <a:cubicBezTo>
                    <a:pt x="599" y="1016"/>
                    <a:pt x="599" y="1017"/>
                    <a:pt x="600" y="1017"/>
                  </a:cubicBezTo>
                  <a:cubicBezTo>
                    <a:pt x="601" y="1017"/>
                    <a:pt x="603" y="1017"/>
                    <a:pt x="604" y="1017"/>
                  </a:cubicBezTo>
                  <a:cubicBezTo>
                    <a:pt x="604" y="1017"/>
                    <a:pt x="604" y="1017"/>
                    <a:pt x="604" y="1017"/>
                  </a:cubicBezTo>
                  <a:cubicBezTo>
                    <a:pt x="604" y="1017"/>
                    <a:pt x="604" y="1017"/>
                    <a:pt x="604" y="1017"/>
                  </a:cubicBezTo>
                  <a:cubicBezTo>
                    <a:pt x="605" y="1017"/>
                    <a:pt x="607" y="1017"/>
                    <a:pt x="608" y="1017"/>
                  </a:cubicBezTo>
                  <a:cubicBezTo>
                    <a:pt x="609" y="1017"/>
                    <a:pt x="609" y="1016"/>
                    <a:pt x="609" y="1016"/>
                  </a:cubicBezTo>
                  <a:cubicBezTo>
                    <a:pt x="610" y="1016"/>
                    <a:pt x="611" y="1016"/>
                    <a:pt x="611" y="1016"/>
                  </a:cubicBezTo>
                  <a:cubicBezTo>
                    <a:pt x="1187" y="864"/>
                    <a:pt x="1187" y="864"/>
                    <a:pt x="1187" y="864"/>
                  </a:cubicBezTo>
                  <a:cubicBezTo>
                    <a:pt x="1199" y="861"/>
                    <a:pt x="1208" y="850"/>
                    <a:pt x="1208" y="837"/>
                  </a:cubicBezTo>
                  <a:cubicBezTo>
                    <a:pt x="1208" y="29"/>
                    <a:pt x="1208" y="29"/>
                    <a:pt x="1208" y="29"/>
                  </a:cubicBezTo>
                  <a:cubicBezTo>
                    <a:pt x="1208" y="20"/>
                    <a:pt x="1204" y="12"/>
                    <a:pt x="1197" y="7"/>
                  </a:cubicBezTo>
                  <a:close/>
                  <a:moveTo>
                    <a:pt x="56" y="65"/>
                  </a:moveTo>
                  <a:cubicBezTo>
                    <a:pt x="576" y="203"/>
                    <a:pt x="576" y="203"/>
                    <a:pt x="576" y="203"/>
                  </a:cubicBezTo>
                  <a:cubicBezTo>
                    <a:pt x="576" y="953"/>
                    <a:pt x="576" y="953"/>
                    <a:pt x="576" y="953"/>
                  </a:cubicBezTo>
                  <a:cubicBezTo>
                    <a:pt x="56" y="815"/>
                    <a:pt x="56" y="815"/>
                    <a:pt x="56" y="815"/>
                  </a:cubicBezTo>
                  <a:lnTo>
                    <a:pt x="56" y="65"/>
                  </a:lnTo>
                  <a:close/>
                  <a:moveTo>
                    <a:pt x="1152" y="815"/>
                  </a:moveTo>
                  <a:cubicBezTo>
                    <a:pt x="632" y="953"/>
                    <a:pt x="632" y="953"/>
                    <a:pt x="632" y="953"/>
                  </a:cubicBezTo>
                  <a:cubicBezTo>
                    <a:pt x="632" y="203"/>
                    <a:pt x="632" y="203"/>
                    <a:pt x="632" y="203"/>
                  </a:cubicBezTo>
                  <a:cubicBezTo>
                    <a:pt x="1152" y="65"/>
                    <a:pt x="1152" y="65"/>
                    <a:pt x="1152" y="65"/>
                  </a:cubicBezTo>
                  <a:lnTo>
                    <a:pt x="1152" y="8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9">
              <a:extLst>
                <a:ext uri="{FF2B5EF4-FFF2-40B4-BE49-F238E27FC236}">
                  <a16:creationId xmlns:a16="http://schemas.microsoft.com/office/drawing/2014/main" id="{E80F4104-57FA-4D13-8879-9C0DFAF6D93D}"/>
                </a:ext>
              </a:extLst>
            </p:cNvPr>
            <p:cNvSpPr>
              <a:spLocks/>
            </p:cNvSpPr>
            <p:nvPr/>
          </p:nvSpPr>
          <p:spPr bwMode="auto">
            <a:xfrm>
              <a:off x="960438" y="1208088"/>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20">
              <a:extLst>
                <a:ext uri="{FF2B5EF4-FFF2-40B4-BE49-F238E27FC236}">
                  <a16:creationId xmlns:a16="http://schemas.microsoft.com/office/drawing/2014/main" id="{2FDD4042-71FE-4606-A694-524D9833D380}"/>
                </a:ext>
              </a:extLst>
            </p:cNvPr>
            <p:cNvSpPr>
              <a:spLocks/>
            </p:cNvSpPr>
            <p:nvPr/>
          </p:nvSpPr>
          <p:spPr bwMode="auto">
            <a:xfrm>
              <a:off x="960438" y="1301750"/>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21">
              <a:extLst>
                <a:ext uri="{FF2B5EF4-FFF2-40B4-BE49-F238E27FC236}">
                  <a16:creationId xmlns:a16="http://schemas.microsoft.com/office/drawing/2014/main" id="{EB4BC74F-5CF1-429C-A34E-939042B7FC8A}"/>
                </a:ext>
              </a:extLst>
            </p:cNvPr>
            <p:cNvSpPr>
              <a:spLocks/>
            </p:cNvSpPr>
            <p:nvPr/>
          </p:nvSpPr>
          <p:spPr bwMode="auto">
            <a:xfrm>
              <a:off x="960438" y="1393825"/>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22">
              <a:extLst>
                <a:ext uri="{FF2B5EF4-FFF2-40B4-BE49-F238E27FC236}">
                  <a16:creationId xmlns:a16="http://schemas.microsoft.com/office/drawing/2014/main" id="{B53BC119-8F63-428F-8143-05DA82A4879B}"/>
                </a:ext>
              </a:extLst>
            </p:cNvPr>
            <p:cNvSpPr>
              <a:spLocks/>
            </p:cNvSpPr>
            <p:nvPr/>
          </p:nvSpPr>
          <p:spPr bwMode="auto">
            <a:xfrm>
              <a:off x="960438" y="1487488"/>
              <a:ext cx="258763" cy="79375"/>
            </a:xfrm>
            <a:custGeom>
              <a:avLst/>
              <a:gdLst>
                <a:gd name="T0" fmla="*/ 398 w 418"/>
                <a:gd name="T1" fmla="*/ 116 h 116"/>
                <a:gd name="T2" fmla="*/ 394 w 418"/>
                <a:gd name="T3" fmla="*/ 116 h 116"/>
                <a:gd name="T4" fmla="*/ 16 w 418"/>
                <a:gd name="T5" fmla="*/ 38 h 116"/>
                <a:gd name="T6" fmla="*/ 2 w 418"/>
                <a:gd name="T7" fmla="*/ 16 h 116"/>
                <a:gd name="T8" fmla="*/ 24 w 418"/>
                <a:gd name="T9" fmla="*/ 2 h 116"/>
                <a:gd name="T10" fmla="*/ 402 w 418"/>
                <a:gd name="T11" fmla="*/ 80 h 116"/>
                <a:gd name="T12" fmla="*/ 416 w 418"/>
                <a:gd name="T13" fmla="*/ 102 h 116"/>
                <a:gd name="T14" fmla="*/ 398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398" y="116"/>
                  </a:moveTo>
                  <a:cubicBezTo>
                    <a:pt x="397" y="116"/>
                    <a:pt x="396" y="116"/>
                    <a:pt x="394" y="116"/>
                  </a:cubicBezTo>
                  <a:cubicBezTo>
                    <a:pt x="16" y="38"/>
                    <a:pt x="16" y="38"/>
                    <a:pt x="16" y="38"/>
                  </a:cubicBezTo>
                  <a:cubicBezTo>
                    <a:pt x="7" y="36"/>
                    <a:pt x="0" y="26"/>
                    <a:pt x="2" y="16"/>
                  </a:cubicBezTo>
                  <a:cubicBezTo>
                    <a:pt x="4" y="7"/>
                    <a:pt x="14" y="0"/>
                    <a:pt x="24" y="2"/>
                  </a:cubicBezTo>
                  <a:cubicBezTo>
                    <a:pt x="402" y="80"/>
                    <a:pt x="402" y="80"/>
                    <a:pt x="402" y="80"/>
                  </a:cubicBezTo>
                  <a:cubicBezTo>
                    <a:pt x="411" y="82"/>
                    <a:pt x="418" y="92"/>
                    <a:pt x="416" y="102"/>
                  </a:cubicBezTo>
                  <a:cubicBezTo>
                    <a:pt x="414" y="110"/>
                    <a:pt x="406" y="116"/>
                    <a:pt x="39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23">
              <a:extLst>
                <a:ext uri="{FF2B5EF4-FFF2-40B4-BE49-F238E27FC236}">
                  <a16:creationId xmlns:a16="http://schemas.microsoft.com/office/drawing/2014/main" id="{0AD9D7BA-D37C-4EBD-80C4-80A205489165}"/>
                </a:ext>
              </a:extLst>
            </p:cNvPr>
            <p:cNvSpPr>
              <a:spLocks/>
            </p:cNvSpPr>
            <p:nvPr/>
          </p:nvSpPr>
          <p:spPr bwMode="auto">
            <a:xfrm>
              <a:off x="1314451" y="1208088"/>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24">
              <a:extLst>
                <a:ext uri="{FF2B5EF4-FFF2-40B4-BE49-F238E27FC236}">
                  <a16:creationId xmlns:a16="http://schemas.microsoft.com/office/drawing/2014/main" id="{93F8A8A4-96CB-49CD-A1CF-550066D25644}"/>
                </a:ext>
              </a:extLst>
            </p:cNvPr>
            <p:cNvSpPr>
              <a:spLocks/>
            </p:cNvSpPr>
            <p:nvPr/>
          </p:nvSpPr>
          <p:spPr bwMode="auto">
            <a:xfrm>
              <a:off x="1314451" y="1301750"/>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25">
              <a:extLst>
                <a:ext uri="{FF2B5EF4-FFF2-40B4-BE49-F238E27FC236}">
                  <a16:creationId xmlns:a16="http://schemas.microsoft.com/office/drawing/2014/main" id="{9E5A7001-CD96-4476-BDD8-3ED2FEC0B279}"/>
                </a:ext>
              </a:extLst>
            </p:cNvPr>
            <p:cNvSpPr>
              <a:spLocks/>
            </p:cNvSpPr>
            <p:nvPr/>
          </p:nvSpPr>
          <p:spPr bwMode="auto">
            <a:xfrm>
              <a:off x="1314451" y="1393825"/>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26">
              <a:extLst>
                <a:ext uri="{FF2B5EF4-FFF2-40B4-BE49-F238E27FC236}">
                  <a16:creationId xmlns:a16="http://schemas.microsoft.com/office/drawing/2014/main" id="{29632C16-B4E2-41B2-A791-9469AD0DA4A8}"/>
                </a:ext>
              </a:extLst>
            </p:cNvPr>
            <p:cNvSpPr>
              <a:spLocks/>
            </p:cNvSpPr>
            <p:nvPr/>
          </p:nvSpPr>
          <p:spPr bwMode="auto">
            <a:xfrm>
              <a:off x="1314451" y="1487488"/>
              <a:ext cx="258763" cy="79375"/>
            </a:xfrm>
            <a:custGeom>
              <a:avLst/>
              <a:gdLst>
                <a:gd name="T0" fmla="*/ 20 w 418"/>
                <a:gd name="T1" fmla="*/ 116 h 116"/>
                <a:gd name="T2" fmla="*/ 24 w 418"/>
                <a:gd name="T3" fmla="*/ 116 h 116"/>
                <a:gd name="T4" fmla="*/ 402 w 418"/>
                <a:gd name="T5" fmla="*/ 38 h 116"/>
                <a:gd name="T6" fmla="*/ 416 w 418"/>
                <a:gd name="T7" fmla="*/ 16 h 116"/>
                <a:gd name="T8" fmla="*/ 394 w 418"/>
                <a:gd name="T9" fmla="*/ 2 h 116"/>
                <a:gd name="T10" fmla="*/ 16 w 418"/>
                <a:gd name="T11" fmla="*/ 80 h 116"/>
                <a:gd name="T12" fmla="*/ 2 w 418"/>
                <a:gd name="T13" fmla="*/ 102 h 116"/>
                <a:gd name="T14" fmla="*/ 20 w 418"/>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116">
                  <a:moveTo>
                    <a:pt x="20" y="116"/>
                  </a:moveTo>
                  <a:cubicBezTo>
                    <a:pt x="21" y="116"/>
                    <a:pt x="22" y="116"/>
                    <a:pt x="24" y="116"/>
                  </a:cubicBezTo>
                  <a:cubicBezTo>
                    <a:pt x="402" y="38"/>
                    <a:pt x="402" y="38"/>
                    <a:pt x="402" y="38"/>
                  </a:cubicBezTo>
                  <a:cubicBezTo>
                    <a:pt x="411" y="36"/>
                    <a:pt x="418" y="26"/>
                    <a:pt x="416" y="16"/>
                  </a:cubicBezTo>
                  <a:cubicBezTo>
                    <a:pt x="414" y="7"/>
                    <a:pt x="404" y="0"/>
                    <a:pt x="394" y="2"/>
                  </a:cubicBezTo>
                  <a:cubicBezTo>
                    <a:pt x="16" y="80"/>
                    <a:pt x="16" y="80"/>
                    <a:pt x="16" y="80"/>
                  </a:cubicBezTo>
                  <a:cubicBezTo>
                    <a:pt x="7" y="82"/>
                    <a:pt x="0" y="92"/>
                    <a:pt x="2" y="102"/>
                  </a:cubicBezTo>
                  <a:cubicBezTo>
                    <a:pt x="4" y="110"/>
                    <a:pt x="12" y="116"/>
                    <a:pt x="2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0" name="Group 76">
            <a:extLst>
              <a:ext uri="{FF2B5EF4-FFF2-40B4-BE49-F238E27FC236}">
                <a16:creationId xmlns:a16="http://schemas.microsoft.com/office/drawing/2014/main" id="{08F15AC5-9326-4811-AF33-BC12D74D7C6C}"/>
              </a:ext>
            </a:extLst>
          </p:cNvPr>
          <p:cNvGrpSpPr>
            <a:grpSpLocks noChangeAspect="1"/>
          </p:cNvGrpSpPr>
          <p:nvPr/>
        </p:nvGrpSpPr>
        <p:grpSpPr>
          <a:xfrm>
            <a:off x="8294203" y="3801969"/>
            <a:ext cx="308145" cy="308144"/>
            <a:chOff x="6832600" y="-1198563"/>
            <a:chExt cx="371476" cy="371475"/>
          </a:xfrm>
          <a:solidFill>
            <a:schemeClr val="bg1"/>
          </a:solidFill>
          <a:effectLst/>
        </p:grpSpPr>
        <p:sp>
          <p:nvSpPr>
            <p:cNvPr id="981" name="Freeform 5">
              <a:extLst>
                <a:ext uri="{FF2B5EF4-FFF2-40B4-BE49-F238E27FC236}">
                  <a16:creationId xmlns:a16="http://schemas.microsoft.com/office/drawing/2014/main" id="{29BA8E58-F6CB-477D-896C-6FEA8C68C3B7}"/>
                </a:ext>
              </a:extLst>
            </p:cNvPr>
            <p:cNvSpPr>
              <a:spLocks/>
            </p:cNvSpPr>
            <p:nvPr/>
          </p:nvSpPr>
          <p:spPr bwMode="auto">
            <a:xfrm>
              <a:off x="6832600" y="-1166813"/>
              <a:ext cx="309563" cy="339725"/>
            </a:xfrm>
            <a:custGeom>
              <a:avLst/>
              <a:gdLst>
                <a:gd name="T0" fmla="*/ 78 w 80"/>
                <a:gd name="T1" fmla="*/ 88 h 88"/>
                <a:gd name="T2" fmla="*/ 2 w 80"/>
                <a:gd name="T3" fmla="*/ 88 h 88"/>
                <a:gd name="T4" fmla="*/ 0 w 80"/>
                <a:gd name="T5" fmla="*/ 86 h 88"/>
                <a:gd name="T6" fmla="*/ 0 w 80"/>
                <a:gd name="T7" fmla="*/ 2 h 88"/>
                <a:gd name="T8" fmla="*/ 2 w 80"/>
                <a:gd name="T9" fmla="*/ 0 h 88"/>
                <a:gd name="T10" fmla="*/ 58 w 80"/>
                <a:gd name="T11" fmla="*/ 0 h 88"/>
                <a:gd name="T12" fmla="*/ 60 w 80"/>
                <a:gd name="T13" fmla="*/ 2 h 88"/>
                <a:gd name="T14" fmla="*/ 58 w 80"/>
                <a:gd name="T15" fmla="*/ 4 h 88"/>
                <a:gd name="T16" fmla="*/ 4 w 80"/>
                <a:gd name="T17" fmla="*/ 4 h 88"/>
                <a:gd name="T18" fmla="*/ 4 w 80"/>
                <a:gd name="T19" fmla="*/ 84 h 88"/>
                <a:gd name="T20" fmla="*/ 76 w 80"/>
                <a:gd name="T21" fmla="*/ 84 h 88"/>
                <a:gd name="T22" fmla="*/ 76 w 80"/>
                <a:gd name="T23" fmla="*/ 38 h 88"/>
                <a:gd name="T24" fmla="*/ 78 w 80"/>
                <a:gd name="T25" fmla="*/ 36 h 88"/>
                <a:gd name="T26" fmla="*/ 80 w 80"/>
                <a:gd name="T27" fmla="*/ 38 h 88"/>
                <a:gd name="T28" fmla="*/ 80 w 80"/>
                <a:gd name="T29" fmla="*/ 86 h 88"/>
                <a:gd name="T30" fmla="*/ 78 w 80"/>
                <a:gd name="T3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8">
                  <a:moveTo>
                    <a:pt x="78" y="88"/>
                  </a:moveTo>
                  <a:cubicBezTo>
                    <a:pt x="2" y="88"/>
                    <a:pt x="2" y="88"/>
                    <a:pt x="2" y="88"/>
                  </a:cubicBezTo>
                  <a:cubicBezTo>
                    <a:pt x="1" y="88"/>
                    <a:pt x="0" y="87"/>
                    <a:pt x="0" y="86"/>
                  </a:cubicBezTo>
                  <a:cubicBezTo>
                    <a:pt x="0" y="2"/>
                    <a:pt x="0" y="2"/>
                    <a:pt x="0" y="2"/>
                  </a:cubicBezTo>
                  <a:cubicBezTo>
                    <a:pt x="0" y="1"/>
                    <a:pt x="1" y="0"/>
                    <a:pt x="2" y="0"/>
                  </a:cubicBezTo>
                  <a:cubicBezTo>
                    <a:pt x="58" y="0"/>
                    <a:pt x="58" y="0"/>
                    <a:pt x="58" y="0"/>
                  </a:cubicBezTo>
                  <a:cubicBezTo>
                    <a:pt x="59" y="0"/>
                    <a:pt x="60" y="1"/>
                    <a:pt x="60" y="2"/>
                  </a:cubicBezTo>
                  <a:cubicBezTo>
                    <a:pt x="60" y="3"/>
                    <a:pt x="59" y="4"/>
                    <a:pt x="58" y="4"/>
                  </a:cubicBezTo>
                  <a:cubicBezTo>
                    <a:pt x="4" y="4"/>
                    <a:pt x="4" y="4"/>
                    <a:pt x="4" y="4"/>
                  </a:cubicBezTo>
                  <a:cubicBezTo>
                    <a:pt x="4" y="84"/>
                    <a:pt x="4" y="84"/>
                    <a:pt x="4" y="84"/>
                  </a:cubicBezTo>
                  <a:cubicBezTo>
                    <a:pt x="76" y="84"/>
                    <a:pt x="76" y="84"/>
                    <a:pt x="76" y="84"/>
                  </a:cubicBezTo>
                  <a:cubicBezTo>
                    <a:pt x="76" y="38"/>
                    <a:pt x="76" y="38"/>
                    <a:pt x="76" y="38"/>
                  </a:cubicBezTo>
                  <a:cubicBezTo>
                    <a:pt x="76" y="37"/>
                    <a:pt x="77" y="36"/>
                    <a:pt x="78" y="36"/>
                  </a:cubicBezTo>
                  <a:cubicBezTo>
                    <a:pt x="79" y="36"/>
                    <a:pt x="80" y="37"/>
                    <a:pt x="80" y="38"/>
                  </a:cubicBezTo>
                  <a:cubicBezTo>
                    <a:pt x="80" y="86"/>
                    <a:pt x="80" y="86"/>
                    <a:pt x="80" y="86"/>
                  </a:cubicBezTo>
                  <a:cubicBezTo>
                    <a:pt x="80" y="87"/>
                    <a:pt x="79" y="88"/>
                    <a:pt x="7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2" name="Freeform 6">
              <a:extLst>
                <a:ext uri="{FF2B5EF4-FFF2-40B4-BE49-F238E27FC236}">
                  <a16:creationId xmlns:a16="http://schemas.microsoft.com/office/drawing/2014/main" id="{47B43BBD-5C69-4286-8375-991C348A0B23}"/>
                </a:ext>
              </a:extLst>
            </p:cNvPr>
            <p:cNvSpPr>
              <a:spLocks noEditPoints="1"/>
            </p:cNvSpPr>
            <p:nvPr/>
          </p:nvSpPr>
          <p:spPr bwMode="auto">
            <a:xfrm>
              <a:off x="6945313" y="-1198563"/>
              <a:ext cx="258763" cy="258763"/>
            </a:xfrm>
            <a:custGeom>
              <a:avLst/>
              <a:gdLst>
                <a:gd name="T0" fmla="*/ 2 w 67"/>
                <a:gd name="T1" fmla="*/ 67 h 67"/>
                <a:gd name="T2" fmla="*/ 1 w 67"/>
                <a:gd name="T3" fmla="*/ 66 h 67"/>
                <a:gd name="T4" fmla="*/ 1 w 67"/>
                <a:gd name="T5" fmla="*/ 64 h 67"/>
                <a:gd name="T6" fmla="*/ 9 w 67"/>
                <a:gd name="T7" fmla="*/ 44 h 67"/>
                <a:gd name="T8" fmla="*/ 10 w 67"/>
                <a:gd name="T9" fmla="*/ 43 h 67"/>
                <a:gd name="T10" fmla="*/ 52 w 67"/>
                <a:gd name="T11" fmla="*/ 1 h 67"/>
                <a:gd name="T12" fmla="*/ 55 w 67"/>
                <a:gd name="T13" fmla="*/ 1 h 67"/>
                <a:gd name="T14" fmla="*/ 66 w 67"/>
                <a:gd name="T15" fmla="*/ 12 h 67"/>
                <a:gd name="T16" fmla="*/ 66 w 67"/>
                <a:gd name="T17" fmla="*/ 15 h 67"/>
                <a:gd name="T18" fmla="*/ 24 w 67"/>
                <a:gd name="T19" fmla="*/ 58 h 67"/>
                <a:gd name="T20" fmla="*/ 23 w 67"/>
                <a:gd name="T21" fmla="*/ 58 h 67"/>
                <a:gd name="T22" fmla="*/ 3 w 67"/>
                <a:gd name="T23" fmla="*/ 66 h 67"/>
                <a:gd name="T24" fmla="*/ 2 w 67"/>
                <a:gd name="T25" fmla="*/ 67 h 67"/>
                <a:gd name="T26" fmla="*/ 13 w 67"/>
                <a:gd name="T27" fmla="*/ 46 h 67"/>
                <a:gd name="T28" fmla="*/ 6 w 67"/>
                <a:gd name="T29" fmla="*/ 61 h 67"/>
                <a:gd name="T30" fmla="*/ 21 w 67"/>
                <a:gd name="T31" fmla="*/ 54 h 67"/>
                <a:gd name="T32" fmla="*/ 62 w 67"/>
                <a:gd name="T33" fmla="*/ 13 h 67"/>
                <a:gd name="T34" fmla="*/ 54 w 67"/>
                <a:gd name="T35" fmla="*/ 5 h 67"/>
                <a:gd name="T36" fmla="*/ 13 w 67"/>
                <a:gd name="T37" fmla="*/ 4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67">
                  <a:moveTo>
                    <a:pt x="2" y="67"/>
                  </a:moveTo>
                  <a:cubicBezTo>
                    <a:pt x="2" y="67"/>
                    <a:pt x="1" y="66"/>
                    <a:pt x="1" y="66"/>
                  </a:cubicBezTo>
                  <a:cubicBezTo>
                    <a:pt x="1" y="65"/>
                    <a:pt x="0" y="65"/>
                    <a:pt x="1" y="64"/>
                  </a:cubicBezTo>
                  <a:cubicBezTo>
                    <a:pt x="9" y="44"/>
                    <a:pt x="9" y="44"/>
                    <a:pt x="9" y="44"/>
                  </a:cubicBezTo>
                  <a:cubicBezTo>
                    <a:pt x="9" y="44"/>
                    <a:pt x="9" y="44"/>
                    <a:pt x="10" y="43"/>
                  </a:cubicBezTo>
                  <a:cubicBezTo>
                    <a:pt x="52" y="1"/>
                    <a:pt x="52" y="1"/>
                    <a:pt x="52" y="1"/>
                  </a:cubicBezTo>
                  <a:cubicBezTo>
                    <a:pt x="53" y="0"/>
                    <a:pt x="54" y="0"/>
                    <a:pt x="55" y="1"/>
                  </a:cubicBezTo>
                  <a:cubicBezTo>
                    <a:pt x="66" y="12"/>
                    <a:pt x="66" y="12"/>
                    <a:pt x="66" y="12"/>
                  </a:cubicBezTo>
                  <a:cubicBezTo>
                    <a:pt x="67" y="13"/>
                    <a:pt x="67" y="14"/>
                    <a:pt x="66" y="15"/>
                  </a:cubicBezTo>
                  <a:cubicBezTo>
                    <a:pt x="24" y="58"/>
                    <a:pt x="24" y="58"/>
                    <a:pt x="24" y="58"/>
                  </a:cubicBezTo>
                  <a:cubicBezTo>
                    <a:pt x="24" y="58"/>
                    <a:pt x="23" y="58"/>
                    <a:pt x="23" y="58"/>
                  </a:cubicBezTo>
                  <a:cubicBezTo>
                    <a:pt x="3" y="66"/>
                    <a:pt x="3" y="66"/>
                    <a:pt x="3" y="66"/>
                  </a:cubicBezTo>
                  <a:cubicBezTo>
                    <a:pt x="3" y="67"/>
                    <a:pt x="3" y="67"/>
                    <a:pt x="2" y="67"/>
                  </a:cubicBezTo>
                  <a:close/>
                  <a:moveTo>
                    <a:pt x="13" y="46"/>
                  </a:moveTo>
                  <a:cubicBezTo>
                    <a:pt x="6" y="61"/>
                    <a:pt x="6" y="61"/>
                    <a:pt x="6" y="61"/>
                  </a:cubicBezTo>
                  <a:cubicBezTo>
                    <a:pt x="21" y="54"/>
                    <a:pt x="21" y="54"/>
                    <a:pt x="21" y="54"/>
                  </a:cubicBezTo>
                  <a:cubicBezTo>
                    <a:pt x="62" y="13"/>
                    <a:pt x="62" y="13"/>
                    <a:pt x="62" y="13"/>
                  </a:cubicBezTo>
                  <a:cubicBezTo>
                    <a:pt x="54" y="5"/>
                    <a:pt x="54" y="5"/>
                    <a:pt x="54" y="5"/>
                  </a:cubicBezTo>
                  <a:lnTo>
                    <a:pt x="1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3" name="Freeform 7">
              <a:extLst>
                <a:ext uri="{FF2B5EF4-FFF2-40B4-BE49-F238E27FC236}">
                  <a16:creationId xmlns:a16="http://schemas.microsoft.com/office/drawing/2014/main" id="{1B3308EC-2441-4798-95D3-0FFD454A820E}"/>
                </a:ext>
              </a:extLst>
            </p:cNvPr>
            <p:cNvSpPr>
              <a:spLocks/>
            </p:cNvSpPr>
            <p:nvPr/>
          </p:nvSpPr>
          <p:spPr bwMode="auto">
            <a:xfrm>
              <a:off x="7115175" y="-1171576"/>
              <a:ext cx="61913" cy="61913"/>
            </a:xfrm>
            <a:custGeom>
              <a:avLst/>
              <a:gdLst>
                <a:gd name="T0" fmla="*/ 14 w 16"/>
                <a:gd name="T1" fmla="*/ 16 h 16"/>
                <a:gd name="T2" fmla="*/ 12 w 16"/>
                <a:gd name="T3" fmla="*/ 15 h 16"/>
                <a:gd name="T4" fmla="*/ 1 w 16"/>
                <a:gd name="T5" fmla="*/ 4 h 16"/>
                <a:gd name="T6" fmla="*/ 1 w 16"/>
                <a:gd name="T7" fmla="*/ 1 h 16"/>
                <a:gd name="T8" fmla="*/ 4 w 16"/>
                <a:gd name="T9" fmla="*/ 1 h 16"/>
                <a:gd name="T10" fmla="*/ 15 w 16"/>
                <a:gd name="T11" fmla="*/ 12 h 16"/>
                <a:gd name="T12" fmla="*/ 15 w 16"/>
                <a:gd name="T13" fmla="*/ 15 h 16"/>
                <a:gd name="T14" fmla="*/ 14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14" y="16"/>
                  </a:moveTo>
                  <a:cubicBezTo>
                    <a:pt x="13" y="16"/>
                    <a:pt x="13" y="16"/>
                    <a:pt x="12" y="15"/>
                  </a:cubicBezTo>
                  <a:cubicBezTo>
                    <a:pt x="1" y="4"/>
                    <a:pt x="1" y="4"/>
                    <a:pt x="1" y="4"/>
                  </a:cubicBezTo>
                  <a:cubicBezTo>
                    <a:pt x="0" y="3"/>
                    <a:pt x="0" y="2"/>
                    <a:pt x="1" y="1"/>
                  </a:cubicBezTo>
                  <a:cubicBezTo>
                    <a:pt x="2" y="0"/>
                    <a:pt x="3" y="0"/>
                    <a:pt x="4" y="1"/>
                  </a:cubicBezTo>
                  <a:cubicBezTo>
                    <a:pt x="15" y="12"/>
                    <a:pt x="15" y="12"/>
                    <a:pt x="15" y="12"/>
                  </a:cubicBezTo>
                  <a:cubicBezTo>
                    <a:pt x="16" y="13"/>
                    <a:pt x="16" y="14"/>
                    <a:pt x="15" y="15"/>
                  </a:cubicBezTo>
                  <a:cubicBezTo>
                    <a:pt x="15" y="16"/>
                    <a:pt x="14" y="16"/>
                    <a:pt x="1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4" name="Freeform 8">
              <a:extLst>
                <a:ext uri="{FF2B5EF4-FFF2-40B4-BE49-F238E27FC236}">
                  <a16:creationId xmlns:a16="http://schemas.microsoft.com/office/drawing/2014/main" id="{81FF958F-F350-4EC4-9CE9-8976DECC30AC}"/>
                </a:ext>
              </a:extLst>
            </p:cNvPr>
            <p:cNvSpPr>
              <a:spLocks/>
            </p:cNvSpPr>
            <p:nvPr/>
          </p:nvSpPr>
          <p:spPr bwMode="auto">
            <a:xfrm>
              <a:off x="6980238" y="-1031876"/>
              <a:ext cx="57150" cy="57150"/>
            </a:xfrm>
            <a:custGeom>
              <a:avLst/>
              <a:gdLst>
                <a:gd name="T0" fmla="*/ 13 w 15"/>
                <a:gd name="T1" fmla="*/ 15 h 15"/>
                <a:gd name="T2" fmla="*/ 12 w 15"/>
                <a:gd name="T3" fmla="*/ 15 h 15"/>
                <a:gd name="T4" fmla="*/ 1 w 15"/>
                <a:gd name="T5" fmla="*/ 3 h 15"/>
                <a:gd name="T6" fmla="*/ 1 w 15"/>
                <a:gd name="T7" fmla="*/ 0 h 15"/>
                <a:gd name="T8" fmla="*/ 3 w 15"/>
                <a:gd name="T9" fmla="*/ 0 h 15"/>
                <a:gd name="T10" fmla="*/ 15 w 15"/>
                <a:gd name="T11" fmla="*/ 12 h 15"/>
                <a:gd name="T12" fmla="*/ 15 w 15"/>
                <a:gd name="T13" fmla="*/ 15 h 15"/>
                <a:gd name="T14" fmla="*/ 13 w 1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13" y="15"/>
                  </a:moveTo>
                  <a:cubicBezTo>
                    <a:pt x="13" y="15"/>
                    <a:pt x="12" y="15"/>
                    <a:pt x="12" y="15"/>
                  </a:cubicBezTo>
                  <a:cubicBezTo>
                    <a:pt x="1" y="3"/>
                    <a:pt x="1" y="3"/>
                    <a:pt x="1" y="3"/>
                  </a:cubicBezTo>
                  <a:cubicBezTo>
                    <a:pt x="0" y="2"/>
                    <a:pt x="0" y="1"/>
                    <a:pt x="1" y="0"/>
                  </a:cubicBezTo>
                  <a:cubicBezTo>
                    <a:pt x="1" y="0"/>
                    <a:pt x="3" y="0"/>
                    <a:pt x="3" y="0"/>
                  </a:cubicBezTo>
                  <a:cubicBezTo>
                    <a:pt x="15" y="12"/>
                    <a:pt x="15" y="12"/>
                    <a:pt x="15" y="12"/>
                  </a:cubicBezTo>
                  <a:cubicBezTo>
                    <a:pt x="15" y="12"/>
                    <a:pt x="15" y="14"/>
                    <a:pt x="15" y="15"/>
                  </a:cubicBezTo>
                  <a:cubicBezTo>
                    <a:pt x="14" y="15"/>
                    <a:pt x="14" y="15"/>
                    <a:pt x="1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08" name="Freeform 79">
            <a:extLst>
              <a:ext uri="{FF2B5EF4-FFF2-40B4-BE49-F238E27FC236}">
                <a16:creationId xmlns:a16="http://schemas.microsoft.com/office/drawing/2014/main" id="{9EFF79E3-8069-464F-B32B-1FA4C771C46B}"/>
              </a:ext>
            </a:extLst>
          </p:cNvPr>
          <p:cNvSpPr>
            <a:spLocks noChangeAspect="1" noEditPoints="1"/>
          </p:cNvSpPr>
          <p:nvPr/>
        </p:nvSpPr>
        <p:spPr bwMode="auto">
          <a:xfrm>
            <a:off x="701722" y="2186361"/>
            <a:ext cx="224755" cy="306484"/>
          </a:xfrm>
          <a:custGeom>
            <a:avLst/>
            <a:gdLst>
              <a:gd name="T0" fmla="*/ 388 w 659"/>
              <a:gd name="T1" fmla="*/ 627 h 898"/>
              <a:gd name="T2" fmla="*/ 272 w 659"/>
              <a:gd name="T3" fmla="*/ 627 h 898"/>
              <a:gd name="T4" fmla="*/ 250 w 659"/>
              <a:gd name="T5" fmla="*/ 618 h 898"/>
              <a:gd name="T6" fmla="*/ 191 w 659"/>
              <a:gd name="T7" fmla="*/ 594 h 898"/>
              <a:gd name="T8" fmla="*/ 112 w 659"/>
              <a:gd name="T9" fmla="*/ 534 h 898"/>
              <a:gd name="T10" fmla="*/ 57 w 659"/>
              <a:gd name="T11" fmla="*/ 452 h 898"/>
              <a:gd name="T12" fmla="*/ 32 w 659"/>
              <a:gd name="T13" fmla="*/ 367 h 898"/>
              <a:gd name="T14" fmla="*/ 31 w 659"/>
              <a:gd name="T15" fmla="*/ 314 h 898"/>
              <a:gd name="T16" fmla="*/ 40 w 659"/>
              <a:gd name="T17" fmla="*/ 254 h 898"/>
              <a:gd name="T18" fmla="*/ 60 w 659"/>
              <a:gd name="T19" fmla="*/ 200 h 898"/>
              <a:gd name="T20" fmla="*/ 90 w 659"/>
              <a:gd name="T21" fmla="*/ 149 h 898"/>
              <a:gd name="T22" fmla="*/ 129 w 659"/>
              <a:gd name="T23" fmla="*/ 108 h 898"/>
              <a:gd name="T24" fmla="*/ 175 w 659"/>
              <a:gd name="T25" fmla="*/ 73 h 898"/>
              <a:gd name="T26" fmla="*/ 227 w 659"/>
              <a:gd name="T27" fmla="*/ 48 h 898"/>
              <a:gd name="T28" fmla="*/ 285 w 659"/>
              <a:gd name="T29" fmla="*/ 33 h 898"/>
              <a:gd name="T30" fmla="*/ 346 w 659"/>
              <a:gd name="T31" fmla="*/ 29 h 898"/>
              <a:gd name="T32" fmla="*/ 405 w 659"/>
              <a:gd name="T33" fmla="*/ 39 h 898"/>
              <a:gd name="T34" fmla="*/ 460 w 659"/>
              <a:gd name="T35" fmla="*/ 59 h 898"/>
              <a:gd name="T36" fmla="*/ 510 w 659"/>
              <a:gd name="T37" fmla="*/ 89 h 898"/>
              <a:gd name="T38" fmla="*/ 551 w 659"/>
              <a:gd name="T39" fmla="*/ 128 h 898"/>
              <a:gd name="T40" fmla="*/ 587 w 659"/>
              <a:gd name="T41" fmla="*/ 174 h 898"/>
              <a:gd name="T42" fmla="*/ 611 w 659"/>
              <a:gd name="T43" fmla="*/ 226 h 898"/>
              <a:gd name="T44" fmla="*/ 626 w 659"/>
              <a:gd name="T45" fmla="*/ 283 h 898"/>
              <a:gd name="T46" fmla="*/ 630 w 659"/>
              <a:gd name="T47" fmla="*/ 342 h 898"/>
              <a:gd name="T48" fmla="*/ 620 w 659"/>
              <a:gd name="T49" fmla="*/ 405 h 898"/>
              <a:gd name="T50" fmla="*/ 579 w 659"/>
              <a:gd name="T51" fmla="*/ 496 h 898"/>
              <a:gd name="T52" fmla="*/ 512 w 659"/>
              <a:gd name="T53" fmla="*/ 567 h 898"/>
              <a:gd name="T54" fmla="*/ 435 w 659"/>
              <a:gd name="T55" fmla="*/ 609 h 898"/>
              <a:gd name="T56" fmla="*/ 330 w 659"/>
              <a:gd name="T57" fmla="*/ 0 h 898"/>
              <a:gd name="T58" fmla="*/ 264 w 659"/>
              <a:gd name="T59" fmla="*/ 6 h 898"/>
              <a:gd name="T60" fmla="*/ 202 w 659"/>
              <a:gd name="T61" fmla="*/ 25 h 898"/>
              <a:gd name="T62" fmla="*/ 146 w 659"/>
              <a:gd name="T63" fmla="*/ 56 h 898"/>
              <a:gd name="T64" fmla="*/ 97 w 659"/>
              <a:gd name="T65" fmla="*/ 96 h 898"/>
              <a:gd name="T66" fmla="*/ 57 w 659"/>
              <a:gd name="T67" fmla="*/ 145 h 898"/>
              <a:gd name="T68" fmla="*/ 26 w 659"/>
              <a:gd name="T69" fmla="*/ 201 h 898"/>
              <a:gd name="T70" fmla="*/ 7 w 659"/>
              <a:gd name="T71" fmla="*/ 263 h 898"/>
              <a:gd name="T72" fmla="*/ 0 w 659"/>
              <a:gd name="T73" fmla="*/ 329 h 898"/>
              <a:gd name="T74" fmla="*/ 5 w 659"/>
              <a:gd name="T75" fmla="*/ 385 h 898"/>
              <a:gd name="T76" fmla="*/ 19 w 659"/>
              <a:gd name="T77" fmla="*/ 437 h 898"/>
              <a:gd name="T78" fmla="*/ 40 w 659"/>
              <a:gd name="T79" fmla="*/ 486 h 898"/>
              <a:gd name="T80" fmla="*/ 69 w 659"/>
              <a:gd name="T81" fmla="*/ 531 h 898"/>
              <a:gd name="T82" fmla="*/ 105 w 659"/>
              <a:gd name="T83" fmla="*/ 570 h 898"/>
              <a:gd name="T84" fmla="*/ 147 w 659"/>
              <a:gd name="T85" fmla="*/ 603 h 898"/>
              <a:gd name="T86" fmla="*/ 195 w 659"/>
              <a:gd name="T87" fmla="*/ 630 h 898"/>
              <a:gd name="T88" fmla="*/ 248 w 659"/>
              <a:gd name="T89" fmla="*/ 648 h 898"/>
              <a:gd name="T90" fmla="*/ 326 w 659"/>
              <a:gd name="T91" fmla="*/ 897 h 898"/>
              <a:gd name="T92" fmla="*/ 343 w 659"/>
              <a:gd name="T93" fmla="*/ 892 h 898"/>
              <a:gd name="T94" fmla="*/ 440 w 659"/>
              <a:gd name="T95" fmla="*/ 639 h 898"/>
              <a:gd name="T96" fmla="*/ 490 w 659"/>
              <a:gd name="T97" fmla="*/ 617 h 898"/>
              <a:gd name="T98" fmla="*/ 534 w 659"/>
              <a:gd name="T99" fmla="*/ 588 h 898"/>
              <a:gd name="T100" fmla="*/ 574 w 659"/>
              <a:gd name="T101" fmla="*/ 551 h 898"/>
              <a:gd name="T102" fmla="*/ 606 w 659"/>
              <a:gd name="T103" fmla="*/ 509 h 898"/>
              <a:gd name="T104" fmla="*/ 632 w 659"/>
              <a:gd name="T105" fmla="*/ 463 h 898"/>
              <a:gd name="T106" fmla="*/ 650 w 659"/>
              <a:gd name="T107" fmla="*/ 411 h 898"/>
              <a:gd name="T108" fmla="*/ 658 w 659"/>
              <a:gd name="T109" fmla="*/ 357 h 898"/>
              <a:gd name="T110" fmla="*/ 658 w 659"/>
              <a:gd name="T111" fmla="*/ 295 h 898"/>
              <a:gd name="T112" fmla="*/ 645 w 659"/>
              <a:gd name="T113" fmla="*/ 231 h 898"/>
              <a:gd name="T114" fmla="*/ 620 w 659"/>
              <a:gd name="T115" fmla="*/ 172 h 898"/>
              <a:gd name="T116" fmla="*/ 585 w 659"/>
              <a:gd name="T117" fmla="*/ 119 h 898"/>
              <a:gd name="T118" fmla="*/ 540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1" y="624"/>
                </a:lnTo>
                <a:lnTo>
                  <a:pt x="388" y="627"/>
                </a:lnTo>
                <a:lnTo>
                  <a:pt x="387" y="631"/>
                </a:lnTo>
                <a:lnTo>
                  <a:pt x="330" y="828"/>
                </a:lnTo>
                <a:lnTo>
                  <a:pt x="273" y="631"/>
                </a:lnTo>
                <a:lnTo>
                  <a:pt x="272" y="627"/>
                </a:lnTo>
                <a:lnTo>
                  <a:pt x="270" y="624"/>
                </a:lnTo>
                <a:lnTo>
                  <a:pt x="267" y="622"/>
                </a:lnTo>
                <a:lnTo>
                  <a:pt x="263" y="621"/>
                </a:lnTo>
                <a:lnTo>
                  <a:pt x="250" y="618"/>
                </a:lnTo>
                <a:lnTo>
                  <a:pt x="238" y="613"/>
                </a:lnTo>
                <a:lnTo>
                  <a:pt x="225" y="609"/>
                </a:lnTo>
                <a:lnTo>
                  <a:pt x="213" y="605"/>
                </a:lnTo>
                <a:lnTo>
                  <a:pt x="191" y="594"/>
                </a:lnTo>
                <a:lnTo>
                  <a:pt x="168" y="581"/>
                </a:lnTo>
                <a:lnTo>
                  <a:pt x="148" y="567"/>
                </a:lnTo>
                <a:lnTo>
                  <a:pt x="129" y="551"/>
                </a:lnTo>
                <a:lnTo>
                  <a:pt x="112" y="534"/>
                </a:lnTo>
                <a:lnTo>
                  <a:pt x="96" y="515"/>
                </a:lnTo>
                <a:lnTo>
                  <a:pt x="81" y="496"/>
                </a:lnTo>
                <a:lnTo>
                  <a:pt x="68" y="474"/>
                </a:lnTo>
                <a:lnTo>
                  <a:pt x="57" y="452"/>
                </a:lnTo>
                <a:lnTo>
                  <a:pt x="47" y="430"/>
                </a:lnTo>
                <a:lnTo>
                  <a:pt x="40" y="405"/>
                </a:lnTo>
                <a:lnTo>
                  <a:pt x="35" y="380"/>
                </a:lnTo>
                <a:lnTo>
                  <a:pt x="32" y="367"/>
                </a:lnTo>
                <a:lnTo>
                  <a:pt x="31" y="355"/>
                </a:lnTo>
                <a:lnTo>
                  <a:pt x="30" y="342"/>
                </a:lnTo>
                <a:lnTo>
                  <a:pt x="30" y="329"/>
                </a:lnTo>
                <a:lnTo>
                  <a:pt x="31" y="314"/>
                </a:lnTo>
                <a:lnTo>
                  <a:pt x="32" y="298"/>
                </a:lnTo>
                <a:lnTo>
                  <a:pt x="34" y="283"/>
                </a:lnTo>
                <a:lnTo>
                  <a:pt x="37" y="269"/>
                </a:lnTo>
                <a:lnTo>
                  <a:pt x="40" y="254"/>
                </a:lnTo>
                <a:lnTo>
                  <a:pt x="44" y="240"/>
                </a:lnTo>
                <a:lnTo>
                  <a:pt x="49" y="226"/>
                </a:lnTo>
                <a:lnTo>
                  <a:pt x="54" y="212"/>
                </a:lnTo>
                <a:lnTo>
                  <a:pt x="60" y="200"/>
                </a:lnTo>
                <a:lnTo>
                  <a:pt x="67" y="187"/>
                </a:lnTo>
                <a:lnTo>
                  <a:pt x="74" y="174"/>
                </a:lnTo>
                <a:lnTo>
                  <a:pt x="82" y="161"/>
                </a:lnTo>
                <a:lnTo>
                  <a:pt x="90" y="149"/>
                </a:lnTo>
                <a:lnTo>
                  <a:pt x="99" y="139"/>
                </a:lnTo>
                <a:lnTo>
                  <a:pt x="108" y="128"/>
                </a:lnTo>
                <a:lnTo>
                  <a:pt x="118" y="117"/>
                </a:lnTo>
                <a:lnTo>
                  <a:pt x="129" y="108"/>
                </a:lnTo>
                <a:lnTo>
                  <a:pt x="139" y="98"/>
                </a:lnTo>
                <a:lnTo>
                  <a:pt x="151" y="89"/>
                </a:lnTo>
                <a:lnTo>
                  <a:pt x="163" y="81"/>
                </a:lnTo>
                <a:lnTo>
                  <a:pt x="175" y="73"/>
                </a:lnTo>
                <a:lnTo>
                  <a:pt x="188" y="66"/>
                </a:lnTo>
                <a:lnTo>
                  <a:pt x="200" y="59"/>
                </a:lnTo>
                <a:lnTo>
                  <a:pt x="213" y="53"/>
                </a:lnTo>
                <a:lnTo>
                  <a:pt x="227" y="48"/>
                </a:lnTo>
                <a:lnTo>
                  <a:pt x="241" y="43"/>
                </a:lnTo>
                <a:lnTo>
                  <a:pt x="255" y="39"/>
                </a:lnTo>
                <a:lnTo>
                  <a:pt x="270" y="36"/>
                </a:lnTo>
                <a:lnTo>
                  <a:pt x="285" y="33"/>
                </a:lnTo>
                <a:lnTo>
                  <a:pt x="300" y="31"/>
                </a:lnTo>
                <a:lnTo>
                  <a:pt x="315" y="29"/>
                </a:lnTo>
                <a:lnTo>
                  <a:pt x="330" y="29"/>
                </a:lnTo>
                <a:lnTo>
                  <a:pt x="346" y="29"/>
                </a:lnTo>
                <a:lnTo>
                  <a:pt x="361" y="31"/>
                </a:lnTo>
                <a:lnTo>
                  <a:pt x="376" y="33"/>
                </a:lnTo>
                <a:lnTo>
                  <a:pt x="391" y="36"/>
                </a:lnTo>
                <a:lnTo>
                  <a:pt x="405" y="39"/>
                </a:lnTo>
                <a:lnTo>
                  <a:pt x="419" y="43"/>
                </a:lnTo>
                <a:lnTo>
                  <a:pt x="433" y="48"/>
                </a:lnTo>
                <a:lnTo>
                  <a:pt x="447" y="53"/>
                </a:lnTo>
                <a:lnTo>
                  <a:pt x="460" y="59"/>
                </a:lnTo>
                <a:lnTo>
                  <a:pt x="473" y="66"/>
                </a:lnTo>
                <a:lnTo>
                  <a:pt x="485" y="72"/>
                </a:lnTo>
                <a:lnTo>
                  <a:pt x="498" y="81"/>
                </a:lnTo>
                <a:lnTo>
                  <a:pt x="510" y="89"/>
                </a:lnTo>
                <a:lnTo>
                  <a:pt x="520" y="98"/>
                </a:lnTo>
                <a:lnTo>
                  <a:pt x="531" y="108"/>
                </a:lnTo>
                <a:lnTo>
                  <a:pt x="542" y="117"/>
                </a:lnTo>
                <a:lnTo>
                  <a:pt x="551" y="128"/>
                </a:lnTo>
                <a:lnTo>
                  <a:pt x="561" y="139"/>
                </a:lnTo>
                <a:lnTo>
                  <a:pt x="571" y="149"/>
                </a:lnTo>
                <a:lnTo>
                  <a:pt x="578" y="161"/>
                </a:lnTo>
                <a:lnTo>
                  <a:pt x="587" y="174"/>
                </a:lnTo>
                <a:lnTo>
                  <a:pt x="593" y="187"/>
                </a:lnTo>
                <a:lnTo>
                  <a:pt x="601" y="200"/>
                </a:lnTo>
                <a:lnTo>
                  <a:pt x="606" y="212"/>
                </a:lnTo>
                <a:lnTo>
                  <a:pt x="611" y="226"/>
                </a:lnTo>
                <a:lnTo>
                  <a:pt x="617" y="240"/>
                </a:lnTo>
                <a:lnTo>
                  <a:pt x="620" y="254"/>
                </a:lnTo>
                <a:lnTo>
                  <a:pt x="624" y="269"/>
                </a:lnTo>
                <a:lnTo>
                  <a:pt x="626" y="283"/>
                </a:lnTo>
                <a:lnTo>
                  <a:pt x="628" y="298"/>
                </a:lnTo>
                <a:lnTo>
                  <a:pt x="630" y="314"/>
                </a:lnTo>
                <a:lnTo>
                  <a:pt x="630" y="329"/>
                </a:lnTo>
                <a:lnTo>
                  <a:pt x="630" y="342"/>
                </a:lnTo>
                <a:lnTo>
                  <a:pt x="628" y="355"/>
                </a:lnTo>
                <a:lnTo>
                  <a:pt x="627" y="367"/>
                </a:lnTo>
                <a:lnTo>
                  <a:pt x="625" y="380"/>
                </a:lnTo>
                <a:lnTo>
                  <a:pt x="620" y="405"/>
                </a:lnTo>
                <a:lnTo>
                  <a:pt x="612" y="430"/>
                </a:lnTo>
                <a:lnTo>
                  <a:pt x="604" y="452"/>
                </a:lnTo>
                <a:lnTo>
                  <a:pt x="592" y="474"/>
                </a:lnTo>
                <a:lnTo>
                  <a:pt x="579" y="496"/>
                </a:lnTo>
                <a:lnTo>
                  <a:pt x="565" y="515"/>
                </a:lnTo>
                <a:lnTo>
                  <a:pt x="549" y="534"/>
                </a:lnTo>
                <a:lnTo>
                  <a:pt x="531" y="551"/>
                </a:lnTo>
                <a:lnTo>
                  <a:pt x="512" y="567"/>
                </a:lnTo>
                <a:lnTo>
                  <a:pt x="492" y="581"/>
                </a:lnTo>
                <a:lnTo>
                  <a:pt x="470" y="594"/>
                </a:lnTo>
                <a:lnTo>
                  <a:pt x="447" y="605"/>
                </a:lnTo>
                <a:lnTo>
                  <a:pt x="435" y="609"/>
                </a:lnTo>
                <a:lnTo>
                  <a:pt x="423" y="613"/>
                </a:lnTo>
                <a:lnTo>
                  <a:pt x="410" y="618"/>
                </a:lnTo>
                <a:lnTo>
                  <a:pt x="397" y="621"/>
                </a:lnTo>
                <a:close/>
                <a:moveTo>
                  <a:pt x="330" y="0"/>
                </a:moveTo>
                <a:lnTo>
                  <a:pt x="313" y="0"/>
                </a:lnTo>
                <a:lnTo>
                  <a:pt x="297" y="1"/>
                </a:lnTo>
                <a:lnTo>
                  <a:pt x="280" y="3"/>
                </a:lnTo>
                <a:lnTo>
                  <a:pt x="264" y="6"/>
                </a:lnTo>
                <a:lnTo>
                  <a:pt x="248" y="10"/>
                </a:lnTo>
                <a:lnTo>
                  <a:pt x="233" y="15"/>
                </a:lnTo>
                <a:lnTo>
                  <a:pt x="217" y="20"/>
                </a:lnTo>
                <a:lnTo>
                  <a:pt x="202" y="25"/>
                </a:lnTo>
                <a:lnTo>
                  <a:pt x="188" y="32"/>
                </a:lnTo>
                <a:lnTo>
                  <a:pt x="174" y="39"/>
                </a:lnTo>
                <a:lnTo>
                  <a:pt x="160" y="48"/>
                </a:lnTo>
                <a:lnTo>
                  <a:pt x="146" y="56"/>
                </a:lnTo>
                <a:lnTo>
                  <a:pt x="133" y="65"/>
                </a:lnTo>
                <a:lnTo>
                  <a:pt x="120" y="74"/>
                </a:lnTo>
                <a:lnTo>
                  <a:pt x="108" y="85"/>
                </a:lnTo>
                <a:lnTo>
                  <a:pt x="97" y="96"/>
                </a:lnTo>
                <a:lnTo>
                  <a:pt x="86" y="108"/>
                </a:lnTo>
                <a:lnTo>
                  <a:pt x="76" y="119"/>
                </a:lnTo>
                <a:lnTo>
                  <a:pt x="66" y="132"/>
                </a:lnTo>
                <a:lnTo>
                  <a:pt x="57" y="145"/>
                </a:lnTo>
                <a:lnTo>
                  <a:pt x="49" y="158"/>
                </a:lnTo>
                <a:lnTo>
                  <a:pt x="40" y="172"/>
                </a:lnTo>
                <a:lnTo>
                  <a:pt x="34" y="187"/>
                </a:lnTo>
                <a:lnTo>
                  <a:pt x="26" y="201"/>
                </a:lnTo>
                <a:lnTo>
                  <a:pt x="21" y="216"/>
                </a:lnTo>
                <a:lnTo>
                  <a:pt x="15" y="231"/>
                </a:lnTo>
                <a:lnTo>
                  <a:pt x="11" y="247"/>
                </a:lnTo>
                <a:lnTo>
                  <a:pt x="7" y="263"/>
                </a:lnTo>
                <a:lnTo>
                  <a:pt x="5" y="279"/>
                </a:lnTo>
                <a:lnTo>
                  <a:pt x="3" y="296"/>
                </a:lnTo>
                <a:lnTo>
                  <a:pt x="1" y="312"/>
                </a:lnTo>
                <a:lnTo>
                  <a:pt x="0" y="329"/>
                </a:lnTo>
                <a:lnTo>
                  <a:pt x="0" y="343"/>
                </a:lnTo>
                <a:lnTo>
                  <a:pt x="1" y="357"/>
                </a:lnTo>
                <a:lnTo>
                  <a:pt x="4" y="371"/>
                </a:lnTo>
                <a:lnTo>
                  <a:pt x="5" y="385"/>
                </a:lnTo>
                <a:lnTo>
                  <a:pt x="8" y="397"/>
                </a:lnTo>
                <a:lnTo>
                  <a:pt x="11" y="411"/>
                </a:lnTo>
                <a:lnTo>
                  <a:pt x="14" y="424"/>
                </a:lnTo>
                <a:lnTo>
                  <a:pt x="19" y="437"/>
                </a:lnTo>
                <a:lnTo>
                  <a:pt x="23" y="450"/>
                </a:lnTo>
                <a:lnTo>
                  <a:pt x="28" y="463"/>
                </a:lnTo>
                <a:lnTo>
                  <a:pt x="34" y="474"/>
                </a:lnTo>
                <a:lnTo>
                  <a:pt x="40" y="486"/>
                </a:lnTo>
                <a:lnTo>
                  <a:pt x="46" y="498"/>
                </a:lnTo>
                <a:lnTo>
                  <a:pt x="54" y="509"/>
                </a:lnTo>
                <a:lnTo>
                  <a:pt x="61" y="520"/>
                </a:lnTo>
                <a:lnTo>
                  <a:pt x="69" y="531"/>
                </a:lnTo>
                <a:lnTo>
                  <a:pt x="77" y="541"/>
                </a:lnTo>
                <a:lnTo>
                  <a:pt x="86" y="551"/>
                </a:lnTo>
                <a:lnTo>
                  <a:pt x="96" y="561"/>
                </a:lnTo>
                <a:lnTo>
                  <a:pt x="105" y="570"/>
                </a:lnTo>
                <a:lnTo>
                  <a:pt x="115" y="579"/>
                </a:lnTo>
                <a:lnTo>
                  <a:pt x="126" y="588"/>
                </a:lnTo>
                <a:lnTo>
                  <a:pt x="136" y="595"/>
                </a:lnTo>
                <a:lnTo>
                  <a:pt x="147" y="603"/>
                </a:lnTo>
                <a:lnTo>
                  <a:pt x="159" y="610"/>
                </a:lnTo>
                <a:lnTo>
                  <a:pt x="171" y="617"/>
                </a:lnTo>
                <a:lnTo>
                  <a:pt x="182" y="623"/>
                </a:lnTo>
                <a:lnTo>
                  <a:pt x="195" y="630"/>
                </a:lnTo>
                <a:lnTo>
                  <a:pt x="208" y="635"/>
                </a:lnTo>
                <a:lnTo>
                  <a:pt x="221" y="639"/>
                </a:lnTo>
                <a:lnTo>
                  <a:pt x="234" y="643"/>
                </a:lnTo>
                <a:lnTo>
                  <a:pt x="248" y="648"/>
                </a:lnTo>
                <a:lnTo>
                  <a:pt x="316" y="887"/>
                </a:lnTo>
                <a:lnTo>
                  <a:pt x="318" y="892"/>
                </a:lnTo>
                <a:lnTo>
                  <a:pt x="321" y="895"/>
                </a:lnTo>
                <a:lnTo>
                  <a:pt x="326" y="897"/>
                </a:lnTo>
                <a:lnTo>
                  <a:pt x="330" y="898"/>
                </a:lnTo>
                <a:lnTo>
                  <a:pt x="335" y="897"/>
                </a:lnTo>
                <a:lnTo>
                  <a:pt x="340" y="895"/>
                </a:lnTo>
                <a:lnTo>
                  <a:pt x="343" y="892"/>
                </a:lnTo>
                <a:lnTo>
                  <a:pt x="345" y="887"/>
                </a:lnTo>
                <a:lnTo>
                  <a:pt x="413" y="648"/>
                </a:lnTo>
                <a:lnTo>
                  <a:pt x="426" y="643"/>
                </a:lnTo>
                <a:lnTo>
                  <a:pt x="440" y="639"/>
                </a:lnTo>
                <a:lnTo>
                  <a:pt x="453" y="635"/>
                </a:lnTo>
                <a:lnTo>
                  <a:pt x="466" y="630"/>
                </a:lnTo>
                <a:lnTo>
                  <a:pt x="478" y="623"/>
                </a:lnTo>
                <a:lnTo>
                  <a:pt x="490" y="617"/>
                </a:lnTo>
                <a:lnTo>
                  <a:pt x="501" y="610"/>
                </a:lnTo>
                <a:lnTo>
                  <a:pt x="513" y="603"/>
                </a:lnTo>
                <a:lnTo>
                  <a:pt x="524" y="595"/>
                </a:lnTo>
                <a:lnTo>
                  <a:pt x="534" y="588"/>
                </a:lnTo>
                <a:lnTo>
                  <a:pt x="545" y="579"/>
                </a:lnTo>
                <a:lnTo>
                  <a:pt x="555" y="570"/>
                </a:lnTo>
                <a:lnTo>
                  <a:pt x="564" y="561"/>
                </a:lnTo>
                <a:lnTo>
                  <a:pt x="574" y="551"/>
                </a:lnTo>
                <a:lnTo>
                  <a:pt x="582" y="541"/>
                </a:lnTo>
                <a:lnTo>
                  <a:pt x="591" y="531"/>
                </a:lnTo>
                <a:lnTo>
                  <a:pt x="599" y="520"/>
                </a:lnTo>
                <a:lnTo>
                  <a:pt x="606" y="509"/>
                </a:lnTo>
                <a:lnTo>
                  <a:pt x="613" y="498"/>
                </a:lnTo>
                <a:lnTo>
                  <a:pt x="620" y="486"/>
                </a:lnTo>
                <a:lnTo>
                  <a:pt x="626" y="474"/>
                </a:lnTo>
                <a:lnTo>
                  <a:pt x="632" y="463"/>
                </a:lnTo>
                <a:lnTo>
                  <a:pt x="637" y="450"/>
                </a:lnTo>
                <a:lnTo>
                  <a:pt x="641" y="437"/>
                </a:lnTo>
                <a:lnTo>
                  <a:pt x="646" y="424"/>
                </a:lnTo>
                <a:lnTo>
                  <a:pt x="650" y="411"/>
                </a:lnTo>
                <a:lnTo>
                  <a:pt x="653" y="399"/>
                </a:lnTo>
                <a:lnTo>
                  <a:pt x="655" y="385"/>
                </a:lnTo>
                <a:lnTo>
                  <a:pt x="657" y="371"/>
                </a:lnTo>
                <a:lnTo>
                  <a:pt x="658" y="357"/>
                </a:lnTo>
                <a:lnTo>
                  <a:pt x="659" y="343"/>
                </a:lnTo>
                <a:lnTo>
                  <a:pt x="659" y="329"/>
                </a:lnTo>
                <a:lnTo>
                  <a:pt x="659" y="312"/>
                </a:lnTo>
                <a:lnTo>
                  <a:pt x="658" y="295"/>
                </a:lnTo>
                <a:lnTo>
                  <a:pt x="656" y="279"/>
                </a:lnTo>
                <a:lnTo>
                  <a:pt x="653" y="263"/>
                </a:lnTo>
                <a:lnTo>
                  <a:pt x="650" y="247"/>
                </a:lnTo>
                <a:lnTo>
                  <a:pt x="645" y="231"/>
                </a:lnTo>
                <a:lnTo>
                  <a:pt x="640" y="216"/>
                </a:lnTo>
                <a:lnTo>
                  <a:pt x="634" y="201"/>
                </a:lnTo>
                <a:lnTo>
                  <a:pt x="627" y="187"/>
                </a:lnTo>
                <a:lnTo>
                  <a:pt x="620" y="172"/>
                </a:lnTo>
                <a:lnTo>
                  <a:pt x="612" y="158"/>
                </a:lnTo>
                <a:lnTo>
                  <a:pt x="604" y="145"/>
                </a:lnTo>
                <a:lnTo>
                  <a:pt x="594" y="132"/>
                </a:lnTo>
                <a:lnTo>
                  <a:pt x="585" y="119"/>
                </a:lnTo>
                <a:lnTo>
                  <a:pt x="574" y="108"/>
                </a:lnTo>
                <a:lnTo>
                  <a:pt x="563" y="96"/>
                </a:lnTo>
                <a:lnTo>
                  <a:pt x="551" y="85"/>
                </a:lnTo>
                <a:lnTo>
                  <a:pt x="540" y="74"/>
                </a:lnTo>
                <a:lnTo>
                  <a:pt x="527" y="65"/>
                </a:lnTo>
                <a:lnTo>
                  <a:pt x="514" y="56"/>
                </a:lnTo>
                <a:lnTo>
                  <a:pt x="501" y="48"/>
                </a:lnTo>
                <a:lnTo>
                  <a:pt x="487" y="39"/>
                </a:lnTo>
                <a:lnTo>
                  <a:pt x="473" y="32"/>
                </a:lnTo>
                <a:lnTo>
                  <a:pt x="458" y="25"/>
                </a:lnTo>
                <a:lnTo>
                  <a:pt x="443" y="20"/>
                </a:lnTo>
                <a:lnTo>
                  <a:pt x="428" y="15"/>
                </a:lnTo>
                <a:lnTo>
                  <a:pt x="412" y="10"/>
                </a:lnTo>
                <a:lnTo>
                  <a:pt x="396" y="6"/>
                </a:lnTo>
                <a:lnTo>
                  <a:pt x="380" y="3"/>
                </a:lnTo>
                <a:lnTo>
                  <a:pt x="364" y="2"/>
                </a:lnTo>
                <a:lnTo>
                  <a:pt x="347" y="0"/>
                </a:lnTo>
                <a:lnTo>
                  <a:pt x="330" y="0"/>
                </a:lnTo>
                <a:lnTo>
                  <a:pt x="330"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417" name="Group 84">
            <a:extLst>
              <a:ext uri="{FF2B5EF4-FFF2-40B4-BE49-F238E27FC236}">
                <a16:creationId xmlns:a16="http://schemas.microsoft.com/office/drawing/2014/main" id="{682DF283-89B7-4197-83E7-228AA0927289}"/>
              </a:ext>
            </a:extLst>
          </p:cNvPr>
          <p:cNvGrpSpPr>
            <a:grpSpLocks noChangeAspect="1"/>
          </p:cNvGrpSpPr>
          <p:nvPr/>
        </p:nvGrpSpPr>
        <p:grpSpPr>
          <a:xfrm>
            <a:off x="1112029" y="2186361"/>
            <a:ext cx="214539" cy="306484"/>
            <a:chOff x="368300" y="1355725"/>
            <a:chExt cx="200025" cy="285750"/>
          </a:xfrm>
          <a:solidFill>
            <a:schemeClr val="bg1"/>
          </a:solidFill>
          <a:effectLst/>
        </p:grpSpPr>
        <p:sp>
          <p:nvSpPr>
            <p:cNvPr id="418" name="Freeform 56">
              <a:extLst>
                <a:ext uri="{FF2B5EF4-FFF2-40B4-BE49-F238E27FC236}">
                  <a16:creationId xmlns:a16="http://schemas.microsoft.com/office/drawing/2014/main" id="{61C39617-9295-41DC-A83E-F87563452D88}"/>
                </a:ext>
              </a:extLst>
            </p:cNvPr>
            <p:cNvSpPr>
              <a:spLocks noEditPoints="1"/>
            </p:cNvSpPr>
            <p:nvPr/>
          </p:nvSpPr>
          <p:spPr bwMode="auto">
            <a:xfrm>
              <a:off x="368300" y="1355725"/>
              <a:ext cx="200025" cy="285750"/>
            </a:xfrm>
            <a:custGeom>
              <a:avLst/>
              <a:gdLst>
                <a:gd name="T0" fmla="*/ 223 w 629"/>
                <a:gd name="T1" fmla="*/ 726 h 899"/>
                <a:gd name="T2" fmla="*/ 127 w 629"/>
                <a:gd name="T3" fmla="*/ 569 h 899"/>
                <a:gd name="T4" fmla="*/ 58 w 629"/>
                <a:gd name="T5" fmla="*/ 429 h 899"/>
                <a:gd name="T6" fmla="*/ 35 w 629"/>
                <a:gd name="T7" fmla="*/ 359 h 899"/>
                <a:gd name="T8" fmla="*/ 30 w 629"/>
                <a:gd name="T9" fmla="*/ 300 h 899"/>
                <a:gd name="T10" fmla="*/ 38 w 629"/>
                <a:gd name="T11" fmla="*/ 244 h 899"/>
                <a:gd name="T12" fmla="*/ 57 w 629"/>
                <a:gd name="T13" fmla="*/ 191 h 899"/>
                <a:gd name="T14" fmla="*/ 86 w 629"/>
                <a:gd name="T15" fmla="*/ 144 h 899"/>
                <a:gd name="T16" fmla="*/ 123 w 629"/>
                <a:gd name="T17" fmla="*/ 104 h 899"/>
                <a:gd name="T18" fmla="*/ 166 w 629"/>
                <a:gd name="T19" fmla="*/ 71 h 899"/>
                <a:gd name="T20" fmla="*/ 216 w 629"/>
                <a:gd name="T21" fmla="*/ 48 h 899"/>
                <a:gd name="T22" fmla="*/ 270 w 629"/>
                <a:gd name="T23" fmla="*/ 34 h 899"/>
                <a:gd name="T24" fmla="*/ 328 w 629"/>
                <a:gd name="T25" fmla="*/ 31 h 899"/>
                <a:gd name="T26" fmla="*/ 385 w 629"/>
                <a:gd name="T27" fmla="*/ 39 h 899"/>
                <a:gd name="T28" fmla="*/ 437 w 629"/>
                <a:gd name="T29" fmla="*/ 58 h 899"/>
                <a:gd name="T30" fmla="*/ 484 w 629"/>
                <a:gd name="T31" fmla="*/ 86 h 899"/>
                <a:gd name="T32" fmla="*/ 525 w 629"/>
                <a:gd name="T33" fmla="*/ 124 h 899"/>
                <a:gd name="T34" fmla="*/ 557 w 629"/>
                <a:gd name="T35" fmla="*/ 168 h 899"/>
                <a:gd name="T36" fmla="*/ 582 w 629"/>
                <a:gd name="T37" fmla="*/ 217 h 899"/>
                <a:gd name="T38" fmla="*/ 596 w 629"/>
                <a:gd name="T39" fmla="*/ 271 h 899"/>
                <a:gd name="T40" fmla="*/ 598 w 629"/>
                <a:gd name="T41" fmla="*/ 328 h 899"/>
                <a:gd name="T42" fmla="*/ 584 w 629"/>
                <a:gd name="T43" fmla="*/ 392 h 899"/>
                <a:gd name="T44" fmla="*/ 544 w 629"/>
                <a:gd name="T45" fmla="*/ 487 h 899"/>
                <a:gd name="T46" fmla="*/ 453 w 629"/>
                <a:gd name="T47" fmla="*/ 650 h 899"/>
                <a:gd name="T48" fmla="*/ 342 w 629"/>
                <a:gd name="T49" fmla="*/ 819 h 899"/>
                <a:gd name="T50" fmla="*/ 298 w 629"/>
                <a:gd name="T51" fmla="*/ 1 h 899"/>
                <a:gd name="T52" fmla="*/ 235 w 629"/>
                <a:gd name="T53" fmla="*/ 10 h 899"/>
                <a:gd name="T54" fmla="*/ 177 w 629"/>
                <a:gd name="T55" fmla="*/ 32 h 899"/>
                <a:gd name="T56" fmla="*/ 126 w 629"/>
                <a:gd name="T57" fmla="*/ 63 h 899"/>
                <a:gd name="T58" fmla="*/ 81 w 629"/>
                <a:gd name="T59" fmla="*/ 103 h 899"/>
                <a:gd name="T60" fmla="*/ 45 w 629"/>
                <a:gd name="T61" fmla="*/ 152 h 899"/>
                <a:gd name="T62" fmla="*/ 19 w 629"/>
                <a:gd name="T63" fmla="*/ 207 h 899"/>
                <a:gd name="T64" fmla="*/ 3 w 629"/>
                <a:gd name="T65" fmla="*/ 267 h 899"/>
                <a:gd name="T66" fmla="*/ 1 w 629"/>
                <a:gd name="T67" fmla="*/ 331 h 899"/>
                <a:gd name="T68" fmla="*/ 19 w 629"/>
                <a:gd name="T69" fmla="*/ 408 h 899"/>
                <a:gd name="T70" fmla="*/ 67 w 629"/>
                <a:gd name="T71" fmla="*/ 521 h 899"/>
                <a:gd name="T72" fmla="*/ 174 w 629"/>
                <a:gd name="T73" fmla="*/ 706 h 899"/>
                <a:gd name="T74" fmla="*/ 285 w 629"/>
                <a:gd name="T75" fmla="*/ 870 h 899"/>
                <a:gd name="T76" fmla="*/ 311 w 629"/>
                <a:gd name="T77" fmla="*/ 898 h 899"/>
                <a:gd name="T78" fmla="*/ 324 w 629"/>
                <a:gd name="T79" fmla="*/ 895 h 899"/>
                <a:gd name="T80" fmla="*/ 402 w 629"/>
                <a:gd name="T81" fmla="*/ 785 h 899"/>
                <a:gd name="T82" fmla="*/ 510 w 629"/>
                <a:gd name="T83" fmla="*/ 615 h 899"/>
                <a:gd name="T84" fmla="*/ 592 w 629"/>
                <a:gd name="T85" fmla="*/ 451 h 899"/>
                <a:gd name="T86" fmla="*/ 621 w 629"/>
                <a:gd name="T87" fmla="*/ 368 h 899"/>
                <a:gd name="T88" fmla="*/ 628 w 629"/>
                <a:gd name="T89" fmla="*/ 299 h 899"/>
                <a:gd name="T90" fmla="*/ 619 w 629"/>
                <a:gd name="T91" fmla="*/ 236 h 899"/>
                <a:gd name="T92" fmla="*/ 598 w 629"/>
                <a:gd name="T93" fmla="*/ 178 h 899"/>
                <a:gd name="T94" fmla="*/ 566 w 629"/>
                <a:gd name="T95" fmla="*/ 127 h 899"/>
                <a:gd name="T96" fmla="*/ 525 w 629"/>
                <a:gd name="T97" fmla="*/ 82 h 899"/>
                <a:gd name="T98" fmla="*/ 477 w 629"/>
                <a:gd name="T99" fmla="*/ 46 h 899"/>
                <a:gd name="T100" fmla="*/ 422 w 629"/>
                <a:gd name="T101" fmla="*/ 19 h 899"/>
                <a:gd name="T102" fmla="*/ 362 w 629"/>
                <a:gd name="T103" fmla="*/ 4 h 899"/>
                <a:gd name="T104" fmla="*/ 314 w 629"/>
                <a:gd name="T105" fmla="*/ 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9" h="899">
                  <a:moveTo>
                    <a:pt x="314" y="859"/>
                  </a:moveTo>
                  <a:lnTo>
                    <a:pt x="285" y="819"/>
                  </a:lnTo>
                  <a:lnTo>
                    <a:pt x="246" y="760"/>
                  </a:lnTo>
                  <a:lnTo>
                    <a:pt x="223" y="726"/>
                  </a:lnTo>
                  <a:lnTo>
                    <a:pt x="200" y="690"/>
                  </a:lnTo>
                  <a:lnTo>
                    <a:pt x="175" y="650"/>
                  </a:lnTo>
                  <a:lnTo>
                    <a:pt x="150" y="610"/>
                  </a:lnTo>
                  <a:lnTo>
                    <a:pt x="127" y="569"/>
                  </a:lnTo>
                  <a:lnTo>
                    <a:pt x="104" y="528"/>
                  </a:lnTo>
                  <a:lnTo>
                    <a:pt x="84" y="487"/>
                  </a:lnTo>
                  <a:lnTo>
                    <a:pt x="66" y="448"/>
                  </a:lnTo>
                  <a:lnTo>
                    <a:pt x="58" y="429"/>
                  </a:lnTo>
                  <a:lnTo>
                    <a:pt x="51" y="410"/>
                  </a:lnTo>
                  <a:lnTo>
                    <a:pt x="45" y="392"/>
                  </a:lnTo>
                  <a:lnTo>
                    <a:pt x="39" y="375"/>
                  </a:lnTo>
                  <a:lnTo>
                    <a:pt x="35" y="359"/>
                  </a:lnTo>
                  <a:lnTo>
                    <a:pt x="32" y="343"/>
                  </a:lnTo>
                  <a:lnTo>
                    <a:pt x="30" y="328"/>
                  </a:lnTo>
                  <a:lnTo>
                    <a:pt x="30" y="315"/>
                  </a:lnTo>
                  <a:lnTo>
                    <a:pt x="30" y="300"/>
                  </a:lnTo>
                  <a:lnTo>
                    <a:pt x="31" y="285"/>
                  </a:lnTo>
                  <a:lnTo>
                    <a:pt x="33" y="271"/>
                  </a:lnTo>
                  <a:lnTo>
                    <a:pt x="35" y="257"/>
                  </a:lnTo>
                  <a:lnTo>
                    <a:pt x="38" y="244"/>
                  </a:lnTo>
                  <a:lnTo>
                    <a:pt x="42" y="231"/>
                  </a:lnTo>
                  <a:lnTo>
                    <a:pt x="47" y="217"/>
                  </a:lnTo>
                  <a:lnTo>
                    <a:pt x="52" y="204"/>
                  </a:lnTo>
                  <a:lnTo>
                    <a:pt x="57" y="191"/>
                  </a:lnTo>
                  <a:lnTo>
                    <a:pt x="64" y="179"/>
                  </a:lnTo>
                  <a:lnTo>
                    <a:pt x="70" y="168"/>
                  </a:lnTo>
                  <a:lnTo>
                    <a:pt x="78" y="156"/>
                  </a:lnTo>
                  <a:lnTo>
                    <a:pt x="86" y="144"/>
                  </a:lnTo>
                  <a:lnTo>
                    <a:pt x="95" y="133"/>
                  </a:lnTo>
                  <a:lnTo>
                    <a:pt x="103" y="124"/>
                  </a:lnTo>
                  <a:lnTo>
                    <a:pt x="113" y="114"/>
                  </a:lnTo>
                  <a:lnTo>
                    <a:pt x="123" y="104"/>
                  </a:lnTo>
                  <a:lnTo>
                    <a:pt x="133" y="95"/>
                  </a:lnTo>
                  <a:lnTo>
                    <a:pt x="144" y="86"/>
                  </a:lnTo>
                  <a:lnTo>
                    <a:pt x="155" y="79"/>
                  </a:lnTo>
                  <a:lnTo>
                    <a:pt x="166" y="71"/>
                  </a:lnTo>
                  <a:lnTo>
                    <a:pt x="178" y="65"/>
                  </a:lnTo>
                  <a:lnTo>
                    <a:pt x="191" y="58"/>
                  </a:lnTo>
                  <a:lnTo>
                    <a:pt x="203" y="53"/>
                  </a:lnTo>
                  <a:lnTo>
                    <a:pt x="216" y="48"/>
                  </a:lnTo>
                  <a:lnTo>
                    <a:pt x="230" y="44"/>
                  </a:lnTo>
                  <a:lnTo>
                    <a:pt x="242" y="39"/>
                  </a:lnTo>
                  <a:lnTo>
                    <a:pt x="256" y="36"/>
                  </a:lnTo>
                  <a:lnTo>
                    <a:pt x="270" y="34"/>
                  </a:lnTo>
                  <a:lnTo>
                    <a:pt x="285" y="32"/>
                  </a:lnTo>
                  <a:lnTo>
                    <a:pt x="299" y="31"/>
                  </a:lnTo>
                  <a:lnTo>
                    <a:pt x="314" y="31"/>
                  </a:lnTo>
                  <a:lnTo>
                    <a:pt x="328" y="31"/>
                  </a:lnTo>
                  <a:lnTo>
                    <a:pt x="343" y="32"/>
                  </a:lnTo>
                  <a:lnTo>
                    <a:pt x="357" y="34"/>
                  </a:lnTo>
                  <a:lnTo>
                    <a:pt x="371" y="36"/>
                  </a:lnTo>
                  <a:lnTo>
                    <a:pt x="385" y="39"/>
                  </a:lnTo>
                  <a:lnTo>
                    <a:pt x="399" y="44"/>
                  </a:lnTo>
                  <a:lnTo>
                    <a:pt x="412" y="48"/>
                  </a:lnTo>
                  <a:lnTo>
                    <a:pt x="424" y="53"/>
                  </a:lnTo>
                  <a:lnTo>
                    <a:pt x="437" y="58"/>
                  </a:lnTo>
                  <a:lnTo>
                    <a:pt x="450" y="65"/>
                  </a:lnTo>
                  <a:lnTo>
                    <a:pt x="462" y="71"/>
                  </a:lnTo>
                  <a:lnTo>
                    <a:pt x="473" y="79"/>
                  </a:lnTo>
                  <a:lnTo>
                    <a:pt x="484" y="86"/>
                  </a:lnTo>
                  <a:lnTo>
                    <a:pt x="495" y="95"/>
                  </a:lnTo>
                  <a:lnTo>
                    <a:pt x="506" y="104"/>
                  </a:lnTo>
                  <a:lnTo>
                    <a:pt x="515" y="114"/>
                  </a:lnTo>
                  <a:lnTo>
                    <a:pt x="525" y="124"/>
                  </a:lnTo>
                  <a:lnTo>
                    <a:pt x="534" y="133"/>
                  </a:lnTo>
                  <a:lnTo>
                    <a:pt x="542" y="145"/>
                  </a:lnTo>
                  <a:lnTo>
                    <a:pt x="550" y="156"/>
                  </a:lnTo>
                  <a:lnTo>
                    <a:pt x="557" y="168"/>
                  </a:lnTo>
                  <a:lnTo>
                    <a:pt x="565" y="179"/>
                  </a:lnTo>
                  <a:lnTo>
                    <a:pt x="571" y="191"/>
                  </a:lnTo>
                  <a:lnTo>
                    <a:pt x="576" y="204"/>
                  </a:lnTo>
                  <a:lnTo>
                    <a:pt x="582" y="217"/>
                  </a:lnTo>
                  <a:lnTo>
                    <a:pt x="586" y="231"/>
                  </a:lnTo>
                  <a:lnTo>
                    <a:pt x="589" y="244"/>
                  </a:lnTo>
                  <a:lnTo>
                    <a:pt x="592" y="257"/>
                  </a:lnTo>
                  <a:lnTo>
                    <a:pt x="596" y="271"/>
                  </a:lnTo>
                  <a:lnTo>
                    <a:pt x="597" y="285"/>
                  </a:lnTo>
                  <a:lnTo>
                    <a:pt x="598" y="300"/>
                  </a:lnTo>
                  <a:lnTo>
                    <a:pt x="599" y="315"/>
                  </a:lnTo>
                  <a:lnTo>
                    <a:pt x="598" y="328"/>
                  </a:lnTo>
                  <a:lnTo>
                    <a:pt x="596" y="343"/>
                  </a:lnTo>
                  <a:lnTo>
                    <a:pt x="592" y="359"/>
                  </a:lnTo>
                  <a:lnTo>
                    <a:pt x="589" y="375"/>
                  </a:lnTo>
                  <a:lnTo>
                    <a:pt x="584" y="392"/>
                  </a:lnTo>
                  <a:lnTo>
                    <a:pt x="577" y="410"/>
                  </a:lnTo>
                  <a:lnTo>
                    <a:pt x="570" y="429"/>
                  </a:lnTo>
                  <a:lnTo>
                    <a:pt x="562" y="448"/>
                  </a:lnTo>
                  <a:lnTo>
                    <a:pt x="544" y="487"/>
                  </a:lnTo>
                  <a:lnTo>
                    <a:pt x="523" y="528"/>
                  </a:lnTo>
                  <a:lnTo>
                    <a:pt x="500" y="569"/>
                  </a:lnTo>
                  <a:lnTo>
                    <a:pt x="477" y="610"/>
                  </a:lnTo>
                  <a:lnTo>
                    <a:pt x="453" y="650"/>
                  </a:lnTo>
                  <a:lnTo>
                    <a:pt x="429" y="690"/>
                  </a:lnTo>
                  <a:lnTo>
                    <a:pt x="405" y="726"/>
                  </a:lnTo>
                  <a:lnTo>
                    <a:pt x="382" y="760"/>
                  </a:lnTo>
                  <a:lnTo>
                    <a:pt x="342" y="819"/>
                  </a:lnTo>
                  <a:lnTo>
                    <a:pt x="314" y="859"/>
                  </a:lnTo>
                  <a:lnTo>
                    <a:pt x="314" y="859"/>
                  </a:lnTo>
                  <a:close/>
                  <a:moveTo>
                    <a:pt x="314" y="0"/>
                  </a:moveTo>
                  <a:lnTo>
                    <a:pt x="298" y="1"/>
                  </a:lnTo>
                  <a:lnTo>
                    <a:pt x="282" y="2"/>
                  </a:lnTo>
                  <a:lnTo>
                    <a:pt x="266" y="4"/>
                  </a:lnTo>
                  <a:lnTo>
                    <a:pt x="251" y="6"/>
                  </a:lnTo>
                  <a:lnTo>
                    <a:pt x="235" y="10"/>
                  </a:lnTo>
                  <a:lnTo>
                    <a:pt x="220" y="15"/>
                  </a:lnTo>
                  <a:lnTo>
                    <a:pt x="206" y="19"/>
                  </a:lnTo>
                  <a:lnTo>
                    <a:pt x="191" y="25"/>
                  </a:lnTo>
                  <a:lnTo>
                    <a:pt x="177" y="32"/>
                  </a:lnTo>
                  <a:lnTo>
                    <a:pt x="164" y="38"/>
                  </a:lnTo>
                  <a:lnTo>
                    <a:pt x="150" y="46"/>
                  </a:lnTo>
                  <a:lnTo>
                    <a:pt x="139" y="54"/>
                  </a:lnTo>
                  <a:lnTo>
                    <a:pt x="126" y="63"/>
                  </a:lnTo>
                  <a:lnTo>
                    <a:pt x="114" y="72"/>
                  </a:lnTo>
                  <a:lnTo>
                    <a:pt x="102" y="82"/>
                  </a:lnTo>
                  <a:lnTo>
                    <a:pt x="92" y="93"/>
                  </a:lnTo>
                  <a:lnTo>
                    <a:pt x="81" y="103"/>
                  </a:lnTo>
                  <a:lnTo>
                    <a:pt x="71" y="115"/>
                  </a:lnTo>
                  <a:lnTo>
                    <a:pt x="62" y="127"/>
                  </a:lnTo>
                  <a:lnTo>
                    <a:pt x="53" y="139"/>
                  </a:lnTo>
                  <a:lnTo>
                    <a:pt x="45" y="152"/>
                  </a:lnTo>
                  <a:lnTo>
                    <a:pt x="37" y="165"/>
                  </a:lnTo>
                  <a:lnTo>
                    <a:pt x="31" y="178"/>
                  </a:lnTo>
                  <a:lnTo>
                    <a:pt x="24" y="192"/>
                  </a:lnTo>
                  <a:lnTo>
                    <a:pt x="19" y="207"/>
                  </a:lnTo>
                  <a:lnTo>
                    <a:pt x="13" y="221"/>
                  </a:lnTo>
                  <a:lnTo>
                    <a:pt x="9" y="236"/>
                  </a:lnTo>
                  <a:lnTo>
                    <a:pt x="6" y="251"/>
                  </a:lnTo>
                  <a:lnTo>
                    <a:pt x="3" y="267"/>
                  </a:lnTo>
                  <a:lnTo>
                    <a:pt x="1" y="283"/>
                  </a:lnTo>
                  <a:lnTo>
                    <a:pt x="0" y="299"/>
                  </a:lnTo>
                  <a:lnTo>
                    <a:pt x="0" y="315"/>
                  </a:lnTo>
                  <a:lnTo>
                    <a:pt x="1" y="331"/>
                  </a:lnTo>
                  <a:lnTo>
                    <a:pt x="3" y="348"/>
                  </a:lnTo>
                  <a:lnTo>
                    <a:pt x="7" y="368"/>
                  </a:lnTo>
                  <a:lnTo>
                    <a:pt x="11" y="387"/>
                  </a:lnTo>
                  <a:lnTo>
                    <a:pt x="19" y="408"/>
                  </a:lnTo>
                  <a:lnTo>
                    <a:pt x="26" y="430"/>
                  </a:lnTo>
                  <a:lnTo>
                    <a:pt x="35" y="451"/>
                  </a:lnTo>
                  <a:lnTo>
                    <a:pt x="45" y="473"/>
                  </a:lnTo>
                  <a:lnTo>
                    <a:pt x="67" y="521"/>
                  </a:lnTo>
                  <a:lnTo>
                    <a:pt x="92" y="568"/>
                  </a:lnTo>
                  <a:lnTo>
                    <a:pt x="118" y="615"/>
                  </a:lnTo>
                  <a:lnTo>
                    <a:pt x="146" y="661"/>
                  </a:lnTo>
                  <a:lnTo>
                    <a:pt x="174" y="706"/>
                  </a:lnTo>
                  <a:lnTo>
                    <a:pt x="201" y="747"/>
                  </a:lnTo>
                  <a:lnTo>
                    <a:pt x="226" y="785"/>
                  </a:lnTo>
                  <a:lnTo>
                    <a:pt x="250" y="819"/>
                  </a:lnTo>
                  <a:lnTo>
                    <a:pt x="285" y="870"/>
                  </a:lnTo>
                  <a:lnTo>
                    <a:pt x="302" y="893"/>
                  </a:lnTo>
                  <a:lnTo>
                    <a:pt x="305" y="895"/>
                  </a:lnTo>
                  <a:lnTo>
                    <a:pt x="308" y="897"/>
                  </a:lnTo>
                  <a:lnTo>
                    <a:pt x="311" y="898"/>
                  </a:lnTo>
                  <a:lnTo>
                    <a:pt x="314" y="899"/>
                  </a:lnTo>
                  <a:lnTo>
                    <a:pt x="317" y="898"/>
                  </a:lnTo>
                  <a:lnTo>
                    <a:pt x="321" y="897"/>
                  </a:lnTo>
                  <a:lnTo>
                    <a:pt x="324" y="895"/>
                  </a:lnTo>
                  <a:lnTo>
                    <a:pt x="326" y="893"/>
                  </a:lnTo>
                  <a:lnTo>
                    <a:pt x="343" y="870"/>
                  </a:lnTo>
                  <a:lnTo>
                    <a:pt x="378" y="819"/>
                  </a:lnTo>
                  <a:lnTo>
                    <a:pt x="402" y="785"/>
                  </a:lnTo>
                  <a:lnTo>
                    <a:pt x="428" y="747"/>
                  </a:lnTo>
                  <a:lnTo>
                    <a:pt x="454" y="706"/>
                  </a:lnTo>
                  <a:lnTo>
                    <a:pt x="482" y="661"/>
                  </a:lnTo>
                  <a:lnTo>
                    <a:pt x="510" y="615"/>
                  </a:lnTo>
                  <a:lnTo>
                    <a:pt x="536" y="568"/>
                  </a:lnTo>
                  <a:lnTo>
                    <a:pt x="561" y="521"/>
                  </a:lnTo>
                  <a:lnTo>
                    <a:pt x="583" y="473"/>
                  </a:lnTo>
                  <a:lnTo>
                    <a:pt x="592" y="451"/>
                  </a:lnTo>
                  <a:lnTo>
                    <a:pt x="602" y="430"/>
                  </a:lnTo>
                  <a:lnTo>
                    <a:pt x="609" y="408"/>
                  </a:lnTo>
                  <a:lnTo>
                    <a:pt x="616" y="387"/>
                  </a:lnTo>
                  <a:lnTo>
                    <a:pt x="621" y="368"/>
                  </a:lnTo>
                  <a:lnTo>
                    <a:pt x="626" y="348"/>
                  </a:lnTo>
                  <a:lnTo>
                    <a:pt x="628" y="331"/>
                  </a:lnTo>
                  <a:lnTo>
                    <a:pt x="629" y="315"/>
                  </a:lnTo>
                  <a:lnTo>
                    <a:pt x="628" y="299"/>
                  </a:lnTo>
                  <a:lnTo>
                    <a:pt x="627" y="283"/>
                  </a:lnTo>
                  <a:lnTo>
                    <a:pt x="624" y="267"/>
                  </a:lnTo>
                  <a:lnTo>
                    <a:pt x="622" y="251"/>
                  </a:lnTo>
                  <a:lnTo>
                    <a:pt x="619" y="236"/>
                  </a:lnTo>
                  <a:lnTo>
                    <a:pt x="615" y="221"/>
                  </a:lnTo>
                  <a:lnTo>
                    <a:pt x="609" y="207"/>
                  </a:lnTo>
                  <a:lnTo>
                    <a:pt x="604" y="192"/>
                  </a:lnTo>
                  <a:lnTo>
                    <a:pt x="598" y="178"/>
                  </a:lnTo>
                  <a:lnTo>
                    <a:pt x="590" y="165"/>
                  </a:lnTo>
                  <a:lnTo>
                    <a:pt x="583" y="152"/>
                  </a:lnTo>
                  <a:lnTo>
                    <a:pt x="575" y="139"/>
                  </a:lnTo>
                  <a:lnTo>
                    <a:pt x="566" y="127"/>
                  </a:lnTo>
                  <a:lnTo>
                    <a:pt x="557" y="115"/>
                  </a:lnTo>
                  <a:lnTo>
                    <a:pt x="546" y="103"/>
                  </a:lnTo>
                  <a:lnTo>
                    <a:pt x="537" y="93"/>
                  </a:lnTo>
                  <a:lnTo>
                    <a:pt x="525" y="82"/>
                  </a:lnTo>
                  <a:lnTo>
                    <a:pt x="514" y="72"/>
                  </a:lnTo>
                  <a:lnTo>
                    <a:pt x="502" y="63"/>
                  </a:lnTo>
                  <a:lnTo>
                    <a:pt x="490" y="54"/>
                  </a:lnTo>
                  <a:lnTo>
                    <a:pt x="477" y="46"/>
                  </a:lnTo>
                  <a:lnTo>
                    <a:pt x="464" y="38"/>
                  </a:lnTo>
                  <a:lnTo>
                    <a:pt x="450" y="32"/>
                  </a:lnTo>
                  <a:lnTo>
                    <a:pt x="436" y="25"/>
                  </a:lnTo>
                  <a:lnTo>
                    <a:pt x="422" y="19"/>
                  </a:lnTo>
                  <a:lnTo>
                    <a:pt x="407" y="15"/>
                  </a:lnTo>
                  <a:lnTo>
                    <a:pt x="392" y="10"/>
                  </a:lnTo>
                  <a:lnTo>
                    <a:pt x="377" y="7"/>
                  </a:lnTo>
                  <a:lnTo>
                    <a:pt x="362" y="4"/>
                  </a:lnTo>
                  <a:lnTo>
                    <a:pt x="346" y="2"/>
                  </a:lnTo>
                  <a:lnTo>
                    <a:pt x="330" y="1"/>
                  </a:lnTo>
                  <a:lnTo>
                    <a:pt x="314" y="1"/>
                  </a:lnTo>
                  <a:lnTo>
                    <a:pt x="3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57">
              <a:extLst>
                <a:ext uri="{FF2B5EF4-FFF2-40B4-BE49-F238E27FC236}">
                  <a16:creationId xmlns:a16="http://schemas.microsoft.com/office/drawing/2014/main" id="{10663785-3E88-4FEC-BFAF-56C7D379B275}"/>
                </a:ext>
              </a:extLst>
            </p:cNvPr>
            <p:cNvSpPr>
              <a:spLocks noEditPoints="1"/>
            </p:cNvSpPr>
            <p:nvPr/>
          </p:nvSpPr>
          <p:spPr bwMode="auto">
            <a:xfrm>
              <a:off x="425450" y="1412875"/>
              <a:ext cx="85725" cy="85725"/>
            </a:xfrm>
            <a:custGeom>
              <a:avLst/>
              <a:gdLst>
                <a:gd name="T0" fmla="*/ 114 w 270"/>
                <a:gd name="T1" fmla="*/ 238 h 270"/>
                <a:gd name="T2" fmla="*/ 85 w 270"/>
                <a:gd name="T3" fmla="*/ 227 h 270"/>
                <a:gd name="T4" fmla="*/ 61 w 270"/>
                <a:gd name="T5" fmla="*/ 209 h 270"/>
                <a:gd name="T6" fmla="*/ 43 w 270"/>
                <a:gd name="T7" fmla="*/ 184 h 270"/>
                <a:gd name="T8" fmla="*/ 32 w 270"/>
                <a:gd name="T9" fmla="*/ 156 h 270"/>
                <a:gd name="T10" fmla="*/ 30 w 270"/>
                <a:gd name="T11" fmla="*/ 124 h 270"/>
                <a:gd name="T12" fmla="*/ 39 w 270"/>
                <a:gd name="T13" fmla="*/ 93 h 270"/>
                <a:gd name="T14" fmla="*/ 54 w 270"/>
                <a:gd name="T15" fmla="*/ 68 h 270"/>
                <a:gd name="T16" fmla="*/ 76 w 270"/>
                <a:gd name="T17" fmla="*/ 47 h 270"/>
                <a:gd name="T18" fmla="*/ 104 w 270"/>
                <a:gd name="T19" fmla="*/ 35 h 270"/>
                <a:gd name="T20" fmla="*/ 135 w 270"/>
                <a:gd name="T21" fmla="*/ 30 h 270"/>
                <a:gd name="T22" fmla="*/ 166 w 270"/>
                <a:gd name="T23" fmla="*/ 35 h 270"/>
                <a:gd name="T24" fmla="*/ 194 w 270"/>
                <a:gd name="T25" fmla="*/ 47 h 270"/>
                <a:gd name="T26" fmla="*/ 215 w 270"/>
                <a:gd name="T27" fmla="*/ 68 h 270"/>
                <a:gd name="T28" fmla="*/ 231 w 270"/>
                <a:gd name="T29" fmla="*/ 95 h 270"/>
                <a:gd name="T30" fmla="*/ 239 w 270"/>
                <a:gd name="T31" fmla="*/ 124 h 270"/>
                <a:gd name="T32" fmla="*/ 238 w 270"/>
                <a:gd name="T33" fmla="*/ 156 h 270"/>
                <a:gd name="T34" fmla="*/ 227 w 270"/>
                <a:gd name="T35" fmla="*/ 184 h 270"/>
                <a:gd name="T36" fmla="*/ 209 w 270"/>
                <a:gd name="T37" fmla="*/ 209 h 270"/>
                <a:gd name="T38" fmla="*/ 184 w 270"/>
                <a:gd name="T39" fmla="*/ 227 h 270"/>
                <a:gd name="T40" fmla="*/ 157 w 270"/>
                <a:gd name="T41" fmla="*/ 238 h 270"/>
                <a:gd name="T42" fmla="*/ 135 w 270"/>
                <a:gd name="T43" fmla="*/ 0 h 270"/>
                <a:gd name="T44" fmla="*/ 94 w 270"/>
                <a:gd name="T45" fmla="*/ 6 h 270"/>
                <a:gd name="T46" fmla="*/ 59 w 270"/>
                <a:gd name="T47" fmla="*/ 23 h 270"/>
                <a:gd name="T48" fmla="*/ 31 w 270"/>
                <a:gd name="T49" fmla="*/ 50 h 270"/>
                <a:gd name="T50" fmla="*/ 11 w 270"/>
                <a:gd name="T51" fmla="*/ 83 h 270"/>
                <a:gd name="T52" fmla="*/ 0 w 270"/>
                <a:gd name="T53" fmla="*/ 121 h 270"/>
                <a:gd name="T54" fmla="*/ 2 w 270"/>
                <a:gd name="T55" fmla="*/ 162 h 270"/>
                <a:gd name="T56" fmla="*/ 16 w 270"/>
                <a:gd name="T57" fmla="*/ 199 h 270"/>
                <a:gd name="T58" fmla="*/ 40 w 270"/>
                <a:gd name="T59" fmla="*/ 230 h 270"/>
                <a:gd name="T60" fmla="*/ 71 w 270"/>
                <a:gd name="T61" fmla="*/ 253 h 270"/>
                <a:gd name="T62" fmla="*/ 107 w 270"/>
                <a:gd name="T63" fmla="*/ 267 h 270"/>
                <a:gd name="T64" fmla="*/ 149 w 270"/>
                <a:gd name="T65" fmla="*/ 269 h 270"/>
                <a:gd name="T66" fmla="*/ 188 w 270"/>
                <a:gd name="T67" fmla="*/ 259 h 270"/>
                <a:gd name="T68" fmla="*/ 221 w 270"/>
                <a:gd name="T69" fmla="*/ 239 h 270"/>
                <a:gd name="T70" fmla="*/ 246 w 270"/>
                <a:gd name="T71" fmla="*/ 210 h 270"/>
                <a:gd name="T72" fmla="*/ 264 w 270"/>
                <a:gd name="T73" fmla="*/ 175 h 270"/>
                <a:gd name="T74" fmla="*/ 270 w 270"/>
                <a:gd name="T75" fmla="*/ 135 h 270"/>
                <a:gd name="T76" fmla="*/ 264 w 270"/>
                <a:gd name="T77" fmla="*/ 95 h 270"/>
                <a:gd name="T78" fmla="*/ 246 w 270"/>
                <a:gd name="T79" fmla="*/ 59 h 270"/>
                <a:gd name="T80" fmla="*/ 221 w 270"/>
                <a:gd name="T81" fmla="*/ 30 h 270"/>
                <a:gd name="T82" fmla="*/ 188 w 270"/>
                <a:gd name="T83" fmla="*/ 11 h 270"/>
                <a:gd name="T84" fmla="*/ 149 w 270"/>
                <a:gd name="T8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0" h="270">
                  <a:moveTo>
                    <a:pt x="135" y="240"/>
                  </a:moveTo>
                  <a:lnTo>
                    <a:pt x="124" y="239"/>
                  </a:lnTo>
                  <a:lnTo>
                    <a:pt x="114" y="238"/>
                  </a:lnTo>
                  <a:lnTo>
                    <a:pt x="104" y="235"/>
                  </a:lnTo>
                  <a:lnTo>
                    <a:pt x="94" y="231"/>
                  </a:lnTo>
                  <a:lnTo>
                    <a:pt x="85" y="227"/>
                  </a:lnTo>
                  <a:lnTo>
                    <a:pt x="76" y="222"/>
                  </a:lnTo>
                  <a:lnTo>
                    <a:pt x="69" y="215"/>
                  </a:lnTo>
                  <a:lnTo>
                    <a:pt x="61" y="209"/>
                  </a:lnTo>
                  <a:lnTo>
                    <a:pt x="54" y="201"/>
                  </a:lnTo>
                  <a:lnTo>
                    <a:pt x="48" y="193"/>
                  </a:lnTo>
                  <a:lnTo>
                    <a:pt x="43" y="184"/>
                  </a:lnTo>
                  <a:lnTo>
                    <a:pt x="39" y="176"/>
                  </a:lnTo>
                  <a:lnTo>
                    <a:pt x="35" y="166"/>
                  </a:lnTo>
                  <a:lnTo>
                    <a:pt x="32" y="156"/>
                  </a:lnTo>
                  <a:lnTo>
                    <a:pt x="30" y="146"/>
                  </a:lnTo>
                  <a:lnTo>
                    <a:pt x="30" y="135"/>
                  </a:lnTo>
                  <a:lnTo>
                    <a:pt x="30" y="124"/>
                  </a:lnTo>
                  <a:lnTo>
                    <a:pt x="32" y="114"/>
                  </a:lnTo>
                  <a:lnTo>
                    <a:pt x="35" y="103"/>
                  </a:lnTo>
                  <a:lnTo>
                    <a:pt x="39" y="93"/>
                  </a:lnTo>
                  <a:lnTo>
                    <a:pt x="43" y="85"/>
                  </a:lnTo>
                  <a:lnTo>
                    <a:pt x="48" y="76"/>
                  </a:lnTo>
                  <a:lnTo>
                    <a:pt x="54" y="68"/>
                  </a:lnTo>
                  <a:lnTo>
                    <a:pt x="61" y="60"/>
                  </a:lnTo>
                  <a:lnTo>
                    <a:pt x="69" y="54"/>
                  </a:lnTo>
                  <a:lnTo>
                    <a:pt x="76" y="47"/>
                  </a:lnTo>
                  <a:lnTo>
                    <a:pt x="85" y="42"/>
                  </a:lnTo>
                  <a:lnTo>
                    <a:pt x="94" y="38"/>
                  </a:lnTo>
                  <a:lnTo>
                    <a:pt x="104" y="35"/>
                  </a:lnTo>
                  <a:lnTo>
                    <a:pt x="114" y="33"/>
                  </a:lnTo>
                  <a:lnTo>
                    <a:pt x="124" y="30"/>
                  </a:lnTo>
                  <a:lnTo>
                    <a:pt x="135" y="30"/>
                  </a:lnTo>
                  <a:lnTo>
                    <a:pt x="146" y="30"/>
                  </a:lnTo>
                  <a:lnTo>
                    <a:pt x="157" y="33"/>
                  </a:lnTo>
                  <a:lnTo>
                    <a:pt x="166" y="35"/>
                  </a:lnTo>
                  <a:lnTo>
                    <a:pt x="176" y="38"/>
                  </a:lnTo>
                  <a:lnTo>
                    <a:pt x="184" y="42"/>
                  </a:lnTo>
                  <a:lnTo>
                    <a:pt x="194" y="47"/>
                  </a:lnTo>
                  <a:lnTo>
                    <a:pt x="201" y="54"/>
                  </a:lnTo>
                  <a:lnTo>
                    <a:pt x="209" y="60"/>
                  </a:lnTo>
                  <a:lnTo>
                    <a:pt x="215" y="68"/>
                  </a:lnTo>
                  <a:lnTo>
                    <a:pt x="222" y="76"/>
                  </a:lnTo>
                  <a:lnTo>
                    <a:pt x="227" y="85"/>
                  </a:lnTo>
                  <a:lnTo>
                    <a:pt x="231" y="95"/>
                  </a:lnTo>
                  <a:lnTo>
                    <a:pt x="235" y="104"/>
                  </a:lnTo>
                  <a:lnTo>
                    <a:pt x="238" y="114"/>
                  </a:lnTo>
                  <a:lnTo>
                    <a:pt x="239" y="124"/>
                  </a:lnTo>
                  <a:lnTo>
                    <a:pt x="240" y="135"/>
                  </a:lnTo>
                  <a:lnTo>
                    <a:pt x="239" y="146"/>
                  </a:lnTo>
                  <a:lnTo>
                    <a:pt x="238" y="156"/>
                  </a:lnTo>
                  <a:lnTo>
                    <a:pt x="235" y="166"/>
                  </a:lnTo>
                  <a:lnTo>
                    <a:pt x="231" y="176"/>
                  </a:lnTo>
                  <a:lnTo>
                    <a:pt x="227" y="184"/>
                  </a:lnTo>
                  <a:lnTo>
                    <a:pt x="222" y="193"/>
                  </a:lnTo>
                  <a:lnTo>
                    <a:pt x="215" y="201"/>
                  </a:lnTo>
                  <a:lnTo>
                    <a:pt x="209" y="209"/>
                  </a:lnTo>
                  <a:lnTo>
                    <a:pt x="201" y="215"/>
                  </a:lnTo>
                  <a:lnTo>
                    <a:pt x="194" y="222"/>
                  </a:lnTo>
                  <a:lnTo>
                    <a:pt x="184" y="227"/>
                  </a:lnTo>
                  <a:lnTo>
                    <a:pt x="176" y="231"/>
                  </a:lnTo>
                  <a:lnTo>
                    <a:pt x="166" y="235"/>
                  </a:lnTo>
                  <a:lnTo>
                    <a:pt x="157" y="238"/>
                  </a:lnTo>
                  <a:lnTo>
                    <a:pt x="146" y="239"/>
                  </a:lnTo>
                  <a:lnTo>
                    <a:pt x="135" y="240"/>
                  </a:lnTo>
                  <a:close/>
                  <a:moveTo>
                    <a:pt x="135" y="0"/>
                  </a:moveTo>
                  <a:lnTo>
                    <a:pt x="121" y="0"/>
                  </a:lnTo>
                  <a:lnTo>
                    <a:pt x="107" y="3"/>
                  </a:lnTo>
                  <a:lnTo>
                    <a:pt x="94" y="6"/>
                  </a:lnTo>
                  <a:lnTo>
                    <a:pt x="83" y="11"/>
                  </a:lnTo>
                  <a:lnTo>
                    <a:pt x="71" y="16"/>
                  </a:lnTo>
                  <a:lnTo>
                    <a:pt x="59" y="23"/>
                  </a:lnTo>
                  <a:lnTo>
                    <a:pt x="50" y="30"/>
                  </a:lnTo>
                  <a:lnTo>
                    <a:pt x="40" y="40"/>
                  </a:lnTo>
                  <a:lnTo>
                    <a:pt x="31" y="50"/>
                  </a:lnTo>
                  <a:lnTo>
                    <a:pt x="23" y="59"/>
                  </a:lnTo>
                  <a:lnTo>
                    <a:pt x="16" y="71"/>
                  </a:lnTo>
                  <a:lnTo>
                    <a:pt x="11" y="83"/>
                  </a:lnTo>
                  <a:lnTo>
                    <a:pt x="6" y="95"/>
                  </a:lnTo>
                  <a:lnTo>
                    <a:pt x="2" y="107"/>
                  </a:lnTo>
                  <a:lnTo>
                    <a:pt x="0" y="121"/>
                  </a:lnTo>
                  <a:lnTo>
                    <a:pt x="0" y="135"/>
                  </a:lnTo>
                  <a:lnTo>
                    <a:pt x="0" y="148"/>
                  </a:lnTo>
                  <a:lnTo>
                    <a:pt x="2" y="162"/>
                  </a:lnTo>
                  <a:lnTo>
                    <a:pt x="6" y="175"/>
                  </a:lnTo>
                  <a:lnTo>
                    <a:pt x="11" y="188"/>
                  </a:lnTo>
                  <a:lnTo>
                    <a:pt x="16" y="199"/>
                  </a:lnTo>
                  <a:lnTo>
                    <a:pt x="23" y="210"/>
                  </a:lnTo>
                  <a:lnTo>
                    <a:pt x="31" y="221"/>
                  </a:lnTo>
                  <a:lnTo>
                    <a:pt x="40" y="230"/>
                  </a:lnTo>
                  <a:lnTo>
                    <a:pt x="50" y="239"/>
                  </a:lnTo>
                  <a:lnTo>
                    <a:pt x="59" y="246"/>
                  </a:lnTo>
                  <a:lnTo>
                    <a:pt x="71" y="253"/>
                  </a:lnTo>
                  <a:lnTo>
                    <a:pt x="83" y="259"/>
                  </a:lnTo>
                  <a:lnTo>
                    <a:pt x="94" y="264"/>
                  </a:lnTo>
                  <a:lnTo>
                    <a:pt x="107" y="267"/>
                  </a:lnTo>
                  <a:lnTo>
                    <a:pt x="121" y="269"/>
                  </a:lnTo>
                  <a:lnTo>
                    <a:pt x="135" y="270"/>
                  </a:lnTo>
                  <a:lnTo>
                    <a:pt x="149" y="269"/>
                  </a:lnTo>
                  <a:lnTo>
                    <a:pt x="162" y="267"/>
                  </a:lnTo>
                  <a:lnTo>
                    <a:pt x="175" y="264"/>
                  </a:lnTo>
                  <a:lnTo>
                    <a:pt x="188" y="259"/>
                  </a:lnTo>
                  <a:lnTo>
                    <a:pt x="199" y="253"/>
                  </a:lnTo>
                  <a:lnTo>
                    <a:pt x="210" y="246"/>
                  </a:lnTo>
                  <a:lnTo>
                    <a:pt x="221" y="239"/>
                  </a:lnTo>
                  <a:lnTo>
                    <a:pt x="230" y="230"/>
                  </a:lnTo>
                  <a:lnTo>
                    <a:pt x="239" y="221"/>
                  </a:lnTo>
                  <a:lnTo>
                    <a:pt x="246" y="210"/>
                  </a:lnTo>
                  <a:lnTo>
                    <a:pt x="254" y="199"/>
                  </a:lnTo>
                  <a:lnTo>
                    <a:pt x="259" y="188"/>
                  </a:lnTo>
                  <a:lnTo>
                    <a:pt x="264" y="175"/>
                  </a:lnTo>
                  <a:lnTo>
                    <a:pt x="267" y="162"/>
                  </a:lnTo>
                  <a:lnTo>
                    <a:pt x="269" y="148"/>
                  </a:lnTo>
                  <a:lnTo>
                    <a:pt x="270" y="135"/>
                  </a:lnTo>
                  <a:lnTo>
                    <a:pt x="269" y="121"/>
                  </a:lnTo>
                  <a:lnTo>
                    <a:pt x="267" y="107"/>
                  </a:lnTo>
                  <a:lnTo>
                    <a:pt x="264" y="95"/>
                  </a:lnTo>
                  <a:lnTo>
                    <a:pt x="259" y="83"/>
                  </a:lnTo>
                  <a:lnTo>
                    <a:pt x="254" y="71"/>
                  </a:lnTo>
                  <a:lnTo>
                    <a:pt x="246" y="59"/>
                  </a:lnTo>
                  <a:lnTo>
                    <a:pt x="239" y="50"/>
                  </a:lnTo>
                  <a:lnTo>
                    <a:pt x="230" y="40"/>
                  </a:lnTo>
                  <a:lnTo>
                    <a:pt x="221" y="30"/>
                  </a:lnTo>
                  <a:lnTo>
                    <a:pt x="210" y="23"/>
                  </a:lnTo>
                  <a:lnTo>
                    <a:pt x="199" y="16"/>
                  </a:lnTo>
                  <a:lnTo>
                    <a:pt x="188" y="11"/>
                  </a:lnTo>
                  <a:lnTo>
                    <a:pt x="175" y="6"/>
                  </a:lnTo>
                  <a:lnTo>
                    <a:pt x="162" y="3"/>
                  </a:lnTo>
                  <a:lnTo>
                    <a:pt x="149" y="0"/>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0" name="Freeform 260">
            <a:extLst>
              <a:ext uri="{FF2B5EF4-FFF2-40B4-BE49-F238E27FC236}">
                <a16:creationId xmlns:a16="http://schemas.microsoft.com/office/drawing/2014/main" id="{4FB6652F-7ACD-4E9C-BBB1-D5C363AD61FA}"/>
              </a:ext>
            </a:extLst>
          </p:cNvPr>
          <p:cNvSpPr>
            <a:spLocks noChangeAspect="1" noEditPoints="1"/>
          </p:cNvSpPr>
          <p:nvPr/>
        </p:nvSpPr>
        <p:spPr bwMode="auto">
          <a:xfrm>
            <a:off x="1518919" y="2186361"/>
            <a:ext cx="205464" cy="306484"/>
          </a:xfrm>
          <a:custGeom>
            <a:avLst/>
            <a:gdLst>
              <a:gd name="T0" fmla="*/ 30 w 598"/>
              <a:gd name="T1" fmla="*/ 486 h 897"/>
              <a:gd name="T2" fmla="*/ 30 w 598"/>
              <a:gd name="T3" fmla="*/ 38 h 897"/>
              <a:gd name="T4" fmla="*/ 546 w 598"/>
              <a:gd name="T5" fmla="*/ 255 h 897"/>
              <a:gd name="T6" fmla="*/ 30 w 598"/>
              <a:gd name="T7" fmla="*/ 486 h 897"/>
              <a:gd name="T8" fmla="*/ 589 w 598"/>
              <a:gd name="T9" fmla="*/ 241 h 897"/>
              <a:gd name="T10" fmla="*/ 21 w 598"/>
              <a:gd name="T11" fmla="*/ 2 h 897"/>
              <a:gd name="T12" fmla="*/ 21 w 598"/>
              <a:gd name="T13" fmla="*/ 2 h 897"/>
              <a:gd name="T14" fmla="*/ 21 w 598"/>
              <a:gd name="T15" fmla="*/ 2 h 897"/>
              <a:gd name="T16" fmla="*/ 19 w 598"/>
              <a:gd name="T17" fmla="*/ 1 h 897"/>
              <a:gd name="T18" fmla="*/ 15 w 598"/>
              <a:gd name="T19" fmla="*/ 1 h 897"/>
              <a:gd name="T20" fmla="*/ 15 w 598"/>
              <a:gd name="T21" fmla="*/ 0 h 897"/>
              <a:gd name="T22" fmla="*/ 15 w 598"/>
              <a:gd name="T23" fmla="*/ 0 h 897"/>
              <a:gd name="T24" fmla="*/ 15 w 598"/>
              <a:gd name="T25" fmla="*/ 0 h 897"/>
              <a:gd name="T26" fmla="*/ 14 w 598"/>
              <a:gd name="T27" fmla="*/ 0 h 897"/>
              <a:gd name="T28" fmla="*/ 12 w 598"/>
              <a:gd name="T29" fmla="*/ 1 h 897"/>
              <a:gd name="T30" fmla="*/ 10 w 598"/>
              <a:gd name="T31" fmla="*/ 1 h 897"/>
              <a:gd name="T32" fmla="*/ 9 w 598"/>
              <a:gd name="T33" fmla="*/ 2 h 897"/>
              <a:gd name="T34" fmla="*/ 9 w 598"/>
              <a:gd name="T35" fmla="*/ 2 h 897"/>
              <a:gd name="T36" fmla="*/ 8 w 598"/>
              <a:gd name="T37" fmla="*/ 2 h 897"/>
              <a:gd name="T38" fmla="*/ 7 w 598"/>
              <a:gd name="T39" fmla="*/ 3 h 897"/>
              <a:gd name="T40" fmla="*/ 6 w 598"/>
              <a:gd name="T41" fmla="*/ 3 h 897"/>
              <a:gd name="T42" fmla="*/ 5 w 598"/>
              <a:gd name="T43" fmla="*/ 4 h 897"/>
              <a:gd name="T44" fmla="*/ 5 w 598"/>
              <a:gd name="T45" fmla="*/ 4 h 897"/>
              <a:gd name="T46" fmla="*/ 5 w 598"/>
              <a:gd name="T47" fmla="*/ 5 h 897"/>
              <a:gd name="T48" fmla="*/ 3 w 598"/>
              <a:gd name="T49" fmla="*/ 8 h 897"/>
              <a:gd name="T50" fmla="*/ 1 w 598"/>
              <a:gd name="T51" fmla="*/ 10 h 897"/>
              <a:gd name="T52" fmla="*/ 1 w 598"/>
              <a:gd name="T53" fmla="*/ 10 h 897"/>
              <a:gd name="T54" fmla="*/ 1 w 598"/>
              <a:gd name="T55" fmla="*/ 11 h 897"/>
              <a:gd name="T56" fmla="*/ 0 w 598"/>
              <a:gd name="T57" fmla="*/ 13 h 897"/>
              <a:gd name="T58" fmla="*/ 0 w 598"/>
              <a:gd name="T59" fmla="*/ 15 h 897"/>
              <a:gd name="T60" fmla="*/ 0 w 598"/>
              <a:gd name="T61" fmla="*/ 509 h 897"/>
              <a:gd name="T62" fmla="*/ 0 w 598"/>
              <a:gd name="T63" fmla="*/ 882 h 897"/>
              <a:gd name="T64" fmla="*/ 0 w 598"/>
              <a:gd name="T65" fmla="*/ 886 h 897"/>
              <a:gd name="T66" fmla="*/ 1 w 598"/>
              <a:gd name="T67" fmla="*/ 889 h 897"/>
              <a:gd name="T68" fmla="*/ 3 w 598"/>
              <a:gd name="T69" fmla="*/ 891 h 897"/>
              <a:gd name="T70" fmla="*/ 5 w 598"/>
              <a:gd name="T71" fmla="*/ 893 h 897"/>
              <a:gd name="T72" fmla="*/ 7 w 598"/>
              <a:gd name="T73" fmla="*/ 895 h 897"/>
              <a:gd name="T74" fmla="*/ 9 w 598"/>
              <a:gd name="T75" fmla="*/ 896 h 897"/>
              <a:gd name="T76" fmla="*/ 12 w 598"/>
              <a:gd name="T77" fmla="*/ 897 h 897"/>
              <a:gd name="T78" fmla="*/ 15 w 598"/>
              <a:gd name="T79" fmla="*/ 897 h 897"/>
              <a:gd name="T80" fmla="*/ 19 w 598"/>
              <a:gd name="T81" fmla="*/ 897 h 897"/>
              <a:gd name="T82" fmla="*/ 21 w 598"/>
              <a:gd name="T83" fmla="*/ 896 h 897"/>
              <a:gd name="T84" fmla="*/ 24 w 598"/>
              <a:gd name="T85" fmla="*/ 895 h 897"/>
              <a:gd name="T86" fmla="*/ 26 w 598"/>
              <a:gd name="T87" fmla="*/ 893 h 897"/>
              <a:gd name="T88" fmla="*/ 27 w 598"/>
              <a:gd name="T89" fmla="*/ 891 h 897"/>
              <a:gd name="T90" fmla="*/ 29 w 598"/>
              <a:gd name="T91" fmla="*/ 889 h 897"/>
              <a:gd name="T92" fmla="*/ 29 w 598"/>
              <a:gd name="T93" fmla="*/ 886 h 897"/>
              <a:gd name="T94" fmla="*/ 30 w 598"/>
              <a:gd name="T95" fmla="*/ 882 h 897"/>
              <a:gd name="T96" fmla="*/ 30 w 598"/>
              <a:gd name="T97" fmla="*/ 519 h 897"/>
              <a:gd name="T98" fmla="*/ 590 w 598"/>
              <a:gd name="T99" fmla="*/ 269 h 897"/>
              <a:gd name="T100" fmla="*/ 593 w 598"/>
              <a:gd name="T101" fmla="*/ 266 h 897"/>
              <a:gd name="T102" fmla="*/ 596 w 598"/>
              <a:gd name="T103" fmla="*/ 263 h 897"/>
              <a:gd name="T104" fmla="*/ 597 w 598"/>
              <a:gd name="T105" fmla="*/ 259 h 897"/>
              <a:gd name="T106" fmla="*/ 598 w 598"/>
              <a:gd name="T107" fmla="*/ 255 h 897"/>
              <a:gd name="T108" fmla="*/ 597 w 598"/>
              <a:gd name="T109" fmla="*/ 250 h 897"/>
              <a:gd name="T110" fmla="*/ 596 w 598"/>
              <a:gd name="T111" fmla="*/ 246 h 897"/>
              <a:gd name="T112" fmla="*/ 593 w 598"/>
              <a:gd name="T113" fmla="*/ 243 h 897"/>
              <a:gd name="T114" fmla="*/ 589 w 598"/>
              <a:gd name="T115" fmla="*/ 241 h 897"/>
              <a:gd name="T116" fmla="*/ 589 w 598"/>
              <a:gd name="T117" fmla="*/ 241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8" h="897">
                <a:moveTo>
                  <a:pt x="30" y="486"/>
                </a:moveTo>
                <a:lnTo>
                  <a:pt x="30" y="38"/>
                </a:lnTo>
                <a:lnTo>
                  <a:pt x="546" y="255"/>
                </a:lnTo>
                <a:lnTo>
                  <a:pt x="30" y="486"/>
                </a:lnTo>
                <a:close/>
                <a:moveTo>
                  <a:pt x="589" y="241"/>
                </a:moveTo>
                <a:lnTo>
                  <a:pt x="21" y="2"/>
                </a:lnTo>
                <a:lnTo>
                  <a:pt x="21" y="2"/>
                </a:lnTo>
                <a:lnTo>
                  <a:pt x="21" y="2"/>
                </a:lnTo>
                <a:lnTo>
                  <a:pt x="19" y="1"/>
                </a:lnTo>
                <a:lnTo>
                  <a:pt x="15" y="1"/>
                </a:lnTo>
                <a:lnTo>
                  <a:pt x="15" y="0"/>
                </a:lnTo>
                <a:lnTo>
                  <a:pt x="15" y="0"/>
                </a:lnTo>
                <a:lnTo>
                  <a:pt x="15" y="0"/>
                </a:lnTo>
                <a:lnTo>
                  <a:pt x="14" y="0"/>
                </a:lnTo>
                <a:lnTo>
                  <a:pt x="12" y="1"/>
                </a:lnTo>
                <a:lnTo>
                  <a:pt x="10" y="1"/>
                </a:lnTo>
                <a:lnTo>
                  <a:pt x="9" y="2"/>
                </a:lnTo>
                <a:lnTo>
                  <a:pt x="9" y="2"/>
                </a:lnTo>
                <a:lnTo>
                  <a:pt x="8" y="2"/>
                </a:lnTo>
                <a:lnTo>
                  <a:pt x="7" y="3"/>
                </a:lnTo>
                <a:lnTo>
                  <a:pt x="6" y="3"/>
                </a:lnTo>
                <a:lnTo>
                  <a:pt x="5" y="4"/>
                </a:lnTo>
                <a:lnTo>
                  <a:pt x="5" y="4"/>
                </a:lnTo>
                <a:lnTo>
                  <a:pt x="5" y="5"/>
                </a:lnTo>
                <a:lnTo>
                  <a:pt x="3" y="8"/>
                </a:lnTo>
                <a:lnTo>
                  <a:pt x="1" y="10"/>
                </a:lnTo>
                <a:lnTo>
                  <a:pt x="1" y="10"/>
                </a:lnTo>
                <a:lnTo>
                  <a:pt x="1" y="11"/>
                </a:lnTo>
                <a:lnTo>
                  <a:pt x="0" y="13"/>
                </a:lnTo>
                <a:lnTo>
                  <a:pt x="0" y="15"/>
                </a:lnTo>
                <a:lnTo>
                  <a:pt x="0" y="509"/>
                </a:lnTo>
                <a:lnTo>
                  <a:pt x="0" y="882"/>
                </a:lnTo>
                <a:lnTo>
                  <a:pt x="0" y="886"/>
                </a:lnTo>
                <a:lnTo>
                  <a:pt x="1" y="889"/>
                </a:lnTo>
                <a:lnTo>
                  <a:pt x="3" y="891"/>
                </a:lnTo>
                <a:lnTo>
                  <a:pt x="5" y="893"/>
                </a:lnTo>
                <a:lnTo>
                  <a:pt x="7" y="895"/>
                </a:lnTo>
                <a:lnTo>
                  <a:pt x="9" y="896"/>
                </a:lnTo>
                <a:lnTo>
                  <a:pt x="12" y="897"/>
                </a:lnTo>
                <a:lnTo>
                  <a:pt x="15" y="897"/>
                </a:lnTo>
                <a:lnTo>
                  <a:pt x="19" y="897"/>
                </a:lnTo>
                <a:lnTo>
                  <a:pt x="21" y="896"/>
                </a:lnTo>
                <a:lnTo>
                  <a:pt x="24" y="895"/>
                </a:lnTo>
                <a:lnTo>
                  <a:pt x="26" y="893"/>
                </a:lnTo>
                <a:lnTo>
                  <a:pt x="27" y="891"/>
                </a:lnTo>
                <a:lnTo>
                  <a:pt x="29" y="889"/>
                </a:lnTo>
                <a:lnTo>
                  <a:pt x="29" y="886"/>
                </a:lnTo>
                <a:lnTo>
                  <a:pt x="30" y="882"/>
                </a:lnTo>
                <a:lnTo>
                  <a:pt x="30" y="519"/>
                </a:lnTo>
                <a:lnTo>
                  <a:pt x="590" y="269"/>
                </a:lnTo>
                <a:lnTo>
                  <a:pt x="593" y="266"/>
                </a:lnTo>
                <a:lnTo>
                  <a:pt x="596" y="263"/>
                </a:lnTo>
                <a:lnTo>
                  <a:pt x="597" y="259"/>
                </a:lnTo>
                <a:lnTo>
                  <a:pt x="598" y="255"/>
                </a:lnTo>
                <a:lnTo>
                  <a:pt x="597" y="250"/>
                </a:lnTo>
                <a:lnTo>
                  <a:pt x="596" y="246"/>
                </a:lnTo>
                <a:lnTo>
                  <a:pt x="593" y="243"/>
                </a:lnTo>
                <a:lnTo>
                  <a:pt x="589" y="241"/>
                </a:lnTo>
                <a:lnTo>
                  <a:pt x="589" y="24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421" name="Freeform 357">
            <a:extLst>
              <a:ext uri="{FF2B5EF4-FFF2-40B4-BE49-F238E27FC236}">
                <a16:creationId xmlns:a16="http://schemas.microsoft.com/office/drawing/2014/main" id="{496B8051-781D-40ED-B2FC-BF2DA29B9D0E}"/>
              </a:ext>
            </a:extLst>
          </p:cNvPr>
          <p:cNvSpPr>
            <a:spLocks noChangeAspect="1" noEditPoints="1"/>
          </p:cNvSpPr>
          <p:nvPr/>
        </p:nvSpPr>
        <p:spPr bwMode="auto">
          <a:xfrm>
            <a:off x="1929173" y="2186361"/>
            <a:ext cx="215048" cy="306484"/>
          </a:xfrm>
          <a:custGeom>
            <a:avLst/>
            <a:gdLst>
              <a:gd name="T0" fmla="*/ 250 w 632"/>
              <a:gd name="T1" fmla="*/ 68 h 903"/>
              <a:gd name="T2" fmla="*/ 281 w 632"/>
              <a:gd name="T3" fmla="*/ 38 h 903"/>
              <a:gd name="T4" fmla="*/ 324 w 632"/>
              <a:gd name="T5" fmla="*/ 30 h 903"/>
              <a:gd name="T6" fmla="*/ 364 w 632"/>
              <a:gd name="T7" fmla="*/ 47 h 903"/>
              <a:gd name="T8" fmla="*/ 388 w 632"/>
              <a:gd name="T9" fmla="*/ 82 h 903"/>
              <a:gd name="T10" fmla="*/ 388 w 632"/>
              <a:gd name="T11" fmla="*/ 127 h 903"/>
              <a:gd name="T12" fmla="*/ 364 w 632"/>
              <a:gd name="T13" fmla="*/ 163 h 903"/>
              <a:gd name="T14" fmla="*/ 324 w 632"/>
              <a:gd name="T15" fmla="*/ 180 h 903"/>
              <a:gd name="T16" fmla="*/ 281 w 632"/>
              <a:gd name="T17" fmla="*/ 171 h 903"/>
              <a:gd name="T18" fmla="*/ 250 w 632"/>
              <a:gd name="T19" fmla="*/ 140 h 903"/>
              <a:gd name="T20" fmla="*/ 623 w 632"/>
              <a:gd name="T21" fmla="*/ 573 h 903"/>
              <a:gd name="T22" fmla="*/ 529 w 632"/>
              <a:gd name="T23" fmla="*/ 653 h 903"/>
              <a:gd name="T24" fmla="*/ 529 w 632"/>
              <a:gd name="T25" fmla="*/ 670 h 903"/>
              <a:gd name="T26" fmla="*/ 545 w 632"/>
              <a:gd name="T27" fmla="*/ 677 h 903"/>
              <a:gd name="T28" fmla="*/ 595 w 632"/>
              <a:gd name="T29" fmla="*/ 650 h 903"/>
              <a:gd name="T30" fmla="*/ 542 w 632"/>
              <a:gd name="T31" fmla="*/ 760 h 903"/>
              <a:gd name="T32" fmla="*/ 429 w 632"/>
              <a:gd name="T33" fmla="*/ 850 h 903"/>
              <a:gd name="T34" fmla="*/ 357 w 632"/>
              <a:gd name="T35" fmla="*/ 870 h 903"/>
              <a:gd name="T36" fmla="*/ 473 w 632"/>
              <a:gd name="T37" fmla="*/ 359 h 903"/>
              <a:gd name="T38" fmla="*/ 482 w 632"/>
              <a:gd name="T39" fmla="*/ 346 h 903"/>
              <a:gd name="T40" fmla="*/ 473 w 632"/>
              <a:gd name="T41" fmla="*/ 332 h 903"/>
              <a:gd name="T42" fmla="*/ 349 w 632"/>
              <a:gd name="T43" fmla="*/ 205 h 903"/>
              <a:gd name="T44" fmla="*/ 395 w 632"/>
              <a:gd name="T45" fmla="*/ 174 h 903"/>
              <a:gd name="T46" fmla="*/ 420 w 632"/>
              <a:gd name="T47" fmla="*/ 124 h 903"/>
              <a:gd name="T48" fmla="*/ 414 w 632"/>
              <a:gd name="T49" fmla="*/ 64 h 903"/>
              <a:gd name="T50" fmla="*/ 375 w 632"/>
              <a:gd name="T51" fmla="*/ 17 h 903"/>
              <a:gd name="T52" fmla="*/ 316 w 632"/>
              <a:gd name="T53" fmla="*/ 0 h 903"/>
              <a:gd name="T54" fmla="*/ 257 w 632"/>
              <a:gd name="T55" fmla="*/ 17 h 903"/>
              <a:gd name="T56" fmla="*/ 220 w 632"/>
              <a:gd name="T57" fmla="*/ 64 h 903"/>
              <a:gd name="T58" fmla="*/ 213 w 632"/>
              <a:gd name="T59" fmla="*/ 124 h 903"/>
              <a:gd name="T60" fmla="*/ 237 w 632"/>
              <a:gd name="T61" fmla="*/ 174 h 903"/>
              <a:gd name="T62" fmla="*/ 283 w 632"/>
              <a:gd name="T63" fmla="*/ 205 h 903"/>
              <a:gd name="T64" fmla="*/ 159 w 632"/>
              <a:gd name="T65" fmla="*/ 332 h 903"/>
              <a:gd name="T66" fmla="*/ 151 w 632"/>
              <a:gd name="T67" fmla="*/ 346 h 903"/>
              <a:gd name="T68" fmla="*/ 159 w 632"/>
              <a:gd name="T69" fmla="*/ 359 h 903"/>
              <a:gd name="T70" fmla="*/ 275 w 632"/>
              <a:gd name="T71" fmla="*/ 870 h 903"/>
              <a:gd name="T72" fmla="*/ 203 w 632"/>
              <a:gd name="T73" fmla="*/ 850 h 903"/>
              <a:gd name="T74" fmla="*/ 90 w 632"/>
              <a:gd name="T75" fmla="*/ 760 h 903"/>
              <a:gd name="T76" fmla="*/ 37 w 632"/>
              <a:gd name="T77" fmla="*/ 651 h 903"/>
              <a:gd name="T78" fmla="*/ 88 w 632"/>
              <a:gd name="T79" fmla="*/ 677 h 903"/>
              <a:gd name="T80" fmla="*/ 103 w 632"/>
              <a:gd name="T81" fmla="*/ 670 h 903"/>
              <a:gd name="T82" fmla="*/ 103 w 632"/>
              <a:gd name="T83" fmla="*/ 653 h 903"/>
              <a:gd name="T84" fmla="*/ 9 w 632"/>
              <a:gd name="T85" fmla="*/ 573 h 903"/>
              <a:gd name="T86" fmla="*/ 2 w 632"/>
              <a:gd name="T87" fmla="*/ 619 h 903"/>
              <a:gd name="T88" fmla="*/ 25 w 632"/>
              <a:gd name="T89" fmla="*/ 710 h 903"/>
              <a:gd name="T90" fmla="*/ 73 w 632"/>
              <a:gd name="T91" fmla="*/ 787 h 903"/>
              <a:gd name="T92" fmla="*/ 139 w 632"/>
              <a:gd name="T93" fmla="*/ 848 h 903"/>
              <a:gd name="T94" fmla="*/ 223 w 632"/>
              <a:gd name="T95" fmla="*/ 889 h 903"/>
              <a:gd name="T96" fmla="*/ 316 w 632"/>
              <a:gd name="T97" fmla="*/ 903 h 903"/>
              <a:gd name="T98" fmla="*/ 410 w 632"/>
              <a:gd name="T99" fmla="*/ 889 h 903"/>
              <a:gd name="T100" fmla="*/ 493 w 632"/>
              <a:gd name="T101" fmla="*/ 848 h 903"/>
              <a:gd name="T102" fmla="*/ 560 w 632"/>
              <a:gd name="T103" fmla="*/ 787 h 903"/>
              <a:gd name="T104" fmla="*/ 608 w 632"/>
              <a:gd name="T105" fmla="*/ 710 h 903"/>
              <a:gd name="T106" fmla="*/ 630 w 632"/>
              <a:gd name="T107" fmla="*/ 619 h 903"/>
              <a:gd name="T108" fmla="*/ 623 w 632"/>
              <a:gd name="T109" fmla="*/ 57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2" h="903">
                <a:moveTo>
                  <a:pt x="241" y="105"/>
                </a:moveTo>
                <a:lnTo>
                  <a:pt x="241" y="97"/>
                </a:lnTo>
                <a:lnTo>
                  <a:pt x="242" y="90"/>
                </a:lnTo>
                <a:lnTo>
                  <a:pt x="244" y="82"/>
                </a:lnTo>
                <a:lnTo>
                  <a:pt x="246" y="76"/>
                </a:lnTo>
                <a:lnTo>
                  <a:pt x="250" y="68"/>
                </a:lnTo>
                <a:lnTo>
                  <a:pt x="254" y="63"/>
                </a:lnTo>
                <a:lnTo>
                  <a:pt x="258" y="57"/>
                </a:lnTo>
                <a:lnTo>
                  <a:pt x="264" y="51"/>
                </a:lnTo>
                <a:lnTo>
                  <a:pt x="269" y="47"/>
                </a:lnTo>
                <a:lnTo>
                  <a:pt x="274" y="43"/>
                </a:lnTo>
                <a:lnTo>
                  <a:pt x="281" y="38"/>
                </a:lnTo>
                <a:lnTo>
                  <a:pt x="287" y="35"/>
                </a:lnTo>
                <a:lnTo>
                  <a:pt x="294" y="33"/>
                </a:lnTo>
                <a:lnTo>
                  <a:pt x="301" y="31"/>
                </a:lnTo>
                <a:lnTo>
                  <a:pt x="309" y="30"/>
                </a:lnTo>
                <a:lnTo>
                  <a:pt x="316" y="30"/>
                </a:lnTo>
                <a:lnTo>
                  <a:pt x="324" y="30"/>
                </a:lnTo>
                <a:lnTo>
                  <a:pt x="331" y="31"/>
                </a:lnTo>
                <a:lnTo>
                  <a:pt x="339" y="33"/>
                </a:lnTo>
                <a:lnTo>
                  <a:pt x="345" y="35"/>
                </a:lnTo>
                <a:lnTo>
                  <a:pt x="353" y="38"/>
                </a:lnTo>
                <a:lnTo>
                  <a:pt x="358" y="43"/>
                </a:lnTo>
                <a:lnTo>
                  <a:pt x="364" y="47"/>
                </a:lnTo>
                <a:lnTo>
                  <a:pt x="370" y="51"/>
                </a:lnTo>
                <a:lnTo>
                  <a:pt x="374" y="57"/>
                </a:lnTo>
                <a:lnTo>
                  <a:pt x="378" y="63"/>
                </a:lnTo>
                <a:lnTo>
                  <a:pt x="383" y="68"/>
                </a:lnTo>
                <a:lnTo>
                  <a:pt x="386" y="76"/>
                </a:lnTo>
                <a:lnTo>
                  <a:pt x="388" y="82"/>
                </a:lnTo>
                <a:lnTo>
                  <a:pt x="390" y="90"/>
                </a:lnTo>
                <a:lnTo>
                  <a:pt x="391" y="97"/>
                </a:lnTo>
                <a:lnTo>
                  <a:pt x="391" y="105"/>
                </a:lnTo>
                <a:lnTo>
                  <a:pt x="391" y="112"/>
                </a:lnTo>
                <a:lnTo>
                  <a:pt x="390" y="120"/>
                </a:lnTo>
                <a:lnTo>
                  <a:pt x="388" y="127"/>
                </a:lnTo>
                <a:lnTo>
                  <a:pt x="386" y="134"/>
                </a:lnTo>
                <a:lnTo>
                  <a:pt x="383" y="140"/>
                </a:lnTo>
                <a:lnTo>
                  <a:pt x="378" y="147"/>
                </a:lnTo>
                <a:lnTo>
                  <a:pt x="374" y="152"/>
                </a:lnTo>
                <a:lnTo>
                  <a:pt x="370" y="158"/>
                </a:lnTo>
                <a:lnTo>
                  <a:pt x="364" y="163"/>
                </a:lnTo>
                <a:lnTo>
                  <a:pt x="358" y="167"/>
                </a:lnTo>
                <a:lnTo>
                  <a:pt x="353" y="171"/>
                </a:lnTo>
                <a:lnTo>
                  <a:pt x="345" y="175"/>
                </a:lnTo>
                <a:lnTo>
                  <a:pt x="339" y="177"/>
                </a:lnTo>
                <a:lnTo>
                  <a:pt x="331" y="179"/>
                </a:lnTo>
                <a:lnTo>
                  <a:pt x="324" y="180"/>
                </a:lnTo>
                <a:lnTo>
                  <a:pt x="316" y="180"/>
                </a:lnTo>
                <a:lnTo>
                  <a:pt x="309" y="180"/>
                </a:lnTo>
                <a:lnTo>
                  <a:pt x="301" y="179"/>
                </a:lnTo>
                <a:lnTo>
                  <a:pt x="294" y="177"/>
                </a:lnTo>
                <a:lnTo>
                  <a:pt x="287" y="175"/>
                </a:lnTo>
                <a:lnTo>
                  <a:pt x="281" y="171"/>
                </a:lnTo>
                <a:lnTo>
                  <a:pt x="274" y="167"/>
                </a:lnTo>
                <a:lnTo>
                  <a:pt x="269" y="163"/>
                </a:lnTo>
                <a:lnTo>
                  <a:pt x="264" y="158"/>
                </a:lnTo>
                <a:lnTo>
                  <a:pt x="258" y="152"/>
                </a:lnTo>
                <a:lnTo>
                  <a:pt x="254" y="147"/>
                </a:lnTo>
                <a:lnTo>
                  <a:pt x="250" y="140"/>
                </a:lnTo>
                <a:lnTo>
                  <a:pt x="246" y="134"/>
                </a:lnTo>
                <a:lnTo>
                  <a:pt x="244" y="127"/>
                </a:lnTo>
                <a:lnTo>
                  <a:pt x="242" y="120"/>
                </a:lnTo>
                <a:lnTo>
                  <a:pt x="241" y="112"/>
                </a:lnTo>
                <a:lnTo>
                  <a:pt x="241" y="105"/>
                </a:lnTo>
                <a:close/>
                <a:moveTo>
                  <a:pt x="623" y="573"/>
                </a:moveTo>
                <a:lnTo>
                  <a:pt x="619" y="572"/>
                </a:lnTo>
                <a:lnTo>
                  <a:pt x="614" y="572"/>
                </a:lnTo>
                <a:lnTo>
                  <a:pt x="610" y="574"/>
                </a:lnTo>
                <a:lnTo>
                  <a:pt x="607" y="576"/>
                </a:lnTo>
                <a:lnTo>
                  <a:pt x="532" y="651"/>
                </a:lnTo>
                <a:lnTo>
                  <a:pt x="529" y="653"/>
                </a:lnTo>
                <a:lnTo>
                  <a:pt x="528" y="656"/>
                </a:lnTo>
                <a:lnTo>
                  <a:pt x="527" y="659"/>
                </a:lnTo>
                <a:lnTo>
                  <a:pt x="527" y="662"/>
                </a:lnTo>
                <a:lnTo>
                  <a:pt x="527" y="665"/>
                </a:lnTo>
                <a:lnTo>
                  <a:pt x="528" y="667"/>
                </a:lnTo>
                <a:lnTo>
                  <a:pt x="529" y="670"/>
                </a:lnTo>
                <a:lnTo>
                  <a:pt x="532" y="673"/>
                </a:lnTo>
                <a:lnTo>
                  <a:pt x="534" y="675"/>
                </a:lnTo>
                <a:lnTo>
                  <a:pt x="536" y="676"/>
                </a:lnTo>
                <a:lnTo>
                  <a:pt x="539" y="677"/>
                </a:lnTo>
                <a:lnTo>
                  <a:pt x="542" y="677"/>
                </a:lnTo>
                <a:lnTo>
                  <a:pt x="545" y="677"/>
                </a:lnTo>
                <a:lnTo>
                  <a:pt x="548" y="676"/>
                </a:lnTo>
                <a:lnTo>
                  <a:pt x="550" y="675"/>
                </a:lnTo>
                <a:lnTo>
                  <a:pt x="553" y="673"/>
                </a:lnTo>
                <a:lnTo>
                  <a:pt x="599" y="625"/>
                </a:lnTo>
                <a:lnTo>
                  <a:pt x="597" y="638"/>
                </a:lnTo>
                <a:lnTo>
                  <a:pt x="595" y="650"/>
                </a:lnTo>
                <a:lnTo>
                  <a:pt x="592" y="663"/>
                </a:lnTo>
                <a:lnTo>
                  <a:pt x="588" y="675"/>
                </a:lnTo>
                <a:lnTo>
                  <a:pt x="580" y="697"/>
                </a:lnTo>
                <a:lnTo>
                  <a:pt x="569" y="720"/>
                </a:lnTo>
                <a:lnTo>
                  <a:pt x="557" y="741"/>
                </a:lnTo>
                <a:lnTo>
                  <a:pt x="542" y="760"/>
                </a:lnTo>
                <a:lnTo>
                  <a:pt x="527" y="780"/>
                </a:lnTo>
                <a:lnTo>
                  <a:pt x="510" y="797"/>
                </a:lnTo>
                <a:lnTo>
                  <a:pt x="492" y="812"/>
                </a:lnTo>
                <a:lnTo>
                  <a:pt x="472" y="826"/>
                </a:lnTo>
                <a:lnTo>
                  <a:pt x="451" y="839"/>
                </a:lnTo>
                <a:lnTo>
                  <a:pt x="429" y="850"/>
                </a:lnTo>
                <a:lnTo>
                  <a:pt x="417" y="854"/>
                </a:lnTo>
                <a:lnTo>
                  <a:pt x="405" y="858"/>
                </a:lnTo>
                <a:lnTo>
                  <a:pt x="393" y="861"/>
                </a:lnTo>
                <a:lnTo>
                  <a:pt x="381" y="865"/>
                </a:lnTo>
                <a:lnTo>
                  <a:pt x="370" y="868"/>
                </a:lnTo>
                <a:lnTo>
                  <a:pt x="357" y="870"/>
                </a:lnTo>
                <a:lnTo>
                  <a:pt x="344" y="871"/>
                </a:lnTo>
                <a:lnTo>
                  <a:pt x="331" y="872"/>
                </a:lnTo>
                <a:lnTo>
                  <a:pt x="331" y="361"/>
                </a:lnTo>
                <a:lnTo>
                  <a:pt x="466" y="361"/>
                </a:lnTo>
                <a:lnTo>
                  <a:pt x="469" y="360"/>
                </a:lnTo>
                <a:lnTo>
                  <a:pt x="473" y="359"/>
                </a:lnTo>
                <a:lnTo>
                  <a:pt x="475" y="358"/>
                </a:lnTo>
                <a:lnTo>
                  <a:pt x="477" y="356"/>
                </a:lnTo>
                <a:lnTo>
                  <a:pt x="479" y="354"/>
                </a:lnTo>
                <a:lnTo>
                  <a:pt x="480" y="352"/>
                </a:lnTo>
                <a:lnTo>
                  <a:pt x="481" y="348"/>
                </a:lnTo>
                <a:lnTo>
                  <a:pt x="482" y="346"/>
                </a:lnTo>
                <a:lnTo>
                  <a:pt x="481" y="343"/>
                </a:lnTo>
                <a:lnTo>
                  <a:pt x="480" y="340"/>
                </a:lnTo>
                <a:lnTo>
                  <a:pt x="479" y="338"/>
                </a:lnTo>
                <a:lnTo>
                  <a:pt x="477" y="336"/>
                </a:lnTo>
                <a:lnTo>
                  <a:pt x="475" y="333"/>
                </a:lnTo>
                <a:lnTo>
                  <a:pt x="473" y="332"/>
                </a:lnTo>
                <a:lnTo>
                  <a:pt x="469" y="331"/>
                </a:lnTo>
                <a:lnTo>
                  <a:pt x="466" y="330"/>
                </a:lnTo>
                <a:lnTo>
                  <a:pt x="331" y="330"/>
                </a:lnTo>
                <a:lnTo>
                  <a:pt x="331" y="209"/>
                </a:lnTo>
                <a:lnTo>
                  <a:pt x="341" y="207"/>
                </a:lnTo>
                <a:lnTo>
                  <a:pt x="349" y="205"/>
                </a:lnTo>
                <a:lnTo>
                  <a:pt x="359" y="202"/>
                </a:lnTo>
                <a:lnTo>
                  <a:pt x="366" y="197"/>
                </a:lnTo>
                <a:lnTo>
                  <a:pt x="375" y="192"/>
                </a:lnTo>
                <a:lnTo>
                  <a:pt x="383" y="186"/>
                </a:lnTo>
                <a:lnTo>
                  <a:pt x="389" y="181"/>
                </a:lnTo>
                <a:lnTo>
                  <a:pt x="395" y="174"/>
                </a:lnTo>
                <a:lnTo>
                  <a:pt x="402" y="167"/>
                </a:lnTo>
                <a:lnTo>
                  <a:pt x="406" y="160"/>
                </a:lnTo>
                <a:lnTo>
                  <a:pt x="410" y="151"/>
                </a:lnTo>
                <a:lnTo>
                  <a:pt x="415" y="142"/>
                </a:lnTo>
                <a:lnTo>
                  <a:pt x="418" y="134"/>
                </a:lnTo>
                <a:lnTo>
                  <a:pt x="420" y="124"/>
                </a:lnTo>
                <a:lnTo>
                  <a:pt x="421" y="115"/>
                </a:lnTo>
                <a:lnTo>
                  <a:pt x="421" y="105"/>
                </a:lnTo>
                <a:lnTo>
                  <a:pt x="421" y="94"/>
                </a:lnTo>
                <a:lnTo>
                  <a:pt x="419" y="83"/>
                </a:lnTo>
                <a:lnTo>
                  <a:pt x="417" y="74"/>
                </a:lnTo>
                <a:lnTo>
                  <a:pt x="414" y="64"/>
                </a:lnTo>
                <a:lnTo>
                  <a:pt x="409" y="55"/>
                </a:lnTo>
                <a:lnTo>
                  <a:pt x="404" y="46"/>
                </a:lnTo>
                <a:lnTo>
                  <a:pt x="398" y="37"/>
                </a:lnTo>
                <a:lnTo>
                  <a:pt x="391" y="30"/>
                </a:lnTo>
                <a:lnTo>
                  <a:pt x="384" y="23"/>
                </a:lnTo>
                <a:lnTo>
                  <a:pt x="375" y="17"/>
                </a:lnTo>
                <a:lnTo>
                  <a:pt x="366" y="13"/>
                </a:lnTo>
                <a:lnTo>
                  <a:pt x="357" y="7"/>
                </a:lnTo>
                <a:lnTo>
                  <a:pt x="347" y="4"/>
                </a:lnTo>
                <a:lnTo>
                  <a:pt x="338" y="2"/>
                </a:lnTo>
                <a:lnTo>
                  <a:pt x="327" y="0"/>
                </a:lnTo>
                <a:lnTo>
                  <a:pt x="316" y="0"/>
                </a:lnTo>
                <a:lnTo>
                  <a:pt x="305" y="0"/>
                </a:lnTo>
                <a:lnTo>
                  <a:pt x="295" y="2"/>
                </a:lnTo>
                <a:lnTo>
                  <a:pt x="285" y="4"/>
                </a:lnTo>
                <a:lnTo>
                  <a:pt x="275" y="7"/>
                </a:lnTo>
                <a:lnTo>
                  <a:pt x="266" y="13"/>
                </a:lnTo>
                <a:lnTo>
                  <a:pt x="257" y="17"/>
                </a:lnTo>
                <a:lnTo>
                  <a:pt x="250" y="23"/>
                </a:lnTo>
                <a:lnTo>
                  <a:pt x="242" y="30"/>
                </a:lnTo>
                <a:lnTo>
                  <a:pt x="235" y="37"/>
                </a:lnTo>
                <a:lnTo>
                  <a:pt x="229" y="46"/>
                </a:lnTo>
                <a:lnTo>
                  <a:pt x="224" y="55"/>
                </a:lnTo>
                <a:lnTo>
                  <a:pt x="220" y="64"/>
                </a:lnTo>
                <a:lnTo>
                  <a:pt x="215" y="74"/>
                </a:lnTo>
                <a:lnTo>
                  <a:pt x="213" y="83"/>
                </a:lnTo>
                <a:lnTo>
                  <a:pt x="211" y="94"/>
                </a:lnTo>
                <a:lnTo>
                  <a:pt x="211" y="105"/>
                </a:lnTo>
                <a:lnTo>
                  <a:pt x="211" y="115"/>
                </a:lnTo>
                <a:lnTo>
                  <a:pt x="213" y="124"/>
                </a:lnTo>
                <a:lnTo>
                  <a:pt x="215" y="134"/>
                </a:lnTo>
                <a:lnTo>
                  <a:pt x="217" y="142"/>
                </a:lnTo>
                <a:lnTo>
                  <a:pt x="222" y="151"/>
                </a:lnTo>
                <a:lnTo>
                  <a:pt x="226" y="160"/>
                </a:lnTo>
                <a:lnTo>
                  <a:pt x="231" y="167"/>
                </a:lnTo>
                <a:lnTo>
                  <a:pt x="237" y="174"/>
                </a:lnTo>
                <a:lnTo>
                  <a:pt x="243" y="181"/>
                </a:lnTo>
                <a:lnTo>
                  <a:pt x="251" y="186"/>
                </a:lnTo>
                <a:lnTo>
                  <a:pt x="257" y="192"/>
                </a:lnTo>
                <a:lnTo>
                  <a:pt x="266" y="197"/>
                </a:lnTo>
                <a:lnTo>
                  <a:pt x="274" y="202"/>
                </a:lnTo>
                <a:lnTo>
                  <a:pt x="283" y="205"/>
                </a:lnTo>
                <a:lnTo>
                  <a:pt x="291" y="207"/>
                </a:lnTo>
                <a:lnTo>
                  <a:pt x="301" y="209"/>
                </a:lnTo>
                <a:lnTo>
                  <a:pt x="301" y="330"/>
                </a:lnTo>
                <a:lnTo>
                  <a:pt x="166" y="330"/>
                </a:lnTo>
                <a:lnTo>
                  <a:pt x="163" y="331"/>
                </a:lnTo>
                <a:lnTo>
                  <a:pt x="159" y="332"/>
                </a:lnTo>
                <a:lnTo>
                  <a:pt x="157" y="333"/>
                </a:lnTo>
                <a:lnTo>
                  <a:pt x="155" y="336"/>
                </a:lnTo>
                <a:lnTo>
                  <a:pt x="153" y="338"/>
                </a:lnTo>
                <a:lnTo>
                  <a:pt x="152" y="340"/>
                </a:lnTo>
                <a:lnTo>
                  <a:pt x="151" y="343"/>
                </a:lnTo>
                <a:lnTo>
                  <a:pt x="151" y="346"/>
                </a:lnTo>
                <a:lnTo>
                  <a:pt x="151" y="348"/>
                </a:lnTo>
                <a:lnTo>
                  <a:pt x="152" y="352"/>
                </a:lnTo>
                <a:lnTo>
                  <a:pt x="153" y="354"/>
                </a:lnTo>
                <a:lnTo>
                  <a:pt x="155" y="356"/>
                </a:lnTo>
                <a:lnTo>
                  <a:pt x="157" y="358"/>
                </a:lnTo>
                <a:lnTo>
                  <a:pt x="159" y="359"/>
                </a:lnTo>
                <a:lnTo>
                  <a:pt x="163" y="360"/>
                </a:lnTo>
                <a:lnTo>
                  <a:pt x="166" y="361"/>
                </a:lnTo>
                <a:lnTo>
                  <a:pt x="301" y="361"/>
                </a:lnTo>
                <a:lnTo>
                  <a:pt x="301" y="872"/>
                </a:lnTo>
                <a:lnTo>
                  <a:pt x="288" y="871"/>
                </a:lnTo>
                <a:lnTo>
                  <a:pt x="275" y="870"/>
                </a:lnTo>
                <a:lnTo>
                  <a:pt x="264" y="868"/>
                </a:lnTo>
                <a:lnTo>
                  <a:pt x="251" y="865"/>
                </a:lnTo>
                <a:lnTo>
                  <a:pt x="239" y="861"/>
                </a:lnTo>
                <a:lnTo>
                  <a:pt x="227" y="858"/>
                </a:lnTo>
                <a:lnTo>
                  <a:pt x="215" y="854"/>
                </a:lnTo>
                <a:lnTo>
                  <a:pt x="203" y="850"/>
                </a:lnTo>
                <a:lnTo>
                  <a:pt x="182" y="839"/>
                </a:lnTo>
                <a:lnTo>
                  <a:pt x="161" y="826"/>
                </a:lnTo>
                <a:lnTo>
                  <a:pt x="141" y="812"/>
                </a:lnTo>
                <a:lnTo>
                  <a:pt x="122" y="797"/>
                </a:lnTo>
                <a:lnTo>
                  <a:pt x="105" y="780"/>
                </a:lnTo>
                <a:lnTo>
                  <a:pt x="90" y="760"/>
                </a:lnTo>
                <a:lnTo>
                  <a:pt x="76" y="741"/>
                </a:lnTo>
                <a:lnTo>
                  <a:pt x="63" y="720"/>
                </a:lnTo>
                <a:lnTo>
                  <a:pt x="52" y="698"/>
                </a:lnTo>
                <a:lnTo>
                  <a:pt x="44" y="675"/>
                </a:lnTo>
                <a:lnTo>
                  <a:pt x="40" y="663"/>
                </a:lnTo>
                <a:lnTo>
                  <a:pt x="37" y="651"/>
                </a:lnTo>
                <a:lnTo>
                  <a:pt x="35" y="638"/>
                </a:lnTo>
                <a:lnTo>
                  <a:pt x="33" y="625"/>
                </a:lnTo>
                <a:lnTo>
                  <a:pt x="80" y="673"/>
                </a:lnTo>
                <a:lnTo>
                  <a:pt x="82" y="675"/>
                </a:lnTo>
                <a:lnTo>
                  <a:pt x="84" y="676"/>
                </a:lnTo>
                <a:lnTo>
                  <a:pt x="88" y="677"/>
                </a:lnTo>
                <a:lnTo>
                  <a:pt x="91" y="677"/>
                </a:lnTo>
                <a:lnTo>
                  <a:pt x="93" y="677"/>
                </a:lnTo>
                <a:lnTo>
                  <a:pt x="96" y="676"/>
                </a:lnTo>
                <a:lnTo>
                  <a:pt x="98" y="675"/>
                </a:lnTo>
                <a:lnTo>
                  <a:pt x="102" y="673"/>
                </a:lnTo>
                <a:lnTo>
                  <a:pt x="103" y="670"/>
                </a:lnTo>
                <a:lnTo>
                  <a:pt x="105" y="667"/>
                </a:lnTo>
                <a:lnTo>
                  <a:pt x="105" y="665"/>
                </a:lnTo>
                <a:lnTo>
                  <a:pt x="106" y="662"/>
                </a:lnTo>
                <a:lnTo>
                  <a:pt x="105" y="659"/>
                </a:lnTo>
                <a:lnTo>
                  <a:pt x="105" y="656"/>
                </a:lnTo>
                <a:lnTo>
                  <a:pt x="103" y="653"/>
                </a:lnTo>
                <a:lnTo>
                  <a:pt x="102" y="651"/>
                </a:lnTo>
                <a:lnTo>
                  <a:pt x="25" y="576"/>
                </a:lnTo>
                <a:lnTo>
                  <a:pt x="22" y="574"/>
                </a:lnTo>
                <a:lnTo>
                  <a:pt x="18" y="572"/>
                </a:lnTo>
                <a:lnTo>
                  <a:pt x="14" y="572"/>
                </a:lnTo>
                <a:lnTo>
                  <a:pt x="9" y="573"/>
                </a:lnTo>
                <a:lnTo>
                  <a:pt x="6" y="575"/>
                </a:lnTo>
                <a:lnTo>
                  <a:pt x="3" y="578"/>
                </a:lnTo>
                <a:lnTo>
                  <a:pt x="1" y="582"/>
                </a:lnTo>
                <a:lnTo>
                  <a:pt x="0" y="587"/>
                </a:lnTo>
                <a:lnTo>
                  <a:pt x="1" y="603"/>
                </a:lnTo>
                <a:lnTo>
                  <a:pt x="2" y="619"/>
                </a:lnTo>
                <a:lnTo>
                  <a:pt x="4" y="635"/>
                </a:lnTo>
                <a:lnTo>
                  <a:pt x="6" y="650"/>
                </a:lnTo>
                <a:lnTo>
                  <a:pt x="10" y="666"/>
                </a:lnTo>
                <a:lnTo>
                  <a:pt x="15" y="681"/>
                </a:lnTo>
                <a:lnTo>
                  <a:pt x="19" y="695"/>
                </a:lnTo>
                <a:lnTo>
                  <a:pt x="25" y="710"/>
                </a:lnTo>
                <a:lnTo>
                  <a:pt x="32" y="724"/>
                </a:lnTo>
                <a:lnTo>
                  <a:pt x="38" y="737"/>
                </a:lnTo>
                <a:lnTo>
                  <a:pt x="46" y="751"/>
                </a:lnTo>
                <a:lnTo>
                  <a:pt x="54" y="764"/>
                </a:lnTo>
                <a:lnTo>
                  <a:pt x="63" y="776"/>
                </a:lnTo>
                <a:lnTo>
                  <a:pt x="73" y="787"/>
                </a:lnTo>
                <a:lnTo>
                  <a:pt x="82" y="799"/>
                </a:lnTo>
                <a:lnTo>
                  <a:pt x="93" y="810"/>
                </a:lnTo>
                <a:lnTo>
                  <a:pt x="104" y="821"/>
                </a:lnTo>
                <a:lnTo>
                  <a:pt x="116" y="830"/>
                </a:lnTo>
                <a:lnTo>
                  <a:pt x="127" y="840"/>
                </a:lnTo>
                <a:lnTo>
                  <a:pt x="139" y="848"/>
                </a:lnTo>
                <a:lnTo>
                  <a:pt x="152" y="857"/>
                </a:lnTo>
                <a:lnTo>
                  <a:pt x="166" y="865"/>
                </a:lnTo>
                <a:lnTo>
                  <a:pt x="179" y="872"/>
                </a:lnTo>
                <a:lnTo>
                  <a:pt x="194" y="879"/>
                </a:lnTo>
                <a:lnTo>
                  <a:pt x="208" y="884"/>
                </a:lnTo>
                <a:lnTo>
                  <a:pt x="223" y="889"/>
                </a:lnTo>
                <a:lnTo>
                  <a:pt x="238" y="894"/>
                </a:lnTo>
                <a:lnTo>
                  <a:pt x="253" y="897"/>
                </a:lnTo>
                <a:lnTo>
                  <a:pt x="268" y="899"/>
                </a:lnTo>
                <a:lnTo>
                  <a:pt x="284" y="901"/>
                </a:lnTo>
                <a:lnTo>
                  <a:pt x="300" y="902"/>
                </a:lnTo>
                <a:lnTo>
                  <a:pt x="316" y="903"/>
                </a:lnTo>
                <a:lnTo>
                  <a:pt x="332" y="902"/>
                </a:lnTo>
                <a:lnTo>
                  <a:pt x="348" y="901"/>
                </a:lnTo>
                <a:lnTo>
                  <a:pt x="364" y="899"/>
                </a:lnTo>
                <a:lnTo>
                  <a:pt x="379" y="897"/>
                </a:lnTo>
                <a:lnTo>
                  <a:pt x="395" y="892"/>
                </a:lnTo>
                <a:lnTo>
                  <a:pt x="410" y="889"/>
                </a:lnTo>
                <a:lnTo>
                  <a:pt x="424" y="884"/>
                </a:lnTo>
                <a:lnTo>
                  <a:pt x="439" y="879"/>
                </a:lnTo>
                <a:lnTo>
                  <a:pt x="453" y="872"/>
                </a:lnTo>
                <a:lnTo>
                  <a:pt x="467" y="865"/>
                </a:lnTo>
                <a:lnTo>
                  <a:pt x="480" y="857"/>
                </a:lnTo>
                <a:lnTo>
                  <a:pt x="493" y="848"/>
                </a:lnTo>
                <a:lnTo>
                  <a:pt x="505" y="840"/>
                </a:lnTo>
                <a:lnTo>
                  <a:pt x="518" y="830"/>
                </a:lnTo>
                <a:lnTo>
                  <a:pt x="528" y="821"/>
                </a:lnTo>
                <a:lnTo>
                  <a:pt x="539" y="810"/>
                </a:lnTo>
                <a:lnTo>
                  <a:pt x="550" y="799"/>
                </a:lnTo>
                <a:lnTo>
                  <a:pt x="560" y="787"/>
                </a:lnTo>
                <a:lnTo>
                  <a:pt x="569" y="776"/>
                </a:lnTo>
                <a:lnTo>
                  <a:pt x="578" y="764"/>
                </a:lnTo>
                <a:lnTo>
                  <a:pt x="586" y="751"/>
                </a:lnTo>
                <a:lnTo>
                  <a:pt x="594" y="737"/>
                </a:lnTo>
                <a:lnTo>
                  <a:pt x="601" y="724"/>
                </a:lnTo>
                <a:lnTo>
                  <a:pt x="608" y="710"/>
                </a:lnTo>
                <a:lnTo>
                  <a:pt x="613" y="695"/>
                </a:lnTo>
                <a:lnTo>
                  <a:pt x="619" y="681"/>
                </a:lnTo>
                <a:lnTo>
                  <a:pt x="623" y="666"/>
                </a:lnTo>
                <a:lnTo>
                  <a:pt x="626" y="650"/>
                </a:lnTo>
                <a:lnTo>
                  <a:pt x="628" y="635"/>
                </a:lnTo>
                <a:lnTo>
                  <a:pt x="630" y="619"/>
                </a:lnTo>
                <a:lnTo>
                  <a:pt x="631" y="603"/>
                </a:lnTo>
                <a:lnTo>
                  <a:pt x="632" y="587"/>
                </a:lnTo>
                <a:lnTo>
                  <a:pt x="631" y="582"/>
                </a:lnTo>
                <a:lnTo>
                  <a:pt x="630" y="578"/>
                </a:lnTo>
                <a:lnTo>
                  <a:pt x="627" y="575"/>
                </a:lnTo>
                <a:lnTo>
                  <a:pt x="623" y="573"/>
                </a:lnTo>
                <a:lnTo>
                  <a:pt x="623" y="57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508" name="Group 343">
            <a:extLst>
              <a:ext uri="{FF2B5EF4-FFF2-40B4-BE49-F238E27FC236}">
                <a16:creationId xmlns:a16="http://schemas.microsoft.com/office/drawing/2014/main" id="{FC0EAE6F-DEC7-47FE-A8BE-C20A3D09C20E}"/>
              </a:ext>
            </a:extLst>
          </p:cNvPr>
          <p:cNvGrpSpPr>
            <a:grpSpLocks noChangeAspect="1"/>
          </p:cNvGrpSpPr>
          <p:nvPr/>
        </p:nvGrpSpPr>
        <p:grpSpPr>
          <a:xfrm>
            <a:off x="2357108" y="2186361"/>
            <a:ext cx="200358" cy="306484"/>
            <a:chOff x="4419600" y="4024313"/>
            <a:chExt cx="695325" cy="1063625"/>
          </a:xfrm>
          <a:solidFill>
            <a:schemeClr val="bg1"/>
          </a:solidFill>
          <a:effectLst/>
        </p:grpSpPr>
        <p:sp>
          <p:nvSpPr>
            <p:cNvPr id="509" name="Freeform 13">
              <a:extLst>
                <a:ext uri="{FF2B5EF4-FFF2-40B4-BE49-F238E27FC236}">
                  <a16:creationId xmlns:a16="http://schemas.microsoft.com/office/drawing/2014/main" id="{BF51272E-80A1-4C7B-91E4-58CD407EB3D3}"/>
                </a:ext>
              </a:extLst>
            </p:cNvPr>
            <p:cNvSpPr>
              <a:spLocks noEditPoints="1"/>
            </p:cNvSpPr>
            <p:nvPr/>
          </p:nvSpPr>
          <p:spPr bwMode="auto">
            <a:xfrm>
              <a:off x="4541838" y="4146550"/>
              <a:ext cx="449263" cy="449263"/>
            </a:xfrm>
            <a:custGeom>
              <a:avLst/>
              <a:gdLst>
                <a:gd name="T0" fmla="*/ 355 w 850"/>
                <a:gd name="T1" fmla="*/ 85 h 850"/>
                <a:gd name="T2" fmla="*/ 275 w 850"/>
                <a:gd name="T3" fmla="*/ 113 h 850"/>
                <a:gd name="T4" fmla="*/ 204 w 850"/>
                <a:gd name="T5" fmla="*/ 157 h 850"/>
                <a:gd name="T6" fmla="*/ 146 w 850"/>
                <a:gd name="T7" fmla="*/ 218 h 850"/>
                <a:gd name="T8" fmla="*/ 105 w 850"/>
                <a:gd name="T9" fmla="*/ 290 h 850"/>
                <a:gd name="T10" fmla="*/ 81 w 850"/>
                <a:gd name="T11" fmla="*/ 373 h 850"/>
                <a:gd name="T12" fmla="*/ 79 w 850"/>
                <a:gd name="T13" fmla="*/ 461 h 850"/>
                <a:gd name="T14" fmla="*/ 98 w 850"/>
                <a:gd name="T15" fmla="*/ 545 h 850"/>
                <a:gd name="T16" fmla="*/ 137 w 850"/>
                <a:gd name="T17" fmla="*/ 620 h 850"/>
                <a:gd name="T18" fmla="*/ 191 w 850"/>
                <a:gd name="T19" fmla="*/ 684 h 850"/>
                <a:gd name="T20" fmla="*/ 259 w 850"/>
                <a:gd name="T21" fmla="*/ 731 h 850"/>
                <a:gd name="T22" fmla="*/ 339 w 850"/>
                <a:gd name="T23" fmla="*/ 762 h 850"/>
                <a:gd name="T24" fmla="*/ 425 w 850"/>
                <a:gd name="T25" fmla="*/ 774 h 850"/>
                <a:gd name="T26" fmla="*/ 512 w 850"/>
                <a:gd name="T27" fmla="*/ 762 h 850"/>
                <a:gd name="T28" fmla="*/ 590 w 850"/>
                <a:gd name="T29" fmla="*/ 731 h 850"/>
                <a:gd name="T30" fmla="*/ 658 w 850"/>
                <a:gd name="T31" fmla="*/ 684 h 850"/>
                <a:gd name="T32" fmla="*/ 714 w 850"/>
                <a:gd name="T33" fmla="*/ 620 h 850"/>
                <a:gd name="T34" fmla="*/ 752 w 850"/>
                <a:gd name="T35" fmla="*/ 545 h 850"/>
                <a:gd name="T36" fmla="*/ 771 w 850"/>
                <a:gd name="T37" fmla="*/ 461 h 850"/>
                <a:gd name="T38" fmla="*/ 769 w 850"/>
                <a:gd name="T39" fmla="*/ 373 h 850"/>
                <a:gd name="T40" fmla="*/ 746 w 850"/>
                <a:gd name="T41" fmla="*/ 290 h 850"/>
                <a:gd name="T42" fmla="*/ 704 w 850"/>
                <a:gd name="T43" fmla="*/ 218 h 850"/>
                <a:gd name="T44" fmla="*/ 646 w 850"/>
                <a:gd name="T45" fmla="*/ 157 h 850"/>
                <a:gd name="T46" fmla="*/ 576 w 850"/>
                <a:gd name="T47" fmla="*/ 113 h 850"/>
                <a:gd name="T48" fmla="*/ 495 w 850"/>
                <a:gd name="T49" fmla="*/ 85 h 850"/>
                <a:gd name="T50" fmla="*/ 425 w 850"/>
                <a:gd name="T51" fmla="*/ 850 h 850"/>
                <a:gd name="T52" fmla="*/ 319 w 850"/>
                <a:gd name="T53" fmla="*/ 838 h 850"/>
                <a:gd name="T54" fmla="*/ 223 w 850"/>
                <a:gd name="T55" fmla="*/ 799 h 850"/>
                <a:gd name="T56" fmla="*/ 140 w 850"/>
                <a:gd name="T57" fmla="*/ 740 h 850"/>
                <a:gd name="T58" fmla="*/ 73 w 850"/>
                <a:gd name="T59" fmla="*/ 663 h 850"/>
                <a:gd name="T60" fmla="*/ 26 w 850"/>
                <a:gd name="T61" fmla="*/ 572 h 850"/>
                <a:gd name="T62" fmla="*/ 2 w 850"/>
                <a:gd name="T63" fmla="*/ 469 h 850"/>
                <a:gd name="T64" fmla="*/ 5 w 850"/>
                <a:gd name="T65" fmla="*/ 361 h 850"/>
                <a:gd name="T66" fmla="*/ 34 w 850"/>
                <a:gd name="T67" fmla="*/ 261 h 850"/>
                <a:gd name="T68" fmla="*/ 85 w 850"/>
                <a:gd name="T69" fmla="*/ 171 h 850"/>
                <a:gd name="T70" fmla="*/ 155 w 850"/>
                <a:gd name="T71" fmla="*/ 98 h 850"/>
                <a:gd name="T72" fmla="*/ 241 w 850"/>
                <a:gd name="T73" fmla="*/ 43 h 850"/>
                <a:gd name="T74" fmla="*/ 340 w 850"/>
                <a:gd name="T75" fmla="*/ 10 h 850"/>
                <a:gd name="T76" fmla="*/ 447 w 850"/>
                <a:gd name="T77" fmla="*/ 1 h 850"/>
                <a:gd name="T78" fmla="*/ 551 w 850"/>
                <a:gd name="T79" fmla="*/ 19 h 850"/>
                <a:gd name="T80" fmla="*/ 646 w 850"/>
                <a:gd name="T81" fmla="*/ 62 h 850"/>
                <a:gd name="T82" fmla="*/ 725 w 850"/>
                <a:gd name="T83" fmla="*/ 126 h 850"/>
                <a:gd name="T84" fmla="*/ 788 w 850"/>
                <a:gd name="T85" fmla="*/ 205 h 850"/>
                <a:gd name="T86" fmla="*/ 831 w 850"/>
                <a:gd name="T87" fmla="*/ 300 h 850"/>
                <a:gd name="T88" fmla="*/ 850 w 850"/>
                <a:gd name="T89" fmla="*/ 404 h 850"/>
                <a:gd name="T90" fmla="*/ 841 w 850"/>
                <a:gd name="T91" fmla="*/ 511 h 850"/>
                <a:gd name="T92" fmla="*/ 808 w 850"/>
                <a:gd name="T93" fmla="*/ 610 h 850"/>
                <a:gd name="T94" fmla="*/ 753 w 850"/>
                <a:gd name="T95" fmla="*/ 696 h 850"/>
                <a:gd name="T96" fmla="*/ 680 w 850"/>
                <a:gd name="T97" fmla="*/ 766 h 850"/>
                <a:gd name="T98" fmla="*/ 590 w 850"/>
                <a:gd name="T99" fmla="*/ 817 h 850"/>
                <a:gd name="T100" fmla="*/ 489 w 850"/>
                <a:gd name="T101" fmla="*/ 846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0" h="850">
                  <a:moveTo>
                    <a:pt x="425" y="78"/>
                  </a:moveTo>
                  <a:lnTo>
                    <a:pt x="408" y="79"/>
                  </a:lnTo>
                  <a:lnTo>
                    <a:pt x="390" y="80"/>
                  </a:lnTo>
                  <a:lnTo>
                    <a:pt x="373" y="82"/>
                  </a:lnTo>
                  <a:lnTo>
                    <a:pt x="355" y="85"/>
                  </a:lnTo>
                  <a:lnTo>
                    <a:pt x="339" y="89"/>
                  </a:lnTo>
                  <a:lnTo>
                    <a:pt x="322" y="94"/>
                  </a:lnTo>
                  <a:lnTo>
                    <a:pt x="306" y="99"/>
                  </a:lnTo>
                  <a:lnTo>
                    <a:pt x="290" y="105"/>
                  </a:lnTo>
                  <a:lnTo>
                    <a:pt x="275" y="113"/>
                  </a:lnTo>
                  <a:lnTo>
                    <a:pt x="259" y="120"/>
                  </a:lnTo>
                  <a:lnTo>
                    <a:pt x="245" y="129"/>
                  </a:lnTo>
                  <a:lnTo>
                    <a:pt x="231" y="137"/>
                  </a:lnTo>
                  <a:lnTo>
                    <a:pt x="217" y="147"/>
                  </a:lnTo>
                  <a:lnTo>
                    <a:pt x="204" y="157"/>
                  </a:lnTo>
                  <a:lnTo>
                    <a:pt x="191" y="168"/>
                  </a:lnTo>
                  <a:lnTo>
                    <a:pt x="179" y="180"/>
                  </a:lnTo>
                  <a:lnTo>
                    <a:pt x="167" y="193"/>
                  </a:lnTo>
                  <a:lnTo>
                    <a:pt x="157" y="204"/>
                  </a:lnTo>
                  <a:lnTo>
                    <a:pt x="146" y="218"/>
                  </a:lnTo>
                  <a:lnTo>
                    <a:pt x="137" y="232"/>
                  </a:lnTo>
                  <a:lnTo>
                    <a:pt x="128" y="246"/>
                  </a:lnTo>
                  <a:lnTo>
                    <a:pt x="120" y="261"/>
                  </a:lnTo>
                  <a:lnTo>
                    <a:pt x="111" y="275"/>
                  </a:lnTo>
                  <a:lnTo>
                    <a:pt x="105" y="290"/>
                  </a:lnTo>
                  <a:lnTo>
                    <a:pt x="98" y="306"/>
                  </a:lnTo>
                  <a:lnTo>
                    <a:pt x="93" y="322"/>
                  </a:lnTo>
                  <a:lnTo>
                    <a:pt x="88" y="339"/>
                  </a:lnTo>
                  <a:lnTo>
                    <a:pt x="85" y="356"/>
                  </a:lnTo>
                  <a:lnTo>
                    <a:pt x="81" y="373"/>
                  </a:lnTo>
                  <a:lnTo>
                    <a:pt x="79" y="390"/>
                  </a:lnTo>
                  <a:lnTo>
                    <a:pt x="78" y="408"/>
                  </a:lnTo>
                  <a:lnTo>
                    <a:pt x="77" y="425"/>
                  </a:lnTo>
                  <a:lnTo>
                    <a:pt x="78" y="443"/>
                  </a:lnTo>
                  <a:lnTo>
                    <a:pt x="79" y="461"/>
                  </a:lnTo>
                  <a:lnTo>
                    <a:pt x="81" y="478"/>
                  </a:lnTo>
                  <a:lnTo>
                    <a:pt x="85" y="495"/>
                  </a:lnTo>
                  <a:lnTo>
                    <a:pt x="88" y="512"/>
                  </a:lnTo>
                  <a:lnTo>
                    <a:pt x="93" y="529"/>
                  </a:lnTo>
                  <a:lnTo>
                    <a:pt x="98" y="545"/>
                  </a:lnTo>
                  <a:lnTo>
                    <a:pt x="105" y="561"/>
                  </a:lnTo>
                  <a:lnTo>
                    <a:pt x="111" y="576"/>
                  </a:lnTo>
                  <a:lnTo>
                    <a:pt x="120" y="591"/>
                  </a:lnTo>
                  <a:lnTo>
                    <a:pt x="128" y="606"/>
                  </a:lnTo>
                  <a:lnTo>
                    <a:pt x="137" y="620"/>
                  </a:lnTo>
                  <a:lnTo>
                    <a:pt x="146" y="634"/>
                  </a:lnTo>
                  <a:lnTo>
                    <a:pt x="157" y="647"/>
                  </a:lnTo>
                  <a:lnTo>
                    <a:pt x="167" y="659"/>
                  </a:lnTo>
                  <a:lnTo>
                    <a:pt x="179" y="672"/>
                  </a:lnTo>
                  <a:lnTo>
                    <a:pt x="191" y="684"/>
                  </a:lnTo>
                  <a:lnTo>
                    <a:pt x="204" y="694"/>
                  </a:lnTo>
                  <a:lnTo>
                    <a:pt x="217" y="705"/>
                  </a:lnTo>
                  <a:lnTo>
                    <a:pt x="231" y="714"/>
                  </a:lnTo>
                  <a:lnTo>
                    <a:pt x="245" y="723"/>
                  </a:lnTo>
                  <a:lnTo>
                    <a:pt x="259" y="731"/>
                  </a:lnTo>
                  <a:lnTo>
                    <a:pt x="275" y="739"/>
                  </a:lnTo>
                  <a:lnTo>
                    <a:pt x="290" y="746"/>
                  </a:lnTo>
                  <a:lnTo>
                    <a:pt x="306" y="753"/>
                  </a:lnTo>
                  <a:lnTo>
                    <a:pt x="322" y="758"/>
                  </a:lnTo>
                  <a:lnTo>
                    <a:pt x="339" y="762"/>
                  </a:lnTo>
                  <a:lnTo>
                    <a:pt x="355" y="766"/>
                  </a:lnTo>
                  <a:lnTo>
                    <a:pt x="373" y="770"/>
                  </a:lnTo>
                  <a:lnTo>
                    <a:pt x="390" y="772"/>
                  </a:lnTo>
                  <a:lnTo>
                    <a:pt x="408" y="773"/>
                  </a:lnTo>
                  <a:lnTo>
                    <a:pt x="425" y="774"/>
                  </a:lnTo>
                  <a:lnTo>
                    <a:pt x="443" y="773"/>
                  </a:lnTo>
                  <a:lnTo>
                    <a:pt x="461" y="772"/>
                  </a:lnTo>
                  <a:lnTo>
                    <a:pt x="478" y="770"/>
                  </a:lnTo>
                  <a:lnTo>
                    <a:pt x="495" y="766"/>
                  </a:lnTo>
                  <a:lnTo>
                    <a:pt x="512" y="762"/>
                  </a:lnTo>
                  <a:lnTo>
                    <a:pt x="529" y="758"/>
                  </a:lnTo>
                  <a:lnTo>
                    <a:pt x="545" y="753"/>
                  </a:lnTo>
                  <a:lnTo>
                    <a:pt x="561" y="746"/>
                  </a:lnTo>
                  <a:lnTo>
                    <a:pt x="576" y="739"/>
                  </a:lnTo>
                  <a:lnTo>
                    <a:pt x="590" y="731"/>
                  </a:lnTo>
                  <a:lnTo>
                    <a:pt x="605" y="723"/>
                  </a:lnTo>
                  <a:lnTo>
                    <a:pt x="619" y="714"/>
                  </a:lnTo>
                  <a:lnTo>
                    <a:pt x="633" y="705"/>
                  </a:lnTo>
                  <a:lnTo>
                    <a:pt x="646" y="694"/>
                  </a:lnTo>
                  <a:lnTo>
                    <a:pt x="658" y="684"/>
                  </a:lnTo>
                  <a:lnTo>
                    <a:pt x="671" y="672"/>
                  </a:lnTo>
                  <a:lnTo>
                    <a:pt x="683" y="659"/>
                  </a:lnTo>
                  <a:lnTo>
                    <a:pt x="694" y="647"/>
                  </a:lnTo>
                  <a:lnTo>
                    <a:pt x="704" y="634"/>
                  </a:lnTo>
                  <a:lnTo>
                    <a:pt x="714" y="620"/>
                  </a:lnTo>
                  <a:lnTo>
                    <a:pt x="722" y="606"/>
                  </a:lnTo>
                  <a:lnTo>
                    <a:pt x="731" y="591"/>
                  </a:lnTo>
                  <a:lnTo>
                    <a:pt x="738" y="576"/>
                  </a:lnTo>
                  <a:lnTo>
                    <a:pt x="746" y="561"/>
                  </a:lnTo>
                  <a:lnTo>
                    <a:pt x="752" y="545"/>
                  </a:lnTo>
                  <a:lnTo>
                    <a:pt x="757" y="529"/>
                  </a:lnTo>
                  <a:lnTo>
                    <a:pt x="762" y="512"/>
                  </a:lnTo>
                  <a:lnTo>
                    <a:pt x="766" y="495"/>
                  </a:lnTo>
                  <a:lnTo>
                    <a:pt x="769" y="478"/>
                  </a:lnTo>
                  <a:lnTo>
                    <a:pt x="771" y="461"/>
                  </a:lnTo>
                  <a:lnTo>
                    <a:pt x="772" y="443"/>
                  </a:lnTo>
                  <a:lnTo>
                    <a:pt x="773" y="425"/>
                  </a:lnTo>
                  <a:lnTo>
                    <a:pt x="772" y="408"/>
                  </a:lnTo>
                  <a:lnTo>
                    <a:pt x="771" y="390"/>
                  </a:lnTo>
                  <a:lnTo>
                    <a:pt x="769" y="373"/>
                  </a:lnTo>
                  <a:lnTo>
                    <a:pt x="766" y="356"/>
                  </a:lnTo>
                  <a:lnTo>
                    <a:pt x="762" y="339"/>
                  </a:lnTo>
                  <a:lnTo>
                    <a:pt x="757" y="322"/>
                  </a:lnTo>
                  <a:lnTo>
                    <a:pt x="752" y="306"/>
                  </a:lnTo>
                  <a:lnTo>
                    <a:pt x="746" y="290"/>
                  </a:lnTo>
                  <a:lnTo>
                    <a:pt x="738" y="275"/>
                  </a:lnTo>
                  <a:lnTo>
                    <a:pt x="731" y="261"/>
                  </a:lnTo>
                  <a:lnTo>
                    <a:pt x="722" y="246"/>
                  </a:lnTo>
                  <a:lnTo>
                    <a:pt x="714" y="232"/>
                  </a:lnTo>
                  <a:lnTo>
                    <a:pt x="704" y="218"/>
                  </a:lnTo>
                  <a:lnTo>
                    <a:pt x="694" y="204"/>
                  </a:lnTo>
                  <a:lnTo>
                    <a:pt x="683" y="193"/>
                  </a:lnTo>
                  <a:lnTo>
                    <a:pt x="671" y="180"/>
                  </a:lnTo>
                  <a:lnTo>
                    <a:pt x="658" y="168"/>
                  </a:lnTo>
                  <a:lnTo>
                    <a:pt x="646" y="157"/>
                  </a:lnTo>
                  <a:lnTo>
                    <a:pt x="633" y="147"/>
                  </a:lnTo>
                  <a:lnTo>
                    <a:pt x="619" y="137"/>
                  </a:lnTo>
                  <a:lnTo>
                    <a:pt x="605" y="129"/>
                  </a:lnTo>
                  <a:lnTo>
                    <a:pt x="590" y="120"/>
                  </a:lnTo>
                  <a:lnTo>
                    <a:pt x="576" y="113"/>
                  </a:lnTo>
                  <a:lnTo>
                    <a:pt x="561" y="105"/>
                  </a:lnTo>
                  <a:lnTo>
                    <a:pt x="545" y="99"/>
                  </a:lnTo>
                  <a:lnTo>
                    <a:pt x="529" y="94"/>
                  </a:lnTo>
                  <a:lnTo>
                    <a:pt x="512" y="89"/>
                  </a:lnTo>
                  <a:lnTo>
                    <a:pt x="495" y="85"/>
                  </a:lnTo>
                  <a:lnTo>
                    <a:pt x="478" y="82"/>
                  </a:lnTo>
                  <a:lnTo>
                    <a:pt x="461" y="80"/>
                  </a:lnTo>
                  <a:lnTo>
                    <a:pt x="443" y="79"/>
                  </a:lnTo>
                  <a:lnTo>
                    <a:pt x="425" y="78"/>
                  </a:lnTo>
                  <a:close/>
                  <a:moveTo>
                    <a:pt x="425" y="850"/>
                  </a:moveTo>
                  <a:lnTo>
                    <a:pt x="403" y="850"/>
                  </a:lnTo>
                  <a:lnTo>
                    <a:pt x="382" y="848"/>
                  </a:lnTo>
                  <a:lnTo>
                    <a:pt x="361" y="846"/>
                  </a:lnTo>
                  <a:lnTo>
                    <a:pt x="340" y="842"/>
                  </a:lnTo>
                  <a:lnTo>
                    <a:pt x="319" y="838"/>
                  </a:lnTo>
                  <a:lnTo>
                    <a:pt x="299" y="831"/>
                  </a:lnTo>
                  <a:lnTo>
                    <a:pt x="279" y="825"/>
                  </a:lnTo>
                  <a:lnTo>
                    <a:pt x="260" y="817"/>
                  </a:lnTo>
                  <a:lnTo>
                    <a:pt x="241" y="809"/>
                  </a:lnTo>
                  <a:lnTo>
                    <a:pt x="223" y="799"/>
                  </a:lnTo>
                  <a:lnTo>
                    <a:pt x="205" y="789"/>
                  </a:lnTo>
                  <a:lnTo>
                    <a:pt x="188" y="778"/>
                  </a:lnTo>
                  <a:lnTo>
                    <a:pt x="171" y="766"/>
                  </a:lnTo>
                  <a:lnTo>
                    <a:pt x="155" y="754"/>
                  </a:lnTo>
                  <a:lnTo>
                    <a:pt x="140" y="740"/>
                  </a:lnTo>
                  <a:lnTo>
                    <a:pt x="125" y="726"/>
                  </a:lnTo>
                  <a:lnTo>
                    <a:pt x="110" y="711"/>
                  </a:lnTo>
                  <a:lnTo>
                    <a:pt x="97" y="696"/>
                  </a:lnTo>
                  <a:lnTo>
                    <a:pt x="85" y="680"/>
                  </a:lnTo>
                  <a:lnTo>
                    <a:pt x="73" y="663"/>
                  </a:lnTo>
                  <a:lnTo>
                    <a:pt x="61" y="646"/>
                  </a:lnTo>
                  <a:lnTo>
                    <a:pt x="52" y="628"/>
                  </a:lnTo>
                  <a:lnTo>
                    <a:pt x="42" y="610"/>
                  </a:lnTo>
                  <a:lnTo>
                    <a:pt x="34" y="591"/>
                  </a:lnTo>
                  <a:lnTo>
                    <a:pt x="26" y="572"/>
                  </a:lnTo>
                  <a:lnTo>
                    <a:pt x="19" y="552"/>
                  </a:lnTo>
                  <a:lnTo>
                    <a:pt x="13" y="532"/>
                  </a:lnTo>
                  <a:lnTo>
                    <a:pt x="9" y="511"/>
                  </a:lnTo>
                  <a:lnTo>
                    <a:pt x="5" y="490"/>
                  </a:lnTo>
                  <a:lnTo>
                    <a:pt x="2" y="469"/>
                  </a:lnTo>
                  <a:lnTo>
                    <a:pt x="1" y="448"/>
                  </a:lnTo>
                  <a:lnTo>
                    <a:pt x="0" y="425"/>
                  </a:lnTo>
                  <a:lnTo>
                    <a:pt x="1" y="404"/>
                  </a:lnTo>
                  <a:lnTo>
                    <a:pt x="2" y="383"/>
                  </a:lnTo>
                  <a:lnTo>
                    <a:pt x="5" y="361"/>
                  </a:lnTo>
                  <a:lnTo>
                    <a:pt x="9" y="340"/>
                  </a:lnTo>
                  <a:lnTo>
                    <a:pt x="13" y="320"/>
                  </a:lnTo>
                  <a:lnTo>
                    <a:pt x="19" y="300"/>
                  </a:lnTo>
                  <a:lnTo>
                    <a:pt x="26" y="280"/>
                  </a:lnTo>
                  <a:lnTo>
                    <a:pt x="34" y="261"/>
                  </a:lnTo>
                  <a:lnTo>
                    <a:pt x="42" y="241"/>
                  </a:lnTo>
                  <a:lnTo>
                    <a:pt x="52" y="223"/>
                  </a:lnTo>
                  <a:lnTo>
                    <a:pt x="61" y="205"/>
                  </a:lnTo>
                  <a:lnTo>
                    <a:pt x="73" y="188"/>
                  </a:lnTo>
                  <a:lnTo>
                    <a:pt x="85" y="171"/>
                  </a:lnTo>
                  <a:lnTo>
                    <a:pt x="97" y="155"/>
                  </a:lnTo>
                  <a:lnTo>
                    <a:pt x="110" y="140"/>
                  </a:lnTo>
                  <a:lnTo>
                    <a:pt x="125" y="126"/>
                  </a:lnTo>
                  <a:lnTo>
                    <a:pt x="140" y="112"/>
                  </a:lnTo>
                  <a:lnTo>
                    <a:pt x="155" y="98"/>
                  </a:lnTo>
                  <a:lnTo>
                    <a:pt x="171" y="85"/>
                  </a:lnTo>
                  <a:lnTo>
                    <a:pt x="188" y="73"/>
                  </a:lnTo>
                  <a:lnTo>
                    <a:pt x="205" y="62"/>
                  </a:lnTo>
                  <a:lnTo>
                    <a:pt x="223" y="52"/>
                  </a:lnTo>
                  <a:lnTo>
                    <a:pt x="241" y="43"/>
                  </a:lnTo>
                  <a:lnTo>
                    <a:pt x="260" y="34"/>
                  </a:lnTo>
                  <a:lnTo>
                    <a:pt x="279" y="27"/>
                  </a:lnTo>
                  <a:lnTo>
                    <a:pt x="299" y="19"/>
                  </a:lnTo>
                  <a:lnTo>
                    <a:pt x="319" y="14"/>
                  </a:lnTo>
                  <a:lnTo>
                    <a:pt x="340" y="10"/>
                  </a:lnTo>
                  <a:lnTo>
                    <a:pt x="361" y="5"/>
                  </a:lnTo>
                  <a:lnTo>
                    <a:pt x="382" y="3"/>
                  </a:lnTo>
                  <a:lnTo>
                    <a:pt x="403" y="1"/>
                  </a:lnTo>
                  <a:lnTo>
                    <a:pt x="425" y="0"/>
                  </a:lnTo>
                  <a:lnTo>
                    <a:pt x="447" y="1"/>
                  </a:lnTo>
                  <a:lnTo>
                    <a:pt x="468" y="3"/>
                  </a:lnTo>
                  <a:lnTo>
                    <a:pt x="489" y="5"/>
                  </a:lnTo>
                  <a:lnTo>
                    <a:pt x="511" y="10"/>
                  </a:lnTo>
                  <a:lnTo>
                    <a:pt x="531" y="14"/>
                  </a:lnTo>
                  <a:lnTo>
                    <a:pt x="551" y="19"/>
                  </a:lnTo>
                  <a:lnTo>
                    <a:pt x="571" y="27"/>
                  </a:lnTo>
                  <a:lnTo>
                    <a:pt x="590" y="34"/>
                  </a:lnTo>
                  <a:lnTo>
                    <a:pt x="610" y="43"/>
                  </a:lnTo>
                  <a:lnTo>
                    <a:pt x="628" y="52"/>
                  </a:lnTo>
                  <a:lnTo>
                    <a:pt x="646" y="62"/>
                  </a:lnTo>
                  <a:lnTo>
                    <a:pt x="663" y="73"/>
                  </a:lnTo>
                  <a:lnTo>
                    <a:pt x="680" y="85"/>
                  </a:lnTo>
                  <a:lnTo>
                    <a:pt x="696" y="98"/>
                  </a:lnTo>
                  <a:lnTo>
                    <a:pt x="711" y="112"/>
                  </a:lnTo>
                  <a:lnTo>
                    <a:pt x="725" y="126"/>
                  </a:lnTo>
                  <a:lnTo>
                    <a:pt x="739" y="140"/>
                  </a:lnTo>
                  <a:lnTo>
                    <a:pt x="753" y="155"/>
                  </a:lnTo>
                  <a:lnTo>
                    <a:pt x="766" y="171"/>
                  </a:lnTo>
                  <a:lnTo>
                    <a:pt x="777" y="188"/>
                  </a:lnTo>
                  <a:lnTo>
                    <a:pt x="788" y="205"/>
                  </a:lnTo>
                  <a:lnTo>
                    <a:pt x="799" y="223"/>
                  </a:lnTo>
                  <a:lnTo>
                    <a:pt x="808" y="241"/>
                  </a:lnTo>
                  <a:lnTo>
                    <a:pt x="817" y="261"/>
                  </a:lnTo>
                  <a:lnTo>
                    <a:pt x="824" y="280"/>
                  </a:lnTo>
                  <a:lnTo>
                    <a:pt x="831" y="300"/>
                  </a:lnTo>
                  <a:lnTo>
                    <a:pt x="837" y="320"/>
                  </a:lnTo>
                  <a:lnTo>
                    <a:pt x="841" y="340"/>
                  </a:lnTo>
                  <a:lnTo>
                    <a:pt x="846" y="361"/>
                  </a:lnTo>
                  <a:lnTo>
                    <a:pt x="848" y="383"/>
                  </a:lnTo>
                  <a:lnTo>
                    <a:pt x="850" y="404"/>
                  </a:lnTo>
                  <a:lnTo>
                    <a:pt x="850" y="425"/>
                  </a:lnTo>
                  <a:lnTo>
                    <a:pt x="850" y="448"/>
                  </a:lnTo>
                  <a:lnTo>
                    <a:pt x="848" y="469"/>
                  </a:lnTo>
                  <a:lnTo>
                    <a:pt x="846" y="490"/>
                  </a:lnTo>
                  <a:lnTo>
                    <a:pt x="841" y="511"/>
                  </a:lnTo>
                  <a:lnTo>
                    <a:pt x="837" y="532"/>
                  </a:lnTo>
                  <a:lnTo>
                    <a:pt x="831" y="552"/>
                  </a:lnTo>
                  <a:lnTo>
                    <a:pt x="824" y="572"/>
                  </a:lnTo>
                  <a:lnTo>
                    <a:pt x="817" y="591"/>
                  </a:lnTo>
                  <a:lnTo>
                    <a:pt x="808" y="610"/>
                  </a:lnTo>
                  <a:lnTo>
                    <a:pt x="799" y="628"/>
                  </a:lnTo>
                  <a:lnTo>
                    <a:pt x="788" y="646"/>
                  </a:lnTo>
                  <a:lnTo>
                    <a:pt x="777" y="663"/>
                  </a:lnTo>
                  <a:lnTo>
                    <a:pt x="766" y="680"/>
                  </a:lnTo>
                  <a:lnTo>
                    <a:pt x="753" y="696"/>
                  </a:lnTo>
                  <a:lnTo>
                    <a:pt x="739" y="711"/>
                  </a:lnTo>
                  <a:lnTo>
                    <a:pt x="725" y="726"/>
                  </a:lnTo>
                  <a:lnTo>
                    <a:pt x="711" y="740"/>
                  </a:lnTo>
                  <a:lnTo>
                    <a:pt x="696" y="754"/>
                  </a:lnTo>
                  <a:lnTo>
                    <a:pt x="680" y="766"/>
                  </a:lnTo>
                  <a:lnTo>
                    <a:pt x="663" y="778"/>
                  </a:lnTo>
                  <a:lnTo>
                    <a:pt x="646" y="789"/>
                  </a:lnTo>
                  <a:lnTo>
                    <a:pt x="628" y="799"/>
                  </a:lnTo>
                  <a:lnTo>
                    <a:pt x="610" y="809"/>
                  </a:lnTo>
                  <a:lnTo>
                    <a:pt x="590" y="817"/>
                  </a:lnTo>
                  <a:lnTo>
                    <a:pt x="571" y="825"/>
                  </a:lnTo>
                  <a:lnTo>
                    <a:pt x="551" y="831"/>
                  </a:lnTo>
                  <a:lnTo>
                    <a:pt x="531" y="838"/>
                  </a:lnTo>
                  <a:lnTo>
                    <a:pt x="511" y="842"/>
                  </a:lnTo>
                  <a:lnTo>
                    <a:pt x="489" y="846"/>
                  </a:lnTo>
                  <a:lnTo>
                    <a:pt x="468" y="848"/>
                  </a:lnTo>
                  <a:lnTo>
                    <a:pt x="447" y="850"/>
                  </a:lnTo>
                  <a:lnTo>
                    <a:pt x="42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4">
              <a:extLst>
                <a:ext uri="{FF2B5EF4-FFF2-40B4-BE49-F238E27FC236}">
                  <a16:creationId xmlns:a16="http://schemas.microsoft.com/office/drawing/2014/main" id="{FFDA030E-2091-487D-B188-BF882D87FBF2}"/>
                </a:ext>
              </a:extLst>
            </p:cNvPr>
            <p:cNvSpPr>
              <a:spLocks noEditPoints="1"/>
            </p:cNvSpPr>
            <p:nvPr/>
          </p:nvSpPr>
          <p:spPr bwMode="auto">
            <a:xfrm>
              <a:off x="4419600" y="4024313"/>
              <a:ext cx="695325" cy="1063625"/>
            </a:xfrm>
            <a:custGeom>
              <a:avLst/>
              <a:gdLst>
                <a:gd name="T0" fmla="*/ 568 w 1315"/>
                <a:gd name="T1" fmla="*/ 84 h 2010"/>
                <a:gd name="T2" fmla="*/ 458 w 1315"/>
                <a:gd name="T3" fmla="*/ 113 h 2010"/>
                <a:gd name="T4" fmla="*/ 357 w 1315"/>
                <a:gd name="T5" fmla="*/ 162 h 2010"/>
                <a:gd name="T6" fmla="*/ 268 w 1315"/>
                <a:gd name="T7" fmla="*/ 229 h 2010"/>
                <a:gd name="T8" fmla="*/ 192 w 1315"/>
                <a:gd name="T9" fmla="*/ 311 h 2010"/>
                <a:gd name="T10" fmla="*/ 135 w 1315"/>
                <a:gd name="T11" fmla="*/ 406 h 2010"/>
                <a:gd name="T12" fmla="*/ 96 w 1315"/>
                <a:gd name="T13" fmla="*/ 513 h 2010"/>
                <a:gd name="T14" fmla="*/ 79 w 1315"/>
                <a:gd name="T15" fmla="*/ 627 h 2010"/>
                <a:gd name="T16" fmla="*/ 81 w 1315"/>
                <a:gd name="T17" fmla="*/ 716 h 2010"/>
                <a:gd name="T18" fmla="*/ 93 w 1315"/>
                <a:gd name="T19" fmla="*/ 791 h 2010"/>
                <a:gd name="T20" fmla="*/ 116 w 1315"/>
                <a:gd name="T21" fmla="*/ 865 h 2010"/>
                <a:gd name="T22" fmla="*/ 149 w 1315"/>
                <a:gd name="T23" fmla="*/ 935 h 2010"/>
                <a:gd name="T24" fmla="*/ 1165 w 1315"/>
                <a:gd name="T25" fmla="*/ 936 h 2010"/>
                <a:gd name="T26" fmla="*/ 1198 w 1315"/>
                <a:gd name="T27" fmla="*/ 866 h 2010"/>
                <a:gd name="T28" fmla="*/ 1221 w 1315"/>
                <a:gd name="T29" fmla="*/ 791 h 2010"/>
                <a:gd name="T30" fmla="*/ 1234 w 1315"/>
                <a:gd name="T31" fmla="*/ 716 h 2010"/>
                <a:gd name="T32" fmla="*/ 1236 w 1315"/>
                <a:gd name="T33" fmla="*/ 627 h 2010"/>
                <a:gd name="T34" fmla="*/ 1219 w 1315"/>
                <a:gd name="T35" fmla="*/ 513 h 2010"/>
                <a:gd name="T36" fmla="*/ 1180 w 1315"/>
                <a:gd name="T37" fmla="*/ 406 h 2010"/>
                <a:gd name="T38" fmla="*/ 1121 w 1315"/>
                <a:gd name="T39" fmla="*/ 311 h 2010"/>
                <a:gd name="T40" fmla="*/ 1047 w 1315"/>
                <a:gd name="T41" fmla="*/ 229 h 2010"/>
                <a:gd name="T42" fmla="*/ 957 w 1315"/>
                <a:gd name="T43" fmla="*/ 162 h 2010"/>
                <a:gd name="T44" fmla="*/ 856 w 1315"/>
                <a:gd name="T45" fmla="*/ 113 h 2010"/>
                <a:gd name="T46" fmla="*/ 745 w 1315"/>
                <a:gd name="T47" fmla="*/ 84 h 2010"/>
                <a:gd name="T48" fmla="*/ 657 w 1315"/>
                <a:gd name="T49" fmla="*/ 2010 h 2010"/>
                <a:gd name="T50" fmla="*/ 638 w 1315"/>
                <a:gd name="T51" fmla="*/ 2005 h 2010"/>
                <a:gd name="T52" fmla="*/ 623 w 1315"/>
                <a:gd name="T53" fmla="*/ 1990 h 2010"/>
                <a:gd name="T54" fmla="*/ 60 w 1315"/>
                <a:gd name="T55" fmla="*/ 933 h 2010"/>
                <a:gd name="T56" fmla="*/ 30 w 1315"/>
                <a:gd name="T57" fmla="*/ 851 h 2010"/>
                <a:gd name="T58" fmla="*/ 9 w 1315"/>
                <a:gd name="T59" fmla="*/ 767 h 2010"/>
                <a:gd name="T60" fmla="*/ 1 w 1315"/>
                <a:gd name="T61" fmla="*/ 680 h 2010"/>
                <a:gd name="T62" fmla="*/ 7 w 1315"/>
                <a:gd name="T63" fmla="*/ 557 h 2010"/>
                <a:gd name="T64" fmla="*/ 40 w 1315"/>
                <a:gd name="T65" fmla="*/ 432 h 2010"/>
                <a:gd name="T66" fmla="*/ 96 w 1315"/>
                <a:gd name="T67" fmla="*/ 317 h 2010"/>
                <a:gd name="T68" fmla="*/ 171 w 1315"/>
                <a:gd name="T69" fmla="*/ 216 h 2010"/>
                <a:gd name="T70" fmla="*/ 265 w 1315"/>
                <a:gd name="T71" fmla="*/ 131 h 2010"/>
                <a:gd name="T72" fmla="*/ 373 w 1315"/>
                <a:gd name="T73" fmla="*/ 65 h 2010"/>
                <a:gd name="T74" fmla="*/ 493 w 1315"/>
                <a:gd name="T75" fmla="*/ 22 h 2010"/>
                <a:gd name="T76" fmla="*/ 624 w 1315"/>
                <a:gd name="T77" fmla="*/ 2 h 2010"/>
                <a:gd name="T78" fmla="*/ 757 w 1315"/>
                <a:gd name="T79" fmla="*/ 8 h 2010"/>
                <a:gd name="T80" fmla="*/ 883 w 1315"/>
                <a:gd name="T81" fmla="*/ 41 h 2010"/>
                <a:gd name="T82" fmla="*/ 998 w 1315"/>
                <a:gd name="T83" fmla="*/ 96 h 2010"/>
                <a:gd name="T84" fmla="*/ 1099 w 1315"/>
                <a:gd name="T85" fmla="*/ 172 h 2010"/>
                <a:gd name="T86" fmla="*/ 1184 w 1315"/>
                <a:gd name="T87" fmla="*/ 265 h 2010"/>
                <a:gd name="T88" fmla="*/ 1249 w 1315"/>
                <a:gd name="T89" fmla="*/ 373 h 2010"/>
                <a:gd name="T90" fmla="*/ 1293 w 1315"/>
                <a:gd name="T91" fmla="*/ 494 h 2010"/>
                <a:gd name="T92" fmla="*/ 1313 w 1315"/>
                <a:gd name="T93" fmla="*/ 624 h 2010"/>
                <a:gd name="T94" fmla="*/ 1310 w 1315"/>
                <a:gd name="T95" fmla="*/ 723 h 2010"/>
                <a:gd name="T96" fmla="*/ 1296 w 1315"/>
                <a:gd name="T97" fmla="*/ 809 h 2010"/>
                <a:gd name="T98" fmla="*/ 1270 w 1315"/>
                <a:gd name="T99" fmla="*/ 892 h 2010"/>
                <a:gd name="T100" fmla="*/ 1234 w 1315"/>
                <a:gd name="T101" fmla="*/ 972 h 2010"/>
                <a:gd name="T102" fmla="*/ 685 w 1315"/>
                <a:gd name="T103" fmla="*/ 1999 h 2010"/>
                <a:gd name="T104" fmla="*/ 667 w 1315"/>
                <a:gd name="T105" fmla="*/ 2009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5" h="2010">
                  <a:moveTo>
                    <a:pt x="657" y="78"/>
                  </a:moveTo>
                  <a:lnTo>
                    <a:pt x="627" y="79"/>
                  </a:lnTo>
                  <a:lnTo>
                    <a:pt x="598" y="81"/>
                  </a:lnTo>
                  <a:lnTo>
                    <a:pt x="568" y="84"/>
                  </a:lnTo>
                  <a:lnTo>
                    <a:pt x="541" y="90"/>
                  </a:lnTo>
                  <a:lnTo>
                    <a:pt x="512" y="96"/>
                  </a:lnTo>
                  <a:lnTo>
                    <a:pt x="484" y="105"/>
                  </a:lnTo>
                  <a:lnTo>
                    <a:pt x="458" y="113"/>
                  </a:lnTo>
                  <a:lnTo>
                    <a:pt x="431" y="124"/>
                  </a:lnTo>
                  <a:lnTo>
                    <a:pt x="406" y="135"/>
                  </a:lnTo>
                  <a:lnTo>
                    <a:pt x="381" y="148"/>
                  </a:lnTo>
                  <a:lnTo>
                    <a:pt x="357" y="162"/>
                  </a:lnTo>
                  <a:lnTo>
                    <a:pt x="334" y="177"/>
                  </a:lnTo>
                  <a:lnTo>
                    <a:pt x="310" y="194"/>
                  </a:lnTo>
                  <a:lnTo>
                    <a:pt x="289" y="211"/>
                  </a:lnTo>
                  <a:lnTo>
                    <a:pt x="268" y="229"/>
                  </a:lnTo>
                  <a:lnTo>
                    <a:pt x="248" y="248"/>
                  </a:lnTo>
                  <a:lnTo>
                    <a:pt x="228" y="268"/>
                  </a:lnTo>
                  <a:lnTo>
                    <a:pt x="210" y="290"/>
                  </a:lnTo>
                  <a:lnTo>
                    <a:pt x="192" y="311"/>
                  </a:lnTo>
                  <a:lnTo>
                    <a:pt x="176" y="334"/>
                  </a:lnTo>
                  <a:lnTo>
                    <a:pt x="161" y="358"/>
                  </a:lnTo>
                  <a:lnTo>
                    <a:pt x="148" y="382"/>
                  </a:lnTo>
                  <a:lnTo>
                    <a:pt x="135" y="406"/>
                  </a:lnTo>
                  <a:lnTo>
                    <a:pt x="123" y="432"/>
                  </a:lnTo>
                  <a:lnTo>
                    <a:pt x="113" y="459"/>
                  </a:lnTo>
                  <a:lnTo>
                    <a:pt x="103" y="485"/>
                  </a:lnTo>
                  <a:lnTo>
                    <a:pt x="96" y="513"/>
                  </a:lnTo>
                  <a:lnTo>
                    <a:pt x="89" y="541"/>
                  </a:lnTo>
                  <a:lnTo>
                    <a:pt x="84" y="570"/>
                  </a:lnTo>
                  <a:lnTo>
                    <a:pt x="81" y="599"/>
                  </a:lnTo>
                  <a:lnTo>
                    <a:pt x="79" y="627"/>
                  </a:lnTo>
                  <a:lnTo>
                    <a:pt x="77" y="657"/>
                  </a:lnTo>
                  <a:lnTo>
                    <a:pt x="77" y="677"/>
                  </a:lnTo>
                  <a:lnTo>
                    <a:pt x="79" y="697"/>
                  </a:lnTo>
                  <a:lnTo>
                    <a:pt x="81" y="716"/>
                  </a:lnTo>
                  <a:lnTo>
                    <a:pt x="83" y="735"/>
                  </a:lnTo>
                  <a:lnTo>
                    <a:pt x="86" y="754"/>
                  </a:lnTo>
                  <a:lnTo>
                    <a:pt x="89" y="772"/>
                  </a:lnTo>
                  <a:lnTo>
                    <a:pt x="93" y="791"/>
                  </a:lnTo>
                  <a:lnTo>
                    <a:pt x="98" y="810"/>
                  </a:lnTo>
                  <a:lnTo>
                    <a:pt x="103" y="828"/>
                  </a:lnTo>
                  <a:lnTo>
                    <a:pt x="109" y="846"/>
                  </a:lnTo>
                  <a:lnTo>
                    <a:pt x="116" y="865"/>
                  </a:lnTo>
                  <a:lnTo>
                    <a:pt x="123" y="883"/>
                  </a:lnTo>
                  <a:lnTo>
                    <a:pt x="131" y="901"/>
                  </a:lnTo>
                  <a:lnTo>
                    <a:pt x="139" y="918"/>
                  </a:lnTo>
                  <a:lnTo>
                    <a:pt x="149" y="935"/>
                  </a:lnTo>
                  <a:lnTo>
                    <a:pt x="158" y="952"/>
                  </a:lnTo>
                  <a:lnTo>
                    <a:pt x="657" y="1889"/>
                  </a:lnTo>
                  <a:lnTo>
                    <a:pt x="1155" y="954"/>
                  </a:lnTo>
                  <a:lnTo>
                    <a:pt x="1165" y="936"/>
                  </a:lnTo>
                  <a:lnTo>
                    <a:pt x="1174" y="919"/>
                  </a:lnTo>
                  <a:lnTo>
                    <a:pt x="1183" y="902"/>
                  </a:lnTo>
                  <a:lnTo>
                    <a:pt x="1190" y="884"/>
                  </a:lnTo>
                  <a:lnTo>
                    <a:pt x="1198" y="866"/>
                  </a:lnTo>
                  <a:lnTo>
                    <a:pt x="1204" y="847"/>
                  </a:lnTo>
                  <a:lnTo>
                    <a:pt x="1210" y="828"/>
                  </a:lnTo>
                  <a:lnTo>
                    <a:pt x="1216" y="810"/>
                  </a:lnTo>
                  <a:lnTo>
                    <a:pt x="1221" y="791"/>
                  </a:lnTo>
                  <a:lnTo>
                    <a:pt x="1225" y="773"/>
                  </a:lnTo>
                  <a:lnTo>
                    <a:pt x="1228" y="754"/>
                  </a:lnTo>
                  <a:lnTo>
                    <a:pt x="1232" y="735"/>
                  </a:lnTo>
                  <a:lnTo>
                    <a:pt x="1234" y="716"/>
                  </a:lnTo>
                  <a:lnTo>
                    <a:pt x="1236" y="697"/>
                  </a:lnTo>
                  <a:lnTo>
                    <a:pt x="1237" y="677"/>
                  </a:lnTo>
                  <a:lnTo>
                    <a:pt x="1237" y="657"/>
                  </a:lnTo>
                  <a:lnTo>
                    <a:pt x="1236" y="627"/>
                  </a:lnTo>
                  <a:lnTo>
                    <a:pt x="1234" y="599"/>
                  </a:lnTo>
                  <a:lnTo>
                    <a:pt x="1231" y="570"/>
                  </a:lnTo>
                  <a:lnTo>
                    <a:pt x="1225" y="541"/>
                  </a:lnTo>
                  <a:lnTo>
                    <a:pt x="1219" y="513"/>
                  </a:lnTo>
                  <a:lnTo>
                    <a:pt x="1210" y="485"/>
                  </a:lnTo>
                  <a:lnTo>
                    <a:pt x="1202" y="459"/>
                  </a:lnTo>
                  <a:lnTo>
                    <a:pt x="1191" y="432"/>
                  </a:lnTo>
                  <a:lnTo>
                    <a:pt x="1180" y="406"/>
                  </a:lnTo>
                  <a:lnTo>
                    <a:pt x="1167" y="382"/>
                  </a:lnTo>
                  <a:lnTo>
                    <a:pt x="1153" y="358"/>
                  </a:lnTo>
                  <a:lnTo>
                    <a:pt x="1138" y="334"/>
                  </a:lnTo>
                  <a:lnTo>
                    <a:pt x="1121" y="311"/>
                  </a:lnTo>
                  <a:lnTo>
                    <a:pt x="1104" y="290"/>
                  </a:lnTo>
                  <a:lnTo>
                    <a:pt x="1086" y="268"/>
                  </a:lnTo>
                  <a:lnTo>
                    <a:pt x="1067" y="248"/>
                  </a:lnTo>
                  <a:lnTo>
                    <a:pt x="1047" y="229"/>
                  </a:lnTo>
                  <a:lnTo>
                    <a:pt x="1025" y="211"/>
                  </a:lnTo>
                  <a:lnTo>
                    <a:pt x="1004" y="194"/>
                  </a:lnTo>
                  <a:lnTo>
                    <a:pt x="981" y="177"/>
                  </a:lnTo>
                  <a:lnTo>
                    <a:pt x="957" y="162"/>
                  </a:lnTo>
                  <a:lnTo>
                    <a:pt x="933" y="148"/>
                  </a:lnTo>
                  <a:lnTo>
                    <a:pt x="909" y="135"/>
                  </a:lnTo>
                  <a:lnTo>
                    <a:pt x="882" y="124"/>
                  </a:lnTo>
                  <a:lnTo>
                    <a:pt x="856" y="113"/>
                  </a:lnTo>
                  <a:lnTo>
                    <a:pt x="829" y="105"/>
                  </a:lnTo>
                  <a:lnTo>
                    <a:pt x="802" y="96"/>
                  </a:lnTo>
                  <a:lnTo>
                    <a:pt x="774" y="90"/>
                  </a:lnTo>
                  <a:lnTo>
                    <a:pt x="745" y="84"/>
                  </a:lnTo>
                  <a:lnTo>
                    <a:pt x="716" y="81"/>
                  </a:lnTo>
                  <a:lnTo>
                    <a:pt x="686" y="79"/>
                  </a:lnTo>
                  <a:lnTo>
                    <a:pt x="657" y="78"/>
                  </a:lnTo>
                  <a:close/>
                  <a:moveTo>
                    <a:pt x="657" y="2010"/>
                  </a:moveTo>
                  <a:lnTo>
                    <a:pt x="651" y="2010"/>
                  </a:lnTo>
                  <a:lnTo>
                    <a:pt x="647" y="2009"/>
                  </a:lnTo>
                  <a:lnTo>
                    <a:pt x="642" y="2007"/>
                  </a:lnTo>
                  <a:lnTo>
                    <a:pt x="638" y="2005"/>
                  </a:lnTo>
                  <a:lnTo>
                    <a:pt x="633" y="2002"/>
                  </a:lnTo>
                  <a:lnTo>
                    <a:pt x="629" y="1999"/>
                  </a:lnTo>
                  <a:lnTo>
                    <a:pt x="626" y="1994"/>
                  </a:lnTo>
                  <a:lnTo>
                    <a:pt x="623" y="1990"/>
                  </a:lnTo>
                  <a:lnTo>
                    <a:pt x="91" y="990"/>
                  </a:lnTo>
                  <a:lnTo>
                    <a:pt x="80" y="971"/>
                  </a:lnTo>
                  <a:lnTo>
                    <a:pt x="70" y="952"/>
                  </a:lnTo>
                  <a:lnTo>
                    <a:pt x="60" y="933"/>
                  </a:lnTo>
                  <a:lnTo>
                    <a:pt x="52" y="912"/>
                  </a:lnTo>
                  <a:lnTo>
                    <a:pt x="43" y="892"/>
                  </a:lnTo>
                  <a:lnTo>
                    <a:pt x="36" y="872"/>
                  </a:lnTo>
                  <a:lnTo>
                    <a:pt x="30" y="851"/>
                  </a:lnTo>
                  <a:lnTo>
                    <a:pt x="23" y="830"/>
                  </a:lnTo>
                  <a:lnTo>
                    <a:pt x="18" y="809"/>
                  </a:lnTo>
                  <a:lnTo>
                    <a:pt x="14" y="788"/>
                  </a:lnTo>
                  <a:lnTo>
                    <a:pt x="9" y="767"/>
                  </a:lnTo>
                  <a:lnTo>
                    <a:pt x="6" y="744"/>
                  </a:lnTo>
                  <a:lnTo>
                    <a:pt x="3" y="723"/>
                  </a:lnTo>
                  <a:lnTo>
                    <a:pt x="2" y="702"/>
                  </a:lnTo>
                  <a:lnTo>
                    <a:pt x="1" y="680"/>
                  </a:lnTo>
                  <a:lnTo>
                    <a:pt x="0" y="657"/>
                  </a:lnTo>
                  <a:lnTo>
                    <a:pt x="1" y="624"/>
                  </a:lnTo>
                  <a:lnTo>
                    <a:pt x="3" y="590"/>
                  </a:lnTo>
                  <a:lnTo>
                    <a:pt x="7" y="557"/>
                  </a:lnTo>
                  <a:lnTo>
                    <a:pt x="14" y="525"/>
                  </a:lnTo>
                  <a:lnTo>
                    <a:pt x="21" y="494"/>
                  </a:lnTo>
                  <a:lnTo>
                    <a:pt x="30" y="463"/>
                  </a:lnTo>
                  <a:lnTo>
                    <a:pt x="40" y="432"/>
                  </a:lnTo>
                  <a:lnTo>
                    <a:pt x="52" y="402"/>
                  </a:lnTo>
                  <a:lnTo>
                    <a:pt x="65" y="373"/>
                  </a:lnTo>
                  <a:lnTo>
                    <a:pt x="80" y="345"/>
                  </a:lnTo>
                  <a:lnTo>
                    <a:pt x="96" y="317"/>
                  </a:lnTo>
                  <a:lnTo>
                    <a:pt x="113" y="291"/>
                  </a:lnTo>
                  <a:lnTo>
                    <a:pt x="131" y="265"/>
                  </a:lnTo>
                  <a:lnTo>
                    <a:pt x="151" y="240"/>
                  </a:lnTo>
                  <a:lnTo>
                    <a:pt x="171" y="216"/>
                  </a:lnTo>
                  <a:lnTo>
                    <a:pt x="192" y="194"/>
                  </a:lnTo>
                  <a:lnTo>
                    <a:pt x="216" y="172"/>
                  </a:lnTo>
                  <a:lnTo>
                    <a:pt x="239" y="151"/>
                  </a:lnTo>
                  <a:lnTo>
                    <a:pt x="265" y="131"/>
                  </a:lnTo>
                  <a:lnTo>
                    <a:pt x="290" y="113"/>
                  </a:lnTo>
                  <a:lnTo>
                    <a:pt x="317" y="96"/>
                  </a:lnTo>
                  <a:lnTo>
                    <a:pt x="344" y="80"/>
                  </a:lnTo>
                  <a:lnTo>
                    <a:pt x="373" y="65"/>
                  </a:lnTo>
                  <a:lnTo>
                    <a:pt x="402" y="53"/>
                  </a:lnTo>
                  <a:lnTo>
                    <a:pt x="431" y="41"/>
                  </a:lnTo>
                  <a:lnTo>
                    <a:pt x="462" y="30"/>
                  </a:lnTo>
                  <a:lnTo>
                    <a:pt x="493" y="22"/>
                  </a:lnTo>
                  <a:lnTo>
                    <a:pt x="525" y="14"/>
                  </a:lnTo>
                  <a:lnTo>
                    <a:pt x="557" y="8"/>
                  </a:lnTo>
                  <a:lnTo>
                    <a:pt x="590" y="5"/>
                  </a:lnTo>
                  <a:lnTo>
                    <a:pt x="624" y="2"/>
                  </a:lnTo>
                  <a:lnTo>
                    <a:pt x="657" y="0"/>
                  </a:lnTo>
                  <a:lnTo>
                    <a:pt x="691" y="2"/>
                  </a:lnTo>
                  <a:lnTo>
                    <a:pt x="724" y="4"/>
                  </a:lnTo>
                  <a:lnTo>
                    <a:pt x="757" y="8"/>
                  </a:lnTo>
                  <a:lnTo>
                    <a:pt x="790" y="14"/>
                  </a:lnTo>
                  <a:lnTo>
                    <a:pt x="821" y="22"/>
                  </a:lnTo>
                  <a:lnTo>
                    <a:pt x="852" y="30"/>
                  </a:lnTo>
                  <a:lnTo>
                    <a:pt x="883" y="41"/>
                  </a:lnTo>
                  <a:lnTo>
                    <a:pt x="913" y="53"/>
                  </a:lnTo>
                  <a:lnTo>
                    <a:pt x="941" y="65"/>
                  </a:lnTo>
                  <a:lnTo>
                    <a:pt x="970" y="80"/>
                  </a:lnTo>
                  <a:lnTo>
                    <a:pt x="998" y="96"/>
                  </a:lnTo>
                  <a:lnTo>
                    <a:pt x="1024" y="113"/>
                  </a:lnTo>
                  <a:lnTo>
                    <a:pt x="1050" y="131"/>
                  </a:lnTo>
                  <a:lnTo>
                    <a:pt x="1074" y="151"/>
                  </a:lnTo>
                  <a:lnTo>
                    <a:pt x="1099" y="172"/>
                  </a:lnTo>
                  <a:lnTo>
                    <a:pt x="1121" y="194"/>
                  </a:lnTo>
                  <a:lnTo>
                    <a:pt x="1143" y="216"/>
                  </a:lnTo>
                  <a:lnTo>
                    <a:pt x="1164" y="240"/>
                  </a:lnTo>
                  <a:lnTo>
                    <a:pt x="1184" y="265"/>
                  </a:lnTo>
                  <a:lnTo>
                    <a:pt x="1202" y="291"/>
                  </a:lnTo>
                  <a:lnTo>
                    <a:pt x="1219" y="317"/>
                  </a:lnTo>
                  <a:lnTo>
                    <a:pt x="1235" y="345"/>
                  </a:lnTo>
                  <a:lnTo>
                    <a:pt x="1249" y="373"/>
                  </a:lnTo>
                  <a:lnTo>
                    <a:pt x="1262" y="402"/>
                  </a:lnTo>
                  <a:lnTo>
                    <a:pt x="1274" y="432"/>
                  </a:lnTo>
                  <a:lnTo>
                    <a:pt x="1285" y="463"/>
                  </a:lnTo>
                  <a:lnTo>
                    <a:pt x="1293" y="494"/>
                  </a:lnTo>
                  <a:lnTo>
                    <a:pt x="1301" y="525"/>
                  </a:lnTo>
                  <a:lnTo>
                    <a:pt x="1306" y="557"/>
                  </a:lnTo>
                  <a:lnTo>
                    <a:pt x="1310" y="590"/>
                  </a:lnTo>
                  <a:lnTo>
                    <a:pt x="1313" y="624"/>
                  </a:lnTo>
                  <a:lnTo>
                    <a:pt x="1315" y="657"/>
                  </a:lnTo>
                  <a:lnTo>
                    <a:pt x="1313" y="680"/>
                  </a:lnTo>
                  <a:lnTo>
                    <a:pt x="1312" y="702"/>
                  </a:lnTo>
                  <a:lnTo>
                    <a:pt x="1310" y="723"/>
                  </a:lnTo>
                  <a:lnTo>
                    <a:pt x="1308" y="744"/>
                  </a:lnTo>
                  <a:lnTo>
                    <a:pt x="1305" y="767"/>
                  </a:lnTo>
                  <a:lnTo>
                    <a:pt x="1301" y="788"/>
                  </a:lnTo>
                  <a:lnTo>
                    <a:pt x="1296" y="809"/>
                  </a:lnTo>
                  <a:lnTo>
                    <a:pt x="1291" y="830"/>
                  </a:lnTo>
                  <a:lnTo>
                    <a:pt x="1285" y="852"/>
                  </a:lnTo>
                  <a:lnTo>
                    <a:pt x="1277" y="872"/>
                  </a:lnTo>
                  <a:lnTo>
                    <a:pt x="1270" y="892"/>
                  </a:lnTo>
                  <a:lnTo>
                    <a:pt x="1262" y="912"/>
                  </a:lnTo>
                  <a:lnTo>
                    <a:pt x="1253" y="933"/>
                  </a:lnTo>
                  <a:lnTo>
                    <a:pt x="1243" y="953"/>
                  </a:lnTo>
                  <a:lnTo>
                    <a:pt x="1234" y="972"/>
                  </a:lnTo>
                  <a:lnTo>
                    <a:pt x="1222" y="991"/>
                  </a:lnTo>
                  <a:lnTo>
                    <a:pt x="691" y="1990"/>
                  </a:lnTo>
                  <a:lnTo>
                    <a:pt x="689" y="1994"/>
                  </a:lnTo>
                  <a:lnTo>
                    <a:pt x="685" y="1999"/>
                  </a:lnTo>
                  <a:lnTo>
                    <a:pt x="681" y="2002"/>
                  </a:lnTo>
                  <a:lnTo>
                    <a:pt x="677" y="2005"/>
                  </a:lnTo>
                  <a:lnTo>
                    <a:pt x="673" y="2007"/>
                  </a:lnTo>
                  <a:lnTo>
                    <a:pt x="667" y="2009"/>
                  </a:lnTo>
                  <a:lnTo>
                    <a:pt x="662" y="2010"/>
                  </a:lnTo>
                  <a:lnTo>
                    <a:pt x="657" y="20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8" name="Gruppieren 567">
            <a:extLst>
              <a:ext uri="{FF2B5EF4-FFF2-40B4-BE49-F238E27FC236}">
                <a16:creationId xmlns:a16="http://schemas.microsoft.com/office/drawing/2014/main" id="{9EFCA280-3F12-416E-ABBB-2618E6F707BB}"/>
              </a:ext>
            </a:extLst>
          </p:cNvPr>
          <p:cNvGrpSpPr>
            <a:grpSpLocks noChangeAspect="1"/>
          </p:cNvGrpSpPr>
          <p:nvPr/>
        </p:nvGrpSpPr>
        <p:grpSpPr>
          <a:xfrm>
            <a:off x="2684033" y="2186361"/>
            <a:ext cx="390070" cy="306484"/>
            <a:chOff x="3334078" y="1994770"/>
            <a:chExt cx="511175" cy="401638"/>
          </a:xfrm>
          <a:solidFill>
            <a:schemeClr val="bg1"/>
          </a:solidFill>
          <a:effectLst/>
        </p:grpSpPr>
        <p:sp>
          <p:nvSpPr>
            <p:cNvPr id="569" name="Freeform 53">
              <a:extLst>
                <a:ext uri="{FF2B5EF4-FFF2-40B4-BE49-F238E27FC236}">
                  <a16:creationId xmlns:a16="http://schemas.microsoft.com/office/drawing/2014/main" id="{7F846816-2F8E-44FD-B551-5CFE94E5F381}"/>
                </a:ext>
              </a:extLst>
            </p:cNvPr>
            <p:cNvSpPr>
              <a:spLocks noEditPoints="1"/>
            </p:cNvSpPr>
            <p:nvPr/>
          </p:nvSpPr>
          <p:spPr bwMode="auto">
            <a:xfrm>
              <a:off x="3334078" y="1994770"/>
              <a:ext cx="493713" cy="401638"/>
            </a:xfrm>
            <a:custGeom>
              <a:avLst/>
              <a:gdLst>
                <a:gd name="T0" fmla="*/ 63 w 1243"/>
                <a:gd name="T1" fmla="*/ 966 h 1013"/>
                <a:gd name="T2" fmla="*/ 1178 w 1243"/>
                <a:gd name="T3" fmla="*/ 966 h 1013"/>
                <a:gd name="T4" fmla="*/ 621 w 1243"/>
                <a:gd name="T5" fmla="*/ 66 h 1013"/>
                <a:gd name="T6" fmla="*/ 63 w 1243"/>
                <a:gd name="T7" fmla="*/ 966 h 1013"/>
                <a:gd name="T8" fmla="*/ 1220 w 1243"/>
                <a:gd name="T9" fmla="*/ 1013 h 1013"/>
                <a:gd name="T10" fmla="*/ 22 w 1243"/>
                <a:gd name="T11" fmla="*/ 1013 h 1013"/>
                <a:gd name="T12" fmla="*/ 16 w 1243"/>
                <a:gd name="T13" fmla="*/ 1012 h 1013"/>
                <a:gd name="T14" fmla="*/ 11 w 1243"/>
                <a:gd name="T15" fmla="*/ 1009 h 1013"/>
                <a:gd name="T16" fmla="*/ 6 w 1243"/>
                <a:gd name="T17" fmla="*/ 1006 h 1013"/>
                <a:gd name="T18" fmla="*/ 2 w 1243"/>
                <a:gd name="T19" fmla="*/ 1001 h 1013"/>
                <a:gd name="T20" fmla="*/ 0 w 1243"/>
                <a:gd name="T21" fmla="*/ 996 h 1013"/>
                <a:gd name="T22" fmla="*/ 0 w 1243"/>
                <a:gd name="T23" fmla="*/ 990 h 1013"/>
                <a:gd name="T24" fmla="*/ 0 w 1243"/>
                <a:gd name="T25" fmla="*/ 984 h 1013"/>
                <a:gd name="T26" fmla="*/ 2 w 1243"/>
                <a:gd name="T27" fmla="*/ 977 h 1013"/>
                <a:gd name="T28" fmla="*/ 602 w 1243"/>
                <a:gd name="T29" fmla="*/ 10 h 1013"/>
                <a:gd name="T30" fmla="*/ 606 w 1243"/>
                <a:gd name="T31" fmla="*/ 6 h 1013"/>
                <a:gd name="T32" fmla="*/ 610 w 1243"/>
                <a:gd name="T33" fmla="*/ 2 h 1013"/>
                <a:gd name="T34" fmla="*/ 615 w 1243"/>
                <a:gd name="T35" fmla="*/ 1 h 1013"/>
                <a:gd name="T36" fmla="*/ 621 w 1243"/>
                <a:gd name="T37" fmla="*/ 0 h 1013"/>
                <a:gd name="T38" fmla="*/ 626 w 1243"/>
                <a:gd name="T39" fmla="*/ 1 h 1013"/>
                <a:gd name="T40" fmla="*/ 633 w 1243"/>
                <a:gd name="T41" fmla="*/ 2 h 1013"/>
                <a:gd name="T42" fmla="*/ 637 w 1243"/>
                <a:gd name="T43" fmla="*/ 6 h 1013"/>
                <a:gd name="T44" fmla="*/ 641 w 1243"/>
                <a:gd name="T45" fmla="*/ 10 h 1013"/>
                <a:gd name="T46" fmla="*/ 1240 w 1243"/>
                <a:gd name="T47" fmla="*/ 977 h 1013"/>
                <a:gd name="T48" fmla="*/ 1242 w 1243"/>
                <a:gd name="T49" fmla="*/ 984 h 1013"/>
                <a:gd name="T50" fmla="*/ 1243 w 1243"/>
                <a:gd name="T51" fmla="*/ 990 h 1013"/>
                <a:gd name="T52" fmla="*/ 1242 w 1243"/>
                <a:gd name="T53" fmla="*/ 996 h 1013"/>
                <a:gd name="T54" fmla="*/ 1240 w 1243"/>
                <a:gd name="T55" fmla="*/ 1001 h 1013"/>
                <a:gd name="T56" fmla="*/ 1236 w 1243"/>
                <a:gd name="T57" fmla="*/ 1006 h 1013"/>
                <a:gd name="T58" fmla="*/ 1232 w 1243"/>
                <a:gd name="T59" fmla="*/ 1009 h 1013"/>
                <a:gd name="T60" fmla="*/ 1226 w 1243"/>
                <a:gd name="T61" fmla="*/ 1012 h 1013"/>
                <a:gd name="T62" fmla="*/ 1220 w 1243"/>
                <a:gd name="T63"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3" h="1013">
                  <a:moveTo>
                    <a:pt x="63" y="966"/>
                  </a:moveTo>
                  <a:lnTo>
                    <a:pt x="1178" y="966"/>
                  </a:lnTo>
                  <a:lnTo>
                    <a:pt x="621" y="66"/>
                  </a:lnTo>
                  <a:lnTo>
                    <a:pt x="63" y="966"/>
                  </a:lnTo>
                  <a:close/>
                  <a:moveTo>
                    <a:pt x="1220" y="1013"/>
                  </a:moveTo>
                  <a:lnTo>
                    <a:pt x="22" y="1013"/>
                  </a:lnTo>
                  <a:lnTo>
                    <a:pt x="16" y="1012"/>
                  </a:lnTo>
                  <a:lnTo>
                    <a:pt x="11" y="1009"/>
                  </a:lnTo>
                  <a:lnTo>
                    <a:pt x="6" y="1006"/>
                  </a:lnTo>
                  <a:lnTo>
                    <a:pt x="2" y="1001"/>
                  </a:lnTo>
                  <a:lnTo>
                    <a:pt x="0" y="996"/>
                  </a:lnTo>
                  <a:lnTo>
                    <a:pt x="0" y="990"/>
                  </a:lnTo>
                  <a:lnTo>
                    <a:pt x="0" y="984"/>
                  </a:lnTo>
                  <a:lnTo>
                    <a:pt x="2" y="977"/>
                  </a:lnTo>
                  <a:lnTo>
                    <a:pt x="602" y="10"/>
                  </a:lnTo>
                  <a:lnTo>
                    <a:pt x="606" y="6"/>
                  </a:lnTo>
                  <a:lnTo>
                    <a:pt x="610" y="2"/>
                  </a:lnTo>
                  <a:lnTo>
                    <a:pt x="615" y="1"/>
                  </a:lnTo>
                  <a:lnTo>
                    <a:pt x="621" y="0"/>
                  </a:lnTo>
                  <a:lnTo>
                    <a:pt x="626" y="1"/>
                  </a:lnTo>
                  <a:lnTo>
                    <a:pt x="633" y="2"/>
                  </a:lnTo>
                  <a:lnTo>
                    <a:pt x="637" y="6"/>
                  </a:lnTo>
                  <a:lnTo>
                    <a:pt x="641" y="10"/>
                  </a:lnTo>
                  <a:lnTo>
                    <a:pt x="1240" y="977"/>
                  </a:lnTo>
                  <a:lnTo>
                    <a:pt x="1242" y="984"/>
                  </a:lnTo>
                  <a:lnTo>
                    <a:pt x="1243" y="990"/>
                  </a:lnTo>
                  <a:lnTo>
                    <a:pt x="1242" y="996"/>
                  </a:lnTo>
                  <a:lnTo>
                    <a:pt x="1240" y="1001"/>
                  </a:lnTo>
                  <a:lnTo>
                    <a:pt x="1236" y="1006"/>
                  </a:lnTo>
                  <a:lnTo>
                    <a:pt x="1232" y="1009"/>
                  </a:lnTo>
                  <a:lnTo>
                    <a:pt x="1226" y="1012"/>
                  </a:lnTo>
                  <a:lnTo>
                    <a:pt x="1220" y="10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0" name="Rectangle 54">
              <a:extLst>
                <a:ext uri="{FF2B5EF4-FFF2-40B4-BE49-F238E27FC236}">
                  <a16:creationId xmlns:a16="http://schemas.microsoft.com/office/drawing/2014/main" id="{797E0A28-D8C5-474E-A5DA-90D6F9EC7E15}"/>
                </a:ext>
              </a:extLst>
            </p:cNvPr>
            <p:cNvSpPr>
              <a:spLocks noChangeArrowheads="1"/>
            </p:cNvSpPr>
            <p:nvPr/>
          </p:nvSpPr>
          <p:spPr bwMode="auto">
            <a:xfrm>
              <a:off x="3416628" y="2250357"/>
              <a:ext cx="328613" cy="174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1" name="Rectangle 55">
              <a:extLst>
                <a:ext uri="{FF2B5EF4-FFF2-40B4-BE49-F238E27FC236}">
                  <a16:creationId xmlns:a16="http://schemas.microsoft.com/office/drawing/2014/main" id="{6EDABFAD-FDDA-46B8-A4F6-A9B43CB81C0F}"/>
                </a:ext>
              </a:extLst>
            </p:cNvPr>
            <p:cNvSpPr>
              <a:spLocks noChangeArrowheads="1"/>
            </p:cNvSpPr>
            <p:nvPr/>
          </p:nvSpPr>
          <p:spPr bwMode="auto">
            <a:xfrm>
              <a:off x="3489653" y="2140820"/>
              <a:ext cx="182563" cy="174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2" name="Freeform 79">
              <a:extLst>
                <a:ext uri="{FF2B5EF4-FFF2-40B4-BE49-F238E27FC236}">
                  <a16:creationId xmlns:a16="http://schemas.microsoft.com/office/drawing/2014/main" id="{0A1A5549-1C64-4C40-8312-CBB9958D44C8}"/>
                </a:ext>
              </a:extLst>
            </p:cNvPr>
            <p:cNvSpPr>
              <a:spLocks noEditPoints="1"/>
            </p:cNvSpPr>
            <p:nvPr/>
          </p:nvSpPr>
          <p:spPr bwMode="auto">
            <a:xfrm>
              <a:off x="3718253" y="2031282"/>
              <a:ext cx="127000" cy="127000"/>
            </a:xfrm>
            <a:custGeom>
              <a:avLst/>
              <a:gdLst>
                <a:gd name="T0" fmla="*/ 139 w 323"/>
                <a:gd name="T1" fmla="*/ 48 h 322"/>
                <a:gd name="T2" fmla="*/ 107 w 323"/>
                <a:gd name="T3" fmla="*/ 60 h 322"/>
                <a:gd name="T4" fmla="*/ 81 w 323"/>
                <a:gd name="T5" fmla="*/ 80 h 322"/>
                <a:gd name="T6" fmla="*/ 60 w 323"/>
                <a:gd name="T7" fmla="*/ 105 h 322"/>
                <a:gd name="T8" fmla="*/ 49 w 323"/>
                <a:gd name="T9" fmla="*/ 137 h 322"/>
                <a:gd name="T10" fmla="*/ 48 w 323"/>
                <a:gd name="T11" fmla="*/ 173 h 322"/>
                <a:gd name="T12" fmla="*/ 55 w 323"/>
                <a:gd name="T13" fmla="*/ 206 h 322"/>
                <a:gd name="T14" fmla="*/ 72 w 323"/>
                <a:gd name="T15" fmla="*/ 234 h 322"/>
                <a:gd name="T16" fmla="*/ 97 w 323"/>
                <a:gd name="T17" fmla="*/ 256 h 322"/>
                <a:gd name="T18" fmla="*/ 128 w 323"/>
                <a:gd name="T19" fmla="*/ 271 h 322"/>
                <a:gd name="T20" fmla="*/ 162 w 323"/>
                <a:gd name="T21" fmla="*/ 276 h 322"/>
                <a:gd name="T22" fmla="*/ 196 w 323"/>
                <a:gd name="T23" fmla="*/ 271 h 322"/>
                <a:gd name="T24" fmla="*/ 226 w 323"/>
                <a:gd name="T25" fmla="*/ 256 h 322"/>
                <a:gd name="T26" fmla="*/ 250 w 323"/>
                <a:gd name="T27" fmla="*/ 234 h 322"/>
                <a:gd name="T28" fmla="*/ 267 w 323"/>
                <a:gd name="T29" fmla="*/ 206 h 322"/>
                <a:gd name="T30" fmla="*/ 276 w 323"/>
                <a:gd name="T31" fmla="*/ 173 h 322"/>
                <a:gd name="T32" fmla="*/ 275 w 323"/>
                <a:gd name="T33" fmla="*/ 137 h 322"/>
                <a:gd name="T34" fmla="*/ 263 w 323"/>
                <a:gd name="T35" fmla="*/ 105 h 322"/>
                <a:gd name="T36" fmla="*/ 243 w 323"/>
                <a:gd name="T37" fmla="*/ 80 h 322"/>
                <a:gd name="T38" fmla="*/ 217 w 323"/>
                <a:gd name="T39" fmla="*/ 60 h 322"/>
                <a:gd name="T40" fmla="*/ 185 w 323"/>
                <a:gd name="T41" fmla="*/ 48 h 322"/>
                <a:gd name="T42" fmla="*/ 162 w 323"/>
                <a:gd name="T43" fmla="*/ 322 h 322"/>
                <a:gd name="T44" fmla="*/ 114 w 323"/>
                <a:gd name="T45" fmla="*/ 315 h 322"/>
                <a:gd name="T46" fmla="*/ 71 w 323"/>
                <a:gd name="T47" fmla="*/ 294 h 322"/>
                <a:gd name="T48" fmla="*/ 38 w 323"/>
                <a:gd name="T49" fmla="*/ 264 h 322"/>
                <a:gd name="T50" fmla="*/ 14 w 323"/>
                <a:gd name="T51" fmla="*/ 223 h 322"/>
                <a:gd name="T52" fmla="*/ 1 w 323"/>
                <a:gd name="T53" fmla="*/ 178 h 322"/>
                <a:gd name="T54" fmla="*/ 4 w 323"/>
                <a:gd name="T55" fmla="*/ 129 h 322"/>
                <a:gd name="T56" fmla="*/ 20 w 323"/>
                <a:gd name="T57" fmla="*/ 84 h 322"/>
                <a:gd name="T58" fmla="*/ 48 w 323"/>
                <a:gd name="T59" fmla="*/ 46 h 322"/>
                <a:gd name="T60" fmla="*/ 85 w 323"/>
                <a:gd name="T61" fmla="*/ 19 h 322"/>
                <a:gd name="T62" fmla="*/ 129 w 323"/>
                <a:gd name="T63" fmla="*/ 2 h 322"/>
                <a:gd name="T64" fmla="*/ 178 w 323"/>
                <a:gd name="T65" fmla="*/ 0 h 322"/>
                <a:gd name="T66" fmla="*/ 225 w 323"/>
                <a:gd name="T67" fmla="*/ 12 h 322"/>
                <a:gd name="T68" fmla="*/ 265 w 323"/>
                <a:gd name="T69" fmla="*/ 37 h 322"/>
                <a:gd name="T70" fmla="*/ 296 w 323"/>
                <a:gd name="T71" fmla="*/ 71 h 322"/>
                <a:gd name="T72" fmla="*/ 315 w 323"/>
                <a:gd name="T73" fmla="*/ 113 h 322"/>
                <a:gd name="T74" fmla="*/ 323 w 323"/>
                <a:gd name="T75" fmla="*/ 160 h 322"/>
                <a:gd name="T76" fmla="*/ 315 w 323"/>
                <a:gd name="T77" fmla="*/ 208 h 322"/>
                <a:gd name="T78" fmla="*/ 296 w 323"/>
                <a:gd name="T79" fmla="*/ 251 h 322"/>
                <a:gd name="T80" fmla="*/ 265 w 323"/>
                <a:gd name="T81" fmla="*/ 286 h 322"/>
                <a:gd name="T82" fmla="*/ 225 w 323"/>
                <a:gd name="T83" fmla="*/ 309 h 322"/>
                <a:gd name="T84" fmla="*/ 178 w 323"/>
                <a:gd name="T85" fmla="*/ 32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322">
                  <a:moveTo>
                    <a:pt x="162" y="45"/>
                  </a:moveTo>
                  <a:lnTo>
                    <a:pt x="150" y="46"/>
                  </a:lnTo>
                  <a:lnTo>
                    <a:pt x="139" y="48"/>
                  </a:lnTo>
                  <a:lnTo>
                    <a:pt x="128" y="50"/>
                  </a:lnTo>
                  <a:lnTo>
                    <a:pt x="117" y="55"/>
                  </a:lnTo>
                  <a:lnTo>
                    <a:pt x="107" y="60"/>
                  </a:lnTo>
                  <a:lnTo>
                    <a:pt x="97" y="65"/>
                  </a:lnTo>
                  <a:lnTo>
                    <a:pt x="88" y="72"/>
                  </a:lnTo>
                  <a:lnTo>
                    <a:pt x="81" y="80"/>
                  </a:lnTo>
                  <a:lnTo>
                    <a:pt x="72" y="87"/>
                  </a:lnTo>
                  <a:lnTo>
                    <a:pt x="66" y="97"/>
                  </a:lnTo>
                  <a:lnTo>
                    <a:pt x="60" y="105"/>
                  </a:lnTo>
                  <a:lnTo>
                    <a:pt x="55" y="116"/>
                  </a:lnTo>
                  <a:lnTo>
                    <a:pt x="52" y="126"/>
                  </a:lnTo>
                  <a:lnTo>
                    <a:pt x="49" y="137"/>
                  </a:lnTo>
                  <a:lnTo>
                    <a:pt x="48" y="149"/>
                  </a:lnTo>
                  <a:lnTo>
                    <a:pt x="47" y="160"/>
                  </a:lnTo>
                  <a:lnTo>
                    <a:pt x="48" y="173"/>
                  </a:lnTo>
                  <a:lnTo>
                    <a:pt x="49" y="184"/>
                  </a:lnTo>
                  <a:lnTo>
                    <a:pt x="52" y="195"/>
                  </a:lnTo>
                  <a:lnTo>
                    <a:pt x="55" y="206"/>
                  </a:lnTo>
                  <a:lnTo>
                    <a:pt x="60" y="216"/>
                  </a:lnTo>
                  <a:lnTo>
                    <a:pt x="66" y="225"/>
                  </a:lnTo>
                  <a:lnTo>
                    <a:pt x="72" y="234"/>
                  </a:lnTo>
                  <a:lnTo>
                    <a:pt x="81" y="243"/>
                  </a:lnTo>
                  <a:lnTo>
                    <a:pt x="88" y="250"/>
                  </a:lnTo>
                  <a:lnTo>
                    <a:pt x="97" y="256"/>
                  </a:lnTo>
                  <a:lnTo>
                    <a:pt x="107" y="262"/>
                  </a:lnTo>
                  <a:lnTo>
                    <a:pt x="117" y="267"/>
                  </a:lnTo>
                  <a:lnTo>
                    <a:pt x="128" y="271"/>
                  </a:lnTo>
                  <a:lnTo>
                    <a:pt x="139" y="273"/>
                  </a:lnTo>
                  <a:lnTo>
                    <a:pt x="150" y="276"/>
                  </a:lnTo>
                  <a:lnTo>
                    <a:pt x="162" y="276"/>
                  </a:lnTo>
                  <a:lnTo>
                    <a:pt x="174" y="276"/>
                  </a:lnTo>
                  <a:lnTo>
                    <a:pt x="185" y="273"/>
                  </a:lnTo>
                  <a:lnTo>
                    <a:pt x="196" y="271"/>
                  </a:lnTo>
                  <a:lnTo>
                    <a:pt x="206" y="267"/>
                  </a:lnTo>
                  <a:lnTo>
                    <a:pt x="217" y="262"/>
                  </a:lnTo>
                  <a:lnTo>
                    <a:pt x="226" y="256"/>
                  </a:lnTo>
                  <a:lnTo>
                    <a:pt x="236" y="250"/>
                  </a:lnTo>
                  <a:lnTo>
                    <a:pt x="243" y="243"/>
                  </a:lnTo>
                  <a:lnTo>
                    <a:pt x="250" y="234"/>
                  </a:lnTo>
                  <a:lnTo>
                    <a:pt x="258" y="225"/>
                  </a:lnTo>
                  <a:lnTo>
                    <a:pt x="263" y="216"/>
                  </a:lnTo>
                  <a:lnTo>
                    <a:pt x="267" y="206"/>
                  </a:lnTo>
                  <a:lnTo>
                    <a:pt x="272" y="195"/>
                  </a:lnTo>
                  <a:lnTo>
                    <a:pt x="275" y="184"/>
                  </a:lnTo>
                  <a:lnTo>
                    <a:pt x="276" y="173"/>
                  </a:lnTo>
                  <a:lnTo>
                    <a:pt x="277" y="160"/>
                  </a:lnTo>
                  <a:lnTo>
                    <a:pt x="276" y="149"/>
                  </a:lnTo>
                  <a:lnTo>
                    <a:pt x="275" y="137"/>
                  </a:lnTo>
                  <a:lnTo>
                    <a:pt x="272" y="126"/>
                  </a:lnTo>
                  <a:lnTo>
                    <a:pt x="267" y="116"/>
                  </a:lnTo>
                  <a:lnTo>
                    <a:pt x="263" y="105"/>
                  </a:lnTo>
                  <a:lnTo>
                    <a:pt x="258" y="97"/>
                  </a:lnTo>
                  <a:lnTo>
                    <a:pt x="250" y="87"/>
                  </a:lnTo>
                  <a:lnTo>
                    <a:pt x="243" y="80"/>
                  </a:lnTo>
                  <a:lnTo>
                    <a:pt x="236" y="72"/>
                  </a:lnTo>
                  <a:lnTo>
                    <a:pt x="226" y="65"/>
                  </a:lnTo>
                  <a:lnTo>
                    <a:pt x="217" y="60"/>
                  </a:lnTo>
                  <a:lnTo>
                    <a:pt x="206" y="55"/>
                  </a:lnTo>
                  <a:lnTo>
                    <a:pt x="196" y="50"/>
                  </a:lnTo>
                  <a:lnTo>
                    <a:pt x="185" y="48"/>
                  </a:lnTo>
                  <a:lnTo>
                    <a:pt x="174" y="46"/>
                  </a:lnTo>
                  <a:lnTo>
                    <a:pt x="162" y="45"/>
                  </a:lnTo>
                  <a:close/>
                  <a:moveTo>
                    <a:pt x="162" y="322"/>
                  </a:moveTo>
                  <a:lnTo>
                    <a:pt x="146" y="321"/>
                  </a:lnTo>
                  <a:lnTo>
                    <a:pt x="129" y="319"/>
                  </a:lnTo>
                  <a:lnTo>
                    <a:pt x="114" y="315"/>
                  </a:lnTo>
                  <a:lnTo>
                    <a:pt x="99" y="309"/>
                  </a:lnTo>
                  <a:lnTo>
                    <a:pt x="85" y="303"/>
                  </a:lnTo>
                  <a:lnTo>
                    <a:pt x="71" y="294"/>
                  </a:lnTo>
                  <a:lnTo>
                    <a:pt x="59" y="286"/>
                  </a:lnTo>
                  <a:lnTo>
                    <a:pt x="48" y="275"/>
                  </a:lnTo>
                  <a:lnTo>
                    <a:pt x="38" y="264"/>
                  </a:lnTo>
                  <a:lnTo>
                    <a:pt x="28" y="251"/>
                  </a:lnTo>
                  <a:lnTo>
                    <a:pt x="20" y="238"/>
                  </a:lnTo>
                  <a:lnTo>
                    <a:pt x="14" y="223"/>
                  </a:lnTo>
                  <a:lnTo>
                    <a:pt x="7" y="208"/>
                  </a:lnTo>
                  <a:lnTo>
                    <a:pt x="4" y="194"/>
                  </a:lnTo>
                  <a:lnTo>
                    <a:pt x="1" y="178"/>
                  </a:lnTo>
                  <a:lnTo>
                    <a:pt x="0" y="160"/>
                  </a:lnTo>
                  <a:lnTo>
                    <a:pt x="1" y="145"/>
                  </a:lnTo>
                  <a:lnTo>
                    <a:pt x="4" y="129"/>
                  </a:lnTo>
                  <a:lnTo>
                    <a:pt x="7" y="113"/>
                  </a:lnTo>
                  <a:lnTo>
                    <a:pt x="14" y="98"/>
                  </a:lnTo>
                  <a:lnTo>
                    <a:pt x="20" y="84"/>
                  </a:lnTo>
                  <a:lnTo>
                    <a:pt x="28" y="71"/>
                  </a:lnTo>
                  <a:lnTo>
                    <a:pt x="38" y="59"/>
                  </a:lnTo>
                  <a:lnTo>
                    <a:pt x="48" y="46"/>
                  </a:lnTo>
                  <a:lnTo>
                    <a:pt x="59" y="37"/>
                  </a:lnTo>
                  <a:lnTo>
                    <a:pt x="71" y="27"/>
                  </a:lnTo>
                  <a:lnTo>
                    <a:pt x="85" y="19"/>
                  </a:lnTo>
                  <a:lnTo>
                    <a:pt x="99" y="12"/>
                  </a:lnTo>
                  <a:lnTo>
                    <a:pt x="114" y="7"/>
                  </a:lnTo>
                  <a:lnTo>
                    <a:pt x="129" y="2"/>
                  </a:lnTo>
                  <a:lnTo>
                    <a:pt x="146" y="0"/>
                  </a:lnTo>
                  <a:lnTo>
                    <a:pt x="162" y="0"/>
                  </a:lnTo>
                  <a:lnTo>
                    <a:pt x="178" y="0"/>
                  </a:lnTo>
                  <a:lnTo>
                    <a:pt x="194" y="2"/>
                  </a:lnTo>
                  <a:lnTo>
                    <a:pt x="210" y="7"/>
                  </a:lnTo>
                  <a:lnTo>
                    <a:pt x="225" y="12"/>
                  </a:lnTo>
                  <a:lnTo>
                    <a:pt x="239" y="19"/>
                  </a:lnTo>
                  <a:lnTo>
                    <a:pt x="252" y="27"/>
                  </a:lnTo>
                  <a:lnTo>
                    <a:pt x="265" y="37"/>
                  </a:lnTo>
                  <a:lnTo>
                    <a:pt x="276" y="46"/>
                  </a:lnTo>
                  <a:lnTo>
                    <a:pt x="286" y="59"/>
                  </a:lnTo>
                  <a:lnTo>
                    <a:pt x="296" y="71"/>
                  </a:lnTo>
                  <a:lnTo>
                    <a:pt x="304" y="84"/>
                  </a:lnTo>
                  <a:lnTo>
                    <a:pt x="310" y="98"/>
                  </a:lnTo>
                  <a:lnTo>
                    <a:pt x="315" y="113"/>
                  </a:lnTo>
                  <a:lnTo>
                    <a:pt x="320" y="129"/>
                  </a:lnTo>
                  <a:lnTo>
                    <a:pt x="323" y="145"/>
                  </a:lnTo>
                  <a:lnTo>
                    <a:pt x="323" y="160"/>
                  </a:lnTo>
                  <a:lnTo>
                    <a:pt x="323" y="178"/>
                  </a:lnTo>
                  <a:lnTo>
                    <a:pt x="320" y="194"/>
                  </a:lnTo>
                  <a:lnTo>
                    <a:pt x="315" y="208"/>
                  </a:lnTo>
                  <a:lnTo>
                    <a:pt x="310" y="223"/>
                  </a:lnTo>
                  <a:lnTo>
                    <a:pt x="304" y="238"/>
                  </a:lnTo>
                  <a:lnTo>
                    <a:pt x="296" y="251"/>
                  </a:lnTo>
                  <a:lnTo>
                    <a:pt x="286" y="264"/>
                  </a:lnTo>
                  <a:lnTo>
                    <a:pt x="276" y="275"/>
                  </a:lnTo>
                  <a:lnTo>
                    <a:pt x="265" y="286"/>
                  </a:lnTo>
                  <a:lnTo>
                    <a:pt x="252" y="294"/>
                  </a:lnTo>
                  <a:lnTo>
                    <a:pt x="239" y="303"/>
                  </a:lnTo>
                  <a:lnTo>
                    <a:pt x="225" y="309"/>
                  </a:lnTo>
                  <a:lnTo>
                    <a:pt x="210" y="315"/>
                  </a:lnTo>
                  <a:lnTo>
                    <a:pt x="194" y="319"/>
                  </a:lnTo>
                  <a:lnTo>
                    <a:pt x="178" y="321"/>
                  </a:lnTo>
                  <a:lnTo>
                    <a:pt x="162" y="32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3" name="Freeform 80">
              <a:extLst>
                <a:ext uri="{FF2B5EF4-FFF2-40B4-BE49-F238E27FC236}">
                  <a16:creationId xmlns:a16="http://schemas.microsoft.com/office/drawing/2014/main" id="{25440F99-29AD-4590-99D3-A08800C683EE}"/>
                </a:ext>
              </a:extLst>
            </p:cNvPr>
            <p:cNvSpPr>
              <a:spLocks/>
            </p:cNvSpPr>
            <p:nvPr/>
          </p:nvSpPr>
          <p:spPr bwMode="auto">
            <a:xfrm>
              <a:off x="3572203" y="2085257"/>
              <a:ext cx="163513" cy="19050"/>
            </a:xfrm>
            <a:custGeom>
              <a:avLst/>
              <a:gdLst>
                <a:gd name="T0" fmla="*/ 391 w 415"/>
                <a:gd name="T1" fmla="*/ 47 h 47"/>
                <a:gd name="T2" fmla="*/ 23 w 415"/>
                <a:gd name="T3" fmla="*/ 47 h 47"/>
                <a:gd name="T4" fmla="*/ 19 w 415"/>
                <a:gd name="T5" fmla="*/ 47 h 47"/>
                <a:gd name="T6" fmla="*/ 14 w 415"/>
                <a:gd name="T7" fmla="*/ 44 h 47"/>
                <a:gd name="T8" fmla="*/ 10 w 415"/>
                <a:gd name="T9" fmla="*/ 43 h 47"/>
                <a:gd name="T10" fmla="*/ 6 w 415"/>
                <a:gd name="T11" fmla="*/ 39 h 47"/>
                <a:gd name="T12" fmla="*/ 4 w 415"/>
                <a:gd name="T13" fmla="*/ 37 h 47"/>
                <a:gd name="T14" fmla="*/ 1 w 415"/>
                <a:gd name="T15" fmla="*/ 32 h 47"/>
                <a:gd name="T16" fmla="*/ 0 w 415"/>
                <a:gd name="T17" fmla="*/ 28 h 47"/>
                <a:gd name="T18" fmla="*/ 0 w 415"/>
                <a:gd name="T19" fmla="*/ 23 h 47"/>
                <a:gd name="T20" fmla="*/ 0 w 415"/>
                <a:gd name="T21" fmla="*/ 19 h 47"/>
                <a:gd name="T22" fmla="*/ 1 w 415"/>
                <a:gd name="T23" fmla="*/ 15 h 47"/>
                <a:gd name="T24" fmla="*/ 4 w 415"/>
                <a:gd name="T25" fmla="*/ 11 h 47"/>
                <a:gd name="T26" fmla="*/ 6 w 415"/>
                <a:gd name="T27" fmla="*/ 8 h 47"/>
                <a:gd name="T28" fmla="*/ 10 w 415"/>
                <a:gd name="T29" fmla="*/ 5 h 47"/>
                <a:gd name="T30" fmla="*/ 14 w 415"/>
                <a:gd name="T31" fmla="*/ 3 h 47"/>
                <a:gd name="T32" fmla="*/ 19 w 415"/>
                <a:gd name="T33" fmla="*/ 1 h 47"/>
                <a:gd name="T34" fmla="*/ 23 w 415"/>
                <a:gd name="T35" fmla="*/ 0 h 47"/>
                <a:gd name="T36" fmla="*/ 391 w 415"/>
                <a:gd name="T37" fmla="*/ 0 h 47"/>
                <a:gd name="T38" fmla="*/ 396 w 415"/>
                <a:gd name="T39" fmla="*/ 1 h 47"/>
                <a:gd name="T40" fmla="*/ 401 w 415"/>
                <a:gd name="T41" fmla="*/ 3 h 47"/>
                <a:gd name="T42" fmla="*/ 405 w 415"/>
                <a:gd name="T43" fmla="*/ 5 h 47"/>
                <a:gd name="T44" fmla="*/ 409 w 415"/>
                <a:gd name="T45" fmla="*/ 8 h 47"/>
                <a:gd name="T46" fmla="*/ 411 w 415"/>
                <a:gd name="T47" fmla="*/ 11 h 47"/>
                <a:gd name="T48" fmla="*/ 413 w 415"/>
                <a:gd name="T49" fmla="*/ 15 h 47"/>
                <a:gd name="T50" fmla="*/ 415 w 415"/>
                <a:gd name="T51" fmla="*/ 19 h 47"/>
                <a:gd name="T52" fmla="*/ 415 w 415"/>
                <a:gd name="T53" fmla="*/ 23 h 47"/>
                <a:gd name="T54" fmla="*/ 415 w 415"/>
                <a:gd name="T55" fmla="*/ 28 h 47"/>
                <a:gd name="T56" fmla="*/ 413 w 415"/>
                <a:gd name="T57" fmla="*/ 32 h 47"/>
                <a:gd name="T58" fmla="*/ 411 w 415"/>
                <a:gd name="T59" fmla="*/ 37 h 47"/>
                <a:gd name="T60" fmla="*/ 409 w 415"/>
                <a:gd name="T61" fmla="*/ 39 h 47"/>
                <a:gd name="T62" fmla="*/ 405 w 415"/>
                <a:gd name="T63" fmla="*/ 43 h 47"/>
                <a:gd name="T64" fmla="*/ 401 w 415"/>
                <a:gd name="T65" fmla="*/ 44 h 47"/>
                <a:gd name="T66" fmla="*/ 396 w 415"/>
                <a:gd name="T67" fmla="*/ 47 h 47"/>
                <a:gd name="T68" fmla="*/ 391 w 415"/>
                <a:gd name="T6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7">
                  <a:moveTo>
                    <a:pt x="391" y="47"/>
                  </a:moveTo>
                  <a:lnTo>
                    <a:pt x="23" y="47"/>
                  </a:lnTo>
                  <a:lnTo>
                    <a:pt x="19" y="47"/>
                  </a:lnTo>
                  <a:lnTo>
                    <a:pt x="14" y="44"/>
                  </a:lnTo>
                  <a:lnTo>
                    <a:pt x="10" y="43"/>
                  </a:lnTo>
                  <a:lnTo>
                    <a:pt x="6" y="39"/>
                  </a:lnTo>
                  <a:lnTo>
                    <a:pt x="4" y="37"/>
                  </a:lnTo>
                  <a:lnTo>
                    <a:pt x="1" y="32"/>
                  </a:lnTo>
                  <a:lnTo>
                    <a:pt x="0" y="28"/>
                  </a:lnTo>
                  <a:lnTo>
                    <a:pt x="0" y="23"/>
                  </a:lnTo>
                  <a:lnTo>
                    <a:pt x="0" y="19"/>
                  </a:lnTo>
                  <a:lnTo>
                    <a:pt x="1" y="15"/>
                  </a:lnTo>
                  <a:lnTo>
                    <a:pt x="4" y="11"/>
                  </a:lnTo>
                  <a:lnTo>
                    <a:pt x="6" y="8"/>
                  </a:lnTo>
                  <a:lnTo>
                    <a:pt x="10" y="5"/>
                  </a:lnTo>
                  <a:lnTo>
                    <a:pt x="14" y="3"/>
                  </a:lnTo>
                  <a:lnTo>
                    <a:pt x="19" y="1"/>
                  </a:lnTo>
                  <a:lnTo>
                    <a:pt x="23" y="0"/>
                  </a:lnTo>
                  <a:lnTo>
                    <a:pt x="391" y="0"/>
                  </a:lnTo>
                  <a:lnTo>
                    <a:pt x="396" y="1"/>
                  </a:lnTo>
                  <a:lnTo>
                    <a:pt x="401" y="3"/>
                  </a:lnTo>
                  <a:lnTo>
                    <a:pt x="405" y="5"/>
                  </a:lnTo>
                  <a:lnTo>
                    <a:pt x="409" y="8"/>
                  </a:lnTo>
                  <a:lnTo>
                    <a:pt x="411" y="11"/>
                  </a:lnTo>
                  <a:lnTo>
                    <a:pt x="413" y="15"/>
                  </a:lnTo>
                  <a:lnTo>
                    <a:pt x="415" y="19"/>
                  </a:lnTo>
                  <a:lnTo>
                    <a:pt x="415" y="23"/>
                  </a:lnTo>
                  <a:lnTo>
                    <a:pt x="415" y="28"/>
                  </a:lnTo>
                  <a:lnTo>
                    <a:pt x="413" y="32"/>
                  </a:lnTo>
                  <a:lnTo>
                    <a:pt x="411" y="37"/>
                  </a:lnTo>
                  <a:lnTo>
                    <a:pt x="409" y="39"/>
                  </a:lnTo>
                  <a:lnTo>
                    <a:pt x="405" y="43"/>
                  </a:lnTo>
                  <a:lnTo>
                    <a:pt x="401" y="44"/>
                  </a:lnTo>
                  <a:lnTo>
                    <a:pt x="396" y="47"/>
                  </a:lnTo>
                  <a:lnTo>
                    <a:pt x="391" y="4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3" name="Group 69">
            <a:extLst>
              <a:ext uri="{FF2B5EF4-FFF2-40B4-BE49-F238E27FC236}">
                <a16:creationId xmlns:a16="http://schemas.microsoft.com/office/drawing/2014/main" id="{BE613E8C-5CB0-4C97-897B-078E8CEAB1AE}"/>
              </a:ext>
            </a:extLst>
          </p:cNvPr>
          <p:cNvGrpSpPr>
            <a:grpSpLocks noChangeAspect="1"/>
          </p:cNvGrpSpPr>
          <p:nvPr/>
        </p:nvGrpSpPr>
        <p:grpSpPr>
          <a:xfrm>
            <a:off x="3192203" y="2186361"/>
            <a:ext cx="306484" cy="306484"/>
            <a:chOff x="901700" y="785813"/>
            <a:chExt cx="285750" cy="285750"/>
          </a:xfrm>
          <a:solidFill>
            <a:schemeClr val="bg1"/>
          </a:solidFill>
          <a:effectLst/>
        </p:grpSpPr>
        <p:sp>
          <p:nvSpPr>
            <p:cNvPr id="604" name="Freeform 17">
              <a:extLst>
                <a:ext uri="{FF2B5EF4-FFF2-40B4-BE49-F238E27FC236}">
                  <a16:creationId xmlns:a16="http://schemas.microsoft.com/office/drawing/2014/main" id="{3B9C9302-2C45-4BE8-8AA3-49108DCD1736}"/>
                </a:ext>
              </a:extLst>
            </p:cNvPr>
            <p:cNvSpPr>
              <a:spLocks noEditPoints="1"/>
            </p:cNvSpPr>
            <p:nvPr/>
          </p:nvSpPr>
          <p:spPr bwMode="auto">
            <a:xfrm>
              <a:off x="901700" y="785813"/>
              <a:ext cx="266700" cy="266700"/>
            </a:xfrm>
            <a:custGeom>
              <a:avLst/>
              <a:gdLst>
                <a:gd name="T0" fmla="*/ 270 w 839"/>
                <a:gd name="T1" fmla="*/ 203 h 838"/>
                <a:gd name="T2" fmla="*/ 30 w 839"/>
                <a:gd name="T3" fmla="*/ 636 h 838"/>
                <a:gd name="T4" fmla="*/ 570 w 839"/>
                <a:gd name="T5" fmla="*/ 44 h 838"/>
                <a:gd name="T6" fmla="*/ 809 w 839"/>
                <a:gd name="T7" fmla="*/ 389 h 838"/>
                <a:gd name="T8" fmla="*/ 810 w 839"/>
                <a:gd name="T9" fmla="*/ 395 h 838"/>
                <a:gd name="T10" fmla="*/ 814 w 839"/>
                <a:gd name="T11" fmla="*/ 400 h 838"/>
                <a:gd name="T12" fmla="*/ 819 w 839"/>
                <a:gd name="T13" fmla="*/ 403 h 838"/>
                <a:gd name="T14" fmla="*/ 824 w 839"/>
                <a:gd name="T15" fmla="*/ 404 h 838"/>
                <a:gd name="T16" fmla="*/ 830 w 839"/>
                <a:gd name="T17" fmla="*/ 403 h 838"/>
                <a:gd name="T18" fmla="*/ 835 w 839"/>
                <a:gd name="T19" fmla="*/ 400 h 838"/>
                <a:gd name="T20" fmla="*/ 838 w 839"/>
                <a:gd name="T21" fmla="*/ 395 h 838"/>
                <a:gd name="T22" fmla="*/ 839 w 839"/>
                <a:gd name="T23" fmla="*/ 389 h 838"/>
                <a:gd name="T24" fmla="*/ 839 w 839"/>
                <a:gd name="T25" fmla="*/ 191 h 838"/>
                <a:gd name="T26" fmla="*/ 835 w 839"/>
                <a:gd name="T27" fmla="*/ 185 h 838"/>
                <a:gd name="T28" fmla="*/ 563 w 839"/>
                <a:gd name="T29" fmla="*/ 3 h 838"/>
                <a:gd name="T30" fmla="*/ 561 w 839"/>
                <a:gd name="T31" fmla="*/ 2 h 838"/>
                <a:gd name="T32" fmla="*/ 560 w 839"/>
                <a:gd name="T33" fmla="*/ 1 h 838"/>
                <a:gd name="T34" fmla="*/ 549 w 839"/>
                <a:gd name="T35" fmla="*/ 1 h 838"/>
                <a:gd name="T36" fmla="*/ 548 w 839"/>
                <a:gd name="T37" fmla="*/ 2 h 838"/>
                <a:gd name="T38" fmla="*/ 546 w 839"/>
                <a:gd name="T39" fmla="*/ 3 h 838"/>
                <a:gd name="T40" fmla="*/ 24 w 839"/>
                <a:gd name="T41" fmla="*/ 3 h 838"/>
                <a:gd name="T42" fmla="*/ 16 w 839"/>
                <a:gd name="T43" fmla="*/ 0 h 838"/>
                <a:gd name="T44" fmla="*/ 8 w 839"/>
                <a:gd name="T45" fmla="*/ 2 h 838"/>
                <a:gd name="T46" fmla="*/ 2 w 839"/>
                <a:gd name="T47" fmla="*/ 7 h 838"/>
                <a:gd name="T48" fmla="*/ 0 w 839"/>
                <a:gd name="T49" fmla="*/ 15 h 838"/>
                <a:gd name="T50" fmla="*/ 0 w 839"/>
                <a:gd name="T51" fmla="*/ 648 h 838"/>
                <a:gd name="T52" fmla="*/ 5 w 839"/>
                <a:gd name="T53" fmla="*/ 654 h 838"/>
                <a:gd name="T54" fmla="*/ 276 w 839"/>
                <a:gd name="T55" fmla="*/ 836 h 838"/>
                <a:gd name="T56" fmla="*/ 279 w 839"/>
                <a:gd name="T57" fmla="*/ 837 h 838"/>
                <a:gd name="T58" fmla="*/ 280 w 839"/>
                <a:gd name="T59" fmla="*/ 838 h 838"/>
                <a:gd name="T60" fmla="*/ 285 w 839"/>
                <a:gd name="T61" fmla="*/ 838 h 838"/>
                <a:gd name="T62" fmla="*/ 290 w 839"/>
                <a:gd name="T63" fmla="*/ 838 h 838"/>
                <a:gd name="T64" fmla="*/ 291 w 839"/>
                <a:gd name="T65" fmla="*/ 837 h 838"/>
                <a:gd name="T66" fmla="*/ 294 w 839"/>
                <a:gd name="T67" fmla="*/ 836 h 838"/>
                <a:gd name="T68" fmla="*/ 520 w 839"/>
                <a:gd name="T69" fmla="*/ 684 h 838"/>
                <a:gd name="T70" fmla="*/ 524 w 839"/>
                <a:gd name="T71" fmla="*/ 680 h 838"/>
                <a:gd name="T72" fmla="*/ 525 w 839"/>
                <a:gd name="T73" fmla="*/ 674 h 838"/>
                <a:gd name="T74" fmla="*/ 524 w 839"/>
                <a:gd name="T75" fmla="*/ 668 h 838"/>
                <a:gd name="T76" fmla="*/ 520 w 839"/>
                <a:gd name="T77" fmla="*/ 663 h 838"/>
                <a:gd name="T78" fmla="*/ 515 w 839"/>
                <a:gd name="T79" fmla="*/ 660 h 838"/>
                <a:gd name="T80" fmla="*/ 510 w 839"/>
                <a:gd name="T81" fmla="*/ 659 h 838"/>
                <a:gd name="T82" fmla="*/ 504 w 839"/>
                <a:gd name="T83" fmla="*/ 661 h 838"/>
                <a:gd name="T84" fmla="*/ 300 w 839"/>
                <a:gd name="T85" fmla="*/ 796 h 838"/>
                <a:gd name="T86" fmla="*/ 540 w 839"/>
                <a:gd name="T87" fmla="*/ 44 h 838"/>
                <a:gd name="T88" fmla="*/ 540 w 839"/>
                <a:gd name="T89" fmla="*/ 392 h 838"/>
                <a:gd name="T90" fmla="*/ 542 w 839"/>
                <a:gd name="T91" fmla="*/ 398 h 838"/>
                <a:gd name="T92" fmla="*/ 546 w 839"/>
                <a:gd name="T93" fmla="*/ 402 h 838"/>
                <a:gd name="T94" fmla="*/ 551 w 839"/>
                <a:gd name="T95" fmla="*/ 404 h 838"/>
                <a:gd name="T96" fmla="*/ 558 w 839"/>
                <a:gd name="T97" fmla="*/ 404 h 838"/>
                <a:gd name="T98" fmla="*/ 563 w 839"/>
                <a:gd name="T99" fmla="*/ 402 h 838"/>
                <a:gd name="T100" fmla="*/ 567 w 839"/>
                <a:gd name="T101" fmla="*/ 398 h 838"/>
                <a:gd name="T102" fmla="*/ 570 w 839"/>
                <a:gd name="T103" fmla="*/ 392 h 838"/>
                <a:gd name="T104" fmla="*/ 570 w 839"/>
                <a:gd name="T105" fmla="*/ 44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9" h="838">
                  <a:moveTo>
                    <a:pt x="30" y="44"/>
                  </a:moveTo>
                  <a:lnTo>
                    <a:pt x="270" y="203"/>
                  </a:lnTo>
                  <a:lnTo>
                    <a:pt x="270" y="796"/>
                  </a:lnTo>
                  <a:lnTo>
                    <a:pt x="30" y="636"/>
                  </a:lnTo>
                  <a:lnTo>
                    <a:pt x="30" y="44"/>
                  </a:lnTo>
                  <a:close/>
                  <a:moveTo>
                    <a:pt x="570" y="44"/>
                  </a:moveTo>
                  <a:lnTo>
                    <a:pt x="809" y="203"/>
                  </a:lnTo>
                  <a:lnTo>
                    <a:pt x="809" y="389"/>
                  </a:lnTo>
                  <a:lnTo>
                    <a:pt x="809" y="392"/>
                  </a:lnTo>
                  <a:lnTo>
                    <a:pt x="810" y="395"/>
                  </a:lnTo>
                  <a:lnTo>
                    <a:pt x="811" y="398"/>
                  </a:lnTo>
                  <a:lnTo>
                    <a:pt x="814" y="400"/>
                  </a:lnTo>
                  <a:lnTo>
                    <a:pt x="816" y="402"/>
                  </a:lnTo>
                  <a:lnTo>
                    <a:pt x="819" y="403"/>
                  </a:lnTo>
                  <a:lnTo>
                    <a:pt x="821" y="404"/>
                  </a:lnTo>
                  <a:lnTo>
                    <a:pt x="824" y="404"/>
                  </a:lnTo>
                  <a:lnTo>
                    <a:pt x="827" y="404"/>
                  </a:lnTo>
                  <a:lnTo>
                    <a:pt x="830" y="403"/>
                  </a:lnTo>
                  <a:lnTo>
                    <a:pt x="833" y="402"/>
                  </a:lnTo>
                  <a:lnTo>
                    <a:pt x="835" y="400"/>
                  </a:lnTo>
                  <a:lnTo>
                    <a:pt x="837" y="398"/>
                  </a:lnTo>
                  <a:lnTo>
                    <a:pt x="838" y="395"/>
                  </a:lnTo>
                  <a:lnTo>
                    <a:pt x="839" y="392"/>
                  </a:lnTo>
                  <a:lnTo>
                    <a:pt x="839" y="389"/>
                  </a:lnTo>
                  <a:lnTo>
                    <a:pt x="839" y="194"/>
                  </a:lnTo>
                  <a:lnTo>
                    <a:pt x="839" y="191"/>
                  </a:lnTo>
                  <a:lnTo>
                    <a:pt x="837" y="188"/>
                  </a:lnTo>
                  <a:lnTo>
                    <a:pt x="835" y="185"/>
                  </a:lnTo>
                  <a:lnTo>
                    <a:pt x="833" y="183"/>
                  </a:lnTo>
                  <a:lnTo>
                    <a:pt x="563" y="3"/>
                  </a:lnTo>
                  <a:lnTo>
                    <a:pt x="562" y="2"/>
                  </a:lnTo>
                  <a:lnTo>
                    <a:pt x="561" y="2"/>
                  </a:lnTo>
                  <a:lnTo>
                    <a:pt x="560" y="2"/>
                  </a:lnTo>
                  <a:lnTo>
                    <a:pt x="560" y="1"/>
                  </a:lnTo>
                  <a:lnTo>
                    <a:pt x="555" y="0"/>
                  </a:lnTo>
                  <a:lnTo>
                    <a:pt x="549" y="1"/>
                  </a:lnTo>
                  <a:lnTo>
                    <a:pt x="548" y="2"/>
                  </a:lnTo>
                  <a:lnTo>
                    <a:pt x="548" y="2"/>
                  </a:lnTo>
                  <a:lnTo>
                    <a:pt x="547" y="2"/>
                  </a:lnTo>
                  <a:lnTo>
                    <a:pt x="546" y="3"/>
                  </a:lnTo>
                  <a:lnTo>
                    <a:pt x="285" y="177"/>
                  </a:lnTo>
                  <a:lnTo>
                    <a:pt x="24" y="3"/>
                  </a:lnTo>
                  <a:lnTo>
                    <a:pt x="20" y="1"/>
                  </a:lnTo>
                  <a:lnTo>
                    <a:pt x="16" y="0"/>
                  </a:lnTo>
                  <a:lnTo>
                    <a:pt x="12" y="1"/>
                  </a:lnTo>
                  <a:lnTo>
                    <a:pt x="8" y="2"/>
                  </a:lnTo>
                  <a:lnTo>
                    <a:pt x="5" y="4"/>
                  </a:lnTo>
                  <a:lnTo>
                    <a:pt x="2" y="7"/>
                  </a:lnTo>
                  <a:lnTo>
                    <a:pt x="0" y="12"/>
                  </a:lnTo>
                  <a:lnTo>
                    <a:pt x="0" y="15"/>
                  </a:lnTo>
                  <a:lnTo>
                    <a:pt x="0" y="644"/>
                  </a:lnTo>
                  <a:lnTo>
                    <a:pt x="0" y="648"/>
                  </a:lnTo>
                  <a:lnTo>
                    <a:pt x="2" y="651"/>
                  </a:lnTo>
                  <a:lnTo>
                    <a:pt x="5" y="654"/>
                  </a:lnTo>
                  <a:lnTo>
                    <a:pt x="7" y="656"/>
                  </a:lnTo>
                  <a:lnTo>
                    <a:pt x="276" y="836"/>
                  </a:lnTo>
                  <a:lnTo>
                    <a:pt x="277" y="836"/>
                  </a:lnTo>
                  <a:lnTo>
                    <a:pt x="279" y="837"/>
                  </a:lnTo>
                  <a:lnTo>
                    <a:pt x="279" y="837"/>
                  </a:lnTo>
                  <a:lnTo>
                    <a:pt x="280" y="838"/>
                  </a:lnTo>
                  <a:lnTo>
                    <a:pt x="282" y="838"/>
                  </a:lnTo>
                  <a:lnTo>
                    <a:pt x="285" y="838"/>
                  </a:lnTo>
                  <a:lnTo>
                    <a:pt x="287" y="838"/>
                  </a:lnTo>
                  <a:lnTo>
                    <a:pt x="290" y="838"/>
                  </a:lnTo>
                  <a:lnTo>
                    <a:pt x="290" y="837"/>
                  </a:lnTo>
                  <a:lnTo>
                    <a:pt x="291" y="837"/>
                  </a:lnTo>
                  <a:lnTo>
                    <a:pt x="292" y="836"/>
                  </a:lnTo>
                  <a:lnTo>
                    <a:pt x="294" y="836"/>
                  </a:lnTo>
                  <a:lnTo>
                    <a:pt x="518" y="686"/>
                  </a:lnTo>
                  <a:lnTo>
                    <a:pt x="520" y="684"/>
                  </a:lnTo>
                  <a:lnTo>
                    <a:pt x="522" y="682"/>
                  </a:lnTo>
                  <a:lnTo>
                    <a:pt x="524" y="680"/>
                  </a:lnTo>
                  <a:lnTo>
                    <a:pt x="525" y="677"/>
                  </a:lnTo>
                  <a:lnTo>
                    <a:pt x="525" y="674"/>
                  </a:lnTo>
                  <a:lnTo>
                    <a:pt x="525" y="671"/>
                  </a:lnTo>
                  <a:lnTo>
                    <a:pt x="524" y="668"/>
                  </a:lnTo>
                  <a:lnTo>
                    <a:pt x="522" y="666"/>
                  </a:lnTo>
                  <a:lnTo>
                    <a:pt x="520" y="663"/>
                  </a:lnTo>
                  <a:lnTo>
                    <a:pt x="518" y="662"/>
                  </a:lnTo>
                  <a:lnTo>
                    <a:pt x="515" y="660"/>
                  </a:lnTo>
                  <a:lnTo>
                    <a:pt x="513" y="660"/>
                  </a:lnTo>
                  <a:lnTo>
                    <a:pt x="510" y="659"/>
                  </a:lnTo>
                  <a:lnTo>
                    <a:pt x="506" y="660"/>
                  </a:lnTo>
                  <a:lnTo>
                    <a:pt x="504" y="661"/>
                  </a:lnTo>
                  <a:lnTo>
                    <a:pt x="501" y="662"/>
                  </a:lnTo>
                  <a:lnTo>
                    <a:pt x="300" y="796"/>
                  </a:lnTo>
                  <a:lnTo>
                    <a:pt x="300" y="203"/>
                  </a:lnTo>
                  <a:lnTo>
                    <a:pt x="540" y="44"/>
                  </a:lnTo>
                  <a:lnTo>
                    <a:pt x="540" y="389"/>
                  </a:lnTo>
                  <a:lnTo>
                    <a:pt x="540" y="392"/>
                  </a:lnTo>
                  <a:lnTo>
                    <a:pt x="541" y="395"/>
                  </a:lnTo>
                  <a:lnTo>
                    <a:pt x="542" y="398"/>
                  </a:lnTo>
                  <a:lnTo>
                    <a:pt x="544" y="400"/>
                  </a:lnTo>
                  <a:lnTo>
                    <a:pt x="546" y="402"/>
                  </a:lnTo>
                  <a:lnTo>
                    <a:pt x="549" y="403"/>
                  </a:lnTo>
                  <a:lnTo>
                    <a:pt x="551" y="404"/>
                  </a:lnTo>
                  <a:lnTo>
                    <a:pt x="555" y="404"/>
                  </a:lnTo>
                  <a:lnTo>
                    <a:pt x="558" y="404"/>
                  </a:lnTo>
                  <a:lnTo>
                    <a:pt x="560" y="403"/>
                  </a:lnTo>
                  <a:lnTo>
                    <a:pt x="563" y="402"/>
                  </a:lnTo>
                  <a:lnTo>
                    <a:pt x="565" y="400"/>
                  </a:lnTo>
                  <a:lnTo>
                    <a:pt x="567" y="398"/>
                  </a:lnTo>
                  <a:lnTo>
                    <a:pt x="569" y="395"/>
                  </a:lnTo>
                  <a:lnTo>
                    <a:pt x="570" y="392"/>
                  </a:lnTo>
                  <a:lnTo>
                    <a:pt x="570" y="389"/>
                  </a:lnTo>
                  <a:lnTo>
                    <a:pt x="57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8">
              <a:extLst>
                <a:ext uri="{FF2B5EF4-FFF2-40B4-BE49-F238E27FC236}">
                  <a16:creationId xmlns:a16="http://schemas.microsoft.com/office/drawing/2014/main" id="{08B26AD9-9E0A-4276-951C-62A08E6D7987}"/>
                </a:ext>
              </a:extLst>
            </p:cNvPr>
            <p:cNvSpPr>
              <a:spLocks noEditPoints="1"/>
            </p:cNvSpPr>
            <p:nvPr/>
          </p:nvSpPr>
          <p:spPr bwMode="auto">
            <a:xfrm>
              <a:off x="1111250" y="957263"/>
              <a:ext cx="47625" cy="47625"/>
            </a:xfrm>
            <a:custGeom>
              <a:avLst/>
              <a:gdLst>
                <a:gd name="T0" fmla="*/ 67 w 150"/>
                <a:gd name="T1" fmla="*/ 120 h 150"/>
                <a:gd name="T2" fmla="*/ 51 w 150"/>
                <a:gd name="T3" fmla="*/ 112 h 150"/>
                <a:gd name="T4" fmla="*/ 38 w 150"/>
                <a:gd name="T5" fmla="*/ 100 h 150"/>
                <a:gd name="T6" fmla="*/ 31 w 150"/>
                <a:gd name="T7" fmla="*/ 84 h 150"/>
                <a:gd name="T8" fmla="*/ 31 w 150"/>
                <a:gd name="T9" fmla="*/ 66 h 150"/>
                <a:gd name="T10" fmla="*/ 38 w 150"/>
                <a:gd name="T11" fmla="*/ 50 h 150"/>
                <a:gd name="T12" fmla="*/ 51 w 150"/>
                <a:gd name="T13" fmla="*/ 38 h 150"/>
                <a:gd name="T14" fmla="*/ 67 w 150"/>
                <a:gd name="T15" fmla="*/ 31 h 150"/>
                <a:gd name="T16" fmla="*/ 84 w 150"/>
                <a:gd name="T17" fmla="*/ 31 h 150"/>
                <a:gd name="T18" fmla="*/ 100 w 150"/>
                <a:gd name="T19" fmla="*/ 38 h 150"/>
                <a:gd name="T20" fmla="*/ 113 w 150"/>
                <a:gd name="T21" fmla="*/ 50 h 150"/>
                <a:gd name="T22" fmla="*/ 119 w 150"/>
                <a:gd name="T23" fmla="*/ 66 h 150"/>
                <a:gd name="T24" fmla="*/ 119 w 150"/>
                <a:gd name="T25" fmla="*/ 84 h 150"/>
                <a:gd name="T26" fmla="*/ 113 w 150"/>
                <a:gd name="T27" fmla="*/ 100 h 150"/>
                <a:gd name="T28" fmla="*/ 100 w 150"/>
                <a:gd name="T29" fmla="*/ 112 h 150"/>
                <a:gd name="T30" fmla="*/ 84 w 150"/>
                <a:gd name="T31" fmla="*/ 120 h 150"/>
                <a:gd name="T32" fmla="*/ 75 w 150"/>
                <a:gd name="T33" fmla="*/ 120 h 150"/>
                <a:gd name="T34" fmla="*/ 68 w 150"/>
                <a:gd name="T35" fmla="*/ 1 h 150"/>
                <a:gd name="T36" fmla="*/ 53 w 150"/>
                <a:gd name="T37" fmla="*/ 4 h 150"/>
                <a:gd name="T38" fmla="*/ 40 w 150"/>
                <a:gd name="T39" fmla="*/ 9 h 150"/>
                <a:gd name="T40" fmla="*/ 27 w 150"/>
                <a:gd name="T41" fmla="*/ 17 h 150"/>
                <a:gd name="T42" fmla="*/ 18 w 150"/>
                <a:gd name="T43" fmla="*/ 28 h 150"/>
                <a:gd name="T44" fmla="*/ 9 w 150"/>
                <a:gd name="T45" fmla="*/ 39 h 150"/>
                <a:gd name="T46" fmla="*/ 4 w 150"/>
                <a:gd name="T47" fmla="*/ 53 h 150"/>
                <a:gd name="T48" fmla="*/ 0 w 150"/>
                <a:gd name="T49" fmla="*/ 67 h 150"/>
                <a:gd name="T50" fmla="*/ 0 w 150"/>
                <a:gd name="T51" fmla="*/ 83 h 150"/>
                <a:gd name="T52" fmla="*/ 4 w 150"/>
                <a:gd name="T53" fmla="*/ 97 h 150"/>
                <a:gd name="T54" fmla="*/ 9 w 150"/>
                <a:gd name="T55" fmla="*/ 111 h 150"/>
                <a:gd name="T56" fmla="*/ 18 w 150"/>
                <a:gd name="T57" fmla="*/ 123 h 150"/>
                <a:gd name="T58" fmla="*/ 27 w 150"/>
                <a:gd name="T59" fmla="*/ 132 h 150"/>
                <a:gd name="T60" fmla="*/ 40 w 150"/>
                <a:gd name="T61" fmla="*/ 141 h 150"/>
                <a:gd name="T62" fmla="*/ 53 w 150"/>
                <a:gd name="T63" fmla="*/ 146 h 150"/>
                <a:gd name="T64" fmla="*/ 68 w 150"/>
                <a:gd name="T65" fmla="*/ 150 h 150"/>
                <a:gd name="T66" fmla="*/ 83 w 150"/>
                <a:gd name="T67" fmla="*/ 150 h 150"/>
                <a:gd name="T68" fmla="*/ 98 w 150"/>
                <a:gd name="T69" fmla="*/ 146 h 150"/>
                <a:gd name="T70" fmla="*/ 111 w 150"/>
                <a:gd name="T71" fmla="*/ 141 h 150"/>
                <a:gd name="T72" fmla="*/ 122 w 150"/>
                <a:gd name="T73" fmla="*/ 132 h 150"/>
                <a:gd name="T74" fmla="*/ 133 w 150"/>
                <a:gd name="T75" fmla="*/ 123 h 150"/>
                <a:gd name="T76" fmla="*/ 142 w 150"/>
                <a:gd name="T77" fmla="*/ 111 h 150"/>
                <a:gd name="T78" fmla="*/ 147 w 150"/>
                <a:gd name="T79" fmla="*/ 97 h 150"/>
                <a:gd name="T80" fmla="*/ 150 w 150"/>
                <a:gd name="T81" fmla="*/ 83 h 150"/>
                <a:gd name="T82" fmla="*/ 150 w 150"/>
                <a:gd name="T83" fmla="*/ 67 h 150"/>
                <a:gd name="T84" fmla="*/ 147 w 150"/>
                <a:gd name="T85" fmla="*/ 53 h 150"/>
                <a:gd name="T86" fmla="*/ 142 w 150"/>
                <a:gd name="T87" fmla="*/ 39 h 150"/>
                <a:gd name="T88" fmla="*/ 133 w 150"/>
                <a:gd name="T89" fmla="*/ 28 h 150"/>
                <a:gd name="T90" fmla="*/ 122 w 150"/>
                <a:gd name="T91" fmla="*/ 17 h 150"/>
                <a:gd name="T92" fmla="*/ 111 w 150"/>
                <a:gd name="T93" fmla="*/ 9 h 150"/>
                <a:gd name="T94" fmla="*/ 98 w 150"/>
                <a:gd name="T95" fmla="*/ 4 h 150"/>
                <a:gd name="T96" fmla="*/ 83 w 150"/>
                <a:gd name="T97" fmla="*/ 1 h 150"/>
                <a:gd name="T98" fmla="*/ 75 w 150"/>
                <a:gd name="T9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50">
                  <a:moveTo>
                    <a:pt x="75" y="120"/>
                  </a:moveTo>
                  <a:lnTo>
                    <a:pt x="67" y="120"/>
                  </a:lnTo>
                  <a:lnTo>
                    <a:pt x="58" y="116"/>
                  </a:lnTo>
                  <a:lnTo>
                    <a:pt x="51" y="112"/>
                  </a:lnTo>
                  <a:lnTo>
                    <a:pt x="43" y="107"/>
                  </a:lnTo>
                  <a:lnTo>
                    <a:pt x="38" y="100"/>
                  </a:lnTo>
                  <a:lnTo>
                    <a:pt x="34" y="93"/>
                  </a:lnTo>
                  <a:lnTo>
                    <a:pt x="31" y="84"/>
                  </a:lnTo>
                  <a:lnTo>
                    <a:pt x="30" y="75"/>
                  </a:lnTo>
                  <a:lnTo>
                    <a:pt x="31" y="66"/>
                  </a:lnTo>
                  <a:lnTo>
                    <a:pt x="34" y="58"/>
                  </a:lnTo>
                  <a:lnTo>
                    <a:pt x="38" y="50"/>
                  </a:lnTo>
                  <a:lnTo>
                    <a:pt x="43" y="44"/>
                  </a:lnTo>
                  <a:lnTo>
                    <a:pt x="51" y="38"/>
                  </a:lnTo>
                  <a:lnTo>
                    <a:pt x="58" y="34"/>
                  </a:lnTo>
                  <a:lnTo>
                    <a:pt x="67" y="31"/>
                  </a:lnTo>
                  <a:lnTo>
                    <a:pt x="75" y="30"/>
                  </a:lnTo>
                  <a:lnTo>
                    <a:pt x="84" y="31"/>
                  </a:lnTo>
                  <a:lnTo>
                    <a:pt x="92" y="34"/>
                  </a:lnTo>
                  <a:lnTo>
                    <a:pt x="100" y="38"/>
                  </a:lnTo>
                  <a:lnTo>
                    <a:pt x="107" y="44"/>
                  </a:lnTo>
                  <a:lnTo>
                    <a:pt x="113" y="50"/>
                  </a:lnTo>
                  <a:lnTo>
                    <a:pt x="117" y="58"/>
                  </a:lnTo>
                  <a:lnTo>
                    <a:pt x="119" y="66"/>
                  </a:lnTo>
                  <a:lnTo>
                    <a:pt x="120" y="75"/>
                  </a:lnTo>
                  <a:lnTo>
                    <a:pt x="119" y="84"/>
                  </a:lnTo>
                  <a:lnTo>
                    <a:pt x="117" y="93"/>
                  </a:lnTo>
                  <a:lnTo>
                    <a:pt x="113" y="100"/>
                  </a:lnTo>
                  <a:lnTo>
                    <a:pt x="107" y="107"/>
                  </a:lnTo>
                  <a:lnTo>
                    <a:pt x="100" y="112"/>
                  </a:lnTo>
                  <a:lnTo>
                    <a:pt x="92" y="116"/>
                  </a:lnTo>
                  <a:lnTo>
                    <a:pt x="84" y="120"/>
                  </a:lnTo>
                  <a:lnTo>
                    <a:pt x="75" y="121"/>
                  </a:lnTo>
                  <a:lnTo>
                    <a:pt x="75" y="120"/>
                  </a:lnTo>
                  <a:close/>
                  <a:moveTo>
                    <a:pt x="75" y="0"/>
                  </a:moveTo>
                  <a:lnTo>
                    <a:pt x="68" y="1"/>
                  </a:lnTo>
                  <a:lnTo>
                    <a:pt x="60" y="2"/>
                  </a:lnTo>
                  <a:lnTo>
                    <a:pt x="53" y="4"/>
                  </a:lnTo>
                  <a:lnTo>
                    <a:pt x="46" y="6"/>
                  </a:lnTo>
                  <a:lnTo>
                    <a:pt x="40" y="9"/>
                  </a:lnTo>
                  <a:lnTo>
                    <a:pt x="34" y="13"/>
                  </a:lnTo>
                  <a:lnTo>
                    <a:pt x="27" y="17"/>
                  </a:lnTo>
                  <a:lnTo>
                    <a:pt x="22" y="22"/>
                  </a:lnTo>
                  <a:lnTo>
                    <a:pt x="18" y="28"/>
                  </a:lnTo>
                  <a:lnTo>
                    <a:pt x="13" y="33"/>
                  </a:lnTo>
                  <a:lnTo>
                    <a:pt x="9" y="39"/>
                  </a:lnTo>
                  <a:lnTo>
                    <a:pt x="6" y="46"/>
                  </a:lnTo>
                  <a:lnTo>
                    <a:pt x="4" y="53"/>
                  </a:lnTo>
                  <a:lnTo>
                    <a:pt x="2" y="60"/>
                  </a:lnTo>
                  <a:lnTo>
                    <a:pt x="0" y="67"/>
                  </a:lnTo>
                  <a:lnTo>
                    <a:pt x="0" y="75"/>
                  </a:lnTo>
                  <a:lnTo>
                    <a:pt x="0" y="83"/>
                  </a:lnTo>
                  <a:lnTo>
                    <a:pt x="2" y="91"/>
                  </a:lnTo>
                  <a:lnTo>
                    <a:pt x="4" y="97"/>
                  </a:lnTo>
                  <a:lnTo>
                    <a:pt x="6" y="105"/>
                  </a:lnTo>
                  <a:lnTo>
                    <a:pt x="9" y="111"/>
                  </a:lnTo>
                  <a:lnTo>
                    <a:pt x="13" y="117"/>
                  </a:lnTo>
                  <a:lnTo>
                    <a:pt x="18" y="123"/>
                  </a:lnTo>
                  <a:lnTo>
                    <a:pt x="22" y="128"/>
                  </a:lnTo>
                  <a:lnTo>
                    <a:pt x="27" y="132"/>
                  </a:lnTo>
                  <a:lnTo>
                    <a:pt x="34" y="137"/>
                  </a:lnTo>
                  <a:lnTo>
                    <a:pt x="40" y="141"/>
                  </a:lnTo>
                  <a:lnTo>
                    <a:pt x="46" y="144"/>
                  </a:lnTo>
                  <a:lnTo>
                    <a:pt x="53" y="146"/>
                  </a:lnTo>
                  <a:lnTo>
                    <a:pt x="60" y="148"/>
                  </a:lnTo>
                  <a:lnTo>
                    <a:pt x="68" y="150"/>
                  </a:lnTo>
                  <a:lnTo>
                    <a:pt x="75" y="150"/>
                  </a:lnTo>
                  <a:lnTo>
                    <a:pt x="83" y="150"/>
                  </a:lnTo>
                  <a:lnTo>
                    <a:pt x="90" y="148"/>
                  </a:lnTo>
                  <a:lnTo>
                    <a:pt x="98" y="146"/>
                  </a:lnTo>
                  <a:lnTo>
                    <a:pt x="104" y="144"/>
                  </a:lnTo>
                  <a:lnTo>
                    <a:pt x="111" y="141"/>
                  </a:lnTo>
                  <a:lnTo>
                    <a:pt x="117" y="137"/>
                  </a:lnTo>
                  <a:lnTo>
                    <a:pt x="122" y="132"/>
                  </a:lnTo>
                  <a:lnTo>
                    <a:pt x="128" y="128"/>
                  </a:lnTo>
                  <a:lnTo>
                    <a:pt x="133" y="123"/>
                  </a:lnTo>
                  <a:lnTo>
                    <a:pt x="137" y="117"/>
                  </a:lnTo>
                  <a:lnTo>
                    <a:pt x="142" y="111"/>
                  </a:lnTo>
                  <a:lnTo>
                    <a:pt x="144" y="105"/>
                  </a:lnTo>
                  <a:lnTo>
                    <a:pt x="147" y="97"/>
                  </a:lnTo>
                  <a:lnTo>
                    <a:pt x="149" y="91"/>
                  </a:lnTo>
                  <a:lnTo>
                    <a:pt x="150" y="83"/>
                  </a:lnTo>
                  <a:lnTo>
                    <a:pt x="150" y="75"/>
                  </a:lnTo>
                  <a:lnTo>
                    <a:pt x="150" y="67"/>
                  </a:lnTo>
                  <a:lnTo>
                    <a:pt x="149" y="60"/>
                  </a:lnTo>
                  <a:lnTo>
                    <a:pt x="147" y="53"/>
                  </a:lnTo>
                  <a:lnTo>
                    <a:pt x="144" y="46"/>
                  </a:lnTo>
                  <a:lnTo>
                    <a:pt x="142" y="39"/>
                  </a:lnTo>
                  <a:lnTo>
                    <a:pt x="137" y="33"/>
                  </a:lnTo>
                  <a:lnTo>
                    <a:pt x="133" y="28"/>
                  </a:lnTo>
                  <a:lnTo>
                    <a:pt x="128" y="22"/>
                  </a:lnTo>
                  <a:lnTo>
                    <a:pt x="122" y="17"/>
                  </a:lnTo>
                  <a:lnTo>
                    <a:pt x="117" y="13"/>
                  </a:lnTo>
                  <a:lnTo>
                    <a:pt x="111" y="9"/>
                  </a:lnTo>
                  <a:lnTo>
                    <a:pt x="104" y="6"/>
                  </a:lnTo>
                  <a:lnTo>
                    <a:pt x="98" y="4"/>
                  </a:lnTo>
                  <a:lnTo>
                    <a:pt x="90" y="2"/>
                  </a:lnTo>
                  <a:lnTo>
                    <a:pt x="83" y="1"/>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9">
              <a:extLst>
                <a:ext uri="{FF2B5EF4-FFF2-40B4-BE49-F238E27FC236}">
                  <a16:creationId xmlns:a16="http://schemas.microsoft.com/office/drawing/2014/main" id="{86E1A9C9-8B95-4761-AFC6-F18DD916E534}"/>
                </a:ext>
              </a:extLst>
            </p:cNvPr>
            <p:cNvSpPr>
              <a:spLocks noEditPoints="1"/>
            </p:cNvSpPr>
            <p:nvPr/>
          </p:nvSpPr>
          <p:spPr bwMode="auto">
            <a:xfrm>
              <a:off x="1082675" y="928688"/>
              <a:ext cx="104775" cy="142875"/>
            </a:xfrm>
            <a:custGeom>
              <a:avLst/>
              <a:gdLst>
                <a:gd name="T0" fmla="*/ 145 w 329"/>
                <a:gd name="T1" fmla="*/ 385 h 450"/>
                <a:gd name="T2" fmla="*/ 101 w 329"/>
                <a:gd name="T3" fmla="*/ 322 h 450"/>
                <a:gd name="T4" fmla="*/ 69 w 329"/>
                <a:gd name="T5" fmla="*/ 270 h 450"/>
                <a:gd name="T6" fmla="*/ 51 w 329"/>
                <a:gd name="T7" fmla="*/ 235 h 450"/>
                <a:gd name="T8" fmla="*/ 38 w 329"/>
                <a:gd name="T9" fmla="*/ 204 h 450"/>
                <a:gd name="T10" fmla="*/ 31 w 329"/>
                <a:gd name="T11" fmla="*/ 176 h 450"/>
                <a:gd name="T12" fmla="*/ 31 w 329"/>
                <a:gd name="T13" fmla="*/ 152 h 450"/>
                <a:gd name="T14" fmla="*/ 36 w 329"/>
                <a:gd name="T15" fmla="*/ 125 h 450"/>
                <a:gd name="T16" fmla="*/ 46 w 329"/>
                <a:gd name="T17" fmla="*/ 101 h 450"/>
                <a:gd name="T18" fmla="*/ 61 w 329"/>
                <a:gd name="T19" fmla="*/ 79 h 450"/>
                <a:gd name="T20" fmla="*/ 79 w 329"/>
                <a:gd name="T21" fmla="*/ 61 h 450"/>
                <a:gd name="T22" fmla="*/ 100 w 329"/>
                <a:gd name="T23" fmla="*/ 47 h 450"/>
                <a:gd name="T24" fmla="*/ 125 w 329"/>
                <a:gd name="T25" fmla="*/ 36 h 450"/>
                <a:gd name="T26" fmla="*/ 150 w 329"/>
                <a:gd name="T27" fmla="*/ 31 h 450"/>
                <a:gd name="T28" fmla="*/ 178 w 329"/>
                <a:gd name="T29" fmla="*/ 31 h 450"/>
                <a:gd name="T30" fmla="*/ 204 w 329"/>
                <a:gd name="T31" fmla="*/ 36 h 450"/>
                <a:gd name="T32" fmla="*/ 229 w 329"/>
                <a:gd name="T33" fmla="*/ 47 h 450"/>
                <a:gd name="T34" fmla="*/ 250 w 329"/>
                <a:gd name="T35" fmla="*/ 61 h 450"/>
                <a:gd name="T36" fmla="*/ 268 w 329"/>
                <a:gd name="T37" fmla="*/ 79 h 450"/>
                <a:gd name="T38" fmla="*/ 283 w 329"/>
                <a:gd name="T39" fmla="*/ 101 h 450"/>
                <a:gd name="T40" fmla="*/ 293 w 329"/>
                <a:gd name="T41" fmla="*/ 125 h 450"/>
                <a:gd name="T42" fmla="*/ 298 w 329"/>
                <a:gd name="T43" fmla="*/ 152 h 450"/>
                <a:gd name="T44" fmla="*/ 298 w 329"/>
                <a:gd name="T45" fmla="*/ 176 h 450"/>
                <a:gd name="T46" fmla="*/ 291 w 329"/>
                <a:gd name="T47" fmla="*/ 204 h 450"/>
                <a:gd name="T48" fmla="*/ 277 w 329"/>
                <a:gd name="T49" fmla="*/ 235 h 450"/>
                <a:gd name="T50" fmla="*/ 260 w 329"/>
                <a:gd name="T51" fmla="*/ 270 h 450"/>
                <a:gd name="T52" fmla="*/ 227 w 329"/>
                <a:gd name="T53" fmla="*/ 322 h 450"/>
                <a:gd name="T54" fmla="*/ 184 w 329"/>
                <a:gd name="T55" fmla="*/ 385 h 450"/>
                <a:gd name="T56" fmla="*/ 164 w 329"/>
                <a:gd name="T57" fmla="*/ 0 h 450"/>
                <a:gd name="T58" fmla="*/ 131 w 329"/>
                <a:gd name="T59" fmla="*/ 3 h 450"/>
                <a:gd name="T60" fmla="*/ 100 w 329"/>
                <a:gd name="T61" fmla="*/ 13 h 450"/>
                <a:gd name="T62" fmla="*/ 72 w 329"/>
                <a:gd name="T63" fmla="*/ 29 h 450"/>
                <a:gd name="T64" fmla="*/ 48 w 329"/>
                <a:gd name="T65" fmla="*/ 49 h 450"/>
                <a:gd name="T66" fmla="*/ 27 w 329"/>
                <a:gd name="T67" fmla="*/ 73 h 450"/>
                <a:gd name="T68" fmla="*/ 12 w 329"/>
                <a:gd name="T69" fmla="*/ 102 h 450"/>
                <a:gd name="T70" fmla="*/ 3 w 329"/>
                <a:gd name="T71" fmla="*/ 132 h 450"/>
                <a:gd name="T72" fmla="*/ 0 w 329"/>
                <a:gd name="T73" fmla="*/ 165 h 450"/>
                <a:gd name="T74" fmla="*/ 1 w 329"/>
                <a:gd name="T75" fmla="*/ 183 h 450"/>
                <a:gd name="T76" fmla="*/ 6 w 329"/>
                <a:gd name="T77" fmla="*/ 202 h 450"/>
                <a:gd name="T78" fmla="*/ 22 w 329"/>
                <a:gd name="T79" fmla="*/ 244 h 450"/>
                <a:gd name="T80" fmla="*/ 47 w 329"/>
                <a:gd name="T81" fmla="*/ 290 h 450"/>
                <a:gd name="T82" fmla="*/ 73 w 329"/>
                <a:gd name="T83" fmla="*/ 335 h 450"/>
                <a:gd name="T84" fmla="*/ 126 w 329"/>
                <a:gd name="T85" fmla="*/ 410 h 450"/>
                <a:gd name="T86" fmla="*/ 153 w 329"/>
                <a:gd name="T87" fmla="*/ 444 h 450"/>
                <a:gd name="T88" fmla="*/ 158 w 329"/>
                <a:gd name="T89" fmla="*/ 448 h 450"/>
                <a:gd name="T90" fmla="*/ 164 w 329"/>
                <a:gd name="T91" fmla="*/ 450 h 450"/>
                <a:gd name="T92" fmla="*/ 171 w 329"/>
                <a:gd name="T93" fmla="*/ 448 h 450"/>
                <a:gd name="T94" fmla="*/ 176 w 329"/>
                <a:gd name="T95" fmla="*/ 444 h 450"/>
                <a:gd name="T96" fmla="*/ 203 w 329"/>
                <a:gd name="T97" fmla="*/ 410 h 450"/>
                <a:gd name="T98" fmla="*/ 255 w 329"/>
                <a:gd name="T99" fmla="*/ 335 h 450"/>
                <a:gd name="T100" fmla="*/ 282 w 329"/>
                <a:gd name="T101" fmla="*/ 290 h 450"/>
                <a:gd name="T102" fmla="*/ 306 w 329"/>
                <a:gd name="T103" fmla="*/ 245 h 450"/>
                <a:gd name="T104" fmla="*/ 323 w 329"/>
                <a:gd name="T105" fmla="*/ 202 h 450"/>
                <a:gd name="T106" fmla="*/ 327 w 329"/>
                <a:gd name="T107" fmla="*/ 183 h 450"/>
                <a:gd name="T108" fmla="*/ 329 w 329"/>
                <a:gd name="T109" fmla="*/ 165 h 450"/>
                <a:gd name="T110" fmla="*/ 326 w 329"/>
                <a:gd name="T111" fmla="*/ 132 h 450"/>
                <a:gd name="T112" fmla="*/ 316 w 329"/>
                <a:gd name="T113" fmla="*/ 102 h 450"/>
                <a:gd name="T114" fmla="*/ 301 w 329"/>
                <a:gd name="T115" fmla="*/ 73 h 450"/>
                <a:gd name="T116" fmla="*/ 281 w 329"/>
                <a:gd name="T117" fmla="*/ 49 h 450"/>
                <a:gd name="T118" fmla="*/ 256 w 329"/>
                <a:gd name="T119" fmla="*/ 29 h 450"/>
                <a:gd name="T120" fmla="*/ 229 w 329"/>
                <a:gd name="T121" fmla="*/ 14 h 450"/>
                <a:gd name="T122" fmla="*/ 198 w 329"/>
                <a:gd name="T123" fmla="*/ 4 h 450"/>
                <a:gd name="T124" fmla="*/ 164 w 329"/>
                <a:gd name="T125"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9" h="450">
                  <a:moveTo>
                    <a:pt x="164" y="411"/>
                  </a:moveTo>
                  <a:lnTo>
                    <a:pt x="145" y="385"/>
                  </a:lnTo>
                  <a:lnTo>
                    <a:pt x="124" y="355"/>
                  </a:lnTo>
                  <a:lnTo>
                    <a:pt x="101" y="322"/>
                  </a:lnTo>
                  <a:lnTo>
                    <a:pt x="80" y="287"/>
                  </a:lnTo>
                  <a:lnTo>
                    <a:pt x="69" y="270"/>
                  </a:lnTo>
                  <a:lnTo>
                    <a:pt x="59" y="252"/>
                  </a:lnTo>
                  <a:lnTo>
                    <a:pt x="51" y="235"/>
                  </a:lnTo>
                  <a:lnTo>
                    <a:pt x="45" y="219"/>
                  </a:lnTo>
                  <a:lnTo>
                    <a:pt x="38" y="204"/>
                  </a:lnTo>
                  <a:lnTo>
                    <a:pt x="34" y="190"/>
                  </a:lnTo>
                  <a:lnTo>
                    <a:pt x="31" y="176"/>
                  </a:lnTo>
                  <a:lnTo>
                    <a:pt x="30" y="165"/>
                  </a:lnTo>
                  <a:lnTo>
                    <a:pt x="31" y="152"/>
                  </a:lnTo>
                  <a:lnTo>
                    <a:pt x="33" y="138"/>
                  </a:lnTo>
                  <a:lnTo>
                    <a:pt x="36" y="125"/>
                  </a:lnTo>
                  <a:lnTo>
                    <a:pt x="40" y="113"/>
                  </a:lnTo>
                  <a:lnTo>
                    <a:pt x="46" y="101"/>
                  </a:lnTo>
                  <a:lnTo>
                    <a:pt x="53" y="90"/>
                  </a:lnTo>
                  <a:lnTo>
                    <a:pt x="61" y="79"/>
                  </a:lnTo>
                  <a:lnTo>
                    <a:pt x="69" y="69"/>
                  </a:lnTo>
                  <a:lnTo>
                    <a:pt x="79" y="61"/>
                  </a:lnTo>
                  <a:lnTo>
                    <a:pt x="89" y="53"/>
                  </a:lnTo>
                  <a:lnTo>
                    <a:pt x="100" y="47"/>
                  </a:lnTo>
                  <a:lnTo>
                    <a:pt x="112" y="41"/>
                  </a:lnTo>
                  <a:lnTo>
                    <a:pt x="125" y="36"/>
                  </a:lnTo>
                  <a:lnTo>
                    <a:pt x="138" y="33"/>
                  </a:lnTo>
                  <a:lnTo>
                    <a:pt x="150" y="31"/>
                  </a:lnTo>
                  <a:lnTo>
                    <a:pt x="164" y="30"/>
                  </a:lnTo>
                  <a:lnTo>
                    <a:pt x="178" y="31"/>
                  </a:lnTo>
                  <a:lnTo>
                    <a:pt x="191" y="33"/>
                  </a:lnTo>
                  <a:lnTo>
                    <a:pt x="204" y="36"/>
                  </a:lnTo>
                  <a:lnTo>
                    <a:pt x="217" y="41"/>
                  </a:lnTo>
                  <a:lnTo>
                    <a:pt x="229" y="47"/>
                  </a:lnTo>
                  <a:lnTo>
                    <a:pt x="239" y="53"/>
                  </a:lnTo>
                  <a:lnTo>
                    <a:pt x="250" y="61"/>
                  </a:lnTo>
                  <a:lnTo>
                    <a:pt x="260" y="69"/>
                  </a:lnTo>
                  <a:lnTo>
                    <a:pt x="268" y="79"/>
                  </a:lnTo>
                  <a:lnTo>
                    <a:pt x="276" y="90"/>
                  </a:lnTo>
                  <a:lnTo>
                    <a:pt x="283" y="101"/>
                  </a:lnTo>
                  <a:lnTo>
                    <a:pt x="288" y="112"/>
                  </a:lnTo>
                  <a:lnTo>
                    <a:pt x="293" y="125"/>
                  </a:lnTo>
                  <a:lnTo>
                    <a:pt x="296" y="138"/>
                  </a:lnTo>
                  <a:lnTo>
                    <a:pt x="298" y="152"/>
                  </a:lnTo>
                  <a:lnTo>
                    <a:pt x="299" y="165"/>
                  </a:lnTo>
                  <a:lnTo>
                    <a:pt x="298" y="176"/>
                  </a:lnTo>
                  <a:lnTo>
                    <a:pt x="295" y="190"/>
                  </a:lnTo>
                  <a:lnTo>
                    <a:pt x="291" y="204"/>
                  </a:lnTo>
                  <a:lnTo>
                    <a:pt x="284" y="219"/>
                  </a:lnTo>
                  <a:lnTo>
                    <a:pt x="277" y="235"/>
                  </a:lnTo>
                  <a:lnTo>
                    <a:pt x="269" y="252"/>
                  </a:lnTo>
                  <a:lnTo>
                    <a:pt x="260" y="270"/>
                  </a:lnTo>
                  <a:lnTo>
                    <a:pt x="249" y="287"/>
                  </a:lnTo>
                  <a:lnTo>
                    <a:pt x="227" y="322"/>
                  </a:lnTo>
                  <a:lnTo>
                    <a:pt x="205" y="355"/>
                  </a:lnTo>
                  <a:lnTo>
                    <a:pt x="184" y="385"/>
                  </a:lnTo>
                  <a:lnTo>
                    <a:pt x="164" y="411"/>
                  </a:lnTo>
                  <a:close/>
                  <a:moveTo>
                    <a:pt x="164" y="0"/>
                  </a:moveTo>
                  <a:lnTo>
                    <a:pt x="147" y="1"/>
                  </a:lnTo>
                  <a:lnTo>
                    <a:pt x="131" y="3"/>
                  </a:lnTo>
                  <a:lnTo>
                    <a:pt x="115" y="7"/>
                  </a:lnTo>
                  <a:lnTo>
                    <a:pt x="100" y="13"/>
                  </a:lnTo>
                  <a:lnTo>
                    <a:pt x="86" y="20"/>
                  </a:lnTo>
                  <a:lnTo>
                    <a:pt x="72" y="29"/>
                  </a:lnTo>
                  <a:lnTo>
                    <a:pt x="59" y="38"/>
                  </a:lnTo>
                  <a:lnTo>
                    <a:pt x="48" y="49"/>
                  </a:lnTo>
                  <a:lnTo>
                    <a:pt x="37" y="61"/>
                  </a:lnTo>
                  <a:lnTo>
                    <a:pt x="27" y="73"/>
                  </a:lnTo>
                  <a:lnTo>
                    <a:pt x="20" y="87"/>
                  </a:lnTo>
                  <a:lnTo>
                    <a:pt x="12" y="102"/>
                  </a:lnTo>
                  <a:lnTo>
                    <a:pt x="7" y="117"/>
                  </a:lnTo>
                  <a:lnTo>
                    <a:pt x="3" y="132"/>
                  </a:lnTo>
                  <a:lnTo>
                    <a:pt x="1" y="149"/>
                  </a:lnTo>
                  <a:lnTo>
                    <a:pt x="0" y="165"/>
                  </a:lnTo>
                  <a:lnTo>
                    <a:pt x="0" y="173"/>
                  </a:lnTo>
                  <a:lnTo>
                    <a:pt x="1" y="183"/>
                  </a:lnTo>
                  <a:lnTo>
                    <a:pt x="3" y="192"/>
                  </a:lnTo>
                  <a:lnTo>
                    <a:pt x="6" y="202"/>
                  </a:lnTo>
                  <a:lnTo>
                    <a:pt x="13" y="222"/>
                  </a:lnTo>
                  <a:lnTo>
                    <a:pt x="22" y="244"/>
                  </a:lnTo>
                  <a:lnTo>
                    <a:pt x="34" y="266"/>
                  </a:lnTo>
                  <a:lnTo>
                    <a:pt x="47" y="290"/>
                  </a:lnTo>
                  <a:lnTo>
                    <a:pt x="59" y="312"/>
                  </a:lnTo>
                  <a:lnTo>
                    <a:pt x="73" y="335"/>
                  </a:lnTo>
                  <a:lnTo>
                    <a:pt x="101" y="375"/>
                  </a:lnTo>
                  <a:lnTo>
                    <a:pt x="126" y="410"/>
                  </a:lnTo>
                  <a:lnTo>
                    <a:pt x="144" y="433"/>
                  </a:lnTo>
                  <a:lnTo>
                    <a:pt x="153" y="444"/>
                  </a:lnTo>
                  <a:lnTo>
                    <a:pt x="155" y="446"/>
                  </a:lnTo>
                  <a:lnTo>
                    <a:pt x="158" y="448"/>
                  </a:lnTo>
                  <a:lnTo>
                    <a:pt x="161" y="449"/>
                  </a:lnTo>
                  <a:lnTo>
                    <a:pt x="164" y="450"/>
                  </a:lnTo>
                  <a:lnTo>
                    <a:pt x="168" y="449"/>
                  </a:lnTo>
                  <a:lnTo>
                    <a:pt x="171" y="448"/>
                  </a:lnTo>
                  <a:lnTo>
                    <a:pt x="174" y="446"/>
                  </a:lnTo>
                  <a:lnTo>
                    <a:pt x="176" y="444"/>
                  </a:lnTo>
                  <a:lnTo>
                    <a:pt x="185" y="433"/>
                  </a:lnTo>
                  <a:lnTo>
                    <a:pt x="203" y="410"/>
                  </a:lnTo>
                  <a:lnTo>
                    <a:pt x="227" y="375"/>
                  </a:lnTo>
                  <a:lnTo>
                    <a:pt x="255" y="335"/>
                  </a:lnTo>
                  <a:lnTo>
                    <a:pt x="269" y="312"/>
                  </a:lnTo>
                  <a:lnTo>
                    <a:pt x="282" y="290"/>
                  </a:lnTo>
                  <a:lnTo>
                    <a:pt x="295" y="267"/>
                  </a:lnTo>
                  <a:lnTo>
                    <a:pt x="306" y="245"/>
                  </a:lnTo>
                  <a:lnTo>
                    <a:pt x="315" y="222"/>
                  </a:lnTo>
                  <a:lnTo>
                    <a:pt x="323" y="202"/>
                  </a:lnTo>
                  <a:lnTo>
                    <a:pt x="326" y="192"/>
                  </a:lnTo>
                  <a:lnTo>
                    <a:pt x="327" y="183"/>
                  </a:lnTo>
                  <a:lnTo>
                    <a:pt x="329" y="173"/>
                  </a:lnTo>
                  <a:lnTo>
                    <a:pt x="329" y="165"/>
                  </a:lnTo>
                  <a:lnTo>
                    <a:pt x="328" y="149"/>
                  </a:lnTo>
                  <a:lnTo>
                    <a:pt x="326" y="132"/>
                  </a:lnTo>
                  <a:lnTo>
                    <a:pt x="322" y="117"/>
                  </a:lnTo>
                  <a:lnTo>
                    <a:pt x="316" y="102"/>
                  </a:lnTo>
                  <a:lnTo>
                    <a:pt x="309" y="87"/>
                  </a:lnTo>
                  <a:lnTo>
                    <a:pt x="301" y="73"/>
                  </a:lnTo>
                  <a:lnTo>
                    <a:pt x="292" y="61"/>
                  </a:lnTo>
                  <a:lnTo>
                    <a:pt x="281" y="49"/>
                  </a:lnTo>
                  <a:lnTo>
                    <a:pt x="269" y="38"/>
                  </a:lnTo>
                  <a:lnTo>
                    <a:pt x="256" y="29"/>
                  </a:lnTo>
                  <a:lnTo>
                    <a:pt x="242" y="20"/>
                  </a:lnTo>
                  <a:lnTo>
                    <a:pt x="229" y="14"/>
                  </a:lnTo>
                  <a:lnTo>
                    <a:pt x="214" y="7"/>
                  </a:lnTo>
                  <a:lnTo>
                    <a:pt x="198" y="4"/>
                  </a:lnTo>
                  <a:lnTo>
                    <a:pt x="181" y="1"/>
                  </a:lnTo>
                  <a:lnTo>
                    <a:pt x="164" y="0"/>
                  </a:lnTo>
                  <a:lnTo>
                    <a:pt x="1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8" name="Group 47">
            <a:extLst>
              <a:ext uri="{FF2B5EF4-FFF2-40B4-BE49-F238E27FC236}">
                <a16:creationId xmlns:a16="http://schemas.microsoft.com/office/drawing/2014/main" id="{C47FB556-FA90-474A-AE69-B36D3FBDBC88}"/>
              </a:ext>
            </a:extLst>
          </p:cNvPr>
          <p:cNvGrpSpPr>
            <a:grpSpLocks noChangeAspect="1"/>
          </p:cNvGrpSpPr>
          <p:nvPr/>
        </p:nvGrpSpPr>
        <p:grpSpPr>
          <a:xfrm>
            <a:off x="3268824" y="2186361"/>
            <a:ext cx="153242" cy="306484"/>
            <a:chOff x="958850" y="2497138"/>
            <a:chExt cx="142875" cy="285750"/>
          </a:xfrm>
          <a:solidFill>
            <a:schemeClr val="bg1"/>
          </a:solidFill>
          <a:effectLst/>
        </p:grpSpPr>
        <p:sp>
          <p:nvSpPr>
            <p:cNvPr id="619" name="Freeform 75">
              <a:extLst>
                <a:ext uri="{FF2B5EF4-FFF2-40B4-BE49-F238E27FC236}">
                  <a16:creationId xmlns:a16="http://schemas.microsoft.com/office/drawing/2014/main" id="{90FC2106-BD49-440C-ABC6-5A187EC50B27}"/>
                </a:ext>
              </a:extLst>
            </p:cNvPr>
            <p:cNvSpPr>
              <a:spLocks noEditPoints="1"/>
            </p:cNvSpPr>
            <p:nvPr/>
          </p:nvSpPr>
          <p:spPr bwMode="auto">
            <a:xfrm>
              <a:off x="958850" y="2497138"/>
              <a:ext cx="142875" cy="242888"/>
            </a:xfrm>
            <a:custGeom>
              <a:avLst/>
              <a:gdLst>
                <a:gd name="T0" fmla="*/ 289 w 449"/>
                <a:gd name="T1" fmla="*/ 38 h 763"/>
                <a:gd name="T2" fmla="*/ 334 w 449"/>
                <a:gd name="T3" fmla="*/ 57 h 763"/>
                <a:gd name="T4" fmla="*/ 363 w 449"/>
                <a:gd name="T5" fmla="*/ 81 h 763"/>
                <a:gd name="T6" fmla="*/ 386 w 449"/>
                <a:gd name="T7" fmla="*/ 111 h 763"/>
                <a:gd name="T8" fmla="*/ 412 w 449"/>
                <a:gd name="T9" fmla="*/ 179 h 763"/>
                <a:gd name="T10" fmla="*/ 418 w 449"/>
                <a:gd name="T11" fmla="*/ 264 h 763"/>
                <a:gd name="T12" fmla="*/ 400 w 449"/>
                <a:gd name="T13" fmla="*/ 323 h 763"/>
                <a:gd name="T14" fmla="*/ 336 w 449"/>
                <a:gd name="T15" fmla="*/ 434 h 763"/>
                <a:gd name="T16" fmla="*/ 253 w 449"/>
                <a:gd name="T17" fmla="*/ 566 h 763"/>
                <a:gd name="T18" fmla="*/ 216 w 449"/>
                <a:gd name="T19" fmla="*/ 605 h 763"/>
                <a:gd name="T20" fmla="*/ 160 w 449"/>
                <a:gd name="T21" fmla="*/ 505 h 763"/>
                <a:gd name="T22" fmla="*/ 78 w 449"/>
                <a:gd name="T23" fmla="*/ 377 h 763"/>
                <a:gd name="T24" fmla="*/ 35 w 449"/>
                <a:gd name="T25" fmla="*/ 286 h 763"/>
                <a:gd name="T26" fmla="*/ 31 w 449"/>
                <a:gd name="T27" fmla="*/ 227 h 763"/>
                <a:gd name="T28" fmla="*/ 50 w 449"/>
                <a:gd name="T29" fmla="*/ 138 h 763"/>
                <a:gd name="T30" fmla="*/ 74 w 449"/>
                <a:gd name="T31" fmla="*/ 95 h 763"/>
                <a:gd name="T32" fmla="*/ 101 w 449"/>
                <a:gd name="T33" fmla="*/ 68 h 763"/>
                <a:gd name="T34" fmla="*/ 133 w 449"/>
                <a:gd name="T35" fmla="*/ 48 h 763"/>
                <a:gd name="T36" fmla="*/ 202 w 449"/>
                <a:gd name="T37" fmla="*/ 31 h 763"/>
                <a:gd name="T38" fmla="*/ 210 w 449"/>
                <a:gd name="T39" fmla="*/ 748 h 763"/>
                <a:gd name="T40" fmla="*/ 214 w 449"/>
                <a:gd name="T41" fmla="*/ 759 h 763"/>
                <a:gd name="T42" fmla="*/ 225 w 449"/>
                <a:gd name="T43" fmla="*/ 763 h 763"/>
                <a:gd name="T44" fmla="*/ 235 w 449"/>
                <a:gd name="T45" fmla="*/ 759 h 763"/>
                <a:gd name="T46" fmla="*/ 240 w 449"/>
                <a:gd name="T47" fmla="*/ 748 h 763"/>
                <a:gd name="T48" fmla="*/ 245 w 449"/>
                <a:gd name="T49" fmla="*/ 656 h 763"/>
                <a:gd name="T50" fmla="*/ 288 w 449"/>
                <a:gd name="T51" fmla="*/ 565 h 763"/>
                <a:gd name="T52" fmla="*/ 363 w 449"/>
                <a:gd name="T53" fmla="*/ 448 h 763"/>
                <a:gd name="T54" fmla="*/ 424 w 449"/>
                <a:gd name="T55" fmla="*/ 344 h 763"/>
                <a:gd name="T56" fmla="*/ 444 w 449"/>
                <a:gd name="T57" fmla="*/ 290 h 763"/>
                <a:gd name="T58" fmla="*/ 448 w 449"/>
                <a:gd name="T59" fmla="*/ 224 h 763"/>
                <a:gd name="T60" fmla="*/ 438 w 449"/>
                <a:gd name="T61" fmla="*/ 158 h 763"/>
                <a:gd name="T62" fmla="*/ 422 w 449"/>
                <a:gd name="T63" fmla="*/ 113 h 763"/>
                <a:gd name="T64" fmla="*/ 398 w 449"/>
                <a:gd name="T65" fmla="*/ 74 h 763"/>
                <a:gd name="T66" fmla="*/ 367 w 449"/>
                <a:gd name="T67" fmla="*/ 43 h 763"/>
                <a:gd name="T68" fmla="*/ 331 w 449"/>
                <a:gd name="T69" fmla="*/ 21 h 763"/>
                <a:gd name="T70" fmla="*/ 287 w 449"/>
                <a:gd name="T71" fmla="*/ 6 h 763"/>
                <a:gd name="T72" fmla="*/ 238 w 449"/>
                <a:gd name="T73" fmla="*/ 0 h 763"/>
                <a:gd name="T74" fmla="*/ 186 w 449"/>
                <a:gd name="T75" fmla="*/ 2 h 763"/>
                <a:gd name="T76" fmla="*/ 140 w 449"/>
                <a:gd name="T77" fmla="*/ 12 h 763"/>
                <a:gd name="T78" fmla="*/ 100 w 449"/>
                <a:gd name="T79" fmla="*/ 32 h 763"/>
                <a:gd name="T80" fmla="*/ 66 w 449"/>
                <a:gd name="T81" fmla="*/ 58 h 763"/>
                <a:gd name="T82" fmla="*/ 40 w 449"/>
                <a:gd name="T83" fmla="*/ 93 h 763"/>
                <a:gd name="T84" fmla="*/ 19 w 449"/>
                <a:gd name="T85" fmla="*/ 134 h 763"/>
                <a:gd name="T86" fmla="*/ 5 w 449"/>
                <a:gd name="T87" fmla="*/ 184 h 763"/>
                <a:gd name="T88" fmla="*/ 0 w 449"/>
                <a:gd name="T89" fmla="*/ 266 h 763"/>
                <a:gd name="T90" fmla="*/ 14 w 449"/>
                <a:gd name="T91" fmla="*/ 316 h 763"/>
                <a:gd name="T92" fmla="*/ 49 w 449"/>
                <a:gd name="T93" fmla="*/ 387 h 763"/>
                <a:gd name="T94" fmla="*/ 126 w 449"/>
                <a:gd name="T95" fmla="*/ 509 h 763"/>
                <a:gd name="T96" fmla="*/ 191 w 449"/>
                <a:gd name="T97" fmla="*/ 620 h 763"/>
                <a:gd name="T98" fmla="*/ 209 w 449"/>
                <a:gd name="T99" fmla="*/ 67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9" h="763">
                  <a:moveTo>
                    <a:pt x="225" y="29"/>
                  </a:moveTo>
                  <a:lnTo>
                    <a:pt x="247" y="31"/>
                  </a:lnTo>
                  <a:lnTo>
                    <a:pt x="269" y="33"/>
                  </a:lnTo>
                  <a:lnTo>
                    <a:pt x="289" y="38"/>
                  </a:lnTo>
                  <a:lnTo>
                    <a:pt x="308" y="44"/>
                  </a:lnTo>
                  <a:lnTo>
                    <a:pt x="317" y="48"/>
                  </a:lnTo>
                  <a:lnTo>
                    <a:pt x="325" y="52"/>
                  </a:lnTo>
                  <a:lnTo>
                    <a:pt x="334" y="57"/>
                  </a:lnTo>
                  <a:lnTo>
                    <a:pt x="341" y="63"/>
                  </a:lnTo>
                  <a:lnTo>
                    <a:pt x="349" y="68"/>
                  </a:lnTo>
                  <a:lnTo>
                    <a:pt x="356" y="74"/>
                  </a:lnTo>
                  <a:lnTo>
                    <a:pt x="363" y="81"/>
                  </a:lnTo>
                  <a:lnTo>
                    <a:pt x="369" y="87"/>
                  </a:lnTo>
                  <a:lnTo>
                    <a:pt x="376" y="95"/>
                  </a:lnTo>
                  <a:lnTo>
                    <a:pt x="381" y="102"/>
                  </a:lnTo>
                  <a:lnTo>
                    <a:pt x="386" y="111"/>
                  </a:lnTo>
                  <a:lnTo>
                    <a:pt x="391" y="119"/>
                  </a:lnTo>
                  <a:lnTo>
                    <a:pt x="399" y="138"/>
                  </a:lnTo>
                  <a:lnTo>
                    <a:pt x="407" y="158"/>
                  </a:lnTo>
                  <a:lnTo>
                    <a:pt x="412" y="179"/>
                  </a:lnTo>
                  <a:lnTo>
                    <a:pt x="416" y="203"/>
                  </a:lnTo>
                  <a:lnTo>
                    <a:pt x="418" y="227"/>
                  </a:lnTo>
                  <a:lnTo>
                    <a:pt x="420" y="254"/>
                  </a:lnTo>
                  <a:lnTo>
                    <a:pt x="418" y="264"/>
                  </a:lnTo>
                  <a:lnTo>
                    <a:pt x="417" y="274"/>
                  </a:lnTo>
                  <a:lnTo>
                    <a:pt x="414" y="286"/>
                  </a:lnTo>
                  <a:lnTo>
                    <a:pt x="411" y="298"/>
                  </a:lnTo>
                  <a:lnTo>
                    <a:pt x="400" y="323"/>
                  </a:lnTo>
                  <a:lnTo>
                    <a:pt x="387" y="349"/>
                  </a:lnTo>
                  <a:lnTo>
                    <a:pt x="371" y="377"/>
                  </a:lnTo>
                  <a:lnTo>
                    <a:pt x="354" y="405"/>
                  </a:lnTo>
                  <a:lnTo>
                    <a:pt x="336" y="434"/>
                  </a:lnTo>
                  <a:lnTo>
                    <a:pt x="317" y="463"/>
                  </a:lnTo>
                  <a:lnTo>
                    <a:pt x="290" y="505"/>
                  </a:lnTo>
                  <a:lnTo>
                    <a:pt x="264" y="546"/>
                  </a:lnTo>
                  <a:lnTo>
                    <a:pt x="253" y="566"/>
                  </a:lnTo>
                  <a:lnTo>
                    <a:pt x="242" y="586"/>
                  </a:lnTo>
                  <a:lnTo>
                    <a:pt x="232" y="605"/>
                  </a:lnTo>
                  <a:lnTo>
                    <a:pt x="225" y="623"/>
                  </a:lnTo>
                  <a:lnTo>
                    <a:pt x="216" y="605"/>
                  </a:lnTo>
                  <a:lnTo>
                    <a:pt x="208" y="586"/>
                  </a:lnTo>
                  <a:lnTo>
                    <a:pt x="197" y="566"/>
                  </a:lnTo>
                  <a:lnTo>
                    <a:pt x="185" y="546"/>
                  </a:lnTo>
                  <a:lnTo>
                    <a:pt x="160" y="505"/>
                  </a:lnTo>
                  <a:lnTo>
                    <a:pt x="133" y="463"/>
                  </a:lnTo>
                  <a:lnTo>
                    <a:pt x="114" y="434"/>
                  </a:lnTo>
                  <a:lnTo>
                    <a:pt x="95" y="405"/>
                  </a:lnTo>
                  <a:lnTo>
                    <a:pt x="78" y="377"/>
                  </a:lnTo>
                  <a:lnTo>
                    <a:pt x="62" y="349"/>
                  </a:lnTo>
                  <a:lnTo>
                    <a:pt x="49" y="323"/>
                  </a:lnTo>
                  <a:lnTo>
                    <a:pt x="39" y="298"/>
                  </a:lnTo>
                  <a:lnTo>
                    <a:pt x="35" y="286"/>
                  </a:lnTo>
                  <a:lnTo>
                    <a:pt x="32" y="274"/>
                  </a:lnTo>
                  <a:lnTo>
                    <a:pt x="30" y="264"/>
                  </a:lnTo>
                  <a:lnTo>
                    <a:pt x="30" y="254"/>
                  </a:lnTo>
                  <a:lnTo>
                    <a:pt x="31" y="227"/>
                  </a:lnTo>
                  <a:lnTo>
                    <a:pt x="33" y="203"/>
                  </a:lnTo>
                  <a:lnTo>
                    <a:pt x="38" y="179"/>
                  </a:lnTo>
                  <a:lnTo>
                    <a:pt x="43" y="158"/>
                  </a:lnTo>
                  <a:lnTo>
                    <a:pt x="50" y="138"/>
                  </a:lnTo>
                  <a:lnTo>
                    <a:pt x="59" y="119"/>
                  </a:lnTo>
                  <a:lnTo>
                    <a:pt x="63" y="111"/>
                  </a:lnTo>
                  <a:lnTo>
                    <a:pt x="69" y="102"/>
                  </a:lnTo>
                  <a:lnTo>
                    <a:pt x="74" y="95"/>
                  </a:lnTo>
                  <a:lnTo>
                    <a:pt x="80" y="87"/>
                  </a:lnTo>
                  <a:lnTo>
                    <a:pt x="87" y="81"/>
                  </a:lnTo>
                  <a:lnTo>
                    <a:pt x="93" y="74"/>
                  </a:lnTo>
                  <a:lnTo>
                    <a:pt x="101" y="68"/>
                  </a:lnTo>
                  <a:lnTo>
                    <a:pt x="108" y="63"/>
                  </a:lnTo>
                  <a:lnTo>
                    <a:pt x="116" y="57"/>
                  </a:lnTo>
                  <a:lnTo>
                    <a:pt x="124" y="52"/>
                  </a:lnTo>
                  <a:lnTo>
                    <a:pt x="133" y="48"/>
                  </a:lnTo>
                  <a:lnTo>
                    <a:pt x="141" y="44"/>
                  </a:lnTo>
                  <a:lnTo>
                    <a:pt x="161" y="38"/>
                  </a:lnTo>
                  <a:lnTo>
                    <a:pt x="180" y="33"/>
                  </a:lnTo>
                  <a:lnTo>
                    <a:pt x="202" y="31"/>
                  </a:lnTo>
                  <a:lnTo>
                    <a:pt x="225" y="29"/>
                  </a:lnTo>
                  <a:lnTo>
                    <a:pt x="225" y="29"/>
                  </a:lnTo>
                  <a:close/>
                  <a:moveTo>
                    <a:pt x="210" y="688"/>
                  </a:moveTo>
                  <a:lnTo>
                    <a:pt x="210" y="748"/>
                  </a:lnTo>
                  <a:lnTo>
                    <a:pt x="210" y="751"/>
                  </a:lnTo>
                  <a:lnTo>
                    <a:pt x="211" y="754"/>
                  </a:lnTo>
                  <a:lnTo>
                    <a:pt x="212" y="757"/>
                  </a:lnTo>
                  <a:lnTo>
                    <a:pt x="214" y="759"/>
                  </a:lnTo>
                  <a:lnTo>
                    <a:pt x="216" y="761"/>
                  </a:lnTo>
                  <a:lnTo>
                    <a:pt x="219" y="762"/>
                  </a:lnTo>
                  <a:lnTo>
                    <a:pt x="222" y="763"/>
                  </a:lnTo>
                  <a:lnTo>
                    <a:pt x="225" y="763"/>
                  </a:lnTo>
                  <a:lnTo>
                    <a:pt x="228" y="763"/>
                  </a:lnTo>
                  <a:lnTo>
                    <a:pt x="230" y="762"/>
                  </a:lnTo>
                  <a:lnTo>
                    <a:pt x="233" y="761"/>
                  </a:lnTo>
                  <a:lnTo>
                    <a:pt x="235" y="759"/>
                  </a:lnTo>
                  <a:lnTo>
                    <a:pt x="238" y="757"/>
                  </a:lnTo>
                  <a:lnTo>
                    <a:pt x="239" y="754"/>
                  </a:lnTo>
                  <a:lnTo>
                    <a:pt x="240" y="751"/>
                  </a:lnTo>
                  <a:lnTo>
                    <a:pt x="240" y="748"/>
                  </a:lnTo>
                  <a:lnTo>
                    <a:pt x="240" y="688"/>
                  </a:lnTo>
                  <a:lnTo>
                    <a:pt x="240" y="678"/>
                  </a:lnTo>
                  <a:lnTo>
                    <a:pt x="242" y="667"/>
                  </a:lnTo>
                  <a:lnTo>
                    <a:pt x="245" y="656"/>
                  </a:lnTo>
                  <a:lnTo>
                    <a:pt x="248" y="645"/>
                  </a:lnTo>
                  <a:lnTo>
                    <a:pt x="259" y="620"/>
                  </a:lnTo>
                  <a:lnTo>
                    <a:pt x="272" y="593"/>
                  </a:lnTo>
                  <a:lnTo>
                    <a:pt x="288" y="565"/>
                  </a:lnTo>
                  <a:lnTo>
                    <a:pt x="305" y="538"/>
                  </a:lnTo>
                  <a:lnTo>
                    <a:pt x="323" y="509"/>
                  </a:lnTo>
                  <a:lnTo>
                    <a:pt x="342" y="480"/>
                  </a:lnTo>
                  <a:lnTo>
                    <a:pt x="363" y="448"/>
                  </a:lnTo>
                  <a:lnTo>
                    <a:pt x="382" y="417"/>
                  </a:lnTo>
                  <a:lnTo>
                    <a:pt x="400" y="387"/>
                  </a:lnTo>
                  <a:lnTo>
                    <a:pt x="416" y="358"/>
                  </a:lnTo>
                  <a:lnTo>
                    <a:pt x="424" y="344"/>
                  </a:lnTo>
                  <a:lnTo>
                    <a:pt x="430" y="330"/>
                  </a:lnTo>
                  <a:lnTo>
                    <a:pt x="436" y="316"/>
                  </a:lnTo>
                  <a:lnTo>
                    <a:pt x="441" y="303"/>
                  </a:lnTo>
                  <a:lnTo>
                    <a:pt x="444" y="290"/>
                  </a:lnTo>
                  <a:lnTo>
                    <a:pt x="447" y="278"/>
                  </a:lnTo>
                  <a:lnTo>
                    <a:pt x="448" y="266"/>
                  </a:lnTo>
                  <a:lnTo>
                    <a:pt x="449" y="254"/>
                  </a:lnTo>
                  <a:lnTo>
                    <a:pt x="448" y="224"/>
                  </a:lnTo>
                  <a:lnTo>
                    <a:pt x="445" y="196"/>
                  </a:lnTo>
                  <a:lnTo>
                    <a:pt x="443" y="184"/>
                  </a:lnTo>
                  <a:lnTo>
                    <a:pt x="441" y="171"/>
                  </a:lnTo>
                  <a:lnTo>
                    <a:pt x="438" y="158"/>
                  </a:lnTo>
                  <a:lnTo>
                    <a:pt x="435" y="146"/>
                  </a:lnTo>
                  <a:lnTo>
                    <a:pt x="430" y="134"/>
                  </a:lnTo>
                  <a:lnTo>
                    <a:pt x="426" y="124"/>
                  </a:lnTo>
                  <a:lnTo>
                    <a:pt x="422" y="113"/>
                  </a:lnTo>
                  <a:lnTo>
                    <a:pt x="416" y="102"/>
                  </a:lnTo>
                  <a:lnTo>
                    <a:pt x="410" y="93"/>
                  </a:lnTo>
                  <a:lnTo>
                    <a:pt x="405" y="83"/>
                  </a:lnTo>
                  <a:lnTo>
                    <a:pt x="398" y="74"/>
                  </a:lnTo>
                  <a:lnTo>
                    <a:pt x="391" y="66"/>
                  </a:lnTo>
                  <a:lnTo>
                    <a:pt x="383" y="58"/>
                  </a:lnTo>
                  <a:lnTo>
                    <a:pt x="376" y="51"/>
                  </a:lnTo>
                  <a:lnTo>
                    <a:pt x="367" y="43"/>
                  </a:lnTo>
                  <a:lnTo>
                    <a:pt x="359" y="37"/>
                  </a:lnTo>
                  <a:lnTo>
                    <a:pt x="350" y="32"/>
                  </a:lnTo>
                  <a:lnTo>
                    <a:pt x="340" y="26"/>
                  </a:lnTo>
                  <a:lnTo>
                    <a:pt x="331" y="21"/>
                  </a:lnTo>
                  <a:lnTo>
                    <a:pt x="320" y="17"/>
                  </a:lnTo>
                  <a:lnTo>
                    <a:pt x="309" y="12"/>
                  </a:lnTo>
                  <a:lnTo>
                    <a:pt x="299" y="9"/>
                  </a:lnTo>
                  <a:lnTo>
                    <a:pt x="287" y="6"/>
                  </a:lnTo>
                  <a:lnTo>
                    <a:pt x="275" y="4"/>
                  </a:lnTo>
                  <a:lnTo>
                    <a:pt x="263" y="2"/>
                  </a:lnTo>
                  <a:lnTo>
                    <a:pt x="250" y="1"/>
                  </a:lnTo>
                  <a:lnTo>
                    <a:pt x="238" y="0"/>
                  </a:lnTo>
                  <a:lnTo>
                    <a:pt x="225" y="0"/>
                  </a:lnTo>
                  <a:lnTo>
                    <a:pt x="212" y="0"/>
                  </a:lnTo>
                  <a:lnTo>
                    <a:pt x="199" y="1"/>
                  </a:lnTo>
                  <a:lnTo>
                    <a:pt x="186" y="2"/>
                  </a:lnTo>
                  <a:lnTo>
                    <a:pt x="175" y="4"/>
                  </a:lnTo>
                  <a:lnTo>
                    <a:pt x="163" y="6"/>
                  </a:lnTo>
                  <a:lnTo>
                    <a:pt x="151" y="9"/>
                  </a:lnTo>
                  <a:lnTo>
                    <a:pt x="140" y="12"/>
                  </a:lnTo>
                  <a:lnTo>
                    <a:pt x="130" y="17"/>
                  </a:lnTo>
                  <a:lnTo>
                    <a:pt x="119" y="21"/>
                  </a:lnTo>
                  <a:lnTo>
                    <a:pt x="109" y="26"/>
                  </a:lnTo>
                  <a:lnTo>
                    <a:pt x="100" y="32"/>
                  </a:lnTo>
                  <a:lnTo>
                    <a:pt x="91" y="37"/>
                  </a:lnTo>
                  <a:lnTo>
                    <a:pt x="82" y="43"/>
                  </a:lnTo>
                  <a:lnTo>
                    <a:pt x="74" y="51"/>
                  </a:lnTo>
                  <a:lnTo>
                    <a:pt x="66" y="58"/>
                  </a:lnTo>
                  <a:lnTo>
                    <a:pt x="59" y="66"/>
                  </a:lnTo>
                  <a:lnTo>
                    <a:pt x="51" y="74"/>
                  </a:lnTo>
                  <a:lnTo>
                    <a:pt x="45" y="83"/>
                  </a:lnTo>
                  <a:lnTo>
                    <a:pt x="40" y="93"/>
                  </a:lnTo>
                  <a:lnTo>
                    <a:pt x="33" y="102"/>
                  </a:lnTo>
                  <a:lnTo>
                    <a:pt x="28" y="113"/>
                  </a:lnTo>
                  <a:lnTo>
                    <a:pt x="24" y="124"/>
                  </a:lnTo>
                  <a:lnTo>
                    <a:pt x="19" y="134"/>
                  </a:lnTo>
                  <a:lnTo>
                    <a:pt x="15" y="146"/>
                  </a:lnTo>
                  <a:lnTo>
                    <a:pt x="12" y="158"/>
                  </a:lnTo>
                  <a:lnTo>
                    <a:pt x="9" y="171"/>
                  </a:lnTo>
                  <a:lnTo>
                    <a:pt x="5" y="184"/>
                  </a:lnTo>
                  <a:lnTo>
                    <a:pt x="3" y="196"/>
                  </a:lnTo>
                  <a:lnTo>
                    <a:pt x="1" y="224"/>
                  </a:lnTo>
                  <a:lnTo>
                    <a:pt x="0" y="254"/>
                  </a:lnTo>
                  <a:lnTo>
                    <a:pt x="0" y="266"/>
                  </a:lnTo>
                  <a:lnTo>
                    <a:pt x="2" y="278"/>
                  </a:lnTo>
                  <a:lnTo>
                    <a:pt x="5" y="290"/>
                  </a:lnTo>
                  <a:lnTo>
                    <a:pt x="9" y="303"/>
                  </a:lnTo>
                  <a:lnTo>
                    <a:pt x="14" y="316"/>
                  </a:lnTo>
                  <a:lnTo>
                    <a:pt x="19" y="330"/>
                  </a:lnTo>
                  <a:lnTo>
                    <a:pt x="26" y="344"/>
                  </a:lnTo>
                  <a:lnTo>
                    <a:pt x="33" y="358"/>
                  </a:lnTo>
                  <a:lnTo>
                    <a:pt x="49" y="387"/>
                  </a:lnTo>
                  <a:lnTo>
                    <a:pt x="68" y="417"/>
                  </a:lnTo>
                  <a:lnTo>
                    <a:pt x="87" y="448"/>
                  </a:lnTo>
                  <a:lnTo>
                    <a:pt x="107" y="480"/>
                  </a:lnTo>
                  <a:lnTo>
                    <a:pt x="126" y="509"/>
                  </a:lnTo>
                  <a:lnTo>
                    <a:pt x="145" y="538"/>
                  </a:lnTo>
                  <a:lnTo>
                    <a:pt x="162" y="565"/>
                  </a:lnTo>
                  <a:lnTo>
                    <a:pt x="178" y="593"/>
                  </a:lnTo>
                  <a:lnTo>
                    <a:pt x="191" y="620"/>
                  </a:lnTo>
                  <a:lnTo>
                    <a:pt x="201" y="645"/>
                  </a:lnTo>
                  <a:lnTo>
                    <a:pt x="204" y="656"/>
                  </a:lnTo>
                  <a:lnTo>
                    <a:pt x="208" y="668"/>
                  </a:lnTo>
                  <a:lnTo>
                    <a:pt x="209" y="679"/>
                  </a:lnTo>
                  <a:lnTo>
                    <a:pt x="210" y="688"/>
                  </a:lnTo>
                  <a:lnTo>
                    <a:pt x="210" y="6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76">
              <a:extLst>
                <a:ext uri="{FF2B5EF4-FFF2-40B4-BE49-F238E27FC236}">
                  <a16:creationId xmlns:a16="http://schemas.microsoft.com/office/drawing/2014/main" id="{818C6493-9970-4260-8B80-52DDEA96EA6C}"/>
                </a:ext>
              </a:extLst>
            </p:cNvPr>
            <p:cNvSpPr>
              <a:spLocks/>
            </p:cNvSpPr>
            <p:nvPr/>
          </p:nvSpPr>
          <p:spPr bwMode="auto">
            <a:xfrm>
              <a:off x="968375" y="2735263"/>
              <a:ext cx="123825" cy="47625"/>
            </a:xfrm>
            <a:custGeom>
              <a:avLst/>
              <a:gdLst>
                <a:gd name="T0" fmla="*/ 387 w 390"/>
                <a:gd name="T1" fmla="*/ 8 h 150"/>
                <a:gd name="T2" fmla="*/ 383 w 390"/>
                <a:gd name="T3" fmla="*/ 3 h 150"/>
                <a:gd name="T4" fmla="*/ 379 w 390"/>
                <a:gd name="T5" fmla="*/ 0 h 150"/>
                <a:gd name="T6" fmla="*/ 372 w 390"/>
                <a:gd name="T7" fmla="*/ 0 h 150"/>
                <a:gd name="T8" fmla="*/ 195 w 390"/>
                <a:gd name="T9" fmla="*/ 59 h 150"/>
                <a:gd name="T10" fmla="*/ 17 w 390"/>
                <a:gd name="T11" fmla="*/ 0 h 150"/>
                <a:gd name="T12" fmla="*/ 11 w 390"/>
                <a:gd name="T13" fmla="*/ 0 h 150"/>
                <a:gd name="T14" fmla="*/ 5 w 390"/>
                <a:gd name="T15" fmla="*/ 3 h 150"/>
                <a:gd name="T16" fmla="*/ 2 w 390"/>
                <a:gd name="T17" fmla="*/ 8 h 150"/>
                <a:gd name="T18" fmla="*/ 0 w 390"/>
                <a:gd name="T19" fmla="*/ 13 h 150"/>
                <a:gd name="T20" fmla="*/ 0 w 390"/>
                <a:gd name="T21" fmla="*/ 20 h 150"/>
                <a:gd name="T22" fmla="*/ 3 w 390"/>
                <a:gd name="T23" fmla="*/ 24 h 150"/>
                <a:gd name="T24" fmla="*/ 8 w 390"/>
                <a:gd name="T25" fmla="*/ 28 h 150"/>
                <a:gd name="T26" fmla="*/ 148 w 390"/>
                <a:gd name="T27" fmla="*/ 75 h 150"/>
                <a:gd name="T28" fmla="*/ 8 w 390"/>
                <a:gd name="T29" fmla="*/ 122 h 150"/>
                <a:gd name="T30" fmla="*/ 3 w 390"/>
                <a:gd name="T31" fmla="*/ 125 h 150"/>
                <a:gd name="T32" fmla="*/ 0 w 390"/>
                <a:gd name="T33" fmla="*/ 131 h 150"/>
                <a:gd name="T34" fmla="*/ 0 w 390"/>
                <a:gd name="T35" fmla="*/ 137 h 150"/>
                <a:gd name="T36" fmla="*/ 3 w 390"/>
                <a:gd name="T37" fmla="*/ 144 h 150"/>
                <a:gd name="T38" fmla="*/ 11 w 390"/>
                <a:gd name="T39" fmla="*/ 149 h 150"/>
                <a:gd name="T40" fmla="*/ 17 w 390"/>
                <a:gd name="T41" fmla="*/ 150 h 150"/>
                <a:gd name="T42" fmla="*/ 195 w 390"/>
                <a:gd name="T43" fmla="*/ 91 h 150"/>
                <a:gd name="T44" fmla="*/ 372 w 390"/>
                <a:gd name="T45" fmla="*/ 150 h 150"/>
                <a:gd name="T46" fmla="*/ 379 w 390"/>
                <a:gd name="T47" fmla="*/ 149 h 150"/>
                <a:gd name="T48" fmla="*/ 386 w 390"/>
                <a:gd name="T49" fmla="*/ 144 h 150"/>
                <a:gd name="T50" fmla="*/ 390 w 390"/>
                <a:gd name="T51" fmla="*/ 137 h 150"/>
                <a:gd name="T52" fmla="*/ 388 w 390"/>
                <a:gd name="T53" fmla="*/ 131 h 150"/>
                <a:gd name="T54" fmla="*/ 386 w 390"/>
                <a:gd name="T55" fmla="*/ 125 h 150"/>
                <a:gd name="T56" fmla="*/ 382 w 390"/>
                <a:gd name="T57" fmla="*/ 122 h 150"/>
                <a:gd name="T58" fmla="*/ 242 w 390"/>
                <a:gd name="T59" fmla="*/ 75 h 150"/>
                <a:gd name="T60" fmla="*/ 382 w 390"/>
                <a:gd name="T61" fmla="*/ 28 h 150"/>
                <a:gd name="T62" fmla="*/ 386 w 390"/>
                <a:gd name="T63" fmla="*/ 24 h 150"/>
                <a:gd name="T64" fmla="*/ 388 w 390"/>
                <a:gd name="T65" fmla="*/ 20 h 150"/>
                <a:gd name="T66" fmla="*/ 390 w 390"/>
                <a:gd name="T67" fmla="*/ 13 h 150"/>
                <a:gd name="T68" fmla="*/ 388 w 390"/>
                <a:gd name="T69"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0" h="150">
                  <a:moveTo>
                    <a:pt x="388" y="10"/>
                  </a:moveTo>
                  <a:lnTo>
                    <a:pt x="387" y="8"/>
                  </a:lnTo>
                  <a:lnTo>
                    <a:pt x="385" y="6"/>
                  </a:lnTo>
                  <a:lnTo>
                    <a:pt x="383" y="3"/>
                  </a:lnTo>
                  <a:lnTo>
                    <a:pt x="381" y="1"/>
                  </a:lnTo>
                  <a:lnTo>
                    <a:pt x="379" y="0"/>
                  </a:lnTo>
                  <a:lnTo>
                    <a:pt x="376" y="0"/>
                  </a:lnTo>
                  <a:lnTo>
                    <a:pt x="372" y="0"/>
                  </a:lnTo>
                  <a:lnTo>
                    <a:pt x="369" y="1"/>
                  </a:lnTo>
                  <a:lnTo>
                    <a:pt x="195" y="59"/>
                  </a:lnTo>
                  <a:lnTo>
                    <a:pt x="19" y="1"/>
                  </a:lnTo>
                  <a:lnTo>
                    <a:pt x="17" y="0"/>
                  </a:lnTo>
                  <a:lnTo>
                    <a:pt x="14" y="0"/>
                  </a:lnTo>
                  <a:lnTo>
                    <a:pt x="11" y="0"/>
                  </a:lnTo>
                  <a:lnTo>
                    <a:pt x="9" y="1"/>
                  </a:lnTo>
                  <a:lnTo>
                    <a:pt x="5" y="3"/>
                  </a:lnTo>
                  <a:lnTo>
                    <a:pt x="3" y="6"/>
                  </a:lnTo>
                  <a:lnTo>
                    <a:pt x="2" y="8"/>
                  </a:lnTo>
                  <a:lnTo>
                    <a:pt x="1" y="11"/>
                  </a:lnTo>
                  <a:lnTo>
                    <a:pt x="0" y="13"/>
                  </a:lnTo>
                  <a:lnTo>
                    <a:pt x="0" y="16"/>
                  </a:lnTo>
                  <a:lnTo>
                    <a:pt x="0" y="20"/>
                  </a:lnTo>
                  <a:lnTo>
                    <a:pt x="1" y="22"/>
                  </a:lnTo>
                  <a:lnTo>
                    <a:pt x="3" y="24"/>
                  </a:lnTo>
                  <a:lnTo>
                    <a:pt x="5" y="26"/>
                  </a:lnTo>
                  <a:lnTo>
                    <a:pt x="8" y="28"/>
                  </a:lnTo>
                  <a:lnTo>
                    <a:pt x="10" y="29"/>
                  </a:lnTo>
                  <a:lnTo>
                    <a:pt x="148" y="75"/>
                  </a:lnTo>
                  <a:lnTo>
                    <a:pt x="10" y="121"/>
                  </a:lnTo>
                  <a:lnTo>
                    <a:pt x="8" y="122"/>
                  </a:lnTo>
                  <a:lnTo>
                    <a:pt x="5" y="123"/>
                  </a:lnTo>
                  <a:lnTo>
                    <a:pt x="3" y="125"/>
                  </a:lnTo>
                  <a:lnTo>
                    <a:pt x="1" y="129"/>
                  </a:lnTo>
                  <a:lnTo>
                    <a:pt x="0" y="131"/>
                  </a:lnTo>
                  <a:lnTo>
                    <a:pt x="0" y="134"/>
                  </a:lnTo>
                  <a:lnTo>
                    <a:pt x="0" y="137"/>
                  </a:lnTo>
                  <a:lnTo>
                    <a:pt x="1" y="139"/>
                  </a:lnTo>
                  <a:lnTo>
                    <a:pt x="3" y="144"/>
                  </a:lnTo>
                  <a:lnTo>
                    <a:pt x="6" y="147"/>
                  </a:lnTo>
                  <a:lnTo>
                    <a:pt x="11" y="149"/>
                  </a:lnTo>
                  <a:lnTo>
                    <a:pt x="15" y="150"/>
                  </a:lnTo>
                  <a:lnTo>
                    <a:pt x="17" y="150"/>
                  </a:lnTo>
                  <a:lnTo>
                    <a:pt x="19" y="149"/>
                  </a:lnTo>
                  <a:lnTo>
                    <a:pt x="195" y="91"/>
                  </a:lnTo>
                  <a:lnTo>
                    <a:pt x="369" y="149"/>
                  </a:lnTo>
                  <a:lnTo>
                    <a:pt x="372" y="150"/>
                  </a:lnTo>
                  <a:lnTo>
                    <a:pt x="375" y="150"/>
                  </a:lnTo>
                  <a:lnTo>
                    <a:pt x="379" y="149"/>
                  </a:lnTo>
                  <a:lnTo>
                    <a:pt x="383" y="147"/>
                  </a:lnTo>
                  <a:lnTo>
                    <a:pt x="386" y="144"/>
                  </a:lnTo>
                  <a:lnTo>
                    <a:pt x="388" y="139"/>
                  </a:lnTo>
                  <a:lnTo>
                    <a:pt x="390" y="137"/>
                  </a:lnTo>
                  <a:lnTo>
                    <a:pt x="390" y="134"/>
                  </a:lnTo>
                  <a:lnTo>
                    <a:pt x="388" y="131"/>
                  </a:lnTo>
                  <a:lnTo>
                    <a:pt x="387" y="129"/>
                  </a:lnTo>
                  <a:lnTo>
                    <a:pt x="386" y="125"/>
                  </a:lnTo>
                  <a:lnTo>
                    <a:pt x="384" y="123"/>
                  </a:lnTo>
                  <a:lnTo>
                    <a:pt x="382" y="122"/>
                  </a:lnTo>
                  <a:lnTo>
                    <a:pt x="379" y="121"/>
                  </a:lnTo>
                  <a:lnTo>
                    <a:pt x="242" y="75"/>
                  </a:lnTo>
                  <a:lnTo>
                    <a:pt x="379" y="29"/>
                  </a:lnTo>
                  <a:lnTo>
                    <a:pt x="382" y="28"/>
                  </a:lnTo>
                  <a:lnTo>
                    <a:pt x="384" y="26"/>
                  </a:lnTo>
                  <a:lnTo>
                    <a:pt x="386" y="24"/>
                  </a:lnTo>
                  <a:lnTo>
                    <a:pt x="387" y="22"/>
                  </a:lnTo>
                  <a:lnTo>
                    <a:pt x="388" y="20"/>
                  </a:lnTo>
                  <a:lnTo>
                    <a:pt x="390" y="16"/>
                  </a:lnTo>
                  <a:lnTo>
                    <a:pt x="390" y="13"/>
                  </a:lnTo>
                  <a:lnTo>
                    <a:pt x="388" y="11"/>
                  </a:lnTo>
                  <a:lnTo>
                    <a:pt x="38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77">
              <a:extLst>
                <a:ext uri="{FF2B5EF4-FFF2-40B4-BE49-F238E27FC236}">
                  <a16:creationId xmlns:a16="http://schemas.microsoft.com/office/drawing/2014/main" id="{C1DD5064-62C0-4A10-982C-C2011848514E}"/>
                </a:ext>
              </a:extLst>
            </p:cNvPr>
            <p:cNvSpPr>
              <a:spLocks noEditPoints="1"/>
            </p:cNvSpPr>
            <p:nvPr/>
          </p:nvSpPr>
          <p:spPr bwMode="auto">
            <a:xfrm>
              <a:off x="996950" y="2535238"/>
              <a:ext cx="66675" cy="66675"/>
            </a:xfrm>
            <a:custGeom>
              <a:avLst/>
              <a:gdLst>
                <a:gd name="T0" fmla="*/ 120 w 210"/>
                <a:gd name="T1" fmla="*/ 31 h 210"/>
                <a:gd name="T2" fmla="*/ 140 w 210"/>
                <a:gd name="T3" fmla="*/ 39 h 210"/>
                <a:gd name="T4" fmla="*/ 157 w 210"/>
                <a:gd name="T5" fmla="*/ 52 h 210"/>
                <a:gd name="T6" fmla="*/ 170 w 210"/>
                <a:gd name="T7" fmla="*/ 70 h 210"/>
                <a:gd name="T8" fmla="*/ 179 w 210"/>
                <a:gd name="T9" fmla="*/ 90 h 210"/>
                <a:gd name="T10" fmla="*/ 180 w 210"/>
                <a:gd name="T11" fmla="*/ 113 h 210"/>
                <a:gd name="T12" fmla="*/ 173 w 210"/>
                <a:gd name="T13" fmla="*/ 134 h 210"/>
                <a:gd name="T14" fmla="*/ 163 w 210"/>
                <a:gd name="T15" fmla="*/ 152 h 210"/>
                <a:gd name="T16" fmla="*/ 147 w 210"/>
                <a:gd name="T17" fmla="*/ 167 h 210"/>
                <a:gd name="T18" fmla="*/ 127 w 210"/>
                <a:gd name="T19" fmla="*/ 177 h 210"/>
                <a:gd name="T20" fmla="*/ 105 w 210"/>
                <a:gd name="T21" fmla="*/ 180 h 210"/>
                <a:gd name="T22" fmla="*/ 82 w 210"/>
                <a:gd name="T23" fmla="*/ 177 h 210"/>
                <a:gd name="T24" fmla="*/ 63 w 210"/>
                <a:gd name="T25" fmla="*/ 167 h 210"/>
                <a:gd name="T26" fmla="*/ 47 w 210"/>
                <a:gd name="T27" fmla="*/ 152 h 210"/>
                <a:gd name="T28" fmla="*/ 35 w 210"/>
                <a:gd name="T29" fmla="*/ 134 h 210"/>
                <a:gd name="T30" fmla="*/ 30 w 210"/>
                <a:gd name="T31" fmla="*/ 113 h 210"/>
                <a:gd name="T32" fmla="*/ 31 w 210"/>
                <a:gd name="T33" fmla="*/ 90 h 210"/>
                <a:gd name="T34" fmla="*/ 38 w 210"/>
                <a:gd name="T35" fmla="*/ 70 h 210"/>
                <a:gd name="T36" fmla="*/ 51 w 210"/>
                <a:gd name="T37" fmla="*/ 52 h 210"/>
                <a:gd name="T38" fmla="*/ 69 w 210"/>
                <a:gd name="T39" fmla="*/ 39 h 210"/>
                <a:gd name="T40" fmla="*/ 90 w 210"/>
                <a:gd name="T41" fmla="*/ 31 h 210"/>
                <a:gd name="T42" fmla="*/ 105 w 210"/>
                <a:gd name="T43" fmla="*/ 30 h 210"/>
                <a:gd name="T44" fmla="*/ 126 w 210"/>
                <a:gd name="T45" fmla="*/ 208 h 210"/>
                <a:gd name="T46" fmla="*/ 155 w 210"/>
                <a:gd name="T47" fmla="*/ 197 h 210"/>
                <a:gd name="T48" fmla="*/ 179 w 210"/>
                <a:gd name="T49" fmla="*/ 179 h 210"/>
                <a:gd name="T50" fmla="*/ 197 w 210"/>
                <a:gd name="T51" fmla="*/ 155 h 210"/>
                <a:gd name="T52" fmla="*/ 208 w 210"/>
                <a:gd name="T53" fmla="*/ 127 h 210"/>
                <a:gd name="T54" fmla="*/ 209 w 210"/>
                <a:gd name="T55" fmla="*/ 94 h 210"/>
                <a:gd name="T56" fmla="*/ 201 w 210"/>
                <a:gd name="T57" fmla="*/ 65 h 210"/>
                <a:gd name="T58" fmla="*/ 186 w 210"/>
                <a:gd name="T59" fmla="*/ 39 h 210"/>
                <a:gd name="T60" fmla="*/ 164 w 210"/>
                <a:gd name="T61" fmla="*/ 19 h 210"/>
                <a:gd name="T62" fmla="*/ 136 w 210"/>
                <a:gd name="T63" fmla="*/ 5 h 210"/>
                <a:gd name="T64" fmla="*/ 105 w 210"/>
                <a:gd name="T65" fmla="*/ 0 h 210"/>
                <a:gd name="T66" fmla="*/ 74 w 210"/>
                <a:gd name="T67" fmla="*/ 5 h 210"/>
                <a:gd name="T68" fmla="*/ 46 w 210"/>
                <a:gd name="T69" fmla="*/ 19 h 210"/>
                <a:gd name="T70" fmla="*/ 23 w 210"/>
                <a:gd name="T71" fmla="*/ 39 h 210"/>
                <a:gd name="T72" fmla="*/ 8 w 210"/>
                <a:gd name="T73" fmla="*/ 65 h 210"/>
                <a:gd name="T74" fmla="*/ 0 w 210"/>
                <a:gd name="T75" fmla="*/ 94 h 210"/>
                <a:gd name="T76" fmla="*/ 2 w 210"/>
                <a:gd name="T77" fmla="*/ 127 h 210"/>
                <a:gd name="T78" fmla="*/ 13 w 210"/>
                <a:gd name="T79" fmla="*/ 155 h 210"/>
                <a:gd name="T80" fmla="*/ 31 w 210"/>
                <a:gd name="T81" fmla="*/ 179 h 210"/>
                <a:gd name="T82" fmla="*/ 55 w 210"/>
                <a:gd name="T83" fmla="*/ 197 h 210"/>
                <a:gd name="T84" fmla="*/ 83 w 210"/>
                <a:gd name="T85"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30"/>
                  </a:moveTo>
                  <a:lnTo>
                    <a:pt x="112" y="30"/>
                  </a:lnTo>
                  <a:lnTo>
                    <a:pt x="120" y="31"/>
                  </a:lnTo>
                  <a:lnTo>
                    <a:pt x="127" y="33"/>
                  </a:lnTo>
                  <a:lnTo>
                    <a:pt x="134" y="36"/>
                  </a:lnTo>
                  <a:lnTo>
                    <a:pt x="140" y="39"/>
                  </a:lnTo>
                  <a:lnTo>
                    <a:pt x="147" y="43"/>
                  </a:lnTo>
                  <a:lnTo>
                    <a:pt x="152" y="47"/>
                  </a:lnTo>
                  <a:lnTo>
                    <a:pt x="157" y="52"/>
                  </a:lnTo>
                  <a:lnTo>
                    <a:pt x="163" y="57"/>
                  </a:lnTo>
                  <a:lnTo>
                    <a:pt x="167" y="63"/>
                  </a:lnTo>
                  <a:lnTo>
                    <a:pt x="170" y="70"/>
                  </a:lnTo>
                  <a:lnTo>
                    <a:pt x="173" y="76"/>
                  </a:lnTo>
                  <a:lnTo>
                    <a:pt x="176" y="83"/>
                  </a:lnTo>
                  <a:lnTo>
                    <a:pt x="179" y="90"/>
                  </a:lnTo>
                  <a:lnTo>
                    <a:pt x="180" y="98"/>
                  </a:lnTo>
                  <a:lnTo>
                    <a:pt x="180" y="105"/>
                  </a:lnTo>
                  <a:lnTo>
                    <a:pt x="180" y="113"/>
                  </a:lnTo>
                  <a:lnTo>
                    <a:pt x="179" y="120"/>
                  </a:lnTo>
                  <a:lnTo>
                    <a:pt x="176" y="128"/>
                  </a:lnTo>
                  <a:lnTo>
                    <a:pt x="173" y="134"/>
                  </a:lnTo>
                  <a:lnTo>
                    <a:pt x="170" y="140"/>
                  </a:lnTo>
                  <a:lnTo>
                    <a:pt x="167" y="147"/>
                  </a:lnTo>
                  <a:lnTo>
                    <a:pt x="163" y="152"/>
                  </a:lnTo>
                  <a:lnTo>
                    <a:pt x="157" y="158"/>
                  </a:lnTo>
                  <a:lnTo>
                    <a:pt x="152" y="163"/>
                  </a:lnTo>
                  <a:lnTo>
                    <a:pt x="147" y="167"/>
                  </a:lnTo>
                  <a:lnTo>
                    <a:pt x="140" y="170"/>
                  </a:lnTo>
                  <a:lnTo>
                    <a:pt x="134" y="174"/>
                  </a:lnTo>
                  <a:lnTo>
                    <a:pt x="127" y="177"/>
                  </a:lnTo>
                  <a:lnTo>
                    <a:pt x="120" y="179"/>
                  </a:lnTo>
                  <a:lnTo>
                    <a:pt x="112" y="180"/>
                  </a:lnTo>
                  <a:lnTo>
                    <a:pt x="105" y="180"/>
                  </a:lnTo>
                  <a:lnTo>
                    <a:pt x="97" y="180"/>
                  </a:lnTo>
                  <a:lnTo>
                    <a:pt x="90" y="178"/>
                  </a:lnTo>
                  <a:lnTo>
                    <a:pt x="82" y="177"/>
                  </a:lnTo>
                  <a:lnTo>
                    <a:pt x="76" y="174"/>
                  </a:lnTo>
                  <a:lnTo>
                    <a:pt x="69" y="170"/>
                  </a:lnTo>
                  <a:lnTo>
                    <a:pt x="63" y="167"/>
                  </a:lnTo>
                  <a:lnTo>
                    <a:pt x="57" y="163"/>
                  </a:lnTo>
                  <a:lnTo>
                    <a:pt x="51" y="158"/>
                  </a:lnTo>
                  <a:lnTo>
                    <a:pt x="47" y="152"/>
                  </a:lnTo>
                  <a:lnTo>
                    <a:pt x="43" y="147"/>
                  </a:lnTo>
                  <a:lnTo>
                    <a:pt x="38" y="140"/>
                  </a:lnTo>
                  <a:lnTo>
                    <a:pt x="35" y="134"/>
                  </a:lnTo>
                  <a:lnTo>
                    <a:pt x="33" y="128"/>
                  </a:lnTo>
                  <a:lnTo>
                    <a:pt x="31" y="120"/>
                  </a:lnTo>
                  <a:lnTo>
                    <a:pt x="30" y="113"/>
                  </a:lnTo>
                  <a:lnTo>
                    <a:pt x="30" y="105"/>
                  </a:lnTo>
                  <a:lnTo>
                    <a:pt x="30" y="98"/>
                  </a:lnTo>
                  <a:lnTo>
                    <a:pt x="31" y="90"/>
                  </a:lnTo>
                  <a:lnTo>
                    <a:pt x="33" y="83"/>
                  </a:lnTo>
                  <a:lnTo>
                    <a:pt x="35" y="76"/>
                  </a:lnTo>
                  <a:lnTo>
                    <a:pt x="38" y="70"/>
                  </a:lnTo>
                  <a:lnTo>
                    <a:pt x="43" y="63"/>
                  </a:lnTo>
                  <a:lnTo>
                    <a:pt x="47" y="57"/>
                  </a:lnTo>
                  <a:lnTo>
                    <a:pt x="51" y="52"/>
                  </a:lnTo>
                  <a:lnTo>
                    <a:pt x="57" y="47"/>
                  </a:lnTo>
                  <a:lnTo>
                    <a:pt x="63" y="43"/>
                  </a:lnTo>
                  <a:lnTo>
                    <a:pt x="69" y="39"/>
                  </a:lnTo>
                  <a:lnTo>
                    <a:pt x="76" y="36"/>
                  </a:lnTo>
                  <a:lnTo>
                    <a:pt x="82" y="33"/>
                  </a:lnTo>
                  <a:lnTo>
                    <a:pt x="90" y="31"/>
                  </a:lnTo>
                  <a:lnTo>
                    <a:pt x="97" y="30"/>
                  </a:lnTo>
                  <a:lnTo>
                    <a:pt x="105" y="30"/>
                  </a:lnTo>
                  <a:lnTo>
                    <a:pt x="105" y="30"/>
                  </a:lnTo>
                  <a:close/>
                  <a:moveTo>
                    <a:pt x="105" y="210"/>
                  </a:moveTo>
                  <a:lnTo>
                    <a:pt x="115" y="209"/>
                  </a:lnTo>
                  <a:lnTo>
                    <a:pt x="126" y="208"/>
                  </a:lnTo>
                  <a:lnTo>
                    <a:pt x="136" y="206"/>
                  </a:lnTo>
                  <a:lnTo>
                    <a:pt x="145" y="201"/>
                  </a:lnTo>
                  <a:lnTo>
                    <a:pt x="155" y="197"/>
                  </a:lnTo>
                  <a:lnTo>
                    <a:pt x="164" y="192"/>
                  </a:lnTo>
                  <a:lnTo>
                    <a:pt x="171" y="186"/>
                  </a:lnTo>
                  <a:lnTo>
                    <a:pt x="179" y="179"/>
                  </a:lnTo>
                  <a:lnTo>
                    <a:pt x="186" y="171"/>
                  </a:lnTo>
                  <a:lnTo>
                    <a:pt x="191" y="164"/>
                  </a:lnTo>
                  <a:lnTo>
                    <a:pt x="197" y="155"/>
                  </a:lnTo>
                  <a:lnTo>
                    <a:pt x="201" y="146"/>
                  </a:lnTo>
                  <a:lnTo>
                    <a:pt x="205" y="136"/>
                  </a:lnTo>
                  <a:lnTo>
                    <a:pt x="208" y="127"/>
                  </a:lnTo>
                  <a:lnTo>
                    <a:pt x="209" y="116"/>
                  </a:lnTo>
                  <a:lnTo>
                    <a:pt x="210" y="105"/>
                  </a:lnTo>
                  <a:lnTo>
                    <a:pt x="209" y="94"/>
                  </a:lnTo>
                  <a:lnTo>
                    <a:pt x="208" y="84"/>
                  </a:lnTo>
                  <a:lnTo>
                    <a:pt x="205" y="74"/>
                  </a:lnTo>
                  <a:lnTo>
                    <a:pt x="201" y="65"/>
                  </a:lnTo>
                  <a:lnTo>
                    <a:pt x="197" y="55"/>
                  </a:lnTo>
                  <a:lnTo>
                    <a:pt x="191" y="46"/>
                  </a:lnTo>
                  <a:lnTo>
                    <a:pt x="186" y="39"/>
                  </a:lnTo>
                  <a:lnTo>
                    <a:pt x="179" y="31"/>
                  </a:lnTo>
                  <a:lnTo>
                    <a:pt x="171" y="24"/>
                  </a:lnTo>
                  <a:lnTo>
                    <a:pt x="164" y="19"/>
                  </a:lnTo>
                  <a:lnTo>
                    <a:pt x="155" y="13"/>
                  </a:lnTo>
                  <a:lnTo>
                    <a:pt x="145" y="9"/>
                  </a:lnTo>
                  <a:lnTo>
                    <a:pt x="136" y="5"/>
                  </a:lnTo>
                  <a:lnTo>
                    <a:pt x="126" y="2"/>
                  </a:lnTo>
                  <a:lnTo>
                    <a:pt x="115" y="0"/>
                  </a:lnTo>
                  <a:lnTo>
                    <a:pt x="105" y="0"/>
                  </a:lnTo>
                  <a:lnTo>
                    <a:pt x="94" y="0"/>
                  </a:lnTo>
                  <a:lnTo>
                    <a:pt x="83" y="2"/>
                  </a:lnTo>
                  <a:lnTo>
                    <a:pt x="74" y="5"/>
                  </a:lnTo>
                  <a:lnTo>
                    <a:pt x="64" y="9"/>
                  </a:lnTo>
                  <a:lnTo>
                    <a:pt x="55" y="13"/>
                  </a:lnTo>
                  <a:lnTo>
                    <a:pt x="46" y="19"/>
                  </a:lnTo>
                  <a:lnTo>
                    <a:pt x="38" y="24"/>
                  </a:lnTo>
                  <a:lnTo>
                    <a:pt x="31" y="31"/>
                  </a:lnTo>
                  <a:lnTo>
                    <a:pt x="23" y="39"/>
                  </a:lnTo>
                  <a:lnTo>
                    <a:pt x="18" y="46"/>
                  </a:lnTo>
                  <a:lnTo>
                    <a:pt x="13" y="55"/>
                  </a:lnTo>
                  <a:lnTo>
                    <a:pt x="8" y="65"/>
                  </a:lnTo>
                  <a:lnTo>
                    <a:pt x="4" y="74"/>
                  </a:lnTo>
                  <a:lnTo>
                    <a:pt x="2" y="84"/>
                  </a:lnTo>
                  <a:lnTo>
                    <a:pt x="0" y="94"/>
                  </a:lnTo>
                  <a:lnTo>
                    <a:pt x="0" y="105"/>
                  </a:lnTo>
                  <a:lnTo>
                    <a:pt x="0" y="116"/>
                  </a:lnTo>
                  <a:lnTo>
                    <a:pt x="2" y="127"/>
                  </a:lnTo>
                  <a:lnTo>
                    <a:pt x="4" y="136"/>
                  </a:lnTo>
                  <a:lnTo>
                    <a:pt x="8" y="146"/>
                  </a:lnTo>
                  <a:lnTo>
                    <a:pt x="13" y="155"/>
                  </a:lnTo>
                  <a:lnTo>
                    <a:pt x="18" y="164"/>
                  </a:lnTo>
                  <a:lnTo>
                    <a:pt x="23" y="171"/>
                  </a:lnTo>
                  <a:lnTo>
                    <a:pt x="31" y="179"/>
                  </a:lnTo>
                  <a:lnTo>
                    <a:pt x="38" y="186"/>
                  </a:lnTo>
                  <a:lnTo>
                    <a:pt x="46" y="192"/>
                  </a:lnTo>
                  <a:lnTo>
                    <a:pt x="55" y="197"/>
                  </a:lnTo>
                  <a:lnTo>
                    <a:pt x="64" y="201"/>
                  </a:lnTo>
                  <a:lnTo>
                    <a:pt x="74" y="206"/>
                  </a:lnTo>
                  <a:lnTo>
                    <a:pt x="83" y="208"/>
                  </a:lnTo>
                  <a:lnTo>
                    <a:pt x="94" y="209"/>
                  </a:lnTo>
                  <a:lnTo>
                    <a:pt x="105"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2" name="Group 27">
            <a:extLst>
              <a:ext uri="{FF2B5EF4-FFF2-40B4-BE49-F238E27FC236}">
                <a16:creationId xmlns:a16="http://schemas.microsoft.com/office/drawing/2014/main" id="{CA9FA35F-3CD6-4A23-BC9D-D588B35CBA2F}"/>
              </a:ext>
            </a:extLst>
          </p:cNvPr>
          <p:cNvGrpSpPr>
            <a:grpSpLocks noChangeAspect="1"/>
          </p:cNvGrpSpPr>
          <p:nvPr/>
        </p:nvGrpSpPr>
        <p:grpSpPr>
          <a:xfrm>
            <a:off x="3688633" y="2186361"/>
            <a:ext cx="229863" cy="306484"/>
            <a:chOff x="1484315" y="4841081"/>
            <a:chExt cx="428625" cy="571500"/>
          </a:xfrm>
          <a:solidFill>
            <a:schemeClr val="bg1"/>
          </a:solidFill>
          <a:effectLst/>
        </p:grpSpPr>
        <p:sp>
          <p:nvSpPr>
            <p:cNvPr id="643" name="Freeform 109">
              <a:extLst>
                <a:ext uri="{FF2B5EF4-FFF2-40B4-BE49-F238E27FC236}">
                  <a16:creationId xmlns:a16="http://schemas.microsoft.com/office/drawing/2014/main" id="{FA359796-FC4B-4B22-94BD-D107D6BC28ED}"/>
                </a:ext>
              </a:extLst>
            </p:cNvPr>
            <p:cNvSpPr>
              <a:spLocks noEditPoints="1"/>
            </p:cNvSpPr>
            <p:nvPr/>
          </p:nvSpPr>
          <p:spPr bwMode="auto">
            <a:xfrm>
              <a:off x="1595440" y="4944271"/>
              <a:ext cx="214315" cy="214315"/>
            </a:xfrm>
            <a:custGeom>
              <a:avLst/>
              <a:gdLst>
                <a:gd name="T0" fmla="*/ 40 w 81"/>
                <a:gd name="T1" fmla="*/ 82 h 82"/>
                <a:gd name="T2" fmla="*/ 56 w 81"/>
                <a:gd name="T3" fmla="*/ 79 h 82"/>
                <a:gd name="T4" fmla="*/ 69 w 81"/>
                <a:gd name="T5" fmla="*/ 69 h 82"/>
                <a:gd name="T6" fmla="*/ 78 w 81"/>
                <a:gd name="T7" fmla="*/ 57 h 82"/>
                <a:gd name="T8" fmla="*/ 81 w 81"/>
                <a:gd name="T9" fmla="*/ 41 h 82"/>
                <a:gd name="T10" fmla="*/ 80 w 81"/>
                <a:gd name="T11" fmla="*/ 32 h 82"/>
                <a:gd name="T12" fmla="*/ 73 w 81"/>
                <a:gd name="T13" fmla="*/ 18 h 82"/>
                <a:gd name="T14" fmla="*/ 63 w 81"/>
                <a:gd name="T15" fmla="*/ 7 h 82"/>
                <a:gd name="T16" fmla="*/ 48 w 81"/>
                <a:gd name="T17" fmla="*/ 1 h 82"/>
                <a:gd name="T18" fmla="*/ 40 w 81"/>
                <a:gd name="T19" fmla="*/ 0 h 82"/>
                <a:gd name="T20" fmla="*/ 24 w 81"/>
                <a:gd name="T21" fmla="*/ 4 h 82"/>
                <a:gd name="T22" fmla="*/ 11 w 81"/>
                <a:gd name="T23" fmla="*/ 12 h 82"/>
                <a:gd name="T24" fmla="*/ 3 w 81"/>
                <a:gd name="T25" fmla="*/ 25 h 82"/>
                <a:gd name="T26" fmla="*/ 0 w 81"/>
                <a:gd name="T27" fmla="*/ 41 h 82"/>
                <a:gd name="T28" fmla="*/ 1 w 81"/>
                <a:gd name="T29" fmla="*/ 49 h 82"/>
                <a:gd name="T30" fmla="*/ 7 w 81"/>
                <a:gd name="T31" fmla="*/ 63 h 82"/>
                <a:gd name="T32" fmla="*/ 17 w 81"/>
                <a:gd name="T33" fmla="*/ 74 h 82"/>
                <a:gd name="T34" fmla="*/ 31 w 81"/>
                <a:gd name="T35" fmla="*/ 81 h 82"/>
                <a:gd name="T36" fmla="*/ 40 w 81"/>
                <a:gd name="T37" fmla="*/ 82 h 82"/>
                <a:gd name="T38" fmla="*/ 40 w 81"/>
                <a:gd name="T39" fmla="*/ 7 h 82"/>
                <a:gd name="T40" fmla="*/ 53 w 81"/>
                <a:gd name="T41" fmla="*/ 10 h 82"/>
                <a:gd name="T42" fmla="*/ 64 w 81"/>
                <a:gd name="T43" fmla="*/ 17 h 82"/>
                <a:gd name="T44" fmla="*/ 71 w 81"/>
                <a:gd name="T45" fmla="*/ 27 h 82"/>
                <a:gd name="T46" fmla="*/ 74 w 81"/>
                <a:gd name="T47" fmla="*/ 41 h 82"/>
                <a:gd name="T48" fmla="*/ 73 w 81"/>
                <a:gd name="T49" fmla="*/ 48 h 82"/>
                <a:gd name="T50" fmla="*/ 68 w 81"/>
                <a:gd name="T51" fmla="*/ 60 h 82"/>
                <a:gd name="T52" fmla="*/ 59 w 81"/>
                <a:gd name="T53" fmla="*/ 69 h 82"/>
                <a:gd name="T54" fmla="*/ 47 w 81"/>
                <a:gd name="T55" fmla="*/ 74 h 82"/>
                <a:gd name="T56" fmla="*/ 40 w 81"/>
                <a:gd name="T57" fmla="*/ 74 h 82"/>
                <a:gd name="T58" fmla="*/ 27 w 81"/>
                <a:gd name="T59" fmla="*/ 72 h 82"/>
                <a:gd name="T60" fmla="*/ 16 w 81"/>
                <a:gd name="T61" fmla="*/ 65 h 82"/>
                <a:gd name="T62" fmla="*/ 9 w 81"/>
                <a:gd name="T63" fmla="*/ 54 h 82"/>
                <a:gd name="T64" fmla="*/ 6 w 81"/>
                <a:gd name="T65" fmla="*/ 41 h 82"/>
                <a:gd name="T66" fmla="*/ 7 w 81"/>
                <a:gd name="T67" fmla="*/ 34 h 82"/>
                <a:gd name="T68" fmla="*/ 12 w 81"/>
                <a:gd name="T69" fmla="*/ 22 h 82"/>
                <a:gd name="T70" fmla="*/ 21 w 81"/>
                <a:gd name="T71" fmla="*/ 13 h 82"/>
                <a:gd name="T72" fmla="*/ 33 w 81"/>
                <a:gd name="T73" fmla="*/ 8 h 82"/>
                <a:gd name="T74" fmla="*/ 40 w 81"/>
                <a:gd name="T7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2">
                  <a:moveTo>
                    <a:pt x="40" y="82"/>
                  </a:moveTo>
                  <a:lnTo>
                    <a:pt x="40" y="82"/>
                  </a:lnTo>
                  <a:lnTo>
                    <a:pt x="48" y="81"/>
                  </a:lnTo>
                  <a:lnTo>
                    <a:pt x="56" y="79"/>
                  </a:lnTo>
                  <a:lnTo>
                    <a:pt x="63" y="74"/>
                  </a:lnTo>
                  <a:lnTo>
                    <a:pt x="69" y="69"/>
                  </a:lnTo>
                  <a:lnTo>
                    <a:pt x="73" y="63"/>
                  </a:lnTo>
                  <a:lnTo>
                    <a:pt x="78" y="57"/>
                  </a:lnTo>
                  <a:lnTo>
                    <a:pt x="80" y="49"/>
                  </a:lnTo>
                  <a:lnTo>
                    <a:pt x="81" y="41"/>
                  </a:lnTo>
                  <a:lnTo>
                    <a:pt x="81" y="41"/>
                  </a:lnTo>
                  <a:lnTo>
                    <a:pt x="80" y="32"/>
                  </a:lnTo>
                  <a:lnTo>
                    <a:pt x="78" y="25"/>
                  </a:lnTo>
                  <a:lnTo>
                    <a:pt x="73" y="18"/>
                  </a:lnTo>
                  <a:lnTo>
                    <a:pt x="69" y="12"/>
                  </a:lnTo>
                  <a:lnTo>
                    <a:pt x="63" y="7"/>
                  </a:lnTo>
                  <a:lnTo>
                    <a:pt x="56" y="4"/>
                  </a:lnTo>
                  <a:lnTo>
                    <a:pt x="48" y="1"/>
                  </a:lnTo>
                  <a:lnTo>
                    <a:pt x="40" y="0"/>
                  </a:lnTo>
                  <a:lnTo>
                    <a:pt x="40" y="0"/>
                  </a:lnTo>
                  <a:lnTo>
                    <a:pt x="31" y="1"/>
                  </a:lnTo>
                  <a:lnTo>
                    <a:pt x="24" y="4"/>
                  </a:lnTo>
                  <a:lnTo>
                    <a:pt x="17" y="7"/>
                  </a:lnTo>
                  <a:lnTo>
                    <a:pt x="11" y="12"/>
                  </a:lnTo>
                  <a:lnTo>
                    <a:pt x="7" y="18"/>
                  </a:lnTo>
                  <a:lnTo>
                    <a:pt x="3" y="25"/>
                  </a:lnTo>
                  <a:lnTo>
                    <a:pt x="1" y="32"/>
                  </a:lnTo>
                  <a:lnTo>
                    <a:pt x="0" y="41"/>
                  </a:lnTo>
                  <a:lnTo>
                    <a:pt x="0" y="41"/>
                  </a:lnTo>
                  <a:lnTo>
                    <a:pt x="1" y="49"/>
                  </a:lnTo>
                  <a:lnTo>
                    <a:pt x="3" y="57"/>
                  </a:lnTo>
                  <a:lnTo>
                    <a:pt x="7" y="63"/>
                  </a:lnTo>
                  <a:lnTo>
                    <a:pt x="11" y="69"/>
                  </a:lnTo>
                  <a:lnTo>
                    <a:pt x="17" y="74"/>
                  </a:lnTo>
                  <a:lnTo>
                    <a:pt x="24" y="79"/>
                  </a:lnTo>
                  <a:lnTo>
                    <a:pt x="31" y="81"/>
                  </a:lnTo>
                  <a:lnTo>
                    <a:pt x="40" y="82"/>
                  </a:lnTo>
                  <a:lnTo>
                    <a:pt x="40" y="82"/>
                  </a:lnTo>
                  <a:close/>
                  <a:moveTo>
                    <a:pt x="40" y="7"/>
                  </a:moveTo>
                  <a:lnTo>
                    <a:pt x="40" y="7"/>
                  </a:lnTo>
                  <a:lnTo>
                    <a:pt x="47" y="8"/>
                  </a:lnTo>
                  <a:lnTo>
                    <a:pt x="53" y="10"/>
                  </a:lnTo>
                  <a:lnTo>
                    <a:pt x="59" y="13"/>
                  </a:lnTo>
                  <a:lnTo>
                    <a:pt x="64" y="17"/>
                  </a:lnTo>
                  <a:lnTo>
                    <a:pt x="68" y="22"/>
                  </a:lnTo>
                  <a:lnTo>
                    <a:pt x="71" y="27"/>
                  </a:lnTo>
                  <a:lnTo>
                    <a:pt x="73" y="34"/>
                  </a:lnTo>
                  <a:lnTo>
                    <a:pt x="74" y="41"/>
                  </a:lnTo>
                  <a:lnTo>
                    <a:pt x="74" y="41"/>
                  </a:lnTo>
                  <a:lnTo>
                    <a:pt x="73" y="48"/>
                  </a:lnTo>
                  <a:lnTo>
                    <a:pt x="71" y="54"/>
                  </a:lnTo>
                  <a:lnTo>
                    <a:pt x="68" y="60"/>
                  </a:lnTo>
                  <a:lnTo>
                    <a:pt x="64" y="65"/>
                  </a:lnTo>
                  <a:lnTo>
                    <a:pt x="59" y="69"/>
                  </a:lnTo>
                  <a:lnTo>
                    <a:pt x="53" y="72"/>
                  </a:lnTo>
                  <a:lnTo>
                    <a:pt x="47" y="74"/>
                  </a:lnTo>
                  <a:lnTo>
                    <a:pt x="40" y="74"/>
                  </a:lnTo>
                  <a:lnTo>
                    <a:pt x="40" y="74"/>
                  </a:lnTo>
                  <a:lnTo>
                    <a:pt x="33" y="74"/>
                  </a:lnTo>
                  <a:lnTo>
                    <a:pt x="27" y="72"/>
                  </a:lnTo>
                  <a:lnTo>
                    <a:pt x="21" y="69"/>
                  </a:lnTo>
                  <a:lnTo>
                    <a:pt x="16" y="65"/>
                  </a:lnTo>
                  <a:lnTo>
                    <a:pt x="12" y="60"/>
                  </a:lnTo>
                  <a:lnTo>
                    <a:pt x="9" y="54"/>
                  </a:lnTo>
                  <a:lnTo>
                    <a:pt x="7" y="48"/>
                  </a:lnTo>
                  <a:lnTo>
                    <a:pt x="6" y="41"/>
                  </a:lnTo>
                  <a:lnTo>
                    <a:pt x="6" y="41"/>
                  </a:lnTo>
                  <a:lnTo>
                    <a:pt x="7" y="34"/>
                  </a:lnTo>
                  <a:lnTo>
                    <a:pt x="9" y="27"/>
                  </a:lnTo>
                  <a:lnTo>
                    <a:pt x="12" y="22"/>
                  </a:lnTo>
                  <a:lnTo>
                    <a:pt x="16" y="17"/>
                  </a:lnTo>
                  <a:lnTo>
                    <a:pt x="21" y="13"/>
                  </a:lnTo>
                  <a:lnTo>
                    <a:pt x="27" y="10"/>
                  </a:lnTo>
                  <a:lnTo>
                    <a:pt x="33" y="8"/>
                  </a:lnTo>
                  <a:lnTo>
                    <a:pt x="40" y="7"/>
                  </a:lnTo>
                  <a:lnTo>
                    <a:pt x="4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44" name="Freeform 110">
              <a:extLst>
                <a:ext uri="{FF2B5EF4-FFF2-40B4-BE49-F238E27FC236}">
                  <a16:creationId xmlns:a16="http://schemas.microsoft.com/office/drawing/2014/main" id="{3303026D-D055-4B4D-923E-DBF0EA0C49FF}"/>
                </a:ext>
              </a:extLst>
            </p:cNvPr>
            <p:cNvSpPr>
              <a:spLocks noEditPoints="1"/>
            </p:cNvSpPr>
            <p:nvPr/>
          </p:nvSpPr>
          <p:spPr bwMode="auto">
            <a:xfrm>
              <a:off x="1484315" y="4841081"/>
              <a:ext cx="428625" cy="571500"/>
            </a:xfrm>
            <a:custGeom>
              <a:avLst/>
              <a:gdLst>
                <a:gd name="T0" fmla="*/ 81 w 163"/>
                <a:gd name="T1" fmla="*/ 0 h 217"/>
                <a:gd name="T2" fmla="*/ 64 w 163"/>
                <a:gd name="T3" fmla="*/ 2 h 217"/>
                <a:gd name="T4" fmla="*/ 50 w 163"/>
                <a:gd name="T5" fmla="*/ 7 h 217"/>
                <a:gd name="T6" fmla="*/ 35 w 163"/>
                <a:gd name="T7" fmla="*/ 14 h 217"/>
                <a:gd name="T8" fmla="*/ 23 w 163"/>
                <a:gd name="T9" fmla="*/ 24 h 217"/>
                <a:gd name="T10" fmla="*/ 14 w 163"/>
                <a:gd name="T11" fmla="*/ 35 h 217"/>
                <a:gd name="T12" fmla="*/ 6 w 163"/>
                <a:gd name="T13" fmla="*/ 50 h 217"/>
                <a:gd name="T14" fmla="*/ 2 w 163"/>
                <a:gd name="T15" fmla="*/ 65 h 217"/>
                <a:gd name="T16" fmla="*/ 0 w 163"/>
                <a:gd name="T17" fmla="*/ 82 h 217"/>
                <a:gd name="T18" fmla="*/ 1 w 163"/>
                <a:gd name="T19" fmla="*/ 91 h 217"/>
                <a:gd name="T20" fmla="*/ 4 w 163"/>
                <a:gd name="T21" fmla="*/ 108 h 217"/>
                <a:gd name="T22" fmla="*/ 14 w 163"/>
                <a:gd name="T23" fmla="*/ 135 h 217"/>
                <a:gd name="T24" fmla="*/ 34 w 163"/>
                <a:gd name="T25" fmla="*/ 168 h 217"/>
                <a:gd name="T26" fmla="*/ 70 w 163"/>
                <a:gd name="T27" fmla="*/ 212 h 217"/>
                <a:gd name="T28" fmla="*/ 73 w 163"/>
                <a:gd name="T29" fmla="*/ 215 h 217"/>
                <a:gd name="T30" fmla="*/ 81 w 163"/>
                <a:gd name="T31" fmla="*/ 217 h 217"/>
                <a:gd name="T32" fmla="*/ 82 w 163"/>
                <a:gd name="T33" fmla="*/ 217 h 217"/>
                <a:gd name="T34" fmla="*/ 86 w 163"/>
                <a:gd name="T35" fmla="*/ 216 h 217"/>
                <a:gd name="T36" fmla="*/ 92 w 163"/>
                <a:gd name="T37" fmla="*/ 212 h 217"/>
                <a:gd name="T38" fmla="*/ 115 w 163"/>
                <a:gd name="T39" fmla="*/ 183 h 217"/>
                <a:gd name="T40" fmla="*/ 138 w 163"/>
                <a:gd name="T41" fmla="*/ 151 h 217"/>
                <a:gd name="T42" fmla="*/ 155 w 163"/>
                <a:gd name="T43" fmla="*/ 118 h 217"/>
                <a:gd name="T44" fmla="*/ 161 w 163"/>
                <a:gd name="T45" fmla="*/ 99 h 217"/>
                <a:gd name="T46" fmla="*/ 163 w 163"/>
                <a:gd name="T47" fmla="*/ 82 h 217"/>
                <a:gd name="T48" fmla="*/ 162 w 163"/>
                <a:gd name="T49" fmla="*/ 73 h 217"/>
                <a:gd name="T50" fmla="*/ 159 w 163"/>
                <a:gd name="T51" fmla="*/ 57 h 217"/>
                <a:gd name="T52" fmla="*/ 152 w 163"/>
                <a:gd name="T53" fmla="*/ 43 h 217"/>
                <a:gd name="T54" fmla="*/ 144 w 163"/>
                <a:gd name="T55" fmla="*/ 29 h 217"/>
                <a:gd name="T56" fmla="*/ 133 w 163"/>
                <a:gd name="T57" fmla="*/ 18 h 217"/>
                <a:gd name="T58" fmla="*/ 120 w 163"/>
                <a:gd name="T59" fmla="*/ 10 h 217"/>
                <a:gd name="T60" fmla="*/ 105 w 163"/>
                <a:gd name="T61" fmla="*/ 4 h 217"/>
                <a:gd name="T62" fmla="*/ 90 w 163"/>
                <a:gd name="T63" fmla="*/ 1 h 217"/>
                <a:gd name="T64" fmla="*/ 81 w 163"/>
                <a:gd name="T65" fmla="*/ 0 h 217"/>
                <a:gd name="T66" fmla="*/ 82 w 163"/>
                <a:gd name="T67" fmla="*/ 203 h 217"/>
                <a:gd name="T68" fmla="*/ 81 w 163"/>
                <a:gd name="T69" fmla="*/ 204 h 217"/>
                <a:gd name="T70" fmla="*/ 80 w 163"/>
                <a:gd name="T71" fmla="*/ 203 h 217"/>
                <a:gd name="T72" fmla="*/ 48 w 163"/>
                <a:gd name="T73" fmla="*/ 164 h 217"/>
                <a:gd name="T74" fmla="*/ 28 w 163"/>
                <a:gd name="T75" fmla="*/ 132 h 217"/>
                <a:gd name="T76" fmla="*/ 17 w 163"/>
                <a:gd name="T77" fmla="*/ 106 h 217"/>
                <a:gd name="T78" fmla="*/ 14 w 163"/>
                <a:gd name="T79" fmla="*/ 90 h 217"/>
                <a:gd name="T80" fmla="*/ 13 w 163"/>
                <a:gd name="T81" fmla="*/ 82 h 217"/>
                <a:gd name="T82" fmla="*/ 15 w 163"/>
                <a:gd name="T83" fmla="*/ 68 h 217"/>
                <a:gd name="T84" fmla="*/ 18 w 163"/>
                <a:gd name="T85" fmla="*/ 55 h 217"/>
                <a:gd name="T86" fmla="*/ 25 w 163"/>
                <a:gd name="T87" fmla="*/ 44 h 217"/>
                <a:gd name="T88" fmla="*/ 33 w 163"/>
                <a:gd name="T89" fmla="*/ 33 h 217"/>
                <a:gd name="T90" fmla="*/ 43 w 163"/>
                <a:gd name="T91" fmla="*/ 25 h 217"/>
                <a:gd name="T92" fmla="*/ 55 w 163"/>
                <a:gd name="T93" fmla="*/ 19 h 217"/>
                <a:gd name="T94" fmla="*/ 67 w 163"/>
                <a:gd name="T95" fmla="*/ 15 h 217"/>
                <a:gd name="T96" fmla="*/ 81 w 163"/>
                <a:gd name="T97" fmla="*/ 14 h 217"/>
                <a:gd name="T98" fmla="*/ 88 w 163"/>
                <a:gd name="T99" fmla="*/ 14 h 217"/>
                <a:gd name="T100" fmla="*/ 101 w 163"/>
                <a:gd name="T101" fmla="*/ 17 h 217"/>
                <a:gd name="T102" fmla="*/ 113 w 163"/>
                <a:gd name="T103" fmla="*/ 22 h 217"/>
                <a:gd name="T104" fmla="*/ 125 w 163"/>
                <a:gd name="T105" fmla="*/ 29 h 217"/>
                <a:gd name="T106" fmla="*/ 133 w 163"/>
                <a:gd name="T107" fmla="*/ 39 h 217"/>
                <a:gd name="T108" fmla="*/ 141 w 163"/>
                <a:gd name="T109" fmla="*/ 49 h 217"/>
                <a:gd name="T110" fmla="*/ 146 w 163"/>
                <a:gd name="T111" fmla="*/ 61 h 217"/>
                <a:gd name="T112" fmla="*/ 148 w 163"/>
                <a:gd name="T113" fmla="*/ 74 h 217"/>
                <a:gd name="T114" fmla="*/ 149 w 163"/>
                <a:gd name="T115" fmla="*/ 82 h 217"/>
                <a:gd name="T116" fmla="*/ 147 w 163"/>
                <a:gd name="T117" fmla="*/ 98 h 217"/>
                <a:gd name="T118" fmla="*/ 142 w 163"/>
                <a:gd name="T119" fmla="*/ 115 h 217"/>
                <a:gd name="T120" fmla="*/ 125 w 163"/>
                <a:gd name="T121" fmla="*/ 148 h 217"/>
                <a:gd name="T122" fmla="*/ 103 w 163"/>
                <a:gd name="T123" fmla="*/ 178 h 217"/>
                <a:gd name="T124" fmla="*/ 82 w 163"/>
                <a:gd name="T125" fmla="*/ 20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217">
                  <a:moveTo>
                    <a:pt x="81" y="0"/>
                  </a:moveTo>
                  <a:lnTo>
                    <a:pt x="81" y="0"/>
                  </a:lnTo>
                  <a:lnTo>
                    <a:pt x="72" y="1"/>
                  </a:lnTo>
                  <a:lnTo>
                    <a:pt x="64" y="2"/>
                  </a:lnTo>
                  <a:lnTo>
                    <a:pt x="57" y="4"/>
                  </a:lnTo>
                  <a:lnTo>
                    <a:pt x="50" y="7"/>
                  </a:lnTo>
                  <a:lnTo>
                    <a:pt x="43" y="10"/>
                  </a:lnTo>
                  <a:lnTo>
                    <a:pt x="35" y="14"/>
                  </a:lnTo>
                  <a:lnTo>
                    <a:pt x="29" y="18"/>
                  </a:lnTo>
                  <a:lnTo>
                    <a:pt x="23" y="24"/>
                  </a:lnTo>
                  <a:lnTo>
                    <a:pt x="18" y="29"/>
                  </a:lnTo>
                  <a:lnTo>
                    <a:pt x="14" y="35"/>
                  </a:lnTo>
                  <a:lnTo>
                    <a:pt x="10" y="43"/>
                  </a:lnTo>
                  <a:lnTo>
                    <a:pt x="6" y="50"/>
                  </a:lnTo>
                  <a:lnTo>
                    <a:pt x="4" y="57"/>
                  </a:lnTo>
                  <a:lnTo>
                    <a:pt x="2" y="65"/>
                  </a:lnTo>
                  <a:lnTo>
                    <a:pt x="0" y="73"/>
                  </a:lnTo>
                  <a:lnTo>
                    <a:pt x="0" y="82"/>
                  </a:lnTo>
                  <a:lnTo>
                    <a:pt x="0" y="82"/>
                  </a:lnTo>
                  <a:lnTo>
                    <a:pt x="1" y="91"/>
                  </a:lnTo>
                  <a:lnTo>
                    <a:pt x="2" y="99"/>
                  </a:lnTo>
                  <a:lnTo>
                    <a:pt x="4" y="108"/>
                  </a:lnTo>
                  <a:lnTo>
                    <a:pt x="7" y="118"/>
                  </a:lnTo>
                  <a:lnTo>
                    <a:pt x="14" y="135"/>
                  </a:lnTo>
                  <a:lnTo>
                    <a:pt x="24" y="151"/>
                  </a:lnTo>
                  <a:lnTo>
                    <a:pt x="34" y="168"/>
                  </a:lnTo>
                  <a:lnTo>
                    <a:pt x="47" y="183"/>
                  </a:lnTo>
                  <a:lnTo>
                    <a:pt x="70" y="212"/>
                  </a:lnTo>
                  <a:lnTo>
                    <a:pt x="70" y="212"/>
                  </a:lnTo>
                  <a:lnTo>
                    <a:pt x="73" y="215"/>
                  </a:lnTo>
                  <a:lnTo>
                    <a:pt x="76" y="216"/>
                  </a:lnTo>
                  <a:lnTo>
                    <a:pt x="81" y="217"/>
                  </a:lnTo>
                  <a:lnTo>
                    <a:pt x="81" y="217"/>
                  </a:lnTo>
                  <a:lnTo>
                    <a:pt x="82" y="217"/>
                  </a:lnTo>
                  <a:lnTo>
                    <a:pt x="82" y="217"/>
                  </a:lnTo>
                  <a:lnTo>
                    <a:pt x="86" y="216"/>
                  </a:lnTo>
                  <a:lnTo>
                    <a:pt x="89" y="215"/>
                  </a:lnTo>
                  <a:lnTo>
                    <a:pt x="92" y="212"/>
                  </a:lnTo>
                  <a:lnTo>
                    <a:pt x="92" y="212"/>
                  </a:lnTo>
                  <a:lnTo>
                    <a:pt x="115" y="183"/>
                  </a:lnTo>
                  <a:lnTo>
                    <a:pt x="128" y="168"/>
                  </a:lnTo>
                  <a:lnTo>
                    <a:pt x="138" y="151"/>
                  </a:lnTo>
                  <a:lnTo>
                    <a:pt x="148" y="135"/>
                  </a:lnTo>
                  <a:lnTo>
                    <a:pt x="155" y="118"/>
                  </a:lnTo>
                  <a:lnTo>
                    <a:pt x="159" y="108"/>
                  </a:lnTo>
                  <a:lnTo>
                    <a:pt x="161" y="99"/>
                  </a:lnTo>
                  <a:lnTo>
                    <a:pt x="162" y="91"/>
                  </a:lnTo>
                  <a:lnTo>
                    <a:pt x="163" y="82"/>
                  </a:lnTo>
                  <a:lnTo>
                    <a:pt x="163" y="82"/>
                  </a:lnTo>
                  <a:lnTo>
                    <a:pt x="162" y="73"/>
                  </a:lnTo>
                  <a:lnTo>
                    <a:pt x="161" y="65"/>
                  </a:lnTo>
                  <a:lnTo>
                    <a:pt x="159" y="57"/>
                  </a:lnTo>
                  <a:lnTo>
                    <a:pt x="156" y="50"/>
                  </a:lnTo>
                  <a:lnTo>
                    <a:pt x="152" y="43"/>
                  </a:lnTo>
                  <a:lnTo>
                    <a:pt x="148" y="35"/>
                  </a:lnTo>
                  <a:lnTo>
                    <a:pt x="144" y="29"/>
                  </a:lnTo>
                  <a:lnTo>
                    <a:pt x="139" y="24"/>
                  </a:lnTo>
                  <a:lnTo>
                    <a:pt x="133" y="18"/>
                  </a:lnTo>
                  <a:lnTo>
                    <a:pt x="127" y="14"/>
                  </a:lnTo>
                  <a:lnTo>
                    <a:pt x="120" y="10"/>
                  </a:lnTo>
                  <a:lnTo>
                    <a:pt x="112" y="7"/>
                  </a:lnTo>
                  <a:lnTo>
                    <a:pt x="105" y="4"/>
                  </a:lnTo>
                  <a:lnTo>
                    <a:pt x="97" y="2"/>
                  </a:lnTo>
                  <a:lnTo>
                    <a:pt x="90" y="1"/>
                  </a:lnTo>
                  <a:lnTo>
                    <a:pt x="81" y="0"/>
                  </a:lnTo>
                  <a:lnTo>
                    <a:pt x="81" y="0"/>
                  </a:lnTo>
                  <a:close/>
                  <a:moveTo>
                    <a:pt x="82" y="203"/>
                  </a:moveTo>
                  <a:lnTo>
                    <a:pt x="82" y="203"/>
                  </a:lnTo>
                  <a:lnTo>
                    <a:pt x="81" y="204"/>
                  </a:lnTo>
                  <a:lnTo>
                    <a:pt x="81" y="204"/>
                  </a:lnTo>
                  <a:lnTo>
                    <a:pt x="80" y="203"/>
                  </a:lnTo>
                  <a:lnTo>
                    <a:pt x="80" y="203"/>
                  </a:lnTo>
                  <a:lnTo>
                    <a:pt x="59" y="178"/>
                  </a:lnTo>
                  <a:lnTo>
                    <a:pt x="48" y="164"/>
                  </a:lnTo>
                  <a:lnTo>
                    <a:pt x="37" y="148"/>
                  </a:lnTo>
                  <a:lnTo>
                    <a:pt x="28" y="132"/>
                  </a:lnTo>
                  <a:lnTo>
                    <a:pt x="20" y="115"/>
                  </a:lnTo>
                  <a:lnTo>
                    <a:pt x="17" y="106"/>
                  </a:lnTo>
                  <a:lnTo>
                    <a:pt x="15" y="98"/>
                  </a:lnTo>
                  <a:lnTo>
                    <a:pt x="14" y="90"/>
                  </a:lnTo>
                  <a:lnTo>
                    <a:pt x="13" y="82"/>
                  </a:lnTo>
                  <a:lnTo>
                    <a:pt x="13" y="82"/>
                  </a:lnTo>
                  <a:lnTo>
                    <a:pt x="14" y="74"/>
                  </a:lnTo>
                  <a:lnTo>
                    <a:pt x="15" y="68"/>
                  </a:lnTo>
                  <a:lnTo>
                    <a:pt x="16" y="61"/>
                  </a:lnTo>
                  <a:lnTo>
                    <a:pt x="18" y="55"/>
                  </a:lnTo>
                  <a:lnTo>
                    <a:pt x="21" y="49"/>
                  </a:lnTo>
                  <a:lnTo>
                    <a:pt x="25" y="44"/>
                  </a:lnTo>
                  <a:lnTo>
                    <a:pt x="28" y="39"/>
                  </a:lnTo>
                  <a:lnTo>
                    <a:pt x="33" y="33"/>
                  </a:lnTo>
                  <a:lnTo>
                    <a:pt x="37" y="29"/>
                  </a:lnTo>
                  <a:lnTo>
                    <a:pt x="43" y="25"/>
                  </a:lnTo>
                  <a:lnTo>
                    <a:pt x="49" y="22"/>
                  </a:lnTo>
                  <a:lnTo>
                    <a:pt x="55" y="19"/>
                  </a:lnTo>
                  <a:lnTo>
                    <a:pt x="61" y="17"/>
                  </a:lnTo>
                  <a:lnTo>
                    <a:pt x="67" y="15"/>
                  </a:lnTo>
                  <a:lnTo>
                    <a:pt x="74" y="14"/>
                  </a:lnTo>
                  <a:lnTo>
                    <a:pt x="81" y="14"/>
                  </a:lnTo>
                  <a:lnTo>
                    <a:pt x="81" y="14"/>
                  </a:lnTo>
                  <a:lnTo>
                    <a:pt x="88" y="14"/>
                  </a:lnTo>
                  <a:lnTo>
                    <a:pt x="95" y="15"/>
                  </a:lnTo>
                  <a:lnTo>
                    <a:pt x="101" y="17"/>
                  </a:lnTo>
                  <a:lnTo>
                    <a:pt x="107" y="19"/>
                  </a:lnTo>
                  <a:lnTo>
                    <a:pt x="113" y="22"/>
                  </a:lnTo>
                  <a:lnTo>
                    <a:pt x="119" y="25"/>
                  </a:lnTo>
                  <a:lnTo>
                    <a:pt x="125" y="29"/>
                  </a:lnTo>
                  <a:lnTo>
                    <a:pt x="129" y="33"/>
                  </a:lnTo>
                  <a:lnTo>
                    <a:pt x="133" y="39"/>
                  </a:lnTo>
                  <a:lnTo>
                    <a:pt x="137" y="44"/>
                  </a:lnTo>
                  <a:lnTo>
                    <a:pt x="141" y="49"/>
                  </a:lnTo>
                  <a:lnTo>
                    <a:pt x="143" y="55"/>
                  </a:lnTo>
                  <a:lnTo>
                    <a:pt x="146" y="61"/>
                  </a:lnTo>
                  <a:lnTo>
                    <a:pt x="147" y="68"/>
                  </a:lnTo>
                  <a:lnTo>
                    <a:pt x="148" y="74"/>
                  </a:lnTo>
                  <a:lnTo>
                    <a:pt x="149" y="82"/>
                  </a:lnTo>
                  <a:lnTo>
                    <a:pt x="149" y="82"/>
                  </a:lnTo>
                  <a:lnTo>
                    <a:pt x="148" y="90"/>
                  </a:lnTo>
                  <a:lnTo>
                    <a:pt x="147" y="98"/>
                  </a:lnTo>
                  <a:lnTo>
                    <a:pt x="145" y="106"/>
                  </a:lnTo>
                  <a:lnTo>
                    <a:pt x="142" y="115"/>
                  </a:lnTo>
                  <a:lnTo>
                    <a:pt x="134" y="132"/>
                  </a:lnTo>
                  <a:lnTo>
                    <a:pt x="125" y="148"/>
                  </a:lnTo>
                  <a:lnTo>
                    <a:pt x="114" y="164"/>
                  </a:lnTo>
                  <a:lnTo>
                    <a:pt x="103" y="178"/>
                  </a:lnTo>
                  <a:lnTo>
                    <a:pt x="82" y="203"/>
                  </a:lnTo>
                  <a:lnTo>
                    <a:pt x="82"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74" name="Gruppieren 673">
            <a:extLst>
              <a:ext uri="{FF2B5EF4-FFF2-40B4-BE49-F238E27FC236}">
                <a16:creationId xmlns:a16="http://schemas.microsoft.com/office/drawing/2014/main" id="{DBE688EB-1255-4612-AFE1-24F02634B91E}"/>
              </a:ext>
            </a:extLst>
          </p:cNvPr>
          <p:cNvGrpSpPr>
            <a:grpSpLocks noChangeAspect="1"/>
          </p:cNvGrpSpPr>
          <p:nvPr/>
        </p:nvGrpSpPr>
        <p:grpSpPr>
          <a:xfrm>
            <a:off x="4085101" y="2186361"/>
            <a:ext cx="204322" cy="306484"/>
            <a:chOff x="5057203" y="2130473"/>
            <a:chExt cx="179243" cy="268866"/>
          </a:xfrm>
          <a:solidFill>
            <a:schemeClr val="bg1"/>
          </a:solidFill>
          <a:effectLst/>
        </p:grpSpPr>
        <p:sp>
          <p:nvSpPr>
            <p:cNvPr id="675" name="Freeform 91">
              <a:extLst>
                <a:ext uri="{FF2B5EF4-FFF2-40B4-BE49-F238E27FC236}">
                  <a16:creationId xmlns:a16="http://schemas.microsoft.com/office/drawing/2014/main" id="{03079BF6-7C9C-4D5D-82D6-442DDD057285}"/>
                </a:ext>
              </a:extLst>
            </p:cNvPr>
            <p:cNvSpPr>
              <a:spLocks/>
            </p:cNvSpPr>
            <p:nvPr/>
          </p:nvSpPr>
          <p:spPr bwMode="auto">
            <a:xfrm>
              <a:off x="5088570" y="2354528"/>
              <a:ext cx="116508" cy="44811"/>
            </a:xfrm>
            <a:custGeom>
              <a:avLst/>
              <a:gdLst>
                <a:gd name="T0" fmla="*/ 387 w 389"/>
                <a:gd name="T1" fmla="*/ 8 h 150"/>
                <a:gd name="T2" fmla="*/ 383 w 389"/>
                <a:gd name="T3" fmla="*/ 3 h 150"/>
                <a:gd name="T4" fmla="*/ 377 w 389"/>
                <a:gd name="T5" fmla="*/ 0 h 150"/>
                <a:gd name="T6" fmla="*/ 372 w 389"/>
                <a:gd name="T7" fmla="*/ 0 h 150"/>
                <a:gd name="T8" fmla="*/ 194 w 389"/>
                <a:gd name="T9" fmla="*/ 59 h 150"/>
                <a:gd name="T10" fmla="*/ 16 w 389"/>
                <a:gd name="T11" fmla="*/ 0 h 150"/>
                <a:gd name="T12" fmla="*/ 10 w 389"/>
                <a:gd name="T13" fmla="*/ 0 h 150"/>
                <a:gd name="T14" fmla="*/ 5 w 389"/>
                <a:gd name="T15" fmla="*/ 3 h 150"/>
                <a:gd name="T16" fmla="*/ 2 w 389"/>
                <a:gd name="T17" fmla="*/ 8 h 150"/>
                <a:gd name="T18" fmla="*/ 0 w 389"/>
                <a:gd name="T19" fmla="*/ 13 h 150"/>
                <a:gd name="T20" fmla="*/ 0 w 389"/>
                <a:gd name="T21" fmla="*/ 20 h 150"/>
                <a:gd name="T22" fmla="*/ 3 w 389"/>
                <a:gd name="T23" fmla="*/ 24 h 150"/>
                <a:gd name="T24" fmla="*/ 7 w 389"/>
                <a:gd name="T25" fmla="*/ 28 h 150"/>
                <a:gd name="T26" fmla="*/ 146 w 389"/>
                <a:gd name="T27" fmla="*/ 75 h 150"/>
                <a:gd name="T28" fmla="*/ 7 w 389"/>
                <a:gd name="T29" fmla="*/ 122 h 150"/>
                <a:gd name="T30" fmla="*/ 3 w 389"/>
                <a:gd name="T31" fmla="*/ 125 h 150"/>
                <a:gd name="T32" fmla="*/ 0 w 389"/>
                <a:gd name="T33" fmla="*/ 131 h 150"/>
                <a:gd name="T34" fmla="*/ 0 w 389"/>
                <a:gd name="T35" fmla="*/ 137 h 150"/>
                <a:gd name="T36" fmla="*/ 2 w 389"/>
                <a:gd name="T37" fmla="*/ 144 h 150"/>
                <a:gd name="T38" fmla="*/ 9 w 389"/>
                <a:gd name="T39" fmla="*/ 149 h 150"/>
                <a:gd name="T40" fmla="*/ 17 w 389"/>
                <a:gd name="T41" fmla="*/ 150 h 150"/>
                <a:gd name="T42" fmla="*/ 194 w 389"/>
                <a:gd name="T43" fmla="*/ 91 h 150"/>
                <a:gd name="T44" fmla="*/ 371 w 389"/>
                <a:gd name="T45" fmla="*/ 150 h 150"/>
                <a:gd name="T46" fmla="*/ 378 w 389"/>
                <a:gd name="T47" fmla="*/ 149 h 150"/>
                <a:gd name="T48" fmla="*/ 386 w 389"/>
                <a:gd name="T49" fmla="*/ 144 h 150"/>
                <a:gd name="T50" fmla="*/ 389 w 389"/>
                <a:gd name="T51" fmla="*/ 137 h 150"/>
                <a:gd name="T52" fmla="*/ 388 w 389"/>
                <a:gd name="T53" fmla="*/ 131 h 150"/>
                <a:gd name="T54" fmla="*/ 386 w 389"/>
                <a:gd name="T55" fmla="*/ 125 h 150"/>
                <a:gd name="T56" fmla="*/ 382 w 389"/>
                <a:gd name="T57" fmla="*/ 122 h 150"/>
                <a:gd name="T58" fmla="*/ 242 w 389"/>
                <a:gd name="T59" fmla="*/ 75 h 150"/>
                <a:gd name="T60" fmla="*/ 382 w 389"/>
                <a:gd name="T61" fmla="*/ 28 h 150"/>
                <a:gd name="T62" fmla="*/ 386 w 389"/>
                <a:gd name="T63" fmla="*/ 24 h 150"/>
                <a:gd name="T64" fmla="*/ 388 w 389"/>
                <a:gd name="T65" fmla="*/ 20 h 150"/>
                <a:gd name="T66" fmla="*/ 389 w 389"/>
                <a:gd name="T67" fmla="*/ 13 h 150"/>
                <a:gd name="T68" fmla="*/ 388 w 389"/>
                <a:gd name="T69"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9" h="150">
                  <a:moveTo>
                    <a:pt x="388" y="10"/>
                  </a:moveTo>
                  <a:lnTo>
                    <a:pt x="387" y="8"/>
                  </a:lnTo>
                  <a:lnTo>
                    <a:pt x="385" y="6"/>
                  </a:lnTo>
                  <a:lnTo>
                    <a:pt x="383" y="3"/>
                  </a:lnTo>
                  <a:lnTo>
                    <a:pt x="381" y="1"/>
                  </a:lnTo>
                  <a:lnTo>
                    <a:pt x="377" y="0"/>
                  </a:lnTo>
                  <a:lnTo>
                    <a:pt x="375" y="0"/>
                  </a:lnTo>
                  <a:lnTo>
                    <a:pt x="372" y="0"/>
                  </a:lnTo>
                  <a:lnTo>
                    <a:pt x="369" y="1"/>
                  </a:lnTo>
                  <a:lnTo>
                    <a:pt x="194" y="59"/>
                  </a:lnTo>
                  <a:lnTo>
                    <a:pt x="19" y="1"/>
                  </a:lnTo>
                  <a:lnTo>
                    <a:pt x="16" y="0"/>
                  </a:lnTo>
                  <a:lnTo>
                    <a:pt x="14" y="0"/>
                  </a:lnTo>
                  <a:lnTo>
                    <a:pt x="10" y="0"/>
                  </a:lnTo>
                  <a:lnTo>
                    <a:pt x="7" y="1"/>
                  </a:lnTo>
                  <a:lnTo>
                    <a:pt x="5" y="3"/>
                  </a:lnTo>
                  <a:lnTo>
                    <a:pt x="3" y="6"/>
                  </a:lnTo>
                  <a:lnTo>
                    <a:pt x="2" y="8"/>
                  </a:lnTo>
                  <a:lnTo>
                    <a:pt x="0" y="11"/>
                  </a:lnTo>
                  <a:lnTo>
                    <a:pt x="0" y="13"/>
                  </a:lnTo>
                  <a:lnTo>
                    <a:pt x="0" y="16"/>
                  </a:lnTo>
                  <a:lnTo>
                    <a:pt x="0" y="20"/>
                  </a:lnTo>
                  <a:lnTo>
                    <a:pt x="1" y="22"/>
                  </a:lnTo>
                  <a:lnTo>
                    <a:pt x="3" y="24"/>
                  </a:lnTo>
                  <a:lnTo>
                    <a:pt x="4" y="26"/>
                  </a:lnTo>
                  <a:lnTo>
                    <a:pt x="7" y="28"/>
                  </a:lnTo>
                  <a:lnTo>
                    <a:pt x="9" y="29"/>
                  </a:lnTo>
                  <a:lnTo>
                    <a:pt x="146" y="75"/>
                  </a:lnTo>
                  <a:lnTo>
                    <a:pt x="9" y="121"/>
                  </a:lnTo>
                  <a:lnTo>
                    <a:pt x="7" y="122"/>
                  </a:lnTo>
                  <a:lnTo>
                    <a:pt x="4" y="123"/>
                  </a:lnTo>
                  <a:lnTo>
                    <a:pt x="3" y="125"/>
                  </a:lnTo>
                  <a:lnTo>
                    <a:pt x="1" y="129"/>
                  </a:lnTo>
                  <a:lnTo>
                    <a:pt x="0" y="131"/>
                  </a:lnTo>
                  <a:lnTo>
                    <a:pt x="0" y="134"/>
                  </a:lnTo>
                  <a:lnTo>
                    <a:pt x="0" y="137"/>
                  </a:lnTo>
                  <a:lnTo>
                    <a:pt x="0" y="139"/>
                  </a:lnTo>
                  <a:lnTo>
                    <a:pt x="2" y="144"/>
                  </a:lnTo>
                  <a:lnTo>
                    <a:pt x="6" y="147"/>
                  </a:lnTo>
                  <a:lnTo>
                    <a:pt x="9" y="149"/>
                  </a:lnTo>
                  <a:lnTo>
                    <a:pt x="15" y="150"/>
                  </a:lnTo>
                  <a:lnTo>
                    <a:pt x="17" y="150"/>
                  </a:lnTo>
                  <a:lnTo>
                    <a:pt x="19" y="149"/>
                  </a:lnTo>
                  <a:lnTo>
                    <a:pt x="194" y="91"/>
                  </a:lnTo>
                  <a:lnTo>
                    <a:pt x="369" y="149"/>
                  </a:lnTo>
                  <a:lnTo>
                    <a:pt x="371" y="150"/>
                  </a:lnTo>
                  <a:lnTo>
                    <a:pt x="374" y="150"/>
                  </a:lnTo>
                  <a:lnTo>
                    <a:pt x="378" y="149"/>
                  </a:lnTo>
                  <a:lnTo>
                    <a:pt x="383" y="147"/>
                  </a:lnTo>
                  <a:lnTo>
                    <a:pt x="386" y="144"/>
                  </a:lnTo>
                  <a:lnTo>
                    <a:pt x="388" y="139"/>
                  </a:lnTo>
                  <a:lnTo>
                    <a:pt x="389" y="137"/>
                  </a:lnTo>
                  <a:lnTo>
                    <a:pt x="389" y="134"/>
                  </a:lnTo>
                  <a:lnTo>
                    <a:pt x="388" y="131"/>
                  </a:lnTo>
                  <a:lnTo>
                    <a:pt x="387" y="129"/>
                  </a:lnTo>
                  <a:lnTo>
                    <a:pt x="386" y="125"/>
                  </a:lnTo>
                  <a:lnTo>
                    <a:pt x="384" y="123"/>
                  </a:lnTo>
                  <a:lnTo>
                    <a:pt x="382" y="122"/>
                  </a:lnTo>
                  <a:lnTo>
                    <a:pt x="378" y="121"/>
                  </a:lnTo>
                  <a:lnTo>
                    <a:pt x="242" y="75"/>
                  </a:lnTo>
                  <a:lnTo>
                    <a:pt x="378" y="29"/>
                  </a:lnTo>
                  <a:lnTo>
                    <a:pt x="382" y="28"/>
                  </a:lnTo>
                  <a:lnTo>
                    <a:pt x="384" y="26"/>
                  </a:lnTo>
                  <a:lnTo>
                    <a:pt x="386" y="24"/>
                  </a:lnTo>
                  <a:lnTo>
                    <a:pt x="387" y="22"/>
                  </a:lnTo>
                  <a:lnTo>
                    <a:pt x="388" y="20"/>
                  </a:lnTo>
                  <a:lnTo>
                    <a:pt x="389" y="16"/>
                  </a:lnTo>
                  <a:lnTo>
                    <a:pt x="389" y="13"/>
                  </a:lnTo>
                  <a:lnTo>
                    <a:pt x="388" y="11"/>
                  </a:lnTo>
                  <a:lnTo>
                    <a:pt x="388" y="1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6" name="Freeform 92">
              <a:extLst>
                <a:ext uri="{FF2B5EF4-FFF2-40B4-BE49-F238E27FC236}">
                  <a16:creationId xmlns:a16="http://schemas.microsoft.com/office/drawing/2014/main" id="{CB074D9B-0422-458F-8737-7AB11A796425}"/>
                </a:ext>
              </a:extLst>
            </p:cNvPr>
            <p:cNvSpPr>
              <a:spLocks noEditPoints="1"/>
            </p:cNvSpPr>
            <p:nvPr/>
          </p:nvSpPr>
          <p:spPr bwMode="auto">
            <a:xfrm>
              <a:off x="5088570" y="2161840"/>
              <a:ext cx="116508" cy="116508"/>
            </a:xfrm>
            <a:custGeom>
              <a:avLst/>
              <a:gdLst>
                <a:gd name="T0" fmla="*/ 161 w 389"/>
                <a:gd name="T1" fmla="*/ 357 h 390"/>
                <a:gd name="T2" fmla="*/ 115 w 389"/>
                <a:gd name="T3" fmla="*/ 339 h 390"/>
                <a:gd name="T4" fmla="*/ 78 w 389"/>
                <a:gd name="T5" fmla="*/ 312 h 390"/>
                <a:gd name="T6" fmla="*/ 49 w 389"/>
                <a:gd name="T7" fmla="*/ 273 h 390"/>
                <a:gd name="T8" fmla="*/ 33 w 389"/>
                <a:gd name="T9" fmla="*/ 228 h 390"/>
                <a:gd name="T10" fmla="*/ 30 w 389"/>
                <a:gd name="T11" fmla="*/ 178 h 390"/>
                <a:gd name="T12" fmla="*/ 42 w 389"/>
                <a:gd name="T13" fmla="*/ 131 h 390"/>
                <a:gd name="T14" fmla="*/ 67 w 389"/>
                <a:gd name="T15" fmla="*/ 90 h 390"/>
                <a:gd name="T16" fmla="*/ 102 w 389"/>
                <a:gd name="T17" fmla="*/ 58 h 390"/>
                <a:gd name="T18" fmla="*/ 145 w 389"/>
                <a:gd name="T19" fmla="*/ 38 h 390"/>
                <a:gd name="T20" fmla="*/ 194 w 389"/>
                <a:gd name="T21" fmla="*/ 30 h 390"/>
                <a:gd name="T22" fmla="*/ 243 w 389"/>
                <a:gd name="T23" fmla="*/ 38 h 390"/>
                <a:gd name="T24" fmla="*/ 286 w 389"/>
                <a:gd name="T25" fmla="*/ 58 h 390"/>
                <a:gd name="T26" fmla="*/ 321 w 389"/>
                <a:gd name="T27" fmla="*/ 90 h 390"/>
                <a:gd name="T28" fmla="*/ 346 w 389"/>
                <a:gd name="T29" fmla="*/ 131 h 390"/>
                <a:gd name="T30" fmla="*/ 358 w 389"/>
                <a:gd name="T31" fmla="*/ 178 h 390"/>
                <a:gd name="T32" fmla="*/ 356 w 389"/>
                <a:gd name="T33" fmla="*/ 228 h 390"/>
                <a:gd name="T34" fmla="*/ 339 w 389"/>
                <a:gd name="T35" fmla="*/ 273 h 390"/>
                <a:gd name="T36" fmla="*/ 311 w 389"/>
                <a:gd name="T37" fmla="*/ 312 h 390"/>
                <a:gd name="T38" fmla="*/ 273 w 389"/>
                <a:gd name="T39" fmla="*/ 339 h 390"/>
                <a:gd name="T40" fmla="*/ 228 w 389"/>
                <a:gd name="T41" fmla="*/ 357 h 390"/>
                <a:gd name="T42" fmla="*/ 194 w 389"/>
                <a:gd name="T43" fmla="*/ 0 h 390"/>
                <a:gd name="T44" fmla="*/ 137 w 389"/>
                <a:gd name="T45" fmla="*/ 9 h 390"/>
                <a:gd name="T46" fmla="*/ 85 w 389"/>
                <a:gd name="T47" fmla="*/ 34 h 390"/>
                <a:gd name="T48" fmla="*/ 44 w 389"/>
                <a:gd name="T49" fmla="*/ 71 h 390"/>
                <a:gd name="T50" fmla="*/ 15 w 389"/>
                <a:gd name="T51" fmla="*/ 119 h 390"/>
                <a:gd name="T52" fmla="*/ 1 w 389"/>
                <a:gd name="T53" fmla="*/ 175 h 390"/>
                <a:gd name="T54" fmla="*/ 3 w 389"/>
                <a:gd name="T55" fmla="*/ 235 h 390"/>
                <a:gd name="T56" fmla="*/ 23 w 389"/>
                <a:gd name="T57" fmla="*/ 288 h 390"/>
                <a:gd name="T58" fmla="*/ 56 w 389"/>
                <a:gd name="T59" fmla="*/ 333 h 390"/>
                <a:gd name="T60" fmla="*/ 101 w 389"/>
                <a:gd name="T61" fmla="*/ 366 h 390"/>
                <a:gd name="T62" fmla="*/ 155 w 389"/>
                <a:gd name="T63" fmla="*/ 385 h 390"/>
                <a:gd name="T64" fmla="*/ 214 w 389"/>
                <a:gd name="T65" fmla="*/ 389 h 390"/>
                <a:gd name="T66" fmla="*/ 269 w 389"/>
                <a:gd name="T67" fmla="*/ 375 h 390"/>
                <a:gd name="T68" fmla="*/ 317 w 389"/>
                <a:gd name="T69" fmla="*/ 345 h 390"/>
                <a:gd name="T70" fmla="*/ 356 w 389"/>
                <a:gd name="T71" fmla="*/ 304 h 390"/>
                <a:gd name="T72" fmla="*/ 381 w 389"/>
                <a:gd name="T73" fmla="*/ 253 h 390"/>
                <a:gd name="T74" fmla="*/ 389 w 389"/>
                <a:gd name="T75" fmla="*/ 195 h 390"/>
                <a:gd name="T76" fmla="*/ 381 w 389"/>
                <a:gd name="T77" fmla="*/ 137 h 390"/>
                <a:gd name="T78" fmla="*/ 356 w 389"/>
                <a:gd name="T79" fmla="*/ 86 h 390"/>
                <a:gd name="T80" fmla="*/ 317 w 389"/>
                <a:gd name="T81" fmla="*/ 45 h 390"/>
                <a:gd name="T82" fmla="*/ 269 w 389"/>
                <a:gd name="T83" fmla="*/ 15 h 390"/>
                <a:gd name="T84" fmla="*/ 214 w 389"/>
                <a:gd name="T85" fmla="*/ 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9" h="390">
                  <a:moveTo>
                    <a:pt x="194" y="360"/>
                  </a:moveTo>
                  <a:lnTo>
                    <a:pt x="177" y="359"/>
                  </a:lnTo>
                  <a:lnTo>
                    <a:pt x="161" y="357"/>
                  </a:lnTo>
                  <a:lnTo>
                    <a:pt x="145" y="352"/>
                  </a:lnTo>
                  <a:lnTo>
                    <a:pt x="130" y="347"/>
                  </a:lnTo>
                  <a:lnTo>
                    <a:pt x="115" y="339"/>
                  </a:lnTo>
                  <a:lnTo>
                    <a:pt x="102" y="332"/>
                  </a:lnTo>
                  <a:lnTo>
                    <a:pt x="90" y="322"/>
                  </a:lnTo>
                  <a:lnTo>
                    <a:pt x="78" y="312"/>
                  </a:lnTo>
                  <a:lnTo>
                    <a:pt x="67" y="300"/>
                  </a:lnTo>
                  <a:lnTo>
                    <a:pt x="57" y="287"/>
                  </a:lnTo>
                  <a:lnTo>
                    <a:pt x="49" y="273"/>
                  </a:lnTo>
                  <a:lnTo>
                    <a:pt x="42" y="259"/>
                  </a:lnTo>
                  <a:lnTo>
                    <a:pt x="37" y="244"/>
                  </a:lnTo>
                  <a:lnTo>
                    <a:pt x="33" y="228"/>
                  </a:lnTo>
                  <a:lnTo>
                    <a:pt x="30" y="212"/>
                  </a:lnTo>
                  <a:lnTo>
                    <a:pt x="30" y="195"/>
                  </a:lnTo>
                  <a:lnTo>
                    <a:pt x="30" y="178"/>
                  </a:lnTo>
                  <a:lnTo>
                    <a:pt x="33" y="162"/>
                  </a:lnTo>
                  <a:lnTo>
                    <a:pt x="37" y="146"/>
                  </a:lnTo>
                  <a:lnTo>
                    <a:pt x="42" y="131"/>
                  </a:lnTo>
                  <a:lnTo>
                    <a:pt x="49" y="117"/>
                  </a:lnTo>
                  <a:lnTo>
                    <a:pt x="57" y="103"/>
                  </a:lnTo>
                  <a:lnTo>
                    <a:pt x="67" y="90"/>
                  </a:lnTo>
                  <a:lnTo>
                    <a:pt x="78" y="78"/>
                  </a:lnTo>
                  <a:lnTo>
                    <a:pt x="90" y="68"/>
                  </a:lnTo>
                  <a:lnTo>
                    <a:pt x="102" y="58"/>
                  </a:lnTo>
                  <a:lnTo>
                    <a:pt x="115" y="51"/>
                  </a:lnTo>
                  <a:lnTo>
                    <a:pt x="130" y="43"/>
                  </a:lnTo>
                  <a:lnTo>
                    <a:pt x="145" y="38"/>
                  </a:lnTo>
                  <a:lnTo>
                    <a:pt x="161" y="34"/>
                  </a:lnTo>
                  <a:lnTo>
                    <a:pt x="177" y="31"/>
                  </a:lnTo>
                  <a:lnTo>
                    <a:pt x="194" y="30"/>
                  </a:lnTo>
                  <a:lnTo>
                    <a:pt x="210" y="31"/>
                  </a:lnTo>
                  <a:lnTo>
                    <a:pt x="228" y="34"/>
                  </a:lnTo>
                  <a:lnTo>
                    <a:pt x="243" y="38"/>
                  </a:lnTo>
                  <a:lnTo>
                    <a:pt x="259" y="43"/>
                  </a:lnTo>
                  <a:lnTo>
                    <a:pt x="273" y="51"/>
                  </a:lnTo>
                  <a:lnTo>
                    <a:pt x="286" y="58"/>
                  </a:lnTo>
                  <a:lnTo>
                    <a:pt x="299" y="68"/>
                  </a:lnTo>
                  <a:lnTo>
                    <a:pt x="311" y="78"/>
                  </a:lnTo>
                  <a:lnTo>
                    <a:pt x="321" y="90"/>
                  </a:lnTo>
                  <a:lnTo>
                    <a:pt x="330" y="103"/>
                  </a:lnTo>
                  <a:lnTo>
                    <a:pt x="339" y="117"/>
                  </a:lnTo>
                  <a:lnTo>
                    <a:pt x="346" y="131"/>
                  </a:lnTo>
                  <a:lnTo>
                    <a:pt x="352" y="146"/>
                  </a:lnTo>
                  <a:lnTo>
                    <a:pt x="356" y="162"/>
                  </a:lnTo>
                  <a:lnTo>
                    <a:pt x="358" y="178"/>
                  </a:lnTo>
                  <a:lnTo>
                    <a:pt x="359" y="195"/>
                  </a:lnTo>
                  <a:lnTo>
                    <a:pt x="358" y="212"/>
                  </a:lnTo>
                  <a:lnTo>
                    <a:pt x="356" y="228"/>
                  </a:lnTo>
                  <a:lnTo>
                    <a:pt x="352" y="244"/>
                  </a:lnTo>
                  <a:lnTo>
                    <a:pt x="346" y="259"/>
                  </a:lnTo>
                  <a:lnTo>
                    <a:pt x="339" y="273"/>
                  </a:lnTo>
                  <a:lnTo>
                    <a:pt x="330" y="287"/>
                  </a:lnTo>
                  <a:lnTo>
                    <a:pt x="321" y="300"/>
                  </a:lnTo>
                  <a:lnTo>
                    <a:pt x="311" y="312"/>
                  </a:lnTo>
                  <a:lnTo>
                    <a:pt x="299" y="322"/>
                  </a:lnTo>
                  <a:lnTo>
                    <a:pt x="286" y="332"/>
                  </a:lnTo>
                  <a:lnTo>
                    <a:pt x="273" y="339"/>
                  </a:lnTo>
                  <a:lnTo>
                    <a:pt x="259" y="347"/>
                  </a:lnTo>
                  <a:lnTo>
                    <a:pt x="243" y="352"/>
                  </a:lnTo>
                  <a:lnTo>
                    <a:pt x="228" y="357"/>
                  </a:lnTo>
                  <a:lnTo>
                    <a:pt x="210" y="359"/>
                  </a:lnTo>
                  <a:lnTo>
                    <a:pt x="194" y="360"/>
                  </a:lnTo>
                  <a:close/>
                  <a:moveTo>
                    <a:pt x="194" y="0"/>
                  </a:moveTo>
                  <a:lnTo>
                    <a:pt x="174" y="1"/>
                  </a:lnTo>
                  <a:lnTo>
                    <a:pt x="155" y="5"/>
                  </a:lnTo>
                  <a:lnTo>
                    <a:pt x="137" y="9"/>
                  </a:lnTo>
                  <a:lnTo>
                    <a:pt x="118" y="15"/>
                  </a:lnTo>
                  <a:lnTo>
                    <a:pt x="101" y="24"/>
                  </a:lnTo>
                  <a:lnTo>
                    <a:pt x="85" y="34"/>
                  </a:lnTo>
                  <a:lnTo>
                    <a:pt x="70" y="45"/>
                  </a:lnTo>
                  <a:lnTo>
                    <a:pt x="56" y="57"/>
                  </a:lnTo>
                  <a:lnTo>
                    <a:pt x="44" y="71"/>
                  </a:lnTo>
                  <a:lnTo>
                    <a:pt x="33" y="86"/>
                  </a:lnTo>
                  <a:lnTo>
                    <a:pt x="23" y="102"/>
                  </a:lnTo>
                  <a:lnTo>
                    <a:pt x="15" y="119"/>
                  </a:lnTo>
                  <a:lnTo>
                    <a:pt x="8" y="137"/>
                  </a:lnTo>
                  <a:lnTo>
                    <a:pt x="3" y="155"/>
                  </a:lnTo>
                  <a:lnTo>
                    <a:pt x="1" y="175"/>
                  </a:lnTo>
                  <a:lnTo>
                    <a:pt x="0" y="195"/>
                  </a:lnTo>
                  <a:lnTo>
                    <a:pt x="1" y="215"/>
                  </a:lnTo>
                  <a:lnTo>
                    <a:pt x="3" y="235"/>
                  </a:lnTo>
                  <a:lnTo>
                    <a:pt x="8" y="253"/>
                  </a:lnTo>
                  <a:lnTo>
                    <a:pt x="15" y="271"/>
                  </a:lnTo>
                  <a:lnTo>
                    <a:pt x="23" y="288"/>
                  </a:lnTo>
                  <a:lnTo>
                    <a:pt x="33" y="304"/>
                  </a:lnTo>
                  <a:lnTo>
                    <a:pt x="44" y="319"/>
                  </a:lnTo>
                  <a:lnTo>
                    <a:pt x="56" y="333"/>
                  </a:lnTo>
                  <a:lnTo>
                    <a:pt x="70" y="345"/>
                  </a:lnTo>
                  <a:lnTo>
                    <a:pt x="85" y="357"/>
                  </a:lnTo>
                  <a:lnTo>
                    <a:pt x="101" y="366"/>
                  </a:lnTo>
                  <a:lnTo>
                    <a:pt x="118" y="375"/>
                  </a:lnTo>
                  <a:lnTo>
                    <a:pt x="137" y="381"/>
                  </a:lnTo>
                  <a:lnTo>
                    <a:pt x="155" y="385"/>
                  </a:lnTo>
                  <a:lnTo>
                    <a:pt x="174" y="389"/>
                  </a:lnTo>
                  <a:lnTo>
                    <a:pt x="194" y="390"/>
                  </a:lnTo>
                  <a:lnTo>
                    <a:pt x="214" y="389"/>
                  </a:lnTo>
                  <a:lnTo>
                    <a:pt x="233" y="385"/>
                  </a:lnTo>
                  <a:lnTo>
                    <a:pt x="252" y="381"/>
                  </a:lnTo>
                  <a:lnTo>
                    <a:pt x="269" y="375"/>
                  </a:lnTo>
                  <a:lnTo>
                    <a:pt x="286" y="366"/>
                  </a:lnTo>
                  <a:lnTo>
                    <a:pt x="302" y="357"/>
                  </a:lnTo>
                  <a:lnTo>
                    <a:pt x="317" y="345"/>
                  </a:lnTo>
                  <a:lnTo>
                    <a:pt x="331" y="333"/>
                  </a:lnTo>
                  <a:lnTo>
                    <a:pt x="344" y="319"/>
                  </a:lnTo>
                  <a:lnTo>
                    <a:pt x="356" y="304"/>
                  </a:lnTo>
                  <a:lnTo>
                    <a:pt x="366" y="288"/>
                  </a:lnTo>
                  <a:lnTo>
                    <a:pt x="373" y="271"/>
                  </a:lnTo>
                  <a:lnTo>
                    <a:pt x="381" y="253"/>
                  </a:lnTo>
                  <a:lnTo>
                    <a:pt x="385" y="235"/>
                  </a:lnTo>
                  <a:lnTo>
                    <a:pt x="388" y="215"/>
                  </a:lnTo>
                  <a:lnTo>
                    <a:pt x="389" y="195"/>
                  </a:lnTo>
                  <a:lnTo>
                    <a:pt x="388" y="175"/>
                  </a:lnTo>
                  <a:lnTo>
                    <a:pt x="385" y="155"/>
                  </a:lnTo>
                  <a:lnTo>
                    <a:pt x="381" y="137"/>
                  </a:lnTo>
                  <a:lnTo>
                    <a:pt x="373" y="119"/>
                  </a:lnTo>
                  <a:lnTo>
                    <a:pt x="366" y="102"/>
                  </a:lnTo>
                  <a:lnTo>
                    <a:pt x="356" y="86"/>
                  </a:lnTo>
                  <a:lnTo>
                    <a:pt x="344" y="71"/>
                  </a:lnTo>
                  <a:lnTo>
                    <a:pt x="331" y="57"/>
                  </a:lnTo>
                  <a:lnTo>
                    <a:pt x="317" y="45"/>
                  </a:lnTo>
                  <a:lnTo>
                    <a:pt x="302" y="34"/>
                  </a:lnTo>
                  <a:lnTo>
                    <a:pt x="286" y="24"/>
                  </a:lnTo>
                  <a:lnTo>
                    <a:pt x="269" y="15"/>
                  </a:lnTo>
                  <a:lnTo>
                    <a:pt x="252" y="9"/>
                  </a:lnTo>
                  <a:lnTo>
                    <a:pt x="233" y="5"/>
                  </a:lnTo>
                  <a:lnTo>
                    <a:pt x="214" y="1"/>
                  </a:lnTo>
                  <a:lnTo>
                    <a:pt x="194" y="0"/>
                  </a:lnTo>
                  <a:lnTo>
                    <a:pt x="19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77" name="Freeform 93">
              <a:extLst>
                <a:ext uri="{FF2B5EF4-FFF2-40B4-BE49-F238E27FC236}">
                  <a16:creationId xmlns:a16="http://schemas.microsoft.com/office/drawing/2014/main" id="{7C80426B-8EE0-4A28-90A7-9A3D5E187210}"/>
                </a:ext>
              </a:extLst>
            </p:cNvPr>
            <p:cNvSpPr>
              <a:spLocks noEditPoints="1"/>
            </p:cNvSpPr>
            <p:nvPr/>
          </p:nvSpPr>
          <p:spPr bwMode="auto">
            <a:xfrm>
              <a:off x="5057203" y="2130473"/>
              <a:ext cx="179243" cy="228536"/>
            </a:xfrm>
            <a:custGeom>
              <a:avLst/>
              <a:gdLst>
                <a:gd name="T0" fmla="*/ 335 w 599"/>
                <a:gd name="T1" fmla="*/ 571 h 763"/>
                <a:gd name="T2" fmla="*/ 263 w 599"/>
                <a:gd name="T3" fmla="*/ 571 h 763"/>
                <a:gd name="T4" fmla="*/ 242 w 599"/>
                <a:gd name="T5" fmla="*/ 562 h 763"/>
                <a:gd name="T6" fmla="*/ 185 w 599"/>
                <a:gd name="T7" fmla="*/ 543 h 763"/>
                <a:gd name="T8" fmla="*/ 108 w 599"/>
                <a:gd name="T9" fmla="*/ 489 h 763"/>
                <a:gd name="T10" fmla="*/ 55 w 599"/>
                <a:gd name="T11" fmla="*/ 415 h 763"/>
                <a:gd name="T12" fmla="*/ 32 w 599"/>
                <a:gd name="T13" fmla="*/ 335 h 763"/>
                <a:gd name="T14" fmla="*/ 30 w 599"/>
                <a:gd name="T15" fmla="*/ 285 h 763"/>
                <a:gd name="T16" fmla="*/ 38 w 599"/>
                <a:gd name="T17" fmla="*/ 232 h 763"/>
                <a:gd name="T18" fmla="*/ 57 w 599"/>
                <a:gd name="T19" fmla="*/ 182 h 763"/>
                <a:gd name="T20" fmla="*/ 83 w 599"/>
                <a:gd name="T21" fmla="*/ 138 h 763"/>
                <a:gd name="T22" fmla="*/ 118 w 599"/>
                <a:gd name="T23" fmla="*/ 99 h 763"/>
                <a:gd name="T24" fmla="*/ 159 w 599"/>
                <a:gd name="T25" fmla="*/ 68 h 763"/>
                <a:gd name="T26" fmla="*/ 206 w 599"/>
                <a:gd name="T27" fmla="*/ 46 h 763"/>
                <a:gd name="T28" fmla="*/ 258 w 599"/>
                <a:gd name="T29" fmla="*/ 33 h 763"/>
                <a:gd name="T30" fmla="*/ 313 w 599"/>
                <a:gd name="T31" fmla="*/ 29 h 763"/>
                <a:gd name="T32" fmla="*/ 367 w 599"/>
                <a:gd name="T33" fmla="*/ 38 h 763"/>
                <a:gd name="T34" fmla="*/ 416 w 599"/>
                <a:gd name="T35" fmla="*/ 56 h 763"/>
                <a:gd name="T36" fmla="*/ 460 w 599"/>
                <a:gd name="T37" fmla="*/ 83 h 763"/>
                <a:gd name="T38" fmla="*/ 498 w 599"/>
                <a:gd name="T39" fmla="*/ 118 h 763"/>
                <a:gd name="T40" fmla="*/ 529 w 599"/>
                <a:gd name="T41" fmla="*/ 159 h 763"/>
                <a:gd name="T42" fmla="*/ 552 w 599"/>
                <a:gd name="T43" fmla="*/ 206 h 763"/>
                <a:gd name="T44" fmla="*/ 566 w 599"/>
                <a:gd name="T45" fmla="*/ 258 h 763"/>
                <a:gd name="T46" fmla="*/ 568 w 599"/>
                <a:gd name="T47" fmla="*/ 311 h 763"/>
                <a:gd name="T48" fmla="*/ 559 w 599"/>
                <a:gd name="T49" fmla="*/ 371 h 763"/>
                <a:gd name="T50" fmla="*/ 520 w 599"/>
                <a:gd name="T51" fmla="*/ 454 h 763"/>
                <a:gd name="T52" fmla="*/ 455 w 599"/>
                <a:gd name="T53" fmla="*/ 519 h 763"/>
                <a:gd name="T54" fmla="*/ 381 w 599"/>
                <a:gd name="T55" fmla="*/ 556 h 763"/>
                <a:gd name="T56" fmla="*/ 345 w 599"/>
                <a:gd name="T57" fmla="*/ 564 h 763"/>
                <a:gd name="T58" fmla="*/ 253 w 599"/>
                <a:gd name="T59" fmla="*/ 3 h 763"/>
                <a:gd name="T60" fmla="*/ 197 w 599"/>
                <a:gd name="T61" fmla="*/ 18 h 763"/>
                <a:gd name="T62" fmla="*/ 144 w 599"/>
                <a:gd name="T63" fmla="*/ 42 h 763"/>
                <a:gd name="T64" fmla="*/ 98 w 599"/>
                <a:gd name="T65" fmla="*/ 78 h 763"/>
                <a:gd name="T66" fmla="*/ 59 w 599"/>
                <a:gd name="T67" fmla="*/ 119 h 763"/>
                <a:gd name="T68" fmla="*/ 29 w 599"/>
                <a:gd name="T69" fmla="*/ 170 h 763"/>
                <a:gd name="T70" fmla="*/ 9 w 599"/>
                <a:gd name="T71" fmla="*/ 224 h 763"/>
                <a:gd name="T72" fmla="*/ 0 w 599"/>
                <a:gd name="T73" fmla="*/ 284 h 763"/>
                <a:gd name="T74" fmla="*/ 2 w 599"/>
                <a:gd name="T75" fmla="*/ 339 h 763"/>
                <a:gd name="T76" fmla="*/ 14 w 599"/>
                <a:gd name="T77" fmla="*/ 389 h 763"/>
                <a:gd name="T78" fmla="*/ 33 w 599"/>
                <a:gd name="T79" fmla="*/ 436 h 763"/>
                <a:gd name="T80" fmla="*/ 83 w 599"/>
                <a:gd name="T81" fmla="*/ 508 h 763"/>
                <a:gd name="T82" fmla="*/ 133 w 599"/>
                <a:gd name="T83" fmla="*/ 547 h 763"/>
                <a:gd name="T84" fmla="*/ 176 w 599"/>
                <a:gd name="T85" fmla="*/ 572 h 763"/>
                <a:gd name="T86" fmla="*/ 226 w 599"/>
                <a:gd name="T87" fmla="*/ 589 h 763"/>
                <a:gd name="T88" fmla="*/ 290 w 599"/>
                <a:gd name="T89" fmla="*/ 760 h 763"/>
                <a:gd name="T90" fmla="*/ 308 w 599"/>
                <a:gd name="T91" fmla="*/ 760 h 763"/>
                <a:gd name="T92" fmla="*/ 372 w 599"/>
                <a:gd name="T93" fmla="*/ 589 h 763"/>
                <a:gd name="T94" fmla="*/ 421 w 599"/>
                <a:gd name="T95" fmla="*/ 572 h 763"/>
                <a:gd name="T96" fmla="*/ 466 w 599"/>
                <a:gd name="T97" fmla="*/ 547 h 763"/>
                <a:gd name="T98" fmla="*/ 514 w 599"/>
                <a:gd name="T99" fmla="*/ 508 h 763"/>
                <a:gd name="T100" fmla="*/ 566 w 599"/>
                <a:gd name="T101" fmla="*/ 436 h 763"/>
                <a:gd name="T102" fmla="*/ 585 w 599"/>
                <a:gd name="T103" fmla="*/ 389 h 763"/>
                <a:gd name="T104" fmla="*/ 596 w 599"/>
                <a:gd name="T105" fmla="*/ 339 h 763"/>
                <a:gd name="T106" fmla="*/ 598 w 599"/>
                <a:gd name="T107" fmla="*/ 284 h 763"/>
                <a:gd name="T108" fmla="*/ 589 w 599"/>
                <a:gd name="T109" fmla="*/ 224 h 763"/>
                <a:gd name="T110" fmla="*/ 569 w 599"/>
                <a:gd name="T111" fmla="*/ 170 h 763"/>
                <a:gd name="T112" fmla="*/ 539 w 599"/>
                <a:gd name="T113" fmla="*/ 119 h 763"/>
                <a:gd name="T114" fmla="*/ 501 w 599"/>
                <a:gd name="T115" fmla="*/ 78 h 763"/>
                <a:gd name="T116" fmla="*/ 455 w 599"/>
                <a:gd name="T117" fmla="*/ 42 h 763"/>
                <a:gd name="T118" fmla="*/ 402 w 599"/>
                <a:gd name="T119" fmla="*/ 18 h 763"/>
                <a:gd name="T120" fmla="*/ 344 w 599"/>
                <a:gd name="T121" fmla="*/ 3 h 763"/>
                <a:gd name="T122" fmla="*/ 299 w 599"/>
                <a:gd name="T123" fmla="*/ 0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9" h="763">
                  <a:moveTo>
                    <a:pt x="345" y="564"/>
                  </a:moveTo>
                  <a:lnTo>
                    <a:pt x="341" y="565"/>
                  </a:lnTo>
                  <a:lnTo>
                    <a:pt x="338" y="567"/>
                  </a:lnTo>
                  <a:lnTo>
                    <a:pt x="335" y="571"/>
                  </a:lnTo>
                  <a:lnTo>
                    <a:pt x="333" y="575"/>
                  </a:lnTo>
                  <a:lnTo>
                    <a:pt x="299" y="694"/>
                  </a:lnTo>
                  <a:lnTo>
                    <a:pt x="265" y="575"/>
                  </a:lnTo>
                  <a:lnTo>
                    <a:pt x="263" y="571"/>
                  </a:lnTo>
                  <a:lnTo>
                    <a:pt x="261" y="567"/>
                  </a:lnTo>
                  <a:lnTo>
                    <a:pt x="258" y="565"/>
                  </a:lnTo>
                  <a:lnTo>
                    <a:pt x="253" y="564"/>
                  </a:lnTo>
                  <a:lnTo>
                    <a:pt x="242" y="562"/>
                  </a:lnTo>
                  <a:lnTo>
                    <a:pt x="230" y="559"/>
                  </a:lnTo>
                  <a:lnTo>
                    <a:pt x="218" y="556"/>
                  </a:lnTo>
                  <a:lnTo>
                    <a:pt x="206" y="551"/>
                  </a:lnTo>
                  <a:lnTo>
                    <a:pt x="185" y="543"/>
                  </a:lnTo>
                  <a:lnTo>
                    <a:pt x="164" y="532"/>
                  </a:lnTo>
                  <a:lnTo>
                    <a:pt x="144" y="519"/>
                  </a:lnTo>
                  <a:lnTo>
                    <a:pt x="125" y="505"/>
                  </a:lnTo>
                  <a:lnTo>
                    <a:pt x="108" y="489"/>
                  </a:lnTo>
                  <a:lnTo>
                    <a:pt x="93" y="472"/>
                  </a:lnTo>
                  <a:lnTo>
                    <a:pt x="79" y="454"/>
                  </a:lnTo>
                  <a:lnTo>
                    <a:pt x="66" y="435"/>
                  </a:lnTo>
                  <a:lnTo>
                    <a:pt x="55" y="415"/>
                  </a:lnTo>
                  <a:lnTo>
                    <a:pt x="46" y="393"/>
                  </a:lnTo>
                  <a:lnTo>
                    <a:pt x="39" y="371"/>
                  </a:lnTo>
                  <a:lnTo>
                    <a:pt x="34" y="347"/>
                  </a:lnTo>
                  <a:lnTo>
                    <a:pt x="32" y="335"/>
                  </a:lnTo>
                  <a:lnTo>
                    <a:pt x="31" y="324"/>
                  </a:lnTo>
                  <a:lnTo>
                    <a:pt x="30" y="311"/>
                  </a:lnTo>
                  <a:lnTo>
                    <a:pt x="30" y="299"/>
                  </a:lnTo>
                  <a:lnTo>
                    <a:pt x="30" y="285"/>
                  </a:lnTo>
                  <a:lnTo>
                    <a:pt x="31" y="271"/>
                  </a:lnTo>
                  <a:lnTo>
                    <a:pt x="33" y="258"/>
                  </a:lnTo>
                  <a:lnTo>
                    <a:pt x="35" y="244"/>
                  </a:lnTo>
                  <a:lnTo>
                    <a:pt x="38" y="232"/>
                  </a:lnTo>
                  <a:lnTo>
                    <a:pt x="42" y="219"/>
                  </a:lnTo>
                  <a:lnTo>
                    <a:pt x="46" y="206"/>
                  </a:lnTo>
                  <a:lnTo>
                    <a:pt x="51" y="194"/>
                  </a:lnTo>
                  <a:lnTo>
                    <a:pt x="57" y="182"/>
                  </a:lnTo>
                  <a:lnTo>
                    <a:pt x="62" y="171"/>
                  </a:lnTo>
                  <a:lnTo>
                    <a:pt x="68" y="159"/>
                  </a:lnTo>
                  <a:lnTo>
                    <a:pt x="76" y="148"/>
                  </a:lnTo>
                  <a:lnTo>
                    <a:pt x="83" y="138"/>
                  </a:lnTo>
                  <a:lnTo>
                    <a:pt x="91" y="128"/>
                  </a:lnTo>
                  <a:lnTo>
                    <a:pt x="99" y="118"/>
                  </a:lnTo>
                  <a:lnTo>
                    <a:pt x="109" y="109"/>
                  </a:lnTo>
                  <a:lnTo>
                    <a:pt x="118" y="99"/>
                  </a:lnTo>
                  <a:lnTo>
                    <a:pt x="127" y="92"/>
                  </a:lnTo>
                  <a:lnTo>
                    <a:pt x="138" y="83"/>
                  </a:lnTo>
                  <a:lnTo>
                    <a:pt x="149" y="75"/>
                  </a:lnTo>
                  <a:lnTo>
                    <a:pt x="159" y="68"/>
                  </a:lnTo>
                  <a:lnTo>
                    <a:pt x="171" y="62"/>
                  </a:lnTo>
                  <a:lnTo>
                    <a:pt x="183" y="56"/>
                  </a:lnTo>
                  <a:lnTo>
                    <a:pt x="195" y="51"/>
                  </a:lnTo>
                  <a:lnTo>
                    <a:pt x="206" y="46"/>
                  </a:lnTo>
                  <a:lnTo>
                    <a:pt x="219" y="41"/>
                  </a:lnTo>
                  <a:lnTo>
                    <a:pt x="232" y="38"/>
                  </a:lnTo>
                  <a:lnTo>
                    <a:pt x="245" y="35"/>
                  </a:lnTo>
                  <a:lnTo>
                    <a:pt x="258" y="33"/>
                  </a:lnTo>
                  <a:lnTo>
                    <a:pt x="272" y="31"/>
                  </a:lnTo>
                  <a:lnTo>
                    <a:pt x="286" y="29"/>
                  </a:lnTo>
                  <a:lnTo>
                    <a:pt x="299" y="29"/>
                  </a:lnTo>
                  <a:lnTo>
                    <a:pt x="313" y="29"/>
                  </a:lnTo>
                  <a:lnTo>
                    <a:pt x="326" y="31"/>
                  </a:lnTo>
                  <a:lnTo>
                    <a:pt x="340" y="33"/>
                  </a:lnTo>
                  <a:lnTo>
                    <a:pt x="353" y="35"/>
                  </a:lnTo>
                  <a:lnTo>
                    <a:pt x="367" y="38"/>
                  </a:lnTo>
                  <a:lnTo>
                    <a:pt x="380" y="41"/>
                  </a:lnTo>
                  <a:lnTo>
                    <a:pt x="391" y="46"/>
                  </a:lnTo>
                  <a:lnTo>
                    <a:pt x="404" y="51"/>
                  </a:lnTo>
                  <a:lnTo>
                    <a:pt x="416" y="56"/>
                  </a:lnTo>
                  <a:lnTo>
                    <a:pt x="428" y="62"/>
                  </a:lnTo>
                  <a:lnTo>
                    <a:pt x="439" y="68"/>
                  </a:lnTo>
                  <a:lnTo>
                    <a:pt x="449" y="75"/>
                  </a:lnTo>
                  <a:lnTo>
                    <a:pt x="460" y="83"/>
                  </a:lnTo>
                  <a:lnTo>
                    <a:pt x="471" y="90"/>
                  </a:lnTo>
                  <a:lnTo>
                    <a:pt x="480" y="99"/>
                  </a:lnTo>
                  <a:lnTo>
                    <a:pt x="490" y="109"/>
                  </a:lnTo>
                  <a:lnTo>
                    <a:pt x="498" y="118"/>
                  </a:lnTo>
                  <a:lnTo>
                    <a:pt x="507" y="128"/>
                  </a:lnTo>
                  <a:lnTo>
                    <a:pt x="516" y="138"/>
                  </a:lnTo>
                  <a:lnTo>
                    <a:pt x="523" y="148"/>
                  </a:lnTo>
                  <a:lnTo>
                    <a:pt x="529" y="159"/>
                  </a:lnTo>
                  <a:lnTo>
                    <a:pt x="536" y="171"/>
                  </a:lnTo>
                  <a:lnTo>
                    <a:pt x="542" y="182"/>
                  </a:lnTo>
                  <a:lnTo>
                    <a:pt x="548" y="194"/>
                  </a:lnTo>
                  <a:lnTo>
                    <a:pt x="552" y="206"/>
                  </a:lnTo>
                  <a:lnTo>
                    <a:pt x="556" y="219"/>
                  </a:lnTo>
                  <a:lnTo>
                    <a:pt x="561" y="232"/>
                  </a:lnTo>
                  <a:lnTo>
                    <a:pt x="564" y="244"/>
                  </a:lnTo>
                  <a:lnTo>
                    <a:pt x="566" y="258"/>
                  </a:lnTo>
                  <a:lnTo>
                    <a:pt x="567" y="271"/>
                  </a:lnTo>
                  <a:lnTo>
                    <a:pt x="568" y="285"/>
                  </a:lnTo>
                  <a:lnTo>
                    <a:pt x="569" y="299"/>
                  </a:lnTo>
                  <a:lnTo>
                    <a:pt x="568" y="311"/>
                  </a:lnTo>
                  <a:lnTo>
                    <a:pt x="568" y="324"/>
                  </a:lnTo>
                  <a:lnTo>
                    <a:pt x="566" y="335"/>
                  </a:lnTo>
                  <a:lnTo>
                    <a:pt x="565" y="347"/>
                  </a:lnTo>
                  <a:lnTo>
                    <a:pt x="559" y="371"/>
                  </a:lnTo>
                  <a:lnTo>
                    <a:pt x="552" y="393"/>
                  </a:lnTo>
                  <a:lnTo>
                    <a:pt x="543" y="415"/>
                  </a:lnTo>
                  <a:lnTo>
                    <a:pt x="533" y="435"/>
                  </a:lnTo>
                  <a:lnTo>
                    <a:pt x="520" y="454"/>
                  </a:lnTo>
                  <a:lnTo>
                    <a:pt x="506" y="472"/>
                  </a:lnTo>
                  <a:lnTo>
                    <a:pt x="490" y="489"/>
                  </a:lnTo>
                  <a:lnTo>
                    <a:pt x="473" y="505"/>
                  </a:lnTo>
                  <a:lnTo>
                    <a:pt x="455" y="519"/>
                  </a:lnTo>
                  <a:lnTo>
                    <a:pt x="434" y="532"/>
                  </a:lnTo>
                  <a:lnTo>
                    <a:pt x="414" y="543"/>
                  </a:lnTo>
                  <a:lnTo>
                    <a:pt x="391" y="551"/>
                  </a:lnTo>
                  <a:lnTo>
                    <a:pt x="381" y="556"/>
                  </a:lnTo>
                  <a:lnTo>
                    <a:pt x="369" y="559"/>
                  </a:lnTo>
                  <a:lnTo>
                    <a:pt x="357" y="562"/>
                  </a:lnTo>
                  <a:lnTo>
                    <a:pt x="345" y="564"/>
                  </a:lnTo>
                  <a:lnTo>
                    <a:pt x="345" y="564"/>
                  </a:lnTo>
                  <a:close/>
                  <a:moveTo>
                    <a:pt x="299" y="0"/>
                  </a:moveTo>
                  <a:lnTo>
                    <a:pt x="283" y="0"/>
                  </a:lnTo>
                  <a:lnTo>
                    <a:pt x="268" y="1"/>
                  </a:lnTo>
                  <a:lnTo>
                    <a:pt x="253" y="3"/>
                  </a:lnTo>
                  <a:lnTo>
                    <a:pt x="238" y="6"/>
                  </a:lnTo>
                  <a:lnTo>
                    <a:pt x="225" y="9"/>
                  </a:lnTo>
                  <a:lnTo>
                    <a:pt x="211" y="12"/>
                  </a:lnTo>
                  <a:lnTo>
                    <a:pt x="197" y="18"/>
                  </a:lnTo>
                  <a:lnTo>
                    <a:pt x="183" y="23"/>
                  </a:lnTo>
                  <a:lnTo>
                    <a:pt x="169" y="29"/>
                  </a:lnTo>
                  <a:lnTo>
                    <a:pt x="156" y="36"/>
                  </a:lnTo>
                  <a:lnTo>
                    <a:pt x="144" y="42"/>
                  </a:lnTo>
                  <a:lnTo>
                    <a:pt x="131" y="51"/>
                  </a:lnTo>
                  <a:lnTo>
                    <a:pt x="120" y="59"/>
                  </a:lnTo>
                  <a:lnTo>
                    <a:pt x="109" y="68"/>
                  </a:lnTo>
                  <a:lnTo>
                    <a:pt x="98" y="78"/>
                  </a:lnTo>
                  <a:lnTo>
                    <a:pt x="88" y="87"/>
                  </a:lnTo>
                  <a:lnTo>
                    <a:pt x="78" y="98"/>
                  </a:lnTo>
                  <a:lnTo>
                    <a:pt x="68" y="109"/>
                  </a:lnTo>
                  <a:lnTo>
                    <a:pt x="59" y="119"/>
                  </a:lnTo>
                  <a:lnTo>
                    <a:pt x="51" y="131"/>
                  </a:lnTo>
                  <a:lnTo>
                    <a:pt x="43" y="144"/>
                  </a:lnTo>
                  <a:lnTo>
                    <a:pt x="36" y="157"/>
                  </a:lnTo>
                  <a:lnTo>
                    <a:pt x="29" y="170"/>
                  </a:lnTo>
                  <a:lnTo>
                    <a:pt x="23" y="182"/>
                  </a:lnTo>
                  <a:lnTo>
                    <a:pt x="18" y="196"/>
                  </a:lnTo>
                  <a:lnTo>
                    <a:pt x="13" y="210"/>
                  </a:lnTo>
                  <a:lnTo>
                    <a:pt x="9" y="224"/>
                  </a:lnTo>
                  <a:lnTo>
                    <a:pt x="5" y="239"/>
                  </a:lnTo>
                  <a:lnTo>
                    <a:pt x="3" y="253"/>
                  </a:lnTo>
                  <a:lnTo>
                    <a:pt x="1" y="268"/>
                  </a:lnTo>
                  <a:lnTo>
                    <a:pt x="0" y="284"/>
                  </a:lnTo>
                  <a:lnTo>
                    <a:pt x="0" y="299"/>
                  </a:lnTo>
                  <a:lnTo>
                    <a:pt x="0" y="312"/>
                  </a:lnTo>
                  <a:lnTo>
                    <a:pt x="1" y="326"/>
                  </a:lnTo>
                  <a:lnTo>
                    <a:pt x="2" y="339"/>
                  </a:lnTo>
                  <a:lnTo>
                    <a:pt x="4" y="351"/>
                  </a:lnTo>
                  <a:lnTo>
                    <a:pt x="6" y="364"/>
                  </a:lnTo>
                  <a:lnTo>
                    <a:pt x="9" y="377"/>
                  </a:lnTo>
                  <a:lnTo>
                    <a:pt x="14" y="389"/>
                  </a:lnTo>
                  <a:lnTo>
                    <a:pt x="17" y="401"/>
                  </a:lnTo>
                  <a:lnTo>
                    <a:pt x="22" y="413"/>
                  </a:lnTo>
                  <a:lnTo>
                    <a:pt x="27" y="424"/>
                  </a:lnTo>
                  <a:lnTo>
                    <a:pt x="33" y="436"/>
                  </a:lnTo>
                  <a:lnTo>
                    <a:pt x="38" y="447"/>
                  </a:lnTo>
                  <a:lnTo>
                    <a:pt x="52" y="468"/>
                  </a:lnTo>
                  <a:lnTo>
                    <a:pt x="67" y="488"/>
                  </a:lnTo>
                  <a:lnTo>
                    <a:pt x="83" y="508"/>
                  </a:lnTo>
                  <a:lnTo>
                    <a:pt x="101" y="525"/>
                  </a:lnTo>
                  <a:lnTo>
                    <a:pt x="111" y="532"/>
                  </a:lnTo>
                  <a:lnTo>
                    <a:pt x="122" y="541"/>
                  </a:lnTo>
                  <a:lnTo>
                    <a:pt x="133" y="547"/>
                  </a:lnTo>
                  <a:lnTo>
                    <a:pt x="143" y="555"/>
                  </a:lnTo>
                  <a:lnTo>
                    <a:pt x="154" y="561"/>
                  </a:lnTo>
                  <a:lnTo>
                    <a:pt x="165" y="566"/>
                  </a:lnTo>
                  <a:lnTo>
                    <a:pt x="176" y="572"/>
                  </a:lnTo>
                  <a:lnTo>
                    <a:pt x="188" y="577"/>
                  </a:lnTo>
                  <a:lnTo>
                    <a:pt x="201" y="581"/>
                  </a:lnTo>
                  <a:lnTo>
                    <a:pt x="213" y="586"/>
                  </a:lnTo>
                  <a:lnTo>
                    <a:pt x="226" y="589"/>
                  </a:lnTo>
                  <a:lnTo>
                    <a:pt x="238" y="592"/>
                  </a:lnTo>
                  <a:lnTo>
                    <a:pt x="284" y="753"/>
                  </a:lnTo>
                  <a:lnTo>
                    <a:pt x="287" y="757"/>
                  </a:lnTo>
                  <a:lnTo>
                    <a:pt x="290" y="760"/>
                  </a:lnTo>
                  <a:lnTo>
                    <a:pt x="294" y="762"/>
                  </a:lnTo>
                  <a:lnTo>
                    <a:pt x="299" y="763"/>
                  </a:lnTo>
                  <a:lnTo>
                    <a:pt x="304" y="762"/>
                  </a:lnTo>
                  <a:lnTo>
                    <a:pt x="308" y="760"/>
                  </a:lnTo>
                  <a:lnTo>
                    <a:pt x="311" y="757"/>
                  </a:lnTo>
                  <a:lnTo>
                    <a:pt x="313" y="753"/>
                  </a:lnTo>
                  <a:lnTo>
                    <a:pt x="359" y="592"/>
                  </a:lnTo>
                  <a:lnTo>
                    <a:pt x="372" y="589"/>
                  </a:lnTo>
                  <a:lnTo>
                    <a:pt x="385" y="586"/>
                  </a:lnTo>
                  <a:lnTo>
                    <a:pt x="398" y="581"/>
                  </a:lnTo>
                  <a:lnTo>
                    <a:pt x="410" y="577"/>
                  </a:lnTo>
                  <a:lnTo>
                    <a:pt x="421" y="572"/>
                  </a:lnTo>
                  <a:lnTo>
                    <a:pt x="433" y="566"/>
                  </a:lnTo>
                  <a:lnTo>
                    <a:pt x="445" y="561"/>
                  </a:lnTo>
                  <a:lnTo>
                    <a:pt x="456" y="555"/>
                  </a:lnTo>
                  <a:lnTo>
                    <a:pt x="466" y="547"/>
                  </a:lnTo>
                  <a:lnTo>
                    <a:pt x="477" y="541"/>
                  </a:lnTo>
                  <a:lnTo>
                    <a:pt x="487" y="532"/>
                  </a:lnTo>
                  <a:lnTo>
                    <a:pt x="496" y="525"/>
                  </a:lnTo>
                  <a:lnTo>
                    <a:pt x="514" y="508"/>
                  </a:lnTo>
                  <a:lnTo>
                    <a:pt x="532" y="488"/>
                  </a:lnTo>
                  <a:lnTo>
                    <a:pt x="547" y="468"/>
                  </a:lnTo>
                  <a:lnTo>
                    <a:pt x="559" y="447"/>
                  </a:lnTo>
                  <a:lnTo>
                    <a:pt x="566" y="436"/>
                  </a:lnTo>
                  <a:lnTo>
                    <a:pt x="571" y="424"/>
                  </a:lnTo>
                  <a:lnTo>
                    <a:pt x="577" y="413"/>
                  </a:lnTo>
                  <a:lnTo>
                    <a:pt x="581" y="401"/>
                  </a:lnTo>
                  <a:lnTo>
                    <a:pt x="585" y="389"/>
                  </a:lnTo>
                  <a:lnTo>
                    <a:pt x="588" y="377"/>
                  </a:lnTo>
                  <a:lnTo>
                    <a:pt x="592" y="364"/>
                  </a:lnTo>
                  <a:lnTo>
                    <a:pt x="594" y="351"/>
                  </a:lnTo>
                  <a:lnTo>
                    <a:pt x="596" y="339"/>
                  </a:lnTo>
                  <a:lnTo>
                    <a:pt x="598" y="326"/>
                  </a:lnTo>
                  <a:lnTo>
                    <a:pt x="598" y="312"/>
                  </a:lnTo>
                  <a:lnTo>
                    <a:pt x="599" y="299"/>
                  </a:lnTo>
                  <a:lnTo>
                    <a:pt x="598" y="284"/>
                  </a:lnTo>
                  <a:lnTo>
                    <a:pt x="597" y="268"/>
                  </a:lnTo>
                  <a:lnTo>
                    <a:pt x="595" y="253"/>
                  </a:lnTo>
                  <a:lnTo>
                    <a:pt x="593" y="239"/>
                  </a:lnTo>
                  <a:lnTo>
                    <a:pt x="589" y="224"/>
                  </a:lnTo>
                  <a:lnTo>
                    <a:pt x="585" y="210"/>
                  </a:lnTo>
                  <a:lnTo>
                    <a:pt x="581" y="196"/>
                  </a:lnTo>
                  <a:lnTo>
                    <a:pt x="575" y="182"/>
                  </a:lnTo>
                  <a:lnTo>
                    <a:pt x="569" y="170"/>
                  </a:lnTo>
                  <a:lnTo>
                    <a:pt x="563" y="157"/>
                  </a:lnTo>
                  <a:lnTo>
                    <a:pt x="555" y="144"/>
                  </a:lnTo>
                  <a:lnTo>
                    <a:pt x="548" y="131"/>
                  </a:lnTo>
                  <a:lnTo>
                    <a:pt x="539" y="119"/>
                  </a:lnTo>
                  <a:lnTo>
                    <a:pt x="531" y="109"/>
                  </a:lnTo>
                  <a:lnTo>
                    <a:pt x="521" y="98"/>
                  </a:lnTo>
                  <a:lnTo>
                    <a:pt x="511" y="87"/>
                  </a:lnTo>
                  <a:lnTo>
                    <a:pt x="501" y="78"/>
                  </a:lnTo>
                  <a:lnTo>
                    <a:pt x="490" y="68"/>
                  </a:lnTo>
                  <a:lnTo>
                    <a:pt x="478" y="59"/>
                  </a:lnTo>
                  <a:lnTo>
                    <a:pt x="466" y="51"/>
                  </a:lnTo>
                  <a:lnTo>
                    <a:pt x="455" y="42"/>
                  </a:lnTo>
                  <a:lnTo>
                    <a:pt x="442" y="36"/>
                  </a:lnTo>
                  <a:lnTo>
                    <a:pt x="429" y="29"/>
                  </a:lnTo>
                  <a:lnTo>
                    <a:pt x="416" y="23"/>
                  </a:lnTo>
                  <a:lnTo>
                    <a:pt x="402" y="18"/>
                  </a:lnTo>
                  <a:lnTo>
                    <a:pt x="388" y="13"/>
                  </a:lnTo>
                  <a:lnTo>
                    <a:pt x="374" y="9"/>
                  </a:lnTo>
                  <a:lnTo>
                    <a:pt x="359" y="6"/>
                  </a:lnTo>
                  <a:lnTo>
                    <a:pt x="344" y="3"/>
                  </a:lnTo>
                  <a:lnTo>
                    <a:pt x="329" y="1"/>
                  </a:lnTo>
                  <a:lnTo>
                    <a:pt x="314" y="0"/>
                  </a:lnTo>
                  <a:lnTo>
                    <a:pt x="299" y="0"/>
                  </a:lnTo>
                  <a:lnTo>
                    <a:pt x="2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69" name="Freeform 144">
            <a:extLst>
              <a:ext uri="{FF2B5EF4-FFF2-40B4-BE49-F238E27FC236}">
                <a16:creationId xmlns:a16="http://schemas.microsoft.com/office/drawing/2014/main" id="{478C355F-11E9-4171-81B3-F8C1D52510CC}"/>
              </a:ext>
            </a:extLst>
          </p:cNvPr>
          <p:cNvSpPr>
            <a:spLocks noChangeAspect="1" noEditPoints="1"/>
          </p:cNvSpPr>
          <p:nvPr>
            <p:custDataLst>
              <p:tags r:id="rId6"/>
            </p:custDataLst>
          </p:nvPr>
        </p:nvSpPr>
        <p:spPr bwMode="auto">
          <a:xfrm>
            <a:off x="4466958" y="2186361"/>
            <a:ext cx="252062" cy="306484"/>
          </a:xfrm>
          <a:custGeom>
            <a:avLst/>
            <a:gdLst>
              <a:gd name="T0" fmla="*/ 638 w 702"/>
              <a:gd name="T1" fmla="*/ 461 h 859"/>
              <a:gd name="T2" fmla="*/ 578 w 702"/>
              <a:gd name="T3" fmla="*/ 471 h 859"/>
              <a:gd name="T4" fmla="*/ 495 w 702"/>
              <a:gd name="T5" fmla="*/ 475 h 859"/>
              <a:gd name="T6" fmla="*/ 432 w 702"/>
              <a:gd name="T7" fmla="*/ 471 h 859"/>
              <a:gd name="T8" fmla="*/ 372 w 702"/>
              <a:gd name="T9" fmla="*/ 461 h 859"/>
              <a:gd name="T10" fmla="*/ 312 w 702"/>
              <a:gd name="T11" fmla="*/ 448 h 859"/>
              <a:gd name="T12" fmla="*/ 251 w 702"/>
              <a:gd name="T13" fmla="*/ 438 h 859"/>
              <a:gd name="T14" fmla="*/ 188 w 702"/>
              <a:gd name="T15" fmla="*/ 430 h 859"/>
              <a:gd name="T16" fmla="*/ 123 w 702"/>
              <a:gd name="T17" fmla="*/ 431 h 859"/>
              <a:gd name="T18" fmla="*/ 61 w 702"/>
              <a:gd name="T19" fmla="*/ 440 h 859"/>
              <a:gd name="T20" fmla="*/ 55 w 702"/>
              <a:gd name="T21" fmla="*/ 51 h 859"/>
              <a:gd name="T22" fmla="*/ 118 w 702"/>
              <a:gd name="T23" fmla="*/ 41 h 859"/>
              <a:gd name="T24" fmla="*/ 187 w 702"/>
              <a:gd name="T25" fmla="*/ 40 h 859"/>
              <a:gd name="T26" fmla="*/ 245 w 702"/>
              <a:gd name="T27" fmla="*/ 47 h 859"/>
              <a:gd name="T28" fmla="*/ 344 w 702"/>
              <a:gd name="T29" fmla="*/ 66 h 859"/>
              <a:gd name="T30" fmla="*/ 406 w 702"/>
              <a:gd name="T31" fmla="*/ 78 h 859"/>
              <a:gd name="T32" fmla="*/ 472 w 702"/>
              <a:gd name="T33" fmla="*/ 84 h 859"/>
              <a:gd name="T34" fmla="*/ 550 w 702"/>
              <a:gd name="T35" fmla="*/ 83 h 859"/>
              <a:gd name="T36" fmla="*/ 617 w 702"/>
              <a:gd name="T37" fmla="*/ 76 h 859"/>
              <a:gd name="T38" fmla="*/ 663 w 702"/>
              <a:gd name="T39" fmla="*/ 66 h 859"/>
              <a:gd name="T40" fmla="*/ 676 w 702"/>
              <a:gd name="T41" fmla="*/ 22 h 859"/>
              <a:gd name="T42" fmla="*/ 648 w 702"/>
              <a:gd name="T43" fmla="*/ 29 h 859"/>
              <a:gd name="T44" fmla="*/ 569 w 702"/>
              <a:gd name="T45" fmla="*/ 42 h 859"/>
              <a:gd name="T46" fmla="*/ 473 w 702"/>
              <a:gd name="T47" fmla="*/ 45 h 859"/>
              <a:gd name="T48" fmla="*/ 412 w 702"/>
              <a:gd name="T49" fmla="*/ 39 h 859"/>
              <a:gd name="T50" fmla="*/ 351 w 702"/>
              <a:gd name="T51" fmla="*/ 27 h 859"/>
              <a:gd name="T52" fmla="*/ 292 w 702"/>
              <a:gd name="T53" fmla="*/ 15 h 859"/>
              <a:gd name="T54" fmla="*/ 230 w 702"/>
              <a:gd name="T55" fmla="*/ 4 h 859"/>
              <a:gd name="T56" fmla="*/ 166 w 702"/>
              <a:gd name="T57" fmla="*/ 0 h 859"/>
              <a:gd name="T58" fmla="*/ 67 w 702"/>
              <a:gd name="T59" fmla="*/ 9 h 859"/>
              <a:gd name="T60" fmla="*/ 18 w 702"/>
              <a:gd name="T61" fmla="*/ 23 h 859"/>
              <a:gd name="T62" fmla="*/ 0 w 702"/>
              <a:gd name="T63" fmla="*/ 34 h 859"/>
              <a:gd name="T64" fmla="*/ 0 w 702"/>
              <a:gd name="T65" fmla="*/ 859 h 859"/>
              <a:gd name="T66" fmla="*/ 55 w 702"/>
              <a:gd name="T67" fmla="*/ 481 h 859"/>
              <a:gd name="T68" fmla="*/ 118 w 702"/>
              <a:gd name="T69" fmla="*/ 471 h 859"/>
              <a:gd name="T70" fmla="*/ 187 w 702"/>
              <a:gd name="T71" fmla="*/ 470 h 859"/>
              <a:gd name="T72" fmla="*/ 245 w 702"/>
              <a:gd name="T73" fmla="*/ 475 h 859"/>
              <a:gd name="T74" fmla="*/ 344 w 702"/>
              <a:gd name="T75" fmla="*/ 496 h 859"/>
              <a:gd name="T76" fmla="*/ 406 w 702"/>
              <a:gd name="T77" fmla="*/ 507 h 859"/>
              <a:gd name="T78" fmla="*/ 472 w 702"/>
              <a:gd name="T79" fmla="*/ 514 h 859"/>
              <a:gd name="T80" fmla="*/ 575 w 702"/>
              <a:gd name="T81" fmla="*/ 511 h 859"/>
              <a:gd name="T82" fmla="*/ 658 w 702"/>
              <a:gd name="T83" fmla="*/ 497 h 859"/>
              <a:gd name="T84" fmla="*/ 689 w 702"/>
              <a:gd name="T85" fmla="*/ 488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2" h="859">
                <a:moveTo>
                  <a:pt x="663" y="455"/>
                </a:moveTo>
                <a:lnTo>
                  <a:pt x="652" y="458"/>
                </a:lnTo>
                <a:lnTo>
                  <a:pt x="638" y="461"/>
                </a:lnTo>
                <a:lnTo>
                  <a:pt x="621" y="465"/>
                </a:lnTo>
                <a:lnTo>
                  <a:pt x="601" y="468"/>
                </a:lnTo>
                <a:lnTo>
                  <a:pt x="578" y="471"/>
                </a:lnTo>
                <a:lnTo>
                  <a:pt x="553" y="473"/>
                </a:lnTo>
                <a:lnTo>
                  <a:pt x="525" y="475"/>
                </a:lnTo>
                <a:lnTo>
                  <a:pt x="495" y="475"/>
                </a:lnTo>
                <a:lnTo>
                  <a:pt x="473" y="475"/>
                </a:lnTo>
                <a:lnTo>
                  <a:pt x="453" y="473"/>
                </a:lnTo>
                <a:lnTo>
                  <a:pt x="432" y="471"/>
                </a:lnTo>
                <a:lnTo>
                  <a:pt x="412" y="469"/>
                </a:lnTo>
                <a:lnTo>
                  <a:pt x="391" y="465"/>
                </a:lnTo>
                <a:lnTo>
                  <a:pt x="372" y="461"/>
                </a:lnTo>
                <a:lnTo>
                  <a:pt x="351" y="457"/>
                </a:lnTo>
                <a:lnTo>
                  <a:pt x="332" y="453"/>
                </a:lnTo>
                <a:lnTo>
                  <a:pt x="312" y="448"/>
                </a:lnTo>
                <a:lnTo>
                  <a:pt x="292" y="444"/>
                </a:lnTo>
                <a:lnTo>
                  <a:pt x="271" y="441"/>
                </a:lnTo>
                <a:lnTo>
                  <a:pt x="251" y="438"/>
                </a:lnTo>
                <a:lnTo>
                  <a:pt x="230" y="434"/>
                </a:lnTo>
                <a:lnTo>
                  <a:pt x="210" y="432"/>
                </a:lnTo>
                <a:lnTo>
                  <a:pt x="188" y="430"/>
                </a:lnTo>
                <a:lnTo>
                  <a:pt x="166" y="430"/>
                </a:lnTo>
                <a:lnTo>
                  <a:pt x="144" y="430"/>
                </a:lnTo>
                <a:lnTo>
                  <a:pt x="123" y="431"/>
                </a:lnTo>
                <a:lnTo>
                  <a:pt x="105" y="433"/>
                </a:lnTo>
                <a:lnTo>
                  <a:pt x="89" y="434"/>
                </a:lnTo>
                <a:lnTo>
                  <a:pt x="61" y="440"/>
                </a:lnTo>
                <a:lnTo>
                  <a:pt x="39" y="445"/>
                </a:lnTo>
                <a:lnTo>
                  <a:pt x="39" y="56"/>
                </a:lnTo>
                <a:lnTo>
                  <a:pt x="55" y="51"/>
                </a:lnTo>
                <a:lnTo>
                  <a:pt x="81" y="45"/>
                </a:lnTo>
                <a:lnTo>
                  <a:pt x="98" y="43"/>
                </a:lnTo>
                <a:lnTo>
                  <a:pt x="118" y="41"/>
                </a:lnTo>
                <a:lnTo>
                  <a:pt x="140" y="40"/>
                </a:lnTo>
                <a:lnTo>
                  <a:pt x="166" y="39"/>
                </a:lnTo>
                <a:lnTo>
                  <a:pt x="187" y="40"/>
                </a:lnTo>
                <a:lnTo>
                  <a:pt x="206" y="41"/>
                </a:lnTo>
                <a:lnTo>
                  <a:pt x="226" y="43"/>
                </a:lnTo>
                <a:lnTo>
                  <a:pt x="245" y="47"/>
                </a:lnTo>
                <a:lnTo>
                  <a:pt x="284" y="53"/>
                </a:lnTo>
                <a:lnTo>
                  <a:pt x="324" y="62"/>
                </a:lnTo>
                <a:lnTo>
                  <a:pt x="344" y="66"/>
                </a:lnTo>
                <a:lnTo>
                  <a:pt x="364" y="70"/>
                </a:lnTo>
                <a:lnTo>
                  <a:pt x="386" y="74"/>
                </a:lnTo>
                <a:lnTo>
                  <a:pt x="406" y="78"/>
                </a:lnTo>
                <a:lnTo>
                  <a:pt x="428" y="80"/>
                </a:lnTo>
                <a:lnTo>
                  <a:pt x="449" y="83"/>
                </a:lnTo>
                <a:lnTo>
                  <a:pt x="472" y="84"/>
                </a:lnTo>
                <a:lnTo>
                  <a:pt x="495" y="84"/>
                </a:lnTo>
                <a:lnTo>
                  <a:pt x="523" y="84"/>
                </a:lnTo>
                <a:lnTo>
                  <a:pt x="550" y="83"/>
                </a:lnTo>
                <a:lnTo>
                  <a:pt x="575" y="81"/>
                </a:lnTo>
                <a:lnTo>
                  <a:pt x="596" y="78"/>
                </a:lnTo>
                <a:lnTo>
                  <a:pt x="617" y="76"/>
                </a:lnTo>
                <a:lnTo>
                  <a:pt x="635" y="72"/>
                </a:lnTo>
                <a:lnTo>
                  <a:pt x="650" y="69"/>
                </a:lnTo>
                <a:lnTo>
                  <a:pt x="663" y="66"/>
                </a:lnTo>
                <a:lnTo>
                  <a:pt x="663" y="455"/>
                </a:lnTo>
                <a:close/>
                <a:moveTo>
                  <a:pt x="702" y="12"/>
                </a:moveTo>
                <a:lnTo>
                  <a:pt x="676" y="22"/>
                </a:lnTo>
                <a:lnTo>
                  <a:pt x="673" y="23"/>
                </a:lnTo>
                <a:lnTo>
                  <a:pt x="663" y="25"/>
                </a:lnTo>
                <a:lnTo>
                  <a:pt x="648" y="29"/>
                </a:lnTo>
                <a:lnTo>
                  <a:pt x="627" y="34"/>
                </a:lnTo>
                <a:lnTo>
                  <a:pt x="601" y="38"/>
                </a:lnTo>
                <a:lnTo>
                  <a:pt x="569" y="42"/>
                </a:lnTo>
                <a:lnTo>
                  <a:pt x="535" y="44"/>
                </a:lnTo>
                <a:lnTo>
                  <a:pt x="495" y="45"/>
                </a:lnTo>
                <a:lnTo>
                  <a:pt x="473" y="45"/>
                </a:lnTo>
                <a:lnTo>
                  <a:pt x="453" y="44"/>
                </a:lnTo>
                <a:lnTo>
                  <a:pt x="432" y="41"/>
                </a:lnTo>
                <a:lnTo>
                  <a:pt x="412" y="39"/>
                </a:lnTo>
                <a:lnTo>
                  <a:pt x="391" y="36"/>
                </a:lnTo>
                <a:lnTo>
                  <a:pt x="372" y="31"/>
                </a:lnTo>
                <a:lnTo>
                  <a:pt x="351" y="27"/>
                </a:lnTo>
                <a:lnTo>
                  <a:pt x="332" y="23"/>
                </a:lnTo>
                <a:lnTo>
                  <a:pt x="312" y="20"/>
                </a:lnTo>
                <a:lnTo>
                  <a:pt x="292" y="15"/>
                </a:lnTo>
                <a:lnTo>
                  <a:pt x="271" y="11"/>
                </a:lnTo>
                <a:lnTo>
                  <a:pt x="251" y="8"/>
                </a:lnTo>
                <a:lnTo>
                  <a:pt x="230" y="4"/>
                </a:lnTo>
                <a:lnTo>
                  <a:pt x="210" y="2"/>
                </a:lnTo>
                <a:lnTo>
                  <a:pt x="188" y="1"/>
                </a:lnTo>
                <a:lnTo>
                  <a:pt x="166" y="0"/>
                </a:lnTo>
                <a:lnTo>
                  <a:pt x="126" y="1"/>
                </a:lnTo>
                <a:lnTo>
                  <a:pt x="94" y="4"/>
                </a:lnTo>
                <a:lnTo>
                  <a:pt x="67" y="9"/>
                </a:lnTo>
                <a:lnTo>
                  <a:pt x="45" y="13"/>
                </a:lnTo>
                <a:lnTo>
                  <a:pt x="30" y="18"/>
                </a:lnTo>
                <a:lnTo>
                  <a:pt x="18" y="23"/>
                </a:lnTo>
                <a:lnTo>
                  <a:pt x="12" y="26"/>
                </a:lnTo>
                <a:lnTo>
                  <a:pt x="9" y="28"/>
                </a:lnTo>
                <a:lnTo>
                  <a:pt x="0" y="34"/>
                </a:lnTo>
                <a:lnTo>
                  <a:pt x="0" y="40"/>
                </a:lnTo>
                <a:lnTo>
                  <a:pt x="0" y="479"/>
                </a:lnTo>
                <a:lnTo>
                  <a:pt x="0" y="859"/>
                </a:lnTo>
                <a:lnTo>
                  <a:pt x="39" y="859"/>
                </a:lnTo>
                <a:lnTo>
                  <a:pt x="39" y="486"/>
                </a:lnTo>
                <a:lnTo>
                  <a:pt x="55" y="481"/>
                </a:lnTo>
                <a:lnTo>
                  <a:pt x="81" y="475"/>
                </a:lnTo>
                <a:lnTo>
                  <a:pt x="98" y="473"/>
                </a:lnTo>
                <a:lnTo>
                  <a:pt x="118" y="471"/>
                </a:lnTo>
                <a:lnTo>
                  <a:pt x="140" y="470"/>
                </a:lnTo>
                <a:lnTo>
                  <a:pt x="166" y="469"/>
                </a:lnTo>
                <a:lnTo>
                  <a:pt x="187" y="470"/>
                </a:lnTo>
                <a:lnTo>
                  <a:pt x="206" y="471"/>
                </a:lnTo>
                <a:lnTo>
                  <a:pt x="226" y="473"/>
                </a:lnTo>
                <a:lnTo>
                  <a:pt x="245" y="475"/>
                </a:lnTo>
                <a:lnTo>
                  <a:pt x="284" y="483"/>
                </a:lnTo>
                <a:lnTo>
                  <a:pt x="324" y="492"/>
                </a:lnTo>
                <a:lnTo>
                  <a:pt x="344" y="496"/>
                </a:lnTo>
                <a:lnTo>
                  <a:pt x="364" y="499"/>
                </a:lnTo>
                <a:lnTo>
                  <a:pt x="386" y="503"/>
                </a:lnTo>
                <a:lnTo>
                  <a:pt x="406" y="507"/>
                </a:lnTo>
                <a:lnTo>
                  <a:pt x="428" y="510"/>
                </a:lnTo>
                <a:lnTo>
                  <a:pt x="449" y="512"/>
                </a:lnTo>
                <a:lnTo>
                  <a:pt x="472" y="514"/>
                </a:lnTo>
                <a:lnTo>
                  <a:pt x="495" y="514"/>
                </a:lnTo>
                <a:lnTo>
                  <a:pt x="537" y="513"/>
                </a:lnTo>
                <a:lnTo>
                  <a:pt x="575" y="511"/>
                </a:lnTo>
                <a:lnTo>
                  <a:pt x="607" y="507"/>
                </a:lnTo>
                <a:lnTo>
                  <a:pt x="635" y="501"/>
                </a:lnTo>
                <a:lnTo>
                  <a:pt x="658" y="497"/>
                </a:lnTo>
                <a:lnTo>
                  <a:pt x="674" y="493"/>
                </a:lnTo>
                <a:lnTo>
                  <a:pt x="685" y="489"/>
                </a:lnTo>
                <a:lnTo>
                  <a:pt x="689" y="488"/>
                </a:lnTo>
                <a:lnTo>
                  <a:pt x="702" y="483"/>
                </a:lnTo>
                <a:lnTo>
                  <a:pt x="702" y="1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784" name="Group 44">
            <a:extLst>
              <a:ext uri="{FF2B5EF4-FFF2-40B4-BE49-F238E27FC236}">
                <a16:creationId xmlns:a16="http://schemas.microsoft.com/office/drawing/2014/main" id="{9846A4B3-C22B-405D-8960-A46CDCF543BE}"/>
              </a:ext>
            </a:extLst>
          </p:cNvPr>
          <p:cNvGrpSpPr>
            <a:grpSpLocks noChangeAspect="1"/>
          </p:cNvGrpSpPr>
          <p:nvPr/>
        </p:nvGrpSpPr>
        <p:grpSpPr>
          <a:xfrm>
            <a:off x="4964603" y="2186361"/>
            <a:ext cx="171972" cy="306484"/>
            <a:chOff x="3813175" y="1927225"/>
            <a:chExt cx="160338" cy="285750"/>
          </a:xfrm>
          <a:solidFill>
            <a:schemeClr val="bg1"/>
          </a:solidFill>
          <a:effectLst/>
        </p:grpSpPr>
        <p:sp>
          <p:nvSpPr>
            <p:cNvPr id="785" name="Freeform 71">
              <a:extLst>
                <a:ext uri="{FF2B5EF4-FFF2-40B4-BE49-F238E27FC236}">
                  <a16:creationId xmlns:a16="http://schemas.microsoft.com/office/drawing/2014/main" id="{B92F1D4D-0F37-4E21-844B-B471093FDDDB}"/>
                </a:ext>
              </a:extLst>
            </p:cNvPr>
            <p:cNvSpPr>
              <a:spLocks noEditPoints="1"/>
            </p:cNvSpPr>
            <p:nvPr/>
          </p:nvSpPr>
          <p:spPr bwMode="auto">
            <a:xfrm>
              <a:off x="3813175" y="1927225"/>
              <a:ext cx="160338" cy="285750"/>
            </a:xfrm>
            <a:custGeom>
              <a:avLst/>
              <a:gdLst>
                <a:gd name="T0" fmla="*/ 312 w 509"/>
                <a:gd name="T1" fmla="*/ 603 h 898"/>
                <a:gd name="T2" fmla="*/ 263 w 509"/>
                <a:gd name="T3" fmla="*/ 695 h 898"/>
                <a:gd name="T4" fmla="*/ 224 w 509"/>
                <a:gd name="T5" fmla="*/ 650 h 898"/>
                <a:gd name="T6" fmla="*/ 168 w 509"/>
                <a:gd name="T7" fmla="*/ 555 h 898"/>
                <a:gd name="T8" fmla="*/ 87 w 509"/>
                <a:gd name="T9" fmla="*/ 423 h 898"/>
                <a:gd name="T10" fmla="*/ 46 w 509"/>
                <a:gd name="T11" fmla="*/ 335 h 898"/>
                <a:gd name="T12" fmla="*/ 30 w 509"/>
                <a:gd name="T13" fmla="*/ 270 h 898"/>
                <a:gd name="T14" fmla="*/ 32 w 509"/>
                <a:gd name="T15" fmla="*/ 210 h 898"/>
                <a:gd name="T16" fmla="*/ 45 w 509"/>
                <a:gd name="T17" fmla="*/ 160 h 898"/>
                <a:gd name="T18" fmla="*/ 65 w 509"/>
                <a:gd name="T19" fmla="*/ 119 h 898"/>
                <a:gd name="T20" fmla="*/ 93 w 509"/>
                <a:gd name="T21" fmla="*/ 86 h 898"/>
                <a:gd name="T22" fmla="*/ 126 w 509"/>
                <a:gd name="T23" fmla="*/ 62 h 898"/>
                <a:gd name="T24" fmla="*/ 194 w 509"/>
                <a:gd name="T25" fmla="*/ 36 h 898"/>
                <a:gd name="T26" fmla="*/ 275 w 509"/>
                <a:gd name="T27" fmla="*/ 30 h 898"/>
                <a:gd name="T28" fmla="*/ 354 w 509"/>
                <a:gd name="T29" fmla="*/ 48 h 898"/>
                <a:gd name="T30" fmla="*/ 399 w 509"/>
                <a:gd name="T31" fmla="*/ 73 h 898"/>
                <a:gd name="T32" fmla="*/ 430 w 509"/>
                <a:gd name="T33" fmla="*/ 101 h 898"/>
                <a:gd name="T34" fmla="*/ 454 w 509"/>
                <a:gd name="T35" fmla="*/ 139 h 898"/>
                <a:gd name="T36" fmla="*/ 471 w 509"/>
                <a:gd name="T37" fmla="*/ 184 h 898"/>
                <a:gd name="T38" fmla="*/ 478 w 509"/>
                <a:gd name="T39" fmla="*/ 239 h 898"/>
                <a:gd name="T40" fmla="*/ 473 w 509"/>
                <a:gd name="T41" fmla="*/ 302 h 898"/>
                <a:gd name="T42" fmla="*/ 448 w 509"/>
                <a:gd name="T43" fmla="*/ 371 h 898"/>
                <a:gd name="T44" fmla="*/ 379 w 509"/>
                <a:gd name="T45" fmla="*/ 495 h 898"/>
                <a:gd name="T46" fmla="*/ 232 w 509"/>
                <a:gd name="T47" fmla="*/ 0 h 898"/>
                <a:gd name="T48" fmla="*/ 144 w 509"/>
                <a:gd name="T49" fmla="*/ 21 h 898"/>
                <a:gd name="T50" fmla="*/ 92 w 509"/>
                <a:gd name="T51" fmla="*/ 49 h 898"/>
                <a:gd name="T52" fmla="*/ 57 w 509"/>
                <a:gd name="T53" fmla="*/ 81 h 898"/>
                <a:gd name="T54" fmla="*/ 29 w 509"/>
                <a:gd name="T55" fmla="*/ 123 h 898"/>
                <a:gd name="T56" fmla="*/ 9 w 509"/>
                <a:gd name="T57" fmla="*/ 175 h 898"/>
                <a:gd name="T58" fmla="*/ 0 w 509"/>
                <a:gd name="T59" fmla="*/ 237 h 898"/>
                <a:gd name="T60" fmla="*/ 7 w 509"/>
                <a:gd name="T61" fmla="*/ 307 h 898"/>
                <a:gd name="T62" fmla="*/ 31 w 509"/>
                <a:gd name="T63" fmla="*/ 379 h 898"/>
                <a:gd name="T64" fmla="*/ 104 w 509"/>
                <a:gd name="T65" fmla="*/ 510 h 898"/>
                <a:gd name="T66" fmla="*/ 188 w 509"/>
                <a:gd name="T67" fmla="*/ 647 h 898"/>
                <a:gd name="T68" fmla="*/ 225 w 509"/>
                <a:gd name="T69" fmla="*/ 724 h 898"/>
                <a:gd name="T70" fmla="*/ 239 w 509"/>
                <a:gd name="T71" fmla="*/ 780 h 898"/>
                <a:gd name="T72" fmla="*/ 241 w 509"/>
                <a:gd name="T73" fmla="*/ 888 h 898"/>
                <a:gd name="T74" fmla="*/ 248 w 509"/>
                <a:gd name="T75" fmla="*/ 897 h 898"/>
                <a:gd name="T76" fmla="*/ 260 w 509"/>
                <a:gd name="T77" fmla="*/ 897 h 898"/>
                <a:gd name="T78" fmla="*/ 268 w 509"/>
                <a:gd name="T79" fmla="*/ 888 h 898"/>
                <a:gd name="T80" fmla="*/ 270 w 509"/>
                <a:gd name="T81" fmla="*/ 780 h 898"/>
                <a:gd name="T82" fmla="*/ 284 w 509"/>
                <a:gd name="T83" fmla="*/ 724 h 898"/>
                <a:gd name="T84" fmla="*/ 321 w 509"/>
                <a:gd name="T85" fmla="*/ 647 h 898"/>
                <a:gd name="T86" fmla="*/ 405 w 509"/>
                <a:gd name="T87" fmla="*/ 510 h 898"/>
                <a:gd name="T88" fmla="*/ 477 w 509"/>
                <a:gd name="T89" fmla="*/ 379 h 898"/>
                <a:gd name="T90" fmla="*/ 503 w 509"/>
                <a:gd name="T91" fmla="*/ 307 h 898"/>
                <a:gd name="T92" fmla="*/ 508 w 509"/>
                <a:gd name="T93" fmla="*/ 237 h 898"/>
                <a:gd name="T94" fmla="*/ 500 w 509"/>
                <a:gd name="T95" fmla="*/ 175 h 898"/>
                <a:gd name="T96" fmla="*/ 480 w 509"/>
                <a:gd name="T97" fmla="*/ 123 h 898"/>
                <a:gd name="T98" fmla="*/ 452 w 509"/>
                <a:gd name="T99" fmla="*/ 81 h 898"/>
                <a:gd name="T100" fmla="*/ 416 w 509"/>
                <a:gd name="T101" fmla="*/ 49 h 898"/>
                <a:gd name="T102" fmla="*/ 365 w 509"/>
                <a:gd name="T103" fmla="*/ 21 h 898"/>
                <a:gd name="T104" fmla="*/ 276 w 509"/>
                <a:gd name="T105" fmla="*/ 0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9" h="898">
                  <a:moveTo>
                    <a:pt x="356" y="531"/>
                  </a:moveTo>
                  <a:lnTo>
                    <a:pt x="340" y="555"/>
                  </a:lnTo>
                  <a:lnTo>
                    <a:pt x="325" y="579"/>
                  </a:lnTo>
                  <a:lnTo>
                    <a:pt x="312" y="603"/>
                  </a:lnTo>
                  <a:lnTo>
                    <a:pt x="298" y="626"/>
                  </a:lnTo>
                  <a:lnTo>
                    <a:pt x="285" y="650"/>
                  </a:lnTo>
                  <a:lnTo>
                    <a:pt x="273" y="672"/>
                  </a:lnTo>
                  <a:lnTo>
                    <a:pt x="263" y="695"/>
                  </a:lnTo>
                  <a:lnTo>
                    <a:pt x="255" y="717"/>
                  </a:lnTo>
                  <a:lnTo>
                    <a:pt x="245" y="695"/>
                  </a:lnTo>
                  <a:lnTo>
                    <a:pt x="236" y="672"/>
                  </a:lnTo>
                  <a:lnTo>
                    <a:pt x="224" y="650"/>
                  </a:lnTo>
                  <a:lnTo>
                    <a:pt x="211" y="626"/>
                  </a:lnTo>
                  <a:lnTo>
                    <a:pt x="197" y="603"/>
                  </a:lnTo>
                  <a:lnTo>
                    <a:pt x="183" y="579"/>
                  </a:lnTo>
                  <a:lnTo>
                    <a:pt x="168" y="555"/>
                  </a:lnTo>
                  <a:lnTo>
                    <a:pt x="152" y="531"/>
                  </a:lnTo>
                  <a:lnTo>
                    <a:pt x="130" y="495"/>
                  </a:lnTo>
                  <a:lnTo>
                    <a:pt x="108" y="460"/>
                  </a:lnTo>
                  <a:lnTo>
                    <a:pt x="87" y="423"/>
                  </a:lnTo>
                  <a:lnTo>
                    <a:pt x="69" y="388"/>
                  </a:lnTo>
                  <a:lnTo>
                    <a:pt x="60" y="371"/>
                  </a:lnTo>
                  <a:lnTo>
                    <a:pt x="53" y="353"/>
                  </a:lnTo>
                  <a:lnTo>
                    <a:pt x="46" y="335"/>
                  </a:lnTo>
                  <a:lnTo>
                    <a:pt x="41" y="318"/>
                  </a:lnTo>
                  <a:lnTo>
                    <a:pt x="35" y="302"/>
                  </a:lnTo>
                  <a:lnTo>
                    <a:pt x="32" y="286"/>
                  </a:lnTo>
                  <a:lnTo>
                    <a:pt x="30" y="270"/>
                  </a:lnTo>
                  <a:lnTo>
                    <a:pt x="30" y="254"/>
                  </a:lnTo>
                  <a:lnTo>
                    <a:pt x="30" y="239"/>
                  </a:lnTo>
                  <a:lnTo>
                    <a:pt x="31" y="224"/>
                  </a:lnTo>
                  <a:lnTo>
                    <a:pt x="32" y="210"/>
                  </a:lnTo>
                  <a:lnTo>
                    <a:pt x="34" y="196"/>
                  </a:lnTo>
                  <a:lnTo>
                    <a:pt x="38" y="184"/>
                  </a:lnTo>
                  <a:lnTo>
                    <a:pt x="41" y="172"/>
                  </a:lnTo>
                  <a:lnTo>
                    <a:pt x="45" y="160"/>
                  </a:lnTo>
                  <a:lnTo>
                    <a:pt x="49" y="149"/>
                  </a:lnTo>
                  <a:lnTo>
                    <a:pt x="55" y="139"/>
                  </a:lnTo>
                  <a:lnTo>
                    <a:pt x="60" y="128"/>
                  </a:lnTo>
                  <a:lnTo>
                    <a:pt x="65" y="119"/>
                  </a:lnTo>
                  <a:lnTo>
                    <a:pt x="72" y="110"/>
                  </a:lnTo>
                  <a:lnTo>
                    <a:pt x="79" y="101"/>
                  </a:lnTo>
                  <a:lnTo>
                    <a:pt x="86" y="94"/>
                  </a:lnTo>
                  <a:lnTo>
                    <a:pt x="93" y="86"/>
                  </a:lnTo>
                  <a:lnTo>
                    <a:pt x="102" y="80"/>
                  </a:lnTo>
                  <a:lnTo>
                    <a:pt x="109" y="73"/>
                  </a:lnTo>
                  <a:lnTo>
                    <a:pt x="118" y="67"/>
                  </a:lnTo>
                  <a:lnTo>
                    <a:pt x="126" y="62"/>
                  </a:lnTo>
                  <a:lnTo>
                    <a:pt x="136" y="56"/>
                  </a:lnTo>
                  <a:lnTo>
                    <a:pt x="154" y="48"/>
                  </a:lnTo>
                  <a:lnTo>
                    <a:pt x="174" y="41"/>
                  </a:lnTo>
                  <a:lnTo>
                    <a:pt x="194" y="36"/>
                  </a:lnTo>
                  <a:lnTo>
                    <a:pt x="213" y="32"/>
                  </a:lnTo>
                  <a:lnTo>
                    <a:pt x="233" y="30"/>
                  </a:lnTo>
                  <a:lnTo>
                    <a:pt x="255" y="30"/>
                  </a:lnTo>
                  <a:lnTo>
                    <a:pt x="275" y="30"/>
                  </a:lnTo>
                  <a:lnTo>
                    <a:pt x="295" y="32"/>
                  </a:lnTo>
                  <a:lnTo>
                    <a:pt x="316" y="36"/>
                  </a:lnTo>
                  <a:lnTo>
                    <a:pt x="335" y="41"/>
                  </a:lnTo>
                  <a:lnTo>
                    <a:pt x="354" y="48"/>
                  </a:lnTo>
                  <a:lnTo>
                    <a:pt x="374" y="56"/>
                  </a:lnTo>
                  <a:lnTo>
                    <a:pt x="382" y="62"/>
                  </a:lnTo>
                  <a:lnTo>
                    <a:pt x="391" y="67"/>
                  </a:lnTo>
                  <a:lnTo>
                    <a:pt x="399" y="73"/>
                  </a:lnTo>
                  <a:lnTo>
                    <a:pt x="408" y="80"/>
                  </a:lnTo>
                  <a:lnTo>
                    <a:pt x="415" y="86"/>
                  </a:lnTo>
                  <a:lnTo>
                    <a:pt x="423" y="94"/>
                  </a:lnTo>
                  <a:lnTo>
                    <a:pt x="430" y="101"/>
                  </a:lnTo>
                  <a:lnTo>
                    <a:pt x="437" y="110"/>
                  </a:lnTo>
                  <a:lnTo>
                    <a:pt x="443" y="119"/>
                  </a:lnTo>
                  <a:lnTo>
                    <a:pt x="448" y="128"/>
                  </a:lnTo>
                  <a:lnTo>
                    <a:pt x="454" y="139"/>
                  </a:lnTo>
                  <a:lnTo>
                    <a:pt x="459" y="149"/>
                  </a:lnTo>
                  <a:lnTo>
                    <a:pt x="463" y="160"/>
                  </a:lnTo>
                  <a:lnTo>
                    <a:pt x="468" y="172"/>
                  </a:lnTo>
                  <a:lnTo>
                    <a:pt x="471" y="184"/>
                  </a:lnTo>
                  <a:lnTo>
                    <a:pt x="474" y="196"/>
                  </a:lnTo>
                  <a:lnTo>
                    <a:pt x="476" y="210"/>
                  </a:lnTo>
                  <a:lnTo>
                    <a:pt x="477" y="224"/>
                  </a:lnTo>
                  <a:lnTo>
                    <a:pt x="478" y="239"/>
                  </a:lnTo>
                  <a:lnTo>
                    <a:pt x="480" y="254"/>
                  </a:lnTo>
                  <a:lnTo>
                    <a:pt x="478" y="270"/>
                  </a:lnTo>
                  <a:lnTo>
                    <a:pt x="476" y="286"/>
                  </a:lnTo>
                  <a:lnTo>
                    <a:pt x="473" y="302"/>
                  </a:lnTo>
                  <a:lnTo>
                    <a:pt x="469" y="318"/>
                  </a:lnTo>
                  <a:lnTo>
                    <a:pt x="462" y="335"/>
                  </a:lnTo>
                  <a:lnTo>
                    <a:pt x="456" y="353"/>
                  </a:lnTo>
                  <a:lnTo>
                    <a:pt x="448" y="371"/>
                  </a:lnTo>
                  <a:lnTo>
                    <a:pt x="440" y="388"/>
                  </a:lnTo>
                  <a:lnTo>
                    <a:pt x="422" y="423"/>
                  </a:lnTo>
                  <a:lnTo>
                    <a:pt x="401" y="460"/>
                  </a:lnTo>
                  <a:lnTo>
                    <a:pt x="379" y="495"/>
                  </a:lnTo>
                  <a:lnTo>
                    <a:pt x="356" y="531"/>
                  </a:lnTo>
                  <a:lnTo>
                    <a:pt x="356" y="531"/>
                  </a:lnTo>
                  <a:close/>
                  <a:moveTo>
                    <a:pt x="255" y="0"/>
                  </a:moveTo>
                  <a:lnTo>
                    <a:pt x="232" y="0"/>
                  </a:lnTo>
                  <a:lnTo>
                    <a:pt x="210" y="3"/>
                  </a:lnTo>
                  <a:lnTo>
                    <a:pt x="187" y="7"/>
                  </a:lnTo>
                  <a:lnTo>
                    <a:pt x="165" y="12"/>
                  </a:lnTo>
                  <a:lnTo>
                    <a:pt x="144" y="21"/>
                  </a:lnTo>
                  <a:lnTo>
                    <a:pt x="122" y="31"/>
                  </a:lnTo>
                  <a:lnTo>
                    <a:pt x="111" y="36"/>
                  </a:lnTo>
                  <a:lnTo>
                    <a:pt x="102" y="42"/>
                  </a:lnTo>
                  <a:lnTo>
                    <a:pt x="92" y="49"/>
                  </a:lnTo>
                  <a:lnTo>
                    <a:pt x="83" y="56"/>
                  </a:lnTo>
                  <a:lnTo>
                    <a:pt x="74" y="64"/>
                  </a:lnTo>
                  <a:lnTo>
                    <a:pt x="65" y="72"/>
                  </a:lnTo>
                  <a:lnTo>
                    <a:pt x="57" y="81"/>
                  </a:lnTo>
                  <a:lnTo>
                    <a:pt x="49" y="91"/>
                  </a:lnTo>
                  <a:lnTo>
                    <a:pt x="42" y="101"/>
                  </a:lnTo>
                  <a:lnTo>
                    <a:pt x="35" y="112"/>
                  </a:lnTo>
                  <a:lnTo>
                    <a:pt x="29" y="123"/>
                  </a:lnTo>
                  <a:lnTo>
                    <a:pt x="23" y="134"/>
                  </a:lnTo>
                  <a:lnTo>
                    <a:pt x="17" y="147"/>
                  </a:lnTo>
                  <a:lnTo>
                    <a:pt x="13" y="161"/>
                  </a:lnTo>
                  <a:lnTo>
                    <a:pt x="9" y="175"/>
                  </a:lnTo>
                  <a:lnTo>
                    <a:pt x="6" y="189"/>
                  </a:lnTo>
                  <a:lnTo>
                    <a:pt x="3" y="204"/>
                  </a:lnTo>
                  <a:lnTo>
                    <a:pt x="1" y="220"/>
                  </a:lnTo>
                  <a:lnTo>
                    <a:pt x="0" y="237"/>
                  </a:lnTo>
                  <a:lnTo>
                    <a:pt x="0" y="254"/>
                  </a:lnTo>
                  <a:lnTo>
                    <a:pt x="0" y="271"/>
                  </a:lnTo>
                  <a:lnTo>
                    <a:pt x="2" y="288"/>
                  </a:lnTo>
                  <a:lnTo>
                    <a:pt x="7" y="307"/>
                  </a:lnTo>
                  <a:lnTo>
                    <a:pt x="11" y="325"/>
                  </a:lnTo>
                  <a:lnTo>
                    <a:pt x="16" y="343"/>
                  </a:lnTo>
                  <a:lnTo>
                    <a:pt x="24" y="361"/>
                  </a:lnTo>
                  <a:lnTo>
                    <a:pt x="31" y="379"/>
                  </a:lnTo>
                  <a:lnTo>
                    <a:pt x="40" y="398"/>
                  </a:lnTo>
                  <a:lnTo>
                    <a:pt x="59" y="435"/>
                  </a:lnTo>
                  <a:lnTo>
                    <a:pt x="80" y="472"/>
                  </a:lnTo>
                  <a:lnTo>
                    <a:pt x="104" y="510"/>
                  </a:lnTo>
                  <a:lnTo>
                    <a:pt x="127" y="547"/>
                  </a:lnTo>
                  <a:lnTo>
                    <a:pt x="149" y="580"/>
                  </a:lnTo>
                  <a:lnTo>
                    <a:pt x="169" y="614"/>
                  </a:lnTo>
                  <a:lnTo>
                    <a:pt x="188" y="647"/>
                  </a:lnTo>
                  <a:lnTo>
                    <a:pt x="205" y="679"/>
                  </a:lnTo>
                  <a:lnTo>
                    <a:pt x="212" y="694"/>
                  </a:lnTo>
                  <a:lnTo>
                    <a:pt x="220" y="709"/>
                  </a:lnTo>
                  <a:lnTo>
                    <a:pt x="225" y="724"/>
                  </a:lnTo>
                  <a:lnTo>
                    <a:pt x="230" y="739"/>
                  </a:lnTo>
                  <a:lnTo>
                    <a:pt x="234" y="753"/>
                  </a:lnTo>
                  <a:lnTo>
                    <a:pt x="237" y="767"/>
                  </a:lnTo>
                  <a:lnTo>
                    <a:pt x="239" y="780"/>
                  </a:lnTo>
                  <a:lnTo>
                    <a:pt x="240" y="793"/>
                  </a:lnTo>
                  <a:lnTo>
                    <a:pt x="240" y="883"/>
                  </a:lnTo>
                  <a:lnTo>
                    <a:pt x="240" y="886"/>
                  </a:lnTo>
                  <a:lnTo>
                    <a:pt x="241" y="888"/>
                  </a:lnTo>
                  <a:lnTo>
                    <a:pt x="242" y="892"/>
                  </a:lnTo>
                  <a:lnTo>
                    <a:pt x="244" y="894"/>
                  </a:lnTo>
                  <a:lnTo>
                    <a:pt x="246" y="895"/>
                  </a:lnTo>
                  <a:lnTo>
                    <a:pt x="248" y="897"/>
                  </a:lnTo>
                  <a:lnTo>
                    <a:pt x="252" y="898"/>
                  </a:lnTo>
                  <a:lnTo>
                    <a:pt x="255" y="898"/>
                  </a:lnTo>
                  <a:lnTo>
                    <a:pt x="257" y="898"/>
                  </a:lnTo>
                  <a:lnTo>
                    <a:pt x="260" y="897"/>
                  </a:lnTo>
                  <a:lnTo>
                    <a:pt x="262" y="895"/>
                  </a:lnTo>
                  <a:lnTo>
                    <a:pt x="264" y="894"/>
                  </a:lnTo>
                  <a:lnTo>
                    <a:pt x="267" y="892"/>
                  </a:lnTo>
                  <a:lnTo>
                    <a:pt x="268" y="888"/>
                  </a:lnTo>
                  <a:lnTo>
                    <a:pt x="269" y="886"/>
                  </a:lnTo>
                  <a:lnTo>
                    <a:pt x="270" y="883"/>
                  </a:lnTo>
                  <a:lnTo>
                    <a:pt x="270" y="793"/>
                  </a:lnTo>
                  <a:lnTo>
                    <a:pt x="270" y="780"/>
                  </a:lnTo>
                  <a:lnTo>
                    <a:pt x="272" y="767"/>
                  </a:lnTo>
                  <a:lnTo>
                    <a:pt x="275" y="753"/>
                  </a:lnTo>
                  <a:lnTo>
                    <a:pt x="278" y="739"/>
                  </a:lnTo>
                  <a:lnTo>
                    <a:pt x="284" y="724"/>
                  </a:lnTo>
                  <a:lnTo>
                    <a:pt x="290" y="709"/>
                  </a:lnTo>
                  <a:lnTo>
                    <a:pt x="297" y="694"/>
                  </a:lnTo>
                  <a:lnTo>
                    <a:pt x="304" y="678"/>
                  </a:lnTo>
                  <a:lnTo>
                    <a:pt x="321" y="647"/>
                  </a:lnTo>
                  <a:lnTo>
                    <a:pt x="339" y="614"/>
                  </a:lnTo>
                  <a:lnTo>
                    <a:pt x="360" y="580"/>
                  </a:lnTo>
                  <a:lnTo>
                    <a:pt x="381" y="547"/>
                  </a:lnTo>
                  <a:lnTo>
                    <a:pt x="405" y="510"/>
                  </a:lnTo>
                  <a:lnTo>
                    <a:pt x="428" y="472"/>
                  </a:lnTo>
                  <a:lnTo>
                    <a:pt x="450" y="435"/>
                  </a:lnTo>
                  <a:lnTo>
                    <a:pt x="469" y="398"/>
                  </a:lnTo>
                  <a:lnTo>
                    <a:pt x="477" y="379"/>
                  </a:lnTo>
                  <a:lnTo>
                    <a:pt x="485" y="361"/>
                  </a:lnTo>
                  <a:lnTo>
                    <a:pt x="492" y="343"/>
                  </a:lnTo>
                  <a:lnTo>
                    <a:pt x="498" y="325"/>
                  </a:lnTo>
                  <a:lnTo>
                    <a:pt x="503" y="307"/>
                  </a:lnTo>
                  <a:lnTo>
                    <a:pt x="506" y="288"/>
                  </a:lnTo>
                  <a:lnTo>
                    <a:pt x="508" y="271"/>
                  </a:lnTo>
                  <a:lnTo>
                    <a:pt x="509" y="254"/>
                  </a:lnTo>
                  <a:lnTo>
                    <a:pt x="508" y="237"/>
                  </a:lnTo>
                  <a:lnTo>
                    <a:pt x="507" y="220"/>
                  </a:lnTo>
                  <a:lnTo>
                    <a:pt x="505" y="204"/>
                  </a:lnTo>
                  <a:lnTo>
                    <a:pt x="503" y="189"/>
                  </a:lnTo>
                  <a:lnTo>
                    <a:pt x="500" y="175"/>
                  </a:lnTo>
                  <a:lnTo>
                    <a:pt x="496" y="161"/>
                  </a:lnTo>
                  <a:lnTo>
                    <a:pt x="491" y="147"/>
                  </a:lnTo>
                  <a:lnTo>
                    <a:pt x="486" y="134"/>
                  </a:lnTo>
                  <a:lnTo>
                    <a:pt x="480" y="123"/>
                  </a:lnTo>
                  <a:lnTo>
                    <a:pt x="474" y="112"/>
                  </a:lnTo>
                  <a:lnTo>
                    <a:pt x="467" y="101"/>
                  </a:lnTo>
                  <a:lnTo>
                    <a:pt x="459" y="91"/>
                  </a:lnTo>
                  <a:lnTo>
                    <a:pt x="452" y="81"/>
                  </a:lnTo>
                  <a:lnTo>
                    <a:pt x="443" y="72"/>
                  </a:lnTo>
                  <a:lnTo>
                    <a:pt x="435" y="64"/>
                  </a:lnTo>
                  <a:lnTo>
                    <a:pt x="426" y="56"/>
                  </a:lnTo>
                  <a:lnTo>
                    <a:pt x="416" y="49"/>
                  </a:lnTo>
                  <a:lnTo>
                    <a:pt x="407" y="42"/>
                  </a:lnTo>
                  <a:lnTo>
                    <a:pt x="397" y="36"/>
                  </a:lnTo>
                  <a:lnTo>
                    <a:pt x="386" y="31"/>
                  </a:lnTo>
                  <a:lnTo>
                    <a:pt x="365" y="21"/>
                  </a:lnTo>
                  <a:lnTo>
                    <a:pt x="344" y="12"/>
                  </a:lnTo>
                  <a:lnTo>
                    <a:pt x="321" y="7"/>
                  </a:lnTo>
                  <a:lnTo>
                    <a:pt x="299" y="3"/>
                  </a:lnTo>
                  <a:lnTo>
                    <a:pt x="276" y="0"/>
                  </a:ln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sp>
          <p:nvSpPr>
            <p:cNvPr id="786" name="Freeform 72">
              <a:extLst>
                <a:ext uri="{FF2B5EF4-FFF2-40B4-BE49-F238E27FC236}">
                  <a16:creationId xmlns:a16="http://schemas.microsoft.com/office/drawing/2014/main" id="{188AD77B-A497-4A64-BA80-7FE2B8C53468}"/>
                </a:ext>
              </a:extLst>
            </p:cNvPr>
            <p:cNvSpPr>
              <a:spLocks noEditPoints="1"/>
            </p:cNvSpPr>
            <p:nvPr/>
          </p:nvSpPr>
          <p:spPr bwMode="auto">
            <a:xfrm>
              <a:off x="3846513" y="1965325"/>
              <a:ext cx="95250" cy="95250"/>
            </a:xfrm>
            <a:custGeom>
              <a:avLst/>
              <a:gdLst>
                <a:gd name="T0" fmla="*/ 125 w 300"/>
                <a:gd name="T1" fmla="*/ 268 h 300"/>
                <a:gd name="T2" fmla="*/ 92 w 300"/>
                <a:gd name="T3" fmla="*/ 255 h 300"/>
                <a:gd name="T4" fmla="*/ 64 w 300"/>
                <a:gd name="T5" fmla="*/ 235 h 300"/>
                <a:gd name="T6" fmla="*/ 44 w 300"/>
                <a:gd name="T7" fmla="*/ 207 h 300"/>
                <a:gd name="T8" fmla="*/ 32 w 300"/>
                <a:gd name="T9" fmla="*/ 174 h 300"/>
                <a:gd name="T10" fmla="*/ 30 w 300"/>
                <a:gd name="T11" fmla="*/ 137 h 300"/>
                <a:gd name="T12" fmla="*/ 39 w 300"/>
                <a:gd name="T13" fmla="*/ 103 h 300"/>
                <a:gd name="T14" fmla="*/ 57 w 300"/>
                <a:gd name="T15" fmla="*/ 74 h 300"/>
                <a:gd name="T16" fmla="*/ 82 w 300"/>
                <a:gd name="T17" fmla="*/ 51 h 300"/>
                <a:gd name="T18" fmla="*/ 113 w 300"/>
                <a:gd name="T19" fmla="*/ 36 h 300"/>
                <a:gd name="T20" fmla="*/ 150 w 300"/>
                <a:gd name="T21" fmla="*/ 30 h 300"/>
                <a:gd name="T22" fmla="*/ 185 w 300"/>
                <a:gd name="T23" fmla="*/ 36 h 300"/>
                <a:gd name="T24" fmla="*/ 216 w 300"/>
                <a:gd name="T25" fmla="*/ 51 h 300"/>
                <a:gd name="T26" fmla="*/ 242 w 300"/>
                <a:gd name="T27" fmla="*/ 74 h 300"/>
                <a:gd name="T28" fmla="*/ 260 w 300"/>
                <a:gd name="T29" fmla="*/ 103 h 300"/>
                <a:gd name="T30" fmla="*/ 269 w 300"/>
                <a:gd name="T31" fmla="*/ 137 h 300"/>
                <a:gd name="T32" fmla="*/ 266 w 300"/>
                <a:gd name="T33" fmla="*/ 174 h 300"/>
                <a:gd name="T34" fmla="*/ 255 w 300"/>
                <a:gd name="T35" fmla="*/ 207 h 300"/>
                <a:gd name="T36" fmla="*/ 234 w 300"/>
                <a:gd name="T37" fmla="*/ 235 h 300"/>
                <a:gd name="T38" fmla="*/ 207 w 300"/>
                <a:gd name="T39" fmla="*/ 255 h 300"/>
                <a:gd name="T40" fmla="*/ 173 w 300"/>
                <a:gd name="T41" fmla="*/ 268 h 300"/>
                <a:gd name="T42" fmla="*/ 150 w 300"/>
                <a:gd name="T43" fmla="*/ 0 h 300"/>
                <a:gd name="T44" fmla="*/ 105 w 300"/>
                <a:gd name="T45" fmla="*/ 7 h 300"/>
                <a:gd name="T46" fmla="*/ 65 w 300"/>
                <a:gd name="T47" fmla="*/ 26 h 300"/>
                <a:gd name="T48" fmla="*/ 34 w 300"/>
                <a:gd name="T49" fmla="*/ 55 h 300"/>
                <a:gd name="T50" fmla="*/ 12 w 300"/>
                <a:gd name="T51" fmla="*/ 91 h 300"/>
                <a:gd name="T52" fmla="*/ 0 w 300"/>
                <a:gd name="T53" fmla="*/ 134 h 300"/>
                <a:gd name="T54" fmla="*/ 2 w 300"/>
                <a:gd name="T55" fmla="*/ 180 h 300"/>
                <a:gd name="T56" fmla="*/ 18 w 300"/>
                <a:gd name="T57" fmla="*/ 221 h 300"/>
                <a:gd name="T58" fmla="*/ 44 w 300"/>
                <a:gd name="T59" fmla="*/ 256 h 300"/>
                <a:gd name="T60" fmla="*/ 78 w 300"/>
                <a:gd name="T61" fmla="*/ 282 h 300"/>
                <a:gd name="T62" fmla="*/ 119 w 300"/>
                <a:gd name="T63" fmla="*/ 297 h 300"/>
                <a:gd name="T64" fmla="*/ 165 w 300"/>
                <a:gd name="T65" fmla="*/ 299 h 300"/>
                <a:gd name="T66" fmla="*/ 208 w 300"/>
                <a:gd name="T67" fmla="*/ 288 h 300"/>
                <a:gd name="T68" fmla="*/ 245 w 300"/>
                <a:gd name="T69" fmla="*/ 266 h 300"/>
                <a:gd name="T70" fmla="*/ 274 w 300"/>
                <a:gd name="T71" fmla="*/ 234 h 300"/>
                <a:gd name="T72" fmla="*/ 292 w 300"/>
                <a:gd name="T73" fmla="*/ 194 h 300"/>
                <a:gd name="T74" fmla="*/ 300 w 300"/>
                <a:gd name="T75" fmla="*/ 150 h 300"/>
                <a:gd name="T76" fmla="*/ 292 w 300"/>
                <a:gd name="T77" fmla="*/ 105 h 300"/>
                <a:gd name="T78" fmla="*/ 274 w 300"/>
                <a:gd name="T79" fmla="*/ 66 h 300"/>
                <a:gd name="T80" fmla="*/ 245 w 300"/>
                <a:gd name="T81" fmla="*/ 35 h 300"/>
                <a:gd name="T82" fmla="*/ 208 w 300"/>
                <a:gd name="T83" fmla="*/ 12 h 300"/>
                <a:gd name="T84" fmla="*/ 165 w 300"/>
                <a:gd name="T85"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0" h="300">
                  <a:moveTo>
                    <a:pt x="150" y="270"/>
                  </a:moveTo>
                  <a:lnTo>
                    <a:pt x="137" y="269"/>
                  </a:lnTo>
                  <a:lnTo>
                    <a:pt x="125" y="268"/>
                  </a:lnTo>
                  <a:lnTo>
                    <a:pt x="113" y="265"/>
                  </a:lnTo>
                  <a:lnTo>
                    <a:pt x="103" y="260"/>
                  </a:lnTo>
                  <a:lnTo>
                    <a:pt x="92" y="255"/>
                  </a:lnTo>
                  <a:lnTo>
                    <a:pt x="82" y="250"/>
                  </a:lnTo>
                  <a:lnTo>
                    <a:pt x="73" y="242"/>
                  </a:lnTo>
                  <a:lnTo>
                    <a:pt x="64" y="235"/>
                  </a:lnTo>
                  <a:lnTo>
                    <a:pt x="57" y="226"/>
                  </a:lnTo>
                  <a:lnTo>
                    <a:pt x="50" y="216"/>
                  </a:lnTo>
                  <a:lnTo>
                    <a:pt x="44" y="207"/>
                  </a:lnTo>
                  <a:lnTo>
                    <a:pt x="39" y="196"/>
                  </a:lnTo>
                  <a:lnTo>
                    <a:pt x="35" y="185"/>
                  </a:lnTo>
                  <a:lnTo>
                    <a:pt x="32" y="174"/>
                  </a:lnTo>
                  <a:lnTo>
                    <a:pt x="30" y="162"/>
                  </a:lnTo>
                  <a:lnTo>
                    <a:pt x="30" y="150"/>
                  </a:lnTo>
                  <a:lnTo>
                    <a:pt x="30" y="137"/>
                  </a:lnTo>
                  <a:lnTo>
                    <a:pt x="32" y="126"/>
                  </a:lnTo>
                  <a:lnTo>
                    <a:pt x="35" y="115"/>
                  </a:lnTo>
                  <a:lnTo>
                    <a:pt x="39" y="103"/>
                  </a:lnTo>
                  <a:lnTo>
                    <a:pt x="44" y="92"/>
                  </a:lnTo>
                  <a:lnTo>
                    <a:pt x="50" y="83"/>
                  </a:lnTo>
                  <a:lnTo>
                    <a:pt x="57" y="74"/>
                  </a:lnTo>
                  <a:lnTo>
                    <a:pt x="64" y="66"/>
                  </a:lnTo>
                  <a:lnTo>
                    <a:pt x="73" y="57"/>
                  </a:lnTo>
                  <a:lnTo>
                    <a:pt x="82" y="51"/>
                  </a:lnTo>
                  <a:lnTo>
                    <a:pt x="92" y="44"/>
                  </a:lnTo>
                  <a:lnTo>
                    <a:pt x="103" y="40"/>
                  </a:lnTo>
                  <a:lnTo>
                    <a:pt x="113" y="36"/>
                  </a:lnTo>
                  <a:lnTo>
                    <a:pt x="125" y="33"/>
                  </a:lnTo>
                  <a:lnTo>
                    <a:pt x="137" y="30"/>
                  </a:lnTo>
                  <a:lnTo>
                    <a:pt x="150" y="30"/>
                  </a:lnTo>
                  <a:lnTo>
                    <a:pt x="162" y="30"/>
                  </a:lnTo>
                  <a:lnTo>
                    <a:pt x="173" y="33"/>
                  </a:lnTo>
                  <a:lnTo>
                    <a:pt x="185" y="36"/>
                  </a:lnTo>
                  <a:lnTo>
                    <a:pt x="196" y="40"/>
                  </a:lnTo>
                  <a:lnTo>
                    <a:pt x="207" y="44"/>
                  </a:lnTo>
                  <a:lnTo>
                    <a:pt x="216" y="51"/>
                  </a:lnTo>
                  <a:lnTo>
                    <a:pt x="226" y="57"/>
                  </a:lnTo>
                  <a:lnTo>
                    <a:pt x="234" y="66"/>
                  </a:lnTo>
                  <a:lnTo>
                    <a:pt x="242" y="74"/>
                  </a:lnTo>
                  <a:lnTo>
                    <a:pt x="248" y="83"/>
                  </a:lnTo>
                  <a:lnTo>
                    <a:pt x="255" y="92"/>
                  </a:lnTo>
                  <a:lnTo>
                    <a:pt x="260" y="103"/>
                  </a:lnTo>
                  <a:lnTo>
                    <a:pt x="264" y="115"/>
                  </a:lnTo>
                  <a:lnTo>
                    <a:pt x="266" y="126"/>
                  </a:lnTo>
                  <a:lnTo>
                    <a:pt x="269" y="137"/>
                  </a:lnTo>
                  <a:lnTo>
                    <a:pt x="270" y="150"/>
                  </a:lnTo>
                  <a:lnTo>
                    <a:pt x="269" y="162"/>
                  </a:lnTo>
                  <a:lnTo>
                    <a:pt x="266" y="174"/>
                  </a:lnTo>
                  <a:lnTo>
                    <a:pt x="264" y="185"/>
                  </a:lnTo>
                  <a:lnTo>
                    <a:pt x="260" y="196"/>
                  </a:lnTo>
                  <a:lnTo>
                    <a:pt x="255" y="207"/>
                  </a:lnTo>
                  <a:lnTo>
                    <a:pt x="248" y="216"/>
                  </a:lnTo>
                  <a:lnTo>
                    <a:pt x="242" y="226"/>
                  </a:lnTo>
                  <a:lnTo>
                    <a:pt x="234" y="235"/>
                  </a:lnTo>
                  <a:lnTo>
                    <a:pt x="226" y="242"/>
                  </a:lnTo>
                  <a:lnTo>
                    <a:pt x="216" y="250"/>
                  </a:lnTo>
                  <a:lnTo>
                    <a:pt x="207" y="255"/>
                  </a:lnTo>
                  <a:lnTo>
                    <a:pt x="196" y="260"/>
                  </a:lnTo>
                  <a:lnTo>
                    <a:pt x="185" y="265"/>
                  </a:lnTo>
                  <a:lnTo>
                    <a:pt x="173" y="268"/>
                  </a:lnTo>
                  <a:lnTo>
                    <a:pt x="162" y="269"/>
                  </a:lnTo>
                  <a:lnTo>
                    <a:pt x="150" y="270"/>
                  </a:lnTo>
                  <a:close/>
                  <a:moveTo>
                    <a:pt x="150" y="0"/>
                  </a:moveTo>
                  <a:lnTo>
                    <a:pt x="134" y="0"/>
                  </a:lnTo>
                  <a:lnTo>
                    <a:pt x="119" y="4"/>
                  </a:lnTo>
                  <a:lnTo>
                    <a:pt x="105" y="7"/>
                  </a:lnTo>
                  <a:lnTo>
                    <a:pt x="91" y="12"/>
                  </a:lnTo>
                  <a:lnTo>
                    <a:pt x="78" y="19"/>
                  </a:lnTo>
                  <a:lnTo>
                    <a:pt x="65" y="26"/>
                  </a:lnTo>
                  <a:lnTo>
                    <a:pt x="55" y="35"/>
                  </a:lnTo>
                  <a:lnTo>
                    <a:pt x="44" y="44"/>
                  </a:lnTo>
                  <a:lnTo>
                    <a:pt x="34" y="55"/>
                  </a:lnTo>
                  <a:lnTo>
                    <a:pt x="26" y="67"/>
                  </a:lnTo>
                  <a:lnTo>
                    <a:pt x="18" y="79"/>
                  </a:lnTo>
                  <a:lnTo>
                    <a:pt x="12" y="91"/>
                  </a:lnTo>
                  <a:lnTo>
                    <a:pt x="6" y="105"/>
                  </a:lnTo>
                  <a:lnTo>
                    <a:pt x="2" y="120"/>
                  </a:lnTo>
                  <a:lnTo>
                    <a:pt x="0" y="134"/>
                  </a:lnTo>
                  <a:lnTo>
                    <a:pt x="0" y="150"/>
                  </a:lnTo>
                  <a:lnTo>
                    <a:pt x="0" y="165"/>
                  </a:lnTo>
                  <a:lnTo>
                    <a:pt x="2" y="180"/>
                  </a:lnTo>
                  <a:lnTo>
                    <a:pt x="6" y="194"/>
                  </a:lnTo>
                  <a:lnTo>
                    <a:pt x="12" y="208"/>
                  </a:lnTo>
                  <a:lnTo>
                    <a:pt x="18" y="221"/>
                  </a:lnTo>
                  <a:lnTo>
                    <a:pt x="26" y="234"/>
                  </a:lnTo>
                  <a:lnTo>
                    <a:pt x="34" y="245"/>
                  </a:lnTo>
                  <a:lnTo>
                    <a:pt x="44" y="256"/>
                  </a:lnTo>
                  <a:lnTo>
                    <a:pt x="55" y="266"/>
                  </a:lnTo>
                  <a:lnTo>
                    <a:pt x="65" y="274"/>
                  </a:lnTo>
                  <a:lnTo>
                    <a:pt x="78" y="282"/>
                  </a:lnTo>
                  <a:lnTo>
                    <a:pt x="91" y="288"/>
                  </a:lnTo>
                  <a:lnTo>
                    <a:pt x="105" y="292"/>
                  </a:lnTo>
                  <a:lnTo>
                    <a:pt x="119" y="297"/>
                  </a:lnTo>
                  <a:lnTo>
                    <a:pt x="134" y="299"/>
                  </a:lnTo>
                  <a:lnTo>
                    <a:pt x="150" y="300"/>
                  </a:lnTo>
                  <a:lnTo>
                    <a:pt x="165" y="299"/>
                  </a:lnTo>
                  <a:lnTo>
                    <a:pt x="180" y="297"/>
                  </a:lnTo>
                  <a:lnTo>
                    <a:pt x="194" y="292"/>
                  </a:lnTo>
                  <a:lnTo>
                    <a:pt x="208" y="288"/>
                  </a:lnTo>
                  <a:lnTo>
                    <a:pt x="220" y="282"/>
                  </a:lnTo>
                  <a:lnTo>
                    <a:pt x="233" y="274"/>
                  </a:lnTo>
                  <a:lnTo>
                    <a:pt x="245" y="266"/>
                  </a:lnTo>
                  <a:lnTo>
                    <a:pt x="256" y="256"/>
                  </a:lnTo>
                  <a:lnTo>
                    <a:pt x="265" y="245"/>
                  </a:lnTo>
                  <a:lnTo>
                    <a:pt x="274" y="234"/>
                  </a:lnTo>
                  <a:lnTo>
                    <a:pt x="281" y="221"/>
                  </a:lnTo>
                  <a:lnTo>
                    <a:pt x="288" y="208"/>
                  </a:lnTo>
                  <a:lnTo>
                    <a:pt x="292" y="194"/>
                  </a:lnTo>
                  <a:lnTo>
                    <a:pt x="296" y="180"/>
                  </a:lnTo>
                  <a:lnTo>
                    <a:pt x="299" y="165"/>
                  </a:lnTo>
                  <a:lnTo>
                    <a:pt x="300" y="150"/>
                  </a:lnTo>
                  <a:lnTo>
                    <a:pt x="299" y="134"/>
                  </a:lnTo>
                  <a:lnTo>
                    <a:pt x="296" y="120"/>
                  </a:lnTo>
                  <a:lnTo>
                    <a:pt x="292" y="105"/>
                  </a:lnTo>
                  <a:lnTo>
                    <a:pt x="288" y="91"/>
                  </a:lnTo>
                  <a:lnTo>
                    <a:pt x="281" y="79"/>
                  </a:lnTo>
                  <a:lnTo>
                    <a:pt x="274" y="66"/>
                  </a:lnTo>
                  <a:lnTo>
                    <a:pt x="265" y="55"/>
                  </a:lnTo>
                  <a:lnTo>
                    <a:pt x="256" y="44"/>
                  </a:lnTo>
                  <a:lnTo>
                    <a:pt x="245" y="35"/>
                  </a:lnTo>
                  <a:lnTo>
                    <a:pt x="233" y="26"/>
                  </a:lnTo>
                  <a:lnTo>
                    <a:pt x="220" y="19"/>
                  </a:lnTo>
                  <a:lnTo>
                    <a:pt x="208" y="12"/>
                  </a:lnTo>
                  <a:lnTo>
                    <a:pt x="194" y="7"/>
                  </a:lnTo>
                  <a:lnTo>
                    <a:pt x="180" y="4"/>
                  </a:lnTo>
                  <a:lnTo>
                    <a:pt x="165" y="0"/>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a:endParaRPr>
            </a:p>
          </p:txBody>
        </p:sp>
      </p:grpSp>
      <p:grpSp>
        <p:nvGrpSpPr>
          <p:cNvPr id="787" name="Group 20">
            <a:extLst>
              <a:ext uri="{FF2B5EF4-FFF2-40B4-BE49-F238E27FC236}">
                <a16:creationId xmlns:a16="http://schemas.microsoft.com/office/drawing/2014/main" id="{024C6C68-8310-49BB-902E-10AF35FC4022}"/>
              </a:ext>
            </a:extLst>
          </p:cNvPr>
          <p:cNvGrpSpPr>
            <a:grpSpLocks noChangeAspect="1"/>
          </p:cNvGrpSpPr>
          <p:nvPr/>
        </p:nvGrpSpPr>
        <p:grpSpPr>
          <a:xfrm>
            <a:off x="5408628" y="2186361"/>
            <a:ext cx="224755" cy="306484"/>
            <a:chOff x="1504950" y="2497138"/>
            <a:chExt cx="209550" cy="285750"/>
          </a:xfrm>
          <a:solidFill>
            <a:schemeClr val="bg1"/>
          </a:solidFill>
          <a:effectLst/>
        </p:grpSpPr>
        <p:sp>
          <p:nvSpPr>
            <p:cNvPr id="788" name="Freeform 80">
              <a:extLst>
                <a:ext uri="{FF2B5EF4-FFF2-40B4-BE49-F238E27FC236}">
                  <a16:creationId xmlns:a16="http://schemas.microsoft.com/office/drawing/2014/main" id="{FB6BAA95-00A9-4020-A256-6F849C7D3175}"/>
                </a:ext>
              </a:extLst>
            </p:cNvPr>
            <p:cNvSpPr>
              <a:spLocks noEditPoints="1"/>
            </p:cNvSpPr>
            <p:nvPr/>
          </p:nvSpPr>
          <p:spPr bwMode="auto">
            <a:xfrm>
              <a:off x="1504950" y="2497138"/>
              <a:ext cx="209550" cy="285750"/>
            </a:xfrm>
            <a:custGeom>
              <a:avLst/>
              <a:gdLst>
                <a:gd name="T0" fmla="*/ 387 w 659"/>
                <a:gd name="T1" fmla="*/ 627 h 898"/>
                <a:gd name="T2" fmla="*/ 272 w 659"/>
                <a:gd name="T3" fmla="*/ 627 h 898"/>
                <a:gd name="T4" fmla="*/ 249 w 659"/>
                <a:gd name="T5" fmla="*/ 618 h 898"/>
                <a:gd name="T6" fmla="*/ 189 w 659"/>
                <a:gd name="T7" fmla="*/ 594 h 898"/>
                <a:gd name="T8" fmla="*/ 111 w 659"/>
                <a:gd name="T9" fmla="*/ 534 h 898"/>
                <a:gd name="T10" fmla="*/ 57 w 659"/>
                <a:gd name="T11" fmla="*/ 452 h 898"/>
                <a:gd name="T12" fmla="*/ 32 w 659"/>
                <a:gd name="T13" fmla="*/ 367 h 898"/>
                <a:gd name="T14" fmla="*/ 30 w 659"/>
                <a:gd name="T15" fmla="*/ 314 h 898"/>
                <a:gd name="T16" fmla="*/ 39 w 659"/>
                <a:gd name="T17" fmla="*/ 254 h 898"/>
                <a:gd name="T18" fmla="*/ 60 w 659"/>
                <a:gd name="T19" fmla="*/ 200 h 898"/>
                <a:gd name="T20" fmla="*/ 90 w 659"/>
                <a:gd name="T21" fmla="*/ 149 h 898"/>
                <a:gd name="T22" fmla="*/ 128 w 659"/>
                <a:gd name="T23" fmla="*/ 108 h 898"/>
                <a:gd name="T24" fmla="*/ 174 w 659"/>
                <a:gd name="T25" fmla="*/ 73 h 898"/>
                <a:gd name="T26" fmla="*/ 227 w 659"/>
                <a:gd name="T27" fmla="*/ 48 h 898"/>
                <a:gd name="T28" fmla="*/ 283 w 659"/>
                <a:gd name="T29" fmla="*/ 33 h 898"/>
                <a:gd name="T30" fmla="*/ 344 w 659"/>
                <a:gd name="T31" fmla="*/ 29 h 898"/>
                <a:gd name="T32" fmla="*/ 404 w 659"/>
                <a:gd name="T33" fmla="*/ 39 h 898"/>
                <a:gd name="T34" fmla="*/ 459 w 659"/>
                <a:gd name="T35" fmla="*/ 59 h 898"/>
                <a:gd name="T36" fmla="*/ 509 w 659"/>
                <a:gd name="T37" fmla="*/ 89 h 898"/>
                <a:gd name="T38" fmla="*/ 551 w 659"/>
                <a:gd name="T39" fmla="*/ 128 h 898"/>
                <a:gd name="T40" fmla="*/ 586 w 659"/>
                <a:gd name="T41" fmla="*/ 174 h 898"/>
                <a:gd name="T42" fmla="*/ 611 w 659"/>
                <a:gd name="T43" fmla="*/ 226 h 898"/>
                <a:gd name="T44" fmla="*/ 626 w 659"/>
                <a:gd name="T45" fmla="*/ 283 h 898"/>
                <a:gd name="T46" fmla="*/ 629 w 659"/>
                <a:gd name="T47" fmla="*/ 342 h 898"/>
                <a:gd name="T48" fmla="*/ 619 w 659"/>
                <a:gd name="T49" fmla="*/ 405 h 898"/>
                <a:gd name="T50" fmla="*/ 579 w 659"/>
                <a:gd name="T51" fmla="*/ 496 h 898"/>
                <a:gd name="T52" fmla="*/ 511 w 659"/>
                <a:gd name="T53" fmla="*/ 567 h 898"/>
                <a:gd name="T54" fmla="*/ 434 w 659"/>
                <a:gd name="T55" fmla="*/ 609 h 898"/>
                <a:gd name="T56" fmla="*/ 329 w 659"/>
                <a:gd name="T57" fmla="*/ 0 h 898"/>
                <a:gd name="T58" fmla="*/ 263 w 659"/>
                <a:gd name="T59" fmla="*/ 6 h 898"/>
                <a:gd name="T60" fmla="*/ 201 w 659"/>
                <a:gd name="T61" fmla="*/ 25 h 898"/>
                <a:gd name="T62" fmla="*/ 145 w 659"/>
                <a:gd name="T63" fmla="*/ 56 h 898"/>
                <a:gd name="T64" fmla="*/ 96 w 659"/>
                <a:gd name="T65" fmla="*/ 96 h 898"/>
                <a:gd name="T66" fmla="*/ 57 w 659"/>
                <a:gd name="T67" fmla="*/ 145 h 898"/>
                <a:gd name="T68" fmla="*/ 25 w 659"/>
                <a:gd name="T69" fmla="*/ 201 h 898"/>
                <a:gd name="T70" fmla="*/ 6 w 659"/>
                <a:gd name="T71" fmla="*/ 263 h 898"/>
                <a:gd name="T72" fmla="*/ 0 w 659"/>
                <a:gd name="T73" fmla="*/ 329 h 898"/>
                <a:gd name="T74" fmla="*/ 4 w 659"/>
                <a:gd name="T75" fmla="*/ 385 h 898"/>
                <a:gd name="T76" fmla="*/ 18 w 659"/>
                <a:gd name="T77" fmla="*/ 437 h 898"/>
                <a:gd name="T78" fmla="*/ 39 w 659"/>
                <a:gd name="T79" fmla="*/ 486 h 898"/>
                <a:gd name="T80" fmla="*/ 68 w 659"/>
                <a:gd name="T81" fmla="*/ 531 h 898"/>
                <a:gd name="T82" fmla="*/ 105 w 659"/>
                <a:gd name="T83" fmla="*/ 570 h 898"/>
                <a:gd name="T84" fmla="*/ 146 w 659"/>
                <a:gd name="T85" fmla="*/ 603 h 898"/>
                <a:gd name="T86" fmla="*/ 195 w 659"/>
                <a:gd name="T87" fmla="*/ 630 h 898"/>
                <a:gd name="T88" fmla="*/ 247 w 659"/>
                <a:gd name="T89" fmla="*/ 648 h 898"/>
                <a:gd name="T90" fmla="*/ 325 w 659"/>
                <a:gd name="T91" fmla="*/ 897 h 898"/>
                <a:gd name="T92" fmla="*/ 342 w 659"/>
                <a:gd name="T93" fmla="*/ 892 h 898"/>
                <a:gd name="T94" fmla="*/ 440 w 659"/>
                <a:gd name="T95" fmla="*/ 639 h 898"/>
                <a:gd name="T96" fmla="*/ 489 w 659"/>
                <a:gd name="T97" fmla="*/ 617 h 898"/>
                <a:gd name="T98" fmla="*/ 534 w 659"/>
                <a:gd name="T99" fmla="*/ 588 h 898"/>
                <a:gd name="T100" fmla="*/ 573 w 659"/>
                <a:gd name="T101" fmla="*/ 551 h 898"/>
                <a:gd name="T102" fmla="*/ 605 w 659"/>
                <a:gd name="T103" fmla="*/ 509 h 898"/>
                <a:gd name="T104" fmla="*/ 631 w 659"/>
                <a:gd name="T105" fmla="*/ 463 h 898"/>
                <a:gd name="T106" fmla="*/ 648 w 659"/>
                <a:gd name="T107" fmla="*/ 411 h 898"/>
                <a:gd name="T108" fmla="*/ 658 w 659"/>
                <a:gd name="T109" fmla="*/ 357 h 898"/>
                <a:gd name="T110" fmla="*/ 657 w 659"/>
                <a:gd name="T111" fmla="*/ 295 h 898"/>
                <a:gd name="T112" fmla="*/ 644 w 659"/>
                <a:gd name="T113" fmla="*/ 231 h 898"/>
                <a:gd name="T114" fmla="*/ 619 w 659"/>
                <a:gd name="T115" fmla="*/ 172 h 898"/>
                <a:gd name="T116" fmla="*/ 584 w 659"/>
                <a:gd name="T117" fmla="*/ 119 h 898"/>
                <a:gd name="T118" fmla="*/ 539 w 659"/>
                <a:gd name="T119" fmla="*/ 74 h 898"/>
                <a:gd name="T120" fmla="*/ 487 w 659"/>
                <a:gd name="T121" fmla="*/ 39 h 898"/>
                <a:gd name="T122" fmla="*/ 428 w 659"/>
                <a:gd name="T123" fmla="*/ 15 h 898"/>
                <a:gd name="T124" fmla="*/ 364 w 659"/>
                <a:gd name="T125" fmla="*/ 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898">
                  <a:moveTo>
                    <a:pt x="397" y="621"/>
                  </a:moveTo>
                  <a:lnTo>
                    <a:pt x="394" y="622"/>
                  </a:lnTo>
                  <a:lnTo>
                    <a:pt x="390" y="624"/>
                  </a:lnTo>
                  <a:lnTo>
                    <a:pt x="387" y="627"/>
                  </a:lnTo>
                  <a:lnTo>
                    <a:pt x="386" y="631"/>
                  </a:lnTo>
                  <a:lnTo>
                    <a:pt x="329" y="828"/>
                  </a:lnTo>
                  <a:lnTo>
                    <a:pt x="273" y="631"/>
                  </a:lnTo>
                  <a:lnTo>
                    <a:pt x="272" y="627"/>
                  </a:lnTo>
                  <a:lnTo>
                    <a:pt x="268" y="624"/>
                  </a:lnTo>
                  <a:lnTo>
                    <a:pt x="265" y="622"/>
                  </a:lnTo>
                  <a:lnTo>
                    <a:pt x="262" y="621"/>
                  </a:lnTo>
                  <a:lnTo>
                    <a:pt x="249" y="618"/>
                  </a:lnTo>
                  <a:lnTo>
                    <a:pt x="236" y="613"/>
                  </a:lnTo>
                  <a:lnTo>
                    <a:pt x="224" y="609"/>
                  </a:lnTo>
                  <a:lnTo>
                    <a:pt x="213" y="605"/>
                  </a:lnTo>
                  <a:lnTo>
                    <a:pt x="189" y="594"/>
                  </a:lnTo>
                  <a:lnTo>
                    <a:pt x="168" y="581"/>
                  </a:lnTo>
                  <a:lnTo>
                    <a:pt x="147" y="567"/>
                  </a:lnTo>
                  <a:lnTo>
                    <a:pt x="128" y="551"/>
                  </a:lnTo>
                  <a:lnTo>
                    <a:pt x="111" y="534"/>
                  </a:lnTo>
                  <a:lnTo>
                    <a:pt x="95" y="515"/>
                  </a:lnTo>
                  <a:lnTo>
                    <a:pt x="80" y="496"/>
                  </a:lnTo>
                  <a:lnTo>
                    <a:pt x="67" y="474"/>
                  </a:lnTo>
                  <a:lnTo>
                    <a:pt x="57" y="452"/>
                  </a:lnTo>
                  <a:lnTo>
                    <a:pt x="47" y="430"/>
                  </a:lnTo>
                  <a:lnTo>
                    <a:pt x="39" y="405"/>
                  </a:lnTo>
                  <a:lnTo>
                    <a:pt x="34" y="380"/>
                  </a:lnTo>
                  <a:lnTo>
                    <a:pt x="32" y="367"/>
                  </a:lnTo>
                  <a:lnTo>
                    <a:pt x="31" y="355"/>
                  </a:lnTo>
                  <a:lnTo>
                    <a:pt x="30" y="342"/>
                  </a:lnTo>
                  <a:lnTo>
                    <a:pt x="30" y="329"/>
                  </a:lnTo>
                  <a:lnTo>
                    <a:pt x="30" y="314"/>
                  </a:lnTo>
                  <a:lnTo>
                    <a:pt x="31" y="298"/>
                  </a:lnTo>
                  <a:lnTo>
                    <a:pt x="33" y="283"/>
                  </a:lnTo>
                  <a:lnTo>
                    <a:pt x="36" y="269"/>
                  </a:lnTo>
                  <a:lnTo>
                    <a:pt x="39" y="254"/>
                  </a:lnTo>
                  <a:lnTo>
                    <a:pt x="44" y="240"/>
                  </a:lnTo>
                  <a:lnTo>
                    <a:pt x="48" y="226"/>
                  </a:lnTo>
                  <a:lnTo>
                    <a:pt x="53" y="212"/>
                  </a:lnTo>
                  <a:lnTo>
                    <a:pt x="60" y="200"/>
                  </a:lnTo>
                  <a:lnTo>
                    <a:pt x="66" y="187"/>
                  </a:lnTo>
                  <a:lnTo>
                    <a:pt x="74" y="174"/>
                  </a:lnTo>
                  <a:lnTo>
                    <a:pt x="81" y="161"/>
                  </a:lnTo>
                  <a:lnTo>
                    <a:pt x="90" y="149"/>
                  </a:lnTo>
                  <a:lnTo>
                    <a:pt x="98" y="139"/>
                  </a:lnTo>
                  <a:lnTo>
                    <a:pt x="108" y="128"/>
                  </a:lnTo>
                  <a:lnTo>
                    <a:pt x="117" y="117"/>
                  </a:lnTo>
                  <a:lnTo>
                    <a:pt x="128" y="108"/>
                  </a:lnTo>
                  <a:lnTo>
                    <a:pt x="139" y="98"/>
                  </a:lnTo>
                  <a:lnTo>
                    <a:pt x="151" y="89"/>
                  </a:lnTo>
                  <a:lnTo>
                    <a:pt x="162" y="81"/>
                  </a:lnTo>
                  <a:lnTo>
                    <a:pt x="174" y="73"/>
                  </a:lnTo>
                  <a:lnTo>
                    <a:pt x="187" y="66"/>
                  </a:lnTo>
                  <a:lnTo>
                    <a:pt x="200" y="59"/>
                  </a:lnTo>
                  <a:lnTo>
                    <a:pt x="213" y="53"/>
                  </a:lnTo>
                  <a:lnTo>
                    <a:pt x="227" y="48"/>
                  </a:lnTo>
                  <a:lnTo>
                    <a:pt x="241" y="43"/>
                  </a:lnTo>
                  <a:lnTo>
                    <a:pt x="254" y="39"/>
                  </a:lnTo>
                  <a:lnTo>
                    <a:pt x="269" y="36"/>
                  </a:lnTo>
                  <a:lnTo>
                    <a:pt x="283" y="33"/>
                  </a:lnTo>
                  <a:lnTo>
                    <a:pt x="298" y="31"/>
                  </a:lnTo>
                  <a:lnTo>
                    <a:pt x="314" y="29"/>
                  </a:lnTo>
                  <a:lnTo>
                    <a:pt x="329" y="29"/>
                  </a:lnTo>
                  <a:lnTo>
                    <a:pt x="344" y="29"/>
                  </a:lnTo>
                  <a:lnTo>
                    <a:pt x="360" y="31"/>
                  </a:lnTo>
                  <a:lnTo>
                    <a:pt x="375" y="33"/>
                  </a:lnTo>
                  <a:lnTo>
                    <a:pt x="389" y="36"/>
                  </a:lnTo>
                  <a:lnTo>
                    <a:pt x="404" y="39"/>
                  </a:lnTo>
                  <a:lnTo>
                    <a:pt x="418" y="43"/>
                  </a:lnTo>
                  <a:lnTo>
                    <a:pt x="432" y="48"/>
                  </a:lnTo>
                  <a:lnTo>
                    <a:pt x="446" y="53"/>
                  </a:lnTo>
                  <a:lnTo>
                    <a:pt x="459" y="59"/>
                  </a:lnTo>
                  <a:lnTo>
                    <a:pt x="472" y="66"/>
                  </a:lnTo>
                  <a:lnTo>
                    <a:pt x="485" y="72"/>
                  </a:lnTo>
                  <a:lnTo>
                    <a:pt x="497" y="81"/>
                  </a:lnTo>
                  <a:lnTo>
                    <a:pt x="509" y="89"/>
                  </a:lnTo>
                  <a:lnTo>
                    <a:pt x="520" y="98"/>
                  </a:lnTo>
                  <a:lnTo>
                    <a:pt x="531" y="108"/>
                  </a:lnTo>
                  <a:lnTo>
                    <a:pt x="541" y="117"/>
                  </a:lnTo>
                  <a:lnTo>
                    <a:pt x="551" y="128"/>
                  </a:lnTo>
                  <a:lnTo>
                    <a:pt x="560" y="139"/>
                  </a:lnTo>
                  <a:lnTo>
                    <a:pt x="569" y="149"/>
                  </a:lnTo>
                  <a:lnTo>
                    <a:pt x="578" y="161"/>
                  </a:lnTo>
                  <a:lnTo>
                    <a:pt x="586" y="174"/>
                  </a:lnTo>
                  <a:lnTo>
                    <a:pt x="593" y="187"/>
                  </a:lnTo>
                  <a:lnTo>
                    <a:pt x="599" y="200"/>
                  </a:lnTo>
                  <a:lnTo>
                    <a:pt x="605" y="212"/>
                  </a:lnTo>
                  <a:lnTo>
                    <a:pt x="611" y="226"/>
                  </a:lnTo>
                  <a:lnTo>
                    <a:pt x="615" y="240"/>
                  </a:lnTo>
                  <a:lnTo>
                    <a:pt x="619" y="254"/>
                  </a:lnTo>
                  <a:lnTo>
                    <a:pt x="623" y="269"/>
                  </a:lnTo>
                  <a:lnTo>
                    <a:pt x="626" y="283"/>
                  </a:lnTo>
                  <a:lnTo>
                    <a:pt x="628" y="298"/>
                  </a:lnTo>
                  <a:lnTo>
                    <a:pt x="629" y="314"/>
                  </a:lnTo>
                  <a:lnTo>
                    <a:pt x="629" y="329"/>
                  </a:lnTo>
                  <a:lnTo>
                    <a:pt x="629" y="342"/>
                  </a:lnTo>
                  <a:lnTo>
                    <a:pt x="628" y="355"/>
                  </a:lnTo>
                  <a:lnTo>
                    <a:pt x="627" y="367"/>
                  </a:lnTo>
                  <a:lnTo>
                    <a:pt x="625" y="380"/>
                  </a:lnTo>
                  <a:lnTo>
                    <a:pt x="619" y="405"/>
                  </a:lnTo>
                  <a:lnTo>
                    <a:pt x="612" y="430"/>
                  </a:lnTo>
                  <a:lnTo>
                    <a:pt x="603" y="452"/>
                  </a:lnTo>
                  <a:lnTo>
                    <a:pt x="592" y="474"/>
                  </a:lnTo>
                  <a:lnTo>
                    <a:pt x="579" y="496"/>
                  </a:lnTo>
                  <a:lnTo>
                    <a:pt x="565" y="515"/>
                  </a:lnTo>
                  <a:lnTo>
                    <a:pt x="548" y="534"/>
                  </a:lnTo>
                  <a:lnTo>
                    <a:pt x="531" y="551"/>
                  </a:lnTo>
                  <a:lnTo>
                    <a:pt x="511" y="567"/>
                  </a:lnTo>
                  <a:lnTo>
                    <a:pt x="491" y="581"/>
                  </a:lnTo>
                  <a:lnTo>
                    <a:pt x="470" y="594"/>
                  </a:lnTo>
                  <a:lnTo>
                    <a:pt x="446" y="605"/>
                  </a:lnTo>
                  <a:lnTo>
                    <a:pt x="434" y="609"/>
                  </a:lnTo>
                  <a:lnTo>
                    <a:pt x="422" y="613"/>
                  </a:lnTo>
                  <a:lnTo>
                    <a:pt x="410" y="618"/>
                  </a:lnTo>
                  <a:lnTo>
                    <a:pt x="397" y="621"/>
                  </a:lnTo>
                  <a:close/>
                  <a:moveTo>
                    <a:pt x="329" y="0"/>
                  </a:moveTo>
                  <a:lnTo>
                    <a:pt x="312" y="0"/>
                  </a:lnTo>
                  <a:lnTo>
                    <a:pt x="296" y="1"/>
                  </a:lnTo>
                  <a:lnTo>
                    <a:pt x="279" y="3"/>
                  </a:lnTo>
                  <a:lnTo>
                    <a:pt x="263" y="6"/>
                  </a:lnTo>
                  <a:lnTo>
                    <a:pt x="247" y="10"/>
                  </a:lnTo>
                  <a:lnTo>
                    <a:pt x="232" y="15"/>
                  </a:lnTo>
                  <a:lnTo>
                    <a:pt x="216" y="20"/>
                  </a:lnTo>
                  <a:lnTo>
                    <a:pt x="201" y="25"/>
                  </a:lnTo>
                  <a:lnTo>
                    <a:pt x="187" y="32"/>
                  </a:lnTo>
                  <a:lnTo>
                    <a:pt x="172" y="39"/>
                  </a:lnTo>
                  <a:lnTo>
                    <a:pt x="158" y="48"/>
                  </a:lnTo>
                  <a:lnTo>
                    <a:pt x="145" y="56"/>
                  </a:lnTo>
                  <a:lnTo>
                    <a:pt x="132" y="65"/>
                  </a:lnTo>
                  <a:lnTo>
                    <a:pt x="120" y="74"/>
                  </a:lnTo>
                  <a:lnTo>
                    <a:pt x="108" y="85"/>
                  </a:lnTo>
                  <a:lnTo>
                    <a:pt x="96" y="96"/>
                  </a:lnTo>
                  <a:lnTo>
                    <a:pt x="85" y="108"/>
                  </a:lnTo>
                  <a:lnTo>
                    <a:pt x="75" y="119"/>
                  </a:lnTo>
                  <a:lnTo>
                    <a:pt x="65" y="132"/>
                  </a:lnTo>
                  <a:lnTo>
                    <a:pt x="57" y="145"/>
                  </a:lnTo>
                  <a:lnTo>
                    <a:pt x="48" y="158"/>
                  </a:lnTo>
                  <a:lnTo>
                    <a:pt x="39" y="172"/>
                  </a:lnTo>
                  <a:lnTo>
                    <a:pt x="32" y="187"/>
                  </a:lnTo>
                  <a:lnTo>
                    <a:pt x="25" y="201"/>
                  </a:lnTo>
                  <a:lnTo>
                    <a:pt x="20" y="216"/>
                  </a:lnTo>
                  <a:lnTo>
                    <a:pt x="15" y="231"/>
                  </a:lnTo>
                  <a:lnTo>
                    <a:pt x="10" y="247"/>
                  </a:lnTo>
                  <a:lnTo>
                    <a:pt x="6" y="263"/>
                  </a:lnTo>
                  <a:lnTo>
                    <a:pt x="4" y="279"/>
                  </a:lnTo>
                  <a:lnTo>
                    <a:pt x="2" y="296"/>
                  </a:lnTo>
                  <a:lnTo>
                    <a:pt x="0" y="312"/>
                  </a:lnTo>
                  <a:lnTo>
                    <a:pt x="0" y="329"/>
                  </a:lnTo>
                  <a:lnTo>
                    <a:pt x="0" y="343"/>
                  </a:lnTo>
                  <a:lnTo>
                    <a:pt x="1" y="357"/>
                  </a:lnTo>
                  <a:lnTo>
                    <a:pt x="2" y="371"/>
                  </a:lnTo>
                  <a:lnTo>
                    <a:pt x="4" y="385"/>
                  </a:lnTo>
                  <a:lnTo>
                    <a:pt x="7" y="397"/>
                  </a:lnTo>
                  <a:lnTo>
                    <a:pt x="10" y="411"/>
                  </a:lnTo>
                  <a:lnTo>
                    <a:pt x="14" y="424"/>
                  </a:lnTo>
                  <a:lnTo>
                    <a:pt x="18" y="437"/>
                  </a:lnTo>
                  <a:lnTo>
                    <a:pt x="22" y="450"/>
                  </a:lnTo>
                  <a:lnTo>
                    <a:pt x="28" y="463"/>
                  </a:lnTo>
                  <a:lnTo>
                    <a:pt x="33" y="474"/>
                  </a:lnTo>
                  <a:lnTo>
                    <a:pt x="39" y="486"/>
                  </a:lnTo>
                  <a:lnTo>
                    <a:pt x="46" y="498"/>
                  </a:lnTo>
                  <a:lnTo>
                    <a:pt x="53" y="509"/>
                  </a:lnTo>
                  <a:lnTo>
                    <a:pt x="61" y="520"/>
                  </a:lnTo>
                  <a:lnTo>
                    <a:pt x="68" y="531"/>
                  </a:lnTo>
                  <a:lnTo>
                    <a:pt x="77" y="541"/>
                  </a:lnTo>
                  <a:lnTo>
                    <a:pt x="85" y="551"/>
                  </a:lnTo>
                  <a:lnTo>
                    <a:pt x="95" y="561"/>
                  </a:lnTo>
                  <a:lnTo>
                    <a:pt x="105" y="570"/>
                  </a:lnTo>
                  <a:lnTo>
                    <a:pt x="114" y="579"/>
                  </a:lnTo>
                  <a:lnTo>
                    <a:pt x="125" y="588"/>
                  </a:lnTo>
                  <a:lnTo>
                    <a:pt x="136" y="595"/>
                  </a:lnTo>
                  <a:lnTo>
                    <a:pt x="146" y="603"/>
                  </a:lnTo>
                  <a:lnTo>
                    <a:pt x="158" y="610"/>
                  </a:lnTo>
                  <a:lnTo>
                    <a:pt x="170" y="617"/>
                  </a:lnTo>
                  <a:lnTo>
                    <a:pt x="182" y="623"/>
                  </a:lnTo>
                  <a:lnTo>
                    <a:pt x="195" y="630"/>
                  </a:lnTo>
                  <a:lnTo>
                    <a:pt x="206" y="635"/>
                  </a:lnTo>
                  <a:lnTo>
                    <a:pt x="220" y="639"/>
                  </a:lnTo>
                  <a:lnTo>
                    <a:pt x="233" y="643"/>
                  </a:lnTo>
                  <a:lnTo>
                    <a:pt x="247" y="648"/>
                  </a:lnTo>
                  <a:lnTo>
                    <a:pt x="315" y="887"/>
                  </a:lnTo>
                  <a:lnTo>
                    <a:pt x="318" y="892"/>
                  </a:lnTo>
                  <a:lnTo>
                    <a:pt x="321" y="895"/>
                  </a:lnTo>
                  <a:lnTo>
                    <a:pt x="325" y="897"/>
                  </a:lnTo>
                  <a:lnTo>
                    <a:pt x="329" y="898"/>
                  </a:lnTo>
                  <a:lnTo>
                    <a:pt x="335" y="897"/>
                  </a:lnTo>
                  <a:lnTo>
                    <a:pt x="339" y="895"/>
                  </a:lnTo>
                  <a:lnTo>
                    <a:pt x="342" y="892"/>
                  </a:lnTo>
                  <a:lnTo>
                    <a:pt x="344" y="887"/>
                  </a:lnTo>
                  <a:lnTo>
                    <a:pt x="412" y="648"/>
                  </a:lnTo>
                  <a:lnTo>
                    <a:pt x="426" y="643"/>
                  </a:lnTo>
                  <a:lnTo>
                    <a:pt x="440" y="639"/>
                  </a:lnTo>
                  <a:lnTo>
                    <a:pt x="452" y="635"/>
                  </a:lnTo>
                  <a:lnTo>
                    <a:pt x="465" y="630"/>
                  </a:lnTo>
                  <a:lnTo>
                    <a:pt x="477" y="623"/>
                  </a:lnTo>
                  <a:lnTo>
                    <a:pt x="489" y="617"/>
                  </a:lnTo>
                  <a:lnTo>
                    <a:pt x="501" y="610"/>
                  </a:lnTo>
                  <a:lnTo>
                    <a:pt x="512" y="603"/>
                  </a:lnTo>
                  <a:lnTo>
                    <a:pt x="523" y="595"/>
                  </a:lnTo>
                  <a:lnTo>
                    <a:pt x="534" y="588"/>
                  </a:lnTo>
                  <a:lnTo>
                    <a:pt x="544" y="579"/>
                  </a:lnTo>
                  <a:lnTo>
                    <a:pt x="554" y="570"/>
                  </a:lnTo>
                  <a:lnTo>
                    <a:pt x="564" y="561"/>
                  </a:lnTo>
                  <a:lnTo>
                    <a:pt x="573" y="551"/>
                  </a:lnTo>
                  <a:lnTo>
                    <a:pt x="582" y="541"/>
                  </a:lnTo>
                  <a:lnTo>
                    <a:pt x="590" y="531"/>
                  </a:lnTo>
                  <a:lnTo>
                    <a:pt x="598" y="520"/>
                  </a:lnTo>
                  <a:lnTo>
                    <a:pt x="605" y="509"/>
                  </a:lnTo>
                  <a:lnTo>
                    <a:pt x="613" y="498"/>
                  </a:lnTo>
                  <a:lnTo>
                    <a:pt x="619" y="486"/>
                  </a:lnTo>
                  <a:lnTo>
                    <a:pt x="626" y="474"/>
                  </a:lnTo>
                  <a:lnTo>
                    <a:pt x="631" y="463"/>
                  </a:lnTo>
                  <a:lnTo>
                    <a:pt x="636" y="450"/>
                  </a:lnTo>
                  <a:lnTo>
                    <a:pt x="641" y="437"/>
                  </a:lnTo>
                  <a:lnTo>
                    <a:pt x="645" y="424"/>
                  </a:lnTo>
                  <a:lnTo>
                    <a:pt x="648" y="411"/>
                  </a:lnTo>
                  <a:lnTo>
                    <a:pt x="651" y="399"/>
                  </a:lnTo>
                  <a:lnTo>
                    <a:pt x="655" y="385"/>
                  </a:lnTo>
                  <a:lnTo>
                    <a:pt x="657" y="371"/>
                  </a:lnTo>
                  <a:lnTo>
                    <a:pt x="658" y="357"/>
                  </a:lnTo>
                  <a:lnTo>
                    <a:pt x="659" y="343"/>
                  </a:lnTo>
                  <a:lnTo>
                    <a:pt x="659" y="329"/>
                  </a:lnTo>
                  <a:lnTo>
                    <a:pt x="659" y="312"/>
                  </a:lnTo>
                  <a:lnTo>
                    <a:pt x="657" y="295"/>
                  </a:lnTo>
                  <a:lnTo>
                    <a:pt x="656" y="279"/>
                  </a:lnTo>
                  <a:lnTo>
                    <a:pt x="652" y="263"/>
                  </a:lnTo>
                  <a:lnTo>
                    <a:pt x="648" y="247"/>
                  </a:lnTo>
                  <a:lnTo>
                    <a:pt x="644" y="231"/>
                  </a:lnTo>
                  <a:lnTo>
                    <a:pt x="639" y="216"/>
                  </a:lnTo>
                  <a:lnTo>
                    <a:pt x="633" y="201"/>
                  </a:lnTo>
                  <a:lnTo>
                    <a:pt x="627" y="187"/>
                  </a:lnTo>
                  <a:lnTo>
                    <a:pt x="619" y="172"/>
                  </a:lnTo>
                  <a:lnTo>
                    <a:pt x="611" y="158"/>
                  </a:lnTo>
                  <a:lnTo>
                    <a:pt x="602" y="145"/>
                  </a:lnTo>
                  <a:lnTo>
                    <a:pt x="594" y="132"/>
                  </a:lnTo>
                  <a:lnTo>
                    <a:pt x="584" y="119"/>
                  </a:lnTo>
                  <a:lnTo>
                    <a:pt x="573" y="108"/>
                  </a:lnTo>
                  <a:lnTo>
                    <a:pt x="563" y="96"/>
                  </a:lnTo>
                  <a:lnTo>
                    <a:pt x="551" y="85"/>
                  </a:lnTo>
                  <a:lnTo>
                    <a:pt x="539" y="74"/>
                  </a:lnTo>
                  <a:lnTo>
                    <a:pt x="526" y="65"/>
                  </a:lnTo>
                  <a:lnTo>
                    <a:pt x="513" y="56"/>
                  </a:lnTo>
                  <a:lnTo>
                    <a:pt x="501" y="48"/>
                  </a:lnTo>
                  <a:lnTo>
                    <a:pt x="487" y="39"/>
                  </a:lnTo>
                  <a:lnTo>
                    <a:pt x="472" y="32"/>
                  </a:lnTo>
                  <a:lnTo>
                    <a:pt x="458" y="25"/>
                  </a:lnTo>
                  <a:lnTo>
                    <a:pt x="443" y="20"/>
                  </a:lnTo>
                  <a:lnTo>
                    <a:pt x="428" y="15"/>
                  </a:lnTo>
                  <a:lnTo>
                    <a:pt x="412" y="10"/>
                  </a:lnTo>
                  <a:lnTo>
                    <a:pt x="396" y="6"/>
                  </a:lnTo>
                  <a:lnTo>
                    <a:pt x="380" y="3"/>
                  </a:lnTo>
                  <a:lnTo>
                    <a:pt x="364" y="2"/>
                  </a:lnTo>
                  <a:lnTo>
                    <a:pt x="346" y="0"/>
                  </a:lnTo>
                  <a:lnTo>
                    <a:pt x="329" y="0"/>
                  </a:lnTo>
                  <a:lnTo>
                    <a:pt x="329" y="0"/>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789" name="Freeform 81">
              <a:extLst>
                <a:ext uri="{FF2B5EF4-FFF2-40B4-BE49-F238E27FC236}">
                  <a16:creationId xmlns:a16="http://schemas.microsoft.com/office/drawing/2014/main" id="{FFCCE036-46C2-44DD-90EE-96ED5826DB55}"/>
                </a:ext>
              </a:extLst>
            </p:cNvPr>
            <p:cNvSpPr>
              <a:spLocks noEditPoints="1"/>
            </p:cNvSpPr>
            <p:nvPr/>
          </p:nvSpPr>
          <p:spPr bwMode="auto">
            <a:xfrm>
              <a:off x="1538288" y="2530475"/>
              <a:ext cx="142875" cy="142875"/>
            </a:xfrm>
            <a:custGeom>
              <a:avLst/>
              <a:gdLst>
                <a:gd name="T0" fmla="*/ 185 w 449"/>
                <a:gd name="T1" fmla="*/ 415 h 450"/>
                <a:gd name="T2" fmla="*/ 131 w 449"/>
                <a:gd name="T3" fmla="*/ 396 h 450"/>
                <a:gd name="T4" fmla="*/ 86 w 449"/>
                <a:gd name="T5" fmla="*/ 363 h 450"/>
                <a:gd name="T6" fmla="*/ 53 w 449"/>
                <a:gd name="T7" fmla="*/ 318 h 450"/>
                <a:gd name="T8" fmla="*/ 34 w 449"/>
                <a:gd name="T9" fmla="*/ 265 h 450"/>
                <a:gd name="T10" fmla="*/ 31 w 449"/>
                <a:gd name="T11" fmla="*/ 205 h 450"/>
                <a:gd name="T12" fmla="*/ 45 w 449"/>
                <a:gd name="T13" fmla="*/ 149 h 450"/>
                <a:gd name="T14" fmla="*/ 75 w 449"/>
                <a:gd name="T15" fmla="*/ 101 h 450"/>
                <a:gd name="T16" fmla="*/ 115 w 449"/>
                <a:gd name="T17" fmla="*/ 63 h 450"/>
                <a:gd name="T18" fmla="*/ 167 w 449"/>
                <a:gd name="T19" fmla="*/ 39 h 450"/>
                <a:gd name="T20" fmla="*/ 224 w 449"/>
                <a:gd name="T21" fmla="*/ 30 h 450"/>
                <a:gd name="T22" fmla="*/ 282 w 449"/>
                <a:gd name="T23" fmla="*/ 39 h 450"/>
                <a:gd name="T24" fmla="*/ 333 w 449"/>
                <a:gd name="T25" fmla="*/ 63 h 450"/>
                <a:gd name="T26" fmla="*/ 374 w 449"/>
                <a:gd name="T27" fmla="*/ 101 h 450"/>
                <a:gd name="T28" fmla="*/ 404 w 449"/>
                <a:gd name="T29" fmla="*/ 149 h 450"/>
                <a:gd name="T30" fmla="*/ 418 w 449"/>
                <a:gd name="T31" fmla="*/ 205 h 450"/>
                <a:gd name="T32" fmla="*/ 415 w 449"/>
                <a:gd name="T33" fmla="*/ 265 h 450"/>
                <a:gd name="T34" fmla="*/ 396 w 449"/>
                <a:gd name="T35" fmla="*/ 318 h 450"/>
                <a:gd name="T36" fmla="*/ 362 w 449"/>
                <a:gd name="T37" fmla="*/ 363 h 450"/>
                <a:gd name="T38" fmla="*/ 317 w 449"/>
                <a:gd name="T39" fmla="*/ 396 h 450"/>
                <a:gd name="T40" fmla="*/ 264 w 449"/>
                <a:gd name="T41" fmla="*/ 415 h 450"/>
                <a:gd name="T42" fmla="*/ 224 w 449"/>
                <a:gd name="T43" fmla="*/ 420 h 450"/>
                <a:gd name="T44" fmla="*/ 202 w 449"/>
                <a:gd name="T45" fmla="*/ 1 h 450"/>
                <a:gd name="T46" fmla="*/ 169 w 449"/>
                <a:gd name="T47" fmla="*/ 8 h 450"/>
                <a:gd name="T48" fmla="*/ 137 w 449"/>
                <a:gd name="T49" fmla="*/ 17 h 450"/>
                <a:gd name="T50" fmla="*/ 82 w 449"/>
                <a:gd name="T51" fmla="*/ 52 h 450"/>
                <a:gd name="T52" fmla="*/ 38 w 449"/>
                <a:gd name="T53" fmla="*/ 100 h 450"/>
                <a:gd name="T54" fmla="*/ 14 w 449"/>
                <a:gd name="T55" fmla="*/ 148 h 450"/>
                <a:gd name="T56" fmla="*/ 4 w 449"/>
                <a:gd name="T57" fmla="*/ 180 h 450"/>
                <a:gd name="T58" fmla="*/ 0 w 449"/>
                <a:gd name="T59" fmla="*/ 213 h 450"/>
                <a:gd name="T60" fmla="*/ 1 w 449"/>
                <a:gd name="T61" fmla="*/ 247 h 450"/>
                <a:gd name="T62" fmla="*/ 7 w 449"/>
                <a:gd name="T63" fmla="*/ 281 h 450"/>
                <a:gd name="T64" fmla="*/ 18 w 449"/>
                <a:gd name="T65" fmla="*/ 313 h 450"/>
                <a:gd name="T66" fmla="*/ 51 w 449"/>
                <a:gd name="T67" fmla="*/ 367 h 450"/>
                <a:gd name="T68" fmla="*/ 99 w 449"/>
                <a:gd name="T69" fmla="*/ 411 h 450"/>
                <a:gd name="T70" fmla="*/ 147 w 449"/>
                <a:gd name="T71" fmla="*/ 436 h 450"/>
                <a:gd name="T72" fmla="*/ 179 w 449"/>
                <a:gd name="T73" fmla="*/ 445 h 450"/>
                <a:gd name="T74" fmla="*/ 213 w 449"/>
                <a:gd name="T75" fmla="*/ 450 h 450"/>
                <a:gd name="T76" fmla="*/ 248 w 449"/>
                <a:gd name="T77" fmla="*/ 449 h 450"/>
                <a:gd name="T78" fmla="*/ 280 w 449"/>
                <a:gd name="T79" fmla="*/ 442 h 450"/>
                <a:gd name="T80" fmla="*/ 312 w 449"/>
                <a:gd name="T81" fmla="*/ 431 h 450"/>
                <a:gd name="T82" fmla="*/ 368 w 449"/>
                <a:gd name="T83" fmla="*/ 398 h 450"/>
                <a:gd name="T84" fmla="*/ 411 w 449"/>
                <a:gd name="T85" fmla="*/ 350 h 450"/>
                <a:gd name="T86" fmla="*/ 435 w 449"/>
                <a:gd name="T87" fmla="*/ 302 h 450"/>
                <a:gd name="T88" fmla="*/ 445 w 449"/>
                <a:gd name="T89" fmla="*/ 270 h 450"/>
                <a:gd name="T90" fmla="*/ 449 w 449"/>
                <a:gd name="T91" fmla="*/ 237 h 450"/>
                <a:gd name="T92" fmla="*/ 448 w 449"/>
                <a:gd name="T93" fmla="*/ 203 h 450"/>
                <a:gd name="T94" fmla="*/ 442 w 449"/>
                <a:gd name="T95" fmla="*/ 169 h 450"/>
                <a:gd name="T96" fmla="*/ 432 w 449"/>
                <a:gd name="T97" fmla="*/ 137 h 450"/>
                <a:gd name="T98" fmla="*/ 398 w 449"/>
                <a:gd name="T99" fmla="*/ 82 h 450"/>
                <a:gd name="T100" fmla="*/ 350 w 449"/>
                <a:gd name="T101" fmla="*/ 39 h 450"/>
                <a:gd name="T102" fmla="*/ 301 w 449"/>
                <a:gd name="T103" fmla="*/ 14 h 450"/>
                <a:gd name="T104" fmla="*/ 269 w 449"/>
                <a:gd name="T105" fmla="*/ 5 h 450"/>
                <a:gd name="T106" fmla="*/ 236 w 449"/>
                <a:gd name="T107"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9" h="450">
                  <a:moveTo>
                    <a:pt x="224" y="420"/>
                  </a:moveTo>
                  <a:lnTo>
                    <a:pt x="204" y="419"/>
                  </a:lnTo>
                  <a:lnTo>
                    <a:pt x="185" y="415"/>
                  </a:lnTo>
                  <a:lnTo>
                    <a:pt x="167" y="411"/>
                  </a:lnTo>
                  <a:lnTo>
                    <a:pt x="148" y="405"/>
                  </a:lnTo>
                  <a:lnTo>
                    <a:pt x="131" y="396"/>
                  </a:lnTo>
                  <a:lnTo>
                    <a:pt x="115" y="386"/>
                  </a:lnTo>
                  <a:lnTo>
                    <a:pt x="100" y="375"/>
                  </a:lnTo>
                  <a:lnTo>
                    <a:pt x="86" y="363"/>
                  </a:lnTo>
                  <a:lnTo>
                    <a:pt x="75" y="349"/>
                  </a:lnTo>
                  <a:lnTo>
                    <a:pt x="63" y="334"/>
                  </a:lnTo>
                  <a:lnTo>
                    <a:pt x="53" y="318"/>
                  </a:lnTo>
                  <a:lnTo>
                    <a:pt x="45" y="301"/>
                  </a:lnTo>
                  <a:lnTo>
                    <a:pt x="38" y="283"/>
                  </a:lnTo>
                  <a:lnTo>
                    <a:pt x="34" y="265"/>
                  </a:lnTo>
                  <a:lnTo>
                    <a:pt x="31" y="245"/>
                  </a:lnTo>
                  <a:lnTo>
                    <a:pt x="30" y="225"/>
                  </a:lnTo>
                  <a:lnTo>
                    <a:pt x="31" y="205"/>
                  </a:lnTo>
                  <a:lnTo>
                    <a:pt x="34" y="185"/>
                  </a:lnTo>
                  <a:lnTo>
                    <a:pt x="38" y="167"/>
                  </a:lnTo>
                  <a:lnTo>
                    <a:pt x="45" y="149"/>
                  </a:lnTo>
                  <a:lnTo>
                    <a:pt x="53" y="132"/>
                  </a:lnTo>
                  <a:lnTo>
                    <a:pt x="63" y="116"/>
                  </a:lnTo>
                  <a:lnTo>
                    <a:pt x="75" y="101"/>
                  </a:lnTo>
                  <a:lnTo>
                    <a:pt x="86" y="87"/>
                  </a:lnTo>
                  <a:lnTo>
                    <a:pt x="100" y="75"/>
                  </a:lnTo>
                  <a:lnTo>
                    <a:pt x="115" y="63"/>
                  </a:lnTo>
                  <a:lnTo>
                    <a:pt x="131" y="54"/>
                  </a:lnTo>
                  <a:lnTo>
                    <a:pt x="148" y="45"/>
                  </a:lnTo>
                  <a:lnTo>
                    <a:pt x="167" y="39"/>
                  </a:lnTo>
                  <a:lnTo>
                    <a:pt x="185" y="35"/>
                  </a:lnTo>
                  <a:lnTo>
                    <a:pt x="204" y="31"/>
                  </a:lnTo>
                  <a:lnTo>
                    <a:pt x="224" y="30"/>
                  </a:lnTo>
                  <a:lnTo>
                    <a:pt x="245" y="31"/>
                  </a:lnTo>
                  <a:lnTo>
                    <a:pt x="264" y="35"/>
                  </a:lnTo>
                  <a:lnTo>
                    <a:pt x="282" y="39"/>
                  </a:lnTo>
                  <a:lnTo>
                    <a:pt x="300" y="45"/>
                  </a:lnTo>
                  <a:lnTo>
                    <a:pt x="317" y="54"/>
                  </a:lnTo>
                  <a:lnTo>
                    <a:pt x="333" y="63"/>
                  </a:lnTo>
                  <a:lnTo>
                    <a:pt x="348" y="75"/>
                  </a:lnTo>
                  <a:lnTo>
                    <a:pt x="362" y="87"/>
                  </a:lnTo>
                  <a:lnTo>
                    <a:pt x="374" y="101"/>
                  </a:lnTo>
                  <a:lnTo>
                    <a:pt x="386" y="116"/>
                  </a:lnTo>
                  <a:lnTo>
                    <a:pt x="396" y="132"/>
                  </a:lnTo>
                  <a:lnTo>
                    <a:pt x="404" y="149"/>
                  </a:lnTo>
                  <a:lnTo>
                    <a:pt x="411" y="167"/>
                  </a:lnTo>
                  <a:lnTo>
                    <a:pt x="415" y="185"/>
                  </a:lnTo>
                  <a:lnTo>
                    <a:pt x="418" y="205"/>
                  </a:lnTo>
                  <a:lnTo>
                    <a:pt x="419" y="225"/>
                  </a:lnTo>
                  <a:lnTo>
                    <a:pt x="418" y="245"/>
                  </a:lnTo>
                  <a:lnTo>
                    <a:pt x="415" y="265"/>
                  </a:lnTo>
                  <a:lnTo>
                    <a:pt x="411" y="283"/>
                  </a:lnTo>
                  <a:lnTo>
                    <a:pt x="404" y="301"/>
                  </a:lnTo>
                  <a:lnTo>
                    <a:pt x="396" y="318"/>
                  </a:lnTo>
                  <a:lnTo>
                    <a:pt x="386" y="334"/>
                  </a:lnTo>
                  <a:lnTo>
                    <a:pt x="374" y="349"/>
                  </a:lnTo>
                  <a:lnTo>
                    <a:pt x="362" y="363"/>
                  </a:lnTo>
                  <a:lnTo>
                    <a:pt x="348" y="375"/>
                  </a:lnTo>
                  <a:lnTo>
                    <a:pt x="333" y="386"/>
                  </a:lnTo>
                  <a:lnTo>
                    <a:pt x="317" y="396"/>
                  </a:lnTo>
                  <a:lnTo>
                    <a:pt x="300" y="405"/>
                  </a:lnTo>
                  <a:lnTo>
                    <a:pt x="282" y="411"/>
                  </a:lnTo>
                  <a:lnTo>
                    <a:pt x="264" y="415"/>
                  </a:lnTo>
                  <a:lnTo>
                    <a:pt x="245" y="419"/>
                  </a:lnTo>
                  <a:lnTo>
                    <a:pt x="224" y="420"/>
                  </a:lnTo>
                  <a:lnTo>
                    <a:pt x="224" y="420"/>
                  </a:lnTo>
                  <a:close/>
                  <a:moveTo>
                    <a:pt x="224" y="0"/>
                  </a:moveTo>
                  <a:lnTo>
                    <a:pt x="213" y="0"/>
                  </a:lnTo>
                  <a:lnTo>
                    <a:pt x="202" y="1"/>
                  </a:lnTo>
                  <a:lnTo>
                    <a:pt x="190" y="3"/>
                  </a:lnTo>
                  <a:lnTo>
                    <a:pt x="179" y="5"/>
                  </a:lnTo>
                  <a:lnTo>
                    <a:pt x="169" y="8"/>
                  </a:lnTo>
                  <a:lnTo>
                    <a:pt x="158" y="10"/>
                  </a:lnTo>
                  <a:lnTo>
                    <a:pt x="147" y="14"/>
                  </a:lnTo>
                  <a:lnTo>
                    <a:pt x="137" y="17"/>
                  </a:lnTo>
                  <a:lnTo>
                    <a:pt x="117" y="27"/>
                  </a:lnTo>
                  <a:lnTo>
                    <a:pt x="99" y="39"/>
                  </a:lnTo>
                  <a:lnTo>
                    <a:pt x="82" y="52"/>
                  </a:lnTo>
                  <a:lnTo>
                    <a:pt x="66" y="67"/>
                  </a:lnTo>
                  <a:lnTo>
                    <a:pt x="51" y="82"/>
                  </a:lnTo>
                  <a:lnTo>
                    <a:pt x="38" y="100"/>
                  </a:lnTo>
                  <a:lnTo>
                    <a:pt x="26" y="118"/>
                  </a:lnTo>
                  <a:lnTo>
                    <a:pt x="18" y="137"/>
                  </a:lnTo>
                  <a:lnTo>
                    <a:pt x="14" y="148"/>
                  </a:lnTo>
                  <a:lnTo>
                    <a:pt x="10" y="159"/>
                  </a:lnTo>
                  <a:lnTo>
                    <a:pt x="7" y="169"/>
                  </a:lnTo>
                  <a:lnTo>
                    <a:pt x="4" y="180"/>
                  </a:lnTo>
                  <a:lnTo>
                    <a:pt x="2" y="191"/>
                  </a:lnTo>
                  <a:lnTo>
                    <a:pt x="1" y="203"/>
                  </a:lnTo>
                  <a:lnTo>
                    <a:pt x="0" y="213"/>
                  </a:lnTo>
                  <a:lnTo>
                    <a:pt x="0" y="225"/>
                  </a:lnTo>
                  <a:lnTo>
                    <a:pt x="0" y="237"/>
                  </a:lnTo>
                  <a:lnTo>
                    <a:pt x="1" y="247"/>
                  </a:lnTo>
                  <a:lnTo>
                    <a:pt x="2" y="259"/>
                  </a:lnTo>
                  <a:lnTo>
                    <a:pt x="4" y="270"/>
                  </a:lnTo>
                  <a:lnTo>
                    <a:pt x="7" y="281"/>
                  </a:lnTo>
                  <a:lnTo>
                    <a:pt x="10" y="291"/>
                  </a:lnTo>
                  <a:lnTo>
                    <a:pt x="14" y="302"/>
                  </a:lnTo>
                  <a:lnTo>
                    <a:pt x="18" y="313"/>
                  </a:lnTo>
                  <a:lnTo>
                    <a:pt x="26" y="332"/>
                  </a:lnTo>
                  <a:lnTo>
                    <a:pt x="38" y="350"/>
                  </a:lnTo>
                  <a:lnTo>
                    <a:pt x="51" y="367"/>
                  </a:lnTo>
                  <a:lnTo>
                    <a:pt x="66" y="383"/>
                  </a:lnTo>
                  <a:lnTo>
                    <a:pt x="82" y="398"/>
                  </a:lnTo>
                  <a:lnTo>
                    <a:pt x="99" y="411"/>
                  </a:lnTo>
                  <a:lnTo>
                    <a:pt x="117" y="423"/>
                  </a:lnTo>
                  <a:lnTo>
                    <a:pt x="137" y="431"/>
                  </a:lnTo>
                  <a:lnTo>
                    <a:pt x="147" y="436"/>
                  </a:lnTo>
                  <a:lnTo>
                    <a:pt x="158" y="439"/>
                  </a:lnTo>
                  <a:lnTo>
                    <a:pt x="169" y="442"/>
                  </a:lnTo>
                  <a:lnTo>
                    <a:pt x="179" y="445"/>
                  </a:lnTo>
                  <a:lnTo>
                    <a:pt x="190" y="447"/>
                  </a:lnTo>
                  <a:lnTo>
                    <a:pt x="202" y="449"/>
                  </a:lnTo>
                  <a:lnTo>
                    <a:pt x="213" y="450"/>
                  </a:lnTo>
                  <a:lnTo>
                    <a:pt x="224" y="450"/>
                  </a:lnTo>
                  <a:lnTo>
                    <a:pt x="236" y="450"/>
                  </a:lnTo>
                  <a:lnTo>
                    <a:pt x="248" y="449"/>
                  </a:lnTo>
                  <a:lnTo>
                    <a:pt x="259" y="447"/>
                  </a:lnTo>
                  <a:lnTo>
                    <a:pt x="269" y="445"/>
                  </a:lnTo>
                  <a:lnTo>
                    <a:pt x="280" y="442"/>
                  </a:lnTo>
                  <a:lnTo>
                    <a:pt x="291" y="439"/>
                  </a:lnTo>
                  <a:lnTo>
                    <a:pt x="301" y="436"/>
                  </a:lnTo>
                  <a:lnTo>
                    <a:pt x="312" y="431"/>
                  </a:lnTo>
                  <a:lnTo>
                    <a:pt x="331" y="423"/>
                  </a:lnTo>
                  <a:lnTo>
                    <a:pt x="350" y="411"/>
                  </a:lnTo>
                  <a:lnTo>
                    <a:pt x="368" y="398"/>
                  </a:lnTo>
                  <a:lnTo>
                    <a:pt x="384" y="383"/>
                  </a:lnTo>
                  <a:lnTo>
                    <a:pt x="398" y="367"/>
                  </a:lnTo>
                  <a:lnTo>
                    <a:pt x="411" y="350"/>
                  </a:lnTo>
                  <a:lnTo>
                    <a:pt x="422" y="332"/>
                  </a:lnTo>
                  <a:lnTo>
                    <a:pt x="432" y="313"/>
                  </a:lnTo>
                  <a:lnTo>
                    <a:pt x="435" y="302"/>
                  </a:lnTo>
                  <a:lnTo>
                    <a:pt x="439" y="291"/>
                  </a:lnTo>
                  <a:lnTo>
                    <a:pt x="442" y="281"/>
                  </a:lnTo>
                  <a:lnTo>
                    <a:pt x="445" y="270"/>
                  </a:lnTo>
                  <a:lnTo>
                    <a:pt x="447" y="259"/>
                  </a:lnTo>
                  <a:lnTo>
                    <a:pt x="448" y="247"/>
                  </a:lnTo>
                  <a:lnTo>
                    <a:pt x="449" y="237"/>
                  </a:lnTo>
                  <a:lnTo>
                    <a:pt x="449" y="225"/>
                  </a:lnTo>
                  <a:lnTo>
                    <a:pt x="449" y="213"/>
                  </a:lnTo>
                  <a:lnTo>
                    <a:pt x="448" y="203"/>
                  </a:lnTo>
                  <a:lnTo>
                    <a:pt x="447" y="191"/>
                  </a:lnTo>
                  <a:lnTo>
                    <a:pt x="445" y="180"/>
                  </a:lnTo>
                  <a:lnTo>
                    <a:pt x="442" y="169"/>
                  </a:lnTo>
                  <a:lnTo>
                    <a:pt x="439" y="159"/>
                  </a:lnTo>
                  <a:lnTo>
                    <a:pt x="435" y="148"/>
                  </a:lnTo>
                  <a:lnTo>
                    <a:pt x="432" y="137"/>
                  </a:lnTo>
                  <a:lnTo>
                    <a:pt x="422" y="118"/>
                  </a:lnTo>
                  <a:lnTo>
                    <a:pt x="411" y="100"/>
                  </a:lnTo>
                  <a:lnTo>
                    <a:pt x="398" y="82"/>
                  </a:lnTo>
                  <a:lnTo>
                    <a:pt x="384" y="67"/>
                  </a:lnTo>
                  <a:lnTo>
                    <a:pt x="368" y="52"/>
                  </a:lnTo>
                  <a:lnTo>
                    <a:pt x="350" y="39"/>
                  </a:lnTo>
                  <a:lnTo>
                    <a:pt x="331" y="27"/>
                  </a:lnTo>
                  <a:lnTo>
                    <a:pt x="312" y="17"/>
                  </a:lnTo>
                  <a:lnTo>
                    <a:pt x="301" y="14"/>
                  </a:lnTo>
                  <a:lnTo>
                    <a:pt x="291" y="10"/>
                  </a:lnTo>
                  <a:lnTo>
                    <a:pt x="280" y="8"/>
                  </a:lnTo>
                  <a:lnTo>
                    <a:pt x="269" y="5"/>
                  </a:lnTo>
                  <a:lnTo>
                    <a:pt x="259" y="3"/>
                  </a:lnTo>
                  <a:lnTo>
                    <a:pt x="248" y="1"/>
                  </a:lnTo>
                  <a:lnTo>
                    <a:pt x="236" y="0"/>
                  </a:lnTo>
                  <a:lnTo>
                    <a:pt x="224" y="0"/>
                  </a:lnTo>
                  <a:close/>
                </a:path>
              </a:pathLst>
            </a:custGeom>
            <a:grp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803" name="Group 31">
            <a:extLst>
              <a:ext uri="{FF2B5EF4-FFF2-40B4-BE49-F238E27FC236}">
                <a16:creationId xmlns:a16="http://schemas.microsoft.com/office/drawing/2014/main" id="{D2F56266-8E39-45DA-9A0A-607D9E59E5B6}"/>
              </a:ext>
            </a:extLst>
          </p:cNvPr>
          <p:cNvGrpSpPr>
            <a:grpSpLocks noChangeAspect="1"/>
          </p:cNvGrpSpPr>
          <p:nvPr/>
        </p:nvGrpSpPr>
        <p:grpSpPr>
          <a:xfrm>
            <a:off x="5727664" y="2186361"/>
            <a:ext cx="414200" cy="306484"/>
            <a:chOff x="1536713" y="2453451"/>
            <a:chExt cx="576117" cy="426294"/>
          </a:xfrm>
          <a:solidFill>
            <a:schemeClr val="bg1"/>
          </a:solidFill>
          <a:effectLst/>
        </p:grpSpPr>
        <p:sp>
          <p:nvSpPr>
            <p:cNvPr id="804" name="Freeform 15">
              <a:extLst>
                <a:ext uri="{FF2B5EF4-FFF2-40B4-BE49-F238E27FC236}">
                  <a16:creationId xmlns:a16="http://schemas.microsoft.com/office/drawing/2014/main" id="{E53D7D94-833D-4B1A-B702-19667EEAFF36}"/>
                </a:ext>
              </a:extLst>
            </p:cNvPr>
            <p:cNvSpPr>
              <a:spLocks/>
            </p:cNvSpPr>
            <p:nvPr/>
          </p:nvSpPr>
          <p:spPr bwMode="auto">
            <a:xfrm>
              <a:off x="1536713" y="2453451"/>
              <a:ext cx="192039" cy="426294"/>
            </a:xfrm>
            <a:custGeom>
              <a:avLst/>
              <a:gdLst>
                <a:gd name="T0" fmla="*/ 38 w 695"/>
                <a:gd name="T1" fmla="*/ 1545 h 1545"/>
                <a:gd name="T2" fmla="*/ 31 w 695"/>
                <a:gd name="T3" fmla="*/ 1545 h 1545"/>
                <a:gd name="T4" fmla="*/ 24 w 695"/>
                <a:gd name="T5" fmla="*/ 1542 h 1545"/>
                <a:gd name="T6" fmla="*/ 17 w 695"/>
                <a:gd name="T7" fmla="*/ 1539 h 1545"/>
                <a:gd name="T8" fmla="*/ 11 w 695"/>
                <a:gd name="T9" fmla="*/ 1533 h 1545"/>
                <a:gd name="T10" fmla="*/ 6 w 695"/>
                <a:gd name="T11" fmla="*/ 1528 h 1545"/>
                <a:gd name="T12" fmla="*/ 3 w 695"/>
                <a:gd name="T13" fmla="*/ 1522 h 1545"/>
                <a:gd name="T14" fmla="*/ 1 w 695"/>
                <a:gd name="T15" fmla="*/ 1514 h 1545"/>
                <a:gd name="T16" fmla="*/ 0 w 695"/>
                <a:gd name="T17" fmla="*/ 1507 h 1545"/>
                <a:gd name="T18" fmla="*/ 1 w 695"/>
                <a:gd name="T19" fmla="*/ 1499 h 1545"/>
                <a:gd name="T20" fmla="*/ 3 w 695"/>
                <a:gd name="T21" fmla="*/ 1492 h 1545"/>
                <a:gd name="T22" fmla="*/ 621 w 695"/>
                <a:gd name="T23" fmla="*/ 23 h 1545"/>
                <a:gd name="T24" fmla="*/ 625 w 695"/>
                <a:gd name="T25" fmla="*/ 17 h 1545"/>
                <a:gd name="T26" fmla="*/ 630 w 695"/>
                <a:gd name="T27" fmla="*/ 10 h 1545"/>
                <a:gd name="T28" fmla="*/ 636 w 695"/>
                <a:gd name="T29" fmla="*/ 6 h 1545"/>
                <a:gd name="T30" fmla="*/ 642 w 695"/>
                <a:gd name="T31" fmla="*/ 2 h 1545"/>
                <a:gd name="T32" fmla="*/ 649 w 695"/>
                <a:gd name="T33" fmla="*/ 0 h 1545"/>
                <a:gd name="T34" fmla="*/ 657 w 695"/>
                <a:gd name="T35" fmla="*/ 0 h 1545"/>
                <a:gd name="T36" fmla="*/ 664 w 695"/>
                <a:gd name="T37" fmla="*/ 0 h 1545"/>
                <a:gd name="T38" fmla="*/ 672 w 695"/>
                <a:gd name="T39" fmla="*/ 3 h 1545"/>
                <a:gd name="T40" fmla="*/ 679 w 695"/>
                <a:gd name="T41" fmla="*/ 6 h 1545"/>
                <a:gd name="T42" fmla="*/ 685 w 695"/>
                <a:gd name="T43" fmla="*/ 11 h 1545"/>
                <a:gd name="T44" fmla="*/ 689 w 695"/>
                <a:gd name="T45" fmla="*/ 17 h 1545"/>
                <a:gd name="T46" fmla="*/ 693 w 695"/>
                <a:gd name="T47" fmla="*/ 23 h 1545"/>
                <a:gd name="T48" fmla="*/ 695 w 695"/>
                <a:gd name="T49" fmla="*/ 30 h 1545"/>
                <a:gd name="T50" fmla="*/ 695 w 695"/>
                <a:gd name="T51" fmla="*/ 38 h 1545"/>
                <a:gd name="T52" fmla="*/ 695 w 695"/>
                <a:gd name="T53" fmla="*/ 45 h 1545"/>
                <a:gd name="T54" fmla="*/ 693 w 695"/>
                <a:gd name="T55" fmla="*/ 53 h 1545"/>
                <a:gd name="T56" fmla="*/ 75 w 695"/>
                <a:gd name="T57" fmla="*/ 1522 h 1545"/>
                <a:gd name="T58" fmla="*/ 71 w 695"/>
                <a:gd name="T59" fmla="*/ 1527 h 1545"/>
                <a:gd name="T60" fmla="*/ 68 w 695"/>
                <a:gd name="T61" fmla="*/ 1531 h 1545"/>
                <a:gd name="T62" fmla="*/ 64 w 695"/>
                <a:gd name="T63" fmla="*/ 1535 h 1545"/>
                <a:gd name="T64" fmla="*/ 60 w 695"/>
                <a:gd name="T65" fmla="*/ 1539 h 1545"/>
                <a:gd name="T66" fmla="*/ 54 w 695"/>
                <a:gd name="T67" fmla="*/ 1542 h 1545"/>
                <a:gd name="T68" fmla="*/ 50 w 695"/>
                <a:gd name="T69" fmla="*/ 1544 h 1545"/>
                <a:gd name="T70" fmla="*/ 44 w 695"/>
                <a:gd name="T71" fmla="*/ 1545 h 1545"/>
                <a:gd name="T72" fmla="*/ 38 w 695"/>
                <a:gd name="T73" fmla="*/ 1545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5" h="1545">
                  <a:moveTo>
                    <a:pt x="38" y="1545"/>
                  </a:moveTo>
                  <a:lnTo>
                    <a:pt x="31" y="1545"/>
                  </a:lnTo>
                  <a:lnTo>
                    <a:pt x="24" y="1542"/>
                  </a:lnTo>
                  <a:lnTo>
                    <a:pt x="17" y="1539"/>
                  </a:lnTo>
                  <a:lnTo>
                    <a:pt x="11" y="1533"/>
                  </a:lnTo>
                  <a:lnTo>
                    <a:pt x="6" y="1528"/>
                  </a:lnTo>
                  <a:lnTo>
                    <a:pt x="3" y="1522"/>
                  </a:lnTo>
                  <a:lnTo>
                    <a:pt x="1" y="1514"/>
                  </a:lnTo>
                  <a:lnTo>
                    <a:pt x="0" y="1507"/>
                  </a:lnTo>
                  <a:lnTo>
                    <a:pt x="1" y="1499"/>
                  </a:lnTo>
                  <a:lnTo>
                    <a:pt x="3" y="1492"/>
                  </a:lnTo>
                  <a:lnTo>
                    <a:pt x="621" y="23"/>
                  </a:lnTo>
                  <a:lnTo>
                    <a:pt x="625" y="17"/>
                  </a:lnTo>
                  <a:lnTo>
                    <a:pt x="630" y="10"/>
                  </a:lnTo>
                  <a:lnTo>
                    <a:pt x="636" y="6"/>
                  </a:lnTo>
                  <a:lnTo>
                    <a:pt x="642" y="2"/>
                  </a:lnTo>
                  <a:lnTo>
                    <a:pt x="649" y="0"/>
                  </a:lnTo>
                  <a:lnTo>
                    <a:pt x="657" y="0"/>
                  </a:lnTo>
                  <a:lnTo>
                    <a:pt x="664" y="0"/>
                  </a:lnTo>
                  <a:lnTo>
                    <a:pt x="672" y="3"/>
                  </a:lnTo>
                  <a:lnTo>
                    <a:pt x="679" y="6"/>
                  </a:lnTo>
                  <a:lnTo>
                    <a:pt x="685" y="11"/>
                  </a:lnTo>
                  <a:lnTo>
                    <a:pt x="689" y="17"/>
                  </a:lnTo>
                  <a:lnTo>
                    <a:pt x="693" y="23"/>
                  </a:lnTo>
                  <a:lnTo>
                    <a:pt x="695" y="30"/>
                  </a:lnTo>
                  <a:lnTo>
                    <a:pt x="695" y="38"/>
                  </a:lnTo>
                  <a:lnTo>
                    <a:pt x="695" y="45"/>
                  </a:lnTo>
                  <a:lnTo>
                    <a:pt x="693" y="53"/>
                  </a:lnTo>
                  <a:lnTo>
                    <a:pt x="75" y="1522"/>
                  </a:lnTo>
                  <a:lnTo>
                    <a:pt x="71" y="1527"/>
                  </a:lnTo>
                  <a:lnTo>
                    <a:pt x="68" y="1531"/>
                  </a:lnTo>
                  <a:lnTo>
                    <a:pt x="64" y="1535"/>
                  </a:lnTo>
                  <a:lnTo>
                    <a:pt x="60" y="1539"/>
                  </a:lnTo>
                  <a:lnTo>
                    <a:pt x="54" y="1542"/>
                  </a:lnTo>
                  <a:lnTo>
                    <a:pt x="50" y="1544"/>
                  </a:lnTo>
                  <a:lnTo>
                    <a:pt x="44" y="1545"/>
                  </a:lnTo>
                  <a:lnTo>
                    <a:pt x="38" y="15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16">
              <a:extLst>
                <a:ext uri="{FF2B5EF4-FFF2-40B4-BE49-F238E27FC236}">
                  <a16:creationId xmlns:a16="http://schemas.microsoft.com/office/drawing/2014/main" id="{6B26B4EC-28FF-493A-97AE-611B03AF8EF2}"/>
                </a:ext>
              </a:extLst>
            </p:cNvPr>
            <p:cNvSpPr>
              <a:spLocks/>
            </p:cNvSpPr>
            <p:nvPr/>
          </p:nvSpPr>
          <p:spPr bwMode="auto">
            <a:xfrm>
              <a:off x="1920791" y="2453451"/>
              <a:ext cx="192039" cy="426294"/>
            </a:xfrm>
            <a:custGeom>
              <a:avLst/>
              <a:gdLst>
                <a:gd name="T0" fmla="*/ 657 w 695"/>
                <a:gd name="T1" fmla="*/ 1545 h 1545"/>
                <a:gd name="T2" fmla="*/ 652 w 695"/>
                <a:gd name="T3" fmla="*/ 1545 h 1545"/>
                <a:gd name="T4" fmla="*/ 646 w 695"/>
                <a:gd name="T5" fmla="*/ 1544 h 1545"/>
                <a:gd name="T6" fmla="*/ 641 w 695"/>
                <a:gd name="T7" fmla="*/ 1542 h 1545"/>
                <a:gd name="T8" fmla="*/ 636 w 695"/>
                <a:gd name="T9" fmla="*/ 1539 h 1545"/>
                <a:gd name="T10" fmla="*/ 632 w 695"/>
                <a:gd name="T11" fmla="*/ 1535 h 1545"/>
                <a:gd name="T12" fmla="*/ 627 w 695"/>
                <a:gd name="T13" fmla="*/ 1531 h 1545"/>
                <a:gd name="T14" fmla="*/ 624 w 695"/>
                <a:gd name="T15" fmla="*/ 1527 h 1545"/>
                <a:gd name="T16" fmla="*/ 622 w 695"/>
                <a:gd name="T17" fmla="*/ 1522 h 1545"/>
                <a:gd name="T18" fmla="*/ 3 w 695"/>
                <a:gd name="T19" fmla="*/ 53 h 1545"/>
                <a:gd name="T20" fmla="*/ 1 w 695"/>
                <a:gd name="T21" fmla="*/ 45 h 1545"/>
                <a:gd name="T22" fmla="*/ 0 w 695"/>
                <a:gd name="T23" fmla="*/ 38 h 1545"/>
                <a:gd name="T24" fmla="*/ 1 w 695"/>
                <a:gd name="T25" fmla="*/ 30 h 1545"/>
                <a:gd name="T26" fmla="*/ 3 w 695"/>
                <a:gd name="T27" fmla="*/ 23 h 1545"/>
                <a:gd name="T28" fmla="*/ 7 w 695"/>
                <a:gd name="T29" fmla="*/ 17 h 1545"/>
                <a:gd name="T30" fmla="*/ 11 w 695"/>
                <a:gd name="T31" fmla="*/ 11 h 1545"/>
                <a:gd name="T32" fmla="*/ 17 w 695"/>
                <a:gd name="T33" fmla="*/ 6 h 1545"/>
                <a:gd name="T34" fmla="*/ 24 w 695"/>
                <a:gd name="T35" fmla="*/ 3 h 1545"/>
                <a:gd name="T36" fmla="*/ 31 w 695"/>
                <a:gd name="T37" fmla="*/ 0 h 1545"/>
                <a:gd name="T38" fmla="*/ 39 w 695"/>
                <a:gd name="T39" fmla="*/ 0 h 1545"/>
                <a:gd name="T40" fmla="*/ 46 w 695"/>
                <a:gd name="T41" fmla="*/ 0 h 1545"/>
                <a:gd name="T42" fmla="*/ 53 w 695"/>
                <a:gd name="T43" fmla="*/ 2 h 1545"/>
                <a:gd name="T44" fmla="*/ 60 w 695"/>
                <a:gd name="T45" fmla="*/ 6 h 1545"/>
                <a:gd name="T46" fmla="*/ 66 w 695"/>
                <a:gd name="T47" fmla="*/ 10 h 1545"/>
                <a:gd name="T48" fmla="*/ 70 w 695"/>
                <a:gd name="T49" fmla="*/ 17 h 1545"/>
                <a:gd name="T50" fmla="*/ 75 w 695"/>
                <a:gd name="T51" fmla="*/ 23 h 1545"/>
                <a:gd name="T52" fmla="*/ 693 w 695"/>
                <a:gd name="T53" fmla="*/ 1492 h 1545"/>
                <a:gd name="T54" fmla="*/ 695 w 695"/>
                <a:gd name="T55" fmla="*/ 1499 h 1545"/>
                <a:gd name="T56" fmla="*/ 695 w 695"/>
                <a:gd name="T57" fmla="*/ 1507 h 1545"/>
                <a:gd name="T58" fmla="*/ 695 w 695"/>
                <a:gd name="T59" fmla="*/ 1514 h 1545"/>
                <a:gd name="T60" fmla="*/ 693 w 695"/>
                <a:gd name="T61" fmla="*/ 1522 h 1545"/>
                <a:gd name="T62" fmla="*/ 690 w 695"/>
                <a:gd name="T63" fmla="*/ 1528 h 1545"/>
                <a:gd name="T64" fmla="*/ 685 w 695"/>
                <a:gd name="T65" fmla="*/ 1533 h 1545"/>
                <a:gd name="T66" fmla="*/ 679 w 695"/>
                <a:gd name="T67" fmla="*/ 1539 h 1545"/>
                <a:gd name="T68" fmla="*/ 672 w 695"/>
                <a:gd name="T69" fmla="*/ 1542 h 1545"/>
                <a:gd name="T70" fmla="*/ 664 w 695"/>
                <a:gd name="T71" fmla="*/ 1545 h 1545"/>
                <a:gd name="T72" fmla="*/ 657 w 695"/>
                <a:gd name="T73" fmla="*/ 1545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5" h="1545">
                  <a:moveTo>
                    <a:pt x="657" y="1545"/>
                  </a:moveTo>
                  <a:lnTo>
                    <a:pt x="652" y="1545"/>
                  </a:lnTo>
                  <a:lnTo>
                    <a:pt x="646" y="1544"/>
                  </a:lnTo>
                  <a:lnTo>
                    <a:pt x="641" y="1542"/>
                  </a:lnTo>
                  <a:lnTo>
                    <a:pt x="636" y="1539"/>
                  </a:lnTo>
                  <a:lnTo>
                    <a:pt x="632" y="1535"/>
                  </a:lnTo>
                  <a:lnTo>
                    <a:pt x="627" y="1531"/>
                  </a:lnTo>
                  <a:lnTo>
                    <a:pt x="624" y="1527"/>
                  </a:lnTo>
                  <a:lnTo>
                    <a:pt x="622" y="1522"/>
                  </a:lnTo>
                  <a:lnTo>
                    <a:pt x="3" y="53"/>
                  </a:lnTo>
                  <a:lnTo>
                    <a:pt x="1" y="45"/>
                  </a:lnTo>
                  <a:lnTo>
                    <a:pt x="0" y="38"/>
                  </a:lnTo>
                  <a:lnTo>
                    <a:pt x="1" y="30"/>
                  </a:lnTo>
                  <a:lnTo>
                    <a:pt x="3" y="23"/>
                  </a:lnTo>
                  <a:lnTo>
                    <a:pt x="7" y="17"/>
                  </a:lnTo>
                  <a:lnTo>
                    <a:pt x="11" y="11"/>
                  </a:lnTo>
                  <a:lnTo>
                    <a:pt x="17" y="6"/>
                  </a:lnTo>
                  <a:lnTo>
                    <a:pt x="24" y="3"/>
                  </a:lnTo>
                  <a:lnTo>
                    <a:pt x="31" y="0"/>
                  </a:lnTo>
                  <a:lnTo>
                    <a:pt x="39" y="0"/>
                  </a:lnTo>
                  <a:lnTo>
                    <a:pt x="46" y="0"/>
                  </a:lnTo>
                  <a:lnTo>
                    <a:pt x="53" y="2"/>
                  </a:lnTo>
                  <a:lnTo>
                    <a:pt x="60" y="6"/>
                  </a:lnTo>
                  <a:lnTo>
                    <a:pt x="66" y="10"/>
                  </a:lnTo>
                  <a:lnTo>
                    <a:pt x="70" y="17"/>
                  </a:lnTo>
                  <a:lnTo>
                    <a:pt x="75" y="23"/>
                  </a:lnTo>
                  <a:lnTo>
                    <a:pt x="693" y="1492"/>
                  </a:lnTo>
                  <a:lnTo>
                    <a:pt x="695" y="1499"/>
                  </a:lnTo>
                  <a:lnTo>
                    <a:pt x="695" y="1507"/>
                  </a:lnTo>
                  <a:lnTo>
                    <a:pt x="695" y="1514"/>
                  </a:lnTo>
                  <a:lnTo>
                    <a:pt x="693" y="1522"/>
                  </a:lnTo>
                  <a:lnTo>
                    <a:pt x="690" y="1528"/>
                  </a:lnTo>
                  <a:lnTo>
                    <a:pt x="685" y="1533"/>
                  </a:lnTo>
                  <a:lnTo>
                    <a:pt x="679" y="1539"/>
                  </a:lnTo>
                  <a:lnTo>
                    <a:pt x="672" y="1542"/>
                  </a:lnTo>
                  <a:lnTo>
                    <a:pt x="664" y="1545"/>
                  </a:lnTo>
                  <a:lnTo>
                    <a:pt x="657" y="15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17">
              <a:extLst>
                <a:ext uri="{FF2B5EF4-FFF2-40B4-BE49-F238E27FC236}">
                  <a16:creationId xmlns:a16="http://schemas.microsoft.com/office/drawing/2014/main" id="{CF870595-636F-4E81-9E74-A7D0FA7A1BF2}"/>
                </a:ext>
              </a:extLst>
            </p:cNvPr>
            <p:cNvSpPr>
              <a:spLocks/>
            </p:cNvSpPr>
            <p:nvPr/>
          </p:nvSpPr>
          <p:spPr bwMode="auto">
            <a:xfrm>
              <a:off x="1814010" y="2453451"/>
              <a:ext cx="21522" cy="85259"/>
            </a:xfrm>
            <a:custGeom>
              <a:avLst/>
              <a:gdLst>
                <a:gd name="T0" fmla="*/ 40 w 78"/>
                <a:gd name="T1" fmla="*/ 309 h 309"/>
                <a:gd name="T2" fmla="*/ 31 w 78"/>
                <a:gd name="T3" fmla="*/ 308 h 309"/>
                <a:gd name="T4" fmla="*/ 24 w 78"/>
                <a:gd name="T5" fmla="*/ 306 h 309"/>
                <a:gd name="T6" fmla="*/ 17 w 78"/>
                <a:gd name="T7" fmla="*/ 301 h 309"/>
                <a:gd name="T8" fmla="*/ 12 w 78"/>
                <a:gd name="T9" fmla="*/ 297 h 309"/>
                <a:gd name="T10" fmla="*/ 7 w 78"/>
                <a:gd name="T11" fmla="*/ 292 h 309"/>
                <a:gd name="T12" fmla="*/ 4 w 78"/>
                <a:gd name="T13" fmla="*/ 284 h 309"/>
                <a:gd name="T14" fmla="*/ 1 w 78"/>
                <a:gd name="T15" fmla="*/ 278 h 309"/>
                <a:gd name="T16" fmla="*/ 0 w 78"/>
                <a:gd name="T17" fmla="*/ 270 h 309"/>
                <a:gd name="T18" fmla="*/ 0 w 78"/>
                <a:gd name="T19" fmla="*/ 38 h 309"/>
                <a:gd name="T20" fmla="*/ 1 w 78"/>
                <a:gd name="T21" fmla="*/ 30 h 309"/>
                <a:gd name="T22" fmla="*/ 4 w 78"/>
                <a:gd name="T23" fmla="*/ 23 h 309"/>
                <a:gd name="T24" fmla="*/ 7 w 78"/>
                <a:gd name="T25" fmla="*/ 17 h 309"/>
                <a:gd name="T26" fmla="*/ 12 w 78"/>
                <a:gd name="T27" fmla="*/ 10 h 309"/>
                <a:gd name="T28" fmla="*/ 17 w 78"/>
                <a:gd name="T29" fmla="*/ 6 h 309"/>
                <a:gd name="T30" fmla="*/ 24 w 78"/>
                <a:gd name="T31" fmla="*/ 3 h 309"/>
                <a:gd name="T32" fmla="*/ 31 w 78"/>
                <a:gd name="T33" fmla="*/ 0 h 309"/>
                <a:gd name="T34" fmla="*/ 40 w 78"/>
                <a:gd name="T35" fmla="*/ 0 h 309"/>
                <a:gd name="T36" fmla="*/ 47 w 78"/>
                <a:gd name="T37" fmla="*/ 0 h 309"/>
                <a:gd name="T38" fmla="*/ 55 w 78"/>
                <a:gd name="T39" fmla="*/ 3 h 309"/>
                <a:gd name="T40" fmla="*/ 61 w 78"/>
                <a:gd name="T41" fmla="*/ 6 h 309"/>
                <a:gd name="T42" fmla="*/ 66 w 78"/>
                <a:gd name="T43" fmla="*/ 10 h 309"/>
                <a:gd name="T44" fmla="*/ 72 w 78"/>
                <a:gd name="T45" fmla="*/ 17 h 309"/>
                <a:gd name="T46" fmla="*/ 75 w 78"/>
                <a:gd name="T47" fmla="*/ 23 h 309"/>
                <a:gd name="T48" fmla="*/ 77 w 78"/>
                <a:gd name="T49" fmla="*/ 30 h 309"/>
                <a:gd name="T50" fmla="*/ 78 w 78"/>
                <a:gd name="T51" fmla="*/ 38 h 309"/>
                <a:gd name="T52" fmla="*/ 78 w 78"/>
                <a:gd name="T53" fmla="*/ 270 h 309"/>
                <a:gd name="T54" fmla="*/ 77 w 78"/>
                <a:gd name="T55" fmla="*/ 278 h 309"/>
                <a:gd name="T56" fmla="*/ 75 w 78"/>
                <a:gd name="T57" fmla="*/ 284 h 309"/>
                <a:gd name="T58" fmla="*/ 72 w 78"/>
                <a:gd name="T59" fmla="*/ 292 h 309"/>
                <a:gd name="T60" fmla="*/ 66 w 78"/>
                <a:gd name="T61" fmla="*/ 297 h 309"/>
                <a:gd name="T62" fmla="*/ 61 w 78"/>
                <a:gd name="T63" fmla="*/ 301 h 309"/>
                <a:gd name="T64" fmla="*/ 55 w 78"/>
                <a:gd name="T65" fmla="*/ 306 h 309"/>
                <a:gd name="T66" fmla="*/ 47 w 78"/>
                <a:gd name="T67" fmla="*/ 308 h 309"/>
                <a:gd name="T68" fmla="*/ 40 w 78"/>
                <a:gd name="T6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309">
                  <a:moveTo>
                    <a:pt x="40" y="309"/>
                  </a:moveTo>
                  <a:lnTo>
                    <a:pt x="31" y="308"/>
                  </a:lnTo>
                  <a:lnTo>
                    <a:pt x="24" y="306"/>
                  </a:lnTo>
                  <a:lnTo>
                    <a:pt x="17" y="301"/>
                  </a:lnTo>
                  <a:lnTo>
                    <a:pt x="12" y="297"/>
                  </a:lnTo>
                  <a:lnTo>
                    <a:pt x="7" y="292"/>
                  </a:lnTo>
                  <a:lnTo>
                    <a:pt x="4" y="284"/>
                  </a:lnTo>
                  <a:lnTo>
                    <a:pt x="1" y="278"/>
                  </a:lnTo>
                  <a:lnTo>
                    <a:pt x="0" y="270"/>
                  </a:lnTo>
                  <a:lnTo>
                    <a:pt x="0" y="38"/>
                  </a:lnTo>
                  <a:lnTo>
                    <a:pt x="1" y="30"/>
                  </a:lnTo>
                  <a:lnTo>
                    <a:pt x="4" y="23"/>
                  </a:lnTo>
                  <a:lnTo>
                    <a:pt x="7" y="17"/>
                  </a:lnTo>
                  <a:lnTo>
                    <a:pt x="12" y="10"/>
                  </a:lnTo>
                  <a:lnTo>
                    <a:pt x="17" y="6"/>
                  </a:lnTo>
                  <a:lnTo>
                    <a:pt x="24" y="3"/>
                  </a:lnTo>
                  <a:lnTo>
                    <a:pt x="31" y="0"/>
                  </a:lnTo>
                  <a:lnTo>
                    <a:pt x="40" y="0"/>
                  </a:lnTo>
                  <a:lnTo>
                    <a:pt x="47" y="0"/>
                  </a:lnTo>
                  <a:lnTo>
                    <a:pt x="55" y="3"/>
                  </a:lnTo>
                  <a:lnTo>
                    <a:pt x="61" y="6"/>
                  </a:lnTo>
                  <a:lnTo>
                    <a:pt x="66" y="10"/>
                  </a:lnTo>
                  <a:lnTo>
                    <a:pt x="72" y="17"/>
                  </a:lnTo>
                  <a:lnTo>
                    <a:pt x="75" y="23"/>
                  </a:lnTo>
                  <a:lnTo>
                    <a:pt x="77" y="30"/>
                  </a:lnTo>
                  <a:lnTo>
                    <a:pt x="78" y="38"/>
                  </a:lnTo>
                  <a:lnTo>
                    <a:pt x="78" y="270"/>
                  </a:lnTo>
                  <a:lnTo>
                    <a:pt x="77" y="278"/>
                  </a:lnTo>
                  <a:lnTo>
                    <a:pt x="75" y="284"/>
                  </a:lnTo>
                  <a:lnTo>
                    <a:pt x="72" y="292"/>
                  </a:lnTo>
                  <a:lnTo>
                    <a:pt x="66" y="297"/>
                  </a:lnTo>
                  <a:lnTo>
                    <a:pt x="61" y="301"/>
                  </a:lnTo>
                  <a:lnTo>
                    <a:pt x="55" y="306"/>
                  </a:lnTo>
                  <a:lnTo>
                    <a:pt x="47" y="308"/>
                  </a:lnTo>
                  <a:lnTo>
                    <a:pt x="40"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18">
              <a:extLst>
                <a:ext uri="{FF2B5EF4-FFF2-40B4-BE49-F238E27FC236}">
                  <a16:creationId xmlns:a16="http://schemas.microsoft.com/office/drawing/2014/main" id="{F05A4B98-342F-40DE-A754-96DA51D57A79}"/>
                </a:ext>
              </a:extLst>
            </p:cNvPr>
            <p:cNvSpPr>
              <a:spLocks/>
            </p:cNvSpPr>
            <p:nvPr/>
          </p:nvSpPr>
          <p:spPr bwMode="auto">
            <a:xfrm>
              <a:off x="1814010" y="2580925"/>
              <a:ext cx="21522" cy="106781"/>
            </a:xfrm>
            <a:custGeom>
              <a:avLst/>
              <a:gdLst>
                <a:gd name="T0" fmla="*/ 40 w 78"/>
                <a:gd name="T1" fmla="*/ 387 h 387"/>
                <a:gd name="T2" fmla="*/ 31 w 78"/>
                <a:gd name="T3" fmla="*/ 386 h 387"/>
                <a:gd name="T4" fmla="*/ 24 w 78"/>
                <a:gd name="T5" fmla="*/ 384 h 387"/>
                <a:gd name="T6" fmla="*/ 17 w 78"/>
                <a:gd name="T7" fmla="*/ 380 h 387"/>
                <a:gd name="T8" fmla="*/ 12 w 78"/>
                <a:gd name="T9" fmla="*/ 375 h 387"/>
                <a:gd name="T10" fmla="*/ 7 w 78"/>
                <a:gd name="T11" fmla="*/ 370 h 387"/>
                <a:gd name="T12" fmla="*/ 4 w 78"/>
                <a:gd name="T13" fmla="*/ 363 h 387"/>
                <a:gd name="T14" fmla="*/ 1 w 78"/>
                <a:gd name="T15" fmla="*/ 356 h 387"/>
                <a:gd name="T16" fmla="*/ 0 w 78"/>
                <a:gd name="T17" fmla="*/ 348 h 387"/>
                <a:gd name="T18" fmla="*/ 0 w 78"/>
                <a:gd name="T19" fmla="*/ 38 h 387"/>
                <a:gd name="T20" fmla="*/ 1 w 78"/>
                <a:gd name="T21" fmla="*/ 31 h 387"/>
                <a:gd name="T22" fmla="*/ 4 w 78"/>
                <a:gd name="T23" fmla="*/ 23 h 387"/>
                <a:gd name="T24" fmla="*/ 7 w 78"/>
                <a:gd name="T25" fmla="*/ 17 h 387"/>
                <a:gd name="T26" fmla="*/ 12 w 78"/>
                <a:gd name="T27" fmla="*/ 12 h 387"/>
                <a:gd name="T28" fmla="*/ 17 w 78"/>
                <a:gd name="T29" fmla="*/ 6 h 387"/>
                <a:gd name="T30" fmla="*/ 24 w 78"/>
                <a:gd name="T31" fmla="*/ 3 h 387"/>
                <a:gd name="T32" fmla="*/ 31 w 78"/>
                <a:gd name="T33" fmla="*/ 1 h 387"/>
                <a:gd name="T34" fmla="*/ 40 w 78"/>
                <a:gd name="T35" fmla="*/ 0 h 387"/>
                <a:gd name="T36" fmla="*/ 47 w 78"/>
                <a:gd name="T37" fmla="*/ 1 h 387"/>
                <a:gd name="T38" fmla="*/ 55 w 78"/>
                <a:gd name="T39" fmla="*/ 3 h 387"/>
                <a:gd name="T40" fmla="*/ 61 w 78"/>
                <a:gd name="T41" fmla="*/ 6 h 387"/>
                <a:gd name="T42" fmla="*/ 66 w 78"/>
                <a:gd name="T43" fmla="*/ 12 h 387"/>
                <a:gd name="T44" fmla="*/ 72 w 78"/>
                <a:gd name="T45" fmla="*/ 17 h 387"/>
                <a:gd name="T46" fmla="*/ 75 w 78"/>
                <a:gd name="T47" fmla="*/ 23 h 387"/>
                <a:gd name="T48" fmla="*/ 77 w 78"/>
                <a:gd name="T49" fmla="*/ 31 h 387"/>
                <a:gd name="T50" fmla="*/ 78 w 78"/>
                <a:gd name="T51" fmla="*/ 38 h 387"/>
                <a:gd name="T52" fmla="*/ 78 w 78"/>
                <a:gd name="T53" fmla="*/ 348 h 387"/>
                <a:gd name="T54" fmla="*/ 77 w 78"/>
                <a:gd name="T55" fmla="*/ 356 h 387"/>
                <a:gd name="T56" fmla="*/ 75 w 78"/>
                <a:gd name="T57" fmla="*/ 363 h 387"/>
                <a:gd name="T58" fmla="*/ 72 w 78"/>
                <a:gd name="T59" fmla="*/ 370 h 387"/>
                <a:gd name="T60" fmla="*/ 66 w 78"/>
                <a:gd name="T61" fmla="*/ 375 h 387"/>
                <a:gd name="T62" fmla="*/ 61 w 78"/>
                <a:gd name="T63" fmla="*/ 380 h 387"/>
                <a:gd name="T64" fmla="*/ 55 w 78"/>
                <a:gd name="T65" fmla="*/ 384 h 387"/>
                <a:gd name="T66" fmla="*/ 47 w 78"/>
                <a:gd name="T67" fmla="*/ 386 h 387"/>
                <a:gd name="T68" fmla="*/ 40 w 78"/>
                <a:gd name="T6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387">
                  <a:moveTo>
                    <a:pt x="40" y="387"/>
                  </a:moveTo>
                  <a:lnTo>
                    <a:pt x="31" y="386"/>
                  </a:lnTo>
                  <a:lnTo>
                    <a:pt x="24" y="384"/>
                  </a:lnTo>
                  <a:lnTo>
                    <a:pt x="17" y="380"/>
                  </a:lnTo>
                  <a:lnTo>
                    <a:pt x="12" y="375"/>
                  </a:lnTo>
                  <a:lnTo>
                    <a:pt x="7" y="370"/>
                  </a:lnTo>
                  <a:lnTo>
                    <a:pt x="4" y="363"/>
                  </a:lnTo>
                  <a:lnTo>
                    <a:pt x="1" y="356"/>
                  </a:lnTo>
                  <a:lnTo>
                    <a:pt x="0" y="348"/>
                  </a:lnTo>
                  <a:lnTo>
                    <a:pt x="0" y="38"/>
                  </a:lnTo>
                  <a:lnTo>
                    <a:pt x="1" y="31"/>
                  </a:lnTo>
                  <a:lnTo>
                    <a:pt x="4" y="23"/>
                  </a:lnTo>
                  <a:lnTo>
                    <a:pt x="7" y="17"/>
                  </a:lnTo>
                  <a:lnTo>
                    <a:pt x="12" y="12"/>
                  </a:lnTo>
                  <a:lnTo>
                    <a:pt x="17" y="6"/>
                  </a:lnTo>
                  <a:lnTo>
                    <a:pt x="24" y="3"/>
                  </a:lnTo>
                  <a:lnTo>
                    <a:pt x="31" y="1"/>
                  </a:lnTo>
                  <a:lnTo>
                    <a:pt x="40" y="0"/>
                  </a:lnTo>
                  <a:lnTo>
                    <a:pt x="47" y="1"/>
                  </a:lnTo>
                  <a:lnTo>
                    <a:pt x="55" y="3"/>
                  </a:lnTo>
                  <a:lnTo>
                    <a:pt x="61" y="6"/>
                  </a:lnTo>
                  <a:lnTo>
                    <a:pt x="66" y="12"/>
                  </a:lnTo>
                  <a:lnTo>
                    <a:pt x="72" y="17"/>
                  </a:lnTo>
                  <a:lnTo>
                    <a:pt x="75" y="23"/>
                  </a:lnTo>
                  <a:lnTo>
                    <a:pt x="77" y="31"/>
                  </a:lnTo>
                  <a:lnTo>
                    <a:pt x="78" y="38"/>
                  </a:lnTo>
                  <a:lnTo>
                    <a:pt x="78" y="348"/>
                  </a:lnTo>
                  <a:lnTo>
                    <a:pt x="77" y="356"/>
                  </a:lnTo>
                  <a:lnTo>
                    <a:pt x="75" y="363"/>
                  </a:lnTo>
                  <a:lnTo>
                    <a:pt x="72" y="370"/>
                  </a:lnTo>
                  <a:lnTo>
                    <a:pt x="66" y="375"/>
                  </a:lnTo>
                  <a:lnTo>
                    <a:pt x="61" y="380"/>
                  </a:lnTo>
                  <a:lnTo>
                    <a:pt x="55" y="384"/>
                  </a:lnTo>
                  <a:lnTo>
                    <a:pt x="47" y="386"/>
                  </a:lnTo>
                  <a:lnTo>
                    <a:pt x="40"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19">
              <a:extLst>
                <a:ext uri="{FF2B5EF4-FFF2-40B4-BE49-F238E27FC236}">
                  <a16:creationId xmlns:a16="http://schemas.microsoft.com/office/drawing/2014/main" id="{EB57048A-489B-436D-BEEF-F5D3366F3002}"/>
                </a:ext>
              </a:extLst>
            </p:cNvPr>
            <p:cNvSpPr>
              <a:spLocks/>
            </p:cNvSpPr>
            <p:nvPr/>
          </p:nvSpPr>
          <p:spPr bwMode="auto">
            <a:xfrm>
              <a:off x="1814010" y="2729921"/>
              <a:ext cx="21522" cy="149824"/>
            </a:xfrm>
            <a:custGeom>
              <a:avLst/>
              <a:gdLst>
                <a:gd name="T0" fmla="*/ 40 w 78"/>
                <a:gd name="T1" fmla="*/ 541 h 541"/>
                <a:gd name="T2" fmla="*/ 31 w 78"/>
                <a:gd name="T3" fmla="*/ 541 h 541"/>
                <a:gd name="T4" fmla="*/ 24 w 78"/>
                <a:gd name="T5" fmla="*/ 538 h 541"/>
                <a:gd name="T6" fmla="*/ 17 w 78"/>
                <a:gd name="T7" fmla="*/ 535 h 541"/>
                <a:gd name="T8" fmla="*/ 12 w 78"/>
                <a:gd name="T9" fmla="*/ 530 h 541"/>
                <a:gd name="T10" fmla="*/ 7 w 78"/>
                <a:gd name="T11" fmla="*/ 524 h 541"/>
                <a:gd name="T12" fmla="*/ 4 w 78"/>
                <a:gd name="T13" fmla="*/ 518 h 541"/>
                <a:gd name="T14" fmla="*/ 1 w 78"/>
                <a:gd name="T15" fmla="*/ 510 h 541"/>
                <a:gd name="T16" fmla="*/ 0 w 78"/>
                <a:gd name="T17" fmla="*/ 503 h 541"/>
                <a:gd name="T18" fmla="*/ 0 w 78"/>
                <a:gd name="T19" fmla="*/ 39 h 541"/>
                <a:gd name="T20" fmla="*/ 1 w 78"/>
                <a:gd name="T21" fmla="*/ 31 h 541"/>
                <a:gd name="T22" fmla="*/ 4 w 78"/>
                <a:gd name="T23" fmla="*/ 23 h 541"/>
                <a:gd name="T24" fmla="*/ 7 w 78"/>
                <a:gd name="T25" fmla="*/ 17 h 541"/>
                <a:gd name="T26" fmla="*/ 12 w 78"/>
                <a:gd name="T27" fmla="*/ 12 h 541"/>
                <a:gd name="T28" fmla="*/ 17 w 78"/>
                <a:gd name="T29" fmla="*/ 6 h 541"/>
                <a:gd name="T30" fmla="*/ 24 w 78"/>
                <a:gd name="T31" fmla="*/ 3 h 541"/>
                <a:gd name="T32" fmla="*/ 31 w 78"/>
                <a:gd name="T33" fmla="*/ 1 h 541"/>
                <a:gd name="T34" fmla="*/ 40 w 78"/>
                <a:gd name="T35" fmla="*/ 0 h 541"/>
                <a:gd name="T36" fmla="*/ 47 w 78"/>
                <a:gd name="T37" fmla="*/ 1 h 541"/>
                <a:gd name="T38" fmla="*/ 55 w 78"/>
                <a:gd name="T39" fmla="*/ 3 h 541"/>
                <a:gd name="T40" fmla="*/ 61 w 78"/>
                <a:gd name="T41" fmla="*/ 6 h 541"/>
                <a:gd name="T42" fmla="*/ 66 w 78"/>
                <a:gd name="T43" fmla="*/ 12 h 541"/>
                <a:gd name="T44" fmla="*/ 72 w 78"/>
                <a:gd name="T45" fmla="*/ 17 h 541"/>
                <a:gd name="T46" fmla="*/ 75 w 78"/>
                <a:gd name="T47" fmla="*/ 23 h 541"/>
                <a:gd name="T48" fmla="*/ 77 w 78"/>
                <a:gd name="T49" fmla="*/ 31 h 541"/>
                <a:gd name="T50" fmla="*/ 78 w 78"/>
                <a:gd name="T51" fmla="*/ 39 h 541"/>
                <a:gd name="T52" fmla="*/ 78 w 78"/>
                <a:gd name="T53" fmla="*/ 503 h 541"/>
                <a:gd name="T54" fmla="*/ 77 w 78"/>
                <a:gd name="T55" fmla="*/ 510 h 541"/>
                <a:gd name="T56" fmla="*/ 75 w 78"/>
                <a:gd name="T57" fmla="*/ 518 h 541"/>
                <a:gd name="T58" fmla="*/ 72 w 78"/>
                <a:gd name="T59" fmla="*/ 524 h 541"/>
                <a:gd name="T60" fmla="*/ 66 w 78"/>
                <a:gd name="T61" fmla="*/ 530 h 541"/>
                <a:gd name="T62" fmla="*/ 61 w 78"/>
                <a:gd name="T63" fmla="*/ 535 h 541"/>
                <a:gd name="T64" fmla="*/ 55 w 78"/>
                <a:gd name="T65" fmla="*/ 538 h 541"/>
                <a:gd name="T66" fmla="*/ 47 w 78"/>
                <a:gd name="T67" fmla="*/ 541 h 541"/>
                <a:gd name="T68" fmla="*/ 40 w 78"/>
                <a:gd name="T69"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541">
                  <a:moveTo>
                    <a:pt x="40" y="541"/>
                  </a:moveTo>
                  <a:lnTo>
                    <a:pt x="31" y="541"/>
                  </a:lnTo>
                  <a:lnTo>
                    <a:pt x="24" y="538"/>
                  </a:lnTo>
                  <a:lnTo>
                    <a:pt x="17" y="535"/>
                  </a:lnTo>
                  <a:lnTo>
                    <a:pt x="12" y="530"/>
                  </a:lnTo>
                  <a:lnTo>
                    <a:pt x="7" y="524"/>
                  </a:lnTo>
                  <a:lnTo>
                    <a:pt x="4" y="518"/>
                  </a:lnTo>
                  <a:lnTo>
                    <a:pt x="1" y="510"/>
                  </a:lnTo>
                  <a:lnTo>
                    <a:pt x="0" y="503"/>
                  </a:lnTo>
                  <a:lnTo>
                    <a:pt x="0" y="39"/>
                  </a:lnTo>
                  <a:lnTo>
                    <a:pt x="1" y="31"/>
                  </a:lnTo>
                  <a:lnTo>
                    <a:pt x="4" y="23"/>
                  </a:lnTo>
                  <a:lnTo>
                    <a:pt x="7" y="17"/>
                  </a:lnTo>
                  <a:lnTo>
                    <a:pt x="12" y="12"/>
                  </a:lnTo>
                  <a:lnTo>
                    <a:pt x="17" y="6"/>
                  </a:lnTo>
                  <a:lnTo>
                    <a:pt x="24" y="3"/>
                  </a:lnTo>
                  <a:lnTo>
                    <a:pt x="31" y="1"/>
                  </a:lnTo>
                  <a:lnTo>
                    <a:pt x="40" y="0"/>
                  </a:lnTo>
                  <a:lnTo>
                    <a:pt x="47" y="1"/>
                  </a:lnTo>
                  <a:lnTo>
                    <a:pt x="55" y="3"/>
                  </a:lnTo>
                  <a:lnTo>
                    <a:pt x="61" y="6"/>
                  </a:lnTo>
                  <a:lnTo>
                    <a:pt x="66" y="12"/>
                  </a:lnTo>
                  <a:lnTo>
                    <a:pt x="72" y="17"/>
                  </a:lnTo>
                  <a:lnTo>
                    <a:pt x="75" y="23"/>
                  </a:lnTo>
                  <a:lnTo>
                    <a:pt x="77" y="31"/>
                  </a:lnTo>
                  <a:lnTo>
                    <a:pt x="78" y="39"/>
                  </a:lnTo>
                  <a:lnTo>
                    <a:pt x="78" y="503"/>
                  </a:lnTo>
                  <a:lnTo>
                    <a:pt x="77" y="510"/>
                  </a:lnTo>
                  <a:lnTo>
                    <a:pt x="75" y="518"/>
                  </a:lnTo>
                  <a:lnTo>
                    <a:pt x="72" y="524"/>
                  </a:lnTo>
                  <a:lnTo>
                    <a:pt x="66" y="530"/>
                  </a:lnTo>
                  <a:lnTo>
                    <a:pt x="61" y="535"/>
                  </a:lnTo>
                  <a:lnTo>
                    <a:pt x="55" y="538"/>
                  </a:lnTo>
                  <a:lnTo>
                    <a:pt x="47" y="541"/>
                  </a:lnTo>
                  <a:lnTo>
                    <a:pt x="40"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0" name="Freeform 23">
            <a:extLst>
              <a:ext uri="{FF2B5EF4-FFF2-40B4-BE49-F238E27FC236}">
                <a16:creationId xmlns:a16="http://schemas.microsoft.com/office/drawing/2014/main" id="{0FACA799-DFEB-41A2-A750-515C1F7E0A5D}"/>
              </a:ext>
            </a:extLst>
          </p:cNvPr>
          <p:cNvSpPr>
            <a:spLocks noChangeAspect="1" noEditPoints="1"/>
          </p:cNvSpPr>
          <p:nvPr/>
        </p:nvSpPr>
        <p:spPr bwMode="auto">
          <a:xfrm>
            <a:off x="6682115" y="2192288"/>
            <a:ext cx="196713" cy="294629"/>
          </a:xfrm>
          <a:custGeom>
            <a:avLst/>
            <a:gdLst>
              <a:gd name="T0" fmla="*/ 757 w 1514"/>
              <a:gd name="T1" fmla="*/ 0 h 2267"/>
              <a:gd name="T2" fmla="*/ 0 w 1514"/>
              <a:gd name="T3" fmla="*/ 757 h 2267"/>
              <a:gd name="T4" fmla="*/ 574 w 1514"/>
              <a:gd name="T5" fmla="*/ 1492 h 2267"/>
              <a:gd name="T6" fmla="*/ 716 w 1514"/>
              <a:gd name="T7" fmla="*/ 2236 h 2267"/>
              <a:gd name="T8" fmla="*/ 757 w 1514"/>
              <a:gd name="T9" fmla="*/ 2267 h 2267"/>
              <a:gd name="T10" fmla="*/ 797 w 1514"/>
              <a:gd name="T11" fmla="*/ 2236 h 2267"/>
              <a:gd name="T12" fmla="*/ 939 w 1514"/>
              <a:gd name="T13" fmla="*/ 1492 h 2267"/>
              <a:gd name="T14" fmla="*/ 1514 w 1514"/>
              <a:gd name="T15" fmla="*/ 757 h 2267"/>
              <a:gd name="T16" fmla="*/ 757 w 1514"/>
              <a:gd name="T17" fmla="*/ 0 h 2267"/>
              <a:gd name="T18" fmla="*/ 757 w 1514"/>
              <a:gd name="T19" fmla="*/ 1362 h 2267"/>
              <a:gd name="T20" fmla="*/ 152 w 1514"/>
              <a:gd name="T21" fmla="*/ 757 h 2267"/>
              <a:gd name="T22" fmla="*/ 757 w 1514"/>
              <a:gd name="T23" fmla="*/ 153 h 2267"/>
              <a:gd name="T24" fmla="*/ 1361 w 1514"/>
              <a:gd name="T25" fmla="*/ 757 h 2267"/>
              <a:gd name="T26" fmla="*/ 757 w 1514"/>
              <a:gd name="T27" fmla="*/ 1362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4" h="2267">
                <a:moveTo>
                  <a:pt x="757" y="0"/>
                </a:moveTo>
                <a:cubicBezTo>
                  <a:pt x="339" y="0"/>
                  <a:pt x="0" y="340"/>
                  <a:pt x="0" y="757"/>
                </a:cubicBezTo>
                <a:cubicBezTo>
                  <a:pt x="0" y="1104"/>
                  <a:pt x="240" y="1409"/>
                  <a:pt x="574" y="1492"/>
                </a:cubicBezTo>
                <a:cubicBezTo>
                  <a:pt x="716" y="2236"/>
                  <a:pt x="716" y="2236"/>
                  <a:pt x="716" y="2236"/>
                </a:cubicBezTo>
                <a:cubicBezTo>
                  <a:pt x="721" y="2255"/>
                  <a:pt x="738" y="2267"/>
                  <a:pt x="757" y="2267"/>
                </a:cubicBezTo>
                <a:cubicBezTo>
                  <a:pt x="775" y="2267"/>
                  <a:pt x="792" y="2255"/>
                  <a:pt x="797" y="2236"/>
                </a:cubicBezTo>
                <a:cubicBezTo>
                  <a:pt x="939" y="1492"/>
                  <a:pt x="939" y="1492"/>
                  <a:pt x="939" y="1492"/>
                </a:cubicBezTo>
                <a:cubicBezTo>
                  <a:pt x="1274" y="1409"/>
                  <a:pt x="1514" y="1104"/>
                  <a:pt x="1514" y="757"/>
                </a:cubicBezTo>
                <a:cubicBezTo>
                  <a:pt x="1514" y="340"/>
                  <a:pt x="1174" y="0"/>
                  <a:pt x="757" y="0"/>
                </a:cubicBezTo>
                <a:close/>
                <a:moveTo>
                  <a:pt x="757" y="1362"/>
                </a:moveTo>
                <a:cubicBezTo>
                  <a:pt x="423" y="1362"/>
                  <a:pt x="152" y="1091"/>
                  <a:pt x="152" y="757"/>
                </a:cubicBezTo>
                <a:cubicBezTo>
                  <a:pt x="152" y="424"/>
                  <a:pt x="423" y="153"/>
                  <a:pt x="757" y="153"/>
                </a:cubicBezTo>
                <a:cubicBezTo>
                  <a:pt x="1090" y="153"/>
                  <a:pt x="1361" y="424"/>
                  <a:pt x="1361" y="757"/>
                </a:cubicBezTo>
                <a:cubicBezTo>
                  <a:pt x="1361" y="1091"/>
                  <a:pt x="1090" y="1362"/>
                  <a:pt x="757" y="1362"/>
                </a:cubicBez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940" name="Group 312">
            <a:extLst>
              <a:ext uri="{FF2B5EF4-FFF2-40B4-BE49-F238E27FC236}">
                <a16:creationId xmlns:a16="http://schemas.microsoft.com/office/drawing/2014/main" id="{2994E8CC-D1DC-4988-9B9F-34D843BB90D1}"/>
              </a:ext>
            </a:extLst>
          </p:cNvPr>
          <p:cNvGrpSpPr>
            <a:grpSpLocks noChangeAspect="1"/>
          </p:cNvGrpSpPr>
          <p:nvPr/>
        </p:nvGrpSpPr>
        <p:grpSpPr>
          <a:xfrm>
            <a:off x="7060009" y="2186361"/>
            <a:ext cx="306310" cy="306484"/>
            <a:chOff x="10617200" y="1549400"/>
            <a:chExt cx="2763838" cy="2765426"/>
          </a:xfrm>
          <a:solidFill>
            <a:schemeClr val="bg1"/>
          </a:solidFill>
          <a:effectLst/>
        </p:grpSpPr>
        <p:sp>
          <p:nvSpPr>
            <p:cNvPr id="941" name="Freeform 19">
              <a:extLst>
                <a:ext uri="{FF2B5EF4-FFF2-40B4-BE49-F238E27FC236}">
                  <a16:creationId xmlns:a16="http://schemas.microsoft.com/office/drawing/2014/main" id="{A2942A41-7390-452D-B505-E45815F57770}"/>
                </a:ext>
              </a:extLst>
            </p:cNvPr>
            <p:cNvSpPr>
              <a:spLocks noEditPoints="1"/>
            </p:cNvSpPr>
            <p:nvPr/>
          </p:nvSpPr>
          <p:spPr bwMode="auto">
            <a:xfrm>
              <a:off x="11539538" y="1895475"/>
              <a:ext cx="919163" cy="919163"/>
            </a:xfrm>
            <a:custGeom>
              <a:avLst/>
              <a:gdLst>
                <a:gd name="T0" fmla="*/ 122 w 244"/>
                <a:gd name="T1" fmla="*/ 244 h 244"/>
                <a:gd name="T2" fmla="*/ 0 w 244"/>
                <a:gd name="T3" fmla="*/ 122 h 244"/>
                <a:gd name="T4" fmla="*/ 122 w 244"/>
                <a:gd name="T5" fmla="*/ 0 h 244"/>
                <a:gd name="T6" fmla="*/ 244 w 244"/>
                <a:gd name="T7" fmla="*/ 122 h 244"/>
                <a:gd name="T8" fmla="*/ 122 w 244"/>
                <a:gd name="T9" fmla="*/ 244 h 244"/>
                <a:gd name="T10" fmla="*/ 122 w 244"/>
                <a:gd name="T11" fmla="*/ 30 h 244"/>
                <a:gd name="T12" fmla="*/ 30 w 244"/>
                <a:gd name="T13" fmla="*/ 122 h 244"/>
                <a:gd name="T14" fmla="*/ 122 w 244"/>
                <a:gd name="T15" fmla="*/ 214 h 244"/>
                <a:gd name="T16" fmla="*/ 214 w 244"/>
                <a:gd name="T17" fmla="*/ 122 h 244"/>
                <a:gd name="T18" fmla="*/ 122 w 244"/>
                <a:gd name="T19" fmla="*/ 3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244">
                  <a:moveTo>
                    <a:pt x="122" y="244"/>
                  </a:moveTo>
                  <a:cubicBezTo>
                    <a:pt x="55" y="244"/>
                    <a:pt x="0" y="190"/>
                    <a:pt x="0" y="122"/>
                  </a:cubicBezTo>
                  <a:cubicBezTo>
                    <a:pt x="0" y="55"/>
                    <a:pt x="55" y="0"/>
                    <a:pt x="122" y="0"/>
                  </a:cubicBezTo>
                  <a:cubicBezTo>
                    <a:pt x="189" y="0"/>
                    <a:pt x="244" y="55"/>
                    <a:pt x="244" y="122"/>
                  </a:cubicBezTo>
                  <a:cubicBezTo>
                    <a:pt x="244" y="190"/>
                    <a:pt x="189" y="244"/>
                    <a:pt x="122" y="244"/>
                  </a:cubicBezTo>
                  <a:close/>
                  <a:moveTo>
                    <a:pt x="122" y="30"/>
                  </a:moveTo>
                  <a:cubicBezTo>
                    <a:pt x="71" y="30"/>
                    <a:pt x="30" y="71"/>
                    <a:pt x="30" y="122"/>
                  </a:cubicBezTo>
                  <a:cubicBezTo>
                    <a:pt x="30" y="173"/>
                    <a:pt x="71" y="214"/>
                    <a:pt x="122" y="214"/>
                  </a:cubicBezTo>
                  <a:cubicBezTo>
                    <a:pt x="173" y="214"/>
                    <a:pt x="214" y="173"/>
                    <a:pt x="214" y="122"/>
                  </a:cubicBezTo>
                  <a:cubicBezTo>
                    <a:pt x="214" y="71"/>
                    <a:pt x="173" y="30"/>
                    <a:pt x="12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20">
              <a:extLst>
                <a:ext uri="{FF2B5EF4-FFF2-40B4-BE49-F238E27FC236}">
                  <a16:creationId xmlns:a16="http://schemas.microsoft.com/office/drawing/2014/main" id="{118305C9-33F5-4631-8B9F-D09749BAF6B1}"/>
                </a:ext>
              </a:extLst>
            </p:cNvPr>
            <p:cNvSpPr>
              <a:spLocks noEditPoints="1"/>
            </p:cNvSpPr>
            <p:nvPr/>
          </p:nvSpPr>
          <p:spPr bwMode="auto">
            <a:xfrm>
              <a:off x="11152188" y="1549400"/>
              <a:ext cx="1693863" cy="2538413"/>
            </a:xfrm>
            <a:custGeom>
              <a:avLst/>
              <a:gdLst>
                <a:gd name="T0" fmla="*/ 225 w 450"/>
                <a:gd name="T1" fmla="*/ 674 h 674"/>
                <a:gd name="T2" fmla="*/ 212 w 450"/>
                <a:gd name="T3" fmla="*/ 667 h 674"/>
                <a:gd name="T4" fmla="*/ 0 w 450"/>
                <a:gd name="T5" fmla="*/ 225 h 674"/>
                <a:gd name="T6" fmla="*/ 225 w 450"/>
                <a:gd name="T7" fmla="*/ 0 h 674"/>
                <a:gd name="T8" fmla="*/ 450 w 450"/>
                <a:gd name="T9" fmla="*/ 225 h 674"/>
                <a:gd name="T10" fmla="*/ 238 w 450"/>
                <a:gd name="T11" fmla="*/ 667 h 674"/>
                <a:gd name="T12" fmla="*/ 225 w 450"/>
                <a:gd name="T13" fmla="*/ 674 h 674"/>
                <a:gd name="T14" fmla="*/ 225 w 450"/>
                <a:gd name="T15" fmla="*/ 31 h 674"/>
                <a:gd name="T16" fmla="*/ 31 w 450"/>
                <a:gd name="T17" fmla="*/ 225 h 674"/>
                <a:gd name="T18" fmla="*/ 225 w 450"/>
                <a:gd name="T19" fmla="*/ 630 h 674"/>
                <a:gd name="T20" fmla="*/ 419 w 450"/>
                <a:gd name="T21" fmla="*/ 225 h 674"/>
                <a:gd name="T22" fmla="*/ 225 w 450"/>
                <a:gd name="T23" fmla="*/ 31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674">
                  <a:moveTo>
                    <a:pt x="225" y="674"/>
                  </a:moveTo>
                  <a:cubicBezTo>
                    <a:pt x="220" y="674"/>
                    <a:pt x="215" y="671"/>
                    <a:pt x="212" y="667"/>
                  </a:cubicBezTo>
                  <a:cubicBezTo>
                    <a:pt x="204" y="654"/>
                    <a:pt x="0" y="344"/>
                    <a:pt x="0" y="225"/>
                  </a:cubicBezTo>
                  <a:cubicBezTo>
                    <a:pt x="0" y="101"/>
                    <a:pt x="101" y="0"/>
                    <a:pt x="225" y="0"/>
                  </a:cubicBezTo>
                  <a:cubicBezTo>
                    <a:pt x="349" y="0"/>
                    <a:pt x="450" y="101"/>
                    <a:pt x="450" y="225"/>
                  </a:cubicBezTo>
                  <a:cubicBezTo>
                    <a:pt x="450" y="344"/>
                    <a:pt x="246" y="654"/>
                    <a:pt x="238" y="667"/>
                  </a:cubicBezTo>
                  <a:cubicBezTo>
                    <a:pt x="235" y="671"/>
                    <a:pt x="230" y="674"/>
                    <a:pt x="225" y="674"/>
                  </a:cubicBezTo>
                  <a:close/>
                  <a:moveTo>
                    <a:pt x="225" y="31"/>
                  </a:moveTo>
                  <a:cubicBezTo>
                    <a:pt x="118" y="31"/>
                    <a:pt x="31" y="118"/>
                    <a:pt x="31" y="225"/>
                  </a:cubicBezTo>
                  <a:cubicBezTo>
                    <a:pt x="31" y="319"/>
                    <a:pt x="180" y="559"/>
                    <a:pt x="225" y="630"/>
                  </a:cubicBezTo>
                  <a:cubicBezTo>
                    <a:pt x="270" y="559"/>
                    <a:pt x="419" y="319"/>
                    <a:pt x="419" y="225"/>
                  </a:cubicBezTo>
                  <a:cubicBezTo>
                    <a:pt x="419" y="118"/>
                    <a:pt x="332" y="31"/>
                    <a:pt x="225"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21">
              <a:extLst>
                <a:ext uri="{FF2B5EF4-FFF2-40B4-BE49-F238E27FC236}">
                  <a16:creationId xmlns:a16="http://schemas.microsoft.com/office/drawing/2014/main" id="{E2874550-49C2-49DF-9CFC-6661967E027A}"/>
                </a:ext>
              </a:extLst>
            </p:cNvPr>
            <p:cNvSpPr>
              <a:spLocks/>
            </p:cNvSpPr>
            <p:nvPr/>
          </p:nvSpPr>
          <p:spPr bwMode="auto">
            <a:xfrm>
              <a:off x="10617200" y="3757613"/>
              <a:ext cx="2763838" cy="557213"/>
            </a:xfrm>
            <a:custGeom>
              <a:avLst/>
              <a:gdLst>
                <a:gd name="T0" fmla="*/ 367 w 734"/>
                <a:gd name="T1" fmla="*/ 148 h 148"/>
                <a:gd name="T2" fmla="*/ 0 w 734"/>
                <a:gd name="T3" fmla="*/ 72 h 148"/>
                <a:gd name="T4" fmla="*/ 211 w 734"/>
                <a:gd name="T5" fmla="*/ 1 h 148"/>
                <a:gd name="T6" fmla="*/ 228 w 734"/>
                <a:gd name="T7" fmla="*/ 15 h 148"/>
                <a:gd name="T8" fmla="*/ 214 w 734"/>
                <a:gd name="T9" fmla="*/ 32 h 148"/>
                <a:gd name="T10" fmla="*/ 30 w 734"/>
                <a:gd name="T11" fmla="*/ 73 h 148"/>
                <a:gd name="T12" fmla="*/ 367 w 734"/>
                <a:gd name="T13" fmla="*/ 117 h 148"/>
                <a:gd name="T14" fmla="*/ 704 w 734"/>
                <a:gd name="T15" fmla="*/ 70 h 148"/>
                <a:gd name="T16" fmla="*/ 519 w 734"/>
                <a:gd name="T17" fmla="*/ 32 h 148"/>
                <a:gd name="T18" fmla="*/ 505 w 734"/>
                <a:gd name="T19" fmla="*/ 15 h 148"/>
                <a:gd name="T20" fmla="*/ 521 w 734"/>
                <a:gd name="T21" fmla="*/ 1 h 148"/>
                <a:gd name="T22" fmla="*/ 734 w 734"/>
                <a:gd name="T23" fmla="*/ 72 h 148"/>
                <a:gd name="T24" fmla="*/ 367 w 734"/>
                <a:gd name="T2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4" h="148">
                  <a:moveTo>
                    <a:pt x="367" y="148"/>
                  </a:moveTo>
                  <a:cubicBezTo>
                    <a:pt x="329" y="148"/>
                    <a:pt x="0" y="146"/>
                    <a:pt x="0" y="72"/>
                  </a:cubicBezTo>
                  <a:cubicBezTo>
                    <a:pt x="0" y="37"/>
                    <a:pt x="71" y="13"/>
                    <a:pt x="211" y="1"/>
                  </a:cubicBezTo>
                  <a:cubicBezTo>
                    <a:pt x="220" y="0"/>
                    <a:pt x="227" y="7"/>
                    <a:pt x="228" y="15"/>
                  </a:cubicBezTo>
                  <a:cubicBezTo>
                    <a:pt x="229" y="24"/>
                    <a:pt x="223" y="31"/>
                    <a:pt x="214" y="32"/>
                  </a:cubicBezTo>
                  <a:cubicBezTo>
                    <a:pt x="76" y="44"/>
                    <a:pt x="34" y="66"/>
                    <a:pt x="30" y="73"/>
                  </a:cubicBezTo>
                  <a:cubicBezTo>
                    <a:pt x="39" y="87"/>
                    <a:pt x="159" y="117"/>
                    <a:pt x="367" y="117"/>
                  </a:cubicBezTo>
                  <a:cubicBezTo>
                    <a:pt x="575" y="117"/>
                    <a:pt x="695" y="87"/>
                    <a:pt x="704" y="70"/>
                  </a:cubicBezTo>
                  <a:cubicBezTo>
                    <a:pt x="700" y="66"/>
                    <a:pt x="658" y="43"/>
                    <a:pt x="519" y="32"/>
                  </a:cubicBezTo>
                  <a:cubicBezTo>
                    <a:pt x="510" y="31"/>
                    <a:pt x="504" y="24"/>
                    <a:pt x="505" y="15"/>
                  </a:cubicBezTo>
                  <a:cubicBezTo>
                    <a:pt x="505" y="7"/>
                    <a:pt x="513" y="1"/>
                    <a:pt x="521" y="1"/>
                  </a:cubicBezTo>
                  <a:cubicBezTo>
                    <a:pt x="662" y="13"/>
                    <a:pt x="734" y="37"/>
                    <a:pt x="734" y="72"/>
                  </a:cubicBezTo>
                  <a:cubicBezTo>
                    <a:pt x="734" y="146"/>
                    <a:pt x="405" y="148"/>
                    <a:pt x="367"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5" name="Freeform 5">
            <a:extLst>
              <a:ext uri="{FF2B5EF4-FFF2-40B4-BE49-F238E27FC236}">
                <a16:creationId xmlns:a16="http://schemas.microsoft.com/office/drawing/2014/main" id="{2C8730C6-C62F-4A84-B496-E18EB8C10D7D}"/>
              </a:ext>
            </a:extLst>
          </p:cNvPr>
          <p:cNvSpPr>
            <a:spLocks noChangeAspect="1" noEditPoints="1"/>
          </p:cNvSpPr>
          <p:nvPr/>
        </p:nvSpPr>
        <p:spPr bwMode="auto">
          <a:xfrm>
            <a:off x="6114292" y="2186361"/>
            <a:ext cx="430301" cy="306484"/>
          </a:xfrm>
          <a:custGeom>
            <a:avLst/>
            <a:gdLst>
              <a:gd name="T0" fmla="*/ 114 w 202"/>
              <a:gd name="T1" fmla="*/ 30 h 143"/>
              <a:gd name="T2" fmla="*/ 101 w 202"/>
              <a:gd name="T3" fmla="*/ 17 h 143"/>
              <a:gd name="T4" fmla="*/ 88 w 202"/>
              <a:gd name="T5" fmla="*/ 30 h 143"/>
              <a:gd name="T6" fmla="*/ 101 w 202"/>
              <a:gd name="T7" fmla="*/ 44 h 143"/>
              <a:gd name="T8" fmla="*/ 114 w 202"/>
              <a:gd name="T9" fmla="*/ 30 h 143"/>
              <a:gd name="T10" fmla="*/ 101 w 202"/>
              <a:gd name="T11" fmla="*/ 38 h 143"/>
              <a:gd name="T12" fmla="*/ 94 w 202"/>
              <a:gd name="T13" fmla="*/ 30 h 143"/>
              <a:gd name="T14" fmla="*/ 101 w 202"/>
              <a:gd name="T15" fmla="*/ 23 h 143"/>
              <a:gd name="T16" fmla="*/ 108 w 202"/>
              <a:gd name="T17" fmla="*/ 30 h 143"/>
              <a:gd name="T18" fmla="*/ 101 w 202"/>
              <a:gd name="T19" fmla="*/ 38 h 143"/>
              <a:gd name="T20" fmla="*/ 101 w 202"/>
              <a:gd name="T21" fmla="*/ 106 h 143"/>
              <a:gd name="T22" fmla="*/ 103 w 202"/>
              <a:gd name="T23" fmla="*/ 105 h 143"/>
              <a:gd name="T24" fmla="*/ 137 w 202"/>
              <a:gd name="T25" fmla="*/ 38 h 143"/>
              <a:gd name="T26" fmla="*/ 101 w 202"/>
              <a:gd name="T27" fmla="*/ 0 h 143"/>
              <a:gd name="T28" fmla="*/ 65 w 202"/>
              <a:gd name="T29" fmla="*/ 38 h 143"/>
              <a:gd name="T30" fmla="*/ 99 w 202"/>
              <a:gd name="T31" fmla="*/ 105 h 143"/>
              <a:gd name="T32" fmla="*/ 101 w 202"/>
              <a:gd name="T33" fmla="*/ 106 h 143"/>
              <a:gd name="T34" fmla="*/ 101 w 202"/>
              <a:gd name="T35" fmla="*/ 6 h 143"/>
              <a:gd name="T36" fmla="*/ 131 w 202"/>
              <a:gd name="T37" fmla="*/ 38 h 143"/>
              <a:gd name="T38" fmla="*/ 101 w 202"/>
              <a:gd name="T39" fmla="*/ 98 h 143"/>
              <a:gd name="T40" fmla="*/ 71 w 202"/>
              <a:gd name="T41" fmla="*/ 38 h 143"/>
              <a:gd name="T42" fmla="*/ 101 w 202"/>
              <a:gd name="T43" fmla="*/ 6 h 143"/>
              <a:gd name="T44" fmla="*/ 79 w 202"/>
              <a:gd name="T45" fmla="*/ 98 h 143"/>
              <a:gd name="T46" fmla="*/ 82 w 202"/>
              <a:gd name="T47" fmla="*/ 95 h 143"/>
              <a:gd name="T48" fmla="*/ 79 w 202"/>
              <a:gd name="T49" fmla="*/ 93 h 143"/>
              <a:gd name="T50" fmla="*/ 48 w 202"/>
              <a:gd name="T51" fmla="*/ 106 h 143"/>
              <a:gd name="T52" fmla="*/ 101 w 202"/>
              <a:gd name="T53" fmla="*/ 120 h 143"/>
              <a:gd name="T54" fmla="*/ 154 w 202"/>
              <a:gd name="T55" fmla="*/ 106 h 143"/>
              <a:gd name="T56" fmla="*/ 124 w 202"/>
              <a:gd name="T57" fmla="*/ 93 h 143"/>
              <a:gd name="T58" fmla="*/ 120 w 202"/>
              <a:gd name="T59" fmla="*/ 95 h 143"/>
              <a:gd name="T60" fmla="*/ 123 w 202"/>
              <a:gd name="T61" fmla="*/ 99 h 143"/>
              <a:gd name="T62" fmla="*/ 148 w 202"/>
              <a:gd name="T63" fmla="*/ 106 h 143"/>
              <a:gd name="T64" fmla="*/ 101 w 202"/>
              <a:gd name="T65" fmla="*/ 114 h 143"/>
              <a:gd name="T66" fmla="*/ 54 w 202"/>
              <a:gd name="T67" fmla="*/ 106 h 143"/>
              <a:gd name="T68" fmla="*/ 79 w 202"/>
              <a:gd name="T69" fmla="*/ 98 h 143"/>
              <a:gd name="T70" fmla="*/ 137 w 202"/>
              <a:gd name="T71" fmla="*/ 70 h 143"/>
              <a:gd name="T72" fmla="*/ 133 w 202"/>
              <a:gd name="T73" fmla="*/ 73 h 143"/>
              <a:gd name="T74" fmla="*/ 136 w 202"/>
              <a:gd name="T75" fmla="*/ 76 h 143"/>
              <a:gd name="T76" fmla="*/ 196 w 202"/>
              <a:gd name="T77" fmla="*/ 106 h 143"/>
              <a:gd name="T78" fmla="*/ 101 w 202"/>
              <a:gd name="T79" fmla="*/ 137 h 143"/>
              <a:gd name="T80" fmla="*/ 6 w 202"/>
              <a:gd name="T81" fmla="*/ 106 h 143"/>
              <a:gd name="T82" fmla="*/ 67 w 202"/>
              <a:gd name="T83" fmla="*/ 76 h 143"/>
              <a:gd name="T84" fmla="*/ 69 w 202"/>
              <a:gd name="T85" fmla="*/ 73 h 143"/>
              <a:gd name="T86" fmla="*/ 66 w 202"/>
              <a:gd name="T87" fmla="*/ 70 h 143"/>
              <a:gd name="T88" fmla="*/ 0 w 202"/>
              <a:gd name="T89" fmla="*/ 106 h 143"/>
              <a:gd name="T90" fmla="*/ 101 w 202"/>
              <a:gd name="T91" fmla="*/ 143 h 143"/>
              <a:gd name="T92" fmla="*/ 202 w 202"/>
              <a:gd name="T93" fmla="*/ 106 h 143"/>
              <a:gd name="T94" fmla="*/ 137 w 202"/>
              <a:gd name="T95" fmla="*/ 7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 h="143">
                <a:moveTo>
                  <a:pt x="114" y="30"/>
                </a:moveTo>
                <a:cubicBezTo>
                  <a:pt x="114" y="23"/>
                  <a:pt x="108" y="17"/>
                  <a:pt x="101" y="17"/>
                </a:cubicBezTo>
                <a:cubicBezTo>
                  <a:pt x="94" y="17"/>
                  <a:pt x="88" y="23"/>
                  <a:pt x="88" y="30"/>
                </a:cubicBezTo>
                <a:cubicBezTo>
                  <a:pt x="88" y="38"/>
                  <a:pt x="94" y="44"/>
                  <a:pt x="101" y="44"/>
                </a:cubicBezTo>
                <a:cubicBezTo>
                  <a:pt x="108" y="44"/>
                  <a:pt x="114" y="38"/>
                  <a:pt x="114" y="30"/>
                </a:cubicBezTo>
                <a:close/>
                <a:moveTo>
                  <a:pt x="101" y="38"/>
                </a:moveTo>
                <a:cubicBezTo>
                  <a:pt x="97" y="38"/>
                  <a:pt x="94" y="34"/>
                  <a:pt x="94" y="30"/>
                </a:cubicBezTo>
                <a:cubicBezTo>
                  <a:pt x="94" y="27"/>
                  <a:pt x="97" y="23"/>
                  <a:pt x="101" y="23"/>
                </a:cubicBezTo>
                <a:cubicBezTo>
                  <a:pt x="105" y="23"/>
                  <a:pt x="108" y="27"/>
                  <a:pt x="108" y="30"/>
                </a:cubicBezTo>
                <a:cubicBezTo>
                  <a:pt x="108" y="34"/>
                  <a:pt x="105" y="38"/>
                  <a:pt x="101" y="38"/>
                </a:cubicBezTo>
                <a:close/>
                <a:moveTo>
                  <a:pt x="101" y="106"/>
                </a:moveTo>
                <a:cubicBezTo>
                  <a:pt x="102" y="106"/>
                  <a:pt x="103" y="105"/>
                  <a:pt x="103" y="105"/>
                </a:cubicBezTo>
                <a:cubicBezTo>
                  <a:pt x="105" y="104"/>
                  <a:pt x="137" y="72"/>
                  <a:pt x="137" y="38"/>
                </a:cubicBezTo>
                <a:cubicBezTo>
                  <a:pt x="137" y="17"/>
                  <a:pt x="121" y="0"/>
                  <a:pt x="101" y="0"/>
                </a:cubicBezTo>
                <a:cubicBezTo>
                  <a:pt x="81" y="0"/>
                  <a:pt x="65" y="17"/>
                  <a:pt x="65" y="38"/>
                </a:cubicBezTo>
                <a:cubicBezTo>
                  <a:pt x="65" y="71"/>
                  <a:pt x="98" y="104"/>
                  <a:pt x="99" y="105"/>
                </a:cubicBezTo>
                <a:cubicBezTo>
                  <a:pt x="100" y="105"/>
                  <a:pt x="100" y="106"/>
                  <a:pt x="101" y="106"/>
                </a:cubicBezTo>
                <a:close/>
                <a:moveTo>
                  <a:pt x="101" y="6"/>
                </a:moveTo>
                <a:cubicBezTo>
                  <a:pt x="118" y="6"/>
                  <a:pt x="131" y="21"/>
                  <a:pt x="131" y="38"/>
                </a:cubicBezTo>
                <a:cubicBezTo>
                  <a:pt x="131" y="65"/>
                  <a:pt x="108" y="91"/>
                  <a:pt x="101" y="98"/>
                </a:cubicBezTo>
                <a:cubicBezTo>
                  <a:pt x="94" y="91"/>
                  <a:pt x="71" y="64"/>
                  <a:pt x="71" y="38"/>
                </a:cubicBezTo>
                <a:cubicBezTo>
                  <a:pt x="71" y="21"/>
                  <a:pt x="85" y="6"/>
                  <a:pt x="101" y="6"/>
                </a:cubicBezTo>
                <a:close/>
                <a:moveTo>
                  <a:pt x="79" y="98"/>
                </a:moveTo>
                <a:cubicBezTo>
                  <a:pt x="81" y="98"/>
                  <a:pt x="82" y="97"/>
                  <a:pt x="82" y="95"/>
                </a:cubicBezTo>
                <a:cubicBezTo>
                  <a:pt x="82" y="94"/>
                  <a:pt x="80" y="92"/>
                  <a:pt x="79" y="93"/>
                </a:cubicBezTo>
                <a:cubicBezTo>
                  <a:pt x="65" y="94"/>
                  <a:pt x="48" y="98"/>
                  <a:pt x="48" y="106"/>
                </a:cubicBezTo>
                <a:cubicBezTo>
                  <a:pt x="48" y="117"/>
                  <a:pt x="82" y="120"/>
                  <a:pt x="101" y="120"/>
                </a:cubicBezTo>
                <a:cubicBezTo>
                  <a:pt x="121" y="120"/>
                  <a:pt x="154" y="117"/>
                  <a:pt x="154" y="106"/>
                </a:cubicBezTo>
                <a:cubicBezTo>
                  <a:pt x="154" y="98"/>
                  <a:pt x="137" y="94"/>
                  <a:pt x="124" y="93"/>
                </a:cubicBezTo>
                <a:cubicBezTo>
                  <a:pt x="122" y="92"/>
                  <a:pt x="121" y="94"/>
                  <a:pt x="120" y="95"/>
                </a:cubicBezTo>
                <a:cubicBezTo>
                  <a:pt x="120" y="97"/>
                  <a:pt x="121" y="98"/>
                  <a:pt x="123" y="99"/>
                </a:cubicBezTo>
                <a:cubicBezTo>
                  <a:pt x="142" y="101"/>
                  <a:pt x="147" y="105"/>
                  <a:pt x="148" y="106"/>
                </a:cubicBezTo>
                <a:cubicBezTo>
                  <a:pt x="147" y="109"/>
                  <a:pt x="130" y="114"/>
                  <a:pt x="101" y="114"/>
                </a:cubicBezTo>
                <a:cubicBezTo>
                  <a:pt x="72" y="114"/>
                  <a:pt x="55" y="109"/>
                  <a:pt x="54" y="106"/>
                </a:cubicBezTo>
                <a:cubicBezTo>
                  <a:pt x="55" y="105"/>
                  <a:pt x="60" y="101"/>
                  <a:pt x="79" y="98"/>
                </a:cubicBezTo>
                <a:close/>
                <a:moveTo>
                  <a:pt x="137" y="70"/>
                </a:moveTo>
                <a:cubicBezTo>
                  <a:pt x="135" y="70"/>
                  <a:pt x="133" y="71"/>
                  <a:pt x="133" y="73"/>
                </a:cubicBezTo>
                <a:cubicBezTo>
                  <a:pt x="133" y="75"/>
                  <a:pt x="134" y="76"/>
                  <a:pt x="136" y="76"/>
                </a:cubicBezTo>
                <a:cubicBezTo>
                  <a:pt x="172" y="81"/>
                  <a:pt x="196" y="93"/>
                  <a:pt x="196" y="106"/>
                </a:cubicBezTo>
                <a:cubicBezTo>
                  <a:pt x="196" y="121"/>
                  <a:pt x="158" y="137"/>
                  <a:pt x="101" y="137"/>
                </a:cubicBezTo>
                <a:cubicBezTo>
                  <a:pt x="44" y="137"/>
                  <a:pt x="6" y="121"/>
                  <a:pt x="6" y="106"/>
                </a:cubicBezTo>
                <a:cubicBezTo>
                  <a:pt x="6" y="93"/>
                  <a:pt x="31" y="81"/>
                  <a:pt x="67" y="76"/>
                </a:cubicBezTo>
                <a:cubicBezTo>
                  <a:pt x="68" y="76"/>
                  <a:pt x="69" y="75"/>
                  <a:pt x="69" y="73"/>
                </a:cubicBezTo>
                <a:cubicBezTo>
                  <a:pt x="69" y="71"/>
                  <a:pt x="67" y="70"/>
                  <a:pt x="66" y="70"/>
                </a:cubicBezTo>
                <a:cubicBezTo>
                  <a:pt x="26" y="76"/>
                  <a:pt x="0" y="90"/>
                  <a:pt x="0" y="106"/>
                </a:cubicBezTo>
                <a:cubicBezTo>
                  <a:pt x="0" y="127"/>
                  <a:pt x="44" y="143"/>
                  <a:pt x="101" y="143"/>
                </a:cubicBezTo>
                <a:cubicBezTo>
                  <a:pt x="158" y="143"/>
                  <a:pt x="202" y="127"/>
                  <a:pt x="202" y="106"/>
                </a:cubicBezTo>
                <a:cubicBezTo>
                  <a:pt x="202" y="90"/>
                  <a:pt x="177" y="76"/>
                  <a:pt x="137"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00740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5CDF1118-43DC-4D18-B8B6-A83EE083C10B}"/>
              </a:ext>
            </a:extLst>
          </p:cNvPr>
          <p:cNvSpPr>
            <a:spLocks noGrp="1"/>
          </p:cNvSpPr>
          <p:nvPr>
            <p:ph type="title"/>
          </p:nvPr>
        </p:nvSpPr>
        <p:spPr/>
        <p:txBody>
          <a:bodyPr/>
          <a:lstStyle/>
          <a:p>
            <a:r>
              <a:rPr lang="de-DE" dirty="0"/>
              <a:t>Textseite mit </a:t>
            </a:r>
            <a:r>
              <a:rPr lang="de-DE" dirty="0" err="1"/>
              <a:t>Bullets</a:t>
            </a:r>
            <a:endParaRPr lang="de-DE" dirty="0"/>
          </a:p>
        </p:txBody>
      </p:sp>
      <p:sp>
        <p:nvSpPr>
          <p:cNvPr id="10" name="Inhaltsplatzhalter 9">
            <a:extLst>
              <a:ext uri="{FF2B5EF4-FFF2-40B4-BE49-F238E27FC236}">
                <a16:creationId xmlns:a16="http://schemas.microsoft.com/office/drawing/2014/main" id="{A474CA70-65FA-44F6-9BF5-7C29AE8775A4}"/>
              </a:ext>
            </a:extLst>
          </p:cNvPr>
          <p:cNvSpPr>
            <a:spLocks noGrp="1"/>
          </p:cNvSpPr>
          <p:nvPr>
            <p:ph idx="1"/>
          </p:nvPr>
        </p:nvSpPr>
        <p:spPr/>
        <p:txBody>
          <a:bodyPr/>
          <a:lstStyle/>
          <a:p>
            <a:pPr lvl="2"/>
            <a:r>
              <a:rPr lang="de-DE" dirty="0"/>
              <a:t>Weit hinten, hinter den Wortbergen, fern der Länder Vokalien und Konsonantien leben die Blindtexte. Abgeschieden wohnen sie in Buchstabhausen an der Küste des Semantik, eines großen Sprachozeans. Ein kleines Bächlein namens Duden fließt durch ihren Ort und versorgt sie mit den nötigen Regelialien. Es ist ein paradiesmatisches Land, in dem einem gebratene Satzteile in den Mund fliegen. Nicht einmal von der allmächtigen Interpunktion werden die Blindtexte beherrscht – ein geradezu unorthographisches Leben.</a:t>
            </a:r>
          </a:p>
          <a:p>
            <a:pPr lvl="2"/>
            <a:r>
              <a:rPr lang="de-DE" dirty="0"/>
              <a:t>Eines Tages aber beschloss eine kleine Zeile Blindtext, ihr Name war Lorem Ipsum, hinaus zu gehen in die weite Grammatik. Der große Oxmox riet ihr davon ab, da es dort wimmele von bösen Kommata, wilden Fragezeichen und hinterhältigen Semikoli, doch das Blindtextchen ließ sich nicht beirren. Es packte seine sieben Versalien, schob sich sein Initial in den Gürtel und machte sich auf den Weg.</a:t>
            </a:r>
          </a:p>
          <a:p>
            <a:pPr lvl="2"/>
            <a:r>
              <a:rPr lang="de-DE" dirty="0"/>
              <a:t>Als es die ersten Hügel des Kursivgebirges erklommen hatte, warf es einen letzten Blick zurück auf die Skyline seiner Heimatstadt Buchstabhausen, die Headline von Alphabetdorf und die Subline seiner eigenen Straße, der Zeilengasse. Wehmütig lief ihm eine rhetorische Frage über die Wange, dann setzte es seinen Weg fort. </a:t>
            </a:r>
          </a:p>
        </p:txBody>
      </p:sp>
      <p:sp>
        <p:nvSpPr>
          <p:cNvPr id="11" name="Textplatzhalter 10">
            <a:extLst>
              <a:ext uri="{FF2B5EF4-FFF2-40B4-BE49-F238E27FC236}">
                <a16:creationId xmlns:a16="http://schemas.microsoft.com/office/drawing/2014/main" id="{4F90DF35-046A-4C67-B439-6AA47683FBE0}"/>
              </a:ext>
            </a:extLst>
          </p:cNvPr>
          <p:cNvSpPr>
            <a:spLocks noGrp="1"/>
          </p:cNvSpPr>
          <p:nvPr>
            <p:ph type="body" sz="quarter" idx="13"/>
          </p:nvPr>
        </p:nvSpPr>
        <p:spPr/>
        <p:txBody>
          <a:bodyPr/>
          <a:lstStyle/>
          <a:p>
            <a:r>
              <a:rPr lang="de-DE" dirty="0"/>
              <a:t>Platzhalter für Unterüberschrift</a:t>
            </a:r>
          </a:p>
        </p:txBody>
      </p:sp>
      <p:sp>
        <p:nvSpPr>
          <p:cNvPr id="14" name="Textplatzhalter 13"/>
          <p:cNvSpPr>
            <a:spLocks noGrp="1"/>
          </p:cNvSpPr>
          <p:nvPr>
            <p:ph type="body" sz="quarter" idx="14"/>
          </p:nvPr>
        </p:nvSpPr>
        <p:spPr/>
        <p:txBody>
          <a:bodyPr/>
          <a:lstStyle/>
          <a:p>
            <a:endParaRPr lang="de-DE" dirty="0"/>
          </a:p>
        </p:txBody>
      </p:sp>
      <p:sp>
        <p:nvSpPr>
          <p:cNvPr id="4" name="Datumsplatzhalter 3">
            <a:extLst>
              <a:ext uri="{FF2B5EF4-FFF2-40B4-BE49-F238E27FC236}">
                <a16:creationId xmlns:a16="http://schemas.microsoft.com/office/drawing/2014/main" id="{DC53775D-80CC-4AB2-ACEC-AA95E03C0691}"/>
              </a:ext>
            </a:extLst>
          </p:cNvPr>
          <p:cNvSpPr>
            <a:spLocks noGrp="1"/>
          </p:cNvSpPr>
          <p:nvPr>
            <p:ph type="dt" sz="half" idx="2"/>
          </p:nvPr>
        </p:nvSpPr>
        <p:spPr/>
        <p:txBody>
          <a:bodyPr/>
          <a:lstStyle/>
          <a:p>
            <a:fld id="{6286002D-0DDE-4FB2-A8B5-0E81E9558D9C}" type="datetime1">
              <a:rPr lang="de-DE" smtClean="0"/>
              <a:t>04.05.2020</a:t>
            </a:fld>
            <a:endParaRPr lang="de-DE" dirty="0"/>
          </a:p>
        </p:txBody>
      </p:sp>
      <p:sp>
        <p:nvSpPr>
          <p:cNvPr id="6" name="Foliennummernplatzhalter 5">
            <a:extLst>
              <a:ext uri="{FF2B5EF4-FFF2-40B4-BE49-F238E27FC236}">
                <a16:creationId xmlns:a16="http://schemas.microsoft.com/office/drawing/2014/main" id="{35EECA11-7D10-41A7-9BB6-0C83DD031F31}"/>
              </a:ext>
            </a:extLst>
          </p:cNvPr>
          <p:cNvSpPr>
            <a:spLocks noGrp="1"/>
          </p:cNvSpPr>
          <p:nvPr>
            <p:ph type="sldNum" sz="quarter" idx="4"/>
          </p:nvPr>
        </p:nvSpPr>
        <p:spPr/>
        <p:txBody>
          <a:bodyPr/>
          <a:lstStyle/>
          <a:p>
            <a:fld id="{60F8E2DC-8382-49B6-A2A6-01CCC12CBD17}" type="slidenum">
              <a:rPr lang="de-DE" smtClean="0"/>
              <a:pPr/>
              <a:t>3</a:t>
            </a:fld>
            <a:endParaRPr lang="de-DE" dirty="0"/>
          </a:p>
        </p:txBody>
      </p:sp>
    </p:spTree>
    <p:extLst>
      <p:ext uri="{BB962C8B-B14F-4D97-AF65-F5344CB8AC3E}">
        <p14:creationId xmlns:p14="http://schemas.microsoft.com/office/powerpoint/2010/main" val="35633846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8B98603-FC48-4925-83E9-3E1B2A647BA5}"/>
              </a:ext>
            </a:extLst>
          </p:cNvPr>
          <p:cNvGraphicFramePr>
            <a:graphicFrameLocks noChangeAspect="1"/>
          </p:cNvGraphicFramePr>
          <p:nvPr>
            <p:custDataLst>
              <p:tags r:id="rId2"/>
            </p:custDataLst>
            <p:extLst>
              <p:ext uri="{D42A27DB-BD31-4B8C-83A1-F6EECF244321}">
                <p14:modId xmlns:p14="http://schemas.microsoft.com/office/powerpoint/2010/main" val="26284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think-cell Folie" r:id="rId7" imgW="425" imgH="426" progId="TCLayout.ActiveDocument.1">
                  <p:embed/>
                </p:oleObj>
              </mc:Choice>
              <mc:Fallback>
                <p:oleObj name="think-cell Folie" r:id="rId7" imgW="425" imgH="426" progId="TCLayout.ActiveDocument.1">
                  <p:embed/>
                  <p:pic>
                    <p:nvPicPr>
                      <p:cNvPr id="6" name="Objekt 5" hidden="1">
                        <a:extLst>
                          <a:ext uri="{FF2B5EF4-FFF2-40B4-BE49-F238E27FC236}">
                            <a16:creationId xmlns:a16="http://schemas.microsoft.com/office/drawing/2014/main" id="{38B98603-FC48-4925-83E9-3E1B2A647BA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DD3CFD9-1CAF-4C3E-BA27-F201A5D8B4B9}"/>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403" name="Rechteck 402">
            <a:extLst>
              <a:ext uri="{FF2B5EF4-FFF2-40B4-BE49-F238E27FC236}">
                <a16:creationId xmlns:a16="http://schemas.microsoft.com/office/drawing/2014/main" id="{43D9C95D-F836-465B-A9CC-FE735D5BDC19}"/>
              </a:ext>
            </a:extLst>
          </p:cNvPr>
          <p:cNvSpPr/>
          <p:nvPr/>
        </p:nvSpPr>
        <p:spPr>
          <a:xfrm>
            <a:off x="0" y="1495425"/>
            <a:ext cx="9906000" cy="4878388"/>
          </a:xfrm>
          <a:prstGeom prst="rect">
            <a:avLst/>
          </a:prstGeom>
          <a:solidFill>
            <a:schemeClr val="accent3">
              <a:alpha val="80000"/>
            </a:schemeClr>
          </a:solidFill>
        </p:spPr>
        <p:txBody>
          <a:bodyPr vert="horz" lIns="270000" tIns="108000" rIns="270000" bIns="0" rtlCol="0" anchor="t" anchorCtr="0">
            <a:noAutofit/>
          </a:bodyPr>
          <a:lstStyle/>
          <a:p>
            <a:pPr defTabSz="914400">
              <a:lnSpc>
                <a:spcPct val="90000"/>
              </a:lnSpc>
              <a:spcBef>
                <a:spcPct val="0"/>
              </a:spcBef>
            </a:pPr>
            <a:endParaRPr lang="de-DE" sz="2400">
              <a:solidFill>
                <a:schemeClr val="bg1"/>
              </a:solidFill>
              <a:latin typeface="+mj-lt"/>
              <a:ea typeface="+mj-ea"/>
              <a:cs typeface="+mj-cs"/>
            </a:endParaRPr>
          </a:p>
        </p:txBody>
      </p:sp>
      <p:sp>
        <p:nvSpPr>
          <p:cNvPr id="4" name="Titel 3"/>
          <p:cNvSpPr>
            <a:spLocks noGrp="1"/>
          </p:cNvSpPr>
          <p:nvPr>
            <p:ph type="title"/>
          </p:nvPr>
        </p:nvSpPr>
        <p:spPr/>
        <p:txBody>
          <a:bodyPr/>
          <a:lstStyle/>
          <a:p>
            <a:r>
              <a:rPr lang="de-DE" dirty="0"/>
              <a:t>Farben der Icons änderbar über „Füllbereich“</a:t>
            </a:r>
          </a:p>
        </p:txBody>
      </p:sp>
      <p:sp>
        <p:nvSpPr>
          <p:cNvPr id="175" name="Textplatzhalter 174"/>
          <p:cNvSpPr>
            <a:spLocks noGrp="1"/>
          </p:cNvSpPr>
          <p:nvPr>
            <p:ph type="body" sz="quarter" idx="13"/>
          </p:nvPr>
        </p:nvSpPr>
        <p:spPr/>
        <p:txBody>
          <a:bodyPr/>
          <a:lstStyle/>
          <a:p>
            <a:endParaRPr lang="de-DE"/>
          </a:p>
        </p:txBody>
      </p:sp>
      <p:sp>
        <p:nvSpPr>
          <p:cNvPr id="176" name="Textplatzhalter 175"/>
          <p:cNvSpPr>
            <a:spLocks noGrp="1"/>
          </p:cNvSpPr>
          <p:nvPr>
            <p:ph type="body" sz="quarter" idx="14"/>
          </p:nvPr>
        </p:nvSpPr>
        <p:spPr/>
        <p:txBody>
          <a:bodyPr/>
          <a:lstStyle/>
          <a:p>
            <a:pPr>
              <a:spcAft>
                <a:spcPts val="0"/>
              </a:spcAft>
            </a:pPr>
            <a:endParaRPr lang="de-DE"/>
          </a:p>
        </p:txBody>
      </p:sp>
      <p:sp>
        <p:nvSpPr>
          <p:cNvPr id="3" name="Foliennummernplatzhalter 2"/>
          <p:cNvSpPr>
            <a:spLocks noGrp="1"/>
          </p:cNvSpPr>
          <p:nvPr>
            <p:ph type="sldNum" sz="quarter" idx="4"/>
          </p:nvPr>
        </p:nvSpPr>
        <p:spPr/>
        <p:txBody>
          <a:bodyPr/>
          <a:lstStyle/>
          <a:p>
            <a:fld id="{70DB0CEF-E182-42EF-B1DF-BA42708E991C}" type="slidenum">
              <a:rPr lang="de-DE" noProof="0" smtClean="0"/>
              <a:pPr/>
              <a:t>39</a:t>
            </a:fld>
            <a:endParaRPr lang="de-DE" noProof="0" dirty="0"/>
          </a:p>
        </p:txBody>
      </p:sp>
      <p:sp>
        <p:nvSpPr>
          <p:cNvPr id="177" name="Datumsplatzhalter 176"/>
          <p:cNvSpPr>
            <a:spLocks noGrp="1"/>
          </p:cNvSpPr>
          <p:nvPr>
            <p:ph type="dt" sz="half" idx="2"/>
          </p:nvPr>
        </p:nvSpPr>
        <p:spPr/>
        <p:txBody>
          <a:bodyPr/>
          <a:lstStyle/>
          <a:p>
            <a:fld id="{E1C20A10-1E90-4BC7-BBB7-F48D4543AD00}" type="datetime1">
              <a:rPr lang="de-DE" smtClean="0"/>
              <a:t>04.05.2020</a:t>
            </a:fld>
            <a:endParaRPr lang="de-DE" dirty="0"/>
          </a:p>
        </p:txBody>
      </p:sp>
      <p:grpSp>
        <p:nvGrpSpPr>
          <p:cNvPr id="2" name="Gruppieren 1">
            <a:extLst>
              <a:ext uri="{FF2B5EF4-FFF2-40B4-BE49-F238E27FC236}">
                <a16:creationId xmlns:a16="http://schemas.microsoft.com/office/drawing/2014/main" id="{156AF7EB-C3BA-40A0-9388-A65ADDD14CDB}"/>
              </a:ext>
            </a:extLst>
          </p:cNvPr>
          <p:cNvGrpSpPr/>
          <p:nvPr/>
        </p:nvGrpSpPr>
        <p:grpSpPr>
          <a:xfrm>
            <a:off x="272744" y="1647823"/>
            <a:ext cx="304790" cy="306488"/>
            <a:chOff x="272744" y="1647823"/>
            <a:chExt cx="306489" cy="306488"/>
          </a:xfrm>
          <a:solidFill>
            <a:schemeClr val="bg1"/>
          </a:solidFill>
        </p:grpSpPr>
        <p:sp>
          <p:nvSpPr>
            <p:cNvPr id="264" name="Freeform 32">
              <a:extLst>
                <a:ext uri="{FF2B5EF4-FFF2-40B4-BE49-F238E27FC236}">
                  <a16:creationId xmlns:a16="http://schemas.microsoft.com/office/drawing/2014/main" id="{CBA49588-B1C8-47AD-A96B-97DC020F8173}"/>
                </a:ext>
              </a:extLst>
            </p:cNvPr>
            <p:cNvSpPr>
              <a:spLocks noEditPoints="1"/>
            </p:cNvSpPr>
            <p:nvPr/>
          </p:nvSpPr>
          <p:spPr bwMode="auto">
            <a:xfrm>
              <a:off x="293669" y="1669158"/>
              <a:ext cx="264229" cy="264228"/>
            </a:xfrm>
            <a:custGeom>
              <a:avLst/>
              <a:gdLst>
                <a:gd name="T0" fmla="*/ 787 w 1932"/>
                <a:gd name="T1" fmla="*/ 95 h 1932"/>
                <a:gd name="T2" fmla="*/ 581 w 1932"/>
                <a:gd name="T3" fmla="*/ 164 h 1932"/>
                <a:gd name="T4" fmla="*/ 401 w 1932"/>
                <a:gd name="T5" fmla="*/ 280 h 1932"/>
                <a:gd name="T6" fmla="*/ 254 w 1932"/>
                <a:gd name="T7" fmla="*/ 434 h 1932"/>
                <a:gd name="T8" fmla="*/ 147 w 1932"/>
                <a:gd name="T9" fmla="*/ 620 h 1932"/>
                <a:gd name="T10" fmla="*/ 87 w 1932"/>
                <a:gd name="T11" fmla="*/ 831 h 1932"/>
                <a:gd name="T12" fmla="*/ 82 w 1932"/>
                <a:gd name="T13" fmla="*/ 1057 h 1932"/>
                <a:gd name="T14" fmla="*/ 131 w 1932"/>
                <a:gd name="T15" fmla="*/ 1271 h 1932"/>
                <a:gd name="T16" fmla="*/ 229 w 1932"/>
                <a:gd name="T17" fmla="*/ 1463 h 1932"/>
                <a:gd name="T18" fmla="*/ 369 w 1932"/>
                <a:gd name="T19" fmla="*/ 1624 h 1932"/>
                <a:gd name="T20" fmla="*/ 543 w 1932"/>
                <a:gd name="T21" fmla="*/ 1747 h 1932"/>
                <a:gd name="T22" fmla="*/ 744 w 1932"/>
                <a:gd name="T23" fmla="*/ 1826 h 1932"/>
                <a:gd name="T24" fmla="*/ 966 w 1932"/>
                <a:gd name="T25" fmla="*/ 1855 h 1932"/>
                <a:gd name="T26" fmla="*/ 1188 w 1932"/>
                <a:gd name="T27" fmla="*/ 1826 h 1932"/>
                <a:gd name="T28" fmla="*/ 1389 w 1932"/>
                <a:gd name="T29" fmla="*/ 1747 h 1932"/>
                <a:gd name="T30" fmla="*/ 1563 w 1932"/>
                <a:gd name="T31" fmla="*/ 1624 h 1932"/>
                <a:gd name="T32" fmla="*/ 1702 w 1932"/>
                <a:gd name="T33" fmla="*/ 1463 h 1932"/>
                <a:gd name="T34" fmla="*/ 1801 w 1932"/>
                <a:gd name="T35" fmla="*/ 1271 h 1932"/>
                <a:gd name="T36" fmla="*/ 1850 w 1932"/>
                <a:gd name="T37" fmla="*/ 1057 h 1932"/>
                <a:gd name="T38" fmla="*/ 1845 w 1932"/>
                <a:gd name="T39" fmla="*/ 831 h 1932"/>
                <a:gd name="T40" fmla="*/ 1785 w 1932"/>
                <a:gd name="T41" fmla="*/ 620 h 1932"/>
                <a:gd name="T42" fmla="*/ 1678 w 1932"/>
                <a:gd name="T43" fmla="*/ 434 h 1932"/>
                <a:gd name="T44" fmla="*/ 1531 w 1932"/>
                <a:gd name="T45" fmla="*/ 280 h 1932"/>
                <a:gd name="T46" fmla="*/ 1351 w 1932"/>
                <a:gd name="T47" fmla="*/ 164 h 1932"/>
                <a:gd name="T48" fmla="*/ 1144 w 1932"/>
                <a:gd name="T49" fmla="*/ 95 h 1932"/>
                <a:gd name="T50" fmla="*/ 966 w 1932"/>
                <a:gd name="T51" fmla="*/ 1932 h 1932"/>
                <a:gd name="T52" fmla="*/ 725 w 1932"/>
                <a:gd name="T53" fmla="*/ 1902 h 1932"/>
                <a:gd name="T54" fmla="*/ 506 w 1932"/>
                <a:gd name="T55" fmla="*/ 1815 h 1932"/>
                <a:gd name="T56" fmla="*/ 317 w 1932"/>
                <a:gd name="T57" fmla="*/ 1681 h 1932"/>
                <a:gd name="T58" fmla="*/ 165 w 1932"/>
                <a:gd name="T59" fmla="*/ 1506 h 1932"/>
                <a:gd name="T60" fmla="*/ 58 w 1932"/>
                <a:gd name="T61" fmla="*/ 1297 h 1932"/>
                <a:gd name="T62" fmla="*/ 5 w 1932"/>
                <a:gd name="T63" fmla="*/ 1064 h 1932"/>
                <a:gd name="T64" fmla="*/ 10 w 1932"/>
                <a:gd name="T65" fmla="*/ 819 h 1932"/>
                <a:gd name="T66" fmla="*/ 75 w 1932"/>
                <a:gd name="T67" fmla="*/ 590 h 1932"/>
                <a:gd name="T68" fmla="*/ 192 w 1932"/>
                <a:gd name="T69" fmla="*/ 389 h 1932"/>
                <a:gd name="T70" fmla="*/ 352 w 1932"/>
                <a:gd name="T71" fmla="*/ 221 h 1932"/>
                <a:gd name="T72" fmla="*/ 547 w 1932"/>
                <a:gd name="T73" fmla="*/ 95 h 1932"/>
                <a:gd name="T74" fmla="*/ 771 w 1932"/>
                <a:gd name="T75" fmla="*/ 20 h 1932"/>
                <a:gd name="T76" fmla="*/ 1016 w 1932"/>
                <a:gd name="T77" fmla="*/ 1 h 1932"/>
                <a:gd name="T78" fmla="*/ 1253 w 1932"/>
                <a:gd name="T79" fmla="*/ 43 h 1932"/>
                <a:gd name="T80" fmla="*/ 1466 w 1932"/>
                <a:gd name="T81" fmla="*/ 140 h 1932"/>
                <a:gd name="T82" fmla="*/ 1649 w 1932"/>
                <a:gd name="T83" fmla="*/ 283 h 1932"/>
                <a:gd name="T84" fmla="*/ 1792 w 1932"/>
                <a:gd name="T85" fmla="*/ 465 h 1932"/>
                <a:gd name="T86" fmla="*/ 1888 w 1932"/>
                <a:gd name="T87" fmla="*/ 679 h 1932"/>
                <a:gd name="T88" fmla="*/ 1931 w 1932"/>
                <a:gd name="T89" fmla="*/ 916 h 1932"/>
                <a:gd name="T90" fmla="*/ 1913 w 1932"/>
                <a:gd name="T91" fmla="*/ 1160 h 1932"/>
                <a:gd name="T92" fmla="*/ 1836 w 1932"/>
                <a:gd name="T93" fmla="*/ 1384 h 1932"/>
                <a:gd name="T94" fmla="*/ 1711 w 1932"/>
                <a:gd name="T95" fmla="*/ 1580 h 1932"/>
                <a:gd name="T96" fmla="*/ 1544 w 1932"/>
                <a:gd name="T97" fmla="*/ 1739 h 1932"/>
                <a:gd name="T98" fmla="*/ 1342 w 1932"/>
                <a:gd name="T99" fmla="*/ 1856 h 1932"/>
                <a:gd name="T100" fmla="*/ 1113 w 1932"/>
                <a:gd name="T101" fmla="*/ 1921 h 1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2" h="1932">
                  <a:moveTo>
                    <a:pt x="966" y="77"/>
                  </a:moveTo>
                  <a:lnTo>
                    <a:pt x="920" y="78"/>
                  </a:lnTo>
                  <a:lnTo>
                    <a:pt x="876" y="81"/>
                  </a:lnTo>
                  <a:lnTo>
                    <a:pt x="831" y="87"/>
                  </a:lnTo>
                  <a:lnTo>
                    <a:pt x="787" y="95"/>
                  </a:lnTo>
                  <a:lnTo>
                    <a:pt x="744" y="105"/>
                  </a:lnTo>
                  <a:lnTo>
                    <a:pt x="702" y="118"/>
                  </a:lnTo>
                  <a:lnTo>
                    <a:pt x="661" y="131"/>
                  </a:lnTo>
                  <a:lnTo>
                    <a:pt x="621" y="147"/>
                  </a:lnTo>
                  <a:lnTo>
                    <a:pt x="581" y="164"/>
                  </a:lnTo>
                  <a:lnTo>
                    <a:pt x="543" y="184"/>
                  </a:lnTo>
                  <a:lnTo>
                    <a:pt x="506" y="206"/>
                  </a:lnTo>
                  <a:lnTo>
                    <a:pt x="470" y="229"/>
                  </a:lnTo>
                  <a:lnTo>
                    <a:pt x="435" y="254"/>
                  </a:lnTo>
                  <a:lnTo>
                    <a:pt x="401" y="280"/>
                  </a:lnTo>
                  <a:lnTo>
                    <a:pt x="369" y="308"/>
                  </a:lnTo>
                  <a:lnTo>
                    <a:pt x="338" y="338"/>
                  </a:lnTo>
                  <a:lnTo>
                    <a:pt x="308" y="368"/>
                  </a:lnTo>
                  <a:lnTo>
                    <a:pt x="280" y="401"/>
                  </a:lnTo>
                  <a:lnTo>
                    <a:pt x="254" y="434"/>
                  </a:lnTo>
                  <a:lnTo>
                    <a:pt x="229" y="469"/>
                  </a:lnTo>
                  <a:lnTo>
                    <a:pt x="206" y="505"/>
                  </a:lnTo>
                  <a:lnTo>
                    <a:pt x="185" y="543"/>
                  </a:lnTo>
                  <a:lnTo>
                    <a:pt x="165" y="581"/>
                  </a:lnTo>
                  <a:lnTo>
                    <a:pt x="147" y="620"/>
                  </a:lnTo>
                  <a:lnTo>
                    <a:pt x="131" y="661"/>
                  </a:lnTo>
                  <a:lnTo>
                    <a:pt x="117" y="702"/>
                  </a:lnTo>
                  <a:lnTo>
                    <a:pt x="105" y="744"/>
                  </a:lnTo>
                  <a:lnTo>
                    <a:pt x="96" y="787"/>
                  </a:lnTo>
                  <a:lnTo>
                    <a:pt x="87" y="831"/>
                  </a:lnTo>
                  <a:lnTo>
                    <a:pt x="82" y="875"/>
                  </a:lnTo>
                  <a:lnTo>
                    <a:pt x="79" y="920"/>
                  </a:lnTo>
                  <a:lnTo>
                    <a:pt x="77" y="966"/>
                  </a:lnTo>
                  <a:lnTo>
                    <a:pt x="79" y="1011"/>
                  </a:lnTo>
                  <a:lnTo>
                    <a:pt x="82" y="1057"/>
                  </a:lnTo>
                  <a:lnTo>
                    <a:pt x="87" y="1101"/>
                  </a:lnTo>
                  <a:lnTo>
                    <a:pt x="96" y="1145"/>
                  </a:lnTo>
                  <a:lnTo>
                    <a:pt x="105" y="1188"/>
                  </a:lnTo>
                  <a:lnTo>
                    <a:pt x="117" y="1230"/>
                  </a:lnTo>
                  <a:lnTo>
                    <a:pt x="131" y="1271"/>
                  </a:lnTo>
                  <a:lnTo>
                    <a:pt x="147" y="1311"/>
                  </a:lnTo>
                  <a:lnTo>
                    <a:pt x="165" y="1350"/>
                  </a:lnTo>
                  <a:lnTo>
                    <a:pt x="185" y="1390"/>
                  </a:lnTo>
                  <a:lnTo>
                    <a:pt x="206" y="1427"/>
                  </a:lnTo>
                  <a:lnTo>
                    <a:pt x="229" y="1463"/>
                  </a:lnTo>
                  <a:lnTo>
                    <a:pt x="254" y="1497"/>
                  </a:lnTo>
                  <a:lnTo>
                    <a:pt x="280" y="1531"/>
                  </a:lnTo>
                  <a:lnTo>
                    <a:pt x="308" y="1563"/>
                  </a:lnTo>
                  <a:lnTo>
                    <a:pt x="338" y="1594"/>
                  </a:lnTo>
                  <a:lnTo>
                    <a:pt x="369" y="1624"/>
                  </a:lnTo>
                  <a:lnTo>
                    <a:pt x="401" y="1651"/>
                  </a:lnTo>
                  <a:lnTo>
                    <a:pt x="435" y="1678"/>
                  </a:lnTo>
                  <a:lnTo>
                    <a:pt x="470" y="1703"/>
                  </a:lnTo>
                  <a:lnTo>
                    <a:pt x="506" y="1726"/>
                  </a:lnTo>
                  <a:lnTo>
                    <a:pt x="543" y="1747"/>
                  </a:lnTo>
                  <a:lnTo>
                    <a:pt x="581" y="1767"/>
                  </a:lnTo>
                  <a:lnTo>
                    <a:pt x="621" y="1785"/>
                  </a:lnTo>
                  <a:lnTo>
                    <a:pt x="661" y="1801"/>
                  </a:lnTo>
                  <a:lnTo>
                    <a:pt x="702" y="1815"/>
                  </a:lnTo>
                  <a:lnTo>
                    <a:pt x="744" y="1826"/>
                  </a:lnTo>
                  <a:lnTo>
                    <a:pt x="787" y="1837"/>
                  </a:lnTo>
                  <a:lnTo>
                    <a:pt x="831" y="1845"/>
                  </a:lnTo>
                  <a:lnTo>
                    <a:pt x="876" y="1850"/>
                  </a:lnTo>
                  <a:lnTo>
                    <a:pt x="920" y="1853"/>
                  </a:lnTo>
                  <a:lnTo>
                    <a:pt x="966" y="1855"/>
                  </a:lnTo>
                  <a:lnTo>
                    <a:pt x="1012" y="1853"/>
                  </a:lnTo>
                  <a:lnTo>
                    <a:pt x="1056" y="1850"/>
                  </a:lnTo>
                  <a:lnTo>
                    <a:pt x="1101" y="1845"/>
                  </a:lnTo>
                  <a:lnTo>
                    <a:pt x="1144" y="1837"/>
                  </a:lnTo>
                  <a:lnTo>
                    <a:pt x="1188" y="1826"/>
                  </a:lnTo>
                  <a:lnTo>
                    <a:pt x="1229" y="1815"/>
                  </a:lnTo>
                  <a:lnTo>
                    <a:pt x="1271" y="1801"/>
                  </a:lnTo>
                  <a:lnTo>
                    <a:pt x="1311" y="1785"/>
                  </a:lnTo>
                  <a:lnTo>
                    <a:pt x="1351" y="1767"/>
                  </a:lnTo>
                  <a:lnTo>
                    <a:pt x="1389" y="1747"/>
                  </a:lnTo>
                  <a:lnTo>
                    <a:pt x="1426" y="1726"/>
                  </a:lnTo>
                  <a:lnTo>
                    <a:pt x="1462" y="1703"/>
                  </a:lnTo>
                  <a:lnTo>
                    <a:pt x="1497" y="1678"/>
                  </a:lnTo>
                  <a:lnTo>
                    <a:pt x="1531" y="1651"/>
                  </a:lnTo>
                  <a:lnTo>
                    <a:pt x="1563" y="1624"/>
                  </a:lnTo>
                  <a:lnTo>
                    <a:pt x="1594" y="1594"/>
                  </a:lnTo>
                  <a:lnTo>
                    <a:pt x="1624" y="1563"/>
                  </a:lnTo>
                  <a:lnTo>
                    <a:pt x="1651" y="1531"/>
                  </a:lnTo>
                  <a:lnTo>
                    <a:pt x="1678" y="1497"/>
                  </a:lnTo>
                  <a:lnTo>
                    <a:pt x="1702" y="1463"/>
                  </a:lnTo>
                  <a:lnTo>
                    <a:pt x="1726" y="1427"/>
                  </a:lnTo>
                  <a:lnTo>
                    <a:pt x="1747" y="1390"/>
                  </a:lnTo>
                  <a:lnTo>
                    <a:pt x="1767" y="1350"/>
                  </a:lnTo>
                  <a:lnTo>
                    <a:pt x="1785" y="1311"/>
                  </a:lnTo>
                  <a:lnTo>
                    <a:pt x="1801" y="1271"/>
                  </a:lnTo>
                  <a:lnTo>
                    <a:pt x="1815" y="1230"/>
                  </a:lnTo>
                  <a:lnTo>
                    <a:pt x="1827" y="1188"/>
                  </a:lnTo>
                  <a:lnTo>
                    <a:pt x="1836" y="1145"/>
                  </a:lnTo>
                  <a:lnTo>
                    <a:pt x="1845" y="1101"/>
                  </a:lnTo>
                  <a:lnTo>
                    <a:pt x="1850" y="1057"/>
                  </a:lnTo>
                  <a:lnTo>
                    <a:pt x="1853" y="1011"/>
                  </a:lnTo>
                  <a:lnTo>
                    <a:pt x="1854" y="966"/>
                  </a:lnTo>
                  <a:lnTo>
                    <a:pt x="1853" y="920"/>
                  </a:lnTo>
                  <a:lnTo>
                    <a:pt x="1850" y="875"/>
                  </a:lnTo>
                  <a:lnTo>
                    <a:pt x="1845" y="831"/>
                  </a:lnTo>
                  <a:lnTo>
                    <a:pt x="1836" y="787"/>
                  </a:lnTo>
                  <a:lnTo>
                    <a:pt x="1827" y="744"/>
                  </a:lnTo>
                  <a:lnTo>
                    <a:pt x="1815" y="702"/>
                  </a:lnTo>
                  <a:lnTo>
                    <a:pt x="1801" y="661"/>
                  </a:lnTo>
                  <a:lnTo>
                    <a:pt x="1785" y="620"/>
                  </a:lnTo>
                  <a:lnTo>
                    <a:pt x="1767" y="581"/>
                  </a:lnTo>
                  <a:lnTo>
                    <a:pt x="1747" y="543"/>
                  </a:lnTo>
                  <a:lnTo>
                    <a:pt x="1726" y="505"/>
                  </a:lnTo>
                  <a:lnTo>
                    <a:pt x="1702" y="469"/>
                  </a:lnTo>
                  <a:lnTo>
                    <a:pt x="1678" y="434"/>
                  </a:lnTo>
                  <a:lnTo>
                    <a:pt x="1651" y="401"/>
                  </a:lnTo>
                  <a:lnTo>
                    <a:pt x="1624" y="368"/>
                  </a:lnTo>
                  <a:lnTo>
                    <a:pt x="1594" y="338"/>
                  </a:lnTo>
                  <a:lnTo>
                    <a:pt x="1563" y="308"/>
                  </a:lnTo>
                  <a:lnTo>
                    <a:pt x="1531" y="280"/>
                  </a:lnTo>
                  <a:lnTo>
                    <a:pt x="1497" y="254"/>
                  </a:lnTo>
                  <a:lnTo>
                    <a:pt x="1462" y="229"/>
                  </a:lnTo>
                  <a:lnTo>
                    <a:pt x="1426" y="206"/>
                  </a:lnTo>
                  <a:lnTo>
                    <a:pt x="1389" y="184"/>
                  </a:lnTo>
                  <a:lnTo>
                    <a:pt x="1351" y="164"/>
                  </a:lnTo>
                  <a:lnTo>
                    <a:pt x="1311" y="147"/>
                  </a:lnTo>
                  <a:lnTo>
                    <a:pt x="1271" y="131"/>
                  </a:lnTo>
                  <a:lnTo>
                    <a:pt x="1229" y="118"/>
                  </a:lnTo>
                  <a:lnTo>
                    <a:pt x="1188" y="105"/>
                  </a:lnTo>
                  <a:lnTo>
                    <a:pt x="1144" y="95"/>
                  </a:lnTo>
                  <a:lnTo>
                    <a:pt x="1101" y="87"/>
                  </a:lnTo>
                  <a:lnTo>
                    <a:pt x="1056" y="81"/>
                  </a:lnTo>
                  <a:lnTo>
                    <a:pt x="1012" y="78"/>
                  </a:lnTo>
                  <a:lnTo>
                    <a:pt x="966" y="77"/>
                  </a:lnTo>
                  <a:close/>
                  <a:moveTo>
                    <a:pt x="966" y="1932"/>
                  </a:moveTo>
                  <a:lnTo>
                    <a:pt x="916" y="1931"/>
                  </a:lnTo>
                  <a:lnTo>
                    <a:pt x="867" y="1927"/>
                  </a:lnTo>
                  <a:lnTo>
                    <a:pt x="819" y="1921"/>
                  </a:lnTo>
                  <a:lnTo>
                    <a:pt x="771" y="1913"/>
                  </a:lnTo>
                  <a:lnTo>
                    <a:pt x="725" y="1902"/>
                  </a:lnTo>
                  <a:lnTo>
                    <a:pt x="679" y="1888"/>
                  </a:lnTo>
                  <a:lnTo>
                    <a:pt x="634" y="1873"/>
                  </a:lnTo>
                  <a:lnTo>
                    <a:pt x="590" y="1856"/>
                  </a:lnTo>
                  <a:lnTo>
                    <a:pt x="547" y="1837"/>
                  </a:lnTo>
                  <a:lnTo>
                    <a:pt x="506" y="1815"/>
                  </a:lnTo>
                  <a:lnTo>
                    <a:pt x="465" y="1792"/>
                  </a:lnTo>
                  <a:lnTo>
                    <a:pt x="426" y="1767"/>
                  </a:lnTo>
                  <a:lnTo>
                    <a:pt x="388" y="1739"/>
                  </a:lnTo>
                  <a:lnTo>
                    <a:pt x="352" y="1711"/>
                  </a:lnTo>
                  <a:lnTo>
                    <a:pt x="317" y="1681"/>
                  </a:lnTo>
                  <a:lnTo>
                    <a:pt x="283" y="1649"/>
                  </a:lnTo>
                  <a:lnTo>
                    <a:pt x="251" y="1615"/>
                  </a:lnTo>
                  <a:lnTo>
                    <a:pt x="221" y="1580"/>
                  </a:lnTo>
                  <a:lnTo>
                    <a:pt x="192" y="1544"/>
                  </a:lnTo>
                  <a:lnTo>
                    <a:pt x="165" y="1506"/>
                  </a:lnTo>
                  <a:lnTo>
                    <a:pt x="140" y="1466"/>
                  </a:lnTo>
                  <a:lnTo>
                    <a:pt x="117" y="1426"/>
                  </a:lnTo>
                  <a:lnTo>
                    <a:pt x="96" y="1384"/>
                  </a:lnTo>
                  <a:lnTo>
                    <a:pt x="75" y="1342"/>
                  </a:lnTo>
                  <a:lnTo>
                    <a:pt x="58" y="1297"/>
                  </a:lnTo>
                  <a:lnTo>
                    <a:pt x="43" y="1253"/>
                  </a:lnTo>
                  <a:lnTo>
                    <a:pt x="31" y="1207"/>
                  </a:lnTo>
                  <a:lnTo>
                    <a:pt x="19" y="1160"/>
                  </a:lnTo>
                  <a:lnTo>
                    <a:pt x="10" y="1112"/>
                  </a:lnTo>
                  <a:lnTo>
                    <a:pt x="5" y="1064"/>
                  </a:lnTo>
                  <a:lnTo>
                    <a:pt x="1" y="1016"/>
                  </a:lnTo>
                  <a:lnTo>
                    <a:pt x="0" y="966"/>
                  </a:lnTo>
                  <a:lnTo>
                    <a:pt x="1" y="916"/>
                  </a:lnTo>
                  <a:lnTo>
                    <a:pt x="5" y="867"/>
                  </a:lnTo>
                  <a:lnTo>
                    <a:pt x="10" y="819"/>
                  </a:lnTo>
                  <a:lnTo>
                    <a:pt x="19" y="771"/>
                  </a:lnTo>
                  <a:lnTo>
                    <a:pt x="31" y="724"/>
                  </a:lnTo>
                  <a:lnTo>
                    <a:pt x="43" y="679"/>
                  </a:lnTo>
                  <a:lnTo>
                    <a:pt x="58" y="634"/>
                  </a:lnTo>
                  <a:lnTo>
                    <a:pt x="75" y="590"/>
                  </a:lnTo>
                  <a:lnTo>
                    <a:pt x="96" y="547"/>
                  </a:lnTo>
                  <a:lnTo>
                    <a:pt x="117" y="505"/>
                  </a:lnTo>
                  <a:lnTo>
                    <a:pt x="140" y="465"/>
                  </a:lnTo>
                  <a:lnTo>
                    <a:pt x="165" y="426"/>
                  </a:lnTo>
                  <a:lnTo>
                    <a:pt x="192" y="389"/>
                  </a:lnTo>
                  <a:lnTo>
                    <a:pt x="221" y="351"/>
                  </a:lnTo>
                  <a:lnTo>
                    <a:pt x="251" y="316"/>
                  </a:lnTo>
                  <a:lnTo>
                    <a:pt x="283" y="283"/>
                  </a:lnTo>
                  <a:lnTo>
                    <a:pt x="317" y="251"/>
                  </a:lnTo>
                  <a:lnTo>
                    <a:pt x="352" y="221"/>
                  </a:lnTo>
                  <a:lnTo>
                    <a:pt x="388" y="192"/>
                  </a:lnTo>
                  <a:lnTo>
                    <a:pt x="426" y="165"/>
                  </a:lnTo>
                  <a:lnTo>
                    <a:pt x="465" y="140"/>
                  </a:lnTo>
                  <a:lnTo>
                    <a:pt x="506" y="116"/>
                  </a:lnTo>
                  <a:lnTo>
                    <a:pt x="547" y="95"/>
                  </a:lnTo>
                  <a:lnTo>
                    <a:pt x="590" y="76"/>
                  </a:lnTo>
                  <a:lnTo>
                    <a:pt x="634" y="58"/>
                  </a:lnTo>
                  <a:lnTo>
                    <a:pt x="679" y="43"/>
                  </a:lnTo>
                  <a:lnTo>
                    <a:pt x="725" y="30"/>
                  </a:lnTo>
                  <a:lnTo>
                    <a:pt x="771" y="20"/>
                  </a:lnTo>
                  <a:lnTo>
                    <a:pt x="819" y="11"/>
                  </a:lnTo>
                  <a:lnTo>
                    <a:pt x="867" y="5"/>
                  </a:lnTo>
                  <a:lnTo>
                    <a:pt x="916" y="1"/>
                  </a:lnTo>
                  <a:lnTo>
                    <a:pt x="966" y="0"/>
                  </a:lnTo>
                  <a:lnTo>
                    <a:pt x="1016" y="1"/>
                  </a:lnTo>
                  <a:lnTo>
                    <a:pt x="1065" y="5"/>
                  </a:lnTo>
                  <a:lnTo>
                    <a:pt x="1113" y="11"/>
                  </a:lnTo>
                  <a:lnTo>
                    <a:pt x="1160" y="20"/>
                  </a:lnTo>
                  <a:lnTo>
                    <a:pt x="1207" y="30"/>
                  </a:lnTo>
                  <a:lnTo>
                    <a:pt x="1253" y="43"/>
                  </a:lnTo>
                  <a:lnTo>
                    <a:pt x="1297" y="58"/>
                  </a:lnTo>
                  <a:lnTo>
                    <a:pt x="1342" y="76"/>
                  </a:lnTo>
                  <a:lnTo>
                    <a:pt x="1385" y="95"/>
                  </a:lnTo>
                  <a:lnTo>
                    <a:pt x="1426" y="116"/>
                  </a:lnTo>
                  <a:lnTo>
                    <a:pt x="1466" y="140"/>
                  </a:lnTo>
                  <a:lnTo>
                    <a:pt x="1506" y="165"/>
                  </a:lnTo>
                  <a:lnTo>
                    <a:pt x="1544" y="192"/>
                  </a:lnTo>
                  <a:lnTo>
                    <a:pt x="1580" y="221"/>
                  </a:lnTo>
                  <a:lnTo>
                    <a:pt x="1615" y="251"/>
                  </a:lnTo>
                  <a:lnTo>
                    <a:pt x="1649" y="283"/>
                  </a:lnTo>
                  <a:lnTo>
                    <a:pt x="1681" y="316"/>
                  </a:lnTo>
                  <a:lnTo>
                    <a:pt x="1711" y="351"/>
                  </a:lnTo>
                  <a:lnTo>
                    <a:pt x="1740" y="389"/>
                  </a:lnTo>
                  <a:lnTo>
                    <a:pt x="1767" y="426"/>
                  </a:lnTo>
                  <a:lnTo>
                    <a:pt x="1792" y="465"/>
                  </a:lnTo>
                  <a:lnTo>
                    <a:pt x="1815" y="505"/>
                  </a:lnTo>
                  <a:lnTo>
                    <a:pt x="1836" y="547"/>
                  </a:lnTo>
                  <a:lnTo>
                    <a:pt x="1856" y="590"/>
                  </a:lnTo>
                  <a:lnTo>
                    <a:pt x="1873" y="634"/>
                  </a:lnTo>
                  <a:lnTo>
                    <a:pt x="1888" y="679"/>
                  </a:lnTo>
                  <a:lnTo>
                    <a:pt x="1901" y="724"/>
                  </a:lnTo>
                  <a:lnTo>
                    <a:pt x="1913" y="771"/>
                  </a:lnTo>
                  <a:lnTo>
                    <a:pt x="1921" y="819"/>
                  </a:lnTo>
                  <a:lnTo>
                    <a:pt x="1927" y="867"/>
                  </a:lnTo>
                  <a:lnTo>
                    <a:pt x="1931" y="916"/>
                  </a:lnTo>
                  <a:lnTo>
                    <a:pt x="1932" y="966"/>
                  </a:lnTo>
                  <a:lnTo>
                    <a:pt x="1931" y="1016"/>
                  </a:lnTo>
                  <a:lnTo>
                    <a:pt x="1927" y="1064"/>
                  </a:lnTo>
                  <a:lnTo>
                    <a:pt x="1921" y="1112"/>
                  </a:lnTo>
                  <a:lnTo>
                    <a:pt x="1913" y="1160"/>
                  </a:lnTo>
                  <a:lnTo>
                    <a:pt x="1901" y="1207"/>
                  </a:lnTo>
                  <a:lnTo>
                    <a:pt x="1888" y="1253"/>
                  </a:lnTo>
                  <a:lnTo>
                    <a:pt x="1873" y="1297"/>
                  </a:lnTo>
                  <a:lnTo>
                    <a:pt x="1856" y="1342"/>
                  </a:lnTo>
                  <a:lnTo>
                    <a:pt x="1836" y="1384"/>
                  </a:lnTo>
                  <a:lnTo>
                    <a:pt x="1815" y="1426"/>
                  </a:lnTo>
                  <a:lnTo>
                    <a:pt x="1792" y="1466"/>
                  </a:lnTo>
                  <a:lnTo>
                    <a:pt x="1767" y="1506"/>
                  </a:lnTo>
                  <a:lnTo>
                    <a:pt x="1740" y="1544"/>
                  </a:lnTo>
                  <a:lnTo>
                    <a:pt x="1711" y="1580"/>
                  </a:lnTo>
                  <a:lnTo>
                    <a:pt x="1681" y="1615"/>
                  </a:lnTo>
                  <a:lnTo>
                    <a:pt x="1649" y="1649"/>
                  </a:lnTo>
                  <a:lnTo>
                    <a:pt x="1615" y="1681"/>
                  </a:lnTo>
                  <a:lnTo>
                    <a:pt x="1580" y="1711"/>
                  </a:lnTo>
                  <a:lnTo>
                    <a:pt x="1544" y="1739"/>
                  </a:lnTo>
                  <a:lnTo>
                    <a:pt x="1506" y="1767"/>
                  </a:lnTo>
                  <a:lnTo>
                    <a:pt x="1466" y="1792"/>
                  </a:lnTo>
                  <a:lnTo>
                    <a:pt x="1426" y="1815"/>
                  </a:lnTo>
                  <a:lnTo>
                    <a:pt x="1385" y="1837"/>
                  </a:lnTo>
                  <a:lnTo>
                    <a:pt x="1342" y="1856"/>
                  </a:lnTo>
                  <a:lnTo>
                    <a:pt x="1297" y="1873"/>
                  </a:lnTo>
                  <a:lnTo>
                    <a:pt x="1253" y="1888"/>
                  </a:lnTo>
                  <a:lnTo>
                    <a:pt x="1207" y="1902"/>
                  </a:lnTo>
                  <a:lnTo>
                    <a:pt x="1160" y="1913"/>
                  </a:lnTo>
                  <a:lnTo>
                    <a:pt x="1113" y="1921"/>
                  </a:lnTo>
                  <a:lnTo>
                    <a:pt x="1065" y="1927"/>
                  </a:lnTo>
                  <a:lnTo>
                    <a:pt x="1016" y="1931"/>
                  </a:lnTo>
                  <a:lnTo>
                    <a:pt x="966" y="1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33">
              <a:extLst>
                <a:ext uri="{FF2B5EF4-FFF2-40B4-BE49-F238E27FC236}">
                  <a16:creationId xmlns:a16="http://schemas.microsoft.com/office/drawing/2014/main" id="{3F6D2030-8E13-439F-9C73-9A359EBF7C5D}"/>
                </a:ext>
              </a:extLst>
            </p:cNvPr>
            <p:cNvSpPr>
              <a:spLocks noEditPoints="1"/>
            </p:cNvSpPr>
            <p:nvPr/>
          </p:nvSpPr>
          <p:spPr bwMode="auto">
            <a:xfrm>
              <a:off x="346597" y="1721675"/>
              <a:ext cx="158373" cy="158783"/>
            </a:xfrm>
            <a:custGeom>
              <a:avLst/>
              <a:gdLst>
                <a:gd name="T0" fmla="*/ 478 w 1158"/>
                <a:gd name="T1" fmla="*/ 88 h 1160"/>
                <a:gd name="T2" fmla="*/ 361 w 1158"/>
                <a:gd name="T3" fmla="*/ 127 h 1160"/>
                <a:gd name="T4" fmla="*/ 259 w 1158"/>
                <a:gd name="T5" fmla="*/ 193 h 1160"/>
                <a:gd name="T6" fmla="*/ 176 w 1158"/>
                <a:gd name="T7" fmla="*/ 280 h 1160"/>
                <a:gd name="T8" fmla="*/ 116 w 1158"/>
                <a:gd name="T9" fmla="*/ 384 h 1160"/>
                <a:gd name="T10" fmla="*/ 83 w 1158"/>
                <a:gd name="T11" fmla="*/ 503 h 1160"/>
                <a:gd name="T12" fmla="*/ 79 w 1158"/>
                <a:gd name="T13" fmla="*/ 631 h 1160"/>
                <a:gd name="T14" fmla="*/ 107 w 1158"/>
                <a:gd name="T15" fmla="*/ 753 h 1160"/>
                <a:gd name="T16" fmla="*/ 162 w 1158"/>
                <a:gd name="T17" fmla="*/ 860 h 1160"/>
                <a:gd name="T18" fmla="*/ 241 w 1158"/>
                <a:gd name="T19" fmla="*/ 952 h 1160"/>
                <a:gd name="T20" fmla="*/ 340 w 1158"/>
                <a:gd name="T21" fmla="*/ 1022 h 1160"/>
                <a:gd name="T22" fmla="*/ 453 w 1158"/>
                <a:gd name="T23" fmla="*/ 1066 h 1160"/>
                <a:gd name="T24" fmla="*/ 579 w 1158"/>
                <a:gd name="T25" fmla="*/ 1082 h 1160"/>
                <a:gd name="T26" fmla="*/ 704 w 1158"/>
                <a:gd name="T27" fmla="*/ 1066 h 1160"/>
                <a:gd name="T28" fmla="*/ 818 w 1158"/>
                <a:gd name="T29" fmla="*/ 1022 h 1160"/>
                <a:gd name="T30" fmla="*/ 917 w 1158"/>
                <a:gd name="T31" fmla="*/ 952 h 1160"/>
                <a:gd name="T32" fmla="*/ 995 w 1158"/>
                <a:gd name="T33" fmla="*/ 860 h 1160"/>
                <a:gd name="T34" fmla="*/ 1051 w 1158"/>
                <a:gd name="T35" fmla="*/ 753 h 1160"/>
                <a:gd name="T36" fmla="*/ 1078 w 1158"/>
                <a:gd name="T37" fmla="*/ 631 h 1160"/>
                <a:gd name="T38" fmla="*/ 1075 w 1158"/>
                <a:gd name="T39" fmla="*/ 503 h 1160"/>
                <a:gd name="T40" fmla="*/ 1042 w 1158"/>
                <a:gd name="T41" fmla="*/ 384 h 1160"/>
                <a:gd name="T42" fmla="*/ 982 w 1158"/>
                <a:gd name="T43" fmla="*/ 280 h 1160"/>
                <a:gd name="T44" fmla="*/ 899 w 1158"/>
                <a:gd name="T45" fmla="*/ 193 h 1160"/>
                <a:gd name="T46" fmla="*/ 797 w 1158"/>
                <a:gd name="T47" fmla="*/ 127 h 1160"/>
                <a:gd name="T48" fmla="*/ 680 w 1158"/>
                <a:gd name="T49" fmla="*/ 88 h 1160"/>
                <a:gd name="T50" fmla="*/ 579 w 1158"/>
                <a:gd name="T51" fmla="*/ 1160 h 1160"/>
                <a:gd name="T52" fmla="*/ 434 w 1158"/>
                <a:gd name="T53" fmla="*/ 1141 h 1160"/>
                <a:gd name="T54" fmla="*/ 303 w 1158"/>
                <a:gd name="T55" fmla="*/ 1090 h 1160"/>
                <a:gd name="T56" fmla="*/ 189 w 1158"/>
                <a:gd name="T57" fmla="*/ 1009 h 1160"/>
                <a:gd name="T58" fmla="*/ 99 w 1158"/>
                <a:gd name="T59" fmla="*/ 904 h 1160"/>
                <a:gd name="T60" fmla="*/ 35 w 1158"/>
                <a:gd name="T61" fmla="*/ 779 h 1160"/>
                <a:gd name="T62" fmla="*/ 2 w 1158"/>
                <a:gd name="T63" fmla="*/ 639 h 1160"/>
                <a:gd name="T64" fmla="*/ 6 w 1158"/>
                <a:gd name="T65" fmla="*/ 491 h 1160"/>
                <a:gd name="T66" fmla="*/ 44 w 1158"/>
                <a:gd name="T67" fmla="*/ 354 h 1160"/>
                <a:gd name="T68" fmla="*/ 114 w 1158"/>
                <a:gd name="T69" fmla="*/ 233 h 1160"/>
                <a:gd name="T70" fmla="*/ 210 w 1158"/>
                <a:gd name="T71" fmla="*/ 132 h 1160"/>
                <a:gd name="T72" fmla="*/ 328 w 1158"/>
                <a:gd name="T73" fmla="*/ 58 h 1160"/>
                <a:gd name="T74" fmla="*/ 462 w 1158"/>
                <a:gd name="T75" fmla="*/ 12 h 1160"/>
                <a:gd name="T76" fmla="*/ 609 w 1158"/>
                <a:gd name="T77" fmla="*/ 0 h 1160"/>
                <a:gd name="T78" fmla="*/ 751 w 1158"/>
                <a:gd name="T79" fmla="*/ 26 h 1160"/>
                <a:gd name="T80" fmla="*/ 880 w 1158"/>
                <a:gd name="T81" fmla="*/ 84 h 1160"/>
                <a:gd name="T82" fmla="*/ 989 w 1158"/>
                <a:gd name="T83" fmla="*/ 170 h 1160"/>
                <a:gd name="T84" fmla="*/ 1074 w 1158"/>
                <a:gd name="T85" fmla="*/ 280 h 1160"/>
                <a:gd name="T86" fmla="*/ 1133 w 1158"/>
                <a:gd name="T87" fmla="*/ 407 h 1160"/>
                <a:gd name="T88" fmla="*/ 1158 w 1158"/>
                <a:gd name="T89" fmla="*/ 550 h 1160"/>
                <a:gd name="T90" fmla="*/ 1146 w 1158"/>
                <a:gd name="T91" fmla="*/ 697 h 1160"/>
                <a:gd name="T92" fmla="*/ 1102 w 1158"/>
                <a:gd name="T93" fmla="*/ 830 h 1160"/>
                <a:gd name="T94" fmla="*/ 1026 w 1158"/>
                <a:gd name="T95" fmla="*/ 948 h 1160"/>
                <a:gd name="T96" fmla="*/ 925 w 1158"/>
                <a:gd name="T97" fmla="*/ 1044 h 1160"/>
                <a:gd name="T98" fmla="*/ 804 w 1158"/>
                <a:gd name="T99" fmla="*/ 1114 h 1160"/>
                <a:gd name="T100" fmla="*/ 667 w 1158"/>
                <a:gd name="T101" fmla="*/ 1152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160">
                  <a:moveTo>
                    <a:pt x="579" y="77"/>
                  </a:moveTo>
                  <a:lnTo>
                    <a:pt x="553" y="78"/>
                  </a:lnTo>
                  <a:lnTo>
                    <a:pt x="528" y="80"/>
                  </a:lnTo>
                  <a:lnTo>
                    <a:pt x="502" y="83"/>
                  </a:lnTo>
                  <a:lnTo>
                    <a:pt x="478" y="88"/>
                  </a:lnTo>
                  <a:lnTo>
                    <a:pt x="453" y="93"/>
                  </a:lnTo>
                  <a:lnTo>
                    <a:pt x="430" y="100"/>
                  </a:lnTo>
                  <a:lnTo>
                    <a:pt x="407" y="108"/>
                  </a:lnTo>
                  <a:lnTo>
                    <a:pt x="383" y="117"/>
                  </a:lnTo>
                  <a:lnTo>
                    <a:pt x="361" y="127"/>
                  </a:lnTo>
                  <a:lnTo>
                    <a:pt x="340" y="139"/>
                  </a:lnTo>
                  <a:lnTo>
                    <a:pt x="319" y="150"/>
                  </a:lnTo>
                  <a:lnTo>
                    <a:pt x="298" y="163"/>
                  </a:lnTo>
                  <a:lnTo>
                    <a:pt x="278" y="178"/>
                  </a:lnTo>
                  <a:lnTo>
                    <a:pt x="259" y="193"/>
                  </a:lnTo>
                  <a:lnTo>
                    <a:pt x="241" y="208"/>
                  </a:lnTo>
                  <a:lnTo>
                    <a:pt x="224" y="225"/>
                  </a:lnTo>
                  <a:lnTo>
                    <a:pt x="207" y="243"/>
                  </a:lnTo>
                  <a:lnTo>
                    <a:pt x="191" y="261"/>
                  </a:lnTo>
                  <a:lnTo>
                    <a:pt x="176" y="280"/>
                  </a:lnTo>
                  <a:lnTo>
                    <a:pt x="162" y="299"/>
                  </a:lnTo>
                  <a:lnTo>
                    <a:pt x="150" y="319"/>
                  </a:lnTo>
                  <a:lnTo>
                    <a:pt x="137" y="340"/>
                  </a:lnTo>
                  <a:lnTo>
                    <a:pt x="126" y="362"/>
                  </a:lnTo>
                  <a:lnTo>
                    <a:pt x="116" y="384"/>
                  </a:lnTo>
                  <a:lnTo>
                    <a:pt x="107" y="407"/>
                  </a:lnTo>
                  <a:lnTo>
                    <a:pt x="100" y="431"/>
                  </a:lnTo>
                  <a:lnTo>
                    <a:pt x="92" y="454"/>
                  </a:lnTo>
                  <a:lnTo>
                    <a:pt x="87" y="479"/>
                  </a:lnTo>
                  <a:lnTo>
                    <a:pt x="83" y="503"/>
                  </a:lnTo>
                  <a:lnTo>
                    <a:pt x="79" y="529"/>
                  </a:lnTo>
                  <a:lnTo>
                    <a:pt x="77" y="554"/>
                  </a:lnTo>
                  <a:lnTo>
                    <a:pt x="76" y="580"/>
                  </a:lnTo>
                  <a:lnTo>
                    <a:pt x="77" y="605"/>
                  </a:lnTo>
                  <a:lnTo>
                    <a:pt x="79" y="631"/>
                  </a:lnTo>
                  <a:lnTo>
                    <a:pt x="83" y="656"/>
                  </a:lnTo>
                  <a:lnTo>
                    <a:pt x="87" y="681"/>
                  </a:lnTo>
                  <a:lnTo>
                    <a:pt x="92" y="705"/>
                  </a:lnTo>
                  <a:lnTo>
                    <a:pt x="100" y="729"/>
                  </a:lnTo>
                  <a:lnTo>
                    <a:pt x="107" y="753"/>
                  </a:lnTo>
                  <a:lnTo>
                    <a:pt x="116" y="775"/>
                  </a:lnTo>
                  <a:lnTo>
                    <a:pt x="126" y="798"/>
                  </a:lnTo>
                  <a:lnTo>
                    <a:pt x="137" y="819"/>
                  </a:lnTo>
                  <a:lnTo>
                    <a:pt x="150" y="840"/>
                  </a:lnTo>
                  <a:lnTo>
                    <a:pt x="162" y="860"/>
                  </a:lnTo>
                  <a:lnTo>
                    <a:pt x="176" y="880"/>
                  </a:lnTo>
                  <a:lnTo>
                    <a:pt x="191" y="900"/>
                  </a:lnTo>
                  <a:lnTo>
                    <a:pt x="207" y="918"/>
                  </a:lnTo>
                  <a:lnTo>
                    <a:pt x="224" y="935"/>
                  </a:lnTo>
                  <a:lnTo>
                    <a:pt x="241" y="952"/>
                  </a:lnTo>
                  <a:lnTo>
                    <a:pt x="259" y="968"/>
                  </a:lnTo>
                  <a:lnTo>
                    <a:pt x="278" y="982"/>
                  </a:lnTo>
                  <a:lnTo>
                    <a:pt x="298" y="996"/>
                  </a:lnTo>
                  <a:lnTo>
                    <a:pt x="319" y="1009"/>
                  </a:lnTo>
                  <a:lnTo>
                    <a:pt x="340" y="1022"/>
                  </a:lnTo>
                  <a:lnTo>
                    <a:pt x="361" y="1032"/>
                  </a:lnTo>
                  <a:lnTo>
                    <a:pt x="383" y="1043"/>
                  </a:lnTo>
                  <a:lnTo>
                    <a:pt x="407" y="1052"/>
                  </a:lnTo>
                  <a:lnTo>
                    <a:pt x="430" y="1060"/>
                  </a:lnTo>
                  <a:lnTo>
                    <a:pt x="453" y="1066"/>
                  </a:lnTo>
                  <a:lnTo>
                    <a:pt x="478" y="1072"/>
                  </a:lnTo>
                  <a:lnTo>
                    <a:pt x="502" y="1076"/>
                  </a:lnTo>
                  <a:lnTo>
                    <a:pt x="528" y="1079"/>
                  </a:lnTo>
                  <a:lnTo>
                    <a:pt x="553" y="1081"/>
                  </a:lnTo>
                  <a:lnTo>
                    <a:pt x="579" y="1082"/>
                  </a:lnTo>
                  <a:lnTo>
                    <a:pt x="604" y="1081"/>
                  </a:lnTo>
                  <a:lnTo>
                    <a:pt x="630" y="1079"/>
                  </a:lnTo>
                  <a:lnTo>
                    <a:pt x="655" y="1076"/>
                  </a:lnTo>
                  <a:lnTo>
                    <a:pt x="680" y="1072"/>
                  </a:lnTo>
                  <a:lnTo>
                    <a:pt x="704" y="1066"/>
                  </a:lnTo>
                  <a:lnTo>
                    <a:pt x="728" y="1060"/>
                  </a:lnTo>
                  <a:lnTo>
                    <a:pt x="751" y="1052"/>
                  </a:lnTo>
                  <a:lnTo>
                    <a:pt x="774" y="1043"/>
                  </a:lnTo>
                  <a:lnTo>
                    <a:pt x="797" y="1032"/>
                  </a:lnTo>
                  <a:lnTo>
                    <a:pt x="818" y="1022"/>
                  </a:lnTo>
                  <a:lnTo>
                    <a:pt x="839" y="1009"/>
                  </a:lnTo>
                  <a:lnTo>
                    <a:pt x="859" y="996"/>
                  </a:lnTo>
                  <a:lnTo>
                    <a:pt x="880" y="982"/>
                  </a:lnTo>
                  <a:lnTo>
                    <a:pt x="899" y="968"/>
                  </a:lnTo>
                  <a:lnTo>
                    <a:pt x="917" y="952"/>
                  </a:lnTo>
                  <a:lnTo>
                    <a:pt x="934" y="935"/>
                  </a:lnTo>
                  <a:lnTo>
                    <a:pt x="951" y="918"/>
                  </a:lnTo>
                  <a:lnTo>
                    <a:pt x="967" y="900"/>
                  </a:lnTo>
                  <a:lnTo>
                    <a:pt x="982" y="880"/>
                  </a:lnTo>
                  <a:lnTo>
                    <a:pt x="995" y="860"/>
                  </a:lnTo>
                  <a:lnTo>
                    <a:pt x="1008" y="840"/>
                  </a:lnTo>
                  <a:lnTo>
                    <a:pt x="1021" y="819"/>
                  </a:lnTo>
                  <a:lnTo>
                    <a:pt x="1032" y="798"/>
                  </a:lnTo>
                  <a:lnTo>
                    <a:pt x="1042" y="775"/>
                  </a:lnTo>
                  <a:lnTo>
                    <a:pt x="1051" y="753"/>
                  </a:lnTo>
                  <a:lnTo>
                    <a:pt x="1058" y="729"/>
                  </a:lnTo>
                  <a:lnTo>
                    <a:pt x="1066" y="705"/>
                  </a:lnTo>
                  <a:lnTo>
                    <a:pt x="1071" y="681"/>
                  </a:lnTo>
                  <a:lnTo>
                    <a:pt x="1075" y="656"/>
                  </a:lnTo>
                  <a:lnTo>
                    <a:pt x="1078" y="631"/>
                  </a:lnTo>
                  <a:lnTo>
                    <a:pt x="1081" y="605"/>
                  </a:lnTo>
                  <a:lnTo>
                    <a:pt x="1082" y="580"/>
                  </a:lnTo>
                  <a:lnTo>
                    <a:pt x="1081" y="554"/>
                  </a:lnTo>
                  <a:lnTo>
                    <a:pt x="1078" y="529"/>
                  </a:lnTo>
                  <a:lnTo>
                    <a:pt x="1075" y="503"/>
                  </a:lnTo>
                  <a:lnTo>
                    <a:pt x="1071" y="479"/>
                  </a:lnTo>
                  <a:lnTo>
                    <a:pt x="1066" y="454"/>
                  </a:lnTo>
                  <a:lnTo>
                    <a:pt x="1058" y="431"/>
                  </a:lnTo>
                  <a:lnTo>
                    <a:pt x="1051" y="407"/>
                  </a:lnTo>
                  <a:lnTo>
                    <a:pt x="1042" y="384"/>
                  </a:lnTo>
                  <a:lnTo>
                    <a:pt x="1032" y="362"/>
                  </a:lnTo>
                  <a:lnTo>
                    <a:pt x="1021" y="340"/>
                  </a:lnTo>
                  <a:lnTo>
                    <a:pt x="1008" y="319"/>
                  </a:lnTo>
                  <a:lnTo>
                    <a:pt x="995" y="299"/>
                  </a:lnTo>
                  <a:lnTo>
                    <a:pt x="982" y="280"/>
                  </a:lnTo>
                  <a:lnTo>
                    <a:pt x="967" y="261"/>
                  </a:lnTo>
                  <a:lnTo>
                    <a:pt x="951" y="243"/>
                  </a:lnTo>
                  <a:lnTo>
                    <a:pt x="934" y="225"/>
                  </a:lnTo>
                  <a:lnTo>
                    <a:pt x="917" y="208"/>
                  </a:lnTo>
                  <a:lnTo>
                    <a:pt x="899" y="193"/>
                  </a:lnTo>
                  <a:lnTo>
                    <a:pt x="880" y="178"/>
                  </a:lnTo>
                  <a:lnTo>
                    <a:pt x="859" y="163"/>
                  </a:lnTo>
                  <a:lnTo>
                    <a:pt x="839" y="150"/>
                  </a:lnTo>
                  <a:lnTo>
                    <a:pt x="818" y="139"/>
                  </a:lnTo>
                  <a:lnTo>
                    <a:pt x="797" y="127"/>
                  </a:lnTo>
                  <a:lnTo>
                    <a:pt x="774" y="117"/>
                  </a:lnTo>
                  <a:lnTo>
                    <a:pt x="751" y="108"/>
                  </a:lnTo>
                  <a:lnTo>
                    <a:pt x="728" y="100"/>
                  </a:lnTo>
                  <a:lnTo>
                    <a:pt x="704" y="93"/>
                  </a:lnTo>
                  <a:lnTo>
                    <a:pt x="680" y="88"/>
                  </a:lnTo>
                  <a:lnTo>
                    <a:pt x="655" y="83"/>
                  </a:lnTo>
                  <a:lnTo>
                    <a:pt x="630" y="80"/>
                  </a:lnTo>
                  <a:lnTo>
                    <a:pt x="604" y="78"/>
                  </a:lnTo>
                  <a:lnTo>
                    <a:pt x="579" y="77"/>
                  </a:lnTo>
                  <a:close/>
                  <a:moveTo>
                    <a:pt x="579" y="1160"/>
                  </a:moveTo>
                  <a:lnTo>
                    <a:pt x="549" y="1159"/>
                  </a:lnTo>
                  <a:lnTo>
                    <a:pt x="519" y="1157"/>
                  </a:lnTo>
                  <a:lnTo>
                    <a:pt x="491" y="1152"/>
                  </a:lnTo>
                  <a:lnTo>
                    <a:pt x="462" y="1148"/>
                  </a:lnTo>
                  <a:lnTo>
                    <a:pt x="434" y="1141"/>
                  </a:lnTo>
                  <a:lnTo>
                    <a:pt x="407" y="1133"/>
                  </a:lnTo>
                  <a:lnTo>
                    <a:pt x="380" y="1125"/>
                  </a:lnTo>
                  <a:lnTo>
                    <a:pt x="354" y="1114"/>
                  </a:lnTo>
                  <a:lnTo>
                    <a:pt x="328" y="1103"/>
                  </a:lnTo>
                  <a:lnTo>
                    <a:pt x="303" y="1090"/>
                  </a:lnTo>
                  <a:lnTo>
                    <a:pt x="278" y="1076"/>
                  </a:lnTo>
                  <a:lnTo>
                    <a:pt x="255" y="1060"/>
                  </a:lnTo>
                  <a:lnTo>
                    <a:pt x="232" y="1044"/>
                  </a:lnTo>
                  <a:lnTo>
                    <a:pt x="210" y="1027"/>
                  </a:lnTo>
                  <a:lnTo>
                    <a:pt x="189" y="1009"/>
                  </a:lnTo>
                  <a:lnTo>
                    <a:pt x="169" y="990"/>
                  </a:lnTo>
                  <a:lnTo>
                    <a:pt x="150" y="970"/>
                  </a:lnTo>
                  <a:lnTo>
                    <a:pt x="131" y="948"/>
                  </a:lnTo>
                  <a:lnTo>
                    <a:pt x="114" y="926"/>
                  </a:lnTo>
                  <a:lnTo>
                    <a:pt x="99" y="904"/>
                  </a:lnTo>
                  <a:lnTo>
                    <a:pt x="84" y="880"/>
                  </a:lnTo>
                  <a:lnTo>
                    <a:pt x="69" y="856"/>
                  </a:lnTo>
                  <a:lnTo>
                    <a:pt x="56" y="830"/>
                  </a:lnTo>
                  <a:lnTo>
                    <a:pt x="44" y="805"/>
                  </a:lnTo>
                  <a:lnTo>
                    <a:pt x="35" y="779"/>
                  </a:lnTo>
                  <a:lnTo>
                    <a:pt x="25" y="752"/>
                  </a:lnTo>
                  <a:lnTo>
                    <a:pt x="18" y="724"/>
                  </a:lnTo>
                  <a:lnTo>
                    <a:pt x="11" y="697"/>
                  </a:lnTo>
                  <a:lnTo>
                    <a:pt x="6" y="668"/>
                  </a:lnTo>
                  <a:lnTo>
                    <a:pt x="2" y="639"/>
                  </a:lnTo>
                  <a:lnTo>
                    <a:pt x="0" y="609"/>
                  </a:lnTo>
                  <a:lnTo>
                    <a:pt x="0" y="580"/>
                  </a:lnTo>
                  <a:lnTo>
                    <a:pt x="0" y="550"/>
                  </a:lnTo>
                  <a:lnTo>
                    <a:pt x="2" y="521"/>
                  </a:lnTo>
                  <a:lnTo>
                    <a:pt x="6" y="491"/>
                  </a:lnTo>
                  <a:lnTo>
                    <a:pt x="11" y="463"/>
                  </a:lnTo>
                  <a:lnTo>
                    <a:pt x="18" y="435"/>
                  </a:lnTo>
                  <a:lnTo>
                    <a:pt x="25" y="407"/>
                  </a:lnTo>
                  <a:lnTo>
                    <a:pt x="35" y="381"/>
                  </a:lnTo>
                  <a:lnTo>
                    <a:pt x="44" y="354"/>
                  </a:lnTo>
                  <a:lnTo>
                    <a:pt x="56" y="329"/>
                  </a:lnTo>
                  <a:lnTo>
                    <a:pt x="69" y="303"/>
                  </a:lnTo>
                  <a:lnTo>
                    <a:pt x="84" y="280"/>
                  </a:lnTo>
                  <a:lnTo>
                    <a:pt x="99" y="255"/>
                  </a:lnTo>
                  <a:lnTo>
                    <a:pt x="114" y="233"/>
                  </a:lnTo>
                  <a:lnTo>
                    <a:pt x="131" y="211"/>
                  </a:lnTo>
                  <a:lnTo>
                    <a:pt x="150" y="191"/>
                  </a:lnTo>
                  <a:lnTo>
                    <a:pt x="169" y="170"/>
                  </a:lnTo>
                  <a:lnTo>
                    <a:pt x="189" y="151"/>
                  </a:lnTo>
                  <a:lnTo>
                    <a:pt x="210" y="132"/>
                  </a:lnTo>
                  <a:lnTo>
                    <a:pt x="232" y="115"/>
                  </a:lnTo>
                  <a:lnTo>
                    <a:pt x="255" y="99"/>
                  </a:lnTo>
                  <a:lnTo>
                    <a:pt x="278" y="84"/>
                  </a:lnTo>
                  <a:lnTo>
                    <a:pt x="303" y="71"/>
                  </a:lnTo>
                  <a:lnTo>
                    <a:pt x="328" y="58"/>
                  </a:lnTo>
                  <a:lnTo>
                    <a:pt x="354" y="46"/>
                  </a:lnTo>
                  <a:lnTo>
                    <a:pt x="380" y="35"/>
                  </a:lnTo>
                  <a:lnTo>
                    <a:pt x="407" y="26"/>
                  </a:lnTo>
                  <a:lnTo>
                    <a:pt x="434" y="18"/>
                  </a:lnTo>
                  <a:lnTo>
                    <a:pt x="462" y="12"/>
                  </a:lnTo>
                  <a:lnTo>
                    <a:pt x="491" y="7"/>
                  </a:lnTo>
                  <a:lnTo>
                    <a:pt x="519" y="4"/>
                  </a:lnTo>
                  <a:lnTo>
                    <a:pt x="549" y="0"/>
                  </a:lnTo>
                  <a:lnTo>
                    <a:pt x="579" y="0"/>
                  </a:lnTo>
                  <a:lnTo>
                    <a:pt x="609" y="0"/>
                  </a:lnTo>
                  <a:lnTo>
                    <a:pt x="638" y="4"/>
                  </a:lnTo>
                  <a:lnTo>
                    <a:pt x="667" y="7"/>
                  </a:lnTo>
                  <a:lnTo>
                    <a:pt x="696" y="12"/>
                  </a:lnTo>
                  <a:lnTo>
                    <a:pt x="723" y="18"/>
                  </a:lnTo>
                  <a:lnTo>
                    <a:pt x="751" y="26"/>
                  </a:lnTo>
                  <a:lnTo>
                    <a:pt x="778" y="35"/>
                  </a:lnTo>
                  <a:lnTo>
                    <a:pt x="804" y="46"/>
                  </a:lnTo>
                  <a:lnTo>
                    <a:pt x="830" y="58"/>
                  </a:lnTo>
                  <a:lnTo>
                    <a:pt x="855" y="71"/>
                  </a:lnTo>
                  <a:lnTo>
                    <a:pt x="880" y="84"/>
                  </a:lnTo>
                  <a:lnTo>
                    <a:pt x="903" y="99"/>
                  </a:lnTo>
                  <a:lnTo>
                    <a:pt x="925" y="115"/>
                  </a:lnTo>
                  <a:lnTo>
                    <a:pt x="948" y="132"/>
                  </a:lnTo>
                  <a:lnTo>
                    <a:pt x="969" y="151"/>
                  </a:lnTo>
                  <a:lnTo>
                    <a:pt x="989" y="170"/>
                  </a:lnTo>
                  <a:lnTo>
                    <a:pt x="1008" y="191"/>
                  </a:lnTo>
                  <a:lnTo>
                    <a:pt x="1026" y="211"/>
                  </a:lnTo>
                  <a:lnTo>
                    <a:pt x="1043" y="233"/>
                  </a:lnTo>
                  <a:lnTo>
                    <a:pt x="1059" y="255"/>
                  </a:lnTo>
                  <a:lnTo>
                    <a:pt x="1074" y="280"/>
                  </a:lnTo>
                  <a:lnTo>
                    <a:pt x="1089" y="303"/>
                  </a:lnTo>
                  <a:lnTo>
                    <a:pt x="1102" y="329"/>
                  </a:lnTo>
                  <a:lnTo>
                    <a:pt x="1113" y="354"/>
                  </a:lnTo>
                  <a:lnTo>
                    <a:pt x="1123" y="381"/>
                  </a:lnTo>
                  <a:lnTo>
                    <a:pt x="1133" y="407"/>
                  </a:lnTo>
                  <a:lnTo>
                    <a:pt x="1140" y="435"/>
                  </a:lnTo>
                  <a:lnTo>
                    <a:pt x="1146" y="463"/>
                  </a:lnTo>
                  <a:lnTo>
                    <a:pt x="1152" y="491"/>
                  </a:lnTo>
                  <a:lnTo>
                    <a:pt x="1156" y="521"/>
                  </a:lnTo>
                  <a:lnTo>
                    <a:pt x="1158" y="550"/>
                  </a:lnTo>
                  <a:lnTo>
                    <a:pt x="1158" y="580"/>
                  </a:lnTo>
                  <a:lnTo>
                    <a:pt x="1158" y="609"/>
                  </a:lnTo>
                  <a:lnTo>
                    <a:pt x="1156" y="639"/>
                  </a:lnTo>
                  <a:lnTo>
                    <a:pt x="1152" y="668"/>
                  </a:lnTo>
                  <a:lnTo>
                    <a:pt x="1146" y="697"/>
                  </a:lnTo>
                  <a:lnTo>
                    <a:pt x="1140" y="724"/>
                  </a:lnTo>
                  <a:lnTo>
                    <a:pt x="1133" y="752"/>
                  </a:lnTo>
                  <a:lnTo>
                    <a:pt x="1123" y="779"/>
                  </a:lnTo>
                  <a:lnTo>
                    <a:pt x="1113" y="805"/>
                  </a:lnTo>
                  <a:lnTo>
                    <a:pt x="1102" y="830"/>
                  </a:lnTo>
                  <a:lnTo>
                    <a:pt x="1089" y="856"/>
                  </a:lnTo>
                  <a:lnTo>
                    <a:pt x="1074" y="880"/>
                  </a:lnTo>
                  <a:lnTo>
                    <a:pt x="1059" y="904"/>
                  </a:lnTo>
                  <a:lnTo>
                    <a:pt x="1043" y="926"/>
                  </a:lnTo>
                  <a:lnTo>
                    <a:pt x="1026" y="948"/>
                  </a:lnTo>
                  <a:lnTo>
                    <a:pt x="1008" y="970"/>
                  </a:lnTo>
                  <a:lnTo>
                    <a:pt x="989" y="990"/>
                  </a:lnTo>
                  <a:lnTo>
                    <a:pt x="969" y="1009"/>
                  </a:lnTo>
                  <a:lnTo>
                    <a:pt x="948" y="1027"/>
                  </a:lnTo>
                  <a:lnTo>
                    <a:pt x="925" y="1044"/>
                  </a:lnTo>
                  <a:lnTo>
                    <a:pt x="903" y="1060"/>
                  </a:lnTo>
                  <a:lnTo>
                    <a:pt x="880" y="1076"/>
                  </a:lnTo>
                  <a:lnTo>
                    <a:pt x="855" y="1090"/>
                  </a:lnTo>
                  <a:lnTo>
                    <a:pt x="830" y="1103"/>
                  </a:lnTo>
                  <a:lnTo>
                    <a:pt x="804" y="1114"/>
                  </a:lnTo>
                  <a:lnTo>
                    <a:pt x="778" y="1125"/>
                  </a:lnTo>
                  <a:lnTo>
                    <a:pt x="751" y="1133"/>
                  </a:lnTo>
                  <a:lnTo>
                    <a:pt x="723" y="1141"/>
                  </a:lnTo>
                  <a:lnTo>
                    <a:pt x="696" y="1148"/>
                  </a:lnTo>
                  <a:lnTo>
                    <a:pt x="667" y="1152"/>
                  </a:lnTo>
                  <a:lnTo>
                    <a:pt x="638" y="1157"/>
                  </a:lnTo>
                  <a:lnTo>
                    <a:pt x="609" y="1159"/>
                  </a:lnTo>
                  <a:lnTo>
                    <a:pt x="579" y="1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34">
              <a:extLst>
                <a:ext uri="{FF2B5EF4-FFF2-40B4-BE49-F238E27FC236}">
                  <a16:creationId xmlns:a16="http://schemas.microsoft.com/office/drawing/2014/main" id="{68CB69EE-0FA3-4FC1-8BBB-20A82A626586}"/>
                </a:ext>
              </a:extLst>
            </p:cNvPr>
            <p:cNvSpPr>
              <a:spLocks noEditPoints="1"/>
            </p:cNvSpPr>
            <p:nvPr/>
          </p:nvSpPr>
          <p:spPr bwMode="auto">
            <a:xfrm>
              <a:off x="399524" y="1774603"/>
              <a:ext cx="52928" cy="52928"/>
            </a:xfrm>
            <a:custGeom>
              <a:avLst/>
              <a:gdLst>
                <a:gd name="T0" fmla="*/ 171 w 387"/>
                <a:gd name="T1" fmla="*/ 80 h 387"/>
                <a:gd name="T2" fmla="*/ 139 w 387"/>
                <a:gd name="T3" fmla="*/ 92 h 387"/>
                <a:gd name="T4" fmla="*/ 112 w 387"/>
                <a:gd name="T5" fmla="*/ 112 h 387"/>
                <a:gd name="T6" fmla="*/ 92 w 387"/>
                <a:gd name="T7" fmla="*/ 138 h 387"/>
                <a:gd name="T8" fmla="*/ 80 w 387"/>
                <a:gd name="T9" fmla="*/ 170 h 387"/>
                <a:gd name="T10" fmla="*/ 78 w 387"/>
                <a:gd name="T11" fmla="*/ 205 h 387"/>
                <a:gd name="T12" fmla="*/ 87 w 387"/>
                <a:gd name="T13" fmla="*/ 239 h 387"/>
                <a:gd name="T14" fmla="*/ 105 w 387"/>
                <a:gd name="T15" fmla="*/ 268 h 387"/>
                <a:gd name="T16" fmla="*/ 129 w 387"/>
                <a:gd name="T17" fmla="*/ 290 h 387"/>
                <a:gd name="T18" fmla="*/ 160 w 387"/>
                <a:gd name="T19" fmla="*/ 304 h 387"/>
                <a:gd name="T20" fmla="*/ 194 w 387"/>
                <a:gd name="T21" fmla="*/ 309 h 387"/>
                <a:gd name="T22" fmla="*/ 228 w 387"/>
                <a:gd name="T23" fmla="*/ 304 h 387"/>
                <a:gd name="T24" fmla="*/ 259 w 387"/>
                <a:gd name="T25" fmla="*/ 290 h 387"/>
                <a:gd name="T26" fmla="*/ 283 w 387"/>
                <a:gd name="T27" fmla="*/ 268 h 387"/>
                <a:gd name="T28" fmla="*/ 300 w 387"/>
                <a:gd name="T29" fmla="*/ 239 h 387"/>
                <a:gd name="T30" fmla="*/ 310 w 387"/>
                <a:gd name="T31" fmla="*/ 205 h 387"/>
                <a:gd name="T32" fmla="*/ 308 w 387"/>
                <a:gd name="T33" fmla="*/ 170 h 387"/>
                <a:gd name="T34" fmla="*/ 296 w 387"/>
                <a:gd name="T35" fmla="*/ 138 h 387"/>
                <a:gd name="T36" fmla="*/ 276 w 387"/>
                <a:gd name="T37" fmla="*/ 112 h 387"/>
                <a:gd name="T38" fmla="*/ 249 w 387"/>
                <a:gd name="T39" fmla="*/ 92 h 387"/>
                <a:gd name="T40" fmla="*/ 217 w 387"/>
                <a:gd name="T41" fmla="*/ 80 h 387"/>
                <a:gd name="T42" fmla="*/ 194 w 387"/>
                <a:gd name="T43" fmla="*/ 387 h 387"/>
                <a:gd name="T44" fmla="*/ 137 w 387"/>
                <a:gd name="T45" fmla="*/ 379 h 387"/>
                <a:gd name="T46" fmla="*/ 85 w 387"/>
                <a:gd name="T47" fmla="*/ 354 h 387"/>
                <a:gd name="T48" fmla="*/ 45 w 387"/>
                <a:gd name="T49" fmla="*/ 317 h 387"/>
                <a:gd name="T50" fmla="*/ 15 w 387"/>
                <a:gd name="T51" fmla="*/ 269 h 387"/>
                <a:gd name="T52" fmla="*/ 2 w 387"/>
                <a:gd name="T53" fmla="*/ 214 h 387"/>
                <a:gd name="T54" fmla="*/ 5 w 387"/>
                <a:gd name="T55" fmla="*/ 155 h 387"/>
                <a:gd name="T56" fmla="*/ 24 w 387"/>
                <a:gd name="T57" fmla="*/ 102 h 387"/>
                <a:gd name="T58" fmla="*/ 57 w 387"/>
                <a:gd name="T59" fmla="*/ 58 h 387"/>
                <a:gd name="T60" fmla="*/ 101 w 387"/>
                <a:gd name="T61" fmla="*/ 24 h 387"/>
                <a:gd name="T62" fmla="*/ 155 w 387"/>
                <a:gd name="T63" fmla="*/ 4 h 387"/>
                <a:gd name="T64" fmla="*/ 214 w 387"/>
                <a:gd name="T65" fmla="*/ 1 h 387"/>
                <a:gd name="T66" fmla="*/ 269 w 387"/>
                <a:gd name="T67" fmla="*/ 16 h 387"/>
                <a:gd name="T68" fmla="*/ 317 w 387"/>
                <a:gd name="T69" fmla="*/ 45 h 387"/>
                <a:gd name="T70" fmla="*/ 354 w 387"/>
                <a:gd name="T71" fmla="*/ 86 h 387"/>
                <a:gd name="T72" fmla="*/ 379 w 387"/>
                <a:gd name="T73" fmla="*/ 136 h 387"/>
                <a:gd name="T74" fmla="*/ 387 w 387"/>
                <a:gd name="T75" fmla="*/ 194 h 387"/>
                <a:gd name="T76" fmla="*/ 379 w 387"/>
                <a:gd name="T77" fmla="*/ 251 h 387"/>
                <a:gd name="T78" fmla="*/ 354 w 387"/>
                <a:gd name="T79" fmla="*/ 302 h 387"/>
                <a:gd name="T80" fmla="*/ 317 w 387"/>
                <a:gd name="T81" fmla="*/ 342 h 387"/>
                <a:gd name="T82" fmla="*/ 269 w 387"/>
                <a:gd name="T83" fmla="*/ 372 h 387"/>
                <a:gd name="T84" fmla="*/ 214 w 387"/>
                <a:gd name="T85"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7" h="387">
                  <a:moveTo>
                    <a:pt x="194" y="78"/>
                  </a:moveTo>
                  <a:lnTo>
                    <a:pt x="182" y="79"/>
                  </a:lnTo>
                  <a:lnTo>
                    <a:pt x="171" y="80"/>
                  </a:lnTo>
                  <a:lnTo>
                    <a:pt x="160" y="83"/>
                  </a:lnTo>
                  <a:lnTo>
                    <a:pt x="149" y="87"/>
                  </a:lnTo>
                  <a:lnTo>
                    <a:pt x="139" y="92"/>
                  </a:lnTo>
                  <a:lnTo>
                    <a:pt x="129" y="98"/>
                  </a:lnTo>
                  <a:lnTo>
                    <a:pt x="121" y="104"/>
                  </a:lnTo>
                  <a:lnTo>
                    <a:pt x="112" y="112"/>
                  </a:lnTo>
                  <a:lnTo>
                    <a:pt x="105" y="120"/>
                  </a:lnTo>
                  <a:lnTo>
                    <a:pt x="98" y="129"/>
                  </a:lnTo>
                  <a:lnTo>
                    <a:pt x="92" y="138"/>
                  </a:lnTo>
                  <a:lnTo>
                    <a:pt x="87" y="149"/>
                  </a:lnTo>
                  <a:lnTo>
                    <a:pt x="83" y="160"/>
                  </a:lnTo>
                  <a:lnTo>
                    <a:pt x="80" y="170"/>
                  </a:lnTo>
                  <a:lnTo>
                    <a:pt x="78" y="182"/>
                  </a:lnTo>
                  <a:lnTo>
                    <a:pt x="78" y="194"/>
                  </a:lnTo>
                  <a:lnTo>
                    <a:pt x="78" y="205"/>
                  </a:lnTo>
                  <a:lnTo>
                    <a:pt x="80" y="217"/>
                  </a:lnTo>
                  <a:lnTo>
                    <a:pt x="83" y="229"/>
                  </a:lnTo>
                  <a:lnTo>
                    <a:pt x="87" y="239"/>
                  </a:lnTo>
                  <a:lnTo>
                    <a:pt x="92" y="249"/>
                  </a:lnTo>
                  <a:lnTo>
                    <a:pt x="98" y="258"/>
                  </a:lnTo>
                  <a:lnTo>
                    <a:pt x="105" y="268"/>
                  </a:lnTo>
                  <a:lnTo>
                    <a:pt x="112" y="275"/>
                  </a:lnTo>
                  <a:lnTo>
                    <a:pt x="121" y="283"/>
                  </a:lnTo>
                  <a:lnTo>
                    <a:pt x="129" y="290"/>
                  </a:lnTo>
                  <a:lnTo>
                    <a:pt x="139" y="296"/>
                  </a:lnTo>
                  <a:lnTo>
                    <a:pt x="149" y="301"/>
                  </a:lnTo>
                  <a:lnTo>
                    <a:pt x="160" y="304"/>
                  </a:lnTo>
                  <a:lnTo>
                    <a:pt x="171" y="307"/>
                  </a:lnTo>
                  <a:lnTo>
                    <a:pt x="182" y="309"/>
                  </a:lnTo>
                  <a:lnTo>
                    <a:pt x="194" y="309"/>
                  </a:lnTo>
                  <a:lnTo>
                    <a:pt x="206" y="309"/>
                  </a:lnTo>
                  <a:lnTo>
                    <a:pt x="217" y="307"/>
                  </a:lnTo>
                  <a:lnTo>
                    <a:pt x="228" y="304"/>
                  </a:lnTo>
                  <a:lnTo>
                    <a:pt x="239" y="301"/>
                  </a:lnTo>
                  <a:lnTo>
                    <a:pt x="249" y="296"/>
                  </a:lnTo>
                  <a:lnTo>
                    <a:pt x="259" y="290"/>
                  </a:lnTo>
                  <a:lnTo>
                    <a:pt x="267" y="283"/>
                  </a:lnTo>
                  <a:lnTo>
                    <a:pt x="276" y="275"/>
                  </a:lnTo>
                  <a:lnTo>
                    <a:pt x="283" y="268"/>
                  </a:lnTo>
                  <a:lnTo>
                    <a:pt x="290" y="258"/>
                  </a:lnTo>
                  <a:lnTo>
                    <a:pt x="296" y="249"/>
                  </a:lnTo>
                  <a:lnTo>
                    <a:pt x="300" y="239"/>
                  </a:lnTo>
                  <a:lnTo>
                    <a:pt x="304" y="229"/>
                  </a:lnTo>
                  <a:lnTo>
                    <a:pt x="308" y="217"/>
                  </a:lnTo>
                  <a:lnTo>
                    <a:pt x="310" y="205"/>
                  </a:lnTo>
                  <a:lnTo>
                    <a:pt x="310" y="194"/>
                  </a:lnTo>
                  <a:lnTo>
                    <a:pt x="310" y="182"/>
                  </a:lnTo>
                  <a:lnTo>
                    <a:pt x="308" y="170"/>
                  </a:lnTo>
                  <a:lnTo>
                    <a:pt x="304" y="160"/>
                  </a:lnTo>
                  <a:lnTo>
                    <a:pt x="300" y="149"/>
                  </a:lnTo>
                  <a:lnTo>
                    <a:pt x="296" y="138"/>
                  </a:lnTo>
                  <a:lnTo>
                    <a:pt x="290" y="129"/>
                  </a:lnTo>
                  <a:lnTo>
                    <a:pt x="283" y="120"/>
                  </a:lnTo>
                  <a:lnTo>
                    <a:pt x="276" y="112"/>
                  </a:lnTo>
                  <a:lnTo>
                    <a:pt x="267" y="104"/>
                  </a:lnTo>
                  <a:lnTo>
                    <a:pt x="259" y="98"/>
                  </a:lnTo>
                  <a:lnTo>
                    <a:pt x="249" y="92"/>
                  </a:lnTo>
                  <a:lnTo>
                    <a:pt x="239" y="87"/>
                  </a:lnTo>
                  <a:lnTo>
                    <a:pt x="228" y="83"/>
                  </a:lnTo>
                  <a:lnTo>
                    <a:pt x="217" y="80"/>
                  </a:lnTo>
                  <a:lnTo>
                    <a:pt x="206" y="79"/>
                  </a:lnTo>
                  <a:lnTo>
                    <a:pt x="194" y="78"/>
                  </a:lnTo>
                  <a:close/>
                  <a:moveTo>
                    <a:pt x="194" y="387"/>
                  </a:moveTo>
                  <a:lnTo>
                    <a:pt x="174" y="386"/>
                  </a:lnTo>
                  <a:lnTo>
                    <a:pt x="155" y="383"/>
                  </a:lnTo>
                  <a:lnTo>
                    <a:pt x="137" y="379"/>
                  </a:lnTo>
                  <a:lnTo>
                    <a:pt x="118" y="372"/>
                  </a:lnTo>
                  <a:lnTo>
                    <a:pt x="101" y="364"/>
                  </a:lnTo>
                  <a:lnTo>
                    <a:pt x="85" y="354"/>
                  </a:lnTo>
                  <a:lnTo>
                    <a:pt x="71" y="342"/>
                  </a:lnTo>
                  <a:lnTo>
                    <a:pt x="57" y="331"/>
                  </a:lnTo>
                  <a:lnTo>
                    <a:pt x="45" y="317"/>
                  </a:lnTo>
                  <a:lnTo>
                    <a:pt x="33" y="302"/>
                  </a:lnTo>
                  <a:lnTo>
                    <a:pt x="24" y="286"/>
                  </a:lnTo>
                  <a:lnTo>
                    <a:pt x="15" y="269"/>
                  </a:lnTo>
                  <a:lnTo>
                    <a:pt x="9" y="251"/>
                  </a:lnTo>
                  <a:lnTo>
                    <a:pt x="5" y="233"/>
                  </a:lnTo>
                  <a:lnTo>
                    <a:pt x="2" y="214"/>
                  </a:lnTo>
                  <a:lnTo>
                    <a:pt x="0" y="194"/>
                  </a:lnTo>
                  <a:lnTo>
                    <a:pt x="2" y="174"/>
                  </a:lnTo>
                  <a:lnTo>
                    <a:pt x="5" y="155"/>
                  </a:lnTo>
                  <a:lnTo>
                    <a:pt x="9" y="136"/>
                  </a:lnTo>
                  <a:lnTo>
                    <a:pt x="15" y="119"/>
                  </a:lnTo>
                  <a:lnTo>
                    <a:pt x="24" y="102"/>
                  </a:lnTo>
                  <a:lnTo>
                    <a:pt x="33" y="86"/>
                  </a:lnTo>
                  <a:lnTo>
                    <a:pt x="45" y="71"/>
                  </a:lnTo>
                  <a:lnTo>
                    <a:pt x="57" y="58"/>
                  </a:lnTo>
                  <a:lnTo>
                    <a:pt x="71" y="45"/>
                  </a:lnTo>
                  <a:lnTo>
                    <a:pt x="85" y="33"/>
                  </a:lnTo>
                  <a:lnTo>
                    <a:pt x="101" y="24"/>
                  </a:lnTo>
                  <a:lnTo>
                    <a:pt x="118" y="16"/>
                  </a:lnTo>
                  <a:lnTo>
                    <a:pt x="137" y="10"/>
                  </a:lnTo>
                  <a:lnTo>
                    <a:pt x="155" y="4"/>
                  </a:lnTo>
                  <a:lnTo>
                    <a:pt x="174" y="1"/>
                  </a:lnTo>
                  <a:lnTo>
                    <a:pt x="194" y="0"/>
                  </a:lnTo>
                  <a:lnTo>
                    <a:pt x="214" y="1"/>
                  </a:lnTo>
                  <a:lnTo>
                    <a:pt x="233" y="4"/>
                  </a:lnTo>
                  <a:lnTo>
                    <a:pt x="251" y="10"/>
                  </a:lnTo>
                  <a:lnTo>
                    <a:pt x="269" y="16"/>
                  </a:lnTo>
                  <a:lnTo>
                    <a:pt x="286" y="24"/>
                  </a:lnTo>
                  <a:lnTo>
                    <a:pt x="302" y="33"/>
                  </a:lnTo>
                  <a:lnTo>
                    <a:pt x="317" y="45"/>
                  </a:lnTo>
                  <a:lnTo>
                    <a:pt x="331" y="58"/>
                  </a:lnTo>
                  <a:lnTo>
                    <a:pt x="343" y="71"/>
                  </a:lnTo>
                  <a:lnTo>
                    <a:pt x="354" y="86"/>
                  </a:lnTo>
                  <a:lnTo>
                    <a:pt x="364" y="102"/>
                  </a:lnTo>
                  <a:lnTo>
                    <a:pt x="372" y="119"/>
                  </a:lnTo>
                  <a:lnTo>
                    <a:pt x="379" y="136"/>
                  </a:lnTo>
                  <a:lnTo>
                    <a:pt x="383" y="155"/>
                  </a:lnTo>
                  <a:lnTo>
                    <a:pt x="386" y="174"/>
                  </a:lnTo>
                  <a:lnTo>
                    <a:pt x="387" y="194"/>
                  </a:lnTo>
                  <a:lnTo>
                    <a:pt x="386" y="214"/>
                  </a:lnTo>
                  <a:lnTo>
                    <a:pt x="383" y="233"/>
                  </a:lnTo>
                  <a:lnTo>
                    <a:pt x="379" y="251"/>
                  </a:lnTo>
                  <a:lnTo>
                    <a:pt x="372" y="269"/>
                  </a:lnTo>
                  <a:lnTo>
                    <a:pt x="364" y="286"/>
                  </a:lnTo>
                  <a:lnTo>
                    <a:pt x="354" y="302"/>
                  </a:lnTo>
                  <a:lnTo>
                    <a:pt x="343" y="317"/>
                  </a:lnTo>
                  <a:lnTo>
                    <a:pt x="331" y="331"/>
                  </a:lnTo>
                  <a:lnTo>
                    <a:pt x="317" y="342"/>
                  </a:lnTo>
                  <a:lnTo>
                    <a:pt x="302" y="354"/>
                  </a:lnTo>
                  <a:lnTo>
                    <a:pt x="286" y="364"/>
                  </a:lnTo>
                  <a:lnTo>
                    <a:pt x="269" y="372"/>
                  </a:lnTo>
                  <a:lnTo>
                    <a:pt x="251" y="379"/>
                  </a:lnTo>
                  <a:lnTo>
                    <a:pt x="233" y="383"/>
                  </a:lnTo>
                  <a:lnTo>
                    <a:pt x="214" y="386"/>
                  </a:lnTo>
                  <a:lnTo>
                    <a:pt x="19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35">
              <a:extLst>
                <a:ext uri="{FF2B5EF4-FFF2-40B4-BE49-F238E27FC236}">
                  <a16:creationId xmlns:a16="http://schemas.microsoft.com/office/drawing/2014/main" id="{456AE2A8-8606-4B5C-B5F9-AC350113D732}"/>
                </a:ext>
              </a:extLst>
            </p:cNvPr>
            <p:cNvSpPr>
              <a:spLocks/>
            </p:cNvSpPr>
            <p:nvPr/>
          </p:nvSpPr>
          <p:spPr bwMode="auto">
            <a:xfrm>
              <a:off x="420860" y="1647823"/>
              <a:ext cx="10257" cy="52928"/>
            </a:xfrm>
            <a:custGeom>
              <a:avLst/>
              <a:gdLst>
                <a:gd name="T0" fmla="*/ 38 w 76"/>
                <a:gd name="T1" fmla="*/ 386 h 386"/>
                <a:gd name="T2" fmla="*/ 30 w 76"/>
                <a:gd name="T3" fmla="*/ 386 h 386"/>
                <a:gd name="T4" fmla="*/ 23 w 76"/>
                <a:gd name="T5" fmla="*/ 383 h 386"/>
                <a:gd name="T6" fmla="*/ 17 w 76"/>
                <a:gd name="T7" fmla="*/ 380 h 386"/>
                <a:gd name="T8" fmla="*/ 10 w 76"/>
                <a:gd name="T9" fmla="*/ 376 h 386"/>
                <a:gd name="T10" fmla="*/ 6 w 76"/>
                <a:gd name="T11" fmla="*/ 369 h 386"/>
                <a:gd name="T12" fmla="*/ 2 w 76"/>
                <a:gd name="T13" fmla="*/ 363 h 386"/>
                <a:gd name="T14" fmla="*/ 0 w 76"/>
                <a:gd name="T15" fmla="*/ 355 h 386"/>
                <a:gd name="T16" fmla="*/ 0 w 76"/>
                <a:gd name="T17" fmla="*/ 348 h 386"/>
                <a:gd name="T18" fmla="*/ 0 w 76"/>
                <a:gd name="T19" fmla="*/ 39 h 386"/>
                <a:gd name="T20" fmla="*/ 0 w 76"/>
                <a:gd name="T21" fmla="*/ 31 h 386"/>
                <a:gd name="T22" fmla="*/ 2 w 76"/>
                <a:gd name="T23" fmla="*/ 24 h 386"/>
                <a:gd name="T24" fmla="*/ 6 w 76"/>
                <a:gd name="T25" fmla="*/ 17 h 386"/>
                <a:gd name="T26" fmla="*/ 10 w 76"/>
                <a:gd name="T27" fmla="*/ 11 h 386"/>
                <a:gd name="T28" fmla="*/ 17 w 76"/>
                <a:gd name="T29" fmla="*/ 7 h 386"/>
                <a:gd name="T30" fmla="*/ 23 w 76"/>
                <a:gd name="T31" fmla="*/ 4 h 386"/>
                <a:gd name="T32" fmla="*/ 30 w 76"/>
                <a:gd name="T33" fmla="*/ 0 h 386"/>
                <a:gd name="T34" fmla="*/ 38 w 76"/>
                <a:gd name="T35" fmla="*/ 0 h 386"/>
                <a:gd name="T36" fmla="*/ 45 w 76"/>
                <a:gd name="T37" fmla="*/ 0 h 386"/>
                <a:gd name="T38" fmla="*/ 53 w 76"/>
                <a:gd name="T39" fmla="*/ 4 h 386"/>
                <a:gd name="T40" fmla="*/ 59 w 76"/>
                <a:gd name="T41" fmla="*/ 7 h 386"/>
                <a:gd name="T42" fmla="*/ 66 w 76"/>
                <a:gd name="T43" fmla="*/ 11 h 386"/>
                <a:gd name="T44" fmla="*/ 70 w 76"/>
                <a:gd name="T45" fmla="*/ 17 h 386"/>
                <a:gd name="T46" fmla="*/ 74 w 76"/>
                <a:gd name="T47" fmla="*/ 24 h 386"/>
                <a:gd name="T48" fmla="*/ 76 w 76"/>
                <a:gd name="T49" fmla="*/ 31 h 386"/>
                <a:gd name="T50" fmla="*/ 76 w 76"/>
                <a:gd name="T51" fmla="*/ 39 h 386"/>
                <a:gd name="T52" fmla="*/ 76 w 76"/>
                <a:gd name="T53" fmla="*/ 348 h 386"/>
                <a:gd name="T54" fmla="*/ 76 w 76"/>
                <a:gd name="T55" fmla="*/ 355 h 386"/>
                <a:gd name="T56" fmla="*/ 74 w 76"/>
                <a:gd name="T57" fmla="*/ 363 h 386"/>
                <a:gd name="T58" fmla="*/ 70 w 76"/>
                <a:gd name="T59" fmla="*/ 369 h 386"/>
                <a:gd name="T60" fmla="*/ 66 w 76"/>
                <a:gd name="T61" fmla="*/ 376 h 386"/>
                <a:gd name="T62" fmla="*/ 59 w 76"/>
                <a:gd name="T63" fmla="*/ 380 h 386"/>
                <a:gd name="T64" fmla="*/ 53 w 76"/>
                <a:gd name="T65" fmla="*/ 383 h 386"/>
                <a:gd name="T66" fmla="*/ 45 w 76"/>
                <a:gd name="T67" fmla="*/ 386 h 386"/>
                <a:gd name="T68" fmla="*/ 38 w 76"/>
                <a:gd name="T6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386">
                  <a:moveTo>
                    <a:pt x="38" y="386"/>
                  </a:moveTo>
                  <a:lnTo>
                    <a:pt x="30" y="386"/>
                  </a:lnTo>
                  <a:lnTo>
                    <a:pt x="23" y="383"/>
                  </a:lnTo>
                  <a:lnTo>
                    <a:pt x="17" y="380"/>
                  </a:lnTo>
                  <a:lnTo>
                    <a:pt x="10" y="376"/>
                  </a:lnTo>
                  <a:lnTo>
                    <a:pt x="6" y="369"/>
                  </a:lnTo>
                  <a:lnTo>
                    <a:pt x="2" y="363"/>
                  </a:lnTo>
                  <a:lnTo>
                    <a:pt x="0" y="355"/>
                  </a:lnTo>
                  <a:lnTo>
                    <a:pt x="0" y="348"/>
                  </a:lnTo>
                  <a:lnTo>
                    <a:pt x="0" y="39"/>
                  </a:lnTo>
                  <a:lnTo>
                    <a:pt x="0" y="31"/>
                  </a:lnTo>
                  <a:lnTo>
                    <a:pt x="2" y="24"/>
                  </a:lnTo>
                  <a:lnTo>
                    <a:pt x="6" y="17"/>
                  </a:lnTo>
                  <a:lnTo>
                    <a:pt x="10" y="11"/>
                  </a:lnTo>
                  <a:lnTo>
                    <a:pt x="17" y="7"/>
                  </a:lnTo>
                  <a:lnTo>
                    <a:pt x="23" y="4"/>
                  </a:lnTo>
                  <a:lnTo>
                    <a:pt x="30" y="0"/>
                  </a:lnTo>
                  <a:lnTo>
                    <a:pt x="38" y="0"/>
                  </a:lnTo>
                  <a:lnTo>
                    <a:pt x="45" y="0"/>
                  </a:lnTo>
                  <a:lnTo>
                    <a:pt x="53" y="4"/>
                  </a:lnTo>
                  <a:lnTo>
                    <a:pt x="59" y="7"/>
                  </a:lnTo>
                  <a:lnTo>
                    <a:pt x="66" y="11"/>
                  </a:lnTo>
                  <a:lnTo>
                    <a:pt x="70" y="17"/>
                  </a:lnTo>
                  <a:lnTo>
                    <a:pt x="74" y="24"/>
                  </a:lnTo>
                  <a:lnTo>
                    <a:pt x="76" y="31"/>
                  </a:lnTo>
                  <a:lnTo>
                    <a:pt x="76" y="39"/>
                  </a:lnTo>
                  <a:lnTo>
                    <a:pt x="76" y="348"/>
                  </a:lnTo>
                  <a:lnTo>
                    <a:pt x="76" y="355"/>
                  </a:lnTo>
                  <a:lnTo>
                    <a:pt x="74" y="363"/>
                  </a:lnTo>
                  <a:lnTo>
                    <a:pt x="70" y="369"/>
                  </a:lnTo>
                  <a:lnTo>
                    <a:pt x="66" y="376"/>
                  </a:lnTo>
                  <a:lnTo>
                    <a:pt x="59" y="380"/>
                  </a:lnTo>
                  <a:lnTo>
                    <a:pt x="53" y="383"/>
                  </a:lnTo>
                  <a:lnTo>
                    <a:pt x="45" y="386"/>
                  </a:lnTo>
                  <a:lnTo>
                    <a:pt x="38"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36">
              <a:extLst>
                <a:ext uri="{FF2B5EF4-FFF2-40B4-BE49-F238E27FC236}">
                  <a16:creationId xmlns:a16="http://schemas.microsoft.com/office/drawing/2014/main" id="{19B1DBE8-53E6-4AEF-9855-EF800F4D92FE}"/>
                </a:ext>
              </a:extLst>
            </p:cNvPr>
            <p:cNvSpPr>
              <a:spLocks/>
            </p:cNvSpPr>
            <p:nvPr/>
          </p:nvSpPr>
          <p:spPr bwMode="auto">
            <a:xfrm>
              <a:off x="420860" y="1901383"/>
              <a:ext cx="10257" cy="52928"/>
            </a:xfrm>
            <a:custGeom>
              <a:avLst/>
              <a:gdLst>
                <a:gd name="T0" fmla="*/ 38 w 76"/>
                <a:gd name="T1" fmla="*/ 387 h 387"/>
                <a:gd name="T2" fmla="*/ 30 w 76"/>
                <a:gd name="T3" fmla="*/ 386 h 387"/>
                <a:gd name="T4" fmla="*/ 23 w 76"/>
                <a:gd name="T5" fmla="*/ 384 h 387"/>
                <a:gd name="T6" fmla="*/ 17 w 76"/>
                <a:gd name="T7" fmla="*/ 381 h 387"/>
                <a:gd name="T8" fmla="*/ 10 w 76"/>
                <a:gd name="T9" fmla="*/ 375 h 387"/>
                <a:gd name="T10" fmla="*/ 6 w 76"/>
                <a:gd name="T11" fmla="*/ 370 h 387"/>
                <a:gd name="T12" fmla="*/ 2 w 76"/>
                <a:gd name="T13" fmla="*/ 364 h 387"/>
                <a:gd name="T14" fmla="*/ 0 w 76"/>
                <a:gd name="T15" fmla="*/ 356 h 387"/>
                <a:gd name="T16" fmla="*/ 0 w 76"/>
                <a:gd name="T17" fmla="*/ 348 h 387"/>
                <a:gd name="T18" fmla="*/ 0 w 76"/>
                <a:gd name="T19" fmla="*/ 38 h 387"/>
                <a:gd name="T20" fmla="*/ 0 w 76"/>
                <a:gd name="T21" fmla="*/ 31 h 387"/>
                <a:gd name="T22" fmla="*/ 2 w 76"/>
                <a:gd name="T23" fmla="*/ 23 h 387"/>
                <a:gd name="T24" fmla="*/ 6 w 76"/>
                <a:gd name="T25" fmla="*/ 17 h 387"/>
                <a:gd name="T26" fmla="*/ 10 w 76"/>
                <a:gd name="T27" fmla="*/ 12 h 387"/>
                <a:gd name="T28" fmla="*/ 17 w 76"/>
                <a:gd name="T29" fmla="*/ 6 h 387"/>
                <a:gd name="T30" fmla="*/ 23 w 76"/>
                <a:gd name="T31" fmla="*/ 3 h 387"/>
                <a:gd name="T32" fmla="*/ 30 w 76"/>
                <a:gd name="T33" fmla="*/ 1 h 387"/>
                <a:gd name="T34" fmla="*/ 38 w 76"/>
                <a:gd name="T35" fmla="*/ 0 h 387"/>
                <a:gd name="T36" fmla="*/ 45 w 76"/>
                <a:gd name="T37" fmla="*/ 1 h 387"/>
                <a:gd name="T38" fmla="*/ 53 w 76"/>
                <a:gd name="T39" fmla="*/ 3 h 387"/>
                <a:gd name="T40" fmla="*/ 59 w 76"/>
                <a:gd name="T41" fmla="*/ 6 h 387"/>
                <a:gd name="T42" fmla="*/ 66 w 76"/>
                <a:gd name="T43" fmla="*/ 12 h 387"/>
                <a:gd name="T44" fmla="*/ 70 w 76"/>
                <a:gd name="T45" fmla="*/ 17 h 387"/>
                <a:gd name="T46" fmla="*/ 74 w 76"/>
                <a:gd name="T47" fmla="*/ 23 h 387"/>
                <a:gd name="T48" fmla="*/ 76 w 76"/>
                <a:gd name="T49" fmla="*/ 31 h 387"/>
                <a:gd name="T50" fmla="*/ 76 w 76"/>
                <a:gd name="T51" fmla="*/ 38 h 387"/>
                <a:gd name="T52" fmla="*/ 76 w 76"/>
                <a:gd name="T53" fmla="*/ 348 h 387"/>
                <a:gd name="T54" fmla="*/ 76 w 76"/>
                <a:gd name="T55" fmla="*/ 356 h 387"/>
                <a:gd name="T56" fmla="*/ 74 w 76"/>
                <a:gd name="T57" fmla="*/ 364 h 387"/>
                <a:gd name="T58" fmla="*/ 70 w 76"/>
                <a:gd name="T59" fmla="*/ 370 h 387"/>
                <a:gd name="T60" fmla="*/ 66 w 76"/>
                <a:gd name="T61" fmla="*/ 375 h 387"/>
                <a:gd name="T62" fmla="*/ 59 w 76"/>
                <a:gd name="T63" fmla="*/ 381 h 387"/>
                <a:gd name="T64" fmla="*/ 53 w 76"/>
                <a:gd name="T65" fmla="*/ 384 h 387"/>
                <a:gd name="T66" fmla="*/ 45 w 76"/>
                <a:gd name="T67" fmla="*/ 386 h 387"/>
                <a:gd name="T68" fmla="*/ 38 w 76"/>
                <a:gd name="T69" fmla="*/ 38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387">
                  <a:moveTo>
                    <a:pt x="38" y="387"/>
                  </a:moveTo>
                  <a:lnTo>
                    <a:pt x="30" y="386"/>
                  </a:lnTo>
                  <a:lnTo>
                    <a:pt x="23" y="384"/>
                  </a:lnTo>
                  <a:lnTo>
                    <a:pt x="17" y="381"/>
                  </a:lnTo>
                  <a:lnTo>
                    <a:pt x="10" y="375"/>
                  </a:lnTo>
                  <a:lnTo>
                    <a:pt x="6" y="370"/>
                  </a:lnTo>
                  <a:lnTo>
                    <a:pt x="2" y="364"/>
                  </a:lnTo>
                  <a:lnTo>
                    <a:pt x="0" y="356"/>
                  </a:lnTo>
                  <a:lnTo>
                    <a:pt x="0" y="348"/>
                  </a:lnTo>
                  <a:lnTo>
                    <a:pt x="0" y="38"/>
                  </a:lnTo>
                  <a:lnTo>
                    <a:pt x="0" y="31"/>
                  </a:lnTo>
                  <a:lnTo>
                    <a:pt x="2" y="23"/>
                  </a:lnTo>
                  <a:lnTo>
                    <a:pt x="6" y="17"/>
                  </a:lnTo>
                  <a:lnTo>
                    <a:pt x="10" y="12"/>
                  </a:lnTo>
                  <a:lnTo>
                    <a:pt x="17" y="6"/>
                  </a:lnTo>
                  <a:lnTo>
                    <a:pt x="23" y="3"/>
                  </a:lnTo>
                  <a:lnTo>
                    <a:pt x="30" y="1"/>
                  </a:lnTo>
                  <a:lnTo>
                    <a:pt x="38" y="0"/>
                  </a:lnTo>
                  <a:lnTo>
                    <a:pt x="45" y="1"/>
                  </a:lnTo>
                  <a:lnTo>
                    <a:pt x="53" y="3"/>
                  </a:lnTo>
                  <a:lnTo>
                    <a:pt x="59" y="6"/>
                  </a:lnTo>
                  <a:lnTo>
                    <a:pt x="66" y="12"/>
                  </a:lnTo>
                  <a:lnTo>
                    <a:pt x="70" y="17"/>
                  </a:lnTo>
                  <a:lnTo>
                    <a:pt x="74" y="23"/>
                  </a:lnTo>
                  <a:lnTo>
                    <a:pt x="76" y="31"/>
                  </a:lnTo>
                  <a:lnTo>
                    <a:pt x="76" y="38"/>
                  </a:lnTo>
                  <a:lnTo>
                    <a:pt x="76" y="348"/>
                  </a:lnTo>
                  <a:lnTo>
                    <a:pt x="76" y="356"/>
                  </a:lnTo>
                  <a:lnTo>
                    <a:pt x="74" y="364"/>
                  </a:lnTo>
                  <a:lnTo>
                    <a:pt x="70" y="370"/>
                  </a:lnTo>
                  <a:lnTo>
                    <a:pt x="66" y="375"/>
                  </a:lnTo>
                  <a:lnTo>
                    <a:pt x="59" y="381"/>
                  </a:lnTo>
                  <a:lnTo>
                    <a:pt x="53" y="384"/>
                  </a:lnTo>
                  <a:lnTo>
                    <a:pt x="45" y="386"/>
                  </a:lnTo>
                  <a:lnTo>
                    <a:pt x="38"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7">
              <a:extLst>
                <a:ext uri="{FF2B5EF4-FFF2-40B4-BE49-F238E27FC236}">
                  <a16:creationId xmlns:a16="http://schemas.microsoft.com/office/drawing/2014/main" id="{5BA8DC3C-4A3D-4547-B22F-3D06BD1E960D}"/>
                </a:ext>
              </a:extLst>
            </p:cNvPr>
            <p:cNvSpPr>
              <a:spLocks/>
            </p:cNvSpPr>
            <p:nvPr/>
          </p:nvSpPr>
          <p:spPr bwMode="auto">
            <a:xfrm>
              <a:off x="526305" y="1795938"/>
              <a:ext cx="52928" cy="10668"/>
            </a:xfrm>
            <a:custGeom>
              <a:avLst/>
              <a:gdLst>
                <a:gd name="T0" fmla="*/ 348 w 387"/>
                <a:gd name="T1" fmla="*/ 78 h 78"/>
                <a:gd name="T2" fmla="*/ 39 w 387"/>
                <a:gd name="T3" fmla="*/ 78 h 78"/>
                <a:gd name="T4" fmla="*/ 31 w 387"/>
                <a:gd name="T5" fmla="*/ 77 h 78"/>
                <a:gd name="T6" fmla="*/ 24 w 387"/>
                <a:gd name="T7" fmla="*/ 75 h 78"/>
                <a:gd name="T8" fmla="*/ 17 w 387"/>
                <a:gd name="T9" fmla="*/ 71 h 78"/>
                <a:gd name="T10" fmla="*/ 12 w 387"/>
                <a:gd name="T11" fmla="*/ 66 h 78"/>
                <a:gd name="T12" fmla="*/ 7 w 387"/>
                <a:gd name="T13" fmla="*/ 61 h 78"/>
                <a:gd name="T14" fmla="*/ 3 w 387"/>
                <a:gd name="T15" fmla="*/ 54 h 78"/>
                <a:gd name="T16" fmla="*/ 1 w 387"/>
                <a:gd name="T17" fmla="*/ 47 h 78"/>
                <a:gd name="T18" fmla="*/ 0 w 387"/>
                <a:gd name="T19" fmla="*/ 39 h 78"/>
                <a:gd name="T20" fmla="*/ 1 w 387"/>
                <a:gd name="T21" fmla="*/ 31 h 78"/>
                <a:gd name="T22" fmla="*/ 3 w 387"/>
                <a:gd name="T23" fmla="*/ 24 h 78"/>
                <a:gd name="T24" fmla="*/ 7 w 387"/>
                <a:gd name="T25" fmla="*/ 17 h 78"/>
                <a:gd name="T26" fmla="*/ 12 w 387"/>
                <a:gd name="T27" fmla="*/ 11 h 78"/>
                <a:gd name="T28" fmla="*/ 17 w 387"/>
                <a:gd name="T29" fmla="*/ 7 h 78"/>
                <a:gd name="T30" fmla="*/ 24 w 387"/>
                <a:gd name="T31" fmla="*/ 4 h 78"/>
                <a:gd name="T32" fmla="*/ 31 w 387"/>
                <a:gd name="T33" fmla="*/ 1 h 78"/>
                <a:gd name="T34" fmla="*/ 39 w 387"/>
                <a:gd name="T35" fmla="*/ 0 h 78"/>
                <a:gd name="T36" fmla="*/ 348 w 387"/>
                <a:gd name="T37" fmla="*/ 0 h 78"/>
                <a:gd name="T38" fmla="*/ 356 w 387"/>
                <a:gd name="T39" fmla="*/ 1 h 78"/>
                <a:gd name="T40" fmla="*/ 363 w 387"/>
                <a:gd name="T41" fmla="*/ 4 h 78"/>
                <a:gd name="T42" fmla="*/ 370 w 387"/>
                <a:gd name="T43" fmla="*/ 7 h 78"/>
                <a:gd name="T44" fmla="*/ 375 w 387"/>
                <a:gd name="T45" fmla="*/ 11 h 78"/>
                <a:gd name="T46" fmla="*/ 380 w 387"/>
                <a:gd name="T47" fmla="*/ 17 h 78"/>
                <a:gd name="T48" fmla="*/ 384 w 387"/>
                <a:gd name="T49" fmla="*/ 24 h 78"/>
                <a:gd name="T50" fmla="*/ 386 w 387"/>
                <a:gd name="T51" fmla="*/ 31 h 78"/>
                <a:gd name="T52" fmla="*/ 387 w 387"/>
                <a:gd name="T53" fmla="*/ 39 h 78"/>
                <a:gd name="T54" fmla="*/ 386 w 387"/>
                <a:gd name="T55" fmla="*/ 47 h 78"/>
                <a:gd name="T56" fmla="*/ 384 w 387"/>
                <a:gd name="T57" fmla="*/ 54 h 78"/>
                <a:gd name="T58" fmla="*/ 380 w 387"/>
                <a:gd name="T59" fmla="*/ 61 h 78"/>
                <a:gd name="T60" fmla="*/ 375 w 387"/>
                <a:gd name="T61" fmla="*/ 66 h 78"/>
                <a:gd name="T62" fmla="*/ 370 w 387"/>
                <a:gd name="T63" fmla="*/ 71 h 78"/>
                <a:gd name="T64" fmla="*/ 363 w 387"/>
                <a:gd name="T65" fmla="*/ 75 h 78"/>
                <a:gd name="T66" fmla="*/ 356 w 387"/>
                <a:gd name="T67" fmla="*/ 77 h 78"/>
                <a:gd name="T68" fmla="*/ 348 w 387"/>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78">
                  <a:moveTo>
                    <a:pt x="348" y="78"/>
                  </a:moveTo>
                  <a:lnTo>
                    <a:pt x="39" y="78"/>
                  </a:lnTo>
                  <a:lnTo>
                    <a:pt x="31" y="77"/>
                  </a:lnTo>
                  <a:lnTo>
                    <a:pt x="24" y="75"/>
                  </a:lnTo>
                  <a:lnTo>
                    <a:pt x="17" y="71"/>
                  </a:lnTo>
                  <a:lnTo>
                    <a:pt x="12" y="66"/>
                  </a:lnTo>
                  <a:lnTo>
                    <a:pt x="7" y="61"/>
                  </a:lnTo>
                  <a:lnTo>
                    <a:pt x="3" y="54"/>
                  </a:lnTo>
                  <a:lnTo>
                    <a:pt x="1" y="47"/>
                  </a:lnTo>
                  <a:lnTo>
                    <a:pt x="0" y="39"/>
                  </a:lnTo>
                  <a:lnTo>
                    <a:pt x="1" y="31"/>
                  </a:lnTo>
                  <a:lnTo>
                    <a:pt x="3" y="24"/>
                  </a:lnTo>
                  <a:lnTo>
                    <a:pt x="7" y="17"/>
                  </a:lnTo>
                  <a:lnTo>
                    <a:pt x="12" y="11"/>
                  </a:lnTo>
                  <a:lnTo>
                    <a:pt x="17" y="7"/>
                  </a:lnTo>
                  <a:lnTo>
                    <a:pt x="24" y="4"/>
                  </a:lnTo>
                  <a:lnTo>
                    <a:pt x="31" y="1"/>
                  </a:lnTo>
                  <a:lnTo>
                    <a:pt x="39" y="0"/>
                  </a:lnTo>
                  <a:lnTo>
                    <a:pt x="348" y="0"/>
                  </a:lnTo>
                  <a:lnTo>
                    <a:pt x="356" y="1"/>
                  </a:lnTo>
                  <a:lnTo>
                    <a:pt x="363" y="4"/>
                  </a:lnTo>
                  <a:lnTo>
                    <a:pt x="370" y="7"/>
                  </a:lnTo>
                  <a:lnTo>
                    <a:pt x="375" y="11"/>
                  </a:lnTo>
                  <a:lnTo>
                    <a:pt x="380" y="17"/>
                  </a:lnTo>
                  <a:lnTo>
                    <a:pt x="384" y="24"/>
                  </a:lnTo>
                  <a:lnTo>
                    <a:pt x="386" y="31"/>
                  </a:lnTo>
                  <a:lnTo>
                    <a:pt x="387" y="39"/>
                  </a:lnTo>
                  <a:lnTo>
                    <a:pt x="386" y="47"/>
                  </a:lnTo>
                  <a:lnTo>
                    <a:pt x="384" y="54"/>
                  </a:lnTo>
                  <a:lnTo>
                    <a:pt x="380" y="61"/>
                  </a:lnTo>
                  <a:lnTo>
                    <a:pt x="375" y="66"/>
                  </a:lnTo>
                  <a:lnTo>
                    <a:pt x="370" y="71"/>
                  </a:lnTo>
                  <a:lnTo>
                    <a:pt x="363" y="75"/>
                  </a:lnTo>
                  <a:lnTo>
                    <a:pt x="356" y="77"/>
                  </a:lnTo>
                  <a:lnTo>
                    <a:pt x="34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8">
              <a:extLst>
                <a:ext uri="{FF2B5EF4-FFF2-40B4-BE49-F238E27FC236}">
                  <a16:creationId xmlns:a16="http://schemas.microsoft.com/office/drawing/2014/main" id="{B17D8E7D-EBBF-4F85-90C2-693E37C6745C}"/>
                </a:ext>
              </a:extLst>
            </p:cNvPr>
            <p:cNvSpPr>
              <a:spLocks/>
            </p:cNvSpPr>
            <p:nvPr/>
          </p:nvSpPr>
          <p:spPr bwMode="auto">
            <a:xfrm>
              <a:off x="272744" y="1795938"/>
              <a:ext cx="52928" cy="10668"/>
            </a:xfrm>
            <a:custGeom>
              <a:avLst/>
              <a:gdLst>
                <a:gd name="T0" fmla="*/ 348 w 387"/>
                <a:gd name="T1" fmla="*/ 78 h 78"/>
                <a:gd name="T2" fmla="*/ 39 w 387"/>
                <a:gd name="T3" fmla="*/ 78 h 78"/>
                <a:gd name="T4" fmla="*/ 31 w 387"/>
                <a:gd name="T5" fmla="*/ 77 h 78"/>
                <a:gd name="T6" fmla="*/ 24 w 387"/>
                <a:gd name="T7" fmla="*/ 75 h 78"/>
                <a:gd name="T8" fmla="*/ 17 w 387"/>
                <a:gd name="T9" fmla="*/ 71 h 78"/>
                <a:gd name="T10" fmla="*/ 11 w 387"/>
                <a:gd name="T11" fmla="*/ 66 h 78"/>
                <a:gd name="T12" fmla="*/ 7 w 387"/>
                <a:gd name="T13" fmla="*/ 61 h 78"/>
                <a:gd name="T14" fmla="*/ 3 w 387"/>
                <a:gd name="T15" fmla="*/ 54 h 78"/>
                <a:gd name="T16" fmla="*/ 1 w 387"/>
                <a:gd name="T17" fmla="*/ 47 h 78"/>
                <a:gd name="T18" fmla="*/ 0 w 387"/>
                <a:gd name="T19" fmla="*/ 39 h 78"/>
                <a:gd name="T20" fmla="*/ 1 w 387"/>
                <a:gd name="T21" fmla="*/ 31 h 78"/>
                <a:gd name="T22" fmla="*/ 3 w 387"/>
                <a:gd name="T23" fmla="*/ 24 h 78"/>
                <a:gd name="T24" fmla="*/ 7 w 387"/>
                <a:gd name="T25" fmla="*/ 17 h 78"/>
                <a:gd name="T26" fmla="*/ 11 w 387"/>
                <a:gd name="T27" fmla="*/ 11 h 78"/>
                <a:gd name="T28" fmla="*/ 17 w 387"/>
                <a:gd name="T29" fmla="*/ 7 h 78"/>
                <a:gd name="T30" fmla="*/ 24 w 387"/>
                <a:gd name="T31" fmla="*/ 4 h 78"/>
                <a:gd name="T32" fmla="*/ 31 w 387"/>
                <a:gd name="T33" fmla="*/ 1 h 78"/>
                <a:gd name="T34" fmla="*/ 39 w 387"/>
                <a:gd name="T35" fmla="*/ 0 h 78"/>
                <a:gd name="T36" fmla="*/ 348 w 387"/>
                <a:gd name="T37" fmla="*/ 0 h 78"/>
                <a:gd name="T38" fmla="*/ 356 w 387"/>
                <a:gd name="T39" fmla="*/ 1 h 78"/>
                <a:gd name="T40" fmla="*/ 363 w 387"/>
                <a:gd name="T41" fmla="*/ 4 h 78"/>
                <a:gd name="T42" fmla="*/ 370 w 387"/>
                <a:gd name="T43" fmla="*/ 7 h 78"/>
                <a:gd name="T44" fmla="*/ 375 w 387"/>
                <a:gd name="T45" fmla="*/ 11 h 78"/>
                <a:gd name="T46" fmla="*/ 380 w 387"/>
                <a:gd name="T47" fmla="*/ 17 h 78"/>
                <a:gd name="T48" fmla="*/ 383 w 387"/>
                <a:gd name="T49" fmla="*/ 24 h 78"/>
                <a:gd name="T50" fmla="*/ 385 w 387"/>
                <a:gd name="T51" fmla="*/ 31 h 78"/>
                <a:gd name="T52" fmla="*/ 387 w 387"/>
                <a:gd name="T53" fmla="*/ 39 h 78"/>
                <a:gd name="T54" fmla="*/ 385 w 387"/>
                <a:gd name="T55" fmla="*/ 47 h 78"/>
                <a:gd name="T56" fmla="*/ 383 w 387"/>
                <a:gd name="T57" fmla="*/ 54 h 78"/>
                <a:gd name="T58" fmla="*/ 380 w 387"/>
                <a:gd name="T59" fmla="*/ 61 h 78"/>
                <a:gd name="T60" fmla="*/ 375 w 387"/>
                <a:gd name="T61" fmla="*/ 66 h 78"/>
                <a:gd name="T62" fmla="*/ 370 w 387"/>
                <a:gd name="T63" fmla="*/ 71 h 78"/>
                <a:gd name="T64" fmla="*/ 363 w 387"/>
                <a:gd name="T65" fmla="*/ 75 h 78"/>
                <a:gd name="T66" fmla="*/ 356 w 387"/>
                <a:gd name="T67" fmla="*/ 77 h 78"/>
                <a:gd name="T68" fmla="*/ 348 w 387"/>
                <a:gd name="T6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78">
                  <a:moveTo>
                    <a:pt x="348" y="78"/>
                  </a:moveTo>
                  <a:lnTo>
                    <a:pt x="39" y="78"/>
                  </a:lnTo>
                  <a:lnTo>
                    <a:pt x="31" y="77"/>
                  </a:lnTo>
                  <a:lnTo>
                    <a:pt x="24" y="75"/>
                  </a:lnTo>
                  <a:lnTo>
                    <a:pt x="17" y="71"/>
                  </a:lnTo>
                  <a:lnTo>
                    <a:pt x="11" y="66"/>
                  </a:lnTo>
                  <a:lnTo>
                    <a:pt x="7" y="61"/>
                  </a:lnTo>
                  <a:lnTo>
                    <a:pt x="3" y="54"/>
                  </a:lnTo>
                  <a:lnTo>
                    <a:pt x="1" y="47"/>
                  </a:lnTo>
                  <a:lnTo>
                    <a:pt x="0" y="39"/>
                  </a:lnTo>
                  <a:lnTo>
                    <a:pt x="1" y="31"/>
                  </a:lnTo>
                  <a:lnTo>
                    <a:pt x="3" y="24"/>
                  </a:lnTo>
                  <a:lnTo>
                    <a:pt x="7" y="17"/>
                  </a:lnTo>
                  <a:lnTo>
                    <a:pt x="11" y="11"/>
                  </a:lnTo>
                  <a:lnTo>
                    <a:pt x="17" y="7"/>
                  </a:lnTo>
                  <a:lnTo>
                    <a:pt x="24" y="4"/>
                  </a:lnTo>
                  <a:lnTo>
                    <a:pt x="31" y="1"/>
                  </a:lnTo>
                  <a:lnTo>
                    <a:pt x="39" y="0"/>
                  </a:lnTo>
                  <a:lnTo>
                    <a:pt x="348" y="0"/>
                  </a:lnTo>
                  <a:lnTo>
                    <a:pt x="356" y="1"/>
                  </a:lnTo>
                  <a:lnTo>
                    <a:pt x="363" y="4"/>
                  </a:lnTo>
                  <a:lnTo>
                    <a:pt x="370" y="7"/>
                  </a:lnTo>
                  <a:lnTo>
                    <a:pt x="375" y="11"/>
                  </a:lnTo>
                  <a:lnTo>
                    <a:pt x="380" y="17"/>
                  </a:lnTo>
                  <a:lnTo>
                    <a:pt x="383" y="24"/>
                  </a:lnTo>
                  <a:lnTo>
                    <a:pt x="385" y="31"/>
                  </a:lnTo>
                  <a:lnTo>
                    <a:pt x="387" y="39"/>
                  </a:lnTo>
                  <a:lnTo>
                    <a:pt x="385" y="47"/>
                  </a:lnTo>
                  <a:lnTo>
                    <a:pt x="383" y="54"/>
                  </a:lnTo>
                  <a:lnTo>
                    <a:pt x="380" y="61"/>
                  </a:lnTo>
                  <a:lnTo>
                    <a:pt x="375" y="66"/>
                  </a:lnTo>
                  <a:lnTo>
                    <a:pt x="370" y="71"/>
                  </a:lnTo>
                  <a:lnTo>
                    <a:pt x="363" y="75"/>
                  </a:lnTo>
                  <a:lnTo>
                    <a:pt x="356" y="77"/>
                  </a:lnTo>
                  <a:lnTo>
                    <a:pt x="34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2" name="Freeform 271">
            <a:extLst>
              <a:ext uri="{FF2B5EF4-FFF2-40B4-BE49-F238E27FC236}">
                <a16:creationId xmlns:a16="http://schemas.microsoft.com/office/drawing/2014/main" id="{86FEDD29-D6C1-4210-89AC-58A7F4A63C01}"/>
              </a:ext>
            </a:extLst>
          </p:cNvPr>
          <p:cNvSpPr>
            <a:spLocks noChangeAspect="1" noEditPoints="1"/>
          </p:cNvSpPr>
          <p:nvPr/>
        </p:nvSpPr>
        <p:spPr bwMode="auto">
          <a:xfrm>
            <a:off x="661704" y="1647825"/>
            <a:ext cx="304790" cy="306484"/>
          </a:xfrm>
          <a:custGeom>
            <a:avLst/>
            <a:gdLst>
              <a:gd name="T0" fmla="*/ 718 w 903"/>
              <a:gd name="T1" fmla="*/ 206 h 903"/>
              <a:gd name="T2" fmla="*/ 764 w 903"/>
              <a:gd name="T3" fmla="*/ 278 h 903"/>
              <a:gd name="T4" fmla="*/ 372 w 903"/>
              <a:gd name="T5" fmla="*/ 455 h 903"/>
              <a:gd name="T6" fmla="*/ 265 w 903"/>
              <a:gd name="T7" fmla="*/ 490 h 903"/>
              <a:gd name="T8" fmla="*/ 254 w 903"/>
              <a:gd name="T9" fmla="*/ 607 h 903"/>
              <a:gd name="T10" fmla="*/ 357 w 903"/>
              <a:gd name="T11" fmla="*/ 662 h 903"/>
              <a:gd name="T12" fmla="*/ 447 w 903"/>
              <a:gd name="T13" fmla="*/ 588 h 903"/>
              <a:gd name="T14" fmla="*/ 494 w 903"/>
              <a:gd name="T15" fmla="*/ 429 h 903"/>
              <a:gd name="T16" fmla="*/ 526 w 903"/>
              <a:gd name="T17" fmla="*/ 633 h 903"/>
              <a:gd name="T18" fmla="*/ 346 w 903"/>
              <a:gd name="T19" fmla="*/ 752 h 903"/>
              <a:gd name="T20" fmla="*/ 166 w 903"/>
              <a:gd name="T21" fmla="*/ 633 h 903"/>
              <a:gd name="T22" fmla="*/ 208 w 903"/>
              <a:gd name="T23" fmla="*/ 418 h 903"/>
              <a:gd name="T24" fmla="*/ 415 w 903"/>
              <a:gd name="T25" fmla="*/ 373 h 903"/>
              <a:gd name="T26" fmla="*/ 408 w 903"/>
              <a:gd name="T27" fmla="*/ 599 h 903"/>
              <a:gd name="T28" fmla="*/ 331 w 903"/>
              <a:gd name="T29" fmla="*/ 631 h 903"/>
              <a:gd name="T30" fmla="*/ 272 w 903"/>
              <a:gd name="T31" fmla="*/ 572 h 903"/>
              <a:gd name="T32" fmla="*/ 304 w 903"/>
              <a:gd name="T33" fmla="*/ 495 h 903"/>
              <a:gd name="T34" fmla="*/ 350 w 903"/>
              <a:gd name="T35" fmla="*/ 527 h 903"/>
              <a:gd name="T36" fmla="*/ 321 w 903"/>
              <a:gd name="T37" fmla="*/ 574 h 903"/>
              <a:gd name="T38" fmla="*/ 376 w 903"/>
              <a:gd name="T39" fmla="*/ 563 h 903"/>
              <a:gd name="T40" fmla="*/ 658 w 903"/>
              <a:gd name="T41" fmla="*/ 605 h 903"/>
              <a:gd name="T42" fmla="*/ 580 w 903"/>
              <a:gd name="T43" fmla="*/ 769 h 903"/>
              <a:gd name="T44" fmla="*/ 425 w 903"/>
              <a:gd name="T45" fmla="*/ 862 h 903"/>
              <a:gd name="T46" fmla="*/ 238 w 903"/>
              <a:gd name="T47" fmla="*/ 854 h 903"/>
              <a:gd name="T48" fmla="*/ 93 w 903"/>
              <a:gd name="T49" fmla="*/ 746 h 903"/>
              <a:gd name="T50" fmla="*/ 31 w 903"/>
              <a:gd name="T51" fmla="*/ 573 h 903"/>
              <a:gd name="T52" fmla="*/ 76 w 903"/>
              <a:gd name="T53" fmla="*/ 393 h 903"/>
              <a:gd name="T54" fmla="*/ 209 w 903"/>
              <a:gd name="T55" fmla="*/ 272 h 903"/>
              <a:gd name="T56" fmla="*/ 391 w 903"/>
              <a:gd name="T57" fmla="*/ 244 h 903"/>
              <a:gd name="T58" fmla="*/ 548 w 903"/>
              <a:gd name="T59" fmla="*/ 313 h 903"/>
              <a:gd name="T60" fmla="*/ 324 w 903"/>
              <a:gd name="T61" fmla="*/ 333 h 903"/>
              <a:gd name="T62" fmla="*/ 159 w 903"/>
              <a:gd name="T63" fmla="*/ 430 h 903"/>
              <a:gd name="T64" fmla="*/ 122 w 903"/>
              <a:gd name="T65" fmla="*/ 579 h 903"/>
              <a:gd name="T66" fmla="*/ 219 w 903"/>
              <a:gd name="T67" fmla="*/ 743 h 903"/>
              <a:gd name="T68" fmla="*/ 370 w 903"/>
              <a:gd name="T69" fmla="*/ 781 h 903"/>
              <a:gd name="T70" fmla="*/ 534 w 903"/>
              <a:gd name="T71" fmla="*/ 683 h 903"/>
              <a:gd name="T72" fmla="*/ 568 w 903"/>
              <a:gd name="T73" fmla="*/ 515 h 903"/>
              <a:gd name="T74" fmla="*/ 622 w 903"/>
              <a:gd name="T75" fmla="*/ 402 h 903"/>
              <a:gd name="T76" fmla="*/ 608 w 903"/>
              <a:gd name="T77" fmla="*/ 173 h 903"/>
              <a:gd name="T78" fmla="*/ 632 w 903"/>
              <a:gd name="T79" fmla="*/ 249 h 903"/>
              <a:gd name="T80" fmla="*/ 740 w 903"/>
              <a:gd name="T81" fmla="*/ 55 h 903"/>
              <a:gd name="T82" fmla="*/ 813 w 903"/>
              <a:gd name="T83" fmla="*/ 11 h 903"/>
              <a:gd name="T84" fmla="*/ 711 w 903"/>
              <a:gd name="T85" fmla="*/ 36 h 903"/>
              <a:gd name="T86" fmla="*/ 581 w 903"/>
              <a:gd name="T87" fmla="*/ 157 h 903"/>
              <a:gd name="T88" fmla="*/ 556 w 903"/>
              <a:gd name="T89" fmla="*/ 281 h 903"/>
              <a:gd name="T90" fmla="*/ 379 w 903"/>
              <a:gd name="T91" fmla="*/ 213 h 903"/>
              <a:gd name="T92" fmla="*/ 181 w 903"/>
              <a:gd name="T93" fmla="*/ 252 h 903"/>
              <a:gd name="T94" fmla="*/ 41 w 903"/>
              <a:gd name="T95" fmla="*/ 392 h 903"/>
              <a:gd name="T96" fmla="*/ 2 w 903"/>
              <a:gd name="T97" fmla="*/ 590 h 903"/>
              <a:gd name="T98" fmla="*/ 70 w 903"/>
              <a:gd name="T99" fmla="*/ 767 h 903"/>
              <a:gd name="T100" fmla="*/ 7 w 903"/>
              <a:gd name="T101" fmla="*/ 900 h 903"/>
              <a:gd name="T102" fmla="*/ 163 w 903"/>
              <a:gd name="T103" fmla="*/ 850 h 903"/>
              <a:gd name="T104" fmla="*/ 346 w 903"/>
              <a:gd name="T105" fmla="*/ 903 h 903"/>
              <a:gd name="T106" fmla="*/ 531 w 903"/>
              <a:gd name="T107" fmla="*/ 850 h 903"/>
              <a:gd name="T108" fmla="*/ 686 w 903"/>
              <a:gd name="T109" fmla="*/ 900 h 903"/>
              <a:gd name="T110" fmla="*/ 622 w 903"/>
              <a:gd name="T111" fmla="*/ 767 h 903"/>
              <a:gd name="T112" fmla="*/ 690 w 903"/>
              <a:gd name="T113" fmla="*/ 590 h 903"/>
              <a:gd name="T114" fmla="*/ 655 w 903"/>
              <a:gd name="T115" fmla="*/ 400 h 903"/>
              <a:gd name="T116" fmla="*/ 684 w 903"/>
              <a:gd name="T117" fmla="*/ 322 h 903"/>
              <a:gd name="T118" fmla="*/ 801 w 903"/>
              <a:gd name="T119" fmla="*/ 287 h 903"/>
              <a:gd name="T120" fmla="*/ 903 w 903"/>
              <a:gd name="T121" fmla="*/ 10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3">
                <a:moveTo>
                  <a:pt x="714" y="297"/>
                </a:moveTo>
                <a:lnTo>
                  <a:pt x="707" y="296"/>
                </a:lnTo>
                <a:lnTo>
                  <a:pt x="700" y="295"/>
                </a:lnTo>
                <a:lnTo>
                  <a:pt x="692" y="293"/>
                </a:lnTo>
                <a:lnTo>
                  <a:pt x="685" y="290"/>
                </a:lnTo>
                <a:lnTo>
                  <a:pt x="676" y="287"/>
                </a:lnTo>
                <a:lnTo>
                  <a:pt x="669" y="282"/>
                </a:lnTo>
                <a:lnTo>
                  <a:pt x="661" y="277"/>
                </a:lnTo>
                <a:lnTo>
                  <a:pt x="654" y="270"/>
                </a:lnTo>
                <a:lnTo>
                  <a:pt x="718" y="206"/>
                </a:lnTo>
                <a:lnTo>
                  <a:pt x="718" y="206"/>
                </a:lnTo>
                <a:lnTo>
                  <a:pt x="718" y="206"/>
                </a:lnTo>
                <a:lnTo>
                  <a:pt x="804" y="120"/>
                </a:lnTo>
                <a:lnTo>
                  <a:pt x="866" y="120"/>
                </a:lnTo>
                <a:lnTo>
                  <a:pt x="855" y="146"/>
                </a:lnTo>
                <a:lnTo>
                  <a:pt x="843" y="174"/>
                </a:lnTo>
                <a:lnTo>
                  <a:pt x="835" y="189"/>
                </a:lnTo>
                <a:lnTo>
                  <a:pt x="827" y="204"/>
                </a:lnTo>
                <a:lnTo>
                  <a:pt x="817" y="218"/>
                </a:lnTo>
                <a:lnTo>
                  <a:pt x="807" y="232"/>
                </a:lnTo>
                <a:lnTo>
                  <a:pt x="798" y="246"/>
                </a:lnTo>
                <a:lnTo>
                  <a:pt x="787" y="258"/>
                </a:lnTo>
                <a:lnTo>
                  <a:pt x="776" y="268"/>
                </a:lnTo>
                <a:lnTo>
                  <a:pt x="764" y="278"/>
                </a:lnTo>
                <a:lnTo>
                  <a:pt x="753" y="285"/>
                </a:lnTo>
                <a:lnTo>
                  <a:pt x="740" y="292"/>
                </a:lnTo>
                <a:lnTo>
                  <a:pt x="733" y="294"/>
                </a:lnTo>
                <a:lnTo>
                  <a:pt x="727" y="295"/>
                </a:lnTo>
                <a:lnTo>
                  <a:pt x="720" y="296"/>
                </a:lnTo>
                <a:lnTo>
                  <a:pt x="714" y="297"/>
                </a:lnTo>
                <a:close/>
                <a:moveTo>
                  <a:pt x="409" y="472"/>
                </a:moveTo>
                <a:lnTo>
                  <a:pt x="402" y="468"/>
                </a:lnTo>
                <a:lnTo>
                  <a:pt x="395" y="464"/>
                </a:lnTo>
                <a:lnTo>
                  <a:pt x="388" y="460"/>
                </a:lnTo>
                <a:lnTo>
                  <a:pt x="380" y="457"/>
                </a:lnTo>
                <a:lnTo>
                  <a:pt x="372" y="455"/>
                </a:lnTo>
                <a:lnTo>
                  <a:pt x="363" y="453"/>
                </a:lnTo>
                <a:lnTo>
                  <a:pt x="355" y="452"/>
                </a:lnTo>
                <a:lnTo>
                  <a:pt x="346" y="452"/>
                </a:lnTo>
                <a:lnTo>
                  <a:pt x="335" y="452"/>
                </a:lnTo>
                <a:lnTo>
                  <a:pt x="325" y="454"/>
                </a:lnTo>
                <a:lnTo>
                  <a:pt x="315" y="456"/>
                </a:lnTo>
                <a:lnTo>
                  <a:pt x="305" y="459"/>
                </a:lnTo>
                <a:lnTo>
                  <a:pt x="296" y="465"/>
                </a:lnTo>
                <a:lnTo>
                  <a:pt x="287" y="470"/>
                </a:lnTo>
                <a:lnTo>
                  <a:pt x="280" y="475"/>
                </a:lnTo>
                <a:lnTo>
                  <a:pt x="272" y="483"/>
                </a:lnTo>
                <a:lnTo>
                  <a:pt x="265" y="490"/>
                </a:lnTo>
                <a:lnTo>
                  <a:pt x="259" y="498"/>
                </a:lnTo>
                <a:lnTo>
                  <a:pt x="254" y="506"/>
                </a:lnTo>
                <a:lnTo>
                  <a:pt x="250" y="516"/>
                </a:lnTo>
                <a:lnTo>
                  <a:pt x="245" y="526"/>
                </a:lnTo>
                <a:lnTo>
                  <a:pt x="243" y="535"/>
                </a:lnTo>
                <a:lnTo>
                  <a:pt x="241" y="546"/>
                </a:lnTo>
                <a:lnTo>
                  <a:pt x="241" y="557"/>
                </a:lnTo>
                <a:lnTo>
                  <a:pt x="241" y="568"/>
                </a:lnTo>
                <a:lnTo>
                  <a:pt x="243" y="578"/>
                </a:lnTo>
                <a:lnTo>
                  <a:pt x="245" y="588"/>
                </a:lnTo>
                <a:lnTo>
                  <a:pt x="250" y="598"/>
                </a:lnTo>
                <a:lnTo>
                  <a:pt x="254" y="607"/>
                </a:lnTo>
                <a:lnTo>
                  <a:pt x="259" y="616"/>
                </a:lnTo>
                <a:lnTo>
                  <a:pt x="265" y="623"/>
                </a:lnTo>
                <a:lnTo>
                  <a:pt x="272" y="631"/>
                </a:lnTo>
                <a:lnTo>
                  <a:pt x="280" y="638"/>
                </a:lnTo>
                <a:lnTo>
                  <a:pt x="287" y="644"/>
                </a:lnTo>
                <a:lnTo>
                  <a:pt x="296" y="649"/>
                </a:lnTo>
                <a:lnTo>
                  <a:pt x="305" y="654"/>
                </a:lnTo>
                <a:lnTo>
                  <a:pt x="315" y="658"/>
                </a:lnTo>
                <a:lnTo>
                  <a:pt x="325" y="660"/>
                </a:lnTo>
                <a:lnTo>
                  <a:pt x="335" y="662"/>
                </a:lnTo>
                <a:lnTo>
                  <a:pt x="346" y="662"/>
                </a:lnTo>
                <a:lnTo>
                  <a:pt x="357" y="662"/>
                </a:lnTo>
                <a:lnTo>
                  <a:pt x="367" y="660"/>
                </a:lnTo>
                <a:lnTo>
                  <a:pt x="377" y="658"/>
                </a:lnTo>
                <a:lnTo>
                  <a:pt x="387" y="653"/>
                </a:lnTo>
                <a:lnTo>
                  <a:pt x="396" y="649"/>
                </a:lnTo>
                <a:lnTo>
                  <a:pt x="405" y="644"/>
                </a:lnTo>
                <a:lnTo>
                  <a:pt x="414" y="638"/>
                </a:lnTo>
                <a:lnTo>
                  <a:pt x="421" y="631"/>
                </a:lnTo>
                <a:lnTo>
                  <a:pt x="428" y="623"/>
                </a:lnTo>
                <a:lnTo>
                  <a:pt x="434" y="616"/>
                </a:lnTo>
                <a:lnTo>
                  <a:pt x="438" y="607"/>
                </a:lnTo>
                <a:lnTo>
                  <a:pt x="444" y="598"/>
                </a:lnTo>
                <a:lnTo>
                  <a:pt x="447" y="588"/>
                </a:lnTo>
                <a:lnTo>
                  <a:pt x="449" y="578"/>
                </a:lnTo>
                <a:lnTo>
                  <a:pt x="451" y="568"/>
                </a:lnTo>
                <a:lnTo>
                  <a:pt x="451" y="557"/>
                </a:lnTo>
                <a:lnTo>
                  <a:pt x="451" y="548"/>
                </a:lnTo>
                <a:lnTo>
                  <a:pt x="450" y="540"/>
                </a:lnTo>
                <a:lnTo>
                  <a:pt x="448" y="531"/>
                </a:lnTo>
                <a:lnTo>
                  <a:pt x="446" y="522"/>
                </a:lnTo>
                <a:lnTo>
                  <a:pt x="443" y="515"/>
                </a:lnTo>
                <a:lnTo>
                  <a:pt x="439" y="507"/>
                </a:lnTo>
                <a:lnTo>
                  <a:pt x="435" y="501"/>
                </a:lnTo>
                <a:lnTo>
                  <a:pt x="431" y="494"/>
                </a:lnTo>
                <a:lnTo>
                  <a:pt x="494" y="429"/>
                </a:lnTo>
                <a:lnTo>
                  <a:pt x="505" y="443"/>
                </a:lnTo>
                <a:lnTo>
                  <a:pt x="514" y="457"/>
                </a:lnTo>
                <a:lnTo>
                  <a:pt x="522" y="472"/>
                </a:lnTo>
                <a:lnTo>
                  <a:pt x="529" y="488"/>
                </a:lnTo>
                <a:lnTo>
                  <a:pt x="535" y="504"/>
                </a:lnTo>
                <a:lnTo>
                  <a:pt x="538" y="521"/>
                </a:lnTo>
                <a:lnTo>
                  <a:pt x="541" y="539"/>
                </a:lnTo>
                <a:lnTo>
                  <a:pt x="542" y="557"/>
                </a:lnTo>
                <a:lnTo>
                  <a:pt x="541" y="577"/>
                </a:lnTo>
                <a:lnTo>
                  <a:pt x="538" y="596"/>
                </a:lnTo>
                <a:lnTo>
                  <a:pt x="533" y="615"/>
                </a:lnTo>
                <a:lnTo>
                  <a:pt x="526" y="633"/>
                </a:lnTo>
                <a:lnTo>
                  <a:pt x="518" y="650"/>
                </a:lnTo>
                <a:lnTo>
                  <a:pt x="508" y="666"/>
                </a:lnTo>
                <a:lnTo>
                  <a:pt x="497" y="681"/>
                </a:lnTo>
                <a:lnTo>
                  <a:pt x="484" y="695"/>
                </a:lnTo>
                <a:lnTo>
                  <a:pt x="470" y="708"/>
                </a:lnTo>
                <a:lnTo>
                  <a:pt x="455" y="719"/>
                </a:lnTo>
                <a:lnTo>
                  <a:pt x="439" y="728"/>
                </a:lnTo>
                <a:lnTo>
                  <a:pt x="422" y="737"/>
                </a:lnTo>
                <a:lnTo>
                  <a:pt x="404" y="743"/>
                </a:lnTo>
                <a:lnTo>
                  <a:pt x="386" y="749"/>
                </a:lnTo>
                <a:lnTo>
                  <a:pt x="366" y="752"/>
                </a:lnTo>
                <a:lnTo>
                  <a:pt x="346" y="752"/>
                </a:lnTo>
                <a:lnTo>
                  <a:pt x="326" y="751"/>
                </a:lnTo>
                <a:lnTo>
                  <a:pt x="306" y="749"/>
                </a:lnTo>
                <a:lnTo>
                  <a:pt x="288" y="743"/>
                </a:lnTo>
                <a:lnTo>
                  <a:pt x="270" y="737"/>
                </a:lnTo>
                <a:lnTo>
                  <a:pt x="253" y="728"/>
                </a:lnTo>
                <a:lnTo>
                  <a:pt x="237" y="719"/>
                </a:lnTo>
                <a:lnTo>
                  <a:pt x="222" y="708"/>
                </a:lnTo>
                <a:lnTo>
                  <a:pt x="208" y="695"/>
                </a:lnTo>
                <a:lnTo>
                  <a:pt x="195" y="681"/>
                </a:lnTo>
                <a:lnTo>
                  <a:pt x="184" y="666"/>
                </a:lnTo>
                <a:lnTo>
                  <a:pt x="174" y="650"/>
                </a:lnTo>
                <a:lnTo>
                  <a:pt x="166" y="633"/>
                </a:lnTo>
                <a:lnTo>
                  <a:pt x="159" y="615"/>
                </a:lnTo>
                <a:lnTo>
                  <a:pt x="154" y="596"/>
                </a:lnTo>
                <a:lnTo>
                  <a:pt x="152" y="577"/>
                </a:lnTo>
                <a:lnTo>
                  <a:pt x="151" y="557"/>
                </a:lnTo>
                <a:lnTo>
                  <a:pt x="152" y="536"/>
                </a:lnTo>
                <a:lnTo>
                  <a:pt x="154" y="517"/>
                </a:lnTo>
                <a:lnTo>
                  <a:pt x="159" y="499"/>
                </a:lnTo>
                <a:lnTo>
                  <a:pt x="166" y="481"/>
                </a:lnTo>
                <a:lnTo>
                  <a:pt x="174" y="464"/>
                </a:lnTo>
                <a:lnTo>
                  <a:pt x="184" y="447"/>
                </a:lnTo>
                <a:lnTo>
                  <a:pt x="195" y="432"/>
                </a:lnTo>
                <a:lnTo>
                  <a:pt x="208" y="418"/>
                </a:lnTo>
                <a:lnTo>
                  <a:pt x="222" y="406"/>
                </a:lnTo>
                <a:lnTo>
                  <a:pt x="237" y="395"/>
                </a:lnTo>
                <a:lnTo>
                  <a:pt x="253" y="385"/>
                </a:lnTo>
                <a:lnTo>
                  <a:pt x="270" y="377"/>
                </a:lnTo>
                <a:lnTo>
                  <a:pt x="288" y="370"/>
                </a:lnTo>
                <a:lnTo>
                  <a:pt x="306" y="365"/>
                </a:lnTo>
                <a:lnTo>
                  <a:pt x="326" y="362"/>
                </a:lnTo>
                <a:lnTo>
                  <a:pt x="346" y="362"/>
                </a:lnTo>
                <a:lnTo>
                  <a:pt x="364" y="362"/>
                </a:lnTo>
                <a:lnTo>
                  <a:pt x="381" y="365"/>
                </a:lnTo>
                <a:lnTo>
                  <a:pt x="399" y="368"/>
                </a:lnTo>
                <a:lnTo>
                  <a:pt x="415" y="373"/>
                </a:lnTo>
                <a:lnTo>
                  <a:pt x="431" y="381"/>
                </a:lnTo>
                <a:lnTo>
                  <a:pt x="446" y="388"/>
                </a:lnTo>
                <a:lnTo>
                  <a:pt x="460" y="398"/>
                </a:lnTo>
                <a:lnTo>
                  <a:pt x="474" y="409"/>
                </a:lnTo>
                <a:lnTo>
                  <a:pt x="409" y="472"/>
                </a:lnTo>
                <a:close/>
                <a:moveTo>
                  <a:pt x="421" y="557"/>
                </a:moveTo>
                <a:lnTo>
                  <a:pt x="421" y="564"/>
                </a:lnTo>
                <a:lnTo>
                  <a:pt x="420" y="572"/>
                </a:lnTo>
                <a:lnTo>
                  <a:pt x="418" y="579"/>
                </a:lnTo>
                <a:lnTo>
                  <a:pt x="416" y="586"/>
                </a:lnTo>
                <a:lnTo>
                  <a:pt x="413" y="592"/>
                </a:lnTo>
                <a:lnTo>
                  <a:pt x="408" y="599"/>
                </a:lnTo>
                <a:lnTo>
                  <a:pt x="404" y="605"/>
                </a:lnTo>
                <a:lnTo>
                  <a:pt x="400" y="610"/>
                </a:lnTo>
                <a:lnTo>
                  <a:pt x="394" y="615"/>
                </a:lnTo>
                <a:lnTo>
                  <a:pt x="388" y="619"/>
                </a:lnTo>
                <a:lnTo>
                  <a:pt x="382" y="623"/>
                </a:lnTo>
                <a:lnTo>
                  <a:pt x="375" y="627"/>
                </a:lnTo>
                <a:lnTo>
                  <a:pt x="369" y="629"/>
                </a:lnTo>
                <a:lnTo>
                  <a:pt x="361" y="631"/>
                </a:lnTo>
                <a:lnTo>
                  <a:pt x="354" y="632"/>
                </a:lnTo>
                <a:lnTo>
                  <a:pt x="346" y="632"/>
                </a:lnTo>
                <a:lnTo>
                  <a:pt x="339" y="632"/>
                </a:lnTo>
                <a:lnTo>
                  <a:pt x="331" y="631"/>
                </a:lnTo>
                <a:lnTo>
                  <a:pt x="324" y="629"/>
                </a:lnTo>
                <a:lnTo>
                  <a:pt x="317" y="627"/>
                </a:lnTo>
                <a:lnTo>
                  <a:pt x="311" y="623"/>
                </a:lnTo>
                <a:lnTo>
                  <a:pt x="304" y="619"/>
                </a:lnTo>
                <a:lnTo>
                  <a:pt x="298" y="615"/>
                </a:lnTo>
                <a:lnTo>
                  <a:pt x="292" y="610"/>
                </a:lnTo>
                <a:lnTo>
                  <a:pt x="288" y="605"/>
                </a:lnTo>
                <a:lnTo>
                  <a:pt x="284" y="599"/>
                </a:lnTo>
                <a:lnTo>
                  <a:pt x="280" y="592"/>
                </a:lnTo>
                <a:lnTo>
                  <a:pt x="276" y="586"/>
                </a:lnTo>
                <a:lnTo>
                  <a:pt x="274" y="579"/>
                </a:lnTo>
                <a:lnTo>
                  <a:pt x="272" y="572"/>
                </a:lnTo>
                <a:lnTo>
                  <a:pt x="271" y="564"/>
                </a:lnTo>
                <a:lnTo>
                  <a:pt x="271" y="557"/>
                </a:lnTo>
                <a:lnTo>
                  <a:pt x="271" y="549"/>
                </a:lnTo>
                <a:lnTo>
                  <a:pt x="272" y="542"/>
                </a:lnTo>
                <a:lnTo>
                  <a:pt x="274" y="534"/>
                </a:lnTo>
                <a:lnTo>
                  <a:pt x="276" y="528"/>
                </a:lnTo>
                <a:lnTo>
                  <a:pt x="280" y="521"/>
                </a:lnTo>
                <a:lnTo>
                  <a:pt x="284" y="515"/>
                </a:lnTo>
                <a:lnTo>
                  <a:pt x="288" y="509"/>
                </a:lnTo>
                <a:lnTo>
                  <a:pt x="292" y="503"/>
                </a:lnTo>
                <a:lnTo>
                  <a:pt x="298" y="499"/>
                </a:lnTo>
                <a:lnTo>
                  <a:pt x="304" y="495"/>
                </a:lnTo>
                <a:lnTo>
                  <a:pt x="311" y="490"/>
                </a:lnTo>
                <a:lnTo>
                  <a:pt x="317" y="487"/>
                </a:lnTo>
                <a:lnTo>
                  <a:pt x="324" y="485"/>
                </a:lnTo>
                <a:lnTo>
                  <a:pt x="331" y="483"/>
                </a:lnTo>
                <a:lnTo>
                  <a:pt x="339" y="482"/>
                </a:lnTo>
                <a:lnTo>
                  <a:pt x="346" y="482"/>
                </a:lnTo>
                <a:lnTo>
                  <a:pt x="358" y="483"/>
                </a:lnTo>
                <a:lnTo>
                  <a:pt x="369" y="485"/>
                </a:lnTo>
                <a:lnTo>
                  <a:pt x="378" y="489"/>
                </a:lnTo>
                <a:lnTo>
                  <a:pt x="388" y="494"/>
                </a:lnTo>
                <a:lnTo>
                  <a:pt x="354" y="528"/>
                </a:lnTo>
                <a:lnTo>
                  <a:pt x="350" y="527"/>
                </a:lnTo>
                <a:lnTo>
                  <a:pt x="346" y="527"/>
                </a:lnTo>
                <a:lnTo>
                  <a:pt x="340" y="527"/>
                </a:lnTo>
                <a:lnTo>
                  <a:pt x="334" y="529"/>
                </a:lnTo>
                <a:lnTo>
                  <a:pt x="329" y="532"/>
                </a:lnTo>
                <a:lnTo>
                  <a:pt x="325" y="535"/>
                </a:lnTo>
                <a:lnTo>
                  <a:pt x="321" y="540"/>
                </a:lnTo>
                <a:lnTo>
                  <a:pt x="318" y="545"/>
                </a:lnTo>
                <a:lnTo>
                  <a:pt x="317" y="550"/>
                </a:lnTo>
                <a:lnTo>
                  <a:pt x="316" y="557"/>
                </a:lnTo>
                <a:lnTo>
                  <a:pt x="317" y="563"/>
                </a:lnTo>
                <a:lnTo>
                  <a:pt x="318" y="569"/>
                </a:lnTo>
                <a:lnTo>
                  <a:pt x="321" y="574"/>
                </a:lnTo>
                <a:lnTo>
                  <a:pt x="325" y="578"/>
                </a:lnTo>
                <a:lnTo>
                  <a:pt x="329" y="581"/>
                </a:lnTo>
                <a:lnTo>
                  <a:pt x="334" y="585"/>
                </a:lnTo>
                <a:lnTo>
                  <a:pt x="340" y="586"/>
                </a:lnTo>
                <a:lnTo>
                  <a:pt x="346" y="587"/>
                </a:lnTo>
                <a:lnTo>
                  <a:pt x="352" y="586"/>
                </a:lnTo>
                <a:lnTo>
                  <a:pt x="358" y="585"/>
                </a:lnTo>
                <a:lnTo>
                  <a:pt x="363" y="581"/>
                </a:lnTo>
                <a:lnTo>
                  <a:pt x="367" y="578"/>
                </a:lnTo>
                <a:lnTo>
                  <a:pt x="371" y="574"/>
                </a:lnTo>
                <a:lnTo>
                  <a:pt x="374" y="569"/>
                </a:lnTo>
                <a:lnTo>
                  <a:pt x="376" y="563"/>
                </a:lnTo>
                <a:lnTo>
                  <a:pt x="376" y="557"/>
                </a:lnTo>
                <a:lnTo>
                  <a:pt x="376" y="553"/>
                </a:lnTo>
                <a:lnTo>
                  <a:pt x="375" y="549"/>
                </a:lnTo>
                <a:lnTo>
                  <a:pt x="409" y="515"/>
                </a:lnTo>
                <a:lnTo>
                  <a:pt x="414" y="525"/>
                </a:lnTo>
                <a:lnTo>
                  <a:pt x="418" y="534"/>
                </a:lnTo>
                <a:lnTo>
                  <a:pt x="420" y="545"/>
                </a:lnTo>
                <a:lnTo>
                  <a:pt x="421" y="557"/>
                </a:lnTo>
                <a:close/>
                <a:moveTo>
                  <a:pt x="662" y="557"/>
                </a:moveTo>
                <a:lnTo>
                  <a:pt x="661" y="573"/>
                </a:lnTo>
                <a:lnTo>
                  <a:pt x="660" y="589"/>
                </a:lnTo>
                <a:lnTo>
                  <a:pt x="658" y="605"/>
                </a:lnTo>
                <a:lnTo>
                  <a:pt x="656" y="620"/>
                </a:lnTo>
                <a:lnTo>
                  <a:pt x="653" y="636"/>
                </a:lnTo>
                <a:lnTo>
                  <a:pt x="648" y="651"/>
                </a:lnTo>
                <a:lnTo>
                  <a:pt x="643" y="665"/>
                </a:lnTo>
                <a:lnTo>
                  <a:pt x="638" y="680"/>
                </a:lnTo>
                <a:lnTo>
                  <a:pt x="631" y="694"/>
                </a:lnTo>
                <a:lnTo>
                  <a:pt x="624" y="707"/>
                </a:lnTo>
                <a:lnTo>
                  <a:pt x="616" y="721"/>
                </a:lnTo>
                <a:lnTo>
                  <a:pt x="608" y="734"/>
                </a:lnTo>
                <a:lnTo>
                  <a:pt x="599" y="746"/>
                </a:lnTo>
                <a:lnTo>
                  <a:pt x="589" y="757"/>
                </a:lnTo>
                <a:lnTo>
                  <a:pt x="580" y="769"/>
                </a:lnTo>
                <a:lnTo>
                  <a:pt x="569" y="780"/>
                </a:lnTo>
                <a:lnTo>
                  <a:pt x="558" y="791"/>
                </a:lnTo>
                <a:lnTo>
                  <a:pt x="547" y="800"/>
                </a:lnTo>
                <a:lnTo>
                  <a:pt x="535" y="810"/>
                </a:lnTo>
                <a:lnTo>
                  <a:pt x="523" y="818"/>
                </a:lnTo>
                <a:lnTo>
                  <a:pt x="510" y="827"/>
                </a:lnTo>
                <a:lnTo>
                  <a:pt x="496" y="835"/>
                </a:lnTo>
                <a:lnTo>
                  <a:pt x="483" y="842"/>
                </a:lnTo>
                <a:lnTo>
                  <a:pt x="469" y="848"/>
                </a:lnTo>
                <a:lnTo>
                  <a:pt x="454" y="854"/>
                </a:lnTo>
                <a:lnTo>
                  <a:pt x="440" y="858"/>
                </a:lnTo>
                <a:lnTo>
                  <a:pt x="425" y="862"/>
                </a:lnTo>
                <a:lnTo>
                  <a:pt x="409" y="867"/>
                </a:lnTo>
                <a:lnTo>
                  <a:pt x="394" y="869"/>
                </a:lnTo>
                <a:lnTo>
                  <a:pt x="378" y="871"/>
                </a:lnTo>
                <a:lnTo>
                  <a:pt x="362" y="872"/>
                </a:lnTo>
                <a:lnTo>
                  <a:pt x="346" y="873"/>
                </a:lnTo>
                <a:lnTo>
                  <a:pt x="330" y="872"/>
                </a:lnTo>
                <a:lnTo>
                  <a:pt x="314" y="871"/>
                </a:lnTo>
                <a:lnTo>
                  <a:pt x="298" y="869"/>
                </a:lnTo>
                <a:lnTo>
                  <a:pt x="283" y="867"/>
                </a:lnTo>
                <a:lnTo>
                  <a:pt x="267" y="862"/>
                </a:lnTo>
                <a:lnTo>
                  <a:pt x="253" y="858"/>
                </a:lnTo>
                <a:lnTo>
                  <a:pt x="238" y="854"/>
                </a:lnTo>
                <a:lnTo>
                  <a:pt x="223" y="848"/>
                </a:lnTo>
                <a:lnTo>
                  <a:pt x="209" y="842"/>
                </a:lnTo>
                <a:lnTo>
                  <a:pt x="196" y="835"/>
                </a:lnTo>
                <a:lnTo>
                  <a:pt x="182" y="827"/>
                </a:lnTo>
                <a:lnTo>
                  <a:pt x="169" y="818"/>
                </a:lnTo>
                <a:lnTo>
                  <a:pt x="157" y="810"/>
                </a:lnTo>
                <a:lnTo>
                  <a:pt x="145" y="800"/>
                </a:lnTo>
                <a:lnTo>
                  <a:pt x="134" y="791"/>
                </a:lnTo>
                <a:lnTo>
                  <a:pt x="123" y="780"/>
                </a:lnTo>
                <a:lnTo>
                  <a:pt x="112" y="769"/>
                </a:lnTo>
                <a:lnTo>
                  <a:pt x="103" y="757"/>
                </a:lnTo>
                <a:lnTo>
                  <a:pt x="93" y="746"/>
                </a:lnTo>
                <a:lnTo>
                  <a:pt x="84" y="734"/>
                </a:lnTo>
                <a:lnTo>
                  <a:pt x="76" y="721"/>
                </a:lnTo>
                <a:lnTo>
                  <a:pt x="68" y="707"/>
                </a:lnTo>
                <a:lnTo>
                  <a:pt x="61" y="694"/>
                </a:lnTo>
                <a:lnTo>
                  <a:pt x="55" y="680"/>
                </a:lnTo>
                <a:lnTo>
                  <a:pt x="49" y="665"/>
                </a:lnTo>
                <a:lnTo>
                  <a:pt x="45" y="651"/>
                </a:lnTo>
                <a:lnTo>
                  <a:pt x="40" y="636"/>
                </a:lnTo>
                <a:lnTo>
                  <a:pt x="36" y="620"/>
                </a:lnTo>
                <a:lnTo>
                  <a:pt x="34" y="605"/>
                </a:lnTo>
                <a:lnTo>
                  <a:pt x="32" y="589"/>
                </a:lnTo>
                <a:lnTo>
                  <a:pt x="31" y="573"/>
                </a:lnTo>
                <a:lnTo>
                  <a:pt x="30" y="557"/>
                </a:lnTo>
                <a:lnTo>
                  <a:pt x="31" y="541"/>
                </a:lnTo>
                <a:lnTo>
                  <a:pt x="32" y="525"/>
                </a:lnTo>
                <a:lnTo>
                  <a:pt x="34" y="509"/>
                </a:lnTo>
                <a:lnTo>
                  <a:pt x="36" y="494"/>
                </a:lnTo>
                <a:lnTo>
                  <a:pt x="40" y="477"/>
                </a:lnTo>
                <a:lnTo>
                  <a:pt x="45" y="462"/>
                </a:lnTo>
                <a:lnTo>
                  <a:pt x="49" y="448"/>
                </a:lnTo>
                <a:lnTo>
                  <a:pt x="55" y="433"/>
                </a:lnTo>
                <a:lnTo>
                  <a:pt x="61" y="420"/>
                </a:lnTo>
                <a:lnTo>
                  <a:pt x="68" y="407"/>
                </a:lnTo>
                <a:lnTo>
                  <a:pt x="76" y="393"/>
                </a:lnTo>
                <a:lnTo>
                  <a:pt x="84" y="380"/>
                </a:lnTo>
                <a:lnTo>
                  <a:pt x="93" y="368"/>
                </a:lnTo>
                <a:lnTo>
                  <a:pt x="103" y="356"/>
                </a:lnTo>
                <a:lnTo>
                  <a:pt x="112" y="344"/>
                </a:lnTo>
                <a:lnTo>
                  <a:pt x="123" y="334"/>
                </a:lnTo>
                <a:lnTo>
                  <a:pt x="134" y="323"/>
                </a:lnTo>
                <a:lnTo>
                  <a:pt x="145" y="313"/>
                </a:lnTo>
                <a:lnTo>
                  <a:pt x="157" y="304"/>
                </a:lnTo>
                <a:lnTo>
                  <a:pt x="169" y="295"/>
                </a:lnTo>
                <a:lnTo>
                  <a:pt x="182" y="287"/>
                </a:lnTo>
                <a:lnTo>
                  <a:pt x="196" y="279"/>
                </a:lnTo>
                <a:lnTo>
                  <a:pt x="209" y="272"/>
                </a:lnTo>
                <a:lnTo>
                  <a:pt x="223" y="265"/>
                </a:lnTo>
                <a:lnTo>
                  <a:pt x="238" y="260"/>
                </a:lnTo>
                <a:lnTo>
                  <a:pt x="253" y="255"/>
                </a:lnTo>
                <a:lnTo>
                  <a:pt x="267" y="251"/>
                </a:lnTo>
                <a:lnTo>
                  <a:pt x="283" y="247"/>
                </a:lnTo>
                <a:lnTo>
                  <a:pt x="298" y="245"/>
                </a:lnTo>
                <a:lnTo>
                  <a:pt x="314" y="243"/>
                </a:lnTo>
                <a:lnTo>
                  <a:pt x="330" y="242"/>
                </a:lnTo>
                <a:lnTo>
                  <a:pt x="346" y="240"/>
                </a:lnTo>
                <a:lnTo>
                  <a:pt x="361" y="242"/>
                </a:lnTo>
                <a:lnTo>
                  <a:pt x="376" y="243"/>
                </a:lnTo>
                <a:lnTo>
                  <a:pt x="391" y="244"/>
                </a:lnTo>
                <a:lnTo>
                  <a:pt x="406" y="247"/>
                </a:lnTo>
                <a:lnTo>
                  <a:pt x="420" y="250"/>
                </a:lnTo>
                <a:lnTo>
                  <a:pt x="434" y="253"/>
                </a:lnTo>
                <a:lnTo>
                  <a:pt x="448" y="258"/>
                </a:lnTo>
                <a:lnTo>
                  <a:pt x="462" y="263"/>
                </a:lnTo>
                <a:lnTo>
                  <a:pt x="475" y="268"/>
                </a:lnTo>
                <a:lnTo>
                  <a:pt x="488" y="275"/>
                </a:lnTo>
                <a:lnTo>
                  <a:pt x="500" y="281"/>
                </a:lnTo>
                <a:lnTo>
                  <a:pt x="513" y="289"/>
                </a:lnTo>
                <a:lnTo>
                  <a:pt x="525" y="296"/>
                </a:lnTo>
                <a:lnTo>
                  <a:pt x="537" y="305"/>
                </a:lnTo>
                <a:lnTo>
                  <a:pt x="548" y="313"/>
                </a:lnTo>
                <a:lnTo>
                  <a:pt x="558" y="323"/>
                </a:lnTo>
                <a:lnTo>
                  <a:pt x="494" y="387"/>
                </a:lnTo>
                <a:lnTo>
                  <a:pt x="479" y="375"/>
                </a:lnTo>
                <a:lnTo>
                  <a:pt x="463" y="364"/>
                </a:lnTo>
                <a:lnTo>
                  <a:pt x="445" y="354"/>
                </a:lnTo>
                <a:lnTo>
                  <a:pt x="426" y="346"/>
                </a:lnTo>
                <a:lnTo>
                  <a:pt x="407" y="339"/>
                </a:lnTo>
                <a:lnTo>
                  <a:pt x="388" y="335"/>
                </a:lnTo>
                <a:lnTo>
                  <a:pt x="367" y="332"/>
                </a:lnTo>
                <a:lnTo>
                  <a:pt x="346" y="331"/>
                </a:lnTo>
                <a:lnTo>
                  <a:pt x="334" y="332"/>
                </a:lnTo>
                <a:lnTo>
                  <a:pt x="324" y="333"/>
                </a:lnTo>
                <a:lnTo>
                  <a:pt x="312" y="334"/>
                </a:lnTo>
                <a:lnTo>
                  <a:pt x="301" y="336"/>
                </a:lnTo>
                <a:lnTo>
                  <a:pt x="290" y="338"/>
                </a:lnTo>
                <a:lnTo>
                  <a:pt x="280" y="341"/>
                </a:lnTo>
                <a:lnTo>
                  <a:pt x="269" y="344"/>
                </a:lnTo>
                <a:lnTo>
                  <a:pt x="258" y="349"/>
                </a:lnTo>
                <a:lnTo>
                  <a:pt x="239" y="358"/>
                </a:lnTo>
                <a:lnTo>
                  <a:pt x="219" y="369"/>
                </a:lnTo>
                <a:lnTo>
                  <a:pt x="202" y="383"/>
                </a:lnTo>
                <a:lnTo>
                  <a:pt x="186" y="397"/>
                </a:lnTo>
                <a:lnTo>
                  <a:pt x="172" y="413"/>
                </a:lnTo>
                <a:lnTo>
                  <a:pt x="159" y="430"/>
                </a:lnTo>
                <a:lnTo>
                  <a:pt x="148" y="450"/>
                </a:lnTo>
                <a:lnTo>
                  <a:pt x="138" y="469"/>
                </a:lnTo>
                <a:lnTo>
                  <a:pt x="134" y="480"/>
                </a:lnTo>
                <a:lnTo>
                  <a:pt x="130" y="489"/>
                </a:lnTo>
                <a:lnTo>
                  <a:pt x="127" y="500"/>
                </a:lnTo>
                <a:lnTo>
                  <a:pt x="125" y="512"/>
                </a:lnTo>
                <a:lnTo>
                  <a:pt x="123" y="522"/>
                </a:lnTo>
                <a:lnTo>
                  <a:pt x="122" y="534"/>
                </a:lnTo>
                <a:lnTo>
                  <a:pt x="121" y="545"/>
                </a:lnTo>
                <a:lnTo>
                  <a:pt x="121" y="557"/>
                </a:lnTo>
                <a:lnTo>
                  <a:pt x="121" y="569"/>
                </a:lnTo>
                <a:lnTo>
                  <a:pt x="122" y="579"/>
                </a:lnTo>
                <a:lnTo>
                  <a:pt x="123" y="591"/>
                </a:lnTo>
                <a:lnTo>
                  <a:pt x="125" y="602"/>
                </a:lnTo>
                <a:lnTo>
                  <a:pt x="127" y="614"/>
                </a:lnTo>
                <a:lnTo>
                  <a:pt x="130" y="624"/>
                </a:lnTo>
                <a:lnTo>
                  <a:pt x="134" y="634"/>
                </a:lnTo>
                <a:lnTo>
                  <a:pt x="138" y="645"/>
                </a:lnTo>
                <a:lnTo>
                  <a:pt x="148" y="664"/>
                </a:lnTo>
                <a:lnTo>
                  <a:pt x="159" y="683"/>
                </a:lnTo>
                <a:lnTo>
                  <a:pt x="172" y="700"/>
                </a:lnTo>
                <a:lnTo>
                  <a:pt x="186" y="717"/>
                </a:lnTo>
                <a:lnTo>
                  <a:pt x="202" y="731"/>
                </a:lnTo>
                <a:lnTo>
                  <a:pt x="219" y="743"/>
                </a:lnTo>
                <a:lnTo>
                  <a:pt x="239" y="755"/>
                </a:lnTo>
                <a:lnTo>
                  <a:pt x="258" y="765"/>
                </a:lnTo>
                <a:lnTo>
                  <a:pt x="269" y="769"/>
                </a:lnTo>
                <a:lnTo>
                  <a:pt x="280" y="772"/>
                </a:lnTo>
                <a:lnTo>
                  <a:pt x="290" y="776"/>
                </a:lnTo>
                <a:lnTo>
                  <a:pt x="301" y="778"/>
                </a:lnTo>
                <a:lnTo>
                  <a:pt x="312" y="780"/>
                </a:lnTo>
                <a:lnTo>
                  <a:pt x="324" y="781"/>
                </a:lnTo>
                <a:lnTo>
                  <a:pt x="334" y="782"/>
                </a:lnTo>
                <a:lnTo>
                  <a:pt x="346" y="783"/>
                </a:lnTo>
                <a:lnTo>
                  <a:pt x="358" y="782"/>
                </a:lnTo>
                <a:lnTo>
                  <a:pt x="370" y="781"/>
                </a:lnTo>
                <a:lnTo>
                  <a:pt x="380" y="780"/>
                </a:lnTo>
                <a:lnTo>
                  <a:pt x="391" y="778"/>
                </a:lnTo>
                <a:lnTo>
                  <a:pt x="403" y="776"/>
                </a:lnTo>
                <a:lnTo>
                  <a:pt x="414" y="772"/>
                </a:lnTo>
                <a:lnTo>
                  <a:pt x="423" y="769"/>
                </a:lnTo>
                <a:lnTo>
                  <a:pt x="434" y="765"/>
                </a:lnTo>
                <a:lnTo>
                  <a:pt x="453" y="755"/>
                </a:lnTo>
                <a:lnTo>
                  <a:pt x="473" y="744"/>
                </a:lnTo>
                <a:lnTo>
                  <a:pt x="490" y="731"/>
                </a:lnTo>
                <a:lnTo>
                  <a:pt x="506" y="717"/>
                </a:lnTo>
                <a:lnTo>
                  <a:pt x="520" y="700"/>
                </a:lnTo>
                <a:lnTo>
                  <a:pt x="534" y="683"/>
                </a:lnTo>
                <a:lnTo>
                  <a:pt x="544" y="664"/>
                </a:lnTo>
                <a:lnTo>
                  <a:pt x="554" y="645"/>
                </a:lnTo>
                <a:lnTo>
                  <a:pt x="558" y="634"/>
                </a:lnTo>
                <a:lnTo>
                  <a:pt x="562" y="624"/>
                </a:lnTo>
                <a:lnTo>
                  <a:pt x="565" y="614"/>
                </a:lnTo>
                <a:lnTo>
                  <a:pt x="567" y="602"/>
                </a:lnTo>
                <a:lnTo>
                  <a:pt x="569" y="591"/>
                </a:lnTo>
                <a:lnTo>
                  <a:pt x="570" y="579"/>
                </a:lnTo>
                <a:lnTo>
                  <a:pt x="571" y="569"/>
                </a:lnTo>
                <a:lnTo>
                  <a:pt x="572" y="557"/>
                </a:lnTo>
                <a:lnTo>
                  <a:pt x="571" y="535"/>
                </a:lnTo>
                <a:lnTo>
                  <a:pt x="568" y="515"/>
                </a:lnTo>
                <a:lnTo>
                  <a:pt x="564" y="496"/>
                </a:lnTo>
                <a:lnTo>
                  <a:pt x="557" y="476"/>
                </a:lnTo>
                <a:lnTo>
                  <a:pt x="549" y="458"/>
                </a:lnTo>
                <a:lnTo>
                  <a:pt x="539" y="440"/>
                </a:lnTo>
                <a:lnTo>
                  <a:pt x="528" y="424"/>
                </a:lnTo>
                <a:lnTo>
                  <a:pt x="515" y="409"/>
                </a:lnTo>
                <a:lnTo>
                  <a:pt x="580" y="344"/>
                </a:lnTo>
                <a:lnTo>
                  <a:pt x="588" y="355"/>
                </a:lnTo>
                <a:lnTo>
                  <a:pt x="598" y="366"/>
                </a:lnTo>
                <a:lnTo>
                  <a:pt x="607" y="378"/>
                </a:lnTo>
                <a:lnTo>
                  <a:pt x="614" y="390"/>
                </a:lnTo>
                <a:lnTo>
                  <a:pt x="622" y="402"/>
                </a:lnTo>
                <a:lnTo>
                  <a:pt x="628" y="415"/>
                </a:lnTo>
                <a:lnTo>
                  <a:pt x="635" y="428"/>
                </a:lnTo>
                <a:lnTo>
                  <a:pt x="640" y="441"/>
                </a:lnTo>
                <a:lnTo>
                  <a:pt x="645" y="455"/>
                </a:lnTo>
                <a:lnTo>
                  <a:pt x="650" y="469"/>
                </a:lnTo>
                <a:lnTo>
                  <a:pt x="654" y="483"/>
                </a:lnTo>
                <a:lnTo>
                  <a:pt x="656" y="497"/>
                </a:lnTo>
                <a:lnTo>
                  <a:pt x="659" y="512"/>
                </a:lnTo>
                <a:lnTo>
                  <a:pt x="660" y="527"/>
                </a:lnTo>
                <a:lnTo>
                  <a:pt x="661" y="542"/>
                </a:lnTo>
                <a:lnTo>
                  <a:pt x="662" y="557"/>
                </a:lnTo>
                <a:close/>
                <a:moveTo>
                  <a:pt x="608" y="173"/>
                </a:moveTo>
                <a:lnTo>
                  <a:pt x="610" y="166"/>
                </a:lnTo>
                <a:lnTo>
                  <a:pt x="612" y="159"/>
                </a:lnTo>
                <a:lnTo>
                  <a:pt x="615" y="153"/>
                </a:lnTo>
                <a:lnTo>
                  <a:pt x="620" y="146"/>
                </a:lnTo>
                <a:lnTo>
                  <a:pt x="628" y="134"/>
                </a:lnTo>
                <a:lnTo>
                  <a:pt x="639" y="123"/>
                </a:lnTo>
                <a:lnTo>
                  <a:pt x="651" y="111"/>
                </a:lnTo>
                <a:lnTo>
                  <a:pt x="663" y="100"/>
                </a:lnTo>
                <a:lnTo>
                  <a:pt x="677" y="90"/>
                </a:lnTo>
                <a:lnTo>
                  <a:pt x="692" y="81"/>
                </a:lnTo>
                <a:lnTo>
                  <a:pt x="692" y="189"/>
                </a:lnTo>
                <a:lnTo>
                  <a:pt x="632" y="249"/>
                </a:lnTo>
                <a:lnTo>
                  <a:pt x="625" y="239"/>
                </a:lnTo>
                <a:lnTo>
                  <a:pt x="618" y="230"/>
                </a:lnTo>
                <a:lnTo>
                  <a:pt x="613" y="220"/>
                </a:lnTo>
                <a:lnTo>
                  <a:pt x="610" y="210"/>
                </a:lnTo>
                <a:lnTo>
                  <a:pt x="607" y="201"/>
                </a:lnTo>
                <a:lnTo>
                  <a:pt x="606" y="191"/>
                </a:lnTo>
                <a:lnTo>
                  <a:pt x="607" y="183"/>
                </a:lnTo>
                <a:lnTo>
                  <a:pt x="608" y="173"/>
                </a:lnTo>
                <a:close/>
                <a:moveTo>
                  <a:pt x="783" y="99"/>
                </a:moveTo>
                <a:lnTo>
                  <a:pt x="722" y="159"/>
                </a:lnTo>
                <a:lnTo>
                  <a:pt x="722" y="64"/>
                </a:lnTo>
                <a:lnTo>
                  <a:pt x="740" y="55"/>
                </a:lnTo>
                <a:lnTo>
                  <a:pt x="756" y="47"/>
                </a:lnTo>
                <a:lnTo>
                  <a:pt x="771" y="42"/>
                </a:lnTo>
                <a:lnTo>
                  <a:pt x="783" y="37"/>
                </a:lnTo>
                <a:lnTo>
                  <a:pt x="783" y="99"/>
                </a:lnTo>
                <a:close/>
                <a:moveTo>
                  <a:pt x="901" y="97"/>
                </a:moveTo>
                <a:lnTo>
                  <a:pt x="897" y="94"/>
                </a:lnTo>
                <a:lnTo>
                  <a:pt x="895" y="91"/>
                </a:lnTo>
                <a:lnTo>
                  <a:pt x="892" y="90"/>
                </a:lnTo>
                <a:lnTo>
                  <a:pt x="888" y="90"/>
                </a:lnTo>
                <a:lnTo>
                  <a:pt x="813" y="90"/>
                </a:lnTo>
                <a:lnTo>
                  <a:pt x="813" y="15"/>
                </a:lnTo>
                <a:lnTo>
                  <a:pt x="813" y="11"/>
                </a:lnTo>
                <a:lnTo>
                  <a:pt x="811" y="8"/>
                </a:lnTo>
                <a:lnTo>
                  <a:pt x="809" y="6"/>
                </a:lnTo>
                <a:lnTo>
                  <a:pt x="806" y="2"/>
                </a:lnTo>
                <a:lnTo>
                  <a:pt x="803" y="1"/>
                </a:lnTo>
                <a:lnTo>
                  <a:pt x="800" y="0"/>
                </a:lnTo>
                <a:lnTo>
                  <a:pt x="796" y="0"/>
                </a:lnTo>
                <a:lnTo>
                  <a:pt x="793" y="0"/>
                </a:lnTo>
                <a:lnTo>
                  <a:pt x="783" y="5"/>
                </a:lnTo>
                <a:lnTo>
                  <a:pt x="760" y="13"/>
                </a:lnTo>
                <a:lnTo>
                  <a:pt x="745" y="20"/>
                </a:lnTo>
                <a:lnTo>
                  <a:pt x="728" y="27"/>
                </a:lnTo>
                <a:lnTo>
                  <a:pt x="711" y="36"/>
                </a:lnTo>
                <a:lnTo>
                  <a:pt x="692" y="46"/>
                </a:lnTo>
                <a:lnTo>
                  <a:pt x="673" y="57"/>
                </a:lnTo>
                <a:lnTo>
                  <a:pt x="655" y="70"/>
                </a:lnTo>
                <a:lnTo>
                  <a:pt x="638" y="83"/>
                </a:lnTo>
                <a:lnTo>
                  <a:pt x="622" y="98"/>
                </a:lnTo>
                <a:lnTo>
                  <a:pt x="614" y="105"/>
                </a:lnTo>
                <a:lnTo>
                  <a:pt x="607" y="113"/>
                </a:lnTo>
                <a:lnTo>
                  <a:pt x="600" y="121"/>
                </a:lnTo>
                <a:lnTo>
                  <a:pt x="595" y="130"/>
                </a:lnTo>
                <a:lnTo>
                  <a:pt x="589" y="139"/>
                </a:lnTo>
                <a:lnTo>
                  <a:pt x="585" y="147"/>
                </a:lnTo>
                <a:lnTo>
                  <a:pt x="581" y="157"/>
                </a:lnTo>
                <a:lnTo>
                  <a:pt x="579" y="165"/>
                </a:lnTo>
                <a:lnTo>
                  <a:pt x="577" y="179"/>
                </a:lnTo>
                <a:lnTo>
                  <a:pt x="576" y="192"/>
                </a:lnTo>
                <a:lnTo>
                  <a:pt x="578" y="205"/>
                </a:lnTo>
                <a:lnTo>
                  <a:pt x="581" y="218"/>
                </a:lnTo>
                <a:lnTo>
                  <a:pt x="585" y="232"/>
                </a:lnTo>
                <a:lnTo>
                  <a:pt x="593" y="245"/>
                </a:lnTo>
                <a:lnTo>
                  <a:pt x="601" y="258"/>
                </a:lnTo>
                <a:lnTo>
                  <a:pt x="611" y="270"/>
                </a:lnTo>
                <a:lnTo>
                  <a:pt x="580" y="302"/>
                </a:lnTo>
                <a:lnTo>
                  <a:pt x="568" y="291"/>
                </a:lnTo>
                <a:lnTo>
                  <a:pt x="556" y="281"/>
                </a:lnTo>
                <a:lnTo>
                  <a:pt x="543" y="273"/>
                </a:lnTo>
                <a:lnTo>
                  <a:pt x="531" y="264"/>
                </a:lnTo>
                <a:lnTo>
                  <a:pt x="517" y="255"/>
                </a:lnTo>
                <a:lnTo>
                  <a:pt x="503" y="248"/>
                </a:lnTo>
                <a:lnTo>
                  <a:pt x="489" y="242"/>
                </a:lnTo>
                <a:lnTo>
                  <a:pt x="474" y="235"/>
                </a:lnTo>
                <a:lnTo>
                  <a:pt x="459" y="230"/>
                </a:lnTo>
                <a:lnTo>
                  <a:pt x="444" y="224"/>
                </a:lnTo>
                <a:lnTo>
                  <a:pt x="428" y="220"/>
                </a:lnTo>
                <a:lnTo>
                  <a:pt x="411" y="217"/>
                </a:lnTo>
                <a:lnTo>
                  <a:pt x="395" y="215"/>
                </a:lnTo>
                <a:lnTo>
                  <a:pt x="379" y="213"/>
                </a:lnTo>
                <a:lnTo>
                  <a:pt x="363" y="212"/>
                </a:lnTo>
                <a:lnTo>
                  <a:pt x="346" y="210"/>
                </a:lnTo>
                <a:lnTo>
                  <a:pt x="328" y="212"/>
                </a:lnTo>
                <a:lnTo>
                  <a:pt x="311" y="213"/>
                </a:lnTo>
                <a:lnTo>
                  <a:pt x="293" y="215"/>
                </a:lnTo>
                <a:lnTo>
                  <a:pt x="276" y="218"/>
                </a:lnTo>
                <a:lnTo>
                  <a:pt x="259" y="221"/>
                </a:lnTo>
                <a:lnTo>
                  <a:pt x="243" y="227"/>
                </a:lnTo>
                <a:lnTo>
                  <a:pt x="227" y="232"/>
                </a:lnTo>
                <a:lnTo>
                  <a:pt x="212" y="238"/>
                </a:lnTo>
                <a:lnTo>
                  <a:pt x="196" y="245"/>
                </a:lnTo>
                <a:lnTo>
                  <a:pt x="181" y="252"/>
                </a:lnTo>
                <a:lnTo>
                  <a:pt x="167" y="261"/>
                </a:lnTo>
                <a:lnTo>
                  <a:pt x="153" y="269"/>
                </a:lnTo>
                <a:lnTo>
                  <a:pt x="139" y="279"/>
                </a:lnTo>
                <a:lnTo>
                  <a:pt x="126" y="290"/>
                </a:lnTo>
                <a:lnTo>
                  <a:pt x="113" y="301"/>
                </a:lnTo>
                <a:lnTo>
                  <a:pt x="102" y="312"/>
                </a:lnTo>
                <a:lnTo>
                  <a:pt x="90" y="324"/>
                </a:lnTo>
                <a:lnTo>
                  <a:pt x="79" y="337"/>
                </a:lnTo>
                <a:lnTo>
                  <a:pt x="68" y="350"/>
                </a:lnTo>
                <a:lnTo>
                  <a:pt x="59" y="364"/>
                </a:lnTo>
                <a:lnTo>
                  <a:pt x="50" y="378"/>
                </a:lnTo>
                <a:lnTo>
                  <a:pt x="41" y="392"/>
                </a:lnTo>
                <a:lnTo>
                  <a:pt x="34" y="407"/>
                </a:lnTo>
                <a:lnTo>
                  <a:pt x="27" y="422"/>
                </a:lnTo>
                <a:lnTo>
                  <a:pt x="21" y="438"/>
                </a:lnTo>
                <a:lnTo>
                  <a:pt x="16" y="454"/>
                </a:lnTo>
                <a:lnTo>
                  <a:pt x="10" y="470"/>
                </a:lnTo>
                <a:lnTo>
                  <a:pt x="7" y="487"/>
                </a:lnTo>
                <a:lnTo>
                  <a:pt x="4" y="504"/>
                </a:lnTo>
                <a:lnTo>
                  <a:pt x="2" y="521"/>
                </a:lnTo>
                <a:lnTo>
                  <a:pt x="1" y="539"/>
                </a:lnTo>
                <a:lnTo>
                  <a:pt x="0" y="557"/>
                </a:lnTo>
                <a:lnTo>
                  <a:pt x="1" y="574"/>
                </a:lnTo>
                <a:lnTo>
                  <a:pt x="2" y="590"/>
                </a:lnTo>
                <a:lnTo>
                  <a:pt x="4" y="606"/>
                </a:lnTo>
                <a:lnTo>
                  <a:pt x="6" y="622"/>
                </a:lnTo>
                <a:lnTo>
                  <a:pt x="9" y="638"/>
                </a:lnTo>
                <a:lnTo>
                  <a:pt x="14" y="654"/>
                </a:lnTo>
                <a:lnTo>
                  <a:pt x="19" y="669"/>
                </a:lnTo>
                <a:lnTo>
                  <a:pt x="24" y="684"/>
                </a:lnTo>
                <a:lnTo>
                  <a:pt x="31" y="699"/>
                </a:lnTo>
                <a:lnTo>
                  <a:pt x="37" y="713"/>
                </a:lnTo>
                <a:lnTo>
                  <a:pt x="45" y="727"/>
                </a:lnTo>
                <a:lnTo>
                  <a:pt x="53" y="740"/>
                </a:lnTo>
                <a:lnTo>
                  <a:pt x="62" y="754"/>
                </a:lnTo>
                <a:lnTo>
                  <a:pt x="70" y="767"/>
                </a:lnTo>
                <a:lnTo>
                  <a:pt x="81" y="779"/>
                </a:lnTo>
                <a:lnTo>
                  <a:pt x="91" y="791"/>
                </a:lnTo>
                <a:lnTo>
                  <a:pt x="4" y="877"/>
                </a:lnTo>
                <a:lnTo>
                  <a:pt x="3" y="880"/>
                </a:lnTo>
                <a:lnTo>
                  <a:pt x="1" y="882"/>
                </a:lnTo>
                <a:lnTo>
                  <a:pt x="0" y="885"/>
                </a:lnTo>
                <a:lnTo>
                  <a:pt x="0" y="888"/>
                </a:lnTo>
                <a:lnTo>
                  <a:pt x="0" y="890"/>
                </a:lnTo>
                <a:lnTo>
                  <a:pt x="1" y="894"/>
                </a:lnTo>
                <a:lnTo>
                  <a:pt x="3" y="896"/>
                </a:lnTo>
                <a:lnTo>
                  <a:pt x="4" y="899"/>
                </a:lnTo>
                <a:lnTo>
                  <a:pt x="7" y="900"/>
                </a:lnTo>
                <a:lnTo>
                  <a:pt x="9" y="902"/>
                </a:lnTo>
                <a:lnTo>
                  <a:pt x="12" y="903"/>
                </a:lnTo>
                <a:lnTo>
                  <a:pt x="15" y="903"/>
                </a:lnTo>
                <a:lnTo>
                  <a:pt x="18" y="903"/>
                </a:lnTo>
                <a:lnTo>
                  <a:pt x="21" y="902"/>
                </a:lnTo>
                <a:lnTo>
                  <a:pt x="23" y="900"/>
                </a:lnTo>
                <a:lnTo>
                  <a:pt x="25" y="899"/>
                </a:lnTo>
                <a:lnTo>
                  <a:pt x="112" y="812"/>
                </a:lnTo>
                <a:lnTo>
                  <a:pt x="124" y="822"/>
                </a:lnTo>
                <a:lnTo>
                  <a:pt x="137" y="832"/>
                </a:lnTo>
                <a:lnTo>
                  <a:pt x="149" y="841"/>
                </a:lnTo>
                <a:lnTo>
                  <a:pt x="163" y="850"/>
                </a:lnTo>
                <a:lnTo>
                  <a:pt x="176" y="858"/>
                </a:lnTo>
                <a:lnTo>
                  <a:pt x="189" y="866"/>
                </a:lnTo>
                <a:lnTo>
                  <a:pt x="203" y="872"/>
                </a:lnTo>
                <a:lnTo>
                  <a:pt x="218" y="879"/>
                </a:lnTo>
                <a:lnTo>
                  <a:pt x="233" y="884"/>
                </a:lnTo>
                <a:lnTo>
                  <a:pt x="248" y="889"/>
                </a:lnTo>
                <a:lnTo>
                  <a:pt x="265" y="894"/>
                </a:lnTo>
                <a:lnTo>
                  <a:pt x="281" y="897"/>
                </a:lnTo>
                <a:lnTo>
                  <a:pt x="297" y="899"/>
                </a:lnTo>
                <a:lnTo>
                  <a:pt x="313" y="901"/>
                </a:lnTo>
                <a:lnTo>
                  <a:pt x="329" y="902"/>
                </a:lnTo>
                <a:lnTo>
                  <a:pt x="346" y="903"/>
                </a:lnTo>
                <a:lnTo>
                  <a:pt x="363" y="902"/>
                </a:lnTo>
                <a:lnTo>
                  <a:pt x="379" y="901"/>
                </a:lnTo>
                <a:lnTo>
                  <a:pt x="395" y="899"/>
                </a:lnTo>
                <a:lnTo>
                  <a:pt x="411" y="897"/>
                </a:lnTo>
                <a:lnTo>
                  <a:pt x="428" y="894"/>
                </a:lnTo>
                <a:lnTo>
                  <a:pt x="444" y="889"/>
                </a:lnTo>
                <a:lnTo>
                  <a:pt x="459" y="884"/>
                </a:lnTo>
                <a:lnTo>
                  <a:pt x="474" y="879"/>
                </a:lnTo>
                <a:lnTo>
                  <a:pt x="489" y="872"/>
                </a:lnTo>
                <a:lnTo>
                  <a:pt x="503" y="866"/>
                </a:lnTo>
                <a:lnTo>
                  <a:pt x="517" y="858"/>
                </a:lnTo>
                <a:lnTo>
                  <a:pt x="531" y="850"/>
                </a:lnTo>
                <a:lnTo>
                  <a:pt x="543" y="841"/>
                </a:lnTo>
                <a:lnTo>
                  <a:pt x="556" y="832"/>
                </a:lnTo>
                <a:lnTo>
                  <a:pt x="568" y="822"/>
                </a:lnTo>
                <a:lnTo>
                  <a:pt x="580" y="812"/>
                </a:lnTo>
                <a:lnTo>
                  <a:pt x="667" y="899"/>
                </a:lnTo>
                <a:lnTo>
                  <a:pt x="669" y="900"/>
                </a:lnTo>
                <a:lnTo>
                  <a:pt x="672" y="902"/>
                </a:lnTo>
                <a:lnTo>
                  <a:pt x="674" y="903"/>
                </a:lnTo>
                <a:lnTo>
                  <a:pt x="677" y="903"/>
                </a:lnTo>
                <a:lnTo>
                  <a:pt x="681" y="903"/>
                </a:lnTo>
                <a:lnTo>
                  <a:pt x="683" y="902"/>
                </a:lnTo>
                <a:lnTo>
                  <a:pt x="686" y="900"/>
                </a:lnTo>
                <a:lnTo>
                  <a:pt x="688" y="899"/>
                </a:lnTo>
                <a:lnTo>
                  <a:pt x="690" y="896"/>
                </a:lnTo>
                <a:lnTo>
                  <a:pt x="691" y="894"/>
                </a:lnTo>
                <a:lnTo>
                  <a:pt x="692" y="890"/>
                </a:lnTo>
                <a:lnTo>
                  <a:pt x="692" y="888"/>
                </a:lnTo>
                <a:lnTo>
                  <a:pt x="692" y="885"/>
                </a:lnTo>
                <a:lnTo>
                  <a:pt x="691" y="882"/>
                </a:lnTo>
                <a:lnTo>
                  <a:pt x="690" y="880"/>
                </a:lnTo>
                <a:lnTo>
                  <a:pt x="688" y="877"/>
                </a:lnTo>
                <a:lnTo>
                  <a:pt x="601" y="791"/>
                </a:lnTo>
                <a:lnTo>
                  <a:pt x="612" y="779"/>
                </a:lnTo>
                <a:lnTo>
                  <a:pt x="622" y="767"/>
                </a:lnTo>
                <a:lnTo>
                  <a:pt x="630" y="754"/>
                </a:lnTo>
                <a:lnTo>
                  <a:pt x="639" y="740"/>
                </a:lnTo>
                <a:lnTo>
                  <a:pt x="647" y="727"/>
                </a:lnTo>
                <a:lnTo>
                  <a:pt x="655" y="713"/>
                </a:lnTo>
                <a:lnTo>
                  <a:pt x="661" y="699"/>
                </a:lnTo>
                <a:lnTo>
                  <a:pt x="668" y="684"/>
                </a:lnTo>
                <a:lnTo>
                  <a:pt x="673" y="669"/>
                </a:lnTo>
                <a:lnTo>
                  <a:pt x="679" y="654"/>
                </a:lnTo>
                <a:lnTo>
                  <a:pt x="683" y="638"/>
                </a:lnTo>
                <a:lnTo>
                  <a:pt x="686" y="622"/>
                </a:lnTo>
                <a:lnTo>
                  <a:pt x="689" y="606"/>
                </a:lnTo>
                <a:lnTo>
                  <a:pt x="690" y="590"/>
                </a:lnTo>
                <a:lnTo>
                  <a:pt x="691" y="574"/>
                </a:lnTo>
                <a:lnTo>
                  <a:pt x="692" y="557"/>
                </a:lnTo>
                <a:lnTo>
                  <a:pt x="691" y="540"/>
                </a:lnTo>
                <a:lnTo>
                  <a:pt x="690" y="524"/>
                </a:lnTo>
                <a:lnTo>
                  <a:pt x="689" y="507"/>
                </a:lnTo>
                <a:lnTo>
                  <a:pt x="686" y="491"/>
                </a:lnTo>
                <a:lnTo>
                  <a:pt x="683" y="475"/>
                </a:lnTo>
                <a:lnTo>
                  <a:pt x="679" y="459"/>
                </a:lnTo>
                <a:lnTo>
                  <a:pt x="673" y="444"/>
                </a:lnTo>
                <a:lnTo>
                  <a:pt x="668" y="429"/>
                </a:lnTo>
                <a:lnTo>
                  <a:pt x="661" y="414"/>
                </a:lnTo>
                <a:lnTo>
                  <a:pt x="655" y="400"/>
                </a:lnTo>
                <a:lnTo>
                  <a:pt x="647" y="386"/>
                </a:lnTo>
                <a:lnTo>
                  <a:pt x="639" y="372"/>
                </a:lnTo>
                <a:lnTo>
                  <a:pt x="630" y="359"/>
                </a:lnTo>
                <a:lnTo>
                  <a:pt x="622" y="347"/>
                </a:lnTo>
                <a:lnTo>
                  <a:pt x="612" y="335"/>
                </a:lnTo>
                <a:lnTo>
                  <a:pt x="601" y="323"/>
                </a:lnTo>
                <a:lnTo>
                  <a:pt x="632" y="292"/>
                </a:lnTo>
                <a:lnTo>
                  <a:pt x="642" y="299"/>
                </a:lnTo>
                <a:lnTo>
                  <a:pt x="653" y="307"/>
                </a:lnTo>
                <a:lnTo>
                  <a:pt x="662" y="313"/>
                </a:lnTo>
                <a:lnTo>
                  <a:pt x="673" y="318"/>
                </a:lnTo>
                <a:lnTo>
                  <a:pt x="684" y="322"/>
                </a:lnTo>
                <a:lnTo>
                  <a:pt x="694" y="325"/>
                </a:lnTo>
                <a:lnTo>
                  <a:pt x="704" y="326"/>
                </a:lnTo>
                <a:lnTo>
                  <a:pt x="714" y="327"/>
                </a:lnTo>
                <a:lnTo>
                  <a:pt x="725" y="326"/>
                </a:lnTo>
                <a:lnTo>
                  <a:pt x="735" y="324"/>
                </a:lnTo>
                <a:lnTo>
                  <a:pt x="746" y="322"/>
                </a:lnTo>
                <a:lnTo>
                  <a:pt x="756" y="318"/>
                </a:lnTo>
                <a:lnTo>
                  <a:pt x="765" y="313"/>
                </a:lnTo>
                <a:lnTo>
                  <a:pt x="774" y="308"/>
                </a:lnTo>
                <a:lnTo>
                  <a:pt x="784" y="302"/>
                </a:lnTo>
                <a:lnTo>
                  <a:pt x="792" y="294"/>
                </a:lnTo>
                <a:lnTo>
                  <a:pt x="801" y="287"/>
                </a:lnTo>
                <a:lnTo>
                  <a:pt x="808" y="278"/>
                </a:lnTo>
                <a:lnTo>
                  <a:pt x="816" y="269"/>
                </a:lnTo>
                <a:lnTo>
                  <a:pt x="823" y="261"/>
                </a:lnTo>
                <a:lnTo>
                  <a:pt x="838" y="242"/>
                </a:lnTo>
                <a:lnTo>
                  <a:pt x="850" y="222"/>
                </a:lnTo>
                <a:lnTo>
                  <a:pt x="862" y="202"/>
                </a:lnTo>
                <a:lnTo>
                  <a:pt x="872" y="183"/>
                </a:lnTo>
                <a:lnTo>
                  <a:pt x="881" y="164"/>
                </a:lnTo>
                <a:lnTo>
                  <a:pt x="888" y="147"/>
                </a:lnTo>
                <a:lnTo>
                  <a:pt x="898" y="121"/>
                </a:lnTo>
                <a:lnTo>
                  <a:pt x="903" y="110"/>
                </a:lnTo>
                <a:lnTo>
                  <a:pt x="903" y="106"/>
                </a:lnTo>
                <a:lnTo>
                  <a:pt x="903" y="103"/>
                </a:lnTo>
                <a:lnTo>
                  <a:pt x="902" y="100"/>
                </a:lnTo>
                <a:lnTo>
                  <a:pt x="901" y="97"/>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dirty="0"/>
          </a:p>
        </p:txBody>
      </p:sp>
      <p:grpSp>
        <p:nvGrpSpPr>
          <p:cNvPr id="273" name="Group 175">
            <a:extLst>
              <a:ext uri="{FF2B5EF4-FFF2-40B4-BE49-F238E27FC236}">
                <a16:creationId xmlns:a16="http://schemas.microsoft.com/office/drawing/2014/main" id="{59412B86-5B03-49D7-B51F-69841A9668D7}"/>
              </a:ext>
            </a:extLst>
          </p:cNvPr>
          <p:cNvGrpSpPr>
            <a:grpSpLocks noChangeAspect="1"/>
          </p:cNvGrpSpPr>
          <p:nvPr/>
        </p:nvGrpSpPr>
        <p:grpSpPr>
          <a:xfrm>
            <a:off x="1088117" y="1647825"/>
            <a:ext cx="262364" cy="306484"/>
            <a:chOff x="6932613" y="152400"/>
            <a:chExt cx="708025" cy="827088"/>
          </a:xfrm>
          <a:solidFill>
            <a:schemeClr val="bg1"/>
          </a:solidFill>
          <a:effectLst/>
        </p:grpSpPr>
        <p:sp>
          <p:nvSpPr>
            <p:cNvPr id="325" name="Freeform 16">
              <a:extLst>
                <a:ext uri="{FF2B5EF4-FFF2-40B4-BE49-F238E27FC236}">
                  <a16:creationId xmlns:a16="http://schemas.microsoft.com/office/drawing/2014/main" id="{885357FF-89BE-426B-9BA4-59CF32D8DB99}"/>
                </a:ext>
              </a:extLst>
            </p:cNvPr>
            <p:cNvSpPr>
              <a:spLocks noEditPoints="1"/>
            </p:cNvSpPr>
            <p:nvPr/>
          </p:nvSpPr>
          <p:spPr bwMode="auto">
            <a:xfrm>
              <a:off x="6932613" y="152400"/>
              <a:ext cx="708025" cy="827088"/>
            </a:xfrm>
            <a:custGeom>
              <a:avLst/>
              <a:gdLst>
                <a:gd name="T0" fmla="*/ 268 w 446"/>
                <a:gd name="T1" fmla="*/ 63 h 521"/>
                <a:gd name="T2" fmla="*/ 269 w 446"/>
                <a:gd name="T3" fmla="*/ 37 h 521"/>
                <a:gd name="T4" fmla="*/ 249 w 446"/>
                <a:gd name="T5" fmla="*/ 9 h 521"/>
                <a:gd name="T6" fmla="*/ 223 w 446"/>
                <a:gd name="T7" fmla="*/ 0 h 521"/>
                <a:gd name="T8" fmla="*/ 191 w 446"/>
                <a:gd name="T9" fmla="*/ 14 h 521"/>
                <a:gd name="T10" fmla="*/ 177 w 446"/>
                <a:gd name="T11" fmla="*/ 46 h 521"/>
                <a:gd name="T12" fmla="*/ 184 w 446"/>
                <a:gd name="T13" fmla="*/ 70 h 521"/>
                <a:gd name="T14" fmla="*/ 150 w 446"/>
                <a:gd name="T15" fmla="*/ 87 h 521"/>
                <a:gd name="T16" fmla="*/ 82 w 446"/>
                <a:gd name="T17" fmla="*/ 124 h 521"/>
                <a:gd name="T18" fmla="*/ 33 w 446"/>
                <a:gd name="T19" fmla="*/ 184 h 521"/>
                <a:gd name="T20" fmla="*/ 4 w 446"/>
                <a:gd name="T21" fmla="*/ 257 h 521"/>
                <a:gd name="T22" fmla="*/ 2 w 446"/>
                <a:gd name="T23" fmla="*/ 320 h 521"/>
                <a:gd name="T24" fmla="*/ 28 w 446"/>
                <a:gd name="T25" fmla="*/ 403 h 521"/>
                <a:gd name="T26" fmla="*/ 82 w 446"/>
                <a:gd name="T27" fmla="*/ 469 h 521"/>
                <a:gd name="T28" fmla="*/ 157 w 446"/>
                <a:gd name="T29" fmla="*/ 510 h 521"/>
                <a:gd name="T30" fmla="*/ 223 w 446"/>
                <a:gd name="T31" fmla="*/ 521 h 521"/>
                <a:gd name="T32" fmla="*/ 310 w 446"/>
                <a:gd name="T33" fmla="*/ 502 h 521"/>
                <a:gd name="T34" fmla="*/ 381 w 446"/>
                <a:gd name="T35" fmla="*/ 454 h 521"/>
                <a:gd name="T36" fmla="*/ 429 w 446"/>
                <a:gd name="T37" fmla="*/ 384 h 521"/>
                <a:gd name="T38" fmla="*/ 446 w 446"/>
                <a:gd name="T39" fmla="*/ 298 h 521"/>
                <a:gd name="T40" fmla="*/ 438 w 446"/>
                <a:gd name="T41" fmla="*/ 236 h 521"/>
                <a:gd name="T42" fmla="*/ 404 w 446"/>
                <a:gd name="T43" fmla="*/ 167 h 521"/>
                <a:gd name="T44" fmla="*/ 349 w 446"/>
                <a:gd name="T45" fmla="*/ 112 h 521"/>
                <a:gd name="T46" fmla="*/ 278 w 446"/>
                <a:gd name="T47" fmla="*/ 82 h 521"/>
                <a:gd name="T48" fmla="*/ 223 w 446"/>
                <a:gd name="T49" fmla="*/ 19 h 521"/>
                <a:gd name="T50" fmla="*/ 244 w 446"/>
                <a:gd name="T51" fmla="*/ 27 h 521"/>
                <a:gd name="T52" fmla="*/ 251 w 446"/>
                <a:gd name="T53" fmla="*/ 46 h 521"/>
                <a:gd name="T54" fmla="*/ 247 w 446"/>
                <a:gd name="T55" fmla="*/ 61 h 521"/>
                <a:gd name="T56" fmla="*/ 228 w 446"/>
                <a:gd name="T57" fmla="*/ 73 h 521"/>
                <a:gd name="T58" fmla="*/ 213 w 446"/>
                <a:gd name="T59" fmla="*/ 71 h 521"/>
                <a:gd name="T60" fmla="*/ 198 w 446"/>
                <a:gd name="T61" fmla="*/ 58 h 521"/>
                <a:gd name="T62" fmla="*/ 196 w 446"/>
                <a:gd name="T63" fmla="*/ 41 h 521"/>
                <a:gd name="T64" fmla="*/ 208 w 446"/>
                <a:gd name="T65" fmla="*/ 24 h 521"/>
                <a:gd name="T66" fmla="*/ 223 w 446"/>
                <a:gd name="T67" fmla="*/ 19 h 521"/>
                <a:gd name="T68" fmla="*/ 182 w 446"/>
                <a:gd name="T69" fmla="*/ 497 h 521"/>
                <a:gd name="T70" fmla="*/ 109 w 446"/>
                <a:gd name="T71" fmla="*/ 466 h 521"/>
                <a:gd name="T72" fmla="*/ 55 w 446"/>
                <a:gd name="T73" fmla="*/ 412 h 521"/>
                <a:gd name="T74" fmla="*/ 23 w 446"/>
                <a:gd name="T75" fmla="*/ 339 h 521"/>
                <a:gd name="T76" fmla="*/ 21 w 446"/>
                <a:gd name="T77" fmla="*/ 276 h 521"/>
                <a:gd name="T78" fmla="*/ 45 w 446"/>
                <a:gd name="T79" fmla="*/ 201 h 521"/>
                <a:gd name="T80" fmla="*/ 94 w 446"/>
                <a:gd name="T81" fmla="*/ 139 h 521"/>
                <a:gd name="T82" fmla="*/ 162 w 446"/>
                <a:gd name="T83" fmla="*/ 102 h 521"/>
                <a:gd name="T84" fmla="*/ 223 w 446"/>
                <a:gd name="T85" fmla="*/ 94 h 521"/>
                <a:gd name="T86" fmla="*/ 303 w 446"/>
                <a:gd name="T87" fmla="*/ 109 h 521"/>
                <a:gd name="T88" fmla="*/ 368 w 446"/>
                <a:gd name="T89" fmla="*/ 153 h 521"/>
                <a:gd name="T90" fmla="*/ 412 w 446"/>
                <a:gd name="T91" fmla="*/ 218 h 521"/>
                <a:gd name="T92" fmla="*/ 427 w 446"/>
                <a:gd name="T93" fmla="*/ 298 h 521"/>
                <a:gd name="T94" fmla="*/ 419 w 446"/>
                <a:gd name="T95" fmla="*/ 357 h 521"/>
                <a:gd name="T96" fmla="*/ 381 w 446"/>
                <a:gd name="T97" fmla="*/ 427 h 521"/>
                <a:gd name="T98" fmla="*/ 320 w 446"/>
                <a:gd name="T99" fmla="*/ 476 h 521"/>
                <a:gd name="T100" fmla="*/ 244 w 446"/>
                <a:gd name="T101" fmla="*/ 50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6" h="521">
                  <a:moveTo>
                    <a:pt x="257" y="77"/>
                  </a:moveTo>
                  <a:lnTo>
                    <a:pt x="257" y="77"/>
                  </a:lnTo>
                  <a:lnTo>
                    <a:pt x="262" y="70"/>
                  </a:lnTo>
                  <a:lnTo>
                    <a:pt x="268" y="63"/>
                  </a:lnTo>
                  <a:lnTo>
                    <a:pt x="269" y="54"/>
                  </a:lnTo>
                  <a:lnTo>
                    <a:pt x="269" y="46"/>
                  </a:lnTo>
                  <a:lnTo>
                    <a:pt x="269" y="46"/>
                  </a:lnTo>
                  <a:lnTo>
                    <a:pt x="269" y="37"/>
                  </a:lnTo>
                  <a:lnTo>
                    <a:pt x="266" y="29"/>
                  </a:lnTo>
                  <a:lnTo>
                    <a:pt x="262" y="20"/>
                  </a:lnTo>
                  <a:lnTo>
                    <a:pt x="256" y="14"/>
                  </a:lnTo>
                  <a:lnTo>
                    <a:pt x="249" y="9"/>
                  </a:lnTo>
                  <a:lnTo>
                    <a:pt x="242" y="3"/>
                  </a:lnTo>
                  <a:lnTo>
                    <a:pt x="233" y="2"/>
                  </a:lnTo>
                  <a:lnTo>
                    <a:pt x="223" y="0"/>
                  </a:lnTo>
                  <a:lnTo>
                    <a:pt x="223" y="0"/>
                  </a:lnTo>
                  <a:lnTo>
                    <a:pt x="215" y="2"/>
                  </a:lnTo>
                  <a:lnTo>
                    <a:pt x="205" y="3"/>
                  </a:lnTo>
                  <a:lnTo>
                    <a:pt x="198" y="9"/>
                  </a:lnTo>
                  <a:lnTo>
                    <a:pt x="191" y="14"/>
                  </a:lnTo>
                  <a:lnTo>
                    <a:pt x="184" y="20"/>
                  </a:lnTo>
                  <a:lnTo>
                    <a:pt x="181" y="29"/>
                  </a:lnTo>
                  <a:lnTo>
                    <a:pt x="177" y="37"/>
                  </a:lnTo>
                  <a:lnTo>
                    <a:pt x="177" y="46"/>
                  </a:lnTo>
                  <a:lnTo>
                    <a:pt x="177" y="46"/>
                  </a:lnTo>
                  <a:lnTo>
                    <a:pt x="177" y="54"/>
                  </a:lnTo>
                  <a:lnTo>
                    <a:pt x="181" y="63"/>
                  </a:lnTo>
                  <a:lnTo>
                    <a:pt x="184" y="70"/>
                  </a:lnTo>
                  <a:lnTo>
                    <a:pt x="189" y="77"/>
                  </a:lnTo>
                  <a:lnTo>
                    <a:pt x="189" y="77"/>
                  </a:lnTo>
                  <a:lnTo>
                    <a:pt x="169" y="82"/>
                  </a:lnTo>
                  <a:lnTo>
                    <a:pt x="150" y="87"/>
                  </a:lnTo>
                  <a:lnTo>
                    <a:pt x="131" y="94"/>
                  </a:lnTo>
                  <a:lnTo>
                    <a:pt x="114" y="102"/>
                  </a:lnTo>
                  <a:lnTo>
                    <a:pt x="97" y="112"/>
                  </a:lnTo>
                  <a:lnTo>
                    <a:pt x="82" y="124"/>
                  </a:lnTo>
                  <a:lnTo>
                    <a:pt x="68" y="138"/>
                  </a:lnTo>
                  <a:lnTo>
                    <a:pt x="55" y="151"/>
                  </a:lnTo>
                  <a:lnTo>
                    <a:pt x="43" y="167"/>
                  </a:lnTo>
                  <a:lnTo>
                    <a:pt x="33" y="184"/>
                  </a:lnTo>
                  <a:lnTo>
                    <a:pt x="23" y="201"/>
                  </a:lnTo>
                  <a:lnTo>
                    <a:pt x="16" y="218"/>
                  </a:lnTo>
                  <a:lnTo>
                    <a:pt x="9" y="236"/>
                  </a:lnTo>
                  <a:lnTo>
                    <a:pt x="4" y="257"/>
                  </a:lnTo>
                  <a:lnTo>
                    <a:pt x="2" y="277"/>
                  </a:lnTo>
                  <a:lnTo>
                    <a:pt x="0" y="298"/>
                  </a:lnTo>
                  <a:lnTo>
                    <a:pt x="0" y="298"/>
                  </a:lnTo>
                  <a:lnTo>
                    <a:pt x="2" y="320"/>
                  </a:lnTo>
                  <a:lnTo>
                    <a:pt x="6" y="342"/>
                  </a:lnTo>
                  <a:lnTo>
                    <a:pt x="11" y="364"/>
                  </a:lnTo>
                  <a:lnTo>
                    <a:pt x="17" y="384"/>
                  </a:lnTo>
                  <a:lnTo>
                    <a:pt x="28" y="403"/>
                  </a:lnTo>
                  <a:lnTo>
                    <a:pt x="38" y="422"/>
                  </a:lnTo>
                  <a:lnTo>
                    <a:pt x="51" y="439"/>
                  </a:lnTo>
                  <a:lnTo>
                    <a:pt x="65" y="454"/>
                  </a:lnTo>
                  <a:lnTo>
                    <a:pt x="82" y="469"/>
                  </a:lnTo>
                  <a:lnTo>
                    <a:pt x="99" y="481"/>
                  </a:lnTo>
                  <a:lnTo>
                    <a:pt x="118" y="493"/>
                  </a:lnTo>
                  <a:lnTo>
                    <a:pt x="137" y="502"/>
                  </a:lnTo>
                  <a:lnTo>
                    <a:pt x="157" y="510"/>
                  </a:lnTo>
                  <a:lnTo>
                    <a:pt x="179" y="515"/>
                  </a:lnTo>
                  <a:lnTo>
                    <a:pt x="201" y="519"/>
                  </a:lnTo>
                  <a:lnTo>
                    <a:pt x="223" y="521"/>
                  </a:lnTo>
                  <a:lnTo>
                    <a:pt x="223" y="521"/>
                  </a:lnTo>
                  <a:lnTo>
                    <a:pt x="245" y="519"/>
                  </a:lnTo>
                  <a:lnTo>
                    <a:pt x="269" y="515"/>
                  </a:lnTo>
                  <a:lnTo>
                    <a:pt x="290" y="510"/>
                  </a:lnTo>
                  <a:lnTo>
                    <a:pt x="310" y="502"/>
                  </a:lnTo>
                  <a:lnTo>
                    <a:pt x="330" y="493"/>
                  </a:lnTo>
                  <a:lnTo>
                    <a:pt x="347" y="481"/>
                  </a:lnTo>
                  <a:lnTo>
                    <a:pt x="364" y="469"/>
                  </a:lnTo>
                  <a:lnTo>
                    <a:pt x="381" y="454"/>
                  </a:lnTo>
                  <a:lnTo>
                    <a:pt x="395" y="439"/>
                  </a:lnTo>
                  <a:lnTo>
                    <a:pt x="409" y="422"/>
                  </a:lnTo>
                  <a:lnTo>
                    <a:pt x="419" y="403"/>
                  </a:lnTo>
                  <a:lnTo>
                    <a:pt x="429" y="384"/>
                  </a:lnTo>
                  <a:lnTo>
                    <a:pt x="436" y="364"/>
                  </a:lnTo>
                  <a:lnTo>
                    <a:pt x="441" y="342"/>
                  </a:lnTo>
                  <a:lnTo>
                    <a:pt x="444" y="320"/>
                  </a:lnTo>
                  <a:lnTo>
                    <a:pt x="446" y="298"/>
                  </a:lnTo>
                  <a:lnTo>
                    <a:pt x="446" y="298"/>
                  </a:lnTo>
                  <a:lnTo>
                    <a:pt x="446" y="277"/>
                  </a:lnTo>
                  <a:lnTo>
                    <a:pt x="443" y="257"/>
                  </a:lnTo>
                  <a:lnTo>
                    <a:pt x="438" y="236"/>
                  </a:lnTo>
                  <a:lnTo>
                    <a:pt x="433" y="218"/>
                  </a:lnTo>
                  <a:lnTo>
                    <a:pt x="424" y="201"/>
                  </a:lnTo>
                  <a:lnTo>
                    <a:pt x="416" y="184"/>
                  </a:lnTo>
                  <a:lnTo>
                    <a:pt x="404" y="167"/>
                  </a:lnTo>
                  <a:lnTo>
                    <a:pt x="392" y="151"/>
                  </a:lnTo>
                  <a:lnTo>
                    <a:pt x="380" y="138"/>
                  </a:lnTo>
                  <a:lnTo>
                    <a:pt x="364" y="124"/>
                  </a:lnTo>
                  <a:lnTo>
                    <a:pt x="349" y="112"/>
                  </a:lnTo>
                  <a:lnTo>
                    <a:pt x="332" y="102"/>
                  </a:lnTo>
                  <a:lnTo>
                    <a:pt x="315" y="94"/>
                  </a:lnTo>
                  <a:lnTo>
                    <a:pt x="296" y="87"/>
                  </a:lnTo>
                  <a:lnTo>
                    <a:pt x="278" y="82"/>
                  </a:lnTo>
                  <a:lnTo>
                    <a:pt x="257" y="77"/>
                  </a:lnTo>
                  <a:lnTo>
                    <a:pt x="257" y="77"/>
                  </a:lnTo>
                  <a:close/>
                  <a:moveTo>
                    <a:pt x="223" y="19"/>
                  </a:moveTo>
                  <a:lnTo>
                    <a:pt x="223" y="19"/>
                  </a:lnTo>
                  <a:lnTo>
                    <a:pt x="228" y="19"/>
                  </a:lnTo>
                  <a:lnTo>
                    <a:pt x="233" y="20"/>
                  </a:lnTo>
                  <a:lnTo>
                    <a:pt x="239" y="24"/>
                  </a:lnTo>
                  <a:lnTo>
                    <a:pt x="244" y="27"/>
                  </a:lnTo>
                  <a:lnTo>
                    <a:pt x="247" y="31"/>
                  </a:lnTo>
                  <a:lnTo>
                    <a:pt x="249" y="36"/>
                  </a:lnTo>
                  <a:lnTo>
                    <a:pt x="251" y="41"/>
                  </a:lnTo>
                  <a:lnTo>
                    <a:pt x="251" y="46"/>
                  </a:lnTo>
                  <a:lnTo>
                    <a:pt x="251" y="46"/>
                  </a:lnTo>
                  <a:lnTo>
                    <a:pt x="251" y="53"/>
                  </a:lnTo>
                  <a:lnTo>
                    <a:pt x="249" y="58"/>
                  </a:lnTo>
                  <a:lnTo>
                    <a:pt x="247" y="61"/>
                  </a:lnTo>
                  <a:lnTo>
                    <a:pt x="244" y="66"/>
                  </a:lnTo>
                  <a:lnTo>
                    <a:pt x="239" y="70"/>
                  </a:lnTo>
                  <a:lnTo>
                    <a:pt x="233" y="71"/>
                  </a:lnTo>
                  <a:lnTo>
                    <a:pt x="228" y="73"/>
                  </a:lnTo>
                  <a:lnTo>
                    <a:pt x="223" y="75"/>
                  </a:lnTo>
                  <a:lnTo>
                    <a:pt x="223" y="75"/>
                  </a:lnTo>
                  <a:lnTo>
                    <a:pt x="218" y="73"/>
                  </a:lnTo>
                  <a:lnTo>
                    <a:pt x="213" y="71"/>
                  </a:lnTo>
                  <a:lnTo>
                    <a:pt x="208" y="70"/>
                  </a:lnTo>
                  <a:lnTo>
                    <a:pt x="205" y="66"/>
                  </a:lnTo>
                  <a:lnTo>
                    <a:pt x="201" y="61"/>
                  </a:lnTo>
                  <a:lnTo>
                    <a:pt x="198" y="58"/>
                  </a:lnTo>
                  <a:lnTo>
                    <a:pt x="196" y="53"/>
                  </a:lnTo>
                  <a:lnTo>
                    <a:pt x="196" y="46"/>
                  </a:lnTo>
                  <a:lnTo>
                    <a:pt x="196" y="46"/>
                  </a:lnTo>
                  <a:lnTo>
                    <a:pt x="196" y="41"/>
                  </a:lnTo>
                  <a:lnTo>
                    <a:pt x="198" y="36"/>
                  </a:lnTo>
                  <a:lnTo>
                    <a:pt x="201" y="31"/>
                  </a:lnTo>
                  <a:lnTo>
                    <a:pt x="205" y="27"/>
                  </a:lnTo>
                  <a:lnTo>
                    <a:pt x="208" y="24"/>
                  </a:lnTo>
                  <a:lnTo>
                    <a:pt x="213" y="20"/>
                  </a:lnTo>
                  <a:lnTo>
                    <a:pt x="218" y="19"/>
                  </a:lnTo>
                  <a:lnTo>
                    <a:pt x="223" y="19"/>
                  </a:lnTo>
                  <a:lnTo>
                    <a:pt x="223" y="19"/>
                  </a:lnTo>
                  <a:close/>
                  <a:moveTo>
                    <a:pt x="223" y="502"/>
                  </a:moveTo>
                  <a:lnTo>
                    <a:pt x="223" y="502"/>
                  </a:lnTo>
                  <a:lnTo>
                    <a:pt x="203" y="500"/>
                  </a:lnTo>
                  <a:lnTo>
                    <a:pt x="182" y="497"/>
                  </a:lnTo>
                  <a:lnTo>
                    <a:pt x="162" y="492"/>
                  </a:lnTo>
                  <a:lnTo>
                    <a:pt x="143" y="485"/>
                  </a:lnTo>
                  <a:lnTo>
                    <a:pt x="126" y="476"/>
                  </a:lnTo>
                  <a:lnTo>
                    <a:pt x="109" y="466"/>
                  </a:lnTo>
                  <a:lnTo>
                    <a:pt x="94" y="454"/>
                  </a:lnTo>
                  <a:lnTo>
                    <a:pt x="79" y="442"/>
                  </a:lnTo>
                  <a:lnTo>
                    <a:pt x="65" y="427"/>
                  </a:lnTo>
                  <a:lnTo>
                    <a:pt x="55" y="412"/>
                  </a:lnTo>
                  <a:lnTo>
                    <a:pt x="45" y="395"/>
                  </a:lnTo>
                  <a:lnTo>
                    <a:pt x="34" y="376"/>
                  </a:lnTo>
                  <a:lnTo>
                    <a:pt x="28" y="357"/>
                  </a:lnTo>
                  <a:lnTo>
                    <a:pt x="23" y="339"/>
                  </a:lnTo>
                  <a:lnTo>
                    <a:pt x="21" y="318"/>
                  </a:lnTo>
                  <a:lnTo>
                    <a:pt x="19" y="298"/>
                  </a:lnTo>
                  <a:lnTo>
                    <a:pt x="19" y="298"/>
                  </a:lnTo>
                  <a:lnTo>
                    <a:pt x="21" y="276"/>
                  </a:lnTo>
                  <a:lnTo>
                    <a:pt x="23" y="257"/>
                  </a:lnTo>
                  <a:lnTo>
                    <a:pt x="28" y="236"/>
                  </a:lnTo>
                  <a:lnTo>
                    <a:pt x="34" y="218"/>
                  </a:lnTo>
                  <a:lnTo>
                    <a:pt x="45" y="201"/>
                  </a:lnTo>
                  <a:lnTo>
                    <a:pt x="55" y="184"/>
                  </a:lnTo>
                  <a:lnTo>
                    <a:pt x="65" y="167"/>
                  </a:lnTo>
                  <a:lnTo>
                    <a:pt x="79" y="153"/>
                  </a:lnTo>
                  <a:lnTo>
                    <a:pt x="94" y="139"/>
                  </a:lnTo>
                  <a:lnTo>
                    <a:pt x="109" y="128"/>
                  </a:lnTo>
                  <a:lnTo>
                    <a:pt x="126" y="117"/>
                  </a:lnTo>
                  <a:lnTo>
                    <a:pt x="143" y="109"/>
                  </a:lnTo>
                  <a:lnTo>
                    <a:pt x="162" y="102"/>
                  </a:lnTo>
                  <a:lnTo>
                    <a:pt x="182" y="97"/>
                  </a:lnTo>
                  <a:lnTo>
                    <a:pt x="203" y="94"/>
                  </a:lnTo>
                  <a:lnTo>
                    <a:pt x="223" y="94"/>
                  </a:lnTo>
                  <a:lnTo>
                    <a:pt x="223" y="94"/>
                  </a:lnTo>
                  <a:lnTo>
                    <a:pt x="244" y="94"/>
                  </a:lnTo>
                  <a:lnTo>
                    <a:pt x="264" y="97"/>
                  </a:lnTo>
                  <a:lnTo>
                    <a:pt x="285" y="102"/>
                  </a:lnTo>
                  <a:lnTo>
                    <a:pt x="303" y="109"/>
                  </a:lnTo>
                  <a:lnTo>
                    <a:pt x="320" y="117"/>
                  </a:lnTo>
                  <a:lnTo>
                    <a:pt x="337" y="128"/>
                  </a:lnTo>
                  <a:lnTo>
                    <a:pt x="353" y="139"/>
                  </a:lnTo>
                  <a:lnTo>
                    <a:pt x="368" y="153"/>
                  </a:lnTo>
                  <a:lnTo>
                    <a:pt x="381" y="167"/>
                  </a:lnTo>
                  <a:lnTo>
                    <a:pt x="393" y="184"/>
                  </a:lnTo>
                  <a:lnTo>
                    <a:pt x="404" y="201"/>
                  </a:lnTo>
                  <a:lnTo>
                    <a:pt x="412" y="218"/>
                  </a:lnTo>
                  <a:lnTo>
                    <a:pt x="419" y="236"/>
                  </a:lnTo>
                  <a:lnTo>
                    <a:pt x="424" y="257"/>
                  </a:lnTo>
                  <a:lnTo>
                    <a:pt x="427" y="276"/>
                  </a:lnTo>
                  <a:lnTo>
                    <a:pt x="427" y="298"/>
                  </a:lnTo>
                  <a:lnTo>
                    <a:pt x="427" y="298"/>
                  </a:lnTo>
                  <a:lnTo>
                    <a:pt x="427" y="318"/>
                  </a:lnTo>
                  <a:lnTo>
                    <a:pt x="424" y="339"/>
                  </a:lnTo>
                  <a:lnTo>
                    <a:pt x="419" y="357"/>
                  </a:lnTo>
                  <a:lnTo>
                    <a:pt x="412" y="376"/>
                  </a:lnTo>
                  <a:lnTo>
                    <a:pt x="404" y="395"/>
                  </a:lnTo>
                  <a:lnTo>
                    <a:pt x="393" y="412"/>
                  </a:lnTo>
                  <a:lnTo>
                    <a:pt x="381" y="427"/>
                  </a:lnTo>
                  <a:lnTo>
                    <a:pt x="368" y="442"/>
                  </a:lnTo>
                  <a:lnTo>
                    <a:pt x="353" y="454"/>
                  </a:lnTo>
                  <a:lnTo>
                    <a:pt x="337" y="466"/>
                  </a:lnTo>
                  <a:lnTo>
                    <a:pt x="320" y="476"/>
                  </a:lnTo>
                  <a:lnTo>
                    <a:pt x="303" y="485"/>
                  </a:lnTo>
                  <a:lnTo>
                    <a:pt x="285" y="492"/>
                  </a:lnTo>
                  <a:lnTo>
                    <a:pt x="264" y="497"/>
                  </a:lnTo>
                  <a:lnTo>
                    <a:pt x="244" y="500"/>
                  </a:lnTo>
                  <a:lnTo>
                    <a:pt x="223" y="502"/>
                  </a:lnTo>
                  <a:lnTo>
                    <a:pt x="223" y="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
              <a:extLst>
                <a:ext uri="{FF2B5EF4-FFF2-40B4-BE49-F238E27FC236}">
                  <a16:creationId xmlns:a16="http://schemas.microsoft.com/office/drawing/2014/main" id="{46EFB5B4-2F4D-4951-A526-096500A890C6}"/>
                </a:ext>
              </a:extLst>
            </p:cNvPr>
            <p:cNvSpPr>
              <a:spLocks noEditPoints="1"/>
            </p:cNvSpPr>
            <p:nvPr/>
          </p:nvSpPr>
          <p:spPr bwMode="auto">
            <a:xfrm>
              <a:off x="7112000" y="446088"/>
              <a:ext cx="354013" cy="354013"/>
            </a:xfrm>
            <a:custGeom>
              <a:avLst/>
              <a:gdLst>
                <a:gd name="T0" fmla="*/ 0 w 223"/>
                <a:gd name="T1" fmla="*/ 223 h 223"/>
                <a:gd name="T2" fmla="*/ 149 w 223"/>
                <a:gd name="T3" fmla="*/ 152 h 223"/>
                <a:gd name="T4" fmla="*/ 223 w 223"/>
                <a:gd name="T5" fmla="*/ 0 h 223"/>
                <a:gd name="T6" fmla="*/ 69 w 223"/>
                <a:gd name="T7" fmla="*/ 72 h 223"/>
                <a:gd name="T8" fmla="*/ 0 w 223"/>
                <a:gd name="T9" fmla="*/ 223 h 223"/>
                <a:gd name="T10" fmla="*/ 80 w 223"/>
                <a:gd name="T11" fmla="*/ 96 h 223"/>
                <a:gd name="T12" fmla="*/ 127 w 223"/>
                <a:gd name="T13" fmla="*/ 143 h 223"/>
                <a:gd name="T14" fmla="*/ 37 w 223"/>
                <a:gd name="T15" fmla="*/ 184 h 223"/>
                <a:gd name="T16" fmla="*/ 80 w 223"/>
                <a:gd name="T17" fmla="*/ 96 h 223"/>
                <a:gd name="T18" fmla="*/ 141 w 223"/>
                <a:gd name="T19" fmla="*/ 130 h 223"/>
                <a:gd name="T20" fmla="*/ 93 w 223"/>
                <a:gd name="T21" fmla="*/ 82 h 223"/>
                <a:gd name="T22" fmla="*/ 183 w 223"/>
                <a:gd name="T23" fmla="*/ 40 h 223"/>
                <a:gd name="T24" fmla="*/ 141 w 223"/>
                <a:gd name="T25" fmla="*/ 13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 h="223">
                  <a:moveTo>
                    <a:pt x="0" y="223"/>
                  </a:moveTo>
                  <a:lnTo>
                    <a:pt x="149" y="152"/>
                  </a:lnTo>
                  <a:lnTo>
                    <a:pt x="223" y="0"/>
                  </a:lnTo>
                  <a:lnTo>
                    <a:pt x="69" y="72"/>
                  </a:lnTo>
                  <a:lnTo>
                    <a:pt x="0" y="223"/>
                  </a:lnTo>
                  <a:close/>
                  <a:moveTo>
                    <a:pt x="80" y="96"/>
                  </a:moveTo>
                  <a:lnTo>
                    <a:pt x="127" y="143"/>
                  </a:lnTo>
                  <a:lnTo>
                    <a:pt x="37" y="184"/>
                  </a:lnTo>
                  <a:lnTo>
                    <a:pt x="80" y="96"/>
                  </a:lnTo>
                  <a:close/>
                  <a:moveTo>
                    <a:pt x="141" y="130"/>
                  </a:moveTo>
                  <a:lnTo>
                    <a:pt x="93" y="82"/>
                  </a:lnTo>
                  <a:lnTo>
                    <a:pt x="183" y="40"/>
                  </a:lnTo>
                  <a:lnTo>
                    <a:pt x="14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4" name="Freeform 107">
            <a:extLst>
              <a:ext uri="{FF2B5EF4-FFF2-40B4-BE49-F238E27FC236}">
                <a16:creationId xmlns:a16="http://schemas.microsoft.com/office/drawing/2014/main" id="{63DE0945-E395-47E4-8894-B5250896CC68}"/>
              </a:ext>
            </a:extLst>
          </p:cNvPr>
          <p:cNvSpPr>
            <a:spLocks noChangeAspect="1" noEditPoints="1"/>
          </p:cNvSpPr>
          <p:nvPr/>
        </p:nvSpPr>
        <p:spPr bwMode="auto">
          <a:xfrm>
            <a:off x="1467779" y="1647825"/>
            <a:ext cx="307745" cy="306484"/>
          </a:xfrm>
          <a:custGeom>
            <a:avLst/>
            <a:gdLst>
              <a:gd name="T0" fmla="*/ 528 w 976"/>
              <a:gd name="T1" fmla="*/ 885 h 975"/>
              <a:gd name="T2" fmla="*/ 393 w 976"/>
              <a:gd name="T3" fmla="*/ 613 h 975"/>
              <a:gd name="T4" fmla="*/ 873 w 976"/>
              <a:gd name="T5" fmla="*/ 130 h 975"/>
              <a:gd name="T6" fmla="*/ 528 w 976"/>
              <a:gd name="T7" fmla="*/ 885 h 975"/>
              <a:gd name="T8" fmla="*/ 365 w 976"/>
              <a:gd name="T9" fmla="*/ 586 h 975"/>
              <a:gd name="T10" fmla="*/ 93 w 976"/>
              <a:gd name="T11" fmla="*/ 466 h 975"/>
              <a:gd name="T12" fmla="*/ 842 w 976"/>
              <a:gd name="T13" fmla="*/ 107 h 975"/>
              <a:gd name="T14" fmla="*/ 365 w 976"/>
              <a:gd name="T15" fmla="*/ 586 h 975"/>
              <a:gd name="T16" fmla="*/ 356 w 976"/>
              <a:gd name="T17" fmla="*/ 624 h 975"/>
              <a:gd name="T18" fmla="*/ 530 w 976"/>
              <a:gd name="T19" fmla="*/ 975 h 975"/>
              <a:gd name="T20" fmla="*/ 976 w 976"/>
              <a:gd name="T21" fmla="*/ 0 h 975"/>
              <a:gd name="T22" fmla="*/ 0 w 976"/>
              <a:gd name="T23" fmla="*/ 467 h 975"/>
              <a:gd name="T24" fmla="*/ 356 w 976"/>
              <a:gd name="T25"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6" h="975">
                <a:moveTo>
                  <a:pt x="528" y="885"/>
                </a:moveTo>
                <a:lnTo>
                  <a:pt x="393" y="613"/>
                </a:lnTo>
                <a:lnTo>
                  <a:pt x="873" y="130"/>
                </a:lnTo>
                <a:lnTo>
                  <a:pt x="528" y="885"/>
                </a:lnTo>
                <a:close/>
                <a:moveTo>
                  <a:pt x="365" y="586"/>
                </a:moveTo>
                <a:lnTo>
                  <a:pt x="93" y="466"/>
                </a:lnTo>
                <a:lnTo>
                  <a:pt x="842" y="107"/>
                </a:lnTo>
                <a:lnTo>
                  <a:pt x="365" y="586"/>
                </a:lnTo>
                <a:close/>
                <a:moveTo>
                  <a:pt x="356" y="624"/>
                </a:moveTo>
                <a:lnTo>
                  <a:pt x="530" y="975"/>
                </a:lnTo>
                <a:lnTo>
                  <a:pt x="976" y="0"/>
                </a:lnTo>
                <a:lnTo>
                  <a:pt x="0" y="467"/>
                </a:lnTo>
                <a:lnTo>
                  <a:pt x="356" y="62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275" name="Freeform 68">
            <a:extLst>
              <a:ext uri="{FF2B5EF4-FFF2-40B4-BE49-F238E27FC236}">
                <a16:creationId xmlns:a16="http://schemas.microsoft.com/office/drawing/2014/main" id="{70B0206F-D4DF-49A2-A4F7-63651489A961}"/>
              </a:ext>
            </a:extLst>
          </p:cNvPr>
          <p:cNvSpPr>
            <a:spLocks noChangeAspect="1" noEditPoints="1"/>
          </p:cNvSpPr>
          <p:nvPr/>
        </p:nvSpPr>
        <p:spPr bwMode="auto">
          <a:xfrm>
            <a:off x="1916534" y="1647825"/>
            <a:ext cx="240326" cy="306484"/>
          </a:xfrm>
          <a:custGeom>
            <a:avLst/>
            <a:gdLst>
              <a:gd name="T0" fmla="*/ 68 w 709"/>
              <a:gd name="T1" fmla="*/ 539 h 909"/>
              <a:gd name="T2" fmla="*/ 68 w 709"/>
              <a:gd name="T3" fmla="*/ 370 h 909"/>
              <a:gd name="T4" fmla="*/ 592 w 709"/>
              <a:gd name="T5" fmla="*/ 370 h 909"/>
              <a:gd name="T6" fmla="*/ 664 w 709"/>
              <a:gd name="T7" fmla="*/ 454 h 909"/>
              <a:gd name="T8" fmla="*/ 592 w 709"/>
              <a:gd name="T9" fmla="*/ 539 h 909"/>
              <a:gd name="T10" fmla="*/ 68 w 709"/>
              <a:gd name="T11" fmla="*/ 539 h 909"/>
              <a:gd name="T12" fmla="*/ 45 w 709"/>
              <a:gd name="T13" fmla="*/ 185 h 909"/>
              <a:gd name="T14" fmla="*/ 117 w 709"/>
              <a:gd name="T15" fmla="*/ 100 h 909"/>
              <a:gd name="T16" fmla="*/ 642 w 709"/>
              <a:gd name="T17" fmla="*/ 100 h 909"/>
              <a:gd name="T18" fmla="*/ 642 w 709"/>
              <a:gd name="T19" fmla="*/ 269 h 909"/>
              <a:gd name="T20" fmla="*/ 117 w 709"/>
              <a:gd name="T21" fmla="*/ 269 h 909"/>
              <a:gd name="T22" fmla="*/ 45 w 709"/>
              <a:gd name="T23" fmla="*/ 185 h 909"/>
              <a:gd name="T24" fmla="*/ 709 w 709"/>
              <a:gd name="T25" fmla="*/ 454 h 909"/>
              <a:gd name="T26" fmla="*/ 607 w 709"/>
              <a:gd name="T27" fmla="*/ 337 h 909"/>
              <a:gd name="T28" fmla="*/ 372 w 709"/>
              <a:gd name="T29" fmla="*/ 337 h 909"/>
              <a:gd name="T30" fmla="*/ 372 w 709"/>
              <a:gd name="T31" fmla="*/ 303 h 909"/>
              <a:gd name="T32" fmla="*/ 675 w 709"/>
              <a:gd name="T33" fmla="*/ 303 h 909"/>
              <a:gd name="T34" fmla="*/ 675 w 709"/>
              <a:gd name="T35" fmla="*/ 67 h 909"/>
              <a:gd name="T36" fmla="*/ 372 w 709"/>
              <a:gd name="T37" fmla="*/ 67 h 909"/>
              <a:gd name="T38" fmla="*/ 372 w 709"/>
              <a:gd name="T39" fmla="*/ 0 h 909"/>
              <a:gd name="T40" fmla="*/ 338 w 709"/>
              <a:gd name="T41" fmla="*/ 0 h 909"/>
              <a:gd name="T42" fmla="*/ 338 w 709"/>
              <a:gd name="T43" fmla="*/ 67 h 909"/>
              <a:gd name="T44" fmla="*/ 101 w 709"/>
              <a:gd name="T45" fmla="*/ 67 h 909"/>
              <a:gd name="T46" fmla="*/ 0 w 709"/>
              <a:gd name="T47" fmla="*/ 185 h 909"/>
              <a:gd name="T48" fmla="*/ 101 w 709"/>
              <a:gd name="T49" fmla="*/ 303 h 909"/>
              <a:gd name="T50" fmla="*/ 338 w 709"/>
              <a:gd name="T51" fmla="*/ 303 h 909"/>
              <a:gd name="T52" fmla="*/ 338 w 709"/>
              <a:gd name="T53" fmla="*/ 337 h 909"/>
              <a:gd name="T54" fmla="*/ 34 w 709"/>
              <a:gd name="T55" fmla="*/ 337 h 909"/>
              <a:gd name="T56" fmla="*/ 34 w 709"/>
              <a:gd name="T57" fmla="*/ 572 h 909"/>
              <a:gd name="T58" fmla="*/ 338 w 709"/>
              <a:gd name="T59" fmla="*/ 572 h 909"/>
              <a:gd name="T60" fmla="*/ 338 w 709"/>
              <a:gd name="T61" fmla="*/ 909 h 909"/>
              <a:gd name="T62" fmla="*/ 372 w 709"/>
              <a:gd name="T63" fmla="*/ 909 h 909"/>
              <a:gd name="T64" fmla="*/ 372 w 709"/>
              <a:gd name="T65" fmla="*/ 572 h 909"/>
              <a:gd name="T66" fmla="*/ 607 w 709"/>
              <a:gd name="T67" fmla="*/ 572 h 909"/>
              <a:gd name="T68" fmla="*/ 709 w 709"/>
              <a:gd name="T69" fmla="*/ 454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9" h="909">
                <a:moveTo>
                  <a:pt x="68" y="539"/>
                </a:moveTo>
                <a:lnTo>
                  <a:pt x="68" y="370"/>
                </a:lnTo>
                <a:lnTo>
                  <a:pt x="592" y="370"/>
                </a:lnTo>
                <a:lnTo>
                  <a:pt x="664" y="454"/>
                </a:lnTo>
                <a:lnTo>
                  <a:pt x="592" y="539"/>
                </a:lnTo>
                <a:lnTo>
                  <a:pt x="68" y="539"/>
                </a:lnTo>
                <a:close/>
                <a:moveTo>
                  <a:pt x="45" y="185"/>
                </a:moveTo>
                <a:lnTo>
                  <a:pt x="117" y="100"/>
                </a:lnTo>
                <a:lnTo>
                  <a:pt x="642" y="100"/>
                </a:lnTo>
                <a:lnTo>
                  <a:pt x="642" y="269"/>
                </a:lnTo>
                <a:lnTo>
                  <a:pt x="117" y="269"/>
                </a:lnTo>
                <a:lnTo>
                  <a:pt x="45" y="185"/>
                </a:lnTo>
                <a:close/>
                <a:moveTo>
                  <a:pt x="709" y="454"/>
                </a:moveTo>
                <a:lnTo>
                  <a:pt x="607" y="337"/>
                </a:lnTo>
                <a:lnTo>
                  <a:pt x="372" y="337"/>
                </a:lnTo>
                <a:lnTo>
                  <a:pt x="372" y="303"/>
                </a:lnTo>
                <a:lnTo>
                  <a:pt x="675" y="303"/>
                </a:lnTo>
                <a:lnTo>
                  <a:pt x="675" y="67"/>
                </a:lnTo>
                <a:lnTo>
                  <a:pt x="372" y="67"/>
                </a:lnTo>
                <a:lnTo>
                  <a:pt x="372" y="0"/>
                </a:lnTo>
                <a:lnTo>
                  <a:pt x="338" y="0"/>
                </a:lnTo>
                <a:lnTo>
                  <a:pt x="338" y="67"/>
                </a:lnTo>
                <a:lnTo>
                  <a:pt x="101" y="67"/>
                </a:lnTo>
                <a:lnTo>
                  <a:pt x="0" y="185"/>
                </a:lnTo>
                <a:lnTo>
                  <a:pt x="101" y="303"/>
                </a:lnTo>
                <a:lnTo>
                  <a:pt x="338" y="303"/>
                </a:lnTo>
                <a:lnTo>
                  <a:pt x="338" y="337"/>
                </a:lnTo>
                <a:lnTo>
                  <a:pt x="34" y="337"/>
                </a:lnTo>
                <a:lnTo>
                  <a:pt x="34" y="572"/>
                </a:lnTo>
                <a:lnTo>
                  <a:pt x="338" y="572"/>
                </a:lnTo>
                <a:lnTo>
                  <a:pt x="338" y="909"/>
                </a:lnTo>
                <a:lnTo>
                  <a:pt x="372" y="909"/>
                </a:lnTo>
                <a:lnTo>
                  <a:pt x="372" y="572"/>
                </a:lnTo>
                <a:lnTo>
                  <a:pt x="607" y="572"/>
                </a:lnTo>
                <a:lnTo>
                  <a:pt x="709" y="45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276" name="Group 26">
            <a:extLst>
              <a:ext uri="{FF2B5EF4-FFF2-40B4-BE49-F238E27FC236}">
                <a16:creationId xmlns:a16="http://schemas.microsoft.com/office/drawing/2014/main" id="{107CECBA-5AA9-46E5-A512-06604C0DB124}"/>
              </a:ext>
            </a:extLst>
          </p:cNvPr>
          <p:cNvGrpSpPr>
            <a:grpSpLocks noChangeAspect="1"/>
          </p:cNvGrpSpPr>
          <p:nvPr/>
        </p:nvGrpSpPr>
        <p:grpSpPr>
          <a:xfrm>
            <a:off x="2304045" y="1647825"/>
            <a:ext cx="306484" cy="306484"/>
            <a:chOff x="1006475" y="2025650"/>
            <a:chExt cx="2806700" cy="2806700"/>
          </a:xfrm>
          <a:solidFill>
            <a:schemeClr val="bg1"/>
          </a:solidFill>
          <a:effectLst/>
        </p:grpSpPr>
        <p:sp>
          <p:nvSpPr>
            <p:cNvPr id="321" name="Freeform 5">
              <a:extLst>
                <a:ext uri="{FF2B5EF4-FFF2-40B4-BE49-F238E27FC236}">
                  <a16:creationId xmlns:a16="http://schemas.microsoft.com/office/drawing/2014/main" id="{FE8CDB20-B314-4F6B-B2F6-1E2389498865}"/>
                </a:ext>
              </a:extLst>
            </p:cNvPr>
            <p:cNvSpPr>
              <a:spLocks/>
            </p:cNvSpPr>
            <p:nvPr/>
          </p:nvSpPr>
          <p:spPr bwMode="auto">
            <a:xfrm>
              <a:off x="3111500" y="2025650"/>
              <a:ext cx="701675" cy="701675"/>
            </a:xfrm>
            <a:custGeom>
              <a:avLst/>
              <a:gdLst>
                <a:gd name="T0" fmla="*/ 406 w 442"/>
                <a:gd name="T1" fmla="*/ 442 h 442"/>
                <a:gd name="T2" fmla="*/ 406 w 442"/>
                <a:gd name="T3" fmla="*/ 442 h 442"/>
                <a:gd name="T4" fmla="*/ 398 w 442"/>
                <a:gd name="T5" fmla="*/ 442 h 442"/>
                <a:gd name="T6" fmla="*/ 392 w 442"/>
                <a:gd name="T7" fmla="*/ 438 h 442"/>
                <a:gd name="T8" fmla="*/ 386 w 442"/>
                <a:gd name="T9" fmla="*/ 436 h 442"/>
                <a:gd name="T10" fmla="*/ 380 w 442"/>
                <a:gd name="T11" fmla="*/ 432 h 442"/>
                <a:gd name="T12" fmla="*/ 376 w 442"/>
                <a:gd name="T13" fmla="*/ 426 h 442"/>
                <a:gd name="T14" fmla="*/ 372 w 442"/>
                <a:gd name="T15" fmla="*/ 420 h 442"/>
                <a:gd name="T16" fmla="*/ 370 w 442"/>
                <a:gd name="T17" fmla="*/ 412 h 442"/>
                <a:gd name="T18" fmla="*/ 370 w 442"/>
                <a:gd name="T19" fmla="*/ 404 h 442"/>
                <a:gd name="T20" fmla="*/ 370 w 442"/>
                <a:gd name="T21" fmla="*/ 74 h 442"/>
                <a:gd name="T22" fmla="*/ 38 w 442"/>
                <a:gd name="T23" fmla="*/ 74 h 442"/>
                <a:gd name="T24" fmla="*/ 38 w 442"/>
                <a:gd name="T25" fmla="*/ 74 h 442"/>
                <a:gd name="T26" fmla="*/ 30 w 442"/>
                <a:gd name="T27" fmla="*/ 72 h 442"/>
                <a:gd name="T28" fmla="*/ 24 w 442"/>
                <a:gd name="T29" fmla="*/ 70 h 442"/>
                <a:gd name="T30" fmla="*/ 18 w 442"/>
                <a:gd name="T31" fmla="*/ 68 h 442"/>
                <a:gd name="T32" fmla="*/ 12 w 442"/>
                <a:gd name="T33" fmla="*/ 62 h 442"/>
                <a:gd name="T34" fmla="*/ 8 w 442"/>
                <a:gd name="T35" fmla="*/ 58 h 442"/>
                <a:gd name="T36" fmla="*/ 4 w 442"/>
                <a:gd name="T37" fmla="*/ 50 h 442"/>
                <a:gd name="T38" fmla="*/ 2 w 442"/>
                <a:gd name="T39" fmla="*/ 44 h 442"/>
                <a:gd name="T40" fmla="*/ 0 w 442"/>
                <a:gd name="T41" fmla="*/ 36 h 442"/>
                <a:gd name="T42" fmla="*/ 0 w 442"/>
                <a:gd name="T43" fmla="*/ 36 h 442"/>
                <a:gd name="T44" fmla="*/ 2 w 442"/>
                <a:gd name="T45" fmla="*/ 30 h 442"/>
                <a:gd name="T46" fmla="*/ 4 w 442"/>
                <a:gd name="T47" fmla="*/ 22 h 442"/>
                <a:gd name="T48" fmla="*/ 8 w 442"/>
                <a:gd name="T49" fmla="*/ 16 h 442"/>
                <a:gd name="T50" fmla="*/ 12 w 442"/>
                <a:gd name="T51" fmla="*/ 10 h 442"/>
                <a:gd name="T52" fmla="*/ 18 w 442"/>
                <a:gd name="T53" fmla="*/ 6 h 442"/>
                <a:gd name="T54" fmla="*/ 24 w 442"/>
                <a:gd name="T55" fmla="*/ 2 h 442"/>
                <a:gd name="T56" fmla="*/ 30 w 442"/>
                <a:gd name="T57" fmla="*/ 0 h 442"/>
                <a:gd name="T58" fmla="*/ 38 w 442"/>
                <a:gd name="T59" fmla="*/ 0 h 442"/>
                <a:gd name="T60" fmla="*/ 406 w 442"/>
                <a:gd name="T61" fmla="*/ 0 h 442"/>
                <a:gd name="T62" fmla="*/ 406 w 442"/>
                <a:gd name="T63" fmla="*/ 0 h 442"/>
                <a:gd name="T64" fmla="*/ 414 w 442"/>
                <a:gd name="T65" fmla="*/ 0 h 442"/>
                <a:gd name="T66" fmla="*/ 420 w 442"/>
                <a:gd name="T67" fmla="*/ 2 h 442"/>
                <a:gd name="T68" fmla="*/ 426 w 442"/>
                <a:gd name="T69" fmla="*/ 6 h 442"/>
                <a:gd name="T70" fmla="*/ 432 w 442"/>
                <a:gd name="T71" fmla="*/ 10 h 442"/>
                <a:gd name="T72" fmla="*/ 436 w 442"/>
                <a:gd name="T73" fmla="*/ 16 h 442"/>
                <a:gd name="T74" fmla="*/ 440 w 442"/>
                <a:gd name="T75" fmla="*/ 22 h 442"/>
                <a:gd name="T76" fmla="*/ 442 w 442"/>
                <a:gd name="T77" fmla="*/ 30 h 442"/>
                <a:gd name="T78" fmla="*/ 442 w 442"/>
                <a:gd name="T79" fmla="*/ 36 h 442"/>
                <a:gd name="T80" fmla="*/ 442 w 442"/>
                <a:gd name="T81" fmla="*/ 404 h 442"/>
                <a:gd name="T82" fmla="*/ 442 w 442"/>
                <a:gd name="T83" fmla="*/ 404 h 442"/>
                <a:gd name="T84" fmla="*/ 442 w 442"/>
                <a:gd name="T85" fmla="*/ 412 h 442"/>
                <a:gd name="T86" fmla="*/ 440 w 442"/>
                <a:gd name="T87" fmla="*/ 420 h 442"/>
                <a:gd name="T88" fmla="*/ 436 w 442"/>
                <a:gd name="T89" fmla="*/ 426 h 442"/>
                <a:gd name="T90" fmla="*/ 432 w 442"/>
                <a:gd name="T91" fmla="*/ 432 h 442"/>
                <a:gd name="T92" fmla="*/ 426 w 442"/>
                <a:gd name="T93" fmla="*/ 436 h 442"/>
                <a:gd name="T94" fmla="*/ 420 w 442"/>
                <a:gd name="T95" fmla="*/ 438 h 442"/>
                <a:gd name="T96" fmla="*/ 414 w 442"/>
                <a:gd name="T97" fmla="*/ 442 h 442"/>
                <a:gd name="T98" fmla="*/ 406 w 442"/>
                <a:gd name="T99" fmla="*/ 442 h 442"/>
                <a:gd name="T100" fmla="*/ 406 w 442"/>
                <a:gd name="T101"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442">
                  <a:moveTo>
                    <a:pt x="406" y="442"/>
                  </a:moveTo>
                  <a:lnTo>
                    <a:pt x="406" y="442"/>
                  </a:lnTo>
                  <a:lnTo>
                    <a:pt x="398" y="442"/>
                  </a:lnTo>
                  <a:lnTo>
                    <a:pt x="392" y="438"/>
                  </a:lnTo>
                  <a:lnTo>
                    <a:pt x="386" y="436"/>
                  </a:lnTo>
                  <a:lnTo>
                    <a:pt x="380" y="432"/>
                  </a:lnTo>
                  <a:lnTo>
                    <a:pt x="376" y="426"/>
                  </a:lnTo>
                  <a:lnTo>
                    <a:pt x="372" y="420"/>
                  </a:lnTo>
                  <a:lnTo>
                    <a:pt x="370" y="412"/>
                  </a:lnTo>
                  <a:lnTo>
                    <a:pt x="370" y="404"/>
                  </a:lnTo>
                  <a:lnTo>
                    <a:pt x="370" y="74"/>
                  </a:lnTo>
                  <a:lnTo>
                    <a:pt x="38" y="74"/>
                  </a:lnTo>
                  <a:lnTo>
                    <a:pt x="38" y="74"/>
                  </a:lnTo>
                  <a:lnTo>
                    <a:pt x="30" y="72"/>
                  </a:lnTo>
                  <a:lnTo>
                    <a:pt x="24" y="70"/>
                  </a:lnTo>
                  <a:lnTo>
                    <a:pt x="18" y="68"/>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406" y="0"/>
                  </a:lnTo>
                  <a:lnTo>
                    <a:pt x="406" y="0"/>
                  </a:lnTo>
                  <a:lnTo>
                    <a:pt x="414" y="0"/>
                  </a:lnTo>
                  <a:lnTo>
                    <a:pt x="420" y="2"/>
                  </a:lnTo>
                  <a:lnTo>
                    <a:pt x="426" y="6"/>
                  </a:lnTo>
                  <a:lnTo>
                    <a:pt x="432" y="10"/>
                  </a:lnTo>
                  <a:lnTo>
                    <a:pt x="436" y="16"/>
                  </a:lnTo>
                  <a:lnTo>
                    <a:pt x="440" y="22"/>
                  </a:lnTo>
                  <a:lnTo>
                    <a:pt x="442" y="30"/>
                  </a:lnTo>
                  <a:lnTo>
                    <a:pt x="442" y="36"/>
                  </a:lnTo>
                  <a:lnTo>
                    <a:pt x="442" y="404"/>
                  </a:lnTo>
                  <a:lnTo>
                    <a:pt x="442" y="404"/>
                  </a:lnTo>
                  <a:lnTo>
                    <a:pt x="442" y="412"/>
                  </a:lnTo>
                  <a:lnTo>
                    <a:pt x="440" y="420"/>
                  </a:lnTo>
                  <a:lnTo>
                    <a:pt x="436" y="426"/>
                  </a:lnTo>
                  <a:lnTo>
                    <a:pt x="432" y="432"/>
                  </a:lnTo>
                  <a:lnTo>
                    <a:pt x="426" y="436"/>
                  </a:lnTo>
                  <a:lnTo>
                    <a:pt x="420" y="438"/>
                  </a:lnTo>
                  <a:lnTo>
                    <a:pt x="414" y="442"/>
                  </a:lnTo>
                  <a:lnTo>
                    <a:pt x="406" y="442"/>
                  </a:lnTo>
                  <a:lnTo>
                    <a:pt x="406"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
              <a:extLst>
                <a:ext uri="{FF2B5EF4-FFF2-40B4-BE49-F238E27FC236}">
                  <a16:creationId xmlns:a16="http://schemas.microsoft.com/office/drawing/2014/main" id="{AE21FE9F-82F2-4223-A3B9-EC974CAD6D2E}"/>
                </a:ext>
              </a:extLst>
            </p:cNvPr>
            <p:cNvSpPr>
              <a:spLocks/>
            </p:cNvSpPr>
            <p:nvPr/>
          </p:nvSpPr>
          <p:spPr bwMode="auto">
            <a:xfrm>
              <a:off x="1006475" y="2025650"/>
              <a:ext cx="2806700" cy="2806700"/>
            </a:xfrm>
            <a:custGeom>
              <a:avLst/>
              <a:gdLst>
                <a:gd name="T0" fmla="*/ 38 w 1768"/>
                <a:gd name="T1" fmla="*/ 1768 h 1768"/>
                <a:gd name="T2" fmla="*/ 30 w 1768"/>
                <a:gd name="T3" fmla="*/ 1768 h 1768"/>
                <a:gd name="T4" fmla="*/ 16 w 1768"/>
                <a:gd name="T5" fmla="*/ 1762 h 1768"/>
                <a:gd name="T6" fmla="*/ 6 w 1768"/>
                <a:gd name="T7" fmla="*/ 1752 h 1768"/>
                <a:gd name="T8" fmla="*/ 0 w 1768"/>
                <a:gd name="T9" fmla="*/ 1738 h 1768"/>
                <a:gd name="T10" fmla="*/ 0 w 1768"/>
                <a:gd name="T11" fmla="*/ 36 h 1768"/>
                <a:gd name="T12" fmla="*/ 0 w 1768"/>
                <a:gd name="T13" fmla="*/ 30 h 1768"/>
                <a:gd name="T14" fmla="*/ 6 w 1768"/>
                <a:gd name="T15" fmla="*/ 16 h 1768"/>
                <a:gd name="T16" fmla="*/ 16 w 1768"/>
                <a:gd name="T17" fmla="*/ 6 h 1768"/>
                <a:gd name="T18" fmla="*/ 30 w 1768"/>
                <a:gd name="T19" fmla="*/ 0 h 1768"/>
                <a:gd name="T20" fmla="*/ 1142 w 1768"/>
                <a:gd name="T21" fmla="*/ 0 h 1768"/>
                <a:gd name="T22" fmla="*/ 1150 w 1768"/>
                <a:gd name="T23" fmla="*/ 0 h 1768"/>
                <a:gd name="T24" fmla="*/ 1164 w 1768"/>
                <a:gd name="T25" fmla="*/ 6 h 1768"/>
                <a:gd name="T26" fmla="*/ 1174 w 1768"/>
                <a:gd name="T27" fmla="*/ 16 h 1768"/>
                <a:gd name="T28" fmla="*/ 1178 w 1768"/>
                <a:gd name="T29" fmla="*/ 30 h 1768"/>
                <a:gd name="T30" fmla="*/ 1180 w 1768"/>
                <a:gd name="T31" fmla="*/ 36 h 1768"/>
                <a:gd name="T32" fmla="*/ 1176 w 1768"/>
                <a:gd name="T33" fmla="*/ 50 h 1768"/>
                <a:gd name="T34" fmla="*/ 1168 w 1768"/>
                <a:gd name="T35" fmla="*/ 62 h 1768"/>
                <a:gd name="T36" fmla="*/ 1156 w 1768"/>
                <a:gd name="T37" fmla="*/ 70 h 1768"/>
                <a:gd name="T38" fmla="*/ 1142 w 1768"/>
                <a:gd name="T39" fmla="*/ 74 h 1768"/>
                <a:gd name="T40" fmla="*/ 74 w 1768"/>
                <a:gd name="T41" fmla="*/ 1694 h 1768"/>
                <a:gd name="T42" fmla="*/ 1696 w 1768"/>
                <a:gd name="T43" fmla="*/ 626 h 1768"/>
                <a:gd name="T44" fmla="*/ 1696 w 1768"/>
                <a:gd name="T45" fmla="*/ 618 h 1768"/>
                <a:gd name="T46" fmla="*/ 1702 w 1768"/>
                <a:gd name="T47" fmla="*/ 606 h 1768"/>
                <a:gd name="T48" fmla="*/ 1712 w 1768"/>
                <a:gd name="T49" fmla="*/ 596 h 1768"/>
                <a:gd name="T50" fmla="*/ 1724 w 1768"/>
                <a:gd name="T51" fmla="*/ 590 h 1768"/>
                <a:gd name="T52" fmla="*/ 1732 w 1768"/>
                <a:gd name="T53" fmla="*/ 590 h 1768"/>
                <a:gd name="T54" fmla="*/ 1746 w 1768"/>
                <a:gd name="T55" fmla="*/ 592 h 1768"/>
                <a:gd name="T56" fmla="*/ 1758 w 1768"/>
                <a:gd name="T57" fmla="*/ 600 h 1768"/>
                <a:gd name="T58" fmla="*/ 1766 w 1768"/>
                <a:gd name="T59" fmla="*/ 612 h 1768"/>
                <a:gd name="T60" fmla="*/ 1768 w 1768"/>
                <a:gd name="T61" fmla="*/ 626 h 1768"/>
                <a:gd name="T62" fmla="*/ 1768 w 1768"/>
                <a:gd name="T63" fmla="*/ 1732 h 1768"/>
                <a:gd name="T64" fmla="*/ 1766 w 1768"/>
                <a:gd name="T65" fmla="*/ 1746 h 1768"/>
                <a:gd name="T66" fmla="*/ 1758 w 1768"/>
                <a:gd name="T67" fmla="*/ 1758 h 1768"/>
                <a:gd name="T68" fmla="*/ 1746 w 1768"/>
                <a:gd name="T69" fmla="*/ 1766 h 1768"/>
                <a:gd name="T70" fmla="*/ 1732 w 1768"/>
                <a:gd name="T71" fmla="*/ 176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8" h="1768">
                  <a:moveTo>
                    <a:pt x="1732" y="1768"/>
                  </a:moveTo>
                  <a:lnTo>
                    <a:pt x="38" y="1768"/>
                  </a:lnTo>
                  <a:lnTo>
                    <a:pt x="38" y="1768"/>
                  </a:lnTo>
                  <a:lnTo>
                    <a:pt x="30" y="1768"/>
                  </a:lnTo>
                  <a:lnTo>
                    <a:pt x="22" y="1766"/>
                  </a:lnTo>
                  <a:lnTo>
                    <a:pt x="16" y="1762"/>
                  </a:lnTo>
                  <a:lnTo>
                    <a:pt x="12" y="1758"/>
                  </a:lnTo>
                  <a:lnTo>
                    <a:pt x="6" y="1752"/>
                  </a:lnTo>
                  <a:lnTo>
                    <a:pt x="4" y="1746"/>
                  </a:lnTo>
                  <a:lnTo>
                    <a:pt x="0" y="1738"/>
                  </a:lnTo>
                  <a:lnTo>
                    <a:pt x="0" y="1732"/>
                  </a:lnTo>
                  <a:lnTo>
                    <a:pt x="0" y="36"/>
                  </a:lnTo>
                  <a:lnTo>
                    <a:pt x="0" y="36"/>
                  </a:lnTo>
                  <a:lnTo>
                    <a:pt x="0" y="30"/>
                  </a:lnTo>
                  <a:lnTo>
                    <a:pt x="4" y="22"/>
                  </a:lnTo>
                  <a:lnTo>
                    <a:pt x="6" y="16"/>
                  </a:lnTo>
                  <a:lnTo>
                    <a:pt x="12" y="10"/>
                  </a:lnTo>
                  <a:lnTo>
                    <a:pt x="16" y="6"/>
                  </a:lnTo>
                  <a:lnTo>
                    <a:pt x="22" y="2"/>
                  </a:lnTo>
                  <a:lnTo>
                    <a:pt x="30" y="0"/>
                  </a:lnTo>
                  <a:lnTo>
                    <a:pt x="38" y="0"/>
                  </a:lnTo>
                  <a:lnTo>
                    <a:pt x="1142" y="0"/>
                  </a:lnTo>
                  <a:lnTo>
                    <a:pt x="1142" y="0"/>
                  </a:lnTo>
                  <a:lnTo>
                    <a:pt x="1150" y="0"/>
                  </a:lnTo>
                  <a:lnTo>
                    <a:pt x="1156" y="2"/>
                  </a:lnTo>
                  <a:lnTo>
                    <a:pt x="1164" y="6"/>
                  </a:lnTo>
                  <a:lnTo>
                    <a:pt x="1168" y="10"/>
                  </a:lnTo>
                  <a:lnTo>
                    <a:pt x="1174" y="16"/>
                  </a:lnTo>
                  <a:lnTo>
                    <a:pt x="1176" y="22"/>
                  </a:lnTo>
                  <a:lnTo>
                    <a:pt x="1178" y="30"/>
                  </a:lnTo>
                  <a:lnTo>
                    <a:pt x="1180" y="36"/>
                  </a:lnTo>
                  <a:lnTo>
                    <a:pt x="1180" y="36"/>
                  </a:lnTo>
                  <a:lnTo>
                    <a:pt x="1178" y="44"/>
                  </a:lnTo>
                  <a:lnTo>
                    <a:pt x="1176" y="50"/>
                  </a:lnTo>
                  <a:lnTo>
                    <a:pt x="1174" y="58"/>
                  </a:lnTo>
                  <a:lnTo>
                    <a:pt x="1168" y="62"/>
                  </a:lnTo>
                  <a:lnTo>
                    <a:pt x="1164" y="68"/>
                  </a:lnTo>
                  <a:lnTo>
                    <a:pt x="1156" y="70"/>
                  </a:lnTo>
                  <a:lnTo>
                    <a:pt x="1150" y="72"/>
                  </a:lnTo>
                  <a:lnTo>
                    <a:pt x="1142" y="74"/>
                  </a:lnTo>
                  <a:lnTo>
                    <a:pt x="74" y="74"/>
                  </a:lnTo>
                  <a:lnTo>
                    <a:pt x="74" y="1694"/>
                  </a:lnTo>
                  <a:lnTo>
                    <a:pt x="1696" y="1694"/>
                  </a:lnTo>
                  <a:lnTo>
                    <a:pt x="1696" y="626"/>
                  </a:lnTo>
                  <a:lnTo>
                    <a:pt x="1696" y="626"/>
                  </a:lnTo>
                  <a:lnTo>
                    <a:pt x="1696" y="618"/>
                  </a:lnTo>
                  <a:lnTo>
                    <a:pt x="1698" y="612"/>
                  </a:lnTo>
                  <a:lnTo>
                    <a:pt x="1702" y="606"/>
                  </a:lnTo>
                  <a:lnTo>
                    <a:pt x="1706" y="600"/>
                  </a:lnTo>
                  <a:lnTo>
                    <a:pt x="1712" y="596"/>
                  </a:lnTo>
                  <a:lnTo>
                    <a:pt x="1718" y="592"/>
                  </a:lnTo>
                  <a:lnTo>
                    <a:pt x="1724" y="590"/>
                  </a:lnTo>
                  <a:lnTo>
                    <a:pt x="1732" y="590"/>
                  </a:lnTo>
                  <a:lnTo>
                    <a:pt x="1732" y="590"/>
                  </a:lnTo>
                  <a:lnTo>
                    <a:pt x="1740" y="590"/>
                  </a:lnTo>
                  <a:lnTo>
                    <a:pt x="1746" y="592"/>
                  </a:lnTo>
                  <a:lnTo>
                    <a:pt x="1752" y="596"/>
                  </a:lnTo>
                  <a:lnTo>
                    <a:pt x="1758" y="600"/>
                  </a:lnTo>
                  <a:lnTo>
                    <a:pt x="1762" y="606"/>
                  </a:lnTo>
                  <a:lnTo>
                    <a:pt x="1766" y="612"/>
                  </a:lnTo>
                  <a:lnTo>
                    <a:pt x="1768" y="618"/>
                  </a:lnTo>
                  <a:lnTo>
                    <a:pt x="1768" y="626"/>
                  </a:lnTo>
                  <a:lnTo>
                    <a:pt x="1768" y="1732"/>
                  </a:lnTo>
                  <a:lnTo>
                    <a:pt x="1768" y="1732"/>
                  </a:lnTo>
                  <a:lnTo>
                    <a:pt x="1768" y="1738"/>
                  </a:lnTo>
                  <a:lnTo>
                    <a:pt x="1766" y="1746"/>
                  </a:lnTo>
                  <a:lnTo>
                    <a:pt x="1762" y="1752"/>
                  </a:lnTo>
                  <a:lnTo>
                    <a:pt x="1758" y="1758"/>
                  </a:lnTo>
                  <a:lnTo>
                    <a:pt x="1752" y="1762"/>
                  </a:lnTo>
                  <a:lnTo>
                    <a:pt x="1746" y="1766"/>
                  </a:lnTo>
                  <a:lnTo>
                    <a:pt x="1740" y="1768"/>
                  </a:lnTo>
                  <a:lnTo>
                    <a:pt x="1732" y="1768"/>
                  </a:lnTo>
                  <a:lnTo>
                    <a:pt x="1732" y="1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7">
              <a:extLst>
                <a:ext uri="{FF2B5EF4-FFF2-40B4-BE49-F238E27FC236}">
                  <a16:creationId xmlns:a16="http://schemas.microsoft.com/office/drawing/2014/main" id="{8F4F4AAB-12D2-47C3-B675-28D5E9B09186}"/>
                </a:ext>
              </a:extLst>
            </p:cNvPr>
            <p:cNvSpPr>
              <a:spLocks/>
            </p:cNvSpPr>
            <p:nvPr/>
          </p:nvSpPr>
          <p:spPr bwMode="auto">
            <a:xfrm>
              <a:off x="2409825" y="2025650"/>
              <a:ext cx="1403350" cy="1403350"/>
            </a:xfrm>
            <a:custGeom>
              <a:avLst/>
              <a:gdLst>
                <a:gd name="T0" fmla="*/ 38 w 884"/>
                <a:gd name="T1" fmla="*/ 884 h 884"/>
                <a:gd name="T2" fmla="*/ 38 w 884"/>
                <a:gd name="T3" fmla="*/ 884 h 884"/>
                <a:gd name="T4" fmla="*/ 30 w 884"/>
                <a:gd name="T5" fmla="*/ 884 h 884"/>
                <a:gd name="T6" fmla="*/ 24 w 884"/>
                <a:gd name="T7" fmla="*/ 882 h 884"/>
                <a:gd name="T8" fmla="*/ 18 w 884"/>
                <a:gd name="T9" fmla="*/ 878 h 884"/>
                <a:gd name="T10" fmla="*/ 12 w 884"/>
                <a:gd name="T11" fmla="*/ 874 h 884"/>
                <a:gd name="T12" fmla="*/ 12 w 884"/>
                <a:gd name="T13" fmla="*/ 874 h 884"/>
                <a:gd name="T14" fmla="*/ 6 w 884"/>
                <a:gd name="T15" fmla="*/ 868 h 884"/>
                <a:gd name="T16" fmla="*/ 4 w 884"/>
                <a:gd name="T17" fmla="*/ 862 h 884"/>
                <a:gd name="T18" fmla="*/ 2 w 884"/>
                <a:gd name="T19" fmla="*/ 854 h 884"/>
                <a:gd name="T20" fmla="*/ 0 w 884"/>
                <a:gd name="T21" fmla="*/ 848 h 884"/>
                <a:gd name="T22" fmla="*/ 2 w 884"/>
                <a:gd name="T23" fmla="*/ 840 h 884"/>
                <a:gd name="T24" fmla="*/ 4 w 884"/>
                <a:gd name="T25" fmla="*/ 834 h 884"/>
                <a:gd name="T26" fmla="*/ 6 w 884"/>
                <a:gd name="T27" fmla="*/ 826 h 884"/>
                <a:gd name="T28" fmla="*/ 12 w 884"/>
                <a:gd name="T29" fmla="*/ 822 h 884"/>
                <a:gd name="T30" fmla="*/ 822 w 884"/>
                <a:gd name="T31" fmla="*/ 10 h 884"/>
                <a:gd name="T32" fmla="*/ 822 w 884"/>
                <a:gd name="T33" fmla="*/ 10 h 884"/>
                <a:gd name="T34" fmla="*/ 828 w 884"/>
                <a:gd name="T35" fmla="*/ 6 h 884"/>
                <a:gd name="T36" fmla="*/ 834 w 884"/>
                <a:gd name="T37" fmla="*/ 2 h 884"/>
                <a:gd name="T38" fmla="*/ 842 w 884"/>
                <a:gd name="T39" fmla="*/ 0 h 884"/>
                <a:gd name="T40" fmla="*/ 848 w 884"/>
                <a:gd name="T41" fmla="*/ 0 h 884"/>
                <a:gd name="T42" fmla="*/ 856 w 884"/>
                <a:gd name="T43" fmla="*/ 0 h 884"/>
                <a:gd name="T44" fmla="*/ 862 w 884"/>
                <a:gd name="T45" fmla="*/ 2 h 884"/>
                <a:gd name="T46" fmla="*/ 868 w 884"/>
                <a:gd name="T47" fmla="*/ 6 h 884"/>
                <a:gd name="T48" fmla="*/ 874 w 884"/>
                <a:gd name="T49" fmla="*/ 10 h 884"/>
                <a:gd name="T50" fmla="*/ 874 w 884"/>
                <a:gd name="T51" fmla="*/ 10 h 884"/>
                <a:gd name="T52" fmla="*/ 878 w 884"/>
                <a:gd name="T53" fmla="*/ 16 h 884"/>
                <a:gd name="T54" fmla="*/ 882 w 884"/>
                <a:gd name="T55" fmla="*/ 22 h 884"/>
                <a:gd name="T56" fmla="*/ 884 w 884"/>
                <a:gd name="T57" fmla="*/ 30 h 884"/>
                <a:gd name="T58" fmla="*/ 884 w 884"/>
                <a:gd name="T59" fmla="*/ 36 h 884"/>
                <a:gd name="T60" fmla="*/ 884 w 884"/>
                <a:gd name="T61" fmla="*/ 44 h 884"/>
                <a:gd name="T62" fmla="*/ 882 w 884"/>
                <a:gd name="T63" fmla="*/ 50 h 884"/>
                <a:gd name="T64" fmla="*/ 878 w 884"/>
                <a:gd name="T65" fmla="*/ 56 h 884"/>
                <a:gd name="T66" fmla="*/ 874 w 884"/>
                <a:gd name="T67" fmla="*/ 62 h 884"/>
                <a:gd name="T68" fmla="*/ 64 w 884"/>
                <a:gd name="T69" fmla="*/ 874 h 884"/>
                <a:gd name="T70" fmla="*/ 64 w 884"/>
                <a:gd name="T71" fmla="*/ 874 h 884"/>
                <a:gd name="T72" fmla="*/ 58 w 884"/>
                <a:gd name="T73" fmla="*/ 878 h 884"/>
                <a:gd name="T74" fmla="*/ 52 w 884"/>
                <a:gd name="T75" fmla="*/ 882 h 884"/>
                <a:gd name="T76" fmla="*/ 44 w 884"/>
                <a:gd name="T77" fmla="*/ 884 h 884"/>
                <a:gd name="T78" fmla="*/ 38 w 884"/>
                <a:gd name="T79" fmla="*/ 884 h 884"/>
                <a:gd name="T80" fmla="*/ 38 w 884"/>
                <a:gd name="T81" fmla="*/ 88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4" h="884">
                  <a:moveTo>
                    <a:pt x="38" y="884"/>
                  </a:moveTo>
                  <a:lnTo>
                    <a:pt x="38" y="884"/>
                  </a:lnTo>
                  <a:lnTo>
                    <a:pt x="30" y="884"/>
                  </a:lnTo>
                  <a:lnTo>
                    <a:pt x="24" y="882"/>
                  </a:lnTo>
                  <a:lnTo>
                    <a:pt x="18" y="878"/>
                  </a:lnTo>
                  <a:lnTo>
                    <a:pt x="12" y="874"/>
                  </a:lnTo>
                  <a:lnTo>
                    <a:pt x="12" y="874"/>
                  </a:lnTo>
                  <a:lnTo>
                    <a:pt x="6" y="868"/>
                  </a:lnTo>
                  <a:lnTo>
                    <a:pt x="4" y="862"/>
                  </a:lnTo>
                  <a:lnTo>
                    <a:pt x="2" y="854"/>
                  </a:lnTo>
                  <a:lnTo>
                    <a:pt x="0" y="848"/>
                  </a:lnTo>
                  <a:lnTo>
                    <a:pt x="2" y="840"/>
                  </a:lnTo>
                  <a:lnTo>
                    <a:pt x="4" y="834"/>
                  </a:lnTo>
                  <a:lnTo>
                    <a:pt x="6" y="826"/>
                  </a:lnTo>
                  <a:lnTo>
                    <a:pt x="12" y="822"/>
                  </a:lnTo>
                  <a:lnTo>
                    <a:pt x="822" y="10"/>
                  </a:lnTo>
                  <a:lnTo>
                    <a:pt x="822" y="10"/>
                  </a:lnTo>
                  <a:lnTo>
                    <a:pt x="828" y="6"/>
                  </a:lnTo>
                  <a:lnTo>
                    <a:pt x="834" y="2"/>
                  </a:lnTo>
                  <a:lnTo>
                    <a:pt x="842" y="0"/>
                  </a:lnTo>
                  <a:lnTo>
                    <a:pt x="848" y="0"/>
                  </a:lnTo>
                  <a:lnTo>
                    <a:pt x="856" y="0"/>
                  </a:lnTo>
                  <a:lnTo>
                    <a:pt x="862" y="2"/>
                  </a:lnTo>
                  <a:lnTo>
                    <a:pt x="868" y="6"/>
                  </a:lnTo>
                  <a:lnTo>
                    <a:pt x="874" y="10"/>
                  </a:lnTo>
                  <a:lnTo>
                    <a:pt x="874" y="10"/>
                  </a:lnTo>
                  <a:lnTo>
                    <a:pt x="878" y="16"/>
                  </a:lnTo>
                  <a:lnTo>
                    <a:pt x="882" y="22"/>
                  </a:lnTo>
                  <a:lnTo>
                    <a:pt x="884" y="30"/>
                  </a:lnTo>
                  <a:lnTo>
                    <a:pt x="884" y="36"/>
                  </a:lnTo>
                  <a:lnTo>
                    <a:pt x="884" y="44"/>
                  </a:lnTo>
                  <a:lnTo>
                    <a:pt x="882" y="50"/>
                  </a:lnTo>
                  <a:lnTo>
                    <a:pt x="878" y="56"/>
                  </a:lnTo>
                  <a:lnTo>
                    <a:pt x="874" y="62"/>
                  </a:lnTo>
                  <a:lnTo>
                    <a:pt x="64" y="874"/>
                  </a:lnTo>
                  <a:lnTo>
                    <a:pt x="64" y="874"/>
                  </a:lnTo>
                  <a:lnTo>
                    <a:pt x="58" y="878"/>
                  </a:lnTo>
                  <a:lnTo>
                    <a:pt x="52" y="882"/>
                  </a:lnTo>
                  <a:lnTo>
                    <a:pt x="44" y="884"/>
                  </a:lnTo>
                  <a:lnTo>
                    <a:pt x="38" y="884"/>
                  </a:lnTo>
                  <a:lnTo>
                    <a:pt x="38"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8">
              <a:extLst>
                <a:ext uri="{FF2B5EF4-FFF2-40B4-BE49-F238E27FC236}">
                  <a16:creationId xmlns:a16="http://schemas.microsoft.com/office/drawing/2014/main" id="{9207450A-B2D0-4045-9191-2FAE807D2A19}"/>
                </a:ext>
              </a:extLst>
            </p:cNvPr>
            <p:cNvSpPr>
              <a:spLocks noEditPoints="1"/>
            </p:cNvSpPr>
            <p:nvPr/>
          </p:nvSpPr>
          <p:spPr bwMode="auto">
            <a:xfrm>
              <a:off x="1943100" y="2844800"/>
              <a:ext cx="1054100" cy="1050925"/>
            </a:xfrm>
            <a:custGeom>
              <a:avLst/>
              <a:gdLst>
                <a:gd name="T0" fmla="*/ 626 w 664"/>
                <a:gd name="T1" fmla="*/ 662 h 662"/>
                <a:gd name="T2" fmla="*/ 36 w 664"/>
                <a:gd name="T3" fmla="*/ 662 h 662"/>
                <a:gd name="T4" fmla="*/ 36 w 664"/>
                <a:gd name="T5" fmla="*/ 662 h 662"/>
                <a:gd name="T6" fmla="*/ 30 w 664"/>
                <a:gd name="T7" fmla="*/ 662 h 662"/>
                <a:gd name="T8" fmla="*/ 22 w 664"/>
                <a:gd name="T9" fmla="*/ 660 h 662"/>
                <a:gd name="T10" fmla="*/ 16 w 664"/>
                <a:gd name="T11" fmla="*/ 656 h 662"/>
                <a:gd name="T12" fmla="*/ 10 w 664"/>
                <a:gd name="T13" fmla="*/ 652 h 662"/>
                <a:gd name="T14" fmla="*/ 6 w 664"/>
                <a:gd name="T15" fmla="*/ 646 h 662"/>
                <a:gd name="T16" fmla="*/ 2 w 664"/>
                <a:gd name="T17" fmla="*/ 640 h 662"/>
                <a:gd name="T18" fmla="*/ 0 w 664"/>
                <a:gd name="T19" fmla="*/ 634 h 662"/>
                <a:gd name="T20" fmla="*/ 0 w 664"/>
                <a:gd name="T21" fmla="*/ 626 h 662"/>
                <a:gd name="T22" fmla="*/ 0 w 664"/>
                <a:gd name="T23" fmla="*/ 36 h 662"/>
                <a:gd name="T24" fmla="*/ 0 w 664"/>
                <a:gd name="T25" fmla="*/ 36 h 662"/>
                <a:gd name="T26" fmla="*/ 0 w 664"/>
                <a:gd name="T27" fmla="*/ 28 h 662"/>
                <a:gd name="T28" fmla="*/ 2 w 664"/>
                <a:gd name="T29" fmla="*/ 22 h 662"/>
                <a:gd name="T30" fmla="*/ 6 w 664"/>
                <a:gd name="T31" fmla="*/ 16 h 662"/>
                <a:gd name="T32" fmla="*/ 10 w 664"/>
                <a:gd name="T33" fmla="*/ 10 h 662"/>
                <a:gd name="T34" fmla="*/ 16 w 664"/>
                <a:gd name="T35" fmla="*/ 6 h 662"/>
                <a:gd name="T36" fmla="*/ 22 w 664"/>
                <a:gd name="T37" fmla="*/ 2 h 662"/>
                <a:gd name="T38" fmla="*/ 30 w 664"/>
                <a:gd name="T39" fmla="*/ 0 h 662"/>
                <a:gd name="T40" fmla="*/ 36 w 664"/>
                <a:gd name="T41" fmla="*/ 0 h 662"/>
                <a:gd name="T42" fmla="*/ 626 w 664"/>
                <a:gd name="T43" fmla="*/ 0 h 662"/>
                <a:gd name="T44" fmla="*/ 626 w 664"/>
                <a:gd name="T45" fmla="*/ 0 h 662"/>
                <a:gd name="T46" fmla="*/ 634 w 664"/>
                <a:gd name="T47" fmla="*/ 0 h 662"/>
                <a:gd name="T48" fmla="*/ 640 w 664"/>
                <a:gd name="T49" fmla="*/ 2 h 662"/>
                <a:gd name="T50" fmla="*/ 646 w 664"/>
                <a:gd name="T51" fmla="*/ 6 h 662"/>
                <a:gd name="T52" fmla="*/ 652 w 664"/>
                <a:gd name="T53" fmla="*/ 10 h 662"/>
                <a:gd name="T54" fmla="*/ 656 w 664"/>
                <a:gd name="T55" fmla="*/ 16 h 662"/>
                <a:gd name="T56" fmla="*/ 660 w 664"/>
                <a:gd name="T57" fmla="*/ 22 h 662"/>
                <a:gd name="T58" fmla="*/ 662 w 664"/>
                <a:gd name="T59" fmla="*/ 28 h 662"/>
                <a:gd name="T60" fmla="*/ 664 w 664"/>
                <a:gd name="T61" fmla="*/ 36 h 662"/>
                <a:gd name="T62" fmla="*/ 664 w 664"/>
                <a:gd name="T63" fmla="*/ 626 h 662"/>
                <a:gd name="T64" fmla="*/ 664 w 664"/>
                <a:gd name="T65" fmla="*/ 626 h 662"/>
                <a:gd name="T66" fmla="*/ 662 w 664"/>
                <a:gd name="T67" fmla="*/ 634 h 662"/>
                <a:gd name="T68" fmla="*/ 660 w 664"/>
                <a:gd name="T69" fmla="*/ 640 h 662"/>
                <a:gd name="T70" fmla="*/ 656 w 664"/>
                <a:gd name="T71" fmla="*/ 646 h 662"/>
                <a:gd name="T72" fmla="*/ 652 w 664"/>
                <a:gd name="T73" fmla="*/ 652 h 662"/>
                <a:gd name="T74" fmla="*/ 646 w 664"/>
                <a:gd name="T75" fmla="*/ 656 h 662"/>
                <a:gd name="T76" fmla="*/ 640 w 664"/>
                <a:gd name="T77" fmla="*/ 660 h 662"/>
                <a:gd name="T78" fmla="*/ 634 w 664"/>
                <a:gd name="T79" fmla="*/ 662 h 662"/>
                <a:gd name="T80" fmla="*/ 626 w 664"/>
                <a:gd name="T81" fmla="*/ 662 h 662"/>
                <a:gd name="T82" fmla="*/ 626 w 664"/>
                <a:gd name="T83" fmla="*/ 662 h 662"/>
                <a:gd name="T84" fmla="*/ 74 w 664"/>
                <a:gd name="T85" fmla="*/ 590 h 662"/>
                <a:gd name="T86" fmla="*/ 590 w 664"/>
                <a:gd name="T87" fmla="*/ 590 h 662"/>
                <a:gd name="T88" fmla="*/ 590 w 664"/>
                <a:gd name="T89" fmla="*/ 74 h 662"/>
                <a:gd name="T90" fmla="*/ 74 w 664"/>
                <a:gd name="T91" fmla="*/ 74 h 662"/>
                <a:gd name="T92" fmla="*/ 74 w 664"/>
                <a:gd name="T93" fmla="*/ 59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4" h="662">
                  <a:moveTo>
                    <a:pt x="626" y="662"/>
                  </a:moveTo>
                  <a:lnTo>
                    <a:pt x="36" y="662"/>
                  </a:lnTo>
                  <a:lnTo>
                    <a:pt x="36" y="662"/>
                  </a:lnTo>
                  <a:lnTo>
                    <a:pt x="30" y="662"/>
                  </a:lnTo>
                  <a:lnTo>
                    <a:pt x="22" y="660"/>
                  </a:lnTo>
                  <a:lnTo>
                    <a:pt x="16" y="656"/>
                  </a:lnTo>
                  <a:lnTo>
                    <a:pt x="10" y="652"/>
                  </a:lnTo>
                  <a:lnTo>
                    <a:pt x="6" y="646"/>
                  </a:lnTo>
                  <a:lnTo>
                    <a:pt x="2" y="640"/>
                  </a:lnTo>
                  <a:lnTo>
                    <a:pt x="0" y="634"/>
                  </a:lnTo>
                  <a:lnTo>
                    <a:pt x="0" y="626"/>
                  </a:lnTo>
                  <a:lnTo>
                    <a:pt x="0" y="36"/>
                  </a:lnTo>
                  <a:lnTo>
                    <a:pt x="0" y="36"/>
                  </a:lnTo>
                  <a:lnTo>
                    <a:pt x="0" y="28"/>
                  </a:lnTo>
                  <a:lnTo>
                    <a:pt x="2" y="22"/>
                  </a:lnTo>
                  <a:lnTo>
                    <a:pt x="6" y="16"/>
                  </a:lnTo>
                  <a:lnTo>
                    <a:pt x="10" y="10"/>
                  </a:lnTo>
                  <a:lnTo>
                    <a:pt x="16" y="6"/>
                  </a:lnTo>
                  <a:lnTo>
                    <a:pt x="22" y="2"/>
                  </a:lnTo>
                  <a:lnTo>
                    <a:pt x="30" y="0"/>
                  </a:lnTo>
                  <a:lnTo>
                    <a:pt x="36" y="0"/>
                  </a:lnTo>
                  <a:lnTo>
                    <a:pt x="626" y="0"/>
                  </a:lnTo>
                  <a:lnTo>
                    <a:pt x="626" y="0"/>
                  </a:lnTo>
                  <a:lnTo>
                    <a:pt x="634" y="0"/>
                  </a:lnTo>
                  <a:lnTo>
                    <a:pt x="640" y="2"/>
                  </a:lnTo>
                  <a:lnTo>
                    <a:pt x="646" y="6"/>
                  </a:lnTo>
                  <a:lnTo>
                    <a:pt x="652" y="10"/>
                  </a:lnTo>
                  <a:lnTo>
                    <a:pt x="656" y="16"/>
                  </a:lnTo>
                  <a:lnTo>
                    <a:pt x="660" y="22"/>
                  </a:lnTo>
                  <a:lnTo>
                    <a:pt x="662" y="28"/>
                  </a:lnTo>
                  <a:lnTo>
                    <a:pt x="664" y="36"/>
                  </a:lnTo>
                  <a:lnTo>
                    <a:pt x="664" y="626"/>
                  </a:lnTo>
                  <a:lnTo>
                    <a:pt x="664" y="626"/>
                  </a:lnTo>
                  <a:lnTo>
                    <a:pt x="662" y="634"/>
                  </a:lnTo>
                  <a:lnTo>
                    <a:pt x="660" y="640"/>
                  </a:lnTo>
                  <a:lnTo>
                    <a:pt x="656" y="646"/>
                  </a:lnTo>
                  <a:lnTo>
                    <a:pt x="652" y="652"/>
                  </a:lnTo>
                  <a:lnTo>
                    <a:pt x="646" y="656"/>
                  </a:lnTo>
                  <a:lnTo>
                    <a:pt x="640" y="660"/>
                  </a:lnTo>
                  <a:lnTo>
                    <a:pt x="634" y="662"/>
                  </a:lnTo>
                  <a:lnTo>
                    <a:pt x="626" y="662"/>
                  </a:lnTo>
                  <a:lnTo>
                    <a:pt x="626" y="662"/>
                  </a:lnTo>
                  <a:close/>
                  <a:moveTo>
                    <a:pt x="74" y="590"/>
                  </a:moveTo>
                  <a:lnTo>
                    <a:pt x="590" y="590"/>
                  </a:lnTo>
                  <a:lnTo>
                    <a:pt x="590" y="74"/>
                  </a:lnTo>
                  <a:lnTo>
                    <a:pt x="74" y="74"/>
                  </a:lnTo>
                  <a:lnTo>
                    <a:pt x="7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7" name="Gruppieren 276">
            <a:extLst>
              <a:ext uri="{FF2B5EF4-FFF2-40B4-BE49-F238E27FC236}">
                <a16:creationId xmlns:a16="http://schemas.microsoft.com/office/drawing/2014/main" id="{9955B11A-DC62-4E97-8DA4-FC6B8AEFED55}"/>
              </a:ext>
            </a:extLst>
          </p:cNvPr>
          <p:cNvGrpSpPr>
            <a:grpSpLocks noChangeAspect="1"/>
          </p:cNvGrpSpPr>
          <p:nvPr/>
        </p:nvGrpSpPr>
        <p:grpSpPr>
          <a:xfrm>
            <a:off x="2725653" y="1647825"/>
            <a:ext cx="306831" cy="306484"/>
            <a:chOff x="7462590" y="2310910"/>
            <a:chExt cx="399787" cy="399335"/>
          </a:xfrm>
          <a:solidFill>
            <a:schemeClr val="bg1"/>
          </a:solidFill>
          <a:effectLst/>
        </p:grpSpPr>
        <p:sp>
          <p:nvSpPr>
            <p:cNvPr id="309" name="Freeform 12">
              <a:extLst>
                <a:ext uri="{FF2B5EF4-FFF2-40B4-BE49-F238E27FC236}">
                  <a16:creationId xmlns:a16="http://schemas.microsoft.com/office/drawing/2014/main" id="{B29D14B3-2E24-44FE-AD63-CF329F921BDE}"/>
                </a:ext>
              </a:extLst>
            </p:cNvPr>
            <p:cNvSpPr>
              <a:spLocks/>
            </p:cNvSpPr>
            <p:nvPr/>
          </p:nvSpPr>
          <p:spPr bwMode="auto">
            <a:xfrm>
              <a:off x="7762543" y="2310910"/>
              <a:ext cx="99834" cy="99834"/>
            </a:xfrm>
            <a:custGeom>
              <a:avLst/>
              <a:gdLst>
                <a:gd name="T0" fmla="*/ 404 w 442"/>
                <a:gd name="T1" fmla="*/ 442 h 442"/>
                <a:gd name="T2" fmla="*/ 404 w 442"/>
                <a:gd name="T3" fmla="*/ 442 h 442"/>
                <a:gd name="T4" fmla="*/ 396 w 442"/>
                <a:gd name="T5" fmla="*/ 442 h 442"/>
                <a:gd name="T6" fmla="*/ 390 w 442"/>
                <a:gd name="T7" fmla="*/ 438 h 442"/>
                <a:gd name="T8" fmla="*/ 384 w 442"/>
                <a:gd name="T9" fmla="*/ 436 h 442"/>
                <a:gd name="T10" fmla="*/ 378 w 442"/>
                <a:gd name="T11" fmla="*/ 432 h 442"/>
                <a:gd name="T12" fmla="*/ 374 w 442"/>
                <a:gd name="T13" fmla="*/ 426 h 442"/>
                <a:gd name="T14" fmla="*/ 370 w 442"/>
                <a:gd name="T15" fmla="*/ 420 h 442"/>
                <a:gd name="T16" fmla="*/ 368 w 442"/>
                <a:gd name="T17" fmla="*/ 412 h 442"/>
                <a:gd name="T18" fmla="*/ 368 w 442"/>
                <a:gd name="T19" fmla="*/ 404 h 442"/>
                <a:gd name="T20" fmla="*/ 368 w 442"/>
                <a:gd name="T21" fmla="*/ 74 h 442"/>
                <a:gd name="T22" fmla="*/ 36 w 442"/>
                <a:gd name="T23" fmla="*/ 74 h 442"/>
                <a:gd name="T24" fmla="*/ 36 w 442"/>
                <a:gd name="T25" fmla="*/ 74 h 442"/>
                <a:gd name="T26" fmla="*/ 28 w 442"/>
                <a:gd name="T27" fmla="*/ 72 h 442"/>
                <a:gd name="T28" fmla="*/ 22 w 442"/>
                <a:gd name="T29" fmla="*/ 70 h 442"/>
                <a:gd name="T30" fmla="*/ 16 w 442"/>
                <a:gd name="T31" fmla="*/ 68 h 442"/>
                <a:gd name="T32" fmla="*/ 10 w 442"/>
                <a:gd name="T33" fmla="*/ 62 h 442"/>
                <a:gd name="T34" fmla="*/ 6 w 442"/>
                <a:gd name="T35" fmla="*/ 58 h 442"/>
                <a:gd name="T36" fmla="*/ 2 w 442"/>
                <a:gd name="T37" fmla="*/ 50 h 442"/>
                <a:gd name="T38" fmla="*/ 0 w 442"/>
                <a:gd name="T39" fmla="*/ 44 h 442"/>
                <a:gd name="T40" fmla="*/ 0 w 442"/>
                <a:gd name="T41" fmla="*/ 36 h 442"/>
                <a:gd name="T42" fmla="*/ 0 w 442"/>
                <a:gd name="T43" fmla="*/ 36 h 442"/>
                <a:gd name="T44" fmla="*/ 0 w 442"/>
                <a:gd name="T45" fmla="*/ 30 h 442"/>
                <a:gd name="T46" fmla="*/ 2 w 442"/>
                <a:gd name="T47" fmla="*/ 22 h 442"/>
                <a:gd name="T48" fmla="*/ 6 w 442"/>
                <a:gd name="T49" fmla="*/ 16 h 442"/>
                <a:gd name="T50" fmla="*/ 10 w 442"/>
                <a:gd name="T51" fmla="*/ 10 h 442"/>
                <a:gd name="T52" fmla="*/ 16 w 442"/>
                <a:gd name="T53" fmla="*/ 6 h 442"/>
                <a:gd name="T54" fmla="*/ 22 w 442"/>
                <a:gd name="T55" fmla="*/ 2 h 442"/>
                <a:gd name="T56" fmla="*/ 28 w 442"/>
                <a:gd name="T57" fmla="*/ 0 h 442"/>
                <a:gd name="T58" fmla="*/ 36 w 442"/>
                <a:gd name="T59" fmla="*/ 0 h 442"/>
                <a:gd name="T60" fmla="*/ 404 w 442"/>
                <a:gd name="T61" fmla="*/ 0 h 442"/>
                <a:gd name="T62" fmla="*/ 404 w 442"/>
                <a:gd name="T63" fmla="*/ 0 h 442"/>
                <a:gd name="T64" fmla="*/ 412 w 442"/>
                <a:gd name="T65" fmla="*/ 0 h 442"/>
                <a:gd name="T66" fmla="*/ 418 w 442"/>
                <a:gd name="T67" fmla="*/ 2 h 442"/>
                <a:gd name="T68" fmla="*/ 424 w 442"/>
                <a:gd name="T69" fmla="*/ 6 h 442"/>
                <a:gd name="T70" fmla="*/ 430 w 442"/>
                <a:gd name="T71" fmla="*/ 10 h 442"/>
                <a:gd name="T72" fmla="*/ 434 w 442"/>
                <a:gd name="T73" fmla="*/ 16 h 442"/>
                <a:gd name="T74" fmla="*/ 438 w 442"/>
                <a:gd name="T75" fmla="*/ 22 h 442"/>
                <a:gd name="T76" fmla="*/ 440 w 442"/>
                <a:gd name="T77" fmla="*/ 30 h 442"/>
                <a:gd name="T78" fmla="*/ 442 w 442"/>
                <a:gd name="T79" fmla="*/ 36 h 442"/>
                <a:gd name="T80" fmla="*/ 442 w 442"/>
                <a:gd name="T81" fmla="*/ 404 h 442"/>
                <a:gd name="T82" fmla="*/ 442 w 442"/>
                <a:gd name="T83" fmla="*/ 404 h 442"/>
                <a:gd name="T84" fmla="*/ 440 w 442"/>
                <a:gd name="T85" fmla="*/ 412 h 442"/>
                <a:gd name="T86" fmla="*/ 438 w 442"/>
                <a:gd name="T87" fmla="*/ 420 h 442"/>
                <a:gd name="T88" fmla="*/ 434 w 442"/>
                <a:gd name="T89" fmla="*/ 426 h 442"/>
                <a:gd name="T90" fmla="*/ 430 w 442"/>
                <a:gd name="T91" fmla="*/ 432 h 442"/>
                <a:gd name="T92" fmla="*/ 424 w 442"/>
                <a:gd name="T93" fmla="*/ 436 h 442"/>
                <a:gd name="T94" fmla="*/ 418 w 442"/>
                <a:gd name="T95" fmla="*/ 438 h 442"/>
                <a:gd name="T96" fmla="*/ 412 w 442"/>
                <a:gd name="T97" fmla="*/ 442 h 442"/>
                <a:gd name="T98" fmla="*/ 404 w 442"/>
                <a:gd name="T99" fmla="*/ 442 h 442"/>
                <a:gd name="T100" fmla="*/ 404 w 442"/>
                <a:gd name="T101"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2" h="442">
                  <a:moveTo>
                    <a:pt x="404" y="442"/>
                  </a:moveTo>
                  <a:lnTo>
                    <a:pt x="404" y="442"/>
                  </a:lnTo>
                  <a:lnTo>
                    <a:pt x="396" y="442"/>
                  </a:lnTo>
                  <a:lnTo>
                    <a:pt x="390" y="438"/>
                  </a:lnTo>
                  <a:lnTo>
                    <a:pt x="384" y="436"/>
                  </a:lnTo>
                  <a:lnTo>
                    <a:pt x="378" y="432"/>
                  </a:lnTo>
                  <a:lnTo>
                    <a:pt x="374" y="426"/>
                  </a:lnTo>
                  <a:lnTo>
                    <a:pt x="370" y="420"/>
                  </a:lnTo>
                  <a:lnTo>
                    <a:pt x="368" y="412"/>
                  </a:lnTo>
                  <a:lnTo>
                    <a:pt x="368" y="404"/>
                  </a:lnTo>
                  <a:lnTo>
                    <a:pt x="368" y="74"/>
                  </a:lnTo>
                  <a:lnTo>
                    <a:pt x="36" y="74"/>
                  </a:lnTo>
                  <a:lnTo>
                    <a:pt x="36" y="74"/>
                  </a:lnTo>
                  <a:lnTo>
                    <a:pt x="28" y="72"/>
                  </a:lnTo>
                  <a:lnTo>
                    <a:pt x="22" y="70"/>
                  </a:lnTo>
                  <a:lnTo>
                    <a:pt x="16" y="68"/>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404" y="0"/>
                  </a:lnTo>
                  <a:lnTo>
                    <a:pt x="404" y="0"/>
                  </a:lnTo>
                  <a:lnTo>
                    <a:pt x="412" y="0"/>
                  </a:lnTo>
                  <a:lnTo>
                    <a:pt x="418" y="2"/>
                  </a:lnTo>
                  <a:lnTo>
                    <a:pt x="424" y="6"/>
                  </a:lnTo>
                  <a:lnTo>
                    <a:pt x="430" y="10"/>
                  </a:lnTo>
                  <a:lnTo>
                    <a:pt x="434" y="16"/>
                  </a:lnTo>
                  <a:lnTo>
                    <a:pt x="438" y="22"/>
                  </a:lnTo>
                  <a:lnTo>
                    <a:pt x="440" y="30"/>
                  </a:lnTo>
                  <a:lnTo>
                    <a:pt x="442" y="36"/>
                  </a:lnTo>
                  <a:lnTo>
                    <a:pt x="442" y="404"/>
                  </a:lnTo>
                  <a:lnTo>
                    <a:pt x="442" y="404"/>
                  </a:lnTo>
                  <a:lnTo>
                    <a:pt x="440" y="412"/>
                  </a:lnTo>
                  <a:lnTo>
                    <a:pt x="438" y="420"/>
                  </a:lnTo>
                  <a:lnTo>
                    <a:pt x="434" y="426"/>
                  </a:lnTo>
                  <a:lnTo>
                    <a:pt x="430" y="432"/>
                  </a:lnTo>
                  <a:lnTo>
                    <a:pt x="424" y="436"/>
                  </a:lnTo>
                  <a:lnTo>
                    <a:pt x="418" y="438"/>
                  </a:lnTo>
                  <a:lnTo>
                    <a:pt x="412" y="442"/>
                  </a:lnTo>
                  <a:lnTo>
                    <a:pt x="404" y="442"/>
                  </a:lnTo>
                  <a:lnTo>
                    <a:pt x="404"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3">
              <a:extLst>
                <a:ext uri="{FF2B5EF4-FFF2-40B4-BE49-F238E27FC236}">
                  <a16:creationId xmlns:a16="http://schemas.microsoft.com/office/drawing/2014/main" id="{FA175D9E-C84C-4B71-8FC6-CBE19E9B8C1D}"/>
                </a:ext>
              </a:extLst>
            </p:cNvPr>
            <p:cNvSpPr>
              <a:spLocks/>
            </p:cNvSpPr>
            <p:nvPr/>
          </p:nvSpPr>
          <p:spPr bwMode="auto">
            <a:xfrm>
              <a:off x="7845663" y="2444172"/>
              <a:ext cx="16714" cy="45625"/>
            </a:xfrm>
            <a:custGeom>
              <a:avLst/>
              <a:gdLst>
                <a:gd name="T0" fmla="*/ 36 w 74"/>
                <a:gd name="T1" fmla="*/ 202 h 202"/>
                <a:gd name="T2" fmla="*/ 36 w 74"/>
                <a:gd name="T3" fmla="*/ 202 h 202"/>
                <a:gd name="T4" fmla="*/ 28 w 74"/>
                <a:gd name="T5" fmla="*/ 202 h 202"/>
                <a:gd name="T6" fmla="*/ 22 w 74"/>
                <a:gd name="T7" fmla="*/ 198 h 202"/>
                <a:gd name="T8" fmla="*/ 16 w 74"/>
                <a:gd name="T9" fmla="*/ 196 h 202"/>
                <a:gd name="T10" fmla="*/ 10 w 74"/>
                <a:gd name="T11" fmla="*/ 192 h 202"/>
                <a:gd name="T12" fmla="*/ 6 w 74"/>
                <a:gd name="T13" fmla="*/ 186 h 202"/>
                <a:gd name="T14" fmla="*/ 2 w 74"/>
                <a:gd name="T15" fmla="*/ 180 h 202"/>
                <a:gd name="T16" fmla="*/ 0 w 74"/>
                <a:gd name="T17" fmla="*/ 172 h 202"/>
                <a:gd name="T18" fmla="*/ 0 w 74"/>
                <a:gd name="T19" fmla="*/ 166 h 202"/>
                <a:gd name="T20" fmla="*/ 0 w 74"/>
                <a:gd name="T21" fmla="*/ 36 h 202"/>
                <a:gd name="T22" fmla="*/ 0 w 74"/>
                <a:gd name="T23" fmla="*/ 36 h 202"/>
                <a:gd name="T24" fmla="*/ 0 w 74"/>
                <a:gd name="T25" fmla="*/ 28 h 202"/>
                <a:gd name="T26" fmla="*/ 2 w 74"/>
                <a:gd name="T27" fmla="*/ 22 h 202"/>
                <a:gd name="T28" fmla="*/ 6 w 74"/>
                <a:gd name="T29" fmla="*/ 16 h 202"/>
                <a:gd name="T30" fmla="*/ 10 w 74"/>
                <a:gd name="T31" fmla="*/ 10 h 202"/>
                <a:gd name="T32" fmla="*/ 16 w 74"/>
                <a:gd name="T33" fmla="*/ 6 h 202"/>
                <a:gd name="T34" fmla="*/ 22 w 74"/>
                <a:gd name="T35" fmla="*/ 2 h 202"/>
                <a:gd name="T36" fmla="*/ 28 w 74"/>
                <a:gd name="T37" fmla="*/ 0 h 202"/>
                <a:gd name="T38" fmla="*/ 36 w 74"/>
                <a:gd name="T39" fmla="*/ 0 h 202"/>
                <a:gd name="T40" fmla="*/ 36 w 74"/>
                <a:gd name="T41" fmla="*/ 0 h 202"/>
                <a:gd name="T42" fmla="*/ 44 w 74"/>
                <a:gd name="T43" fmla="*/ 0 h 202"/>
                <a:gd name="T44" fmla="*/ 50 w 74"/>
                <a:gd name="T45" fmla="*/ 2 h 202"/>
                <a:gd name="T46" fmla="*/ 56 w 74"/>
                <a:gd name="T47" fmla="*/ 6 h 202"/>
                <a:gd name="T48" fmla="*/ 62 w 74"/>
                <a:gd name="T49" fmla="*/ 10 h 202"/>
                <a:gd name="T50" fmla="*/ 66 w 74"/>
                <a:gd name="T51" fmla="*/ 16 h 202"/>
                <a:gd name="T52" fmla="*/ 70 w 74"/>
                <a:gd name="T53" fmla="*/ 22 h 202"/>
                <a:gd name="T54" fmla="*/ 72 w 74"/>
                <a:gd name="T55" fmla="*/ 28 h 202"/>
                <a:gd name="T56" fmla="*/ 74 w 74"/>
                <a:gd name="T57" fmla="*/ 36 h 202"/>
                <a:gd name="T58" fmla="*/ 74 w 74"/>
                <a:gd name="T59" fmla="*/ 166 h 202"/>
                <a:gd name="T60" fmla="*/ 74 w 74"/>
                <a:gd name="T61" fmla="*/ 166 h 202"/>
                <a:gd name="T62" fmla="*/ 72 w 74"/>
                <a:gd name="T63" fmla="*/ 172 h 202"/>
                <a:gd name="T64" fmla="*/ 70 w 74"/>
                <a:gd name="T65" fmla="*/ 180 h 202"/>
                <a:gd name="T66" fmla="*/ 66 w 74"/>
                <a:gd name="T67" fmla="*/ 186 h 202"/>
                <a:gd name="T68" fmla="*/ 62 w 74"/>
                <a:gd name="T69" fmla="*/ 192 h 202"/>
                <a:gd name="T70" fmla="*/ 56 w 74"/>
                <a:gd name="T71" fmla="*/ 196 h 202"/>
                <a:gd name="T72" fmla="*/ 50 w 74"/>
                <a:gd name="T73" fmla="*/ 198 h 202"/>
                <a:gd name="T74" fmla="*/ 44 w 74"/>
                <a:gd name="T75" fmla="*/ 202 h 202"/>
                <a:gd name="T76" fmla="*/ 36 w 74"/>
                <a:gd name="T77" fmla="*/ 202 h 202"/>
                <a:gd name="T78" fmla="*/ 36 w 74"/>
                <a:gd name="T79"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202">
                  <a:moveTo>
                    <a:pt x="36" y="202"/>
                  </a:moveTo>
                  <a:lnTo>
                    <a:pt x="36" y="202"/>
                  </a:lnTo>
                  <a:lnTo>
                    <a:pt x="28" y="202"/>
                  </a:lnTo>
                  <a:lnTo>
                    <a:pt x="22" y="198"/>
                  </a:lnTo>
                  <a:lnTo>
                    <a:pt x="16" y="196"/>
                  </a:lnTo>
                  <a:lnTo>
                    <a:pt x="10" y="192"/>
                  </a:lnTo>
                  <a:lnTo>
                    <a:pt x="6" y="186"/>
                  </a:lnTo>
                  <a:lnTo>
                    <a:pt x="2" y="180"/>
                  </a:lnTo>
                  <a:lnTo>
                    <a:pt x="0" y="172"/>
                  </a:lnTo>
                  <a:lnTo>
                    <a:pt x="0" y="166"/>
                  </a:lnTo>
                  <a:lnTo>
                    <a:pt x="0" y="36"/>
                  </a:lnTo>
                  <a:lnTo>
                    <a:pt x="0" y="36"/>
                  </a:lnTo>
                  <a:lnTo>
                    <a:pt x="0" y="28"/>
                  </a:lnTo>
                  <a:lnTo>
                    <a:pt x="2" y="22"/>
                  </a:lnTo>
                  <a:lnTo>
                    <a:pt x="6" y="16"/>
                  </a:lnTo>
                  <a:lnTo>
                    <a:pt x="10" y="10"/>
                  </a:lnTo>
                  <a:lnTo>
                    <a:pt x="16" y="6"/>
                  </a:lnTo>
                  <a:lnTo>
                    <a:pt x="22" y="2"/>
                  </a:lnTo>
                  <a:lnTo>
                    <a:pt x="28" y="0"/>
                  </a:lnTo>
                  <a:lnTo>
                    <a:pt x="36" y="0"/>
                  </a:lnTo>
                  <a:lnTo>
                    <a:pt x="36" y="0"/>
                  </a:lnTo>
                  <a:lnTo>
                    <a:pt x="44" y="0"/>
                  </a:lnTo>
                  <a:lnTo>
                    <a:pt x="50" y="2"/>
                  </a:lnTo>
                  <a:lnTo>
                    <a:pt x="56" y="6"/>
                  </a:lnTo>
                  <a:lnTo>
                    <a:pt x="62" y="10"/>
                  </a:lnTo>
                  <a:lnTo>
                    <a:pt x="66" y="16"/>
                  </a:lnTo>
                  <a:lnTo>
                    <a:pt x="70" y="22"/>
                  </a:lnTo>
                  <a:lnTo>
                    <a:pt x="72" y="28"/>
                  </a:lnTo>
                  <a:lnTo>
                    <a:pt x="74" y="36"/>
                  </a:lnTo>
                  <a:lnTo>
                    <a:pt x="74" y="166"/>
                  </a:lnTo>
                  <a:lnTo>
                    <a:pt x="74" y="166"/>
                  </a:lnTo>
                  <a:lnTo>
                    <a:pt x="72" y="172"/>
                  </a:lnTo>
                  <a:lnTo>
                    <a:pt x="70" y="180"/>
                  </a:lnTo>
                  <a:lnTo>
                    <a:pt x="66" y="186"/>
                  </a:lnTo>
                  <a:lnTo>
                    <a:pt x="62" y="192"/>
                  </a:lnTo>
                  <a:lnTo>
                    <a:pt x="56" y="196"/>
                  </a:lnTo>
                  <a:lnTo>
                    <a:pt x="50" y="198"/>
                  </a:lnTo>
                  <a:lnTo>
                    <a:pt x="44" y="202"/>
                  </a:lnTo>
                  <a:lnTo>
                    <a:pt x="36" y="202"/>
                  </a:lnTo>
                  <a:lnTo>
                    <a:pt x="3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4">
              <a:extLst>
                <a:ext uri="{FF2B5EF4-FFF2-40B4-BE49-F238E27FC236}">
                  <a16:creationId xmlns:a16="http://schemas.microsoft.com/office/drawing/2014/main" id="{1D34AB39-0001-4029-B0E9-A522BBEF99E5}"/>
                </a:ext>
              </a:extLst>
            </p:cNvPr>
            <p:cNvSpPr>
              <a:spLocks noEditPoints="1"/>
            </p:cNvSpPr>
            <p:nvPr/>
          </p:nvSpPr>
          <p:spPr bwMode="auto">
            <a:xfrm>
              <a:off x="7845663" y="2506060"/>
              <a:ext cx="16714" cy="142297"/>
            </a:xfrm>
            <a:custGeom>
              <a:avLst/>
              <a:gdLst>
                <a:gd name="T0" fmla="*/ 36 w 74"/>
                <a:gd name="T1" fmla="*/ 630 h 630"/>
                <a:gd name="T2" fmla="*/ 22 w 74"/>
                <a:gd name="T3" fmla="*/ 626 h 630"/>
                <a:gd name="T4" fmla="*/ 10 w 74"/>
                <a:gd name="T5" fmla="*/ 618 h 630"/>
                <a:gd name="T6" fmla="*/ 2 w 74"/>
                <a:gd name="T7" fmla="*/ 606 h 630"/>
                <a:gd name="T8" fmla="*/ 0 w 74"/>
                <a:gd name="T9" fmla="*/ 592 h 630"/>
                <a:gd name="T10" fmla="*/ 0 w 74"/>
                <a:gd name="T11" fmla="*/ 388 h 630"/>
                <a:gd name="T12" fmla="*/ 2 w 74"/>
                <a:gd name="T13" fmla="*/ 374 h 630"/>
                <a:gd name="T14" fmla="*/ 10 w 74"/>
                <a:gd name="T15" fmla="*/ 362 h 630"/>
                <a:gd name="T16" fmla="*/ 22 w 74"/>
                <a:gd name="T17" fmla="*/ 354 h 630"/>
                <a:gd name="T18" fmla="*/ 36 w 74"/>
                <a:gd name="T19" fmla="*/ 352 h 630"/>
                <a:gd name="T20" fmla="*/ 44 w 74"/>
                <a:gd name="T21" fmla="*/ 352 h 630"/>
                <a:gd name="T22" fmla="*/ 56 w 74"/>
                <a:gd name="T23" fmla="*/ 358 h 630"/>
                <a:gd name="T24" fmla="*/ 66 w 74"/>
                <a:gd name="T25" fmla="*/ 368 h 630"/>
                <a:gd name="T26" fmla="*/ 72 w 74"/>
                <a:gd name="T27" fmla="*/ 380 h 630"/>
                <a:gd name="T28" fmla="*/ 74 w 74"/>
                <a:gd name="T29" fmla="*/ 592 h 630"/>
                <a:gd name="T30" fmla="*/ 72 w 74"/>
                <a:gd name="T31" fmla="*/ 600 h 630"/>
                <a:gd name="T32" fmla="*/ 66 w 74"/>
                <a:gd name="T33" fmla="*/ 614 h 630"/>
                <a:gd name="T34" fmla="*/ 56 w 74"/>
                <a:gd name="T35" fmla="*/ 622 h 630"/>
                <a:gd name="T36" fmla="*/ 44 w 74"/>
                <a:gd name="T37" fmla="*/ 628 h 630"/>
                <a:gd name="T38" fmla="*/ 36 w 74"/>
                <a:gd name="T39" fmla="*/ 630 h 630"/>
                <a:gd name="T40" fmla="*/ 36 w 74"/>
                <a:gd name="T41" fmla="*/ 278 h 630"/>
                <a:gd name="T42" fmla="*/ 22 w 74"/>
                <a:gd name="T43" fmla="*/ 276 h 630"/>
                <a:gd name="T44" fmla="*/ 10 w 74"/>
                <a:gd name="T45" fmla="*/ 268 h 630"/>
                <a:gd name="T46" fmla="*/ 2 w 74"/>
                <a:gd name="T47" fmla="*/ 256 h 630"/>
                <a:gd name="T48" fmla="*/ 0 w 74"/>
                <a:gd name="T49" fmla="*/ 242 h 630"/>
                <a:gd name="T50" fmla="*/ 0 w 74"/>
                <a:gd name="T51" fmla="*/ 38 h 630"/>
                <a:gd name="T52" fmla="*/ 2 w 74"/>
                <a:gd name="T53" fmla="*/ 22 h 630"/>
                <a:gd name="T54" fmla="*/ 10 w 74"/>
                <a:gd name="T55" fmla="*/ 12 h 630"/>
                <a:gd name="T56" fmla="*/ 22 w 74"/>
                <a:gd name="T57" fmla="*/ 4 h 630"/>
                <a:gd name="T58" fmla="*/ 36 w 74"/>
                <a:gd name="T59" fmla="*/ 0 h 630"/>
                <a:gd name="T60" fmla="*/ 44 w 74"/>
                <a:gd name="T61" fmla="*/ 2 h 630"/>
                <a:gd name="T62" fmla="*/ 56 w 74"/>
                <a:gd name="T63" fmla="*/ 6 h 630"/>
                <a:gd name="T64" fmla="*/ 66 w 74"/>
                <a:gd name="T65" fmla="*/ 16 h 630"/>
                <a:gd name="T66" fmla="*/ 72 w 74"/>
                <a:gd name="T67" fmla="*/ 30 h 630"/>
                <a:gd name="T68" fmla="*/ 74 w 74"/>
                <a:gd name="T69" fmla="*/ 242 h 630"/>
                <a:gd name="T70" fmla="*/ 72 w 74"/>
                <a:gd name="T71" fmla="*/ 250 h 630"/>
                <a:gd name="T72" fmla="*/ 66 w 74"/>
                <a:gd name="T73" fmla="*/ 262 h 630"/>
                <a:gd name="T74" fmla="*/ 56 w 74"/>
                <a:gd name="T75" fmla="*/ 272 h 630"/>
                <a:gd name="T76" fmla="*/ 44 w 74"/>
                <a:gd name="T77" fmla="*/ 278 h 630"/>
                <a:gd name="T78" fmla="*/ 36 w 74"/>
                <a:gd name="T79" fmla="*/ 278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630">
                  <a:moveTo>
                    <a:pt x="36" y="630"/>
                  </a:moveTo>
                  <a:lnTo>
                    <a:pt x="36" y="630"/>
                  </a:lnTo>
                  <a:lnTo>
                    <a:pt x="28" y="628"/>
                  </a:lnTo>
                  <a:lnTo>
                    <a:pt x="22" y="626"/>
                  </a:lnTo>
                  <a:lnTo>
                    <a:pt x="16" y="622"/>
                  </a:lnTo>
                  <a:lnTo>
                    <a:pt x="10" y="618"/>
                  </a:lnTo>
                  <a:lnTo>
                    <a:pt x="6" y="614"/>
                  </a:lnTo>
                  <a:lnTo>
                    <a:pt x="2" y="606"/>
                  </a:lnTo>
                  <a:lnTo>
                    <a:pt x="0" y="600"/>
                  </a:lnTo>
                  <a:lnTo>
                    <a:pt x="0" y="592"/>
                  </a:lnTo>
                  <a:lnTo>
                    <a:pt x="0" y="388"/>
                  </a:lnTo>
                  <a:lnTo>
                    <a:pt x="0" y="388"/>
                  </a:lnTo>
                  <a:lnTo>
                    <a:pt x="0" y="380"/>
                  </a:lnTo>
                  <a:lnTo>
                    <a:pt x="2" y="374"/>
                  </a:lnTo>
                  <a:lnTo>
                    <a:pt x="6" y="368"/>
                  </a:lnTo>
                  <a:lnTo>
                    <a:pt x="10" y="362"/>
                  </a:lnTo>
                  <a:lnTo>
                    <a:pt x="16" y="358"/>
                  </a:lnTo>
                  <a:lnTo>
                    <a:pt x="22" y="354"/>
                  </a:lnTo>
                  <a:lnTo>
                    <a:pt x="28" y="352"/>
                  </a:lnTo>
                  <a:lnTo>
                    <a:pt x="36" y="352"/>
                  </a:lnTo>
                  <a:lnTo>
                    <a:pt x="36" y="352"/>
                  </a:lnTo>
                  <a:lnTo>
                    <a:pt x="44" y="352"/>
                  </a:lnTo>
                  <a:lnTo>
                    <a:pt x="50" y="354"/>
                  </a:lnTo>
                  <a:lnTo>
                    <a:pt x="56" y="358"/>
                  </a:lnTo>
                  <a:lnTo>
                    <a:pt x="62" y="362"/>
                  </a:lnTo>
                  <a:lnTo>
                    <a:pt x="66" y="368"/>
                  </a:lnTo>
                  <a:lnTo>
                    <a:pt x="70" y="374"/>
                  </a:lnTo>
                  <a:lnTo>
                    <a:pt x="72" y="380"/>
                  </a:lnTo>
                  <a:lnTo>
                    <a:pt x="74" y="388"/>
                  </a:lnTo>
                  <a:lnTo>
                    <a:pt x="74" y="592"/>
                  </a:lnTo>
                  <a:lnTo>
                    <a:pt x="74" y="592"/>
                  </a:lnTo>
                  <a:lnTo>
                    <a:pt x="72" y="600"/>
                  </a:lnTo>
                  <a:lnTo>
                    <a:pt x="70" y="606"/>
                  </a:lnTo>
                  <a:lnTo>
                    <a:pt x="66" y="614"/>
                  </a:lnTo>
                  <a:lnTo>
                    <a:pt x="62" y="618"/>
                  </a:lnTo>
                  <a:lnTo>
                    <a:pt x="56" y="622"/>
                  </a:lnTo>
                  <a:lnTo>
                    <a:pt x="50" y="626"/>
                  </a:lnTo>
                  <a:lnTo>
                    <a:pt x="44" y="628"/>
                  </a:lnTo>
                  <a:lnTo>
                    <a:pt x="36" y="630"/>
                  </a:lnTo>
                  <a:lnTo>
                    <a:pt x="36" y="630"/>
                  </a:lnTo>
                  <a:close/>
                  <a:moveTo>
                    <a:pt x="36" y="278"/>
                  </a:moveTo>
                  <a:lnTo>
                    <a:pt x="36" y="278"/>
                  </a:lnTo>
                  <a:lnTo>
                    <a:pt x="28" y="278"/>
                  </a:lnTo>
                  <a:lnTo>
                    <a:pt x="22" y="276"/>
                  </a:lnTo>
                  <a:lnTo>
                    <a:pt x="16" y="272"/>
                  </a:lnTo>
                  <a:lnTo>
                    <a:pt x="10" y="268"/>
                  </a:lnTo>
                  <a:lnTo>
                    <a:pt x="6" y="262"/>
                  </a:lnTo>
                  <a:lnTo>
                    <a:pt x="2" y="256"/>
                  </a:lnTo>
                  <a:lnTo>
                    <a:pt x="0" y="250"/>
                  </a:lnTo>
                  <a:lnTo>
                    <a:pt x="0" y="242"/>
                  </a:lnTo>
                  <a:lnTo>
                    <a:pt x="0" y="38"/>
                  </a:lnTo>
                  <a:lnTo>
                    <a:pt x="0" y="38"/>
                  </a:lnTo>
                  <a:lnTo>
                    <a:pt x="0" y="30"/>
                  </a:lnTo>
                  <a:lnTo>
                    <a:pt x="2" y="22"/>
                  </a:lnTo>
                  <a:lnTo>
                    <a:pt x="6" y="16"/>
                  </a:lnTo>
                  <a:lnTo>
                    <a:pt x="10" y="12"/>
                  </a:lnTo>
                  <a:lnTo>
                    <a:pt x="16" y="6"/>
                  </a:lnTo>
                  <a:lnTo>
                    <a:pt x="22" y="4"/>
                  </a:lnTo>
                  <a:lnTo>
                    <a:pt x="28" y="2"/>
                  </a:lnTo>
                  <a:lnTo>
                    <a:pt x="36" y="0"/>
                  </a:lnTo>
                  <a:lnTo>
                    <a:pt x="36" y="0"/>
                  </a:lnTo>
                  <a:lnTo>
                    <a:pt x="44" y="2"/>
                  </a:lnTo>
                  <a:lnTo>
                    <a:pt x="50" y="4"/>
                  </a:lnTo>
                  <a:lnTo>
                    <a:pt x="56" y="6"/>
                  </a:lnTo>
                  <a:lnTo>
                    <a:pt x="62" y="12"/>
                  </a:lnTo>
                  <a:lnTo>
                    <a:pt x="66" y="16"/>
                  </a:lnTo>
                  <a:lnTo>
                    <a:pt x="70" y="22"/>
                  </a:lnTo>
                  <a:lnTo>
                    <a:pt x="72" y="30"/>
                  </a:lnTo>
                  <a:lnTo>
                    <a:pt x="74" y="38"/>
                  </a:lnTo>
                  <a:lnTo>
                    <a:pt x="74" y="242"/>
                  </a:lnTo>
                  <a:lnTo>
                    <a:pt x="74" y="242"/>
                  </a:lnTo>
                  <a:lnTo>
                    <a:pt x="72" y="250"/>
                  </a:lnTo>
                  <a:lnTo>
                    <a:pt x="70" y="256"/>
                  </a:lnTo>
                  <a:lnTo>
                    <a:pt x="66" y="262"/>
                  </a:lnTo>
                  <a:lnTo>
                    <a:pt x="62" y="268"/>
                  </a:lnTo>
                  <a:lnTo>
                    <a:pt x="56" y="272"/>
                  </a:lnTo>
                  <a:lnTo>
                    <a:pt x="50" y="276"/>
                  </a:lnTo>
                  <a:lnTo>
                    <a:pt x="44" y="278"/>
                  </a:lnTo>
                  <a:lnTo>
                    <a:pt x="36" y="278"/>
                  </a:lnTo>
                  <a:lnTo>
                    <a:pt x="36"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5">
              <a:extLst>
                <a:ext uri="{FF2B5EF4-FFF2-40B4-BE49-F238E27FC236}">
                  <a16:creationId xmlns:a16="http://schemas.microsoft.com/office/drawing/2014/main" id="{269AFA2F-6BA7-4EAC-B461-89040B3FC4E0}"/>
                </a:ext>
              </a:extLst>
            </p:cNvPr>
            <p:cNvSpPr>
              <a:spLocks/>
            </p:cNvSpPr>
            <p:nvPr/>
          </p:nvSpPr>
          <p:spPr bwMode="auto">
            <a:xfrm>
              <a:off x="7816300" y="2664620"/>
              <a:ext cx="46077" cy="45625"/>
            </a:xfrm>
            <a:custGeom>
              <a:avLst/>
              <a:gdLst>
                <a:gd name="T0" fmla="*/ 166 w 204"/>
                <a:gd name="T1" fmla="*/ 202 h 202"/>
                <a:gd name="T2" fmla="*/ 38 w 204"/>
                <a:gd name="T3" fmla="*/ 202 h 202"/>
                <a:gd name="T4" fmla="*/ 38 w 204"/>
                <a:gd name="T5" fmla="*/ 202 h 202"/>
                <a:gd name="T6" fmla="*/ 30 w 204"/>
                <a:gd name="T7" fmla="*/ 202 h 202"/>
                <a:gd name="T8" fmla="*/ 24 w 204"/>
                <a:gd name="T9" fmla="*/ 200 h 202"/>
                <a:gd name="T10" fmla="*/ 16 w 204"/>
                <a:gd name="T11" fmla="*/ 196 h 202"/>
                <a:gd name="T12" fmla="*/ 12 w 204"/>
                <a:gd name="T13" fmla="*/ 192 h 202"/>
                <a:gd name="T14" fmla="*/ 6 w 204"/>
                <a:gd name="T15" fmla="*/ 186 h 202"/>
                <a:gd name="T16" fmla="*/ 4 w 204"/>
                <a:gd name="T17" fmla="*/ 180 h 202"/>
                <a:gd name="T18" fmla="*/ 2 w 204"/>
                <a:gd name="T19" fmla="*/ 172 h 202"/>
                <a:gd name="T20" fmla="*/ 0 w 204"/>
                <a:gd name="T21" fmla="*/ 166 h 202"/>
                <a:gd name="T22" fmla="*/ 0 w 204"/>
                <a:gd name="T23" fmla="*/ 166 h 202"/>
                <a:gd name="T24" fmla="*/ 2 w 204"/>
                <a:gd name="T25" fmla="*/ 158 h 202"/>
                <a:gd name="T26" fmla="*/ 4 w 204"/>
                <a:gd name="T27" fmla="*/ 152 h 202"/>
                <a:gd name="T28" fmla="*/ 6 w 204"/>
                <a:gd name="T29" fmla="*/ 144 h 202"/>
                <a:gd name="T30" fmla="*/ 12 w 204"/>
                <a:gd name="T31" fmla="*/ 140 h 202"/>
                <a:gd name="T32" fmla="*/ 16 w 204"/>
                <a:gd name="T33" fmla="*/ 134 h 202"/>
                <a:gd name="T34" fmla="*/ 24 w 204"/>
                <a:gd name="T35" fmla="*/ 132 h 202"/>
                <a:gd name="T36" fmla="*/ 30 w 204"/>
                <a:gd name="T37" fmla="*/ 130 h 202"/>
                <a:gd name="T38" fmla="*/ 38 w 204"/>
                <a:gd name="T39" fmla="*/ 128 h 202"/>
                <a:gd name="T40" fmla="*/ 130 w 204"/>
                <a:gd name="T41" fmla="*/ 128 h 202"/>
                <a:gd name="T42" fmla="*/ 130 w 204"/>
                <a:gd name="T43" fmla="*/ 36 h 202"/>
                <a:gd name="T44" fmla="*/ 130 w 204"/>
                <a:gd name="T45" fmla="*/ 36 h 202"/>
                <a:gd name="T46" fmla="*/ 130 w 204"/>
                <a:gd name="T47" fmla="*/ 30 h 202"/>
                <a:gd name="T48" fmla="*/ 132 w 204"/>
                <a:gd name="T49" fmla="*/ 22 h 202"/>
                <a:gd name="T50" fmla="*/ 136 w 204"/>
                <a:gd name="T51" fmla="*/ 16 h 202"/>
                <a:gd name="T52" fmla="*/ 140 w 204"/>
                <a:gd name="T53" fmla="*/ 10 h 202"/>
                <a:gd name="T54" fmla="*/ 146 w 204"/>
                <a:gd name="T55" fmla="*/ 6 h 202"/>
                <a:gd name="T56" fmla="*/ 152 w 204"/>
                <a:gd name="T57" fmla="*/ 2 h 202"/>
                <a:gd name="T58" fmla="*/ 158 w 204"/>
                <a:gd name="T59" fmla="*/ 0 h 202"/>
                <a:gd name="T60" fmla="*/ 166 w 204"/>
                <a:gd name="T61" fmla="*/ 0 h 202"/>
                <a:gd name="T62" fmla="*/ 166 w 204"/>
                <a:gd name="T63" fmla="*/ 0 h 202"/>
                <a:gd name="T64" fmla="*/ 174 w 204"/>
                <a:gd name="T65" fmla="*/ 0 h 202"/>
                <a:gd name="T66" fmla="*/ 180 w 204"/>
                <a:gd name="T67" fmla="*/ 2 h 202"/>
                <a:gd name="T68" fmla="*/ 186 w 204"/>
                <a:gd name="T69" fmla="*/ 6 h 202"/>
                <a:gd name="T70" fmla="*/ 192 w 204"/>
                <a:gd name="T71" fmla="*/ 10 h 202"/>
                <a:gd name="T72" fmla="*/ 196 w 204"/>
                <a:gd name="T73" fmla="*/ 16 h 202"/>
                <a:gd name="T74" fmla="*/ 200 w 204"/>
                <a:gd name="T75" fmla="*/ 22 h 202"/>
                <a:gd name="T76" fmla="*/ 202 w 204"/>
                <a:gd name="T77" fmla="*/ 30 h 202"/>
                <a:gd name="T78" fmla="*/ 204 w 204"/>
                <a:gd name="T79" fmla="*/ 36 h 202"/>
                <a:gd name="T80" fmla="*/ 204 w 204"/>
                <a:gd name="T81" fmla="*/ 166 h 202"/>
                <a:gd name="T82" fmla="*/ 204 w 204"/>
                <a:gd name="T83" fmla="*/ 166 h 202"/>
                <a:gd name="T84" fmla="*/ 202 w 204"/>
                <a:gd name="T85" fmla="*/ 172 h 202"/>
                <a:gd name="T86" fmla="*/ 200 w 204"/>
                <a:gd name="T87" fmla="*/ 180 h 202"/>
                <a:gd name="T88" fmla="*/ 196 w 204"/>
                <a:gd name="T89" fmla="*/ 186 h 202"/>
                <a:gd name="T90" fmla="*/ 192 w 204"/>
                <a:gd name="T91" fmla="*/ 192 h 202"/>
                <a:gd name="T92" fmla="*/ 186 w 204"/>
                <a:gd name="T93" fmla="*/ 196 h 202"/>
                <a:gd name="T94" fmla="*/ 180 w 204"/>
                <a:gd name="T95" fmla="*/ 200 h 202"/>
                <a:gd name="T96" fmla="*/ 174 w 204"/>
                <a:gd name="T97" fmla="*/ 202 h 202"/>
                <a:gd name="T98" fmla="*/ 166 w 204"/>
                <a:gd name="T99" fmla="*/ 202 h 202"/>
                <a:gd name="T100" fmla="*/ 166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166" y="202"/>
                  </a:moveTo>
                  <a:lnTo>
                    <a:pt x="38" y="202"/>
                  </a:lnTo>
                  <a:lnTo>
                    <a:pt x="38" y="202"/>
                  </a:lnTo>
                  <a:lnTo>
                    <a:pt x="30" y="202"/>
                  </a:lnTo>
                  <a:lnTo>
                    <a:pt x="24" y="200"/>
                  </a:lnTo>
                  <a:lnTo>
                    <a:pt x="16" y="196"/>
                  </a:lnTo>
                  <a:lnTo>
                    <a:pt x="12" y="192"/>
                  </a:lnTo>
                  <a:lnTo>
                    <a:pt x="6" y="186"/>
                  </a:lnTo>
                  <a:lnTo>
                    <a:pt x="4" y="180"/>
                  </a:lnTo>
                  <a:lnTo>
                    <a:pt x="2" y="172"/>
                  </a:lnTo>
                  <a:lnTo>
                    <a:pt x="0" y="166"/>
                  </a:lnTo>
                  <a:lnTo>
                    <a:pt x="0" y="166"/>
                  </a:lnTo>
                  <a:lnTo>
                    <a:pt x="2" y="158"/>
                  </a:lnTo>
                  <a:lnTo>
                    <a:pt x="4" y="152"/>
                  </a:lnTo>
                  <a:lnTo>
                    <a:pt x="6" y="144"/>
                  </a:lnTo>
                  <a:lnTo>
                    <a:pt x="12" y="140"/>
                  </a:lnTo>
                  <a:lnTo>
                    <a:pt x="16" y="134"/>
                  </a:lnTo>
                  <a:lnTo>
                    <a:pt x="24" y="132"/>
                  </a:lnTo>
                  <a:lnTo>
                    <a:pt x="30" y="130"/>
                  </a:lnTo>
                  <a:lnTo>
                    <a:pt x="38" y="128"/>
                  </a:lnTo>
                  <a:lnTo>
                    <a:pt x="130" y="128"/>
                  </a:lnTo>
                  <a:lnTo>
                    <a:pt x="130" y="36"/>
                  </a:lnTo>
                  <a:lnTo>
                    <a:pt x="130" y="36"/>
                  </a:lnTo>
                  <a:lnTo>
                    <a:pt x="130" y="30"/>
                  </a:lnTo>
                  <a:lnTo>
                    <a:pt x="132" y="22"/>
                  </a:lnTo>
                  <a:lnTo>
                    <a:pt x="136" y="16"/>
                  </a:lnTo>
                  <a:lnTo>
                    <a:pt x="140" y="10"/>
                  </a:lnTo>
                  <a:lnTo>
                    <a:pt x="146" y="6"/>
                  </a:lnTo>
                  <a:lnTo>
                    <a:pt x="152" y="2"/>
                  </a:lnTo>
                  <a:lnTo>
                    <a:pt x="158" y="0"/>
                  </a:lnTo>
                  <a:lnTo>
                    <a:pt x="166" y="0"/>
                  </a:lnTo>
                  <a:lnTo>
                    <a:pt x="166" y="0"/>
                  </a:lnTo>
                  <a:lnTo>
                    <a:pt x="174" y="0"/>
                  </a:lnTo>
                  <a:lnTo>
                    <a:pt x="180" y="2"/>
                  </a:lnTo>
                  <a:lnTo>
                    <a:pt x="186" y="6"/>
                  </a:lnTo>
                  <a:lnTo>
                    <a:pt x="192" y="10"/>
                  </a:lnTo>
                  <a:lnTo>
                    <a:pt x="196" y="16"/>
                  </a:lnTo>
                  <a:lnTo>
                    <a:pt x="200" y="22"/>
                  </a:lnTo>
                  <a:lnTo>
                    <a:pt x="202" y="30"/>
                  </a:lnTo>
                  <a:lnTo>
                    <a:pt x="204" y="36"/>
                  </a:lnTo>
                  <a:lnTo>
                    <a:pt x="204" y="166"/>
                  </a:lnTo>
                  <a:lnTo>
                    <a:pt x="204" y="166"/>
                  </a:lnTo>
                  <a:lnTo>
                    <a:pt x="202" y="172"/>
                  </a:lnTo>
                  <a:lnTo>
                    <a:pt x="200" y="180"/>
                  </a:lnTo>
                  <a:lnTo>
                    <a:pt x="196" y="186"/>
                  </a:lnTo>
                  <a:lnTo>
                    <a:pt x="192" y="192"/>
                  </a:lnTo>
                  <a:lnTo>
                    <a:pt x="186" y="196"/>
                  </a:lnTo>
                  <a:lnTo>
                    <a:pt x="180" y="200"/>
                  </a:lnTo>
                  <a:lnTo>
                    <a:pt x="174" y="202"/>
                  </a:lnTo>
                  <a:lnTo>
                    <a:pt x="166" y="202"/>
                  </a:lnTo>
                  <a:lnTo>
                    <a:pt x="16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6">
              <a:extLst>
                <a:ext uri="{FF2B5EF4-FFF2-40B4-BE49-F238E27FC236}">
                  <a16:creationId xmlns:a16="http://schemas.microsoft.com/office/drawing/2014/main" id="{3CC6844A-5FB7-4F6D-A6FC-17911AC6C5FF}"/>
                </a:ext>
              </a:extLst>
            </p:cNvPr>
            <p:cNvSpPr>
              <a:spLocks noEditPoints="1"/>
            </p:cNvSpPr>
            <p:nvPr/>
          </p:nvSpPr>
          <p:spPr bwMode="auto">
            <a:xfrm>
              <a:off x="7531254" y="2693531"/>
              <a:ext cx="262007" cy="16714"/>
            </a:xfrm>
            <a:custGeom>
              <a:avLst/>
              <a:gdLst>
                <a:gd name="T0" fmla="*/ 878 w 1160"/>
                <a:gd name="T1" fmla="*/ 74 h 74"/>
                <a:gd name="T2" fmla="*/ 872 w 1160"/>
                <a:gd name="T3" fmla="*/ 74 h 74"/>
                <a:gd name="T4" fmla="*/ 858 w 1160"/>
                <a:gd name="T5" fmla="*/ 68 h 74"/>
                <a:gd name="T6" fmla="*/ 848 w 1160"/>
                <a:gd name="T7" fmla="*/ 58 h 74"/>
                <a:gd name="T8" fmla="*/ 842 w 1160"/>
                <a:gd name="T9" fmla="*/ 44 h 74"/>
                <a:gd name="T10" fmla="*/ 842 w 1160"/>
                <a:gd name="T11" fmla="*/ 38 h 74"/>
                <a:gd name="T12" fmla="*/ 844 w 1160"/>
                <a:gd name="T13" fmla="*/ 24 h 74"/>
                <a:gd name="T14" fmla="*/ 852 w 1160"/>
                <a:gd name="T15" fmla="*/ 12 h 74"/>
                <a:gd name="T16" fmla="*/ 864 w 1160"/>
                <a:gd name="T17" fmla="*/ 4 h 74"/>
                <a:gd name="T18" fmla="*/ 878 w 1160"/>
                <a:gd name="T19" fmla="*/ 0 h 74"/>
                <a:gd name="T20" fmla="*/ 1124 w 1160"/>
                <a:gd name="T21" fmla="*/ 0 h 74"/>
                <a:gd name="T22" fmla="*/ 1138 w 1160"/>
                <a:gd name="T23" fmla="*/ 4 h 74"/>
                <a:gd name="T24" fmla="*/ 1150 w 1160"/>
                <a:gd name="T25" fmla="*/ 12 h 74"/>
                <a:gd name="T26" fmla="*/ 1158 w 1160"/>
                <a:gd name="T27" fmla="*/ 24 h 74"/>
                <a:gd name="T28" fmla="*/ 1160 w 1160"/>
                <a:gd name="T29" fmla="*/ 38 h 74"/>
                <a:gd name="T30" fmla="*/ 1160 w 1160"/>
                <a:gd name="T31" fmla="*/ 44 h 74"/>
                <a:gd name="T32" fmla="*/ 1154 w 1160"/>
                <a:gd name="T33" fmla="*/ 58 h 74"/>
                <a:gd name="T34" fmla="*/ 1144 w 1160"/>
                <a:gd name="T35" fmla="*/ 68 h 74"/>
                <a:gd name="T36" fmla="*/ 1132 w 1160"/>
                <a:gd name="T37" fmla="*/ 74 h 74"/>
                <a:gd name="T38" fmla="*/ 1124 w 1160"/>
                <a:gd name="T39" fmla="*/ 74 h 74"/>
                <a:gd name="T40" fmla="*/ 458 w 1160"/>
                <a:gd name="T41" fmla="*/ 74 h 74"/>
                <a:gd name="T42" fmla="*/ 450 w 1160"/>
                <a:gd name="T43" fmla="*/ 74 h 74"/>
                <a:gd name="T44" fmla="*/ 438 w 1160"/>
                <a:gd name="T45" fmla="*/ 68 h 74"/>
                <a:gd name="T46" fmla="*/ 428 w 1160"/>
                <a:gd name="T47" fmla="*/ 58 h 74"/>
                <a:gd name="T48" fmla="*/ 422 w 1160"/>
                <a:gd name="T49" fmla="*/ 44 h 74"/>
                <a:gd name="T50" fmla="*/ 422 w 1160"/>
                <a:gd name="T51" fmla="*/ 38 h 74"/>
                <a:gd name="T52" fmla="*/ 424 w 1160"/>
                <a:gd name="T53" fmla="*/ 24 h 74"/>
                <a:gd name="T54" fmla="*/ 432 w 1160"/>
                <a:gd name="T55" fmla="*/ 12 h 74"/>
                <a:gd name="T56" fmla="*/ 444 w 1160"/>
                <a:gd name="T57" fmla="*/ 4 h 74"/>
                <a:gd name="T58" fmla="*/ 458 w 1160"/>
                <a:gd name="T59" fmla="*/ 0 h 74"/>
                <a:gd name="T60" fmla="*/ 704 w 1160"/>
                <a:gd name="T61" fmla="*/ 0 h 74"/>
                <a:gd name="T62" fmla="*/ 718 w 1160"/>
                <a:gd name="T63" fmla="*/ 4 h 74"/>
                <a:gd name="T64" fmla="*/ 730 w 1160"/>
                <a:gd name="T65" fmla="*/ 12 h 74"/>
                <a:gd name="T66" fmla="*/ 738 w 1160"/>
                <a:gd name="T67" fmla="*/ 24 h 74"/>
                <a:gd name="T68" fmla="*/ 740 w 1160"/>
                <a:gd name="T69" fmla="*/ 38 h 74"/>
                <a:gd name="T70" fmla="*/ 740 w 1160"/>
                <a:gd name="T71" fmla="*/ 44 h 74"/>
                <a:gd name="T72" fmla="*/ 734 w 1160"/>
                <a:gd name="T73" fmla="*/ 58 h 74"/>
                <a:gd name="T74" fmla="*/ 724 w 1160"/>
                <a:gd name="T75" fmla="*/ 68 h 74"/>
                <a:gd name="T76" fmla="*/ 710 w 1160"/>
                <a:gd name="T77" fmla="*/ 74 h 74"/>
                <a:gd name="T78" fmla="*/ 704 w 1160"/>
                <a:gd name="T79" fmla="*/ 74 h 74"/>
                <a:gd name="T80" fmla="*/ 38 w 1160"/>
                <a:gd name="T81" fmla="*/ 74 h 74"/>
                <a:gd name="T82" fmla="*/ 30 w 1160"/>
                <a:gd name="T83" fmla="*/ 74 h 74"/>
                <a:gd name="T84" fmla="*/ 16 w 1160"/>
                <a:gd name="T85" fmla="*/ 68 h 74"/>
                <a:gd name="T86" fmla="*/ 8 w 1160"/>
                <a:gd name="T87" fmla="*/ 58 h 74"/>
                <a:gd name="T88" fmla="*/ 2 w 1160"/>
                <a:gd name="T89" fmla="*/ 44 h 74"/>
                <a:gd name="T90" fmla="*/ 0 w 1160"/>
                <a:gd name="T91" fmla="*/ 38 h 74"/>
                <a:gd name="T92" fmla="*/ 4 w 1160"/>
                <a:gd name="T93" fmla="*/ 24 h 74"/>
                <a:gd name="T94" fmla="*/ 12 w 1160"/>
                <a:gd name="T95" fmla="*/ 12 h 74"/>
                <a:gd name="T96" fmla="*/ 24 w 1160"/>
                <a:gd name="T97" fmla="*/ 4 h 74"/>
                <a:gd name="T98" fmla="*/ 38 w 1160"/>
                <a:gd name="T99" fmla="*/ 0 h 74"/>
                <a:gd name="T100" fmla="*/ 282 w 1160"/>
                <a:gd name="T101" fmla="*/ 0 h 74"/>
                <a:gd name="T102" fmla="*/ 298 w 1160"/>
                <a:gd name="T103" fmla="*/ 4 h 74"/>
                <a:gd name="T104" fmla="*/ 308 w 1160"/>
                <a:gd name="T105" fmla="*/ 12 h 74"/>
                <a:gd name="T106" fmla="*/ 316 w 1160"/>
                <a:gd name="T107" fmla="*/ 24 h 74"/>
                <a:gd name="T108" fmla="*/ 320 w 1160"/>
                <a:gd name="T109" fmla="*/ 38 h 74"/>
                <a:gd name="T110" fmla="*/ 320 w 1160"/>
                <a:gd name="T111" fmla="*/ 44 h 74"/>
                <a:gd name="T112" fmla="*/ 314 w 1160"/>
                <a:gd name="T113" fmla="*/ 58 h 74"/>
                <a:gd name="T114" fmla="*/ 304 w 1160"/>
                <a:gd name="T115" fmla="*/ 68 h 74"/>
                <a:gd name="T116" fmla="*/ 290 w 1160"/>
                <a:gd name="T117" fmla="*/ 74 h 74"/>
                <a:gd name="T118" fmla="*/ 282 w 1160"/>
                <a:gd name="T11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74">
                  <a:moveTo>
                    <a:pt x="1124" y="74"/>
                  </a:moveTo>
                  <a:lnTo>
                    <a:pt x="878" y="74"/>
                  </a:lnTo>
                  <a:lnTo>
                    <a:pt x="878" y="74"/>
                  </a:lnTo>
                  <a:lnTo>
                    <a:pt x="872" y="74"/>
                  </a:lnTo>
                  <a:lnTo>
                    <a:pt x="864" y="72"/>
                  </a:lnTo>
                  <a:lnTo>
                    <a:pt x="858" y="68"/>
                  </a:lnTo>
                  <a:lnTo>
                    <a:pt x="852" y="64"/>
                  </a:lnTo>
                  <a:lnTo>
                    <a:pt x="848" y="58"/>
                  </a:lnTo>
                  <a:lnTo>
                    <a:pt x="844" y="52"/>
                  </a:lnTo>
                  <a:lnTo>
                    <a:pt x="842" y="44"/>
                  </a:lnTo>
                  <a:lnTo>
                    <a:pt x="842" y="38"/>
                  </a:lnTo>
                  <a:lnTo>
                    <a:pt x="842" y="38"/>
                  </a:lnTo>
                  <a:lnTo>
                    <a:pt x="842" y="30"/>
                  </a:lnTo>
                  <a:lnTo>
                    <a:pt x="844" y="24"/>
                  </a:lnTo>
                  <a:lnTo>
                    <a:pt x="848" y="16"/>
                  </a:lnTo>
                  <a:lnTo>
                    <a:pt x="852" y="12"/>
                  </a:lnTo>
                  <a:lnTo>
                    <a:pt x="858" y="6"/>
                  </a:lnTo>
                  <a:lnTo>
                    <a:pt x="864" y="4"/>
                  </a:lnTo>
                  <a:lnTo>
                    <a:pt x="872" y="2"/>
                  </a:lnTo>
                  <a:lnTo>
                    <a:pt x="878" y="0"/>
                  </a:lnTo>
                  <a:lnTo>
                    <a:pt x="1124" y="0"/>
                  </a:lnTo>
                  <a:lnTo>
                    <a:pt x="1124" y="0"/>
                  </a:lnTo>
                  <a:lnTo>
                    <a:pt x="1132" y="2"/>
                  </a:lnTo>
                  <a:lnTo>
                    <a:pt x="1138" y="4"/>
                  </a:lnTo>
                  <a:lnTo>
                    <a:pt x="1144" y="6"/>
                  </a:lnTo>
                  <a:lnTo>
                    <a:pt x="1150" y="12"/>
                  </a:lnTo>
                  <a:lnTo>
                    <a:pt x="1154" y="16"/>
                  </a:lnTo>
                  <a:lnTo>
                    <a:pt x="1158" y="24"/>
                  </a:lnTo>
                  <a:lnTo>
                    <a:pt x="1160" y="30"/>
                  </a:lnTo>
                  <a:lnTo>
                    <a:pt x="1160" y="38"/>
                  </a:lnTo>
                  <a:lnTo>
                    <a:pt x="1160" y="38"/>
                  </a:lnTo>
                  <a:lnTo>
                    <a:pt x="1160" y="44"/>
                  </a:lnTo>
                  <a:lnTo>
                    <a:pt x="1158" y="52"/>
                  </a:lnTo>
                  <a:lnTo>
                    <a:pt x="1154" y="58"/>
                  </a:lnTo>
                  <a:lnTo>
                    <a:pt x="1150" y="64"/>
                  </a:lnTo>
                  <a:lnTo>
                    <a:pt x="1144" y="68"/>
                  </a:lnTo>
                  <a:lnTo>
                    <a:pt x="1138" y="72"/>
                  </a:lnTo>
                  <a:lnTo>
                    <a:pt x="1132" y="74"/>
                  </a:lnTo>
                  <a:lnTo>
                    <a:pt x="1124" y="74"/>
                  </a:lnTo>
                  <a:lnTo>
                    <a:pt x="1124" y="74"/>
                  </a:lnTo>
                  <a:close/>
                  <a:moveTo>
                    <a:pt x="704" y="74"/>
                  </a:moveTo>
                  <a:lnTo>
                    <a:pt x="458" y="74"/>
                  </a:lnTo>
                  <a:lnTo>
                    <a:pt x="458" y="74"/>
                  </a:lnTo>
                  <a:lnTo>
                    <a:pt x="450" y="74"/>
                  </a:lnTo>
                  <a:lnTo>
                    <a:pt x="444" y="72"/>
                  </a:lnTo>
                  <a:lnTo>
                    <a:pt x="438" y="68"/>
                  </a:lnTo>
                  <a:lnTo>
                    <a:pt x="432" y="64"/>
                  </a:lnTo>
                  <a:lnTo>
                    <a:pt x="428" y="58"/>
                  </a:lnTo>
                  <a:lnTo>
                    <a:pt x="424" y="52"/>
                  </a:lnTo>
                  <a:lnTo>
                    <a:pt x="422" y="44"/>
                  </a:lnTo>
                  <a:lnTo>
                    <a:pt x="422" y="38"/>
                  </a:lnTo>
                  <a:lnTo>
                    <a:pt x="422" y="38"/>
                  </a:lnTo>
                  <a:lnTo>
                    <a:pt x="422" y="30"/>
                  </a:lnTo>
                  <a:lnTo>
                    <a:pt x="424" y="24"/>
                  </a:lnTo>
                  <a:lnTo>
                    <a:pt x="428" y="16"/>
                  </a:lnTo>
                  <a:lnTo>
                    <a:pt x="432" y="12"/>
                  </a:lnTo>
                  <a:lnTo>
                    <a:pt x="438" y="6"/>
                  </a:lnTo>
                  <a:lnTo>
                    <a:pt x="444" y="4"/>
                  </a:lnTo>
                  <a:lnTo>
                    <a:pt x="450" y="2"/>
                  </a:lnTo>
                  <a:lnTo>
                    <a:pt x="458" y="0"/>
                  </a:lnTo>
                  <a:lnTo>
                    <a:pt x="704" y="0"/>
                  </a:lnTo>
                  <a:lnTo>
                    <a:pt x="704" y="0"/>
                  </a:lnTo>
                  <a:lnTo>
                    <a:pt x="710" y="2"/>
                  </a:lnTo>
                  <a:lnTo>
                    <a:pt x="718" y="4"/>
                  </a:lnTo>
                  <a:lnTo>
                    <a:pt x="724" y="6"/>
                  </a:lnTo>
                  <a:lnTo>
                    <a:pt x="730" y="12"/>
                  </a:lnTo>
                  <a:lnTo>
                    <a:pt x="734" y="16"/>
                  </a:lnTo>
                  <a:lnTo>
                    <a:pt x="738" y="24"/>
                  </a:lnTo>
                  <a:lnTo>
                    <a:pt x="740" y="30"/>
                  </a:lnTo>
                  <a:lnTo>
                    <a:pt x="740" y="38"/>
                  </a:lnTo>
                  <a:lnTo>
                    <a:pt x="740" y="38"/>
                  </a:lnTo>
                  <a:lnTo>
                    <a:pt x="740" y="44"/>
                  </a:lnTo>
                  <a:lnTo>
                    <a:pt x="738" y="52"/>
                  </a:lnTo>
                  <a:lnTo>
                    <a:pt x="734" y="58"/>
                  </a:lnTo>
                  <a:lnTo>
                    <a:pt x="730" y="64"/>
                  </a:lnTo>
                  <a:lnTo>
                    <a:pt x="724" y="68"/>
                  </a:lnTo>
                  <a:lnTo>
                    <a:pt x="718" y="72"/>
                  </a:lnTo>
                  <a:lnTo>
                    <a:pt x="710" y="74"/>
                  </a:lnTo>
                  <a:lnTo>
                    <a:pt x="704" y="74"/>
                  </a:lnTo>
                  <a:lnTo>
                    <a:pt x="704" y="74"/>
                  </a:lnTo>
                  <a:close/>
                  <a:moveTo>
                    <a:pt x="282" y="74"/>
                  </a:moveTo>
                  <a:lnTo>
                    <a:pt x="38" y="74"/>
                  </a:lnTo>
                  <a:lnTo>
                    <a:pt x="38" y="74"/>
                  </a:lnTo>
                  <a:lnTo>
                    <a:pt x="30" y="74"/>
                  </a:lnTo>
                  <a:lnTo>
                    <a:pt x="24" y="72"/>
                  </a:lnTo>
                  <a:lnTo>
                    <a:pt x="16" y="68"/>
                  </a:lnTo>
                  <a:lnTo>
                    <a:pt x="12" y="64"/>
                  </a:lnTo>
                  <a:lnTo>
                    <a:pt x="8" y="58"/>
                  </a:lnTo>
                  <a:lnTo>
                    <a:pt x="4" y="52"/>
                  </a:lnTo>
                  <a:lnTo>
                    <a:pt x="2" y="44"/>
                  </a:lnTo>
                  <a:lnTo>
                    <a:pt x="0" y="38"/>
                  </a:lnTo>
                  <a:lnTo>
                    <a:pt x="0" y="38"/>
                  </a:lnTo>
                  <a:lnTo>
                    <a:pt x="2" y="30"/>
                  </a:lnTo>
                  <a:lnTo>
                    <a:pt x="4" y="24"/>
                  </a:lnTo>
                  <a:lnTo>
                    <a:pt x="8" y="16"/>
                  </a:lnTo>
                  <a:lnTo>
                    <a:pt x="12" y="12"/>
                  </a:lnTo>
                  <a:lnTo>
                    <a:pt x="16" y="6"/>
                  </a:lnTo>
                  <a:lnTo>
                    <a:pt x="24" y="4"/>
                  </a:lnTo>
                  <a:lnTo>
                    <a:pt x="30" y="2"/>
                  </a:lnTo>
                  <a:lnTo>
                    <a:pt x="38" y="0"/>
                  </a:lnTo>
                  <a:lnTo>
                    <a:pt x="282" y="0"/>
                  </a:lnTo>
                  <a:lnTo>
                    <a:pt x="282" y="0"/>
                  </a:lnTo>
                  <a:lnTo>
                    <a:pt x="290" y="2"/>
                  </a:lnTo>
                  <a:lnTo>
                    <a:pt x="298" y="4"/>
                  </a:lnTo>
                  <a:lnTo>
                    <a:pt x="304" y="6"/>
                  </a:lnTo>
                  <a:lnTo>
                    <a:pt x="308" y="12"/>
                  </a:lnTo>
                  <a:lnTo>
                    <a:pt x="314" y="16"/>
                  </a:lnTo>
                  <a:lnTo>
                    <a:pt x="316" y="24"/>
                  </a:lnTo>
                  <a:lnTo>
                    <a:pt x="320" y="30"/>
                  </a:lnTo>
                  <a:lnTo>
                    <a:pt x="320" y="38"/>
                  </a:lnTo>
                  <a:lnTo>
                    <a:pt x="320" y="38"/>
                  </a:lnTo>
                  <a:lnTo>
                    <a:pt x="320" y="44"/>
                  </a:lnTo>
                  <a:lnTo>
                    <a:pt x="316" y="52"/>
                  </a:lnTo>
                  <a:lnTo>
                    <a:pt x="314" y="58"/>
                  </a:lnTo>
                  <a:lnTo>
                    <a:pt x="308" y="64"/>
                  </a:lnTo>
                  <a:lnTo>
                    <a:pt x="304" y="68"/>
                  </a:lnTo>
                  <a:lnTo>
                    <a:pt x="298" y="72"/>
                  </a:lnTo>
                  <a:lnTo>
                    <a:pt x="290" y="74"/>
                  </a:lnTo>
                  <a:lnTo>
                    <a:pt x="282" y="74"/>
                  </a:lnTo>
                  <a:lnTo>
                    <a:pt x="28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7">
              <a:extLst>
                <a:ext uri="{FF2B5EF4-FFF2-40B4-BE49-F238E27FC236}">
                  <a16:creationId xmlns:a16="http://schemas.microsoft.com/office/drawing/2014/main" id="{7E54E023-2000-4ABB-B0A3-19EAAEFBB2BA}"/>
                </a:ext>
              </a:extLst>
            </p:cNvPr>
            <p:cNvSpPr>
              <a:spLocks/>
            </p:cNvSpPr>
            <p:nvPr/>
          </p:nvSpPr>
          <p:spPr bwMode="auto">
            <a:xfrm>
              <a:off x="7462590" y="2664620"/>
              <a:ext cx="46077" cy="45625"/>
            </a:xfrm>
            <a:custGeom>
              <a:avLst/>
              <a:gdLst>
                <a:gd name="T0" fmla="*/ 166 w 204"/>
                <a:gd name="T1" fmla="*/ 202 h 202"/>
                <a:gd name="T2" fmla="*/ 38 w 204"/>
                <a:gd name="T3" fmla="*/ 202 h 202"/>
                <a:gd name="T4" fmla="*/ 38 w 204"/>
                <a:gd name="T5" fmla="*/ 202 h 202"/>
                <a:gd name="T6" fmla="*/ 30 w 204"/>
                <a:gd name="T7" fmla="*/ 202 h 202"/>
                <a:gd name="T8" fmla="*/ 24 w 204"/>
                <a:gd name="T9" fmla="*/ 200 h 202"/>
                <a:gd name="T10" fmla="*/ 16 w 204"/>
                <a:gd name="T11" fmla="*/ 196 h 202"/>
                <a:gd name="T12" fmla="*/ 12 w 204"/>
                <a:gd name="T13" fmla="*/ 192 h 202"/>
                <a:gd name="T14" fmla="*/ 6 w 204"/>
                <a:gd name="T15" fmla="*/ 186 h 202"/>
                <a:gd name="T16" fmla="*/ 4 w 204"/>
                <a:gd name="T17" fmla="*/ 180 h 202"/>
                <a:gd name="T18" fmla="*/ 2 w 204"/>
                <a:gd name="T19" fmla="*/ 172 h 202"/>
                <a:gd name="T20" fmla="*/ 0 w 204"/>
                <a:gd name="T21" fmla="*/ 166 h 202"/>
                <a:gd name="T22" fmla="*/ 0 w 204"/>
                <a:gd name="T23" fmla="*/ 36 h 202"/>
                <a:gd name="T24" fmla="*/ 0 w 204"/>
                <a:gd name="T25" fmla="*/ 36 h 202"/>
                <a:gd name="T26" fmla="*/ 2 w 204"/>
                <a:gd name="T27" fmla="*/ 30 h 202"/>
                <a:gd name="T28" fmla="*/ 4 w 204"/>
                <a:gd name="T29" fmla="*/ 22 h 202"/>
                <a:gd name="T30" fmla="*/ 6 w 204"/>
                <a:gd name="T31" fmla="*/ 16 h 202"/>
                <a:gd name="T32" fmla="*/ 12 w 204"/>
                <a:gd name="T33" fmla="*/ 10 h 202"/>
                <a:gd name="T34" fmla="*/ 16 w 204"/>
                <a:gd name="T35" fmla="*/ 6 h 202"/>
                <a:gd name="T36" fmla="*/ 24 w 204"/>
                <a:gd name="T37" fmla="*/ 2 h 202"/>
                <a:gd name="T38" fmla="*/ 30 w 204"/>
                <a:gd name="T39" fmla="*/ 0 h 202"/>
                <a:gd name="T40" fmla="*/ 38 w 204"/>
                <a:gd name="T41" fmla="*/ 0 h 202"/>
                <a:gd name="T42" fmla="*/ 38 w 204"/>
                <a:gd name="T43" fmla="*/ 0 h 202"/>
                <a:gd name="T44" fmla="*/ 44 w 204"/>
                <a:gd name="T45" fmla="*/ 0 h 202"/>
                <a:gd name="T46" fmla="*/ 52 w 204"/>
                <a:gd name="T47" fmla="*/ 2 h 202"/>
                <a:gd name="T48" fmla="*/ 58 w 204"/>
                <a:gd name="T49" fmla="*/ 6 h 202"/>
                <a:gd name="T50" fmla="*/ 64 w 204"/>
                <a:gd name="T51" fmla="*/ 10 h 202"/>
                <a:gd name="T52" fmla="*/ 68 w 204"/>
                <a:gd name="T53" fmla="*/ 16 h 202"/>
                <a:gd name="T54" fmla="*/ 72 w 204"/>
                <a:gd name="T55" fmla="*/ 22 h 202"/>
                <a:gd name="T56" fmla="*/ 74 w 204"/>
                <a:gd name="T57" fmla="*/ 30 h 202"/>
                <a:gd name="T58" fmla="*/ 74 w 204"/>
                <a:gd name="T59" fmla="*/ 36 h 202"/>
                <a:gd name="T60" fmla="*/ 74 w 204"/>
                <a:gd name="T61" fmla="*/ 128 h 202"/>
                <a:gd name="T62" fmla="*/ 166 w 204"/>
                <a:gd name="T63" fmla="*/ 128 h 202"/>
                <a:gd name="T64" fmla="*/ 166 w 204"/>
                <a:gd name="T65" fmla="*/ 128 h 202"/>
                <a:gd name="T66" fmla="*/ 174 w 204"/>
                <a:gd name="T67" fmla="*/ 130 h 202"/>
                <a:gd name="T68" fmla="*/ 180 w 204"/>
                <a:gd name="T69" fmla="*/ 132 h 202"/>
                <a:gd name="T70" fmla="*/ 186 w 204"/>
                <a:gd name="T71" fmla="*/ 134 h 202"/>
                <a:gd name="T72" fmla="*/ 192 w 204"/>
                <a:gd name="T73" fmla="*/ 140 h 202"/>
                <a:gd name="T74" fmla="*/ 196 w 204"/>
                <a:gd name="T75" fmla="*/ 144 h 202"/>
                <a:gd name="T76" fmla="*/ 200 w 204"/>
                <a:gd name="T77" fmla="*/ 152 h 202"/>
                <a:gd name="T78" fmla="*/ 202 w 204"/>
                <a:gd name="T79" fmla="*/ 158 h 202"/>
                <a:gd name="T80" fmla="*/ 204 w 204"/>
                <a:gd name="T81" fmla="*/ 166 h 202"/>
                <a:gd name="T82" fmla="*/ 204 w 204"/>
                <a:gd name="T83" fmla="*/ 166 h 202"/>
                <a:gd name="T84" fmla="*/ 202 w 204"/>
                <a:gd name="T85" fmla="*/ 172 h 202"/>
                <a:gd name="T86" fmla="*/ 200 w 204"/>
                <a:gd name="T87" fmla="*/ 180 h 202"/>
                <a:gd name="T88" fmla="*/ 196 w 204"/>
                <a:gd name="T89" fmla="*/ 186 h 202"/>
                <a:gd name="T90" fmla="*/ 192 w 204"/>
                <a:gd name="T91" fmla="*/ 192 h 202"/>
                <a:gd name="T92" fmla="*/ 186 w 204"/>
                <a:gd name="T93" fmla="*/ 196 h 202"/>
                <a:gd name="T94" fmla="*/ 180 w 204"/>
                <a:gd name="T95" fmla="*/ 200 h 202"/>
                <a:gd name="T96" fmla="*/ 174 w 204"/>
                <a:gd name="T97" fmla="*/ 202 h 202"/>
                <a:gd name="T98" fmla="*/ 166 w 204"/>
                <a:gd name="T99" fmla="*/ 202 h 202"/>
                <a:gd name="T100" fmla="*/ 166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166" y="202"/>
                  </a:moveTo>
                  <a:lnTo>
                    <a:pt x="38" y="202"/>
                  </a:lnTo>
                  <a:lnTo>
                    <a:pt x="38" y="202"/>
                  </a:lnTo>
                  <a:lnTo>
                    <a:pt x="30" y="202"/>
                  </a:lnTo>
                  <a:lnTo>
                    <a:pt x="24" y="200"/>
                  </a:lnTo>
                  <a:lnTo>
                    <a:pt x="16" y="196"/>
                  </a:lnTo>
                  <a:lnTo>
                    <a:pt x="12" y="192"/>
                  </a:lnTo>
                  <a:lnTo>
                    <a:pt x="6" y="186"/>
                  </a:lnTo>
                  <a:lnTo>
                    <a:pt x="4" y="180"/>
                  </a:lnTo>
                  <a:lnTo>
                    <a:pt x="2" y="172"/>
                  </a:lnTo>
                  <a:lnTo>
                    <a:pt x="0" y="166"/>
                  </a:lnTo>
                  <a:lnTo>
                    <a:pt x="0" y="36"/>
                  </a:lnTo>
                  <a:lnTo>
                    <a:pt x="0" y="36"/>
                  </a:lnTo>
                  <a:lnTo>
                    <a:pt x="2" y="30"/>
                  </a:lnTo>
                  <a:lnTo>
                    <a:pt x="4" y="22"/>
                  </a:lnTo>
                  <a:lnTo>
                    <a:pt x="6" y="16"/>
                  </a:lnTo>
                  <a:lnTo>
                    <a:pt x="12" y="10"/>
                  </a:lnTo>
                  <a:lnTo>
                    <a:pt x="16"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128"/>
                  </a:lnTo>
                  <a:lnTo>
                    <a:pt x="166" y="128"/>
                  </a:lnTo>
                  <a:lnTo>
                    <a:pt x="166" y="128"/>
                  </a:lnTo>
                  <a:lnTo>
                    <a:pt x="174" y="130"/>
                  </a:lnTo>
                  <a:lnTo>
                    <a:pt x="180" y="132"/>
                  </a:lnTo>
                  <a:lnTo>
                    <a:pt x="186" y="134"/>
                  </a:lnTo>
                  <a:lnTo>
                    <a:pt x="192" y="140"/>
                  </a:lnTo>
                  <a:lnTo>
                    <a:pt x="196" y="144"/>
                  </a:lnTo>
                  <a:lnTo>
                    <a:pt x="200" y="152"/>
                  </a:lnTo>
                  <a:lnTo>
                    <a:pt x="202" y="158"/>
                  </a:lnTo>
                  <a:lnTo>
                    <a:pt x="204" y="166"/>
                  </a:lnTo>
                  <a:lnTo>
                    <a:pt x="204" y="166"/>
                  </a:lnTo>
                  <a:lnTo>
                    <a:pt x="202" y="172"/>
                  </a:lnTo>
                  <a:lnTo>
                    <a:pt x="200" y="180"/>
                  </a:lnTo>
                  <a:lnTo>
                    <a:pt x="196" y="186"/>
                  </a:lnTo>
                  <a:lnTo>
                    <a:pt x="192" y="192"/>
                  </a:lnTo>
                  <a:lnTo>
                    <a:pt x="186" y="196"/>
                  </a:lnTo>
                  <a:lnTo>
                    <a:pt x="180" y="200"/>
                  </a:lnTo>
                  <a:lnTo>
                    <a:pt x="174" y="202"/>
                  </a:lnTo>
                  <a:lnTo>
                    <a:pt x="166" y="202"/>
                  </a:lnTo>
                  <a:lnTo>
                    <a:pt x="16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
              <a:extLst>
                <a:ext uri="{FF2B5EF4-FFF2-40B4-BE49-F238E27FC236}">
                  <a16:creationId xmlns:a16="http://schemas.microsoft.com/office/drawing/2014/main" id="{ED6379D7-6844-4184-8E31-B384D5E495E7}"/>
                </a:ext>
              </a:extLst>
            </p:cNvPr>
            <p:cNvSpPr>
              <a:spLocks noEditPoints="1"/>
            </p:cNvSpPr>
            <p:nvPr/>
          </p:nvSpPr>
          <p:spPr bwMode="auto">
            <a:xfrm>
              <a:off x="7462590" y="2379574"/>
              <a:ext cx="16714" cy="262007"/>
            </a:xfrm>
            <a:custGeom>
              <a:avLst/>
              <a:gdLst>
                <a:gd name="T0" fmla="*/ 38 w 74"/>
                <a:gd name="T1" fmla="*/ 1160 h 1160"/>
                <a:gd name="T2" fmla="*/ 24 w 74"/>
                <a:gd name="T3" fmla="*/ 1158 h 1160"/>
                <a:gd name="T4" fmla="*/ 12 w 74"/>
                <a:gd name="T5" fmla="*/ 1150 h 1160"/>
                <a:gd name="T6" fmla="*/ 4 w 74"/>
                <a:gd name="T7" fmla="*/ 1138 h 1160"/>
                <a:gd name="T8" fmla="*/ 0 w 74"/>
                <a:gd name="T9" fmla="*/ 1124 h 1160"/>
                <a:gd name="T10" fmla="*/ 0 w 74"/>
                <a:gd name="T11" fmla="*/ 878 h 1160"/>
                <a:gd name="T12" fmla="*/ 4 w 74"/>
                <a:gd name="T13" fmla="*/ 864 h 1160"/>
                <a:gd name="T14" fmla="*/ 12 w 74"/>
                <a:gd name="T15" fmla="*/ 852 h 1160"/>
                <a:gd name="T16" fmla="*/ 24 w 74"/>
                <a:gd name="T17" fmla="*/ 844 h 1160"/>
                <a:gd name="T18" fmla="*/ 38 w 74"/>
                <a:gd name="T19" fmla="*/ 842 h 1160"/>
                <a:gd name="T20" fmla="*/ 44 w 74"/>
                <a:gd name="T21" fmla="*/ 842 h 1160"/>
                <a:gd name="T22" fmla="*/ 58 w 74"/>
                <a:gd name="T23" fmla="*/ 848 h 1160"/>
                <a:gd name="T24" fmla="*/ 68 w 74"/>
                <a:gd name="T25" fmla="*/ 858 h 1160"/>
                <a:gd name="T26" fmla="*/ 74 w 74"/>
                <a:gd name="T27" fmla="*/ 870 h 1160"/>
                <a:gd name="T28" fmla="*/ 74 w 74"/>
                <a:gd name="T29" fmla="*/ 1124 h 1160"/>
                <a:gd name="T30" fmla="*/ 74 w 74"/>
                <a:gd name="T31" fmla="*/ 1130 h 1160"/>
                <a:gd name="T32" fmla="*/ 68 w 74"/>
                <a:gd name="T33" fmla="*/ 1144 h 1160"/>
                <a:gd name="T34" fmla="*/ 58 w 74"/>
                <a:gd name="T35" fmla="*/ 1154 h 1160"/>
                <a:gd name="T36" fmla="*/ 44 w 74"/>
                <a:gd name="T37" fmla="*/ 1160 h 1160"/>
                <a:gd name="T38" fmla="*/ 38 w 74"/>
                <a:gd name="T39" fmla="*/ 1160 h 1160"/>
                <a:gd name="T40" fmla="*/ 38 w 74"/>
                <a:gd name="T41" fmla="*/ 740 h 1160"/>
                <a:gd name="T42" fmla="*/ 24 w 74"/>
                <a:gd name="T43" fmla="*/ 736 h 1160"/>
                <a:gd name="T44" fmla="*/ 12 w 74"/>
                <a:gd name="T45" fmla="*/ 728 h 1160"/>
                <a:gd name="T46" fmla="*/ 4 w 74"/>
                <a:gd name="T47" fmla="*/ 718 h 1160"/>
                <a:gd name="T48" fmla="*/ 0 w 74"/>
                <a:gd name="T49" fmla="*/ 702 h 1160"/>
                <a:gd name="T50" fmla="*/ 0 w 74"/>
                <a:gd name="T51" fmla="*/ 458 h 1160"/>
                <a:gd name="T52" fmla="*/ 4 w 74"/>
                <a:gd name="T53" fmla="*/ 444 h 1160"/>
                <a:gd name="T54" fmla="*/ 12 w 74"/>
                <a:gd name="T55" fmla="*/ 432 h 1160"/>
                <a:gd name="T56" fmla="*/ 24 w 74"/>
                <a:gd name="T57" fmla="*/ 424 h 1160"/>
                <a:gd name="T58" fmla="*/ 38 w 74"/>
                <a:gd name="T59" fmla="*/ 420 h 1160"/>
                <a:gd name="T60" fmla="*/ 44 w 74"/>
                <a:gd name="T61" fmla="*/ 422 h 1160"/>
                <a:gd name="T62" fmla="*/ 58 w 74"/>
                <a:gd name="T63" fmla="*/ 426 h 1160"/>
                <a:gd name="T64" fmla="*/ 68 w 74"/>
                <a:gd name="T65" fmla="*/ 436 h 1160"/>
                <a:gd name="T66" fmla="*/ 74 w 74"/>
                <a:gd name="T67" fmla="*/ 450 h 1160"/>
                <a:gd name="T68" fmla="*/ 74 w 74"/>
                <a:gd name="T69" fmla="*/ 702 h 1160"/>
                <a:gd name="T70" fmla="*/ 74 w 74"/>
                <a:gd name="T71" fmla="*/ 710 h 1160"/>
                <a:gd name="T72" fmla="*/ 68 w 74"/>
                <a:gd name="T73" fmla="*/ 724 h 1160"/>
                <a:gd name="T74" fmla="*/ 58 w 74"/>
                <a:gd name="T75" fmla="*/ 734 h 1160"/>
                <a:gd name="T76" fmla="*/ 44 w 74"/>
                <a:gd name="T77" fmla="*/ 738 h 1160"/>
                <a:gd name="T78" fmla="*/ 38 w 74"/>
                <a:gd name="T79" fmla="*/ 740 h 1160"/>
                <a:gd name="T80" fmla="*/ 38 w 74"/>
                <a:gd name="T81" fmla="*/ 318 h 1160"/>
                <a:gd name="T82" fmla="*/ 24 w 74"/>
                <a:gd name="T83" fmla="*/ 316 h 1160"/>
                <a:gd name="T84" fmla="*/ 12 w 74"/>
                <a:gd name="T85" fmla="*/ 308 h 1160"/>
                <a:gd name="T86" fmla="*/ 4 w 74"/>
                <a:gd name="T87" fmla="*/ 296 h 1160"/>
                <a:gd name="T88" fmla="*/ 0 w 74"/>
                <a:gd name="T89" fmla="*/ 282 h 1160"/>
                <a:gd name="T90" fmla="*/ 0 w 74"/>
                <a:gd name="T91" fmla="*/ 36 h 1160"/>
                <a:gd name="T92" fmla="*/ 4 w 74"/>
                <a:gd name="T93" fmla="*/ 22 h 1160"/>
                <a:gd name="T94" fmla="*/ 12 w 74"/>
                <a:gd name="T95" fmla="*/ 10 h 1160"/>
                <a:gd name="T96" fmla="*/ 24 w 74"/>
                <a:gd name="T97" fmla="*/ 2 h 1160"/>
                <a:gd name="T98" fmla="*/ 38 w 74"/>
                <a:gd name="T99" fmla="*/ 0 h 1160"/>
                <a:gd name="T100" fmla="*/ 44 w 74"/>
                <a:gd name="T101" fmla="*/ 0 h 1160"/>
                <a:gd name="T102" fmla="*/ 58 w 74"/>
                <a:gd name="T103" fmla="*/ 6 h 1160"/>
                <a:gd name="T104" fmla="*/ 68 w 74"/>
                <a:gd name="T105" fmla="*/ 16 h 1160"/>
                <a:gd name="T106" fmla="*/ 74 w 74"/>
                <a:gd name="T107" fmla="*/ 30 h 1160"/>
                <a:gd name="T108" fmla="*/ 74 w 74"/>
                <a:gd name="T109" fmla="*/ 282 h 1160"/>
                <a:gd name="T110" fmla="*/ 74 w 74"/>
                <a:gd name="T111" fmla="*/ 290 h 1160"/>
                <a:gd name="T112" fmla="*/ 68 w 74"/>
                <a:gd name="T113" fmla="*/ 302 h 1160"/>
                <a:gd name="T114" fmla="*/ 58 w 74"/>
                <a:gd name="T115" fmla="*/ 312 h 1160"/>
                <a:gd name="T116" fmla="*/ 44 w 74"/>
                <a:gd name="T117" fmla="*/ 318 h 1160"/>
                <a:gd name="T118" fmla="*/ 38 w 74"/>
                <a:gd name="T119" fmla="*/ 318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1160">
                  <a:moveTo>
                    <a:pt x="38" y="1160"/>
                  </a:moveTo>
                  <a:lnTo>
                    <a:pt x="38" y="1160"/>
                  </a:lnTo>
                  <a:lnTo>
                    <a:pt x="30" y="1160"/>
                  </a:lnTo>
                  <a:lnTo>
                    <a:pt x="24" y="1158"/>
                  </a:lnTo>
                  <a:lnTo>
                    <a:pt x="16" y="1154"/>
                  </a:lnTo>
                  <a:lnTo>
                    <a:pt x="12" y="1150"/>
                  </a:lnTo>
                  <a:lnTo>
                    <a:pt x="6" y="1144"/>
                  </a:lnTo>
                  <a:lnTo>
                    <a:pt x="4" y="1138"/>
                  </a:lnTo>
                  <a:lnTo>
                    <a:pt x="2" y="1130"/>
                  </a:lnTo>
                  <a:lnTo>
                    <a:pt x="0" y="1124"/>
                  </a:lnTo>
                  <a:lnTo>
                    <a:pt x="0" y="878"/>
                  </a:lnTo>
                  <a:lnTo>
                    <a:pt x="0" y="878"/>
                  </a:lnTo>
                  <a:lnTo>
                    <a:pt x="2" y="870"/>
                  </a:lnTo>
                  <a:lnTo>
                    <a:pt x="4" y="864"/>
                  </a:lnTo>
                  <a:lnTo>
                    <a:pt x="6" y="858"/>
                  </a:lnTo>
                  <a:lnTo>
                    <a:pt x="12" y="852"/>
                  </a:lnTo>
                  <a:lnTo>
                    <a:pt x="16" y="848"/>
                  </a:lnTo>
                  <a:lnTo>
                    <a:pt x="24" y="844"/>
                  </a:lnTo>
                  <a:lnTo>
                    <a:pt x="30" y="842"/>
                  </a:lnTo>
                  <a:lnTo>
                    <a:pt x="38" y="842"/>
                  </a:lnTo>
                  <a:lnTo>
                    <a:pt x="38" y="842"/>
                  </a:lnTo>
                  <a:lnTo>
                    <a:pt x="44" y="842"/>
                  </a:lnTo>
                  <a:lnTo>
                    <a:pt x="52" y="844"/>
                  </a:lnTo>
                  <a:lnTo>
                    <a:pt x="58" y="848"/>
                  </a:lnTo>
                  <a:lnTo>
                    <a:pt x="64" y="852"/>
                  </a:lnTo>
                  <a:lnTo>
                    <a:pt x="68" y="858"/>
                  </a:lnTo>
                  <a:lnTo>
                    <a:pt x="72" y="864"/>
                  </a:lnTo>
                  <a:lnTo>
                    <a:pt x="74" y="870"/>
                  </a:lnTo>
                  <a:lnTo>
                    <a:pt x="74" y="878"/>
                  </a:lnTo>
                  <a:lnTo>
                    <a:pt x="74" y="1124"/>
                  </a:lnTo>
                  <a:lnTo>
                    <a:pt x="74" y="1124"/>
                  </a:lnTo>
                  <a:lnTo>
                    <a:pt x="74" y="1130"/>
                  </a:lnTo>
                  <a:lnTo>
                    <a:pt x="72" y="1138"/>
                  </a:lnTo>
                  <a:lnTo>
                    <a:pt x="68" y="1144"/>
                  </a:lnTo>
                  <a:lnTo>
                    <a:pt x="64" y="1150"/>
                  </a:lnTo>
                  <a:lnTo>
                    <a:pt x="58" y="1154"/>
                  </a:lnTo>
                  <a:lnTo>
                    <a:pt x="52" y="1158"/>
                  </a:lnTo>
                  <a:lnTo>
                    <a:pt x="44" y="1160"/>
                  </a:lnTo>
                  <a:lnTo>
                    <a:pt x="38" y="1160"/>
                  </a:lnTo>
                  <a:lnTo>
                    <a:pt x="38" y="1160"/>
                  </a:lnTo>
                  <a:close/>
                  <a:moveTo>
                    <a:pt x="38" y="740"/>
                  </a:moveTo>
                  <a:lnTo>
                    <a:pt x="38" y="740"/>
                  </a:lnTo>
                  <a:lnTo>
                    <a:pt x="30" y="738"/>
                  </a:lnTo>
                  <a:lnTo>
                    <a:pt x="24" y="736"/>
                  </a:lnTo>
                  <a:lnTo>
                    <a:pt x="16" y="734"/>
                  </a:lnTo>
                  <a:lnTo>
                    <a:pt x="12" y="728"/>
                  </a:lnTo>
                  <a:lnTo>
                    <a:pt x="6" y="724"/>
                  </a:lnTo>
                  <a:lnTo>
                    <a:pt x="4" y="718"/>
                  </a:lnTo>
                  <a:lnTo>
                    <a:pt x="2" y="710"/>
                  </a:lnTo>
                  <a:lnTo>
                    <a:pt x="0" y="702"/>
                  </a:lnTo>
                  <a:lnTo>
                    <a:pt x="0" y="458"/>
                  </a:lnTo>
                  <a:lnTo>
                    <a:pt x="0" y="458"/>
                  </a:lnTo>
                  <a:lnTo>
                    <a:pt x="2" y="450"/>
                  </a:lnTo>
                  <a:lnTo>
                    <a:pt x="4" y="444"/>
                  </a:lnTo>
                  <a:lnTo>
                    <a:pt x="6" y="436"/>
                  </a:lnTo>
                  <a:lnTo>
                    <a:pt x="12" y="432"/>
                  </a:lnTo>
                  <a:lnTo>
                    <a:pt x="16" y="426"/>
                  </a:lnTo>
                  <a:lnTo>
                    <a:pt x="24" y="424"/>
                  </a:lnTo>
                  <a:lnTo>
                    <a:pt x="30" y="422"/>
                  </a:lnTo>
                  <a:lnTo>
                    <a:pt x="38" y="420"/>
                  </a:lnTo>
                  <a:lnTo>
                    <a:pt x="38" y="420"/>
                  </a:lnTo>
                  <a:lnTo>
                    <a:pt x="44" y="422"/>
                  </a:lnTo>
                  <a:lnTo>
                    <a:pt x="52" y="424"/>
                  </a:lnTo>
                  <a:lnTo>
                    <a:pt x="58" y="426"/>
                  </a:lnTo>
                  <a:lnTo>
                    <a:pt x="64" y="432"/>
                  </a:lnTo>
                  <a:lnTo>
                    <a:pt x="68" y="436"/>
                  </a:lnTo>
                  <a:lnTo>
                    <a:pt x="72" y="444"/>
                  </a:lnTo>
                  <a:lnTo>
                    <a:pt x="74" y="450"/>
                  </a:lnTo>
                  <a:lnTo>
                    <a:pt x="74" y="458"/>
                  </a:lnTo>
                  <a:lnTo>
                    <a:pt x="74" y="702"/>
                  </a:lnTo>
                  <a:lnTo>
                    <a:pt x="74" y="702"/>
                  </a:lnTo>
                  <a:lnTo>
                    <a:pt x="74" y="710"/>
                  </a:lnTo>
                  <a:lnTo>
                    <a:pt x="72" y="718"/>
                  </a:lnTo>
                  <a:lnTo>
                    <a:pt x="68" y="724"/>
                  </a:lnTo>
                  <a:lnTo>
                    <a:pt x="64" y="728"/>
                  </a:lnTo>
                  <a:lnTo>
                    <a:pt x="58" y="734"/>
                  </a:lnTo>
                  <a:lnTo>
                    <a:pt x="52" y="736"/>
                  </a:lnTo>
                  <a:lnTo>
                    <a:pt x="44" y="738"/>
                  </a:lnTo>
                  <a:lnTo>
                    <a:pt x="38" y="740"/>
                  </a:lnTo>
                  <a:lnTo>
                    <a:pt x="38" y="740"/>
                  </a:lnTo>
                  <a:close/>
                  <a:moveTo>
                    <a:pt x="38" y="318"/>
                  </a:moveTo>
                  <a:lnTo>
                    <a:pt x="38" y="318"/>
                  </a:lnTo>
                  <a:lnTo>
                    <a:pt x="30" y="318"/>
                  </a:lnTo>
                  <a:lnTo>
                    <a:pt x="24" y="316"/>
                  </a:lnTo>
                  <a:lnTo>
                    <a:pt x="16" y="312"/>
                  </a:lnTo>
                  <a:lnTo>
                    <a:pt x="12" y="308"/>
                  </a:lnTo>
                  <a:lnTo>
                    <a:pt x="6" y="302"/>
                  </a:lnTo>
                  <a:lnTo>
                    <a:pt x="4" y="296"/>
                  </a:lnTo>
                  <a:lnTo>
                    <a:pt x="2" y="290"/>
                  </a:lnTo>
                  <a:lnTo>
                    <a:pt x="0" y="282"/>
                  </a:lnTo>
                  <a:lnTo>
                    <a:pt x="0" y="36"/>
                  </a:lnTo>
                  <a:lnTo>
                    <a:pt x="0" y="36"/>
                  </a:lnTo>
                  <a:lnTo>
                    <a:pt x="2" y="30"/>
                  </a:lnTo>
                  <a:lnTo>
                    <a:pt x="4" y="22"/>
                  </a:lnTo>
                  <a:lnTo>
                    <a:pt x="6" y="16"/>
                  </a:lnTo>
                  <a:lnTo>
                    <a:pt x="12" y="10"/>
                  </a:lnTo>
                  <a:lnTo>
                    <a:pt x="16"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282"/>
                  </a:lnTo>
                  <a:lnTo>
                    <a:pt x="74" y="282"/>
                  </a:lnTo>
                  <a:lnTo>
                    <a:pt x="74" y="290"/>
                  </a:lnTo>
                  <a:lnTo>
                    <a:pt x="72" y="296"/>
                  </a:lnTo>
                  <a:lnTo>
                    <a:pt x="68" y="302"/>
                  </a:lnTo>
                  <a:lnTo>
                    <a:pt x="64" y="308"/>
                  </a:lnTo>
                  <a:lnTo>
                    <a:pt x="58" y="312"/>
                  </a:lnTo>
                  <a:lnTo>
                    <a:pt x="52" y="316"/>
                  </a:lnTo>
                  <a:lnTo>
                    <a:pt x="44" y="318"/>
                  </a:lnTo>
                  <a:lnTo>
                    <a:pt x="38" y="318"/>
                  </a:lnTo>
                  <a:lnTo>
                    <a:pt x="38"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9">
              <a:extLst>
                <a:ext uri="{FF2B5EF4-FFF2-40B4-BE49-F238E27FC236}">
                  <a16:creationId xmlns:a16="http://schemas.microsoft.com/office/drawing/2014/main" id="{CC2D3DCC-1548-4124-83D2-57D7D0D9C827}"/>
                </a:ext>
              </a:extLst>
            </p:cNvPr>
            <p:cNvSpPr>
              <a:spLocks/>
            </p:cNvSpPr>
            <p:nvPr/>
          </p:nvSpPr>
          <p:spPr bwMode="auto">
            <a:xfrm>
              <a:off x="7462590" y="2310910"/>
              <a:ext cx="46077" cy="45625"/>
            </a:xfrm>
            <a:custGeom>
              <a:avLst/>
              <a:gdLst>
                <a:gd name="T0" fmla="*/ 38 w 204"/>
                <a:gd name="T1" fmla="*/ 202 h 202"/>
                <a:gd name="T2" fmla="*/ 38 w 204"/>
                <a:gd name="T3" fmla="*/ 202 h 202"/>
                <a:gd name="T4" fmla="*/ 30 w 204"/>
                <a:gd name="T5" fmla="*/ 202 h 202"/>
                <a:gd name="T6" fmla="*/ 24 w 204"/>
                <a:gd name="T7" fmla="*/ 200 h 202"/>
                <a:gd name="T8" fmla="*/ 16 w 204"/>
                <a:gd name="T9" fmla="*/ 196 h 202"/>
                <a:gd name="T10" fmla="*/ 12 w 204"/>
                <a:gd name="T11" fmla="*/ 192 h 202"/>
                <a:gd name="T12" fmla="*/ 6 w 204"/>
                <a:gd name="T13" fmla="*/ 186 h 202"/>
                <a:gd name="T14" fmla="*/ 4 w 204"/>
                <a:gd name="T15" fmla="*/ 180 h 202"/>
                <a:gd name="T16" fmla="*/ 2 w 204"/>
                <a:gd name="T17" fmla="*/ 172 h 202"/>
                <a:gd name="T18" fmla="*/ 0 w 204"/>
                <a:gd name="T19" fmla="*/ 166 h 202"/>
                <a:gd name="T20" fmla="*/ 0 w 204"/>
                <a:gd name="T21" fmla="*/ 36 h 202"/>
                <a:gd name="T22" fmla="*/ 0 w 204"/>
                <a:gd name="T23" fmla="*/ 36 h 202"/>
                <a:gd name="T24" fmla="*/ 2 w 204"/>
                <a:gd name="T25" fmla="*/ 30 h 202"/>
                <a:gd name="T26" fmla="*/ 4 w 204"/>
                <a:gd name="T27" fmla="*/ 22 h 202"/>
                <a:gd name="T28" fmla="*/ 6 w 204"/>
                <a:gd name="T29" fmla="*/ 16 h 202"/>
                <a:gd name="T30" fmla="*/ 12 w 204"/>
                <a:gd name="T31" fmla="*/ 10 h 202"/>
                <a:gd name="T32" fmla="*/ 16 w 204"/>
                <a:gd name="T33" fmla="*/ 6 h 202"/>
                <a:gd name="T34" fmla="*/ 24 w 204"/>
                <a:gd name="T35" fmla="*/ 2 h 202"/>
                <a:gd name="T36" fmla="*/ 30 w 204"/>
                <a:gd name="T37" fmla="*/ 0 h 202"/>
                <a:gd name="T38" fmla="*/ 38 w 204"/>
                <a:gd name="T39" fmla="*/ 0 h 202"/>
                <a:gd name="T40" fmla="*/ 166 w 204"/>
                <a:gd name="T41" fmla="*/ 0 h 202"/>
                <a:gd name="T42" fmla="*/ 166 w 204"/>
                <a:gd name="T43" fmla="*/ 0 h 202"/>
                <a:gd name="T44" fmla="*/ 174 w 204"/>
                <a:gd name="T45" fmla="*/ 0 h 202"/>
                <a:gd name="T46" fmla="*/ 180 w 204"/>
                <a:gd name="T47" fmla="*/ 2 h 202"/>
                <a:gd name="T48" fmla="*/ 186 w 204"/>
                <a:gd name="T49" fmla="*/ 6 h 202"/>
                <a:gd name="T50" fmla="*/ 192 w 204"/>
                <a:gd name="T51" fmla="*/ 10 h 202"/>
                <a:gd name="T52" fmla="*/ 196 w 204"/>
                <a:gd name="T53" fmla="*/ 16 h 202"/>
                <a:gd name="T54" fmla="*/ 200 w 204"/>
                <a:gd name="T55" fmla="*/ 22 h 202"/>
                <a:gd name="T56" fmla="*/ 202 w 204"/>
                <a:gd name="T57" fmla="*/ 30 h 202"/>
                <a:gd name="T58" fmla="*/ 204 w 204"/>
                <a:gd name="T59" fmla="*/ 36 h 202"/>
                <a:gd name="T60" fmla="*/ 204 w 204"/>
                <a:gd name="T61" fmla="*/ 36 h 202"/>
                <a:gd name="T62" fmla="*/ 202 w 204"/>
                <a:gd name="T63" fmla="*/ 44 h 202"/>
                <a:gd name="T64" fmla="*/ 200 w 204"/>
                <a:gd name="T65" fmla="*/ 50 h 202"/>
                <a:gd name="T66" fmla="*/ 196 w 204"/>
                <a:gd name="T67" fmla="*/ 58 h 202"/>
                <a:gd name="T68" fmla="*/ 192 w 204"/>
                <a:gd name="T69" fmla="*/ 62 h 202"/>
                <a:gd name="T70" fmla="*/ 186 w 204"/>
                <a:gd name="T71" fmla="*/ 68 h 202"/>
                <a:gd name="T72" fmla="*/ 180 w 204"/>
                <a:gd name="T73" fmla="*/ 70 h 202"/>
                <a:gd name="T74" fmla="*/ 174 w 204"/>
                <a:gd name="T75" fmla="*/ 72 h 202"/>
                <a:gd name="T76" fmla="*/ 166 w 204"/>
                <a:gd name="T77" fmla="*/ 74 h 202"/>
                <a:gd name="T78" fmla="*/ 74 w 204"/>
                <a:gd name="T79" fmla="*/ 74 h 202"/>
                <a:gd name="T80" fmla="*/ 74 w 204"/>
                <a:gd name="T81" fmla="*/ 166 h 202"/>
                <a:gd name="T82" fmla="*/ 74 w 204"/>
                <a:gd name="T83" fmla="*/ 166 h 202"/>
                <a:gd name="T84" fmla="*/ 74 w 204"/>
                <a:gd name="T85" fmla="*/ 172 h 202"/>
                <a:gd name="T86" fmla="*/ 72 w 204"/>
                <a:gd name="T87" fmla="*/ 180 h 202"/>
                <a:gd name="T88" fmla="*/ 68 w 204"/>
                <a:gd name="T89" fmla="*/ 186 h 202"/>
                <a:gd name="T90" fmla="*/ 64 w 204"/>
                <a:gd name="T91" fmla="*/ 192 h 202"/>
                <a:gd name="T92" fmla="*/ 58 w 204"/>
                <a:gd name="T93" fmla="*/ 196 h 202"/>
                <a:gd name="T94" fmla="*/ 52 w 204"/>
                <a:gd name="T95" fmla="*/ 200 h 202"/>
                <a:gd name="T96" fmla="*/ 44 w 204"/>
                <a:gd name="T97" fmla="*/ 202 h 202"/>
                <a:gd name="T98" fmla="*/ 38 w 204"/>
                <a:gd name="T99" fmla="*/ 202 h 202"/>
                <a:gd name="T100" fmla="*/ 38 w 204"/>
                <a:gd name="T101"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 h="202">
                  <a:moveTo>
                    <a:pt x="38" y="202"/>
                  </a:moveTo>
                  <a:lnTo>
                    <a:pt x="38" y="202"/>
                  </a:lnTo>
                  <a:lnTo>
                    <a:pt x="30" y="202"/>
                  </a:lnTo>
                  <a:lnTo>
                    <a:pt x="24" y="200"/>
                  </a:lnTo>
                  <a:lnTo>
                    <a:pt x="16" y="196"/>
                  </a:lnTo>
                  <a:lnTo>
                    <a:pt x="12" y="192"/>
                  </a:lnTo>
                  <a:lnTo>
                    <a:pt x="6" y="186"/>
                  </a:lnTo>
                  <a:lnTo>
                    <a:pt x="4" y="180"/>
                  </a:lnTo>
                  <a:lnTo>
                    <a:pt x="2" y="172"/>
                  </a:lnTo>
                  <a:lnTo>
                    <a:pt x="0" y="166"/>
                  </a:lnTo>
                  <a:lnTo>
                    <a:pt x="0" y="36"/>
                  </a:lnTo>
                  <a:lnTo>
                    <a:pt x="0" y="36"/>
                  </a:lnTo>
                  <a:lnTo>
                    <a:pt x="2" y="30"/>
                  </a:lnTo>
                  <a:lnTo>
                    <a:pt x="4" y="22"/>
                  </a:lnTo>
                  <a:lnTo>
                    <a:pt x="6" y="16"/>
                  </a:lnTo>
                  <a:lnTo>
                    <a:pt x="12" y="10"/>
                  </a:lnTo>
                  <a:lnTo>
                    <a:pt x="16" y="6"/>
                  </a:lnTo>
                  <a:lnTo>
                    <a:pt x="24" y="2"/>
                  </a:lnTo>
                  <a:lnTo>
                    <a:pt x="30" y="0"/>
                  </a:lnTo>
                  <a:lnTo>
                    <a:pt x="38" y="0"/>
                  </a:lnTo>
                  <a:lnTo>
                    <a:pt x="166" y="0"/>
                  </a:lnTo>
                  <a:lnTo>
                    <a:pt x="166" y="0"/>
                  </a:lnTo>
                  <a:lnTo>
                    <a:pt x="174" y="0"/>
                  </a:lnTo>
                  <a:lnTo>
                    <a:pt x="180" y="2"/>
                  </a:lnTo>
                  <a:lnTo>
                    <a:pt x="186" y="6"/>
                  </a:lnTo>
                  <a:lnTo>
                    <a:pt x="192" y="10"/>
                  </a:lnTo>
                  <a:lnTo>
                    <a:pt x="196" y="16"/>
                  </a:lnTo>
                  <a:lnTo>
                    <a:pt x="200" y="22"/>
                  </a:lnTo>
                  <a:lnTo>
                    <a:pt x="202" y="30"/>
                  </a:lnTo>
                  <a:lnTo>
                    <a:pt x="204" y="36"/>
                  </a:lnTo>
                  <a:lnTo>
                    <a:pt x="204" y="36"/>
                  </a:lnTo>
                  <a:lnTo>
                    <a:pt x="202" y="44"/>
                  </a:lnTo>
                  <a:lnTo>
                    <a:pt x="200" y="50"/>
                  </a:lnTo>
                  <a:lnTo>
                    <a:pt x="196" y="58"/>
                  </a:lnTo>
                  <a:lnTo>
                    <a:pt x="192" y="62"/>
                  </a:lnTo>
                  <a:lnTo>
                    <a:pt x="186" y="68"/>
                  </a:lnTo>
                  <a:lnTo>
                    <a:pt x="180" y="70"/>
                  </a:lnTo>
                  <a:lnTo>
                    <a:pt x="174" y="72"/>
                  </a:lnTo>
                  <a:lnTo>
                    <a:pt x="166" y="74"/>
                  </a:lnTo>
                  <a:lnTo>
                    <a:pt x="74" y="74"/>
                  </a:lnTo>
                  <a:lnTo>
                    <a:pt x="74" y="166"/>
                  </a:lnTo>
                  <a:lnTo>
                    <a:pt x="74" y="166"/>
                  </a:lnTo>
                  <a:lnTo>
                    <a:pt x="74" y="172"/>
                  </a:lnTo>
                  <a:lnTo>
                    <a:pt x="72" y="180"/>
                  </a:lnTo>
                  <a:lnTo>
                    <a:pt x="68" y="186"/>
                  </a:lnTo>
                  <a:lnTo>
                    <a:pt x="64" y="192"/>
                  </a:lnTo>
                  <a:lnTo>
                    <a:pt x="58" y="196"/>
                  </a:lnTo>
                  <a:lnTo>
                    <a:pt x="52" y="200"/>
                  </a:lnTo>
                  <a:lnTo>
                    <a:pt x="44" y="202"/>
                  </a:lnTo>
                  <a:lnTo>
                    <a:pt x="38" y="202"/>
                  </a:lnTo>
                  <a:lnTo>
                    <a:pt x="38"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20">
              <a:extLst>
                <a:ext uri="{FF2B5EF4-FFF2-40B4-BE49-F238E27FC236}">
                  <a16:creationId xmlns:a16="http://schemas.microsoft.com/office/drawing/2014/main" id="{669F812C-1BE4-4368-A628-D2218F920148}"/>
                </a:ext>
              </a:extLst>
            </p:cNvPr>
            <p:cNvSpPr>
              <a:spLocks noEditPoints="1"/>
            </p:cNvSpPr>
            <p:nvPr/>
          </p:nvSpPr>
          <p:spPr bwMode="auto">
            <a:xfrm>
              <a:off x="7524930" y="2310910"/>
              <a:ext cx="141845" cy="16714"/>
            </a:xfrm>
            <a:custGeom>
              <a:avLst/>
              <a:gdLst>
                <a:gd name="T0" fmla="*/ 388 w 628"/>
                <a:gd name="T1" fmla="*/ 74 h 74"/>
                <a:gd name="T2" fmla="*/ 380 w 628"/>
                <a:gd name="T3" fmla="*/ 72 h 74"/>
                <a:gd name="T4" fmla="*/ 366 w 628"/>
                <a:gd name="T5" fmla="*/ 68 h 74"/>
                <a:gd name="T6" fmla="*/ 356 w 628"/>
                <a:gd name="T7" fmla="*/ 58 h 74"/>
                <a:gd name="T8" fmla="*/ 350 w 628"/>
                <a:gd name="T9" fmla="*/ 44 h 74"/>
                <a:gd name="T10" fmla="*/ 350 w 628"/>
                <a:gd name="T11" fmla="*/ 36 h 74"/>
                <a:gd name="T12" fmla="*/ 354 w 628"/>
                <a:gd name="T13" fmla="*/ 22 h 74"/>
                <a:gd name="T14" fmla="*/ 362 w 628"/>
                <a:gd name="T15" fmla="*/ 10 h 74"/>
                <a:gd name="T16" fmla="*/ 372 w 628"/>
                <a:gd name="T17" fmla="*/ 2 h 74"/>
                <a:gd name="T18" fmla="*/ 388 w 628"/>
                <a:gd name="T19" fmla="*/ 0 h 74"/>
                <a:gd name="T20" fmla="*/ 592 w 628"/>
                <a:gd name="T21" fmla="*/ 0 h 74"/>
                <a:gd name="T22" fmla="*/ 606 w 628"/>
                <a:gd name="T23" fmla="*/ 2 h 74"/>
                <a:gd name="T24" fmla="*/ 618 w 628"/>
                <a:gd name="T25" fmla="*/ 10 h 74"/>
                <a:gd name="T26" fmla="*/ 626 w 628"/>
                <a:gd name="T27" fmla="*/ 22 h 74"/>
                <a:gd name="T28" fmla="*/ 628 w 628"/>
                <a:gd name="T29" fmla="*/ 36 h 74"/>
                <a:gd name="T30" fmla="*/ 628 w 628"/>
                <a:gd name="T31" fmla="*/ 44 h 74"/>
                <a:gd name="T32" fmla="*/ 622 w 628"/>
                <a:gd name="T33" fmla="*/ 58 h 74"/>
                <a:gd name="T34" fmla="*/ 612 w 628"/>
                <a:gd name="T35" fmla="*/ 68 h 74"/>
                <a:gd name="T36" fmla="*/ 600 w 628"/>
                <a:gd name="T37" fmla="*/ 72 h 74"/>
                <a:gd name="T38" fmla="*/ 592 w 628"/>
                <a:gd name="T39" fmla="*/ 74 h 74"/>
                <a:gd name="T40" fmla="*/ 36 w 628"/>
                <a:gd name="T41" fmla="*/ 74 h 74"/>
                <a:gd name="T42" fmla="*/ 28 w 628"/>
                <a:gd name="T43" fmla="*/ 72 h 74"/>
                <a:gd name="T44" fmla="*/ 16 w 628"/>
                <a:gd name="T45" fmla="*/ 68 h 74"/>
                <a:gd name="T46" fmla="*/ 6 w 628"/>
                <a:gd name="T47" fmla="*/ 58 h 74"/>
                <a:gd name="T48" fmla="*/ 0 w 628"/>
                <a:gd name="T49" fmla="*/ 44 h 74"/>
                <a:gd name="T50" fmla="*/ 0 w 628"/>
                <a:gd name="T51" fmla="*/ 36 h 74"/>
                <a:gd name="T52" fmla="*/ 2 w 628"/>
                <a:gd name="T53" fmla="*/ 22 h 74"/>
                <a:gd name="T54" fmla="*/ 10 w 628"/>
                <a:gd name="T55" fmla="*/ 10 h 74"/>
                <a:gd name="T56" fmla="*/ 22 w 628"/>
                <a:gd name="T57" fmla="*/ 2 h 74"/>
                <a:gd name="T58" fmla="*/ 36 w 628"/>
                <a:gd name="T59" fmla="*/ 0 h 74"/>
                <a:gd name="T60" fmla="*/ 240 w 628"/>
                <a:gd name="T61" fmla="*/ 0 h 74"/>
                <a:gd name="T62" fmla="*/ 256 w 628"/>
                <a:gd name="T63" fmla="*/ 2 h 74"/>
                <a:gd name="T64" fmla="*/ 268 w 628"/>
                <a:gd name="T65" fmla="*/ 10 h 74"/>
                <a:gd name="T66" fmla="*/ 274 w 628"/>
                <a:gd name="T67" fmla="*/ 22 h 74"/>
                <a:gd name="T68" fmla="*/ 278 w 628"/>
                <a:gd name="T69" fmla="*/ 36 h 74"/>
                <a:gd name="T70" fmla="*/ 278 w 628"/>
                <a:gd name="T71" fmla="*/ 44 h 74"/>
                <a:gd name="T72" fmla="*/ 272 w 628"/>
                <a:gd name="T73" fmla="*/ 58 h 74"/>
                <a:gd name="T74" fmla="*/ 262 w 628"/>
                <a:gd name="T75" fmla="*/ 68 h 74"/>
                <a:gd name="T76" fmla="*/ 248 w 628"/>
                <a:gd name="T77" fmla="*/ 72 h 74"/>
                <a:gd name="T78" fmla="*/ 240 w 628"/>
                <a:gd name="T7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8" h="74">
                  <a:moveTo>
                    <a:pt x="592" y="74"/>
                  </a:moveTo>
                  <a:lnTo>
                    <a:pt x="388" y="74"/>
                  </a:lnTo>
                  <a:lnTo>
                    <a:pt x="388" y="74"/>
                  </a:lnTo>
                  <a:lnTo>
                    <a:pt x="380" y="72"/>
                  </a:lnTo>
                  <a:lnTo>
                    <a:pt x="372" y="70"/>
                  </a:lnTo>
                  <a:lnTo>
                    <a:pt x="366" y="68"/>
                  </a:lnTo>
                  <a:lnTo>
                    <a:pt x="362" y="62"/>
                  </a:lnTo>
                  <a:lnTo>
                    <a:pt x="356" y="58"/>
                  </a:lnTo>
                  <a:lnTo>
                    <a:pt x="354" y="50"/>
                  </a:lnTo>
                  <a:lnTo>
                    <a:pt x="350" y="44"/>
                  </a:lnTo>
                  <a:lnTo>
                    <a:pt x="350" y="36"/>
                  </a:lnTo>
                  <a:lnTo>
                    <a:pt x="350" y="36"/>
                  </a:lnTo>
                  <a:lnTo>
                    <a:pt x="350" y="30"/>
                  </a:lnTo>
                  <a:lnTo>
                    <a:pt x="354" y="22"/>
                  </a:lnTo>
                  <a:lnTo>
                    <a:pt x="356" y="16"/>
                  </a:lnTo>
                  <a:lnTo>
                    <a:pt x="362" y="10"/>
                  </a:lnTo>
                  <a:lnTo>
                    <a:pt x="366" y="6"/>
                  </a:lnTo>
                  <a:lnTo>
                    <a:pt x="372" y="2"/>
                  </a:lnTo>
                  <a:lnTo>
                    <a:pt x="380" y="0"/>
                  </a:lnTo>
                  <a:lnTo>
                    <a:pt x="388" y="0"/>
                  </a:lnTo>
                  <a:lnTo>
                    <a:pt x="592" y="0"/>
                  </a:lnTo>
                  <a:lnTo>
                    <a:pt x="592" y="0"/>
                  </a:lnTo>
                  <a:lnTo>
                    <a:pt x="600" y="0"/>
                  </a:lnTo>
                  <a:lnTo>
                    <a:pt x="606" y="2"/>
                  </a:lnTo>
                  <a:lnTo>
                    <a:pt x="612" y="6"/>
                  </a:lnTo>
                  <a:lnTo>
                    <a:pt x="618" y="10"/>
                  </a:lnTo>
                  <a:lnTo>
                    <a:pt x="622" y="16"/>
                  </a:lnTo>
                  <a:lnTo>
                    <a:pt x="626" y="22"/>
                  </a:lnTo>
                  <a:lnTo>
                    <a:pt x="628" y="30"/>
                  </a:lnTo>
                  <a:lnTo>
                    <a:pt x="628" y="36"/>
                  </a:lnTo>
                  <a:lnTo>
                    <a:pt x="628" y="36"/>
                  </a:lnTo>
                  <a:lnTo>
                    <a:pt x="628" y="44"/>
                  </a:lnTo>
                  <a:lnTo>
                    <a:pt x="626" y="50"/>
                  </a:lnTo>
                  <a:lnTo>
                    <a:pt x="622" y="58"/>
                  </a:lnTo>
                  <a:lnTo>
                    <a:pt x="618" y="62"/>
                  </a:lnTo>
                  <a:lnTo>
                    <a:pt x="612" y="68"/>
                  </a:lnTo>
                  <a:lnTo>
                    <a:pt x="606" y="70"/>
                  </a:lnTo>
                  <a:lnTo>
                    <a:pt x="600" y="72"/>
                  </a:lnTo>
                  <a:lnTo>
                    <a:pt x="592" y="74"/>
                  </a:lnTo>
                  <a:lnTo>
                    <a:pt x="592" y="74"/>
                  </a:lnTo>
                  <a:close/>
                  <a:moveTo>
                    <a:pt x="240" y="74"/>
                  </a:moveTo>
                  <a:lnTo>
                    <a:pt x="36" y="74"/>
                  </a:lnTo>
                  <a:lnTo>
                    <a:pt x="36" y="74"/>
                  </a:lnTo>
                  <a:lnTo>
                    <a:pt x="28" y="72"/>
                  </a:lnTo>
                  <a:lnTo>
                    <a:pt x="22" y="70"/>
                  </a:lnTo>
                  <a:lnTo>
                    <a:pt x="16" y="68"/>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240" y="0"/>
                  </a:lnTo>
                  <a:lnTo>
                    <a:pt x="240" y="0"/>
                  </a:lnTo>
                  <a:lnTo>
                    <a:pt x="248" y="0"/>
                  </a:lnTo>
                  <a:lnTo>
                    <a:pt x="256" y="2"/>
                  </a:lnTo>
                  <a:lnTo>
                    <a:pt x="262" y="6"/>
                  </a:lnTo>
                  <a:lnTo>
                    <a:pt x="268" y="10"/>
                  </a:lnTo>
                  <a:lnTo>
                    <a:pt x="272" y="16"/>
                  </a:lnTo>
                  <a:lnTo>
                    <a:pt x="274" y="22"/>
                  </a:lnTo>
                  <a:lnTo>
                    <a:pt x="278" y="30"/>
                  </a:lnTo>
                  <a:lnTo>
                    <a:pt x="278" y="36"/>
                  </a:lnTo>
                  <a:lnTo>
                    <a:pt x="278" y="36"/>
                  </a:lnTo>
                  <a:lnTo>
                    <a:pt x="278" y="44"/>
                  </a:lnTo>
                  <a:lnTo>
                    <a:pt x="274" y="50"/>
                  </a:lnTo>
                  <a:lnTo>
                    <a:pt x="272" y="58"/>
                  </a:lnTo>
                  <a:lnTo>
                    <a:pt x="268" y="62"/>
                  </a:lnTo>
                  <a:lnTo>
                    <a:pt x="262" y="68"/>
                  </a:lnTo>
                  <a:lnTo>
                    <a:pt x="256" y="70"/>
                  </a:lnTo>
                  <a:lnTo>
                    <a:pt x="248" y="72"/>
                  </a:lnTo>
                  <a:lnTo>
                    <a:pt x="240" y="74"/>
                  </a:lnTo>
                  <a:lnTo>
                    <a:pt x="240"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21">
              <a:extLst>
                <a:ext uri="{FF2B5EF4-FFF2-40B4-BE49-F238E27FC236}">
                  <a16:creationId xmlns:a16="http://schemas.microsoft.com/office/drawing/2014/main" id="{21390071-4391-41BF-A2BC-ABCEBAFDB5F3}"/>
                </a:ext>
              </a:extLst>
            </p:cNvPr>
            <p:cNvSpPr>
              <a:spLocks/>
            </p:cNvSpPr>
            <p:nvPr/>
          </p:nvSpPr>
          <p:spPr bwMode="auto">
            <a:xfrm>
              <a:off x="7683038" y="2310910"/>
              <a:ext cx="46077" cy="16714"/>
            </a:xfrm>
            <a:custGeom>
              <a:avLst/>
              <a:gdLst>
                <a:gd name="T0" fmla="*/ 166 w 204"/>
                <a:gd name="T1" fmla="*/ 74 h 74"/>
                <a:gd name="T2" fmla="*/ 38 w 204"/>
                <a:gd name="T3" fmla="*/ 74 h 74"/>
                <a:gd name="T4" fmla="*/ 38 w 204"/>
                <a:gd name="T5" fmla="*/ 74 h 74"/>
                <a:gd name="T6" fmla="*/ 30 w 204"/>
                <a:gd name="T7" fmla="*/ 72 h 74"/>
                <a:gd name="T8" fmla="*/ 24 w 204"/>
                <a:gd name="T9" fmla="*/ 70 h 74"/>
                <a:gd name="T10" fmla="*/ 18 w 204"/>
                <a:gd name="T11" fmla="*/ 68 h 74"/>
                <a:gd name="T12" fmla="*/ 12 w 204"/>
                <a:gd name="T13" fmla="*/ 62 h 74"/>
                <a:gd name="T14" fmla="*/ 8 w 204"/>
                <a:gd name="T15" fmla="*/ 58 h 74"/>
                <a:gd name="T16" fmla="*/ 4 w 204"/>
                <a:gd name="T17" fmla="*/ 50 h 74"/>
                <a:gd name="T18" fmla="*/ 2 w 204"/>
                <a:gd name="T19" fmla="*/ 44 h 74"/>
                <a:gd name="T20" fmla="*/ 0 w 204"/>
                <a:gd name="T21" fmla="*/ 36 h 74"/>
                <a:gd name="T22" fmla="*/ 0 w 204"/>
                <a:gd name="T23" fmla="*/ 36 h 74"/>
                <a:gd name="T24" fmla="*/ 2 w 204"/>
                <a:gd name="T25" fmla="*/ 30 h 74"/>
                <a:gd name="T26" fmla="*/ 4 w 204"/>
                <a:gd name="T27" fmla="*/ 22 h 74"/>
                <a:gd name="T28" fmla="*/ 8 w 204"/>
                <a:gd name="T29" fmla="*/ 16 h 74"/>
                <a:gd name="T30" fmla="*/ 12 w 204"/>
                <a:gd name="T31" fmla="*/ 10 h 74"/>
                <a:gd name="T32" fmla="*/ 18 w 204"/>
                <a:gd name="T33" fmla="*/ 6 h 74"/>
                <a:gd name="T34" fmla="*/ 24 w 204"/>
                <a:gd name="T35" fmla="*/ 2 h 74"/>
                <a:gd name="T36" fmla="*/ 30 w 204"/>
                <a:gd name="T37" fmla="*/ 0 h 74"/>
                <a:gd name="T38" fmla="*/ 38 w 204"/>
                <a:gd name="T39" fmla="*/ 0 h 74"/>
                <a:gd name="T40" fmla="*/ 166 w 204"/>
                <a:gd name="T41" fmla="*/ 0 h 74"/>
                <a:gd name="T42" fmla="*/ 166 w 204"/>
                <a:gd name="T43" fmla="*/ 0 h 74"/>
                <a:gd name="T44" fmla="*/ 174 w 204"/>
                <a:gd name="T45" fmla="*/ 0 h 74"/>
                <a:gd name="T46" fmla="*/ 182 w 204"/>
                <a:gd name="T47" fmla="*/ 2 h 74"/>
                <a:gd name="T48" fmla="*/ 188 w 204"/>
                <a:gd name="T49" fmla="*/ 6 h 74"/>
                <a:gd name="T50" fmla="*/ 192 w 204"/>
                <a:gd name="T51" fmla="*/ 10 h 74"/>
                <a:gd name="T52" fmla="*/ 198 w 204"/>
                <a:gd name="T53" fmla="*/ 16 h 74"/>
                <a:gd name="T54" fmla="*/ 200 w 204"/>
                <a:gd name="T55" fmla="*/ 22 h 74"/>
                <a:gd name="T56" fmla="*/ 202 w 204"/>
                <a:gd name="T57" fmla="*/ 30 h 74"/>
                <a:gd name="T58" fmla="*/ 204 w 204"/>
                <a:gd name="T59" fmla="*/ 36 h 74"/>
                <a:gd name="T60" fmla="*/ 204 w 204"/>
                <a:gd name="T61" fmla="*/ 36 h 74"/>
                <a:gd name="T62" fmla="*/ 202 w 204"/>
                <a:gd name="T63" fmla="*/ 44 h 74"/>
                <a:gd name="T64" fmla="*/ 200 w 204"/>
                <a:gd name="T65" fmla="*/ 50 h 74"/>
                <a:gd name="T66" fmla="*/ 198 w 204"/>
                <a:gd name="T67" fmla="*/ 58 h 74"/>
                <a:gd name="T68" fmla="*/ 192 w 204"/>
                <a:gd name="T69" fmla="*/ 62 h 74"/>
                <a:gd name="T70" fmla="*/ 188 w 204"/>
                <a:gd name="T71" fmla="*/ 68 h 74"/>
                <a:gd name="T72" fmla="*/ 182 w 204"/>
                <a:gd name="T73" fmla="*/ 70 h 74"/>
                <a:gd name="T74" fmla="*/ 174 w 204"/>
                <a:gd name="T75" fmla="*/ 72 h 74"/>
                <a:gd name="T76" fmla="*/ 166 w 204"/>
                <a:gd name="T77" fmla="*/ 74 h 74"/>
                <a:gd name="T78" fmla="*/ 166 w 204"/>
                <a:gd name="T7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74">
                  <a:moveTo>
                    <a:pt x="166" y="74"/>
                  </a:moveTo>
                  <a:lnTo>
                    <a:pt x="38" y="74"/>
                  </a:lnTo>
                  <a:lnTo>
                    <a:pt x="38" y="74"/>
                  </a:lnTo>
                  <a:lnTo>
                    <a:pt x="30" y="72"/>
                  </a:lnTo>
                  <a:lnTo>
                    <a:pt x="24" y="70"/>
                  </a:lnTo>
                  <a:lnTo>
                    <a:pt x="18" y="68"/>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166" y="0"/>
                  </a:lnTo>
                  <a:lnTo>
                    <a:pt x="166" y="0"/>
                  </a:lnTo>
                  <a:lnTo>
                    <a:pt x="174" y="0"/>
                  </a:lnTo>
                  <a:lnTo>
                    <a:pt x="182" y="2"/>
                  </a:lnTo>
                  <a:lnTo>
                    <a:pt x="188" y="6"/>
                  </a:lnTo>
                  <a:lnTo>
                    <a:pt x="192" y="10"/>
                  </a:lnTo>
                  <a:lnTo>
                    <a:pt x="198" y="16"/>
                  </a:lnTo>
                  <a:lnTo>
                    <a:pt x="200" y="22"/>
                  </a:lnTo>
                  <a:lnTo>
                    <a:pt x="202" y="30"/>
                  </a:lnTo>
                  <a:lnTo>
                    <a:pt x="204" y="36"/>
                  </a:lnTo>
                  <a:lnTo>
                    <a:pt x="204" y="36"/>
                  </a:lnTo>
                  <a:lnTo>
                    <a:pt x="202" y="44"/>
                  </a:lnTo>
                  <a:lnTo>
                    <a:pt x="200" y="50"/>
                  </a:lnTo>
                  <a:lnTo>
                    <a:pt x="198" y="58"/>
                  </a:lnTo>
                  <a:lnTo>
                    <a:pt x="192" y="62"/>
                  </a:lnTo>
                  <a:lnTo>
                    <a:pt x="188" y="68"/>
                  </a:lnTo>
                  <a:lnTo>
                    <a:pt x="182" y="70"/>
                  </a:lnTo>
                  <a:lnTo>
                    <a:pt x="174" y="72"/>
                  </a:lnTo>
                  <a:lnTo>
                    <a:pt x="166" y="74"/>
                  </a:lnTo>
                  <a:lnTo>
                    <a:pt x="166"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22">
              <a:extLst>
                <a:ext uri="{FF2B5EF4-FFF2-40B4-BE49-F238E27FC236}">
                  <a16:creationId xmlns:a16="http://schemas.microsoft.com/office/drawing/2014/main" id="{8ED85A37-C6E0-4FC2-8049-6B7ABBEE16E7}"/>
                </a:ext>
              </a:extLst>
            </p:cNvPr>
            <p:cNvSpPr>
              <a:spLocks/>
            </p:cNvSpPr>
            <p:nvPr/>
          </p:nvSpPr>
          <p:spPr bwMode="auto">
            <a:xfrm>
              <a:off x="7662258" y="2310910"/>
              <a:ext cx="200119" cy="199668"/>
            </a:xfrm>
            <a:custGeom>
              <a:avLst/>
              <a:gdLst>
                <a:gd name="T0" fmla="*/ 38 w 886"/>
                <a:gd name="T1" fmla="*/ 884 h 884"/>
                <a:gd name="T2" fmla="*/ 38 w 886"/>
                <a:gd name="T3" fmla="*/ 884 h 884"/>
                <a:gd name="T4" fmla="*/ 30 w 886"/>
                <a:gd name="T5" fmla="*/ 884 h 884"/>
                <a:gd name="T6" fmla="*/ 24 w 886"/>
                <a:gd name="T7" fmla="*/ 882 h 884"/>
                <a:gd name="T8" fmla="*/ 18 w 886"/>
                <a:gd name="T9" fmla="*/ 878 h 884"/>
                <a:gd name="T10" fmla="*/ 12 w 886"/>
                <a:gd name="T11" fmla="*/ 874 h 884"/>
                <a:gd name="T12" fmla="*/ 12 w 886"/>
                <a:gd name="T13" fmla="*/ 874 h 884"/>
                <a:gd name="T14" fmla="*/ 6 w 886"/>
                <a:gd name="T15" fmla="*/ 868 h 884"/>
                <a:gd name="T16" fmla="*/ 4 w 886"/>
                <a:gd name="T17" fmla="*/ 862 h 884"/>
                <a:gd name="T18" fmla="*/ 2 w 886"/>
                <a:gd name="T19" fmla="*/ 854 h 884"/>
                <a:gd name="T20" fmla="*/ 0 w 886"/>
                <a:gd name="T21" fmla="*/ 848 h 884"/>
                <a:gd name="T22" fmla="*/ 2 w 886"/>
                <a:gd name="T23" fmla="*/ 840 h 884"/>
                <a:gd name="T24" fmla="*/ 4 w 886"/>
                <a:gd name="T25" fmla="*/ 834 h 884"/>
                <a:gd name="T26" fmla="*/ 6 w 886"/>
                <a:gd name="T27" fmla="*/ 826 h 884"/>
                <a:gd name="T28" fmla="*/ 12 w 886"/>
                <a:gd name="T29" fmla="*/ 822 h 884"/>
                <a:gd name="T30" fmla="*/ 822 w 886"/>
                <a:gd name="T31" fmla="*/ 10 h 884"/>
                <a:gd name="T32" fmla="*/ 822 w 886"/>
                <a:gd name="T33" fmla="*/ 10 h 884"/>
                <a:gd name="T34" fmla="*/ 828 w 886"/>
                <a:gd name="T35" fmla="*/ 6 h 884"/>
                <a:gd name="T36" fmla="*/ 834 w 886"/>
                <a:gd name="T37" fmla="*/ 2 h 884"/>
                <a:gd name="T38" fmla="*/ 842 w 886"/>
                <a:gd name="T39" fmla="*/ 0 h 884"/>
                <a:gd name="T40" fmla="*/ 848 w 886"/>
                <a:gd name="T41" fmla="*/ 0 h 884"/>
                <a:gd name="T42" fmla="*/ 856 w 886"/>
                <a:gd name="T43" fmla="*/ 0 h 884"/>
                <a:gd name="T44" fmla="*/ 862 w 886"/>
                <a:gd name="T45" fmla="*/ 2 h 884"/>
                <a:gd name="T46" fmla="*/ 868 w 886"/>
                <a:gd name="T47" fmla="*/ 6 h 884"/>
                <a:gd name="T48" fmla="*/ 874 w 886"/>
                <a:gd name="T49" fmla="*/ 10 h 884"/>
                <a:gd name="T50" fmla="*/ 874 w 886"/>
                <a:gd name="T51" fmla="*/ 10 h 884"/>
                <a:gd name="T52" fmla="*/ 880 w 886"/>
                <a:gd name="T53" fmla="*/ 16 h 884"/>
                <a:gd name="T54" fmla="*/ 882 w 886"/>
                <a:gd name="T55" fmla="*/ 22 h 884"/>
                <a:gd name="T56" fmla="*/ 884 w 886"/>
                <a:gd name="T57" fmla="*/ 30 h 884"/>
                <a:gd name="T58" fmla="*/ 886 w 886"/>
                <a:gd name="T59" fmla="*/ 36 h 884"/>
                <a:gd name="T60" fmla="*/ 884 w 886"/>
                <a:gd name="T61" fmla="*/ 44 h 884"/>
                <a:gd name="T62" fmla="*/ 882 w 886"/>
                <a:gd name="T63" fmla="*/ 50 h 884"/>
                <a:gd name="T64" fmla="*/ 880 w 886"/>
                <a:gd name="T65" fmla="*/ 56 h 884"/>
                <a:gd name="T66" fmla="*/ 874 w 886"/>
                <a:gd name="T67" fmla="*/ 62 h 884"/>
                <a:gd name="T68" fmla="*/ 64 w 886"/>
                <a:gd name="T69" fmla="*/ 874 h 884"/>
                <a:gd name="T70" fmla="*/ 64 w 886"/>
                <a:gd name="T71" fmla="*/ 874 h 884"/>
                <a:gd name="T72" fmla="*/ 58 w 886"/>
                <a:gd name="T73" fmla="*/ 878 h 884"/>
                <a:gd name="T74" fmla="*/ 52 w 886"/>
                <a:gd name="T75" fmla="*/ 882 h 884"/>
                <a:gd name="T76" fmla="*/ 44 w 886"/>
                <a:gd name="T77" fmla="*/ 884 h 884"/>
                <a:gd name="T78" fmla="*/ 38 w 886"/>
                <a:gd name="T79" fmla="*/ 884 h 884"/>
                <a:gd name="T80" fmla="*/ 38 w 886"/>
                <a:gd name="T81" fmla="*/ 884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6" h="884">
                  <a:moveTo>
                    <a:pt x="38" y="884"/>
                  </a:moveTo>
                  <a:lnTo>
                    <a:pt x="38" y="884"/>
                  </a:lnTo>
                  <a:lnTo>
                    <a:pt x="30" y="884"/>
                  </a:lnTo>
                  <a:lnTo>
                    <a:pt x="24" y="882"/>
                  </a:lnTo>
                  <a:lnTo>
                    <a:pt x="18" y="878"/>
                  </a:lnTo>
                  <a:lnTo>
                    <a:pt x="12" y="874"/>
                  </a:lnTo>
                  <a:lnTo>
                    <a:pt x="12" y="874"/>
                  </a:lnTo>
                  <a:lnTo>
                    <a:pt x="6" y="868"/>
                  </a:lnTo>
                  <a:lnTo>
                    <a:pt x="4" y="862"/>
                  </a:lnTo>
                  <a:lnTo>
                    <a:pt x="2" y="854"/>
                  </a:lnTo>
                  <a:lnTo>
                    <a:pt x="0" y="848"/>
                  </a:lnTo>
                  <a:lnTo>
                    <a:pt x="2" y="840"/>
                  </a:lnTo>
                  <a:lnTo>
                    <a:pt x="4" y="834"/>
                  </a:lnTo>
                  <a:lnTo>
                    <a:pt x="6" y="826"/>
                  </a:lnTo>
                  <a:lnTo>
                    <a:pt x="12" y="822"/>
                  </a:lnTo>
                  <a:lnTo>
                    <a:pt x="822" y="10"/>
                  </a:lnTo>
                  <a:lnTo>
                    <a:pt x="822" y="10"/>
                  </a:lnTo>
                  <a:lnTo>
                    <a:pt x="828" y="6"/>
                  </a:lnTo>
                  <a:lnTo>
                    <a:pt x="834" y="2"/>
                  </a:lnTo>
                  <a:lnTo>
                    <a:pt x="842" y="0"/>
                  </a:lnTo>
                  <a:lnTo>
                    <a:pt x="848" y="0"/>
                  </a:lnTo>
                  <a:lnTo>
                    <a:pt x="856" y="0"/>
                  </a:lnTo>
                  <a:lnTo>
                    <a:pt x="862" y="2"/>
                  </a:lnTo>
                  <a:lnTo>
                    <a:pt x="868" y="6"/>
                  </a:lnTo>
                  <a:lnTo>
                    <a:pt x="874" y="10"/>
                  </a:lnTo>
                  <a:lnTo>
                    <a:pt x="874" y="10"/>
                  </a:lnTo>
                  <a:lnTo>
                    <a:pt x="880" y="16"/>
                  </a:lnTo>
                  <a:lnTo>
                    <a:pt x="882" y="22"/>
                  </a:lnTo>
                  <a:lnTo>
                    <a:pt x="884" y="30"/>
                  </a:lnTo>
                  <a:lnTo>
                    <a:pt x="886" y="36"/>
                  </a:lnTo>
                  <a:lnTo>
                    <a:pt x="884" y="44"/>
                  </a:lnTo>
                  <a:lnTo>
                    <a:pt x="882" y="50"/>
                  </a:lnTo>
                  <a:lnTo>
                    <a:pt x="880" y="56"/>
                  </a:lnTo>
                  <a:lnTo>
                    <a:pt x="874" y="62"/>
                  </a:lnTo>
                  <a:lnTo>
                    <a:pt x="64" y="874"/>
                  </a:lnTo>
                  <a:lnTo>
                    <a:pt x="64" y="874"/>
                  </a:lnTo>
                  <a:lnTo>
                    <a:pt x="58" y="878"/>
                  </a:lnTo>
                  <a:lnTo>
                    <a:pt x="52" y="882"/>
                  </a:lnTo>
                  <a:lnTo>
                    <a:pt x="44" y="884"/>
                  </a:lnTo>
                  <a:lnTo>
                    <a:pt x="38" y="884"/>
                  </a:lnTo>
                  <a:lnTo>
                    <a:pt x="38"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23">
              <a:extLst>
                <a:ext uri="{FF2B5EF4-FFF2-40B4-BE49-F238E27FC236}">
                  <a16:creationId xmlns:a16="http://schemas.microsoft.com/office/drawing/2014/main" id="{C07D934C-12ED-4B1B-9857-59A35DF09CB4}"/>
                </a:ext>
              </a:extLst>
            </p:cNvPr>
            <p:cNvSpPr>
              <a:spLocks noEditPoints="1"/>
            </p:cNvSpPr>
            <p:nvPr/>
          </p:nvSpPr>
          <p:spPr bwMode="auto">
            <a:xfrm>
              <a:off x="7595852" y="2427458"/>
              <a:ext cx="149977" cy="149525"/>
            </a:xfrm>
            <a:custGeom>
              <a:avLst/>
              <a:gdLst>
                <a:gd name="T0" fmla="*/ 626 w 664"/>
                <a:gd name="T1" fmla="*/ 662 h 662"/>
                <a:gd name="T2" fmla="*/ 36 w 664"/>
                <a:gd name="T3" fmla="*/ 662 h 662"/>
                <a:gd name="T4" fmla="*/ 36 w 664"/>
                <a:gd name="T5" fmla="*/ 662 h 662"/>
                <a:gd name="T6" fmla="*/ 30 w 664"/>
                <a:gd name="T7" fmla="*/ 662 h 662"/>
                <a:gd name="T8" fmla="*/ 22 w 664"/>
                <a:gd name="T9" fmla="*/ 660 h 662"/>
                <a:gd name="T10" fmla="*/ 16 w 664"/>
                <a:gd name="T11" fmla="*/ 656 h 662"/>
                <a:gd name="T12" fmla="*/ 10 w 664"/>
                <a:gd name="T13" fmla="*/ 652 h 662"/>
                <a:gd name="T14" fmla="*/ 6 w 664"/>
                <a:gd name="T15" fmla="*/ 646 h 662"/>
                <a:gd name="T16" fmla="*/ 2 w 664"/>
                <a:gd name="T17" fmla="*/ 640 h 662"/>
                <a:gd name="T18" fmla="*/ 0 w 664"/>
                <a:gd name="T19" fmla="*/ 634 h 662"/>
                <a:gd name="T20" fmla="*/ 0 w 664"/>
                <a:gd name="T21" fmla="*/ 626 h 662"/>
                <a:gd name="T22" fmla="*/ 0 w 664"/>
                <a:gd name="T23" fmla="*/ 36 h 662"/>
                <a:gd name="T24" fmla="*/ 0 w 664"/>
                <a:gd name="T25" fmla="*/ 36 h 662"/>
                <a:gd name="T26" fmla="*/ 0 w 664"/>
                <a:gd name="T27" fmla="*/ 28 h 662"/>
                <a:gd name="T28" fmla="*/ 2 w 664"/>
                <a:gd name="T29" fmla="*/ 22 h 662"/>
                <a:gd name="T30" fmla="*/ 6 w 664"/>
                <a:gd name="T31" fmla="*/ 16 h 662"/>
                <a:gd name="T32" fmla="*/ 10 w 664"/>
                <a:gd name="T33" fmla="*/ 10 h 662"/>
                <a:gd name="T34" fmla="*/ 16 w 664"/>
                <a:gd name="T35" fmla="*/ 6 h 662"/>
                <a:gd name="T36" fmla="*/ 22 w 664"/>
                <a:gd name="T37" fmla="*/ 2 h 662"/>
                <a:gd name="T38" fmla="*/ 30 w 664"/>
                <a:gd name="T39" fmla="*/ 0 h 662"/>
                <a:gd name="T40" fmla="*/ 36 w 664"/>
                <a:gd name="T41" fmla="*/ 0 h 662"/>
                <a:gd name="T42" fmla="*/ 626 w 664"/>
                <a:gd name="T43" fmla="*/ 0 h 662"/>
                <a:gd name="T44" fmla="*/ 626 w 664"/>
                <a:gd name="T45" fmla="*/ 0 h 662"/>
                <a:gd name="T46" fmla="*/ 634 w 664"/>
                <a:gd name="T47" fmla="*/ 0 h 662"/>
                <a:gd name="T48" fmla="*/ 640 w 664"/>
                <a:gd name="T49" fmla="*/ 2 h 662"/>
                <a:gd name="T50" fmla="*/ 648 w 664"/>
                <a:gd name="T51" fmla="*/ 6 h 662"/>
                <a:gd name="T52" fmla="*/ 652 w 664"/>
                <a:gd name="T53" fmla="*/ 10 h 662"/>
                <a:gd name="T54" fmla="*/ 658 w 664"/>
                <a:gd name="T55" fmla="*/ 16 h 662"/>
                <a:gd name="T56" fmla="*/ 660 w 664"/>
                <a:gd name="T57" fmla="*/ 22 h 662"/>
                <a:gd name="T58" fmla="*/ 662 w 664"/>
                <a:gd name="T59" fmla="*/ 28 h 662"/>
                <a:gd name="T60" fmla="*/ 664 w 664"/>
                <a:gd name="T61" fmla="*/ 36 h 662"/>
                <a:gd name="T62" fmla="*/ 664 w 664"/>
                <a:gd name="T63" fmla="*/ 626 h 662"/>
                <a:gd name="T64" fmla="*/ 664 w 664"/>
                <a:gd name="T65" fmla="*/ 626 h 662"/>
                <a:gd name="T66" fmla="*/ 662 w 664"/>
                <a:gd name="T67" fmla="*/ 634 h 662"/>
                <a:gd name="T68" fmla="*/ 660 w 664"/>
                <a:gd name="T69" fmla="*/ 640 h 662"/>
                <a:gd name="T70" fmla="*/ 658 w 664"/>
                <a:gd name="T71" fmla="*/ 646 h 662"/>
                <a:gd name="T72" fmla="*/ 652 w 664"/>
                <a:gd name="T73" fmla="*/ 652 h 662"/>
                <a:gd name="T74" fmla="*/ 648 w 664"/>
                <a:gd name="T75" fmla="*/ 656 h 662"/>
                <a:gd name="T76" fmla="*/ 640 w 664"/>
                <a:gd name="T77" fmla="*/ 660 h 662"/>
                <a:gd name="T78" fmla="*/ 634 w 664"/>
                <a:gd name="T79" fmla="*/ 662 h 662"/>
                <a:gd name="T80" fmla="*/ 626 w 664"/>
                <a:gd name="T81" fmla="*/ 662 h 662"/>
                <a:gd name="T82" fmla="*/ 626 w 664"/>
                <a:gd name="T83" fmla="*/ 662 h 662"/>
                <a:gd name="T84" fmla="*/ 74 w 664"/>
                <a:gd name="T85" fmla="*/ 590 h 662"/>
                <a:gd name="T86" fmla="*/ 590 w 664"/>
                <a:gd name="T87" fmla="*/ 590 h 662"/>
                <a:gd name="T88" fmla="*/ 590 w 664"/>
                <a:gd name="T89" fmla="*/ 74 h 662"/>
                <a:gd name="T90" fmla="*/ 74 w 664"/>
                <a:gd name="T91" fmla="*/ 74 h 662"/>
                <a:gd name="T92" fmla="*/ 74 w 664"/>
                <a:gd name="T93" fmla="*/ 59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4" h="662">
                  <a:moveTo>
                    <a:pt x="626" y="662"/>
                  </a:moveTo>
                  <a:lnTo>
                    <a:pt x="36" y="662"/>
                  </a:lnTo>
                  <a:lnTo>
                    <a:pt x="36" y="662"/>
                  </a:lnTo>
                  <a:lnTo>
                    <a:pt x="30" y="662"/>
                  </a:lnTo>
                  <a:lnTo>
                    <a:pt x="22" y="660"/>
                  </a:lnTo>
                  <a:lnTo>
                    <a:pt x="16" y="656"/>
                  </a:lnTo>
                  <a:lnTo>
                    <a:pt x="10" y="652"/>
                  </a:lnTo>
                  <a:lnTo>
                    <a:pt x="6" y="646"/>
                  </a:lnTo>
                  <a:lnTo>
                    <a:pt x="2" y="640"/>
                  </a:lnTo>
                  <a:lnTo>
                    <a:pt x="0" y="634"/>
                  </a:lnTo>
                  <a:lnTo>
                    <a:pt x="0" y="626"/>
                  </a:lnTo>
                  <a:lnTo>
                    <a:pt x="0" y="36"/>
                  </a:lnTo>
                  <a:lnTo>
                    <a:pt x="0" y="36"/>
                  </a:lnTo>
                  <a:lnTo>
                    <a:pt x="0" y="28"/>
                  </a:lnTo>
                  <a:lnTo>
                    <a:pt x="2" y="22"/>
                  </a:lnTo>
                  <a:lnTo>
                    <a:pt x="6" y="16"/>
                  </a:lnTo>
                  <a:lnTo>
                    <a:pt x="10" y="10"/>
                  </a:lnTo>
                  <a:lnTo>
                    <a:pt x="16" y="6"/>
                  </a:lnTo>
                  <a:lnTo>
                    <a:pt x="22" y="2"/>
                  </a:lnTo>
                  <a:lnTo>
                    <a:pt x="30" y="0"/>
                  </a:lnTo>
                  <a:lnTo>
                    <a:pt x="36" y="0"/>
                  </a:lnTo>
                  <a:lnTo>
                    <a:pt x="626" y="0"/>
                  </a:lnTo>
                  <a:lnTo>
                    <a:pt x="626" y="0"/>
                  </a:lnTo>
                  <a:lnTo>
                    <a:pt x="634" y="0"/>
                  </a:lnTo>
                  <a:lnTo>
                    <a:pt x="640" y="2"/>
                  </a:lnTo>
                  <a:lnTo>
                    <a:pt x="648" y="6"/>
                  </a:lnTo>
                  <a:lnTo>
                    <a:pt x="652" y="10"/>
                  </a:lnTo>
                  <a:lnTo>
                    <a:pt x="658" y="16"/>
                  </a:lnTo>
                  <a:lnTo>
                    <a:pt x="660" y="22"/>
                  </a:lnTo>
                  <a:lnTo>
                    <a:pt x="662" y="28"/>
                  </a:lnTo>
                  <a:lnTo>
                    <a:pt x="664" y="36"/>
                  </a:lnTo>
                  <a:lnTo>
                    <a:pt x="664" y="626"/>
                  </a:lnTo>
                  <a:lnTo>
                    <a:pt x="664" y="626"/>
                  </a:lnTo>
                  <a:lnTo>
                    <a:pt x="662" y="634"/>
                  </a:lnTo>
                  <a:lnTo>
                    <a:pt x="660" y="640"/>
                  </a:lnTo>
                  <a:lnTo>
                    <a:pt x="658" y="646"/>
                  </a:lnTo>
                  <a:lnTo>
                    <a:pt x="652" y="652"/>
                  </a:lnTo>
                  <a:lnTo>
                    <a:pt x="648" y="656"/>
                  </a:lnTo>
                  <a:lnTo>
                    <a:pt x="640" y="660"/>
                  </a:lnTo>
                  <a:lnTo>
                    <a:pt x="634" y="662"/>
                  </a:lnTo>
                  <a:lnTo>
                    <a:pt x="626" y="662"/>
                  </a:lnTo>
                  <a:lnTo>
                    <a:pt x="626" y="662"/>
                  </a:lnTo>
                  <a:close/>
                  <a:moveTo>
                    <a:pt x="74" y="590"/>
                  </a:moveTo>
                  <a:lnTo>
                    <a:pt x="590" y="590"/>
                  </a:lnTo>
                  <a:lnTo>
                    <a:pt x="590" y="74"/>
                  </a:lnTo>
                  <a:lnTo>
                    <a:pt x="74" y="74"/>
                  </a:lnTo>
                  <a:lnTo>
                    <a:pt x="74" y="5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8" name="Freeform 122">
            <a:extLst>
              <a:ext uri="{FF2B5EF4-FFF2-40B4-BE49-F238E27FC236}">
                <a16:creationId xmlns:a16="http://schemas.microsoft.com/office/drawing/2014/main" id="{F0461D1B-C39D-4D1B-B41E-10F5DF6890C9}"/>
              </a:ext>
            </a:extLst>
          </p:cNvPr>
          <p:cNvSpPr>
            <a:spLocks noChangeAspect="1" noEditPoints="1"/>
          </p:cNvSpPr>
          <p:nvPr/>
        </p:nvSpPr>
        <p:spPr bwMode="auto">
          <a:xfrm>
            <a:off x="3178355" y="1647825"/>
            <a:ext cx="334180" cy="306484"/>
          </a:xfrm>
          <a:custGeom>
            <a:avLst/>
            <a:gdLst>
              <a:gd name="T0" fmla="*/ 376 w 907"/>
              <a:gd name="T1" fmla="*/ 508 h 827"/>
              <a:gd name="T2" fmla="*/ 866 w 907"/>
              <a:gd name="T3" fmla="*/ 58 h 827"/>
              <a:gd name="T4" fmla="*/ 366 w 907"/>
              <a:gd name="T5" fmla="*/ 758 h 827"/>
              <a:gd name="T6" fmla="*/ 466 w 907"/>
              <a:gd name="T7" fmla="*/ 590 h 827"/>
              <a:gd name="T8" fmla="*/ 819 w 907"/>
              <a:gd name="T9" fmla="*/ 61 h 827"/>
              <a:gd name="T10" fmla="*/ 55 w 907"/>
              <a:gd name="T11" fmla="*/ 375 h 827"/>
              <a:gd name="T12" fmla="*/ 907 w 907"/>
              <a:gd name="T13" fmla="*/ 15 h 827"/>
              <a:gd name="T14" fmla="*/ 906 w 907"/>
              <a:gd name="T15" fmla="*/ 12 h 827"/>
              <a:gd name="T16" fmla="*/ 906 w 907"/>
              <a:gd name="T17" fmla="*/ 11 h 827"/>
              <a:gd name="T18" fmla="*/ 905 w 907"/>
              <a:gd name="T19" fmla="*/ 8 h 827"/>
              <a:gd name="T20" fmla="*/ 905 w 907"/>
              <a:gd name="T21" fmla="*/ 6 h 827"/>
              <a:gd name="T22" fmla="*/ 904 w 907"/>
              <a:gd name="T23" fmla="*/ 5 h 827"/>
              <a:gd name="T24" fmla="*/ 902 w 907"/>
              <a:gd name="T25" fmla="*/ 3 h 827"/>
              <a:gd name="T26" fmla="*/ 900 w 907"/>
              <a:gd name="T27" fmla="*/ 2 h 827"/>
              <a:gd name="T28" fmla="*/ 900 w 907"/>
              <a:gd name="T29" fmla="*/ 2 h 827"/>
              <a:gd name="T30" fmla="*/ 897 w 907"/>
              <a:gd name="T31" fmla="*/ 1 h 827"/>
              <a:gd name="T32" fmla="*/ 895 w 907"/>
              <a:gd name="T33" fmla="*/ 0 h 827"/>
              <a:gd name="T34" fmla="*/ 893 w 907"/>
              <a:gd name="T35" fmla="*/ 0 h 827"/>
              <a:gd name="T36" fmla="*/ 891 w 907"/>
              <a:gd name="T37" fmla="*/ 0 h 827"/>
              <a:gd name="T38" fmla="*/ 887 w 907"/>
              <a:gd name="T39" fmla="*/ 1 h 827"/>
              <a:gd name="T40" fmla="*/ 886 w 907"/>
              <a:gd name="T41" fmla="*/ 1 h 827"/>
              <a:gd name="T42" fmla="*/ 886 w 907"/>
              <a:gd name="T43" fmla="*/ 1 h 827"/>
              <a:gd name="T44" fmla="*/ 5 w 907"/>
              <a:gd name="T45" fmla="*/ 365 h 827"/>
              <a:gd name="T46" fmla="*/ 1 w 907"/>
              <a:gd name="T47" fmla="*/ 372 h 827"/>
              <a:gd name="T48" fmla="*/ 1 w 907"/>
              <a:gd name="T49" fmla="*/ 381 h 827"/>
              <a:gd name="T50" fmla="*/ 5 w 907"/>
              <a:gd name="T51" fmla="*/ 388 h 827"/>
              <a:gd name="T52" fmla="*/ 336 w 907"/>
              <a:gd name="T53" fmla="*/ 521 h 827"/>
              <a:gd name="T54" fmla="*/ 336 w 907"/>
              <a:gd name="T55" fmla="*/ 817 h 827"/>
              <a:gd name="T56" fmla="*/ 342 w 907"/>
              <a:gd name="T57" fmla="*/ 825 h 827"/>
              <a:gd name="T58" fmla="*/ 348 w 907"/>
              <a:gd name="T59" fmla="*/ 827 h 827"/>
              <a:gd name="T60" fmla="*/ 354 w 907"/>
              <a:gd name="T61" fmla="*/ 827 h 827"/>
              <a:gd name="T62" fmla="*/ 360 w 907"/>
              <a:gd name="T63" fmla="*/ 823 h 827"/>
              <a:gd name="T64" fmla="*/ 492 w 907"/>
              <a:gd name="T65" fmla="*/ 605 h 827"/>
              <a:gd name="T66" fmla="*/ 732 w 907"/>
              <a:gd name="T67" fmla="*/ 732 h 827"/>
              <a:gd name="T68" fmla="*/ 739 w 907"/>
              <a:gd name="T69" fmla="*/ 732 h 827"/>
              <a:gd name="T70" fmla="*/ 745 w 907"/>
              <a:gd name="T71" fmla="*/ 729 h 827"/>
              <a:gd name="T72" fmla="*/ 749 w 907"/>
              <a:gd name="T73" fmla="*/ 724 h 827"/>
              <a:gd name="T74" fmla="*/ 906 w 907"/>
              <a:gd name="T75" fmla="*/ 18 h 827"/>
              <a:gd name="T76" fmla="*/ 906 w 907"/>
              <a:gd name="T77" fmla="*/ 17 h 827"/>
              <a:gd name="T78" fmla="*/ 907 w 907"/>
              <a:gd name="T79" fmla="*/ 1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7" h="827">
                <a:moveTo>
                  <a:pt x="726" y="695"/>
                </a:moveTo>
                <a:lnTo>
                  <a:pt x="376" y="508"/>
                </a:lnTo>
                <a:lnTo>
                  <a:pt x="834" y="88"/>
                </a:lnTo>
                <a:lnTo>
                  <a:pt x="866" y="58"/>
                </a:lnTo>
                <a:lnTo>
                  <a:pt x="726" y="695"/>
                </a:lnTo>
                <a:close/>
                <a:moveTo>
                  <a:pt x="366" y="758"/>
                </a:moveTo>
                <a:lnTo>
                  <a:pt x="366" y="536"/>
                </a:lnTo>
                <a:lnTo>
                  <a:pt x="466" y="590"/>
                </a:lnTo>
                <a:lnTo>
                  <a:pt x="366" y="758"/>
                </a:lnTo>
                <a:close/>
                <a:moveTo>
                  <a:pt x="819" y="61"/>
                </a:moveTo>
                <a:lnTo>
                  <a:pt x="347" y="493"/>
                </a:lnTo>
                <a:lnTo>
                  <a:pt x="55" y="375"/>
                </a:lnTo>
                <a:lnTo>
                  <a:pt x="819" y="61"/>
                </a:lnTo>
                <a:close/>
                <a:moveTo>
                  <a:pt x="907" y="15"/>
                </a:moveTo>
                <a:lnTo>
                  <a:pt x="907" y="14"/>
                </a:lnTo>
                <a:lnTo>
                  <a:pt x="906" y="12"/>
                </a:lnTo>
                <a:lnTo>
                  <a:pt x="906" y="12"/>
                </a:lnTo>
                <a:lnTo>
                  <a:pt x="906" y="11"/>
                </a:lnTo>
                <a:lnTo>
                  <a:pt x="905" y="9"/>
                </a:lnTo>
                <a:lnTo>
                  <a:pt x="905" y="8"/>
                </a:lnTo>
                <a:lnTo>
                  <a:pt x="905" y="8"/>
                </a:lnTo>
                <a:lnTo>
                  <a:pt x="905" y="6"/>
                </a:lnTo>
                <a:lnTo>
                  <a:pt x="904" y="6"/>
                </a:lnTo>
                <a:lnTo>
                  <a:pt x="904" y="5"/>
                </a:lnTo>
                <a:lnTo>
                  <a:pt x="903" y="4"/>
                </a:lnTo>
                <a:lnTo>
                  <a:pt x="902" y="3"/>
                </a:lnTo>
                <a:lnTo>
                  <a:pt x="901" y="3"/>
                </a:lnTo>
                <a:lnTo>
                  <a:pt x="900" y="2"/>
                </a:lnTo>
                <a:lnTo>
                  <a:pt x="900" y="2"/>
                </a:lnTo>
                <a:lnTo>
                  <a:pt x="900" y="2"/>
                </a:lnTo>
                <a:lnTo>
                  <a:pt x="898" y="1"/>
                </a:lnTo>
                <a:lnTo>
                  <a:pt x="897" y="1"/>
                </a:lnTo>
                <a:lnTo>
                  <a:pt x="896" y="1"/>
                </a:lnTo>
                <a:lnTo>
                  <a:pt x="895" y="0"/>
                </a:lnTo>
                <a:lnTo>
                  <a:pt x="894" y="0"/>
                </a:lnTo>
                <a:lnTo>
                  <a:pt x="893" y="0"/>
                </a:lnTo>
                <a:lnTo>
                  <a:pt x="892" y="0"/>
                </a:lnTo>
                <a:lnTo>
                  <a:pt x="891" y="0"/>
                </a:lnTo>
                <a:lnTo>
                  <a:pt x="889" y="0"/>
                </a:lnTo>
                <a:lnTo>
                  <a:pt x="887" y="1"/>
                </a:lnTo>
                <a:lnTo>
                  <a:pt x="887" y="1"/>
                </a:lnTo>
                <a:lnTo>
                  <a:pt x="886" y="1"/>
                </a:lnTo>
                <a:lnTo>
                  <a:pt x="886" y="1"/>
                </a:lnTo>
                <a:lnTo>
                  <a:pt x="886" y="1"/>
                </a:lnTo>
                <a:lnTo>
                  <a:pt x="10" y="362"/>
                </a:lnTo>
                <a:lnTo>
                  <a:pt x="5" y="365"/>
                </a:lnTo>
                <a:lnTo>
                  <a:pt x="2" y="368"/>
                </a:lnTo>
                <a:lnTo>
                  <a:pt x="1" y="372"/>
                </a:lnTo>
                <a:lnTo>
                  <a:pt x="0" y="376"/>
                </a:lnTo>
                <a:lnTo>
                  <a:pt x="1" y="381"/>
                </a:lnTo>
                <a:lnTo>
                  <a:pt x="2" y="384"/>
                </a:lnTo>
                <a:lnTo>
                  <a:pt x="5" y="388"/>
                </a:lnTo>
                <a:lnTo>
                  <a:pt x="10" y="390"/>
                </a:lnTo>
                <a:lnTo>
                  <a:pt x="336" y="521"/>
                </a:lnTo>
                <a:lnTo>
                  <a:pt x="336" y="812"/>
                </a:lnTo>
                <a:lnTo>
                  <a:pt x="336" y="817"/>
                </a:lnTo>
                <a:lnTo>
                  <a:pt x="338" y="821"/>
                </a:lnTo>
                <a:lnTo>
                  <a:pt x="342" y="825"/>
                </a:lnTo>
                <a:lnTo>
                  <a:pt x="346" y="827"/>
                </a:lnTo>
                <a:lnTo>
                  <a:pt x="348" y="827"/>
                </a:lnTo>
                <a:lnTo>
                  <a:pt x="351" y="827"/>
                </a:lnTo>
                <a:lnTo>
                  <a:pt x="354" y="827"/>
                </a:lnTo>
                <a:lnTo>
                  <a:pt x="357" y="826"/>
                </a:lnTo>
                <a:lnTo>
                  <a:pt x="360" y="823"/>
                </a:lnTo>
                <a:lnTo>
                  <a:pt x="363" y="820"/>
                </a:lnTo>
                <a:lnTo>
                  <a:pt x="492" y="605"/>
                </a:lnTo>
                <a:lnTo>
                  <a:pt x="729" y="730"/>
                </a:lnTo>
                <a:lnTo>
                  <a:pt x="732" y="732"/>
                </a:lnTo>
                <a:lnTo>
                  <a:pt x="736" y="732"/>
                </a:lnTo>
                <a:lnTo>
                  <a:pt x="739" y="732"/>
                </a:lnTo>
                <a:lnTo>
                  <a:pt x="742" y="731"/>
                </a:lnTo>
                <a:lnTo>
                  <a:pt x="745" y="729"/>
                </a:lnTo>
                <a:lnTo>
                  <a:pt x="747" y="727"/>
                </a:lnTo>
                <a:lnTo>
                  <a:pt x="749" y="724"/>
                </a:lnTo>
                <a:lnTo>
                  <a:pt x="751" y="721"/>
                </a:lnTo>
                <a:lnTo>
                  <a:pt x="906" y="18"/>
                </a:lnTo>
                <a:lnTo>
                  <a:pt x="906" y="17"/>
                </a:lnTo>
                <a:lnTo>
                  <a:pt x="906" y="17"/>
                </a:lnTo>
                <a:lnTo>
                  <a:pt x="907" y="16"/>
                </a:lnTo>
                <a:lnTo>
                  <a:pt x="907" y="1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279" name="Group 46">
            <a:extLst>
              <a:ext uri="{FF2B5EF4-FFF2-40B4-BE49-F238E27FC236}">
                <a16:creationId xmlns:a16="http://schemas.microsoft.com/office/drawing/2014/main" id="{A2E72370-F696-4C54-BF42-2FE968E74233}"/>
              </a:ext>
            </a:extLst>
          </p:cNvPr>
          <p:cNvGrpSpPr>
            <a:grpSpLocks noChangeAspect="1"/>
          </p:cNvGrpSpPr>
          <p:nvPr/>
        </p:nvGrpSpPr>
        <p:grpSpPr>
          <a:xfrm>
            <a:off x="3654675" y="1713730"/>
            <a:ext cx="297777" cy="174675"/>
            <a:chOff x="8180388" y="2562226"/>
            <a:chExt cx="284162" cy="166688"/>
          </a:xfrm>
          <a:solidFill>
            <a:schemeClr val="bg1"/>
          </a:solidFill>
          <a:effectLst/>
        </p:grpSpPr>
        <p:sp>
          <p:nvSpPr>
            <p:cNvPr id="306" name="Freeform 270">
              <a:extLst>
                <a:ext uri="{FF2B5EF4-FFF2-40B4-BE49-F238E27FC236}">
                  <a16:creationId xmlns:a16="http://schemas.microsoft.com/office/drawing/2014/main" id="{348F8607-6587-4547-A1E5-434D93339263}"/>
                </a:ext>
              </a:extLst>
            </p:cNvPr>
            <p:cNvSpPr>
              <a:spLocks noEditPoints="1"/>
            </p:cNvSpPr>
            <p:nvPr/>
          </p:nvSpPr>
          <p:spPr bwMode="auto">
            <a:xfrm>
              <a:off x="8180388" y="2562226"/>
              <a:ext cx="284162" cy="166688"/>
            </a:xfrm>
            <a:custGeom>
              <a:avLst/>
              <a:gdLst>
                <a:gd name="T0" fmla="*/ 409 w 896"/>
                <a:gd name="T1" fmla="*/ 491 h 523"/>
                <a:gd name="T2" fmla="*/ 355 w 896"/>
                <a:gd name="T3" fmla="*/ 480 h 523"/>
                <a:gd name="T4" fmla="*/ 302 w 896"/>
                <a:gd name="T5" fmla="*/ 462 h 523"/>
                <a:gd name="T6" fmla="*/ 253 w 896"/>
                <a:gd name="T7" fmla="*/ 438 h 523"/>
                <a:gd name="T8" fmla="*/ 178 w 896"/>
                <a:gd name="T9" fmla="*/ 390 h 523"/>
                <a:gd name="T10" fmla="*/ 106 w 896"/>
                <a:gd name="T11" fmla="*/ 329 h 523"/>
                <a:gd name="T12" fmla="*/ 34 w 896"/>
                <a:gd name="T13" fmla="*/ 255 h 523"/>
                <a:gd name="T14" fmla="*/ 106 w 896"/>
                <a:gd name="T15" fmla="*/ 183 h 523"/>
                <a:gd name="T16" fmla="*/ 178 w 896"/>
                <a:gd name="T17" fmla="*/ 126 h 523"/>
                <a:gd name="T18" fmla="*/ 253 w 896"/>
                <a:gd name="T19" fmla="*/ 81 h 523"/>
                <a:gd name="T20" fmla="*/ 302 w 896"/>
                <a:gd name="T21" fmla="*/ 59 h 523"/>
                <a:gd name="T22" fmla="*/ 355 w 896"/>
                <a:gd name="T23" fmla="*/ 42 h 523"/>
                <a:gd name="T24" fmla="*/ 409 w 896"/>
                <a:gd name="T25" fmla="*/ 32 h 523"/>
                <a:gd name="T26" fmla="*/ 466 w 896"/>
                <a:gd name="T27" fmla="*/ 30 h 523"/>
                <a:gd name="T28" fmla="*/ 522 w 896"/>
                <a:gd name="T29" fmla="*/ 37 h 523"/>
                <a:gd name="T30" fmla="*/ 575 w 896"/>
                <a:gd name="T31" fmla="*/ 52 h 523"/>
                <a:gd name="T32" fmla="*/ 625 w 896"/>
                <a:gd name="T33" fmla="*/ 73 h 523"/>
                <a:gd name="T34" fmla="*/ 687 w 896"/>
                <a:gd name="T35" fmla="*/ 107 h 523"/>
                <a:gd name="T36" fmla="*/ 768 w 896"/>
                <a:gd name="T37" fmla="*/ 165 h 523"/>
                <a:gd name="T38" fmla="*/ 841 w 896"/>
                <a:gd name="T39" fmla="*/ 232 h 523"/>
                <a:gd name="T40" fmla="*/ 809 w 896"/>
                <a:gd name="T41" fmla="*/ 311 h 523"/>
                <a:gd name="T42" fmla="*/ 743 w 896"/>
                <a:gd name="T43" fmla="*/ 370 h 523"/>
                <a:gd name="T44" fmla="*/ 657 w 896"/>
                <a:gd name="T45" fmla="*/ 430 h 523"/>
                <a:gd name="T46" fmla="*/ 609 w 896"/>
                <a:gd name="T47" fmla="*/ 454 h 523"/>
                <a:gd name="T48" fmla="*/ 558 w 896"/>
                <a:gd name="T49" fmla="*/ 475 h 523"/>
                <a:gd name="T50" fmla="*/ 503 w 896"/>
                <a:gd name="T51" fmla="*/ 489 h 523"/>
                <a:gd name="T52" fmla="*/ 448 w 896"/>
                <a:gd name="T53" fmla="*/ 493 h 523"/>
                <a:gd name="T54" fmla="*/ 856 w 896"/>
                <a:gd name="T55" fmla="*/ 205 h 523"/>
                <a:gd name="T56" fmla="*/ 791 w 896"/>
                <a:gd name="T57" fmla="*/ 145 h 523"/>
                <a:gd name="T58" fmla="*/ 700 w 896"/>
                <a:gd name="T59" fmla="*/ 80 h 523"/>
                <a:gd name="T60" fmla="*/ 646 w 896"/>
                <a:gd name="T61" fmla="*/ 49 h 523"/>
                <a:gd name="T62" fmla="*/ 584 w 896"/>
                <a:gd name="T63" fmla="*/ 25 h 523"/>
                <a:gd name="T64" fmla="*/ 517 w 896"/>
                <a:gd name="T65" fmla="*/ 6 h 523"/>
                <a:gd name="T66" fmla="*/ 448 w 896"/>
                <a:gd name="T67" fmla="*/ 0 h 523"/>
                <a:gd name="T68" fmla="*/ 377 w 896"/>
                <a:gd name="T69" fmla="*/ 6 h 523"/>
                <a:gd name="T70" fmla="*/ 311 w 896"/>
                <a:gd name="T71" fmla="*/ 24 h 523"/>
                <a:gd name="T72" fmla="*/ 250 w 896"/>
                <a:gd name="T73" fmla="*/ 49 h 523"/>
                <a:gd name="T74" fmla="*/ 194 w 896"/>
                <a:gd name="T75" fmla="*/ 80 h 523"/>
                <a:gd name="T76" fmla="*/ 103 w 896"/>
                <a:gd name="T77" fmla="*/ 145 h 523"/>
                <a:gd name="T78" fmla="*/ 38 w 896"/>
                <a:gd name="T79" fmla="*/ 205 h 523"/>
                <a:gd name="T80" fmla="*/ 0 w 896"/>
                <a:gd name="T81" fmla="*/ 249 h 523"/>
                <a:gd name="T82" fmla="*/ 2 w 896"/>
                <a:gd name="T83" fmla="*/ 263 h 523"/>
                <a:gd name="T84" fmla="*/ 60 w 896"/>
                <a:gd name="T85" fmla="*/ 328 h 523"/>
                <a:gd name="T86" fmla="*/ 137 w 896"/>
                <a:gd name="T87" fmla="*/ 397 h 523"/>
                <a:gd name="T88" fmla="*/ 185 w 896"/>
                <a:gd name="T89" fmla="*/ 432 h 523"/>
                <a:gd name="T90" fmla="*/ 238 w 896"/>
                <a:gd name="T91" fmla="*/ 465 h 523"/>
                <a:gd name="T92" fmla="*/ 296 w 896"/>
                <a:gd name="T93" fmla="*/ 492 h 523"/>
                <a:gd name="T94" fmla="*/ 359 w 896"/>
                <a:gd name="T95" fmla="*/ 512 h 523"/>
                <a:gd name="T96" fmla="*/ 424 w 896"/>
                <a:gd name="T97" fmla="*/ 522 h 523"/>
                <a:gd name="T98" fmla="*/ 493 w 896"/>
                <a:gd name="T99" fmla="*/ 520 h 523"/>
                <a:gd name="T100" fmla="*/ 558 w 896"/>
                <a:gd name="T101" fmla="*/ 507 h 523"/>
                <a:gd name="T102" fmla="*/ 619 w 896"/>
                <a:gd name="T103" fmla="*/ 483 h 523"/>
                <a:gd name="T104" fmla="*/ 676 w 896"/>
                <a:gd name="T105" fmla="*/ 454 h 523"/>
                <a:gd name="T106" fmla="*/ 727 w 896"/>
                <a:gd name="T107" fmla="*/ 420 h 523"/>
                <a:gd name="T108" fmla="*/ 787 w 896"/>
                <a:gd name="T109" fmla="*/ 373 h 523"/>
                <a:gd name="T110" fmla="*/ 854 w 896"/>
                <a:gd name="T111" fmla="*/ 308 h 523"/>
                <a:gd name="T112" fmla="*/ 895 w 896"/>
                <a:gd name="T113" fmla="*/ 259 h 523"/>
                <a:gd name="T114" fmla="*/ 893 w 896"/>
                <a:gd name="T115" fmla="*/ 245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6" h="523">
                  <a:moveTo>
                    <a:pt x="448" y="493"/>
                  </a:moveTo>
                  <a:lnTo>
                    <a:pt x="429" y="493"/>
                  </a:lnTo>
                  <a:lnTo>
                    <a:pt x="409" y="491"/>
                  </a:lnTo>
                  <a:lnTo>
                    <a:pt x="391" y="489"/>
                  </a:lnTo>
                  <a:lnTo>
                    <a:pt x="373" y="484"/>
                  </a:lnTo>
                  <a:lnTo>
                    <a:pt x="355" y="480"/>
                  </a:lnTo>
                  <a:lnTo>
                    <a:pt x="337" y="475"/>
                  </a:lnTo>
                  <a:lnTo>
                    <a:pt x="319" y="468"/>
                  </a:lnTo>
                  <a:lnTo>
                    <a:pt x="302" y="462"/>
                  </a:lnTo>
                  <a:lnTo>
                    <a:pt x="285" y="454"/>
                  </a:lnTo>
                  <a:lnTo>
                    <a:pt x="269" y="447"/>
                  </a:lnTo>
                  <a:lnTo>
                    <a:pt x="253" y="438"/>
                  </a:lnTo>
                  <a:lnTo>
                    <a:pt x="237" y="430"/>
                  </a:lnTo>
                  <a:lnTo>
                    <a:pt x="207" y="411"/>
                  </a:lnTo>
                  <a:lnTo>
                    <a:pt x="178" y="390"/>
                  </a:lnTo>
                  <a:lnTo>
                    <a:pt x="152" y="370"/>
                  </a:lnTo>
                  <a:lnTo>
                    <a:pt x="128" y="350"/>
                  </a:lnTo>
                  <a:lnTo>
                    <a:pt x="106" y="329"/>
                  </a:lnTo>
                  <a:lnTo>
                    <a:pt x="85" y="311"/>
                  </a:lnTo>
                  <a:lnTo>
                    <a:pt x="54" y="278"/>
                  </a:lnTo>
                  <a:lnTo>
                    <a:pt x="34" y="255"/>
                  </a:lnTo>
                  <a:lnTo>
                    <a:pt x="54" y="232"/>
                  </a:lnTo>
                  <a:lnTo>
                    <a:pt x="86" y="201"/>
                  </a:lnTo>
                  <a:lnTo>
                    <a:pt x="106" y="183"/>
                  </a:lnTo>
                  <a:lnTo>
                    <a:pt x="128" y="165"/>
                  </a:lnTo>
                  <a:lnTo>
                    <a:pt x="153" y="145"/>
                  </a:lnTo>
                  <a:lnTo>
                    <a:pt x="178" y="126"/>
                  </a:lnTo>
                  <a:lnTo>
                    <a:pt x="207" y="107"/>
                  </a:lnTo>
                  <a:lnTo>
                    <a:pt x="237" y="90"/>
                  </a:lnTo>
                  <a:lnTo>
                    <a:pt x="253" y="81"/>
                  </a:lnTo>
                  <a:lnTo>
                    <a:pt x="269" y="74"/>
                  </a:lnTo>
                  <a:lnTo>
                    <a:pt x="285" y="66"/>
                  </a:lnTo>
                  <a:lnTo>
                    <a:pt x="302" y="59"/>
                  </a:lnTo>
                  <a:lnTo>
                    <a:pt x="319" y="52"/>
                  </a:lnTo>
                  <a:lnTo>
                    <a:pt x="338" y="47"/>
                  </a:lnTo>
                  <a:lnTo>
                    <a:pt x="355" y="42"/>
                  </a:lnTo>
                  <a:lnTo>
                    <a:pt x="373" y="37"/>
                  </a:lnTo>
                  <a:lnTo>
                    <a:pt x="391" y="34"/>
                  </a:lnTo>
                  <a:lnTo>
                    <a:pt x="409" y="32"/>
                  </a:lnTo>
                  <a:lnTo>
                    <a:pt x="429" y="30"/>
                  </a:lnTo>
                  <a:lnTo>
                    <a:pt x="448" y="30"/>
                  </a:lnTo>
                  <a:lnTo>
                    <a:pt x="466" y="30"/>
                  </a:lnTo>
                  <a:lnTo>
                    <a:pt x="485" y="32"/>
                  </a:lnTo>
                  <a:lnTo>
                    <a:pt x="503" y="34"/>
                  </a:lnTo>
                  <a:lnTo>
                    <a:pt x="522" y="37"/>
                  </a:lnTo>
                  <a:lnTo>
                    <a:pt x="540" y="42"/>
                  </a:lnTo>
                  <a:lnTo>
                    <a:pt x="558" y="47"/>
                  </a:lnTo>
                  <a:lnTo>
                    <a:pt x="575" y="52"/>
                  </a:lnTo>
                  <a:lnTo>
                    <a:pt x="592" y="59"/>
                  </a:lnTo>
                  <a:lnTo>
                    <a:pt x="609" y="66"/>
                  </a:lnTo>
                  <a:lnTo>
                    <a:pt x="625" y="73"/>
                  </a:lnTo>
                  <a:lnTo>
                    <a:pt x="641" y="81"/>
                  </a:lnTo>
                  <a:lnTo>
                    <a:pt x="657" y="90"/>
                  </a:lnTo>
                  <a:lnTo>
                    <a:pt x="687" y="107"/>
                  </a:lnTo>
                  <a:lnTo>
                    <a:pt x="716" y="126"/>
                  </a:lnTo>
                  <a:lnTo>
                    <a:pt x="743" y="145"/>
                  </a:lnTo>
                  <a:lnTo>
                    <a:pt x="768" y="165"/>
                  </a:lnTo>
                  <a:lnTo>
                    <a:pt x="789" y="183"/>
                  </a:lnTo>
                  <a:lnTo>
                    <a:pt x="809" y="201"/>
                  </a:lnTo>
                  <a:lnTo>
                    <a:pt x="841" y="232"/>
                  </a:lnTo>
                  <a:lnTo>
                    <a:pt x="862" y="255"/>
                  </a:lnTo>
                  <a:lnTo>
                    <a:pt x="841" y="278"/>
                  </a:lnTo>
                  <a:lnTo>
                    <a:pt x="809" y="311"/>
                  </a:lnTo>
                  <a:lnTo>
                    <a:pt x="790" y="329"/>
                  </a:lnTo>
                  <a:lnTo>
                    <a:pt x="768" y="350"/>
                  </a:lnTo>
                  <a:lnTo>
                    <a:pt x="743" y="370"/>
                  </a:lnTo>
                  <a:lnTo>
                    <a:pt x="716" y="390"/>
                  </a:lnTo>
                  <a:lnTo>
                    <a:pt x="688" y="411"/>
                  </a:lnTo>
                  <a:lnTo>
                    <a:pt x="657" y="430"/>
                  </a:lnTo>
                  <a:lnTo>
                    <a:pt x="642" y="438"/>
                  </a:lnTo>
                  <a:lnTo>
                    <a:pt x="626" y="447"/>
                  </a:lnTo>
                  <a:lnTo>
                    <a:pt x="609" y="454"/>
                  </a:lnTo>
                  <a:lnTo>
                    <a:pt x="592" y="462"/>
                  </a:lnTo>
                  <a:lnTo>
                    <a:pt x="575" y="468"/>
                  </a:lnTo>
                  <a:lnTo>
                    <a:pt x="558" y="475"/>
                  </a:lnTo>
                  <a:lnTo>
                    <a:pt x="540" y="480"/>
                  </a:lnTo>
                  <a:lnTo>
                    <a:pt x="522" y="484"/>
                  </a:lnTo>
                  <a:lnTo>
                    <a:pt x="503" y="489"/>
                  </a:lnTo>
                  <a:lnTo>
                    <a:pt x="485" y="491"/>
                  </a:lnTo>
                  <a:lnTo>
                    <a:pt x="466" y="493"/>
                  </a:lnTo>
                  <a:lnTo>
                    <a:pt x="448" y="493"/>
                  </a:lnTo>
                  <a:close/>
                  <a:moveTo>
                    <a:pt x="893" y="245"/>
                  </a:moveTo>
                  <a:lnTo>
                    <a:pt x="882" y="233"/>
                  </a:lnTo>
                  <a:lnTo>
                    <a:pt x="856" y="205"/>
                  </a:lnTo>
                  <a:lnTo>
                    <a:pt x="838" y="187"/>
                  </a:lnTo>
                  <a:lnTo>
                    <a:pt x="816" y="167"/>
                  </a:lnTo>
                  <a:lnTo>
                    <a:pt x="791" y="145"/>
                  </a:lnTo>
                  <a:lnTo>
                    <a:pt x="763" y="123"/>
                  </a:lnTo>
                  <a:lnTo>
                    <a:pt x="733" y="102"/>
                  </a:lnTo>
                  <a:lnTo>
                    <a:pt x="700" y="80"/>
                  </a:lnTo>
                  <a:lnTo>
                    <a:pt x="683" y="70"/>
                  </a:lnTo>
                  <a:lnTo>
                    <a:pt x="665" y="59"/>
                  </a:lnTo>
                  <a:lnTo>
                    <a:pt x="646" y="49"/>
                  </a:lnTo>
                  <a:lnTo>
                    <a:pt x="625" y="41"/>
                  </a:lnTo>
                  <a:lnTo>
                    <a:pt x="605" y="32"/>
                  </a:lnTo>
                  <a:lnTo>
                    <a:pt x="584" y="25"/>
                  </a:lnTo>
                  <a:lnTo>
                    <a:pt x="562" y="17"/>
                  </a:lnTo>
                  <a:lnTo>
                    <a:pt x="541" y="12"/>
                  </a:lnTo>
                  <a:lnTo>
                    <a:pt x="517" y="6"/>
                  </a:lnTo>
                  <a:lnTo>
                    <a:pt x="495" y="3"/>
                  </a:lnTo>
                  <a:lnTo>
                    <a:pt x="471" y="1"/>
                  </a:lnTo>
                  <a:lnTo>
                    <a:pt x="448" y="0"/>
                  </a:lnTo>
                  <a:lnTo>
                    <a:pt x="423" y="1"/>
                  </a:lnTo>
                  <a:lnTo>
                    <a:pt x="400" y="3"/>
                  </a:lnTo>
                  <a:lnTo>
                    <a:pt x="377" y="6"/>
                  </a:lnTo>
                  <a:lnTo>
                    <a:pt x="355" y="12"/>
                  </a:lnTo>
                  <a:lnTo>
                    <a:pt x="332" y="17"/>
                  </a:lnTo>
                  <a:lnTo>
                    <a:pt x="311" y="24"/>
                  </a:lnTo>
                  <a:lnTo>
                    <a:pt x="290" y="32"/>
                  </a:lnTo>
                  <a:lnTo>
                    <a:pt x="269" y="41"/>
                  </a:lnTo>
                  <a:lnTo>
                    <a:pt x="250" y="49"/>
                  </a:lnTo>
                  <a:lnTo>
                    <a:pt x="231" y="59"/>
                  </a:lnTo>
                  <a:lnTo>
                    <a:pt x="211" y="70"/>
                  </a:lnTo>
                  <a:lnTo>
                    <a:pt x="194" y="80"/>
                  </a:lnTo>
                  <a:lnTo>
                    <a:pt x="161" y="102"/>
                  </a:lnTo>
                  <a:lnTo>
                    <a:pt x="132" y="123"/>
                  </a:lnTo>
                  <a:lnTo>
                    <a:pt x="103" y="145"/>
                  </a:lnTo>
                  <a:lnTo>
                    <a:pt x="79" y="167"/>
                  </a:lnTo>
                  <a:lnTo>
                    <a:pt x="56" y="187"/>
                  </a:lnTo>
                  <a:lnTo>
                    <a:pt x="38" y="205"/>
                  </a:lnTo>
                  <a:lnTo>
                    <a:pt x="12" y="233"/>
                  </a:lnTo>
                  <a:lnTo>
                    <a:pt x="3" y="245"/>
                  </a:lnTo>
                  <a:lnTo>
                    <a:pt x="0" y="249"/>
                  </a:lnTo>
                  <a:lnTo>
                    <a:pt x="0" y="253"/>
                  </a:lnTo>
                  <a:lnTo>
                    <a:pt x="0" y="259"/>
                  </a:lnTo>
                  <a:lnTo>
                    <a:pt x="2" y="263"/>
                  </a:lnTo>
                  <a:lnTo>
                    <a:pt x="14" y="277"/>
                  </a:lnTo>
                  <a:lnTo>
                    <a:pt x="41" y="308"/>
                  </a:lnTo>
                  <a:lnTo>
                    <a:pt x="60" y="328"/>
                  </a:lnTo>
                  <a:lnTo>
                    <a:pt x="82" y="350"/>
                  </a:lnTo>
                  <a:lnTo>
                    <a:pt x="108" y="373"/>
                  </a:lnTo>
                  <a:lnTo>
                    <a:pt x="137" y="397"/>
                  </a:lnTo>
                  <a:lnTo>
                    <a:pt x="152" y="409"/>
                  </a:lnTo>
                  <a:lnTo>
                    <a:pt x="168" y="420"/>
                  </a:lnTo>
                  <a:lnTo>
                    <a:pt x="185" y="432"/>
                  </a:lnTo>
                  <a:lnTo>
                    <a:pt x="202" y="444"/>
                  </a:lnTo>
                  <a:lnTo>
                    <a:pt x="219" y="454"/>
                  </a:lnTo>
                  <a:lnTo>
                    <a:pt x="238" y="465"/>
                  </a:lnTo>
                  <a:lnTo>
                    <a:pt x="256" y="475"/>
                  </a:lnTo>
                  <a:lnTo>
                    <a:pt x="276" y="483"/>
                  </a:lnTo>
                  <a:lnTo>
                    <a:pt x="296" y="492"/>
                  </a:lnTo>
                  <a:lnTo>
                    <a:pt x="316" y="499"/>
                  </a:lnTo>
                  <a:lnTo>
                    <a:pt x="338" y="507"/>
                  </a:lnTo>
                  <a:lnTo>
                    <a:pt x="359" y="512"/>
                  </a:lnTo>
                  <a:lnTo>
                    <a:pt x="380" y="517"/>
                  </a:lnTo>
                  <a:lnTo>
                    <a:pt x="402" y="520"/>
                  </a:lnTo>
                  <a:lnTo>
                    <a:pt x="424" y="522"/>
                  </a:lnTo>
                  <a:lnTo>
                    <a:pt x="448" y="523"/>
                  </a:lnTo>
                  <a:lnTo>
                    <a:pt x="470" y="522"/>
                  </a:lnTo>
                  <a:lnTo>
                    <a:pt x="493" y="520"/>
                  </a:lnTo>
                  <a:lnTo>
                    <a:pt x="514" y="517"/>
                  </a:lnTo>
                  <a:lnTo>
                    <a:pt x="537" y="512"/>
                  </a:lnTo>
                  <a:lnTo>
                    <a:pt x="558" y="507"/>
                  </a:lnTo>
                  <a:lnTo>
                    <a:pt x="578" y="499"/>
                  </a:lnTo>
                  <a:lnTo>
                    <a:pt x="599" y="492"/>
                  </a:lnTo>
                  <a:lnTo>
                    <a:pt x="619" y="483"/>
                  </a:lnTo>
                  <a:lnTo>
                    <a:pt x="638" y="475"/>
                  </a:lnTo>
                  <a:lnTo>
                    <a:pt x="657" y="465"/>
                  </a:lnTo>
                  <a:lnTo>
                    <a:pt x="676" y="454"/>
                  </a:lnTo>
                  <a:lnTo>
                    <a:pt x="694" y="444"/>
                  </a:lnTo>
                  <a:lnTo>
                    <a:pt x="711" y="432"/>
                  </a:lnTo>
                  <a:lnTo>
                    <a:pt x="727" y="420"/>
                  </a:lnTo>
                  <a:lnTo>
                    <a:pt x="743" y="409"/>
                  </a:lnTo>
                  <a:lnTo>
                    <a:pt x="758" y="397"/>
                  </a:lnTo>
                  <a:lnTo>
                    <a:pt x="787" y="373"/>
                  </a:lnTo>
                  <a:lnTo>
                    <a:pt x="813" y="350"/>
                  </a:lnTo>
                  <a:lnTo>
                    <a:pt x="835" y="328"/>
                  </a:lnTo>
                  <a:lnTo>
                    <a:pt x="854" y="308"/>
                  </a:lnTo>
                  <a:lnTo>
                    <a:pt x="881" y="277"/>
                  </a:lnTo>
                  <a:lnTo>
                    <a:pt x="893" y="263"/>
                  </a:lnTo>
                  <a:lnTo>
                    <a:pt x="895" y="259"/>
                  </a:lnTo>
                  <a:lnTo>
                    <a:pt x="896" y="253"/>
                  </a:lnTo>
                  <a:lnTo>
                    <a:pt x="895" y="249"/>
                  </a:lnTo>
                  <a:lnTo>
                    <a:pt x="893" y="245"/>
                  </a:lnTo>
                  <a:lnTo>
                    <a:pt x="89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307" name="Freeform 271">
              <a:extLst>
                <a:ext uri="{FF2B5EF4-FFF2-40B4-BE49-F238E27FC236}">
                  <a16:creationId xmlns:a16="http://schemas.microsoft.com/office/drawing/2014/main" id="{ADF9C940-01A0-4C29-87FF-5CF9832649B8}"/>
                </a:ext>
              </a:extLst>
            </p:cNvPr>
            <p:cNvSpPr>
              <a:spLocks noEditPoints="1"/>
            </p:cNvSpPr>
            <p:nvPr/>
          </p:nvSpPr>
          <p:spPr bwMode="auto">
            <a:xfrm>
              <a:off x="8269288" y="2590801"/>
              <a:ext cx="104775" cy="104775"/>
            </a:xfrm>
            <a:custGeom>
              <a:avLst/>
              <a:gdLst>
                <a:gd name="T0" fmla="*/ 137 w 328"/>
                <a:gd name="T1" fmla="*/ 296 h 328"/>
                <a:gd name="T2" fmla="*/ 101 w 328"/>
                <a:gd name="T3" fmla="*/ 282 h 328"/>
                <a:gd name="T4" fmla="*/ 70 w 328"/>
                <a:gd name="T5" fmla="*/ 259 h 328"/>
                <a:gd name="T6" fmla="*/ 46 w 328"/>
                <a:gd name="T7" fmla="*/ 228 h 328"/>
                <a:gd name="T8" fmla="*/ 32 w 328"/>
                <a:gd name="T9" fmla="*/ 191 h 328"/>
                <a:gd name="T10" fmla="*/ 31 w 328"/>
                <a:gd name="T11" fmla="*/ 151 h 328"/>
                <a:gd name="T12" fmla="*/ 41 w 328"/>
                <a:gd name="T13" fmla="*/ 112 h 328"/>
                <a:gd name="T14" fmla="*/ 61 w 328"/>
                <a:gd name="T15" fmla="*/ 79 h 328"/>
                <a:gd name="T16" fmla="*/ 89 w 328"/>
                <a:gd name="T17" fmla="*/ 52 h 328"/>
                <a:gd name="T18" fmla="*/ 124 w 328"/>
                <a:gd name="T19" fmla="*/ 35 h 328"/>
                <a:gd name="T20" fmla="*/ 165 w 328"/>
                <a:gd name="T21" fmla="*/ 30 h 328"/>
                <a:gd name="T22" fmla="*/ 204 w 328"/>
                <a:gd name="T23" fmla="*/ 35 h 328"/>
                <a:gd name="T24" fmla="*/ 240 w 328"/>
                <a:gd name="T25" fmla="*/ 52 h 328"/>
                <a:gd name="T26" fmla="*/ 269 w 328"/>
                <a:gd name="T27" fmla="*/ 79 h 328"/>
                <a:gd name="T28" fmla="*/ 289 w 328"/>
                <a:gd name="T29" fmla="*/ 112 h 328"/>
                <a:gd name="T30" fmla="*/ 299 w 328"/>
                <a:gd name="T31" fmla="*/ 151 h 328"/>
                <a:gd name="T32" fmla="*/ 296 w 328"/>
                <a:gd name="T33" fmla="*/ 191 h 328"/>
                <a:gd name="T34" fmla="*/ 282 w 328"/>
                <a:gd name="T35" fmla="*/ 228 h 328"/>
                <a:gd name="T36" fmla="*/ 260 w 328"/>
                <a:gd name="T37" fmla="*/ 259 h 328"/>
                <a:gd name="T38" fmla="*/ 229 w 328"/>
                <a:gd name="T39" fmla="*/ 282 h 328"/>
                <a:gd name="T40" fmla="*/ 192 w 328"/>
                <a:gd name="T41" fmla="*/ 296 h 328"/>
                <a:gd name="T42" fmla="*/ 165 w 328"/>
                <a:gd name="T43" fmla="*/ 298 h 328"/>
                <a:gd name="T44" fmla="*/ 132 w 328"/>
                <a:gd name="T45" fmla="*/ 3 h 328"/>
                <a:gd name="T46" fmla="*/ 86 w 328"/>
                <a:gd name="T47" fmla="*/ 19 h 328"/>
                <a:gd name="T48" fmla="*/ 48 w 328"/>
                <a:gd name="T49" fmla="*/ 48 h 328"/>
                <a:gd name="T50" fmla="*/ 20 w 328"/>
                <a:gd name="T51" fmla="*/ 85 h 328"/>
                <a:gd name="T52" fmla="*/ 3 w 328"/>
                <a:gd name="T53" fmla="*/ 131 h 328"/>
                <a:gd name="T54" fmla="*/ 1 w 328"/>
                <a:gd name="T55" fmla="*/ 181 h 328"/>
                <a:gd name="T56" fmla="*/ 13 w 328"/>
                <a:gd name="T57" fmla="*/ 228 h 328"/>
                <a:gd name="T58" fmla="*/ 38 w 328"/>
                <a:gd name="T59" fmla="*/ 268 h 328"/>
                <a:gd name="T60" fmla="*/ 73 w 328"/>
                <a:gd name="T61" fmla="*/ 300 h 328"/>
                <a:gd name="T62" fmla="*/ 116 w 328"/>
                <a:gd name="T63" fmla="*/ 321 h 328"/>
                <a:gd name="T64" fmla="*/ 165 w 328"/>
                <a:gd name="T65" fmla="*/ 328 h 328"/>
                <a:gd name="T66" fmla="*/ 213 w 328"/>
                <a:gd name="T67" fmla="*/ 321 h 328"/>
                <a:gd name="T68" fmla="*/ 257 w 328"/>
                <a:gd name="T69" fmla="*/ 300 h 328"/>
                <a:gd name="T70" fmla="*/ 291 w 328"/>
                <a:gd name="T71" fmla="*/ 268 h 328"/>
                <a:gd name="T72" fmla="*/ 316 w 328"/>
                <a:gd name="T73" fmla="*/ 228 h 328"/>
                <a:gd name="T74" fmla="*/ 328 w 328"/>
                <a:gd name="T75" fmla="*/ 181 h 328"/>
                <a:gd name="T76" fmla="*/ 325 w 328"/>
                <a:gd name="T77" fmla="*/ 131 h 328"/>
                <a:gd name="T78" fmla="*/ 309 w 328"/>
                <a:gd name="T79" fmla="*/ 85 h 328"/>
                <a:gd name="T80" fmla="*/ 280 w 328"/>
                <a:gd name="T81" fmla="*/ 48 h 328"/>
                <a:gd name="T82" fmla="*/ 243 w 328"/>
                <a:gd name="T83" fmla="*/ 19 h 328"/>
                <a:gd name="T84" fmla="*/ 198 w 328"/>
                <a:gd name="T85" fmla="*/ 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328">
                  <a:moveTo>
                    <a:pt x="165" y="298"/>
                  </a:moveTo>
                  <a:lnTo>
                    <a:pt x="151" y="298"/>
                  </a:lnTo>
                  <a:lnTo>
                    <a:pt x="137" y="296"/>
                  </a:lnTo>
                  <a:lnTo>
                    <a:pt x="124" y="293"/>
                  </a:lnTo>
                  <a:lnTo>
                    <a:pt x="112" y="288"/>
                  </a:lnTo>
                  <a:lnTo>
                    <a:pt x="101" y="282"/>
                  </a:lnTo>
                  <a:lnTo>
                    <a:pt x="89" y="276"/>
                  </a:lnTo>
                  <a:lnTo>
                    <a:pt x="79" y="267"/>
                  </a:lnTo>
                  <a:lnTo>
                    <a:pt x="70" y="259"/>
                  </a:lnTo>
                  <a:lnTo>
                    <a:pt x="61" y="249"/>
                  </a:lnTo>
                  <a:lnTo>
                    <a:pt x="52" y="239"/>
                  </a:lnTo>
                  <a:lnTo>
                    <a:pt x="46" y="228"/>
                  </a:lnTo>
                  <a:lnTo>
                    <a:pt x="41" y="216"/>
                  </a:lnTo>
                  <a:lnTo>
                    <a:pt x="36" y="204"/>
                  </a:lnTo>
                  <a:lnTo>
                    <a:pt x="32" y="191"/>
                  </a:lnTo>
                  <a:lnTo>
                    <a:pt x="31" y="177"/>
                  </a:lnTo>
                  <a:lnTo>
                    <a:pt x="30" y="165"/>
                  </a:lnTo>
                  <a:lnTo>
                    <a:pt x="31" y="151"/>
                  </a:lnTo>
                  <a:lnTo>
                    <a:pt x="32" y="137"/>
                  </a:lnTo>
                  <a:lnTo>
                    <a:pt x="36" y="124"/>
                  </a:lnTo>
                  <a:lnTo>
                    <a:pt x="41" y="112"/>
                  </a:lnTo>
                  <a:lnTo>
                    <a:pt x="46" y="100"/>
                  </a:lnTo>
                  <a:lnTo>
                    <a:pt x="52" y="89"/>
                  </a:lnTo>
                  <a:lnTo>
                    <a:pt x="61" y="79"/>
                  </a:lnTo>
                  <a:lnTo>
                    <a:pt x="70" y="69"/>
                  </a:lnTo>
                  <a:lnTo>
                    <a:pt x="79" y="61"/>
                  </a:lnTo>
                  <a:lnTo>
                    <a:pt x="89" y="52"/>
                  </a:lnTo>
                  <a:lnTo>
                    <a:pt x="101" y="46"/>
                  </a:lnTo>
                  <a:lnTo>
                    <a:pt x="112" y="41"/>
                  </a:lnTo>
                  <a:lnTo>
                    <a:pt x="124" y="35"/>
                  </a:lnTo>
                  <a:lnTo>
                    <a:pt x="137" y="32"/>
                  </a:lnTo>
                  <a:lnTo>
                    <a:pt x="151" y="30"/>
                  </a:lnTo>
                  <a:lnTo>
                    <a:pt x="165" y="30"/>
                  </a:lnTo>
                  <a:lnTo>
                    <a:pt x="178" y="30"/>
                  </a:lnTo>
                  <a:lnTo>
                    <a:pt x="192" y="32"/>
                  </a:lnTo>
                  <a:lnTo>
                    <a:pt x="204" y="35"/>
                  </a:lnTo>
                  <a:lnTo>
                    <a:pt x="217" y="41"/>
                  </a:lnTo>
                  <a:lnTo>
                    <a:pt x="229" y="46"/>
                  </a:lnTo>
                  <a:lnTo>
                    <a:pt x="240" y="52"/>
                  </a:lnTo>
                  <a:lnTo>
                    <a:pt x="250" y="61"/>
                  </a:lnTo>
                  <a:lnTo>
                    <a:pt x="260" y="69"/>
                  </a:lnTo>
                  <a:lnTo>
                    <a:pt x="269" y="79"/>
                  </a:lnTo>
                  <a:lnTo>
                    <a:pt x="276" y="89"/>
                  </a:lnTo>
                  <a:lnTo>
                    <a:pt x="282" y="100"/>
                  </a:lnTo>
                  <a:lnTo>
                    <a:pt x="289" y="112"/>
                  </a:lnTo>
                  <a:lnTo>
                    <a:pt x="293" y="124"/>
                  </a:lnTo>
                  <a:lnTo>
                    <a:pt x="296" y="137"/>
                  </a:lnTo>
                  <a:lnTo>
                    <a:pt x="299" y="151"/>
                  </a:lnTo>
                  <a:lnTo>
                    <a:pt x="299" y="165"/>
                  </a:lnTo>
                  <a:lnTo>
                    <a:pt x="299" y="177"/>
                  </a:lnTo>
                  <a:lnTo>
                    <a:pt x="296" y="191"/>
                  </a:lnTo>
                  <a:lnTo>
                    <a:pt x="293" y="204"/>
                  </a:lnTo>
                  <a:lnTo>
                    <a:pt x="289" y="216"/>
                  </a:lnTo>
                  <a:lnTo>
                    <a:pt x="282" y="228"/>
                  </a:lnTo>
                  <a:lnTo>
                    <a:pt x="276" y="239"/>
                  </a:lnTo>
                  <a:lnTo>
                    <a:pt x="269" y="249"/>
                  </a:lnTo>
                  <a:lnTo>
                    <a:pt x="260" y="259"/>
                  </a:lnTo>
                  <a:lnTo>
                    <a:pt x="250" y="267"/>
                  </a:lnTo>
                  <a:lnTo>
                    <a:pt x="240" y="276"/>
                  </a:lnTo>
                  <a:lnTo>
                    <a:pt x="229" y="282"/>
                  </a:lnTo>
                  <a:lnTo>
                    <a:pt x="217" y="288"/>
                  </a:lnTo>
                  <a:lnTo>
                    <a:pt x="204" y="293"/>
                  </a:lnTo>
                  <a:lnTo>
                    <a:pt x="192" y="296"/>
                  </a:lnTo>
                  <a:lnTo>
                    <a:pt x="178" y="298"/>
                  </a:lnTo>
                  <a:lnTo>
                    <a:pt x="165" y="298"/>
                  </a:lnTo>
                  <a:lnTo>
                    <a:pt x="165" y="298"/>
                  </a:lnTo>
                  <a:close/>
                  <a:moveTo>
                    <a:pt x="165" y="0"/>
                  </a:moveTo>
                  <a:lnTo>
                    <a:pt x="148" y="1"/>
                  </a:lnTo>
                  <a:lnTo>
                    <a:pt x="132" y="3"/>
                  </a:lnTo>
                  <a:lnTo>
                    <a:pt x="116" y="7"/>
                  </a:lnTo>
                  <a:lnTo>
                    <a:pt x="101" y="13"/>
                  </a:lnTo>
                  <a:lnTo>
                    <a:pt x="86" y="19"/>
                  </a:lnTo>
                  <a:lnTo>
                    <a:pt x="73" y="28"/>
                  </a:lnTo>
                  <a:lnTo>
                    <a:pt x="60" y="37"/>
                  </a:lnTo>
                  <a:lnTo>
                    <a:pt x="48" y="48"/>
                  </a:lnTo>
                  <a:lnTo>
                    <a:pt x="38" y="60"/>
                  </a:lnTo>
                  <a:lnTo>
                    <a:pt x="28" y="73"/>
                  </a:lnTo>
                  <a:lnTo>
                    <a:pt x="20" y="85"/>
                  </a:lnTo>
                  <a:lnTo>
                    <a:pt x="13" y="100"/>
                  </a:lnTo>
                  <a:lnTo>
                    <a:pt x="8" y="115"/>
                  </a:lnTo>
                  <a:lnTo>
                    <a:pt x="3" y="131"/>
                  </a:lnTo>
                  <a:lnTo>
                    <a:pt x="1" y="147"/>
                  </a:lnTo>
                  <a:lnTo>
                    <a:pt x="0" y="165"/>
                  </a:lnTo>
                  <a:lnTo>
                    <a:pt x="1" y="181"/>
                  </a:lnTo>
                  <a:lnTo>
                    <a:pt x="3" y="197"/>
                  </a:lnTo>
                  <a:lnTo>
                    <a:pt x="8" y="213"/>
                  </a:lnTo>
                  <a:lnTo>
                    <a:pt x="13" y="228"/>
                  </a:lnTo>
                  <a:lnTo>
                    <a:pt x="20" y="243"/>
                  </a:lnTo>
                  <a:lnTo>
                    <a:pt x="28" y="255"/>
                  </a:lnTo>
                  <a:lnTo>
                    <a:pt x="38" y="268"/>
                  </a:lnTo>
                  <a:lnTo>
                    <a:pt x="48" y="280"/>
                  </a:lnTo>
                  <a:lnTo>
                    <a:pt x="60" y="291"/>
                  </a:lnTo>
                  <a:lnTo>
                    <a:pt x="73" y="300"/>
                  </a:lnTo>
                  <a:lnTo>
                    <a:pt x="86" y="309"/>
                  </a:lnTo>
                  <a:lnTo>
                    <a:pt x="101" y="315"/>
                  </a:lnTo>
                  <a:lnTo>
                    <a:pt x="116" y="321"/>
                  </a:lnTo>
                  <a:lnTo>
                    <a:pt x="132" y="325"/>
                  </a:lnTo>
                  <a:lnTo>
                    <a:pt x="148" y="327"/>
                  </a:lnTo>
                  <a:lnTo>
                    <a:pt x="165" y="328"/>
                  </a:lnTo>
                  <a:lnTo>
                    <a:pt x="181" y="327"/>
                  </a:lnTo>
                  <a:lnTo>
                    <a:pt x="198" y="325"/>
                  </a:lnTo>
                  <a:lnTo>
                    <a:pt x="213" y="321"/>
                  </a:lnTo>
                  <a:lnTo>
                    <a:pt x="228" y="315"/>
                  </a:lnTo>
                  <a:lnTo>
                    <a:pt x="243" y="309"/>
                  </a:lnTo>
                  <a:lnTo>
                    <a:pt x="257" y="300"/>
                  </a:lnTo>
                  <a:lnTo>
                    <a:pt x="269" y="291"/>
                  </a:lnTo>
                  <a:lnTo>
                    <a:pt x="280" y="280"/>
                  </a:lnTo>
                  <a:lnTo>
                    <a:pt x="291" y="268"/>
                  </a:lnTo>
                  <a:lnTo>
                    <a:pt x="301" y="255"/>
                  </a:lnTo>
                  <a:lnTo>
                    <a:pt x="309" y="243"/>
                  </a:lnTo>
                  <a:lnTo>
                    <a:pt x="316" y="228"/>
                  </a:lnTo>
                  <a:lnTo>
                    <a:pt x="321" y="213"/>
                  </a:lnTo>
                  <a:lnTo>
                    <a:pt x="325" y="197"/>
                  </a:lnTo>
                  <a:lnTo>
                    <a:pt x="328" y="181"/>
                  </a:lnTo>
                  <a:lnTo>
                    <a:pt x="328" y="165"/>
                  </a:lnTo>
                  <a:lnTo>
                    <a:pt x="328" y="147"/>
                  </a:lnTo>
                  <a:lnTo>
                    <a:pt x="325" y="131"/>
                  </a:lnTo>
                  <a:lnTo>
                    <a:pt x="321" y="115"/>
                  </a:lnTo>
                  <a:lnTo>
                    <a:pt x="316" y="100"/>
                  </a:lnTo>
                  <a:lnTo>
                    <a:pt x="309" y="85"/>
                  </a:lnTo>
                  <a:lnTo>
                    <a:pt x="301" y="73"/>
                  </a:lnTo>
                  <a:lnTo>
                    <a:pt x="291" y="60"/>
                  </a:lnTo>
                  <a:lnTo>
                    <a:pt x="280" y="48"/>
                  </a:lnTo>
                  <a:lnTo>
                    <a:pt x="269" y="37"/>
                  </a:lnTo>
                  <a:lnTo>
                    <a:pt x="257" y="28"/>
                  </a:lnTo>
                  <a:lnTo>
                    <a:pt x="243" y="19"/>
                  </a:lnTo>
                  <a:lnTo>
                    <a:pt x="228" y="13"/>
                  </a:lnTo>
                  <a:lnTo>
                    <a:pt x="213" y="7"/>
                  </a:lnTo>
                  <a:lnTo>
                    <a:pt x="198" y="3"/>
                  </a:lnTo>
                  <a:lnTo>
                    <a:pt x="181" y="1"/>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308" name="Freeform 272">
              <a:extLst>
                <a:ext uri="{FF2B5EF4-FFF2-40B4-BE49-F238E27FC236}">
                  <a16:creationId xmlns:a16="http://schemas.microsoft.com/office/drawing/2014/main" id="{1A467A55-C9B1-41D7-9587-46776E471A85}"/>
                </a:ext>
              </a:extLst>
            </p:cNvPr>
            <p:cNvSpPr>
              <a:spLocks/>
            </p:cNvSpPr>
            <p:nvPr/>
          </p:nvSpPr>
          <p:spPr bwMode="auto">
            <a:xfrm>
              <a:off x="8293100" y="2614613"/>
              <a:ext cx="57150" cy="57150"/>
            </a:xfrm>
            <a:custGeom>
              <a:avLst/>
              <a:gdLst>
                <a:gd name="T0" fmla="*/ 83 w 179"/>
                <a:gd name="T1" fmla="*/ 1 h 178"/>
                <a:gd name="T2" fmla="*/ 77 w 179"/>
                <a:gd name="T3" fmla="*/ 6 h 178"/>
                <a:gd name="T4" fmla="*/ 75 w 179"/>
                <a:gd name="T5" fmla="*/ 15 h 178"/>
                <a:gd name="T6" fmla="*/ 77 w 179"/>
                <a:gd name="T7" fmla="*/ 22 h 178"/>
                <a:gd name="T8" fmla="*/ 83 w 179"/>
                <a:gd name="T9" fmla="*/ 29 h 178"/>
                <a:gd name="T10" fmla="*/ 95 w 179"/>
                <a:gd name="T11" fmla="*/ 30 h 178"/>
                <a:gd name="T12" fmla="*/ 112 w 179"/>
                <a:gd name="T13" fmla="*/ 34 h 178"/>
                <a:gd name="T14" fmla="*/ 127 w 179"/>
                <a:gd name="T15" fmla="*/ 42 h 178"/>
                <a:gd name="T16" fmla="*/ 139 w 179"/>
                <a:gd name="T17" fmla="*/ 55 h 178"/>
                <a:gd name="T18" fmla="*/ 147 w 179"/>
                <a:gd name="T19" fmla="*/ 71 h 178"/>
                <a:gd name="T20" fmla="*/ 150 w 179"/>
                <a:gd name="T21" fmla="*/ 90 h 178"/>
                <a:gd name="T22" fmla="*/ 147 w 179"/>
                <a:gd name="T23" fmla="*/ 107 h 178"/>
                <a:gd name="T24" fmla="*/ 139 w 179"/>
                <a:gd name="T25" fmla="*/ 123 h 178"/>
                <a:gd name="T26" fmla="*/ 127 w 179"/>
                <a:gd name="T27" fmla="*/ 136 h 178"/>
                <a:gd name="T28" fmla="*/ 112 w 179"/>
                <a:gd name="T29" fmla="*/ 144 h 178"/>
                <a:gd name="T30" fmla="*/ 95 w 179"/>
                <a:gd name="T31" fmla="*/ 148 h 178"/>
                <a:gd name="T32" fmla="*/ 77 w 179"/>
                <a:gd name="T33" fmla="*/ 147 h 178"/>
                <a:gd name="T34" fmla="*/ 61 w 179"/>
                <a:gd name="T35" fmla="*/ 142 h 178"/>
                <a:gd name="T36" fmla="*/ 47 w 179"/>
                <a:gd name="T37" fmla="*/ 131 h 178"/>
                <a:gd name="T38" fmla="*/ 37 w 179"/>
                <a:gd name="T39" fmla="*/ 117 h 178"/>
                <a:gd name="T40" fmla="*/ 31 w 179"/>
                <a:gd name="T41" fmla="*/ 101 h 178"/>
                <a:gd name="T42" fmla="*/ 29 w 179"/>
                <a:gd name="T43" fmla="*/ 86 h 178"/>
                <a:gd name="T44" fmla="*/ 26 w 179"/>
                <a:gd name="T45" fmla="*/ 79 h 178"/>
                <a:gd name="T46" fmla="*/ 18 w 179"/>
                <a:gd name="T47" fmla="*/ 75 h 178"/>
                <a:gd name="T48" fmla="*/ 9 w 179"/>
                <a:gd name="T49" fmla="*/ 76 h 178"/>
                <a:gd name="T50" fmla="*/ 2 w 179"/>
                <a:gd name="T51" fmla="*/ 81 h 178"/>
                <a:gd name="T52" fmla="*/ 0 w 179"/>
                <a:gd name="T53" fmla="*/ 90 h 178"/>
                <a:gd name="T54" fmla="*/ 4 w 179"/>
                <a:gd name="T55" fmla="*/ 115 h 178"/>
                <a:gd name="T56" fmla="*/ 15 w 179"/>
                <a:gd name="T57" fmla="*/ 139 h 178"/>
                <a:gd name="T58" fmla="*/ 32 w 179"/>
                <a:gd name="T59" fmla="*/ 158 h 178"/>
                <a:gd name="T60" fmla="*/ 55 w 179"/>
                <a:gd name="T61" fmla="*/ 172 h 178"/>
                <a:gd name="T62" fmla="*/ 80 w 179"/>
                <a:gd name="T63" fmla="*/ 178 h 178"/>
                <a:gd name="T64" fmla="*/ 108 w 179"/>
                <a:gd name="T65" fmla="*/ 177 h 178"/>
                <a:gd name="T66" fmla="*/ 133 w 179"/>
                <a:gd name="T67" fmla="*/ 168 h 178"/>
                <a:gd name="T68" fmla="*/ 153 w 179"/>
                <a:gd name="T69" fmla="*/ 153 h 178"/>
                <a:gd name="T70" fmla="*/ 168 w 179"/>
                <a:gd name="T71" fmla="*/ 131 h 178"/>
                <a:gd name="T72" fmla="*/ 178 w 179"/>
                <a:gd name="T73" fmla="*/ 107 h 178"/>
                <a:gd name="T74" fmla="*/ 179 w 179"/>
                <a:gd name="T75" fmla="*/ 80 h 178"/>
                <a:gd name="T76" fmla="*/ 172 w 179"/>
                <a:gd name="T77" fmla="*/ 54 h 178"/>
                <a:gd name="T78" fmla="*/ 158 w 179"/>
                <a:gd name="T79" fmla="*/ 32 h 178"/>
                <a:gd name="T80" fmla="*/ 139 w 179"/>
                <a:gd name="T81" fmla="*/ 15 h 178"/>
                <a:gd name="T82" fmla="*/ 117 w 179"/>
                <a:gd name="T83" fmla="*/ 4 h 178"/>
                <a:gd name="T84" fmla="*/ 90 w 179"/>
                <a:gd name="T8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9" h="178">
                  <a:moveTo>
                    <a:pt x="90" y="0"/>
                  </a:moveTo>
                  <a:lnTo>
                    <a:pt x="87" y="0"/>
                  </a:lnTo>
                  <a:lnTo>
                    <a:pt x="83" y="1"/>
                  </a:lnTo>
                  <a:lnTo>
                    <a:pt x="81" y="2"/>
                  </a:lnTo>
                  <a:lnTo>
                    <a:pt x="79" y="4"/>
                  </a:lnTo>
                  <a:lnTo>
                    <a:pt x="77" y="6"/>
                  </a:lnTo>
                  <a:lnTo>
                    <a:pt x="76" y="8"/>
                  </a:lnTo>
                  <a:lnTo>
                    <a:pt x="75" y="11"/>
                  </a:lnTo>
                  <a:lnTo>
                    <a:pt x="75" y="15"/>
                  </a:lnTo>
                  <a:lnTo>
                    <a:pt x="75" y="18"/>
                  </a:lnTo>
                  <a:lnTo>
                    <a:pt x="76" y="20"/>
                  </a:lnTo>
                  <a:lnTo>
                    <a:pt x="77" y="22"/>
                  </a:lnTo>
                  <a:lnTo>
                    <a:pt x="79" y="25"/>
                  </a:lnTo>
                  <a:lnTo>
                    <a:pt x="81" y="26"/>
                  </a:lnTo>
                  <a:lnTo>
                    <a:pt x="83" y="29"/>
                  </a:lnTo>
                  <a:lnTo>
                    <a:pt x="87" y="29"/>
                  </a:lnTo>
                  <a:lnTo>
                    <a:pt x="90" y="30"/>
                  </a:lnTo>
                  <a:lnTo>
                    <a:pt x="95" y="30"/>
                  </a:lnTo>
                  <a:lnTo>
                    <a:pt x="102" y="31"/>
                  </a:lnTo>
                  <a:lnTo>
                    <a:pt x="107" y="32"/>
                  </a:lnTo>
                  <a:lnTo>
                    <a:pt x="112" y="34"/>
                  </a:lnTo>
                  <a:lnTo>
                    <a:pt x="118" y="36"/>
                  </a:lnTo>
                  <a:lnTo>
                    <a:pt x="123" y="39"/>
                  </a:lnTo>
                  <a:lnTo>
                    <a:pt x="127" y="42"/>
                  </a:lnTo>
                  <a:lnTo>
                    <a:pt x="132" y="47"/>
                  </a:lnTo>
                  <a:lnTo>
                    <a:pt x="136" y="51"/>
                  </a:lnTo>
                  <a:lnTo>
                    <a:pt x="139" y="55"/>
                  </a:lnTo>
                  <a:lnTo>
                    <a:pt x="142" y="61"/>
                  </a:lnTo>
                  <a:lnTo>
                    <a:pt x="144" y="66"/>
                  </a:lnTo>
                  <a:lnTo>
                    <a:pt x="147" y="71"/>
                  </a:lnTo>
                  <a:lnTo>
                    <a:pt x="148" y="77"/>
                  </a:lnTo>
                  <a:lnTo>
                    <a:pt x="149" y="83"/>
                  </a:lnTo>
                  <a:lnTo>
                    <a:pt x="150" y="90"/>
                  </a:lnTo>
                  <a:lnTo>
                    <a:pt x="149" y="95"/>
                  </a:lnTo>
                  <a:lnTo>
                    <a:pt x="148" y="101"/>
                  </a:lnTo>
                  <a:lnTo>
                    <a:pt x="147" y="107"/>
                  </a:lnTo>
                  <a:lnTo>
                    <a:pt x="144" y="112"/>
                  </a:lnTo>
                  <a:lnTo>
                    <a:pt x="142" y="117"/>
                  </a:lnTo>
                  <a:lnTo>
                    <a:pt x="139" y="123"/>
                  </a:lnTo>
                  <a:lnTo>
                    <a:pt x="136" y="127"/>
                  </a:lnTo>
                  <a:lnTo>
                    <a:pt x="132" y="131"/>
                  </a:lnTo>
                  <a:lnTo>
                    <a:pt x="127" y="136"/>
                  </a:lnTo>
                  <a:lnTo>
                    <a:pt x="123" y="139"/>
                  </a:lnTo>
                  <a:lnTo>
                    <a:pt x="118" y="142"/>
                  </a:lnTo>
                  <a:lnTo>
                    <a:pt x="112" y="144"/>
                  </a:lnTo>
                  <a:lnTo>
                    <a:pt x="107" y="146"/>
                  </a:lnTo>
                  <a:lnTo>
                    <a:pt x="102" y="147"/>
                  </a:lnTo>
                  <a:lnTo>
                    <a:pt x="95" y="148"/>
                  </a:lnTo>
                  <a:lnTo>
                    <a:pt x="90" y="148"/>
                  </a:lnTo>
                  <a:lnTo>
                    <a:pt x="83" y="148"/>
                  </a:lnTo>
                  <a:lnTo>
                    <a:pt x="77" y="147"/>
                  </a:lnTo>
                  <a:lnTo>
                    <a:pt x="72" y="146"/>
                  </a:lnTo>
                  <a:lnTo>
                    <a:pt x="66" y="144"/>
                  </a:lnTo>
                  <a:lnTo>
                    <a:pt x="61" y="142"/>
                  </a:lnTo>
                  <a:lnTo>
                    <a:pt x="56" y="139"/>
                  </a:lnTo>
                  <a:lnTo>
                    <a:pt x="51" y="136"/>
                  </a:lnTo>
                  <a:lnTo>
                    <a:pt x="47" y="131"/>
                  </a:lnTo>
                  <a:lnTo>
                    <a:pt x="44" y="127"/>
                  </a:lnTo>
                  <a:lnTo>
                    <a:pt x="40" y="123"/>
                  </a:lnTo>
                  <a:lnTo>
                    <a:pt x="37" y="117"/>
                  </a:lnTo>
                  <a:lnTo>
                    <a:pt x="34" y="112"/>
                  </a:lnTo>
                  <a:lnTo>
                    <a:pt x="32" y="107"/>
                  </a:lnTo>
                  <a:lnTo>
                    <a:pt x="31" y="101"/>
                  </a:lnTo>
                  <a:lnTo>
                    <a:pt x="30" y="95"/>
                  </a:lnTo>
                  <a:lnTo>
                    <a:pt x="30" y="90"/>
                  </a:lnTo>
                  <a:lnTo>
                    <a:pt x="29" y="86"/>
                  </a:lnTo>
                  <a:lnTo>
                    <a:pt x="29" y="83"/>
                  </a:lnTo>
                  <a:lnTo>
                    <a:pt x="27" y="81"/>
                  </a:lnTo>
                  <a:lnTo>
                    <a:pt x="26" y="79"/>
                  </a:lnTo>
                  <a:lnTo>
                    <a:pt x="23" y="77"/>
                  </a:lnTo>
                  <a:lnTo>
                    <a:pt x="20" y="76"/>
                  </a:lnTo>
                  <a:lnTo>
                    <a:pt x="18" y="75"/>
                  </a:lnTo>
                  <a:lnTo>
                    <a:pt x="15" y="75"/>
                  </a:lnTo>
                  <a:lnTo>
                    <a:pt x="12" y="75"/>
                  </a:lnTo>
                  <a:lnTo>
                    <a:pt x="9" y="76"/>
                  </a:lnTo>
                  <a:lnTo>
                    <a:pt x="6" y="77"/>
                  </a:lnTo>
                  <a:lnTo>
                    <a:pt x="4" y="79"/>
                  </a:lnTo>
                  <a:lnTo>
                    <a:pt x="2" y="81"/>
                  </a:lnTo>
                  <a:lnTo>
                    <a:pt x="1" y="83"/>
                  </a:lnTo>
                  <a:lnTo>
                    <a:pt x="0" y="86"/>
                  </a:lnTo>
                  <a:lnTo>
                    <a:pt x="0" y="90"/>
                  </a:lnTo>
                  <a:lnTo>
                    <a:pt x="0" y="98"/>
                  </a:lnTo>
                  <a:lnTo>
                    <a:pt x="2" y="107"/>
                  </a:lnTo>
                  <a:lnTo>
                    <a:pt x="4" y="115"/>
                  </a:lnTo>
                  <a:lnTo>
                    <a:pt x="6" y="124"/>
                  </a:lnTo>
                  <a:lnTo>
                    <a:pt x="11" y="131"/>
                  </a:lnTo>
                  <a:lnTo>
                    <a:pt x="15" y="139"/>
                  </a:lnTo>
                  <a:lnTo>
                    <a:pt x="20" y="146"/>
                  </a:lnTo>
                  <a:lnTo>
                    <a:pt x="26" y="153"/>
                  </a:lnTo>
                  <a:lnTo>
                    <a:pt x="32" y="158"/>
                  </a:lnTo>
                  <a:lnTo>
                    <a:pt x="40" y="163"/>
                  </a:lnTo>
                  <a:lnTo>
                    <a:pt x="47" y="168"/>
                  </a:lnTo>
                  <a:lnTo>
                    <a:pt x="55" y="172"/>
                  </a:lnTo>
                  <a:lnTo>
                    <a:pt x="63" y="175"/>
                  </a:lnTo>
                  <a:lnTo>
                    <a:pt x="72" y="177"/>
                  </a:lnTo>
                  <a:lnTo>
                    <a:pt x="80" y="178"/>
                  </a:lnTo>
                  <a:lnTo>
                    <a:pt x="90" y="178"/>
                  </a:lnTo>
                  <a:lnTo>
                    <a:pt x="98" y="178"/>
                  </a:lnTo>
                  <a:lnTo>
                    <a:pt x="108" y="177"/>
                  </a:lnTo>
                  <a:lnTo>
                    <a:pt x="117" y="175"/>
                  </a:lnTo>
                  <a:lnTo>
                    <a:pt x="124" y="172"/>
                  </a:lnTo>
                  <a:lnTo>
                    <a:pt x="133" y="168"/>
                  </a:lnTo>
                  <a:lnTo>
                    <a:pt x="139" y="163"/>
                  </a:lnTo>
                  <a:lnTo>
                    <a:pt x="147" y="158"/>
                  </a:lnTo>
                  <a:lnTo>
                    <a:pt x="153" y="153"/>
                  </a:lnTo>
                  <a:lnTo>
                    <a:pt x="158" y="146"/>
                  </a:lnTo>
                  <a:lnTo>
                    <a:pt x="164" y="139"/>
                  </a:lnTo>
                  <a:lnTo>
                    <a:pt x="168" y="131"/>
                  </a:lnTo>
                  <a:lnTo>
                    <a:pt x="172" y="124"/>
                  </a:lnTo>
                  <a:lnTo>
                    <a:pt x="175" y="115"/>
                  </a:lnTo>
                  <a:lnTo>
                    <a:pt x="178" y="107"/>
                  </a:lnTo>
                  <a:lnTo>
                    <a:pt x="179" y="98"/>
                  </a:lnTo>
                  <a:lnTo>
                    <a:pt x="179" y="90"/>
                  </a:lnTo>
                  <a:lnTo>
                    <a:pt x="179" y="80"/>
                  </a:lnTo>
                  <a:lnTo>
                    <a:pt x="178" y="71"/>
                  </a:lnTo>
                  <a:lnTo>
                    <a:pt x="175" y="63"/>
                  </a:lnTo>
                  <a:lnTo>
                    <a:pt x="172" y="54"/>
                  </a:lnTo>
                  <a:lnTo>
                    <a:pt x="168" y="47"/>
                  </a:lnTo>
                  <a:lnTo>
                    <a:pt x="164" y="39"/>
                  </a:lnTo>
                  <a:lnTo>
                    <a:pt x="158" y="32"/>
                  </a:lnTo>
                  <a:lnTo>
                    <a:pt x="153" y="25"/>
                  </a:lnTo>
                  <a:lnTo>
                    <a:pt x="147" y="20"/>
                  </a:lnTo>
                  <a:lnTo>
                    <a:pt x="139" y="15"/>
                  </a:lnTo>
                  <a:lnTo>
                    <a:pt x="133" y="10"/>
                  </a:lnTo>
                  <a:lnTo>
                    <a:pt x="124" y="6"/>
                  </a:lnTo>
                  <a:lnTo>
                    <a:pt x="117" y="4"/>
                  </a:lnTo>
                  <a:lnTo>
                    <a:pt x="108" y="1"/>
                  </a:lnTo>
                  <a:lnTo>
                    <a:pt x="98" y="0"/>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281" name="Freeform 182">
            <a:extLst>
              <a:ext uri="{FF2B5EF4-FFF2-40B4-BE49-F238E27FC236}">
                <a16:creationId xmlns:a16="http://schemas.microsoft.com/office/drawing/2014/main" id="{2A132F19-FCEB-4DB7-9C03-BD5D3F7C2778}"/>
              </a:ext>
            </a:extLst>
          </p:cNvPr>
          <p:cNvSpPr>
            <a:spLocks noChangeAspect="1" noEditPoints="1"/>
          </p:cNvSpPr>
          <p:nvPr>
            <p:custDataLst>
              <p:tags r:id="rId4"/>
            </p:custDataLst>
          </p:nvPr>
        </p:nvSpPr>
        <p:spPr bwMode="auto">
          <a:xfrm>
            <a:off x="4501623" y="1647825"/>
            <a:ext cx="182733" cy="306484"/>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282" name="Group 34">
            <a:extLst>
              <a:ext uri="{FF2B5EF4-FFF2-40B4-BE49-F238E27FC236}">
                <a16:creationId xmlns:a16="http://schemas.microsoft.com/office/drawing/2014/main" id="{86BEFFF3-11E1-4041-9214-D7AB1F094518}"/>
              </a:ext>
            </a:extLst>
          </p:cNvPr>
          <p:cNvGrpSpPr>
            <a:grpSpLocks noChangeAspect="1"/>
          </p:cNvGrpSpPr>
          <p:nvPr>
            <p:custDataLst>
              <p:tags r:id="rId5"/>
            </p:custDataLst>
          </p:nvPr>
        </p:nvGrpSpPr>
        <p:grpSpPr>
          <a:xfrm>
            <a:off x="4035452" y="1647825"/>
            <a:ext cx="303620" cy="306484"/>
            <a:chOff x="10677525" y="1674813"/>
            <a:chExt cx="336550" cy="339725"/>
          </a:xfrm>
          <a:solidFill>
            <a:schemeClr val="bg1"/>
          </a:solidFill>
          <a:effectLst/>
        </p:grpSpPr>
        <p:sp>
          <p:nvSpPr>
            <p:cNvPr id="299" name="Freeform 265">
              <a:extLst>
                <a:ext uri="{FF2B5EF4-FFF2-40B4-BE49-F238E27FC236}">
                  <a16:creationId xmlns:a16="http://schemas.microsoft.com/office/drawing/2014/main" id="{98DA9633-EE9C-4FE1-B721-B8F96B518175}"/>
                </a:ext>
              </a:extLst>
            </p:cNvPr>
            <p:cNvSpPr>
              <a:spLocks noEditPoints="1"/>
            </p:cNvSpPr>
            <p:nvPr/>
          </p:nvSpPr>
          <p:spPr bwMode="auto">
            <a:xfrm>
              <a:off x="10790238" y="1785938"/>
              <a:ext cx="112713" cy="112713"/>
            </a:xfrm>
            <a:custGeom>
              <a:avLst/>
              <a:gdLst>
                <a:gd name="T0" fmla="*/ 120 w 282"/>
                <a:gd name="T1" fmla="*/ 245 h 283"/>
                <a:gd name="T2" fmla="*/ 91 w 282"/>
                <a:gd name="T3" fmla="*/ 234 h 283"/>
                <a:gd name="T4" fmla="*/ 66 w 282"/>
                <a:gd name="T5" fmla="*/ 216 h 283"/>
                <a:gd name="T6" fmla="*/ 47 w 282"/>
                <a:gd name="T7" fmla="*/ 192 h 283"/>
                <a:gd name="T8" fmla="*/ 37 w 282"/>
                <a:gd name="T9" fmla="*/ 163 h 283"/>
                <a:gd name="T10" fmla="*/ 36 w 282"/>
                <a:gd name="T11" fmla="*/ 130 h 283"/>
                <a:gd name="T12" fmla="*/ 43 w 282"/>
                <a:gd name="T13" fmla="*/ 100 h 283"/>
                <a:gd name="T14" fmla="*/ 59 w 282"/>
                <a:gd name="T15" fmla="*/ 74 h 283"/>
                <a:gd name="T16" fmla="*/ 82 w 282"/>
                <a:gd name="T17" fmla="*/ 54 h 283"/>
                <a:gd name="T18" fmla="*/ 109 w 282"/>
                <a:gd name="T19" fmla="*/ 41 h 283"/>
                <a:gd name="T20" fmla="*/ 140 w 282"/>
                <a:gd name="T21" fmla="*/ 35 h 283"/>
                <a:gd name="T22" fmla="*/ 172 w 282"/>
                <a:gd name="T23" fmla="*/ 41 h 283"/>
                <a:gd name="T24" fmla="*/ 200 w 282"/>
                <a:gd name="T25" fmla="*/ 54 h 283"/>
                <a:gd name="T26" fmla="*/ 222 w 282"/>
                <a:gd name="T27" fmla="*/ 74 h 283"/>
                <a:gd name="T28" fmla="*/ 239 w 282"/>
                <a:gd name="T29" fmla="*/ 100 h 283"/>
                <a:gd name="T30" fmla="*/ 246 w 282"/>
                <a:gd name="T31" fmla="*/ 130 h 283"/>
                <a:gd name="T32" fmla="*/ 244 w 282"/>
                <a:gd name="T33" fmla="*/ 163 h 283"/>
                <a:gd name="T34" fmla="*/ 233 w 282"/>
                <a:gd name="T35" fmla="*/ 192 h 283"/>
                <a:gd name="T36" fmla="*/ 215 w 282"/>
                <a:gd name="T37" fmla="*/ 216 h 283"/>
                <a:gd name="T38" fmla="*/ 191 w 282"/>
                <a:gd name="T39" fmla="*/ 234 h 283"/>
                <a:gd name="T40" fmla="*/ 162 w 282"/>
                <a:gd name="T41" fmla="*/ 245 h 283"/>
                <a:gd name="T42" fmla="*/ 140 w 282"/>
                <a:gd name="T43" fmla="*/ 0 h 283"/>
                <a:gd name="T44" fmla="*/ 98 w 282"/>
                <a:gd name="T45" fmla="*/ 6 h 283"/>
                <a:gd name="T46" fmla="*/ 61 w 282"/>
                <a:gd name="T47" fmla="*/ 24 h 283"/>
                <a:gd name="T48" fmla="*/ 31 w 282"/>
                <a:gd name="T49" fmla="*/ 51 h 283"/>
                <a:gd name="T50" fmla="*/ 11 w 282"/>
                <a:gd name="T51" fmla="*/ 86 h 283"/>
                <a:gd name="T52" fmla="*/ 0 w 282"/>
                <a:gd name="T53" fmla="*/ 127 h 283"/>
                <a:gd name="T54" fmla="*/ 2 w 282"/>
                <a:gd name="T55" fmla="*/ 169 h 283"/>
                <a:gd name="T56" fmla="*/ 16 w 282"/>
                <a:gd name="T57" fmla="*/ 208 h 283"/>
                <a:gd name="T58" fmla="*/ 41 w 282"/>
                <a:gd name="T59" fmla="*/ 240 h 283"/>
                <a:gd name="T60" fmla="*/ 73 w 282"/>
                <a:gd name="T61" fmla="*/ 265 h 283"/>
                <a:gd name="T62" fmla="*/ 112 w 282"/>
                <a:gd name="T63" fmla="*/ 279 h 283"/>
                <a:gd name="T64" fmla="*/ 155 w 282"/>
                <a:gd name="T65" fmla="*/ 282 h 283"/>
                <a:gd name="T66" fmla="*/ 195 w 282"/>
                <a:gd name="T67" fmla="*/ 271 h 283"/>
                <a:gd name="T68" fmla="*/ 230 w 282"/>
                <a:gd name="T69" fmla="*/ 250 h 283"/>
                <a:gd name="T70" fmla="*/ 258 w 282"/>
                <a:gd name="T71" fmla="*/ 220 h 283"/>
                <a:gd name="T72" fmla="*/ 275 w 282"/>
                <a:gd name="T73" fmla="*/ 183 h 283"/>
                <a:gd name="T74" fmla="*/ 282 w 282"/>
                <a:gd name="T75" fmla="*/ 141 h 283"/>
                <a:gd name="T76" fmla="*/ 275 w 282"/>
                <a:gd name="T77" fmla="*/ 99 h 283"/>
                <a:gd name="T78" fmla="*/ 258 w 282"/>
                <a:gd name="T79" fmla="*/ 62 h 283"/>
                <a:gd name="T80" fmla="*/ 230 w 282"/>
                <a:gd name="T81" fmla="*/ 32 h 283"/>
                <a:gd name="T82" fmla="*/ 195 w 282"/>
                <a:gd name="T83" fmla="*/ 12 h 283"/>
                <a:gd name="T84" fmla="*/ 155 w 282"/>
                <a:gd name="T85" fmla="*/ 1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2" h="283">
                  <a:moveTo>
                    <a:pt x="140" y="247"/>
                  </a:moveTo>
                  <a:lnTo>
                    <a:pt x="130" y="247"/>
                  </a:lnTo>
                  <a:lnTo>
                    <a:pt x="120" y="245"/>
                  </a:lnTo>
                  <a:lnTo>
                    <a:pt x="109" y="243"/>
                  </a:lnTo>
                  <a:lnTo>
                    <a:pt x="99" y="238"/>
                  </a:lnTo>
                  <a:lnTo>
                    <a:pt x="91" y="234"/>
                  </a:lnTo>
                  <a:lnTo>
                    <a:pt x="82" y="229"/>
                  </a:lnTo>
                  <a:lnTo>
                    <a:pt x="73" y="223"/>
                  </a:lnTo>
                  <a:lnTo>
                    <a:pt x="66" y="216"/>
                  </a:lnTo>
                  <a:lnTo>
                    <a:pt x="59" y="208"/>
                  </a:lnTo>
                  <a:lnTo>
                    <a:pt x="53" y="201"/>
                  </a:lnTo>
                  <a:lnTo>
                    <a:pt x="47" y="192"/>
                  </a:lnTo>
                  <a:lnTo>
                    <a:pt x="43" y="182"/>
                  </a:lnTo>
                  <a:lnTo>
                    <a:pt x="40" y="172"/>
                  </a:lnTo>
                  <a:lnTo>
                    <a:pt x="37" y="163"/>
                  </a:lnTo>
                  <a:lnTo>
                    <a:pt x="36" y="152"/>
                  </a:lnTo>
                  <a:lnTo>
                    <a:pt x="34" y="141"/>
                  </a:lnTo>
                  <a:lnTo>
                    <a:pt x="36" y="130"/>
                  </a:lnTo>
                  <a:lnTo>
                    <a:pt x="37" y="120"/>
                  </a:lnTo>
                  <a:lnTo>
                    <a:pt x="40" y="110"/>
                  </a:lnTo>
                  <a:lnTo>
                    <a:pt x="43" y="100"/>
                  </a:lnTo>
                  <a:lnTo>
                    <a:pt x="47" y="90"/>
                  </a:lnTo>
                  <a:lnTo>
                    <a:pt x="53" y="82"/>
                  </a:lnTo>
                  <a:lnTo>
                    <a:pt x="59" y="74"/>
                  </a:lnTo>
                  <a:lnTo>
                    <a:pt x="66" y="67"/>
                  </a:lnTo>
                  <a:lnTo>
                    <a:pt x="73" y="60"/>
                  </a:lnTo>
                  <a:lnTo>
                    <a:pt x="82" y="54"/>
                  </a:lnTo>
                  <a:lnTo>
                    <a:pt x="91" y="48"/>
                  </a:lnTo>
                  <a:lnTo>
                    <a:pt x="99" y="44"/>
                  </a:lnTo>
                  <a:lnTo>
                    <a:pt x="109" y="41"/>
                  </a:lnTo>
                  <a:lnTo>
                    <a:pt x="120" y="37"/>
                  </a:lnTo>
                  <a:lnTo>
                    <a:pt x="130" y="36"/>
                  </a:lnTo>
                  <a:lnTo>
                    <a:pt x="140" y="35"/>
                  </a:lnTo>
                  <a:lnTo>
                    <a:pt x="151" y="36"/>
                  </a:lnTo>
                  <a:lnTo>
                    <a:pt x="162" y="37"/>
                  </a:lnTo>
                  <a:lnTo>
                    <a:pt x="172" y="41"/>
                  </a:lnTo>
                  <a:lnTo>
                    <a:pt x="181" y="44"/>
                  </a:lnTo>
                  <a:lnTo>
                    <a:pt x="191" y="48"/>
                  </a:lnTo>
                  <a:lnTo>
                    <a:pt x="200" y="54"/>
                  </a:lnTo>
                  <a:lnTo>
                    <a:pt x="208" y="60"/>
                  </a:lnTo>
                  <a:lnTo>
                    <a:pt x="215" y="67"/>
                  </a:lnTo>
                  <a:lnTo>
                    <a:pt x="222" y="74"/>
                  </a:lnTo>
                  <a:lnTo>
                    <a:pt x="228" y="82"/>
                  </a:lnTo>
                  <a:lnTo>
                    <a:pt x="233" y="90"/>
                  </a:lnTo>
                  <a:lnTo>
                    <a:pt x="239" y="100"/>
                  </a:lnTo>
                  <a:lnTo>
                    <a:pt x="242" y="110"/>
                  </a:lnTo>
                  <a:lnTo>
                    <a:pt x="244" y="120"/>
                  </a:lnTo>
                  <a:lnTo>
                    <a:pt x="246" y="130"/>
                  </a:lnTo>
                  <a:lnTo>
                    <a:pt x="246" y="141"/>
                  </a:lnTo>
                  <a:lnTo>
                    <a:pt x="246" y="152"/>
                  </a:lnTo>
                  <a:lnTo>
                    <a:pt x="244" y="163"/>
                  </a:lnTo>
                  <a:lnTo>
                    <a:pt x="242" y="172"/>
                  </a:lnTo>
                  <a:lnTo>
                    <a:pt x="239" y="182"/>
                  </a:lnTo>
                  <a:lnTo>
                    <a:pt x="233" y="192"/>
                  </a:lnTo>
                  <a:lnTo>
                    <a:pt x="228" y="201"/>
                  </a:lnTo>
                  <a:lnTo>
                    <a:pt x="222" y="208"/>
                  </a:lnTo>
                  <a:lnTo>
                    <a:pt x="215" y="216"/>
                  </a:lnTo>
                  <a:lnTo>
                    <a:pt x="208" y="223"/>
                  </a:lnTo>
                  <a:lnTo>
                    <a:pt x="200" y="229"/>
                  </a:lnTo>
                  <a:lnTo>
                    <a:pt x="191" y="234"/>
                  </a:lnTo>
                  <a:lnTo>
                    <a:pt x="181" y="238"/>
                  </a:lnTo>
                  <a:lnTo>
                    <a:pt x="172" y="243"/>
                  </a:lnTo>
                  <a:lnTo>
                    <a:pt x="162" y="245"/>
                  </a:lnTo>
                  <a:lnTo>
                    <a:pt x="151" y="247"/>
                  </a:lnTo>
                  <a:lnTo>
                    <a:pt x="140" y="247"/>
                  </a:lnTo>
                  <a:close/>
                  <a:moveTo>
                    <a:pt x="140" y="0"/>
                  </a:moveTo>
                  <a:lnTo>
                    <a:pt x="126" y="1"/>
                  </a:lnTo>
                  <a:lnTo>
                    <a:pt x="112" y="3"/>
                  </a:lnTo>
                  <a:lnTo>
                    <a:pt x="98" y="6"/>
                  </a:lnTo>
                  <a:lnTo>
                    <a:pt x="85" y="12"/>
                  </a:lnTo>
                  <a:lnTo>
                    <a:pt x="73" y="17"/>
                  </a:lnTo>
                  <a:lnTo>
                    <a:pt x="61" y="24"/>
                  </a:lnTo>
                  <a:lnTo>
                    <a:pt x="51" y="32"/>
                  </a:lnTo>
                  <a:lnTo>
                    <a:pt x="41" y="42"/>
                  </a:lnTo>
                  <a:lnTo>
                    <a:pt x="31" y="51"/>
                  </a:lnTo>
                  <a:lnTo>
                    <a:pt x="24" y="62"/>
                  </a:lnTo>
                  <a:lnTo>
                    <a:pt x="16" y="74"/>
                  </a:lnTo>
                  <a:lnTo>
                    <a:pt x="11" y="86"/>
                  </a:lnTo>
                  <a:lnTo>
                    <a:pt x="6" y="99"/>
                  </a:lnTo>
                  <a:lnTo>
                    <a:pt x="2" y="113"/>
                  </a:lnTo>
                  <a:lnTo>
                    <a:pt x="0" y="127"/>
                  </a:lnTo>
                  <a:lnTo>
                    <a:pt x="0" y="141"/>
                  </a:lnTo>
                  <a:lnTo>
                    <a:pt x="0" y="155"/>
                  </a:lnTo>
                  <a:lnTo>
                    <a:pt x="2" y="169"/>
                  </a:lnTo>
                  <a:lnTo>
                    <a:pt x="6" y="183"/>
                  </a:lnTo>
                  <a:lnTo>
                    <a:pt x="11" y="196"/>
                  </a:lnTo>
                  <a:lnTo>
                    <a:pt x="16" y="208"/>
                  </a:lnTo>
                  <a:lnTo>
                    <a:pt x="24" y="220"/>
                  </a:lnTo>
                  <a:lnTo>
                    <a:pt x="31" y="231"/>
                  </a:lnTo>
                  <a:lnTo>
                    <a:pt x="41" y="240"/>
                  </a:lnTo>
                  <a:lnTo>
                    <a:pt x="51" y="250"/>
                  </a:lnTo>
                  <a:lnTo>
                    <a:pt x="61" y="258"/>
                  </a:lnTo>
                  <a:lnTo>
                    <a:pt x="73" y="265"/>
                  </a:lnTo>
                  <a:lnTo>
                    <a:pt x="85" y="271"/>
                  </a:lnTo>
                  <a:lnTo>
                    <a:pt x="98" y="276"/>
                  </a:lnTo>
                  <a:lnTo>
                    <a:pt x="112" y="279"/>
                  </a:lnTo>
                  <a:lnTo>
                    <a:pt x="126" y="282"/>
                  </a:lnTo>
                  <a:lnTo>
                    <a:pt x="140" y="283"/>
                  </a:lnTo>
                  <a:lnTo>
                    <a:pt x="155" y="282"/>
                  </a:lnTo>
                  <a:lnTo>
                    <a:pt x="169" y="279"/>
                  </a:lnTo>
                  <a:lnTo>
                    <a:pt x="182" y="276"/>
                  </a:lnTo>
                  <a:lnTo>
                    <a:pt x="195" y="271"/>
                  </a:lnTo>
                  <a:lnTo>
                    <a:pt x="208" y="265"/>
                  </a:lnTo>
                  <a:lnTo>
                    <a:pt x="219" y="258"/>
                  </a:lnTo>
                  <a:lnTo>
                    <a:pt x="230" y="250"/>
                  </a:lnTo>
                  <a:lnTo>
                    <a:pt x="241" y="240"/>
                  </a:lnTo>
                  <a:lnTo>
                    <a:pt x="249" y="231"/>
                  </a:lnTo>
                  <a:lnTo>
                    <a:pt x="258" y="220"/>
                  </a:lnTo>
                  <a:lnTo>
                    <a:pt x="265" y="208"/>
                  </a:lnTo>
                  <a:lnTo>
                    <a:pt x="271" y="196"/>
                  </a:lnTo>
                  <a:lnTo>
                    <a:pt x="275" y="183"/>
                  </a:lnTo>
                  <a:lnTo>
                    <a:pt x="279" y="169"/>
                  </a:lnTo>
                  <a:lnTo>
                    <a:pt x="281" y="155"/>
                  </a:lnTo>
                  <a:lnTo>
                    <a:pt x="282" y="141"/>
                  </a:lnTo>
                  <a:lnTo>
                    <a:pt x="281" y="127"/>
                  </a:lnTo>
                  <a:lnTo>
                    <a:pt x="279" y="113"/>
                  </a:lnTo>
                  <a:lnTo>
                    <a:pt x="275" y="99"/>
                  </a:lnTo>
                  <a:lnTo>
                    <a:pt x="271" y="86"/>
                  </a:lnTo>
                  <a:lnTo>
                    <a:pt x="265" y="74"/>
                  </a:lnTo>
                  <a:lnTo>
                    <a:pt x="258" y="62"/>
                  </a:lnTo>
                  <a:lnTo>
                    <a:pt x="249" y="51"/>
                  </a:lnTo>
                  <a:lnTo>
                    <a:pt x="241" y="42"/>
                  </a:lnTo>
                  <a:lnTo>
                    <a:pt x="230" y="32"/>
                  </a:lnTo>
                  <a:lnTo>
                    <a:pt x="219" y="24"/>
                  </a:lnTo>
                  <a:lnTo>
                    <a:pt x="208" y="17"/>
                  </a:lnTo>
                  <a:lnTo>
                    <a:pt x="195" y="12"/>
                  </a:lnTo>
                  <a:lnTo>
                    <a:pt x="182" y="6"/>
                  </a:lnTo>
                  <a:lnTo>
                    <a:pt x="169" y="3"/>
                  </a:lnTo>
                  <a:lnTo>
                    <a:pt x="155" y="1"/>
                  </a:lnTo>
                  <a:lnTo>
                    <a:pt x="14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300" name="Freeform 266">
              <a:extLst>
                <a:ext uri="{FF2B5EF4-FFF2-40B4-BE49-F238E27FC236}">
                  <a16:creationId xmlns:a16="http://schemas.microsoft.com/office/drawing/2014/main" id="{E05E8BC0-647A-4AF6-94D8-CD59500B0358}"/>
                </a:ext>
              </a:extLst>
            </p:cNvPr>
            <p:cNvSpPr>
              <a:spLocks noEditPoints="1"/>
            </p:cNvSpPr>
            <p:nvPr/>
          </p:nvSpPr>
          <p:spPr bwMode="auto">
            <a:xfrm>
              <a:off x="10734675" y="1730375"/>
              <a:ext cx="223838" cy="223838"/>
            </a:xfrm>
            <a:custGeom>
              <a:avLst/>
              <a:gdLst>
                <a:gd name="T0" fmla="*/ 233 w 564"/>
                <a:gd name="T1" fmla="*/ 524 h 564"/>
                <a:gd name="T2" fmla="*/ 175 w 564"/>
                <a:gd name="T3" fmla="*/ 505 h 564"/>
                <a:gd name="T4" fmla="*/ 126 w 564"/>
                <a:gd name="T5" fmla="*/ 472 h 564"/>
                <a:gd name="T6" fmla="*/ 85 w 564"/>
                <a:gd name="T7" fmla="*/ 430 h 564"/>
                <a:gd name="T8" fmla="*/ 56 w 564"/>
                <a:gd name="T9" fmla="*/ 378 h 564"/>
                <a:gd name="T10" fmla="*/ 38 w 564"/>
                <a:gd name="T11" fmla="*/ 320 h 564"/>
                <a:gd name="T12" fmla="*/ 37 w 564"/>
                <a:gd name="T13" fmla="*/ 257 h 564"/>
                <a:gd name="T14" fmla="*/ 51 w 564"/>
                <a:gd name="T15" fmla="*/ 198 h 564"/>
                <a:gd name="T16" fmla="*/ 78 w 564"/>
                <a:gd name="T17" fmla="*/ 144 h 564"/>
                <a:gd name="T18" fmla="*/ 117 w 564"/>
                <a:gd name="T19" fmla="*/ 100 h 564"/>
                <a:gd name="T20" fmla="*/ 165 w 564"/>
                <a:gd name="T21" fmla="*/ 65 h 564"/>
                <a:gd name="T22" fmla="*/ 221 w 564"/>
                <a:gd name="T23" fmla="*/ 43 h 564"/>
                <a:gd name="T24" fmla="*/ 282 w 564"/>
                <a:gd name="T25" fmla="*/ 36 h 564"/>
                <a:gd name="T26" fmla="*/ 344 w 564"/>
                <a:gd name="T27" fmla="*/ 43 h 564"/>
                <a:gd name="T28" fmla="*/ 400 w 564"/>
                <a:gd name="T29" fmla="*/ 65 h 564"/>
                <a:gd name="T30" fmla="*/ 449 w 564"/>
                <a:gd name="T31" fmla="*/ 100 h 564"/>
                <a:gd name="T32" fmla="*/ 488 w 564"/>
                <a:gd name="T33" fmla="*/ 144 h 564"/>
                <a:gd name="T34" fmla="*/ 515 w 564"/>
                <a:gd name="T35" fmla="*/ 198 h 564"/>
                <a:gd name="T36" fmla="*/ 529 w 564"/>
                <a:gd name="T37" fmla="*/ 257 h 564"/>
                <a:gd name="T38" fmla="*/ 526 w 564"/>
                <a:gd name="T39" fmla="*/ 320 h 564"/>
                <a:gd name="T40" fmla="*/ 510 w 564"/>
                <a:gd name="T41" fmla="*/ 378 h 564"/>
                <a:gd name="T42" fmla="*/ 480 w 564"/>
                <a:gd name="T43" fmla="*/ 430 h 564"/>
                <a:gd name="T44" fmla="*/ 440 w 564"/>
                <a:gd name="T45" fmla="*/ 472 h 564"/>
                <a:gd name="T46" fmla="*/ 389 w 564"/>
                <a:gd name="T47" fmla="*/ 505 h 564"/>
                <a:gd name="T48" fmla="*/ 332 w 564"/>
                <a:gd name="T49" fmla="*/ 524 h 564"/>
                <a:gd name="T50" fmla="*/ 282 w 564"/>
                <a:gd name="T51" fmla="*/ 0 h 564"/>
                <a:gd name="T52" fmla="*/ 212 w 564"/>
                <a:gd name="T53" fmla="*/ 9 h 564"/>
                <a:gd name="T54" fmla="*/ 148 w 564"/>
                <a:gd name="T55" fmla="*/ 34 h 564"/>
                <a:gd name="T56" fmla="*/ 93 w 564"/>
                <a:gd name="T57" fmla="*/ 74 h 564"/>
                <a:gd name="T58" fmla="*/ 49 w 564"/>
                <a:gd name="T59" fmla="*/ 124 h 564"/>
                <a:gd name="T60" fmla="*/ 18 w 564"/>
                <a:gd name="T61" fmla="*/ 185 h 564"/>
                <a:gd name="T62" fmla="*/ 2 w 564"/>
                <a:gd name="T63" fmla="*/ 253 h 564"/>
                <a:gd name="T64" fmla="*/ 4 w 564"/>
                <a:gd name="T65" fmla="*/ 325 h 564"/>
                <a:gd name="T66" fmla="*/ 23 w 564"/>
                <a:gd name="T67" fmla="*/ 392 h 564"/>
                <a:gd name="T68" fmla="*/ 57 w 564"/>
                <a:gd name="T69" fmla="*/ 451 h 564"/>
                <a:gd name="T70" fmla="*/ 103 w 564"/>
                <a:gd name="T71" fmla="*/ 500 h 564"/>
                <a:gd name="T72" fmla="*/ 160 w 564"/>
                <a:gd name="T73" fmla="*/ 537 h 564"/>
                <a:gd name="T74" fmla="*/ 226 w 564"/>
                <a:gd name="T75" fmla="*/ 559 h 564"/>
                <a:gd name="T76" fmla="*/ 297 w 564"/>
                <a:gd name="T77" fmla="*/ 564 h 564"/>
                <a:gd name="T78" fmla="*/ 367 w 564"/>
                <a:gd name="T79" fmla="*/ 552 h 564"/>
                <a:gd name="T80" fmla="*/ 429 w 564"/>
                <a:gd name="T81" fmla="*/ 524 h 564"/>
                <a:gd name="T82" fmla="*/ 482 w 564"/>
                <a:gd name="T83" fmla="*/ 482 h 564"/>
                <a:gd name="T84" fmla="*/ 524 w 564"/>
                <a:gd name="T85" fmla="*/ 429 h 564"/>
                <a:gd name="T86" fmla="*/ 552 w 564"/>
                <a:gd name="T87" fmla="*/ 366 h 564"/>
                <a:gd name="T88" fmla="*/ 564 w 564"/>
                <a:gd name="T89" fmla="*/ 297 h 564"/>
                <a:gd name="T90" fmla="*/ 559 w 564"/>
                <a:gd name="T91" fmla="*/ 225 h 564"/>
                <a:gd name="T92" fmla="*/ 537 w 564"/>
                <a:gd name="T93" fmla="*/ 160 h 564"/>
                <a:gd name="T94" fmla="*/ 500 w 564"/>
                <a:gd name="T95" fmla="*/ 103 h 564"/>
                <a:gd name="T96" fmla="*/ 452 w 564"/>
                <a:gd name="T97" fmla="*/ 56 h 564"/>
                <a:gd name="T98" fmla="*/ 392 w 564"/>
                <a:gd name="T99" fmla="*/ 22 h 564"/>
                <a:gd name="T100" fmla="*/ 326 w 564"/>
                <a:gd name="T101" fmla="*/ 3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4" h="564">
                  <a:moveTo>
                    <a:pt x="282" y="529"/>
                  </a:moveTo>
                  <a:lnTo>
                    <a:pt x="270" y="528"/>
                  </a:lnTo>
                  <a:lnTo>
                    <a:pt x="257" y="528"/>
                  </a:lnTo>
                  <a:lnTo>
                    <a:pt x="245" y="526"/>
                  </a:lnTo>
                  <a:lnTo>
                    <a:pt x="233" y="524"/>
                  </a:lnTo>
                  <a:lnTo>
                    <a:pt x="221" y="521"/>
                  </a:lnTo>
                  <a:lnTo>
                    <a:pt x="209" y="518"/>
                  </a:lnTo>
                  <a:lnTo>
                    <a:pt x="198" y="514"/>
                  </a:lnTo>
                  <a:lnTo>
                    <a:pt x="186" y="510"/>
                  </a:lnTo>
                  <a:lnTo>
                    <a:pt x="175" y="505"/>
                  </a:lnTo>
                  <a:lnTo>
                    <a:pt x="165" y="499"/>
                  </a:lnTo>
                  <a:lnTo>
                    <a:pt x="155" y="494"/>
                  </a:lnTo>
                  <a:lnTo>
                    <a:pt x="145" y="487"/>
                  </a:lnTo>
                  <a:lnTo>
                    <a:pt x="135" y="480"/>
                  </a:lnTo>
                  <a:lnTo>
                    <a:pt x="126" y="472"/>
                  </a:lnTo>
                  <a:lnTo>
                    <a:pt x="117" y="465"/>
                  </a:lnTo>
                  <a:lnTo>
                    <a:pt x="108" y="457"/>
                  </a:lnTo>
                  <a:lnTo>
                    <a:pt x="100" y="448"/>
                  </a:lnTo>
                  <a:lnTo>
                    <a:pt x="92" y="439"/>
                  </a:lnTo>
                  <a:lnTo>
                    <a:pt x="85" y="430"/>
                  </a:lnTo>
                  <a:lnTo>
                    <a:pt x="78" y="420"/>
                  </a:lnTo>
                  <a:lnTo>
                    <a:pt x="72" y="411"/>
                  </a:lnTo>
                  <a:lnTo>
                    <a:pt x="65" y="400"/>
                  </a:lnTo>
                  <a:lnTo>
                    <a:pt x="60" y="389"/>
                  </a:lnTo>
                  <a:lnTo>
                    <a:pt x="56" y="378"/>
                  </a:lnTo>
                  <a:lnTo>
                    <a:pt x="51" y="367"/>
                  </a:lnTo>
                  <a:lnTo>
                    <a:pt x="47" y="356"/>
                  </a:lnTo>
                  <a:lnTo>
                    <a:pt x="44" y="344"/>
                  </a:lnTo>
                  <a:lnTo>
                    <a:pt x="40" y="332"/>
                  </a:lnTo>
                  <a:lnTo>
                    <a:pt x="38" y="320"/>
                  </a:lnTo>
                  <a:lnTo>
                    <a:pt x="37" y="307"/>
                  </a:lnTo>
                  <a:lnTo>
                    <a:pt x="36" y="295"/>
                  </a:lnTo>
                  <a:lnTo>
                    <a:pt x="36" y="282"/>
                  </a:lnTo>
                  <a:lnTo>
                    <a:pt x="36" y="269"/>
                  </a:lnTo>
                  <a:lnTo>
                    <a:pt x="37" y="257"/>
                  </a:lnTo>
                  <a:lnTo>
                    <a:pt x="38" y="244"/>
                  </a:lnTo>
                  <a:lnTo>
                    <a:pt x="40" y="232"/>
                  </a:lnTo>
                  <a:lnTo>
                    <a:pt x="44" y="221"/>
                  </a:lnTo>
                  <a:lnTo>
                    <a:pt x="47" y="209"/>
                  </a:lnTo>
                  <a:lnTo>
                    <a:pt x="51" y="198"/>
                  </a:lnTo>
                  <a:lnTo>
                    <a:pt x="56" y="186"/>
                  </a:lnTo>
                  <a:lnTo>
                    <a:pt x="60" y="175"/>
                  </a:lnTo>
                  <a:lnTo>
                    <a:pt x="65" y="164"/>
                  </a:lnTo>
                  <a:lnTo>
                    <a:pt x="72" y="155"/>
                  </a:lnTo>
                  <a:lnTo>
                    <a:pt x="78" y="144"/>
                  </a:lnTo>
                  <a:lnTo>
                    <a:pt x="85" y="134"/>
                  </a:lnTo>
                  <a:lnTo>
                    <a:pt x="92" y="126"/>
                  </a:lnTo>
                  <a:lnTo>
                    <a:pt x="100" y="116"/>
                  </a:lnTo>
                  <a:lnTo>
                    <a:pt x="108" y="108"/>
                  </a:lnTo>
                  <a:lnTo>
                    <a:pt x="117" y="100"/>
                  </a:lnTo>
                  <a:lnTo>
                    <a:pt x="126" y="92"/>
                  </a:lnTo>
                  <a:lnTo>
                    <a:pt x="135" y="84"/>
                  </a:lnTo>
                  <a:lnTo>
                    <a:pt x="145" y="78"/>
                  </a:lnTo>
                  <a:lnTo>
                    <a:pt x="155" y="72"/>
                  </a:lnTo>
                  <a:lnTo>
                    <a:pt x="165" y="65"/>
                  </a:lnTo>
                  <a:lnTo>
                    <a:pt x="175" y="60"/>
                  </a:lnTo>
                  <a:lnTo>
                    <a:pt x="186" y="55"/>
                  </a:lnTo>
                  <a:lnTo>
                    <a:pt x="198" y="50"/>
                  </a:lnTo>
                  <a:lnTo>
                    <a:pt x="209" y="47"/>
                  </a:lnTo>
                  <a:lnTo>
                    <a:pt x="221" y="43"/>
                  </a:lnTo>
                  <a:lnTo>
                    <a:pt x="233" y="40"/>
                  </a:lnTo>
                  <a:lnTo>
                    <a:pt x="245" y="38"/>
                  </a:lnTo>
                  <a:lnTo>
                    <a:pt x="257" y="37"/>
                  </a:lnTo>
                  <a:lnTo>
                    <a:pt x="270" y="36"/>
                  </a:lnTo>
                  <a:lnTo>
                    <a:pt x="282" y="36"/>
                  </a:lnTo>
                  <a:lnTo>
                    <a:pt x="295" y="36"/>
                  </a:lnTo>
                  <a:lnTo>
                    <a:pt x="308" y="37"/>
                  </a:lnTo>
                  <a:lnTo>
                    <a:pt x="320" y="38"/>
                  </a:lnTo>
                  <a:lnTo>
                    <a:pt x="332" y="40"/>
                  </a:lnTo>
                  <a:lnTo>
                    <a:pt x="344" y="43"/>
                  </a:lnTo>
                  <a:lnTo>
                    <a:pt x="356" y="47"/>
                  </a:lnTo>
                  <a:lnTo>
                    <a:pt x="368" y="50"/>
                  </a:lnTo>
                  <a:lnTo>
                    <a:pt x="378" y="55"/>
                  </a:lnTo>
                  <a:lnTo>
                    <a:pt x="389" y="60"/>
                  </a:lnTo>
                  <a:lnTo>
                    <a:pt x="400" y="65"/>
                  </a:lnTo>
                  <a:lnTo>
                    <a:pt x="411" y="72"/>
                  </a:lnTo>
                  <a:lnTo>
                    <a:pt x="421" y="78"/>
                  </a:lnTo>
                  <a:lnTo>
                    <a:pt x="430" y="84"/>
                  </a:lnTo>
                  <a:lnTo>
                    <a:pt x="440" y="92"/>
                  </a:lnTo>
                  <a:lnTo>
                    <a:pt x="449" y="100"/>
                  </a:lnTo>
                  <a:lnTo>
                    <a:pt x="457" y="108"/>
                  </a:lnTo>
                  <a:lnTo>
                    <a:pt x="465" y="116"/>
                  </a:lnTo>
                  <a:lnTo>
                    <a:pt x="473" y="126"/>
                  </a:lnTo>
                  <a:lnTo>
                    <a:pt x="480" y="134"/>
                  </a:lnTo>
                  <a:lnTo>
                    <a:pt x="488" y="144"/>
                  </a:lnTo>
                  <a:lnTo>
                    <a:pt x="494" y="155"/>
                  </a:lnTo>
                  <a:lnTo>
                    <a:pt x="499" y="164"/>
                  </a:lnTo>
                  <a:lnTo>
                    <a:pt x="505" y="175"/>
                  </a:lnTo>
                  <a:lnTo>
                    <a:pt x="510" y="186"/>
                  </a:lnTo>
                  <a:lnTo>
                    <a:pt x="515" y="198"/>
                  </a:lnTo>
                  <a:lnTo>
                    <a:pt x="519" y="209"/>
                  </a:lnTo>
                  <a:lnTo>
                    <a:pt x="522" y="221"/>
                  </a:lnTo>
                  <a:lnTo>
                    <a:pt x="524" y="232"/>
                  </a:lnTo>
                  <a:lnTo>
                    <a:pt x="526" y="244"/>
                  </a:lnTo>
                  <a:lnTo>
                    <a:pt x="529" y="257"/>
                  </a:lnTo>
                  <a:lnTo>
                    <a:pt x="530" y="269"/>
                  </a:lnTo>
                  <a:lnTo>
                    <a:pt x="530" y="282"/>
                  </a:lnTo>
                  <a:lnTo>
                    <a:pt x="530" y="295"/>
                  </a:lnTo>
                  <a:lnTo>
                    <a:pt x="529" y="307"/>
                  </a:lnTo>
                  <a:lnTo>
                    <a:pt x="526" y="320"/>
                  </a:lnTo>
                  <a:lnTo>
                    <a:pt x="524" y="332"/>
                  </a:lnTo>
                  <a:lnTo>
                    <a:pt x="522" y="344"/>
                  </a:lnTo>
                  <a:lnTo>
                    <a:pt x="519" y="356"/>
                  </a:lnTo>
                  <a:lnTo>
                    <a:pt x="515" y="367"/>
                  </a:lnTo>
                  <a:lnTo>
                    <a:pt x="510" y="378"/>
                  </a:lnTo>
                  <a:lnTo>
                    <a:pt x="505" y="389"/>
                  </a:lnTo>
                  <a:lnTo>
                    <a:pt x="499" y="400"/>
                  </a:lnTo>
                  <a:lnTo>
                    <a:pt x="494" y="411"/>
                  </a:lnTo>
                  <a:lnTo>
                    <a:pt x="488" y="420"/>
                  </a:lnTo>
                  <a:lnTo>
                    <a:pt x="480" y="430"/>
                  </a:lnTo>
                  <a:lnTo>
                    <a:pt x="473" y="439"/>
                  </a:lnTo>
                  <a:lnTo>
                    <a:pt x="465" y="448"/>
                  </a:lnTo>
                  <a:lnTo>
                    <a:pt x="457" y="457"/>
                  </a:lnTo>
                  <a:lnTo>
                    <a:pt x="449" y="465"/>
                  </a:lnTo>
                  <a:lnTo>
                    <a:pt x="440" y="472"/>
                  </a:lnTo>
                  <a:lnTo>
                    <a:pt x="430" y="480"/>
                  </a:lnTo>
                  <a:lnTo>
                    <a:pt x="421" y="487"/>
                  </a:lnTo>
                  <a:lnTo>
                    <a:pt x="411" y="494"/>
                  </a:lnTo>
                  <a:lnTo>
                    <a:pt x="400" y="499"/>
                  </a:lnTo>
                  <a:lnTo>
                    <a:pt x="389" y="505"/>
                  </a:lnTo>
                  <a:lnTo>
                    <a:pt x="378" y="510"/>
                  </a:lnTo>
                  <a:lnTo>
                    <a:pt x="368" y="514"/>
                  </a:lnTo>
                  <a:lnTo>
                    <a:pt x="356" y="518"/>
                  </a:lnTo>
                  <a:lnTo>
                    <a:pt x="344" y="521"/>
                  </a:lnTo>
                  <a:lnTo>
                    <a:pt x="332" y="524"/>
                  </a:lnTo>
                  <a:lnTo>
                    <a:pt x="320" y="526"/>
                  </a:lnTo>
                  <a:lnTo>
                    <a:pt x="308" y="528"/>
                  </a:lnTo>
                  <a:lnTo>
                    <a:pt x="295" y="528"/>
                  </a:lnTo>
                  <a:lnTo>
                    <a:pt x="282" y="529"/>
                  </a:lnTo>
                  <a:close/>
                  <a:moveTo>
                    <a:pt x="282" y="0"/>
                  </a:moveTo>
                  <a:lnTo>
                    <a:pt x="268" y="0"/>
                  </a:lnTo>
                  <a:lnTo>
                    <a:pt x="254" y="1"/>
                  </a:lnTo>
                  <a:lnTo>
                    <a:pt x="239" y="3"/>
                  </a:lnTo>
                  <a:lnTo>
                    <a:pt x="226" y="6"/>
                  </a:lnTo>
                  <a:lnTo>
                    <a:pt x="212" y="9"/>
                  </a:lnTo>
                  <a:lnTo>
                    <a:pt x="199" y="13"/>
                  </a:lnTo>
                  <a:lnTo>
                    <a:pt x="185" y="18"/>
                  </a:lnTo>
                  <a:lnTo>
                    <a:pt x="173" y="22"/>
                  </a:lnTo>
                  <a:lnTo>
                    <a:pt x="160" y="28"/>
                  </a:lnTo>
                  <a:lnTo>
                    <a:pt x="148" y="34"/>
                  </a:lnTo>
                  <a:lnTo>
                    <a:pt x="137" y="41"/>
                  </a:lnTo>
                  <a:lnTo>
                    <a:pt x="125" y="48"/>
                  </a:lnTo>
                  <a:lnTo>
                    <a:pt x="114" y="56"/>
                  </a:lnTo>
                  <a:lnTo>
                    <a:pt x="103" y="65"/>
                  </a:lnTo>
                  <a:lnTo>
                    <a:pt x="93" y="74"/>
                  </a:lnTo>
                  <a:lnTo>
                    <a:pt x="84" y="82"/>
                  </a:lnTo>
                  <a:lnTo>
                    <a:pt x="74" y="92"/>
                  </a:lnTo>
                  <a:lnTo>
                    <a:pt x="65" y="103"/>
                  </a:lnTo>
                  <a:lnTo>
                    <a:pt x="57" y="114"/>
                  </a:lnTo>
                  <a:lnTo>
                    <a:pt x="49" y="124"/>
                  </a:lnTo>
                  <a:lnTo>
                    <a:pt x="41" y="136"/>
                  </a:lnTo>
                  <a:lnTo>
                    <a:pt x="35" y="148"/>
                  </a:lnTo>
                  <a:lnTo>
                    <a:pt x="29" y="160"/>
                  </a:lnTo>
                  <a:lnTo>
                    <a:pt x="23" y="172"/>
                  </a:lnTo>
                  <a:lnTo>
                    <a:pt x="18" y="185"/>
                  </a:lnTo>
                  <a:lnTo>
                    <a:pt x="13" y="198"/>
                  </a:lnTo>
                  <a:lnTo>
                    <a:pt x="9" y="212"/>
                  </a:lnTo>
                  <a:lnTo>
                    <a:pt x="6" y="225"/>
                  </a:lnTo>
                  <a:lnTo>
                    <a:pt x="4" y="239"/>
                  </a:lnTo>
                  <a:lnTo>
                    <a:pt x="2" y="253"/>
                  </a:lnTo>
                  <a:lnTo>
                    <a:pt x="0" y="268"/>
                  </a:lnTo>
                  <a:lnTo>
                    <a:pt x="0" y="282"/>
                  </a:lnTo>
                  <a:lnTo>
                    <a:pt x="0" y="297"/>
                  </a:lnTo>
                  <a:lnTo>
                    <a:pt x="2" y="311"/>
                  </a:lnTo>
                  <a:lnTo>
                    <a:pt x="4" y="325"/>
                  </a:lnTo>
                  <a:lnTo>
                    <a:pt x="6" y="339"/>
                  </a:lnTo>
                  <a:lnTo>
                    <a:pt x="9" y="352"/>
                  </a:lnTo>
                  <a:lnTo>
                    <a:pt x="13" y="366"/>
                  </a:lnTo>
                  <a:lnTo>
                    <a:pt x="18" y="379"/>
                  </a:lnTo>
                  <a:lnTo>
                    <a:pt x="23" y="392"/>
                  </a:lnTo>
                  <a:lnTo>
                    <a:pt x="29" y="404"/>
                  </a:lnTo>
                  <a:lnTo>
                    <a:pt x="35" y="417"/>
                  </a:lnTo>
                  <a:lnTo>
                    <a:pt x="41" y="429"/>
                  </a:lnTo>
                  <a:lnTo>
                    <a:pt x="49" y="440"/>
                  </a:lnTo>
                  <a:lnTo>
                    <a:pt x="57" y="451"/>
                  </a:lnTo>
                  <a:lnTo>
                    <a:pt x="65" y="461"/>
                  </a:lnTo>
                  <a:lnTo>
                    <a:pt x="74" y="472"/>
                  </a:lnTo>
                  <a:lnTo>
                    <a:pt x="84" y="482"/>
                  </a:lnTo>
                  <a:lnTo>
                    <a:pt x="93" y="491"/>
                  </a:lnTo>
                  <a:lnTo>
                    <a:pt x="103" y="500"/>
                  </a:lnTo>
                  <a:lnTo>
                    <a:pt x="114" y="508"/>
                  </a:lnTo>
                  <a:lnTo>
                    <a:pt x="125" y="516"/>
                  </a:lnTo>
                  <a:lnTo>
                    <a:pt x="137" y="524"/>
                  </a:lnTo>
                  <a:lnTo>
                    <a:pt x="148" y="531"/>
                  </a:lnTo>
                  <a:lnTo>
                    <a:pt x="160" y="537"/>
                  </a:lnTo>
                  <a:lnTo>
                    <a:pt x="173" y="542"/>
                  </a:lnTo>
                  <a:lnTo>
                    <a:pt x="185" y="547"/>
                  </a:lnTo>
                  <a:lnTo>
                    <a:pt x="199" y="552"/>
                  </a:lnTo>
                  <a:lnTo>
                    <a:pt x="212" y="555"/>
                  </a:lnTo>
                  <a:lnTo>
                    <a:pt x="226" y="559"/>
                  </a:lnTo>
                  <a:lnTo>
                    <a:pt x="239" y="561"/>
                  </a:lnTo>
                  <a:lnTo>
                    <a:pt x="254" y="563"/>
                  </a:lnTo>
                  <a:lnTo>
                    <a:pt x="268" y="564"/>
                  </a:lnTo>
                  <a:lnTo>
                    <a:pt x="282" y="564"/>
                  </a:lnTo>
                  <a:lnTo>
                    <a:pt x="297" y="564"/>
                  </a:lnTo>
                  <a:lnTo>
                    <a:pt x="311" y="563"/>
                  </a:lnTo>
                  <a:lnTo>
                    <a:pt x="326" y="561"/>
                  </a:lnTo>
                  <a:lnTo>
                    <a:pt x="340" y="559"/>
                  </a:lnTo>
                  <a:lnTo>
                    <a:pt x="354" y="555"/>
                  </a:lnTo>
                  <a:lnTo>
                    <a:pt x="367" y="552"/>
                  </a:lnTo>
                  <a:lnTo>
                    <a:pt x="380" y="547"/>
                  </a:lnTo>
                  <a:lnTo>
                    <a:pt x="392" y="542"/>
                  </a:lnTo>
                  <a:lnTo>
                    <a:pt x="405" y="537"/>
                  </a:lnTo>
                  <a:lnTo>
                    <a:pt x="417" y="531"/>
                  </a:lnTo>
                  <a:lnTo>
                    <a:pt x="429" y="524"/>
                  </a:lnTo>
                  <a:lnTo>
                    <a:pt x="440" y="516"/>
                  </a:lnTo>
                  <a:lnTo>
                    <a:pt x="452" y="508"/>
                  </a:lnTo>
                  <a:lnTo>
                    <a:pt x="462" y="500"/>
                  </a:lnTo>
                  <a:lnTo>
                    <a:pt x="472" y="491"/>
                  </a:lnTo>
                  <a:lnTo>
                    <a:pt x="482" y="482"/>
                  </a:lnTo>
                  <a:lnTo>
                    <a:pt x="492" y="472"/>
                  </a:lnTo>
                  <a:lnTo>
                    <a:pt x="500" y="461"/>
                  </a:lnTo>
                  <a:lnTo>
                    <a:pt x="509" y="451"/>
                  </a:lnTo>
                  <a:lnTo>
                    <a:pt x="517" y="440"/>
                  </a:lnTo>
                  <a:lnTo>
                    <a:pt x="524" y="429"/>
                  </a:lnTo>
                  <a:lnTo>
                    <a:pt x="531" y="417"/>
                  </a:lnTo>
                  <a:lnTo>
                    <a:pt x="537" y="404"/>
                  </a:lnTo>
                  <a:lnTo>
                    <a:pt x="543" y="392"/>
                  </a:lnTo>
                  <a:lnTo>
                    <a:pt x="548" y="379"/>
                  </a:lnTo>
                  <a:lnTo>
                    <a:pt x="552" y="366"/>
                  </a:lnTo>
                  <a:lnTo>
                    <a:pt x="556" y="352"/>
                  </a:lnTo>
                  <a:lnTo>
                    <a:pt x="559" y="339"/>
                  </a:lnTo>
                  <a:lnTo>
                    <a:pt x="561" y="325"/>
                  </a:lnTo>
                  <a:lnTo>
                    <a:pt x="563" y="311"/>
                  </a:lnTo>
                  <a:lnTo>
                    <a:pt x="564" y="297"/>
                  </a:lnTo>
                  <a:lnTo>
                    <a:pt x="564" y="282"/>
                  </a:lnTo>
                  <a:lnTo>
                    <a:pt x="564" y="268"/>
                  </a:lnTo>
                  <a:lnTo>
                    <a:pt x="563" y="253"/>
                  </a:lnTo>
                  <a:lnTo>
                    <a:pt x="561" y="239"/>
                  </a:lnTo>
                  <a:lnTo>
                    <a:pt x="559" y="225"/>
                  </a:lnTo>
                  <a:lnTo>
                    <a:pt x="556" y="212"/>
                  </a:lnTo>
                  <a:lnTo>
                    <a:pt x="552" y="198"/>
                  </a:lnTo>
                  <a:lnTo>
                    <a:pt x="548" y="185"/>
                  </a:lnTo>
                  <a:lnTo>
                    <a:pt x="543" y="172"/>
                  </a:lnTo>
                  <a:lnTo>
                    <a:pt x="537" y="160"/>
                  </a:lnTo>
                  <a:lnTo>
                    <a:pt x="531" y="148"/>
                  </a:lnTo>
                  <a:lnTo>
                    <a:pt x="524" y="136"/>
                  </a:lnTo>
                  <a:lnTo>
                    <a:pt x="517" y="124"/>
                  </a:lnTo>
                  <a:lnTo>
                    <a:pt x="509" y="114"/>
                  </a:lnTo>
                  <a:lnTo>
                    <a:pt x="500" y="103"/>
                  </a:lnTo>
                  <a:lnTo>
                    <a:pt x="492" y="92"/>
                  </a:lnTo>
                  <a:lnTo>
                    <a:pt x="482" y="82"/>
                  </a:lnTo>
                  <a:lnTo>
                    <a:pt x="472" y="74"/>
                  </a:lnTo>
                  <a:lnTo>
                    <a:pt x="462" y="65"/>
                  </a:lnTo>
                  <a:lnTo>
                    <a:pt x="452" y="56"/>
                  </a:lnTo>
                  <a:lnTo>
                    <a:pt x="440" y="48"/>
                  </a:lnTo>
                  <a:lnTo>
                    <a:pt x="429" y="41"/>
                  </a:lnTo>
                  <a:lnTo>
                    <a:pt x="417" y="34"/>
                  </a:lnTo>
                  <a:lnTo>
                    <a:pt x="405" y="28"/>
                  </a:lnTo>
                  <a:lnTo>
                    <a:pt x="392" y="22"/>
                  </a:lnTo>
                  <a:lnTo>
                    <a:pt x="380" y="18"/>
                  </a:lnTo>
                  <a:lnTo>
                    <a:pt x="367" y="13"/>
                  </a:lnTo>
                  <a:lnTo>
                    <a:pt x="354" y="9"/>
                  </a:lnTo>
                  <a:lnTo>
                    <a:pt x="340" y="6"/>
                  </a:lnTo>
                  <a:lnTo>
                    <a:pt x="326" y="3"/>
                  </a:lnTo>
                  <a:lnTo>
                    <a:pt x="311" y="1"/>
                  </a:lnTo>
                  <a:lnTo>
                    <a:pt x="297" y="0"/>
                  </a:lnTo>
                  <a:lnTo>
                    <a:pt x="28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301" name="Freeform 267">
              <a:extLst>
                <a:ext uri="{FF2B5EF4-FFF2-40B4-BE49-F238E27FC236}">
                  <a16:creationId xmlns:a16="http://schemas.microsoft.com/office/drawing/2014/main" id="{C7393E1D-0D2E-49AD-9A7A-A5B37906B0E6}"/>
                </a:ext>
              </a:extLst>
            </p:cNvPr>
            <p:cNvSpPr>
              <a:spLocks noEditPoints="1"/>
            </p:cNvSpPr>
            <p:nvPr/>
          </p:nvSpPr>
          <p:spPr bwMode="auto">
            <a:xfrm>
              <a:off x="10677525" y="1674813"/>
              <a:ext cx="336550" cy="339725"/>
            </a:xfrm>
            <a:custGeom>
              <a:avLst/>
              <a:gdLst>
                <a:gd name="T0" fmla="*/ 43 w 846"/>
                <a:gd name="T1" fmla="*/ 345 h 857"/>
                <a:gd name="T2" fmla="*/ 73 w 846"/>
                <a:gd name="T3" fmla="*/ 256 h 857"/>
                <a:gd name="T4" fmla="*/ 123 w 846"/>
                <a:gd name="T5" fmla="*/ 177 h 857"/>
                <a:gd name="T6" fmla="*/ 191 w 846"/>
                <a:gd name="T7" fmla="*/ 112 h 857"/>
                <a:gd name="T8" fmla="*/ 272 w 846"/>
                <a:gd name="T9" fmla="*/ 66 h 857"/>
                <a:gd name="T10" fmla="*/ 364 w 846"/>
                <a:gd name="T11" fmla="*/ 40 h 857"/>
                <a:gd name="T12" fmla="*/ 462 w 846"/>
                <a:gd name="T13" fmla="*/ 38 h 857"/>
                <a:gd name="T14" fmla="*/ 556 w 846"/>
                <a:gd name="T15" fmla="*/ 59 h 857"/>
                <a:gd name="T16" fmla="*/ 639 w 846"/>
                <a:gd name="T17" fmla="*/ 101 h 857"/>
                <a:gd name="T18" fmla="*/ 709 w 846"/>
                <a:gd name="T19" fmla="*/ 163 h 857"/>
                <a:gd name="T20" fmla="*/ 763 w 846"/>
                <a:gd name="T21" fmla="*/ 238 h 857"/>
                <a:gd name="T22" fmla="*/ 798 w 846"/>
                <a:gd name="T23" fmla="*/ 326 h 857"/>
                <a:gd name="T24" fmla="*/ 811 w 846"/>
                <a:gd name="T25" fmla="*/ 423 h 857"/>
                <a:gd name="T26" fmla="*/ 798 w 846"/>
                <a:gd name="T27" fmla="*/ 520 h 857"/>
                <a:gd name="T28" fmla="*/ 763 w 846"/>
                <a:gd name="T29" fmla="*/ 608 h 857"/>
                <a:gd name="T30" fmla="*/ 709 w 846"/>
                <a:gd name="T31" fmla="*/ 684 h 857"/>
                <a:gd name="T32" fmla="*/ 639 w 846"/>
                <a:gd name="T33" fmla="*/ 745 h 857"/>
                <a:gd name="T34" fmla="*/ 556 w 846"/>
                <a:gd name="T35" fmla="*/ 787 h 857"/>
                <a:gd name="T36" fmla="*/ 462 w 846"/>
                <a:gd name="T37" fmla="*/ 809 h 857"/>
                <a:gd name="T38" fmla="*/ 364 w 846"/>
                <a:gd name="T39" fmla="*/ 807 h 857"/>
                <a:gd name="T40" fmla="*/ 272 w 846"/>
                <a:gd name="T41" fmla="*/ 781 h 857"/>
                <a:gd name="T42" fmla="*/ 191 w 846"/>
                <a:gd name="T43" fmla="*/ 734 h 857"/>
                <a:gd name="T44" fmla="*/ 123 w 846"/>
                <a:gd name="T45" fmla="*/ 669 h 857"/>
                <a:gd name="T46" fmla="*/ 73 w 846"/>
                <a:gd name="T47" fmla="*/ 592 h 857"/>
                <a:gd name="T48" fmla="*/ 43 w 846"/>
                <a:gd name="T49" fmla="*/ 501 h 857"/>
                <a:gd name="T50" fmla="*/ 846 w 846"/>
                <a:gd name="T51" fmla="*/ 423 h 857"/>
                <a:gd name="T52" fmla="*/ 833 w 846"/>
                <a:gd name="T53" fmla="*/ 317 h 857"/>
                <a:gd name="T54" fmla="*/ 795 w 846"/>
                <a:gd name="T55" fmla="*/ 221 h 857"/>
                <a:gd name="T56" fmla="*/ 736 w 846"/>
                <a:gd name="T57" fmla="*/ 139 h 857"/>
                <a:gd name="T58" fmla="*/ 660 w 846"/>
                <a:gd name="T59" fmla="*/ 72 h 857"/>
                <a:gd name="T60" fmla="*/ 568 w 846"/>
                <a:gd name="T61" fmla="*/ 26 h 857"/>
                <a:gd name="T62" fmla="*/ 466 w 846"/>
                <a:gd name="T63" fmla="*/ 2 h 857"/>
                <a:gd name="T64" fmla="*/ 358 w 846"/>
                <a:gd name="T65" fmla="*/ 5 h 857"/>
                <a:gd name="T66" fmla="*/ 258 w 846"/>
                <a:gd name="T67" fmla="*/ 33 h 857"/>
                <a:gd name="T68" fmla="*/ 169 w 846"/>
                <a:gd name="T69" fmla="*/ 84 h 857"/>
                <a:gd name="T70" fmla="*/ 96 w 846"/>
                <a:gd name="T71" fmla="*/ 154 h 857"/>
                <a:gd name="T72" fmla="*/ 41 w 846"/>
                <a:gd name="T73" fmla="*/ 240 h 857"/>
                <a:gd name="T74" fmla="*/ 8 w 846"/>
                <a:gd name="T75" fmla="*/ 338 h 857"/>
                <a:gd name="T76" fmla="*/ 0 w 846"/>
                <a:gd name="T77" fmla="*/ 447 h 857"/>
                <a:gd name="T78" fmla="*/ 23 w 846"/>
                <a:gd name="T79" fmla="*/ 561 h 857"/>
                <a:gd name="T80" fmla="*/ 73 w 846"/>
                <a:gd name="T81" fmla="*/ 662 h 857"/>
                <a:gd name="T82" fmla="*/ 148 w 846"/>
                <a:gd name="T83" fmla="*/ 745 h 857"/>
                <a:gd name="T84" fmla="*/ 203 w 846"/>
                <a:gd name="T85" fmla="*/ 785 h 857"/>
                <a:gd name="T86" fmla="*/ 275 w 846"/>
                <a:gd name="T87" fmla="*/ 819 h 857"/>
                <a:gd name="T88" fmla="*/ 355 w 846"/>
                <a:gd name="T89" fmla="*/ 841 h 857"/>
                <a:gd name="T90" fmla="*/ 439 w 846"/>
                <a:gd name="T91" fmla="*/ 846 h 857"/>
                <a:gd name="T92" fmla="*/ 523 w 846"/>
                <a:gd name="T93" fmla="*/ 835 h 857"/>
                <a:gd name="T94" fmla="*/ 599 w 846"/>
                <a:gd name="T95" fmla="*/ 808 h 857"/>
                <a:gd name="T96" fmla="*/ 668 w 846"/>
                <a:gd name="T97" fmla="*/ 768 h 857"/>
                <a:gd name="T98" fmla="*/ 729 w 846"/>
                <a:gd name="T99" fmla="*/ 715 h 857"/>
                <a:gd name="T100" fmla="*/ 795 w 846"/>
                <a:gd name="T101" fmla="*/ 624 h 857"/>
                <a:gd name="T102" fmla="*/ 836 w 846"/>
                <a:gd name="T103" fmla="*/ 51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6" h="857">
                  <a:moveTo>
                    <a:pt x="34" y="423"/>
                  </a:moveTo>
                  <a:lnTo>
                    <a:pt x="35" y="404"/>
                  </a:lnTo>
                  <a:lnTo>
                    <a:pt x="37" y="383"/>
                  </a:lnTo>
                  <a:lnTo>
                    <a:pt x="40" y="364"/>
                  </a:lnTo>
                  <a:lnTo>
                    <a:pt x="43" y="345"/>
                  </a:lnTo>
                  <a:lnTo>
                    <a:pt x="47" y="326"/>
                  </a:lnTo>
                  <a:lnTo>
                    <a:pt x="53" y="308"/>
                  </a:lnTo>
                  <a:lnTo>
                    <a:pt x="58" y="290"/>
                  </a:lnTo>
                  <a:lnTo>
                    <a:pt x="66" y="272"/>
                  </a:lnTo>
                  <a:lnTo>
                    <a:pt x="73" y="256"/>
                  </a:lnTo>
                  <a:lnTo>
                    <a:pt x="82" y="238"/>
                  </a:lnTo>
                  <a:lnTo>
                    <a:pt x="91" y="222"/>
                  </a:lnTo>
                  <a:lnTo>
                    <a:pt x="101" y="206"/>
                  </a:lnTo>
                  <a:lnTo>
                    <a:pt x="112" y="191"/>
                  </a:lnTo>
                  <a:lnTo>
                    <a:pt x="123" y="177"/>
                  </a:lnTo>
                  <a:lnTo>
                    <a:pt x="136" y="163"/>
                  </a:lnTo>
                  <a:lnTo>
                    <a:pt x="149" y="149"/>
                  </a:lnTo>
                  <a:lnTo>
                    <a:pt x="162" y="136"/>
                  </a:lnTo>
                  <a:lnTo>
                    <a:pt x="176" y="124"/>
                  </a:lnTo>
                  <a:lnTo>
                    <a:pt x="191" y="112"/>
                  </a:lnTo>
                  <a:lnTo>
                    <a:pt x="206" y="101"/>
                  </a:lnTo>
                  <a:lnTo>
                    <a:pt x="221" y="92"/>
                  </a:lnTo>
                  <a:lnTo>
                    <a:pt x="237" y="82"/>
                  </a:lnTo>
                  <a:lnTo>
                    <a:pt x="255" y="73"/>
                  </a:lnTo>
                  <a:lnTo>
                    <a:pt x="272" y="66"/>
                  </a:lnTo>
                  <a:lnTo>
                    <a:pt x="289" y="59"/>
                  </a:lnTo>
                  <a:lnTo>
                    <a:pt x="308" y="53"/>
                  </a:lnTo>
                  <a:lnTo>
                    <a:pt x="326" y="47"/>
                  </a:lnTo>
                  <a:lnTo>
                    <a:pt x="344" y="43"/>
                  </a:lnTo>
                  <a:lnTo>
                    <a:pt x="364" y="40"/>
                  </a:lnTo>
                  <a:lnTo>
                    <a:pt x="383" y="38"/>
                  </a:lnTo>
                  <a:lnTo>
                    <a:pt x="403" y="35"/>
                  </a:lnTo>
                  <a:lnTo>
                    <a:pt x="423" y="35"/>
                  </a:lnTo>
                  <a:lnTo>
                    <a:pt x="443" y="35"/>
                  </a:lnTo>
                  <a:lnTo>
                    <a:pt x="462" y="38"/>
                  </a:lnTo>
                  <a:lnTo>
                    <a:pt x="482" y="40"/>
                  </a:lnTo>
                  <a:lnTo>
                    <a:pt x="501" y="43"/>
                  </a:lnTo>
                  <a:lnTo>
                    <a:pt x="519" y="47"/>
                  </a:lnTo>
                  <a:lnTo>
                    <a:pt x="538" y="53"/>
                  </a:lnTo>
                  <a:lnTo>
                    <a:pt x="556" y="59"/>
                  </a:lnTo>
                  <a:lnTo>
                    <a:pt x="573" y="66"/>
                  </a:lnTo>
                  <a:lnTo>
                    <a:pt x="591" y="73"/>
                  </a:lnTo>
                  <a:lnTo>
                    <a:pt x="608" y="82"/>
                  </a:lnTo>
                  <a:lnTo>
                    <a:pt x="624" y="92"/>
                  </a:lnTo>
                  <a:lnTo>
                    <a:pt x="639" y="101"/>
                  </a:lnTo>
                  <a:lnTo>
                    <a:pt x="654" y="112"/>
                  </a:lnTo>
                  <a:lnTo>
                    <a:pt x="669" y="124"/>
                  </a:lnTo>
                  <a:lnTo>
                    <a:pt x="684" y="136"/>
                  </a:lnTo>
                  <a:lnTo>
                    <a:pt x="696" y="149"/>
                  </a:lnTo>
                  <a:lnTo>
                    <a:pt x="709" y="163"/>
                  </a:lnTo>
                  <a:lnTo>
                    <a:pt x="722" y="177"/>
                  </a:lnTo>
                  <a:lnTo>
                    <a:pt x="733" y="191"/>
                  </a:lnTo>
                  <a:lnTo>
                    <a:pt x="744" y="206"/>
                  </a:lnTo>
                  <a:lnTo>
                    <a:pt x="755" y="222"/>
                  </a:lnTo>
                  <a:lnTo>
                    <a:pt x="763" y="238"/>
                  </a:lnTo>
                  <a:lnTo>
                    <a:pt x="772" y="256"/>
                  </a:lnTo>
                  <a:lnTo>
                    <a:pt x="780" y="272"/>
                  </a:lnTo>
                  <a:lnTo>
                    <a:pt x="787" y="290"/>
                  </a:lnTo>
                  <a:lnTo>
                    <a:pt x="794" y="308"/>
                  </a:lnTo>
                  <a:lnTo>
                    <a:pt x="798" y="326"/>
                  </a:lnTo>
                  <a:lnTo>
                    <a:pt x="802" y="345"/>
                  </a:lnTo>
                  <a:lnTo>
                    <a:pt x="807" y="364"/>
                  </a:lnTo>
                  <a:lnTo>
                    <a:pt x="809" y="383"/>
                  </a:lnTo>
                  <a:lnTo>
                    <a:pt x="810" y="404"/>
                  </a:lnTo>
                  <a:lnTo>
                    <a:pt x="811" y="423"/>
                  </a:lnTo>
                  <a:lnTo>
                    <a:pt x="810" y="444"/>
                  </a:lnTo>
                  <a:lnTo>
                    <a:pt x="809" y="463"/>
                  </a:lnTo>
                  <a:lnTo>
                    <a:pt x="807" y="483"/>
                  </a:lnTo>
                  <a:lnTo>
                    <a:pt x="802" y="501"/>
                  </a:lnTo>
                  <a:lnTo>
                    <a:pt x="798" y="520"/>
                  </a:lnTo>
                  <a:lnTo>
                    <a:pt x="794" y="539"/>
                  </a:lnTo>
                  <a:lnTo>
                    <a:pt x="787" y="556"/>
                  </a:lnTo>
                  <a:lnTo>
                    <a:pt x="780" y="574"/>
                  </a:lnTo>
                  <a:lnTo>
                    <a:pt x="772" y="592"/>
                  </a:lnTo>
                  <a:lnTo>
                    <a:pt x="763" y="608"/>
                  </a:lnTo>
                  <a:lnTo>
                    <a:pt x="755" y="624"/>
                  </a:lnTo>
                  <a:lnTo>
                    <a:pt x="744" y="640"/>
                  </a:lnTo>
                  <a:lnTo>
                    <a:pt x="733" y="655"/>
                  </a:lnTo>
                  <a:lnTo>
                    <a:pt x="722" y="669"/>
                  </a:lnTo>
                  <a:lnTo>
                    <a:pt x="709" y="684"/>
                  </a:lnTo>
                  <a:lnTo>
                    <a:pt x="696" y="697"/>
                  </a:lnTo>
                  <a:lnTo>
                    <a:pt x="684" y="710"/>
                  </a:lnTo>
                  <a:lnTo>
                    <a:pt x="669" y="722"/>
                  </a:lnTo>
                  <a:lnTo>
                    <a:pt x="654" y="734"/>
                  </a:lnTo>
                  <a:lnTo>
                    <a:pt x="639" y="745"/>
                  </a:lnTo>
                  <a:lnTo>
                    <a:pt x="624" y="755"/>
                  </a:lnTo>
                  <a:lnTo>
                    <a:pt x="608" y="764"/>
                  </a:lnTo>
                  <a:lnTo>
                    <a:pt x="591" y="773"/>
                  </a:lnTo>
                  <a:lnTo>
                    <a:pt x="573" y="781"/>
                  </a:lnTo>
                  <a:lnTo>
                    <a:pt x="556" y="787"/>
                  </a:lnTo>
                  <a:lnTo>
                    <a:pt x="538" y="794"/>
                  </a:lnTo>
                  <a:lnTo>
                    <a:pt x="519" y="799"/>
                  </a:lnTo>
                  <a:lnTo>
                    <a:pt x="501" y="803"/>
                  </a:lnTo>
                  <a:lnTo>
                    <a:pt x="482" y="807"/>
                  </a:lnTo>
                  <a:lnTo>
                    <a:pt x="462" y="809"/>
                  </a:lnTo>
                  <a:lnTo>
                    <a:pt x="443" y="811"/>
                  </a:lnTo>
                  <a:lnTo>
                    <a:pt x="423" y="811"/>
                  </a:lnTo>
                  <a:lnTo>
                    <a:pt x="403" y="811"/>
                  </a:lnTo>
                  <a:lnTo>
                    <a:pt x="383" y="809"/>
                  </a:lnTo>
                  <a:lnTo>
                    <a:pt x="364" y="807"/>
                  </a:lnTo>
                  <a:lnTo>
                    <a:pt x="344" y="803"/>
                  </a:lnTo>
                  <a:lnTo>
                    <a:pt x="326" y="799"/>
                  </a:lnTo>
                  <a:lnTo>
                    <a:pt x="308" y="794"/>
                  </a:lnTo>
                  <a:lnTo>
                    <a:pt x="289" y="787"/>
                  </a:lnTo>
                  <a:lnTo>
                    <a:pt x="272" y="781"/>
                  </a:lnTo>
                  <a:lnTo>
                    <a:pt x="255" y="773"/>
                  </a:lnTo>
                  <a:lnTo>
                    <a:pt x="237" y="764"/>
                  </a:lnTo>
                  <a:lnTo>
                    <a:pt x="221" y="755"/>
                  </a:lnTo>
                  <a:lnTo>
                    <a:pt x="206" y="745"/>
                  </a:lnTo>
                  <a:lnTo>
                    <a:pt x="191" y="734"/>
                  </a:lnTo>
                  <a:lnTo>
                    <a:pt x="176" y="722"/>
                  </a:lnTo>
                  <a:lnTo>
                    <a:pt x="162" y="710"/>
                  </a:lnTo>
                  <a:lnTo>
                    <a:pt x="149" y="697"/>
                  </a:lnTo>
                  <a:lnTo>
                    <a:pt x="136" y="684"/>
                  </a:lnTo>
                  <a:lnTo>
                    <a:pt x="123" y="669"/>
                  </a:lnTo>
                  <a:lnTo>
                    <a:pt x="112" y="655"/>
                  </a:lnTo>
                  <a:lnTo>
                    <a:pt x="101" y="640"/>
                  </a:lnTo>
                  <a:lnTo>
                    <a:pt x="91" y="624"/>
                  </a:lnTo>
                  <a:lnTo>
                    <a:pt x="82" y="608"/>
                  </a:lnTo>
                  <a:lnTo>
                    <a:pt x="73" y="592"/>
                  </a:lnTo>
                  <a:lnTo>
                    <a:pt x="66" y="574"/>
                  </a:lnTo>
                  <a:lnTo>
                    <a:pt x="58" y="556"/>
                  </a:lnTo>
                  <a:lnTo>
                    <a:pt x="53" y="539"/>
                  </a:lnTo>
                  <a:lnTo>
                    <a:pt x="47" y="520"/>
                  </a:lnTo>
                  <a:lnTo>
                    <a:pt x="43" y="501"/>
                  </a:lnTo>
                  <a:lnTo>
                    <a:pt x="40" y="483"/>
                  </a:lnTo>
                  <a:lnTo>
                    <a:pt x="37" y="463"/>
                  </a:lnTo>
                  <a:lnTo>
                    <a:pt x="35" y="444"/>
                  </a:lnTo>
                  <a:lnTo>
                    <a:pt x="34" y="423"/>
                  </a:lnTo>
                  <a:close/>
                  <a:moveTo>
                    <a:pt x="846" y="423"/>
                  </a:moveTo>
                  <a:lnTo>
                    <a:pt x="846" y="402"/>
                  </a:lnTo>
                  <a:lnTo>
                    <a:pt x="843" y="380"/>
                  </a:lnTo>
                  <a:lnTo>
                    <a:pt x="841" y="358"/>
                  </a:lnTo>
                  <a:lnTo>
                    <a:pt x="837" y="338"/>
                  </a:lnTo>
                  <a:lnTo>
                    <a:pt x="833" y="317"/>
                  </a:lnTo>
                  <a:lnTo>
                    <a:pt x="827" y="298"/>
                  </a:lnTo>
                  <a:lnTo>
                    <a:pt x="821" y="277"/>
                  </a:lnTo>
                  <a:lnTo>
                    <a:pt x="813" y="259"/>
                  </a:lnTo>
                  <a:lnTo>
                    <a:pt x="804" y="240"/>
                  </a:lnTo>
                  <a:lnTo>
                    <a:pt x="795" y="221"/>
                  </a:lnTo>
                  <a:lnTo>
                    <a:pt x="785" y="204"/>
                  </a:lnTo>
                  <a:lnTo>
                    <a:pt x="773" y="187"/>
                  </a:lnTo>
                  <a:lnTo>
                    <a:pt x="762" y="170"/>
                  </a:lnTo>
                  <a:lnTo>
                    <a:pt x="749" y="154"/>
                  </a:lnTo>
                  <a:lnTo>
                    <a:pt x="736" y="139"/>
                  </a:lnTo>
                  <a:lnTo>
                    <a:pt x="722" y="124"/>
                  </a:lnTo>
                  <a:lnTo>
                    <a:pt x="707" y="110"/>
                  </a:lnTo>
                  <a:lnTo>
                    <a:pt x="692" y="97"/>
                  </a:lnTo>
                  <a:lnTo>
                    <a:pt x="676" y="84"/>
                  </a:lnTo>
                  <a:lnTo>
                    <a:pt x="660" y="72"/>
                  </a:lnTo>
                  <a:lnTo>
                    <a:pt x="642" y="61"/>
                  </a:lnTo>
                  <a:lnTo>
                    <a:pt x="624" y="52"/>
                  </a:lnTo>
                  <a:lnTo>
                    <a:pt x="606" y="42"/>
                  </a:lnTo>
                  <a:lnTo>
                    <a:pt x="587" y="33"/>
                  </a:lnTo>
                  <a:lnTo>
                    <a:pt x="568" y="26"/>
                  </a:lnTo>
                  <a:lnTo>
                    <a:pt x="549" y="19"/>
                  </a:lnTo>
                  <a:lnTo>
                    <a:pt x="528" y="14"/>
                  </a:lnTo>
                  <a:lnTo>
                    <a:pt x="509" y="8"/>
                  </a:lnTo>
                  <a:lnTo>
                    <a:pt x="487" y="5"/>
                  </a:lnTo>
                  <a:lnTo>
                    <a:pt x="466" y="2"/>
                  </a:lnTo>
                  <a:lnTo>
                    <a:pt x="445" y="1"/>
                  </a:lnTo>
                  <a:lnTo>
                    <a:pt x="423" y="0"/>
                  </a:lnTo>
                  <a:lnTo>
                    <a:pt x="401" y="1"/>
                  </a:lnTo>
                  <a:lnTo>
                    <a:pt x="379" y="2"/>
                  </a:lnTo>
                  <a:lnTo>
                    <a:pt x="358" y="5"/>
                  </a:lnTo>
                  <a:lnTo>
                    <a:pt x="338" y="8"/>
                  </a:lnTo>
                  <a:lnTo>
                    <a:pt x="317" y="14"/>
                  </a:lnTo>
                  <a:lnTo>
                    <a:pt x="297" y="19"/>
                  </a:lnTo>
                  <a:lnTo>
                    <a:pt x="277" y="26"/>
                  </a:lnTo>
                  <a:lnTo>
                    <a:pt x="258" y="33"/>
                  </a:lnTo>
                  <a:lnTo>
                    <a:pt x="240" y="42"/>
                  </a:lnTo>
                  <a:lnTo>
                    <a:pt x="221" y="52"/>
                  </a:lnTo>
                  <a:lnTo>
                    <a:pt x="203" y="61"/>
                  </a:lnTo>
                  <a:lnTo>
                    <a:pt x="186" y="72"/>
                  </a:lnTo>
                  <a:lnTo>
                    <a:pt x="169" y="84"/>
                  </a:lnTo>
                  <a:lnTo>
                    <a:pt x="153" y="97"/>
                  </a:lnTo>
                  <a:lnTo>
                    <a:pt x="138" y="110"/>
                  </a:lnTo>
                  <a:lnTo>
                    <a:pt x="123" y="124"/>
                  </a:lnTo>
                  <a:lnTo>
                    <a:pt x="110" y="139"/>
                  </a:lnTo>
                  <a:lnTo>
                    <a:pt x="96" y="154"/>
                  </a:lnTo>
                  <a:lnTo>
                    <a:pt x="84" y="170"/>
                  </a:lnTo>
                  <a:lnTo>
                    <a:pt x="72" y="187"/>
                  </a:lnTo>
                  <a:lnTo>
                    <a:pt x="60" y="204"/>
                  </a:lnTo>
                  <a:lnTo>
                    <a:pt x="51" y="221"/>
                  </a:lnTo>
                  <a:lnTo>
                    <a:pt x="41" y="240"/>
                  </a:lnTo>
                  <a:lnTo>
                    <a:pt x="33" y="259"/>
                  </a:lnTo>
                  <a:lnTo>
                    <a:pt x="25" y="277"/>
                  </a:lnTo>
                  <a:lnTo>
                    <a:pt x="18" y="298"/>
                  </a:lnTo>
                  <a:lnTo>
                    <a:pt x="13" y="317"/>
                  </a:lnTo>
                  <a:lnTo>
                    <a:pt x="8" y="338"/>
                  </a:lnTo>
                  <a:lnTo>
                    <a:pt x="4" y="358"/>
                  </a:lnTo>
                  <a:lnTo>
                    <a:pt x="2" y="380"/>
                  </a:lnTo>
                  <a:lnTo>
                    <a:pt x="0" y="402"/>
                  </a:lnTo>
                  <a:lnTo>
                    <a:pt x="0" y="423"/>
                  </a:lnTo>
                  <a:lnTo>
                    <a:pt x="0" y="447"/>
                  </a:lnTo>
                  <a:lnTo>
                    <a:pt x="2" y="471"/>
                  </a:lnTo>
                  <a:lnTo>
                    <a:pt x="5" y="494"/>
                  </a:lnTo>
                  <a:lnTo>
                    <a:pt x="10" y="517"/>
                  </a:lnTo>
                  <a:lnTo>
                    <a:pt x="16" y="540"/>
                  </a:lnTo>
                  <a:lnTo>
                    <a:pt x="23" y="561"/>
                  </a:lnTo>
                  <a:lnTo>
                    <a:pt x="30" y="583"/>
                  </a:lnTo>
                  <a:lnTo>
                    <a:pt x="40" y="603"/>
                  </a:lnTo>
                  <a:lnTo>
                    <a:pt x="50" y="624"/>
                  </a:lnTo>
                  <a:lnTo>
                    <a:pt x="61" y="643"/>
                  </a:lnTo>
                  <a:lnTo>
                    <a:pt x="73" y="662"/>
                  </a:lnTo>
                  <a:lnTo>
                    <a:pt x="86" y="680"/>
                  </a:lnTo>
                  <a:lnTo>
                    <a:pt x="100" y="697"/>
                  </a:lnTo>
                  <a:lnTo>
                    <a:pt x="115" y="714"/>
                  </a:lnTo>
                  <a:lnTo>
                    <a:pt x="132" y="730"/>
                  </a:lnTo>
                  <a:lnTo>
                    <a:pt x="148" y="745"/>
                  </a:lnTo>
                  <a:lnTo>
                    <a:pt x="75" y="836"/>
                  </a:lnTo>
                  <a:lnTo>
                    <a:pt x="104" y="857"/>
                  </a:lnTo>
                  <a:lnTo>
                    <a:pt x="176" y="767"/>
                  </a:lnTo>
                  <a:lnTo>
                    <a:pt x="189" y="776"/>
                  </a:lnTo>
                  <a:lnTo>
                    <a:pt x="203" y="785"/>
                  </a:lnTo>
                  <a:lnTo>
                    <a:pt x="217" y="792"/>
                  </a:lnTo>
                  <a:lnTo>
                    <a:pt x="231" y="800"/>
                  </a:lnTo>
                  <a:lnTo>
                    <a:pt x="245" y="808"/>
                  </a:lnTo>
                  <a:lnTo>
                    <a:pt x="260" y="814"/>
                  </a:lnTo>
                  <a:lnTo>
                    <a:pt x="275" y="819"/>
                  </a:lnTo>
                  <a:lnTo>
                    <a:pt x="290" y="825"/>
                  </a:lnTo>
                  <a:lnTo>
                    <a:pt x="307" y="830"/>
                  </a:lnTo>
                  <a:lnTo>
                    <a:pt x="323" y="835"/>
                  </a:lnTo>
                  <a:lnTo>
                    <a:pt x="339" y="838"/>
                  </a:lnTo>
                  <a:lnTo>
                    <a:pt x="355" y="841"/>
                  </a:lnTo>
                  <a:lnTo>
                    <a:pt x="371" y="843"/>
                  </a:lnTo>
                  <a:lnTo>
                    <a:pt x="389" y="845"/>
                  </a:lnTo>
                  <a:lnTo>
                    <a:pt x="406" y="846"/>
                  </a:lnTo>
                  <a:lnTo>
                    <a:pt x="423" y="846"/>
                  </a:lnTo>
                  <a:lnTo>
                    <a:pt x="439" y="846"/>
                  </a:lnTo>
                  <a:lnTo>
                    <a:pt x="457" y="845"/>
                  </a:lnTo>
                  <a:lnTo>
                    <a:pt x="474" y="843"/>
                  </a:lnTo>
                  <a:lnTo>
                    <a:pt x="490" y="841"/>
                  </a:lnTo>
                  <a:lnTo>
                    <a:pt x="506" y="838"/>
                  </a:lnTo>
                  <a:lnTo>
                    <a:pt x="523" y="835"/>
                  </a:lnTo>
                  <a:lnTo>
                    <a:pt x="539" y="830"/>
                  </a:lnTo>
                  <a:lnTo>
                    <a:pt x="554" y="826"/>
                  </a:lnTo>
                  <a:lnTo>
                    <a:pt x="570" y="821"/>
                  </a:lnTo>
                  <a:lnTo>
                    <a:pt x="585" y="814"/>
                  </a:lnTo>
                  <a:lnTo>
                    <a:pt x="599" y="808"/>
                  </a:lnTo>
                  <a:lnTo>
                    <a:pt x="614" y="801"/>
                  </a:lnTo>
                  <a:lnTo>
                    <a:pt x="628" y="794"/>
                  </a:lnTo>
                  <a:lnTo>
                    <a:pt x="642" y="785"/>
                  </a:lnTo>
                  <a:lnTo>
                    <a:pt x="655" y="776"/>
                  </a:lnTo>
                  <a:lnTo>
                    <a:pt x="668" y="768"/>
                  </a:lnTo>
                  <a:lnTo>
                    <a:pt x="741" y="857"/>
                  </a:lnTo>
                  <a:lnTo>
                    <a:pt x="769" y="836"/>
                  </a:lnTo>
                  <a:lnTo>
                    <a:pt x="696" y="746"/>
                  </a:lnTo>
                  <a:lnTo>
                    <a:pt x="714" y="731"/>
                  </a:lnTo>
                  <a:lnTo>
                    <a:pt x="729" y="715"/>
                  </a:lnTo>
                  <a:lnTo>
                    <a:pt x="744" y="699"/>
                  </a:lnTo>
                  <a:lnTo>
                    <a:pt x="758" y="681"/>
                  </a:lnTo>
                  <a:lnTo>
                    <a:pt x="772" y="663"/>
                  </a:lnTo>
                  <a:lnTo>
                    <a:pt x="784" y="643"/>
                  </a:lnTo>
                  <a:lnTo>
                    <a:pt x="795" y="624"/>
                  </a:lnTo>
                  <a:lnTo>
                    <a:pt x="806" y="603"/>
                  </a:lnTo>
                  <a:lnTo>
                    <a:pt x="814" y="583"/>
                  </a:lnTo>
                  <a:lnTo>
                    <a:pt x="823" y="561"/>
                  </a:lnTo>
                  <a:lnTo>
                    <a:pt x="829" y="540"/>
                  </a:lnTo>
                  <a:lnTo>
                    <a:pt x="836" y="517"/>
                  </a:lnTo>
                  <a:lnTo>
                    <a:pt x="840" y="494"/>
                  </a:lnTo>
                  <a:lnTo>
                    <a:pt x="843" y="471"/>
                  </a:lnTo>
                  <a:lnTo>
                    <a:pt x="846" y="447"/>
                  </a:lnTo>
                  <a:lnTo>
                    <a:pt x="846" y="4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283" name="Group 20">
            <a:extLst>
              <a:ext uri="{FF2B5EF4-FFF2-40B4-BE49-F238E27FC236}">
                <a16:creationId xmlns:a16="http://schemas.microsoft.com/office/drawing/2014/main" id="{0E067F5A-5C5C-4FC7-BEA7-4AE9EE21DEA5}"/>
              </a:ext>
            </a:extLst>
          </p:cNvPr>
          <p:cNvGrpSpPr>
            <a:grpSpLocks noChangeAspect="1"/>
          </p:cNvGrpSpPr>
          <p:nvPr/>
        </p:nvGrpSpPr>
        <p:grpSpPr>
          <a:xfrm>
            <a:off x="4444100" y="1724131"/>
            <a:ext cx="297777" cy="153872"/>
            <a:chOff x="9409113" y="4270375"/>
            <a:chExt cx="1185863" cy="612775"/>
          </a:xfrm>
          <a:solidFill>
            <a:schemeClr val="bg1"/>
          </a:solidFill>
          <a:effectLst/>
        </p:grpSpPr>
        <p:sp>
          <p:nvSpPr>
            <p:cNvPr id="296" name="Freeform 44">
              <a:extLst>
                <a:ext uri="{FF2B5EF4-FFF2-40B4-BE49-F238E27FC236}">
                  <a16:creationId xmlns:a16="http://schemas.microsoft.com/office/drawing/2014/main" id="{C602AA7F-9553-49EF-A2CA-79D010180405}"/>
                </a:ext>
              </a:extLst>
            </p:cNvPr>
            <p:cNvSpPr>
              <a:spLocks noEditPoints="1"/>
            </p:cNvSpPr>
            <p:nvPr/>
          </p:nvSpPr>
          <p:spPr bwMode="auto">
            <a:xfrm>
              <a:off x="9409113" y="4270375"/>
              <a:ext cx="1185863" cy="612775"/>
            </a:xfrm>
            <a:custGeom>
              <a:avLst/>
              <a:gdLst>
                <a:gd name="T0" fmla="*/ 879 w 2241"/>
                <a:gd name="T1" fmla="*/ 93 h 1159"/>
                <a:gd name="T2" fmla="*/ 620 w 2241"/>
                <a:gd name="T3" fmla="*/ 152 h 1159"/>
                <a:gd name="T4" fmla="*/ 412 w 2241"/>
                <a:gd name="T5" fmla="*/ 239 h 1159"/>
                <a:gd name="T6" fmla="*/ 253 w 2241"/>
                <a:gd name="T7" fmla="*/ 342 h 1159"/>
                <a:gd name="T8" fmla="*/ 143 w 2241"/>
                <a:gd name="T9" fmla="*/ 446 h 1159"/>
                <a:gd name="T10" fmla="*/ 87 w 2241"/>
                <a:gd name="T11" fmla="*/ 537 h 1159"/>
                <a:gd name="T12" fmla="*/ 81 w 2241"/>
                <a:gd name="T13" fmla="*/ 618 h 1159"/>
                <a:gd name="T14" fmla="*/ 129 w 2241"/>
                <a:gd name="T15" fmla="*/ 723 h 1159"/>
                <a:gd name="T16" fmla="*/ 230 w 2241"/>
                <a:gd name="T17" fmla="*/ 829 h 1159"/>
                <a:gd name="T18" fmla="*/ 381 w 2241"/>
                <a:gd name="T19" fmla="*/ 926 h 1159"/>
                <a:gd name="T20" fmla="*/ 581 w 2241"/>
                <a:gd name="T21" fmla="*/ 1006 h 1159"/>
                <a:gd name="T22" fmla="*/ 828 w 2241"/>
                <a:gd name="T23" fmla="*/ 1062 h 1159"/>
                <a:gd name="T24" fmla="*/ 1120 w 2241"/>
                <a:gd name="T25" fmla="*/ 1082 h 1159"/>
                <a:gd name="T26" fmla="*/ 1413 w 2241"/>
                <a:gd name="T27" fmla="*/ 1062 h 1159"/>
                <a:gd name="T28" fmla="*/ 1660 w 2241"/>
                <a:gd name="T29" fmla="*/ 1006 h 1159"/>
                <a:gd name="T30" fmla="*/ 1859 w 2241"/>
                <a:gd name="T31" fmla="*/ 926 h 1159"/>
                <a:gd name="T32" fmla="*/ 2010 w 2241"/>
                <a:gd name="T33" fmla="*/ 829 h 1159"/>
                <a:gd name="T34" fmla="*/ 2111 w 2241"/>
                <a:gd name="T35" fmla="*/ 723 h 1159"/>
                <a:gd name="T36" fmla="*/ 2159 w 2241"/>
                <a:gd name="T37" fmla="*/ 618 h 1159"/>
                <a:gd name="T38" fmla="*/ 2154 w 2241"/>
                <a:gd name="T39" fmla="*/ 537 h 1159"/>
                <a:gd name="T40" fmla="*/ 2096 w 2241"/>
                <a:gd name="T41" fmla="*/ 446 h 1159"/>
                <a:gd name="T42" fmla="*/ 1988 w 2241"/>
                <a:gd name="T43" fmla="*/ 342 h 1159"/>
                <a:gd name="T44" fmla="*/ 1829 w 2241"/>
                <a:gd name="T45" fmla="*/ 239 h 1159"/>
                <a:gd name="T46" fmla="*/ 1620 w 2241"/>
                <a:gd name="T47" fmla="*/ 152 h 1159"/>
                <a:gd name="T48" fmla="*/ 1362 w 2241"/>
                <a:gd name="T49" fmla="*/ 93 h 1159"/>
                <a:gd name="T50" fmla="*/ 1120 w 2241"/>
                <a:gd name="T51" fmla="*/ 1159 h 1159"/>
                <a:gd name="T52" fmla="*/ 803 w 2241"/>
                <a:gd name="T53" fmla="*/ 1136 h 1159"/>
                <a:gd name="T54" fmla="*/ 536 w 2241"/>
                <a:gd name="T55" fmla="*/ 1073 h 1159"/>
                <a:gd name="T56" fmla="*/ 322 w 2241"/>
                <a:gd name="T57" fmla="*/ 981 h 1159"/>
                <a:gd name="T58" fmla="*/ 161 w 2241"/>
                <a:gd name="T59" fmla="*/ 869 h 1159"/>
                <a:gd name="T60" fmla="*/ 55 w 2241"/>
                <a:gd name="T61" fmla="*/ 748 h 1159"/>
                <a:gd name="T62" fmla="*/ 4 w 2241"/>
                <a:gd name="T63" fmla="*/ 626 h 1159"/>
                <a:gd name="T64" fmla="*/ 10 w 2241"/>
                <a:gd name="T65" fmla="*/ 526 h 1159"/>
                <a:gd name="T66" fmla="*/ 72 w 2241"/>
                <a:gd name="T67" fmla="*/ 418 h 1159"/>
                <a:gd name="T68" fmla="*/ 190 w 2241"/>
                <a:gd name="T69" fmla="*/ 297 h 1159"/>
                <a:gd name="T70" fmla="*/ 362 w 2241"/>
                <a:gd name="T71" fmla="*/ 181 h 1159"/>
                <a:gd name="T72" fmla="*/ 587 w 2241"/>
                <a:gd name="T73" fmla="*/ 83 h 1159"/>
                <a:gd name="T74" fmla="*/ 863 w 2241"/>
                <a:gd name="T75" fmla="*/ 18 h 1159"/>
                <a:gd name="T76" fmla="*/ 1188 w 2241"/>
                <a:gd name="T77" fmla="*/ 1 h 1159"/>
                <a:gd name="T78" fmla="*/ 1494 w 2241"/>
                <a:gd name="T79" fmla="*/ 38 h 1159"/>
                <a:gd name="T80" fmla="*/ 1750 w 2241"/>
                <a:gd name="T81" fmla="*/ 119 h 1159"/>
                <a:gd name="T82" fmla="*/ 1954 w 2241"/>
                <a:gd name="T83" fmla="*/ 226 h 1159"/>
                <a:gd name="T84" fmla="*/ 2104 w 2241"/>
                <a:gd name="T85" fmla="*/ 346 h 1159"/>
                <a:gd name="T86" fmla="*/ 2200 w 2241"/>
                <a:gd name="T87" fmla="*/ 463 h 1159"/>
                <a:gd name="T88" fmla="*/ 2240 w 2241"/>
                <a:gd name="T89" fmla="*/ 563 h 1159"/>
                <a:gd name="T90" fmla="*/ 2223 w 2241"/>
                <a:gd name="T91" fmla="*/ 674 h 1159"/>
                <a:gd name="T92" fmla="*/ 2150 w 2241"/>
                <a:gd name="T93" fmla="*/ 797 h 1159"/>
                <a:gd name="T94" fmla="*/ 2021 w 2241"/>
                <a:gd name="T95" fmla="*/ 916 h 1159"/>
                <a:gd name="T96" fmla="*/ 1839 w 2241"/>
                <a:gd name="T97" fmla="*/ 1021 h 1159"/>
                <a:gd name="T98" fmla="*/ 1603 w 2241"/>
                <a:gd name="T99" fmla="*/ 1103 h 1159"/>
                <a:gd name="T100" fmla="*/ 1316 w 2241"/>
                <a:gd name="T101" fmla="*/ 11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41" h="1159">
                  <a:moveTo>
                    <a:pt x="1120" y="76"/>
                  </a:moveTo>
                  <a:lnTo>
                    <a:pt x="1057" y="77"/>
                  </a:lnTo>
                  <a:lnTo>
                    <a:pt x="995" y="81"/>
                  </a:lnTo>
                  <a:lnTo>
                    <a:pt x="936" y="86"/>
                  </a:lnTo>
                  <a:lnTo>
                    <a:pt x="879" y="93"/>
                  </a:lnTo>
                  <a:lnTo>
                    <a:pt x="823" y="102"/>
                  </a:lnTo>
                  <a:lnTo>
                    <a:pt x="770" y="113"/>
                  </a:lnTo>
                  <a:lnTo>
                    <a:pt x="718" y="124"/>
                  </a:lnTo>
                  <a:lnTo>
                    <a:pt x="668" y="137"/>
                  </a:lnTo>
                  <a:lnTo>
                    <a:pt x="620" y="152"/>
                  </a:lnTo>
                  <a:lnTo>
                    <a:pt x="575" y="168"/>
                  </a:lnTo>
                  <a:lnTo>
                    <a:pt x="531" y="184"/>
                  </a:lnTo>
                  <a:lnTo>
                    <a:pt x="490" y="202"/>
                  </a:lnTo>
                  <a:lnTo>
                    <a:pt x="449" y="220"/>
                  </a:lnTo>
                  <a:lnTo>
                    <a:pt x="412" y="239"/>
                  </a:lnTo>
                  <a:lnTo>
                    <a:pt x="376" y="259"/>
                  </a:lnTo>
                  <a:lnTo>
                    <a:pt x="342" y="279"/>
                  </a:lnTo>
                  <a:lnTo>
                    <a:pt x="310" y="301"/>
                  </a:lnTo>
                  <a:lnTo>
                    <a:pt x="280" y="321"/>
                  </a:lnTo>
                  <a:lnTo>
                    <a:pt x="253" y="342"/>
                  </a:lnTo>
                  <a:lnTo>
                    <a:pt x="226" y="363"/>
                  </a:lnTo>
                  <a:lnTo>
                    <a:pt x="203" y="385"/>
                  </a:lnTo>
                  <a:lnTo>
                    <a:pt x="181" y="406"/>
                  </a:lnTo>
                  <a:lnTo>
                    <a:pt x="161" y="426"/>
                  </a:lnTo>
                  <a:lnTo>
                    <a:pt x="143" y="446"/>
                  </a:lnTo>
                  <a:lnTo>
                    <a:pt x="128" y="465"/>
                  </a:lnTo>
                  <a:lnTo>
                    <a:pt x="114" y="485"/>
                  </a:lnTo>
                  <a:lnTo>
                    <a:pt x="103" y="504"/>
                  </a:lnTo>
                  <a:lnTo>
                    <a:pt x="93" y="521"/>
                  </a:lnTo>
                  <a:lnTo>
                    <a:pt x="87" y="537"/>
                  </a:lnTo>
                  <a:lnTo>
                    <a:pt x="81" y="553"/>
                  </a:lnTo>
                  <a:lnTo>
                    <a:pt x="78" y="566"/>
                  </a:lnTo>
                  <a:lnTo>
                    <a:pt x="77" y="579"/>
                  </a:lnTo>
                  <a:lnTo>
                    <a:pt x="78" y="598"/>
                  </a:lnTo>
                  <a:lnTo>
                    <a:pt x="81" y="618"/>
                  </a:lnTo>
                  <a:lnTo>
                    <a:pt x="87" y="639"/>
                  </a:lnTo>
                  <a:lnTo>
                    <a:pt x="94" y="660"/>
                  </a:lnTo>
                  <a:lnTo>
                    <a:pt x="104" y="681"/>
                  </a:lnTo>
                  <a:lnTo>
                    <a:pt x="116" y="702"/>
                  </a:lnTo>
                  <a:lnTo>
                    <a:pt x="129" y="723"/>
                  </a:lnTo>
                  <a:lnTo>
                    <a:pt x="145" y="745"/>
                  </a:lnTo>
                  <a:lnTo>
                    <a:pt x="163" y="766"/>
                  </a:lnTo>
                  <a:lnTo>
                    <a:pt x="184" y="786"/>
                  </a:lnTo>
                  <a:lnTo>
                    <a:pt x="206" y="808"/>
                  </a:lnTo>
                  <a:lnTo>
                    <a:pt x="230" y="829"/>
                  </a:lnTo>
                  <a:lnTo>
                    <a:pt x="256" y="849"/>
                  </a:lnTo>
                  <a:lnTo>
                    <a:pt x="284" y="869"/>
                  </a:lnTo>
                  <a:lnTo>
                    <a:pt x="314" y="888"/>
                  </a:lnTo>
                  <a:lnTo>
                    <a:pt x="346" y="908"/>
                  </a:lnTo>
                  <a:lnTo>
                    <a:pt x="381" y="926"/>
                  </a:lnTo>
                  <a:lnTo>
                    <a:pt x="417" y="944"/>
                  </a:lnTo>
                  <a:lnTo>
                    <a:pt x="455" y="961"/>
                  </a:lnTo>
                  <a:lnTo>
                    <a:pt x="495" y="977"/>
                  </a:lnTo>
                  <a:lnTo>
                    <a:pt x="536" y="993"/>
                  </a:lnTo>
                  <a:lnTo>
                    <a:pt x="581" y="1006"/>
                  </a:lnTo>
                  <a:lnTo>
                    <a:pt x="627" y="1020"/>
                  </a:lnTo>
                  <a:lnTo>
                    <a:pt x="673" y="1032"/>
                  </a:lnTo>
                  <a:lnTo>
                    <a:pt x="723" y="1044"/>
                  </a:lnTo>
                  <a:lnTo>
                    <a:pt x="774" y="1053"/>
                  </a:lnTo>
                  <a:lnTo>
                    <a:pt x="828" y="1062"/>
                  </a:lnTo>
                  <a:lnTo>
                    <a:pt x="883" y="1068"/>
                  </a:lnTo>
                  <a:lnTo>
                    <a:pt x="939" y="1074"/>
                  </a:lnTo>
                  <a:lnTo>
                    <a:pt x="998" y="1079"/>
                  </a:lnTo>
                  <a:lnTo>
                    <a:pt x="1058" y="1081"/>
                  </a:lnTo>
                  <a:lnTo>
                    <a:pt x="1120" y="1082"/>
                  </a:lnTo>
                  <a:lnTo>
                    <a:pt x="1183" y="1081"/>
                  </a:lnTo>
                  <a:lnTo>
                    <a:pt x="1243" y="1079"/>
                  </a:lnTo>
                  <a:lnTo>
                    <a:pt x="1302" y="1074"/>
                  </a:lnTo>
                  <a:lnTo>
                    <a:pt x="1358" y="1068"/>
                  </a:lnTo>
                  <a:lnTo>
                    <a:pt x="1413" y="1062"/>
                  </a:lnTo>
                  <a:lnTo>
                    <a:pt x="1466" y="1053"/>
                  </a:lnTo>
                  <a:lnTo>
                    <a:pt x="1517" y="1044"/>
                  </a:lnTo>
                  <a:lnTo>
                    <a:pt x="1567" y="1032"/>
                  </a:lnTo>
                  <a:lnTo>
                    <a:pt x="1614" y="1020"/>
                  </a:lnTo>
                  <a:lnTo>
                    <a:pt x="1660" y="1006"/>
                  </a:lnTo>
                  <a:lnTo>
                    <a:pt x="1703" y="993"/>
                  </a:lnTo>
                  <a:lnTo>
                    <a:pt x="1746" y="977"/>
                  </a:lnTo>
                  <a:lnTo>
                    <a:pt x="1786" y="961"/>
                  </a:lnTo>
                  <a:lnTo>
                    <a:pt x="1823" y="944"/>
                  </a:lnTo>
                  <a:lnTo>
                    <a:pt x="1859" y="926"/>
                  </a:lnTo>
                  <a:lnTo>
                    <a:pt x="1893" y="908"/>
                  </a:lnTo>
                  <a:lnTo>
                    <a:pt x="1926" y="888"/>
                  </a:lnTo>
                  <a:lnTo>
                    <a:pt x="1956" y="869"/>
                  </a:lnTo>
                  <a:lnTo>
                    <a:pt x="1985" y="849"/>
                  </a:lnTo>
                  <a:lnTo>
                    <a:pt x="2010" y="829"/>
                  </a:lnTo>
                  <a:lnTo>
                    <a:pt x="2035" y="808"/>
                  </a:lnTo>
                  <a:lnTo>
                    <a:pt x="2057" y="786"/>
                  </a:lnTo>
                  <a:lnTo>
                    <a:pt x="2077" y="766"/>
                  </a:lnTo>
                  <a:lnTo>
                    <a:pt x="2095" y="745"/>
                  </a:lnTo>
                  <a:lnTo>
                    <a:pt x="2111" y="723"/>
                  </a:lnTo>
                  <a:lnTo>
                    <a:pt x="2125" y="702"/>
                  </a:lnTo>
                  <a:lnTo>
                    <a:pt x="2137" y="681"/>
                  </a:lnTo>
                  <a:lnTo>
                    <a:pt x="2146" y="660"/>
                  </a:lnTo>
                  <a:lnTo>
                    <a:pt x="2154" y="639"/>
                  </a:lnTo>
                  <a:lnTo>
                    <a:pt x="2159" y="618"/>
                  </a:lnTo>
                  <a:lnTo>
                    <a:pt x="2162" y="598"/>
                  </a:lnTo>
                  <a:lnTo>
                    <a:pt x="2163" y="579"/>
                  </a:lnTo>
                  <a:lnTo>
                    <a:pt x="2162" y="566"/>
                  </a:lnTo>
                  <a:lnTo>
                    <a:pt x="2159" y="553"/>
                  </a:lnTo>
                  <a:lnTo>
                    <a:pt x="2154" y="537"/>
                  </a:lnTo>
                  <a:lnTo>
                    <a:pt x="2147" y="521"/>
                  </a:lnTo>
                  <a:lnTo>
                    <a:pt x="2138" y="504"/>
                  </a:lnTo>
                  <a:lnTo>
                    <a:pt x="2126" y="485"/>
                  </a:lnTo>
                  <a:lnTo>
                    <a:pt x="2112" y="465"/>
                  </a:lnTo>
                  <a:lnTo>
                    <a:pt x="2096" y="446"/>
                  </a:lnTo>
                  <a:lnTo>
                    <a:pt x="2079" y="426"/>
                  </a:lnTo>
                  <a:lnTo>
                    <a:pt x="2059" y="406"/>
                  </a:lnTo>
                  <a:lnTo>
                    <a:pt x="2038" y="385"/>
                  </a:lnTo>
                  <a:lnTo>
                    <a:pt x="2014" y="363"/>
                  </a:lnTo>
                  <a:lnTo>
                    <a:pt x="1988" y="342"/>
                  </a:lnTo>
                  <a:lnTo>
                    <a:pt x="1960" y="321"/>
                  </a:lnTo>
                  <a:lnTo>
                    <a:pt x="1931" y="301"/>
                  </a:lnTo>
                  <a:lnTo>
                    <a:pt x="1899" y="279"/>
                  </a:lnTo>
                  <a:lnTo>
                    <a:pt x="1865" y="259"/>
                  </a:lnTo>
                  <a:lnTo>
                    <a:pt x="1829" y="239"/>
                  </a:lnTo>
                  <a:lnTo>
                    <a:pt x="1791" y="220"/>
                  </a:lnTo>
                  <a:lnTo>
                    <a:pt x="1751" y="202"/>
                  </a:lnTo>
                  <a:lnTo>
                    <a:pt x="1710" y="184"/>
                  </a:lnTo>
                  <a:lnTo>
                    <a:pt x="1666" y="168"/>
                  </a:lnTo>
                  <a:lnTo>
                    <a:pt x="1620" y="152"/>
                  </a:lnTo>
                  <a:lnTo>
                    <a:pt x="1573" y="137"/>
                  </a:lnTo>
                  <a:lnTo>
                    <a:pt x="1523" y="124"/>
                  </a:lnTo>
                  <a:lnTo>
                    <a:pt x="1471" y="113"/>
                  </a:lnTo>
                  <a:lnTo>
                    <a:pt x="1417" y="102"/>
                  </a:lnTo>
                  <a:lnTo>
                    <a:pt x="1362" y="93"/>
                  </a:lnTo>
                  <a:lnTo>
                    <a:pt x="1305" y="86"/>
                  </a:lnTo>
                  <a:lnTo>
                    <a:pt x="1245" y="81"/>
                  </a:lnTo>
                  <a:lnTo>
                    <a:pt x="1184" y="77"/>
                  </a:lnTo>
                  <a:lnTo>
                    <a:pt x="1120" y="76"/>
                  </a:lnTo>
                  <a:close/>
                  <a:moveTo>
                    <a:pt x="1120" y="1159"/>
                  </a:moveTo>
                  <a:lnTo>
                    <a:pt x="1053" y="1158"/>
                  </a:lnTo>
                  <a:lnTo>
                    <a:pt x="987" y="1155"/>
                  </a:lnTo>
                  <a:lnTo>
                    <a:pt x="923" y="1151"/>
                  </a:lnTo>
                  <a:lnTo>
                    <a:pt x="863" y="1145"/>
                  </a:lnTo>
                  <a:lnTo>
                    <a:pt x="803" y="1136"/>
                  </a:lnTo>
                  <a:lnTo>
                    <a:pt x="746" y="1126"/>
                  </a:lnTo>
                  <a:lnTo>
                    <a:pt x="690" y="1115"/>
                  </a:lnTo>
                  <a:lnTo>
                    <a:pt x="636" y="1103"/>
                  </a:lnTo>
                  <a:lnTo>
                    <a:pt x="585" y="1088"/>
                  </a:lnTo>
                  <a:lnTo>
                    <a:pt x="536" y="1073"/>
                  </a:lnTo>
                  <a:lnTo>
                    <a:pt x="490" y="1057"/>
                  </a:lnTo>
                  <a:lnTo>
                    <a:pt x="444" y="1039"/>
                  </a:lnTo>
                  <a:lnTo>
                    <a:pt x="401" y="1021"/>
                  </a:lnTo>
                  <a:lnTo>
                    <a:pt x="361" y="1002"/>
                  </a:lnTo>
                  <a:lnTo>
                    <a:pt x="322" y="981"/>
                  </a:lnTo>
                  <a:lnTo>
                    <a:pt x="286" y="961"/>
                  </a:lnTo>
                  <a:lnTo>
                    <a:pt x="252" y="938"/>
                  </a:lnTo>
                  <a:lnTo>
                    <a:pt x="220" y="916"/>
                  </a:lnTo>
                  <a:lnTo>
                    <a:pt x="189" y="893"/>
                  </a:lnTo>
                  <a:lnTo>
                    <a:pt x="161" y="869"/>
                  </a:lnTo>
                  <a:lnTo>
                    <a:pt x="136" y="846"/>
                  </a:lnTo>
                  <a:lnTo>
                    <a:pt x="112" y="821"/>
                  </a:lnTo>
                  <a:lnTo>
                    <a:pt x="91" y="797"/>
                  </a:lnTo>
                  <a:lnTo>
                    <a:pt x="72" y="773"/>
                  </a:lnTo>
                  <a:lnTo>
                    <a:pt x="55" y="748"/>
                  </a:lnTo>
                  <a:lnTo>
                    <a:pt x="40" y="723"/>
                  </a:lnTo>
                  <a:lnTo>
                    <a:pt x="28" y="698"/>
                  </a:lnTo>
                  <a:lnTo>
                    <a:pt x="18" y="674"/>
                  </a:lnTo>
                  <a:lnTo>
                    <a:pt x="10" y="649"/>
                  </a:lnTo>
                  <a:lnTo>
                    <a:pt x="4" y="626"/>
                  </a:lnTo>
                  <a:lnTo>
                    <a:pt x="1" y="602"/>
                  </a:lnTo>
                  <a:lnTo>
                    <a:pt x="0" y="579"/>
                  </a:lnTo>
                  <a:lnTo>
                    <a:pt x="1" y="563"/>
                  </a:lnTo>
                  <a:lnTo>
                    <a:pt x="4" y="545"/>
                  </a:lnTo>
                  <a:lnTo>
                    <a:pt x="10" y="526"/>
                  </a:lnTo>
                  <a:lnTo>
                    <a:pt x="18" y="506"/>
                  </a:lnTo>
                  <a:lnTo>
                    <a:pt x="28" y="486"/>
                  </a:lnTo>
                  <a:lnTo>
                    <a:pt x="41" y="463"/>
                  </a:lnTo>
                  <a:lnTo>
                    <a:pt x="55" y="441"/>
                  </a:lnTo>
                  <a:lnTo>
                    <a:pt x="72" y="418"/>
                  </a:lnTo>
                  <a:lnTo>
                    <a:pt x="91" y="394"/>
                  </a:lnTo>
                  <a:lnTo>
                    <a:pt x="113" y="370"/>
                  </a:lnTo>
                  <a:lnTo>
                    <a:pt x="137" y="346"/>
                  </a:lnTo>
                  <a:lnTo>
                    <a:pt x="162" y="322"/>
                  </a:lnTo>
                  <a:lnTo>
                    <a:pt x="190" y="297"/>
                  </a:lnTo>
                  <a:lnTo>
                    <a:pt x="221" y="274"/>
                  </a:lnTo>
                  <a:lnTo>
                    <a:pt x="253" y="250"/>
                  </a:lnTo>
                  <a:lnTo>
                    <a:pt x="287" y="226"/>
                  </a:lnTo>
                  <a:lnTo>
                    <a:pt x="324" y="203"/>
                  </a:lnTo>
                  <a:lnTo>
                    <a:pt x="362" y="181"/>
                  </a:lnTo>
                  <a:lnTo>
                    <a:pt x="402" y="159"/>
                  </a:lnTo>
                  <a:lnTo>
                    <a:pt x="446" y="139"/>
                  </a:lnTo>
                  <a:lnTo>
                    <a:pt x="491" y="119"/>
                  </a:lnTo>
                  <a:lnTo>
                    <a:pt x="537" y="100"/>
                  </a:lnTo>
                  <a:lnTo>
                    <a:pt x="587" y="83"/>
                  </a:lnTo>
                  <a:lnTo>
                    <a:pt x="638" y="67"/>
                  </a:lnTo>
                  <a:lnTo>
                    <a:pt x="692" y="52"/>
                  </a:lnTo>
                  <a:lnTo>
                    <a:pt x="747" y="38"/>
                  </a:lnTo>
                  <a:lnTo>
                    <a:pt x="804" y="28"/>
                  </a:lnTo>
                  <a:lnTo>
                    <a:pt x="863" y="18"/>
                  </a:lnTo>
                  <a:lnTo>
                    <a:pt x="924" y="9"/>
                  </a:lnTo>
                  <a:lnTo>
                    <a:pt x="988" y="4"/>
                  </a:lnTo>
                  <a:lnTo>
                    <a:pt x="1053" y="1"/>
                  </a:lnTo>
                  <a:lnTo>
                    <a:pt x="1120" y="0"/>
                  </a:lnTo>
                  <a:lnTo>
                    <a:pt x="1188" y="1"/>
                  </a:lnTo>
                  <a:lnTo>
                    <a:pt x="1253" y="4"/>
                  </a:lnTo>
                  <a:lnTo>
                    <a:pt x="1316" y="9"/>
                  </a:lnTo>
                  <a:lnTo>
                    <a:pt x="1377" y="18"/>
                  </a:lnTo>
                  <a:lnTo>
                    <a:pt x="1436" y="28"/>
                  </a:lnTo>
                  <a:lnTo>
                    <a:pt x="1494" y="38"/>
                  </a:lnTo>
                  <a:lnTo>
                    <a:pt x="1549" y="52"/>
                  </a:lnTo>
                  <a:lnTo>
                    <a:pt x="1602" y="67"/>
                  </a:lnTo>
                  <a:lnTo>
                    <a:pt x="1653" y="83"/>
                  </a:lnTo>
                  <a:lnTo>
                    <a:pt x="1703" y="100"/>
                  </a:lnTo>
                  <a:lnTo>
                    <a:pt x="1750" y="119"/>
                  </a:lnTo>
                  <a:lnTo>
                    <a:pt x="1795" y="139"/>
                  </a:lnTo>
                  <a:lnTo>
                    <a:pt x="1837" y="159"/>
                  </a:lnTo>
                  <a:lnTo>
                    <a:pt x="1879" y="181"/>
                  </a:lnTo>
                  <a:lnTo>
                    <a:pt x="1917" y="203"/>
                  </a:lnTo>
                  <a:lnTo>
                    <a:pt x="1954" y="226"/>
                  </a:lnTo>
                  <a:lnTo>
                    <a:pt x="1988" y="250"/>
                  </a:lnTo>
                  <a:lnTo>
                    <a:pt x="2020" y="274"/>
                  </a:lnTo>
                  <a:lnTo>
                    <a:pt x="2051" y="297"/>
                  </a:lnTo>
                  <a:lnTo>
                    <a:pt x="2078" y="322"/>
                  </a:lnTo>
                  <a:lnTo>
                    <a:pt x="2104" y="346"/>
                  </a:lnTo>
                  <a:lnTo>
                    <a:pt x="2127" y="370"/>
                  </a:lnTo>
                  <a:lnTo>
                    <a:pt x="2150" y="394"/>
                  </a:lnTo>
                  <a:lnTo>
                    <a:pt x="2169" y="418"/>
                  </a:lnTo>
                  <a:lnTo>
                    <a:pt x="2186" y="441"/>
                  </a:lnTo>
                  <a:lnTo>
                    <a:pt x="2200" y="463"/>
                  </a:lnTo>
                  <a:lnTo>
                    <a:pt x="2212" y="486"/>
                  </a:lnTo>
                  <a:lnTo>
                    <a:pt x="2223" y="506"/>
                  </a:lnTo>
                  <a:lnTo>
                    <a:pt x="2230" y="526"/>
                  </a:lnTo>
                  <a:lnTo>
                    <a:pt x="2237" y="545"/>
                  </a:lnTo>
                  <a:lnTo>
                    <a:pt x="2240" y="563"/>
                  </a:lnTo>
                  <a:lnTo>
                    <a:pt x="2241" y="579"/>
                  </a:lnTo>
                  <a:lnTo>
                    <a:pt x="2240" y="602"/>
                  </a:lnTo>
                  <a:lnTo>
                    <a:pt x="2237" y="626"/>
                  </a:lnTo>
                  <a:lnTo>
                    <a:pt x="2230" y="649"/>
                  </a:lnTo>
                  <a:lnTo>
                    <a:pt x="2223" y="674"/>
                  </a:lnTo>
                  <a:lnTo>
                    <a:pt x="2212" y="698"/>
                  </a:lnTo>
                  <a:lnTo>
                    <a:pt x="2201" y="723"/>
                  </a:lnTo>
                  <a:lnTo>
                    <a:pt x="2186" y="748"/>
                  </a:lnTo>
                  <a:lnTo>
                    <a:pt x="2169" y="773"/>
                  </a:lnTo>
                  <a:lnTo>
                    <a:pt x="2150" y="797"/>
                  </a:lnTo>
                  <a:lnTo>
                    <a:pt x="2128" y="821"/>
                  </a:lnTo>
                  <a:lnTo>
                    <a:pt x="2105" y="846"/>
                  </a:lnTo>
                  <a:lnTo>
                    <a:pt x="2079" y="869"/>
                  </a:lnTo>
                  <a:lnTo>
                    <a:pt x="2052" y="893"/>
                  </a:lnTo>
                  <a:lnTo>
                    <a:pt x="2021" y="916"/>
                  </a:lnTo>
                  <a:lnTo>
                    <a:pt x="1989" y="938"/>
                  </a:lnTo>
                  <a:lnTo>
                    <a:pt x="1955" y="961"/>
                  </a:lnTo>
                  <a:lnTo>
                    <a:pt x="1918" y="981"/>
                  </a:lnTo>
                  <a:lnTo>
                    <a:pt x="1880" y="1002"/>
                  </a:lnTo>
                  <a:lnTo>
                    <a:pt x="1839" y="1021"/>
                  </a:lnTo>
                  <a:lnTo>
                    <a:pt x="1796" y="1039"/>
                  </a:lnTo>
                  <a:lnTo>
                    <a:pt x="1751" y="1057"/>
                  </a:lnTo>
                  <a:lnTo>
                    <a:pt x="1704" y="1073"/>
                  </a:lnTo>
                  <a:lnTo>
                    <a:pt x="1655" y="1088"/>
                  </a:lnTo>
                  <a:lnTo>
                    <a:pt x="1603" y="1103"/>
                  </a:lnTo>
                  <a:lnTo>
                    <a:pt x="1550" y="1115"/>
                  </a:lnTo>
                  <a:lnTo>
                    <a:pt x="1495" y="1126"/>
                  </a:lnTo>
                  <a:lnTo>
                    <a:pt x="1438" y="1136"/>
                  </a:lnTo>
                  <a:lnTo>
                    <a:pt x="1378" y="1145"/>
                  </a:lnTo>
                  <a:lnTo>
                    <a:pt x="1316" y="1151"/>
                  </a:lnTo>
                  <a:lnTo>
                    <a:pt x="1254" y="1155"/>
                  </a:lnTo>
                  <a:lnTo>
                    <a:pt x="1188" y="1158"/>
                  </a:lnTo>
                  <a:lnTo>
                    <a:pt x="1120" y="1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46">
              <a:extLst>
                <a:ext uri="{FF2B5EF4-FFF2-40B4-BE49-F238E27FC236}">
                  <a16:creationId xmlns:a16="http://schemas.microsoft.com/office/drawing/2014/main" id="{88E1CBE1-4751-48D4-9768-4DB30D9BB7DB}"/>
                </a:ext>
              </a:extLst>
            </p:cNvPr>
            <p:cNvSpPr>
              <a:spLocks noEditPoints="1"/>
            </p:cNvSpPr>
            <p:nvPr/>
          </p:nvSpPr>
          <p:spPr bwMode="auto">
            <a:xfrm>
              <a:off x="9777413" y="4351338"/>
              <a:ext cx="449263" cy="449263"/>
            </a:xfrm>
            <a:custGeom>
              <a:avLst/>
              <a:gdLst>
                <a:gd name="T0" fmla="*/ 356 w 850"/>
                <a:gd name="T1" fmla="*/ 85 h 850"/>
                <a:gd name="T2" fmla="*/ 275 w 850"/>
                <a:gd name="T3" fmla="*/ 112 h 850"/>
                <a:gd name="T4" fmla="*/ 204 w 850"/>
                <a:gd name="T5" fmla="*/ 157 h 850"/>
                <a:gd name="T6" fmla="*/ 146 w 850"/>
                <a:gd name="T7" fmla="*/ 217 h 850"/>
                <a:gd name="T8" fmla="*/ 105 w 850"/>
                <a:gd name="T9" fmla="*/ 290 h 850"/>
                <a:gd name="T10" fmla="*/ 82 w 850"/>
                <a:gd name="T11" fmla="*/ 372 h 850"/>
                <a:gd name="T12" fmla="*/ 79 w 850"/>
                <a:gd name="T13" fmla="*/ 461 h 850"/>
                <a:gd name="T14" fmla="*/ 99 w 850"/>
                <a:gd name="T15" fmla="*/ 545 h 850"/>
                <a:gd name="T16" fmla="*/ 137 w 850"/>
                <a:gd name="T17" fmla="*/ 620 h 850"/>
                <a:gd name="T18" fmla="*/ 192 w 850"/>
                <a:gd name="T19" fmla="*/ 682 h 850"/>
                <a:gd name="T20" fmla="*/ 260 w 850"/>
                <a:gd name="T21" fmla="*/ 731 h 850"/>
                <a:gd name="T22" fmla="*/ 339 w 850"/>
                <a:gd name="T23" fmla="*/ 762 h 850"/>
                <a:gd name="T24" fmla="*/ 425 w 850"/>
                <a:gd name="T25" fmla="*/ 773 h 850"/>
                <a:gd name="T26" fmla="*/ 512 w 850"/>
                <a:gd name="T27" fmla="*/ 762 h 850"/>
                <a:gd name="T28" fmla="*/ 591 w 850"/>
                <a:gd name="T29" fmla="*/ 731 h 850"/>
                <a:gd name="T30" fmla="*/ 659 w 850"/>
                <a:gd name="T31" fmla="*/ 682 h 850"/>
                <a:gd name="T32" fmla="*/ 714 w 850"/>
                <a:gd name="T33" fmla="*/ 620 h 850"/>
                <a:gd name="T34" fmla="*/ 752 w 850"/>
                <a:gd name="T35" fmla="*/ 545 h 850"/>
                <a:gd name="T36" fmla="*/ 771 w 850"/>
                <a:gd name="T37" fmla="*/ 461 h 850"/>
                <a:gd name="T38" fmla="*/ 769 w 850"/>
                <a:gd name="T39" fmla="*/ 372 h 850"/>
                <a:gd name="T40" fmla="*/ 746 w 850"/>
                <a:gd name="T41" fmla="*/ 290 h 850"/>
                <a:gd name="T42" fmla="*/ 704 w 850"/>
                <a:gd name="T43" fmla="*/ 217 h 850"/>
                <a:gd name="T44" fmla="*/ 647 w 850"/>
                <a:gd name="T45" fmla="*/ 157 h 850"/>
                <a:gd name="T46" fmla="*/ 576 w 850"/>
                <a:gd name="T47" fmla="*/ 112 h 850"/>
                <a:gd name="T48" fmla="*/ 495 w 850"/>
                <a:gd name="T49" fmla="*/ 85 h 850"/>
                <a:gd name="T50" fmla="*/ 425 w 850"/>
                <a:gd name="T51" fmla="*/ 850 h 850"/>
                <a:gd name="T52" fmla="*/ 320 w 850"/>
                <a:gd name="T53" fmla="*/ 837 h 850"/>
                <a:gd name="T54" fmla="*/ 223 w 850"/>
                <a:gd name="T55" fmla="*/ 799 h 850"/>
                <a:gd name="T56" fmla="*/ 140 w 850"/>
                <a:gd name="T57" fmla="*/ 740 h 850"/>
                <a:gd name="T58" fmla="*/ 73 w 850"/>
                <a:gd name="T59" fmla="*/ 663 h 850"/>
                <a:gd name="T60" fmla="*/ 26 w 850"/>
                <a:gd name="T61" fmla="*/ 572 h 850"/>
                <a:gd name="T62" fmla="*/ 3 w 850"/>
                <a:gd name="T63" fmla="*/ 469 h 850"/>
                <a:gd name="T64" fmla="*/ 5 w 850"/>
                <a:gd name="T65" fmla="*/ 360 h 850"/>
                <a:gd name="T66" fmla="*/ 34 w 850"/>
                <a:gd name="T67" fmla="*/ 260 h 850"/>
                <a:gd name="T68" fmla="*/ 85 w 850"/>
                <a:gd name="T69" fmla="*/ 171 h 850"/>
                <a:gd name="T70" fmla="*/ 155 w 850"/>
                <a:gd name="T71" fmla="*/ 98 h 850"/>
                <a:gd name="T72" fmla="*/ 241 w 850"/>
                <a:gd name="T73" fmla="*/ 43 h 850"/>
                <a:gd name="T74" fmla="*/ 340 w 850"/>
                <a:gd name="T75" fmla="*/ 8 h 850"/>
                <a:gd name="T76" fmla="*/ 447 w 850"/>
                <a:gd name="T77" fmla="*/ 1 h 850"/>
                <a:gd name="T78" fmla="*/ 551 w 850"/>
                <a:gd name="T79" fmla="*/ 19 h 850"/>
                <a:gd name="T80" fmla="*/ 646 w 850"/>
                <a:gd name="T81" fmla="*/ 62 h 850"/>
                <a:gd name="T82" fmla="*/ 726 w 850"/>
                <a:gd name="T83" fmla="*/ 124 h 850"/>
                <a:gd name="T84" fmla="*/ 788 w 850"/>
                <a:gd name="T85" fmla="*/ 205 h 850"/>
                <a:gd name="T86" fmla="*/ 831 w 850"/>
                <a:gd name="T87" fmla="*/ 299 h 850"/>
                <a:gd name="T88" fmla="*/ 850 w 850"/>
                <a:gd name="T89" fmla="*/ 404 h 850"/>
                <a:gd name="T90" fmla="*/ 841 w 850"/>
                <a:gd name="T91" fmla="*/ 511 h 850"/>
                <a:gd name="T92" fmla="*/ 808 w 850"/>
                <a:gd name="T93" fmla="*/ 609 h 850"/>
                <a:gd name="T94" fmla="*/ 753 w 850"/>
                <a:gd name="T95" fmla="*/ 695 h 850"/>
                <a:gd name="T96" fmla="*/ 680 w 850"/>
                <a:gd name="T97" fmla="*/ 766 h 850"/>
                <a:gd name="T98" fmla="*/ 591 w 850"/>
                <a:gd name="T99" fmla="*/ 817 h 850"/>
                <a:gd name="T100" fmla="*/ 490 w 850"/>
                <a:gd name="T101" fmla="*/ 846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0" h="850">
                  <a:moveTo>
                    <a:pt x="425" y="78"/>
                  </a:moveTo>
                  <a:lnTo>
                    <a:pt x="408" y="78"/>
                  </a:lnTo>
                  <a:lnTo>
                    <a:pt x="390" y="80"/>
                  </a:lnTo>
                  <a:lnTo>
                    <a:pt x="373" y="82"/>
                  </a:lnTo>
                  <a:lnTo>
                    <a:pt x="356" y="85"/>
                  </a:lnTo>
                  <a:lnTo>
                    <a:pt x="339" y="88"/>
                  </a:lnTo>
                  <a:lnTo>
                    <a:pt x="322" y="94"/>
                  </a:lnTo>
                  <a:lnTo>
                    <a:pt x="306" y="99"/>
                  </a:lnTo>
                  <a:lnTo>
                    <a:pt x="290" y="105"/>
                  </a:lnTo>
                  <a:lnTo>
                    <a:pt x="275" y="112"/>
                  </a:lnTo>
                  <a:lnTo>
                    <a:pt x="260" y="119"/>
                  </a:lnTo>
                  <a:lnTo>
                    <a:pt x="245" y="128"/>
                  </a:lnTo>
                  <a:lnTo>
                    <a:pt x="231" y="137"/>
                  </a:lnTo>
                  <a:lnTo>
                    <a:pt x="218" y="147"/>
                  </a:lnTo>
                  <a:lnTo>
                    <a:pt x="204" y="157"/>
                  </a:lnTo>
                  <a:lnTo>
                    <a:pt x="192" y="168"/>
                  </a:lnTo>
                  <a:lnTo>
                    <a:pt x="179" y="180"/>
                  </a:lnTo>
                  <a:lnTo>
                    <a:pt x="168" y="191"/>
                  </a:lnTo>
                  <a:lnTo>
                    <a:pt x="157" y="204"/>
                  </a:lnTo>
                  <a:lnTo>
                    <a:pt x="146" y="217"/>
                  </a:lnTo>
                  <a:lnTo>
                    <a:pt x="137" y="231"/>
                  </a:lnTo>
                  <a:lnTo>
                    <a:pt x="128" y="246"/>
                  </a:lnTo>
                  <a:lnTo>
                    <a:pt x="120" y="259"/>
                  </a:lnTo>
                  <a:lnTo>
                    <a:pt x="111" y="274"/>
                  </a:lnTo>
                  <a:lnTo>
                    <a:pt x="105" y="290"/>
                  </a:lnTo>
                  <a:lnTo>
                    <a:pt x="99" y="306"/>
                  </a:lnTo>
                  <a:lnTo>
                    <a:pt x="93" y="322"/>
                  </a:lnTo>
                  <a:lnTo>
                    <a:pt x="89" y="338"/>
                  </a:lnTo>
                  <a:lnTo>
                    <a:pt x="85" y="355"/>
                  </a:lnTo>
                  <a:lnTo>
                    <a:pt x="82" y="372"/>
                  </a:lnTo>
                  <a:lnTo>
                    <a:pt x="79" y="390"/>
                  </a:lnTo>
                  <a:lnTo>
                    <a:pt x="78" y="407"/>
                  </a:lnTo>
                  <a:lnTo>
                    <a:pt x="77" y="425"/>
                  </a:lnTo>
                  <a:lnTo>
                    <a:pt x="78" y="443"/>
                  </a:lnTo>
                  <a:lnTo>
                    <a:pt x="79" y="461"/>
                  </a:lnTo>
                  <a:lnTo>
                    <a:pt x="82" y="478"/>
                  </a:lnTo>
                  <a:lnTo>
                    <a:pt x="85" y="495"/>
                  </a:lnTo>
                  <a:lnTo>
                    <a:pt x="88" y="512"/>
                  </a:lnTo>
                  <a:lnTo>
                    <a:pt x="93" y="528"/>
                  </a:lnTo>
                  <a:lnTo>
                    <a:pt x="99" y="545"/>
                  </a:lnTo>
                  <a:lnTo>
                    <a:pt x="105" y="560"/>
                  </a:lnTo>
                  <a:lnTo>
                    <a:pt x="111" y="576"/>
                  </a:lnTo>
                  <a:lnTo>
                    <a:pt x="120" y="591"/>
                  </a:lnTo>
                  <a:lnTo>
                    <a:pt x="128" y="606"/>
                  </a:lnTo>
                  <a:lnTo>
                    <a:pt x="137" y="620"/>
                  </a:lnTo>
                  <a:lnTo>
                    <a:pt x="146" y="633"/>
                  </a:lnTo>
                  <a:lnTo>
                    <a:pt x="157" y="646"/>
                  </a:lnTo>
                  <a:lnTo>
                    <a:pt x="168" y="659"/>
                  </a:lnTo>
                  <a:lnTo>
                    <a:pt x="179" y="671"/>
                  </a:lnTo>
                  <a:lnTo>
                    <a:pt x="192" y="682"/>
                  </a:lnTo>
                  <a:lnTo>
                    <a:pt x="204" y="694"/>
                  </a:lnTo>
                  <a:lnTo>
                    <a:pt x="218" y="704"/>
                  </a:lnTo>
                  <a:lnTo>
                    <a:pt x="231" y="713"/>
                  </a:lnTo>
                  <a:lnTo>
                    <a:pt x="245" y="723"/>
                  </a:lnTo>
                  <a:lnTo>
                    <a:pt x="260" y="731"/>
                  </a:lnTo>
                  <a:lnTo>
                    <a:pt x="275" y="739"/>
                  </a:lnTo>
                  <a:lnTo>
                    <a:pt x="290" y="746"/>
                  </a:lnTo>
                  <a:lnTo>
                    <a:pt x="306" y="752"/>
                  </a:lnTo>
                  <a:lnTo>
                    <a:pt x="322" y="758"/>
                  </a:lnTo>
                  <a:lnTo>
                    <a:pt x="339" y="762"/>
                  </a:lnTo>
                  <a:lnTo>
                    <a:pt x="356" y="766"/>
                  </a:lnTo>
                  <a:lnTo>
                    <a:pt x="373" y="769"/>
                  </a:lnTo>
                  <a:lnTo>
                    <a:pt x="390" y="772"/>
                  </a:lnTo>
                  <a:lnTo>
                    <a:pt x="408" y="773"/>
                  </a:lnTo>
                  <a:lnTo>
                    <a:pt x="425" y="773"/>
                  </a:lnTo>
                  <a:lnTo>
                    <a:pt x="443" y="773"/>
                  </a:lnTo>
                  <a:lnTo>
                    <a:pt x="461" y="772"/>
                  </a:lnTo>
                  <a:lnTo>
                    <a:pt x="478" y="769"/>
                  </a:lnTo>
                  <a:lnTo>
                    <a:pt x="495" y="766"/>
                  </a:lnTo>
                  <a:lnTo>
                    <a:pt x="512" y="762"/>
                  </a:lnTo>
                  <a:lnTo>
                    <a:pt x="529" y="758"/>
                  </a:lnTo>
                  <a:lnTo>
                    <a:pt x="545" y="752"/>
                  </a:lnTo>
                  <a:lnTo>
                    <a:pt x="561" y="746"/>
                  </a:lnTo>
                  <a:lnTo>
                    <a:pt x="576" y="739"/>
                  </a:lnTo>
                  <a:lnTo>
                    <a:pt x="591" y="731"/>
                  </a:lnTo>
                  <a:lnTo>
                    <a:pt x="605" y="723"/>
                  </a:lnTo>
                  <a:lnTo>
                    <a:pt x="619" y="713"/>
                  </a:lnTo>
                  <a:lnTo>
                    <a:pt x="633" y="704"/>
                  </a:lnTo>
                  <a:lnTo>
                    <a:pt x="647" y="694"/>
                  </a:lnTo>
                  <a:lnTo>
                    <a:pt x="659" y="682"/>
                  </a:lnTo>
                  <a:lnTo>
                    <a:pt x="671" y="671"/>
                  </a:lnTo>
                  <a:lnTo>
                    <a:pt x="683" y="659"/>
                  </a:lnTo>
                  <a:lnTo>
                    <a:pt x="694" y="646"/>
                  </a:lnTo>
                  <a:lnTo>
                    <a:pt x="704" y="633"/>
                  </a:lnTo>
                  <a:lnTo>
                    <a:pt x="714" y="620"/>
                  </a:lnTo>
                  <a:lnTo>
                    <a:pt x="722" y="606"/>
                  </a:lnTo>
                  <a:lnTo>
                    <a:pt x="731" y="591"/>
                  </a:lnTo>
                  <a:lnTo>
                    <a:pt x="738" y="576"/>
                  </a:lnTo>
                  <a:lnTo>
                    <a:pt x="746" y="560"/>
                  </a:lnTo>
                  <a:lnTo>
                    <a:pt x="752" y="545"/>
                  </a:lnTo>
                  <a:lnTo>
                    <a:pt x="757" y="528"/>
                  </a:lnTo>
                  <a:lnTo>
                    <a:pt x="762" y="512"/>
                  </a:lnTo>
                  <a:lnTo>
                    <a:pt x="766" y="495"/>
                  </a:lnTo>
                  <a:lnTo>
                    <a:pt x="769" y="478"/>
                  </a:lnTo>
                  <a:lnTo>
                    <a:pt x="771" y="461"/>
                  </a:lnTo>
                  <a:lnTo>
                    <a:pt x="772" y="443"/>
                  </a:lnTo>
                  <a:lnTo>
                    <a:pt x="773" y="425"/>
                  </a:lnTo>
                  <a:lnTo>
                    <a:pt x="772" y="407"/>
                  </a:lnTo>
                  <a:lnTo>
                    <a:pt x="771" y="390"/>
                  </a:lnTo>
                  <a:lnTo>
                    <a:pt x="769" y="372"/>
                  </a:lnTo>
                  <a:lnTo>
                    <a:pt x="766" y="355"/>
                  </a:lnTo>
                  <a:lnTo>
                    <a:pt x="762" y="338"/>
                  </a:lnTo>
                  <a:lnTo>
                    <a:pt x="757" y="322"/>
                  </a:lnTo>
                  <a:lnTo>
                    <a:pt x="752" y="306"/>
                  </a:lnTo>
                  <a:lnTo>
                    <a:pt x="746" y="290"/>
                  </a:lnTo>
                  <a:lnTo>
                    <a:pt x="738" y="274"/>
                  </a:lnTo>
                  <a:lnTo>
                    <a:pt x="731" y="259"/>
                  </a:lnTo>
                  <a:lnTo>
                    <a:pt x="722" y="246"/>
                  </a:lnTo>
                  <a:lnTo>
                    <a:pt x="714" y="231"/>
                  </a:lnTo>
                  <a:lnTo>
                    <a:pt x="704" y="217"/>
                  </a:lnTo>
                  <a:lnTo>
                    <a:pt x="694" y="204"/>
                  </a:lnTo>
                  <a:lnTo>
                    <a:pt x="683" y="191"/>
                  </a:lnTo>
                  <a:lnTo>
                    <a:pt x="671" y="180"/>
                  </a:lnTo>
                  <a:lnTo>
                    <a:pt x="659" y="168"/>
                  </a:lnTo>
                  <a:lnTo>
                    <a:pt x="647" y="157"/>
                  </a:lnTo>
                  <a:lnTo>
                    <a:pt x="633" y="147"/>
                  </a:lnTo>
                  <a:lnTo>
                    <a:pt x="619" y="137"/>
                  </a:lnTo>
                  <a:lnTo>
                    <a:pt x="605" y="128"/>
                  </a:lnTo>
                  <a:lnTo>
                    <a:pt x="591" y="119"/>
                  </a:lnTo>
                  <a:lnTo>
                    <a:pt x="576" y="112"/>
                  </a:lnTo>
                  <a:lnTo>
                    <a:pt x="561" y="105"/>
                  </a:lnTo>
                  <a:lnTo>
                    <a:pt x="545" y="99"/>
                  </a:lnTo>
                  <a:lnTo>
                    <a:pt x="529" y="94"/>
                  </a:lnTo>
                  <a:lnTo>
                    <a:pt x="512" y="88"/>
                  </a:lnTo>
                  <a:lnTo>
                    <a:pt x="495" y="85"/>
                  </a:lnTo>
                  <a:lnTo>
                    <a:pt x="478" y="82"/>
                  </a:lnTo>
                  <a:lnTo>
                    <a:pt x="461" y="80"/>
                  </a:lnTo>
                  <a:lnTo>
                    <a:pt x="443" y="78"/>
                  </a:lnTo>
                  <a:lnTo>
                    <a:pt x="425" y="78"/>
                  </a:lnTo>
                  <a:close/>
                  <a:moveTo>
                    <a:pt x="425" y="850"/>
                  </a:moveTo>
                  <a:lnTo>
                    <a:pt x="404" y="850"/>
                  </a:lnTo>
                  <a:lnTo>
                    <a:pt x="382" y="848"/>
                  </a:lnTo>
                  <a:lnTo>
                    <a:pt x="361" y="846"/>
                  </a:lnTo>
                  <a:lnTo>
                    <a:pt x="340" y="842"/>
                  </a:lnTo>
                  <a:lnTo>
                    <a:pt x="320" y="837"/>
                  </a:lnTo>
                  <a:lnTo>
                    <a:pt x="299" y="831"/>
                  </a:lnTo>
                  <a:lnTo>
                    <a:pt x="279" y="825"/>
                  </a:lnTo>
                  <a:lnTo>
                    <a:pt x="260" y="817"/>
                  </a:lnTo>
                  <a:lnTo>
                    <a:pt x="241" y="809"/>
                  </a:lnTo>
                  <a:lnTo>
                    <a:pt x="223" y="799"/>
                  </a:lnTo>
                  <a:lnTo>
                    <a:pt x="205" y="789"/>
                  </a:lnTo>
                  <a:lnTo>
                    <a:pt x="188" y="778"/>
                  </a:lnTo>
                  <a:lnTo>
                    <a:pt x="171" y="766"/>
                  </a:lnTo>
                  <a:lnTo>
                    <a:pt x="155" y="754"/>
                  </a:lnTo>
                  <a:lnTo>
                    <a:pt x="140" y="740"/>
                  </a:lnTo>
                  <a:lnTo>
                    <a:pt x="125" y="726"/>
                  </a:lnTo>
                  <a:lnTo>
                    <a:pt x="110" y="711"/>
                  </a:lnTo>
                  <a:lnTo>
                    <a:pt x="97" y="695"/>
                  </a:lnTo>
                  <a:lnTo>
                    <a:pt x="85" y="679"/>
                  </a:lnTo>
                  <a:lnTo>
                    <a:pt x="73" y="663"/>
                  </a:lnTo>
                  <a:lnTo>
                    <a:pt x="61" y="645"/>
                  </a:lnTo>
                  <a:lnTo>
                    <a:pt x="52" y="628"/>
                  </a:lnTo>
                  <a:lnTo>
                    <a:pt x="42" y="609"/>
                  </a:lnTo>
                  <a:lnTo>
                    <a:pt x="34" y="591"/>
                  </a:lnTo>
                  <a:lnTo>
                    <a:pt x="26" y="572"/>
                  </a:lnTo>
                  <a:lnTo>
                    <a:pt x="19" y="552"/>
                  </a:lnTo>
                  <a:lnTo>
                    <a:pt x="14" y="531"/>
                  </a:lnTo>
                  <a:lnTo>
                    <a:pt x="9" y="511"/>
                  </a:lnTo>
                  <a:lnTo>
                    <a:pt x="5" y="490"/>
                  </a:lnTo>
                  <a:lnTo>
                    <a:pt x="3" y="469"/>
                  </a:lnTo>
                  <a:lnTo>
                    <a:pt x="1" y="447"/>
                  </a:lnTo>
                  <a:lnTo>
                    <a:pt x="0" y="425"/>
                  </a:lnTo>
                  <a:lnTo>
                    <a:pt x="1" y="404"/>
                  </a:lnTo>
                  <a:lnTo>
                    <a:pt x="3" y="382"/>
                  </a:lnTo>
                  <a:lnTo>
                    <a:pt x="5" y="360"/>
                  </a:lnTo>
                  <a:lnTo>
                    <a:pt x="9" y="340"/>
                  </a:lnTo>
                  <a:lnTo>
                    <a:pt x="14" y="319"/>
                  </a:lnTo>
                  <a:lnTo>
                    <a:pt x="19" y="299"/>
                  </a:lnTo>
                  <a:lnTo>
                    <a:pt x="26" y="280"/>
                  </a:lnTo>
                  <a:lnTo>
                    <a:pt x="34" y="260"/>
                  </a:lnTo>
                  <a:lnTo>
                    <a:pt x="42" y="241"/>
                  </a:lnTo>
                  <a:lnTo>
                    <a:pt x="52" y="223"/>
                  </a:lnTo>
                  <a:lnTo>
                    <a:pt x="61" y="205"/>
                  </a:lnTo>
                  <a:lnTo>
                    <a:pt x="73" y="188"/>
                  </a:lnTo>
                  <a:lnTo>
                    <a:pt x="85" y="171"/>
                  </a:lnTo>
                  <a:lnTo>
                    <a:pt x="97" y="155"/>
                  </a:lnTo>
                  <a:lnTo>
                    <a:pt x="110" y="139"/>
                  </a:lnTo>
                  <a:lnTo>
                    <a:pt x="125" y="124"/>
                  </a:lnTo>
                  <a:lnTo>
                    <a:pt x="140" y="111"/>
                  </a:lnTo>
                  <a:lnTo>
                    <a:pt x="155" y="98"/>
                  </a:lnTo>
                  <a:lnTo>
                    <a:pt x="171" y="85"/>
                  </a:lnTo>
                  <a:lnTo>
                    <a:pt x="188" y="73"/>
                  </a:lnTo>
                  <a:lnTo>
                    <a:pt x="205" y="62"/>
                  </a:lnTo>
                  <a:lnTo>
                    <a:pt x="223" y="51"/>
                  </a:lnTo>
                  <a:lnTo>
                    <a:pt x="241" y="43"/>
                  </a:lnTo>
                  <a:lnTo>
                    <a:pt x="260" y="34"/>
                  </a:lnTo>
                  <a:lnTo>
                    <a:pt x="279" y="26"/>
                  </a:lnTo>
                  <a:lnTo>
                    <a:pt x="299" y="19"/>
                  </a:lnTo>
                  <a:lnTo>
                    <a:pt x="320" y="14"/>
                  </a:lnTo>
                  <a:lnTo>
                    <a:pt x="340" y="8"/>
                  </a:lnTo>
                  <a:lnTo>
                    <a:pt x="361" y="5"/>
                  </a:lnTo>
                  <a:lnTo>
                    <a:pt x="382" y="2"/>
                  </a:lnTo>
                  <a:lnTo>
                    <a:pt x="404" y="1"/>
                  </a:lnTo>
                  <a:lnTo>
                    <a:pt x="425" y="0"/>
                  </a:lnTo>
                  <a:lnTo>
                    <a:pt x="447" y="1"/>
                  </a:lnTo>
                  <a:lnTo>
                    <a:pt x="468" y="2"/>
                  </a:lnTo>
                  <a:lnTo>
                    <a:pt x="490" y="5"/>
                  </a:lnTo>
                  <a:lnTo>
                    <a:pt x="511" y="8"/>
                  </a:lnTo>
                  <a:lnTo>
                    <a:pt x="531" y="14"/>
                  </a:lnTo>
                  <a:lnTo>
                    <a:pt x="551" y="19"/>
                  </a:lnTo>
                  <a:lnTo>
                    <a:pt x="571" y="26"/>
                  </a:lnTo>
                  <a:lnTo>
                    <a:pt x="591" y="34"/>
                  </a:lnTo>
                  <a:lnTo>
                    <a:pt x="610" y="43"/>
                  </a:lnTo>
                  <a:lnTo>
                    <a:pt x="628" y="51"/>
                  </a:lnTo>
                  <a:lnTo>
                    <a:pt x="646" y="62"/>
                  </a:lnTo>
                  <a:lnTo>
                    <a:pt x="663" y="73"/>
                  </a:lnTo>
                  <a:lnTo>
                    <a:pt x="680" y="85"/>
                  </a:lnTo>
                  <a:lnTo>
                    <a:pt x="696" y="98"/>
                  </a:lnTo>
                  <a:lnTo>
                    <a:pt x="711" y="111"/>
                  </a:lnTo>
                  <a:lnTo>
                    <a:pt x="726" y="124"/>
                  </a:lnTo>
                  <a:lnTo>
                    <a:pt x="739" y="139"/>
                  </a:lnTo>
                  <a:lnTo>
                    <a:pt x="753" y="155"/>
                  </a:lnTo>
                  <a:lnTo>
                    <a:pt x="766" y="171"/>
                  </a:lnTo>
                  <a:lnTo>
                    <a:pt x="778" y="188"/>
                  </a:lnTo>
                  <a:lnTo>
                    <a:pt x="788" y="205"/>
                  </a:lnTo>
                  <a:lnTo>
                    <a:pt x="799" y="223"/>
                  </a:lnTo>
                  <a:lnTo>
                    <a:pt x="808" y="241"/>
                  </a:lnTo>
                  <a:lnTo>
                    <a:pt x="817" y="260"/>
                  </a:lnTo>
                  <a:lnTo>
                    <a:pt x="824" y="280"/>
                  </a:lnTo>
                  <a:lnTo>
                    <a:pt x="831" y="299"/>
                  </a:lnTo>
                  <a:lnTo>
                    <a:pt x="837" y="319"/>
                  </a:lnTo>
                  <a:lnTo>
                    <a:pt x="841" y="340"/>
                  </a:lnTo>
                  <a:lnTo>
                    <a:pt x="846" y="360"/>
                  </a:lnTo>
                  <a:lnTo>
                    <a:pt x="848" y="382"/>
                  </a:lnTo>
                  <a:lnTo>
                    <a:pt x="850" y="404"/>
                  </a:lnTo>
                  <a:lnTo>
                    <a:pt x="850" y="425"/>
                  </a:lnTo>
                  <a:lnTo>
                    <a:pt x="850" y="447"/>
                  </a:lnTo>
                  <a:lnTo>
                    <a:pt x="848" y="469"/>
                  </a:lnTo>
                  <a:lnTo>
                    <a:pt x="846" y="490"/>
                  </a:lnTo>
                  <a:lnTo>
                    <a:pt x="841" y="511"/>
                  </a:lnTo>
                  <a:lnTo>
                    <a:pt x="837" y="531"/>
                  </a:lnTo>
                  <a:lnTo>
                    <a:pt x="831" y="552"/>
                  </a:lnTo>
                  <a:lnTo>
                    <a:pt x="824" y="572"/>
                  </a:lnTo>
                  <a:lnTo>
                    <a:pt x="817" y="591"/>
                  </a:lnTo>
                  <a:lnTo>
                    <a:pt x="808" y="609"/>
                  </a:lnTo>
                  <a:lnTo>
                    <a:pt x="799" y="628"/>
                  </a:lnTo>
                  <a:lnTo>
                    <a:pt x="788" y="645"/>
                  </a:lnTo>
                  <a:lnTo>
                    <a:pt x="778" y="663"/>
                  </a:lnTo>
                  <a:lnTo>
                    <a:pt x="766" y="679"/>
                  </a:lnTo>
                  <a:lnTo>
                    <a:pt x="753" y="695"/>
                  </a:lnTo>
                  <a:lnTo>
                    <a:pt x="739" y="711"/>
                  </a:lnTo>
                  <a:lnTo>
                    <a:pt x="726" y="726"/>
                  </a:lnTo>
                  <a:lnTo>
                    <a:pt x="711" y="740"/>
                  </a:lnTo>
                  <a:lnTo>
                    <a:pt x="696" y="754"/>
                  </a:lnTo>
                  <a:lnTo>
                    <a:pt x="680" y="766"/>
                  </a:lnTo>
                  <a:lnTo>
                    <a:pt x="663" y="778"/>
                  </a:lnTo>
                  <a:lnTo>
                    <a:pt x="646" y="789"/>
                  </a:lnTo>
                  <a:lnTo>
                    <a:pt x="628" y="799"/>
                  </a:lnTo>
                  <a:lnTo>
                    <a:pt x="610" y="809"/>
                  </a:lnTo>
                  <a:lnTo>
                    <a:pt x="591" y="817"/>
                  </a:lnTo>
                  <a:lnTo>
                    <a:pt x="571" y="825"/>
                  </a:lnTo>
                  <a:lnTo>
                    <a:pt x="551" y="831"/>
                  </a:lnTo>
                  <a:lnTo>
                    <a:pt x="531" y="837"/>
                  </a:lnTo>
                  <a:lnTo>
                    <a:pt x="511" y="842"/>
                  </a:lnTo>
                  <a:lnTo>
                    <a:pt x="490" y="846"/>
                  </a:lnTo>
                  <a:lnTo>
                    <a:pt x="468" y="848"/>
                  </a:lnTo>
                  <a:lnTo>
                    <a:pt x="447" y="850"/>
                  </a:lnTo>
                  <a:lnTo>
                    <a:pt x="425"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47">
              <a:extLst>
                <a:ext uri="{FF2B5EF4-FFF2-40B4-BE49-F238E27FC236}">
                  <a16:creationId xmlns:a16="http://schemas.microsoft.com/office/drawing/2014/main" id="{A83BB421-2A90-43D6-B8E9-9CDCAB6B425A}"/>
                </a:ext>
              </a:extLst>
            </p:cNvPr>
            <p:cNvSpPr>
              <a:spLocks noEditPoints="1"/>
            </p:cNvSpPr>
            <p:nvPr/>
          </p:nvSpPr>
          <p:spPr bwMode="auto">
            <a:xfrm>
              <a:off x="9920288" y="4494213"/>
              <a:ext cx="163513" cy="163513"/>
            </a:xfrm>
            <a:custGeom>
              <a:avLst/>
              <a:gdLst>
                <a:gd name="T0" fmla="*/ 139 w 309"/>
                <a:gd name="T1" fmla="*/ 79 h 309"/>
                <a:gd name="T2" fmla="*/ 118 w 309"/>
                <a:gd name="T3" fmla="*/ 86 h 309"/>
                <a:gd name="T4" fmla="*/ 100 w 309"/>
                <a:gd name="T5" fmla="*/ 100 h 309"/>
                <a:gd name="T6" fmla="*/ 87 w 309"/>
                <a:gd name="T7" fmla="*/ 118 h 309"/>
                <a:gd name="T8" fmla="*/ 78 w 309"/>
                <a:gd name="T9" fmla="*/ 138 h 309"/>
                <a:gd name="T10" fmla="*/ 77 w 309"/>
                <a:gd name="T11" fmla="*/ 163 h 309"/>
                <a:gd name="T12" fmla="*/ 83 w 309"/>
                <a:gd name="T13" fmla="*/ 184 h 309"/>
                <a:gd name="T14" fmla="*/ 94 w 309"/>
                <a:gd name="T15" fmla="*/ 203 h 309"/>
                <a:gd name="T16" fmla="*/ 111 w 309"/>
                <a:gd name="T17" fmla="*/ 218 h 309"/>
                <a:gd name="T18" fmla="*/ 131 w 309"/>
                <a:gd name="T19" fmla="*/ 229 h 309"/>
                <a:gd name="T20" fmla="*/ 154 w 309"/>
                <a:gd name="T21" fmla="*/ 232 h 309"/>
                <a:gd name="T22" fmla="*/ 177 w 309"/>
                <a:gd name="T23" fmla="*/ 229 h 309"/>
                <a:gd name="T24" fmla="*/ 197 w 309"/>
                <a:gd name="T25" fmla="*/ 218 h 309"/>
                <a:gd name="T26" fmla="*/ 214 w 309"/>
                <a:gd name="T27" fmla="*/ 203 h 309"/>
                <a:gd name="T28" fmla="*/ 225 w 309"/>
                <a:gd name="T29" fmla="*/ 184 h 309"/>
                <a:gd name="T30" fmla="*/ 231 w 309"/>
                <a:gd name="T31" fmla="*/ 163 h 309"/>
                <a:gd name="T32" fmla="*/ 230 w 309"/>
                <a:gd name="T33" fmla="*/ 138 h 309"/>
                <a:gd name="T34" fmla="*/ 222 w 309"/>
                <a:gd name="T35" fmla="*/ 118 h 309"/>
                <a:gd name="T36" fmla="*/ 209 w 309"/>
                <a:gd name="T37" fmla="*/ 100 h 309"/>
                <a:gd name="T38" fmla="*/ 191 w 309"/>
                <a:gd name="T39" fmla="*/ 86 h 309"/>
                <a:gd name="T40" fmla="*/ 170 w 309"/>
                <a:gd name="T41" fmla="*/ 79 h 309"/>
                <a:gd name="T42" fmla="*/ 154 w 309"/>
                <a:gd name="T43" fmla="*/ 309 h 309"/>
                <a:gd name="T44" fmla="*/ 108 w 309"/>
                <a:gd name="T45" fmla="*/ 302 h 309"/>
                <a:gd name="T46" fmla="*/ 68 w 309"/>
                <a:gd name="T47" fmla="*/ 283 h 309"/>
                <a:gd name="T48" fmla="*/ 35 w 309"/>
                <a:gd name="T49" fmla="*/ 253 h 309"/>
                <a:gd name="T50" fmla="*/ 11 w 309"/>
                <a:gd name="T51" fmla="*/ 215 h 309"/>
                <a:gd name="T52" fmla="*/ 1 w 309"/>
                <a:gd name="T53" fmla="*/ 170 h 309"/>
                <a:gd name="T54" fmla="*/ 3 w 309"/>
                <a:gd name="T55" fmla="*/ 123 h 309"/>
                <a:gd name="T56" fmla="*/ 19 w 309"/>
                <a:gd name="T57" fmla="*/ 81 h 309"/>
                <a:gd name="T58" fmla="*/ 45 w 309"/>
                <a:gd name="T59" fmla="*/ 45 h 309"/>
                <a:gd name="T60" fmla="*/ 80 w 309"/>
                <a:gd name="T61" fmla="*/ 18 h 309"/>
                <a:gd name="T62" fmla="*/ 123 w 309"/>
                <a:gd name="T63" fmla="*/ 3 h 309"/>
                <a:gd name="T64" fmla="*/ 170 w 309"/>
                <a:gd name="T65" fmla="*/ 0 h 309"/>
                <a:gd name="T66" fmla="*/ 214 w 309"/>
                <a:gd name="T67" fmla="*/ 12 h 309"/>
                <a:gd name="T68" fmla="*/ 253 w 309"/>
                <a:gd name="T69" fmla="*/ 35 h 309"/>
                <a:gd name="T70" fmla="*/ 282 w 309"/>
                <a:gd name="T71" fmla="*/ 68 h 309"/>
                <a:gd name="T72" fmla="*/ 302 w 309"/>
                <a:gd name="T73" fmla="*/ 108 h 309"/>
                <a:gd name="T74" fmla="*/ 309 w 309"/>
                <a:gd name="T75" fmla="*/ 154 h 309"/>
                <a:gd name="T76" fmla="*/ 302 w 309"/>
                <a:gd name="T77" fmla="*/ 200 h 309"/>
                <a:gd name="T78" fmla="*/ 282 w 309"/>
                <a:gd name="T79" fmla="*/ 240 h 309"/>
                <a:gd name="T80" fmla="*/ 253 w 309"/>
                <a:gd name="T81" fmla="*/ 273 h 309"/>
                <a:gd name="T82" fmla="*/ 214 w 309"/>
                <a:gd name="T83" fmla="*/ 297 h 309"/>
                <a:gd name="T84" fmla="*/ 170 w 309"/>
                <a:gd name="T85" fmla="*/ 30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9" h="309">
                  <a:moveTo>
                    <a:pt x="154" y="77"/>
                  </a:moveTo>
                  <a:lnTo>
                    <a:pt x="146" y="78"/>
                  </a:lnTo>
                  <a:lnTo>
                    <a:pt x="139" y="79"/>
                  </a:lnTo>
                  <a:lnTo>
                    <a:pt x="131" y="81"/>
                  </a:lnTo>
                  <a:lnTo>
                    <a:pt x="124" y="83"/>
                  </a:lnTo>
                  <a:lnTo>
                    <a:pt x="118" y="86"/>
                  </a:lnTo>
                  <a:lnTo>
                    <a:pt x="111" y="90"/>
                  </a:lnTo>
                  <a:lnTo>
                    <a:pt x="105" y="95"/>
                  </a:lnTo>
                  <a:lnTo>
                    <a:pt x="100" y="100"/>
                  </a:lnTo>
                  <a:lnTo>
                    <a:pt x="94" y="105"/>
                  </a:lnTo>
                  <a:lnTo>
                    <a:pt x="90" y="112"/>
                  </a:lnTo>
                  <a:lnTo>
                    <a:pt x="87" y="118"/>
                  </a:lnTo>
                  <a:lnTo>
                    <a:pt x="83" y="124"/>
                  </a:lnTo>
                  <a:lnTo>
                    <a:pt x="80" y="132"/>
                  </a:lnTo>
                  <a:lnTo>
                    <a:pt x="78" y="138"/>
                  </a:lnTo>
                  <a:lnTo>
                    <a:pt x="77" y="147"/>
                  </a:lnTo>
                  <a:lnTo>
                    <a:pt x="77" y="154"/>
                  </a:lnTo>
                  <a:lnTo>
                    <a:pt x="77" y="163"/>
                  </a:lnTo>
                  <a:lnTo>
                    <a:pt x="78" y="170"/>
                  </a:lnTo>
                  <a:lnTo>
                    <a:pt x="80" y="177"/>
                  </a:lnTo>
                  <a:lnTo>
                    <a:pt x="83" y="184"/>
                  </a:lnTo>
                  <a:lnTo>
                    <a:pt x="87" y="191"/>
                  </a:lnTo>
                  <a:lnTo>
                    <a:pt x="90" y="198"/>
                  </a:lnTo>
                  <a:lnTo>
                    <a:pt x="94" y="203"/>
                  </a:lnTo>
                  <a:lnTo>
                    <a:pt x="100" y="209"/>
                  </a:lnTo>
                  <a:lnTo>
                    <a:pt x="105" y="214"/>
                  </a:lnTo>
                  <a:lnTo>
                    <a:pt x="111" y="218"/>
                  </a:lnTo>
                  <a:lnTo>
                    <a:pt x="118" y="222"/>
                  </a:lnTo>
                  <a:lnTo>
                    <a:pt x="124" y="225"/>
                  </a:lnTo>
                  <a:lnTo>
                    <a:pt x="131" y="229"/>
                  </a:lnTo>
                  <a:lnTo>
                    <a:pt x="139" y="230"/>
                  </a:lnTo>
                  <a:lnTo>
                    <a:pt x="146" y="231"/>
                  </a:lnTo>
                  <a:lnTo>
                    <a:pt x="154" y="232"/>
                  </a:lnTo>
                  <a:lnTo>
                    <a:pt x="162" y="231"/>
                  </a:lnTo>
                  <a:lnTo>
                    <a:pt x="170" y="230"/>
                  </a:lnTo>
                  <a:lnTo>
                    <a:pt x="177" y="229"/>
                  </a:lnTo>
                  <a:lnTo>
                    <a:pt x="185" y="225"/>
                  </a:lnTo>
                  <a:lnTo>
                    <a:pt x="191" y="222"/>
                  </a:lnTo>
                  <a:lnTo>
                    <a:pt x="197" y="218"/>
                  </a:lnTo>
                  <a:lnTo>
                    <a:pt x="204" y="214"/>
                  </a:lnTo>
                  <a:lnTo>
                    <a:pt x="209" y="209"/>
                  </a:lnTo>
                  <a:lnTo>
                    <a:pt x="214" y="203"/>
                  </a:lnTo>
                  <a:lnTo>
                    <a:pt x="219" y="198"/>
                  </a:lnTo>
                  <a:lnTo>
                    <a:pt x="222" y="191"/>
                  </a:lnTo>
                  <a:lnTo>
                    <a:pt x="225" y="184"/>
                  </a:lnTo>
                  <a:lnTo>
                    <a:pt x="228" y="177"/>
                  </a:lnTo>
                  <a:lnTo>
                    <a:pt x="230" y="170"/>
                  </a:lnTo>
                  <a:lnTo>
                    <a:pt x="231" y="163"/>
                  </a:lnTo>
                  <a:lnTo>
                    <a:pt x="231" y="154"/>
                  </a:lnTo>
                  <a:lnTo>
                    <a:pt x="231" y="147"/>
                  </a:lnTo>
                  <a:lnTo>
                    <a:pt x="230" y="138"/>
                  </a:lnTo>
                  <a:lnTo>
                    <a:pt x="228" y="132"/>
                  </a:lnTo>
                  <a:lnTo>
                    <a:pt x="225" y="124"/>
                  </a:lnTo>
                  <a:lnTo>
                    <a:pt x="222" y="118"/>
                  </a:lnTo>
                  <a:lnTo>
                    <a:pt x="219" y="112"/>
                  </a:lnTo>
                  <a:lnTo>
                    <a:pt x="214" y="105"/>
                  </a:lnTo>
                  <a:lnTo>
                    <a:pt x="209" y="100"/>
                  </a:lnTo>
                  <a:lnTo>
                    <a:pt x="204" y="95"/>
                  </a:lnTo>
                  <a:lnTo>
                    <a:pt x="197" y="90"/>
                  </a:lnTo>
                  <a:lnTo>
                    <a:pt x="191" y="86"/>
                  </a:lnTo>
                  <a:lnTo>
                    <a:pt x="185" y="83"/>
                  </a:lnTo>
                  <a:lnTo>
                    <a:pt x="177" y="81"/>
                  </a:lnTo>
                  <a:lnTo>
                    <a:pt x="170" y="79"/>
                  </a:lnTo>
                  <a:lnTo>
                    <a:pt x="162" y="78"/>
                  </a:lnTo>
                  <a:lnTo>
                    <a:pt x="154" y="77"/>
                  </a:lnTo>
                  <a:close/>
                  <a:moveTo>
                    <a:pt x="154" y="309"/>
                  </a:moveTo>
                  <a:lnTo>
                    <a:pt x="139" y="308"/>
                  </a:lnTo>
                  <a:lnTo>
                    <a:pt x="123" y="306"/>
                  </a:lnTo>
                  <a:lnTo>
                    <a:pt x="108" y="302"/>
                  </a:lnTo>
                  <a:lnTo>
                    <a:pt x="94" y="297"/>
                  </a:lnTo>
                  <a:lnTo>
                    <a:pt x="80" y="290"/>
                  </a:lnTo>
                  <a:lnTo>
                    <a:pt x="68" y="283"/>
                  </a:lnTo>
                  <a:lnTo>
                    <a:pt x="56" y="273"/>
                  </a:lnTo>
                  <a:lnTo>
                    <a:pt x="45" y="264"/>
                  </a:lnTo>
                  <a:lnTo>
                    <a:pt x="35" y="253"/>
                  </a:lnTo>
                  <a:lnTo>
                    <a:pt x="26" y="240"/>
                  </a:lnTo>
                  <a:lnTo>
                    <a:pt x="19" y="227"/>
                  </a:lnTo>
                  <a:lnTo>
                    <a:pt x="11" y="215"/>
                  </a:lnTo>
                  <a:lnTo>
                    <a:pt x="7" y="200"/>
                  </a:lnTo>
                  <a:lnTo>
                    <a:pt x="3" y="185"/>
                  </a:lnTo>
                  <a:lnTo>
                    <a:pt x="1" y="170"/>
                  </a:lnTo>
                  <a:lnTo>
                    <a:pt x="0" y="154"/>
                  </a:lnTo>
                  <a:lnTo>
                    <a:pt x="1" y="138"/>
                  </a:lnTo>
                  <a:lnTo>
                    <a:pt x="3" y="123"/>
                  </a:lnTo>
                  <a:lnTo>
                    <a:pt x="7" y="108"/>
                  </a:lnTo>
                  <a:lnTo>
                    <a:pt x="11" y="95"/>
                  </a:lnTo>
                  <a:lnTo>
                    <a:pt x="19" y="81"/>
                  </a:lnTo>
                  <a:lnTo>
                    <a:pt x="26" y="68"/>
                  </a:lnTo>
                  <a:lnTo>
                    <a:pt x="35" y="56"/>
                  </a:lnTo>
                  <a:lnTo>
                    <a:pt x="45" y="45"/>
                  </a:lnTo>
                  <a:lnTo>
                    <a:pt x="56" y="35"/>
                  </a:lnTo>
                  <a:lnTo>
                    <a:pt x="68" y="27"/>
                  </a:lnTo>
                  <a:lnTo>
                    <a:pt x="80" y="18"/>
                  </a:lnTo>
                  <a:lnTo>
                    <a:pt x="94" y="12"/>
                  </a:lnTo>
                  <a:lnTo>
                    <a:pt x="108" y="6"/>
                  </a:lnTo>
                  <a:lnTo>
                    <a:pt x="123" y="3"/>
                  </a:lnTo>
                  <a:lnTo>
                    <a:pt x="139" y="0"/>
                  </a:lnTo>
                  <a:lnTo>
                    <a:pt x="154" y="0"/>
                  </a:lnTo>
                  <a:lnTo>
                    <a:pt x="170" y="0"/>
                  </a:lnTo>
                  <a:lnTo>
                    <a:pt x="186" y="3"/>
                  </a:lnTo>
                  <a:lnTo>
                    <a:pt x="201" y="6"/>
                  </a:lnTo>
                  <a:lnTo>
                    <a:pt x="214" y="12"/>
                  </a:lnTo>
                  <a:lnTo>
                    <a:pt x="228" y="18"/>
                  </a:lnTo>
                  <a:lnTo>
                    <a:pt x="241" y="27"/>
                  </a:lnTo>
                  <a:lnTo>
                    <a:pt x="253" y="35"/>
                  </a:lnTo>
                  <a:lnTo>
                    <a:pt x="263" y="45"/>
                  </a:lnTo>
                  <a:lnTo>
                    <a:pt x="274" y="56"/>
                  </a:lnTo>
                  <a:lnTo>
                    <a:pt x="282" y="68"/>
                  </a:lnTo>
                  <a:lnTo>
                    <a:pt x="290" y="81"/>
                  </a:lnTo>
                  <a:lnTo>
                    <a:pt x="296" y="95"/>
                  </a:lnTo>
                  <a:lnTo>
                    <a:pt x="302" y="108"/>
                  </a:lnTo>
                  <a:lnTo>
                    <a:pt x="306" y="123"/>
                  </a:lnTo>
                  <a:lnTo>
                    <a:pt x="308" y="138"/>
                  </a:lnTo>
                  <a:lnTo>
                    <a:pt x="309" y="154"/>
                  </a:lnTo>
                  <a:lnTo>
                    <a:pt x="308" y="170"/>
                  </a:lnTo>
                  <a:lnTo>
                    <a:pt x="306" y="185"/>
                  </a:lnTo>
                  <a:lnTo>
                    <a:pt x="302" y="200"/>
                  </a:lnTo>
                  <a:lnTo>
                    <a:pt x="296" y="215"/>
                  </a:lnTo>
                  <a:lnTo>
                    <a:pt x="290" y="227"/>
                  </a:lnTo>
                  <a:lnTo>
                    <a:pt x="282" y="240"/>
                  </a:lnTo>
                  <a:lnTo>
                    <a:pt x="274" y="253"/>
                  </a:lnTo>
                  <a:lnTo>
                    <a:pt x="263" y="264"/>
                  </a:lnTo>
                  <a:lnTo>
                    <a:pt x="253" y="273"/>
                  </a:lnTo>
                  <a:lnTo>
                    <a:pt x="241" y="283"/>
                  </a:lnTo>
                  <a:lnTo>
                    <a:pt x="228" y="290"/>
                  </a:lnTo>
                  <a:lnTo>
                    <a:pt x="214" y="297"/>
                  </a:lnTo>
                  <a:lnTo>
                    <a:pt x="201" y="302"/>
                  </a:lnTo>
                  <a:lnTo>
                    <a:pt x="186" y="306"/>
                  </a:lnTo>
                  <a:lnTo>
                    <a:pt x="170" y="308"/>
                  </a:lnTo>
                  <a:lnTo>
                    <a:pt x="154"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 37">
            <a:extLst>
              <a:ext uri="{FF2B5EF4-FFF2-40B4-BE49-F238E27FC236}">
                <a16:creationId xmlns:a16="http://schemas.microsoft.com/office/drawing/2014/main" id="{6C4BE47A-ADD0-4486-AC03-1D964B1C99AB}"/>
              </a:ext>
            </a:extLst>
          </p:cNvPr>
          <p:cNvGrpSpPr>
            <a:grpSpLocks noChangeAspect="1"/>
          </p:cNvGrpSpPr>
          <p:nvPr/>
        </p:nvGrpSpPr>
        <p:grpSpPr>
          <a:xfrm>
            <a:off x="4853224" y="1647825"/>
            <a:ext cx="394730" cy="306484"/>
            <a:chOff x="4238762" y="2472068"/>
            <a:chExt cx="666475" cy="517477"/>
          </a:xfrm>
          <a:solidFill>
            <a:schemeClr val="bg1"/>
          </a:solidFill>
          <a:effectLst/>
        </p:grpSpPr>
        <p:sp>
          <p:nvSpPr>
            <p:cNvPr id="293" name="Freeform 10">
              <a:extLst>
                <a:ext uri="{FF2B5EF4-FFF2-40B4-BE49-F238E27FC236}">
                  <a16:creationId xmlns:a16="http://schemas.microsoft.com/office/drawing/2014/main" id="{19FE6404-F78B-4BA5-ABB4-EC9D9E9A305A}"/>
                </a:ext>
              </a:extLst>
            </p:cNvPr>
            <p:cNvSpPr>
              <a:spLocks noEditPoints="1"/>
            </p:cNvSpPr>
            <p:nvPr/>
          </p:nvSpPr>
          <p:spPr bwMode="auto">
            <a:xfrm>
              <a:off x="4238762" y="2472068"/>
              <a:ext cx="344390" cy="161489"/>
            </a:xfrm>
            <a:custGeom>
              <a:avLst/>
              <a:gdLst>
                <a:gd name="T0" fmla="*/ 285 w 1158"/>
                <a:gd name="T1" fmla="*/ 465 h 542"/>
                <a:gd name="T2" fmla="*/ 1081 w 1158"/>
                <a:gd name="T3" fmla="*/ 465 h 542"/>
                <a:gd name="T4" fmla="*/ 1081 w 1158"/>
                <a:gd name="T5" fmla="*/ 78 h 542"/>
                <a:gd name="T6" fmla="*/ 285 w 1158"/>
                <a:gd name="T7" fmla="*/ 78 h 542"/>
                <a:gd name="T8" fmla="*/ 92 w 1158"/>
                <a:gd name="T9" fmla="*/ 271 h 542"/>
                <a:gd name="T10" fmla="*/ 285 w 1158"/>
                <a:gd name="T11" fmla="*/ 465 h 542"/>
                <a:gd name="T12" fmla="*/ 1120 w 1158"/>
                <a:gd name="T13" fmla="*/ 542 h 542"/>
                <a:gd name="T14" fmla="*/ 269 w 1158"/>
                <a:gd name="T15" fmla="*/ 542 h 542"/>
                <a:gd name="T16" fmla="*/ 262 w 1158"/>
                <a:gd name="T17" fmla="*/ 541 h 542"/>
                <a:gd name="T18" fmla="*/ 255 w 1158"/>
                <a:gd name="T19" fmla="*/ 539 h 542"/>
                <a:gd name="T20" fmla="*/ 248 w 1158"/>
                <a:gd name="T21" fmla="*/ 535 h 542"/>
                <a:gd name="T22" fmla="*/ 242 w 1158"/>
                <a:gd name="T23" fmla="*/ 530 h 542"/>
                <a:gd name="T24" fmla="*/ 10 w 1158"/>
                <a:gd name="T25" fmla="*/ 299 h 542"/>
                <a:gd name="T26" fmla="*/ 6 w 1158"/>
                <a:gd name="T27" fmla="*/ 292 h 542"/>
                <a:gd name="T28" fmla="*/ 2 w 1158"/>
                <a:gd name="T29" fmla="*/ 286 h 542"/>
                <a:gd name="T30" fmla="*/ 0 w 1158"/>
                <a:gd name="T31" fmla="*/ 279 h 542"/>
                <a:gd name="T32" fmla="*/ 0 w 1158"/>
                <a:gd name="T33" fmla="*/ 271 h 542"/>
                <a:gd name="T34" fmla="*/ 0 w 1158"/>
                <a:gd name="T35" fmla="*/ 264 h 542"/>
                <a:gd name="T36" fmla="*/ 2 w 1158"/>
                <a:gd name="T37" fmla="*/ 256 h 542"/>
                <a:gd name="T38" fmla="*/ 6 w 1158"/>
                <a:gd name="T39" fmla="*/ 250 h 542"/>
                <a:gd name="T40" fmla="*/ 10 w 1158"/>
                <a:gd name="T41" fmla="*/ 244 h 542"/>
                <a:gd name="T42" fmla="*/ 242 w 1158"/>
                <a:gd name="T43" fmla="*/ 12 h 542"/>
                <a:gd name="T44" fmla="*/ 248 w 1158"/>
                <a:gd name="T45" fmla="*/ 8 h 542"/>
                <a:gd name="T46" fmla="*/ 255 w 1158"/>
                <a:gd name="T47" fmla="*/ 3 h 542"/>
                <a:gd name="T48" fmla="*/ 262 w 1158"/>
                <a:gd name="T49" fmla="*/ 1 h 542"/>
                <a:gd name="T50" fmla="*/ 269 w 1158"/>
                <a:gd name="T51" fmla="*/ 0 h 542"/>
                <a:gd name="T52" fmla="*/ 1120 w 1158"/>
                <a:gd name="T53" fmla="*/ 0 h 542"/>
                <a:gd name="T54" fmla="*/ 1127 w 1158"/>
                <a:gd name="T55" fmla="*/ 1 h 542"/>
                <a:gd name="T56" fmla="*/ 1135 w 1158"/>
                <a:gd name="T57" fmla="*/ 3 h 542"/>
                <a:gd name="T58" fmla="*/ 1141 w 1158"/>
                <a:gd name="T59" fmla="*/ 8 h 542"/>
                <a:gd name="T60" fmla="*/ 1147 w 1158"/>
                <a:gd name="T61" fmla="*/ 12 h 542"/>
                <a:gd name="T62" fmla="*/ 1152 w 1158"/>
                <a:gd name="T63" fmla="*/ 18 h 542"/>
                <a:gd name="T64" fmla="*/ 1156 w 1158"/>
                <a:gd name="T65" fmla="*/ 25 h 542"/>
                <a:gd name="T66" fmla="*/ 1158 w 1158"/>
                <a:gd name="T67" fmla="*/ 32 h 542"/>
                <a:gd name="T68" fmla="*/ 1158 w 1158"/>
                <a:gd name="T69" fmla="*/ 39 h 542"/>
                <a:gd name="T70" fmla="*/ 1158 w 1158"/>
                <a:gd name="T71" fmla="*/ 503 h 542"/>
                <a:gd name="T72" fmla="*/ 1158 w 1158"/>
                <a:gd name="T73" fmla="*/ 511 h 542"/>
                <a:gd name="T74" fmla="*/ 1156 w 1158"/>
                <a:gd name="T75" fmla="*/ 518 h 542"/>
                <a:gd name="T76" fmla="*/ 1152 w 1158"/>
                <a:gd name="T77" fmla="*/ 525 h 542"/>
                <a:gd name="T78" fmla="*/ 1147 w 1158"/>
                <a:gd name="T79" fmla="*/ 530 h 542"/>
                <a:gd name="T80" fmla="*/ 1141 w 1158"/>
                <a:gd name="T81" fmla="*/ 535 h 542"/>
                <a:gd name="T82" fmla="*/ 1135 w 1158"/>
                <a:gd name="T83" fmla="*/ 539 h 542"/>
                <a:gd name="T84" fmla="*/ 1127 w 1158"/>
                <a:gd name="T85" fmla="*/ 541 h 542"/>
                <a:gd name="T86" fmla="*/ 1120 w 1158"/>
                <a:gd name="T87" fmla="*/ 542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58" h="542">
                  <a:moveTo>
                    <a:pt x="285" y="465"/>
                  </a:moveTo>
                  <a:lnTo>
                    <a:pt x="1081" y="465"/>
                  </a:lnTo>
                  <a:lnTo>
                    <a:pt x="1081" y="78"/>
                  </a:lnTo>
                  <a:lnTo>
                    <a:pt x="285" y="78"/>
                  </a:lnTo>
                  <a:lnTo>
                    <a:pt x="92" y="271"/>
                  </a:lnTo>
                  <a:lnTo>
                    <a:pt x="285" y="465"/>
                  </a:lnTo>
                  <a:close/>
                  <a:moveTo>
                    <a:pt x="1120" y="542"/>
                  </a:moveTo>
                  <a:lnTo>
                    <a:pt x="269" y="542"/>
                  </a:lnTo>
                  <a:lnTo>
                    <a:pt x="262" y="541"/>
                  </a:lnTo>
                  <a:lnTo>
                    <a:pt x="255" y="539"/>
                  </a:lnTo>
                  <a:lnTo>
                    <a:pt x="248" y="535"/>
                  </a:lnTo>
                  <a:lnTo>
                    <a:pt x="242" y="530"/>
                  </a:lnTo>
                  <a:lnTo>
                    <a:pt x="10" y="299"/>
                  </a:lnTo>
                  <a:lnTo>
                    <a:pt x="6" y="292"/>
                  </a:lnTo>
                  <a:lnTo>
                    <a:pt x="2" y="286"/>
                  </a:lnTo>
                  <a:lnTo>
                    <a:pt x="0" y="279"/>
                  </a:lnTo>
                  <a:lnTo>
                    <a:pt x="0" y="271"/>
                  </a:lnTo>
                  <a:lnTo>
                    <a:pt x="0" y="264"/>
                  </a:lnTo>
                  <a:lnTo>
                    <a:pt x="2" y="256"/>
                  </a:lnTo>
                  <a:lnTo>
                    <a:pt x="6" y="250"/>
                  </a:lnTo>
                  <a:lnTo>
                    <a:pt x="10" y="244"/>
                  </a:lnTo>
                  <a:lnTo>
                    <a:pt x="242" y="12"/>
                  </a:lnTo>
                  <a:lnTo>
                    <a:pt x="248" y="8"/>
                  </a:lnTo>
                  <a:lnTo>
                    <a:pt x="255" y="3"/>
                  </a:lnTo>
                  <a:lnTo>
                    <a:pt x="262" y="1"/>
                  </a:lnTo>
                  <a:lnTo>
                    <a:pt x="269" y="0"/>
                  </a:lnTo>
                  <a:lnTo>
                    <a:pt x="1120" y="0"/>
                  </a:lnTo>
                  <a:lnTo>
                    <a:pt x="1127" y="1"/>
                  </a:lnTo>
                  <a:lnTo>
                    <a:pt x="1135" y="3"/>
                  </a:lnTo>
                  <a:lnTo>
                    <a:pt x="1141" y="8"/>
                  </a:lnTo>
                  <a:lnTo>
                    <a:pt x="1147" y="12"/>
                  </a:lnTo>
                  <a:lnTo>
                    <a:pt x="1152" y="18"/>
                  </a:lnTo>
                  <a:lnTo>
                    <a:pt x="1156" y="25"/>
                  </a:lnTo>
                  <a:lnTo>
                    <a:pt x="1158" y="32"/>
                  </a:lnTo>
                  <a:lnTo>
                    <a:pt x="1158" y="39"/>
                  </a:lnTo>
                  <a:lnTo>
                    <a:pt x="1158" y="503"/>
                  </a:lnTo>
                  <a:lnTo>
                    <a:pt x="1158" y="511"/>
                  </a:lnTo>
                  <a:lnTo>
                    <a:pt x="1156" y="518"/>
                  </a:lnTo>
                  <a:lnTo>
                    <a:pt x="1152" y="525"/>
                  </a:lnTo>
                  <a:lnTo>
                    <a:pt x="1147" y="530"/>
                  </a:lnTo>
                  <a:lnTo>
                    <a:pt x="1141" y="535"/>
                  </a:lnTo>
                  <a:lnTo>
                    <a:pt x="1135" y="539"/>
                  </a:lnTo>
                  <a:lnTo>
                    <a:pt x="1127" y="541"/>
                  </a:lnTo>
                  <a:lnTo>
                    <a:pt x="1120"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1">
              <a:extLst>
                <a:ext uri="{FF2B5EF4-FFF2-40B4-BE49-F238E27FC236}">
                  <a16:creationId xmlns:a16="http://schemas.microsoft.com/office/drawing/2014/main" id="{4CCA5CDB-B2C8-49AA-8877-BC3F884CBB95}"/>
                </a:ext>
              </a:extLst>
            </p:cNvPr>
            <p:cNvSpPr>
              <a:spLocks noEditPoints="1"/>
            </p:cNvSpPr>
            <p:nvPr/>
          </p:nvSpPr>
          <p:spPr bwMode="auto">
            <a:xfrm>
              <a:off x="4559955" y="2541660"/>
              <a:ext cx="345282" cy="160596"/>
            </a:xfrm>
            <a:custGeom>
              <a:avLst/>
              <a:gdLst>
                <a:gd name="T0" fmla="*/ 77 w 1160"/>
                <a:gd name="T1" fmla="*/ 463 h 541"/>
                <a:gd name="T2" fmla="*/ 873 w 1160"/>
                <a:gd name="T3" fmla="*/ 463 h 541"/>
                <a:gd name="T4" fmla="*/ 1066 w 1160"/>
                <a:gd name="T5" fmla="*/ 270 h 541"/>
                <a:gd name="T6" fmla="*/ 873 w 1160"/>
                <a:gd name="T7" fmla="*/ 76 h 541"/>
                <a:gd name="T8" fmla="*/ 77 w 1160"/>
                <a:gd name="T9" fmla="*/ 76 h 541"/>
                <a:gd name="T10" fmla="*/ 77 w 1160"/>
                <a:gd name="T11" fmla="*/ 463 h 541"/>
                <a:gd name="T12" fmla="*/ 889 w 1160"/>
                <a:gd name="T13" fmla="*/ 541 h 541"/>
                <a:gd name="T14" fmla="*/ 39 w 1160"/>
                <a:gd name="T15" fmla="*/ 541 h 541"/>
                <a:gd name="T16" fmla="*/ 31 w 1160"/>
                <a:gd name="T17" fmla="*/ 540 h 541"/>
                <a:gd name="T18" fmla="*/ 24 w 1160"/>
                <a:gd name="T19" fmla="*/ 538 h 541"/>
                <a:gd name="T20" fmla="*/ 17 w 1160"/>
                <a:gd name="T21" fmla="*/ 534 h 541"/>
                <a:gd name="T22" fmla="*/ 11 w 1160"/>
                <a:gd name="T23" fmla="*/ 529 h 541"/>
                <a:gd name="T24" fmla="*/ 7 w 1160"/>
                <a:gd name="T25" fmla="*/ 524 h 541"/>
                <a:gd name="T26" fmla="*/ 4 w 1160"/>
                <a:gd name="T27" fmla="*/ 517 h 541"/>
                <a:gd name="T28" fmla="*/ 0 w 1160"/>
                <a:gd name="T29" fmla="*/ 510 h 541"/>
                <a:gd name="T30" fmla="*/ 0 w 1160"/>
                <a:gd name="T31" fmla="*/ 502 h 541"/>
                <a:gd name="T32" fmla="*/ 0 w 1160"/>
                <a:gd name="T33" fmla="*/ 38 h 541"/>
                <a:gd name="T34" fmla="*/ 0 w 1160"/>
                <a:gd name="T35" fmla="*/ 31 h 541"/>
                <a:gd name="T36" fmla="*/ 4 w 1160"/>
                <a:gd name="T37" fmla="*/ 23 h 541"/>
                <a:gd name="T38" fmla="*/ 7 w 1160"/>
                <a:gd name="T39" fmla="*/ 17 h 541"/>
                <a:gd name="T40" fmla="*/ 11 w 1160"/>
                <a:gd name="T41" fmla="*/ 11 h 541"/>
                <a:gd name="T42" fmla="*/ 17 w 1160"/>
                <a:gd name="T43" fmla="*/ 6 h 541"/>
                <a:gd name="T44" fmla="*/ 24 w 1160"/>
                <a:gd name="T45" fmla="*/ 3 h 541"/>
                <a:gd name="T46" fmla="*/ 31 w 1160"/>
                <a:gd name="T47" fmla="*/ 0 h 541"/>
                <a:gd name="T48" fmla="*/ 39 w 1160"/>
                <a:gd name="T49" fmla="*/ 0 h 541"/>
                <a:gd name="T50" fmla="*/ 889 w 1160"/>
                <a:gd name="T51" fmla="*/ 0 h 541"/>
                <a:gd name="T52" fmla="*/ 896 w 1160"/>
                <a:gd name="T53" fmla="*/ 0 h 541"/>
                <a:gd name="T54" fmla="*/ 904 w 1160"/>
                <a:gd name="T55" fmla="*/ 2 h 541"/>
                <a:gd name="T56" fmla="*/ 910 w 1160"/>
                <a:gd name="T57" fmla="*/ 6 h 541"/>
                <a:gd name="T58" fmla="*/ 916 w 1160"/>
                <a:gd name="T59" fmla="*/ 11 h 541"/>
                <a:gd name="T60" fmla="*/ 1148 w 1160"/>
                <a:gd name="T61" fmla="*/ 242 h 541"/>
                <a:gd name="T62" fmla="*/ 1153 w 1160"/>
                <a:gd name="T63" fmla="*/ 249 h 541"/>
                <a:gd name="T64" fmla="*/ 1157 w 1160"/>
                <a:gd name="T65" fmla="*/ 256 h 541"/>
                <a:gd name="T66" fmla="*/ 1159 w 1160"/>
                <a:gd name="T67" fmla="*/ 262 h 541"/>
                <a:gd name="T68" fmla="*/ 1160 w 1160"/>
                <a:gd name="T69" fmla="*/ 270 h 541"/>
                <a:gd name="T70" fmla="*/ 1159 w 1160"/>
                <a:gd name="T71" fmla="*/ 277 h 541"/>
                <a:gd name="T72" fmla="*/ 1157 w 1160"/>
                <a:gd name="T73" fmla="*/ 285 h 541"/>
                <a:gd name="T74" fmla="*/ 1153 w 1160"/>
                <a:gd name="T75" fmla="*/ 291 h 541"/>
                <a:gd name="T76" fmla="*/ 1148 w 1160"/>
                <a:gd name="T77" fmla="*/ 297 h 541"/>
                <a:gd name="T78" fmla="*/ 916 w 1160"/>
                <a:gd name="T79" fmla="*/ 529 h 541"/>
                <a:gd name="T80" fmla="*/ 910 w 1160"/>
                <a:gd name="T81" fmla="*/ 534 h 541"/>
                <a:gd name="T82" fmla="*/ 904 w 1160"/>
                <a:gd name="T83" fmla="*/ 538 h 541"/>
                <a:gd name="T84" fmla="*/ 896 w 1160"/>
                <a:gd name="T85" fmla="*/ 540 h 541"/>
                <a:gd name="T86" fmla="*/ 889 w 1160"/>
                <a:gd name="T8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0" h="541">
                  <a:moveTo>
                    <a:pt x="77" y="463"/>
                  </a:moveTo>
                  <a:lnTo>
                    <a:pt x="873" y="463"/>
                  </a:lnTo>
                  <a:lnTo>
                    <a:pt x="1066" y="270"/>
                  </a:lnTo>
                  <a:lnTo>
                    <a:pt x="873" y="76"/>
                  </a:lnTo>
                  <a:lnTo>
                    <a:pt x="77" y="76"/>
                  </a:lnTo>
                  <a:lnTo>
                    <a:pt x="77" y="463"/>
                  </a:lnTo>
                  <a:close/>
                  <a:moveTo>
                    <a:pt x="889" y="541"/>
                  </a:moveTo>
                  <a:lnTo>
                    <a:pt x="39" y="541"/>
                  </a:lnTo>
                  <a:lnTo>
                    <a:pt x="31" y="540"/>
                  </a:lnTo>
                  <a:lnTo>
                    <a:pt x="24" y="538"/>
                  </a:lnTo>
                  <a:lnTo>
                    <a:pt x="17" y="534"/>
                  </a:lnTo>
                  <a:lnTo>
                    <a:pt x="11" y="529"/>
                  </a:lnTo>
                  <a:lnTo>
                    <a:pt x="7" y="524"/>
                  </a:lnTo>
                  <a:lnTo>
                    <a:pt x="4" y="517"/>
                  </a:lnTo>
                  <a:lnTo>
                    <a:pt x="0" y="510"/>
                  </a:lnTo>
                  <a:lnTo>
                    <a:pt x="0" y="502"/>
                  </a:lnTo>
                  <a:lnTo>
                    <a:pt x="0" y="38"/>
                  </a:lnTo>
                  <a:lnTo>
                    <a:pt x="0" y="31"/>
                  </a:lnTo>
                  <a:lnTo>
                    <a:pt x="4" y="23"/>
                  </a:lnTo>
                  <a:lnTo>
                    <a:pt x="7" y="17"/>
                  </a:lnTo>
                  <a:lnTo>
                    <a:pt x="11" y="11"/>
                  </a:lnTo>
                  <a:lnTo>
                    <a:pt x="17" y="6"/>
                  </a:lnTo>
                  <a:lnTo>
                    <a:pt x="24" y="3"/>
                  </a:lnTo>
                  <a:lnTo>
                    <a:pt x="31" y="0"/>
                  </a:lnTo>
                  <a:lnTo>
                    <a:pt x="39" y="0"/>
                  </a:lnTo>
                  <a:lnTo>
                    <a:pt x="889" y="0"/>
                  </a:lnTo>
                  <a:lnTo>
                    <a:pt x="896" y="0"/>
                  </a:lnTo>
                  <a:lnTo>
                    <a:pt x="904" y="2"/>
                  </a:lnTo>
                  <a:lnTo>
                    <a:pt x="910" y="6"/>
                  </a:lnTo>
                  <a:lnTo>
                    <a:pt x="916" y="11"/>
                  </a:lnTo>
                  <a:lnTo>
                    <a:pt x="1148" y="242"/>
                  </a:lnTo>
                  <a:lnTo>
                    <a:pt x="1153" y="249"/>
                  </a:lnTo>
                  <a:lnTo>
                    <a:pt x="1157" y="256"/>
                  </a:lnTo>
                  <a:lnTo>
                    <a:pt x="1159" y="262"/>
                  </a:lnTo>
                  <a:lnTo>
                    <a:pt x="1160" y="270"/>
                  </a:lnTo>
                  <a:lnTo>
                    <a:pt x="1159" y="277"/>
                  </a:lnTo>
                  <a:lnTo>
                    <a:pt x="1157" y="285"/>
                  </a:lnTo>
                  <a:lnTo>
                    <a:pt x="1153" y="291"/>
                  </a:lnTo>
                  <a:lnTo>
                    <a:pt x="1148" y="297"/>
                  </a:lnTo>
                  <a:lnTo>
                    <a:pt x="916" y="529"/>
                  </a:lnTo>
                  <a:lnTo>
                    <a:pt x="910" y="534"/>
                  </a:lnTo>
                  <a:lnTo>
                    <a:pt x="904" y="538"/>
                  </a:lnTo>
                  <a:lnTo>
                    <a:pt x="896" y="540"/>
                  </a:lnTo>
                  <a:lnTo>
                    <a:pt x="889"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Rectangle 12">
              <a:extLst>
                <a:ext uri="{FF2B5EF4-FFF2-40B4-BE49-F238E27FC236}">
                  <a16:creationId xmlns:a16="http://schemas.microsoft.com/office/drawing/2014/main" id="{E8309355-6684-42FC-96B1-DD4E89371650}"/>
                </a:ext>
              </a:extLst>
            </p:cNvPr>
            <p:cNvSpPr>
              <a:spLocks noChangeArrowheads="1"/>
            </p:cNvSpPr>
            <p:nvPr/>
          </p:nvSpPr>
          <p:spPr bwMode="auto">
            <a:xfrm>
              <a:off x="4559955" y="2483667"/>
              <a:ext cx="23197" cy="50587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3" name="Group 59">
            <a:extLst>
              <a:ext uri="{FF2B5EF4-FFF2-40B4-BE49-F238E27FC236}">
                <a16:creationId xmlns:a16="http://schemas.microsoft.com/office/drawing/2014/main" id="{FE294F8C-3F0F-4B0A-845D-4817BC30C287}"/>
              </a:ext>
            </a:extLst>
          </p:cNvPr>
          <p:cNvGrpSpPr>
            <a:grpSpLocks noChangeAspect="1"/>
          </p:cNvGrpSpPr>
          <p:nvPr/>
        </p:nvGrpSpPr>
        <p:grpSpPr>
          <a:xfrm>
            <a:off x="1884302" y="2186361"/>
            <a:ext cx="304790" cy="232844"/>
            <a:chOff x="11609634" y="830831"/>
            <a:chExt cx="287091" cy="219323"/>
          </a:xfrm>
          <a:solidFill>
            <a:schemeClr val="bg1"/>
          </a:solidFill>
          <a:effectLst/>
        </p:grpSpPr>
        <p:sp>
          <p:nvSpPr>
            <p:cNvPr id="434" name="Freeform 237">
              <a:extLst>
                <a:ext uri="{FF2B5EF4-FFF2-40B4-BE49-F238E27FC236}">
                  <a16:creationId xmlns:a16="http://schemas.microsoft.com/office/drawing/2014/main" id="{1F8BEEC4-9A2D-4F11-BD3D-D7BAA810F267}"/>
                </a:ext>
              </a:extLst>
            </p:cNvPr>
            <p:cNvSpPr>
              <a:spLocks noEditPoints="1"/>
            </p:cNvSpPr>
            <p:nvPr/>
          </p:nvSpPr>
          <p:spPr bwMode="auto">
            <a:xfrm>
              <a:off x="11609634" y="830831"/>
              <a:ext cx="287091" cy="219323"/>
            </a:xfrm>
            <a:custGeom>
              <a:avLst/>
              <a:gdLst>
                <a:gd name="T0" fmla="*/ 652 w 932"/>
                <a:gd name="T1" fmla="*/ 684 h 715"/>
                <a:gd name="T2" fmla="*/ 901 w 932"/>
                <a:gd name="T3" fmla="*/ 590 h 715"/>
                <a:gd name="T4" fmla="*/ 31 w 932"/>
                <a:gd name="T5" fmla="*/ 590 h 715"/>
                <a:gd name="T6" fmla="*/ 279 w 932"/>
                <a:gd name="T7" fmla="*/ 684 h 715"/>
                <a:gd name="T8" fmla="*/ 31 w 932"/>
                <a:gd name="T9" fmla="*/ 590 h 715"/>
                <a:gd name="T10" fmla="*/ 279 w 932"/>
                <a:gd name="T11" fmla="*/ 31 h 715"/>
                <a:gd name="T12" fmla="*/ 31 w 932"/>
                <a:gd name="T13" fmla="*/ 125 h 715"/>
                <a:gd name="T14" fmla="*/ 901 w 932"/>
                <a:gd name="T15" fmla="*/ 125 h 715"/>
                <a:gd name="T16" fmla="*/ 652 w 932"/>
                <a:gd name="T17" fmla="*/ 31 h 715"/>
                <a:gd name="T18" fmla="*/ 901 w 932"/>
                <a:gd name="T19" fmla="*/ 125 h 715"/>
                <a:gd name="T20" fmla="*/ 310 w 932"/>
                <a:gd name="T21" fmla="*/ 31 h 715"/>
                <a:gd name="T22" fmla="*/ 621 w 932"/>
                <a:gd name="T23" fmla="*/ 125 h 715"/>
                <a:gd name="T24" fmla="*/ 31 w 932"/>
                <a:gd name="T25" fmla="*/ 559 h 715"/>
                <a:gd name="T26" fmla="*/ 901 w 932"/>
                <a:gd name="T27" fmla="*/ 156 h 715"/>
                <a:gd name="T28" fmla="*/ 31 w 932"/>
                <a:gd name="T29" fmla="*/ 559 h 715"/>
                <a:gd name="T30" fmla="*/ 621 w 932"/>
                <a:gd name="T31" fmla="*/ 684 h 715"/>
                <a:gd name="T32" fmla="*/ 310 w 932"/>
                <a:gd name="T33" fmla="*/ 590 h 715"/>
                <a:gd name="T34" fmla="*/ 916 w 932"/>
                <a:gd name="T35" fmla="*/ 0 h 715"/>
                <a:gd name="T36" fmla="*/ 12 w 932"/>
                <a:gd name="T37" fmla="*/ 0 h 715"/>
                <a:gd name="T38" fmla="*/ 7 w 932"/>
                <a:gd name="T39" fmla="*/ 2 h 715"/>
                <a:gd name="T40" fmla="*/ 2 w 932"/>
                <a:gd name="T41" fmla="*/ 7 h 715"/>
                <a:gd name="T42" fmla="*/ 0 w 932"/>
                <a:gd name="T43" fmla="*/ 12 h 715"/>
                <a:gd name="T44" fmla="*/ 0 w 932"/>
                <a:gd name="T45" fmla="*/ 140 h 715"/>
                <a:gd name="T46" fmla="*/ 0 w 932"/>
                <a:gd name="T47" fmla="*/ 699 h 715"/>
                <a:gd name="T48" fmla="*/ 1 w 932"/>
                <a:gd name="T49" fmla="*/ 706 h 715"/>
                <a:gd name="T50" fmla="*/ 4 w 932"/>
                <a:gd name="T51" fmla="*/ 710 h 715"/>
                <a:gd name="T52" fmla="*/ 9 w 932"/>
                <a:gd name="T53" fmla="*/ 714 h 715"/>
                <a:gd name="T54" fmla="*/ 15 w 932"/>
                <a:gd name="T55" fmla="*/ 715 h 715"/>
                <a:gd name="T56" fmla="*/ 920 w 932"/>
                <a:gd name="T57" fmla="*/ 715 h 715"/>
                <a:gd name="T58" fmla="*/ 925 w 932"/>
                <a:gd name="T59" fmla="*/ 712 h 715"/>
                <a:gd name="T60" fmla="*/ 930 w 932"/>
                <a:gd name="T61" fmla="*/ 708 h 715"/>
                <a:gd name="T62" fmla="*/ 932 w 932"/>
                <a:gd name="T63" fmla="*/ 702 h 715"/>
                <a:gd name="T64" fmla="*/ 932 w 932"/>
                <a:gd name="T65" fmla="*/ 575 h 715"/>
                <a:gd name="T66" fmla="*/ 932 w 932"/>
                <a:gd name="T67" fmla="*/ 16 h 715"/>
                <a:gd name="T68" fmla="*/ 931 w 932"/>
                <a:gd name="T69" fmla="*/ 9 h 715"/>
                <a:gd name="T70" fmla="*/ 928 w 932"/>
                <a:gd name="T71" fmla="*/ 5 h 715"/>
                <a:gd name="T72" fmla="*/ 922 w 932"/>
                <a:gd name="T73" fmla="*/ 1 h 715"/>
                <a:gd name="T74" fmla="*/ 916 w 932"/>
                <a:gd name="T75"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2" h="715">
                  <a:moveTo>
                    <a:pt x="901" y="684"/>
                  </a:moveTo>
                  <a:lnTo>
                    <a:pt x="652" y="684"/>
                  </a:lnTo>
                  <a:lnTo>
                    <a:pt x="652" y="590"/>
                  </a:lnTo>
                  <a:lnTo>
                    <a:pt x="901" y="590"/>
                  </a:lnTo>
                  <a:lnTo>
                    <a:pt x="901" y="684"/>
                  </a:lnTo>
                  <a:close/>
                  <a:moveTo>
                    <a:pt x="31" y="590"/>
                  </a:moveTo>
                  <a:lnTo>
                    <a:pt x="279" y="590"/>
                  </a:lnTo>
                  <a:lnTo>
                    <a:pt x="279" y="684"/>
                  </a:lnTo>
                  <a:lnTo>
                    <a:pt x="31" y="684"/>
                  </a:lnTo>
                  <a:lnTo>
                    <a:pt x="31" y="590"/>
                  </a:lnTo>
                  <a:close/>
                  <a:moveTo>
                    <a:pt x="31" y="31"/>
                  </a:moveTo>
                  <a:lnTo>
                    <a:pt x="279" y="31"/>
                  </a:lnTo>
                  <a:lnTo>
                    <a:pt x="279" y="125"/>
                  </a:lnTo>
                  <a:lnTo>
                    <a:pt x="31" y="125"/>
                  </a:lnTo>
                  <a:lnTo>
                    <a:pt x="31" y="31"/>
                  </a:lnTo>
                  <a:close/>
                  <a:moveTo>
                    <a:pt x="901" y="125"/>
                  </a:moveTo>
                  <a:lnTo>
                    <a:pt x="652" y="125"/>
                  </a:lnTo>
                  <a:lnTo>
                    <a:pt x="652" y="31"/>
                  </a:lnTo>
                  <a:lnTo>
                    <a:pt x="901" y="31"/>
                  </a:lnTo>
                  <a:lnTo>
                    <a:pt x="901" y="125"/>
                  </a:lnTo>
                  <a:close/>
                  <a:moveTo>
                    <a:pt x="310" y="125"/>
                  </a:moveTo>
                  <a:lnTo>
                    <a:pt x="310" y="31"/>
                  </a:lnTo>
                  <a:lnTo>
                    <a:pt x="621" y="31"/>
                  </a:lnTo>
                  <a:lnTo>
                    <a:pt x="621" y="125"/>
                  </a:lnTo>
                  <a:lnTo>
                    <a:pt x="310" y="125"/>
                  </a:lnTo>
                  <a:close/>
                  <a:moveTo>
                    <a:pt x="31" y="559"/>
                  </a:moveTo>
                  <a:lnTo>
                    <a:pt x="31" y="156"/>
                  </a:lnTo>
                  <a:lnTo>
                    <a:pt x="901" y="156"/>
                  </a:lnTo>
                  <a:lnTo>
                    <a:pt x="901" y="559"/>
                  </a:lnTo>
                  <a:lnTo>
                    <a:pt x="31" y="559"/>
                  </a:lnTo>
                  <a:close/>
                  <a:moveTo>
                    <a:pt x="621" y="590"/>
                  </a:moveTo>
                  <a:lnTo>
                    <a:pt x="621" y="684"/>
                  </a:lnTo>
                  <a:lnTo>
                    <a:pt x="310" y="684"/>
                  </a:lnTo>
                  <a:lnTo>
                    <a:pt x="310" y="590"/>
                  </a:lnTo>
                  <a:lnTo>
                    <a:pt x="621" y="590"/>
                  </a:lnTo>
                  <a:close/>
                  <a:moveTo>
                    <a:pt x="916" y="0"/>
                  </a:moveTo>
                  <a:lnTo>
                    <a:pt x="15" y="0"/>
                  </a:lnTo>
                  <a:lnTo>
                    <a:pt x="12" y="0"/>
                  </a:lnTo>
                  <a:lnTo>
                    <a:pt x="9" y="1"/>
                  </a:lnTo>
                  <a:lnTo>
                    <a:pt x="7" y="2"/>
                  </a:lnTo>
                  <a:lnTo>
                    <a:pt x="4" y="5"/>
                  </a:lnTo>
                  <a:lnTo>
                    <a:pt x="2" y="7"/>
                  </a:lnTo>
                  <a:lnTo>
                    <a:pt x="1" y="9"/>
                  </a:lnTo>
                  <a:lnTo>
                    <a:pt x="0" y="12"/>
                  </a:lnTo>
                  <a:lnTo>
                    <a:pt x="0" y="16"/>
                  </a:lnTo>
                  <a:lnTo>
                    <a:pt x="0" y="140"/>
                  </a:lnTo>
                  <a:lnTo>
                    <a:pt x="0" y="575"/>
                  </a:lnTo>
                  <a:lnTo>
                    <a:pt x="0" y="699"/>
                  </a:lnTo>
                  <a:lnTo>
                    <a:pt x="0" y="702"/>
                  </a:lnTo>
                  <a:lnTo>
                    <a:pt x="1" y="706"/>
                  </a:lnTo>
                  <a:lnTo>
                    <a:pt x="2" y="708"/>
                  </a:lnTo>
                  <a:lnTo>
                    <a:pt x="4" y="710"/>
                  </a:lnTo>
                  <a:lnTo>
                    <a:pt x="7" y="712"/>
                  </a:lnTo>
                  <a:lnTo>
                    <a:pt x="9" y="714"/>
                  </a:lnTo>
                  <a:lnTo>
                    <a:pt x="12" y="715"/>
                  </a:lnTo>
                  <a:lnTo>
                    <a:pt x="15" y="715"/>
                  </a:lnTo>
                  <a:lnTo>
                    <a:pt x="916" y="715"/>
                  </a:lnTo>
                  <a:lnTo>
                    <a:pt x="920" y="715"/>
                  </a:lnTo>
                  <a:lnTo>
                    <a:pt x="922" y="714"/>
                  </a:lnTo>
                  <a:lnTo>
                    <a:pt x="925" y="712"/>
                  </a:lnTo>
                  <a:lnTo>
                    <a:pt x="928" y="710"/>
                  </a:lnTo>
                  <a:lnTo>
                    <a:pt x="930" y="708"/>
                  </a:lnTo>
                  <a:lnTo>
                    <a:pt x="931" y="706"/>
                  </a:lnTo>
                  <a:lnTo>
                    <a:pt x="932" y="702"/>
                  </a:lnTo>
                  <a:lnTo>
                    <a:pt x="932" y="699"/>
                  </a:lnTo>
                  <a:lnTo>
                    <a:pt x="932" y="575"/>
                  </a:lnTo>
                  <a:lnTo>
                    <a:pt x="932" y="140"/>
                  </a:lnTo>
                  <a:lnTo>
                    <a:pt x="932" y="16"/>
                  </a:lnTo>
                  <a:lnTo>
                    <a:pt x="932" y="12"/>
                  </a:lnTo>
                  <a:lnTo>
                    <a:pt x="931" y="9"/>
                  </a:lnTo>
                  <a:lnTo>
                    <a:pt x="930" y="7"/>
                  </a:lnTo>
                  <a:lnTo>
                    <a:pt x="928" y="5"/>
                  </a:lnTo>
                  <a:lnTo>
                    <a:pt x="925" y="2"/>
                  </a:lnTo>
                  <a:lnTo>
                    <a:pt x="922" y="1"/>
                  </a:lnTo>
                  <a:lnTo>
                    <a:pt x="920" y="0"/>
                  </a:lnTo>
                  <a:lnTo>
                    <a:pt x="9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238">
              <a:extLst>
                <a:ext uri="{FF2B5EF4-FFF2-40B4-BE49-F238E27FC236}">
                  <a16:creationId xmlns:a16="http://schemas.microsoft.com/office/drawing/2014/main" id="{84F1ED70-2114-4215-8465-FBA73E632480}"/>
                </a:ext>
              </a:extLst>
            </p:cNvPr>
            <p:cNvSpPr>
              <a:spLocks noEditPoints="1"/>
            </p:cNvSpPr>
            <p:nvPr/>
          </p:nvSpPr>
          <p:spPr bwMode="auto">
            <a:xfrm>
              <a:off x="11714367" y="907224"/>
              <a:ext cx="80090" cy="70233"/>
            </a:xfrm>
            <a:custGeom>
              <a:avLst/>
              <a:gdLst>
                <a:gd name="T0" fmla="*/ 31 w 258"/>
                <a:gd name="T1" fmla="*/ 187 h 227"/>
                <a:gd name="T2" fmla="*/ 31 w 258"/>
                <a:gd name="T3" fmla="*/ 39 h 227"/>
                <a:gd name="T4" fmla="*/ 203 w 258"/>
                <a:gd name="T5" fmla="*/ 114 h 227"/>
                <a:gd name="T6" fmla="*/ 31 w 258"/>
                <a:gd name="T7" fmla="*/ 187 h 227"/>
                <a:gd name="T8" fmla="*/ 249 w 258"/>
                <a:gd name="T9" fmla="*/ 99 h 227"/>
                <a:gd name="T10" fmla="*/ 22 w 258"/>
                <a:gd name="T11" fmla="*/ 1 h 227"/>
                <a:gd name="T12" fmla="*/ 19 w 258"/>
                <a:gd name="T13" fmla="*/ 0 h 227"/>
                <a:gd name="T14" fmla="*/ 14 w 258"/>
                <a:gd name="T15" fmla="*/ 0 h 227"/>
                <a:gd name="T16" fmla="*/ 11 w 258"/>
                <a:gd name="T17" fmla="*/ 0 h 227"/>
                <a:gd name="T18" fmla="*/ 8 w 258"/>
                <a:gd name="T19" fmla="*/ 3 h 227"/>
                <a:gd name="T20" fmla="*/ 4 w 258"/>
                <a:gd name="T21" fmla="*/ 5 h 227"/>
                <a:gd name="T22" fmla="*/ 2 w 258"/>
                <a:gd name="T23" fmla="*/ 8 h 227"/>
                <a:gd name="T24" fmla="*/ 1 w 258"/>
                <a:gd name="T25" fmla="*/ 11 h 227"/>
                <a:gd name="T26" fmla="*/ 0 w 258"/>
                <a:gd name="T27" fmla="*/ 15 h 227"/>
                <a:gd name="T28" fmla="*/ 0 w 258"/>
                <a:gd name="T29" fmla="*/ 211 h 227"/>
                <a:gd name="T30" fmla="*/ 1 w 258"/>
                <a:gd name="T31" fmla="*/ 215 h 227"/>
                <a:gd name="T32" fmla="*/ 2 w 258"/>
                <a:gd name="T33" fmla="*/ 218 h 227"/>
                <a:gd name="T34" fmla="*/ 4 w 258"/>
                <a:gd name="T35" fmla="*/ 221 h 227"/>
                <a:gd name="T36" fmla="*/ 8 w 258"/>
                <a:gd name="T37" fmla="*/ 224 h 227"/>
                <a:gd name="T38" fmla="*/ 11 w 258"/>
                <a:gd name="T39" fmla="*/ 226 h 227"/>
                <a:gd name="T40" fmla="*/ 16 w 258"/>
                <a:gd name="T41" fmla="*/ 227 h 227"/>
                <a:gd name="T42" fmla="*/ 19 w 258"/>
                <a:gd name="T43" fmla="*/ 227 h 227"/>
                <a:gd name="T44" fmla="*/ 22 w 258"/>
                <a:gd name="T45" fmla="*/ 226 h 227"/>
                <a:gd name="T46" fmla="*/ 249 w 258"/>
                <a:gd name="T47" fmla="*/ 127 h 227"/>
                <a:gd name="T48" fmla="*/ 252 w 258"/>
                <a:gd name="T49" fmla="*/ 125 h 227"/>
                <a:gd name="T50" fmla="*/ 255 w 258"/>
                <a:gd name="T51" fmla="*/ 121 h 227"/>
                <a:gd name="T52" fmla="*/ 257 w 258"/>
                <a:gd name="T53" fmla="*/ 118 h 227"/>
                <a:gd name="T54" fmla="*/ 258 w 258"/>
                <a:gd name="T55" fmla="*/ 114 h 227"/>
                <a:gd name="T56" fmla="*/ 257 w 258"/>
                <a:gd name="T57" fmla="*/ 109 h 227"/>
                <a:gd name="T58" fmla="*/ 255 w 258"/>
                <a:gd name="T59" fmla="*/ 105 h 227"/>
                <a:gd name="T60" fmla="*/ 252 w 258"/>
                <a:gd name="T61" fmla="*/ 101 h 227"/>
                <a:gd name="T62" fmla="*/ 249 w 258"/>
                <a:gd name="T63" fmla="*/ 9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227">
                  <a:moveTo>
                    <a:pt x="31" y="187"/>
                  </a:moveTo>
                  <a:lnTo>
                    <a:pt x="31" y="39"/>
                  </a:lnTo>
                  <a:lnTo>
                    <a:pt x="203" y="114"/>
                  </a:lnTo>
                  <a:lnTo>
                    <a:pt x="31" y="187"/>
                  </a:lnTo>
                  <a:close/>
                  <a:moveTo>
                    <a:pt x="249" y="99"/>
                  </a:moveTo>
                  <a:lnTo>
                    <a:pt x="22" y="1"/>
                  </a:lnTo>
                  <a:lnTo>
                    <a:pt x="19" y="0"/>
                  </a:lnTo>
                  <a:lnTo>
                    <a:pt x="14" y="0"/>
                  </a:lnTo>
                  <a:lnTo>
                    <a:pt x="11" y="0"/>
                  </a:lnTo>
                  <a:lnTo>
                    <a:pt x="8" y="3"/>
                  </a:lnTo>
                  <a:lnTo>
                    <a:pt x="4" y="5"/>
                  </a:lnTo>
                  <a:lnTo>
                    <a:pt x="2" y="8"/>
                  </a:lnTo>
                  <a:lnTo>
                    <a:pt x="1" y="11"/>
                  </a:lnTo>
                  <a:lnTo>
                    <a:pt x="0" y="15"/>
                  </a:lnTo>
                  <a:lnTo>
                    <a:pt x="0" y="211"/>
                  </a:lnTo>
                  <a:lnTo>
                    <a:pt x="1" y="215"/>
                  </a:lnTo>
                  <a:lnTo>
                    <a:pt x="2" y="218"/>
                  </a:lnTo>
                  <a:lnTo>
                    <a:pt x="4" y="221"/>
                  </a:lnTo>
                  <a:lnTo>
                    <a:pt x="8" y="224"/>
                  </a:lnTo>
                  <a:lnTo>
                    <a:pt x="11" y="226"/>
                  </a:lnTo>
                  <a:lnTo>
                    <a:pt x="16" y="227"/>
                  </a:lnTo>
                  <a:lnTo>
                    <a:pt x="19" y="227"/>
                  </a:lnTo>
                  <a:lnTo>
                    <a:pt x="22" y="226"/>
                  </a:lnTo>
                  <a:lnTo>
                    <a:pt x="249" y="127"/>
                  </a:lnTo>
                  <a:lnTo>
                    <a:pt x="252" y="125"/>
                  </a:lnTo>
                  <a:lnTo>
                    <a:pt x="255" y="121"/>
                  </a:lnTo>
                  <a:lnTo>
                    <a:pt x="257" y="118"/>
                  </a:lnTo>
                  <a:lnTo>
                    <a:pt x="258" y="114"/>
                  </a:lnTo>
                  <a:lnTo>
                    <a:pt x="257" y="109"/>
                  </a:lnTo>
                  <a:lnTo>
                    <a:pt x="255" y="105"/>
                  </a:lnTo>
                  <a:lnTo>
                    <a:pt x="252" y="101"/>
                  </a:lnTo>
                  <a:lnTo>
                    <a:pt x="249"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6" name="Freeform 148">
            <a:extLst>
              <a:ext uri="{FF2B5EF4-FFF2-40B4-BE49-F238E27FC236}">
                <a16:creationId xmlns:a16="http://schemas.microsoft.com/office/drawing/2014/main" id="{23465F52-54F0-4E0A-9C6B-2E2115869347}"/>
              </a:ext>
            </a:extLst>
          </p:cNvPr>
          <p:cNvSpPr>
            <a:spLocks noChangeAspect="1" noEditPoints="1"/>
          </p:cNvSpPr>
          <p:nvPr/>
        </p:nvSpPr>
        <p:spPr bwMode="auto">
          <a:xfrm>
            <a:off x="272744" y="2186361"/>
            <a:ext cx="304790" cy="252300"/>
          </a:xfrm>
          <a:custGeom>
            <a:avLst/>
            <a:gdLst>
              <a:gd name="T0" fmla="*/ 855 w 900"/>
              <a:gd name="T1" fmla="*/ 363 h 748"/>
              <a:gd name="T2" fmla="*/ 810 w 900"/>
              <a:gd name="T3" fmla="*/ 373 h 748"/>
              <a:gd name="T4" fmla="*/ 849 w 900"/>
              <a:gd name="T5" fmla="*/ 261 h 748"/>
              <a:gd name="T6" fmla="*/ 870 w 900"/>
              <a:gd name="T7" fmla="*/ 299 h 748"/>
              <a:gd name="T8" fmla="*/ 682 w 900"/>
              <a:gd name="T9" fmla="*/ 548 h 748"/>
              <a:gd name="T10" fmla="*/ 550 w 900"/>
              <a:gd name="T11" fmla="*/ 497 h 748"/>
              <a:gd name="T12" fmla="*/ 382 w 900"/>
              <a:gd name="T13" fmla="*/ 461 h 748"/>
              <a:gd name="T14" fmla="*/ 383 w 900"/>
              <a:gd name="T15" fmla="*/ 166 h 748"/>
              <a:gd name="T16" fmla="*/ 552 w 900"/>
              <a:gd name="T17" fmla="*/ 133 h 748"/>
              <a:gd name="T18" fmla="*/ 685 w 900"/>
              <a:gd name="T19" fmla="*/ 83 h 748"/>
              <a:gd name="T20" fmla="*/ 780 w 900"/>
              <a:gd name="T21" fmla="*/ 595 h 748"/>
              <a:gd name="T22" fmla="*/ 83 w 900"/>
              <a:gd name="T23" fmla="*/ 442 h 748"/>
              <a:gd name="T24" fmla="*/ 49 w 900"/>
              <a:gd name="T25" fmla="*/ 417 h 748"/>
              <a:gd name="T26" fmla="*/ 32 w 900"/>
              <a:gd name="T27" fmla="*/ 378 h 748"/>
              <a:gd name="T28" fmla="*/ 32 w 900"/>
              <a:gd name="T29" fmla="*/ 264 h 748"/>
              <a:gd name="T30" fmla="*/ 48 w 900"/>
              <a:gd name="T31" fmla="*/ 219 h 748"/>
              <a:gd name="T32" fmla="*/ 82 w 900"/>
              <a:gd name="T33" fmla="*/ 187 h 748"/>
              <a:gd name="T34" fmla="*/ 165 w 900"/>
              <a:gd name="T35" fmla="*/ 179 h 748"/>
              <a:gd name="T36" fmla="*/ 270 w 900"/>
              <a:gd name="T37" fmla="*/ 450 h 748"/>
              <a:gd name="T38" fmla="*/ 120 w 900"/>
              <a:gd name="T39" fmla="*/ 448 h 748"/>
              <a:gd name="T40" fmla="*/ 808 w 900"/>
              <a:gd name="T41" fmla="*/ 8 h 748"/>
              <a:gd name="T42" fmla="*/ 792 w 900"/>
              <a:gd name="T43" fmla="*/ 0 h 748"/>
              <a:gd name="T44" fmla="*/ 638 w 900"/>
              <a:gd name="T45" fmla="*/ 72 h 748"/>
              <a:gd name="T46" fmla="*/ 464 w 900"/>
              <a:gd name="T47" fmla="*/ 122 h 748"/>
              <a:gd name="T48" fmla="*/ 225 w 900"/>
              <a:gd name="T49" fmla="*/ 148 h 748"/>
              <a:gd name="T50" fmla="*/ 85 w 900"/>
              <a:gd name="T51" fmla="*/ 154 h 748"/>
              <a:gd name="T52" fmla="*/ 35 w 900"/>
              <a:gd name="T53" fmla="*/ 187 h 748"/>
              <a:gd name="T54" fmla="*/ 5 w 900"/>
              <a:gd name="T55" fmla="*/ 243 h 748"/>
              <a:gd name="T56" fmla="*/ 1 w 900"/>
              <a:gd name="T57" fmla="*/ 371 h 748"/>
              <a:gd name="T58" fmla="*/ 19 w 900"/>
              <a:gd name="T59" fmla="*/ 427 h 748"/>
              <a:gd name="T60" fmla="*/ 61 w 900"/>
              <a:gd name="T61" fmla="*/ 464 h 748"/>
              <a:gd name="T62" fmla="*/ 120 w 900"/>
              <a:gd name="T63" fmla="*/ 478 h 748"/>
              <a:gd name="T64" fmla="*/ 270 w 900"/>
              <a:gd name="T65" fmla="*/ 480 h 748"/>
              <a:gd name="T66" fmla="*/ 288 w 900"/>
              <a:gd name="T67" fmla="*/ 584 h 748"/>
              <a:gd name="T68" fmla="*/ 335 w 900"/>
              <a:gd name="T69" fmla="*/ 672 h 748"/>
              <a:gd name="T70" fmla="*/ 408 w 900"/>
              <a:gd name="T71" fmla="*/ 737 h 748"/>
              <a:gd name="T72" fmla="*/ 439 w 900"/>
              <a:gd name="T73" fmla="*/ 746 h 748"/>
              <a:gd name="T74" fmla="*/ 446 w 900"/>
              <a:gd name="T75" fmla="*/ 731 h 748"/>
              <a:gd name="T76" fmla="*/ 438 w 900"/>
              <a:gd name="T77" fmla="*/ 719 h 748"/>
              <a:gd name="T78" fmla="*/ 370 w 900"/>
              <a:gd name="T79" fmla="*/ 666 h 748"/>
              <a:gd name="T80" fmla="*/ 323 w 900"/>
              <a:gd name="T81" fmla="*/ 592 h 748"/>
              <a:gd name="T82" fmla="*/ 301 w 900"/>
              <a:gd name="T83" fmla="*/ 502 h 748"/>
              <a:gd name="T84" fmla="*/ 448 w 900"/>
              <a:gd name="T85" fmla="*/ 503 h 748"/>
              <a:gd name="T86" fmla="*/ 595 w 900"/>
              <a:gd name="T87" fmla="*/ 543 h 748"/>
              <a:gd name="T88" fmla="*/ 761 w 900"/>
              <a:gd name="T89" fmla="*/ 619 h 748"/>
              <a:gd name="T90" fmla="*/ 802 w 900"/>
              <a:gd name="T91" fmla="*/ 632 h 748"/>
              <a:gd name="T92" fmla="*/ 810 w 900"/>
              <a:gd name="T93" fmla="*/ 403 h 748"/>
              <a:gd name="T94" fmla="*/ 854 w 900"/>
              <a:gd name="T95" fmla="*/ 398 h 748"/>
              <a:gd name="T96" fmla="*/ 883 w 900"/>
              <a:gd name="T97" fmla="*/ 379 h 748"/>
              <a:gd name="T98" fmla="*/ 897 w 900"/>
              <a:gd name="T99" fmla="*/ 350 h 748"/>
              <a:gd name="T100" fmla="*/ 897 w 900"/>
              <a:gd name="T101" fmla="*/ 284 h 748"/>
              <a:gd name="T102" fmla="*/ 881 w 900"/>
              <a:gd name="T103" fmla="*/ 251 h 748"/>
              <a:gd name="T104" fmla="*/ 853 w 900"/>
              <a:gd name="T105" fmla="*/ 22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0" h="748">
                <a:moveTo>
                  <a:pt x="870" y="336"/>
                </a:moveTo>
                <a:lnTo>
                  <a:pt x="869" y="345"/>
                </a:lnTo>
                <a:lnTo>
                  <a:pt x="865" y="352"/>
                </a:lnTo>
                <a:lnTo>
                  <a:pt x="861" y="357"/>
                </a:lnTo>
                <a:lnTo>
                  <a:pt x="855" y="363"/>
                </a:lnTo>
                <a:lnTo>
                  <a:pt x="848" y="367"/>
                </a:lnTo>
                <a:lnTo>
                  <a:pt x="841" y="370"/>
                </a:lnTo>
                <a:lnTo>
                  <a:pt x="832" y="372"/>
                </a:lnTo>
                <a:lnTo>
                  <a:pt x="825" y="373"/>
                </a:lnTo>
                <a:lnTo>
                  <a:pt x="810" y="373"/>
                </a:lnTo>
                <a:lnTo>
                  <a:pt x="810" y="254"/>
                </a:lnTo>
                <a:lnTo>
                  <a:pt x="825" y="254"/>
                </a:lnTo>
                <a:lnTo>
                  <a:pt x="833" y="254"/>
                </a:lnTo>
                <a:lnTo>
                  <a:pt x="841" y="257"/>
                </a:lnTo>
                <a:lnTo>
                  <a:pt x="849" y="261"/>
                </a:lnTo>
                <a:lnTo>
                  <a:pt x="856" y="267"/>
                </a:lnTo>
                <a:lnTo>
                  <a:pt x="861" y="274"/>
                </a:lnTo>
                <a:lnTo>
                  <a:pt x="865" y="281"/>
                </a:lnTo>
                <a:lnTo>
                  <a:pt x="869" y="290"/>
                </a:lnTo>
                <a:lnTo>
                  <a:pt x="870" y="299"/>
                </a:lnTo>
                <a:lnTo>
                  <a:pt x="870" y="336"/>
                </a:lnTo>
                <a:close/>
                <a:moveTo>
                  <a:pt x="780" y="595"/>
                </a:moveTo>
                <a:lnTo>
                  <a:pt x="774" y="593"/>
                </a:lnTo>
                <a:lnTo>
                  <a:pt x="730" y="570"/>
                </a:lnTo>
                <a:lnTo>
                  <a:pt x="682" y="548"/>
                </a:lnTo>
                <a:lnTo>
                  <a:pt x="658" y="537"/>
                </a:lnTo>
                <a:lnTo>
                  <a:pt x="632" y="526"/>
                </a:lnTo>
                <a:lnTo>
                  <a:pt x="607" y="517"/>
                </a:lnTo>
                <a:lnTo>
                  <a:pt x="579" y="507"/>
                </a:lnTo>
                <a:lnTo>
                  <a:pt x="550" y="497"/>
                </a:lnTo>
                <a:lnTo>
                  <a:pt x="520" y="489"/>
                </a:lnTo>
                <a:lnTo>
                  <a:pt x="488" y="480"/>
                </a:lnTo>
                <a:lnTo>
                  <a:pt x="455" y="474"/>
                </a:lnTo>
                <a:lnTo>
                  <a:pt x="419" y="468"/>
                </a:lnTo>
                <a:lnTo>
                  <a:pt x="382" y="461"/>
                </a:lnTo>
                <a:lnTo>
                  <a:pt x="342" y="457"/>
                </a:lnTo>
                <a:lnTo>
                  <a:pt x="300" y="453"/>
                </a:lnTo>
                <a:lnTo>
                  <a:pt x="300" y="174"/>
                </a:lnTo>
                <a:lnTo>
                  <a:pt x="342" y="170"/>
                </a:lnTo>
                <a:lnTo>
                  <a:pt x="383" y="166"/>
                </a:lnTo>
                <a:lnTo>
                  <a:pt x="420" y="161"/>
                </a:lnTo>
                <a:lnTo>
                  <a:pt x="456" y="155"/>
                </a:lnTo>
                <a:lnTo>
                  <a:pt x="490" y="148"/>
                </a:lnTo>
                <a:lnTo>
                  <a:pt x="521" y="140"/>
                </a:lnTo>
                <a:lnTo>
                  <a:pt x="552" y="133"/>
                </a:lnTo>
                <a:lnTo>
                  <a:pt x="581" y="123"/>
                </a:lnTo>
                <a:lnTo>
                  <a:pt x="609" y="115"/>
                </a:lnTo>
                <a:lnTo>
                  <a:pt x="634" y="105"/>
                </a:lnTo>
                <a:lnTo>
                  <a:pt x="660" y="94"/>
                </a:lnTo>
                <a:lnTo>
                  <a:pt x="685" y="83"/>
                </a:lnTo>
                <a:lnTo>
                  <a:pt x="733" y="62"/>
                </a:lnTo>
                <a:lnTo>
                  <a:pt x="780" y="39"/>
                </a:lnTo>
                <a:lnTo>
                  <a:pt x="780" y="239"/>
                </a:lnTo>
                <a:lnTo>
                  <a:pt x="780" y="388"/>
                </a:lnTo>
                <a:lnTo>
                  <a:pt x="780" y="595"/>
                </a:lnTo>
                <a:close/>
                <a:moveTo>
                  <a:pt x="120" y="448"/>
                </a:moveTo>
                <a:lnTo>
                  <a:pt x="110" y="447"/>
                </a:lnTo>
                <a:lnTo>
                  <a:pt x="101" y="446"/>
                </a:lnTo>
                <a:lnTo>
                  <a:pt x="92" y="444"/>
                </a:lnTo>
                <a:lnTo>
                  <a:pt x="83" y="442"/>
                </a:lnTo>
                <a:lnTo>
                  <a:pt x="75" y="438"/>
                </a:lnTo>
                <a:lnTo>
                  <a:pt x="67" y="434"/>
                </a:lnTo>
                <a:lnTo>
                  <a:pt x="61" y="429"/>
                </a:lnTo>
                <a:lnTo>
                  <a:pt x="55" y="424"/>
                </a:lnTo>
                <a:lnTo>
                  <a:pt x="49" y="417"/>
                </a:lnTo>
                <a:lnTo>
                  <a:pt x="44" y="411"/>
                </a:lnTo>
                <a:lnTo>
                  <a:pt x="40" y="403"/>
                </a:lnTo>
                <a:lnTo>
                  <a:pt x="36" y="395"/>
                </a:lnTo>
                <a:lnTo>
                  <a:pt x="34" y="386"/>
                </a:lnTo>
                <a:lnTo>
                  <a:pt x="32" y="378"/>
                </a:lnTo>
                <a:lnTo>
                  <a:pt x="31" y="368"/>
                </a:lnTo>
                <a:lnTo>
                  <a:pt x="30" y="358"/>
                </a:lnTo>
                <a:lnTo>
                  <a:pt x="30" y="284"/>
                </a:lnTo>
                <a:lnTo>
                  <a:pt x="31" y="274"/>
                </a:lnTo>
                <a:lnTo>
                  <a:pt x="32" y="264"/>
                </a:lnTo>
                <a:lnTo>
                  <a:pt x="33" y="255"/>
                </a:lnTo>
                <a:lnTo>
                  <a:pt x="36" y="245"/>
                </a:lnTo>
                <a:lnTo>
                  <a:pt x="40" y="236"/>
                </a:lnTo>
                <a:lnTo>
                  <a:pt x="44" y="227"/>
                </a:lnTo>
                <a:lnTo>
                  <a:pt x="48" y="219"/>
                </a:lnTo>
                <a:lnTo>
                  <a:pt x="55" y="212"/>
                </a:lnTo>
                <a:lnTo>
                  <a:pt x="60" y="204"/>
                </a:lnTo>
                <a:lnTo>
                  <a:pt x="67" y="198"/>
                </a:lnTo>
                <a:lnTo>
                  <a:pt x="74" y="193"/>
                </a:lnTo>
                <a:lnTo>
                  <a:pt x="82" y="187"/>
                </a:lnTo>
                <a:lnTo>
                  <a:pt x="91" y="183"/>
                </a:lnTo>
                <a:lnTo>
                  <a:pt x="101" y="181"/>
                </a:lnTo>
                <a:lnTo>
                  <a:pt x="110" y="179"/>
                </a:lnTo>
                <a:lnTo>
                  <a:pt x="120" y="179"/>
                </a:lnTo>
                <a:lnTo>
                  <a:pt x="165" y="179"/>
                </a:lnTo>
                <a:lnTo>
                  <a:pt x="193" y="178"/>
                </a:lnTo>
                <a:lnTo>
                  <a:pt x="219" y="178"/>
                </a:lnTo>
                <a:lnTo>
                  <a:pt x="245" y="177"/>
                </a:lnTo>
                <a:lnTo>
                  <a:pt x="270" y="175"/>
                </a:lnTo>
                <a:lnTo>
                  <a:pt x="270" y="450"/>
                </a:lnTo>
                <a:lnTo>
                  <a:pt x="245" y="449"/>
                </a:lnTo>
                <a:lnTo>
                  <a:pt x="219" y="448"/>
                </a:lnTo>
                <a:lnTo>
                  <a:pt x="193" y="448"/>
                </a:lnTo>
                <a:lnTo>
                  <a:pt x="165" y="448"/>
                </a:lnTo>
                <a:lnTo>
                  <a:pt x="120" y="448"/>
                </a:lnTo>
                <a:close/>
                <a:moveTo>
                  <a:pt x="825" y="224"/>
                </a:moveTo>
                <a:lnTo>
                  <a:pt x="810" y="224"/>
                </a:lnTo>
                <a:lnTo>
                  <a:pt x="810" y="15"/>
                </a:lnTo>
                <a:lnTo>
                  <a:pt x="809" y="11"/>
                </a:lnTo>
                <a:lnTo>
                  <a:pt x="808" y="8"/>
                </a:lnTo>
                <a:lnTo>
                  <a:pt x="805" y="4"/>
                </a:lnTo>
                <a:lnTo>
                  <a:pt x="802" y="2"/>
                </a:lnTo>
                <a:lnTo>
                  <a:pt x="799" y="0"/>
                </a:lnTo>
                <a:lnTo>
                  <a:pt x="795" y="0"/>
                </a:lnTo>
                <a:lnTo>
                  <a:pt x="792" y="0"/>
                </a:lnTo>
                <a:lnTo>
                  <a:pt x="787" y="1"/>
                </a:lnTo>
                <a:lnTo>
                  <a:pt x="779" y="5"/>
                </a:lnTo>
                <a:lnTo>
                  <a:pt x="724" y="33"/>
                </a:lnTo>
                <a:lnTo>
                  <a:pt x="668" y="59"/>
                </a:lnTo>
                <a:lnTo>
                  <a:pt x="638" y="72"/>
                </a:lnTo>
                <a:lnTo>
                  <a:pt x="607" y="83"/>
                </a:lnTo>
                <a:lnTo>
                  <a:pt x="574" y="94"/>
                </a:lnTo>
                <a:lnTo>
                  <a:pt x="539" y="105"/>
                </a:lnTo>
                <a:lnTo>
                  <a:pt x="503" y="113"/>
                </a:lnTo>
                <a:lnTo>
                  <a:pt x="464" y="122"/>
                </a:lnTo>
                <a:lnTo>
                  <a:pt x="423" y="129"/>
                </a:lnTo>
                <a:lnTo>
                  <a:pt x="379" y="136"/>
                </a:lnTo>
                <a:lnTo>
                  <a:pt x="331" y="141"/>
                </a:lnTo>
                <a:lnTo>
                  <a:pt x="279" y="146"/>
                </a:lnTo>
                <a:lnTo>
                  <a:pt x="225" y="148"/>
                </a:lnTo>
                <a:lnTo>
                  <a:pt x="165" y="149"/>
                </a:lnTo>
                <a:lnTo>
                  <a:pt x="120" y="149"/>
                </a:lnTo>
                <a:lnTo>
                  <a:pt x="108" y="149"/>
                </a:lnTo>
                <a:lnTo>
                  <a:pt x="95" y="151"/>
                </a:lnTo>
                <a:lnTo>
                  <a:pt x="85" y="154"/>
                </a:lnTo>
                <a:lnTo>
                  <a:pt x="73" y="158"/>
                </a:lnTo>
                <a:lnTo>
                  <a:pt x="62" y="165"/>
                </a:lnTo>
                <a:lnTo>
                  <a:pt x="52" y="171"/>
                </a:lnTo>
                <a:lnTo>
                  <a:pt x="44" y="179"/>
                </a:lnTo>
                <a:lnTo>
                  <a:pt x="35" y="187"/>
                </a:lnTo>
                <a:lnTo>
                  <a:pt x="27" y="197"/>
                </a:lnTo>
                <a:lnTo>
                  <a:pt x="20" y="208"/>
                </a:lnTo>
                <a:lnTo>
                  <a:pt x="15" y="218"/>
                </a:lnTo>
                <a:lnTo>
                  <a:pt x="10" y="230"/>
                </a:lnTo>
                <a:lnTo>
                  <a:pt x="5" y="243"/>
                </a:lnTo>
                <a:lnTo>
                  <a:pt x="2" y="256"/>
                </a:lnTo>
                <a:lnTo>
                  <a:pt x="1" y="270"/>
                </a:lnTo>
                <a:lnTo>
                  <a:pt x="0" y="284"/>
                </a:lnTo>
                <a:lnTo>
                  <a:pt x="0" y="358"/>
                </a:lnTo>
                <a:lnTo>
                  <a:pt x="1" y="371"/>
                </a:lnTo>
                <a:lnTo>
                  <a:pt x="2" y="383"/>
                </a:lnTo>
                <a:lnTo>
                  <a:pt x="5" y="396"/>
                </a:lnTo>
                <a:lnTo>
                  <a:pt x="9" y="407"/>
                </a:lnTo>
                <a:lnTo>
                  <a:pt x="14" y="417"/>
                </a:lnTo>
                <a:lnTo>
                  <a:pt x="19" y="427"/>
                </a:lnTo>
                <a:lnTo>
                  <a:pt x="26" y="436"/>
                </a:lnTo>
                <a:lnTo>
                  <a:pt x="33" y="444"/>
                </a:lnTo>
                <a:lnTo>
                  <a:pt x="42" y="451"/>
                </a:lnTo>
                <a:lnTo>
                  <a:pt x="51" y="459"/>
                </a:lnTo>
                <a:lnTo>
                  <a:pt x="61" y="464"/>
                </a:lnTo>
                <a:lnTo>
                  <a:pt x="72" y="470"/>
                </a:lnTo>
                <a:lnTo>
                  <a:pt x="82" y="473"/>
                </a:lnTo>
                <a:lnTo>
                  <a:pt x="95" y="476"/>
                </a:lnTo>
                <a:lnTo>
                  <a:pt x="107" y="477"/>
                </a:lnTo>
                <a:lnTo>
                  <a:pt x="120" y="478"/>
                </a:lnTo>
                <a:lnTo>
                  <a:pt x="165" y="478"/>
                </a:lnTo>
                <a:lnTo>
                  <a:pt x="193" y="478"/>
                </a:lnTo>
                <a:lnTo>
                  <a:pt x="219" y="478"/>
                </a:lnTo>
                <a:lnTo>
                  <a:pt x="245" y="479"/>
                </a:lnTo>
                <a:lnTo>
                  <a:pt x="270" y="480"/>
                </a:lnTo>
                <a:lnTo>
                  <a:pt x="271" y="502"/>
                </a:lnTo>
                <a:lnTo>
                  <a:pt x="273" y="523"/>
                </a:lnTo>
                <a:lnTo>
                  <a:pt x="277" y="543"/>
                </a:lnTo>
                <a:lnTo>
                  <a:pt x="281" y="564"/>
                </a:lnTo>
                <a:lnTo>
                  <a:pt x="288" y="584"/>
                </a:lnTo>
                <a:lnTo>
                  <a:pt x="295" y="603"/>
                </a:lnTo>
                <a:lnTo>
                  <a:pt x="303" y="622"/>
                </a:lnTo>
                <a:lnTo>
                  <a:pt x="312" y="639"/>
                </a:lnTo>
                <a:lnTo>
                  <a:pt x="323" y="656"/>
                </a:lnTo>
                <a:lnTo>
                  <a:pt x="335" y="672"/>
                </a:lnTo>
                <a:lnTo>
                  <a:pt x="348" y="687"/>
                </a:lnTo>
                <a:lnTo>
                  <a:pt x="362" y="701"/>
                </a:lnTo>
                <a:lnTo>
                  <a:pt x="375" y="715"/>
                </a:lnTo>
                <a:lnTo>
                  <a:pt x="390" y="726"/>
                </a:lnTo>
                <a:lnTo>
                  <a:pt x="408" y="737"/>
                </a:lnTo>
                <a:lnTo>
                  <a:pt x="425" y="746"/>
                </a:lnTo>
                <a:lnTo>
                  <a:pt x="428" y="748"/>
                </a:lnTo>
                <a:lnTo>
                  <a:pt x="431" y="748"/>
                </a:lnTo>
                <a:lnTo>
                  <a:pt x="435" y="747"/>
                </a:lnTo>
                <a:lnTo>
                  <a:pt x="439" y="746"/>
                </a:lnTo>
                <a:lnTo>
                  <a:pt x="442" y="742"/>
                </a:lnTo>
                <a:lnTo>
                  <a:pt x="444" y="739"/>
                </a:lnTo>
                <a:lnTo>
                  <a:pt x="445" y="737"/>
                </a:lnTo>
                <a:lnTo>
                  <a:pt x="446" y="734"/>
                </a:lnTo>
                <a:lnTo>
                  <a:pt x="446" y="731"/>
                </a:lnTo>
                <a:lnTo>
                  <a:pt x="445" y="727"/>
                </a:lnTo>
                <a:lnTo>
                  <a:pt x="444" y="725"/>
                </a:lnTo>
                <a:lnTo>
                  <a:pt x="442" y="723"/>
                </a:lnTo>
                <a:lnTo>
                  <a:pt x="440" y="721"/>
                </a:lnTo>
                <a:lnTo>
                  <a:pt x="438" y="719"/>
                </a:lnTo>
                <a:lnTo>
                  <a:pt x="423" y="711"/>
                </a:lnTo>
                <a:lnTo>
                  <a:pt x="409" y="702"/>
                </a:lnTo>
                <a:lnTo>
                  <a:pt x="395" y="691"/>
                </a:lnTo>
                <a:lnTo>
                  <a:pt x="382" y="679"/>
                </a:lnTo>
                <a:lnTo>
                  <a:pt x="370" y="666"/>
                </a:lnTo>
                <a:lnTo>
                  <a:pt x="359" y="654"/>
                </a:lnTo>
                <a:lnTo>
                  <a:pt x="349" y="639"/>
                </a:lnTo>
                <a:lnTo>
                  <a:pt x="339" y="624"/>
                </a:lnTo>
                <a:lnTo>
                  <a:pt x="331" y="608"/>
                </a:lnTo>
                <a:lnTo>
                  <a:pt x="323" y="592"/>
                </a:lnTo>
                <a:lnTo>
                  <a:pt x="317" y="574"/>
                </a:lnTo>
                <a:lnTo>
                  <a:pt x="311" y="556"/>
                </a:lnTo>
                <a:lnTo>
                  <a:pt x="306" y="539"/>
                </a:lnTo>
                <a:lnTo>
                  <a:pt x="303" y="520"/>
                </a:lnTo>
                <a:lnTo>
                  <a:pt x="301" y="502"/>
                </a:lnTo>
                <a:lnTo>
                  <a:pt x="301" y="482"/>
                </a:lnTo>
                <a:lnTo>
                  <a:pt x="340" y="487"/>
                </a:lnTo>
                <a:lnTo>
                  <a:pt x="379" y="491"/>
                </a:lnTo>
                <a:lnTo>
                  <a:pt x="415" y="496"/>
                </a:lnTo>
                <a:lnTo>
                  <a:pt x="448" y="503"/>
                </a:lnTo>
                <a:lnTo>
                  <a:pt x="480" y="509"/>
                </a:lnTo>
                <a:lnTo>
                  <a:pt x="511" y="517"/>
                </a:lnTo>
                <a:lnTo>
                  <a:pt x="540" y="525"/>
                </a:lnTo>
                <a:lnTo>
                  <a:pt x="568" y="534"/>
                </a:lnTo>
                <a:lnTo>
                  <a:pt x="595" y="543"/>
                </a:lnTo>
                <a:lnTo>
                  <a:pt x="620" y="553"/>
                </a:lnTo>
                <a:lnTo>
                  <a:pt x="645" y="564"/>
                </a:lnTo>
                <a:lnTo>
                  <a:pt x="669" y="574"/>
                </a:lnTo>
                <a:lnTo>
                  <a:pt x="716" y="597"/>
                </a:lnTo>
                <a:lnTo>
                  <a:pt x="761" y="619"/>
                </a:lnTo>
                <a:lnTo>
                  <a:pt x="787" y="632"/>
                </a:lnTo>
                <a:lnTo>
                  <a:pt x="792" y="634"/>
                </a:lnTo>
                <a:lnTo>
                  <a:pt x="795" y="634"/>
                </a:lnTo>
                <a:lnTo>
                  <a:pt x="799" y="633"/>
                </a:lnTo>
                <a:lnTo>
                  <a:pt x="802" y="632"/>
                </a:lnTo>
                <a:lnTo>
                  <a:pt x="805" y="630"/>
                </a:lnTo>
                <a:lnTo>
                  <a:pt x="808" y="627"/>
                </a:lnTo>
                <a:lnTo>
                  <a:pt x="809" y="623"/>
                </a:lnTo>
                <a:lnTo>
                  <a:pt x="810" y="619"/>
                </a:lnTo>
                <a:lnTo>
                  <a:pt x="810" y="403"/>
                </a:lnTo>
                <a:lnTo>
                  <a:pt x="825" y="403"/>
                </a:lnTo>
                <a:lnTo>
                  <a:pt x="832" y="402"/>
                </a:lnTo>
                <a:lnTo>
                  <a:pt x="840" y="401"/>
                </a:lnTo>
                <a:lnTo>
                  <a:pt x="847" y="400"/>
                </a:lnTo>
                <a:lnTo>
                  <a:pt x="854" y="398"/>
                </a:lnTo>
                <a:lnTo>
                  <a:pt x="860" y="395"/>
                </a:lnTo>
                <a:lnTo>
                  <a:pt x="866" y="392"/>
                </a:lnTo>
                <a:lnTo>
                  <a:pt x="873" y="388"/>
                </a:lnTo>
                <a:lnTo>
                  <a:pt x="877" y="384"/>
                </a:lnTo>
                <a:lnTo>
                  <a:pt x="883" y="379"/>
                </a:lnTo>
                <a:lnTo>
                  <a:pt x="887" y="373"/>
                </a:lnTo>
                <a:lnTo>
                  <a:pt x="890" y="368"/>
                </a:lnTo>
                <a:lnTo>
                  <a:pt x="893" y="363"/>
                </a:lnTo>
                <a:lnTo>
                  <a:pt x="896" y="356"/>
                </a:lnTo>
                <a:lnTo>
                  <a:pt x="897" y="350"/>
                </a:lnTo>
                <a:lnTo>
                  <a:pt x="899" y="342"/>
                </a:lnTo>
                <a:lnTo>
                  <a:pt x="900" y="336"/>
                </a:lnTo>
                <a:lnTo>
                  <a:pt x="900" y="299"/>
                </a:lnTo>
                <a:lnTo>
                  <a:pt x="899" y="291"/>
                </a:lnTo>
                <a:lnTo>
                  <a:pt x="897" y="284"/>
                </a:lnTo>
                <a:lnTo>
                  <a:pt x="895" y="276"/>
                </a:lnTo>
                <a:lnTo>
                  <a:pt x="893" y="270"/>
                </a:lnTo>
                <a:lnTo>
                  <a:pt x="890" y="263"/>
                </a:lnTo>
                <a:lnTo>
                  <a:pt x="886" y="257"/>
                </a:lnTo>
                <a:lnTo>
                  <a:pt x="881" y="251"/>
                </a:lnTo>
                <a:lnTo>
                  <a:pt x="877" y="246"/>
                </a:lnTo>
                <a:lnTo>
                  <a:pt x="872" y="241"/>
                </a:lnTo>
                <a:lnTo>
                  <a:pt x="865" y="236"/>
                </a:lnTo>
                <a:lnTo>
                  <a:pt x="859" y="232"/>
                </a:lnTo>
                <a:lnTo>
                  <a:pt x="853" y="229"/>
                </a:lnTo>
                <a:lnTo>
                  <a:pt x="846" y="227"/>
                </a:lnTo>
                <a:lnTo>
                  <a:pt x="839" y="225"/>
                </a:lnTo>
                <a:lnTo>
                  <a:pt x="832" y="224"/>
                </a:lnTo>
                <a:lnTo>
                  <a:pt x="825" y="22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437" name="Group 88">
            <a:extLst>
              <a:ext uri="{FF2B5EF4-FFF2-40B4-BE49-F238E27FC236}">
                <a16:creationId xmlns:a16="http://schemas.microsoft.com/office/drawing/2014/main" id="{58A37F29-8A8D-4ACF-94BC-3BDB7BDDF64B}"/>
              </a:ext>
            </a:extLst>
          </p:cNvPr>
          <p:cNvGrpSpPr>
            <a:grpSpLocks noChangeAspect="1"/>
          </p:cNvGrpSpPr>
          <p:nvPr/>
        </p:nvGrpSpPr>
        <p:grpSpPr>
          <a:xfrm>
            <a:off x="3192203" y="2186361"/>
            <a:ext cx="306484" cy="306484"/>
            <a:chOff x="8164513" y="4791075"/>
            <a:chExt cx="285750" cy="285750"/>
          </a:xfrm>
          <a:solidFill>
            <a:schemeClr val="bg1"/>
          </a:solidFill>
          <a:effectLst/>
        </p:grpSpPr>
        <p:sp>
          <p:nvSpPr>
            <p:cNvPr id="438" name="Freeform 108">
              <a:extLst>
                <a:ext uri="{FF2B5EF4-FFF2-40B4-BE49-F238E27FC236}">
                  <a16:creationId xmlns:a16="http://schemas.microsoft.com/office/drawing/2014/main" id="{09DE544F-73D2-4E91-B576-8935AB1E7A5C}"/>
                </a:ext>
              </a:extLst>
            </p:cNvPr>
            <p:cNvSpPr>
              <a:spLocks noEditPoints="1"/>
            </p:cNvSpPr>
            <p:nvPr/>
          </p:nvSpPr>
          <p:spPr bwMode="auto">
            <a:xfrm>
              <a:off x="8164513" y="4791075"/>
              <a:ext cx="285750" cy="285750"/>
            </a:xfrm>
            <a:custGeom>
              <a:avLst/>
              <a:gdLst>
                <a:gd name="T0" fmla="*/ 30 w 902"/>
                <a:gd name="T1" fmla="*/ 571 h 902"/>
                <a:gd name="T2" fmla="*/ 872 w 902"/>
                <a:gd name="T3" fmla="*/ 30 h 902"/>
                <a:gd name="T4" fmla="*/ 887 w 902"/>
                <a:gd name="T5" fmla="*/ 0 h 902"/>
                <a:gd name="T6" fmla="*/ 12 w 902"/>
                <a:gd name="T7" fmla="*/ 0 h 902"/>
                <a:gd name="T8" fmla="*/ 6 w 902"/>
                <a:gd name="T9" fmla="*/ 2 h 902"/>
                <a:gd name="T10" fmla="*/ 2 w 902"/>
                <a:gd name="T11" fmla="*/ 6 h 902"/>
                <a:gd name="T12" fmla="*/ 0 w 902"/>
                <a:gd name="T13" fmla="*/ 12 h 902"/>
                <a:gd name="T14" fmla="*/ 0 w 902"/>
                <a:gd name="T15" fmla="*/ 586 h 902"/>
                <a:gd name="T16" fmla="*/ 1 w 902"/>
                <a:gd name="T17" fmla="*/ 592 h 902"/>
                <a:gd name="T18" fmla="*/ 4 w 902"/>
                <a:gd name="T19" fmla="*/ 597 h 902"/>
                <a:gd name="T20" fmla="*/ 9 w 902"/>
                <a:gd name="T21" fmla="*/ 600 h 902"/>
                <a:gd name="T22" fmla="*/ 15 w 902"/>
                <a:gd name="T23" fmla="*/ 601 h 902"/>
                <a:gd name="T24" fmla="*/ 436 w 902"/>
                <a:gd name="T25" fmla="*/ 701 h 902"/>
                <a:gd name="T26" fmla="*/ 258 w 902"/>
                <a:gd name="T27" fmla="*/ 878 h 902"/>
                <a:gd name="T28" fmla="*/ 255 w 902"/>
                <a:gd name="T29" fmla="*/ 884 h 902"/>
                <a:gd name="T30" fmla="*/ 255 w 902"/>
                <a:gd name="T31" fmla="*/ 890 h 902"/>
                <a:gd name="T32" fmla="*/ 258 w 902"/>
                <a:gd name="T33" fmla="*/ 896 h 902"/>
                <a:gd name="T34" fmla="*/ 262 w 902"/>
                <a:gd name="T35" fmla="*/ 900 h 902"/>
                <a:gd name="T36" fmla="*/ 268 w 902"/>
                <a:gd name="T37" fmla="*/ 902 h 902"/>
                <a:gd name="T38" fmla="*/ 273 w 902"/>
                <a:gd name="T39" fmla="*/ 902 h 902"/>
                <a:gd name="T40" fmla="*/ 279 w 902"/>
                <a:gd name="T41" fmla="*/ 900 h 902"/>
                <a:gd name="T42" fmla="*/ 451 w 902"/>
                <a:gd name="T43" fmla="*/ 727 h 902"/>
                <a:gd name="T44" fmla="*/ 622 w 902"/>
                <a:gd name="T45" fmla="*/ 900 h 902"/>
                <a:gd name="T46" fmla="*/ 628 w 902"/>
                <a:gd name="T47" fmla="*/ 902 h 902"/>
                <a:gd name="T48" fmla="*/ 634 w 902"/>
                <a:gd name="T49" fmla="*/ 902 h 902"/>
                <a:gd name="T50" fmla="*/ 640 w 902"/>
                <a:gd name="T51" fmla="*/ 900 h 902"/>
                <a:gd name="T52" fmla="*/ 644 w 902"/>
                <a:gd name="T53" fmla="*/ 896 h 902"/>
                <a:gd name="T54" fmla="*/ 646 w 902"/>
                <a:gd name="T55" fmla="*/ 890 h 902"/>
                <a:gd name="T56" fmla="*/ 646 w 902"/>
                <a:gd name="T57" fmla="*/ 884 h 902"/>
                <a:gd name="T58" fmla="*/ 644 w 902"/>
                <a:gd name="T59" fmla="*/ 878 h 902"/>
                <a:gd name="T60" fmla="*/ 466 w 902"/>
                <a:gd name="T61" fmla="*/ 701 h 902"/>
                <a:gd name="T62" fmla="*/ 887 w 902"/>
                <a:gd name="T63" fmla="*/ 601 h 902"/>
                <a:gd name="T64" fmla="*/ 892 w 902"/>
                <a:gd name="T65" fmla="*/ 600 h 902"/>
                <a:gd name="T66" fmla="*/ 898 w 902"/>
                <a:gd name="T67" fmla="*/ 597 h 902"/>
                <a:gd name="T68" fmla="*/ 901 w 902"/>
                <a:gd name="T69" fmla="*/ 592 h 902"/>
                <a:gd name="T70" fmla="*/ 902 w 902"/>
                <a:gd name="T71" fmla="*/ 586 h 902"/>
                <a:gd name="T72" fmla="*/ 901 w 902"/>
                <a:gd name="T73" fmla="*/ 12 h 902"/>
                <a:gd name="T74" fmla="*/ 899 w 902"/>
                <a:gd name="T75" fmla="*/ 6 h 902"/>
                <a:gd name="T76" fmla="*/ 896 w 902"/>
                <a:gd name="T77" fmla="*/ 2 h 902"/>
                <a:gd name="T78" fmla="*/ 890 w 902"/>
                <a:gd name="T79"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902">
                  <a:moveTo>
                    <a:pt x="872" y="571"/>
                  </a:moveTo>
                  <a:lnTo>
                    <a:pt x="30" y="571"/>
                  </a:lnTo>
                  <a:lnTo>
                    <a:pt x="30" y="30"/>
                  </a:lnTo>
                  <a:lnTo>
                    <a:pt x="872" y="30"/>
                  </a:lnTo>
                  <a:lnTo>
                    <a:pt x="872" y="571"/>
                  </a:lnTo>
                  <a:close/>
                  <a:moveTo>
                    <a:pt x="887" y="0"/>
                  </a:moveTo>
                  <a:lnTo>
                    <a:pt x="15" y="0"/>
                  </a:lnTo>
                  <a:lnTo>
                    <a:pt x="12" y="0"/>
                  </a:lnTo>
                  <a:lnTo>
                    <a:pt x="9" y="1"/>
                  </a:lnTo>
                  <a:lnTo>
                    <a:pt x="6" y="2"/>
                  </a:lnTo>
                  <a:lnTo>
                    <a:pt x="4" y="4"/>
                  </a:lnTo>
                  <a:lnTo>
                    <a:pt x="2" y="6"/>
                  </a:lnTo>
                  <a:lnTo>
                    <a:pt x="1" y="9"/>
                  </a:lnTo>
                  <a:lnTo>
                    <a:pt x="0" y="12"/>
                  </a:lnTo>
                  <a:lnTo>
                    <a:pt x="0" y="15"/>
                  </a:lnTo>
                  <a:lnTo>
                    <a:pt x="0" y="586"/>
                  </a:lnTo>
                  <a:lnTo>
                    <a:pt x="0" y="589"/>
                  </a:lnTo>
                  <a:lnTo>
                    <a:pt x="1" y="592"/>
                  </a:lnTo>
                  <a:lnTo>
                    <a:pt x="2" y="595"/>
                  </a:lnTo>
                  <a:lnTo>
                    <a:pt x="4" y="597"/>
                  </a:lnTo>
                  <a:lnTo>
                    <a:pt x="6" y="599"/>
                  </a:lnTo>
                  <a:lnTo>
                    <a:pt x="9" y="600"/>
                  </a:lnTo>
                  <a:lnTo>
                    <a:pt x="12" y="601"/>
                  </a:lnTo>
                  <a:lnTo>
                    <a:pt x="15" y="601"/>
                  </a:lnTo>
                  <a:lnTo>
                    <a:pt x="436" y="601"/>
                  </a:lnTo>
                  <a:lnTo>
                    <a:pt x="436" y="701"/>
                  </a:lnTo>
                  <a:lnTo>
                    <a:pt x="259" y="876"/>
                  </a:lnTo>
                  <a:lnTo>
                    <a:pt x="258" y="878"/>
                  </a:lnTo>
                  <a:lnTo>
                    <a:pt x="256" y="882"/>
                  </a:lnTo>
                  <a:lnTo>
                    <a:pt x="255" y="884"/>
                  </a:lnTo>
                  <a:lnTo>
                    <a:pt x="255" y="887"/>
                  </a:lnTo>
                  <a:lnTo>
                    <a:pt x="255" y="890"/>
                  </a:lnTo>
                  <a:lnTo>
                    <a:pt x="256" y="892"/>
                  </a:lnTo>
                  <a:lnTo>
                    <a:pt x="258" y="896"/>
                  </a:lnTo>
                  <a:lnTo>
                    <a:pt x="259" y="898"/>
                  </a:lnTo>
                  <a:lnTo>
                    <a:pt x="262" y="900"/>
                  </a:lnTo>
                  <a:lnTo>
                    <a:pt x="265" y="901"/>
                  </a:lnTo>
                  <a:lnTo>
                    <a:pt x="268" y="902"/>
                  </a:lnTo>
                  <a:lnTo>
                    <a:pt x="270" y="902"/>
                  </a:lnTo>
                  <a:lnTo>
                    <a:pt x="273" y="902"/>
                  </a:lnTo>
                  <a:lnTo>
                    <a:pt x="276" y="901"/>
                  </a:lnTo>
                  <a:lnTo>
                    <a:pt x="279" y="900"/>
                  </a:lnTo>
                  <a:lnTo>
                    <a:pt x="281" y="898"/>
                  </a:lnTo>
                  <a:lnTo>
                    <a:pt x="451" y="727"/>
                  </a:lnTo>
                  <a:lnTo>
                    <a:pt x="620" y="898"/>
                  </a:lnTo>
                  <a:lnTo>
                    <a:pt x="622" y="900"/>
                  </a:lnTo>
                  <a:lnTo>
                    <a:pt x="626" y="901"/>
                  </a:lnTo>
                  <a:lnTo>
                    <a:pt x="628" y="902"/>
                  </a:lnTo>
                  <a:lnTo>
                    <a:pt x="631" y="902"/>
                  </a:lnTo>
                  <a:lnTo>
                    <a:pt x="634" y="902"/>
                  </a:lnTo>
                  <a:lnTo>
                    <a:pt x="636" y="901"/>
                  </a:lnTo>
                  <a:lnTo>
                    <a:pt x="640" y="900"/>
                  </a:lnTo>
                  <a:lnTo>
                    <a:pt x="642" y="898"/>
                  </a:lnTo>
                  <a:lnTo>
                    <a:pt x="644" y="896"/>
                  </a:lnTo>
                  <a:lnTo>
                    <a:pt x="645" y="892"/>
                  </a:lnTo>
                  <a:lnTo>
                    <a:pt x="646" y="890"/>
                  </a:lnTo>
                  <a:lnTo>
                    <a:pt x="646" y="887"/>
                  </a:lnTo>
                  <a:lnTo>
                    <a:pt x="646" y="884"/>
                  </a:lnTo>
                  <a:lnTo>
                    <a:pt x="645" y="882"/>
                  </a:lnTo>
                  <a:lnTo>
                    <a:pt x="644" y="878"/>
                  </a:lnTo>
                  <a:lnTo>
                    <a:pt x="642" y="876"/>
                  </a:lnTo>
                  <a:lnTo>
                    <a:pt x="466" y="701"/>
                  </a:lnTo>
                  <a:lnTo>
                    <a:pt x="466" y="601"/>
                  </a:lnTo>
                  <a:lnTo>
                    <a:pt x="887" y="601"/>
                  </a:lnTo>
                  <a:lnTo>
                    <a:pt x="890" y="601"/>
                  </a:lnTo>
                  <a:lnTo>
                    <a:pt x="892" y="600"/>
                  </a:lnTo>
                  <a:lnTo>
                    <a:pt x="896" y="599"/>
                  </a:lnTo>
                  <a:lnTo>
                    <a:pt x="898" y="597"/>
                  </a:lnTo>
                  <a:lnTo>
                    <a:pt x="899" y="595"/>
                  </a:lnTo>
                  <a:lnTo>
                    <a:pt x="901" y="592"/>
                  </a:lnTo>
                  <a:lnTo>
                    <a:pt x="901" y="589"/>
                  </a:lnTo>
                  <a:lnTo>
                    <a:pt x="902" y="586"/>
                  </a:lnTo>
                  <a:lnTo>
                    <a:pt x="902" y="15"/>
                  </a:lnTo>
                  <a:lnTo>
                    <a:pt x="901" y="12"/>
                  </a:lnTo>
                  <a:lnTo>
                    <a:pt x="901" y="9"/>
                  </a:lnTo>
                  <a:lnTo>
                    <a:pt x="899" y="6"/>
                  </a:lnTo>
                  <a:lnTo>
                    <a:pt x="898" y="4"/>
                  </a:lnTo>
                  <a:lnTo>
                    <a:pt x="896" y="2"/>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09">
              <a:extLst>
                <a:ext uri="{FF2B5EF4-FFF2-40B4-BE49-F238E27FC236}">
                  <a16:creationId xmlns:a16="http://schemas.microsoft.com/office/drawing/2014/main" id="{DDB9BB34-1BC0-41F0-BFC2-E0D954E1C600}"/>
                </a:ext>
              </a:extLst>
            </p:cNvPr>
            <p:cNvSpPr>
              <a:spLocks noEditPoints="1"/>
            </p:cNvSpPr>
            <p:nvPr/>
          </p:nvSpPr>
          <p:spPr bwMode="auto">
            <a:xfrm>
              <a:off x="8193088" y="4819650"/>
              <a:ext cx="228600" cy="133350"/>
            </a:xfrm>
            <a:custGeom>
              <a:avLst/>
              <a:gdLst>
                <a:gd name="T0" fmla="*/ 691 w 722"/>
                <a:gd name="T1" fmla="*/ 391 h 421"/>
                <a:gd name="T2" fmla="*/ 30 w 722"/>
                <a:gd name="T3" fmla="*/ 241 h 421"/>
                <a:gd name="T4" fmla="*/ 153 w 722"/>
                <a:gd name="T5" fmla="*/ 240 h 421"/>
                <a:gd name="T6" fmla="*/ 159 w 722"/>
                <a:gd name="T7" fmla="*/ 238 h 421"/>
                <a:gd name="T8" fmla="*/ 229 w 722"/>
                <a:gd name="T9" fmla="*/ 165 h 421"/>
                <a:gd name="T10" fmla="*/ 288 w 722"/>
                <a:gd name="T11" fmla="*/ 310 h 421"/>
                <a:gd name="T12" fmla="*/ 294 w 722"/>
                <a:gd name="T13" fmla="*/ 314 h 421"/>
                <a:gd name="T14" fmla="*/ 299 w 722"/>
                <a:gd name="T15" fmla="*/ 316 h 421"/>
                <a:gd name="T16" fmla="*/ 303 w 722"/>
                <a:gd name="T17" fmla="*/ 316 h 421"/>
                <a:gd name="T18" fmla="*/ 309 w 722"/>
                <a:gd name="T19" fmla="*/ 313 h 421"/>
                <a:gd name="T20" fmla="*/ 406 w 722"/>
                <a:gd name="T21" fmla="*/ 216 h 421"/>
                <a:gd name="T22" fmla="*/ 472 w 722"/>
                <a:gd name="T23" fmla="*/ 283 h 421"/>
                <a:gd name="T24" fmla="*/ 479 w 722"/>
                <a:gd name="T25" fmla="*/ 286 h 421"/>
                <a:gd name="T26" fmla="*/ 485 w 722"/>
                <a:gd name="T27" fmla="*/ 285 h 421"/>
                <a:gd name="T28" fmla="*/ 491 w 722"/>
                <a:gd name="T29" fmla="*/ 283 h 421"/>
                <a:gd name="T30" fmla="*/ 628 w 722"/>
                <a:gd name="T31" fmla="*/ 115 h 421"/>
                <a:gd name="T32" fmla="*/ 631 w 722"/>
                <a:gd name="T33" fmla="*/ 109 h 421"/>
                <a:gd name="T34" fmla="*/ 631 w 722"/>
                <a:gd name="T35" fmla="*/ 104 h 421"/>
                <a:gd name="T36" fmla="*/ 630 w 722"/>
                <a:gd name="T37" fmla="*/ 99 h 421"/>
                <a:gd name="T38" fmla="*/ 626 w 722"/>
                <a:gd name="T39" fmla="*/ 93 h 421"/>
                <a:gd name="T40" fmla="*/ 620 w 722"/>
                <a:gd name="T41" fmla="*/ 91 h 421"/>
                <a:gd name="T42" fmla="*/ 615 w 722"/>
                <a:gd name="T43" fmla="*/ 90 h 421"/>
                <a:gd name="T44" fmla="*/ 610 w 722"/>
                <a:gd name="T45" fmla="*/ 92 h 421"/>
                <a:gd name="T46" fmla="*/ 604 w 722"/>
                <a:gd name="T47" fmla="*/ 95 h 421"/>
                <a:gd name="T48" fmla="*/ 417 w 722"/>
                <a:gd name="T49" fmla="*/ 185 h 421"/>
                <a:gd name="T50" fmla="*/ 411 w 722"/>
                <a:gd name="T51" fmla="*/ 181 h 421"/>
                <a:gd name="T52" fmla="*/ 406 w 722"/>
                <a:gd name="T53" fmla="*/ 180 h 421"/>
                <a:gd name="T54" fmla="*/ 400 w 722"/>
                <a:gd name="T55" fmla="*/ 181 h 421"/>
                <a:gd name="T56" fmla="*/ 395 w 722"/>
                <a:gd name="T57" fmla="*/ 185 h 421"/>
                <a:gd name="T58" fmla="*/ 249 w 722"/>
                <a:gd name="T59" fmla="*/ 132 h 421"/>
                <a:gd name="T60" fmla="*/ 243 w 722"/>
                <a:gd name="T61" fmla="*/ 126 h 421"/>
                <a:gd name="T62" fmla="*/ 237 w 722"/>
                <a:gd name="T63" fmla="*/ 123 h 421"/>
                <a:gd name="T64" fmla="*/ 229 w 722"/>
                <a:gd name="T65" fmla="*/ 123 h 421"/>
                <a:gd name="T66" fmla="*/ 223 w 722"/>
                <a:gd name="T67" fmla="*/ 128 h 421"/>
                <a:gd name="T68" fmla="*/ 30 w 722"/>
                <a:gd name="T69" fmla="*/ 211 h 421"/>
                <a:gd name="T70" fmla="*/ 691 w 722"/>
                <a:gd name="T71" fmla="*/ 30 h 421"/>
                <a:gd name="T72" fmla="*/ 707 w 722"/>
                <a:gd name="T73" fmla="*/ 421 h 421"/>
                <a:gd name="T74" fmla="*/ 712 w 722"/>
                <a:gd name="T75" fmla="*/ 420 h 421"/>
                <a:gd name="T76" fmla="*/ 717 w 722"/>
                <a:gd name="T77" fmla="*/ 417 h 421"/>
                <a:gd name="T78" fmla="*/ 720 w 722"/>
                <a:gd name="T79" fmla="*/ 411 h 421"/>
                <a:gd name="T80" fmla="*/ 722 w 722"/>
                <a:gd name="T81" fmla="*/ 406 h 421"/>
                <a:gd name="T82" fmla="*/ 721 w 722"/>
                <a:gd name="T83" fmla="*/ 12 h 421"/>
                <a:gd name="T84" fmla="*/ 719 w 722"/>
                <a:gd name="T85" fmla="*/ 6 h 421"/>
                <a:gd name="T86" fmla="*/ 715 w 722"/>
                <a:gd name="T87" fmla="*/ 2 h 421"/>
                <a:gd name="T88" fmla="*/ 709 w 722"/>
                <a:gd name="T89" fmla="*/ 0 h 421"/>
                <a:gd name="T90" fmla="*/ 15 w 722"/>
                <a:gd name="T91" fmla="*/ 0 h 421"/>
                <a:gd name="T92" fmla="*/ 9 w 722"/>
                <a:gd name="T93" fmla="*/ 1 h 421"/>
                <a:gd name="T94" fmla="*/ 4 w 722"/>
                <a:gd name="T95" fmla="*/ 4 h 421"/>
                <a:gd name="T96" fmla="*/ 1 w 722"/>
                <a:gd name="T97" fmla="*/ 10 h 421"/>
                <a:gd name="T98" fmla="*/ 0 w 722"/>
                <a:gd name="T99" fmla="*/ 15 h 421"/>
                <a:gd name="T100" fmla="*/ 0 w 722"/>
                <a:gd name="T101" fmla="*/ 409 h 421"/>
                <a:gd name="T102" fmla="*/ 2 w 722"/>
                <a:gd name="T103" fmla="*/ 415 h 421"/>
                <a:gd name="T104" fmla="*/ 6 w 722"/>
                <a:gd name="T105" fmla="*/ 419 h 421"/>
                <a:gd name="T106" fmla="*/ 12 w 722"/>
                <a:gd name="T107"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21">
                  <a:moveTo>
                    <a:pt x="691" y="30"/>
                  </a:moveTo>
                  <a:lnTo>
                    <a:pt x="691" y="391"/>
                  </a:lnTo>
                  <a:lnTo>
                    <a:pt x="30" y="391"/>
                  </a:lnTo>
                  <a:lnTo>
                    <a:pt x="30" y="241"/>
                  </a:lnTo>
                  <a:lnTo>
                    <a:pt x="150" y="241"/>
                  </a:lnTo>
                  <a:lnTo>
                    <a:pt x="153" y="240"/>
                  </a:lnTo>
                  <a:lnTo>
                    <a:pt x="156" y="239"/>
                  </a:lnTo>
                  <a:lnTo>
                    <a:pt x="159" y="238"/>
                  </a:lnTo>
                  <a:lnTo>
                    <a:pt x="161" y="236"/>
                  </a:lnTo>
                  <a:lnTo>
                    <a:pt x="229" y="165"/>
                  </a:lnTo>
                  <a:lnTo>
                    <a:pt x="287" y="306"/>
                  </a:lnTo>
                  <a:lnTo>
                    <a:pt x="288" y="310"/>
                  </a:lnTo>
                  <a:lnTo>
                    <a:pt x="291" y="313"/>
                  </a:lnTo>
                  <a:lnTo>
                    <a:pt x="294" y="314"/>
                  </a:lnTo>
                  <a:lnTo>
                    <a:pt x="298" y="316"/>
                  </a:lnTo>
                  <a:lnTo>
                    <a:pt x="299" y="316"/>
                  </a:lnTo>
                  <a:lnTo>
                    <a:pt x="301" y="316"/>
                  </a:lnTo>
                  <a:lnTo>
                    <a:pt x="303" y="316"/>
                  </a:lnTo>
                  <a:lnTo>
                    <a:pt x="306" y="315"/>
                  </a:lnTo>
                  <a:lnTo>
                    <a:pt x="309" y="313"/>
                  </a:lnTo>
                  <a:lnTo>
                    <a:pt x="312" y="312"/>
                  </a:lnTo>
                  <a:lnTo>
                    <a:pt x="406" y="216"/>
                  </a:lnTo>
                  <a:lnTo>
                    <a:pt x="470" y="282"/>
                  </a:lnTo>
                  <a:lnTo>
                    <a:pt x="472" y="283"/>
                  </a:lnTo>
                  <a:lnTo>
                    <a:pt x="476" y="285"/>
                  </a:lnTo>
                  <a:lnTo>
                    <a:pt x="479" y="286"/>
                  </a:lnTo>
                  <a:lnTo>
                    <a:pt x="482" y="286"/>
                  </a:lnTo>
                  <a:lnTo>
                    <a:pt x="485" y="285"/>
                  </a:lnTo>
                  <a:lnTo>
                    <a:pt x="487" y="284"/>
                  </a:lnTo>
                  <a:lnTo>
                    <a:pt x="491" y="283"/>
                  </a:lnTo>
                  <a:lnTo>
                    <a:pt x="493" y="281"/>
                  </a:lnTo>
                  <a:lnTo>
                    <a:pt x="628" y="115"/>
                  </a:lnTo>
                  <a:lnTo>
                    <a:pt x="630" y="113"/>
                  </a:lnTo>
                  <a:lnTo>
                    <a:pt x="631" y="109"/>
                  </a:lnTo>
                  <a:lnTo>
                    <a:pt x="631" y="106"/>
                  </a:lnTo>
                  <a:lnTo>
                    <a:pt x="631" y="104"/>
                  </a:lnTo>
                  <a:lnTo>
                    <a:pt x="631" y="101"/>
                  </a:lnTo>
                  <a:lnTo>
                    <a:pt x="630" y="99"/>
                  </a:lnTo>
                  <a:lnTo>
                    <a:pt x="628" y="95"/>
                  </a:lnTo>
                  <a:lnTo>
                    <a:pt x="626" y="93"/>
                  </a:lnTo>
                  <a:lnTo>
                    <a:pt x="623" y="92"/>
                  </a:lnTo>
                  <a:lnTo>
                    <a:pt x="620" y="91"/>
                  </a:lnTo>
                  <a:lnTo>
                    <a:pt x="618" y="90"/>
                  </a:lnTo>
                  <a:lnTo>
                    <a:pt x="615" y="90"/>
                  </a:lnTo>
                  <a:lnTo>
                    <a:pt x="612" y="91"/>
                  </a:lnTo>
                  <a:lnTo>
                    <a:pt x="610" y="92"/>
                  </a:lnTo>
                  <a:lnTo>
                    <a:pt x="606" y="93"/>
                  </a:lnTo>
                  <a:lnTo>
                    <a:pt x="604" y="95"/>
                  </a:lnTo>
                  <a:lnTo>
                    <a:pt x="480" y="249"/>
                  </a:lnTo>
                  <a:lnTo>
                    <a:pt x="417" y="185"/>
                  </a:lnTo>
                  <a:lnTo>
                    <a:pt x="415" y="183"/>
                  </a:lnTo>
                  <a:lnTo>
                    <a:pt x="411" y="181"/>
                  </a:lnTo>
                  <a:lnTo>
                    <a:pt x="409" y="181"/>
                  </a:lnTo>
                  <a:lnTo>
                    <a:pt x="406" y="180"/>
                  </a:lnTo>
                  <a:lnTo>
                    <a:pt x="403" y="181"/>
                  </a:lnTo>
                  <a:lnTo>
                    <a:pt x="400" y="181"/>
                  </a:lnTo>
                  <a:lnTo>
                    <a:pt x="397" y="183"/>
                  </a:lnTo>
                  <a:lnTo>
                    <a:pt x="395" y="185"/>
                  </a:lnTo>
                  <a:lnTo>
                    <a:pt x="306" y="274"/>
                  </a:lnTo>
                  <a:lnTo>
                    <a:pt x="249" y="132"/>
                  </a:lnTo>
                  <a:lnTo>
                    <a:pt x="246" y="129"/>
                  </a:lnTo>
                  <a:lnTo>
                    <a:pt x="243" y="126"/>
                  </a:lnTo>
                  <a:lnTo>
                    <a:pt x="241" y="124"/>
                  </a:lnTo>
                  <a:lnTo>
                    <a:pt x="237" y="123"/>
                  </a:lnTo>
                  <a:lnTo>
                    <a:pt x="234" y="123"/>
                  </a:lnTo>
                  <a:lnTo>
                    <a:pt x="229" y="123"/>
                  </a:lnTo>
                  <a:lnTo>
                    <a:pt x="226" y="125"/>
                  </a:lnTo>
                  <a:lnTo>
                    <a:pt x="223" y="128"/>
                  </a:lnTo>
                  <a:lnTo>
                    <a:pt x="144" y="211"/>
                  </a:lnTo>
                  <a:lnTo>
                    <a:pt x="30" y="211"/>
                  </a:lnTo>
                  <a:lnTo>
                    <a:pt x="30" y="30"/>
                  </a:lnTo>
                  <a:lnTo>
                    <a:pt x="691" y="30"/>
                  </a:lnTo>
                  <a:close/>
                  <a:moveTo>
                    <a:pt x="15" y="421"/>
                  </a:moveTo>
                  <a:lnTo>
                    <a:pt x="707" y="421"/>
                  </a:lnTo>
                  <a:lnTo>
                    <a:pt x="709" y="421"/>
                  </a:lnTo>
                  <a:lnTo>
                    <a:pt x="712" y="420"/>
                  </a:lnTo>
                  <a:lnTo>
                    <a:pt x="715" y="419"/>
                  </a:lnTo>
                  <a:lnTo>
                    <a:pt x="717" y="417"/>
                  </a:lnTo>
                  <a:lnTo>
                    <a:pt x="719" y="415"/>
                  </a:lnTo>
                  <a:lnTo>
                    <a:pt x="720" y="411"/>
                  </a:lnTo>
                  <a:lnTo>
                    <a:pt x="721" y="409"/>
                  </a:lnTo>
                  <a:lnTo>
                    <a:pt x="722" y="406"/>
                  </a:lnTo>
                  <a:lnTo>
                    <a:pt x="722" y="15"/>
                  </a:lnTo>
                  <a:lnTo>
                    <a:pt x="721" y="12"/>
                  </a:lnTo>
                  <a:lnTo>
                    <a:pt x="720" y="10"/>
                  </a:lnTo>
                  <a:lnTo>
                    <a:pt x="719" y="6"/>
                  </a:lnTo>
                  <a:lnTo>
                    <a:pt x="717" y="4"/>
                  </a:lnTo>
                  <a:lnTo>
                    <a:pt x="715" y="2"/>
                  </a:lnTo>
                  <a:lnTo>
                    <a:pt x="712" y="1"/>
                  </a:lnTo>
                  <a:lnTo>
                    <a:pt x="709" y="0"/>
                  </a:lnTo>
                  <a:lnTo>
                    <a:pt x="707" y="0"/>
                  </a:lnTo>
                  <a:lnTo>
                    <a:pt x="15" y="0"/>
                  </a:lnTo>
                  <a:lnTo>
                    <a:pt x="12" y="0"/>
                  </a:lnTo>
                  <a:lnTo>
                    <a:pt x="9" y="1"/>
                  </a:lnTo>
                  <a:lnTo>
                    <a:pt x="6" y="2"/>
                  </a:lnTo>
                  <a:lnTo>
                    <a:pt x="4" y="4"/>
                  </a:lnTo>
                  <a:lnTo>
                    <a:pt x="2" y="6"/>
                  </a:lnTo>
                  <a:lnTo>
                    <a:pt x="1" y="10"/>
                  </a:lnTo>
                  <a:lnTo>
                    <a:pt x="0" y="12"/>
                  </a:lnTo>
                  <a:lnTo>
                    <a:pt x="0" y="15"/>
                  </a:lnTo>
                  <a:lnTo>
                    <a:pt x="0" y="406"/>
                  </a:lnTo>
                  <a:lnTo>
                    <a:pt x="0" y="409"/>
                  </a:lnTo>
                  <a:lnTo>
                    <a:pt x="1" y="411"/>
                  </a:lnTo>
                  <a:lnTo>
                    <a:pt x="2" y="415"/>
                  </a:lnTo>
                  <a:lnTo>
                    <a:pt x="4" y="417"/>
                  </a:lnTo>
                  <a:lnTo>
                    <a:pt x="6" y="419"/>
                  </a:lnTo>
                  <a:lnTo>
                    <a:pt x="9" y="420"/>
                  </a:lnTo>
                  <a:lnTo>
                    <a:pt x="12" y="421"/>
                  </a:lnTo>
                  <a:lnTo>
                    <a:pt x="15"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7" name="Freeform 149">
            <a:extLst>
              <a:ext uri="{FF2B5EF4-FFF2-40B4-BE49-F238E27FC236}">
                <a16:creationId xmlns:a16="http://schemas.microsoft.com/office/drawing/2014/main" id="{EAE563AC-3643-489A-A855-BA5AF6091077}"/>
              </a:ext>
            </a:extLst>
          </p:cNvPr>
          <p:cNvSpPr>
            <a:spLocks noChangeAspect="1" noEditPoints="1"/>
          </p:cNvSpPr>
          <p:nvPr/>
        </p:nvSpPr>
        <p:spPr bwMode="auto">
          <a:xfrm>
            <a:off x="2726673" y="2186361"/>
            <a:ext cx="304790" cy="252300"/>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2400"/>
          </a:p>
        </p:txBody>
      </p:sp>
      <p:grpSp>
        <p:nvGrpSpPr>
          <p:cNvPr id="448" name="Group 98">
            <a:extLst>
              <a:ext uri="{FF2B5EF4-FFF2-40B4-BE49-F238E27FC236}">
                <a16:creationId xmlns:a16="http://schemas.microsoft.com/office/drawing/2014/main" id="{63622209-14C5-418D-BE89-78A0E98294F5}"/>
              </a:ext>
            </a:extLst>
          </p:cNvPr>
          <p:cNvGrpSpPr>
            <a:grpSpLocks noChangeAspect="1"/>
          </p:cNvGrpSpPr>
          <p:nvPr/>
        </p:nvGrpSpPr>
        <p:grpSpPr>
          <a:xfrm>
            <a:off x="2304892" y="2186362"/>
            <a:ext cx="304790" cy="283861"/>
            <a:chOff x="11035452" y="1366816"/>
            <a:chExt cx="287091" cy="267377"/>
          </a:xfrm>
          <a:solidFill>
            <a:schemeClr val="bg1"/>
          </a:solidFill>
          <a:effectLst/>
        </p:grpSpPr>
        <p:sp>
          <p:nvSpPr>
            <p:cNvPr id="449" name="Freeform 255">
              <a:extLst>
                <a:ext uri="{FF2B5EF4-FFF2-40B4-BE49-F238E27FC236}">
                  <a16:creationId xmlns:a16="http://schemas.microsoft.com/office/drawing/2014/main" id="{CE6430AD-A0D5-492C-A08C-85084D9EBF0A}"/>
                </a:ext>
              </a:extLst>
            </p:cNvPr>
            <p:cNvSpPr>
              <a:spLocks noEditPoints="1"/>
            </p:cNvSpPr>
            <p:nvPr/>
          </p:nvSpPr>
          <p:spPr bwMode="auto">
            <a:xfrm>
              <a:off x="11035452" y="1453067"/>
              <a:ext cx="287091" cy="181126"/>
            </a:xfrm>
            <a:custGeom>
              <a:avLst/>
              <a:gdLst>
                <a:gd name="T0" fmla="*/ 31 w 932"/>
                <a:gd name="T1" fmla="*/ 31 h 591"/>
                <a:gd name="T2" fmla="*/ 901 w 932"/>
                <a:gd name="T3" fmla="*/ 31 h 591"/>
                <a:gd name="T4" fmla="*/ 901 w 932"/>
                <a:gd name="T5" fmla="*/ 520 h 591"/>
                <a:gd name="T6" fmla="*/ 901 w 932"/>
                <a:gd name="T7" fmla="*/ 528 h 591"/>
                <a:gd name="T8" fmla="*/ 897 w 932"/>
                <a:gd name="T9" fmla="*/ 536 h 591"/>
                <a:gd name="T10" fmla="*/ 894 w 932"/>
                <a:gd name="T11" fmla="*/ 542 h 591"/>
                <a:gd name="T12" fmla="*/ 889 w 932"/>
                <a:gd name="T13" fmla="*/ 548 h 591"/>
                <a:gd name="T14" fmla="*/ 883 w 932"/>
                <a:gd name="T15" fmla="*/ 552 h 591"/>
                <a:gd name="T16" fmla="*/ 876 w 932"/>
                <a:gd name="T17" fmla="*/ 557 h 591"/>
                <a:gd name="T18" fmla="*/ 868 w 932"/>
                <a:gd name="T19" fmla="*/ 559 h 591"/>
                <a:gd name="T20" fmla="*/ 859 w 932"/>
                <a:gd name="T21" fmla="*/ 560 h 591"/>
                <a:gd name="T22" fmla="*/ 72 w 932"/>
                <a:gd name="T23" fmla="*/ 560 h 591"/>
                <a:gd name="T24" fmla="*/ 64 w 932"/>
                <a:gd name="T25" fmla="*/ 559 h 591"/>
                <a:gd name="T26" fmla="*/ 56 w 932"/>
                <a:gd name="T27" fmla="*/ 557 h 591"/>
                <a:gd name="T28" fmla="*/ 48 w 932"/>
                <a:gd name="T29" fmla="*/ 552 h 591"/>
                <a:gd name="T30" fmla="*/ 43 w 932"/>
                <a:gd name="T31" fmla="*/ 548 h 591"/>
                <a:gd name="T32" fmla="*/ 37 w 932"/>
                <a:gd name="T33" fmla="*/ 542 h 591"/>
                <a:gd name="T34" fmla="*/ 34 w 932"/>
                <a:gd name="T35" fmla="*/ 536 h 591"/>
                <a:gd name="T36" fmla="*/ 32 w 932"/>
                <a:gd name="T37" fmla="*/ 528 h 591"/>
                <a:gd name="T38" fmla="*/ 31 w 932"/>
                <a:gd name="T39" fmla="*/ 520 h 591"/>
                <a:gd name="T40" fmla="*/ 31 w 932"/>
                <a:gd name="T41" fmla="*/ 31 h 591"/>
                <a:gd name="T42" fmla="*/ 0 w 932"/>
                <a:gd name="T43" fmla="*/ 520 h 591"/>
                <a:gd name="T44" fmla="*/ 0 w 932"/>
                <a:gd name="T45" fmla="*/ 527 h 591"/>
                <a:gd name="T46" fmla="*/ 1 w 932"/>
                <a:gd name="T47" fmla="*/ 534 h 591"/>
                <a:gd name="T48" fmla="*/ 3 w 932"/>
                <a:gd name="T49" fmla="*/ 540 h 591"/>
                <a:gd name="T50" fmla="*/ 5 w 932"/>
                <a:gd name="T51" fmla="*/ 547 h 591"/>
                <a:gd name="T52" fmla="*/ 8 w 932"/>
                <a:gd name="T53" fmla="*/ 554 h 591"/>
                <a:gd name="T54" fmla="*/ 12 w 932"/>
                <a:gd name="T55" fmla="*/ 559 h 591"/>
                <a:gd name="T56" fmla="*/ 16 w 932"/>
                <a:gd name="T57" fmla="*/ 565 h 591"/>
                <a:gd name="T58" fmla="*/ 21 w 932"/>
                <a:gd name="T59" fmla="*/ 569 h 591"/>
                <a:gd name="T60" fmla="*/ 26 w 932"/>
                <a:gd name="T61" fmla="*/ 575 h 591"/>
                <a:gd name="T62" fmla="*/ 32 w 932"/>
                <a:gd name="T63" fmla="*/ 578 h 591"/>
                <a:gd name="T64" fmla="*/ 37 w 932"/>
                <a:gd name="T65" fmla="*/ 582 h 591"/>
                <a:gd name="T66" fmla="*/ 44 w 932"/>
                <a:gd name="T67" fmla="*/ 585 h 591"/>
                <a:gd name="T68" fmla="*/ 49 w 932"/>
                <a:gd name="T69" fmla="*/ 588 h 591"/>
                <a:gd name="T70" fmla="*/ 57 w 932"/>
                <a:gd name="T71" fmla="*/ 589 h 591"/>
                <a:gd name="T72" fmla="*/ 64 w 932"/>
                <a:gd name="T73" fmla="*/ 590 h 591"/>
                <a:gd name="T74" fmla="*/ 72 w 932"/>
                <a:gd name="T75" fmla="*/ 591 h 591"/>
                <a:gd name="T76" fmla="*/ 861 w 932"/>
                <a:gd name="T77" fmla="*/ 591 h 591"/>
                <a:gd name="T78" fmla="*/ 861 w 932"/>
                <a:gd name="T79" fmla="*/ 591 h 591"/>
                <a:gd name="T80" fmla="*/ 868 w 932"/>
                <a:gd name="T81" fmla="*/ 590 h 591"/>
                <a:gd name="T82" fmla="*/ 875 w 932"/>
                <a:gd name="T83" fmla="*/ 589 h 591"/>
                <a:gd name="T84" fmla="*/ 882 w 932"/>
                <a:gd name="T85" fmla="*/ 588 h 591"/>
                <a:gd name="T86" fmla="*/ 888 w 932"/>
                <a:gd name="T87" fmla="*/ 585 h 591"/>
                <a:gd name="T88" fmla="*/ 895 w 932"/>
                <a:gd name="T89" fmla="*/ 582 h 591"/>
                <a:gd name="T90" fmla="*/ 901 w 932"/>
                <a:gd name="T91" fmla="*/ 578 h 591"/>
                <a:gd name="T92" fmla="*/ 906 w 932"/>
                <a:gd name="T93" fmla="*/ 575 h 591"/>
                <a:gd name="T94" fmla="*/ 911 w 932"/>
                <a:gd name="T95" fmla="*/ 569 h 591"/>
                <a:gd name="T96" fmla="*/ 916 w 932"/>
                <a:gd name="T97" fmla="*/ 565 h 591"/>
                <a:gd name="T98" fmla="*/ 919 w 932"/>
                <a:gd name="T99" fmla="*/ 559 h 591"/>
                <a:gd name="T100" fmla="*/ 924 w 932"/>
                <a:gd name="T101" fmla="*/ 554 h 591"/>
                <a:gd name="T102" fmla="*/ 926 w 932"/>
                <a:gd name="T103" fmla="*/ 547 h 591"/>
                <a:gd name="T104" fmla="*/ 928 w 932"/>
                <a:gd name="T105" fmla="*/ 540 h 591"/>
                <a:gd name="T106" fmla="*/ 931 w 932"/>
                <a:gd name="T107" fmla="*/ 534 h 591"/>
                <a:gd name="T108" fmla="*/ 932 w 932"/>
                <a:gd name="T109" fmla="*/ 527 h 591"/>
                <a:gd name="T110" fmla="*/ 932 w 932"/>
                <a:gd name="T111" fmla="*/ 520 h 591"/>
                <a:gd name="T112" fmla="*/ 932 w 932"/>
                <a:gd name="T113" fmla="*/ 0 h 591"/>
                <a:gd name="T114" fmla="*/ 0 w 932"/>
                <a:gd name="T115" fmla="*/ 0 h 591"/>
                <a:gd name="T116" fmla="*/ 0 w 932"/>
                <a:gd name="T117" fmla="*/ 52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32" h="591">
                  <a:moveTo>
                    <a:pt x="31" y="31"/>
                  </a:moveTo>
                  <a:lnTo>
                    <a:pt x="901" y="31"/>
                  </a:lnTo>
                  <a:lnTo>
                    <a:pt x="901" y="520"/>
                  </a:lnTo>
                  <a:lnTo>
                    <a:pt x="901" y="528"/>
                  </a:lnTo>
                  <a:lnTo>
                    <a:pt x="897" y="536"/>
                  </a:lnTo>
                  <a:lnTo>
                    <a:pt x="894" y="542"/>
                  </a:lnTo>
                  <a:lnTo>
                    <a:pt x="889" y="548"/>
                  </a:lnTo>
                  <a:lnTo>
                    <a:pt x="883" y="552"/>
                  </a:lnTo>
                  <a:lnTo>
                    <a:pt x="876" y="557"/>
                  </a:lnTo>
                  <a:lnTo>
                    <a:pt x="868" y="559"/>
                  </a:lnTo>
                  <a:lnTo>
                    <a:pt x="859" y="560"/>
                  </a:lnTo>
                  <a:lnTo>
                    <a:pt x="72" y="560"/>
                  </a:lnTo>
                  <a:lnTo>
                    <a:pt x="64" y="559"/>
                  </a:lnTo>
                  <a:lnTo>
                    <a:pt x="56" y="557"/>
                  </a:lnTo>
                  <a:lnTo>
                    <a:pt x="48" y="552"/>
                  </a:lnTo>
                  <a:lnTo>
                    <a:pt x="43" y="548"/>
                  </a:lnTo>
                  <a:lnTo>
                    <a:pt x="37" y="542"/>
                  </a:lnTo>
                  <a:lnTo>
                    <a:pt x="34" y="536"/>
                  </a:lnTo>
                  <a:lnTo>
                    <a:pt x="32" y="528"/>
                  </a:lnTo>
                  <a:lnTo>
                    <a:pt x="31" y="520"/>
                  </a:lnTo>
                  <a:lnTo>
                    <a:pt x="31" y="31"/>
                  </a:lnTo>
                  <a:close/>
                  <a:moveTo>
                    <a:pt x="0" y="520"/>
                  </a:moveTo>
                  <a:lnTo>
                    <a:pt x="0" y="527"/>
                  </a:lnTo>
                  <a:lnTo>
                    <a:pt x="1" y="534"/>
                  </a:lnTo>
                  <a:lnTo>
                    <a:pt x="3" y="540"/>
                  </a:lnTo>
                  <a:lnTo>
                    <a:pt x="5" y="547"/>
                  </a:lnTo>
                  <a:lnTo>
                    <a:pt x="8" y="554"/>
                  </a:lnTo>
                  <a:lnTo>
                    <a:pt x="12" y="559"/>
                  </a:lnTo>
                  <a:lnTo>
                    <a:pt x="16" y="565"/>
                  </a:lnTo>
                  <a:lnTo>
                    <a:pt x="21" y="569"/>
                  </a:lnTo>
                  <a:lnTo>
                    <a:pt x="26" y="575"/>
                  </a:lnTo>
                  <a:lnTo>
                    <a:pt x="32" y="578"/>
                  </a:lnTo>
                  <a:lnTo>
                    <a:pt x="37" y="582"/>
                  </a:lnTo>
                  <a:lnTo>
                    <a:pt x="44" y="585"/>
                  </a:lnTo>
                  <a:lnTo>
                    <a:pt x="49" y="588"/>
                  </a:lnTo>
                  <a:lnTo>
                    <a:pt x="57" y="589"/>
                  </a:lnTo>
                  <a:lnTo>
                    <a:pt x="64" y="590"/>
                  </a:lnTo>
                  <a:lnTo>
                    <a:pt x="72" y="591"/>
                  </a:lnTo>
                  <a:lnTo>
                    <a:pt x="861" y="591"/>
                  </a:lnTo>
                  <a:lnTo>
                    <a:pt x="861" y="591"/>
                  </a:lnTo>
                  <a:lnTo>
                    <a:pt x="868" y="590"/>
                  </a:lnTo>
                  <a:lnTo>
                    <a:pt x="875" y="589"/>
                  </a:lnTo>
                  <a:lnTo>
                    <a:pt x="882" y="588"/>
                  </a:lnTo>
                  <a:lnTo>
                    <a:pt x="888" y="585"/>
                  </a:lnTo>
                  <a:lnTo>
                    <a:pt x="895" y="582"/>
                  </a:lnTo>
                  <a:lnTo>
                    <a:pt x="901" y="578"/>
                  </a:lnTo>
                  <a:lnTo>
                    <a:pt x="906" y="575"/>
                  </a:lnTo>
                  <a:lnTo>
                    <a:pt x="911" y="569"/>
                  </a:lnTo>
                  <a:lnTo>
                    <a:pt x="916" y="565"/>
                  </a:lnTo>
                  <a:lnTo>
                    <a:pt x="919" y="559"/>
                  </a:lnTo>
                  <a:lnTo>
                    <a:pt x="924" y="554"/>
                  </a:lnTo>
                  <a:lnTo>
                    <a:pt x="926" y="547"/>
                  </a:lnTo>
                  <a:lnTo>
                    <a:pt x="928" y="540"/>
                  </a:lnTo>
                  <a:lnTo>
                    <a:pt x="931" y="534"/>
                  </a:lnTo>
                  <a:lnTo>
                    <a:pt x="932" y="527"/>
                  </a:lnTo>
                  <a:lnTo>
                    <a:pt x="932" y="520"/>
                  </a:lnTo>
                  <a:lnTo>
                    <a:pt x="932" y="0"/>
                  </a:lnTo>
                  <a:lnTo>
                    <a:pt x="0" y="0"/>
                  </a:lnTo>
                  <a:lnTo>
                    <a:pt x="0" y="5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56">
              <a:extLst>
                <a:ext uri="{FF2B5EF4-FFF2-40B4-BE49-F238E27FC236}">
                  <a16:creationId xmlns:a16="http://schemas.microsoft.com/office/drawing/2014/main" id="{5E24F838-DEA2-4EF5-AB3A-206A0AD4C21E}"/>
                </a:ext>
              </a:extLst>
            </p:cNvPr>
            <p:cNvSpPr>
              <a:spLocks noEditPoints="1"/>
            </p:cNvSpPr>
            <p:nvPr/>
          </p:nvSpPr>
          <p:spPr bwMode="auto">
            <a:xfrm>
              <a:off x="11130328" y="1492495"/>
              <a:ext cx="107197" cy="105965"/>
            </a:xfrm>
            <a:custGeom>
              <a:avLst/>
              <a:gdLst>
                <a:gd name="T0" fmla="*/ 31 w 346"/>
                <a:gd name="T1" fmla="*/ 41 h 344"/>
                <a:gd name="T2" fmla="*/ 296 w 346"/>
                <a:gd name="T3" fmla="*/ 172 h 344"/>
                <a:gd name="T4" fmla="*/ 31 w 346"/>
                <a:gd name="T5" fmla="*/ 304 h 344"/>
                <a:gd name="T6" fmla="*/ 31 w 346"/>
                <a:gd name="T7" fmla="*/ 41 h 344"/>
                <a:gd name="T8" fmla="*/ 6 w 346"/>
                <a:gd name="T9" fmla="*/ 342 h 344"/>
                <a:gd name="T10" fmla="*/ 11 w 346"/>
                <a:gd name="T11" fmla="*/ 344 h 344"/>
                <a:gd name="T12" fmla="*/ 15 w 346"/>
                <a:gd name="T13" fmla="*/ 344 h 344"/>
                <a:gd name="T14" fmla="*/ 18 w 346"/>
                <a:gd name="T15" fmla="*/ 344 h 344"/>
                <a:gd name="T16" fmla="*/ 22 w 346"/>
                <a:gd name="T17" fmla="*/ 343 h 344"/>
                <a:gd name="T18" fmla="*/ 338 w 346"/>
                <a:gd name="T19" fmla="*/ 187 h 344"/>
                <a:gd name="T20" fmla="*/ 342 w 346"/>
                <a:gd name="T21" fmla="*/ 184 h 344"/>
                <a:gd name="T22" fmla="*/ 344 w 346"/>
                <a:gd name="T23" fmla="*/ 181 h 344"/>
                <a:gd name="T24" fmla="*/ 346 w 346"/>
                <a:gd name="T25" fmla="*/ 177 h 344"/>
                <a:gd name="T26" fmla="*/ 346 w 346"/>
                <a:gd name="T27" fmla="*/ 172 h 344"/>
                <a:gd name="T28" fmla="*/ 346 w 346"/>
                <a:gd name="T29" fmla="*/ 168 h 344"/>
                <a:gd name="T30" fmla="*/ 344 w 346"/>
                <a:gd name="T31" fmla="*/ 164 h 344"/>
                <a:gd name="T32" fmla="*/ 342 w 346"/>
                <a:gd name="T33" fmla="*/ 161 h 344"/>
                <a:gd name="T34" fmla="*/ 338 w 346"/>
                <a:gd name="T35" fmla="*/ 159 h 344"/>
                <a:gd name="T36" fmla="*/ 22 w 346"/>
                <a:gd name="T37" fmla="*/ 2 h 344"/>
                <a:gd name="T38" fmla="*/ 18 w 346"/>
                <a:gd name="T39" fmla="*/ 1 h 344"/>
                <a:gd name="T40" fmla="*/ 14 w 346"/>
                <a:gd name="T41" fmla="*/ 0 h 344"/>
                <a:gd name="T42" fmla="*/ 11 w 346"/>
                <a:gd name="T43" fmla="*/ 1 h 344"/>
                <a:gd name="T44" fmla="*/ 6 w 346"/>
                <a:gd name="T45" fmla="*/ 2 h 344"/>
                <a:gd name="T46" fmla="*/ 4 w 346"/>
                <a:gd name="T47" fmla="*/ 6 h 344"/>
                <a:gd name="T48" fmla="*/ 2 w 346"/>
                <a:gd name="T49" fmla="*/ 8 h 344"/>
                <a:gd name="T50" fmla="*/ 0 w 346"/>
                <a:gd name="T51" fmla="*/ 12 h 344"/>
                <a:gd name="T52" fmla="*/ 0 w 346"/>
                <a:gd name="T53" fmla="*/ 16 h 344"/>
                <a:gd name="T54" fmla="*/ 0 w 346"/>
                <a:gd name="T55" fmla="*/ 329 h 344"/>
                <a:gd name="T56" fmla="*/ 0 w 346"/>
                <a:gd name="T57" fmla="*/ 333 h 344"/>
                <a:gd name="T58" fmla="*/ 2 w 346"/>
                <a:gd name="T59" fmla="*/ 337 h 344"/>
                <a:gd name="T60" fmla="*/ 4 w 346"/>
                <a:gd name="T61" fmla="*/ 340 h 344"/>
                <a:gd name="T62" fmla="*/ 6 w 346"/>
                <a:gd name="T63" fmla="*/ 34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6" h="344">
                  <a:moveTo>
                    <a:pt x="31" y="41"/>
                  </a:moveTo>
                  <a:lnTo>
                    <a:pt x="296" y="172"/>
                  </a:lnTo>
                  <a:lnTo>
                    <a:pt x="31" y="304"/>
                  </a:lnTo>
                  <a:lnTo>
                    <a:pt x="31" y="41"/>
                  </a:lnTo>
                  <a:close/>
                  <a:moveTo>
                    <a:pt x="6" y="342"/>
                  </a:moveTo>
                  <a:lnTo>
                    <a:pt x="11" y="344"/>
                  </a:lnTo>
                  <a:lnTo>
                    <a:pt x="15" y="344"/>
                  </a:lnTo>
                  <a:lnTo>
                    <a:pt x="18" y="344"/>
                  </a:lnTo>
                  <a:lnTo>
                    <a:pt x="22" y="343"/>
                  </a:lnTo>
                  <a:lnTo>
                    <a:pt x="338" y="187"/>
                  </a:lnTo>
                  <a:lnTo>
                    <a:pt x="342" y="184"/>
                  </a:lnTo>
                  <a:lnTo>
                    <a:pt x="344" y="181"/>
                  </a:lnTo>
                  <a:lnTo>
                    <a:pt x="346" y="177"/>
                  </a:lnTo>
                  <a:lnTo>
                    <a:pt x="346" y="172"/>
                  </a:lnTo>
                  <a:lnTo>
                    <a:pt x="346" y="168"/>
                  </a:lnTo>
                  <a:lnTo>
                    <a:pt x="344" y="164"/>
                  </a:lnTo>
                  <a:lnTo>
                    <a:pt x="342" y="161"/>
                  </a:lnTo>
                  <a:lnTo>
                    <a:pt x="338" y="159"/>
                  </a:lnTo>
                  <a:lnTo>
                    <a:pt x="22" y="2"/>
                  </a:lnTo>
                  <a:lnTo>
                    <a:pt x="18" y="1"/>
                  </a:lnTo>
                  <a:lnTo>
                    <a:pt x="14" y="0"/>
                  </a:lnTo>
                  <a:lnTo>
                    <a:pt x="11" y="1"/>
                  </a:lnTo>
                  <a:lnTo>
                    <a:pt x="6" y="2"/>
                  </a:lnTo>
                  <a:lnTo>
                    <a:pt x="4" y="6"/>
                  </a:lnTo>
                  <a:lnTo>
                    <a:pt x="2" y="8"/>
                  </a:lnTo>
                  <a:lnTo>
                    <a:pt x="0" y="12"/>
                  </a:lnTo>
                  <a:lnTo>
                    <a:pt x="0" y="16"/>
                  </a:lnTo>
                  <a:lnTo>
                    <a:pt x="0" y="329"/>
                  </a:lnTo>
                  <a:lnTo>
                    <a:pt x="0" y="333"/>
                  </a:lnTo>
                  <a:lnTo>
                    <a:pt x="2" y="337"/>
                  </a:lnTo>
                  <a:lnTo>
                    <a:pt x="4" y="340"/>
                  </a:lnTo>
                  <a:lnTo>
                    <a:pt x="6"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57">
              <a:extLst>
                <a:ext uri="{FF2B5EF4-FFF2-40B4-BE49-F238E27FC236}">
                  <a16:creationId xmlns:a16="http://schemas.microsoft.com/office/drawing/2014/main" id="{5F3996BC-8E85-4AF7-9BF9-A8DC4887BAA2}"/>
                </a:ext>
              </a:extLst>
            </p:cNvPr>
            <p:cNvSpPr>
              <a:spLocks noEditPoints="1"/>
            </p:cNvSpPr>
            <p:nvPr/>
          </p:nvSpPr>
          <p:spPr bwMode="auto">
            <a:xfrm>
              <a:off x="11035452" y="1366816"/>
              <a:ext cx="287091" cy="76393"/>
            </a:xfrm>
            <a:custGeom>
              <a:avLst/>
              <a:gdLst>
                <a:gd name="T0" fmla="*/ 901 w 932"/>
                <a:gd name="T1" fmla="*/ 103 h 248"/>
                <a:gd name="T2" fmla="*/ 796 w 932"/>
                <a:gd name="T3" fmla="*/ 217 h 248"/>
                <a:gd name="T4" fmla="*/ 177 w 932"/>
                <a:gd name="T5" fmla="*/ 31 h 248"/>
                <a:gd name="T6" fmla="*/ 117 w 932"/>
                <a:gd name="T7" fmla="*/ 217 h 248"/>
                <a:gd name="T8" fmla="*/ 31 w 932"/>
                <a:gd name="T9" fmla="*/ 193 h 248"/>
                <a:gd name="T10" fmla="*/ 135 w 932"/>
                <a:gd name="T11" fmla="*/ 31 h 248"/>
                <a:gd name="T12" fmla="*/ 31 w 932"/>
                <a:gd name="T13" fmla="*/ 70 h 248"/>
                <a:gd name="T14" fmla="*/ 33 w 932"/>
                <a:gd name="T15" fmla="*/ 57 h 248"/>
                <a:gd name="T16" fmla="*/ 38 w 932"/>
                <a:gd name="T17" fmla="*/ 45 h 248"/>
                <a:gd name="T18" fmla="*/ 46 w 932"/>
                <a:gd name="T19" fmla="*/ 35 h 248"/>
                <a:gd name="T20" fmla="*/ 54 w 932"/>
                <a:gd name="T21" fmla="*/ 31 h 248"/>
                <a:gd name="T22" fmla="*/ 772 w 932"/>
                <a:gd name="T23" fmla="*/ 31 h 248"/>
                <a:gd name="T24" fmla="*/ 486 w 932"/>
                <a:gd name="T25" fmla="*/ 217 h 248"/>
                <a:gd name="T26" fmla="*/ 273 w 932"/>
                <a:gd name="T27" fmla="*/ 217 h 248"/>
                <a:gd name="T28" fmla="*/ 333 w 932"/>
                <a:gd name="T29" fmla="*/ 31 h 248"/>
                <a:gd name="T30" fmla="*/ 273 w 932"/>
                <a:gd name="T31" fmla="*/ 217 h 248"/>
                <a:gd name="T32" fmla="*/ 617 w 932"/>
                <a:gd name="T33" fmla="*/ 31 h 248"/>
                <a:gd name="T34" fmla="*/ 315 w 932"/>
                <a:gd name="T35" fmla="*/ 217 h 248"/>
                <a:gd name="T36" fmla="*/ 899 w 932"/>
                <a:gd name="T37" fmla="*/ 58 h 248"/>
                <a:gd name="T38" fmla="*/ 642 w 932"/>
                <a:gd name="T39" fmla="*/ 217 h 248"/>
                <a:gd name="T40" fmla="*/ 877 w 932"/>
                <a:gd name="T41" fmla="*/ 31 h 248"/>
                <a:gd name="T42" fmla="*/ 884 w 932"/>
                <a:gd name="T43" fmla="*/ 34 h 248"/>
                <a:gd name="T44" fmla="*/ 891 w 932"/>
                <a:gd name="T45" fmla="*/ 39 h 248"/>
                <a:gd name="T46" fmla="*/ 899 w 932"/>
                <a:gd name="T47" fmla="*/ 58 h 248"/>
                <a:gd name="T48" fmla="*/ 54 w 932"/>
                <a:gd name="T49" fmla="*/ 0 h 248"/>
                <a:gd name="T50" fmla="*/ 42 w 932"/>
                <a:gd name="T51" fmla="*/ 1 h 248"/>
                <a:gd name="T52" fmla="*/ 32 w 932"/>
                <a:gd name="T53" fmla="*/ 7 h 248"/>
                <a:gd name="T54" fmla="*/ 22 w 932"/>
                <a:gd name="T55" fmla="*/ 15 h 248"/>
                <a:gd name="T56" fmla="*/ 14 w 932"/>
                <a:gd name="T57" fmla="*/ 24 h 248"/>
                <a:gd name="T58" fmla="*/ 3 w 932"/>
                <a:gd name="T59" fmla="*/ 47 h 248"/>
                <a:gd name="T60" fmla="*/ 0 w 932"/>
                <a:gd name="T61" fmla="*/ 70 h 248"/>
                <a:gd name="T62" fmla="*/ 932 w 932"/>
                <a:gd name="T63" fmla="*/ 248 h 248"/>
                <a:gd name="T64" fmla="*/ 932 w 932"/>
                <a:gd name="T65" fmla="*/ 58 h 248"/>
                <a:gd name="T66" fmla="*/ 924 w 932"/>
                <a:gd name="T67" fmla="*/ 35 h 248"/>
                <a:gd name="T68" fmla="*/ 914 w 932"/>
                <a:gd name="T69" fmla="*/ 19 h 248"/>
                <a:gd name="T70" fmla="*/ 905 w 932"/>
                <a:gd name="T71" fmla="*/ 10 h 248"/>
                <a:gd name="T72" fmla="*/ 895 w 932"/>
                <a:gd name="T73" fmla="*/ 4 h 248"/>
                <a:gd name="T74" fmla="*/ 884 w 932"/>
                <a:gd name="T7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2" h="248">
                  <a:moveTo>
                    <a:pt x="796" y="217"/>
                  </a:moveTo>
                  <a:lnTo>
                    <a:pt x="901" y="103"/>
                  </a:lnTo>
                  <a:lnTo>
                    <a:pt x="901" y="217"/>
                  </a:lnTo>
                  <a:lnTo>
                    <a:pt x="796" y="217"/>
                  </a:lnTo>
                  <a:close/>
                  <a:moveTo>
                    <a:pt x="31" y="193"/>
                  </a:moveTo>
                  <a:lnTo>
                    <a:pt x="177" y="31"/>
                  </a:lnTo>
                  <a:lnTo>
                    <a:pt x="291" y="31"/>
                  </a:lnTo>
                  <a:lnTo>
                    <a:pt x="117" y="217"/>
                  </a:lnTo>
                  <a:lnTo>
                    <a:pt x="31" y="217"/>
                  </a:lnTo>
                  <a:lnTo>
                    <a:pt x="31" y="193"/>
                  </a:lnTo>
                  <a:close/>
                  <a:moveTo>
                    <a:pt x="54" y="31"/>
                  </a:moveTo>
                  <a:lnTo>
                    <a:pt x="135" y="31"/>
                  </a:lnTo>
                  <a:lnTo>
                    <a:pt x="31" y="146"/>
                  </a:lnTo>
                  <a:lnTo>
                    <a:pt x="31" y="70"/>
                  </a:lnTo>
                  <a:lnTo>
                    <a:pt x="31" y="64"/>
                  </a:lnTo>
                  <a:lnTo>
                    <a:pt x="33" y="57"/>
                  </a:lnTo>
                  <a:lnTo>
                    <a:pt x="35" y="50"/>
                  </a:lnTo>
                  <a:lnTo>
                    <a:pt x="38" y="45"/>
                  </a:lnTo>
                  <a:lnTo>
                    <a:pt x="42" y="39"/>
                  </a:lnTo>
                  <a:lnTo>
                    <a:pt x="46" y="35"/>
                  </a:lnTo>
                  <a:lnTo>
                    <a:pt x="49" y="31"/>
                  </a:lnTo>
                  <a:lnTo>
                    <a:pt x="54" y="31"/>
                  </a:lnTo>
                  <a:close/>
                  <a:moveTo>
                    <a:pt x="659" y="31"/>
                  </a:moveTo>
                  <a:lnTo>
                    <a:pt x="772" y="31"/>
                  </a:lnTo>
                  <a:lnTo>
                    <a:pt x="598" y="217"/>
                  </a:lnTo>
                  <a:lnTo>
                    <a:pt x="486" y="217"/>
                  </a:lnTo>
                  <a:lnTo>
                    <a:pt x="659" y="31"/>
                  </a:lnTo>
                  <a:close/>
                  <a:moveTo>
                    <a:pt x="273" y="217"/>
                  </a:moveTo>
                  <a:lnTo>
                    <a:pt x="159" y="217"/>
                  </a:lnTo>
                  <a:lnTo>
                    <a:pt x="333" y="31"/>
                  </a:lnTo>
                  <a:lnTo>
                    <a:pt x="446" y="31"/>
                  </a:lnTo>
                  <a:lnTo>
                    <a:pt x="273" y="217"/>
                  </a:lnTo>
                  <a:close/>
                  <a:moveTo>
                    <a:pt x="488" y="31"/>
                  </a:moveTo>
                  <a:lnTo>
                    <a:pt x="617" y="31"/>
                  </a:lnTo>
                  <a:lnTo>
                    <a:pt x="444" y="217"/>
                  </a:lnTo>
                  <a:lnTo>
                    <a:pt x="315" y="217"/>
                  </a:lnTo>
                  <a:lnTo>
                    <a:pt x="488" y="31"/>
                  </a:lnTo>
                  <a:close/>
                  <a:moveTo>
                    <a:pt x="899" y="58"/>
                  </a:moveTo>
                  <a:lnTo>
                    <a:pt x="754" y="217"/>
                  </a:lnTo>
                  <a:lnTo>
                    <a:pt x="642" y="217"/>
                  </a:lnTo>
                  <a:lnTo>
                    <a:pt x="815" y="31"/>
                  </a:lnTo>
                  <a:lnTo>
                    <a:pt x="877" y="31"/>
                  </a:lnTo>
                  <a:lnTo>
                    <a:pt x="881" y="31"/>
                  </a:lnTo>
                  <a:lnTo>
                    <a:pt x="884" y="34"/>
                  </a:lnTo>
                  <a:lnTo>
                    <a:pt x="887" y="36"/>
                  </a:lnTo>
                  <a:lnTo>
                    <a:pt x="891" y="39"/>
                  </a:lnTo>
                  <a:lnTo>
                    <a:pt x="895" y="48"/>
                  </a:lnTo>
                  <a:lnTo>
                    <a:pt x="899" y="58"/>
                  </a:lnTo>
                  <a:close/>
                  <a:moveTo>
                    <a:pt x="877" y="0"/>
                  </a:moveTo>
                  <a:lnTo>
                    <a:pt x="54" y="0"/>
                  </a:lnTo>
                  <a:lnTo>
                    <a:pt x="48" y="0"/>
                  </a:lnTo>
                  <a:lnTo>
                    <a:pt x="42" y="1"/>
                  </a:lnTo>
                  <a:lnTo>
                    <a:pt x="36" y="4"/>
                  </a:lnTo>
                  <a:lnTo>
                    <a:pt x="32" y="7"/>
                  </a:lnTo>
                  <a:lnTo>
                    <a:pt x="26" y="10"/>
                  </a:lnTo>
                  <a:lnTo>
                    <a:pt x="22" y="15"/>
                  </a:lnTo>
                  <a:lnTo>
                    <a:pt x="18" y="19"/>
                  </a:lnTo>
                  <a:lnTo>
                    <a:pt x="14" y="24"/>
                  </a:lnTo>
                  <a:lnTo>
                    <a:pt x="8" y="35"/>
                  </a:lnTo>
                  <a:lnTo>
                    <a:pt x="3" y="47"/>
                  </a:lnTo>
                  <a:lnTo>
                    <a:pt x="1" y="58"/>
                  </a:lnTo>
                  <a:lnTo>
                    <a:pt x="0" y="70"/>
                  </a:lnTo>
                  <a:lnTo>
                    <a:pt x="0" y="248"/>
                  </a:lnTo>
                  <a:lnTo>
                    <a:pt x="932" y="248"/>
                  </a:lnTo>
                  <a:lnTo>
                    <a:pt x="932" y="70"/>
                  </a:lnTo>
                  <a:lnTo>
                    <a:pt x="932" y="58"/>
                  </a:lnTo>
                  <a:lnTo>
                    <a:pt x="928" y="47"/>
                  </a:lnTo>
                  <a:lnTo>
                    <a:pt x="924" y="35"/>
                  </a:lnTo>
                  <a:lnTo>
                    <a:pt x="917" y="24"/>
                  </a:lnTo>
                  <a:lnTo>
                    <a:pt x="914" y="19"/>
                  </a:lnTo>
                  <a:lnTo>
                    <a:pt x="909" y="15"/>
                  </a:lnTo>
                  <a:lnTo>
                    <a:pt x="905" y="10"/>
                  </a:lnTo>
                  <a:lnTo>
                    <a:pt x="901" y="7"/>
                  </a:lnTo>
                  <a:lnTo>
                    <a:pt x="895" y="4"/>
                  </a:lnTo>
                  <a:lnTo>
                    <a:pt x="889" y="1"/>
                  </a:lnTo>
                  <a:lnTo>
                    <a:pt x="884" y="0"/>
                  </a:lnTo>
                  <a:lnTo>
                    <a:pt x="8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2" name="Group 64">
            <a:extLst>
              <a:ext uri="{FF2B5EF4-FFF2-40B4-BE49-F238E27FC236}">
                <a16:creationId xmlns:a16="http://schemas.microsoft.com/office/drawing/2014/main" id="{BB842BDC-7E81-4614-8C16-B5C3EEAAA1B2}"/>
              </a:ext>
            </a:extLst>
          </p:cNvPr>
          <p:cNvGrpSpPr>
            <a:grpSpLocks noChangeAspect="1"/>
          </p:cNvGrpSpPr>
          <p:nvPr/>
        </p:nvGrpSpPr>
        <p:grpSpPr>
          <a:xfrm>
            <a:off x="1066904" y="2186362"/>
            <a:ext cx="304790" cy="262931"/>
            <a:chOff x="7587897" y="3110308"/>
            <a:chExt cx="287090" cy="247662"/>
          </a:xfrm>
          <a:solidFill>
            <a:schemeClr val="bg1"/>
          </a:solidFill>
          <a:effectLst/>
        </p:grpSpPr>
        <p:sp>
          <p:nvSpPr>
            <p:cNvPr id="453" name="Freeform 352">
              <a:extLst>
                <a:ext uri="{FF2B5EF4-FFF2-40B4-BE49-F238E27FC236}">
                  <a16:creationId xmlns:a16="http://schemas.microsoft.com/office/drawing/2014/main" id="{8D34C999-10B2-4BF0-AC9B-EEBB349888AC}"/>
                </a:ext>
              </a:extLst>
            </p:cNvPr>
            <p:cNvSpPr>
              <a:spLocks/>
            </p:cNvSpPr>
            <p:nvPr/>
          </p:nvSpPr>
          <p:spPr bwMode="auto">
            <a:xfrm>
              <a:off x="7823237" y="3133719"/>
              <a:ext cx="51750" cy="202073"/>
            </a:xfrm>
            <a:custGeom>
              <a:avLst/>
              <a:gdLst>
                <a:gd name="T0" fmla="*/ 23 w 169"/>
                <a:gd name="T1" fmla="*/ 2 h 658"/>
                <a:gd name="T2" fmla="*/ 18 w 169"/>
                <a:gd name="T3" fmla="*/ 0 h 658"/>
                <a:gd name="T4" fmla="*/ 11 w 169"/>
                <a:gd name="T5" fmla="*/ 0 h 658"/>
                <a:gd name="T6" fmla="*/ 7 w 169"/>
                <a:gd name="T7" fmla="*/ 3 h 658"/>
                <a:gd name="T8" fmla="*/ 2 w 169"/>
                <a:gd name="T9" fmla="*/ 8 h 658"/>
                <a:gd name="T10" fmla="*/ 0 w 169"/>
                <a:gd name="T11" fmla="*/ 13 h 658"/>
                <a:gd name="T12" fmla="*/ 1 w 169"/>
                <a:gd name="T13" fmla="*/ 20 h 658"/>
                <a:gd name="T14" fmla="*/ 3 w 169"/>
                <a:gd name="T15" fmla="*/ 24 h 658"/>
                <a:gd name="T16" fmla="*/ 21 w 169"/>
                <a:gd name="T17" fmla="*/ 41 h 658"/>
                <a:gd name="T18" fmla="*/ 49 w 169"/>
                <a:gd name="T19" fmla="*/ 72 h 658"/>
                <a:gd name="T20" fmla="*/ 73 w 169"/>
                <a:gd name="T21" fmla="*/ 106 h 658"/>
                <a:gd name="T22" fmla="*/ 93 w 169"/>
                <a:gd name="T23" fmla="*/ 142 h 658"/>
                <a:gd name="T24" fmla="*/ 111 w 169"/>
                <a:gd name="T25" fmla="*/ 181 h 658"/>
                <a:gd name="T26" fmla="*/ 123 w 169"/>
                <a:gd name="T27" fmla="*/ 221 h 658"/>
                <a:gd name="T28" fmla="*/ 132 w 169"/>
                <a:gd name="T29" fmla="*/ 263 h 658"/>
                <a:gd name="T30" fmla="*/ 137 w 169"/>
                <a:gd name="T31" fmla="*/ 307 h 658"/>
                <a:gd name="T32" fmla="*/ 137 w 169"/>
                <a:gd name="T33" fmla="*/ 351 h 658"/>
                <a:gd name="T34" fmla="*/ 132 w 169"/>
                <a:gd name="T35" fmla="*/ 394 h 658"/>
                <a:gd name="T36" fmla="*/ 123 w 169"/>
                <a:gd name="T37" fmla="*/ 437 h 658"/>
                <a:gd name="T38" fmla="*/ 111 w 169"/>
                <a:gd name="T39" fmla="*/ 478 h 658"/>
                <a:gd name="T40" fmla="*/ 93 w 169"/>
                <a:gd name="T41" fmla="*/ 516 h 658"/>
                <a:gd name="T42" fmla="*/ 73 w 169"/>
                <a:gd name="T43" fmla="*/ 552 h 658"/>
                <a:gd name="T44" fmla="*/ 49 w 169"/>
                <a:gd name="T45" fmla="*/ 586 h 658"/>
                <a:gd name="T46" fmla="*/ 21 w 169"/>
                <a:gd name="T47" fmla="*/ 617 h 658"/>
                <a:gd name="T48" fmla="*/ 3 w 169"/>
                <a:gd name="T49" fmla="*/ 633 h 658"/>
                <a:gd name="T50" fmla="*/ 1 w 169"/>
                <a:gd name="T51" fmla="*/ 639 h 658"/>
                <a:gd name="T52" fmla="*/ 0 w 169"/>
                <a:gd name="T53" fmla="*/ 644 h 658"/>
                <a:gd name="T54" fmla="*/ 2 w 169"/>
                <a:gd name="T55" fmla="*/ 650 h 658"/>
                <a:gd name="T56" fmla="*/ 7 w 169"/>
                <a:gd name="T57" fmla="*/ 656 h 658"/>
                <a:gd name="T58" fmla="*/ 12 w 169"/>
                <a:gd name="T59" fmla="*/ 658 h 658"/>
                <a:gd name="T60" fmla="*/ 21 w 169"/>
                <a:gd name="T61" fmla="*/ 658 h 658"/>
                <a:gd name="T62" fmla="*/ 42 w 169"/>
                <a:gd name="T63" fmla="*/ 639 h 658"/>
                <a:gd name="T64" fmla="*/ 72 w 169"/>
                <a:gd name="T65" fmla="*/ 606 h 658"/>
                <a:gd name="T66" fmla="*/ 99 w 169"/>
                <a:gd name="T67" fmla="*/ 570 h 658"/>
                <a:gd name="T68" fmla="*/ 121 w 169"/>
                <a:gd name="T69" fmla="*/ 530 h 658"/>
                <a:gd name="T70" fmla="*/ 140 w 169"/>
                <a:gd name="T71" fmla="*/ 489 h 658"/>
                <a:gd name="T72" fmla="*/ 153 w 169"/>
                <a:gd name="T73" fmla="*/ 446 h 658"/>
                <a:gd name="T74" fmla="*/ 163 w 169"/>
                <a:gd name="T75" fmla="*/ 400 h 658"/>
                <a:gd name="T76" fmla="*/ 168 w 169"/>
                <a:gd name="T77" fmla="*/ 353 h 658"/>
                <a:gd name="T78" fmla="*/ 168 w 169"/>
                <a:gd name="T79" fmla="*/ 306 h 658"/>
                <a:gd name="T80" fmla="*/ 163 w 169"/>
                <a:gd name="T81" fmla="*/ 259 h 658"/>
                <a:gd name="T82" fmla="*/ 153 w 169"/>
                <a:gd name="T83" fmla="*/ 213 h 658"/>
                <a:gd name="T84" fmla="*/ 140 w 169"/>
                <a:gd name="T85" fmla="*/ 170 h 658"/>
                <a:gd name="T86" fmla="*/ 121 w 169"/>
                <a:gd name="T87" fmla="*/ 128 h 658"/>
                <a:gd name="T88" fmla="*/ 99 w 169"/>
                <a:gd name="T89" fmla="*/ 89 h 658"/>
                <a:gd name="T90" fmla="*/ 72 w 169"/>
                <a:gd name="T91" fmla="*/ 52 h 658"/>
                <a:gd name="T92" fmla="*/ 42 w 169"/>
                <a:gd name="T93" fmla="*/ 1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9" h="658">
                  <a:moveTo>
                    <a:pt x="25" y="4"/>
                  </a:moveTo>
                  <a:lnTo>
                    <a:pt x="23" y="2"/>
                  </a:lnTo>
                  <a:lnTo>
                    <a:pt x="20" y="1"/>
                  </a:lnTo>
                  <a:lnTo>
                    <a:pt x="18" y="0"/>
                  </a:lnTo>
                  <a:lnTo>
                    <a:pt x="14" y="0"/>
                  </a:lnTo>
                  <a:lnTo>
                    <a:pt x="11" y="0"/>
                  </a:lnTo>
                  <a:lnTo>
                    <a:pt x="9" y="1"/>
                  </a:lnTo>
                  <a:lnTo>
                    <a:pt x="7" y="3"/>
                  </a:lnTo>
                  <a:lnTo>
                    <a:pt x="4" y="6"/>
                  </a:lnTo>
                  <a:lnTo>
                    <a:pt x="2" y="8"/>
                  </a:lnTo>
                  <a:lnTo>
                    <a:pt x="1" y="11"/>
                  </a:lnTo>
                  <a:lnTo>
                    <a:pt x="0" y="13"/>
                  </a:lnTo>
                  <a:lnTo>
                    <a:pt x="0" y="17"/>
                  </a:lnTo>
                  <a:lnTo>
                    <a:pt x="1" y="20"/>
                  </a:lnTo>
                  <a:lnTo>
                    <a:pt x="2" y="22"/>
                  </a:lnTo>
                  <a:lnTo>
                    <a:pt x="3" y="24"/>
                  </a:lnTo>
                  <a:lnTo>
                    <a:pt x="5" y="28"/>
                  </a:lnTo>
                  <a:lnTo>
                    <a:pt x="21" y="41"/>
                  </a:lnTo>
                  <a:lnTo>
                    <a:pt x="35" y="57"/>
                  </a:lnTo>
                  <a:lnTo>
                    <a:pt x="49" y="72"/>
                  </a:lnTo>
                  <a:lnTo>
                    <a:pt x="61" y="89"/>
                  </a:lnTo>
                  <a:lnTo>
                    <a:pt x="73" y="106"/>
                  </a:lnTo>
                  <a:lnTo>
                    <a:pt x="84" y="123"/>
                  </a:lnTo>
                  <a:lnTo>
                    <a:pt x="93" y="142"/>
                  </a:lnTo>
                  <a:lnTo>
                    <a:pt x="103" y="161"/>
                  </a:lnTo>
                  <a:lnTo>
                    <a:pt x="111" y="181"/>
                  </a:lnTo>
                  <a:lnTo>
                    <a:pt x="118" y="201"/>
                  </a:lnTo>
                  <a:lnTo>
                    <a:pt x="123" y="221"/>
                  </a:lnTo>
                  <a:lnTo>
                    <a:pt x="129" y="242"/>
                  </a:lnTo>
                  <a:lnTo>
                    <a:pt x="132" y="263"/>
                  </a:lnTo>
                  <a:lnTo>
                    <a:pt x="135" y="286"/>
                  </a:lnTo>
                  <a:lnTo>
                    <a:pt x="137" y="307"/>
                  </a:lnTo>
                  <a:lnTo>
                    <a:pt x="138" y="329"/>
                  </a:lnTo>
                  <a:lnTo>
                    <a:pt x="137" y="351"/>
                  </a:lnTo>
                  <a:lnTo>
                    <a:pt x="135" y="373"/>
                  </a:lnTo>
                  <a:lnTo>
                    <a:pt x="132" y="394"/>
                  </a:lnTo>
                  <a:lnTo>
                    <a:pt x="129" y="416"/>
                  </a:lnTo>
                  <a:lnTo>
                    <a:pt x="123" y="437"/>
                  </a:lnTo>
                  <a:lnTo>
                    <a:pt x="118" y="458"/>
                  </a:lnTo>
                  <a:lnTo>
                    <a:pt x="111" y="478"/>
                  </a:lnTo>
                  <a:lnTo>
                    <a:pt x="103" y="497"/>
                  </a:lnTo>
                  <a:lnTo>
                    <a:pt x="93" y="516"/>
                  </a:lnTo>
                  <a:lnTo>
                    <a:pt x="84" y="534"/>
                  </a:lnTo>
                  <a:lnTo>
                    <a:pt x="73" y="552"/>
                  </a:lnTo>
                  <a:lnTo>
                    <a:pt x="61" y="570"/>
                  </a:lnTo>
                  <a:lnTo>
                    <a:pt x="49" y="586"/>
                  </a:lnTo>
                  <a:lnTo>
                    <a:pt x="35" y="602"/>
                  </a:lnTo>
                  <a:lnTo>
                    <a:pt x="21" y="617"/>
                  </a:lnTo>
                  <a:lnTo>
                    <a:pt x="5" y="631"/>
                  </a:lnTo>
                  <a:lnTo>
                    <a:pt x="3" y="633"/>
                  </a:lnTo>
                  <a:lnTo>
                    <a:pt x="2" y="636"/>
                  </a:lnTo>
                  <a:lnTo>
                    <a:pt x="1" y="639"/>
                  </a:lnTo>
                  <a:lnTo>
                    <a:pt x="0" y="641"/>
                  </a:lnTo>
                  <a:lnTo>
                    <a:pt x="0" y="644"/>
                  </a:lnTo>
                  <a:lnTo>
                    <a:pt x="1" y="648"/>
                  </a:lnTo>
                  <a:lnTo>
                    <a:pt x="2" y="650"/>
                  </a:lnTo>
                  <a:lnTo>
                    <a:pt x="4" y="653"/>
                  </a:lnTo>
                  <a:lnTo>
                    <a:pt x="7" y="656"/>
                  </a:lnTo>
                  <a:lnTo>
                    <a:pt x="9" y="657"/>
                  </a:lnTo>
                  <a:lnTo>
                    <a:pt x="12" y="658"/>
                  </a:lnTo>
                  <a:lnTo>
                    <a:pt x="15" y="658"/>
                  </a:lnTo>
                  <a:lnTo>
                    <a:pt x="21" y="658"/>
                  </a:lnTo>
                  <a:lnTo>
                    <a:pt x="25" y="654"/>
                  </a:lnTo>
                  <a:lnTo>
                    <a:pt x="42" y="639"/>
                  </a:lnTo>
                  <a:lnTo>
                    <a:pt x="58" y="623"/>
                  </a:lnTo>
                  <a:lnTo>
                    <a:pt x="72" y="606"/>
                  </a:lnTo>
                  <a:lnTo>
                    <a:pt x="87" y="588"/>
                  </a:lnTo>
                  <a:lnTo>
                    <a:pt x="99" y="570"/>
                  </a:lnTo>
                  <a:lnTo>
                    <a:pt x="111" y="550"/>
                  </a:lnTo>
                  <a:lnTo>
                    <a:pt x="121" y="530"/>
                  </a:lnTo>
                  <a:lnTo>
                    <a:pt x="131" y="510"/>
                  </a:lnTo>
                  <a:lnTo>
                    <a:pt x="140" y="489"/>
                  </a:lnTo>
                  <a:lnTo>
                    <a:pt x="147" y="467"/>
                  </a:lnTo>
                  <a:lnTo>
                    <a:pt x="153" y="446"/>
                  </a:lnTo>
                  <a:lnTo>
                    <a:pt x="159" y="422"/>
                  </a:lnTo>
                  <a:lnTo>
                    <a:pt x="163" y="400"/>
                  </a:lnTo>
                  <a:lnTo>
                    <a:pt x="165" y="377"/>
                  </a:lnTo>
                  <a:lnTo>
                    <a:pt x="168" y="353"/>
                  </a:lnTo>
                  <a:lnTo>
                    <a:pt x="169" y="329"/>
                  </a:lnTo>
                  <a:lnTo>
                    <a:pt x="168" y="306"/>
                  </a:lnTo>
                  <a:lnTo>
                    <a:pt x="165" y="282"/>
                  </a:lnTo>
                  <a:lnTo>
                    <a:pt x="163" y="259"/>
                  </a:lnTo>
                  <a:lnTo>
                    <a:pt x="159" y="236"/>
                  </a:lnTo>
                  <a:lnTo>
                    <a:pt x="153" y="213"/>
                  </a:lnTo>
                  <a:lnTo>
                    <a:pt x="147" y="191"/>
                  </a:lnTo>
                  <a:lnTo>
                    <a:pt x="140" y="170"/>
                  </a:lnTo>
                  <a:lnTo>
                    <a:pt x="131" y="149"/>
                  </a:lnTo>
                  <a:lnTo>
                    <a:pt x="121" y="128"/>
                  </a:lnTo>
                  <a:lnTo>
                    <a:pt x="111" y="108"/>
                  </a:lnTo>
                  <a:lnTo>
                    <a:pt x="99" y="89"/>
                  </a:lnTo>
                  <a:lnTo>
                    <a:pt x="87" y="70"/>
                  </a:lnTo>
                  <a:lnTo>
                    <a:pt x="72" y="52"/>
                  </a:lnTo>
                  <a:lnTo>
                    <a:pt x="58" y="36"/>
                  </a:lnTo>
                  <a:lnTo>
                    <a:pt x="42" y="19"/>
                  </a:lnTo>
                  <a:lnTo>
                    <a:pt x="2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353">
              <a:extLst>
                <a:ext uri="{FF2B5EF4-FFF2-40B4-BE49-F238E27FC236}">
                  <a16:creationId xmlns:a16="http://schemas.microsoft.com/office/drawing/2014/main" id="{E35A8AFA-686A-4CAD-83F3-69C35347EF9D}"/>
                </a:ext>
              </a:extLst>
            </p:cNvPr>
            <p:cNvSpPr>
              <a:spLocks/>
            </p:cNvSpPr>
            <p:nvPr/>
          </p:nvSpPr>
          <p:spPr bwMode="auto">
            <a:xfrm>
              <a:off x="7793666" y="3158362"/>
              <a:ext cx="45590" cy="154019"/>
            </a:xfrm>
            <a:custGeom>
              <a:avLst/>
              <a:gdLst>
                <a:gd name="T0" fmla="*/ 22 w 149"/>
                <a:gd name="T1" fmla="*/ 1 h 501"/>
                <a:gd name="T2" fmla="*/ 17 w 149"/>
                <a:gd name="T3" fmla="*/ 0 h 501"/>
                <a:gd name="T4" fmla="*/ 11 w 149"/>
                <a:gd name="T5" fmla="*/ 0 h 501"/>
                <a:gd name="T6" fmla="*/ 6 w 149"/>
                <a:gd name="T7" fmla="*/ 3 h 501"/>
                <a:gd name="T8" fmla="*/ 2 w 149"/>
                <a:gd name="T9" fmla="*/ 8 h 501"/>
                <a:gd name="T10" fmla="*/ 0 w 149"/>
                <a:gd name="T11" fmla="*/ 13 h 501"/>
                <a:gd name="T12" fmla="*/ 0 w 149"/>
                <a:gd name="T13" fmla="*/ 19 h 501"/>
                <a:gd name="T14" fmla="*/ 3 w 149"/>
                <a:gd name="T15" fmla="*/ 24 h 501"/>
                <a:gd name="T16" fmla="*/ 18 w 149"/>
                <a:gd name="T17" fmla="*/ 38 h 501"/>
                <a:gd name="T18" fmla="*/ 41 w 149"/>
                <a:gd name="T19" fmla="*/ 61 h 501"/>
                <a:gd name="T20" fmla="*/ 61 w 149"/>
                <a:gd name="T21" fmla="*/ 88 h 501"/>
                <a:gd name="T22" fmla="*/ 79 w 149"/>
                <a:gd name="T23" fmla="*/ 115 h 501"/>
                <a:gd name="T24" fmla="*/ 95 w 149"/>
                <a:gd name="T25" fmla="*/ 144 h 501"/>
                <a:gd name="T26" fmla="*/ 106 w 149"/>
                <a:gd name="T27" fmla="*/ 174 h 501"/>
                <a:gd name="T28" fmla="*/ 113 w 149"/>
                <a:gd name="T29" fmla="*/ 204 h 501"/>
                <a:gd name="T30" fmla="*/ 117 w 149"/>
                <a:gd name="T31" fmla="*/ 235 h 501"/>
                <a:gd name="T32" fmla="*/ 117 w 149"/>
                <a:gd name="T33" fmla="*/ 265 h 501"/>
                <a:gd name="T34" fmla="*/ 113 w 149"/>
                <a:gd name="T35" fmla="*/ 295 h 501"/>
                <a:gd name="T36" fmla="*/ 106 w 149"/>
                <a:gd name="T37" fmla="*/ 325 h 501"/>
                <a:gd name="T38" fmla="*/ 95 w 149"/>
                <a:gd name="T39" fmla="*/ 355 h 501"/>
                <a:gd name="T40" fmla="*/ 79 w 149"/>
                <a:gd name="T41" fmla="*/ 384 h 501"/>
                <a:gd name="T42" fmla="*/ 61 w 149"/>
                <a:gd name="T43" fmla="*/ 412 h 501"/>
                <a:gd name="T44" fmla="*/ 41 w 149"/>
                <a:gd name="T45" fmla="*/ 439 h 501"/>
                <a:gd name="T46" fmla="*/ 18 w 149"/>
                <a:gd name="T47" fmla="*/ 462 h 501"/>
                <a:gd name="T48" fmla="*/ 3 w 149"/>
                <a:gd name="T49" fmla="*/ 475 h 501"/>
                <a:gd name="T50" fmla="*/ 0 w 149"/>
                <a:gd name="T51" fmla="*/ 481 h 501"/>
                <a:gd name="T52" fmla="*/ 0 w 149"/>
                <a:gd name="T53" fmla="*/ 487 h 501"/>
                <a:gd name="T54" fmla="*/ 2 w 149"/>
                <a:gd name="T55" fmla="*/ 492 h 501"/>
                <a:gd name="T56" fmla="*/ 6 w 149"/>
                <a:gd name="T57" fmla="*/ 498 h 501"/>
                <a:gd name="T58" fmla="*/ 12 w 149"/>
                <a:gd name="T59" fmla="*/ 500 h 501"/>
                <a:gd name="T60" fmla="*/ 21 w 149"/>
                <a:gd name="T61" fmla="*/ 500 h 501"/>
                <a:gd name="T62" fmla="*/ 39 w 149"/>
                <a:gd name="T63" fmla="*/ 485 h 501"/>
                <a:gd name="T64" fmla="*/ 65 w 149"/>
                <a:gd name="T65" fmla="*/ 459 h 501"/>
                <a:gd name="T66" fmla="*/ 87 w 149"/>
                <a:gd name="T67" fmla="*/ 430 h 501"/>
                <a:gd name="T68" fmla="*/ 107 w 149"/>
                <a:gd name="T69" fmla="*/ 400 h 501"/>
                <a:gd name="T70" fmla="*/ 122 w 149"/>
                <a:gd name="T71" fmla="*/ 368 h 501"/>
                <a:gd name="T72" fmla="*/ 136 w 149"/>
                <a:gd name="T73" fmla="*/ 334 h 501"/>
                <a:gd name="T74" fmla="*/ 143 w 149"/>
                <a:gd name="T75" fmla="*/ 300 h 501"/>
                <a:gd name="T76" fmla="*/ 148 w 149"/>
                <a:gd name="T77" fmla="*/ 267 h 501"/>
                <a:gd name="T78" fmla="*/ 148 w 149"/>
                <a:gd name="T79" fmla="*/ 233 h 501"/>
                <a:gd name="T80" fmla="*/ 143 w 149"/>
                <a:gd name="T81" fmla="*/ 200 h 501"/>
                <a:gd name="T82" fmla="*/ 136 w 149"/>
                <a:gd name="T83" fmla="*/ 167 h 501"/>
                <a:gd name="T84" fmla="*/ 122 w 149"/>
                <a:gd name="T85" fmla="*/ 133 h 501"/>
                <a:gd name="T86" fmla="*/ 107 w 149"/>
                <a:gd name="T87" fmla="*/ 101 h 501"/>
                <a:gd name="T88" fmla="*/ 87 w 149"/>
                <a:gd name="T89" fmla="*/ 70 h 501"/>
                <a:gd name="T90" fmla="*/ 65 w 149"/>
                <a:gd name="T91" fmla="*/ 41 h 501"/>
                <a:gd name="T92" fmla="*/ 39 w 149"/>
                <a:gd name="T93" fmla="*/ 1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501">
                  <a:moveTo>
                    <a:pt x="26" y="3"/>
                  </a:moveTo>
                  <a:lnTo>
                    <a:pt x="22" y="1"/>
                  </a:lnTo>
                  <a:lnTo>
                    <a:pt x="20" y="0"/>
                  </a:lnTo>
                  <a:lnTo>
                    <a:pt x="17" y="0"/>
                  </a:lnTo>
                  <a:lnTo>
                    <a:pt x="15" y="0"/>
                  </a:lnTo>
                  <a:lnTo>
                    <a:pt x="11" y="0"/>
                  </a:lnTo>
                  <a:lnTo>
                    <a:pt x="8" y="1"/>
                  </a:lnTo>
                  <a:lnTo>
                    <a:pt x="6" y="3"/>
                  </a:lnTo>
                  <a:lnTo>
                    <a:pt x="3" y="5"/>
                  </a:lnTo>
                  <a:lnTo>
                    <a:pt x="2" y="8"/>
                  </a:lnTo>
                  <a:lnTo>
                    <a:pt x="0" y="11"/>
                  </a:lnTo>
                  <a:lnTo>
                    <a:pt x="0" y="13"/>
                  </a:lnTo>
                  <a:lnTo>
                    <a:pt x="0" y="17"/>
                  </a:lnTo>
                  <a:lnTo>
                    <a:pt x="0" y="19"/>
                  </a:lnTo>
                  <a:lnTo>
                    <a:pt x="1" y="22"/>
                  </a:lnTo>
                  <a:lnTo>
                    <a:pt x="3" y="24"/>
                  </a:lnTo>
                  <a:lnTo>
                    <a:pt x="6" y="27"/>
                  </a:lnTo>
                  <a:lnTo>
                    <a:pt x="18" y="38"/>
                  </a:lnTo>
                  <a:lnTo>
                    <a:pt x="30" y="49"/>
                  </a:lnTo>
                  <a:lnTo>
                    <a:pt x="41" y="61"/>
                  </a:lnTo>
                  <a:lnTo>
                    <a:pt x="52" y="74"/>
                  </a:lnTo>
                  <a:lnTo>
                    <a:pt x="61" y="88"/>
                  </a:lnTo>
                  <a:lnTo>
                    <a:pt x="71" y="101"/>
                  </a:lnTo>
                  <a:lnTo>
                    <a:pt x="79" y="115"/>
                  </a:lnTo>
                  <a:lnTo>
                    <a:pt x="87" y="130"/>
                  </a:lnTo>
                  <a:lnTo>
                    <a:pt x="95" y="144"/>
                  </a:lnTo>
                  <a:lnTo>
                    <a:pt x="100" y="160"/>
                  </a:lnTo>
                  <a:lnTo>
                    <a:pt x="106" y="174"/>
                  </a:lnTo>
                  <a:lnTo>
                    <a:pt x="110" y="190"/>
                  </a:lnTo>
                  <a:lnTo>
                    <a:pt x="113" y="204"/>
                  </a:lnTo>
                  <a:lnTo>
                    <a:pt x="116" y="220"/>
                  </a:lnTo>
                  <a:lnTo>
                    <a:pt x="117" y="235"/>
                  </a:lnTo>
                  <a:lnTo>
                    <a:pt x="118" y="250"/>
                  </a:lnTo>
                  <a:lnTo>
                    <a:pt x="117" y="265"/>
                  </a:lnTo>
                  <a:lnTo>
                    <a:pt x="116" y="280"/>
                  </a:lnTo>
                  <a:lnTo>
                    <a:pt x="113" y="295"/>
                  </a:lnTo>
                  <a:lnTo>
                    <a:pt x="110" y="311"/>
                  </a:lnTo>
                  <a:lnTo>
                    <a:pt x="106" y="325"/>
                  </a:lnTo>
                  <a:lnTo>
                    <a:pt x="100" y="341"/>
                  </a:lnTo>
                  <a:lnTo>
                    <a:pt x="95" y="355"/>
                  </a:lnTo>
                  <a:lnTo>
                    <a:pt x="87" y="370"/>
                  </a:lnTo>
                  <a:lnTo>
                    <a:pt x="79" y="384"/>
                  </a:lnTo>
                  <a:lnTo>
                    <a:pt x="71" y="399"/>
                  </a:lnTo>
                  <a:lnTo>
                    <a:pt x="61" y="412"/>
                  </a:lnTo>
                  <a:lnTo>
                    <a:pt x="52" y="425"/>
                  </a:lnTo>
                  <a:lnTo>
                    <a:pt x="41" y="439"/>
                  </a:lnTo>
                  <a:lnTo>
                    <a:pt x="30" y="451"/>
                  </a:lnTo>
                  <a:lnTo>
                    <a:pt x="18" y="462"/>
                  </a:lnTo>
                  <a:lnTo>
                    <a:pt x="6" y="473"/>
                  </a:lnTo>
                  <a:lnTo>
                    <a:pt x="3" y="475"/>
                  </a:lnTo>
                  <a:lnTo>
                    <a:pt x="1" y="478"/>
                  </a:lnTo>
                  <a:lnTo>
                    <a:pt x="0" y="481"/>
                  </a:lnTo>
                  <a:lnTo>
                    <a:pt x="0" y="483"/>
                  </a:lnTo>
                  <a:lnTo>
                    <a:pt x="0" y="487"/>
                  </a:lnTo>
                  <a:lnTo>
                    <a:pt x="0" y="490"/>
                  </a:lnTo>
                  <a:lnTo>
                    <a:pt x="2" y="492"/>
                  </a:lnTo>
                  <a:lnTo>
                    <a:pt x="3" y="495"/>
                  </a:lnTo>
                  <a:lnTo>
                    <a:pt x="6" y="498"/>
                  </a:lnTo>
                  <a:lnTo>
                    <a:pt x="9" y="500"/>
                  </a:lnTo>
                  <a:lnTo>
                    <a:pt x="12" y="500"/>
                  </a:lnTo>
                  <a:lnTo>
                    <a:pt x="16" y="501"/>
                  </a:lnTo>
                  <a:lnTo>
                    <a:pt x="21" y="500"/>
                  </a:lnTo>
                  <a:lnTo>
                    <a:pt x="26" y="498"/>
                  </a:lnTo>
                  <a:lnTo>
                    <a:pt x="39" y="485"/>
                  </a:lnTo>
                  <a:lnTo>
                    <a:pt x="52" y="472"/>
                  </a:lnTo>
                  <a:lnTo>
                    <a:pt x="65" y="459"/>
                  </a:lnTo>
                  <a:lnTo>
                    <a:pt x="77" y="444"/>
                  </a:lnTo>
                  <a:lnTo>
                    <a:pt x="87" y="430"/>
                  </a:lnTo>
                  <a:lnTo>
                    <a:pt x="98" y="415"/>
                  </a:lnTo>
                  <a:lnTo>
                    <a:pt x="107" y="400"/>
                  </a:lnTo>
                  <a:lnTo>
                    <a:pt x="116" y="383"/>
                  </a:lnTo>
                  <a:lnTo>
                    <a:pt x="122" y="368"/>
                  </a:lnTo>
                  <a:lnTo>
                    <a:pt x="129" y="351"/>
                  </a:lnTo>
                  <a:lnTo>
                    <a:pt x="136" y="334"/>
                  </a:lnTo>
                  <a:lnTo>
                    <a:pt x="140" y="318"/>
                  </a:lnTo>
                  <a:lnTo>
                    <a:pt x="143" y="300"/>
                  </a:lnTo>
                  <a:lnTo>
                    <a:pt x="147" y="283"/>
                  </a:lnTo>
                  <a:lnTo>
                    <a:pt x="148" y="267"/>
                  </a:lnTo>
                  <a:lnTo>
                    <a:pt x="149" y="250"/>
                  </a:lnTo>
                  <a:lnTo>
                    <a:pt x="148" y="233"/>
                  </a:lnTo>
                  <a:lnTo>
                    <a:pt x="147" y="217"/>
                  </a:lnTo>
                  <a:lnTo>
                    <a:pt x="143" y="200"/>
                  </a:lnTo>
                  <a:lnTo>
                    <a:pt x="140" y="183"/>
                  </a:lnTo>
                  <a:lnTo>
                    <a:pt x="136" y="167"/>
                  </a:lnTo>
                  <a:lnTo>
                    <a:pt x="129" y="150"/>
                  </a:lnTo>
                  <a:lnTo>
                    <a:pt x="122" y="133"/>
                  </a:lnTo>
                  <a:lnTo>
                    <a:pt x="116" y="117"/>
                  </a:lnTo>
                  <a:lnTo>
                    <a:pt x="107" y="101"/>
                  </a:lnTo>
                  <a:lnTo>
                    <a:pt x="98" y="85"/>
                  </a:lnTo>
                  <a:lnTo>
                    <a:pt x="87" y="70"/>
                  </a:lnTo>
                  <a:lnTo>
                    <a:pt x="77" y="55"/>
                  </a:lnTo>
                  <a:lnTo>
                    <a:pt x="65" y="41"/>
                  </a:lnTo>
                  <a:lnTo>
                    <a:pt x="52" y="28"/>
                  </a:lnTo>
                  <a:lnTo>
                    <a:pt x="39" y="15"/>
                  </a:lnTo>
                  <a:lnTo>
                    <a:pt x="2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354">
              <a:extLst>
                <a:ext uri="{FF2B5EF4-FFF2-40B4-BE49-F238E27FC236}">
                  <a16:creationId xmlns:a16="http://schemas.microsoft.com/office/drawing/2014/main" id="{F061DF87-E753-4597-90CE-CE836E294187}"/>
                </a:ext>
              </a:extLst>
            </p:cNvPr>
            <p:cNvSpPr>
              <a:spLocks/>
            </p:cNvSpPr>
            <p:nvPr/>
          </p:nvSpPr>
          <p:spPr bwMode="auto">
            <a:xfrm>
              <a:off x="7769023" y="3187934"/>
              <a:ext cx="34500" cy="94876"/>
            </a:xfrm>
            <a:custGeom>
              <a:avLst/>
              <a:gdLst>
                <a:gd name="T0" fmla="*/ 22 w 110"/>
                <a:gd name="T1" fmla="*/ 1 h 305"/>
                <a:gd name="T2" fmla="*/ 17 w 110"/>
                <a:gd name="T3" fmla="*/ 0 h 305"/>
                <a:gd name="T4" fmla="*/ 11 w 110"/>
                <a:gd name="T5" fmla="*/ 1 h 305"/>
                <a:gd name="T6" fmla="*/ 6 w 110"/>
                <a:gd name="T7" fmla="*/ 3 h 305"/>
                <a:gd name="T8" fmla="*/ 2 w 110"/>
                <a:gd name="T9" fmla="*/ 9 h 305"/>
                <a:gd name="T10" fmla="*/ 0 w 110"/>
                <a:gd name="T11" fmla="*/ 14 h 305"/>
                <a:gd name="T12" fmla="*/ 1 w 110"/>
                <a:gd name="T13" fmla="*/ 21 h 305"/>
                <a:gd name="T14" fmla="*/ 5 w 110"/>
                <a:gd name="T15" fmla="*/ 25 h 305"/>
                <a:gd name="T16" fmla="*/ 19 w 110"/>
                <a:gd name="T17" fmla="*/ 37 h 305"/>
                <a:gd name="T18" fmla="*/ 45 w 110"/>
                <a:gd name="T19" fmla="*/ 62 h 305"/>
                <a:gd name="T20" fmla="*/ 60 w 110"/>
                <a:gd name="T21" fmla="*/ 84 h 305"/>
                <a:gd name="T22" fmla="*/ 69 w 110"/>
                <a:gd name="T23" fmla="*/ 102 h 305"/>
                <a:gd name="T24" fmla="*/ 75 w 110"/>
                <a:gd name="T25" fmla="*/ 121 h 305"/>
                <a:gd name="T26" fmla="*/ 79 w 110"/>
                <a:gd name="T27" fmla="*/ 141 h 305"/>
                <a:gd name="T28" fmla="*/ 79 w 110"/>
                <a:gd name="T29" fmla="*/ 163 h 305"/>
                <a:gd name="T30" fmla="*/ 75 w 110"/>
                <a:gd name="T31" fmla="*/ 184 h 305"/>
                <a:gd name="T32" fmla="*/ 69 w 110"/>
                <a:gd name="T33" fmla="*/ 203 h 305"/>
                <a:gd name="T34" fmla="*/ 60 w 110"/>
                <a:gd name="T35" fmla="*/ 220 h 305"/>
                <a:gd name="T36" fmla="*/ 45 w 110"/>
                <a:gd name="T37" fmla="*/ 243 h 305"/>
                <a:gd name="T38" fmla="*/ 19 w 110"/>
                <a:gd name="T39" fmla="*/ 267 h 305"/>
                <a:gd name="T40" fmla="*/ 5 w 110"/>
                <a:gd name="T41" fmla="*/ 279 h 305"/>
                <a:gd name="T42" fmla="*/ 1 w 110"/>
                <a:gd name="T43" fmla="*/ 284 h 305"/>
                <a:gd name="T44" fmla="*/ 0 w 110"/>
                <a:gd name="T45" fmla="*/ 290 h 305"/>
                <a:gd name="T46" fmla="*/ 2 w 110"/>
                <a:gd name="T47" fmla="*/ 295 h 305"/>
                <a:gd name="T48" fmla="*/ 6 w 110"/>
                <a:gd name="T49" fmla="*/ 301 h 305"/>
                <a:gd name="T50" fmla="*/ 12 w 110"/>
                <a:gd name="T51" fmla="*/ 304 h 305"/>
                <a:gd name="T52" fmla="*/ 21 w 110"/>
                <a:gd name="T53" fmla="*/ 304 h 305"/>
                <a:gd name="T54" fmla="*/ 36 w 110"/>
                <a:gd name="T55" fmla="*/ 294 h 305"/>
                <a:gd name="T56" fmla="*/ 54 w 110"/>
                <a:gd name="T57" fmla="*/ 279 h 305"/>
                <a:gd name="T58" fmla="*/ 69 w 110"/>
                <a:gd name="T59" fmla="*/ 261 h 305"/>
                <a:gd name="T60" fmla="*/ 82 w 110"/>
                <a:gd name="T61" fmla="*/ 243 h 305"/>
                <a:gd name="T62" fmla="*/ 94 w 110"/>
                <a:gd name="T63" fmla="*/ 224 h 305"/>
                <a:gd name="T64" fmla="*/ 101 w 110"/>
                <a:gd name="T65" fmla="*/ 204 h 305"/>
                <a:gd name="T66" fmla="*/ 107 w 110"/>
                <a:gd name="T67" fmla="*/ 184 h 305"/>
                <a:gd name="T68" fmla="*/ 110 w 110"/>
                <a:gd name="T69" fmla="*/ 163 h 305"/>
                <a:gd name="T70" fmla="*/ 110 w 110"/>
                <a:gd name="T71" fmla="*/ 142 h 305"/>
                <a:gd name="T72" fmla="*/ 107 w 110"/>
                <a:gd name="T73" fmla="*/ 121 h 305"/>
                <a:gd name="T74" fmla="*/ 101 w 110"/>
                <a:gd name="T75" fmla="*/ 101 h 305"/>
                <a:gd name="T76" fmla="*/ 94 w 110"/>
                <a:gd name="T77" fmla="*/ 81 h 305"/>
                <a:gd name="T78" fmla="*/ 82 w 110"/>
                <a:gd name="T79" fmla="*/ 62 h 305"/>
                <a:gd name="T80" fmla="*/ 69 w 110"/>
                <a:gd name="T81" fmla="*/ 43 h 305"/>
                <a:gd name="T82" fmla="*/ 54 w 110"/>
                <a:gd name="T83" fmla="*/ 26 h 305"/>
                <a:gd name="T84" fmla="*/ 36 w 110"/>
                <a:gd name="T85" fmla="*/ 1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305">
                  <a:moveTo>
                    <a:pt x="26" y="2"/>
                  </a:moveTo>
                  <a:lnTo>
                    <a:pt x="22" y="1"/>
                  </a:lnTo>
                  <a:lnTo>
                    <a:pt x="20" y="0"/>
                  </a:lnTo>
                  <a:lnTo>
                    <a:pt x="17" y="0"/>
                  </a:lnTo>
                  <a:lnTo>
                    <a:pt x="14" y="0"/>
                  </a:lnTo>
                  <a:lnTo>
                    <a:pt x="11" y="1"/>
                  </a:lnTo>
                  <a:lnTo>
                    <a:pt x="8" y="2"/>
                  </a:lnTo>
                  <a:lnTo>
                    <a:pt x="6" y="3"/>
                  </a:lnTo>
                  <a:lnTo>
                    <a:pt x="4" y="6"/>
                  </a:lnTo>
                  <a:lnTo>
                    <a:pt x="2" y="9"/>
                  </a:lnTo>
                  <a:lnTo>
                    <a:pt x="1" y="12"/>
                  </a:lnTo>
                  <a:lnTo>
                    <a:pt x="0" y="14"/>
                  </a:lnTo>
                  <a:lnTo>
                    <a:pt x="1" y="17"/>
                  </a:lnTo>
                  <a:lnTo>
                    <a:pt x="1" y="21"/>
                  </a:lnTo>
                  <a:lnTo>
                    <a:pt x="2" y="23"/>
                  </a:lnTo>
                  <a:lnTo>
                    <a:pt x="5" y="25"/>
                  </a:lnTo>
                  <a:lnTo>
                    <a:pt x="7" y="27"/>
                  </a:lnTo>
                  <a:lnTo>
                    <a:pt x="19" y="37"/>
                  </a:lnTo>
                  <a:lnTo>
                    <a:pt x="32" y="49"/>
                  </a:lnTo>
                  <a:lnTo>
                    <a:pt x="45" y="62"/>
                  </a:lnTo>
                  <a:lnTo>
                    <a:pt x="56" y="76"/>
                  </a:lnTo>
                  <a:lnTo>
                    <a:pt x="60" y="84"/>
                  </a:lnTo>
                  <a:lnTo>
                    <a:pt x="65" y="93"/>
                  </a:lnTo>
                  <a:lnTo>
                    <a:pt x="69" y="102"/>
                  </a:lnTo>
                  <a:lnTo>
                    <a:pt x="72" y="111"/>
                  </a:lnTo>
                  <a:lnTo>
                    <a:pt x="75" y="121"/>
                  </a:lnTo>
                  <a:lnTo>
                    <a:pt x="77" y="131"/>
                  </a:lnTo>
                  <a:lnTo>
                    <a:pt x="79" y="141"/>
                  </a:lnTo>
                  <a:lnTo>
                    <a:pt x="79" y="152"/>
                  </a:lnTo>
                  <a:lnTo>
                    <a:pt x="79" y="163"/>
                  </a:lnTo>
                  <a:lnTo>
                    <a:pt x="77" y="174"/>
                  </a:lnTo>
                  <a:lnTo>
                    <a:pt x="75" y="184"/>
                  </a:lnTo>
                  <a:lnTo>
                    <a:pt x="72" y="193"/>
                  </a:lnTo>
                  <a:lnTo>
                    <a:pt x="69" y="203"/>
                  </a:lnTo>
                  <a:lnTo>
                    <a:pt x="65" y="212"/>
                  </a:lnTo>
                  <a:lnTo>
                    <a:pt x="60" y="220"/>
                  </a:lnTo>
                  <a:lnTo>
                    <a:pt x="56" y="227"/>
                  </a:lnTo>
                  <a:lnTo>
                    <a:pt x="45" y="243"/>
                  </a:lnTo>
                  <a:lnTo>
                    <a:pt x="32" y="255"/>
                  </a:lnTo>
                  <a:lnTo>
                    <a:pt x="19" y="267"/>
                  </a:lnTo>
                  <a:lnTo>
                    <a:pt x="7" y="276"/>
                  </a:lnTo>
                  <a:lnTo>
                    <a:pt x="5" y="279"/>
                  </a:lnTo>
                  <a:lnTo>
                    <a:pt x="2" y="281"/>
                  </a:lnTo>
                  <a:lnTo>
                    <a:pt x="1" y="284"/>
                  </a:lnTo>
                  <a:lnTo>
                    <a:pt x="1" y="286"/>
                  </a:lnTo>
                  <a:lnTo>
                    <a:pt x="0" y="290"/>
                  </a:lnTo>
                  <a:lnTo>
                    <a:pt x="1" y="293"/>
                  </a:lnTo>
                  <a:lnTo>
                    <a:pt x="2" y="295"/>
                  </a:lnTo>
                  <a:lnTo>
                    <a:pt x="4" y="299"/>
                  </a:lnTo>
                  <a:lnTo>
                    <a:pt x="6" y="301"/>
                  </a:lnTo>
                  <a:lnTo>
                    <a:pt x="9" y="303"/>
                  </a:lnTo>
                  <a:lnTo>
                    <a:pt x="12" y="304"/>
                  </a:lnTo>
                  <a:lnTo>
                    <a:pt x="16" y="305"/>
                  </a:lnTo>
                  <a:lnTo>
                    <a:pt x="21" y="304"/>
                  </a:lnTo>
                  <a:lnTo>
                    <a:pt x="26" y="302"/>
                  </a:lnTo>
                  <a:lnTo>
                    <a:pt x="36" y="294"/>
                  </a:lnTo>
                  <a:lnTo>
                    <a:pt x="45" y="286"/>
                  </a:lnTo>
                  <a:lnTo>
                    <a:pt x="54" y="279"/>
                  </a:lnTo>
                  <a:lnTo>
                    <a:pt x="61" y="270"/>
                  </a:lnTo>
                  <a:lnTo>
                    <a:pt x="69" y="261"/>
                  </a:lnTo>
                  <a:lnTo>
                    <a:pt x="76" y="252"/>
                  </a:lnTo>
                  <a:lnTo>
                    <a:pt x="82" y="243"/>
                  </a:lnTo>
                  <a:lnTo>
                    <a:pt x="88" y="233"/>
                  </a:lnTo>
                  <a:lnTo>
                    <a:pt x="94" y="224"/>
                  </a:lnTo>
                  <a:lnTo>
                    <a:pt x="98" y="214"/>
                  </a:lnTo>
                  <a:lnTo>
                    <a:pt x="101" y="204"/>
                  </a:lnTo>
                  <a:lnTo>
                    <a:pt x="105" y="194"/>
                  </a:lnTo>
                  <a:lnTo>
                    <a:pt x="107" y="184"/>
                  </a:lnTo>
                  <a:lnTo>
                    <a:pt x="109" y="173"/>
                  </a:lnTo>
                  <a:lnTo>
                    <a:pt x="110" y="163"/>
                  </a:lnTo>
                  <a:lnTo>
                    <a:pt x="110" y="152"/>
                  </a:lnTo>
                  <a:lnTo>
                    <a:pt x="110" y="142"/>
                  </a:lnTo>
                  <a:lnTo>
                    <a:pt x="109" y="131"/>
                  </a:lnTo>
                  <a:lnTo>
                    <a:pt x="107" y="121"/>
                  </a:lnTo>
                  <a:lnTo>
                    <a:pt x="105" y="111"/>
                  </a:lnTo>
                  <a:lnTo>
                    <a:pt x="101" y="101"/>
                  </a:lnTo>
                  <a:lnTo>
                    <a:pt x="98" y="91"/>
                  </a:lnTo>
                  <a:lnTo>
                    <a:pt x="94" y="81"/>
                  </a:lnTo>
                  <a:lnTo>
                    <a:pt x="88" y="71"/>
                  </a:lnTo>
                  <a:lnTo>
                    <a:pt x="82" y="62"/>
                  </a:lnTo>
                  <a:lnTo>
                    <a:pt x="76" y="52"/>
                  </a:lnTo>
                  <a:lnTo>
                    <a:pt x="69" y="43"/>
                  </a:lnTo>
                  <a:lnTo>
                    <a:pt x="61" y="34"/>
                  </a:lnTo>
                  <a:lnTo>
                    <a:pt x="54" y="26"/>
                  </a:lnTo>
                  <a:lnTo>
                    <a:pt x="45" y="17"/>
                  </a:lnTo>
                  <a:lnTo>
                    <a:pt x="36" y="10"/>
                  </a:lnTo>
                  <a:lnTo>
                    <a:pt x="2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355">
              <a:extLst>
                <a:ext uri="{FF2B5EF4-FFF2-40B4-BE49-F238E27FC236}">
                  <a16:creationId xmlns:a16="http://schemas.microsoft.com/office/drawing/2014/main" id="{C6C6E968-8D32-4595-A4B7-4A7A4D98BC46}"/>
                </a:ext>
              </a:extLst>
            </p:cNvPr>
            <p:cNvSpPr>
              <a:spLocks noEditPoints="1"/>
            </p:cNvSpPr>
            <p:nvPr/>
          </p:nvSpPr>
          <p:spPr bwMode="auto">
            <a:xfrm>
              <a:off x="7587897" y="3110308"/>
              <a:ext cx="154019" cy="247662"/>
            </a:xfrm>
            <a:custGeom>
              <a:avLst/>
              <a:gdLst>
                <a:gd name="T0" fmla="*/ 224 w 497"/>
                <a:gd name="T1" fmla="*/ 531 h 807"/>
                <a:gd name="T2" fmla="*/ 213 w 497"/>
                <a:gd name="T3" fmla="*/ 527 h 807"/>
                <a:gd name="T4" fmla="*/ 67 w 497"/>
                <a:gd name="T5" fmla="*/ 526 h 807"/>
                <a:gd name="T6" fmla="*/ 52 w 497"/>
                <a:gd name="T7" fmla="*/ 519 h 807"/>
                <a:gd name="T8" fmla="*/ 41 w 497"/>
                <a:gd name="T9" fmla="*/ 508 h 807"/>
                <a:gd name="T10" fmla="*/ 34 w 497"/>
                <a:gd name="T11" fmla="*/ 492 h 807"/>
                <a:gd name="T12" fmla="*/ 31 w 497"/>
                <a:gd name="T13" fmla="*/ 356 h 807"/>
                <a:gd name="T14" fmla="*/ 33 w 497"/>
                <a:gd name="T15" fmla="*/ 341 h 807"/>
                <a:gd name="T16" fmla="*/ 37 w 497"/>
                <a:gd name="T17" fmla="*/ 326 h 807"/>
                <a:gd name="T18" fmla="*/ 48 w 497"/>
                <a:gd name="T19" fmla="*/ 314 h 807"/>
                <a:gd name="T20" fmla="*/ 55 w 497"/>
                <a:gd name="T21" fmla="*/ 310 h 807"/>
                <a:gd name="T22" fmla="*/ 65 w 497"/>
                <a:gd name="T23" fmla="*/ 309 h 807"/>
                <a:gd name="T24" fmla="*/ 205 w 497"/>
                <a:gd name="T25" fmla="*/ 309 h 807"/>
                <a:gd name="T26" fmla="*/ 211 w 497"/>
                <a:gd name="T27" fmla="*/ 307 h 807"/>
                <a:gd name="T28" fmla="*/ 466 w 497"/>
                <a:gd name="T29" fmla="*/ 52 h 807"/>
                <a:gd name="T30" fmla="*/ 487 w 497"/>
                <a:gd name="T31" fmla="*/ 0 h 807"/>
                <a:gd name="T32" fmla="*/ 478 w 497"/>
                <a:gd name="T33" fmla="*/ 0 h 807"/>
                <a:gd name="T34" fmla="*/ 471 w 497"/>
                <a:gd name="T35" fmla="*/ 5 h 807"/>
                <a:gd name="T36" fmla="*/ 65 w 497"/>
                <a:gd name="T37" fmla="*/ 278 h 807"/>
                <a:gd name="T38" fmla="*/ 51 w 497"/>
                <a:gd name="T39" fmla="*/ 279 h 807"/>
                <a:gd name="T40" fmla="*/ 38 w 497"/>
                <a:gd name="T41" fmla="*/ 284 h 807"/>
                <a:gd name="T42" fmla="*/ 27 w 497"/>
                <a:gd name="T43" fmla="*/ 290 h 807"/>
                <a:gd name="T44" fmla="*/ 18 w 497"/>
                <a:gd name="T45" fmla="*/ 300 h 807"/>
                <a:gd name="T46" fmla="*/ 11 w 497"/>
                <a:gd name="T47" fmla="*/ 311 h 807"/>
                <a:gd name="T48" fmla="*/ 5 w 497"/>
                <a:gd name="T49" fmla="*/ 325 h 807"/>
                <a:gd name="T50" fmla="*/ 1 w 497"/>
                <a:gd name="T51" fmla="*/ 339 h 807"/>
                <a:gd name="T52" fmla="*/ 0 w 497"/>
                <a:gd name="T53" fmla="*/ 356 h 807"/>
                <a:gd name="T54" fmla="*/ 2 w 497"/>
                <a:gd name="T55" fmla="*/ 491 h 807"/>
                <a:gd name="T56" fmla="*/ 5 w 497"/>
                <a:gd name="T57" fmla="*/ 506 h 807"/>
                <a:gd name="T58" fmla="*/ 11 w 497"/>
                <a:gd name="T59" fmla="*/ 519 h 807"/>
                <a:gd name="T60" fmla="*/ 18 w 497"/>
                <a:gd name="T61" fmla="*/ 530 h 807"/>
                <a:gd name="T62" fmla="*/ 28 w 497"/>
                <a:gd name="T63" fmla="*/ 541 h 807"/>
                <a:gd name="T64" fmla="*/ 41 w 497"/>
                <a:gd name="T65" fmla="*/ 549 h 807"/>
                <a:gd name="T66" fmla="*/ 54 w 497"/>
                <a:gd name="T67" fmla="*/ 555 h 807"/>
                <a:gd name="T68" fmla="*/ 68 w 497"/>
                <a:gd name="T69" fmla="*/ 558 h 807"/>
                <a:gd name="T70" fmla="*/ 207 w 497"/>
                <a:gd name="T71" fmla="*/ 558 h 807"/>
                <a:gd name="T72" fmla="*/ 476 w 497"/>
                <a:gd name="T73" fmla="*/ 806 h 807"/>
                <a:gd name="T74" fmla="*/ 485 w 497"/>
                <a:gd name="T75" fmla="*/ 806 h 807"/>
                <a:gd name="T76" fmla="*/ 492 w 497"/>
                <a:gd name="T77" fmla="*/ 802 h 807"/>
                <a:gd name="T78" fmla="*/ 496 w 497"/>
                <a:gd name="T79" fmla="*/ 796 h 807"/>
                <a:gd name="T80" fmla="*/ 497 w 497"/>
                <a:gd name="T81" fmla="*/ 16 h 807"/>
                <a:gd name="T82" fmla="*/ 495 w 497"/>
                <a:gd name="T83" fmla="*/ 7 h 807"/>
                <a:gd name="T84" fmla="*/ 487 w 497"/>
                <a:gd name="T85"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807">
                  <a:moveTo>
                    <a:pt x="466" y="756"/>
                  </a:moveTo>
                  <a:lnTo>
                    <a:pt x="224" y="531"/>
                  </a:lnTo>
                  <a:lnTo>
                    <a:pt x="219" y="528"/>
                  </a:lnTo>
                  <a:lnTo>
                    <a:pt x="213" y="527"/>
                  </a:lnTo>
                  <a:lnTo>
                    <a:pt x="76" y="527"/>
                  </a:lnTo>
                  <a:lnTo>
                    <a:pt x="67" y="526"/>
                  </a:lnTo>
                  <a:lnTo>
                    <a:pt x="60" y="524"/>
                  </a:lnTo>
                  <a:lnTo>
                    <a:pt x="52" y="519"/>
                  </a:lnTo>
                  <a:lnTo>
                    <a:pt x="45" y="514"/>
                  </a:lnTo>
                  <a:lnTo>
                    <a:pt x="41" y="508"/>
                  </a:lnTo>
                  <a:lnTo>
                    <a:pt x="36" y="500"/>
                  </a:lnTo>
                  <a:lnTo>
                    <a:pt x="34" y="492"/>
                  </a:lnTo>
                  <a:lnTo>
                    <a:pt x="33" y="484"/>
                  </a:lnTo>
                  <a:lnTo>
                    <a:pt x="31" y="356"/>
                  </a:lnTo>
                  <a:lnTo>
                    <a:pt x="32" y="349"/>
                  </a:lnTo>
                  <a:lnTo>
                    <a:pt x="33" y="341"/>
                  </a:lnTo>
                  <a:lnTo>
                    <a:pt x="34" y="334"/>
                  </a:lnTo>
                  <a:lnTo>
                    <a:pt x="37" y="326"/>
                  </a:lnTo>
                  <a:lnTo>
                    <a:pt x="42" y="319"/>
                  </a:lnTo>
                  <a:lnTo>
                    <a:pt x="48" y="314"/>
                  </a:lnTo>
                  <a:lnTo>
                    <a:pt x="52" y="312"/>
                  </a:lnTo>
                  <a:lnTo>
                    <a:pt x="55" y="310"/>
                  </a:lnTo>
                  <a:lnTo>
                    <a:pt x="60" y="309"/>
                  </a:lnTo>
                  <a:lnTo>
                    <a:pt x="65" y="309"/>
                  </a:lnTo>
                  <a:lnTo>
                    <a:pt x="202" y="309"/>
                  </a:lnTo>
                  <a:lnTo>
                    <a:pt x="205" y="309"/>
                  </a:lnTo>
                  <a:lnTo>
                    <a:pt x="207" y="308"/>
                  </a:lnTo>
                  <a:lnTo>
                    <a:pt x="211" y="307"/>
                  </a:lnTo>
                  <a:lnTo>
                    <a:pt x="213" y="305"/>
                  </a:lnTo>
                  <a:lnTo>
                    <a:pt x="466" y="52"/>
                  </a:lnTo>
                  <a:lnTo>
                    <a:pt x="466" y="756"/>
                  </a:lnTo>
                  <a:close/>
                  <a:moveTo>
                    <a:pt x="487" y="0"/>
                  </a:moveTo>
                  <a:lnTo>
                    <a:pt x="483" y="0"/>
                  </a:lnTo>
                  <a:lnTo>
                    <a:pt x="478" y="0"/>
                  </a:lnTo>
                  <a:lnTo>
                    <a:pt x="474" y="1"/>
                  </a:lnTo>
                  <a:lnTo>
                    <a:pt x="471" y="5"/>
                  </a:lnTo>
                  <a:lnTo>
                    <a:pt x="195" y="278"/>
                  </a:lnTo>
                  <a:lnTo>
                    <a:pt x="65" y="278"/>
                  </a:lnTo>
                  <a:lnTo>
                    <a:pt x="57" y="278"/>
                  </a:lnTo>
                  <a:lnTo>
                    <a:pt x="51" y="279"/>
                  </a:lnTo>
                  <a:lnTo>
                    <a:pt x="44" y="281"/>
                  </a:lnTo>
                  <a:lnTo>
                    <a:pt x="38" y="284"/>
                  </a:lnTo>
                  <a:lnTo>
                    <a:pt x="33" y="287"/>
                  </a:lnTo>
                  <a:lnTo>
                    <a:pt x="27" y="290"/>
                  </a:lnTo>
                  <a:lnTo>
                    <a:pt x="23" y="295"/>
                  </a:lnTo>
                  <a:lnTo>
                    <a:pt x="18" y="300"/>
                  </a:lnTo>
                  <a:lnTo>
                    <a:pt x="14" y="305"/>
                  </a:lnTo>
                  <a:lnTo>
                    <a:pt x="11" y="311"/>
                  </a:lnTo>
                  <a:lnTo>
                    <a:pt x="7" y="318"/>
                  </a:lnTo>
                  <a:lnTo>
                    <a:pt x="5" y="325"/>
                  </a:lnTo>
                  <a:lnTo>
                    <a:pt x="3" y="331"/>
                  </a:lnTo>
                  <a:lnTo>
                    <a:pt x="1" y="339"/>
                  </a:lnTo>
                  <a:lnTo>
                    <a:pt x="0" y="348"/>
                  </a:lnTo>
                  <a:lnTo>
                    <a:pt x="0" y="356"/>
                  </a:lnTo>
                  <a:lnTo>
                    <a:pt x="2" y="484"/>
                  </a:lnTo>
                  <a:lnTo>
                    <a:pt x="2" y="491"/>
                  </a:lnTo>
                  <a:lnTo>
                    <a:pt x="3" y="498"/>
                  </a:lnTo>
                  <a:lnTo>
                    <a:pt x="5" y="506"/>
                  </a:lnTo>
                  <a:lnTo>
                    <a:pt x="7" y="512"/>
                  </a:lnTo>
                  <a:lnTo>
                    <a:pt x="11" y="519"/>
                  </a:lnTo>
                  <a:lnTo>
                    <a:pt x="14" y="525"/>
                  </a:lnTo>
                  <a:lnTo>
                    <a:pt x="18" y="530"/>
                  </a:lnTo>
                  <a:lnTo>
                    <a:pt x="24" y="536"/>
                  </a:lnTo>
                  <a:lnTo>
                    <a:pt x="28" y="541"/>
                  </a:lnTo>
                  <a:lnTo>
                    <a:pt x="35" y="545"/>
                  </a:lnTo>
                  <a:lnTo>
                    <a:pt x="41" y="549"/>
                  </a:lnTo>
                  <a:lnTo>
                    <a:pt x="47" y="552"/>
                  </a:lnTo>
                  <a:lnTo>
                    <a:pt x="54" y="555"/>
                  </a:lnTo>
                  <a:lnTo>
                    <a:pt x="61" y="556"/>
                  </a:lnTo>
                  <a:lnTo>
                    <a:pt x="68" y="558"/>
                  </a:lnTo>
                  <a:lnTo>
                    <a:pt x="76" y="558"/>
                  </a:lnTo>
                  <a:lnTo>
                    <a:pt x="207" y="558"/>
                  </a:lnTo>
                  <a:lnTo>
                    <a:pt x="471" y="802"/>
                  </a:lnTo>
                  <a:lnTo>
                    <a:pt x="476" y="806"/>
                  </a:lnTo>
                  <a:lnTo>
                    <a:pt x="482" y="807"/>
                  </a:lnTo>
                  <a:lnTo>
                    <a:pt x="485" y="806"/>
                  </a:lnTo>
                  <a:lnTo>
                    <a:pt x="487" y="805"/>
                  </a:lnTo>
                  <a:lnTo>
                    <a:pt x="492" y="802"/>
                  </a:lnTo>
                  <a:lnTo>
                    <a:pt x="495" y="799"/>
                  </a:lnTo>
                  <a:lnTo>
                    <a:pt x="496" y="796"/>
                  </a:lnTo>
                  <a:lnTo>
                    <a:pt x="497" y="791"/>
                  </a:lnTo>
                  <a:lnTo>
                    <a:pt x="497" y="16"/>
                  </a:lnTo>
                  <a:lnTo>
                    <a:pt x="496" y="10"/>
                  </a:lnTo>
                  <a:lnTo>
                    <a:pt x="495" y="7"/>
                  </a:lnTo>
                  <a:lnTo>
                    <a:pt x="492" y="4"/>
                  </a:lnTo>
                  <a:lnTo>
                    <a:pt x="4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8" name="Group 6226">
            <a:extLst>
              <a:ext uri="{FF2B5EF4-FFF2-40B4-BE49-F238E27FC236}">
                <a16:creationId xmlns:a16="http://schemas.microsoft.com/office/drawing/2014/main" id="{EE645B66-D79F-4C45-949C-F0C47DF10A61}"/>
              </a:ext>
            </a:extLst>
          </p:cNvPr>
          <p:cNvGrpSpPr>
            <a:grpSpLocks noChangeAspect="1"/>
          </p:cNvGrpSpPr>
          <p:nvPr/>
        </p:nvGrpSpPr>
        <p:grpSpPr>
          <a:xfrm>
            <a:off x="3656216" y="2186361"/>
            <a:ext cx="294696" cy="306484"/>
            <a:chOff x="2159000" y="4090988"/>
            <a:chExt cx="357188" cy="371476"/>
          </a:xfrm>
          <a:solidFill>
            <a:schemeClr val="bg1"/>
          </a:solidFill>
          <a:effectLst/>
        </p:grpSpPr>
        <p:sp>
          <p:nvSpPr>
            <p:cNvPr id="459" name="Freeform 129">
              <a:extLst>
                <a:ext uri="{FF2B5EF4-FFF2-40B4-BE49-F238E27FC236}">
                  <a16:creationId xmlns:a16="http://schemas.microsoft.com/office/drawing/2014/main" id="{48267947-2A74-4D35-9E34-E3A21FE9CFC5}"/>
                </a:ext>
              </a:extLst>
            </p:cNvPr>
            <p:cNvSpPr>
              <a:spLocks noEditPoints="1"/>
            </p:cNvSpPr>
            <p:nvPr/>
          </p:nvSpPr>
          <p:spPr bwMode="auto">
            <a:xfrm>
              <a:off x="2159000" y="4090988"/>
              <a:ext cx="357188" cy="61913"/>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0" name="Freeform 130">
              <a:extLst>
                <a:ext uri="{FF2B5EF4-FFF2-40B4-BE49-F238E27FC236}">
                  <a16:creationId xmlns:a16="http://schemas.microsoft.com/office/drawing/2014/main" id="{D0280A84-C3D3-4DC4-A674-83489A2C85C1}"/>
                </a:ext>
              </a:extLst>
            </p:cNvPr>
            <p:cNvSpPr>
              <a:spLocks/>
            </p:cNvSpPr>
            <p:nvPr/>
          </p:nvSpPr>
          <p:spPr bwMode="auto">
            <a:xfrm>
              <a:off x="2159000" y="4354513"/>
              <a:ext cx="357188"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1" name="Freeform 131">
              <a:extLst>
                <a:ext uri="{FF2B5EF4-FFF2-40B4-BE49-F238E27FC236}">
                  <a16:creationId xmlns:a16="http://schemas.microsoft.com/office/drawing/2014/main" id="{64FAC11D-BB8F-404D-90BC-A9E1764B16EC}"/>
                </a:ext>
              </a:extLst>
            </p:cNvPr>
            <p:cNvSpPr>
              <a:spLocks noEditPoints="1"/>
            </p:cNvSpPr>
            <p:nvPr/>
          </p:nvSpPr>
          <p:spPr bwMode="auto">
            <a:xfrm>
              <a:off x="2190750" y="4137026"/>
              <a:ext cx="293688" cy="233363"/>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2" name="Rectangle 132">
              <a:extLst>
                <a:ext uri="{FF2B5EF4-FFF2-40B4-BE49-F238E27FC236}">
                  <a16:creationId xmlns:a16="http://schemas.microsoft.com/office/drawing/2014/main" id="{BD00A73F-4453-4F4D-BD86-AA0C925F2DD7}"/>
                </a:ext>
              </a:extLst>
            </p:cNvPr>
            <p:cNvSpPr>
              <a:spLocks noChangeArrowheads="1"/>
            </p:cNvSpPr>
            <p:nvPr/>
          </p:nvSpPr>
          <p:spPr bwMode="auto">
            <a:xfrm>
              <a:off x="2328863" y="4362451"/>
              <a:ext cx="158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3" name="Freeform 133">
              <a:extLst>
                <a:ext uri="{FF2B5EF4-FFF2-40B4-BE49-F238E27FC236}">
                  <a16:creationId xmlns:a16="http://schemas.microsoft.com/office/drawing/2014/main" id="{8F85AF5F-8FF7-4886-BC42-0EEF2416660D}"/>
                </a:ext>
              </a:extLst>
            </p:cNvPr>
            <p:cNvSpPr>
              <a:spLocks noEditPoints="1"/>
            </p:cNvSpPr>
            <p:nvPr/>
          </p:nvSpPr>
          <p:spPr bwMode="auto">
            <a:xfrm>
              <a:off x="2306638" y="440055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4" name="Freeform 134">
              <a:extLst>
                <a:ext uri="{FF2B5EF4-FFF2-40B4-BE49-F238E27FC236}">
                  <a16:creationId xmlns:a16="http://schemas.microsoft.com/office/drawing/2014/main" id="{6F3BEC91-FF82-4188-A891-3D6F60BE01FF}"/>
                </a:ext>
              </a:extLst>
            </p:cNvPr>
            <p:cNvSpPr>
              <a:spLocks/>
            </p:cNvSpPr>
            <p:nvPr/>
          </p:nvSpPr>
          <p:spPr bwMode="auto">
            <a:xfrm>
              <a:off x="2239963" y="4195763"/>
              <a:ext cx="182563" cy="123825"/>
            </a:xfrm>
            <a:custGeom>
              <a:avLst/>
              <a:gdLst>
                <a:gd name="T0" fmla="*/ 3 w 47"/>
                <a:gd name="T1" fmla="*/ 32 h 32"/>
                <a:gd name="T2" fmla="*/ 0 w 47"/>
                <a:gd name="T3" fmla="*/ 30 h 32"/>
                <a:gd name="T4" fmla="*/ 11 w 47"/>
                <a:gd name="T5" fmla="*/ 11 h 32"/>
                <a:gd name="T6" fmla="*/ 13 w 47"/>
                <a:gd name="T7" fmla="*/ 10 h 32"/>
                <a:gd name="T8" fmla="*/ 15 w 47"/>
                <a:gd name="T9" fmla="*/ 10 h 32"/>
                <a:gd name="T10" fmla="*/ 22 w 47"/>
                <a:gd name="T11" fmla="*/ 20 h 32"/>
                <a:gd name="T12" fmla="*/ 31 w 47"/>
                <a:gd name="T13" fmla="*/ 1 h 32"/>
                <a:gd name="T14" fmla="*/ 33 w 47"/>
                <a:gd name="T15" fmla="*/ 0 h 32"/>
                <a:gd name="T16" fmla="*/ 35 w 47"/>
                <a:gd name="T17" fmla="*/ 1 h 32"/>
                <a:gd name="T18" fmla="*/ 47 w 47"/>
                <a:gd name="T19" fmla="*/ 30 h 32"/>
                <a:gd name="T20" fmla="*/ 43 w 47"/>
                <a:gd name="T21" fmla="*/ 32 h 32"/>
                <a:gd name="T22" fmla="*/ 33 w 47"/>
                <a:gd name="T23" fmla="*/ 7 h 32"/>
                <a:gd name="T24" fmla="*/ 25 w 47"/>
                <a:gd name="T25" fmla="*/ 24 h 32"/>
                <a:gd name="T26" fmla="*/ 23 w 47"/>
                <a:gd name="T27" fmla="*/ 26 h 32"/>
                <a:gd name="T28" fmla="*/ 21 w 47"/>
                <a:gd name="T29" fmla="*/ 25 h 32"/>
                <a:gd name="T30" fmla="*/ 13 w 47"/>
                <a:gd name="T31" fmla="*/ 15 h 32"/>
                <a:gd name="T32" fmla="*/ 3 w 47"/>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32">
                  <a:moveTo>
                    <a:pt x="3" y="32"/>
                  </a:moveTo>
                  <a:cubicBezTo>
                    <a:pt x="0" y="30"/>
                    <a:pt x="0" y="30"/>
                    <a:pt x="0" y="30"/>
                  </a:cubicBezTo>
                  <a:cubicBezTo>
                    <a:pt x="11" y="11"/>
                    <a:pt x="11" y="11"/>
                    <a:pt x="11" y="11"/>
                  </a:cubicBezTo>
                  <a:cubicBezTo>
                    <a:pt x="12" y="10"/>
                    <a:pt x="12" y="10"/>
                    <a:pt x="13" y="10"/>
                  </a:cubicBezTo>
                  <a:cubicBezTo>
                    <a:pt x="13" y="10"/>
                    <a:pt x="14" y="10"/>
                    <a:pt x="15" y="10"/>
                  </a:cubicBezTo>
                  <a:cubicBezTo>
                    <a:pt x="22" y="20"/>
                    <a:pt x="22" y="20"/>
                    <a:pt x="22" y="20"/>
                  </a:cubicBezTo>
                  <a:cubicBezTo>
                    <a:pt x="31" y="1"/>
                    <a:pt x="31" y="1"/>
                    <a:pt x="31" y="1"/>
                  </a:cubicBezTo>
                  <a:cubicBezTo>
                    <a:pt x="32" y="0"/>
                    <a:pt x="32" y="0"/>
                    <a:pt x="33" y="0"/>
                  </a:cubicBezTo>
                  <a:cubicBezTo>
                    <a:pt x="34" y="0"/>
                    <a:pt x="35" y="0"/>
                    <a:pt x="35" y="1"/>
                  </a:cubicBezTo>
                  <a:cubicBezTo>
                    <a:pt x="47" y="30"/>
                    <a:pt x="47" y="30"/>
                    <a:pt x="47" y="30"/>
                  </a:cubicBezTo>
                  <a:cubicBezTo>
                    <a:pt x="43" y="32"/>
                    <a:pt x="43" y="32"/>
                    <a:pt x="43" y="32"/>
                  </a:cubicBezTo>
                  <a:cubicBezTo>
                    <a:pt x="33" y="7"/>
                    <a:pt x="33" y="7"/>
                    <a:pt x="33" y="7"/>
                  </a:cubicBezTo>
                  <a:cubicBezTo>
                    <a:pt x="25" y="24"/>
                    <a:pt x="25" y="24"/>
                    <a:pt x="25" y="24"/>
                  </a:cubicBezTo>
                  <a:cubicBezTo>
                    <a:pt x="25" y="25"/>
                    <a:pt x="24" y="26"/>
                    <a:pt x="23" y="26"/>
                  </a:cubicBezTo>
                  <a:cubicBezTo>
                    <a:pt x="23" y="26"/>
                    <a:pt x="22" y="25"/>
                    <a:pt x="21" y="25"/>
                  </a:cubicBezTo>
                  <a:cubicBezTo>
                    <a:pt x="13" y="15"/>
                    <a:pt x="13" y="15"/>
                    <a:pt x="13" y="15"/>
                  </a:cubicBezTo>
                  <a:lnTo>
                    <a:pt x="3"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5" name="Freeform 135">
              <a:extLst>
                <a:ext uri="{FF2B5EF4-FFF2-40B4-BE49-F238E27FC236}">
                  <a16:creationId xmlns:a16="http://schemas.microsoft.com/office/drawing/2014/main" id="{72528745-CDB9-4531-BC23-10892CB0612B}"/>
                </a:ext>
              </a:extLst>
            </p:cNvPr>
            <p:cNvSpPr>
              <a:spLocks/>
            </p:cNvSpPr>
            <p:nvPr/>
          </p:nvSpPr>
          <p:spPr bwMode="auto">
            <a:xfrm>
              <a:off x="2220913" y="4308476"/>
              <a:ext cx="233363" cy="14288"/>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66" name="Oval 136">
              <a:extLst>
                <a:ext uri="{FF2B5EF4-FFF2-40B4-BE49-F238E27FC236}">
                  <a16:creationId xmlns:a16="http://schemas.microsoft.com/office/drawing/2014/main" id="{C9940350-44C0-43B3-AD5E-AA6F5124C0FB}"/>
                </a:ext>
              </a:extLst>
            </p:cNvPr>
            <p:cNvSpPr>
              <a:spLocks noChangeArrowheads="1"/>
            </p:cNvSpPr>
            <p:nvPr/>
          </p:nvSpPr>
          <p:spPr bwMode="auto">
            <a:xfrm>
              <a:off x="2252663" y="4184651"/>
              <a:ext cx="30163"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67" name="Freeform 260">
            <a:extLst>
              <a:ext uri="{FF2B5EF4-FFF2-40B4-BE49-F238E27FC236}">
                <a16:creationId xmlns:a16="http://schemas.microsoft.com/office/drawing/2014/main" id="{B7F470E8-9266-4987-BB5A-8743D8AE9256}"/>
              </a:ext>
            </a:extLst>
          </p:cNvPr>
          <p:cNvSpPr>
            <a:spLocks noChangeAspect="1" noEditPoints="1"/>
          </p:cNvSpPr>
          <p:nvPr/>
        </p:nvSpPr>
        <p:spPr bwMode="auto">
          <a:xfrm>
            <a:off x="1514906" y="2186361"/>
            <a:ext cx="213491" cy="306484"/>
          </a:xfrm>
          <a:custGeom>
            <a:avLst/>
            <a:gdLst>
              <a:gd name="T0" fmla="*/ 207 w 653"/>
              <a:gd name="T1" fmla="*/ 756 h 932"/>
              <a:gd name="T2" fmla="*/ 102 w 653"/>
              <a:gd name="T3" fmla="*/ 681 h 932"/>
              <a:gd name="T4" fmla="*/ 44 w 653"/>
              <a:gd name="T5" fmla="*/ 576 h 932"/>
              <a:gd name="T6" fmla="*/ 66 w 653"/>
              <a:gd name="T7" fmla="*/ 520 h 932"/>
              <a:gd name="T8" fmla="*/ 131 w 653"/>
              <a:gd name="T9" fmla="*/ 644 h 932"/>
              <a:gd name="T10" fmla="*/ 276 w 653"/>
              <a:gd name="T11" fmla="*/ 725 h 932"/>
              <a:gd name="T12" fmla="*/ 388 w 653"/>
              <a:gd name="T13" fmla="*/ 722 h 932"/>
              <a:gd name="T14" fmla="*/ 538 w 653"/>
              <a:gd name="T15" fmla="*/ 625 h 932"/>
              <a:gd name="T16" fmla="*/ 588 w 653"/>
              <a:gd name="T17" fmla="*/ 509 h 932"/>
              <a:gd name="T18" fmla="*/ 600 w 653"/>
              <a:gd name="T19" fmla="*/ 595 h 932"/>
              <a:gd name="T20" fmla="*/ 530 w 653"/>
              <a:gd name="T21" fmla="*/ 698 h 932"/>
              <a:gd name="T22" fmla="*/ 424 w 653"/>
              <a:gd name="T23" fmla="*/ 762 h 932"/>
              <a:gd name="T24" fmla="*/ 556 w 653"/>
              <a:gd name="T25" fmla="*/ 516 h 932"/>
              <a:gd name="T26" fmla="*/ 448 w 653"/>
              <a:gd name="T27" fmla="*/ 663 h 932"/>
              <a:gd name="T28" fmla="*/ 263 w 653"/>
              <a:gd name="T29" fmla="*/ 689 h 932"/>
              <a:gd name="T30" fmla="*/ 118 w 653"/>
              <a:gd name="T31" fmla="*/ 573 h 932"/>
              <a:gd name="T32" fmla="*/ 252 w 653"/>
              <a:gd name="T33" fmla="*/ 433 h 932"/>
              <a:gd name="T34" fmla="*/ 258 w 653"/>
              <a:gd name="T35" fmla="*/ 410 h 932"/>
              <a:gd name="T36" fmla="*/ 248 w 653"/>
              <a:gd name="T37" fmla="*/ 341 h 932"/>
              <a:gd name="T38" fmla="*/ 260 w 653"/>
              <a:gd name="T39" fmla="*/ 320 h 932"/>
              <a:gd name="T40" fmla="*/ 245 w 653"/>
              <a:gd name="T41" fmla="*/ 248 h 932"/>
              <a:gd name="T42" fmla="*/ 261 w 653"/>
              <a:gd name="T43" fmla="*/ 230 h 932"/>
              <a:gd name="T44" fmla="*/ 97 w 653"/>
              <a:gd name="T45" fmla="*/ 203 h 932"/>
              <a:gd name="T46" fmla="*/ 154 w 653"/>
              <a:gd name="T47" fmla="*/ 99 h 932"/>
              <a:gd name="T48" fmla="*/ 218 w 653"/>
              <a:gd name="T49" fmla="*/ 130 h 932"/>
              <a:gd name="T50" fmla="*/ 242 w 653"/>
              <a:gd name="T51" fmla="*/ 136 h 932"/>
              <a:gd name="T52" fmla="*/ 295 w 653"/>
              <a:gd name="T53" fmla="*/ 32 h 932"/>
              <a:gd name="T54" fmla="*/ 323 w 653"/>
              <a:gd name="T55" fmla="*/ 139 h 932"/>
              <a:gd name="T56" fmla="*/ 342 w 653"/>
              <a:gd name="T57" fmla="*/ 123 h 932"/>
              <a:gd name="T58" fmla="*/ 406 w 653"/>
              <a:gd name="T59" fmla="*/ 132 h 932"/>
              <a:gd name="T60" fmla="*/ 431 w 653"/>
              <a:gd name="T61" fmla="*/ 134 h 932"/>
              <a:gd name="T62" fmla="*/ 480 w 653"/>
              <a:gd name="T63" fmla="*/ 89 h 932"/>
              <a:gd name="T64" fmla="*/ 547 w 653"/>
              <a:gd name="T65" fmla="*/ 181 h 932"/>
              <a:gd name="T66" fmla="*/ 390 w 653"/>
              <a:gd name="T67" fmla="*/ 224 h 932"/>
              <a:gd name="T68" fmla="*/ 396 w 653"/>
              <a:gd name="T69" fmla="*/ 246 h 932"/>
              <a:gd name="T70" fmla="*/ 391 w 653"/>
              <a:gd name="T71" fmla="*/ 314 h 932"/>
              <a:gd name="T72" fmla="*/ 393 w 653"/>
              <a:gd name="T73" fmla="*/ 339 h 932"/>
              <a:gd name="T74" fmla="*/ 393 w 653"/>
              <a:gd name="T75" fmla="*/ 406 h 932"/>
              <a:gd name="T76" fmla="*/ 391 w 653"/>
              <a:gd name="T77" fmla="*/ 430 h 932"/>
              <a:gd name="T78" fmla="*/ 637 w 653"/>
              <a:gd name="T79" fmla="*/ 388 h 932"/>
              <a:gd name="T80" fmla="*/ 622 w 653"/>
              <a:gd name="T81" fmla="*/ 465 h 932"/>
              <a:gd name="T82" fmla="*/ 587 w 653"/>
              <a:gd name="T83" fmla="*/ 213 h 932"/>
              <a:gd name="T84" fmla="*/ 515 w 653"/>
              <a:gd name="T85" fmla="*/ 80 h 932"/>
              <a:gd name="T86" fmla="*/ 414 w 653"/>
              <a:gd name="T87" fmla="*/ 15 h 932"/>
              <a:gd name="T88" fmla="*/ 326 w 653"/>
              <a:gd name="T89" fmla="*/ 0 h 932"/>
              <a:gd name="T90" fmla="*/ 227 w 653"/>
              <a:gd name="T91" fmla="*/ 16 h 932"/>
              <a:gd name="T92" fmla="*/ 113 w 653"/>
              <a:gd name="T93" fmla="*/ 99 h 932"/>
              <a:gd name="T94" fmla="*/ 63 w 653"/>
              <a:gd name="T95" fmla="*/ 231 h 932"/>
              <a:gd name="T96" fmla="*/ 31 w 653"/>
              <a:gd name="T97" fmla="*/ 400 h 932"/>
              <a:gd name="T98" fmla="*/ 10 w 653"/>
              <a:gd name="T99" fmla="*/ 389 h 932"/>
              <a:gd name="T100" fmla="*/ 1 w 653"/>
              <a:gd name="T101" fmla="*/ 513 h 932"/>
              <a:gd name="T102" fmla="*/ 41 w 653"/>
              <a:gd name="T103" fmla="*/ 649 h 932"/>
              <a:gd name="T104" fmla="*/ 136 w 653"/>
              <a:gd name="T105" fmla="*/ 752 h 932"/>
              <a:gd name="T106" fmla="*/ 264 w 653"/>
              <a:gd name="T107" fmla="*/ 804 h 932"/>
              <a:gd name="T108" fmla="*/ 391 w 653"/>
              <a:gd name="T109" fmla="*/ 803 h 932"/>
              <a:gd name="T110" fmla="*/ 517 w 653"/>
              <a:gd name="T111" fmla="*/ 749 h 932"/>
              <a:gd name="T112" fmla="*/ 608 w 653"/>
              <a:gd name="T113" fmla="*/ 648 h 932"/>
              <a:gd name="T114" fmla="*/ 652 w 653"/>
              <a:gd name="T115" fmla="*/ 514 h 932"/>
              <a:gd name="T116" fmla="*/ 643 w 653"/>
              <a:gd name="T117" fmla="*/ 389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932">
                <a:moveTo>
                  <a:pt x="324" y="779"/>
                </a:moveTo>
                <a:lnTo>
                  <a:pt x="308" y="779"/>
                </a:lnTo>
                <a:lnTo>
                  <a:pt x="293" y="778"/>
                </a:lnTo>
                <a:lnTo>
                  <a:pt x="278" y="775"/>
                </a:lnTo>
                <a:lnTo>
                  <a:pt x="264" y="773"/>
                </a:lnTo>
                <a:lnTo>
                  <a:pt x="250" y="770"/>
                </a:lnTo>
                <a:lnTo>
                  <a:pt x="235" y="766"/>
                </a:lnTo>
                <a:lnTo>
                  <a:pt x="221" y="762"/>
                </a:lnTo>
                <a:lnTo>
                  <a:pt x="207" y="756"/>
                </a:lnTo>
                <a:lnTo>
                  <a:pt x="194" y="750"/>
                </a:lnTo>
                <a:lnTo>
                  <a:pt x="181" y="743"/>
                </a:lnTo>
                <a:lnTo>
                  <a:pt x="168" y="736"/>
                </a:lnTo>
                <a:lnTo>
                  <a:pt x="156" y="729"/>
                </a:lnTo>
                <a:lnTo>
                  <a:pt x="144" y="720"/>
                </a:lnTo>
                <a:lnTo>
                  <a:pt x="133" y="711"/>
                </a:lnTo>
                <a:lnTo>
                  <a:pt x="122" y="701"/>
                </a:lnTo>
                <a:lnTo>
                  <a:pt x="111" y="691"/>
                </a:lnTo>
                <a:lnTo>
                  <a:pt x="102" y="681"/>
                </a:lnTo>
                <a:lnTo>
                  <a:pt x="93" y="671"/>
                </a:lnTo>
                <a:lnTo>
                  <a:pt x="85" y="660"/>
                </a:lnTo>
                <a:lnTo>
                  <a:pt x="77" y="649"/>
                </a:lnTo>
                <a:lnTo>
                  <a:pt x="71" y="638"/>
                </a:lnTo>
                <a:lnTo>
                  <a:pt x="64" y="625"/>
                </a:lnTo>
                <a:lnTo>
                  <a:pt x="58" y="614"/>
                </a:lnTo>
                <a:lnTo>
                  <a:pt x="53" y="602"/>
                </a:lnTo>
                <a:lnTo>
                  <a:pt x="48" y="590"/>
                </a:lnTo>
                <a:lnTo>
                  <a:pt x="44" y="576"/>
                </a:lnTo>
                <a:lnTo>
                  <a:pt x="41" y="564"/>
                </a:lnTo>
                <a:lnTo>
                  <a:pt x="37" y="551"/>
                </a:lnTo>
                <a:lnTo>
                  <a:pt x="35" y="538"/>
                </a:lnTo>
                <a:lnTo>
                  <a:pt x="33" y="524"/>
                </a:lnTo>
                <a:lnTo>
                  <a:pt x="32" y="511"/>
                </a:lnTo>
                <a:lnTo>
                  <a:pt x="32" y="496"/>
                </a:lnTo>
                <a:lnTo>
                  <a:pt x="63" y="496"/>
                </a:lnTo>
                <a:lnTo>
                  <a:pt x="64" y="509"/>
                </a:lnTo>
                <a:lnTo>
                  <a:pt x="66" y="520"/>
                </a:lnTo>
                <a:lnTo>
                  <a:pt x="68" y="531"/>
                </a:lnTo>
                <a:lnTo>
                  <a:pt x="72" y="543"/>
                </a:lnTo>
                <a:lnTo>
                  <a:pt x="75" y="554"/>
                </a:lnTo>
                <a:lnTo>
                  <a:pt x="80" y="565"/>
                </a:lnTo>
                <a:lnTo>
                  <a:pt x="84" y="575"/>
                </a:lnTo>
                <a:lnTo>
                  <a:pt x="90" y="586"/>
                </a:lnTo>
                <a:lnTo>
                  <a:pt x="101" y="606"/>
                </a:lnTo>
                <a:lnTo>
                  <a:pt x="115" y="625"/>
                </a:lnTo>
                <a:lnTo>
                  <a:pt x="131" y="644"/>
                </a:lnTo>
                <a:lnTo>
                  <a:pt x="147" y="661"/>
                </a:lnTo>
                <a:lnTo>
                  <a:pt x="166" y="675"/>
                </a:lnTo>
                <a:lnTo>
                  <a:pt x="186" y="689"/>
                </a:lnTo>
                <a:lnTo>
                  <a:pt x="207" y="701"/>
                </a:lnTo>
                <a:lnTo>
                  <a:pt x="230" y="711"/>
                </a:lnTo>
                <a:lnTo>
                  <a:pt x="241" y="715"/>
                </a:lnTo>
                <a:lnTo>
                  <a:pt x="253" y="719"/>
                </a:lnTo>
                <a:lnTo>
                  <a:pt x="265" y="722"/>
                </a:lnTo>
                <a:lnTo>
                  <a:pt x="276" y="725"/>
                </a:lnTo>
                <a:lnTo>
                  <a:pt x="288" y="726"/>
                </a:lnTo>
                <a:lnTo>
                  <a:pt x="302" y="729"/>
                </a:lnTo>
                <a:lnTo>
                  <a:pt x="314" y="730"/>
                </a:lnTo>
                <a:lnTo>
                  <a:pt x="326" y="730"/>
                </a:lnTo>
                <a:lnTo>
                  <a:pt x="340" y="730"/>
                </a:lnTo>
                <a:lnTo>
                  <a:pt x="352" y="729"/>
                </a:lnTo>
                <a:lnTo>
                  <a:pt x="364" y="726"/>
                </a:lnTo>
                <a:lnTo>
                  <a:pt x="376" y="725"/>
                </a:lnTo>
                <a:lnTo>
                  <a:pt x="388" y="722"/>
                </a:lnTo>
                <a:lnTo>
                  <a:pt x="401" y="719"/>
                </a:lnTo>
                <a:lnTo>
                  <a:pt x="412" y="715"/>
                </a:lnTo>
                <a:lnTo>
                  <a:pt x="423" y="711"/>
                </a:lnTo>
                <a:lnTo>
                  <a:pt x="445" y="701"/>
                </a:lnTo>
                <a:lnTo>
                  <a:pt x="466" y="689"/>
                </a:lnTo>
                <a:lnTo>
                  <a:pt x="486" y="675"/>
                </a:lnTo>
                <a:lnTo>
                  <a:pt x="505" y="661"/>
                </a:lnTo>
                <a:lnTo>
                  <a:pt x="523" y="644"/>
                </a:lnTo>
                <a:lnTo>
                  <a:pt x="538" y="625"/>
                </a:lnTo>
                <a:lnTo>
                  <a:pt x="552" y="606"/>
                </a:lnTo>
                <a:lnTo>
                  <a:pt x="564" y="586"/>
                </a:lnTo>
                <a:lnTo>
                  <a:pt x="568" y="575"/>
                </a:lnTo>
                <a:lnTo>
                  <a:pt x="574" y="565"/>
                </a:lnTo>
                <a:lnTo>
                  <a:pt x="577" y="554"/>
                </a:lnTo>
                <a:lnTo>
                  <a:pt x="582" y="543"/>
                </a:lnTo>
                <a:lnTo>
                  <a:pt x="584" y="532"/>
                </a:lnTo>
                <a:lnTo>
                  <a:pt x="586" y="520"/>
                </a:lnTo>
                <a:lnTo>
                  <a:pt x="588" y="509"/>
                </a:lnTo>
                <a:lnTo>
                  <a:pt x="590" y="496"/>
                </a:lnTo>
                <a:lnTo>
                  <a:pt x="621" y="496"/>
                </a:lnTo>
                <a:lnTo>
                  <a:pt x="620" y="511"/>
                </a:lnTo>
                <a:lnTo>
                  <a:pt x="618" y="526"/>
                </a:lnTo>
                <a:lnTo>
                  <a:pt x="615" y="541"/>
                </a:lnTo>
                <a:lnTo>
                  <a:pt x="613" y="554"/>
                </a:lnTo>
                <a:lnTo>
                  <a:pt x="608" y="569"/>
                </a:lnTo>
                <a:lnTo>
                  <a:pt x="604" y="582"/>
                </a:lnTo>
                <a:lnTo>
                  <a:pt x="600" y="595"/>
                </a:lnTo>
                <a:lnTo>
                  <a:pt x="594" y="608"/>
                </a:lnTo>
                <a:lnTo>
                  <a:pt x="587" y="621"/>
                </a:lnTo>
                <a:lnTo>
                  <a:pt x="581" y="633"/>
                </a:lnTo>
                <a:lnTo>
                  <a:pt x="574" y="644"/>
                </a:lnTo>
                <a:lnTo>
                  <a:pt x="566" y="656"/>
                </a:lnTo>
                <a:lnTo>
                  <a:pt x="557" y="668"/>
                </a:lnTo>
                <a:lnTo>
                  <a:pt x="550" y="678"/>
                </a:lnTo>
                <a:lnTo>
                  <a:pt x="540" y="688"/>
                </a:lnTo>
                <a:lnTo>
                  <a:pt x="530" y="698"/>
                </a:lnTo>
                <a:lnTo>
                  <a:pt x="520" y="706"/>
                </a:lnTo>
                <a:lnTo>
                  <a:pt x="510" y="715"/>
                </a:lnTo>
                <a:lnTo>
                  <a:pt x="498" y="724"/>
                </a:lnTo>
                <a:lnTo>
                  <a:pt x="487" y="732"/>
                </a:lnTo>
                <a:lnTo>
                  <a:pt x="475" y="739"/>
                </a:lnTo>
                <a:lnTo>
                  <a:pt x="463" y="745"/>
                </a:lnTo>
                <a:lnTo>
                  <a:pt x="451" y="752"/>
                </a:lnTo>
                <a:lnTo>
                  <a:pt x="437" y="758"/>
                </a:lnTo>
                <a:lnTo>
                  <a:pt x="424" y="762"/>
                </a:lnTo>
                <a:lnTo>
                  <a:pt x="411" y="766"/>
                </a:lnTo>
                <a:lnTo>
                  <a:pt x="396" y="770"/>
                </a:lnTo>
                <a:lnTo>
                  <a:pt x="383" y="773"/>
                </a:lnTo>
                <a:lnTo>
                  <a:pt x="368" y="775"/>
                </a:lnTo>
                <a:lnTo>
                  <a:pt x="354" y="778"/>
                </a:lnTo>
                <a:lnTo>
                  <a:pt x="338" y="779"/>
                </a:lnTo>
                <a:lnTo>
                  <a:pt x="324" y="779"/>
                </a:lnTo>
                <a:close/>
                <a:moveTo>
                  <a:pt x="558" y="496"/>
                </a:moveTo>
                <a:lnTo>
                  <a:pt x="556" y="516"/>
                </a:lnTo>
                <a:lnTo>
                  <a:pt x="551" y="536"/>
                </a:lnTo>
                <a:lnTo>
                  <a:pt x="544" y="555"/>
                </a:lnTo>
                <a:lnTo>
                  <a:pt x="535" y="573"/>
                </a:lnTo>
                <a:lnTo>
                  <a:pt x="524" y="591"/>
                </a:lnTo>
                <a:lnTo>
                  <a:pt x="512" y="608"/>
                </a:lnTo>
                <a:lnTo>
                  <a:pt x="497" y="623"/>
                </a:lnTo>
                <a:lnTo>
                  <a:pt x="483" y="638"/>
                </a:lnTo>
                <a:lnTo>
                  <a:pt x="466" y="651"/>
                </a:lnTo>
                <a:lnTo>
                  <a:pt x="448" y="663"/>
                </a:lnTo>
                <a:lnTo>
                  <a:pt x="430" y="673"/>
                </a:lnTo>
                <a:lnTo>
                  <a:pt x="411" y="682"/>
                </a:lnTo>
                <a:lnTo>
                  <a:pt x="391" y="690"/>
                </a:lnTo>
                <a:lnTo>
                  <a:pt x="370" y="694"/>
                </a:lnTo>
                <a:lnTo>
                  <a:pt x="348" y="698"/>
                </a:lnTo>
                <a:lnTo>
                  <a:pt x="326" y="699"/>
                </a:lnTo>
                <a:lnTo>
                  <a:pt x="305" y="698"/>
                </a:lnTo>
                <a:lnTo>
                  <a:pt x="283" y="694"/>
                </a:lnTo>
                <a:lnTo>
                  <a:pt x="263" y="689"/>
                </a:lnTo>
                <a:lnTo>
                  <a:pt x="243" y="682"/>
                </a:lnTo>
                <a:lnTo>
                  <a:pt x="223" y="673"/>
                </a:lnTo>
                <a:lnTo>
                  <a:pt x="204" y="663"/>
                </a:lnTo>
                <a:lnTo>
                  <a:pt x="186" y="651"/>
                </a:lnTo>
                <a:lnTo>
                  <a:pt x="171" y="638"/>
                </a:lnTo>
                <a:lnTo>
                  <a:pt x="155" y="623"/>
                </a:lnTo>
                <a:lnTo>
                  <a:pt x="141" y="608"/>
                </a:lnTo>
                <a:lnTo>
                  <a:pt x="128" y="591"/>
                </a:lnTo>
                <a:lnTo>
                  <a:pt x="118" y="573"/>
                </a:lnTo>
                <a:lnTo>
                  <a:pt x="110" y="555"/>
                </a:lnTo>
                <a:lnTo>
                  <a:pt x="102" y="536"/>
                </a:lnTo>
                <a:lnTo>
                  <a:pt x="97" y="516"/>
                </a:lnTo>
                <a:lnTo>
                  <a:pt x="94" y="496"/>
                </a:lnTo>
                <a:lnTo>
                  <a:pt x="558" y="496"/>
                </a:lnTo>
                <a:close/>
                <a:moveTo>
                  <a:pt x="93" y="434"/>
                </a:moveTo>
                <a:lnTo>
                  <a:pt x="245" y="434"/>
                </a:lnTo>
                <a:lnTo>
                  <a:pt x="248" y="434"/>
                </a:lnTo>
                <a:lnTo>
                  <a:pt x="252" y="433"/>
                </a:lnTo>
                <a:lnTo>
                  <a:pt x="254" y="432"/>
                </a:lnTo>
                <a:lnTo>
                  <a:pt x="256" y="430"/>
                </a:lnTo>
                <a:lnTo>
                  <a:pt x="258" y="428"/>
                </a:lnTo>
                <a:lnTo>
                  <a:pt x="260" y="425"/>
                </a:lnTo>
                <a:lnTo>
                  <a:pt x="261" y="422"/>
                </a:lnTo>
                <a:lnTo>
                  <a:pt x="261" y="419"/>
                </a:lnTo>
                <a:lnTo>
                  <a:pt x="261" y="415"/>
                </a:lnTo>
                <a:lnTo>
                  <a:pt x="260" y="413"/>
                </a:lnTo>
                <a:lnTo>
                  <a:pt x="258" y="410"/>
                </a:lnTo>
                <a:lnTo>
                  <a:pt x="256" y="408"/>
                </a:lnTo>
                <a:lnTo>
                  <a:pt x="254" y="406"/>
                </a:lnTo>
                <a:lnTo>
                  <a:pt x="252" y="404"/>
                </a:lnTo>
                <a:lnTo>
                  <a:pt x="248" y="404"/>
                </a:lnTo>
                <a:lnTo>
                  <a:pt x="245" y="403"/>
                </a:lnTo>
                <a:lnTo>
                  <a:pt x="93" y="403"/>
                </a:lnTo>
                <a:lnTo>
                  <a:pt x="93" y="341"/>
                </a:lnTo>
                <a:lnTo>
                  <a:pt x="245" y="341"/>
                </a:lnTo>
                <a:lnTo>
                  <a:pt x="248" y="341"/>
                </a:lnTo>
                <a:lnTo>
                  <a:pt x="252" y="340"/>
                </a:lnTo>
                <a:lnTo>
                  <a:pt x="254" y="339"/>
                </a:lnTo>
                <a:lnTo>
                  <a:pt x="256" y="336"/>
                </a:lnTo>
                <a:lnTo>
                  <a:pt x="258" y="334"/>
                </a:lnTo>
                <a:lnTo>
                  <a:pt x="260" y="332"/>
                </a:lnTo>
                <a:lnTo>
                  <a:pt x="261" y="329"/>
                </a:lnTo>
                <a:lnTo>
                  <a:pt x="261" y="325"/>
                </a:lnTo>
                <a:lnTo>
                  <a:pt x="261" y="322"/>
                </a:lnTo>
                <a:lnTo>
                  <a:pt x="260" y="320"/>
                </a:lnTo>
                <a:lnTo>
                  <a:pt x="258" y="316"/>
                </a:lnTo>
                <a:lnTo>
                  <a:pt x="256" y="314"/>
                </a:lnTo>
                <a:lnTo>
                  <a:pt x="254" y="313"/>
                </a:lnTo>
                <a:lnTo>
                  <a:pt x="252" y="311"/>
                </a:lnTo>
                <a:lnTo>
                  <a:pt x="248" y="311"/>
                </a:lnTo>
                <a:lnTo>
                  <a:pt x="245" y="310"/>
                </a:lnTo>
                <a:lnTo>
                  <a:pt x="93" y="310"/>
                </a:lnTo>
                <a:lnTo>
                  <a:pt x="93" y="248"/>
                </a:lnTo>
                <a:lnTo>
                  <a:pt x="245" y="248"/>
                </a:lnTo>
                <a:lnTo>
                  <a:pt x="248" y="248"/>
                </a:lnTo>
                <a:lnTo>
                  <a:pt x="252" y="246"/>
                </a:lnTo>
                <a:lnTo>
                  <a:pt x="254" y="245"/>
                </a:lnTo>
                <a:lnTo>
                  <a:pt x="256" y="243"/>
                </a:lnTo>
                <a:lnTo>
                  <a:pt x="258" y="241"/>
                </a:lnTo>
                <a:lnTo>
                  <a:pt x="260" y="239"/>
                </a:lnTo>
                <a:lnTo>
                  <a:pt x="261" y="235"/>
                </a:lnTo>
                <a:lnTo>
                  <a:pt x="261" y="232"/>
                </a:lnTo>
                <a:lnTo>
                  <a:pt x="261" y="230"/>
                </a:lnTo>
                <a:lnTo>
                  <a:pt x="260" y="226"/>
                </a:lnTo>
                <a:lnTo>
                  <a:pt x="258" y="224"/>
                </a:lnTo>
                <a:lnTo>
                  <a:pt x="256" y="221"/>
                </a:lnTo>
                <a:lnTo>
                  <a:pt x="254" y="220"/>
                </a:lnTo>
                <a:lnTo>
                  <a:pt x="252" y="218"/>
                </a:lnTo>
                <a:lnTo>
                  <a:pt x="248" y="218"/>
                </a:lnTo>
                <a:lnTo>
                  <a:pt x="245" y="216"/>
                </a:lnTo>
                <a:lnTo>
                  <a:pt x="95" y="216"/>
                </a:lnTo>
                <a:lnTo>
                  <a:pt x="97" y="203"/>
                </a:lnTo>
                <a:lnTo>
                  <a:pt x="101" y="189"/>
                </a:lnTo>
                <a:lnTo>
                  <a:pt x="105" y="175"/>
                </a:lnTo>
                <a:lnTo>
                  <a:pt x="110" y="163"/>
                </a:lnTo>
                <a:lnTo>
                  <a:pt x="115" y="151"/>
                </a:lnTo>
                <a:lnTo>
                  <a:pt x="122" y="140"/>
                </a:lnTo>
                <a:lnTo>
                  <a:pt x="130" y="129"/>
                </a:lnTo>
                <a:lnTo>
                  <a:pt x="137" y="118"/>
                </a:lnTo>
                <a:lnTo>
                  <a:pt x="145" y="108"/>
                </a:lnTo>
                <a:lnTo>
                  <a:pt x="154" y="99"/>
                </a:lnTo>
                <a:lnTo>
                  <a:pt x="164" y="90"/>
                </a:lnTo>
                <a:lnTo>
                  <a:pt x="174" y="82"/>
                </a:lnTo>
                <a:lnTo>
                  <a:pt x="184" y="74"/>
                </a:lnTo>
                <a:lnTo>
                  <a:pt x="195" y="66"/>
                </a:lnTo>
                <a:lnTo>
                  <a:pt x="206" y="60"/>
                </a:lnTo>
                <a:lnTo>
                  <a:pt x="217" y="54"/>
                </a:lnTo>
                <a:lnTo>
                  <a:pt x="217" y="123"/>
                </a:lnTo>
                <a:lnTo>
                  <a:pt x="218" y="126"/>
                </a:lnTo>
                <a:lnTo>
                  <a:pt x="218" y="130"/>
                </a:lnTo>
                <a:lnTo>
                  <a:pt x="221" y="132"/>
                </a:lnTo>
                <a:lnTo>
                  <a:pt x="222" y="134"/>
                </a:lnTo>
                <a:lnTo>
                  <a:pt x="224" y="136"/>
                </a:lnTo>
                <a:lnTo>
                  <a:pt x="227" y="138"/>
                </a:lnTo>
                <a:lnTo>
                  <a:pt x="230" y="139"/>
                </a:lnTo>
                <a:lnTo>
                  <a:pt x="233" y="139"/>
                </a:lnTo>
                <a:lnTo>
                  <a:pt x="236" y="139"/>
                </a:lnTo>
                <a:lnTo>
                  <a:pt x="240" y="138"/>
                </a:lnTo>
                <a:lnTo>
                  <a:pt x="242" y="136"/>
                </a:lnTo>
                <a:lnTo>
                  <a:pt x="244" y="134"/>
                </a:lnTo>
                <a:lnTo>
                  <a:pt x="246" y="132"/>
                </a:lnTo>
                <a:lnTo>
                  <a:pt x="247" y="130"/>
                </a:lnTo>
                <a:lnTo>
                  <a:pt x="248" y="126"/>
                </a:lnTo>
                <a:lnTo>
                  <a:pt x="248" y="123"/>
                </a:lnTo>
                <a:lnTo>
                  <a:pt x="248" y="42"/>
                </a:lnTo>
                <a:lnTo>
                  <a:pt x="264" y="38"/>
                </a:lnTo>
                <a:lnTo>
                  <a:pt x="280" y="34"/>
                </a:lnTo>
                <a:lnTo>
                  <a:pt x="295" y="32"/>
                </a:lnTo>
                <a:lnTo>
                  <a:pt x="311" y="31"/>
                </a:lnTo>
                <a:lnTo>
                  <a:pt x="311" y="123"/>
                </a:lnTo>
                <a:lnTo>
                  <a:pt x="311" y="126"/>
                </a:lnTo>
                <a:lnTo>
                  <a:pt x="312" y="130"/>
                </a:lnTo>
                <a:lnTo>
                  <a:pt x="314" y="132"/>
                </a:lnTo>
                <a:lnTo>
                  <a:pt x="315" y="134"/>
                </a:lnTo>
                <a:lnTo>
                  <a:pt x="317" y="136"/>
                </a:lnTo>
                <a:lnTo>
                  <a:pt x="321" y="138"/>
                </a:lnTo>
                <a:lnTo>
                  <a:pt x="323" y="139"/>
                </a:lnTo>
                <a:lnTo>
                  <a:pt x="326" y="139"/>
                </a:lnTo>
                <a:lnTo>
                  <a:pt x="330" y="139"/>
                </a:lnTo>
                <a:lnTo>
                  <a:pt x="333" y="138"/>
                </a:lnTo>
                <a:lnTo>
                  <a:pt x="335" y="136"/>
                </a:lnTo>
                <a:lnTo>
                  <a:pt x="337" y="134"/>
                </a:lnTo>
                <a:lnTo>
                  <a:pt x="340" y="132"/>
                </a:lnTo>
                <a:lnTo>
                  <a:pt x="341" y="130"/>
                </a:lnTo>
                <a:lnTo>
                  <a:pt x="342" y="126"/>
                </a:lnTo>
                <a:lnTo>
                  <a:pt x="342" y="123"/>
                </a:lnTo>
                <a:lnTo>
                  <a:pt x="342" y="31"/>
                </a:lnTo>
                <a:lnTo>
                  <a:pt x="358" y="33"/>
                </a:lnTo>
                <a:lnTo>
                  <a:pt x="374" y="36"/>
                </a:lnTo>
                <a:lnTo>
                  <a:pt x="390" y="40"/>
                </a:lnTo>
                <a:lnTo>
                  <a:pt x="404" y="45"/>
                </a:lnTo>
                <a:lnTo>
                  <a:pt x="404" y="123"/>
                </a:lnTo>
                <a:lnTo>
                  <a:pt x="404" y="126"/>
                </a:lnTo>
                <a:lnTo>
                  <a:pt x="405" y="130"/>
                </a:lnTo>
                <a:lnTo>
                  <a:pt x="406" y="132"/>
                </a:lnTo>
                <a:lnTo>
                  <a:pt x="408" y="134"/>
                </a:lnTo>
                <a:lnTo>
                  <a:pt x="411" y="136"/>
                </a:lnTo>
                <a:lnTo>
                  <a:pt x="414" y="138"/>
                </a:lnTo>
                <a:lnTo>
                  <a:pt x="416" y="139"/>
                </a:lnTo>
                <a:lnTo>
                  <a:pt x="420" y="139"/>
                </a:lnTo>
                <a:lnTo>
                  <a:pt x="423" y="139"/>
                </a:lnTo>
                <a:lnTo>
                  <a:pt x="426" y="138"/>
                </a:lnTo>
                <a:lnTo>
                  <a:pt x="428" y="136"/>
                </a:lnTo>
                <a:lnTo>
                  <a:pt x="431" y="134"/>
                </a:lnTo>
                <a:lnTo>
                  <a:pt x="433" y="132"/>
                </a:lnTo>
                <a:lnTo>
                  <a:pt x="434" y="130"/>
                </a:lnTo>
                <a:lnTo>
                  <a:pt x="435" y="126"/>
                </a:lnTo>
                <a:lnTo>
                  <a:pt x="435" y="123"/>
                </a:lnTo>
                <a:lnTo>
                  <a:pt x="435" y="59"/>
                </a:lnTo>
                <a:lnTo>
                  <a:pt x="447" y="65"/>
                </a:lnTo>
                <a:lnTo>
                  <a:pt x="458" y="72"/>
                </a:lnTo>
                <a:lnTo>
                  <a:pt x="468" y="80"/>
                </a:lnTo>
                <a:lnTo>
                  <a:pt x="480" y="89"/>
                </a:lnTo>
                <a:lnTo>
                  <a:pt x="490" y="98"/>
                </a:lnTo>
                <a:lnTo>
                  <a:pt x="498" y="106"/>
                </a:lnTo>
                <a:lnTo>
                  <a:pt x="507" y="115"/>
                </a:lnTo>
                <a:lnTo>
                  <a:pt x="515" y="125"/>
                </a:lnTo>
                <a:lnTo>
                  <a:pt x="523" y="136"/>
                </a:lnTo>
                <a:lnTo>
                  <a:pt x="530" y="146"/>
                </a:lnTo>
                <a:lnTo>
                  <a:pt x="536" y="158"/>
                </a:lnTo>
                <a:lnTo>
                  <a:pt x="542" y="169"/>
                </a:lnTo>
                <a:lnTo>
                  <a:pt x="547" y="181"/>
                </a:lnTo>
                <a:lnTo>
                  <a:pt x="551" y="193"/>
                </a:lnTo>
                <a:lnTo>
                  <a:pt x="554" y="204"/>
                </a:lnTo>
                <a:lnTo>
                  <a:pt x="557" y="216"/>
                </a:lnTo>
                <a:lnTo>
                  <a:pt x="402" y="216"/>
                </a:lnTo>
                <a:lnTo>
                  <a:pt x="398" y="218"/>
                </a:lnTo>
                <a:lnTo>
                  <a:pt x="396" y="218"/>
                </a:lnTo>
                <a:lnTo>
                  <a:pt x="393" y="220"/>
                </a:lnTo>
                <a:lnTo>
                  <a:pt x="391" y="221"/>
                </a:lnTo>
                <a:lnTo>
                  <a:pt x="390" y="224"/>
                </a:lnTo>
                <a:lnTo>
                  <a:pt x="387" y="226"/>
                </a:lnTo>
                <a:lnTo>
                  <a:pt x="387" y="230"/>
                </a:lnTo>
                <a:lnTo>
                  <a:pt x="386" y="232"/>
                </a:lnTo>
                <a:lnTo>
                  <a:pt x="387" y="235"/>
                </a:lnTo>
                <a:lnTo>
                  <a:pt x="387" y="239"/>
                </a:lnTo>
                <a:lnTo>
                  <a:pt x="390" y="241"/>
                </a:lnTo>
                <a:lnTo>
                  <a:pt x="391" y="243"/>
                </a:lnTo>
                <a:lnTo>
                  <a:pt x="393" y="245"/>
                </a:lnTo>
                <a:lnTo>
                  <a:pt x="396" y="246"/>
                </a:lnTo>
                <a:lnTo>
                  <a:pt x="398" y="248"/>
                </a:lnTo>
                <a:lnTo>
                  <a:pt x="402" y="248"/>
                </a:lnTo>
                <a:lnTo>
                  <a:pt x="560" y="248"/>
                </a:lnTo>
                <a:lnTo>
                  <a:pt x="560" y="310"/>
                </a:lnTo>
                <a:lnTo>
                  <a:pt x="402" y="310"/>
                </a:lnTo>
                <a:lnTo>
                  <a:pt x="398" y="311"/>
                </a:lnTo>
                <a:lnTo>
                  <a:pt x="396" y="311"/>
                </a:lnTo>
                <a:lnTo>
                  <a:pt x="393" y="313"/>
                </a:lnTo>
                <a:lnTo>
                  <a:pt x="391" y="314"/>
                </a:lnTo>
                <a:lnTo>
                  <a:pt x="390" y="316"/>
                </a:lnTo>
                <a:lnTo>
                  <a:pt x="387" y="320"/>
                </a:lnTo>
                <a:lnTo>
                  <a:pt x="387" y="322"/>
                </a:lnTo>
                <a:lnTo>
                  <a:pt x="386" y="325"/>
                </a:lnTo>
                <a:lnTo>
                  <a:pt x="387" y="329"/>
                </a:lnTo>
                <a:lnTo>
                  <a:pt x="387" y="332"/>
                </a:lnTo>
                <a:lnTo>
                  <a:pt x="390" y="334"/>
                </a:lnTo>
                <a:lnTo>
                  <a:pt x="391" y="336"/>
                </a:lnTo>
                <a:lnTo>
                  <a:pt x="393" y="339"/>
                </a:lnTo>
                <a:lnTo>
                  <a:pt x="396" y="340"/>
                </a:lnTo>
                <a:lnTo>
                  <a:pt x="398" y="341"/>
                </a:lnTo>
                <a:lnTo>
                  <a:pt x="402" y="341"/>
                </a:lnTo>
                <a:lnTo>
                  <a:pt x="560" y="341"/>
                </a:lnTo>
                <a:lnTo>
                  <a:pt x="560" y="403"/>
                </a:lnTo>
                <a:lnTo>
                  <a:pt x="402" y="403"/>
                </a:lnTo>
                <a:lnTo>
                  <a:pt x="398" y="403"/>
                </a:lnTo>
                <a:lnTo>
                  <a:pt x="396" y="404"/>
                </a:lnTo>
                <a:lnTo>
                  <a:pt x="393" y="406"/>
                </a:lnTo>
                <a:lnTo>
                  <a:pt x="391" y="408"/>
                </a:lnTo>
                <a:lnTo>
                  <a:pt x="390" y="410"/>
                </a:lnTo>
                <a:lnTo>
                  <a:pt x="387" y="413"/>
                </a:lnTo>
                <a:lnTo>
                  <a:pt x="387" y="415"/>
                </a:lnTo>
                <a:lnTo>
                  <a:pt x="386" y="419"/>
                </a:lnTo>
                <a:lnTo>
                  <a:pt x="387" y="422"/>
                </a:lnTo>
                <a:lnTo>
                  <a:pt x="387" y="425"/>
                </a:lnTo>
                <a:lnTo>
                  <a:pt x="390" y="428"/>
                </a:lnTo>
                <a:lnTo>
                  <a:pt x="391" y="430"/>
                </a:lnTo>
                <a:lnTo>
                  <a:pt x="393" y="432"/>
                </a:lnTo>
                <a:lnTo>
                  <a:pt x="396" y="433"/>
                </a:lnTo>
                <a:lnTo>
                  <a:pt x="398" y="434"/>
                </a:lnTo>
                <a:lnTo>
                  <a:pt x="402" y="434"/>
                </a:lnTo>
                <a:lnTo>
                  <a:pt x="560" y="434"/>
                </a:lnTo>
                <a:lnTo>
                  <a:pt x="560" y="465"/>
                </a:lnTo>
                <a:lnTo>
                  <a:pt x="93" y="465"/>
                </a:lnTo>
                <a:lnTo>
                  <a:pt x="93" y="434"/>
                </a:lnTo>
                <a:close/>
                <a:moveTo>
                  <a:pt x="637" y="388"/>
                </a:moveTo>
                <a:lnTo>
                  <a:pt x="634" y="388"/>
                </a:lnTo>
                <a:lnTo>
                  <a:pt x="631" y="389"/>
                </a:lnTo>
                <a:lnTo>
                  <a:pt x="628" y="391"/>
                </a:lnTo>
                <a:lnTo>
                  <a:pt x="626" y="392"/>
                </a:lnTo>
                <a:lnTo>
                  <a:pt x="624" y="394"/>
                </a:lnTo>
                <a:lnTo>
                  <a:pt x="623" y="398"/>
                </a:lnTo>
                <a:lnTo>
                  <a:pt x="622" y="400"/>
                </a:lnTo>
                <a:lnTo>
                  <a:pt x="622" y="403"/>
                </a:lnTo>
                <a:lnTo>
                  <a:pt x="622" y="465"/>
                </a:lnTo>
                <a:lnTo>
                  <a:pt x="591" y="465"/>
                </a:lnTo>
                <a:lnTo>
                  <a:pt x="591" y="245"/>
                </a:lnTo>
                <a:lnTo>
                  <a:pt x="591" y="240"/>
                </a:lnTo>
                <a:lnTo>
                  <a:pt x="590" y="234"/>
                </a:lnTo>
                <a:lnTo>
                  <a:pt x="590" y="233"/>
                </a:lnTo>
                <a:lnTo>
                  <a:pt x="591" y="232"/>
                </a:lnTo>
                <a:lnTo>
                  <a:pt x="590" y="231"/>
                </a:lnTo>
                <a:lnTo>
                  <a:pt x="590" y="230"/>
                </a:lnTo>
                <a:lnTo>
                  <a:pt x="587" y="213"/>
                </a:lnTo>
                <a:lnTo>
                  <a:pt x="584" y="196"/>
                </a:lnTo>
                <a:lnTo>
                  <a:pt x="580" y="180"/>
                </a:lnTo>
                <a:lnTo>
                  <a:pt x="573" y="164"/>
                </a:lnTo>
                <a:lnTo>
                  <a:pt x="566" y="149"/>
                </a:lnTo>
                <a:lnTo>
                  <a:pt x="558" y="133"/>
                </a:lnTo>
                <a:lnTo>
                  <a:pt x="548" y="119"/>
                </a:lnTo>
                <a:lnTo>
                  <a:pt x="538" y="105"/>
                </a:lnTo>
                <a:lnTo>
                  <a:pt x="527" y="92"/>
                </a:lnTo>
                <a:lnTo>
                  <a:pt x="515" y="80"/>
                </a:lnTo>
                <a:lnTo>
                  <a:pt x="502" y="68"/>
                </a:lnTo>
                <a:lnTo>
                  <a:pt x="488" y="56"/>
                </a:lnTo>
                <a:lnTo>
                  <a:pt x="474" y="46"/>
                </a:lnTo>
                <a:lnTo>
                  <a:pt x="458" y="36"/>
                </a:lnTo>
                <a:lnTo>
                  <a:pt x="443" y="28"/>
                </a:lnTo>
                <a:lnTo>
                  <a:pt x="426" y="21"/>
                </a:lnTo>
                <a:lnTo>
                  <a:pt x="426" y="20"/>
                </a:lnTo>
                <a:lnTo>
                  <a:pt x="425" y="20"/>
                </a:lnTo>
                <a:lnTo>
                  <a:pt x="414" y="15"/>
                </a:lnTo>
                <a:lnTo>
                  <a:pt x="402" y="12"/>
                </a:lnTo>
                <a:lnTo>
                  <a:pt x="390" y="8"/>
                </a:lnTo>
                <a:lnTo>
                  <a:pt x="377" y="5"/>
                </a:lnTo>
                <a:lnTo>
                  <a:pt x="365" y="3"/>
                </a:lnTo>
                <a:lnTo>
                  <a:pt x="353" y="1"/>
                </a:lnTo>
                <a:lnTo>
                  <a:pt x="340" y="0"/>
                </a:lnTo>
                <a:lnTo>
                  <a:pt x="327" y="0"/>
                </a:lnTo>
                <a:lnTo>
                  <a:pt x="327" y="0"/>
                </a:lnTo>
                <a:lnTo>
                  <a:pt x="326" y="0"/>
                </a:lnTo>
                <a:lnTo>
                  <a:pt x="326" y="0"/>
                </a:lnTo>
                <a:lnTo>
                  <a:pt x="326" y="0"/>
                </a:lnTo>
                <a:lnTo>
                  <a:pt x="325" y="0"/>
                </a:lnTo>
                <a:lnTo>
                  <a:pt x="324" y="0"/>
                </a:lnTo>
                <a:lnTo>
                  <a:pt x="298" y="0"/>
                </a:lnTo>
                <a:lnTo>
                  <a:pt x="275" y="3"/>
                </a:lnTo>
                <a:lnTo>
                  <a:pt x="252" y="9"/>
                </a:lnTo>
                <a:lnTo>
                  <a:pt x="228" y="15"/>
                </a:lnTo>
                <a:lnTo>
                  <a:pt x="227" y="16"/>
                </a:lnTo>
                <a:lnTo>
                  <a:pt x="226" y="16"/>
                </a:lnTo>
                <a:lnTo>
                  <a:pt x="210" y="23"/>
                </a:lnTo>
                <a:lnTo>
                  <a:pt x="193" y="31"/>
                </a:lnTo>
                <a:lnTo>
                  <a:pt x="177" y="41"/>
                </a:lnTo>
                <a:lnTo>
                  <a:pt x="163" y="51"/>
                </a:lnTo>
                <a:lnTo>
                  <a:pt x="148" y="61"/>
                </a:lnTo>
                <a:lnTo>
                  <a:pt x="136" y="73"/>
                </a:lnTo>
                <a:lnTo>
                  <a:pt x="124" y="85"/>
                </a:lnTo>
                <a:lnTo>
                  <a:pt x="113" y="99"/>
                </a:lnTo>
                <a:lnTo>
                  <a:pt x="102" y="113"/>
                </a:lnTo>
                <a:lnTo>
                  <a:pt x="93" y="129"/>
                </a:lnTo>
                <a:lnTo>
                  <a:pt x="85" y="144"/>
                </a:lnTo>
                <a:lnTo>
                  <a:pt x="78" y="160"/>
                </a:lnTo>
                <a:lnTo>
                  <a:pt x="73" y="176"/>
                </a:lnTo>
                <a:lnTo>
                  <a:pt x="68" y="194"/>
                </a:lnTo>
                <a:lnTo>
                  <a:pt x="65" y="212"/>
                </a:lnTo>
                <a:lnTo>
                  <a:pt x="63" y="230"/>
                </a:lnTo>
                <a:lnTo>
                  <a:pt x="63" y="231"/>
                </a:lnTo>
                <a:lnTo>
                  <a:pt x="63" y="232"/>
                </a:lnTo>
                <a:lnTo>
                  <a:pt x="63" y="233"/>
                </a:lnTo>
                <a:lnTo>
                  <a:pt x="63" y="233"/>
                </a:lnTo>
                <a:lnTo>
                  <a:pt x="63" y="240"/>
                </a:lnTo>
                <a:lnTo>
                  <a:pt x="62" y="246"/>
                </a:lnTo>
                <a:lnTo>
                  <a:pt x="62" y="465"/>
                </a:lnTo>
                <a:lnTo>
                  <a:pt x="31" y="465"/>
                </a:lnTo>
                <a:lnTo>
                  <a:pt x="31" y="403"/>
                </a:lnTo>
                <a:lnTo>
                  <a:pt x="31" y="400"/>
                </a:lnTo>
                <a:lnTo>
                  <a:pt x="30" y="396"/>
                </a:lnTo>
                <a:lnTo>
                  <a:pt x="28" y="394"/>
                </a:lnTo>
                <a:lnTo>
                  <a:pt x="26" y="392"/>
                </a:lnTo>
                <a:lnTo>
                  <a:pt x="24" y="390"/>
                </a:lnTo>
                <a:lnTo>
                  <a:pt x="22" y="389"/>
                </a:lnTo>
                <a:lnTo>
                  <a:pt x="18" y="388"/>
                </a:lnTo>
                <a:lnTo>
                  <a:pt x="15" y="388"/>
                </a:lnTo>
                <a:lnTo>
                  <a:pt x="13" y="388"/>
                </a:lnTo>
                <a:lnTo>
                  <a:pt x="10" y="389"/>
                </a:lnTo>
                <a:lnTo>
                  <a:pt x="7" y="390"/>
                </a:lnTo>
                <a:lnTo>
                  <a:pt x="4" y="392"/>
                </a:lnTo>
                <a:lnTo>
                  <a:pt x="3" y="394"/>
                </a:lnTo>
                <a:lnTo>
                  <a:pt x="1" y="396"/>
                </a:lnTo>
                <a:lnTo>
                  <a:pt x="1" y="400"/>
                </a:lnTo>
                <a:lnTo>
                  <a:pt x="0" y="403"/>
                </a:lnTo>
                <a:lnTo>
                  <a:pt x="0" y="481"/>
                </a:lnTo>
                <a:lnTo>
                  <a:pt x="0" y="496"/>
                </a:lnTo>
                <a:lnTo>
                  <a:pt x="1" y="513"/>
                </a:lnTo>
                <a:lnTo>
                  <a:pt x="2" y="530"/>
                </a:lnTo>
                <a:lnTo>
                  <a:pt x="4" y="545"/>
                </a:lnTo>
                <a:lnTo>
                  <a:pt x="7" y="561"/>
                </a:lnTo>
                <a:lnTo>
                  <a:pt x="11" y="576"/>
                </a:lnTo>
                <a:lnTo>
                  <a:pt x="15" y="591"/>
                </a:lnTo>
                <a:lnTo>
                  <a:pt x="21" y="606"/>
                </a:lnTo>
                <a:lnTo>
                  <a:pt x="27" y="621"/>
                </a:lnTo>
                <a:lnTo>
                  <a:pt x="34" y="635"/>
                </a:lnTo>
                <a:lnTo>
                  <a:pt x="41" y="649"/>
                </a:lnTo>
                <a:lnTo>
                  <a:pt x="50" y="662"/>
                </a:lnTo>
                <a:lnTo>
                  <a:pt x="58" y="675"/>
                </a:lnTo>
                <a:lnTo>
                  <a:pt x="67" y="689"/>
                </a:lnTo>
                <a:lnTo>
                  <a:pt x="77" y="701"/>
                </a:lnTo>
                <a:lnTo>
                  <a:pt x="88" y="712"/>
                </a:lnTo>
                <a:lnTo>
                  <a:pt x="100" y="723"/>
                </a:lnTo>
                <a:lnTo>
                  <a:pt x="112" y="733"/>
                </a:lnTo>
                <a:lnTo>
                  <a:pt x="124" y="743"/>
                </a:lnTo>
                <a:lnTo>
                  <a:pt x="136" y="752"/>
                </a:lnTo>
                <a:lnTo>
                  <a:pt x="148" y="761"/>
                </a:lnTo>
                <a:lnTo>
                  <a:pt x="162" y="769"/>
                </a:lnTo>
                <a:lnTo>
                  <a:pt x="175" y="775"/>
                </a:lnTo>
                <a:lnTo>
                  <a:pt x="190" y="782"/>
                </a:lnTo>
                <a:lnTo>
                  <a:pt x="204" y="788"/>
                </a:lnTo>
                <a:lnTo>
                  <a:pt x="218" y="793"/>
                </a:lnTo>
                <a:lnTo>
                  <a:pt x="233" y="798"/>
                </a:lnTo>
                <a:lnTo>
                  <a:pt x="248" y="801"/>
                </a:lnTo>
                <a:lnTo>
                  <a:pt x="264" y="804"/>
                </a:lnTo>
                <a:lnTo>
                  <a:pt x="280" y="806"/>
                </a:lnTo>
                <a:lnTo>
                  <a:pt x="295" y="809"/>
                </a:lnTo>
                <a:lnTo>
                  <a:pt x="311" y="810"/>
                </a:lnTo>
                <a:lnTo>
                  <a:pt x="311" y="932"/>
                </a:lnTo>
                <a:lnTo>
                  <a:pt x="342" y="932"/>
                </a:lnTo>
                <a:lnTo>
                  <a:pt x="342" y="809"/>
                </a:lnTo>
                <a:lnTo>
                  <a:pt x="358" y="808"/>
                </a:lnTo>
                <a:lnTo>
                  <a:pt x="374" y="805"/>
                </a:lnTo>
                <a:lnTo>
                  <a:pt x="391" y="803"/>
                </a:lnTo>
                <a:lnTo>
                  <a:pt x="406" y="800"/>
                </a:lnTo>
                <a:lnTo>
                  <a:pt x="421" y="795"/>
                </a:lnTo>
                <a:lnTo>
                  <a:pt x="436" y="791"/>
                </a:lnTo>
                <a:lnTo>
                  <a:pt x="451" y="785"/>
                </a:lnTo>
                <a:lnTo>
                  <a:pt x="465" y="779"/>
                </a:lnTo>
                <a:lnTo>
                  <a:pt x="478" y="772"/>
                </a:lnTo>
                <a:lnTo>
                  <a:pt x="492" y="765"/>
                </a:lnTo>
                <a:lnTo>
                  <a:pt x="505" y="756"/>
                </a:lnTo>
                <a:lnTo>
                  <a:pt x="517" y="749"/>
                </a:lnTo>
                <a:lnTo>
                  <a:pt x="530" y="739"/>
                </a:lnTo>
                <a:lnTo>
                  <a:pt x="542" y="730"/>
                </a:lnTo>
                <a:lnTo>
                  <a:pt x="553" y="720"/>
                </a:lnTo>
                <a:lnTo>
                  <a:pt x="563" y="709"/>
                </a:lnTo>
                <a:lnTo>
                  <a:pt x="573" y="698"/>
                </a:lnTo>
                <a:lnTo>
                  <a:pt x="583" y="685"/>
                </a:lnTo>
                <a:lnTo>
                  <a:pt x="592" y="673"/>
                </a:lnTo>
                <a:lnTo>
                  <a:pt x="601" y="661"/>
                </a:lnTo>
                <a:lnTo>
                  <a:pt x="608" y="648"/>
                </a:lnTo>
                <a:lnTo>
                  <a:pt x="616" y="634"/>
                </a:lnTo>
                <a:lnTo>
                  <a:pt x="623" y="621"/>
                </a:lnTo>
                <a:lnTo>
                  <a:pt x="628" y="606"/>
                </a:lnTo>
                <a:lnTo>
                  <a:pt x="634" y="592"/>
                </a:lnTo>
                <a:lnTo>
                  <a:pt x="640" y="576"/>
                </a:lnTo>
                <a:lnTo>
                  <a:pt x="643" y="562"/>
                </a:lnTo>
                <a:lnTo>
                  <a:pt x="646" y="546"/>
                </a:lnTo>
                <a:lnTo>
                  <a:pt x="650" y="530"/>
                </a:lnTo>
                <a:lnTo>
                  <a:pt x="652" y="514"/>
                </a:lnTo>
                <a:lnTo>
                  <a:pt x="653" y="498"/>
                </a:lnTo>
                <a:lnTo>
                  <a:pt x="653" y="481"/>
                </a:lnTo>
                <a:lnTo>
                  <a:pt x="653" y="403"/>
                </a:lnTo>
                <a:lnTo>
                  <a:pt x="653" y="400"/>
                </a:lnTo>
                <a:lnTo>
                  <a:pt x="652" y="398"/>
                </a:lnTo>
                <a:lnTo>
                  <a:pt x="651" y="394"/>
                </a:lnTo>
                <a:lnTo>
                  <a:pt x="648" y="392"/>
                </a:lnTo>
                <a:lnTo>
                  <a:pt x="646" y="391"/>
                </a:lnTo>
                <a:lnTo>
                  <a:pt x="643" y="389"/>
                </a:lnTo>
                <a:lnTo>
                  <a:pt x="641" y="388"/>
                </a:lnTo>
                <a:lnTo>
                  <a:pt x="637" y="38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534" name="Group 49">
            <a:extLst>
              <a:ext uri="{FF2B5EF4-FFF2-40B4-BE49-F238E27FC236}">
                <a16:creationId xmlns:a16="http://schemas.microsoft.com/office/drawing/2014/main" id="{C59FB3E1-FB20-4B48-A4D7-FA98BC573D2B}"/>
              </a:ext>
            </a:extLst>
          </p:cNvPr>
          <p:cNvGrpSpPr>
            <a:grpSpLocks noChangeAspect="1"/>
          </p:cNvGrpSpPr>
          <p:nvPr/>
        </p:nvGrpSpPr>
        <p:grpSpPr>
          <a:xfrm>
            <a:off x="4459498" y="2186361"/>
            <a:ext cx="266982" cy="306484"/>
            <a:chOff x="7231063" y="4676775"/>
            <a:chExt cx="311150" cy="357188"/>
          </a:xfrm>
          <a:solidFill>
            <a:schemeClr val="bg1"/>
          </a:solidFill>
        </p:grpSpPr>
        <p:sp>
          <p:nvSpPr>
            <p:cNvPr id="535" name="Freeform 61">
              <a:extLst>
                <a:ext uri="{FF2B5EF4-FFF2-40B4-BE49-F238E27FC236}">
                  <a16:creationId xmlns:a16="http://schemas.microsoft.com/office/drawing/2014/main" id="{E4AC6D85-FD98-447E-B9D1-C55FDCDFCDA6}"/>
                </a:ext>
              </a:extLst>
            </p:cNvPr>
            <p:cNvSpPr>
              <a:spLocks noEditPoints="1"/>
            </p:cNvSpPr>
            <p:nvPr/>
          </p:nvSpPr>
          <p:spPr bwMode="auto">
            <a:xfrm>
              <a:off x="7231063" y="4738688"/>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6" name="Freeform 62">
              <a:extLst>
                <a:ext uri="{FF2B5EF4-FFF2-40B4-BE49-F238E27FC236}">
                  <a16:creationId xmlns:a16="http://schemas.microsoft.com/office/drawing/2014/main" id="{F0BF527B-044F-4D31-ACC1-2B2EF56A2B0F}"/>
                </a:ext>
              </a:extLst>
            </p:cNvPr>
            <p:cNvSpPr>
              <a:spLocks noEditPoints="1"/>
            </p:cNvSpPr>
            <p:nvPr/>
          </p:nvSpPr>
          <p:spPr bwMode="auto">
            <a:xfrm>
              <a:off x="7231063" y="4846638"/>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7" name="Freeform 63">
              <a:extLst>
                <a:ext uri="{FF2B5EF4-FFF2-40B4-BE49-F238E27FC236}">
                  <a16:creationId xmlns:a16="http://schemas.microsoft.com/office/drawing/2014/main" id="{78B57220-BB21-48B9-AB3C-6FAD739A97AC}"/>
                </a:ext>
              </a:extLst>
            </p:cNvPr>
            <p:cNvSpPr>
              <a:spLocks noEditPoints="1"/>
            </p:cNvSpPr>
            <p:nvPr/>
          </p:nvSpPr>
          <p:spPr bwMode="auto">
            <a:xfrm>
              <a:off x="7231063" y="4956175"/>
              <a:ext cx="217487" cy="77788"/>
            </a:xfrm>
            <a:custGeom>
              <a:avLst/>
              <a:gdLst>
                <a:gd name="T0" fmla="*/ 54 w 56"/>
                <a:gd name="T1" fmla="*/ 20 h 20"/>
                <a:gd name="T2" fmla="*/ 2 w 56"/>
                <a:gd name="T3" fmla="*/ 20 h 20"/>
                <a:gd name="T4" fmla="*/ 0 w 56"/>
                <a:gd name="T5" fmla="*/ 18 h 20"/>
                <a:gd name="T6" fmla="*/ 0 w 56"/>
                <a:gd name="T7" fmla="*/ 2 h 20"/>
                <a:gd name="T8" fmla="*/ 2 w 56"/>
                <a:gd name="T9" fmla="*/ 0 h 20"/>
                <a:gd name="T10" fmla="*/ 54 w 56"/>
                <a:gd name="T11" fmla="*/ 0 h 20"/>
                <a:gd name="T12" fmla="*/ 56 w 56"/>
                <a:gd name="T13" fmla="*/ 2 h 20"/>
                <a:gd name="T14" fmla="*/ 56 w 56"/>
                <a:gd name="T15" fmla="*/ 18 h 20"/>
                <a:gd name="T16" fmla="*/ 54 w 56"/>
                <a:gd name="T17" fmla="*/ 20 h 20"/>
                <a:gd name="T18" fmla="*/ 4 w 56"/>
                <a:gd name="T19" fmla="*/ 16 h 20"/>
                <a:gd name="T20" fmla="*/ 52 w 56"/>
                <a:gd name="T21" fmla="*/ 16 h 20"/>
                <a:gd name="T22" fmla="*/ 52 w 56"/>
                <a:gd name="T23" fmla="*/ 4 h 20"/>
                <a:gd name="T24" fmla="*/ 4 w 56"/>
                <a:gd name="T25" fmla="*/ 4 h 20"/>
                <a:gd name="T26" fmla="*/ 4 w 5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20">
                  <a:moveTo>
                    <a:pt x="54" y="20"/>
                  </a:moveTo>
                  <a:cubicBezTo>
                    <a:pt x="2" y="20"/>
                    <a:pt x="2" y="20"/>
                    <a:pt x="2" y="20"/>
                  </a:cubicBezTo>
                  <a:cubicBezTo>
                    <a:pt x="1" y="20"/>
                    <a:pt x="0" y="19"/>
                    <a:pt x="0" y="18"/>
                  </a:cubicBezTo>
                  <a:cubicBezTo>
                    <a:pt x="0" y="2"/>
                    <a:pt x="0" y="2"/>
                    <a:pt x="0" y="2"/>
                  </a:cubicBezTo>
                  <a:cubicBezTo>
                    <a:pt x="0" y="1"/>
                    <a:pt x="1" y="0"/>
                    <a:pt x="2" y="0"/>
                  </a:cubicBezTo>
                  <a:cubicBezTo>
                    <a:pt x="54" y="0"/>
                    <a:pt x="54" y="0"/>
                    <a:pt x="54" y="0"/>
                  </a:cubicBezTo>
                  <a:cubicBezTo>
                    <a:pt x="55" y="0"/>
                    <a:pt x="56" y="1"/>
                    <a:pt x="56" y="2"/>
                  </a:cubicBezTo>
                  <a:cubicBezTo>
                    <a:pt x="56" y="18"/>
                    <a:pt x="56" y="18"/>
                    <a:pt x="56" y="18"/>
                  </a:cubicBezTo>
                  <a:cubicBezTo>
                    <a:pt x="56" y="19"/>
                    <a:pt x="55" y="20"/>
                    <a:pt x="54" y="20"/>
                  </a:cubicBezTo>
                  <a:close/>
                  <a:moveTo>
                    <a:pt x="4" y="16"/>
                  </a:moveTo>
                  <a:cubicBezTo>
                    <a:pt x="52" y="16"/>
                    <a:pt x="52" y="16"/>
                    <a:pt x="52" y="16"/>
                  </a:cubicBezTo>
                  <a:cubicBezTo>
                    <a:pt x="52" y="4"/>
                    <a:pt x="52" y="4"/>
                    <a:pt x="5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8" name="Freeform 64">
              <a:extLst>
                <a:ext uri="{FF2B5EF4-FFF2-40B4-BE49-F238E27FC236}">
                  <a16:creationId xmlns:a16="http://schemas.microsoft.com/office/drawing/2014/main" id="{3554E9AE-5BB5-406D-A2F2-BEA94E435974}"/>
                </a:ext>
              </a:extLst>
            </p:cNvPr>
            <p:cNvSpPr>
              <a:spLocks/>
            </p:cNvSpPr>
            <p:nvPr/>
          </p:nvSpPr>
          <p:spPr bwMode="auto">
            <a:xfrm>
              <a:off x="7440613" y="4676775"/>
              <a:ext cx="101600" cy="325438"/>
            </a:xfrm>
            <a:custGeom>
              <a:avLst/>
              <a:gdLst>
                <a:gd name="T0" fmla="*/ 24 w 26"/>
                <a:gd name="T1" fmla="*/ 84 h 84"/>
                <a:gd name="T2" fmla="*/ 0 w 26"/>
                <a:gd name="T3" fmla="*/ 84 h 84"/>
                <a:gd name="T4" fmla="*/ 0 w 26"/>
                <a:gd name="T5" fmla="*/ 80 h 84"/>
                <a:gd name="T6" fmla="*/ 22 w 26"/>
                <a:gd name="T7" fmla="*/ 80 h 84"/>
                <a:gd name="T8" fmla="*/ 22 w 26"/>
                <a:gd name="T9" fmla="*/ 0 h 84"/>
                <a:gd name="T10" fmla="*/ 26 w 26"/>
                <a:gd name="T11" fmla="*/ 0 h 84"/>
                <a:gd name="T12" fmla="*/ 26 w 26"/>
                <a:gd name="T13" fmla="*/ 82 h 84"/>
                <a:gd name="T14" fmla="*/ 24 w 26"/>
                <a:gd name="T15" fmla="*/ 84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84">
                  <a:moveTo>
                    <a:pt x="24" y="84"/>
                  </a:moveTo>
                  <a:cubicBezTo>
                    <a:pt x="0" y="84"/>
                    <a:pt x="0" y="84"/>
                    <a:pt x="0" y="84"/>
                  </a:cubicBezTo>
                  <a:cubicBezTo>
                    <a:pt x="0" y="80"/>
                    <a:pt x="0" y="80"/>
                    <a:pt x="0" y="80"/>
                  </a:cubicBezTo>
                  <a:cubicBezTo>
                    <a:pt x="22" y="80"/>
                    <a:pt x="22" y="80"/>
                    <a:pt x="22" y="80"/>
                  </a:cubicBezTo>
                  <a:cubicBezTo>
                    <a:pt x="22" y="0"/>
                    <a:pt x="22" y="0"/>
                    <a:pt x="22" y="0"/>
                  </a:cubicBezTo>
                  <a:cubicBezTo>
                    <a:pt x="26" y="0"/>
                    <a:pt x="26" y="0"/>
                    <a:pt x="26" y="0"/>
                  </a:cubicBezTo>
                  <a:cubicBezTo>
                    <a:pt x="26" y="82"/>
                    <a:pt x="26" y="82"/>
                    <a:pt x="26" y="82"/>
                  </a:cubicBezTo>
                  <a:cubicBezTo>
                    <a:pt x="26" y="83"/>
                    <a:pt x="25"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9" name="Rectangle 65">
              <a:extLst>
                <a:ext uri="{FF2B5EF4-FFF2-40B4-BE49-F238E27FC236}">
                  <a16:creationId xmlns:a16="http://schemas.microsoft.com/office/drawing/2014/main" id="{91DEDF81-7FC8-4EA1-AFA4-E4F5D872AFD9}"/>
                </a:ext>
              </a:extLst>
            </p:cNvPr>
            <p:cNvSpPr>
              <a:spLocks noChangeArrowheads="1"/>
            </p:cNvSpPr>
            <p:nvPr/>
          </p:nvSpPr>
          <p:spPr bwMode="auto">
            <a:xfrm>
              <a:off x="7440613" y="4770438"/>
              <a:ext cx="93662"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0" name="Rectangle 66">
              <a:extLst>
                <a:ext uri="{FF2B5EF4-FFF2-40B4-BE49-F238E27FC236}">
                  <a16:creationId xmlns:a16="http://schemas.microsoft.com/office/drawing/2014/main" id="{29289730-8CAE-4FBF-9DCB-FEC000B44C4B}"/>
                </a:ext>
              </a:extLst>
            </p:cNvPr>
            <p:cNvSpPr>
              <a:spLocks noChangeArrowheads="1"/>
            </p:cNvSpPr>
            <p:nvPr/>
          </p:nvSpPr>
          <p:spPr bwMode="auto">
            <a:xfrm>
              <a:off x="7440613" y="4878388"/>
              <a:ext cx="93662"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41" name="Group 71">
            <a:extLst>
              <a:ext uri="{FF2B5EF4-FFF2-40B4-BE49-F238E27FC236}">
                <a16:creationId xmlns:a16="http://schemas.microsoft.com/office/drawing/2014/main" id="{ADA10A3F-E9CF-4438-A98F-291B93D70270}"/>
              </a:ext>
            </a:extLst>
          </p:cNvPr>
          <p:cNvGrpSpPr>
            <a:grpSpLocks noChangeAspect="1"/>
          </p:cNvGrpSpPr>
          <p:nvPr/>
        </p:nvGrpSpPr>
        <p:grpSpPr>
          <a:xfrm>
            <a:off x="4040741" y="2186361"/>
            <a:ext cx="293042" cy="306484"/>
            <a:chOff x="3390900" y="5051425"/>
            <a:chExt cx="346075" cy="361950"/>
          </a:xfrm>
          <a:solidFill>
            <a:schemeClr val="bg1"/>
          </a:solidFill>
          <a:effectLst/>
        </p:grpSpPr>
        <p:sp>
          <p:nvSpPr>
            <p:cNvPr id="542" name="Freeform 1554">
              <a:extLst>
                <a:ext uri="{FF2B5EF4-FFF2-40B4-BE49-F238E27FC236}">
                  <a16:creationId xmlns:a16="http://schemas.microsoft.com/office/drawing/2014/main" id="{370F5065-1A36-4B9B-B8F0-62681FA0C92E}"/>
                </a:ext>
              </a:extLst>
            </p:cNvPr>
            <p:cNvSpPr>
              <a:spLocks noEditPoints="1"/>
            </p:cNvSpPr>
            <p:nvPr/>
          </p:nvSpPr>
          <p:spPr bwMode="auto">
            <a:xfrm>
              <a:off x="3390900" y="5051425"/>
              <a:ext cx="346075" cy="60325"/>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3" name="Freeform 1555">
              <a:extLst>
                <a:ext uri="{FF2B5EF4-FFF2-40B4-BE49-F238E27FC236}">
                  <a16:creationId xmlns:a16="http://schemas.microsoft.com/office/drawing/2014/main" id="{575DE1DE-6575-45F3-9AD8-40914757DAEF}"/>
                </a:ext>
              </a:extLst>
            </p:cNvPr>
            <p:cNvSpPr>
              <a:spLocks/>
            </p:cNvSpPr>
            <p:nvPr/>
          </p:nvSpPr>
          <p:spPr bwMode="auto">
            <a:xfrm>
              <a:off x="3390900" y="5307013"/>
              <a:ext cx="346075"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4" name="Freeform 1556">
              <a:extLst>
                <a:ext uri="{FF2B5EF4-FFF2-40B4-BE49-F238E27FC236}">
                  <a16:creationId xmlns:a16="http://schemas.microsoft.com/office/drawing/2014/main" id="{17592813-1B5D-4690-A5F9-7156C6ED6D01}"/>
                </a:ext>
              </a:extLst>
            </p:cNvPr>
            <p:cNvSpPr>
              <a:spLocks noEditPoints="1"/>
            </p:cNvSpPr>
            <p:nvPr/>
          </p:nvSpPr>
          <p:spPr bwMode="auto">
            <a:xfrm>
              <a:off x="3421063" y="5097463"/>
              <a:ext cx="285750" cy="225425"/>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5" name="Rectangle 1557">
              <a:extLst>
                <a:ext uri="{FF2B5EF4-FFF2-40B4-BE49-F238E27FC236}">
                  <a16:creationId xmlns:a16="http://schemas.microsoft.com/office/drawing/2014/main" id="{34C3F864-23FF-4C62-9CD7-EACD023A0430}"/>
                </a:ext>
              </a:extLst>
            </p:cNvPr>
            <p:cNvSpPr>
              <a:spLocks noChangeArrowheads="1"/>
            </p:cNvSpPr>
            <p:nvPr/>
          </p:nvSpPr>
          <p:spPr bwMode="auto">
            <a:xfrm>
              <a:off x="3557588" y="5314950"/>
              <a:ext cx="14288"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6" name="Freeform 1558">
              <a:extLst>
                <a:ext uri="{FF2B5EF4-FFF2-40B4-BE49-F238E27FC236}">
                  <a16:creationId xmlns:a16="http://schemas.microsoft.com/office/drawing/2014/main" id="{623585C4-9A06-46F9-9081-8D7403E946C3}"/>
                </a:ext>
              </a:extLst>
            </p:cNvPr>
            <p:cNvSpPr>
              <a:spLocks noEditPoints="1"/>
            </p:cNvSpPr>
            <p:nvPr/>
          </p:nvSpPr>
          <p:spPr bwMode="auto">
            <a:xfrm>
              <a:off x="3533775" y="5353050"/>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7" name="Freeform 1559">
              <a:extLst>
                <a:ext uri="{FF2B5EF4-FFF2-40B4-BE49-F238E27FC236}">
                  <a16:creationId xmlns:a16="http://schemas.microsoft.com/office/drawing/2014/main" id="{186313C9-9BD4-40C8-B298-8B4DA864AC81}"/>
                </a:ext>
              </a:extLst>
            </p:cNvPr>
            <p:cNvSpPr>
              <a:spLocks noEditPoints="1"/>
            </p:cNvSpPr>
            <p:nvPr/>
          </p:nvSpPr>
          <p:spPr bwMode="auto">
            <a:xfrm>
              <a:off x="3481388" y="5187950"/>
              <a:ext cx="46038" cy="104775"/>
            </a:xfrm>
            <a:custGeom>
              <a:avLst/>
              <a:gdLst>
                <a:gd name="T0" fmla="*/ 10 w 12"/>
                <a:gd name="T1" fmla="*/ 28 h 28"/>
                <a:gd name="T2" fmla="*/ 2 w 12"/>
                <a:gd name="T3" fmla="*/ 28 h 28"/>
                <a:gd name="T4" fmla="*/ 0 w 12"/>
                <a:gd name="T5" fmla="*/ 26 h 28"/>
                <a:gd name="T6" fmla="*/ 0 w 12"/>
                <a:gd name="T7" fmla="*/ 2 h 28"/>
                <a:gd name="T8" fmla="*/ 2 w 12"/>
                <a:gd name="T9" fmla="*/ 0 h 28"/>
                <a:gd name="T10" fmla="*/ 10 w 12"/>
                <a:gd name="T11" fmla="*/ 0 h 28"/>
                <a:gd name="T12" fmla="*/ 12 w 12"/>
                <a:gd name="T13" fmla="*/ 2 h 28"/>
                <a:gd name="T14" fmla="*/ 12 w 12"/>
                <a:gd name="T15" fmla="*/ 26 h 28"/>
                <a:gd name="T16" fmla="*/ 10 w 12"/>
                <a:gd name="T17" fmla="*/ 28 h 28"/>
                <a:gd name="T18" fmla="*/ 4 w 12"/>
                <a:gd name="T19" fmla="*/ 24 h 28"/>
                <a:gd name="T20" fmla="*/ 8 w 12"/>
                <a:gd name="T21" fmla="*/ 24 h 28"/>
                <a:gd name="T22" fmla="*/ 8 w 12"/>
                <a:gd name="T23" fmla="*/ 4 h 28"/>
                <a:gd name="T24" fmla="*/ 4 w 12"/>
                <a:gd name="T25" fmla="*/ 4 h 28"/>
                <a:gd name="T26" fmla="*/ 4 w 12"/>
                <a:gd name="T2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8">
                  <a:moveTo>
                    <a:pt x="10" y="28"/>
                  </a:moveTo>
                  <a:cubicBezTo>
                    <a:pt x="2" y="28"/>
                    <a:pt x="2" y="28"/>
                    <a:pt x="2" y="28"/>
                  </a:cubicBezTo>
                  <a:cubicBezTo>
                    <a:pt x="1" y="28"/>
                    <a:pt x="0" y="27"/>
                    <a:pt x="0" y="26"/>
                  </a:cubicBezTo>
                  <a:cubicBezTo>
                    <a:pt x="0" y="2"/>
                    <a:pt x="0" y="2"/>
                    <a:pt x="0" y="2"/>
                  </a:cubicBezTo>
                  <a:cubicBezTo>
                    <a:pt x="0" y="1"/>
                    <a:pt x="1" y="0"/>
                    <a:pt x="2" y="0"/>
                  </a:cubicBezTo>
                  <a:cubicBezTo>
                    <a:pt x="10" y="0"/>
                    <a:pt x="10" y="0"/>
                    <a:pt x="10" y="0"/>
                  </a:cubicBezTo>
                  <a:cubicBezTo>
                    <a:pt x="11" y="0"/>
                    <a:pt x="12" y="1"/>
                    <a:pt x="12" y="2"/>
                  </a:cubicBezTo>
                  <a:cubicBezTo>
                    <a:pt x="12" y="26"/>
                    <a:pt x="12" y="26"/>
                    <a:pt x="12" y="26"/>
                  </a:cubicBezTo>
                  <a:cubicBezTo>
                    <a:pt x="12" y="27"/>
                    <a:pt x="11" y="28"/>
                    <a:pt x="10" y="28"/>
                  </a:cubicBezTo>
                  <a:close/>
                  <a:moveTo>
                    <a:pt x="4" y="24"/>
                  </a:moveTo>
                  <a:cubicBezTo>
                    <a:pt x="8" y="24"/>
                    <a:pt x="8" y="24"/>
                    <a:pt x="8" y="24"/>
                  </a:cubicBezTo>
                  <a:cubicBezTo>
                    <a:pt x="8" y="4"/>
                    <a:pt x="8" y="4"/>
                    <a:pt x="8" y="4"/>
                  </a:cubicBezTo>
                  <a:cubicBezTo>
                    <a:pt x="4" y="4"/>
                    <a:pt x="4" y="4"/>
                    <a:pt x="4" y="4"/>
                  </a:cubicBez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8" name="Freeform 1560">
              <a:extLst>
                <a:ext uri="{FF2B5EF4-FFF2-40B4-BE49-F238E27FC236}">
                  <a16:creationId xmlns:a16="http://schemas.microsoft.com/office/drawing/2014/main" id="{598628FD-07B7-4595-8285-46F398727540}"/>
                </a:ext>
              </a:extLst>
            </p:cNvPr>
            <p:cNvSpPr>
              <a:spLocks noEditPoints="1"/>
            </p:cNvSpPr>
            <p:nvPr/>
          </p:nvSpPr>
          <p:spPr bwMode="auto">
            <a:xfrm>
              <a:off x="3541713" y="5218113"/>
              <a:ext cx="44450" cy="74613"/>
            </a:xfrm>
            <a:custGeom>
              <a:avLst/>
              <a:gdLst>
                <a:gd name="T0" fmla="*/ 10 w 12"/>
                <a:gd name="T1" fmla="*/ 20 h 20"/>
                <a:gd name="T2" fmla="*/ 2 w 12"/>
                <a:gd name="T3" fmla="*/ 20 h 20"/>
                <a:gd name="T4" fmla="*/ 0 w 12"/>
                <a:gd name="T5" fmla="*/ 18 h 20"/>
                <a:gd name="T6" fmla="*/ 0 w 12"/>
                <a:gd name="T7" fmla="*/ 2 h 20"/>
                <a:gd name="T8" fmla="*/ 2 w 12"/>
                <a:gd name="T9" fmla="*/ 0 h 20"/>
                <a:gd name="T10" fmla="*/ 10 w 12"/>
                <a:gd name="T11" fmla="*/ 0 h 20"/>
                <a:gd name="T12" fmla="*/ 12 w 12"/>
                <a:gd name="T13" fmla="*/ 2 h 20"/>
                <a:gd name="T14" fmla="*/ 12 w 12"/>
                <a:gd name="T15" fmla="*/ 18 h 20"/>
                <a:gd name="T16" fmla="*/ 10 w 12"/>
                <a:gd name="T17" fmla="*/ 20 h 20"/>
                <a:gd name="T18" fmla="*/ 4 w 12"/>
                <a:gd name="T19" fmla="*/ 16 h 20"/>
                <a:gd name="T20" fmla="*/ 8 w 12"/>
                <a:gd name="T21" fmla="*/ 16 h 20"/>
                <a:gd name="T22" fmla="*/ 8 w 12"/>
                <a:gd name="T23" fmla="*/ 4 h 20"/>
                <a:gd name="T24" fmla="*/ 4 w 12"/>
                <a:gd name="T25" fmla="*/ 4 h 20"/>
                <a:gd name="T26" fmla="*/ 4 w 12"/>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10" y="20"/>
                  </a:moveTo>
                  <a:cubicBezTo>
                    <a:pt x="2" y="20"/>
                    <a:pt x="2" y="20"/>
                    <a:pt x="2" y="20"/>
                  </a:cubicBezTo>
                  <a:cubicBezTo>
                    <a:pt x="1" y="20"/>
                    <a:pt x="0" y="19"/>
                    <a:pt x="0" y="18"/>
                  </a:cubicBezTo>
                  <a:cubicBezTo>
                    <a:pt x="0" y="2"/>
                    <a:pt x="0" y="2"/>
                    <a:pt x="0" y="2"/>
                  </a:cubicBezTo>
                  <a:cubicBezTo>
                    <a:pt x="0" y="1"/>
                    <a:pt x="1" y="0"/>
                    <a:pt x="2" y="0"/>
                  </a:cubicBezTo>
                  <a:cubicBezTo>
                    <a:pt x="10" y="0"/>
                    <a:pt x="10" y="0"/>
                    <a:pt x="10" y="0"/>
                  </a:cubicBezTo>
                  <a:cubicBezTo>
                    <a:pt x="11" y="0"/>
                    <a:pt x="12" y="1"/>
                    <a:pt x="12" y="2"/>
                  </a:cubicBezTo>
                  <a:cubicBezTo>
                    <a:pt x="12" y="18"/>
                    <a:pt x="12" y="18"/>
                    <a:pt x="12" y="18"/>
                  </a:cubicBezTo>
                  <a:cubicBezTo>
                    <a:pt x="12" y="19"/>
                    <a:pt x="11" y="20"/>
                    <a:pt x="10" y="20"/>
                  </a:cubicBezTo>
                  <a:close/>
                  <a:moveTo>
                    <a:pt x="4" y="16"/>
                  </a:moveTo>
                  <a:cubicBezTo>
                    <a:pt x="8" y="16"/>
                    <a:pt x="8" y="16"/>
                    <a:pt x="8" y="16"/>
                  </a:cubicBezTo>
                  <a:cubicBezTo>
                    <a:pt x="8" y="4"/>
                    <a:pt x="8" y="4"/>
                    <a:pt x="8"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49" name="Freeform 1561">
              <a:extLst>
                <a:ext uri="{FF2B5EF4-FFF2-40B4-BE49-F238E27FC236}">
                  <a16:creationId xmlns:a16="http://schemas.microsoft.com/office/drawing/2014/main" id="{1054ABDD-3A72-467E-822C-FB53D7668364}"/>
                </a:ext>
              </a:extLst>
            </p:cNvPr>
            <p:cNvSpPr>
              <a:spLocks noEditPoints="1"/>
            </p:cNvSpPr>
            <p:nvPr/>
          </p:nvSpPr>
          <p:spPr bwMode="auto">
            <a:xfrm>
              <a:off x="3602038" y="5127625"/>
              <a:ext cx="44450" cy="165100"/>
            </a:xfrm>
            <a:custGeom>
              <a:avLst/>
              <a:gdLst>
                <a:gd name="T0" fmla="*/ 10 w 12"/>
                <a:gd name="T1" fmla="*/ 44 h 44"/>
                <a:gd name="T2" fmla="*/ 2 w 12"/>
                <a:gd name="T3" fmla="*/ 44 h 44"/>
                <a:gd name="T4" fmla="*/ 0 w 12"/>
                <a:gd name="T5" fmla="*/ 42 h 44"/>
                <a:gd name="T6" fmla="*/ 0 w 12"/>
                <a:gd name="T7" fmla="*/ 2 h 44"/>
                <a:gd name="T8" fmla="*/ 2 w 12"/>
                <a:gd name="T9" fmla="*/ 0 h 44"/>
                <a:gd name="T10" fmla="*/ 10 w 12"/>
                <a:gd name="T11" fmla="*/ 0 h 44"/>
                <a:gd name="T12" fmla="*/ 12 w 12"/>
                <a:gd name="T13" fmla="*/ 2 h 44"/>
                <a:gd name="T14" fmla="*/ 12 w 12"/>
                <a:gd name="T15" fmla="*/ 42 h 44"/>
                <a:gd name="T16" fmla="*/ 10 w 12"/>
                <a:gd name="T17" fmla="*/ 44 h 44"/>
                <a:gd name="T18" fmla="*/ 4 w 12"/>
                <a:gd name="T19" fmla="*/ 40 h 44"/>
                <a:gd name="T20" fmla="*/ 8 w 12"/>
                <a:gd name="T21" fmla="*/ 40 h 44"/>
                <a:gd name="T22" fmla="*/ 8 w 12"/>
                <a:gd name="T23" fmla="*/ 4 h 44"/>
                <a:gd name="T24" fmla="*/ 4 w 12"/>
                <a:gd name="T25" fmla="*/ 4 h 44"/>
                <a:gd name="T26" fmla="*/ 4 w 12"/>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44">
                  <a:moveTo>
                    <a:pt x="10" y="44"/>
                  </a:moveTo>
                  <a:cubicBezTo>
                    <a:pt x="2" y="44"/>
                    <a:pt x="2" y="44"/>
                    <a:pt x="2" y="44"/>
                  </a:cubicBezTo>
                  <a:cubicBezTo>
                    <a:pt x="1" y="44"/>
                    <a:pt x="0" y="43"/>
                    <a:pt x="0" y="42"/>
                  </a:cubicBezTo>
                  <a:cubicBezTo>
                    <a:pt x="0" y="2"/>
                    <a:pt x="0" y="2"/>
                    <a:pt x="0" y="2"/>
                  </a:cubicBezTo>
                  <a:cubicBezTo>
                    <a:pt x="0" y="1"/>
                    <a:pt x="1" y="0"/>
                    <a:pt x="2" y="0"/>
                  </a:cubicBezTo>
                  <a:cubicBezTo>
                    <a:pt x="10" y="0"/>
                    <a:pt x="10" y="0"/>
                    <a:pt x="10" y="0"/>
                  </a:cubicBezTo>
                  <a:cubicBezTo>
                    <a:pt x="11" y="0"/>
                    <a:pt x="12" y="1"/>
                    <a:pt x="12" y="2"/>
                  </a:cubicBezTo>
                  <a:cubicBezTo>
                    <a:pt x="12" y="42"/>
                    <a:pt x="12" y="42"/>
                    <a:pt x="12" y="42"/>
                  </a:cubicBezTo>
                  <a:cubicBezTo>
                    <a:pt x="12" y="43"/>
                    <a:pt x="11" y="44"/>
                    <a:pt x="10" y="44"/>
                  </a:cubicBezTo>
                  <a:close/>
                  <a:moveTo>
                    <a:pt x="4" y="40"/>
                  </a:moveTo>
                  <a:cubicBezTo>
                    <a:pt x="8" y="40"/>
                    <a:pt x="8" y="40"/>
                    <a:pt x="8" y="40"/>
                  </a:cubicBezTo>
                  <a:cubicBezTo>
                    <a:pt x="8" y="4"/>
                    <a:pt x="8" y="4"/>
                    <a:pt x="8"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550" name="Freeform 1562">
              <a:extLst>
                <a:ext uri="{FF2B5EF4-FFF2-40B4-BE49-F238E27FC236}">
                  <a16:creationId xmlns:a16="http://schemas.microsoft.com/office/drawing/2014/main" id="{661512C5-8439-47B7-B1A5-17281C5F2EF5}"/>
                </a:ext>
              </a:extLst>
            </p:cNvPr>
            <p:cNvSpPr>
              <a:spLocks/>
            </p:cNvSpPr>
            <p:nvPr/>
          </p:nvSpPr>
          <p:spPr bwMode="auto">
            <a:xfrm>
              <a:off x="3451225" y="5127625"/>
              <a:ext cx="225425" cy="165100"/>
            </a:xfrm>
            <a:custGeom>
              <a:avLst/>
              <a:gdLst>
                <a:gd name="T0" fmla="*/ 58 w 60"/>
                <a:gd name="T1" fmla="*/ 44 h 44"/>
                <a:gd name="T2" fmla="*/ 2 w 60"/>
                <a:gd name="T3" fmla="*/ 44 h 44"/>
                <a:gd name="T4" fmla="*/ 0 w 60"/>
                <a:gd name="T5" fmla="*/ 42 h 44"/>
                <a:gd name="T6" fmla="*/ 0 w 60"/>
                <a:gd name="T7" fmla="*/ 2 h 44"/>
                <a:gd name="T8" fmla="*/ 2 w 60"/>
                <a:gd name="T9" fmla="*/ 0 h 44"/>
                <a:gd name="T10" fmla="*/ 4 w 60"/>
                <a:gd name="T11" fmla="*/ 2 h 44"/>
                <a:gd name="T12" fmla="*/ 4 w 60"/>
                <a:gd name="T13" fmla="*/ 40 h 44"/>
                <a:gd name="T14" fmla="*/ 58 w 60"/>
                <a:gd name="T15" fmla="*/ 40 h 44"/>
                <a:gd name="T16" fmla="*/ 60 w 60"/>
                <a:gd name="T17" fmla="*/ 42 h 44"/>
                <a:gd name="T18" fmla="*/ 58 w 60"/>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44">
                  <a:moveTo>
                    <a:pt x="58" y="44"/>
                  </a:moveTo>
                  <a:cubicBezTo>
                    <a:pt x="2" y="44"/>
                    <a:pt x="2" y="44"/>
                    <a:pt x="2" y="44"/>
                  </a:cubicBezTo>
                  <a:cubicBezTo>
                    <a:pt x="1" y="44"/>
                    <a:pt x="0" y="43"/>
                    <a:pt x="0" y="42"/>
                  </a:cubicBezTo>
                  <a:cubicBezTo>
                    <a:pt x="0" y="2"/>
                    <a:pt x="0" y="2"/>
                    <a:pt x="0" y="2"/>
                  </a:cubicBezTo>
                  <a:cubicBezTo>
                    <a:pt x="0" y="1"/>
                    <a:pt x="1" y="0"/>
                    <a:pt x="2" y="0"/>
                  </a:cubicBezTo>
                  <a:cubicBezTo>
                    <a:pt x="3" y="0"/>
                    <a:pt x="4" y="1"/>
                    <a:pt x="4" y="2"/>
                  </a:cubicBezTo>
                  <a:cubicBezTo>
                    <a:pt x="4" y="40"/>
                    <a:pt x="4" y="40"/>
                    <a:pt x="4" y="40"/>
                  </a:cubicBezTo>
                  <a:cubicBezTo>
                    <a:pt x="58" y="40"/>
                    <a:pt x="58" y="40"/>
                    <a:pt x="58" y="40"/>
                  </a:cubicBezTo>
                  <a:cubicBezTo>
                    <a:pt x="59" y="40"/>
                    <a:pt x="60" y="41"/>
                    <a:pt x="60" y="42"/>
                  </a:cubicBezTo>
                  <a:cubicBezTo>
                    <a:pt x="60" y="43"/>
                    <a:pt x="59" y="44"/>
                    <a:pt x="5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sp>
        <p:nvSpPr>
          <p:cNvPr id="551" name="Freeform 377">
            <a:extLst>
              <a:ext uri="{FF2B5EF4-FFF2-40B4-BE49-F238E27FC236}">
                <a16:creationId xmlns:a16="http://schemas.microsoft.com/office/drawing/2014/main" id="{039A199B-3DA1-436D-8211-486B3C572DA3}"/>
              </a:ext>
            </a:extLst>
          </p:cNvPr>
          <p:cNvSpPr>
            <a:spLocks noChangeAspect="1" noEditPoints="1"/>
          </p:cNvSpPr>
          <p:nvPr/>
        </p:nvSpPr>
        <p:spPr bwMode="auto">
          <a:xfrm>
            <a:off x="698507" y="2186361"/>
            <a:ext cx="231184" cy="306484"/>
          </a:xfrm>
          <a:custGeom>
            <a:avLst/>
            <a:gdLst>
              <a:gd name="T0" fmla="*/ 667 w 698"/>
              <a:gd name="T1" fmla="*/ 167 h 924"/>
              <a:gd name="T2" fmla="*/ 666 w 698"/>
              <a:gd name="T3" fmla="*/ 663 h 924"/>
              <a:gd name="T4" fmla="*/ 652 w 698"/>
              <a:gd name="T5" fmla="*/ 697 h 924"/>
              <a:gd name="T6" fmla="*/ 627 w 698"/>
              <a:gd name="T7" fmla="*/ 722 h 924"/>
              <a:gd name="T8" fmla="*/ 594 w 698"/>
              <a:gd name="T9" fmla="*/ 735 h 924"/>
              <a:gd name="T10" fmla="*/ 553 w 698"/>
              <a:gd name="T11" fmla="*/ 735 h 924"/>
              <a:gd name="T12" fmla="*/ 514 w 698"/>
              <a:gd name="T13" fmla="*/ 720 h 924"/>
              <a:gd name="T14" fmla="*/ 485 w 698"/>
              <a:gd name="T15" fmla="*/ 693 h 924"/>
              <a:gd name="T16" fmla="*/ 468 w 698"/>
              <a:gd name="T17" fmla="*/ 657 h 924"/>
              <a:gd name="T18" fmla="*/ 468 w 698"/>
              <a:gd name="T19" fmla="*/ 617 h 924"/>
              <a:gd name="T20" fmla="*/ 485 w 698"/>
              <a:gd name="T21" fmla="*/ 581 h 924"/>
              <a:gd name="T22" fmla="*/ 515 w 698"/>
              <a:gd name="T23" fmla="*/ 553 h 924"/>
              <a:gd name="T24" fmla="*/ 553 w 698"/>
              <a:gd name="T25" fmla="*/ 537 h 924"/>
              <a:gd name="T26" fmla="*/ 667 w 698"/>
              <a:gd name="T27" fmla="*/ 595 h 924"/>
              <a:gd name="T28" fmla="*/ 231 w 698"/>
              <a:gd name="T29" fmla="*/ 817 h 924"/>
              <a:gd name="T30" fmla="*/ 213 w 698"/>
              <a:gd name="T31" fmla="*/ 851 h 924"/>
              <a:gd name="T32" fmla="*/ 183 w 698"/>
              <a:gd name="T33" fmla="*/ 876 h 924"/>
              <a:gd name="T34" fmla="*/ 145 w 698"/>
              <a:gd name="T35" fmla="*/ 891 h 924"/>
              <a:gd name="T36" fmla="*/ 104 w 698"/>
              <a:gd name="T37" fmla="*/ 891 h 924"/>
              <a:gd name="T38" fmla="*/ 71 w 698"/>
              <a:gd name="T39" fmla="*/ 876 h 924"/>
              <a:gd name="T40" fmla="*/ 46 w 698"/>
              <a:gd name="T41" fmla="*/ 850 h 924"/>
              <a:gd name="T42" fmla="*/ 32 w 698"/>
              <a:gd name="T43" fmla="*/ 814 h 924"/>
              <a:gd name="T44" fmla="*/ 32 w 698"/>
              <a:gd name="T45" fmla="*/ 772 h 924"/>
              <a:gd name="T46" fmla="*/ 46 w 698"/>
              <a:gd name="T47" fmla="*/ 734 h 924"/>
              <a:gd name="T48" fmla="*/ 71 w 698"/>
              <a:gd name="T49" fmla="*/ 707 h 924"/>
              <a:gd name="T50" fmla="*/ 104 w 698"/>
              <a:gd name="T51" fmla="*/ 693 h 924"/>
              <a:gd name="T52" fmla="*/ 233 w 698"/>
              <a:gd name="T53" fmla="*/ 712 h 924"/>
              <a:gd name="T54" fmla="*/ 124 w 698"/>
              <a:gd name="T55" fmla="*/ 660 h 924"/>
              <a:gd name="T56" fmla="*/ 74 w 698"/>
              <a:gd name="T57" fmla="*/ 670 h 924"/>
              <a:gd name="T58" fmla="*/ 35 w 698"/>
              <a:gd name="T59" fmla="*/ 697 h 924"/>
              <a:gd name="T60" fmla="*/ 9 w 698"/>
              <a:gd name="T61" fmla="*/ 740 h 924"/>
              <a:gd name="T62" fmla="*/ 0 w 698"/>
              <a:gd name="T63" fmla="*/ 793 h 924"/>
              <a:gd name="T64" fmla="*/ 9 w 698"/>
              <a:gd name="T65" fmla="*/ 845 h 924"/>
              <a:gd name="T66" fmla="*/ 35 w 698"/>
              <a:gd name="T67" fmla="*/ 886 h 924"/>
              <a:gd name="T68" fmla="*/ 74 w 698"/>
              <a:gd name="T69" fmla="*/ 914 h 924"/>
              <a:gd name="T70" fmla="*/ 124 w 698"/>
              <a:gd name="T71" fmla="*/ 924 h 924"/>
              <a:gd name="T72" fmla="*/ 177 w 698"/>
              <a:gd name="T73" fmla="*/ 914 h 924"/>
              <a:gd name="T74" fmla="*/ 222 w 698"/>
              <a:gd name="T75" fmla="*/ 886 h 924"/>
              <a:gd name="T76" fmla="*/ 252 w 698"/>
              <a:gd name="T77" fmla="*/ 847 h 924"/>
              <a:gd name="T78" fmla="*/ 264 w 698"/>
              <a:gd name="T79" fmla="*/ 800 h 924"/>
              <a:gd name="T80" fmla="*/ 667 w 698"/>
              <a:gd name="T81" fmla="*/ 201 h 924"/>
              <a:gd name="T82" fmla="*/ 546 w 698"/>
              <a:gd name="T83" fmla="*/ 507 h 924"/>
              <a:gd name="T84" fmla="*/ 497 w 698"/>
              <a:gd name="T85" fmla="*/ 527 h 924"/>
              <a:gd name="T86" fmla="*/ 458 w 698"/>
              <a:gd name="T87" fmla="*/ 563 h 924"/>
              <a:gd name="T88" fmla="*/ 437 w 698"/>
              <a:gd name="T89" fmla="*/ 611 h 924"/>
              <a:gd name="T90" fmla="*/ 437 w 698"/>
              <a:gd name="T91" fmla="*/ 663 h 924"/>
              <a:gd name="T92" fmla="*/ 458 w 698"/>
              <a:gd name="T93" fmla="*/ 710 h 924"/>
              <a:gd name="T94" fmla="*/ 497 w 698"/>
              <a:gd name="T95" fmla="*/ 745 h 924"/>
              <a:gd name="T96" fmla="*/ 546 w 698"/>
              <a:gd name="T97" fmla="*/ 765 h 924"/>
              <a:gd name="T98" fmla="*/ 601 w 698"/>
              <a:gd name="T99" fmla="*/ 766 h 924"/>
              <a:gd name="T100" fmla="*/ 645 w 698"/>
              <a:gd name="T101" fmla="*/ 747 h 924"/>
              <a:gd name="T102" fmla="*/ 678 w 698"/>
              <a:gd name="T103" fmla="*/ 714 h 924"/>
              <a:gd name="T104" fmla="*/ 696 w 698"/>
              <a:gd name="T105" fmla="*/ 670 h 924"/>
              <a:gd name="T106" fmla="*/ 698 w 698"/>
              <a:gd name="T107" fmla="*/ 504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8" h="924">
                <a:moveTo>
                  <a:pt x="264" y="326"/>
                </a:moveTo>
                <a:lnTo>
                  <a:pt x="264" y="204"/>
                </a:lnTo>
                <a:lnTo>
                  <a:pt x="667" y="45"/>
                </a:lnTo>
                <a:lnTo>
                  <a:pt x="667" y="167"/>
                </a:lnTo>
                <a:lnTo>
                  <a:pt x="264" y="326"/>
                </a:lnTo>
                <a:close/>
                <a:moveTo>
                  <a:pt x="667" y="644"/>
                </a:moveTo>
                <a:lnTo>
                  <a:pt x="667" y="654"/>
                </a:lnTo>
                <a:lnTo>
                  <a:pt x="666" y="663"/>
                </a:lnTo>
                <a:lnTo>
                  <a:pt x="664" y="673"/>
                </a:lnTo>
                <a:lnTo>
                  <a:pt x="661" y="681"/>
                </a:lnTo>
                <a:lnTo>
                  <a:pt x="657" y="690"/>
                </a:lnTo>
                <a:lnTo>
                  <a:pt x="652" y="697"/>
                </a:lnTo>
                <a:lnTo>
                  <a:pt x="647" y="704"/>
                </a:lnTo>
                <a:lnTo>
                  <a:pt x="641" y="711"/>
                </a:lnTo>
                <a:lnTo>
                  <a:pt x="634" y="716"/>
                </a:lnTo>
                <a:lnTo>
                  <a:pt x="627" y="722"/>
                </a:lnTo>
                <a:lnTo>
                  <a:pt x="620" y="726"/>
                </a:lnTo>
                <a:lnTo>
                  <a:pt x="612" y="731"/>
                </a:lnTo>
                <a:lnTo>
                  <a:pt x="603" y="733"/>
                </a:lnTo>
                <a:lnTo>
                  <a:pt x="594" y="735"/>
                </a:lnTo>
                <a:lnTo>
                  <a:pt x="584" y="737"/>
                </a:lnTo>
                <a:lnTo>
                  <a:pt x="574" y="737"/>
                </a:lnTo>
                <a:lnTo>
                  <a:pt x="564" y="736"/>
                </a:lnTo>
                <a:lnTo>
                  <a:pt x="553" y="735"/>
                </a:lnTo>
                <a:lnTo>
                  <a:pt x="543" y="733"/>
                </a:lnTo>
                <a:lnTo>
                  <a:pt x="533" y="730"/>
                </a:lnTo>
                <a:lnTo>
                  <a:pt x="523" y="725"/>
                </a:lnTo>
                <a:lnTo>
                  <a:pt x="514" y="720"/>
                </a:lnTo>
                <a:lnTo>
                  <a:pt x="506" y="714"/>
                </a:lnTo>
                <a:lnTo>
                  <a:pt x="498" y="707"/>
                </a:lnTo>
                <a:lnTo>
                  <a:pt x="491" y="701"/>
                </a:lnTo>
                <a:lnTo>
                  <a:pt x="485" y="693"/>
                </a:lnTo>
                <a:lnTo>
                  <a:pt x="480" y="684"/>
                </a:lnTo>
                <a:lnTo>
                  <a:pt x="474" y="676"/>
                </a:lnTo>
                <a:lnTo>
                  <a:pt x="471" y="666"/>
                </a:lnTo>
                <a:lnTo>
                  <a:pt x="468" y="657"/>
                </a:lnTo>
                <a:lnTo>
                  <a:pt x="466" y="647"/>
                </a:lnTo>
                <a:lnTo>
                  <a:pt x="466" y="637"/>
                </a:lnTo>
                <a:lnTo>
                  <a:pt x="466" y="627"/>
                </a:lnTo>
                <a:lnTo>
                  <a:pt x="468" y="617"/>
                </a:lnTo>
                <a:lnTo>
                  <a:pt x="471" y="607"/>
                </a:lnTo>
                <a:lnTo>
                  <a:pt x="475" y="598"/>
                </a:lnTo>
                <a:lnTo>
                  <a:pt x="480" y="590"/>
                </a:lnTo>
                <a:lnTo>
                  <a:pt x="485" y="581"/>
                </a:lnTo>
                <a:lnTo>
                  <a:pt x="492" y="573"/>
                </a:lnTo>
                <a:lnTo>
                  <a:pt x="498" y="566"/>
                </a:lnTo>
                <a:lnTo>
                  <a:pt x="506" y="560"/>
                </a:lnTo>
                <a:lnTo>
                  <a:pt x="515" y="553"/>
                </a:lnTo>
                <a:lnTo>
                  <a:pt x="524" y="548"/>
                </a:lnTo>
                <a:lnTo>
                  <a:pt x="533" y="544"/>
                </a:lnTo>
                <a:lnTo>
                  <a:pt x="543" y="540"/>
                </a:lnTo>
                <a:lnTo>
                  <a:pt x="553" y="537"/>
                </a:lnTo>
                <a:lnTo>
                  <a:pt x="564" y="536"/>
                </a:lnTo>
                <a:lnTo>
                  <a:pt x="574" y="535"/>
                </a:lnTo>
                <a:lnTo>
                  <a:pt x="667" y="535"/>
                </a:lnTo>
                <a:lnTo>
                  <a:pt x="667" y="595"/>
                </a:lnTo>
                <a:lnTo>
                  <a:pt x="667" y="644"/>
                </a:lnTo>
                <a:close/>
                <a:moveTo>
                  <a:pt x="233" y="800"/>
                </a:moveTo>
                <a:lnTo>
                  <a:pt x="232" y="808"/>
                </a:lnTo>
                <a:lnTo>
                  <a:pt x="231" y="817"/>
                </a:lnTo>
                <a:lnTo>
                  <a:pt x="227" y="826"/>
                </a:lnTo>
                <a:lnTo>
                  <a:pt x="224" y="835"/>
                </a:lnTo>
                <a:lnTo>
                  <a:pt x="219" y="843"/>
                </a:lnTo>
                <a:lnTo>
                  <a:pt x="213" y="851"/>
                </a:lnTo>
                <a:lnTo>
                  <a:pt x="206" y="857"/>
                </a:lnTo>
                <a:lnTo>
                  <a:pt x="200" y="864"/>
                </a:lnTo>
                <a:lnTo>
                  <a:pt x="192" y="871"/>
                </a:lnTo>
                <a:lnTo>
                  <a:pt x="183" y="876"/>
                </a:lnTo>
                <a:lnTo>
                  <a:pt x="174" y="881"/>
                </a:lnTo>
                <a:lnTo>
                  <a:pt x="165" y="885"/>
                </a:lnTo>
                <a:lnTo>
                  <a:pt x="155" y="888"/>
                </a:lnTo>
                <a:lnTo>
                  <a:pt x="145" y="891"/>
                </a:lnTo>
                <a:lnTo>
                  <a:pt x="134" y="892"/>
                </a:lnTo>
                <a:lnTo>
                  <a:pt x="124" y="893"/>
                </a:lnTo>
                <a:lnTo>
                  <a:pt x="114" y="892"/>
                </a:lnTo>
                <a:lnTo>
                  <a:pt x="104" y="891"/>
                </a:lnTo>
                <a:lnTo>
                  <a:pt x="95" y="888"/>
                </a:lnTo>
                <a:lnTo>
                  <a:pt x="86" y="885"/>
                </a:lnTo>
                <a:lnTo>
                  <a:pt x="79" y="881"/>
                </a:lnTo>
                <a:lnTo>
                  <a:pt x="71" y="876"/>
                </a:lnTo>
                <a:lnTo>
                  <a:pt x="63" y="871"/>
                </a:lnTo>
                <a:lnTo>
                  <a:pt x="57" y="864"/>
                </a:lnTo>
                <a:lnTo>
                  <a:pt x="51" y="857"/>
                </a:lnTo>
                <a:lnTo>
                  <a:pt x="46" y="850"/>
                </a:lnTo>
                <a:lnTo>
                  <a:pt x="42" y="842"/>
                </a:lnTo>
                <a:lnTo>
                  <a:pt x="37" y="833"/>
                </a:lnTo>
                <a:lnTo>
                  <a:pt x="34" y="823"/>
                </a:lnTo>
                <a:lnTo>
                  <a:pt x="32" y="814"/>
                </a:lnTo>
                <a:lnTo>
                  <a:pt x="31" y="803"/>
                </a:lnTo>
                <a:lnTo>
                  <a:pt x="31" y="793"/>
                </a:lnTo>
                <a:lnTo>
                  <a:pt x="31" y="782"/>
                </a:lnTo>
                <a:lnTo>
                  <a:pt x="32" y="772"/>
                </a:lnTo>
                <a:lnTo>
                  <a:pt x="34" y="762"/>
                </a:lnTo>
                <a:lnTo>
                  <a:pt x="37" y="752"/>
                </a:lnTo>
                <a:lnTo>
                  <a:pt x="42" y="743"/>
                </a:lnTo>
                <a:lnTo>
                  <a:pt x="46" y="734"/>
                </a:lnTo>
                <a:lnTo>
                  <a:pt x="51" y="726"/>
                </a:lnTo>
                <a:lnTo>
                  <a:pt x="57" y="720"/>
                </a:lnTo>
                <a:lnTo>
                  <a:pt x="63" y="713"/>
                </a:lnTo>
                <a:lnTo>
                  <a:pt x="71" y="707"/>
                </a:lnTo>
                <a:lnTo>
                  <a:pt x="79" y="703"/>
                </a:lnTo>
                <a:lnTo>
                  <a:pt x="86" y="698"/>
                </a:lnTo>
                <a:lnTo>
                  <a:pt x="95" y="695"/>
                </a:lnTo>
                <a:lnTo>
                  <a:pt x="104" y="693"/>
                </a:lnTo>
                <a:lnTo>
                  <a:pt x="114" y="691"/>
                </a:lnTo>
                <a:lnTo>
                  <a:pt x="124" y="691"/>
                </a:lnTo>
                <a:lnTo>
                  <a:pt x="233" y="691"/>
                </a:lnTo>
                <a:lnTo>
                  <a:pt x="233" y="712"/>
                </a:lnTo>
                <a:lnTo>
                  <a:pt x="233" y="800"/>
                </a:lnTo>
                <a:close/>
                <a:moveTo>
                  <a:pt x="233" y="183"/>
                </a:moveTo>
                <a:lnTo>
                  <a:pt x="233" y="660"/>
                </a:lnTo>
                <a:lnTo>
                  <a:pt x="124" y="660"/>
                </a:lnTo>
                <a:lnTo>
                  <a:pt x="111" y="661"/>
                </a:lnTo>
                <a:lnTo>
                  <a:pt x="99" y="662"/>
                </a:lnTo>
                <a:lnTo>
                  <a:pt x="86" y="665"/>
                </a:lnTo>
                <a:lnTo>
                  <a:pt x="74" y="670"/>
                </a:lnTo>
                <a:lnTo>
                  <a:pt x="64" y="675"/>
                </a:lnTo>
                <a:lnTo>
                  <a:pt x="53" y="682"/>
                </a:lnTo>
                <a:lnTo>
                  <a:pt x="44" y="690"/>
                </a:lnTo>
                <a:lnTo>
                  <a:pt x="35" y="697"/>
                </a:lnTo>
                <a:lnTo>
                  <a:pt x="27" y="707"/>
                </a:lnTo>
                <a:lnTo>
                  <a:pt x="20" y="717"/>
                </a:lnTo>
                <a:lnTo>
                  <a:pt x="14" y="728"/>
                </a:lnTo>
                <a:lnTo>
                  <a:pt x="9" y="740"/>
                </a:lnTo>
                <a:lnTo>
                  <a:pt x="5" y="752"/>
                </a:lnTo>
                <a:lnTo>
                  <a:pt x="2" y="765"/>
                </a:lnTo>
                <a:lnTo>
                  <a:pt x="0" y="778"/>
                </a:lnTo>
                <a:lnTo>
                  <a:pt x="0" y="793"/>
                </a:lnTo>
                <a:lnTo>
                  <a:pt x="0" y="806"/>
                </a:lnTo>
                <a:lnTo>
                  <a:pt x="2" y="820"/>
                </a:lnTo>
                <a:lnTo>
                  <a:pt x="5" y="833"/>
                </a:lnTo>
                <a:lnTo>
                  <a:pt x="9" y="845"/>
                </a:lnTo>
                <a:lnTo>
                  <a:pt x="14" y="856"/>
                </a:lnTo>
                <a:lnTo>
                  <a:pt x="20" y="867"/>
                </a:lnTo>
                <a:lnTo>
                  <a:pt x="26" y="877"/>
                </a:lnTo>
                <a:lnTo>
                  <a:pt x="35" y="886"/>
                </a:lnTo>
                <a:lnTo>
                  <a:pt x="43" y="895"/>
                </a:lnTo>
                <a:lnTo>
                  <a:pt x="53" y="903"/>
                </a:lnTo>
                <a:lnTo>
                  <a:pt x="63" y="908"/>
                </a:lnTo>
                <a:lnTo>
                  <a:pt x="74" y="914"/>
                </a:lnTo>
                <a:lnTo>
                  <a:pt x="85" y="918"/>
                </a:lnTo>
                <a:lnTo>
                  <a:pt x="97" y="922"/>
                </a:lnTo>
                <a:lnTo>
                  <a:pt x="111" y="923"/>
                </a:lnTo>
                <a:lnTo>
                  <a:pt x="124" y="924"/>
                </a:lnTo>
                <a:lnTo>
                  <a:pt x="137" y="923"/>
                </a:lnTo>
                <a:lnTo>
                  <a:pt x="151" y="921"/>
                </a:lnTo>
                <a:lnTo>
                  <a:pt x="164" y="918"/>
                </a:lnTo>
                <a:lnTo>
                  <a:pt x="177" y="914"/>
                </a:lnTo>
                <a:lnTo>
                  <a:pt x="190" y="908"/>
                </a:lnTo>
                <a:lnTo>
                  <a:pt x="201" y="902"/>
                </a:lnTo>
                <a:lnTo>
                  <a:pt x="212" y="895"/>
                </a:lnTo>
                <a:lnTo>
                  <a:pt x="222" y="886"/>
                </a:lnTo>
                <a:lnTo>
                  <a:pt x="231" y="877"/>
                </a:lnTo>
                <a:lnTo>
                  <a:pt x="240" y="868"/>
                </a:lnTo>
                <a:lnTo>
                  <a:pt x="246" y="857"/>
                </a:lnTo>
                <a:lnTo>
                  <a:pt x="252" y="847"/>
                </a:lnTo>
                <a:lnTo>
                  <a:pt x="257" y="835"/>
                </a:lnTo>
                <a:lnTo>
                  <a:pt x="261" y="824"/>
                </a:lnTo>
                <a:lnTo>
                  <a:pt x="263" y="812"/>
                </a:lnTo>
                <a:lnTo>
                  <a:pt x="264" y="800"/>
                </a:lnTo>
                <a:lnTo>
                  <a:pt x="264" y="712"/>
                </a:lnTo>
                <a:lnTo>
                  <a:pt x="264" y="660"/>
                </a:lnTo>
                <a:lnTo>
                  <a:pt x="264" y="360"/>
                </a:lnTo>
                <a:lnTo>
                  <a:pt x="667" y="201"/>
                </a:lnTo>
                <a:lnTo>
                  <a:pt x="667" y="504"/>
                </a:lnTo>
                <a:lnTo>
                  <a:pt x="574" y="504"/>
                </a:lnTo>
                <a:lnTo>
                  <a:pt x="561" y="505"/>
                </a:lnTo>
                <a:lnTo>
                  <a:pt x="546" y="507"/>
                </a:lnTo>
                <a:lnTo>
                  <a:pt x="534" y="511"/>
                </a:lnTo>
                <a:lnTo>
                  <a:pt x="521" y="515"/>
                </a:lnTo>
                <a:lnTo>
                  <a:pt x="508" y="521"/>
                </a:lnTo>
                <a:lnTo>
                  <a:pt x="497" y="527"/>
                </a:lnTo>
                <a:lnTo>
                  <a:pt x="486" y="535"/>
                </a:lnTo>
                <a:lnTo>
                  <a:pt x="476" y="544"/>
                </a:lnTo>
                <a:lnTo>
                  <a:pt x="467" y="553"/>
                </a:lnTo>
                <a:lnTo>
                  <a:pt x="458" y="563"/>
                </a:lnTo>
                <a:lnTo>
                  <a:pt x="452" y="574"/>
                </a:lnTo>
                <a:lnTo>
                  <a:pt x="446" y="586"/>
                </a:lnTo>
                <a:lnTo>
                  <a:pt x="441" y="598"/>
                </a:lnTo>
                <a:lnTo>
                  <a:pt x="437" y="611"/>
                </a:lnTo>
                <a:lnTo>
                  <a:pt x="435" y="624"/>
                </a:lnTo>
                <a:lnTo>
                  <a:pt x="435" y="637"/>
                </a:lnTo>
                <a:lnTo>
                  <a:pt x="435" y="651"/>
                </a:lnTo>
                <a:lnTo>
                  <a:pt x="437" y="663"/>
                </a:lnTo>
                <a:lnTo>
                  <a:pt x="441" y="676"/>
                </a:lnTo>
                <a:lnTo>
                  <a:pt x="446" y="687"/>
                </a:lnTo>
                <a:lnTo>
                  <a:pt x="452" y="700"/>
                </a:lnTo>
                <a:lnTo>
                  <a:pt x="458" y="710"/>
                </a:lnTo>
                <a:lnTo>
                  <a:pt x="467" y="720"/>
                </a:lnTo>
                <a:lnTo>
                  <a:pt x="476" y="730"/>
                </a:lnTo>
                <a:lnTo>
                  <a:pt x="486" y="738"/>
                </a:lnTo>
                <a:lnTo>
                  <a:pt x="497" y="745"/>
                </a:lnTo>
                <a:lnTo>
                  <a:pt x="508" y="752"/>
                </a:lnTo>
                <a:lnTo>
                  <a:pt x="521" y="757"/>
                </a:lnTo>
                <a:lnTo>
                  <a:pt x="534" y="763"/>
                </a:lnTo>
                <a:lnTo>
                  <a:pt x="546" y="765"/>
                </a:lnTo>
                <a:lnTo>
                  <a:pt x="561" y="767"/>
                </a:lnTo>
                <a:lnTo>
                  <a:pt x="574" y="768"/>
                </a:lnTo>
                <a:lnTo>
                  <a:pt x="587" y="767"/>
                </a:lnTo>
                <a:lnTo>
                  <a:pt x="601" y="766"/>
                </a:lnTo>
                <a:lnTo>
                  <a:pt x="612" y="763"/>
                </a:lnTo>
                <a:lnTo>
                  <a:pt x="624" y="758"/>
                </a:lnTo>
                <a:lnTo>
                  <a:pt x="635" y="754"/>
                </a:lnTo>
                <a:lnTo>
                  <a:pt x="645" y="747"/>
                </a:lnTo>
                <a:lnTo>
                  <a:pt x="654" y="741"/>
                </a:lnTo>
                <a:lnTo>
                  <a:pt x="663" y="733"/>
                </a:lnTo>
                <a:lnTo>
                  <a:pt x="671" y="724"/>
                </a:lnTo>
                <a:lnTo>
                  <a:pt x="678" y="714"/>
                </a:lnTo>
                <a:lnTo>
                  <a:pt x="684" y="704"/>
                </a:lnTo>
                <a:lnTo>
                  <a:pt x="690" y="693"/>
                </a:lnTo>
                <a:lnTo>
                  <a:pt x="694" y="682"/>
                </a:lnTo>
                <a:lnTo>
                  <a:pt x="696" y="670"/>
                </a:lnTo>
                <a:lnTo>
                  <a:pt x="698" y="657"/>
                </a:lnTo>
                <a:lnTo>
                  <a:pt x="698" y="644"/>
                </a:lnTo>
                <a:lnTo>
                  <a:pt x="698" y="595"/>
                </a:lnTo>
                <a:lnTo>
                  <a:pt x="698" y="504"/>
                </a:lnTo>
                <a:lnTo>
                  <a:pt x="698" y="0"/>
                </a:lnTo>
                <a:lnTo>
                  <a:pt x="233" y="1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52" name="Freeform 114">
            <a:extLst>
              <a:ext uri="{FF2B5EF4-FFF2-40B4-BE49-F238E27FC236}">
                <a16:creationId xmlns:a16="http://schemas.microsoft.com/office/drawing/2014/main" id="{E5AF43BD-6DE7-43A6-A2A0-556A156021BE}"/>
              </a:ext>
            </a:extLst>
          </p:cNvPr>
          <p:cNvSpPr>
            <a:spLocks noChangeAspect="1" noEditPoints="1"/>
          </p:cNvSpPr>
          <p:nvPr/>
        </p:nvSpPr>
        <p:spPr bwMode="auto">
          <a:xfrm>
            <a:off x="4897347" y="2186361"/>
            <a:ext cx="306484" cy="306484"/>
          </a:xfrm>
          <a:custGeom>
            <a:avLst/>
            <a:gdLst>
              <a:gd name="T0" fmla="*/ 752 w 873"/>
              <a:gd name="T1" fmla="*/ 693 h 873"/>
              <a:gd name="T2" fmla="*/ 511 w 873"/>
              <a:gd name="T3" fmla="*/ 693 h 873"/>
              <a:gd name="T4" fmla="*/ 421 w 873"/>
              <a:gd name="T5" fmla="*/ 693 h 873"/>
              <a:gd name="T6" fmla="*/ 180 w 873"/>
              <a:gd name="T7" fmla="*/ 843 h 873"/>
              <a:gd name="T8" fmla="*/ 120 w 873"/>
              <a:gd name="T9" fmla="*/ 693 h 873"/>
              <a:gd name="T10" fmla="*/ 692 w 873"/>
              <a:gd name="T11" fmla="*/ 30 h 873"/>
              <a:gd name="T12" fmla="*/ 180 w 873"/>
              <a:gd name="T13" fmla="*/ 151 h 873"/>
              <a:gd name="T14" fmla="*/ 782 w 873"/>
              <a:gd name="T15" fmla="*/ 435 h 873"/>
              <a:gd name="T16" fmla="*/ 776 w 873"/>
              <a:gd name="T17" fmla="*/ 425 h 873"/>
              <a:gd name="T18" fmla="*/ 451 w 873"/>
              <a:gd name="T19" fmla="*/ 422 h 873"/>
              <a:gd name="T20" fmla="*/ 713 w 873"/>
              <a:gd name="T21" fmla="*/ 180 h 873"/>
              <a:gd name="T22" fmla="*/ 721 w 873"/>
              <a:gd name="T23" fmla="*/ 172 h 873"/>
              <a:gd name="T24" fmla="*/ 721 w 873"/>
              <a:gd name="T25" fmla="*/ 13 h 873"/>
              <a:gd name="T26" fmla="*/ 716 w 873"/>
              <a:gd name="T27" fmla="*/ 3 h 873"/>
              <a:gd name="T28" fmla="*/ 165 w 873"/>
              <a:gd name="T29" fmla="*/ 0 h 873"/>
              <a:gd name="T30" fmla="*/ 155 w 873"/>
              <a:gd name="T31" fmla="*/ 6 h 873"/>
              <a:gd name="T32" fmla="*/ 150 w 873"/>
              <a:gd name="T33" fmla="*/ 15 h 873"/>
              <a:gd name="T34" fmla="*/ 153 w 873"/>
              <a:gd name="T35" fmla="*/ 175 h 873"/>
              <a:gd name="T36" fmla="*/ 163 w 873"/>
              <a:gd name="T37" fmla="*/ 181 h 873"/>
              <a:gd name="T38" fmla="*/ 105 w 873"/>
              <a:gd name="T39" fmla="*/ 422 h 873"/>
              <a:gd name="T40" fmla="*/ 94 w 873"/>
              <a:gd name="T41" fmla="*/ 427 h 873"/>
              <a:gd name="T42" fmla="*/ 90 w 873"/>
              <a:gd name="T43" fmla="*/ 437 h 873"/>
              <a:gd name="T44" fmla="*/ 9 w 873"/>
              <a:gd name="T45" fmla="*/ 664 h 873"/>
              <a:gd name="T46" fmla="*/ 1 w 873"/>
              <a:gd name="T47" fmla="*/ 673 h 873"/>
              <a:gd name="T48" fmla="*/ 0 w 873"/>
              <a:gd name="T49" fmla="*/ 861 h 873"/>
              <a:gd name="T50" fmla="*/ 6 w 873"/>
              <a:gd name="T51" fmla="*/ 871 h 873"/>
              <a:gd name="T52" fmla="*/ 196 w 873"/>
              <a:gd name="T53" fmla="*/ 873 h 873"/>
              <a:gd name="T54" fmla="*/ 205 w 873"/>
              <a:gd name="T55" fmla="*/ 869 h 873"/>
              <a:gd name="T56" fmla="*/ 211 w 873"/>
              <a:gd name="T57" fmla="*/ 858 h 873"/>
              <a:gd name="T58" fmla="*/ 208 w 873"/>
              <a:gd name="T59" fmla="*/ 669 h 873"/>
              <a:gd name="T60" fmla="*/ 198 w 873"/>
              <a:gd name="T61" fmla="*/ 663 h 873"/>
              <a:gd name="T62" fmla="*/ 421 w 873"/>
              <a:gd name="T63" fmla="*/ 452 h 873"/>
              <a:gd name="T64" fmla="*/ 340 w 873"/>
              <a:gd name="T65" fmla="*/ 664 h 873"/>
              <a:gd name="T66" fmla="*/ 332 w 873"/>
              <a:gd name="T67" fmla="*/ 673 h 873"/>
              <a:gd name="T68" fmla="*/ 331 w 873"/>
              <a:gd name="T69" fmla="*/ 861 h 873"/>
              <a:gd name="T70" fmla="*/ 337 w 873"/>
              <a:gd name="T71" fmla="*/ 871 h 873"/>
              <a:gd name="T72" fmla="*/ 526 w 873"/>
              <a:gd name="T73" fmla="*/ 873 h 873"/>
              <a:gd name="T74" fmla="*/ 537 w 873"/>
              <a:gd name="T75" fmla="*/ 869 h 873"/>
              <a:gd name="T76" fmla="*/ 541 w 873"/>
              <a:gd name="T77" fmla="*/ 858 h 873"/>
              <a:gd name="T78" fmla="*/ 539 w 873"/>
              <a:gd name="T79" fmla="*/ 669 h 873"/>
              <a:gd name="T80" fmla="*/ 529 w 873"/>
              <a:gd name="T81" fmla="*/ 663 h 873"/>
              <a:gd name="T82" fmla="*/ 752 w 873"/>
              <a:gd name="T83" fmla="*/ 452 h 873"/>
              <a:gd name="T84" fmla="*/ 671 w 873"/>
              <a:gd name="T85" fmla="*/ 664 h 873"/>
              <a:gd name="T86" fmla="*/ 663 w 873"/>
              <a:gd name="T87" fmla="*/ 673 h 873"/>
              <a:gd name="T88" fmla="*/ 662 w 873"/>
              <a:gd name="T89" fmla="*/ 861 h 873"/>
              <a:gd name="T90" fmla="*/ 669 w 873"/>
              <a:gd name="T91" fmla="*/ 871 h 873"/>
              <a:gd name="T92" fmla="*/ 858 w 873"/>
              <a:gd name="T93" fmla="*/ 873 h 873"/>
              <a:gd name="T94" fmla="*/ 868 w 873"/>
              <a:gd name="T95" fmla="*/ 869 h 873"/>
              <a:gd name="T96" fmla="*/ 873 w 873"/>
              <a:gd name="T97" fmla="*/ 858 h 873"/>
              <a:gd name="T98" fmla="*/ 870 w 873"/>
              <a:gd name="T99" fmla="*/ 669 h 873"/>
              <a:gd name="T100" fmla="*/ 861 w 873"/>
              <a:gd name="T101" fmla="*/ 66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873">
                <a:moveTo>
                  <a:pt x="843" y="843"/>
                </a:moveTo>
                <a:lnTo>
                  <a:pt x="692" y="843"/>
                </a:lnTo>
                <a:lnTo>
                  <a:pt x="692" y="693"/>
                </a:lnTo>
                <a:lnTo>
                  <a:pt x="752" y="693"/>
                </a:lnTo>
                <a:lnTo>
                  <a:pt x="782" y="693"/>
                </a:lnTo>
                <a:lnTo>
                  <a:pt x="843" y="693"/>
                </a:lnTo>
                <a:lnTo>
                  <a:pt x="843" y="843"/>
                </a:lnTo>
                <a:close/>
                <a:moveTo>
                  <a:pt x="511" y="693"/>
                </a:moveTo>
                <a:lnTo>
                  <a:pt x="511" y="843"/>
                </a:lnTo>
                <a:lnTo>
                  <a:pt x="361" y="843"/>
                </a:lnTo>
                <a:lnTo>
                  <a:pt x="361" y="693"/>
                </a:lnTo>
                <a:lnTo>
                  <a:pt x="421" y="693"/>
                </a:lnTo>
                <a:lnTo>
                  <a:pt x="451" y="693"/>
                </a:lnTo>
                <a:lnTo>
                  <a:pt x="511" y="693"/>
                </a:lnTo>
                <a:close/>
                <a:moveTo>
                  <a:pt x="180" y="693"/>
                </a:moveTo>
                <a:lnTo>
                  <a:pt x="180" y="843"/>
                </a:lnTo>
                <a:lnTo>
                  <a:pt x="30" y="843"/>
                </a:lnTo>
                <a:lnTo>
                  <a:pt x="30" y="693"/>
                </a:lnTo>
                <a:lnTo>
                  <a:pt x="90" y="693"/>
                </a:lnTo>
                <a:lnTo>
                  <a:pt x="120" y="693"/>
                </a:lnTo>
                <a:lnTo>
                  <a:pt x="180" y="693"/>
                </a:lnTo>
                <a:close/>
                <a:moveTo>
                  <a:pt x="180" y="151"/>
                </a:moveTo>
                <a:lnTo>
                  <a:pt x="180" y="30"/>
                </a:lnTo>
                <a:lnTo>
                  <a:pt x="692" y="30"/>
                </a:lnTo>
                <a:lnTo>
                  <a:pt x="692" y="151"/>
                </a:lnTo>
                <a:lnTo>
                  <a:pt x="451" y="151"/>
                </a:lnTo>
                <a:lnTo>
                  <a:pt x="421" y="151"/>
                </a:lnTo>
                <a:lnTo>
                  <a:pt x="180" y="151"/>
                </a:lnTo>
                <a:close/>
                <a:moveTo>
                  <a:pt x="858" y="663"/>
                </a:moveTo>
                <a:lnTo>
                  <a:pt x="782" y="663"/>
                </a:lnTo>
                <a:lnTo>
                  <a:pt x="782" y="437"/>
                </a:lnTo>
                <a:lnTo>
                  <a:pt x="782" y="435"/>
                </a:lnTo>
                <a:lnTo>
                  <a:pt x="781" y="431"/>
                </a:lnTo>
                <a:lnTo>
                  <a:pt x="779" y="429"/>
                </a:lnTo>
                <a:lnTo>
                  <a:pt x="778" y="427"/>
                </a:lnTo>
                <a:lnTo>
                  <a:pt x="776" y="425"/>
                </a:lnTo>
                <a:lnTo>
                  <a:pt x="773" y="424"/>
                </a:lnTo>
                <a:lnTo>
                  <a:pt x="771" y="423"/>
                </a:lnTo>
                <a:lnTo>
                  <a:pt x="767" y="422"/>
                </a:lnTo>
                <a:lnTo>
                  <a:pt x="451" y="422"/>
                </a:lnTo>
                <a:lnTo>
                  <a:pt x="451" y="181"/>
                </a:lnTo>
                <a:lnTo>
                  <a:pt x="707" y="181"/>
                </a:lnTo>
                <a:lnTo>
                  <a:pt x="711" y="181"/>
                </a:lnTo>
                <a:lnTo>
                  <a:pt x="713" y="180"/>
                </a:lnTo>
                <a:lnTo>
                  <a:pt x="716" y="178"/>
                </a:lnTo>
                <a:lnTo>
                  <a:pt x="718" y="177"/>
                </a:lnTo>
                <a:lnTo>
                  <a:pt x="719" y="175"/>
                </a:lnTo>
                <a:lnTo>
                  <a:pt x="721" y="172"/>
                </a:lnTo>
                <a:lnTo>
                  <a:pt x="721" y="170"/>
                </a:lnTo>
                <a:lnTo>
                  <a:pt x="722" y="166"/>
                </a:lnTo>
                <a:lnTo>
                  <a:pt x="722" y="15"/>
                </a:lnTo>
                <a:lnTo>
                  <a:pt x="721" y="13"/>
                </a:lnTo>
                <a:lnTo>
                  <a:pt x="721" y="10"/>
                </a:lnTo>
                <a:lnTo>
                  <a:pt x="719" y="8"/>
                </a:lnTo>
                <a:lnTo>
                  <a:pt x="718" y="6"/>
                </a:lnTo>
                <a:lnTo>
                  <a:pt x="716" y="3"/>
                </a:lnTo>
                <a:lnTo>
                  <a:pt x="713" y="2"/>
                </a:lnTo>
                <a:lnTo>
                  <a:pt x="711" y="1"/>
                </a:lnTo>
                <a:lnTo>
                  <a:pt x="707" y="0"/>
                </a:lnTo>
                <a:lnTo>
                  <a:pt x="165" y="0"/>
                </a:lnTo>
                <a:lnTo>
                  <a:pt x="163" y="1"/>
                </a:lnTo>
                <a:lnTo>
                  <a:pt x="159" y="2"/>
                </a:lnTo>
                <a:lnTo>
                  <a:pt x="157" y="3"/>
                </a:lnTo>
                <a:lnTo>
                  <a:pt x="155" y="6"/>
                </a:lnTo>
                <a:lnTo>
                  <a:pt x="153" y="8"/>
                </a:lnTo>
                <a:lnTo>
                  <a:pt x="152" y="10"/>
                </a:lnTo>
                <a:lnTo>
                  <a:pt x="151" y="13"/>
                </a:lnTo>
                <a:lnTo>
                  <a:pt x="150" y="15"/>
                </a:lnTo>
                <a:lnTo>
                  <a:pt x="150" y="166"/>
                </a:lnTo>
                <a:lnTo>
                  <a:pt x="151" y="170"/>
                </a:lnTo>
                <a:lnTo>
                  <a:pt x="152" y="172"/>
                </a:lnTo>
                <a:lnTo>
                  <a:pt x="153" y="175"/>
                </a:lnTo>
                <a:lnTo>
                  <a:pt x="155" y="177"/>
                </a:lnTo>
                <a:lnTo>
                  <a:pt x="157" y="178"/>
                </a:lnTo>
                <a:lnTo>
                  <a:pt x="159" y="180"/>
                </a:lnTo>
                <a:lnTo>
                  <a:pt x="163" y="181"/>
                </a:lnTo>
                <a:lnTo>
                  <a:pt x="165" y="181"/>
                </a:lnTo>
                <a:lnTo>
                  <a:pt x="421" y="181"/>
                </a:lnTo>
                <a:lnTo>
                  <a:pt x="421" y="422"/>
                </a:lnTo>
                <a:lnTo>
                  <a:pt x="105" y="422"/>
                </a:lnTo>
                <a:lnTo>
                  <a:pt x="101" y="423"/>
                </a:lnTo>
                <a:lnTo>
                  <a:pt x="99" y="424"/>
                </a:lnTo>
                <a:lnTo>
                  <a:pt x="96" y="425"/>
                </a:lnTo>
                <a:lnTo>
                  <a:pt x="94" y="427"/>
                </a:lnTo>
                <a:lnTo>
                  <a:pt x="93" y="429"/>
                </a:lnTo>
                <a:lnTo>
                  <a:pt x="91" y="431"/>
                </a:lnTo>
                <a:lnTo>
                  <a:pt x="91" y="435"/>
                </a:lnTo>
                <a:lnTo>
                  <a:pt x="90" y="437"/>
                </a:lnTo>
                <a:lnTo>
                  <a:pt x="90" y="663"/>
                </a:lnTo>
                <a:lnTo>
                  <a:pt x="15" y="663"/>
                </a:lnTo>
                <a:lnTo>
                  <a:pt x="11" y="663"/>
                </a:lnTo>
                <a:lnTo>
                  <a:pt x="9" y="664"/>
                </a:lnTo>
                <a:lnTo>
                  <a:pt x="6" y="665"/>
                </a:lnTo>
                <a:lnTo>
                  <a:pt x="4" y="667"/>
                </a:lnTo>
                <a:lnTo>
                  <a:pt x="2" y="669"/>
                </a:lnTo>
                <a:lnTo>
                  <a:pt x="1" y="673"/>
                </a:lnTo>
                <a:lnTo>
                  <a:pt x="0" y="675"/>
                </a:lnTo>
                <a:lnTo>
                  <a:pt x="0" y="678"/>
                </a:lnTo>
                <a:lnTo>
                  <a:pt x="0" y="858"/>
                </a:lnTo>
                <a:lnTo>
                  <a:pt x="0" y="861"/>
                </a:lnTo>
                <a:lnTo>
                  <a:pt x="1" y="865"/>
                </a:lnTo>
                <a:lnTo>
                  <a:pt x="2" y="867"/>
                </a:lnTo>
                <a:lnTo>
                  <a:pt x="4" y="869"/>
                </a:lnTo>
                <a:lnTo>
                  <a:pt x="6" y="871"/>
                </a:lnTo>
                <a:lnTo>
                  <a:pt x="9" y="872"/>
                </a:lnTo>
                <a:lnTo>
                  <a:pt x="11" y="873"/>
                </a:lnTo>
                <a:lnTo>
                  <a:pt x="15" y="873"/>
                </a:lnTo>
                <a:lnTo>
                  <a:pt x="196" y="873"/>
                </a:lnTo>
                <a:lnTo>
                  <a:pt x="198" y="873"/>
                </a:lnTo>
                <a:lnTo>
                  <a:pt x="201" y="872"/>
                </a:lnTo>
                <a:lnTo>
                  <a:pt x="203" y="871"/>
                </a:lnTo>
                <a:lnTo>
                  <a:pt x="205" y="869"/>
                </a:lnTo>
                <a:lnTo>
                  <a:pt x="208" y="867"/>
                </a:lnTo>
                <a:lnTo>
                  <a:pt x="209" y="865"/>
                </a:lnTo>
                <a:lnTo>
                  <a:pt x="210" y="861"/>
                </a:lnTo>
                <a:lnTo>
                  <a:pt x="211" y="858"/>
                </a:lnTo>
                <a:lnTo>
                  <a:pt x="211" y="678"/>
                </a:lnTo>
                <a:lnTo>
                  <a:pt x="210" y="675"/>
                </a:lnTo>
                <a:lnTo>
                  <a:pt x="209" y="673"/>
                </a:lnTo>
                <a:lnTo>
                  <a:pt x="208" y="669"/>
                </a:lnTo>
                <a:lnTo>
                  <a:pt x="205" y="667"/>
                </a:lnTo>
                <a:lnTo>
                  <a:pt x="203" y="665"/>
                </a:lnTo>
                <a:lnTo>
                  <a:pt x="201" y="664"/>
                </a:lnTo>
                <a:lnTo>
                  <a:pt x="198" y="663"/>
                </a:lnTo>
                <a:lnTo>
                  <a:pt x="196" y="663"/>
                </a:lnTo>
                <a:lnTo>
                  <a:pt x="120" y="663"/>
                </a:lnTo>
                <a:lnTo>
                  <a:pt x="120" y="452"/>
                </a:lnTo>
                <a:lnTo>
                  <a:pt x="421" y="452"/>
                </a:lnTo>
                <a:lnTo>
                  <a:pt x="421" y="663"/>
                </a:lnTo>
                <a:lnTo>
                  <a:pt x="346" y="663"/>
                </a:lnTo>
                <a:lnTo>
                  <a:pt x="343" y="663"/>
                </a:lnTo>
                <a:lnTo>
                  <a:pt x="340" y="664"/>
                </a:lnTo>
                <a:lnTo>
                  <a:pt x="337" y="665"/>
                </a:lnTo>
                <a:lnTo>
                  <a:pt x="335" y="667"/>
                </a:lnTo>
                <a:lnTo>
                  <a:pt x="333" y="669"/>
                </a:lnTo>
                <a:lnTo>
                  <a:pt x="332" y="673"/>
                </a:lnTo>
                <a:lnTo>
                  <a:pt x="331" y="675"/>
                </a:lnTo>
                <a:lnTo>
                  <a:pt x="331" y="678"/>
                </a:lnTo>
                <a:lnTo>
                  <a:pt x="331" y="858"/>
                </a:lnTo>
                <a:lnTo>
                  <a:pt x="331" y="861"/>
                </a:lnTo>
                <a:lnTo>
                  <a:pt x="332" y="865"/>
                </a:lnTo>
                <a:lnTo>
                  <a:pt x="333" y="867"/>
                </a:lnTo>
                <a:lnTo>
                  <a:pt x="335" y="869"/>
                </a:lnTo>
                <a:lnTo>
                  <a:pt x="337" y="871"/>
                </a:lnTo>
                <a:lnTo>
                  <a:pt x="340" y="872"/>
                </a:lnTo>
                <a:lnTo>
                  <a:pt x="343" y="873"/>
                </a:lnTo>
                <a:lnTo>
                  <a:pt x="346" y="873"/>
                </a:lnTo>
                <a:lnTo>
                  <a:pt x="526" y="873"/>
                </a:lnTo>
                <a:lnTo>
                  <a:pt x="529" y="873"/>
                </a:lnTo>
                <a:lnTo>
                  <a:pt x="533" y="872"/>
                </a:lnTo>
                <a:lnTo>
                  <a:pt x="535" y="871"/>
                </a:lnTo>
                <a:lnTo>
                  <a:pt x="537" y="869"/>
                </a:lnTo>
                <a:lnTo>
                  <a:pt x="539" y="867"/>
                </a:lnTo>
                <a:lnTo>
                  <a:pt x="540" y="865"/>
                </a:lnTo>
                <a:lnTo>
                  <a:pt x="541" y="861"/>
                </a:lnTo>
                <a:lnTo>
                  <a:pt x="541" y="858"/>
                </a:lnTo>
                <a:lnTo>
                  <a:pt x="541" y="678"/>
                </a:lnTo>
                <a:lnTo>
                  <a:pt x="541" y="675"/>
                </a:lnTo>
                <a:lnTo>
                  <a:pt x="540" y="673"/>
                </a:lnTo>
                <a:lnTo>
                  <a:pt x="539" y="669"/>
                </a:lnTo>
                <a:lnTo>
                  <a:pt x="537" y="667"/>
                </a:lnTo>
                <a:lnTo>
                  <a:pt x="535" y="665"/>
                </a:lnTo>
                <a:lnTo>
                  <a:pt x="533" y="664"/>
                </a:lnTo>
                <a:lnTo>
                  <a:pt x="529" y="663"/>
                </a:lnTo>
                <a:lnTo>
                  <a:pt x="526" y="663"/>
                </a:lnTo>
                <a:lnTo>
                  <a:pt x="451" y="663"/>
                </a:lnTo>
                <a:lnTo>
                  <a:pt x="451" y="452"/>
                </a:lnTo>
                <a:lnTo>
                  <a:pt x="752" y="452"/>
                </a:lnTo>
                <a:lnTo>
                  <a:pt x="752" y="663"/>
                </a:lnTo>
                <a:lnTo>
                  <a:pt x="677" y="663"/>
                </a:lnTo>
                <a:lnTo>
                  <a:pt x="674" y="663"/>
                </a:lnTo>
                <a:lnTo>
                  <a:pt x="671" y="664"/>
                </a:lnTo>
                <a:lnTo>
                  <a:pt x="669" y="665"/>
                </a:lnTo>
                <a:lnTo>
                  <a:pt x="667" y="667"/>
                </a:lnTo>
                <a:lnTo>
                  <a:pt x="664" y="669"/>
                </a:lnTo>
                <a:lnTo>
                  <a:pt x="663" y="673"/>
                </a:lnTo>
                <a:lnTo>
                  <a:pt x="662" y="675"/>
                </a:lnTo>
                <a:lnTo>
                  <a:pt x="662" y="678"/>
                </a:lnTo>
                <a:lnTo>
                  <a:pt x="662" y="858"/>
                </a:lnTo>
                <a:lnTo>
                  <a:pt x="662" y="861"/>
                </a:lnTo>
                <a:lnTo>
                  <a:pt x="663" y="865"/>
                </a:lnTo>
                <a:lnTo>
                  <a:pt x="664" y="867"/>
                </a:lnTo>
                <a:lnTo>
                  <a:pt x="667" y="869"/>
                </a:lnTo>
                <a:lnTo>
                  <a:pt x="669" y="871"/>
                </a:lnTo>
                <a:lnTo>
                  <a:pt x="671" y="872"/>
                </a:lnTo>
                <a:lnTo>
                  <a:pt x="674" y="873"/>
                </a:lnTo>
                <a:lnTo>
                  <a:pt x="677" y="873"/>
                </a:lnTo>
                <a:lnTo>
                  <a:pt x="858" y="873"/>
                </a:lnTo>
                <a:lnTo>
                  <a:pt x="861" y="873"/>
                </a:lnTo>
                <a:lnTo>
                  <a:pt x="864" y="872"/>
                </a:lnTo>
                <a:lnTo>
                  <a:pt x="866" y="871"/>
                </a:lnTo>
                <a:lnTo>
                  <a:pt x="868" y="869"/>
                </a:lnTo>
                <a:lnTo>
                  <a:pt x="870" y="867"/>
                </a:lnTo>
                <a:lnTo>
                  <a:pt x="871" y="865"/>
                </a:lnTo>
                <a:lnTo>
                  <a:pt x="873" y="861"/>
                </a:lnTo>
                <a:lnTo>
                  <a:pt x="873" y="858"/>
                </a:lnTo>
                <a:lnTo>
                  <a:pt x="873" y="678"/>
                </a:lnTo>
                <a:lnTo>
                  <a:pt x="873" y="675"/>
                </a:lnTo>
                <a:lnTo>
                  <a:pt x="871" y="673"/>
                </a:lnTo>
                <a:lnTo>
                  <a:pt x="870" y="669"/>
                </a:lnTo>
                <a:lnTo>
                  <a:pt x="868" y="667"/>
                </a:lnTo>
                <a:lnTo>
                  <a:pt x="866" y="665"/>
                </a:lnTo>
                <a:lnTo>
                  <a:pt x="864" y="664"/>
                </a:lnTo>
                <a:lnTo>
                  <a:pt x="861" y="663"/>
                </a:lnTo>
                <a:lnTo>
                  <a:pt x="858" y="66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3" name="Freeform 57">
            <a:extLst>
              <a:ext uri="{FF2B5EF4-FFF2-40B4-BE49-F238E27FC236}">
                <a16:creationId xmlns:a16="http://schemas.microsoft.com/office/drawing/2014/main" id="{1494F1FC-A060-48AE-B22A-ED4DAF87ACE6}"/>
              </a:ext>
            </a:extLst>
          </p:cNvPr>
          <p:cNvSpPr>
            <a:spLocks noChangeAspect="1" noEditPoints="1"/>
          </p:cNvSpPr>
          <p:nvPr/>
        </p:nvSpPr>
        <p:spPr bwMode="auto">
          <a:xfrm>
            <a:off x="313763" y="3802799"/>
            <a:ext cx="238752" cy="306484"/>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nvGrpSpPr>
          <p:cNvPr id="554" name="Group 93">
            <a:extLst>
              <a:ext uri="{FF2B5EF4-FFF2-40B4-BE49-F238E27FC236}">
                <a16:creationId xmlns:a16="http://schemas.microsoft.com/office/drawing/2014/main" id="{A7DB4983-DDC2-4E8B-B7DD-C21C1A4C79F1}"/>
              </a:ext>
            </a:extLst>
          </p:cNvPr>
          <p:cNvGrpSpPr>
            <a:grpSpLocks noChangeAspect="1"/>
          </p:cNvGrpSpPr>
          <p:nvPr/>
        </p:nvGrpSpPr>
        <p:grpSpPr>
          <a:xfrm>
            <a:off x="663594" y="3802799"/>
            <a:ext cx="301011" cy="306484"/>
            <a:chOff x="8736013" y="4225608"/>
            <a:chExt cx="261938" cy="266700"/>
          </a:xfrm>
          <a:solidFill>
            <a:schemeClr val="bg1"/>
          </a:solidFill>
          <a:effectLst/>
        </p:grpSpPr>
        <p:sp>
          <p:nvSpPr>
            <p:cNvPr id="555" name="Freeform 400">
              <a:extLst>
                <a:ext uri="{FF2B5EF4-FFF2-40B4-BE49-F238E27FC236}">
                  <a16:creationId xmlns:a16="http://schemas.microsoft.com/office/drawing/2014/main" id="{5494BF7B-A0E2-4804-9864-C28E8B365883}"/>
                </a:ext>
              </a:extLst>
            </p:cNvPr>
            <p:cNvSpPr>
              <a:spLocks noEditPoints="1"/>
            </p:cNvSpPr>
            <p:nvPr/>
          </p:nvSpPr>
          <p:spPr bwMode="auto">
            <a:xfrm>
              <a:off x="8736013" y="4225608"/>
              <a:ext cx="219075" cy="219075"/>
            </a:xfrm>
            <a:custGeom>
              <a:avLst/>
              <a:gdLst>
                <a:gd name="T0" fmla="*/ 30 w 692"/>
                <a:gd name="T1" fmla="*/ 662 h 692"/>
                <a:gd name="T2" fmla="*/ 30 w 692"/>
                <a:gd name="T3" fmla="*/ 572 h 692"/>
                <a:gd name="T4" fmla="*/ 662 w 692"/>
                <a:gd name="T5" fmla="*/ 572 h 692"/>
                <a:gd name="T6" fmla="*/ 662 w 692"/>
                <a:gd name="T7" fmla="*/ 662 h 692"/>
                <a:gd name="T8" fmla="*/ 30 w 692"/>
                <a:gd name="T9" fmla="*/ 662 h 692"/>
                <a:gd name="T10" fmla="*/ 519 w 692"/>
                <a:gd name="T11" fmla="*/ 542 h 692"/>
                <a:gd name="T12" fmla="*/ 162 w 692"/>
                <a:gd name="T13" fmla="*/ 542 h 692"/>
                <a:gd name="T14" fmla="*/ 246 w 692"/>
                <a:gd name="T15" fmla="*/ 399 h 692"/>
                <a:gd name="T16" fmla="*/ 327 w 692"/>
                <a:gd name="T17" fmla="*/ 496 h 692"/>
                <a:gd name="T18" fmla="*/ 329 w 692"/>
                <a:gd name="T19" fmla="*/ 499 h 692"/>
                <a:gd name="T20" fmla="*/ 332 w 692"/>
                <a:gd name="T21" fmla="*/ 501 h 692"/>
                <a:gd name="T22" fmla="*/ 337 w 692"/>
                <a:gd name="T23" fmla="*/ 501 h 692"/>
                <a:gd name="T24" fmla="*/ 340 w 692"/>
                <a:gd name="T25" fmla="*/ 501 h 692"/>
                <a:gd name="T26" fmla="*/ 344 w 692"/>
                <a:gd name="T27" fmla="*/ 500 h 692"/>
                <a:gd name="T28" fmla="*/ 347 w 692"/>
                <a:gd name="T29" fmla="*/ 499 h 692"/>
                <a:gd name="T30" fmla="*/ 350 w 692"/>
                <a:gd name="T31" fmla="*/ 496 h 692"/>
                <a:gd name="T32" fmla="*/ 352 w 692"/>
                <a:gd name="T33" fmla="*/ 493 h 692"/>
                <a:gd name="T34" fmla="*/ 432 w 692"/>
                <a:gd name="T35" fmla="*/ 317 h 692"/>
                <a:gd name="T36" fmla="*/ 519 w 692"/>
                <a:gd name="T37" fmla="*/ 542 h 692"/>
                <a:gd name="T38" fmla="*/ 662 w 692"/>
                <a:gd name="T39" fmla="*/ 30 h 692"/>
                <a:gd name="T40" fmla="*/ 662 w 692"/>
                <a:gd name="T41" fmla="*/ 542 h 692"/>
                <a:gd name="T42" fmla="*/ 551 w 692"/>
                <a:gd name="T43" fmla="*/ 542 h 692"/>
                <a:gd name="T44" fmla="*/ 447 w 692"/>
                <a:gd name="T45" fmla="*/ 273 h 692"/>
                <a:gd name="T46" fmla="*/ 445 w 692"/>
                <a:gd name="T47" fmla="*/ 269 h 692"/>
                <a:gd name="T48" fmla="*/ 442 w 692"/>
                <a:gd name="T49" fmla="*/ 266 h 692"/>
                <a:gd name="T50" fmla="*/ 438 w 692"/>
                <a:gd name="T51" fmla="*/ 264 h 692"/>
                <a:gd name="T52" fmla="*/ 433 w 692"/>
                <a:gd name="T53" fmla="*/ 263 h 692"/>
                <a:gd name="T54" fmla="*/ 429 w 692"/>
                <a:gd name="T55" fmla="*/ 264 h 692"/>
                <a:gd name="T56" fmla="*/ 425 w 692"/>
                <a:gd name="T57" fmla="*/ 265 h 692"/>
                <a:gd name="T58" fmla="*/ 421 w 692"/>
                <a:gd name="T59" fmla="*/ 269 h 692"/>
                <a:gd name="T60" fmla="*/ 419 w 692"/>
                <a:gd name="T61" fmla="*/ 272 h 692"/>
                <a:gd name="T62" fmla="*/ 335 w 692"/>
                <a:gd name="T63" fmla="*/ 458 h 692"/>
                <a:gd name="T64" fmla="*/ 255 w 692"/>
                <a:gd name="T65" fmla="*/ 363 h 692"/>
                <a:gd name="T66" fmla="*/ 252 w 692"/>
                <a:gd name="T67" fmla="*/ 361 h 692"/>
                <a:gd name="T68" fmla="*/ 249 w 692"/>
                <a:gd name="T69" fmla="*/ 359 h 692"/>
                <a:gd name="T70" fmla="*/ 246 w 692"/>
                <a:gd name="T71" fmla="*/ 359 h 692"/>
                <a:gd name="T72" fmla="*/ 242 w 692"/>
                <a:gd name="T73" fmla="*/ 358 h 692"/>
                <a:gd name="T74" fmla="*/ 238 w 692"/>
                <a:gd name="T75" fmla="*/ 359 h 692"/>
                <a:gd name="T76" fmla="*/ 235 w 692"/>
                <a:gd name="T77" fmla="*/ 361 h 692"/>
                <a:gd name="T78" fmla="*/ 233 w 692"/>
                <a:gd name="T79" fmla="*/ 363 h 692"/>
                <a:gd name="T80" fmla="*/ 231 w 692"/>
                <a:gd name="T81" fmla="*/ 365 h 692"/>
                <a:gd name="T82" fmla="*/ 127 w 692"/>
                <a:gd name="T83" fmla="*/ 542 h 692"/>
                <a:gd name="T84" fmla="*/ 30 w 692"/>
                <a:gd name="T85" fmla="*/ 542 h 692"/>
                <a:gd name="T86" fmla="*/ 31 w 692"/>
                <a:gd name="T87" fmla="*/ 32 h 692"/>
                <a:gd name="T88" fmla="*/ 662 w 692"/>
                <a:gd name="T89" fmla="*/ 30 h 692"/>
                <a:gd name="T90" fmla="*/ 692 w 692"/>
                <a:gd name="T91" fmla="*/ 0 h 692"/>
                <a:gd name="T92" fmla="*/ 1 w 692"/>
                <a:gd name="T93" fmla="*/ 1 h 692"/>
                <a:gd name="T94" fmla="*/ 0 w 692"/>
                <a:gd name="T95" fmla="*/ 692 h 692"/>
                <a:gd name="T96" fmla="*/ 692 w 692"/>
                <a:gd name="T97" fmla="*/ 692 h 692"/>
                <a:gd name="T98" fmla="*/ 692 w 692"/>
                <a:gd name="T99" fmla="*/ 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2" h="692">
                  <a:moveTo>
                    <a:pt x="30" y="662"/>
                  </a:moveTo>
                  <a:lnTo>
                    <a:pt x="30" y="572"/>
                  </a:lnTo>
                  <a:lnTo>
                    <a:pt x="662" y="572"/>
                  </a:lnTo>
                  <a:lnTo>
                    <a:pt x="662" y="662"/>
                  </a:lnTo>
                  <a:lnTo>
                    <a:pt x="30" y="662"/>
                  </a:lnTo>
                  <a:close/>
                  <a:moveTo>
                    <a:pt x="519" y="542"/>
                  </a:moveTo>
                  <a:lnTo>
                    <a:pt x="162" y="542"/>
                  </a:lnTo>
                  <a:lnTo>
                    <a:pt x="246" y="399"/>
                  </a:lnTo>
                  <a:lnTo>
                    <a:pt x="327" y="496"/>
                  </a:lnTo>
                  <a:lnTo>
                    <a:pt x="329" y="499"/>
                  </a:lnTo>
                  <a:lnTo>
                    <a:pt x="332" y="501"/>
                  </a:lnTo>
                  <a:lnTo>
                    <a:pt x="337" y="501"/>
                  </a:lnTo>
                  <a:lnTo>
                    <a:pt x="340" y="501"/>
                  </a:lnTo>
                  <a:lnTo>
                    <a:pt x="344" y="500"/>
                  </a:lnTo>
                  <a:lnTo>
                    <a:pt x="347" y="499"/>
                  </a:lnTo>
                  <a:lnTo>
                    <a:pt x="350" y="496"/>
                  </a:lnTo>
                  <a:lnTo>
                    <a:pt x="352" y="493"/>
                  </a:lnTo>
                  <a:lnTo>
                    <a:pt x="432" y="317"/>
                  </a:lnTo>
                  <a:lnTo>
                    <a:pt x="519" y="542"/>
                  </a:lnTo>
                  <a:close/>
                  <a:moveTo>
                    <a:pt x="662" y="30"/>
                  </a:moveTo>
                  <a:lnTo>
                    <a:pt x="662" y="542"/>
                  </a:lnTo>
                  <a:lnTo>
                    <a:pt x="551" y="542"/>
                  </a:lnTo>
                  <a:lnTo>
                    <a:pt x="447" y="273"/>
                  </a:lnTo>
                  <a:lnTo>
                    <a:pt x="445" y="269"/>
                  </a:lnTo>
                  <a:lnTo>
                    <a:pt x="442" y="266"/>
                  </a:lnTo>
                  <a:lnTo>
                    <a:pt x="438" y="264"/>
                  </a:lnTo>
                  <a:lnTo>
                    <a:pt x="433" y="263"/>
                  </a:lnTo>
                  <a:lnTo>
                    <a:pt x="429" y="264"/>
                  </a:lnTo>
                  <a:lnTo>
                    <a:pt x="425" y="265"/>
                  </a:lnTo>
                  <a:lnTo>
                    <a:pt x="421" y="269"/>
                  </a:lnTo>
                  <a:lnTo>
                    <a:pt x="419" y="272"/>
                  </a:lnTo>
                  <a:lnTo>
                    <a:pt x="335" y="458"/>
                  </a:lnTo>
                  <a:lnTo>
                    <a:pt x="255" y="363"/>
                  </a:lnTo>
                  <a:lnTo>
                    <a:pt x="252" y="361"/>
                  </a:lnTo>
                  <a:lnTo>
                    <a:pt x="249" y="359"/>
                  </a:lnTo>
                  <a:lnTo>
                    <a:pt x="246" y="359"/>
                  </a:lnTo>
                  <a:lnTo>
                    <a:pt x="242" y="358"/>
                  </a:lnTo>
                  <a:lnTo>
                    <a:pt x="238" y="359"/>
                  </a:lnTo>
                  <a:lnTo>
                    <a:pt x="235" y="361"/>
                  </a:lnTo>
                  <a:lnTo>
                    <a:pt x="233" y="363"/>
                  </a:lnTo>
                  <a:lnTo>
                    <a:pt x="231" y="365"/>
                  </a:lnTo>
                  <a:lnTo>
                    <a:pt x="127" y="542"/>
                  </a:lnTo>
                  <a:lnTo>
                    <a:pt x="30" y="542"/>
                  </a:lnTo>
                  <a:lnTo>
                    <a:pt x="31" y="32"/>
                  </a:lnTo>
                  <a:lnTo>
                    <a:pt x="662" y="30"/>
                  </a:lnTo>
                  <a:close/>
                  <a:moveTo>
                    <a:pt x="692" y="0"/>
                  </a:moveTo>
                  <a:lnTo>
                    <a:pt x="1" y="1"/>
                  </a:lnTo>
                  <a:lnTo>
                    <a:pt x="0" y="692"/>
                  </a:lnTo>
                  <a:lnTo>
                    <a:pt x="692" y="692"/>
                  </a:lnTo>
                  <a:lnTo>
                    <a:pt x="6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6" name="Freeform 401">
              <a:extLst>
                <a:ext uri="{FF2B5EF4-FFF2-40B4-BE49-F238E27FC236}">
                  <a16:creationId xmlns:a16="http://schemas.microsoft.com/office/drawing/2014/main" id="{FAD52452-8BE3-4CE9-8A5D-749B9B2F593B}"/>
                </a:ext>
              </a:extLst>
            </p:cNvPr>
            <p:cNvSpPr>
              <a:spLocks/>
            </p:cNvSpPr>
            <p:nvPr/>
          </p:nvSpPr>
          <p:spPr bwMode="auto">
            <a:xfrm>
              <a:off x="8793163" y="4301808"/>
              <a:ext cx="204788" cy="190500"/>
            </a:xfrm>
            <a:custGeom>
              <a:avLst/>
              <a:gdLst>
                <a:gd name="T0" fmla="*/ 559 w 649"/>
                <a:gd name="T1" fmla="*/ 0 h 604"/>
                <a:gd name="T2" fmla="*/ 555 w 649"/>
                <a:gd name="T3" fmla="*/ 0 h 604"/>
                <a:gd name="T4" fmla="*/ 553 w 649"/>
                <a:gd name="T5" fmla="*/ 1 h 604"/>
                <a:gd name="T6" fmla="*/ 550 w 649"/>
                <a:gd name="T7" fmla="*/ 2 h 604"/>
                <a:gd name="T8" fmla="*/ 548 w 649"/>
                <a:gd name="T9" fmla="*/ 3 h 604"/>
                <a:gd name="T10" fmla="*/ 546 w 649"/>
                <a:gd name="T11" fmla="*/ 5 h 604"/>
                <a:gd name="T12" fmla="*/ 544 w 649"/>
                <a:gd name="T13" fmla="*/ 8 h 604"/>
                <a:gd name="T14" fmla="*/ 543 w 649"/>
                <a:gd name="T15" fmla="*/ 10 h 604"/>
                <a:gd name="T16" fmla="*/ 543 w 649"/>
                <a:gd name="T17" fmla="*/ 13 h 604"/>
                <a:gd name="T18" fmla="*/ 543 w 649"/>
                <a:gd name="T19" fmla="*/ 17 h 604"/>
                <a:gd name="T20" fmla="*/ 543 w 649"/>
                <a:gd name="T21" fmla="*/ 19 h 604"/>
                <a:gd name="T22" fmla="*/ 545 w 649"/>
                <a:gd name="T23" fmla="*/ 22 h 604"/>
                <a:gd name="T24" fmla="*/ 546 w 649"/>
                <a:gd name="T25" fmla="*/ 24 h 604"/>
                <a:gd name="T26" fmla="*/ 548 w 649"/>
                <a:gd name="T27" fmla="*/ 26 h 604"/>
                <a:gd name="T28" fmla="*/ 550 w 649"/>
                <a:gd name="T29" fmla="*/ 29 h 604"/>
                <a:gd name="T30" fmla="*/ 553 w 649"/>
                <a:gd name="T31" fmla="*/ 30 h 604"/>
                <a:gd name="T32" fmla="*/ 557 w 649"/>
                <a:gd name="T33" fmla="*/ 30 h 604"/>
                <a:gd name="T34" fmla="*/ 617 w 649"/>
                <a:gd name="T35" fmla="*/ 35 h 604"/>
                <a:gd name="T36" fmla="*/ 567 w 649"/>
                <a:gd name="T37" fmla="*/ 571 h 604"/>
                <a:gd name="T38" fmla="*/ 16 w 649"/>
                <a:gd name="T39" fmla="*/ 522 h 604"/>
                <a:gd name="T40" fmla="*/ 13 w 649"/>
                <a:gd name="T41" fmla="*/ 522 h 604"/>
                <a:gd name="T42" fmla="*/ 11 w 649"/>
                <a:gd name="T43" fmla="*/ 522 h 604"/>
                <a:gd name="T44" fmla="*/ 8 w 649"/>
                <a:gd name="T45" fmla="*/ 523 h 604"/>
                <a:gd name="T46" fmla="*/ 5 w 649"/>
                <a:gd name="T47" fmla="*/ 525 h 604"/>
                <a:gd name="T48" fmla="*/ 3 w 649"/>
                <a:gd name="T49" fmla="*/ 527 h 604"/>
                <a:gd name="T50" fmla="*/ 2 w 649"/>
                <a:gd name="T51" fmla="*/ 529 h 604"/>
                <a:gd name="T52" fmla="*/ 1 w 649"/>
                <a:gd name="T53" fmla="*/ 531 h 604"/>
                <a:gd name="T54" fmla="*/ 0 w 649"/>
                <a:gd name="T55" fmla="*/ 535 h 604"/>
                <a:gd name="T56" fmla="*/ 0 w 649"/>
                <a:gd name="T57" fmla="*/ 538 h 604"/>
                <a:gd name="T58" fmla="*/ 1 w 649"/>
                <a:gd name="T59" fmla="*/ 541 h 604"/>
                <a:gd name="T60" fmla="*/ 2 w 649"/>
                <a:gd name="T61" fmla="*/ 543 h 604"/>
                <a:gd name="T62" fmla="*/ 3 w 649"/>
                <a:gd name="T63" fmla="*/ 545 h 604"/>
                <a:gd name="T64" fmla="*/ 5 w 649"/>
                <a:gd name="T65" fmla="*/ 548 h 604"/>
                <a:gd name="T66" fmla="*/ 8 w 649"/>
                <a:gd name="T67" fmla="*/ 550 h 604"/>
                <a:gd name="T68" fmla="*/ 11 w 649"/>
                <a:gd name="T69" fmla="*/ 551 h 604"/>
                <a:gd name="T70" fmla="*/ 14 w 649"/>
                <a:gd name="T71" fmla="*/ 551 h 604"/>
                <a:gd name="T72" fmla="*/ 595 w 649"/>
                <a:gd name="T73" fmla="*/ 604 h 604"/>
                <a:gd name="T74" fmla="*/ 649 w 649"/>
                <a:gd name="T75" fmla="*/ 8 h 604"/>
                <a:gd name="T76" fmla="*/ 559 w 649"/>
                <a:gd name="T77"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9" h="604">
                  <a:moveTo>
                    <a:pt x="559" y="0"/>
                  </a:moveTo>
                  <a:lnTo>
                    <a:pt x="555" y="0"/>
                  </a:lnTo>
                  <a:lnTo>
                    <a:pt x="553" y="1"/>
                  </a:lnTo>
                  <a:lnTo>
                    <a:pt x="550" y="2"/>
                  </a:lnTo>
                  <a:lnTo>
                    <a:pt x="548" y="3"/>
                  </a:lnTo>
                  <a:lnTo>
                    <a:pt x="546" y="5"/>
                  </a:lnTo>
                  <a:lnTo>
                    <a:pt x="544" y="8"/>
                  </a:lnTo>
                  <a:lnTo>
                    <a:pt x="543" y="10"/>
                  </a:lnTo>
                  <a:lnTo>
                    <a:pt x="543" y="13"/>
                  </a:lnTo>
                  <a:lnTo>
                    <a:pt x="543" y="17"/>
                  </a:lnTo>
                  <a:lnTo>
                    <a:pt x="543" y="19"/>
                  </a:lnTo>
                  <a:lnTo>
                    <a:pt x="545" y="22"/>
                  </a:lnTo>
                  <a:lnTo>
                    <a:pt x="546" y="24"/>
                  </a:lnTo>
                  <a:lnTo>
                    <a:pt x="548" y="26"/>
                  </a:lnTo>
                  <a:lnTo>
                    <a:pt x="550" y="29"/>
                  </a:lnTo>
                  <a:lnTo>
                    <a:pt x="553" y="30"/>
                  </a:lnTo>
                  <a:lnTo>
                    <a:pt x="557" y="30"/>
                  </a:lnTo>
                  <a:lnTo>
                    <a:pt x="617" y="35"/>
                  </a:lnTo>
                  <a:lnTo>
                    <a:pt x="567" y="571"/>
                  </a:lnTo>
                  <a:lnTo>
                    <a:pt x="16" y="522"/>
                  </a:lnTo>
                  <a:lnTo>
                    <a:pt x="13" y="522"/>
                  </a:lnTo>
                  <a:lnTo>
                    <a:pt x="11" y="522"/>
                  </a:lnTo>
                  <a:lnTo>
                    <a:pt x="8" y="523"/>
                  </a:lnTo>
                  <a:lnTo>
                    <a:pt x="5" y="525"/>
                  </a:lnTo>
                  <a:lnTo>
                    <a:pt x="3" y="527"/>
                  </a:lnTo>
                  <a:lnTo>
                    <a:pt x="2" y="529"/>
                  </a:lnTo>
                  <a:lnTo>
                    <a:pt x="1" y="531"/>
                  </a:lnTo>
                  <a:lnTo>
                    <a:pt x="0" y="535"/>
                  </a:lnTo>
                  <a:lnTo>
                    <a:pt x="0" y="538"/>
                  </a:lnTo>
                  <a:lnTo>
                    <a:pt x="1" y="541"/>
                  </a:lnTo>
                  <a:lnTo>
                    <a:pt x="2" y="543"/>
                  </a:lnTo>
                  <a:lnTo>
                    <a:pt x="3" y="545"/>
                  </a:lnTo>
                  <a:lnTo>
                    <a:pt x="5" y="548"/>
                  </a:lnTo>
                  <a:lnTo>
                    <a:pt x="8" y="550"/>
                  </a:lnTo>
                  <a:lnTo>
                    <a:pt x="11" y="551"/>
                  </a:lnTo>
                  <a:lnTo>
                    <a:pt x="14" y="551"/>
                  </a:lnTo>
                  <a:lnTo>
                    <a:pt x="595" y="604"/>
                  </a:lnTo>
                  <a:lnTo>
                    <a:pt x="649" y="8"/>
                  </a:lnTo>
                  <a:lnTo>
                    <a:pt x="55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57" name="Freeform 402">
              <a:extLst>
                <a:ext uri="{FF2B5EF4-FFF2-40B4-BE49-F238E27FC236}">
                  <a16:creationId xmlns:a16="http://schemas.microsoft.com/office/drawing/2014/main" id="{D5DC74BC-BF82-471A-B89C-D3BBF1C15619}"/>
                </a:ext>
              </a:extLst>
            </p:cNvPr>
            <p:cNvSpPr>
              <a:spLocks noEditPoints="1"/>
            </p:cNvSpPr>
            <p:nvPr/>
          </p:nvSpPr>
          <p:spPr bwMode="auto">
            <a:xfrm>
              <a:off x="8769350" y="4263708"/>
              <a:ext cx="47625" cy="47625"/>
            </a:xfrm>
            <a:custGeom>
              <a:avLst/>
              <a:gdLst>
                <a:gd name="T0" fmla="*/ 85 w 151"/>
                <a:gd name="T1" fmla="*/ 31 h 150"/>
                <a:gd name="T2" fmla="*/ 101 w 151"/>
                <a:gd name="T3" fmla="*/ 37 h 150"/>
                <a:gd name="T4" fmla="*/ 113 w 151"/>
                <a:gd name="T5" fmla="*/ 49 h 150"/>
                <a:gd name="T6" fmla="*/ 120 w 151"/>
                <a:gd name="T7" fmla="*/ 65 h 150"/>
                <a:gd name="T8" fmla="*/ 120 w 151"/>
                <a:gd name="T9" fmla="*/ 83 h 150"/>
                <a:gd name="T10" fmla="*/ 113 w 151"/>
                <a:gd name="T11" fmla="*/ 99 h 150"/>
                <a:gd name="T12" fmla="*/ 101 w 151"/>
                <a:gd name="T13" fmla="*/ 112 h 150"/>
                <a:gd name="T14" fmla="*/ 85 w 151"/>
                <a:gd name="T15" fmla="*/ 119 h 150"/>
                <a:gd name="T16" fmla="*/ 67 w 151"/>
                <a:gd name="T17" fmla="*/ 119 h 150"/>
                <a:gd name="T18" fmla="*/ 51 w 151"/>
                <a:gd name="T19" fmla="*/ 112 h 150"/>
                <a:gd name="T20" fmla="*/ 39 w 151"/>
                <a:gd name="T21" fmla="*/ 99 h 150"/>
                <a:gd name="T22" fmla="*/ 31 w 151"/>
                <a:gd name="T23" fmla="*/ 83 h 150"/>
                <a:gd name="T24" fmla="*/ 31 w 151"/>
                <a:gd name="T25" fmla="*/ 65 h 150"/>
                <a:gd name="T26" fmla="*/ 39 w 151"/>
                <a:gd name="T27" fmla="*/ 49 h 150"/>
                <a:gd name="T28" fmla="*/ 51 w 151"/>
                <a:gd name="T29" fmla="*/ 37 h 150"/>
                <a:gd name="T30" fmla="*/ 67 w 151"/>
                <a:gd name="T31" fmla="*/ 31 h 150"/>
                <a:gd name="T32" fmla="*/ 75 w 151"/>
                <a:gd name="T33" fmla="*/ 150 h 150"/>
                <a:gd name="T34" fmla="*/ 91 w 151"/>
                <a:gd name="T35" fmla="*/ 149 h 150"/>
                <a:gd name="T36" fmla="*/ 105 w 151"/>
                <a:gd name="T37" fmla="*/ 143 h 150"/>
                <a:gd name="T38" fmla="*/ 118 w 151"/>
                <a:gd name="T39" fmla="*/ 137 h 150"/>
                <a:gd name="T40" fmla="*/ 129 w 151"/>
                <a:gd name="T41" fmla="*/ 127 h 150"/>
                <a:gd name="T42" fmla="*/ 138 w 151"/>
                <a:gd name="T43" fmla="*/ 116 h 150"/>
                <a:gd name="T44" fmla="*/ 145 w 151"/>
                <a:gd name="T45" fmla="*/ 104 h 150"/>
                <a:gd name="T46" fmla="*/ 149 w 151"/>
                <a:gd name="T47" fmla="*/ 90 h 150"/>
                <a:gd name="T48" fmla="*/ 151 w 151"/>
                <a:gd name="T49" fmla="*/ 75 h 150"/>
                <a:gd name="T50" fmla="*/ 149 w 151"/>
                <a:gd name="T51" fmla="*/ 60 h 150"/>
                <a:gd name="T52" fmla="*/ 145 w 151"/>
                <a:gd name="T53" fmla="*/ 46 h 150"/>
                <a:gd name="T54" fmla="*/ 138 w 151"/>
                <a:gd name="T55" fmla="*/ 33 h 150"/>
                <a:gd name="T56" fmla="*/ 129 w 151"/>
                <a:gd name="T57" fmla="*/ 21 h 150"/>
                <a:gd name="T58" fmla="*/ 118 w 151"/>
                <a:gd name="T59" fmla="*/ 12 h 150"/>
                <a:gd name="T60" fmla="*/ 105 w 151"/>
                <a:gd name="T61" fmla="*/ 5 h 150"/>
                <a:gd name="T62" fmla="*/ 91 w 151"/>
                <a:gd name="T63" fmla="*/ 1 h 150"/>
                <a:gd name="T64" fmla="*/ 75 w 151"/>
                <a:gd name="T65" fmla="*/ 0 h 150"/>
                <a:gd name="T66" fmla="*/ 60 w 151"/>
                <a:gd name="T67" fmla="*/ 1 h 150"/>
                <a:gd name="T68" fmla="*/ 46 w 151"/>
                <a:gd name="T69" fmla="*/ 5 h 150"/>
                <a:gd name="T70" fmla="*/ 33 w 151"/>
                <a:gd name="T71" fmla="*/ 12 h 150"/>
                <a:gd name="T72" fmla="*/ 23 w 151"/>
                <a:gd name="T73" fmla="*/ 21 h 150"/>
                <a:gd name="T74" fmla="*/ 13 w 151"/>
                <a:gd name="T75" fmla="*/ 33 h 150"/>
                <a:gd name="T76" fmla="*/ 7 w 151"/>
                <a:gd name="T77" fmla="*/ 46 h 150"/>
                <a:gd name="T78" fmla="*/ 2 w 151"/>
                <a:gd name="T79" fmla="*/ 60 h 150"/>
                <a:gd name="T80" fmla="*/ 0 w 151"/>
                <a:gd name="T81" fmla="*/ 75 h 150"/>
                <a:gd name="T82" fmla="*/ 2 w 151"/>
                <a:gd name="T83" fmla="*/ 90 h 150"/>
                <a:gd name="T84" fmla="*/ 7 w 151"/>
                <a:gd name="T85" fmla="*/ 104 h 150"/>
                <a:gd name="T86" fmla="*/ 13 w 151"/>
                <a:gd name="T87" fmla="*/ 116 h 150"/>
                <a:gd name="T88" fmla="*/ 23 w 151"/>
                <a:gd name="T89" fmla="*/ 127 h 150"/>
                <a:gd name="T90" fmla="*/ 33 w 151"/>
                <a:gd name="T91" fmla="*/ 137 h 150"/>
                <a:gd name="T92" fmla="*/ 46 w 151"/>
                <a:gd name="T93" fmla="*/ 143 h 150"/>
                <a:gd name="T94" fmla="*/ 60 w 151"/>
                <a:gd name="T95" fmla="*/ 149 h 150"/>
                <a:gd name="T96" fmla="*/ 75 w 151"/>
                <a:gd name="T9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0">
                  <a:moveTo>
                    <a:pt x="75" y="30"/>
                  </a:moveTo>
                  <a:lnTo>
                    <a:pt x="85" y="31"/>
                  </a:lnTo>
                  <a:lnTo>
                    <a:pt x="93" y="33"/>
                  </a:lnTo>
                  <a:lnTo>
                    <a:pt x="101" y="37"/>
                  </a:lnTo>
                  <a:lnTo>
                    <a:pt x="107" y="42"/>
                  </a:lnTo>
                  <a:lnTo>
                    <a:pt x="113" y="49"/>
                  </a:lnTo>
                  <a:lnTo>
                    <a:pt x="117" y="56"/>
                  </a:lnTo>
                  <a:lnTo>
                    <a:pt x="120" y="65"/>
                  </a:lnTo>
                  <a:lnTo>
                    <a:pt x="120" y="75"/>
                  </a:lnTo>
                  <a:lnTo>
                    <a:pt x="120" y="83"/>
                  </a:lnTo>
                  <a:lnTo>
                    <a:pt x="117" y="92"/>
                  </a:lnTo>
                  <a:lnTo>
                    <a:pt x="113" y="99"/>
                  </a:lnTo>
                  <a:lnTo>
                    <a:pt x="107" y="107"/>
                  </a:lnTo>
                  <a:lnTo>
                    <a:pt x="101" y="112"/>
                  </a:lnTo>
                  <a:lnTo>
                    <a:pt x="93" y="116"/>
                  </a:lnTo>
                  <a:lnTo>
                    <a:pt x="85" y="119"/>
                  </a:lnTo>
                  <a:lnTo>
                    <a:pt x="75" y="120"/>
                  </a:lnTo>
                  <a:lnTo>
                    <a:pt x="67" y="119"/>
                  </a:lnTo>
                  <a:lnTo>
                    <a:pt x="58" y="116"/>
                  </a:lnTo>
                  <a:lnTo>
                    <a:pt x="51" y="112"/>
                  </a:lnTo>
                  <a:lnTo>
                    <a:pt x="44" y="107"/>
                  </a:lnTo>
                  <a:lnTo>
                    <a:pt x="39" y="99"/>
                  </a:lnTo>
                  <a:lnTo>
                    <a:pt x="34" y="92"/>
                  </a:lnTo>
                  <a:lnTo>
                    <a:pt x="31" y="83"/>
                  </a:lnTo>
                  <a:lnTo>
                    <a:pt x="30" y="75"/>
                  </a:lnTo>
                  <a:lnTo>
                    <a:pt x="31" y="65"/>
                  </a:lnTo>
                  <a:lnTo>
                    <a:pt x="34" y="56"/>
                  </a:lnTo>
                  <a:lnTo>
                    <a:pt x="39" y="49"/>
                  </a:lnTo>
                  <a:lnTo>
                    <a:pt x="44" y="42"/>
                  </a:lnTo>
                  <a:lnTo>
                    <a:pt x="51" y="37"/>
                  </a:lnTo>
                  <a:lnTo>
                    <a:pt x="58" y="33"/>
                  </a:lnTo>
                  <a:lnTo>
                    <a:pt x="67" y="31"/>
                  </a:lnTo>
                  <a:lnTo>
                    <a:pt x="75" y="30"/>
                  </a:lnTo>
                  <a:close/>
                  <a:moveTo>
                    <a:pt x="75" y="150"/>
                  </a:moveTo>
                  <a:lnTo>
                    <a:pt x="84" y="150"/>
                  </a:lnTo>
                  <a:lnTo>
                    <a:pt x="91" y="149"/>
                  </a:lnTo>
                  <a:lnTo>
                    <a:pt x="98" y="147"/>
                  </a:lnTo>
                  <a:lnTo>
                    <a:pt x="105" y="143"/>
                  </a:lnTo>
                  <a:lnTo>
                    <a:pt x="112" y="140"/>
                  </a:lnTo>
                  <a:lnTo>
                    <a:pt x="118" y="137"/>
                  </a:lnTo>
                  <a:lnTo>
                    <a:pt x="123" y="133"/>
                  </a:lnTo>
                  <a:lnTo>
                    <a:pt x="129" y="127"/>
                  </a:lnTo>
                  <a:lnTo>
                    <a:pt x="133" y="122"/>
                  </a:lnTo>
                  <a:lnTo>
                    <a:pt x="138" y="116"/>
                  </a:lnTo>
                  <a:lnTo>
                    <a:pt x="142" y="110"/>
                  </a:lnTo>
                  <a:lnTo>
                    <a:pt x="145" y="104"/>
                  </a:lnTo>
                  <a:lnTo>
                    <a:pt x="147" y="97"/>
                  </a:lnTo>
                  <a:lnTo>
                    <a:pt x="149" y="90"/>
                  </a:lnTo>
                  <a:lnTo>
                    <a:pt x="150" y="82"/>
                  </a:lnTo>
                  <a:lnTo>
                    <a:pt x="151" y="75"/>
                  </a:lnTo>
                  <a:lnTo>
                    <a:pt x="150" y="67"/>
                  </a:lnTo>
                  <a:lnTo>
                    <a:pt x="149" y="60"/>
                  </a:lnTo>
                  <a:lnTo>
                    <a:pt x="147" y="52"/>
                  </a:lnTo>
                  <a:lnTo>
                    <a:pt x="145" y="46"/>
                  </a:lnTo>
                  <a:lnTo>
                    <a:pt x="142" y="38"/>
                  </a:lnTo>
                  <a:lnTo>
                    <a:pt x="138" y="33"/>
                  </a:lnTo>
                  <a:lnTo>
                    <a:pt x="133" y="26"/>
                  </a:lnTo>
                  <a:lnTo>
                    <a:pt x="129" y="21"/>
                  </a:lnTo>
                  <a:lnTo>
                    <a:pt x="123" y="17"/>
                  </a:lnTo>
                  <a:lnTo>
                    <a:pt x="118" y="12"/>
                  </a:lnTo>
                  <a:lnTo>
                    <a:pt x="112" y="8"/>
                  </a:lnTo>
                  <a:lnTo>
                    <a:pt x="105" y="5"/>
                  </a:lnTo>
                  <a:lnTo>
                    <a:pt x="98" y="3"/>
                  </a:lnTo>
                  <a:lnTo>
                    <a:pt x="91" y="1"/>
                  </a:lnTo>
                  <a:lnTo>
                    <a:pt x="84" y="0"/>
                  </a:lnTo>
                  <a:lnTo>
                    <a:pt x="75" y="0"/>
                  </a:lnTo>
                  <a:lnTo>
                    <a:pt x="68" y="0"/>
                  </a:lnTo>
                  <a:lnTo>
                    <a:pt x="60" y="1"/>
                  </a:lnTo>
                  <a:lnTo>
                    <a:pt x="54" y="3"/>
                  </a:lnTo>
                  <a:lnTo>
                    <a:pt x="46" y="5"/>
                  </a:lnTo>
                  <a:lnTo>
                    <a:pt x="40" y="8"/>
                  </a:lnTo>
                  <a:lnTo>
                    <a:pt x="33" y="12"/>
                  </a:lnTo>
                  <a:lnTo>
                    <a:pt x="28" y="17"/>
                  </a:lnTo>
                  <a:lnTo>
                    <a:pt x="23" y="21"/>
                  </a:lnTo>
                  <a:lnTo>
                    <a:pt x="17" y="26"/>
                  </a:lnTo>
                  <a:lnTo>
                    <a:pt x="13" y="33"/>
                  </a:lnTo>
                  <a:lnTo>
                    <a:pt x="10" y="38"/>
                  </a:lnTo>
                  <a:lnTo>
                    <a:pt x="7" y="46"/>
                  </a:lnTo>
                  <a:lnTo>
                    <a:pt x="3" y="52"/>
                  </a:lnTo>
                  <a:lnTo>
                    <a:pt x="2" y="60"/>
                  </a:lnTo>
                  <a:lnTo>
                    <a:pt x="1" y="67"/>
                  </a:lnTo>
                  <a:lnTo>
                    <a:pt x="0" y="75"/>
                  </a:lnTo>
                  <a:lnTo>
                    <a:pt x="1" y="82"/>
                  </a:lnTo>
                  <a:lnTo>
                    <a:pt x="2" y="90"/>
                  </a:lnTo>
                  <a:lnTo>
                    <a:pt x="3" y="97"/>
                  </a:lnTo>
                  <a:lnTo>
                    <a:pt x="7" y="104"/>
                  </a:lnTo>
                  <a:lnTo>
                    <a:pt x="10" y="110"/>
                  </a:lnTo>
                  <a:lnTo>
                    <a:pt x="13" y="116"/>
                  </a:lnTo>
                  <a:lnTo>
                    <a:pt x="17" y="122"/>
                  </a:lnTo>
                  <a:lnTo>
                    <a:pt x="23" y="127"/>
                  </a:lnTo>
                  <a:lnTo>
                    <a:pt x="28" y="133"/>
                  </a:lnTo>
                  <a:lnTo>
                    <a:pt x="33" y="137"/>
                  </a:lnTo>
                  <a:lnTo>
                    <a:pt x="40" y="140"/>
                  </a:lnTo>
                  <a:lnTo>
                    <a:pt x="46" y="143"/>
                  </a:lnTo>
                  <a:lnTo>
                    <a:pt x="54" y="147"/>
                  </a:lnTo>
                  <a:lnTo>
                    <a:pt x="60" y="149"/>
                  </a:lnTo>
                  <a:lnTo>
                    <a:pt x="68" y="150"/>
                  </a:lnTo>
                  <a:lnTo>
                    <a:pt x="75" y="1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nvGrpSpPr>
          <p:cNvPr id="558" name="Gruppieren 557">
            <a:extLst>
              <a:ext uri="{FF2B5EF4-FFF2-40B4-BE49-F238E27FC236}">
                <a16:creationId xmlns:a16="http://schemas.microsoft.com/office/drawing/2014/main" id="{206C9E55-1FB6-4852-B297-6FDA513AC3DE}"/>
              </a:ext>
            </a:extLst>
          </p:cNvPr>
          <p:cNvGrpSpPr>
            <a:grpSpLocks noChangeAspect="1"/>
          </p:cNvGrpSpPr>
          <p:nvPr/>
        </p:nvGrpSpPr>
        <p:grpSpPr>
          <a:xfrm>
            <a:off x="674669" y="4345739"/>
            <a:ext cx="278860" cy="306484"/>
            <a:chOff x="791597" y="4637055"/>
            <a:chExt cx="327553" cy="360000"/>
          </a:xfrm>
          <a:solidFill>
            <a:schemeClr val="bg1"/>
          </a:solidFill>
        </p:grpSpPr>
        <p:grpSp>
          <p:nvGrpSpPr>
            <p:cNvPr id="559" name="Gruppieren 558">
              <a:extLst>
                <a:ext uri="{FF2B5EF4-FFF2-40B4-BE49-F238E27FC236}">
                  <a16:creationId xmlns:a16="http://schemas.microsoft.com/office/drawing/2014/main" id="{D254314B-E27F-4CE0-B63A-70181BF45A2B}"/>
                </a:ext>
              </a:extLst>
            </p:cNvPr>
            <p:cNvGrpSpPr/>
            <p:nvPr/>
          </p:nvGrpSpPr>
          <p:grpSpPr>
            <a:xfrm>
              <a:off x="847220" y="4674136"/>
              <a:ext cx="197767" cy="194677"/>
              <a:chOff x="847220" y="4674136"/>
              <a:chExt cx="197767" cy="194677"/>
            </a:xfrm>
            <a:grpFill/>
          </p:grpSpPr>
          <p:sp>
            <p:nvSpPr>
              <p:cNvPr id="561" name="Freeform 59">
                <a:extLst>
                  <a:ext uri="{FF2B5EF4-FFF2-40B4-BE49-F238E27FC236}">
                    <a16:creationId xmlns:a16="http://schemas.microsoft.com/office/drawing/2014/main" id="{574D50EE-919F-48B8-97E2-FCBFB450B35B}"/>
                  </a:ext>
                </a:extLst>
              </p:cNvPr>
              <p:cNvSpPr>
                <a:spLocks noEditPoints="1"/>
              </p:cNvSpPr>
              <p:nvPr/>
            </p:nvSpPr>
            <p:spPr bwMode="auto">
              <a:xfrm>
                <a:off x="847220" y="4674136"/>
                <a:ext cx="197767" cy="194677"/>
              </a:xfrm>
              <a:custGeom>
                <a:avLst/>
                <a:gdLst>
                  <a:gd name="T0" fmla="*/ 23 w 52"/>
                  <a:gd name="T1" fmla="*/ 52 h 52"/>
                  <a:gd name="T2" fmla="*/ 21 w 52"/>
                  <a:gd name="T3" fmla="*/ 45 h 52"/>
                  <a:gd name="T4" fmla="*/ 13 w 52"/>
                  <a:gd name="T5" fmla="*/ 47 h 52"/>
                  <a:gd name="T6" fmla="*/ 5 w 52"/>
                  <a:gd name="T7" fmla="*/ 41 h 52"/>
                  <a:gd name="T8" fmla="*/ 5 w 52"/>
                  <a:gd name="T9" fmla="*/ 39 h 52"/>
                  <a:gd name="T10" fmla="*/ 7 w 52"/>
                  <a:gd name="T11" fmla="*/ 31 h 52"/>
                  <a:gd name="T12" fmla="*/ 0 w 52"/>
                  <a:gd name="T13" fmla="*/ 29 h 52"/>
                  <a:gd name="T14" fmla="*/ 2 w 52"/>
                  <a:gd name="T15" fmla="*/ 21 h 52"/>
                  <a:gd name="T16" fmla="*/ 8 w 52"/>
                  <a:gd name="T17" fmla="*/ 17 h 52"/>
                  <a:gd name="T18" fmla="*/ 4 w 52"/>
                  <a:gd name="T19" fmla="*/ 12 h 52"/>
                  <a:gd name="T20" fmla="*/ 11 w 52"/>
                  <a:gd name="T21" fmla="*/ 5 h 52"/>
                  <a:gd name="T22" fmla="*/ 17 w 52"/>
                  <a:gd name="T23" fmla="*/ 8 h 52"/>
                  <a:gd name="T24" fmla="*/ 21 w 52"/>
                  <a:gd name="T25" fmla="*/ 2 h 52"/>
                  <a:gd name="T26" fmla="*/ 29 w 52"/>
                  <a:gd name="T27" fmla="*/ 0 h 52"/>
                  <a:gd name="T28" fmla="*/ 31 w 52"/>
                  <a:gd name="T29" fmla="*/ 7 h 52"/>
                  <a:gd name="T30" fmla="*/ 39 w 52"/>
                  <a:gd name="T31" fmla="*/ 5 h 52"/>
                  <a:gd name="T32" fmla="*/ 47 w 52"/>
                  <a:gd name="T33" fmla="*/ 11 h 52"/>
                  <a:gd name="T34" fmla="*/ 47 w 52"/>
                  <a:gd name="T35" fmla="*/ 13 h 52"/>
                  <a:gd name="T36" fmla="*/ 45 w 52"/>
                  <a:gd name="T37" fmla="*/ 21 h 52"/>
                  <a:gd name="T38" fmla="*/ 52 w 52"/>
                  <a:gd name="T39" fmla="*/ 23 h 52"/>
                  <a:gd name="T40" fmla="*/ 50 w 52"/>
                  <a:gd name="T41" fmla="*/ 31 h 52"/>
                  <a:gd name="T42" fmla="*/ 44 w 52"/>
                  <a:gd name="T43" fmla="*/ 35 h 52"/>
                  <a:gd name="T44" fmla="*/ 47 w 52"/>
                  <a:gd name="T45" fmla="*/ 41 h 52"/>
                  <a:gd name="T46" fmla="*/ 39 w 52"/>
                  <a:gd name="T47" fmla="*/ 47 h 52"/>
                  <a:gd name="T48" fmla="*/ 31 w 52"/>
                  <a:gd name="T49" fmla="*/ 45 h 52"/>
                  <a:gd name="T50" fmla="*/ 29 w 52"/>
                  <a:gd name="T51" fmla="*/ 52 h 52"/>
                  <a:gd name="T52" fmla="*/ 27 w 52"/>
                  <a:gd name="T53" fmla="*/ 48 h 52"/>
                  <a:gd name="T54" fmla="*/ 29 w 52"/>
                  <a:gd name="T55" fmla="*/ 41 h 52"/>
                  <a:gd name="T56" fmla="*/ 37 w 52"/>
                  <a:gd name="T57" fmla="*/ 40 h 52"/>
                  <a:gd name="T58" fmla="*/ 43 w 52"/>
                  <a:gd name="T59" fmla="*/ 40 h 52"/>
                  <a:gd name="T60" fmla="*/ 39 w 52"/>
                  <a:gd name="T61" fmla="*/ 34 h 52"/>
                  <a:gd name="T62" fmla="*/ 43 w 52"/>
                  <a:gd name="T63" fmla="*/ 27 h 52"/>
                  <a:gd name="T64" fmla="*/ 48 w 52"/>
                  <a:gd name="T65" fmla="*/ 25 h 52"/>
                  <a:gd name="T66" fmla="*/ 41 w 52"/>
                  <a:gd name="T67" fmla="*/ 23 h 52"/>
                  <a:gd name="T68" fmla="*/ 40 w 52"/>
                  <a:gd name="T69" fmla="*/ 15 h 52"/>
                  <a:gd name="T70" fmla="*/ 40 w 52"/>
                  <a:gd name="T71" fmla="*/ 9 h 52"/>
                  <a:gd name="T72" fmla="*/ 34 w 52"/>
                  <a:gd name="T73" fmla="*/ 13 h 52"/>
                  <a:gd name="T74" fmla="*/ 27 w 52"/>
                  <a:gd name="T75" fmla="*/ 9 h 52"/>
                  <a:gd name="T76" fmla="*/ 25 w 52"/>
                  <a:gd name="T77" fmla="*/ 4 h 52"/>
                  <a:gd name="T78" fmla="*/ 23 w 52"/>
                  <a:gd name="T79" fmla="*/ 11 h 52"/>
                  <a:gd name="T80" fmla="*/ 15 w 52"/>
                  <a:gd name="T81" fmla="*/ 12 h 52"/>
                  <a:gd name="T82" fmla="*/ 9 w 52"/>
                  <a:gd name="T83" fmla="*/ 12 h 52"/>
                  <a:gd name="T84" fmla="*/ 13 w 52"/>
                  <a:gd name="T85" fmla="*/ 18 h 52"/>
                  <a:gd name="T86" fmla="*/ 9 w 52"/>
                  <a:gd name="T87" fmla="*/ 25 h 52"/>
                  <a:gd name="T88" fmla="*/ 4 w 52"/>
                  <a:gd name="T89" fmla="*/ 27 h 52"/>
                  <a:gd name="T90" fmla="*/ 11 w 52"/>
                  <a:gd name="T91" fmla="*/ 29 h 52"/>
                  <a:gd name="T92" fmla="*/ 12 w 52"/>
                  <a:gd name="T93" fmla="*/ 37 h 52"/>
                  <a:gd name="T94" fmla="*/ 12 w 52"/>
                  <a:gd name="T95" fmla="*/ 43 h 52"/>
                  <a:gd name="T96" fmla="*/ 18 w 52"/>
                  <a:gd name="T97" fmla="*/ 39 h 52"/>
                  <a:gd name="T98" fmla="*/ 25 w 52"/>
                  <a:gd name="T99"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9" y="52"/>
                    </a:moveTo>
                    <a:cubicBezTo>
                      <a:pt x="23" y="52"/>
                      <a:pt x="23" y="52"/>
                      <a:pt x="23" y="52"/>
                    </a:cubicBezTo>
                    <a:cubicBezTo>
                      <a:pt x="22" y="52"/>
                      <a:pt x="21" y="51"/>
                      <a:pt x="21" y="50"/>
                    </a:cubicBezTo>
                    <a:cubicBezTo>
                      <a:pt x="21" y="45"/>
                      <a:pt x="21" y="45"/>
                      <a:pt x="21" y="45"/>
                    </a:cubicBezTo>
                    <a:cubicBezTo>
                      <a:pt x="20" y="44"/>
                      <a:pt x="18" y="44"/>
                      <a:pt x="17" y="44"/>
                    </a:cubicBezTo>
                    <a:cubicBezTo>
                      <a:pt x="13" y="47"/>
                      <a:pt x="13" y="47"/>
                      <a:pt x="13" y="47"/>
                    </a:cubicBezTo>
                    <a:cubicBezTo>
                      <a:pt x="13" y="48"/>
                      <a:pt x="11" y="48"/>
                      <a:pt x="11" y="47"/>
                    </a:cubicBezTo>
                    <a:cubicBezTo>
                      <a:pt x="5" y="41"/>
                      <a:pt x="5" y="41"/>
                      <a:pt x="5" y="41"/>
                    </a:cubicBezTo>
                    <a:cubicBezTo>
                      <a:pt x="4" y="41"/>
                      <a:pt x="4" y="41"/>
                      <a:pt x="4" y="40"/>
                    </a:cubicBezTo>
                    <a:cubicBezTo>
                      <a:pt x="4" y="39"/>
                      <a:pt x="4" y="39"/>
                      <a:pt x="5" y="39"/>
                    </a:cubicBezTo>
                    <a:cubicBezTo>
                      <a:pt x="8" y="35"/>
                      <a:pt x="8" y="35"/>
                      <a:pt x="8" y="35"/>
                    </a:cubicBezTo>
                    <a:cubicBezTo>
                      <a:pt x="8" y="34"/>
                      <a:pt x="8" y="32"/>
                      <a:pt x="7" y="31"/>
                    </a:cubicBezTo>
                    <a:cubicBezTo>
                      <a:pt x="2" y="31"/>
                      <a:pt x="2" y="31"/>
                      <a:pt x="2" y="31"/>
                    </a:cubicBezTo>
                    <a:cubicBezTo>
                      <a:pt x="1" y="31"/>
                      <a:pt x="0" y="30"/>
                      <a:pt x="0" y="29"/>
                    </a:cubicBezTo>
                    <a:cubicBezTo>
                      <a:pt x="0" y="23"/>
                      <a:pt x="0" y="23"/>
                      <a:pt x="0" y="23"/>
                    </a:cubicBezTo>
                    <a:cubicBezTo>
                      <a:pt x="0" y="22"/>
                      <a:pt x="1" y="21"/>
                      <a:pt x="2" y="21"/>
                    </a:cubicBezTo>
                    <a:cubicBezTo>
                      <a:pt x="7" y="21"/>
                      <a:pt x="7" y="21"/>
                      <a:pt x="7" y="21"/>
                    </a:cubicBezTo>
                    <a:cubicBezTo>
                      <a:pt x="8" y="20"/>
                      <a:pt x="8" y="18"/>
                      <a:pt x="8" y="17"/>
                    </a:cubicBezTo>
                    <a:cubicBezTo>
                      <a:pt x="5" y="13"/>
                      <a:pt x="5" y="13"/>
                      <a:pt x="5" y="13"/>
                    </a:cubicBezTo>
                    <a:cubicBezTo>
                      <a:pt x="4" y="13"/>
                      <a:pt x="4" y="13"/>
                      <a:pt x="4" y="12"/>
                    </a:cubicBezTo>
                    <a:cubicBezTo>
                      <a:pt x="4" y="11"/>
                      <a:pt x="4" y="11"/>
                      <a:pt x="5" y="11"/>
                    </a:cubicBezTo>
                    <a:cubicBezTo>
                      <a:pt x="11" y="5"/>
                      <a:pt x="11" y="5"/>
                      <a:pt x="11" y="5"/>
                    </a:cubicBezTo>
                    <a:cubicBezTo>
                      <a:pt x="11" y="4"/>
                      <a:pt x="13" y="4"/>
                      <a:pt x="13" y="5"/>
                    </a:cubicBezTo>
                    <a:cubicBezTo>
                      <a:pt x="17" y="8"/>
                      <a:pt x="17" y="8"/>
                      <a:pt x="17" y="8"/>
                    </a:cubicBezTo>
                    <a:cubicBezTo>
                      <a:pt x="18" y="8"/>
                      <a:pt x="20" y="8"/>
                      <a:pt x="21" y="7"/>
                    </a:cubicBezTo>
                    <a:cubicBezTo>
                      <a:pt x="21" y="2"/>
                      <a:pt x="21" y="2"/>
                      <a:pt x="21" y="2"/>
                    </a:cubicBezTo>
                    <a:cubicBezTo>
                      <a:pt x="21" y="1"/>
                      <a:pt x="22" y="0"/>
                      <a:pt x="23" y="0"/>
                    </a:cubicBezTo>
                    <a:cubicBezTo>
                      <a:pt x="29" y="0"/>
                      <a:pt x="29" y="0"/>
                      <a:pt x="29" y="0"/>
                    </a:cubicBezTo>
                    <a:cubicBezTo>
                      <a:pt x="30" y="0"/>
                      <a:pt x="31" y="1"/>
                      <a:pt x="31" y="2"/>
                    </a:cubicBezTo>
                    <a:cubicBezTo>
                      <a:pt x="31" y="7"/>
                      <a:pt x="31" y="7"/>
                      <a:pt x="31" y="7"/>
                    </a:cubicBezTo>
                    <a:cubicBezTo>
                      <a:pt x="32" y="8"/>
                      <a:pt x="34" y="8"/>
                      <a:pt x="35" y="8"/>
                    </a:cubicBezTo>
                    <a:cubicBezTo>
                      <a:pt x="39" y="5"/>
                      <a:pt x="39" y="5"/>
                      <a:pt x="39" y="5"/>
                    </a:cubicBezTo>
                    <a:cubicBezTo>
                      <a:pt x="39" y="4"/>
                      <a:pt x="41" y="4"/>
                      <a:pt x="41" y="5"/>
                    </a:cubicBezTo>
                    <a:cubicBezTo>
                      <a:pt x="47" y="11"/>
                      <a:pt x="47" y="11"/>
                      <a:pt x="47" y="11"/>
                    </a:cubicBezTo>
                    <a:cubicBezTo>
                      <a:pt x="48" y="11"/>
                      <a:pt x="48" y="11"/>
                      <a:pt x="48" y="12"/>
                    </a:cubicBezTo>
                    <a:cubicBezTo>
                      <a:pt x="48" y="13"/>
                      <a:pt x="48" y="13"/>
                      <a:pt x="47" y="13"/>
                    </a:cubicBezTo>
                    <a:cubicBezTo>
                      <a:pt x="44" y="17"/>
                      <a:pt x="44" y="17"/>
                      <a:pt x="44" y="17"/>
                    </a:cubicBezTo>
                    <a:cubicBezTo>
                      <a:pt x="44" y="18"/>
                      <a:pt x="44" y="20"/>
                      <a:pt x="45" y="21"/>
                    </a:cubicBezTo>
                    <a:cubicBezTo>
                      <a:pt x="50" y="21"/>
                      <a:pt x="50" y="21"/>
                      <a:pt x="50" y="21"/>
                    </a:cubicBezTo>
                    <a:cubicBezTo>
                      <a:pt x="51" y="21"/>
                      <a:pt x="52" y="22"/>
                      <a:pt x="52" y="23"/>
                    </a:cubicBezTo>
                    <a:cubicBezTo>
                      <a:pt x="52" y="29"/>
                      <a:pt x="52" y="29"/>
                      <a:pt x="52" y="29"/>
                    </a:cubicBezTo>
                    <a:cubicBezTo>
                      <a:pt x="52" y="30"/>
                      <a:pt x="51" y="31"/>
                      <a:pt x="50" y="31"/>
                    </a:cubicBezTo>
                    <a:cubicBezTo>
                      <a:pt x="45" y="31"/>
                      <a:pt x="45" y="31"/>
                      <a:pt x="45" y="31"/>
                    </a:cubicBezTo>
                    <a:cubicBezTo>
                      <a:pt x="44" y="32"/>
                      <a:pt x="44" y="34"/>
                      <a:pt x="44" y="35"/>
                    </a:cubicBezTo>
                    <a:cubicBezTo>
                      <a:pt x="47" y="39"/>
                      <a:pt x="47" y="39"/>
                      <a:pt x="47" y="39"/>
                    </a:cubicBezTo>
                    <a:cubicBezTo>
                      <a:pt x="48" y="39"/>
                      <a:pt x="48" y="41"/>
                      <a:pt x="47" y="41"/>
                    </a:cubicBezTo>
                    <a:cubicBezTo>
                      <a:pt x="41" y="47"/>
                      <a:pt x="41" y="47"/>
                      <a:pt x="41" y="47"/>
                    </a:cubicBezTo>
                    <a:cubicBezTo>
                      <a:pt x="41" y="48"/>
                      <a:pt x="39" y="48"/>
                      <a:pt x="39" y="47"/>
                    </a:cubicBezTo>
                    <a:cubicBezTo>
                      <a:pt x="35" y="44"/>
                      <a:pt x="35" y="44"/>
                      <a:pt x="35" y="44"/>
                    </a:cubicBezTo>
                    <a:cubicBezTo>
                      <a:pt x="34" y="44"/>
                      <a:pt x="32" y="44"/>
                      <a:pt x="31" y="45"/>
                    </a:cubicBezTo>
                    <a:cubicBezTo>
                      <a:pt x="31" y="50"/>
                      <a:pt x="31" y="50"/>
                      <a:pt x="31" y="50"/>
                    </a:cubicBezTo>
                    <a:cubicBezTo>
                      <a:pt x="31" y="51"/>
                      <a:pt x="30" y="52"/>
                      <a:pt x="29" y="52"/>
                    </a:cubicBezTo>
                    <a:close/>
                    <a:moveTo>
                      <a:pt x="25" y="48"/>
                    </a:moveTo>
                    <a:cubicBezTo>
                      <a:pt x="27" y="48"/>
                      <a:pt x="27" y="48"/>
                      <a:pt x="27" y="48"/>
                    </a:cubicBezTo>
                    <a:cubicBezTo>
                      <a:pt x="27" y="43"/>
                      <a:pt x="27" y="43"/>
                      <a:pt x="27" y="43"/>
                    </a:cubicBezTo>
                    <a:cubicBezTo>
                      <a:pt x="27" y="42"/>
                      <a:pt x="28" y="41"/>
                      <a:pt x="29" y="41"/>
                    </a:cubicBezTo>
                    <a:cubicBezTo>
                      <a:pt x="30" y="41"/>
                      <a:pt x="33" y="40"/>
                      <a:pt x="34" y="39"/>
                    </a:cubicBezTo>
                    <a:cubicBezTo>
                      <a:pt x="35" y="39"/>
                      <a:pt x="36" y="39"/>
                      <a:pt x="37" y="40"/>
                    </a:cubicBezTo>
                    <a:cubicBezTo>
                      <a:pt x="40" y="43"/>
                      <a:pt x="40" y="43"/>
                      <a:pt x="40" y="43"/>
                    </a:cubicBezTo>
                    <a:cubicBezTo>
                      <a:pt x="43" y="40"/>
                      <a:pt x="43" y="40"/>
                      <a:pt x="43" y="40"/>
                    </a:cubicBezTo>
                    <a:cubicBezTo>
                      <a:pt x="40" y="37"/>
                      <a:pt x="40" y="37"/>
                      <a:pt x="40" y="37"/>
                    </a:cubicBezTo>
                    <a:cubicBezTo>
                      <a:pt x="39" y="36"/>
                      <a:pt x="39" y="35"/>
                      <a:pt x="39" y="34"/>
                    </a:cubicBezTo>
                    <a:cubicBezTo>
                      <a:pt x="40" y="33"/>
                      <a:pt x="41" y="30"/>
                      <a:pt x="41" y="29"/>
                    </a:cubicBezTo>
                    <a:cubicBezTo>
                      <a:pt x="41" y="28"/>
                      <a:pt x="42" y="27"/>
                      <a:pt x="43" y="27"/>
                    </a:cubicBezTo>
                    <a:cubicBezTo>
                      <a:pt x="48" y="27"/>
                      <a:pt x="48" y="27"/>
                      <a:pt x="48" y="27"/>
                    </a:cubicBezTo>
                    <a:cubicBezTo>
                      <a:pt x="48" y="25"/>
                      <a:pt x="48" y="25"/>
                      <a:pt x="48" y="25"/>
                    </a:cubicBezTo>
                    <a:cubicBezTo>
                      <a:pt x="43" y="25"/>
                      <a:pt x="43" y="25"/>
                      <a:pt x="43" y="25"/>
                    </a:cubicBezTo>
                    <a:cubicBezTo>
                      <a:pt x="42" y="25"/>
                      <a:pt x="41" y="24"/>
                      <a:pt x="41" y="23"/>
                    </a:cubicBezTo>
                    <a:cubicBezTo>
                      <a:pt x="41" y="22"/>
                      <a:pt x="40" y="19"/>
                      <a:pt x="39" y="18"/>
                    </a:cubicBezTo>
                    <a:cubicBezTo>
                      <a:pt x="39" y="17"/>
                      <a:pt x="39" y="16"/>
                      <a:pt x="40" y="15"/>
                    </a:cubicBezTo>
                    <a:cubicBezTo>
                      <a:pt x="43" y="12"/>
                      <a:pt x="43" y="12"/>
                      <a:pt x="43" y="12"/>
                    </a:cubicBezTo>
                    <a:cubicBezTo>
                      <a:pt x="40" y="9"/>
                      <a:pt x="40" y="9"/>
                      <a:pt x="40" y="9"/>
                    </a:cubicBezTo>
                    <a:cubicBezTo>
                      <a:pt x="37" y="12"/>
                      <a:pt x="37" y="12"/>
                      <a:pt x="37" y="12"/>
                    </a:cubicBezTo>
                    <a:cubicBezTo>
                      <a:pt x="36" y="13"/>
                      <a:pt x="35" y="13"/>
                      <a:pt x="34" y="13"/>
                    </a:cubicBezTo>
                    <a:cubicBezTo>
                      <a:pt x="33" y="12"/>
                      <a:pt x="30" y="11"/>
                      <a:pt x="29" y="11"/>
                    </a:cubicBezTo>
                    <a:cubicBezTo>
                      <a:pt x="28" y="11"/>
                      <a:pt x="27" y="10"/>
                      <a:pt x="27" y="9"/>
                    </a:cubicBezTo>
                    <a:cubicBezTo>
                      <a:pt x="27" y="4"/>
                      <a:pt x="27" y="4"/>
                      <a:pt x="27" y="4"/>
                    </a:cubicBezTo>
                    <a:cubicBezTo>
                      <a:pt x="25" y="4"/>
                      <a:pt x="25" y="4"/>
                      <a:pt x="25" y="4"/>
                    </a:cubicBezTo>
                    <a:cubicBezTo>
                      <a:pt x="25" y="9"/>
                      <a:pt x="25" y="9"/>
                      <a:pt x="25" y="9"/>
                    </a:cubicBezTo>
                    <a:cubicBezTo>
                      <a:pt x="25" y="10"/>
                      <a:pt x="24" y="11"/>
                      <a:pt x="23" y="11"/>
                    </a:cubicBezTo>
                    <a:cubicBezTo>
                      <a:pt x="22" y="11"/>
                      <a:pt x="19" y="12"/>
                      <a:pt x="18" y="13"/>
                    </a:cubicBezTo>
                    <a:cubicBezTo>
                      <a:pt x="17" y="13"/>
                      <a:pt x="16" y="13"/>
                      <a:pt x="15" y="12"/>
                    </a:cubicBezTo>
                    <a:cubicBezTo>
                      <a:pt x="12" y="9"/>
                      <a:pt x="12" y="9"/>
                      <a:pt x="12" y="9"/>
                    </a:cubicBezTo>
                    <a:cubicBezTo>
                      <a:pt x="9" y="12"/>
                      <a:pt x="9" y="12"/>
                      <a:pt x="9" y="12"/>
                    </a:cubicBezTo>
                    <a:cubicBezTo>
                      <a:pt x="12" y="15"/>
                      <a:pt x="12" y="15"/>
                      <a:pt x="12" y="15"/>
                    </a:cubicBezTo>
                    <a:cubicBezTo>
                      <a:pt x="13" y="16"/>
                      <a:pt x="13" y="17"/>
                      <a:pt x="13" y="18"/>
                    </a:cubicBezTo>
                    <a:cubicBezTo>
                      <a:pt x="12" y="19"/>
                      <a:pt x="11" y="22"/>
                      <a:pt x="11" y="23"/>
                    </a:cubicBezTo>
                    <a:cubicBezTo>
                      <a:pt x="10" y="24"/>
                      <a:pt x="10" y="25"/>
                      <a:pt x="9" y="25"/>
                    </a:cubicBezTo>
                    <a:cubicBezTo>
                      <a:pt x="4" y="25"/>
                      <a:pt x="4" y="25"/>
                      <a:pt x="4" y="25"/>
                    </a:cubicBezTo>
                    <a:cubicBezTo>
                      <a:pt x="4" y="27"/>
                      <a:pt x="4" y="27"/>
                      <a:pt x="4" y="27"/>
                    </a:cubicBezTo>
                    <a:cubicBezTo>
                      <a:pt x="9" y="27"/>
                      <a:pt x="9" y="27"/>
                      <a:pt x="9" y="27"/>
                    </a:cubicBezTo>
                    <a:cubicBezTo>
                      <a:pt x="10" y="27"/>
                      <a:pt x="10" y="28"/>
                      <a:pt x="11" y="29"/>
                    </a:cubicBezTo>
                    <a:cubicBezTo>
                      <a:pt x="11" y="30"/>
                      <a:pt x="12" y="33"/>
                      <a:pt x="13" y="34"/>
                    </a:cubicBezTo>
                    <a:cubicBezTo>
                      <a:pt x="13" y="35"/>
                      <a:pt x="13" y="36"/>
                      <a:pt x="12" y="37"/>
                    </a:cubicBezTo>
                    <a:cubicBezTo>
                      <a:pt x="9" y="40"/>
                      <a:pt x="9" y="40"/>
                      <a:pt x="9" y="40"/>
                    </a:cubicBezTo>
                    <a:cubicBezTo>
                      <a:pt x="12" y="43"/>
                      <a:pt x="12" y="43"/>
                      <a:pt x="12" y="43"/>
                    </a:cubicBezTo>
                    <a:cubicBezTo>
                      <a:pt x="15" y="40"/>
                      <a:pt x="15" y="40"/>
                      <a:pt x="15" y="40"/>
                    </a:cubicBezTo>
                    <a:cubicBezTo>
                      <a:pt x="16" y="39"/>
                      <a:pt x="17" y="39"/>
                      <a:pt x="18" y="39"/>
                    </a:cubicBezTo>
                    <a:cubicBezTo>
                      <a:pt x="19" y="40"/>
                      <a:pt x="22" y="41"/>
                      <a:pt x="23" y="41"/>
                    </a:cubicBezTo>
                    <a:cubicBezTo>
                      <a:pt x="24" y="41"/>
                      <a:pt x="25" y="42"/>
                      <a:pt x="25" y="43"/>
                    </a:cubicBezTo>
                    <a:lnTo>
                      <a:pt x="25"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60">
                <a:extLst>
                  <a:ext uri="{FF2B5EF4-FFF2-40B4-BE49-F238E27FC236}">
                    <a16:creationId xmlns:a16="http://schemas.microsoft.com/office/drawing/2014/main" id="{D38C8F35-D02A-464B-9E98-617787E9830B}"/>
                  </a:ext>
                </a:extLst>
              </p:cNvPr>
              <p:cNvSpPr>
                <a:spLocks noEditPoints="1"/>
              </p:cNvSpPr>
              <p:nvPr/>
            </p:nvSpPr>
            <p:spPr bwMode="auto">
              <a:xfrm>
                <a:off x="904387" y="4729759"/>
                <a:ext cx="83433" cy="83433"/>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close/>
                    <a:moveTo>
                      <a:pt x="11" y="4"/>
                    </a:moveTo>
                    <a:cubicBezTo>
                      <a:pt x="7" y="4"/>
                      <a:pt x="4" y="7"/>
                      <a:pt x="4" y="11"/>
                    </a:cubicBezTo>
                    <a:cubicBezTo>
                      <a:pt x="4" y="15"/>
                      <a:pt x="7" y="18"/>
                      <a:pt x="11" y="18"/>
                    </a:cubicBezTo>
                    <a:cubicBezTo>
                      <a:pt x="15" y="18"/>
                      <a:pt x="18" y="15"/>
                      <a:pt x="18" y="11"/>
                    </a:cubicBezTo>
                    <a:cubicBezTo>
                      <a:pt x="18" y="7"/>
                      <a:pt x="15" y="4"/>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0" name="Freeform 61">
              <a:extLst>
                <a:ext uri="{FF2B5EF4-FFF2-40B4-BE49-F238E27FC236}">
                  <a16:creationId xmlns:a16="http://schemas.microsoft.com/office/drawing/2014/main" id="{679E69AA-A022-48AD-AED1-704B6F85D560}"/>
                </a:ext>
              </a:extLst>
            </p:cNvPr>
            <p:cNvSpPr>
              <a:spLocks noEditPoints="1"/>
            </p:cNvSpPr>
            <p:nvPr/>
          </p:nvSpPr>
          <p:spPr bwMode="auto">
            <a:xfrm>
              <a:off x="791597" y="4637055"/>
              <a:ext cx="327553" cy="360000"/>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9 w 87"/>
                <a:gd name="T45" fmla="*/ 78 h 96"/>
                <a:gd name="T46" fmla="*/ 72 w 87"/>
                <a:gd name="T47" fmla="*/ 75 h 96"/>
                <a:gd name="T48" fmla="*/ 74 w 87"/>
                <a:gd name="T49" fmla="*/ 58 h 96"/>
                <a:gd name="T50" fmla="*/ 75 w 87"/>
                <a:gd name="T51" fmla="*/ 57 h 96"/>
                <a:gd name="T52" fmla="*/ 76 w 87"/>
                <a:gd name="T53" fmla="*/ 56 h 96"/>
                <a:gd name="T54" fmla="*/ 82 w 87"/>
                <a:gd name="T55" fmla="*/ 56 h 96"/>
                <a:gd name="T56" fmla="*/ 83 w 87"/>
                <a:gd name="T57" fmla="*/ 56 h 96"/>
                <a:gd name="T58" fmla="*/ 83 w 87"/>
                <a:gd name="T59" fmla="*/ 55 h 96"/>
                <a:gd name="T60" fmla="*/ 83 w 87"/>
                <a:gd name="T61" fmla="*/ 54 h 96"/>
                <a:gd name="T62" fmla="*/ 78 w 87"/>
                <a:gd name="T63" fmla="*/ 41 h 96"/>
                <a:gd name="T64" fmla="*/ 74 w 87"/>
                <a:gd name="T65" fmla="*/ 34 h 96"/>
                <a:gd name="T66" fmla="*/ 40 w 87"/>
                <a:gd name="T67" fmla="*/ 4 h 96"/>
                <a:gd name="T68" fmla="*/ 4 w 87"/>
                <a:gd name="T69" fmla="*/ 40 h 96"/>
                <a:gd name="T70" fmla="*/ 19 w 87"/>
                <a:gd name="T71" fmla="*/ 69 h 96"/>
                <a:gd name="T72" fmla="*/ 20 w 87"/>
                <a:gd name="T73" fmla="*/ 71 h 96"/>
                <a:gd name="T74" fmla="*/ 20 w 87"/>
                <a:gd name="T75"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6"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8" y="78"/>
                    <a:pt x="58" y="78"/>
                  </a:cubicBezTo>
                  <a:cubicBezTo>
                    <a:pt x="59" y="78"/>
                    <a:pt x="59" y="78"/>
                    <a:pt x="59" y="78"/>
                  </a:cubicBezTo>
                  <a:cubicBezTo>
                    <a:pt x="66" y="78"/>
                    <a:pt x="70" y="77"/>
                    <a:pt x="72"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6"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3" name="Gruppieren 562">
            <a:extLst>
              <a:ext uri="{FF2B5EF4-FFF2-40B4-BE49-F238E27FC236}">
                <a16:creationId xmlns:a16="http://schemas.microsoft.com/office/drawing/2014/main" id="{5105B25A-C690-4ABD-9246-A2CD8F1B3B40}"/>
              </a:ext>
            </a:extLst>
          </p:cNvPr>
          <p:cNvGrpSpPr>
            <a:grpSpLocks noChangeAspect="1"/>
          </p:cNvGrpSpPr>
          <p:nvPr/>
        </p:nvGrpSpPr>
        <p:grpSpPr>
          <a:xfrm>
            <a:off x="284919" y="4345739"/>
            <a:ext cx="278980" cy="306484"/>
            <a:chOff x="5520948" y="4637056"/>
            <a:chExt cx="208532" cy="229091"/>
          </a:xfrm>
          <a:solidFill>
            <a:schemeClr val="bg1"/>
          </a:solidFill>
          <a:effectLst/>
        </p:grpSpPr>
        <p:sp>
          <p:nvSpPr>
            <p:cNvPr id="564" name="Freeform 65">
              <a:extLst>
                <a:ext uri="{FF2B5EF4-FFF2-40B4-BE49-F238E27FC236}">
                  <a16:creationId xmlns:a16="http://schemas.microsoft.com/office/drawing/2014/main" id="{D1FC507B-F967-4E08-A4F6-14E126DDD2B8}"/>
                </a:ext>
              </a:extLst>
            </p:cNvPr>
            <p:cNvSpPr>
              <a:spLocks noEditPoints="1"/>
            </p:cNvSpPr>
            <p:nvPr/>
          </p:nvSpPr>
          <p:spPr bwMode="auto">
            <a:xfrm>
              <a:off x="5520948" y="4637056"/>
              <a:ext cx="208532" cy="229091"/>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66">
              <a:extLst>
                <a:ext uri="{FF2B5EF4-FFF2-40B4-BE49-F238E27FC236}">
                  <a16:creationId xmlns:a16="http://schemas.microsoft.com/office/drawing/2014/main" id="{03CCF8ED-D79A-4DCB-885F-E6A54A12211F}"/>
                </a:ext>
              </a:extLst>
            </p:cNvPr>
            <p:cNvSpPr>
              <a:spLocks/>
            </p:cNvSpPr>
            <p:nvPr/>
          </p:nvSpPr>
          <p:spPr bwMode="auto">
            <a:xfrm>
              <a:off x="5587521" y="4689923"/>
              <a:ext cx="91049" cy="66573"/>
            </a:xfrm>
            <a:custGeom>
              <a:avLst/>
              <a:gdLst>
                <a:gd name="T0" fmla="*/ 10 w 38"/>
                <a:gd name="T1" fmla="*/ 28 h 28"/>
                <a:gd name="T2" fmla="*/ 9 w 38"/>
                <a:gd name="T3" fmla="*/ 27 h 28"/>
                <a:gd name="T4" fmla="*/ 1 w 38"/>
                <a:gd name="T5" fmla="*/ 19 h 28"/>
                <a:gd name="T6" fmla="*/ 1 w 38"/>
                <a:gd name="T7" fmla="*/ 17 h 28"/>
                <a:gd name="T8" fmla="*/ 3 w 38"/>
                <a:gd name="T9" fmla="*/ 17 h 28"/>
                <a:gd name="T10" fmla="*/ 10 w 38"/>
                <a:gd name="T11" fmla="*/ 23 h 28"/>
                <a:gd name="T12" fmla="*/ 35 w 38"/>
                <a:gd name="T13" fmla="*/ 1 h 28"/>
                <a:gd name="T14" fmla="*/ 37 w 38"/>
                <a:gd name="T15" fmla="*/ 1 h 28"/>
                <a:gd name="T16" fmla="*/ 37 w 38"/>
                <a:gd name="T17" fmla="*/ 3 h 28"/>
                <a:gd name="T18" fmla="*/ 11 w 38"/>
                <a:gd name="T19" fmla="*/ 27 h 28"/>
                <a:gd name="T20" fmla="*/ 10 w 3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10" y="28"/>
                  </a:moveTo>
                  <a:cubicBezTo>
                    <a:pt x="9" y="28"/>
                    <a:pt x="9" y="28"/>
                    <a:pt x="9" y="27"/>
                  </a:cubicBezTo>
                  <a:cubicBezTo>
                    <a:pt x="1" y="19"/>
                    <a:pt x="1" y="19"/>
                    <a:pt x="1" y="19"/>
                  </a:cubicBezTo>
                  <a:cubicBezTo>
                    <a:pt x="0" y="19"/>
                    <a:pt x="0" y="17"/>
                    <a:pt x="1" y="17"/>
                  </a:cubicBezTo>
                  <a:cubicBezTo>
                    <a:pt x="1" y="16"/>
                    <a:pt x="3" y="16"/>
                    <a:pt x="3" y="17"/>
                  </a:cubicBezTo>
                  <a:cubicBezTo>
                    <a:pt x="10" y="23"/>
                    <a:pt x="10" y="23"/>
                    <a:pt x="10" y="23"/>
                  </a:cubicBezTo>
                  <a:cubicBezTo>
                    <a:pt x="35" y="1"/>
                    <a:pt x="35" y="1"/>
                    <a:pt x="35" y="1"/>
                  </a:cubicBezTo>
                  <a:cubicBezTo>
                    <a:pt x="35" y="0"/>
                    <a:pt x="37" y="0"/>
                    <a:pt x="37" y="1"/>
                  </a:cubicBezTo>
                  <a:cubicBezTo>
                    <a:pt x="38" y="1"/>
                    <a:pt x="38" y="3"/>
                    <a:pt x="37" y="3"/>
                  </a:cubicBezTo>
                  <a:cubicBezTo>
                    <a:pt x="11" y="27"/>
                    <a:pt x="11" y="27"/>
                    <a:pt x="11" y="27"/>
                  </a:cubicBezTo>
                  <a:cubicBezTo>
                    <a:pt x="11" y="28"/>
                    <a:pt x="10" y="28"/>
                    <a:pt x="1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67">
              <a:extLst>
                <a:ext uri="{FF2B5EF4-FFF2-40B4-BE49-F238E27FC236}">
                  <a16:creationId xmlns:a16="http://schemas.microsoft.com/office/drawing/2014/main" id="{1DF02EF5-FF9D-480A-8A8A-305653BB0D3A}"/>
                </a:ext>
              </a:extLst>
            </p:cNvPr>
            <p:cNvSpPr>
              <a:spLocks/>
            </p:cNvSpPr>
            <p:nvPr/>
          </p:nvSpPr>
          <p:spPr bwMode="auto">
            <a:xfrm>
              <a:off x="5568920" y="4685028"/>
              <a:ext cx="94965" cy="94965"/>
            </a:xfrm>
            <a:custGeom>
              <a:avLst/>
              <a:gdLst>
                <a:gd name="T0" fmla="*/ 38 w 40"/>
                <a:gd name="T1" fmla="*/ 40 h 40"/>
                <a:gd name="T2" fmla="*/ 2 w 40"/>
                <a:gd name="T3" fmla="*/ 40 h 40"/>
                <a:gd name="T4" fmla="*/ 0 w 40"/>
                <a:gd name="T5" fmla="*/ 38 h 40"/>
                <a:gd name="T6" fmla="*/ 0 w 40"/>
                <a:gd name="T7" fmla="*/ 2 h 40"/>
                <a:gd name="T8" fmla="*/ 2 w 40"/>
                <a:gd name="T9" fmla="*/ 0 h 40"/>
                <a:gd name="T10" fmla="*/ 30 w 40"/>
                <a:gd name="T11" fmla="*/ 0 h 40"/>
                <a:gd name="T12" fmla="*/ 32 w 40"/>
                <a:gd name="T13" fmla="*/ 2 h 40"/>
                <a:gd name="T14" fmla="*/ 30 w 40"/>
                <a:gd name="T15" fmla="*/ 4 h 40"/>
                <a:gd name="T16" fmla="*/ 4 w 40"/>
                <a:gd name="T17" fmla="*/ 4 h 40"/>
                <a:gd name="T18" fmla="*/ 4 w 40"/>
                <a:gd name="T19" fmla="*/ 36 h 40"/>
                <a:gd name="T20" fmla="*/ 36 w 40"/>
                <a:gd name="T21" fmla="*/ 36 h 40"/>
                <a:gd name="T22" fmla="*/ 36 w 40"/>
                <a:gd name="T23" fmla="*/ 22 h 40"/>
                <a:gd name="T24" fmla="*/ 38 w 40"/>
                <a:gd name="T25" fmla="*/ 20 h 40"/>
                <a:gd name="T26" fmla="*/ 40 w 40"/>
                <a:gd name="T27" fmla="*/ 22 h 40"/>
                <a:gd name="T28" fmla="*/ 40 w 40"/>
                <a:gd name="T29" fmla="*/ 38 h 40"/>
                <a:gd name="T30" fmla="*/ 38 w 4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38" y="40"/>
                  </a:moveTo>
                  <a:cubicBezTo>
                    <a:pt x="2" y="40"/>
                    <a:pt x="2" y="40"/>
                    <a:pt x="2" y="40"/>
                  </a:cubicBezTo>
                  <a:cubicBezTo>
                    <a:pt x="1" y="40"/>
                    <a:pt x="0" y="39"/>
                    <a:pt x="0" y="38"/>
                  </a:cubicBezTo>
                  <a:cubicBezTo>
                    <a:pt x="0" y="2"/>
                    <a:pt x="0" y="2"/>
                    <a:pt x="0" y="2"/>
                  </a:cubicBezTo>
                  <a:cubicBezTo>
                    <a:pt x="0" y="1"/>
                    <a:pt x="1" y="0"/>
                    <a:pt x="2" y="0"/>
                  </a:cubicBezTo>
                  <a:cubicBezTo>
                    <a:pt x="30" y="0"/>
                    <a:pt x="30" y="0"/>
                    <a:pt x="30" y="0"/>
                  </a:cubicBezTo>
                  <a:cubicBezTo>
                    <a:pt x="31" y="0"/>
                    <a:pt x="32" y="1"/>
                    <a:pt x="32" y="2"/>
                  </a:cubicBezTo>
                  <a:cubicBezTo>
                    <a:pt x="32" y="3"/>
                    <a:pt x="31" y="4"/>
                    <a:pt x="30" y="4"/>
                  </a:cubicBezTo>
                  <a:cubicBezTo>
                    <a:pt x="4" y="4"/>
                    <a:pt x="4" y="4"/>
                    <a:pt x="4" y="4"/>
                  </a:cubicBezTo>
                  <a:cubicBezTo>
                    <a:pt x="4" y="36"/>
                    <a:pt x="4" y="36"/>
                    <a:pt x="4" y="36"/>
                  </a:cubicBezTo>
                  <a:cubicBezTo>
                    <a:pt x="36" y="36"/>
                    <a:pt x="36" y="36"/>
                    <a:pt x="36" y="36"/>
                  </a:cubicBezTo>
                  <a:cubicBezTo>
                    <a:pt x="36" y="22"/>
                    <a:pt x="36" y="22"/>
                    <a:pt x="36" y="22"/>
                  </a:cubicBezTo>
                  <a:cubicBezTo>
                    <a:pt x="36" y="21"/>
                    <a:pt x="37" y="20"/>
                    <a:pt x="38" y="20"/>
                  </a:cubicBezTo>
                  <a:cubicBezTo>
                    <a:pt x="39" y="20"/>
                    <a:pt x="40" y="21"/>
                    <a:pt x="40" y="22"/>
                  </a:cubicBezTo>
                  <a:cubicBezTo>
                    <a:pt x="40" y="38"/>
                    <a:pt x="40" y="38"/>
                    <a:pt x="40" y="38"/>
                  </a:cubicBezTo>
                  <a:cubicBezTo>
                    <a:pt x="40" y="39"/>
                    <a:pt x="39" y="40"/>
                    <a:pt x="3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7" name="Group 71">
            <a:extLst>
              <a:ext uri="{FF2B5EF4-FFF2-40B4-BE49-F238E27FC236}">
                <a16:creationId xmlns:a16="http://schemas.microsoft.com/office/drawing/2014/main" id="{E9FCC594-9602-435A-AF0D-9062AFE3914C}"/>
              </a:ext>
            </a:extLst>
          </p:cNvPr>
          <p:cNvGrpSpPr>
            <a:grpSpLocks noChangeAspect="1"/>
          </p:cNvGrpSpPr>
          <p:nvPr/>
        </p:nvGrpSpPr>
        <p:grpSpPr>
          <a:xfrm>
            <a:off x="1066057" y="3802799"/>
            <a:ext cx="306484" cy="306484"/>
            <a:chOff x="4386263" y="3243263"/>
            <a:chExt cx="371476" cy="371476"/>
          </a:xfrm>
          <a:solidFill>
            <a:schemeClr val="bg1"/>
          </a:solidFill>
          <a:effectLst/>
        </p:grpSpPr>
        <p:sp>
          <p:nvSpPr>
            <p:cNvPr id="568" name="Freeform 27">
              <a:extLst>
                <a:ext uri="{FF2B5EF4-FFF2-40B4-BE49-F238E27FC236}">
                  <a16:creationId xmlns:a16="http://schemas.microsoft.com/office/drawing/2014/main" id="{2F843378-5CF5-4769-ACE2-F3BB08AFBEC3}"/>
                </a:ext>
              </a:extLst>
            </p:cNvPr>
            <p:cNvSpPr>
              <a:spLocks noEditPoints="1"/>
            </p:cNvSpPr>
            <p:nvPr/>
          </p:nvSpPr>
          <p:spPr bwMode="auto">
            <a:xfrm>
              <a:off x="4418013" y="3328988"/>
              <a:ext cx="254000" cy="255588"/>
            </a:xfrm>
            <a:custGeom>
              <a:avLst/>
              <a:gdLst>
                <a:gd name="T0" fmla="*/ 14 w 66"/>
                <a:gd name="T1" fmla="*/ 66 h 66"/>
                <a:gd name="T2" fmla="*/ 13 w 66"/>
                <a:gd name="T3" fmla="*/ 65 h 66"/>
                <a:gd name="T4" fmla="*/ 1 w 66"/>
                <a:gd name="T5" fmla="*/ 53 h 66"/>
                <a:gd name="T6" fmla="*/ 0 w 66"/>
                <a:gd name="T7" fmla="*/ 52 h 66"/>
                <a:gd name="T8" fmla="*/ 1 w 66"/>
                <a:gd name="T9" fmla="*/ 51 h 66"/>
                <a:gd name="T10" fmla="*/ 51 w 66"/>
                <a:gd name="T11" fmla="*/ 1 h 66"/>
                <a:gd name="T12" fmla="*/ 52 w 66"/>
                <a:gd name="T13" fmla="*/ 0 h 66"/>
                <a:gd name="T14" fmla="*/ 52 w 66"/>
                <a:gd name="T15" fmla="*/ 0 h 66"/>
                <a:gd name="T16" fmla="*/ 53 w 66"/>
                <a:gd name="T17" fmla="*/ 1 h 66"/>
                <a:gd name="T18" fmla="*/ 65 w 66"/>
                <a:gd name="T19" fmla="*/ 13 h 66"/>
                <a:gd name="T20" fmla="*/ 65 w 66"/>
                <a:gd name="T21" fmla="*/ 15 h 66"/>
                <a:gd name="T22" fmla="*/ 15 w 66"/>
                <a:gd name="T23" fmla="*/ 65 h 66"/>
                <a:gd name="T24" fmla="*/ 14 w 66"/>
                <a:gd name="T25" fmla="*/ 66 h 66"/>
                <a:gd name="T26" fmla="*/ 5 w 66"/>
                <a:gd name="T27" fmla="*/ 52 h 66"/>
                <a:gd name="T28" fmla="*/ 14 w 66"/>
                <a:gd name="T29" fmla="*/ 61 h 66"/>
                <a:gd name="T30" fmla="*/ 61 w 66"/>
                <a:gd name="T31" fmla="*/ 14 h 66"/>
                <a:gd name="T32" fmla="*/ 52 w 66"/>
                <a:gd name="T33" fmla="*/ 5 h 66"/>
                <a:gd name="T34" fmla="*/ 5 w 66"/>
                <a:gd name="T35"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6">
                  <a:moveTo>
                    <a:pt x="14" y="66"/>
                  </a:moveTo>
                  <a:cubicBezTo>
                    <a:pt x="13" y="66"/>
                    <a:pt x="13" y="66"/>
                    <a:pt x="13" y="65"/>
                  </a:cubicBezTo>
                  <a:cubicBezTo>
                    <a:pt x="1" y="53"/>
                    <a:pt x="1" y="53"/>
                    <a:pt x="1" y="53"/>
                  </a:cubicBezTo>
                  <a:cubicBezTo>
                    <a:pt x="0" y="53"/>
                    <a:pt x="0" y="53"/>
                    <a:pt x="0" y="52"/>
                  </a:cubicBezTo>
                  <a:cubicBezTo>
                    <a:pt x="0" y="51"/>
                    <a:pt x="0" y="51"/>
                    <a:pt x="1" y="51"/>
                  </a:cubicBezTo>
                  <a:cubicBezTo>
                    <a:pt x="51" y="1"/>
                    <a:pt x="51" y="1"/>
                    <a:pt x="51" y="1"/>
                  </a:cubicBezTo>
                  <a:cubicBezTo>
                    <a:pt x="51" y="0"/>
                    <a:pt x="51" y="0"/>
                    <a:pt x="52" y="0"/>
                  </a:cubicBezTo>
                  <a:cubicBezTo>
                    <a:pt x="52" y="0"/>
                    <a:pt x="52" y="0"/>
                    <a:pt x="52" y="0"/>
                  </a:cubicBezTo>
                  <a:cubicBezTo>
                    <a:pt x="53" y="0"/>
                    <a:pt x="53" y="0"/>
                    <a:pt x="53" y="1"/>
                  </a:cubicBezTo>
                  <a:cubicBezTo>
                    <a:pt x="65" y="13"/>
                    <a:pt x="65" y="13"/>
                    <a:pt x="65" y="13"/>
                  </a:cubicBezTo>
                  <a:cubicBezTo>
                    <a:pt x="66" y="13"/>
                    <a:pt x="66" y="15"/>
                    <a:pt x="65" y="15"/>
                  </a:cubicBezTo>
                  <a:cubicBezTo>
                    <a:pt x="15" y="65"/>
                    <a:pt x="15" y="65"/>
                    <a:pt x="15" y="65"/>
                  </a:cubicBezTo>
                  <a:cubicBezTo>
                    <a:pt x="15" y="66"/>
                    <a:pt x="15" y="66"/>
                    <a:pt x="14" y="66"/>
                  </a:cubicBezTo>
                  <a:close/>
                  <a:moveTo>
                    <a:pt x="5" y="52"/>
                  </a:moveTo>
                  <a:cubicBezTo>
                    <a:pt x="14" y="61"/>
                    <a:pt x="14" y="61"/>
                    <a:pt x="14" y="61"/>
                  </a:cubicBezTo>
                  <a:cubicBezTo>
                    <a:pt x="61" y="14"/>
                    <a:pt x="61" y="14"/>
                    <a:pt x="61" y="14"/>
                  </a:cubicBezTo>
                  <a:cubicBezTo>
                    <a:pt x="52" y="5"/>
                    <a:pt x="52" y="5"/>
                    <a:pt x="52" y="5"/>
                  </a:cubicBez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28">
              <a:extLst>
                <a:ext uri="{FF2B5EF4-FFF2-40B4-BE49-F238E27FC236}">
                  <a16:creationId xmlns:a16="http://schemas.microsoft.com/office/drawing/2014/main" id="{E45FBD37-6F1A-4EF8-9EEC-4000309D08EE}"/>
                </a:ext>
              </a:extLst>
            </p:cNvPr>
            <p:cNvSpPr>
              <a:spLocks/>
            </p:cNvSpPr>
            <p:nvPr/>
          </p:nvSpPr>
          <p:spPr bwMode="auto">
            <a:xfrm>
              <a:off x="4560888" y="3440113"/>
              <a:ext cx="196850" cy="174625"/>
            </a:xfrm>
            <a:custGeom>
              <a:avLst/>
              <a:gdLst>
                <a:gd name="T0" fmla="*/ 41 w 51"/>
                <a:gd name="T1" fmla="*/ 45 h 45"/>
                <a:gd name="T2" fmla="*/ 40 w 51"/>
                <a:gd name="T3" fmla="*/ 45 h 45"/>
                <a:gd name="T4" fmla="*/ 39 w 51"/>
                <a:gd name="T5" fmla="*/ 45 h 45"/>
                <a:gd name="T6" fmla="*/ 38 w 51"/>
                <a:gd name="T7" fmla="*/ 44 h 45"/>
                <a:gd name="T8" fmla="*/ 1 w 51"/>
                <a:gd name="T9" fmla="*/ 11 h 45"/>
                <a:gd name="T10" fmla="*/ 1 w 51"/>
                <a:gd name="T11" fmla="*/ 8 h 45"/>
                <a:gd name="T12" fmla="*/ 4 w 51"/>
                <a:gd name="T13" fmla="*/ 8 h 45"/>
                <a:gd name="T14" fmla="*/ 40 w 51"/>
                <a:gd name="T15" fmla="*/ 41 h 45"/>
                <a:gd name="T16" fmla="*/ 40 w 51"/>
                <a:gd name="T17" fmla="*/ 41 h 45"/>
                <a:gd name="T18" fmla="*/ 46 w 51"/>
                <a:gd name="T19" fmla="*/ 40 h 45"/>
                <a:gd name="T20" fmla="*/ 47 w 51"/>
                <a:gd name="T21" fmla="*/ 34 h 45"/>
                <a:gd name="T22" fmla="*/ 9 w 51"/>
                <a:gd name="T23" fmla="*/ 4 h 45"/>
                <a:gd name="T24" fmla="*/ 8 w 51"/>
                <a:gd name="T25" fmla="*/ 1 h 45"/>
                <a:gd name="T26" fmla="*/ 11 w 51"/>
                <a:gd name="T27" fmla="*/ 0 h 45"/>
                <a:gd name="T28" fmla="*/ 50 w 51"/>
                <a:gd name="T29" fmla="*/ 31 h 45"/>
                <a:gd name="T30" fmla="*/ 51 w 51"/>
                <a:gd name="T31" fmla="*/ 33 h 45"/>
                <a:gd name="T32" fmla="*/ 48 w 51"/>
                <a:gd name="T33" fmla="*/ 43 h 45"/>
                <a:gd name="T34" fmla="*/ 41 w 51"/>
                <a:gd name="T3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5">
                  <a:moveTo>
                    <a:pt x="41" y="45"/>
                  </a:moveTo>
                  <a:cubicBezTo>
                    <a:pt x="41" y="45"/>
                    <a:pt x="41" y="45"/>
                    <a:pt x="40" y="45"/>
                  </a:cubicBezTo>
                  <a:cubicBezTo>
                    <a:pt x="39" y="45"/>
                    <a:pt x="39" y="45"/>
                    <a:pt x="39" y="45"/>
                  </a:cubicBezTo>
                  <a:cubicBezTo>
                    <a:pt x="38" y="45"/>
                    <a:pt x="38" y="45"/>
                    <a:pt x="38" y="44"/>
                  </a:cubicBezTo>
                  <a:cubicBezTo>
                    <a:pt x="1" y="11"/>
                    <a:pt x="1" y="11"/>
                    <a:pt x="1" y="11"/>
                  </a:cubicBezTo>
                  <a:cubicBezTo>
                    <a:pt x="1" y="10"/>
                    <a:pt x="0" y="9"/>
                    <a:pt x="1" y="8"/>
                  </a:cubicBezTo>
                  <a:cubicBezTo>
                    <a:pt x="2" y="7"/>
                    <a:pt x="3" y="7"/>
                    <a:pt x="4" y="8"/>
                  </a:cubicBezTo>
                  <a:cubicBezTo>
                    <a:pt x="40" y="41"/>
                    <a:pt x="40" y="41"/>
                    <a:pt x="40" y="41"/>
                  </a:cubicBezTo>
                  <a:cubicBezTo>
                    <a:pt x="40" y="41"/>
                    <a:pt x="40" y="41"/>
                    <a:pt x="40" y="41"/>
                  </a:cubicBezTo>
                  <a:cubicBezTo>
                    <a:pt x="43" y="41"/>
                    <a:pt x="45" y="41"/>
                    <a:pt x="46" y="40"/>
                  </a:cubicBezTo>
                  <a:cubicBezTo>
                    <a:pt x="46" y="39"/>
                    <a:pt x="47" y="37"/>
                    <a:pt x="47" y="34"/>
                  </a:cubicBezTo>
                  <a:cubicBezTo>
                    <a:pt x="9" y="4"/>
                    <a:pt x="9" y="4"/>
                    <a:pt x="9" y="4"/>
                  </a:cubicBezTo>
                  <a:cubicBezTo>
                    <a:pt x="8" y="3"/>
                    <a:pt x="8" y="2"/>
                    <a:pt x="8" y="1"/>
                  </a:cubicBezTo>
                  <a:cubicBezTo>
                    <a:pt x="9" y="0"/>
                    <a:pt x="10" y="0"/>
                    <a:pt x="11" y="0"/>
                  </a:cubicBezTo>
                  <a:cubicBezTo>
                    <a:pt x="50" y="31"/>
                    <a:pt x="50" y="31"/>
                    <a:pt x="50" y="31"/>
                  </a:cubicBezTo>
                  <a:cubicBezTo>
                    <a:pt x="51" y="32"/>
                    <a:pt x="51" y="32"/>
                    <a:pt x="51" y="33"/>
                  </a:cubicBezTo>
                  <a:cubicBezTo>
                    <a:pt x="51" y="38"/>
                    <a:pt x="50" y="41"/>
                    <a:pt x="48" y="43"/>
                  </a:cubicBezTo>
                  <a:cubicBezTo>
                    <a:pt x="47" y="45"/>
                    <a:pt x="44" y="45"/>
                    <a:pt x="4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29">
              <a:extLst>
                <a:ext uri="{FF2B5EF4-FFF2-40B4-BE49-F238E27FC236}">
                  <a16:creationId xmlns:a16="http://schemas.microsoft.com/office/drawing/2014/main" id="{CB7D5759-C858-4760-81B7-EA0E67366C93}"/>
                </a:ext>
              </a:extLst>
            </p:cNvPr>
            <p:cNvSpPr>
              <a:spLocks/>
            </p:cNvSpPr>
            <p:nvPr/>
          </p:nvSpPr>
          <p:spPr bwMode="auto">
            <a:xfrm>
              <a:off x="4649788" y="3305176"/>
              <a:ext cx="100013" cy="139700"/>
            </a:xfrm>
            <a:custGeom>
              <a:avLst/>
              <a:gdLst>
                <a:gd name="T0" fmla="*/ 2 w 26"/>
                <a:gd name="T1" fmla="*/ 36 h 36"/>
                <a:gd name="T2" fmla="*/ 1 w 26"/>
                <a:gd name="T3" fmla="*/ 35 h 36"/>
                <a:gd name="T4" fmla="*/ 1 w 26"/>
                <a:gd name="T5" fmla="*/ 33 h 36"/>
                <a:gd name="T6" fmla="*/ 21 w 26"/>
                <a:gd name="T7" fmla="*/ 13 h 36"/>
                <a:gd name="T8" fmla="*/ 22 w 26"/>
                <a:gd name="T9" fmla="*/ 8 h 36"/>
                <a:gd name="T10" fmla="*/ 21 w 26"/>
                <a:gd name="T11" fmla="*/ 3 h 36"/>
                <a:gd name="T12" fmla="*/ 21 w 26"/>
                <a:gd name="T13" fmla="*/ 1 h 36"/>
                <a:gd name="T14" fmla="*/ 23 w 26"/>
                <a:gd name="T15" fmla="*/ 1 h 36"/>
                <a:gd name="T16" fmla="*/ 26 w 26"/>
                <a:gd name="T17" fmla="*/ 8 h 36"/>
                <a:gd name="T18" fmla="*/ 23 w 26"/>
                <a:gd name="T19" fmla="*/ 15 h 36"/>
                <a:gd name="T20" fmla="*/ 3 w 26"/>
                <a:gd name="T21" fmla="*/ 35 h 36"/>
                <a:gd name="T22" fmla="*/ 2 w 26"/>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6">
                  <a:moveTo>
                    <a:pt x="2" y="36"/>
                  </a:moveTo>
                  <a:cubicBezTo>
                    <a:pt x="1" y="36"/>
                    <a:pt x="1" y="36"/>
                    <a:pt x="1" y="35"/>
                  </a:cubicBezTo>
                  <a:cubicBezTo>
                    <a:pt x="0" y="35"/>
                    <a:pt x="0" y="33"/>
                    <a:pt x="1" y="33"/>
                  </a:cubicBezTo>
                  <a:cubicBezTo>
                    <a:pt x="21" y="13"/>
                    <a:pt x="21" y="13"/>
                    <a:pt x="21" y="13"/>
                  </a:cubicBezTo>
                  <a:cubicBezTo>
                    <a:pt x="22" y="11"/>
                    <a:pt x="22" y="10"/>
                    <a:pt x="22" y="8"/>
                  </a:cubicBezTo>
                  <a:cubicBezTo>
                    <a:pt x="22" y="6"/>
                    <a:pt x="22" y="5"/>
                    <a:pt x="21" y="3"/>
                  </a:cubicBezTo>
                  <a:cubicBezTo>
                    <a:pt x="20" y="3"/>
                    <a:pt x="20" y="1"/>
                    <a:pt x="21" y="1"/>
                  </a:cubicBezTo>
                  <a:cubicBezTo>
                    <a:pt x="21" y="0"/>
                    <a:pt x="23" y="0"/>
                    <a:pt x="23" y="1"/>
                  </a:cubicBezTo>
                  <a:cubicBezTo>
                    <a:pt x="25" y="2"/>
                    <a:pt x="26" y="5"/>
                    <a:pt x="26" y="8"/>
                  </a:cubicBezTo>
                  <a:cubicBezTo>
                    <a:pt x="26" y="11"/>
                    <a:pt x="25" y="14"/>
                    <a:pt x="23" y="15"/>
                  </a:cubicBezTo>
                  <a:cubicBezTo>
                    <a:pt x="3" y="35"/>
                    <a:pt x="3" y="35"/>
                    <a:pt x="3" y="35"/>
                  </a:cubicBezTo>
                  <a:cubicBezTo>
                    <a:pt x="3" y="36"/>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30">
              <a:extLst>
                <a:ext uri="{FF2B5EF4-FFF2-40B4-BE49-F238E27FC236}">
                  <a16:creationId xmlns:a16="http://schemas.microsoft.com/office/drawing/2014/main" id="{F552A775-9790-4ACD-830B-0DFDD9FBE630}"/>
                </a:ext>
              </a:extLst>
            </p:cNvPr>
            <p:cNvSpPr>
              <a:spLocks/>
            </p:cNvSpPr>
            <p:nvPr/>
          </p:nvSpPr>
          <p:spPr bwMode="auto">
            <a:xfrm>
              <a:off x="4386263" y="3571876"/>
              <a:ext cx="42863" cy="42863"/>
            </a:xfrm>
            <a:custGeom>
              <a:avLst/>
              <a:gdLst>
                <a:gd name="T0" fmla="*/ 2 w 11"/>
                <a:gd name="T1" fmla="*/ 11 h 11"/>
                <a:gd name="T2" fmla="*/ 1 w 11"/>
                <a:gd name="T3" fmla="*/ 10 h 11"/>
                <a:gd name="T4" fmla="*/ 1 w 11"/>
                <a:gd name="T5" fmla="*/ 8 h 11"/>
                <a:gd name="T6" fmla="*/ 8 w 11"/>
                <a:gd name="T7" fmla="*/ 1 h 11"/>
                <a:gd name="T8" fmla="*/ 10 w 11"/>
                <a:gd name="T9" fmla="*/ 1 h 11"/>
                <a:gd name="T10" fmla="*/ 10 w 11"/>
                <a:gd name="T11" fmla="*/ 3 h 11"/>
                <a:gd name="T12" fmla="*/ 3 w 11"/>
                <a:gd name="T13" fmla="*/ 10 h 11"/>
                <a:gd name="T14" fmla="*/ 2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11"/>
                  </a:moveTo>
                  <a:cubicBezTo>
                    <a:pt x="1" y="11"/>
                    <a:pt x="1" y="11"/>
                    <a:pt x="1" y="10"/>
                  </a:cubicBezTo>
                  <a:cubicBezTo>
                    <a:pt x="0" y="10"/>
                    <a:pt x="0" y="8"/>
                    <a:pt x="1" y="8"/>
                  </a:cubicBezTo>
                  <a:cubicBezTo>
                    <a:pt x="8" y="1"/>
                    <a:pt x="8" y="1"/>
                    <a:pt x="8" y="1"/>
                  </a:cubicBezTo>
                  <a:cubicBezTo>
                    <a:pt x="8" y="0"/>
                    <a:pt x="10" y="0"/>
                    <a:pt x="10" y="1"/>
                  </a:cubicBezTo>
                  <a:cubicBezTo>
                    <a:pt x="11" y="1"/>
                    <a:pt x="11" y="3"/>
                    <a:pt x="10" y="3"/>
                  </a:cubicBezTo>
                  <a:cubicBezTo>
                    <a:pt x="3" y="10"/>
                    <a:pt x="3" y="10"/>
                    <a:pt x="3" y="10"/>
                  </a:cubicBezTo>
                  <a:cubicBezTo>
                    <a:pt x="3" y="11"/>
                    <a:pt x="3"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31">
              <a:extLst>
                <a:ext uri="{FF2B5EF4-FFF2-40B4-BE49-F238E27FC236}">
                  <a16:creationId xmlns:a16="http://schemas.microsoft.com/office/drawing/2014/main" id="{5C8A3B14-570D-4A27-BCE9-24D825CFA993}"/>
                </a:ext>
              </a:extLst>
            </p:cNvPr>
            <p:cNvSpPr>
              <a:spLocks noEditPoints="1"/>
            </p:cNvSpPr>
            <p:nvPr/>
          </p:nvSpPr>
          <p:spPr bwMode="auto">
            <a:xfrm>
              <a:off x="4610101" y="3243263"/>
              <a:ext cx="147638" cy="147638"/>
            </a:xfrm>
            <a:custGeom>
              <a:avLst/>
              <a:gdLst>
                <a:gd name="T0" fmla="*/ 14 w 38"/>
                <a:gd name="T1" fmla="*/ 38 h 38"/>
                <a:gd name="T2" fmla="*/ 13 w 38"/>
                <a:gd name="T3" fmla="*/ 37 h 38"/>
                <a:gd name="T4" fmla="*/ 1 w 38"/>
                <a:gd name="T5" fmla="*/ 25 h 38"/>
                <a:gd name="T6" fmla="*/ 1 w 38"/>
                <a:gd name="T7" fmla="*/ 23 h 38"/>
                <a:gd name="T8" fmla="*/ 23 w 38"/>
                <a:gd name="T9" fmla="*/ 1 h 38"/>
                <a:gd name="T10" fmla="*/ 25 w 38"/>
                <a:gd name="T11" fmla="*/ 1 h 38"/>
                <a:gd name="T12" fmla="*/ 37 w 38"/>
                <a:gd name="T13" fmla="*/ 13 h 38"/>
                <a:gd name="T14" fmla="*/ 37 w 38"/>
                <a:gd name="T15" fmla="*/ 15 h 38"/>
                <a:gd name="T16" fmla="*/ 15 w 38"/>
                <a:gd name="T17" fmla="*/ 37 h 38"/>
                <a:gd name="T18" fmla="*/ 14 w 38"/>
                <a:gd name="T19" fmla="*/ 38 h 38"/>
                <a:gd name="T20" fmla="*/ 5 w 38"/>
                <a:gd name="T21" fmla="*/ 24 h 38"/>
                <a:gd name="T22" fmla="*/ 14 w 38"/>
                <a:gd name="T23" fmla="*/ 33 h 38"/>
                <a:gd name="T24" fmla="*/ 33 w 38"/>
                <a:gd name="T25" fmla="*/ 14 h 38"/>
                <a:gd name="T26" fmla="*/ 24 w 38"/>
                <a:gd name="T27" fmla="*/ 5 h 38"/>
                <a:gd name="T28" fmla="*/ 5 w 38"/>
                <a:gd name="T2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8">
                  <a:moveTo>
                    <a:pt x="14" y="38"/>
                  </a:moveTo>
                  <a:cubicBezTo>
                    <a:pt x="13" y="38"/>
                    <a:pt x="13" y="38"/>
                    <a:pt x="13" y="37"/>
                  </a:cubicBezTo>
                  <a:cubicBezTo>
                    <a:pt x="1" y="25"/>
                    <a:pt x="1" y="25"/>
                    <a:pt x="1" y="25"/>
                  </a:cubicBezTo>
                  <a:cubicBezTo>
                    <a:pt x="0" y="25"/>
                    <a:pt x="0" y="23"/>
                    <a:pt x="1" y="23"/>
                  </a:cubicBezTo>
                  <a:cubicBezTo>
                    <a:pt x="23" y="1"/>
                    <a:pt x="23" y="1"/>
                    <a:pt x="23" y="1"/>
                  </a:cubicBezTo>
                  <a:cubicBezTo>
                    <a:pt x="23" y="0"/>
                    <a:pt x="25" y="0"/>
                    <a:pt x="25" y="1"/>
                  </a:cubicBezTo>
                  <a:cubicBezTo>
                    <a:pt x="37" y="13"/>
                    <a:pt x="37" y="13"/>
                    <a:pt x="37" y="13"/>
                  </a:cubicBezTo>
                  <a:cubicBezTo>
                    <a:pt x="38" y="13"/>
                    <a:pt x="38" y="15"/>
                    <a:pt x="37" y="15"/>
                  </a:cubicBezTo>
                  <a:cubicBezTo>
                    <a:pt x="15" y="37"/>
                    <a:pt x="15" y="37"/>
                    <a:pt x="15" y="37"/>
                  </a:cubicBezTo>
                  <a:cubicBezTo>
                    <a:pt x="15" y="38"/>
                    <a:pt x="15" y="38"/>
                    <a:pt x="14" y="38"/>
                  </a:cubicBezTo>
                  <a:close/>
                  <a:moveTo>
                    <a:pt x="5" y="24"/>
                  </a:moveTo>
                  <a:cubicBezTo>
                    <a:pt x="14" y="33"/>
                    <a:pt x="14" y="33"/>
                    <a:pt x="14" y="33"/>
                  </a:cubicBezTo>
                  <a:cubicBezTo>
                    <a:pt x="33" y="14"/>
                    <a:pt x="33" y="14"/>
                    <a:pt x="33" y="14"/>
                  </a:cubicBezTo>
                  <a:cubicBezTo>
                    <a:pt x="24" y="5"/>
                    <a:pt x="24" y="5"/>
                    <a:pt x="24" y="5"/>
                  </a:cubicBez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32">
              <a:extLst>
                <a:ext uri="{FF2B5EF4-FFF2-40B4-BE49-F238E27FC236}">
                  <a16:creationId xmlns:a16="http://schemas.microsoft.com/office/drawing/2014/main" id="{15D19BE1-8540-4321-9753-9F570AC45380}"/>
                </a:ext>
              </a:extLst>
            </p:cNvPr>
            <p:cNvSpPr>
              <a:spLocks/>
            </p:cNvSpPr>
            <p:nvPr/>
          </p:nvSpPr>
          <p:spPr bwMode="auto">
            <a:xfrm>
              <a:off x="4402138" y="3533776"/>
              <a:ext cx="65088" cy="65088"/>
            </a:xfrm>
            <a:custGeom>
              <a:avLst/>
              <a:gdLst>
                <a:gd name="T0" fmla="*/ 8 w 17"/>
                <a:gd name="T1" fmla="*/ 17 h 17"/>
                <a:gd name="T2" fmla="*/ 8 w 17"/>
                <a:gd name="T3" fmla="*/ 17 h 17"/>
                <a:gd name="T4" fmla="*/ 7 w 17"/>
                <a:gd name="T5" fmla="*/ 16 h 17"/>
                <a:gd name="T6" fmla="*/ 1 w 17"/>
                <a:gd name="T7" fmla="*/ 10 h 17"/>
                <a:gd name="T8" fmla="*/ 1 w 17"/>
                <a:gd name="T9" fmla="*/ 8 h 17"/>
                <a:gd name="T10" fmla="*/ 8 w 17"/>
                <a:gd name="T11" fmla="*/ 1 h 17"/>
                <a:gd name="T12" fmla="*/ 10 w 17"/>
                <a:gd name="T13" fmla="*/ 1 h 17"/>
                <a:gd name="T14" fmla="*/ 10 w 17"/>
                <a:gd name="T15" fmla="*/ 3 h 17"/>
                <a:gd name="T16" fmla="*/ 5 w 17"/>
                <a:gd name="T17" fmla="*/ 9 h 17"/>
                <a:gd name="T18" fmla="*/ 8 w 17"/>
                <a:gd name="T19" fmla="*/ 12 h 17"/>
                <a:gd name="T20" fmla="*/ 14 w 17"/>
                <a:gd name="T21" fmla="*/ 7 h 17"/>
                <a:gd name="T22" fmla="*/ 16 w 17"/>
                <a:gd name="T23" fmla="*/ 7 h 17"/>
                <a:gd name="T24" fmla="*/ 16 w 17"/>
                <a:gd name="T25" fmla="*/ 9 h 17"/>
                <a:gd name="T26" fmla="*/ 9 w 17"/>
                <a:gd name="T27" fmla="*/ 16 h 17"/>
                <a:gd name="T28" fmla="*/ 8 w 17"/>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7">
                  <a:moveTo>
                    <a:pt x="8" y="17"/>
                  </a:moveTo>
                  <a:cubicBezTo>
                    <a:pt x="8" y="17"/>
                    <a:pt x="8" y="17"/>
                    <a:pt x="8" y="17"/>
                  </a:cubicBezTo>
                  <a:cubicBezTo>
                    <a:pt x="7" y="17"/>
                    <a:pt x="7" y="17"/>
                    <a:pt x="7" y="16"/>
                  </a:cubicBezTo>
                  <a:cubicBezTo>
                    <a:pt x="1" y="10"/>
                    <a:pt x="1" y="10"/>
                    <a:pt x="1" y="10"/>
                  </a:cubicBezTo>
                  <a:cubicBezTo>
                    <a:pt x="0" y="10"/>
                    <a:pt x="0" y="8"/>
                    <a:pt x="1" y="8"/>
                  </a:cubicBezTo>
                  <a:cubicBezTo>
                    <a:pt x="8" y="1"/>
                    <a:pt x="8" y="1"/>
                    <a:pt x="8" y="1"/>
                  </a:cubicBezTo>
                  <a:cubicBezTo>
                    <a:pt x="8" y="0"/>
                    <a:pt x="10" y="0"/>
                    <a:pt x="10" y="1"/>
                  </a:cubicBezTo>
                  <a:cubicBezTo>
                    <a:pt x="11" y="1"/>
                    <a:pt x="11" y="3"/>
                    <a:pt x="10" y="3"/>
                  </a:cubicBezTo>
                  <a:cubicBezTo>
                    <a:pt x="5" y="9"/>
                    <a:pt x="5" y="9"/>
                    <a:pt x="5" y="9"/>
                  </a:cubicBezTo>
                  <a:cubicBezTo>
                    <a:pt x="8" y="12"/>
                    <a:pt x="8" y="12"/>
                    <a:pt x="8" y="12"/>
                  </a:cubicBezTo>
                  <a:cubicBezTo>
                    <a:pt x="14" y="7"/>
                    <a:pt x="14" y="7"/>
                    <a:pt x="14" y="7"/>
                  </a:cubicBezTo>
                  <a:cubicBezTo>
                    <a:pt x="14" y="6"/>
                    <a:pt x="16" y="6"/>
                    <a:pt x="16" y="7"/>
                  </a:cubicBezTo>
                  <a:cubicBezTo>
                    <a:pt x="17" y="7"/>
                    <a:pt x="17" y="9"/>
                    <a:pt x="16" y="9"/>
                  </a:cubicBezTo>
                  <a:cubicBezTo>
                    <a:pt x="9" y="16"/>
                    <a:pt x="9" y="16"/>
                    <a:pt x="9" y="16"/>
                  </a:cubicBezTo>
                  <a:cubicBezTo>
                    <a:pt x="9" y="17"/>
                    <a:pt x="9" y="17"/>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33">
              <a:extLst>
                <a:ext uri="{FF2B5EF4-FFF2-40B4-BE49-F238E27FC236}">
                  <a16:creationId xmlns:a16="http://schemas.microsoft.com/office/drawing/2014/main" id="{0A13B3B1-CC7E-4FDF-8782-24A421B1015C}"/>
                </a:ext>
              </a:extLst>
            </p:cNvPr>
            <p:cNvSpPr>
              <a:spLocks noEditPoints="1"/>
            </p:cNvSpPr>
            <p:nvPr/>
          </p:nvSpPr>
          <p:spPr bwMode="auto">
            <a:xfrm>
              <a:off x="4386263" y="3243263"/>
              <a:ext cx="150813" cy="182563"/>
            </a:xfrm>
            <a:custGeom>
              <a:avLst/>
              <a:gdLst>
                <a:gd name="T0" fmla="*/ 23 w 39"/>
                <a:gd name="T1" fmla="*/ 47 h 47"/>
                <a:gd name="T2" fmla="*/ 4 w 39"/>
                <a:gd name="T3" fmla="*/ 32 h 47"/>
                <a:gd name="T4" fmla="*/ 11 w 39"/>
                <a:gd name="T5" fmla="*/ 1 h 47"/>
                <a:gd name="T6" fmla="*/ 13 w 39"/>
                <a:gd name="T7" fmla="*/ 0 h 47"/>
                <a:gd name="T8" fmla="*/ 14 w 39"/>
                <a:gd name="T9" fmla="*/ 2 h 47"/>
                <a:gd name="T10" fmla="*/ 25 w 39"/>
                <a:gd name="T11" fmla="*/ 15 h 47"/>
                <a:gd name="T12" fmla="*/ 32 w 39"/>
                <a:gd name="T13" fmla="*/ 18 h 47"/>
                <a:gd name="T14" fmla="*/ 38 w 39"/>
                <a:gd name="T15" fmla="*/ 28 h 47"/>
                <a:gd name="T16" fmla="*/ 35 w 39"/>
                <a:gd name="T17" fmla="*/ 40 h 47"/>
                <a:gd name="T18" fmla="*/ 23 w 39"/>
                <a:gd name="T19" fmla="*/ 47 h 47"/>
                <a:gd name="T20" fmla="*/ 10 w 39"/>
                <a:gd name="T21" fmla="*/ 7 h 47"/>
                <a:gd name="T22" fmla="*/ 8 w 39"/>
                <a:gd name="T23" fmla="*/ 30 h 47"/>
                <a:gd name="T24" fmla="*/ 23 w 39"/>
                <a:gd name="T25" fmla="*/ 43 h 47"/>
                <a:gd name="T26" fmla="*/ 32 w 39"/>
                <a:gd name="T27" fmla="*/ 38 h 47"/>
                <a:gd name="T28" fmla="*/ 34 w 39"/>
                <a:gd name="T29" fmla="*/ 29 h 47"/>
                <a:gd name="T30" fmla="*/ 30 w 39"/>
                <a:gd name="T31" fmla="*/ 21 h 47"/>
                <a:gd name="T32" fmla="*/ 24 w 39"/>
                <a:gd name="T33" fmla="*/ 19 h 47"/>
                <a:gd name="T34" fmla="*/ 10 w 39"/>
                <a:gd name="T35"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47">
                  <a:moveTo>
                    <a:pt x="23" y="47"/>
                  </a:moveTo>
                  <a:cubicBezTo>
                    <a:pt x="16" y="47"/>
                    <a:pt x="8" y="41"/>
                    <a:pt x="4" y="32"/>
                  </a:cubicBezTo>
                  <a:cubicBezTo>
                    <a:pt x="0" y="20"/>
                    <a:pt x="2" y="9"/>
                    <a:pt x="11" y="1"/>
                  </a:cubicBezTo>
                  <a:cubicBezTo>
                    <a:pt x="11" y="0"/>
                    <a:pt x="12" y="0"/>
                    <a:pt x="13" y="0"/>
                  </a:cubicBezTo>
                  <a:cubicBezTo>
                    <a:pt x="14" y="1"/>
                    <a:pt x="14" y="1"/>
                    <a:pt x="14" y="2"/>
                  </a:cubicBezTo>
                  <a:cubicBezTo>
                    <a:pt x="14" y="11"/>
                    <a:pt x="19" y="13"/>
                    <a:pt x="25" y="15"/>
                  </a:cubicBezTo>
                  <a:cubicBezTo>
                    <a:pt x="27" y="16"/>
                    <a:pt x="30" y="16"/>
                    <a:pt x="32" y="18"/>
                  </a:cubicBezTo>
                  <a:cubicBezTo>
                    <a:pt x="35" y="20"/>
                    <a:pt x="38" y="24"/>
                    <a:pt x="38" y="28"/>
                  </a:cubicBezTo>
                  <a:cubicBezTo>
                    <a:pt x="39" y="33"/>
                    <a:pt x="38" y="37"/>
                    <a:pt x="35" y="40"/>
                  </a:cubicBezTo>
                  <a:cubicBezTo>
                    <a:pt x="31" y="46"/>
                    <a:pt x="26" y="47"/>
                    <a:pt x="23" y="47"/>
                  </a:cubicBezTo>
                  <a:close/>
                  <a:moveTo>
                    <a:pt x="10" y="7"/>
                  </a:moveTo>
                  <a:cubicBezTo>
                    <a:pt x="5" y="14"/>
                    <a:pt x="4" y="22"/>
                    <a:pt x="8" y="30"/>
                  </a:cubicBezTo>
                  <a:cubicBezTo>
                    <a:pt x="11" y="38"/>
                    <a:pt x="17" y="43"/>
                    <a:pt x="23" y="43"/>
                  </a:cubicBezTo>
                  <a:cubicBezTo>
                    <a:pt x="26" y="43"/>
                    <a:pt x="29" y="41"/>
                    <a:pt x="32" y="38"/>
                  </a:cubicBezTo>
                  <a:cubicBezTo>
                    <a:pt x="34" y="36"/>
                    <a:pt x="35" y="32"/>
                    <a:pt x="34" y="29"/>
                  </a:cubicBezTo>
                  <a:cubicBezTo>
                    <a:pt x="34" y="26"/>
                    <a:pt x="32" y="23"/>
                    <a:pt x="30" y="21"/>
                  </a:cubicBezTo>
                  <a:cubicBezTo>
                    <a:pt x="28" y="20"/>
                    <a:pt x="26" y="19"/>
                    <a:pt x="24" y="19"/>
                  </a:cubicBezTo>
                  <a:cubicBezTo>
                    <a:pt x="19" y="17"/>
                    <a:pt x="12" y="15"/>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34">
              <a:extLst>
                <a:ext uri="{FF2B5EF4-FFF2-40B4-BE49-F238E27FC236}">
                  <a16:creationId xmlns:a16="http://schemas.microsoft.com/office/drawing/2014/main" id="{0D743E11-D9F7-43E0-830A-397443D737BB}"/>
                </a:ext>
              </a:extLst>
            </p:cNvPr>
            <p:cNvSpPr>
              <a:spLocks/>
            </p:cNvSpPr>
            <p:nvPr/>
          </p:nvSpPr>
          <p:spPr bwMode="auto">
            <a:xfrm>
              <a:off x="4491038" y="3378201"/>
              <a:ext cx="65088" cy="61913"/>
            </a:xfrm>
            <a:custGeom>
              <a:avLst/>
              <a:gdLst>
                <a:gd name="T0" fmla="*/ 8 w 17"/>
                <a:gd name="T1" fmla="*/ 16 h 16"/>
                <a:gd name="T2" fmla="*/ 7 w 17"/>
                <a:gd name="T3" fmla="*/ 15 h 16"/>
                <a:gd name="T4" fmla="*/ 1 w 17"/>
                <a:gd name="T5" fmla="*/ 10 h 16"/>
                <a:gd name="T6" fmla="*/ 0 w 17"/>
                <a:gd name="T7" fmla="*/ 8 h 16"/>
                <a:gd name="T8" fmla="*/ 1 w 17"/>
                <a:gd name="T9" fmla="*/ 7 h 16"/>
                <a:gd name="T10" fmla="*/ 5 w 17"/>
                <a:gd name="T11" fmla="*/ 3 h 16"/>
                <a:gd name="T12" fmla="*/ 6 w 17"/>
                <a:gd name="T13" fmla="*/ 1 h 16"/>
                <a:gd name="T14" fmla="*/ 6 w 17"/>
                <a:gd name="T15" fmla="*/ 1 h 16"/>
                <a:gd name="T16" fmla="*/ 9 w 17"/>
                <a:gd name="T17" fmla="*/ 1 h 16"/>
                <a:gd name="T18" fmla="*/ 16 w 17"/>
                <a:gd name="T19" fmla="*/ 6 h 16"/>
                <a:gd name="T20" fmla="*/ 16 w 17"/>
                <a:gd name="T21" fmla="*/ 9 h 16"/>
                <a:gd name="T22" fmla="*/ 13 w 17"/>
                <a:gd name="T23" fmla="*/ 9 h 16"/>
                <a:gd name="T24" fmla="*/ 8 w 17"/>
                <a:gd name="T25" fmla="*/ 5 h 16"/>
                <a:gd name="T26" fmla="*/ 8 w 17"/>
                <a:gd name="T27" fmla="*/ 5 h 16"/>
                <a:gd name="T28" fmla="*/ 5 w 17"/>
                <a:gd name="T29" fmla="*/ 8 h 16"/>
                <a:gd name="T30" fmla="*/ 10 w 17"/>
                <a:gd name="T31" fmla="*/ 12 h 16"/>
                <a:gd name="T32" fmla="*/ 10 w 17"/>
                <a:gd name="T33" fmla="*/ 15 h 16"/>
                <a:gd name="T34" fmla="*/ 8 w 17"/>
                <a:gd name="T3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6">
                  <a:moveTo>
                    <a:pt x="8" y="16"/>
                  </a:moveTo>
                  <a:cubicBezTo>
                    <a:pt x="8" y="16"/>
                    <a:pt x="7" y="16"/>
                    <a:pt x="7" y="15"/>
                  </a:cubicBezTo>
                  <a:cubicBezTo>
                    <a:pt x="1" y="10"/>
                    <a:pt x="1" y="10"/>
                    <a:pt x="1" y="10"/>
                  </a:cubicBezTo>
                  <a:cubicBezTo>
                    <a:pt x="1" y="9"/>
                    <a:pt x="0" y="9"/>
                    <a:pt x="0" y="8"/>
                  </a:cubicBezTo>
                  <a:cubicBezTo>
                    <a:pt x="0" y="8"/>
                    <a:pt x="1" y="7"/>
                    <a:pt x="1" y="7"/>
                  </a:cubicBezTo>
                  <a:cubicBezTo>
                    <a:pt x="3" y="6"/>
                    <a:pt x="4" y="5"/>
                    <a:pt x="5" y="3"/>
                  </a:cubicBezTo>
                  <a:cubicBezTo>
                    <a:pt x="5" y="3"/>
                    <a:pt x="6" y="2"/>
                    <a:pt x="6" y="1"/>
                  </a:cubicBezTo>
                  <a:cubicBezTo>
                    <a:pt x="6" y="1"/>
                    <a:pt x="6" y="1"/>
                    <a:pt x="6" y="1"/>
                  </a:cubicBezTo>
                  <a:cubicBezTo>
                    <a:pt x="7" y="0"/>
                    <a:pt x="8" y="0"/>
                    <a:pt x="9" y="1"/>
                  </a:cubicBezTo>
                  <a:cubicBezTo>
                    <a:pt x="16" y="6"/>
                    <a:pt x="16" y="6"/>
                    <a:pt x="16" y="6"/>
                  </a:cubicBezTo>
                  <a:cubicBezTo>
                    <a:pt x="17" y="7"/>
                    <a:pt x="17" y="8"/>
                    <a:pt x="16" y="9"/>
                  </a:cubicBezTo>
                  <a:cubicBezTo>
                    <a:pt x="15" y="10"/>
                    <a:pt x="14" y="10"/>
                    <a:pt x="13" y="9"/>
                  </a:cubicBezTo>
                  <a:cubicBezTo>
                    <a:pt x="8" y="5"/>
                    <a:pt x="8" y="5"/>
                    <a:pt x="8" y="5"/>
                  </a:cubicBezTo>
                  <a:cubicBezTo>
                    <a:pt x="8" y="5"/>
                    <a:pt x="8" y="5"/>
                    <a:pt x="8" y="5"/>
                  </a:cubicBezTo>
                  <a:cubicBezTo>
                    <a:pt x="7" y="7"/>
                    <a:pt x="6" y="8"/>
                    <a:pt x="5" y="8"/>
                  </a:cubicBezTo>
                  <a:cubicBezTo>
                    <a:pt x="10" y="12"/>
                    <a:pt x="10" y="12"/>
                    <a:pt x="10" y="12"/>
                  </a:cubicBezTo>
                  <a:cubicBezTo>
                    <a:pt x="10" y="13"/>
                    <a:pt x="10" y="14"/>
                    <a:pt x="10" y="15"/>
                  </a:cubicBezTo>
                  <a:cubicBezTo>
                    <a:pt x="9" y="16"/>
                    <a:pt x="9"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6" name="Freeform 150">
            <a:extLst>
              <a:ext uri="{FF2B5EF4-FFF2-40B4-BE49-F238E27FC236}">
                <a16:creationId xmlns:a16="http://schemas.microsoft.com/office/drawing/2014/main" id="{2EE311AF-331E-4F9E-B375-575BBD0ECE8B}"/>
              </a:ext>
            </a:extLst>
          </p:cNvPr>
          <p:cNvSpPr>
            <a:spLocks noChangeAspect="1" noEditPoints="1"/>
          </p:cNvSpPr>
          <p:nvPr/>
        </p:nvSpPr>
        <p:spPr bwMode="auto">
          <a:xfrm rot="5400000">
            <a:off x="1450665" y="4402625"/>
            <a:ext cx="341972" cy="192713"/>
          </a:xfrm>
          <a:custGeom>
            <a:avLst/>
            <a:gdLst>
              <a:gd name="T0" fmla="*/ 828 w 904"/>
              <a:gd name="T1" fmla="*/ 385 h 511"/>
              <a:gd name="T2" fmla="*/ 813 w 904"/>
              <a:gd name="T3" fmla="*/ 120 h 511"/>
              <a:gd name="T4" fmla="*/ 841 w 904"/>
              <a:gd name="T5" fmla="*/ 140 h 511"/>
              <a:gd name="T6" fmla="*/ 721 w 904"/>
              <a:gd name="T7" fmla="*/ 465 h 511"/>
              <a:gd name="T8" fmla="*/ 693 w 904"/>
              <a:gd name="T9" fmla="*/ 481 h 511"/>
              <a:gd name="T10" fmla="*/ 576 w 904"/>
              <a:gd name="T11" fmla="*/ 471 h 511"/>
              <a:gd name="T12" fmla="*/ 573 w 904"/>
              <a:gd name="T13" fmla="*/ 46 h 511"/>
              <a:gd name="T14" fmla="*/ 602 w 904"/>
              <a:gd name="T15" fmla="*/ 30 h 511"/>
              <a:gd name="T16" fmla="*/ 719 w 904"/>
              <a:gd name="T17" fmla="*/ 42 h 511"/>
              <a:gd name="T18" fmla="*/ 723 w 904"/>
              <a:gd name="T19" fmla="*/ 451 h 511"/>
              <a:gd name="T20" fmla="*/ 320 w 904"/>
              <a:gd name="T21" fmla="*/ 478 h 511"/>
              <a:gd name="T22" fmla="*/ 197 w 904"/>
              <a:gd name="T23" fmla="*/ 480 h 511"/>
              <a:gd name="T24" fmla="*/ 181 w 904"/>
              <a:gd name="T25" fmla="*/ 451 h 511"/>
              <a:gd name="T26" fmla="*/ 184 w 904"/>
              <a:gd name="T27" fmla="*/ 42 h 511"/>
              <a:gd name="T28" fmla="*/ 301 w 904"/>
              <a:gd name="T29" fmla="*/ 30 h 511"/>
              <a:gd name="T30" fmla="*/ 330 w 904"/>
              <a:gd name="T31" fmla="*/ 46 h 511"/>
              <a:gd name="T32" fmla="*/ 80 w 904"/>
              <a:gd name="T33" fmla="*/ 388 h 511"/>
              <a:gd name="T34" fmla="*/ 61 w 904"/>
              <a:gd name="T35" fmla="*/ 361 h 511"/>
              <a:gd name="T36" fmla="*/ 76 w 904"/>
              <a:gd name="T37" fmla="*/ 126 h 511"/>
              <a:gd name="T38" fmla="*/ 91 w 904"/>
              <a:gd name="T39" fmla="*/ 391 h 511"/>
              <a:gd name="T40" fmla="*/ 871 w 904"/>
              <a:gd name="T41" fmla="*/ 134 h 511"/>
              <a:gd name="T42" fmla="*/ 830 w 904"/>
              <a:gd name="T43" fmla="*/ 93 h 511"/>
              <a:gd name="T44" fmla="*/ 753 w 904"/>
              <a:gd name="T45" fmla="*/ 54 h 511"/>
              <a:gd name="T46" fmla="*/ 741 w 904"/>
              <a:gd name="T47" fmla="*/ 20 h 511"/>
              <a:gd name="T48" fmla="*/ 713 w 904"/>
              <a:gd name="T49" fmla="*/ 2 h 511"/>
              <a:gd name="T50" fmla="*/ 589 w 904"/>
              <a:gd name="T51" fmla="*/ 1 h 511"/>
              <a:gd name="T52" fmla="*/ 557 w 904"/>
              <a:gd name="T53" fmla="*/ 16 h 511"/>
              <a:gd name="T54" fmla="*/ 543 w 904"/>
              <a:gd name="T55" fmla="*/ 47 h 511"/>
              <a:gd name="T56" fmla="*/ 361 w 904"/>
              <a:gd name="T57" fmla="*/ 54 h 511"/>
              <a:gd name="T58" fmla="*/ 349 w 904"/>
              <a:gd name="T59" fmla="*/ 20 h 511"/>
              <a:gd name="T60" fmla="*/ 321 w 904"/>
              <a:gd name="T61" fmla="*/ 2 h 511"/>
              <a:gd name="T62" fmla="*/ 197 w 904"/>
              <a:gd name="T63" fmla="*/ 1 h 511"/>
              <a:gd name="T64" fmla="*/ 167 w 904"/>
              <a:gd name="T65" fmla="*/ 16 h 511"/>
              <a:gd name="T66" fmla="*/ 152 w 904"/>
              <a:gd name="T67" fmla="*/ 47 h 511"/>
              <a:gd name="T68" fmla="*/ 79 w 904"/>
              <a:gd name="T69" fmla="*/ 92 h 511"/>
              <a:gd name="T70" fmla="*/ 35 w 904"/>
              <a:gd name="T71" fmla="*/ 129 h 511"/>
              <a:gd name="T72" fmla="*/ 16 w 904"/>
              <a:gd name="T73" fmla="*/ 241 h 511"/>
              <a:gd name="T74" fmla="*/ 2 w 904"/>
              <a:gd name="T75" fmla="*/ 250 h 511"/>
              <a:gd name="T76" fmla="*/ 5 w 904"/>
              <a:gd name="T77" fmla="*/ 267 h 511"/>
              <a:gd name="T78" fmla="*/ 31 w 904"/>
              <a:gd name="T79" fmla="*/ 361 h 511"/>
              <a:gd name="T80" fmla="*/ 49 w 904"/>
              <a:gd name="T81" fmla="*/ 402 h 511"/>
              <a:gd name="T82" fmla="*/ 91 w 904"/>
              <a:gd name="T83" fmla="*/ 421 h 511"/>
              <a:gd name="T84" fmla="*/ 155 w 904"/>
              <a:gd name="T85" fmla="*/ 477 h 511"/>
              <a:gd name="T86" fmla="*/ 176 w 904"/>
              <a:gd name="T87" fmla="*/ 503 h 511"/>
              <a:gd name="T88" fmla="*/ 211 w 904"/>
              <a:gd name="T89" fmla="*/ 511 h 511"/>
              <a:gd name="T90" fmla="*/ 332 w 904"/>
              <a:gd name="T91" fmla="*/ 506 h 511"/>
              <a:gd name="T92" fmla="*/ 355 w 904"/>
              <a:gd name="T93" fmla="*/ 482 h 511"/>
              <a:gd name="T94" fmla="*/ 361 w 904"/>
              <a:gd name="T95" fmla="*/ 271 h 511"/>
              <a:gd name="T96" fmla="*/ 547 w 904"/>
              <a:gd name="T97" fmla="*/ 477 h 511"/>
              <a:gd name="T98" fmla="*/ 566 w 904"/>
              <a:gd name="T99" fmla="*/ 503 h 511"/>
              <a:gd name="T100" fmla="*/ 602 w 904"/>
              <a:gd name="T101" fmla="*/ 511 h 511"/>
              <a:gd name="T102" fmla="*/ 724 w 904"/>
              <a:gd name="T103" fmla="*/ 506 h 511"/>
              <a:gd name="T104" fmla="*/ 746 w 904"/>
              <a:gd name="T105" fmla="*/ 482 h 511"/>
              <a:gd name="T106" fmla="*/ 753 w 904"/>
              <a:gd name="T107" fmla="*/ 421 h 511"/>
              <a:gd name="T108" fmla="*/ 845 w 904"/>
              <a:gd name="T109" fmla="*/ 411 h 511"/>
              <a:gd name="T110" fmla="*/ 873 w 904"/>
              <a:gd name="T111" fmla="*/ 367 h 511"/>
              <a:gd name="T112" fmla="*/ 896 w 904"/>
              <a:gd name="T113" fmla="*/ 268 h 511"/>
              <a:gd name="T114" fmla="*/ 903 w 904"/>
              <a:gd name="T115" fmla="*/ 253 h 511"/>
              <a:gd name="T116" fmla="*/ 891 w 904"/>
              <a:gd name="T117" fmla="*/ 241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4" h="511">
                <a:moveTo>
                  <a:pt x="843" y="361"/>
                </a:moveTo>
                <a:lnTo>
                  <a:pt x="843" y="367"/>
                </a:lnTo>
                <a:lnTo>
                  <a:pt x="841" y="371"/>
                </a:lnTo>
                <a:lnTo>
                  <a:pt x="837" y="376"/>
                </a:lnTo>
                <a:lnTo>
                  <a:pt x="833" y="381"/>
                </a:lnTo>
                <a:lnTo>
                  <a:pt x="828" y="385"/>
                </a:lnTo>
                <a:lnTo>
                  <a:pt x="823" y="388"/>
                </a:lnTo>
                <a:lnTo>
                  <a:pt x="818" y="390"/>
                </a:lnTo>
                <a:lnTo>
                  <a:pt x="813" y="391"/>
                </a:lnTo>
                <a:lnTo>
                  <a:pt x="753" y="391"/>
                </a:lnTo>
                <a:lnTo>
                  <a:pt x="753" y="120"/>
                </a:lnTo>
                <a:lnTo>
                  <a:pt x="813" y="120"/>
                </a:lnTo>
                <a:lnTo>
                  <a:pt x="818" y="121"/>
                </a:lnTo>
                <a:lnTo>
                  <a:pt x="823" y="123"/>
                </a:lnTo>
                <a:lnTo>
                  <a:pt x="828" y="126"/>
                </a:lnTo>
                <a:lnTo>
                  <a:pt x="833" y="131"/>
                </a:lnTo>
                <a:lnTo>
                  <a:pt x="837" y="135"/>
                </a:lnTo>
                <a:lnTo>
                  <a:pt x="841" y="140"/>
                </a:lnTo>
                <a:lnTo>
                  <a:pt x="843" y="146"/>
                </a:lnTo>
                <a:lnTo>
                  <a:pt x="843" y="151"/>
                </a:lnTo>
                <a:lnTo>
                  <a:pt x="843" y="361"/>
                </a:lnTo>
                <a:close/>
                <a:moveTo>
                  <a:pt x="723" y="451"/>
                </a:moveTo>
                <a:lnTo>
                  <a:pt x="723" y="459"/>
                </a:lnTo>
                <a:lnTo>
                  <a:pt x="721" y="465"/>
                </a:lnTo>
                <a:lnTo>
                  <a:pt x="719" y="471"/>
                </a:lnTo>
                <a:lnTo>
                  <a:pt x="716" y="475"/>
                </a:lnTo>
                <a:lnTo>
                  <a:pt x="712" y="478"/>
                </a:lnTo>
                <a:lnTo>
                  <a:pt x="706" y="480"/>
                </a:lnTo>
                <a:lnTo>
                  <a:pt x="700" y="481"/>
                </a:lnTo>
                <a:lnTo>
                  <a:pt x="693" y="481"/>
                </a:lnTo>
                <a:lnTo>
                  <a:pt x="602" y="481"/>
                </a:lnTo>
                <a:lnTo>
                  <a:pt x="595" y="481"/>
                </a:lnTo>
                <a:lnTo>
                  <a:pt x="589" y="480"/>
                </a:lnTo>
                <a:lnTo>
                  <a:pt x="583" y="478"/>
                </a:lnTo>
                <a:lnTo>
                  <a:pt x="579" y="475"/>
                </a:lnTo>
                <a:lnTo>
                  <a:pt x="576" y="471"/>
                </a:lnTo>
                <a:lnTo>
                  <a:pt x="573" y="465"/>
                </a:lnTo>
                <a:lnTo>
                  <a:pt x="572" y="459"/>
                </a:lnTo>
                <a:lnTo>
                  <a:pt x="572" y="451"/>
                </a:lnTo>
                <a:lnTo>
                  <a:pt x="572" y="60"/>
                </a:lnTo>
                <a:lnTo>
                  <a:pt x="572" y="52"/>
                </a:lnTo>
                <a:lnTo>
                  <a:pt x="573" y="46"/>
                </a:lnTo>
                <a:lnTo>
                  <a:pt x="576" y="42"/>
                </a:lnTo>
                <a:lnTo>
                  <a:pt x="579" y="37"/>
                </a:lnTo>
                <a:lnTo>
                  <a:pt x="583" y="34"/>
                </a:lnTo>
                <a:lnTo>
                  <a:pt x="589" y="32"/>
                </a:lnTo>
                <a:lnTo>
                  <a:pt x="595" y="31"/>
                </a:lnTo>
                <a:lnTo>
                  <a:pt x="602" y="30"/>
                </a:lnTo>
                <a:lnTo>
                  <a:pt x="693" y="30"/>
                </a:lnTo>
                <a:lnTo>
                  <a:pt x="700" y="31"/>
                </a:lnTo>
                <a:lnTo>
                  <a:pt x="706" y="32"/>
                </a:lnTo>
                <a:lnTo>
                  <a:pt x="712" y="34"/>
                </a:lnTo>
                <a:lnTo>
                  <a:pt x="716" y="37"/>
                </a:lnTo>
                <a:lnTo>
                  <a:pt x="719" y="42"/>
                </a:lnTo>
                <a:lnTo>
                  <a:pt x="721" y="46"/>
                </a:lnTo>
                <a:lnTo>
                  <a:pt x="723" y="52"/>
                </a:lnTo>
                <a:lnTo>
                  <a:pt x="723" y="60"/>
                </a:lnTo>
                <a:lnTo>
                  <a:pt x="723" y="105"/>
                </a:lnTo>
                <a:lnTo>
                  <a:pt x="723" y="406"/>
                </a:lnTo>
                <a:lnTo>
                  <a:pt x="723" y="451"/>
                </a:lnTo>
                <a:close/>
                <a:moveTo>
                  <a:pt x="331" y="451"/>
                </a:moveTo>
                <a:lnTo>
                  <a:pt x="331" y="459"/>
                </a:lnTo>
                <a:lnTo>
                  <a:pt x="330" y="465"/>
                </a:lnTo>
                <a:lnTo>
                  <a:pt x="328" y="471"/>
                </a:lnTo>
                <a:lnTo>
                  <a:pt x="325" y="475"/>
                </a:lnTo>
                <a:lnTo>
                  <a:pt x="320" y="478"/>
                </a:lnTo>
                <a:lnTo>
                  <a:pt x="315" y="480"/>
                </a:lnTo>
                <a:lnTo>
                  <a:pt x="309" y="481"/>
                </a:lnTo>
                <a:lnTo>
                  <a:pt x="301" y="481"/>
                </a:lnTo>
                <a:lnTo>
                  <a:pt x="211" y="481"/>
                </a:lnTo>
                <a:lnTo>
                  <a:pt x="203" y="481"/>
                </a:lnTo>
                <a:lnTo>
                  <a:pt x="197" y="480"/>
                </a:lnTo>
                <a:lnTo>
                  <a:pt x="192" y="478"/>
                </a:lnTo>
                <a:lnTo>
                  <a:pt x="187" y="475"/>
                </a:lnTo>
                <a:lnTo>
                  <a:pt x="184" y="471"/>
                </a:lnTo>
                <a:lnTo>
                  <a:pt x="182" y="465"/>
                </a:lnTo>
                <a:lnTo>
                  <a:pt x="181" y="459"/>
                </a:lnTo>
                <a:lnTo>
                  <a:pt x="181" y="451"/>
                </a:lnTo>
                <a:lnTo>
                  <a:pt x="181" y="406"/>
                </a:lnTo>
                <a:lnTo>
                  <a:pt x="181" y="105"/>
                </a:lnTo>
                <a:lnTo>
                  <a:pt x="181" y="60"/>
                </a:lnTo>
                <a:lnTo>
                  <a:pt x="181" y="52"/>
                </a:lnTo>
                <a:lnTo>
                  <a:pt x="182" y="46"/>
                </a:lnTo>
                <a:lnTo>
                  <a:pt x="184" y="42"/>
                </a:lnTo>
                <a:lnTo>
                  <a:pt x="187" y="37"/>
                </a:lnTo>
                <a:lnTo>
                  <a:pt x="192" y="34"/>
                </a:lnTo>
                <a:lnTo>
                  <a:pt x="197" y="32"/>
                </a:lnTo>
                <a:lnTo>
                  <a:pt x="203" y="31"/>
                </a:lnTo>
                <a:lnTo>
                  <a:pt x="211" y="30"/>
                </a:lnTo>
                <a:lnTo>
                  <a:pt x="301" y="30"/>
                </a:lnTo>
                <a:lnTo>
                  <a:pt x="309" y="31"/>
                </a:lnTo>
                <a:lnTo>
                  <a:pt x="315" y="32"/>
                </a:lnTo>
                <a:lnTo>
                  <a:pt x="320" y="34"/>
                </a:lnTo>
                <a:lnTo>
                  <a:pt x="325" y="37"/>
                </a:lnTo>
                <a:lnTo>
                  <a:pt x="328" y="42"/>
                </a:lnTo>
                <a:lnTo>
                  <a:pt x="330" y="46"/>
                </a:lnTo>
                <a:lnTo>
                  <a:pt x="331" y="52"/>
                </a:lnTo>
                <a:lnTo>
                  <a:pt x="331" y="60"/>
                </a:lnTo>
                <a:lnTo>
                  <a:pt x="331" y="451"/>
                </a:lnTo>
                <a:close/>
                <a:moveTo>
                  <a:pt x="91" y="391"/>
                </a:moveTo>
                <a:lnTo>
                  <a:pt x="86" y="390"/>
                </a:lnTo>
                <a:lnTo>
                  <a:pt x="80" y="388"/>
                </a:lnTo>
                <a:lnTo>
                  <a:pt x="76" y="385"/>
                </a:lnTo>
                <a:lnTo>
                  <a:pt x="70" y="382"/>
                </a:lnTo>
                <a:lnTo>
                  <a:pt x="66" y="376"/>
                </a:lnTo>
                <a:lnTo>
                  <a:pt x="63" y="371"/>
                </a:lnTo>
                <a:lnTo>
                  <a:pt x="61" y="367"/>
                </a:lnTo>
                <a:lnTo>
                  <a:pt x="61" y="361"/>
                </a:lnTo>
                <a:lnTo>
                  <a:pt x="61" y="151"/>
                </a:lnTo>
                <a:lnTo>
                  <a:pt x="61" y="146"/>
                </a:lnTo>
                <a:lnTo>
                  <a:pt x="63" y="140"/>
                </a:lnTo>
                <a:lnTo>
                  <a:pt x="66" y="135"/>
                </a:lnTo>
                <a:lnTo>
                  <a:pt x="70" y="131"/>
                </a:lnTo>
                <a:lnTo>
                  <a:pt x="76" y="126"/>
                </a:lnTo>
                <a:lnTo>
                  <a:pt x="80" y="123"/>
                </a:lnTo>
                <a:lnTo>
                  <a:pt x="86" y="121"/>
                </a:lnTo>
                <a:lnTo>
                  <a:pt x="91" y="120"/>
                </a:lnTo>
                <a:lnTo>
                  <a:pt x="151" y="120"/>
                </a:lnTo>
                <a:lnTo>
                  <a:pt x="151" y="391"/>
                </a:lnTo>
                <a:lnTo>
                  <a:pt x="91" y="391"/>
                </a:lnTo>
                <a:close/>
                <a:moveTo>
                  <a:pt x="889" y="241"/>
                </a:moveTo>
                <a:lnTo>
                  <a:pt x="874" y="241"/>
                </a:lnTo>
                <a:lnTo>
                  <a:pt x="874" y="151"/>
                </a:lnTo>
                <a:lnTo>
                  <a:pt x="873" y="145"/>
                </a:lnTo>
                <a:lnTo>
                  <a:pt x="872" y="139"/>
                </a:lnTo>
                <a:lnTo>
                  <a:pt x="871" y="134"/>
                </a:lnTo>
                <a:lnTo>
                  <a:pt x="868" y="129"/>
                </a:lnTo>
                <a:lnTo>
                  <a:pt x="862" y="119"/>
                </a:lnTo>
                <a:lnTo>
                  <a:pt x="854" y="109"/>
                </a:lnTo>
                <a:lnTo>
                  <a:pt x="845" y="102"/>
                </a:lnTo>
                <a:lnTo>
                  <a:pt x="835" y="95"/>
                </a:lnTo>
                <a:lnTo>
                  <a:pt x="830" y="93"/>
                </a:lnTo>
                <a:lnTo>
                  <a:pt x="824" y="92"/>
                </a:lnTo>
                <a:lnTo>
                  <a:pt x="818" y="91"/>
                </a:lnTo>
                <a:lnTo>
                  <a:pt x="813" y="90"/>
                </a:lnTo>
                <a:lnTo>
                  <a:pt x="753" y="90"/>
                </a:lnTo>
                <a:lnTo>
                  <a:pt x="753" y="60"/>
                </a:lnTo>
                <a:lnTo>
                  <a:pt x="753" y="54"/>
                </a:lnTo>
                <a:lnTo>
                  <a:pt x="752" y="47"/>
                </a:lnTo>
                <a:lnTo>
                  <a:pt x="750" y="41"/>
                </a:lnTo>
                <a:lnTo>
                  <a:pt x="748" y="35"/>
                </a:lnTo>
                <a:lnTo>
                  <a:pt x="746" y="30"/>
                </a:lnTo>
                <a:lnTo>
                  <a:pt x="744" y="25"/>
                </a:lnTo>
                <a:lnTo>
                  <a:pt x="741" y="20"/>
                </a:lnTo>
                <a:lnTo>
                  <a:pt x="738" y="16"/>
                </a:lnTo>
                <a:lnTo>
                  <a:pt x="733" y="13"/>
                </a:lnTo>
                <a:lnTo>
                  <a:pt x="729" y="10"/>
                </a:lnTo>
                <a:lnTo>
                  <a:pt x="724" y="6"/>
                </a:lnTo>
                <a:lnTo>
                  <a:pt x="718" y="4"/>
                </a:lnTo>
                <a:lnTo>
                  <a:pt x="713" y="2"/>
                </a:lnTo>
                <a:lnTo>
                  <a:pt x="706" y="1"/>
                </a:lnTo>
                <a:lnTo>
                  <a:pt x="700" y="0"/>
                </a:lnTo>
                <a:lnTo>
                  <a:pt x="693" y="0"/>
                </a:lnTo>
                <a:lnTo>
                  <a:pt x="602" y="0"/>
                </a:lnTo>
                <a:lnTo>
                  <a:pt x="595" y="0"/>
                </a:lnTo>
                <a:lnTo>
                  <a:pt x="589" y="1"/>
                </a:lnTo>
                <a:lnTo>
                  <a:pt x="582" y="2"/>
                </a:lnTo>
                <a:lnTo>
                  <a:pt x="577" y="4"/>
                </a:lnTo>
                <a:lnTo>
                  <a:pt x="571" y="6"/>
                </a:lnTo>
                <a:lnTo>
                  <a:pt x="566" y="10"/>
                </a:lnTo>
                <a:lnTo>
                  <a:pt x="562" y="13"/>
                </a:lnTo>
                <a:lnTo>
                  <a:pt x="557" y="16"/>
                </a:lnTo>
                <a:lnTo>
                  <a:pt x="554" y="20"/>
                </a:lnTo>
                <a:lnTo>
                  <a:pt x="551" y="25"/>
                </a:lnTo>
                <a:lnTo>
                  <a:pt x="549" y="30"/>
                </a:lnTo>
                <a:lnTo>
                  <a:pt x="546" y="35"/>
                </a:lnTo>
                <a:lnTo>
                  <a:pt x="545" y="41"/>
                </a:lnTo>
                <a:lnTo>
                  <a:pt x="543" y="47"/>
                </a:lnTo>
                <a:lnTo>
                  <a:pt x="542" y="54"/>
                </a:lnTo>
                <a:lnTo>
                  <a:pt x="542" y="60"/>
                </a:lnTo>
                <a:lnTo>
                  <a:pt x="542" y="241"/>
                </a:lnTo>
                <a:lnTo>
                  <a:pt x="361" y="241"/>
                </a:lnTo>
                <a:lnTo>
                  <a:pt x="361" y="60"/>
                </a:lnTo>
                <a:lnTo>
                  <a:pt x="361" y="54"/>
                </a:lnTo>
                <a:lnTo>
                  <a:pt x="360" y="47"/>
                </a:lnTo>
                <a:lnTo>
                  <a:pt x="359" y="41"/>
                </a:lnTo>
                <a:lnTo>
                  <a:pt x="358" y="35"/>
                </a:lnTo>
                <a:lnTo>
                  <a:pt x="355" y="30"/>
                </a:lnTo>
                <a:lnTo>
                  <a:pt x="353" y="25"/>
                </a:lnTo>
                <a:lnTo>
                  <a:pt x="349" y="20"/>
                </a:lnTo>
                <a:lnTo>
                  <a:pt x="346" y="16"/>
                </a:lnTo>
                <a:lnTo>
                  <a:pt x="342" y="13"/>
                </a:lnTo>
                <a:lnTo>
                  <a:pt x="338" y="10"/>
                </a:lnTo>
                <a:lnTo>
                  <a:pt x="332" y="6"/>
                </a:lnTo>
                <a:lnTo>
                  <a:pt x="327" y="4"/>
                </a:lnTo>
                <a:lnTo>
                  <a:pt x="321" y="2"/>
                </a:lnTo>
                <a:lnTo>
                  <a:pt x="315" y="1"/>
                </a:lnTo>
                <a:lnTo>
                  <a:pt x="309" y="0"/>
                </a:lnTo>
                <a:lnTo>
                  <a:pt x="301" y="0"/>
                </a:lnTo>
                <a:lnTo>
                  <a:pt x="211" y="0"/>
                </a:lnTo>
                <a:lnTo>
                  <a:pt x="203" y="0"/>
                </a:lnTo>
                <a:lnTo>
                  <a:pt x="197" y="1"/>
                </a:lnTo>
                <a:lnTo>
                  <a:pt x="192" y="2"/>
                </a:lnTo>
                <a:lnTo>
                  <a:pt x="185" y="4"/>
                </a:lnTo>
                <a:lnTo>
                  <a:pt x="180" y="6"/>
                </a:lnTo>
                <a:lnTo>
                  <a:pt x="176" y="10"/>
                </a:lnTo>
                <a:lnTo>
                  <a:pt x="170" y="13"/>
                </a:lnTo>
                <a:lnTo>
                  <a:pt x="167" y="16"/>
                </a:lnTo>
                <a:lnTo>
                  <a:pt x="163" y="20"/>
                </a:lnTo>
                <a:lnTo>
                  <a:pt x="160" y="25"/>
                </a:lnTo>
                <a:lnTo>
                  <a:pt x="157" y="30"/>
                </a:lnTo>
                <a:lnTo>
                  <a:pt x="155" y="35"/>
                </a:lnTo>
                <a:lnTo>
                  <a:pt x="153" y="41"/>
                </a:lnTo>
                <a:lnTo>
                  <a:pt x="152" y="47"/>
                </a:lnTo>
                <a:lnTo>
                  <a:pt x="151" y="54"/>
                </a:lnTo>
                <a:lnTo>
                  <a:pt x="151" y="60"/>
                </a:lnTo>
                <a:lnTo>
                  <a:pt x="151" y="90"/>
                </a:lnTo>
                <a:lnTo>
                  <a:pt x="91" y="90"/>
                </a:lnTo>
                <a:lnTo>
                  <a:pt x="86" y="91"/>
                </a:lnTo>
                <a:lnTo>
                  <a:pt x="79" y="92"/>
                </a:lnTo>
                <a:lnTo>
                  <a:pt x="74" y="93"/>
                </a:lnTo>
                <a:lnTo>
                  <a:pt x="68" y="95"/>
                </a:lnTo>
                <a:lnTo>
                  <a:pt x="59" y="102"/>
                </a:lnTo>
                <a:lnTo>
                  <a:pt x="49" y="109"/>
                </a:lnTo>
                <a:lnTo>
                  <a:pt x="42" y="119"/>
                </a:lnTo>
                <a:lnTo>
                  <a:pt x="35" y="129"/>
                </a:lnTo>
                <a:lnTo>
                  <a:pt x="33" y="134"/>
                </a:lnTo>
                <a:lnTo>
                  <a:pt x="32" y="139"/>
                </a:lnTo>
                <a:lnTo>
                  <a:pt x="31" y="145"/>
                </a:lnTo>
                <a:lnTo>
                  <a:pt x="31" y="151"/>
                </a:lnTo>
                <a:lnTo>
                  <a:pt x="31" y="241"/>
                </a:lnTo>
                <a:lnTo>
                  <a:pt x="16" y="241"/>
                </a:lnTo>
                <a:lnTo>
                  <a:pt x="13" y="241"/>
                </a:lnTo>
                <a:lnTo>
                  <a:pt x="9" y="242"/>
                </a:lnTo>
                <a:lnTo>
                  <a:pt x="7" y="243"/>
                </a:lnTo>
                <a:lnTo>
                  <a:pt x="5" y="245"/>
                </a:lnTo>
                <a:lnTo>
                  <a:pt x="3" y="248"/>
                </a:lnTo>
                <a:lnTo>
                  <a:pt x="2" y="250"/>
                </a:lnTo>
                <a:lnTo>
                  <a:pt x="1" y="253"/>
                </a:lnTo>
                <a:lnTo>
                  <a:pt x="0" y="256"/>
                </a:lnTo>
                <a:lnTo>
                  <a:pt x="1" y="259"/>
                </a:lnTo>
                <a:lnTo>
                  <a:pt x="2" y="262"/>
                </a:lnTo>
                <a:lnTo>
                  <a:pt x="3" y="265"/>
                </a:lnTo>
                <a:lnTo>
                  <a:pt x="5" y="267"/>
                </a:lnTo>
                <a:lnTo>
                  <a:pt x="7" y="268"/>
                </a:lnTo>
                <a:lnTo>
                  <a:pt x="9" y="270"/>
                </a:lnTo>
                <a:lnTo>
                  <a:pt x="13" y="271"/>
                </a:lnTo>
                <a:lnTo>
                  <a:pt x="16" y="271"/>
                </a:lnTo>
                <a:lnTo>
                  <a:pt x="31" y="271"/>
                </a:lnTo>
                <a:lnTo>
                  <a:pt x="31" y="361"/>
                </a:lnTo>
                <a:lnTo>
                  <a:pt x="31" y="367"/>
                </a:lnTo>
                <a:lnTo>
                  <a:pt x="32" y="372"/>
                </a:lnTo>
                <a:lnTo>
                  <a:pt x="33" y="377"/>
                </a:lnTo>
                <a:lnTo>
                  <a:pt x="35" y="383"/>
                </a:lnTo>
                <a:lnTo>
                  <a:pt x="42" y="393"/>
                </a:lnTo>
                <a:lnTo>
                  <a:pt x="49" y="402"/>
                </a:lnTo>
                <a:lnTo>
                  <a:pt x="59" y="411"/>
                </a:lnTo>
                <a:lnTo>
                  <a:pt x="68" y="416"/>
                </a:lnTo>
                <a:lnTo>
                  <a:pt x="74" y="418"/>
                </a:lnTo>
                <a:lnTo>
                  <a:pt x="79" y="420"/>
                </a:lnTo>
                <a:lnTo>
                  <a:pt x="86" y="421"/>
                </a:lnTo>
                <a:lnTo>
                  <a:pt x="91" y="421"/>
                </a:lnTo>
                <a:lnTo>
                  <a:pt x="151" y="421"/>
                </a:lnTo>
                <a:lnTo>
                  <a:pt x="151" y="451"/>
                </a:lnTo>
                <a:lnTo>
                  <a:pt x="151" y="459"/>
                </a:lnTo>
                <a:lnTo>
                  <a:pt x="152" y="465"/>
                </a:lnTo>
                <a:lnTo>
                  <a:pt x="153" y="472"/>
                </a:lnTo>
                <a:lnTo>
                  <a:pt x="155" y="477"/>
                </a:lnTo>
                <a:lnTo>
                  <a:pt x="157" y="482"/>
                </a:lnTo>
                <a:lnTo>
                  <a:pt x="160" y="488"/>
                </a:lnTo>
                <a:lnTo>
                  <a:pt x="163" y="492"/>
                </a:lnTo>
                <a:lnTo>
                  <a:pt x="167" y="496"/>
                </a:lnTo>
                <a:lnTo>
                  <a:pt x="170" y="500"/>
                </a:lnTo>
                <a:lnTo>
                  <a:pt x="176" y="503"/>
                </a:lnTo>
                <a:lnTo>
                  <a:pt x="180" y="506"/>
                </a:lnTo>
                <a:lnTo>
                  <a:pt x="185" y="508"/>
                </a:lnTo>
                <a:lnTo>
                  <a:pt x="192" y="509"/>
                </a:lnTo>
                <a:lnTo>
                  <a:pt x="197" y="510"/>
                </a:lnTo>
                <a:lnTo>
                  <a:pt x="203" y="511"/>
                </a:lnTo>
                <a:lnTo>
                  <a:pt x="211" y="511"/>
                </a:lnTo>
                <a:lnTo>
                  <a:pt x="301" y="511"/>
                </a:lnTo>
                <a:lnTo>
                  <a:pt x="309" y="511"/>
                </a:lnTo>
                <a:lnTo>
                  <a:pt x="315" y="510"/>
                </a:lnTo>
                <a:lnTo>
                  <a:pt x="321" y="509"/>
                </a:lnTo>
                <a:lnTo>
                  <a:pt x="327" y="508"/>
                </a:lnTo>
                <a:lnTo>
                  <a:pt x="332" y="506"/>
                </a:lnTo>
                <a:lnTo>
                  <a:pt x="338" y="503"/>
                </a:lnTo>
                <a:lnTo>
                  <a:pt x="342" y="500"/>
                </a:lnTo>
                <a:lnTo>
                  <a:pt x="346" y="496"/>
                </a:lnTo>
                <a:lnTo>
                  <a:pt x="349" y="492"/>
                </a:lnTo>
                <a:lnTo>
                  <a:pt x="353" y="488"/>
                </a:lnTo>
                <a:lnTo>
                  <a:pt x="355" y="482"/>
                </a:lnTo>
                <a:lnTo>
                  <a:pt x="358" y="477"/>
                </a:lnTo>
                <a:lnTo>
                  <a:pt x="359" y="472"/>
                </a:lnTo>
                <a:lnTo>
                  <a:pt x="360" y="465"/>
                </a:lnTo>
                <a:lnTo>
                  <a:pt x="361" y="459"/>
                </a:lnTo>
                <a:lnTo>
                  <a:pt x="361" y="451"/>
                </a:lnTo>
                <a:lnTo>
                  <a:pt x="361" y="271"/>
                </a:lnTo>
                <a:lnTo>
                  <a:pt x="542" y="271"/>
                </a:lnTo>
                <a:lnTo>
                  <a:pt x="542" y="451"/>
                </a:lnTo>
                <a:lnTo>
                  <a:pt x="542" y="459"/>
                </a:lnTo>
                <a:lnTo>
                  <a:pt x="543" y="465"/>
                </a:lnTo>
                <a:lnTo>
                  <a:pt x="545" y="472"/>
                </a:lnTo>
                <a:lnTo>
                  <a:pt x="547" y="477"/>
                </a:lnTo>
                <a:lnTo>
                  <a:pt x="549" y="482"/>
                </a:lnTo>
                <a:lnTo>
                  <a:pt x="551" y="488"/>
                </a:lnTo>
                <a:lnTo>
                  <a:pt x="554" y="492"/>
                </a:lnTo>
                <a:lnTo>
                  <a:pt x="557" y="496"/>
                </a:lnTo>
                <a:lnTo>
                  <a:pt x="562" y="500"/>
                </a:lnTo>
                <a:lnTo>
                  <a:pt x="566" y="503"/>
                </a:lnTo>
                <a:lnTo>
                  <a:pt x="571" y="506"/>
                </a:lnTo>
                <a:lnTo>
                  <a:pt x="577" y="508"/>
                </a:lnTo>
                <a:lnTo>
                  <a:pt x="582" y="509"/>
                </a:lnTo>
                <a:lnTo>
                  <a:pt x="589" y="510"/>
                </a:lnTo>
                <a:lnTo>
                  <a:pt x="595" y="511"/>
                </a:lnTo>
                <a:lnTo>
                  <a:pt x="602" y="511"/>
                </a:lnTo>
                <a:lnTo>
                  <a:pt x="693" y="511"/>
                </a:lnTo>
                <a:lnTo>
                  <a:pt x="700" y="511"/>
                </a:lnTo>
                <a:lnTo>
                  <a:pt x="706" y="510"/>
                </a:lnTo>
                <a:lnTo>
                  <a:pt x="713" y="509"/>
                </a:lnTo>
                <a:lnTo>
                  <a:pt x="718" y="508"/>
                </a:lnTo>
                <a:lnTo>
                  <a:pt x="724" y="506"/>
                </a:lnTo>
                <a:lnTo>
                  <a:pt x="729" y="503"/>
                </a:lnTo>
                <a:lnTo>
                  <a:pt x="733" y="500"/>
                </a:lnTo>
                <a:lnTo>
                  <a:pt x="738" y="496"/>
                </a:lnTo>
                <a:lnTo>
                  <a:pt x="741" y="492"/>
                </a:lnTo>
                <a:lnTo>
                  <a:pt x="744" y="488"/>
                </a:lnTo>
                <a:lnTo>
                  <a:pt x="746" y="482"/>
                </a:lnTo>
                <a:lnTo>
                  <a:pt x="748" y="477"/>
                </a:lnTo>
                <a:lnTo>
                  <a:pt x="750" y="472"/>
                </a:lnTo>
                <a:lnTo>
                  <a:pt x="752" y="465"/>
                </a:lnTo>
                <a:lnTo>
                  <a:pt x="753" y="459"/>
                </a:lnTo>
                <a:lnTo>
                  <a:pt x="753" y="451"/>
                </a:lnTo>
                <a:lnTo>
                  <a:pt x="753" y="421"/>
                </a:lnTo>
                <a:lnTo>
                  <a:pt x="813" y="421"/>
                </a:lnTo>
                <a:lnTo>
                  <a:pt x="818" y="421"/>
                </a:lnTo>
                <a:lnTo>
                  <a:pt x="824" y="420"/>
                </a:lnTo>
                <a:lnTo>
                  <a:pt x="830" y="418"/>
                </a:lnTo>
                <a:lnTo>
                  <a:pt x="835" y="416"/>
                </a:lnTo>
                <a:lnTo>
                  <a:pt x="845" y="411"/>
                </a:lnTo>
                <a:lnTo>
                  <a:pt x="854" y="402"/>
                </a:lnTo>
                <a:lnTo>
                  <a:pt x="862" y="393"/>
                </a:lnTo>
                <a:lnTo>
                  <a:pt x="868" y="383"/>
                </a:lnTo>
                <a:lnTo>
                  <a:pt x="871" y="377"/>
                </a:lnTo>
                <a:lnTo>
                  <a:pt x="872" y="372"/>
                </a:lnTo>
                <a:lnTo>
                  <a:pt x="873" y="367"/>
                </a:lnTo>
                <a:lnTo>
                  <a:pt x="874" y="361"/>
                </a:lnTo>
                <a:lnTo>
                  <a:pt x="874" y="271"/>
                </a:lnTo>
                <a:lnTo>
                  <a:pt x="889" y="271"/>
                </a:lnTo>
                <a:lnTo>
                  <a:pt x="891" y="271"/>
                </a:lnTo>
                <a:lnTo>
                  <a:pt x="894" y="270"/>
                </a:lnTo>
                <a:lnTo>
                  <a:pt x="896" y="268"/>
                </a:lnTo>
                <a:lnTo>
                  <a:pt x="898" y="267"/>
                </a:lnTo>
                <a:lnTo>
                  <a:pt x="901" y="265"/>
                </a:lnTo>
                <a:lnTo>
                  <a:pt x="902" y="262"/>
                </a:lnTo>
                <a:lnTo>
                  <a:pt x="903" y="259"/>
                </a:lnTo>
                <a:lnTo>
                  <a:pt x="904" y="256"/>
                </a:lnTo>
                <a:lnTo>
                  <a:pt x="903" y="253"/>
                </a:lnTo>
                <a:lnTo>
                  <a:pt x="902" y="250"/>
                </a:lnTo>
                <a:lnTo>
                  <a:pt x="901" y="248"/>
                </a:lnTo>
                <a:lnTo>
                  <a:pt x="898" y="245"/>
                </a:lnTo>
                <a:lnTo>
                  <a:pt x="896" y="243"/>
                </a:lnTo>
                <a:lnTo>
                  <a:pt x="894" y="242"/>
                </a:lnTo>
                <a:lnTo>
                  <a:pt x="891" y="241"/>
                </a:lnTo>
                <a:lnTo>
                  <a:pt x="889" y="24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nvGrpSpPr>
          <p:cNvPr id="585" name="Group 5141">
            <a:extLst>
              <a:ext uri="{FF2B5EF4-FFF2-40B4-BE49-F238E27FC236}">
                <a16:creationId xmlns:a16="http://schemas.microsoft.com/office/drawing/2014/main" id="{B620425B-AED5-4D9B-A06A-413B7A2B75F0}"/>
              </a:ext>
            </a:extLst>
          </p:cNvPr>
          <p:cNvGrpSpPr>
            <a:grpSpLocks noChangeAspect="1"/>
          </p:cNvGrpSpPr>
          <p:nvPr/>
        </p:nvGrpSpPr>
        <p:grpSpPr>
          <a:xfrm>
            <a:off x="253423" y="5476556"/>
            <a:ext cx="341972" cy="188523"/>
            <a:chOff x="6437604" y="-882586"/>
            <a:chExt cx="371476" cy="204788"/>
          </a:xfrm>
          <a:solidFill>
            <a:schemeClr val="bg1"/>
          </a:solidFill>
          <a:effectLst/>
        </p:grpSpPr>
        <p:sp>
          <p:nvSpPr>
            <p:cNvPr id="586" name="Freeform 33">
              <a:extLst>
                <a:ext uri="{FF2B5EF4-FFF2-40B4-BE49-F238E27FC236}">
                  <a16:creationId xmlns:a16="http://schemas.microsoft.com/office/drawing/2014/main" id="{03C562F3-1B0C-4245-A98B-806103F03F1E}"/>
                </a:ext>
              </a:extLst>
            </p:cNvPr>
            <p:cNvSpPr>
              <a:spLocks/>
            </p:cNvSpPr>
            <p:nvPr/>
          </p:nvSpPr>
          <p:spPr bwMode="auto">
            <a:xfrm>
              <a:off x="6661442" y="-876236"/>
              <a:ext cx="147638" cy="190500"/>
            </a:xfrm>
            <a:custGeom>
              <a:avLst/>
              <a:gdLst>
                <a:gd name="T0" fmla="*/ 24 w 38"/>
                <a:gd name="T1" fmla="*/ 48 h 48"/>
                <a:gd name="T2" fmla="*/ 4 w 38"/>
                <a:gd name="T3" fmla="*/ 48 h 48"/>
                <a:gd name="T4" fmla="*/ 2 w 38"/>
                <a:gd name="T5" fmla="*/ 46 h 48"/>
                <a:gd name="T6" fmla="*/ 4 w 38"/>
                <a:gd name="T7" fmla="*/ 44 h 48"/>
                <a:gd name="T8" fmla="*/ 22 w 38"/>
                <a:gd name="T9" fmla="*/ 44 h 48"/>
                <a:gd name="T10" fmla="*/ 22 w 38"/>
                <a:gd name="T11" fmla="*/ 34 h 48"/>
                <a:gd name="T12" fmla="*/ 24 w 38"/>
                <a:gd name="T13" fmla="*/ 32 h 48"/>
                <a:gd name="T14" fmla="*/ 34 w 38"/>
                <a:gd name="T15" fmla="*/ 32 h 48"/>
                <a:gd name="T16" fmla="*/ 34 w 38"/>
                <a:gd name="T17" fmla="*/ 16 h 48"/>
                <a:gd name="T18" fmla="*/ 24 w 38"/>
                <a:gd name="T19" fmla="*/ 16 h 48"/>
                <a:gd name="T20" fmla="*/ 22 w 38"/>
                <a:gd name="T21" fmla="*/ 14 h 48"/>
                <a:gd name="T22" fmla="*/ 22 w 38"/>
                <a:gd name="T23" fmla="*/ 4 h 48"/>
                <a:gd name="T24" fmla="*/ 2 w 38"/>
                <a:gd name="T25" fmla="*/ 4 h 48"/>
                <a:gd name="T26" fmla="*/ 0 w 38"/>
                <a:gd name="T27" fmla="*/ 2 h 48"/>
                <a:gd name="T28" fmla="*/ 2 w 38"/>
                <a:gd name="T29" fmla="*/ 0 h 48"/>
                <a:gd name="T30" fmla="*/ 24 w 38"/>
                <a:gd name="T31" fmla="*/ 0 h 48"/>
                <a:gd name="T32" fmla="*/ 26 w 38"/>
                <a:gd name="T33" fmla="*/ 2 h 48"/>
                <a:gd name="T34" fmla="*/ 26 w 38"/>
                <a:gd name="T35" fmla="*/ 12 h 48"/>
                <a:gd name="T36" fmla="*/ 36 w 38"/>
                <a:gd name="T37" fmla="*/ 12 h 48"/>
                <a:gd name="T38" fmla="*/ 38 w 38"/>
                <a:gd name="T39" fmla="*/ 14 h 48"/>
                <a:gd name="T40" fmla="*/ 38 w 38"/>
                <a:gd name="T41" fmla="*/ 34 h 48"/>
                <a:gd name="T42" fmla="*/ 36 w 38"/>
                <a:gd name="T43" fmla="*/ 36 h 48"/>
                <a:gd name="T44" fmla="*/ 26 w 38"/>
                <a:gd name="T45" fmla="*/ 36 h 48"/>
                <a:gd name="T46" fmla="*/ 26 w 38"/>
                <a:gd name="T47" fmla="*/ 46 h 48"/>
                <a:gd name="T48" fmla="*/ 24 w 3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48">
                  <a:moveTo>
                    <a:pt x="24" y="48"/>
                  </a:moveTo>
                  <a:cubicBezTo>
                    <a:pt x="4" y="48"/>
                    <a:pt x="4" y="48"/>
                    <a:pt x="4" y="48"/>
                  </a:cubicBezTo>
                  <a:cubicBezTo>
                    <a:pt x="3" y="48"/>
                    <a:pt x="2" y="47"/>
                    <a:pt x="2" y="46"/>
                  </a:cubicBezTo>
                  <a:cubicBezTo>
                    <a:pt x="2" y="45"/>
                    <a:pt x="3" y="44"/>
                    <a:pt x="4" y="44"/>
                  </a:cubicBezTo>
                  <a:cubicBezTo>
                    <a:pt x="22" y="44"/>
                    <a:pt x="22" y="44"/>
                    <a:pt x="22" y="44"/>
                  </a:cubicBezTo>
                  <a:cubicBezTo>
                    <a:pt x="22" y="34"/>
                    <a:pt x="22" y="34"/>
                    <a:pt x="22" y="34"/>
                  </a:cubicBezTo>
                  <a:cubicBezTo>
                    <a:pt x="22" y="33"/>
                    <a:pt x="23" y="32"/>
                    <a:pt x="24" y="32"/>
                  </a:cubicBezTo>
                  <a:cubicBezTo>
                    <a:pt x="34" y="32"/>
                    <a:pt x="34" y="32"/>
                    <a:pt x="34" y="32"/>
                  </a:cubicBezTo>
                  <a:cubicBezTo>
                    <a:pt x="34" y="16"/>
                    <a:pt x="34" y="16"/>
                    <a:pt x="34" y="16"/>
                  </a:cubicBezTo>
                  <a:cubicBezTo>
                    <a:pt x="24" y="16"/>
                    <a:pt x="24" y="16"/>
                    <a:pt x="24" y="16"/>
                  </a:cubicBezTo>
                  <a:cubicBezTo>
                    <a:pt x="23" y="16"/>
                    <a:pt x="22" y="15"/>
                    <a:pt x="22" y="14"/>
                  </a:cubicBezTo>
                  <a:cubicBezTo>
                    <a:pt x="22" y="4"/>
                    <a:pt x="22" y="4"/>
                    <a:pt x="22" y="4"/>
                  </a:cubicBez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cubicBezTo>
                    <a:pt x="26" y="12"/>
                    <a:pt x="26" y="12"/>
                    <a:pt x="26" y="12"/>
                  </a:cubicBezTo>
                  <a:cubicBezTo>
                    <a:pt x="36" y="12"/>
                    <a:pt x="36" y="12"/>
                    <a:pt x="36" y="12"/>
                  </a:cubicBezTo>
                  <a:cubicBezTo>
                    <a:pt x="37" y="12"/>
                    <a:pt x="38" y="13"/>
                    <a:pt x="38" y="14"/>
                  </a:cubicBezTo>
                  <a:cubicBezTo>
                    <a:pt x="38" y="34"/>
                    <a:pt x="38" y="34"/>
                    <a:pt x="38" y="34"/>
                  </a:cubicBezTo>
                  <a:cubicBezTo>
                    <a:pt x="38" y="35"/>
                    <a:pt x="37" y="36"/>
                    <a:pt x="36" y="36"/>
                  </a:cubicBezTo>
                  <a:cubicBezTo>
                    <a:pt x="26" y="36"/>
                    <a:pt x="26" y="36"/>
                    <a:pt x="26" y="36"/>
                  </a:cubicBezTo>
                  <a:cubicBezTo>
                    <a:pt x="26" y="46"/>
                    <a:pt x="26" y="46"/>
                    <a:pt x="26" y="46"/>
                  </a:cubicBezTo>
                  <a:cubicBezTo>
                    <a:pt x="26" y="47"/>
                    <a:pt x="25"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7" name="Freeform 34">
              <a:extLst>
                <a:ext uri="{FF2B5EF4-FFF2-40B4-BE49-F238E27FC236}">
                  <a16:creationId xmlns:a16="http://schemas.microsoft.com/office/drawing/2014/main" id="{D964E42F-5E3C-4F49-925D-B97B85C00FED}"/>
                </a:ext>
              </a:extLst>
            </p:cNvPr>
            <p:cNvSpPr>
              <a:spLocks/>
            </p:cNvSpPr>
            <p:nvPr/>
          </p:nvSpPr>
          <p:spPr bwMode="auto">
            <a:xfrm>
              <a:off x="6437604" y="-876236"/>
              <a:ext cx="147638" cy="190500"/>
            </a:xfrm>
            <a:custGeom>
              <a:avLst/>
              <a:gdLst>
                <a:gd name="T0" fmla="*/ 36 w 38"/>
                <a:gd name="T1" fmla="*/ 48 h 48"/>
                <a:gd name="T2" fmla="*/ 2 w 38"/>
                <a:gd name="T3" fmla="*/ 48 h 48"/>
                <a:gd name="T4" fmla="*/ 0 w 38"/>
                <a:gd name="T5" fmla="*/ 46 h 48"/>
                <a:gd name="T6" fmla="*/ 0 w 38"/>
                <a:gd name="T7" fmla="*/ 2 h 48"/>
                <a:gd name="T8" fmla="*/ 2 w 38"/>
                <a:gd name="T9" fmla="*/ 0 h 48"/>
                <a:gd name="T10" fmla="*/ 34 w 38"/>
                <a:gd name="T11" fmla="*/ 0 h 48"/>
                <a:gd name="T12" fmla="*/ 36 w 38"/>
                <a:gd name="T13" fmla="*/ 2 h 48"/>
                <a:gd name="T14" fmla="*/ 34 w 38"/>
                <a:gd name="T15" fmla="*/ 4 h 48"/>
                <a:gd name="T16" fmla="*/ 4 w 38"/>
                <a:gd name="T17" fmla="*/ 4 h 48"/>
                <a:gd name="T18" fmla="*/ 4 w 38"/>
                <a:gd name="T19" fmla="*/ 44 h 48"/>
                <a:gd name="T20" fmla="*/ 36 w 38"/>
                <a:gd name="T21" fmla="*/ 44 h 48"/>
                <a:gd name="T22" fmla="*/ 38 w 38"/>
                <a:gd name="T23" fmla="*/ 46 h 48"/>
                <a:gd name="T24" fmla="*/ 36 w 38"/>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8">
                  <a:moveTo>
                    <a:pt x="36" y="48"/>
                  </a:moveTo>
                  <a:cubicBezTo>
                    <a:pt x="2" y="48"/>
                    <a:pt x="2" y="48"/>
                    <a:pt x="2" y="48"/>
                  </a:cubicBezTo>
                  <a:cubicBezTo>
                    <a:pt x="1" y="48"/>
                    <a:pt x="0" y="47"/>
                    <a:pt x="0" y="46"/>
                  </a:cubicBezTo>
                  <a:cubicBezTo>
                    <a:pt x="0" y="2"/>
                    <a:pt x="0" y="2"/>
                    <a:pt x="0" y="2"/>
                  </a:cubicBezTo>
                  <a:cubicBezTo>
                    <a:pt x="0" y="1"/>
                    <a:pt x="1" y="0"/>
                    <a:pt x="2" y="0"/>
                  </a:cubicBezTo>
                  <a:cubicBezTo>
                    <a:pt x="34" y="0"/>
                    <a:pt x="34" y="0"/>
                    <a:pt x="34" y="0"/>
                  </a:cubicBezTo>
                  <a:cubicBezTo>
                    <a:pt x="35" y="0"/>
                    <a:pt x="36" y="1"/>
                    <a:pt x="36" y="2"/>
                  </a:cubicBezTo>
                  <a:cubicBezTo>
                    <a:pt x="36" y="3"/>
                    <a:pt x="35" y="4"/>
                    <a:pt x="34" y="4"/>
                  </a:cubicBezTo>
                  <a:cubicBezTo>
                    <a:pt x="4" y="4"/>
                    <a:pt x="4" y="4"/>
                    <a:pt x="4" y="4"/>
                  </a:cubicBezTo>
                  <a:cubicBezTo>
                    <a:pt x="4" y="44"/>
                    <a:pt x="4" y="44"/>
                    <a:pt x="4" y="44"/>
                  </a:cubicBezTo>
                  <a:cubicBezTo>
                    <a:pt x="36" y="44"/>
                    <a:pt x="36" y="44"/>
                    <a:pt x="36" y="44"/>
                  </a:cubicBezTo>
                  <a:cubicBezTo>
                    <a:pt x="37" y="44"/>
                    <a:pt x="38" y="45"/>
                    <a:pt x="38" y="46"/>
                  </a:cubicBezTo>
                  <a:cubicBezTo>
                    <a:pt x="38" y="47"/>
                    <a:pt x="37" y="48"/>
                    <a:pt x="3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8" name="Freeform 35">
              <a:extLst>
                <a:ext uri="{FF2B5EF4-FFF2-40B4-BE49-F238E27FC236}">
                  <a16:creationId xmlns:a16="http://schemas.microsoft.com/office/drawing/2014/main" id="{BEB79FAF-F4F6-4BE4-A75B-713EEA25DAAC}"/>
                </a:ext>
              </a:extLst>
            </p:cNvPr>
            <p:cNvSpPr>
              <a:spLocks noEditPoints="1"/>
            </p:cNvSpPr>
            <p:nvPr/>
          </p:nvSpPr>
          <p:spPr bwMode="auto">
            <a:xfrm>
              <a:off x="6561429" y="-882586"/>
              <a:ext cx="123825" cy="204788"/>
            </a:xfrm>
            <a:custGeom>
              <a:avLst/>
              <a:gdLst>
                <a:gd name="T0" fmla="*/ 14 w 32"/>
                <a:gd name="T1" fmla="*/ 52 h 52"/>
                <a:gd name="T2" fmla="*/ 14 w 32"/>
                <a:gd name="T3" fmla="*/ 52 h 52"/>
                <a:gd name="T4" fmla="*/ 12 w 32"/>
                <a:gd name="T5" fmla="*/ 50 h 52"/>
                <a:gd name="T6" fmla="*/ 12 w 32"/>
                <a:gd name="T7" fmla="*/ 34 h 52"/>
                <a:gd name="T8" fmla="*/ 2 w 32"/>
                <a:gd name="T9" fmla="*/ 34 h 52"/>
                <a:gd name="T10" fmla="*/ 0 w 32"/>
                <a:gd name="T11" fmla="*/ 33 h 52"/>
                <a:gd name="T12" fmla="*/ 0 w 32"/>
                <a:gd name="T13" fmla="*/ 31 h 52"/>
                <a:gd name="T14" fmla="*/ 16 w 32"/>
                <a:gd name="T15" fmla="*/ 1 h 52"/>
                <a:gd name="T16" fmla="*/ 18 w 32"/>
                <a:gd name="T17" fmla="*/ 0 h 52"/>
                <a:gd name="T18" fmla="*/ 20 w 32"/>
                <a:gd name="T19" fmla="*/ 2 h 52"/>
                <a:gd name="T20" fmla="*/ 20 w 32"/>
                <a:gd name="T21" fmla="*/ 18 h 52"/>
                <a:gd name="T22" fmla="*/ 30 w 32"/>
                <a:gd name="T23" fmla="*/ 18 h 52"/>
                <a:gd name="T24" fmla="*/ 32 w 32"/>
                <a:gd name="T25" fmla="*/ 19 h 52"/>
                <a:gd name="T26" fmla="*/ 32 w 32"/>
                <a:gd name="T27" fmla="*/ 21 h 52"/>
                <a:gd name="T28" fmla="*/ 16 w 32"/>
                <a:gd name="T29" fmla="*/ 51 h 52"/>
                <a:gd name="T30" fmla="*/ 14 w 32"/>
                <a:gd name="T31" fmla="*/ 52 h 52"/>
                <a:gd name="T32" fmla="*/ 5 w 32"/>
                <a:gd name="T33" fmla="*/ 30 h 52"/>
                <a:gd name="T34" fmla="*/ 14 w 32"/>
                <a:gd name="T35" fmla="*/ 30 h 52"/>
                <a:gd name="T36" fmla="*/ 16 w 32"/>
                <a:gd name="T37" fmla="*/ 32 h 52"/>
                <a:gd name="T38" fmla="*/ 16 w 32"/>
                <a:gd name="T39" fmla="*/ 42 h 52"/>
                <a:gd name="T40" fmla="*/ 27 w 32"/>
                <a:gd name="T41" fmla="*/ 22 h 52"/>
                <a:gd name="T42" fmla="*/ 18 w 32"/>
                <a:gd name="T43" fmla="*/ 22 h 52"/>
                <a:gd name="T44" fmla="*/ 16 w 32"/>
                <a:gd name="T45" fmla="*/ 20 h 52"/>
                <a:gd name="T46" fmla="*/ 16 w 32"/>
                <a:gd name="T47" fmla="*/ 10 h 52"/>
                <a:gd name="T48" fmla="*/ 5 w 32"/>
                <a:gd name="T49"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52">
                  <a:moveTo>
                    <a:pt x="14" y="52"/>
                  </a:moveTo>
                  <a:cubicBezTo>
                    <a:pt x="14" y="52"/>
                    <a:pt x="14" y="52"/>
                    <a:pt x="14" y="52"/>
                  </a:cubicBezTo>
                  <a:cubicBezTo>
                    <a:pt x="13" y="52"/>
                    <a:pt x="12" y="51"/>
                    <a:pt x="12" y="50"/>
                  </a:cubicBezTo>
                  <a:cubicBezTo>
                    <a:pt x="12" y="34"/>
                    <a:pt x="12" y="34"/>
                    <a:pt x="12" y="34"/>
                  </a:cubicBezTo>
                  <a:cubicBezTo>
                    <a:pt x="2" y="34"/>
                    <a:pt x="2" y="34"/>
                    <a:pt x="2" y="34"/>
                  </a:cubicBezTo>
                  <a:cubicBezTo>
                    <a:pt x="1" y="34"/>
                    <a:pt x="1" y="34"/>
                    <a:pt x="0" y="33"/>
                  </a:cubicBezTo>
                  <a:cubicBezTo>
                    <a:pt x="0" y="32"/>
                    <a:pt x="0" y="32"/>
                    <a:pt x="0" y="31"/>
                  </a:cubicBezTo>
                  <a:cubicBezTo>
                    <a:pt x="16" y="1"/>
                    <a:pt x="16" y="1"/>
                    <a:pt x="16" y="1"/>
                  </a:cubicBezTo>
                  <a:cubicBezTo>
                    <a:pt x="17" y="0"/>
                    <a:pt x="18" y="0"/>
                    <a:pt x="18" y="0"/>
                  </a:cubicBezTo>
                  <a:cubicBezTo>
                    <a:pt x="19" y="0"/>
                    <a:pt x="20" y="1"/>
                    <a:pt x="20" y="2"/>
                  </a:cubicBezTo>
                  <a:cubicBezTo>
                    <a:pt x="20" y="18"/>
                    <a:pt x="20" y="18"/>
                    <a:pt x="20" y="18"/>
                  </a:cubicBezTo>
                  <a:cubicBezTo>
                    <a:pt x="30" y="18"/>
                    <a:pt x="30" y="18"/>
                    <a:pt x="30" y="18"/>
                  </a:cubicBezTo>
                  <a:cubicBezTo>
                    <a:pt x="31" y="18"/>
                    <a:pt x="31" y="18"/>
                    <a:pt x="32" y="19"/>
                  </a:cubicBezTo>
                  <a:cubicBezTo>
                    <a:pt x="32" y="20"/>
                    <a:pt x="32" y="20"/>
                    <a:pt x="32" y="21"/>
                  </a:cubicBezTo>
                  <a:cubicBezTo>
                    <a:pt x="16" y="51"/>
                    <a:pt x="16" y="51"/>
                    <a:pt x="16" y="51"/>
                  </a:cubicBezTo>
                  <a:cubicBezTo>
                    <a:pt x="15" y="52"/>
                    <a:pt x="15" y="52"/>
                    <a:pt x="14" y="52"/>
                  </a:cubicBezTo>
                  <a:close/>
                  <a:moveTo>
                    <a:pt x="5" y="30"/>
                  </a:moveTo>
                  <a:cubicBezTo>
                    <a:pt x="14" y="30"/>
                    <a:pt x="14" y="30"/>
                    <a:pt x="14" y="30"/>
                  </a:cubicBezTo>
                  <a:cubicBezTo>
                    <a:pt x="15" y="30"/>
                    <a:pt x="16" y="31"/>
                    <a:pt x="16" y="32"/>
                  </a:cubicBezTo>
                  <a:cubicBezTo>
                    <a:pt x="16" y="42"/>
                    <a:pt x="16" y="42"/>
                    <a:pt x="16" y="42"/>
                  </a:cubicBezTo>
                  <a:cubicBezTo>
                    <a:pt x="27" y="22"/>
                    <a:pt x="27" y="22"/>
                    <a:pt x="27" y="22"/>
                  </a:cubicBezTo>
                  <a:cubicBezTo>
                    <a:pt x="18" y="22"/>
                    <a:pt x="18" y="22"/>
                    <a:pt x="18" y="22"/>
                  </a:cubicBezTo>
                  <a:cubicBezTo>
                    <a:pt x="17" y="22"/>
                    <a:pt x="16" y="21"/>
                    <a:pt x="16" y="20"/>
                  </a:cubicBezTo>
                  <a:cubicBezTo>
                    <a:pt x="16" y="10"/>
                    <a:pt x="16" y="10"/>
                    <a:pt x="16" y="10"/>
                  </a:cubicBezTo>
                  <a:lnTo>
                    <a:pt x="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89" name="Group 6148">
            <a:extLst>
              <a:ext uri="{FF2B5EF4-FFF2-40B4-BE49-F238E27FC236}">
                <a16:creationId xmlns:a16="http://schemas.microsoft.com/office/drawing/2014/main" id="{D2C48974-9670-483A-B18D-6547A07BB9BE}"/>
              </a:ext>
            </a:extLst>
          </p:cNvPr>
          <p:cNvGrpSpPr>
            <a:grpSpLocks noChangeAspect="1"/>
          </p:cNvGrpSpPr>
          <p:nvPr/>
        </p:nvGrpSpPr>
        <p:grpSpPr>
          <a:xfrm>
            <a:off x="1080464" y="4345739"/>
            <a:ext cx="277669" cy="306484"/>
            <a:chOff x="7477126" y="1285875"/>
            <a:chExt cx="336550" cy="371475"/>
          </a:xfrm>
          <a:solidFill>
            <a:schemeClr val="bg1"/>
          </a:solidFill>
          <a:effectLst/>
        </p:grpSpPr>
        <p:sp>
          <p:nvSpPr>
            <p:cNvPr id="590" name="Freeform 29">
              <a:extLst>
                <a:ext uri="{FF2B5EF4-FFF2-40B4-BE49-F238E27FC236}">
                  <a16:creationId xmlns:a16="http://schemas.microsoft.com/office/drawing/2014/main" id="{992C7959-0AA9-4EDC-AD1F-658908B41073}"/>
                </a:ext>
              </a:extLst>
            </p:cNvPr>
            <p:cNvSpPr>
              <a:spLocks noEditPoints="1"/>
            </p:cNvSpPr>
            <p:nvPr/>
          </p:nvSpPr>
          <p:spPr bwMode="auto">
            <a:xfrm>
              <a:off x="7477126" y="1285875"/>
              <a:ext cx="336550" cy="371475"/>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91" name="Freeform 30">
              <a:extLst>
                <a:ext uri="{FF2B5EF4-FFF2-40B4-BE49-F238E27FC236}">
                  <a16:creationId xmlns:a16="http://schemas.microsoft.com/office/drawing/2014/main" id="{2B2CACA8-7B56-424D-ABD6-ADF082F82569}"/>
                </a:ext>
              </a:extLst>
            </p:cNvPr>
            <p:cNvSpPr>
              <a:spLocks noEditPoints="1"/>
            </p:cNvSpPr>
            <p:nvPr/>
          </p:nvSpPr>
          <p:spPr bwMode="auto">
            <a:xfrm>
              <a:off x="7545388" y="1363663"/>
              <a:ext cx="171450" cy="153988"/>
            </a:xfrm>
            <a:custGeom>
              <a:avLst/>
              <a:gdLst>
                <a:gd name="T0" fmla="*/ 22 w 44"/>
                <a:gd name="T1" fmla="*/ 40 h 40"/>
                <a:gd name="T2" fmla="*/ 21 w 44"/>
                <a:gd name="T3" fmla="*/ 40 h 40"/>
                <a:gd name="T4" fmla="*/ 0 w 44"/>
                <a:gd name="T5" fmla="*/ 13 h 40"/>
                <a:gd name="T6" fmla="*/ 12 w 44"/>
                <a:gd name="T7" fmla="*/ 0 h 40"/>
                <a:gd name="T8" fmla="*/ 22 w 44"/>
                <a:gd name="T9" fmla="*/ 6 h 40"/>
                <a:gd name="T10" fmla="*/ 32 w 44"/>
                <a:gd name="T11" fmla="*/ 0 h 40"/>
                <a:gd name="T12" fmla="*/ 44 w 44"/>
                <a:gd name="T13" fmla="*/ 13 h 40"/>
                <a:gd name="T14" fmla="*/ 23 w 44"/>
                <a:gd name="T15" fmla="*/ 40 h 40"/>
                <a:gd name="T16" fmla="*/ 22 w 44"/>
                <a:gd name="T17" fmla="*/ 40 h 40"/>
                <a:gd name="T18" fmla="*/ 12 w 44"/>
                <a:gd name="T19" fmla="*/ 4 h 40"/>
                <a:gd name="T20" fmla="*/ 4 w 44"/>
                <a:gd name="T21" fmla="*/ 13 h 40"/>
                <a:gd name="T22" fmla="*/ 22 w 44"/>
                <a:gd name="T23" fmla="*/ 36 h 40"/>
                <a:gd name="T24" fmla="*/ 40 w 44"/>
                <a:gd name="T25" fmla="*/ 13 h 40"/>
                <a:gd name="T26" fmla="*/ 32 w 44"/>
                <a:gd name="T27" fmla="*/ 4 h 40"/>
                <a:gd name="T28" fmla="*/ 24 w 44"/>
                <a:gd name="T29" fmla="*/ 12 h 40"/>
                <a:gd name="T30" fmla="*/ 20 w 44"/>
                <a:gd name="T31" fmla="*/ 12 h 40"/>
                <a:gd name="T32" fmla="*/ 12 w 44"/>
                <a:gd name="T3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40">
                  <a:moveTo>
                    <a:pt x="22" y="40"/>
                  </a:moveTo>
                  <a:cubicBezTo>
                    <a:pt x="22" y="40"/>
                    <a:pt x="21" y="40"/>
                    <a:pt x="21" y="40"/>
                  </a:cubicBezTo>
                  <a:cubicBezTo>
                    <a:pt x="19" y="38"/>
                    <a:pt x="0" y="25"/>
                    <a:pt x="0" y="13"/>
                  </a:cubicBezTo>
                  <a:cubicBezTo>
                    <a:pt x="0" y="5"/>
                    <a:pt x="6" y="0"/>
                    <a:pt x="12" y="0"/>
                  </a:cubicBezTo>
                  <a:cubicBezTo>
                    <a:pt x="15" y="0"/>
                    <a:pt x="19" y="2"/>
                    <a:pt x="22" y="6"/>
                  </a:cubicBezTo>
                  <a:cubicBezTo>
                    <a:pt x="25" y="2"/>
                    <a:pt x="29" y="0"/>
                    <a:pt x="32" y="0"/>
                  </a:cubicBezTo>
                  <a:cubicBezTo>
                    <a:pt x="38" y="0"/>
                    <a:pt x="44" y="5"/>
                    <a:pt x="44" y="13"/>
                  </a:cubicBezTo>
                  <a:cubicBezTo>
                    <a:pt x="44" y="25"/>
                    <a:pt x="25" y="38"/>
                    <a:pt x="23" y="40"/>
                  </a:cubicBezTo>
                  <a:cubicBezTo>
                    <a:pt x="23" y="40"/>
                    <a:pt x="22" y="40"/>
                    <a:pt x="22" y="40"/>
                  </a:cubicBezTo>
                  <a:close/>
                  <a:moveTo>
                    <a:pt x="12" y="4"/>
                  </a:moveTo>
                  <a:cubicBezTo>
                    <a:pt x="8" y="4"/>
                    <a:pt x="4" y="8"/>
                    <a:pt x="4" y="13"/>
                  </a:cubicBezTo>
                  <a:cubicBezTo>
                    <a:pt x="4" y="21"/>
                    <a:pt x="16" y="31"/>
                    <a:pt x="22" y="36"/>
                  </a:cubicBezTo>
                  <a:cubicBezTo>
                    <a:pt x="28" y="31"/>
                    <a:pt x="40" y="21"/>
                    <a:pt x="40" y="13"/>
                  </a:cubicBezTo>
                  <a:cubicBezTo>
                    <a:pt x="40" y="8"/>
                    <a:pt x="36" y="4"/>
                    <a:pt x="32" y="4"/>
                  </a:cubicBezTo>
                  <a:cubicBezTo>
                    <a:pt x="28" y="4"/>
                    <a:pt x="25" y="7"/>
                    <a:pt x="24" y="12"/>
                  </a:cubicBezTo>
                  <a:cubicBezTo>
                    <a:pt x="24" y="14"/>
                    <a:pt x="20" y="14"/>
                    <a:pt x="20" y="12"/>
                  </a:cubicBezTo>
                  <a:cubicBezTo>
                    <a:pt x="19" y="7"/>
                    <a:pt x="16" y="4"/>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92" name="Group 41">
            <a:extLst>
              <a:ext uri="{FF2B5EF4-FFF2-40B4-BE49-F238E27FC236}">
                <a16:creationId xmlns:a16="http://schemas.microsoft.com/office/drawing/2014/main" id="{E18BDA99-17A4-4E0B-8B68-32B4EAC8513A}"/>
              </a:ext>
            </a:extLst>
          </p:cNvPr>
          <p:cNvGrpSpPr>
            <a:grpSpLocks noChangeAspect="1"/>
          </p:cNvGrpSpPr>
          <p:nvPr/>
        </p:nvGrpSpPr>
        <p:grpSpPr>
          <a:xfrm>
            <a:off x="1419983" y="3813750"/>
            <a:ext cx="304790" cy="284583"/>
            <a:chOff x="4906963" y="792163"/>
            <a:chExt cx="287338" cy="268288"/>
          </a:xfrm>
          <a:solidFill>
            <a:schemeClr val="bg1"/>
          </a:solidFill>
          <a:effectLst/>
        </p:grpSpPr>
        <p:sp>
          <p:nvSpPr>
            <p:cNvPr id="593" name="Freeform 45">
              <a:extLst>
                <a:ext uri="{FF2B5EF4-FFF2-40B4-BE49-F238E27FC236}">
                  <a16:creationId xmlns:a16="http://schemas.microsoft.com/office/drawing/2014/main" id="{C88DCF0A-84E5-4544-84FE-92409C6A6C3E}"/>
                </a:ext>
              </a:extLst>
            </p:cNvPr>
            <p:cNvSpPr>
              <a:spLocks noEditPoints="1"/>
            </p:cNvSpPr>
            <p:nvPr/>
          </p:nvSpPr>
          <p:spPr bwMode="auto">
            <a:xfrm>
              <a:off x="4906963" y="792163"/>
              <a:ext cx="287338" cy="268288"/>
            </a:xfrm>
            <a:custGeom>
              <a:avLst/>
              <a:gdLst>
                <a:gd name="T0" fmla="*/ 677 w 905"/>
                <a:gd name="T1" fmla="*/ 807 h 845"/>
                <a:gd name="T2" fmla="*/ 561 w 905"/>
                <a:gd name="T3" fmla="*/ 807 h 845"/>
                <a:gd name="T4" fmla="*/ 313 w 905"/>
                <a:gd name="T5" fmla="*/ 593 h 845"/>
                <a:gd name="T6" fmla="*/ 273 w 905"/>
                <a:gd name="T7" fmla="*/ 565 h 845"/>
                <a:gd name="T8" fmla="*/ 231 w 905"/>
                <a:gd name="T9" fmla="*/ 577 h 845"/>
                <a:gd name="T10" fmla="*/ 217 w 905"/>
                <a:gd name="T11" fmla="*/ 608 h 845"/>
                <a:gd name="T12" fmla="*/ 226 w 905"/>
                <a:gd name="T13" fmla="*/ 646 h 845"/>
                <a:gd name="T14" fmla="*/ 254 w 905"/>
                <a:gd name="T15" fmla="*/ 684 h 845"/>
                <a:gd name="T16" fmla="*/ 265 w 905"/>
                <a:gd name="T17" fmla="*/ 716 h 845"/>
                <a:gd name="T18" fmla="*/ 254 w 905"/>
                <a:gd name="T19" fmla="*/ 748 h 845"/>
                <a:gd name="T20" fmla="*/ 227 w 905"/>
                <a:gd name="T21" fmla="*/ 771 h 845"/>
                <a:gd name="T22" fmla="*/ 193 w 905"/>
                <a:gd name="T23" fmla="*/ 774 h 845"/>
                <a:gd name="T24" fmla="*/ 161 w 905"/>
                <a:gd name="T25" fmla="*/ 758 h 845"/>
                <a:gd name="T26" fmla="*/ 86 w 905"/>
                <a:gd name="T27" fmla="*/ 657 h 845"/>
                <a:gd name="T28" fmla="*/ 42 w 905"/>
                <a:gd name="T29" fmla="*/ 537 h 845"/>
                <a:gd name="T30" fmla="*/ 31 w 905"/>
                <a:gd name="T31" fmla="*/ 408 h 845"/>
                <a:gd name="T32" fmla="*/ 58 w 905"/>
                <a:gd name="T33" fmla="*/ 284 h 845"/>
                <a:gd name="T34" fmla="*/ 120 w 905"/>
                <a:gd name="T35" fmla="*/ 177 h 845"/>
                <a:gd name="T36" fmla="*/ 208 w 905"/>
                <a:gd name="T37" fmla="*/ 97 h 845"/>
                <a:gd name="T38" fmla="*/ 313 w 905"/>
                <a:gd name="T39" fmla="*/ 47 h 845"/>
                <a:gd name="T40" fmla="*/ 430 w 905"/>
                <a:gd name="T41" fmla="*/ 30 h 845"/>
                <a:gd name="T42" fmla="*/ 558 w 905"/>
                <a:gd name="T43" fmla="*/ 49 h 845"/>
                <a:gd name="T44" fmla="*/ 676 w 905"/>
                <a:gd name="T45" fmla="*/ 105 h 845"/>
                <a:gd name="T46" fmla="*/ 773 w 905"/>
                <a:gd name="T47" fmla="*/ 195 h 845"/>
                <a:gd name="T48" fmla="*/ 840 w 905"/>
                <a:gd name="T49" fmla="*/ 303 h 845"/>
                <a:gd name="T50" fmla="*/ 871 w 905"/>
                <a:gd name="T51" fmla="*/ 423 h 845"/>
                <a:gd name="T52" fmla="*/ 869 w 905"/>
                <a:gd name="T53" fmla="*/ 543 h 845"/>
                <a:gd name="T54" fmla="*/ 832 w 905"/>
                <a:gd name="T55" fmla="*/ 658 h 845"/>
                <a:gd name="T56" fmla="*/ 758 w 905"/>
                <a:gd name="T57" fmla="*/ 758 h 845"/>
                <a:gd name="T58" fmla="*/ 673 w 905"/>
                <a:gd name="T59" fmla="*/ 68 h 845"/>
                <a:gd name="T60" fmla="*/ 545 w 905"/>
                <a:gd name="T61" fmla="*/ 14 h 845"/>
                <a:gd name="T62" fmla="*/ 409 w 905"/>
                <a:gd name="T63" fmla="*/ 0 h 845"/>
                <a:gd name="T64" fmla="*/ 284 w 905"/>
                <a:gd name="T65" fmla="*/ 25 h 845"/>
                <a:gd name="T66" fmla="*/ 173 w 905"/>
                <a:gd name="T67" fmla="*/ 84 h 845"/>
                <a:gd name="T68" fmla="*/ 82 w 905"/>
                <a:gd name="T69" fmla="*/ 176 h 845"/>
                <a:gd name="T70" fmla="*/ 23 w 905"/>
                <a:gd name="T71" fmla="*/ 295 h 845"/>
                <a:gd name="T72" fmla="*/ 0 w 905"/>
                <a:gd name="T73" fmla="*/ 429 h 845"/>
                <a:gd name="T74" fmla="*/ 17 w 905"/>
                <a:gd name="T75" fmla="*/ 566 h 845"/>
                <a:gd name="T76" fmla="*/ 71 w 905"/>
                <a:gd name="T77" fmla="*/ 690 h 845"/>
                <a:gd name="T78" fmla="*/ 147 w 905"/>
                <a:gd name="T79" fmla="*/ 786 h 845"/>
                <a:gd name="T80" fmla="*/ 195 w 905"/>
                <a:gd name="T81" fmla="*/ 805 h 845"/>
                <a:gd name="T82" fmla="*/ 246 w 905"/>
                <a:gd name="T83" fmla="*/ 796 h 845"/>
                <a:gd name="T84" fmla="*/ 284 w 905"/>
                <a:gd name="T85" fmla="*/ 758 h 845"/>
                <a:gd name="T86" fmla="*/ 294 w 905"/>
                <a:gd name="T87" fmla="*/ 708 h 845"/>
                <a:gd name="T88" fmla="*/ 273 w 905"/>
                <a:gd name="T89" fmla="*/ 659 h 845"/>
                <a:gd name="T90" fmla="*/ 248 w 905"/>
                <a:gd name="T91" fmla="*/ 614 h 845"/>
                <a:gd name="T92" fmla="*/ 265 w 905"/>
                <a:gd name="T93" fmla="*/ 594 h 845"/>
                <a:gd name="T94" fmla="*/ 473 w 905"/>
                <a:gd name="T95" fmla="*/ 795 h 845"/>
                <a:gd name="T96" fmla="*/ 530 w 905"/>
                <a:gd name="T97" fmla="*/ 828 h 845"/>
                <a:gd name="T98" fmla="*/ 596 w 905"/>
                <a:gd name="T99" fmla="*/ 844 h 845"/>
                <a:gd name="T100" fmla="*/ 664 w 905"/>
                <a:gd name="T101" fmla="*/ 841 h 845"/>
                <a:gd name="T102" fmla="*/ 727 w 905"/>
                <a:gd name="T103" fmla="*/ 819 h 845"/>
                <a:gd name="T104" fmla="*/ 780 w 905"/>
                <a:gd name="T105" fmla="*/ 780 h 845"/>
                <a:gd name="T106" fmla="*/ 858 w 905"/>
                <a:gd name="T107" fmla="*/ 672 h 845"/>
                <a:gd name="T108" fmla="*/ 898 w 905"/>
                <a:gd name="T109" fmla="*/ 550 h 845"/>
                <a:gd name="T110" fmla="*/ 901 w 905"/>
                <a:gd name="T111" fmla="*/ 419 h 845"/>
                <a:gd name="T112" fmla="*/ 868 w 905"/>
                <a:gd name="T113" fmla="*/ 291 h 845"/>
                <a:gd name="T114" fmla="*/ 797 w 905"/>
                <a:gd name="T115" fmla="*/ 17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45">
                  <a:moveTo>
                    <a:pt x="758" y="758"/>
                  </a:moveTo>
                  <a:lnTo>
                    <a:pt x="744" y="771"/>
                  </a:lnTo>
                  <a:lnTo>
                    <a:pt x="729" y="783"/>
                  </a:lnTo>
                  <a:lnTo>
                    <a:pt x="712" y="793"/>
                  </a:lnTo>
                  <a:lnTo>
                    <a:pt x="695" y="800"/>
                  </a:lnTo>
                  <a:lnTo>
                    <a:pt x="677" y="807"/>
                  </a:lnTo>
                  <a:lnTo>
                    <a:pt x="658" y="811"/>
                  </a:lnTo>
                  <a:lnTo>
                    <a:pt x="639" y="814"/>
                  </a:lnTo>
                  <a:lnTo>
                    <a:pt x="619" y="815"/>
                  </a:lnTo>
                  <a:lnTo>
                    <a:pt x="599" y="814"/>
                  </a:lnTo>
                  <a:lnTo>
                    <a:pt x="580" y="811"/>
                  </a:lnTo>
                  <a:lnTo>
                    <a:pt x="561" y="807"/>
                  </a:lnTo>
                  <a:lnTo>
                    <a:pt x="542" y="800"/>
                  </a:lnTo>
                  <a:lnTo>
                    <a:pt x="525" y="793"/>
                  </a:lnTo>
                  <a:lnTo>
                    <a:pt x="509" y="783"/>
                  </a:lnTo>
                  <a:lnTo>
                    <a:pt x="493" y="771"/>
                  </a:lnTo>
                  <a:lnTo>
                    <a:pt x="479" y="758"/>
                  </a:lnTo>
                  <a:lnTo>
                    <a:pt x="313" y="593"/>
                  </a:lnTo>
                  <a:lnTo>
                    <a:pt x="306" y="585"/>
                  </a:lnTo>
                  <a:lnTo>
                    <a:pt x="298" y="580"/>
                  </a:lnTo>
                  <a:lnTo>
                    <a:pt x="292" y="574"/>
                  </a:lnTo>
                  <a:lnTo>
                    <a:pt x="285" y="570"/>
                  </a:lnTo>
                  <a:lnTo>
                    <a:pt x="279" y="567"/>
                  </a:lnTo>
                  <a:lnTo>
                    <a:pt x="273" y="565"/>
                  </a:lnTo>
                  <a:lnTo>
                    <a:pt x="267" y="563"/>
                  </a:lnTo>
                  <a:lnTo>
                    <a:pt x="261" y="563"/>
                  </a:lnTo>
                  <a:lnTo>
                    <a:pt x="254" y="563"/>
                  </a:lnTo>
                  <a:lnTo>
                    <a:pt x="245" y="567"/>
                  </a:lnTo>
                  <a:lnTo>
                    <a:pt x="239" y="571"/>
                  </a:lnTo>
                  <a:lnTo>
                    <a:pt x="231" y="577"/>
                  </a:lnTo>
                  <a:lnTo>
                    <a:pt x="227" y="582"/>
                  </a:lnTo>
                  <a:lnTo>
                    <a:pt x="225" y="586"/>
                  </a:lnTo>
                  <a:lnTo>
                    <a:pt x="222" y="590"/>
                  </a:lnTo>
                  <a:lnTo>
                    <a:pt x="220" y="596"/>
                  </a:lnTo>
                  <a:lnTo>
                    <a:pt x="218" y="601"/>
                  </a:lnTo>
                  <a:lnTo>
                    <a:pt x="217" y="608"/>
                  </a:lnTo>
                  <a:lnTo>
                    <a:pt x="217" y="613"/>
                  </a:lnTo>
                  <a:lnTo>
                    <a:pt x="217" y="619"/>
                  </a:lnTo>
                  <a:lnTo>
                    <a:pt x="218" y="626"/>
                  </a:lnTo>
                  <a:lnTo>
                    <a:pt x="220" y="632"/>
                  </a:lnTo>
                  <a:lnTo>
                    <a:pt x="223" y="640"/>
                  </a:lnTo>
                  <a:lnTo>
                    <a:pt x="226" y="646"/>
                  </a:lnTo>
                  <a:lnTo>
                    <a:pt x="229" y="653"/>
                  </a:lnTo>
                  <a:lnTo>
                    <a:pt x="235" y="660"/>
                  </a:lnTo>
                  <a:lnTo>
                    <a:pt x="240" y="667"/>
                  </a:lnTo>
                  <a:lnTo>
                    <a:pt x="246" y="674"/>
                  </a:lnTo>
                  <a:lnTo>
                    <a:pt x="251" y="679"/>
                  </a:lnTo>
                  <a:lnTo>
                    <a:pt x="254" y="684"/>
                  </a:lnTo>
                  <a:lnTo>
                    <a:pt x="257" y="688"/>
                  </a:lnTo>
                  <a:lnTo>
                    <a:pt x="259" y="694"/>
                  </a:lnTo>
                  <a:lnTo>
                    <a:pt x="261" y="699"/>
                  </a:lnTo>
                  <a:lnTo>
                    <a:pt x="263" y="705"/>
                  </a:lnTo>
                  <a:lnTo>
                    <a:pt x="264" y="711"/>
                  </a:lnTo>
                  <a:lnTo>
                    <a:pt x="265" y="716"/>
                  </a:lnTo>
                  <a:lnTo>
                    <a:pt x="264" y="722"/>
                  </a:lnTo>
                  <a:lnTo>
                    <a:pt x="263" y="727"/>
                  </a:lnTo>
                  <a:lnTo>
                    <a:pt x="261" y="733"/>
                  </a:lnTo>
                  <a:lnTo>
                    <a:pt x="259" y="739"/>
                  </a:lnTo>
                  <a:lnTo>
                    <a:pt x="257" y="744"/>
                  </a:lnTo>
                  <a:lnTo>
                    <a:pt x="254" y="748"/>
                  </a:lnTo>
                  <a:lnTo>
                    <a:pt x="251" y="754"/>
                  </a:lnTo>
                  <a:lnTo>
                    <a:pt x="246" y="758"/>
                  </a:lnTo>
                  <a:lnTo>
                    <a:pt x="242" y="762"/>
                  </a:lnTo>
                  <a:lnTo>
                    <a:pt x="237" y="766"/>
                  </a:lnTo>
                  <a:lnTo>
                    <a:pt x="231" y="769"/>
                  </a:lnTo>
                  <a:lnTo>
                    <a:pt x="227" y="771"/>
                  </a:lnTo>
                  <a:lnTo>
                    <a:pt x="221" y="773"/>
                  </a:lnTo>
                  <a:lnTo>
                    <a:pt x="215" y="774"/>
                  </a:lnTo>
                  <a:lnTo>
                    <a:pt x="210" y="775"/>
                  </a:lnTo>
                  <a:lnTo>
                    <a:pt x="204" y="775"/>
                  </a:lnTo>
                  <a:lnTo>
                    <a:pt x="198" y="775"/>
                  </a:lnTo>
                  <a:lnTo>
                    <a:pt x="193" y="774"/>
                  </a:lnTo>
                  <a:lnTo>
                    <a:pt x="187" y="773"/>
                  </a:lnTo>
                  <a:lnTo>
                    <a:pt x="182" y="771"/>
                  </a:lnTo>
                  <a:lnTo>
                    <a:pt x="177" y="769"/>
                  </a:lnTo>
                  <a:lnTo>
                    <a:pt x="171" y="766"/>
                  </a:lnTo>
                  <a:lnTo>
                    <a:pt x="167" y="762"/>
                  </a:lnTo>
                  <a:lnTo>
                    <a:pt x="161" y="758"/>
                  </a:lnTo>
                  <a:lnTo>
                    <a:pt x="147" y="743"/>
                  </a:lnTo>
                  <a:lnTo>
                    <a:pt x="134" y="727"/>
                  </a:lnTo>
                  <a:lnTo>
                    <a:pt x="121" y="710"/>
                  </a:lnTo>
                  <a:lnTo>
                    <a:pt x="109" y="693"/>
                  </a:lnTo>
                  <a:lnTo>
                    <a:pt x="97" y="675"/>
                  </a:lnTo>
                  <a:lnTo>
                    <a:pt x="86" y="657"/>
                  </a:lnTo>
                  <a:lnTo>
                    <a:pt x="76" y="638"/>
                  </a:lnTo>
                  <a:lnTo>
                    <a:pt x="68" y="618"/>
                  </a:lnTo>
                  <a:lnTo>
                    <a:pt x="60" y="599"/>
                  </a:lnTo>
                  <a:lnTo>
                    <a:pt x="53" y="579"/>
                  </a:lnTo>
                  <a:lnTo>
                    <a:pt x="46" y="558"/>
                  </a:lnTo>
                  <a:lnTo>
                    <a:pt x="42" y="537"/>
                  </a:lnTo>
                  <a:lnTo>
                    <a:pt x="38" y="516"/>
                  </a:lnTo>
                  <a:lnTo>
                    <a:pt x="35" y="495"/>
                  </a:lnTo>
                  <a:lnTo>
                    <a:pt x="32" y="473"/>
                  </a:lnTo>
                  <a:lnTo>
                    <a:pt x="30" y="452"/>
                  </a:lnTo>
                  <a:lnTo>
                    <a:pt x="30" y="430"/>
                  </a:lnTo>
                  <a:lnTo>
                    <a:pt x="31" y="408"/>
                  </a:lnTo>
                  <a:lnTo>
                    <a:pt x="33" y="386"/>
                  </a:lnTo>
                  <a:lnTo>
                    <a:pt x="37" y="366"/>
                  </a:lnTo>
                  <a:lnTo>
                    <a:pt x="40" y="344"/>
                  </a:lnTo>
                  <a:lnTo>
                    <a:pt x="45" y="324"/>
                  </a:lnTo>
                  <a:lnTo>
                    <a:pt x="51" y="304"/>
                  </a:lnTo>
                  <a:lnTo>
                    <a:pt x="58" y="284"/>
                  </a:lnTo>
                  <a:lnTo>
                    <a:pt x="66" y="265"/>
                  </a:lnTo>
                  <a:lnTo>
                    <a:pt x="74" y="246"/>
                  </a:lnTo>
                  <a:lnTo>
                    <a:pt x="84" y="228"/>
                  </a:lnTo>
                  <a:lnTo>
                    <a:pt x="95" y="211"/>
                  </a:lnTo>
                  <a:lnTo>
                    <a:pt x="107" y="194"/>
                  </a:lnTo>
                  <a:lnTo>
                    <a:pt x="120" y="177"/>
                  </a:lnTo>
                  <a:lnTo>
                    <a:pt x="132" y="161"/>
                  </a:lnTo>
                  <a:lnTo>
                    <a:pt x="146" y="146"/>
                  </a:lnTo>
                  <a:lnTo>
                    <a:pt x="161" y="132"/>
                  </a:lnTo>
                  <a:lnTo>
                    <a:pt x="177" y="119"/>
                  </a:lnTo>
                  <a:lnTo>
                    <a:pt x="192" y="108"/>
                  </a:lnTo>
                  <a:lnTo>
                    <a:pt x="208" y="97"/>
                  </a:lnTo>
                  <a:lnTo>
                    <a:pt x="224" y="86"/>
                  </a:lnTo>
                  <a:lnTo>
                    <a:pt x="241" y="76"/>
                  </a:lnTo>
                  <a:lnTo>
                    <a:pt x="258" y="68"/>
                  </a:lnTo>
                  <a:lnTo>
                    <a:pt x="277" y="60"/>
                  </a:lnTo>
                  <a:lnTo>
                    <a:pt x="295" y="53"/>
                  </a:lnTo>
                  <a:lnTo>
                    <a:pt x="313" y="47"/>
                  </a:lnTo>
                  <a:lnTo>
                    <a:pt x="332" y="42"/>
                  </a:lnTo>
                  <a:lnTo>
                    <a:pt x="352" y="38"/>
                  </a:lnTo>
                  <a:lnTo>
                    <a:pt x="371" y="34"/>
                  </a:lnTo>
                  <a:lnTo>
                    <a:pt x="391" y="32"/>
                  </a:lnTo>
                  <a:lnTo>
                    <a:pt x="410" y="30"/>
                  </a:lnTo>
                  <a:lnTo>
                    <a:pt x="430" y="30"/>
                  </a:lnTo>
                  <a:lnTo>
                    <a:pt x="452" y="30"/>
                  </a:lnTo>
                  <a:lnTo>
                    <a:pt x="473" y="32"/>
                  </a:lnTo>
                  <a:lnTo>
                    <a:pt x="495" y="34"/>
                  </a:lnTo>
                  <a:lnTo>
                    <a:pt x="516" y="39"/>
                  </a:lnTo>
                  <a:lnTo>
                    <a:pt x="538" y="44"/>
                  </a:lnTo>
                  <a:lnTo>
                    <a:pt x="558" y="49"/>
                  </a:lnTo>
                  <a:lnTo>
                    <a:pt x="579" y="57"/>
                  </a:lnTo>
                  <a:lnTo>
                    <a:pt x="599" y="65"/>
                  </a:lnTo>
                  <a:lnTo>
                    <a:pt x="619" y="73"/>
                  </a:lnTo>
                  <a:lnTo>
                    <a:pt x="638" y="83"/>
                  </a:lnTo>
                  <a:lnTo>
                    <a:pt x="657" y="94"/>
                  </a:lnTo>
                  <a:lnTo>
                    <a:pt x="676" y="105"/>
                  </a:lnTo>
                  <a:lnTo>
                    <a:pt x="694" y="118"/>
                  </a:lnTo>
                  <a:lnTo>
                    <a:pt x="711" y="132"/>
                  </a:lnTo>
                  <a:lnTo>
                    <a:pt x="728" y="146"/>
                  </a:lnTo>
                  <a:lnTo>
                    <a:pt x="743" y="161"/>
                  </a:lnTo>
                  <a:lnTo>
                    <a:pt x="760" y="177"/>
                  </a:lnTo>
                  <a:lnTo>
                    <a:pt x="773" y="195"/>
                  </a:lnTo>
                  <a:lnTo>
                    <a:pt x="787" y="212"/>
                  </a:lnTo>
                  <a:lnTo>
                    <a:pt x="799" y="229"/>
                  </a:lnTo>
                  <a:lnTo>
                    <a:pt x="811" y="247"/>
                  </a:lnTo>
                  <a:lnTo>
                    <a:pt x="822" y="266"/>
                  </a:lnTo>
                  <a:lnTo>
                    <a:pt x="832" y="284"/>
                  </a:lnTo>
                  <a:lnTo>
                    <a:pt x="840" y="303"/>
                  </a:lnTo>
                  <a:lnTo>
                    <a:pt x="848" y="323"/>
                  </a:lnTo>
                  <a:lnTo>
                    <a:pt x="854" y="342"/>
                  </a:lnTo>
                  <a:lnTo>
                    <a:pt x="861" y="362"/>
                  </a:lnTo>
                  <a:lnTo>
                    <a:pt x="865" y="382"/>
                  </a:lnTo>
                  <a:lnTo>
                    <a:pt x="869" y="402"/>
                  </a:lnTo>
                  <a:lnTo>
                    <a:pt x="871" y="423"/>
                  </a:lnTo>
                  <a:lnTo>
                    <a:pt x="874" y="443"/>
                  </a:lnTo>
                  <a:lnTo>
                    <a:pt x="875" y="462"/>
                  </a:lnTo>
                  <a:lnTo>
                    <a:pt x="875" y="483"/>
                  </a:lnTo>
                  <a:lnTo>
                    <a:pt x="874" y="503"/>
                  </a:lnTo>
                  <a:lnTo>
                    <a:pt x="872" y="524"/>
                  </a:lnTo>
                  <a:lnTo>
                    <a:pt x="869" y="543"/>
                  </a:lnTo>
                  <a:lnTo>
                    <a:pt x="865" y="563"/>
                  </a:lnTo>
                  <a:lnTo>
                    <a:pt x="861" y="583"/>
                  </a:lnTo>
                  <a:lnTo>
                    <a:pt x="855" y="602"/>
                  </a:lnTo>
                  <a:lnTo>
                    <a:pt x="848" y="620"/>
                  </a:lnTo>
                  <a:lnTo>
                    <a:pt x="840" y="640"/>
                  </a:lnTo>
                  <a:lnTo>
                    <a:pt x="832" y="658"/>
                  </a:lnTo>
                  <a:lnTo>
                    <a:pt x="822" y="676"/>
                  </a:lnTo>
                  <a:lnTo>
                    <a:pt x="811" y="694"/>
                  </a:lnTo>
                  <a:lnTo>
                    <a:pt x="799" y="711"/>
                  </a:lnTo>
                  <a:lnTo>
                    <a:pt x="787" y="727"/>
                  </a:lnTo>
                  <a:lnTo>
                    <a:pt x="773" y="743"/>
                  </a:lnTo>
                  <a:lnTo>
                    <a:pt x="758" y="758"/>
                  </a:lnTo>
                  <a:close/>
                  <a:moveTo>
                    <a:pt x="765" y="140"/>
                  </a:moveTo>
                  <a:lnTo>
                    <a:pt x="748" y="124"/>
                  </a:lnTo>
                  <a:lnTo>
                    <a:pt x="730" y="109"/>
                  </a:lnTo>
                  <a:lnTo>
                    <a:pt x="712" y="94"/>
                  </a:lnTo>
                  <a:lnTo>
                    <a:pt x="693" y="81"/>
                  </a:lnTo>
                  <a:lnTo>
                    <a:pt x="673" y="68"/>
                  </a:lnTo>
                  <a:lnTo>
                    <a:pt x="653" y="57"/>
                  </a:lnTo>
                  <a:lnTo>
                    <a:pt x="632" y="46"/>
                  </a:lnTo>
                  <a:lnTo>
                    <a:pt x="611" y="37"/>
                  </a:lnTo>
                  <a:lnTo>
                    <a:pt x="590" y="28"/>
                  </a:lnTo>
                  <a:lnTo>
                    <a:pt x="567" y="20"/>
                  </a:lnTo>
                  <a:lnTo>
                    <a:pt x="545" y="14"/>
                  </a:lnTo>
                  <a:lnTo>
                    <a:pt x="523" y="10"/>
                  </a:lnTo>
                  <a:lnTo>
                    <a:pt x="499" y="5"/>
                  </a:lnTo>
                  <a:lnTo>
                    <a:pt x="477" y="2"/>
                  </a:lnTo>
                  <a:lnTo>
                    <a:pt x="454" y="0"/>
                  </a:lnTo>
                  <a:lnTo>
                    <a:pt x="430" y="0"/>
                  </a:lnTo>
                  <a:lnTo>
                    <a:pt x="409" y="0"/>
                  </a:lnTo>
                  <a:lnTo>
                    <a:pt x="387" y="2"/>
                  </a:lnTo>
                  <a:lnTo>
                    <a:pt x="366" y="4"/>
                  </a:lnTo>
                  <a:lnTo>
                    <a:pt x="345" y="8"/>
                  </a:lnTo>
                  <a:lnTo>
                    <a:pt x="325" y="13"/>
                  </a:lnTo>
                  <a:lnTo>
                    <a:pt x="305" y="18"/>
                  </a:lnTo>
                  <a:lnTo>
                    <a:pt x="284" y="25"/>
                  </a:lnTo>
                  <a:lnTo>
                    <a:pt x="265" y="32"/>
                  </a:lnTo>
                  <a:lnTo>
                    <a:pt x="245" y="41"/>
                  </a:lnTo>
                  <a:lnTo>
                    <a:pt x="227" y="49"/>
                  </a:lnTo>
                  <a:lnTo>
                    <a:pt x="209" y="60"/>
                  </a:lnTo>
                  <a:lnTo>
                    <a:pt x="191" y="71"/>
                  </a:lnTo>
                  <a:lnTo>
                    <a:pt x="173" y="84"/>
                  </a:lnTo>
                  <a:lnTo>
                    <a:pt x="157" y="97"/>
                  </a:lnTo>
                  <a:lnTo>
                    <a:pt x="141" y="111"/>
                  </a:lnTo>
                  <a:lnTo>
                    <a:pt x="126" y="125"/>
                  </a:lnTo>
                  <a:lnTo>
                    <a:pt x="110" y="141"/>
                  </a:lnTo>
                  <a:lnTo>
                    <a:pt x="96" y="158"/>
                  </a:lnTo>
                  <a:lnTo>
                    <a:pt x="82" y="176"/>
                  </a:lnTo>
                  <a:lnTo>
                    <a:pt x="70" y="195"/>
                  </a:lnTo>
                  <a:lnTo>
                    <a:pt x="58" y="213"/>
                  </a:lnTo>
                  <a:lnTo>
                    <a:pt x="47" y="232"/>
                  </a:lnTo>
                  <a:lnTo>
                    <a:pt x="38" y="253"/>
                  </a:lnTo>
                  <a:lnTo>
                    <a:pt x="30" y="273"/>
                  </a:lnTo>
                  <a:lnTo>
                    <a:pt x="23" y="295"/>
                  </a:lnTo>
                  <a:lnTo>
                    <a:pt x="16" y="316"/>
                  </a:lnTo>
                  <a:lnTo>
                    <a:pt x="11" y="338"/>
                  </a:lnTo>
                  <a:lnTo>
                    <a:pt x="7" y="360"/>
                  </a:lnTo>
                  <a:lnTo>
                    <a:pt x="3" y="383"/>
                  </a:lnTo>
                  <a:lnTo>
                    <a:pt x="1" y="405"/>
                  </a:lnTo>
                  <a:lnTo>
                    <a:pt x="0" y="429"/>
                  </a:lnTo>
                  <a:lnTo>
                    <a:pt x="0" y="453"/>
                  </a:lnTo>
                  <a:lnTo>
                    <a:pt x="2" y="475"/>
                  </a:lnTo>
                  <a:lnTo>
                    <a:pt x="4" y="499"/>
                  </a:lnTo>
                  <a:lnTo>
                    <a:pt x="8" y="522"/>
                  </a:lnTo>
                  <a:lnTo>
                    <a:pt x="12" y="544"/>
                  </a:lnTo>
                  <a:lnTo>
                    <a:pt x="17" y="566"/>
                  </a:lnTo>
                  <a:lnTo>
                    <a:pt x="24" y="587"/>
                  </a:lnTo>
                  <a:lnTo>
                    <a:pt x="31" y="609"/>
                  </a:lnTo>
                  <a:lnTo>
                    <a:pt x="40" y="630"/>
                  </a:lnTo>
                  <a:lnTo>
                    <a:pt x="50" y="651"/>
                  </a:lnTo>
                  <a:lnTo>
                    <a:pt x="60" y="671"/>
                  </a:lnTo>
                  <a:lnTo>
                    <a:pt x="71" y="690"/>
                  </a:lnTo>
                  <a:lnTo>
                    <a:pt x="84" y="710"/>
                  </a:lnTo>
                  <a:lnTo>
                    <a:pt x="97" y="728"/>
                  </a:lnTo>
                  <a:lnTo>
                    <a:pt x="111" y="746"/>
                  </a:lnTo>
                  <a:lnTo>
                    <a:pt x="125" y="763"/>
                  </a:lnTo>
                  <a:lnTo>
                    <a:pt x="141" y="780"/>
                  </a:lnTo>
                  <a:lnTo>
                    <a:pt x="147" y="786"/>
                  </a:lnTo>
                  <a:lnTo>
                    <a:pt x="155" y="791"/>
                  </a:lnTo>
                  <a:lnTo>
                    <a:pt x="163" y="796"/>
                  </a:lnTo>
                  <a:lnTo>
                    <a:pt x="170" y="799"/>
                  </a:lnTo>
                  <a:lnTo>
                    <a:pt x="179" y="802"/>
                  </a:lnTo>
                  <a:lnTo>
                    <a:pt x="186" y="804"/>
                  </a:lnTo>
                  <a:lnTo>
                    <a:pt x="195" y="805"/>
                  </a:lnTo>
                  <a:lnTo>
                    <a:pt x="204" y="807"/>
                  </a:lnTo>
                  <a:lnTo>
                    <a:pt x="213" y="805"/>
                  </a:lnTo>
                  <a:lnTo>
                    <a:pt x="222" y="804"/>
                  </a:lnTo>
                  <a:lnTo>
                    <a:pt x="230" y="802"/>
                  </a:lnTo>
                  <a:lnTo>
                    <a:pt x="238" y="799"/>
                  </a:lnTo>
                  <a:lnTo>
                    <a:pt x="246" y="796"/>
                  </a:lnTo>
                  <a:lnTo>
                    <a:pt x="254" y="791"/>
                  </a:lnTo>
                  <a:lnTo>
                    <a:pt x="260" y="786"/>
                  </a:lnTo>
                  <a:lnTo>
                    <a:pt x="268" y="780"/>
                  </a:lnTo>
                  <a:lnTo>
                    <a:pt x="273" y="773"/>
                  </a:lnTo>
                  <a:lnTo>
                    <a:pt x="279" y="766"/>
                  </a:lnTo>
                  <a:lnTo>
                    <a:pt x="284" y="758"/>
                  </a:lnTo>
                  <a:lnTo>
                    <a:pt x="287" y="750"/>
                  </a:lnTo>
                  <a:lnTo>
                    <a:pt x="291" y="742"/>
                  </a:lnTo>
                  <a:lnTo>
                    <a:pt x="293" y="733"/>
                  </a:lnTo>
                  <a:lnTo>
                    <a:pt x="294" y="725"/>
                  </a:lnTo>
                  <a:lnTo>
                    <a:pt x="294" y="716"/>
                  </a:lnTo>
                  <a:lnTo>
                    <a:pt x="294" y="708"/>
                  </a:lnTo>
                  <a:lnTo>
                    <a:pt x="293" y="699"/>
                  </a:lnTo>
                  <a:lnTo>
                    <a:pt x="291" y="690"/>
                  </a:lnTo>
                  <a:lnTo>
                    <a:pt x="287" y="683"/>
                  </a:lnTo>
                  <a:lnTo>
                    <a:pt x="284" y="674"/>
                  </a:lnTo>
                  <a:lnTo>
                    <a:pt x="279" y="667"/>
                  </a:lnTo>
                  <a:lnTo>
                    <a:pt x="273" y="659"/>
                  </a:lnTo>
                  <a:lnTo>
                    <a:pt x="268" y="653"/>
                  </a:lnTo>
                  <a:lnTo>
                    <a:pt x="260" y="644"/>
                  </a:lnTo>
                  <a:lnTo>
                    <a:pt x="254" y="636"/>
                  </a:lnTo>
                  <a:lnTo>
                    <a:pt x="251" y="628"/>
                  </a:lnTo>
                  <a:lnTo>
                    <a:pt x="248" y="620"/>
                  </a:lnTo>
                  <a:lnTo>
                    <a:pt x="248" y="614"/>
                  </a:lnTo>
                  <a:lnTo>
                    <a:pt x="248" y="608"/>
                  </a:lnTo>
                  <a:lnTo>
                    <a:pt x="250" y="603"/>
                  </a:lnTo>
                  <a:lnTo>
                    <a:pt x="253" y="599"/>
                  </a:lnTo>
                  <a:lnTo>
                    <a:pt x="258" y="594"/>
                  </a:lnTo>
                  <a:lnTo>
                    <a:pt x="261" y="594"/>
                  </a:lnTo>
                  <a:lnTo>
                    <a:pt x="265" y="594"/>
                  </a:lnTo>
                  <a:lnTo>
                    <a:pt x="271" y="597"/>
                  </a:lnTo>
                  <a:lnTo>
                    <a:pt x="280" y="603"/>
                  </a:lnTo>
                  <a:lnTo>
                    <a:pt x="292" y="614"/>
                  </a:lnTo>
                  <a:lnTo>
                    <a:pt x="457" y="780"/>
                  </a:lnTo>
                  <a:lnTo>
                    <a:pt x="466" y="787"/>
                  </a:lnTo>
                  <a:lnTo>
                    <a:pt x="473" y="795"/>
                  </a:lnTo>
                  <a:lnTo>
                    <a:pt x="483" y="801"/>
                  </a:lnTo>
                  <a:lnTo>
                    <a:pt x="492" y="808"/>
                  </a:lnTo>
                  <a:lnTo>
                    <a:pt x="501" y="814"/>
                  </a:lnTo>
                  <a:lnTo>
                    <a:pt x="511" y="819"/>
                  </a:lnTo>
                  <a:lnTo>
                    <a:pt x="521" y="824"/>
                  </a:lnTo>
                  <a:lnTo>
                    <a:pt x="530" y="828"/>
                  </a:lnTo>
                  <a:lnTo>
                    <a:pt x="541" y="832"/>
                  </a:lnTo>
                  <a:lnTo>
                    <a:pt x="552" y="836"/>
                  </a:lnTo>
                  <a:lnTo>
                    <a:pt x="563" y="839"/>
                  </a:lnTo>
                  <a:lnTo>
                    <a:pt x="573" y="841"/>
                  </a:lnTo>
                  <a:lnTo>
                    <a:pt x="584" y="843"/>
                  </a:lnTo>
                  <a:lnTo>
                    <a:pt x="596" y="844"/>
                  </a:lnTo>
                  <a:lnTo>
                    <a:pt x="607" y="845"/>
                  </a:lnTo>
                  <a:lnTo>
                    <a:pt x="619" y="845"/>
                  </a:lnTo>
                  <a:lnTo>
                    <a:pt x="630" y="845"/>
                  </a:lnTo>
                  <a:lnTo>
                    <a:pt x="642" y="844"/>
                  </a:lnTo>
                  <a:lnTo>
                    <a:pt x="653" y="843"/>
                  </a:lnTo>
                  <a:lnTo>
                    <a:pt x="664" y="841"/>
                  </a:lnTo>
                  <a:lnTo>
                    <a:pt x="676" y="839"/>
                  </a:lnTo>
                  <a:lnTo>
                    <a:pt x="686" y="836"/>
                  </a:lnTo>
                  <a:lnTo>
                    <a:pt x="696" y="832"/>
                  </a:lnTo>
                  <a:lnTo>
                    <a:pt x="707" y="828"/>
                  </a:lnTo>
                  <a:lnTo>
                    <a:pt x="718" y="824"/>
                  </a:lnTo>
                  <a:lnTo>
                    <a:pt x="727" y="819"/>
                  </a:lnTo>
                  <a:lnTo>
                    <a:pt x="737" y="814"/>
                  </a:lnTo>
                  <a:lnTo>
                    <a:pt x="746" y="808"/>
                  </a:lnTo>
                  <a:lnTo>
                    <a:pt x="755" y="801"/>
                  </a:lnTo>
                  <a:lnTo>
                    <a:pt x="764" y="795"/>
                  </a:lnTo>
                  <a:lnTo>
                    <a:pt x="772" y="787"/>
                  </a:lnTo>
                  <a:lnTo>
                    <a:pt x="780" y="780"/>
                  </a:lnTo>
                  <a:lnTo>
                    <a:pt x="796" y="763"/>
                  </a:lnTo>
                  <a:lnTo>
                    <a:pt x="810" y="746"/>
                  </a:lnTo>
                  <a:lnTo>
                    <a:pt x="824" y="728"/>
                  </a:lnTo>
                  <a:lnTo>
                    <a:pt x="837" y="710"/>
                  </a:lnTo>
                  <a:lnTo>
                    <a:pt x="848" y="691"/>
                  </a:lnTo>
                  <a:lnTo>
                    <a:pt x="858" y="672"/>
                  </a:lnTo>
                  <a:lnTo>
                    <a:pt x="868" y="653"/>
                  </a:lnTo>
                  <a:lnTo>
                    <a:pt x="876" y="632"/>
                  </a:lnTo>
                  <a:lnTo>
                    <a:pt x="883" y="612"/>
                  </a:lnTo>
                  <a:lnTo>
                    <a:pt x="890" y="591"/>
                  </a:lnTo>
                  <a:lnTo>
                    <a:pt x="895" y="570"/>
                  </a:lnTo>
                  <a:lnTo>
                    <a:pt x="898" y="550"/>
                  </a:lnTo>
                  <a:lnTo>
                    <a:pt x="901" y="528"/>
                  </a:lnTo>
                  <a:lnTo>
                    <a:pt x="904" y="506"/>
                  </a:lnTo>
                  <a:lnTo>
                    <a:pt x="905" y="485"/>
                  </a:lnTo>
                  <a:lnTo>
                    <a:pt x="905" y="462"/>
                  </a:lnTo>
                  <a:lnTo>
                    <a:pt x="904" y="441"/>
                  </a:lnTo>
                  <a:lnTo>
                    <a:pt x="901" y="419"/>
                  </a:lnTo>
                  <a:lnTo>
                    <a:pt x="898" y="398"/>
                  </a:lnTo>
                  <a:lnTo>
                    <a:pt x="895" y="376"/>
                  </a:lnTo>
                  <a:lnTo>
                    <a:pt x="890" y="355"/>
                  </a:lnTo>
                  <a:lnTo>
                    <a:pt x="883" y="333"/>
                  </a:lnTo>
                  <a:lnTo>
                    <a:pt x="876" y="313"/>
                  </a:lnTo>
                  <a:lnTo>
                    <a:pt x="868" y="291"/>
                  </a:lnTo>
                  <a:lnTo>
                    <a:pt x="858" y="271"/>
                  </a:lnTo>
                  <a:lnTo>
                    <a:pt x="849" y="252"/>
                  </a:lnTo>
                  <a:lnTo>
                    <a:pt x="837" y="231"/>
                  </a:lnTo>
                  <a:lnTo>
                    <a:pt x="825" y="212"/>
                  </a:lnTo>
                  <a:lnTo>
                    <a:pt x="811" y="194"/>
                  </a:lnTo>
                  <a:lnTo>
                    <a:pt x="797" y="175"/>
                  </a:lnTo>
                  <a:lnTo>
                    <a:pt x="782" y="157"/>
                  </a:lnTo>
                  <a:lnTo>
                    <a:pt x="765" y="140"/>
                  </a:lnTo>
                  <a:lnTo>
                    <a:pt x="76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4" name="Freeform 46">
              <a:extLst>
                <a:ext uri="{FF2B5EF4-FFF2-40B4-BE49-F238E27FC236}">
                  <a16:creationId xmlns:a16="http://schemas.microsoft.com/office/drawing/2014/main" id="{296C3DCC-F1AD-4694-A77B-36DD0BC61813}"/>
                </a:ext>
              </a:extLst>
            </p:cNvPr>
            <p:cNvSpPr>
              <a:spLocks noEditPoints="1"/>
            </p:cNvSpPr>
            <p:nvPr/>
          </p:nvSpPr>
          <p:spPr bwMode="auto">
            <a:xfrm>
              <a:off x="5078413" y="852488"/>
              <a:ext cx="47625" cy="47625"/>
            </a:xfrm>
            <a:custGeom>
              <a:avLst/>
              <a:gdLst>
                <a:gd name="T0" fmla="*/ 51 w 151"/>
                <a:gd name="T1" fmla="*/ 38 h 151"/>
                <a:gd name="T2" fmla="*/ 67 w 151"/>
                <a:gd name="T3" fmla="*/ 30 h 151"/>
                <a:gd name="T4" fmla="*/ 84 w 151"/>
                <a:gd name="T5" fmla="*/ 30 h 151"/>
                <a:gd name="T6" fmla="*/ 100 w 151"/>
                <a:gd name="T7" fmla="*/ 38 h 151"/>
                <a:gd name="T8" fmla="*/ 113 w 151"/>
                <a:gd name="T9" fmla="*/ 50 h 151"/>
                <a:gd name="T10" fmla="*/ 119 w 151"/>
                <a:gd name="T11" fmla="*/ 66 h 151"/>
                <a:gd name="T12" fmla="*/ 119 w 151"/>
                <a:gd name="T13" fmla="*/ 84 h 151"/>
                <a:gd name="T14" fmla="*/ 113 w 151"/>
                <a:gd name="T15" fmla="*/ 100 h 151"/>
                <a:gd name="T16" fmla="*/ 100 w 151"/>
                <a:gd name="T17" fmla="*/ 113 h 151"/>
                <a:gd name="T18" fmla="*/ 84 w 151"/>
                <a:gd name="T19" fmla="*/ 119 h 151"/>
                <a:gd name="T20" fmla="*/ 67 w 151"/>
                <a:gd name="T21" fmla="*/ 119 h 151"/>
                <a:gd name="T22" fmla="*/ 51 w 151"/>
                <a:gd name="T23" fmla="*/ 113 h 151"/>
                <a:gd name="T24" fmla="*/ 38 w 151"/>
                <a:gd name="T25" fmla="*/ 100 h 151"/>
                <a:gd name="T26" fmla="*/ 31 w 151"/>
                <a:gd name="T27" fmla="*/ 84 h 151"/>
                <a:gd name="T28" fmla="*/ 31 w 151"/>
                <a:gd name="T29" fmla="*/ 66 h 151"/>
                <a:gd name="T30" fmla="*/ 38 w 151"/>
                <a:gd name="T31" fmla="*/ 50 h 151"/>
                <a:gd name="T32" fmla="*/ 43 w 151"/>
                <a:gd name="T33" fmla="*/ 43 h 151"/>
                <a:gd name="T34" fmla="*/ 83 w 151"/>
                <a:gd name="T35" fmla="*/ 150 h 151"/>
                <a:gd name="T36" fmla="*/ 97 w 151"/>
                <a:gd name="T37" fmla="*/ 148 h 151"/>
                <a:gd name="T38" fmla="*/ 111 w 151"/>
                <a:gd name="T39" fmla="*/ 141 h 151"/>
                <a:gd name="T40" fmla="*/ 123 w 151"/>
                <a:gd name="T41" fmla="*/ 134 h 151"/>
                <a:gd name="T42" fmla="*/ 133 w 151"/>
                <a:gd name="T43" fmla="*/ 123 h 151"/>
                <a:gd name="T44" fmla="*/ 142 w 151"/>
                <a:gd name="T45" fmla="*/ 111 h 151"/>
                <a:gd name="T46" fmla="*/ 147 w 151"/>
                <a:gd name="T47" fmla="*/ 97 h 151"/>
                <a:gd name="T48" fmla="*/ 151 w 151"/>
                <a:gd name="T49" fmla="*/ 83 h 151"/>
                <a:gd name="T50" fmla="*/ 151 w 151"/>
                <a:gd name="T51" fmla="*/ 68 h 151"/>
                <a:gd name="T52" fmla="*/ 147 w 151"/>
                <a:gd name="T53" fmla="*/ 53 h 151"/>
                <a:gd name="T54" fmla="*/ 142 w 151"/>
                <a:gd name="T55" fmla="*/ 40 h 151"/>
                <a:gd name="T56" fmla="*/ 133 w 151"/>
                <a:gd name="T57" fmla="*/ 27 h 151"/>
                <a:gd name="T58" fmla="*/ 123 w 151"/>
                <a:gd name="T59" fmla="*/ 16 h 151"/>
                <a:gd name="T60" fmla="*/ 111 w 151"/>
                <a:gd name="T61" fmla="*/ 9 h 151"/>
                <a:gd name="T62" fmla="*/ 97 w 151"/>
                <a:gd name="T63" fmla="*/ 4 h 151"/>
                <a:gd name="T64" fmla="*/ 83 w 151"/>
                <a:gd name="T65" fmla="*/ 0 h 151"/>
                <a:gd name="T66" fmla="*/ 68 w 151"/>
                <a:gd name="T67" fmla="*/ 0 h 151"/>
                <a:gd name="T68" fmla="*/ 54 w 151"/>
                <a:gd name="T69" fmla="*/ 2 h 151"/>
                <a:gd name="T70" fmla="*/ 40 w 151"/>
                <a:gd name="T71" fmla="*/ 9 h 151"/>
                <a:gd name="T72" fmla="*/ 28 w 151"/>
                <a:gd name="T73" fmla="*/ 16 h 151"/>
                <a:gd name="T74" fmla="*/ 17 w 151"/>
                <a:gd name="T75" fmla="*/ 27 h 151"/>
                <a:gd name="T76" fmla="*/ 9 w 151"/>
                <a:gd name="T77" fmla="*/ 40 h 151"/>
                <a:gd name="T78" fmla="*/ 3 w 151"/>
                <a:gd name="T79" fmla="*/ 53 h 151"/>
                <a:gd name="T80" fmla="*/ 0 w 151"/>
                <a:gd name="T81" fmla="*/ 68 h 151"/>
                <a:gd name="T82" fmla="*/ 0 w 151"/>
                <a:gd name="T83" fmla="*/ 82 h 151"/>
                <a:gd name="T84" fmla="*/ 3 w 151"/>
                <a:gd name="T85" fmla="*/ 97 h 151"/>
                <a:gd name="T86" fmla="*/ 9 w 151"/>
                <a:gd name="T87" fmla="*/ 111 h 151"/>
                <a:gd name="T88" fmla="*/ 17 w 151"/>
                <a:gd name="T89" fmla="*/ 123 h 151"/>
                <a:gd name="T90" fmla="*/ 28 w 151"/>
                <a:gd name="T91" fmla="*/ 134 h 151"/>
                <a:gd name="T92" fmla="*/ 40 w 151"/>
                <a:gd name="T93" fmla="*/ 142 h 151"/>
                <a:gd name="T94" fmla="*/ 54 w 151"/>
                <a:gd name="T95" fmla="*/ 148 h 151"/>
                <a:gd name="T96" fmla="*/ 68 w 151"/>
                <a:gd name="T97" fmla="*/ 150 h 151"/>
                <a:gd name="T98" fmla="*/ 75 w 151"/>
                <a:gd name="T9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1">
                  <a:moveTo>
                    <a:pt x="43" y="43"/>
                  </a:moveTo>
                  <a:lnTo>
                    <a:pt x="51" y="38"/>
                  </a:lnTo>
                  <a:lnTo>
                    <a:pt x="58" y="34"/>
                  </a:lnTo>
                  <a:lnTo>
                    <a:pt x="67" y="30"/>
                  </a:lnTo>
                  <a:lnTo>
                    <a:pt x="75" y="30"/>
                  </a:lnTo>
                  <a:lnTo>
                    <a:pt x="84" y="30"/>
                  </a:lnTo>
                  <a:lnTo>
                    <a:pt x="93" y="34"/>
                  </a:lnTo>
                  <a:lnTo>
                    <a:pt x="100" y="38"/>
                  </a:lnTo>
                  <a:lnTo>
                    <a:pt x="108" y="43"/>
                  </a:lnTo>
                  <a:lnTo>
                    <a:pt x="113" y="50"/>
                  </a:lnTo>
                  <a:lnTo>
                    <a:pt x="117" y="57"/>
                  </a:lnTo>
                  <a:lnTo>
                    <a:pt x="119" y="66"/>
                  </a:lnTo>
                  <a:lnTo>
                    <a:pt x="120" y="76"/>
                  </a:lnTo>
                  <a:lnTo>
                    <a:pt x="119" y="84"/>
                  </a:lnTo>
                  <a:lnTo>
                    <a:pt x="117" y="93"/>
                  </a:lnTo>
                  <a:lnTo>
                    <a:pt x="113" y="100"/>
                  </a:lnTo>
                  <a:lnTo>
                    <a:pt x="108" y="107"/>
                  </a:lnTo>
                  <a:lnTo>
                    <a:pt x="100" y="113"/>
                  </a:lnTo>
                  <a:lnTo>
                    <a:pt x="93" y="116"/>
                  </a:lnTo>
                  <a:lnTo>
                    <a:pt x="84" y="119"/>
                  </a:lnTo>
                  <a:lnTo>
                    <a:pt x="75" y="120"/>
                  </a:lnTo>
                  <a:lnTo>
                    <a:pt x="67" y="119"/>
                  </a:lnTo>
                  <a:lnTo>
                    <a:pt x="58" y="116"/>
                  </a:lnTo>
                  <a:lnTo>
                    <a:pt x="51" y="113"/>
                  </a:lnTo>
                  <a:lnTo>
                    <a:pt x="43" y="107"/>
                  </a:lnTo>
                  <a:lnTo>
                    <a:pt x="38" y="100"/>
                  </a:lnTo>
                  <a:lnTo>
                    <a:pt x="33" y="93"/>
                  </a:lnTo>
                  <a:lnTo>
                    <a:pt x="31" y="84"/>
                  </a:lnTo>
                  <a:lnTo>
                    <a:pt x="30" y="76"/>
                  </a:lnTo>
                  <a:lnTo>
                    <a:pt x="31" y="66"/>
                  </a:lnTo>
                  <a:lnTo>
                    <a:pt x="33" y="57"/>
                  </a:lnTo>
                  <a:lnTo>
                    <a:pt x="38" y="50"/>
                  </a:lnTo>
                  <a:lnTo>
                    <a:pt x="43" y="43"/>
                  </a:lnTo>
                  <a:lnTo>
                    <a:pt x="43" y="43"/>
                  </a:lnTo>
                  <a:close/>
                  <a:moveTo>
                    <a:pt x="75" y="151"/>
                  </a:moveTo>
                  <a:lnTo>
                    <a:pt x="83" y="150"/>
                  </a:lnTo>
                  <a:lnTo>
                    <a:pt x="90" y="149"/>
                  </a:lnTo>
                  <a:lnTo>
                    <a:pt x="97" y="148"/>
                  </a:lnTo>
                  <a:lnTo>
                    <a:pt x="104" y="144"/>
                  </a:lnTo>
                  <a:lnTo>
                    <a:pt x="111" y="141"/>
                  </a:lnTo>
                  <a:lnTo>
                    <a:pt x="117" y="138"/>
                  </a:lnTo>
                  <a:lnTo>
                    <a:pt x="123" y="134"/>
                  </a:lnTo>
                  <a:lnTo>
                    <a:pt x="128" y="128"/>
                  </a:lnTo>
                  <a:lnTo>
                    <a:pt x="133" y="123"/>
                  </a:lnTo>
                  <a:lnTo>
                    <a:pt x="138" y="116"/>
                  </a:lnTo>
                  <a:lnTo>
                    <a:pt x="142" y="111"/>
                  </a:lnTo>
                  <a:lnTo>
                    <a:pt x="145" y="104"/>
                  </a:lnTo>
                  <a:lnTo>
                    <a:pt x="147" y="97"/>
                  </a:lnTo>
                  <a:lnTo>
                    <a:pt x="150" y="90"/>
                  </a:lnTo>
                  <a:lnTo>
                    <a:pt x="151" y="83"/>
                  </a:lnTo>
                  <a:lnTo>
                    <a:pt x="151" y="76"/>
                  </a:lnTo>
                  <a:lnTo>
                    <a:pt x="151" y="68"/>
                  </a:lnTo>
                  <a:lnTo>
                    <a:pt x="150" y="60"/>
                  </a:lnTo>
                  <a:lnTo>
                    <a:pt x="147" y="53"/>
                  </a:lnTo>
                  <a:lnTo>
                    <a:pt x="145" y="47"/>
                  </a:lnTo>
                  <a:lnTo>
                    <a:pt x="142" y="40"/>
                  </a:lnTo>
                  <a:lnTo>
                    <a:pt x="138" y="34"/>
                  </a:lnTo>
                  <a:lnTo>
                    <a:pt x="133" y="27"/>
                  </a:lnTo>
                  <a:lnTo>
                    <a:pt x="128" y="22"/>
                  </a:lnTo>
                  <a:lnTo>
                    <a:pt x="123" y="16"/>
                  </a:lnTo>
                  <a:lnTo>
                    <a:pt x="117" y="12"/>
                  </a:lnTo>
                  <a:lnTo>
                    <a:pt x="111" y="9"/>
                  </a:lnTo>
                  <a:lnTo>
                    <a:pt x="104" y="6"/>
                  </a:lnTo>
                  <a:lnTo>
                    <a:pt x="97" y="4"/>
                  </a:lnTo>
                  <a:lnTo>
                    <a:pt x="90" y="1"/>
                  </a:lnTo>
                  <a:lnTo>
                    <a:pt x="83" y="0"/>
                  </a:lnTo>
                  <a:lnTo>
                    <a:pt x="75" y="0"/>
                  </a:lnTo>
                  <a:lnTo>
                    <a:pt x="68" y="0"/>
                  </a:lnTo>
                  <a:lnTo>
                    <a:pt x="60" y="1"/>
                  </a:lnTo>
                  <a:lnTo>
                    <a:pt x="54" y="2"/>
                  </a:lnTo>
                  <a:lnTo>
                    <a:pt x="46" y="6"/>
                  </a:lnTo>
                  <a:lnTo>
                    <a:pt x="40" y="9"/>
                  </a:lnTo>
                  <a:lnTo>
                    <a:pt x="33" y="12"/>
                  </a:lnTo>
                  <a:lnTo>
                    <a:pt x="28" y="16"/>
                  </a:lnTo>
                  <a:lnTo>
                    <a:pt x="22" y="22"/>
                  </a:lnTo>
                  <a:lnTo>
                    <a:pt x="17" y="27"/>
                  </a:lnTo>
                  <a:lnTo>
                    <a:pt x="13" y="34"/>
                  </a:lnTo>
                  <a:lnTo>
                    <a:pt x="9" y="40"/>
                  </a:lnTo>
                  <a:lnTo>
                    <a:pt x="5" y="47"/>
                  </a:lnTo>
                  <a:lnTo>
                    <a:pt x="3" y="53"/>
                  </a:lnTo>
                  <a:lnTo>
                    <a:pt x="1" y="60"/>
                  </a:lnTo>
                  <a:lnTo>
                    <a:pt x="0" y="68"/>
                  </a:lnTo>
                  <a:lnTo>
                    <a:pt x="0" y="74"/>
                  </a:lnTo>
                  <a:lnTo>
                    <a:pt x="0" y="82"/>
                  </a:lnTo>
                  <a:lnTo>
                    <a:pt x="1" y="90"/>
                  </a:lnTo>
                  <a:lnTo>
                    <a:pt x="3" y="97"/>
                  </a:lnTo>
                  <a:lnTo>
                    <a:pt x="5" y="104"/>
                  </a:lnTo>
                  <a:lnTo>
                    <a:pt x="9" y="111"/>
                  </a:lnTo>
                  <a:lnTo>
                    <a:pt x="13" y="116"/>
                  </a:lnTo>
                  <a:lnTo>
                    <a:pt x="17" y="123"/>
                  </a:lnTo>
                  <a:lnTo>
                    <a:pt x="22" y="128"/>
                  </a:lnTo>
                  <a:lnTo>
                    <a:pt x="28" y="134"/>
                  </a:lnTo>
                  <a:lnTo>
                    <a:pt x="33" y="138"/>
                  </a:lnTo>
                  <a:lnTo>
                    <a:pt x="40" y="142"/>
                  </a:lnTo>
                  <a:lnTo>
                    <a:pt x="46" y="144"/>
                  </a:lnTo>
                  <a:lnTo>
                    <a:pt x="54" y="148"/>
                  </a:lnTo>
                  <a:lnTo>
                    <a:pt x="60" y="149"/>
                  </a:lnTo>
                  <a:lnTo>
                    <a:pt x="68" y="150"/>
                  </a:lnTo>
                  <a:lnTo>
                    <a:pt x="75" y="151"/>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5" name="Freeform 47">
              <a:extLst>
                <a:ext uri="{FF2B5EF4-FFF2-40B4-BE49-F238E27FC236}">
                  <a16:creationId xmlns:a16="http://schemas.microsoft.com/office/drawing/2014/main" id="{0490B166-D8A8-4EB3-9A12-FFE315F336AA}"/>
                </a:ext>
              </a:extLst>
            </p:cNvPr>
            <p:cNvSpPr>
              <a:spLocks noEditPoints="1"/>
            </p:cNvSpPr>
            <p:nvPr/>
          </p:nvSpPr>
          <p:spPr bwMode="auto">
            <a:xfrm>
              <a:off x="5116513" y="915988"/>
              <a:ext cx="38100" cy="38100"/>
            </a:xfrm>
            <a:custGeom>
              <a:avLst/>
              <a:gdLst>
                <a:gd name="T0" fmla="*/ 78 w 122"/>
                <a:gd name="T1" fmla="*/ 84 h 120"/>
                <a:gd name="T2" fmla="*/ 67 w 122"/>
                <a:gd name="T3" fmla="*/ 89 h 120"/>
                <a:gd name="T4" fmla="*/ 55 w 122"/>
                <a:gd name="T5" fmla="*/ 89 h 120"/>
                <a:gd name="T6" fmla="*/ 45 w 122"/>
                <a:gd name="T7" fmla="*/ 84 h 120"/>
                <a:gd name="T8" fmla="*/ 36 w 122"/>
                <a:gd name="T9" fmla="*/ 76 h 120"/>
                <a:gd name="T10" fmla="*/ 32 w 122"/>
                <a:gd name="T11" fmla="*/ 65 h 120"/>
                <a:gd name="T12" fmla="*/ 32 w 122"/>
                <a:gd name="T13" fmla="*/ 53 h 120"/>
                <a:gd name="T14" fmla="*/ 36 w 122"/>
                <a:gd name="T15" fmla="*/ 43 h 120"/>
                <a:gd name="T16" fmla="*/ 45 w 122"/>
                <a:gd name="T17" fmla="*/ 34 h 120"/>
                <a:gd name="T18" fmla="*/ 55 w 122"/>
                <a:gd name="T19" fmla="*/ 30 h 120"/>
                <a:gd name="T20" fmla="*/ 67 w 122"/>
                <a:gd name="T21" fmla="*/ 30 h 120"/>
                <a:gd name="T22" fmla="*/ 78 w 122"/>
                <a:gd name="T23" fmla="*/ 34 h 120"/>
                <a:gd name="T24" fmla="*/ 86 w 122"/>
                <a:gd name="T25" fmla="*/ 43 h 120"/>
                <a:gd name="T26" fmla="*/ 91 w 122"/>
                <a:gd name="T27" fmla="*/ 53 h 120"/>
                <a:gd name="T28" fmla="*/ 91 w 122"/>
                <a:gd name="T29" fmla="*/ 65 h 120"/>
                <a:gd name="T30" fmla="*/ 86 w 122"/>
                <a:gd name="T31" fmla="*/ 76 h 120"/>
                <a:gd name="T32" fmla="*/ 82 w 122"/>
                <a:gd name="T33" fmla="*/ 80 h 120"/>
                <a:gd name="T34" fmla="*/ 99 w 122"/>
                <a:gd name="T35" fmla="*/ 12 h 120"/>
                <a:gd name="T36" fmla="*/ 90 w 122"/>
                <a:gd name="T37" fmla="*/ 6 h 120"/>
                <a:gd name="T38" fmla="*/ 79 w 122"/>
                <a:gd name="T39" fmla="*/ 2 h 120"/>
                <a:gd name="T40" fmla="*/ 67 w 122"/>
                <a:gd name="T41" fmla="*/ 0 h 120"/>
                <a:gd name="T42" fmla="*/ 55 w 122"/>
                <a:gd name="T43" fmla="*/ 0 h 120"/>
                <a:gd name="T44" fmla="*/ 43 w 122"/>
                <a:gd name="T45" fmla="*/ 2 h 120"/>
                <a:gd name="T46" fmla="*/ 33 w 122"/>
                <a:gd name="T47" fmla="*/ 6 h 120"/>
                <a:gd name="T48" fmla="*/ 23 w 122"/>
                <a:gd name="T49" fmla="*/ 12 h 120"/>
                <a:gd name="T50" fmla="*/ 14 w 122"/>
                <a:gd name="T51" fmla="*/ 21 h 120"/>
                <a:gd name="T52" fmla="*/ 8 w 122"/>
                <a:gd name="T53" fmla="*/ 31 h 120"/>
                <a:gd name="T54" fmla="*/ 4 w 122"/>
                <a:gd name="T55" fmla="*/ 43 h 120"/>
                <a:gd name="T56" fmla="*/ 1 w 122"/>
                <a:gd name="T57" fmla="*/ 53 h 120"/>
                <a:gd name="T58" fmla="*/ 1 w 122"/>
                <a:gd name="T59" fmla="*/ 65 h 120"/>
                <a:gd name="T60" fmla="*/ 4 w 122"/>
                <a:gd name="T61" fmla="*/ 77 h 120"/>
                <a:gd name="T62" fmla="*/ 8 w 122"/>
                <a:gd name="T63" fmla="*/ 88 h 120"/>
                <a:gd name="T64" fmla="*/ 14 w 122"/>
                <a:gd name="T65" fmla="*/ 97 h 120"/>
                <a:gd name="T66" fmla="*/ 23 w 122"/>
                <a:gd name="T67" fmla="*/ 106 h 120"/>
                <a:gd name="T68" fmla="*/ 33 w 122"/>
                <a:gd name="T69" fmla="*/ 112 h 120"/>
                <a:gd name="T70" fmla="*/ 43 w 122"/>
                <a:gd name="T71" fmla="*/ 117 h 120"/>
                <a:gd name="T72" fmla="*/ 55 w 122"/>
                <a:gd name="T73" fmla="*/ 119 h 120"/>
                <a:gd name="T74" fmla="*/ 67 w 122"/>
                <a:gd name="T75" fmla="*/ 119 h 120"/>
                <a:gd name="T76" fmla="*/ 79 w 122"/>
                <a:gd name="T77" fmla="*/ 117 h 120"/>
                <a:gd name="T78" fmla="*/ 90 w 122"/>
                <a:gd name="T79" fmla="*/ 112 h 120"/>
                <a:gd name="T80" fmla="*/ 99 w 122"/>
                <a:gd name="T81" fmla="*/ 106 h 120"/>
                <a:gd name="T82" fmla="*/ 108 w 122"/>
                <a:gd name="T83" fmla="*/ 97 h 120"/>
                <a:gd name="T84" fmla="*/ 114 w 122"/>
                <a:gd name="T85" fmla="*/ 88 h 120"/>
                <a:gd name="T86" fmla="*/ 119 w 122"/>
                <a:gd name="T87" fmla="*/ 77 h 120"/>
                <a:gd name="T88" fmla="*/ 121 w 122"/>
                <a:gd name="T89" fmla="*/ 65 h 120"/>
                <a:gd name="T90" fmla="*/ 121 w 122"/>
                <a:gd name="T91" fmla="*/ 53 h 120"/>
                <a:gd name="T92" fmla="*/ 119 w 122"/>
                <a:gd name="T93" fmla="*/ 43 h 120"/>
                <a:gd name="T94" fmla="*/ 114 w 122"/>
                <a:gd name="T95" fmla="*/ 31 h 120"/>
                <a:gd name="T96" fmla="*/ 108 w 122"/>
                <a:gd name="T97" fmla="*/ 2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0">
                  <a:moveTo>
                    <a:pt x="82" y="80"/>
                  </a:moveTo>
                  <a:lnTo>
                    <a:pt x="78" y="84"/>
                  </a:lnTo>
                  <a:lnTo>
                    <a:pt x="72" y="87"/>
                  </a:lnTo>
                  <a:lnTo>
                    <a:pt x="67" y="89"/>
                  </a:lnTo>
                  <a:lnTo>
                    <a:pt x="61" y="89"/>
                  </a:lnTo>
                  <a:lnTo>
                    <a:pt x="55" y="89"/>
                  </a:lnTo>
                  <a:lnTo>
                    <a:pt x="50" y="87"/>
                  </a:lnTo>
                  <a:lnTo>
                    <a:pt x="45" y="84"/>
                  </a:lnTo>
                  <a:lnTo>
                    <a:pt x="40" y="80"/>
                  </a:lnTo>
                  <a:lnTo>
                    <a:pt x="36" y="76"/>
                  </a:lnTo>
                  <a:lnTo>
                    <a:pt x="34" y="70"/>
                  </a:lnTo>
                  <a:lnTo>
                    <a:pt x="32" y="65"/>
                  </a:lnTo>
                  <a:lnTo>
                    <a:pt x="31" y="59"/>
                  </a:lnTo>
                  <a:lnTo>
                    <a:pt x="32" y="53"/>
                  </a:lnTo>
                  <a:lnTo>
                    <a:pt x="34" y="48"/>
                  </a:lnTo>
                  <a:lnTo>
                    <a:pt x="36" y="43"/>
                  </a:lnTo>
                  <a:lnTo>
                    <a:pt x="40" y="38"/>
                  </a:lnTo>
                  <a:lnTo>
                    <a:pt x="45" y="34"/>
                  </a:lnTo>
                  <a:lnTo>
                    <a:pt x="50" y="32"/>
                  </a:lnTo>
                  <a:lnTo>
                    <a:pt x="55" y="30"/>
                  </a:lnTo>
                  <a:lnTo>
                    <a:pt x="61" y="30"/>
                  </a:lnTo>
                  <a:lnTo>
                    <a:pt x="67" y="30"/>
                  </a:lnTo>
                  <a:lnTo>
                    <a:pt x="72" y="32"/>
                  </a:lnTo>
                  <a:lnTo>
                    <a:pt x="78" y="34"/>
                  </a:lnTo>
                  <a:lnTo>
                    <a:pt x="82" y="38"/>
                  </a:lnTo>
                  <a:lnTo>
                    <a:pt x="86" y="43"/>
                  </a:lnTo>
                  <a:lnTo>
                    <a:pt x="90" y="48"/>
                  </a:lnTo>
                  <a:lnTo>
                    <a:pt x="91" y="53"/>
                  </a:lnTo>
                  <a:lnTo>
                    <a:pt x="92" y="60"/>
                  </a:lnTo>
                  <a:lnTo>
                    <a:pt x="91" y="65"/>
                  </a:lnTo>
                  <a:lnTo>
                    <a:pt x="90" y="70"/>
                  </a:lnTo>
                  <a:lnTo>
                    <a:pt x="86" y="76"/>
                  </a:lnTo>
                  <a:lnTo>
                    <a:pt x="82" y="80"/>
                  </a:lnTo>
                  <a:lnTo>
                    <a:pt x="82" y="80"/>
                  </a:lnTo>
                  <a:close/>
                  <a:moveTo>
                    <a:pt x="104" y="17"/>
                  </a:moveTo>
                  <a:lnTo>
                    <a:pt x="99" y="12"/>
                  </a:lnTo>
                  <a:lnTo>
                    <a:pt x="95" y="9"/>
                  </a:lnTo>
                  <a:lnTo>
                    <a:pt x="90" y="6"/>
                  </a:lnTo>
                  <a:lnTo>
                    <a:pt x="84" y="4"/>
                  </a:lnTo>
                  <a:lnTo>
                    <a:pt x="79" y="2"/>
                  </a:lnTo>
                  <a:lnTo>
                    <a:pt x="72" y="1"/>
                  </a:lnTo>
                  <a:lnTo>
                    <a:pt x="67" y="0"/>
                  </a:lnTo>
                  <a:lnTo>
                    <a:pt x="61" y="0"/>
                  </a:lnTo>
                  <a:lnTo>
                    <a:pt x="55" y="0"/>
                  </a:lnTo>
                  <a:lnTo>
                    <a:pt x="50" y="1"/>
                  </a:lnTo>
                  <a:lnTo>
                    <a:pt x="43" y="2"/>
                  </a:lnTo>
                  <a:lnTo>
                    <a:pt x="38" y="4"/>
                  </a:lnTo>
                  <a:lnTo>
                    <a:pt x="33" y="6"/>
                  </a:lnTo>
                  <a:lnTo>
                    <a:pt x="27" y="9"/>
                  </a:lnTo>
                  <a:lnTo>
                    <a:pt x="23" y="12"/>
                  </a:lnTo>
                  <a:lnTo>
                    <a:pt x="19" y="17"/>
                  </a:lnTo>
                  <a:lnTo>
                    <a:pt x="14" y="21"/>
                  </a:lnTo>
                  <a:lnTo>
                    <a:pt x="11" y="26"/>
                  </a:lnTo>
                  <a:lnTo>
                    <a:pt x="8" y="31"/>
                  </a:lnTo>
                  <a:lnTo>
                    <a:pt x="5" y="36"/>
                  </a:lnTo>
                  <a:lnTo>
                    <a:pt x="4" y="43"/>
                  </a:lnTo>
                  <a:lnTo>
                    <a:pt x="1" y="48"/>
                  </a:lnTo>
                  <a:lnTo>
                    <a:pt x="1" y="53"/>
                  </a:lnTo>
                  <a:lnTo>
                    <a:pt x="0" y="60"/>
                  </a:lnTo>
                  <a:lnTo>
                    <a:pt x="1" y="65"/>
                  </a:lnTo>
                  <a:lnTo>
                    <a:pt x="1" y="70"/>
                  </a:lnTo>
                  <a:lnTo>
                    <a:pt x="4" y="77"/>
                  </a:lnTo>
                  <a:lnTo>
                    <a:pt x="5" y="82"/>
                  </a:lnTo>
                  <a:lnTo>
                    <a:pt x="8" y="88"/>
                  </a:lnTo>
                  <a:lnTo>
                    <a:pt x="11" y="92"/>
                  </a:lnTo>
                  <a:lnTo>
                    <a:pt x="14" y="97"/>
                  </a:lnTo>
                  <a:lnTo>
                    <a:pt x="19" y="102"/>
                  </a:lnTo>
                  <a:lnTo>
                    <a:pt x="23" y="106"/>
                  </a:lnTo>
                  <a:lnTo>
                    <a:pt x="27" y="109"/>
                  </a:lnTo>
                  <a:lnTo>
                    <a:pt x="33" y="112"/>
                  </a:lnTo>
                  <a:lnTo>
                    <a:pt x="38" y="115"/>
                  </a:lnTo>
                  <a:lnTo>
                    <a:pt x="43" y="117"/>
                  </a:lnTo>
                  <a:lnTo>
                    <a:pt x="49" y="119"/>
                  </a:lnTo>
                  <a:lnTo>
                    <a:pt x="55" y="119"/>
                  </a:lnTo>
                  <a:lnTo>
                    <a:pt x="61" y="120"/>
                  </a:lnTo>
                  <a:lnTo>
                    <a:pt x="67" y="119"/>
                  </a:lnTo>
                  <a:lnTo>
                    <a:pt x="72" y="119"/>
                  </a:lnTo>
                  <a:lnTo>
                    <a:pt x="79" y="117"/>
                  </a:lnTo>
                  <a:lnTo>
                    <a:pt x="84" y="115"/>
                  </a:lnTo>
                  <a:lnTo>
                    <a:pt x="90" y="112"/>
                  </a:lnTo>
                  <a:lnTo>
                    <a:pt x="95" y="109"/>
                  </a:lnTo>
                  <a:lnTo>
                    <a:pt x="99" y="106"/>
                  </a:lnTo>
                  <a:lnTo>
                    <a:pt x="104" y="102"/>
                  </a:lnTo>
                  <a:lnTo>
                    <a:pt x="108" y="97"/>
                  </a:lnTo>
                  <a:lnTo>
                    <a:pt x="111" y="92"/>
                  </a:lnTo>
                  <a:lnTo>
                    <a:pt x="114" y="88"/>
                  </a:lnTo>
                  <a:lnTo>
                    <a:pt x="117" y="82"/>
                  </a:lnTo>
                  <a:lnTo>
                    <a:pt x="119" y="77"/>
                  </a:lnTo>
                  <a:lnTo>
                    <a:pt x="121" y="70"/>
                  </a:lnTo>
                  <a:lnTo>
                    <a:pt x="121" y="65"/>
                  </a:lnTo>
                  <a:lnTo>
                    <a:pt x="122" y="60"/>
                  </a:lnTo>
                  <a:lnTo>
                    <a:pt x="121" y="53"/>
                  </a:lnTo>
                  <a:lnTo>
                    <a:pt x="121" y="48"/>
                  </a:lnTo>
                  <a:lnTo>
                    <a:pt x="119" y="43"/>
                  </a:lnTo>
                  <a:lnTo>
                    <a:pt x="117" y="36"/>
                  </a:lnTo>
                  <a:lnTo>
                    <a:pt x="114" y="31"/>
                  </a:lnTo>
                  <a:lnTo>
                    <a:pt x="111" y="26"/>
                  </a:lnTo>
                  <a:lnTo>
                    <a:pt x="108" y="21"/>
                  </a:lnTo>
                  <a:lnTo>
                    <a:pt x="10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6" name="Freeform 48">
              <a:extLst>
                <a:ext uri="{FF2B5EF4-FFF2-40B4-BE49-F238E27FC236}">
                  <a16:creationId xmlns:a16="http://schemas.microsoft.com/office/drawing/2014/main" id="{FB3EDBFA-8240-4C62-B647-7B82D2A4C2C7}"/>
                </a:ext>
              </a:extLst>
            </p:cNvPr>
            <p:cNvSpPr>
              <a:spLocks noEditPoints="1"/>
            </p:cNvSpPr>
            <p:nvPr/>
          </p:nvSpPr>
          <p:spPr bwMode="auto">
            <a:xfrm>
              <a:off x="5073650" y="966788"/>
              <a:ext cx="57150" cy="57150"/>
            </a:xfrm>
            <a:custGeom>
              <a:avLst/>
              <a:gdLst>
                <a:gd name="T0" fmla="*/ 124 w 181"/>
                <a:gd name="T1" fmla="*/ 140 h 181"/>
                <a:gd name="T2" fmla="*/ 108 w 181"/>
                <a:gd name="T3" fmla="*/ 148 h 181"/>
                <a:gd name="T4" fmla="*/ 90 w 181"/>
                <a:gd name="T5" fmla="*/ 151 h 181"/>
                <a:gd name="T6" fmla="*/ 73 w 181"/>
                <a:gd name="T7" fmla="*/ 148 h 181"/>
                <a:gd name="T8" fmla="*/ 57 w 181"/>
                <a:gd name="T9" fmla="*/ 140 h 181"/>
                <a:gd name="T10" fmla="*/ 44 w 181"/>
                <a:gd name="T11" fmla="*/ 129 h 181"/>
                <a:gd name="T12" fmla="*/ 34 w 181"/>
                <a:gd name="T13" fmla="*/ 113 h 181"/>
                <a:gd name="T14" fmla="*/ 30 w 181"/>
                <a:gd name="T15" fmla="*/ 96 h 181"/>
                <a:gd name="T16" fmla="*/ 31 w 181"/>
                <a:gd name="T17" fmla="*/ 79 h 181"/>
                <a:gd name="T18" fmla="*/ 37 w 181"/>
                <a:gd name="T19" fmla="*/ 62 h 181"/>
                <a:gd name="T20" fmla="*/ 47 w 181"/>
                <a:gd name="T21" fmla="*/ 48 h 181"/>
                <a:gd name="T22" fmla="*/ 62 w 181"/>
                <a:gd name="T23" fmla="*/ 37 h 181"/>
                <a:gd name="T24" fmla="*/ 78 w 181"/>
                <a:gd name="T25" fmla="*/ 32 h 181"/>
                <a:gd name="T26" fmla="*/ 97 w 181"/>
                <a:gd name="T27" fmla="*/ 31 h 181"/>
                <a:gd name="T28" fmla="*/ 113 w 181"/>
                <a:gd name="T29" fmla="*/ 35 h 181"/>
                <a:gd name="T30" fmla="*/ 129 w 181"/>
                <a:gd name="T31" fmla="*/ 44 h 181"/>
                <a:gd name="T32" fmla="*/ 141 w 181"/>
                <a:gd name="T33" fmla="*/ 56 h 181"/>
                <a:gd name="T34" fmla="*/ 148 w 181"/>
                <a:gd name="T35" fmla="*/ 73 h 181"/>
                <a:gd name="T36" fmla="*/ 151 w 181"/>
                <a:gd name="T37" fmla="*/ 91 h 181"/>
                <a:gd name="T38" fmla="*/ 148 w 181"/>
                <a:gd name="T39" fmla="*/ 108 h 181"/>
                <a:gd name="T40" fmla="*/ 141 w 181"/>
                <a:gd name="T41" fmla="*/ 124 h 181"/>
                <a:gd name="T42" fmla="*/ 90 w 181"/>
                <a:gd name="T43" fmla="*/ 0 h 181"/>
                <a:gd name="T44" fmla="*/ 63 w 181"/>
                <a:gd name="T45" fmla="*/ 4 h 181"/>
                <a:gd name="T46" fmla="*/ 40 w 181"/>
                <a:gd name="T47" fmla="*/ 16 h 181"/>
                <a:gd name="T48" fmla="*/ 20 w 181"/>
                <a:gd name="T49" fmla="*/ 33 h 181"/>
                <a:gd name="T50" fmla="*/ 6 w 181"/>
                <a:gd name="T51" fmla="*/ 55 h 181"/>
                <a:gd name="T52" fmla="*/ 0 w 181"/>
                <a:gd name="T53" fmla="*/ 81 h 181"/>
                <a:gd name="T54" fmla="*/ 1 w 181"/>
                <a:gd name="T55" fmla="*/ 108 h 181"/>
                <a:gd name="T56" fmla="*/ 11 w 181"/>
                <a:gd name="T57" fmla="*/ 133 h 181"/>
                <a:gd name="T58" fmla="*/ 27 w 181"/>
                <a:gd name="T59" fmla="*/ 154 h 181"/>
                <a:gd name="T60" fmla="*/ 47 w 181"/>
                <a:gd name="T61" fmla="*/ 170 h 181"/>
                <a:gd name="T62" fmla="*/ 72 w 181"/>
                <a:gd name="T63" fmla="*/ 179 h 181"/>
                <a:gd name="T64" fmla="*/ 99 w 181"/>
                <a:gd name="T65" fmla="*/ 180 h 181"/>
                <a:gd name="T66" fmla="*/ 125 w 181"/>
                <a:gd name="T67" fmla="*/ 174 h 181"/>
                <a:gd name="T68" fmla="*/ 147 w 181"/>
                <a:gd name="T69" fmla="*/ 161 h 181"/>
                <a:gd name="T70" fmla="*/ 166 w 181"/>
                <a:gd name="T71" fmla="*/ 140 h 181"/>
                <a:gd name="T72" fmla="*/ 176 w 181"/>
                <a:gd name="T73" fmla="*/ 117 h 181"/>
                <a:gd name="T74" fmla="*/ 181 w 181"/>
                <a:gd name="T75" fmla="*/ 91 h 181"/>
                <a:gd name="T76" fmla="*/ 176 w 181"/>
                <a:gd name="T77" fmla="*/ 64 h 181"/>
                <a:gd name="T78" fmla="*/ 166 w 181"/>
                <a:gd name="T79" fmla="*/ 40 h 181"/>
                <a:gd name="T80" fmla="*/ 147 w 181"/>
                <a:gd name="T81" fmla="*/ 20 h 181"/>
                <a:gd name="T82" fmla="*/ 125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133" y="133"/>
                  </a:moveTo>
                  <a:lnTo>
                    <a:pt x="129" y="137"/>
                  </a:lnTo>
                  <a:lnTo>
                    <a:pt x="124" y="140"/>
                  </a:lnTo>
                  <a:lnTo>
                    <a:pt x="118" y="144"/>
                  </a:lnTo>
                  <a:lnTo>
                    <a:pt x="113" y="146"/>
                  </a:lnTo>
                  <a:lnTo>
                    <a:pt x="108" y="148"/>
                  </a:lnTo>
                  <a:lnTo>
                    <a:pt x="102" y="150"/>
                  </a:lnTo>
                  <a:lnTo>
                    <a:pt x="97" y="150"/>
                  </a:lnTo>
                  <a:lnTo>
                    <a:pt x="90" y="151"/>
                  </a:lnTo>
                  <a:lnTo>
                    <a:pt x="84" y="150"/>
                  </a:lnTo>
                  <a:lnTo>
                    <a:pt x="78" y="150"/>
                  </a:lnTo>
                  <a:lnTo>
                    <a:pt x="73" y="148"/>
                  </a:lnTo>
                  <a:lnTo>
                    <a:pt x="67" y="146"/>
                  </a:lnTo>
                  <a:lnTo>
                    <a:pt x="62" y="144"/>
                  </a:lnTo>
                  <a:lnTo>
                    <a:pt x="57" y="140"/>
                  </a:lnTo>
                  <a:lnTo>
                    <a:pt x="52" y="137"/>
                  </a:lnTo>
                  <a:lnTo>
                    <a:pt x="47" y="133"/>
                  </a:lnTo>
                  <a:lnTo>
                    <a:pt x="44" y="129"/>
                  </a:lnTo>
                  <a:lnTo>
                    <a:pt x="40" y="124"/>
                  </a:lnTo>
                  <a:lnTo>
                    <a:pt x="37" y="119"/>
                  </a:lnTo>
                  <a:lnTo>
                    <a:pt x="34" y="113"/>
                  </a:lnTo>
                  <a:lnTo>
                    <a:pt x="32" y="108"/>
                  </a:lnTo>
                  <a:lnTo>
                    <a:pt x="31" y="103"/>
                  </a:lnTo>
                  <a:lnTo>
                    <a:pt x="30" y="96"/>
                  </a:lnTo>
                  <a:lnTo>
                    <a:pt x="30" y="91"/>
                  </a:lnTo>
                  <a:lnTo>
                    <a:pt x="30" y="84"/>
                  </a:lnTo>
                  <a:lnTo>
                    <a:pt x="31" y="79"/>
                  </a:lnTo>
                  <a:lnTo>
                    <a:pt x="32" y="73"/>
                  </a:lnTo>
                  <a:lnTo>
                    <a:pt x="34" y="67"/>
                  </a:lnTo>
                  <a:lnTo>
                    <a:pt x="37" y="62"/>
                  </a:lnTo>
                  <a:lnTo>
                    <a:pt x="40" y="56"/>
                  </a:lnTo>
                  <a:lnTo>
                    <a:pt x="44" y="52"/>
                  </a:lnTo>
                  <a:lnTo>
                    <a:pt x="47" y="48"/>
                  </a:lnTo>
                  <a:lnTo>
                    <a:pt x="52" y="44"/>
                  </a:lnTo>
                  <a:lnTo>
                    <a:pt x="57" y="40"/>
                  </a:lnTo>
                  <a:lnTo>
                    <a:pt x="62" y="37"/>
                  </a:lnTo>
                  <a:lnTo>
                    <a:pt x="67" y="35"/>
                  </a:lnTo>
                  <a:lnTo>
                    <a:pt x="73" y="33"/>
                  </a:lnTo>
                  <a:lnTo>
                    <a:pt x="78" y="32"/>
                  </a:lnTo>
                  <a:lnTo>
                    <a:pt x="84" y="31"/>
                  </a:lnTo>
                  <a:lnTo>
                    <a:pt x="90" y="31"/>
                  </a:lnTo>
                  <a:lnTo>
                    <a:pt x="97" y="31"/>
                  </a:lnTo>
                  <a:lnTo>
                    <a:pt x="102" y="32"/>
                  </a:lnTo>
                  <a:lnTo>
                    <a:pt x="108" y="33"/>
                  </a:lnTo>
                  <a:lnTo>
                    <a:pt x="113" y="35"/>
                  </a:lnTo>
                  <a:lnTo>
                    <a:pt x="118" y="37"/>
                  </a:lnTo>
                  <a:lnTo>
                    <a:pt x="124" y="40"/>
                  </a:lnTo>
                  <a:lnTo>
                    <a:pt x="129" y="44"/>
                  </a:lnTo>
                  <a:lnTo>
                    <a:pt x="133" y="48"/>
                  </a:lnTo>
                  <a:lnTo>
                    <a:pt x="137" y="52"/>
                  </a:lnTo>
                  <a:lnTo>
                    <a:pt x="141" y="56"/>
                  </a:lnTo>
                  <a:lnTo>
                    <a:pt x="143" y="62"/>
                  </a:lnTo>
                  <a:lnTo>
                    <a:pt x="146" y="67"/>
                  </a:lnTo>
                  <a:lnTo>
                    <a:pt x="148" y="73"/>
                  </a:lnTo>
                  <a:lnTo>
                    <a:pt x="149" y="79"/>
                  </a:lnTo>
                  <a:lnTo>
                    <a:pt x="151" y="84"/>
                  </a:lnTo>
                  <a:lnTo>
                    <a:pt x="151" y="91"/>
                  </a:lnTo>
                  <a:lnTo>
                    <a:pt x="151" y="96"/>
                  </a:lnTo>
                  <a:lnTo>
                    <a:pt x="149" y="103"/>
                  </a:lnTo>
                  <a:lnTo>
                    <a:pt x="148" y="108"/>
                  </a:lnTo>
                  <a:lnTo>
                    <a:pt x="146" y="113"/>
                  </a:lnTo>
                  <a:lnTo>
                    <a:pt x="143" y="119"/>
                  </a:lnTo>
                  <a:lnTo>
                    <a:pt x="141" y="124"/>
                  </a:lnTo>
                  <a:lnTo>
                    <a:pt x="137" y="129"/>
                  </a:lnTo>
                  <a:lnTo>
                    <a:pt x="133" y="133"/>
                  </a:lnTo>
                  <a:close/>
                  <a:moveTo>
                    <a:pt x="90" y="0"/>
                  </a:moveTo>
                  <a:lnTo>
                    <a:pt x="82" y="1"/>
                  </a:lnTo>
                  <a:lnTo>
                    <a:pt x="72" y="2"/>
                  </a:lnTo>
                  <a:lnTo>
                    <a:pt x="63" y="4"/>
                  </a:lnTo>
                  <a:lnTo>
                    <a:pt x="56" y="7"/>
                  </a:lnTo>
                  <a:lnTo>
                    <a:pt x="47" y="10"/>
                  </a:lnTo>
                  <a:lnTo>
                    <a:pt x="40" y="16"/>
                  </a:lnTo>
                  <a:lnTo>
                    <a:pt x="33" y="20"/>
                  </a:lnTo>
                  <a:lnTo>
                    <a:pt x="27" y="26"/>
                  </a:lnTo>
                  <a:lnTo>
                    <a:pt x="20" y="33"/>
                  </a:lnTo>
                  <a:lnTo>
                    <a:pt x="15" y="40"/>
                  </a:lnTo>
                  <a:lnTo>
                    <a:pt x="11" y="48"/>
                  </a:lnTo>
                  <a:lnTo>
                    <a:pt x="6" y="55"/>
                  </a:lnTo>
                  <a:lnTo>
                    <a:pt x="3" y="64"/>
                  </a:lnTo>
                  <a:lnTo>
                    <a:pt x="1" y="73"/>
                  </a:lnTo>
                  <a:lnTo>
                    <a:pt x="0" y="81"/>
                  </a:lnTo>
                  <a:lnTo>
                    <a:pt x="0" y="91"/>
                  </a:lnTo>
                  <a:lnTo>
                    <a:pt x="0" y="100"/>
                  </a:lnTo>
                  <a:lnTo>
                    <a:pt x="1" y="108"/>
                  </a:lnTo>
                  <a:lnTo>
                    <a:pt x="3" y="117"/>
                  </a:lnTo>
                  <a:lnTo>
                    <a:pt x="6" y="125"/>
                  </a:lnTo>
                  <a:lnTo>
                    <a:pt x="11" y="133"/>
                  </a:lnTo>
                  <a:lnTo>
                    <a:pt x="15" y="140"/>
                  </a:lnTo>
                  <a:lnTo>
                    <a:pt x="20" y="148"/>
                  </a:lnTo>
                  <a:lnTo>
                    <a:pt x="27" y="154"/>
                  </a:lnTo>
                  <a:lnTo>
                    <a:pt x="33" y="161"/>
                  </a:lnTo>
                  <a:lnTo>
                    <a:pt x="40" y="166"/>
                  </a:lnTo>
                  <a:lnTo>
                    <a:pt x="47" y="170"/>
                  </a:lnTo>
                  <a:lnTo>
                    <a:pt x="56" y="174"/>
                  </a:lnTo>
                  <a:lnTo>
                    <a:pt x="63" y="177"/>
                  </a:lnTo>
                  <a:lnTo>
                    <a:pt x="72" y="179"/>
                  </a:lnTo>
                  <a:lnTo>
                    <a:pt x="82" y="180"/>
                  </a:lnTo>
                  <a:lnTo>
                    <a:pt x="90" y="181"/>
                  </a:lnTo>
                  <a:lnTo>
                    <a:pt x="99" y="180"/>
                  </a:lnTo>
                  <a:lnTo>
                    <a:pt x="109" y="179"/>
                  </a:lnTo>
                  <a:lnTo>
                    <a:pt x="116" y="177"/>
                  </a:lnTo>
                  <a:lnTo>
                    <a:pt x="125" y="174"/>
                  </a:lnTo>
                  <a:lnTo>
                    <a:pt x="133" y="170"/>
                  </a:lnTo>
                  <a:lnTo>
                    <a:pt x="141" y="166"/>
                  </a:lnTo>
                  <a:lnTo>
                    <a:pt x="147" y="161"/>
                  </a:lnTo>
                  <a:lnTo>
                    <a:pt x="154" y="154"/>
                  </a:lnTo>
                  <a:lnTo>
                    <a:pt x="160" y="148"/>
                  </a:lnTo>
                  <a:lnTo>
                    <a:pt x="166" y="140"/>
                  </a:lnTo>
                  <a:lnTo>
                    <a:pt x="170" y="133"/>
                  </a:lnTo>
                  <a:lnTo>
                    <a:pt x="174" y="125"/>
                  </a:lnTo>
                  <a:lnTo>
                    <a:pt x="176" y="117"/>
                  </a:lnTo>
                  <a:lnTo>
                    <a:pt x="179" y="108"/>
                  </a:lnTo>
                  <a:lnTo>
                    <a:pt x="181" y="100"/>
                  </a:lnTo>
                  <a:lnTo>
                    <a:pt x="181" y="91"/>
                  </a:lnTo>
                  <a:lnTo>
                    <a:pt x="181" y="81"/>
                  </a:lnTo>
                  <a:lnTo>
                    <a:pt x="179" y="73"/>
                  </a:lnTo>
                  <a:lnTo>
                    <a:pt x="176" y="64"/>
                  </a:lnTo>
                  <a:lnTo>
                    <a:pt x="174" y="55"/>
                  </a:lnTo>
                  <a:lnTo>
                    <a:pt x="170" y="48"/>
                  </a:lnTo>
                  <a:lnTo>
                    <a:pt x="166" y="40"/>
                  </a:lnTo>
                  <a:lnTo>
                    <a:pt x="160" y="33"/>
                  </a:lnTo>
                  <a:lnTo>
                    <a:pt x="154" y="26"/>
                  </a:lnTo>
                  <a:lnTo>
                    <a:pt x="147" y="20"/>
                  </a:lnTo>
                  <a:lnTo>
                    <a:pt x="141" y="16"/>
                  </a:lnTo>
                  <a:lnTo>
                    <a:pt x="133" y="10"/>
                  </a:lnTo>
                  <a:lnTo>
                    <a:pt x="125" y="7"/>
                  </a:lnTo>
                  <a:lnTo>
                    <a:pt x="116" y="4"/>
                  </a:lnTo>
                  <a:lnTo>
                    <a:pt x="109" y="2"/>
                  </a:lnTo>
                  <a:lnTo>
                    <a:pt x="99" y="1"/>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97" name="Freeform 49">
              <a:extLst>
                <a:ext uri="{FF2B5EF4-FFF2-40B4-BE49-F238E27FC236}">
                  <a16:creationId xmlns:a16="http://schemas.microsoft.com/office/drawing/2014/main" id="{15EC6D21-5F58-455E-BA02-97F8C0994BFE}"/>
                </a:ext>
              </a:extLst>
            </p:cNvPr>
            <p:cNvSpPr>
              <a:spLocks noEditPoints="1"/>
            </p:cNvSpPr>
            <p:nvPr/>
          </p:nvSpPr>
          <p:spPr bwMode="auto">
            <a:xfrm>
              <a:off x="5002213" y="838200"/>
              <a:ext cx="49213" cy="49213"/>
            </a:xfrm>
            <a:custGeom>
              <a:avLst/>
              <a:gdLst>
                <a:gd name="T0" fmla="*/ 100 w 151"/>
                <a:gd name="T1" fmla="*/ 113 h 151"/>
                <a:gd name="T2" fmla="*/ 84 w 151"/>
                <a:gd name="T3" fmla="*/ 120 h 151"/>
                <a:gd name="T4" fmla="*/ 67 w 151"/>
                <a:gd name="T5" fmla="*/ 120 h 151"/>
                <a:gd name="T6" fmla="*/ 51 w 151"/>
                <a:gd name="T7" fmla="*/ 113 h 151"/>
                <a:gd name="T8" fmla="*/ 38 w 151"/>
                <a:gd name="T9" fmla="*/ 100 h 151"/>
                <a:gd name="T10" fmla="*/ 32 w 151"/>
                <a:gd name="T11" fmla="*/ 84 h 151"/>
                <a:gd name="T12" fmla="*/ 32 w 151"/>
                <a:gd name="T13" fmla="*/ 67 h 151"/>
                <a:gd name="T14" fmla="*/ 38 w 151"/>
                <a:gd name="T15" fmla="*/ 51 h 151"/>
                <a:gd name="T16" fmla="*/ 51 w 151"/>
                <a:gd name="T17" fmla="*/ 38 h 151"/>
                <a:gd name="T18" fmla="*/ 67 w 151"/>
                <a:gd name="T19" fmla="*/ 32 h 151"/>
                <a:gd name="T20" fmla="*/ 84 w 151"/>
                <a:gd name="T21" fmla="*/ 32 h 151"/>
                <a:gd name="T22" fmla="*/ 100 w 151"/>
                <a:gd name="T23" fmla="*/ 38 h 151"/>
                <a:gd name="T24" fmla="*/ 113 w 151"/>
                <a:gd name="T25" fmla="*/ 51 h 151"/>
                <a:gd name="T26" fmla="*/ 120 w 151"/>
                <a:gd name="T27" fmla="*/ 67 h 151"/>
                <a:gd name="T28" fmla="*/ 120 w 151"/>
                <a:gd name="T29" fmla="*/ 84 h 151"/>
                <a:gd name="T30" fmla="*/ 113 w 151"/>
                <a:gd name="T31" fmla="*/ 100 h 151"/>
                <a:gd name="T32" fmla="*/ 76 w 151"/>
                <a:gd name="T33" fmla="*/ 0 h 151"/>
                <a:gd name="T34" fmla="*/ 61 w 151"/>
                <a:gd name="T35" fmla="*/ 1 h 151"/>
                <a:gd name="T36" fmla="*/ 47 w 151"/>
                <a:gd name="T37" fmla="*/ 6 h 151"/>
                <a:gd name="T38" fmla="*/ 34 w 151"/>
                <a:gd name="T39" fmla="*/ 13 h 151"/>
                <a:gd name="T40" fmla="*/ 22 w 151"/>
                <a:gd name="T41" fmla="*/ 22 h 151"/>
                <a:gd name="T42" fmla="*/ 13 w 151"/>
                <a:gd name="T43" fmla="*/ 34 h 151"/>
                <a:gd name="T44" fmla="*/ 6 w 151"/>
                <a:gd name="T45" fmla="*/ 47 h 151"/>
                <a:gd name="T46" fmla="*/ 1 w 151"/>
                <a:gd name="T47" fmla="*/ 61 h 151"/>
                <a:gd name="T48" fmla="*/ 0 w 151"/>
                <a:gd name="T49" fmla="*/ 76 h 151"/>
                <a:gd name="T50" fmla="*/ 1 w 151"/>
                <a:gd name="T51" fmla="*/ 91 h 151"/>
                <a:gd name="T52" fmla="*/ 6 w 151"/>
                <a:gd name="T53" fmla="*/ 105 h 151"/>
                <a:gd name="T54" fmla="*/ 13 w 151"/>
                <a:gd name="T55" fmla="*/ 118 h 151"/>
                <a:gd name="T56" fmla="*/ 22 w 151"/>
                <a:gd name="T57" fmla="*/ 129 h 151"/>
                <a:gd name="T58" fmla="*/ 34 w 151"/>
                <a:gd name="T59" fmla="*/ 138 h 151"/>
                <a:gd name="T60" fmla="*/ 47 w 151"/>
                <a:gd name="T61" fmla="*/ 146 h 151"/>
                <a:gd name="T62" fmla="*/ 61 w 151"/>
                <a:gd name="T63" fmla="*/ 150 h 151"/>
                <a:gd name="T64" fmla="*/ 76 w 151"/>
                <a:gd name="T65" fmla="*/ 151 h 151"/>
                <a:gd name="T66" fmla="*/ 91 w 151"/>
                <a:gd name="T67" fmla="*/ 150 h 151"/>
                <a:gd name="T68" fmla="*/ 105 w 151"/>
                <a:gd name="T69" fmla="*/ 146 h 151"/>
                <a:gd name="T70" fmla="*/ 118 w 151"/>
                <a:gd name="T71" fmla="*/ 138 h 151"/>
                <a:gd name="T72" fmla="*/ 128 w 151"/>
                <a:gd name="T73" fmla="*/ 129 h 151"/>
                <a:gd name="T74" fmla="*/ 138 w 151"/>
                <a:gd name="T75" fmla="*/ 118 h 151"/>
                <a:gd name="T76" fmla="*/ 146 w 151"/>
                <a:gd name="T77" fmla="*/ 105 h 151"/>
                <a:gd name="T78" fmla="*/ 150 w 151"/>
                <a:gd name="T79" fmla="*/ 91 h 151"/>
                <a:gd name="T80" fmla="*/ 151 w 151"/>
                <a:gd name="T81" fmla="*/ 76 h 151"/>
                <a:gd name="T82" fmla="*/ 150 w 151"/>
                <a:gd name="T83" fmla="*/ 61 h 151"/>
                <a:gd name="T84" fmla="*/ 146 w 151"/>
                <a:gd name="T85" fmla="*/ 47 h 151"/>
                <a:gd name="T86" fmla="*/ 138 w 151"/>
                <a:gd name="T87" fmla="*/ 34 h 151"/>
                <a:gd name="T88" fmla="*/ 128 w 151"/>
                <a:gd name="T89" fmla="*/ 23 h 151"/>
                <a:gd name="T90" fmla="*/ 118 w 151"/>
                <a:gd name="T91" fmla="*/ 13 h 151"/>
                <a:gd name="T92" fmla="*/ 105 w 151"/>
                <a:gd name="T93" fmla="*/ 6 h 151"/>
                <a:gd name="T94" fmla="*/ 91 w 151"/>
                <a:gd name="T95" fmla="*/ 1 h 151"/>
                <a:gd name="T96" fmla="*/ 76 w 151"/>
                <a:gd name="T9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108" y="108"/>
                  </a:moveTo>
                  <a:lnTo>
                    <a:pt x="100" y="113"/>
                  </a:lnTo>
                  <a:lnTo>
                    <a:pt x="93" y="118"/>
                  </a:lnTo>
                  <a:lnTo>
                    <a:pt x="84" y="120"/>
                  </a:lnTo>
                  <a:lnTo>
                    <a:pt x="76" y="121"/>
                  </a:lnTo>
                  <a:lnTo>
                    <a:pt x="67" y="120"/>
                  </a:lnTo>
                  <a:lnTo>
                    <a:pt x="58" y="118"/>
                  </a:lnTo>
                  <a:lnTo>
                    <a:pt x="51" y="113"/>
                  </a:lnTo>
                  <a:lnTo>
                    <a:pt x="43" y="108"/>
                  </a:lnTo>
                  <a:lnTo>
                    <a:pt x="38" y="100"/>
                  </a:lnTo>
                  <a:lnTo>
                    <a:pt x="34" y="93"/>
                  </a:lnTo>
                  <a:lnTo>
                    <a:pt x="32" y="84"/>
                  </a:lnTo>
                  <a:lnTo>
                    <a:pt x="30" y="76"/>
                  </a:lnTo>
                  <a:lnTo>
                    <a:pt x="32" y="67"/>
                  </a:lnTo>
                  <a:lnTo>
                    <a:pt x="34" y="58"/>
                  </a:lnTo>
                  <a:lnTo>
                    <a:pt x="38" y="51"/>
                  </a:lnTo>
                  <a:lnTo>
                    <a:pt x="43" y="43"/>
                  </a:lnTo>
                  <a:lnTo>
                    <a:pt x="51" y="38"/>
                  </a:lnTo>
                  <a:lnTo>
                    <a:pt x="58" y="34"/>
                  </a:lnTo>
                  <a:lnTo>
                    <a:pt x="67" y="32"/>
                  </a:lnTo>
                  <a:lnTo>
                    <a:pt x="76" y="31"/>
                  </a:lnTo>
                  <a:lnTo>
                    <a:pt x="84" y="32"/>
                  </a:lnTo>
                  <a:lnTo>
                    <a:pt x="93" y="34"/>
                  </a:lnTo>
                  <a:lnTo>
                    <a:pt x="100" y="38"/>
                  </a:lnTo>
                  <a:lnTo>
                    <a:pt x="108" y="43"/>
                  </a:lnTo>
                  <a:lnTo>
                    <a:pt x="113" y="51"/>
                  </a:lnTo>
                  <a:lnTo>
                    <a:pt x="118" y="58"/>
                  </a:lnTo>
                  <a:lnTo>
                    <a:pt x="120" y="67"/>
                  </a:lnTo>
                  <a:lnTo>
                    <a:pt x="121" y="76"/>
                  </a:lnTo>
                  <a:lnTo>
                    <a:pt x="120" y="84"/>
                  </a:lnTo>
                  <a:lnTo>
                    <a:pt x="118" y="93"/>
                  </a:lnTo>
                  <a:lnTo>
                    <a:pt x="113" y="100"/>
                  </a:lnTo>
                  <a:lnTo>
                    <a:pt x="108" y="108"/>
                  </a:lnTo>
                  <a:close/>
                  <a:moveTo>
                    <a:pt x="76" y="0"/>
                  </a:moveTo>
                  <a:lnTo>
                    <a:pt x="68" y="0"/>
                  </a:lnTo>
                  <a:lnTo>
                    <a:pt x="61" y="1"/>
                  </a:lnTo>
                  <a:lnTo>
                    <a:pt x="53" y="4"/>
                  </a:lnTo>
                  <a:lnTo>
                    <a:pt x="47" y="6"/>
                  </a:lnTo>
                  <a:lnTo>
                    <a:pt x="40" y="9"/>
                  </a:lnTo>
                  <a:lnTo>
                    <a:pt x="34" y="13"/>
                  </a:lnTo>
                  <a:lnTo>
                    <a:pt x="27" y="18"/>
                  </a:lnTo>
                  <a:lnTo>
                    <a:pt x="22" y="22"/>
                  </a:lnTo>
                  <a:lnTo>
                    <a:pt x="18" y="28"/>
                  </a:lnTo>
                  <a:lnTo>
                    <a:pt x="13" y="34"/>
                  </a:lnTo>
                  <a:lnTo>
                    <a:pt x="9" y="40"/>
                  </a:lnTo>
                  <a:lnTo>
                    <a:pt x="6" y="47"/>
                  </a:lnTo>
                  <a:lnTo>
                    <a:pt x="4" y="54"/>
                  </a:lnTo>
                  <a:lnTo>
                    <a:pt x="1" y="61"/>
                  </a:lnTo>
                  <a:lnTo>
                    <a:pt x="0" y="68"/>
                  </a:lnTo>
                  <a:lnTo>
                    <a:pt x="0" y="76"/>
                  </a:lnTo>
                  <a:lnTo>
                    <a:pt x="0" y="83"/>
                  </a:lnTo>
                  <a:lnTo>
                    <a:pt x="1" y="91"/>
                  </a:lnTo>
                  <a:lnTo>
                    <a:pt x="4" y="97"/>
                  </a:lnTo>
                  <a:lnTo>
                    <a:pt x="6" y="105"/>
                  </a:lnTo>
                  <a:lnTo>
                    <a:pt x="9" y="111"/>
                  </a:lnTo>
                  <a:lnTo>
                    <a:pt x="13" y="118"/>
                  </a:lnTo>
                  <a:lnTo>
                    <a:pt x="18" y="123"/>
                  </a:lnTo>
                  <a:lnTo>
                    <a:pt x="22" y="129"/>
                  </a:lnTo>
                  <a:lnTo>
                    <a:pt x="27" y="134"/>
                  </a:lnTo>
                  <a:lnTo>
                    <a:pt x="34" y="138"/>
                  </a:lnTo>
                  <a:lnTo>
                    <a:pt x="40" y="142"/>
                  </a:lnTo>
                  <a:lnTo>
                    <a:pt x="47" y="146"/>
                  </a:lnTo>
                  <a:lnTo>
                    <a:pt x="53" y="148"/>
                  </a:lnTo>
                  <a:lnTo>
                    <a:pt x="61" y="150"/>
                  </a:lnTo>
                  <a:lnTo>
                    <a:pt x="68" y="151"/>
                  </a:lnTo>
                  <a:lnTo>
                    <a:pt x="76" y="151"/>
                  </a:lnTo>
                  <a:lnTo>
                    <a:pt x="83" y="151"/>
                  </a:lnTo>
                  <a:lnTo>
                    <a:pt x="91" y="150"/>
                  </a:lnTo>
                  <a:lnTo>
                    <a:pt x="97" y="148"/>
                  </a:lnTo>
                  <a:lnTo>
                    <a:pt x="105" y="146"/>
                  </a:lnTo>
                  <a:lnTo>
                    <a:pt x="111" y="142"/>
                  </a:lnTo>
                  <a:lnTo>
                    <a:pt x="118" y="138"/>
                  </a:lnTo>
                  <a:lnTo>
                    <a:pt x="123" y="134"/>
                  </a:lnTo>
                  <a:lnTo>
                    <a:pt x="128" y="129"/>
                  </a:lnTo>
                  <a:lnTo>
                    <a:pt x="134" y="123"/>
                  </a:lnTo>
                  <a:lnTo>
                    <a:pt x="138" y="118"/>
                  </a:lnTo>
                  <a:lnTo>
                    <a:pt x="142" y="111"/>
                  </a:lnTo>
                  <a:lnTo>
                    <a:pt x="146" y="105"/>
                  </a:lnTo>
                  <a:lnTo>
                    <a:pt x="148" y="98"/>
                  </a:lnTo>
                  <a:lnTo>
                    <a:pt x="150" y="91"/>
                  </a:lnTo>
                  <a:lnTo>
                    <a:pt x="151" y="83"/>
                  </a:lnTo>
                  <a:lnTo>
                    <a:pt x="151" y="76"/>
                  </a:lnTo>
                  <a:lnTo>
                    <a:pt x="151" y="68"/>
                  </a:lnTo>
                  <a:lnTo>
                    <a:pt x="150" y="61"/>
                  </a:lnTo>
                  <a:lnTo>
                    <a:pt x="148" y="54"/>
                  </a:lnTo>
                  <a:lnTo>
                    <a:pt x="146" y="47"/>
                  </a:lnTo>
                  <a:lnTo>
                    <a:pt x="142" y="40"/>
                  </a:lnTo>
                  <a:lnTo>
                    <a:pt x="138" y="34"/>
                  </a:lnTo>
                  <a:lnTo>
                    <a:pt x="134" y="28"/>
                  </a:lnTo>
                  <a:lnTo>
                    <a:pt x="128" y="23"/>
                  </a:lnTo>
                  <a:lnTo>
                    <a:pt x="123" y="18"/>
                  </a:lnTo>
                  <a:lnTo>
                    <a:pt x="118" y="13"/>
                  </a:lnTo>
                  <a:lnTo>
                    <a:pt x="111" y="9"/>
                  </a:lnTo>
                  <a:lnTo>
                    <a:pt x="105" y="6"/>
                  </a:lnTo>
                  <a:lnTo>
                    <a:pt x="97" y="4"/>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98" name="Group 49">
            <a:extLst>
              <a:ext uri="{FF2B5EF4-FFF2-40B4-BE49-F238E27FC236}">
                <a16:creationId xmlns:a16="http://schemas.microsoft.com/office/drawing/2014/main" id="{75FCB4C7-19F6-4BBB-96A8-F557A073054E}"/>
              </a:ext>
            </a:extLst>
          </p:cNvPr>
          <p:cNvGrpSpPr>
            <a:grpSpLocks noChangeAspect="1"/>
          </p:cNvGrpSpPr>
          <p:nvPr/>
        </p:nvGrpSpPr>
        <p:grpSpPr>
          <a:xfrm>
            <a:off x="1887526" y="3844163"/>
            <a:ext cx="298342" cy="223756"/>
            <a:chOff x="6873875" y="5586413"/>
            <a:chExt cx="711200" cy="533400"/>
          </a:xfrm>
          <a:solidFill>
            <a:schemeClr val="bg1"/>
          </a:solidFill>
          <a:effectLst/>
        </p:grpSpPr>
        <p:sp>
          <p:nvSpPr>
            <p:cNvPr id="599" name="Freeform 45">
              <a:extLst>
                <a:ext uri="{FF2B5EF4-FFF2-40B4-BE49-F238E27FC236}">
                  <a16:creationId xmlns:a16="http://schemas.microsoft.com/office/drawing/2014/main" id="{5B74AFE4-B55F-46BE-9AB6-017CBFC7E0E0}"/>
                </a:ext>
              </a:extLst>
            </p:cNvPr>
            <p:cNvSpPr>
              <a:spLocks noEditPoints="1"/>
            </p:cNvSpPr>
            <p:nvPr/>
          </p:nvSpPr>
          <p:spPr bwMode="auto">
            <a:xfrm>
              <a:off x="6873875" y="5637213"/>
              <a:ext cx="711200" cy="482600"/>
            </a:xfrm>
            <a:custGeom>
              <a:avLst/>
              <a:gdLst>
                <a:gd name="T0" fmla="*/ 1759 w 2239"/>
                <a:gd name="T1" fmla="*/ 1440 h 1520"/>
                <a:gd name="T2" fmla="*/ 1759 w 2239"/>
                <a:gd name="T3" fmla="*/ 1200 h 1520"/>
                <a:gd name="T4" fmla="*/ 2159 w 2239"/>
                <a:gd name="T5" fmla="*/ 1200 h 1520"/>
                <a:gd name="T6" fmla="*/ 2159 w 2239"/>
                <a:gd name="T7" fmla="*/ 1440 h 1520"/>
                <a:gd name="T8" fmla="*/ 1759 w 2239"/>
                <a:gd name="T9" fmla="*/ 1440 h 1520"/>
                <a:gd name="T10" fmla="*/ 79 w 2239"/>
                <a:gd name="T11" fmla="*/ 80 h 1520"/>
                <a:gd name="T12" fmla="*/ 1679 w 2239"/>
                <a:gd name="T13" fmla="*/ 80 h 1520"/>
                <a:gd name="T14" fmla="*/ 1679 w 2239"/>
                <a:gd name="T15" fmla="*/ 1440 h 1520"/>
                <a:gd name="T16" fmla="*/ 79 w 2239"/>
                <a:gd name="T17" fmla="*/ 1440 h 1520"/>
                <a:gd name="T18" fmla="*/ 79 w 2239"/>
                <a:gd name="T19" fmla="*/ 80 h 1520"/>
                <a:gd name="T20" fmla="*/ 2159 w 2239"/>
                <a:gd name="T21" fmla="*/ 400 h 1520"/>
                <a:gd name="T22" fmla="*/ 1759 w 2239"/>
                <a:gd name="T23" fmla="*/ 400 h 1520"/>
                <a:gd name="T24" fmla="*/ 1759 w 2239"/>
                <a:gd name="T25" fmla="*/ 80 h 1520"/>
                <a:gd name="T26" fmla="*/ 2159 w 2239"/>
                <a:gd name="T27" fmla="*/ 80 h 1520"/>
                <a:gd name="T28" fmla="*/ 2159 w 2239"/>
                <a:gd name="T29" fmla="*/ 400 h 1520"/>
                <a:gd name="T30" fmla="*/ 1759 w 2239"/>
                <a:gd name="T31" fmla="*/ 480 h 1520"/>
                <a:gd name="T32" fmla="*/ 2159 w 2239"/>
                <a:gd name="T33" fmla="*/ 480 h 1520"/>
                <a:gd name="T34" fmla="*/ 2159 w 2239"/>
                <a:gd name="T35" fmla="*/ 1120 h 1520"/>
                <a:gd name="T36" fmla="*/ 1759 w 2239"/>
                <a:gd name="T37" fmla="*/ 1120 h 1520"/>
                <a:gd name="T38" fmla="*/ 1759 w 2239"/>
                <a:gd name="T39" fmla="*/ 480 h 1520"/>
                <a:gd name="T40" fmla="*/ 2199 w 2239"/>
                <a:gd name="T41" fmla="*/ 0 h 1520"/>
                <a:gd name="T42" fmla="*/ 40 w 2239"/>
                <a:gd name="T43" fmla="*/ 0 h 1520"/>
                <a:gd name="T44" fmla="*/ 31 w 2239"/>
                <a:gd name="T45" fmla="*/ 1 h 1520"/>
                <a:gd name="T46" fmla="*/ 25 w 2239"/>
                <a:gd name="T47" fmla="*/ 3 h 1520"/>
                <a:gd name="T48" fmla="*/ 18 w 2239"/>
                <a:gd name="T49" fmla="*/ 8 h 1520"/>
                <a:gd name="T50" fmla="*/ 11 w 2239"/>
                <a:gd name="T51" fmla="*/ 12 h 1520"/>
                <a:gd name="T52" fmla="*/ 7 w 2239"/>
                <a:gd name="T53" fmla="*/ 18 h 1520"/>
                <a:gd name="T54" fmla="*/ 3 w 2239"/>
                <a:gd name="T55" fmla="*/ 24 h 1520"/>
                <a:gd name="T56" fmla="*/ 1 w 2239"/>
                <a:gd name="T57" fmla="*/ 32 h 1520"/>
                <a:gd name="T58" fmla="*/ 0 w 2239"/>
                <a:gd name="T59" fmla="*/ 40 h 1520"/>
                <a:gd name="T60" fmla="*/ 0 w 2239"/>
                <a:gd name="T61" fmla="*/ 1479 h 1520"/>
                <a:gd name="T62" fmla="*/ 1 w 2239"/>
                <a:gd name="T63" fmla="*/ 1488 h 1520"/>
                <a:gd name="T64" fmla="*/ 3 w 2239"/>
                <a:gd name="T65" fmla="*/ 1495 h 1520"/>
                <a:gd name="T66" fmla="*/ 7 w 2239"/>
                <a:gd name="T67" fmla="*/ 1502 h 1520"/>
                <a:gd name="T68" fmla="*/ 11 w 2239"/>
                <a:gd name="T69" fmla="*/ 1509 h 1520"/>
                <a:gd name="T70" fmla="*/ 18 w 2239"/>
                <a:gd name="T71" fmla="*/ 1513 h 1520"/>
                <a:gd name="T72" fmla="*/ 25 w 2239"/>
                <a:gd name="T73" fmla="*/ 1516 h 1520"/>
                <a:gd name="T74" fmla="*/ 31 w 2239"/>
                <a:gd name="T75" fmla="*/ 1520 h 1520"/>
                <a:gd name="T76" fmla="*/ 40 w 2239"/>
                <a:gd name="T77" fmla="*/ 1520 h 1520"/>
                <a:gd name="T78" fmla="*/ 2199 w 2239"/>
                <a:gd name="T79" fmla="*/ 1520 h 1520"/>
                <a:gd name="T80" fmla="*/ 2207 w 2239"/>
                <a:gd name="T81" fmla="*/ 1520 h 1520"/>
                <a:gd name="T82" fmla="*/ 2215 w 2239"/>
                <a:gd name="T83" fmla="*/ 1516 h 1520"/>
                <a:gd name="T84" fmla="*/ 2221 w 2239"/>
                <a:gd name="T85" fmla="*/ 1513 h 1520"/>
                <a:gd name="T86" fmla="*/ 2227 w 2239"/>
                <a:gd name="T87" fmla="*/ 1509 h 1520"/>
                <a:gd name="T88" fmla="*/ 2233 w 2239"/>
                <a:gd name="T89" fmla="*/ 1502 h 1520"/>
                <a:gd name="T90" fmla="*/ 2236 w 2239"/>
                <a:gd name="T91" fmla="*/ 1495 h 1520"/>
                <a:gd name="T92" fmla="*/ 2238 w 2239"/>
                <a:gd name="T93" fmla="*/ 1488 h 1520"/>
                <a:gd name="T94" fmla="*/ 2239 w 2239"/>
                <a:gd name="T95" fmla="*/ 1479 h 1520"/>
                <a:gd name="T96" fmla="*/ 2239 w 2239"/>
                <a:gd name="T97" fmla="*/ 40 h 1520"/>
                <a:gd name="T98" fmla="*/ 2238 w 2239"/>
                <a:gd name="T99" fmla="*/ 32 h 1520"/>
                <a:gd name="T100" fmla="*/ 2236 w 2239"/>
                <a:gd name="T101" fmla="*/ 24 h 1520"/>
                <a:gd name="T102" fmla="*/ 2233 w 2239"/>
                <a:gd name="T103" fmla="*/ 18 h 1520"/>
                <a:gd name="T104" fmla="*/ 2227 w 2239"/>
                <a:gd name="T105" fmla="*/ 12 h 1520"/>
                <a:gd name="T106" fmla="*/ 2221 w 2239"/>
                <a:gd name="T107" fmla="*/ 8 h 1520"/>
                <a:gd name="T108" fmla="*/ 2215 w 2239"/>
                <a:gd name="T109" fmla="*/ 3 h 1520"/>
                <a:gd name="T110" fmla="*/ 2207 w 2239"/>
                <a:gd name="T111" fmla="*/ 1 h 1520"/>
                <a:gd name="T112" fmla="*/ 2199 w 2239"/>
                <a:gd name="T113" fmla="*/ 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9" h="1520">
                  <a:moveTo>
                    <a:pt x="1759" y="1440"/>
                  </a:moveTo>
                  <a:lnTo>
                    <a:pt x="1759" y="1200"/>
                  </a:lnTo>
                  <a:lnTo>
                    <a:pt x="2159" y="1200"/>
                  </a:lnTo>
                  <a:lnTo>
                    <a:pt x="2159" y="1440"/>
                  </a:lnTo>
                  <a:lnTo>
                    <a:pt x="1759" y="1440"/>
                  </a:lnTo>
                  <a:close/>
                  <a:moveTo>
                    <a:pt x="79" y="80"/>
                  </a:moveTo>
                  <a:lnTo>
                    <a:pt x="1679" y="80"/>
                  </a:lnTo>
                  <a:lnTo>
                    <a:pt x="1679" y="1440"/>
                  </a:lnTo>
                  <a:lnTo>
                    <a:pt x="79" y="1440"/>
                  </a:lnTo>
                  <a:lnTo>
                    <a:pt x="79" y="80"/>
                  </a:lnTo>
                  <a:close/>
                  <a:moveTo>
                    <a:pt x="2159" y="400"/>
                  </a:moveTo>
                  <a:lnTo>
                    <a:pt x="1759" y="400"/>
                  </a:lnTo>
                  <a:lnTo>
                    <a:pt x="1759" y="80"/>
                  </a:lnTo>
                  <a:lnTo>
                    <a:pt x="2159" y="80"/>
                  </a:lnTo>
                  <a:lnTo>
                    <a:pt x="2159" y="400"/>
                  </a:lnTo>
                  <a:close/>
                  <a:moveTo>
                    <a:pt x="1759" y="480"/>
                  </a:moveTo>
                  <a:lnTo>
                    <a:pt x="2159" y="480"/>
                  </a:lnTo>
                  <a:lnTo>
                    <a:pt x="2159" y="1120"/>
                  </a:lnTo>
                  <a:lnTo>
                    <a:pt x="1759" y="1120"/>
                  </a:lnTo>
                  <a:lnTo>
                    <a:pt x="1759" y="480"/>
                  </a:lnTo>
                  <a:close/>
                  <a:moveTo>
                    <a:pt x="2199" y="0"/>
                  </a:moveTo>
                  <a:lnTo>
                    <a:pt x="40" y="0"/>
                  </a:lnTo>
                  <a:lnTo>
                    <a:pt x="31" y="1"/>
                  </a:lnTo>
                  <a:lnTo>
                    <a:pt x="25" y="3"/>
                  </a:lnTo>
                  <a:lnTo>
                    <a:pt x="18" y="8"/>
                  </a:lnTo>
                  <a:lnTo>
                    <a:pt x="11" y="12"/>
                  </a:lnTo>
                  <a:lnTo>
                    <a:pt x="7" y="18"/>
                  </a:lnTo>
                  <a:lnTo>
                    <a:pt x="3" y="24"/>
                  </a:lnTo>
                  <a:lnTo>
                    <a:pt x="1" y="32"/>
                  </a:lnTo>
                  <a:lnTo>
                    <a:pt x="0" y="40"/>
                  </a:lnTo>
                  <a:lnTo>
                    <a:pt x="0" y="1479"/>
                  </a:lnTo>
                  <a:lnTo>
                    <a:pt x="1" y="1488"/>
                  </a:lnTo>
                  <a:lnTo>
                    <a:pt x="3" y="1495"/>
                  </a:lnTo>
                  <a:lnTo>
                    <a:pt x="7" y="1502"/>
                  </a:lnTo>
                  <a:lnTo>
                    <a:pt x="11" y="1509"/>
                  </a:lnTo>
                  <a:lnTo>
                    <a:pt x="18" y="1513"/>
                  </a:lnTo>
                  <a:lnTo>
                    <a:pt x="25" y="1516"/>
                  </a:lnTo>
                  <a:lnTo>
                    <a:pt x="31" y="1520"/>
                  </a:lnTo>
                  <a:lnTo>
                    <a:pt x="40" y="1520"/>
                  </a:lnTo>
                  <a:lnTo>
                    <a:pt x="2199" y="1520"/>
                  </a:lnTo>
                  <a:lnTo>
                    <a:pt x="2207" y="1520"/>
                  </a:lnTo>
                  <a:lnTo>
                    <a:pt x="2215" y="1516"/>
                  </a:lnTo>
                  <a:lnTo>
                    <a:pt x="2221" y="1513"/>
                  </a:lnTo>
                  <a:lnTo>
                    <a:pt x="2227" y="1509"/>
                  </a:lnTo>
                  <a:lnTo>
                    <a:pt x="2233" y="1502"/>
                  </a:lnTo>
                  <a:lnTo>
                    <a:pt x="2236" y="1495"/>
                  </a:lnTo>
                  <a:lnTo>
                    <a:pt x="2238" y="1488"/>
                  </a:lnTo>
                  <a:lnTo>
                    <a:pt x="2239" y="1479"/>
                  </a:lnTo>
                  <a:lnTo>
                    <a:pt x="2239" y="40"/>
                  </a:lnTo>
                  <a:lnTo>
                    <a:pt x="2238" y="32"/>
                  </a:lnTo>
                  <a:lnTo>
                    <a:pt x="2236" y="24"/>
                  </a:lnTo>
                  <a:lnTo>
                    <a:pt x="2233" y="18"/>
                  </a:lnTo>
                  <a:lnTo>
                    <a:pt x="2227" y="12"/>
                  </a:lnTo>
                  <a:lnTo>
                    <a:pt x="2221" y="8"/>
                  </a:lnTo>
                  <a:lnTo>
                    <a:pt x="2215" y="3"/>
                  </a:lnTo>
                  <a:lnTo>
                    <a:pt x="2207" y="1"/>
                  </a:lnTo>
                  <a:lnTo>
                    <a:pt x="219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0" name="Freeform 46">
              <a:extLst>
                <a:ext uri="{FF2B5EF4-FFF2-40B4-BE49-F238E27FC236}">
                  <a16:creationId xmlns:a16="http://schemas.microsoft.com/office/drawing/2014/main" id="{FC6D6736-E944-4F6E-90B8-4CD3EF22F683}"/>
                </a:ext>
              </a:extLst>
            </p:cNvPr>
            <p:cNvSpPr>
              <a:spLocks/>
            </p:cNvSpPr>
            <p:nvPr/>
          </p:nvSpPr>
          <p:spPr bwMode="auto">
            <a:xfrm>
              <a:off x="6924675" y="5688013"/>
              <a:ext cx="127000" cy="25400"/>
            </a:xfrm>
            <a:custGeom>
              <a:avLst/>
              <a:gdLst>
                <a:gd name="T0" fmla="*/ 39 w 399"/>
                <a:gd name="T1" fmla="*/ 80 h 80"/>
                <a:gd name="T2" fmla="*/ 359 w 399"/>
                <a:gd name="T3" fmla="*/ 80 h 80"/>
                <a:gd name="T4" fmla="*/ 367 w 399"/>
                <a:gd name="T5" fmla="*/ 79 h 80"/>
                <a:gd name="T6" fmla="*/ 375 w 399"/>
                <a:gd name="T7" fmla="*/ 77 h 80"/>
                <a:gd name="T8" fmla="*/ 382 w 399"/>
                <a:gd name="T9" fmla="*/ 74 h 80"/>
                <a:gd name="T10" fmla="*/ 388 w 399"/>
                <a:gd name="T11" fmla="*/ 68 h 80"/>
                <a:gd name="T12" fmla="*/ 393 w 399"/>
                <a:gd name="T13" fmla="*/ 62 h 80"/>
                <a:gd name="T14" fmla="*/ 396 w 399"/>
                <a:gd name="T15" fmla="*/ 56 h 80"/>
                <a:gd name="T16" fmla="*/ 398 w 399"/>
                <a:gd name="T17" fmla="*/ 48 h 80"/>
                <a:gd name="T18" fmla="*/ 399 w 399"/>
                <a:gd name="T19" fmla="*/ 40 h 80"/>
                <a:gd name="T20" fmla="*/ 398 w 399"/>
                <a:gd name="T21" fmla="*/ 32 h 80"/>
                <a:gd name="T22" fmla="*/ 396 w 399"/>
                <a:gd name="T23" fmla="*/ 24 h 80"/>
                <a:gd name="T24" fmla="*/ 393 w 399"/>
                <a:gd name="T25" fmla="*/ 18 h 80"/>
                <a:gd name="T26" fmla="*/ 388 w 399"/>
                <a:gd name="T27" fmla="*/ 12 h 80"/>
                <a:gd name="T28" fmla="*/ 382 w 399"/>
                <a:gd name="T29" fmla="*/ 6 h 80"/>
                <a:gd name="T30" fmla="*/ 375 w 399"/>
                <a:gd name="T31" fmla="*/ 3 h 80"/>
                <a:gd name="T32" fmla="*/ 367 w 399"/>
                <a:gd name="T33" fmla="*/ 1 h 80"/>
                <a:gd name="T34" fmla="*/ 359 w 399"/>
                <a:gd name="T35" fmla="*/ 0 h 80"/>
                <a:gd name="T36" fmla="*/ 39 w 399"/>
                <a:gd name="T37" fmla="*/ 0 h 80"/>
                <a:gd name="T38" fmla="*/ 31 w 399"/>
                <a:gd name="T39" fmla="*/ 1 h 80"/>
                <a:gd name="T40" fmla="*/ 25 w 399"/>
                <a:gd name="T41" fmla="*/ 3 h 80"/>
                <a:gd name="T42" fmla="*/ 17 w 399"/>
                <a:gd name="T43" fmla="*/ 6 h 80"/>
                <a:gd name="T44" fmla="*/ 11 w 399"/>
                <a:gd name="T45" fmla="*/ 12 h 80"/>
                <a:gd name="T46" fmla="*/ 7 w 399"/>
                <a:gd name="T47" fmla="*/ 18 h 80"/>
                <a:gd name="T48" fmla="*/ 3 w 399"/>
                <a:gd name="T49" fmla="*/ 24 h 80"/>
                <a:gd name="T50" fmla="*/ 0 w 399"/>
                <a:gd name="T51" fmla="*/ 32 h 80"/>
                <a:gd name="T52" fmla="*/ 0 w 399"/>
                <a:gd name="T53" fmla="*/ 40 h 80"/>
                <a:gd name="T54" fmla="*/ 0 w 399"/>
                <a:gd name="T55" fmla="*/ 48 h 80"/>
                <a:gd name="T56" fmla="*/ 3 w 399"/>
                <a:gd name="T57" fmla="*/ 56 h 80"/>
                <a:gd name="T58" fmla="*/ 7 w 399"/>
                <a:gd name="T59" fmla="*/ 62 h 80"/>
                <a:gd name="T60" fmla="*/ 11 w 399"/>
                <a:gd name="T61" fmla="*/ 68 h 80"/>
                <a:gd name="T62" fmla="*/ 17 w 399"/>
                <a:gd name="T63" fmla="*/ 74 h 80"/>
                <a:gd name="T64" fmla="*/ 25 w 399"/>
                <a:gd name="T65" fmla="*/ 77 h 80"/>
                <a:gd name="T66" fmla="*/ 31 w 399"/>
                <a:gd name="T67" fmla="*/ 79 h 80"/>
                <a:gd name="T68" fmla="*/ 39 w 399"/>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9" h="80">
                  <a:moveTo>
                    <a:pt x="39" y="80"/>
                  </a:moveTo>
                  <a:lnTo>
                    <a:pt x="359" y="80"/>
                  </a:lnTo>
                  <a:lnTo>
                    <a:pt x="367" y="79"/>
                  </a:lnTo>
                  <a:lnTo>
                    <a:pt x="375" y="77"/>
                  </a:lnTo>
                  <a:lnTo>
                    <a:pt x="382" y="74"/>
                  </a:lnTo>
                  <a:lnTo>
                    <a:pt x="388" y="68"/>
                  </a:lnTo>
                  <a:lnTo>
                    <a:pt x="393" y="62"/>
                  </a:lnTo>
                  <a:lnTo>
                    <a:pt x="396" y="56"/>
                  </a:lnTo>
                  <a:lnTo>
                    <a:pt x="398" y="48"/>
                  </a:lnTo>
                  <a:lnTo>
                    <a:pt x="399" y="40"/>
                  </a:lnTo>
                  <a:lnTo>
                    <a:pt x="398" y="32"/>
                  </a:lnTo>
                  <a:lnTo>
                    <a:pt x="396" y="24"/>
                  </a:lnTo>
                  <a:lnTo>
                    <a:pt x="393" y="18"/>
                  </a:lnTo>
                  <a:lnTo>
                    <a:pt x="388" y="12"/>
                  </a:lnTo>
                  <a:lnTo>
                    <a:pt x="382" y="6"/>
                  </a:lnTo>
                  <a:lnTo>
                    <a:pt x="375" y="3"/>
                  </a:lnTo>
                  <a:lnTo>
                    <a:pt x="367" y="1"/>
                  </a:lnTo>
                  <a:lnTo>
                    <a:pt x="359" y="0"/>
                  </a:lnTo>
                  <a:lnTo>
                    <a:pt x="39" y="0"/>
                  </a:lnTo>
                  <a:lnTo>
                    <a:pt x="31" y="1"/>
                  </a:lnTo>
                  <a:lnTo>
                    <a:pt x="25" y="3"/>
                  </a:lnTo>
                  <a:lnTo>
                    <a:pt x="17" y="6"/>
                  </a:lnTo>
                  <a:lnTo>
                    <a:pt x="11" y="12"/>
                  </a:lnTo>
                  <a:lnTo>
                    <a:pt x="7" y="18"/>
                  </a:lnTo>
                  <a:lnTo>
                    <a:pt x="3" y="24"/>
                  </a:lnTo>
                  <a:lnTo>
                    <a:pt x="0" y="32"/>
                  </a:lnTo>
                  <a:lnTo>
                    <a:pt x="0" y="40"/>
                  </a:lnTo>
                  <a:lnTo>
                    <a:pt x="0" y="48"/>
                  </a:lnTo>
                  <a:lnTo>
                    <a:pt x="3" y="56"/>
                  </a:lnTo>
                  <a:lnTo>
                    <a:pt x="7" y="62"/>
                  </a:lnTo>
                  <a:lnTo>
                    <a:pt x="11" y="68"/>
                  </a:lnTo>
                  <a:lnTo>
                    <a:pt x="17" y="74"/>
                  </a:lnTo>
                  <a:lnTo>
                    <a:pt x="25" y="77"/>
                  </a:lnTo>
                  <a:lnTo>
                    <a:pt x="31" y="79"/>
                  </a:lnTo>
                  <a:lnTo>
                    <a:pt x="39"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1" name="Freeform 47">
              <a:extLst>
                <a:ext uri="{FF2B5EF4-FFF2-40B4-BE49-F238E27FC236}">
                  <a16:creationId xmlns:a16="http://schemas.microsoft.com/office/drawing/2014/main" id="{806C6490-C811-4EEF-BDC2-D5429B617BD3}"/>
                </a:ext>
              </a:extLst>
            </p:cNvPr>
            <p:cNvSpPr>
              <a:spLocks/>
            </p:cNvSpPr>
            <p:nvPr/>
          </p:nvSpPr>
          <p:spPr bwMode="auto">
            <a:xfrm>
              <a:off x="7077075" y="5688013"/>
              <a:ext cx="127000" cy="25400"/>
            </a:xfrm>
            <a:custGeom>
              <a:avLst/>
              <a:gdLst>
                <a:gd name="T0" fmla="*/ 40 w 401"/>
                <a:gd name="T1" fmla="*/ 80 h 80"/>
                <a:gd name="T2" fmla="*/ 360 w 401"/>
                <a:gd name="T3" fmla="*/ 80 h 80"/>
                <a:gd name="T4" fmla="*/ 368 w 401"/>
                <a:gd name="T5" fmla="*/ 79 h 80"/>
                <a:gd name="T6" fmla="*/ 376 w 401"/>
                <a:gd name="T7" fmla="*/ 77 h 80"/>
                <a:gd name="T8" fmla="*/ 383 w 401"/>
                <a:gd name="T9" fmla="*/ 74 h 80"/>
                <a:gd name="T10" fmla="*/ 388 w 401"/>
                <a:gd name="T11" fmla="*/ 68 h 80"/>
                <a:gd name="T12" fmla="*/ 394 w 401"/>
                <a:gd name="T13" fmla="*/ 62 h 80"/>
                <a:gd name="T14" fmla="*/ 397 w 401"/>
                <a:gd name="T15" fmla="*/ 56 h 80"/>
                <a:gd name="T16" fmla="*/ 399 w 401"/>
                <a:gd name="T17" fmla="*/ 48 h 80"/>
                <a:gd name="T18" fmla="*/ 401 w 401"/>
                <a:gd name="T19" fmla="*/ 40 h 80"/>
                <a:gd name="T20" fmla="*/ 399 w 401"/>
                <a:gd name="T21" fmla="*/ 32 h 80"/>
                <a:gd name="T22" fmla="*/ 397 w 401"/>
                <a:gd name="T23" fmla="*/ 24 h 80"/>
                <a:gd name="T24" fmla="*/ 394 w 401"/>
                <a:gd name="T25" fmla="*/ 18 h 80"/>
                <a:gd name="T26" fmla="*/ 388 w 401"/>
                <a:gd name="T27" fmla="*/ 12 h 80"/>
                <a:gd name="T28" fmla="*/ 383 w 401"/>
                <a:gd name="T29" fmla="*/ 6 h 80"/>
                <a:gd name="T30" fmla="*/ 376 w 401"/>
                <a:gd name="T31" fmla="*/ 3 h 80"/>
                <a:gd name="T32" fmla="*/ 368 w 401"/>
                <a:gd name="T33" fmla="*/ 1 h 80"/>
                <a:gd name="T34" fmla="*/ 360 w 401"/>
                <a:gd name="T35" fmla="*/ 0 h 80"/>
                <a:gd name="T36" fmla="*/ 40 w 401"/>
                <a:gd name="T37" fmla="*/ 0 h 80"/>
                <a:gd name="T38" fmla="*/ 32 w 401"/>
                <a:gd name="T39" fmla="*/ 1 h 80"/>
                <a:gd name="T40" fmla="*/ 25 w 401"/>
                <a:gd name="T41" fmla="*/ 3 h 80"/>
                <a:gd name="T42" fmla="*/ 18 w 401"/>
                <a:gd name="T43" fmla="*/ 6 h 80"/>
                <a:gd name="T44" fmla="*/ 12 w 401"/>
                <a:gd name="T45" fmla="*/ 12 h 80"/>
                <a:gd name="T46" fmla="*/ 8 w 401"/>
                <a:gd name="T47" fmla="*/ 18 h 80"/>
                <a:gd name="T48" fmla="*/ 3 w 401"/>
                <a:gd name="T49" fmla="*/ 24 h 80"/>
                <a:gd name="T50" fmla="*/ 1 w 401"/>
                <a:gd name="T51" fmla="*/ 32 h 80"/>
                <a:gd name="T52" fmla="*/ 0 w 401"/>
                <a:gd name="T53" fmla="*/ 40 h 80"/>
                <a:gd name="T54" fmla="*/ 1 w 401"/>
                <a:gd name="T55" fmla="*/ 48 h 80"/>
                <a:gd name="T56" fmla="*/ 3 w 401"/>
                <a:gd name="T57" fmla="*/ 56 h 80"/>
                <a:gd name="T58" fmla="*/ 8 w 401"/>
                <a:gd name="T59" fmla="*/ 62 h 80"/>
                <a:gd name="T60" fmla="*/ 12 w 401"/>
                <a:gd name="T61" fmla="*/ 68 h 80"/>
                <a:gd name="T62" fmla="*/ 18 w 401"/>
                <a:gd name="T63" fmla="*/ 74 h 80"/>
                <a:gd name="T64" fmla="*/ 25 w 401"/>
                <a:gd name="T65" fmla="*/ 77 h 80"/>
                <a:gd name="T66" fmla="*/ 32 w 401"/>
                <a:gd name="T67" fmla="*/ 79 h 80"/>
                <a:gd name="T68" fmla="*/ 40 w 401"/>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80">
                  <a:moveTo>
                    <a:pt x="40" y="80"/>
                  </a:moveTo>
                  <a:lnTo>
                    <a:pt x="360" y="80"/>
                  </a:lnTo>
                  <a:lnTo>
                    <a:pt x="368" y="79"/>
                  </a:lnTo>
                  <a:lnTo>
                    <a:pt x="376" y="77"/>
                  </a:lnTo>
                  <a:lnTo>
                    <a:pt x="383" y="74"/>
                  </a:lnTo>
                  <a:lnTo>
                    <a:pt x="388" y="68"/>
                  </a:lnTo>
                  <a:lnTo>
                    <a:pt x="394" y="62"/>
                  </a:lnTo>
                  <a:lnTo>
                    <a:pt x="397" y="56"/>
                  </a:lnTo>
                  <a:lnTo>
                    <a:pt x="399" y="48"/>
                  </a:lnTo>
                  <a:lnTo>
                    <a:pt x="401" y="40"/>
                  </a:lnTo>
                  <a:lnTo>
                    <a:pt x="399" y="32"/>
                  </a:lnTo>
                  <a:lnTo>
                    <a:pt x="397" y="24"/>
                  </a:lnTo>
                  <a:lnTo>
                    <a:pt x="394" y="18"/>
                  </a:lnTo>
                  <a:lnTo>
                    <a:pt x="388" y="12"/>
                  </a:lnTo>
                  <a:lnTo>
                    <a:pt x="383" y="6"/>
                  </a:lnTo>
                  <a:lnTo>
                    <a:pt x="376" y="3"/>
                  </a:lnTo>
                  <a:lnTo>
                    <a:pt x="368" y="1"/>
                  </a:lnTo>
                  <a:lnTo>
                    <a:pt x="360" y="0"/>
                  </a:lnTo>
                  <a:lnTo>
                    <a:pt x="40" y="0"/>
                  </a:lnTo>
                  <a:lnTo>
                    <a:pt x="32" y="1"/>
                  </a:lnTo>
                  <a:lnTo>
                    <a:pt x="25" y="3"/>
                  </a:lnTo>
                  <a:lnTo>
                    <a:pt x="18" y="6"/>
                  </a:lnTo>
                  <a:lnTo>
                    <a:pt x="12" y="12"/>
                  </a:lnTo>
                  <a:lnTo>
                    <a:pt x="8" y="18"/>
                  </a:lnTo>
                  <a:lnTo>
                    <a:pt x="3" y="24"/>
                  </a:lnTo>
                  <a:lnTo>
                    <a:pt x="1" y="32"/>
                  </a:lnTo>
                  <a:lnTo>
                    <a:pt x="0" y="40"/>
                  </a:lnTo>
                  <a:lnTo>
                    <a:pt x="1" y="48"/>
                  </a:lnTo>
                  <a:lnTo>
                    <a:pt x="3" y="56"/>
                  </a:lnTo>
                  <a:lnTo>
                    <a:pt x="8" y="62"/>
                  </a:lnTo>
                  <a:lnTo>
                    <a:pt x="12" y="68"/>
                  </a:lnTo>
                  <a:lnTo>
                    <a:pt x="18" y="74"/>
                  </a:lnTo>
                  <a:lnTo>
                    <a:pt x="25" y="77"/>
                  </a:lnTo>
                  <a:lnTo>
                    <a:pt x="32" y="79"/>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2" name="Freeform 48">
              <a:extLst>
                <a:ext uri="{FF2B5EF4-FFF2-40B4-BE49-F238E27FC236}">
                  <a16:creationId xmlns:a16="http://schemas.microsoft.com/office/drawing/2014/main" id="{BA5FCA56-BFF2-495A-B847-2E734F269218}"/>
                </a:ext>
              </a:extLst>
            </p:cNvPr>
            <p:cNvSpPr>
              <a:spLocks/>
            </p:cNvSpPr>
            <p:nvPr/>
          </p:nvSpPr>
          <p:spPr bwMode="auto">
            <a:xfrm>
              <a:off x="7229475" y="5688013"/>
              <a:ext cx="127000" cy="25400"/>
            </a:xfrm>
            <a:custGeom>
              <a:avLst/>
              <a:gdLst>
                <a:gd name="T0" fmla="*/ 40 w 401"/>
                <a:gd name="T1" fmla="*/ 80 h 80"/>
                <a:gd name="T2" fmla="*/ 360 w 401"/>
                <a:gd name="T3" fmla="*/ 80 h 80"/>
                <a:gd name="T4" fmla="*/ 368 w 401"/>
                <a:gd name="T5" fmla="*/ 79 h 80"/>
                <a:gd name="T6" fmla="*/ 376 w 401"/>
                <a:gd name="T7" fmla="*/ 77 h 80"/>
                <a:gd name="T8" fmla="*/ 383 w 401"/>
                <a:gd name="T9" fmla="*/ 74 h 80"/>
                <a:gd name="T10" fmla="*/ 388 w 401"/>
                <a:gd name="T11" fmla="*/ 68 h 80"/>
                <a:gd name="T12" fmla="*/ 393 w 401"/>
                <a:gd name="T13" fmla="*/ 62 h 80"/>
                <a:gd name="T14" fmla="*/ 397 w 401"/>
                <a:gd name="T15" fmla="*/ 56 h 80"/>
                <a:gd name="T16" fmla="*/ 400 w 401"/>
                <a:gd name="T17" fmla="*/ 48 h 80"/>
                <a:gd name="T18" fmla="*/ 401 w 401"/>
                <a:gd name="T19" fmla="*/ 40 h 80"/>
                <a:gd name="T20" fmla="*/ 400 w 401"/>
                <a:gd name="T21" fmla="*/ 32 h 80"/>
                <a:gd name="T22" fmla="*/ 397 w 401"/>
                <a:gd name="T23" fmla="*/ 24 h 80"/>
                <a:gd name="T24" fmla="*/ 393 w 401"/>
                <a:gd name="T25" fmla="*/ 18 h 80"/>
                <a:gd name="T26" fmla="*/ 388 w 401"/>
                <a:gd name="T27" fmla="*/ 12 h 80"/>
                <a:gd name="T28" fmla="*/ 383 w 401"/>
                <a:gd name="T29" fmla="*/ 6 h 80"/>
                <a:gd name="T30" fmla="*/ 376 w 401"/>
                <a:gd name="T31" fmla="*/ 3 h 80"/>
                <a:gd name="T32" fmla="*/ 368 w 401"/>
                <a:gd name="T33" fmla="*/ 1 h 80"/>
                <a:gd name="T34" fmla="*/ 360 w 401"/>
                <a:gd name="T35" fmla="*/ 0 h 80"/>
                <a:gd name="T36" fmla="*/ 40 w 401"/>
                <a:gd name="T37" fmla="*/ 0 h 80"/>
                <a:gd name="T38" fmla="*/ 32 w 401"/>
                <a:gd name="T39" fmla="*/ 1 h 80"/>
                <a:gd name="T40" fmla="*/ 25 w 401"/>
                <a:gd name="T41" fmla="*/ 3 h 80"/>
                <a:gd name="T42" fmla="*/ 18 w 401"/>
                <a:gd name="T43" fmla="*/ 6 h 80"/>
                <a:gd name="T44" fmla="*/ 12 w 401"/>
                <a:gd name="T45" fmla="*/ 12 h 80"/>
                <a:gd name="T46" fmla="*/ 7 w 401"/>
                <a:gd name="T47" fmla="*/ 18 h 80"/>
                <a:gd name="T48" fmla="*/ 3 w 401"/>
                <a:gd name="T49" fmla="*/ 24 h 80"/>
                <a:gd name="T50" fmla="*/ 1 w 401"/>
                <a:gd name="T51" fmla="*/ 32 h 80"/>
                <a:gd name="T52" fmla="*/ 0 w 401"/>
                <a:gd name="T53" fmla="*/ 40 h 80"/>
                <a:gd name="T54" fmla="*/ 1 w 401"/>
                <a:gd name="T55" fmla="*/ 48 h 80"/>
                <a:gd name="T56" fmla="*/ 3 w 401"/>
                <a:gd name="T57" fmla="*/ 56 h 80"/>
                <a:gd name="T58" fmla="*/ 7 w 401"/>
                <a:gd name="T59" fmla="*/ 62 h 80"/>
                <a:gd name="T60" fmla="*/ 12 w 401"/>
                <a:gd name="T61" fmla="*/ 68 h 80"/>
                <a:gd name="T62" fmla="*/ 18 w 401"/>
                <a:gd name="T63" fmla="*/ 74 h 80"/>
                <a:gd name="T64" fmla="*/ 25 w 401"/>
                <a:gd name="T65" fmla="*/ 77 h 80"/>
                <a:gd name="T66" fmla="*/ 32 w 401"/>
                <a:gd name="T67" fmla="*/ 79 h 80"/>
                <a:gd name="T68" fmla="*/ 40 w 401"/>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80">
                  <a:moveTo>
                    <a:pt x="40" y="80"/>
                  </a:moveTo>
                  <a:lnTo>
                    <a:pt x="360" y="80"/>
                  </a:lnTo>
                  <a:lnTo>
                    <a:pt x="368" y="79"/>
                  </a:lnTo>
                  <a:lnTo>
                    <a:pt x="376" y="77"/>
                  </a:lnTo>
                  <a:lnTo>
                    <a:pt x="383" y="74"/>
                  </a:lnTo>
                  <a:lnTo>
                    <a:pt x="388" y="68"/>
                  </a:lnTo>
                  <a:lnTo>
                    <a:pt x="393" y="62"/>
                  </a:lnTo>
                  <a:lnTo>
                    <a:pt x="397" y="56"/>
                  </a:lnTo>
                  <a:lnTo>
                    <a:pt x="400" y="48"/>
                  </a:lnTo>
                  <a:lnTo>
                    <a:pt x="401" y="40"/>
                  </a:lnTo>
                  <a:lnTo>
                    <a:pt x="400" y="32"/>
                  </a:lnTo>
                  <a:lnTo>
                    <a:pt x="397" y="24"/>
                  </a:lnTo>
                  <a:lnTo>
                    <a:pt x="393" y="18"/>
                  </a:lnTo>
                  <a:lnTo>
                    <a:pt x="388" y="12"/>
                  </a:lnTo>
                  <a:lnTo>
                    <a:pt x="383" y="6"/>
                  </a:lnTo>
                  <a:lnTo>
                    <a:pt x="376" y="3"/>
                  </a:lnTo>
                  <a:lnTo>
                    <a:pt x="368" y="1"/>
                  </a:lnTo>
                  <a:lnTo>
                    <a:pt x="360" y="0"/>
                  </a:lnTo>
                  <a:lnTo>
                    <a:pt x="40" y="0"/>
                  </a:lnTo>
                  <a:lnTo>
                    <a:pt x="32" y="1"/>
                  </a:lnTo>
                  <a:lnTo>
                    <a:pt x="25" y="3"/>
                  </a:lnTo>
                  <a:lnTo>
                    <a:pt x="18" y="6"/>
                  </a:lnTo>
                  <a:lnTo>
                    <a:pt x="12" y="12"/>
                  </a:lnTo>
                  <a:lnTo>
                    <a:pt x="7" y="18"/>
                  </a:lnTo>
                  <a:lnTo>
                    <a:pt x="3" y="24"/>
                  </a:lnTo>
                  <a:lnTo>
                    <a:pt x="1" y="32"/>
                  </a:lnTo>
                  <a:lnTo>
                    <a:pt x="0" y="40"/>
                  </a:lnTo>
                  <a:lnTo>
                    <a:pt x="1" y="48"/>
                  </a:lnTo>
                  <a:lnTo>
                    <a:pt x="3" y="56"/>
                  </a:lnTo>
                  <a:lnTo>
                    <a:pt x="7" y="62"/>
                  </a:lnTo>
                  <a:lnTo>
                    <a:pt x="12" y="68"/>
                  </a:lnTo>
                  <a:lnTo>
                    <a:pt x="18" y="74"/>
                  </a:lnTo>
                  <a:lnTo>
                    <a:pt x="25" y="77"/>
                  </a:lnTo>
                  <a:lnTo>
                    <a:pt x="32" y="79"/>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3" name="Freeform 49">
              <a:extLst>
                <a:ext uri="{FF2B5EF4-FFF2-40B4-BE49-F238E27FC236}">
                  <a16:creationId xmlns:a16="http://schemas.microsoft.com/office/drawing/2014/main" id="{B1A14EBC-8099-4B6D-B5D2-202D09EA1478}"/>
                </a:ext>
              </a:extLst>
            </p:cNvPr>
            <p:cNvSpPr>
              <a:spLocks/>
            </p:cNvSpPr>
            <p:nvPr/>
          </p:nvSpPr>
          <p:spPr bwMode="auto">
            <a:xfrm>
              <a:off x="6873875" y="5586413"/>
              <a:ext cx="711200" cy="25400"/>
            </a:xfrm>
            <a:custGeom>
              <a:avLst/>
              <a:gdLst>
                <a:gd name="T0" fmla="*/ 40 w 2239"/>
                <a:gd name="T1" fmla="*/ 79 h 79"/>
                <a:gd name="T2" fmla="*/ 2199 w 2239"/>
                <a:gd name="T3" fmla="*/ 79 h 79"/>
                <a:gd name="T4" fmla="*/ 2207 w 2239"/>
                <a:gd name="T5" fmla="*/ 78 h 79"/>
                <a:gd name="T6" fmla="*/ 2215 w 2239"/>
                <a:gd name="T7" fmla="*/ 76 h 79"/>
                <a:gd name="T8" fmla="*/ 2221 w 2239"/>
                <a:gd name="T9" fmla="*/ 72 h 79"/>
                <a:gd name="T10" fmla="*/ 2227 w 2239"/>
                <a:gd name="T11" fmla="*/ 68 h 79"/>
                <a:gd name="T12" fmla="*/ 2233 w 2239"/>
                <a:gd name="T13" fmla="*/ 61 h 79"/>
                <a:gd name="T14" fmla="*/ 2236 w 2239"/>
                <a:gd name="T15" fmla="*/ 55 h 79"/>
                <a:gd name="T16" fmla="*/ 2238 w 2239"/>
                <a:gd name="T17" fmla="*/ 47 h 79"/>
                <a:gd name="T18" fmla="*/ 2239 w 2239"/>
                <a:gd name="T19" fmla="*/ 39 h 79"/>
                <a:gd name="T20" fmla="*/ 2238 w 2239"/>
                <a:gd name="T21" fmla="*/ 31 h 79"/>
                <a:gd name="T22" fmla="*/ 2236 w 2239"/>
                <a:gd name="T23" fmla="*/ 23 h 79"/>
                <a:gd name="T24" fmla="*/ 2233 w 2239"/>
                <a:gd name="T25" fmla="*/ 17 h 79"/>
                <a:gd name="T26" fmla="*/ 2227 w 2239"/>
                <a:gd name="T27" fmla="*/ 11 h 79"/>
                <a:gd name="T28" fmla="*/ 2221 w 2239"/>
                <a:gd name="T29" fmla="*/ 6 h 79"/>
                <a:gd name="T30" fmla="*/ 2215 w 2239"/>
                <a:gd name="T31" fmla="*/ 2 h 79"/>
                <a:gd name="T32" fmla="*/ 2207 w 2239"/>
                <a:gd name="T33" fmla="*/ 0 h 79"/>
                <a:gd name="T34" fmla="*/ 2199 w 2239"/>
                <a:gd name="T35" fmla="*/ 0 h 79"/>
                <a:gd name="T36" fmla="*/ 40 w 2239"/>
                <a:gd name="T37" fmla="*/ 0 h 79"/>
                <a:gd name="T38" fmla="*/ 31 w 2239"/>
                <a:gd name="T39" fmla="*/ 0 h 79"/>
                <a:gd name="T40" fmla="*/ 25 w 2239"/>
                <a:gd name="T41" fmla="*/ 2 h 79"/>
                <a:gd name="T42" fmla="*/ 18 w 2239"/>
                <a:gd name="T43" fmla="*/ 6 h 79"/>
                <a:gd name="T44" fmla="*/ 11 w 2239"/>
                <a:gd name="T45" fmla="*/ 11 h 79"/>
                <a:gd name="T46" fmla="*/ 7 w 2239"/>
                <a:gd name="T47" fmla="*/ 17 h 79"/>
                <a:gd name="T48" fmla="*/ 3 w 2239"/>
                <a:gd name="T49" fmla="*/ 23 h 79"/>
                <a:gd name="T50" fmla="*/ 1 w 2239"/>
                <a:gd name="T51" fmla="*/ 31 h 79"/>
                <a:gd name="T52" fmla="*/ 0 w 2239"/>
                <a:gd name="T53" fmla="*/ 39 h 79"/>
                <a:gd name="T54" fmla="*/ 1 w 2239"/>
                <a:gd name="T55" fmla="*/ 47 h 79"/>
                <a:gd name="T56" fmla="*/ 3 w 2239"/>
                <a:gd name="T57" fmla="*/ 55 h 79"/>
                <a:gd name="T58" fmla="*/ 7 w 2239"/>
                <a:gd name="T59" fmla="*/ 61 h 79"/>
                <a:gd name="T60" fmla="*/ 11 w 2239"/>
                <a:gd name="T61" fmla="*/ 68 h 79"/>
                <a:gd name="T62" fmla="*/ 18 w 2239"/>
                <a:gd name="T63" fmla="*/ 72 h 79"/>
                <a:gd name="T64" fmla="*/ 25 w 2239"/>
                <a:gd name="T65" fmla="*/ 76 h 79"/>
                <a:gd name="T66" fmla="*/ 31 w 2239"/>
                <a:gd name="T67" fmla="*/ 78 h 79"/>
                <a:gd name="T68" fmla="*/ 40 w 2239"/>
                <a:gd name="T6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9" h="79">
                  <a:moveTo>
                    <a:pt x="40" y="79"/>
                  </a:moveTo>
                  <a:lnTo>
                    <a:pt x="2199" y="79"/>
                  </a:lnTo>
                  <a:lnTo>
                    <a:pt x="2207" y="78"/>
                  </a:lnTo>
                  <a:lnTo>
                    <a:pt x="2215" y="76"/>
                  </a:lnTo>
                  <a:lnTo>
                    <a:pt x="2221" y="72"/>
                  </a:lnTo>
                  <a:lnTo>
                    <a:pt x="2227" y="68"/>
                  </a:lnTo>
                  <a:lnTo>
                    <a:pt x="2233" y="61"/>
                  </a:lnTo>
                  <a:lnTo>
                    <a:pt x="2236" y="55"/>
                  </a:lnTo>
                  <a:lnTo>
                    <a:pt x="2238" y="47"/>
                  </a:lnTo>
                  <a:lnTo>
                    <a:pt x="2239" y="39"/>
                  </a:lnTo>
                  <a:lnTo>
                    <a:pt x="2238" y="31"/>
                  </a:lnTo>
                  <a:lnTo>
                    <a:pt x="2236" y="23"/>
                  </a:lnTo>
                  <a:lnTo>
                    <a:pt x="2233" y="17"/>
                  </a:lnTo>
                  <a:lnTo>
                    <a:pt x="2227" y="11"/>
                  </a:lnTo>
                  <a:lnTo>
                    <a:pt x="2221" y="6"/>
                  </a:lnTo>
                  <a:lnTo>
                    <a:pt x="2215" y="2"/>
                  </a:lnTo>
                  <a:lnTo>
                    <a:pt x="2207" y="0"/>
                  </a:lnTo>
                  <a:lnTo>
                    <a:pt x="2199" y="0"/>
                  </a:lnTo>
                  <a:lnTo>
                    <a:pt x="40" y="0"/>
                  </a:lnTo>
                  <a:lnTo>
                    <a:pt x="31" y="0"/>
                  </a:lnTo>
                  <a:lnTo>
                    <a:pt x="25" y="2"/>
                  </a:lnTo>
                  <a:lnTo>
                    <a:pt x="18" y="6"/>
                  </a:lnTo>
                  <a:lnTo>
                    <a:pt x="11" y="11"/>
                  </a:lnTo>
                  <a:lnTo>
                    <a:pt x="7" y="17"/>
                  </a:lnTo>
                  <a:lnTo>
                    <a:pt x="3" y="23"/>
                  </a:lnTo>
                  <a:lnTo>
                    <a:pt x="1" y="31"/>
                  </a:lnTo>
                  <a:lnTo>
                    <a:pt x="0" y="39"/>
                  </a:lnTo>
                  <a:lnTo>
                    <a:pt x="1" y="47"/>
                  </a:lnTo>
                  <a:lnTo>
                    <a:pt x="3" y="55"/>
                  </a:lnTo>
                  <a:lnTo>
                    <a:pt x="7" y="61"/>
                  </a:lnTo>
                  <a:lnTo>
                    <a:pt x="11" y="68"/>
                  </a:lnTo>
                  <a:lnTo>
                    <a:pt x="18" y="72"/>
                  </a:lnTo>
                  <a:lnTo>
                    <a:pt x="25" y="76"/>
                  </a:lnTo>
                  <a:lnTo>
                    <a:pt x="31" y="78"/>
                  </a:lnTo>
                  <a:lnTo>
                    <a:pt x="4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604" name="Freeform 50">
              <a:extLst>
                <a:ext uri="{FF2B5EF4-FFF2-40B4-BE49-F238E27FC236}">
                  <a16:creationId xmlns:a16="http://schemas.microsoft.com/office/drawing/2014/main" id="{B13ED151-6EEC-4219-9684-F6475ABE8D0A}"/>
                </a:ext>
              </a:extLst>
            </p:cNvPr>
            <p:cNvSpPr>
              <a:spLocks noEditPoints="1"/>
            </p:cNvSpPr>
            <p:nvPr/>
          </p:nvSpPr>
          <p:spPr bwMode="auto">
            <a:xfrm>
              <a:off x="6924675" y="5738813"/>
              <a:ext cx="431800" cy="330200"/>
            </a:xfrm>
            <a:custGeom>
              <a:avLst/>
              <a:gdLst>
                <a:gd name="T0" fmla="*/ 519 w 1360"/>
                <a:gd name="T1" fmla="*/ 576 h 1040"/>
                <a:gd name="T2" fmla="*/ 817 w 1360"/>
                <a:gd name="T3" fmla="*/ 873 h 1040"/>
                <a:gd name="T4" fmla="*/ 831 w 1360"/>
                <a:gd name="T5" fmla="*/ 880 h 1040"/>
                <a:gd name="T6" fmla="*/ 847 w 1360"/>
                <a:gd name="T7" fmla="*/ 880 h 1040"/>
                <a:gd name="T8" fmla="*/ 862 w 1360"/>
                <a:gd name="T9" fmla="*/ 873 h 1040"/>
                <a:gd name="T10" fmla="*/ 1079 w 1360"/>
                <a:gd name="T11" fmla="*/ 657 h 1040"/>
                <a:gd name="T12" fmla="*/ 1279 w 1360"/>
                <a:gd name="T13" fmla="*/ 960 h 1040"/>
                <a:gd name="T14" fmla="*/ 1279 w 1360"/>
                <a:gd name="T15" fmla="*/ 80 h 1040"/>
                <a:gd name="T16" fmla="*/ 1108 w 1360"/>
                <a:gd name="T17" fmla="*/ 572 h 1040"/>
                <a:gd name="T18" fmla="*/ 1094 w 1360"/>
                <a:gd name="T19" fmla="*/ 563 h 1040"/>
                <a:gd name="T20" fmla="*/ 1079 w 1360"/>
                <a:gd name="T21" fmla="*/ 561 h 1040"/>
                <a:gd name="T22" fmla="*/ 1064 w 1360"/>
                <a:gd name="T23" fmla="*/ 563 h 1040"/>
                <a:gd name="T24" fmla="*/ 1051 w 1360"/>
                <a:gd name="T25" fmla="*/ 572 h 1040"/>
                <a:gd name="T26" fmla="*/ 547 w 1360"/>
                <a:gd name="T27" fmla="*/ 492 h 1040"/>
                <a:gd name="T28" fmla="*/ 535 w 1360"/>
                <a:gd name="T29" fmla="*/ 483 h 1040"/>
                <a:gd name="T30" fmla="*/ 519 w 1360"/>
                <a:gd name="T31" fmla="*/ 480 h 1040"/>
                <a:gd name="T32" fmla="*/ 505 w 1360"/>
                <a:gd name="T33" fmla="*/ 483 h 1040"/>
                <a:gd name="T34" fmla="*/ 491 w 1360"/>
                <a:gd name="T35" fmla="*/ 492 h 1040"/>
                <a:gd name="T36" fmla="*/ 79 w 1360"/>
                <a:gd name="T37" fmla="*/ 80 h 1040"/>
                <a:gd name="T38" fmla="*/ 1319 w 1360"/>
                <a:gd name="T39" fmla="*/ 0 h 1040"/>
                <a:gd name="T40" fmla="*/ 31 w 1360"/>
                <a:gd name="T41" fmla="*/ 1 h 1040"/>
                <a:gd name="T42" fmla="*/ 17 w 1360"/>
                <a:gd name="T43" fmla="*/ 7 h 1040"/>
                <a:gd name="T44" fmla="*/ 7 w 1360"/>
                <a:gd name="T45" fmla="*/ 18 h 1040"/>
                <a:gd name="T46" fmla="*/ 0 w 1360"/>
                <a:gd name="T47" fmla="*/ 32 h 1040"/>
                <a:gd name="T48" fmla="*/ 0 w 1360"/>
                <a:gd name="T49" fmla="*/ 1001 h 1040"/>
                <a:gd name="T50" fmla="*/ 2 w 1360"/>
                <a:gd name="T51" fmla="*/ 1015 h 1040"/>
                <a:gd name="T52" fmla="*/ 11 w 1360"/>
                <a:gd name="T53" fmla="*/ 1029 h 1040"/>
                <a:gd name="T54" fmla="*/ 25 w 1360"/>
                <a:gd name="T55" fmla="*/ 1037 h 1040"/>
                <a:gd name="T56" fmla="*/ 39 w 1360"/>
                <a:gd name="T57" fmla="*/ 1040 h 1040"/>
                <a:gd name="T58" fmla="*/ 1327 w 1360"/>
                <a:gd name="T59" fmla="*/ 1040 h 1040"/>
                <a:gd name="T60" fmla="*/ 1342 w 1360"/>
                <a:gd name="T61" fmla="*/ 1033 h 1040"/>
                <a:gd name="T62" fmla="*/ 1352 w 1360"/>
                <a:gd name="T63" fmla="*/ 1023 h 1040"/>
                <a:gd name="T64" fmla="*/ 1359 w 1360"/>
                <a:gd name="T65" fmla="*/ 1008 h 1040"/>
                <a:gd name="T66" fmla="*/ 1360 w 1360"/>
                <a:gd name="T67" fmla="*/ 40 h 1040"/>
                <a:gd name="T68" fmla="*/ 1356 w 1360"/>
                <a:gd name="T69" fmla="*/ 24 h 1040"/>
                <a:gd name="T70" fmla="*/ 1347 w 1360"/>
                <a:gd name="T71" fmla="*/ 12 h 1040"/>
                <a:gd name="T72" fmla="*/ 1335 w 1360"/>
                <a:gd name="T73" fmla="*/ 3 h 1040"/>
                <a:gd name="T74" fmla="*/ 1319 w 1360"/>
                <a:gd name="T75"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0" h="1040">
                  <a:moveTo>
                    <a:pt x="136" y="960"/>
                  </a:moveTo>
                  <a:lnTo>
                    <a:pt x="519" y="576"/>
                  </a:lnTo>
                  <a:lnTo>
                    <a:pt x="811" y="868"/>
                  </a:lnTo>
                  <a:lnTo>
                    <a:pt x="817" y="873"/>
                  </a:lnTo>
                  <a:lnTo>
                    <a:pt x="825" y="877"/>
                  </a:lnTo>
                  <a:lnTo>
                    <a:pt x="831" y="880"/>
                  </a:lnTo>
                  <a:lnTo>
                    <a:pt x="839" y="880"/>
                  </a:lnTo>
                  <a:lnTo>
                    <a:pt x="847" y="880"/>
                  </a:lnTo>
                  <a:lnTo>
                    <a:pt x="854" y="877"/>
                  </a:lnTo>
                  <a:lnTo>
                    <a:pt x="862" y="873"/>
                  </a:lnTo>
                  <a:lnTo>
                    <a:pt x="867" y="868"/>
                  </a:lnTo>
                  <a:lnTo>
                    <a:pt x="1079" y="657"/>
                  </a:lnTo>
                  <a:lnTo>
                    <a:pt x="1279" y="856"/>
                  </a:lnTo>
                  <a:lnTo>
                    <a:pt x="1279" y="960"/>
                  </a:lnTo>
                  <a:lnTo>
                    <a:pt x="136" y="960"/>
                  </a:lnTo>
                  <a:close/>
                  <a:moveTo>
                    <a:pt x="1279" y="80"/>
                  </a:moveTo>
                  <a:lnTo>
                    <a:pt x="1279" y="743"/>
                  </a:lnTo>
                  <a:lnTo>
                    <a:pt x="1108" y="572"/>
                  </a:lnTo>
                  <a:lnTo>
                    <a:pt x="1101" y="566"/>
                  </a:lnTo>
                  <a:lnTo>
                    <a:pt x="1094" y="563"/>
                  </a:lnTo>
                  <a:lnTo>
                    <a:pt x="1087" y="561"/>
                  </a:lnTo>
                  <a:lnTo>
                    <a:pt x="1079" y="561"/>
                  </a:lnTo>
                  <a:lnTo>
                    <a:pt x="1072" y="561"/>
                  </a:lnTo>
                  <a:lnTo>
                    <a:pt x="1064" y="563"/>
                  </a:lnTo>
                  <a:lnTo>
                    <a:pt x="1058" y="566"/>
                  </a:lnTo>
                  <a:lnTo>
                    <a:pt x="1051" y="572"/>
                  </a:lnTo>
                  <a:lnTo>
                    <a:pt x="839" y="783"/>
                  </a:lnTo>
                  <a:lnTo>
                    <a:pt x="547" y="492"/>
                  </a:lnTo>
                  <a:lnTo>
                    <a:pt x="542" y="487"/>
                  </a:lnTo>
                  <a:lnTo>
                    <a:pt x="535" y="483"/>
                  </a:lnTo>
                  <a:lnTo>
                    <a:pt x="527" y="481"/>
                  </a:lnTo>
                  <a:lnTo>
                    <a:pt x="519" y="480"/>
                  </a:lnTo>
                  <a:lnTo>
                    <a:pt x="511" y="481"/>
                  </a:lnTo>
                  <a:lnTo>
                    <a:pt x="505" y="483"/>
                  </a:lnTo>
                  <a:lnTo>
                    <a:pt x="498" y="487"/>
                  </a:lnTo>
                  <a:lnTo>
                    <a:pt x="491" y="492"/>
                  </a:lnTo>
                  <a:lnTo>
                    <a:pt x="79" y="903"/>
                  </a:lnTo>
                  <a:lnTo>
                    <a:pt x="79" y="80"/>
                  </a:lnTo>
                  <a:lnTo>
                    <a:pt x="1279" y="80"/>
                  </a:lnTo>
                  <a:close/>
                  <a:moveTo>
                    <a:pt x="1319" y="0"/>
                  </a:moveTo>
                  <a:lnTo>
                    <a:pt x="39" y="0"/>
                  </a:lnTo>
                  <a:lnTo>
                    <a:pt x="31" y="1"/>
                  </a:lnTo>
                  <a:lnTo>
                    <a:pt x="25" y="3"/>
                  </a:lnTo>
                  <a:lnTo>
                    <a:pt x="17" y="7"/>
                  </a:lnTo>
                  <a:lnTo>
                    <a:pt x="11" y="12"/>
                  </a:lnTo>
                  <a:lnTo>
                    <a:pt x="7" y="18"/>
                  </a:lnTo>
                  <a:lnTo>
                    <a:pt x="3" y="24"/>
                  </a:lnTo>
                  <a:lnTo>
                    <a:pt x="0" y="32"/>
                  </a:lnTo>
                  <a:lnTo>
                    <a:pt x="0" y="40"/>
                  </a:lnTo>
                  <a:lnTo>
                    <a:pt x="0" y="1001"/>
                  </a:lnTo>
                  <a:lnTo>
                    <a:pt x="0" y="1007"/>
                  </a:lnTo>
                  <a:lnTo>
                    <a:pt x="2" y="1015"/>
                  </a:lnTo>
                  <a:lnTo>
                    <a:pt x="7" y="1022"/>
                  </a:lnTo>
                  <a:lnTo>
                    <a:pt x="11" y="1029"/>
                  </a:lnTo>
                  <a:lnTo>
                    <a:pt x="18" y="1033"/>
                  </a:lnTo>
                  <a:lnTo>
                    <a:pt x="25" y="1037"/>
                  </a:lnTo>
                  <a:lnTo>
                    <a:pt x="32" y="1040"/>
                  </a:lnTo>
                  <a:lnTo>
                    <a:pt x="39" y="1040"/>
                  </a:lnTo>
                  <a:lnTo>
                    <a:pt x="1319" y="1040"/>
                  </a:lnTo>
                  <a:lnTo>
                    <a:pt x="1327" y="1040"/>
                  </a:lnTo>
                  <a:lnTo>
                    <a:pt x="1335" y="1037"/>
                  </a:lnTo>
                  <a:lnTo>
                    <a:pt x="1342" y="1033"/>
                  </a:lnTo>
                  <a:lnTo>
                    <a:pt x="1347" y="1029"/>
                  </a:lnTo>
                  <a:lnTo>
                    <a:pt x="1352" y="1023"/>
                  </a:lnTo>
                  <a:lnTo>
                    <a:pt x="1356" y="1015"/>
                  </a:lnTo>
                  <a:lnTo>
                    <a:pt x="1359" y="1008"/>
                  </a:lnTo>
                  <a:lnTo>
                    <a:pt x="1360" y="1001"/>
                  </a:lnTo>
                  <a:lnTo>
                    <a:pt x="1360" y="40"/>
                  </a:lnTo>
                  <a:lnTo>
                    <a:pt x="1359" y="32"/>
                  </a:lnTo>
                  <a:lnTo>
                    <a:pt x="1356" y="24"/>
                  </a:lnTo>
                  <a:lnTo>
                    <a:pt x="1352" y="18"/>
                  </a:lnTo>
                  <a:lnTo>
                    <a:pt x="1347" y="12"/>
                  </a:lnTo>
                  <a:lnTo>
                    <a:pt x="1342" y="7"/>
                  </a:lnTo>
                  <a:lnTo>
                    <a:pt x="1335" y="3"/>
                  </a:lnTo>
                  <a:lnTo>
                    <a:pt x="1327" y="1"/>
                  </a:lnTo>
                  <a:lnTo>
                    <a:pt x="13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612" name="Group 21">
            <a:extLst>
              <a:ext uri="{FF2B5EF4-FFF2-40B4-BE49-F238E27FC236}">
                <a16:creationId xmlns:a16="http://schemas.microsoft.com/office/drawing/2014/main" id="{4313B731-549B-43EF-818A-DEB0CAEB9A2D}"/>
              </a:ext>
            </a:extLst>
          </p:cNvPr>
          <p:cNvGrpSpPr>
            <a:grpSpLocks noChangeAspect="1"/>
          </p:cNvGrpSpPr>
          <p:nvPr/>
        </p:nvGrpSpPr>
        <p:grpSpPr>
          <a:xfrm>
            <a:off x="2330448" y="3802799"/>
            <a:ext cx="253677" cy="306484"/>
            <a:chOff x="5765490" y="484986"/>
            <a:chExt cx="356718" cy="430973"/>
          </a:xfrm>
          <a:solidFill>
            <a:schemeClr val="bg1"/>
          </a:solidFill>
          <a:effectLst/>
        </p:grpSpPr>
        <p:sp>
          <p:nvSpPr>
            <p:cNvPr id="613" name="Freeform 181">
              <a:extLst>
                <a:ext uri="{FF2B5EF4-FFF2-40B4-BE49-F238E27FC236}">
                  <a16:creationId xmlns:a16="http://schemas.microsoft.com/office/drawing/2014/main" id="{D78B7590-3638-4347-8554-152278E78C0A}"/>
                </a:ext>
              </a:extLst>
            </p:cNvPr>
            <p:cNvSpPr>
              <a:spLocks noEditPoints="1"/>
            </p:cNvSpPr>
            <p:nvPr/>
          </p:nvSpPr>
          <p:spPr bwMode="auto">
            <a:xfrm>
              <a:off x="5803346" y="484986"/>
              <a:ext cx="299934" cy="132495"/>
            </a:xfrm>
            <a:custGeom>
              <a:avLst/>
              <a:gdLst>
                <a:gd name="T0" fmla="*/ 69 w 617"/>
                <a:gd name="T1" fmla="*/ 40 h 271"/>
                <a:gd name="T2" fmla="*/ 54 w 617"/>
                <a:gd name="T3" fmla="*/ 46 h 271"/>
                <a:gd name="T4" fmla="*/ 44 w 617"/>
                <a:gd name="T5" fmla="*/ 56 h 271"/>
                <a:gd name="T6" fmla="*/ 39 w 617"/>
                <a:gd name="T7" fmla="*/ 70 h 271"/>
                <a:gd name="T8" fmla="*/ 37 w 617"/>
                <a:gd name="T9" fmla="*/ 194 h 271"/>
                <a:gd name="T10" fmla="*/ 41 w 617"/>
                <a:gd name="T11" fmla="*/ 209 h 271"/>
                <a:gd name="T12" fmla="*/ 49 w 617"/>
                <a:gd name="T13" fmla="*/ 220 h 271"/>
                <a:gd name="T14" fmla="*/ 62 w 617"/>
                <a:gd name="T15" fmla="*/ 229 h 271"/>
                <a:gd name="T16" fmla="*/ 76 w 617"/>
                <a:gd name="T17" fmla="*/ 232 h 271"/>
                <a:gd name="T18" fmla="*/ 548 w 617"/>
                <a:gd name="T19" fmla="*/ 232 h 271"/>
                <a:gd name="T20" fmla="*/ 561 w 617"/>
                <a:gd name="T21" fmla="*/ 226 h 271"/>
                <a:gd name="T22" fmla="*/ 571 w 617"/>
                <a:gd name="T23" fmla="*/ 214 h 271"/>
                <a:gd name="T24" fmla="*/ 577 w 617"/>
                <a:gd name="T25" fmla="*/ 201 h 271"/>
                <a:gd name="T26" fmla="*/ 579 w 617"/>
                <a:gd name="T27" fmla="*/ 78 h 271"/>
                <a:gd name="T28" fmla="*/ 576 w 617"/>
                <a:gd name="T29" fmla="*/ 63 h 271"/>
                <a:gd name="T30" fmla="*/ 567 w 617"/>
                <a:gd name="T31" fmla="*/ 50 h 271"/>
                <a:gd name="T32" fmla="*/ 555 w 617"/>
                <a:gd name="T33" fmla="*/ 41 h 271"/>
                <a:gd name="T34" fmla="*/ 540 w 617"/>
                <a:gd name="T35" fmla="*/ 39 h 271"/>
                <a:gd name="T36" fmla="*/ 540 w 617"/>
                <a:gd name="T37" fmla="*/ 271 h 271"/>
                <a:gd name="T38" fmla="*/ 69 w 617"/>
                <a:gd name="T39" fmla="*/ 271 h 271"/>
                <a:gd name="T40" fmla="*/ 53 w 617"/>
                <a:gd name="T41" fmla="*/ 268 h 271"/>
                <a:gd name="T42" fmla="*/ 33 w 617"/>
                <a:gd name="T43" fmla="*/ 258 h 271"/>
                <a:gd name="T44" fmla="*/ 13 w 617"/>
                <a:gd name="T45" fmla="*/ 236 h 271"/>
                <a:gd name="T46" fmla="*/ 3 w 617"/>
                <a:gd name="T47" fmla="*/ 216 h 271"/>
                <a:gd name="T48" fmla="*/ 0 w 617"/>
                <a:gd name="T49" fmla="*/ 201 h 271"/>
                <a:gd name="T50" fmla="*/ 0 w 617"/>
                <a:gd name="T51" fmla="*/ 78 h 271"/>
                <a:gd name="T52" fmla="*/ 1 w 617"/>
                <a:gd name="T53" fmla="*/ 62 h 271"/>
                <a:gd name="T54" fmla="*/ 5 w 617"/>
                <a:gd name="T55" fmla="*/ 47 h 271"/>
                <a:gd name="T56" fmla="*/ 21 w 617"/>
                <a:gd name="T57" fmla="*/ 23 h 271"/>
                <a:gd name="T58" fmla="*/ 46 w 617"/>
                <a:gd name="T59" fmla="*/ 7 h 271"/>
                <a:gd name="T60" fmla="*/ 60 w 617"/>
                <a:gd name="T61" fmla="*/ 3 h 271"/>
                <a:gd name="T62" fmla="*/ 76 w 617"/>
                <a:gd name="T63" fmla="*/ 0 h 271"/>
                <a:gd name="T64" fmla="*/ 548 w 617"/>
                <a:gd name="T65" fmla="*/ 1 h 271"/>
                <a:gd name="T66" fmla="*/ 563 w 617"/>
                <a:gd name="T67" fmla="*/ 4 h 271"/>
                <a:gd name="T68" fmla="*/ 583 w 617"/>
                <a:gd name="T69" fmla="*/ 14 h 271"/>
                <a:gd name="T70" fmla="*/ 604 w 617"/>
                <a:gd name="T71" fmla="*/ 34 h 271"/>
                <a:gd name="T72" fmla="*/ 613 w 617"/>
                <a:gd name="T73" fmla="*/ 54 h 271"/>
                <a:gd name="T74" fmla="*/ 616 w 617"/>
                <a:gd name="T75" fmla="*/ 70 h 271"/>
                <a:gd name="T76" fmla="*/ 617 w 617"/>
                <a:gd name="T77" fmla="*/ 194 h 271"/>
                <a:gd name="T78" fmla="*/ 616 w 617"/>
                <a:gd name="T79" fmla="*/ 209 h 271"/>
                <a:gd name="T80" fmla="*/ 612 w 617"/>
                <a:gd name="T81" fmla="*/ 223 h 271"/>
                <a:gd name="T82" fmla="*/ 594 w 617"/>
                <a:gd name="T83" fmla="*/ 247 h 271"/>
                <a:gd name="T84" fmla="*/ 570 w 617"/>
                <a:gd name="T85" fmla="*/ 265 h 271"/>
                <a:gd name="T86" fmla="*/ 555 w 617"/>
                <a:gd name="T87" fmla="*/ 269 h 271"/>
                <a:gd name="T88" fmla="*/ 540 w 617"/>
                <a:gd name="T89"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7" h="271">
                  <a:moveTo>
                    <a:pt x="76" y="39"/>
                  </a:moveTo>
                  <a:lnTo>
                    <a:pt x="69" y="40"/>
                  </a:lnTo>
                  <a:lnTo>
                    <a:pt x="62" y="41"/>
                  </a:lnTo>
                  <a:lnTo>
                    <a:pt x="54" y="46"/>
                  </a:lnTo>
                  <a:lnTo>
                    <a:pt x="49" y="50"/>
                  </a:lnTo>
                  <a:lnTo>
                    <a:pt x="44" y="56"/>
                  </a:lnTo>
                  <a:lnTo>
                    <a:pt x="41" y="63"/>
                  </a:lnTo>
                  <a:lnTo>
                    <a:pt x="39" y="70"/>
                  </a:lnTo>
                  <a:lnTo>
                    <a:pt x="37" y="78"/>
                  </a:lnTo>
                  <a:lnTo>
                    <a:pt x="37" y="194"/>
                  </a:lnTo>
                  <a:lnTo>
                    <a:pt x="39" y="201"/>
                  </a:lnTo>
                  <a:lnTo>
                    <a:pt x="41" y="209"/>
                  </a:lnTo>
                  <a:lnTo>
                    <a:pt x="44" y="214"/>
                  </a:lnTo>
                  <a:lnTo>
                    <a:pt x="49" y="220"/>
                  </a:lnTo>
                  <a:lnTo>
                    <a:pt x="54" y="226"/>
                  </a:lnTo>
                  <a:lnTo>
                    <a:pt x="62" y="229"/>
                  </a:lnTo>
                  <a:lnTo>
                    <a:pt x="69" y="232"/>
                  </a:lnTo>
                  <a:lnTo>
                    <a:pt x="76" y="232"/>
                  </a:lnTo>
                  <a:lnTo>
                    <a:pt x="540" y="232"/>
                  </a:lnTo>
                  <a:lnTo>
                    <a:pt x="548" y="232"/>
                  </a:lnTo>
                  <a:lnTo>
                    <a:pt x="555" y="229"/>
                  </a:lnTo>
                  <a:lnTo>
                    <a:pt x="561" y="226"/>
                  </a:lnTo>
                  <a:lnTo>
                    <a:pt x="567" y="220"/>
                  </a:lnTo>
                  <a:lnTo>
                    <a:pt x="571" y="214"/>
                  </a:lnTo>
                  <a:lnTo>
                    <a:pt x="576" y="209"/>
                  </a:lnTo>
                  <a:lnTo>
                    <a:pt x="577" y="201"/>
                  </a:lnTo>
                  <a:lnTo>
                    <a:pt x="579" y="194"/>
                  </a:lnTo>
                  <a:lnTo>
                    <a:pt x="579" y="78"/>
                  </a:lnTo>
                  <a:lnTo>
                    <a:pt x="577" y="70"/>
                  </a:lnTo>
                  <a:lnTo>
                    <a:pt x="576" y="63"/>
                  </a:lnTo>
                  <a:lnTo>
                    <a:pt x="571" y="56"/>
                  </a:lnTo>
                  <a:lnTo>
                    <a:pt x="567" y="50"/>
                  </a:lnTo>
                  <a:lnTo>
                    <a:pt x="561" y="46"/>
                  </a:lnTo>
                  <a:lnTo>
                    <a:pt x="555" y="41"/>
                  </a:lnTo>
                  <a:lnTo>
                    <a:pt x="548" y="40"/>
                  </a:lnTo>
                  <a:lnTo>
                    <a:pt x="540" y="39"/>
                  </a:lnTo>
                  <a:lnTo>
                    <a:pt x="76" y="39"/>
                  </a:lnTo>
                  <a:close/>
                  <a:moveTo>
                    <a:pt x="540" y="271"/>
                  </a:moveTo>
                  <a:lnTo>
                    <a:pt x="76" y="271"/>
                  </a:lnTo>
                  <a:lnTo>
                    <a:pt x="69" y="271"/>
                  </a:lnTo>
                  <a:lnTo>
                    <a:pt x="60" y="269"/>
                  </a:lnTo>
                  <a:lnTo>
                    <a:pt x="53" y="268"/>
                  </a:lnTo>
                  <a:lnTo>
                    <a:pt x="46" y="265"/>
                  </a:lnTo>
                  <a:lnTo>
                    <a:pt x="33" y="258"/>
                  </a:lnTo>
                  <a:lnTo>
                    <a:pt x="21" y="247"/>
                  </a:lnTo>
                  <a:lnTo>
                    <a:pt x="13" y="236"/>
                  </a:lnTo>
                  <a:lnTo>
                    <a:pt x="5" y="223"/>
                  </a:lnTo>
                  <a:lnTo>
                    <a:pt x="3" y="216"/>
                  </a:lnTo>
                  <a:lnTo>
                    <a:pt x="1" y="209"/>
                  </a:lnTo>
                  <a:lnTo>
                    <a:pt x="0" y="201"/>
                  </a:lnTo>
                  <a:lnTo>
                    <a:pt x="0" y="194"/>
                  </a:lnTo>
                  <a:lnTo>
                    <a:pt x="0" y="78"/>
                  </a:lnTo>
                  <a:lnTo>
                    <a:pt x="0" y="70"/>
                  </a:lnTo>
                  <a:lnTo>
                    <a:pt x="1" y="62"/>
                  </a:lnTo>
                  <a:lnTo>
                    <a:pt x="3" y="54"/>
                  </a:lnTo>
                  <a:lnTo>
                    <a:pt x="5" y="47"/>
                  </a:lnTo>
                  <a:lnTo>
                    <a:pt x="13" y="34"/>
                  </a:lnTo>
                  <a:lnTo>
                    <a:pt x="21" y="23"/>
                  </a:lnTo>
                  <a:lnTo>
                    <a:pt x="33" y="14"/>
                  </a:lnTo>
                  <a:lnTo>
                    <a:pt x="46" y="7"/>
                  </a:lnTo>
                  <a:lnTo>
                    <a:pt x="53" y="4"/>
                  </a:lnTo>
                  <a:lnTo>
                    <a:pt x="60" y="3"/>
                  </a:lnTo>
                  <a:lnTo>
                    <a:pt x="69" y="1"/>
                  </a:lnTo>
                  <a:lnTo>
                    <a:pt x="76" y="0"/>
                  </a:lnTo>
                  <a:lnTo>
                    <a:pt x="540" y="0"/>
                  </a:lnTo>
                  <a:lnTo>
                    <a:pt x="548" y="1"/>
                  </a:lnTo>
                  <a:lnTo>
                    <a:pt x="555" y="1"/>
                  </a:lnTo>
                  <a:lnTo>
                    <a:pt x="563" y="4"/>
                  </a:lnTo>
                  <a:lnTo>
                    <a:pt x="570" y="7"/>
                  </a:lnTo>
                  <a:lnTo>
                    <a:pt x="583" y="14"/>
                  </a:lnTo>
                  <a:lnTo>
                    <a:pt x="594" y="23"/>
                  </a:lnTo>
                  <a:lnTo>
                    <a:pt x="604" y="34"/>
                  </a:lnTo>
                  <a:lnTo>
                    <a:pt x="612" y="47"/>
                  </a:lnTo>
                  <a:lnTo>
                    <a:pt x="613" y="54"/>
                  </a:lnTo>
                  <a:lnTo>
                    <a:pt x="616" y="62"/>
                  </a:lnTo>
                  <a:lnTo>
                    <a:pt x="616" y="70"/>
                  </a:lnTo>
                  <a:lnTo>
                    <a:pt x="617" y="78"/>
                  </a:lnTo>
                  <a:lnTo>
                    <a:pt x="617" y="194"/>
                  </a:lnTo>
                  <a:lnTo>
                    <a:pt x="616" y="201"/>
                  </a:lnTo>
                  <a:lnTo>
                    <a:pt x="616" y="209"/>
                  </a:lnTo>
                  <a:lnTo>
                    <a:pt x="613" y="216"/>
                  </a:lnTo>
                  <a:lnTo>
                    <a:pt x="612" y="223"/>
                  </a:lnTo>
                  <a:lnTo>
                    <a:pt x="604" y="236"/>
                  </a:lnTo>
                  <a:lnTo>
                    <a:pt x="594" y="247"/>
                  </a:lnTo>
                  <a:lnTo>
                    <a:pt x="583" y="258"/>
                  </a:lnTo>
                  <a:lnTo>
                    <a:pt x="570" y="265"/>
                  </a:lnTo>
                  <a:lnTo>
                    <a:pt x="563" y="268"/>
                  </a:lnTo>
                  <a:lnTo>
                    <a:pt x="555" y="269"/>
                  </a:lnTo>
                  <a:lnTo>
                    <a:pt x="548" y="271"/>
                  </a:lnTo>
                  <a:lnTo>
                    <a:pt x="540" y="2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4" name="Rectangle 182">
              <a:extLst>
                <a:ext uri="{FF2B5EF4-FFF2-40B4-BE49-F238E27FC236}">
                  <a16:creationId xmlns:a16="http://schemas.microsoft.com/office/drawing/2014/main" id="{F9AF5974-23EF-44B6-B7CA-81538BF6FF35}"/>
                </a:ext>
              </a:extLst>
            </p:cNvPr>
            <p:cNvSpPr>
              <a:spLocks noChangeArrowheads="1"/>
            </p:cNvSpPr>
            <p:nvPr/>
          </p:nvSpPr>
          <p:spPr bwMode="auto">
            <a:xfrm>
              <a:off x="6093088" y="541770"/>
              <a:ext cx="29120" cy="1892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5" name="Freeform 183">
              <a:extLst>
                <a:ext uri="{FF2B5EF4-FFF2-40B4-BE49-F238E27FC236}">
                  <a16:creationId xmlns:a16="http://schemas.microsoft.com/office/drawing/2014/main" id="{AB7FC26E-D924-4612-8098-9CBC69C34349}"/>
                </a:ext>
              </a:extLst>
            </p:cNvPr>
            <p:cNvSpPr>
              <a:spLocks/>
            </p:cNvSpPr>
            <p:nvPr/>
          </p:nvSpPr>
          <p:spPr bwMode="auto">
            <a:xfrm>
              <a:off x="5765490" y="541770"/>
              <a:ext cx="206751" cy="206751"/>
            </a:xfrm>
            <a:custGeom>
              <a:avLst/>
              <a:gdLst>
                <a:gd name="T0" fmla="*/ 386 w 425"/>
                <a:gd name="T1" fmla="*/ 425 h 425"/>
                <a:gd name="T2" fmla="*/ 386 w 425"/>
                <a:gd name="T3" fmla="*/ 247 h 425"/>
                <a:gd name="T4" fmla="*/ 383 w 425"/>
                <a:gd name="T5" fmla="*/ 241 h 425"/>
                <a:gd name="T6" fmla="*/ 377 w 425"/>
                <a:gd name="T7" fmla="*/ 235 h 425"/>
                <a:gd name="T8" fmla="*/ 370 w 425"/>
                <a:gd name="T9" fmla="*/ 232 h 425"/>
                <a:gd name="T10" fmla="*/ 78 w 425"/>
                <a:gd name="T11" fmla="*/ 232 h 425"/>
                <a:gd name="T12" fmla="*/ 45 w 425"/>
                <a:gd name="T13" fmla="*/ 227 h 425"/>
                <a:gd name="T14" fmla="*/ 32 w 425"/>
                <a:gd name="T15" fmla="*/ 221 h 425"/>
                <a:gd name="T16" fmla="*/ 20 w 425"/>
                <a:gd name="T17" fmla="*/ 212 h 425"/>
                <a:gd name="T18" fmla="*/ 11 w 425"/>
                <a:gd name="T19" fmla="*/ 201 h 425"/>
                <a:gd name="T20" fmla="*/ 6 w 425"/>
                <a:gd name="T21" fmla="*/ 188 h 425"/>
                <a:gd name="T22" fmla="*/ 0 w 425"/>
                <a:gd name="T23" fmla="*/ 155 h 425"/>
                <a:gd name="T24" fmla="*/ 1 w 425"/>
                <a:gd name="T25" fmla="*/ 59 h 425"/>
                <a:gd name="T26" fmla="*/ 9 w 425"/>
                <a:gd name="T27" fmla="*/ 38 h 425"/>
                <a:gd name="T28" fmla="*/ 16 w 425"/>
                <a:gd name="T29" fmla="*/ 26 h 425"/>
                <a:gd name="T30" fmla="*/ 26 w 425"/>
                <a:gd name="T31" fmla="*/ 16 h 425"/>
                <a:gd name="T32" fmla="*/ 37 w 425"/>
                <a:gd name="T33" fmla="*/ 8 h 425"/>
                <a:gd name="T34" fmla="*/ 60 w 425"/>
                <a:gd name="T35" fmla="*/ 2 h 425"/>
                <a:gd name="T36" fmla="*/ 96 w 425"/>
                <a:gd name="T37" fmla="*/ 0 h 425"/>
                <a:gd name="T38" fmla="*/ 78 w 425"/>
                <a:gd name="T39" fmla="*/ 39 h 425"/>
                <a:gd name="T40" fmla="*/ 59 w 425"/>
                <a:gd name="T41" fmla="*/ 41 h 425"/>
                <a:gd name="T42" fmla="*/ 47 w 425"/>
                <a:gd name="T43" fmla="*/ 48 h 425"/>
                <a:gd name="T44" fmla="*/ 40 w 425"/>
                <a:gd name="T45" fmla="*/ 59 h 425"/>
                <a:gd name="T46" fmla="*/ 39 w 425"/>
                <a:gd name="T47" fmla="*/ 78 h 425"/>
                <a:gd name="T48" fmla="*/ 39 w 425"/>
                <a:gd name="T49" fmla="*/ 165 h 425"/>
                <a:gd name="T50" fmla="*/ 43 w 425"/>
                <a:gd name="T51" fmla="*/ 179 h 425"/>
                <a:gd name="T52" fmla="*/ 53 w 425"/>
                <a:gd name="T53" fmla="*/ 189 h 425"/>
                <a:gd name="T54" fmla="*/ 68 w 425"/>
                <a:gd name="T55" fmla="*/ 193 h 425"/>
                <a:gd name="T56" fmla="*/ 367 w 425"/>
                <a:gd name="T57" fmla="*/ 193 h 425"/>
                <a:gd name="T58" fmla="*/ 389 w 425"/>
                <a:gd name="T59" fmla="*/ 198 h 425"/>
                <a:gd name="T60" fmla="*/ 407 w 425"/>
                <a:gd name="T61" fmla="*/ 211 h 425"/>
                <a:gd name="T62" fmla="*/ 420 w 425"/>
                <a:gd name="T63" fmla="*/ 229 h 425"/>
                <a:gd name="T64" fmla="*/ 425 w 425"/>
                <a:gd name="T65" fmla="*/ 25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5" h="425">
                  <a:moveTo>
                    <a:pt x="425" y="425"/>
                  </a:moveTo>
                  <a:lnTo>
                    <a:pt x="386" y="425"/>
                  </a:lnTo>
                  <a:lnTo>
                    <a:pt x="386" y="251"/>
                  </a:lnTo>
                  <a:lnTo>
                    <a:pt x="386" y="247"/>
                  </a:lnTo>
                  <a:lnTo>
                    <a:pt x="384" y="244"/>
                  </a:lnTo>
                  <a:lnTo>
                    <a:pt x="383" y="241"/>
                  </a:lnTo>
                  <a:lnTo>
                    <a:pt x="380" y="238"/>
                  </a:lnTo>
                  <a:lnTo>
                    <a:pt x="377" y="235"/>
                  </a:lnTo>
                  <a:lnTo>
                    <a:pt x="374" y="234"/>
                  </a:lnTo>
                  <a:lnTo>
                    <a:pt x="370" y="232"/>
                  </a:lnTo>
                  <a:lnTo>
                    <a:pt x="367" y="232"/>
                  </a:lnTo>
                  <a:lnTo>
                    <a:pt x="78" y="232"/>
                  </a:lnTo>
                  <a:lnTo>
                    <a:pt x="60" y="231"/>
                  </a:lnTo>
                  <a:lnTo>
                    <a:pt x="45" y="227"/>
                  </a:lnTo>
                  <a:lnTo>
                    <a:pt x="37" y="224"/>
                  </a:lnTo>
                  <a:lnTo>
                    <a:pt x="32" y="221"/>
                  </a:lnTo>
                  <a:lnTo>
                    <a:pt x="26" y="216"/>
                  </a:lnTo>
                  <a:lnTo>
                    <a:pt x="20" y="212"/>
                  </a:lnTo>
                  <a:lnTo>
                    <a:pt x="16" y="206"/>
                  </a:lnTo>
                  <a:lnTo>
                    <a:pt x="11" y="201"/>
                  </a:lnTo>
                  <a:lnTo>
                    <a:pt x="9" y="195"/>
                  </a:lnTo>
                  <a:lnTo>
                    <a:pt x="6" y="188"/>
                  </a:lnTo>
                  <a:lnTo>
                    <a:pt x="1" y="172"/>
                  </a:lnTo>
                  <a:lnTo>
                    <a:pt x="0" y="155"/>
                  </a:lnTo>
                  <a:lnTo>
                    <a:pt x="0" y="78"/>
                  </a:lnTo>
                  <a:lnTo>
                    <a:pt x="1" y="59"/>
                  </a:lnTo>
                  <a:lnTo>
                    <a:pt x="6" y="45"/>
                  </a:lnTo>
                  <a:lnTo>
                    <a:pt x="9" y="38"/>
                  </a:lnTo>
                  <a:lnTo>
                    <a:pt x="11" y="32"/>
                  </a:lnTo>
                  <a:lnTo>
                    <a:pt x="16" y="26"/>
                  </a:lnTo>
                  <a:lnTo>
                    <a:pt x="20" y="21"/>
                  </a:lnTo>
                  <a:lnTo>
                    <a:pt x="26" y="16"/>
                  </a:lnTo>
                  <a:lnTo>
                    <a:pt x="32" y="12"/>
                  </a:lnTo>
                  <a:lnTo>
                    <a:pt x="37" y="8"/>
                  </a:lnTo>
                  <a:lnTo>
                    <a:pt x="45" y="5"/>
                  </a:lnTo>
                  <a:lnTo>
                    <a:pt x="60" y="2"/>
                  </a:lnTo>
                  <a:lnTo>
                    <a:pt x="78" y="0"/>
                  </a:lnTo>
                  <a:lnTo>
                    <a:pt x="96" y="0"/>
                  </a:lnTo>
                  <a:lnTo>
                    <a:pt x="96" y="39"/>
                  </a:lnTo>
                  <a:lnTo>
                    <a:pt x="78" y="39"/>
                  </a:lnTo>
                  <a:lnTo>
                    <a:pt x="68" y="39"/>
                  </a:lnTo>
                  <a:lnTo>
                    <a:pt x="59" y="41"/>
                  </a:lnTo>
                  <a:lnTo>
                    <a:pt x="53" y="44"/>
                  </a:lnTo>
                  <a:lnTo>
                    <a:pt x="47" y="48"/>
                  </a:lnTo>
                  <a:lnTo>
                    <a:pt x="43" y="54"/>
                  </a:lnTo>
                  <a:lnTo>
                    <a:pt x="40" y="59"/>
                  </a:lnTo>
                  <a:lnTo>
                    <a:pt x="39" y="68"/>
                  </a:lnTo>
                  <a:lnTo>
                    <a:pt x="39" y="78"/>
                  </a:lnTo>
                  <a:lnTo>
                    <a:pt x="39" y="155"/>
                  </a:lnTo>
                  <a:lnTo>
                    <a:pt x="39" y="165"/>
                  </a:lnTo>
                  <a:lnTo>
                    <a:pt x="40" y="172"/>
                  </a:lnTo>
                  <a:lnTo>
                    <a:pt x="43" y="179"/>
                  </a:lnTo>
                  <a:lnTo>
                    <a:pt x="47" y="185"/>
                  </a:lnTo>
                  <a:lnTo>
                    <a:pt x="53" y="189"/>
                  </a:lnTo>
                  <a:lnTo>
                    <a:pt x="59" y="191"/>
                  </a:lnTo>
                  <a:lnTo>
                    <a:pt x="68" y="193"/>
                  </a:lnTo>
                  <a:lnTo>
                    <a:pt x="78" y="193"/>
                  </a:lnTo>
                  <a:lnTo>
                    <a:pt x="367" y="193"/>
                  </a:lnTo>
                  <a:lnTo>
                    <a:pt x="379" y="195"/>
                  </a:lnTo>
                  <a:lnTo>
                    <a:pt x="389" y="198"/>
                  </a:lnTo>
                  <a:lnTo>
                    <a:pt x="399" y="203"/>
                  </a:lnTo>
                  <a:lnTo>
                    <a:pt x="407" y="211"/>
                  </a:lnTo>
                  <a:lnTo>
                    <a:pt x="415" y="219"/>
                  </a:lnTo>
                  <a:lnTo>
                    <a:pt x="420" y="229"/>
                  </a:lnTo>
                  <a:lnTo>
                    <a:pt x="423" y="239"/>
                  </a:lnTo>
                  <a:lnTo>
                    <a:pt x="425" y="251"/>
                  </a:lnTo>
                  <a:lnTo>
                    <a:pt x="425" y="4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16" name="Freeform 184">
              <a:extLst>
                <a:ext uri="{FF2B5EF4-FFF2-40B4-BE49-F238E27FC236}">
                  <a16:creationId xmlns:a16="http://schemas.microsoft.com/office/drawing/2014/main" id="{00CB09B9-B9FC-4DA7-B7BD-D3047BDB53E5}"/>
                </a:ext>
              </a:extLst>
            </p:cNvPr>
            <p:cNvSpPr>
              <a:spLocks noEditPoints="1"/>
            </p:cNvSpPr>
            <p:nvPr/>
          </p:nvSpPr>
          <p:spPr bwMode="auto">
            <a:xfrm>
              <a:off x="5924193" y="738328"/>
              <a:ext cx="75712" cy="177631"/>
            </a:xfrm>
            <a:custGeom>
              <a:avLst/>
              <a:gdLst>
                <a:gd name="T0" fmla="*/ 74 w 154"/>
                <a:gd name="T1" fmla="*/ 39 h 367"/>
                <a:gd name="T2" fmla="*/ 61 w 154"/>
                <a:gd name="T3" fmla="*/ 42 h 367"/>
                <a:gd name="T4" fmla="*/ 49 w 154"/>
                <a:gd name="T5" fmla="*/ 53 h 367"/>
                <a:gd name="T6" fmla="*/ 41 w 154"/>
                <a:gd name="T7" fmla="*/ 78 h 367"/>
                <a:gd name="T8" fmla="*/ 39 w 154"/>
                <a:gd name="T9" fmla="*/ 310 h 367"/>
                <a:gd name="T10" fmla="*/ 41 w 154"/>
                <a:gd name="T11" fmla="*/ 317 h 367"/>
                <a:gd name="T12" fmla="*/ 45 w 154"/>
                <a:gd name="T13" fmla="*/ 323 h 367"/>
                <a:gd name="T14" fmla="*/ 51 w 154"/>
                <a:gd name="T15" fmla="*/ 327 h 367"/>
                <a:gd name="T16" fmla="*/ 58 w 154"/>
                <a:gd name="T17" fmla="*/ 329 h 367"/>
                <a:gd name="T18" fmla="*/ 101 w 154"/>
                <a:gd name="T19" fmla="*/ 329 h 367"/>
                <a:gd name="T20" fmla="*/ 108 w 154"/>
                <a:gd name="T21" fmla="*/ 326 h 367"/>
                <a:gd name="T22" fmla="*/ 113 w 154"/>
                <a:gd name="T23" fmla="*/ 321 h 367"/>
                <a:gd name="T24" fmla="*/ 115 w 154"/>
                <a:gd name="T25" fmla="*/ 314 h 367"/>
                <a:gd name="T26" fmla="*/ 115 w 154"/>
                <a:gd name="T27" fmla="*/ 98 h 367"/>
                <a:gd name="T28" fmla="*/ 111 w 154"/>
                <a:gd name="T29" fmla="*/ 64 h 367"/>
                <a:gd name="T30" fmla="*/ 101 w 154"/>
                <a:gd name="T31" fmla="*/ 46 h 367"/>
                <a:gd name="T32" fmla="*/ 88 w 154"/>
                <a:gd name="T33" fmla="*/ 40 h 367"/>
                <a:gd name="T34" fmla="*/ 78 w 154"/>
                <a:gd name="T35" fmla="*/ 39 h 367"/>
                <a:gd name="T36" fmla="*/ 58 w 154"/>
                <a:gd name="T37" fmla="*/ 367 h 367"/>
                <a:gd name="T38" fmla="*/ 36 w 154"/>
                <a:gd name="T39" fmla="*/ 363 h 367"/>
                <a:gd name="T40" fmla="*/ 17 w 154"/>
                <a:gd name="T41" fmla="*/ 350 h 367"/>
                <a:gd name="T42" fmla="*/ 5 w 154"/>
                <a:gd name="T43" fmla="*/ 333 h 367"/>
                <a:gd name="T44" fmla="*/ 0 w 154"/>
                <a:gd name="T45" fmla="*/ 310 h 367"/>
                <a:gd name="T46" fmla="*/ 0 w 154"/>
                <a:gd name="T47" fmla="*/ 87 h 367"/>
                <a:gd name="T48" fmla="*/ 3 w 154"/>
                <a:gd name="T49" fmla="*/ 66 h 367"/>
                <a:gd name="T50" fmla="*/ 9 w 154"/>
                <a:gd name="T51" fmla="*/ 48 h 367"/>
                <a:gd name="T52" fmla="*/ 16 w 154"/>
                <a:gd name="T53" fmla="*/ 33 h 367"/>
                <a:gd name="T54" fmla="*/ 26 w 154"/>
                <a:gd name="T55" fmla="*/ 20 h 367"/>
                <a:gd name="T56" fmla="*/ 38 w 154"/>
                <a:gd name="T57" fmla="*/ 12 h 367"/>
                <a:gd name="T58" fmla="*/ 52 w 154"/>
                <a:gd name="T59" fmla="*/ 4 h 367"/>
                <a:gd name="T60" fmla="*/ 68 w 154"/>
                <a:gd name="T61" fmla="*/ 2 h 367"/>
                <a:gd name="T62" fmla="*/ 87 w 154"/>
                <a:gd name="T63" fmla="*/ 2 h 367"/>
                <a:gd name="T64" fmla="*/ 102 w 154"/>
                <a:gd name="T65" fmla="*/ 4 h 367"/>
                <a:gd name="T66" fmla="*/ 117 w 154"/>
                <a:gd name="T67" fmla="*/ 12 h 367"/>
                <a:gd name="T68" fmla="*/ 128 w 154"/>
                <a:gd name="T69" fmla="*/ 20 h 367"/>
                <a:gd name="T70" fmla="*/ 138 w 154"/>
                <a:gd name="T71" fmla="*/ 33 h 367"/>
                <a:gd name="T72" fmla="*/ 147 w 154"/>
                <a:gd name="T73" fmla="*/ 48 h 367"/>
                <a:gd name="T74" fmla="*/ 151 w 154"/>
                <a:gd name="T75" fmla="*/ 66 h 367"/>
                <a:gd name="T76" fmla="*/ 154 w 154"/>
                <a:gd name="T77" fmla="*/ 87 h 367"/>
                <a:gd name="T78" fmla="*/ 154 w 154"/>
                <a:gd name="T79" fmla="*/ 310 h 367"/>
                <a:gd name="T80" fmla="*/ 150 w 154"/>
                <a:gd name="T81" fmla="*/ 333 h 367"/>
                <a:gd name="T82" fmla="*/ 137 w 154"/>
                <a:gd name="T83" fmla="*/ 350 h 367"/>
                <a:gd name="T84" fmla="*/ 120 w 154"/>
                <a:gd name="T85" fmla="*/ 363 h 367"/>
                <a:gd name="T86" fmla="*/ 97 w 154"/>
                <a:gd name="T87"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367">
                  <a:moveTo>
                    <a:pt x="78" y="39"/>
                  </a:moveTo>
                  <a:lnTo>
                    <a:pt x="74" y="39"/>
                  </a:lnTo>
                  <a:lnTo>
                    <a:pt x="68" y="40"/>
                  </a:lnTo>
                  <a:lnTo>
                    <a:pt x="61" y="42"/>
                  </a:lnTo>
                  <a:lnTo>
                    <a:pt x="55" y="46"/>
                  </a:lnTo>
                  <a:lnTo>
                    <a:pt x="49" y="53"/>
                  </a:lnTo>
                  <a:lnTo>
                    <a:pt x="43" y="64"/>
                  </a:lnTo>
                  <a:lnTo>
                    <a:pt x="41" y="78"/>
                  </a:lnTo>
                  <a:lnTo>
                    <a:pt x="39" y="98"/>
                  </a:lnTo>
                  <a:lnTo>
                    <a:pt x="39" y="310"/>
                  </a:lnTo>
                  <a:lnTo>
                    <a:pt x="39" y="314"/>
                  </a:lnTo>
                  <a:lnTo>
                    <a:pt x="41" y="317"/>
                  </a:lnTo>
                  <a:lnTo>
                    <a:pt x="42" y="321"/>
                  </a:lnTo>
                  <a:lnTo>
                    <a:pt x="45" y="323"/>
                  </a:lnTo>
                  <a:lnTo>
                    <a:pt x="48" y="326"/>
                  </a:lnTo>
                  <a:lnTo>
                    <a:pt x="51" y="327"/>
                  </a:lnTo>
                  <a:lnTo>
                    <a:pt x="55" y="329"/>
                  </a:lnTo>
                  <a:lnTo>
                    <a:pt x="58" y="329"/>
                  </a:lnTo>
                  <a:lnTo>
                    <a:pt x="97" y="329"/>
                  </a:lnTo>
                  <a:lnTo>
                    <a:pt x="101" y="329"/>
                  </a:lnTo>
                  <a:lnTo>
                    <a:pt x="104" y="327"/>
                  </a:lnTo>
                  <a:lnTo>
                    <a:pt x="108" y="326"/>
                  </a:lnTo>
                  <a:lnTo>
                    <a:pt x="111" y="323"/>
                  </a:lnTo>
                  <a:lnTo>
                    <a:pt x="113" y="321"/>
                  </a:lnTo>
                  <a:lnTo>
                    <a:pt x="114" y="317"/>
                  </a:lnTo>
                  <a:lnTo>
                    <a:pt x="115" y="314"/>
                  </a:lnTo>
                  <a:lnTo>
                    <a:pt x="115" y="310"/>
                  </a:lnTo>
                  <a:lnTo>
                    <a:pt x="115" y="98"/>
                  </a:lnTo>
                  <a:lnTo>
                    <a:pt x="115" y="78"/>
                  </a:lnTo>
                  <a:lnTo>
                    <a:pt x="111" y="64"/>
                  </a:lnTo>
                  <a:lnTo>
                    <a:pt x="107" y="53"/>
                  </a:lnTo>
                  <a:lnTo>
                    <a:pt x="101" y="46"/>
                  </a:lnTo>
                  <a:lnTo>
                    <a:pt x="94" y="42"/>
                  </a:lnTo>
                  <a:lnTo>
                    <a:pt x="88" y="40"/>
                  </a:lnTo>
                  <a:lnTo>
                    <a:pt x="82" y="39"/>
                  </a:lnTo>
                  <a:lnTo>
                    <a:pt x="78" y="39"/>
                  </a:lnTo>
                  <a:close/>
                  <a:moveTo>
                    <a:pt x="97" y="367"/>
                  </a:moveTo>
                  <a:lnTo>
                    <a:pt x="58" y="367"/>
                  </a:lnTo>
                  <a:lnTo>
                    <a:pt x="46" y="366"/>
                  </a:lnTo>
                  <a:lnTo>
                    <a:pt x="36" y="363"/>
                  </a:lnTo>
                  <a:lnTo>
                    <a:pt x="26" y="357"/>
                  </a:lnTo>
                  <a:lnTo>
                    <a:pt x="17" y="350"/>
                  </a:lnTo>
                  <a:lnTo>
                    <a:pt x="10" y="341"/>
                  </a:lnTo>
                  <a:lnTo>
                    <a:pt x="5" y="333"/>
                  </a:lnTo>
                  <a:lnTo>
                    <a:pt x="2" y="321"/>
                  </a:lnTo>
                  <a:lnTo>
                    <a:pt x="0" y="310"/>
                  </a:lnTo>
                  <a:lnTo>
                    <a:pt x="0" y="98"/>
                  </a:lnTo>
                  <a:lnTo>
                    <a:pt x="0" y="87"/>
                  </a:lnTo>
                  <a:lnTo>
                    <a:pt x="2" y="76"/>
                  </a:lnTo>
                  <a:lnTo>
                    <a:pt x="3" y="66"/>
                  </a:lnTo>
                  <a:lnTo>
                    <a:pt x="6" y="56"/>
                  </a:lnTo>
                  <a:lnTo>
                    <a:pt x="9" y="48"/>
                  </a:lnTo>
                  <a:lnTo>
                    <a:pt x="12" y="40"/>
                  </a:lnTo>
                  <a:lnTo>
                    <a:pt x="16" y="33"/>
                  </a:lnTo>
                  <a:lnTo>
                    <a:pt x="20" y="26"/>
                  </a:lnTo>
                  <a:lnTo>
                    <a:pt x="26" y="20"/>
                  </a:lnTo>
                  <a:lnTo>
                    <a:pt x="32" y="16"/>
                  </a:lnTo>
                  <a:lnTo>
                    <a:pt x="38" y="12"/>
                  </a:lnTo>
                  <a:lnTo>
                    <a:pt x="45" y="7"/>
                  </a:lnTo>
                  <a:lnTo>
                    <a:pt x="52" y="4"/>
                  </a:lnTo>
                  <a:lnTo>
                    <a:pt x="61" y="3"/>
                  </a:lnTo>
                  <a:lnTo>
                    <a:pt x="68" y="2"/>
                  </a:lnTo>
                  <a:lnTo>
                    <a:pt x="78" y="0"/>
                  </a:lnTo>
                  <a:lnTo>
                    <a:pt x="87" y="2"/>
                  </a:lnTo>
                  <a:lnTo>
                    <a:pt x="95" y="3"/>
                  </a:lnTo>
                  <a:lnTo>
                    <a:pt x="102" y="4"/>
                  </a:lnTo>
                  <a:lnTo>
                    <a:pt x="110" y="7"/>
                  </a:lnTo>
                  <a:lnTo>
                    <a:pt x="117" y="12"/>
                  </a:lnTo>
                  <a:lnTo>
                    <a:pt x="123" y="16"/>
                  </a:lnTo>
                  <a:lnTo>
                    <a:pt x="128" y="20"/>
                  </a:lnTo>
                  <a:lnTo>
                    <a:pt x="134" y="26"/>
                  </a:lnTo>
                  <a:lnTo>
                    <a:pt x="138" y="33"/>
                  </a:lnTo>
                  <a:lnTo>
                    <a:pt x="143" y="40"/>
                  </a:lnTo>
                  <a:lnTo>
                    <a:pt x="147" y="48"/>
                  </a:lnTo>
                  <a:lnTo>
                    <a:pt x="150" y="56"/>
                  </a:lnTo>
                  <a:lnTo>
                    <a:pt x="151" y="66"/>
                  </a:lnTo>
                  <a:lnTo>
                    <a:pt x="153" y="76"/>
                  </a:lnTo>
                  <a:lnTo>
                    <a:pt x="154" y="87"/>
                  </a:lnTo>
                  <a:lnTo>
                    <a:pt x="154" y="98"/>
                  </a:lnTo>
                  <a:lnTo>
                    <a:pt x="154" y="310"/>
                  </a:lnTo>
                  <a:lnTo>
                    <a:pt x="153" y="321"/>
                  </a:lnTo>
                  <a:lnTo>
                    <a:pt x="150" y="333"/>
                  </a:lnTo>
                  <a:lnTo>
                    <a:pt x="144" y="341"/>
                  </a:lnTo>
                  <a:lnTo>
                    <a:pt x="137" y="350"/>
                  </a:lnTo>
                  <a:lnTo>
                    <a:pt x="130" y="357"/>
                  </a:lnTo>
                  <a:lnTo>
                    <a:pt x="120" y="363"/>
                  </a:lnTo>
                  <a:lnTo>
                    <a:pt x="108" y="366"/>
                  </a:lnTo>
                  <a:lnTo>
                    <a:pt x="97" y="3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17" name="Group 41">
            <a:extLst>
              <a:ext uri="{FF2B5EF4-FFF2-40B4-BE49-F238E27FC236}">
                <a16:creationId xmlns:a16="http://schemas.microsoft.com/office/drawing/2014/main" id="{71503734-54AD-46BC-8A90-3227BBBC8F4B}"/>
              </a:ext>
            </a:extLst>
          </p:cNvPr>
          <p:cNvGrpSpPr>
            <a:grpSpLocks noChangeAspect="1"/>
          </p:cNvGrpSpPr>
          <p:nvPr/>
        </p:nvGrpSpPr>
        <p:grpSpPr>
          <a:xfrm>
            <a:off x="661709" y="5417576"/>
            <a:ext cx="304780" cy="306484"/>
            <a:chOff x="6472238" y="1338263"/>
            <a:chExt cx="284162" cy="285750"/>
          </a:xfrm>
          <a:solidFill>
            <a:schemeClr val="bg1"/>
          </a:solidFill>
          <a:effectLst/>
        </p:grpSpPr>
        <p:sp>
          <p:nvSpPr>
            <p:cNvPr id="618" name="Freeform 219">
              <a:extLst>
                <a:ext uri="{FF2B5EF4-FFF2-40B4-BE49-F238E27FC236}">
                  <a16:creationId xmlns:a16="http://schemas.microsoft.com/office/drawing/2014/main" id="{C64490CF-1072-4F52-8038-6A094532782E}"/>
                </a:ext>
              </a:extLst>
            </p:cNvPr>
            <p:cNvSpPr>
              <a:spLocks noEditPoints="1"/>
            </p:cNvSpPr>
            <p:nvPr/>
          </p:nvSpPr>
          <p:spPr bwMode="auto">
            <a:xfrm>
              <a:off x="6472238" y="1338263"/>
              <a:ext cx="284162" cy="285750"/>
            </a:xfrm>
            <a:custGeom>
              <a:avLst/>
              <a:gdLst>
                <a:gd name="T0" fmla="*/ 150 w 896"/>
                <a:gd name="T1" fmla="*/ 867 h 897"/>
                <a:gd name="T2" fmla="*/ 284 w 896"/>
                <a:gd name="T3" fmla="*/ 150 h 897"/>
                <a:gd name="T4" fmla="*/ 748 w 896"/>
                <a:gd name="T5" fmla="*/ 150 h 897"/>
                <a:gd name="T6" fmla="*/ 299 w 896"/>
                <a:gd name="T7" fmla="*/ 30 h 897"/>
                <a:gd name="T8" fmla="*/ 598 w 896"/>
                <a:gd name="T9" fmla="*/ 120 h 897"/>
                <a:gd name="T10" fmla="*/ 299 w 896"/>
                <a:gd name="T11" fmla="*/ 30 h 897"/>
                <a:gd name="T12" fmla="*/ 762 w 896"/>
                <a:gd name="T13" fmla="*/ 120 h 897"/>
                <a:gd name="T14" fmla="*/ 628 w 896"/>
                <a:gd name="T15" fmla="*/ 15 h 897"/>
                <a:gd name="T16" fmla="*/ 627 w 896"/>
                <a:gd name="T17" fmla="*/ 10 h 897"/>
                <a:gd name="T18" fmla="*/ 624 w 896"/>
                <a:gd name="T19" fmla="*/ 5 h 897"/>
                <a:gd name="T20" fmla="*/ 618 w 896"/>
                <a:gd name="T21" fmla="*/ 1 h 897"/>
                <a:gd name="T22" fmla="*/ 613 w 896"/>
                <a:gd name="T23" fmla="*/ 0 h 897"/>
                <a:gd name="T24" fmla="*/ 281 w 896"/>
                <a:gd name="T25" fmla="*/ 1 h 897"/>
                <a:gd name="T26" fmla="*/ 276 w 896"/>
                <a:gd name="T27" fmla="*/ 4 h 897"/>
                <a:gd name="T28" fmla="*/ 272 w 896"/>
                <a:gd name="T29" fmla="*/ 8 h 897"/>
                <a:gd name="T30" fmla="*/ 270 w 896"/>
                <a:gd name="T31" fmla="*/ 13 h 897"/>
                <a:gd name="T32" fmla="*/ 269 w 896"/>
                <a:gd name="T33" fmla="*/ 120 h 897"/>
                <a:gd name="T34" fmla="*/ 15 w 896"/>
                <a:gd name="T35" fmla="*/ 120 h 897"/>
                <a:gd name="T36" fmla="*/ 9 w 896"/>
                <a:gd name="T37" fmla="*/ 121 h 897"/>
                <a:gd name="T38" fmla="*/ 4 w 896"/>
                <a:gd name="T39" fmla="*/ 124 h 897"/>
                <a:gd name="T40" fmla="*/ 1 w 896"/>
                <a:gd name="T41" fmla="*/ 130 h 897"/>
                <a:gd name="T42" fmla="*/ 0 w 896"/>
                <a:gd name="T43" fmla="*/ 135 h 897"/>
                <a:gd name="T44" fmla="*/ 1 w 896"/>
                <a:gd name="T45" fmla="*/ 141 h 897"/>
                <a:gd name="T46" fmla="*/ 4 w 896"/>
                <a:gd name="T47" fmla="*/ 146 h 897"/>
                <a:gd name="T48" fmla="*/ 9 w 896"/>
                <a:gd name="T49" fmla="*/ 149 h 897"/>
                <a:gd name="T50" fmla="*/ 15 w 896"/>
                <a:gd name="T51" fmla="*/ 150 h 897"/>
                <a:gd name="T52" fmla="*/ 120 w 896"/>
                <a:gd name="T53" fmla="*/ 882 h 897"/>
                <a:gd name="T54" fmla="*/ 121 w 896"/>
                <a:gd name="T55" fmla="*/ 888 h 897"/>
                <a:gd name="T56" fmla="*/ 124 w 896"/>
                <a:gd name="T57" fmla="*/ 893 h 897"/>
                <a:gd name="T58" fmla="*/ 128 w 896"/>
                <a:gd name="T59" fmla="*/ 896 h 897"/>
                <a:gd name="T60" fmla="*/ 135 w 896"/>
                <a:gd name="T61" fmla="*/ 897 h 897"/>
                <a:gd name="T62" fmla="*/ 765 w 896"/>
                <a:gd name="T63" fmla="*/ 896 h 897"/>
                <a:gd name="T64" fmla="*/ 770 w 896"/>
                <a:gd name="T65" fmla="*/ 894 h 897"/>
                <a:gd name="T66" fmla="*/ 775 w 896"/>
                <a:gd name="T67" fmla="*/ 891 h 897"/>
                <a:gd name="T68" fmla="*/ 777 w 896"/>
                <a:gd name="T69" fmla="*/ 886 h 897"/>
                <a:gd name="T70" fmla="*/ 777 w 896"/>
                <a:gd name="T71" fmla="*/ 150 h 897"/>
                <a:gd name="T72" fmla="*/ 885 w 896"/>
                <a:gd name="T73" fmla="*/ 150 h 897"/>
                <a:gd name="T74" fmla="*/ 890 w 896"/>
                <a:gd name="T75" fmla="*/ 148 h 897"/>
                <a:gd name="T76" fmla="*/ 894 w 896"/>
                <a:gd name="T77" fmla="*/ 144 h 897"/>
                <a:gd name="T78" fmla="*/ 896 w 896"/>
                <a:gd name="T79" fmla="*/ 138 h 897"/>
                <a:gd name="T80" fmla="*/ 896 w 896"/>
                <a:gd name="T81" fmla="*/ 132 h 897"/>
                <a:gd name="T82" fmla="*/ 894 w 896"/>
                <a:gd name="T83" fmla="*/ 126 h 897"/>
                <a:gd name="T84" fmla="*/ 890 w 896"/>
                <a:gd name="T85" fmla="*/ 123 h 897"/>
                <a:gd name="T86" fmla="*/ 885 w 896"/>
                <a:gd name="T87" fmla="*/ 120 h 897"/>
                <a:gd name="T88" fmla="*/ 882 w 896"/>
                <a:gd name="T89" fmla="*/ 12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6" h="897">
                  <a:moveTo>
                    <a:pt x="748" y="867"/>
                  </a:moveTo>
                  <a:lnTo>
                    <a:pt x="150" y="867"/>
                  </a:lnTo>
                  <a:lnTo>
                    <a:pt x="150" y="150"/>
                  </a:lnTo>
                  <a:lnTo>
                    <a:pt x="284" y="150"/>
                  </a:lnTo>
                  <a:lnTo>
                    <a:pt x="613" y="150"/>
                  </a:lnTo>
                  <a:lnTo>
                    <a:pt x="748" y="150"/>
                  </a:lnTo>
                  <a:lnTo>
                    <a:pt x="748" y="867"/>
                  </a:lnTo>
                  <a:close/>
                  <a:moveTo>
                    <a:pt x="299" y="30"/>
                  </a:moveTo>
                  <a:lnTo>
                    <a:pt x="598" y="30"/>
                  </a:lnTo>
                  <a:lnTo>
                    <a:pt x="598" y="120"/>
                  </a:lnTo>
                  <a:lnTo>
                    <a:pt x="299" y="120"/>
                  </a:lnTo>
                  <a:lnTo>
                    <a:pt x="299" y="30"/>
                  </a:lnTo>
                  <a:close/>
                  <a:moveTo>
                    <a:pt x="882" y="120"/>
                  </a:moveTo>
                  <a:lnTo>
                    <a:pt x="762" y="120"/>
                  </a:lnTo>
                  <a:lnTo>
                    <a:pt x="628" y="120"/>
                  </a:lnTo>
                  <a:lnTo>
                    <a:pt x="628" y="15"/>
                  </a:lnTo>
                  <a:lnTo>
                    <a:pt x="627" y="13"/>
                  </a:lnTo>
                  <a:lnTo>
                    <a:pt x="627" y="10"/>
                  </a:lnTo>
                  <a:lnTo>
                    <a:pt x="625" y="8"/>
                  </a:lnTo>
                  <a:lnTo>
                    <a:pt x="624" y="5"/>
                  </a:lnTo>
                  <a:lnTo>
                    <a:pt x="622" y="4"/>
                  </a:lnTo>
                  <a:lnTo>
                    <a:pt x="618" y="1"/>
                  </a:lnTo>
                  <a:lnTo>
                    <a:pt x="616" y="1"/>
                  </a:lnTo>
                  <a:lnTo>
                    <a:pt x="613" y="0"/>
                  </a:lnTo>
                  <a:lnTo>
                    <a:pt x="284" y="0"/>
                  </a:lnTo>
                  <a:lnTo>
                    <a:pt x="281" y="1"/>
                  </a:lnTo>
                  <a:lnTo>
                    <a:pt x="278" y="2"/>
                  </a:lnTo>
                  <a:lnTo>
                    <a:pt x="276" y="4"/>
                  </a:lnTo>
                  <a:lnTo>
                    <a:pt x="274" y="6"/>
                  </a:lnTo>
                  <a:lnTo>
                    <a:pt x="272" y="8"/>
                  </a:lnTo>
                  <a:lnTo>
                    <a:pt x="271" y="10"/>
                  </a:lnTo>
                  <a:lnTo>
                    <a:pt x="270" y="13"/>
                  </a:lnTo>
                  <a:lnTo>
                    <a:pt x="269" y="15"/>
                  </a:lnTo>
                  <a:lnTo>
                    <a:pt x="269" y="120"/>
                  </a:lnTo>
                  <a:lnTo>
                    <a:pt x="135" y="120"/>
                  </a:lnTo>
                  <a:lnTo>
                    <a:pt x="15" y="120"/>
                  </a:lnTo>
                  <a:lnTo>
                    <a:pt x="12" y="120"/>
                  </a:lnTo>
                  <a:lnTo>
                    <a:pt x="9" y="121"/>
                  </a:lnTo>
                  <a:lnTo>
                    <a:pt x="7" y="122"/>
                  </a:lnTo>
                  <a:lnTo>
                    <a:pt x="4" y="124"/>
                  </a:lnTo>
                  <a:lnTo>
                    <a:pt x="2" y="126"/>
                  </a:lnTo>
                  <a:lnTo>
                    <a:pt x="1" y="130"/>
                  </a:lnTo>
                  <a:lnTo>
                    <a:pt x="0" y="132"/>
                  </a:lnTo>
                  <a:lnTo>
                    <a:pt x="0" y="135"/>
                  </a:lnTo>
                  <a:lnTo>
                    <a:pt x="0" y="138"/>
                  </a:lnTo>
                  <a:lnTo>
                    <a:pt x="1" y="141"/>
                  </a:lnTo>
                  <a:lnTo>
                    <a:pt x="2" y="144"/>
                  </a:lnTo>
                  <a:lnTo>
                    <a:pt x="4" y="146"/>
                  </a:lnTo>
                  <a:lnTo>
                    <a:pt x="7" y="148"/>
                  </a:lnTo>
                  <a:lnTo>
                    <a:pt x="9" y="149"/>
                  </a:lnTo>
                  <a:lnTo>
                    <a:pt x="12" y="150"/>
                  </a:lnTo>
                  <a:lnTo>
                    <a:pt x="15" y="150"/>
                  </a:lnTo>
                  <a:lnTo>
                    <a:pt x="120" y="150"/>
                  </a:lnTo>
                  <a:lnTo>
                    <a:pt x="120" y="882"/>
                  </a:lnTo>
                  <a:lnTo>
                    <a:pt x="120" y="885"/>
                  </a:lnTo>
                  <a:lnTo>
                    <a:pt x="121" y="888"/>
                  </a:lnTo>
                  <a:lnTo>
                    <a:pt x="122" y="890"/>
                  </a:lnTo>
                  <a:lnTo>
                    <a:pt x="124" y="893"/>
                  </a:lnTo>
                  <a:lnTo>
                    <a:pt x="126" y="894"/>
                  </a:lnTo>
                  <a:lnTo>
                    <a:pt x="128" y="896"/>
                  </a:lnTo>
                  <a:lnTo>
                    <a:pt x="132" y="896"/>
                  </a:lnTo>
                  <a:lnTo>
                    <a:pt x="135" y="897"/>
                  </a:lnTo>
                  <a:lnTo>
                    <a:pt x="762" y="897"/>
                  </a:lnTo>
                  <a:lnTo>
                    <a:pt x="765" y="896"/>
                  </a:lnTo>
                  <a:lnTo>
                    <a:pt x="768" y="896"/>
                  </a:lnTo>
                  <a:lnTo>
                    <a:pt x="770" y="894"/>
                  </a:lnTo>
                  <a:lnTo>
                    <a:pt x="772" y="893"/>
                  </a:lnTo>
                  <a:lnTo>
                    <a:pt x="775" y="891"/>
                  </a:lnTo>
                  <a:lnTo>
                    <a:pt x="776" y="888"/>
                  </a:lnTo>
                  <a:lnTo>
                    <a:pt x="777" y="886"/>
                  </a:lnTo>
                  <a:lnTo>
                    <a:pt x="777" y="882"/>
                  </a:lnTo>
                  <a:lnTo>
                    <a:pt x="777" y="150"/>
                  </a:lnTo>
                  <a:lnTo>
                    <a:pt x="882" y="150"/>
                  </a:lnTo>
                  <a:lnTo>
                    <a:pt x="885" y="150"/>
                  </a:lnTo>
                  <a:lnTo>
                    <a:pt x="888" y="149"/>
                  </a:lnTo>
                  <a:lnTo>
                    <a:pt x="890" y="148"/>
                  </a:lnTo>
                  <a:lnTo>
                    <a:pt x="892" y="146"/>
                  </a:lnTo>
                  <a:lnTo>
                    <a:pt x="894" y="144"/>
                  </a:lnTo>
                  <a:lnTo>
                    <a:pt x="895" y="141"/>
                  </a:lnTo>
                  <a:lnTo>
                    <a:pt x="896" y="138"/>
                  </a:lnTo>
                  <a:lnTo>
                    <a:pt x="896" y="135"/>
                  </a:lnTo>
                  <a:lnTo>
                    <a:pt x="896" y="132"/>
                  </a:lnTo>
                  <a:lnTo>
                    <a:pt x="895" y="130"/>
                  </a:lnTo>
                  <a:lnTo>
                    <a:pt x="894" y="126"/>
                  </a:lnTo>
                  <a:lnTo>
                    <a:pt x="892" y="124"/>
                  </a:lnTo>
                  <a:lnTo>
                    <a:pt x="890" y="123"/>
                  </a:lnTo>
                  <a:lnTo>
                    <a:pt x="888" y="121"/>
                  </a:lnTo>
                  <a:lnTo>
                    <a:pt x="885" y="120"/>
                  </a:lnTo>
                  <a:lnTo>
                    <a:pt x="882" y="120"/>
                  </a:lnTo>
                  <a:lnTo>
                    <a:pt x="88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220">
              <a:extLst>
                <a:ext uri="{FF2B5EF4-FFF2-40B4-BE49-F238E27FC236}">
                  <a16:creationId xmlns:a16="http://schemas.microsoft.com/office/drawing/2014/main" id="{4F0577D8-3AF1-4F71-A9F8-DCCDD383535E}"/>
                </a:ext>
              </a:extLst>
            </p:cNvPr>
            <p:cNvSpPr>
              <a:spLocks/>
            </p:cNvSpPr>
            <p:nvPr/>
          </p:nvSpPr>
          <p:spPr bwMode="auto">
            <a:xfrm>
              <a:off x="6556375" y="1428751"/>
              <a:ext cx="9525" cy="142875"/>
            </a:xfrm>
            <a:custGeom>
              <a:avLst/>
              <a:gdLst>
                <a:gd name="T0" fmla="*/ 15 w 30"/>
                <a:gd name="T1" fmla="*/ 0 h 448"/>
                <a:gd name="T2" fmla="*/ 12 w 30"/>
                <a:gd name="T3" fmla="*/ 0 h 448"/>
                <a:gd name="T4" fmla="*/ 9 w 30"/>
                <a:gd name="T5" fmla="*/ 1 h 448"/>
                <a:gd name="T6" fmla="*/ 7 w 30"/>
                <a:gd name="T7" fmla="*/ 2 h 448"/>
                <a:gd name="T8" fmla="*/ 5 w 30"/>
                <a:gd name="T9" fmla="*/ 4 h 448"/>
                <a:gd name="T10" fmla="*/ 3 w 30"/>
                <a:gd name="T11" fmla="*/ 6 h 448"/>
                <a:gd name="T12" fmla="*/ 2 w 30"/>
                <a:gd name="T13" fmla="*/ 8 h 448"/>
                <a:gd name="T14" fmla="*/ 1 w 30"/>
                <a:gd name="T15" fmla="*/ 12 h 448"/>
                <a:gd name="T16" fmla="*/ 0 w 30"/>
                <a:gd name="T17" fmla="*/ 15 h 448"/>
                <a:gd name="T18" fmla="*/ 0 w 30"/>
                <a:gd name="T19" fmla="*/ 433 h 448"/>
                <a:gd name="T20" fmla="*/ 1 w 30"/>
                <a:gd name="T21" fmla="*/ 436 h 448"/>
                <a:gd name="T22" fmla="*/ 2 w 30"/>
                <a:gd name="T23" fmla="*/ 438 h 448"/>
                <a:gd name="T24" fmla="*/ 3 w 30"/>
                <a:gd name="T25" fmla="*/ 441 h 448"/>
                <a:gd name="T26" fmla="*/ 5 w 30"/>
                <a:gd name="T27" fmla="*/ 443 h 448"/>
                <a:gd name="T28" fmla="*/ 7 w 30"/>
                <a:gd name="T29" fmla="*/ 446 h 448"/>
                <a:gd name="T30" fmla="*/ 9 w 30"/>
                <a:gd name="T31" fmla="*/ 447 h 448"/>
                <a:gd name="T32" fmla="*/ 12 w 30"/>
                <a:gd name="T33" fmla="*/ 448 h 448"/>
                <a:gd name="T34" fmla="*/ 15 w 30"/>
                <a:gd name="T35" fmla="*/ 448 h 448"/>
                <a:gd name="T36" fmla="*/ 18 w 30"/>
                <a:gd name="T37" fmla="*/ 448 h 448"/>
                <a:gd name="T38" fmla="*/ 21 w 30"/>
                <a:gd name="T39" fmla="*/ 447 h 448"/>
                <a:gd name="T40" fmla="*/ 23 w 30"/>
                <a:gd name="T41" fmla="*/ 446 h 448"/>
                <a:gd name="T42" fmla="*/ 25 w 30"/>
                <a:gd name="T43" fmla="*/ 443 h 448"/>
                <a:gd name="T44" fmla="*/ 27 w 30"/>
                <a:gd name="T45" fmla="*/ 441 h 448"/>
                <a:gd name="T46" fmla="*/ 28 w 30"/>
                <a:gd name="T47" fmla="*/ 438 h 448"/>
                <a:gd name="T48" fmla="*/ 30 w 30"/>
                <a:gd name="T49" fmla="*/ 436 h 448"/>
                <a:gd name="T50" fmla="*/ 30 w 30"/>
                <a:gd name="T51" fmla="*/ 433 h 448"/>
                <a:gd name="T52" fmla="*/ 30 w 30"/>
                <a:gd name="T53" fmla="*/ 15 h 448"/>
                <a:gd name="T54" fmla="*/ 30 w 30"/>
                <a:gd name="T55" fmla="*/ 12 h 448"/>
                <a:gd name="T56" fmla="*/ 28 w 30"/>
                <a:gd name="T57" fmla="*/ 8 h 448"/>
                <a:gd name="T58" fmla="*/ 27 w 30"/>
                <a:gd name="T59" fmla="*/ 6 h 448"/>
                <a:gd name="T60" fmla="*/ 25 w 30"/>
                <a:gd name="T61" fmla="*/ 4 h 448"/>
                <a:gd name="T62" fmla="*/ 23 w 30"/>
                <a:gd name="T63" fmla="*/ 2 h 448"/>
                <a:gd name="T64" fmla="*/ 21 w 30"/>
                <a:gd name="T65" fmla="*/ 1 h 448"/>
                <a:gd name="T66" fmla="*/ 18 w 30"/>
                <a:gd name="T67" fmla="*/ 0 h 448"/>
                <a:gd name="T68" fmla="*/ 15 w 3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15" y="0"/>
                  </a:moveTo>
                  <a:lnTo>
                    <a:pt x="12" y="0"/>
                  </a:lnTo>
                  <a:lnTo>
                    <a:pt x="9" y="1"/>
                  </a:lnTo>
                  <a:lnTo>
                    <a:pt x="7" y="2"/>
                  </a:lnTo>
                  <a:lnTo>
                    <a:pt x="5" y="4"/>
                  </a:lnTo>
                  <a:lnTo>
                    <a:pt x="3" y="6"/>
                  </a:lnTo>
                  <a:lnTo>
                    <a:pt x="2" y="8"/>
                  </a:lnTo>
                  <a:lnTo>
                    <a:pt x="1" y="12"/>
                  </a:lnTo>
                  <a:lnTo>
                    <a:pt x="0" y="15"/>
                  </a:lnTo>
                  <a:lnTo>
                    <a:pt x="0" y="433"/>
                  </a:lnTo>
                  <a:lnTo>
                    <a:pt x="1" y="436"/>
                  </a:lnTo>
                  <a:lnTo>
                    <a:pt x="2" y="438"/>
                  </a:lnTo>
                  <a:lnTo>
                    <a:pt x="3" y="441"/>
                  </a:lnTo>
                  <a:lnTo>
                    <a:pt x="5" y="443"/>
                  </a:lnTo>
                  <a:lnTo>
                    <a:pt x="7" y="446"/>
                  </a:lnTo>
                  <a:lnTo>
                    <a:pt x="9" y="447"/>
                  </a:lnTo>
                  <a:lnTo>
                    <a:pt x="12" y="448"/>
                  </a:lnTo>
                  <a:lnTo>
                    <a:pt x="15" y="448"/>
                  </a:lnTo>
                  <a:lnTo>
                    <a:pt x="18" y="448"/>
                  </a:lnTo>
                  <a:lnTo>
                    <a:pt x="21" y="447"/>
                  </a:lnTo>
                  <a:lnTo>
                    <a:pt x="23" y="446"/>
                  </a:lnTo>
                  <a:lnTo>
                    <a:pt x="25" y="443"/>
                  </a:lnTo>
                  <a:lnTo>
                    <a:pt x="27" y="441"/>
                  </a:lnTo>
                  <a:lnTo>
                    <a:pt x="28" y="438"/>
                  </a:lnTo>
                  <a:lnTo>
                    <a:pt x="30" y="436"/>
                  </a:lnTo>
                  <a:lnTo>
                    <a:pt x="30" y="433"/>
                  </a:lnTo>
                  <a:lnTo>
                    <a:pt x="30" y="15"/>
                  </a:lnTo>
                  <a:lnTo>
                    <a:pt x="30" y="12"/>
                  </a:lnTo>
                  <a:lnTo>
                    <a:pt x="28" y="8"/>
                  </a:lnTo>
                  <a:lnTo>
                    <a:pt x="27" y="6"/>
                  </a:lnTo>
                  <a:lnTo>
                    <a:pt x="25" y="4"/>
                  </a:lnTo>
                  <a:lnTo>
                    <a:pt x="23"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221">
              <a:extLst>
                <a:ext uri="{FF2B5EF4-FFF2-40B4-BE49-F238E27FC236}">
                  <a16:creationId xmlns:a16="http://schemas.microsoft.com/office/drawing/2014/main" id="{E161AD1B-D8D7-4801-AAF1-FD8FB6BECA65}"/>
                </a:ext>
              </a:extLst>
            </p:cNvPr>
            <p:cNvSpPr>
              <a:spLocks/>
            </p:cNvSpPr>
            <p:nvPr/>
          </p:nvSpPr>
          <p:spPr bwMode="auto">
            <a:xfrm>
              <a:off x="6608763" y="1428751"/>
              <a:ext cx="9525" cy="142875"/>
            </a:xfrm>
            <a:custGeom>
              <a:avLst/>
              <a:gdLst>
                <a:gd name="T0" fmla="*/ 15 w 30"/>
                <a:gd name="T1" fmla="*/ 0 h 448"/>
                <a:gd name="T2" fmla="*/ 12 w 30"/>
                <a:gd name="T3" fmla="*/ 0 h 448"/>
                <a:gd name="T4" fmla="*/ 10 w 30"/>
                <a:gd name="T5" fmla="*/ 1 h 448"/>
                <a:gd name="T6" fmla="*/ 7 w 30"/>
                <a:gd name="T7" fmla="*/ 2 h 448"/>
                <a:gd name="T8" fmla="*/ 5 w 30"/>
                <a:gd name="T9" fmla="*/ 4 h 448"/>
                <a:gd name="T10" fmla="*/ 2 w 30"/>
                <a:gd name="T11" fmla="*/ 6 h 448"/>
                <a:gd name="T12" fmla="*/ 1 w 30"/>
                <a:gd name="T13" fmla="*/ 8 h 448"/>
                <a:gd name="T14" fmla="*/ 0 w 30"/>
                <a:gd name="T15" fmla="*/ 12 h 448"/>
                <a:gd name="T16" fmla="*/ 0 w 30"/>
                <a:gd name="T17" fmla="*/ 15 h 448"/>
                <a:gd name="T18" fmla="*/ 0 w 30"/>
                <a:gd name="T19" fmla="*/ 433 h 448"/>
                <a:gd name="T20" fmla="*/ 0 w 30"/>
                <a:gd name="T21" fmla="*/ 436 h 448"/>
                <a:gd name="T22" fmla="*/ 1 w 30"/>
                <a:gd name="T23" fmla="*/ 438 h 448"/>
                <a:gd name="T24" fmla="*/ 2 w 30"/>
                <a:gd name="T25" fmla="*/ 441 h 448"/>
                <a:gd name="T26" fmla="*/ 5 w 30"/>
                <a:gd name="T27" fmla="*/ 443 h 448"/>
                <a:gd name="T28" fmla="*/ 7 w 30"/>
                <a:gd name="T29" fmla="*/ 446 h 448"/>
                <a:gd name="T30" fmla="*/ 10 w 30"/>
                <a:gd name="T31" fmla="*/ 447 h 448"/>
                <a:gd name="T32" fmla="*/ 12 w 30"/>
                <a:gd name="T33" fmla="*/ 448 h 448"/>
                <a:gd name="T34" fmla="*/ 15 w 30"/>
                <a:gd name="T35" fmla="*/ 448 h 448"/>
                <a:gd name="T36" fmla="*/ 18 w 30"/>
                <a:gd name="T37" fmla="*/ 448 h 448"/>
                <a:gd name="T38" fmla="*/ 22 w 30"/>
                <a:gd name="T39" fmla="*/ 447 h 448"/>
                <a:gd name="T40" fmla="*/ 24 w 30"/>
                <a:gd name="T41" fmla="*/ 446 h 448"/>
                <a:gd name="T42" fmla="*/ 26 w 30"/>
                <a:gd name="T43" fmla="*/ 443 h 448"/>
                <a:gd name="T44" fmla="*/ 28 w 30"/>
                <a:gd name="T45" fmla="*/ 441 h 448"/>
                <a:gd name="T46" fmla="*/ 29 w 30"/>
                <a:gd name="T47" fmla="*/ 438 h 448"/>
                <a:gd name="T48" fmla="*/ 30 w 30"/>
                <a:gd name="T49" fmla="*/ 436 h 448"/>
                <a:gd name="T50" fmla="*/ 30 w 30"/>
                <a:gd name="T51" fmla="*/ 433 h 448"/>
                <a:gd name="T52" fmla="*/ 30 w 30"/>
                <a:gd name="T53" fmla="*/ 15 h 448"/>
                <a:gd name="T54" fmla="*/ 30 w 30"/>
                <a:gd name="T55" fmla="*/ 12 h 448"/>
                <a:gd name="T56" fmla="*/ 29 w 30"/>
                <a:gd name="T57" fmla="*/ 8 h 448"/>
                <a:gd name="T58" fmla="*/ 28 w 30"/>
                <a:gd name="T59" fmla="*/ 6 h 448"/>
                <a:gd name="T60" fmla="*/ 26 w 30"/>
                <a:gd name="T61" fmla="*/ 4 h 448"/>
                <a:gd name="T62" fmla="*/ 24 w 30"/>
                <a:gd name="T63" fmla="*/ 2 h 448"/>
                <a:gd name="T64" fmla="*/ 22 w 30"/>
                <a:gd name="T65" fmla="*/ 1 h 448"/>
                <a:gd name="T66" fmla="*/ 18 w 30"/>
                <a:gd name="T67" fmla="*/ 0 h 448"/>
                <a:gd name="T68" fmla="*/ 15 w 30"/>
                <a:gd name="T69"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15" y="0"/>
                  </a:moveTo>
                  <a:lnTo>
                    <a:pt x="12" y="0"/>
                  </a:lnTo>
                  <a:lnTo>
                    <a:pt x="10" y="1"/>
                  </a:lnTo>
                  <a:lnTo>
                    <a:pt x="7" y="2"/>
                  </a:lnTo>
                  <a:lnTo>
                    <a:pt x="5" y="4"/>
                  </a:lnTo>
                  <a:lnTo>
                    <a:pt x="2" y="6"/>
                  </a:lnTo>
                  <a:lnTo>
                    <a:pt x="1" y="8"/>
                  </a:lnTo>
                  <a:lnTo>
                    <a:pt x="0" y="12"/>
                  </a:lnTo>
                  <a:lnTo>
                    <a:pt x="0" y="15"/>
                  </a:lnTo>
                  <a:lnTo>
                    <a:pt x="0" y="433"/>
                  </a:lnTo>
                  <a:lnTo>
                    <a:pt x="0" y="436"/>
                  </a:lnTo>
                  <a:lnTo>
                    <a:pt x="1" y="438"/>
                  </a:lnTo>
                  <a:lnTo>
                    <a:pt x="2" y="441"/>
                  </a:lnTo>
                  <a:lnTo>
                    <a:pt x="5" y="443"/>
                  </a:lnTo>
                  <a:lnTo>
                    <a:pt x="7" y="446"/>
                  </a:lnTo>
                  <a:lnTo>
                    <a:pt x="10" y="447"/>
                  </a:lnTo>
                  <a:lnTo>
                    <a:pt x="12" y="448"/>
                  </a:lnTo>
                  <a:lnTo>
                    <a:pt x="15" y="448"/>
                  </a:lnTo>
                  <a:lnTo>
                    <a:pt x="18" y="448"/>
                  </a:lnTo>
                  <a:lnTo>
                    <a:pt x="22" y="447"/>
                  </a:lnTo>
                  <a:lnTo>
                    <a:pt x="24" y="446"/>
                  </a:lnTo>
                  <a:lnTo>
                    <a:pt x="26" y="443"/>
                  </a:lnTo>
                  <a:lnTo>
                    <a:pt x="28" y="441"/>
                  </a:lnTo>
                  <a:lnTo>
                    <a:pt x="29" y="438"/>
                  </a:lnTo>
                  <a:lnTo>
                    <a:pt x="30" y="436"/>
                  </a:lnTo>
                  <a:lnTo>
                    <a:pt x="30" y="433"/>
                  </a:lnTo>
                  <a:lnTo>
                    <a:pt x="30" y="15"/>
                  </a:lnTo>
                  <a:lnTo>
                    <a:pt x="30" y="12"/>
                  </a:lnTo>
                  <a:lnTo>
                    <a:pt x="29" y="8"/>
                  </a:lnTo>
                  <a:lnTo>
                    <a:pt x="28" y="6"/>
                  </a:lnTo>
                  <a:lnTo>
                    <a:pt x="26" y="4"/>
                  </a:lnTo>
                  <a:lnTo>
                    <a:pt x="24" y="2"/>
                  </a:lnTo>
                  <a:lnTo>
                    <a:pt x="22"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222">
              <a:extLst>
                <a:ext uri="{FF2B5EF4-FFF2-40B4-BE49-F238E27FC236}">
                  <a16:creationId xmlns:a16="http://schemas.microsoft.com/office/drawing/2014/main" id="{D69C669F-7275-452C-987C-9213CF9CBF62}"/>
                </a:ext>
              </a:extLst>
            </p:cNvPr>
            <p:cNvSpPr>
              <a:spLocks/>
            </p:cNvSpPr>
            <p:nvPr/>
          </p:nvSpPr>
          <p:spPr bwMode="auto">
            <a:xfrm>
              <a:off x="6661150" y="1428751"/>
              <a:ext cx="9525" cy="142875"/>
            </a:xfrm>
            <a:custGeom>
              <a:avLst/>
              <a:gdLst>
                <a:gd name="T0" fmla="*/ 0 w 30"/>
                <a:gd name="T1" fmla="*/ 15 h 448"/>
                <a:gd name="T2" fmla="*/ 0 w 30"/>
                <a:gd name="T3" fmla="*/ 433 h 448"/>
                <a:gd name="T4" fmla="*/ 0 w 30"/>
                <a:gd name="T5" fmla="*/ 436 h 448"/>
                <a:gd name="T6" fmla="*/ 1 w 30"/>
                <a:gd name="T7" fmla="*/ 438 h 448"/>
                <a:gd name="T8" fmla="*/ 2 w 30"/>
                <a:gd name="T9" fmla="*/ 441 h 448"/>
                <a:gd name="T10" fmla="*/ 4 w 30"/>
                <a:gd name="T11" fmla="*/ 443 h 448"/>
                <a:gd name="T12" fmla="*/ 6 w 30"/>
                <a:gd name="T13" fmla="*/ 446 h 448"/>
                <a:gd name="T14" fmla="*/ 9 w 30"/>
                <a:gd name="T15" fmla="*/ 447 h 448"/>
                <a:gd name="T16" fmla="*/ 12 w 30"/>
                <a:gd name="T17" fmla="*/ 448 h 448"/>
                <a:gd name="T18" fmla="*/ 15 w 30"/>
                <a:gd name="T19" fmla="*/ 448 h 448"/>
                <a:gd name="T20" fmla="*/ 18 w 30"/>
                <a:gd name="T21" fmla="*/ 448 h 448"/>
                <a:gd name="T22" fmla="*/ 20 w 30"/>
                <a:gd name="T23" fmla="*/ 447 h 448"/>
                <a:gd name="T24" fmla="*/ 24 w 30"/>
                <a:gd name="T25" fmla="*/ 446 h 448"/>
                <a:gd name="T26" fmla="*/ 26 w 30"/>
                <a:gd name="T27" fmla="*/ 443 h 448"/>
                <a:gd name="T28" fmla="*/ 27 w 30"/>
                <a:gd name="T29" fmla="*/ 441 h 448"/>
                <a:gd name="T30" fmla="*/ 29 w 30"/>
                <a:gd name="T31" fmla="*/ 438 h 448"/>
                <a:gd name="T32" fmla="*/ 29 w 30"/>
                <a:gd name="T33" fmla="*/ 436 h 448"/>
                <a:gd name="T34" fmla="*/ 30 w 30"/>
                <a:gd name="T35" fmla="*/ 433 h 448"/>
                <a:gd name="T36" fmla="*/ 30 w 30"/>
                <a:gd name="T37" fmla="*/ 15 h 448"/>
                <a:gd name="T38" fmla="*/ 29 w 30"/>
                <a:gd name="T39" fmla="*/ 12 h 448"/>
                <a:gd name="T40" fmla="*/ 29 w 30"/>
                <a:gd name="T41" fmla="*/ 8 h 448"/>
                <a:gd name="T42" fmla="*/ 27 w 30"/>
                <a:gd name="T43" fmla="*/ 6 h 448"/>
                <a:gd name="T44" fmla="*/ 26 w 30"/>
                <a:gd name="T45" fmla="*/ 4 h 448"/>
                <a:gd name="T46" fmla="*/ 24 w 30"/>
                <a:gd name="T47" fmla="*/ 2 h 448"/>
                <a:gd name="T48" fmla="*/ 20 w 30"/>
                <a:gd name="T49" fmla="*/ 1 h 448"/>
                <a:gd name="T50" fmla="*/ 18 w 30"/>
                <a:gd name="T51" fmla="*/ 0 h 448"/>
                <a:gd name="T52" fmla="*/ 15 w 30"/>
                <a:gd name="T53" fmla="*/ 0 h 448"/>
                <a:gd name="T54" fmla="*/ 12 w 30"/>
                <a:gd name="T55" fmla="*/ 0 h 448"/>
                <a:gd name="T56" fmla="*/ 9 w 30"/>
                <a:gd name="T57" fmla="*/ 1 h 448"/>
                <a:gd name="T58" fmla="*/ 6 w 30"/>
                <a:gd name="T59" fmla="*/ 2 h 448"/>
                <a:gd name="T60" fmla="*/ 4 w 30"/>
                <a:gd name="T61" fmla="*/ 4 h 448"/>
                <a:gd name="T62" fmla="*/ 2 w 30"/>
                <a:gd name="T63" fmla="*/ 6 h 448"/>
                <a:gd name="T64" fmla="*/ 1 w 30"/>
                <a:gd name="T65" fmla="*/ 8 h 448"/>
                <a:gd name="T66" fmla="*/ 0 w 30"/>
                <a:gd name="T67" fmla="*/ 12 h 448"/>
                <a:gd name="T68" fmla="*/ 0 w 30"/>
                <a:gd name="T69" fmla="*/ 1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448">
                  <a:moveTo>
                    <a:pt x="0" y="15"/>
                  </a:moveTo>
                  <a:lnTo>
                    <a:pt x="0" y="433"/>
                  </a:lnTo>
                  <a:lnTo>
                    <a:pt x="0" y="436"/>
                  </a:lnTo>
                  <a:lnTo>
                    <a:pt x="1" y="438"/>
                  </a:lnTo>
                  <a:lnTo>
                    <a:pt x="2" y="441"/>
                  </a:lnTo>
                  <a:lnTo>
                    <a:pt x="4" y="443"/>
                  </a:lnTo>
                  <a:lnTo>
                    <a:pt x="6" y="446"/>
                  </a:lnTo>
                  <a:lnTo>
                    <a:pt x="9" y="447"/>
                  </a:lnTo>
                  <a:lnTo>
                    <a:pt x="12" y="448"/>
                  </a:lnTo>
                  <a:lnTo>
                    <a:pt x="15" y="448"/>
                  </a:lnTo>
                  <a:lnTo>
                    <a:pt x="18" y="448"/>
                  </a:lnTo>
                  <a:lnTo>
                    <a:pt x="20" y="447"/>
                  </a:lnTo>
                  <a:lnTo>
                    <a:pt x="24" y="446"/>
                  </a:lnTo>
                  <a:lnTo>
                    <a:pt x="26" y="443"/>
                  </a:lnTo>
                  <a:lnTo>
                    <a:pt x="27" y="441"/>
                  </a:lnTo>
                  <a:lnTo>
                    <a:pt x="29" y="438"/>
                  </a:lnTo>
                  <a:lnTo>
                    <a:pt x="29" y="436"/>
                  </a:lnTo>
                  <a:lnTo>
                    <a:pt x="30" y="433"/>
                  </a:lnTo>
                  <a:lnTo>
                    <a:pt x="30" y="15"/>
                  </a:lnTo>
                  <a:lnTo>
                    <a:pt x="29" y="12"/>
                  </a:lnTo>
                  <a:lnTo>
                    <a:pt x="29" y="8"/>
                  </a:lnTo>
                  <a:lnTo>
                    <a:pt x="27" y="6"/>
                  </a:lnTo>
                  <a:lnTo>
                    <a:pt x="26" y="4"/>
                  </a:lnTo>
                  <a:lnTo>
                    <a:pt x="24" y="2"/>
                  </a:lnTo>
                  <a:lnTo>
                    <a:pt x="20" y="1"/>
                  </a:lnTo>
                  <a:lnTo>
                    <a:pt x="18" y="0"/>
                  </a:lnTo>
                  <a:lnTo>
                    <a:pt x="15" y="0"/>
                  </a:lnTo>
                  <a:lnTo>
                    <a:pt x="12" y="0"/>
                  </a:lnTo>
                  <a:lnTo>
                    <a:pt x="9"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2" name="Freeform 279">
            <a:extLst>
              <a:ext uri="{FF2B5EF4-FFF2-40B4-BE49-F238E27FC236}">
                <a16:creationId xmlns:a16="http://schemas.microsoft.com/office/drawing/2014/main" id="{EEF3151B-2065-4C18-AE86-4F78A3F36AC8}"/>
              </a:ext>
            </a:extLst>
          </p:cNvPr>
          <p:cNvSpPr>
            <a:spLocks noChangeAspect="1" noEditPoints="1"/>
          </p:cNvSpPr>
          <p:nvPr/>
        </p:nvSpPr>
        <p:spPr bwMode="auto">
          <a:xfrm flipH="1">
            <a:off x="2664491" y="3802799"/>
            <a:ext cx="365738" cy="306484"/>
          </a:xfrm>
          <a:custGeom>
            <a:avLst/>
            <a:gdLst>
              <a:gd name="T0" fmla="*/ 680 w 896"/>
              <a:gd name="T1" fmla="*/ 697 h 748"/>
              <a:gd name="T2" fmla="*/ 633 w 896"/>
              <a:gd name="T3" fmla="*/ 633 h 748"/>
              <a:gd name="T4" fmla="*/ 637 w 896"/>
              <a:gd name="T5" fmla="*/ 552 h 748"/>
              <a:gd name="T6" fmla="*/ 691 w 896"/>
              <a:gd name="T7" fmla="*/ 493 h 748"/>
              <a:gd name="T8" fmla="*/ 771 w 896"/>
              <a:gd name="T9" fmla="*/ 481 h 748"/>
              <a:gd name="T10" fmla="*/ 839 w 896"/>
              <a:gd name="T11" fmla="*/ 522 h 748"/>
              <a:gd name="T12" fmla="*/ 866 w 896"/>
              <a:gd name="T13" fmla="*/ 598 h 748"/>
              <a:gd name="T14" fmla="*/ 839 w 896"/>
              <a:gd name="T15" fmla="*/ 674 h 748"/>
              <a:gd name="T16" fmla="*/ 771 w 896"/>
              <a:gd name="T17" fmla="*/ 715 h 748"/>
              <a:gd name="T18" fmla="*/ 140 w 896"/>
              <a:gd name="T19" fmla="*/ 202 h 748"/>
              <a:gd name="T20" fmla="*/ 278 w 896"/>
              <a:gd name="T21" fmla="*/ 201 h 748"/>
              <a:gd name="T22" fmla="*/ 421 w 896"/>
              <a:gd name="T23" fmla="*/ 258 h 748"/>
              <a:gd name="T24" fmla="*/ 59 w 896"/>
              <a:gd name="T25" fmla="*/ 221 h 748"/>
              <a:gd name="T26" fmla="*/ 97 w 896"/>
              <a:gd name="T27" fmla="*/ 537 h 748"/>
              <a:gd name="T28" fmla="*/ 456 w 896"/>
              <a:gd name="T29" fmla="*/ 463 h 748"/>
              <a:gd name="T30" fmla="*/ 322 w 896"/>
              <a:gd name="T31" fmla="*/ 537 h 748"/>
              <a:gd name="T32" fmla="*/ 747 w 896"/>
              <a:gd name="T33" fmla="*/ 30 h 748"/>
              <a:gd name="T34" fmla="*/ 823 w 896"/>
              <a:gd name="T35" fmla="*/ 58 h 748"/>
              <a:gd name="T36" fmla="*/ 864 w 896"/>
              <a:gd name="T37" fmla="*/ 125 h 748"/>
              <a:gd name="T38" fmla="*/ 852 w 896"/>
              <a:gd name="T39" fmla="*/ 206 h 748"/>
              <a:gd name="T40" fmla="*/ 793 w 896"/>
              <a:gd name="T41" fmla="*/ 260 h 748"/>
              <a:gd name="T42" fmla="*/ 712 w 896"/>
              <a:gd name="T43" fmla="*/ 264 h 748"/>
              <a:gd name="T44" fmla="*/ 648 w 896"/>
              <a:gd name="T45" fmla="*/ 216 h 748"/>
              <a:gd name="T46" fmla="*/ 629 w 896"/>
              <a:gd name="T47" fmla="*/ 138 h 748"/>
              <a:gd name="T48" fmla="*/ 663 w 896"/>
              <a:gd name="T49" fmla="*/ 65 h 748"/>
              <a:gd name="T50" fmla="*/ 735 w 896"/>
              <a:gd name="T51" fmla="*/ 31 h 748"/>
              <a:gd name="T52" fmla="*/ 699 w 896"/>
              <a:gd name="T53" fmla="*/ 457 h 748"/>
              <a:gd name="T54" fmla="*/ 644 w 896"/>
              <a:gd name="T55" fmla="*/ 490 h 748"/>
              <a:gd name="T56" fmla="*/ 607 w 896"/>
              <a:gd name="T57" fmla="*/ 461 h 748"/>
              <a:gd name="T58" fmla="*/ 587 w 896"/>
              <a:gd name="T59" fmla="*/ 340 h 748"/>
              <a:gd name="T60" fmla="*/ 626 w 896"/>
              <a:gd name="T61" fmla="*/ 236 h 748"/>
              <a:gd name="T62" fmla="*/ 674 w 896"/>
              <a:gd name="T63" fmla="*/ 280 h 748"/>
              <a:gd name="T64" fmla="*/ 737 w 896"/>
              <a:gd name="T65" fmla="*/ 298 h 748"/>
              <a:gd name="T66" fmla="*/ 831 w 896"/>
              <a:gd name="T67" fmla="*/ 274 h 748"/>
              <a:gd name="T68" fmla="*/ 890 w 896"/>
              <a:gd name="T69" fmla="*/ 194 h 748"/>
              <a:gd name="T70" fmla="*/ 884 w 896"/>
              <a:gd name="T71" fmla="*/ 92 h 748"/>
              <a:gd name="T72" fmla="*/ 818 w 896"/>
              <a:gd name="T73" fmla="*/ 18 h 748"/>
              <a:gd name="T74" fmla="*/ 717 w 896"/>
              <a:gd name="T75" fmla="*/ 3 h 748"/>
              <a:gd name="T76" fmla="*/ 632 w 896"/>
              <a:gd name="T77" fmla="*/ 55 h 748"/>
              <a:gd name="T78" fmla="*/ 598 w 896"/>
              <a:gd name="T79" fmla="*/ 150 h 748"/>
              <a:gd name="T80" fmla="*/ 561 w 896"/>
              <a:gd name="T81" fmla="*/ 323 h 748"/>
              <a:gd name="T82" fmla="*/ 447 w 896"/>
              <a:gd name="T83" fmla="*/ 240 h 748"/>
              <a:gd name="T84" fmla="*/ 287 w 896"/>
              <a:gd name="T85" fmla="*/ 172 h 748"/>
              <a:gd name="T86" fmla="*/ 106 w 896"/>
              <a:gd name="T87" fmla="*/ 179 h 748"/>
              <a:gd name="T88" fmla="*/ 3 w 896"/>
              <a:gd name="T89" fmla="*/ 215 h 748"/>
              <a:gd name="T90" fmla="*/ 10 w 896"/>
              <a:gd name="T91" fmla="*/ 239 h 748"/>
              <a:gd name="T92" fmla="*/ 0 w 896"/>
              <a:gd name="T93" fmla="*/ 525 h 748"/>
              <a:gd name="T94" fmla="*/ 47 w 896"/>
              <a:gd name="T95" fmla="*/ 555 h 748"/>
              <a:gd name="T96" fmla="*/ 236 w 896"/>
              <a:gd name="T97" fmla="*/ 582 h 748"/>
              <a:gd name="T98" fmla="*/ 405 w 896"/>
              <a:gd name="T99" fmla="*/ 534 h 748"/>
              <a:gd name="T100" fmla="*/ 536 w 896"/>
              <a:gd name="T101" fmla="*/ 424 h 748"/>
              <a:gd name="T102" fmla="*/ 594 w 896"/>
              <a:gd name="T103" fmla="*/ 545 h 748"/>
              <a:gd name="T104" fmla="*/ 616 w 896"/>
              <a:gd name="T105" fmla="*/ 669 h 748"/>
              <a:gd name="T106" fmla="*/ 689 w 896"/>
              <a:gd name="T107" fmla="*/ 736 h 748"/>
              <a:gd name="T108" fmla="*/ 791 w 896"/>
              <a:gd name="T109" fmla="*/ 740 h 748"/>
              <a:gd name="T110" fmla="*/ 872 w 896"/>
              <a:gd name="T111" fmla="*/ 681 h 748"/>
              <a:gd name="T112" fmla="*/ 896 w 896"/>
              <a:gd name="T113" fmla="*/ 583 h 748"/>
              <a:gd name="T114" fmla="*/ 852 w 896"/>
              <a:gd name="T115" fmla="*/ 492 h 748"/>
              <a:gd name="T116" fmla="*/ 762 w 896"/>
              <a:gd name="T117" fmla="*/ 4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96" h="748">
                <a:moveTo>
                  <a:pt x="747" y="718"/>
                </a:moveTo>
                <a:lnTo>
                  <a:pt x="735" y="717"/>
                </a:lnTo>
                <a:lnTo>
                  <a:pt x="723" y="715"/>
                </a:lnTo>
                <a:lnTo>
                  <a:pt x="712" y="712"/>
                </a:lnTo>
                <a:lnTo>
                  <a:pt x="700" y="708"/>
                </a:lnTo>
                <a:lnTo>
                  <a:pt x="691" y="703"/>
                </a:lnTo>
                <a:lnTo>
                  <a:pt x="680" y="697"/>
                </a:lnTo>
                <a:lnTo>
                  <a:pt x="671" y="690"/>
                </a:lnTo>
                <a:lnTo>
                  <a:pt x="663" y="682"/>
                </a:lnTo>
                <a:lnTo>
                  <a:pt x="655" y="674"/>
                </a:lnTo>
                <a:lnTo>
                  <a:pt x="648" y="665"/>
                </a:lnTo>
                <a:lnTo>
                  <a:pt x="642" y="655"/>
                </a:lnTo>
                <a:lnTo>
                  <a:pt x="637" y="645"/>
                </a:lnTo>
                <a:lnTo>
                  <a:pt x="633" y="633"/>
                </a:lnTo>
                <a:lnTo>
                  <a:pt x="630" y="622"/>
                </a:lnTo>
                <a:lnTo>
                  <a:pt x="629" y="610"/>
                </a:lnTo>
                <a:lnTo>
                  <a:pt x="628" y="598"/>
                </a:lnTo>
                <a:lnTo>
                  <a:pt x="629" y="586"/>
                </a:lnTo>
                <a:lnTo>
                  <a:pt x="630" y="574"/>
                </a:lnTo>
                <a:lnTo>
                  <a:pt x="633" y="563"/>
                </a:lnTo>
                <a:lnTo>
                  <a:pt x="637" y="552"/>
                </a:lnTo>
                <a:lnTo>
                  <a:pt x="642" y="541"/>
                </a:lnTo>
                <a:lnTo>
                  <a:pt x="648" y="532"/>
                </a:lnTo>
                <a:lnTo>
                  <a:pt x="655" y="522"/>
                </a:lnTo>
                <a:lnTo>
                  <a:pt x="663" y="513"/>
                </a:lnTo>
                <a:lnTo>
                  <a:pt x="671" y="506"/>
                </a:lnTo>
                <a:lnTo>
                  <a:pt x="680" y="498"/>
                </a:lnTo>
                <a:lnTo>
                  <a:pt x="691" y="493"/>
                </a:lnTo>
                <a:lnTo>
                  <a:pt x="700" y="488"/>
                </a:lnTo>
                <a:lnTo>
                  <a:pt x="712" y="483"/>
                </a:lnTo>
                <a:lnTo>
                  <a:pt x="723" y="481"/>
                </a:lnTo>
                <a:lnTo>
                  <a:pt x="735" y="479"/>
                </a:lnTo>
                <a:lnTo>
                  <a:pt x="747" y="478"/>
                </a:lnTo>
                <a:lnTo>
                  <a:pt x="759" y="479"/>
                </a:lnTo>
                <a:lnTo>
                  <a:pt x="771" y="481"/>
                </a:lnTo>
                <a:lnTo>
                  <a:pt x="783" y="483"/>
                </a:lnTo>
                <a:lnTo>
                  <a:pt x="793" y="488"/>
                </a:lnTo>
                <a:lnTo>
                  <a:pt x="804" y="493"/>
                </a:lnTo>
                <a:lnTo>
                  <a:pt x="814" y="498"/>
                </a:lnTo>
                <a:lnTo>
                  <a:pt x="823" y="506"/>
                </a:lnTo>
                <a:lnTo>
                  <a:pt x="832" y="513"/>
                </a:lnTo>
                <a:lnTo>
                  <a:pt x="839" y="522"/>
                </a:lnTo>
                <a:lnTo>
                  <a:pt x="846" y="532"/>
                </a:lnTo>
                <a:lnTo>
                  <a:pt x="852" y="541"/>
                </a:lnTo>
                <a:lnTo>
                  <a:pt x="858" y="552"/>
                </a:lnTo>
                <a:lnTo>
                  <a:pt x="861" y="563"/>
                </a:lnTo>
                <a:lnTo>
                  <a:pt x="864" y="574"/>
                </a:lnTo>
                <a:lnTo>
                  <a:pt x="866" y="586"/>
                </a:lnTo>
                <a:lnTo>
                  <a:pt x="866" y="598"/>
                </a:lnTo>
                <a:lnTo>
                  <a:pt x="866" y="610"/>
                </a:lnTo>
                <a:lnTo>
                  <a:pt x="864" y="622"/>
                </a:lnTo>
                <a:lnTo>
                  <a:pt x="861" y="633"/>
                </a:lnTo>
                <a:lnTo>
                  <a:pt x="858" y="645"/>
                </a:lnTo>
                <a:lnTo>
                  <a:pt x="852" y="655"/>
                </a:lnTo>
                <a:lnTo>
                  <a:pt x="846" y="665"/>
                </a:lnTo>
                <a:lnTo>
                  <a:pt x="839" y="674"/>
                </a:lnTo>
                <a:lnTo>
                  <a:pt x="832" y="682"/>
                </a:lnTo>
                <a:lnTo>
                  <a:pt x="823" y="690"/>
                </a:lnTo>
                <a:lnTo>
                  <a:pt x="814" y="697"/>
                </a:lnTo>
                <a:lnTo>
                  <a:pt x="804" y="703"/>
                </a:lnTo>
                <a:lnTo>
                  <a:pt x="793" y="708"/>
                </a:lnTo>
                <a:lnTo>
                  <a:pt x="783" y="712"/>
                </a:lnTo>
                <a:lnTo>
                  <a:pt x="771" y="715"/>
                </a:lnTo>
                <a:lnTo>
                  <a:pt x="759" y="717"/>
                </a:lnTo>
                <a:lnTo>
                  <a:pt x="747" y="718"/>
                </a:lnTo>
                <a:close/>
                <a:moveTo>
                  <a:pt x="59" y="221"/>
                </a:moveTo>
                <a:lnTo>
                  <a:pt x="77" y="216"/>
                </a:lnTo>
                <a:lnTo>
                  <a:pt x="97" y="211"/>
                </a:lnTo>
                <a:lnTo>
                  <a:pt x="118" y="206"/>
                </a:lnTo>
                <a:lnTo>
                  <a:pt x="140" y="202"/>
                </a:lnTo>
                <a:lnTo>
                  <a:pt x="160" y="199"/>
                </a:lnTo>
                <a:lnTo>
                  <a:pt x="179" y="197"/>
                </a:lnTo>
                <a:lnTo>
                  <a:pt x="195" y="195"/>
                </a:lnTo>
                <a:lnTo>
                  <a:pt x="209" y="195"/>
                </a:lnTo>
                <a:lnTo>
                  <a:pt x="233" y="195"/>
                </a:lnTo>
                <a:lnTo>
                  <a:pt x="255" y="197"/>
                </a:lnTo>
                <a:lnTo>
                  <a:pt x="278" y="201"/>
                </a:lnTo>
                <a:lnTo>
                  <a:pt x="300" y="205"/>
                </a:lnTo>
                <a:lnTo>
                  <a:pt x="322" y="211"/>
                </a:lnTo>
                <a:lnTo>
                  <a:pt x="343" y="218"/>
                </a:lnTo>
                <a:lnTo>
                  <a:pt x="363" y="227"/>
                </a:lnTo>
                <a:lnTo>
                  <a:pt x="384" y="236"/>
                </a:lnTo>
                <a:lnTo>
                  <a:pt x="403" y="247"/>
                </a:lnTo>
                <a:lnTo>
                  <a:pt x="421" y="258"/>
                </a:lnTo>
                <a:lnTo>
                  <a:pt x="439" y="271"/>
                </a:lnTo>
                <a:lnTo>
                  <a:pt x="456" y="285"/>
                </a:lnTo>
                <a:lnTo>
                  <a:pt x="473" y="300"/>
                </a:lnTo>
                <a:lnTo>
                  <a:pt x="489" y="314"/>
                </a:lnTo>
                <a:lnTo>
                  <a:pt x="502" y="331"/>
                </a:lnTo>
                <a:lnTo>
                  <a:pt x="516" y="349"/>
                </a:lnTo>
                <a:lnTo>
                  <a:pt x="59" y="221"/>
                </a:lnTo>
                <a:close/>
                <a:moveTo>
                  <a:pt x="209" y="553"/>
                </a:moveTo>
                <a:lnTo>
                  <a:pt x="195" y="553"/>
                </a:lnTo>
                <a:lnTo>
                  <a:pt x="179" y="551"/>
                </a:lnTo>
                <a:lnTo>
                  <a:pt x="160" y="549"/>
                </a:lnTo>
                <a:lnTo>
                  <a:pt x="140" y="545"/>
                </a:lnTo>
                <a:lnTo>
                  <a:pt x="118" y="541"/>
                </a:lnTo>
                <a:lnTo>
                  <a:pt x="97" y="537"/>
                </a:lnTo>
                <a:lnTo>
                  <a:pt x="78" y="533"/>
                </a:lnTo>
                <a:lnTo>
                  <a:pt x="59" y="527"/>
                </a:lnTo>
                <a:lnTo>
                  <a:pt x="516" y="399"/>
                </a:lnTo>
                <a:lnTo>
                  <a:pt x="502" y="417"/>
                </a:lnTo>
                <a:lnTo>
                  <a:pt x="489" y="433"/>
                </a:lnTo>
                <a:lnTo>
                  <a:pt x="473" y="448"/>
                </a:lnTo>
                <a:lnTo>
                  <a:pt x="456" y="463"/>
                </a:lnTo>
                <a:lnTo>
                  <a:pt x="439" y="477"/>
                </a:lnTo>
                <a:lnTo>
                  <a:pt x="421" y="490"/>
                </a:lnTo>
                <a:lnTo>
                  <a:pt x="403" y="501"/>
                </a:lnTo>
                <a:lnTo>
                  <a:pt x="384" y="511"/>
                </a:lnTo>
                <a:lnTo>
                  <a:pt x="363" y="521"/>
                </a:lnTo>
                <a:lnTo>
                  <a:pt x="343" y="529"/>
                </a:lnTo>
                <a:lnTo>
                  <a:pt x="322" y="537"/>
                </a:lnTo>
                <a:lnTo>
                  <a:pt x="300" y="542"/>
                </a:lnTo>
                <a:lnTo>
                  <a:pt x="278" y="547"/>
                </a:lnTo>
                <a:lnTo>
                  <a:pt x="255" y="551"/>
                </a:lnTo>
                <a:lnTo>
                  <a:pt x="233" y="553"/>
                </a:lnTo>
                <a:lnTo>
                  <a:pt x="209" y="553"/>
                </a:lnTo>
                <a:lnTo>
                  <a:pt x="209" y="553"/>
                </a:lnTo>
                <a:close/>
                <a:moveTo>
                  <a:pt x="747" y="30"/>
                </a:moveTo>
                <a:lnTo>
                  <a:pt x="759" y="31"/>
                </a:lnTo>
                <a:lnTo>
                  <a:pt x="771" y="32"/>
                </a:lnTo>
                <a:lnTo>
                  <a:pt x="783" y="35"/>
                </a:lnTo>
                <a:lnTo>
                  <a:pt x="793" y="40"/>
                </a:lnTo>
                <a:lnTo>
                  <a:pt x="804" y="45"/>
                </a:lnTo>
                <a:lnTo>
                  <a:pt x="814" y="50"/>
                </a:lnTo>
                <a:lnTo>
                  <a:pt x="823" y="58"/>
                </a:lnTo>
                <a:lnTo>
                  <a:pt x="832" y="65"/>
                </a:lnTo>
                <a:lnTo>
                  <a:pt x="839" y="74"/>
                </a:lnTo>
                <a:lnTo>
                  <a:pt x="846" y="82"/>
                </a:lnTo>
                <a:lnTo>
                  <a:pt x="852" y="93"/>
                </a:lnTo>
                <a:lnTo>
                  <a:pt x="858" y="103"/>
                </a:lnTo>
                <a:lnTo>
                  <a:pt x="861" y="115"/>
                </a:lnTo>
                <a:lnTo>
                  <a:pt x="864" y="125"/>
                </a:lnTo>
                <a:lnTo>
                  <a:pt x="866" y="138"/>
                </a:lnTo>
                <a:lnTo>
                  <a:pt x="866" y="150"/>
                </a:lnTo>
                <a:lnTo>
                  <a:pt x="866" y="162"/>
                </a:lnTo>
                <a:lnTo>
                  <a:pt x="864" y="173"/>
                </a:lnTo>
                <a:lnTo>
                  <a:pt x="861" y="185"/>
                </a:lnTo>
                <a:lnTo>
                  <a:pt x="858" y="196"/>
                </a:lnTo>
                <a:lnTo>
                  <a:pt x="852" y="206"/>
                </a:lnTo>
                <a:lnTo>
                  <a:pt x="846" y="216"/>
                </a:lnTo>
                <a:lnTo>
                  <a:pt x="839" y="226"/>
                </a:lnTo>
                <a:lnTo>
                  <a:pt x="832" y="234"/>
                </a:lnTo>
                <a:lnTo>
                  <a:pt x="823" y="242"/>
                </a:lnTo>
                <a:lnTo>
                  <a:pt x="814" y="249"/>
                </a:lnTo>
                <a:lnTo>
                  <a:pt x="804" y="255"/>
                </a:lnTo>
                <a:lnTo>
                  <a:pt x="793" y="260"/>
                </a:lnTo>
                <a:lnTo>
                  <a:pt x="783" y="264"/>
                </a:lnTo>
                <a:lnTo>
                  <a:pt x="771" y="266"/>
                </a:lnTo>
                <a:lnTo>
                  <a:pt x="759" y="268"/>
                </a:lnTo>
                <a:lnTo>
                  <a:pt x="747" y="270"/>
                </a:lnTo>
                <a:lnTo>
                  <a:pt x="735" y="268"/>
                </a:lnTo>
                <a:lnTo>
                  <a:pt x="723" y="266"/>
                </a:lnTo>
                <a:lnTo>
                  <a:pt x="712" y="264"/>
                </a:lnTo>
                <a:lnTo>
                  <a:pt x="700" y="260"/>
                </a:lnTo>
                <a:lnTo>
                  <a:pt x="691" y="255"/>
                </a:lnTo>
                <a:lnTo>
                  <a:pt x="680" y="249"/>
                </a:lnTo>
                <a:lnTo>
                  <a:pt x="671" y="242"/>
                </a:lnTo>
                <a:lnTo>
                  <a:pt x="663" y="234"/>
                </a:lnTo>
                <a:lnTo>
                  <a:pt x="655" y="226"/>
                </a:lnTo>
                <a:lnTo>
                  <a:pt x="648" y="216"/>
                </a:lnTo>
                <a:lnTo>
                  <a:pt x="642" y="206"/>
                </a:lnTo>
                <a:lnTo>
                  <a:pt x="637" y="196"/>
                </a:lnTo>
                <a:lnTo>
                  <a:pt x="633" y="185"/>
                </a:lnTo>
                <a:lnTo>
                  <a:pt x="630" y="173"/>
                </a:lnTo>
                <a:lnTo>
                  <a:pt x="629" y="162"/>
                </a:lnTo>
                <a:lnTo>
                  <a:pt x="628" y="150"/>
                </a:lnTo>
                <a:lnTo>
                  <a:pt x="629" y="138"/>
                </a:lnTo>
                <a:lnTo>
                  <a:pt x="630" y="125"/>
                </a:lnTo>
                <a:lnTo>
                  <a:pt x="633" y="115"/>
                </a:lnTo>
                <a:lnTo>
                  <a:pt x="637" y="103"/>
                </a:lnTo>
                <a:lnTo>
                  <a:pt x="642" y="93"/>
                </a:lnTo>
                <a:lnTo>
                  <a:pt x="648" y="82"/>
                </a:lnTo>
                <a:lnTo>
                  <a:pt x="655" y="74"/>
                </a:lnTo>
                <a:lnTo>
                  <a:pt x="663" y="65"/>
                </a:lnTo>
                <a:lnTo>
                  <a:pt x="671" y="58"/>
                </a:lnTo>
                <a:lnTo>
                  <a:pt x="680" y="50"/>
                </a:lnTo>
                <a:lnTo>
                  <a:pt x="691" y="45"/>
                </a:lnTo>
                <a:lnTo>
                  <a:pt x="700" y="40"/>
                </a:lnTo>
                <a:lnTo>
                  <a:pt x="712" y="35"/>
                </a:lnTo>
                <a:lnTo>
                  <a:pt x="723" y="32"/>
                </a:lnTo>
                <a:lnTo>
                  <a:pt x="735" y="31"/>
                </a:lnTo>
                <a:lnTo>
                  <a:pt x="747" y="30"/>
                </a:lnTo>
                <a:close/>
                <a:moveTo>
                  <a:pt x="747" y="448"/>
                </a:moveTo>
                <a:lnTo>
                  <a:pt x="737" y="449"/>
                </a:lnTo>
                <a:lnTo>
                  <a:pt x="727" y="450"/>
                </a:lnTo>
                <a:lnTo>
                  <a:pt x="717" y="451"/>
                </a:lnTo>
                <a:lnTo>
                  <a:pt x="709" y="453"/>
                </a:lnTo>
                <a:lnTo>
                  <a:pt x="699" y="457"/>
                </a:lnTo>
                <a:lnTo>
                  <a:pt x="691" y="460"/>
                </a:lnTo>
                <a:lnTo>
                  <a:pt x="682" y="463"/>
                </a:lnTo>
                <a:lnTo>
                  <a:pt x="674" y="467"/>
                </a:lnTo>
                <a:lnTo>
                  <a:pt x="666" y="473"/>
                </a:lnTo>
                <a:lnTo>
                  <a:pt x="659" y="478"/>
                </a:lnTo>
                <a:lnTo>
                  <a:pt x="651" y="483"/>
                </a:lnTo>
                <a:lnTo>
                  <a:pt x="644" y="490"/>
                </a:lnTo>
                <a:lnTo>
                  <a:pt x="637" y="496"/>
                </a:lnTo>
                <a:lnTo>
                  <a:pt x="632" y="504"/>
                </a:lnTo>
                <a:lnTo>
                  <a:pt x="626" y="511"/>
                </a:lnTo>
                <a:lnTo>
                  <a:pt x="621" y="519"/>
                </a:lnTo>
                <a:lnTo>
                  <a:pt x="617" y="499"/>
                </a:lnTo>
                <a:lnTo>
                  <a:pt x="613" y="480"/>
                </a:lnTo>
                <a:lnTo>
                  <a:pt x="607" y="461"/>
                </a:lnTo>
                <a:lnTo>
                  <a:pt x="601" y="443"/>
                </a:lnTo>
                <a:lnTo>
                  <a:pt x="594" y="425"/>
                </a:lnTo>
                <a:lnTo>
                  <a:pt x="587" y="407"/>
                </a:lnTo>
                <a:lnTo>
                  <a:pt x="578" y="390"/>
                </a:lnTo>
                <a:lnTo>
                  <a:pt x="569" y="373"/>
                </a:lnTo>
                <a:lnTo>
                  <a:pt x="578" y="357"/>
                </a:lnTo>
                <a:lnTo>
                  <a:pt x="587" y="340"/>
                </a:lnTo>
                <a:lnTo>
                  <a:pt x="594" y="323"/>
                </a:lnTo>
                <a:lnTo>
                  <a:pt x="601" y="305"/>
                </a:lnTo>
                <a:lnTo>
                  <a:pt x="607" y="287"/>
                </a:lnTo>
                <a:lnTo>
                  <a:pt x="613" y="267"/>
                </a:lnTo>
                <a:lnTo>
                  <a:pt x="617" y="248"/>
                </a:lnTo>
                <a:lnTo>
                  <a:pt x="621" y="229"/>
                </a:lnTo>
                <a:lnTo>
                  <a:pt x="626" y="236"/>
                </a:lnTo>
                <a:lnTo>
                  <a:pt x="632" y="244"/>
                </a:lnTo>
                <a:lnTo>
                  <a:pt x="637" y="251"/>
                </a:lnTo>
                <a:lnTo>
                  <a:pt x="644" y="258"/>
                </a:lnTo>
                <a:lnTo>
                  <a:pt x="651" y="264"/>
                </a:lnTo>
                <a:lnTo>
                  <a:pt x="659" y="270"/>
                </a:lnTo>
                <a:lnTo>
                  <a:pt x="666" y="275"/>
                </a:lnTo>
                <a:lnTo>
                  <a:pt x="674" y="280"/>
                </a:lnTo>
                <a:lnTo>
                  <a:pt x="682" y="285"/>
                </a:lnTo>
                <a:lnTo>
                  <a:pt x="691" y="288"/>
                </a:lnTo>
                <a:lnTo>
                  <a:pt x="699" y="291"/>
                </a:lnTo>
                <a:lnTo>
                  <a:pt x="709" y="294"/>
                </a:lnTo>
                <a:lnTo>
                  <a:pt x="717" y="296"/>
                </a:lnTo>
                <a:lnTo>
                  <a:pt x="727" y="297"/>
                </a:lnTo>
                <a:lnTo>
                  <a:pt x="737" y="298"/>
                </a:lnTo>
                <a:lnTo>
                  <a:pt x="747" y="300"/>
                </a:lnTo>
                <a:lnTo>
                  <a:pt x="762" y="298"/>
                </a:lnTo>
                <a:lnTo>
                  <a:pt x="777" y="296"/>
                </a:lnTo>
                <a:lnTo>
                  <a:pt x="791" y="292"/>
                </a:lnTo>
                <a:lnTo>
                  <a:pt x="805" y="288"/>
                </a:lnTo>
                <a:lnTo>
                  <a:pt x="818" y="281"/>
                </a:lnTo>
                <a:lnTo>
                  <a:pt x="831" y="274"/>
                </a:lnTo>
                <a:lnTo>
                  <a:pt x="843" y="265"/>
                </a:lnTo>
                <a:lnTo>
                  <a:pt x="852" y="256"/>
                </a:lnTo>
                <a:lnTo>
                  <a:pt x="862" y="245"/>
                </a:lnTo>
                <a:lnTo>
                  <a:pt x="872" y="233"/>
                </a:lnTo>
                <a:lnTo>
                  <a:pt x="879" y="220"/>
                </a:lnTo>
                <a:lnTo>
                  <a:pt x="884" y="208"/>
                </a:lnTo>
                <a:lnTo>
                  <a:pt x="890" y="194"/>
                </a:lnTo>
                <a:lnTo>
                  <a:pt x="894" y="180"/>
                </a:lnTo>
                <a:lnTo>
                  <a:pt x="896" y="165"/>
                </a:lnTo>
                <a:lnTo>
                  <a:pt x="896" y="150"/>
                </a:lnTo>
                <a:lnTo>
                  <a:pt x="896" y="135"/>
                </a:lnTo>
                <a:lnTo>
                  <a:pt x="894" y="120"/>
                </a:lnTo>
                <a:lnTo>
                  <a:pt x="890" y="105"/>
                </a:lnTo>
                <a:lnTo>
                  <a:pt x="884" y="92"/>
                </a:lnTo>
                <a:lnTo>
                  <a:pt x="879" y="78"/>
                </a:lnTo>
                <a:lnTo>
                  <a:pt x="872" y="66"/>
                </a:lnTo>
                <a:lnTo>
                  <a:pt x="862" y="55"/>
                </a:lnTo>
                <a:lnTo>
                  <a:pt x="852" y="44"/>
                </a:lnTo>
                <a:lnTo>
                  <a:pt x="843" y="34"/>
                </a:lnTo>
                <a:lnTo>
                  <a:pt x="831" y="26"/>
                </a:lnTo>
                <a:lnTo>
                  <a:pt x="818" y="18"/>
                </a:lnTo>
                <a:lnTo>
                  <a:pt x="805" y="12"/>
                </a:lnTo>
                <a:lnTo>
                  <a:pt x="791" y="8"/>
                </a:lnTo>
                <a:lnTo>
                  <a:pt x="777" y="3"/>
                </a:lnTo>
                <a:lnTo>
                  <a:pt x="762" y="1"/>
                </a:lnTo>
                <a:lnTo>
                  <a:pt x="747" y="0"/>
                </a:lnTo>
                <a:lnTo>
                  <a:pt x="731" y="1"/>
                </a:lnTo>
                <a:lnTo>
                  <a:pt x="717" y="3"/>
                </a:lnTo>
                <a:lnTo>
                  <a:pt x="703" y="7"/>
                </a:lnTo>
                <a:lnTo>
                  <a:pt x="689" y="12"/>
                </a:lnTo>
                <a:lnTo>
                  <a:pt x="676" y="18"/>
                </a:lnTo>
                <a:lnTo>
                  <a:pt x="664" y="26"/>
                </a:lnTo>
                <a:lnTo>
                  <a:pt x="652" y="34"/>
                </a:lnTo>
                <a:lnTo>
                  <a:pt x="642" y="44"/>
                </a:lnTo>
                <a:lnTo>
                  <a:pt x="632" y="55"/>
                </a:lnTo>
                <a:lnTo>
                  <a:pt x="623" y="66"/>
                </a:lnTo>
                <a:lnTo>
                  <a:pt x="616" y="78"/>
                </a:lnTo>
                <a:lnTo>
                  <a:pt x="609" y="92"/>
                </a:lnTo>
                <a:lnTo>
                  <a:pt x="604" y="105"/>
                </a:lnTo>
                <a:lnTo>
                  <a:pt x="601" y="120"/>
                </a:lnTo>
                <a:lnTo>
                  <a:pt x="599" y="135"/>
                </a:lnTo>
                <a:lnTo>
                  <a:pt x="598" y="150"/>
                </a:lnTo>
                <a:lnTo>
                  <a:pt x="597" y="177"/>
                </a:lnTo>
                <a:lnTo>
                  <a:pt x="594" y="202"/>
                </a:lnTo>
                <a:lnTo>
                  <a:pt x="591" y="228"/>
                </a:lnTo>
                <a:lnTo>
                  <a:pt x="586" y="252"/>
                </a:lnTo>
                <a:lnTo>
                  <a:pt x="578" y="277"/>
                </a:lnTo>
                <a:lnTo>
                  <a:pt x="571" y="300"/>
                </a:lnTo>
                <a:lnTo>
                  <a:pt x="561" y="323"/>
                </a:lnTo>
                <a:lnTo>
                  <a:pt x="551" y="344"/>
                </a:lnTo>
                <a:lnTo>
                  <a:pt x="536" y="325"/>
                </a:lnTo>
                <a:lnTo>
                  <a:pt x="521" y="306"/>
                </a:lnTo>
                <a:lnTo>
                  <a:pt x="504" y="288"/>
                </a:lnTo>
                <a:lnTo>
                  <a:pt x="485" y="271"/>
                </a:lnTo>
                <a:lnTo>
                  <a:pt x="467" y="255"/>
                </a:lnTo>
                <a:lnTo>
                  <a:pt x="447" y="240"/>
                </a:lnTo>
                <a:lnTo>
                  <a:pt x="427" y="226"/>
                </a:lnTo>
                <a:lnTo>
                  <a:pt x="405" y="214"/>
                </a:lnTo>
                <a:lnTo>
                  <a:pt x="383" y="202"/>
                </a:lnTo>
                <a:lnTo>
                  <a:pt x="360" y="193"/>
                </a:lnTo>
                <a:lnTo>
                  <a:pt x="337" y="184"/>
                </a:lnTo>
                <a:lnTo>
                  <a:pt x="312" y="178"/>
                </a:lnTo>
                <a:lnTo>
                  <a:pt x="287" y="172"/>
                </a:lnTo>
                <a:lnTo>
                  <a:pt x="262" y="168"/>
                </a:lnTo>
                <a:lnTo>
                  <a:pt x="236" y="166"/>
                </a:lnTo>
                <a:lnTo>
                  <a:pt x="209" y="165"/>
                </a:lnTo>
                <a:lnTo>
                  <a:pt x="190" y="166"/>
                </a:lnTo>
                <a:lnTo>
                  <a:pt x="166" y="168"/>
                </a:lnTo>
                <a:lnTo>
                  <a:pt x="137" y="172"/>
                </a:lnTo>
                <a:lnTo>
                  <a:pt x="106" y="179"/>
                </a:lnTo>
                <a:lnTo>
                  <a:pt x="76" y="185"/>
                </a:lnTo>
                <a:lnTo>
                  <a:pt x="47" y="194"/>
                </a:lnTo>
                <a:lnTo>
                  <a:pt x="35" y="198"/>
                </a:lnTo>
                <a:lnTo>
                  <a:pt x="23" y="202"/>
                </a:lnTo>
                <a:lnTo>
                  <a:pt x="14" y="208"/>
                </a:lnTo>
                <a:lnTo>
                  <a:pt x="6" y="213"/>
                </a:lnTo>
                <a:lnTo>
                  <a:pt x="3" y="215"/>
                </a:lnTo>
                <a:lnTo>
                  <a:pt x="1" y="219"/>
                </a:lnTo>
                <a:lnTo>
                  <a:pt x="0" y="223"/>
                </a:lnTo>
                <a:lnTo>
                  <a:pt x="0" y="227"/>
                </a:lnTo>
                <a:lnTo>
                  <a:pt x="2" y="231"/>
                </a:lnTo>
                <a:lnTo>
                  <a:pt x="4" y="234"/>
                </a:lnTo>
                <a:lnTo>
                  <a:pt x="7" y="237"/>
                </a:lnTo>
                <a:lnTo>
                  <a:pt x="10" y="239"/>
                </a:lnTo>
                <a:lnTo>
                  <a:pt x="497" y="373"/>
                </a:lnTo>
                <a:lnTo>
                  <a:pt x="10" y="509"/>
                </a:lnTo>
                <a:lnTo>
                  <a:pt x="7" y="511"/>
                </a:lnTo>
                <a:lnTo>
                  <a:pt x="4" y="513"/>
                </a:lnTo>
                <a:lnTo>
                  <a:pt x="2" y="518"/>
                </a:lnTo>
                <a:lnTo>
                  <a:pt x="0" y="521"/>
                </a:lnTo>
                <a:lnTo>
                  <a:pt x="0" y="525"/>
                </a:lnTo>
                <a:lnTo>
                  <a:pt x="1" y="529"/>
                </a:lnTo>
                <a:lnTo>
                  <a:pt x="3" y="533"/>
                </a:lnTo>
                <a:lnTo>
                  <a:pt x="6" y="536"/>
                </a:lnTo>
                <a:lnTo>
                  <a:pt x="14" y="541"/>
                </a:lnTo>
                <a:lnTo>
                  <a:pt x="23" y="545"/>
                </a:lnTo>
                <a:lnTo>
                  <a:pt x="34" y="551"/>
                </a:lnTo>
                <a:lnTo>
                  <a:pt x="47" y="555"/>
                </a:lnTo>
                <a:lnTo>
                  <a:pt x="75" y="563"/>
                </a:lnTo>
                <a:lnTo>
                  <a:pt x="106" y="570"/>
                </a:lnTo>
                <a:lnTo>
                  <a:pt x="136" y="575"/>
                </a:lnTo>
                <a:lnTo>
                  <a:pt x="164" y="580"/>
                </a:lnTo>
                <a:lnTo>
                  <a:pt x="190" y="582"/>
                </a:lnTo>
                <a:lnTo>
                  <a:pt x="209" y="583"/>
                </a:lnTo>
                <a:lnTo>
                  <a:pt x="236" y="582"/>
                </a:lnTo>
                <a:lnTo>
                  <a:pt x="262" y="580"/>
                </a:lnTo>
                <a:lnTo>
                  <a:pt x="287" y="575"/>
                </a:lnTo>
                <a:lnTo>
                  <a:pt x="312" y="570"/>
                </a:lnTo>
                <a:lnTo>
                  <a:pt x="337" y="564"/>
                </a:lnTo>
                <a:lnTo>
                  <a:pt x="360" y="555"/>
                </a:lnTo>
                <a:lnTo>
                  <a:pt x="383" y="545"/>
                </a:lnTo>
                <a:lnTo>
                  <a:pt x="405" y="534"/>
                </a:lnTo>
                <a:lnTo>
                  <a:pt x="427" y="522"/>
                </a:lnTo>
                <a:lnTo>
                  <a:pt x="447" y="508"/>
                </a:lnTo>
                <a:lnTo>
                  <a:pt x="467" y="493"/>
                </a:lnTo>
                <a:lnTo>
                  <a:pt x="485" y="477"/>
                </a:lnTo>
                <a:lnTo>
                  <a:pt x="504" y="460"/>
                </a:lnTo>
                <a:lnTo>
                  <a:pt x="521" y="442"/>
                </a:lnTo>
                <a:lnTo>
                  <a:pt x="536" y="424"/>
                </a:lnTo>
                <a:lnTo>
                  <a:pt x="551" y="403"/>
                </a:lnTo>
                <a:lnTo>
                  <a:pt x="561" y="425"/>
                </a:lnTo>
                <a:lnTo>
                  <a:pt x="571" y="447"/>
                </a:lnTo>
                <a:lnTo>
                  <a:pt x="578" y="471"/>
                </a:lnTo>
                <a:lnTo>
                  <a:pt x="586" y="495"/>
                </a:lnTo>
                <a:lnTo>
                  <a:pt x="591" y="520"/>
                </a:lnTo>
                <a:lnTo>
                  <a:pt x="594" y="545"/>
                </a:lnTo>
                <a:lnTo>
                  <a:pt x="597" y="571"/>
                </a:lnTo>
                <a:lnTo>
                  <a:pt x="598" y="598"/>
                </a:lnTo>
                <a:lnTo>
                  <a:pt x="599" y="613"/>
                </a:lnTo>
                <a:lnTo>
                  <a:pt x="601" y="628"/>
                </a:lnTo>
                <a:lnTo>
                  <a:pt x="604" y="643"/>
                </a:lnTo>
                <a:lnTo>
                  <a:pt x="609" y="656"/>
                </a:lnTo>
                <a:lnTo>
                  <a:pt x="616" y="669"/>
                </a:lnTo>
                <a:lnTo>
                  <a:pt x="623" y="681"/>
                </a:lnTo>
                <a:lnTo>
                  <a:pt x="632" y="693"/>
                </a:lnTo>
                <a:lnTo>
                  <a:pt x="642" y="704"/>
                </a:lnTo>
                <a:lnTo>
                  <a:pt x="652" y="713"/>
                </a:lnTo>
                <a:lnTo>
                  <a:pt x="664" y="722"/>
                </a:lnTo>
                <a:lnTo>
                  <a:pt x="676" y="729"/>
                </a:lnTo>
                <a:lnTo>
                  <a:pt x="689" y="736"/>
                </a:lnTo>
                <a:lnTo>
                  <a:pt x="703" y="740"/>
                </a:lnTo>
                <a:lnTo>
                  <a:pt x="717" y="744"/>
                </a:lnTo>
                <a:lnTo>
                  <a:pt x="731" y="746"/>
                </a:lnTo>
                <a:lnTo>
                  <a:pt x="747" y="748"/>
                </a:lnTo>
                <a:lnTo>
                  <a:pt x="762" y="746"/>
                </a:lnTo>
                <a:lnTo>
                  <a:pt x="777" y="744"/>
                </a:lnTo>
                <a:lnTo>
                  <a:pt x="791" y="740"/>
                </a:lnTo>
                <a:lnTo>
                  <a:pt x="805" y="736"/>
                </a:lnTo>
                <a:lnTo>
                  <a:pt x="818" y="729"/>
                </a:lnTo>
                <a:lnTo>
                  <a:pt x="831" y="722"/>
                </a:lnTo>
                <a:lnTo>
                  <a:pt x="843" y="713"/>
                </a:lnTo>
                <a:lnTo>
                  <a:pt x="852" y="704"/>
                </a:lnTo>
                <a:lnTo>
                  <a:pt x="862" y="693"/>
                </a:lnTo>
                <a:lnTo>
                  <a:pt x="872" y="681"/>
                </a:lnTo>
                <a:lnTo>
                  <a:pt x="879" y="669"/>
                </a:lnTo>
                <a:lnTo>
                  <a:pt x="884" y="656"/>
                </a:lnTo>
                <a:lnTo>
                  <a:pt x="890" y="643"/>
                </a:lnTo>
                <a:lnTo>
                  <a:pt x="894" y="628"/>
                </a:lnTo>
                <a:lnTo>
                  <a:pt x="896" y="613"/>
                </a:lnTo>
                <a:lnTo>
                  <a:pt x="896" y="598"/>
                </a:lnTo>
                <a:lnTo>
                  <a:pt x="896" y="583"/>
                </a:lnTo>
                <a:lnTo>
                  <a:pt x="894" y="568"/>
                </a:lnTo>
                <a:lnTo>
                  <a:pt x="890" y="554"/>
                </a:lnTo>
                <a:lnTo>
                  <a:pt x="884" y="540"/>
                </a:lnTo>
                <a:lnTo>
                  <a:pt x="879" y="526"/>
                </a:lnTo>
                <a:lnTo>
                  <a:pt x="872" y="514"/>
                </a:lnTo>
                <a:lnTo>
                  <a:pt x="862" y="503"/>
                </a:lnTo>
                <a:lnTo>
                  <a:pt x="852" y="492"/>
                </a:lnTo>
                <a:lnTo>
                  <a:pt x="843" y="482"/>
                </a:lnTo>
                <a:lnTo>
                  <a:pt x="831" y="474"/>
                </a:lnTo>
                <a:lnTo>
                  <a:pt x="818" y="466"/>
                </a:lnTo>
                <a:lnTo>
                  <a:pt x="805" y="460"/>
                </a:lnTo>
                <a:lnTo>
                  <a:pt x="791" y="456"/>
                </a:lnTo>
                <a:lnTo>
                  <a:pt x="777" y="451"/>
                </a:lnTo>
                <a:lnTo>
                  <a:pt x="762" y="449"/>
                </a:lnTo>
                <a:lnTo>
                  <a:pt x="747" y="44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623" name="Group 85">
            <a:extLst>
              <a:ext uri="{FF2B5EF4-FFF2-40B4-BE49-F238E27FC236}">
                <a16:creationId xmlns:a16="http://schemas.microsoft.com/office/drawing/2014/main" id="{A3083C75-279B-45B0-AFC2-657A756C39D2}"/>
              </a:ext>
            </a:extLst>
          </p:cNvPr>
          <p:cNvGrpSpPr>
            <a:grpSpLocks noChangeAspect="1"/>
          </p:cNvGrpSpPr>
          <p:nvPr/>
        </p:nvGrpSpPr>
        <p:grpSpPr>
          <a:xfrm>
            <a:off x="3192203" y="3802799"/>
            <a:ext cx="306484" cy="306484"/>
            <a:chOff x="8162925" y="4216083"/>
            <a:chExt cx="276225" cy="276225"/>
          </a:xfrm>
          <a:solidFill>
            <a:schemeClr val="bg1"/>
          </a:solidFill>
          <a:effectLst/>
        </p:grpSpPr>
        <p:sp>
          <p:nvSpPr>
            <p:cNvPr id="624" name="Freeform 394">
              <a:extLst>
                <a:ext uri="{FF2B5EF4-FFF2-40B4-BE49-F238E27FC236}">
                  <a16:creationId xmlns:a16="http://schemas.microsoft.com/office/drawing/2014/main" id="{9D5EDC73-299E-4831-82CE-EEDC2CEA395A}"/>
                </a:ext>
              </a:extLst>
            </p:cNvPr>
            <p:cNvSpPr>
              <a:spLocks/>
            </p:cNvSpPr>
            <p:nvPr/>
          </p:nvSpPr>
          <p:spPr bwMode="auto">
            <a:xfrm>
              <a:off x="8220075" y="4273233"/>
              <a:ext cx="219075" cy="219075"/>
            </a:xfrm>
            <a:custGeom>
              <a:avLst/>
              <a:gdLst>
                <a:gd name="T0" fmla="*/ 661 w 691"/>
                <a:gd name="T1" fmla="*/ 0 h 691"/>
                <a:gd name="T2" fmla="*/ 661 w 691"/>
                <a:gd name="T3" fmla="*/ 661 h 691"/>
                <a:gd name="T4" fmla="*/ 0 w 691"/>
                <a:gd name="T5" fmla="*/ 661 h 691"/>
                <a:gd name="T6" fmla="*/ 0 w 691"/>
                <a:gd name="T7" fmla="*/ 691 h 691"/>
                <a:gd name="T8" fmla="*/ 691 w 691"/>
                <a:gd name="T9" fmla="*/ 691 h 691"/>
                <a:gd name="T10" fmla="*/ 691 w 691"/>
                <a:gd name="T11" fmla="*/ 0 h 691"/>
                <a:gd name="T12" fmla="*/ 661 w 691"/>
                <a:gd name="T13" fmla="*/ 0 h 691"/>
              </a:gdLst>
              <a:ahLst/>
              <a:cxnLst>
                <a:cxn ang="0">
                  <a:pos x="T0" y="T1"/>
                </a:cxn>
                <a:cxn ang="0">
                  <a:pos x="T2" y="T3"/>
                </a:cxn>
                <a:cxn ang="0">
                  <a:pos x="T4" y="T5"/>
                </a:cxn>
                <a:cxn ang="0">
                  <a:pos x="T6" y="T7"/>
                </a:cxn>
                <a:cxn ang="0">
                  <a:pos x="T8" y="T9"/>
                </a:cxn>
                <a:cxn ang="0">
                  <a:pos x="T10" y="T11"/>
                </a:cxn>
                <a:cxn ang="0">
                  <a:pos x="T12" y="T13"/>
                </a:cxn>
              </a:cxnLst>
              <a:rect l="0" t="0" r="r" b="b"/>
              <a:pathLst>
                <a:path w="691" h="691">
                  <a:moveTo>
                    <a:pt x="661" y="0"/>
                  </a:moveTo>
                  <a:lnTo>
                    <a:pt x="661" y="661"/>
                  </a:lnTo>
                  <a:lnTo>
                    <a:pt x="0" y="661"/>
                  </a:lnTo>
                  <a:lnTo>
                    <a:pt x="0" y="691"/>
                  </a:lnTo>
                  <a:lnTo>
                    <a:pt x="691" y="691"/>
                  </a:lnTo>
                  <a:lnTo>
                    <a:pt x="691" y="0"/>
                  </a:lnTo>
                  <a:lnTo>
                    <a:pt x="6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5" name="Freeform 395">
              <a:extLst>
                <a:ext uri="{FF2B5EF4-FFF2-40B4-BE49-F238E27FC236}">
                  <a16:creationId xmlns:a16="http://schemas.microsoft.com/office/drawing/2014/main" id="{E10C2488-DAE8-4D81-BF74-07D2D36C1510}"/>
                </a:ext>
              </a:extLst>
            </p:cNvPr>
            <p:cNvSpPr>
              <a:spLocks/>
            </p:cNvSpPr>
            <p:nvPr/>
          </p:nvSpPr>
          <p:spPr bwMode="auto">
            <a:xfrm>
              <a:off x="8191500" y="4244658"/>
              <a:ext cx="228600" cy="228600"/>
            </a:xfrm>
            <a:custGeom>
              <a:avLst/>
              <a:gdLst>
                <a:gd name="T0" fmla="*/ 720 w 720"/>
                <a:gd name="T1" fmla="*/ 0 h 721"/>
                <a:gd name="T2" fmla="*/ 690 w 720"/>
                <a:gd name="T3" fmla="*/ 0 h 721"/>
                <a:gd name="T4" fmla="*/ 690 w 720"/>
                <a:gd name="T5" fmla="*/ 691 h 721"/>
                <a:gd name="T6" fmla="*/ 0 w 720"/>
                <a:gd name="T7" fmla="*/ 691 h 721"/>
                <a:gd name="T8" fmla="*/ 0 w 720"/>
                <a:gd name="T9" fmla="*/ 721 h 721"/>
                <a:gd name="T10" fmla="*/ 720 w 720"/>
                <a:gd name="T11" fmla="*/ 721 h 721"/>
                <a:gd name="T12" fmla="*/ 720 w 720"/>
                <a:gd name="T13" fmla="*/ 0 h 721"/>
              </a:gdLst>
              <a:ahLst/>
              <a:cxnLst>
                <a:cxn ang="0">
                  <a:pos x="T0" y="T1"/>
                </a:cxn>
                <a:cxn ang="0">
                  <a:pos x="T2" y="T3"/>
                </a:cxn>
                <a:cxn ang="0">
                  <a:pos x="T4" y="T5"/>
                </a:cxn>
                <a:cxn ang="0">
                  <a:pos x="T6" y="T7"/>
                </a:cxn>
                <a:cxn ang="0">
                  <a:pos x="T8" y="T9"/>
                </a:cxn>
                <a:cxn ang="0">
                  <a:pos x="T10" y="T11"/>
                </a:cxn>
                <a:cxn ang="0">
                  <a:pos x="T12" y="T13"/>
                </a:cxn>
              </a:cxnLst>
              <a:rect l="0" t="0" r="r" b="b"/>
              <a:pathLst>
                <a:path w="720" h="721">
                  <a:moveTo>
                    <a:pt x="720" y="0"/>
                  </a:moveTo>
                  <a:lnTo>
                    <a:pt x="690" y="0"/>
                  </a:lnTo>
                  <a:lnTo>
                    <a:pt x="690" y="691"/>
                  </a:lnTo>
                  <a:lnTo>
                    <a:pt x="0" y="691"/>
                  </a:lnTo>
                  <a:lnTo>
                    <a:pt x="0" y="721"/>
                  </a:lnTo>
                  <a:lnTo>
                    <a:pt x="720" y="721"/>
                  </a:lnTo>
                  <a:lnTo>
                    <a:pt x="7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6" name="Freeform 396">
              <a:extLst>
                <a:ext uri="{FF2B5EF4-FFF2-40B4-BE49-F238E27FC236}">
                  <a16:creationId xmlns:a16="http://schemas.microsoft.com/office/drawing/2014/main" id="{1A2A2A50-1F15-4A7B-843B-E9D10649CB51}"/>
                </a:ext>
              </a:extLst>
            </p:cNvPr>
            <p:cNvSpPr>
              <a:spLocks noEditPoints="1"/>
            </p:cNvSpPr>
            <p:nvPr/>
          </p:nvSpPr>
          <p:spPr bwMode="auto">
            <a:xfrm>
              <a:off x="8162925" y="4216083"/>
              <a:ext cx="238125" cy="238125"/>
            </a:xfrm>
            <a:custGeom>
              <a:avLst/>
              <a:gdLst>
                <a:gd name="T0" fmla="*/ 30 w 751"/>
                <a:gd name="T1" fmla="*/ 721 h 751"/>
                <a:gd name="T2" fmla="*/ 30 w 751"/>
                <a:gd name="T3" fmla="*/ 601 h 751"/>
                <a:gd name="T4" fmla="*/ 721 w 751"/>
                <a:gd name="T5" fmla="*/ 601 h 751"/>
                <a:gd name="T6" fmla="*/ 721 w 751"/>
                <a:gd name="T7" fmla="*/ 721 h 751"/>
                <a:gd name="T8" fmla="*/ 30 w 751"/>
                <a:gd name="T9" fmla="*/ 721 h 751"/>
                <a:gd name="T10" fmla="*/ 619 w 751"/>
                <a:gd name="T11" fmla="*/ 571 h 751"/>
                <a:gd name="T12" fmla="*/ 192 w 751"/>
                <a:gd name="T13" fmla="*/ 571 h 751"/>
                <a:gd name="T14" fmla="*/ 282 w 751"/>
                <a:gd name="T15" fmla="*/ 420 h 751"/>
                <a:gd name="T16" fmla="*/ 363 w 751"/>
                <a:gd name="T17" fmla="*/ 517 h 751"/>
                <a:gd name="T18" fmla="*/ 365 w 751"/>
                <a:gd name="T19" fmla="*/ 519 h 751"/>
                <a:gd name="T20" fmla="*/ 368 w 751"/>
                <a:gd name="T21" fmla="*/ 522 h 751"/>
                <a:gd name="T22" fmla="*/ 372 w 751"/>
                <a:gd name="T23" fmla="*/ 523 h 751"/>
                <a:gd name="T24" fmla="*/ 375 w 751"/>
                <a:gd name="T25" fmla="*/ 523 h 751"/>
                <a:gd name="T26" fmla="*/ 379 w 751"/>
                <a:gd name="T27" fmla="*/ 523 h 751"/>
                <a:gd name="T28" fmla="*/ 382 w 751"/>
                <a:gd name="T29" fmla="*/ 521 h 751"/>
                <a:gd name="T30" fmla="*/ 385 w 751"/>
                <a:gd name="T31" fmla="*/ 518 h 751"/>
                <a:gd name="T32" fmla="*/ 387 w 751"/>
                <a:gd name="T33" fmla="*/ 516 h 751"/>
                <a:gd name="T34" fmla="*/ 523 w 751"/>
                <a:gd name="T35" fmla="*/ 314 h 751"/>
                <a:gd name="T36" fmla="*/ 619 w 751"/>
                <a:gd name="T37" fmla="*/ 571 h 751"/>
                <a:gd name="T38" fmla="*/ 721 w 751"/>
                <a:gd name="T39" fmla="*/ 30 h 751"/>
                <a:gd name="T40" fmla="*/ 721 w 751"/>
                <a:gd name="T41" fmla="*/ 571 h 751"/>
                <a:gd name="T42" fmla="*/ 652 w 751"/>
                <a:gd name="T43" fmla="*/ 571 h 751"/>
                <a:gd name="T44" fmla="*/ 540 w 751"/>
                <a:gd name="T45" fmla="*/ 275 h 751"/>
                <a:gd name="T46" fmla="*/ 538 w 751"/>
                <a:gd name="T47" fmla="*/ 272 h 751"/>
                <a:gd name="T48" fmla="*/ 536 w 751"/>
                <a:gd name="T49" fmla="*/ 269 h 751"/>
                <a:gd name="T50" fmla="*/ 533 w 751"/>
                <a:gd name="T51" fmla="*/ 266 h 751"/>
                <a:gd name="T52" fmla="*/ 528 w 751"/>
                <a:gd name="T53" fmla="*/ 265 h 751"/>
                <a:gd name="T54" fmla="*/ 524 w 751"/>
                <a:gd name="T55" fmla="*/ 265 h 751"/>
                <a:gd name="T56" fmla="*/ 520 w 751"/>
                <a:gd name="T57" fmla="*/ 266 h 751"/>
                <a:gd name="T58" fmla="*/ 516 w 751"/>
                <a:gd name="T59" fmla="*/ 269 h 751"/>
                <a:gd name="T60" fmla="*/ 513 w 751"/>
                <a:gd name="T61" fmla="*/ 272 h 751"/>
                <a:gd name="T62" fmla="*/ 373 w 751"/>
                <a:gd name="T63" fmla="*/ 483 h 751"/>
                <a:gd name="T64" fmla="*/ 291 w 751"/>
                <a:gd name="T65" fmla="*/ 384 h 751"/>
                <a:gd name="T66" fmla="*/ 289 w 751"/>
                <a:gd name="T67" fmla="*/ 382 h 751"/>
                <a:gd name="T68" fmla="*/ 286 w 751"/>
                <a:gd name="T69" fmla="*/ 380 h 751"/>
                <a:gd name="T70" fmla="*/ 283 w 751"/>
                <a:gd name="T71" fmla="*/ 379 h 751"/>
                <a:gd name="T72" fmla="*/ 278 w 751"/>
                <a:gd name="T73" fmla="*/ 379 h 751"/>
                <a:gd name="T74" fmla="*/ 275 w 751"/>
                <a:gd name="T75" fmla="*/ 380 h 751"/>
                <a:gd name="T76" fmla="*/ 272 w 751"/>
                <a:gd name="T77" fmla="*/ 381 h 751"/>
                <a:gd name="T78" fmla="*/ 269 w 751"/>
                <a:gd name="T79" fmla="*/ 383 h 751"/>
                <a:gd name="T80" fmla="*/ 267 w 751"/>
                <a:gd name="T81" fmla="*/ 387 h 751"/>
                <a:gd name="T82" fmla="*/ 156 w 751"/>
                <a:gd name="T83" fmla="*/ 571 h 751"/>
                <a:gd name="T84" fmla="*/ 30 w 751"/>
                <a:gd name="T85" fmla="*/ 571 h 751"/>
                <a:gd name="T86" fmla="*/ 30 w 751"/>
                <a:gd name="T87" fmla="*/ 30 h 751"/>
                <a:gd name="T88" fmla="*/ 721 w 751"/>
                <a:gd name="T89" fmla="*/ 30 h 751"/>
                <a:gd name="T90" fmla="*/ 751 w 751"/>
                <a:gd name="T91" fmla="*/ 0 h 751"/>
                <a:gd name="T92" fmla="*/ 0 w 751"/>
                <a:gd name="T93" fmla="*/ 0 h 751"/>
                <a:gd name="T94" fmla="*/ 0 w 751"/>
                <a:gd name="T95" fmla="*/ 751 h 751"/>
                <a:gd name="T96" fmla="*/ 751 w 751"/>
                <a:gd name="T97" fmla="*/ 751 h 751"/>
                <a:gd name="T98" fmla="*/ 751 w 751"/>
                <a:gd name="T99"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1" h="751">
                  <a:moveTo>
                    <a:pt x="30" y="721"/>
                  </a:moveTo>
                  <a:lnTo>
                    <a:pt x="30" y="601"/>
                  </a:lnTo>
                  <a:lnTo>
                    <a:pt x="721" y="601"/>
                  </a:lnTo>
                  <a:lnTo>
                    <a:pt x="721" y="721"/>
                  </a:lnTo>
                  <a:lnTo>
                    <a:pt x="30" y="721"/>
                  </a:lnTo>
                  <a:close/>
                  <a:moveTo>
                    <a:pt x="619" y="571"/>
                  </a:moveTo>
                  <a:lnTo>
                    <a:pt x="192" y="571"/>
                  </a:lnTo>
                  <a:lnTo>
                    <a:pt x="282" y="420"/>
                  </a:lnTo>
                  <a:lnTo>
                    <a:pt x="363" y="517"/>
                  </a:lnTo>
                  <a:lnTo>
                    <a:pt x="365" y="519"/>
                  </a:lnTo>
                  <a:lnTo>
                    <a:pt x="368" y="522"/>
                  </a:lnTo>
                  <a:lnTo>
                    <a:pt x="372" y="523"/>
                  </a:lnTo>
                  <a:lnTo>
                    <a:pt x="375" y="523"/>
                  </a:lnTo>
                  <a:lnTo>
                    <a:pt x="379" y="523"/>
                  </a:lnTo>
                  <a:lnTo>
                    <a:pt x="382" y="521"/>
                  </a:lnTo>
                  <a:lnTo>
                    <a:pt x="385" y="518"/>
                  </a:lnTo>
                  <a:lnTo>
                    <a:pt x="387" y="516"/>
                  </a:lnTo>
                  <a:lnTo>
                    <a:pt x="523" y="314"/>
                  </a:lnTo>
                  <a:lnTo>
                    <a:pt x="619" y="571"/>
                  </a:lnTo>
                  <a:close/>
                  <a:moveTo>
                    <a:pt x="721" y="30"/>
                  </a:moveTo>
                  <a:lnTo>
                    <a:pt x="721" y="571"/>
                  </a:lnTo>
                  <a:lnTo>
                    <a:pt x="652" y="571"/>
                  </a:lnTo>
                  <a:lnTo>
                    <a:pt x="540" y="275"/>
                  </a:lnTo>
                  <a:lnTo>
                    <a:pt x="538" y="272"/>
                  </a:lnTo>
                  <a:lnTo>
                    <a:pt x="536" y="269"/>
                  </a:lnTo>
                  <a:lnTo>
                    <a:pt x="533" y="266"/>
                  </a:lnTo>
                  <a:lnTo>
                    <a:pt x="528" y="265"/>
                  </a:lnTo>
                  <a:lnTo>
                    <a:pt x="524" y="265"/>
                  </a:lnTo>
                  <a:lnTo>
                    <a:pt x="520" y="266"/>
                  </a:lnTo>
                  <a:lnTo>
                    <a:pt x="516" y="269"/>
                  </a:lnTo>
                  <a:lnTo>
                    <a:pt x="513" y="272"/>
                  </a:lnTo>
                  <a:lnTo>
                    <a:pt x="373" y="483"/>
                  </a:lnTo>
                  <a:lnTo>
                    <a:pt x="291" y="384"/>
                  </a:lnTo>
                  <a:lnTo>
                    <a:pt x="289" y="382"/>
                  </a:lnTo>
                  <a:lnTo>
                    <a:pt x="286" y="380"/>
                  </a:lnTo>
                  <a:lnTo>
                    <a:pt x="283" y="379"/>
                  </a:lnTo>
                  <a:lnTo>
                    <a:pt x="278" y="379"/>
                  </a:lnTo>
                  <a:lnTo>
                    <a:pt x="275" y="380"/>
                  </a:lnTo>
                  <a:lnTo>
                    <a:pt x="272" y="381"/>
                  </a:lnTo>
                  <a:lnTo>
                    <a:pt x="269" y="383"/>
                  </a:lnTo>
                  <a:lnTo>
                    <a:pt x="267" y="387"/>
                  </a:lnTo>
                  <a:lnTo>
                    <a:pt x="156" y="571"/>
                  </a:lnTo>
                  <a:lnTo>
                    <a:pt x="30" y="571"/>
                  </a:lnTo>
                  <a:lnTo>
                    <a:pt x="30" y="30"/>
                  </a:lnTo>
                  <a:lnTo>
                    <a:pt x="721" y="30"/>
                  </a:lnTo>
                  <a:close/>
                  <a:moveTo>
                    <a:pt x="751" y="0"/>
                  </a:moveTo>
                  <a:lnTo>
                    <a:pt x="0" y="0"/>
                  </a:lnTo>
                  <a:lnTo>
                    <a:pt x="0" y="751"/>
                  </a:lnTo>
                  <a:lnTo>
                    <a:pt x="751" y="751"/>
                  </a:lnTo>
                  <a:lnTo>
                    <a:pt x="7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627" name="Freeform 397">
              <a:extLst>
                <a:ext uri="{FF2B5EF4-FFF2-40B4-BE49-F238E27FC236}">
                  <a16:creationId xmlns:a16="http://schemas.microsoft.com/office/drawing/2014/main" id="{87DB5FB6-62D7-49F2-B71D-28A3B5AC8D7F}"/>
                </a:ext>
              </a:extLst>
            </p:cNvPr>
            <p:cNvSpPr>
              <a:spLocks noEditPoints="1"/>
            </p:cNvSpPr>
            <p:nvPr/>
          </p:nvSpPr>
          <p:spPr bwMode="auto">
            <a:xfrm>
              <a:off x="8210550" y="4252595"/>
              <a:ext cx="46038" cy="44450"/>
            </a:xfrm>
            <a:custGeom>
              <a:avLst/>
              <a:gdLst>
                <a:gd name="T0" fmla="*/ 80 w 143"/>
                <a:gd name="T1" fmla="*/ 30 h 144"/>
                <a:gd name="T2" fmla="*/ 95 w 143"/>
                <a:gd name="T3" fmla="*/ 37 h 144"/>
                <a:gd name="T4" fmla="*/ 107 w 143"/>
                <a:gd name="T5" fmla="*/ 48 h 144"/>
                <a:gd name="T6" fmla="*/ 113 w 143"/>
                <a:gd name="T7" fmla="*/ 63 h 144"/>
                <a:gd name="T8" fmla="*/ 113 w 143"/>
                <a:gd name="T9" fmla="*/ 81 h 144"/>
                <a:gd name="T10" fmla="*/ 107 w 143"/>
                <a:gd name="T11" fmla="*/ 95 h 144"/>
                <a:gd name="T12" fmla="*/ 95 w 143"/>
                <a:gd name="T13" fmla="*/ 106 h 144"/>
                <a:gd name="T14" fmla="*/ 80 w 143"/>
                <a:gd name="T15" fmla="*/ 113 h 144"/>
                <a:gd name="T16" fmla="*/ 63 w 143"/>
                <a:gd name="T17" fmla="*/ 113 h 144"/>
                <a:gd name="T18" fmla="*/ 49 w 143"/>
                <a:gd name="T19" fmla="*/ 106 h 144"/>
                <a:gd name="T20" fmla="*/ 37 w 143"/>
                <a:gd name="T21" fmla="*/ 95 h 144"/>
                <a:gd name="T22" fmla="*/ 31 w 143"/>
                <a:gd name="T23" fmla="*/ 81 h 144"/>
                <a:gd name="T24" fmla="*/ 31 w 143"/>
                <a:gd name="T25" fmla="*/ 63 h 144"/>
                <a:gd name="T26" fmla="*/ 37 w 143"/>
                <a:gd name="T27" fmla="*/ 48 h 144"/>
                <a:gd name="T28" fmla="*/ 49 w 143"/>
                <a:gd name="T29" fmla="*/ 37 h 144"/>
                <a:gd name="T30" fmla="*/ 63 w 143"/>
                <a:gd name="T31" fmla="*/ 30 h 144"/>
                <a:gd name="T32" fmla="*/ 72 w 143"/>
                <a:gd name="T33" fmla="*/ 144 h 144"/>
                <a:gd name="T34" fmla="*/ 87 w 143"/>
                <a:gd name="T35" fmla="*/ 142 h 144"/>
                <a:gd name="T36" fmla="*/ 100 w 143"/>
                <a:gd name="T37" fmla="*/ 137 h 144"/>
                <a:gd name="T38" fmla="*/ 112 w 143"/>
                <a:gd name="T39" fmla="*/ 131 h 144"/>
                <a:gd name="T40" fmla="*/ 123 w 143"/>
                <a:gd name="T41" fmla="*/ 122 h 144"/>
                <a:gd name="T42" fmla="*/ 132 w 143"/>
                <a:gd name="T43" fmla="*/ 112 h 144"/>
                <a:gd name="T44" fmla="*/ 138 w 143"/>
                <a:gd name="T45" fmla="*/ 100 h 144"/>
                <a:gd name="T46" fmla="*/ 142 w 143"/>
                <a:gd name="T47" fmla="*/ 86 h 144"/>
                <a:gd name="T48" fmla="*/ 143 w 143"/>
                <a:gd name="T49" fmla="*/ 72 h 144"/>
                <a:gd name="T50" fmla="*/ 142 w 143"/>
                <a:gd name="T51" fmla="*/ 57 h 144"/>
                <a:gd name="T52" fmla="*/ 138 w 143"/>
                <a:gd name="T53" fmla="*/ 44 h 144"/>
                <a:gd name="T54" fmla="*/ 132 w 143"/>
                <a:gd name="T55" fmla="*/ 31 h 144"/>
                <a:gd name="T56" fmla="*/ 123 w 143"/>
                <a:gd name="T57" fmla="*/ 21 h 144"/>
                <a:gd name="T58" fmla="*/ 112 w 143"/>
                <a:gd name="T59" fmla="*/ 12 h 144"/>
                <a:gd name="T60" fmla="*/ 100 w 143"/>
                <a:gd name="T61" fmla="*/ 5 h 144"/>
                <a:gd name="T62" fmla="*/ 87 w 143"/>
                <a:gd name="T63" fmla="*/ 1 h 144"/>
                <a:gd name="T64" fmla="*/ 72 w 143"/>
                <a:gd name="T65" fmla="*/ 0 h 144"/>
                <a:gd name="T66" fmla="*/ 58 w 143"/>
                <a:gd name="T67" fmla="*/ 1 h 144"/>
                <a:gd name="T68" fmla="*/ 44 w 143"/>
                <a:gd name="T69" fmla="*/ 5 h 144"/>
                <a:gd name="T70" fmla="*/ 32 w 143"/>
                <a:gd name="T71" fmla="*/ 12 h 144"/>
                <a:gd name="T72" fmla="*/ 21 w 143"/>
                <a:gd name="T73" fmla="*/ 21 h 144"/>
                <a:gd name="T74" fmla="*/ 13 w 143"/>
                <a:gd name="T75" fmla="*/ 31 h 144"/>
                <a:gd name="T76" fmla="*/ 6 w 143"/>
                <a:gd name="T77" fmla="*/ 44 h 144"/>
                <a:gd name="T78" fmla="*/ 2 w 143"/>
                <a:gd name="T79" fmla="*/ 57 h 144"/>
                <a:gd name="T80" fmla="*/ 0 w 143"/>
                <a:gd name="T81" fmla="*/ 72 h 144"/>
                <a:gd name="T82" fmla="*/ 2 w 143"/>
                <a:gd name="T83" fmla="*/ 86 h 144"/>
                <a:gd name="T84" fmla="*/ 6 w 143"/>
                <a:gd name="T85" fmla="*/ 100 h 144"/>
                <a:gd name="T86" fmla="*/ 13 w 143"/>
                <a:gd name="T87" fmla="*/ 112 h 144"/>
                <a:gd name="T88" fmla="*/ 21 w 143"/>
                <a:gd name="T89" fmla="*/ 122 h 144"/>
                <a:gd name="T90" fmla="*/ 32 w 143"/>
                <a:gd name="T91" fmla="*/ 131 h 144"/>
                <a:gd name="T92" fmla="*/ 44 w 143"/>
                <a:gd name="T93" fmla="*/ 137 h 144"/>
                <a:gd name="T94" fmla="*/ 58 w 143"/>
                <a:gd name="T95" fmla="*/ 142 h 144"/>
                <a:gd name="T96" fmla="*/ 72 w 143"/>
                <a:gd name="T9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44">
                  <a:moveTo>
                    <a:pt x="72" y="30"/>
                  </a:moveTo>
                  <a:lnTo>
                    <a:pt x="80" y="30"/>
                  </a:lnTo>
                  <a:lnTo>
                    <a:pt x="89" y="33"/>
                  </a:lnTo>
                  <a:lnTo>
                    <a:pt x="95" y="37"/>
                  </a:lnTo>
                  <a:lnTo>
                    <a:pt x="102" y="42"/>
                  </a:lnTo>
                  <a:lnTo>
                    <a:pt x="107" y="48"/>
                  </a:lnTo>
                  <a:lnTo>
                    <a:pt x="110" y="55"/>
                  </a:lnTo>
                  <a:lnTo>
                    <a:pt x="113" y="63"/>
                  </a:lnTo>
                  <a:lnTo>
                    <a:pt x="113" y="72"/>
                  </a:lnTo>
                  <a:lnTo>
                    <a:pt x="113" y="81"/>
                  </a:lnTo>
                  <a:lnTo>
                    <a:pt x="110" y="88"/>
                  </a:lnTo>
                  <a:lnTo>
                    <a:pt x="107" y="95"/>
                  </a:lnTo>
                  <a:lnTo>
                    <a:pt x="102" y="101"/>
                  </a:lnTo>
                  <a:lnTo>
                    <a:pt x="95" y="106"/>
                  </a:lnTo>
                  <a:lnTo>
                    <a:pt x="89" y="111"/>
                  </a:lnTo>
                  <a:lnTo>
                    <a:pt x="80" y="113"/>
                  </a:lnTo>
                  <a:lnTo>
                    <a:pt x="72" y="114"/>
                  </a:lnTo>
                  <a:lnTo>
                    <a:pt x="63" y="113"/>
                  </a:lnTo>
                  <a:lnTo>
                    <a:pt x="56" y="111"/>
                  </a:lnTo>
                  <a:lnTo>
                    <a:pt x="49" y="106"/>
                  </a:lnTo>
                  <a:lnTo>
                    <a:pt x="43" y="101"/>
                  </a:lnTo>
                  <a:lnTo>
                    <a:pt x="37" y="95"/>
                  </a:lnTo>
                  <a:lnTo>
                    <a:pt x="33" y="88"/>
                  </a:lnTo>
                  <a:lnTo>
                    <a:pt x="31" y="81"/>
                  </a:lnTo>
                  <a:lnTo>
                    <a:pt x="30" y="72"/>
                  </a:lnTo>
                  <a:lnTo>
                    <a:pt x="31" y="63"/>
                  </a:lnTo>
                  <a:lnTo>
                    <a:pt x="33" y="55"/>
                  </a:lnTo>
                  <a:lnTo>
                    <a:pt x="37" y="48"/>
                  </a:lnTo>
                  <a:lnTo>
                    <a:pt x="43" y="42"/>
                  </a:lnTo>
                  <a:lnTo>
                    <a:pt x="49" y="37"/>
                  </a:lnTo>
                  <a:lnTo>
                    <a:pt x="56" y="33"/>
                  </a:lnTo>
                  <a:lnTo>
                    <a:pt x="63" y="30"/>
                  </a:lnTo>
                  <a:lnTo>
                    <a:pt x="72" y="30"/>
                  </a:lnTo>
                  <a:close/>
                  <a:moveTo>
                    <a:pt x="72" y="144"/>
                  </a:moveTo>
                  <a:lnTo>
                    <a:pt x="79" y="143"/>
                  </a:lnTo>
                  <a:lnTo>
                    <a:pt x="87" y="142"/>
                  </a:lnTo>
                  <a:lnTo>
                    <a:pt x="93" y="141"/>
                  </a:lnTo>
                  <a:lnTo>
                    <a:pt x="100" y="137"/>
                  </a:lnTo>
                  <a:lnTo>
                    <a:pt x="106" y="135"/>
                  </a:lnTo>
                  <a:lnTo>
                    <a:pt x="112" y="131"/>
                  </a:lnTo>
                  <a:lnTo>
                    <a:pt x="118" y="127"/>
                  </a:lnTo>
                  <a:lnTo>
                    <a:pt x="123" y="122"/>
                  </a:lnTo>
                  <a:lnTo>
                    <a:pt x="127" y="117"/>
                  </a:lnTo>
                  <a:lnTo>
                    <a:pt x="132" y="112"/>
                  </a:lnTo>
                  <a:lnTo>
                    <a:pt x="135" y="106"/>
                  </a:lnTo>
                  <a:lnTo>
                    <a:pt x="138" y="100"/>
                  </a:lnTo>
                  <a:lnTo>
                    <a:pt x="140" y="93"/>
                  </a:lnTo>
                  <a:lnTo>
                    <a:pt x="142" y="86"/>
                  </a:lnTo>
                  <a:lnTo>
                    <a:pt x="143" y="79"/>
                  </a:lnTo>
                  <a:lnTo>
                    <a:pt x="143" y="72"/>
                  </a:lnTo>
                  <a:lnTo>
                    <a:pt x="143" y="64"/>
                  </a:lnTo>
                  <a:lnTo>
                    <a:pt x="142" y="57"/>
                  </a:lnTo>
                  <a:lnTo>
                    <a:pt x="140" y="51"/>
                  </a:lnTo>
                  <a:lnTo>
                    <a:pt x="138" y="44"/>
                  </a:lnTo>
                  <a:lnTo>
                    <a:pt x="135" y="38"/>
                  </a:lnTo>
                  <a:lnTo>
                    <a:pt x="132" y="31"/>
                  </a:lnTo>
                  <a:lnTo>
                    <a:pt x="127" y="26"/>
                  </a:lnTo>
                  <a:lnTo>
                    <a:pt x="123" y="21"/>
                  </a:lnTo>
                  <a:lnTo>
                    <a:pt x="118" y="16"/>
                  </a:lnTo>
                  <a:lnTo>
                    <a:pt x="112" y="12"/>
                  </a:lnTo>
                  <a:lnTo>
                    <a:pt x="106" y="9"/>
                  </a:lnTo>
                  <a:lnTo>
                    <a:pt x="100" y="5"/>
                  </a:lnTo>
                  <a:lnTo>
                    <a:pt x="93" y="3"/>
                  </a:lnTo>
                  <a:lnTo>
                    <a:pt x="87" y="1"/>
                  </a:lnTo>
                  <a:lnTo>
                    <a:pt x="79" y="0"/>
                  </a:lnTo>
                  <a:lnTo>
                    <a:pt x="72" y="0"/>
                  </a:lnTo>
                  <a:lnTo>
                    <a:pt x="64" y="0"/>
                  </a:lnTo>
                  <a:lnTo>
                    <a:pt x="58" y="1"/>
                  </a:lnTo>
                  <a:lnTo>
                    <a:pt x="50" y="3"/>
                  </a:lnTo>
                  <a:lnTo>
                    <a:pt x="44" y="5"/>
                  </a:lnTo>
                  <a:lnTo>
                    <a:pt x="37" y="9"/>
                  </a:lnTo>
                  <a:lnTo>
                    <a:pt x="32" y="12"/>
                  </a:lnTo>
                  <a:lnTo>
                    <a:pt x="27" y="16"/>
                  </a:lnTo>
                  <a:lnTo>
                    <a:pt x="21" y="21"/>
                  </a:lnTo>
                  <a:lnTo>
                    <a:pt x="17" y="26"/>
                  </a:lnTo>
                  <a:lnTo>
                    <a:pt x="13" y="31"/>
                  </a:lnTo>
                  <a:lnTo>
                    <a:pt x="8" y="38"/>
                  </a:lnTo>
                  <a:lnTo>
                    <a:pt x="6" y="44"/>
                  </a:lnTo>
                  <a:lnTo>
                    <a:pt x="3" y="51"/>
                  </a:lnTo>
                  <a:lnTo>
                    <a:pt x="2" y="57"/>
                  </a:lnTo>
                  <a:lnTo>
                    <a:pt x="1" y="64"/>
                  </a:lnTo>
                  <a:lnTo>
                    <a:pt x="0" y="72"/>
                  </a:lnTo>
                  <a:lnTo>
                    <a:pt x="1" y="79"/>
                  </a:lnTo>
                  <a:lnTo>
                    <a:pt x="2" y="86"/>
                  </a:lnTo>
                  <a:lnTo>
                    <a:pt x="3" y="93"/>
                  </a:lnTo>
                  <a:lnTo>
                    <a:pt x="6" y="100"/>
                  </a:lnTo>
                  <a:lnTo>
                    <a:pt x="8" y="106"/>
                  </a:lnTo>
                  <a:lnTo>
                    <a:pt x="13" y="112"/>
                  </a:lnTo>
                  <a:lnTo>
                    <a:pt x="17" y="117"/>
                  </a:lnTo>
                  <a:lnTo>
                    <a:pt x="21" y="122"/>
                  </a:lnTo>
                  <a:lnTo>
                    <a:pt x="27" y="127"/>
                  </a:lnTo>
                  <a:lnTo>
                    <a:pt x="32" y="131"/>
                  </a:lnTo>
                  <a:lnTo>
                    <a:pt x="37" y="135"/>
                  </a:lnTo>
                  <a:lnTo>
                    <a:pt x="44" y="137"/>
                  </a:lnTo>
                  <a:lnTo>
                    <a:pt x="50" y="141"/>
                  </a:lnTo>
                  <a:lnTo>
                    <a:pt x="58" y="142"/>
                  </a:lnTo>
                  <a:lnTo>
                    <a:pt x="64" y="143"/>
                  </a:lnTo>
                  <a:lnTo>
                    <a:pt x="7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628" name="Group 65">
            <a:extLst>
              <a:ext uri="{FF2B5EF4-FFF2-40B4-BE49-F238E27FC236}">
                <a16:creationId xmlns:a16="http://schemas.microsoft.com/office/drawing/2014/main" id="{27C2CE99-CB30-467C-8230-A8A4A4188B42}"/>
              </a:ext>
            </a:extLst>
          </p:cNvPr>
          <p:cNvGrpSpPr>
            <a:grpSpLocks noChangeAspect="1"/>
          </p:cNvGrpSpPr>
          <p:nvPr/>
        </p:nvGrpSpPr>
        <p:grpSpPr>
          <a:xfrm>
            <a:off x="3649469" y="3802799"/>
            <a:ext cx="308188" cy="306484"/>
            <a:chOff x="7589838" y="4216083"/>
            <a:chExt cx="287338" cy="285750"/>
          </a:xfrm>
          <a:solidFill>
            <a:schemeClr val="bg1"/>
          </a:solidFill>
          <a:effectLst/>
        </p:grpSpPr>
        <p:sp>
          <p:nvSpPr>
            <p:cNvPr id="629" name="Freeform 398">
              <a:extLst>
                <a:ext uri="{FF2B5EF4-FFF2-40B4-BE49-F238E27FC236}">
                  <a16:creationId xmlns:a16="http://schemas.microsoft.com/office/drawing/2014/main" id="{42A101FB-F0A7-40F3-92CD-400278A08E65}"/>
                </a:ext>
              </a:extLst>
            </p:cNvPr>
            <p:cNvSpPr>
              <a:spLocks noEditPoints="1"/>
            </p:cNvSpPr>
            <p:nvPr/>
          </p:nvSpPr>
          <p:spPr bwMode="auto">
            <a:xfrm>
              <a:off x="7589838" y="4216083"/>
              <a:ext cx="287338" cy="285750"/>
            </a:xfrm>
            <a:custGeom>
              <a:avLst/>
              <a:gdLst>
                <a:gd name="T0" fmla="*/ 30 w 902"/>
                <a:gd name="T1" fmla="*/ 691 h 902"/>
                <a:gd name="T2" fmla="*/ 872 w 902"/>
                <a:gd name="T3" fmla="*/ 872 h 902"/>
                <a:gd name="T4" fmla="*/ 817 w 902"/>
                <a:gd name="T5" fmla="*/ 661 h 902"/>
                <a:gd name="T6" fmla="*/ 156 w 902"/>
                <a:gd name="T7" fmla="*/ 635 h 902"/>
                <a:gd name="T8" fmla="*/ 179 w 902"/>
                <a:gd name="T9" fmla="*/ 592 h 902"/>
                <a:gd name="T10" fmla="*/ 199 w 902"/>
                <a:gd name="T11" fmla="*/ 563 h 902"/>
                <a:gd name="T12" fmla="*/ 219 w 902"/>
                <a:gd name="T13" fmla="*/ 537 h 902"/>
                <a:gd name="T14" fmla="*/ 241 w 902"/>
                <a:gd name="T15" fmla="*/ 513 h 902"/>
                <a:gd name="T16" fmla="*/ 264 w 902"/>
                <a:gd name="T17" fmla="*/ 496 h 902"/>
                <a:gd name="T18" fmla="*/ 281 w 902"/>
                <a:gd name="T19" fmla="*/ 487 h 902"/>
                <a:gd name="T20" fmla="*/ 293 w 902"/>
                <a:gd name="T21" fmla="*/ 485 h 902"/>
                <a:gd name="T22" fmla="*/ 307 w 902"/>
                <a:gd name="T23" fmla="*/ 485 h 902"/>
                <a:gd name="T24" fmla="*/ 323 w 902"/>
                <a:gd name="T25" fmla="*/ 487 h 902"/>
                <a:gd name="T26" fmla="*/ 345 w 902"/>
                <a:gd name="T27" fmla="*/ 495 h 902"/>
                <a:gd name="T28" fmla="*/ 373 w 902"/>
                <a:gd name="T29" fmla="*/ 510 h 902"/>
                <a:gd name="T30" fmla="*/ 399 w 902"/>
                <a:gd name="T31" fmla="*/ 528 h 902"/>
                <a:gd name="T32" fmla="*/ 429 w 902"/>
                <a:gd name="T33" fmla="*/ 558 h 902"/>
                <a:gd name="T34" fmla="*/ 454 w 902"/>
                <a:gd name="T35" fmla="*/ 587 h 902"/>
                <a:gd name="T36" fmla="*/ 459 w 902"/>
                <a:gd name="T37" fmla="*/ 595 h 902"/>
                <a:gd name="T38" fmla="*/ 467 w 902"/>
                <a:gd name="T39" fmla="*/ 599 h 902"/>
                <a:gd name="T40" fmla="*/ 474 w 902"/>
                <a:gd name="T41" fmla="*/ 598 h 902"/>
                <a:gd name="T42" fmla="*/ 481 w 902"/>
                <a:gd name="T43" fmla="*/ 595 h 902"/>
                <a:gd name="T44" fmla="*/ 596 w 902"/>
                <a:gd name="T45" fmla="*/ 395 h 902"/>
                <a:gd name="T46" fmla="*/ 605 w 902"/>
                <a:gd name="T47" fmla="*/ 385 h 902"/>
                <a:gd name="T48" fmla="*/ 615 w 902"/>
                <a:gd name="T49" fmla="*/ 378 h 902"/>
                <a:gd name="T50" fmla="*/ 626 w 902"/>
                <a:gd name="T51" fmla="*/ 373 h 902"/>
                <a:gd name="T52" fmla="*/ 639 w 902"/>
                <a:gd name="T53" fmla="*/ 371 h 902"/>
                <a:gd name="T54" fmla="*/ 652 w 902"/>
                <a:gd name="T55" fmla="*/ 373 h 902"/>
                <a:gd name="T56" fmla="*/ 664 w 902"/>
                <a:gd name="T57" fmla="*/ 378 h 902"/>
                <a:gd name="T58" fmla="*/ 675 w 902"/>
                <a:gd name="T59" fmla="*/ 387 h 902"/>
                <a:gd name="T60" fmla="*/ 682 w 902"/>
                <a:gd name="T61" fmla="*/ 398 h 902"/>
                <a:gd name="T62" fmla="*/ 872 w 902"/>
                <a:gd name="T63" fmla="*/ 30 h 902"/>
                <a:gd name="T64" fmla="*/ 850 w 902"/>
                <a:gd name="T65" fmla="*/ 661 h 902"/>
                <a:gd name="T66" fmla="*/ 704 w 902"/>
                <a:gd name="T67" fmla="*/ 375 h 902"/>
                <a:gd name="T68" fmla="*/ 689 w 902"/>
                <a:gd name="T69" fmla="*/ 359 h 902"/>
                <a:gd name="T70" fmla="*/ 670 w 902"/>
                <a:gd name="T71" fmla="*/ 348 h 902"/>
                <a:gd name="T72" fmla="*/ 650 w 902"/>
                <a:gd name="T73" fmla="*/ 341 h 902"/>
                <a:gd name="T74" fmla="*/ 629 w 902"/>
                <a:gd name="T75" fmla="*/ 341 h 902"/>
                <a:gd name="T76" fmla="*/ 609 w 902"/>
                <a:gd name="T77" fmla="*/ 347 h 902"/>
                <a:gd name="T78" fmla="*/ 591 w 902"/>
                <a:gd name="T79" fmla="*/ 358 h 902"/>
                <a:gd name="T80" fmla="*/ 577 w 902"/>
                <a:gd name="T81" fmla="*/ 371 h 902"/>
                <a:gd name="T82" fmla="*/ 468 w 902"/>
                <a:gd name="T83" fmla="*/ 557 h 902"/>
                <a:gd name="T84" fmla="*/ 441 w 902"/>
                <a:gd name="T85" fmla="*/ 526 h 902"/>
                <a:gd name="T86" fmla="*/ 402 w 902"/>
                <a:gd name="T87" fmla="*/ 493 h 902"/>
                <a:gd name="T88" fmla="*/ 380 w 902"/>
                <a:gd name="T89" fmla="*/ 478 h 902"/>
                <a:gd name="T90" fmla="*/ 354 w 902"/>
                <a:gd name="T91" fmla="*/ 466 h 902"/>
                <a:gd name="T92" fmla="*/ 327 w 902"/>
                <a:gd name="T93" fmla="*/ 458 h 902"/>
                <a:gd name="T94" fmla="*/ 299 w 902"/>
                <a:gd name="T95" fmla="*/ 455 h 902"/>
                <a:gd name="T96" fmla="*/ 282 w 902"/>
                <a:gd name="T97" fmla="*/ 456 h 902"/>
                <a:gd name="T98" fmla="*/ 265 w 902"/>
                <a:gd name="T99" fmla="*/ 462 h 902"/>
                <a:gd name="T100" fmla="*/ 249 w 902"/>
                <a:gd name="T101" fmla="*/ 470 h 902"/>
                <a:gd name="T102" fmla="*/ 233 w 902"/>
                <a:gd name="T103" fmla="*/ 481 h 902"/>
                <a:gd name="T104" fmla="*/ 204 w 902"/>
                <a:gd name="T105" fmla="*/ 509 h 902"/>
                <a:gd name="T106" fmla="*/ 177 w 902"/>
                <a:gd name="T107" fmla="*/ 541 h 902"/>
                <a:gd name="T108" fmla="*/ 154 w 902"/>
                <a:gd name="T109" fmla="*/ 576 h 902"/>
                <a:gd name="T110" fmla="*/ 134 w 902"/>
                <a:gd name="T111" fmla="*/ 611 h 902"/>
                <a:gd name="T112" fmla="*/ 110 w 902"/>
                <a:gd name="T113" fmla="*/ 661 h 902"/>
                <a:gd name="T114" fmla="*/ 30 w 902"/>
                <a:gd name="T115" fmla="*/ 30 h 902"/>
                <a:gd name="T116" fmla="*/ 0 w 902"/>
                <a:gd name="T117" fmla="*/ 0 h 902"/>
                <a:gd name="T118" fmla="*/ 902 w 902"/>
                <a:gd name="T119" fmla="*/ 902 h 902"/>
                <a:gd name="T120" fmla="*/ 0 w 902"/>
                <a:gd name="T12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2" h="902">
                  <a:moveTo>
                    <a:pt x="30" y="872"/>
                  </a:moveTo>
                  <a:lnTo>
                    <a:pt x="30" y="691"/>
                  </a:lnTo>
                  <a:lnTo>
                    <a:pt x="872" y="691"/>
                  </a:lnTo>
                  <a:lnTo>
                    <a:pt x="872" y="872"/>
                  </a:lnTo>
                  <a:lnTo>
                    <a:pt x="30" y="872"/>
                  </a:lnTo>
                  <a:close/>
                  <a:moveTo>
                    <a:pt x="817" y="661"/>
                  </a:moveTo>
                  <a:lnTo>
                    <a:pt x="143" y="661"/>
                  </a:lnTo>
                  <a:lnTo>
                    <a:pt x="156" y="635"/>
                  </a:lnTo>
                  <a:lnTo>
                    <a:pt x="171" y="607"/>
                  </a:lnTo>
                  <a:lnTo>
                    <a:pt x="179" y="592"/>
                  </a:lnTo>
                  <a:lnTo>
                    <a:pt x="189" y="577"/>
                  </a:lnTo>
                  <a:lnTo>
                    <a:pt x="199" y="563"/>
                  </a:lnTo>
                  <a:lnTo>
                    <a:pt x="208" y="550"/>
                  </a:lnTo>
                  <a:lnTo>
                    <a:pt x="219" y="537"/>
                  </a:lnTo>
                  <a:lnTo>
                    <a:pt x="230" y="524"/>
                  </a:lnTo>
                  <a:lnTo>
                    <a:pt x="241" y="513"/>
                  </a:lnTo>
                  <a:lnTo>
                    <a:pt x="252" y="503"/>
                  </a:lnTo>
                  <a:lnTo>
                    <a:pt x="264" y="496"/>
                  </a:lnTo>
                  <a:lnTo>
                    <a:pt x="276" y="489"/>
                  </a:lnTo>
                  <a:lnTo>
                    <a:pt x="281" y="487"/>
                  </a:lnTo>
                  <a:lnTo>
                    <a:pt x="288" y="486"/>
                  </a:lnTo>
                  <a:lnTo>
                    <a:pt x="293" y="485"/>
                  </a:lnTo>
                  <a:lnTo>
                    <a:pt x="299" y="485"/>
                  </a:lnTo>
                  <a:lnTo>
                    <a:pt x="307" y="485"/>
                  </a:lnTo>
                  <a:lnTo>
                    <a:pt x="314" y="486"/>
                  </a:lnTo>
                  <a:lnTo>
                    <a:pt x="323" y="487"/>
                  </a:lnTo>
                  <a:lnTo>
                    <a:pt x="330" y="489"/>
                  </a:lnTo>
                  <a:lnTo>
                    <a:pt x="345" y="495"/>
                  </a:lnTo>
                  <a:lnTo>
                    <a:pt x="359" y="501"/>
                  </a:lnTo>
                  <a:lnTo>
                    <a:pt x="373" y="510"/>
                  </a:lnTo>
                  <a:lnTo>
                    <a:pt x="386" y="518"/>
                  </a:lnTo>
                  <a:lnTo>
                    <a:pt x="399" y="528"/>
                  </a:lnTo>
                  <a:lnTo>
                    <a:pt x="410" y="538"/>
                  </a:lnTo>
                  <a:lnTo>
                    <a:pt x="429" y="558"/>
                  </a:lnTo>
                  <a:lnTo>
                    <a:pt x="444" y="575"/>
                  </a:lnTo>
                  <a:lnTo>
                    <a:pt x="454" y="587"/>
                  </a:lnTo>
                  <a:lnTo>
                    <a:pt x="457" y="592"/>
                  </a:lnTo>
                  <a:lnTo>
                    <a:pt x="459" y="595"/>
                  </a:lnTo>
                  <a:lnTo>
                    <a:pt x="462" y="597"/>
                  </a:lnTo>
                  <a:lnTo>
                    <a:pt x="467" y="599"/>
                  </a:lnTo>
                  <a:lnTo>
                    <a:pt x="470" y="599"/>
                  </a:lnTo>
                  <a:lnTo>
                    <a:pt x="474" y="598"/>
                  </a:lnTo>
                  <a:lnTo>
                    <a:pt x="477" y="597"/>
                  </a:lnTo>
                  <a:lnTo>
                    <a:pt x="481" y="595"/>
                  </a:lnTo>
                  <a:lnTo>
                    <a:pt x="483" y="591"/>
                  </a:lnTo>
                  <a:lnTo>
                    <a:pt x="596" y="395"/>
                  </a:lnTo>
                  <a:lnTo>
                    <a:pt x="601" y="390"/>
                  </a:lnTo>
                  <a:lnTo>
                    <a:pt x="605" y="385"/>
                  </a:lnTo>
                  <a:lnTo>
                    <a:pt x="609" y="381"/>
                  </a:lnTo>
                  <a:lnTo>
                    <a:pt x="615" y="378"/>
                  </a:lnTo>
                  <a:lnTo>
                    <a:pt x="620" y="375"/>
                  </a:lnTo>
                  <a:lnTo>
                    <a:pt x="626" y="373"/>
                  </a:lnTo>
                  <a:lnTo>
                    <a:pt x="633" y="371"/>
                  </a:lnTo>
                  <a:lnTo>
                    <a:pt x="639" y="371"/>
                  </a:lnTo>
                  <a:lnTo>
                    <a:pt x="646" y="371"/>
                  </a:lnTo>
                  <a:lnTo>
                    <a:pt x="652" y="373"/>
                  </a:lnTo>
                  <a:lnTo>
                    <a:pt x="659" y="376"/>
                  </a:lnTo>
                  <a:lnTo>
                    <a:pt x="664" y="378"/>
                  </a:lnTo>
                  <a:lnTo>
                    <a:pt x="669" y="382"/>
                  </a:lnTo>
                  <a:lnTo>
                    <a:pt x="675" y="387"/>
                  </a:lnTo>
                  <a:lnTo>
                    <a:pt x="679" y="392"/>
                  </a:lnTo>
                  <a:lnTo>
                    <a:pt x="682" y="398"/>
                  </a:lnTo>
                  <a:lnTo>
                    <a:pt x="817" y="661"/>
                  </a:lnTo>
                  <a:close/>
                  <a:moveTo>
                    <a:pt x="872" y="30"/>
                  </a:moveTo>
                  <a:lnTo>
                    <a:pt x="872" y="661"/>
                  </a:lnTo>
                  <a:lnTo>
                    <a:pt x="850" y="661"/>
                  </a:lnTo>
                  <a:lnTo>
                    <a:pt x="709" y="384"/>
                  </a:lnTo>
                  <a:lnTo>
                    <a:pt x="704" y="375"/>
                  </a:lnTo>
                  <a:lnTo>
                    <a:pt x="697" y="366"/>
                  </a:lnTo>
                  <a:lnTo>
                    <a:pt x="689" y="359"/>
                  </a:lnTo>
                  <a:lnTo>
                    <a:pt x="680" y="353"/>
                  </a:lnTo>
                  <a:lnTo>
                    <a:pt x="670" y="348"/>
                  </a:lnTo>
                  <a:lnTo>
                    <a:pt x="661" y="344"/>
                  </a:lnTo>
                  <a:lnTo>
                    <a:pt x="650" y="341"/>
                  </a:lnTo>
                  <a:lnTo>
                    <a:pt x="639" y="341"/>
                  </a:lnTo>
                  <a:lnTo>
                    <a:pt x="629" y="341"/>
                  </a:lnTo>
                  <a:lnTo>
                    <a:pt x="619" y="344"/>
                  </a:lnTo>
                  <a:lnTo>
                    <a:pt x="609" y="347"/>
                  </a:lnTo>
                  <a:lnTo>
                    <a:pt x="600" y="351"/>
                  </a:lnTo>
                  <a:lnTo>
                    <a:pt x="591" y="358"/>
                  </a:lnTo>
                  <a:lnTo>
                    <a:pt x="583" y="364"/>
                  </a:lnTo>
                  <a:lnTo>
                    <a:pt x="577" y="371"/>
                  </a:lnTo>
                  <a:lnTo>
                    <a:pt x="571" y="380"/>
                  </a:lnTo>
                  <a:lnTo>
                    <a:pt x="468" y="557"/>
                  </a:lnTo>
                  <a:lnTo>
                    <a:pt x="456" y="542"/>
                  </a:lnTo>
                  <a:lnTo>
                    <a:pt x="441" y="526"/>
                  </a:lnTo>
                  <a:lnTo>
                    <a:pt x="423" y="510"/>
                  </a:lnTo>
                  <a:lnTo>
                    <a:pt x="402" y="493"/>
                  </a:lnTo>
                  <a:lnTo>
                    <a:pt x="392" y="485"/>
                  </a:lnTo>
                  <a:lnTo>
                    <a:pt x="380" y="478"/>
                  </a:lnTo>
                  <a:lnTo>
                    <a:pt x="367" y="471"/>
                  </a:lnTo>
                  <a:lnTo>
                    <a:pt x="354" y="466"/>
                  </a:lnTo>
                  <a:lnTo>
                    <a:pt x="341" y="462"/>
                  </a:lnTo>
                  <a:lnTo>
                    <a:pt x="327" y="458"/>
                  </a:lnTo>
                  <a:lnTo>
                    <a:pt x="313" y="456"/>
                  </a:lnTo>
                  <a:lnTo>
                    <a:pt x="299" y="455"/>
                  </a:lnTo>
                  <a:lnTo>
                    <a:pt x="291" y="455"/>
                  </a:lnTo>
                  <a:lnTo>
                    <a:pt x="282" y="456"/>
                  </a:lnTo>
                  <a:lnTo>
                    <a:pt x="274" y="459"/>
                  </a:lnTo>
                  <a:lnTo>
                    <a:pt x="265" y="462"/>
                  </a:lnTo>
                  <a:lnTo>
                    <a:pt x="256" y="466"/>
                  </a:lnTo>
                  <a:lnTo>
                    <a:pt x="249" y="470"/>
                  </a:lnTo>
                  <a:lnTo>
                    <a:pt x="240" y="476"/>
                  </a:lnTo>
                  <a:lnTo>
                    <a:pt x="233" y="481"/>
                  </a:lnTo>
                  <a:lnTo>
                    <a:pt x="218" y="494"/>
                  </a:lnTo>
                  <a:lnTo>
                    <a:pt x="204" y="509"/>
                  </a:lnTo>
                  <a:lnTo>
                    <a:pt x="190" y="525"/>
                  </a:lnTo>
                  <a:lnTo>
                    <a:pt x="177" y="541"/>
                  </a:lnTo>
                  <a:lnTo>
                    <a:pt x="165" y="559"/>
                  </a:lnTo>
                  <a:lnTo>
                    <a:pt x="154" y="576"/>
                  </a:lnTo>
                  <a:lnTo>
                    <a:pt x="144" y="593"/>
                  </a:lnTo>
                  <a:lnTo>
                    <a:pt x="134" y="611"/>
                  </a:lnTo>
                  <a:lnTo>
                    <a:pt x="120" y="640"/>
                  </a:lnTo>
                  <a:lnTo>
                    <a:pt x="110" y="661"/>
                  </a:lnTo>
                  <a:lnTo>
                    <a:pt x="30" y="661"/>
                  </a:lnTo>
                  <a:lnTo>
                    <a:pt x="30" y="30"/>
                  </a:lnTo>
                  <a:lnTo>
                    <a:pt x="872" y="30"/>
                  </a:lnTo>
                  <a:close/>
                  <a:moveTo>
                    <a:pt x="0" y="0"/>
                  </a:moveTo>
                  <a:lnTo>
                    <a:pt x="0" y="902"/>
                  </a:lnTo>
                  <a:lnTo>
                    <a:pt x="902" y="902"/>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630" name="Freeform 399">
              <a:extLst>
                <a:ext uri="{FF2B5EF4-FFF2-40B4-BE49-F238E27FC236}">
                  <a16:creationId xmlns:a16="http://schemas.microsoft.com/office/drawing/2014/main" id="{E005B2D9-5979-4DAA-9C6E-49112EE704D3}"/>
                </a:ext>
              </a:extLst>
            </p:cNvPr>
            <p:cNvSpPr>
              <a:spLocks noEditPoints="1"/>
            </p:cNvSpPr>
            <p:nvPr/>
          </p:nvSpPr>
          <p:spPr bwMode="auto">
            <a:xfrm>
              <a:off x="7645400" y="4252595"/>
              <a:ext cx="93663" cy="68263"/>
            </a:xfrm>
            <a:custGeom>
              <a:avLst/>
              <a:gdLst>
                <a:gd name="T0" fmla="*/ 87 w 295"/>
                <a:gd name="T1" fmla="*/ 108 h 217"/>
                <a:gd name="T2" fmla="*/ 108 w 295"/>
                <a:gd name="T3" fmla="*/ 90 h 217"/>
                <a:gd name="T4" fmla="*/ 115 w 295"/>
                <a:gd name="T5" fmla="*/ 70 h 217"/>
                <a:gd name="T6" fmla="*/ 128 w 295"/>
                <a:gd name="T7" fmla="*/ 54 h 217"/>
                <a:gd name="T8" fmla="*/ 144 w 295"/>
                <a:gd name="T9" fmla="*/ 41 h 217"/>
                <a:gd name="T10" fmla="*/ 164 w 295"/>
                <a:gd name="T11" fmla="*/ 32 h 217"/>
                <a:gd name="T12" fmla="*/ 185 w 295"/>
                <a:gd name="T13" fmla="*/ 30 h 217"/>
                <a:gd name="T14" fmla="*/ 209 w 295"/>
                <a:gd name="T15" fmla="*/ 33 h 217"/>
                <a:gd name="T16" fmla="*/ 229 w 295"/>
                <a:gd name="T17" fmla="*/ 43 h 217"/>
                <a:gd name="T18" fmla="*/ 246 w 295"/>
                <a:gd name="T19" fmla="*/ 59 h 217"/>
                <a:gd name="T20" fmla="*/ 258 w 295"/>
                <a:gd name="T21" fmla="*/ 78 h 217"/>
                <a:gd name="T22" fmla="*/ 265 w 295"/>
                <a:gd name="T23" fmla="*/ 101 h 217"/>
                <a:gd name="T24" fmla="*/ 263 w 295"/>
                <a:gd name="T25" fmla="*/ 125 h 217"/>
                <a:gd name="T26" fmla="*/ 256 w 295"/>
                <a:gd name="T27" fmla="*/ 146 h 217"/>
                <a:gd name="T28" fmla="*/ 243 w 295"/>
                <a:gd name="T29" fmla="*/ 164 h 217"/>
                <a:gd name="T30" fmla="*/ 225 w 295"/>
                <a:gd name="T31" fmla="*/ 178 h 217"/>
                <a:gd name="T32" fmla="*/ 204 w 295"/>
                <a:gd name="T33" fmla="*/ 186 h 217"/>
                <a:gd name="T34" fmla="*/ 189 w 295"/>
                <a:gd name="T35" fmla="*/ 187 h 217"/>
                <a:gd name="T36" fmla="*/ 70 w 295"/>
                <a:gd name="T37" fmla="*/ 187 h 217"/>
                <a:gd name="T38" fmla="*/ 47 w 295"/>
                <a:gd name="T39" fmla="*/ 181 h 217"/>
                <a:gd name="T40" fmla="*/ 33 w 295"/>
                <a:gd name="T41" fmla="*/ 163 h 217"/>
                <a:gd name="T42" fmla="*/ 30 w 295"/>
                <a:gd name="T43" fmla="*/ 140 h 217"/>
                <a:gd name="T44" fmla="*/ 42 w 295"/>
                <a:gd name="T45" fmla="*/ 118 h 217"/>
                <a:gd name="T46" fmla="*/ 63 w 295"/>
                <a:gd name="T47" fmla="*/ 106 h 217"/>
                <a:gd name="T48" fmla="*/ 69 w 295"/>
                <a:gd name="T49" fmla="*/ 217 h 217"/>
                <a:gd name="T50" fmla="*/ 187 w 295"/>
                <a:gd name="T51" fmla="*/ 217 h 217"/>
                <a:gd name="T52" fmla="*/ 200 w 295"/>
                <a:gd name="T53" fmla="*/ 217 h 217"/>
                <a:gd name="T54" fmla="*/ 230 w 295"/>
                <a:gd name="T55" fmla="*/ 208 h 217"/>
                <a:gd name="T56" fmla="*/ 256 w 295"/>
                <a:gd name="T57" fmla="*/ 192 h 217"/>
                <a:gd name="T58" fmla="*/ 277 w 295"/>
                <a:gd name="T59" fmla="*/ 168 h 217"/>
                <a:gd name="T60" fmla="*/ 290 w 295"/>
                <a:gd name="T61" fmla="*/ 141 h 217"/>
                <a:gd name="T62" fmla="*/ 295 w 295"/>
                <a:gd name="T63" fmla="*/ 110 h 217"/>
                <a:gd name="T64" fmla="*/ 290 w 295"/>
                <a:gd name="T65" fmla="*/ 77 h 217"/>
                <a:gd name="T66" fmla="*/ 276 w 295"/>
                <a:gd name="T67" fmla="*/ 48 h 217"/>
                <a:gd name="T68" fmla="*/ 255 w 295"/>
                <a:gd name="T69" fmla="*/ 25 h 217"/>
                <a:gd name="T70" fmla="*/ 228 w 295"/>
                <a:gd name="T71" fmla="*/ 9 h 217"/>
                <a:gd name="T72" fmla="*/ 196 w 295"/>
                <a:gd name="T73" fmla="*/ 0 h 217"/>
                <a:gd name="T74" fmla="*/ 167 w 295"/>
                <a:gd name="T75" fmla="*/ 1 h 217"/>
                <a:gd name="T76" fmla="*/ 142 w 295"/>
                <a:gd name="T77" fmla="*/ 9 h 217"/>
                <a:gd name="T78" fmla="*/ 120 w 295"/>
                <a:gd name="T79" fmla="*/ 21 h 217"/>
                <a:gd name="T80" fmla="*/ 102 w 295"/>
                <a:gd name="T81" fmla="*/ 39 h 217"/>
                <a:gd name="T82" fmla="*/ 88 w 295"/>
                <a:gd name="T83" fmla="*/ 60 h 217"/>
                <a:gd name="T84" fmla="*/ 76 w 295"/>
                <a:gd name="T85" fmla="*/ 75 h 217"/>
                <a:gd name="T86" fmla="*/ 57 w 295"/>
                <a:gd name="T87" fmla="*/ 77 h 217"/>
                <a:gd name="T88" fmla="*/ 37 w 295"/>
                <a:gd name="T89" fmla="*/ 84 h 217"/>
                <a:gd name="T90" fmla="*/ 20 w 295"/>
                <a:gd name="T91" fmla="*/ 97 h 217"/>
                <a:gd name="T92" fmla="*/ 8 w 295"/>
                <a:gd name="T93" fmla="*/ 113 h 217"/>
                <a:gd name="T94" fmla="*/ 1 w 295"/>
                <a:gd name="T95" fmla="*/ 133 h 217"/>
                <a:gd name="T96" fmla="*/ 0 w 295"/>
                <a:gd name="T97" fmla="*/ 155 h 217"/>
                <a:gd name="T98" fmla="*/ 5 w 295"/>
                <a:gd name="T99" fmla="*/ 175 h 217"/>
                <a:gd name="T100" fmla="*/ 15 w 295"/>
                <a:gd name="T101" fmla="*/ 192 h 217"/>
                <a:gd name="T102" fmla="*/ 29 w 295"/>
                <a:gd name="T103" fmla="*/ 205 h 217"/>
                <a:gd name="T104" fmla="*/ 47 w 295"/>
                <a:gd name="T105" fmla="*/ 214 h 217"/>
                <a:gd name="T106" fmla="*/ 67 w 295"/>
                <a:gd name="T10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5" h="217">
                  <a:moveTo>
                    <a:pt x="72" y="105"/>
                  </a:moveTo>
                  <a:lnTo>
                    <a:pt x="79" y="106"/>
                  </a:lnTo>
                  <a:lnTo>
                    <a:pt x="87" y="108"/>
                  </a:lnTo>
                  <a:lnTo>
                    <a:pt x="104" y="115"/>
                  </a:lnTo>
                  <a:lnTo>
                    <a:pt x="107" y="97"/>
                  </a:lnTo>
                  <a:lnTo>
                    <a:pt x="108" y="90"/>
                  </a:lnTo>
                  <a:lnTo>
                    <a:pt x="110" y="83"/>
                  </a:lnTo>
                  <a:lnTo>
                    <a:pt x="112" y="76"/>
                  </a:lnTo>
                  <a:lnTo>
                    <a:pt x="115" y="70"/>
                  </a:lnTo>
                  <a:lnTo>
                    <a:pt x="120" y="64"/>
                  </a:lnTo>
                  <a:lnTo>
                    <a:pt x="124" y="58"/>
                  </a:lnTo>
                  <a:lnTo>
                    <a:pt x="128" y="54"/>
                  </a:lnTo>
                  <a:lnTo>
                    <a:pt x="134" y="48"/>
                  </a:lnTo>
                  <a:lnTo>
                    <a:pt x="139" y="44"/>
                  </a:lnTo>
                  <a:lnTo>
                    <a:pt x="144" y="41"/>
                  </a:lnTo>
                  <a:lnTo>
                    <a:pt x="151" y="38"/>
                  </a:lnTo>
                  <a:lnTo>
                    <a:pt x="157" y="34"/>
                  </a:lnTo>
                  <a:lnTo>
                    <a:pt x="164" y="32"/>
                  </a:lnTo>
                  <a:lnTo>
                    <a:pt x="170" y="31"/>
                  </a:lnTo>
                  <a:lnTo>
                    <a:pt x="178" y="30"/>
                  </a:lnTo>
                  <a:lnTo>
                    <a:pt x="185" y="30"/>
                  </a:lnTo>
                  <a:lnTo>
                    <a:pt x="193" y="30"/>
                  </a:lnTo>
                  <a:lnTo>
                    <a:pt x="201" y="31"/>
                  </a:lnTo>
                  <a:lnTo>
                    <a:pt x="209" y="33"/>
                  </a:lnTo>
                  <a:lnTo>
                    <a:pt x="216" y="36"/>
                  </a:lnTo>
                  <a:lnTo>
                    <a:pt x="223" y="40"/>
                  </a:lnTo>
                  <a:lnTo>
                    <a:pt x="229" y="43"/>
                  </a:lnTo>
                  <a:lnTo>
                    <a:pt x="236" y="48"/>
                  </a:lnTo>
                  <a:lnTo>
                    <a:pt x="241" y="53"/>
                  </a:lnTo>
                  <a:lnTo>
                    <a:pt x="246" y="59"/>
                  </a:lnTo>
                  <a:lnTo>
                    <a:pt x="251" y="64"/>
                  </a:lnTo>
                  <a:lnTo>
                    <a:pt x="255" y="72"/>
                  </a:lnTo>
                  <a:lnTo>
                    <a:pt x="258" y="78"/>
                  </a:lnTo>
                  <a:lnTo>
                    <a:pt x="261" y="86"/>
                  </a:lnTo>
                  <a:lnTo>
                    <a:pt x="263" y="93"/>
                  </a:lnTo>
                  <a:lnTo>
                    <a:pt x="265" y="101"/>
                  </a:lnTo>
                  <a:lnTo>
                    <a:pt x="265" y="110"/>
                  </a:lnTo>
                  <a:lnTo>
                    <a:pt x="265" y="117"/>
                  </a:lnTo>
                  <a:lnTo>
                    <a:pt x="263" y="125"/>
                  </a:lnTo>
                  <a:lnTo>
                    <a:pt x="261" y="132"/>
                  </a:lnTo>
                  <a:lnTo>
                    <a:pt x="259" y="140"/>
                  </a:lnTo>
                  <a:lnTo>
                    <a:pt x="256" y="146"/>
                  </a:lnTo>
                  <a:lnTo>
                    <a:pt x="252" y="152"/>
                  </a:lnTo>
                  <a:lnTo>
                    <a:pt x="247" y="159"/>
                  </a:lnTo>
                  <a:lnTo>
                    <a:pt x="243" y="164"/>
                  </a:lnTo>
                  <a:lnTo>
                    <a:pt x="237" y="170"/>
                  </a:lnTo>
                  <a:lnTo>
                    <a:pt x="231" y="174"/>
                  </a:lnTo>
                  <a:lnTo>
                    <a:pt x="225" y="178"/>
                  </a:lnTo>
                  <a:lnTo>
                    <a:pt x="218" y="181"/>
                  </a:lnTo>
                  <a:lnTo>
                    <a:pt x="211" y="184"/>
                  </a:lnTo>
                  <a:lnTo>
                    <a:pt x="204" y="186"/>
                  </a:lnTo>
                  <a:lnTo>
                    <a:pt x="197" y="187"/>
                  </a:lnTo>
                  <a:lnTo>
                    <a:pt x="189" y="187"/>
                  </a:lnTo>
                  <a:lnTo>
                    <a:pt x="189" y="187"/>
                  </a:lnTo>
                  <a:lnTo>
                    <a:pt x="187" y="187"/>
                  </a:lnTo>
                  <a:lnTo>
                    <a:pt x="185" y="187"/>
                  </a:lnTo>
                  <a:lnTo>
                    <a:pt x="70" y="187"/>
                  </a:lnTo>
                  <a:lnTo>
                    <a:pt x="62" y="187"/>
                  </a:lnTo>
                  <a:lnTo>
                    <a:pt x="54" y="185"/>
                  </a:lnTo>
                  <a:lnTo>
                    <a:pt x="47" y="181"/>
                  </a:lnTo>
                  <a:lnTo>
                    <a:pt x="42" y="176"/>
                  </a:lnTo>
                  <a:lnTo>
                    <a:pt x="36" y="171"/>
                  </a:lnTo>
                  <a:lnTo>
                    <a:pt x="33" y="163"/>
                  </a:lnTo>
                  <a:lnTo>
                    <a:pt x="30" y="156"/>
                  </a:lnTo>
                  <a:lnTo>
                    <a:pt x="30" y="147"/>
                  </a:lnTo>
                  <a:lnTo>
                    <a:pt x="30" y="140"/>
                  </a:lnTo>
                  <a:lnTo>
                    <a:pt x="33" y="131"/>
                  </a:lnTo>
                  <a:lnTo>
                    <a:pt x="36" y="125"/>
                  </a:lnTo>
                  <a:lnTo>
                    <a:pt x="42" y="118"/>
                  </a:lnTo>
                  <a:lnTo>
                    <a:pt x="48" y="113"/>
                  </a:lnTo>
                  <a:lnTo>
                    <a:pt x="55" y="108"/>
                  </a:lnTo>
                  <a:lnTo>
                    <a:pt x="63" y="106"/>
                  </a:lnTo>
                  <a:lnTo>
                    <a:pt x="72" y="105"/>
                  </a:lnTo>
                  <a:close/>
                  <a:moveTo>
                    <a:pt x="67" y="217"/>
                  </a:moveTo>
                  <a:lnTo>
                    <a:pt x="69" y="217"/>
                  </a:lnTo>
                  <a:lnTo>
                    <a:pt x="72" y="217"/>
                  </a:lnTo>
                  <a:lnTo>
                    <a:pt x="184" y="217"/>
                  </a:lnTo>
                  <a:lnTo>
                    <a:pt x="187" y="217"/>
                  </a:lnTo>
                  <a:lnTo>
                    <a:pt x="189" y="217"/>
                  </a:lnTo>
                  <a:lnTo>
                    <a:pt x="189" y="217"/>
                  </a:lnTo>
                  <a:lnTo>
                    <a:pt x="200" y="217"/>
                  </a:lnTo>
                  <a:lnTo>
                    <a:pt x="210" y="215"/>
                  </a:lnTo>
                  <a:lnTo>
                    <a:pt x="221" y="212"/>
                  </a:lnTo>
                  <a:lnTo>
                    <a:pt x="230" y="208"/>
                  </a:lnTo>
                  <a:lnTo>
                    <a:pt x="239" y="204"/>
                  </a:lnTo>
                  <a:lnTo>
                    <a:pt x="248" y="199"/>
                  </a:lnTo>
                  <a:lnTo>
                    <a:pt x="256" y="192"/>
                  </a:lnTo>
                  <a:lnTo>
                    <a:pt x="265" y="186"/>
                  </a:lnTo>
                  <a:lnTo>
                    <a:pt x="271" y="177"/>
                  </a:lnTo>
                  <a:lnTo>
                    <a:pt x="277" y="168"/>
                  </a:lnTo>
                  <a:lnTo>
                    <a:pt x="283" y="160"/>
                  </a:lnTo>
                  <a:lnTo>
                    <a:pt x="287" y="150"/>
                  </a:lnTo>
                  <a:lnTo>
                    <a:pt x="290" y="141"/>
                  </a:lnTo>
                  <a:lnTo>
                    <a:pt x="292" y="131"/>
                  </a:lnTo>
                  <a:lnTo>
                    <a:pt x="295" y="120"/>
                  </a:lnTo>
                  <a:lnTo>
                    <a:pt x="295" y="110"/>
                  </a:lnTo>
                  <a:lnTo>
                    <a:pt x="295" y="99"/>
                  </a:lnTo>
                  <a:lnTo>
                    <a:pt x="292" y="87"/>
                  </a:lnTo>
                  <a:lnTo>
                    <a:pt x="290" y="77"/>
                  </a:lnTo>
                  <a:lnTo>
                    <a:pt x="286" y="67"/>
                  </a:lnTo>
                  <a:lnTo>
                    <a:pt x="282" y="57"/>
                  </a:lnTo>
                  <a:lnTo>
                    <a:pt x="276" y="48"/>
                  </a:lnTo>
                  <a:lnTo>
                    <a:pt x="270" y="40"/>
                  </a:lnTo>
                  <a:lnTo>
                    <a:pt x="262" y="32"/>
                  </a:lnTo>
                  <a:lnTo>
                    <a:pt x="255" y="25"/>
                  </a:lnTo>
                  <a:lnTo>
                    <a:pt x="246" y="18"/>
                  </a:lnTo>
                  <a:lnTo>
                    <a:pt x="238" y="13"/>
                  </a:lnTo>
                  <a:lnTo>
                    <a:pt x="228" y="9"/>
                  </a:lnTo>
                  <a:lnTo>
                    <a:pt x="217" y="4"/>
                  </a:lnTo>
                  <a:lnTo>
                    <a:pt x="207" y="2"/>
                  </a:lnTo>
                  <a:lnTo>
                    <a:pt x="196" y="0"/>
                  </a:lnTo>
                  <a:lnTo>
                    <a:pt x="185" y="0"/>
                  </a:lnTo>
                  <a:lnTo>
                    <a:pt x="176" y="0"/>
                  </a:lnTo>
                  <a:lnTo>
                    <a:pt x="167" y="1"/>
                  </a:lnTo>
                  <a:lnTo>
                    <a:pt x="158" y="3"/>
                  </a:lnTo>
                  <a:lnTo>
                    <a:pt x="150" y="5"/>
                  </a:lnTo>
                  <a:lnTo>
                    <a:pt x="142" y="9"/>
                  </a:lnTo>
                  <a:lnTo>
                    <a:pt x="135" y="12"/>
                  </a:lnTo>
                  <a:lnTo>
                    <a:pt x="127" y="16"/>
                  </a:lnTo>
                  <a:lnTo>
                    <a:pt x="120" y="21"/>
                  </a:lnTo>
                  <a:lnTo>
                    <a:pt x="113" y="26"/>
                  </a:lnTo>
                  <a:lnTo>
                    <a:pt x="107" y="32"/>
                  </a:lnTo>
                  <a:lnTo>
                    <a:pt x="102" y="39"/>
                  </a:lnTo>
                  <a:lnTo>
                    <a:pt x="96" y="45"/>
                  </a:lnTo>
                  <a:lnTo>
                    <a:pt x="91" y="53"/>
                  </a:lnTo>
                  <a:lnTo>
                    <a:pt x="88" y="60"/>
                  </a:lnTo>
                  <a:lnTo>
                    <a:pt x="83" y="68"/>
                  </a:lnTo>
                  <a:lnTo>
                    <a:pt x="80" y="76"/>
                  </a:lnTo>
                  <a:lnTo>
                    <a:pt x="76" y="75"/>
                  </a:lnTo>
                  <a:lnTo>
                    <a:pt x="72" y="75"/>
                  </a:lnTo>
                  <a:lnTo>
                    <a:pt x="64" y="76"/>
                  </a:lnTo>
                  <a:lnTo>
                    <a:pt x="57" y="77"/>
                  </a:lnTo>
                  <a:lnTo>
                    <a:pt x="50" y="78"/>
                  </a:lnTo>
                  <a:lnTo>
                    <a:pt x="44" y="82"/>
                  </a:lnTo>
                  <a:lnTo>
                    <a:pt x="37" y="84"/>
                  </a:lnTo>
                  <a:lnTo>
                    <a:pt x="31" y="88"/>
                  </a:lnTo>
                  <a:lnTo>
                    <a:pt x="25" y="92"/>
                  </a:lnTo>
                  <a:lnTo>
                    <a:pt x="20" y="97"/>
                  </a:lnTo>
                  <a:lnTo>
                    <a:pt x="16" y="102"/>
                  </a:lnTo>
                  <a:lnTo>
                    <a:pt x="11" y="107"/>
                  </a:lnTo>
                  <a:lnTo>
                    <a:pt x="8" y="113"/>
                  </a:lnTo>
                  <a:lnTo>
                    <a:pt x="5" y="119"/>
                  </a:lnTo>
                  <a:lnTo>
                    <a:pt x="3" y="126"/>
                  </a:lnTo>
                  <a:lnTo>
                    <a:pt x="1" y="133"/>
                  </a:lnTo>
                  <a:lnTo>
                    <a:pt x="0" y="141"/>
                  </a:lnTo>
                  <a:lnTo>
                    <a:pt x="0" y="147"/>
                  </a:lnTo>
                  <a:lnTo>
                    <a:pt x="0" y="155"/>
                  </a:lnTo>
                  <a:lnTo>
                    <a:pt x="1" y="161"/>
                  </a:lnTo>
                  <a:lnTo>
                    <a:pt x="2" y="168"/>
                  </a:lnTo>
                  <a:lnTo>
                    <a:pt x="5" y="175"/>
                  </a:lnTo>
                  <a:lnTo>
                    <a:pt x="7" y="180"/>
                  </a:lnTo>
                  <a:lnTo>
                    <a:pt x="10" y="187"/>
                  </a:lnTo>
                  <a:lnTo>
                    <a:pt x="15" y="192"/>
                  </a:lnTo>
                  <a:lnTo>
                    <a:pt x="19" y="196"/>
                  </a:lnTo>
                  <a:lnTo>
                    <a:pt x="24" y="201"/>
                  </a:lnTo>
                  <a:lnTo>
                    <a:pt x="29" y="205"/>
                  </a:lnTo>
                  <a:lnTo>
                    <a:pt x="35" y="208"/>
                  </a:lnTo>
                  <a:lnTo>
                    <a:pt x="40" y="211"/>
                  </a:lnTo>
                  <a:lnTo>
                    <a:pt x="47" y="214"/>
                  </a:lnTo>
                  <a:lnTo>
                    <a:pt x="53" y="216"/>
                  </a:lnTo>
                  <a:lnTo>
                    <a:pt x="60" y="217"/>
                  </a:lnTo>
                  <a:lnTo>
                    <a:pt x="67"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632" name="Group 82">
            <a:extLst>
              <a:ext uri="{FF2B5EF4-FFF2-40B4-BE49-F238E27FC236}">
                <a16:creationId xmlns:a16="http://schemas.microsoft.com/office/drawing/2014/main" id="{C19B85F7-7436-45DB-AE56-ED70008B7DFB}"/>
              </a:ext>
            </a:extLst>
          </p:cNvPr>
          <p:cNvGrpSpPr>
            <a:grpSpLocks noChangeAspect="1"/>
          </p:cNvGrpSpPr>
          <p:nvPr/>
        </p:nvGrpSpPr>
        <p:grpSpPr>
          <a:xfrm>
            <a:off x="4439747" y="3802799"/>
            <a:ext cx="306484" cy="306484"/>
            <a:chOff x="2608263" y="1925638"/>
            <a:chExt cx="287338" cy="287338"/>
          </a:xfrm>
          <a:solidFill>
            <a:schemeClr val="bg1"/>
          </a:solidFill>
          <a:effectLst/>
        </p:grpSpPr>
        <p:sp>
          <p:nvSpPr>
            <p:cNvPr id="633" name="Freeform 39">
              <a:extLst>
                <a:ext uri="{FF2B5EF4-FFF2-40B4-BE49-F238E27FC236}">
                  <a16:creationId xmlns:a16="http://schemas.microsoft.com/office/drawing/2014/main" id="{07A74044-9D4B-494E-BE2B-AF8E1C0C35DA}"/>
                </a:ext>
              </a:extLst>
            </p:cNvPr>
            <p:cNvSpPr>
              <a:spLocks noEditPoints="1"/>
            </p:cNvSpPr>
            <p:nvPr/>
          </p:nvSpPr>
          <p:spPr bwMode="auto">
            <a:xfrm>
              <a:off x="2608263" y="1925638"/>
              <a:ext cx="287338" cy="287338"/>
            </a:xfrm>
            <a:custGeom>
              <a:avLst/>
              <a:gdLst>
                <a:gd name="T0" fmla="*/ 144 w 905"/>
                <a:gd name="T1" fmla="*/ 166 h 905"/>
                <a:gd name="T2" fmla="*/ 107 w 905"/>
                <a:gd name="T3" fmla="*/ 206 h 905"/>
                <a:gd name="T4" fmla="*/ 106 w 905"/>
                <a:gd name="T5" fmla="*/ 214 h 905"/>
                <a:gd name="T6" fmla="*/ 110 w 905"/>
                <a:gd name="T7" fmla="*/ 222 h 905"/>
                <a:gd name="T8" fmla="*/ 117 w 905"/>
                <a:gd name="T9" fmla="*/ 226 h 905"/>
                <a:gd name="T10" fmla="*/ 126 w 905"/>
                <a:gd name="T11" fmla="*/ 225 h 905"/>
                <a:gd name="T12" fmla="*/ 166 w 905"/>
                <a:gd name="T13" fmla="*/ 187 h 905"/>
                <a:gd name="T14" fmla="*/ 198 w 905"/>
                <a:gd name="T15" fmla="*/ 308 h 905"/>
                <a:gd name="T16" fmla="*/ 196 w 905"/>
                <a:gd name="T17" fmla="*/ 316 h 905"/>
                <a:gd name="T18" fmla="*/ 198 w 905"/>
                <a:gd name="T19" fmla="*/ 325 h 905"/>
                <a:gd name="T20" fmla="*/ 206 w 905"/>
                <a:gd name="T21" fmla="*/ 330 h 905"/>
                <a:gd name="T22" fmla="*/ 214 w 905"/>
                <a:gd name="T23" fmla="*/ 331 h 905"/>
                <a:gd name="T24" fmla="*/ 222 w 905"/>
                <a:gd name="T25" fmla="*/ 327 h 905"/>
                <a:gd name="T26" fmla="*/ 291 w 905"/>
                <a:gd name="T27" fmla="*/ 396 h 905"/>
                <a:gd name="T28" fmla="*/ 286 w 905"/>
                <a:gd name="T29" fmla="*/ 405 h 905"/>
                <a:gd name="T30" fmla="*/ 287 w 905"/>
                <a:gd name="T31" fmla="*/ 413 h 905"/>
                <a:gd name="T32" fmla="*/ 293 w 905"/>
                <a:gd name="T33" fmla="*/ 420 h 905"/>
                <a:gd name="T34" fmla="*/ 301 w 905"/>
                <a:gd name="T35" fmla="*/ 422 h 905"/>
                <a:gd name="T36" fmla="*/ 310 w 905"/>
                <a:gd name="T37" fmla="*/ 420 h 905"/>
                <a:gd name="T38" fmla="*/ 432 w 905"/>
                <a:gd name="T39" fmla="*/ 452 h 905"/>
                <a:gd name="T40" fmla="*/ 393 w 905"/>
                <a:gd name="T41" fmla="*/ 492 h 905"/>
                <a:gd name="T42" fmla="*/ 393 w 905"/>
                <a:gd name="T43" fmla="*/ 500 h 905"/>
                <a:gd name="T44" fmla="*/ 396 w 905"/>
                <a:gd name="T45" fmla="*/ 508 h 905"/>
                <a:gd name="T46" fmla="*/ 405 w 905"/>
                <a:gd name="T47" fmla="*/ 512 h 905"/>
                <a:gd name="T48" fmla="*/ 413 w 905"/>
                <a:gd name="T49" fmla="*/ 511 h 905"/>
                <a:gd name="T50" fmla="*/ 452 w 905"/>
                <a:gd name="T51" fmla="*/ 473 h 905"/>
                <a:gd name="T52" fmla="*/ 485 w 905"/>
                <a:gd name="T53" fmla="*/ 595 h 905"/>
                <a:gd name="T54" fmla="*/ 482 w 905"/>
                <a:gd name="T55" fmla="*/ 604 h 905"/>
                <a:gd name="T56" fmla="*/ 485 w 905"/>
                <a:gd name="T57" fmla="*/ 611 h 905"/>
                <a:gd name="T58" fmla="*/ 492 w 905"/>
                <a:gd name="T59" fmla="*/ 617 h 905"/>
                <a:gd name="T60" fmla="*/ 500 w 905"/>
                <a:gd name="T61" fmla="*/ 617 h 905"/>
                <a:gd name="T62" fmla="*/ 508 w 905"/>
                <a:gd name="T63" fmla="*/ 614 h 905"/>
                <a:gd name="T64" fmla="*/ 578 w 905"/>
                <a:gd name="T65" fmla="*/ 683 h 905"/>
                <a:gd name="T66" fmla="*/ 574 w 905"/>
                <a:gd name="T67" fmla="*/ 691 h 905"/>
                <a:gd name="T68" fmla="*/ 575 w 905"/>
                <a:gd name="T69" fmla="*/ 699 h 905"/>
                <a:gd name="T70" fmla="*/ 580 w 905"/>
                <a:gd name="T71" fmla="*/ 707 h 905"/>
                <a:gd name="T72" fmla="*/ 589 w 905"/>
                <a:gd name="T73" fmla="*/ 709 h 905"/>
                <a:gd name="T74" fmla="*/ 596 w 905"/>
                <a:gd name="T75" fmla="*/ 707 h 905"/>
                <a:gd name="T76" fmla="*/ 718 w 905"/>
                <a:gd name="T77" fmla="*/ 739 h 905"/>
                <a:gd name="T78" fmla="*/ 680 w 905"/>
                <a:gd name="T79" fmla="*/ 779 h 905"/>
                <a:gd name="T80" fmla="*/ 679 w 905"/>
                <a:gd name="T81" fmla="*/ 787 h 905"/>
                <a:gd name="T82" fmla="*/ 683 w 905"/>
                <a:gd name="T83" fmla="*/ 795 h 905"/>
                <a:gd name="T84" fmla="*/ 691 w 905"/>
                <a:gd name="T85" fmla="*/ 799 h 905"/>
                <a:gd name="T86" fmla="*/ 699 w 905"/>
                <a:gd name="T87" fmla="*/ 798 h 905"/>
                <a:gd name="T88" fmla="*/ 739 w 905"/>
                <a:gd name="T89" fmla="*/ 761 h 905"/>
                <a:gd name="T90" fmla="*/ 898 w 905"/>
                <a:gd name="T91" fmla="*/ 878 h 905"/>
                <a:gd name="T92" fmla="*/ 19 w 905"/>
                <a:gd name="T93" fmla="*/ 0 h 905"/>
                <a:gd name="T94" fmla="*/ 6 w 905"/>
                <a:gd name="T95" fmla="*/ 3 h 905"/>
                <a:gd name="T96" fmla="*/ 0 w 905"/>
                <a:gd name="T97" fmla="*/ 15 h 905"/>
                <a:gd name="T98" fmla="*/ 1 w 905"/>
                <a:gd name="T99" fmla="*/ 895 h 905"/>
                <a:gd name="T100" fmla="*/ 7 w 905"/>
                <a:gd name="T101" fmla="*/ 902 h 905"/>
                <a:gd name="T102" fmla="*/ 15 w 905"/>
                <a:gd name="T103" fmla="*/ 905 h 905"/>
                <a:gd name="T104" fmla="*/ 890 w 905"/>
                <a:gd name="T105" fmla="*/ 905 h 905"/>
                <a:gd name="T106" fmla="*/ 898 w 905"/>
                <a:gd name="T107" fmla="*/ 902 h 905"/>
                <a:gd name="T108" fmla="*/ 904 w 905"/>
                <a:gd name="T109" fmla="*/ 895 h 905"/>
                <a:gd name="T110" fmla="*/ 905 w 905"/>
                <a:gd name="T111" fmla="*/ 886 h 905"/>
                <a:gd name="T112" fmla="*/ 898 w 905"/>
                <a:gd name="T113" fmla="*/ 878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5" h="905">
                  <a:moveTo>
                    <a:pt x="30" y="874"/>
                  </a:moveTo>
                  <a:lnTo>
                    <a:pt x="30" y="52"/>
                  </a:lnTo>
                  <a:lnTo>
                    <a:pt x="144" y="166"/>
                  </a:lnTo>
                  <a:lnTo>
                    <a:pt x="110" y="200"/>
                  </a:lnTo>
                  <a:lnTo>
                    <a:pt x="108" y="202"/>
                  </a:lnTo>
                  <a:lnTo>
                    <a:pt x="107" y="206"/>
                  </a:lnTo>
                  <a:lnTo>
                    <a:pt x="106" y="208"/>
                  </a:lnTo>
                  <a:lnTo>
                    <a:pt x="106" y="211"/>
                  </a:lnTo>
                  <a:lnTo>
                    <a:pt x="106" y="214"/>
                  </a:lnTo>
                  <a:lnTo>
                    <a:pt x="107" y="216"/>
                  </a:lnTo>
                  <a:lnTo>
                    <a:pt x="108" y="220"/>
                  </a:lnTo>
                  <a:lnTo>
                    <a:pt x="110" y="222"/>
                  </a:lnTo>
                  <a:lnTo>
                    <a:pt x="112" y="224"/>
                  </a:lnTo>
                  <a:lnTo>
                    <a:pt x="115" y="225"/>
                  </a:lnTo>
                  <a:lnTo>
                    <a:pt x="117" y="226"/>
                  </a:lnTo>
                  <a:lnTo>
                    <a:pt x="121" y="226"/>
                  </a:lnTo>
                  <a:lnTo>
                    <a:pt x="124" y="226"/>
                  </a:lnTo>
                  <a:lnTo>
                    <a:pt x="126" y="225"/>
                  </a:lnTo>
                  <a:lnTo>
                    <a:pt x="129" y="224"/>
                  </a:lnTo>
                  <a:lnTo>
                    <a:pt x="131" y="222"/>
                  </a:lnTo>
                  <a:lnTo>
                    <a:pt x="166" y="187"/>
                  </a:lnTo>
                  <a:lnTo>
                    <a:pt x="242" y="264"/>
                  </a:lnTo>
                  <a:lnTo>
                    <a:pt x="200" y="306"/>
                  </a:lnTo>
                  <a:lnTo>
                    <a:pt x="198" y="308"/>
                  </a:lnTo>
                  <a:lnTo>
                    <a:pt x="197" y="311"/>
                  </a:lnTo>
                  <a:lnTo>
                    <a:pt x="196" y="314"/>
                  </a:lnTo>
                  <a:lnTo>
                    <a:pt x="196" y="316"/>
                  </a:lnTo>
                  <a:lnTo>
                    <a:pt x="196" y="320"/>
                  </a:lnTo>
                  <a:lnTo>
                    <a:pt x="197" y="323"/>
                  </a:lnTo>
                  <a:lnTo>
                    <a:pt x="198" y="325"/>
                  </a:lnTo>
                  <a:lnTo>
                    <a:pt x="200" y="327"/>
                  </a:lnTo>
                  <a:lnTo>
                    <a:pt x="202" y="329"/>
                  </a:lnTo>
                  <a:lnTo>
                    <a:pt x="206" y="330"/>
                  </a:lnTo>
                  <a:lnTo>
                    <a:pt x="208" y="331"/>
                  </a:lnTo>
                  <a:lnTo>
                    <a:pt x="211" y="331"/>
                  </a:lnTo>
                  <a:lnTo>
                    <a:pt x="214" y="331"/>
                  </a:lnTo>
                  <a:lnTo>
                    <a:pt x="216" y="330"/>
                  </a:lnTo>
                  <a:lnTo>
                    <a:pt x="220" y="329"/>
                  </a:lnTo>
                  <a:lnTo>
                    <a:pt x="222" y="327"/>
                  </a:lnTo>
                  <a:lnTo>
                    <a:pt x="264" y="285"/>
                  </a:lnTo>
                  <a:lnTo>
                    <a:pt x="333" y="354"/>
                  </a:lnTo>
                  <a:lnTo>
                    <a:pt x="291" y="396"/>
                  </a:lnTo>
                  <a:lnTo>
                    <a:pt x="289" y="399"/>
                  </a:lnTo>
                  <a:lnTo>
                    <a:pt x="287" y="401"/>
                  </a:lnTo>
                  <a:lnTo>
                    <a:pt x="286" y="405"/>
                  </a:lnTo>
                  <a:lnTo>
                    <a:pt x="286" y="407"/>
                  </a:lnTo>
                  <a:lnTo>
                    <a:pt x="286" y="410"/>
                  </a:lnTo>
                  <a:lnTo>
                    <a:pt x="287" y="413"/>
                  </a:lnTo>
                  <a:lnTo>
                    <a:pt x="289" y="415"/>
                  </a:lnTo>
                  <a:lnTo>
                    <a:pt x="291" y="417"/>
                  </a:lnTo>
                  <a:lnTo>
                    <a:pt x="293" y="420"/>
                  </a:lnTo>
                  <a:lnTo>
                    <a:pt x="296" y="421"/>
                  </a:lnTo>
                  <a:lnTo>
                    <a:pt x="298" y="422"/>
                  </a:lnTo>
                  <a:lnTo>
                    <a:pt x="301" y="422"/>
                  </a:lnTo>
                  <a:lnTo>
                    <a:pt x="305" y="422"/>
                  </a:lnTo>
                  <a:lnTo>
                    <a:pt x="307" y="421"/>
                  </a:lnTo>
                  <a:lnTo>
                    <a:pt x="310" y="420"/>
                  </a:lnTo>
                  <a:lnTo>
                    <a:pt x="312" y="417"/>
                  </a:lnTo>
                  <a:lnTo>
                    <a:pt x="354" y="376"/>
                  </a:lnTo>
                  <a:lnTo>
                    <a:pt x="432" y="452"/>
                  </a:lnTo>
                  <a:lnTo>
                    <a:pt x="396" y="486"/>
                  </a:lnTo>
                  <a:lnTo>
                    <a:pt x="395" y="490"/>
                  </a:lnTo>
                  <a:lnTo>
                    <a:pt x="393" y="492"/>
                  </a:lnTo>
                  <a:lnTo>
                    <a:pt x="393" y="495"/>
                  </a:lnTo>
                  <a:lnTo>
                    <a:pt x="392" y="497"/>
                  </a:lnTo>
                  <a:lnTo>
                    <a:pt x="393" y="500"/>
                  </a:lnTo>
                  <a:lnTo>
                    <a:pt x="393" y="504"/>
                  </a:lnTo>
                  <a:lnTo>
                    <a:pt x="395" y="506"/>
                  </a:lnTo>
                  <a:lnTo>
                    <a:pt x="396" y="508"/>
                  </a:lnTo>
                  <a:lnTo>
                    <a:pt x="399" y="510"/>
                  </a:lnTo>
                  <a:lnTo>
                    <a:pt x="401" y="511"/>
                  </a:lnTo>
                  <a:lnTo>
                    <a:pt x="405" y="512"/>
                  </a:lnTo>
                  <a:lnTo>
                    <a:pt x="407" y="513"/>
                  </a:lnTo>
                  <a:lnTo>
                    <a:pt x="410" y="512"/>
                  </a:lnTo>
                  <a:lnTo>
                    <a:pt x="413" y="511"/>
                  </a:lnTo>
                  <a:lnTo>
                    <a:pt x="415" y="510"/>
                  </a:lnTo>
                  <a:lnTo>
                    <a:pt x="418" y="508"/>
                  </a:lnTo>
                  <a:lnTo>
                    <a:pt x="452" y="473"/>
                  </a:lnTo>
                  <a:lnTo>
                    <a:pt x="529" y="551"/>
                  </a:lnTo>
                  <a:lnTo>
                    <a:pt x="486" y="593"/>
                  </a:lnTo>
                  <a:lnTo>
                    <a:pt x="485" y="595"/>
                  </a:lnTo>
                  <a:lnTo>
                    <a:pt x="483" y="597"/>
                  </a:lnTo>
                  <a:lnTo>
                    <a:pt x="483" y="600"/>
                  </a:lnTo>
                  <a:lnTo>
                    <a:pt x="482" y="604"/>
                  </a:lnTo>
                  <a:lnTo>
                    <a:pt x="483" y="606"/>
                  </a:lnTo>
                  <a:lnTo>
                    <a:pt x="483" y="609"/>
                  </a:lnTo>
                  <a:lnTo>
                    <a:pt x="485" y="611"/>
                  </a:lnTo>
                  <a:lnTo>
                    <a:pt x="486" y="614"/>
                  </a:lnTo>
                  <a:lnTo>
                    <a:pt x="490" y="615"/>
                  </a:lnTo>
                  <a:lnTo>
                    <a:pt x="492" y="617"/>
                  </a:lnTo>
                  <a:lnTo>
                    <a:pt x="495" y="617"/>
                  </a:lnTo>
                  <a:lnTo>
                    <a:pt x="497" y="619"/>
                  </a:lnTo>
                  <a:lnTo>
                    <a:pt x="500" y="617"/>
                  </a:lnTo>
                  <a:lnTo>
                    <a:pt x="504" y="617"/>
                  </a:lnTo>
                  <a:lnTo>
                    <a:pt x="506" y="615"/>
                  </a:lnTo>
                  <a:lnTo>
                    <a:pt x="508" y="614"/>
                  </a:lnTo>
                  <a:lnTo>
                    <a:pt x="550" y="571"/>
                  </a:lnTo>
                  <a:lnTo>
                    <a:pt x="620" y="641"/>
                  </a:lnTo>
                  <a:lnTo>
                    <a:pt x="578" y="683"/>
                  </a:lnTo>
                  <a:lnTo>
                    <a:pt x="576" y="685"/>
                  </a:lnTo>
                  <a:lnTo>
                    <a:pt x="575" y="687"/>
                  </a:lnTo>
                  <a:lnTo>
                    <a:pt x="574" y="691"/>
                  </a:lnTo>
                  <a:lnTo>
                    <a:pt x="574" y="694"/>
                  </a:lnTo>
                  <a:lnTo>
                    <a:pt x="574" y="696"/>
                  </a:lnTo>
                  <a:lnTo>
                    <a:pt x="575" y="699"/>
                  </a:lnTo>
                  <a:lnTo>
                    <a:pt x="576" y="702"/>
                  </a:lnTo>
                  <a:lnTo>
                    <a:pt x="578" y="705"/>
                  </a:lnTo>
                  <a:lnTo>
                    <a:pt x="580" y="707"/>
                  </a:lnTo>
                  <a:lnTo>
                    <a:pt x="582" y="708"/>
                  </a:lnTo>
                  <a:lnTo>
                    <a:pt x="585" y="709"/>
                  </a:lnTo>
                  <a:lnTo>
                    <a:pt x="589" y="709"/>
                  </a:lnTo>
                  <a:lnTo>
                    <a:pt x="591" y="709"/>
                  </a:lnTo>
                  <a:lnTo>
                    <a:pt x="594" y="708"/>
                  </a:lnTo>
                  <a:lnTo>
                    <a:pt x="596" y="707"/>
                  </a:lnTo>
                  <a:lnTo>
                    <a:pt x="598" y="705"/>
                  </a:lnTo>
                  <a:lnTo>
                    <a:pt x="641" y="662"/>
                  </a:lnTo>
                  <a:lnTo>
                    <a:pt x="718" y="739"/>
                  </a:lnTo>
                  <a:lnTo>
                    <a:pt x="683" y="773"/>
                  </a:lnTo>
                  <a:lnTo>
                    <a:pt x="681" y="776"/>
                  </a:lnTo>
                  <a:lnTo>
                    <a:pt x="680" y="779"/>
                  </a:lnTo>
                  <a:lnTo>
                    <a:pt x="679" y="781"/>
                  </a:lnTo>
                  <a:lnTo>
                    <a:pt x="679" y="784"/>
                  </a:lnTo>
                  <a:lnTo>
                    <a:pt x="679" y="787"/>
                  </a:lnTo>
                  <a:lnTo>
                    <a:pt x="680" y="790"/>
                  </a:lnTo>
                  <a:lnTo>
                    <a:pt x="681" y="793"/>
                  </a:lnTo>
                  <a:lnTo>
                    <a:pt x="683" y="795"/>
                  </a:lnTo>
                  <a:lnTo>
                    <a:pt x="685" y="797"/>
                  </a:lnTo>
                  <a:lnTo>
                    <a:pt x="688" y="798"/>
                  </a:lnTo>
                  <a:lnTo>
                    <a:pt x="691" y="799"/>
                  </a:lnTo>
                  <a:lnTo>
                    <a:pt x="694" y="799"/>
                  </a:lnTo>
                  <a:lnTo>
                    <a:pt x="696" y="799"/>
                  </a:lnTo>
                  <a:lnTo>
                    <a:pt x="699" y="798"/>
                  </a:lnTo>
                  <a:lnTo>
                    <a:pt x="702" y="797"/>
                  </a:lnTo>
                  <a:lnTo>
                    <a:pt x="705" y="795"/>
                  </a:lnTo>
                  <a:lnTo>
                    <a:pt x="739" y="761"/>
                  </a:lnTo>
                  <a:lnTo>
                    <a:pt x="853" y="874"/>
                  </a:lnTo>
                  <a:lnTo>
                    <a:pt x="30" y="874"/>
                  </a:lnTo>
                  <a:close/>
                  <a:moveTo>
                    <a:pt x="898" y="878"/>
                  </a:moveTo>
                  <a:lnTo>
                    <a:pt x="26" y="5"/>
                  </a:lnTo>
                  <a:lnTo>
                    <a:pt x="22" y="1"/>
                  </a:lnTo>
                  <a:lnTo>
                    <a:pt x="19" y="0"/>
                  </a:lnTo>
                  <a:lnTo>
                    <a:pt x="13" y="0"/>
                  </a:lnTo>
                  <a:lnTo>
                    <a:pt x="9" y="1"/>
                  </a:lnTo>
                  <a:lnTo>
                    <a:pt x="6" y="3"/>
                  </a:lnTo>
                  <a:lnTo>
                    <a:pt x="2" y="7"/>
                  </a:lnTo>
                  <a:lnTo>
                    <a:pt x="0" y="11"/>
                  </a:lnTo>
                  <a:lnTo>
                    <a:pt x="0" y="15"/>
                  </a:lnTo>
                  <a:lnTo>
                    <a:pt x="0" y="890"/>
                  </a:lnTo>
                  <a:lnTo>
                    <a:pt x="0" y="893"/>
                  </a:lnTo>
                  <a:lnTo>
                    <a:pt x="1" y="895"/>
                  </a:lnTo>
                  <a:lnTo>
                    <a:pt x="2" y="898"/>
                  </a:lnTo>
                  <a:lnTo>
                    <a:pt x="5" y="900"/>
                  </a:lnTo>
                  <a:lnTo>
                    <a:pt x="7" y="902"/>
                  </a:lnTo>
                  <a:lnTo>
                    <a:pt x="9" y="904"/>
                  </a:lnTo>
                  <a:lnTo>
                    <a:pt x="12" y="905"/>
                  </a:lnTo>
                  <a:lnTo>
                    <a:pt x="15" y="905"/>
                  </a:lnTo>
                  <a:lnTo>
                    <a:pt x="890" y="905"/>
                  </a:lnTo>
                  <a:lnTo>
                    <a:pt x="890" y="905"/>
                  </a:lnTo>
                  <a:lnTo>
                    <a:pt x="890" y="905"/>
                  </a:lnTo>
                  <a:lnTo>
                    <a:pt x="893" y="905"/>
                  </a:lnTo>
                  <a:lnTo>
                    <a:pt x="896" y="904"/>
                  </a:lnTo>
                  <a:lnTo>
                    <a:pt x="898" y="902"/>
                  </a:lnTo>
                  <a:lnTo>
                    <a:pt x="901" y="900"/>
                  </a:lnTo>
                  <a:lnTo>
                    <a:pt x="903" y="898"/>
                  </a:lnTo>
                  <a:lnTo>
                    <a:pt x="904" y="895"/>
                  </a:lnTo>
                  <a:lnTo>
                    <a:pt x="905" y="893"/>
                  </a:lnTo>
                  <a:lnTo>
                    <a:pt x="905" y="890"/>
                  </a:lnTo>
                  <a:lnTo>
                    <a:pt x="905" y="886"/>
                  </a:lnTo>
                  <a:lnTo>
                    <a:pt x="904" y="882"/>
                  </a:lnTo>
                  <a:lnTo>
                    <a:pt x="902" y="880"/>
                  </a:lnTo>
                  <a:lnTo>
                    <a:pt x="898" y="8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40">
              <a:extLst>
                <a:ext uri="{FF2B5EF4-FFF2-40B4-BE49-F238E27FC236}">
                  <a16:creationId xmlns:a16="http://schemas.microsoft.com/office/drawing/2014/main" id="{0E4D2D51-F88C-47B5-AAE5-1389B7450AEA}"/>
                </a:ext>
              </a:extLst>
            </p:cNvPr>
            <p:cNvSpPr>
              <a:spLocks noEditPoints="1"/>
            </p:cNvSpPr>
            <p:nvPr/>
          </p:nvSpPr>
          <p:spPr bwMode="auto">
            <a:xfrm>
              <a:off x="2647950" y="2041525"/>
              <a:ext cx="133350" cy="133350"/>
            </a:xfrm>
            <a:custGeom>
              <a:avLst/>
              <a:gdLst>
                <a:gd name="T0" fmla="*/ 30 w 421"/>
                <a:gd name="T1" fmla="*/ 392 h 422"/>
                <a:gd name="T2" fmla="*/ 30 w 421"/>
                <a:gd name="T3" fmla="*/ 51 h 422"/>
                <a:gd name="T4" fmla="*/ 371 w 421"/>
                <a:gd name="T5" fmla="*/ 392 h 422"/>
                <a:gd name="T6" fmla="*/ 30 w 421"/>
                <a:gd name="T7" fmla="*/ 392 h 422"/>
                <a:gd name="T8" fmla="*/ 26 w 421"/>
                <a:gd name="T9" fmla="*/ 4 h 422"/>
                <a:gd name="T10" fmla="*/ 22 w 421"/>
                <a:gd name="T11" fmla="*/ 2 h 422"/>
                <a:gd name="T12" fmla="*/ 18 w 421"/>
                <a:gd name="T13" fmla="*/ 1 h 422"/>
                <a:gd name="T14" fmla="*/ 14 w 421"/>
                <a:gd name="T15" fmla="*/ 0 h 422"/>
                <a:gd name="T16" fmla="*/ 9 w 421"/>
                <a:gd name="T17" fmla="*/ 1 h 422"/>
                <a:gd name="T18" fmla="*/ 5 w 421"/>
                <a:gd name="T19" fmla="*/ 4 h 422"/>
                <a:gd name="T20" fmla="*/ 2 w 421"/>
                <a:gd name="T21" fmla="*/ 7 h 422"/>
                <a:gd name="T22" fmla="*/ 1 w 421"/>
                <a:gd name="T23" fmla="*/ 10 h 422"/>
                <a:gd name="T24" fmla="*/ 0 w 421"/>
                <a:gd name="T25" fmla="*/ 15 h 422"/>
                <a:gd name="T26" fmla="*/ 0 w 421"/>
                <a:gd name="T27" fmla="*/ 407 h 422"/>
                <a:gd name="T28" fmla="*/ 0 w 421"/>
                <a:gd name="T29" fmla="*/ 410 h 422"/>
                <a:gd name="T30" fmla="*/ 1 w 421"/>
                <a:gd name="T31" fmla="*/ 412 h 422"/>
                <a:gd name="T32" fmla="*/ 2 w 421"/>
                <a:gd name="T33" fmla="*/ 416 h 422"/>
                <a:gd name="T34" fmla="*/ 4 w 421"/>
                <a:gd name="T35" fmla="*/ 418 h 422"/>
                <a:gd name="T36" fmla="*/ 6 w 421"/>
                <a:gd name="T37" fmla="*/ 419 h 422"/>
                <a:gd name="T38" fmla="*/ 8 w 421"/>
                <a:gd name="T39" fmla="*/ 421 h 422"/>
                <a:gd name="T40" fmla="*/ 12 w 421"/>
                <a:gd name="T41" fmla="*/ 422 h 422"/>
                <a:gd name="T42" fmla="*/ 15 w 421"/>
                <a:gd name="T43" fmla="*/ 422 h 422"/>
                <a:gd name="T44" fmla="*/ 406 w 421"/>
                <a:gd name="T45" fmla="*/ 422 h 422"/>
                <a:gd name="T46" fmla="*/ 412 w 421"/>
                <a:gd name="T47" fmla="*/ 421 h 422"/>
                <a:gd name="T48" fmla="*/ 415 w 421"/>
                <a:gd name="T49" fmla="*/ 419 h 422"/>
                <a:gd name="T50" fmla="*/ 418 w 421"/>
                <a:gd name="T51" fmla="*/ 417 h 422"/>
                <a:gd name="T52" fmla="*/ 420 w 421"/>
                <a:gd name="T53" fmla="*/ 412 h 422"/>
                <a:gd name="T54" fmla="*/ 421 w 421"/>
                <a:gd name="T55" fmla="*/ 408 h 422"/>
                <a:gd name="T56" fmla="*/ 421 w 421"/>
                <a:gd name="T57" fmla="*/ 404 h 422"/>
                <a:gd name="T58" fmla="*/ 420 w 421"/>
                <a:gd name="T59" fmla="*/ 400 h 422"/>
                <a:gd name="T60" fmla="*/ 417 w 421"/>
                <a:gd name="T61" fmla="*/ 396 h 422"/>
                <a:gd name="T62" fmla="*/ 26 w 421"/>
                <a:gd name="T63" fmla="*/ 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1" h="422">
                  <a:moveTo>
                    <a:pt x="30" y="392"/>
                  </a:moveTo>
                  <a:lnTo>
                    <a:pt x="30" y="51"/>
                  </a:lnTo>
                  <a:lnTo>
                    <a:pt x="371" y="392"/>
                  </a:lnTo>
                  <a:lnTo>
                    <a:pt x="30" y="392"/>
                  </a:lnTo>
                  <a:close/>
                  <a:moveTo>
                    <a:pt x="26" y="4"/>
                  </a:moveTo>
                  <a:lnTo>
                    <a:pt x="22" y="2"/>
                  </a:lnTo>
                  <a:lnTo>
                    <a:pt x="18" y="1"/>
                  </a:lnTo>
                  <a:lnTo>
                    <a:pt x="14" y="0"/>
                  </a:lnTo>
                  <a:lnTo>
                    <a:pt x="9" y="1"/>
                  </a:lnTo>
                  <a:lnTo>
                    <a:pt x="5" y="4"/>
                  </a:lnTo>
                  <a:lnTo>
                    <a:pt x="2" y="7"/>
                  </a:lnTo>
                  <a:lnTo>
                    <a:pt x="1" y="10"/>
                  </a:lnTo>
                  <a:lnTo>
                    <a:pt x="0" y="15"/>
                  </a:lnTo>
                  <a:lnTo>
                    <a:pt x="0" y="407"/>
                  </a:lnTo>
                  <a:lnTo>
                    <a:pt x="0" y="410"/>
                  </a:lnTo>
                  <a:lnTo>
                    <a:pt x="1" y="412"/>
                  </a:lnTo>
                  <a:lnTo>
                    <a:pt x="2" y="416"/>
                  </a:lnTo>
                  <a:lnTo>
                    <a:pt x="4" y="418"/>
                  </a:lnTo>
                  <a:lnTo>
                    <a:pt x="6" y="419"/>
                  </a:lnTo>
                  <a:lnTo>
                    <a:pt x="8" y="421"/>
                  </a:lnTo>
                  <a:lnTo>
                    <a:pt x="12" y="422"/>
                  </a:lnTo>
                  <a:lnTo>
                    <a:pt x="15" y="422"/>
                  </a:lnTo>
                  <a:lnTo>
                    <a:pt x="406" y="422"/>
                  </a:lnTo>
                  <a:lnTo>
                    <a:pt x="412" y="421"/>
                  </a:lnTo>
                  <a:lnTo>
                    <a:pt x="415" y="419"/>
                  </a:lnTo>
                  <a:lnTo>
                    <a:pt x="418" y="417"/>
                  </a:lnTo>
                  <a:lnTo>
                    <a:pt x="420" y="412"/>
                  </a:lnTo>
                  <a:lnTo>
                    <a:pt x="421" y="408"/>
                  </a:lnTo>
                  <a:lnTo>
                    <a:pt x="421" y="404"/>
                  </a:lnTo>
                  <a:lnTo>
                    <a:pt x="420" y="400"/>
                  </a:lnTo>
                  <a:lnTo>
                    <a:pt x="417" y="396"/>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5" name="Group 85">
            <a:extLst>
              <a:ext uri="{FF2B5EF4-FFF2-40B4-BE49-F238E27FC236}">
                <a16:creationId xmlns:a16="http://schemas.microsoft.com/office/drawing/2014/main" id="{16EA200D-EDD0-474D-9690-25A9F6931FBC}"/>
              </a:ext>
            </a:extLst>
          </p:cNvPr>
          <p:cNvGrpSpPr>
            <a:grpSpLocks noChangeAspect="1"/>
          </p:cNvGrpSpPr>
          <p:nvPr/>
        </p:nvGrpSpPr>
        <p:grpSpPr>
          <a:xfrm>
            <a:off x="4061961" y="3802799"/>
            <a:ext cx="250603" cy="306484"/>
            <a:chOff x="3221038" y="777875"/>
            <a:chExt cx="234950" cy="287338"/>
          </a:xfrm>
          <a:solidFill>
            <a:schemeClr val="bg1"/>
          </a:solidFill>
          <a:effectLst/>
        </p:grpSpPr>
        <p:sp>
          <p:nvSpPr>
            <p:cNvPr id="636" name="Freeform 41">
              <a:extLst>
                <a:ext uri="{FF2B5EF4-FFF2-40B4-BE49-F238E27FC236}">
                  <a16:creationId xmlns:a16="http://schemas.microsoft.com/office/drawing/2014/main" id="{EF2163F0-AFBA-4BFE-8204-ED3E65EF17A6}"/>
                </a:ext>
              </a:extLst>
            </p:cNvPr>
            <p:cNvSpPr>
              <a:spLocks noEditPoints="1"/>
            </p:cNvSpPr>
            <p:nvPr/>
          </p:nvSpPr>
          <p:spPr bwMode="auto">
            <a:xfrm>
              <a:off x="3221038" y="825500"/>
              <a:ext cx="106363" cy="239713"/>
            </a:xfrm>
            <a:custGeom>
              <a:avLst/>
              <a:gdLst>
                <a:gd name="T0" fmla="*/ 30 w 332"/>
                <a:gd name="T1" fmla="*/ 724 h 754"/>
                <a:gd name="T2" fmla="*/ 75 w 332"/>
                <a:gd name="T3" fmla="*/ 271 h 754"/>
                <a:gd name="T4" fmla="*/ 272 w 332"/>
                <a:gd name="T5" fmla="*/ 271 h 754"/>
                <a:gd name="T6" fmla="*/ 302 w 332"/>
                <a:gd name="T7" fmla="*/ 724 h 754"/>
                <a:gd name="T8" fmla="*/ 231 w 332"/>
                <a:gd name="T9" fmla="*/ 181 h 754"/>
                <a:gd name="T10" fmla="*/ 97 w 332"/>
                <a:gd name="T11" fmla="*/ 241 h 754"/>
                <a:gd name="T12" fmla="*/ 152 w 332"/>
                <a:gd name="T13" fmla="*/ 31 h 754"/>
                <a:gd name="T14" fmla="*/ 182 w 332"/>
                <a:gd name="T15" fmla="*/ 61 h 754"/>
                <a:gd name="T16" fmla="*/ 152 w 332"/>
                <a:gd name="T17" fmla="*/ 31 h 754"/>
                <a:gd name="T18" fmla="*/ 283 w 332"/>
                <a:gd name="T19" fmla="*/ 241 h 754"/>
                <a:gd name="T20" fmla="*/ 254 w 332"/>
                <a:gd name="T21" fmla="*/ 157 h 754"/>
                <a:gd name="T22" fmla="*/ 246 w 332"/>
                <a:gd name="T23" fmla="*/ 152 h 754"/>
                <a:gd name="T24" fmla="*/ 182 w 332"/>
                <a:gd name="T25" fmla="*/ 151 h 754"/>
                <a:gd name="T26" fmla="*/ 197 w 332"/>
                <a:gd name="T27" fmla="*/ 91 h 754"/>
                <a:gd name="T28" fmla="*/ 202 w 332"/>
                <a:gd name="T29" fmla="*/ 90 h 754"/>
                <a:gd name="T30" fmla="*/ 206 w 332"/>
                <a:gd name="T31" fmla="*/ 86 h 754"/>
                <a:gd name="T32" fmla="*/ 210 w 332"/>
                <a:gd name="T33" fmla="*/ 82 h 754"/>
                <a:gd name="T34" fmla="*/ 212 w 332"/>
                <a:gd name="T35" fmla="*/ 76 h 754"/>
                <a:gd name="T36" fmla="*/ 211 w 332"/>
                <a:gd name="T37" fmla="*/ 12 h 754"/>
                <a:gd name="T38" fmla="*/ 209 w 332"/>
                <a:gd name="T39" fmla="*/ 7 h 754"/>
                <a:gd name="T40" fmla="*/ 204 w 332"/>
                <a:gd name="T41" fmla="*/ 4 h 754"/>
                <a:gd name="T42" fmla="*/ 199 w 332"/>
                <a:gd name="T43" fmla="*/ 0 h 754"/>
                <a:gd name="T44" fmla="*/ 137 w 332"/>
                <a:gd name="T45" fmla="*/ 0 h 754"/>
                <a:gd name="T46" fmla="*/ 130 w 332"/>
                <a:gd name="T47" fmla="*/ 1 h 754"/>
                <a:gd name="T48" fmla="*/ 126 w 332"/>
                <a:gd name="T49" fmla="*/ 5 h 754"/>
                <a:gd name="T50" fmla="*/ 123 w 332"/>
                <a:gd name="T51" fmla="*/ 10 h 754"/>
                <a:gd name="T52" fmla="*/ 120 w 332"/>
                <a:gd name="T53" fmla="*/ 15 h 754"/>
                <a:gd name="T54" fmla="*/ 121 w 332"/>
                <a:gd name="T55" fmla="*/ 79 h 754"/>
                <a:gd name="T56" fmla="*/ 124 w 332"/>
                <a:gd name="T57" fmla="*/ 84 h 754"/>
                <a:gd name="T58" fmla="*/ 128 w 332"/>
                <a:gd name="T59" fmla="*/ 89 h 754"/>
                <a:gd name="T60" fmla="*/ 133 w 332"/>
                <a:gd name="T61" fmla="*/ 91 h 754"/>
                <a:gd name="T62" fmla="*/ 152 w 332"/>
                <a:gd name="T63" fmla="*/ 91 h 754"/>
                <a:gd name="T64" fmla="*/ 105 w 332"/>
                <a:gd name="T65" fmla="*/ 151 h 754"/>
                <a:gd name="T66" fmla="*/ 97 w 332"/>
                <a:gd name="T67" fmla="*/ 154 h 754"/>
                <a:gd name="T68" fmla="*/ 91 w 332"/>
                <a:gd name="T69" fmla="*/ 162 h 754"/>
                <a:gd name="T70" fmla="*/ 15 w 332"/>
                <a:gd name="T71" fmla="*/ 241 h 754"/>
                <a:gd name="T72" fmla="*/ 10 w 332"/>
                <a:gd name="T73" fmla="*/ 243 h 754"/>
                <a:gd name="T74" fmla="*/ 4 w 332"/>
                <a:gd name="T75" fmla="*/ 247 h 754"/>
                <a:gd name="T76" fmla="*/ 1 w 332"/>
                <a:gd name="T77" fmla="*/ 251 h 754"/>
                <a:gd name="T78" fmla="*/ 0 w 332"/>
                <a:gd name="T79" fmla="*/ 256 h 754"/>
                <a:gd name="T80" fmla="*/ 1 w 332"/>
                <a:gd name="T81" fmla="*/ 742 h 754"/>
                <a:gd name="T82" fmla="*/ 3 w 332"/>
                <a:gd name="T83" fmla="*/ 748 h 754"/>
                <a:gd name="T84" fmla="*/ 6 w 332"/>
                <a:gd name="T85" fmla="*/ 752 h 754"/>
                <a:gd name="T86" fmla="*/ 13 w 332"/>
                <a:gd name="T87" fmla="*/ 754 h 754"/>
                <a:gd name="T88" fmla="*/ 317 w 332"/>
                <a:gd name="T89" fmla="*/ 754 h 754"/>
                <a:gd name="T90" fmla="*/ 323 w 332"/>
                <a:gd name="T91" fmla="*/ 753 h 754"/>
                <a:gd name="T92" fmla="*/ 328 w 332"/>
                <a:gd name="T93" fmla="*/ 750 h 754"/>
                <a:gd name="T94" fmla="*/ 331 w 332"/>
                <a:gd name="T95" fmla="*/ 746 h 754"/>
                <a:gd name="T96" fmla="*/ 332 w 332"/>
                <a:gd name="T97" fmla="*/ 739 h 754"/>
                <a:gd name="T98" fmla="*/ 331 w 332"/>
                <a:gd name="T99" fmla="*/ 254 h 754"/>
                <a:gd name="T100" fmla="*/ 329 w 332"/>
                <a:gd name="T101" fmla="*/ 249 h 754"/>
                <a:gd name="T102" fmla="*/ 326 w 332"/>
                <a:gd name="T103" fmla="*/ 245 h 754"/>
                <a:gd name="T104" fmla="*/ 320 w 332"/>
                <a:gd name="T105" fmla="*/ 24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2" h="754">
                  <a:moveTo>
                    <a:pt x="302" y="724"/>
                  </a:moveTo>
                  <a:lnTo>
                    <a:pt x="30" y="724"/>
                  </a:lnTo>
                  <a:lnTo>
                    <a:pt x="30" y="271"/>
                  </a:lnTo>
                  <a:lnTo>
                    <a:pt x="75" y="271"/>
                  </a:lnTo>
                  <a:lnTo>
                    <a:pt x="272" y="271"/>
                  </a:lnTo>
                  <a:lnTo>
                    <a:pt x="272" y="271"/>
                  </a:lnTo>
                  <a:lnTo>
                    <a:pt x="302" y="271"/>
                  </a:lnTo>
                  <a:lnTo>
                    <a:pt x="302" y="724"/>
                  </a:lnTo>
                  <a:close/>
                  <a:moveTo>
                    <a:pt x="117" y="181"/>
                  </a:moveTo>
                  <a:lnTo>
                    <a:pt x="231" y="181"/>
                  </a:lnTo>
                  <a:lnTo>
                    <a:pt x="251" y="241"/>
                  </a:lnTo>
                  <a:lnTo>
                    <a:pt x="97" y="241"/>
                  </a:lnTo>
                  <a:lnTo>
                    <a:pt x="117" y="181"/>
                  </a:lnTo>
                  <a:close/>
                  <a:moveTo>
                    <a:pt x="152" y="31"/>
                  </a:moveTo>
                  <a:lnTo>
                    <a:pt x="182" y="31"/>
                  </a:lnTo>
                  <a:lnTo>
                    <a:pt x="182" y="61"/>
                  </a:lnTo>
                  <a:lnTo>
                    <a:pt x="152" y="61"/>
                  </a:lnTo>
                  <a:lnTo>
                    <a:pt x="152" y="31"/>
                  </a:lnTo>
                  <a:close/>
                  <a:moveTo>
                    <a:pt x="317" y="241"/>
                  </a:moveTo>
                  <a:lnTo>
                    <a:pt x="283" y="241"/>
                  </a:lnTo>
                  <a:lnTo>
                    <a:pt x="256" y="162"/>
                  </a:lnTo>
                  <a:lnTo>
                    <a:pt x="254" y="157"/>
                  </a:lnTo>
                  <a:lnTo>
                    <a:pt x="251" y="154"/>
                  </a:lnTo>
                  <a:lnTo>
                    <a:pt x="246" y="152"/>
                  </a:lnTo>
                  <a:lnTo>
                    <a:pt x="242" y="151"/>
                  </a:lnTo>
                  <a:lnTo>
                    <a:pt x="182" y="151"/>
                  </a:lnTo>
                  <a:lnTo>
                    <a:pt x="182" y="91"/>
                  </a:lnTo>
                  <a:lnTo>
                    <a:pt x="197" y="91"/>
                  </a:lnTo>
                  <a:lnTo>
                    <a:pt x="199" y="91"/>
                  </a:lnTo>
                  <a:lnTo>
                    <a:pt x="202" y="90"/>
                  </a:lnTo>
                  <a:lnTo>
                    <a:pt x="204" y="89"/>
                  </a:lnTo>
                  <a:lnTo>
                    <a:pt x="206" y="86"/>
                  </a:lnTo>
                  <a:lnTo>
                    <a:pt x="209" y="84"/>
                  </a:lnTo>
                  <a:lnTo>
                    <a:pt x="210" y="82"/>
                  </a:lnTo>
                  <a:lnTo>
                    <a:pt x="211" y="79"/>
                  </a:lnTo>
                  <a:lnTo>
                    <a:pt x="212" y="76"/>
                  </a:lnTo>
                  <a:lnTo>
                    <a:pt x="212" y="15"/>
                  </a:lnTo>
                  <a:lnTo>
                    <a:pt x="211" y="12"/>
                  </a:lnTo>
                  <a:lnTo>
                    <a:pt x="210" y="10"/>
                  </a:lnTo>
                  <a:lnTo>
                    <a:pt x="209" y="7"/>
                  </a:lnTo>
                  <a:lnTo>
                    <a:pt x="206" y="5"/>
                  </a:lnTo>
                  <a:lnTo>
                    <a:pt x="204" y="4"/>
                  </a:lnTo>
                  <a:lnTo>
                    <a:pt x="202" y="1"/>
                  </a:lnTo>
                  <a:lnTo>
                    <a:pt x="199" y="0"/>
                  </a:lnTo>
                  <a:lnTo>
                    <a:pt x="197" y="0"/>
                  </a:lnTo>
                  <a:lnTo>
                    <a:pt x="137" y="0"/>
                  </a:lnTo>
                  <a:lnTo>
                    <a:pt x="133" y="0"/>
                  </a:lnTo>
                  <a:lnTo>
                    <a:pt x="130" y="1"/>
                  </a:lnTo>
                  <a:lnTo>
                    <a:pt x="128" y="4"/>
                  </a:lnTo>
                  <a:lnTo>
                    <a:pt x="126" y="5"/>
                  </a:lnTo>
                  <a:lnTo>
                    <a:pt x="124" y="7"/>
                  </a:lnTo>
                  <a:lnTo>
                    <a:pt x="123" y="10"/>
                  </a:lnTo>
                  <a:lnTo>
                    <a:pt x="121" y="12"/>
                  </a:lnTo>
                  <a:lnTo>
                    <a:pt x="120" y="15"/>
                  </a:lnTo>
                  <a:lnTo>
                    <a:pt x="120" y="76"/>
                  </a:lnTo>
                  <a:lnTo>
                    <a:pt x="121" y="79"/>
                  </a:lnTo>
                  <a:lnTo>
                    <a:pt x="123" y="82"/>
                  </a:lnTo>
                  <a:lnTo>
                    <a:pt x="124" y="84"/>
                  </a:lnTo>
                  <a:lnTo>
                    <a:pt x="126" y="86"/>
                  </a:lnTo>
                  <a:lnTo>
                    <a:pt x="128" y="89"/>
                  </a:lnTo>
                  <a:lnTo>
                    <a:pt x="130" y="90"/>
                  </a:lnTo>
                  <a:lnTo>
                    <a:pt x="133" y="91"/>
                  </a:lnTo>
                  <a:lnTo>
                    <a:pt x="135" y="91"/>
                  </a:lnTo>
                  <a:lnTo>
                    <a:pt x="152" y="91"/>
                  </a:lnTo>
                  <a:lnTo>
                    <a:pt x="152" y="151"/>
                  </a:lnTo>
                  <a:lnTo>
                    <a:pt x="105" y="151"/>
                  </a:lnTo>
                  <a:lnTo>
                    <a:pt x="101" y="152"/>
                  </a:lnTo>
                  <a:lnTo>
                    <a:pt x="97" y="154"/>
                  </a:lnTo>
                  <a:lnTo>
                    <a:pt x="93" y="157"/>
                  </a:lnTo>
                  <a:lnTo>
                    <a:pt x="91" y="162"/>
                  </a:lnTo>
                  <a:lnTo>
                    <a:pt x="64" y="241"/>
                  </a:lnTo>
                  <a:lnTo>
                    <a:pt x="15" y="241"/>
                  </a:lnTo>
                  <a:lnTo>
                    <a:pt x="13" y="242"/>
                  </a:lnTo>
                  <a:lnTo>
                    <a:pt x="10" y="243"/>
                  </a:lnTo>
                  <a:lnTo>
                    <a:pt x="6" y="245"/>
                  </a:lnTo>
                  <a:lnTo>
                    <a:pt x="4" y="247"/>
                  </a:lnTo>
                  <a:lnTo>
                    <a:pt x="3" y="249"/>
                  </a:lnTo>
                  <a:lnTo>
                    <a:pt x="1" y="251"/>
                  </a:lnTo>
                  <a:lnTo>
                    <a:pt x="1" y="254"/>
                  </a:lnTo>
                  <a:lnTo>
                    <a:pt x="0" y="256"/>
                  </a:lnTo>
                  <a:lnTo>
                    <a:pt x="0" y="739"/>
                  </a:lnTo>
                  <a:lnTo>
                    <a:pt x="1" y="742"/>
                  </a:lnTo>
                  <a:lnTo>
                    <a:pt x="1" y="746"/>
                  </a:lnTo>
                  <a:lnTo>
                    <a:pt x="3" y="748"/>
                  </a:lnTo>
                  <a:lnTo>
                    <a:pt x="4" y="750"/>
                  </a:lnTo>
                  <a:lnTo>
                    <a:pt x="6" y="752"/>
                  </a:lnTo>
                  <a:lnTo>
                    <a:pt x="10" y="753"/>
                  </a:lnTo>
                  <a:lnTo>
                    <a:pt x="13" y="754"/>
                  </a:lnTo>
                  <a:lnTo>
                    <a:pt x="15" y="754"/>
                  </a:lnTo>
                  <a:lnTo>
                    <a:pt x="317" y="754"/>
                  </a:lnTo>
                  <a:lnTo>
                    <a:pt x="320" y="754"/>
                  </a:lnTo>
                  <a:lnTo>
                    <a:pt x="323" y="753"/>
                  </a:lnTo>
                  <a:lnTo>
                    <a:pt x="326" y="752"/>
                  </a:lnTo>
                  <a:lnTo>
                    <a:pt x="328" y="750"/>
                  </a:lnTo>
                  <a:lnTo>
                    <a:pt x="329" y="748"/>
                  </a:lnTo>
                  <a:lnTo>
                    <a:pt x="331" y="746"/>
                  </a:lnTo>
                  <a:lnTo>
                    <a:pt x="331" y="742"/>
                  </a:lnTo>
                  <a:lnTo>
                    <a:pt x="332" y="739"/>
                  </a:lnTo>
                  <a:lnTo>
                    <a:pt x="332" y="256"/>
                  </a:lnTo>
                  <a:lnTo>
                    <a:pt x="331" y="254"/>
                  </a:lnTo>
                  <a:lnTo>
                    <a:pt x="331" y="251"/>
                  </a:lnTo>
                  <a:lnTo>
                    <a:pt x="329" y="249"/>
                  </a:lnTo>
                  <a:lnTo>
                    <a:pt x="328" y="247"/>
                  </a:lnTo>
                  <a:lnTo>
                    <a:pt x="326" y="245"/>
                  </a:lnTo>
                  <a:lnTo>
                    <a:pt x="323" y="243"/>
                  </a:lnTo>
                  <a:lnTo>
                    <a:pt x="320" y="242"/>
                  </a:lnTo>
                  <a:lnTo>
                    <a:pt x="317"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42">
              <a:extLst>
                <a:ext uri="{FF2B5EF4-FFF2-40B4-BE49-F238E27FC236}">
                  <a16:creationId xmlns:a16="http://schemas.microsoft.com/office/drawing/2014/main" id="{3BDA5FBD-53F7-4C01-A5DF-99B4F153AC45}"/>
                </a:ext>
              </a:extLst>
            </p:cNvPr>
            <p:cNvSpPr>
              <a:spLocks/>
            </p:cNvSpPr>
            <p:nvPr/>
          </p:nvSpPr>
          <p:spPr bwMode="auto">
            <a:xfrm>
              <a:off x="3338513" y="835025"/>
              <a:ext cx="46038" cy="9525"/>
            </a:xfrm>
            <a:custGeom>
              <a:avLst/>
              <a:gdLst>
                <a:gd name="T0" fmla="*/ 129 w 144"/>
                <a:gd name="T1" fmla="*/ 0 h 30"/>
                <a:gd name="T2" fmla="*/ 15 w 144"/>
                <a:gd name="T3" fmla="*/ 0 h 30"/>
                <a:gd name="T4" fmla="*/ 12 w 144"/>
                <a:gd name="T5" fmla="*/ 0 h 30"/>
                <a:gd name="T6" fmla="*/ 9 w 144"/>
                <a:gd name="T7" fmla="*/ 1 h 30"/>
                <a:gd name="T8" fmla="*/ 6 w 144"/>
                <a:gd name="T9" fmla="*/ 3 h 30"/>
                <a:gd name="T10" fmla="*/ 4 w 144"/>
                <a:gd name="T11" fmla="*/ 4 h 30"/>
                <a:gd name="T12" fmla="*/ 2 w 144"/>
                <a:gd name="T13" fmla="*/ 6 h 30"/>
                <a:gd name="T14" fmla="*/ 1 w 144"/>
                <a:gd name="T15" fmla="*/ 9 h 30"/>
                <a:gd name="T16" fmla="*/ 0 w 144"/>
                <a:gd name="T17" fmla="*/ 11 h 30"/>
                <a:gd name="T18" fmla="*/ 0 w 144"/>
                <a:gd name="T19" fmla="*/ 15 h 30"/>
                <a:gd name="T20" fmla="*/ 0 w 144"/>
                <a:gd name="T21" fmla="*/ 18 h 30"/>
                <a:gd name="T22" fmla="*/ 1 w 144"/>
                <a:gd name="T23" fmla="*/ 21 h 30"/>
                <a:gd name="T24" fmla="*/ 2 w 144"/>
                <a:gd name="T25" fmla="*/ 23 h 30"/>
                <a:gd name="T26" fmla="*/ 4 w 144"/>
                <a:gd name="T27" fmla="*/ 25 h 30"/>
                <a:gd name="T28" fmla="*/ 6 w 144"/>
                <a:gd name="T29" fmla="*/ 27 h 30"/>
                <a:gd name="T30" fmla="*/ 9 w 144"/>
                <a:gd name="T31" fmla="*/ 29 h 30"/>
                <a:gd name="T32" fmla="*/ 12 w 144"/>
                <a:gd name="T33" fmla="*/ 30 h 30"/>
                <a:gd name="T34" fmla="*/ 15 w 144"/>
                <a:gd name="T35" fmla="*/ 30 h 30"/>
                <a:gd name="T36" fmla="*/ 129 w 144"/>
                <a:gd name="T37" fmla="*/ 30 h 30"/>
                <a:gd name="T38" fmla="*/ 132 w 144"/>
                <a:gd name="T39" fmla="*/ 30 h 30"/>
                <a:gd name="T40" fmla="*/ 135 w 144"/>
                <a:gd name="T41" fmla="*/ 29 h 30"/>
                <a:gd name="T42" fmla="*/ 137 w 144"/>
                <a:gd name="T43" fmla="*/ 27 h 30"/>
                <a:gd name="T44" fmla="*/ 140 w 144"/>
                <a:gd name="T45" fmla="*/ 25 h 30"/>
                <a:gd name="T46" fmla="*/ 142 w 144"/>
                <a:gd name="T47" fmla="*/ 23 h 30"/>
                <a:gd name="T48" fmla="*/ 143 w 144"/>
                <a:gd name="T49" fmla="*/ 21 h 30"/>
                <a:gd name="T50" fmla="*/ 144 w 144"/>
                <a:gd name="T51" fmla="*/ 18 h 30"/>
                <a:gd name="T52" fmla="*/ 144 w 144"/>
                <a:gd name="T53" fmla="*/ 15 h 30"/>
                <a:gd name="T54" fmla="*/ 144 w 144"/>
                <a:gd name="T55" fmla="*/ 11 h 30"/>
                <a:gd name="T56" fmla="*/ 143 w 144"/>
                <a:gd name="T57" fmla="*/ 9 h 30"/>
                <a:gd name="T58" fmla="*/ 142 w 144"/>
                <a:gd name="T59" fmla="*/ 6 h 30"/>
                <a:gd name="T60" fmla="*/ 140 w 144"/>
                <a:gd name="T61" fmla="*/ 4 h 30"/>
                <a:gd name="T62" fmla="*/ 137 w 144"/>
                <a:gd name="T63" fmla="*/ 3 h 30"/>
                <a:gd name="T64" fmla="*/ 135 w 144"/>
                <a:gd name="T65" fmla="*/ 1 h 30"/>
                <a:gd name="T66" fmla="*/ 132 w 144"/>
                <a:gd name="T67" fmla="*/ 0 h 30"/>
                <a:gd name="T68" fmla="*/ 129 w 144"/>
                <a:gd name="T69" fmla="*/ 0 h 30"/>
                <a:gd name="T70" fmla="*/ 129 w 144"/>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 h="30">
                  <a:moveTo>
                    <a:pt x="129" y="0"/>
                  </a:moveTo>
                  <a:lnTo>
                    <a:pt x="15" y="0"/>
                  </a:lnTo>
                  <a:lnTo>
                    <a:pt x="12"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9"/>
                  </a:lnTo>
                  <a:lnTo>
                    <a:pt x="12" y="30"/>
                  </a:lnTo>
                  <a:lnTo>
                    <a:pt x="15" y="30"/>
                  </a:lnTo>
                  <a:lnTo>
                    <a:pt x="129" y="30"/>
                  </a:lnTo>
                  <a:lnTo>
                    <a:pt x="132" y="30"/>
                  </a:lnTo>
                  <a:lnTo>
                    <a:pt x="135" y="29"/>
                  </a:lnTo>
                  <a:lnTo>
                    <a:pt x="137" y="27"/>
                  </a:lnTo>
                  <a:lnTo>
                    <a:pt x="140" y="25"/>
                  </a:lnTo>
                  <a:lnTo>
                    <a:pt x="142" y="23"/>
                  </a:lnTo>
                  <a:lnTo>
                    <a:pt x="143" y="21"/>
                  </a:lnTo>
                  <a:lnTo>
                    <a:pt x="144" y="18"/>
                  </a:lnTo>
                  <a:lnTo>
                    <a:pt x="144" y="15"/>
                  </a:lnTo>
                  <a:lnTo>
                    <a:pt x="144" y="11"/>
                  </a:lnTo>
                  <a:lnTo>
                    <a:pt x="143" y="9"/>
                  </a:lnTo>
                  <a:lnTo>
                    <a:pt x="142" y="6"/>
                  </a:lnTo>
                  <a:lnTo>
                    <a:pt x="140" y="4"/>
                  </a:lnTo>
                  <a:lnTo>
                    <a:pt x="137" y="3"/>
                  </a:lnTo>
                  <a:lnTo>
                    <a:pt x="135" y="1"/>
                  </a:lnTo>
                  <a:lnTo>
                    <a:pt x="132" y="0"/>
                  </a:lnTo>
                  <a:lnTo>
                    <a:pt x="129" y="0"/>
                  </a:ln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43">
              <a:extLst>
                <a:ext uri="{FF2B5EF4-FFF2-40B4-BE49-F238E27FC236}">
                  <a16:creationId xmlns:a16="http://schemas.microsoft.com/office/drawing/2014/main" id="{109D4488-E50B-419F-94EB-B77C4E78DBE4}"/>
                </a:ext>
              </a:extLst>
            </p:cNvPr>
            <p:cNvSpPr>
              <a:spLocks/>
            </p:cNvSpPr>
            <p:nvPr/>
          </p:nvSpPr>
          <p:spPr bwMode="auto">
            <a:xfrm>
              <a:off x="3332163" y="858838"/>
              <a:ext cx="47625" cy="23813"/>
            </a:xfrm>
            <a:custGeom>
              <a:avLst/>
              <a:gdLst>
                <a:gd name="T0" fmla="*/ 141 w 151"/>
                <a:gd name="T1" fmla="*/ 46 h 75"/>
                <a:gd name="T2" fmla="*/ 21 w 151"/>
                <a:gd name="T3" fmla="*/ 1 h 75"/>
                <a:gd name="T4" fmla="*/ 18 w 151"/>
                <a:gd name="T5" fmla="*/ 0 h 75"/>
                <a:gd name="T6" fmla="*/ 14 w 151"/>
                <a:gd name="T7" fmla="*/ 0 h 75"/>
                <a:gd name="T8" fmla="*/ 12 w 151"/>
                <a:gd name="T9" fmla="*/ 1 h 75"/>
                <a:gd name="T10" fmla="*/ 9 w 151"/>
                <a:gd name="T11" fmla="*/ 1 h 75"/>
                <a:gd name="T12" fmla="*/ 7 w 151"/>
                <a:gd name="T13" fmla="*/ 3 h 75"/>
                <a:gd name="T14" fmla="*/ 5 w 151"/>
                <a:gd name="T15" fmla="*/ 5 h 75"/>
                <a:gd name="T16" fmla="*/ 2 w 151"/>
                <a:gd name="T17" fmla="*/ 7 h 75"/>
                <a:gd name="T18" fmla="*/ 1 w 151"/>
                <a:gd name="T19" fmla="*/ 9 h 75"/>
                <a:gd name="T20" fmla="*/ 0 w 151"/>
                <a:gd name="T21" fmla="*/ 13 h 75"/>
                <a:gd name="T22" fmla="*/ 0 w 151"/>
                <a:gd name="T23" fmla="*/ 16 h 75"/>
                <a:gd name="T24" fmla="*/ 0 w 151"/>
                <a:gd name="T25" fmla="*/ 19 h 75"/>
                <a:gd name="T26" fmla="*/ 1 w 151"/>
                <a:gd name="T27" fmla="*/ 21 h 75"/>
                <a:gd name="T28" fmla="*/ 2 w 151"/>
                <a:gd name="T29" fmla="*/ 23 h 75"/>
                <a:gd name="T30" fmla="*/ 5 w 151"/>
                <a:gd name="T31" fmla="*/ 26 h 75"/>
                <a:gd name="T32" fmla="*/ 7 w 151"/>
                <a:gd name="T33" fmla="*/ 28 h 75"/>
                <a:gd name="T34" fmla="*/ 10 w 151"/>
                <a:gd name="T35" fmla="*/ 29 h 75"/>
                <a:gd name="T36" fmla="*/ 130 w 151"/>
                <a:gd name="T37" fmla="*/ 74 h 75"/>
                <a:gd name="T38" fmla="*/ 133 w 151"/>
                <a:gd name="T39" fmla="*/ 75 h 75"/>
                <a:gd name="T40" fmla="*/ 136 w 151"/>
                <a:gd name="T41" fmla="*/ 75 h 75"/>
                <a:gd name="T42" fmla="*/ 140 w 151"/>
                <a:gd name="T43" fmla="*/ 75 h 75"/>
                <a:gd name="T44" fmla="*/ 144 w 151"/>
                <a:gd name="T45" fmla="*/ 73 h 75"/>
                <a:gd name="T46" fmla="*/ 148 w 151"/>
                <a:gd name="T47" fmla="*/ 70 h 75"/>
                <a:gd name="T48" fmla="*/ 150 w 151"/>
                <a:gd name="T49" fmla="*/ 65 h 75"/>
                <a:gd name="T50" fmla="*/ 151 w 151"/>
                <a:gd name="T51" fmla="*/ 62 h 75"/>
                <a:gd name="T52" fmla="*/ 151 w 151"/>
                <a:gd name="T53" fmla="*/ 60 h 75"/>
                <a:gd name="T54" fmla="*/ 151 w 151"/>
                <a:gd name="T55" fmla="*/ 57 h 75"/>
                <a:gd name="T56" fmla="*/ 150 w 151"/>
                <a:gd name="T57" fmla="*/ 55 h 75"/>
                <a:gd name="T58" fmla="*/ 148 w 151"/>
                <a:gd name="T59" fmla="*/ 51 h 75"/>
                <a:gd name="T60" fmla="*/ 147 w 151"/>
                <a:gd name="T61" fmla="*/ 49 h 75"/>
                <a:gd name="T62" fmla="*/ 143 w 151"/>
                <a:gd name="T63" fmla="*/ 47 h 75"/>
                <a:gd name="T64" fmla="*/ 141 w 151"/>
                <a:gd name="T65" fmla="*/ 4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75">
                  <a:moveTo>
                    <a:pt x="141" y="46"/>
                  </a:moveTo>
                  <a:lnTo>
                    <a:pt x="21" y="1"/>
                  </a:lnTo>
                  <a:lnTo>
                    <a:pt x="18" y="0"/>
                  </a:lnTo>
                  <a:lnTo>
                    <a:pt x="14" y="0"/>
                  </a:lnTo>
                  <a:lnTo>
                    <a:pt x="12" y="1"/>
                  </a:lnTo>
                  <a:lnTo>
                    <a:pt x="9" y="1"/>
                  </a:lnTo>
                  <a:lnTo>
                    <a:pt x="7" y="3"/>
                  </a:lnTo>
                  <a:lnTo>
                    <a:pt x="5" y="5"/>
                  </a:lnTo>
                  <a:lnTo>
                    <a:pt x="2" y="7"/>
                  </a:lnTo>
                  <a:lnTo>
                    <a:pt x="1" y="9"/>
                  </a:lnTo>
                  <a:lnTo>
                    <a:pt x="0" y="13"/>
                  </a:lnTo>
                  <a:lnTo>
                    <a:pt x="0" y="16"/>
                  </a:lnTo>
                  <a:lnTo>
                    <a:pt x="0" y="19"/>
                  </a:lnTo>
                  <a:lnTo>
                    <a:pt x="1" y="21"/>
                  </a:lnTo>
                  <a:lnTo>
                    <a:pt x="2" y="23"/>
                  </a:lnTo>
                  <a:lnTo>
                    <a:pt x="5" y="26"/>
                  </a:lnTo>
                  <a:lnTo>
                    <a:pt x="7" y="28"/>
                  </a:lnTo>
                  <a:lnTo>
                    <a:pt x="10" y="29"/>
                  </a:lnTo>
                  <a:lnTo>
                    <a:pt x="130" y="74"/>
                  </a:lnTo>
                  <a:lnTo>
                    <a:pt x="133" y="75"/>
                  </a:lnTo>
                  <a:lnTo>
                    <a:pt x="136" y="75"/>
                  </a:lnTo>
                  <a:lnTo>
                    <a:pt x="140" y="75"/>
                  </a:lnTo>
                  <a:lnTo>
                    <a:pt x="144" y="73"/>
                  </a:lnTo>
                  <a:lnTo>
                    <a:pt x="148" y="70"/>
                  </a:lnTo>
                  <a:lnTo>
                    <a:pt x="150" y="65"/>
                  </a:lnTo>
                  <a:lnTo>
                    <a:pt x="151" y="62"/>
                  </a:lnTo>
                  <a:lnTo>
                    <a:pt x="151" y="60"/>
                  </a:lnTo>
                  <a:lnTo>
                    <a:pt x="151" y="57"/>
                  </a:lnTo>
                  <a:lnTo>
                    <a:pt x="150" y="55"/>
                  </a:lnTo>
                  <a:lnTo>
                    <a:pt x="148" y="51"/>
                  </a:lnTo>
                  <a:lnTo>
                    <a:pt x="147" y="49"/>
                  </a:lnTo>
                  <a:lnTo>
                    <a:pt x="143" y="47"/>
                  </a:lnTo>
                  <a:lnTo>
                    <a:pt x="14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44">
              <a:extLst>
                <a:ext uri="{FF2B5EF4-FFF2-40B4-BE49-F238E27FC236}">
                  <a16:creationId xmlns:a16="http://schemas.microsoft.com/office/drawing/2014/main" id="{DDE23AE8-7564-4785-AAA6-A370A69EAAF5}"/>
                </a:ext>
              </a:extLst>
            </p:cNvPr>
            <p:cNvSpPr>
              <a:spLocks/>
            </p:cNvSpPr>
            <p:nvPr/>
          </p:nvSpPr>
          <p:spPr bwMode="auto">
            <a:xfrm>
              <a:off x="3332163" y="801688"/>
              <a:ext cx="47625" cy="23813"/>
            </a:xfrm>
            <a:custGeom>
              <a:avLst/>
              <a:gdLst>
                <a:gd name="T0" fmla="*/ 15 w 151"/>
                <a:gd name="T1" fmla="*/ 75 h 75"/>
                <a:gd name="T2" fmla="*/ 18 w 151"/>
                <a:gd name="T3" fmla="*/ 75 h 75"/>
                <a:gd name="T4" fmla="*/ 21 w 151"/>
                <a:gd name="T5" fmla="*/ 74 h 75"/>
                <a:gd name="T6" fmla="*/ 141 w 151"/>
                <a:gd name="T7" fmla="*/ 29 h 75"/>
                <a:gd name="T8" fmla="*/ 143 w 151"/>
                <a:gd name="T9" fmla="*/ 28 h 75"/>
                <a:gd name="T10" fmla="*/ 147 w 151"/>
                <a:gd name="T11" fmla="*/ 26 h 75"/>
                <a:gd name="T12" fmla="*/ 148 w 151"/>
                <a:gd name="T13" fmla="*/ 24 h 75"/>
                <a:gd name="T14" fmla="*/ 150 w 151"/>
                <a:gd name="T15" fmla="*/ 22 h 75"/>
                <a:gd name="T16" fmla="*/ 151 w 151"/>
                <a:gd name="T17" fmla="*/ 18 h 75"/>
                <a:gd name="T18" fmla="*/ 151 w 151"/>
                <a:gd name="T19" fmla="*/ 16 h 75"/>
                <a:gd name="T20" fmla="*/ 151 w 151"/>
                <a:gd name="T21" fmla="*/ 13 h 75"/>
                <a:gd name="T22" fmla="*/ 150 w 151"/>
                <a:gd name="T23" fmla="*/ 10 h 75"/>
                <a:gd name="T24" fmla="*/ 149 w 151"/>
                <a:gd name="T25" fmla="*/ 8 h 75"/>
                <a:gd name="T26" fmla="*/ 147 w 151"/>
                <a:gd name="T27" fmla="*/ 4 h 75"/>
                <a:gd name="T28" fmla="*/ 144 w 151"/>
                <a:gd name="T29" fmla="*/ 3 h 75"/>
                <a:gd name="T30" fmla="*/ 142 w 151"/>
                <a:gd name="T31" fmla="*/ 1 h 75"/>
                <a:gd name="T32" fmla="*/ 139 w 151"/>
                <a:gd name="T33" fmla="*/ 0 h 75"/>
                <a:gd name="T34" fmla="*/ 137 w 151"/>
                <a:gd name="T35" fmla="*/ 0 h 75"/>
                <a:gd name="T36" fmla="*/ 134 w 151"/>
                <a:gd name="T37" fmla="*/ 0 h 75"/>
                <a:gd name="T38" fmla="*/ 130 w 151"/>
                <a:gd name="T39" fmla="*/ 1 h 75"/>
                <a:gd name="T40" fmla="*/ 10 w 151"/>
                <a:gd name="T41" fmla="*/ 46 h 75"/>
                <a:gd name="T42" fmla="*/ 7 w 151"/>
                <a:gd name="T43" fmla="*/ 47 h 75"/>
                <a:gd name="T44" fmla="*/ 5 w 151"/>
                <a:gd name="T45" fmla="*/ 50 h 75"/>
                <a:gd name="T46" fmla="*/ 2 w 151"/>
                <a:gd name="T47" fmla="*/ 52 h 75"/>
                <a:gd name="T48" fmla="*/ 1 w 151"/>
                <a:gd name="T49" fmla="*/ 54 h 75"/>
                <a:gd name="T50" fmla="*/ 0 w 151"/>
                <a:gd name="T51" fmla="*/ 57 h 75"/>
                <a:gd name="T52" fmla="*/ 0 w 151"/>
                <a:gd name="T53" fmla="*/ 60 h 75"/>
                <a:gd name="T54" fmla="*/ 0 w 151"/>
                <a:gd name="T55" fmla="*/ 63 h 75"/>
                <a:gd name="T56" fmla="*/ 1 w 151"/>
                <a:gd name="T57" fmla="*/ 66 h 75"/>
                <a:gd name="T58" fmla="*/ 4 w 151"/>
                <a:gd name="T59" fmla="*/ 70 h 75"/>
                <a:gd name="T60" fmla="*/ 7 w 151"/>
                <a:gd name="T61" fmla="*/ 73 h 75"/>
                <a:gd name="T62" fmla="*/ 11 w 151"/>
                <a:gd name="T63" fmla="*/ 74 h 75"/>
                <a:gd name="T64" fmla="*/ 15 w 151"/>
                <a:gd name="T6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75">
                  <a:moveTo>
                    <a:pt x="15" y="75"/>
                  </a:moveTo>
                  <a:lnTo>
                    <a:pt x="18" y="75"/>
                  </a:lnTo>
                  <a:lnTo>
                    <a:pt x="21" y="74"/>
                  </a:lnTo>
                  <a:lnTo>
                    <a:pt x="141" y="29"/>
                  </a:lnTo>
                  <a:lnTo>
                    <a:pt x="143" y="28"/>
                  </a:lnTo>
                  <a:lnTo>
                    <a:pt x="147" y="26"/>
                  </a:lnTo>
                  <a:lnTo>
                    <a:pt x="148" y="24"/>
                  </a:lnTo>
                  <a:lnTo>
                    <a:pt x="150" y="22"/>
                  </a:lnTo>
                  <a:lnTo>
                    <a:pt x="151" y="18"/>
                  </a:lnTo>
                  <a:lnTo>
                    <a:pt x="151" y="16"/>
                  </a:lnTo>
                  <a:lnTo>
                    <a:pt x="151" y="13"/>
                  </a:lnTo>
                  <a:lnTo>
                    <a:pt x="150" y="10"/>
                  </a:lnTo>
                  <a:lnTo>
                    <a:pt x="149" y="8"/>
                  </a:lnTo>
                  <a:lnTo>
                    <a:pt x="147" y="4"/>
                  </a:lnTo>
                  <a:lnTo>
                    <a:pt x="144" y="3"/>
                  </a:lnTo>
                  <a:lnTo>
                    <a:pt x="142" y="1"/>
                  </a:lnTo>
                  <a:lnTo>
                    <a:pt x="139" y="0"/>
                  </a:lnTo>
                  <a:lnTo>
                    <a:pt x="137" y="0"/>
                  </a:lnTo>
                  <a:lnTo>
                    <a:pt x="134" y="0"/>
                  </a:lnTo>
                  <a:lnTo>
                    <a:pt x="130" y="1"/>
                  </a:lnTo>
                  <a:lnTo>
                    <a:pt x="10" y="46"/>
                  </a:lnTo>
                  <a:lnTo>
                    <a:pt x="7" y="47"/>
                  </a:lnTo>
                  <a:lnTo>
                    <a:pt x="5" y="50"/>
                  </a:lnTo>
                  <a:lnTo>
                    <a:pt x="2" y="52"/>
                  </a:lnTo>
                  <a:lnTo>
                    <a:pt x="1" y="54"/>
                  </a:lnTo>
                  <a:lnTo>
                    <a:pt x="0" y="57"/>
                  </a:lnTo>
                  <a:lnTo>
                    <a:pt x="0" y="60"/>
                  </a:lnTo>
                  <a:lnTo>
                    <a:pt x="0" y="63"/>
                  </a:lnTo>
                  <a:lnTo>
                    <a:pt x="1" y="66"/>
                  </a:lnTo>
                  <a:lnTo>
                    <a:pt x="4" y="70"/>
                  </a:lnTo>
                  <a:lnTo>
                    <a:pt x="7" y="73"/>
                  </a:lnTo>
                  <a:lnTo>
                    <a:pt x="11" y="74"/>
                  </a:lnTo>
                  <a:lnTo>
                    <a:pt x="1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45">
              <a:extLst>
                <a:ext uri="{FF2B5EF4-FFF2-40B4-BE49-F238E27FC236}">
                  <a16:creationId xmlns:a16="http://schemas.microsoft.com/office/drawing/2014/main" id="{FC23844C-72E5-45A7-8254-26C356723284}"/>
                </a:ext>
              </a:extLst>
            </p:cNvPr>
            <p:cNvSpPr>
              <a:spLocks/>
            </p:cNvSpPr>
            <p:nvPr/>
          </p:nvSpPr>
          <p:spPr bwMode="auto">
            <a:xfrm>
              <a:off x="3398838" y="777875"/>
              <a:ext cx="57150" cy="130175"/>
            </a:xfrm>
            <a:custGeom>
              <a:avLst/>
              <a:gdLst>
                <a:gd name="T0" fmla="*/ 181 w 182"/>
                <a:gd name="T1" fmla="*/ 187 h 411"/>
                <a:gd name="T2" fmla="*/ 174 w 182"/>
                <a:gd name="T3" fmla="*/ 161 h 411"/>
                <a:gd name="T4" fmla="*/ 163 w 182"/>
                <a:gd name="T5" fmla="*/ 139 h 411"/>
                <a:gd name="T6" fmla="*/ 145 w 182"/>
                <a:gd name="T7" fmla="*/ 120 h 411"/>
                <a:gd name="T8" fmla="*/ 125 w 182"/>
                <a:gd name="T9" fmla="*/ 106 h 411"/>
                <a:gd name="T10" fmla="*/ 109 w 182"/>
                <a:gd name="T11" fmla="*/ 91 h 411"/>
                <a:gd name="T12" fmla="*/ 107 w 182"/>
                <a:gd name="T13" fmla="*/ 67 h 411"/>
                <a:gd name="T14" fmla="*/ 96 w 182"/>
                <a:gd name="T15" fmla="*/ 45 h 411"/>
                <a:gd name="T16" fmla="*/ 76 w 182"/>
                <a:gd name="T17" fmla="*/ 21 h 411"/>
                <a:gd name="T18" fmla="*/ 47 w 182"/>
                <a:gd name="T19" fmla="*/ 5 h 411"/>
                <a:gd name="T20" fmla="*/ 15 w 182"/>
                <a:gd name="T21" fmla="*/ 0 h 411"/>
                <a:gd name="T22" fmla="*/ 7 w 182"/>
                <a:gd name="T23" fmla="*/ 2 h 411"/>
                <a:gd name="T24" fmla="*/ 1 w 182"/>
                <a:gd name="T25" fmla="*/ 10 h 411"/>
                <a:gd name="T26" fmla="*/ 0 w 182"/>
                <a:gd name="T27" fmla="*/ 18 h 411"/>
                <a:gd name="T28" fmla="*/ 4 w 182"/>
                <a:gd name="T29" fmla="*/ 26 h 411"/>
                <a:gd name="T30" fmla="*/ 12 w 182"/>
                <a:gd name="T31" fmla="*/ 30 h 411"/>
                <a:gd name="T32" fmla="*/ 30 w 182"/>
                <a:gd name="T33" fmla="*/ 32 h 411"/>
                <a:gd name="T34" fmla="*/ 51 w 182"/>
                <a:gd name="T35" fmla="*/ 41 h 411"/>
                <a:gd name="T36" fmla="*/ 68 w 182"/>
                <a:gd name="T37" fmla="*/ 56 h 411"/>
                <a:gd name="T38" fmla="*/ 76 w 182"/>
                <a:gd name="T39" fmla="*/ 73 h 411"/>
                <a:gd name="T40" fmla="*/ 79 w 182"/>
                <a:gd name="T41" fmla="*/ 92 h 411"/>
                <a:gd name="T42" fmla="*/ 76 w 182"/>
                <a:gd name="T43" fmla="*/ 108 h 411"/>
                <a:gd name="T44" fmla="*/ 79 w 182"/>
                <a:gd name="T45" fmla="*/ 118 h 411"/>
                <a:gd name="T46" fmla="*/ 85 w 182"/>
                <a:gd name="T47" fmla="*/ 124 h 411"/>
                <a:gd name="T48" fmla="*/ 102 w 182"/>
                <a:gd name="T49" fmla="*/ 129 h 411"/>
                <a:gd name="T50" fmla="*/ 119 w 182"/>
                <a:gd name="T51" fmla="*/ 139 h 411"/>
                <a:gd name="T52" fmla="*/ 135 w 182"/>
                <a:gd name="T53" fmla="*/ 153 h 411"/>
                <a:gd name="T54" fmla="*/ 145 w 182"/>
                <a:gd name="T55" fmla="*/ 170 h 411"/>
                <a:gd name="T56" fmla="*/ 151 w 182"/>
                <a:gd name="T57" fmla="*/ 190 h 411"/>
                <a:gd name="T58" fmla="*/ 152 w 182"/>
                <a:gd name="T59" fmla="*/ 213 h 411"/>
                <a:gd name="T60" fmla="*/ 147 w 182"/>
                <a:gd name="T61" fmla="*/ 234 h 411"/>
                <a:gd name="T62" fmla="*/ 139 w 182"/>
                <a:gd name="T63" fmla="*/ 254 h 411"/>
                <a:gd name="T64" fmla="*/ 126 w 182"/>
                <a:gd name="T65" fmla="*/ 269 h 411"/>
                <a:gd name="T66" fmla="*/ 109 w 182"/>
                <a:gd name="T67" fmla="*/ 279 h 411"/>
                <a:gd name="T68" fmla="*/ 88 w 182"/>
                <a:gd name="T69" fmla="*/ 285 h 411"/>
                <a:gd name="T70" fmla="*/ 80 w 182"/>
                <a:gd name="T71" fmla="*/ 290 h 411"/>
                <a:gd name="T72" fmla="*/ 76 w 182"/>
                <a:gd name="T73" fmla="*/ 300 h 411"/>
                <a:gd name="T74" fmla="*/ 80 w 182"/>
                <a:gd name="T75" fmla="*/ 312 h 411"/>
                <a:gd name="T76" fmla="*/ 83 w 182"/>
                <a:gd name="T77" fmla="*/ 330 h 411"/>
                <a:gd name="T78" fmla="*/ 79 w 182"/>
                <a:gd name="T79" fmla="*/ 346 h 411"/>
                <a:gd name="T80" fmla="*/ 65 w 182"/>
                <a:gd name="T81" fmla="*/ 363 h 411"/>
                <a:gd name="T82" fmla="*/ 42 w 182"/>
                <a:gd name="T83" fmla="*/ 375 h 411"/>
                <a:gd name="T84" fmla="*/ 15 w 182"/>
                <a:gd name="T85" fmla="*/ 381 h 411"/>
                <a:gd name="T86" fmla="*/ 7 w 182"/>
                <a:gd name="T87" fmla="*/ 383 h 411"/>
                <a:gd name="T88" fmla="*/ 1 w 182"/>
                <a:gd name="T89" fmla="*/ 389 h 411"/>
                <a:gd name="T90" fmla="*/ 0 w 182"/>
                <a:gd name="T91" fmla="*/ 398 h 411"/>
                <a:gd name="T92" fmla="*/ 4 w 182"/>
                <a:gd name="T93" fmla="*/ 405 h 411"/>
                <a:gd name="T94" fmla="*/ 12 w 182"/>
                <a:gd name="T95" fmla="*/ 410 h 411"/>
                <a:gd name="T96" fmla="*/ 41 w 182"/>
                <a:gd name="T97" fmla="*/ 407 h 411"/>
                <a:gd name="T98" fmla="*/ 76 w 182"/>
                <a:gd name="T99" fmla="*/ 392 h 411"/>
                <a:gd name="T100" fmla="*/ 101 w 182"/>
                <a:gd name="T101" fmla="*/ 367 h 411"/>
                <a:gd name="T102" fmla="*/ 110 w 182"/>
                <a:gd name="T103" fmla="*/ 347 h 411"/>
                <a:gd name="T104" fmla="*/ 113 w 182"/>
                <a:gd name="T105" fmla="*/ 326 h 411"/>
                <a:gd name="T106" fmla="*/ 118 w 182"/>
                <a:gd name="T107" fmla="*/ 307 h 411"/>
                <a:gd name="T108" fmla="*/ 140 w 182"/>
                <a:gd name="T109" fmla="*/ 296 h 411"/>
                <a:gd name="T110" fmla="*/ 158 w 182"/>
                <a:gd name="T111" fmla="*/ 278 h 411"/>
                <a:gd name="T112" fmla="*/ 171 w 182"/>
                <a:gd name="T113" fmla="*/ 257 h 411"/>
                <a:gd name="T114" fmla="*/ 180 w 182"/>
                <a:gd name="T115" fmla="*/ 233 h 411"/>
                <a:gd name="T116" fmla="*/ 182 w 182"/>
                <a:gd name="T117" fmla="*/ 20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411">
                  <a:moveTo>
                    <a:pt x="182" y="205"/>
                  </a:moveTo>
                  <a:lnTo>
                    <a:pt x="182" y="196"/>
                  </a:lnTo>
                  <a:lnTo>
                    <a:pt x="181" y="187"/>
                  </a:lnTo>
                  <a:lnTo>
                    <a:pt x="180" y="178"/>
                  </a:lnTo>
                  <a:lnTo>
                    <a:pt x="176" y="170"/>
                  </a:lnTo>
                  <a:lnTo>
                    <a:pt x="174" y="161"/>
                  </a:lnTo>
                  <a:lnTo>
                    <a:pt x="171" y="154"/>
                  </a:lnTo>
                  <a:lnTo>
                    <a:pt x="167" y="146"/>
                  </a:lnTo>
                  <a:lnTo>
                    <a:pt x="163" y="139"/>
                  </a:lnTo>
                  <a:lnTo>
                    <a:pt x="157" y="132"/>
                  </a:lnTo>
                  <a:lnTo>
                    <a:pt x="152" y="126"/>
                  </a:lnTo>
                  <a:lnTo>
                    <a:pt x="145" y="120"/>
                  </a:lnTo>
                  <a:lnTo>
                    <a:pt x="139" y="115"/>
                  </a:lnTo>
                  <a:lnTo>
                    <a:pt x="132" y="111"/>
                  </a:lnTo>
                  <a:lnTo>
                    <a:pt x="125" y="106"/>
                  </a:lnTo>
                  <a:lnTo>
                    <a:pt x="116" y="102"/>
                  </a:lnTo>
                  <a:lnTo>
                    <a:pt x="109" y="99"/>
                  </a:lnTo>
                  <a:lnTo>
                    <a:pt x="109" y="91"/>
                  </a:lnTo>
                  <a:lnTo>
                    <a:pt x="109" y="83"/>
                  </a:lnTo>
                  <a:lnTo>
                    <a:pt x="108" y="75"/>
                  </a:lnTo>
                  <a:lnTo>
                    <a:pt x="107" y="67"/>
                  </a:lnTo>
                  <a:lnTo>
                    <a:pt x="103" y="59"/>
                  </a:lnTo>
                  <a:lnTo>
                    <a:pt x="100" y="51"/>
                  </a:lnTo>
                  <a:lnTo>
                    <a:pt x="96" y="45"/>
                  </a:lnTo>
                  <a:lnTo>
                    <a:pt x="92" y="37"/>
                  </a:lnTo>
                  <a:lnTo>
                    <a:pt x="84" y="29"/>
                  </a:lnTo>
                  <a:lnTo>
                    <a:pt x="76" y="21"/>
                  </a:lnTo>
                  <a:lnTo>
                    <a:pt x="68" y="15"/>
                  </a:lnTo>
                  <a:lnTo>
                    <a:pt x="58" y="10"/>
                  </a:lnTo>
                  <a:lnTo>
                    <a:pt x="47" y="5"/>
                  </a:lnTo>
                  <a:lnTo>
                    <a:pt x="37" y="2"/>
                  </a:lnTo>
                  <a:lnTo>
                    <a:pt x="26" y="1"/>
                  </a:lnTo>
                  <a:lnTo>
                    <a:pt x="15" y="0"/>
                  </a:lnTo>
                  <a:lnTo>
                    <a:pt x="12" y="0"/>
                  </a:lnTo>
                  <a:lnTo>
                    <a:pt x="9" y="1"/>
                  </a:lnTo>
                  <a:lnTo>
                    <a:pt x="7" y="2"/>
                  </a:lnTo>
                  <a:lnTo>
                    <a:pt x="4" y="4"/>
                  </a:lnTo>
                  <a:lnTo>
                    <a:pt x="2" y="6"/>
                  </a:lnTo>
                  <a:lnTo>
                    <a:pt x="1" y="10"/>
                  </a:lnTo>
                  <a:lnTo>
                    <a:pt x="0" y="12"/>
                  </a:lnTo>
                  <a:lnTo>
                    <a:pt x="0" y="15"/>
                  </a:lnTo>
                  <a:lnTo>
                    <a:pt x="0" y="18"/>
                  </a:lnTo>
                  <a:lnTo>
                    <a:pt x="1" y="20"/>
                  </a:lnTo>
                  <a:lnTo>
                    <a:pt x="2" y="24"/>
                  </a:lnTo>
                  <a:lnTo>
                    <a:pt x="4" y="26"/>
                  </a:lnTo>
                  <a:lnTo>
                    <a:pt x="7" y="28"/>
                  </a:lnTo>
                  <a:lnTo>
                    <a:pt x="9" y="29"/>
                  </a:lnTo>
                  <a:lnTo>
                    <a:pt x="12" y="30"/>
                  </a:lnTo>
                  <a:lnTo>
                    <a:pt x="15" y="30"/>
                  </a:lnTo>
                  <a:lnTo>
                    <a:pt x="23" y="30"/>
                  </a:lnTo>
                  <a:lnTo>
                    <a:pt x="30" y="32"/>
                  </a:lnTo>
                  <a:lnTo>
                    <a:pt x="38" y="34"/>
                  </a:lnTo>
                  <a:lnTo>
                    <a:pt x="44" y="36"/>
                  </a:lnTo>
                  <a:lnTo>
                    <a:pt x="51" y="41"/>
                  </a:lnTo>
                  <a:lnTo>
                    <a:pt x="57" y="45"/>
                  </a:lnTo>
                  <a:lnTo>
                    <a:pt x="62" y="50"/>
                  </a:lnTo>
                  <a:lnTo>
                    <a:pt x="68" y="56"/>
                  </a:lnTo>
                  <a:lnTo>
                    <a:pt x="71" y="61"/>
                  </a:lnTo>
                  <a:lnTo>
                    <a:pt x="74" y="68"/>
                  </a:lnTo>
                  <a:lnTo>
                    <a:pt x="76" y="73"/>
                  </a:lnTo>
                  <a:lnTo>
                    <a:pt x="78" y="79"/>
                  </a:lnTo>
                  <a:lnTo>
                    <a:pt x="79" y="86"/>
                  </a:lnTo>
                  <a:lnTo>
                    <a:pt x="79" y="92"/>
                  </a:lnTo>
                  <a:lnTo>
                    <a:pt x="79" y="99"/>
                  </a:lnTo>
                  <a:lnTo>
                    <a:pt x="76" y="106"/>
                  </a:lnTo>
                  <a:lnTo>
                    <a:pt x="76" y="108"/>
                  </a:lnTo>
                  <a:lnTo>
                    <a:pt x="76" y="112"/>
                  </a:lnTo>
                  <a:lnTo>
                    <a:pt x="76" y="115"/>
                  </a:lnTo>
                  <a:lnTo>
                    <a:pt x="79" y="118"/>
                  </a:lnTo>
                  <a:lnTo>
                    <a:pt x="80" y="120"/>
                  </a:lnTo>
                  <a:lnTo>
                    <a:pt x="83" y="122"/>
                  </a:lnTo>
                  <a:lnTo>
                    <a:pt x="85" y="124"/>
                  </a:lnTo>
                  <a:lnTo>
                    <a:pt x="88" y="125"/>
                  </a:lnTo>
                  <a:lnTo>
                    <a:pt x="95" y="127"/>
                  </a:lnTo>
                  <a:lnTo>
                    <a:pt x="102" y="129"/>
                  </a:lnTo>
                  <a:lnTo>
                    <a:pt x="109" y="131"/>
                  </a:lnTo>
                  <a:lnTo>
                    <a:pt x="114" y="134"/>
                  </a:lnTo>
                  <a:lnTo>
                    <a:pt x="119" y="139"/>
                  </a:lnTo>
                  <a:lnTo>
                    <a:pt x="125" y="143"/>
                  </a:lnTo>
                  <a:lnTo>
                    <a:pt x="130" y="147"/>
                  </a:lnTo>
                  <a:lnTo>
                    <a:pt x="135" y="153"/>
                  </a:lnTo>
                  <a:lnTo>
                    <a:pt x="139" y="158"/>
                  </a:lnTo>
                  <a:lnTo>
                    <a:pt x="142" y="163"/>
                  </a:lnTo>
                  <a:lnTo>
                    <a:pt x="145" y="170"/>
                  </a:lnTo>
                  <a:lnTo>
                    <a:pt x="147" y="176"/>
                  </a:lnTo>
                  <a:lnTo>
                    <a:pt x="150" y="184"/>
                  </a:lnTo>
                  <a:lnTo>
                    <a:pt x="151" y="190"/>
                  </a:lnTo>
                  <a:lnTo>
                    <a:pt x="152" y="198"/>
                  </a:lnTo>
                  <a:lnTo>
                    <a:pt x="152" y="205"/>
                  </a:lnTo>
                  <a:lnTo>
                    <a:pt x="152" y="213"/>
                  </a:lnTo>
                  <a:lnTo>
                    <a:pt x="151" y="220"/>
                  </a:lnTo>
                  <a:lnTo>
                    <a:pt x="150" y="228"/>
                  </a:lnTo>
                  <a:lnTo>
                    <a:pt x="147" y="234"/>
                  </a:lnTo>
                  <a:lnTo>
                    <a:pt x="145" y="242"/>
                  </a:lnTo>
                  <a:lnTo>
                    <a:pt x="142" y="247"/>
                  </a:lnTo>
                  <a:lnTo>
                    <a:pt x="139" y="254"/>
                  </a:lnTo>
                  <a:lnTo>
                    <a:pt x="135" y="259"/>
                  </a:lnTo>
                  <a:lnTo>
                    <a:pt x="130" y="263"/>
                  </a:lnTo>
                  <a:lnTo>
                    <a:pt x="126" y="269"/>
                  </a:lnTo>
                  <a:lnTo>
                    <a:pt x="121" y="272"/>
                  </a:lnTo>
                  <a:lnTo>
                    <a:pt x="115" y="276"/>
                  </a:lnTo>
                  <a:lnTo>
                    <a:pt x="109" y="279"/>
                  </a:lnTo>
                  <a:lnTo>
                    <a:pt x="102" y="282"/>
                  </a:lnTo>
                  <a:lnTo>
                    <a:pt x="96" y="284"/>
                  </a:lnTo>
                  <a:lnTo>
                    <a:pt x="88" y="285"/>
                  </a:lnTo>
                  <a:lnTo>
                    <a:pt x="85" y="286"/>
                  </a:lnTo>
                  <a:lnTo>
                    <a:pt x="82" y="288"/>
                  </a:lnTo>
                  <a:lnTo>
                    <a:pt x="80" y="290"/>
                  </a:lnTo>
                  <a:lnTo>
                    <a:pt x="78" y="293"/>
                  </a:lnTo>
                  <a:lnTo>
                    <a:pt x="76" y="297"/>
                  </a:lnTo>
                  <a:lnTo>
                    <a:pt x="76" y="300"/>
                  </a:lnTo>
                  <a:lnTo>
                    <a:pt x="76" y="303"/>
                  </a:lnTo>
                  <a:lnTo>
                    <a:pt x="78" y="306"/>
                  </a:lnTo>
                  <a:lnTo>
                    <a:pt x="80" y="312"/>
                  </a:lnTo>
                  <a:lnTo>
                    <a:pt x="82" y="318"/>
                  </a:lnTo>
                  <a:lnTo>
                    <a:pt x="82" y="324"/>
                  </a:lnTo>
                  <a:lnTo>
                    <a:pt x="83" y="330"/>
                  </a:lnTo>
                  <a:lnTo>
                    <a:pt x="82" y="335"/>
                  </a:lnTo>
                  <a:lnTo>
                    <a:pt x="81" y="341"/>
                  </a:lnTo>
                  <a:lnTo>
                    <a:pt x="79" y="346"/>
                  </a:lnTo>
                  <a:lnTo>
                    <a:pt x="75" y="350"/>
                  </a:lnTo>
                  <a:lnTo>
                    <a:pt x="71" y="357"/>
                  </a:lnTo>
                  <a:lnTo>
                    <a:pt x="65" y="363"/>
                  </a:lnTo>
                  <a:lnTo>
                    <a:pt x="58" y="368"/>
                  </a:lnTo>
                  <a:lnTo>
                    <a:pt x="51" y="372"/>
                  </a:lnTo>
                  <a:lnTo>
                    <a:pt x="42" y="375"/>
                  </a:lnTo>
                  <a:lnTo>
                    <a:pt x="33" y="378"/>
                  </a:lnTo>
                  <a:lnTo>
                    <a:pt x="25" y="379"/>
                  </a:lnTo>
                  <a:lnTo>
                    <a:pt x="15" y="381"/>
                  </a:lnTo>
                  <a:lnTo>
                    <a:pt x="12" y="381"/>
                  </a:lnTo>
                  <a:lnTo>
                    <a:pt x="9" y="382"/>
                  </a:lnTo>
                  <a:lnTo>
                    <a:pt x="7" y="383"/>
                  </a:lnTo>
                  <a:lnTo>
                    <a:pt x="4" y="385"/>
                  </a:lnTo>
                  <a:lnTo>
                    <a:pt x="2" y="387"/>
                  </a:lnTo>
                  <a:lnTo>
                    <a:pt x="1" y="389"/>
                  </a:lnTo>
                  <a:lnTo>
                    <a:pt x="0" y="392"/>
                  </a:lnTo>
                  <a:lnTo>
                    <a:pt x="0" y="396"/>
                  </a:lnTo>
                  <a:lnTo>
                    <a:pt x="0" y="398"/>
                  </a:lnTo>
                  <a:lnTo>
                    <a:pt x="1" y="401"/>
                  </a:lnTo>
                  <a:lnTo>
                    <a:pt x="2" y="403"/>
                  </a:lnTo>
                  <a:lnTo>
                    <a:pt x="4" y="405"/>
                  </a:lnTo>
                  <a:lnTo>
                    <a:pt x="7" y="407"/>
                  </a:lnTo>
                  <a:lnTo>
                    <a:pt x="9" y="408"/>
                  </a:lnTo>
                  <a:lnTo>
                    <a:pt x="12" y="410"/>
                  </a:lnTo>
                  <a:lnTo>
                    <a:pt x="15" y="411"/>
                  </a:lnTo>
                  <a:lnTo>
                    <a:pt x="28" y="410"/>
                  </a:lnTo>
                  <a:lnTo>
                    <a:pt x="41" y="407"/>
                  </a:lnTo>
                  <a:lnTo>
                    <a:pt x="54" y="403"/>
                  </a:lnTo>
                  <a:lnTo>
                    <a:pt x="66" y="399"/>
                  </a:lnTo>
                  <a:lnTo>
                    <a:pt x="76" y="392"/>
                  </a:lnTo>
                  <a:lnTo>
                    <a:pt x="86" y="385"/>
                  </a:lnTo>
                  <a:lnTo>
                    <a:pt x="94" y="376"/>
                  </a:lnTo>
                  <a:lnTo>
                    <a:pt x="101" y="367"/>
                  </a:lnTo>
                  <a:lnTo>
                    <a:pt x="104" y="360"/>
                  </a:lnTo>
                  <a:lnTo>
                    <a:pt x="108" y="354"/>
                  </a:lnTo>
                  <a:lnTo>
                    <a:pt x="110" y="347"/>
                  </a:lnTo>
                  <a:lnTo>
                    <a:pt x="112" y="340"/>
                  </a:lnTo>
                  <a:lnTo>
                    <a:pt x="113" y="333"/>
                  </a:lnTo>
                  <a:lnTo>
                    <a:pt x="113" y="326"/>
                  </a:lnTo>
                  <a:lnTo>
                    <a:pt x="112" y="318"/>
                  </a:lnTo>
                  <a:lnTo>
                    <a:pt x="111" y="311"/>
                  </a:lnTo>
                  <a:lnTo>
                    <a:pt x="118" y="307"/>
                  </a:lnTo>
                  <a:lnTo>
                    <a:pt x="126" y="304"/>
                  </a:lnTo>
                  <a:lnTo>
                    <a:pt x="133" y="300"/>
                  </a:lnTo>
                  <a:lnTo>
                    <a:pt x="140" y="296"/>
                  </a:lnTo>
                  <a:lnTo>
                    <a:pt x="146" y="290"/>
                  </a:lnTo>
                  <a:lnTo>
                    <a:pt x="153" y="285"/>
                  </a:lnTo>
                  <a:lnTo>
                    <a:pt x="158" y="278"/>
                  </a:lnTo>
                  <a:lnTo>
                    <a:pt x="163" y="272"/>
                  </a:lnTo>
                  <a:lnTo>
                    <a:pt x="167" y="264"/>
                  </a:lnTo>
                  <a:lnTo>
                    <a:pt x="171" y="257"/>
                  </a:lnTo>
                  <a:lnTo>
                    <a:pt x="174" y="249"/>
                  </a:lnTo>
                  <a:lnTo>
                    <a:pt x="178" y="242"/>
                  </a:lnTo>
                  <a:lnTo>
                    <a:pt x="180" y="233"/>
                  </a:lnTo>
                  <a:lnTo>
                    <a:pt x="181" y="224"/>
                  </a:lnTo>
                  <a:lnTo>
                    <a:pt x="182" y="215"/>
                  </a:lnTo>
                  <a:lnTo>
                    <a:pt x="182" y="205"/>
                  </a:lnTo>
                  <a:lnTo>
                    <a:pt x="182"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1" name="Gruppieren 640">
            <a:extLst>
              <a:ext uri="{FF2B5EF4-FFF2-40B4-BE49-F238E27FC236}">
                <a16:creationId xmlns:a16="http://schemas.microsoft.com/office/drawing/2014/main" id="{CF853BBC-2D14-44BB-8A09-DEF2AC4F49E5}"/>
              </a:ext>
            </a:extLst>
          </p:cNvPr>
          <p:cNvGrpSpPr>
            <a:grpSpLocks noChangeAspect="1"/>
          </p:cNvGrpSpPr>
          <p:nvPr/>
        </p:nvGrpSpPr>
        <p:grpSpPr>
          <a:xfrm>
            <a:off x="4959152" y="3802799"/>
            <a:ext cx="182875" cy="306484"/>
            <a:chOff x="2970351" y="3922605"/>
            <a:chExt cx="184508" cy="309221"/>
          </a:xfrm>
          <a:solidFill>
            <a:schemeClr val="bg1"/>
          </a:solidFill>
        </p:grpSpPr>
        <p:sp>
          <p:nvSpPr>
            <p:cNvPr id="642" name="Freeform 85">
              <a:extLst>
                <a:ext uri="{FF2B5EF4-FFF2-40B4-BE49-F238E27FC236}">
                  <a16:creationId xmlns:a16="http://schemas.microsoft.com/office/drawing/2014/main" id="{0A706CC6-1B59-454A-9689-12DF442B0105}"/>
                </a:ext>
              </a:extLst>
            </p:cNvPr>
            <p:cNvSpPr>
              <a:spLocks noEditPoints="1"/>
            </p:cNvSpPr>
            <p:nvPr/>
          </p:nvSpPr>
          <p:spPr bwMode="auto">
            <a:xfrm>
              <a:off x="2970351" y="3965314"/>
              <a:ext cx="71753" cy="266510"/>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86">
              <a:extLst>
                <a:ext uri="{FF2B5EF4-FFF2-40B4-BE49-F238E27FC236}">
                  <a16:creationId xmlns:a16="http://schemas.microsoft.com/office/drawing/2014/main" id="{25E29F6D-9F24-4F87-930C-EA724167CBC7}"/>
                </a:ext>
              </a:extLst>
            </p:cNvPr>
            <p:cNvSpPr>
              <a:spLocks noEditPoints="1"/>
            </p:cNvSpPr>
            <p:nvPr/>
          </p:nvSpPr>
          <p:spPr bwMode="auto">
            <a:xfrm>
              <a:off x="3062605" y="3922605"/>
              <a:ext cx="92254" cy="309221"/>
            </a:xfrm>
            <a:custGeom>
              <a:avLst/>
              <a:gdLst>
                <a:gd name="T0" fmla="*/ 32 w 273"/>
                <a:gd name="T1" fmla="*/ 754 h 905"/>
                <a:gd name="T2" fmla="*/ 112 w 273"/>
                <a:gd name="T3" fmla="*/ 753 h 905"/>
                <a:gd name="T4" fmla="*/ 119 w 273"/>
                <a:gd name="T5" fmla="*/ 748 h 905"/>
                <a:gd name="T6" fmla="*/ 122 w 273"/>
                <a:gd name="T7" fmla="*/ 739 h 905"/>
                <a:gd name="T8" fmla="*/ 119 w 273"/>
                <a:gd name="T9" fmla="*/ 730 h 905"/>
                <a:gd name="T10" fmla="*/ 112 w 273"/>
                <a:gd name="T11" fmla="*/ 725 h 905"/>
                <a:gd name="T12" fmla="*/ 32 w 273"/>
                <a:gd name="T13" fmla="*/ 724 h 905"/>
                <a:gd name="T14" fmla="*/ 109 w 273"/>
                <a:gd name="T15" fmla="*/ 602 h 905"/>
                <a:gd name="T16" fmla="*/ 118 w 273"/>
                <a:gd name="T17" fmla="*/ 599 h 905"/>
                <a:gd name="T18" fmla="*/ 121 w 273"/>
                <a:gd name="T19" fmla="*/ 591 h 905"/>
                <a:gd name="T20" fmla="*/ 121 w 273"/>
                <a:gd name="T21" fmla="*/ 582 h 905"/>
                <a:gd name="T22" fmla="*/ 114 w 273"/>
                <a:gd name="T23" fmla="*/ 576 h 905"/>
                <a:gd name="T24" fmla="*/ 107 w 273"/>
                <a:gd name="T25" fmla="*/ 573 h 905"/>
                <a:gd name="T26" fmla="*/ 107 w 273"/>
                <a:gd name="T27" fmla="*/ 452 h 905"/>
                <a:gd name="T28" fmla="*/ 114 w 273"/>
                <a:gd name="T29" fmla="*/ 450 h 905"/>
                <a:gd name="T30" fmla="*/ 121 w 273"/>
                <a:gd name="T31" fmla="*/ 443 h 905"/>
                <a:gd name="T32" fmla="*/ 121 w 273"/>
                <a:gd name="T33" fmla="*/ 435 h 905"/>
                <a:gd name="T34" fmla="*/ 118 w 273"/>
                <a:gd name="T35" fmla="*/ 427 h 905"/>
                <a:gd name="T36" fmla="*/ 109 w 273"/>
                <a:gd name="T37" fmla="*/ 423 h 905"/>
                <a:gd name="T38" fmla="*/ 32 w 273"/>
                <a:gd name="T39" fmla="*/ 301 h 905"/>
                <a:gd name="T40" fmla="*/ 112 w 273"/>
                <a:gd name="T41" fmla="*/ 300 h 905"/>
                <a:gd name="T42" fmla="*/ 119 w 273"/>
                <a:gd name="T43" fmla="*/ 295 h 905"/>
                <a:gd name="T44" fmla="*/ 122 w 273"/>
                <a:gd name="T45" fmla="*/ 286 h 905"/>
                <a:gd name="T46" fmla="*/ 119 w 273"/>
                <a:gd name="T47" fmla="*/ 278 h 905"/>
                <a:gd name="T48" fmla="*/ 112 w 273"/>
                <a:gd name="T49" fmla="*/ 272 h 905"/>
                <a:gd name="T50" fmla="*/ 32 w 273"/>
                <a:gd name="T51" fmla="*/ 271 h 905"/>
                <a:gd name="T52" fmla="*/ 109 w 273"/>
                <a:gd name="T53" fmla="*/ 151 h 905"/>
                <a:gd name="T54" fmla="*/ 118 w 273"/>
                <a:gd name="T55" fmla="*/ 147 h 905"/>
                <a:gd name="T56" fmla="*/ 121 w 273"/>
                <a:gd name="T57" fmla="*/ 139 h 905"/>
                <a:gd name="T58" fmla="*/ 121 w 273"/>
                <a:gd name="T59" fmla="*/ 130 h 905"/>
                <a:gd name="T60" fmla="*/ 114 w 273"/>
                <a:gd name="T61" fmla="*/ 123 h 905"/>
                <a:gd name="T62" fmla="*/ 107 w 273"/>
                <a:gd name="T63" fmla="*/ 121 h 905"/>
                <a:gd name="T64" fmla="*/ 242 w 273"/>
                <a:gd name="T65" fmla="*/ 30 h 905"/>
                <a:gd name="T66" fmla="*/ 17 w 273"/>
                <a:gd name="T67" fmla="*/ 0 h 905"/>
                <a:gd name="T68" fmla="*/ 8 w 273"/>
                <a:gd name="T69" fmla="*/ 2 h 905"/>
                <a:gd name="T70" fmla="*/ 3 w 273"/>
                <a:gd name="T71" fmla="*/ 9 h 905"/>
                <a:gd name="T72" fmla="*/ 1 w 273"/>
                <a:gd name="T73" fmla="*/ 890 h 905"/>
                <a:gd name="T74" fmla="*/ 4 w 273"/>
                <a:gd name="T75" fmla="*/ 898 h 905"/>
                <a:gd name="T76" fmla="*/ 10 w 273"/>
                <a:gd name="T77" fmla="*/ 904 h 905"/>
                <a:gd name="T78" fmla="*/ 257 w 273"/>
                <a:gd name="T79" fmla="*/ 905 h 905"/>
                <a:gd name="T80" fmla="*/ 266 w 273"/>
                <a:gd name="T81" fmla="*/ 902 h 905"/>
                <a:gd name="T82" fmla="*/ 271 w 273"/>
                <a:gd name="T83" fmla="*/ 895 h 905"/>
                <a:gd name="T84" fmla="*/ 273 w 273"/>
                <a:gd name="T85" fmla="*/ 15 h 905"/>
                <a:gd name="T86" fmla="*/ 269 w 273"/>
                <a:gd name="T87" fmla="*/ 7 h 905"/>
                <a:gd name="T88" fmla="*/ 263 w 273"/>
                <a:gd name="T89" fmla="*/ 1 h 905"/>
                <a:gd name="T90" fmla="*/ 257 w 273"/>
                <a:gd name="T91"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905">
                  <a:moveTo>
                    <a:pt x="242" y="874"/>
                  </a:moveTo>
                  <a:lnTo>
                    <a:pt x="32" y="874"/>
                  </a:lnTo>
                  <a:lnTo>
                    <a:pt x="32" y="754"/>
                  </a:lnTo>
                  <a:lnTo>
                    <a:pt x="107" y="754"/>
                  </a:lnTo>
                  <a:lnTo>
                    <a:pt x="109" y="754"/>
                  </a:lnTo>
                  <a:lnTo>
                    <a:pt x="112" y="753"/>
                  </a:lnTo>
                  <a:lnTo>
                    <a:pt x="114" y="751"/>
                  </a:lnTo>
                  <a:lnTo>
                    <a:pt x="118" y="750"/>
                  </a:lnTo>
                  <a:lnTo>
                    <a:pt x="119" y="748"/>
                  </a:lnTo>
                  <a:lnTo>
                    <a:pt x="121" y="744"/>
                  </a:lnTo>
                  <a:lnTo>
                    <a:pt x="121" y="742"/>
                  </a:lnTo>
                  <a:lnTo>
                    <a:pt x="122" y="739"/>
                  </a:lnTo>
                  <a:lnTo>
                    <a:pt x="121" y="736"/>
                  </a:lnTo>
                  <a:lnTo>
                    <a:pt x="121" y="733"/>
                  </a:lnTo>
                  <a:lnTo>
                    <a:pt x="119" y="730"/>
                  </a:lnTo>
                  <a:lnTo>
                    <a:pt x="118" y="728"/>
                  </a:lnTo>
                  <a:lnTo>
                    <a:pt x="114" y="726"/>
                  </a:lnTo>
                  <a:lnTo>
                    <a:pt x="112" y="725"/>
                  </a:lnTo>
                  <a:lnTo>
                    <a:pt x="109" y="724"/>
                  </a:lnTo>
                  <a:lnTo>
                    <a:pt x="107" y="724"/>
                  </a:lnTo>
                  <a:lnTo>
                    <a:pt x="32" y="724"/>
                  </a:lnTo>
                  <a:lnTo>
                    <a:pt x="32" y="604"/>
                  </a:lnTo>
                  <a:lnTo>
                    <a:pt x="107" y="604"/>
                  </a:lnTo>
                  <a:lnTo>
                    <a:pt x="109" y="602"/>
                  </a:lnTo>
                  <a:lnTo>
                    <a:pt x="112" y="602"/>
                  </a:lnTo>
                  <a:lnTo>
                    <a:pt x="114" y="600"/>
                  </a:lnTo>
                  <a:lnTo>
                    <a:pt x="118" y="599"/>
                  </a:lnTo>
                  <a:lnTo>
                    <a:pt x="119" y="596"/>
                  </a:lnTo>
                  <a:lnTo>
                    <a:pt x="121" y="594"/>
                  </a:lnTo>
                  <a:lnTo>
                    <a:pt x="121" y="591"/>
                  </a:lnTo>
                  <a:lnTo>
                    <a:pt x="122" y="588"/>
                  </a:lnTo>
                  <a:lnTo>
                    <a:pt x="121" y="585"/>
                  </a:lnTo>
                  <a:lnTo>
                    <a:pt x="121" y="582"/>
                  </a:lnTo>
                  <a:lnTo>
                    <a:pt x="119" y="580"/>
                  </a:lnTo>
                  <a:lnTo>
                    <a:pt x="118" y="578"/>
                  </a:lnTo>
                  <a:lnTo>
                    <a:pt x="114" y="576"/>
                  </a:lnTo>
                  <a:lnTo>
                    <a:pt x="112" y="574"/>
                  </a:lnTo>
                  <a:lnTo>
                    <a:pt x="109" y="573"/>
                  </a:lnTo>
                  <a:lnTo>
                    <a:pt x="107" y="573"/>
                  </a:lnTo>
                  <a:lnTo>
                    <a:pt x="32" y="573"/>
                  </a:lnTo>
                  <a:lnTo>
                    <a:pt x="32" y="452"/>
                  </a:lnTo>
                  <a:lnTo>
                    <a:pt x="107" y="452"/>
                  </a:lnTo>
                  <a:lnTo>
                    <a:pt x="109" y="452"/>
                  </a:lnTo>
                  <a:lnTo>
                    <a:pt x="112" y="451"/>
                  </a:lnTo>
                  <a:lnTo>
                    <a:pt x="114" y="450"/>
                  </a:lnTo>
                  <a:lnTo>
                    <a:pt x="118" y="448"/>
                  </a:lnTo>
                  <a:lnTo>
                    <a:pt x="119" y="445"/>
                  </a:lnTo>
                  <a:lnTo>
                    <a:pt x="121" y="443"/>
                  </a:lnTo>
                  <a:lnTo>
                    <a:pt x="121" y="440"/>
                  </a:lnTo>
                  <a:lnTo>
                    <a:pt x="122" y="437"/>
                  </a:lnTo>
                  <a:lnTo>
                    <a:pt x="121" y="435"/>
                  </a:lnTo>
                  <a:lnTo>
                    <a:pt x="121" y="431"/>
                  </a:lnTo>
                  <a:lnTo>
                    <a:pt x="119" y="429"/>
                  </a:lnTo>
                  <a:lnTo>
                    <a:pt x="118" y="427"/>
                  </a:lnTo>
                  <a:lnTo>
                    <a:pt x="114" y="425"/>
                  </a:lnTo>
                  <a:lnTo>
                    <a:pt x="112" y="424"/>
                  </a:lnTo>
                  <a:lnTo>
                    <a:pt x="109" y="423"/>
                  </a:lnTo>
                  <a:lnTo>
                    <a:pt x="107" y="422"/>
                  </a:lnTo>
                  <a:lnTo>
                    <a:pt x="32" y="422"/>
                  </a:lnTo>
                  <a:lnTo>
                    <a:pt x="32" y="301"/>
                  </a:lnTo>
                  <a:lnTo>
                    <a:pt x="107" y="301"/>
                  </a:lnTo>
                  <a:lnTo>
                    <a:pt x="109" y="301"/>
                  </a:lnTo>
                  <a:lnTo>
                    <a:pt x="112" y="300"/>
                  </a:lnTo>
                  <a:lnTo>
                    <a:pt x="114" y="299"/>
                  </a:lnTo>
                  <a:lnTo>
                    <a:pt x="118" y="297"/>
                  </a:lnTo>
                  <a:lnTo>
                    <a:pt x="119" y="295"/>
                  </a:lnTo>
                  <a:lnTo>
                    <a:pt x="121" y="293"/>
                  </a:lnTo>
                  <a:lnTo>
                    <a:pt x="121" y="290"/>
                  </a:lnTo>
                  <a:lnTo>
                    <a:pt x="122" y="286"/>
                  </a:lnTo>
                  <a:lnTo>
                    <a:pt x="121" y="283"/>
                  </a:lnTo>
                  <a:lnTo>
                    <a:pt x="121" y="281"/>
                  </a:lnTo>
                  <a:lnTo>
                    <a:pt x="119" y="278"/>
                  </a:lnTo>
                  <a:lnTo>
                    <a:pt x="118" y="276"/>
                  </a:lnTo>
                  <a:lnTo>
                    <a:pt x="114" y="274"/>
                  </a:lnTo>
                  <a:lnTo>
                    <a:pt x="112" y="272"/>
                  </a:lnTo>
                  <a:lnTo>
                    <a:pt x="109" y="272"/>
                  </a:lnTo>
                  <a:lnTo>
                    <a:pt x="107" y="271"/>
                  </a:lnTo>
                  <a:lnTo>
                    <a:pt x="32" y="271"/>
                  </a:lnTo>
                  <a:lnTo>
                    <a:pt x="32" y="151"/>
                  </a:lnTo>
                  <a:lnTo>
                    <a:pt x="107" y="151"/>
                  </a:lnTo>
                  <a:lnTo>
                    <a:pt x="109" y="151"/>
                  </a:lnTo>
                  <a:lnTo>
                    <a:pt x="112" y="150"/>
                  </a:lnTo>
                  <a:lnTo>
                    <a:pt x="114" y="149"/>
                  </a:lnTo>
                  <a:lnTo>
                    <a:pt x="118" y="147"/>
                  </a:lnTo>
                  <a:lnTo>
                    <a:pt x="119" y="144"/>
                  </a:lnTo>
                  <a:lnTo>
                    <a:pt x="121" y="141"/>
                  </a:lnTo>
                  <a:lnTo>
                    <a:pt x="121" y="139"/>
                  </a:lnTo>
                  <a:lnTo>
                    <a:pt x="122" y="136"/>
                  </a:lnTo>
                  <a:lnTo>
                    <a:pt x="121" y="133"/>
                  </a:lnTo>
                  <a:lnTo>
                    <a:pt x="121" y="130"/>
                  </a:lnTo>
                  <a:lnTo>
                    <a:pt x="119" y="127"/>
                  </a:lnTo>
                  <a:lnTo>
                    <a:pt x="118" y="125"/>
                  </a:lnTo>
                  <a:lnTo>
                    <a:pt x="114" y="123"/>
                  </a:lnTo>
                  <a:lnTo>
                    <a:pt x="112" y="122"/>
                  </a:lnTo>
                  <a:lnTo>
                    <a:pt x="109" y="121"/>
                  </a:lnTo>
                  <a:lnTo>
                    <a:pt x="107" y="121"/>
                  </a:lnTo>
                  <a:lnTo>
                    <a:pt x="32" y="121"/>
                  </a:lnTo>
                  <a:lnTo>
                    <a:pt x="32" y="30"/>
                  </a:lnTo>
                  <a:lnTo>
                    <a:pt x="242" y="30"/>
                  </a:lnTo>
                  <a:lnTo>
                    <a:pt x="242" y="874"/>
                  </a:lnTo>
                  <a:close/>
                  <a:moveTo>
                    <a:pt x="257" y="0"/>
                  </a:moveTo>
                  <a:lnTo>
                    <a:pt x="17" y="0"/>
                  </a:lnTo>
                  <a:lnTo>
                    <a:pt x="13" y="0"/>
                  </a:lnTo>
                  <a:lnTo>
                    <a:pt x="10" y="1"/>
                  </a:lnTo>
                  <a:lnTo>
                    <a:pt x="8" y="2"/>
                  </a:lnTo>
                  <a:lnTo>
                    <a:pt x="6" y="5"/>
                  </a:lnTo>
                  <a:lnTo>
                    <a:pt x="4" y="7"/>
                  </a:lnTo>
                  <a:lnTo>
                    <a:pt x="3" y="9"/>
                  </a:lnTo>
                  <a:lnTo>
                    <a:pt x="1" y="12"/>
                  </a:lnTo>
                  <a:lnTo>
                    <a:pt x="0" y="15"/>
                  </a:lnTo>
                  <a:lnTo>
                    <a:pt x="1" y="890"/>
                  </a:lnTo>
                  <a:lnTo>
                    <a:pt x="1" y="893"/>
                  </a:lnTo>
                  <a:lnTo>
                    <a:pt x="3" y="895"/>
                  </a:lnTo>
                  <a:lnTo>
                    <a:pt x="4" y="898"/>
                  </a:lnTo>
                  <a:lnTo>
                    <a:pt x="6" y="900"/>
                  </a:lnTo>
                  <a:lnTo>
                    <a:pt x="8" y="902"/>
                  </a:lnTo>
                  <a:lnTo>
                    <a:pt x="10" y="904"/>
                  </a:lnTo>
                  <a:lnTo>
                    <a:pt x="13" y="905"/>
                  </a:lnTo>
                  <a:lnTo>
                    <a:pt x="17" y="905"/>
                  </a:lnTo>
                  <a:lnTo>
                    <a:pt x="257" y="905"/>
                  </a:lnTo>
                  <a:lnTo>
                    <a:pt x="261" y="905"/>
                  </a:lnTo>
                  <a:lnTo>
                    <a:pt x="263" y="904"/>
                  </a:lnTo>
                  <a:lnTo>
                    <a:pt x="266" y="902"/>
                  </a:lnTo>
                  <a:lnTo>
                    <a:pt x="268" y="900"/>
                  </a:lnTo>
                  <a:lnTo>
                    <a:pt x="269" y="898"/>
                  </a:lnTo>
                  <a:lnTo>
                    <a:pt x="271" y="895"/>
                  </a:lnTo>
                  <a:lnTo>
                    <a:pt x="273" y="893"/>
                  </a:lnTo>
                  <a:lnTo>
                    <a:pt x="273" y="890"/>
                  </a:lnTo>
                  <a:lnTo>
                    <a:pt x="273" y="15"/>
                  </a:lnTo>
                  <a:lnTo>
                    <a:pt x="273" y="12"/>
                  </a:lnTo>
                  <a:lnTo>
                    <a:pt x="271" y="9"/>
                  </a:lnTo>
                  <a:lnTo>
                    <a:pt x="269" y="7"/>
                  </a:lnTo>
                  <a:lnTo>
                    <a:pt x="268" y="5"/>
                  </a:lnTo>
                  <a:lnTo>
                    <a:pt x="266" y="2"/>
                  </a:lnTo>
                  <a:lnTo>
                    <a:pt x="263" y="1"/>
                  </a:lnTo>
                  <a:lnTo>
                    <a:pt x="261"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2" name="Group 5">
            <a:extLst>
              <a:ext uri="{FF2B5EF4-FFF2-40B4-BE49-F238E27FC236}">
                <a16:creationId xmlns:a16="http://schemas.microsoft.com/office/drawing/2014/main" id="{E16FD00F-3743-4C6B-A6BD-453713F782A4}"/>
              </a:ext>
            </a:extLst>
          </p:cNvPr>
          <p:cNvGrpSpPr>
            <a:grpSpLocks noChangeAspect="1"/>
          </p:cNvGrpSpPr>
          <p:nvPr/>
        </p:nvGrpSpPr>
        <p:grpSpPr>
          <a:xfrm>
            <a:off x="1883455" y="4345739"/>
            <a:ext cx="306484" cy="306484"/>
            <a:chOff x="5919788" y="1438275"/>
            <a:chExt cx="750888" cy="750888"/>
          </a:xfrm>
          <a:solidFill>
            <a:schemeClr val="bg1"/>
          </a:solidFill>
        </p:grpSpPr>
        <p:sp>
          <p:nvSpPr>
            <p:cNvPr id="653" name="Freeform 20">
              <a:extLst>
                <a:ext uri="{FF2B5EF4-FFF2-40B4-BE49-F238E27FC236}">
                  <a16:creationId xmlns:a16="http://schemas.microsoft.com/office/drawing/2014/main" id="{1E58791A-43A7-4EF2-8F77-31A9B4F0F9FA}"/>
                </a:ext>
              </a:extLst>
            </p:cNvPr>
            <p:cNvSpPr>
              <a:spLocks/>
            </p:cNvSpPr>
            <p:nvPr/>
          </p:nvSpPr>
          <p:spPr bwMode="auto">
            <a:xfrm>
              <a:off x="6159501" y="1685925"/>
              <a:ext cx="198438" cy="198438"/>
            </a:xfrm>
            <a:custGeom>
              <a:avLst/>
              <a:gdLst>
                <a:gd name="T0" fmla="*/ 15 w 125"/>
                <a:gd name="T1" fmla="*/ 125 h 125"/>
                <a:gd name="T2" fmla="*/ 0 w 125"/>
                <a:gd name="T3" fmla="*/ 110 h 125"/>
                <a:gd name="T4" fmla="*/ 111 w 125"/>
                <a:gd name="T5" fmla="*/ 0 h 125"/>
                <a:gd name="T6" fmla="*/ 125 w 125"/>
                <a:gd name="T7" fmla="*/ 12 h 125"/>
                <a:gd name="T8" fmla="*/ 15 w 125"/>
                <a:gd name="T9" fmla="*/ 125 h 125"/>
              </a:gdLst>
              <a:ahLst/>
              <a:cxnLst>
                <a:cxn ang="0">
                  <a:pos x="T0" y="T1"/>
                </a:cxn>
                <a:cxn ang="0">
                  <a:pos x="T2" y="T3"/>
                </a:cxn>
                <a:cxn ang="0">
                  <a:pos x="T4" y="T5"/>
                </a:cxn>
                <a:cxn ang="0">
                  <a:pos x="T6" y="T7"/>
                </a:cxn>
                <a:cxn ang="0">
                  <a:pos x="T8" y="T9"/>
                </a:cxn>
              </a:cxnLst>
              <a:rect l="0" t="0" r="r" b="b"/>
              <a:pathLst>
                <a:path w="125" h="125">
                  <a:moveTo>
                    <a:pt x="15" y="125"/>
                  </a:moveTo>
                  <a:lnTo>
                    <a:pt x="0" y="110"/>
                  </a:lnTo>
                  <a:lnTo>
                    <a:pt x="111" y="0"/>
                  </a:lnTo>
                  <a:lnTo>
                    <a:pt x="125" y="12"/>
                  </a:lnTo>
                  <a:lnTo>
                    <a:pt x="15"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4" name="Freeform 21">
              <a:extLst>
                <a:ext uri="{FF2B5EF4-FFF2-40B4-BE49-F238E27FC236}">
                  <a16:creationId xmlns:a16="http://schemas.microsoft.com/office/drawing/2014/main" id="{468B95FD-0146-4908-BCF8-112F36054304}"/>
                </a:ext>
              </a:extLst>
            </p:cNvPr>
            <p:cNvSpPr>
              <a:spLocks/>
            </p:cNvSpPr>
            <p:nvPr/>
          </p:nvSpPr>
          <p:spPr bwMode="auto">
            <a:xfrm>
              <a:off x="6224588" y="1751013"/>
              <a:ext cx="198438" cy="196850"/>
            </a:xfrm>
            <a:custGeom>
              <a:avLst/>
              <a:gdLst>
                <a:gd name="T0" fmla="*/ 15 w 125"/>
                <a:gd name="T1" fmla="*/ 124 h 124"/>
                <a:gd name="T2" fmla="*/ 0 w 125"/>
                <a:gd name="T3" fmla="*/ 110 h 124"/>
                <a:gd name="T4" fmla="*/ 113 w 125"/>
                <a:gd name="T5" fmla="*/ 0 h 124"/>
                <a:gd name="T6" fmla="*/ 125 w 125"/>
                <a:gd name="T7" fmla="*/ 14 h 124"/>
                <a:gd name="T8" fmla="*/ 15 w 125"/>
                <a:gd name="T9" fmla="*/ 124 h 124"/>
              </a:gdLst>
              <a:ahLst/>
              <a:cxnLst>
                <a:cxn ang="0">
                  <a:pos x="T0" y="T1"/>
                </a:cxn>
                <a:cxn ang="0">
                  <a:pos x="T2" y="T3"/>
                </a:cxn>
                <a:cxn ang="0">
                  <a:pos x="T4" y="T5"/>
                </a:cxn>
                <a:cxn ang="0">
                  <a:pos x="T6" y="T7"/>
                </a:cxn>
                <a:cxn ang="0">
                  <a:pos x="T8" y="T9"/>
                </a:cxn>
              </a:cxnLst>
              <a:rect l="0" t="0" r="r" b="b"/>
              <a:pathLst>
                <a:path w="125" h="124">
                  <a:moveTo>
                    <a:pt x="15" y="124"/>
                  </a:moveTo>
                  <a:lnTo>
                    <a:pt x="0" y="110"/>
                  </a:lnTo>
                  <a:lnTo>
                    <a:pt x="113" y="0"/>
                  </a:lnTo>
                  <a:lnTo>
                    <a:pt x="125" y="14"/>
                  </a:lnTo>
                  <a:lnTo>
                    <a:pt x="1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5" name="Freeform 22">
              <a:extLst>
                <a:ext uri="{FF2B5EF4-FFF2-40B4-BE49-F238E27FC236}">
                  <a16:creationId xmlns:a16="http://schemas.microsoft.com/office/drawing/2014/main" id="{0BDEACD6-08F2-4CAB-B1FE-6F51A2288680}"/>
                </a:ext>
              </a:extLst>
            </p:cNvPr>
            <p:cNvSpPr>
              <a:spLocks noEditPoints="1"/>
            </p:cNvSpPr>
            <p:nvPr/>
          </p:nvSpPr>
          <p:spPr bwMode="auto">
            <a:xfrm>
              <a:off x="5935663" y="1838325"/>
              <a:ext cx="331788" cy="327025"/>
            </a:xfrm>
            <a:custGeom>
              <a:avLst/>
              <a:gdLst>
                <a:gd name="T0" fmla="*/ 70 w 87"/>
                <a:gd name="T1" fmla="*/ 86 h 86"/>
                <a:gd name="T2" fmla="*/ 59 w 87"/>
                <a:gd name="T3" fmla="*/ 81 h 86"/>
                <a:gd name="T4" fmla="*/ 7 w 87"/>
                <a:gd name="T5" fmla="*/ 29 h 86"/>
                <a:gd name="T6" fmla="*/ 7 w 87"/>
                <a:gd name="T7" fmla="*/ 6 h 86"/>
                <a:gd name="T8" fmla="*/ 30 w 87"/>
                <a:gd name="T9" fmla="*/ 6 h 86"/>
                <a:gd name="T10" fmla="*/ 82 w 87"/>
                <a:gd name="T11" fmla="*/ 58 h 86"/>
                <a:gd name="T12" fmla="*/ 87 w 87"/>
                <a:gd name="T13" fmla="*/ 70 h 86"/>
                <a:gd name="T14" fmla="*/ 82 w 87"/>
                <a:gd name="T15" fmla="*/ 81 h 86"/>
                <a:gd name="T16" fmla="*/ 70 w 87"/>
                <a:gd name="T17" fmla="*/ 86 h 86"/>
                <a:gd name="T18" fmla="*/ 18 w 87"/>
                <a:gd name="T19" fmla="*/ 9 h 86"/>
                <a:gd name="T20" fmla="*/ 12 w 87"/>
                <a:gd name="T21" fmla="*/ 12 h 86"/>
                <a:gd name="T22" fmla="*/ 12 w 87"/>
                <a:gd name="T23" fmla="*/ 23 h 86"/>
                <a:gd name="T24" fmla="*/ 65 w 87"/>
                <a:gd name="T25" fmla="*/ 76 h 86"/>
                <a:gd name="T26" fmla="*/ 76 w 87"/>
                <a:gd name="T27" fmla="*/ 76 h 86"/>
                <a:gd name="T28" fmla="*/ 79 w 87"/>
                <a:gd name="T29" fmla="*/ 70 h 86"/>
                <a:gd name="T30" fmla="*/ 76 w 87"/>
                <a:gd name="T31" fmla="*/ 64 h 86"/>
                <a:gd name="T32" fmla="*/ 24 w 87"/>
                <a:gd name="T33" fmla="*/ 12 h 86"/>
                <a:gd name="T34" fmla="*/ 18 w 87"/>
                <a:gd name="T35" fmla="*/ 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86">
                  <a:moveTo>
                    <a:pt x="70" y="86"/>
                  </a:moveTo>
                  <a:cubicBezTo>
                    <a:pt x="66" y="86"/>
                    <a:pt x="62" y="85"/>
                    <a:pt x="59" y="81"/>
                  </a:cubicBezTo>
                  <a:cubicBezTo>
                    <a:pt x="7" y="29"/>
                    <a:pt x="7" y="29"/>
                    <a:pt x="7" y="29"/>
                  </a:cubicBezTo>
                  <a:cubicBezTo>
                    <a:pt x="0" y="23"/>
                    <a:pt x="0" y="12"/>
                    <a:pt x="7" y="6"/>
                  </a:cubicBezTo>
                  <a:cubicBezTo>
                    <a:pt x="13" y="0"/>
                    <a:pt x="24" y="0"/>
                    <a:pt x="30" y="6"/>
                  </a:cubicBezTo>
                  <a:cubicBezTo>
                    <a:pt x="82" y="58"/>
                    <a:pt x="82" y="58"/>
                    <a:pt x="82" y="58"/>
                  </a:cubicBezTo>
                  <a:cubicBezTo>
                    <a:pt x="85" y="61"/>
                    <a:pt x="87" y="65"/>
                    <a:pt x="87" y="70"/>
                  </a:cubicBezTo>
                  <a:cubicBezTo>
                    <a:pt x="87" y="74"/>
                    <a:pt x="85" y="78"/>
                    <a:pt x="82" y="81"/>
                  </a:cubicBezTo>
                  <a:cubicBezTo>
                    <a:pt x="79" y="85"/>
                    <a:pt x="75" y="86"/>
                    <a:pt x="70" y="86"/>
                  </a:cubicBezTo>
                  <a:close/>
                  <a:moveTo>
                    <a:pt x="18" y="9"/>
                  </a:moveTo>
                  <a:cubicBezTo>
                    <a:pt x="16" y="9"/>
                    <a:pt x="14" y="10"/>
                    <a:pt x="12" y="12"/>
                  </a:cubicBezTo>
                  <a:cubicBezTo>
                    <a:pt x="9" y="15"/>
                    <a:pt x="9" y="20"/>
                    <a:pt x="12" y="23"/>
                  </a:cubicBezTo>
                  <a:cubicBezTo>
                    <a:pt x="65" y="76"/>
                    <a:pt x="65" y="76"/>
                    <a:pt x="65" y="76"/>
                  </a:cubicBezTo>
                  <a:cubicBezTo>
                    <a:pt x="68" y="79"/>
                    <a:pt x="73" y="79"/>
                    <a:pt x="76" y="76"/>
                  </a:cubicBezTo>
                  <a:cubicBezTo>
                    <a:pt x="78" y="74"/>
                    <a:pt x="79" y="72"/>
                    <a:pt x="79" y="70"/>
                  </a:cubicBezTo>
                  <a:cubicBezTo>
                    <a:pt x="79" y="68"/>
                    <a:pt x="78" y="66"/>
                    <a:pt x="76" y="64"/>
                  </a:cubicBezTo>
                  <a:cubicBezTo>
                    <a:pt x="24" y="12"/>
                    <a:pt x="24" y="12"/>
                    <a:pt x="24" y="12"/>
                  </a:cubicBezTo>
                  <a:cubicBezTo>
                    <a:pt x="22" y="10"/>
                    <a:pt x="20"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6" name="Freeform 23">
              <a:extLst>
                <a:ext uri="{FF2B5EF4-FFF2-40B4-BE49-F238E27FC236}">
                  <a16:creationId xmlns:a16="http://schemas.microsoft.com/office/drawing/2014/main" id="{22ADF5EF-E9A6-4F57-B247-3E4AF342D1E3}"/>
                </a:ext>
              </a:extLst>
            </p:cNvPr>
            <p:cNvSpPr>
              <a:spLocks noEditPoints="1"/>
            </p:cNvSpPr>
            <p:nvPr/>
          </p:nvSpPr>
          <p:spPr bwMode="auto">
            <a:xfrm>
              <a:off x="5957888" y="1727200"/>
              <a:ext cx="419100" cy="415925"/>
            </a:xfrm>
            <a:custGeom>
              <a:avLst/>
              <a:gdLst>
                <a:gd name="T0" fmla="*/ 93 w 110"/>
                <a:gd name="T1" fmla="*/ 109 h 109"/>
                <a:gd name="T2" fmla="*/ 82 w 110"/>
                <a:gd name="T3" fmla="*/ 105 h 109"/>
                <a:gd name="T4" fmla="*/ 6 w 110"/>
                <a:gd name="T5" fmla="*/ 29 h 109"/>
                <a:gd name="T6" fmla="*/ 6 w 110"/>
                <a:gd name="T7" fmla="*/ 6 h 109"/>
                <a:gd name="T8" fmla="*/ 30 w 110"/>
                <a:gd name="T9" fmla="*/ 6 h 109"/>
                <a:gd name="T10" fmla="*/ 105 w 110"/>
                <a:gd name="T11" fmla="*/ 81 h 109"/>
                <a:gd name="T12" fmla="*/ 110 w 110"/>
                <a:gd name="T13" fmla="*/ 93 h 109"/>
                <a:gd name="T14" fmla="*/ 105 w 110"/>
                <a:gd name="T15" fmla="*/ 105 h 109"/>
                <a:gd name="T16" fmla="*/ 93 w 110"/>
                <a:gd name="T17" fmla="*/ 109 h 109"/>
                <a:gd name="T18" fmla="*/ 18 w 110"/>
                <a:gd name="T19" fmla="*/ 9 h 109"/>
                <a:gd name="T20" fmla="*/ 12 w 110"/>
                <a:gd name="T21" fmla="*/ 12 h 109"/>
                <a:gd name="T22" fmla="*/ 12 w 110"/>
                <a:gd name="T23" fmla="*/ 23 h 109"/>
                <a:gd name="T24" fmla="*/ 88 w 110"/>
                <a:gd name="T25" fmla="*/ 99 h 109"/>
                <a:gd name="T26" fmla="*/ 99 w 110"/>
                <a:gd name="T27" fmla="*/ 99 h 109"/>
                <a:gd name="T28" fmla="*/ 102 w 110"/>
                <a:gd name="T29" fmla="*/ 93 h 109"/>
                <a:gd name="T30" fmla="*/ 99 w 110"/>
                <a:gd name="T31" fmla="*/ 87 h 109"/>
                <a:gd name="T32" fmla="*/ 24 w 110"/>
                <a:gd name="T33" fmla="*/ 12 h 109"/>
                <a:gd name="T34" fmla="*/ 18 w 110"/>
                <a:gd name="T35" fmla="*/ 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09">
                  <a:moveTo>
                    <a:pt x="93" y="109"/>
                  </a:moveTo>
                  <a:cubicBezTo>
                    <a:pt x="89" y="109"/>
                    <a:pt x="85" y="108"/>
                    <a:pt x="82" y="105"/>
                  </a:cubicBezTo>
                  <a:cubicBezTo>
                    <a:pt x="6" y="29"/>
                    <a:pt x="6" y="29"/>
                    <a:pt x="6" y="29"/>
                  </a:cubicBezTo>
                  <a:cubicBezTo>
                    <a:pt x="0" y="23"/>
                    <a:pt x="0" y="12"/>
                    <a:pt x="6" y="6"/>
                  </a:cubicBezTo>
                  <a:cubicBezTo>
                    <a:pt x="13" y="0"/>
                    <a:pt x="23" y="0"/>
                    <a:pt x="30" y="6"/>
                  </a:cubicBezTo>
                  <a:cubicBezTo>
                    <a:pt x="105" y="81"/>
                    <a:pt x="105" y="81"/>
                    <a:pt x="105" y="81"/>
                  </a:cubicBezTo>
                  <a:cubicBezTo>
                    <a:pt x="108" y="84"/>
                    <a:pt x="110" y="89"/>
                    <a:pt x="110" y="93"/>
                  </a:cubicBezTo>
                  <a:cubicBezTo>
                    <a:pt x="110" y="97"/>
                    <a:pt x="108" y="101"/>
                    <a:pt x="105" y="105"/>
                  </a:cubicBezTo>
                  <a:cubicBezTo>
                    <a:pt x="102" y="108"/>
                    <a:pt x="98" y="109"/>
                    <a:pt x="93" y="109"/>
                  </a:cubicBezTo>
                  <a:close/>
                  <a:moveTo>
                    <a:pt x="18" y="9"/>
                  </a:moveTo>
                  <a:cubicBezTo>
                    <a:pt x="16" y="9"/>
                    <a:pt x="14" y="10"/>
                    <a:pt x="12" y="12"/>
                  </a:cubicBezTo>
                  <a:cubicBezTo>
                    <a:pt x="9" y="15"/>
                    <a:pt x="9" y="20"/>
                    <a:pt x="12" y="23"/>
                  </a:cubicBezTo>
                  <a:cubicBezTo>
                    <a:pt x="88" y="99"/>
                    <a:pt x="88" y="99"/>
                    <a:pt x="88" y="99"/>
                  </a:cubicBezTo>
                  <a:cubicBezTo>
                    <a:pt x="91" y="102"/>
                    <a:pt x="96" y="102"/>
                    <a:pt x="99" y="99"/>
                  </a:cubicBezTo>
                  <a:cubicBezTo>
                    <a:pt x="101" y="97"/>
                    <a:pt x="102" y="95"/>
                    <a:pt x="102" y="93"/>
                  </a:cubicBezTo>
                  <a:cubicBezTo>
                    <a:pt x="102" y="91"/>
                    <a:pt x="101" y="89"/>
                    <a:pt x="99" y="87"/>
                  </a:cubicBezTo>
                  <a:cubicBezTo>
                    <a:pt x="24" y="12"/>
                    <a:pt x="24" y="12"/>
                    <a:pt x="24" y="12"/>
                  </a:cubicBezTo>
                  <a:cubicBezTo>
                    <a:pt x="22" y="10"/>
                    <a:pt x="20" y="9"/>
                    <a:pt x="1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7" name="Freeform 24">
              <a:extLst>
                <a:ext uri="{FF2B5EF4-FFF2-40B4-BE49-F238E27FC236}">
                  <a16:creationId xmlns:a16="http://schemas.microsoft.com/office/drawing/2014/main" id="{44F0930C-BF76-4C57-999F-3120E8FB9BEF}"/>
                </a:ext>
              </a:extLst>
            </p:cNvPr>
            <p:cNvSpPr>
              <a:spLocks noEditPoints="1"/>
            </p:cNvSpPr>
            <p:nvPr/>
          </p:nvSpPr>
          <p:spPr bwMode="auto">
            <a:xfrm>
              <a:off x="6202363" y="1482725"/>
              <a:ext cx="419100" cy="420688"/>
            </a:xfrm>
            <a:custGeom>
              <a:avLst/>
              <a:gdLst>
                <a:gd name="T0" fmla="*/ 93 w 110"/>
                <a:gd name="T1" fmla="*/ 110 h 110"/>
                <a:gd name="T2" fmla="*/ 82 w 110"/>
                <a:gd name="T3" fmla="*/ 105 h 110"/>
                <a:gd name="T4" fmla="*/ 6 w 110"/>
                <a:gd name="T5" fmla="*/ 29 h 110"/>
                <a:gd name="T6" fmla="*/ 6 w 110"/>
                <a:gd name="T7" fmla="*/ 6 h 110"/>
                <a:gd name="T8" fmla="*/ 29 w 110"/>
                <a:gd name="T9" fmla="*/ 6 h 110"/>
                <a:gd name="T10" fmla="*/ 105 w 110"/>
                <a:gd name="T11" fmla="*/ 82 h 110"/>
                <a:gd name="T12" fmla="*/ 110 w 110"/>
                <a:gd name="T13" fmla="*/ 93 h 110"/>
                <a:gd name="T14" fmla="*/ 105 w 110"/>
                <a:gd name="T15" fmla="*/ 105 h 110"/>
                <a:gd name="T16" fmla="*/ 93 w 110"/>
                <a:gd name="T17" fmla="*/ 110 h 110"/>
                <a:gd name="T18" fmla="*/ 18 w 110"/>
                <a:gd name="T19" fmla="*/ 10 h 110"/>
                <a:gd name="T20" fmla="*/ 12 w 110"/>
                <a:gd name="T21" fmla="*/ 12 h 110"/>
                <a:gd name="T22" fmla="*/ 12 w 110"/>
                <a:gd name="T23" fmla="*/ 24 h 110"/>
                <a:gd name="T24" fmla="*/ 87 w 110"/>
                <a:gd name="T25" fmla="*/ 99 h 110"/>
                <a:gd name="T26" fmla="*/ 99 w 110"/>
                <a:gd name="T27" fmla="*/ 99 h 110"/>
                <a:gd name="T28" fmla="*/ 101 w 110"/>
                <a:gd name="T29" fmla="*/ 93 h 110"/>
                <a:gd name="T30" fmla="*/ 99 w 110"/>
                <a:gd name="T31" fmla="*/ 87 h 110"/>
                <a:gd name="T32" fmla="*/ 24 w 110"/>
                <a:gd name="T33" fmla="*/ 12 h 110"/>
                <a:gd name="T34" fmla="*/ 18 w 110"/>
                <a:gd name="T3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110">
                  <a:moveTo>
                    <a:pt x="93" y="110"/>
                  </a:moveTo>
                  <a:cubicBezTo>
                    <a:pt x="89" y="110"/>
                    <a:pt x="85" y="108"/>
                    <a:pt x="82" y="105"/>
                  </a:cubicBezTo>
                  <a:cubicBezTo>
                    <a:pt x="6" y="29"/>
                    <a:pt x="6" y="29"/>
                    <a:pt x="6" y="29"/>
                  </a:cubicBezTo>
                  <a:cubicBezTo>
                    <a:pt x="0" y="23"/>
                    <a:pt x="0" y="13"/>
                    <a:pt x="6" y="6"/>
                  </a:cubicBezTo>
                  <a:cubicBezTo>
                    <a:pt x="12" y="0"/>
                    <a:pt x="23" y="0"/>
                    <a:pt x="29" y="6"/>
                  </a:cubicBezTo>
                  <a:cubicBezTo>
                    <a:pt x="105" y="82"/>
                    <a:pt x="105" y="82"/>
                    <a:pt x="105" y="82"/>
                  </a:cubicBezTo>
                  <a:cubicBezTo>
                    <a:pt x="108" y="85"/>
                    <a:pt x="110" y="89"/>
                    <a:pt x="110" y="93"/>
                  </a:cubicBezTo>
                  <a:cubicBezTo>
                    <a:pt x="110" y="98"/>
                    <a:pt x="108" y="102"/>
                    <a:pt x="105" y="105"/>
                  </a:cubicBezTo>
                  <a:cubicBezTo>
                    <a:pt x="102" y="108"/>
                    <a:pt x="98" y="110"/>
                    <a:pt x="93" y="110"/>
                  </a:cubicBezTo>
                  <a:close/>
                  <a:moveTo>
                    <a:pt x="18" y="10"/>
                  </a:moveTo>
                  <a:cubicBezTo>
                    <a:pt x="16" y="10"/>
                    <a:pt x="14" y="10"/>
                    <a:pt x="12" y="12"/>
                  </a:cubicBezTo>
                  <a:cubicBezTo>
                    <a:pt x="9" y="15"/>
                    <a:pt x="9" y="20"/>
                    <a:pt x="12" y="24"/>
                  </a:cubicBezTo>
                  <a:cubicBezTo>
                    <a:pt x="87" y="99"/>
                    <a:pt x="87" y="99"/>
                    <a:pt x="87" y="99"/>
                  </a:cubicBezTo>
                  <a:cubicBezTo>
                    <a:pt x="91" y="102"/>
                    <a:pt x="96" y="102"/>
                    <a:pt x="99" y="99"/>
                  </a:cubicBezTo>
                  <a:cubicBezTo>
                    <a:pt x="101" y="97"/>
                    <a:pt x="101" y="95"/>
                    <a:pt x="101" y="93"/>
                  </a:cubicBezTo>
                  <a:cubicBezTo>
                    <a:pt x="101" y="91"/>
                    <a:pt x="101" y="89"/>
                    <a:pt x="99" y="87"/>
                  </a:cubicBezTo>
                  <a:cubicBezTo>
                    <a:pt x="24" y="12"/>
                    <a:pt x="24" y="12"/>
                    <a:pt x="24" y="12"/>
                  </a:cubicBezTo>
                  <a:cubicBezTo>
                    <a:pt x="22" y="10"/>
                    <a:pt x="20" y="10"/>
                    <a:pt x="1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8" name="Freeform 25">
              <a:extLst>
                <a:ext uri="{FF2B5EF4-FFF2-40B4-BE49-F238E27FC236}">
                  <a16:creationId xmlns:a16="http://schemas.microsoft.com/office/drawing/2014/main" id="{EB2DF5CF-40C7-4CC3-8CFF-137ABC97DA86}"/>
                </a:ext>
              </a:extLst>
            </p:cNvPr>
            <p:cNvSpPr>
              <a:spLocks noEditPoints="1"/>
            </p:cNvSpPr>
            <p:nvPr/>
          </p:nvSpPr>
          <p:spPr bwMode="auto">
            <a:xfrm>
              <a:off x="5919788" y="1947863"/>
              <a:ext cx="239713" cy="241300"/>
            </a:xfrm>
            <a:custGeom>
              <a:avLst/>
              <a:gdLst>
                <a:gd name="T0" fmla="*/ 45 w 63"/>
                <a:gd name="T1" fmla="*/ 63 h 63"/>
                <a:gd name="T2" fmla="*/ 34 w 63"/>
                <a:gd name="T3" fmla="*/ 58 h 63"/>
                <a:gd name="T4" fmla="*/ 5 w 63"/>
                <a:gd name="T5" fmla="*/ 29 h 63"/>
                <a:gd name="T6" fmla="*/ 0 w 63"/>
                <a:gd name="T7" fmla="*/ 18 h 63"/>
                <a:gd name="T8" fmla="*/ 5 w 63"/>
                <a:gd name="T9" fmla="*/ 6 h 63"/>
                <a:gd name="T10" fmla="*/ 28 w 63"/>
                <a:gd name="T11" fmla="*/ 6 h 63"/>
                <a:gd name="T12" fmla="*/ 57 w 63"/>
                <a:gd name="T13" fmla="*/ 35 h 63"/>
                <a:gd name="T14" fmla="*/ 57 w 63"/>
                <a:gd name="T15" fmla="*/ 58 h 63"/>
                <a:gd name="T16" fmla="*/ 45 w 63"/>
                <a:gd name="T17" fmla="*/ 63 h 63"/>
                <a:gd name="T18" fmla="*/ 16 w 63"/>
                <a:gd name="T19" fmla="*/ 9 h 63"/>
                <a:gd name="T20" fmla="*/ 11 w 63"/>
                <a:gd name="T21" fmla="*/ 12 h 63"/>
                <a:gd name="T22" fmla="*/ 8 w 63"/>
                <a:gd name="T23" fmla="*/ 18 h 63"/>
                <a:gd name="T24" fmla="*/ 11 w 63"/>
                <a:gd name="T25" fmla="*/ 23 h 63"/>
                <a:gd name="T26" fmla="*/ 40 w 63"/>
                <a:gd name="T27" fmla="*/ 52 h 63"/>
                <a:gd name="T28" fmla="*/ 51 w 63"/>
                <a:gd name="T29" fmla="*/ 52 h 63"/>
                <a:gd name="T30" fmla="*/ 51 w 63"/>
                <a:gd name="T31" fmla="*/ 41 h 63"/>
                <a:gd name="T32" fmla="*/ 22 w 63"/>
                <a:gd name="T33" fmla="*/ 12 h 63"/>
                <a:gd name="T34" fmla="*/ 16 w 63"/>
                <a:gd name="T35"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5" y="63"/>
                  </a:moveTo>
                  <a:cubicBezTo>
                    <a:pt x="41" y="63"/>
                    <a:pt x="37" y="61"/>
                    <a:pt x="34" y="58"/>
                  </a:cubicBezTo>
                  <a:cubicBezTo>
                    <a:pt x="5" y="29"/>
                    <a:pt x="5" y="29"/>
                    <a:pt x="5" y="29"/>
                  </a:cubicBezTo>
                  <a:cubicBezTo>
                    <a:pt x="2" y="26"/>
                    <a:pt x="0" y="22"/>
                    <a:pt x="0" y="18"/>
                  </a:cubicBezTo>
                  <a:cubicBezTo>
                    <a:pt x="0" y="13"/>
                    <a:pt x="2" y="9"/>
                    <a:pt x="5" y="6"/>
                  </a:cubicBezTo>
                  <a:cubicBezTo>
                    <a:pt x="11" y="0"/>
                    <a:pt x="22" y="0"/>
                    <a:pt x="28" y="6"/>
                  </a:cubicBezTo>
                  <a:cubicBezTo>
                    <a:pt x="57" y="35"/>
                    <a:pt x="57" y="35"/>
                    <a:pt x="57" y="35"/>
                  </a:cubicBezTo>
                  <a:cubicBezTo>
                    <a:pt x="63" y="41"/>
                    <a:pt x="63" y="52"/>
                    <a:pt x="57" y="58"/>
                  </a:cubicBezTo>
                  <a:cubicBezTo>
                    <a:pt x="54" y="61"/>
                    <a:pt x="50" y="63"/>
                    <a:pt x="45" y="63"/>
                  </a:cubicBezTo>
                  <a:close/>
                  <a:moveTo>
                    <a:pt x="16" y="9"/>
                  </a:moveTo>
                  <a:cubicBezTo>
                    <a:pt x="14" y="9"/>
                    <a:pt x="12" y="10"/>
                    <a:pt x="11" y="12"/>
                  </a:cubicBezTo>
                  <a:cubicBezTo>
                    <a:pt x="9" y="13"/>
                    <a:pt x="8" y="15"/>
                    <a:pt x="8" y="18"/>
                  </a:cubicBezTo>
                  <a:cubicBezTo>
                    <a:pt x="8" y="20"/>
                    <a:pt x="9" y="22"/>
                    <a:pt x="11" y="23"/>
                  </a:cubicBezTo>
                  <a:cubicBezTo>
                    <a:pt x="40" y="52"/>
                    <a:pt x="40" y="52"/>
                    <a:pt x="40" y="52"/>
                  </a:cubicBezTo>
                  <a:cubicBezTo>
                    <a:pt x="43" y="56"/>
                    <a:pt x="48" y="55"/>
                    <a:pt x="51" y="52"/>
                  </a:cubicBezTo>
                  <a:cubicBezTo>
                    <a:pt x="54" y="49"/>
                    <a:pt x="54" y="44"/>
                    <a:pt x="51" y="41"/>
                  </a:cubicBezTo>
                  <a:cubicBezTo>
                    <a:pt x="22" y="12"/>
                    <a:pt x="22" y="12"/>
                    <a:pt x="22" y="12"/>
                  </a:cubicBezTo>
                  <a:cubicBezTo>
                    <a:pt x="21" y="10"/>
                    <a:pt x="19" y="9"/>
                    <a:pt x="1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59" name="Freeform 26">
              <a:extLst>
                <a:ext uri="{FF2B5EF4-FFF2-40B4-BE49-F238E27FC236}">
                  <a16:creationId xmlns:a16="http://schemas.microsoft.com/office/drawing/2014/main" id="{010C26F9-21D8-4BC7-B2BA-BC1928AE210B}"/>
                </a:ext>
              </a:extLst>
            </p:cNvPr>
            <p:cNvSpPr>
              <a:spLocks noEditPoints="1"/>
            </p:cNvSpPr>
            <p:nvPr/>
          </p:nvSpPr>
          <p:spPr bwMode="auto">
            <a:xfrm>
              <a:off x="6311901" y="1460500"/>
              <a:ext cx="328613" cy="331788"/>
            </a:xfrm>
            <a:custGeom>
              <a:avLst/>
              <a:gdLst>
                <a:gd name="T0" fmla="*/ 70 w 86"/>
                <a:gd name="T1" fmla="*/ 87 h 87"/>
                <a:gd name="T2" fmla="*/ 58 w 86"/>
                <a:gd name="T3" fmla="*/ 82 h 87"/>
                <a:gd name="T4" fmla="*/ 6 w 86"/>
                <a:gd name="T5" fmla="*/ 30 h 87"/>
                <a:gd name="T6" fmla="*/ 6 w 86"/>
                <a:gd name="T7" fmla="*/ 6 h 87"/>
                <a:gd name="T8" fmla="*/ 29 w 86"/>
                <a:gd name="T9" fmla="*/ 6 h 87"/>
                <a:gd name="T10" fmla="*/ 82 w 86"/>
                <a:gd name="T11" fmla="*/ 59 h 87"/>
                <a:gd name="T12" fmla="*/ 86 w 86"/>
                <a:gd name="T13" fmla="*/ 70 h 87"/>
                <a:gd name="T14" fmla="*/ 82 w 86"/>
                <a:gd name="T15" fmla="*/ 82 h 87"/>
                <a:gd name="T16" fmla="*/ 70 w 86"/>
                <a:gd name="T17" fmla="*/ 87 h 87"/>
                <a:gd name="T18" fmla="*/ 18 w 86"/>
                <a:gd name="T19" fmla="*/ 10 h 87"/>
                <a:gd name="T20" fmla="*/ 12 w 86"/>
                <a:gd name="T21" fmla="*/ 12 h 87"/>
                <a:gd name="T22" fmla="*/ 12 w 86"/>
                <a:gd name="T23" fmla="*/ 24 h 87"/>
                <a:gd name="T24" fmla="*/ 64 w 86"/>
                <a:gd name="T25" fmla="*/ 76 h 87"/>
                <a:gd name="T26" fmla="*/ 76 w 86"/>
                <a:gd name="T27" fmla="*/ 76 h 87"/>
                <a:gd name="T28" fmla="*/ 78 w 86"/>
                <a:gd name="T29" fmla="*/ 70 h 87"/>
                <a:gd name="T30" fmla="*/ 76 w 86"/>
                <a:gd name="T31" fmla="*/ 64 h 87"/>
                <a:gd name="T32" fmla="*/ 24 w 86"/>
                <a:gd name="T33" fmla="*/ 12 h 87"/>
                <a:gd name="T34" fmla="*/ 18 w 86"/>
                <a:gd name="T35"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87">
                  <a:moveTo>
                    <a:pt x="70" y="87"/>
                  </a:moveTo>
                  <a:cubicBezTo>
                    <a:pt x="66" y="87"/>
                    <a:pt x="62" y="85"/>
                    <a:pt x="58" y="82"/>
                  </a:cubicBezTo>
                  <a:cubicBezTo>
                    <a:pt x="6" y="30"/>
                    <a:pt x="6" y="30"/>
                    <a:pt x="6" y="30"/>
                  </a:cubicBezTo>
                  <a:cubicBezTo>
                    <a:pt x="0" y="23"/>
                    <a:pt x="0" y="13"/>
                    <a:pt x="6" y="6"/>
                  </a:cubicBezTo>
                  <a:cubicBezTo>
                    <a:pt x="12" y="0"/>
                    <a:pt x="23" y="0"/>
                    <a:pt x="29" y="6"/>
                  </a:cubicBezTo>
                  <a:cubicBezTo>
                    <a:pt x="82" y="59"/>
                    <a:pt x="82" y="59"/>
                    <a:pt x="82" y="59"/>
                  </a:cubicBezTo>
                  <a:cubicBezTo>
                    <a:pt x="85" y="62"/>
                    <a:pt x="86" y="66"/>
                    <a:pt x="86" y="70"/>
                  </a:cubicBezTo>
                  <a:cubicBezTo>
                    <a:pt x="86" y="75"/>
                    <a:pt x="85" y="79"/>
                    <a:pt x="82" y="82"/>
                  </a:cubicBezTo>
                  <a:cubicBezTo>
                    <a:pt x="79" y="85"/>
                    <a:pt x="74" y="87"/>
                    <a:pt x="70" y="87"/>
                  </a:cubicBezTo>
                  <a:close/>
                  <a:moveTo>
                    <a:pt x="18" y="10"/>
                  </a:moveTo>
                  <a:cubicBezTo>
                    <a:pt x="16" y="10"/>
                    <a:pt x="14" y="11"/>
                    <a:pt x="12" y="12"/>
                  </a:cubicBezTo>
                  <a:cubicBezTo>
                    <a:pt x="9" y="15"/>
                    <a:pt x="9" y="21"/>
                    <a:pt x="12" y="24"/>
                  </a:cubicBezTo>
                  <a:cubicBezTo>
                    <a:pt x="64" y="76"/>
                    <a:pt x="64" y="76"/>
                    <a:pt x="64" y="76"/>
                  </a:cubicBezTo>
                  <a:cubicBezTo>
                    <a:pt x="67" y="79"/>
                    <a:pt x="73" y="79"/>
                    <a:pt x="76" y="76"/>
                  </a:cubicBezTo>
                  <a:cubicBezTo>
                    <a:pt x="77" y="74"/>
                    <a:pt x="78" y="72"/>
                    <a:pt x="78" y="70"/>
                  </a:cubicBezTo>
                  <a:cubicBezTo>
                    <a:pt x="78" y="68"/>
                    <a:pt x="77" y="66"/>
                    <a:pt x="76" y="64"/>
                  </a:cubicBezTo>
                  <a:cubicBezTo>
                    <a:pt x="24" y="12"/>
                    <a:pt x="24" y="12"/>
                    <a:pt x="24" y="12"/>
                  </a:cubicBezTo>
                  <a:cubicBezTo>
                    <a:pt x="22" y="11"/>
                    <a:pt x="20" y="10"/>
                    <a:pt x="1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sp>
          <p:nvSpPr>
            <p:cNvPr id="660" name="Freeform 27">
              <a:extLst>
                <a:ext uri="{FF2B5EF4-FFF2-40B4-BE49-F238E27FC236}">
                  <a16:creationId xmlns:a16="http://schemas.microsoft.com/office/drawing/2014/main" id="{DEE11FC1-5475-4283-8757-416C816E5E71}"/>
                </a:ext>
              </a:extLst>
            </p:cNvPr>
            <p:cNvSpPr>
              <a:spLocks noEditPoints="1"/>
            </p:cNvSpPr>
            <p:nvPr/>
          </p:nvSpPr>
          <p:spPr bwMode="auto">
            <a:xfrm>
              <a:off x="6426201" y="1438275"/>
              <a:ext cx="244475" cy="242888"/>
            </a:xfrm>
            <a:custGeom>
              <a:avLst/>
              <a:gdLst>
                <a:gd name="T0" fmla="*/ 46 w 64"/>
                <a:gd name="T1" fmla="*/ 64 h 64"/>
                <a:gd name="T2" fmla="*/ 34 w 64"/>
                <a:gd name="T3" fmla="*/ 59 h 64"/>
                <a:gd name="T4" fmla="*/ 5 w 64"/>
                <a:gd name="T5" fmla="*/ 30 h 64"/>
                <a:gd name="T6" fmla="*/ 0 w 64"/>
                <a:gd name="T7" fmla="*/ 18 h 64"/>
                <a:gd name="T8" fmla="*/ 5 w 64"/>
                <a:gd name="T9" fmla="*/ 7 h 64"/>
                <a:gd name="T10" fmla="*/ 28 w 64"/>
                <a:gd name="T11" fmla="*/ 7 h 64"/>
                <a:gd name="T12" fmla="*/ 57 w 64"/>
                <a:gd name="T13" fmla="*/ 36 h 64"/>
                <a:gd name="T14" fmla="*/ 57 w 64"/>
                <a:gd name="T15" fmla="*/ 59 h 64"/>
                <a:gd name="T16" fmla="*/ 46 w 64"/>
                <a:gd name="T17" fmla="*/ 64 h 64"/>
                <a:gd name="T18" fmla="*/ 17 w 64"/>
                <a:gd name="T19" fmla="*/ 10 h 64"/>
                <a:gd name="T20" fmla="*/ 11 w 64"/>
                <a:gd name="T21" fmla="*/ 12 h 64"/>
                <a:gd name="T22" fmla="*/ 9 w 64"/>
                <a:gd name="T23" fmla="*/ 18 h 64"/>
                <a:gd name="T24" fmla="*/ 11 w 64"/>
                <a:gd name="T25" fmla="*/ 24 h 64"/>
                <a:gd name="T26" fmla="*/ 40 w 64"/>
                <a:gd name="T27" fmla="*/ 53 h 64"/>
                <a:gd name="T28" fmla="*/ 52 w 64"/>
                <a:gd name="T29" fmla="*/ 53 h 64"/>
                <a:gd name="T30" fmla="*/ 52 w 64"/>
                <a:gd name="T31" fmla="*/ 41 h 64"/>
                <a:gd name="T32" fmla="*/ 23 w 64"/>
                <a:gd name="T33" fmla="*/ 12 h 64"/>
                <a:gd name="T34" fmla="*/ 17 w 64"/>
                <a:gd name="T35"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4">
                  <a:moveTo>
                    <a:pt x="46" y="64"/>
                  </a:moveTo>
                  <a:cubicBezTo>
                    <a:pt x="41" y="64"/>
                    <a:pt x="37" y="62"/>
                    <a:pt x="34" y="59"/>
                  </a:cubicBezTo>
                  <a:cubicBezTo>
                    <a:pt x="5" y="30"/>
                    <a:pt x="5" y="30"/>
                    <a:pt x="5" y="30"/>
                  </a:cubicBezTo>
                  <a:cubicBezTo>
                    <a:pt x="2" y="27"/>
                    <a:pt x="0" y="23"/>
                    <a:pt x="0" y="18"/>
                  </a:cubicBezTo>
                  <a:cubicBezTo>
                    <a:pt x="0" y="14"/>
                    <a:pt x="2" y="10"/>
                    <a:pt x="5" y="7"/>
                  </a:cubicBezTo>
                  <a:cubicBezTo>
                    <a:pt x="11" y="0"/>
                    <a:pt x="22" y="0"/>
                    <a:pt x="28" y="7"/>
                  </a:cubicBezTo>
                  <a:cubicBezTo>
                    <a:pt x="57" y="36"/>
                    <a:pt x="57" y="36"/>
                    <a:pt x="57" y="36"/>
                  </a:cubicBezTo>
                  <a:cubicBezTo>
                    <a:pt x="64" y="42"/>
                    <a:pt x="64" y="52"/>
                    <a:pt x="57" y="59"/>
                  </a:cubicBezTo>
                  <a:cubicBezTo>
                    <a:pt x="54" y="62"/>
                    <a:pt x="50" y="64"/>
                    <a:pt x="46" y="64"/>
                  </a:cubicBezTo>
                  <a:close/>
                  <a:moveTo>
                    <a:pt x="17" y="10"/>
                  </a:moveTo>
                  <a:cubicBezTo>
                    <a:pt x="15" y="10"/>
                    <a:pt x="13" y="11"/>
                    <a:pt x="11" y="12"/>
                  </a:cubicBezTo>
                  <a:cubicBezTo>
                    <a:pt x="10" y="14"/>
                    <a:pt x="9" y="16"/>
                    <a:pt x="9" y="18"/>
                  </a:cubicBezTo>
                  <a:cubicBezTo>
                    <a:pt x="9" y="20"/>
                    <a:pt x="10" y="22"/>
                    <a:pt x="11" y="24"/>
                  </a:cubicBezTo>
                  <a:cubicBezTo>
                    <a:pt x="40" y="53"/>
                    <a:pt x="40" y="53"/>
                    <a:pt x="40" y="53"/>
                  </a:cubicBezTo>
                  <a:cubicBezTo>
                    <a:pt x="43" y="56"/>
                    <a:pt x="49" y="56"/>
                    <a:pt x="52" y="53"/>
                  </a:cubicBezTo>
                  <a:cubicBezTo>
                    <a:pt x="55" y="50"/>
                    <a:pt x="55" y="45"/>
                    <a:pt x="52" y="41"/>
                  </a:cubicBezTo>
                  <a:cubicBezTo>
                    <a:pt x="23" y="12"/>
                    <a:pt x="23" y="12"/>
                    <a:pt x="23" y="12"/>
                  </a:cubicBezTo>
                  <a:cubicBezTo>
                    <a:pt x="21" y="11"/>
                    <a:pt x="19" y="10"/>
                    <a:pt x="1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ysClr val="windowText" lastClr="000000"/>
                </a:solidFill>
              </a:endParaRPr>
            </a:p>
          </p:txBody>
        </p:sp>
      </p:grpSp>
      <p:sp>
        <p:nvSpPr>
          <p:cNvPr id="661" name="Freeform 463">
            <a:extLst>
              <a:ext uri="{FF2B5EF4-FFF2-40B4-BE49-F238E27FC236}">
                <a16:creationId xmlns:a16="http://schemas.microsoft.com/office/drawing/2014/main" id="{83BD0D8C-444D-4513-B34D-5C4ED06B99A4}"/>
              </a:ext>
            </a:extLst>
          </p:cNvPr>
          <p:cNvSpPr>
            <a:spLocks noChangeAspect="1"/>
          </p:cNvSpPr>
          <p:nvPr/>
        </p:nvSpPr>
        <p:spPr bwMode="auto">
          <a:xfrm>
            <a:off x="5393305" y="3802799"/>
            <a:ext cx="255403" cy="306484"/>
          </a:xfrm>
          <a:custGeom>
            <a:avLst/>
            <a:gdLst>
              <a:gd name="T0" fmla="*/ 15 w 749"/>
              <a:gd name="T1" fmla="*/ 0 h 900"/>
              <a:gd name="T2" fmla="*/ 9 w 749"/>
              <a:gd name="T3" fmla="*/ 1 h 900"/>
              <a:gd name="T4" fmla="*/ 4 w 749"/>
              <a:gd name="T5" fmla="*/ 4 h 900"/>
              <a:gd name="T6" fmla="*/ 1 w 749"/>
              <a:gd name="T7" fmla="*/ 10 h 900"/>
              <a:gd name="T8" fmla="*/ 0 w 749"/>
              <a:gd name="T9" fmla="*/ 15 h 900"/>
              <a:gd name="T10" fmla="*/ 1 w 749"/>
              <a:gd name="T11" fmla="*/ 138 h 900"/>
              <a:gd name="T12" fmla="*/ 3 w 749"/>
              <a:gd name="T13" fmla="*/ 143 h 900"/>
              <a:gd name="T14" fmla="*/ 6 w 749"/>
              <a:gd name="T15" fmla="*/ 147 h 900"/>
              <a:gd name="T16" fmla="*/ 11 w 749"/>
              <a:gd name="T17" fmla="*/ 150 h 900"/>
              <a:gd name="T18" fmla="*/ 18 w 749"/>
              <a:gd name="T19" fmla="*/ 150 h 900"/>
              <a:gd name="T20" fmla="*/ 23 w 749"/>
              <a:gd name="T21" fmla="*/ 147 h 900"/>
              <a:gd name="T22" fmla="*/ 27 w 749"/>
              <a:gd name="T23" fmla="*/ 143 h 900"/>
              <a:gd name="T24" fmla="*/ 30 w 749"/>
              <a:gd name="T25" fmla="*/ 138 h 900"/>
              <a:gd name="T26" fmla="*/ 30 w 749"/>
              <a:gd name="T27" fmla="*/ 30 h 900"/>
              <a:gd name="T28" fmla="*/ 359 w 749"/>
              <a:gd name="T29" fmla="*/ 870 h 900"/>
              <a:gd name="T30" fmla="*/ 236 w 749"/>
              <a:gd name="T31" fmla="*/ 870 h 900"/>
              <a:gd name="T32" fmla="*/ 231 w 749"/>
              <a:gd name="T33" fmla="*/ 872 h 900"/>
              <a:gd name="T34" fmla="*/ 228 w 749"/>
              <a:gd name="T35" fmla="*/ 876 h 900"/>
              <a:gd name="T36" fmla="*/ 224 w 749"/>
              <a:gd name="T37" fmla="*/ 881 h 900"/>
              <a:gd name="T38" fmla="*/ 224 w 749"/>
              <a:gd name="T39" fmla="*/ 887 h 900"/>
              <a:gd name="T40" fmla="*/ 228 w 749"/>
              <a:gd name="T41" fmla="*/ 892 h 900"/>
              <a:gd name="T42" fmla="*/ 231 w 749"/>
              <a:gd name="T43" fmla="*/ 896 h 900"/>
              <a:gd name="T44" fmla="*/ 236 w 749"/>
              <a:gd name="T45" fmla="*/ 898 h 900"/>
              <a:gd name="T46" fmla="*/ 509 w 749"/>
              <a:gd name="T47" fmla="*/ 900 h 900"/>
              <a:gd name="T48" fmla="*/ 515 w 749"/>
              <a:gd name="T49" fmla="*/ 897 h 900"/>
              <a:gd name="T50" fmla="*/ 520 w 749"/>
              <a:gd name="T51" fmla="*/ 894 h 900"/>
              <a:gd name="T52" fmla="*/ 523 w 749"/>
              <a:gd name="T53" fmla="*/ 890 h 900"/>
              <a:gd name="T54" fmla="*/ 524 w 749"/>
              <a:gd name="T55" fmla="*/ 885 h 900"/>
              <a:gd name="T56" fmla="*/ 523 w 749"/>
              <a:gd name="T57" fmla="*/ 878 h 900"/>
              <a:gd name="T58" fmla="*/ 520 w 749"/>
              <a:gd name="T59" fmla="*/ 874 h 900"/>
              <a:gd name="T60" fmla="*/ 515 w 749"/>
              <a:gd name="T61" fmla="*/ 871 h 900"/>
              <a:gd name="T62" fmla="*/ 509 w 749"/>
              <a:gd name="T63" fmla="*/ 870 h 900"/>
              <a:gd name="T64" fmla="*/ 389 w 749"/>
              <a:gd name="T65" fmla="*/ 30 h 900"/>
              <a:gd name="T66" fmla="*/ 719 w 749"/>
              <a:gd name="T67" fmla="*/ 135 h 900"/>
              <a:gd name="T68" fmla="*/ 720 w 749"/>
              <a:gd name="T69" fmla="*/ 140 h 900"/>
              <a:gd name="T70" fmla="*/ 724 w 749"/>
              <a:gd name="T71" fmla="*/ 146 h 900"/>
              <a:gd name="T72" fmla="*/ 728 w 749"/>
              <a:gd name="T73" fmla="*/ 149 h 900"/>
              <a:gd name="T74" fmla="*/ 734 w 749"/>
              <a:gd name="T75" fmla="*/ 150 h 900"/>
              <a:gd name="T76" fmla="*/ 740 w 749"/>
              <a:gd name="T77" fmla="*/ 149 h 900"/>
              <a:gd name="T78" fmla="*/ 745 w 749"/>
              <a:gd name="T79" fmla="*/ 146 h 900"/>
              <a:gd name="T80" fmla="*/ 748 w 749"/>
              <a:gd name="T81" fmla="*/ 140 h 900"/>
              <a:gd name="T82" fmla="*/ 749 w 749"/>
              <a:gd name="T83" fmla="*/ 135 h 900"/>
              <a:gd name="T84" fmla="*/ 749 w 749"/>
              <a:gd name="T85" fmla="*/ 12 h 900"/>
              <a:gd name="T86" fmla="*/ 746 w 749"/>
              <a:gd name="T87" fmla="*/ 6 h 900"/>
              <a:gd name="T88" fmla="*/ 743 w 749"/>
              <a:gd name="T89" fmla="*/ 2 h 900"/>
              <a:gd name="T90" fmla="*/ 738 w 749"/>
              <a:gd name="T91" fmla="*/ 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9" h="900">
                <a:moveTo>
                  <a:pt x="734" y="0"/>
                </a:moveTo>
                <a:lnTo>
                  <a:pt x="15" y="0"/>
                </a:lnTo>
                <a:lnTo>
                  <a:pt x="11" y="0"/>
                </a:lnTo>
                <a:lnTo>
                  <a:pt x="9" y="1"/>
                </a:lnTo>
                <a:lnTo>
                  <a:pt x="6" y="2"/>
                </a:lnTo>
                <a:lnTo>
                  <a:pt x="4" y="4"/>
                </a:lnTo>
                <a:lnTo>
                  <a:pt x="3" y="6"/>
                </a:lnTo>
                <a:lnTo>
                  <a:pt x="1" y="10"/>
                </a:lnTo>
                <a:lnTo>
                  <a:pt x="0" y="12"/>
                </a:lnTo>
                <a:lnTo>
                  <a:pt x="0" y="15"/>
                </a:lnTo>
                <a:lnTo>
                  <a:pt x="0" y="135"/>
                </a:lnTo>
                <a:lnTo>
                  <a:pt x="1" y="138"/>
                </a:lnTo>
                <a:lnTo>
                  <a:pt x="1" y="140"/>
                </a:lnTo>
                <a:lnTo>
                  <a:pt x="3" y="143"/>
                </a:lnTo>
                <a:lnTo>
                  <a:pt x="4" y="146"/>
                </a:lnTo>
                <a:lnTo>
                  <a:pt x="6" y="147"/>
                </a:lnTo>
                <a:lnTo>
                  <a:pt x="9" y="149"/>
                </a:lnTo>
                <a:lnTo>
                  <a:pt x="11" y="150"/>
                </a:lnTo>
                <a:lnTo>
                  <a:pt x="15" y="150"/>
                </a:lnTo>
                <a:lnTo>
                  <a:pt x="18" y="150"/>
                </a:lnTo>
                <a:lnTo>
                  <a:pt x="21" y="149"/>
                </a:lnTo>
                <a:lnTo>
                  <a:pt x="23" y="147"/>
                </a:lnTo>
                <a:lnTo>
                  <a:pt x="25" y="146"/>
                </a:lnTo>
                <a:lnTo>
                  <a:pt x="27" y="143"/>
                </a:lnTo>
                <a:lnTo>
                  <a:pt x="28" y="140"/>
                </a:lnTo>
                <a:lnTo>
                  <a:pt x="30" y="138"/>
                </a:lnTo>
                <a:lnTo>
                  <a:pt x="30" y="135"/>
                </a:lnTo>
                <a:lnTo>
                  <a:pt x="30" y="30"/>
                </a:lnTo>
                <a:lnTo>
                  <a:pt x="359" y="30"/>
                </a:lnTo>
                <a:lnTo>
                  <a:pt x="359" y="870"/>
                </a:lnTo>
                <a:lnTo>
                  <a:pt x="239" y="870"/>
                </a:lnTo>
                <a:lnTo>
                  <a:pt x="236" y="870"/>
                </a:lnTo>
                <a:lnTo>
                  <a:pt x="234" y="871"/>
                </a:lnTo>
                <a:lnTo>
                  <a:pt x="231" y="872"/>
                </a:lnTo>
                <a:lnTo>
                  <a:pt x="229" y="874"/>
                </a:lnTo>
                <a:lnTo>
                  <a:pt x="228" y="876"/>
                </a:lnTo>
                <a:lnTo>
                  <a:pt x="226" y="878"/>
                </a:lnTo>
                <a:lnTo>
                  <a:pt x="224" y="881"/>
                </a:lnTo>
                <a:lnTo>
                  <a:pt x="224" y="885"/>
                </a:lnTo>
                <a:lnTo>
                  <a:pt x="224" y="887"/>
                </a:lnTo>
                <a:lnTo>
                  <a:pt x="226" y="890"/>
                </a:lnTo>
                <a:lnTo>
                  <a:pt x="228" y="892"/>
                </a:lnTo>
                <a:lnTo>
                  <a:pt x="229" y="894"/>
                </a:lnTo>
                <a:lnTo>
                  <a:pt x="231" y="896"/>
                </a:lnTo>
                <a:lnTo>
                  <a:pt x="234" y="897"/>
                </a:lnTo>
                <a:lnTo>
                  <a:pt x="236" y="898"/>
                </a:lnTo>
                <a:lnTo>
                  <a:pt x="239" y="900"/>
                </a:lnTo>
                <a:lnTo>
                  <a:pt x="509" y="900"/>
                </a:lnTo>
                <a:lnTo>
                  <a:pt x="513" y="898"/>
                </a:lnTo>
                <a:lnTo>
                  <a:pt x="515" y="897"/>
                </a:lnTo>
                <a:lnTo>
                  <a:pt x="518" y="896"/>
                </a:lnTo>
                <a:lnTo>
                  <a:pt x="520" y="894"/>
                </a:lnTo>
                <a:lnTo>
                  <a:pt x="522" y="892"/>
                </a:lnTo>
                <a:lnTo>
                  <a:pt x="523" y="890"/>
                </a:lnTo>
                <a:lnTo>
                  <a:pt x="524" y="887"/>
                </a:lnTo>
                <a:lnTo>
                  <a:pt x="524" y="885"/>
                </a:lnTo>
                <a:lnTo>
                  <a:pt x="524" y="881"/>
                </a:lnTo>
                <a:lnTo>
                  <a:pt x="523" y="878"/>
                </a:lnTo>
                <a:lnTo>
                  <a:pt x="522" y="876"/>
                </a:lnTo>
                <a:lnTo>
                  <a:pt x="520" y="874"/>
                </a:lnTo>
                <a:lnTo>
                  <a:pt x="518" y="872"/>
                </a:lnTo>
                <a:lnTo>
                  <a:pt x="515" y="871"/>
                </a:lnTo>
                <a:lnTo>
                  <a:pt x="513" y="870"/>
                </a:lnTo>
                <a:lnTo>
                  <a:pt x="509" y="870"/>
                </a:lnTo>
                <a:lnTo>
                  <a:pt x="389" y="870"/>
                </a:lnTo>
                <a:lnTo>
                  <a:pt x="389" y="30"/>
                </a:lnTo>
                <a:lnTo>
                  <a:pt x="719" y="30"/>
                </a:lnTo>
                <a:lnTo>
                  <a:pt x="719" y="135"/>
                </a:lnTo>
                <a:lnTo>
                  <a:pt x="719" y="138"/>
                </a:lnTo>
                <a:lnTo>
                  <a:pt x="720" y="140"/>
                </a:lnTo>
                <a:lnTo>
                  <a:pt x="722" y="143"/>
                </a:lnTo>
                <a:lnTo>
                  <a:pt x="724" y="146"/>
                </a:lnTo>
                <a:lnTo>
                  <a:pt x="726" y="147"/>
                </a:lnTo>
                <a:lnTo>
                  <a:pt x="728" y="149"/>
                </a:lnTo>
                <a:lnTo>
                  <a:pt x="731" y="150"/>
                </a:lnTo>
                <a:lnTo>
                  <a:pt x="734" y="150"/>
                </a:lnTo>
                <a:lnTo>
                  <a:pt x="738" y="150"/>
                </a:lnTo>
                <a:lnTo>
                  <a:pt x="740" y="149"/>
                </a:lnTo>
                <a:lnTo>
                  <a:pt x="743" y="147"/>
                </a:lnTo>
                <a:lnTo>
                  <a:pt x="745" y="146"/>
                </a:lnTo>
                <a:lnTo>
                  <a:pt x="746" y="143"/>
                </a:lnTo>
                <a:lnTo>
                  <a:pt x="748" y="140"/>
                </a:lnTo>
                <a:lnTo>
                  <a:pt x="749" y="138"/>
                </a:lnTo>
                <a:lnTo>
                  <a:pt x="749" y="135"/>
                </a:lnTo>
                <a:lnTo>
                  <a:pt x="749" y="15"/>
                </a:lnTo>
                <a:lnTo>
                  <a:pt x="749" y="12"/>
                </a:lnTo>
                <a:lnTo>
                  <a:pt x="748" y="8"/>
                </a:lnTo>
                <a:lnTo>
                  <a:pt x="746" y="6"/>
                </a:lnTo>
                <a:lnTo>
                  <a:pt x="745" y="4"/>
                </a:lnTo>
                <a:lnTo>
                  <a:pt x="743" y="2"/>
                </a:lnTo>
                <a:lnTo>
                  <a:pt x="740" y="1"/>
                </a:lnTo>
                <a:lnTo>
                  <a:pt x="738" y="0"/>
                </a:lnTo>
                <a:lnTo>
                  <a:pt x="734" y="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3" name="Freeform 13">
            <a:extLst>
              <a:ext uri="{FF2B5EF4-FFF2-40B4-BE49-F238E27FC236}">
                <a16:creationId xmlns:a16="http://schemas.microsoft.com/office/drawing/2014/main" id="{2A9C1B97-9C64-4034-937C-88C1F2570307}"/>
              </a:ext>
            </a:extLst>
          </p:cNvPr>
          <p:cNvSpPr>
            <a:spLocks noChangeAspect="1" noEditPoints="1"/>
          </p:cNvSpPr>
          <p:nvPr/>
        </p:nvSpPr>
        <p:spPr bwMode="auto">
          <a:xfrm>
            <a:off x="276818" y="4914550"/>
            <a:ext cx="298342" cy="237125"/>
          </a:xfrm>
          <a:custGeom>
            <a:avLst/>
            <a:gdLst>
              <a:gd name="T0" fmla="*/ 319 w 424"/>
              <a:gd name="T1" fmla="*/ 316 h 337"/>
              <a:gd name="T2" fmla="*/ 294 w 424"/>
              <a:gd name="T3" fmla="*/ 300 h 337"/>
              <a:gd name="T4" fmla="*/ 280 w 424"/>
              <a:gd name="T5" fmla="*/ 275 h 337"/>
              <a:gd name="T6" fmla="*/ 401 w 424"/>
              <a:gd name="T7" fmla="*/ 262 h 337"/>
              <a:gd name="T8" fmla="*/ 401 w 424"/>
              <a:gd name="T9" fmla="*/ 285 h 337"/>
              <a:gd name="T10" fmla="*/ 383 w 424"/>
              <a:gd name="T11" fmla="*/ 308 h 337"/>
              <a:gd name="T12" fmla="*/ 356 w 424"/>
              <a:gd name="T13" fmla="*/ 320 h 337"/>
              <a:gd name="T14" fmla="*/ 344 w 424"/>
              <a:gd name="T15" fmla="*/ 64 h 337"/>
              <a:gd name="T16" fmla="*/ 344 w 424"/>
              <a:gd name="T17" fmla="*/ 64 h 337"/>
              <a:gd name="T18" fmla="*/ 33 w 424"/>
              <a:gd name="T19" fmla="*/ 248 h 337"/>
              <a:gd name="T20" fmla="*/ 62 w 424"/>
              <a:gd name="T21" fmla="*/ 318 h 337"/>
              <a:gd name="T22" fmla="*/ 37 w 424"/>
              <a:gd name="T23" fmla="*/ 304 h 337"/>
              <a:gd name="T24" fmla="*/ 20 w 424"/>
              <a:gd name="T25" fmla="*/ 281 h 337"/>
              <a:gd name="T26" fmla="*/ 140 w 424"/>
              <a:gd name="T27" fmla="*/ 262 h 337"/>
              <a:gd name="T28" fmla="*/ 142 w 424"/>
              <a:gd name="T29" fmla="*/ 281 h 337"/>
              <a:gd name="T30" fmla="*/ 125 w 424"/>
              <a:gd name="T31" fmla="*/ 304 h 337"/>
              <a:gd name="T32" fmla="*/ 99 w 424"/>
              <a:gd name="T33" fmla="*/ 318 h 337"/>
              <a:gd name="T34" fmla="*/ 80 w 424"/>
              <a:gd name="T35" fmla="*/ 322 h 337"/>
              <a:gd name="T36" fmla="*/ 403 w 424"/>
              <a:gd name="T37" fmla="*/ 43 h 337"/>
              <a:gd name="T38" fmla="*/ 408 w 424"/>
              <a:gd name="T39" fmla="*/ 39 h 337"/>
              <a:gd name="T40" fmla="*/ 408 w 424"/>
              <a:gd name="T41" fmla="*/ 31 h 337"/>
              <a:gd name="T42" fmla="*/ 401 w 424"/>
              <a:gd name="T43" fmla="*/ 29 h 337"/>
              <a:gd name="T44" fmla="*/ 218 w 424"/>
              <a:gd name="T45" fmla="*/ 2 h 337"/>
              <a:gd name="T46" fmla="*/ 212 w 424"/>
              <a:gd name="T47" fmla="*/ 0 h 337"/>
              <a:gd name="T48" fmla="*/ 206 w 424"/>
              <a:gd name="T49" fmla="*/ 2 h 337"/>
              <a:gd name="T50" fmla="*/ 23 w 424"/>
              <a:gd name="T51" fmla="*/ 29 h 337"/>
              <a:gd name="T52" fmla="*/ 16 w 424"/>
              <a:gd name="T53" fmla="*/ 31 h 337"/>
              <a:gd name="T54" fmla="*/ 16 w 424"/>
              <a:gd name="T55" fmla="*/ 39 h 337"/>
              <a:gd name="T56" fmla="*/ 20 w 424"/>
              <a:gd name="T57" fmla="*/ 43 h 337"/>
              <a:gd name="T58" fmla="*/ 6 w 424"/>
              <a:gd name="T59" fmla="*/ 248 h 337"/>
              <a:gd name="T60" fmla="*/ 2 w 424"/>
              <a:gd name="T61" fmla="*/ 252 h 337"/>
              <a:gd name="T62" fmla="*/ 4 w 424"/>
              <a:gd name="T63" fmla="*/ 279 h 337"/>
              <a:gd name="T64" fmla="*/ 25 w 424"/>
              <a:gd name="T65" fmla="*/ 312 h 337"/>
              <a:gd name="T66" fmla="*/ 58 w 424"/>
              <a:gd name="T67" fmla="*/ 333 h 337"/>
              <a:gd name="T68" fmla="*/ 97 w 424"/>
              <a:gd name="T69" fmla="*/ 335 h 337"/>
              <a:gd name="T70" fmla="*/ 132 w 424"/>
              <a:gd name="T71" fmla="*/ 318 h 337"/>
              <a:gd name="T72" fmla="*/ 154 w 424"/>
              <a:gd name="T73" fmla="*/ 287 h 337"/>
              <a:gd name="T74" fmla="*/ 160 w 424"/>
              <a:gd name="T75" fmla="*/ 254 h 337"/>
              <a:gd name="T76" fmla="*/ 156 w 424"/>
              <a:gd name="T77" fmla="*/ 248 h 337"/>
              <a:gd name="T78" fmla="*/ 204 w 424"/>
              <a:gd name="T79" fmla="*/ 43 h 337"/>
              <a:gd name="T80" fmla="*/ 208 w 424"/>
              <a:gd name="T81" fmla="*/ 70 h 337"/>
              <a:gd name="T82" fmla="*/ 214 w 424"/>
              <a:gd name="T83" fmla="*/ 72 h 337"/>
              <a:gd name="T84" fmla="*/ 218 w 424"/>
              <a:gd name="T85" fmla="*/ 68 h 337"/>
              <a:gd name="T86" fmla="*/ 280 w 424"/>
              <a:gd name="T87" fmla="*/ 248 h 337"/>
              <a:gd name="T88" fmla="*/ 265 w 424"/>
              <a:gd name="T89" fmla="*/ 250 h 337"/>
              <a:gd name="T90" fmla="*/ 263 w 424"/>
              <a:gd name="T91" fmla="*/ 265 h 337"/>
              <a:gd name="T92" fmla="*/ 278 w 424"/>
              <a:gd name="T93" fmla="*/ 300 h 337"/>
              <a:gd name="T94" fmla="*/ 305 w 424"/>
              <a:gd name="T95" fmla="*/ 327 h 337"/>
              <a:gd name="T96" fmla="*/ 344 w 424"/>
              <a:gd name="T97" fmla="*/ 337 h 337"/>
              <a:gd name="T98" fmla="*/ 381 w 424"/>
              <a:gd name="T99" fmla="*/ 327 h 337"/>
              <a:gd name="T100" fmla="*/ 410 w 424"/>
              <a:gd name="T101" fmla="*/ 300 h 337"/>
              <a:gd name="T102" fmla="*/ 424 w 424"/>
              <a:gd name="T103" fmla="*/ 265 h 337"/>
              <a:gd name="T104" fmla="*/ 422 w 424"/>
              <a:gd name="T105" fmla="*/ 250 h 337"/>
              <a:gd name="T106" fmla="*/ 416 w 424"/>
              <a:gd name="T107" fmla="*/ 2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4" h="337">
                <a:moveTo>
                  <a:pt x="344" y="322"/>
                </a:moveTo>
                <a:lnTo>
                  <a:pt x="338" y="320"/>
                </a:lnTo>
                <a:lnTo>
                  <a:pt x="331" y="320"/>
                </a:lnTo>
                <a:lnTo>
                  <a:pt x="325" y="318"/>
                </a:lnTo>
                <a:lnTo>
                  <a:pt x="319" y="316"/>
                </a:lnTo>
                <a:lnTo>
                  <a:pt x="315" y="314"/>
                </a:lnTo>
                <a:lnTo>
                  <a:pt x="309" y="312"/>
                </a:lnTo>
                <a:lnTo>
                  <a:pt x="305" y="308"/>
                </a:lnTo>
                <a:lnTo>
                  <a:pt x="300" y="304"/>
                </a:lnTo>
                <a:lnTo>
                  <a:pt x="294" y="300"/>
                </a:lnTo>
                <a:lnTo>
                  <a:pt x="292" y="296"/>
                </a:lnTo>
                <a:lnTo>
                  <a:pt x="288" y="291"/>
                </a:lnTo>
                <a:lnTo>
                  <a:pt x="286" y="285"/>
                </a:lnTo>
                <a:lnTo>
                  <a:pt x="282" y="281"/>
                </a:lnTo>
                <a:lnTo>
                  <a:pt x="280" y="275"/>
                </a:lnTo>
                <a:lnTo>
                  <a:pt x="280" y="269"/>
                </a:lnTo>
                <a:lnTo>
                  <a:pt x="278" y="262"/>
                </a:lnTo>
                <a:lnTo>
                  <a:pt x="401" y="262"/>
                </a:lnTo>
                <a:lnTo>
                  <a:pt x="401" y="262"/>
                </a:lnTo>
                <a:lnTo>
                  <a:pt x="401" y="262"/>
                </a:lnTo>
                <a:lnTo>
                  <a:pt x="410" y="262"/>
                </a:lnTo>
                <a:lnTo>
                  <a:pt x="408" y="269"/>
                </a:lnTo>
                <a:lnTo>
                  <a:pt x="405" y="275"/>
                </a:lnTo>
                <a:lnTo>
                  <a:pt x="405" y="281"/>
                </a:lnTo>
                <a:lnTo>
                  <a:pt x="401" y="285"/>
                </a:lnTo>
                <a:lnTo>
                  <a:pt x="399" y="291"/>
                </a:lnTo>
                <a:lnTo>
                  <a:pt x="395" y="296"/>
                </a:lnTo>
                <a:lnTo>
                  <a:pt x="391" y="300"/>
                </a:lnTo>
                <a:lnTo>
                  <a:pt x="387" y="304"/>
                </a:lnTo>
                <a:lnTo>
                  <a:pt x="383" y="308"/>
                </a:lnTo>
                <a:lnTo>
                  <a:pt x="379" y="312"/>
                </a:lnTo>
                <a:lnTo>
                  <a:pt x="373" y="314"/>
                </a:lnTo>
                <a:lnTo>
                  <a:pt x="366" y="316"/>
                </a:lnTo>
                <a:lnTo>
                  <a:pt x="362" y="318"/>
                </a:lnTo>
                <a:lnTo>
                  <a:pt x="356" y="320"/>
                </a:lnTo>
                <a:lnTo>
                  <a:pt x="350" y="320"/>
                </a:lnTo>
                <a:lnTo>
                  <a:pt x="344" y="322"/>
                </a:lnTo>
                <a:lnTo>
                  <a:pt x="344" y="322"/>
                </a:lnTo>
                <a:lnTo>
                  <a:pt x="344" y="322"/>
                </a:lnTo>
                <a:close/>
                <a:moveTo>
                  <a:pt x="344" y="64"/>
                </a:moveTo>
                <a:lnTo>
                  <a:pt x="393" y="248"/>
                </a:lnTo>
                <a:lnTo>
                  <a:pt x="294" y="248"/>
                </a:lnTo>
                <a:lnTo>
                  <a:pt x="344" y="64"/>
                </a:lnTo>
                <a:lnTo>
                  <a:pt x="344" y="64"/>
                </a:lnTo>
                <a:lnTo>
                  <a:pt x="344" y="64"/>
                </a:lnTo>
                <a:close/>
                <a:moveTo>
                  <a:pt x="33" y="248"/>
                </a:moveTo>
                <a:lnTo>
                  <a:pt x="80" y="64"/>
                </a:lnTo>
                <a:lnTo>
                  <a:pt x="130" y="248"/>
                </a:lnTo>
                <a:lnTo>
                  <a:pt x="33" y="248"/>
                </a:lnTo>
                <a:lnTo>
                  <a:pt x="33" y="248"/>
                </a:lnTo>
                <a:lnTo>
                  <a:pt x="33" y="248"/>
                </a:lnTo>
                <a:close/>
                <a:moveTo>
                  <a:pt x="80" y="322"/>
                </a:moveTo>
                <a:lnTo>
                  <a:pt x="74" y="320"/>
                </a:lnTo>
                <a:lnTo>
                  <a:pt x="68" y="320"/>
                </a:lnTo>
                <a:lnTo>
                  <a:pt x="62" y="318"/>
                </a:lnTo>
                <a:lnTo>
                  <a:pt x="58" y="316"/>
                </a:lnTo>
                <a:lnTo>
                  <a:pt x="51" y="314"/>
                </a:lnTo>
                <a:lnTo>
                  <a:pt x="45" y="312"/>
                </a:lnTo>
                <a:lnTo>
                  <a:pt x="41" y="308"/>
                </a:lnTo>
                <a:lnTo>
                  <a:pt x="37" y="304"/>
                </a:lnTo>
                <a:lnTo>
                  <a:pt x="33" y="300"/>
                </a:lnTo>
                <a:lnTo>
                  <a:pt x="29" y="296"/>
                </a:lnTo>
                <a:lnTo>
                  <a:pt x="25" y="291"/>
                </a:lnTo>
                <a:lnTo>
                  <a:pt x="23" y="285"/>
                </a:lnTo>
                <a:lnTo>
                  <a:pt x="20" y="281"/>
                </a:lnTo>
                <a:lnTo>
                  <a:pt x="18" y="275"/>
                </a:lnTo>
                <a:lnTo>
                  <a:pt x="16" y="269"/>
                </a:lnTo>
                <a:lnTo>
                  <a:pt x="14" y="262"/>
                </a:lnTo>
                <a:lnTo>
                  <a:pt x="140" y="262"/>
                </a:lnTo>
                <a:lnTo>
                  <a:pt x="140" y="262"/>
                </a:lnTo>
                <a:lnTo>
                  <a:pt x="140" y="262"/>
                </a:lnTo>
                <a:lnTo>
                  <a:pt x="146" y="262"/>
                </a:lnTo>
                <a:lnTo>
                  <a:pt x="144" y="269"/>
                </a:lnTo>
                <a:lnTo>
                  <a:pt x="144" y="275"/>
                </a:lnTo>
                <a:lnTo>
                  <a:pt x="142" y="281"/>
                </a:lnTo>
                <a:lnTo>
                  <a:pt x="140" y="285"/>
                </a:lnTo>
                <a:lnTo>
                  <a:pt x="136" y="291"/>
                </a:lnTo>
                <a:lnTo>
                  <a:pt x="134" y="296"/>
                </a:lnTo>
                <a:lnTo>
                  <a:pt x="128" y="300"/>
                </a:lnTo>
                <a:lnTo>
                  <a:pt x="125" y="304"/>
                </a:lnTo>
                <a:lnTo>
                  <a:pt x="119" y="308"/>
                </a:lnTo>
                <a:lnTo>
                  <a:pt x="115" y="312"/>
                </a:lnTo>
                <a:lnTo>
                  <a:pt x="109" y="314"/>
                </a:lnTo>
                <a:lnTo>
                  <a:pt x="105" y="316"/>
                </a:lnTo>
                <a:lnTo>
                  <a:pt x="99" y="318"/>
                </a:lnTo>
                <a:lnTo>
                  <a:pt x="93" y="320"/>
                </a:lnTo>
                <a:lnTo>
                  <a:pt x="86" y="320"/>
                </a:lnTo>
                <a:lnTo>
                  <a:pt x="80" y="322"/>
                </a:lnTo>
                <a:lnTo>
                  <a:pt x="80" y="322"/>
                </a:lnTo>
                <a:lnTo>
                  <a:pt x="80" y="322"/>
                </a:lnTo>
                <a:close/>
                <a:moveTo>
                  <a:pt x="416" y="248"/>
                </a:moveTo>
                <a:lnTo>
                  <a:pt x="408" y="248"/>
                </a:lnTo>
                <a:lnTo>
                  <a:pt x="352" y="43"/>
                </a:lnTo>
                <a:lnTo>
                  <a:pt x="401" y="43"/>
                </a:lnTo>
                <a:lnTo>
                  <a:pt x="403" y="43"/>
                </a:lnTo>
                <a:lnTo>
                  <a:pt x="405" y="43"/>
                </a:lnTo>
                <a:lnTo>
                  <a:pt x="405" y="43"/>
                </a:lnTo>
                <a:lnTo>
                  <a:pt x="408" y="41"/>
                </a:lnTo>
                <a:lnTo>
                  <a:pt x="408" y="39"/>
                </a:lnTo>
                <a:lnTo>
                  <a:pt x="408" y="39"/>
                </a:lnTo>
                <a:lnTo>
                  <a:pt x="410" y="37"/>
                </a:lnTo>
                <a:lnTo>
                  <a:pt x="410" y="37"/>
                </a:lnTo>
                <a:lnTo>
                  <a:pt x="410" y="35"/>
                </a:lnTo>
                <a:lnTo>
                  <a:pt x="408" y="33"/>
                </a:lnTo>
                <a:lnTo>
                  <a:pt x="408" y="31"/>
                </a:lnTo>
                <a:lnTo>
                  <a:pt x="408" y="31"/>
                </a:lnTo>
                <a:lnTo>
                  <a:pt x="405" y="31"/>
                </a:lnTo>
                <a:lnTo>
                  <a:pt x="405" y="29"/>
                </a:lnTo>
                <a:lnTo>
                  <a:pt x="403" y="29"/>
                </a:lnTo>
                <a:lnTo>
                  <a:pt x="401" y="29"/>
                </a:lnTo>
                <a:lnTo>
                  <a:pt x="220" y="29"/>
                </a:lnTo>
                <a:lnTo>
                  <a:pt x="220" y="6"/>
                </a:lnTo>
                <a:lnTo>
                  <a:pt x="220" y="4"/>
                </a:lnTo>
                <a:lnTo>
                  <a:pt x="218" y="4"/>
                </a:lnTo>
                <a:lnTo>
                  <a:pt x="218" y="2"/>
                </a:lnTo>
                <a:lnTo>
                  <a:pt x="216" y="2"/>
                </a:lnTo>
                <a:lnTo>
                  <a:pt x="216" y="0"/>
                </a:lnTo>
                <a:lnTo>
                  <a:pt x="214" y="0"/>
                </a:lnTo>
                <a:lnTo>
                  <a:pt x="214" y="0"/>
                </a:lnTo>
                <a:lnTo>
                  <a:pt x="212" y="0"/>
                </a:lnTo>
                <a:lnTo>
                  <a:pt x="212" y="0"/>
                </a:lnTo>
                <a:lnTo>
                  <a:pt x="210" y="0"/>
                </a:lnTo>
                <a:lnTo>
                  <a:pt x="208" y="0"/>
                </a:lnTo>
                <a:lnTo>
                  <a:pt x="208" y="2"/>
                </a:lnTo>
                <a:lnTo>
                  <a:pt x="206" y="2"/>
                </a:lnTo>
                <a:lnTo>
                  <a:pt x="206" y="4"/>
                </a:lnTo>
                <a:lnTo>
                  <a:pt x="206" y="4"/>
                </a:lnTo>
                <a:lnTo>
                  <a:pt x="204" y="6"/>
                </a:lnTo>
                <a:lnTo>
                  <a:pt x="204" y="29"/>
                </a:lnTo>
                <a:lnTo>
                  <a:pt x="23" y="29"/>
                </a:lnTo>
                <a:lnTo>
                  <a:pt x="20" y="29"/>
                </a:lnTo>
                <a:lnTo>
                  <a:pt x="18" y="29"/>
                </a:lnTo>
                <a:lnTo>
                  <a:pt x="18" y="31"/>
                </a:lnTo>
                <a:lnTo>
                  <a:pt x="18" y="31"/>
                </a:lnTo>
                <a:lnTo>
                  <a:pt x="16" y="31"/>
                </a:lnTo>
                <a:lnTo>
                  <a:pt x="16" y="33"/>
                </a:lnTo>
                <a:lnTo>
                  <a:pt x="14" y="35"/>
                </a:lnTo>
                <a:lnTo>
                  <a:pt x="14" y="37"/>
                </a:lnTo>
                <a:lnTo>
                  <a:pt x="14" y="37"/>
                </a:lnTo>
                <a:lnTo>
                  <a:pt x="16" y="39"/>
                </a:lnTo>
                <a:lnTo>
                  <a:pt x="16" y="39"/>
                </a:lnTo>
                <a:lnTo>
                  <a:pt x="18" y="41"/>
                </a:lnTo>
                <a:lnTo>
                  <a:pt x="18" y="43"/>
                </a:lnTo>
                <a:lnTo>
                  <a:pt x="18" y="43"/>
                </a:lnTo>
                <a:lnTo>
                  <a:pt x="20" y="43"/>
                </a:lnTo>
                <a:lnTo>
                  <a:pt x="23" y="43"/>
                </a:lnTo>
                <a:lnTo>
                  <a:pt x="72" y="43"/>
                </a:lnTo>
                <a:lnTo>
                  <a:pt x="16" y="248"/>
                </a:lnTo>
                <a:lnTo>
                  <a:pt x="8" y="248"/>
                </a:lnTo>
                <a:lnTo>
                  <a:pt x="6" y="248"/>
                </a:lnTo>
                <a:lnTo>
                  <a:pt x="4" y="248"/>
                </a:lnTo>
                <a:lnTo>
                  <a:pt x="4" y="250"/>
                </a:lnTo>
                <a:lnTo>
                  <a:pt x="2" y="250"/>
                </a:lnTo>
                <a:lnTo>
                  <a:pt x="2" y="252"/>
                </a:lnTo>
                <a:lnTo>
                  <a:pt x="2" y="252"/>
                </a:lnTo>
                <a:lnTo>
                  <a:pt x="0" y="254"/>
                </a:lnTo>
                <a:lnTo>
                  <a:pt x="0" y="256"/>
                </a:lnTo>
                <a:lnTo>
                  <a:pt x="0" y="265"/>
                </a:lnTo>
                <a:lnTo>
                  <a:pt x="2" y="271"/>
                </a:lnTo>
                <a:lnTo>
                  <a:pt x="4" y="279"/>
                </a:lnTo>
                <a:lnTo>
                  <a:pt x="6" y="287"/>
                </a:lnTo>
                <a:lnTo>
                  <a:pt x="10" y="293"/>
                </a:lnTo>
                <a:lnTo>
                  <a:pt x="14" y="300"/>
                </a:lnTo>
                <a:lnTo>
                  <a:pt x="18" y="306"/>
                </a:lnTo>
                <a:lnTo>
                  <a:pt x="25" y="312"/>
                </a:lnTo>
                <a:lnTo>
                  <a:pt x="29" y="318"/>
                </a:lnTo>
                <a:lnTo>
                  <a:pt x="35" y="322"/>
                </a:lnTo>
                <a:lnTo>
                  <a:pt x="43" y="327"/>
                </a:lnTo>
                <a:lnTo>
                  <a:pt x="49" y="329"/>
                </a:lnTo>
                <a:lnTo>
                  <a:pt x="58" y="333"/>
                </a:lnTo>
                <a:lnTo>
                  <a:pt x="64" y="335"/>
                </a:lnTo>
                <a:lnTo>
                  <a:pt x="72" y="335"/>
                </a:lnTo>
                <a:lnTo>
                  <a:pt x="80" y="337"/>
                </a:lnTo>
                <a:lnTo>
                  <a:pt x="88" y="335"/>
                </a:lnTo>
                <a:lnTo>
                  <a:pt x="97" y="335"/>
                </a:lnTo>
                <a:lnTo>
                  <a:pt x="105" y="333"/>
                </a:lnTo>
                <a:lnTo>
                  <a:pt x="111" y="329"/>
                </a:lnTo>
                <a:lnTo>
                  <a:pt x="119" y="327"/>
                </a:lnTo>
                <a:lnTo>
                  <a:pt x="125" y="322"/>
                </a:lnTo>
                <a:lnTo>
                  <a:pt x="132" y="318"/>
                </a:lnTo>
                <a:lnTo>
                  <a:pt x="138" y="312"/>
                </a:lnTo>
                <a:lnTo>
                  <a:pt x="142" y="306"/>
                </a:lnTo>
                <a:lnTo>
                  <a:pt x="148" y="300"/>
                </a:lnTo>
                <a:lnTo>
                  <a:pt x="152" y="293"/>
                </a:lnTo>
                <a:lnTo>
                  <a:pt x="154" y="287"/>
                </a:lnTo>
                <a:lnTo>
                  <a:pt x="156" y="279"/>
                </a:lnTo>
                <a:lnTo>
                  <a:pt x="158" y="271"/>
                </a:lnTo>
                <a:lnTo>
                  <a:pt x="160" y="265"/>
                </a:lnTo>
                <a:lnTo>
                  <a:pt x="160" y="256"/>
                </a:lnTo>
                <a:lnTo>
                  <a:pt x="160" y="254"/>
                </a:lnTo>
                <a:lnTo>
                  <a:pt x="160" y="252"/>
                </a:lnTo>
                <a:lnTo>
                  <a:pt x="160" y="252"/>
                </a:lnTo>
                <a:lnTo>
                  <a:pt x="158" y="250"/>
                </a:lnTo>
                <a:lnTo>
                  <a:pt x="158" y="250"/>
                </a:lnTo>
                <a:lnTo>
                  <a:pt x="156" y="248"/>
                </a:lnTo>
                <a:lnTo>
                  <a:pt x="154" y="248"/>
                </a:lnTo>
                <a:lnTo>
                  <a:pt x="154" y="248"/>
                </a:lnTo>
                <a:lnTo>
                  <a:pt x="144" y="248"/>
                </a:lnTo>
                <a:lnTo>
                  <a:pt x="90" y="43"/>
                </a:lnTo>
                <a:lnTo>
                  <a:pt x="204" y="43"/>
                </a:lnTo>
                <a:lnTo>
                  <a:pt x="204" y="66"/>
                </a:lnTo>
                <a:lnTo>
                  <a:pt x="206" y="66"/>
                </a:lnTo>
                <a:lnTo>
                  <a:pt x="206" y="68"/>
                </a:lnTo>
                <a:lnTo>
                  <a:pt x="206" y="70"/>
                </a:lnTo>
                <a:lnTo>
                  <a:pt x="208" y="70"/>
                </a:lnTo>
                <a:lnTo>
                  <a:pt x="208" y="72"/>
                </a:lnTo>
                <a:lnTo>
                  <a:pt x="210" y="72"/>
                </a:lnTo>
                <a:lnTo>
                  <a:pt x="212" y="72"/>
                </a:lnTo>
                <a:lnTo>
                  <a:pt x="212" y="72"/>
                </a:lnTo>
                <a:lnTo>
                  <a:pt x="214" y="72"/>
                </a:lnTo>
                <a:lnTo>
                  <a:pt x="214" y="72"/>
                </a:lnTo>
                <a:lnTo>
                  <a:pt x="216" y="72"/>
                </a:lnTo>
                <a:lnTo>
                  <a:pt x="216" y="70"/>
                </a:lnTo>
                <a:lnTo>
                  <a:pt x="218" y="70"/>
                </a:lnTo>
                <a:lnTo>
                  <a:pt x="218" y="68"/>
                </a:lnTo>
                <a:lnTo>
                  <a:pt x="220" y="66"/>
                </a:lnTo>
                <a:lnTo>
                  <a:pt x="220" y="66"/>
                </a:lnTo>
                <a:lnTo>
                  <a:pt x="220" y="43"/>
                </a:lnTo>
                <a:lnTo>
                  <a:pt x="333" y="43"/>
                </a:lnTo>
                <a:lnTo>
                  <a:pt x="280" y="248"/>
                </a:lnTo>
                <a:lnTo>
                  <a:pt x="270" y="248"/>
                </a:lnTo>
                <a:lnTo>
                  <a:pt x="270" y="248"/>
                </a:lnTo>
                <a:lnTo>
                  <a:pt x="268" y="248"/>
                </a:lnTo>
                <a:lnTo>
                  <a:pt x="265" y="250"/>
                </a:lnTo>
                <a:lnTo>
                  <a:pt x="265" y="250"/>
                </a:lnTo>
                <a:lnTo>
                  <a:pt x="263" y="252"/>
                </a:lnTo>
                <a:lnTo>
                  <a:pt x="263" y="252"/>
                </a:lnTo>
                <a:lnTo>
                  <a:pt x="263" y="254"/>
                </a:lnTo>
                <a:lnTo>
                  <a:pt x="263" y="256"/>
                </a:lnTo>
                <a:lnTo>
                  <a:pt x="263" y="265"/>
                </a:lnTo>
                <a:lnTo>
                  <a:pt x="265" y="271"/>
                </a:lnTo>
                <a:lnTo>
                  <a:pt x="268" y="279"/>
                </a:lnTo>
                <a:lnTo>
                  <a:pt x="270" y="287"/>
                </a:lnTo>
                <a:lnTo>
                  <a:pt x="272" y="293"/>
                </a:lnTo>
                <a:lnTo>
                  <a:pt x="278" y="300"/>
                </a:lnTo>
                <a:lnTo>
                  <a:pt x="282" y="306"/>
                </a:lnTo>
                <a:lnTo>
                  <a:pt x="286" y="312"/>
                </a:lnTo>
                <a:lnTo>
                  <a:pt x="292" y="318"/>
                </a:lnTo>
                <a:lnTo>
                  <a:pt x="298" y="322"/>
                </a:lnTo>
                <a:lnTo>
                  <a:pt x="305" y="327"/>
                </a:lnTo>
                <a:lnTo>
                  <a:pt x="313" y="329"/>
                </a:lnTo>
                <a:lnTo>
                  <a:pt x="319" y="333"/>
                </a:lnTo>
                <a:lnTo>
                  <a:pt x="327" y="335"/>
                </a:lnTo>
                <a:lnTo>
                  <a:pt x="335" y="335"/>
                </a:lnTo>
                <a:lnTo>
                  <a:pt x="344" y="337"/>
                </a:lnTo>
                <a:lnTo>
                  <a:pt x="352" y="335"/>
                </a:lnTo>
                <a:lnTo>
                  <a:pt x="360" y="335"/>
                </a:lnTo>
                <a:lnTo>
                  <a:pt x="366" y="333"/>
                </a:lnTo>
                <a:lnTo>
                  <a:pt x="375" y="329"/>
                </a:lnTo>
                <a:lnTo>
                  <a:pt x="381" y="327"/>
                </a:lnTo>
                <a:lnTo>
                  <a:pt x="389" y="322"/>
                </a:lnTo>
                <a:lnTo>
                  <a:pt x="395" y="318"/>
                </a:lnTo>
                <a:lnTo>
                  <a:pt x="399" y="312"/>
                </a:lnTo>
                <a:lnTo>
                  <a:pt x="405" y="306"/>
                </a:lnTo>
                <a:lnTo>
                  <a:pt x="410" y="300"/>
                </a:lnTo>
                <a:lnTo>
                  <a:pt x="414" y="293"/>
                </a:lnTo>
                <a:lnTo>
                  <a:pt x="418" y="287"/>
                </a:lnTo>
                <a:lnTo>
                  <a:pt x="420" y="279"/>
                </a:lnTo>
                <a:lnTo>
                  <a:pt x="422" y="271"/>
                </a:lnTo>
                <a:lnTo>
                  <a:pt x="424" y="265"/>
                </a:lnTo>
                <a:lnTo>
                  <a:pt x="424" y="256"/>
                </a:lnTo>
                <a:lnTo>
                  <a:pt x="424" y="254"/>
                </a:lnTo>
                <a:lnTo>
                  <a:pt x="422" y="252"/>
                </a:lnTo>
                <a:lnTo>
                  <a:pt x="422" y="252"/>
                </a:lnTo>
                <a:lnTo>
                  <a:pt x="422" y="250"/>
                </a:lnTo>
                <a:lnTo>
                  <a:pt x="420" y="250"/>
                </a:lnTo>
                <a:lnTo>
                  <a:pt x="420" y="248"/>
                </a:lnTo>
                <a:lnTo>
                  <a:pt x="418" y="248"/>
                </a:lnTo>
                <a:lnTo>
                  <a:pt x="416" y="248"/>
                </a:lnTo>
                <a:lnTo>
                  <a:pt x="416" y="248"/>
                </a:lnTo>
                <a:lnTo>
                  <a:pt x="416" y="24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4" name="Freeform 199">
            <a:extLst>
              <a:ext uri="{FF2B5EF4-FFF2-40B4-BE49-F238E27FC236}">
                <a16:creationId xmlns:a16="http://schemas.microsoft.com/office/drawing/2014/main" id="{A12B8C0A-3C30-4B6A-B6EE-D774D427281E}"/>
              </a:ext>
            </a:extLst>
          </p:cNvPr>
          <p:cNvSpPr>
            <a:spLocks noChangeAspect="1" noEditPoints="1"/>
          </p:cNvSpPr>
          <p:nvPr/>
        </p:nvSpPr>
        <p:spPr bwMode="auto">
          <a:xfrm>
            <a:off x="664928" y="4903831"/>
            <a:ext cx="298342" cy="258563"/>
          </a:xfrm>
          <a:custGeom>
            <a:avLst/>
            <a:gdLst>
              <a:gd name="T0" fmla="*/ 570 w 901"/>
              <a:gd name="T1" fmla="*/ 540 h 781"/>
              <a:gd name="T2" fmla="*/ 568 w 901"/>
              <a:gd name="T3" fmla="*/ 457 h 781"/>
              <a:gd name="T4" fmla="*/ 558 w 901"/>
              <a:gd name="T5" fmla="*/ 450 h 781"/>
              <a:gd name="T6" fmla="*/ 339 w 901"/>
              <a:gd name="T7" fmla="*/ 451 h 781"/>
              <a:gd name="T8" fmla="*/ 331 w 901"/>
              <a:gd name="T9" fmla="*/ 460 h 781"/>
              <a:gd name="T10" fmla="*/ 75 w 901"/>
              <a:gd name="T11" fmla="*/ 540 h 781"/>
              <a:gd name="T12" fmla="*/ 30 w 901"/>
              <a:gd name="T13" fmla="*/ 251 h 781"/>
              <a:gd name="T14" fmla="*/ 39 w 901"/>
              <a:gd name="T15" fmla="*/ 223 h 781"/>
              <a:gd name="T16" fmla="*/ 79 w 901"/>
              <a:gd name="T17" fmla="*/ 186 h 781"/>
              <a:gd name="T18" fmla="*/ 807 w 901"/>
              <a:gd name="T19" fmla="*/ 180 h 781"/>
              <a:gd name="T20" fmla="*/ 854 w 901"/>
              <a:gd name="T21" fmla="*/ 212 h 781"/>
              <a:gd name="T22" fmla="*/ 870 w 901"/>
              <a:gd name="T23" fmla="*/ 245 h 781"/>
              <a:gd name="T24" fmla="*/ 540 w 901"/>
              <a:gd name="T25" fmla="*/ 570 h 781"/>
              <a:gd name="T26" fmla="*/ 540 w 901"/>
              <a:gd name="T27" fmla="*/ 570 h 781"/>
              <a:gd name="T28" fmla="*/ 330 w 901"/>
              <a:gd name="T29" fmla="*/ 570 h 781"/>
              <a:gd name="T30" fmla="*/ 332 w 901"/>
              <a:gd name="T31" fmla="*/ 594 h 781"/>
              <a:gd name="T32" fmla="*/ 342 w 901"/>
              <a:gd name="T33" fmla="*/ 600 h 781"/>
              <a:gd name="T34" fmla="*/ 561 w 901"/>
              <a:gd name="T35" fmla="*/ 599 h 781"/>
              <a:gd name="T36" fmla="*/ 569 w 901"/>
              <a:gd name="T37" fmla="*/ 592 h 781"/>
              <a:gd name="T38" fmla="*/ 811 w 901"/>
              <a:gd name="T39" fmla="*/ 570 h 781"/>
              <a:gd name="T40" fmla="*/ 302 w 901"/>
              <a:gd name="T41" fmla="*/ 113 h 781"/>
              <a:gd name="T42" fmla="*/ 316 w 901"/>
              <a:gd name="T43" fmla="*/ 76 h 781"/>
              <a:gd name="T44" fmla="*/ 340 w 901"/>
              <a:gd name="T45" fmla="*/ 47 h 781"/>
              <a:gd name="T46" fmla="*/ 375 w 901"/>
              <a:gd name="T47" fmla="*/ 32 h 781"/>
              <a:gd name="T48" fmla="*/ 516 w 901"/>
              <a:gd name="T49" fmla="*/ 30 h 781"/>
              <a:gd name="T50" fmla="*/ 552 w 901"/>
              <a:gd name="T51" fmla="*/ 42 h 781"/>
              <a:gd name="T52" fmla="*/ 579 w 901"/>
              <a:gd name="T53" fmla="*/ 67 h 781"/>
              <a:gd name="T54" fmla="*/ 596 w 901"/>
              <a:gd name="T55" fmla="*/ 104 h 781"/>
              <a:gd name="T56" fmla="*/ 600 w 901"/>
              <a:gd name="T57" fmla="*/ 150 h 781"/>
              <a:gd name="T58" fmla="*/ 813 w 901"/>
              <a:gd name="T59" fmla="*/ 150 h 781"/>
              <a:gd name="T60" fmla="*/ 630 w 901"/>
              <a:gd name="T61" fmla="*/ 121 h 781"/>
              <a:gd name="T62" fmla="*/ 615 w 901"/>
              <a:gd name="T63" fmla="*/ 70 h 781"/>
              <a:gd name="T64" fmla="*/ 585 w 901"/>
              <a:gd name="T65" fmla="*/ 30 h 781"/>
              <a:gd name="T66" fmla="*/ 543 w 901"/>
              <a:gd name="T67" fmla="*/ 5 h 781"/>
              <a:gd name="T68" fmla="*/ 393 w 901"/>
              <a:gd name="T69" fmla="*/ 0 h 781"/>
              <a:gd name="T70" fmla="*/ 345 w 901"/>
              <a:gd name="T71" fmla="*/ 10 h 781"/>
              <a:gd name="T72" fmla="*/ 306 w 901"/>
              <a:gd name="T73" fmla="*/ 39 h 781"/>
              <a:gd name="T74" fmla="*/ 279 w 901"/>
              <a:gd name="T75" fmla="*/ 82 h 781"/>
              <a:gd name="T76" fmla="*/ 270 w 901"/>
              <a:gd name="T77" fmla="*/ 135 h 781"/>
              <a:gd name="T78" fmla="*/ 84 w 901"/>
              <a:gd name="T79" fmla="*/ 151 h 781"/>
              <a:gd name="T80" fmla="*/ 49 w 901"/>
              <a:gd name="T81" fmla="*/ 169 h 781"/>
              <a:gd name="T82" fmla="*/ 22 w 901"/>
              <a:gd name="T83" fmla="*/ 195 h 781"/>
              <a:gd name="T84" fmla="*/ 5 w 901"/>
              <a:gd name="T85" fmla="*/ 224 h 781"/>
              <a:gd name="T86" fmla="*/ 0 w 901"/>
              <a:gd name="T87" fmla="*/ 257 h 781"/>
              <a:gd name="T88" fmla="*/ 2 w 901"/>
              <a:gd name="T89" fmla="*/ 564 h 781"/>
              <a:gd name="T90" fmla="*/ 11 w 901"/>
              <a:gd name="T91" fmla="*/ 570 h 781"/>
              <a:gd name="T92" fmla="*/ 60 w 901"/>
              <a:gd name="T93" fmla="*/ 766 h 781"/>
              <a:gd name="T94" fmla="*/ 64 w 901"/>
              <a:gd name="T95" fmla="*/ 776 h 781"/>
              <a:gd name="T96" fmla="*/ 75 w 901"/>
              <a:gd name="T97" fmla="*/ 781 h 781"/>
              <a:gd name="T98" fmla="*/ 834 w 901"/>
              <a:gd name="T99" fmla="*/ 778 h 781"/>
              <a:gd name="T100" fmla="*/ 840 w 901"/>
              <a:gd name="T101" fmla="*/ 769 h 781"/>
              <a:gd name="T102" fmla="*/ 886 w 901"/>
              <a:gd name="T103" fmla="*/ 570 h 781"/>
              <a:gd name="T104" fmla="*/ 897 w 901"/>
              <a:gd name="T105" fmla="*/ 566 h 781"/>
              <a:gd name="T106" fmla="*/ 901 w 901"/>
              <a:gd name="T107" fmla="*/ 555 h 781"/>
              <a:gd name="T108" fmla="*/ 898 w 901"/>
              <a:gd name="T109" fmla="*/ 232 h 781"/>
              <a:gd name="T110" fmla="*/ 883 w 901"/>
              <a:gd name="T111" fmla="*/ 201 h 781"/>
              <a:gd name="T112" fmla="*/ 858 w 901"/>
              <a:gd name="T113" fmla="*/ 176 h 781"/>
              <a:gd name="T114" fmla="*/ 825 w 901"/>
              <a:gd name="T115" fmla="*/ 155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1" h="781">
                <a:moveTo>
                  <a:pt x="871" y="540"/>
                </a:moveTo>
                <a:lnTo>
                  <a:pt x="848" y="540"/>
                </a:lnTo>
                <a:lnTo>
                  <a:pt x="826" y="540"/>
                </a:lnTo>
                <a:lnTo>
                  <a:pt x="570" y="540"/>
                </a:lnTo>
                <a:lnTo>
                  <a:pt x="570" y="465"/>
                </a:lnTo>
                <a:lnTo>
                  <a:pt x="570" y="462"/>
                </a:lnTo>
                <a:lnTo>
                  <a:pt x="569" y="460"/>
                </a:lnTo>
                <a:lnTo>
                  <a:pt x="568" y="457"/>
                </a:lnTo>
                <a:lnTo>
                  <a:pt x="566" y="454"/>
                </a:lnTo>
                <a:lnTo>
                  <a:pt x="564" y="453"/>
                </a:lnTo>
                <a:lnTo>
                  <a:pt x="561" y="451"/>
                </a:lnTo>
                <a:lnTo>
                  <a:pt x="558" y="450"/>
                </a:lnTo>
                <a:lnTo>
                  <a:pt x="555" y="450"/>
                </a:lnTo>
                <a:lnTo>
                  <a:pt x="345" y="450"/>
                </a:lnTo>
                <a:lnTo>
                  <a:pt x="342" y="450"/>
                </a:lnTo>
                <a:lnTo>
                  <a:pt x="339" y="451"/>
                </a:lnTo>
                <a:lnTo>
                  <a:pt x="336" y="453"/>
                </a:lnTo>
                <a:lnTo>
                  <a:pt x="334" y="454"/>
                </a:lnTo>
                <a:lnTo>
                  <a:pt x="332" y="457"/>
                </a:lnTo>
                <a:lnTo>
                  <a:pt x="331" y="460"/>
                </a:lnTo>
                <a:lnTo>
                  <a:pt x="330" y="462"/>
                </a:lnTo>
                <a:lnTo>
                  <a:pt x="330" y="465"/>
                </a:lnTo>
                <a:lnTo>
                  <a:pt x="330" y="540"/>
                </a:lnTo>
                <a:lnTo>
                  <a:pt x="75" y="540"/>
                </a:lnTo>
                <a:lnTo>
                  <a:pt x="52" y="540"/>
                </a:lnTo>
                <a:lnTo>
                  <a:pt x="30" y="540"/>
                </a:lnTo>
                <a:lnTo>
                  <a:pt x="30" y="257"/>
                </a:lnTo>
                <a:lnTo>
                  <a:pt x="30" y="251"/>
                </a:lnTo>
                <a:lnTo>
                  <a:pt x="31" y="245"/>
                </a:lnTo>
                <a:lnTo>
                  <a:pt x="32" y="240"/>
                </a:lnTo>
                <a:lnTo>
                  <a:pt x="34" y="233"/>
                </a:lnTo>
                <a:lnTo>
                  <a:pt x="39" y="223"/>
                </a:lnTo>
                <a:lnTo>
                  <a:pt x="47" y="212"/>
                </a:lnTo>
                <a:lnTo>
                  <a:pt x="55" y="202"/>
                </a:lnTo>
                <a:lnTo>
                  <a:pt x="66" y="194"/>
                </a:lnTo>
                <a:lnTo>
                  <a:pt x="79" y="186"/>
                </a:lnTo>
                <a:lnTo>
                  <a:pt x="93" y="180"/>
                </a:lnTo>
                <a:lnTo>
                  <a:pt x="285" y="180"/>
                </a:lnTo>
                <a:lnTo>
                  <a:pt x="615" y="180"/>
                </a:lnTo>
                <a:lnTo>
                  <a:pt x="807" y="180"/>
                </a:lnTo>
                <a:lnTo>
                  <a:pt x="821" y="186"/>
                </a:lnTo>
                <a:lnTo>
                  <a:pt x="834" y="194"/>
                </a:lnTo>
                <a:lnTo>
                  <a:pt x="844" y="202"/>
                </a:lnTo>
                <a:lnTo>
                  <a:pt x="854" y="212"/>
                </a:lnTo>
                <a:lnTo>
                  <a:pt x="861" y="223"/>
                </a:lnTo>
                <a:lnTo>
                  <a:pt x="866" y="233"/>
                </a:lnTo>
                <a:lnTo>
                  <a:pt x="868" y="240"/>
                </a:lnTo>
                <a:lnTo>
                  <a:pt x="870" y="245"/>
                </a:lnTo>
                <a:lnTo>
                  <a:pt x="870" y="251"/>
                </a:lnTo>
                <a:lnTo>
                  <a:pt x="871" y="257"/>
                </a:lnTo>
                <a:lnTo>
                  <a:pt x="871" y="540"/>
                </a:lnTo>
                <a:close/>
                <a:moveTo>
                  <a:pt x="540" y="570"/>
                </a:moveTo>
                <a:lnTo>
                  <a:pt x="360" y="570"/>
                </a:lnTo>
                <a:lnTo>
                  <a:pt x="360" y="480"/>
                </a:lnTo>
                <a:lnTo>
                  <a:pt x="540" y="480"/>
                </a:lnTo>
                <a:lnTo>
                  <a:pt x="540" y="570"/>
                </a:lnTo>
                <a:close/>
                <a:moveTo>
                  <a:pt x="811" y="751"/>
                </a:moveTo>
                <a:lnTo>
                  <a:pt x="90" y="751"/>
                </a:lnTo>
                <a:lnTo>
                  <a:pt x="90" y="570"/>
                </a:lnTo>
                <a:lnTo>
                  <a:pt x="330" y="570"/>
                </a:lnTo>
                <a:lnTo>
                  <a:pt x="330" y="585"/>
                </a:lnTo>
                <a:lnTo>
                  <a:pt x="330" y="588"/>
                </a:lnTo>
                <a:lnTo>
                  <a:pt x="331" y="592"/>
                </a:lnTo>
                <a:lnTo>
                  <a:pt x="332" y="594"/>
                </a:lnTo>
                <a:lnTo>
                  <a:pt x="334" y="596"/>
                </a:lnTo>
                <a:lnTo>
                  <a:pt x="336" y="598"/>
                </a:lnTo>
                <a:lnTo>
                  <a:pt x="339" y="599"/>
                </a:lnTo>
                <a:lnTo>
                  <a:pt x="342" y="600"/>
                </a:lnTo>
                <a:lnTo>
                  <a:pt x="345" y="600"/>
                </a:lnTo>
                <a:lnTo>
                  <a:pt x="555" y="600"/>
                </a:lnTo>
                <a:lnTo>
                  <a:pt x="558" y="600"/>
                </a:lnTo>
                <a:lnTo>
                  <a:pt x="561" y="599"/>
                </a:lnTo>
                <a:lnTo>
                  <a:pt x="564" y="598"/>
                </a:lnTo>
                <a:lnTo>
                  <a:pt x="566" y="596"/>
                </a:lnTo>
                <a:lnTo>
                  <a:pt x="568" y="594"/>
                </a:lnTo>
                <a:lnTo>
                  <a:pt x="569" y="592"/>
                </a:lnTo>
                <a:lnTo>
                  <a:pt x="570" y="588"/>
                </a:lnTo>
                <a:lnTo>
                  <a:pt x="570" y="585"/>
                </a:lnTo>
                <a:lnTo>
                  <a:pt x="570" y="570"/>
                </a:lnTo>
                <a:lnTo>
                  <a:pt x="811" y="570"/>
                </a:lnTo>
                <a:lnTo>
                  <a:pt x="811" y="751"/>
                </a:lnTo>
                <a:close/>
                <a:moveTo>
                  <a:pt x="300" y="135"/>
                </a:moveTo>
                <a:lnTo>
                  <a:pt x="300" y="124"/>
                </a:lnTo>
                <a:lnTo>
                  <a:pt x="302" y="113"/>
                </a:lnTo>
                <a:lnTo>
                  <a:pt x="304" y="104"/>
                </a:lnTo>
                <a:lnTo>
                  <a:pt x="307" y="94"/>
                </a:lnTo>
                <a:lnTo>
                  <a:pt x="310" y="84"/>
                </a:lnTo>
                <a:lnTo>
                  <a:pt x="316" y="76"/>
                </a:lnTo>
                <a:lnTo>
                  <a:pt x="321" y="67"/>
                </a:lnTo>
                <a:lnTo>
                  <a:pt x="327" y="60"/>
                </a:lnTo>
                <a:lnTo>
                  <a:pt x="334" y="53"/>
                </a:lnTo>
                <a:lnTo>
                  <a:pt x="340" y="47"/>
                </a:lnTo>
                <a:lnTo>
                  <a:pt x="349" y="42"/>
                </a:lnTo>
                <a:lnTo>
                  <a:pt x="357" y="37"/>
                </a:lnTo>
                <a:lnTo>
                  <a:pt x="365" y="34"/>
                </a:lnTo>
                <a:lnTo>
                  <a:pt x="375" y="32"/>
                </a:lnTo>
                <a:lnTo>
                  <a:pt x="383" y="30"/>
                </a:lnTo>
                <a:lnTo>
                  <a:pt x="393" y="30"/>
                </a:lnTo>
                <a:lnTo>
                  <a:pt x="507" y="30"/>
                </a:lnTo>
                <a:lnTo>
                  <a:pt x="516" y="30"/>
                </a:lnTo>
                <a:lnTo>
                  <a:pt x="526" y="32"/>
                </a:lnTo>
                <a:lnTo>
                  <a:pt x="535" y="34"/>
                </a:lnTo>
                <a:lnTo>
                  <a:pt x="543" y="37"/>
                </a:lnTo>
                <a:lnTo>
                  <a:pt x="552" y="42"/>
                </a:lnTo>
                <a:lnTo>
                  <a:pt x="559" y="47"/>
                </a:lnTo>
                <a:lnTo>
                  <a:pt x="567" y="53"/>
                </a:lnTo>
                <a:lnTo>
                  <a:pt x="573" y="60"/>
                </a:lnTo>
                <a:lnTo>
                  <a:pt x="579" y="67"/>
                </a:lnTo>
                <a:lnTo>
                  <a:pt x="584" y="76"/>
                </a:lnTo>
                <a:lnTo>
                  <a:pt x="589" y="84"/>
                </a:lnTo>
                <a:lnTo>
                  <a:pt x="592" y="94"/>
                </a:lnTo>
                <a:lnTo>
                  <a:pt x="596" y="104"/>
                </a:lnTo>
                <a:lnTo>
                  <a:pt x="599" y="113"/>
                </a:lnTo>
                <a:lnTo>
                  <a:pt x="600" y="124"/>
                </a:lnTo>
                <a:lnTo>
                  <a:pt x="600" y="135"/>
                </a:lnTo>
                <a:lnTo>
                  <a:pt x="600" y="150"/>
                </a:lnTo>
                <a:lnTo>
                  <a:pt x="300" y="150"/>
                </a:lnTo>
                <a:lnTo>
                  <a:pt x="300" y="135"/>
                </a:lnTo>
                <a:close/>
                <a:moveTo>
                  <a:pt x="815" y="151"/>
                </a:moveTo>
                <a:lnTo>
                  <a:pt x="813" y="150"/>
                </a:lnTo>
                <a:lnTo>
                  <a:pt x="810" y="150"/>
                </a:lnTo>
                <a:lnTo>
                  <a:pt x="630" y="150"/>
                </a:lnTo>
                <a:lnTo>
                  <a:pt x="630" y="135"/>
                </a:lnTo>
                <a:lnTo>
                  <a:pt x="630" y="121"/>
                </a:lnTo>
                <a:lnTo>
                  <a:pt x="628" y="107"/>
                </a:lnTo>
                <a:lnTo>
                  <a:pt x="625" y="94"/>
                </a:lnTo>
                <a:lnTo>
                  <a:pt x="620" y="82"/>
                </a:lnTo>
                <a:lnTo>
                  <a:pt x="615" y="70"/>
                </a:lnTo>
                <a:lnTo>
                  <a:pt x="610" y="59"/>
                </a:lnTo>
                <a:lnTo>
                  <a:pt x="602" y="49"/>
                </a:lnTo>
                <a:lnTo>
                  <a:pt x="595" y="39"/>
                </a:lnTo>
                <a:lnTo>
                  <a:pt x="585" y="30"/>
                </a:lnTo>
                <a:lnTo>
                  <a:pt x="575" y="22"/>
                </a:lnTo>
                <a:lnTo>
                  <a:pt x="566" y="16"/>
                </a:lnTo>
                <a:lnTo>
                  <a:pt x="555" y="10"/>
                </a:lnTo>
                <a:lnTo>
                  <a:pt x="543" y="5"/>
                </a:lnTo>
                <a:lnTo>
                  <a:pt x="531" y="2"/>
                </a:lnTo>
                <a:lnTo>
                  <a:pt x="520" y="0"/>
                </a:lnTo>
                <a:lnTo>
                  <a:pt x="507" y="0"/>
                </a:lnTo>
                <a:lnTo>
                  <a:pt x="393" y="0"/>
                </a:lnTo>
                <a:lnTo>
                  <a:pt x="380" y="0"/>
                </a:lnTo>
                <a:lnTo>
                  <a:pt x="368" y="2"/>
                </a:lnTo>
                <a:lnTo>
                  <a:pt x="357" y="5"/>
                </a:lnTo>
                <a:lnTo>
                  <a:pt x="345" y="10"/>
                </a:lnTo>
                <a:lnTo>
                  <a:pt x="334" y="16"/>
                </a:lnTo>
                <a:lnTo>
                  <a:pt x="324" y="22"/>
                </a:lnTo>
                <a:lnTo>
                  <a:pt x="315" y="30"/>
                </a:lnTo>
                <a:lnTo>
                  <a:pt x="306" y="39"/>
                </a:lnTo>
                <a:lnTo>
                  <a:pt x="298" y="49"/>
                </a:lnTo>
                <a:lnTo>
                  <a:pt x="291" y="59"/>
                </a:lnTo>
                <a:lnTo>
                  <a:pt x="285" y="70"/>
                </a:lnTo>
                <a:lnTo>
                  <a:pt x="279" y="82"/>
                </a:lnTo>
                <a:lnTo>
                  <a:pt x="275" y="94"/>
                </a:lnTo>
                <a:lnTo>
                  <a:pt x="272" y="107"/>
                </a:lnTo>
                <a:lnTo>
                  <a:pt x="270" y="121"/>
                </a:lnTo>
                <a:lnTo>
                  <a:pt x="270" y="135"/>
                </a:lnTo>
                <a:lnTo>
                  <a:pt x="270" y="150"/>
                </a:lnTo>
                <a:lnTo>
                  <a:pt x="90" y="150"/>
                </a:lnTo>
                <a:lnTo>
                  <a:pt x="87" y="150"/>
                </a:lnTo>
                <a:lnTo>
                  <a:pt x="84" y="151"/>
                </a:lnTo>
                <a:lnTo>
                  <a:pt x="75" y="155"/>
                </a:lnTo>
                <a:lnTo>
                  <a:pt x="66" y="159"/>
                </a:lnTo>
                <a:lnTo>
                  <a:pt x="57" y="164"/>
                </a:lnTo>
                <a:lnTo>
                  <a:pt x="49" y="169"/>
                </a:lnTo>
                <a:lnTo>
                  <a:pt x="41" y="176"/>
                </a:lnTo>
                <a:lnTo>
                  <a:pt x="34" y="181"/>
                </a:lnTo>
                <a:lnTo>
                  <a:pt x="27" y="187"/>
                </a:lnTo>
                <a:lnTo>
                  <a:pt x="22" y="195"/>
                </a:lnTo>
                <a:lnTo>
                  <a:pt x="17" y="201"/>
                </a:lnTo>
                <a:lnTo>
                  <a:pt x="12" y="209"/>
                </a:lnTo>
                <a:lnTo>
                  <a:pt x="8" y="216"/>
                </a:lnTo>
                <a:lnTo>
                  <a:pt x="5" y="224"/>
                </a:lnTo>
                <a:lnTo>
                  <a:pt x="3" y="232"/>
                </a:lnTo>
                <a:lnTo>
                  <a:pt x="1" y="240"/>
                </a:lnTo>
                <a:lnTo>
                  <a:pt x="0" y="249"/>
                </a:lnTo>
                <a:lnTo>
                  <a:pt x="0" y="257"/>
                </a:lnTo>
                <a:lnTo>
                  <a:pt x="0" y="555"/>
                </a:lnTo>
                <a:lnTo>
                  <a:pt x="0" y="558"/>
                </a:lnTo>
                <a:lnTo>
                  <a:pt x="1" y="562"/>
                </a:lnTo>
                <a:lnTo>
                  <a:pt x="2" y="564"/>
                </a:lnTo>
                <a:lnTo>
                  <a:pt x="4" y="566"/>
                </a:lnTo>
                <a:lnTo>
                  <a:pt x="6" y="568"/>
                </a:lnTo>
                <a:lnTo>
                  <a:pt x="8" y="569"/>
                </a:lnTo>
                <a:lnTo>
                  <a:pt x="11" y="570"/>
                </a:lnTo>
                <a:lnTo>
                  <a:pt x="15" y="570"/>
                </a:lnTo>
                <a:lnTo>
                  <a:pt x="52" y="570"/>
                </a:lnTo>
                <a:lnTo>
                  <a:pt x="60" y="570"/>
                </a:lnTo>
                <a:lnTo>
                  <a:pt x="60" y="766"/>
                </a:lnTo>
                <a:lnTo>
                  <a:pt x="60" y="769"/>
                </a:lnTo>
                <a:lnTo>
                  <a:pt x="61" y="772"/>
                </a:lnTo>
                <a:lnTo>
                  <a:pt x="62" y="774"/>
                </a:lnTo>
                <a:lnTo>
                  <a:pt x="64" y="776"/>
                </a:lnTo>
                <a:lnTo>
                  <a:pt x="66" y="778"/>
                </a:lnTo>
                <a:lnTo>
                  <a:pt x="68" y="779"/>
                </a:lnTo>
                <a:lnTo>
                  <a:pt x="71" y="780"/>
                </a:lnTo>
                <a:lnTo>
                  <a:pt x="75" y="781"/>
                </a:lnTo>
                <a:lnTo>
                  <a:pt x="826" y="781"/>
                </a:lnTo>
                <a:lnTo>
                  <a:pt x="828" y="780"/>
                </a:lnTo>
                <a:lnTo>
                  <a:pt x="832" y="779"/>
                </a:lnTo>
                <a:lnTo>
                  <a:pt x="834" y="778"/>
                </a:lnTo>
                <a:lnTo>
                  <a:pt x="836" y="776"/>
                </a:lnTo>
                <a:lnTo>
                  <a:pt x="838" y="774"/>
                </a:lnTo>
                <a:lnTo>
                  <a:pt x="840" y="772"/>
                </a:lnTo>
                <a:lnTo>
                  <a:pt x="840" y="769"/>
                </a:lnTo>
                <a:lnTo>
                  <a:pt x="841" y="766"/>
                </a:lnTo>
                <a:lnTo>
                  <a:pt x="841" y="570"/>
                </a:lnTo>
                <a:lnTo>
                  <a:pt x="848" y="570"/>
                </a:lnTo>
                <a:lnTo>
                  <a:pt x="886" y="570"/>
                </a:lnTo>
                <a:lnTo>
                  <a:pt x="888" y="570"/>
                </a:lnTo>
                <a:lnTo>
                  <a:pt x="892" y="569"/>
                </a:lnTo>
                <a:lnTo>
                  <a:pt x="895" y="568"/>
                </a:lnTo>
                <a:lnTo>
                  <a:pt x="897" y="566"/>
                </a:lnTo>
                <a:lnTo>
                  <a:pt x="898" y="564"/>
                </a:lnTo>
                <a:lnTo>
                  <a:pt x="900" y="562"/>
                </a:lnTo>
                <a:lnTo>
                  <a:pt x="900" y="558"/>
                </a:lnTo>
                <a:lnTo>
                  <a:pt x="901" y="555"/>
                </a:lnTo>
                <a:lnTo>
                  <a:pt x="901" y="257"/>
                </a:lnTo>
                <a:lnTo>
                  <a:pt x="900" y="249"/>
                </a:lnTo>
                <a:lnTo>
                  <a:pt x="899" y="240"/>
                </a:lnTo>
                <a:lnTo>
                  <a:pt x="898" y="232"/>
                </a:lnTo>
                <a:lnTo>
                  <a:pt x="895" y="224"/>
                </a:lnTo>
                <a:lnTo>
                  <a:pt x="892" y="216"/>
                </a:lnTo>
                <a:lnTo>
                  <a:pt x="887" y="209"/>
                </a:lnTo>
                <a:lnTo>
                  <a:pt x="883" y="201"/>
                </a:lnTo>
                <a:lnTo>
                  <a:pt x="878" y="195"/>
                </a:lnTo>
                <a:lnTo>
                  <a:pt x="872" y="187"/>
                </a:lnTo>
                <a:lnTo>
                  <a:pt x="866" y="181"/>
                </a:lnTo>
                <a:lnTo>
                  <a:pt x="858" y="176"/>
                </a:lnTo>
                <a:lnTo>
                  <a:pt x="851" y="169"/>
                </a:lnTo>
                <a:lnTo>
                  <a:pt x="843" y="164"/>
                </a:lnTo>
                <a:lnTo>
                  <a:pt x="835" y="159"/>
                </a:lnTo>
                <a:lnTo>
                  <a:pt x="825" y="155"/>
                </a:lnTo>
                <a:lnTo>
                  <a:pt x="815" y="15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685" name="Group 74">
            <a:extLst>
              <a:ext uri="{FF2B5EF4-FFF2-40B4-BE49-F238E27FC236}">
                <a16:creationId xmlns:a16="http://schemas.microsoft.com/office/drawing/2014/main" id="{B39969B6-6EB8-4FF0-8DAE-CB05CC993EE0}"/>
              </a:ext>
            </a:extLst>
          </p:cNvPr>
          <p:cNvGrpSpPr>
            <a:grpSpLocks noChangeAspect="1"/>
          </p:cNvGrpSpPr>
          <p:nvPr/>
        </p:nvGrpSpPr>
        <p:grpSpPr>
          <a:xfrm>
            <a:off x="1067757" y="4879868"/>
            <a:ext cx="303083" cy="306488"/>
            <a:chOff x="10456863" y="1338263"/>
            <a:chExt cx="282575" cy="285750"/>
          </a:xfrm>
          <a:solidFill>
            <a:schemeClr val="bg1"/>
          </a:solidFill>
          <a:effectLst/>
        </p:grpSpPr>
        <p:sp>
          <p:nvSpPr>
            <p:cNvPr id="686" name="Freeform 268">
              <a:extLst>
                <a:ext uri="{FF2B5EF4-FFF2-40B4-BE49-F238E27FC236}">
                  <a16:creationId xmlns:a16="http://schemas.microsoft.com/office/drawing/2014/main" id="{940CDA9D-EC6F-4954-85F6-D0D9E1348E42}"/>
                </a:ext>
              </a:extLst>
            </p:cNvPr>
            <p:cNvSpPr>
              <a:spLocks noEditPoints="1"/>
            </p:cNvSpPr>
            <p:nvPr/>
          </p:nvSpPr>
          <p:spPr bwMode="auto">
            <a:xfrm>
              <a:off x="10456863" y="1509713"/>
              <a:ext cx="161925" cy="114300"/>
            </a:xfrm>
            <a:custGeom>
              <a:avLst/>
              <a:gdLst>
                <a:gd name="T0" fmla="*/ 34 w 508"/>
                <a:gd name="T1" fmla="*/ 289 h 359"/>
                <a:gd name="T2" fmla="*/ 50 w 508"/>
                <a:gd name="T3" fmla="*/ 238 h 359"/>
                <a:gd name="T4" fmla="*/ 77 w 508"/>
                <a:gd name="T5" fmla="*/ 197 h 359"/>
                <a:gd name="T6" fmla="*/ 113 w 508"/>
                <a:gd name="T7" fmla="*/ 169 h 359"/>
                <a:gd name="T8" fmla="*/ 158 w 508"/>
                <a:gd name="T9" fmla="*/ 153 h 359"/>
                <a:gd name="T10" fmla="*/ 197 w 508"/>
                <a:gd name="T11" fmla="*/ 150 h 359"/>
                <a:gd name="T12" fmla="*/ 204 w 508"/>
                <a:gd name="T13" fmla="*/ 146 h 359"/>
                <a:gd name="T14" fmla="*/ 209 w 508"/>
                <a:gd name="T15" fmla="*/ 138 h 359"/>
                <a:gd name="T16" fmla="*/ 209 w 508"/>
                <a:gd name="T17" fmla="*/ 72 h 359"/>
                <a:gd name="T18" fmla="*/ 204 w 508"/>
                <a:gd name="T19" fmla="*/ 64 h 359"/>
                <a:gd name="T20" fmla="*/ 197 w 508"/>
                <a:gd name="T21" fmla="*/ 61 h 359"/>
                <a:gd name="T22" fmla="*/ 179 w 508"/>
                <a:gd name="T23" fmla="*/ 30 h 359"/>
                <a:gd name="T24" fmla="*/ 313 w 508"/>
                <a:gd name="T25" fmla="*/ 60 h 359"/>
                <a:gd name="T26" fmla="*/ 305 w 508"/>
                <a:gd name="T27" fmla="*/ 63 h 359"/>
                <a:gd name="T28" fmla="*/ 299 w 508"/>
                <a:gd name="T29" fmla="*/ 70 h 359"/>
                <a:gd name="T30" fmla="*/ 298 w 508"/>
                <a:gd name="T31" fmla="*/ 135 h 359"/>
                <a:gd name="T32" fmla="*/ 301 w 508"/>
                <a:gd name="T33" fmla="*/ 143 h 359"/>
                <a:gd name="T34" fmla="*/ 308 w 508"/>
                <a:gd name="T35" fmla="*/ 149 h 359"/>
                <a:gd name="T36" fmla="*/ 332 w 508"/>
                <a:gd name="T37" fmla="*/ 151 h 359"/>
                <a:gd name="T38" fmla="*/ 380 w 508"/>
                <a:gd name="T39" fmla="*/ 162 h 359"/>
                <a:gd name="T40" fmla="*/ 419 w 508"/>
                <a:gd name="T41" fmla="*/ 186 h 359"/>
                <a:gd name="T42" fmla="*/ 449 w 508"/>
                <a:gd name="T43" fmla="*/ 223 h 359"/>
                <a:gd name="T44" fmla="*/ 468 w 508"/>
                <a:gd name="T45" fmla="*/ 271 h 359"/>
                <a:gd name="T46" fmla="*/ 477 w 508"/>
                <a:gd name="T47" fmla="*/ 329 h 359"/>
                <a:gd name="T48" fmla="*/ 328 w 508"/>
                <a:gd name="T49" fmla="*/ 90 h 359"/>
                <a:gd name="T50" fmla="*/ 349 w 508"/>
                <a:gd name="T51" fmla="*/ 89 h 359"/>
                <a:gd name="T52" fmla="*/ 356 w 508"/>
                <a:gd name="T53" fmla="*/ 84 h 359"/>
                <a:gd name="T54" fmla="*/ 358 w 508"/>
                <a:gd name="T55" fmla="*/ 75 h 359"/>
                <a:gd name="T56" fmla="*/ 357 w 508"/>
                <a:gd name="T57" fmla="*/ 10 h 359"/>
                <a:gd name="T58" fmla="*/ 352 w 508"/>
                <a:gd name="T59" fmla="*/ 3 h 359"/>
                <a:gd name="T60" fmla="*/ 343 w 508"/>
                <a:gd name="T61" fmla="*/ 0 h 359"/>
                <a:gd name="T62" fmla="*/ 158 w 508"/>
                <a:gd name="T63" fmla="*/ 1 h 359"/>
                <a:gd name="T64" fmla="*/ 152 w 508"/>
                <a:gd name="T65" fmla="*/ 8 h 359"/>
                <a:gd name="T66" fmla="*/ 149 w 508"/>
                <a:gd name="T67" fmla="*/ 15 h 359"/>
                <a:gd name="T68" fmla="*/ 150 w 508"/>
                <a:gd name="T69" fmla="*/ 81 h 359"/>
                <a:gd name="T70" fmla="*/ 156 w 508"/>
                <a:gd name="T71" fmla="*/ 88 h 359"/>
                <a:gd name="T72" fmla="*/ 164 w 508"/>
                <a:gd name="T73" fmla="*/ 90 h 359"/>
                <a:gd name="T74" fmla="*/ 158 w 508"/>
                <a:gd name="T75" fmla="*/ 123 h 359"/>
                <a:gd name="T76" fmla="*/ 104 w 508"/>
                <a:gd name="T77" fmla="*/ 140 h 359"/>
                <a:gd name="T78" fmla="*/ 60 w 508"/>
                <a:gd name="T79" fmla="*/ 171 h 359"/>
                <a:gd name="T80" fmla="*/ 27 w 508"/>
                <a:gd name="T81" fmla="*/ 217 h 359"/>
                <a:gd name="T82" fmla="*/ 6 w 508"/>
                <a:gd name="T83" fmla="*/ 275 h 359"/>
                <a:gd name="T84" fmla="*/ 0 w 508"/>
                <a:gd name="T85" fmla="*/ 344 h 359"/>
                <a:gd name="T86" fmla="*/ 2 w 508"/>
                <a:gd name="T87" fmla="*/ 352 h 359"/>
                <a:gd name="T88" fmla="*/ 8 w 508"/>
                <a:gd name="T89" fmla="*/ 358 h 359"/>
                <a:gd name="T90" fmla="*/ 493 w 508"/>
                <a:gd name="T91" fmla="*/ 359 h 359"/>
                <a:gd name="T92" fmla="*/ 501 w 508"/>
                <a:gd name="T93" fmla="*/ 356 h 359"/>
                <a:gd name="T94" fmla="*/ 507 w 508"/>
                <a:gd name="T95" fmla="*/ 350 h 359"/>
                <a:gd name="T96" fmla="*/ 507 w 508"/>
                <a:gd name="T97" fmla="*/ 320 h 359"/>
                <a:gd name="T98" fmla="*/ 495 w 508"/>
                <a:gd name="T99" fmla="*/ 255 h 359"/>
                <a:gd name="T100" fmla="*/ 471 w 508"/>
                <a:gd name="T101" fmla="*/ 200 h 359"/>
                <a:gd name="T102" fmla="*/ 434 w 508"/>
                <a:gd name="T103" fmla="*/ 159 h 359"/>
                <a:gd name="T104" fmla="*/ 386 w 508"/>
                <a:gd name="T105" fmla="*/ 133 h 359"/>
                <a:gd name="T106" fmla="*/ 328 w 508"/>
                <a:gd name="T107" fmla="*/ 121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359">
                  <a:moveTo>
                    <a:pt x="30" y="329"/>
                  </a:moveTo>
                  <a:lnTo>
                    <a:pt x="31" y="308"/>
                  </a:lnTo>
                  <a:lnTo>
                    <a:pt x="34" y="289"/>
                  </a:lnTo>
                  <a:lnTo>
                    <a:pt x="38" y="271"/>
                  </a:lnTo>
                  <a:lnTo>
                    <a:pt x="44" y="254"/>
                  </a:lnTo>
                  <a:lnTo>
                    <a:pt x="50" y="238"/>
                  </a:lnTo>
                  <a:lnTo>
                    <a:pt x="58" y="223"/>
                  </a:lnTo>
                  <a:lnTo>
                    <a:pt x="66" y="210"/>
                  </a:lnTo>
                  <a:lnTo>
                    <a:pt x="77" y="197"/>
                  </a:lnTo>
                  <a:lnTo>
                    <a:pt x="88" y="186"/>
                  </a:lnTo>
                  <a:lnTo>
                    <a:pt x="99" y="177"/>
                  </a:lnTo>
                  <a:lnTo>
                    <a:pt x="113" y="169"/>
                  </a:lnTo>
                  <a:lnTo>
                    <a:pt x="127" y="162"/>
                  </a:lnTo>
                  <a:lnTo>
                    <a:pt x="142" y="157"/>
                  </a:lnTo>
                  <a:lnTo>
                    <a:pt x="158" y="153"/>
                  </a:lnTo>
                  <a:lnTo>
                    <a:pt x="175" y="151"/>
                  </a:lnTo>
                  <a:lnTo>
                    <a:pt x="194" y="150"/>
                  </a:lnTo>
                  <a:lnTo>
                    <a:pt x="197" y="150"/>
                  </a:lnTo>
                  <a:lnTo>
                    <a:pt x="200" y="149"/>
                  </a:lnTo>
                  <a:lnTo>
                    <a:pt x="202" y="148"/>
                  </a:lnTo>
                  <a:lnTo>
                    <a:pt x="204" y="146"/>
                  </a:lnTo>
                  <a:lnTo>
                    <a:pt x="206" y="143"/>
                  </a:lnTo>
                  <a:lnTo>
                    <a:pt x="207" y="141"/>
                  </a:lnTo>
                  <a:lnTo>
                    <a:pt x="209" y="138"/>
                  </a:lnTo>
                  <a:lnTo>
                    <a:pt x="209" y="135"/>
                  </a:lnTo>
                  <a:lnTo>
                    <a:pt x="209" y="75"/>
                  </a:lnTo>
                  <a:lnTo>
                    <a:pt x="209" y="72"/>
                  </a:lnTo>
                  <a:lnTo>
                    <a:pt x="207" y="70"/>
                  </a:lnTo>
                  <a:lnTo>
                    <a:pt x="206" y="66"/>
                  </a:lnTo>
                  <a:lnTo>
                    <a:pt x="204" y="64"/>
                  </a:lnTo>
                  <a:lnTo>
                    <a:pt x="202" y="63"/>
                  </a:lnTo>
                  <a:lnTo>
                    <a:pt x="200" y="61"/>
                  </a:lnTo>
                  <a:lnTo>
                    <a:pt x="197" y="61"/>
                  </a:lnTo>
                  <a:lnTo>
                    <a:pt x="194" y="60"/>
                  </a:lnTo>
                  <a:lnTo>
                    <a:pt x="179" y="60"/>
                  </a:lnTo>
                  <a:lnTo>
                    <a:pt x="179" y="30"/>
                  </a:lnTo>
                  <a:lnTo>
                    <a:pt x="328" y="30"/>
                  </a:lnTo>
                  <a:lnTo>
                    <a:pt x="328" y="60"/>
                  </a:lnTo>
                  <a:lnTo>
                    <a:pt x="313" y="60"/>
                  </a:lnTo>
                  <a:lnTo>
                    <a:pt x="310" y="61"/>
                  </a:lnTo>
                  <a:lnTo>
                    <a:pt x="308" y="61"/>
                  </a:lnTo>
                  <a:lnTo>
                    <a:pt x="305" y="63"/>
                  </a:lnTo>
                  <a:lnTo>
                    <a:pt x="303" y="64"/>
                  </a:lnTo>
                  <a:lnTo>
                    <a:pt x="301" y="66"/>
                  </a:lnTo>
                  <a:lnTo>
                    <a:pt x="299" y="70"/>
                  </a:lnTo>
                  <a:lnTo>
                    <a:pt x="298" y="72"/>
                  </a:lnTo>
                  <a:lnTo>
                    <a:pt x="298" y="75"/>
                  </a:lnTo>
                  <a:lnTo>
                    <a:pt x="298" y="135"/>
                  </a:lnTo>
                  <a:lnTo>
                    <a:pt x="298" y="138"/>
                  </a:lnTo>
                  <a:lnTo>
                    <a:pt x="299" y="141"/>
                  </a:lnTo>
                  <a:lnTo>
                    <a:pt x="301" y="143"/>
                  </a:lnTo>
                  <a:lnTo>
                    <a:pt x="303" y="146"/>
                  </a:lnTo>
                  <a:lnTo>
                    <a:pt x="305" y="148"/>
                  </a:lnTo>
                  <a:lnTo>
                    <a:pt x="308" y="149"/>
                  </a:lnTo>
                  <a:lnTo>
                    <a:pt x="310" y="150"/>
                  </a:lnTo>
                  <a:lnTo>
                    <a:pt x="313" y="150"/>
                  </a:lnTo>
                  <a:lnTo>
                    <a:pt x="332" y="151"/>
                  </a:lnTo>
                  <a:lnTo>
                    <a:pt x="349" y="153"/>
                  </a:lnTo>
                  <a:lnTo>
                    <a:pt x="365" y="157"/>
                  </a:lnTo>
                  <a:lnTo>
                    <a:pt x="380" y="162"/>
                  </a:lnTo>
                  <a:lnTo>
                    <a:pt x="395" y="169"/>
                  </a:lnTo>
                  <a:lnTo>
                    <a:pt x="407" y="177"/>
                  </a:lnTo>
                  <a:lnTo>
                    <a:pt x="419" y="186"/>
                  </a:lnTo>
                  <a:lnTo>
                    <a:pt x="431" y="197"/>
                  </a:lnTo>
                  <a:lnTo>
                    <a:pt x="441" y="210"/>
                  </a:lnTo>
                  <a:lnTo>
                    <a:pt x="449" y="223"/>
                  </a:lnTo>
                  <a:lnTo>
                    <a:pt x="457" y="238"/>
                  </a:lnTo>
                  <a:lnTo>
                    <a:pt x="463" y="254"/>
                  </a:lnTo>
                  <a:lnTo>
                    <a:pt x="468" y="271"/>
                  </a:lnTo>
                  <a:lnTo>
                    <a:pt x="473" y="289"/>
                  </a:lnTo>
                  <a:lnTo>
                    <a:pt x="476" y="309"/>
                  </a:lnTo>
                  <a:lnTo>
                    <a:pt x="477" y="329"/>
                  </a:lnTo>
                  <a:lnTo>
                    <a:pt x="30" y="329"/>
                  </a:lnTo>
                  <a:close/>
                  <a:moveTo>
                    <a:pt x="328" y="121"/>
                  </a:moveTo>
                  <a:lnTo>
                    <a:pt x="328" y="90"/>
                  </a:lnTo>
                  <a:lnTo>
                    <a:pt x="343" y="90"/>
                  </a:lnTo>
                  <a:lnTo>
                    <a:pt x="347" y="90"/>
                  </a:lnTo>
                  <a:lnTo>
                    <a:pt x="349" y="89"/>
                  </a:lnTo>
                  <a:lnTo>
                    <a:pt x="352" y="88"/>
                  </a:lnTo>
                  <a:lnTo>
                    <a:pt x="354" y="86"/>
                  </a:lnTo>
                  <a:lnTo>
                    <a:pt x="356" y="84"/>
                  </a:lnTo>
                  <a:lnTo>
                    <a:pt x="357" y="81"/>
                  </a:lnTo>
                  <a:lnTo>
                    <a:pt x="358" y="78"/>
                  </a:lnTo>
                  <a:lnTo>
                    <a:pt x="358" y="75"/>
                  </a:lnTo>
                  <a:lnTo>
                    <a:pt x="358" y="15"/>
                  </a:lnTo>
                  <a:lnTo>
                    <a:pt x="358" y="13"/>
                  </a:lnTo>
                  <a:lnTo>
                    <a:pt x="357" y="10"/>
                  </a:lnTo>
                  <a:lnTo>
                    <a:pt x="356" y="8"/>
                  </a:lnTo>
                  <a:lnTo>
                    <a:pt x="354" y="4"/>
                  </a:lnTo>
                  <a:lnTo>
                    <a:pt x="352" y="3"/>
                  </a:lnTo>
                  <a:lnTo>
                    <a:pt x="349" y="1"/>
                  </a:lnTo>
                  <a:lnTo>
                    <a:pt x="347" y="1"/>
                  </a:lnTo>
                  <a:lnTo>
                    <a:pt x="343" y="0"/>
                  </a:lnTo>
                  <a:lnTo>
                    <a:pt x="164" y="0"/>
                  </a:lnTo>
                  <a:lnTo>
                    <a:pt x="161" y="1"/>
                  </a:lnTo>
                  <a:lnTo>
                    <a:pt x="158" y="1"/>
                  </a:lnTo>
                  <a:lnTo>
                    <a:pt x="156" y="3"/>
                  </a:lnTo>
                  <a:lnTo>
                    <a:pt x="153" y="4"/>
                  </a:lnTo>
                  <a:lnTo>
                    <a:pt x="152" y="8"/>
                  </a:lnTo>
                  <a:lnTo>
                    <a:pt x="150" y="10"/>
                  </a:lnTo>
                  <a:lnTo>
                    <a:pt x="150" y="13"/>
                  </a:lnTo>
                  <a:lnTo>
                    <a:pt x="149" y="15"/>
                  </a:lnTo>
                  <a:lnTo>
                    <a:pt x="149" y="75"/>
                  </a:lnTo>
                  <a:lnTo>
                    <a:pt x="150" y="78"/>
                  </a:lnTo>
                  <a:lnTo>
                    <a:pt x="150" y="81"/>
                  </a:lnTo>
                  <a:lnTo>
                    <a:pt x="152" y="84"/>
                  </a:lnTo>
                  <a:lnTo>
                    <a:pt x="153" y="86"/>
                  </a:lnTo>
                  <a:lnTo>
                    <a:pt x="156" y="88"/>
                  </a:lnTo>
                  <a:lnTo>
                    <a:pt x="158" y="89"/>
                  </a:lnTo>
                  <a:lnTo>
                    <a:pt x="160" y="90"/>
                  </a:lnTo>
                  <a:lnTo>
                    <a:pt x="164" y="90"/>
                  </a:lnTo>
                  <a:lnTo>
                    <a:pt x="179" y="90"/>
                  </a:lnTo>
                  <a:lnTo>
                    <a:pt x="179" y="121"/>
                  </a:lnTo>
                  <a:lnTo>
                    <a:pt x="158" y="123"/>
                  </a:lnTo>
                  <a:lnTo>
                    <a:pt x="139" y="126"/>
                  </a:lnTo>
                  <a:lnTo>
                    <a:pt x="121" y="133"/>
                  </a:lnTo>
                  <a:lnTo>
                    <a:pt x="104" y="140"/>
                  </a:lnTo>
                  <a:lnTo>
                    <a:pt x="88" y="149"/>
                  </a:lnTo>
                  <a:lnTo>
                    <a:pt x="74" y="159"/>
                  </a:lnTo>
                  <a:lnTo>
                    <a:pt x="60" y="171"/>
                  </a:lnTo>
                  <a:lnTo>
                    <a:pt x="48" y="185"/>
                  </a:lnTo>
                  <a:lnTo>
                    <a:pt x="36" y="200"/>
                  </a:lnTo>
                  <a:lnTo>
                    <a:pt x="27" y="217"/>
                  </a:lnTo>
                  <a:lnTo>
                    <a:pt x="19" y="235"/>
                  </a:lnTo>
                  <a:lnTo>
                    <a:pt x="12" y="255"/>
                  </a:lnTo>
                  <a:lnTo>
                    <a:pt x="6" y="275"/>
                  </a:lnTo>
                  <a:lnTo>
                    <a:pt x="3" y="296"/>
                  </a:lnTo>
                  <a:lnTo>
                    <a:pt x="0" y="320"/>
                  </a:lnTo>
                  <a:lnTo>
                    <a:pt x="0" y="344"/>
                  </a:lnTo>
                  <a:lnTo>
                    <a:pt x="0" y="348"/>
                  </a:lnTo>
                  <a:lnTo>
                    <a:pt x="1" y="350"/>
                  </a:lnTo>
                  <a:lnTo>
                    <a:pt x="2" y="352"/>
                  </a:lnTo>
                  <a:lnTo>
                    <a:pt x="4" y="355"/>
                  </a:lnTo>
                  <a:lnTo>
                    <a:pt x="6" y="356"/>
                  </a:lnTo>
                  <a:lnTo>
                    <a:pt x="8" y="358"/>
                  </a:lnTo>
                  <a:lnTo>
                    <a:pt x="12" y="358"/>
                  </a:lnTo>
                  <a:lnTo>
                    <a:pt x="15" y="359"/>
                  </a:lnTo>
                  <a:lnTo>
                    <a:pt x="493" y="359"/>
                  </a:lnTo>
                  <a:lnTo>
                    <a:pt x="495" y="358"/>
                  </a:lnTo>
                  <a:lnTo>
                    <a:pt x="498" y="358"/>
                  </a:lnTo>
                  <a:lnTo>
                    <a:pt x="501" y="356"/>
                  </a:lnTo>
                  <a:lnTo>
                    <a:pt x="504" y="355"/>
                  </a:lnTo>
                  <a:lnTo>
                    <a:pt x="505" y="353"/>
                  </a:lnTo>
                  <a:lnTo>
                    <a:pt x="507" y="350"/>
                  </a:lnTo>
                  <a:lnTo>
                    <a:pt x="507" y="348"/>
                  </a:lnTo>
                  <a:lnTo>
                    <a:pt x="508" y="344"/>
                  </a:lnTo>
                  <a:lnTo>
                    <a:pt x="507" y="320"/>
                  </a:lnTo>
                  <a:lnTo>
                    <a:pt x="505" y="296"/>
                  </a:lnTo>
                  <a:lnTo>
                    <a:pt x="501" y="275"/>
                  </a:lnTo>
                  <a:lnTo>
                    <a:pt x="495" y="255"/>
                  </a:lnTo>
                  <a:lnTo>
                    <a:pt x="489" y="235"/>
                  </a:lnTo>
                  <a:lnTo>
                    <a:pt x="480" y="217"/>
                  </a:lnTo>
                  <a:lnTo>
                    <a:pt x="471" y="200"/>
                  </a:lnTo>
                  <a:lnTo>
                    <a:pt x="460" y="185"/>
                  </a:lnTo>
                  <a:lnTo>
                    <a:pt x="447" y="171"/>
                  </a:lnTo>
                  <a:lnTo>
                    <a:pt x="434" y="159"/>
                  </a:lnTo>
                  <a:lnTo>
                    <a:pt x="419" y="149"/>
                  </a:lnTo>
                  <a:lnTo>
                    <a:pt x="403" y="140"/>
                  </a:lnTo>
                  <a:lnTo>
                    <a:pt x="386" y="133"/>
                  </a:lnTo>
                  <a:lnTo>
                    <a:pt x="368" y="126"/>
                  </a:lnTo>
                  <a:lnTo>
                    <a:pt x="349" y="123"/>
                  </a:lnTo>
                  <a:lnTo>
                    <a:pt x="328"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87" name="Freeform 269">
              <a:extLst>
                <a:ext uri="{FF2B5EF4-FFF2-40B4-BE49-F238E27FC236}">
                  <a16:creationId xmlns:a16="http://schemas.microsoft.com/office/drawing/2014/main" id="{E2BEA17A-12B1-4522-AB2A-2D6F956DB532}"/>
                </a:ext>
              </a:extLst>
            </p:cNvPr>
            <p:cNvSpPr>
              <a:spLocks noEditPoints="1"/>
            </p:cNvSpPr>
            <p:nvPr/>
          </p:nvSpPr>
          <p:spPr bwMode="auto">
            <a:xfrm>
              <a:off x="10580688" y="1338263"/>
              <a:ext cx="158750" cy="157163"/>
            </a:xfrm>
            <a:custGeom>
              <a:avLst/>
              <a:gdLst>
                <a:gd name="T0" fmla="*/ 464 w 501"/>
                <a:gd name="T1" fmla="*/ 59 h 493"/>
                <a:gd name="T2" fmla="*/ 471 w 501"/>
                <a:gd name="T3" fmla="*/ 88 h 493"/>
                <a:gd name="T4" fmla="*/ 464 w 501"/>
                <a:gd name="T5" fmla="*/ 135 h 493"/>
                <a:gd name="T6" fmla="*/ 439 w 501"/>
                <a:gd name="T7" fmla="*/ 210 h 493"/>
                <a:gd name="T8" fmla="*/ 71 w 501"/>
                <a:gd name="T9" fmla="*/ 379 h 493"/>
                <a:gd name="T10" fmla="*/ 74 w 501"/>
                <a:gd name="T11" fmla="*/ 336 h 493"/>
                <a:gd name="T12" fmla="*/ 93 w 501"/>
                <a:gd name="T13" fmla="*/ 284 h 493"/>
                <a:gd name="T14" fmla="*/ 145 w 501"/>
                <a:gd name="T15" fmla="*/ 203 h 493"/>
                <a:gd name="T16" fmla="*/ 216 w 501"/>
                <a:gd name="T17" fmla="*/ 126 h 493"/>
                <a:gd name="T18" fmla="*/ 285 w 501"/>
                <a:gd name="T19" fmla="*/ 70 h 493"/>
                <a:gd name="T20" fmla="*/ 329 w 501"/>
                <a:gd name="T21" fmla="*/ 144 h 493"/>
                <a:gd name="T22" fmla="*/ 282 w 501"/>
                <a:gd name="T23" fmla="*/ 390 h 493"/>
                <a:gd name="T24" fmla="*/ 197 w 501"/>
                <a:gd name="T25" fmla="*/ 426 h 493"/>
                <a:gd name="T26" fmla="*/ 155 w 501"/>
                <a:gd name="T27" fmla="*/ 431 h 493"/>
                <a:gd name="T28" fmla="*/ 109 w 501"/>
                <a:gd name="T29" fmla="*/ 424 h 493"/>
                <a:gd name="T30" fmla="*/ 321 w 501"/>
                <a:gd name="T31" fmla="*/ 360 h 493"/>
                <a:gd name="T32" fmla="*/ 473 w 501"/>
                <a:gd name="T33" fmla="*/ 20 h 493"/>
                <a:gd name="T34" fmla="*/ 457 w 501"/>
                <a:gd name="T35" fmla="*/ 17 h 493"/>
                <a:gd name="T36" fmla="*/ 359 w 501"/>
                <a:gd name="T37" fmla="*/ 12 h 493"/>
                <a:gd name="T38" fmla="*/ 348 w 501"/>
                <a:gd name="T39" fmla="*/ 1 h 493"/>
                <a:gd name="T40" fmla="*/ 321 w 501"/>
                <a:gd name="T41" fmla="*/ 11 h 493"/>
                <a:gd name="T42" fmla="*/ 244 w 501"/>
                <a:gd name="T43" fmla="*/ 63 h 493"/>
                <a:gd name="T44" fmla="*/ 157 w 501"/>
                <a:gd name="T45" fmla="*/ 143 h 493"/>
                <a:gd name="T46" fmla="*/ 90 w 501"/>
                <a:gd name="T47" fmla="*/ 229 h 493"/>
                <a:gd name="T48" fmla="*/ 49 w 501"/>
                <a:gd name="T49" fmla="*/ 311 h 493"/>
                <a:gd name="T50" fmla="*/ 41 w 501"/>
                <a:gd name="T51" fmla="*/ 379 h 493"/>
                <a:gd name="T52" fmla="*/ 52 w 501"/>
                <a:gd name="T53" fmla="*/ 412 h 493"/>
                <a:gd name="T54" fmla="*/ 1 w 501"/>
                <a:gd name="T55" fmla="*/ 473 h 493"/>
                <a:gd name="T56" fmla="*/ 1 w 501"/>
                <a:gd name="T57" fmla="*/ 485 h 493"/>
                <a:gd name="T58" fmla="*/ 10 w 501"/>
                <a:gd name="T59" fmla="*/ 492 h 493"/>
                <a:gd name="T60" fmla="*/ 21 w 501"/>
                <a:gd name="T61" fmla="*/ 492 h 493"/>
                <a:gd name="T62" fmla="*/ 84 w 501"/>
                <a:gd name="T63" fmla="*/ 444 h 493"/>
                <a:gd name="T64" fmla="*/ 121 w 501"/>
                <a:gd name="T65" fmla="*/ 458 h 493"/>
                <a:gd name="T66" fmla="*/ 154 w 501"/>
                <a:gd name="T67" fmla="*/ 461 h 493"/>
                <a:gd name="T68" fmla="*/ 197 w 501"/>
                <a:gd name="T69" fmla="*/ 456 h 493"/>
                <a:gd name="T70" fmla="*/ 253 w 501"/>
                <a:gd name="T71" fmla="*/ 439 h 493"/>
                <a:gd name="T72" fmla="*/ 307 w 501"/>
                <a:gd name="T73" fmla="*/ 408 h 493"/>
                <a:gd name="T74" fmla="*/ 358 w 501"/>
                <a:gd name="T75" fmla="*/ 367 h 493"/>
                <a:gd name="T76" fmla="*/ 374 w 501"/>
                <a:gd name="T77" fmla="*/ 342 h 493"/>
                <a:gd name="T78" fmla="*/ 363 w 501"/>
                <a:gd name="T79" fmla="*/ 330 h 493"/>
                <a:gd name="T80" fmla="*/ 404 w 501"/>
                <a:gd name="T81" fmla="*/ 300 h 493"/>
                <a:gd name="T82" fmla="*/ 414 w 501"/>
                <a:gd name="T83" fmla="*/ 295 h 493"/>
                <a:gd name="T84" fmla="*/ 418 w 501"/>
                <a:gd name="T85" fmla="*/ 285 h 493"/>
                <a:gd name="T86" fmla="*/ 414 w 501"/>
                <a:gd name="T87" fmla="*/ 274 h 493"/>
                <a:gd name="T88" fmla="*/ 404 w 501"/>
                <a:gd name="T89" fmla="*/ 270 h 493"/>
                <a:gd name="T90" fmla="*/ 453 w 501"/>
                <a:gd name="T91" fmla="*/ 239 h 493"/>
                <a:gd name="T92" fmla="*/ 471 w 501"/>
                <a:gd name="T93" fmla="*/ 212 h 493"/>
                <a:gd name="T94" fmla="*/ 493 w 501"/>
                <a:gd name="T95" fmla="*/ 144 h 493"/>
                <a:gd name="T96" fmla="*/ 501 w 501"/>
                <a:gd name="T97" fmla="*/ 88 h 493"/>
                <a:gd name="T98" fmla="*/ 491 w 501"/>
                <a:gd name="T99" fmla="*/ 45 h 493"/>
                <a:gd name="T100" fmla="*/ 474 w 501"/>
                <a:gd name="T101" fmla="*/ 2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1" h="493">
                  <a:moveTo>
                    <a:pt x="439" y="210"/>
                  </a:moveTo>
                  <a:lnTo>
                    <a:pt x="305" y="210"/>
                  </a:lnTo>
                  <a:lnTo>
                    <a:pt x="462" y="53"/>
                  </a:lnTo>
                  <a:lnTo>
                    <a:pt x="464" y="59"/>
                  </a:lnTo>
                  <a:lnTo>
                    <a:pt x="467" y="66"/>
                  </a:lnTo>
                  <a:lnTo>
                    <a:pt x="469" y="73"/>
                  </a:lnTo>
                  <a:lnTo>
                    <a:pt x="470" y="81"/>
                  </a:lnTo>
                  <a:lnTo>
                    <a:pt x="471" y="88"/>
                  </a:lnTo>
                  <a:lnTo>
                    <a:pt x="471" y="97"/>
                  </a:lnTo>
                  <a:lnTo>
                    <a:pt x="470" y="105"/>
                  </a:lnTo>
                  <a:lnTo>
                    <a:pt x="469" y="115"/>
                  </a:lnTo>
                  <a:lnTo>
                    <a:pt x="464" y="135"/>
                  </a:lnTo>
                  <a:lnTo>
                    <a:pt x="458" y="159"/>
                  </a:lnTo>
                  <a:lnTo>
                    <a:pt x="450" y="183"/>
                  </a:lnTo>
                  <a:lnTo>
                    <a:pt x="439" y="210"/>
                  </a:lnTo>
                  <a:lnTo>
                    <a:pt x="439" y="210"/>
                  </a:lnTo>
                  <a:close/>
                  <a:moveTo>
                    <a:pt x="76" y="396"/>
                  </a:moveTo>
                  <a:lnTo>
                    <a:pt x="74" y="391"/>
                  </a:lnTo>
                  <a:lnTo>
                    <a:pt x="73" y="385"/>
                  </a:lnTo>
                  <a:lnTo>
                    <a:pt x="71" y="379"/>
                  </a:lnTo>
                  <a:lnTo>
                    <a:pt x="71" y="373"/>
                  </a:lnTo>
                  <a:lnTo>
                    <a:pt x="71" y="361"/>
                  </a:lnTo>
                  <a:lnTo>
                    <a:pt x="72" y="348"/>
                  </a:lnTo>
                  <a:lnTo>
                    <a:pt x="74" y="336"/>
                  </a:lnTo>
                  <a:lnTo>
                    <a:pt x="77" y="324"/>
                  </a:lnTo>
                  <a:lnTo>
                    <a:pt x="80" y="313"/>
                  </a:lnTo>
                  <a:lnTo>
                    <a:pt x="85" y="303"/>
                  </a:lnTo>
                  <a:lnTo>
                    <a:pt x="93" y="284"/>
                  </a:lnTo>
                  <a:lnTo>
                    <a:pt x="104" y="264"/>
                  </a:lnTo>
                  <a:lnTo>
                    <a:pt x="116" y="244"/>
                  </a:lnTo>
                  <a:lnTo>
                    <a:pt x="130" y="224"/>
                  </a:lnTo>
                  <a:lnTo>
                    <a:pt x="145" y="203"/>
                  </a:lnTo>
                  <a:lnTo>
                    <a:pt x="162" y="183"/>
                  </a:lnTo>
                  <a:lnTo>
                    <a:pt x="179" y="163"/>
                  </a:lnTo>
                  <a:lnTo>
                    <a:pt x="198" y="143"/>
                  </a:lnTo>
                  <a:lnTo>
                    <a:pt x="216" y="126"/>
                  </a:lnTo>
                  <a:lnTo>
                    <a:pt x="233" y="110"/>
                  </a:lnTo>
                  <a:lnTo>
                    <a:pt x="251" y="95"/>
                  </a:lnTo>
                  <a:lnTo>
                    <a:pt x="268" y="83"/>
                  </a:lnTo>
                  <a:lnTo>
                    <a:pt x="285" y="70"/>
                  </a:lnTo>
                  <a:lnTo>
                    <a:pt x="300" y="59"/>
                  </a:lnTo>
                  <a:lnTo>
                    <a:pt x="315" y="50"/>
                  </a:lnTo>
                  <a:lnTo>
                    <a:pt x="329" y="41"/>
                  </a:lnTo>
                  <a:lnTo>
                    <a:pt x="329" y="144"/>
                  </a:lnTo>
                  <a:lnTo>
                    <a:pt x="76" y="396"/>
                  </a:lnTo>
                  <a:close/>
                  <a:moveTo>
                    <a:pt x="321" y="360"/>
                  </a:moveTo>
                  <a:lnTo>
                    <a:pt x="302" y="376"/>
                  </a:lnTo>
                  <a:lnTo>
                    <a:pt x="282" y="390"/>
                  </a:lnTo>
                  <a:lnTo>
                    <a:pt x="260" y="401"/>
                  </a:lnTo>
                  <a:lnTo>
                    <a:pt x="240" y="412"/>
                  </a:lnTo>
                  <a:lnTo>
                    <a:pt x="218" y="419"/>
                  </a:lnTo>
                  <a:lnTo>
                    <a:pt x="197" y="426"/>
                  </a:lnTo>
                  <a:lnTo>
                    <a:pt x="186" y="428"/>
                  </a:lnTo>
                  <a:lnTo>
                    <a:pt x="176" y="429"/>
                  </a:lnTo>
                  <a:lnTo>
                    <a:pt x="166" y="430"/>
                  </a:lnTo>
                  <a:lnTo>
                    <a:pt x="155" y="431"/>
                  </a:lnTo>
                  <a:lnTo>
                    <a:pt x="138" y="430"/>
                  </a:lnTo>
                  <a:lnTo>
                    <a:pt x="123" y="428"/>
                  </a:lnTo>
                  <a:lnTo>
                    <a:pt x="116" y="426"/>
                  </a:lnTo>
                  <a:lnTo>
                    <a:pt x="109" y="424"/>
                  </a:lnTo>
                  <a:lnTo>
                    <a:pt x="103" y="421"/>
                  </a:lnTo>
                  <a:lnTo>
                    <a:pt x="98" y="417"/>
                  </a:lnTo>
                  <a:lnTo>
                    <a:pt x="155" y="360"/>
                  </a:lnTo>
                  <a:lnTo>
                    <a:pt x="321" y="360"/>
                  </a:lnTo>
                  <a:close/>
                  <a:moveTo>
                    <a:pt x="474" y="20"/>
                  </a:moveTo>
                  <a:lnTo>
                    <a:pt x="474" y="20"/>
                  </a:lnTo>
                  <a:lnTo>
                    <a:pt x="474" y="20"/>
                  </a:lnTo>
                  <a:lnTo>
                    <a:pt x="473" y="20"/>
                  </a:lnTo>
                  <a:lnTo>
                    <a:pt x="471" y="18"/>
                  </a:lnTo>
                  <a:lnTo>
                    <a:pt x="467" y="16"/>
                  </a:lnTo>
                  <a:lnTo>
                    <a:pt x="461" y="16"/>
                  </a:lnTo>
                  <a:lnTo>
                    <a:pt x="457" y="17"/>
                  </a:lnTo>
                  <a:lnTo>
                    <a:pt x="453" y="20"/>
                  </a:lnTo>
                  <a:lnTo>
                    <a:pt x="359" y="114"/>
                  </a:lnTo>
                  <a:lnTo>
                    <a:pt x="359" y="15"/>
                  </a:lnTo>
                  <a:lnTo>
                    <a:pt x="359" y="12"/>
                  </a:lnTo>
                  <a:lnTo>
                    <a:pt x="356" y="9"/>
                  </a:lnTo>
                  <a:lnTo>
                    <a:pt x="354" y="6"/>
                  </a:lnTo>
                  <a:lnTo>
                    <a:pt x="352" y="2"/>
                  </a:lnTo>
                  <a:lnTo>
                    <a:pt x="348" y="1"/>
                  </a:lnTo>
                  <a:lnTo>
                    <a:pt x="345" y="0"/>
                  </a:lnTo>
                  <a:lnTo>
                    <a:pt x="340" y="1"/>
                  </a:lnTo>
                  <a:lnTo>
                    <a:pt x="337" y="2"/>
                  </a:lnTo>
                  <a:lnTo>
                    <a:pt x="321" y="11"/>
                  </a:lnTo>
                  <a:lnTo>
                    <a:pt x="304" y="21"/>
                  </a:lnTo>
                  <a:lnTo>
                    <a:pt x="285" y="32"/>
                  </a:lnTo>
                  <a:lnTo>
                    <a:pt x="264" y="47"/>
                  </a:lnTo>
                  <a:lnTo>
                    <a:pt x="244" y="63"/>
                  </a:lnTo>
                  <a:lnTo>
                    <a:pt x="222" y="81"/>
                  </a:lnTo>
                  <a:lnTo>
                    <a:pt x="199" y="101"/>
                  </a:lnTo>
                  <a:lnTo>
                    <a:pt x="178" y="121"/>
                  </a:lnTo>
                  <a:lnTo>
                    <a:pt x="157" y="143"/>
                  </a:lnTo>
                  <a:lnTo>
                    <a:pt x="138" y="164"/>
                  </a:lnTo>
                  <a:lnTo>
                    <a:pt x="121" y="185"/>
                  </a:lnTo>
                  <a:lnTo>
                    <a:pt x="105" y="208"/>
                  </a:lnTo>
                  <a:lnTo>
                    <a:pt x="90" y="229"/>
                  </a:lnTo>
                  <a:lnTo>
                    <a:pt x="77" y="251"/>
                  </a:lnTo>
                  <a:lnTo>
                    <a:pt x="67" y="272"/>
                  </a:lnTo>
                  <a:lnTo>
                    <a:pt x="57" y="292"/>
                  </a:lnTo>
                  <a:lnTo>
                    <a:pt x="49" y="311"/>
                  </a:lnTo>
                  <a:lnTo>
                    <a:pt x="45" y="330"/>
                  </a:lnTo>
                  <a:lnTo>
                    <a:pt x="42" y="347"/>
                  </a:lnTo>
                  <a:lnTo>
                    <a:pt x="41" y="364"/>
                  </a:lnTo>
                  <a:lnTo>
                    <a:pt x="41" y="379"/>
                  </a:lnTo>
                  <a:lnTo>
                    <a:pt x="44" y="393"/>
                  </a:lnTo>
                  <a:lnTo>
                    <a:pt x="46" y="400"/>
                  </a:lnTo>
                  <a:lnTo>
                    <a:pt x="48" y="407"/>
                  </a:lnTo>
                  <a:lnTo>
                    <a:pt x="52" y="412"/>
                  </a:lnTo>
                  <a:lnTo>
                    <a:pt x="55" y="418"/>
                  </a:lnTo>
                  <a:lnTo>
                    <a:pt x="5" y="469"/>
                  </a:lnTo>
                  <a:lnTo>
                    <a:pt x="2" y="471"/>
                  </a:lnTo>
                  <a:lnTo>
                    <a:pt x="1" y="473"/>
                  </a:lnTo>
                  <a:lnTo>
                    <a:pt x="0" y="476"/>
                  </a:lnTo>
                  <a:lnTo>
                    <a:pt x="0" y="478"/>
                  </a:lnTo>
                  <a:lnTo>
                    <a:pt x="0" y="481"/>
                  </a:lnTo>
                  <a:lnTo>
                    <a:pt x="1" y="485"/>
                  </a:lnTo>
                  <a:lnTo>
                    <a:pt x="2" y="487"/>
                  </a:lnTo>
                  <a:lnTo>
                    <a:pt x="5" y="489"/>
                  </a:lnTo>
                  <a:lnTo>
                    <a:pt x="7" y="491"/>
                  </a:lnTo>
                  <a:lnTo>
                    <a:pt x="10" y="492"/>
                  </a:lnTo>
                  <a:lnTo>
                    <a:pt x="12" y="493"/>
                  </a:lnTo>
                  <a:lnTo>
                    <a:pt x="15" y="493"/>
                  </a:lnTo>
                  <a:lnTo>
                    <a:pt x="18" y="493"/>
                  </a:lnTo>
                  <a:lnTo>
                    <a:pt x="21" y="492"/>
                  </a:lnTo>
                  <a:lnTo>
                    <a:pt x="24" y="491"/>
                  </a:lnTo>
                  <a:lnTo>
                    <a:pt x="26" y="489"/>
                  </a:lnTo>
                  <a:lnTo>
                    <a:pt x="76" y="439"/>
                  </a:lnTo>
                  <a:lnTo>
                    <a:pt x="84" y="444"/>
                  </a:lnTo>
                  <a:lnTo>
                    <a:pt x="92" y="448"/>
                  </a:lnTo>
                  <a:lnTo>
                    <a:pt x="101" y="453"/>
                  </a:lnTo>
                  <a:lnTo>
                    <a:pt x="110" y="455"/>
                  </a:lnTo>
                  <a:lnTo>
                    <a:pt x="121" y="458"/>
                  </a:lnTo>
                  <a:lnTo>
                    <a:pt x="131" y="459"/>
                  </a:lnTo>
                  <a:lnTo>
                    <a:pt x="143" y="460"/>
                  </a:lnTo>
                  <a:lnTo>
                    <a:pt x="153" y="461"/>
                  </a:lnTo>
                  <a:lnTo>
                    <a:pt x="154" y="461"/>
                  </a:lnTo>
                  <a:lnTo>
                    <a:pt x="156" y="461"/>
                  </a:lnTo>
                  <a:lnTo>
                    <a:pt x="169" y="460"/>
                  </a:lnTo>
                  <a:lnTo>
                    <a:pt x="183" y="459"/>
                  </a:lnTo>
                  <a:lnTo>
                    <a:pt x="197" y="456"/>
                  </a:lnTo>
                  <a:lnTo>
                    <a:pt x="211" y="453"/>
                  </a:lnTo>
                  <a:lnTo>
                    <a:pt x="225" y="449"/>
                  </a:lnTo>
                  <a:lnTo>
                    <a:pt x="239" y="444"/>
                  </a:lnTo>
                  <a:lnTo>
                    <a:pt x="253" y="439"/>
                  </a:lnTo>
                  <a:lnTo>
                    <a:pt x="267" y="432"/>
                  </a:lnTo>
                  <a:lnTo>
                    <a:pt x="279" y="425"/>
                  </a:lnTo>
                  <a:lnTo>
                    <a:pt x="293" y="417"/>
                  </a:lnTo>
                  <a:lnTo>
                    <a:pt x="307" y="408"/>
                  </a:lnTo>
                  <a:lnTo>
                    <a:pt x="320" y="399"/>
                  </a:lnTo>
                  <a:lnTo>
                    <a:pt x="333" y="388"/>
                  </a:lnTo>
                  <a:lnTo>
                    <a:pt x="346" y="378"/>
                  </a:lnTo>
                  <a:lnTo>
                    <a:pt x="358" y="367"/>
                  </a:lnTo>
                  <a:lnTo>
                    <a:pt x="369" y="354"/>
                  </a:lnTo>
                  <a:lnTo>
                    <a:pt x="372" y="351"/>
                  </a:lnTo>
                  <a:lnTo>
                    <a:pt x="374" y="347"/>
                  </a:lnTo>
                  <a:lnTo>
                    <a:pt x="374" y="342"/>
                  </a:lnTo>
                  <a:lnTo>
                    <a:pt x="372" y="338"/>
                  </a:lnTo>
                  <a:lnTo>
                    <a:pt x="370" y="335"/>
                  </a:lnTo>
                  <a:lnTo>
                    <a:pt x="367" y="332"/>
                  </a:lnTo>
                  <a:lnTo>
                    <a:pt x="363" y="330"/>
                  </a:lnTo>
                  <a:lnTo>
                    <a:pt x="359" y="330"/>
                  </a:lnTo>
                  <a:lnTo>
                    <a:pt x="185" y="330"/>
                  </a:lnTo>
                  <a:lnTo>
                    <a:pt x="215" y="300"/>
                  </a:lnTo>
                  <a:lnTo>
                    <a:pt x="404" y="300"/>
                  </a:lnTo>
                  <a:lnTo>
                    <a:pt x="407" y="300"/>
                  </a:lnTo>
                  <a:lnTo>
                    <a:pt x="410" y="299"/>
                  </a:lnTo>
                  <a:lnTo>
                    <a:pt x="412" y="297"/>
                  </a:lnTo>
                  <a:lnTo>
                    <a:pt x="414" y="295"/>
                  </a:lnTo>
                  <a:lnTo>
                    <a:pt x="416" y="293"/>
                  </a:lnTo>
                  <a:lnTo>
                    <a:pt x="417" y="290"/>
                  </a:lnTo>
                  <a:lnTo>
                    <a:pt x="418" y="288"/>
                  </a:lnTo>
                  <a:lnTo>
                    <a:pt x="418" y="285"/>
                  </a:lnTo>
                  <a:lnTo>
                    <a:pt x="418" y="282"/>
                  </a:lnTo>
                  <a:lnTo>
                    <a:pt x="417" y="278"/>
                  </a:lnTo>
                  <a:lnTo>
                    <a:pt x="416" y="276"/>
                  </a:lnTo>
                  <a:lnTo>
                    <a:pt x="414" y="274"/>
                  </a:lnTo>
                  <a:lnTo>
                    <a:pt x="412" y="272"/>
                  </a:lnTo>
                  <a:lnTo>
                    <a:pt x="410" y="271"/>
                  </a:lnTo>
                  <a:lnTo>
                    <a:pt x="407" y="270"/>
                  </a:lnTo>
                  <a:lnTo>
                    <a:pt x="404" y="270"/>
                  </a:lnTo>
                  <a:lnTo>
                    <a:pt x="245" y="270"/>
                  </a:lnTo>
                  <a:lnTo>
                    <a:pt x="275" y="240"/>
                  </a:lnTo>
                  <a:lnTo>
                    <a:pt x="448" y="240"/>
                  </a:lnTo>
                  <a:lnTo>
                    <a:pt x="453" y="239"/>
                  </a:lnTo>
                  <a:lnTo>
                    <a:pt x="457" y="238"/>
                  </a:lnTo>
                  <a:lnTo>
                    <a:pt x="460" y="234"/>
                  </a:lnTo>
                  <a:lnTo>
                    <a:pt x="462" y="231"/>
                  </a:lnTo>
                  <a:lnTo>
                    <a:pt x="471" y="212"/>
                  </a:lnTo>
                  <a:lnTo>
                    <a:pt x="477" y="194"/>
                  </a:lnTo>
                  <a:lnTo>
                    <a:pt x="484" y="176"/>
                  </a:lnTo>
                  <a:lnTo>
                    <a:pt x="489" y="160"/>
                  </a:lnTo>
                  <a:lnTo>
                    <a:pt x="493" y="144"/>
                  </a:lnTo>
                  <a:lnTo>
                    <a:pt x="497" y="129"/>
                  </a:lnTo>
                  <a:lnTo>
                    <a:pt x="499" y="115"/>
                  </a:lnTo>
                  <a:lnTo>
                    <a:pt x="501" y="101"/>
                  </a:lnTo>
                  <a:lnTo>
                    <a:pt x="501" y="88"/>
                  </a:lnTo>
                  <a:lnTo>
                    <a:pt x="500" y="76"/>
                  </a:lnTo>
                  <a:lnTo>
                    <a:pt x="498" y="66"/>
                  </a:lnTo>
                  <a:lnTo>
                    <a:pt x="496" y="55"/>
                  </a:lnTo>
                  <a:lnTo>
                    <a:pt x="491" y="45"/>
                  </a:lnTo>
                  <a:lnTo>
                    <a:pt x="487" y="36"/>
                  </a:lnTo>
                  <a:lnTo>
                    <a:pt x="481" y="28"/>
                  </a:lnTo>
                  <a:lnTo>
                    <a:pt x="474" y="20"/>
                  </a:lnTo>
                  <a:lnTo>
                    <a:pt x="47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688" name="Group 89">
            <a:extLst>
              <a:ext uri="{FF2B5EF4-FFF2-40B4-BE49-F238E27FC236}">
                <a16:creationId xmlns:a16="http://schemas.microsoft.com/office/drawing/2014/main" id="{367F7267-5910-4C99-94C3-F178A2A9E7E9}"/>
              </a:ext>
            </a:extLst>
          </p:cNvPr>
          <p:cNvGrpSpPr>
            <a:grpSpLocks noChangeAspect="1"/>
          </p:cNvGrpSpPr>
          <p:nvPr/>
        </p:nvGrpSpPr>
        <p:grpSpPr>
          <a:xfrm>
            <a:off x="1468407" y="4879868"/>
            <a:ext cx="306488" cy="306488"/>
            <a:chOff x="6445250" y="4791075"/>
            <a:chExt cx="285750" cy="285750"/>
          </a:xfrm>
          <a:solidFill>
            <a:schemeClr val="bg1"/>
          </a:solidFill>
          <a:effectLst/>
        </p:grpSpPr>
        <p:sp>
          <p:nvSpPr>
            <p:cNvPr id="689" name="Freeform 318">
              <a:extLst>
                <a:ext uri="{FF2B5EF4-FFF2-40B4-BE49-F238E27FC236}">
                  <a16:creationId xmlns:a16="http://schemas.microsoft.com/office/drawing/2014/main" id="{1C21F524-3B03-4015-95C2-E46C4D60C390}"/>
                </a:ext>
              </a:extLst>
            </p:cNvPr>
            <p:cNvSpPr>
              <a:spLocks noEditPoints="1"/>
            </p:cNvSpPr>
            <p:nvPr/>
          </p:nvSpPr>
          <p:spPr bwMode="auto">
            <a:xfrm>
              <a:off x="6445250" y="5019675"/>
              <a:ext cx="133350" cy="57150"/>
            </a:xfrm>
            <a:custGeom>
              <a:avLst/>
              <a:gdLst>
                <a:gd name="T0" fmla="*/ 30 w 421"/>
                <a:gd name="T1" fmla="*/ 151 h 181"/>
                <a:gd name="T2" fmla="*/ 31 w 421"/>
                <a:gd name="T3" fmla="*/ 127 h 181"/>
                <a:gd name="T4" fmla="*/ 39 w 421"/>
                <a:gd name="T5" fmla="*/ 112 h 181"/>
                <a:gd name="T6" fmla="*/ 51 w 421"/>
                <a:gd name="T7" fmla="*/ 100 h 181"/>
                <a:gd name="T8" fmla="*/ 67 w 421"/>
                <a:gd name="T9" fmla="*/ 92 h 181"/>
                <a:gd name="T10" fmla="*/ 346 w 421"/>
                <a:gd name="T11" fmla="*/ 91 h 181"/>
                <a:gd name="T12" fmla="*/ 362 w 421"/>
                <a:gd name="T13" fmla="*/ 94 h 181"/>
                <a:gd name="T14" fmla="*/ 377 w 421"/>
                <a:gd name="T15" fmla="*/ 105 h 181"/>
                <a:gd name="T16" fmla="*/ 387 w 421"/>
                <a:gd name="T17" fmla="*/ 120 h 181"/>
                <a:gd name="T18" fmla="*/ 391 w 421"/>
                <a:gd name="T19" fmla="*/ 136 h 181"/>
                <a:gd name="T20" fmla="*/ 90 w 421"/>
                <a:gd name="T21" fmla="*/ 46 h 181"/>
                <a:gd name="T22" fmla="*/ 95 w 421"/>
                <a:gd name="T23" fmla="*/ 35 h 181"/>
                <a:gd name="T24" fmla="*/ 105 w 421"/>
                <a:gd name="T25" fmla="*/ 31 h 181"/>
                <a:gd name="T26" fmla="*/ 321 w 421"/>
                <a:gd name="T27" fmla="*/ 32 h 181"/>
                <a:gd name="T28" fmla="*/ 330 w 421"/>
                <a:gd name="T29" fmla="*/ 41 h 181"/>
                <a:gd name="T30" fmla="*/ 331 w 421"/>
                <a:gd name="T31" fmla="*/ 61 h 181"/>
                <a:gd name="T32" fmla="*/ 90 w 421"/>
                <a:gd name="T33" fmla="*/ 46 h 181"/>
                <a:gd name="T34" fmla="*/ 361 w 421"/>
                <a:gd name="T35" fmla="*/ 46 h 181"/>
                <a:gd name="T36" fmla="*/ 357 w 421"/>
                <a:gd name="T37" fmla="*/ 29 h 181"/>
                <a:gd name="T38" fmla="*/ 347 w 421"/>
                <a:gd name="T39" fmla="*/ 14 h 181"/>
                <a:gd name="T40" fmla="*/ 332 w 421"/>
                <a:gd name="T41" fmla="*/ 4 h 181"/>
                <a:gd name="T42" fmla="*/ 316 w 421"/>
                <a:gd name="T43" fmla="*/ 1 h 181"/>
                <a:gd name="T44" fmla="*/ 96 w 421"/>
                <a:gd name="T45" fmla="*/ 1 h 181"/>
                <a:gd name="T46" fmla="*/ 80 w 421"/>
                <a:gd name="T47" fmla="*/ 9 h 181"/>
                <a:gd name="T48" fmla="*/ 69 w 421"/>
                <a:gd name="T49" fmla="*/ 21 h 181"/>
                <a:gd name="T50" fmla="*/ 61 w 421"/>
                <a:gd name="T51" fmla="*/ 37 h 181"/>
                <a:gd name="T52" fmla="*/ 60 w 421"/>
                <a:gd name="T53" fmla="*/ 62 h 181"/>
                <a:gd name="T54" fmla="*/ 37 w 421"/>
                <a:gd name="T55" fmla="*/ 73 h 181"/>
                <a:gd name="T56" fmla="*/ 18 w 421"/>
                <a:gd name="T57" fmla="*/ 90 h 181"/>
                <a:gd name="T58" fmla="*/ 5 w 421"/>
                <a:gd name="T59" fmla="*/ 111 h 181"/>
                <a:gd name="T60" fmla="*/ 1 w 421"/>
                <a:gd name="T61" fmla="*/ 123 h 181"/>
                <a:gd name="T62" fmla="*/ 0 w 421"/>
                <a:gd name="T63" fmla="*/ 136 h 181"/>
                <a:gd name="T64" fmla="*/ 0 w 421"/>
                <a:gd name="T65" fmla="*/ 169 h 181"/>
                <a:gd name="T66" fmla="*/ 2 w 421"/>
                <a:gd name="T67" fmla="*/ 175 h 181"/>
                <a:gd name="T68" fmla="*/ 6 w 421"/>
                <a:gd name="T69" fmla="*/ 179 h 181"/>
                <a:gd name="T70" fmla="*/ 12 w 421"/>
                <a:gd name="T71" fmla="*/ 181 h 181"/>
                <a:gd name="T72" fmla="*/ 406 w 421"/>
                <a:gd name="T73" fmla="*/ 181 h 181"/>
                <a:gd name="T74" fmla="*/ 411 w 421"/>
                <a:gd name="T75" fmla="*/ 180 h 181"/>
                <a:gd name="T76" fmla="*/ 417 w 421"/>
                <a:gd name="T77" fmla="*/ 177 h 181"/>
                <a:gd name="T78" fmla="*/ 420 w 421"/>
                <a:gd name="T79" fmla="*/ 171 h 181"/>
                <a:gd name="T80" fmla="*/ 421 w 421"/>
                <a:gd name="T81" fmla="*/ 166 h 181"/>
                <a:gd name="T82" fmla="*/ 421 w 421"/>
                <a:gd name="T83" fmla="*/ 130 h 181"/>
                <a:gd name="T84" fmla="*/ 418 w 421"/>
                <a:gd name="T85" fmla="*/ 117 h 181"/>
                <a:gd name="T86" fmla="*/ 410 w 421"/>
                <a:gd name="T87" fmla="*/ 100 h 181"/>
                <a:gd name="T88" fmla="*/ 394 w 421"/>
                <a:gd name="T89" fmla="*/ 80 h 181"/>
                <a:gd name="T90" fmla="*/ 373 w 421"/>
                <a:gd name="T91" fmla="*/ 6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1" h="181">
                  <a:moveTo>
                    <a:pt x="391" y="151"/>
                  </a:moveTo>
                  <a:lnTo>
                    <a:pt x="30" y="151"/>
                  </a:lnTo>
                  <a:lnTo>
                    <a:pt x="30" y="136"/>
                  </a:lnTo>
                  <a:lnTo>
                    <a:pt x="31" y="127"/>
                  </a:lnTo>
                  <a:lnTo>
                    <a:pt x="34" y="120"/>
                  </a:lnTo>
                  <a:lnTo>
                    <a:pt x="39" y="112"/>
                  </a:lnTo>
                  <a:lnTo>
                    <a:pt x="44" y="105"/>
                  </a:lnTo>
                  <a:lnTo>
                    <a:pt x="51" y="100"/>
                  </a:lnTo>
                  <a:lnTo>
                    <a:pt x="59" y="94"/>
                  </a:lnTo>
                  <a:lnTo>
                    <a:pt x="67" y="92"/>
                  </a:lnTo>
                  <a:lnTo>
                    <a:pt x="75" y="91"/>
                  </a:lnTo>
                  <a:lnTo>
                    <a:pt x="346" y="91"/>
                  </a:lnTo>
                  <a:lnTo>
                    <a:pt x="355" y="92"/>
                  </a:lnTo>
                  <a:lnTo>
                    <a:pt x="362" y="94"/>
                  </a:lnTo>
                  <a:lnTo>
                    <a:pt x="370" y="100"/>
                  </a:lnTo>
                  <a:lnTo>
                    <a:pt x="377" y="105"/>
                  </a:lnTo>
                  <a:lnTo>
                    <a:pt x="382" y="112"/>
                  </a:lnTo>
                  <a:lnTo>
                    <a:pt x="387" y="120"/>
                  </a:lnTo>
                  <a:lnTo>
                    <a:pt x="390" y="127"/>
                  </a:lnTo>
                  <a:lnTo>
                    <a:pt x="391" y="136"/>
                  </a:lnTo>
                  <a:lnTo>
                    <a:pt x="391" y="151"/>
                  </a:lnTo>
                  <a:close/>
                  <a:moveTo>
                    <a:pt x="90" y="46"/>
                  </a:moveTo>
                  <a:lnTo>
                    <a:pt x="92" y="41"/>
                  </a:lnTo>
                  <a:lnTo>
                    <a:pt x="95" y="35"/>
                  </a:lnTo>
                  <a:lnTo>
                    <a:pt x="100" y="32"/>
                  </a:lnTo>
                  <a:lnTo>
                    <a:pt x="105" y="31"/>
                  </a:lnTo>
                  <a:lnTo>
                    <a:pt x="316" y="31"/>
                  </a:lnTo>
                  <a:lnTo>
                    <a:pt x="321" y="32"/>
                  </a:lnTo>
                  <a:lnTo>
                    <a:pt x="326" y="35"/>
                  </a:lnTo>
                  <a:lnTo>
                    <a:pt x="330" y="41"/>
                  </a:lnTo>
                  <a:lnTo>
                    <a:pt x="331" y="46"/>
                  </a:lnTo>
                  <a:lnTo>
                    <a:pt x="331" y="61"/>
                  </a:lnTo>
                  <a:lnTo>
                    <a:pt x="90" y="61"/>
                  </a:lnTo>
                  <a:lnTo>
                    <a:pt x="90" y="46"/>
                  </a:lnTo>
                  <a:close/>
                  <a:moveTo>
                    <a:pt x="361" y="62"/>
                  </a:moveTo>
                  <a:lnTo>
                    <a:pt x="361" y="46"/>
                  </a:lnTo>
                  <a:lnTo>
                    <a:pt x="360" y="37"/>
                  </a:lnTo>
                  <a:lnTo>
                    <a:pt x="357" y="29"/>
                  </a:lnTo>
                  <a:lnTo>
                    <a:pt x="352" y="21"/>
                  </a:lnTo>
                  <a:lnTo>
                    <a:pt x="347" y="14"/>
                  </a:lnTo>
                  <a:lnTo>
                    <a:pt x="341" y="9"/>
                  </a:lnTo>
                  <a:lnTo>
                    <a:pt x="332" y="4"/>
                  </a:lnTo>
                  <a:lnTo>
                    <a:pt x="325" y="1"/>
                  </a:lnTo>
                  <a:lnTo>
                    <a:pt x="316" y="1"/>
                  </a:lnTo>
                  <a:lnTo>
                    <a:pt x="105" y="0"/>
                  </a:lnTo>
                  <a:lnTo>
                    <a:pt x="96" y="1"/>
                  </a:lnTo>
                  <a:lnTo>
                    <a:pt x="89" y="4"/>
                  </a:lnTo>
                  <a:lnTo>
                    <a:pt x="80" y="9"/>
                  </a:lnTo>
                  <a:lnTo>
                    <a:pt x="74" y="14"/>
                  </a:lnTo>
                  <a:lnTo>
                    <a:pt x="69" y="21"/>
                  </a:lnTo>
                  <a:lnTo>
                    <a:pt x="64" y="29"/>
                  </a:lnTo>
                  <a:lnTo>
                    <a:pt x="61" y="37"/>
                  </a:lnTo>
                  <a:lnTo>
                    <a:pt x="60" y="46"/>
                  </a:lnTo>
                  <a:lnTo>
                    <a:pt x="60" y="62"/>
                  </a:lnTo>
                  <a:lnTo>
                    <a:pt x="48" y="66"/>
                  </a:lnTo>
                  <a:lnTo>
                    <a:pt x="37" y="73"/>
                  </a:lnTo>
                  <a:lnTo>
                    <a:pt x="27" y="80"/>
                  </a:lnTo>
                  <a:lnTo>
                    <a:pt x="18" y="90"/>
                  </a:lnTo>
                  <a:lnTo>
                    <a:pt x="11" y="100"/>
                  </a:lnTo>
                  <a:lnTo>
                    <a:pt x="5" y="111"/>
                  </a:lnTo>
                  <a:lnTo>
                    <a:pt x="3" y="118"/>
                  </a:lnTo>
                  <a:lnTo>
                    <a:pt x="1" y="123"/>
                  </a:lnTo>
                  <a:lnTo>
                    <a:pt x="0" y="130"/>
                  </a:lnTo>
                  <a:lnTo>
                    <a:pt x="0" y="136"/>
                  </a:lnTo>
                  <a:lnTo>
                    <a:pt x="0" y="166"/>
                  </a:lnTo>
                  <a:lnTo>
                    <a:pt x="0" y="169"/>
                  </a:lnTo>
                  <a:lnTo>
                    <a:pt x="1" y="171"/>
                  </a:lnTo>
                  <a:lnTo>
                    <a:pt x="2" y="175"/>
                  </a:lnTo>
                  <a:lnTo>
                    <a:pt x="4" y="177"/>
                  </a:lnTo>
                  <a:lnTo>
                    <a:pt x="6" y="179"/>
                  </a:lnTo>
                  <a:lnTo>
                    <a:pt x="10" y="180"/>
                  </a:lnTo>
                  <a:lnTo>
                    <a:pt x="12" y="181"/>
                  </a:lnTo>
                  <a:lnTo>
                    <a:pt x="15" y="181"/>
                  </a:lnTo>
                  <a:lnTo>
                    <a:pt x="406" y="181"/>
                  </a:lnTo>
                  <a:lnTo>
                    <a:pt x="409" y="181"/>
                  </a:lnTo>
                  <a:lnTo>
                    <a:pt x="411" y="180"/>
                  </a:lnTo>
                  <a:lnTo>
                    <a:pt x="415" y="178"/>
                  </a:lnTo>
                  <a:lnTo>
                    <a:pt x="417" y="177"/>
                  </a:lnTo>
                  <a:lnTo>
                    <a:pt x="419" y="175"/>
                  </a:lnTo>
                  <a:lnTo>
                    <a:pt x="420" y="171"/>
                  </a:lnTo>
                  <a:lnTo>
                    <a:pt x="421" y="169"/>
                  </a:lnTo>
                  <a:lnTo>
                    <a:pt x="421" y="166"/>
                  </a:lnTo>
                  <a:lnTo>
                    <a:pt x="421" y="136"/>
                  </a:lnTo>
                  <a:lnTo>
                    <a:pt x="421" y="130"/>
                  </a:lnTo>
                  <a:lnTo>
                    <a:pt x="420" y="123"/>
                  </a:lnTo>
                  <a:lnTo>
                    <a:pt x="418" y="117"/>
                  </a:lnTo>
                  <a:lnTo>
                    <a:pt x="417" y="111"/>
                  </a:lnTo>
                  <a:lnTo>
                    <a:pt x="410" y="100"/>
                  </a:lnTo>
                  <a:lnTo>
                    <a:pt x="403" y="90"/>
                  </a:lnTo>
                  <a:lnTo>
                    <a:pt x="394" y="80"/>
                  </a:lnTo>
                  <a:lnTo>
                    <a:pt x="385" y="73"/>
                  </a:lnTo>
                  <a:lnTo>
                    <a:pt x="373" y="66"/>
                  </a:lnTo>
                  <a:lnTo>
                    <a:pt x="36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0" name="Freeform 319">
              <a:extLst>
                <a:ext uri="{FF2B5EF4-FFF2-40B4-BE49-F238E27FC236}">
                  <a16:creationId xmlns:a16="http://schemas.microsoft.com/office/drawing/2014/main" id="{B7F23BB8-5191-4C74-A4D8-B5D949512DFD}"/>
                </a:ext>
              </a:extLst>
            </p:cNvPr>
            <p:cNvSpPr>
              <a:spLocks noEditPoints="1"/>
            </p:cNvSpPr>
            <p:nvPr/>
          </p:nvSpPr>
          <p:spPr bwMode="auto">
            <a:xfrm>
              <a:off x="6492875" y="4791075"/>
              <a:ext cx="238125" cy="238125"/>
            </a:xfrm>
            <a:custGeom>
              <a:avLst/>
              <a:gdLst>
                <a:gd name="T0" fmla="*/ 240 w 751"/>
                <a:gd name="T1" fmla="*/ 536 h 751"/>
                <a:gd name="T2" fmla="*/ 216 w 751"/>
                <a:gd name="T3" fmla="*/ 537 h 751"/>
                <a:gd name="T4" fmla="*/ 40 w 751"/>
                <a:gd name="T5" fmla="*/ 364 h 751"/>
                <a:gd name="T6" fmla="*/ 31 w 751"/>
                <a:gd name="T7" fmla="*/ 350 h 751"/>
                <a:gd name="T8" fmla="*/ 36 w 751"/>
                <a:gd name="T9" fmla="*/ 324 h 751"/>
                <a:gd name="T10" fmla="*/ 54 w 751"/>
                <a:gd name="T11" fmla="*/ 306 h 751"/>
                <a:gd name="T12" fmla="*/ 79 w 751"/>
                <a:gd name="T13" fmla="*/ 302 h 751"/>
                <a:gd name="T14" fmla="*/ 94 w 751"/>
                <a:gd name="T15" fmla="*/ 311 h 751"/>
                <a:gd name="T16" fmla="*/ 263 w 751"/>
                <a:gd name="T17" fmla="*/ 479 h 751"/>
                <a:gd name="T18" fmla="*/ 269 w 751"/>
                <a:gd name="T19" fmla="*/ 497 h 751"/>
                <a:gd name="T20" fmla="*/ 259 w 751"/>
                <a:gd name="T21" fmla="*/ 522 h 751"/>
                <a:gd name="T22" fmla="*/ 430 w 751"/>
                <a:gd name="T23" fmla="*/ 254 h 751"/>
                <a:gd name="T24" fmla="*/ 315 w 751"/>
                <a:gd name="T25" fmla="*/ 43 h 751"/>
                <a:gd name="T26" fmla="*/ 336 w 751"/>
                <a:gd name="T27" fmla="*/ 31 h 751"/>
                <a:gd name="T28" fmla="*/ 358 w 751"/>
                <a:gd name="T29" fmla="*/ 34 h 751"/>
                <a:gd name="T30" fmla="*/ 534 w 751"/>
                <a:gd name="T31" fmla="*/ 208 h 751"/>
                <a:gd name="T32" fmla="*/ 540 w 751"/>
                <a:gd name="T33" fmla="*/ 226 h 751"/>
                <a:gd name="T34" fmla="*/ 530 w 751"/>
                <a:gd name="T35" fmla="*/ 251 h 751"/>
                <a:gd name="T36" fmla="*/ 511 w 751"/>
                <a:gd name="T37" fmla="*/ 266 h 751"/>
                <a:gd name="T38" fmla="*/ 486 w 751"/>
                <a:gd name="T39" fmla="*/ 266 h 751"/>
                <a:gd name="T40" fmla="*/ 461 w 751"/>
                <a:gd name="T41" fmla="*/ 243 h 751"/>
                <a:gd name="T42" fmla="*/ 305 w 751"/>
                <a:gd name="T43" fmla="*/ 87 h 751"/>
                <a:gd name="T44" fmla="*/ 302 w 751"/>
                <a:gd name="T45" fmla="*/ 65 h 751"/>
                <a:gd name="T46" fmla="*/ 315 w 751"/>
                <a:gd name="T47" fmla="*/ 43 h 751"/>
                <a:gd name="T48" fmla="*/ 455 w 751"/>
                <a:gd name="T49" fmla="*/ 280 h 751"/>
                <a:gd name="T50" fmla="*/ 476 w 751"/>
                <a:gd name="T51" fmla="*/ 294 h 751"/>
                <a:gd name="T52" fmla="*/ 497 w 751"/>
                <a:gd name="T53" fmla="*/ 298 h 751"/>
                <a:gd name="T54" fmla="*/ 524 w 751"/>
                <a:gd name="T55" fmla="*/ 293 h 751"/>
                <a:gd name="T56" fmla="*/ 547 w 751"/>
                <a:gd name="T57" fmla="*/ 276 h 751"/>
                <a:gd name="T58" fmla="*/ 567 w 751"/>
                <a:gd name="T59" fmla="*/ 244 h 751"/>
                <a:gd name="T60" fmla="*/ 569 w 751"/>
                <a:gd name="T61" fmla="*/ 220 h 751"/>
                <a:gd name="T62" fmla="*/ 560 w 751"/>
                <a:gd name="T63" fmla="*/ 195 h 751"/>
                <a:gd name="T64" fmla="*/ 380 w 751"/>
                <a:gd name="T65" fmla="*/ 13 h 751"/>
                <a:gd name="T66" fmla="*/ 357 w 751"/>
                <a:gd name="T67" fmla="*/ 1 h 751"/>
                <a:gd name="T68" fmla="*/ 331 w 751"/>
                <a:gd name="T69" fmla="*/ 1 h 751"/>
                <a:gd name="T70" fmla="*/ 303 w 751"/>
                <a:gd name="T71" fmla="*/ 14 h 751"/>
                <a:gd name="T72" fmla="*/ 275 w 751"/>
                <a:gd name="T73" fmla="*/ 48 h 751"/>
                <a:gd name="T74" fmla="*/ 271 w 751"/>
                <a:gd name="T75" fmla="*/ 73 h 751"/>
                <a:gd name="T76" fmla="*/ 276 w 751"/>
                <a:gd name="T77" fmla="*/ 98 h 751"/>
                <a:gd name="T78" fmla="*/ 294 w 751"/>
                <a:gd name="T79" fmla="*/ 119 h 751"/>
                <a:gd name="T80" fmla="*/ 104 w 751"/>
                <a:gd name="T81" fmla="*/ 280 h 751"/>
                <a:gd name="T82" fmla="*/ 79 w 751"/>
                <a:gd name="T83" fmla="*/ 271 h 751"/>
                <a:gd name="T84" fmla="*/ 55 w 751"/>
                <a:gd name="T85" fmla="*/ 273 h 751"/>
                <a:gd name="T86" fmla="*/ 23 w 751"/>
                <a:gd name="T87" fmla="*/ 293 h 751"/>
                <a:gd name="T88" fmla="*/ 3 w 751"/>
                <a:gd name="T89" fmla="*/ 325 h 751"/>
                <a:gd name="T90" fmla="*/ 1 w 751"/>
                <a:gd name="T91" fmla="*/ 349 h 751"/>
                <a:gd name="T92" fmla="*/ 10 w 751"/>
                <a:gd name="T93" fmla="*/ 374 h 751"/>
                <a:gd name="T94" fmla="*/ 189 w 751"/>
                <a:gd name="T95" fmla="*/ 555 h 751"/>
                <a:gd name="T96" fmla="*/ 210 w 751"/>
                <a:gd name="T97" fmla="*/ 567 h 751"/>
                <a:gd name="T98" fmla="*/ 234 w 751"/>
                <a:gd name="T99" fmla="*/ 569 h 751"/>
                <a:gd name="T100" fmla="*/ 260 w 751"/>
                <a:gd name="T101" fmla="*/ 560 h 751"/>
                <a:gd name="T102" fmla="*/ 285 w 751"/>
                <a:gd name="T103" fmla="*/ 538 h 751"/>
                <a:gd name="T104" fmla="*/ 298 w 751"/>
                <a:gd name="T105" fmla="*/ 509 h 751"/>
                <a:gd name="T106" fmla="*/ 298 w 751"/>
                <a:gd name="T107" fmla="*/ 484 h 751"/>
                <a:gd name="T108" fmla="*/ 286 w 751"/>
                <a:gd name="T109" fmla="*/ 460 h 751"/>
                <a:gd name="T110" fmla="*/ 725 w 751"/>
                <a:gd name="T111" fmla="*/ 746 h 751"/>
                <a:gd name="T112" fmla="*/ 736 w 751"/>
                <a:gd name="T113" fmla="*/ 751 h 751"/>
                <a:gd name="T114" fmla="*/ 747 w 751"/>
                <a:gd name="T115" fmla="*/ 747 h 751"/>
                <a:gd name="T116" fmla="*/ 751 w 751"/>
                <a:gd name="T117" fmla="*/ 736 h 751"/>
                <a:gd name="T118" fmla="*/ 747 w 751"/>
                <a:gd name="T119" fmla="*/ 72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1" h="751">
                  <a:moveTo>
                    <a:pt x="256" y="526"/>
                  </a:moveTo>
                  <a:lnTo>
                    <a:pt x="252" y="529"/>
                  </a:lnTo>
                  <a:lnTo>
                    <a:pt x="246" y="534"/>
                  </a:lnTo>
                  <a:lnTo>
                    <a:pt x="240" y="536"/>
                  </a:lnTo>
                  <a:lnTo>
                    <a:pt x="234" y="538"/>
                  </a:lnTo>
                  <a:lnTo>
                    <a:pt x="227" y="539"/>
                  </a:lnTo>
                  <a:lnTo>
                    <a:pt x="220" y="538"/>
                  </a:lnTo>
                  <a:lnTo>
                    <a:pt x="216" y="537"/>
                  </a:lnTo>
                  <a:lnTo>
                    <a:pt x="212" y="535"/>
                  </a:lnTo>
                  <a:lnTo>
                    <a:pt x="209" y="533"/>
                  </a:lnTo>
                  <a:lnTo>
                    <a:pt x="206" y="529"/>
                  </a:lnTo>
                  <a:lnTo>
                    <a:pt x="40" y="364"/>
                  </a:lnTo>
                  <a:lnTo>
                    <a:pt x="38" y="361"/>
                  </a:lnTo>
                  <a:lnTo>
                    <a:pt x="34" y="357"/>
                  </a:lnTo>
                  <a:lnTo>
                    <a:pt x="33" y="354"/>
                  </a:lnTo>
                  <a:lnTo>
                    <a:pt x="31" y="350"/>
                  </a:lnTo>
                  <a:lnTo>
                    <a:pt x="31" y="343"/>
                  </a:lnTo>
                  <a:lnTo>
                    <a:pt x="31" y="335"/>
                  </a:lnTo>
                  <a:lnTo>
                    <a:pt x="33" y="329"/>
                  </a:lnTo>
                  <a:lnTo>
                    <a:pt x="36" y="324"/>
                  </a:lnTo>
                  <a:lnTo>
                    <a:pt x="40" y="318"/>
                  </a:lnTo>
                  <a:lnTo>
                    <a:pt x="44" y="314"/>
                  </a:lnTo>
                  <a:lnTo>
                    <a:pt x="48" y="310"/>
                  </a:lnTo>
                  <a:lnTo>
                    <a:pt x="54" y="306"/>
                  </a:lnTo>
                  <a:lnTo>
                    <a:pt x="59" y="303"/>
                  </a:lnTo>
                  <a:lnTo>
                    <a:pt x="65" y="301"/>
                  </a:lnTo>
                  <a:lnTo>
                    <a:pt x="73" y="301"/>
                  </a:lnTo>
                  <a:lnTo>
                    <a:pt x="79" y="302"/>
                  </a:lnTo>
                  <a:lnTo>
                    <a:pt x="84" y="303"/>
                  </a:lnTo>
                  <a:lnTo>
                    <a:pt x="87" y="304"/>
                  </a:lnTo>
                  <a:lnTo>
                    <a:pt x="90" y="308"/>
                  </a:lnTo>
                  <a:lnTo>
                    <a:pt x="94" y="311"/>
                  </a:lnTo>
                  <a:lnTo>
                    <a:pt x="109" y="326"/>
                  </a:lnTo>
                  <a:lnTo>
                    <a:pt x="244" y="461"/>
                  </a:lnTo>
                  <a:lnTo>
                    <a:pt x="259" y="476"/>
                  </a:lnTo>
                  <a:lnTo>
                    <a:pt x="263" y="479"/>
                  </a:lnTo>
                  <a:lnTo>
                    <a:pt x="265" y="482"/>
                  </a:lnTo>
                  <a:lnTo>
                    <a:pt x="267" y="486"/>
                  </a:lnTo>
                  <a:lnTo>
                    <a:pt x="268" y="490"/>
                  </a:lnTo>
                  <a:lnTo>
                    <a:pt x="269" y="497"/>
                  </a:lnTo>
                  <a:lnTo>
                    <a:pt x="268" y="504"/>
                  </a:lnTo>
                  <a:lnTo>
                    <a:pt x="266" y="510"/>
                  </a:lnTo>
                  <a:lnTo>
                    <a:pt x="263" y="516"/>
                  </a:lnTo>
                  <a:lnTo>
                    <a:pt x="259" y="522"/>
                  </a:lnTo>
                  <a:lnTo>
                    <a:pt x="256" y="526"/>
                  </a:lnTo>
                  <a:lnTo>
                    <a:pt x="256" y="526"/>
                  </a:lnTo>
                  <a:close/>
                  <a:moveTo>
                    <a:pt x="315" y="140"/>
                  </a:moveTo>
                  <a:lnTo>
                    <a:pt x="430" y="254"/>
                  </a:lnTo>
                  <a:lnTo>
                    <a:pt x="255" y="429"/>
                  </a:lnTo>
                  <a:lnTo>
                    <a:pt x="140" y="315"/>
                  </a:lnTo>
                  <a:lnTo>
                    <a:pt x="315" y="140"/>
                  </a:lnTo>
                  <a:close/>
                  <a:moveTo>
                    <a:pt x="315" y="43"/>
                  </a:moveTo>
                  <a:lnTo>
                    <a:pt x="319" y="40"/>
                  </a:lnTo>
                  <a:lnTo>
                    <a:pt x="324" y="35"/>
                  </a:lnTo>
                  <a:lnTo>
                    <a:pt x="330" y="33"/>
                  </a:lnTo>
                  <a:lnTo>
                    <a:pt x="336" y="31"/>
                  </a:lnTo>
                  <a:lnTo>
                    <a:pt x="343" y="30"/>
                  </a:lnTo>
                  <a:lnTo>
                    <a:pt x="350" y="31"/>
                  </a:lnTo>
                  <a:lnTo>
                    <a:pt x="354" y="32"/>
                  </a:lnTo>
                  <a:lnTo>
                    <a:pt x="358" y="34"/>
                  </a:lnTo>
                  <a:lnTo>
                    <a:pt x="361" y="37"/>
                  </a:lnTo>
                  <a:lnTo>
                    <a:pt x="364" y="40"/>
                  </a:lnTo>
                  <a:lnTo>
                    <a:pt x="530" y="205"/>
                  </a:lnTo>
                  <a:lnTo>
                    <a:pt x="534" y="208"/>
                  </a:lnTo>
                  <a:lnTo>
                    <a:pt x="536" y="212"/>
                  </a:lnTo>
                  <a:lnTo>
                    <a:pt x="538" y="215"/>
                  </a:lnTo>
                  <a:lnTo>
                    <a:pt x="539" y="219"/>
                  </a:lnTo>
                  <a:lnTo>
                    <a:pt x="540" y="226"/>
                  </a:lnTo>
                  <a:lnTo>
                    <a:pt x="539" y="234"/>
                  </a:lnTo>
                  <a:lnTo>
                    <a:pt x="537" y="240"/>
                  </a:lnTo>
                  <a:lnTo>
                    <a:pt x="534" y="245"/>
                  </a:lnTo>
                  <a:lnTo>
                    <a:pt x="530" y="251"/>
                  </a:lnTo>
                  <a:lnTo>
                    <a:pt x="526" y="255"/>
                  </a:lnTo>
                  <a:lnTo>
                    <a:pt x="522" y="259"/>
                  </a:lnTo>
                  <a:lnTo>
                    <a:pt x="516" y="263"/>
                  </a:lnTo>
                  <a:lnTo>
                    <a:pt x="511" y="266"/>
                  </a:lnTo>
                  <a:lnTo>
                    <a:pt x="505" y="268"/>
                  </a:lnTo>
                  <a:lnTo>
                    <a:pt x="497" y="268"/>
                  </a:lnTo>
                  <a:lnTo>
                    <a:pt x="491" y="268"/>
                  </a:lnTo>
                  <a:lnTo>
                    <a:pt x="486" y="266"/>
                  </a:lnTo>
                  <a:lnTo>
                    <a:pt x="483" y="265"/>
                  </a:lnTo>
                  <a:lnTo>
                    <a:pt x="480" y="261"/>
                  </a:lnTo>
                  <a:lnTo>
                    <a:pt x="476" y="259"/>
                  </a:lnTo>
                  <a:lnTo>
                    <a:pt x="461" y="243"/>
                  </a:lnTo>
                  <a:lnTo>
                    <a:pt x="326" y="108"/>
                  </a:lnTo>
                  <a:lnTo>
                    <a:pt x="311" y="93"/>
                  </a:lnTo>
                  <a:lnTo>
                    <a:pt x="307" y="90"/>
                  </a:lnTo>
                  <a:lnTo>
                    <a:pt x="305" y="87"/>
                  </a:lnTo>
                  <a:lnTo>
                    <a:pt x="303" y="83"/>
                  </a:lnTo>
                  <a:lnTo>
                    <a:pt x="302" y="79"/>
                  </a:lnTo>
                  <a:lnTo>
                    <a:pt x="301" y="72"/>
                  </a:lnTo>
                  <a:lnTo>
                    <a:pt x="302" y="65"/>
                  </a:lnTo>
                  <a:lnTo>
                    <a:pt x="304" y="59"/>
                  </a:lnTo>
                  <a:lnTo>
                    <a:pt x="307" y="53"/>
                  </a:lnTo>
                  <a:lnTo>
                    <a:pt x="311" y="47"/>
                  </a:lnTo>
                  <a:lnTo>
                    <a:pt x="315" y="43"/>
                  </a:lnTo>
                  <a:close/>
                  <a:moveTo>
                    <a:pt x="747" y="725"/>
                  </a:moveTo>
                  <a:lnTo>
                    <a:pt x="374" y="353"/>
                  </a:lnTo>
                  <a:lnTo>
                    <a:pt x="450" y="275"/>
                  </a:lnTo>
                  <a:lnTo>
                    <a:pt x="455" y="280"/>
                  </a:lnTo>
                  <a:lnTo>
                    <a:pt x="460" y="285"/>
                  </a:lnTo>
                  <a:lnTo>
                    <a:pt x="465" y="288"/>
                  </a:lnTo>
                  <a:lnTo>
                    <a:pt x="470" y="291"/>
                  </a:lnTo>
                  <a:lnTo>
                    <a:pt x="476" y="294"/>
                  </a:lnTo>
                  <a:lnTo>
                    <a:pt x="481" y="296"/>
                  </a:lnTo>
                  <a:lnTo>
                    <a:pt x="486" y="297"/>
                  </a:lnTo>
                  <a:lnTo>
                    <a:pt x="492" y="298"/>
                  </a:lnTo>
                  <a:lnTo>
                    <a:pt x="497" y="298"/>
                  </a:lnTo>
                  <a:lnTo>
                    <a:pt x="505" y="298"/>
                  </a:lnTo>
                  <a:lnTo>
                    <a:pt x="511" y="297"/>
                  </a:lnTo>
                  <a:lnTo>
                    <a:pt x="517" y="295"/>
                  </a:lnTo>
                  <a:lnTo>
                    <a:pt x="524" y="293"/>
                  </a:lnTo>
                  <a:lnTo>
                    <a:pt x="530" y="289"/>
                  </a:lnTo>
                  <a:lnTo>
                    <a:pt x="537" y="285"/>
                  </a:lnTo>
                  <a:lnTo>
                    <a:pt x="542" y="281"/>
                  </a:lnTo>
                  <a:lnTo>
                    <a:pt x="547" y="276"/>
                  </a:lnTo>
                  <a:lnTo>
                    <a:pt x="556" y="267"/>
                  </a:lnTo>
                  <a:lnTo>
                    <a:pt x="562" y="256"/>
                  </a:lnTo>
                  <a:lnTo>
                    <a:pt x="565" y="250"/>
                  </a:lnTo>
                  <a:lnTo>
                    <a:pt x="567" y="244"/>
                  </a:lnTo>
                  <a:lnTo>
                    <a:pt x="569" y="238"/>
                  </a:lnTo>
                  <a:lnTo>
                    <a:pt x="569" y="232"/>
                  </a:lnTo>
                  <a:lnTo>
                    <a:pt x="570" y="226"/>
                  </a:lnTo>
                  <a:lnTo>
                    <a:pt x="569" y="220"/>
                  </a:lnTo>
                  <a:lnTo>
                    <a:pt x="568" y="213"/>
                  </a:lnTo>
                  <a:lnTo>
                    <a:pt x="567" y="207"/>
                  </a:lnTo>
                  <a:lnTo>
                    <a:pt x="564" y="202"/>
                  </a:lnTo>
                  <a:lnTo>
                    <a:pt x="560" y="195"/>
                  </a:lnTo>
                  <a:lnTo>
                    <a:pt x="556" y="190"/>
                  </a:lnTo>
                  <a:lnTo>
                    <a:pt x="552" y="183"/>
                  </a:lnTo>
                  <a:lnTo>
                    <a:pt x="386" y="18"/>
                  </a:lnTo>
                  <a:lnTo>
                    <a:pt x="380" y="13"/>
                  </a:lnTo>
                  <a:lnTo>
                    <a:pt x="375" y="9"/>
                  </a:lnTo>
                  <a:lnTo>
                    <a:pt x="369" y="5"/>
                  </a:lnTo>
                  <a:lnTo>
                    <a:pt x="362" y="3"/>
                  </a:lnTo>
                  <a:lnTo>
                    <a:pt x="357" y="1"/>
                  </a:lnTo>
                  <a:lnTo>
                    <a:pt x="350" y="0"/>
                  </a:lnTo>
                  <a:lnTo>
                    <a:pt x="344" y="0"/>
                  </a:lnTo>
                  <a:lnTo>
                    <a:pt x="337" y="0"/>
                  </a:lnTo>
                  <a:lnTo>
                    <a:pt x="331" y="1"/>
                  </a:lnTo>
                  <a:lnTo>
                    <a:pt x="326" y="2"/>
                  </a:lnTo>
                  <a:lnTo>
                    <a:pt x="319" y="4"/>
                  </a:lnTo>
                  <a:lnTo>
                    <a:pt x="314" y="8"/>
                  </a:lnTo>
                  <a:lnTo>
                    <a:pt x="303" y="14"/>
                  </a:lnTo>
                  <a:lnTo>
                    <a:pt x="294" y="22"/>
                  </a:lnTo>
                  <a:lnTo>
                    <a:pt x="285" y="31"/>
                  </a:lnTo>
                  <a:lnTo>
                    <a:pt x="279" y="43"/>
                  </a:lnTo>
                  <a:lnTo>
                    <a:pt x="275" y="48"/>
                  </a:lnTo>
                  <a:lnTo>
                    <a:pt x="274" y="54"/>
                  </a:lnTo>
                  <a:lnTo>
                    <a:pt x="272" y="60"/>
                  </a:lnTo>
                  <a:lnTo>
                    <a:pt x="271" y="67"/>
                  </a:lnTo>
                  <a:lnTo>
                    <a:pt x="271" y="73"/>
                  </a:lnTo>
                  <a:lnTo>
                    <a:pt x="271" y="79"/>
                  </a:lnTo>
                  <a:lnTo>
                    <a:pt x="272" y="85"/>
                  </a:lnTo>
                  <a:lnTo>
                    <a:pt x="274" y="91"/>
                  </a:lnTo>
                  <a:lnTo>
                    <a:pt x="276" y="98"/>
                  </a:lnTo>
                  <a:lnTo>
                    <a:pt x="281" y="103"/>
                  </a:lnTo>
                  <a:lnTo>
                    <a:pt x="284" y="109"/>
                  </a:lnTo>
                  <a:lnTo>
                    <a:pt x="289" y="115"/>
                  </a:lnTo>
                  <a:lnTo>
                    <a:pt x="294" y="119"/>
                  </a:lnTo>
                  <a:lnTo>
                    <a:pt x="120" y="294"/>
                  </a:lnTo>
                  <a:lnTo>
                    <a:pt x="116" y="289"/>
                  </a:lnTo>
                  <a:lnTo>
                    <a:pt x="109" y="284"/>
                  </a:lnTo>
                  <a:lnTo>
                    <a:pt x="104" y="280"/>
                  </a:lnTo>
                  <a:lnTo>
                    <a:pt x="98" y="276"/>
                  </a:lnTo>
                  <a:lnTo>
                    <a:pt x="92" y="274"/>
                  </a:lnTo>
                  <a:lnTo>
                    <a:pt x="86" y="272"/>
                  </a:lnTo>
                  <a:lnTo>
                    <a:pt x="79" y="271"/>
                  </a:lnTo>
                  <a:lnTo>
                    <a:pt x="73" y="271"/>
                  </a:lnTo>
                  <a:lnTo>
                    <a:pt x="66" y="271"/>
                  </a:lnTo>
                  <a:lnTo>
                    <a:pt x="61" y="272"/>
                  </a:lnTo>
                  <a:lnTo>
                    <a:pt x="55" y="273"/>
                  </a:lnTo>
                  <a:lnTo>
                    <a:pt x="49" y="275"/>
                  </a:lnTo>
                  <a:lnTo>
                    <a:pt x="43" y="278"/>
                  </a:lnTo>
                  <a:lnTo>
                    <a:pt x="32" y="284"/>
                  </a:lnTo>
                  <a:lnTo>
                    <a:pt x="23" y="293"/>
                  </a:lnTo>
                  <a:lnTo>
                    <a:pt x="14" y="302"/>
                  </a:lnTo>
                  <a:lnTo>
                    <a:pt x="8" y="313"/>
                  </a:lnTo>
                  <a:lnTo>
                    <a:pt x="5" y="319"/>
                  </a:lnTo>
                  <a:lnTo>
                    <a:pt x="3" y="325"/>
                  </a:lnTo>
                  <a:lnTo>
                    <a:pt x="2" y="331"/>
                  </a:lnTo>
                  <a:lnTo>
                    <a:pt x="1" y="338"/>
                  </a:lnTo>
                  <a:lnTo>
                    <a:pt x="0" y="343"/>
                  </a:lnTo>
                  <a:lnTo>
                    <a:pt x="1" y="349"/>
                  </a:lnTo>
                  <a:lnTo>
                    <a:pt x="2" y="356"/>
                  </a:lnTo>
                  <a:lnTo>
                    <a:pt x="3" y="362"/>
                  </a:lnTo>
                  <a:lnTo>
                    <a:pt x="6" y="368"/>
                  </a:lnTo>
                  <a:lnTo>
                    <a:pt x="10" y="374"/>
                  </a:lnTo>
                  <a:lnTo>
                    <a:pt x="14" y="379"/>
                  </a:lnTo>
                  <a:lnTo>
                    <a:pt x="18" y="386"/>
                  </a:lnTo>
                  <a:lnTo>
                    <a:pt x="184" y="551"/>
                  </a:lnTo>
                  <a:lnTo>
                    <a:pt x="189" y="555"/>
                  </a:lnTo>
                  <a:lnTo>
                    <a:pt x="194" y="559"/>
                  </a:lnTo>
                  <a:lnTo>
                    <a:pt x="199" y="563"/>
                  </a:lnTo>
                  <a:lnTo>
                    <a:pt x="205" y="565"/>
                  </a:lnTo>
                  <a:lnTo>
                    <a:pt x="210" y="567"/>
                  </a:lnTo>
                  <a:lnTo>
                    <a:pt x="215" y="568"/>
                  </a:lnTo>
                  <a:lnTo>
                    <a:pt x="221" y="569"/>
                  </a:lnTo>
                  <a:lnTo>
                    <a:pt x="227" y="569"/>
                  </a:lnTo>
                  <a:lnTo>
                    <a:pt x="234" y="569"/>
                  </a:lnTo>
                  <a:lnTo>
                    <a:pt x="240" y="568"/>
                  </a:lnTo>
                  <a:lnTo>
                    <a:pt x="248" y="566"/>
                  </a:lnTo>
                  <a:lnTo>
                    <a:pt x="254" y="563"/>
                  </a:lnTo>
                  <a:lnTo>
                    <a:pt x="260" y="560"/>
                  </a:lnTo>
                  <a:lnTo>
                    <a:pt x="266" y="556"/>
                  </a:lnTo>
                  <a:lnTo>
                    <a:pt x="272" y="552"/>
                  </a:lnTo>
                  <a:lnTo>
                    <a:pt x="276" y="548"/>
                  </a:lnTo>
                  <a:lnTo>
                    <a:pt x="285" y="538"/>
                  </a:lnTo>
                  <a:lnTo>
                    <a:pt x="291" y="526"/>
                  </a:lnTo>
                  <a:lnTo>
                    <a:pt x="295" y="521"/>
                  </a:lnTo>
                  <a:lnTo>
                    <a:pt x="297" y="514"/>
                  </a:lnTo>
                  <a:lnTo>
                    <a:pt x="298" y="509"/>
                  </a:lnTo>
                  <a:lnTo>
                    <a:pt x="299" y="503"/>
                  </a:lnTo>
                  <a:lnTo>
                    <a:pt x="299" y="496"/>
                  </a:lnTo>
                  <a:lnTo>
                    <a:pt x="299" y="490"/>
                  </a:lnTo>
                  <a:lnTo>
                    <a:pt x="298" y="484"/>
                  </a:lnTo>
                  <a:lnTo>
                    <a:pt x="296" y="478"/>
                  </a:lnTo>
                  <a:lnTo>
                    <a:pt x="294" y="471"/>
                  </a:lnTo>
                  <a:lnTo>
                    <a:pt x="290" y="466"/>
                  </a:lnTo>
                  <a:lnTo>
                    <a:pt x="286" y="460"/>
                  </a:lnTo>
                  <a:lnTo>
                    <a:pt x="281" y="454"/>
                  </a:lnTo>
                  <a:lnTo>
                    <a:pt x="276" y="450"/>
                  </a:lnTo>
                  <a:lnTo>
                    <a:pt x="352" y="373"/>
                  </a:lnTo>
                  <a:lnTo>
                    <a:pt x="725" y="746"/>
                  </a:lnTo>
                  <a:lnTo>
                    <a:pt x="727" y="748"/>
                  </a:lnTo>
                  <a:lnTo>
                    <a:pt x="731" y="750"/>
                  </a:lnTo>
                  <a:lnTo>
                    <a:pt x="733" y="750"/>
                  </a:lnTo>
                  <a:lnTo>
                    <a:pt x="736" y="751"/>
                  </a:lnTo>
                  <a:lnTo>
                    <a:pt x="739" y="750"/>
                  </a:lnTo>
                  <a:lnTo>
                    <a:pt x="741" y="750"/>
                  </a:lnTo>
                  <a:lnTo>
                    <a:pt x="745" y="748"/>
                  </a:lnTo>
                  <a:lnTo>
                    <a:pt x="747" y="747"/>
                  </a:lnTo>
                  <a:lnTo>
                    <a:pt x="749" y="744"/>
                  </a:lnTo>
                  <a:lnTo>
                    <a:pt x="750" y="741"/>
                  </a:lnTo>
                  <a:lnTo>
                    <a:pt x="751" y="738"/>
                  </a:lnTo>
                  <a:lnTo>
                    <a:pt x="751" y="736"/>
                  </a:lnTo>
                  <a:lnTo>
                    <a:pt x="751" y="733"/>
                  </a:lnTo>
                  <a:lnTo>
                    <a:pt x="750" y="730"/>
                  </a:lnTo>
                  <a:lnTo>
                    <a:pt x="749" y="727"/>
                  </a:lnTo>
                  <a:lnTo>
                    <a:pt x="747" y="725"/>
                  </a:lnTo>
                  <a:lnTo>
                    <a:pt x="747" y="7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91" name="Freeform 320">
            <a:extLst>
              <a:ext uri="{FF2B5EF4-FFF2-40B4-BE49-F238E27FC236}">
                <a16:creationId xmlns:a16="http://schemas.microsoft.com/office/drawing/2014/main" id="{B99AFA38-1790-4C73-B4F9-282432047A66}"/>
              </a:ext>
            </a:extLst>
          </p:cNvPr>
          <p:cNvSpPr>
            <a:spLocks noChangeAspect="1" noEditPoints="1"/>
          </p:cNvSpPr>
          <p:nvPr/>
        </p:nvSpPr>
        <p:spPr bwMode="auto">
          <a:xfrm>
            <a:off x="1887526" y="4918747"/>
            <a:ext cx="298342" cy="228730"/>
          </a:xfrm>
          <a:custGeom>
            <a:avLst/>
            <a:gdLst>
              <a:gd name="T0" fmla="*/ 698 w 902"/>
              <a:gd name="T1" fmla="*/ 484 h 692"/>
              <a:gd name="T2" fmla="*/ 651 w 902"/>
              <a:gd name="T3" fmla="*/ 442 h 692"/>
              <a:gd name="T4" fmla="*/ 871 w 902"/>
              <a:gd name="T5" fmla="*/ 391 h 692"/>
              <a:gd name="T6" fmla="*/ 846 w 902"/>
              <a:gd name="T7" fmla="*/ 451 h 692"/>
              <a:gd name="T8" fmla="*/ 796 w 902"/>
              <a:gd name="T9" fmla="*/ 488 h 692"/>
              <a:gd name="T10" fmla="*/ 752 w 902"/>
              <a:gd name="T11" fmla="*/ 116 h 692"/>
              <a:gd name="T12" fmla="*/ 419 w 902"/>
              <a:gd name="T13" fmla="*/ 117 h 692"/>
              <a:gd name="T14" fmla="*/ 391 w 902"/>
              <a:gd name="T15" fmla="*/ 76 h 692"/>
              <a:gd name="T16" fmla="*/ 419 w 902"/>
              <a:gd name="T17" fmla="*/ 34 h 692"/>
              <a:gd name="T18" fmla="*/ 468 w 902"/>
              <a:gd name="T19" fmla="*/ 44 h 692"/>
              <a:gd name="T20" fmla="*/ 478 w 902"/>
              <a:gd name="T21" fmla="*/ 93 h 692"/>
              <a:gd name="T22" fmla="*/ 436 w 902"/>
              <a:gd name="T23" fmla="*/ 121 h 692"/>
              <a:gd name="T24" fmla="*/ 151 w 902"/>
              <a:gd name="T25" fmla="*/ 496 h 692"/>
              <a:gd name="T26" fmla="*/ 88 w 902"/>
              <a:gd name="T27" fmla="*/ 479 h 692"/>
              <a:gd name="T28" fmla="*/ 44 w 902"/>
              <a:gd name="T29" fmla="*/ 433 h 692"/>
              <a:gd name="T30" fmla="*/ 268 w 902"/>
              <a:gd name="T31" fmla="*/ 402 h 692"/>
              <a:gd name="T32" fmla="*/ 238 w 902"/>
              <a:gd name="T33" fmla="*/ 458 h 692"/>
              <a:gd name="T34" fmla="*/ 183 w 902"/>
              <a:gd name="T35" fmla="*/ 492 h 692"/>
              <a:gd name="T36" fmla="*/ 883 w 902"/>
              <a:gd name="T37" fmla="*/ 361 h 692"/>
              <a:gd name="T38" fmla="*/ 823 w 902"/>
              <a:gd name="T39" fmla="*/ 86 h 692"/>
              <a:gd name="T40" fmla="*/ 826 w 902"/>
              <a:gd name="T41" fmla="*/ 70 h 692"/>
              <a:gd name="T42" fmla="*/ 812 w 902"/>
              <a:gd name="T43" fmla="*/ 61 h 692"/>
              <a:gd name="T44" fmla="*/ 493 w 902"/>
              <a:gd name="T45" fmla="*/ 27 h 692"/>
              <a:gd name="T46" fmla="*/ 456 w 902"/>
              <a:gd name="T47" fmla="*/ 3 h 692"/>
              <a:gd name="T48" fmla="*/ 417 w 902"/>
              <a:gd name="T49" fmla="*/ 3 h 692"/>
              <a:gd name="T50" fmla="*/ 379 w 902"/>
              <a:gd name="T51" fmla="*/ 27 h 692"/>
              <a:gd name="T52" fmla="*/ 90 w 902"/>
              <a:gd name="T53" fmla="*/ 60 h 692"/>
              <a:gd name="T54" fmla="*/ 77 w 902"/>
              <a:gd name="T55" fmla="*/ 70 h 692"/>
              <a:gd name="T56" fmla="*/ 80 w 902"/>
              <a:gd name="T57" fmla="*/ 86 h 692"/>
              <a:gd name="T58" fmla="*/ 20 w 902"/>
              <a:gd name="T59" fmla="*/ 361 h 692"/>
              <a:gd name="T60" fmla="*/ 3 w 902"/>
              <a:gd name="T61" fmla="*/ 367 h 692"/>
              <a:gd name="T62" fmla="*/ 7 w 902"/>
              <a:gd name="T63" fmla="*/ 421 h 692"/>
              <a:gd name="T64" fmla="*/ 55 w 902"/>
              <a:gd name="T65" fmla="*/ 492 h 692"/>
              <a:gd name="T66" fmla="*/ 135 w 902"/>
              <a:gd name="T67" fmla="*/ 526 h 692"/>
              <a:gd name="T68" fmla="*/ 222 w 902"/>
              <a:gd name="T69" fmla="*/ 509 h 692"/>
              <a:gd name="T70" fmla="*/ 283 w 902"/>
              <a:gd name="T71" fmla="*/ 448 h 692"/>
              <a:gd name="T72" fmla="*/ 301 w 902"/>
              <a:gd name="T73" fmla="*/ 373 h 692"/>
              <a:gd name="T74" fmla="*/ 289 w 902"/>
              <a:gd name="T75" fmla="*/ 361 h 692"/>
              <a:gd name="T76" fmla="*/ 371 w 902"/>
              <a:gd name="T77" fmla="*/ 111 h 692"/>
              <a:gd name="T78" fmla="*/ 421 w 902"/>
              <a:gd name="T79" fmla="*/ 149 h 692"/>
              <a:gd name="T80" fmla="*/ 305 w 902"/>
              <a:gd name="T81" fmla="*/ 666 h 692"/>
              <a:gd name="T82" fmla="*/ 302 w 902"/>
              <a:gd name="T83" fmla="*/ 682 h 692"/>
              <a:gd name="T84" fmla="*/ 316 w 902"/>
              <a:gd name="T85" fmla="*/ 692 h 692"/>
              <a:gd name="T86" fmla="*/ 599 w 902"/>
              <a:gd name="T87" fmla="*/ 686 h 692"/>
              <a:gd name="T88" fmla="*/ 599 w 902"/>
              <a:gd name="T89" fmla="*/ 668 h 692"/>
              <a:gd name="T90" fmla="*/ 451 w 902"/>
              <a:gd name="T91" fmla="*/ 662 h 692"/>
              <a:gd name="T92" fmla="*/ 496 w 902"/>
              <a:gd name="T93" fmla="*/ 120 h 692"/>
              <a:gd name="T94" fmla="*/ 617 w 902"/>
              <a:gd name="T95" fmla="*/ 361 h 692"/>
              <a:gd name="T96" fmla="*/ 603 w 902"/>
              <a:gd name="T97" fmla="*/ 371 h 692"/>
              <a:gd name="T98" fmla="*/ 614 w 902"/>
              <a:gd name="T99" fmla="*/ 435 h 692"/>
              <a:gd name="T100" fmla="*/ 668 w 902"/>
              <a:gd name="T101" fmla="*/ 501 h 692"/>
              <a:gd name="T102" fmla="*/ 752 w 902"/>
              <a:gd name="T103" fmla="*/ 527 h 692"/>
              <a:gd name="T104" fmla="*/ 836 w 902"/>
              <a:gd name="T105" fmla="*/ 501 h 692"/>
              <a:gd name="T106" fmla="*/ 890 w 902"/>
              <a:gd name="T107" fmla="*/ 435 h 692"/>
              <a:gd name="T108" fmla="*/ 901 w 902"/>
              <a:gd name="T109" fmla="*/ 371 h 692"/>
              <a:gd name="T110" fmla="*/ 887 w 902"/>
              <a:gd name="T111" fmla="*/ 36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92">
                <a:moveTo>
                  <a:pt x="752" y="496"/>
                </a:moveTo>
                <a:lnTo>
                  <a:pt x="740" y="496"/>
                </a:lnTo>
                <a:lnTo>
                  <a:pt x="730" y="495"/>
                </a:lnTo>
                <a:lnTo>
                  <a:pt x="719" y="492"/>
                </a:lnTo>
                <a:lnTo>
                  <a:pt x="708" y="488"/>
                </a:lnTo>
                <a:lnTo>
                  <a:pt x="698" y="484"/>
                </a:lnTo>
                <a:lnTo>
                  <a:pt x="689" y="479"/>
                </a:lnTo>
                <a:lnTo>
                  <a:pt x="680" y="472"/>
                </a:lnTo>
                <a:lnTo>
                  <a:pt x="672" y="466"/>
                </a:lnTo>
                <a:lnTo>
                  <a:pt x="664" y="458"/>
                </a:lnTo>
                <a:lnTo>
                  <a:pt x="658" y="451"/>
                </a:lnTo>
                <a:lnTo>
                  <a:pt x="651" y="442"/>
                </a:lnTo>
                <a:lnTo>
                  <a:pt x="646" y="433"/>
                </a:lnTo>
                <a:lnTo>
                  <a:pt x="641" y="423"/>
                </a:lnTo>
                <a:lnTo>
                  <a:pt x="637" y="412"/>
                </a:lnTo>
                <a:lnTo>
                  <a:pt x="634" y="402"/>
                </a:lnTo>
                <a:lnTo>
                  <a:pt x="633" y="391"/>
                </a:lnTo>
                <a:lnTo>
                  <a:pt x="871" y="391"/>
                </a:lnTo>
                <a:lnTo>
                  <a:pt x="870" y="402"/>
                </a:lnTo>
                <a:lnTo>
                  <a:pt x="867" y="412"/>
                </a:lnTo>
                <a:lnTo>
                  <a:pt x="862" y="423"/>
                </a:lnTo>
                <a:lnTo>
                  <a:pt x="858" y="433"/>
                </a:lnTo>
                <a:lnTo>
                  <a:pt x="853" y="442"/>
                </a:lnTo>
                <a:lnTo>
                  <a:pt x="846" y="451"/>
                </a:lnTo>
                <a:lnTo>
                  <a:pt x="840" y="458"/>
                </a:lnTo>
                <a:lnTo>
                  <a:pt x="832" y="466"/>
                </a:lnTo>
                <a:lnTo>
                  <a:pt x="824" y="472"/>
                </a:lnTo>
                <a:lnTo>
                  <a:pt x="815" y="479"/>
                </a:lnTo>
                <a:lnTo>
                  <a:pt x="806" y="484"/>
                </a:lnTo>
                <a:lnTo>
                  <a:pt x="796" y="488"/>
                </a:lnTo>
                <a:lnTo>
                  <a:pt x="785" y="492"/>
                </a:lnTo>
                <a:lnTo>
                  <a:pt x="774" y="495"/>
                </a:lnTo>
                <a:lnTo>
                  <a:pt x="764" y="496"/>
                </a:lnTo>
                <a:lnTo>
                  <a:pt x="752" y="497"/>
                </a:lnTo>
                <a:lnTo>
                  <a:pt x="752" y="496"/>
                </a:lnTo>
                <a:close/>
                <a:moveTo>
                  <a:pt x="752" y="116"/>
                </a:moveTo>
                <a:lnTo>
                  <a:pt x="851" y="361"/>
                </a:lnTo>
                <a:lnTo>
                  <a:pt x="653" y="361"/>
                </a:lnTo>
                <a:lnTo>
                  <a:pt x="752" y="116"/>
                </a:lnTo>
                <a:close/>
                <a:moveTo>
                  <a:pt x="436" y="121"/>
                </a:moveTo>
                <a:lnTo>
                  <a:pt x="427" y="120"/>
                </a:lnTo>
                <a:lnTo>
                  <a:pt x="419" y="117"/>
                </a:lnTo>
                <a:lnTo>
                  <a:pt x="411" y="112"/>
                </a:lnTo>
                <a:lnTo>
                  <a:pt x="405" y="107"/>
                </a:lnTo>
                <a:lnTo>
                  <a:pt x="398" y="101"/>
                </a:lnTo>
                <a:lnTo>
                  <a:pt x="394" y="93"/>
                </a:lnTo>
                <a:lnTo>
                  <a:pt x="392" y="85"/>
                </a:lnTo>
                <a:lnTo>
                  <a:pt x="391" y="76"/>
                </a:lnTo>
                <a:lnTo>
                  <a:pt x="392" y="66"/>
                </a:lnTo>
                <a:lnTo>
                  <a:pt x="394" y="58"/>
                </a:lnTo>
                <a:lnTo>
                  <a:pt x="398" y="50"/>
                </a:lnTo>
                <a:lnTo>
                  <a:pt x="405" y="44"/>
                </a:lnTo>
                <a:lnTo>
                  <a:pt x="411" y="39"/>
                </a:lnTo>
                <a:lnTo>
                  <a:pt x="419" y="34"/>
                </a:lnTo>
                <a:lnTo>
                  <a:pt x="427" y="31"/>
                </a:lnTo>
                <a:lnTo>
                  <a:pt x="436" y="30"/>
                </a:lnTo>
                <a:lnTo>
                  <a:pt x="446" y="31"/>
                </a:lnTo>
                <a:lnTo>
                  <a:pt x="454" y="34"/>
                </a:lnTo>
                <a:lnTo>
                  <a:pt x="462" y="39"/>
                </a:lnTo>
                <a:lnTo>
                  <a:pt x="468" y="44"/>
                </a:lnTo>
                <a:lnTo>
                  <a:pt x="473" y="50"/>
                </a:lnTo>
                <a:lnTo>
                  <a:pt x="478" y="58"/>
                </a:lnTo>
                <a:lnTo>
                  <a:pt x="481" y="66"/>
                </a:lnTo>
                <a:lnTo>
                  <a:pt x="481" y="76"/>
                </a:lnTo>
                <a:lnTo>
                  <a:pt x="481" y="85"/>
                </a:lnTo>
                <a:lnTo>
                  <a:pt x="478" y="93"/>
                </a:lnTo>
                <a:lnTo>
                  <a:pt x="473" y="101"/>
                </a:lnTo>
                <a:lnTo>
                  <a:pt x="468" y="107"/>
                </a:lnTo>
                <a:lnTo>
                  <a:pt x="462" y="112"/>
                </a:lnTo>
                <a:lnTo>
                  <a:pt x="454" y="117"/>
                </a:lnTo>
                <a:lnTo>
                  <a:pt x="446" y="120"/>
                </a:lnTo>
                <a:lnTo>
                  <a:pt x="436" y="121"/>
                </a:lnTo>
                <a:lnTo>
                  <a:pt x="436" y="121"/>
                </a:lnTo>
                <a:close/>
                <a:moveTo>
                  <a:pt x="52" y="361"/>
                </a:moveTo>
                <a:lnTo>
                  <a:pt x="151" y="116"/>
                </a:lnTo>
                <a:lnTo>
                  <a:pt x="249" y="361"/>
                </a:lnTo>
                <a:lnTo>
                  <a:pt x="52" y="361"/>
                </a:lnTo>
                <a:close/>
                <a:moveTo>
                  <a:pt x="151" y="496"/>
                </a:moveTo>
                <a:lnTo>
                  <a:pt x="139" y="496"/>
                </a:lnTo>
                <a:lnTo>
                  <a:pt x="129" y="495"/>
                </a:lnTo>
                <a:lnTo>
                  <a:pt x="118" y="492"/>
                </a:lnTo>
                <a:lnTo>
                  <a:pt x="107" y="488"/>
                </a:lnTo>
                <a:lnTo>
                  <a:pt x="97" y="484"/>
                </a:lnTo>
                <a:lnTo>
                  <a:pt x="88" y="479"/>
                </a:lnTo>
                <a:lnTo>
                  <a:pt x="79" y="472"/>
                </a:lnTo>
                <a:lnTo>
                  <a:pt x="71" y="466"/>
                </a:lnTo>
                <a:lnTo>
                  <a:pt x="63" y="458"/>
                </a:lnTo>
                <a:lnTo>
                  <a:pt x="56" y="451"/>
                </a:lnTo>
                <a:lnTo>
                  <a:pt x="50" y="442"/>
                </a:lnTo>
                <a:lnTo>
                  <a:pt x="44" y="433"/>
                </a:lnTo>
                <a:lnTo>
                  <a:pt x="40" y="423"/>
                </a:lnTo>
                <a:lnTo>
                  <a:pt x="36" y="412"/>
                </a:lnTo>
                <a:lnTo>
                  <a:pt x="33" y="402"/>
                </a:lnTo>
                <a:lnTo>
                  <a:pt x="31" y="391"/>
                </a:lnTo>
                <a:lnTo>
                  <a:pt x="270" y="391"/>
                </a:lnTo>
                <a:lnTo>
                  <a:pt x="268" y="402"/>
                </a:lnTo>
                <a:lnTo>
                  <a:pt x="266" y="412"/>
                </a:lnTo>
                <a:lnTo>
                  <a:pt x="261" y="423"/>
                </a:lnTo>
                <a:lnTo>
                  <a:pt x="257" y="433"/>
                </a:lnTo>
                <a:lnTo>
                  <a:pt x="252" y="442"/>
                </a:lnTo>
                <a:lnTo>
                  <a:pt x="245" y="451"/>
                </a:lnTo>
                <a:lnTo>
                  <a:pt x="238" y="458"/>
                </a:lnTo>
                <a:lnTo>
                  <a:pt x="230" y="466"/>
                </a:lnTo>
                <a:lnTo>
                  <a:pt x="222" y="472"/>
                </a:lnTo>
                <a:lnTo>
                  <a:pt x="213" y="479"/>
                </a:lnTo>
                <a:lnTo>
                  <a:pt x="204" y="484"/>
                </a:lnTo>
                <a:lnTo>
                  <a:pt x="194" y="488"/>
                </a:lnTo>
                <a:lnTo>
                  <a:pt x="183" y="492"/>
                </a:lnTo>
                <a:lnTo>
                  <a:pt x="172" y="495"/>
                </a:lnTo>
                <a:lnTo>
                  <a:pt x="162" y="496"/>
                </a:lnTo>
                <a:lnTo>
                  <a:pt x="151" y="497"/>
                </a:lnTo>
                <a:lnTo>
                  <a:pt x="151" y="496"/>
                </a:lnTo>
                <a:close/>
                <a:moveTo>
                  <a:pt x="887" y="361"/>
                </a:moveTo>
                <a:lnTo>
                  <a:pt x="883" y="361"/>
                </a:lnTo>
                <a:lnTo>
                  <a:pt x="774" y="91"/>
                </a:lnTo>
                <a:lnTo>
                  <a:pt x="812" y="91"/>
                </a:lnTo>
                <a:lnTo>
                  <a:pt x="815" y="90"/>
                </a:lnTo>
                <a:lnTo>
                  <a:pt x="818" y="89"/>
                </a:lnTo>
                <a:lnTo>
                  <a:pt x="821" y="88"/>
                </a:lnTo>
                <a:lnTo>
                  <a:pt x="823" y="86"/>
                </a:lnTo>
                <a:lnTo>
                  <a:pt x="825" y="84"/>
                </a:lnTo>
                <a:lnTo>
                  <a:pt x="826" y="81"/>
                </a:lnTo>
                <a:lnTo>
                  <a:pt x="827" y="78"/>
                </a:lnTo>
                <a:lnTo>
                  <a:pt x="827" y="76"/>
                </a:lnTo>
                <a:lnTo>
                  <a:pt x="827" y="73"/>
                </a:lnTo>
                <a:lnTo>
                  <a:pt x="826" y="70"/>
                </a:lnTo>
                <a:lnTo>
                  <a:pt x="825" y="67"/>
                </a:lnTo>
                <a:lnTo>
                  <a:pt x="823" y="65"/>
                </a:lnTo>
                <a:lnTo>
                  <a:pt x="821" y="63"/>
                </a:lnTo>
                <a:lnTo>
                  <a:pt x="818" y="62"/>
                </a:lnTo>
                <a:lnTo>
                  <a:pt x="815" y="61"/>
                </a:lnTo>
                <a:lnTo>
                  <a:pt x="812" y="61"/>
                </a:lnTo>
                <a:lnTo>
                  <a:pt x="510" y="60"/>
                </a:lnTo>
                <a:lnTo>
                  <a:pt x="509" y="55"/>
                </a:lnTo>
                <a:lnTo>
                  <a:pt x="507" y="48"/>
                </a:lnTo>
                <a:lnTo>
                  <a:pt x="503" y="42"/>
                </a:lnTo>
                <a:lnTo>
                  <a:pt x="500" y="36"/>
                </a:lnTo>
                <a:lnTo>
                  <a:pt x="493" y="27"/>
                </a:lnTo>
                <a:lnTo>
                  <a:pt x="484" y="17"/>
                </a:lnTo>
                <a:lnTo>
                  <a:pt x="479" y="14"/>
                </a:lnTo>
                <a:lnTo>
                  <a:pt x="473" y="11"/>
                </a:lnTo>
                <a:lnTo>
                  <a:pt x="468" y="8"/>
                </a:lnTo>
                <a:lnTo>
                  <a:pt x="462" y="5"/>
                </a:lnTo>
                <a:lnTo>
                  <a:pt x="456" y="3"/>
                </a:lnTo>
                <a:lnTo>
                  <a:pt x="450" y="1"/>
                </a:lnTo>
                <a:lnTo>
                  <a:pt x="443" y="1"/>
                </a:lnTo>
                <a:lnTo>
                  <a:pt x="436" y="0"/>
                </a:lnTo>
                <a:lnTo>
                  <a:pt x="430" y="1"/>
                </a:lnTo>
                <a:lnTo>
                  <a:pt x="423" y="1"/>
                </a:lnTo>
                <a:lnTo>
                  <a:pt x="417" y="3"/>
                </a:lnTo>
                <a:lnTo>
                  <a:pt x="410" y="5"/>
                </a:lnTo>
                <a:lnTo>
                  <a:pt x="405" y="8"/>
                </a:lnTo>
                <a:lnTo>
                  <a:pt x="398" y="11"/>
                </a:lnTo>
                <a:lnTo>
                  <a:pt x="393" y="14"/>
                </a:lnTo>
                <a:lnTo>
                  <a:pt x="389" y="17"/>
                </a:lnTo>
                <a:lnTo>
                  <a:pt x="379" y="27"/>
                </a:lnTo>
                <a:lnTo>
                  <a:pt x="372" y="36"/>
                </a:lnTo>
                <a:lnTo>
                  <a:pt x="368" y="42"/>
                </a:lnTo>
                <a:lnTo>
                  <a:pt x="366" y="48"/>
                </a:lnTo>
                <a:lnTo>
                  <a:pt x="364" y="55"/>
                </a:lnTo>
                <a:lnTo>
                  <a:pt x="362" y="61"/>
                </a:lnTo>
                <a:lnTo>
                  <a:pt x="90" y="60"/>
                </a:lnTo>
                <a:lnTo>
                  <a:pt x="88" y="61"/>
                </a:lnTo>
                <a:lnTo>
                  <a:pt x="85" y="62"/>
                </a:lnTo>
                <a:lnTo>
                  <a:pt x="82" y="63"/>
                </a:lnTo>
                <a:lnTo>
                  <a:pt x="80" y="65"/>
                </a:lnTo>
                <a:lnTo>
                  <a:pt x="78" y="67"/>
                </a:lnTo>
                <a:lnTo>
                  <a:pt x="77" y="70"/>
                </a:lnTo>
                <a:lnTo>
                  <a:pt x="76" y="73"/>
                </a:lnTo>
                <a:lnTo>
                  <a:pt x="75" y="76"/>
                </a:lnTo>
                <a:lnTo>
                  <a:pt x="76" y="78"/>
                </a:lnTo>
                <a:lnTo>
                  <a:pt x="77" y="81"/>
                </a:lnTo>
                <a:lnTo>
                  <a:pt x="78" y="84"/>
                </a:lnTo>
                <a:lnTo>
                  <a:pt x="80" y="86"/>
                </a:lnTo>
                <a:lnTo>
                  <a:pt x="82" y="88"/>
                </a:lnTo>
                <a:lnTo>
                  <a:pt x="85" y="89"/>
                </a:lnTo>
                <a:lnTo>
                  <a:pt x="88" y="90"/>
                </a:lnTo>
                <a:lnTo>
                  <a:pt x="90" y="91"/>
                </a:lnTo>
                <a:lnTo>
                  <a:pt x="129" y="91"/>
                </a:lnTo>
                <a:lnTo>
                  <a:pt x="20" y="361"/>
                </a:lnTo>
                <a:lnTo>
                  <a:pt x="15" y="361"/>
                </a:lnTo>
                <a:lnTo>
                  <a:pt x="12" y="361"/>
                </a:lnTo>
                <a:lnTo>
                  <a:pt x="10" y="362"/>
                </a:lnTo>
                <a:lnTo>
                  <a:pt x="6" y="364"/>
                </a:lnTo>
                <a:lnTo>
                  <a:pt x="4" y="365"/>
                </a:lnTo>
                <a:lnTo>
                  <a:pt x="3" y="367"/>
                </a:lnTo>
                <a:lnTo>
                  <a:pt x="1" y="371"/>
                </a:lnTo>
                <a:lnTo>
                  <a:pt x="1" y="373"/>
                </a:lnTo>
                <a:lnTo>
                  <a:pt x="0" y="376"/>
                </a:lnTo>
                <a:lnTo>
                  <a:pt x="1" y="392"/>
                </a:lnTo>
                <a:lnTo>
                  <a:pt x="3" y="406"/>
                </a:lnTo>
                <a:lnTo>
                  <a:pt x="7" y="421"/>
                </a:lnTo>
                <a:lnTo>
                  <a:pt x="12" y="435"/>
                </a:lnTo>
                <a:lnTo>
                  <a:pt x="18" y="448"/>
                </a:lnTo>
                <a:lnTo>
                  <a:pt x="26" y="461"/>
                </a:lnTo>
                <a:lnTo>
                  <a:pt x="34" y="471"/>
                </a:lnTo>
                <a:lnTo>
                  <a:pt x="44" y="482"/>
                </a:lnTo>
                <a:lnTo>
                  <a:pt x="55" y="492"/>
                </a:lnTo>
                <a:lnTo>
                  <a:pt x="66" y="501"/>
                </a:lnTo>
                <a:lnTo>
                  <a:pt x="79" y="509"/>
                </a:lnTo>
                <a:lnTo>
                  <a:pt x="92" y="515"/>
                </a:lnTo>
                <a:lnTo>
                  <a:pt x="106" y="520"/>
                </a:lnTo>
                <a:lnTo>
                  <a:pt x="120" y="524"/>
                </a:lnTo>
                <a:lnTo>
                  <a:pt x="135" y="526"/>
                </a:lnTo>
                <a:lnTo>
                  <a:pt x="151" y="527"/>
                </a:lnTo>
                <a:lnTo>
                  <a:pt x="166" y="526"/>
                </a:lnTo>
                <a:lnTo>
                  <a:pt x="181" y="524"/>
                </a:lnTo>
                <a:lnTo>
                  <a:pt x="195" y="520"/>
                </a:lnTo>
                <a:lnTo>
                  <a:pt x="209" y="514"/>
                </a:lnTo>
                <a:lnTo>
                  <a:pt x="222" y="509"/>
                </a:lnTo>
                <a:lnTo>
                  <a:pt x="235" y="501"/>
                </a:lnTo>
                <a:lnTo>
                  <a:pt x="246" y="492"/>
                </a:lnTo>
                <a:lnTo>
                  <a:pt x="257" y="482"/>
                </a:lnTo>
                <a:lnTo>
                  <a:pt x="267" y="471"/>
                </a:lnTo>
                <a:lnTo>
                  <a:pt x="275" y="461"/>
                </a:lnTo>
                <a:lnTo>
                  <a:pt x="283" y="448"/>
                </a:lnTo>
                <a:lnTo>
                  <a:pt x="289" y="435"/>
                </a:lnTo>
                <a:lnTo>
                  <a:pt x="295" y="421"/>
                </a:lnTo>
                <a:lnTo>
                  <a:pt x="298" y="406"/>
                </a:lnTo>
                <a:lnTo>
                  <a:pt x="300" y="392"/>
                </a:lnTo>
                <a:lnTo>
                  <a:pt x="301" y="376"/>
                </a:lnTo>
                <a:lnTo>
                  <a:pt x="301" y="373"/>
                </a:lnTo>
                <a:lnTo>
                  <a:pt x="300" y="371"/>
                </a:lnTo>
                <a:lnTo>
                  <a:pt x="299" y="367"/>
                </a:lnTo>
                <a:lnTo>
                  <a:pt x="297" y="365"/>
                </a:lnTo>
                <a:lnTo>
                  <a:pt x="295" y="364"/>
                </a:lnTo>
                <a:lnTo>
                  <a:pt x="291" y="362"/>
                </a:lnTo>
                <a:lnTo>
                  <a:pt x="289" y="361"/>
                </a:lnTo>
                <a:lnTo>
                  <a:pt x="286" y="361"/>
                </a:lnTo>
                <a:lnTo>
                  <a:pt x="281" y="361"/>
                </a:lnTo>
                <a:lnTo>
                  <a:pt x="172" y="91"/>
                </a:lnTo>
                <a:lnTo>
                  <a:pt x="362" y="91"/>
                </a:lnTo>
                <a:lnTo>
                  <a:pt x="365" y="102"/>
                </a:lnTo>
                <a:lnTo>
                  <a:pt x="371" y="111"/>
                </a:lnTo>
                <a:lnTo>
                  <a:pt x="376" y="120"/>
                </a:lnTo>
                <a:lnTo>
                  <a:pt x="383" y="129"/>
                </a:lnTo>
                <a:lnTo>
                  <a:pt x="391" y="136"/>
                </a:lnTo>
                <a:lnTo>
                  <a:pt x="401" y="141"/>
                </a:lnTo>
                <a:lnTo>
                  <a:pt x="410" y="146"/>
                </a:lnTo>
                <a:lnTo>
                  <a:pt x="421" y="149"/>
                </a:lnTo>
                <a:lnTo>
                  <a:pt x="421" y="662"/>
                </a:lnTo>
                <a:lnTo>
                  <a:pt x="316" y="662"/>
                </a:lnTo>
                <a:lnTo>
                  <a:pt x="313" y="662"/>
                </a:lnTo>
                <a:lnTo>
                  <a:pt x="311" y="663"/>
                </a:lnTo>
                <a:lnTo>
                  <a:pt x="307" y="664"/>
                </a:lnTo>
                <a:lnTo>
                  <a:pt x="305" y="666"/>
                </a:lnTo>
                <a:lnTo>
                  <a:pt x="303" y="668"/>
                </a:lnTo>
                <a:lnTo>
                  <a:pt x="302" y="671"/>
                </a:lnTo>
                <a:lnTo>
                  <a:pt x="301" y="674"/>
                </a:lnTo>
                <a:lnTo>
                  <a:pt x="301" y="677"/>
                </a:lnTo>
                <a:lnTo>
                  <a:pt x="301" y="680"/>
                </a:lnTo>
                <a:lnTo>
                  <a:pt x="302" y="682"/>
                </a:lnTo>
                <a:lnTo>
                  <a:pt x="303" y="686"/>
                </a:lnTo>
                <a:lnTo>
                  <a:pt x="305" y="688"/>
                </a:lnTo>
                <a:lnTo>
                  <a:pt x="307" y="690"/>
                </a:lnTo>
                <a:lnTo>
                  <a:pt x="311" y="691"/>
                </a:lnTo>
                <a:lnTo>
                  <a:pt x="313" y="692"/>
                </a:lnTo>
                <a:lnTo>
                  <a:pt x="316" y="692"/>
                </a:lnTo>
                <a:lnTo>
                  <a:pt x="587" y="692"/>
                </a:lnTo>
                <a:lnTo>
                  <a:pt x="589" y="692"/>
                </a:lnTo>
                <a:lnTo>
                  <a:pt x="592" y="691"/>
                </a:lnTo>
                <a:lnTo>
                  <a:pt x="595" y="689"/>
                </a:lnTo>
                <a:lnTo>
                  <a:pt x="598" y="688"/>
                </a:lnTo>
                <a:lnTo>
                  <a:pt x="599" y="686"/>
                </a:lnTo>
                <a:lnTo>
                  <a:pt x="601" y="682"/>
                </a:lnTo>
                <a:lnTo>
                  <a:pt x="601" y="680"/>
                </a:lnTo>
                <a:lnTo>
                  <a:pt x="602" y="677"/>
                </a:lnTo>
                <a:lnTo>
                  <a:pt x="601" y="674"/>
                </a:lnTo>
                <a:lnTo>
                  <a:pt x="601" y="671"/>
                </a:lnTo>
                <a:lnTo>
                  <a:pt x="599" y="668"/>
                </a:lnTo>
                <a:lnTo>
                  <a:pt x="598" y="666"/>
                </a:lnTo>
                <a:lnTo>
                  <a:pt x="595" y="664"/>
                </a:lnTo>
                <a:lnTo>
                  <a:pt x="592" y="663"/>
                </a:lnTo>
                <a:lnTo>
                  <a:pt x="589" y="662"/>
                </a:lnTo>
                <a:lnTo>
                  <a:pt x="587" y="662"/>
                </a:lnTo>
                <a:lnTo>
                  <a:pt x="451" y="662"/>
                </a:lnTo>
                <a:lnTo>
                  <a:pt x="451" y="149"/>
                </a:lnTo>
                <a:lnTo>
                  <a:pt x="462" y="146"/>
                </a:lnTo>
                <a:lnTo>
                  <a:pt x="472" y="141"/>
                </a:lnTo>
                <a:lnTo>
                  <a:pt x="481" y="136"/>
                </a:lnTo>
                <a:lnTo>
                  <a:pt x="490" y="129"/>
                </a:lnTo>
                <a:lnTo>
                  <a:pt x="496" y="120"/>
                </a:lnTo>
                <a:lnTo>
                  <a:pt x="502" y="111"/>
                </a:lnTo>
                <a:lnTo>
                  <a:pt x="507" y="102"/>
                </a:lnTo>
                <a:lnTo>
                  <a:pt x="510" y="91"/>
                </a:lnTo>
                <a:lnTo>
                  <a:pt x="730" y="91"/>
                </a:lnTo>
                <a:lnTo>
                  <a:pt x="621" y="361"/>
                </a:lnTo>
                <a:lnTo>
                  <a:pt x="617" y="361"/>
                </a:lnTo>
                <a:lnTo>
                  <a:pt x="614" y="361"/>
                </a:lnTo>
                <a:lnTo>
                  <a:pt x="611" y="362"/>
                </a:lnTo>
                <a:lnTo>
                  <a:pt x="608" y="364"/>
                </a:lnTo>
                <a:lnTo>
                  <a:pt x="606" y="365"/>
                </a:lnTo>
                <a:lnTo>
                  <a:pt x="604" y="367"/>
                </a:lnTo>
                <a:lnTo>
                  <a:pt x="603" y="371"/>
                </a:lnTo>
                <a:lnTo>
                  <a:pt x="602" y="373"/>
                </a:lnTo>
                <a:lnTo>
                  <a:pt x="602" y="376"/>
                </a:lnTo>
                <a:lnTo>
                  <a:pt x="602" y="392"/>
                </a:lnTo>
                <a:lnTo>
                  <a:pt x="605" y="406"/>
                </a:lnTo>
                <a:lnTo>
                  <a:pt x="608" y="421"/>
                </a:lnTo>
                <a:lnTo>
                  <a:pt x="614" y="435"/>
                </a:lnTo>
                <a:lnTo>
                  <a:pt x="620" y="448"/>
                </a:lnTo>
                <a:lnTo>
                  <a:pt x="628" y="461"/>
                </a:lnTo>
                <a:lnTo>
                  <a:pt x="636" y="471"/>
                </a:lnTo>
                <a:lnTo>
                  <a:pt x="646" y="482"/>
                </a:lnTo>
                <a:lnTo>
                  <a:pt x="657" y="492"/>
                </a:lnTo>
                <a:lnTo>
                  <a:pt x="668" y="501"/>
                </a:lnTo>
                <a:lnTo>
                  <a:pt x="680" y="509"/>
                </a:lnTo>
                <a:lnTo>
                  <a:pt x="693" y="515"/>
                </a:lnTo>
                <a:lnTo>
                  <a:pt x="707" y="520"/>
                </a:lnTo>
                <a:lnTo>
                  <a:pt x="722" y="524"/>
                </a:lnTo>
                <a:lnTo>
                  <a:pt x="737" y="526"/>
                </a:lnTo>
                <a:lnTo>
                  <a:pt x="752" y="527"/>
                </a:lnTo>
                <a:lnTo>
                  <a:pt x="767" y="526"/>
                </a:lnTo>
                <a:lnTo>
                  <a:pt x="782" y="524"/>
                </a:lnTo>
                <a:lnTo>
                  <a:pt x="797" y="520"/>
                </a:lnTo>
                <a:lnTo>
                  <a:pt x="811" y="514"/>
                </a:lnTo>
                <a:lnTo>
                  <a:pt x="824" y="509"/>
                </a:lnTo>
                <a:lnTo>
                  <a:pt x="836" y="501"/>
                </a:lnTo>
                <a:lnTo>
                  <a:pt x="847" y="492"/>
                </a:lnTo>
                <a:lnTo>
                  <a:pt x="858" y="482"/>
                </a:lnTo>
                <a:lnTo>
                  <a:pt x="868" y="471"/>
                </a:lnTo>
                <a:lnTo>
                  <a:pt x="876" y="461"/>
                </a:lnTo>
                <a:lnTo>
                  <a:pt x="884" y="448"/>
                </a:lnTo>
                <a:lnTo>
                  <a:pt x="890" y="435"/>
                </a:lnTo>
                <a:lnTo>
                  <a:pt x="896" y="421"/>
                </a:lnTo>
                <a:lnTo>
                  <a:pt x="899" y="406"/>
                </a:lnTo>
                <a:lnTo>
                  <a:pt x="902" y="392"/>
                </a:lnTo>
                <a:lnTo>
                  <a:pt x="902" y="376"/>
                </a:lnTo>
                <a:lnTo>
                  <a:pt x="902" y="373"/>
                </a:lnTo>
                <a:lnTo>
                  <a:pt x="901" y="371"/>
                </a:lnTo>
                <a:lnTo>
                  <a:pt x="900" y="367"/>
                </a:lnTo>
                <a:lnTo>
                  <a:pt x="898" y="365"/>
                </a:lnTo>
                <a:lnTo>
                  <a:pt x="896" y="364"/>
                </a:lnTo>
                <a:lnTo>
                  <a:pt x="893" y="362"/>
                </a:lnTo>
                <a:lnTo>
                  <a:pt x="890" y="361"/>
                </a:lnTo>
                <a:lnTo>
                  <a:pt x="887" y="361"/>
                </a:lnTo>
                <a:lnTo>
                  <a:pt x="887" y="36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nvGrpSpPr>
          <p:cNvPr id="692" name="Group 99">
            <a:extLst>
              <a:ext uri="{FF2B5EF4-FFF2-40B4-BE49-F238E27FC236}">
                <a16:creationId xmlns:a16="http://schemas.microsoft.com/office/drawing/2014/main" id="{9276C28C-493E-42C3-B8AB-8A434650004B}"/>
              </a:ext>
            </a:extLst>
          </p:cNvPr>
          <p:cNvGrpSpPr>
            <a:grpSpLocks noChangeAspect="1"/>
          </p:cNvGrpSpPr>
          <p:nvPr/>
        </p:nvGrpSpPr>
        <p:grpSpPr>
          <a:xfrm>
            <a:off x="2308116" y="4910563"/>
            <a:ext cx="298342" cy="245099"/>
            <a:chOff x="942313" y="4492886"/>
            <a:chExt cx="652820" cy="536315"/>
          </a:xfrm>
          <a:solidFill>
            <a:schemeClr val="bg1"/>
          </a:solidFill>
          <a:effectLst/>
        </p:grpSpPr>
        <p:grpSp>
          <p:nvGrpSpPr>
            <p:cNvPr id="693" name="Group 100">
              <a:extLst>
                <a:ext uri="{FF2B5EF4-FFF2-40B4-BE49-F238E27FC236}">
                  <a16:creationId xmlns:a16="http://schemas.microsoft.com/office/drawing/2014/main" id="{E2BDA08D-3583-40A9-8018-8F86C6BBB67C}"/>
                </a:ext>
              </a:extLst>
            </p:cNvPr>
            <p:cNvGrpSpPr/>
            <p:nvPr/>
          </p:nvGrpSpPr>
          <p:grpSpPr>
            <a:xfrm rot="900000">
              <a:off x="970691" y="4492886"/>
              <a:ext cx="624442" cy="371486"/>
              <a:chOff x="942313" y="4466913"/>
              <a:chExt cx="624442" cy="371486"/>
            </a:xfrm>
            <a:grpFill/>
          </p:grpSpPr>
          <p:sp>
            <p:nvSpPr>
              <p:cNvPr id="696" name="Freeform 16">
                <a:extLst>
                  <a:ext uri="{FF2B5EF4-FFF2-40B4-BE49-F238E27FC236}">
                    <a16:creationId xmlns:a16="http://schemas.microsoft.com/office/drawing/2014/main" id="{EEC0E791-635C-4923-8855-EA5FEA35F975}"/>
                  </a:ext>
                </a:extLst>
              </p:cNvPr>
              <p:cNvSpPr>
                <a:spLocks noEditPoints="1"/>
              </p:cNvSpPr>
              <p:nvPr/>
            </p:nvSpPr>
            <p:spPr bwMode="auto">
              <a:xfrm>
                <a:off x="942313" y="4466913"/>
                <a:ext cx="414127" cy="371486"/>
              </a:xfrm>
              <a:custGeom>
                <a:avLst/>
                <a:gdLst>
                  <a:gd name="T0" fmla="*/ 545 w 573"/>
                  <a:gd name="T1" fmla="*/ 473 h 514"/>
                  <a:gd name="T2" fmla="*/ 543 w 573"/>
                  <a:gd name="T3" fmla="*/ 478 h 514"/>
                  <a:gd name="T4" fmla="*/ 540 w 573"/>
                  <a:gd name="T5" fmla="*/ 483 h 514"/>
                  <a:gd name="T6" fmla="*/ 535 w 573"/>
                  <a:gd name="T7" fmla="*/ 485 h 514"/>
                  <a:gd name="T8" fmla="*/ 43 w 573"/>
                  <a:gd name="T9" fmla="*/ 485 h 514"/>
                  <a:gd name="T10" fmla="*/ 38 w 573"/>
                  <a:gd name="T11" fmla="*/ 483 h 514"/>
                  <a:gd name="T12" fmla="*/ 33 w 573"/>
                  <a:gd name="T13" fmla="*/ 481 h 514"/>
                  <a:gd name="T14" fmla="*/ 31 w 573"/>
                  <a:gd name="T15" fmla="*/ 476 h 514"/>
                  <a:gd name="T16" fmla="*/ 29 w 573"/>
                  <a:gd name="T17" fmla="*/ 471 h 514"/>
                  <a:gd name="T18" fmla="*/ 29 w 573"/>
                  <a:gd name="T19" fmla="*/ 40 h 514"/>
                  <a:gd name="T20" fmla="*/ 31 w 573"/>
                  <a:gd name="T21" fmla="*/ 35 h 514"/>
                  <a:gd name="T22" fmla="*/ 36 w 573"/>
                  <a:gd name="T23" fmla="*/ 33 h 514"/>
                  <a:gd name="T24" fmla="*/ 41 w 573"/>
                  <a:gd name="T25" fmla="*/ 28 h 514"/>
                  <a:gd name="T26" fmla="*/ 531 w 573"/>
                  <a:gd name="T27" fmla="*/ 28 h 514"/>
                  <a:gd name="T28" fmla="*/ 535 w 573"/>
                  <a:gd name="T29" fmla="*/ 28 h 514"/>
                  <a:gd name="T30" fmla="*/ 540 w 573"/>
                  <a:gd name="T31" fmla="*/ 33 h 514"/>
                  <a:gd name="T32" fmla="*/ 545 w 573"/>
                  <a:gd name="T33" fmla="*/ 38 h 514"/>
                  <a:gd name="T34" fmla="*/ 545 w 573"/>
                  <a:gd name="T35" fmla="*/ 42 h 514"/>
                  <a:gd name="T36" fmla="*/ 545 w 573"/>
                  <a:gd name="T37" fmla="*/ 471 h 514"/>
                  <a:gd name="T38" fmla="*/ 531 w 573"/>
                  <a:gd name="T39" fmla="*/ 0 h 514"/>
                  <a:gd name="T40" fmla="*/ 36 w 573"/>
                  <a:gd name="T41" fmla="*/ 2 h 514"/>
                  <a:gd name="T42" fmla="*/ 19 w 573"/>
                  <a:gd name="T43" fmla="*/ 7 h 514"/>
                  <a:gd name="T44" fmla="*/ 7 w 573"/>
                  <a:gd name="T45" fmla="*/ 19 h 514"/>
                  <a:gd name="T46" fmla="*/ 0 w 573"/>
                  <a:gd name="T47" fmla="*/ 35 h 514"/>
                  <a:gd name="T48" fmla="*/ 0 w 573"/>
                  <a:gd name="T49" fmla="*/ 471 h 514"/>
                  <a:gd name="T50" fmla="*/ 5 w 573"/>
                  <a:gd name="T51" fmla="*/ 488 h 514"/>
                  <a:gd name="T52" fmla="*/ 12 w 573"/>
                  <a:gd name="T53" fmla="*/ 502 h 514"/>
                  <a:gd name="T54" fmla="*/ 26 w 573"/>
                  <a:gd name="T55" fmla="*/ 509 h 514"/>
                  <a:gd name="T56" fmla="*/ 43 w 573"/>
                  <a:gd name="T57" fmla="*/ 514 h 514"/>
                  <a:gd name="T58" fmla="*/ 540 w 573"/>
                  <a:gd name="T59" fmla="*/ 514 h 514"/>
                  <a:gd name="T60" fmla="*/ 554 w 573"/>
                  <a:gd name="T61" fmla="*/ 507 h 514"/>
                  <a:gd name="T62" fmla="*/ 566 w 573"/>
                  <a:gd name="T63" fmla="*/ 495 h 514"/>
                  <a:gd name="T64" fmla="*/ 573 w 573"/>
                  <a:gd name="T65" fmla="*/ 478 h 514"/>
                  <a:gd name="T66" fmla="*/ 573 w 573"/>
                  <a:gd name="T67" fmla="*/ 42 h 514"/>
                  <a:gd name="T68" fmla="*/ 571 w 573"/>
                  <a:gd name="T69" fmla="*/ 26 h 514"/>
                  <a:gd name="T70" fmla="*/ 562 w 573"/>
                  <a:gd name="T71" fmla="*/ 14 h 514"/>
                  <a:gd name="T72" fmla="*/ 547 w 573"/>
                  <a:gd name="T73" fmla="*/ 4 h 514"/>
                  <a:gd name="T74" fmla="*/ 531 w 573"/>
                  <a:gd name="T75" fmla="*/ 0 h 514"/>
                  <a:gd name="T76" fmla="*/ 531 w 573"/>
                  <a:gd name="T77"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3" h="514">
                    <a:moveTo>
                      <a:pt x="545" y="471"/>
                    </a:moveTo>
                    <a:lnTo>
                      <a:pt x="545" y="473"/>
                    </a:lnTo>
                    <a:lnTo>
                      <a:pt x="545" y="476"/>
                    </a:lnTo>
                    <a:lnTo>
                      <a:pt x="543" y="478"/>
                    </a:lnTo>
                    <a:lnTo>
                      <a:pt x="540" y="481"/>
                    </a:lnTo>
                    <a:lnTo>
                      <a:pt x="540" y="483"/>
                    </a:lnTo>
                    <a:lnTo>
                      <a:pt x="535" y="485"/>
                    </a:lnTo>
                    <a:lnTo>
                      <a:pt x="535" y="485"/>
                    </a:lnTo>
                    <a:lnTo>
                      <a:pt x="531" y="485"/>
                    </a:lnTo>
                    <a:lnTo>
                      <a:pt x="43" y="485"/>
                    </a:lnTo>
                    <a:lnTo>
                      <a:pt x="41" y="485"/>
                    </a:lnTo>
                    <a:lnTo>
                      <a:pt x="38" y="483"/>
                    </a:lnTo>
                    <a:lnTo>
                      <a:pt x="36" y="483"/>
                    </a:lnTo>
                    <a:lnTo>
                      <a:pt x="33" y="481"/>
                    </a:lnTo>
                    <a:lnTo>
                      <a:pt x="31" y="478"/>
                    </a:lnTo>
                    <a:lnTo>
                      <a:pt x="31" y="476"/>
                    </a:lnTo>
                    <a:lnTo>
                      <a:pt x="29" y="473"/>
                    </a:lnTo>
                    <a:lnTo>
                      <a:pt x="29" y="471"/>
                    </a:lnTo>
                    <a:lnTo>
                      <a:pt x="29" y="42"/>
                    </a:lnTo>
                    <a:lnTo>
                      <a:pt x="29" y="40"/>
                    </a:lnTo>
                    <a:lnTo>
                      <a:pt x="31" y="38"/>
                    </a:lnTo>
                    <a:lnTo>
                      <a:pt x="31" y="35"/>
                    </a:lnTo>
                    <a:lnTo>
                      <a:pt x="33" y="33"/>
                    </a:lnTo>
                    <a:lnTo>
                      <a:pt x="36" y="33"/>
                    </a:lnTo>
                    <a:lnTo>
                      <a:pt x="38" y="28"/>
                    </a:lnTo>
                    <a:lnTo>
                      <a:pt x="41" y="28"/>
                    </a:lnTo>
                    <a:lnTo>
                      <a:pt x="43" y="28"/>
                    </a:lnTo>
                    <a:lnTo>
                      <a:pt x="531" y="28"/>
                    </a:lnTo>
                    <a:lnTo>
                      <a:pt x="535" y="28"/>
                    </a:lnTo>
                    <a:lnTo>
                      <a:pt x="535" y="28"/>
                    </a:lnTo>
                    <a:lnTo>
                      <a:pt x="540" y="33"/>
                    </a:lnTo>
                    <a:lnTo>
                      <a:pt x="540" y="33"/>
                    </a:lnTo>
                    <a:lnTo>
                      <a:pt x="543" y="35"/>
                    </a:lnTo>
                    <a:lnTo>
                      <a:pt x="545" y="38"/>
                    </a:lnTo>
                    <a:lnTo>
                      <a:pt x="545" y="40"/>
                    </a:lnTo>
                    <a:lnTo>
                      <a:pt x="545" y="42"/>
                    </a:lnTo>
                    <a:lnTo>
                      <a:pt x="545" y="471"/>
                    </a:lnTo>
                    <a:lnTo>
                      <a:pt x="545" y="471"/>
                    </a:lnTo>
                    <a:lnTo>
                      <a:pt x="545" y="471"/>
                    </a:lnTo>
                    <a:close/>
                    <a:moveTo>
                      <a:pt x="531" y="0"/>
                    </a:moveTo>
                    <a:lnTo>
                      <a:pt x="43" y="0"/>
                    </a:lnTo>
                    <a:lnTo>
                      <a:pt x="36" y="2"/>
                    </a:lnTo>
                    <a:lnTo>
                      <a:pt x="26" y="4"/>
                    </a:lnTo>
                    <a:lnTo>
                      <a:pt x="19" y="7"/>
                    </a:lnTo>
                    <a:lnTo>
                      <a:pt x="12" y="14"/>
                    </a:lnTo>
                    <a:lnTo>
                      <a:pt x="7" y="19"/>
                    </a:lnTo>
                    <a:lnTo>
                      <a:pt x="5" y="26"/>
                    </a:lnTo>
                    <a:lnTo>
                      <a:pt x="0" y="35"/>
                    </a:lnTo>
                    <a:lnTo>
                      <a:pt x="0" y="42"/>
                    </a:lnTo>
                    <a:lnTo>
                      <a:pt x="0" y="471"/>
                    </a:lnTo>
                    <a:lnTo>
                      <a:pt x="0" y="478"/>
                    </a:lnTo>
                    <a:lnTo>
                      <a:pt x="5" y="488"/>
                    </a:lnTo>
                    <a:lnTo>
                      <a:pt x="7" y="495"/>
                    </a:lnTo>
                    <a:lnTo>
                      <a:pt x="12" y="502"/>
                    </a:lnTo>
                    <a:lnTo>
                      <a:pt x="19" y="507"/>
                    </a:lnTo>
                    <a:lnTo>
                      <a:pt x="26" y="509"/>
                    </a:lnTo>
                    <a:lnTo>
                      <a:pt x="36" y="514"/>
                    </a:lnTo>
                    <a:lnTo>
                      <a:pt x="43" y="514"/>
                    </a:lnTo>
                    <a:lnTo>
                      <a:pt x="531" y="514"/>
                    </a:lnTo>
                    <a:lnTo>
                      <a:pt x="540" y="514"/>
                    </a:lnTo>
                    <a:lnTo>
                      <a:pt x="547" y="509"/>
                    </a:lnTo>
                    <a:lnTo>
                      <a:pt x="554" y="507"/>
                    </a:lnTo>
                    <a:lnTo>
                      <a:pt x="562" y="502"/>
                    </a:lnTo>
                    <a:lnTo>
                      <a:pt x="566" y="495"/>
                    </a:lnTo>
                    <a:lnTo>
                      <a:pt x="571" y="488"/>
                    </a:lnTo>
                    <a:lnTo>
                      <a:pt x="573" y="478"/>
                    </a:lnTo>
                    <a:lnTo>
                      <a:pt x="573" y="471"/>
                    </a:lnTo>
                    <a:lnTo>
                      <a:pt x="573" y="42"/>
                    </a:lnTo>
                    <a:lnTo>
                      <a:pt x="573" y="35"/>
                    </a:lnTo>
                    <a:lnTo>
                      <a:pt x="571" y="26"/>
                    </a:lnTo>
                    <a:lnTo>
                      <a:pt x="566" y="19"/>
                    </a:lnTo>
                    <a:lnTo>
                      <a:pt x="562" y="14"/>
                    </a:lnTo>
                    <a:lnTo>
                      <a:pt x="554" y="7"/>
                    </a:lnTo>
                    <a:lnTo>
                      <a:pt x="547" y="4"/>
                    </a:lnTo>
                    <a:lnTo>
                      <a:pt x="540" y="2"/>
                    </a:lnTo>
                    <a:lnTo>
                      <a:pt x="531" y="0"/>
                    </a:lnTo>
                    <a:lnTo>
                      <a:pt x="531" y="0"/>
                    </a:lnTo>
                    <a:lnTo>
                      <a:pt x="53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7" name="Freeform 17">
                <a:extLst>
                  <a:ext uri="{FF2B5EF4-FFF2-40B4-BE49-F238E27FC236}">
                    <a16:creationId xmlns:a16="http://schemas.microsoft.com/office/drawing/2014/main" id="{BADB6BC8-A60B-4E12-A939-EF13980AC7DE}"/>
                  </a:ext>
                </a:extLst>
              </p:cNvPr>
              <p:cNvSpPr>
                <a:spLocks noEditPoints="1"/>
              </p:cNvSpPr>
              <p:nvPr/>
            </p:nvSpPr>
            <p:spPr bwMode="auto">
              <a:xfrm>
                <a:off x="1377399" y="4495822"/>
                <a:ext cx="189356" cy="323785"/>
              </a:xfrm>
              <a:custGeom>
                <a:avLst/>
                <a:gdLst>
                  <a:gd name="T0" fmla="*/ 231 w 262"/>
                  <a:gd name="T1" fmla="*/ 410 h 448"/>
                  <a:gd name="T2" fmla="*/ 29 w 262"/>
                  <a:gd name="T3" fmla="*/ 307 h 448"/>
                  <a:gd name="T4" fmla="*/ 29 w 262"/>
                  <a:gd name="T5" fmla="*/ 141 h 448"/>
                  <a:gd name="T6" fmla="*/ 231 w 262"/>
                  <a:gd name="T7" fmla="*/ 38 h 448"/>
                  <a:gd name="T8" fmla="*/ 231 w 262"/>
                  <a:gd name="T9" fmla="*/ 410 h 448"/>
                  <a:gd name="T10" fmla="*/ 231 w 262"/>
                  <a:gd name="T11" fmla="*/ 410 h 448"/>
                  <a:gd name="T12" fmla="*/ 231 w 262"/>
                  <a:gd name="T13" fmla="*/ 410 h 448"/>
                  <a:gd name="T14" fmla="*/ 259 w 262"/>
                  <a:gd name="T15" fmla="*/ 438 h 448"/>
                  <a:gd name="T16" fmla="*/ 262 w 262"/>
                  <a:gd name="T17" fmla="*/ 436 h 448"/>
                  <a:gd name="T18" fmla="*/ 262 w 262"/>
                  <a:gd name="T19" fmla="*/ 433 h 448"/>
                  <a:gd name="T20" fmla="*/ 262 w 262"/>
                  <a:gd name="T21" fmla="*/ 14 h 448"/>
                  <a:gd name="T22" fmla="*/ 262 w 262"/>
                  <a:gd name="T23" fmla="*/ 12 h 448"/>
                  <a:gd name="T24" fmla="*/ 259 w 262"/>
                  <a:gd name="T25" fmla="*/ 10 h 448"/>
                  <a:gd name="T26" fmla="*/ 257 w 262"/>
                  <a:gd name="T27" fmla="*/ 7 h 448"/>
                  <a:gd name="T28" fmla="*/ 252 w 262"/>
                  <a:gd name="T29" fmla="*/ 5 h 448"/>
                  <a:gd name="T30" fmla="*/ 252 w 262"/>
                  <a:gd name="T31" fmla="*/ 5 h 448"/>
                  <a:gd name="T32" fmla="*/ 252 w 262"/>
                  <a:gd name="T33" fmla="*/ 5 h 448"/>
                  <a:gd name="T34" fmla="*/ 250 w 262"/>
                  <a:gd name="T35" fmla="*/ 2 h 448"/>
                  <a:gd name="T36" fmla="*/ 247 w 262"/>
                  <a:gd name="T37" fmla="*/ 0 h 448"/>
                  <a:gd name="T38" fmla="*/ 243 w 262"/>
                  <a:gd name="T39" fmla="*/ 2 h 448"/>
                  <a:gd name="T40" fmla="*/ 240 w 262"/>
                  <a:gd name="T41" fmla="*/ 5 h 448"/>
                  <a:gd name="T42" fmla="*/ 7 w 262"/>
                  <a:gd name="T43" fmla="*/ 119 h 448"/>
                  <a:gd name="T44" fmla="*/ 5 w 262"/>
                  <a:gd name="T45" fmla="*/ 122 h 448"/>
                  <a:gd name="T46" fmla="*/ 0 w 262"/>
                  <a:gd name="T47" fmla="*/ 124 h 448"/>
                  <a:gd name="T48" fmla="*/ 0 w 262"/>
                  <a:gd name="T49" fmla="*/ 129 h 448"/>
                  <a:gd name="T50" fmla="*/ 0 w 262"/>
                  <a:gd name="T51" fmla="*/ 131 h 448"/>
                  <a:gd name="T52" fmla="*/ 0 w 262"/>
                  <a:gd name="T53" fmla="*/ 317 h 448"/>
                  <a:gd name="T54" fmla="*/ 0 w 262"/>
                  <a:gd name="T55" fmla="*/ 322 h 448"/>
                  <a:gd name="T56" fmla="*/ 0 w 262"/>
                  <a:gd name="T57" fmla="*/ 324 h 448"/>
                  <a:gd name="T58" fmla="*/ 5 w 262"/>
                  <a:gd name="T59" fmla="*/ 329 h 448"/>
                  <a:gd name="T60" fmla="*/ 7 w 262"/>
                  <a:gd name="T61" fmla="*/ 331 h 448"/>
                  <a:gd name="T62" fmla="*/ 240 w 262"/>
                  <a:gd name="T63" fmla="*/ 445 h 448"/>
                  <a:gd name="T64" fmla="*/ 243 w 262"/>
                  <a:gd name="T65" fmla="*/ 445 h 448"/>
                  <a:gd name="T66" fmla="*/ 247 w 262"/>
                  <a:gd name="T67" fmla="*/ 448 h 448"/>
                  <a:gd name="T68" fmla="*/ 250 w 262"/>
                  <a:gd name="T69" fmla="*/ 445 h 448"/>
                  <a:gd name="T70" fmla="*/ 252 w 262"/>
                  <a:gd name="T71" fmla="*/ 445 h 448"/>
                  <a:gd name="T72" fmla="*/ 259 w 262"/>
                  <a:gd name="T73" fmla="*/ 43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448">
                    <a:moveTo>
                      <a:pt x="231" y="410"/>
                    </a:moveTo>
                    <a:lnTo>
                      <a:pt x="29" y="307"/>
                    </a:lnTo>
                    <a:lnTo>
                      <a:pt x="29" y="141"/>
                    </a:lnTo>
                    <a:lnTo>
                      <a:pt x="231" y="38"/>
                    </a:lnTo>
                    <a:lnTo>
                      <a:pt x="231" y="410"/>
                    </a:lnTo>
                    <a:lnTo>
                      <a:pt x="231" y="410"/>
                    </a:lnTo>
                    <a:lnTo>
                      <a:pt x="231" y="410"/>
                    </a:lnTo>
                    <a:close/>
                    <a:moveTo>
                      <a:pt x="259" y="438"/>
                    </a:moveTo>
                    <a:lnTo>
                      <a:pt x="262" y="436"/>
                    </a:lnTo>
                    <a:lnTo>
                      <a:pt x="262" y="433"/>
                    </a:lnTo>
                    <a:lnTo>
                      <a:pt x="262" y="14"/>
                    </a:lnTo>
                    <a:lnTo>
                      <a:pt x="262" y="12"/>
                    </a:lnTo>
                    <a:lnTo>
                      <a:pt x="259" y="10"/>
                    </a:lnTo>
                    <a:lnTo>
                      <a:pt x="257" y="7"/>
                    </a:lnTo>
                    <a:lnTo>
                      <a:pt x="252" y="5"/>
                    </a:lnTo>
                    <a:lnTo>
                      <a:pt x="252" y="5"/>
                    </a:lnTo>
                    <a:lnTo>
                      <a:pt x="252" y="5"/>
                    </a:lnTo>
                    <a:lnTo>
                      <a:pt x="250" y="2"/>
                    </a:lnTo>
                    <a:lnTo>
                      <a:pt x="247" y="0"/>
                    </a:lnTo>
                    <a:lnTo>
                      <a:pt x="243" y="2"/>
                    </a:lnTo>
                    <a:lnTo>
                      <a:pt x="240" y="5"/>
                    </a:lnTo>
                    <a:lnTo>
                      <a:pt x="7" y="119"/>
                    </a:lnTo>
                    <a:lnTo>
                      <a:pt x="5" y="122"/>
                    </a:lnTo>
                    <a:lnTo>
                      <a:pt x="0" y="124"/>
                    </a:lnTo>
                    <a:lnTo>
                      <a:pt x="0" y="129"/>
                    </a:lnTo>
                    <a:lnTo>
                      <a:pt x="0" y="131"/>
                    </a:lnTo>
                    <a:lnTo>
                      <a:pt x="0" y="317"/>
                    </a:lnTo>
                    <a:lnTo>
                      <a:pt x="0" y="322"/>
                    </a:lnTo>
                    <a:lnTo>
                      <a:pt x="0" y="324"/>
                    </a:lnTo>
                    <a:lnTo>
                      <a:pt x="5" y="329"/>
                    </a:lnTo>
                    <a:lnTo>
                      <a:pt x="7" y="331"/>
                    </a:lnTo>
                    <a:lnTo>
                      <a:pt x="240" y="445"/>
                    </a:lnTo>
                    <a:lnTo>
                      <a:pt x="243" y="445"/>
                    </a:lnTo>
                    <a:lnTo>
                      <a:pt x="247" y="448"/>
                    </a:lnTo>
                    <a:lnTo>
                      <a:pt x="250" y="445"/>
                    </a:lnTo>
                    <a:lnTo>
                      <a:pt x="252" y="445"/>
                    </a:lnTo>
                    <a:lnTo>
                      <a:pt x="259" y="4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sp>
          <p:nvSpPr>
            <p:cNvPr id="694" name="Freeform 19">
              <a:extLst>
                <a:ext uri="{FF2B5EF4-FFF2-40B4-BE49-F238E27FC236}">
                  <a16:creationId xmlns:a16="http://schemas.microsoft.com/office/drawing/2014/main" id="{12B3B138-01B9-4EB7-9528-B5FEF836C5FA}"/>
                </a:ext>
              </a:extLst>
            </p:cNvPr>
            <p:cNvSpPr>
              <a:spLocks/>
            </p:cNvSpPr>
            <p:nvPr/>
          </p:nvSpPr>
          <p:spPr bwMode="auto">
            <a:xfrm>
              <a:off x="942313" y="4838399"/>
              <a:ext cx="206702" cy="125756"/>
            </a:xfrm>
            <a:custGeom>
              <a:avLst/>
              <a:gdLst>
                <a:gd name="T0" fmla="*/ 286 w 286"/>
                <a:gd name="T1" fmla="*/ 0 h 174"/>
                <a:gd name="T2" fmla="*/ 233 w 286"/>
                <a:gd name="T3" fmla="*/ 174 h 174"/>
                <a:gd name="T4" fmla="*/ 0 w 286"/>
                <a:gd name="T5" fmla="*/ 174 h 174"/>
              </a:gdLst>
              <a:ahLst/>
              <a:cxnLst>
                <a:cxn ang="0">
                  <a:pos x="T0" y="T1"/>
                </a:cxn>
                <a:cxn ang="0">
                  <a:pos x="T2" y="T3"/>
                </a:cxn>
                <a:cxn ang="0">
                  <a:pos x="T4" y="T5"/>
                </a:cxn>
              </a:cxnLst>
              <a:rect l="0" t="0" r="r" b="b"/>
              <a:pathLst>
                <a:path w="286" h="174">
                  <a:moveTo>
                    <a:pt x="286" y="0"/>
                  </a:moveTo>
                  <a:lnTo>
                    <a:pt x="233" y="174"/>
                  </a:lnTo>
                  <a:lnTo>
                    <a:pt x="0" y="174"/>
                  </a:lnTo>
                </a:path>
              </a:pathLst>
            </a:custGeom>
            <a:grpFill/>
            <a:ln w="254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sp>
          <p:nvSpPr>
            <p:cNvPr id="695" name="Line 20">
              <a:extLst>
                <a:ext uri="{FF2B5EF4-FFF2-40B4-BE49-F238E27FC236}">
                  <a16:creationId xmlns:a16="http://schemas.microsoft.com/office/drawing/2014/main" id="{AE826A92-BA0E-4B41-B7EE-E8412A3A9DAF}"/>
                </a:ext>
              </a:extLst>
            </p:cNvPr>
            <p:cNvSpPr>
              <a:spLocks noChangeShapeType="1"/>
            </p:cNvSpPr>
            <p:nvPr/>
          </p:nvSpPr>
          <p:spPr bwMode="auto">
            <a:xfrm>
              <a:off x="942313" y="4902000"/>
              <a:ext cx="0" cy="127201"/>
            </a:xfrm>
            <a:prstGeom prst="line">
              <a:avLst/>
            </a:prstGeom>
            <a:grpFill/>
            <a:ln w="508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Calibri"/>
              </a:endParaRPr>
            </a:p>
          </p:txBody>
        </p:sp>
      </p:grpSp>
      <p:grpSp>
        <p:nvGrpSpPr>
          <p:cNvPr id="711" name="Group 27">
            <a:extLst>
              <a:ext uri="{FF2B5EF4-FFF2-40B4-BE49-F238E27FC236}">
                <a16:creationId xmlns:a16="http://schemas.microsoft.com/office/drawing/2014/main" id="{C4543477-51DE-41F1-BD2A-5371AE2A8618}"/>
              </a:ext>
            </a:extLst>
          </p:cNvPr>
          <p:cNvGrpSpPr>
            <a:grpSpLocks noChangeAspect="1"/>
          </p:cNvGrpSpPr>
          <p:nvPr/>
        </p:nvGrpSpPr>
        <p:grpSpPr>
          <a:xfrm>
            <a:off x="747703" y="5944848"/>
            <a:ext cx="132792" cy="308144"/>
            <a:chOff x="6538913" y="2495550"/>
            <a:chExt cx="123825" cy="287338"/>
          </a:xfrm>
          <a:solidFill>
            <a:schemeClr val="bg1"/>
          </a:solidFill>
          <a:effectLst/>
        </p:grpSpPr>
        <p:sp>
          <p:nvSpPr>
            <p:cNvPr id="712" name="Freeform 183">
              <a:extLst>
                <a:ext uri="{FF2B5EF4-FFF2-40B4-BE49-F238E27FC236}">
                  <a16:creationId xmlns:a16="http://schemas.microsoft.com/office/drawing/2014/main" id="{59DDAE5C-FFF2-46ED-A2C2-E97C75D115B9}"/>
                </a:ext>
              </a:extLst>
            </p:cNvPr>
            <p:cNvSpPr>
              <a:spLocks noEditPoints="1"/>
            </p:cNvSpPr>
            <p:nvPr/>
          </p:nvSpPr>
          <p:spPr bwMode="auto">
            <a:xfrm>
              <a:off x="6538913" y="2495550"/>
              <a:ext cx="123825" cy="287338"/>
            </a:xfrm>
            <a:custGeom>
              <a:avLst/>
              <a:gdLst>
                <a:gd name="T0" fmla="*/ 30 w 390"/>
                <a:gd name="T1" fmla="*/ 631 h 902"/>
                <a:gd name="T2" fmla="*/ 31 w 390"/>
                <a:gd name="T3" fmla="*/ 166 h 902"/>
                <a:gd name="T4" fmla="*/ 37 w 390"/>
                <a:gd name="T5" fmla="*/ 137 h 902"/>
                <a:gd name="T6" fmla="*/ 50 w 390"/>
                <a:gd name="T7" fmla="*/ 110 h 902"/>
                <a:gd name="T8" fmla="*/ 67 w 390"/>
                <a:gd name="T9" fmla="*/ 86 h 902"/>
                <a:gd name="T10" fmla="*/ 91 w 390"/>
                <a:gd name="T11" fmla="*/ 65 h 902"/>
                <a:gd name="T12" fmla="*/ 116 w 390"/>
                <a:gd name="T13" fmla="*/ 49 h 902"/>
                <a:gd name="T14" fmla="*/ 146 w 390"/>
                <a:gd name="T15" fmla="*/ 37 h 902"/>
                <a:gd name="T16" fmla="*/ 178 w 390"/>
                <a:gd name="T17" fmla="*/ 31 h 902"/>
                <a:gd name="T18" fmla="*/ 211 w 390"/>
                <a:gd name="T19" fmla="*/ 31 h 902"/>
                <a:gd name="T20" fmla="*/ 242 w 390"/>
                <a:gd name="T21" fmla="*/ 37 h 902"/>
                <a:gd name="T22" fmla="*/ 272 w 390"/>
                <a:gd name="T23" fmla="*/ 49 h 902"/>
                <a:gd name="T24" fmla="*/ 299 w 390"/>
                <a:gd name="T25" fmla="*/ 65 h 902"/>
                <a:gd name="T26" fmla="*/ 322 w 390"/>
                <a:gd name="T27" fmla="*/ 86 h 902"/>
                <a:gd name="T28" fmla="*/ 340 w 390"/>
                <a:gd name="T29" fmla="*/ 110 h 902"/>
                <a:gd name="T30" fmla="*/ 352 w 390"/>
                <a:gd name="T31" fmla="*/ 137 h 902"/>
                <a:gd name="T32" fmla="*/ 359 w 390"/>
                <a:gd name="T33" fmla="*/ 166 h 902"/>
                <a:gd name="T34" fmla="*/ 359 w 390"/>
                <a:gd name="T35" fmla="*/ 631 h 902"/>
                <a:gd name="T36" fmla="*/ 174 w 390"/>
                <a:gd name="T37" fmla="*/ 1 h 902"/>
                <a:gd name="T38" fmla="*/ 137 w 390"/>
                <a:gd name="T39" fmla="*/ 9 h 902"/>
                <a:gd name="T40" fmla="*/ 101 w 390"/>
                <a:gd name="T41" fmla="*/ 23 h 902"/>
                <a:gd name="T42" fmla="*/ 70 w 390"/>
                <a:gd name="T43" fmla="*/ 42 h 902"/>
                <a:gd name="T44" fmla="*/ 43 w 390"/>
                <a:gd name="T45" fmla="*/ 66 h 902"/>
                <a:gd name="T46" fmla="*/ 23 w 390"/>
                <a:gd name="T47" fmla="*/ 95 h 902"/>
                <a:gd name="T48" fmla="*/ 8 w 390"/>
                <a:gd name="T49" fmla="*/ 127 h 902"/>
                <a:gd name="T50" fmla="*/ 1 w 390"/>
                <a:gd name="T51" fmla="*/ 163 h 902"/>
                <a:gd name="T52" fmla="*/ 0 w 390"/>
                <a:gd name="T53" fmla="*/ 646 h 902"/>
                <a:gd name="T54" fmla="*/ 1 w 390"/>
                <a:gd name="T55" fmla="*/ 652 h 902"/>
                <a:gd name="T56" fmla="*/ 4 w 390"/>
                <a:gd name="T57" fmla="*/ 657 h 902"/>
                <a:gd name="T58" fmla="*/ 8 w 390"/>
                <a:gd name="T59" fmla="*/ 660 h 902"/>
                <a:gd name="T60" fmla="*/ 15 w 390"/>
                <a:gd name="T61" fmla="*/ 661 h 902"/>
                <a:gd name="T62" fmla="*/ 179 w 390"/>
                <a:gd name="T63" fmla="*/ 887 h 902"/>
                <a:gd name="T64" fmla="*/ 180 w 390"/>
                <a:gd name="T65" fmla="*/ 892 h 902"/>
                <a:gd name="T66" fmla="*/ 184 w 390"/>
                <a:gd name="T67" fmla="*/ 897 h 902"/>
                <a:gd name="T68" fmla="*/ 189 w 390"/>
                <a:gd name="T69" fmla="*/ 901 h 902"/>
                <a:gd name="T70" fmla="*/ 194 w 390"/>
                <a:gd name="T71" fmla="*/ 902 h 902"/>
                <a:gd name="T72" fmla="*/ 201 w 390"/>
                <a:gd name="T73" fmla="*/ 901 h 902"/>
                <a:gd name="T74" fmla="*/ 205 w 390"/>
                <a:gd name="T75" fmla="*/ 897 h 902"/>
                <a:gd name="T76" fmla="*/ 208 w 390"/>
                <a:gd name="T77" fmla="*/ 892 h 902"/>
                <a:gd name="T78" fmla="*/ 209 w 390"/>
                <a:gd name="T79" fmla="*/ 887 h 902"/>
                <a:gd name="T80" fmla="*/ 375 w 390"/>
                <a:gd name="T81" fmla="*/ 661 h 902"/>
                <a:gd name="T82" fmla="*/ 380 w 390"/>
                <a:gd name="T83" fmla="*/ 660 h 902"/>
                <a:gd name="T84" fmla="*/ 385 w 390"/>
                <a:gd name="T85" fmla="*/ 657 h 902"/>
                <a:gd name="T86" fmla="*/ 388 w 390"/>
                <a:gd name="T87" fmla="*/ 652 h 902"/>
                <a:gd name="T88" fmla="*/ 390 w 390"/>
                <a:gd name="T89" fmla="*/ 646 h 902"/>
                <a:gd name="T90" fmla="*/ 389 w 390"/>
                <a:gd name="T91" fmla="*/ 163 h 902"/>
                <a:gd name="T92" fmla="*/ 380 w 390"/>
                <a:gd name="T93" fmla="*/ 127 h 902"/>
                <a:gd name="T94" fmla="*/ 367 w 390"/>
                <a:gd name="T95" fmla="*/ 95 h 902"/>
                <a:gd name="T96" fmla="*/ 345 w 390"/>
                <a:gd name="T97" fmla="*/ 66 h 902"/>
                <a:gd name="T98" fmla="*/ 318 w 390"/>
                <a:gd name="T99" fmla="*/ 42 h 902"/>
                <a:gd name="T100" fmla="*/ 287 w 390"/>
                <a:gd name="T101" fmla="*/ 23 h 902"/>
                <a:gd name="T102" fmla="*/ 252 w 390"/>
                <a:gd name="T103" fmla="*/ 9 h 902"/>
                <a:gd name="T104" fmla="*/ 215 w 390"/>
                <a:gd name="T105" fmla="*/ 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0" h="902">
                  <a:moveTo>
                    <a:pt x="359" y="631"/>
                  </a:moveTo>
                  <a:lnTo>
                    <a:pt x="30" y="631"/>
                  </a:lnTo>
                  <a:lnTo>
                    <a:pt x="30" y="181"/>
                  </a:lnTo>
                  <a:lnTo>
                    <a:pt x="31" y="166"/>
                  </a:lnTo>
                  <a:lnTo>
                    <a:pt x="33" y="151"/>
                  </a:lnTo>
                  <a:lnTo>
                    <a:pt x="37" y="137"/>
                  </a:lnTo>
                  <a:lnTo>
                    <a:pt x="42" y="123"/>
                  </a:lnTo>
                  <a:lnTo>
                    <a:pt x="50" y="110"/>
                  </a:lnTo>
                  <a:lnTo>
                    <a:pt x="57" y="97"/>
                  </a:lnTo>
                  <a:lnTo>
                    <a:pt x="67" y="86"/>
                  </a:lnTo>
                  <a:lnTo>
                    <a:pt x="79" y="75"/>
                  </a:lnTo>
                  <a:lnTo>
                    <a:pt x="91" y="65"/>
                  </a:lnTo>
                  <a:lnTo>
                    <a:pt x="102" y="57"/>
                  </a:lnTo>
                  <a:lnTo>
                    <a:pt x="116" y="49"/>
                  </a:lnTo>
                  <a:lnTo>
                    <a:pt x="131" y="43"/>
                  </a:lnTo>
                  <a:lnTo>
                    <a:pt x="146" y="37"/>
                  </a:lnTo>
                  <a:lnTo>
                    <a:pt x="161" y="33"/>
                  </a:lnTo>
                  <a:lnTo>
                    <a:pt x="178" y="31"/>
                  </a:lnTo>
                  <a:lnTo>
                    <a:pt x="194" y="30"/>
                  </a:lnTo>
                  <a:lnTo>
                    <a:pt x="211" y="31"/>
                  </a:lnTo>
                  <a:lnTo>
                    <a:pt x="227" y="33"/>
                  </a:lnTo>
                  <a:lnTo>
                    <a:pt x="242" y="37"/>
                  </a:lnTo>
                  <a:lnTo>
                    <a:pt x="258" y="43"/>
                  </a:lnTo>
                  <a:lnTo>
                    <a:pt x="272" y="49"/>
                  </a:lnTo>
                  <a:lnTo>
                    <a:pt x="286" y="57"/>
                  </a:lnTo>
                  <a:lnTo>
                    <a:pt x="299" y="65"/>
                  </a:lnTo>
                  <a:lnTo>
                    <a:pt x="311" y="75"/>
                  </a:lnTo>
                  <a:lnTo>
                    <a:pt x="322" y="86"/>
                  </a:lnTo>
                  <a:lnTo>
                    <a:pt x="331" y="97"/>
                  </a:lnTo>
                  <a:lnTo>
                    <a:pt x="340" y="110"/>
                  </a:lnTo>
                  <a:lnTo>
                    <a:pt x="346" y="123"/>
                  </a:lnTo>
                  <a:lnTo>
                    <a:pt x="352" y="137"/>
                  </a:lnTo>
                  <a:lnTo>
                    <a:pt x="356" y="151"/>
                  </a:lnTo>
                  <a:lnTo>
                    <a:pt x="359" y="166"/>
                  </a:lnTo>
                  <a:lnTo>
                    <a:pt x="359" y="181"/>
                  </a:lnTo>
                  <a:lnTo>
                    <a:pt x="359" y="631"/>
                  </a:lnTo>
                  <a:close/>
                  <a:moveTo>
                    <a:pt x="194" y="0"/>
                  </a:moveTo>
                  <a:lnTo>
                    <a:pt x="174" y="1"/>
                  </a:lnTo>
                  <a:lnTo>
                    <a:pt x="155" y="4"/>
                  </a:lnTo>
                  <a:lnTo>
                    <a:pt x="137" y="9"/>
                  </a:lnTo>
                  <a:lnTo>
                    <a:pt x="118" y="15"/>
                  </a:lnTo>
                  <a:lnTo>
                    <a:pt x="101" y="23"/>
                  </a:lnTo>
                  <a:lnTo>
                    <a:pt x="85" y="31"/>
                  </a:lnTo>
                  <a:lnTo>
                    <a:pt x="70" y="42"/>
                  </a:lnTo>
                  <a:lnTo>
                    <a:pt x="56" y="54"/>
                  </a:lnTo>
                  <a:lnTo>
                    <a:pt x="43" y="66"/>
                  </a:lnTo>
                  <a:lnTo>
                    <a:pt x="33" y="80"/>
                  </a:lnTo>
                  <a:lnTo>
                    <a:pt x="23" y="95"/>
                  </a:lnTo>
                  <a:lnTo>
                    <a:pt x="15" y="110"/>
                  </a:lnTo>
                  <a:lnTo>
                    <a:pt x="8" y="127"/>
                  </a:lnTo>
                  <a:lnTo>
                    <a:pt x="3" y="144"/>
                  </a:lnTo>
                  <a:lnTo>
                    <a:pt x="1" y="163"/>
                  </a:lnTo>
                  <a:lnTo>
                    <a:pt x="0" y="181"/>
                  </a:lnTo>
                  <a:lnTo>
                    <a:pt x="0" y="646"/>
                  </a:lnTo>
                  <a:lnTo>
                    <a:pt x="0" y="649"/>
                  </a:lnTo>
                  <a:lnTo>
                    <a:pt x="1" y="652"/>
                  </a:lnTo>
                  <a:lnTo>
                    <a:pt x="2" y="655"/>
                  </a:lnTo>
                  <a:lnTo>
                    <a:pt x="4" y="657"/>
                  </a:lnTo>
                  <a:lnTo>
                    <a:pt x="6" y="659"/>
                  </a:lnTo>
                  <a:lnTo>
                    <a:pt x="8" y="660"/>
                  </a:lnTo>
                  <a:lnTo>
                    <a:pt x="11" y="661"/>
                  </a:lnTo>
                  <a:lnTo>
                    <a:pt x="15" y="661"/>
                  </a:lnTo>
                  <a:lnTo>
                    <a:pt x="179" y="661"/>
                  </a:lnTo>
                  <a:lnTo>
                    <a:pt x="179" y="887"/>
                  </a:lnTo>
                  <a:lnTo>
                    <a:pt x="179" y="890"/>
                  </a:lnTo>
                  <a:lnTo>
                    <a:pt x="180" y="892"/>
                  </a:lnTo>
                  <a:lnTo>
                    <a:pt x="181" y="895"/>
                  </a:lnTo>
                  <a:lnTo>
                    <a:pt x="184" y="897"/>
                  </a:lnTo>
                  <a:lnTo>
                    <a:pt x="186" y="898"/>
                  </a:lnTo>
                  <a:lnTo>
                    <a:pt x="189" y="901"/>
                  </a:lnTo>
                  <a:lnTo>
                    <a:pt x="191" y="901"/>
                  </a:lnTo>
                  <a:lnTo>
                    <a:pt x="194" y="902"/>
                  </a:lnTo>
                  <a:lnTo>
                    <a:pt x="198" y="901"/>
                  </a:lnTo>
                  <a:lnTo>
                    <a:pt x="201" y="901"/>
                  </a:lnTo>
                  <a:lnTo>
                    <a:pt x="203" y="898"/>
                  </a:lnTo>
                  <a:lnTo>
                    <a:pt x="205" y="897"/>
                  </a:lnTo>
                  <a:lnTo>
                    <a:pt x="207" y="895"/>
                  </a:lnTo>
                  <a:lnTo>
                    <a:pt x="208" y="892"/>
                  </a:lnTo>
                  <a:lnTo>
                    <a:pt x="209" y="890"/>
                  </a:lnTo>
                  <a:lnTo>
                    <a:pt x="209" y="887"/>
                  </a:lnTo>
                  <a:lnTo>
                    <a:pt x="209" y="661"/>
                  </a:lnTo>
                  <a:lnTo>
                    <a:pt x="375" y="661"/>
                  </a:lnTo>
                  <a:lnTo>
                    <a:pt x="377" y="661"/>
                  </a:lnTo>
                  <a:lnTo>
                    <a:pt x="380" y="660"/>
                  </a:lnTo>
                  <a:lnTo>
                    <a:pt x="383" y="659"/>
                  </a:lnTo>
                  <a:lnTo>
                    <a:pt x="385" y="657"/>
                  </a:lnTo>
                  <a:lnTo>
                    <a:pt x="387" y="655"/>
                  </a:lnTo>
                  <a:lnTo>
                    <a:pt x="388" y="652"/>
                  </a:lnTo>
                  <a:lnTo>
                    <a:pt x="389" y="649"/>
                  </a:lnTo>
                  <a:lnTo>
                    <a:pt x="390" y="646"/>
                  </a:lnTo>
                  <a:lnTo>
                    <a:pt x="390" y="181"/>
                  </a:lnTo>
                  <a:lnTo>
                    <a:pt x="389" y="163"/>
                  </a:lnTo>
                  <a:lnTo>
                    <a:pt x="386" y="144"/>
                  </a:lnTo>
                  <a:lnTo>
                    <a:pt x="380" y="127"/>
                  </a:lnTo>
                  <a:lnTo>
                    <a:pt x="374" y="110"/>
                  </a:lnTo>
                  <a:lnTo>
                    <a:pt x="367" y="95"/>
                  </a:lnTo>
                  <a:lnTo>
                    <a:pt x="356" y="80"/>
                  </a:lnTo>
                  <a:lnTo>
                    <a:pt x="345" y="66"/>
                  </a:lnTo>
                  <a:lnTo>
                    <a:pt x="332" y="54"/>
                  </a:lnTo>
                  <a:lnTo>
                    <a:pt x="318" y="42"/>
                  </a:lnTo>
                  <a:lnTo>
                    <a:pt x="303" y="31"/>
                  </a:lnTo>
                  <a:lnTo>
                    <a:pt x="287" y="23"/>
                  </a:lnTo>
                  <a:lnTo>
                    <a:pt x="270" y="15"/>
                  </a:lnTo>
                  <a:lnTo>
                    <a:pt x="252" y="9"/>
                  </a:lnTo>
                  <a:lnTo>
                    <a:pt x="234" y="4"/>
                  </a:lnTo>
                  <a:lnTo>
                    <a:pt x="215" y="1"/>
                  </a:lnTo>
                  <a:lnTo>
                    <a:pt x="1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713" name="Freeform 184">
              <a:extLst>
                <a:ext uri="{FF2B5EF4-FFF2-40B4-BE49-F238E27FC236}">
                  <a16:creationId xmlns:a16="http://schemas.microsoft.com/office/drawing/2014/main" id="{647556DB-3BEB-4109-B592-74CD12C311BD}"/>
                </a:ext>
              </a:extLst>
            </p:cNvPr>
            <p:cNvSpPr>
              <a:spLocks/>
            </p:cNvSpPr>
            <p:nvPr/>
          </p:nvSpPr>
          <p:spPr bwMode="auto">
            <a:xfrm>
              <a:off x="6567488" y="2552700"/>
              <a:ext cx="66675" cy="104775"/>
            </a:xfrm>
            <a:custGeom>
              <a:avLst/>
              <a:gdLst>
                <a:gd name="T0" fmla="*/ 183 w 210"/>
                <a:gd name="T1" fmla="*/ 299 h 330"/>
                <a:gd name="T2" fmla="*/ 168 w 210"/>
                <a:gd name="T3" fmla="*/ 297 h 330"/>
                <a:gd name="T4" fmla="*/ 162 w 210"/>
                <a:gd name="T5" fmla="*/ 294 h 330"/>
                <a:gd name="T6" fmla="*/ 157 w 210"/>
                <a:gd name="T7" fmla="*/ 289 h 330"/>
                <a:gd name="T8" fmla="*/ 153 w 210"/>
                <a:gd name="T9" fmla="*/ 282 h 330"/>
                <a:gd name="T10" fmla="*/ 151 w 210"/>
                <a:gd name="T11" fmla="*/ 267 h 330"/>
                <a:gd name="T12" fmla="*/ 150 w 210"/>
                <a:gd name="T13" fmla="*/ 105 h 330"/>
                <a:gd name="T14" fmla="*/ 147 w 210"/>
                <a:gd name="T15" fmla="*/ 89 h 330"/>
                <a:gd name="T16" fmla="*/ 136 w 210"/>
                <a:gd name="T17" fmla="*/ 74 h 330"/>
                <a:gd name="T18" fmla="*/ 122 w 210"/>
                <a:gd name="T19" fmla="*/ 64 h 330"/>
                <a:gd name="T20" fmla="*/ 105 w 210"/>
                <a:gd name="T21" fmla="*/ 60 h 330"/>
                <a:gd name="T22" fmla="*/ 88 w 210"/>
                <a:gd name="T23" fmla="*/ 64 h 330"/>
                <a:gd name="T24" fmla="*/ 74 w 210"/>
                <a:gd name="T25" fmla="*/ 74 h 330"/>
                <a:gd name="T26" fmla="*/ 65 w 210"/>
                <a:gd name="T27" fmla="*/ 89 h 330"/>
                <a:gd name="T28" fmla="*/ 60 w 210"/>
                <a:gd name="T29" fmla="*/ 105 h 330"/>
                <a:gd name="T30" fmla="*/ 59 w 210"/>
                <a:gd name="T31" fmla="*/ 110 h 330"/>
                <a:gd name="T32" fmla="*/ 55 w 210"/>
                <a:gd name="T33" fmla="*/ 115 h 330"/>
                <a:gd name="T34" fmla="*/ 45 w 210"/>
                <a:gd name="T35" fmla="*/ 120 h 330"/>
                <a:gd name="T36" fmla="*/ 36 w 210"/>
                <a:gd name="T37" fmla="*/ 115 h 330"/>
                <a:gd name="T38" fmla="*/ 32 w 210"/>
                <a:gd name="T39" fmla="*/ 110 h 330"/>
                <a:gd name="T40" fmla="*/ 30 w 210"/>
                <a:gd name="T41" fmla="*/ 105 h 330"/>
                <a:gd name="T42" fmla="*/ 30 w 210"/>
                <a:gd name="T43" fmla="*/ 12 h 330"/>
                <a:gd name="T44" fmla="*/ 28 w 210"/>
                <a:gd name="T45" fmla="*/ 6 h 330"/>
                <a:gd name="T46" fmla="*/ 24 w 210"/>
                <a:gd name="T47" fmla="*/ 2 h 330"/>
                <a:gd name="T48" fmla="*/ 19 w 210"/>
                <a:gd name="T49" fmla="*/ 0 h 330"/>
                <a:gd name="T50" fmla="*/ 12 w 210"/>
                <a:gd name="T51" fmla="*/ 0 h 330"/>
                <a:gd name="T52" fmla="*/ 7 w 210"/>
                <a:gd name="T53" fmla="*/ 2 h 330"/>
                <a:gd name="T54" fmla="*/ 3 w 210"/>
                <a:gd name="T55" fmla="*/ 6 h 330"/>
                <a:gd name="T56" fmla="*/ 0 w 210"/>
                <a:gd name="T57" fmla="*/ 12 h 330"/>
                <a:gd name="T58" fmla="*/ 0 w 210"/>
                <a:gd name="T59" fmla="*/ 105 h 330"/>
                <a:gd name="T60" fmla="*/ 4 w 210"/>
                <a:gd name="T61" fmla="*/ 122 h 330"/>
                <a:gd name="T62" fmla="*/ 14 w 210"/>
                <a:gd name="T63" fmla="*/ 137 h 330"/>
                <a:gd name="T64" fmla="*/ 28 w 210"/>
                <a:gd name="T65" fmla="*/ 146 h 330"/>
                <a:gd name="T66" fmla="*/ 45 w 210"/>
                <a:gd name="T67" fmla="*/ 150 h 330"/>
                <a:gd name="T68" fmla="*/ 63 w 210"/>
                <a:gd name="T69" fmla="*/ 146 h 330"/>
                <a:gd name="T70" fmla="*/ 76 w 210"/>
                <a:gd name="T71" fmla="*/ 137 h 330"/>
                <a:gd name="T72" fmla="*/ 87 w 210"/>
                <a:gd name="T73" fmla="*/ 122 h 330"/>
                <a:gd name="T74" fmla="*/ 90 w 210"/>
                <a:gd name="T75" fmla="*/ 105 h 330"/>
                <a:gd name="T76" fmla="*/ 96 w 210"/>
                <a:gd name="T77" fmla="*/ 95 h 330"/>
                <a:gd name="T78" fmla="*/ 100 w 210"/>
                <a:gd name="T79" fmla="*/ 91 h 330"/>
                <a:gd name="T80" fmla="*/ 105 w 210"/>
                <a:gd name="T81" fmla="*/ 90 h 330"/>
                <a:gd name="T82" fmla="*/ 111 w 210"/>
                <a:gd name="T83" fmla="*/ 91 h 330"/>
                <a:gd name="T84" fmla="*/ 115 w 210"/>
                <a:gd name="T85" fmla="*/ 95 h 330"/>
                <a:gd name="T86" fmla="*/ 120 w 210"/>
                <a:gd name="T87" fmla="*/ 105 h 330"/>
                <a:gd name="T88" fmla="*/ 120 w 210"/>
                <a:gd name="T89" fmla="*/ 265 h 330"/>
                <a:gd name="T90" fmla="*/ 122 w 210"/>
                <a:gd name="T91" fmla="*/ 282 h 330"/>
                <a:gd name="T92" fmla="*/ 127 w 210"/>
                <a:gd name="T93" fmla="*/ 296 h 330"/>
                <a:gd name="T94" fmla="*/ 134 w 210"/>
                <a:gd name="T95" fmla="*/ 308 h 330"/>
                <a:gd name="T96" fmla="*/ 143 w 210"/>
                <a:gd name="T97" fmla="*/ 316 h 330"/>
                <a:gd name="T98" fmla="*/ 155 w 210"/>
                <a:gd name="T99" fmla="*/ 324 h 330"/>
                <a:gd name="T100" fmla="*/ 168 w 210"/>
                <a:gd name="T101" fmla="*/ 327 h 330"/>
                <a:gd name="T102" fmla="*/ 186 w 210"/>
                <a:gd name="T103" fmla="*/ 329 h 330"/>
                <a:gd name="T104" fmla="*/ 198 w 210"/>
                <a:gd name="T105" fmla="*/ 329 h 330"/>
                <a:gd name="T106" fmla="*/ 204 w 210"/>
                <a:gd name="T107" fmla="*/ 327 h 330"/>
                <a:gd name="T108" fmla="*/ 208 w 210"/>
                <a:gd name="T109" fmla="*/ 324 h 330"/>
                <a:gd name="T110" fmla="*/ 210 w 210"/>
                <a:gd name="T111" fmla="*/ 319 h 330"/>
                <a:gd name="T112" fmla="*/ 210 w 210"/>
                <a:gd name="T113" fmla="*/ 312 h 330"/>
                <a:gd name="T114" fmla="*/ 208 w 210"/>
                <a:gd name="T115" fmla="*/ 307 h 330"/>
                <a:gd name="T116" fmla="*/ 204 w 210"/>
                <a:gd name="T117" fmla="*/ 302 h 330"/>
                <a:gd name="T118" fmla="*/ 198 w 210"/>
                <a:gd name="T119" fmla="*/ 30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0" h="330">
                  <a:moveTo>
                    <a:pt x="195" y="300"/>
                  </a:moveTo>
                  <a:lnTo>
                    <a:pt x="183" y="299"/>
                  </a:lnTo>
                  <a:lnTo>
                    <a:pt x="173" y="298"/>
                  </a:lnTo>
                  <a:lnTo>
                    <a:pt x="168" y="297"/>
                  </a:lnTo>
                  <a:lnTo>
                    <a:pt x="165" y="295"/>
                  </a:lnTo>
                  <a:lnTo>
                    <a:pt x="162" y="294"/>
                  </a:lnTo>
                  <a:lnTo>
                    <a:pt x="159" y="292"/>
                  </a:lnTo>
                  <a:lnTo>
                    <a:pt x="157" y="289"/>
                  </a:lnTo>
                  <a:lnTo>
                    <a:pt x="155" y="285"/>
                  </a:lnTo>
                  <a:lnTo>
                    <a:pt x="153" y="282"/>
                  </a:lnTo>
                  <a:lnTo>
                    <a:pt x="152" y="278"/>
                  </a:lnTo>
                  <a:lnTo>
                    <a:pt x="151" y="267"/>
                  </a:lnTo>
                  <a:lnTo>
                    <a:pt x="150" y="254"/>
                  </a:lnTo>
                  <a:lnTo>
                    <a:pt x="150" y="105"/>
                  </a:lnTo>
                  <a:lnTo>
                    <a:pt x="149" y="96"/>
                  </a:lnTo>
                  <a:lnTo>
                    <a:pt x="147" y="89"/>
                  </a:lnTo>
                  <a:lnTo>
                    <a:pt x="143" y="81"/>
                  </a:lnTo>
                  <a:lnTo>
                    <a:pt x="136" y="74"/>
                  </a:lnTo>
                  <a:lnTo>
                    <a:pt x="130" y="68"/>
                  </a:lnTo>
                  <a:lnTo>
                    <a:pt x="122" y="64"/>
                  </a:lnTo>
                  <a:lnTo>
                    <a:pt x="114" y="61"/>
                  </a:lnTo>
                  <a:lnTo>
                    <a:pt x="105" y="60"/>
                  </a:lnTo>
                  <a:lnTo>
                    <a:pt x="97" y="61"/>
                  </a:lnTo>
                  <a:lnTo>
                    <a:pt x="88" y="64"/>
                  </a:lnTo>
                  <a:lnTo>
                    <a:pt x="81" y="68"/>
                  </a:lnTo>
                  <a:lnTo>
                    <a:pt x="74" y="74"/>
                  </a:lnTo>
                  <a:lnTo>
                    <a:pt x="69" y="81"/>
                  </a:lnTo>
                  <a:lnTo>
                    <a:pt x="65" y="89"/>
                  </a:lnTo>
                  <a:lnTo>
                    <a:pt x="61" y="96"/>
                  </a:lnTo>
                  <a:lnTo>
                    <a:pt x="60" y="105"/>
                  </a:lnTo>
                  <a:lnTo>
                    <a:pt x="60" y="108"/>
                  </a:lnTo>
                  <a:lnTo>
                    <a:pt x="59" y="110"/>
                  </a:lnTo>
                  <a:lnTo>
                    <a:pt x="57" y="113"/>
                  </a:lnTo>
                  <a:lnTo>
                    <a:pt x="55" y="115"/>
                  </a:lnTo>
                  <a:lnTo>
                    <a:pt x="51" y="119"/>
                  </a:lnTo>
                  <a:lnTo>
                    <a:pt x="45" y="120"/>
                  </a:lnTo>
                  <a:lnTo>
                    <a:pt x="40" y="119"/>
                  </a:lnTo>
                  <a:lnTo>
                    <a:pt x="36" y="115"/>
                  </a:lnTo>
                  <a:lnTo>
                    <a:pt x="34" y="113"/>
                  </a:lnTo>
                  <a:lnTo>
                    <a:pt x="32" y="110"/>
                  </a:lnTo>
                  <a:lnTo>
                    <a:pt x="30" y="108"/>
                  </a:lnTo>
                  <a:lnTo>
                    <a:pt x="30" y="105"/>
                  </a:lnTo>
                  <a:lnTo>
                    <a:pt x="30" y="15"/>
                  </a:lnTo>
                  <a:lnTo>
                    <a:pt x="30" y="12"/>
                  </a:lnTo>
                  <a:lnTo>
                    <a:pt x="29" y="9"/>
                  </a:lnTo>
                  <a:lnTo>
                    <a:pt x="28" y="6"/>
                  </a:lnTo>
                  <a:lnTo>
                    <a:pt x="26" y="4"/>
                  </a:lnTo>
                  <a:lnTo>
                    <a:pt x="24" y="2"/>
                  </a:lnTo>
                  <a:lnTo>
                    <a:pt x="21" y="1"/>
                  </a:lnTo>
                  <a:lnTo>
                    <a:pt x="19" y="0"/>
                  </a:lnTo>
                  <a:lnTo>
                    <a:pt x="15" y="0"/>
                  </a:lnTo>
                  <a:lnTo>
                    <a:pt x="12" y="0"/>
                  </a:lnTo>
                  <a:lnTo>
                    <a:pt x="9" y="1"/>
                  </a:lnTo>
                  <a:lnTo>
                    <a:pt x="7" y="2"/>
                  </a:lnTo>
                  <a:lnTo>
                    <a:pt x="5" y="4"/>
                  </a:lnTo>
                  <a:lnTo>
                    <a:pt x="3" y="6"/>
                  </a:lnTo>
                  <a:lnTo>
                    <a:pt x="2" y="9"/>
                  </a:lnTo>
                  <a:lnTo>
                    <a:pt x="0" y="12"/>
                  </a:lnTo>
                  <a:lnTo>
                    <a:pt x="0" y="15"/>
                  </a:lnTo>
                  <a:lnTo>
                    <a:pt x="0" y="105"/>
                  </a:lnTo>
                  <a:lnTo>
                    <a:pt x="2" y="113"/>
                  </a:lnTo>
                  <a:lnTo>
                    <a:pt x="4" y="122"/>
                  </a:lnTo>
                  <a:lnTo>
                    <a:pt x="8" y="129"/>
                  </a:lnTo>
                  <a:lnTo>
                    <a:pt x="14" y="137"/>
                  </a:lnTo>
                  <a:lnTo>
                    <a:pt x="21" y="142"/>
                  </a:lnTo>
                  <a:lnTo>
                    <a:pt x="28" y="146"/>
                  </a:lnTo>
                  <a:lnTo>
                    <a:pt x="37" y="148"/>
                  </a:lnTo>
                  <a:lnTo>
                    <a:pt x="45" y="150"/>
                  </a:lnTo>
                  <a:lnTo>
                    <a:pt x="54" y="148"/>
                  </a:lnTo>
                  <a:lnTo>
                    <a:pt x="63" y="146"/>
                  </a:lnTo>
                  <a:lnTo>
                    <a:pt x="70" y="142"/>
                  </a:lnTo>
                  <a:lnTo>
                    <a:pt x="76" y="137"/>
                  </a:lnTo>
                  <a:lnTo>
                    <a:pt x="82" y="129"/>
                  </a:lnTo>
                  <a:lnTo>
                    <a:pt x="87" y="122"/>
                  </a:lnTo>
                  <a:lnTo>
                    <a:pt x="89" y="113"/>
                  </a:lnTo>
                  <a:lnTo>
                    <a:pt x="90" y="105"/>
                  </a:lnTo>
                  <a:lnTo>
                    <a:pt x="91" y="100"/>
                  </a:lnTo>
                  <a:lnTo>
                    <a:pt x="96" y="95"/>
                  </a:lnTo>
                  <a:lnTo>
                    <a:pt x="98" y="93"/>
                  </a:lnTo>
                  <a:lnTo>
                    <a:pt x="100" y="91"/>
                  </a:lnTo>
                  <a:lnTo>
                    <a:pt x="103" y="90"/>
                  </a:lnTo>
                  <a:lnTo>
                    <a:pt x="105" y="90"/>
                  </a:lnTo>
                  <a:lnTo>
                    <a:pt x="109" y="90"/>
                  </a:lnTo>
                  <a:lnTo>
                    <a:pt x="111" y="91"/>
                  </a:lnTo>
                  <a:lnTo>
                    <a:pt x="113" y="93"/>
                  </a:lnTo>
                  <a:lnTo>
                    <a:pt x="115" y="95"/>
                  </a:lnTo>
                  <a:lnTo>
                    <a:pt x="119" y="100"/>
                  </a:lnTo>
                  <a:lnTo>
                    <a:pt x="120" y="105"/>
                  </a:lnTo>
                  <a:lnTo>
                    <a:pt x="120" y="254"/>
                  </a:lnTo>
                  <a:lnTo>
                    <a:pt x="120" y="265"/>
                  </a:lnTo>
                  <a:lnTo>
                    <a:pt x="121" y="274"/>
                  </a:lnTo>
                  <a:lnTo>
                    <a:pt x="122" y="282"/>
                  </a:lnTo>
                  <a:lnTo>
                    <a:pt x="125" y="290"/>
                  </a:lnTo>
                  <a:lnTo>
                    <a:pt x="127" y="296"/>
                  </a:lnTo>
                  <a:lnTo>
                    <a:pt x="130" y="302"/>
                  </a:lnTo>
                  <a:lnTo>
                    <a:pt x="134" y="308"/>
                  </a:lnTo>
                  <a:lnTo>
                    <a:pt x="138" y="312"/>
                  </a:lnTo>
                  <a:lnTo>
                    <a:pt x="143" y="316"/>
                  </a:lnTo>
                  <a:lnTo>
                    <a:pt x="148" y="321"/>
                  </a:lnTo>
                  <a:lnTo>
                    <a:pt x="155" y="324"/>
                  </a:lnTo>
                  <a:lnTo>
                    <a:pt x="161" y="326"/>
                  </a:lnTo>
                  <a:lnTo>
                    <a:pt x="168" y="327"/>
                  </a:lnTo>
                  <a:lnTo>
                    <a:pt x="177" y="329"/>
                  </a:lnTo>
                  <a:lnTo>
                    <a:pt x="186" y="329"/>
                  </a:lnTo>
                  <a:lnTo>
                    <a:pt x="195" y="330"/>
                  </a:lnTo>
                  <a:lnTo>
                    <a:pt x="198" y="329"/>
                  </a:lnTo>
                  <a:lnTo>
                    <a:pt x="202" y="329"/>
                  </a:lnTo>
                  <a:lnTo>
                    <a:pt x="204" y="327"/>
                  </a:lnTo>
                  <a:lnTo>
                    <a:pt x="206" y="326"/>
                  </a:lnTo>
                  <a:lnTo>
                    <a:pt x="208" y="324"/>
                  </a:lnTo>
                  <a:lnTo>
                    <a:pt x="209" y="321"/>
                  </a:lnTo>
                  <a:lnTo>
                    <a:pt x="210" y="319"/>
                  </a:lnTo>
                  <a:lnTo>
                    <a:pt x="210" y="315"/>
                  </a:lnTo>
                  <a:lnTo>
                    <a:pt x="210" y="312"/>
                  </a:lnTo>
                  <a:lnTo>
                    <a:pt x="209" y="309"/>
                  </a:lnTo>
                  <a:lnTo>
                    <a:pt x="208" y="307"/>
                  </a:lnTo>
                  <a:lnTo>
                    <a:pt x="206" y="305"/>
                  </a:lnTo>
                  <a:lnTo>
                    <a:pt x="204" y="302"/>
                  </a:lnTo>
                  <a:lnTo>
                    <a:pt x="202" y="301"/>
                  </a:lnTo>
                  <a:lnTo>
                    <a:pt x="198" y="300"/>
                  </a:lnTo>
                  <a:lnTo>
                    <a:pt x="195"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714" name="Group 26">
            <a:extLst>
              <a:ext uri="{FF2B5EF4-FFF2-40B4-BE49-F238E27FC236}">
                <a16:creationId xmlns:a16="http://schemas.microsoft.com/office/drawing/2014/main" id="{8C9AE983-A64E-4982-BCC1-1540C66E76B4}"/>
              </a:ext>
            </a:extLst>
          </p:cNvPr>
          <p:cNvGrpSpPr>
            <a:grpSpLocks noChangeAspect="1"/>
          </p:cNvGrpSpPr>
          <p:nvPr/>
        </p:nvGrpSpPr>
        <p:grpSpPr>
          <a:xfrm>
            <a:off x="248784" y="5965227"/>
            <a:ext cx="304790" cy="267386"/>
            <a:chOff x="3092450" y="838200"/>
            <a:chExt cx="2962275" cy="2598738"/>
          </a:xfrm>
          <a:solidFill>
            <a:schemeClr val="bg1"/>
          </a:solidFill>
          <a:effectLst/>
        </p:grpSpPr>
        <p:sp>
          <p:nvSpPr>
            <p:cNvPr id="715" name="Freeform 9">
              <a:extLst>
                <a:ext uri="{FF2B5EF4-FFF2-40B4-BE49-F238E27FC236}">
                  <a16:creationId xmlns:a16="http://schemas.microsoft.com/office/drawing/2014/main" id="{A9BEFD40-6280-442E-976E-20DF07DB062F}"/>
                </a:ext>
              </a:extLst>
            </p:cNvPr>
            <p:cNvSpPr>
              <a:spLocks noEditPoints="1"/>
            </p:cNvSpPr>
            <p:nvPr/>
          </p:nvSpPr>
          <p:spPr bwMode="auto">
            <a:xfrm>
              <a:off x="3092450" y="838200"/>
              <a:ext cx="2962275" cy="2598738"/>
            </a:xfrm>
            <a:custGeom>
              <a:avLst/>
              <a:gdLst>
                <a:gd name="T0" fmla="*/ 558 w 787"/>
                <a:gd name="T1" fmla="*/ 0 h 690"/>
                <a:gd name="T2" fmla="*/ 367 w 787"/>
                <a:gd name="T3" fmla="*/ 151 h 690"/>
                <a:gd name="T4" fmla="*/ 307 w 787"/>
                <a:gd name="T5" fmla="*/ 180 h 690"/>
                <a:gd name="T6" fmla="*/ 170 w 787"/>
                <a:gd name="T7" fmla="*/ 142 h 690"/>
                <a:gd name="T8" fmla="*/ 103 w 787"/>
                <a:gd name="T9" fmla="*/ 186 h 690"/>
                <a:gd name="T10" fmla="*/ 58 w 787"/>
                <a:gd name="T11" fmla="*/ 264 h 690"/>
                <a:gd name="T12" fmla="*/ 1 w 787"/>
                <a:gd name="T13" fmla="*/ 353 h 690"/>
                <a:gd name="T14" fmla="*/ 545 w 787"/>
                <a:gd name="T15" fmla="*/ 690 h 690"/>
                <a:gd name="T16" fmla="*/ 778 w 787"/>
                <a:gd name="T17" fmla="*/ 329 h 690"/>
                <a:gd name="T18" fmla="*/ 625 w 787"/>
                <a:gd name="T19" fmla="*/ 266 h 690"/>
                <a:gd name="T20" fmla="*/ 584 w 787"/>
                <a:gd name="T21" fmla="*/ 305 h 690"/>
                <a:gd name="T22" fmla="*/ 582 w 787"/>
                <a:gd name="T23" fmla="*/ 263 h 690"/>
                <a:gd name="T24" fmla="*/ 620 w 787"/>
                <a:gd name="T25" fmla="*/ 250 h 690"/>
                <a:gd name="T26" fmla="*/ 649 w 787"/>
                <a:gd name="T27" fmla="*/ 230 h 690"/>
                <a:gd name="T28" fmla="*/ 673 w 787"/>
                <a:gd name="T29" fmla="*/ 199 h 690"/>
                <a:gd name="T30" fmla="*/ 744 w 787"/>
                <a:gd name="T31" fmla="*/ 252 h 690"/>
                <a:gd name="T32" fmla="*/ 654 w 787"/>
                <a:gd name="T33" fmla="*/ 178 h 690"/>
                <a:gd name="T34" fmla="*/ 637 w 787"/>
                <a:gd name="T35" fmla="*/ 204 h 690"/>
                <a:gd name="T36" fmla="*/ 615 w 787"/>
                <a:gd name="T37" fmla="*/ 223 h 690"/>
                <a:gd name="T38" fmla="*/ 588 w 787"/>
                <a:gd name="T39" fmla="*/ 235 h 690"/>
                <a:gd name="T40" fmla="*/ 567 w 787"/>
                <a:gd name="T41" fmla="*/ 238 h 690"/>
                <a:gd name="T42" fmla="*/ 534 w 787"/>
                <a:gd name="T43" fmla="*/ 196 h 690"/>
                <a:gd name="T44" fmla="*/ 511 w 787"/>
                <a:gd name="T45" fmla="*/ 161 h 690"/>
                <a:gd name="T46" fmla="*/ 478 w 787"/>
                <a:gd name="T47" fmla="*/ 148 h 690"/>
                <a:gd name="T48" fmla="*/ 454 w 787"/>
                <a:gd name="T49" fmla="*/ 153 h 690"/>
                <a:gd name="T50" fmla="*/ 356 w 787"/>
                <a:gd name="T51" fmla="*/ 175 h 690"/>
                <a:gd name="T52" fmla="*/ 457 w 787"/>
                <a:gd name="T53" fmla="*/ 180 h 690"/>
                <a:gd name="T54" fmla="*/ 479 w 787"/>
                <a:gd name="T55" fmla="*/ 175 h 690"/>
                <a:gd name="T56" fmla="*/ 539 w 787"/>
                <a:gd name="T57" fmla="*/ 227 h 690"/>
                <a:gd name="T58" fmla="*/ 542 w 787"/>
                <a:gd name="T59" fmla="*/ 278 h 690"/>
                <a:gd name="T60" fmla="*/ 554 w 787"/>
                <a:gd name="T61" fmla="*/ 305 h 690"/>
                <a:gd name="T62" fmla="*/ 540 w 787"/>
                <a:gd name="T63" fmla="*/ 319 h 690"/>
                <a:gd name="T64" fmla="*/ 372 w 787"/>
                <a:gd name="T65" fmla="*/ 297 h 690"/>
                <a:gd name="T66" fmla="*/ 349 w 787"/>
                <a:gd name="T67" fmla="*/ 252 h 690"/>
                <a:gd name="T68" fmla="*/ 354 w 787"/>
                <a:gd name="T69" fmla="*/ 223 h 690"/>
                <a:gd name="T70" fmla="*/ 345 w 787"/>
                <a:gd name="T71" fmla="*/ 207 h 690"/>
                <a:gd name="T72" fmla="*/ 316 w 787"/>
                <a:gd name="T73" fmla="*/ 60 h 690"/>
                <a:gd name="T74" fmla="*/ 198 w 787"/>
                <a:gd name="T75" fmla="*/ 194 h 690"/>
                <a:gd name="T76" fmla="*/ 187 w 787"/>
                <a:gd name="T77" fmla="*/ 174 h 690"/>
                <a:gd name="T78" fmla="*/ 64 w 787"/>
                <a:gd name="T79" fmla="*/ 297 h 690"/>
                <a:gd name="T80" fmla="*/ 91 w 787"/>
                <a:gd name="T81" fmla="*/ 222 h 690"/>
                <a:gd name="T82" fmla="*/ 149 w 787"/>
                <a:gd name="T83" fmla="*/ 177 h 690"/>
                <a:gd name="T84" fmla="*/ 166 w 787"/>
                <a:gd name="T85" fmla="*/ 197 h 690"/>
                <a:gd name="T86" fmla="*/ 194 w 787"/>
                <a:gd name="T87" fmla="*/ 222 h 690"/>
                <a:gd name="T88" fmla="*/ 222 w 787"/>
                <a:gd name="T89" fmla="*/ 225 h 690"/>
                <a:gd name="T90" fmla="*/ 319 w 787"/>
                <a:gd name="T91" fmla="*/ 222 h 690"/>
                <a:gd name="T92" fmla="*/ 328 w 787"/>
                <a:gd name="T93" fmla="*/ 231 h 690"/>
                <a:gd name="T94" fmla="*/ 337 w 787"/>
                <a:gd name="T95" fmla="*/ 286 h 690"/>
                <a:gd name="T96" fmla="*/ 342 w 787"/>
                <a:gd name="T97" fmla="*/ 305 h 690"/>
                <a:gd name="T98" fmla="*/ 327 w 787"/>
                <a:gd name="T99" fmla="*/ 319 h 690"/>
                <a:gd name="T100" fmla="*/ 548 w 787"/>
                <a:gd name="T101" fmla="*/ 662 h 690"/>
                <a:gd name="T102" fmla="*/ 203 w 787"/>
                <a:gd name="T103" fmla="*/ 555 h 690"/>
                <a:gd name="T104" fmla="*/ 760 w 787"/>
                <a:gd name="T105" fmla="*/ 351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7" h="690">
                  <a:moveTo>
                    <a:pt x="778" y="329"/>
                  </a:moveTo>
                  <a:cubicBezTo>
                    <a:pt x="772" y="322"/>
                    <a:pt x="764" y="319"/>
                    <a:pt x="755" y="319"/>
                  </a:cubicBezTo>
                  <a:cubicBezTo>
                    <a:pt x="752" y="319"/>
                    <a:pt x="752" y="319"/>
                    <a:pt x="752" y="319"/>
                  </a:cubicBezTo>
                  <a:cubicBezTo>
                    <a:pt x="764" y="299"/>
                    <a:pt x="770" y="276"/>
                    <a:pt x="770" y="252"/>
                  </a:cubicBezTo>
                  <a:cubicBezTo>
                    <a:pt x="770" y="199"/>
                    <a:pt x="739" y="152"/>
                    <a:pt x="691" y="131"/>
                  </a:cubicBezTo>
                  <a:cubicBezTo>
                    <a:pt x="690" y="59"/>
                    <a:pt x="631" y="0"/>
                    <a:pt x="558" y="0"/>
                  </a:cubicBezTo>
                  <a:cubicBezTo>
                    <a:pt x="486" y="0"/>
                    <a:pt x="427" y="59"/>
                    <a:pt x="426" y="131"/>
                  </a:cubicBezTo>
                  <a:cubicBezTo>
                    <a:pt x="423" y="130"/>
                    <a:pt x="420" y="130"/>
                    <a:pt x="417" y="130"/>
                  </a:cubicBezTo>
                  <a:cubicBezTo>
                    <a:pt x="406" y="130"/>
                    <a:pt x="394" y="136"/>
                    <a:pt x="388" y="145"/>
                  </a:cubicBezTo>
                  <a:cubicBezTo>
                    <a:pt x="384" y="150"/>
                    <a:pt x="384" y="150"/>
                    <a:pt x="384" y="150"/>
                  </a:cubicBezTo>
                  <a:cubicBezTo>
                    <a:pt x="382" y="154"/>
                    <a:pt x="377" y="155"/>
                    <a:pt x="372" y="153"/>
                  </a:cubicBezTo>
                  <a:cubicBezTo>
                    <a:pt x="367" y="151"/>
                    <a:pt x="367" y="151"/>
                    <a:pt x="367" y="151"/>
                  </a:cubicBezTo>
                  <a:cubicBezTo>
                    <a:pt x="356" y="146"/>
                    <a:pt x="344" y="146"/>
                    <a:pt x="334" y="152"/>
                  </a:cubicBezTo>
                  <a:cubicBezTo>
                    <a:pt x="323" y="158"/>
                    <a:pt x="317" y="169"/>
                    <a:pt x="316" y="180"/>
                  </a:cubicBezTo>
                  <a:cubicBezTo>
                    <a:pt x="315" y="186"/>
                    <a:pt x="315" y="186"/>
                    <a:pt x="315" y="186"/>
                  </a:cubicBezTo>
                  <a:cubicBezTo>
                    <a:pt x="315" y="188"/>
                    <a:pt x="314" y="191"/>
                    <a:pt x="313" y="194"/>
                  </a:cubicBezTo>
                  <a:cubicBezTo>
                    <a:pt x="310" y="193"/>
                    <a:pt x="308" y="190"/>
                    <a:pt x="307" y="186"/>
                  </a:cubicBezTo>
                  <a:cubicBezTo>
                    <a:pt x="307" y="180"/>
                    <a:pt x="307" y="180"/>
                    <a:pt x="307" y="180"/>
                  </a:cubicBezTo>
                  <a:cubicBezTo>
                    <a:pt x="306" y="169"/>
                    <a:pt x="300" y="160"/>
                    <a:pt x="291" y="154"/>
                  </a:cubicBezTo>
                  <a:cubicBezTo>
                    <a:pt x="333" y="95"/>
                    <a:pt x="333" y="95"/>
                    <a:pt x="333" y="95"/>
                  </a:cubicBezTo>
                  <a:cubicBezTo>
                    <a:pt x="341" y="83"/>
                    <a:pt x="344" y="69"/>
                    <a:pt x="342" y="55"/>
                  </a:cubicBezTo>
                  <a:cubicBezTo>
                    <a:pt x="339" y="41"/>
                    <a:pt x="332" y="29"/>
                    <a:pt x="320" y="21"/>
                  </a:cubicBezTo>
                  <a:cubicBezTo>
                    <a:pt x="296" y="4"/>
                    <a:pt x="263" y="10"/>
                    <a:pt x="246" y="34"/>
                  </a:cubicBezTo>
                  <a:cubicBezTo>
                    <a:pt x="170" y="142"/>
                    <a:pt x="170" y="142"/>
                    <a:pt x="170" y="142"/>
                  </a:cubicBezTo>
                  <a:cubicBezTo>
                    <a:pt x="167" y="146"/>
                    <a:pt x="165" y="150"/>
                    <a:pt x="164" y="154"/>
                  </a:cubicBezTo>
                  <a:cubicBezTo>
                    <a:pt x="163" y="154"/>
                    <a:pt x="161" y="154"/>
                    <a:pt x="160" y="153"/>
                  </a:cubicBezTo>
                  <a:cubicBezTo>
                    <a:pt x="155" y="151"/>
                    <a:pt x="155" y="151"/>
                    <a:pt x="155" y="151"/>
                  </a:cubicBezTo>
                  <a:cubicBezTo>
                    <a:pt x="144" y="146"/>
                    <a:pt x="132" y="146"/>
                    <a:pt x="121" y="152"/>
                  </a:cubicBezTo>
                  <a:cubicBezTo>
                    <a:pt x="111" y="158"/>
                    <a:pt x="104" y="169"/>
                    <a:pt x="103" y="180"/>
                  </a:cubicBezTo>
                  <a:cubicBezTo>
                    <a:pt x="103" y="186"/>
                    <a:pt x="103" y="186"/>
                    <a:pt x="103" y="186"/>
                  </a:cubicBezTo>
                  <a:cubicBezTo>
                    <a:pt x="102" y="191"/>
                    <a:pt x="99" y="195"/>
                    <a:pt x="94" y="195"/>
                  </a:cubicBezTo>
                  <a:cubicBezTo>
                    <a:pt x="88" y="196"/>
                    <a:pt x="88" y="196"/>
                    <a:pt x="88" y="196"/>
                  </a:cubicBezTo>
                  <a:cubicBezTo>
                    <a:pt x="77" y="197"/>
                    <a:pt x="66" y="203"/>
                    <a:pt x="60" y="214"/>
                  </a:cubicBezTo>
                  <a:cubicBezTo>
                    <a:pt x="54" y="224"/>
                    <a:pt x="54" y="236"/>
                    <a:pt x="59" y="247"/>
                  </a:cubicBezTo>
                  <a:cubicBezTo>
                    <a:pt x="61" y="252"/>
                    <a:pt x="61" y="252"/>
                    <a:pt x="61" y="252"/>
                  </a:cubicBezTo>
                  <a:cubicBezTo>
                    <a:pt x="63" y="256"/>
                    <a:pt x="62" y="262"/>
                    <a:pt x="58" y="264"/>
                  </a:cubicBezTo>
                  <a:cubicBezTo>
                    <a:pt x="53" y="268"/>
                    <a:pt x="53" y="268"/>
                    <a:pt x="53" y="268"/>
                  </a:cubicBezTo>
                  <a:cubicBezTo>
                    <a:pt x="43" y="274"/>
                    <a:pt x="38" y="285"/>
                    <a:pt x="38" y="297"/>
                  </a:cubicBezTo>
                  <a:cubicBezTo>
                    <a:pt x="38" y="305"/>
                    <a:pt x="40" y="313"/>
                    <a:pt x="45" y="319"/>
                  </a:cubicBezTo>
                  <a:cubicBezTo>
                    <a:pt x="32" y="319"/>
                    <a:pt x="32" y="319"/>
                    <a:pt x="32" y="319"/>
                  </a:cubicBezTo>
                  <a:cubicBezTo>
                    <a:pt x="24" y="319"/>
                    <a:pt x="16" y="322"/>
                    <a:pt x="10" y="329"/>
                  </a:cubicBezTo>
                  <a:cubicBezTo>
                    <a:pt x="4" y="335"/>
                    <a:pt x="0" y="344"/>
                    <a:pt x="1" y="353"/>
                  </a:cubicBezTo>
                  <a:cubicBezTo>
                    <a:pt x="9" y="469"/>
                    <a:pt x="83" y="527"/>
                    <a:pt x="191" y="579"/>
                  </a:cubicBezTo>
                  <a:cubicBezTo>
                    <a:pt x="203" y="584"/>
                    <a:pt x="213" y="594"/>
                    <a:pt x="219" y="606"/>
                  </a:cubicBezTo>
                  <a:cubicBezTo>
                    <a:pt x="225" y="617"/>
                    <a:pt x="224" y="632"/>
                    <a:pt x="217" y="644"/>
                  </a:cubicBezTo>
                  <a:cubicBezTo>
                    <a:pt x="211" y="654"/>
                    <a:pt x="211" y="665"/>
                    <a:pt x="216" y="675"/>
                  </a:cubicBezTo>
                  <a:cubicBezTo>
                    <a:pt x="222" y="684"/>
                    <a:pt x="232" y="690"/>
                    <a:pt x="243" y="690"/>
                  </a:cubicBezTo>
                  <a:cubicBezTo>
                    <a:pt x="545" y="690"/>
                    <a:pt x="545" y="690"/>
                    <a:pt x="545" y="690"/>
                  </a:cubicBezTo>
                  <a:cubicBezTo>
                    <a:pt x="556" y="690"/>
                    <a:pt x="566" y="684"/>
                    <a:pt x="571" y="675"/>
                  </a:cubicBezTo>
                  <a:cubicBezTo>
                    <a:pt x="577" y="665"/>
                    <a:pt x="576" y="654"/>
                    <a:pt x="571" y="644"/>
                  </a:cubicBezTo>
                  <a:cubicBezTo>
                    <a:pt x="563" y="632"/>
                    <a:pt x="562" y="617"/>
                    <a:pt x="568" y="606"/>
                  </a:cubicBezTo>
                  <a:cubicBezTo>
                    <a:pt x="574" y="594"/>
                    <a:pt x="584" y="584"/>
                    <a:pt x="596" y="579"/>
                  </a:cubicBezTo>
                  <a:cubicBezTo>
                    <a:pt x="705" y="527"/>
                    <a:pt x="779" y="469"/>
                    <a:pt x="786" y="353"/>
                  </a:cubicBezTo>
                  <a:cubicBezTo>
                    <a:pt x="787" y="344"/>
                    <a:pt x="784" y="335"/>
                    <a:pt x="778" y="329"/>
                  </a:cubicBezTo>
                  <a:close/>
                  <a:moveTo>
                    <a:pt x="744" y="252"/>
                  </a:moveTo>
                  <a:cubicBezTo>
                    <a:pt x="744" y="277"/>
                    <a:pt x="736" y="300"/>
                    <a:pt x="720" y="319"/>
                  </a:cubicBezTo>
                  <a:cubicBezTo>
                    <a:pt x="651" y="319"/>
                    <a:pt x="651" y="319"/>
                    <a:pt x="651" y="319"/>
                  </a:cubicBezTo>
                  <a:cubicBezTo>
                    <a:pt x="651" y="266"/>
                    <a:pt x="651" y="266"/>
                    <a:pt x="651" y="266"/>
                  </a:cubicBezTo>
                  <a:cubicBezTo>
                    <a:pt x="651" y="258"/>
                    <a:pt x="645" y="252"/>
                    <a:pt x="638" y="252"/>
                  </a:cubicBezTo>
                  <a:cubicBezTo>
                    <a:pt x="630" y="252"/>
                    <a:pt x="625" y="258"/>
                    <a:pt x="625" y="266"/>
                  </a:cubicBezTo>
                  <a:cubicBezTo>
                    <a:pt x="625" y="319"/>
                    <a:pt x="625" y="319"/>
                    <a:pt x="625" y="319"/>
                  </a:cubicBezTo>
                  <a:cubicBezTo>
                    <a:pt x="578" y="319"/>
                    <a:pt x="578" y="319"/>
                    <a:pt x="578" y="319"/>
                  </a:cubicBezTo>
                  <a:cubicBezTo>
                    <a:pt x="579" y="317"/>
                    <a:pt x="580" y="316"/>
                    <a:pt x="581" y="314"/>
                  </a:cubicBezTo>
                  <a:cubicBezTo>
                    <a:pt x="581" y="314"/>
                    <a:pt x="581" y="314"/>
                    <a:pt x="581" y="314"/>
                  </a:cubicBezTo>
                  <a:cubicBezTo>
                    <a:pt x="582" y="312"/>
                    <a:pt x="583" y="309"/>
                    <a:pt x="583" y="307"/>
                  </a:cubicBezTo>
                  <a:cubicBezTo>
                    <a:pt x="583" y="306"/>
                    <a:pt x="584" y="306"/>
                    <a:pt x="584" y="305"/>
                  </a:cubicBezTo>
                  <a:cubicBezTo>
                    <a:pt x="584" y="302"/>
                    <a:pt x="585" y="300"/>
                    <a:pt x="585" y="297"/>
                  </a:cubicBezTo>
                  <a:cubicBezTo>
                    <a:pt x="585" y="285"/>
                    <a:pt x="579" y="274"/>
                    <a:pt x="569" y="268"/>
                  </a:cubicBezTo>
                  <a:cubicBezTo>
                    <a:pt x="566" y="265"/>
                    <a:pt x="566" y="265"/>
                    <a:pt x="566" y="265"/>
                  </a:cubicBezTo>
                  <a:cubicBezTo>
                    <a:pt x="567" y="265"/>
                    <a:pt x="568" y="265"/>
                    <a:pt x="569" y="265"/>
                  </a:cubicBezTo>
                  <a:cubicBezTo>
                    <a:pt x="571" y="265"/>
                    <a:pt x="573" y="265"/>
                    <a:pt x="574" y="265"/>
                  </a:cubicBezTo>
                  <a:cubicBezTo>
                    <a:pt x="577" y="264"/>
                    <a:pt x="579" y="264"/>
                    <a:pt x="582" y="263"/>
                  </a:cubicBezTo>
                  <a:cubicBezTo>
                    <a:pt x="583" y="263"/>
                    <a:pt x="585" y="263"/>
                    <a:pt x="586" y="263"/>
                  </a:cubicBezTo>
                  <a:cubicBezTo>
                    <a:pt x="589" y="262"/>
                    <a:pt x="592" y="261"/>
                    <a:pt x="595" y="260"/>
                  </a:cubicBezTo>
                  <a:cubicBezTo>
                    <a:pt x="596" y="260"/>
                    <a:pt x="597" y="260"/>
                    <a:pt x="598" y="259"/>
                  </a:cubicBezTo>
                  <a:cubicBezTo>
                    <a:pt x="602" y="258"/>
                    <a:pt x="606" y="257"/>
                    <a:pt x="609" y="255"/>
                  </a:cubicBezTo>
                  <a:cubicBezTo>
                    <a:pt x="610" y="255"/>
                    <a:pt x="611" y="254"/>
                    <a:pt x="612" y="254"/>
                  </a:cubicBezTo>
                  <a:cubicBezTo>
                    <a:pt x="615" y="253"/>
                    <a:pt x="618" y="252"/>
                    <a:pt x="620" y="250"/>
                  </a:cubicBezTo>
                  <a:cubicBezTo>
                    <a:pt x="622" y="249"/>
                    <a:pt x="623" y="249"/>
                    <a:pt x="624" y="248"/>
                  </a:cubicBezTo>
                  <a:cubicBezTo>
                    <a:pt x="626" y="247"/>
                    <a:pt x="628" y="245"/>
                    <a:pt x="630" y="244"/>
                  </a:cubicBezTo>
                  <a:cubicBezTo>
                    <a:pt x="632" y="243"/>
                    <a:pt x="633" y="242"/>
                    <a:pt x="635" y="241"/>
                  </a:cubicBezTo>
                  <a:cubicBezTo>
                    <a:pt x="636" y="240"/>
                    <a:pt x="638" y="239"/>
                    <a:pt x="640" y="237"/>
                  </a:cubicBezTo>
                  <a:cubicBezTo>
                    <a:pt x="641" y="236"/>
                    <a:pt x="643" y="235"/>
                    <a:pt x="644" y="234"/>
                  </a:cubicBezTo>
                  <a:cubicBezTo>
                    <a:pt x="646" y="233"/>
                    <a:pt x="647" y="231"/>
                    <a:pt x="649" y="230"/>
                  </a:cubicBezTo>
                  <a:cubicBezTo>
                    <a:pt x="650" y="228"/>
                    <a:pt x="652" y="227"/>
                    <a:pt x="653" y="226"/>
                  </a:cubicBezTo>
                  <a:cubicBezTo>
                    <a:pt x="654" y="224"/>
                    <a:pt x="656" y="223"/>
                    <a:pt x="657" y="221"/>
                  </a:cubicBezTo>
                  <a:cubicBezTo>
                    <a:pt x="660" y="218"/>
                    <a:pt x="662" y="215"/>
                    <a:pt x="665" y="212"/>
                  </a:cubicBezTo>
                  <a:cubicBezTo>
                    <a:pt x="665" y="211"/>
                    <a:pt x="666" y="210"/>
                    <a:pt x="667" y="209"/>
                  </a:cubicBezTo>
                  <a:cubicBezTo>
                    <a:pt x="669" y="206"/>
                    <a:pt x="670" y="204"/>
                    <a:pt x="671" y="202"/>
                  </a:cubicBezTo>
                  <a:cubicBezTo>
                    <a:pt x="672" y="201"/>
                    <a:pt x="672" y="200"/>
                    <a:pt x="673" y="199"/>
                  </a:cubicBezTo>
                  <a:cubicBezTo>
                    <a:pt x="675" y="197"/>
                    <a:pt x="676" y="194"/>
                    <a:pt x="677" y="192"/>
                  </a:cubicBezTo>
                  <a:cubicBezTo>
                    <a:pt x="677" y="191"/>
                    <a:pt x="678" y="190"/>
                    <a:pt x="678" y="189"/>
                  </a:cubicBezTo>
                  <a:cubicBezTo>
                    <a:pt x="680" y="186"/>
                    <a:pt x="681" y="184"/>
                    <a:pt x="682" y="181"/>
                  </a:cubicBezTo>
                  <a:cubicBezTo>
                    <a:pt x="682" y="180"/>
                    <a:pt x="682" y="180"/>
                    <a:pt x="682" y="179"/>
                  </a:cubicBezTo>
                  <a:cubicBezTo>
                    <a:pt x="685" y="173"/>
                    <a:pt x="687" y="166"/>
                    <a:pt x="688" y="159"/>
                  </a:cubicBezTo>
                  <a:cubicBezTo>
                    <a:pt x="722" y="177"/>
                    <a:pt x="744" y="213"/>
                    <a:pt x="744" y="252"/>
                  </a:cubicBezTo>
                  <a:close/>
                  <a:moveTo>
                    <a:pt x="558" y="27"/>
                  </a:moveTo>
                  <a:cubicBezTo>
                    <a:pt x="617" y="27"/>
                    <a:pt x="664" y="75"/>
                    <a:pt x="664" y="133"/>
                  </a:cubicBezTo>
                  <a:cubicBezTo>
                    <a:pt x="664" y="135"/>
                    <a:pt x="664" y="137"/>
                    <a:pt x="664" y="139"/>
                  </a:cubicBezTo>
                  <a:cubicBezTo>
                    <a:pt x="664" y="139"/>
                    <a:pt x="664" y="139"/>
                    <a:pt x="664" y="139"/>
                  </a:cubicBezTo>
                  <a:cubicBezTo>
                    <a:pt x="663" y="153"/>
                    <a:pt x="660" y="166"/>
                    <a:pt x="654" y="178"/>
                  </a:cubicBezTo>
                  <a:cubicBezTo>
                    <a:pt x="654" y="178"/>
                    <a:pt x="654" y="178"/>
                    <a:pt x="654" y="178"/>
                  </a:cubicBezTo>
                  <a:cubicBezTo>
                    <a:pt x="653" y="181"/>
                    <a:pt x="651" y="184"/>
                    <a:pt x="650" y="187"/>
                  </a:cubicBezTo>
                  <a:cubicBezTo>
                    <a:pt x="650" y="187"/>
                    <a:pt x="649" y="187"/>
                    <a:pt x="649" y="187"/>
                  </a:cubicBezTo>
                  <a:cubicBezTo>
                    <a:pt x="648" y="190"/>
                    <a:pt x="646" y="192"/>
                    <a:pt x="645" y="194"/>
                  </a:cubicBezTo>
                  <a:cubicBezTo>
                    <a:pt x="644" y="195"/>
                    <a:pt x="644" y="195"/>
                    <a:pt x="644" y="196"/>
                  </a:cubicBezTo>
                  <a:cubicBezTo>
                    <a:pt x="642" y="198"/>
                    <a:pt x="640" y="200"/>
                    <a:pt x="639" y="202"/>
                  </a:cubicBezTo>
                  <a:cubicBezTo>
                    <a:pt x="638" y="202"/>
                    <a:pt x="638" y="203"/>
                    <a:pt x="637" y="204"/>
                  </a:cubicBezTo>
                  <a:cubicBezTo>
                    <a:pt x="636" y="205"/>
                    <a:pt x="634" y="207"/>
                    <a:pt x="632" y="209"/>
                  </a:cubicBezTo>
                  <a:cubicBezTo>
                    <a:pt x="632" y="209"/>
                    <a:pt x="631" y="210"/>
                    <a:pt x="630" y="211"/>
                  </a:cubicBezTo>
                  <a:cubicBezTo>
                    <a:pt x="629" y="212"/>
                    <a:pt x="627" y="214"/>
                    <a:pt x="625" y="215"/>
                  </a:cubicBezTo>
                  <a:cubicBezTo>
                    <a:pt x="624" y="216"/>
                    <a:pt x="624" y="216"/>
                    <a:pt x="623" y="217"/>
                  </a:cubicBezTo>
                  <a:cubicBezTo>
                    <a:pt x="621" y="218"/>
                    <a:pt x="619" y="220"/>
                    <a:pt x="618" y="221"/>
                  </a:cubicBezTo>
                  <a:cubicBezTo>
                    <a:pt x="617" y="221"/>
                    <a:pt x="616" y="222"/>
                    <a:pt x="615" y="223"/>
                  </a:cubicBezTo>
                  <a:cubicBezTo>
                    <a:pt x="613" y="224"/>
                    <a:pt x="611" y="225"/>
                    <a:pt x="610" y="226"/>
                  </a:cubicBezTo>
                  <a:cubicBezTo>
                    <a:pt x="608" y="226"/>
                    <a:pt x="607" y="227"/>
                    <a:pt x="606" y="228"/>
                  </a:cubicBezTo>
                  <a:cubicBezTo>
                    <a:pt x="604" y="229"/>
                    <a:pt x="603" y="229"/>
                    <a:pt x="601" y="230"/>
                  </a:cubicBezTo>
                  <a:cubicBezTo>
                    <a:pt x="600" y="231"/>
                    <a:pt x="598" y="231"/>
                    <a:pt x="597" y="232"/>
                  </a:cubicBezTo>
                  <a:cubicBezTo>
                    <a:pt x="595" y="232"/>
                    <a:pt x="594" y="233"/>
                    <a:pt x="592" y="234"/>
                  </a:cubicBezTo>
                  <a:cubicBezTo>
                    <a:pt x="590" y="234"/>
                    <a:pt x="589" y="235"/>
                    <a:pt x="588" y="235"/>
                  </a:cubicBezTo>
                  <a:cubicBezTo>
                    <a:pt x="586" y="235"/>
                    <a:pt x="584" y="236"/>
                    <a:pt x="582" y="236"/>
                  </a:cubicBezTo>
                  <a:cubicBezTo>
                    <a:pt x="581" y="237"/>
                    <a:pt x="579" y="237"/>
                    <a:pt x="578" y="237"/>
                  </a:cubicBezTo>
                  <a:cubicBezTo>
                    <a:pt x="576" y="238"/>
                    <a:pt x="574" y="238"/>
                    <a:pt x="573" y="238"/>
                  </a:cubicBezTo>
                  <a:cubicBezTo>
                    <a:pt x="571" y="238"/>
                    <a:pt x="569" y="239"/>
                    <a:pt x="567" y="239"/>
                  </a:cubicBezTo>
                  <a:cubicBezTo>
                    <a:pt x="567" y="239"/>
                    <a:pt x="567" y="239"/>
                    <a:pt x="567" y="239"/>
                  </a:cubicBezTo>
                  <a:cubicBezTo>
                    <a:pt x="567" y="239"/>
                    <a:pt x="567" y="238"/>
                    <a:pt x="567" y="238"/>
                  </a:cubicBezTo>
                  <a:cubicBezTo>
                    <a:pt x="567" y="236"/>
                    <a:pt x="567" y="233"/>
                    <a:pt x="567" y="231"/>
                  </a:cubicBezTo>
                  <a:cubicBezTo>
                    <a:pt x="567" y="230"/>
                    <a:pt x="567" y="229"/>
                    <a:pt x="567" y="229"/>
                  </a:cubicBezTo>
                  <a:cubicBezTo>
                    <a:pt x="567" y="227"/>
                    <a:pt x="566" y="225"/>
                    <a:pt x="566" y="223"/>
                  </a:cubicBezTo>
                  <a:cubicBezTo>
                    <a:pt x="566" y="222"/>
                    <a:pt x="566" y="222"/>
                    <a:pt x="565" y="221"/>
                  </a:cubicBezTo>
                  <a:cubicBezTo>
                    <a:pt x="565" y="218"/>
                    <a:pt x="564" y="216"/>
                    <a:pt x="562" y="214"/>
                  </a:cubicBezTo>
                  <a:cubicBezTo>
                    <a:pt x="556" y="203"/>
                    <a:pt x="546" y="197"/>
                    <a:pt x="534" y="196"/>
                  </a:cubicBezTo>
                  <a:cubicBezTo>
                    <a:pt x="528" y="195"/>
                    <a:pt x="528" y="195"/>
                    <a:pt x="528" y="195"/>
                  </a:cubicBezTo>
                  <a:cubicBezTo>
                    <a:pt x="525" y="195"/>
                    <a:pt x="522" y="193"/>
                    <a:pt x="520" y="189"/>
                  </a:cubicBezTo>
                  <a:cubicBezTo>
                    <a:pt x="549" y="161"/>
                    <a:pt x="549" y="161"/>
                    <a:pt x="549" y="161"/>
                  </a:cubicBezTo>
                  <a:cubicBezTo>
                    <a:pt x="554" y="156"/>
                    <a:pt x="554" y="148"/>
                    <a:pt x="549" y="142"/>
                  </a:cubicBezTo>
                  <a:cubicBezTo>
                    <a:pt x="544" y="137"/>
                    <a:pt x="535" y="137"/>
                    <a:pt x="530" y="142"/>
                  </a:cubicBezTo>
                  <a:cubicBezTo>
                    <a:pt x="511" y="161"/>
                    <a:pt x="511" y="161"/>
                    <a:pt x="511" y="161"/>
                  </a:cubicBezTo>
                  <a:cubicBezTo>
                    <a:pt x="508" y="158"/>
                    <a:pt x="505" y="155"/>
                    <a:pt x="501" y="152"/>
                  </a:cubicBezTo>
                  <a:cubicBezTo>
                    <a:pt x="498" y="151"/>
                    <a:pt x="496" y="150"/>
                    <a:pt x="493" y="149"/>
                  </a:cubicBezTo>
                  <a:cubicBezTo>
                    <a:pt x="492" y="148"/>
                    <a:pt x="491" y="148"/>
                    <a:pt x="490" y="148"/>
                  </a:cubicBezTo>
                  <a:cubicBezTo>
                    <a:pt x="488" y="148"/>
                    <a:pt x="486" y="148"/>
                    <a:pt x="484" y="148"/>
                  </a:cubicBezTo>
                  <a:cubicBezTo>
                    <a:pt x="483" y="148"/>
                    <a:pt x="483" y="147"/>
                    <a:pt x="483" y="147"/>
                  </a:cubicBezTo>
                  <a:cubicBezTo>
                    <a:pt x="481" y="147"/>
                    <a:pt x="480" y="148"/>
                    <a:pt x="478" y="148"/>
                  </a:cubicBezTo>
                  <a:cubicBezTo>
                    <a:pt x="477" y="148"/>
                    <a:pt x="476" y="148"/>
                    <a:pt x="476" y="148"/>
                  </a:cubicBezTo>
                  <a:cubicBezTo>
                    <a:pt x="473" y="149"/>
                    <a:pt x="470" y="150"/>
                    <a:pt x="468" y="151"/>
                  </a:cubicBezTo>
                  <a:cubicBezTo>
                    <a:pt x="462" y="153"/>
                    <a:pt x="462" y="153"/>
                    <a:pt x="462" y="153"/>
                  </a:cubicBezTo>
                  <a:cubicBezTo>
                    <a:pt x="461" y="154"/>
                    <a:pt x="460" y="154"/>
                    <a:pt x="458" y="154"/>
                  </a:cubicBezTo>
                  <a:cubicBezTo>
                    <a:pt x="458" y="154"/>
                    <a:pt x="458" y="154"/>
                    <a:pt x="458" y="154"/>
                  </a:cubicBezTo>
                  <a:cubicBezTo>
                    <a:pt x="457" y="154"/>
                    <a:pt x="455" y="153"/>
                    <a:pt x="454" y="153"/>
                  </a:cubicBezTo>
                  <a:cubicBezTo>
                    <a:pt x="453" y="146"/>
                    <a:pt x="452" y="139"/>
                    <a:pt x="452" y="133"/>
                  </a:cubicBezTo>
                  <a:cubicBezTo>
                    <a:pt x="452" y="75"/>
                    <a:pt x="500" y="27"/>
                    <a:pt x="558" y="27"/>
                  </a:cubicBezTo>
                  <a:close/>
                  <a:moveTo>
                    <a:pt x="341" y="189"/>
                  </a:moveTo>
                  <a:cubicBezTo>
                    <a:pt x="342" y="183"/>
                    <a:pt x="342" y="183"/>
                    <a:pt x="342" y="183"/>
                  </a:cubicBezTo>
                  <a:cubicBezTo>
                    <a:pt x="342" y="180"/>
                    <a:pt x="344" y="177"/>
                    <a:pt x="347" y="175"/>
                  </a:cubicBezTo>
                  <a:cubicBezTo>
                    <a:pt x="350" y="174"/>
                    <a:pt x="353" y="173"/>
                    <a:pt x="356" y="175"/>
                  </a:cubicBezTo>
                  <a:cubicBezTo>
                    <a:pt x="361" y="177"/>
                    <a:pt x="361" y="177"/>
                    <a:pt x="361" y="177"/>
                  </a:cubicBezTo>
                  <a:cubicBezTo>
                    <a:pt x="377" y="185"/>
                    <a:pt x="396" y="180"/>
                    <a:pt x="406" y="165"/>
                  </a:cubicBezTo>
                  <a:cubicBezTo>
                    <a:pt x="409" y="161"/>
                    <a:pt x="409" y="161"/>
                    <a:pt x="409" y="161"/>
                  </a:cubicBezTo>
                  <a:cubicBezTo>
                    <a:pt x="413" y="155"/>
                    <a:pt x="422" y="155"/>
                    <a:pt x="425" y="161"/>
                  </a:cubicBezTo>
                  <a:cubicBezTo>
                    <a:pt x="429" y="165"/>
                    <a:pt x="429" y="165"/>
                    <a:pt x="429" y="165"/>
                  </a:cubicBezTo>
                  <a:cubicBezTo>
                    <a:pt x="435" y="175"/>
                    <a:pt x="446" y="180"/>
                    <a:pt x="457" y="180"/>
                  </a:cubicBezTo>
                  <a:cubicBezTo>
                    <a:pt x="458" y="180"/>
                    <a:pt x="458" y="180"/>
                    <a:pt x="458" y="180"/>
                  </a:cubicBezTo>
                  <a:cubicBezTo>
                    <a:pt x="459" y="180"/>
                    <a:pt x="461" y="180"/>
                    <a:pt x="462" y="180"/>
                  </a:cubicBezTo>
                  <a:cubicBezTo>
                    <a:pt x="463" y="180"/>
                    <a:pt x="464" y="180"/>
                    <a:pt x="465" y="180"/>
                  </a:cubicBezTo>
                  <a:cubicBezTo>
                    <a:pt x="466" y="180"/>
                    <a:pt x="467" y="180"/>
                    <a:pt x="468" y="179"/>
                  </a:cubicBezTo>
                  <a:cubicBezTo>
                    <a:pt x="470" y="179"/>
                    <a:pt x="472" y="178"/>
                    <a:pt x="474" y="177"/>
                  </a:cubicBezTo>
                  <a:cubicBezTo>
                    <a:pt x="479" y="175"/>
                    <a:pt x="479" y="175"/>
                    <a:pt x="479" y="175"/>
                  </a:cubicBezTo>
                  <a:cubicBezTo>
                    <a:pt x="482" y="173"/>
                    <a:pt x="485" y="174"/>
                    <a:pt x="488" y="175"/>
                  </a:cubicBezTo>
                  <a:cubicBezTo>
                    <a:pt x="491" y="177"/>
                    <a:pt x="492" y="180"/>
                    <a:pt x="493" y="183"/>
                  </a:cubicBezTo>
                  <a:cubicBezTo>
                    <a:pt x="493" y="189"/>
                    <a:pt x="493" y="189"/>
                    <a:pt x="493" y="189"/>
                  </a:cubicBezTo>
                  <a:cubicBezTo>
                    <a:pt x="495" y="206"/>
                    <a:pt x="509" y="220"/>
                    <a:pt x="526" y="221"/>
                  </a:cubicBezTo>
                  <a:cubicBezTo>
                    <a:pt x="532" y="222"/>
                    <a:pt x="532" y="222"/>
                    <a:pt x="532" y="222"/>
                  </a:cubicBezTo>
                  <a:cubicBezTo>
                    <a:pt x="535" y="222"/>
                    <a:pt x="538" y="224"/>
                    <a:pt x="539" y="227"/>
                  </a:cubicBezTo>
                  <a:cubicBezTo>
                    <a:pt x="541" y="230"/>
                    <a:pt x="541" y="233"/>
                    <a:pt x="540" y="236"/>
                  </a:cubicBezTo>
                  <a:cubicBezTo>
                    <a:pt x="537" y="241"/>
                    <a:pt x="537" y="241"/>
                    <a:pt x="537" y="241"/>
                  </a:cubicBezTo>
                  <a:cubicBezTo>
                    <a:pt x="537" y="241"/>
                    <a:pt x="537" y="241"/>
                    <a:pt x="537" y="242"/>
                  </a:cubicBezTo>
                  <a:cubicBezTo>
                    <a:pt x="532" y="253"/>
                    <a:pt x="533" y="265"/>
                    <a:pt x="539" y="274"/>
                  </a:cubicBezTo>
                  <a:cubicBezTo>
                    <a:pt x="539" y="274"/>
                    <a:pt x="539" y="275"/>
                    <a:pt x="539" y="275"/>
                  </a:cubicBezTo>
                  <a:cubicBezTo>
                    <a:pt x="540" y="276"/>
                    <a:pt x="541" y="277"/>
                    <a:pt x="542" y="278"/>
                  </a:cubicBezTo>
                  <a:cubicBezTo>
                    <a:pt x="542" y="279"/>
                    <a:pt x="542" y="279"/>
                    <a:pt x="543" y="280"/>
                  </a:cubicBezTo>
                  <a:cubicBezTo>
                    <a:pt x="544" y="281"/>
                    <a:pt x="544" y="281"/>
                    <a:pt x="545" y="282"/>
                  </a:cubicBezTo>
                  <a:cubicBezTo>
                    <a:pt x="546" y="284"/>
                    <a:pt x="548" y="285"/>
                    <a:pt x="549" y="286"/>
                  </a:cubicBezTo>
                  <a:cubicBezTo>
                    <a:pt x="554" y="289"/>
                    <a:pt x="554" y="289"/>
                    <a:pt x="554" y="289"/>
                  </a:cubicBezTo>
                  <a:cubicBezTo>
                    <a:pt x="557" y="291"/>
                    <a:pt x="558" y="294"/>
                    <a:pt x="558" y="297"/>
                  </a:cubicBezTo>
                  <a:cubicBezTo>
                    <a:pt x="558" y="300"/>
                    <a:pt x="557" y="303"/>
                    <a:pt x="554" y="305"/>
                  </a:cubicBezTo>
                  <a:cubicBezTo>
                    <a:pt x="549" y="309"/>
                    <a:pt x="549" y="309"/>
                    <a:pt x="549" y="309"/>
                  </a:cubicBezTo>
                  <a:cubicBezTo>
                    <a:pt x="549" y="309"/>
                    <a:pt x="549" y="309"/>
                    <a:pt x="549" y="309"/>
                  </a:cubicBezTo>
                  <a:cubicBezTo>
                    <a:pt x="547" y="310"/>
                    <a:pt x="546" y="311"/>
                    <a:pt x="544" y="313"/>
                  </a:cubicBezTo>
                  <a:cubicBezTo>
                    <a:pt x="544" y="313"/>
                    <a:pt x="543" y="314"/>
                    <a:pt x="543" y="315"/>
                  </a:cubicBezTo>
                  <a:cubicBezTo>
                    <a:pt x="542" y="316"/>
                    <a:pt x="541" y="317"/>
                    <a:pt x="541" y="318"/>
                  </a:cubicBezTo>
                  <a:cubicBezTo>
                    <a:pt x="540" y="318"/>
                    <a:pt x="540" y="318"/>
                    <a:pt x="540" y="319"/>
                  </a:cubicBezTo>
                  <a:cubicBezTo>
                    <a:pt x="365" y="319"/>
                    <a:pt x="365" y="319"/>
                    <a:pt x="365" y="319"/>
                  </a:cubicBezTo>
                  <a:cubicBezTo>
                    <a:pt x="366" y="317"/>
                    <a:pt x="367" y="316"/>
                    <a:pt x="368" y="314"/>
                  </a:cubicBezTo>
                  <a:cubicBezTo>
                    <a:pt x="368" y="314"/>
                    <a:pt x="368" y="314"/>
                    <a:pt x="368" y="314"/>
                  </a:cubicBezTo>
                  <a:cubicBezTo>
                    <a:pt x="370" y="312"/>
                    <a:pt x="370" y="309"/>
                    <a:pt x="371" y="307"/>
                  </a:cubicBezTo>
                  <a:cubicBezTo>
                    <a:pt x="371" y="306"/>
                    <a:pt x="371" y="306"/>
                    <a:pt x="372" y="305"/>
                  </a:cubicBezTo>
                  <a:cubicBezTo>
                    <a:pt x="372" y="302"/>
                    <a:pt x="372" y="300"/>
                    <a:pt x="372" y="297"/>
                  </a:cubicBezTo>
                  <a:cubicBezTo>
                    <a:pt x="372" y="296"/>
                    <a:pt x="372" y="294"/>
                    <a:pt x="372" y="292"/>
                  </a:cubicBezTo>
                  <a:cubicBezTo>
                    <a:pt x="372" y="291"/>
                    <a:pt x="372" y="290"/>
                    <a:pt x="371" y="289"/>
                  </a:cubicBezTo>
                  <a:cubicBezTo>
                    <a:pt x="370" y="285"/>
                    <a:pt x="369" y="281"/>
                    <a:pt x="366" y="278"/>
                  </a:cubicBezTo>
                  <a:cubicBezTo>
                    <a:pt x="364" y="274"/>
                    <a:pt x="361" y="270"/>
                    <a:pt x="357" y="268"/>
                  </a:cubicBezTo>
                  <a:cubicBezTo>
                    <a:pt x="352" y="264"/>
                    <a:pt x="352" y="264"/>
                    <a:pt x="352" y="264"/>
                  </a:cubicBezTo>
                  <a:cubicBezTo>
                    <a:pt x="349" y="262"/>
                    <a:pt x="347" y="256"/>
                    <a:pt x="349" y="252"/>
                  </a:cubicBezTo>
                  <a:cubicBezTo>
                    <a:pt x="352" y="247"/>
                    <a:pt x="352" y="247"/>
                    <a:pt x="352" y="247"/>
                  </a:cubicBezTo>
                  <a:cubicBezTo>
                    <a:pt x="353" y="244"/>
                    <a:pt x="354" y="242"/>
                    <a:pt x="354" y="239"/>
                  </a:cubicBezTo>
                  <a:cubicBezTo>
                    <a:pt x="354" y="238"/>
                    <a:pt x="354" y="237"/>
                    <a:pt x="354" y="237"/>
                  </a:cubicBezTo>
                  <a:cubicBezTo>
                    <a:pt x="355" y="235"/>
                    <a:pt x="355" y="233"/>
                    <a:pt x="355" y="231"/>
                  </a:cubicBezTo>
                  <a:cubicBezTo>
                    <a:pt x="355" y="230"/>
                    <a:pt x="355" y="229"/>
                    <a:pt x="354" y="228"/>
                  </a:cubicBezTo>
                  <a:cubicBezTo>
                    <a:pt x="354" y="226"/>
                    <a:pt x="354" y="225"/>
                    <a:pt x="354" y="223"/>
                  </a:cubicBezTo>
                  <a:cubicBezTo>
                    <a:pt x="353" y="222"/>
                    <a:pt x="353" y="221"/>
                    <a:pt x="353" y="220"/>
                  </a:cubicBezTo>
                  <a:cubicBezTo>
                    <a:pt x="352" y="219"/>
                    <a:pt x="352" y="218"/>
                    <a:pt x="352" y="217"/>
                  </a:cubicBezTo>
                  <a:cubicBezTo>
                    <a:pt x="352" y="217"/>
                    <a:pt x="351" y="216"/>
                    <a:pt x="351" y="216"/>
                  </a:cubicBezTo>
                  <a:cubicBezTo>
                    <a:pt x="351" y="215"/>
                    <a:pt x="350" y="214"/>
                    <a:pt x="350" y="214"/>
                  </a:cubicBezTo>
                  <a:cubicBezTo>
                    <a:pt x="349" y="212"/>
                    <a:pt x="348" y="211"/>
                    <a:pt x="348" y="210"/>
                  </a:cubicBezTo>
                  <a:cubicBezTo>
                    <a:pt x="347" y="209"/>
                    <a:pt x="346" y="208"/>
                    <a:pt x="345" y="207"/>
                  </a:cubicBezTo>
                  <a:cubicBezTo>
                    <a:pt x="344" y="206"/>
                    <a:pt x="342" y="204"/>
                    <a:pt x="340" y="203"/>
                  </a:cubicBezTo>
                  <a:cubicBezTo>
                    <a:pt x="340" y="202"/>
                    <a:pt x="339" y="202"/>
                    <a:pt x="339" y="201"/>
                  </a:cubicBezTo>
                  <a:cubicBezTo>
                    <a:pt x="340" y="197"/>
                    <a:pt x="341" y="193"/>
                    <a:pt x="341" y="189"/>
                  </a:cubicBezTo>
                  <a:close/>
                  <a:moveTo>
                    <a:pt x="268" y="49"/>
                  </a:moveTo>
                  <a:cubicBezTo>
                    <a:pt x="276" y="37"/>
                    <a:pt x="293" y="34"/>
                    <a:pt x="305" y="43"/>
                  </a:cubicBezTo>
                  <a:cubicBezTo>
                    <a:pt x="311" y="47"/>
                    <a:pt x="315" y="53"/>
                    <a:pt x="316" y="60"/>
                  </a:cubicBezTo>
                  <a:cubicBezTo>
                    <a:pt x="317" y="67"/>
                    <a:pt x="315" y="74"/>
                    <a:pt x="311" y="80"/>
                  </a:cubicBezTo>
                  <a:cubicBezTo>
                    <a:pt x="260" y="153"/>
                    <a:pt x="260" y="153"/>
                    <a:pt x="260" y="153"/>
                  </a:cubicBezTo>
                  <a:cubicBezTo>
                    <a:pt x="235" y="188"/>
                    <a:pt x="235" y="188"/>
                    <a:pt x="235" y="188"/>
                  </a:cubicBezTo>
                  <a:cubicBezTo>
                    <a:pt x="231" y="194"/>
                    <a:pt x="225" y="198"/>
                    <a:pt x="218" y="199"/>
                  </a:cubicBezTo>
                  <a:cubicBezTo>
                    <a:pt x="211" y="200"/>
                    <a:pt x="204" y="199"/>
                    <a:pt x="198" y="195"/>
                  </a:cubicBezTo>
                  <a:cubicBezTo>
                    <a:pt x="198" y="195"/>
                    <a:pt x="198" y="194"/>
                    <a:pt x="198" y="194"/>
                  </a:cubicBezTo>
                  <a:cubicBezTo>
                    <a:pt x="196" y="193"/>
                    <a:pt x="194" y="191"/>
                    <a:pt x="193" y="190"/>
                  </a:cubicBezTo>
                  <a:cubicBezTo>
                    <a:pt x="193" y="189"/>
                    <a:pt x="192" y="189"/>
                    <a:pt x="192" y="188"/>
                  </a:cubicBezTo>
                  <a:cubicBezTo>
                    <a:pt x="191" y="187"/>
                    <a:pt x="190" y="185"/>
                    <a:pt x="189" y="183"/>
                  </a:cubicBezTo>
                  <a:cubicBezTo>
                    <a:pt x="189" y="183"/>
                    <a:pt x="189" y="183"/>
                    <a:pt x="189" y="182"/>
                  </a:cubicBezTo>
                  <a:cubicBezTo>
                    <a:pt x="188" y="180"/>
                    <a:pt x="187" y="178"/>
                    <a:pt x="187" y="176"/>
                  </a:cubicBezTo>
                  <a:cubicBezTo>
                    <a:pt x="187" y="175"/>
                    <a:pt x="187" y="175"/>
                    <a:pt x="187" y="174"/>
                  </a:cubicBezTo>
                  <a:cubicBezTo>
                    <a:pt x="187" y="172"/>
                    <a:pt x="187" y="170"/>
                    <a:pt x="187" y="167"/>
                  </a:cubicBezTo>
                  <a:cubicBezTo>
                    <a:pt x="188" y="164"/>
                    <a:pt x="189" y="161"/>
                    <a:pt x="192" y="158"/>
                  </a:cubicBezTo>
                  <a:lnTo>
                    <a:pt x="268" y="49"/>
                  </a:lnTo>
                  <a:close/>
                  <a:moveTo>
                    <a:pt x="73" y="309"/>
                  </a:moveTo>
                  <a:cubicBezTo>
                    <a:pt x="68" y="305"/>
                    <a:pt x="68" y="305"/>
                    <a:pt x="68" y="305"/>
                  </a:cubicBezTo>
                  <a:cubicBezTo>
                    <a:pt x="66" y="303"/>
                    <a:pt x="64" y="300"/>
                    <a:pt x="64" y="297"/>
                  </a:cubicBezTo>
                  <a:cubicBezTo>
                    <a:pt x="64" y="294"/>
                    <a:pt x="66" y="291"/>
                    <a:pt x="68" y="289"/>
                  </a:cubicBezTo>
                  <a:cubicBezTo>
                    <a:pt x="73" y="286"/>
                    <a:pt x="73" y="286"/>
                    <a:pt x="73" y="286"/>
                  </a:cubicBezTo>
                  <a:cubicBezTo>
                    <a:pt x="87" y="276"/>
                    <a:pt x="92" y="257"/>
                    <a:pt x="85" y="241"/>
                  </a:cubicBezTo>
                  <a:cubicBezTo>
                    <a:pt x="83" y="236"/>
                    <a:pt x="83" y="236"/>
                    <a:pt x="83" y="236"/>
                  </a:cubicBezTo>
                  <a:cubicBezTo>
                    <a:pt x="81" y="233"/>
                    <a:pt x="81" y="230"/>
                    <a:pt x="83" y="227"/>
                  </a:cubicBezTo>
                  <a:cubicBezTo>
                    <a:pt x="85" y="224"/>
                    <a:pt x="87" y="222"/>
                    <a:pt x="91" y="222"/>
                  </a:cubicBezTo>
                  <a:cubicBezTo>
                    <a:pt x="96" y="221"/>
                    <a:pt x="96" y="221"/>
                    <a:pt x="96" y="221"/>
                  </a:cubicBezTo>
                  <a:cubicBezTo>
                    <a:pt x="114" y="220"/>
                    <a:pt x="128" y="206"/>
                    <a:pt x="129" y="189"/>
                  </a:cubicBezTo>
                  <a:cubicBezTo>
                    <a:pt x="130" y="183"/>
                    <a:pt x="130" y="183"/>
                    <a:pt x="130" y="183"/>
                  </a:cubicBezTo>
                  <a:cubicBezTo>
                    <a:pt x="130" y="180"/>
                    <a:pt x="132" y="177"/>
                    <a:pt x="135" y="175"/>
                  </a:cubicBezTo>
                  <a:cubicBezTo>
                    <a:pt x="137" y="174"/>
                    <a:pt x="141" y="173"/>
                    <a:pt x="144" y="175"/>
                  </a:cubicBezTo>
                  <a:cubicBezTo>
                    <a:pt x="149" y="177"/>
                    <a:pt x="149" y="177"/>
                    <a:pt x="149" y="177"/>
                  </a:cubicBezTo>
                  <a:cubicBezTo>
                    <a:pt x="153" y="179"/>
                    <a:pt x="157" y="180"/>
                    <a:pt x="161" y="180"/>
                  </a:cubicBezTo>
                  <a:cubicBezTo>
                    <a:pt x="161" y="181"/>
                    <a:pt x="161" y="181"/>
                    <a:pt x="161" y="181"/>
                  </a:cubicBezTo>
                  <a:cubicBezTo>
                    <a:pt x="161" y="181"/>
                    <a:pt x="161" y="182"/>
                    <a:pt x="161" y="182"/>
                  </a:cubicBezTo>
                  <a:cubicBezTo>
                    <a:pt x="161" y="183"/>
                    <a:pt x="162" y="185"/>
                    <a:pt x="162" y="186"/>
                  </a:cubicBezTo>
                  <a:cubicBezTo>
                    <a:pt x="163" y="188"/>
                    <a:pt x="163" y="190"/>
                    <a:pt x="164" y="191"/>
                  </a:cubicBezTo>
                  <a:cubicBezTo>
                    <a:pt x="164" y="193"/>
                    <a:pt x="165" y="195"/>
                    <a:pt x="166" y="197"/>
                  </a:cubicBezTo>
                  <a:cubicBezTo>
                    <a:pt x="167" y="198"/>
                    <a:pt x="167" y="200"/>
                    <a:pt x="168" y="201"/>
                  </a:cubicBezTo>
                  <a:cubicBezTo>
                    <a:pt x="169" y="203"/>
                    <a:pt x="171" y="205"/>
                    <a:pt x="173" y="207"/>
                  </a:cubicBezTo>
                  <a:cubicBezTo>
                    <a:pt x="173" y="207"/>
                    <a:pt x="174" y="208"/>
                    <a:pt x="175" y="209"/>
                  </a:cubicBezTo>
                  <a:cubicBezTo>
                    <a:pt x="177" y="212"/>
                    <a:pt x="180" y="214"/>
                    <a:pt x="183" y="216"/>
                  </a:cubicBezTo>
                  <a:cubicBezTo>
                    <a:pt x="185" y="218"/>
                    <a:pt x="188" y="220"/>
                    <a:pt x="191" y="221"/>
                  </a:cubicBezTo>
                  <a:cubicBezTo>
                    <a:pt x="192" y="221"/>
                    <a:pt x="193" y="222"/>
                    <a:pt x="194" y="222"/>
                  </a:cubicBezTo>
                  <a:cubicBezTo>
                    <a:pt x="196" y="223"/>
                    <a:pt x="198" y="223"/>
                    <a:pt x="200" y="224"/>
                  </a:cubicBezTo>
                  <a:cubicBezTo>
                    <a:pt x="201" y="224"/>
                    <a:pt x="202" y="225"/>
                    <a:pt x="203" y="225"/>
                  </a:cubicBezTo>
                  <a:cubicBezTo>
                    <a:pt x="205" y="225"/>
                    <a:pt x="208" y="225"/>
                    <a:pt x="210" y="226"/>
                  </a:cubicBezTo>
                  <a:cubicBezTo>
                    <a:pt x="211" y="226"/>
                    <a:pt x="212" y="226"/>
                    <a:pt x="212" y="226"/>
                  </a:cubicBezTo>
                  <a:cubicBezTo>
                    <a:pt x="213" y="226"/>
                    <a:pt x="213" y="226"/>
                    <a:pt x="213" y="226"/>
                  </a:cubicBezTo>
                  <a:cubicBezTo>
                    <a:pt x="216" y="226"/>
                    <a:pt x="219" y="226"/>
                    <a:pt x="222" y="225"/>
                  </a:cubicBezTo>
                  <a:cubicBezTo>
                    <a:pt x="236" y="223"/>
                    <a:pt x="248" y="215"/>
                    <a:pt x="257" y="203"/>
                  </a:cubicBezTo>
                  <a:cubicBezTo>
                    <a:pt x="276" y="176"/>
                    <a:pt x="276" y="176"/>
                    <a:pt x="276" y="176"/>
                  </a:cubicBezTo>
                  <a:cubicBezTo>
                    <a:pt x="278" y="177"/>
                    <a:pt x="280" y="180"/>
                    <a:pt x="280" y="183"/>
                  </a:cubicBezTo>
                  <a:cubicBezTo>
                    <a:pt x="281" y="189"/>
                    <a:pt x="281" y="189"/>
                    <a:pt x="281" y="189"/>
                  </a:cubicBezTo>
                  <a:cubicBezTo>
                    <a:pt x="282" y="206"/>
                    <a:pt x="296" y="220"/>
                    <a:pt x="314" y="221"/>
                  </a:cubicBezTo>
                  <a:cubicBezTo>
                    <a:pt x="319" y="222"/>
                    <a:pt x="319" y="222"/>
                    <a:pt x="319" y="222"/>
                  </a:cubicBezTo>
                  <a:cubicBezTo>
                    <a:pt x="321" y="222"/>
                    <a:pt x="322" y="223"/>
                    <a:pt x="323" y="223"/>
                  </a:cubicBezTo>
                  <a:cubicBezTo>
                    <a:pt x="323" y="223"/>
                    <a:pt x="324" y="224"/>
                    <a:pt x="324" y="224"/>
                  </a:cubicBezTo>
                  <a:cubicBezTo>
                    <a:pt x="325" y="224"/>
                    <a:pt x="326" y="225"/>
                    <a:pt x="326" y="226"/>
                  </a:cubicBezTo>
                  <a:cubicBezTo>
                    <a:pt x="327" y="226"/>
                    <a:pt x="327" y="227"/>
                    <a:pt x="327" y="227"/>
                  </a:cubicBezTo>
                  <a:cubicBezTo>
                    <a:pt x="328" y="228"/>
                    <a:pt x="328" y="230"/>
                    <a:pt x="328" y="231"/>
                  </a:cubicBezTo>
                  <a:cubicBezTo>
                    <a:pt x="328" y="231"/>
                    <a:pt x="328" y="231"/>
                    <a:pt x="328" y="231"/>
                  </a:cubicBezTo>
                  <a:cubicBezTo>
                    <a:pt x="328" y="233"/>
                    <a:pt x="328" y="234"/>
                    <a:pt x="327" y="236"/>
                  </a:cubicBezTo>
                  <a:cubicBezTo>
                    <a:pt x="325" y="241"/>
                    <a:pt x="325" y="241"/>
                    <a:pt x="325" y="241"/>
                  </a:cubicBezTo>
                  <a:cubicBezTo>
                    <a:pt x="322" y="247"/>
                    <a:pt x="321" y="253"/>
                    <a:pt x="322" y="260"/>
                  </a:cubicBezTo>
                  <a:cubicBezTo>
                    <a:pt x="322" y="260"/>
                    <a:pt x="322" y="260"/>
                    <a:pt x="322" y="260"/>
                  </a:cubicBezTo>
                  <a:cubicBezTo>
                    <a:pt x="322" y="262"/>
                    <a:pt x="322" y="264"/>
                    <a:pt x="323" y="266"/>
                  </a:cubicBezTo>
                  <a:cubicBezTo>
                    <a:pt x="325" y="274"/>
                    <a:pt x="330" y="281"/>
                    <a:pt x="337" y="286"/>
                  </a:cubicBezTo>
                  <a:cubicBezTo>
                    <a:pt x="340" y="288"/>
                    <a:pt x="340" y="288"/>
                    <a:pt x="340" y="288"/>
                  </a:cubicBezTo>
                  <a:cubicBezTo>
                    <a:pt x="342" y="289"/>
                    <a:pt x="342" y="289"/>
                    <a:pt x="342" y="289"/>
                  </a:cubicBezTo>
                  <a:cubicBezTo>
                    <a:pt x="344" y="291"/>
                    <a:pt x="346" y="294"/>
                    <a:pt x="346" y="297"/>
                  </a:cubicBezTo>
                  <a:cubicBezTo>
                    <a:pt x="346" y="299"/>
                    <a:pt x="346" y="300"/>
                    <a:pt x="345" y="302"/>
                  </a:cubicBezTo>
                  <a:cubicBezTo>
                    <a:pt x="345" y="302"/>
                    <a:pt x="344" y="302"/>
                    <a:pt x="344" y="303"/>
                  </a:cubicBezTo>
                  <a:cubicBezTo>
                    <a:pt x="343" y="304"/>
                    <a:pt x="343" y="305"/>
                    <a:pt x="342" y="305"/>
                  </a:cubicBezTo>
                  <a:cubicBezTo>
                    <a:pt x="342" y="305"/>
                    <a:pt x="342" y="305"/>
                    <a:pt x="342" y="305"/>
                  </a:cubicBezTo>
                  <a:cubicBezTo>
                    <a:pt x="337" y="309"/>
                    <a:pt x="337" y="309"/>
                    <a:pt x="337" y="309"/>
                  </a:cubicBezTo>
                  <a:cubicBezTo>
                    <a:pt x="335" y="310"/>
                    <a:pt x="334" y="311"/>
                    <a:pt x="332" y="313"/>
                  </a:cubicBezTo>
                  <a:cubicBezTo>
                    <a:pt x="332" y="313"/>
                    <a:pt x="331" y="314"/>
                    <a:pt x="331" y="314"/>
                  </a:cubicBezTo>
                  <a:cubicBezTo>
                    <a:pt x="330" y="316"/>
                    <a:pt x="329" y="317"/>
                    <a:pt x="328" y="318"/>
                  </a:cubicBezTo>
                  <a:cubicBezTo>
                    <a:pt x="328" y="318"/>
                    <a:pt x="328" y="319"/>
                    <a:pt x="327" y="319"/>
                  </a:cubicBezTo>
                  <a:cubicBezTo>
                    <a:pt x="83" y="319"/>
                    <a:pt x="83" y="319"/>
                    <a:pt x="83" y="319"/>
                  </a:cubicBezTo>
                  <a:cubicBezTo>
                    <a:pt x="80" y="315"/>
                    <a:pt x="77" y="311"/>
                    <a:pt x="73" y="309"/>
                  </a:cubicBezTo>
                  <a:close/>
                  <a:moveTo>
                    <a:pt x="585" y="555"/>
                  </a:moveTo>
                  <a:cubicBezTo>
                    <a:pt x="568" y="563"/>
                    <a:pt x="553" y="577"/>
                    <a:pt x="545" y="594"/>
                  </a:cubicBezTo>
                  <a:cubicBezTo>
                    <a:pt x="535" y="613"/>
                    <a:pt x="536" y="638"/>
                    <a:pt x="548" y="658"/>
                  </a:cubicBezTo>
                  <a:cubicBezTo>
                    <a:pt x="549" y="660"/>
                    <a:pt x="549" y="661"/>
                    <a:pt x="548" y="662"/>
                  </a:cubicBezTo>
                  <a:cubicBezTo>
                    <a:pt x="548" y="663"/>
                    <a:pt x="547" y="664"/>
                    <a:pt x="545" y="664"/>
                  </a:cubicBezTo>
                  <a:cubicBezTo>
                    <a:pt x="243" y="664"/>
                    <a:pt x="243" y="664"/>
                    <a:pt x="243" y="664"/>
                  </a:cubicBezTo>
                  <a:cubicBezTo>
                    <a:pt x="241" y="664"/>
                    <a:pt x="240" y="663"/>
                    <a:pt x="239" y="662"/>
                  </a:cubicBezTo>
                  <a:cubicBezTo>
                    <a:pt x="239" y="661"/>
                    <a:pt x="239" y="660"/>
                    <a:pt x="240" y="658"/>
                  </a:cubicBezTo>
                  <a:cubicBezTo>
                    <a:pt x="252" y="638"/>
                    <a:pt x="253" y="613"/>
                    <a:pt x="243" y="594"/>
                  </a:cubicBezTo>
                  <a:cubicBezTo>
                    <a:pt x="234" y="577"/>
                    <a:pt x="220" y="563"/>
                    <a:pt x="203" y="555"/>
                  </a:cubicBezTo>
                  <a:cubicBezTo>
                    <a:pt x="100" y="506"/>
                    <a:pt x="35" y="454"/>
                    <a:pt x="28" y="351"/>
                  </a:cubicBezTo>
                  <a:cubicBezTo>
                    <a:pt x="27" y="349"/>
                    <a:pt x="28" y="347"/>
                    <a:pt x="29" y="347"/>
                  </a:cubicBezTo>
                  <a:cubicBezTo>
                    <a:pt x="30" y="346"/>
                    <a:pt x="31" y="345"/>
                    <a:pt x="32" y="345"/>
                  </a:cubicBezTo>
                  <a:cubicBezTo>
                    <a:pt x="755" y="345"/>
                    <a:pt x="755" y="345"/>
                    <a:pt x="755" y="345"/>
                  </a:cubicBezTo>
                  <a:cubicBezTo>
                    <a:pt x="757" y="345"/>
                    <a:pt x="758" y="346"/>
                    <a:pt x="759" y="347"/>
                  </a:cubicBezTo>
                  <a:cubicBezTo>
                    <a:pt x="759" y="347"/>
                    <a:pt x="760" y="349"/>
                    <a:pt x="760" y="351"/>
                  </a:cubicBezTo>
                  <a:cubicBezTo>
                    <a:pt x="753" y="454"/>
                    <a:pt x="688" y="506"/>
                    <a:pt x="585" y="555"/>
                  </a:cubicBezTo>
                  <a:close/>
                  <a:moveTo>
                    <a:pt x="585" y="555"/>
                  </a:moveTo>
                  <a:cubicBezTo>
                    <a:pt x="585" y="555"/>
                    <a:pt x="585" y="555"/>
                    <a:pt x="585" y="5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6" name="Freeform 10">
              <a:extLst>
                <a:ext uri="{FF2B5EF4-FFF2-40B4-BE49-F238E27FC236}">
                  <a16:creationId xmlns:a16="http://schemas.microsoft.com/office/drawing/2014/main" id="{0194CE33-7A71-4474-B8A5-F8653DDEFCB2}"/>
                </a:ext>
              </a:extLst>
            </p:cNvPr>
            <p:cNvSpPr>
              <a:spLocks noEditPoints="1"/>
            </p:cNvSpPr>
            <p:nvPr/>
          </p:nvSpPr>
          <p:spPr bwMode="auto">
            <a:xfrm>
              <a:off x="4459288" y="2987675"/>
              <a:ext cx="534988" cy="98425"/>
            </a:xfrm>
            <a:custGeom>
              <a:avLst/>
              <a:gdLst>
                <a:gd name="T0" fmla="*/ 129 w 142"/>
                <a:gd name="T1" fmla="*/ 0 h 26"/>
                <a:gd name="T2" fmla="*/ 13 w 142"/>
                <a:gd name="T3" fmla="*/ 0 h 26"/>
                <a:gd name="T4" fmla="*/ 0 w 142"/>
                <a:gd name="T5" fmla="*/ 13 h 26"/>
                <a:gd name="T6" fmla="*/ 13 w 142"/>
                <a:gd name="T7" fmla="*/ 26 h 26"/>
                <a:gd name="T8" fmla="*/ 129 w 142"/>
                <a:gd name="T9" fmla="*/ 26 h 26"/>
                <a:gd name="T10" fmla="*/ 142 w 142"/>
                <a:gd name="T11" fmla="*/ 13 h 26"/>
                <a:gd name="T12" fmla="*/ 129 w 142"/>
                <a:gd name="T13" fmla="*/ 0 h 26"/>
                <a:gd name="T14" fmla="*/ 129 w 142"/>
                <a:gd name="T15" fmla="*/ 0 h 26"/>
                <a:gd name="T16" fmla="*/ 129 w 142"/>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26">
                  <a:moveTo>
                    <a:pt x="129" y="0"/>
                  </a:moveTo>
                  <a:cubicBezTo>
                    <a:pt x="13" y="0"/>
                    <a:pt x="13" y="0"/>
                    <a:pt x="13" y="0"/>
                  </a:cubicBezTo>
                  <a:cubicBezTo>
                    <a:pt x="6" y="0"/>
                    <a:pt x="0" y="6"/>
                    <a:pt x="0" y="13"/>
                  </a:cubicBezTo>
                  <a:cubicBezTo>
                    <a:pt x="0" y="20"/>
                    <a:pt x="6" y="26"/>
                    <a:pt x="13" y="26"/>
                  </a:cubicBezTo>
                  <a:cubicBezTo>
                    <a:pt x="129" y="26"/>
                    <a:pt x="129" y="26"/>
                    <a:pt x="129" y="26"/>
                  </a:cubicBezTo>
                  <a:cubicBezTo>
                    <a:pt x="136" y="26"/>
                    <a:pt x="142" y="20"/>
                    <a:pt x="142" y="13"/>
                  </a:cubicBezTo>
                  <a:cubicBezTo>
                    <a:pt x="142" y="6"/>
                    <a:pt x="136" y="0"/>
                    <a:pt x="129" y="0"/>
                  </a:cubicBezTo>
                  <a:close/>
                  <a:moveTo>
                    <a:pt x="129" y="0"/>
                  </a:moveTo>
                  <a:cubicBezTo>
                    <a:pt x="129" y="0"/>
                    <a:pt x="129"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7" name="Freeform 11">
              <a:extLst>
                <a:ext uri="{FF2B5EF4-FFF2-40B4-BE49-F238E27FC236}">
                  <a16:creationId xmlns:a16="http://schemas.microsoft.com/office/drawing/2014/main" id="{8EA48956-E5A2-4BA0-BE8E-7107CF447C71}"/>
                </a:ext>
              </a:extLst>
            </p:cNvPr>
            <p:cNvSpPr>
              <a:spLocks noEditPoints="1"/>
            </p:cNvSpPr>
            <p:nvPr/>
          </p:nvSpPr>
          <p:spPr bwMode="auto">
            <a:xfrm>
              <a:off x="4146550" y="2987675"/>
              <a:ext cx="266700" cy="98425"/>
            </a:xfrm>
            <a:custGeom>
              <a:avLst/>
              <a:gdLst>
                <a:gd name="T0" fmla="*/ 13 w 71"/>
                <a:gd name="T1" fmla="*/ 26 h 26"/>
                <a:gd name="T2" fmla="*/ 58 w 71"/>
                <a:gd name="T3" fmla="*/ 26 h 26"/>
                <a:gd name="T4" fmla="*/ 71 w 71"/>
                <a:gd name="T5" fmla="*/ 13 h 26"/>
                <a:gd name="T6" fmla="*/ 58 w 71"/>
                <a:gd name="T7" fmla="*/ 0 h 26"/>
                <a:gd name="T8" fmla="*/ 13 w 71"/>
                <a:gd name="T9" fmla="*/ 0 h 26"/>
                <a:gd name="T10" fmla="*/ 0 w 71"/>
                <a:gd name="T11" fmla="*/ 13 h 26"/>
                <a:gd name="T12" fmla="*/ 13 w 71"/>
                <a:gd name="T13" fmla="*/ 26 h 26"/>
                <a:gd name="T14" fmla="*/ 13 w 71"/>
                <a:gd name="T15" fmla="*/ 26 h 26"/>
                <a:gd name="T16" fmla="*/ 13 w 71"/>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26">
                  <a:moveTo>
                    <a:pt x="13" y="26"/>
                  </a:moveTo>
                  <a:cubicBezTo>
                    <a:pt x="58" y="26"/>
                    <a:pt x="58" y="26"/>
                    <a:pt x="58" y="26"/>
                  </a:cubicBezTo>
                  <a:cubicBezTo>
                    <a:pt x="65" y="26"/>
                    <a:pt x="71" y="20"/>
                    <a:pt x="71" y="13"/>
                  </a:cubicBezTo>
                  <a:cubicBezTo>
                    <a:pt x="71" y="6"/>
                    <a:pt x="65" y="0"/>
                    <a:pt x="58" y="0"/>
                  </a:cubicBezTo>
                  <a:cubicBezTo>
                    <a:pt x="13" y="0"/>
                    <a:pt x="13" y="0"/>
                    <a:pt x="13" y="0"/>
                  </a:cubicBezTo>
                  <a:cubicBezTo>
                    <a:pt x="6" y="0"/>
                    <a:pt x="0" y="6"/>
                    <a:pt x="0" y="13"/>
                  </a:cubicBezTo>
                  <a:cubicBezTo>
                    <a:pt x="0" y="20"/>
                    <a:pt x="6"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8" name="Freeform 12">
              <a:extLst>
                <a:ext uri="{FF2B5EF4-FFF2-40B4-BE49-F238E27FC236}">
                  <a16:creationId xmlns:a16="http://schemas.microsoft.com/office/drawing/2014/main" id="{807CC988-77DE-42E1-9943-6207A003D965}"/>
                </a:ext>
              </a:extLst>
            </p:cNvPr>
            <p:cNvSpPr>
              <a:spLocks noEditPoints="1"/>
            </p:cNvSpPr>
            <p:nvPr/>
          </p:nvSpPr>
          <p:spPr bwMode="auto">
            <a:xfrm>
              <a:off x="4146550" y="3138488"/>
              <a:ext cx="847725" cy="98425"/>
            </a:xfrm>
            <a:custGeom>
              <a:avLst/>
              <a:gdLst>
                <a:gd name="T0" fmla="*/ 212 w 225"/>
                <a:gd name="T1" fmla="*/ 0 h 26"/>
                <a:gd name="T2" fmla="*/ 13 w 225"/>
                <a:gd name="T3" fmla="*/ 0 h 26"/>
                <a:gd name="T4" fmla="*/ 0 w 225"/>
                <a:gd name="T5" fmla="*/ 13 h 26"/>
                <a:gd name="T6" fmla="*/ 13 w 225"/>
                <a:gd name="T7" fmla="*/ 26 h 26"/>
                <a:gd name="T8" fmla="*/ 212 w 225"/>
                <a:gd name="T9" fmla="*/ 26 h 26"/>
                <a:gd name="T10" fmla="*/ 225 w 225"/>
                <a:gd name="T11" fmla="*/ 13 h 26"/>
                <a:gd name="T12" fmla="*/ 212 w 225"/>
                <a:gd name="T13" fmla="*/ 0 h 26"/>
                <a:gd name="T14" fmla="*/ 212 w 225"/>
                <a:gd name="T15" fmla="*/ 0 h 26"/>
                <a:gd name="T16" fmla="*/ 212 w 225"/>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6">
                  <a:moveTo>
                    <a:pt x="212" y="0"/>
                  </a:moveTo>
                  <a:cubicBezTo>
                    <a:pt x="13" y="0"/>
                    <a:pt x="13" y="0"/>
                    <a:pt x="13" y="0"/>
                  </a:cubicBezTo>
                  <a:cubicBezTo>
                    <a:pt x="6" y="0"/>
                    <a:pt x="0" y="6"/>
                    <a:pt x="0" y="13"/>
                  </a:cubicBezTo>
                  <a:cubicBezTo>
                    <a:pt x="0" y="20"/>
                    <a:pt x="6" y="26"/>
                    <a:pt x="13" y="26"/>
                  </a:cubicBezTo>
                  <a:cubicBezTo>
                    <a:pt x="212" y="26"/>
                    <a:pt x="212" y="26"/>
                    <a:pt x="212" y="26"/>
                  </a:cubicBezTo>
                  <a:cubicBezTo>
                    <a:pt x="219" y="26"/>
                    <a:pt x="225" y="20"/>
                    <a:pt x="225" y="13"/>
                  </a:cubicBezTo>
                  <a:cubicBezTo>
                    <a:pt x="225" y="6"/>
                    <a:pt x="219" y="0"/>
                    <a:pt x="212" y="0"/>
                  </a:cubicBezTo>
                  <a:close/>
                  <a:moveTo>
                    <a:pt x="212" y="0"/>
                  </a:moveTo>
                  <a:cubicBezTo>
                    <a:pt x="212" y="0"/>
                    <a:pt x="212" y="0"/>
                    <a:pt x="21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9" name="Freeform 13">
              <a:extLst>
                <a:ext uri="{FF2B5EF4-FFF2-40B4-BE49-F238E27FC236}">
                  <a16:creationId xmlns:a16="http://schemas.microsoft.com/office/drawing/2014/main" id="{CBE59AB8-AD41-4BD2-BC0E-BB27A5187A14}"/>
                </a:ext>
              </a:extLst>
            </p:cNvPr>
            <p:cNvSpPr>
              <a:spLocks noEditPoints="1"/>
            </p:cNvSpPr>
            <p:nvPr/>
          </p:nvSpPr>
          <p:spPr bwMode="auto">
            <a:xfrm>
              <a:off x="4926013" y="1071563"/>
              <a:ext cx="252413" cy="244475"/>
            </a:xfrm>
            <a:custGeom>
              <a:avLst/>
              <a:gdLst>
                <a:gd name="T0" fmla="*/ 43 w 67"/>
                <a:gd name="T1" fmla="*/ 62 h 65"/>
                <a:gd name="T2" fmla="*/ 52 w 67"/>
                <a:gd name="T3" fmla="*/ 65 h 65"/>
                <a:gd name="T4" fmla="*/ 62 w 67"/>
                <a:gd name="T5" fmla="*/ 62 h 65"/>
                <a:gd name="T6" fmla="*/ 62 w 67"/>
                <a:gd name="T7" fmla="*/ 43 h 65"/>
                <a:gd name="T8" fmla="*/ 24 w 67"/>
                <a:gd name="T9" fmla="*/ 5 h 65"/>
                <a:gd name="T10" fmla="*/ 6 w 67"/>
                <a:gd name="T11" fmla="*/ 5 h 65"/>
                <a:gd name="T12" fmla="*/ 6 w 67"/>
                <a:gd name="T13" fmla="*/ 24 h 65"/>
                <a:gd name="T14" fmla="*/ 43 w 67"/>
                <a:gd name="T15" fmla="*/ 62 h 65"/>
                <a:gd name="T16" fmla="*/ 43 w 67"/>
                <a:gd name="T17" fmla="*/ 62 h 65"/>
                <a:gd name="T18" fmla="*/ 43 w 67"/>
                <a:gd name="T19"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5">
                  <a:moveTo>
                    <a:pt x="43" y="62"/>
                  </a:moveTo>
                  <a:cubicBezTo>
                    <a:pt x="46" y="64"/>
                    <a:pt x="49" y="65"/>
                    <a:pt x="52" y="65"/>
                  </a:cubicBezTo>
                  <a:cubicBezTo>
                    <a:pt x="56" y="65"/>
                    <a:pt x="59" y="64"/>
                    <a:pt x="62" y="62"/>
                  </a:cubicBezTo>
                  <a:cubicBezTo>
                    <a:pt x="67" y="56"/>
                    <a:pt x="67" y="48"/>
                    <a:pt x="62" y="43"/>
                  </a:cubicBezTo>
                  <a:cubicBezTo>
                    <a:pt x="24" y="5"/>
                    <a:pt x="24" y="5"/>
                    <a:pt x="24" y="5"/>
                  </a:cubicBezTo>
                  <a:cubicBezTo>
                    <a:pt x="19" y="0"/>
                    <a:pt x="11" y="0"/>
                    <a:pt x="6" y="5"/>
                  </a:cubicBezTo>
                  <a:cubicBezTo>
                    <a:pt x="0" y="11"/>
                    <a:pt x="0" y="19"/>
                    <a:pt x="6" y="24"/>
                  </a:cubicBezTo>
                  <a:lnTo>
                    <a:pt x="43" y="62"/>
                  </a:lnTo>
                  <a:close/>
                  <a:moveTo>
                    <a:pt x="43" y="62"/>
                  </a:moveTo>
                  <a:cubicBezTo>
                    <a:pt x="43" y="62"/>
                    <a:pt x="43" y="62"/>
                    <a:pt x="43"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0" name="Freeform 14">
              <a:extLst>
                <a:ext uri="{FF2B5EF4-FFF2-40B4-BE49-F238E27FC236}">
                  <a16:creationId xmlns:a16="http://schemas.microsoft.com/office/drawing/2014/main" id="{0B3E9236-FE9A-49AB-B000-77A1C97E59DD}"/>
                </a:ext>
              </a:extLst>
            </p:cNvPr>
            <p:cNvSpPr>
              <a:spLocks noEditPoints="1"/>
            </p:cNvSpPr>
            <p:nvPr/>
          </p:nvSpPr>
          <p:spPr bwMode="auto">
            <a:xfrm>
              <a:off x="5208588" y="1354138"/>
              <a:ext cx="252413" cy="247650"/>
            </a:xfrm>
            <a:custGeom>
              <a:avLst/>
              <a:gdLst>
                <a:gd name="T0" fmla="*/ 43 w 67"/>
                <a:gd name="T1" fmla="*/ 62 h 66"/>
                <a:gd name="T2" fmla="*/ 52 w 67"/>
                <a:gd name="T3" fmla="*/ 66 h 66"/>
                <a:gd name="T4" fmla="*/ 62 w 67"/>
                <a:gd name="T5" fmla="*/ 62 h 66"/>
                <a:gd name="T6" fmla="*/ 62 w 67"/>
                <a:gd name="T7" fmla="*/ 43 h 66"/>
                <a:gd name="T8" fmla="*/ 24 w 67"/>
                <a:gd name="T9" fmla="*/ 5 h 66"/>
                <a:gd name="T10" fmla="*/ 6 w 67"/>
                <a:gd name="T11" fmla="*/ 5 h 66"/>
                <a:gd name="T12" fmla="*/ 6 w 67"/>
                <a:gd name="T13" fmla="*/ 24 h 66"/>
                <a:gd name="T14" fmla="*/ 43 w 67"/>
                <a:gd name="T15" fmla="*/ 62 h 66"/>
                <a:gd name="T16" fmla="*/ 43 w 67"/>
                <a:gd name="T17" fmla="*/ 62 h 66"/>
                <a:gd name="T18" fmla="*/ 43 w 67"/>
                <a:gd name="T19"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43" y="62"/>
                  </a:moveTo>
                  <a:cubicBezTo>
                    <a:pt x="46" y="64"/>
                    <a:pt x="49" y="66"/>
                    <a:pt x="52" y="66"/>
                  </a:cubicBezTo>
                  <a:cubicBezTo>
                    <a:pt x="56" y="66"/>
                    <a:pt x="59" y="64"/>
                    <a:pt x="62" y="62"/>
                  </a:cubicBezTo>
                  <a:cubicBezTo>
                    <a:pt x="67" y="56"/>
                    <a:pt x="67" y="48"/>
                    <a:pt x="62" y="43"/>
                  </a:cubicBezTo>
                  <a:cubicBezTo>
                    <a:pt x="24" y="5"/>
                    <a:pt x="24" y="5"/>
                    <a:pt x="24" y="5"/>
                  </a:cubicBezTo>
                  <a:cubicBezTo>
                    <a:pt x="19" y="0"/>
                    <a:pt x="11" y="0"/>
                    <a:pt x="6" y="5"/>
                  </a:cubicBezTo>
                  <a:cubicBezTo>
                    <a:pt x="0" y="11"/>
                    <a:pt x="0" y="19"/>
                    <a:pt x="6" y="24"/>
                  </a:cubicBezTo>
                  <a:lnTo>
                    <a:pt x="43" y="62"/>
                  </a:lnTo>
                  <a:close/>
                  <a:moveTo>
                    <a:pt x="43" y="62"/>
                  </a:moveTo>
                  <a:cubicBezTo>
                    <a:pt x="43" y="62"/>
                    <a:pt x="43" y="62"/>
                    <a:pt x="43"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1" name="Freeform 15">
              <a:extLst>
                <a:ext uri="{FF2B5EF4-FFF2-40B4-BE49-F238E27FC236}">
                  <a16:creationId xmlns:a16="http://schemas.microsoft.com/office/drawing/2014/main" id="{A07C9C12-A4CA-4BF5-B89B-5E2A0A4782FC}"/>
                </a:ext>
              </a:extLst>
            </p:cNvPr>
            <p:cNvSpPr>
              <a:spLocks noEditPoints="1"/>
            </p:cNvSpPr>
            <p:nvPr/>
          </p:nvSpPr>
          <p:spPr bwMode="auto">
            <a:xfrm>
              <a:off x="5208588" y="1071563"/>
              <a:ext cx="252413" cy="244475"/>
            </a:xfrm>
            <a:custGeom>
              <a:avLst/>
              <a:gdLst>
                <a:gd name="T0" fmla="*/ 15 w 67"/>
                <a:gd name="T1" fmla="*/ 65 h 65"/>
                <a:gd name="T2" fmla="*/ 24 w 67"/>
                <a:gd name="T3" fmla="*/ 62 h 65"/>
                <a:gd name="T4" fmla="*/ 62 w 67"/>
                <a:gd name="T5" fmla="*/ 24 h 65"/>
                <a:gd name="T6" fmla="*/ 62 w 67"/>
                <a:gd name="T7" fmla="*/ 5 h 65"/>
                <a:gd name="T8" fmla="*/ 43 w 67"/>
                <a:gd name="T9" fmla="*/ 5 h 65"/>
                <a:gd name="T10" fmla="*/ 6 w 67"/>
                <a:gd name="T11" fmla="*/ 43 h 65"/>
                <a:gd name="T12" fmla="*/ 6 w 67"/>
                <a:gd name="T13" fmla="*/ 62 h 65"/>
                <a:gd name="T14" fmla="*/ 15 w 67"/>
                <a:gd name="T15" fmla="*/ 65 h 65"/>
                <a:gd name="T16" fmla="*/ 15 w 67"/>
                <a:gd name="T17" fmla="*/ 65 h 65"/>
                <a:gd name="T18" fmla="*/ 15 w 67"/>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5">
                  <a:moveTo>
                    <a:pt x="15" y="65"/>
                  </a:moveTo>
                  <a:cubicBezTo>
                    <a:pt x="18" y="65"/>
                    <a:pt x="22" y="64"/>
                    <a:pt x="24" y="62"/>
                  </a:cubicBezTo>
                  <a:cubicBezTo>
                    <a:pt x="62" y="24"/>
                    <a:pt x="62" y="24"/>
                    <a:pt x="62" y="24"/>
                  </a:cubicBezTo>
                  <a:cubicBezTo>
                    <a:pt x="67" y="19"/>
                    <a:pt x="67" y="11"/>
                    <a:pt x="62" y="5"/>
                  </a:cubicBezTo>
                  <a:cubicBezTo>
                    <a:pt x="57" y="0"/>
                    <a:pt x="48" y="0"/>
                    <a:pt x="43" y="5"/>
                  </a:cubicBezTo>
                  <a:cubicBezTo>
                    <a:pt x="6" y="43"/>
                    <a:pt x="6" y="43"/>
                    <a:pt x="6" y="43"/>
                  </a:cubicBezTo>
                  <a:cubicBezTo>
                    <a:pt x="0" y="48"/>
                    <a:pt x="0" y="56"/>
                    <a:pt x="6" y="62"/>
                  </a:cubicBezTo>
                  <a:cubicBezTo>
                    <a:pt x="8" y="64"/>
                    <a:pt x="12" y="65"/>
                    <a:pt x="15" y="65"/>
                  </a:cubicBezTo>
                  <a:close/>
                  <a:moveTo>
                    <a:pt x="15" y="65"/>
                  </a:moveTo>
                  <a:cubicBezTo>
                    <a:pt x="15" y="65"/>
                    <a:pt x="15" y="65"/>
                    <a:pt x="15"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2" name="Freeform 16">
              <a:extLst>
                <a:ext uri="{FF2B5EF4-FFF2-40B4-BE49-F238E27FC236}">
                  <a16:creationId xmlns:a16="http://schemas.microsoft.com/office/drawing/2014/main" id="{1BFF5F59-4F22-43B3-9F74-826C8ABF8719}"/>
                </a:ext>
              </a:extLst>
            </p:cNvPr>
            <p:cNvSpPr>
              <a:spLocks noEditPoints="1"/>
            </p:cNvSpPr>
            <p:nvPr/>
          </p:nvSpPr>
          <p:spPr bwMode="auto">
            <a:xfrm>
              <a:off x="5543550" y="1689100"/>
              <a:ext cx="301625" cy="98425"/>
            </a:xfrm>
            <a:custGeom>
              <a:avLst/>
              <a:gdLst>
                <a:gd name="T0" fmla="*/ 0 w 80"/>
                <a:gd name="T1" fmla="*/ 13 h 26"/>
                <a:gd name="T2" fmla="*/ 13 w 80"/>
                <a:gd name="T3" fmla="*/ 26 h 26"/>
                <a:gd name="T4" fmla="*/ 66 w 80"/>
                <a:gd name="T5" fmla="*/ 26 h 26"/>
                <a:gd name="T6" fmla="*/ 80 w 80"/>
                <a:gd name="T7" fmla="*/ 13 h 26"/>
                <a:gd name="T8" fmla="*/ 66 w 80"/>
                <a:gd name="T9" fmla="*/ 0 h 26"/>
                <a:gd name="T10" fmla="*/ 13 w 80"/>
                <a:gd name="T11" fmla="*/ 0 h 26"/>
                <a:gd name="T12" fmla="*/ 0 w 80"/>
                <a:gd name="T13" fmla="*/ 13 h 26"/>
                <a:gd name="T14" fmla="*/ 0 w 80"/>
                <a:gd name="T15" fmla="*/ 13 h 26"/>
                <a:gd name="T16" fmla="*/ 0 w 80"/>
                <a:gd name="T1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26">
                  <a:moveTo>
                    <a:pt x="0" y="13"/>
                  </a:moveTo>
                  <a:cubicBezTo>
                    <a:pt x="0" y="21"/>
                    <a:pt x="6" y="26"/>
                    <a:pt x="13" y="26"/>
                  </a:cubicBezTo>
                  <a:cubicBezTo>
                    <a:pt x="66" y="26"/>
                    <a:pt x="66" y="26"/>
                    <a:pt x="66" y="26"/>
                  </a:cubicBezTo>
                  <a:cubicBezTo>
                    <a:pt x="74" y="26"/>
                    <a:pt x="80" y="21"/>
                    <a:pt x="80" y="13"/>
                  </a:cubicBezTo>
                  <a:cubicBezTo>
                    <a:pt x="80" y="6"/>
                    <a:pt x="74" y="0"/>
                    <a:pt x="66" y="0"/>
                  </a:cubicBezTo>
                  <a:cubicBezTo>
                    <a:pt x="13" y="0"/>
                    <a:pt x="13" y="0"/>
                    <a:pt x="13" y="0"/>
                  </a:cubicBezTo>
                  <a:cubicBezTo>
                    <a:pt x="6" y="0"/>
                    <a:pt x="0" y="6"/>
                    <a:pt x="0" y="13"/>
                  </a:cubicBezTo>
                  <a:close/>
                  <a:moveTo>
                    <a:pt x="0" y="13"/>
                  </a:moveTo>
                  <a:cubicBezTo>
                    <a:pt x="0" y="13"/>
                    <a:pt x="0" y="13"/>
                    <a:pt x="0"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3" name="Freeform 17">
              <a:extLst>
                <a:ext uri="{FF2B5EF4-FFF2-40B4-BE49-F238E27FC236}">
                  <a16:creationId xmlns:a16="http://schemas.microsoft.com/office/drawing/2014/main" id="{7E3EFEFD-D946-45A7-A3C8-8D3AB1F2BE52}"/>
                </a:ext>
              </a:extLst>
            </p:cNvPr>
            <p:cNvSpPr>
              <a:spLocks noEditPoints="1"/>
            </p:cNvSpPr>
            <p:nvPr/>
          </p:nvSpPr>
          <p:spPr bwMode="auto">
            <a:xfrm>
              <a:off x="4564063" y="1582738"/>
              <a:ext cx="184150" cy="180975"/>
            </a:xfrm>
            <a:custGeom>
              <a:avLst/>
              <a:gdLst>
                <a:gd name="T0" fmla="*/ 15 w 49"/>
                <a:gd name="T1" fmla="*/ 48 h 48"/>
                <a:gd name="T2" fmla="*/ 24 w 49"/>
                <a:gd name="T3" fmla="*/ 44 h 48"/>
                <a:gd name="T4" fmla="*/ 44 w 49"/>
                <a:gd name="T5" fmla="*/ 24 h 48"/>
                <a:gd name="T6" fmla="*/ 44 w 49"/>
                <a:gd name="T7" fmla="*/ 5 h 48"/>
                <a:gd name="T8" fmla="*/ 25 w 49"/>
                <a:gd name="T9" fmla="*/ 5 h 48"/>
                <a:gd name="T10" fmla="*/ 5 w 49"/>
                <a:gd name="T11" fmla="*/ 25 h 48"/>
                <a:gd name="T12" fmla="*/ 5 w 49"/>
                <a:gd name="T13" fmla="*/ 44 h 48"/>
                <a:gd name="T14" fmla="*/ 15 w 49"/>
                <a:gd name="T15" fmla="*/ 48 h 48"/>
                <a:gd name="T16" fmla="*/ 15 w 49"/>
                <a:gd name="T17" fmla="*/ 48 h 48"/>
                <a:gd name="T18" fmla="*/ 15 w 49"/>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15" y="48"/>
                  </a:moveTo>
                  <a:cubicBezTo>
                    <a:pt x="18" y="48"/>
                    <a:pt x="21" y="46"/>
                    <a:pt x="24" y="44"/>
                  </a:cubicBezTo>
                  <a:cubicBezTo>
                    <a:pt x="44" y="24"/>
                    <a:pt x="44" y="24"/>
                    <a:pt x="44" y="24"/>
                  </a:cubicBezTo>
                  <a:cubicBezTo>
                    <a:pt x="49" y="19"/>
                    <a:pt x="49" y="10"/>
                    <a:pt x="44" y="5"/>
                  </a:cubicBezTo>
                  <a:cubicBezTo>
                    <a:pt x="39" y="0"/>
                    <a:pt x="30" y="0"/>
                    <a:pt x="25" y="5"/>
                  </a:cubicBezTo>
                  <a:cubicBezTo>
                    <a:pt x="5" y="25"/>
                    <a:pt x="5" y="25"/>
                    <a:pt x="5" y="25"/>
                  </a:cubicBezTo>
                  <a:cubicBezTo>
                    <a:pt x="0" y="30"/>
                    <a:pt x="0" y="39"/>
                    <a:pt x="5" y="44"/>
                  </a:cubicBezTo>
                  <a:cubicBezTo>
                    <a:pt x="8" y="46"/>
                    <a:pt x="11" y="48"/>
                    <a:pt x="15" y="48"/>
                  </a:cubicBezTo>
                  <a:close/>
                  <a:moveTo>
                    <a:pt x="15" y="48"/>
                  </a:moveTo>
                  <a:cubicBezTo>
                    <a:pt x="15" y="48"/>
                    <a:pt x="15" y="48"/>
                    <a:pt x="15"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4" name="Freeform 18">
              <a:extLst>
                <a:ext uri="{FF2B5EF4-FFF2-40B4-BE49-F238E27FC236}">
                  <a16:creationId xmlns:a16="http://schemas.microsoft.com/office/drawing/2014/main" id="{CAB78308-3570-4F4B-95E7-1FF5A75E560F}"/>
                </a:ext>
              </a:extLst>
            </p:cNvPr>
            <p:cNvSpPr>
              <a:spLocks noEditPoints="1"/>
            </p:cNvSpPr>
            <p:nvPr/>
          </p:nvSpPr>
          <p:spPr bwMode="auto">
            <a:xfrm>
              <a:off x="4791075" y="1733550"/>
              <a:ext cx="157163" cy="155575"/>
            </a:xfrm>
            <a:custGeom>
              <a:avLst/>
              <a:gdLst>
                <a:gd name="T0" fmla="*/ 18 w 42"/>
                <a:gd name="T1" fmla="*/ 37 h 41"/>
                <a:gd name="T2" fmla="*/ 28 w 42"/>
                <a:gd name="T3" fmla="*/ 41 h 41"/>
                <a:gd name="T4" fmla="*/ 37 w 42"/>
                <a:gd name="T5" fmla="*/ 37 h 41"/>
                <a:gd name="T6" fmla="*/ 37 w 42"/>
                <a:gd name="T7" fmla="*/ 18 h 41"/>
                <a:gd name="T8" fmla="*/ 24 w 42"/>
                <a:gd name="T9" fmla="*/ 5 h 41"/>
                <a:gd name="T10" fmla="*/ 5 w 42"/>
                <a:gd name="T11" fmla="*/ 5 h 41"/>
                <a:gd name="T12" fmla="*/ 5 w 42"/>
                <a:gd name="T13" fmla="*/ 24 h 41"/>
                <a:gd name="T14" fmla="*/ 18 w 42"/>
                <a:gd name="T15" fmla="*/ 37 h 41"/>
                <a:gd name="T16" fmla="*/ 18 w 42"/>
                <a:gd name="T17" fmla="*/ 37 h 41"/>
                <a:gd name="T18" fmla="*/ 18 w 42"/>
                <a:gd name="T19"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18" y="37"/>
                  </a:moveTo>
                  <a:cubicBezTo>
                    <a:pt x="21" y="40"/>
                    <a:pt x="24" y="41"/>
                    <a:pt x="28" y="41"/>
                  </a:cubicBezTo>
                  <a:cubicBezTo>
                    <a:pt x="31" y="41"/>
                    <a:pt x="34" y="40"/>
                    <a:pt x="37" y="37"/>
                  </a:cubicBezTo>
                  <a:cubicBezTo>
                    <a:pt x="42" y="32"/>
                    <a:pt x="42" y="23"/>
                    <a:pt x="37" y="18"/>
                  </a:cubicBezTo>
                  <a:cubicBezTo>
                    <a:pt x="24" y="5"/>
                    <a:pt x="24" y="5"/>
                    <a:pt x="24" y="5"/>
                  </a:cubicBezTo>
                  <a:cubicBezTo>
                    <a:pt x="19" y="0"/>
                    <a:pt x="10" y="0"/>
                    <a:pt x="5" y="5"/>
                  </a:cubicBezTo>
                  <a:cubicBezTo>
                    <a:pt x="0" y="10"/>
                    <a:pt x="0" y="19"/>
                    <a:pt x="5" y="24"/>
                  </a:cubicBezTo>
                  <a:lnTo>
                    <a:pt x="18" y="37"/>
                  </a:lnTo>
                  <a:close/>
                  <a:moveTo>
                    <a:pt x="18" y="37"/>
                  </a:moveTo>
                  <a:cubicBezTo>
                    <a:pt x="18" y="37"/>
                    <a:pt x="18" y="37"/>
                    <a:pt x="18"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25" name="Freeform 19">
              <a:extLst>
                <a:ext uri="{FF2B5EF4-FFF2-40B4-BE49-F238E27FC236}">
                  <a16:creationId xmlns:a16="http://schemas.microsoft.com/office/drawing/2014/main" id="{D684C224-520F-4FC5-AFBA-692F11CADD1F}"/>
                </a:ext>
              </a:extLst>
            </p:cNvPr>
            <p:cNvSpPr>
              <a:spLocks noEditPoints="1"/>
            </p:cNvSpPr>
            <p:nvPr/>
          </p:nvSpPr>
          <p:spPr bwMode="auto">
            <a:xfrm>
              <a:off x="4591050" y="1831975"/>
              <a:ext cx="157163" cy="153988"/>
            </a:xfrm>
            <a:custGeom>
              <a:avLst/>
              <a:gdLst>
                <a:gd name="T0" fmla="*/ 18 w 42"/>
                <a:gd name="T1" fmla="*/ 6 h 41"/>
                <a:gd name="T2" fmla="*/ 5 w 42"/>
                <a:gd name="T3" fmla="*/ 19 h 41"/>
                <a:gd name="T4" fmla="*/ 5 w 42"/>
                <a:gd name="T5" fmla="*/ 38 h 41"/>
                <a:gd name="T6" fmla="*/ 14 w 42"/>
                <a:gd name="T7" fmla="*/ 41 h 41"/>
                <a:gd name="T8" fmla="*/ 24 w 42"/>
                <a:gd name="T9" fmla="*/ 38 h 41"/>
                <a:gd name="T10" fmla="*/ 37 w 42"/>
                <a:gd name="T11" fmla="*/ 24 h 41"/>
                <a:gd name="T12" fmla="*/ 37 w 42"/>
                <a:gd name="T13" fmla="*/ 6 h 41"/>
                <a:gd name="T14" fmla="*/ 18 w 42"/>
                <a:gd name="T15" fmla="*/ 6 h 41"/>
                <a:gd name="T16" fmla="*/ 18 w 42"/>
                <a:gd name="T17" fmla="*/ 6 h 41"/>
                <a:gd name="T18" fmla="*/ 18 w 42"/>
                <a:gd name="T1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18" y="6"/>
                  </a:moveTo>
                  <a:cubicBezTo>
                    <a:pt x="5" y="19"/>
                    <a:pt x="5" y="19"/>
                    <a:pt x="5" y="19"/>
                  </a:cubicBezTo>
                  <a:cubicBezTo>
                    <a:pt x="0" y="24"/>
                    <a:pt x="0" y="32"/>
                    <a:pt x="5" y="38"/>
                  </a:cubicBezTo>
                  <a:cubicBezTo>
                    <a:pt x="7" y="40"/>
                    <a:pt x="11" y="41"/>
                    <a:pt x="14" y="41"/>
                  </a:cubicBezTo>
                  <a:cubicBezTo>
                    <a:pt x="18" y="41"/>
                    <a:pt x="21" y="40"/>
                    <a:pt x="24" y="38"/>
                  </a:cubicBezTo>
                  <a:cubicBezTo>
                    <a:pt x="37" y="24"/>
                    <a:pt x="37" y="24"/>
                    <a:pt x="37" y="24"/>
                  </a:cubicBezTo>
                  <a:cubicBezTo>
                    <a:pt x="42" y="19"/>
                    <a:pt x="42" y="11"/>
                    <a:pt x="37" y="6"/>
                  </a:cubicBezTo>
                  <a:cubicBezTo>
                    <a:pt x="32" y="0"/>
                    <a:pt x="23" y="0"/>
                    <a:pt x="18" y="6"/>
                  </a:cubicBezTo>
                  <a:close/>
                  <a:moveTo>
                    <a:pt x="18" y="6"/>
                  </a:moveTo>
                  <a:cubicBezTo>
                    <a:pt x="18" y="6"/>
                    <a:pt x="18" y="6"/>
                    <a:pt x="1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04" name="Group 121">
            <a:extLst>
              <a:ext uri="{FF2B5EF4-FFF2-40B4-BE49-F238E27FC236}">
                <a16:creationId xmlns:a16="http://schemas.microsoft.com/office/drawing/2014/main" id="{B1BCAD50-1BF8-4A1B-8741-4D5ECDC24D29}"/>
              </a:ext>
            </a:extLst>
          </p:cNvPr>
          <p:cNvGrpSpPr>
            <a:grpSpLocks noChangeAspect="1"/>
          </p:cNvGrpSpPr>
          <p:nvPr/>
        </p:nvGrpSpPr>
        <p:grpSpPr>
          <a:xfrm>
            <a:off x="1065227" y="5944848"/>
            <a:ext cx="308143" cy="308144"/>
            <a:chOff x="9832975" y="1314450"/>
            <a:chExt cx="371475" cy="371476"/>
          </a:xfrm>
          <a:solidFill>
            <a:schemeClr val="bg1"/>
          </a:solidFill>
          <a:effectLst/>
        </p:grpSpPr>
        <p:sp>
          <p:nvSpPr>
            <p:cNvPr id="805" name="Freeform 42">
              <a:extLst>
                <a:ext uri="{FF2B5EF4-FFF2-40B4-BE49-F238E27FC236}">
                  <a16:creationId xmlns:a16="http://schemas.microsoft.com/office/drawing/2014/main" id="{B089804A-D19E-420C-BD7F-F16D09C6A1F3}"/>
                </a:ext>
              </a:extLst>
            </p:cNvPr>
            <p:cNvSpPr>
              <a:spLocks/>
            </p:cNvSpPr>
            <p:nvPr/>
          </p:nvSpPr>
          <p:spPr bwMode="auto">
            <a:xfrm>
              <a:off x="9832975" y="1422400"/>
              <a:ext cx="201613" cy="263525"/>
            </a:xfrm>
            <a:custGeom>
              <a:avLst/>
              <a:gdLst>
                <a:gd name="T0" fmla="*/ 28 w 52"/>
                <a:gd name="T1" fmla="*/ 68 h 68"/>
                <a:gd name="T2" fmla="*/ 10 w 52"/>
                <a:gd name="T3" fmla="*/ 68 h 68"/>
                <a:gd name="T4" fmla="*/ 8 w 52"/>
                <a:gd name="T5" fmla="*/ 66 h 68"/>
                <a:gd name="T6" fmla="*/ 0 w 52"/>
                <a:gd name="T7" fmla="*/ 2 h 68"/>
                <a:gd name="T8" fmla="*/ 0 w 52"/>
                <a:gd name="T9" fmla="*/ 1 h 68"/>
                <a:gd name="T10" fmla="*/ 2 w 52"/>
                <a:gd name="T11" fmla="*/ 0 h 68"/>
                <a:gd name="T12" fmla="*/ 50 w 52"/>
                <a:gd name="T13" fmla="*/ 0 h 68"/>
                <a:gd name="T14" fmla="*/ 51 w 52"/>
                <a:gd name="T15" fmla="*/ 1 h 68"/>
                <a:gd name="T16" fmla="*/ 52 w 52"/>
                <a:gd name="T17" fmla="*/ 2 h 68"/>
                <a:gd name="T18" fmla="*/ 51 w 52"/>
                <a:gd name="T19" fmla="*/ 10 h 68"/>
                <a:gd name="T20" fmla="*/ 49 w 52"/>
                <a:gd name="T21" fmla="*/ 12 h 68"/>
                <a:gd name="T22" fmla="*/ 47 w 52"/>
                <a:gd name="T23" fmla="*/ 10 h 68"/>
                <a:gd name="T24" fmla="*/ 48 w 52"/>
                <a:gd name="T25" fmla="*/ 4 h 68"/>
                <a:gd name="T26" fmla="*/ 4 w 52"/>
                <a:gd name="T27" fmla="*/ 4 h 68"/>
                <a:gd name="T28" fmla="*/ 12 w 52"/>
                <a:gd name="T29" fmla="*/ 64 h 68"/>
                <a:gd name="T30" fmla="*/ 28 w 52"/>
                <a:gd name="T31" fmla="*/ 64 h 68"/>
                <a:gd name="T32" fmla="*/ 30 w 52"/>
                <a:gd name="T33" fmla="*/ 66 h 68"/>
                <a:gd name="T34" fmla="*/ 28 w 52"/>
                <a:gd name="T3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68">
                  <a:moveTo>
                    <a:pt x="28" y="68"/>
                  </a:moveTo>
                  <a:cubicBezTo>
                    <a:pt x="10" y="68"/>
                    <a:pt x="10" y="68"/>
                    <a:pt x="10" y="68"/>
                  </a:cubicBezTo>
                  <a:cubicBezTo>
                    <a:pt x="9" y="68"/>
                    <a:pt x="8" y="67"/>
                    <a:pt x="8" y="66"/>
                  </a:cubicBezTo>
                  <a:cubicBezTo>
                    <a:pt x="0" y="2"/>
                    <a:pt x="0" y="2"/>
                    <a:pt x="0" y="2"/>
                  </a:cubicBezTo>
                  <a:cubicBezTo>
                    <a:pt x="0" y="2"/>
                    <a:pt x="0" y="1"/>
                    <a:pt x="0" y="1"/>
                  </a:cubicBezTo>
                  <a:cubicBezTo>
                    <a:pt x="1" y="0"/>
                    <a:pt x="1" y="0"/>
                    <a:pt x="2" y="0"/>
                  </a:cubicBezTo>
                  <a:cubicBezTo>
                    <a:pt x="50" y="0"/>
                    <a:pt x="50" y="0"/>
                    <a:pt x="50" y="0"/>
                  </a:cubicBezTo>
                  <a:cubicBezTo>
                    <a:pt x="51" y="0"/>
                    <a:pt x="51" y="0"/>
                    <a:pt x="51" y="1"/>
                  </a:cubicBezTo>
                  <a:cubicBezTo>
                    <a:pt x="52" y="1"/>
                    <a:pt x="52" y="2"/>
                    <a:pt x="52" y="2"/>
                  </a:cubicBezTo>
                  <a:cubicBezTo>
                    <a:pt x="51" y="10"/>
                    <a:pt x="51" y="10"/>
                    <a:pt x="51" y="10"/>
                  </a:cubicBezTo>
                  <a:cubicBezTo>
                    <a:pt x="51" y="11"/>
                    <a:pt x="50" y="12"/>
                    <a:pt x="49" y="12"/>
                  </a:cubicBezTo>
                  <a:cubicBezTo>
                    <a:pt x="48" y="12"/>
                    <a:pt x="47" y="11"/>
                    <a:pt x="47" y="10"/>
                  </a:cubicBezTo>
                  <a:cubicBezTo>
                    <a:pt x="48" y="4"/>
                    <a:pt x="48" y="4"/>
                    <a:pt x="48" y="4"/>
                  </a:cubicBezTo>
                  <a:cubicBezTo>
                    <a:pt x="4" y="4"/>
                    <a:pt x="4" y="4"/>
                    <a:pt x="4" y="4"/>
                  </a:cubicBezTo>
                  <a:cubicBezTo>
                    <a:pt x="12" y="64"/>
                    <a:pt x="12" y="64"/>
                    <a:pt x="12" y="64"/>
                  </a:cubicBezTo>
                  <a:cubicBezTo>
                    <a:pt x="28" y="64"/>
                    <a:pt x="28" y="64"/>
                    <a:pt x="28" y="64"/>
                  </a:cubicBezTo>
                  <a:cubicBezTo>
                    <a:pt x="29" y="64"/>
                    <a:pt x="30" y="65"/>
                    <a:pt x="30" y="66"/>
                  </a:cubicBezTo>
                  <a:cubicBezTo>
                    <a:pt x="30" y="67"/>
                    <a:pt x="29" y="68"/>
                    <a:pt x="2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6" name="Freeform 43">
              <a:extLst>
                <a:ext uri="{FF2B5EF4-FFF2-40B4-BE49-F238E27FC236}">
                  <a16:creationId xmlns:a16="http://schemas.microsoft.com/office/drawing/2014/main" id="{E6AD80C1-3AEC-47DD-B557-2EE80955E99B}"/>
                </a:ext>
              </a:extLst>
            </p:cNvPr>
            <p:cNvSpPr>
              <a:spLocks noEditPoints="1"/>
            </p:cNvSpPr>
            <p:nvPr/>
          </p:nvSpPr>
          <p:spPr bwMode="auto">
            <a:xfrm>
              <a:off x="9956800" y="1500188"/>
              <a:ext cx="231775" cy="93663"/>
            </a:xfrm>
            <a:custGeom>
              <a:avLst/>
              <a:gdLst>
                <a:gd name="T0" fmla="*/ 58 w 60"/>
                <a:gd name="T1" fmla="*/ 24 h 24"/>
                <a:gd name="T2" fmla="*/ 2 w 60"/>
                <a:gd name="T3" fmla="*/ 24 h 24"/>
                <a:gd name="T4" fmla="*/ 0 w 60"/>
                <a:gd name="T5" fmla="*/ 22 h 24"/>
                <a:gd name="T6" fmla="*/ 0 w 60"/>
                <a:gd name="T7" fmla="*/ 18 h 24"/>
                <a:gd name="T8" fmla="*/ 18 w 60"/>
                <a:gd name="T9" fmla="*/ 0 h 24"/>
                <a:gd name="T10" fmla="*/ 42 w 60"/>
                <a:gd name="T11" fmla="*/ 0 h 24"/>
                <a:gd name="T12" fmla="*/ 60 w 60"/>
                <a:gd name="T13" fmla="*/ 18 h 24"/>
                <a:gd name="T14" fmla="*/ 60 w 60"/>
                <a:gd name="T15" fmla="*/ 22 h 24"/>
                <a:gd name="T16" fmla="*/ 58 w 60"/>
                <a:gd name="T17" fmla="*/ 24 h 24"/>
                <a:gd name="T18" fmla="*/ 4 w 60"/>
                <a:gd name="T19" fmla="*/ 20 h 24"/>
                <a:gd name="T20" fmla="*/ 56 w 60"/>
                <a:gd name="T21" fmla="*/ 20 h 24"/>
                <a:gd name="T22" fmla="*/ 56 w 60"/>
                <a:gd name="T23" fmla="*/ 18 h 24"/>
                <a:gd name="T24" fmla="*/ 42 w 60"/>
                <a:gd name="T25" fmla="*/ 4 h 24"/>
                <a:gd name="T26" fmla="*/ 18 w 60"/>
                <a:gd name="T27" fmla="*/ 4 h 24"/>
                <a:gd name="T28" fmla="*/ 4 w 60"/>
                <a:gd name="T29" fmla="*/ 18 h 24"/>
                <a:gd name="T30" fmla="*/ 4 w 60"/>
                <a:gd name="T3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24">
                  <a:moveTo>
                    <a:pt x="58" y="24"/>
                  </a:moveTo>
                  <a:cubicBezTo>
                    <a:pt x="2" y="24"/>
                    <a:pt x="2" y="24"/>
                    <a:pt x="2" y="24"/>
                  </a:cubicBezTo>
                  <a:cubicBezTo>
                    <a:pt x="1" y="24"/>
                    <a:pt x="0" y="23"/>
                    <a:pt x="0" y="22"/>
                  </a:cubicBezTo>
                  <a:cubicBezTo>
                    <a:pt x="0" y="18"/>
                    <a:pt x="0" y="18"/>
                    <a:pt x="0" y="18"/>
                  </a:cubicBezTo>
                  <a:cubicBezTo>
                    <a:pt x="0" y="8"/>
                    <a:pt x="8" y="0"/>
                    <a:pt x="18" y="0"/>
                  </a:cubicBezTo>
                  <a:cubicBezTo>
                    <a:pt x="42" y="0"/>
                    <a:pt x="42" y="0"/>
                    <a:pt x="42" y="0"/>
                  </a:cubicBezTo>
                  <a:cubicBezTo>
                    <a:pt x="52" y="0"/>
                    <a:pt x="60" y="8"/>
                    <a:pt x="60" y="18"/>
                  </a:cubicBezTo>
                  <a:cubicBezTo>
                    <a:pt x="60" y="22"/>
                    <a:pt x="60" y="22"/>
                    <a:pt x="60" y="22"/>
                  </a:cubicBezTo>
                  <a:cubicBezTo>
                    <a:pt x="60" y="23"/>
                    <a:pt x="59" y="24"/>
                    <a:pt x="58" y="24"/>
                  </a:cubicBezTo>
                  <a:close/>
                  <a:moveTo>
                    <a:pt x="4" y="20"/>
                  </a:moveTo>
                  <a:cubicBezTo>
                    <a:pt x="56" y="20"/>
                    <a:pt x="56" y="20"/>
                    <a:pt x="56" y="20"/>
                  </a:cubicBezTo>
                  <a:cubicBezTo>
                    <a:pt x="56" y="18"/>
                    <a:pt x="56" y="18"/>
                    <a:pt x="56" y="18"/>
                  </a:cubicBezTo>
                  <a:cubicBezTo>
                    <a:pt x="56" y="10"/>
                    <a:pt x="50" y="4"/>
                    <a:pt x="42" y="4"/>
                  </a:cubicBezTo>
                  <a:cubicBezTo>
                    <a:pt x="18" y="4"/>
                    <a:pt x="18" y="4"/>
                    <a:pt x="18" y="4"/>
                  </a:cubicBezTo>
                  <a:cubicBezTo>
                    <a:pt x="10" y="4"/>
                    <a:pt x="4" y="10"/>
                    <a:pt x="4" y="18"/>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7" name="Freeform 44">
              <a:extLst>
                <a:ext uri="{FF2B5EF4-FFF2-40B4-BE49-F238E27FC236}">
                  <a16:creationId xmlns:a16="http://schemas.microsoft.com/office/drawing/2014/main" id="{BABBC2A0-F4CB-4F1D-9792-18F3B131A369}"/>
                </a:ext>
              </a:extLst>
            </p:cNvPr>
            <p:cNvSpPr>
              <a:spLocks noEditPoints="1"/>
            </p:cNvSpPr>
            <p:nvPr/>
          </p:nvSpPr>
          <p:spPr bwMode="auto">
            <a:xfrm>
              <a:off x="9940925" y="1577975"/>
              <a:ext cx="263525" cy="61913"/>
            </a:xfrm>
            <a:custGeom>
              <a:avLst/>
              <a:gdLst>
                <a:gd name="T0" fmla="*/ 60 w 68"/>
                <a:gd name="T1" fmla="*/ 16 h 16"/>
                <a:gd name="T2" fmla="*/ 8 w 68"/>
                <a:gd name="T3" fmla="*/ 16 h 16"/>
                <a:gd name="T4" fmla="*/ 0 w 68"/>
                <a:gd name="T5" fmla="*/ 8 h 16"/>
                <a:gd name="T6" fmla="*/ 8 w 68"/>
                <a:gd name="T7" fmla="*/ 0 h 16"/>
                <a:gd name="T8" fmla="*/ 60 w 68"/>
                <a:gd name="T9" fmla="*/ 0 h 16"/>
                <a:gd name="T10" fmla="*/ 68 w 68"/>
                <a:gd name="T11" fmla="*/ 8 h 16"/>
                <a:gd name="T12" fmla="*/ 60 w 68"/>
                <a:gd name="T13" fmla="*/ 16 h 16"/>
                <a:gd name="T14" fmla="*/ 8 w 68"/>
                <a:gd name="T15" fmla="*/ 4 h 16"/>
                <a:gd name="T16" fmla="*/ 4 w 68"/>
                <a:gd name="T17" fmla="*/ 8 h 16"/>
                <a:gd name="T18" fmla="*/ 8 w 68"/>
                <a:gd name="T19" fmla="*/ 12 h 16"/>
                <a:gd name="T20" fmla="*/ 60 w 68"/>
                <a:gd name="T21" fmla="*/ 12 h 16"/>
                <a:gd name="T22" fmla="*/ 64 w 68"/>
                <a:gd name="T23" fmla="*/ 8 h 16"/>
                <a:gd name="T24" fmla="*/ 60 w 68"/>
                <a:gd name="T25" fmla="*/ 4 h 16"/>
                <a:gd name="T26" fmla="*/ 8 w 68"/>
                <a:gd name="T2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6">
                  <a:moveTo>
                    <a:pt x="60" y="16"/>
                  </a:moveTo>
                  <a:cubicBezTo>
                    <a:pt x="8" y="16"/>
                    <a:pt x="8" y="16"/>
                    <a:pt x="8" y="16"/>
                  </a:cubicBezTo>
                  <a:cubicBezTo>
                    <a:pt x="4" y="16"/>
                    <a:pt x="0" y="12"/>
                    <a:pt x="0" y="8"/>
                  </a:cubicBezTo>
                  <a:cubicBezTo>
                    <a:pt x="0" y="4"/>
                    <a:pt x="4" y="0"/>
                    <a:pt x="8" y="0"/>
                  </a:cubicBezTo>
                  <a:cubicBezTo>
                    <a:pt x="60" y="0"/>
                    <a:pt x="60" y="0"/>
                    <a:pt x="60" y="0"/>
                  </a:cubicBezTo>
                  <a:cubicBezTo>
                    <a:pt x="64" y="0"/>
                    <a:pt x="68" y="4"/>
                    <a:pt x="68" y="8"/>
                  </a:cubicBezTo>
                  <a:cubicBezTo>
                    <a:pt x="68" y="12"/>
                    <a:pt x="64" y="16"/>
                    <a:pt x="60" y="16"/>
                  </a:cubicBezTo>
                  <a:close/>
                  <a:moveTo>
                    <a:pt x="8" y="4"/>
                  </a:moveTo>
                  <a:cubicBezTo>
                    <a:pt x="6" y="4"/>
                    <a:pt x="4" y="6"/>
                    <a:pt x="4" y="8"/>
                  </a:cubicBezTo>
                  <a:cubicBezTo>
                    <a:pt x="4" y="10"/>
                    <a:pt x="6" y="12"/>
                    <a:pt x="8" y="12"/>
                  </a:cubicBezTo>
                  <a:cubicBezTo>
                    <a:pt x="60" y="12"/>
                    <a:pt x="60" y="12"/>
                    <a:pt x="60" y="12"/>
                  </a:cubicBezTo>
                  <a:cubicBezTo>
                    <a:pt x="62" y="12"/>
                    <a:pt x="64" y="10"/>
                    <a:pt x="64" y="8"/>
                  </a:cubicBezTo>
                  <a:cubicBezTo>
                    <a:pt x="64" y="6"/>
                    <a:pt x="62" y="4"/>
                    <a:pt x="60"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8" name="Freeform 45">
              <a:extLst>
                <a:ext uri="{FF2B5EF4-FFF2-40B4-BE49-F238E27FC236}">
                  <a16:creationId xmlns:a16="http://schemas.microsoft.com/office/drawing/2014/main" id="{14C9BD83-DE14-41B5-BB10-A9BBBDA6135F}"/>
                </a:ext>
              </a:extLst>
            </p:cNvPr>
            <p:cNvSpPr>
              <a:spLocks noEditPoints="1"/>
            </p:cNvSpPr>
            <p:nvPr/>
          </p:nvSpPr>
          <p:spPr bwMode="auto">
            <a:xfrm>
              <a:off x="9956800" y="1624013"/>
              <a:ext cx="231775" cy="61913"/>
            </a:xfrm>
            <a:custGeom>
              <a:avLst/>
              <a:gdLst>
                <a:gd name="T0" fmla="*/ 50 w 60"/>
                <a:gd name="T1" fmla="*/ 16 h 16"/>
                <a:gd name="T2" fmla="*/ 10 w 60"/>
                <a:gd name="T3" fmla="*/ 16 h 16"/>
                <a:gd name="T4" fmla="*/ 0 w 60"/>
                <a:gd name="T5" fmla="*/ 6 h 16"/>
                <a:gd name="T6" fmla="*/ 0 w 60"/>
                <a:gd name="T7" fmla="*/ 2 h 16"/>
                <a:gd name="T8" fmla="*/ 2 w 60"/>
                <a:gd name="T9" fmla="*/ 0 h 16"/>
                <a:gd name="T10" fmla="*/ 58 w 60"/>
                <a:gd name="T11" fmla="*/ 0 h 16"/>
                <a:gd name="T12" fmla="*/ 60 w 60"/>
                <a:gd name="T13" fmla="*/ 2 h 16"/>
                <a:gd name="T14" fmla="*/ 60 w 60"/>
                <a:gd name="T15" fmla="*/ 6 h 16"/>
                <a:gd name="T16" fmla="*/ 50 w 60"/>
                <a:gd name="T17" fmla="*/ 16 h 16"/>
                <a:gd name="T18" fmla="*/ 4 w 60"/>
                <a:gd name="T19" fmla="*/ 4 h 16"/>
                <a:gd name="T20" fmla="*/ 4 w 60"/>
                <a:gd name="T21" fmla="*/ 6 h 16"/>
                <a:gd name="T22" fmla="*/ 10 w 60"/>
                <a:gd name="T23" fmla="*/ 12 h 16"/>
                <a:gd name="T24" fmla="*/ 50 w 60"/>
                <a:gd name="T25" fmla="*/ 12 h 16"/>
                <a:gd name="T26" fmla="*/ 56 w 60"/>
                <a:gd name="T27" fmla="*/ 6 h 16"/>
                <a:gd name="T28" fmla="*/ 56 w 60"/>
                <a:gd name="T29" fmla="*/ 4 h 16"/>
                <a:gd name="T30" fmla="*/ 4 w 60"/>
                <a:gd name="T3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6">
                  <a:moveTo>
                    <a:pt x="50" y="16"/>
                  </a:moveTo>
                  <a:cubicBezTo>
                    <a:pt x="10" y="16"/>
                    <a:pt x="10" y="16"/>
                    <a:pt x="10" y="16"/>
                  </a:cubicBezTo>
                  <a:cubicBezTo>
                    <a:pt x="4" y="16"/>
                    <a:pt x="0" y="12"/>
                    <a:pt x="0" y="6"/>
                  </a:cubicBezTo>
                  <a:cubicBezTo>
                    <a:pt x="0" y="2"/>
                    <a:pt x="0" y="2"/>
                    <a:pt x="0" y="2"/>
                  </a:cubicBezTo>
                  <a:cubicBezTo>
                    <a:pt x="0" y="1"/>
                    <a:pt x="1" y="0"/>
                    <a:pt x="2" y="0"/>
                  </a:cubicBezTo>
                  <a:cubicBezTo>
                    <a:pt x="58" y="0"/>
                    <a:pt x="58" y="0"/>
                    <a:pt x="58" y="0"/>
                  </a:cubicBezTo>
                  <a:cubicBezTo>
                    <a:pt x="59" y="0"/>
                    <a:pt x="60" y="1"/>
                    <a:pt x="60" y="2"/>
                  </a:cubicBezTo>
                  <a:cubicBezTo>
                    <a:pt x="60" y="6"/>
                    <a:pt x="60" y="6"/>
                    <a:pt x="60" y="6"/>
                  </a:cubicBezTo>
                  <a:cubicBezTo>
                    <a:pt x="60" y="12"/>
                    <a:pt x="56" y="16"/>
                    <a:pt x="50" y="16"/>
                  </a:cubicBezTo>
                  <a:close/>
                  <a:moveTo>
                    <a:pt x="4" y="4"/>
                  </a:moveTo>
                  <a:cubicBezTo>
                    <a:pt x="4" y="6"/>
                    <a:pt x="4" y="6"/>
                    <a:pt x="4" y="6"/>
                  </a:cubicBezTo>
                  <a:cubicBezTo>
                    <a:pt x="4" y="9"/>
                    <a:pt x="7" y="12"/>
                    <a:pt x="10" y="12"/>
                  </a:cubicBezTo>
                  <a:cubicBezTo>
                    <a:pt x="50" y="12"/>
                    <a:pt x="50" y="12"/>
                    <a:pt x="50" y="12"/>
                  </a:cubicBezTo>
                  <a:cubicBezTo>
                    <a:pt x="53" y="12"/>
                    <a:pt x="56" y="9"/>
                    <a:pt x="56" y="6"/>
                  </a:cubicBezTo>
                  <a:cubicBezTo>
                    <a:pt x="56" y="4"/>
                    <a:pt x="56" y="4"/>
                    <a:pt x="56"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09" name="Freeform 46">
              <a:extLst>
                <a:ext uri="{FF2B5EF4-FFF2-40B4-BE49-F238E27FC236}">
                  <a16:creationId xmlns:a16="http://schemas.microsoft.com/office/drawing/2014/main" id="{1CB32DB8-614A-480D-860F-1863BF35E2DF}"/>
                </a:ext>
              </a:extLst>
            </p:cNvPr>
            <p:cNvSpPr>
              <a:spLocks/>
            </p:cNvSpPr>
            <p:nvPr/>
          </p:nvSpPr>
          <p:spPr bwMode="auto">
            <a:xfrm>
              <a:off x="9902825" y="1314450"/>
              <a:ext cx="131763" cy="301625"/>
            </a:xfrm>
            <a:custGeom>
              <a:avLst/>
              <a:gdLst>
                <a:gd name="T0" fmla="*/ 2 w 34"/>
                <a:gd name="T1" fmla="*/ 78 h 78"/>
                <a:gd name="T2" fmla="*/ 2 w 34"/>
                <a:gd name="T3" fmla="*/ 78 h 78"/>
                <a:gd name="T4" fmla="*/ 0 w 34"/>
                <a:gd name="T5" fmla="*/ 76 h 78"/>
                <a:gd name="T6" fmla="*/ 8 w 34"/>
                <a:gd name="T7" fmla="*/ 6 h 78"/>
                <a:gd name="T8" fmla="*/ 10 w 34"/>
                <a:gd name="T9" fmla="*/ 2 h 78"/>
                <a:gd name="T10" fmla="*/ 15 w 34"/>
                <a:gd name="T11" fmla="*/ 0 h 78"/>
                <a:gd name="T12" fmla="*/ 32 w 34"/>
                <a:gd name="T13" fmla="*/ 4 h 78"/>
                <a:gd name="T14" fmla="*/ 34 w 34"/>
                <a:gd name="T15" fmla="*/ 7 h 78"/>
                <a:gd name="T16" fmla="*/ 32 w 34"/>
                <a:gd name="T17" fmla="*/ 8 h 78"/>
                <a:gd name="T18" fmla="*/ 14 w 34"/>
                <a:gd name="T19" fmla="*/ 4 h 78"/>
                <a:gd name="T20" fmla="*/ 13 w 34"/>
                <a:gd name="T21" fmla="*/ 4 h 78"/>
                <a:gd name="T22" fmla="*/ 12 w 34"/>
                <a:gd name="T23" fmla="*/ 6 h 78"/>
                <a:gd name="T24" fmla="*/ 12 w 34"/>
                <a:gd name="T25" fmla="*/ 7 h 78"/>
                <a:gd name="T26" fmla="*/ 4 w 34"/>
                <a:gd name="T27" fmla="*/ 76 h 78"/>
                <a:gd name="T28" fmla="*/ 2 w 34"/>
                <a:gd name="T2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78">
                  <a:moveTo>
                    <a:pt x="2" y="78"/>
                  </a:moveTo>
                  <a:cubicBezTo>
                    <a:pt x="2" y="78"/>
                    <a:pt x="2" y="78"/>
                    <a:pt x="2" y="78"/>
                  </a:cubicBezTo>
                  <a:cubicBezTo>
                    <a:pt x="0" y="78"/>
                    <a:pt x="0" y="77"/>
                    <a:pt x="0" y="76"/>
                  </a:cubicBezTo>
                  <a:cubicBezTo>
                    <a:pt x="8" y="6"/>
                    <a:pt x="8" y="6"/>
                    <a:pt x="8" y="6"/>
                  </a:cubicBezTo>
                  <a:cubicBezTo>
                    <a:pt x="8" y="5"/>
                    <a:pt x="8" y="3"/>
                    <a:pt x="10" y="2"/>
                  </a:cubicBezTo>
                  <a:cubicBezTo>
                    <a:pt x="11" y="0"/>
                    <a:pt x="13" y="0"/>
                    <a:pt x="15" y="0"/>
                  </a:cubicBezTo>
                  <a:cubicBezTo>
                    <a:pt x="32" y="4"/>
                    <a:pt x="32" y="4"/>
                    <a:pt x="32" y="4"/>
                  </a:cubicBezTo>
                  <a:cubicBezTo>
                    <a:pt x="34" y="5"/>
                    <a:pt x="34" y="6"/>
                    <a:pt x="34" y="7"/>
                  </a:cubicBezTo>
                  <a:cubicBezTo>
                    <a:pt x="34" y="8"/>
                    <a:pt x="33" y="8"/>
                    <a:pt x="32" y="8"/>
                  </a:cubicBezTo>
                  <a:cubicBezTo>
                    <a:pt x="14" y="4"/>
                    <a:pt x="14" y="4"/>
                    <a:pt x="14" y="4"/>
                  </a:cubicBezTo>
                  <a:cubicBezTo>
                    <a:pt x="14" y="4"/>
                    <a:pt x="13" y="4"/>
                    <a:pt x="13" y="4"/>
                  </a:cubicBezTo>
                  <a:cubicBezTo>
                    <a:pt x="12" y="5"/>
                    <a:pt x="12" y="6"/>
                    <a:pt x="12" y="6"/>
                  </a:cubicBezTo>
                  <a:cubicBezTo>
                    <a:pt x="12" y="6"/>
                    <a:pt x="12" y="7"/>
                    <a:pt x="12" y="7"/>
                  </a:cubicBezTo>
                  <a:cubicBezTo>
                    <a:pt x="4" y="76"/>
                    <a:pt x="4" y="76"/>
                    <a:pt x="4" y="76"/>
                  </a:cubicBezTo>
                  <a:cubicBezTo>
                    <a:pt x="4" y="77"/>
                    <a:pt x="3" y="78"/>
                    <a:pt x="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0" name="Oval 47">
              <a:extLst>
                <a:ext uri="{FF2B5EF4-FFF2-40B4-BE49-F238E27FC236}">
                  <a16:creationId xmlns:a16="http://schemas.microsoft.com/office/drawing/2014/main" id="{65347D96-7B17-4147-866E-272568D7BF54}"/>
                </a:ext>
              </a:extLst>
            </p:cNvPr>
            <p:cNvSpPr>
              <a:spLocks noChangeArrowheads="1"/>
            </p:cNvSpPr>
            <p:nvPr/>
          </p:nvSpPr>
          <p:spPr bwMode="auto">
            <a:xfrm>
              <a:off x="10096500" y="1531938"/>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1" name="Oval 48">
              <a:extLst>
                <a:ext uri="{FF2B5EF4-FFF2-40B4-BE49-F238E27FC236}">
                  <a16:creationId xmlns:a16="http://schemas.microsoft.com/office/drawing/2014/main" id="{E922BC31-5AF5-4817-805C-67019F7C2FFA}"/>
                </a:ext>
              </a:extLst>
            </p:cNvPr>
            <p:cNvSpPr>
              <a:spLocks noChangeArrowheads="1"/>
            </p:cNvSpPr>
            <p:nvPr/>
          </p:nvSpPr>
          <p:spPr bwMode="auto">
            <a:xfrm>
              <a:off x="10034588" y="1531938"/>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12" name="Oval 49">
              <a:extLst>
                <a:ext uri="{FF2B5EF4-FFF2-40B4-BE49-F238E27FC236}">
                  <a16:creationId xmlns:a16="http://schemas.microsoft.com/office/drawing/2014/main" id="{F8E9C35B-1323-4112-BB9D-858CD89A65CD}"/>
                </a:ext>
              </a:extLst>
            </p:cNvPr>
            <p:cNvSpPr>
              <a:spLocks noChangeArrowheads="1"/>
            </p:cNvSpPr>
            <p:nvPr/>
          </p:nvSpPr>
          <p:spPr bwMode="auto">
            <a:xfrm>
              <a:off x="10064750" y="1546225"/>
              <a:ext cx="15875"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13" name="Gruppieren 812">
            <a:extLst>
              <a:ext uri="{FF2B5EF4-FFF2-40B4-BE49-F238E27FC236}">
                <a16:creationId xmlns:a16="http://schemas.microsoft.com/office/drawing/2014/main" id="{4B05BE59-56DD-4C96-BCD9-A75985525890}"/>
              </a:ext>
            </a:extLst>
          </p:cNvPr>
          <p:cNvGrpSpPr>
            <a:grpSpLocks noChangeAspect="1"/>
          </p:cNvGrpSpPr>
          <p:nvPr/>
        </p:nvGrpSpPr>
        <p:grpSpPr>
          <a:xfrm>
            <a:off x="1504392" y="5944848"/>
            <a:ext cx="234517" cy="308144"/>
            <a:chOff x="6130925" y="2808288"/>
            <a:chExt cx="955675" cy="1255712"/>
          </a:xfrm>
          <a:solidFill>
            <a:schemeClr val="bg1"/>
          </a:solidFill>
        </p:grpSpPr>
        <p:sp>
          <p:nvSpPr>
            <p:cNvPr id="814" name="Freeform 157">
              <a:extLst>
                <a:ext uri="{FF2B5EF4-FFF2-40B4-BE49-F238E27FC236}">
                  <a16:creationId xmlns:a16="http://schemas.microsoft.com/office/drawing/2014/main" id="{CEBF3A89-58E2-446F-B076-8696CCCC22B8}"/>
                </a:ext>
              </a:extLst>
            </p:cNvPr>
            <p:cNvSpPr>
              <a:spLocks noEditPoints="1"/>
            </p:cNvSpPr>
            <p:nvPr/>
          </p:nvSpPr>
          <p:spPr bwMode="auto">
            <a:xfrm>
              <a:off x="6130925" y="3340100"/>
              <a:ext cx="955675" cy="723900"/>
            </a:xfrm>
            <a:custGeom>
              <a:avLst/>
              <a:gdLst>
                <a:gd name="T0" fmla="*/ 1249 w 1441"/>
                <a:gd name="T1" fmla="*/ 130 h 1090"/>
                <a:gd name="T2" fmla="*/ 1144 w 1441"/>
                <a:gd name="T3" fmla="*/ 130 h 1090"/>
                <a:gd name="T4" fmla="*/ 1153 w 1441"/>
                <a:gd name="T5" fmla="*/ 37 h 1090"/>
                <a:gd name="T6" fmla="*/ 1124 w 1441"/>
                <a:gd name="T7" fmla="*/ 2 h 1090"/>
                <a:gd name="T8" fmla="*/ 1089 w 1441"/>
                <a:gd name="T9" fmla="*/ 31 h 1090"/>
                <a:gd name="T10" fmla="*/ 1014 w 1441"/>
                <a:gd name="T11" fmla="*/ 823 h 1090"/>
                <a:gd name="T12" fmla="*/ 792 w 1441"/>
                <a:gd name="T13" fmla="*/ 1026 h 1090"/>
                <a:gd name="T14" fmla="*/ 363 w 1441"/>
                <a:gd name="T15" fmla="*/ 1026 h 1090"/>
                <a:gd name="T16" fmla="*/ 140 w 1441"/>
                <a:gd name="T17" fmla="*/ 823 h 1090"/>
                <a:gd name="T18" fmla="*/ 68 w 1441"/>
                <a:gd name="T19" fmla="*/ 66 h 1090"/>
                <a:gd name="T20" fmla="*/ 721 w 1441"/>
                <a:gd name="T21" fmla="*/ 66 h 1090"/>
                <a:gd name="T22" fmla="*/ 753 w 1441"/>
                <a:gd name="T23" fmla="*/ 34 h 1090"/>
                <a:gd name="T24" fmla="*/ 721 w 1441"/>
                <a:gd name="T25" fmla="*/ 2 h 1090"/>
                <a:gd name="T26" fmla="*/ 49 w 1441"/>
                <a:gd name="T27" fmla="*/ 2 h 1090"/>
                <a:gd name="T28" fmla="*/ 41 w 1441"/>
                <a:gd name="T29" fmla="*/ 4 h 1090"/>
                <a:gd name="T30" fmla="*/ 30 w 1441"/>
                <a:gd name="T31" fmla="*/ 2 h 1090"/>
                <a:gd name="T32" fmla="*/ 1 w 1441"/>
                <a:gd name="T33" fmla="*/ 37 h 1090"/>
                <a:gd name="T34" fmla="*/ 76 w 1441"/>
                <a:gd name="T35" fmla="*/ 829 h 1090"/>
                <a:gd name="T36" fmla="*/ 363 w 1441"/>
                <a:gd name="T37" fmla="*/ 1090 h 1090"/>
                <a:gd name="T38" fmla="*/ 792 w 1441"/>
                <a:gd name="T39" fmla="*/ 1090 h 1090"/>
                <a:gd name="T40" fmla="*/ 1078 w 1441"/>
                <a:gd name="T41" fmla="*/ 829 h 1090"/>
                <a:gd name="T42" fmla="*/ 1084 w 1441"/>
                <a:gd name="T43" fmla="*/ 754 h 1090"/>
                <a:gd name="T44" fmla="*/ 1249 w 1441"/>
                <a:gd name="T45" fmla="*/ 754 h 1090"/>
                <a:gd name="T46" fmla="*/ 1441 w 1441"/>
                <a:gd name="T47" fmla="*/ 562 h 1090"/>
                <a:gd name="T48" fmla="*/ 1441 w 1441"/>
                <a:gd name="T49" fmla="*/ 322 h 1090"/>
                <a:gd name="T50" fmla="*/ 1249 w 1441"/>
                <a:gd name="T51" fmla="*/ 130 h 1090"/>
                <a:gd name="T52" fmla="*/ 1249 w 1441"/>
                <a:gd name="T53" fmla="*/ 690 h 1090"/>
                <a:gd name="T54" fmla="*/ 1091 w 1441"/>
                <a:gd name="T55" fmla="*/ 690 h 1090"/>
                <a:gd name="T56" fmla="*/ 1137 w 1441"/>
                <a:gd name="T57" fmla="*/ 194 h 1090"/>
                <a:gd name="T58" fmla="*/ 1248 w 1441"/>
                <a:gd name="T59" fmla="*/ 194 h 1090"/>
                <a:gd name="T60" fmla="*/ 1376 w 1441"/>
                <a:gd name="T61" fmla="*/ 322 h 1090"/>
                <a:gd name="T62" fmla="*/ 1376 w 1441"/>
                <a:gd name="T63" fmla="*/ 562 h 1090"/>
                <a:gd name="T64" fmla="*/ 1377 w 1441"/>
                <a:gd name="T65" fmla="*/ 562 h 1090"/>
                <a:gd name="T66" fmla="*/ 1249 w 1441"/>
                <a:gd name="T67" fmla="*/ 69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1" h="1090">
                  <a:moveTo>
                    <a:pt x="1249" y="130"/>
                  </a:moveTo>
                  <a:cubicBezTo>
                    <a:pt x="1144" y="130"/>
                    <a:pt x="1144" y="130"/>
                    <a:pt x="1144" y="130"/>
                  </a:cubicBezTo>
                  <a:cubicBezTo>
                    <a:pt x="1153" y="37"/>
                    <a:pt x="1153" y="37"/>
                    <a:pt x="1153" y="37"/>
                  </a:cubicBezTo>
                  <a:cubicBezTo>
                    <a:pt x="1155" y="20"/>
                    <a:pt x="1142" y="4"/>
                    <a:pt x="1124" y="2"/>
                  </a:cubicBezTo>
                  <a:cubicBezTo>
                    <a:pt x="1107" y="0"/>
                    <a:pt x="1091" y="13"/>
                    <a:pt x="1089" y="31"/>
                  </a:cubicBezTo>
                  <a:cubicBezTo>
                    <a:pt x="1014" y="823"/>
                    <a:pt x="1014" y="823"/>
                    <a:pt x="1014" y="823"/>
                  </a:cubicBezTo>
                  <a:cubicBezTo>
                    <a:pt x="1003" y="938"/>
                    <a:pt x="907" y="1026"/>
                    <a:pt x="792" y="1026"/>
                  </a:cubicBezTo>
                  <a:cubicBezTo>
                    <a:pt x="363" y="1026"/>
                    <a:pt x="363" y="1026"/>
                    <a:pt x="363" y="1026"/>
                  </a:cubicBezTo>
                  <a:cubicBezTo>
                    <a:pt x="246" y="1026"/>
                    <a:pt x="150" y="940"/>
                    <a:pt x="140" y="823"/>
                  </a:cubicBezTo>
                  <a:cubicBezTo>
                    <a:pt x="68" y="66"/>
                    <a:pt x="68" y="66"/>
                    <a:pt x="68" y="66"/>
                  </a:cubicBezTo>
                  <a:cubicBezTo>
                    <a:pt x="721" y="66"/>
                    <a:pt x="721" y="66"/>
                    <a:pt x="721" y="66"/>
                  </a:cubicBezTo>
                  <a:cubicBezTo>
                    <a:pt x="739" y="66"/>
                    <a:pt x="753" y="52"/>
                    <a:pt x="753" y="34"/>
                  </a:cubicBezTo>
                  <a:cubicBezTo>
                    <a:pt x="753" y="16"/>
                    <a:pt x="739" y="2"/>
                    <a:pt x="721" y="2"/>
                  </a:cubicBezTo>
                  <a:cubicBezTo>
                    <a:pt x="49" y="2"/>
                    <a:pt x="49" y="2"/>
                    <a:pt x="49" y="2"/>
                  </a:cubicBezTo>
                  <a:cubicBezTo>
                    <a:pt x="46" y="2"/>
                    <a:pt x="44" y="2"/>
                    <a:pt x="41" y="4"/>
                  </a:cubicBezTo>
                  <a:cubicBezTo>
                    <a:pt x="38" y="2"/>
                    <a:pt x="33" y="2"/>
                    <a:pt x="30" y="2"/>
                  </a:cubicBezTo>
                  <a:cubicBezTo>
                    <a:pt x="12" y="4"/>
                    <a:pt x="0" y="20"/>
                    <a:pt x="1" y="37"/>
                  </a:cubicBezTo>
                  <a:cubicBezTo>
                    <a:pt x="76" y="829"/>
                    <a:pt x="76" y="829"/>
                    <a:pt x="76" y="829"/>
                  </a:cubicBezTo>
                  <a:cubicBezTo>
                    <a:pt x="89" y="978"/>
                    <a:pt x="212" y="1090"/>
                    <a:pt x="363" y="1090"/>
                  </a:cubicBezTo>
                  <a:cubicBezTo>
                    <a:pt x="792" y="1090"/>
                    <a:pt x="792" y="1090"/>
                    <a:pt x="792" y="1090"/>
                  </a:cubicBezTo>
                  <a:cubicBezTo>
                    <a:pt x="940" y="1090"/>
                    <a:pt x="1064" y="978"/>
                    <a:pt x="1078" y="829"/>
                  </a:cubicBezTo>
                  <a:cubicBezTo>
                    <a:pt x="1084" y="754"/>
                    <a:pt x="1084" y="754"/>
                    <a:pt x="1084" y="754"/>
                  </a:cubicBezTo>
                  <a:cubicBezTo>
                    <a:pt x="1249" y="754"/>
                    <a:pt x="1249" y="754"/>
                    <a:pt x="1249" y="754"/>
                  </a:cubicBezTo>
                  <a:cubicBezTo>
                    <a:pt x="1355" y="754"/>
                    <a:pt x="1441" y="668"/>
                    <a:pt x="1441" y="562"/>
                  </a:cubicBezTo>
                  <a:cubicBezTo>
                    <a:pt x="1441" y="322"/>
                    <a:pt x="1441" y="322"/>
                    <a:pt x="1441" y="322"/>
                  </a:cubicBezTo>
                  <a:cubicBezTo>
                    <a:pt x="1441" y="216"/>
                    <a:pt x="1355" y="130"/>
                    <a:pt x="1249" y="130"/>
                  </a:cubicBezTo>
                  <a:close/>
                  <a:moveTo>
                    <a:pt x="1249" y="690"/>
                  </a:moveTo>
                  <a:cubicBezTo>
                    <a:pt x="1091" y="690"/>
                    <a:pt x="1091" y="690"/>
                    <a:pt x="1091" y="690"/>
                  </a:cubicBezTo>
                  <a:cubicBezTo>
                    <a:pt x="1137" y="194"/>
                    <a:pt x="1137" y="194"/>
                    <a:pt x="1137" y="194"/>
                  </a:cubicBezTo>
                  <a:cubicBezTo>
                    <a:pt x="1248" y="194"/>
                    <a:pt x="1248" y="194"/>
                    <a:pt x="1248" y="194"/>
                  </a:cubicBezTo>
                  <a:cubicBezTo>
                    <a:pt x="1318" y="194"/>
                    <a:pt x="1376" y="252"/>
                    <a:pt x="1376" y="322"/>
                  </a:cubicBezTo>
                  <a:cubicBezTo>
                    <a:pt x="1376" y="562"/>
                    <a:pt x="1376" y="562"/>
                    <a:pt x="1376" y="562"/>
                  </a:cubicBezTo>
                  <a:cubicBezTo>
                    <a:pt x="1377" y="562"/>
                    <a:pt x="1377" y="562"/>
                    <a:pt x="1377" y="562"/>
                  </a:cubicBezTo>
                  <a:cubicBezTo>
                    <a:pt x="1377" y="632"/>
                    <a:pt x="1320" y="690"/>
                    <a:pt x="1249"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5" name="Freeform 158">
              <a:extLst>
                <a:ext uri="{FF2B5EF4-FFF2-40B4-BE49-F238E27FC236}">
                  <a16:creationId xmlns:a16="http://schemas.microsoft.com/office/drawing/2014/main" id="{1D26DF14-979C-4216-AFAD-1C5B5316E555}"/>
                </a:ext>
              </a:extLst>
            </p:cNvPr>
            <p:cNvSpPr>
              <a:spLocks/>
            </p:cNvSpPr>
            <p:nvPr/>
          </p:nvSpPr>
          <p:spPr bwMode="auto">
            <a:xfrm>
              <a:off x="6683375" y="3341688"/>
              <a:ext cx="74613" cy="42863"/>
            </a:xfrm>
            <a:custGeom>
              <a:avLst/>
              <a:gdLst>
                <a:gd name="T0" fmla="*/ 0 w 112"/>
                <a:gd name="T1" fmla="*/ 32 h 64"/>
                <a:gd name="T2" fmla="*/ 32 w 112"/>
                <a:gd name="T3" fmla="*/ 64 h 64"/>
                <a:gd name="T4" fmla="*/ 80 w 112"/>
                <a:gd name="T5" fmla="*/ 64 h 64"/>
                <a:gd name="T6" fmla="*/ 112 w 112"/>
                <a:gd name="T7" fmla="*/ 32 h 64"/>
                <a:gd name="T8" fmla="*/ 80 w 112"/>
                <a:gd name="T9" fmla="*/ 0 h 64"/>
                <a:gd name="T10" fmla="*/ 32 w 112"/>
                <a:gd name="T11" fmla="*/ 0 h 64"/>
                <a:gd name="T12" fmla="*/ 0 w 112"/>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112" h="64">
                  <a:moveTo>
                    <a:pt x="0" y="32"/>
                  </a:moveTo>
                  <a:cubicBezTo>
                    <a:pt x="0" y="50"/>
                    <a:pt x="15" y="64"/>
                    <a:pt x="32" y="64"/>
                  </a:cubicBezTo>
                  <a:cubicBezTo>
                    <a:pt x="80" y="64"/>
                    <a:pt x="80" y="64"/>
                    <a:pt x="80" y="64"/>
                  </a:cubicBezTo>
                  <a:cubicBezTo>
                    <a:pt x="98" y="64"/>
                    <a:pt x="112" y="50"/>
                    <a:pt x="112" y="32"/>
                  </a:cubicBezTo>
                  <a:cubicBezTo>
                    <a:pt x="112" y="14"/>
                    <a:pt x="98" y="0"/>
                    <a:pt x="80" y="0"/>
                  </a:cubicBezTo>
                  <a:cubicBezTo>
                    <a:pt x="32" y="0"/>
                    <a:pt x="32" y="0"/>
                    <a:pt x="32" y="0"/>
                  </a:cubicBezTo>
                  <a:cubicBezTo>
                    <a:pt x="15"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6" name="Freeform 159">
              <a:extLst>
                <a:ext uri="{FF2B5EF4-FFF2-40B4-BE49-F238E27FC236}">
                  <a16:creationId xmlns:a16="http://schemas.microsoft.com/office/drawing/2014/main" id="{2916F9E2-09A0-4848-815D-9D5067961DE7}"/>
                </a:ext>
              </a:extLst>
            </p:cNvPr>
            <p:cNvSpPr>
              <a:spLocks/>
            </p:cNvSpPr>
            <p:nvPr/>
          </p:nvSpPr>
          <p:spPr bwMode="auto">
            <a:xfrm>
              <a:off x="6297613" y="2928938"/>
              <a:ext cx="100013" cy="338138"/>
            </a:xfrm>
            <a:custGeom>
              <a:avLst/>
              <a:gdLst>
                <a:gd name="T0" fmla="*/ 56 w 152"/>
                <a:gd name="T1" fmla="*/ 486 h 510"/>
                <a:gd name="T2" fmla="*/ 86 w 152"/>
                <a:gd name="T3" fmla="*/ 510 h 510"/>
                <a:gd name="T4" fmla="*/ 94 w 152"/>
                <a:gd name="T5" fmla="*/ 508 h 510"/>
                <a:gd name="T6" fmla="*/ 117 w 152"/>
                <a:gd name="T7" fmla="*/ 468 h 510"/>
                <a:gd name="T8" fmla="*/ 81 w 152"/>
                <a:gd name="T9" fmla="*/ 344 h 510"/>
                <a:gd name="T10" fmla="*/ 102 w 152"/>
                <a:gd name="T11" fmla="*/ 182 h 510"/>
                <a:gd name="T12" fmla="*/ 115 w 152"/>
                <a:gd name="T13" fmla="*/ 161 h 510"/>
                <a:gd name="T14" fmla="*/ 152 w 152"/>
                <a:gd name="T15" fmla="*/ 32 h 510"/>
                <a:gd name="T16" fmla="*/ 120 w 152"/>
                <a:gd name="T17" fmla="*/ 0 h 510"/>
                <a:gd name="T18" fmla="*/ 88 w 152"/>
                <a:gd name="T19" fmla="*/ 32 h 510"/>
                <a:gd name="T20" fmla="*/ 61 w 152"/>
                <a:gd name="T21" fmla="*/ 129 h 510"/>
                <a:gd name="T22" fmla="*/ 48 w 152"/>
                <a:gd name="T23" fmla="*/ 150 h 510"/>
                <a:gd name="T24" fmla="*/ 21 w 152"/>
                <a:gd name="T25" fmla="*/ 363 h 510"/>
                <a:gd name="T26" fmla="*/ 56 w 152"/>
                <a:gd name="T27" fmla="*/ 48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10">
                  <a:moveTo>
                    <a:pt x="56" y="486"/>
                  </a:moveTo>
                  <a:cubicBezTo>
                    <a:pt x="59" y="500"/>
                    <a:pt x="73" y="510"/>
                    <a:pt x="86" y="510"/>
                  </a:cubicBezTo>
                  <a:cubicBezTo>
                    <a:pt x="89" y="510"/>
                    <a:pt x="93" y="510"/>
                    <a:pt x="94" y="508"/>
                  </a:cubicBezTo>
                  <a:cubicBezTo>
                    <a:pt x="112" y="504"/>
                    <a:pt x="121" y="486"/>
                    <a:pt x="117" y="468"/>
                  </a:cubicBezTo>
                  <a:cubicBezTo>
                    <a:pt x="81" y="344"/>
                    <a:pt x="81" y="344"/>
                    <a:pt x="81" y="344"/>
                  </a:cubicBezTo>
                  <a:cubicBezTo>
                    <a:pt x="65" y="289"/>
                    <a:pt x="73" y="232"/>
                    <a:pt x="102" y="182"/>
                  </a:cubicBezTo>
                  <a:cubicBezTo>
                    <a:pt x="115" y="161"/>
                    <a:pt x="115" y="161"/>
                    <a:pt x="115" y="161"/>
                  </a:cubicBezTo>
                  <a:cubicBezTo>
                    <a:pt x="139" y="120"/>
                    <a:pt x="152" y="76"/>
                    <a:pt x="152" y="32"/>
                  </a:cubicBezTo>
                  <a:cubicBezTo>
                    <a:pt x="152" y="14"/>
                    <a:pt x="137" y="0"/>
                    <a:pt x="120" y="0"/>
                  </a:cubicBezTo>
                  <a:cubicBezTo>
                    <a:pt x="102" y="0"/>
                    <a:pt x="88" y="14"/>
                    <a:pt x="88" y="32"/>
                  </a:cubicBezTo>
                  <a:cubicBezTo>
                    <a:pt x="88" y="65"/>
                    <a:pt x="78" y="97"/>
                    <a:pt x="61" y="129"/>
                  </a:cubicBezTo>
                  <a:cubicBezTo>
                    <a:pt x="48" y="150"/>
                    <a:pt x="48" y="150"/>
                    <a:pt x="48" y="150"/>
                  </a:cubicBezTo>
                  <a:cubicBezTo>
                    <a:pt x="9" y="214"/>
                    <a:pt x="0" y="291"/>
                    <a:pt x="21" y="363"/>
                  </a:cubicBezTo>
                  <a:lnTo>
                    <a:pt x="56"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7" name="Freeform 160">
              <a:extLst>
                <a:ext uri="{FF2B5EF4-FFF2-40B4-BE49-F238E27FC236}">
                  <a16:creationId xmlns:a16="http://schemas.microsoft.com/office/drawing/2014/main" id="{574D6236-D7E2-46DF-94E1-D183EA1A4470}"/>
                </a:ext>
              </a:extLst>
            </p:cNvPr>
            <p:cNvSpPr>
              <a:spLocks/>
            </p:cNvSpPr>
            <p:nvPr/>
          </p:nvSpPr>
          <p:spPr bwMode="auto">
            <a:xfrm>
              <a:off x="6456363" y="2808288"/>
              <a:ext cx="106363" cy="458788"/>
            </a:xfrm>
            <a:custGeom>
              <a:avLst/>
              <a:gdLst>
                <a:gd name="T0" fmla="*/ 56 w 160"/>
                <a:gd name="T1" fmla="*/ 669 h 693"/>
                <a:gd name="T2" fmla="*/ 86 w 160"/>
                <a:gd name="T3" fmla="*/ 693 h 693"/>
                <a:gd name="T4" fmla="*/ 94 w 160"/>
                <a:gd name="T5" fmla="*/ 691 h 693"/>
                <a:gd name="T6" fmla="*/ 117 w 160"/>
                <a:gd name="T7" fmla="*/ 651 h 693"/>
                <a:gd name="T8" fmla="*/ 81 w 160"/>
                <a:gd name="T9" fmla="*/ 527 h 693"/>
                <a:gd name="T10" fmla="*/ 102 w 160"/>
                <a:gd name="T11" fmla="*/ 365 h 693"/>
                <a:gd name="T12" fmla="*/ 115 w 160"/>
                <a:gd name="T13" fmla="*/ 343 h 693"/>
                <a:gd name="T14" fmla="*/ 145 w 160"/>
                <a:gd name="T15" fmla="*/ 144 h 693"/>
                <a:gd name="T16" fmla="*/ 117 w 160"/>
                <a:gd name="T17" fmla="*/ 27 h 693"/>
                <a:gd name="T18" fmla="*/ 78 w 160"/>
                <a:gd name="T19" fmla="*/ 3 h 693"/>
                <a:gd name="T20" fmla="*/ 54 w 160"/>
                <a:gd name="T21" fmla="*/ 42 h 693"/>
                <a:gd name="T22" fmla="*/ 83 w 160"/>
                <a:gd name="T23" fmla="*/ 157 h 693"/>
                <a:gd name="T24" fmla="*/ 61 w 160"/>
                <a:gd name="T25" fmla="*/ 307 h 693"/>
                <a:gd name="T26" fmla="*/ 48 w 160"/>
                <a:gd name="T27" fmla="*/ 328 h 693"/>
                <a:gd name="T28" fmla="*/ 21 w 160"/>
                <a:gd name="T29" fmla="*/ 541 h 693"/>
                <a:gd name="T30" fmla="*/ 56 w 160"/>
                <a:gd name="T31" fmla="*/ 669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693">
                  <a:moveTo>
                    <a:pt x="56" y="669"/>
                  </a:moveTo>
                  <a:cubicBezTo>
                    <a:pt x="59" y="683"/>
                    <a:pt x="73" y="693"/>
                    <a:pt x="86" y="693"/>
                  </a:cubicBezTo>
                  <a:cubicBezTo>
                    <a:pt x="89" y="693"/>
                    <a:pt x="93" y="693"/>
                    <a:pt x="94" y="691"/>
                  </a:cubicBezTo>
                  <a:cubicBezTo>
                    <a:pt x="112" y="687"/>
                    <a:pt x="121" y="669"/>
                    <a:pt x="117" y="651"/>
                  </a:cubicBezTo>
                  <a:cubicBezTo>
                    <a:pt x="81" y="527"/>
                    <a:pt x="81" y="527"/>
                    <a:pt x="81" y="527"/>
                  </a:cubicBezTo>
                  <a:cubicBezTo>
                    <a:pt x="65" y="472"/>
                    <a:pt x="73" y="415"/>
                    <a:pt x="102" y="365"/>
                  </a:cubicBezTo>
                  <a:cubicBezTo>
                    <a:pt x="115" y="343"/>
                    <a:pt x="115" y="343"/>
                    <a:pt x="115" y="343"/>
                  </a:cubicBezTo>
                  <a:cubicBezTo>
                    <a:pt x="149" y="283"/>
                    <a:pt x="160" y="213"/>
                    <a:pt x="145" y="144"/>
                  </a:cubicBezTo>
                  <a:cubicBezTo>
                    <a:pt x="117" y="27"/>
                    <a:pt x="117" y="27"/>
                    <a:pt x="117" y="27"/>
                  </a:cubicBezTo>
                  <a:cubicBezTo>
                    <a:pt x="112" y="10"/>
                    <a:pt x="96" y="0"/>
                    <a:pt x="78" y="3"/>
                  </a:cubicBezTo>
                  <a:cubicBezTo>
                    <a:pt x="61" y="8"/>
                    <a:pt x="51" y="24"/>
                    <a:pt x="54" y="42"/>
                  </a:cubicBezTo>
                  <a:cubicBezTo>
                    <a:pt x="83" y="157"/>
                    <a:pt x="83" y="157"/>
                    <a:pt x="83" y="157"/>
                  </a:cubicBezTo>
                  <a:cubicBezTo>
                    <a:pt x="94" y="208"/>
                    <a:pt x="86" y="263"/>
                    <a:pt x="61" y="307"/>
                  </a:cubicBezTo>
                  <a:cubicBezTo>
                    <a:pt x="48" y="328"/>
                    <a:pt x="48" y="328"/>
                    <a:pt x="48" y="328"/>
                  </a:cubicBezTo>
                  <a:cubicBezTo>
                    <a:pt x="9" y="392"/>
                    <a:pt x="0" y="469"/>
                    <a:pt x="21" y="541"/>
                  </a:cubicBezTo>
                  <a:lnTo>
                    <a:pt x="56" y="6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8" name="Freeform 161">
              <a:extLst>
                <a:ext uri="{FF2B5EF4-FFF2-40B4-BE49-F238E27FC236}">
                  <a16:creationId xmlns:a16="http://schemas.microsoft.com/office/drawing/2014/main" id="{CD4B1DFC-8951-4547-8297-1575AEF96D23}"/>
                </a:ext>
              </a:extLst>
            </p:cNvPr>
            <p:cNvSpPr>
              <a:spLocks/>
            </p:cNvSpPr>
            <p:nvPr/>
          </p:nvSpPr>
          <p:spPr bwMode="auto">
            <a:xfrm>
              <a:off x="6615113" y="3014663"/>
              <a:ext cx="80963" cy="252413"/>
            </a:xfrm>
            <a:custGeom>
              <a:avLst/>
              <a:gdLst>
                <a:gd name="T0" fmla="*/ 56 w 121"/>
                <a:gd name="T1" fmla="*/ 357 h 381"/>
                <a:gd name="T2" fmla="*/ 86 w 121"/>
                <a:gd name="T3" fmla="*/ 381 h 381"/>
                <a:gd name="T4" fmla="*/ 94 w 121"/>
                <a:gd name="T5" fmla="*/ 379 h 381"/>
                <a:gd name="T6" fmla="*/ 117 w 121"/>
                <a:gd name="T7" fmla="*/ 339 h 381"/>
                <a:gd name="T8" fmla="*/ 81 w 121"/>
                <a:gd name="T9" fmla="*/ 215 h 381"/>
                <a:gd name="T10" fmla="*/ 102 w 121"/>
                <a:gd name="T11" fmla="*/ 53 h 381"/>
                <a:gd name="T12" fmla="*/ 91 w 121"/>
                <a:gd name="T13" fmla="*/ 10 h 381"/>
                <a:gd name="T14" fmla="*/ 48 w 121"/>
                <a:gd name="T15" fmla="*/ 21 h 381"/>
                <a:gd name="T16" fmla="*/ 21 w 121"/>
                <a:gd name="T17" fmla="*/ 234 h 381"/>
                <a:gd name="T18" fmla="*/ 56 w 121"/>
                <a:gd name="T19" fmla="*/ 35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381">
                  <a:moveTo>
                    <a:pt x="56" y="357"/>
                  </a:moveTo>
                  <a:cubicBezTo>
                    <a:pt x="59" y="371"/>
                    <a:pt x="73" y="381"/>
                    <a:pt x="86" y="381"/>
                  </a:cubicBezTo>
                  <a:cubicBezTo>
                    <a:pt x="89" y="381"/>
                    <a:pt x="93" y="381"/>
                    <a:pt x="94" y="379"/>
                  </a:cubicBezTo>
                  <a:cubicBezTo>
                    <a:pt x="112" y="375"/>
                    <a:pt x="121" y="357"/>
                    <a:pt x="117" y="339"/>
                  </a:cubicBezTo>
                  <a:cubicBezTo>
                    <a:pt x="81" y="215"/>
                    <a:pt x="81" y="215"/>
                    <a:pt x="81" y="215"/>
                  </a:cubicBezTo>
                  <a:cubicBezTo>
                    <a:pt x="65" y="160"/>
                    <a:pt x="73" y="103"/>
                    <a:pt x="102" y="53"/>
                  </a:cubicBezTo>
                  <a:cubicBezTo>
                    <a:pt x="112" y="37"/>
                    <a:pt x="105" y="18"/>
                    <a:pt x="91" y="10"/>
                  </a:cubicBezTo>
                  <a:cubicBezTo>
                    <a:pt x="75" y="0"/>
                    <a:pt x="56" y="7"/>
                    <a:pt x="48" y="21"/>
                  </a:cubicBezTo>
                  <a:cubicBezTo>
                    <a:pt x="9" y="85"/>
                    <a:pt x="0" y="162"/>
                    <a:pt x="21" y="234"/>
                  </a:cubicBezTo>
                  <a:lnTo>
                    <a:pt x="56"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19" name="Gruppieren 818">
            <a:extLst>
              <a:ext uri="{FF2B5EF4-FFF2-40B4-BE49-F238E27FC236}">
                <a16:creationId xmlns:a16="http://schemas.microsoft.com/office/drawing/2014/main" id="{FA2E7D4D-925F-4358-8E56-7C5572CB31F2}"/>
              </a:ext>
            </a:extLst>
          </p:cNvPr>
          <p:cNvGrpSpPr>
            <a:grpSpLocks noChangeAspect="1"/>
          </p:cNvGrpSpPr>
          <p:nvPr/>
        </p:nvGrpSpPr>
        <p:grpSpPr>
          <a:xfrm>
            <a:off x="1882625" y="5944848"/>
            <a:ext cx="308144" cy="308144"/>
            <a:chOff x="7883525" y="5218113"/>
            <a:chExt cx="817563" cy="817562"/>
          </a:xfrm>
          <a:solidFill>
            <a:schemeClr val="bg1"/>
          </a:solidFill>
        </p:grpSpPr>
        <p:sp>
          <p:nvSpPr>
            <p:cNvPr id="820" name="Freeform 5">
              <a:extLst>
                <a:ext uri="{FF2B5EF4-FFF2-40B4-BE49-F238E27FC236}">
                  <a16:creationId xmlns:a16="http://schemas.microsoft.com/office/drawing/2014/main" id="{B5C41C3F-4595-43EC-8E15-4B3B18BEFD3B}"/>
                </a:ext>
              </a:extLst>
            </p:cNvPr>
            <p:cNvSpPr>
              <a:spLocks/>
            </p:cNvSpPr>
            <p:nvPr/>
          </p:nvSpPr>
          <p:spPr bwMode="auto">
            <a:xfrm>
              <a:off x="7994650" y="5492750"/>
              <a:ext cx="38100" cy="26987"/>
            </a:xfrm>
            <a:custGeom>
              <a:avLst/>
              <a:gdLst>
                <a:gd name="T0" fmla="*/ 20 w 55"/>
                <a:gd name="T1" fmla="*/ 38 h 38"/>
                <a:gd name="T2" fmla="*/ 36 w 55"/>
                <a:gd name="T3" fmla="*/ 38 h 38"/>
                <a:gd name="T4" fmla="*/ 55 w 55"/>
                <a:gd name="T5" fmla="*/ 19 h 38"/>
                <a:gd name="T6" fmla="*/ 36 w 55"/>
                <a:gd name="T7" fmla="*/ 0 h 38"/>
                <a:gd name="T8" fmla="*/ 20 w 55"/>
                <a:gd name="T9" fmla="*/ 0 h 38"/>
                <a:gd name="T10" fmla="*/ 0 w 55"/>
                <a:gd name="T11" fmla="*/ 19 h 38"/>
                <a:gd name="T12" fmla="*/ 20 w 55"/>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55" h="38">
                  <a:moveTo>
                    <a:pt x="20" y="38"/>
                  </a:moveTo>
                  <a:cubicBezTo>
                    <a:pt x="36" y="38"/>
                    <a:pt x="36" y="38"/>
                    <a:pt x="36" y="38"/>
                  </a:cubicBezTo>
                  <a:cubicBezTo>
                    <a:pt x="46" y="38"/>
                    <a:pt x="55" y="29"/>
                    <a:pt x="55" y="19"/>
                  </a:cubicBezTo>
                  <a:cubicBezTo>
                    <a:pt x="55" y="8"/>
                    <a:pt x="46" y="0"/>
                    <a:pt x="36" y="0"/>
                  </a:cubicBezTo>
                  <a:cubicBezTo>
                    <a:pt x="20" y="0"/>
                    <a:pt x="20" y="0"/>
                    <a:pt x="20" y="0"/>
                  </a:cubicBezTo>
                  <a:cubicBezTo>
                    <a:pt x="9" y="0"/>
                    <a:pt x="0" y="8"/>
                    <a:pt x="0" y="19"/>
                  </a:cubicBezTo>
                  <a:cubicBezTo>
                    <a:pt x="0" y="29"/>
                    <a:pt x="9" y="38"/>
                    <a:pt x="2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1" name="Freeform 6">
              <a:extLst>
                <a:ext uri="{FF2B5EF4-FFF2-40B4-BE49-F238E27FC236}">
                  <a16:creationId xmlns:a16="http://schemas.microsoft.com/office/drawing/2014/main" id="{4E21A832-8A16-4AE7-95C3-1C7545868099}"/>
                </a:ext>
              </a:extLst>
            </p:cNvPr>
            <p:cNvSpPr>
              <a:spLocks noEditPoints="1"/>
            </p:cNvSpPr>
            <p:nvPr/>
          </p:nvSpPr>
          <p:spPr bwMode="auto">
            <a:xfrm>
              <a:off x="7921625" y="5492750"/>
              <a:ext cx="755650" cy="508000"/>
            </a:xfrm>
            <a:custGeom>
              <a:avLst/>
              <a:gdLst>
                <a:gd name="T0" fmla="*/ 464 w 1101"/>
                <a:gd name="T1" fmla="*/ 738 h 738"/>
                <a:gd name="T2" fmla="*/ 919 w 1101"/>
                <a:gd name="T3" fmla="*/ 367 h 738"/>
                <a:gd name="T4" fmla="*/ 1010 w 1101"/>
                <a:gd name="T5" fmla="*/ 367 h 738"/>
                <a:gd name="T6" fmla="*/ 1101 w 1101"/>
                <a:gd name="T7" fmla="*/ 276 h 738"/>
                <a:gd name="T8" fmla="*/ 1101 w 1101"/>
                <a:gd name="T9" fmla="*/ 147 h 738"/>
                <a:gd name="T10" fmla="*/ 1010 w 1101"/>
                <a:gd name="T11" fmla="*/ 56 h 738"/>
                <a:gd name="T12" fmla="*/ 928 w 1101"/>
                <a:gd name="T13" fmla="*/ 56 h 738"/>
                <a:gd name="T14" fmla="*/ 928 w 1101"/>
                <a:gd name="T15" fmla="*/ 19 h 738"/>
                <a:gd name="T16" fmla="*/ 909 w 1101"/>
                <a:gd name="T17" fmla="*/ 0 h 738"/>
                <a:gd name="T18" fmla="*/ 193 w 1101"/>
                <a:gd name="T19" fmla="*/ 0 h 738"/>
                <a:gd name="T20" fmla="*/ 174 w 1101"/>
                <a:gd name="T21" fmla="*/ 19 h 738"/>
                <a:gd name="T22" fmla="*/ 193 w 1101"/>
                <a:gd name="T23" fmla="*/ 38 h 738"/>
                <a:gd name="T24" fmla="*/ 890 w 1101"/>
                <a:gd name="T25" fmla="*/ 38 h 738"/>
                <a:gd name="T26" fmla="*/ 890 w 1101"/>
                <a:gd name="T27" fmla="*/ 274 h 738"/>
                <a:gd name="T28" fmla="*/ 464 w 1101"/>
                <a:gd name="T29" fmla="*/ 699 h 738"/>
                <a:gd name="T30" fmla="*/ 38 w 1101"/>
                <a:gd name="T31" fmla="*/ 274 h 738"/>
                <a:gd name="T32" fmla="*/ 38 w 1101"/>
                <a:gd name="T33" fmla="*/ 38 h 738"/>
                <a:gd name="T34" fmla="*/ 74 w 1101"/>
                <a:gd name="T35" fmla="*/ 38 h 738"/>
                <a:gd name="T36" fmla="*/ 94 w 1101"/>
                <a:gd name="T37" fmla="*/ 19 h 738"/>
                <a:gd name="T38" fmla="*/ 74 w 1101"/>
                <a:gd name="T39" fmla="*/ 0 h 738"/>
                <a:gd name="T40" fmla="*/ 19 w 1101"/>
                <a:gd name="T41" fmla="*/ 0 h 738"/>
                <a:gd name="T42" fmla="*/ 0 w 1101"/>
                <a:gd name="T43" fmla="*/ 19 h 738"/>
                <a:gd name="T44" fmla="*/ 0 w 1101"/>
                <a:gd name="T45" fmla="*/ 274 h 738"/>
                <a:gd name="T46" fmla="*/ 464 w 1101"/>
                <a:gd name="T47" fmla="*/ 738 h 738"/>
                <a:gd name="T48" fmla="*/ 1010 w 1101"/>
                <a:gd name="T49" fmla="*/ 94 h 738"/>
                <a:gd name="T50" fmla="*/ 1062 w 1101"/>
                <a:gd name="T51" fmla="*/ 147 h 738"/>
                <a:gd name="T52" fmla="*/ 1062 w 1101"/>
                <a:gd name="T53" fmla="*/ 276 h 738"/>
                <a:gd name="T54" fmla="*/ 1010 w 1101"/>
                <a:gd name="T55" fmla="*/ 329 h 738"/>
                <a:gd name="T56" fmla="*/ 925 w 1101"/>
                <a:gd name="T57" fmla="*/ 329 h 738"/>
                <a:gd name="T58" fmla="*/ 928 w 1101"/>
                <a:gd name="T59" fmla="*/ 274 h 738"/>
                <a:gd name="T60" fmla="*/ 928 w 1101"/>
                <a:gd name="T61" fmla="*/ 94 h 738"/>
                <a:gd name="T62" fmla="*/ 1010 w 1101"/>
                <a:gd name="T63" fmla="*/ 9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1" h="738">
                  <a:moveTo>
                    <a:pt x="464" y="738"/>
                  </a:moveTo>
                  <a:cubicBezTo>
                    <a:pt x="688" y="738"/>
                    <a:pt x="875" y="578"/>
                    <a:pt x="919" y="367"/>
                  </a:cubicBezTo>
                  <a:cubicBezTo>
                    <a:pt x="1010" y="367"/>
                    <a:pt x="1010" y="367"/>
                    <a:pt x="1010" y="367"/>
                  </a:cubicBezTo>
                  <a:cubicBezTo>
                    <a:pt x="1060" y="367"/>
                    <a:pt x="1101" y="326"/>
                    <a:pt x="1101" y="276"/>
                  </a:cubicBezTo>
                  <a:cubicBezTo>
                    <a:pt x="1101" y="147"/>
                    <a:pt x="1101" y="147"/>
                    <a:pt x="1101" y="147"/>
                  </a:cubicBezTo>
                  <a:cubicBezTo>
                    <a:pt x="1101" y="97"/>
                    <a:pt x="1060" y="56"/>
                    <a:pt x="1010" y="56"/>
                  </a:cubicBezTo>
                  <a:cubicBezTo>
                    <a:pt x="928" y="56"/>
                    <a:pt x="928" y="56"/>
                    <a:pt x="928" y="56"/>
                  </a:cubicBezTo>
                  <a:cubicBezTo>
                    <a:pt x="928" y="19"/>
                    <a:pt x="928" y="19"/>
                    <a:pt x="928" y="19"/>
                  </a:cubicBezTo>
                  <a:cubicBezTo>
                    <a:pt x="928" y="8"/>
                    <a:pt x="919" y="0"/>
                    <a:pt x="909" y="0"/>
                  </a:cubicBezTo>
                  <a:cubicBezTo>
                    <a:pt x="193" y="0"/>
                    <a:pt x="193" y="0"/>
                    <a:pt x="193" y="0"/>
                  </a:cubicBezTo>
                  <a:cubicBezTo>
                    <a:pt x="182" y="0"/>
                    <a:pt x="174" y="8"/>
                    <a:pt x="174" y="19"/>
                  </a:cubicBezTo>
                  <a:cubicBezTo>
                    <a:pt x="174" y="29"/>
                    <a:pt x="182" y="38"/>
                    <a:pt x="193" y="38"/>
                  </a:cubicBezTo>
                  <a:cubicBezTo>
                    <a:pt x="890" y="38"/>
                    <a:pt x="890" y="38"/>
                    <a:pt x="890" y="38"/>
                  </a:cubicBezTo>
                  <a:cubicBezTo>
                    <a:pt x="890" y="274"/>
                    <a:pt x="890" y="274"/>
                    <a:pt x="890" y="274"/>
                  </a:cubicBezTo>
                  <a:cubicBezTo>
                    <a:pt x="890" y="508"/>
                    <a:pt x="699" y="699"/>
                    <a:pt x="464" y="699"/>
                  </a:cubicBezTo>
                  <a:cubicBezTo>
                    <a:pt x="229" y="699"/>
                    <a:pt x="38" y="508"/>
                    <a:pt x="38" y="274"/>
                  </a:cubicBezTo>
                  <a:cubicBezTo>
                    <a:pt x="38" y="38"/>
                    <a:pt x="38" y="38"/>
                    <a:pt x="38" y="38"/>
                  </a:cubicBezTo>
                  <a:cubicBezTo>
                    <a:pt x="74" y="38"/>
                    <a:pt x="74" y="38"/>
                    <a:pt x="74" y="38"/>
                  </a:cubicBezTo>
                  <a:cubicBezTo>
                    <a:pt x="85" y="38"/>
                    <a:pt x="94" y="29"/>
                    <a:pt x="94" y="19"/>
                  </a:cubicBezTo>
                  <a:cubicBezTo>
                    <a:pt x="94" y="8"/>
                    <a:pt x="85" y="0"/>
                    <a:pt x="74" y="0"/>
                  </a:cubicBezTo>
                  <a:cubicBezTo>
                    <a:pt x="19" y="0"/>
                    <a:pt x="19" y="0"/>
                    <a:pt x="19" y="0"/>
                  </a:cubicBezTo>
                  <a:cubicBezTo>
                    <a:pt x="8" y="0"/>
                    <a:pt x="0" y="8"/>
                    <a:pt x="0" y="19"/>
                  </a:cubicBezTo>
                  <a:cubicBezTo>
                    <a:pt x="0" y="274"/>
                    <a:pt x="0" y="274"/>
                    <a:pt x="0" y="274"/>
                  </a:cubicBezTo>
                  <a:cubicBezTo>
                    <a:pt x="0" y="530"/>
                    <a:pt x="208" y="738"/>
                    <a:pt x="464" y="738"/>
                  </a:cubicBezTo>
                  <a:close/>
                  <a:moveTo>
                    <a:pt x="1010" y="94"/>
                  </a:moveTo>
                  <a:cubicBezTo>
                    <a:pt x="1039" y="94"/>
                    <a:pt x="1062" y="118"/>
                    <a:pt x="1062" y="147"/>
                  </a:cubicBezTo>
                  <a:cubicBezTo>
                    <a:pt x="1062" y="276"/>
                    <a:pt x="1062" y="276"/>
                    <a:pt x="1062" y="276"/>
                  </a:cubicBezTo>
                  <a:cubicBezTo>
                    <a:pt x="1062" y="305"/>
                    <a:pt x="1039" y="329"/>
                    <a:pt x="1010" y="329"/>
                  </a:cubicBezTo>
                  <a:cubicBezTo>
                    <a:pt x="925" y="329"/>
                    <a:pt x="925" y="329"/>
                    <a:pt x="925" y="329"/>
                  </a:cubicBezTo>
                  <a:cubicBezTo>
                    <a:pt x="927" y="311"/>
                    <a:pt x="928" y="292"/>
                    <a:pt x="928" y="274"/>
                  </a:cubicBezTo>
                  <a:cubicBezTo>
                    <a:pt x="928" y="94"/>
                    <a:pt x="928" y="94"/>
                    <a:pt x="928" y="94"/>
                  </a:cubicBezTo>
                  <a:lnTo>
                    <a:pt x="101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2" name="Freeform 7">
              <a:extLst>
                <a:ext uri="{FF2B5EF4-FFF2-40B4-BE49-F238E27FC236}">
                  <a16:creationId xmlns:a16="http://schemas.microsoft.com/office/drawing/2014/main" id="{1C6657EF-C615-4007-9534-C9CA2F193EEB}"/>
                </a:ext>
              </a:extLst>
            </p:cNvPr>
            <p:cNvSpPr>
              <a:spLocks/>
            </p:cNvSpPr>
            <p:nvPr/>
          </p:nvSpPr>
          <p:spPr bwMode="auto">
            <a:xfrm>
              <a:off x="8083550" y="5875338"/>
              <a:ext cx="63500" cy="46037"/>
            </a:xfrm>
            <a:custGeom>
              <a:avLst/>
              <a:gdLst>
                <a:gd name="T0" fmla="*/ 68 w 91"/>
                <a:gd name="T1" fmla="*/ 64 h 66"/>
                <a:gd name="T2" fmla="*/ 74 w 91"/>
                <a:gd name="T3" fmla="*/ 66 h 66"/>
                <a:gd name="T4" fmla="*/ 87 w 91"/>
                <a:gd name="T5" fmla="*/ 57 h 66"/>
                <a:gd name="T6" fmla="*/ 80 w 91"/>
                <a:gd name="T7" fmla="*/ 38 h 66"/>
                <a:gd name="T8" fmla="*/ 26 w 91"/>
                <a:gd name="T9" fmla="*/ 4 h 66"/>
                <a:gd name="T10" fmla="*/ 5 w 91"/>
                <a:gd name="T11" fmla="*/ 7 h 66"/>
                <a:gd name="T12" fmla="*/ 8 w 91"/>
                <a:gd name="T13" fmla="*/ 27 h 66"/>
                <a:gd name="T14" fmla="*/ 68 w 91"/>
                <a:gd name="T15" fmla="*/ 64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66">
                  <a:moveTo>
                    <a:pt x="68" y="64"/>
                  </a:moveTo>
                  <a:cubicBezTo>
                    <a:pt x="70" y="65"/>
                    <a:pt x="72" y="66"/>
                    <a:pt x="74" y="66"/>
                  </a:cubicBezTo>
                  <a:cubicBezTo>
                    <a:pt x="79" y="66"/>
                    <a:pt x="85" y="63"/>
                    <a:pt x="87" y="57"/>
                  </a:cubicBezTo>
                  <a:cubicBezTo>
                    <a:pt x="91" y="50"/>
                    <a:pt x="88" y="42"/>
                    <a:pt x="80" y="38"/>
                  </a:cubicBezTo>
                  <a:cubicBezTo>
                    <a:pt x="61" y="29"/>
                    <a:pt x="43" y="17"/>
                    <a:pt x="26" y="4"/>
                  </a:cubicBezTo>
                  <a:cubicBezTo>
                    <a:pt x="19" y="0"/>
                    <a:pt x="10" y="1"/>
                    <a:pt x="5" y="7"/>
                  </a:cubicBezTo>
                  <a:cubicBezTo>
                    <a:pt x="0" y="13"/>
                    <a:pt x="2" y="23"/>
                    <a:pt x="8" y="27"/>
                  </a:cubicBezTo>
                  <a:cubicBezTo>
                    <a:pt x="27" y="41"/>
                    <a:pt x="47" y="54"/>
                    <a:pt x="6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3" name="Freeform 8">
              <a:extLst>
                <a:ext uri="{FF2B5EF4-FFF2-40B4-BE49-F238E27FC236}">
                  <a16:creationId xmlns:a16="http://schemas.microsoft.com/office/drawing/2014/main" id="{CF147555-359E-4DB1-A659-EBBA13AE81F4}"/>
                </a:ext>
              </a:extLst>
            </p:cNvPr>
            <p:cNvSpPr>
              <a:spLocks/>
            </p:cNvSpPr>
            <p:nvPr/>
          </p:nvSpPr>
          <p:spPr bwMode="auto">
            <a:xfrm>
              <a:off x="7989888" y="5629275"/>
              <a:ext cx="92075" cy="247650"/>
            </a:xfrm>
            <a:custGeom>
              <a:avLst/>
              <a:gdLst>
                <a:gd name="T0" fmla="*/ 119 w 135"/>
                <a:gd name="T1" fmla="*/ 361 h 361"/>
                <a:gd name="T2" fmla="*/ 130 w 135"/>
                <a:gd name="T3" fmla="*/ 356 h 361"/>
                <a:gd name="T4" fmla="*/ 129 w 135"/>
                <a:gd name="T5" fmla="*/ 336 h 361"/>
                <a:gd name="T6" fmla="*/ 29 w 135"/>
                <a:gd name="T7" fmla="*/ 97 h 361"/>
                <a:gd name="T8" fmla="*/ 29 w 135"/>
                <a:gd name="T9" fmla="*/ 14 h 361"/>
                <a:gd name="T10" fmla="*/ 14 w 135"/>
                <a:gd name="T11" fmla="*/ 0 h 361"/>
                <a:gd name="T12" fmla="*/ 0 w 135"/>
                <a:gd name="T13" fmla="*/ 14 h 361"/>
                <a:gd name="T14" fmla="*/ 0 w 135"/>
                <a:gd name="T15" fmla="*/ 97 h 361"/>
                <a:gd name="T16" fmla="*/ 109 w 135"/>
                <a:gd name="T17" fmla="*/ 356 h 361"/>
                <a:gd name="T18" fmla="*/ 119 w 135"/>
                <a:gd name="T1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361">
                  <a:moveTo>
                    <a:pt x="119" y="361"/>
                  </a:moveTo>
                  <a:cubicBezTo>
                    <a:pt x="123" y="361"/>
                    <a:pt x="127" y="359"/>
                    <a:pt x="130" y="356"/>
                  </a:cubicBezTo>
                  <a:cubicBezTo>
                    <a:pt x="135" y="351"/>
                    <a:pt x="135" y="341"/>
                    <a:pt x="129" y="336"/>
                  </a:cubicBezTo>
                  <a:cubicBezTo>
                    <a:pt x="65" y="272"/>
                    <a:pt x="29" y="187"/>
                    <a:pt x="29" y="97"/>
                  </a:cubicBezTo>
                  <a:cubicBezTo>
                    <a:pt x="29" y="14"/>
                    <a:pt x="29" y="14"/>
                    <a:pt x="29" y="14"/>
                  </a:cubicBezTo>
                  <a:cubicBezTo>
                    <a:pt x="29" y="6"/>
                    <a:pt x="22" y="0"/>
                    <a:pt x="14" y="0"/>
                  </a:cubicBezTo>
                  <a:cubicBezTo>
                    <a:pt x="6" y="0"/>
                    <a:pt x="0" y="6"/>
                    <a:pt x="0" y="14"/>
                  </a:cubicBezTo>
                  <a:cubicBezTo>
                    <a:pt x="0" y="97"/>
                    <a:pt x="0" y="97"/>
                    <a:pt x="0" y="97"/>
                  </a:cubicBezTo>
                  <a:cubicBezTo>
                    <a:pt x="0" y="195"/>
                    <a:pt x="39" y="287"/>
                    <a:pt x="109" y="356"/>
                  </a:cubicBezTo>
                  <a:cubicBezTo>
                    <a:pt x="112" y="359"/>
                    <a:pt x="116" y="361"/>
                    <a:pt x="119" y="3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4" name="Freeform 9">
              <a:extLst>
                <a:ext uri="{FF2B5EF4-FFF2-40B4-BE49-F238E27FC236}">
                  <a16:creationId xmlns:a16="http://schemas.microsoft.com/office/drawing/2014/main" id="{8DFEC09F-5D17-4D18-9A77-447E2C42D653}"/>
                </a:ext>
              </a:extLst>
            </p:cNvPr>
            <p:cNvSpPr>
              <a:spLocks/>
            </p:cNvSpPr>
            <p:nvPr/>
          </p:nvSpPr>
          <p:spPr bwMode="auto">
            <a:xfrm>
              <a:off x="8588375" y="6008688"/>
              <a:ext cx="112713" cy="26987"/>
            </a:xfrm>
            <a:custGeom>
              <a:avLst/>
              <a:gdLst>
                <a:gd name="T0" fmla="*/ 146 w 165"/>
                <a:gd name="T1" fmla="*/ 0 h 39"/>
                <a:gd name="T2" fmla="*/ 20 w 165"/>
                <a:gd name="T3" fmla="*/ 0 h 39"/>
                <a:gd name="T4" fmla="*/ 0 w 165"/>
                <a:gd name="T5" fmla="*/ 20 h 39"/>
                <a:gd name="T6" fmla="*/ 20 w 165"/>
                <a:gd name="T7" fmla="*/ 39 h 39"/>
                <a:gd name="T8" fmla="*/ 146 w 165"/>
                <a:gd name="T9" fmla="*/ 39 h 39"/>
                <a:gd name="T10" fmla="*/ 165 w 165"/>
                <a:gd name="T11" fmla="*/ 20 h 39"/>
                <a:gd name="T12" fmla="*/ 146 w 165"/>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65" h="39">
                  <a:moveTo>
                    <a:pt x="146" y="0"/>
                  </a:moveTo>
                  <a:cubicBezTo>
                    <a:pt x="20" y="0"/>
                    <a:pt x="20" y="0"/>
                    <a:pt x="20" y="0"/>
                  </a:cubicBezTo>
                  <a:cubicBezTo>
                    <a:pt x="9" y="0"/>
                    <a:pt x="0" y="9"/>
                    <a:pt x="0" y="20"/>
                  </a:cubicBezTo>
                  <a:cubicBezTo>
                    <a:pt x="0" y="30"/>
                    <a:pt x="9" y="39"/>
                    <a:pt x="20" y="39"/>
                  </a:cubicBezTo>
                  <a:cubicBezTo>
                    <a:pt x="146" y="39"/>
                    <a:pt x="146" y="39"/>
                    <a:pt x="146" y="39"/>
                  </a:cubicBezTo>
                  <a:cubicBezTo>
                    <a:pt x="157" y="39"/>
                    <a:pt x="165" y="30"/>
                    <a:pt x="165" y="20"/>
                  </a:cubicBezTo>
                  <a:cubicBezTo>
                    <a:pt x="165" y="9"/>
                    <a:pt x="157" y="0"/>
                    <a:pt x="1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5" name="Freeform 10">
              <a:extLst>
                <a:ext uri="{FF2B5EF4-FFF2-40B4-BE49-F238E27FC236}">
                  <a16:creationId xmlns:a16="http://schemas.microsoft.com/office/drawing/2014/main" id="{CD9F3FD9-F52E-4F23-82CB-1A12CF3B61C0}"/>
                </a:ext>
              </a:extLst>
            </p:cNvPr>
            <p:cNvSpPr>
              <a:spLocks/>
            </p:cNvSpPr>
            <p:nvPr/>
          </p:nvSpPr>
          <p:spPr bwMode="auto">
            <a:xfrm>
              <a:off x="8542338" y="6008688"/>
              <a:ext cx="31750" cy="26987"/>
            </a:xfrm>
            <a:custGeom>
              <a:avLst/>
              <a:gdLst>
                <a:gd name="T0" fmla="*/ 27 w 46"/>
                <a:gd name="T1" fmla="*/ 0 h 39"/>
                <a:gd name="T2" fmla="*/ 19 w 46"/>
                <a:gd name="T3" fmla="*/ 0 h 39"/>
                <a:gd name="T4" fmla="*/ 0 w 46"/>
                <a:gd name="T5" fmla="*/ 20 h 39"/>
                <a:gd name="T6" fmla="*/ 19 w 46"/>
                <a:gd name="T7" fmla="*/ 39 h 39"/>
                <a:gd name="T8" fmla="*/ 27 w 46"/>
                <a:gd name="T9" fmla="*/ 39 h 39"/>
                <a:gd name="T10" fmla="*/ 46 w 46"/>
                <a:gd name="T11" fmla="*/ 20 h 39"/>
                <a:gd name="T12" fmla="*/ 27 w 4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6" h="39">
                  <a:moveTo>
                    <a:pt x="27" y="0"/>
                  </a:moveTo>
                  <a:cubicBezTo>
                    <a:pt x="19" y="0"/>
                    <a:pt x="19" y="0"/>
                    <a:pt x="19" y="0"/>
                  </a:cubicBezTo>
                  <a:cubicBezTo>
                    <a:pt x="8" y="0"/>
                    <a:pt x="0" y="9"/>
                    <a:pt x="0" y="20"/>
                  </a:cubicBezTo>
                  <a:cubicBezTo>
                    <a:pt x="0" y="30"/>
                    <a:pt x="8" y="39"/>
                    <a:pt x="19" y="39"/>
                  </a:cubicBezTo>
                  <a:cubicBezTo>
                    <a:pt x="27" y="39"/>
                    <a:pt x="27" y="39"/>
                    <a:pt x="27" y="39"/>
                  </a:cubicBezTo>
                  <a:cubicBezTo>
                    <a:pt x="38" y="39"/>
                    <a:pt x="46" y="30"/>
                    <a:pt x="46" y="20"/>
                  </a:cubicBezTo>
                  <a:cubicBezTo>
                    <a:pt x="46" y="9"/>
                    <a:pt x="38" y="0"/>
                    <a:pt x="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6" name="Freeform 11">
              <a:extLst>
                <a:ext uri="{FF2B5EF4-FFF2-40B4-BE49-F238E27FC236}">
                  <a16:creationId xmlns:a16="http://schemas.microsoft.com/office/drawing/2014/main" id="{A06BC048-A2B4-4BF9-AB60-B23436D21C76}"/>
                </a:ext>
              </a:extLst>
            </p:cNvPr>
            <p:cNvSpPr>
              <a:spLocks/>
            </p:cNvSpPr>
            <p:nvPr/>
          </p:nvSpPr>
          <p:spPr bwMode="auto">
            <a:xfrm>
              <a:off x="7883525" y="6008688"/>
              <a:ext cx="644525" cy="26987"/>
            </a:xfrm>
            <a:custGeom>
              <a:avLst/>
              <a:gdLst>
                <a:gd name="T0" fmla="*/ 919 w 938"/>
                <a:gd name="T1" fmla="*/ 0 h 39"/>
                <a:gd name="T2" fmla="*/ 19 w 938"/>
                <a:gd name="T3" fmla="*/ 0 h 39"/>
                <a:gd name="T4" fmla="*/ 0 w 938"/>
                <a:gd name="T5" fmla="*/ 20 h 39"/>
                <a:gd name="T6" fmla="*/ 19 w 938"/>
                <a:gd name="T7" fmla="*/ 39 h 39"/>
                <a:gd name="T8" fmla="*/ 919 w 938"/>
                <a:gd name="T9" fmla="*/ 39 h 39"/>
                <a:gd name="T10" fmla="*/ 938 w 938"/>
                <a:gd name="T11" fmla="*/ 20 h 39"/>
                <a:gd name="T12" fmla="*/ 919 w 938"/>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938" h="39">
                  <a:moveTo>
                    <a:pt x="919" y="0"/>
                  </a:moveTo>
                  <a:cubicBezTo>
                    <a:pt x="19" y="0"/>
                    <a:pt x="19" y="0"/>
                    <a:pt x="19" y="0"/>
                  </a:cubicBezTo>
                  <a:cubicBezTo>
                    <a:pt x="8" y="0"/>
                    <a:pt x="0" y="9"/>
                    <a:pt x="0" y="20"/>
                  </a:cubicBezTo>
                  <a:cubicBezTo>
                    <a:pt x="0" y="30"/>
                    <a:pt x="8" y="39"/>
                    <a:pt x="19" y="39"/>
                  </a:cubicBezTo>
                  <a:cubicBezTo>
                    <a:pt x="919" y="39"/>
                    <a:pt x="919" y="39"/>
                    <a:pt x="919" y="39"/>
                  </a:cubicBezTo>
                  <a:cubicBezTo>
                    <a:pt x="929" y="39"/>
                    <a:pt x="938" y="30"/>
                    <a:pt x="938" y="20"/>
                  </a:cubicBezTo>
                  <a:cubicBezTo>
                    <a:pt x="938" y="9"/>
                    <a:pt x="929" y="0"/>
                    <a:pt x="9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7" name="Freeform 12">
              <a:extLst>
                <a:ext uri="{FF2B5EF4-FFF2-40B4-BE49-F238E27FC236}">
                  <a16:creationId xmlns:a16="http://schemas.microsoft.com/office/drawing/2014/main" id="{AF34D8C1-B829-4380-84EE-152B4C2BAC1E}"/>
                </a:ext>
              </a:extLst>
            </p:cNvPr>
            <p:cNvSpPr>
              <a:spLocks/>
            </p:cNvSpPr>
            <p:nvPr/>
          </p:nvSpPr>
          <p:spPr bwMode="auto">
            <a:xfrm>
              <a:off x="8070850" y="5218113"/>
              <a:ext cx="65088" cy="241300"/>
            </a:xfrm>
            <a:custGeom>
              <a:avLst/>
              <a:gdLst>
                <a:gd name="T0" fmla="*/ 35 w 96"/>
                <a:gd name="T1" fmla="*/ 264 h 350"/>
                <a:gd name="T2" fmla="*/ 0 w 96"/>
                <a:gd name="T3" fmla="*/ 331 h 350"/>
                <a:gd name="T4" fmla="*/ 19 w 96"/>
                <a:gd name="T5" fmla="*/ 350 h 350"/>
                <a:gd name="T6" fmla="*/ 38 w 96"/>
                <a:gd name="T7" fmla="*/ 331 h 350"/>
                <a:gd name="T8" fmla="*/ 61 w 96"/>
                <a:gd name="T9" fmla="*/ 293 h 350"/>
                <a:gd name="T10" fmla="*/ 96 w 96"/>
                <a:gd name="T11" fmla="*/ 227 h 350"/>
                <a:gd name="T12" fmla="*/ 61 w 96"/>
                <a:gd name="T13" fmla="*/ 161 h 350"/>
                <a:gd name="T14" fmla="*/ 38 w 96"/>
                <a:gd name="T15" fmla="*/ 123 h 350"/>
                <a:gd name="T16" fmla="*/ 61 w 96"/>
                <a:gd name="T17" fmla="*/ 86 h 350"/>
                <a:gd name="T18" fmla="*/ 96 w 96"/>
                <a:gd name="T19" fmla="*/ 19 h 350"/>
                <a:gd name="T20" fmla="*/ 77 w 96"/>
                <a:gd name="T21" fmla="*/ 0 h 350"/>
                <a:gd name="T22" fmla="*/ 57 w 96"/>
                <a:gd name="T23" fmla="*/ 19 h 350"/>
                <a:gd name="T24" fmla="*/ 35 w 96"/>
                <a:gd name="T25" fmla="*/ 57 h 350"/>
                <a:gd name="T26" fmla="*/ 0 w 96"/>
                <a:gd name="T27" fmla="*/ 123 h 350"/>
                <a:gd name="T28" fmla="*/ 35 w 96"/>
                <a:gd name="T29" fmla="*/ 189 h 350"/>
                <a:gd name="T30" fmla="*/ 57 w 96"/>
                <a:gd name="T31" fmla="*/ 227 h 350"/>
                <a:gd name="T32" fmla="*/ 35 w 96"/>
                <a:gd name="T33" fmla="*/ 26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350">
                  <a:moveTo>
                    <a:pt x="35" y="264"/>
                  </a:moveTo>
                  <a:cubicBezTo>
                    <a:pt x="19" y="279"/>
                    <a:pt x="0" y="296"/>
                    <a:pt x="0" y="331"/>
                  </a:cubicBezTo>
                  <a:cubicBezTo>
                    <a:pt x="0" y="341"/>
                    <a:pt x="8" y="350"/>
                    <a:pt x="19" y="350"/>
                  </a:cubicBezTo>
                  <a:cubicBezTo>
                    <a:pt x="29" y="350"/>
                    <a:pt x="38" y="341"/>
                    <a:pt x="38" y="331"/>
                  </a:cubicBezTo>
                  <a:cubicBezTo>
                    <a:pt x="38" y="314"/>
                    <a:pt x="46" y="306"/>
                    <a:pt x="61" y="293"/>
                  </a:cubicBezTo>
                  <a:cubicBezTo>
                    <a:pt x="76" y="279"/>
                    <a:pt x="96" y="261"/>
                    <a:pt x="96" y="227"/>
                  </a:cubicBezTo>
                  <a:cubicBezTo>
                    <a:pt x="96" y="192"/>
                    <a:pt x="76" y="175"/>
                    <a:pt x="61" y="161"/>
                  </a:cubicBezTo>
                  <a:cubicBezTo>
                    <a:pt x="46" y="147"/>
                    <a:pt x="38" y="140"/>
                    <a:pt x="38" y="123"/>
                  </a:cubicBezTo>
                  <a:cubicBezTo>
                    <a:pt x="38" y="107"/>
                    <a:pt x="46" y="99"/>
                    <a:pt x="61" y="86"/>
                  </a:cubicBezTo>
                  <a:cubicBezTo>
                    <a:pt x="76" y="71"/>
                    <a:pt x="96" y="54"/>
                    <a:pt x="96" y="19"/>
                  </a:cubicBezTo>
                  <a:cubicBezTo>
                    <a:pt x="96" y="9"/>
                    <a:pt x="87" y="0"/>
                    <a:pt x="77" y="0"/>
                  </a:cubicBezTo>
                  <a:cubicBezTo>
                    <a:pt x="66" y="0"/>
                    <a:pt x="57" y="9"/>
                    <a:pt x="57" y="19"/>
                  </a:cubicBezTo>
                  <a:cubicBezTo>
                    <a:pt x="57" y="36"/>
                    <a:pt x="50" y="44"/>
                    <a:pt x="35" y="57"/>
                  </a:cubicBezTo>
                  <a:cubicBezTo>
                    <a:pt x="19" y="71"/>
                    <a:pt x="0" y="89"/>
                    <a:pt x="0" y="123"/>
                  </a:cubicBezTo>
                  <a:cubicBezTo>
                    <a:pt x="0" y="158"/>
                    <a:pt x="19" y="175"/>
                    <a:pt x="35" y="189"/>
                  </a:cubicBezTo>
                  <a:cubicBezTo>
                    <a:pt x="50" y="203"/>
                    <a:pt x="57" y="210"/>
                    <a:pt x="57" y="227"/>
                  </a:cubicBezTo>
                  <a:cubicBezTo>
                    <a:pt x="57" y="243"/>
                    <a:pt x="50" y="251"/>
                    <a:pt x="35"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8" name="Freeform 13">
              <a:extLst>
                <a:ext uri="{FF2B5EF4-FFF2-40B4-BE49-F238E27FC236}">
                  <a16:creationId xmlns:a16="http://schemas.microsoft.com/office/drawing/2014/main" id="{A409B412-6C71-426C-85FD-7036DA9C4ADF}"/>
                </a:ext>
              </a:extLst>
            </p:cNvPr>
            <p:cNvSpPr>
              <a:spLocks/>
            </p:cNvSpPr>
            <p:nvPr/>
          </p:nvSpPr>
          <p:spPr bwMode="auto">
            <a:xfrm>
              <a:off x="8226425" y="5218113"/>
              <a:ext cx="66675" cy="241300"/>
            </a:xfrm>
            <a:custGeom>
              <a:avLst/>
              <a:gdLst>
                <a:gd name="T0" fmla="*/ 35 w 96"/>
                <a:gd name="T1" fmla="*/ 264 h 350"/>
                <a:gd name="T2" fmla="*/ 0 w 96"/>
                <a:gd name="T3" fmla="*/ 331 h 350"/>
                <a:gd name="T4" fmla="*/ 19 w 96"/>
                <a:gd name="T5" fmla="*/ 350 h 350"/>
                <a:gd name="T6" fmla="*/ 38 w 96"/>
                <a:gd name="T7" fmla="*/ 331 h 350"/>
                <a:gd name="T8" fmla="*/ 61 w 96"/>
                <a:gd name="T9" fmla="*/ 293 h 350"/>
                <a:gd name="T10" fmla="*/ 96 w 96"/>
                <a:gd name="T11" fmla="*/ 227 h 350"/>
                <a:gd name="T12" fmla="*/ 61 w 96"/>
                <a:gd name="T13" fmla="*/ 161 h 350"/>
                <a:gd name="T14" fmla="*/ 38 w 96"/>
                <a:gd name="T15" fmla="*/ 123 h 350"/>
                <a:gd name="T16" fmla="*/ 61 w 96"/>
                <a:gd name="T17" fmla="*/ 86 h 350"/>
                <a:gd name="T18" fmla="*/ 96 w 96"/>
                <a:gd name="T19" fmla="*/ 19 h 350"/>
                <a:gd name="T20" fmla="*/ 77 w 96"/>
                <a:gd name="T21" fmla="*/ 0 h 350"/>
                <a:gd name="T22" fmla="*/ 57 w 96"/>
                <a:gd name="T23" fmla="*/ 19 h 350"/>
                <a:gd name="T24" fmla="*/ 35 w 96"/>
                <a:gd name="T25" fmla="*/ 57 h 350"/>
                <a:gd name="T26" fmla="*/ 0 w 96"/>
                <a:gd name="T27" fmla="*/ 123 h 350"/>
                <a:gd name="T28" fmla="*/ 35 w 96"/>
                <a:gd name="T29" fmla="*/ 189 h 350"/>
                <a:gd name="T30" fmla="*/ 57 w 96"/>
                <a:gd name="T31" fmla="*/ 227 h 350"/>
                <a:gd name="T32" fmla="*/ 35 w 96"/>
                <a:gd name="T33" fmla="*/ 26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350">
                  <a:moveTo>
                    <a:pt x="35" y="264"/>
                  </a:moveTo>
                  <a:cubicBezTo>
                    <a:pt x="19" y="279"/>
                    <a:pt x="0" y="296"/>
                    <a:pt x="0" y="331"/>
                  </a:cubicBezTo>
                  <a:cubicBezTo>
                    <a:pt x="0" y="341"/>
                    <a:pt x="8" y="350"/>
                    <a:pt x="19" y="350"/>
                  </a:cubicBezTo>
                  <a:cubicBezTo>
                    <a:pt x="30" y="350"/>
                    <a:pt x="38" y="341"/>
                    <a:pt x="38" y="331"/>
                  </a:cubicBezTo>
                  <a:cubicBezTo>
                    <a:pt x="38" y="314"/>
                    <a:pt x="46" y="306"/>
                    <a:pt x="61" y="293"/>
                  </a:cubicBezTo>
                  <a:cubicBezTo>
                    <a:pt x="76" y="279"/>
                    <a:pt x="96" y="261"/>
                    <a:pt x="96" y="227"/>
                  </a:cubicBezTo>
                  <a:cubicBezTo>
                    <a:pt x="96" y="192"/>
                    <a:pt x="76" y="175"/>
                    <a:pt x="61" y="161"/>
                  </a:cubicBezTo>
                  <a:cubicBezTo>
                    <a:pt x="46" y="147"/>
                    <a:pt x="38" y="140"/>
                    <a:pt x="38" y="123"/>
                  </a:cubicBezTo>
                  <a:cubicBezTo>
                    <a:pt x="38" y="107"/>
                    <a:pt x="46" y="99"/>
                    <a:pt x="61" y="86"/>
                  </a:cubicBezTo>
                  <a:cubicBezTo>
                    <a:pt x="76" y="71"/>
                    <a:pt x="96" y="54"/>
                    <a:pt x="96" y="19"/>
                  </a:cubicBezTo>
                  <a:cubicBezTo>
                    <a:pt x="96" y="9"/>
                    <a:pt x="87" y="0"/>
                    <a:pt x="77" y="0"/>
                  </a:cubicBezTo>
                  <a:cubicBezTo>
                    <a:pt x="66" y="0"/>
                    <a:pt x="57" y="9"/>
                    <a:pt x="57" y="19"/>
                  </a:cubicBezTo>
                  <a:cubicBezTo>
                    <a:pt x="57" y="36"/>
                    <a:pt x="50" y="44"/>
                    <a:pt x="35" y="57"/>
                  </a:cubicBezTo>
                  <a:cubicBezTo>
                    <a:pt x="19" y="71"/>
                    <a:pt x="0" y="89"/>
                    <a:pt x="0" y="123"/>
                  </a:cubicBezTo>
                  <a:cubicBezTo>
                    <a:pt x="0" y="158"/>
                    <a:pt x="19" y="175"/>
                    <a:pt x="35" y="189"/>
                  </a:cubicBezTo>
                  <a:cubicBezTo>
                    <a:pt x="50" y="203"/>
                    <a:pt x="57" y="210"/>
                    <a:pt x="57" y="227"/>
                  </a:cubicBezTo>
                  <a:cubicBezTo>
                    <a:pt x="57" y="243"/>
                    <a:pt x="50" y="251"/>
                    <a:pt x="35"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9" name="Freeform 14">
              <a:extLst>
                <a:ext uri="{FF2B5EF4-FFF2-40B4-BE49-F238E27FC236}">
                  <a16:creationId xmlns:a16="http://schemas.microsoft.com/office/drawing/2014/main" id="{D89E6DDD-7044-483F-BE75-E58BA159BEF7}"/>
                </a:ext>
              </a:extLst>
            </p:cNvPr>
            <p:cNvSpPr>
              <a:spLocks/>
            </p:cNvSpPr>
            <p:nvPr/>
          </p:nvSpPr>
          <p:spPr bwMode="auto">
            <a:xfrm>
              <a:off x="8382000" y="5273675"/>
              <a:ext cx="66675" cy="185737"/>
            </a:xfrm>
            <a:custGeom>
              <a:avLst/>
              <a:gdLst>
                <a:gd name="T0" fmla="*/ 1 w 97"/>
                <a:gd name="T1" fmla="*/ 44 h 271"/>
                <a:gd name="T2" fmla="*/ 36 w 97"/>
                <a:gd name="T3" fmla="*/ 110 h 271"/>
                <a:gd name="T4" fmla="*/ 58 w 97"/>
                <a:gd name="T5" fmla="*/ 148 h 271"/>
                <a:gd name="T6" fmla="*/ 36 w 97"/>
                <a:gd name="T7" fmla="*/ 185 h 271"/>
                <a:gd name="T8" fmla="*/ 1 w 97"/>
                <a:gd name="T9" fmla="*/ 252 h 271"/>
                <a:gd name="T10" fmla="*/ 20 w 97"/>
                <a:gd name="T11" fmla="*/ 271 h 271"/>
                <a:gd name="T12" fmla="*/ 39 w 97"/>
                <a:gd name="T13" fmla="*/ 252 h 271"/>
                <a:gd name="T14" fmla="*/ 62 w 97"/>
                <a:gd name="T15" fmla="*/ 214 h 271"/>
                <a:gd name="T16" fmla="*/ 97 w 97"/>
                <a:gd name="T17" fmla="*/ 148 h 271"/>
                <a:gd name="T18" fmla="*/ 62 w 97"/>
                <a:gd name="T19" fmla="*/ 82 h 271"/>
                <a:gd name="T20" fmla="*/ 39 w 97"/>
                <a:gd name="T21" fmla="*/ 44 h 271"/>
                <a:gd name="T22" fmla="*/ 39 w 97"/>
                <a:gd name="T23" fmla="*/ 36 h 271"/>
                <a:gd name="T24" fmla="*/ 39 w 97"/>
                <a:gd name="T25" fmla="*/ 33 h 271"/>
                <a:gd name="T26" fmla="*/ 40 w 97"/>
                <a:gd name="T27" fmla="*/ 32 h 271"/>
                <a:gd name="T28" fmla="*/ 34 w 97"/>
                <a:gd name="T29" fmla="*/ 6 h 271"/>
                <a:gd name="T30" fmla="*/ 7 w 97"/>
                <a:gd name="T31" fmla="*/ 12 h 271"/>
                <a:gd name="T32" fmla="*/ 1 w 97"/>
                <a:gd name="T33" fmla="*/ 38 h 271"/>
                <a:gd name="T34" fmla="*/ 1 w 97"/>
                <a:gd name="T35" fmla="*/ 4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 h="271">
                  <a:moveTo>
                    <a:pt x="1" y="44"/>
                  </a:moveTo>
                  <a:cubicBezTo>
                    <a:pt x="1" y="79"/>
                    <a:pt x="20" y="96"/>
                    <a:pt x="36" y="110"/>
                  </a:cubicBezTo>
                  <a:cubicBezTo>
                    <a:pt x="51" y="124"/>
                    <a:pt x="58" y="131"/>
                    <a:pt x="58" y="148"/>
                  </a:cubicBezTo>
                  <a:cubicBezTo>
                    <a:pt x="58" y="164"/>
                    <a:pt x="51" y="172"/>
                    <a:pt x="36" y="185"/>
                  </a:cubicBezTo>
                  <a:cubicBezTo>
                    <a:pt x="20" y="200"/>
                    <a:pt x="1" y="217"/>
                    <a:pt x="1" y="252"/>
                  </a:cubicBezTo>
                  <a:cubicBezTo>
                    <a:pt x="1" y="262"/>
                    <a:pt x="9" y="271"/>
                    <a:pt x="20" y="271"/>
                  </a:cubicBezTo>
                  <a:cubicBezTo>
                    <a:pt x="31" y="271"/>
                    <a:pt x="39" y="262"/>
                    <a:pt x="39" y="252"/>
                  </a:cubicBezTo>
                  <a:cubicBezTo>
                    <a:pt x="39" y="235"/>
                    <a:pt x="47" y="227"/>
                    <a:pt x="62" y="214"/>
                  </a:cubicBezTo>
                  <a:cubicBezTo>
                    <a:pt x="77" y="200"/>
                    <a:pt x="97" y="182"/>
                    <a:pt x="97" y="148"/>
                  </a:cubicBezTo>
                  <a:cubicBezTo>
                    <a:pt x="97" y="113"/>
                    <a:pt x="77" y="96"/>
                    <a:pt x="62" y="82"/>
                  </a:cubicBezTo>
                  <a:cubicBezTo>
                    <a:pt x="47" y="68"/>
                    <a:pt x="39" y="61"/>
                    <a:pt x="39" y="44"/>
                  </a:cubicBezTo>
                  <a:cubicBezTo>
                    <a:pt x="39" y="41"/>
                    <a:pt x="39" y="38"/>
                    <a:pt x="39" y="36"/>
                  </a:cubicBezTo>
                  <a:cubicBezTo>
                    <a:pt x="39" y="35"/>
                    <a:pt x="39" y="34"/>
                    <a:pt x="39" y="33"/>
                  </a:cubicBezTo>
                  <a:cubicBezTo>
                    <a:pt x="39" y="33"/>
                    <a:pt x="39" y="33"/>
                    <a:pt x="40" y="32"/>
                  </a:cubicBezTo>
                  <a:cubicBezTo>
                    <a:pt x="45" y="24"/>
                    <a:pt x="43" y="12"/>
                    <a:pt x="34" y="6"/>
                  </a:cubicBezTo>
                  <a:cubicBezTo>
                    <a:pt x="25" y="0"/>
                    <a:pt x="13" y="3"/>
                    <a:pt x="7" y="12"/>
                  </a:cubicBezTo>
                  <a:cubicBezTo>
                    <a:pt x="0" y="22"/>
                    <a:pt x="0" y="29"/>
                    <a:pt x="1" y="38"/>
                  </a:cubicBezTo>
                  <a:cubicBezTo>
                    <a:pt x="1" y="39"/>
                    <a:pt x="1" y="41"/>
                    <a:pt x="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0" name="Freeform 15">
              <a:extLst>
                <a:ext uri="{FF2B5EF4-FFF2-40B4-BE49-F238E27FC236}">
                  <a16:creationId xmlns:a16="http://schemas.microsoft.com/office/drawing/2014/main" id="{76D9B311-7D62-4A92-A8D3-A7657B5E7BE8}"/>
                </a:ext>
              </a:extLst>
            </p:cNvPr>
            <p:cNvSpPr>
              <a:spLocks/>
            </p:cNvSpPr>
            <p:nvPr/>
          </p:nvSpPr>
          <p:spPr bwMode="auto">
            <a:xfrm>
              <a:off x="8407400" y="5218113"/>
              <a:ext cx="41275" cy="57150"/>
            </a:xfrm>
            <a:custGeom>
              <a:avLst/>
              <a:gdLst>
                <a:gd name="T0" fmla="*/ 21 w 60"/>
                <a:gd name="T1" fmla="*/ 82 h 82"/>
                <a:gd name="T2" fmla="*/ 35 w 60"/>
                <a:gd name="T3" fmla="*/ 76 h 82"/>
                <a:gd name="T4" fmla="*/ 60 w 60"/>
                <a:gd name="T5" fmla="*/ 19 h 82"/>
                <a:gd name="T6" fmla="*/ 41 w 60"/>
                <a:gd name="T7" fmla="*/ 0 h 82"/>
                <a:gd name="T8" fmla="*/ 21 w 60"/>
                <a:gd name="T9" fmla="*/ 19 h 82"/>
                <a:gd name="T10" fmla="*/ 8 w 60"/>
                <a:gd name="T11" fmla="*/ 49 h 82"/>
                <a:gd name="T12" fmla="*/ 7 w 60"/>
                <a:gd name="T13" fmla="*/ 76 h 82"/>
                <a:gd name="T14" fmla="*/ 21 w 60"/>
                <a:gd name="T15" fmla="*/ 82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82">
                  <a:moveTo>
                    <a:pt x="21" y="82"/>
                  </a:moveTo>
                  <a:cubicBezTo>
                    <a:pt x="26" y="82"/>
                    <a:pt x="31" y="80"/>
                    <a:pt x="35" y="76"/>
                  </a:cubicBezTo>
                  <a:cubicBezTo>
                    <a:pt x="46" y="65"/>
                    <a:pt x="60" y="48"/>
                    <a:pt x="60" y="19"/>
                  </a:cubicBezTo>
                  <a:cubicBezTo>
                    <a:pt x="60" y="9"/>
                    <a:pt x="51" y="0"/>
                    <a:pt x="41" y="0"/>
                  </a:cubicBezTo>
                  <a:cubicBezTo>
                    <a:pt x="30" y="0"/>
                    <a:pt x="21" y="9"/>
                    <a:pt x="21" y="19"/>
                  </a:cubicBezTo>
                  <a:cubicBezTo>
                    <a:pt x="21" y="33"/>
                    <a:pt x="16" y="40"/>
                    <a:pt x="8" y="49"/>
                  </a:cubicBezTo>
                  <a:cubicBezTo>
                    <a:pt x="0" y="57"/>
                    <a:pt x="0" y="69"/>
                    <a:pt x="7" y="76"/>
                  </a:cubicBezTo>
                  <a:cubicBezTo>
                    <a:pt x="11" y="80"/>
                    <a:pt x="16" y="82"/>
                    <a:pt x="2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58" name="Group 14">
            <a:extLst>
              <a:ext uri="{FF2B5EF4-FFF2-40B4-BE49-F238E27FC236}">
                <a16:creationId xmlns:a16="http://schemas.microsoft.com/office/drawing/2014/main" id="{91AFBD3D-8C1B-4CE6-89F7-5FA1A2B09E4B}"/>
              </a:ext>
            </a:extLst>
          </p:cNvPr>
          <p:cNvGrpSpPr>
            <a:grpSpLocks noChangeAspect="1"/>
          </p:cNvGrpSpPr>
          <p:nvPr/>
        </p:nvGrpSpPr>
        <p:grpSpPr>
          <a:xfrm>
            <a:off x="1066904" y="5434754"/>
            <a:ext cx="304790" cy="272128"/>
            <a:chOff x="1060876" y="4151258"/>
            <a:chExt cx="1092200" cy="975157"/>
          </a:xfrm>
          <a:solidFill>
            <a:schemeClr val="bg1"/>
          </a:solidFill>
        </p:grpSpPr>
        <p:sp>
          <p:nvSpPr>
            <p:cNvPr id="859" name="Freeform 11">
              <a:extLst>
                <a:ext uri="{FF2B5EF4-FFF2-40B4-BE49-F238E27FC236}">
                  <a16:creationId xmlns:a16="http://schemas.microsoft.com/office/drawing/2014/main" id="{2520DE77-F780-41BC-B359-8CA3EB821B5C}"/>
                </a:ext>
              </a:extLst>
            </p:cNvPr>
            <p:cNvSpPr>
              <a:spLocks noEditPoints="1"/>
            </p:cNvSpPr>
            <p:nvPr/>
          </p:nvSpPr>
          <p:spPr bwMode="auto">
            <a:xfrm rot="2700000">
              <a:off x="1171856" y="4253652"/>
              <a:ext cx="541337" cy="336550"/>
            </a:xfrm>
            <a:custGeom>
              <a:avLst/>
              <a:gdLst>
                <a:gd name="T0" fmla="*/ 361 w 1101"/>
                <a:gd name="T1" fmla="*/ 766 h 766"/>
                <a:gd name="T2" fmla="*/ 361 w 1101"/>
                <a:gd name="T3" fmla="*/ 766 h 766"/>
                <a:gd name="T4" fmla="*/ 361 w 1101"/>
                <a:gd name="T5" fmla="*/ 766 h 766"/>
                <a:gd name="T6" fmla="*/ 9 w 1101"/>
                <a:gd name="T7" fmla="*/ 529 h 766"/>
                <a:gd name="T8" fmla="*/ 15 w 1101"/>
                <a:gd name="T9" fmla="*/ 464 h 766"/>
                <a:gd name="T10" fmla="*/ 15 w 1101"/>
                <a:gd name="T11" fmla="*/ 464 h 766"/>
                <a:gd name="T12" fmla="*/ 72 w 1101"/>
                <a:gd name="T13" fmla="*/ 432 h 766"/>
                <a:gd name="T14" fmla="*/ 263 w 1101"/>
                <a:gd name="T15" fmla="*/ 425 h 766"/>
                <a:gd name="T16" fmla="*/ 303 w 1101"/>
                <a:gd name="T17" fmla="*/ 384 h 766"/>
                <a:gd name="T18" fmla="*/ 262 w 1101"/>
                <a:gd name="T19" fmla="*/ 344 h 766"/>
                <a:gd name="T20" fmla="*/ 70 w 1101"/>
                <a:gd name="T21" fmla="*/ 332 h 766"/>
                <a:gd name="T22" fmla="*/ 15 w 1101"/>
                <a:gd name="T23" fmla="*/ 299 h 766"/>
                <a:gd name="T24" fmla="*/ 9 w 1101"/>
                <a:gd name="T25" fmla="*/ 235 h 766"/>
                <a:gd name="T26" fmla="*/ 148 w 1101"/>
                <a:gd name="T27" fmla="*/ 64 h 766"/>
                <a:gd name="T28" fmla="*/ 359 w 1101"/>
                <a:gd name="T29" fmla="*/ 0 h 766"/>
                <a:gd name="T30" fmla="*/ 692 w 1101"/>
                <a:gd name="T31" fmla="*/ 195 h 766"/>
                <a:gd name="T32" fmla="*/ 1101 w 1101"/>
                <a:gd name="T33" fmla="*/ 195 h 766"/>
                <a:gd name="T34" fmla="*/ 1101 w 1101"/>
                <a:gd name="T35" fmla="*/ 570 h 766"/>
                <a:gd name="T36" fmla="*/ 693 w 1101"/>
                <a:gd name="T37" fmla="*/ 571 h 766"/>
                <a:gd name="T38" fmla="*/ 361 w 1101"/>
                <a:gd name="T39" fmla="*/ 766 h 766"/>
                <a:gd name="T40" fmla="*/ 69 w 1101"/>
                <a:gd name="T41" fmla="*/ 499 h 766"/>
                <a:gd name="T42" fmla="*/ 68 w 1101"/>
                <a:gd name="T43" fmla="*/ 505 h 766"/>
                <a:gd name="T44" fmla="*/ 361 w 1101"/>
                <a:gd name="T45" fmla="*/ 702 h 766"/>
                <a:gd name="T46" fmla="*/ 361 w 1101"/>
                <a:gd name="T47" fmla="*/ 702 h 766"/>
                <a:gd name="T48" fmla="*/ 645 w 1101"/>
                <a:gd name="T49" fmla="*/ 524 h 766"/>
                <a:gd name="T50" fmla="*/ 654 w 1101"/>
                <a:gd name="T51" fmla="*/ 507 h 766"/>
                <a:gd name="T52" fmla="*/ 1037 w 1101"/>
                <a:gd name="T53" fmla="*/ 506 h 766"/>
                <a:gd name="T54" fmla="*/ 1037 w 1101"/>
                <a:gd name="T55" fmla="*/ 259 h 766"/>
                <a:gd name="T56" fmla="*/ 653 w 1101"/>
                <a:gd name="T57" fmla="*/ 259 h 766"/>
                <a:gd name="T58" fmla="*/ 644 w 1101"/>
                <a:gd name="T59" fmla="*/ 241 h 766"/>
                <a:gd name="T60" fmla="*/ 359 w 1101"/>
                <a:gd name="T61" fmla="*/ 64 h 766"/>
                <a:gd name="T62" fmla="*/ 68 w 1101"/>
                <a:gd name="T63" fmla="*/ 259 h 766"/>
                <a:gd name="T64" fmla="*/ 69 w 1101"/>
                <a:gd name="T65" fmla="*/ 265 h 766"/>
                <a:gd name="T66" fmla="*/ 74 w 1101"/>
                <a:gd name="T67" fmla="*/ 268 h 766"/>
                <a:gd name="T68" fmla="*/ 290 w 1101"/>
                <a:gd name="T69" fmla="*/ 281 h 766"/>
                <a:gd name="T70" fmla="*/ 394 w 1101"/>
                <a:gd name="T71" fmla="*/ 384 h 766"/>
                <a:gd name="T72" fmla="*/ 291 w 1101"/>
                <a:gd name="T73" fmla="*/ 488 h 766"/>
                <a:gd name="T74" fmla="*/ 74 w 1101"/>
                <a:gd name="T75" fmla="*/ 496 h 766"/>
                <a:gd name="T76" fmla="*/ 69 w 1101"/>
                <a:gd name="T77" fmla="*/ 49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01" h="766">
                  <a:moveTo>
                    <a:pt x="361" y="766"/>
                  </a:moveTo>
                  <a:cubicBezTo>
                    <a:pt x="361" y="766"/>
                    <a:pt x="361" y="766"/>
                    <a:pt x="361" y="766"/>
                  </a:cubicBezTo>
                  <a:cubicBezTo>
                    <a:pt x="361" y="766"/>
                    <a:pt x="361" y="766"/>
                    <a:pt x="361" y="766"/>
                  </a:cubicBezTo>
                  <a:cubicBezTo>
                    <a:pt x="206" y="766"/>
                    <a:pt x="67" y="673"/>
                    <a:pt x="9" y="529"/>
                  </a:cubicBezTo>
                  <a:cubicBezTo>
                    <a:pt x="0" y="508"/>
                    <a:pt x="3" y="484"/>
                    <a:pt x="15" y="464"/>
                  </a:cubicBezTo>
                  <a:cubicBezTo>
                    <a:pt x="15" y="464"/>
                    <a:pt x="15" y="464"/>
                    <a:pt x="15" y="464"/>
                  </a:cubicBezTo>
                  <a:cubicBezTo>
                    <a:pt x="28" y="445"/>
                    <a:pt x="49" y="433"/>
                    <a:pt x="72" y="432"/>
                  </a:cubicBezTo>
                  <a:cubicBezTo>
                    <a:pt x="263" y="425"/>
                    <a:pt x="263" y="425"/>
                    <a:pt x="263" y="425"/>
                  </a:cubicBezTo>
                  <a:cubicBezTo>
                    <a:pt x="303" y="384"/>
                    <a:pt x="303" y="384"/>
                    <a:pt x="303" y="384"/>
                  </a:cubicBezTo>
                  <a:cubicBezTo>
                    <a:pt x="262" y="344"/>
                    <a:pt x="262" y="344"/>
                    <a:pt x="262" y="344"/>
                  </a:cubicBezTo>
                  <a:cubicBezTo>
                    <a:pt x="70" y="332"/>
                    <a:pt x="70" y="332"/>
                    <a:pt x="70" y="332"/>
                  </a:cubicBezTo>
                  <a:cubicBezTo>
                    <a:pt x="48" y="331"/>
                    <a:pt x="27" y="318"/>
                    <a:pt x="15" y="299"/>
                  </a:cubicBezTo>
                  <a:cubicBezTo>
                    <a:pt x="3" y="280"/>
                    <a:pt x="0" y="256"/>
                    <a:pt x="9" y="235"/>
                  </a:cubicBezTo>
                  <a:cubicBezTo>
                    <a:pt x="37" y="165"/>
                    <a:pt x="85" y="106"/>
                    <a:pt x="148" y="64"/>
                  </a:cubicBezTo>
                  <a:cubicBezTo>
                    <a:pt x="210" y="22"/>
                    <a:pt x="284" y="0"/>
                    <a:pt x="359" y="0"/>
                  </a:cubicBezTo>
                  <a:cubicBezTo>
                    <a:pt x="499" y="0"/>
                    <a:pt x="624" y="74"/>
                    <a:pt x="692" y="195"/>
                  </a:cubicBezTo>
                  <a:cubicBezTo>
                    <a:pt x="1101" y="195"/>
                    <a:pt x="1101" y="195"/>
                    <a:pt x="1101" y="195"/>
                  </a:cubicBezTo>
                  <a:cubicBezTo>
                    <a:pt x="1101" y="570"/>
                    <a:pt x="1101" y="570"/>
                    <a:pt x="1101" y="570"/>
                  </a:cubicBezTo>
                  <a:cubicBezTo>
                    <a:pt x="693" y="571"/>
                    <a:pt x="693" y="571"/>
                    <a:pt x="693" y="571"/>
                  </a:cubicBezTo>
                  <a:cubicBezTo>
                    <a:pt x="626" y="690"/>
                    <a:pt x="498" y="766"/>
                    <a:pt x="361" y="766"/>
                  </a:cubicBezTo>
                  <a:close/>
                  <a:moveTo>
                    <a:pt x="69" y="499"/>
                  </a:moveTo>
                  <a:cubicBezTo>
                    <a:pt x="68" y="501"/>
                    <a:pt x="67" y="503"/>
                    <a:pt x="68" y="505"/>
                  </a:cubicBezTo>
                  <a:cubicBezTo>
                    <a:pt x="117" y="625"/>
                    <a:pt x="232" y="702"/>
                    <a:pt x="361" y="702"/>
                  </a:cubicBezTo>
                  <a:cubicBezTo>
                    <a:pt x="361" y="702"/>
                    <a:pt x="361" y="702"/>
                    <a:pt x="361" y="702"/>
                  </a:cubicBezTo>
                  <a:cubicBezTo>
                    <a:pt x="478" y="702"/>
                    <a:pt x="592" y="631"/>
                    <a:pt x="645" y="524"/>
                  </a:cubicBezTo>
                  <a:cubicBezTo>
                    <a:pt x="654" y="507"/>
                    <a:pt x="654" y="507"/>
                    <a:pt x="654" y="507"/>
                  </a:cubicBezTo>
                  <a:cubicBezTo>
                    <a:pt x="1037" y="506"/>
                    <a:pt x="1037" y="506"/>
                    <a:pt x="1037" y="506"/>
                  </a:cubicBezTo>
                  <a:cubicBezTo>
                    <a:pt x="1037" y="259"/>
                    <a:pt x="1037" y="259"/>
                    <a:pt x="1037" y="259"/>
                  </a:cubicBezTo>
                  <a:cubicBezTo>
                    <a:pt x="653" y="259"/>
                    <a:pt x="653" y="259"/>
                    <a:pt x="653" y="259"/>
                  </a:cubicBezTo>
                  <a:cubicBezTo>
                    <a:pt x="644" y="241"/>
                    <a:pt x="644" y="241"/>
                    <a:pt x="644" y="241"/>
                  </a:cubicBezTo>
                  <a:cubicBezTo>
                    <a:pt x="590" y="132"/>
                    <a:pt x="481" y="64"/>
                    <a:pt x="359" y="64"/>
                  </a:cubicBezTo>
                  <a:cubicBezTo>
                    <a:pt x="230" y="64"/>
                    <a:pt x="116" y="141"/>
                    <a:pt x="68" y="259"/>
                  </a:cubicBezTo>
                  <a:cubicBezTo>
                    <a:pt x="68" y="261"/>
                    <a:pt x="68" y="263"/>
                    <a:pt x="69" y="265"/>
                  </a:cubicBezTo>
                  <a:cubicBezTo>
                    <a:pt x="70" y="267"/>
                    <a:pt x="72" y="268"/>
                    <a:pt x="74" y="268"/>
                  </a:cubicBezTo>
                  <a:cubicBezTo>
                    <a:pt x="290" y="281"/>
                    <a:pt x="290" y="281"/>
                    <a:pt x="290" y="281"/>
                  </a:cubicBezTo>
                  <a:cubicBezTo>
                    <a:pt x="394" y="384"/>
                    <a:pt x="394" y="384"/>
                    <a:pt x="394" y="384"/>
                  </a:cubicBezTo>
                  <a:cubicBezTo>
                    <a:pt x="291" y="488"/>
                    <a:pt x="291" y="488"/>
                    <a:pt x="291" y="488"/>
                  </a:cubicBezTo>
                  <a:cubicBezTo>
                    <a:pt x="74" y="496"/>
                    <a:pt x="74" y="496"/>
                    <a:pt x="74" y="496"/>
                  </a:cubicBezTo>
                  <a:cubicBezTo>
                    <a:pt x="72" y="496"/>
                    <a:pt x="70" y="498"/>
                    <a:pt x="69" y="4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2">
              <a:extLst>
                <a:ext uri="{FF2B5EF4-FFF2-40B4-BE49-F238E27FC236}">
                  <a16:creationId xmlns:a16="http://schemas.microsoft.com/office/drawing/2014/main" id="{289DD1C3-15EF-45FA-82FA-6FA6912A77D3}"/>
                </a:ext>
              </a:extLst>
            </p:cNvPr>
            <p:cNvSpPr>
              <a:spLocks noEditPoints="1"/>
            </p:cNvSpPr>
            <p:nvPr/>
          </p:nvSpPr>
          <p:spPr bwMode="auto">
            <a:xfrm rot="2700000">
              <a:off x="1614735" y="4692233"/>
              <a:ext cx="533400" cy="334963"/>
            </a:xfrm>
            <a:custGeom>
              <a:avLst/>
              <a:gdLst>
                <a:gd name="T0" fmla="*/ 723 w 1086"/>
                <a:gd name="T1" fmla="*/ 764 h 764"/>
                <a:gd name="T2" fmla="*/ 390 w 1086"/>
                <a:gd name="T3" fmla="*/ 570 h 764"/>
                <a:gd name="T4" fmla="*/ 0 w 1086"/>
                <a:gd name="T5" fmla="*/ 570 h 764"/>
                <a:gd name="T6" fmla="*/ 0 w 1086"/>
                <a:gd name="T7" fmla="*/ 195 h 764"/>
                <a:gd name="T8" fmla="*/ 391 w 1086"/>
                <a:gd name="T9" fmla="*/ 195 h 764"/>
                <a:gd name="T10" fmla="*/ 723 w 1086"/>
                <a:gd name="T11" fmla="*/ 0 h 764"/>
                <a:gd name="T12" fmla="*/ 1077 w 1086"/>
                <a:gd name="T13" fmla="*/ 239 h 764"/>
                <a:gd name="T14" fmla="*/ 1071 w 1086"/>
                <a:gd name="T15" fmla="*/ 304 h 764"/>
                <a:gd name="T16" fmla="*/ 1015 w 1086"/>
                <a:gd name="T17" fmla="*/ 336 h 764"/>
                <a:gd name="T18" fmla="*/ 814 w 1086"/>
                <a:gd name="T19" fmla="*/ 344 h 764"/>
                <a:gd name="T20" fmla="*/ 774 w 1086"/>
                <a:gd name="T21" fmla="*/ 384 h 764"/>
                <a:gd name="T22" fmla="*/ 814 w 1086"/>
                <a:gd name="T23" fmla="*/ 424 h 764"/>
                <a:gd name="T24" fmla="*/ 1013 w 1086"/>
                <a:gd name="T25" fmla="*/ 428 h 764"/>
                <a:gd name="T26" fmla="*/ 1071 w 1086"/>
                <a:gd name="T27" fmla="*/ 459 h 764"/>
                <a:gd name="T28" fmla="*/ 1077 w 1086"/>
                <a:gd name="T29" fmla="*/ 525 h 764"/>
                <a:gd name="T30" fmla="*/ 993 w 1086"/>
                <a:gd name="T31" fmla="*/ 652 h 764"/>
                <a:gd name="T32" fmla="*/ 723 w 1086"/>
                <a:gd name="T33" fmla="*/ 764 h 764"/>
                <a:gd name="T34" fmla="*/ 430 w 1086"/>
                <a:gd name="T35" fmla="*/ 506 h 764"/>
                <a:gd name="T36" fmla="*/ 438 w 1086"/>
                <a:gd name="T37" fmla="*/ 523 h 764"/>
                <a:gd name="T38" fmla="*/ 723 w 1086"/>
                <a:gd name="T39" fmla="*/ 700 h 764"/>
                <a:gd name="T40" fmla="*/ 948 w 1086"/>
                <a:gd name="T41" fmla="*/ 607 h 764"/>
                <a:gd name="T42" fmla="*/ 1018 w 1086"/>
                <a:gd name="T43" fmla="*/ 501 h 764"/>
                <a:gd name="T44" fmla="*/ 1017 w 1086"/>
                <a:gd name="T45" fmla="*/ 495 h 764"/>
                <a:gd name="T46" fmla="*/ 1012 w 1086"/>
                <a:gd name="T47" fmla="*/ 492 h 764"/>
                <a:gd name="T48" fmla="*/ 787 w 1086"/>
                <a:gd name="T49" fmla="*/ 488 h 764"/>
                <a:gd name="T50" fmla="*/ 683 w 1086"/>
                <a:gd name="T51" fmla="*/ 384 h 764"/>
                <a:gd name="T52" fmla="*/ 787 w 1086"/>
                <a:gd name="T53" fmla="*/ 281 h 764"/>
                <a:gd name="T54" fmla="*/ 1012 w 1086"/>
                <a:gd name="T55" fmla="*/ 272 h 764"/>
                <a:gd name="T56" fmla="*/ 1018 w 1086"/>
                <a:gd name="T57" fmla="*/ 269 h 764"/>
                <a:gd name="T58" fmla="*/ 1018 w 1086"/>
                <a:gd name="T59" fmla="*/ 263 h 764"/>
                <a:gd name="T60" fmla="*/ 723 w 1086"/>
                <a:gd name="T61" fmla="*/ 64 h 764"/>
                <a:gd name="T62" fmla="*/ 438 w 1086"/>
                <a:gd name="T63" fmla="*/ 241 h 764"/>
                <a:gd name="T64" fmla="*/ 430 w 1086"/>
                <a:gd name="T65" fmla="*/ 259 h 764"/>
                <a:gd name="T66" fmla="*/ 64 w 1086"/>
                <a:gd name="T67" fmla="*/ 259 h 764"/>
                <a:gd name="T68" fmla="*/ 64 w 1086"/>
                <a:gd name="T69" fmla="*/ 506 h 764"/>
                <a:gd name="T70" fmla="*/ 430 w 1086"/>
                <a:gd name="T71" fmla="*/ 506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6" h="764">
                  <a:moveTo>
                    <a:pt x="723" y="764"/>
                  </a:moveTo>
                  <a:cubicBezTo>
                    <a:pt x="584" y="764"/>
                    <a:pt x="458" y="690"/>
                    <a:pt x="390" y="570"/>
                  </a:cubicBezTo>
                  <a:cubicBezTo>
                    <a:pt x="0" y="570"/>
                    <a:pt x="0" y="570"/>
                    <a:pt x="0" y="570"/>
                  </a:cubicBezTo>
                  <a:cubicBezTo>
                    <a:pt x="0" y="195"/>
                    <a:pt x="0" y="195"/>
                    <a:pt x="0" y="195"/>
                  </a:cubicBezTo>
                  <a:cubicBezTo>
                    <a:pt x="391" y="195"/>
                    <a:pt x="391" y="195"/>
                    <a:pt x="391" y="195"/>
                  </a:cubicBezTo>
                  <a:cubicBezTo>
                    <a:pt x="458" y="76"/>
                    <a:pt x="586" y="0"/>
                    <a:pt x="723" y="0"/>
                  </a:cubicBezTo>
                  <a:cubicBezTo>
                    <a:pt x="880" y="0"/>
                    <a:pt x="1018" y="94"/>
                    <a:pt x="1077" y="239"/>
                  </a:cubicBezTo>
                  <a:cubicBezTo>
                    <a:pt x="1086" y="260"/>
                    <a:pt x="1084" y="284"/>
                    <a:pt x="1071" y="304"/>
                  </a:cubicBezTo>
                  <a:cubicBezTo>
                    <a:pt x="1058" y="323"/>
                    <a:pt x="1037" y="335"/>
                    <a:pt x="1015" y="336"/>
                  </a:cubicBezTo>
                  <a:cubicBezTo>
                    <a:pt x="814" y="344"/>
                    <a:pt x="814" y="344"/>
                    <a:pt x="814" y="344"/>
                  </a:cubicBezTo>
                  <a:cubicBezTo>
                    <a:pt x="774" y="384"/>
                    <a:pt x="774" y="384"/>
                    <a:pt x="774" y="384"/>
                  </a:cubicBezTo>
                  <a:cubicBezTo>
                    <a:pt x="814" y="424"/>
                    <a:pt x="814" y="424"/>
                    <a:pt x="814" y="424"/>
                  </a:cubicBezTo>
                  <a:cubicBezTo>
                    <a:pt x="1013" y="428"/>
                    <a:pt x="1013" y="428"/>
                    <a:pt x="1013" y="428"/>
                  </a:cubicBezTo>
                  <a:cubicBezTo>
                    <a:pt x="1036" y="428"/>
                    <a:pt x="1058" y="440"/>
                    <a:pt x="1071" y="459"/>
                  </a:cubicBezTo>
                  <a:cubicBezTo>
                    <a:pt x="1084" y="479"/>
                    <a:pt x="1086" y="504"/>
                    <a:pt x="1077" y="525"/>
                  </a:cubicBezTo>
                  <a:cubicBezTo>
                    <a:pt x="1058" y="573"/>
                    <a:pt x="1030" y="616"/>
                    <a:pt x="993" y="652"/>
                  </a:cubicBezTo>
                  <a:cubicBezTo>
                    <a:pt x="921" y="724"/>
                    <a:pt x="825" y="764"/>
                    <a:pt x="723" y="764"/>
                  </a:cubicBezTo>
                  <a:close/>
                  <a:moveTo>
                    <a:pt x="430" y="506"/>
                  </a:moveTo>
                  <a:cubicBezTo>
                    <a:pt x="438" y="523"/>
                    <a:pt x="438" y="523"/>
                    <a:pt x="438" y="523"/>
                  </a:cubicBezTo>
                  <a:cubicBezTo>
                    <a:pt x="492" y="632"/>
                    <a:pt x="602" y="700"/>
                    <a:pt x="723" y="700"/>
                  </a:cubicBezTo>
                  <a:cubicBezTo>
                    <a:pt x="808" y="700"/>
                    <a:pt x="888" y="667"/>
                    <a:pt x="948" y="607"/>
                  </a:cubicBezTo>
                  <a:cubicBezTo>
                    <a:pt x="978" y="577"/>
                    <a:pt x="1002" y="541"/>
                    <a:pt x="1018" y="501"/>
                  </a:cubicBezTo>
                  <a:cubicBezTo>
                    <a:pt x="1019" y="499"/>
                    <a:pt x="1019" y="497"/>
                    <a:pt x="1017" y="495"/>
                  </a:cubicBezTo>
                  <a:cubicBezTo>
                    <a:pt x="1016" y="493"/>
                    <a:pt x="1014" y="492"/>
                    <a:pt x="1012" y="492"/>
                  </a:cubicBezTo>
                  <a:cubicBezTo>
                    <a:pt x="787" y="488"/>
                    <a:pt x="787" y="488"/>
                    <a:pt x="787" y="488"/>
                  </a:cubicBezTo>
                  <a:cubicBezTo>
                    <a:pt x="683" y="384"/>
                    <a:pt x="683" y="384"/>
                    <a:pt x="683" y="384"/>
                  </a:cubicBezTo>
                  <a:cubicBezTo>
                    <a:pt x="787" y="281"/>
                    <a:pt x="787" y="281"/>
                    <a:pt x="787" y="281"/>
                  </a:cubicBezTo>
                  <a:cubicBezTo>
                    <a:pt x="1012" y="272"/>
                    <a:pt x="1012" y="272"/>
                    <a:pt x="1012" y="272"/>
                  </a:cubicBezTo>
                  <a:cubicBezTo>
                    <a:pt x="1014" y="272"/>
                    <a:pt x="1016" y="271"/>
                    <a:pt x="1018" y="269"/>
                  </a:cubicBezTo>
                  <a:cubicBezTo>
                    <a:pt x="1019" y="267"/>
                    <a:pt x="1019" y="265"/>
                    <a:pt x="1018" y="263"/>
                  </a:cubicBezTo>
                  <a:cubicBezTo>
                    <a:pt x="969" y="142"/>
                    <a:pt x="853" y="64"/>
                    <a:pt x="723" y="64"/>
                  </a:cubicBezTo>
                  <a:cubicBezTo>
                    <a:pt x="604" y="64"/>
                    <a:pt x="492" y="133"/>
                    <a:pt x="438" y="241"/>
                  </a:cubicBezTo>
                  <a:cubicBezTo>
                    <a:pt x="430" y="259"/>
                    <a:pt x="430" y="259"/>
                    <a:pt x="430" y="259"/>
                  </a:cubicBezTo>
                  <a:cubicBezTo>
                    <a:pt x="64" y="259"/>
                    <a:pt x="64" y="259"/>
                    <a:pt x="64" y="259"/>
                  </a:cubicBezTo>
                  <a:cubicBezTo>
                    <a:pt x="64" y="506"/>
                    <a:pt x="64" y="506"/>
                    <a:pt x="64" y="506"/>
                  </a:cubicBezTo>
                  <a:lnTo>
                    <a:pt x="430" y="5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Freeform 13">
              <a:extLst>
                <a:ext uri="{FF2B5EF4-FFF2-40B4-BE49-F238E27FC236}">
                  <a16:creationId xmlns:a16="http://schemas.microsoft.com/office/drawing/2014/main" id="{D19C355B-5DBC-402E-B790-7E9BC0F49AA5}"/>
                </a:ext>
              </a:extLst>
            </p:cNvPr>
            <p:cNvSpPr>
              <a:spLocks noEditPoints="1"/>
            </p:cNvSpPr>
            <p:nvPr/>
          </p:nvSpPr>
          <p:spPr bwMode="auto">
            <a:xfrm rot="2700000">
              <a:off x="1457751" y="4152531"/>
              <a:ext cx="298450" cy="1092200"/>
            </a:xfrm>
            <a:custGeom>
              <a:avLst/>
              <a:gdLst>
                <a:gd name="T0" fmla="*/ 372 w 609"/>
                <a:gd name="T1" fmla="*/ 1504 h 2484"/>
                <a:gd name="T2" fmla="*/ 344 w 609"/>
                <a:gd name="T3" fmla="*/ 472 h 2484"/>
                <a:gd name="T4" fmla="*/ 435 w 609"/>
                <a:gd name="T5" fmla="*/ 472 h 2484"/>
                <a:gd name="T6" fmla="*/ 490 w 609"/>
                <a:gd name="T7" fmla="*/ 443 h 2484"/>
                <a:gd name="T8" fmla="*/ 457 w 609"/>
                <a:gd name="T9" fmla="*/ 59 h 2484"/>
                <a:gd name="T10" fmla="*/ 222 w 609"/>
                <a:gd name="T11" fmla="*/ 0 h 2484"/>
                <a:gd name="T12" fmla="*/ 93 w 609"/>
                <a:gd name="T13" fmla="*/ 386 h 2484"/>
                <a:gd name="T14" fmla="*/ 162 w 609"/>
                <a:gd name="T15" fmla="*/ 469 h 2484"/>
                <a:gd name="T16" fmla="*/ 266 w 609"/>
                <a:gd name="T17" fmla="*/ 471 h 2484"/>
                <a:gd name="T18" fmla="*/ 228 w 609"/>
                <a:gd name="T19" fmla="*/ 1504 h 2484"/>
                <a:gd name="T20" fmla="*/ 0 w 609"/>
                <a:gd name="T21" fmla="*/ 1573 h 2484"/>
                <a:gd name="T22" fmla="*/ 117 w 609"/>
                <a:gd name="T23" fmla="*/ 1644 h 2484"/>
                <a:gd name="T24" fmla="*/ 172 w 609"/>
                <a:gd name="T25" fmla="*/ 2429 h 2484"/>
                <a:gd name="T26" fmla="*/ 305 w 609"/>
                <a:gd name="T27" fmla="*/ 2484 h 2484"/>
                <a:gd name="T28" fmla="*/ 437 w 609"/>
                <a:gd name="T29" fmla="*/ 2429 h 2484"/>
                <a:gd name="T30" fmla="*/ 492 w 609"/>
                <a:gd name="T31" fmla="*/ 1648 h 2484"/>
                <a:gd name="T32" fmla="*/ 588 w 609"/>
                <a:gd name="T33" fmla="*/ 1625 h 2484"/>
                <a:gd name="T34" fmla="*/ 538 w 609"/>
                <a:gd name="T35" fmla="*/ 1504 h 2484"/>
                <a:gd name="T36" fmla="*/ 163 w 609"/>
                <a:gd name="T37" fmla="*/ 405 h 2484"/>
                <a:gd name="T38" fmla="*/ 156 w 609"/>
                <a:gd name="T39" fmla="*/ 398 h 2484"/>
                <a:gd name="T40" fmla="*/ 222 w 609"/>
                <a:gd name="T41" fmla="*/ 64 h 2484"/>
                <a:gd name="T42" fmla="*/ 394 w 609"/>
                <a:gd name="T43" fmla="*/ 69 h 2484"/>
                <a:gd name="T44" fmla="*/ 440 w 609"/>
                <a:gd name="T45" fmla="*/ 403 h 2484"/>
                <a:gd name="T46" fmla="*/ 438 w 609"/>
                <a:gd name="T47" fmla="*/ 406 h 2484"/>
                <a:gd name="T48" fmla="*/ 372 w 609"/>
                <a:gd name="T49" fmla="*/ 408 h 2484"/>
                <a:gd name="T50" fmla="*/ 164 w 609"/>
                <a:gd name="T51" fmla="*/ 405 h 2484"/>
                <a:gd name="T52" fmla="*/ 537 w 609"/>
                <a:gd name="T53" fmla="*/ 1584 h 2484"/>
                <a:gd name="T54" fmla="*/ 428 w 609"/>
                <a:gd name="T55" fmla="*/ 2298 h 2484"/>
                <a:gd name="T56" fmla="*/ 305 w 609"/>
                <a:gd name="T57" fmla="*/ 2420 h 2484"/>
                <a:gd name="T58" fmla="*/ 217 w 609"/>
                <a:gd name="T59" fmla="*/ 2383 h 2484"/>
                <a:gd name="T60" fmla="*/ 181 w 609"/>
                <a:gd name="T61" fmla="*/ 1580 h 2484"/>
                <a:gd name="T62" fmla="*/ 64 w 609"/>
                <a:gd name="T63" fmla="*/ 1573 h 2484"/>
                <a:gd name="T64" fmla="*/ 228 w 609"/>
                <a:gd name="T65" fmla="*/ 1568 h 2484"/>
                <a:gd name="T66" fmla="*/ 538 w 609"/>
                <a:gd name="T67" fmla="*/ 1568 h 2484"/>
                <a:gd name="T68" fmla="*/ 543 w 609"/>
                <a:gd name="T69" fmla="*/ 1580 h 2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2484">
                  <a:moveTo>
                    <a:pt x="538" y="1504"/>
                  </a:moveTo>
                  <a:cubicBezTo>
                    <a:pt x="372" y="1504"/>
                    <a:pt x="372" y="1504"/>
                    <a:pt x="372" y="1504"/>
                  </a:cubicBezTo>
                  <a:cubicBezTo>
                    <a:pt x="344" y="1504"/>
                    <a:pt x="344" y="1504"/>
                    <a:pt x="344" y="1504"/>
                  </a:cubicBezTo>
                  <a:cubicBezTo>
                    <a:pt x="344" y="472"/>
                    <a:pt x="344" y="472"/>
                    <a:pt x="344" y="472"/>
                  </a:cubicBezTo>
                  <a:cubicBezTo>
                    <a:pt x="372" y="472"/>
                    <a:pt x="372" y="472"/>
                    <a:pt x="372" y="472"/>
                  </a:cubicBezTo>
                  <a:cubicBezTo>
                    <a:pt x="435" y="472"/>
                    <a:pt x="435" y="472"/>
                    <a:pt x="435" y="472"/>
                  </a:cubicBezTo>
                  <a:cubicBezTo>
                    <a:pt x="453" y="472"/>
                    <a:pt x="471" y="464"/>
                    <a:pt x="485" y="450"/>
                  </a:cubicBezTo>
                  <a:cubicBezTo>
                    <a:pt x="488" y="447"/>
                    <a:pt x="489" y="445"/>
                    <a:pt x="490" y="443"/>
                  </a:cubicBezTo>
                  <a:cubicBezTo>
                    <a:pt x="502" y="428"/>
                    <a:pt x="508" y="408"/>
                    <a:pt x="505" y="388"/>
                  </a:cubicBezTo>
                  <a:cubicBezTo>
                    <a:pt x="457" y="59"/>
                    <a:pt x="457" y="59"/>
                    <a:pt x="457" y="59"/>
                  </a:cubicBezTo>
                  <a:cubicBezTo>
                    <a:pt x="452" y="25"/>
                    <a:pt x="423" y="0"/>
                    <a:pt x="387" y="0"/>
                  </a:cubicBezTo>
                  <a:cubicBezTo>
                    <a:pt x="222" y="0"/>
                    <a:pt x="222" y="0"/>
                    <a:pt x="222" y="0"/>
                  </a:cubicBezTo>
                  <a:cubicBezTo>
                    <a:pt x="188" y="0"/>
                    <a:pt x="158" y="24"/>
                    <a:pt x="152" y="57"/>
                  </a:cubicBezTo>
                  <a:cubicBezTo>
                    <a:pt x="93" y="386"/>
                    <a:pt x="93" y="386"/>
                    <a:pt x="93" y="386"/>
                  </a:cubicBezTo>
                  <a:cubicBezTo>
                    <a:pt x="89" y="407"/>
                    <a:pt x="95" y="428"/>
                    <a:pt x="108" y="444"/>
                  </a:cubicBezTo>
                  <a:cubicBezTo>
                    <a:pt x="122" y="460"/>
                    <a:pt x="141" y="469"/>
                    <a:pt x="162" y="469"/>
                  </a:cubicBezTo>
                  <a:cubicBezTo>
                    <a:pt x="227" y="471"/>
                    <a:pt x="227" y="471"/>
                    <a:pt x="227" y="471"/>
                  </a:cubicBezTo>
                  <a:cubicBezTo>
                    <a:pt x="266" y="471"/>
                    <a:pt x="266" y="471"/>
                    <a:pt x="266" y="471"/>
                  </a:cubicBezTo>
                  <a:cubicBezTo>
                    <a:pt x="266" y="1504"/>
                    <a:pt x="266" y="1504"/>
                    <a:pt x="266" y="1504"/>
                  </a:cubicBezTo>
                  <a:cubicBezTo>
                    <a:pt x="228" y="1504"/>
                    <a:pt x="228" y="1504"/>
                    <a:pt x="228" y="1504"/>
                  </a:cubicBezTo>
                  <a:cubicBezTo>
                    <a:pt x="71" y="1503"/>
                    <a:pt x="71" y="1503"/>
                    <a:pt x="71" y="1503"/>
                  </a:cubicBezTo>
                  <a:cubicBezTo>
                    <a:pt x="32" y="1503"/>
                    <a:pt x="0" y="1534"/>
                    <a:pt x="0" y="1573"/>
                  </a:cubicBezTo>
                  <a:cubicBezTo>
                    <a:pt x="0" y="1612"/>
                    <a:pt x="32" y="1644"/>
                    <a:pt x="71" y="1644"/>
                  </a:cubicBezTo>
                  <a:cubicBezTo>
                    <a:pt x="117" y="1644"/>
                    <a:pt x="117" y="1644"/>
                    <a:pt x="117" y="1644"/>
                  </a:cubicBezTo>
                  <a:cubicBezTo>
                    <a:pt x="117" y="2296"/>
                    <a:pt x="117" y="2296"/>
                    <a:pt x="117" y="2296"/>
                  </a:cubicBezTo>
                  <a:cubicBezTo>
                    <a:pt x="117" y="2346"/>
                    <a:pt x="137" y="2393"/>
                    <a:pt x="172" y="2429"/>
                  </a:cubicBezTo>
                  <a:cubicBezTo>
                    <a:pt x="208" y="2464"/>
                    <a:pt x="255" y="2484"/>
                    <a:pt x="305" y="2484"/>
                  </a:cubicBezTo>
                  <a:cubicBezTo>
                    <a:pt x="305" y="2484"/>
                    <a:pt x="305" y="2484"/>
                    <a:pt x="305" y="2484"/>
                  </a:cubicBezTo>
                  <a:cubicBezTo>
                    <a:pt x="305" y="2484"/>
                    <a:pt x="305" y="2484"/>
                    <a:pt x="305" y="2484"/>
                  </a:cubicBezTo>
                  <a:cubicBezTo>
                    <a:pt x="355" y="2484"/>
                    <a:pt x="402" y="2464"/>
                    <a:pt x="437" y="2429"/>
                  </a:cubicBezTo>
                  <a:cubicBezTo>
                    <a:pt x="473" y="2393"/>
                    <a:pt x="492" y="2347"/>
                    <a:pt x="492" y="2298"/>
                  </a:cubicBezTo>
                  <a:cubicBezTo>
                    <a:pt x="492" y="1648"/>
                    <a:pt x="492" y="1648"/>
                    <a:pt x="492" y="1648"/>
                  </a:cubicBezTo>
                  <a:cubicBezTo>
                    <a:pt x="538" y="1648"/>
                    <a:pt x="538" y="1648"/>
                    <a:pt x="538" y="1648"/>
                  </a:cubicBezTo>
                  <a:cubicBezTo>
                    <a:pt x="556" y="1648"/>
                    <a:pt x="573" y="1640"/>
                    <a:pt x="588" y="1625"/>
                  </a:cubicBezTo>
                  <a:cubicBezTo>
                    <a:pt x="601" y="1612"/>
                    <a:pt x="609" y="1594"/>
                    <a:pt x="609" y="1575"/>
                  </a:cubicBezTo>
                  <a:cubicBezTo>
                    <a:pt x="609" y="1536"/>
                    <a:pt x="577" y="1504"/>
                    <a:pt x="538" y="1504"/>
                  </a:cubicBezTo>
                  <a:close/>
                  <a:moveTo>
                    <a:pt x="164" y="405"/>
                  </a:moveTo>
                  <a:cubicBezTo>
                    <a:pt x="163" y="405"/>
                    <a:pt x="163" y="405"/>
                    <a:pt x="163" y="405"/>
                  </a:cubicBezTo>
                  <a:cubicBezTo>
                    <a:pt x="162" y="405"/>
                    <a:pt x="159" y="405"/>
                    <a:pt x="158" y="403"/>
                  </a:cubicBezTo>
                  <a:cubicBezTo>
                    <a:pt x="156" y="401"/>
                    <a:pt x="156" y="399"/>
                    <a:pt x="156" y="398"/>
                  </a:cubicBezTo>
                  <a:cubicBezTo>
                    <a:pt x="215" y="68"/>
                    <a:pt x="215" y="68"/>
                    <a:pt x="215" y="68"/>
                  </a:cubicBezTo>
                  <a:cubicBezTo>
                    <a:pt x="216" y="64"/>
                    <a:pt x="222" y="64"/>
                    <a:pt x="222" y="64"/>
                  </a:cubicBezTo>
                  <a:cubicBezTo>
                    <a:pt x="387" y="64"/>
                    <a:pt x="387" y="64"/>
                    <a:pt x="387" y="64"/>
                  </a:cubicBezTo>
                  <a:cubicBezTo>
                    <a:pt x="389" y="64"/>
                    <a:pt x="393" y="64"/>
                    <a:pt x="394" y="69"/>
                  </a:cubicBezTo>
                  <a:cubicBezTo>
                    <a:pt x="442" y="398"/>
                    <a:pt x="442" y="398"/>
                    <a:pt x="442" y="398"/>
                  </a:cubicBezTo>
                  <a:cubicBezTo>
                    <a:pt x="442" y="399"/>
                    <a:pt x="441" y="402"/>
                    <a:pt x="440" y="403"/>
                  </a:cubicBezTo>
                  <a:cubicBezTo>
                    <a:pt x="438" y="405"/>
                    <a:pt x="438" y="405"/>
                    <a:pt x="438" y="405"/>
                  </a:cubicBezTo>
                  <a:cubicBezTo>
                    <a:pt x="438" y="406"/>
                    <a:pt x="438" y="406"/>
                    <a:pt x="438" y="406"/>
                  </a:cubicBezTo>
                  <a:cubicBezTo>
                    <a:pt x="436" y="407"/>
                    <a:pt x="435" y="408"/>
                    <a:pt x="435" y="408"/>
                  </a:cubicBezTo>
                  <a:cubicBezTo>
                    <a:pt x="372" y="408"/>
                    <a:pt x="372" y="408"/>
                    <a:pt x="372" y="408"/>
                  </a:cubicBezTo>
                  <a:cubicBezTo>
                    <a:pt x="229" y="407"/>
                    <a:pt x="229" y="407"/>
                    <a:pt x="229" y="407"/>
                  </a:cubicBezTo>
                  <a:lnTo>
                    <a:pt x="164" y="405"/>
                  </a:lnTo>
                  <a:close/>
                  <a:moveTo>
                    <a:pt x="543" y="1580"/>
                  </a:moveTo>
                  <a:cubicBezTo>
                    <a:pt x="540" y="1582"/>
                    <a:pt x="538" y="1584"/>
                    <a:pt x="537" y="1584"/>
                  </a:cubicBezTo>
                  <a:cubicBezTo>
                    <a:pt x="428" y="1584"/>
                    <a:pt x="428" y="1584"/>
                    <a:pt x="428" y="1584"/>
                  </a:cubicBezTo>
                  <a:cubicBezTo>
                    <a:pt x="428" y="2298"/>
                    <a:pt x="428" y="2298"/>
                    <a:pt x="428" y="2298"/>
                  </a:cubicBezTo>
                  <a:cubicBezTo>
                    <a:pt x="428" y="2331"/>
                    <a:pt x="416" y="2359"/>
                    <a:pt x="392" y="2384"/>
                  </a:cubicBezTo>
                  <a:cubicBezTo>
                    <a:pt x="369" y="2407"/>
                    <a:pt x="338" y="2420"/>
                    <a:pt x="305" y="2420"/>
                  </a:cubicBezTo>
                  <a:cubicBezTo>
                    <a:pt x="305" y="2420"/>
                    <a:pt x="305" y="2420"/>
                    <a:pt x="305" y="2420"/>
                  </a:cubicBezTo>
                  <a:cubicBezTo>
                    <a:pt x="272" y="2420"/>
                    <a:pt x="241" y="2407"/>
                    <a:pt x="217" y="2383"/>
                  </a:cubicBezTo>
                  <a:cubicBezTo>
                    <a:pt x="194" y="2360"/>
                    <a:pt x="181" y="2329"/>
                    <a:pt x="181" y="2296"/>
                  </a:cubicBezTo>
                  <a:cubicBezTo>
                    <a:pt x="181" y="1580"/>
                    <a:pt x="181" y="1580"/>
                    <a:pt x="181" y="1580"/>
                  </a:cubicBezTo>
                  <a:cubicBezTo>
                    <a:pt x="71" y="1580"/>
                    <a:pt x="71" y="1580"/>
                    <a:pt x="71" y="1580"/>
                  </a:cubicBezTo>
                  <a:cubicBezTo>
                    <a:pt x="67" y="1580"/>
                    <a:pt x="64" y="1577"/>
                    <a:pt x="64" y="1573"/>
                  </a:cubicBezTo>
                  <a:cubicBezTo>
                    <a:pt x="64" y="1570"/>
                    <a:pt x="67" y="1567"/>
                    <a:pt x="71" y="1567"/>
                  </a:cubicBezTo>
                  <a:cubicBezTo>
                    <a:pt x="228" y="1568"/>
                    <a:pt x="228" y="1568"/>
                    <a:pt x="228" y="1568"/>
                  </a:cubicBezTo>
                  <a:cubicBezTo>
                    <a:pt x="372" y="1568"/>
                    <a:pt x="372" y="1568"/>
                    <a:pt x="372" y="1568"/>
                  </a:cubicBezTo>
                  <a:cubicBezTo>
                    <a:pt x="538" y="1568"/>
                    <a:pt x="538" y="1568"/>
                    <a:pt x="538" y="1568"/>
                  </a:cubicBezTo>
                  <a:cubicBezTo>
                    <a:pt x="542" y="1568"/>
                    <a:pt x="545" y="1571"/>
                    <a:pt x="545" y="1575"/>
                  </a:cubicBezTo>
                  <a:cubicBezTo>
                    <a:pt x="545" y="1577"/>
                    <a:pt x="544" y="1579"/>
                    <a:pt x="543" y="15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62" name="Group 1039">
            <a:extLst>
              <a:ext uri="{FF2B5EF4-FFF2-40B4-BE49-F238E27FC236}">
                <a16:creationId xmlns:a16="http://schemas.microsoft.com/office/drawing/2014/main" id="{7A7334D8-0D92-45A8-8502-189C9B382AB1}"/>
              </a:ext>
            </a:extLst>
          </p:cNvPr>
          <p:cNvGrpSpPr>
            <a:grpSpLocks noChangeAspect="1"/>
          </p:cNvGrpSpPr>
          <p:nvPr/>
        </p:nvGrpSpPr>
        <p:grpSpPr>
          <a:xfrm>
            <a:off x="2257726" y="5981262"/>
            <a:ext cx="304790" cy="235315"/>
            <a:chOff x="-12601576" y="-198438"/>
            <a:chExt cx="8475663" cy="6543676"/>
          </a:xfrm>
          <a:solidFill>
            <a:schemeClr val="bg1"/>
          </a:solidFill>
          <a:effectLst/>
        </p:grpSpPr>
        <p:sp>
          <p:nvSpPr>
            <p:cNvPr id="863" name="Freeform 20">
              <a:extLst>
                <a:ext uri="{FF2B5EF4-FFF2-40B4-BE49-F238E27FC236}">
                  <a16:creationId xmlns:a16="http://schemas.microsoft.com/office/drawing/2014/main" id="{A364D4A8-FA08-4DDD-B699-839905AC4763}"/>
                </a:ext>
              </a:extLst>
            </p:cNvPr>
            <p:cNvSpPr>
              <a:spLocks noEditPoints="1"/>
            </p:cNvSpPr>
            <p:nvPr/>
          </p:nvSpPr>
          <p:spPr bwMode="auto">
            <a:xfrm>
              <a:off x="-12601576" y="-198438"/>
              <a:ext cx="8475663" cy="6543676"/>
            </a:xfrm>
            <a:custGeom>
              <a:avLst/>
              <a:gdLst>
                <a:gd name="T0" fmla="*/ 1525 w 2257"/>
                <a:gd name="T1" fmla="*/ 1422 h 1742"/>
                <a:gd name="T2" fmla="*/ 1421 w 2257"/>
                <a:gd name="T3" fmla="*/ 1426 h 1742"/>
                <a:gd name="T4" fmla="*/ 1365 w 2257"/>
                <a:gd name="T5" fmla="*/ 1413 h 1742"/>
                <a:gd name="T6" fmla="*/ 1264 w 2257"/>
                <a:gd name="T7" fmla="*/ 1418 h 1742"/>
                <a:gd name="T8" fmla="*/ 1206 w 2257"/>
                <a:gd name="T9" fmla="*/ 1289 h 1742"/>
                <a:gd name="T10" fmla="*/ 986 w 2257"/>
                <a:gd name="T11" fmla="*/ 1716 h 1742"/>
                <a:gd name="T12" fmla="*/ 571 w 2257"/>
                <a:gd name="T13" fmla="*/ 1197 h 1742"/>
                <a:gd name="T14" fmla="*/ 394 w 2257"/>
                <a:gd name="T15" fmla="*/ 880 h 1742"/>
                <a:gd name="T16" fmla="*/ 347 w 2257"/>
                <a:gd name="T17" fmla="*/ 637 h 1742"/>
                <a:gd name="T18" fmla="*/ 5 w 2257"/>
                <a:gd name="T19" fmla="*/ 317 h 1742"/>
                <a:gd name="T20" fmla="*/ 333 w 2257"/>
                <a:gd name="T21" fmla="*/ 233 h 1742"/>
                <a:gd name="T22" fmla="*/ 350 w 2257"/>
                <a:gd name="T23" fmla="*/ 192 h 1742"/>
                <a:gd name="T24" fmla="*/ 495 w 2257"/>
                <a:gd name="T25" fmla="*/ 191 h 1742"/>
                <a:gd name="T26" fmla="*/ 831 w 2257"/>
                <a:gd name="T27" fmla="*/ 27 h 1742"/>
                <a:gd name="T28" fmla="*/ 763 w 2257"/>
                <a:gd name="T29" fmla="*/ 223 h 1742"/>
                <a:gd name="T30" fmla="*/ 1101 w 2257"/>
                <a:gd name="T31" fmla="*/ 289 h 1742"/>
                <a:gd name="T32" fmla="*/ 1848 w 2257"/>
                <a:gd name="T33" fmla="*/ 429 h 1742"/>
                <a:gd name="T34" fmla="*/ 2250 w 2257"/>
                <a:gd name="T35" fmla="*/ 1052 h 1742"/>
                <a:gd name="T36" fmla="*/ 2066 w 2257"/>
                <a:gd name="T37" fmla="*/ 1027 h 1742"/>
                <a:gd name="T38" fmla="*/ 1825 w 2257"/>
                <a:gd name="T39" fmla="*/ 482 h 1742"/>
                <a:gd name="T40" fmla="*/ 1967 w 2257"/>
                <a:gd name="T41" fmla="*/ 756 h 1742"/>
                <a:gd name="T42" fmla="*/ 1874 w 2257"/>
                <a:gd name="T43" fmla="*/ 1742 h 1742"/>
                <a:gd name="T44" fmla="*/ 1674 w 2257"/>
                <a:gd name="T45" fmla="*/ 1287 h 1742"/>
                <a:gd name="T46" fmla="*/ 1850 w 2257"/>
                <a:gd name="T47" fmla="*/ 1686 h 1742"/>
                <a:gd name="T48" fmla="*/ 1761 w 2257"/>
                <a:gd name="T49" fmla="*/ 513 h 1742"/>
                <a:gd name="T50" fmla="*/ 759 w 2257"/>
                <a:gd name="T51" fmla="*/ 637 h 1742"/>
                <a:gd name="T52" fmla="*/ 712 w 2257"/>
                <a:gd name="T53" fmla="*/ 880 h 1742"/>
                <a:gd name="T54" fmla="*/ 760 w 2257"/>
                <a:gd name="T55" fmla="*/ 1202 h 1742"/>
                <a:gd name="T56" fmla="*/ 828 w 2257"/>
                <a:gd name="T57" fmla="*/ 1686 h 1742"/>
                <a:gd name="T58" fmla="*/ 1549 w 2257"/>
                <a:gd name="T59" fmla="*/ 1202 h 1742"/>
                <a:gd name="T60" fmla="*/ 1577 w 2257"/>
                <a:gd name="T61" fmla="*/ 1686 h 1742"/>
                <a:gd name="T62" fmla="*/ 666 w 2257"/>
                <a:gd name="T63" fmla="*/ 1686 h 1742"/>
                <a:gd name="T64" fmla="*/ 654 w 2257"/>
                <a:gd name="T65" fmla="*/ 1240 h 1742"/>
                <a:gd name="T66" fmla="*/ 1462 w 2257"/>
                <a:gd name="T67" fmla="*/ 1373 h 1742"/>
                <a:gd name="T68" fmla="*/ 1594 w 2257"/>
                <a:gd name="T69" fmla="*/ 1307 h 1742"/>
                <a:gd name="T70" fmla="*/ 1273 w 2257"/>
                <a:gd name="T71" fmla="*/ 1286 h 1742"/>
                <a:gd name="T72" fmla="*/ 2116 w 2257"/>
                <a:gd name="T73" fmla="*/ 1018 h 1742"/>
                <a:gd name="T74" fmla="*/ 394 w 2257"/>
                <a:gd name="T75" fmla="*/ 825 h 1742"/>
                <a:gd name="T76" fmla="*/ 712 w 2257"/>
                <a:gd name="T77" fmla="*/ 683 h 1742"/>
                <a:gd name="T78" fmla="*/ 704 w 2257"/>
                <a:gd name="T79" fmla="*/ 627 h 1742"/>
                <a:gd name="T80" fmla="*/ 731 w 2257"/>
                <a:gd name="T81" fmla="*/ 270 h 1742"/>
                <a:gd name="T82" fmla="*/ 360 w 2257"/>
                <a:gd name="T83" fmla="*/ 323 h 1742"/>
                <a:gd name="T84" fmla="*/ 806 w 2257"/>
                <a:gd name="T85" fmla="*/ 279 h 1742"/>
                <a:gd name="T86" fmla="*/ 803 w 2257"/>
                <a:gd name="T87" fmla="*/ 324 h 1742"/>
                <a:gd name="T88" fmla="*/ 1044 w 2257"/>
                <a:gd name="T89" fmla="*/ 303 h 1742"/>
                <a:gd name="T90" fmla="*/ 71 w 2257"/>
                <a:gd name="T91" fmla="*/ 292 h 1742"/>
                <a:gd name="T92" fmla="*/ 298 w 2257"/>
                <a:gd name="T93" fmla="*/ 329 h 1742"/>
                <a:gd name="T94" fmla="*/ 306 w 2257"/>
                <a:gd name="T95" fmla="*/ 285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7" h="1742">
                  <a:moveTo>
                    <a:pt x="1548" y="1742"/>
                  </a:moveTo>
                  <a:cubicBezTo>
                    <a:pt x="1541" y="1742"/>
                    <a:pt x="1534" y="1739"/>
                    <a:pt x="1528" y="1733"/>
                  </a:cubicBezTo>
                  <a:cubicBezTo>
                    <a:pt x="1523" y="1728"/>
                    <a:pt x="1520" y="1721"/>
                    <a:pt x="1520" y="1713"/>
                  </a:cubicBezTo>
                  <a:cubicBezTo>
                    <a:pt x="1525" y="1422"/>
                    <a:pt x="1525" y="1422"/>
                    <a:pt x="1525" y="1422"/>
                  </a:cubicBezTo>
                  <a:cubicBezTo>
                    <a:pt x="1505" y="1425"/>
                    <a:pt x="1505" y="1425"/>
                    <a:pt x="1505" y="1425"/>
                  </a:cubicBezTo>
                  <a:cubicBezTo>
                    <a:pt x="1495" y="1427"/>
                    <a:pt x="1464" y="1428"/>
                    <a:pt x="1447" y="1428"/>
                  </a:cubicBezTo>
                  <a:cubicBezTo>
                    <a:pt x="1441" y="1428"/>
                    <a:pt x="1439" y="1427"/>
                    <a:pt x="1439" y="1427"/>
                  </a:cubicBezTo>
                  <a:cubicBezTo>
                    <a:pt x="1421" y="1426"/>
                    <a:pt x="1421" y="1426"/>
                    <a:pt x="1421" y="1426"/>
                  </a:cubicBezTo>
                  <a:cubicBezTo>
                    <a:pt x="1421" y="1498"/>
                    <a:pt x="1421" y="1498"/>
                    <a:pt x="1421" y="1498"/>
                  </a:cubicBezTo>
                  <a:cubicBezTo>
                    <a:pt x="1421" y="1513"/>
                    <a:pt x="1408" y="1526"/>
                    <a:pt x="1393" y="1526"/>
                  </a:cubicBezTo>
                  <a:cubicBezTo>
                    <a:pt x="1378" y="1526"/>
                    <a:pt x="1365" y="1513"/>
                    <a:pt x="1365" y="1498"/>
                  </a:cubicBezTo>
                  <a:cubicBezTo>
                    <a:pt x="1365" y="1413"/>
                    <a:pt x="1365" y="1413"/>
                    <a:pt x="1365" y="1413"/>
                  </a:cubicBezTo>
                  <a:cubicBezTo>
                    <a:pt x="1354" y="1409"/>
                    <a:pt x="1354" y="1409"/>
                    <a:pt x="1354" y="1409"/>
                  </a:cubicBezTo>
                  <a:cubicBezTo>
                    <a:pt x="1332" y="1400"/>
                    <a:pt x="1311" y="1389"/>
                    <a:pt x="1291" y="1376"/>
                  </a:cubicBezTo>
                  <a:cubicBezTo>
                    <a:pt x="1264" y="1358"/>
                    <a:pt x="1264" y="1358"/>
                    <a:pt x="1264" y="1358"/>
                  </a:cubicBezTo>
                  <a:cubicBezTo>
                    <a:pt x="1264" y="1418"/>
                    <a:pt x="1264" y="1418"/>
                    <a:pt x="1264" y="1418"/>
                  </a:cubicBezTo>
                  <a:cubicBezTo>
                    <a:pt x="1264" y="1433"/>
                    <a:pt x="1252" y="1446"/>
                    <a:pt x="1236" y="1446"/>
                  </a:cubicBezTo>
                  <a:cubicBezTo>
                    <a:pt x="1221" y="1446"/>
                    <a:pt x="1208" y="1433"/>
                    <a:pt x="1208" y="1418"/>
                  </a:cubicBezTo>
                  <a:cubicBezTo>
                    <a:pt x="1208" y="1293"/>
                    <a:pt x="1208" y="1293"/>
                    <a:pt x="1208" y="1293"/>
                  </a:cubicBezTo>
                  <a:cubicBezTo>
                    <a:pt x="1206" y="1289"/>
                    <a:pt x="1206" y="1289"/>
                    <a:pt x="1206" y="1289"/>
                  </a:cubicBezTo>
                  <a:cubicBezTo>
                    <a:pt x="1201" y="1281"/>
                    <a:pt x="1197" y="1274"/>
                    <a:pt x="1193" y="1267"/>
                  </a:cubicBezTo>
                  <a:cubicBezTo>
                    <a:pt x="1188" y="1258"/>
                    <a:pt x="1188" y="1258"/>
                    <a:pt x="1188" y="1258"/>
                  </a:cubicBezTo>
                  <a:cubicBezTo>
                    <a:pt x="1023" y="1258"/>
                    <a:pt x="1023" y="1258"/>
                    <a:pt x="1023" y="1258"/>
                  </a:cubicBezTo>
                  <a:cubicBezTo>
                    <a:pt x="986" y="1716"/>
                    <a:pt x="986" y="1716"/>
                    <a:pt x="986" y="1716"/>
                  </a:cubicBezTo>
                  <a:cubicBezTo>
                    <a:pt x="985" y="1731"/>
                    <a:pt x="973" y="1742"/>
                    <a:pt x="958" y="1742"/>
                  </a:cubicBezTo>
                  <a:cubicBezTo>
                    <a:pt x="641" y="1742"/>
                    <a:pt x="641" y="1742"/>
                    <a:pt x="641" y="1742"/>
                  </a:cubicBezTo>
                  <a:cubicBezTo>
                    <a:pt x="626" y="1742"/>
                    <a:pt x="614" y="1730"/>
                    <a:pt x="613" y="1716"/>
                  </a:cubicBezTo>
                  <a:cubicBezTo>
                    <a:pt x="571" y="1197"/>
                    <a:pt x="571" y="1197"/>
                    <a:pt x="571" y="1197"/>
                  </a:cubicBezTo>
                  <a:cubicBezTo>
                    <a:pt x="564" y="1192"/>
                    <a:pt x="564" y="1192"/>
                    <a:pt x="564" y="1192"/>
                  </a:cubicBezTo>
                  <a:cubicBezTo>
                    <a:pt x="481" y="1130"/>
                    <a:pt x="434" y="1035"/>
                    <a:pt x="434" y="931"/>
                  </a:cubicBezTo>
                  <a:cubicBezTo>
                    <a:pt x="434" y="880"/>
                    <a:pt x="434" y="880"/>
                    <a:pt x="434" y="880"/>
                  </a:cubicBezTo>
                  <a:cubicBezTo>
                    <a:pt x="394" y="880"/>
                    <a:pt x="394" y="880"/>
                    <a:pt x="394" y="880"/>
                  </a:cubicBezTo>
                  <a:cubicBezTo>
                    <a:pt x="335" y="880"/>
                    <a:pt x="286" y="832"/>
                    <a:pt x="286" y="773"/>
                  </a:cubicBezTo>
                  <a:cubicBezTo>
                    <a:pt x="286" y="734"/>
                    <a:pt x="286" y="734"/>
                    <a:pt x="286" y="734"/>
                  </a:cubicBezTo>
                  <a:cubicBezTo>
                    <a:pt x="286" y="697"/>
                    <a:pt x="305" y="663"/>
                    <a:pt x="337" y="643"/>
                  </a:cubicBezTo>
                  <a:cubicBezTo>
                    <a:pt x="347" y="637"/>
                    <a:pt x="347" y="637"/>
                    <a:pt x="347" y="637"/>
                  </a:cubicBezTo>
                  <a:cubicBezTo>
                    <a:pt x="312" y="389"/>
                    <a:pt x="312" y="389"/>
                    <a:pt x="312" y="389"/>
                  </a:cubicBezTo>
                  <a:cubicBezTo>
                    <a:pt x="291" y="400"/>
                    <a:pt x="291" y="400"/>
                    <a:pt x="291" y="400"/>
                  </a:cubicBezTo>
                  <a:cubicBezTo>
                    <a:pt x="261" y="416"/>
                    <a:pt x="226" y="425"/>
                    <a:pt x="192" y="425"/>
                  </a:cubicBezTo>
                  <a:cubicBezTo>
                    <a:pt x="115" y="425"/>
                    <a:pt x="44" y="383"/>
                    <a:pt x="5" y="317"/>
                  </a:cubicBezTo>
                  <a:cubicBezTo>
                    <a:pt x="0" y="308"/>
                    <a:pt x="0" y="297"/>
                    <a:pt x="5" y="289"/>
                  </a:cubicBezTo>
                  <a:cubicBezTo>
                    <a:pt x="44" y="222"/>
                    <a:pt x="115" y="181"/>
                    <a:pt x="192" y="181"/>
                  </a:cubicBezTo>
                  <a:cubicBezTo>
                    <a:pt x="239" y="181"/>
                    <a:pt x="284" y="196"/>
                    <a:pt x="321" y="224"/>
                  </a:cubicBezTo>
                  <a:cubicBezTo>
                    <a:pt x="333" y="233"/>
                    <a:pt x="333" y="233"/>
                    <a:pt x="333" y="233"/>
                  </a:cubicBezTo>
                  <a:cubicBezTo>
                    <a:pt x="343" y="223"/>
                    <a:pt x="343" y="223"/>
                    <a:pt x="343" y="223"/>
                  </a:cubicBezTo>
                  <a:cubicBezTo>
                    <a:pt x="345" y="222"/>
                    <a:pt x="347" y="220"/>
                    <a:pt x="349" y="218"/>
                  </a:cubicBezTo>
                  <a:cubicBezTo>
                    <a:pt x="365" y="205"/>
                    <a:pt x="365" y="205"/>
                    <a:pt x="365" y="205"/>
                  </a:cubicBezTo>
                  <a:cubicBezTo>
                    <a:pt x="350" y="192"/>
                    <a:pt x="350" y="192"/>
                    <a:pt x="350" y="192"/>
                  </a:cubicBezTo>
                  <a:cubicBezTo>
                    <a:pt x="302" y="150"/>
                    <a:pt x="275" y="90"/>
                    <a:pt x="275" y="27"/>
                  </a:cubicBezTo>
                  <a:cubicBezTo>
                    <a:pt x="275" y="12"/>
                    <a:pt x="288" y="0"/>
                    <a:pt x="303" y="0"/>
                  </a:cubicBezTo>
                  <a:cubicBezTo>
                    <a:pt x="318" y="0"/>
                    <a:pt x="331" y="12"/>
                    <a:pt x="331" y="27"/>
                  </a:cubicBezTo>
                  <a:cubicBezTo>
                    <a:pt x="331" y="118"/>
                    <a:pt x="404" y="191"/>
                    <a:pt x="495" y="191"/>
                  </a:cubicBezTo>
                  <a:cubicBezTo>
                    <a:pt x="611" y="191"/>
                    <a:pt x="611" y="191"/>
                    <a:pt x="611" y="191"/>
                  </a:cubicBezTo>
                  <a:cubicBezTo>
                    <a:pt x="702" y="191"/>
                    <a:pt x="775" y="118"/>
                    <a:pt x="775" y="27"/>
                  </a:cubicBezTo>
                  <a:cubicBezTo>
                    <a:pt x="775" y="12"/>
                    <a:pt x="788" y="0"/>
                    <a:pt x="803" y="0"/>
                  </a:cubicBezTo>
                  <a:cubicBezTo>
                    <a:pt x="818" y="0"/>
                    <a:pt x="831" y="12"/>
                    <a:pt x="831" y="27"/>
                  </a:cubicBezTo>
                  <a:cubicBezTo>
                    <a:pt x="831" y="90"/>
                    <a:pt x="804" y="150"/>
                    <a:pt x="756" y="192"/>
                  </a:cubicBezTo>
                  <a:cubicBezTo>
                    <a:pt x="741" y="205"/>
                    <a:pt x="741" y="205"/>
                    <a:pt x="741" y="205"/>
                  </a:cubicBezTo>
                  <a:cubicBezTo>
                    <a:pt x="757" y="218"/>
                    <a:pt x="757" y="218"/>
                    <a:pt x="757" y="218"/>
                  </a:cubicBezTo>
                  <a:cubicBezTo>
                    <a:pt x="759" y="220"/>
                    <a:pt x="761" y="221"/>
                    <a:pt x="763" y="223"/>
                  </a:cubicBezTo>
                  <a:cubicBezTo>
                    <a:pt x="773" y="233"/>
                    <a:pt x="773" y="233"/>
                    <a:pt x="773" y="233"/>
                  </a:cubicBezTo>
                  <a:cubicBezTo>
                    <a:pt x="785" y="224"/>
                    <a:pt x="785" y="224"/>
                    <a:pt x="785" y="224"/>
                  </a:cubicBezTo>
                  <a:cubicBezTo>
                    <a:pt x="822" y="196"/>
                    <a:pt x="867" y="181"/>
                    <a:pt x="914" y="181"/>
                  </a:cubicBezTo>
                  <a:cubicBezTo>
                    <a:pt x="991" y="181"/>
                    <a:pt x="1062" y="222"/>
                    <a:pt x="1101" y="289"/>
                  </a:cubicBezTo>
                  <a:cubicBezTo>
                    <a:pt x="1106" y="297"/>
                    <a:pt x="1106" y="308"/>
                    <a:pt x="1101" y="317"/>
                  </a:cubicBezTo>
                  <a:cubicBezTo>
                    <a:pt x="1081" y="351"/>
                    <a:pt x="1053" y="378"/>
                    <a:pt x="1019" y="397"/>
                  </a:cubicBezTo>
                  <a:cubicBezTo>
                    <a:pt x="961" y="429"/>
                    <a:pt x="961" y="429"/>
                    <a:pt x="961" y="429"/>
                  </a:cubicBezTo>
                  <a:cubicBezTo>
                    <a:pt x="1848" y="429"/>
                    <a:pt x="1848" y="429"/>
                    <a:pt x="1848" y="429"/>
                  </a:cubicBezTo>
                  <a:cubicBezTo>
                    <a:pt x="2036" y="429"/>
                    <a:pt x="2188" y="582"/>
                    <a:pt x="2188" y="769"/>
                  </a:cubicBezTo>
                  <a:cubicBezTo>
                    <a:pt x="2188" y="808"/>
                    <a:pt x="2188" y="808"/>
                    <a:pt x="2188" y="808"/>
                  </a:cubicBezTo>
                  <a:cubicBezTo>
                    <a:pt x="2254" y="1027"/>
                    <a:pt x="2254" y="1027"/>
                    <a:pt x="2254" y="1027"/>
                  </a:cubicBezTo>
                  <a:cubicBezTo>
                    <a:pt x="2257" y="1035"/>
                    <a:pt x="2255" y="1045"/>
                    <a:pt x="2250" y="1052"/>
                  </a:cubicBezTo>
                  <a:cubicBezTo>
                    <a:pt x="2245" y="1059"/>
                    <a:pt x="2236" y="1063"/>
                    <a:pt x="2228" y="1063"/>
                  </a:cubicBezTo>
                  <a:cubicBezTo>
                    <a:pt x="2093" y="1063"/>
                    <a:pt x="2093" y="1063"/>
                    <a:pt x="2093" y="1063"/>
                  </a:cubicBezTo>
                  <a:cubicBezTo>
                    <a:pt x="2084" y="1063"/>
                    <a:pt x="2076" y="1059"/>
                    <a:pt x="2071" y="1052"/>
                  </a:cubicBezTo>
                  <a:cubicBezTo>
                    <a:pt x="2065" y="1045"/>
                    <a:pt x="2064" y="1035"/>
                    <a:pt x="2066" y="1027"/>
                  </a:cubicBezTo>
                  <a:cubicBezTo>
                    <a:pt x="2132" y="808"/>
                    <a:pt x="2132" y="808"/>
                    <a:pt x="2132" y="808"/>
                  </a:cubicBezTo>
                  <a:cubicBezTo>
                    <a:pt x="2132" y="769"/>
                    <a:pt x="2132" y="769"/>
                    <a:pt x="2132" y="769"/>
                  </a:cubicBezTo>
                  <a:cubicBezTo>
                    <a:pt x="2132" y="622"/>
                    <a:pt x="2022" y="500"/>
                    <a:pt x="1875" y="486"/>
                  </a:cubicBezTo>
                  <a:cubicBezTo>
                    <a:pt x="1825" y="482"/>
                    <a:pt x="1825" y="482"/>
                    <a:pt x="1825" y="482"/>
                  </a:cubicBezTo>
                  <a:cubicBezTo>
                    <a:pt x="1862" y="516"/>
                    <a:pt x="1862" y="516"/>
                    <a:pt x="1862" y="516"/>
                  </a:cubicBezTo>
                  <a:cubicBezTo>
                    <a:pt x="1879" y="531"/>
                    <a:pt x="1894" y="548"/>
                    <a:pt x="1907" y="566"/>
                  </a:cubicBezTo>
                  <a:cubicBezTo>
                    <a:pt x="1912" y="574"/>
                    <a:pt x="1934" y="611"/>
                    <a:pt x="1937" y="620"/>
                  </a:cubicBezTo>
                  <a:cubicBezTo>
                    <a:pt x="1957" y="663"/>
                    <a:pt x="1967" y="708"/>
                    <a:pt x="1967" y="756"/>
                  </a:cubicBezTo>
                  <a:cubicBezTo>
                    <a:pt x="1967" y="1310"/>
                    <a:pt x="1967" y="1310"/>
                    <a:pt x="1967" y="1310"/>
                  </a:cubicBezTo>
                  <a:cubicBezTo>
                    <a:pt x="1967" y="1312"/>
                    <a:pt x="1967" y="1313"/>
                    <a:pt x="1967" y="1315"/>
                  </a:cubicBezTo>
                  <a:cubicBezTo>
                    <a:pt x="1902" y="1718"/>
                    <a:pt x="1902" y="1718"/>
                    <a:pt x="1902" y="1718"/>
                  </a:cubicBezTo>
                  <a:cubicBezTo>
                    <a:pt x="1899" y="1732"/>
                    <a:pt x="1888" y="1742"/>
                    <a:pt x="1874" y="1742"/>
                  </a:cubicBezTo>
                  <a:lnTo>
                    <a:pt x="1548" y="1742"/>
                  </a:lnTo>
                  <a:close/>
                  <a:moveTo>
                    <a:pt x="1549" y="1202"/>
                  </a:moveTo>
                  <a:cubicBezTo>
                    <a:pt x="1558" y="1202"/>
                    <a:pt x="1565" y="1205"/>
                    <a:pt x="1571" y="1212"/>
                  </a:cubicBezTo>
                  <a:cubicBezTo>
                    <a:pt x="1598" y="1245"/>
                    <a:pt x="1634" y="1271"/>
                    <a:pt x="1674" y="1287"/>
                  </a:cubicBezTo>
                  <a:cubicBezTo>
                    <a:pt x="1690" y="1293"/>
                    <a:pt x="1705" y="1298"/>
                    <a:pt x="1720" y="1301"/>
                  </a:cubicBezTo>
                  <a:cubicBezTo>
                    <a:pt x="1733" y="1303"/>
                    <a:pt x="1743" y="1315"/>
                    <a:pt x="1743" y="1328"/>
                  </a:cubicBezTo>
                  <a:cubicBezTo>
                    <a:pt x="1738" y="1686"/>
                    <a:pt x="1738" y="1686"/>
                    <a:pt x="1738" y="1686"/>
                  </a:cubicBezTo>
                  <a:cubicBezTo>
                    <a:pt x="1850" y="1686"/>
                    <a:pt x="1850" y="1686"/>
                    <a:pt x="1850" y="1686"/>
                  </a:cubicBezTo>
                  <a:cubicBezTo>
                    <a:pt x="1911" y="1308"/>
                    <a:pt x="1911" y="1308"/>
                    <a:pt x="1911" y="1308"/>
                  </a:cubicBezTo>
                  <a:cubicBezTo>
                    <a:pt x="1911" y="756"/>
                    <a:pt x="1911" y="756"/>
                    <a:pt x="1911" y="756"/>
                  </a:cubicBezTo>
                  <a:cubicBezTo>
                    <a:pt x="1911" y="712"/>
                    <a:pt x="1894" y="642"/>
                    <a:pt x="1861" y="598"/>
                  </a:cubicBezTo>
                  <a:cubicBezTo>
                    <a:pt x="1817" y="540"/>
                    <a:pt x="1767" y="516"/>
                    <a:pt x="1761" y="513"/>
                  </a:cubicBezTo>
                  <a:cubicBezTo>
                    <a:pt x="1740" y="503"/>
                    <a:pt x="1691" y="485"/>
                    <a:pt x="1641" y="485"/>
                  </a:cubicBezTo>
                  <a:cubicBezTo>
                    <a:pt x="1362" y="485"/>
                    <a:pt x="835" y="484"/>
                    <a:pt x="798" y="483"/>
                  </a:cubicBezTo>
                  <a:cubicBezTo>
                    <a:pt x="781" y="478"/>
                    <a:pt x="781" y="478"/>
                    <a:pt x="781" y="478"/>
                  </a:cubicBezTo>
                  <a:cubicBezTo>
                    <a:pt x="759" y="637"/>
                    <a:pt x="759" y="637"/>
                    <a:pt x="759" y="637"/>
                  </a:cubicBezTo>
                  <a:cubicBezTo>
                    <a:pt x="769" y="643"/>
                    <a:pt x="769" y="643"/>
                    <a:pt x="769" y="643"/>
                  </a:cubicBezTo>
                  <a:cubicBezTo>
                    <a:pt x="800" y="663"/>
                    <a:pt x="819" y="697"/>
                    <a:pt x="819" y="734"/>
                  </a:cubicBezTo>
                  <a:cubicBezTo>
                    <a:pt x="819" y="773"/>
                    <a:pt x="819" y="773"/>
                    <a:pt x="819" y="773"/>
                  </a:cubicBezTo>
                  <a:cubicBezTo>
                    <a:pt x="819" y="832"/>
                    <a:pt x="771" y="880"/>
                    <a:pt x="712" y="880"/>
                  </a:cubicBezTo>
                  <a:cubicBezTo>
                    <a:pt x="489" y="880"/>
                    <a:pt x="489" y="880"/>
                    <a:pt x="489" y="880"/>
                  </a:cubicBezTo>
                  <a:cubicBezTo>
                    <a:pt x="489" y="931"/>
                    <a:pt x="489" y="931"/>
                    <a:pt x="489" y="931"/>
                  </a:cubicBezTo>
                  <a:cubicBezTo>
                    <a:pt x="489" y="1023"/>
                    <a:pt x="535" y="1108"/>
                    <a:pt x="612" y="1158"/>
                  </a:cubicBezTo>
                  <a:cubicBezTo>
                    <a:pt x="656" y="1187"/>
                    <a:pt x="707" y="1202"/>
                    <a:pt x="760" y="1202"/>
                  </a:cubicBezTo>
                  <a:cubicBezTo>
                    <a:pt x="760" y="1202"/>
                    <a:pt x="761" y="1202"/>
                    <a:pt x="761" y="1202"/>
                  </a:cubicBezTo>
                  <a:cubicBezTo>
                    <a:pt x="762" y="1202"/>
                    <a:pt x="762" y="1202"/>
                    <a:pt x="762" y="1202"/>
                  </a:cubicBezTo>
                  <a:cubicBezTo>
                    <a:pt x="777" y="1202"/>
                    <a:pt x="789" y="1213"/>
                    <a:pt x="790" y="1227"/>
                  </a:cubicBezTo>
                  <a:cubicBezTo>
                    <a:pt x="828" y="1686"/>
                    <a:pt x="828" y="1686"/>
                    <a:pt x="828" y="1686"/>
                  </a:cubicBezTo>
                  <a:cubicBezTo>
                    <a:pt x="933" y="1686"/>
                    <a:pt x="933" y="1686"/>
                    <a:pt x="933" y="1686"/>
                  </a:cubicBezTo>
                  <a:cubicBezTo>
                    <a:pt x="970" y="1227"/>
                    <a:pt x="970" y="1227"/>
                    <a:pt x="970" y="1227"/>
                  </a:cubicBezTo>
                  <a:cubicBezTo>
                    <a:pt x="971" y="1213"/>
                    <a:pt x="983" y="1202"/>
                    <a:pt x="998" y="1202"/>
                  </a:cubicBezTo>
                  <a:lnTo>
                    <a:pt x="1549" y="1202"/>
                  </a:lnTo>
                  <a:close/>
                  <a:moveTo>
                    <a:pt x="1659" y="1357"/>
                  </a:moveTo>
                  <a:cubicBezTo>
                    <a:pt x="1638" y="1374"/>
                    <a:pt x="1615" y="1389"/>
                    <a:pt x="1590" y="1400"/>
                  </a:cubicBezTo>
                  <a:cubicBezTo>
                    <a:pt x="1581" y="1404"/>
                    <a:pt x="1581" y="1404"/>
                    <a:pt x="1581" y="1404"/>
                  </a:cubicBezTo>
                  <a:cubicBezTo>
                    <a:pt x="1577" y="1686"/>
                    <a:pt x="1577" y="1686"/>
                    <a:pt x="1577" y="1686"/>
                  </a:cubicBezTo>
                  <a:cubicBezTo>
                    <a:pt x="1682" y="1686"/>
                    <a:pt x="1682" y="1686"/>
                    <a:pt x="1682" y="1686"/>
                  </a:cubicBezTo>
                  <a:cubicBezTo>
                    <a:pt x="1687" y="1333"/>
                    <a:pt x="1687" y="1333"/>
                    <a:pt x="1687" y="1333"/>
                  </a:cubicBezTo>
                  <a:lnTo>
                    <a:pt x="1659" y="1357"/>
                  </a:lnTo>
                  <a:close/>
                  <a:moveTo>
                    <a:pt x="666" y="1686"/>
                  </a:moveTo>
                  <a:cubicBezTo>
                    <a:pt x="772" y="1686"/>
                    <a:pt x="772" y="1686"/>
                    <a:pt x="772" y="1686"/>
                  </a:cubicBezTo>
                  <a:cubicBezTo>
                    <a:pt x="737" y="1257"/>
                    <a:pt x="737" y="1257"/>
                    <a:pt x="737" y="1257"/>
                  </a:cubicBezTo>
                  <a:cubicBezTo>
                    <a:pt x="723" y="1255"/>
                    <a:pt x="723" y="1255"/>
                    <a:pt x="723" y="1255"/>
                  </a:cubicBezTo>
                  <a:cubicBezTo>
                    <a:pt x="699" y="1253"/>
                    <a:pt x="676" y="1247"/>
                    <a:pt x="654" y="1240"/>
                  </a:cubicBezTo>
                  <a:cubicBezTo>
                    <a:pt x="629" y="1231"/>
                    <a:pt x="629" y="1231"/>
                    <a:pt x="629" y="1231"/>
                  </a:cubicBezTo>
                  <a:lnTo>
                    <a:pt x="666" y="1686"/>
                  </a:lnTo>
                  <a:close/>
                  <a:moveTo>
                    <a:pt x="1273" y="1286"/>
                  </a:moveTo>
                  <a:cubicBezTo>
                    <a:pt x="1320" y="1341"/>
                    <a:pt x="1389" y="1373"/>
                    <a:pt x="1462" y="1373"/>
                  </a:cubicBezTo>
                  <a:cubicBezTo>
                    <a:pt x="1490" y="1373"/>
                    <a:pt x="1518" y="1368"/>
                    <a:pt x="1544" y="1359"/>
                  </a:cubicBezTo>
                  <a:cubicBezTo>
                    <a:pt x="1561" y="1353"/>
                    <a:pt x="1577" y="1345"/>
                    <a:pt x="1593" y="1335"/>
                  </a:cubicBezTo>
                  <a:cubicBezTo>
                    <a:pt x="1615" y="1322"/>
                    <a:pt x="1615" y="1322"/>
                    <a:pt x="1615" y="1322"/>
                  </a:cubicBezTo>
                  <a:cubicBezTo>
                    <a:pt x="1594" y="1307"/>
                    <a:pt x="1594" y="1307"/>
                    <a:pt x="1594" y="1307"/>
                  </a:cubicBezTo>
                  <a:cubicBezTo>
                    <a:pt x="1575" y="1294"/>
                    <a:pt x="1557" y="1279"/>
                    <a:pt x="1542" y="1263"/>
                  </a:cubicBezTo>
                  <a:cubicBezTo>
                    <a:pt x="1537" y="1258"/>
                    <a:pt x="1537" y="1258"/>
                    <a:pt x="1537" y="1258"/>
                  </a:cubicBezTo>
                  <a:cubicBezTo>
                    <a:pt x="1249" y="1258"/>
                    <a:pt x="1249" y="1258"/>
                    <a:pt x="1249" y="1258"/>
                  </a:cubicBezTo>
                  <a:lnTo>
                    <a:pt x="1273" y="1286"/>
                  </a:lnTo>
                  <a:close/>
                  <a:moveTo>
                    <a:pt x="2116" y="1018"/>
                  </a:moveTo>
                  <a:cubicBezTo>
                    <a:pt x="2204" y="1018"/>
                    <a:pt x="2204" y="1018"/>
                    <a:pt x="2204" y="1018"/>
                  </a:cubicBezTo>
                  <a:cubicBezTo>
                    <a:pt x="2160" y="871"/>
                    <a:pt x="2160" y="871"/>
                    <a:pt x="2160" y="871"/>
                  </a:cubicBezTo>
                  <a:lnTo>
                    <a:pt x="2116" y="1018"/>
                  </a:lnTo>
                  <a:close/>
                  <a:moveTo>
                    <a:pt x="394" y="683"/>
                  </a:moveTo>
                  <a:cubicBezTo>
                    <a:pt x="365" y="683"/>
                    <a:pt x="342" y="706"/>
                    <a:pt x="342" y="734"/>
                  </a:cubicBezTo>
                  <a:cubicBezTo>
                    <a:pt x="342" y="773"/>
                    <a:pt x="342" y="773"/>
                    <a:pt x="342" y="773"/>
                  </a:cubicBezTo>
                  <a:cubicBezTo>
                    <a:pt x="342" y="802"/>
                    <a:pt x="365" y="825"/>
                    <a:pt x="394" y="825"/>
                  </a:cubicBezTo>
                  <a:cubicBezTo>
                    <a:pt x="712" y="825"/>
                    <a:pt x="712" y="825"/>
                    <a:pt x="712" y="825"/>
                  </a:cubicBezTo>
                  <a:cubicBezTo>
                    <a:pt x="741" y="825"/>
                    <a:pt x="764" y="802"/>
                    <a:pt x="764" y="773"/>
                  </a:cubicBezTo>
                  <a:cubicBezTo>
                    <a:pt x="764" y="734"/>
                    <a:pt x="764" y="734"/>
                    <a:pt x="764" y="734"/>
                  </a:cubicBezTo>
                  <a:cubicBezTo>
                    <a:pt x="764" y="706"/>
                    <a:pt x="741" y="683"/>
                    <a:pt x="712" y="683"/>
                  </a:cubicBezTo>
                  <a:lnTo>
                    <a:pt x="394" y="683"/>
                  </a:lnTo>
                  <a:close/>
                  <a:moveTo>
                    <a:pt x="376" y="444"/>
                  </a:moveTo>
                  <a:cubicBezTo>
                    <a:pt x="402" y="627"/>
                    <a:pt x="402" y="627"/>
                    <a:pt x="402" y="627"/>
                  </a:cubicBezTo>
                  <a:cubicBezTo>
                    <a:pt x="704" y="627"/>
                    <a:pt x="704" y="627"/>
                    <a:pt x="704" y="627"/>
                  </a:cubicBezTo>
                  <a:cubicBezTo>
                    <a:pt x="730" y="444"/>
                    <a:pt x="730" y="444"/>
                    <a:pt x="730" y="444"/>
                  </a:cubicBezTo>
                  <a:cubicBezTo>
                    <a:pt x="733" y="423"/>
                    <a:pt x="733" y="423"/>
                    <a:pt x="733" y="423"/>
                  </a:cubicBezTo>
                  <a:cubicBezTo>
                    <a:pt x="746" y="323"/>
                    <a:pt x="746" y="323"/>
                    <a:pt x="746" y="323"/>
                  </a:cubicBezTo>
                  <a:cubicBezTo>
                    <a:pt x="749" y="303"/>
                    <a:pt x="743" y="284"/>
                    <a:pt x="731" y="270"/>
                  </a:cubicBezTo>
                  <a:cubicBezTo>
                    <a:pt x="718" y="255"/>
                    <a:pt x="700" y="247"/>
                    <a:pt x="680" y="247"/>
                  </a:cubicBezTo>
                  <a:cubicBezTo>
                    <a:pt x="426" y="247"/>
                    <a:pt x="426" y="247"/>
                    <a:pt x="426" y="247"/>
                  </a:cubicBezTo>
                  <a:cubicBezTo>
                    <a:pt x="406" y="247"/>
                    <a:pt x="388" y="255"/>
                    <a:pt x="375" y="270"/>
                  </a:cubicBezTo>
                  <a:cubicBezTo>
                    <a:pt x="362" y="284"/>
                    <a:pt x="357" y="303"/>
                    <a:pt x="360" y="323"/>
                  </a:cubicBezTo>
                  <a:cubicBezTo>
                    <a:pt x="373" y="423"/>
                    <a:pt x="373" y="423"/>
                    <a:pt x="373" y="423"/>
                  </a:cubicBezTo>
                  <a:lnTo>
                    <a:pt x="376" y="444"/>
                  </a:lnTo>
                  <a:close/>
                  <a:moveTo>
                    <a:pt x="914" y="237"/>
                  </a:moveTo>
                  <a:cubicBezTo>
                    <a:pt x="874" y="237"/>
                    <a:pt x="836" y="252"/>
                    <a:pt x="806" y="279"/>
                  </a:cubicBezTo>
                  <a:cubicBezTo>
                    <a:pt x="800" y="285"/>
                    <a:pt x="800" y="285"/>
                    <a:pt x="800" y="285"/>
                  </a:cubicBezTo>
                  <a:cubicBezTo>
                    <a:pt x="801" y="294"/>
                    <a:pt x="801" y="294"/>
                    <a:pt x="801" y="294"/>
                  </a:cubicBezTo>
                  <a:cubicBezTo>
                    <a:pt x="802" y="301"/>
                    <a:pt x="803" y="309"/>
                    <a:pt x="803" y="316"/>
                  </a:cubicBezTo>
                  <a:cubicBezTo>
                    <a:pt x="803" y="324"/>
                    <a:pt x="803" y="324"/>
                    <a:pt x="803" y="324"/>
                  </a:cubicBezTo>
                  <a:cubicBezTo>
                    <a:pt x="808" y="329"/>
                    <a:pt x="808" y="329"/>
                    <a:pt x="808" y="329"/>
                  </a:cubicBezTo>
                  <a:cubicBezTo>
                    <a:pt x="838" y="355"/>
                    <a:pt x="875" y="369"/>
                    <a:pt x="914" y="369"/>
                  </a:cubicBezTo>
                  <a:cubicBezTo>
                    <a:pt x="960" y="369"/>
                    <a:pt x="1004" y="349"/>
                    <a:pt x="1035" y="314"/>
                  </a:cubicBezTo>
                  <a:cubicBezTo>
                    <a:pt x="1044" y="303"/>
                    <a:pt x="1044" y="303"/>
                    <a:pt x="1044" y="303"/>
                  </a:cubicBezTo>
                  <a:cubicBezTo>
                    <a:pt x="1035" y="292"/>
                    <a:pt x="1035" y="292"/>
                    <a:pt x="1035" y="292"/>
                  </a:cubicBezTo>
                  <a:cubicBezTo>
                    <a:pt x="1004" y="257"/>
                    <a:pt x="960" y="237"/>
                    <a:pt x="914" y="237"/>
                  </a:cubicBezTo>
                  <a:close/>
                  <a:moveTo>
                    <a:pt x="192" y="237"/>
                  </a:moveTo>
                  <a:cubicBezTo>
                    <a:pt x="146" y="237"/>
                    <a:pt x="102" y="257"/>
                    <a:pt x="71" y="292"/>
                  </a:cubicBezTo>
                  <a:cubicBezTo>
                    <a:pt x="62" y="303"/>
                    <a:pt x="62" y="303"/>
                    <a:pt x="62" y="303"/>
                  </a:cubicBezTo>
                  <a:cubicBezTo>
                    <a:pt x="71" y="314"/>
                    <a:pt x="71" y="314"/>
                    <a:pt x="71" y="314"/>
                  </a:cubicBezTo>
                  <a:cubicBezTo>
                    <a:pt x="102" y="349"/>
                    <a:pt x="146" y="369"/>
                    <a:pt x="192" y="369"/>
                  </a:cubicBezTo>
                  <a:cubicBezTo>
                    <a:pt x="231" y="369"/>
                    <a:pt x="268" y="355"/>
                    <a:pt x="298" y="329"/>
                  </a:cubicBezTo>
                  <a:cubicBezTo>
                    <a:pt x="303" y="324"/>
                    <a:pt x="303" y="324"/>
                    <a:pt x="303" y="324"/>
                  </a:cubicBezTo>
                  <a:cubicBezTo>
                    <a:pt x="303" y="316"/>
                    <a:pt x="303" y="316"/>
                    <a:pt x="303" y="316"/>
                  </a:cubicBezTo>
                  <a:cubicBezTo>
                    <a:pt x="303" y="309"/>
                    <a:pt x="304" y="301"/>
                    <a:pt x="305" y="294"/>
                  </a:cubicBezTo>
                  <a:cubicBezTo>
                    <a:pt x="306" y="285"/>
                    <a:pt x="306" y="285"/>
                    <a:pt x="306" y="285"/>
                  </a:cubicBezTo>
                  <a:cubicBezTo>
                    <a:pt x="300" y="279"/>
                    <a:pt x="300" y="279"/>
                    <a:pt x="300" y="279"/>
                  </a:cubicBezTo>
                  <a:cubicBezTo>
                    <a:pt x="270" y="252"/>
                    <a:pt x="232" y="237"/>
                    <a:pt x="192" y="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4" name="Oval 21">
              <a:extLst>
                <a:ext uri="{FF2B5EF4-FFF2-40B4-BE49-F238E27FC236}">
                  <a16:creationId xmlns:a16="http://schemas.microsoft.com/office/drawing/2014/main" id="{7319BB98-6335-41C9-B12B-B6A03E0CA1BD}"/>
                </a:ext>
              </a:extLst>
            </p:cNvPr>
            <p:cNvSpPr>
              <a:spLocks noChangeArrowheads="1"/>
            </p:cNvSpPr>
            <p:nvPr/>
          </p:nvSpPr>
          <p:spPr bwMode="auto">
            <a:xfrm>
              <a:off x="-11125200" y="1236662"/>
              <a:ext cx="195263"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5" name="Oval 22">
              <a:extLst>
                <a:ext uri="{FF2B5EF4-FFF2-40B4-BE49-F238E27FC236}">
                  <a16:creationId xmlns:a16="http://schemas.microsoft.com/office/drawing/2014/main" id="{A44DB7E9-552D-4CEB-AAC4-3FDC1F5B9733}"/>
                </a:ext>
              </a:extLst>
            </p:cNvPr>
            <p:cNvSpPr>
              <a:spLocks noChangeArrowheads="1"/>
            </p:cNvSpPr>
            <p:nvPr/>
          </p:nvSpPr>
          <p:spPr bwMode="auto">
            <a:xfrm>
              <a:off x="-10118725" y="1236662"/>
              <a:ext cx="195263" cy="195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6" name="Freeform 23">
              <a:extLst>
                <a:ext uri="{FF2B5EF4-FFF2-40B4-BE49-F238E27FC236}">
                  <a16:creationId xmlns:a16="http://schemas.microsoft.com/office/drawing/2014/main" id="{924F750B-E3A5-41DE-BFDC-0D003057A6C9}"/>
                </a:ext>
              </a:extLst>
            </p:cNvPr>
            <p:cNvSpPr>
              <a:spLocks/>
            </p:cNvSpPr>
            <p:nvPr/>
          </p:nvSpPr>
          <p:spPr bwMode="auto">
            <a:xfrm>
              <a:off x="-8283575" y="2001837"/>
              <a:ext cx="992188" cy="1819275"/>
            </a:xfrm>
            <a:custGeom>
              <a:avLst/>
              <a:gdLst>
                <a:gd name="T0" fmla="*/ 132 w 264"/>
                <a:gd name="T1" fmla="*/ 484 h 484"/>
                <a:gd name="T2" fmla="*/ 0 w 264"/>
                <a:gd name="T3" fmla="*/ 352 h 484"/>
                <a:gd name="T4" fmla="*/ 22 w 264"/>
                <a:gd name="T5" fmla="*/ 330 h 484"/>
                <a:gd name="T6" fmla="*/ 44 w 264"/>
                <a:gd name="T7" fmla="*/ 352 h 484"/>
                <a:gd name="T8" fmla="*/ 132 w 264"/>
                <a:gd name="T9" fmla="*/ 440 h 484"/>
                <a:gd name="T10" fmla="*/ 220 w 264"/>
                <a:gd name="T11" fmla="*/ 352 h 484"/>
                <a:gd name="T12" fmla="*/ 132 w 264"/>
                <a:gd name="T13" fmla="*/ 264 h 484"/>
                <a:gd name="T14" fmla="*/ 0 w 264"/>
                <a:gd name="T15" fmla="*/ 132 h 484"/>
                <a:gd name="T16" fmla="*/ 132 w 264"/>
                <a:gd name="T17" fmla="*/ 0 h 484"/>
                <a:gd name="T18" fmla="*/ 264 w 264"/>
                <a:gd name="T19" fmla="*/ 132 h 484"/>
                <a:gd name="T20" fmla="*/ 242 w 264"/>
                <a:gd name="T21" fmla="*/ 154 h 484"/>
                <a:gd name="T22" fmla="*/ 220 w 264"/>
                <a:gd name="T23" fmla="*/ 132 h 484"/>
                <a:gd name="T24" fmla="*/ 132 w 264"/>
                <a:gd name="T25" fmla="*/ 44 h 484"/>
                <a:gd name="T26" fmla="*/ 44 w 264"/>
                <a:gd name="T27" fmla="*/ 132 h 484"/>
                <a:gd name="T28" fmla="*/ 132 w 264"/>
                <a:gd name="T29" fmla="*/ 220 h 484"/>
                <a:gd name="T30" fmla="*/ 264 w 264"/>
                <a:gd name="T31" fmla="*/ 352 h 484"/>
                <a:gd name="T32" fmla="*/ 132 w 264"/>
                <a:gd name="T33"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 h="484">
                  <a:moveTo>
                    <a:pt x="132" y="484"/>
                  </a:moveTo>
                  <a:cubicBezTo>
                    <a:pt x="59" y="484"/>
                    <a:pt x="0" y="425"/>
                    <a:pt x="0" y="352"/>
                  </a:cubicBezTo>
                  <a:cubicBezTo>
                    <a:pt x="0" y="340"/>
                    <a:pt x="10" y="330"/>
                    <a:pt x="22" y="330"/>
                  </a:cubicBezTo>
                  <a:cubicBezTo>
                    <a:pt x="34" y="330"/>
                    <a:pt x="44" y="340"/>
                    <a:pt x="44" y="352"/>
                  </a:cubicBezTo>
                  <a:cubicBezTo>
                    <a:pt x="44" y="401"/>
                    <a:pt x="83" y="440"/>
                    <a:pt x="132" y="440"/>
                  </a:cubicBezTo>
                  <a:cubicBezTo>
                    <a:pt x="180" y="440"/>
                    <a:pt x="220" y="401"/>
                    <a:pt x="220" y="352"/>
                  </a:cubicBezTo>
                  <a:cubicBezTo>
                    <a:pt x="220" y="304"/>
                    <a:pt x="180" y="264"/>
                    <a:pt x="132" y="264"/>
                  </a:cubicBezTo>
                  <a:cubicBezTo>
                    <a:pt x="59" y="264"/>
                    <a:pt x="0" y="205"/>
                    <a:pt x="0" y="132"/>
                  </a:cubicBezTo>
                  <a:cubicBezTo>
                    <a:pt x="0" y="60"/>
                    <a:pt x="59" y="0"/>
                    <a:pt x="132" y="0"/>
                  </a:cubicBezTo>
                  <a:cubicBezTo>
                    <a:pt x="205" y="0"/>
                    <a:pt x="264" y="60"/>
                    <a:pt x="264" y="132"/>
                  </a:cubicBezTo>
                  <a:cubicBezTo>
                    <a:pt x="264" y="144"/>
                    <a:pt x="254" y="154"/>
                    <a:pt x="242" y="154"/>
                  </a:cubicBezTo>
                  <a:cubicBezTo>
                    <a:pt x="230" y="154"/>
                    <a:pt x="220" y="144"/>
                    <a:pt x="220" y="132"/>
                  </a:cubicBezTo>
                  <a:cubicBezTo>
                    <a:pt x="220" y="84"/>
                    <a:pt x="180" y="44"/>
                    <a:pt x="132" y="44"/>
                  </a:cubicBezTo>
                  <a:cubicBezTo>
                    <a:pt x="83" y="44"/>
                    <a:pt x="44" y="84"/>
                    <a:pt x="44" y="132"/>
                  </a:cubicBezTo>
                  <a:cubicBezTo>
                    <a:pt x="44" y="181"/>
                    <a:pt x="83" y="220"/>
                    <a:pt x="132" y="220"/>
                  </a:cubicBezTo>
                  <a:cubicBezTo>
                    <a:pt x="205" y="220"/>
                    <a:pt x="264" y="279"/>
                    <a:pt x="264" y="352"/>
                  </a:cubicBezTo>
                  <a:cubicBezTo>
                    <a:pt x="264" y="425"/>
                    <a:pt x="205" y="484"/>
                    <a:pt x="132" y="4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67" name="Freeform 24">
              <a:extLst>
                <a:ext uri="{FF2B5EF4-FFF2-40B4-BE49-F238E27FC236}">
                  <a16:creationId xmlns:a16="http://schemas.microsoft.com/office/drawing/2014/main" id="{FCD33EC1-029E-46CD-B223-35405315097C}"/>
                </a:ext>
              </a:extLst>
            </p:cNvPr>
            <p:cNvSpPr>
              <a:spLocks/>
            </p:cNvSpPr>
            <p:nvPr/>
          </p:nvSpPr>
          <p:spPr bwMode="auto">
            <a:xfrm>
              <a:off x="-7870825" y="1758950"/>
              <a:ext cx="166688" cy="2309813"/>
            </a:xfrm>
            <a:custGeom>
              <a:avLst/>
              <a:gdLst>
                <a:gd name="T0" fmla="*/ 22 w 44"/>
                <a:gd name="T1" fmla="*/ 615 h 615"/>
                <a:gd name="T2" fmla="*/ 0 w 44"/>
                <a:gd name="T3" fmla="*/ 593 h 615"/>
                <a:gd name="T4" fmla="*/ 0 w 44"/>
                <a:gd name="T5" fmla="*/ 22 h 615"/>
                <a:gd name="T6" fmla="*/ 22 w 44"/>
                <a:gd name="T7" fmla="*/ 0 h 615"/>
                <a:gd name="T8" fmla="*/ 44 w 44"/>
                <a:gd name="T9" fmla="*/ 22 h 615"/>
                <a:gd name="T10" fmla="*/ 44 w 44"/>
                <a:gd name="T11" fmla="*/ 593 h 615"/>
                <a:gd name="T12" fmla="*/ 22 w 44"/>
                <a:gd name="T13" fmla="*/ 615 h 615"/>
              </a:gdLst>
              <a:ahLst/>
              <a:cxnLst>
                <a:cxn ang="0">
                  <a:pos x="T0" y="T1"/>
                </a:cxn>
                <a:cxn ang="0">
                  <a:pos x="T2" y="T3"/>
                </a:cxn>
                <a:cxn ang="0">
                  <a:pos x="T4" y="T5"/>
                </a:cxn>
                <a:cxn ang="0">
                  <a:pos x="T6" y="T7"/>
                </a:cxn>
                <a:cxn ang="0">
                  <a:pos x="T8" y="T9"/>
                </a:cxn>
                <a:cxn ang="0">
                  <a:pos x="T10" y="T11"/>
                </a:cxn>
                <a:cxn ang="0">
                  <a:pos x="T12" y="T13"/>
                </a:cxn>
              </a:cxnLst>
              <a:rect l="0" t="0" r="r" b="b"/>
              <a:pathLst>
                <a:path w="44" h="615">
                  <a:moveTo>
                    <a:pt x="22" y="615"/>
                  </a:moveTo>
                  <a:cubicBezTo>
                    <a:pt x="10" y="615"/>
                    <a:pt x="0" y="605"/>
                    <a:pt x="0" y="593"/>
                  </a:cubicBezTo>
                  <a:cubicBezTo>
                    <a:pt x="0" y="22"/>
                    <a:pt x="0" y="22"/>
                    <a:pt x="0" y="22"/>
                  </a:cubicBezTo>
                  <a:cubicBezTo>
                    <a:pt x="0" y="9"/>
                    <a:pt x="10" y="0"/>
                    <a:pt x="22" y="0"/>
                  </a:cubicBezTo>
                  <a:cubicBezTo>
                    <a:pt x="34" y="0"/>
                    <a:pt x="44" y="9"/>
                    <a:pt x="44" y="22"/>
                  </a:cubicBezTo>
                  <a:cubicBezTo>
                    <a:pt x="44" y="593"/>
                    <a:pt x="44" y="593"/>
                    <a:pt x="44" y="593"/>
                  </a:cubicBezTo>
                  <a:cubicBezTo>
                    <a:pt x="44" y="605"/>
                    <a:pt x="34" y="615"/>
                    <a:pt x="22" y="6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grpSp>
        <p:nvGrpSpPr>
          <p:cNvPr id="868" name="Group 1048">
            <a:extLst>
              <a:ext uri="{FF2B5EF4-FFF2-40B4-BE49-F238E27FC236}">
                <a16:creationId xmlns:a16="http://schemas.microsoft.com/office/drawing/2014/main" id="{3514D946-7A72-4D0D-AE3B-B452FE896CBC}"/>
              </a:ext>
            </a:extLst>
          </p:cNvPr>
          <p:cNvGrpSpPr>
            <a:grpSpLocks noChangeAspect="1"/>
          </p:cNvGrpSpPr>
          <p:nvPr/>
        </p:nvGrpSpPr>
        <p:grpSpPr>
          <a:xfrm>
            <a:off x="2723600" y="5944848"/>
            <a:ext cx="247521" cy="308144"/>
            <a:chOff x="-4211638" y="-882650"/>
            <a:chExt cx="6799263" cy="8464550"/>
          </a:xfrm>
          <a:solidFill>
            <a:schemeClr val="bg1"/>
          </a:solidFill>
          <a:effectLst/>
        </p:grpSpPr>
        <p:sp>
          <p:nvSpPr>
            <p:cNvPr id="869" name="Oval 28">
              <a:extLst>
                <a:ext uri="{FF2B5EF4-FFF2-40B4-BE49-F238E27FC236}">
                  <a16:creationId xmlns:a16="http://schemas.microsoft.com/office/drawing/2014/main" id="{49512504-15CA-4A0D-9565-FF3816258594}"/>
                </a:ext>
              </a:extLst>
            </p:cNvPr>
            <p:cNvSpPr>
              <a:spLocks noChangeArrowheads="1"/>
            </p:cNvSpPr>
            <p:nvPr/>
          </p:nvSpPr>
          <p:spPr bwMode="auto">
            <a:xfrm>
              <a:off x="50800" y="1119188"/>
              <a:ext cx="304800" cy="304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0" name="Freeform 29">
              <a:extLst>
                <a:ext uri="{FF2B5EF4-FFF2-40B4-BE49-F238E27FC236}">
                  <a16:creationId xmlns:a16="http://schemas.microsoft.com/office/drawing/2014/main" id="{28256DE6-CC35-4C5A-B840-4CABD317FC33}"/>
                </a:ext>
              </a:extLst>
            </p:cNvPr>
            <p:cNvSpPr>
              <a:spLocks noEditPoints="1"/>
            </p:cNvSpPr>
            <p:nvPr/>
          </p:nvSpPr>
          <p:spPr bwMode="auto">
            <a:xfrm>
              <a:off x="-1323975" y="2373313"/>
              <a:ext cx="1382713" cy="1273175"/>
            </a:xfrm>
            <a:custGeom>
              <a:avLst/>
              <a:gdLst>
                <a:gd name="T0" fmla="*/ 184 w 368"/>
                <a:gd name="T1" fmla="*/ 339 h 339"/>
                <a:gd name="T2" fmla="*/ 77 w 368"/>
                <a:gd name="T3" fmla="*/ 232 h 339"/>
                <a:gd name="T4" fmla="*/ 77 w 368"/>
                <a:gd name="T5" fmla="*/ 102 h 339"/>
                <a:gd name="T6" fmla="*/ 66 w 368"/>
                <a:gd name="T7" fmla="*/ 98 h 339"/>
                <a:gd name="T8" fmla="*/ 6 w 368"/>
                <a:gd name="T9" fmla="*/ 47 h 339"/>
                <a:gd name="T10" fmla="*/ 3 w 368"/>
                <a:gd name="T11" fmla="*/ 23 h 339"/>
                <a:gd name="T12" fmla="*/ 17 w 368"/>
                <a:gd name="T13" fmla="*/ 4 h 339"/>
                <a:gd name="T14" fmla="*/ 32 w 368"/>
                <a:gd name="T15" fmla="*/ 0 h 339"/>
                <a:gd name="T16" fmla="*/ 59 w 368"/>
                <a:gd name="T17" fmla="*/ 16 h 339"/>
                <a:gd name="T18" fmla="*/ 108 w 368"/>
                <a:gd name="T19" fmla="*/ 44 h 339"/>
                <a:gd name="T20" fmla="*/ 158 w 368"/>
                <a:gd name="T21" fmla="*/ 16 h 339"/>
                <a:gd name="T22" fmla="*/ 184 w 368"/>
                <a:gd name="T23" fmla="*/ 0 h 339"/>
                <a:gd name="T24" fmla="*/ 200 w 368"/>
                <a:gd name="T25" fmla="*/ 4 h 339"/>
                <a:gd name="T26" fmla="*/ 211 w 368"/>
                <a:gd name="T27" fmla="*/ 16 h 339"/>
                <a:gd name="T28" fmla="*/ 260 w 368"/>
                <a:gd name="T29" fmla="*/ 44 h 339"/>
                <a:gd name="T30" fmla="*/ 261 w 368"/>
                <a:gd name="T31" fmla="*/ 44 h 339"/>
                <a:gd name="T32" fmla="*/ 310 w 368"/>
                <a:gd name="T33" fmla="*/ 16 h 339"/>
                <a:gd name="T34" fmla="*/ 336 w 368"/>
                <a:gd name="T35" fmla="*/ 0 h 339"/>
                <a:gd name="T36" fmla="*/ 352 w 368"/>
                <a:gd name="T37" fmla="*/ 4 h 339"/>
                <a:gd name="T38" fmla="*/ 366 w 368"/>
                <a:gd name="T39" fmla="*/ 23 h 339"/>
                <a:gd name="T40" fmla="*/ 363 w 368"/>
                <a:gd name="T41" fmla="*/ 47 h 339"/>
                <a:gd name="T42" fmla="*/ 302 w 368"/>
                <a:gd name="T43" fmla="*/ 98 h 339"/>
                <a:gd name="T44" fmla="*/ 291 w 368"/>
                <a:gd name="T45" fmla="*/ 102 h 339"/>
                <a:gd name="T46" fmla="*/ 291 w 368"/>
                <a:gd name="T47" fmla="*/ 232 h 339"/>
                <a:gd name="T48" fmla="*/ 184 w 368"/>
                <a:gd name="T49" fmla="*/ 339 h 339"/>
                <a:gd name="T50" fmla="*/ 175 w 368"/>
                <a:gd name="T51" fmla="*/ 85 h 339"/>
                <a:gd name="T52" fmla="*/ 150 w 368"/>
                <a:gd name="T53" fmla="*/ 98 h 339"/>
                <a:gd name="T54" fmla="*/ 139 w 368"/>
                <a:gd name="T55" fmla="*/ 102 h 339"/>
                <a:gd name="T56" fmla="*/ 139 w 368"/>
                <a:gd name="T57" fmla="*/ 232 h 339"/>
                <a:gd name="T58" fmla="*/ 184 w 368"/>
                <a:gd name="T59" fmla="*/ 277 h 339"/>
                <a:gd name="T60" fmla="*/ 229 w 368"/>
                <a:gd name="T61" fmla="*/ 232 h 339"/>
                <a:gd name="T62" fmla="*/ 229 w 368"/>
                <a:gd name="T63" fmla="*/ 102 h 339"/>
                <a:gd name="T64" fmla="*/ 219 w 368"/>
                <a:gd name="T65" fmla="*/ 98 h 339"/>
                <a:gd name="T66" fmla="*/ 194 w 368"/>
                <a:gd name="T67" fmla="*/ 86 h 339"/>
                <a:gd name="T68" fmla="*/ 184 w 368"/>
                <a:gd name="T69" fmla="*/ 79 h 339"/>
                <a:gd name="T70" fmla="*/ 175 w 368"/>
                <a:gd name="T71" fmla="*/ 8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8" h="339">
                  <a:moveTo>
                    <a:pt x="184" y="339"/>
                  </a:moveTo>
                  <a:cubicBezTo>
                    <a:pt x="125" y="339"/>
                    <a:pt x="77" y="291"/>
                    <a:pt x="77" y="232"/>
                  </a:cubicBezTo>
                  <a:cubicBezTo>
                    <a:pt x="77" y="102"/>
                    <a:pt x="77" y="102"/>
                    <a:pt x="77" y="102"/>
                  </a:cubicBezTo>
                  <a:cubicBezTo>
                    <a:pt x="66" y="98"/>
                    <a:pt x="66" y="98"/>
                    <a:pt x="66" y="98"/>
                  </a:cubicBezTo>
                  <a:cubicBezTo>
                    <a:pt x="41" y="88"/>
                    <a:pt x="19" y="70"/>
                    <a:pt x="6" y="47"/>
                  </a:cubicBezTo>
                  <a:cubicBezTo>
                    <a:pt x="1" y="39"/>
                    <a:pt x="0" y="31"/>
                    <a:pt x="3" y="23"/>
                  </a:cubicBezTo>
                  <a:cubicBezTo>
                    <a:pt x="5" y="15"/>
                    <a:pt x="10" y="8"/>
                    <a:pt x="17" y="4"/>
                  </a:cubicBezTo>
                  <a:cubicBezTo>
                    <a:pt x="22" y="2"/>
                    <a:pt x="27" y="0"/>
                    <a:pt x="32" y="0"/>
                  </a:cubicBezTo>
                  <a:cubicBezTo>
                    <a:pt x="43" y="0"/>
                    <a:pt x="54" y="6"/>
                    <a:pt x="59" y="16"/>
                  </a:cubicBezTo>
                  <a:cubicBezTo>
                    <a:pt x="69" y="33"/>
                    <a:pt x="88" y="44"/>
                    <a:pt x="108" y="44"/>
                  </a:cubicBezTo>
                  <a:cubicBezTo>
                    <a:pt x="129" y="44"/>
                    <a:pt x="147" y="33"/>
                    <a:pt x="158" y="16"/>
                  </a:cubicBezTo>
                  <a:cubicBezTo>
                    <a:pt x="163" y="6"/>
                    <a:pt x="173" y="0"/>
                    <a:pt x="184" y="0"/>
                  </a:cubicBezTo>
                  <a:cubicBezTo>
                    <a:pt x="190" y="0"/>
                    <a:pt x="195" y="2"/>
                    <a:pt x="200" y="4"/>
                  </a:cubicBezTo>
                  <a:cubicBezTo>
                    <a:pt x="205" y="7"/>
                    <a:pt x="208" y="11"/>
                    <a:pt x="211" y="16"/>
                  </a:cubicBezTo>
                  <a:cubicBezTo>
                    <a:pt x="221" y="33"/>
                    <a:pt x="240" y="44"/>
                    <a:pt x="260" y="44"/>
                  </a:cubicBezTo>
                  <a:cubicBezTo>
                    <a:pt x="261" y="44"/>
                    <a:pt x="261" y="44"/>
                    <a:pt x="261" y="44"/>
                  </a:cubicBezTo>
                  <a:cubicBezTo>
                    <a:pt x="281" y="44"/>
                    <a:pt x="300" y="33"/>
                    <a:pt x="310" y="16"/>
                  </a:cubicBezTo>
                  <a:cubicBezTo>
                    <a:pt x="315" y="6"/>
                    <a:pt x="325" y="0"/>
                    <a:pt x="336" y="0"/>
                  </a:cubicBezTo>
                  <a:cubicBezTo>
                    <a:pt x="342" y="0"/>
                    <a:pt x="347" y="2"/>
                    <a:pt x="352" y="4"/>
                  </a:cubicBezTo>
                  <a:cubicBezTo>
                    <a:pt x="359" y="9"/>
                    <a:pt x="364" y="15"/>
                    <a:pt x="366" y="23"/>
                  </a:cubicBezTo>
                  <a:cubicBezTo>
                    <a:pt x="368" y="31"/>
                    <a:pt x="367" y="39"/>
                    <a:pt x="363" y="47"/>
                  </a:cubicBezTo>
                  <a:cubicBezTo>
                    <a:pt x="350" y="70"/>
                    <a:pt x="328" y="88"/>
                    <a:pt x="302" y="98"/>
                  </a:cubicBezTo>
                  <a:cubicBezTo>
                    <a:pt x="291" y="102"/>
                    <a:pt x="291" y="102"/>
                    <a:pt x="291" y="102"/>
                  </a:cubicBezTo>
                  <a:cubicBezTo>
                    <a:pt x="291" y="232"/>
                    <a:pt x="291" y="232"/>
                    <a:pt x="291" y="232"/>
                  </a:cubicBezTo>
                  <a:cubicBezTo>
                    <a:pt x="291" y="291"/>
                    <a:pt x="243" y="339"/>
                    <a:pt x="184" y="339"/>
                  </a:cubicBezTo>
                  <a:close/>
                  <a:moveTo>
                    <a:pt x="175" y="85"/>
                  </a:moveTo>
                  <a:cubicBezTo>
                    <a:pt x="167" y="91"/>
                    <a:pt x="159" y="95"/>
                    <a:pt x="150" y="98"/>
                  </a:cubicBezTo>
                  <a:cubicBezTo>
                    <a:pt x="139" y="102"/>
                    <a:pt x="139" y="102"/>
                    <a:pt x="139" y="102"/>
                  </a:cubicBezTo>
                  <a:cubicBezTo>
                    <a:pt x="139" y="232"/>
                    <a:pt x="139" y="232"/>
                    <a:pt x="139" y="232"/>
                  </a:cubicBezTo>
                  <a:cubicBezTo>
                    <a:pt x="139" y="257"/>
                    <a:pt x="159" y="277"/>
                    <a:pt x="184" y="277"/>
                  </a:cubicBezTo>
                  <a:cubicBezTo>
                    <a:pt x="209" y="277"/>
                    <a:pt x="229" y="257"/>
                    <a:pt x="229" y="232"/>
                  </a:cubicBezTo>
                  <a:cubicBezTo>
                    <a:pt x="229" y="102"/>
                    <a:pt x="229" y="102"/>
                    <a:pt x="229" y="102"/>
                  </a:cubicBezTo>
                  <a:cubicBezTo>
                    <a:pt x="219" y="98"/>
                    <a:pt x="219" y="98"/>
                    <a:pt x="219" y="98"/>
                  </a:cubicBezTo>
                  <a:cubicBezTo>
                    <a:pt x="210" y="95"/>
                    <a:pt x="201" y="91"/>
                    <a:pt x="194" y="86"/>
                  </a:cubicBezTo>
                  <a:cubicBezTo>
                    <a:pt x="184" y="79"/>
                    <a:pt x="184" y="79"/>
                    <a:pt x="184" y="79"/>
                  </a:cubicBezTo>
                  <a:lnTo>
                    <a:pt x="17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1" name="Freeform 30">
              <a:extLst>
                <a:ext uri="{FF2B5EF4-FFF2-40B4-BE49-F238E27FC236}">
                  <a16:creationId xmlns:a16="http://schemas.microsoft.com/office/drawing/2014/main" id="{D2282454-95B5-457C-BBCF-D57EEFCDF9AE}"/>
                </a:ext>
              </a:extLst>
            </p:cNvPr>
            <p:cNvSpPr>
              <a:spLocks noEditPoints="1"/>
            </p:cNvSpPr>
            <p:nvPr/>
          </p:nvSpPr>
          <p:spPr bwMode="auto">
            <a:xfrm>
              <a:off x="-4211638" y="-882650"/>
              <a:ext cx="6799263" cy="8464550"/>
            </a:xfrm>
            <a:custGeom>
              <a:avLst/>
              <a:gdLst>
                <a:gd name="T0" fmla="*/ 97 w 1810"/>
                <a:gd name="T1" fmla="*/ 2120 h 2254"/>
                <a:gd name="T2" fmla="*/ 229 w 1810"/>
                <a:gd name="T3" fmla="*/ 1988 h 2254"/>
                <a:gd name="T4" fmla="*/ 244 w 1810"/>
                <a:gd name="T5" fmla="*/ 1783 h 2254"/>
                <a:gd name="T6" fmla="*/ 201 w 1810"/>
                <a:gd name="T7" fmla="*/ 1065 h 2254"/>
                <a:gd name="T8" fmla="*/ 446 w 1810"/>
                <a:gd name="T9" fmla="*/ 1257 h 2254"/>
                <a:gd name="T10" fmla="*/ 480 w 1810"/>
                <a:gd name="T11" fmla="*/ 1133 h 2254"/>
                <a:gd name="T12" fmla="*/ 403 w 1810"/>
                <a:gd name="T13" fmla="*/ 731 h 2254"/>
                <a:gd name="T14" fmla="*/ 558 w 1810"/>
                <a:gd name="T15" fmla="*/ 3 h 2254"/>
                <a:gd name="T16" fmla="*/ 819 w 1810"/>
                <a:gd name="T17" fmla="*/ 198 h 2254"/>
                <a:gd name="T18" fmla="*/ 953 w 1810"/>
                <a:gd name="T19" fmla="*/ 182 h 2254"/>
                <a:gd name="T20" fmla="*/ 1232 w 1810"/>
                <a:gd name="T21" fmla="*/ 47 h 2254"/>
                <a:gd name="T22" fmla="*/ 1455 w 1810"/>
                <a:gd name="T23" fmla="*/ 46 h 2254"/>
                <a:gd name="T24" fmla="*/ 1504 w 1810"/>
                <a:gd name="T25" fmla="*/ 730 h 2254"/>
                <a:gd name="T26" fmla="*/ 1428 w 1810"/>
                <a:gd name="T27" fmla="*/ 1131 h 2254"/>
                <a:gd name="T28" fmla="*/ 1464 w 1810"/>
                <a:gd name="T29" fmla="*/ 1328 h 2254"/>
                <a:gd name="T30" fmla="*/ 1616 w 1810"/>
                <a:gd name="T31" fmla="*/ 1705 h 2254"/>
                <a:gd name="T32" fmla="*/ 1673 w 1810"/>
                <a:gd name="T33" fmla="*/ 2009 h 2254"/>
                <a:gd name="T34" fmla="*/ 1810 w 1810"/>
                <a:gd name="T35" fmla="*/ 2184 h 2254"/>
                <a:gd name="T36" fmla="*/ 1464 w 1810"/>
                <a:gd name="T37" fmla="*/ 2182 h 2254"/>
                <a:gd name="T38" fmla="*/ 1699 w 1810"/>
                <a:gd name="T39" fmla="*/ 2082 h 2254"/>
                <a:gd name="T40" fmla="*/ 1585 w 1810"/>
                <a:gd name="T41" fmla="*/ 2028 h 2254"/>
                <a:gd name="T42" fmla="*/ 1464 w 1810"/>
                <a:gd name="T43" fmla="*/ 1676 h 2254"/>
                <a:gd name="T44" fmla="*/ 1213 w 1810"/>
                <a:gd name="T45" fmla="*/ 1661 h 2254"/>
                <a:gd name="T46" fmla="*/ 1392 w 1810"/>
                <a:gd name="T47" fmla="*/ 1328 h 2254"/>
                <a:gd name="T48" fmla="*/ 1354 w 1810"/>
                <a:gd name="T49" fmla="*/ 1230 h 2254"/>
                <a:gd name="T50" fmla="*/ 953 w 1810"/>
                <a:gd name="T51" fmla="*/ 1403 h 2254"/>
                <a:gd name="T52" fmla="*/ 530 w 1810"/>
                <a:gd name="T53" fmla="*/ 1205 h 2254"/>
                <a:gd name="T54" fmla="*/ 514 w 1810"/>
                <a:gd name="T55" fmla="*/ 2165 h 2254"/>
                <a:gd name="T56" fmla="*/ 693 w 1810"/>
                <a:gd name="T57" fmla="*/ 1661 h 2254"/>
                <a:gd name="T58" fmla="*/ 765 w 1810"/>
                <a:gd name="T59" fmla="*/ 2182 h 2254"/>
                <a:gd name="T60" fmla="*/ 1177 w 1810"/>
                <a:gd name="T61" fmla="*/ 1625 h 2254"/>
                <a:gd name="T62" fmla="*/ 169 w 1810"/>
                <a:gd name="T63" fmla="*/ 2182 h 2254"/>
                <a:gd name="T64" fmla="*/ 442 w 1810"/>
                <a:gd name="T65" fmla="*/ 1706 h 2254"/>
                <a:gd name="T66" fmla="*/ 324 w 1810"/>
                <a:gd name="T67" fmla="*/ 1785 h 2254"/>
                <a:gd name="T68" fmla="*/ 316 w 1810"/>
                <a:gd name="T69" fmla="*/ 1799 h 2254"/>
                <a:gd name="T70" fmla="*/ 321 w 1810"/>
                <a:gd name="T71" fmla="*/ 2064 h 2254"/>
                <a:gd name="T72" fmla="*/ 190 w 1810"/>
                <a:gd name="T73" fmla="*/ 1169 h 2254"/>
                <a:gd name="T74" fmla="*/ 293 w 1810"/>
                <a:gd name="T75" fmla="*/ 1702 h 2254"/>
                <a:gd name="T76" fmla="*/ 442 w 1810"/>
                <a:gd name="T77" fmla="*/ 1393 h 2254"/>
                <a:gd name="T78" fmla="*/ 638 w 1810"/>
                <a:gd name="T79" fmla="*/ 373 h 2254"/>
                <a:gd name="T80" fmla="*/ 476 w 1810"/>
                <a:gd name="T81" fmla="*/ 855 h 2254"/>
                <a:gd name="T82" fmla="*/ 1431 w 1810"/>
                <a:gd name="T83" fmla="*/ 872 h 2254"/>
                <a:gd name="T84" fmla="*/ 1431 w 1810"/>
                <a:gd name="T85" fmla="*/ 730 h 2254"/>
                <a:gd name="T86" fmla="*/ 1269 w 1810"/>
                <a:gd name="T87" fmla="*/ 373 h 2254"/>
                <a:gd name="T88" fmla="*/ 977 w 1810"/>
                <a:gd name="T89" fmla="*/ 472 h 2254"/>
                <a:gd name="T90" fmla="*/ 929 w 1810"/>
                <a:gd name="T91" fmla="*/ 472 h 2254"/>
                <a:gd name="T92" fmla="*/ 638 w 1810"/>
                <a:gd name="T93" fmla="*/ 373 h 2254"/>
                <a:gd name="T94" fmla="*/ 473 w 1810"/>
                <a:gd name="T95" fmla="*/ 161 h 2254"/>
                <a:gd name="T96" fmla="*/ 720 w 1810"/>
                <a:gd name="T97" fmla="*/ 234 h 2254"/>
                <a:gd name="T98" fmla="*/ 558 w 1810"/>
                <a:gd name="T99" fmla="*/ 76 h 2254"/>
                <a:gd name="T100" fmla="*/ 1284 w 1810"/>
                <a:gd name="T101" fmla="*/ 98 h 2254"/>
                <a:gd name="T102" fmla="*/ 1341 w 1810"/>
                <a:gd name="T103" fmla="*/ 341 h 2254"/>
                <a:gd name="T104" fmla="*/ 1429 w 1810"/>
                <a:gd name="T105" fmla="*/ 157 h 2254"/>
                <a:gd name="T106" fmla="*/ 953 w 1810"/>
                <a:gd name="T107" fmla="*/ 254 h 2254"/>
                <a:gd name="T108" fmla="*/ 785 w 1810"/>
                <a:gd name="T109" fmla="*/ 318 h 2254"/>
                <a:gd name="T110" fmla="*/ 964 w 1810"/>
                <a:gd name="T111" fmla="*/ 396 h 2254"/>
                <a:gd name="T112" fmla="*/ 1124 w 1810"/>
                <a:gd name="T113" fmla="*/ 285 h 2254"/>
                <a:gd name="T114" fmla="*/ 953 w 1810"/>
                <a:gd name="T115" fmla="*/ 254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0" h="2254">
                  <a:moveTo>
                    <a:pt x="167" y="2254"/>
                  </a:moveTo>
                  <a:cubicBezTo>
                    <a:pt x="128" y="2254"/>
                    <a:pt x="97" y="2223"/>
                    <a:pt x="97" y="2184"/>
                  </a:cubicBezTo>
                  <a:cubicBezTo>
                    <a:pt x="97" y="2120"/>
                    <a:pt x="97" y="2120"/>
                    <a:pt x="97" y="2120"/>
                  </a:cubicBezTo>
                  <a:cubicBezTo>
                    <a:pt x="97" y="2059"/>
                    <a:pt x="147" y="2009"/>
                    <a:pt x="208" y="2009"/>
                  </a:cubicBezTo>
                  <a:cubicBezTo>
                    <a:pt x="234" y="2009"/>
                    <a:pt x="234" y="2009"/>
                    <a:pt x="234" y="2009"/>
                  </a:cubicBezTo>
                  <a:cubicBezTo>
                    <a:pt x="229" y="1988"/>
                    <a:pt x="229" y="1988"/>
                    <a:pt x="229" y="1988"/>
                  </a:cubicBezTo>
                  <a:cubicBezTo>
                    <a:pt x="222" y="1962"/>
                    <a:pt x="219" y="1935"/>
                    <a:pt x="219" y="1908"/>
                  </a:cubicBezTo>
                  <a:cubicBezTo>
                    <a:pt x="219" y="1869"/>
                    <a:pt x="226" y="1830"/>
                    <a:pt x="240" y="1793"/>
                  </a:cubicBezTo>
                  <a:cubicBezTo>
                    <a:pt x="244" y="1783"/>
                    <a:pt x="244" y="1783"/>
                    <a:pt x="244" y="1783"/>
                  </a:cubicBezTo>
                  <a:cubicBezTo>
                    <a:pt x="176" y="1714"/>
                    <a:pt x="176" y="1714"/>
                    <a:pt x="176" y="1714"/>
                  </a:cubicBezTo>
                  <a:cubicBezTo>
                    <a:pt x="0" y="1538"/>
                    <a:pt x="0" y="1252"/>
                    <a:pt x="176" y="1076"/>
                  </a:cubicBezTo>
                  <a:cubicBezTo>
                    <a:pt x="182" y="1069"/>
                    <a:pt x="192" y="1065"/>
                    <a:pt x="201" y="1065"/>
                  </a:cubicBezTo>
                  <a:cubicBezTo>
                    <a:pt x="211" y="1065"/>
                    <a:pt x="220" y="1069"/>
                    <a:pt x="227" y="1076"/>
                  </a:cubicBezTo>
                  <a:cubicBezTo>
                    <a:pt x="442" y="1291"/>
                    <a:pt x="442" y="1291"/>
                    <a:pt x="442" y="1291"/>
                  </a:cubicBezTo>
                  <a:cubicBezTo>
                    <a:pt x="446" y="1257"/>
                    <a:pt x="446" y="1257"/>
                    <a:pt x="446" y="1257"/>
                  </a:cubicBezTo>
                  <a:cubicBezTo>
                    <a:pt x="449" y="1237"/>
                    <a:pt x="453" y="1217"/>
                    <a:pt x="458" y="1198"/>
                  </a:cubicBezTo>
                  <a:cubicBezTo>
                    <a:pt x="463" y="1179"/>
                    <a:pt x="469" y="1160"/>
                    <a:pt x="477" y="1141"/>
                  </a:cubicBezTo>
                  <a:cubicBezTo>
                    <a:pt x="480" y="1133"/>
                    <a:pt x="480" y="1133"/>
                    <a:pt x="480" y="1133"/>
                  </a:cubicBezTo>
                  <a:cubicBezTo>
                    <a:pt x="476" y="1126"/>
                    <a:pt x="476" y="1126"/>
                    <a:pt x="476" y="1126"/>
                  </a:cubicBezTo>
                  <a:cubicBezTo>
                    <a:pt x="429" y="1044"/>
                    <a:pt x="404" y="951"/>
                    <a:pt x="403" y="855"/>
                  </a:cubicBezTo>
                  <a:cubicBezTo>
                    <a:pt x="403" y="731"/>
                    <a:pt x="403" y="731"/>
                    <a:pt x="403" y="731"/>
                  </a:cubicBezTo>
                  <a:cubicBezTo>
                    <a:pt x="401" y="161"/>
                    <a:pt x="401" y="161"/>
                    <a:pt x="401" y="161"/>
                  </a:cubicBezTo>
                  <a:cubicBezTo>
                    <a:pt x="401" y="119"/>
                    <a:pt x="417" y="80"/>
                    <a:pt x="447" y="50"/>
                  </a:cubicBezTo>
                  <a:cubicBezTo>
                    <a:pt x="476" y="20"/>
                    <a:pt x="515" y="4"/>
                    <a:pt x="558" y="3"/>
                  </a:cubicBezTo>
                  <a:cubicBezTo>
                    <a:pt x="558" y="3"/>
                    <a:pt x="558" y="3"/>
                    <a:pt x="558" y="3"/>
                  </a:cubicBezTo>
                  <a:cubicBezTo>
                    <a:pt x="600" y="3"/>
                    <a:pt x="639" y="20"/>
                    <a:pt x="669" y="49"/>
                  </a:cubicBezTo>
                  <a:cubicBezTo>
                    <a:pt x="819" y="198"/>
                    <a:pt x="819" y="198"/>
                    <a:pt x="819" y="198"/>
                  </a:cubicBezTo>
                  <a:cubicBezTo>
                    <a:pt x="828" y="196"/>
                    <a:pt x="828" y="196"/>
                    <a:pt x="828" y="196"/>
                  </a:cubicBezTo>
                  <a:cubicBezTo>
                    <a:pt x="869" y="187"/>
                    <a:pt x="910" y="182"/>
                    <a:pt x="951" y="182"/>
                  </a:cubicBezTo>
                  <a:cubicBezTo>
                    <a:pt x="953" y="182"/>
                    <a:pt x="953" y="182"/>
                    <a:pt x="953" y="182"/>
                  </a:cubicBezTo>
                  <a:cubicBezTo>
                    <a:pt x="994" y="182"/>
                    <a:pt x="1035" y="186"/>
                    <a:pt x="1074" y="195"/>
                  </a:cubicBezTo>
                  <a:cubicBezTo>
                    <a:pt x="1083" y="197"/>
                    <a:pt x="1083" y="197"/>
                    <a:pt x="1083" y="197"/>
                  </a:cubicBezTo>
                  <a:cubicBezTo>
                    <a:pt x="1232" y="47"/>
                    <a:pt x="1232" y="47"/>
                    <a:pt x="1232" y="47"/>
                  </a:cubicBezTo>
                  <a:cubicBezTo>
                    <a:pt x="1262" y="17"/>
                    <a:pt x="1301" y="0"/>
                    <a:pt x="1343" y="0"/>
                  </a:cubicBezTo>
                  <a:cubicBezTo>
                    <a:pt x="1344" y="0"/>
                    <a:pt x="1344" y="0"/>
                    <a:pt x="1344" y="0"/>
                  </a:cubicBezTo>
                  <a:cubicBezTo>
                    <a:pt x="1386" y="0"/>
                    <a:pt x="1425" y="17"/>
                    <a:pt x="1455" y="46"/>
                  </a:cubicBezTo>
                  <a:cubicBezTo>
                    <a:pt x="1484" y="76"/>
                    <a:pt x="1501" y="115"/>
                    <a:pt x="1501" y="157"/>
                  </a:cubicBezTo>
                  <a:cubicBezTo>
                    <a:pt x="1504" y="729"/>
                    <a:pt x="1504" y="729"/>
                    <a:pt x="1504" y="729"/>
                  </a:cubicBezTo>
                  <a:cubicBezTo>
                    <a:pt x="1504" y="730"/>
                    <a:pt x="1504" y="730"/>
                    <a:pt x="1504" y="730"/>
                  </a:cubicBezTo>
                  <a:cubicBezTo>
                    <a:pt x="1504" y="851"/>
                    <a:pt x="1504" y="851"/>
                    <a:pt x="1504" y="851"/>
                  </a:cubicBezTo>
                  <a:cubicBezTo>
                    <a:pt x="1504" y="948"/>
                    <a:pt x="1479" y="1044"/>
                    <a:pt x="1431" y="1127"/>
                  </a:cubicBezTo>
                  <a:cubicBezTo>
                    <a:pt x="1428" y="1131"/>
                    <a:pt x="1428" y="1131"/>
                    <a:pt x="1428" y="1131"/>
                  </a:cubicBezTo>
                  <a:cubicBezTo>
                    <a:pt x="1428" y="1139"/>
                    <a:pt x="1428" y="1139"/>
                    <a:pt x="1428" y="1139"/>
                  </a:cubicBezTo>
                  <a:cubicBezTo>
                    <a:pt x="1429" y="1142"/>
                    <a:pt x="1429" y="1142"/>
                    <a:pt x="1429" y="1142"/>
                  </a:cubicBezTo>
                  <a:cubicBezTo>
                    <a:pt x="1453" y="1201"/>
                    <a:pt x="1464" y="1264"/>
                    <a:pt x="1464" y="1328"/>
                  </a:cubicBezTo>
                  <a:cubicBezTo>
                    <a:pt x="1464" y="1601"/>
                    <a:pt x="1464" y="1601"/>
                    <a:pt x="1464" y="1601"/>
                  </a:cubicBezTo>
                  <a:cubicBezTo>
                    <a:pt x="1476" y="1605"/>
                    <a:pt x="1476" y="1605"/>
                    <a:pt x="1476" y="1605"/>
                  </a:cubicBezTo>
                  <a:cubicBezTo>
                    <a:pt x="1531" y="1625"/>
                    <a:pt x="1579" y="1659"/>
                    <a:pt x="1616" y="1705"/>
                  </a:cubicBezTo>
                  <a:cubicBezTo>
                    <a:pt x="1663" y="1762"/>
                    <a:pt x="1688" y="1835"/>
                    <a:pt x="1688" y="1908"/>
                  </a:cubicBezTo>
                  <a:cubicBezTo>
                    <a:pt x="1688" y="1935"/>
                    <a:pt x="1685" y="1962"/>
                    <a:pt x="1678" y="1988"/>
                  </a:cubicBezTo>
                  <a:cubicBezTo>
                    <a:pt x="1673" y="2009"/>
                    <a:pt x="1673" y="2009"/>
                    <a:pt x="1673" y="2009"/>
                  </a:cubicBezTo>
                  <a:cubicBezTo>
                    <a:pt x="1699" y="2009"/>
                    <a:pt x="1699" y="2009"/>
                    <a:pt x="1699" y="2009"/>
                  </a:cubicBezTo>
                  <a:cubicBezTo>
                    <a:pt x="1760" y="2009"/>
                    <a:pt x="1810" y="2059"/>
                    <a:pt x="1810" y="2120"/>
                  </a:cubicBezTo>
                  <a:cubicBezTo>
                    <a:pt x="1810" y="2184"/>
                    <a:pt x="1810" y="2184"/>
                    <a:pt x="1810" y="2184"/>
                  </a:cubicBezTo>
                  <a:cubicBezTo>
                    <a:pt x="1810" y="2223"/>
                    <a:pt x="1779" y="2254"/>
                    <a:pt x="1740" y="2254"/>
                  </a:cubicBezTo>
                  <a:lnTo>
                    <a:pt x="167" y="2254"/>
                  </a:lnTo>
                  <a:close/>
                  <a:moveTo>
                    <a:pt x="1464" y="2182"/>
                  </a:moveTo>
                  <a:cubicBezTo>
                    <a:pt x="1738" y="2182"/>
                    <a:pt x="1738" y="2182"/>
                    <a:pt x="1738" y="2182"/>
                  </a:cubicBezTo>
                  <a:cubicBezTo>
                    <a:pt x="1738" y="2120"/>
                    <a:pt x="1738" y="2120"/>
                    <a:pt x="1738" y="2120"/>
                  </a:cubicBezTo>
                  <a:cubicBezTo>
                    <a:pt x="1738" y="2099"/>
                    <a:pt x="1720" y="2082"/>
                    <a:pt x="1699" y="2082"/>
                  </a:cubicBezTo>
                  <a:cubicBezTo>
                    <a:pt x="1617" y="2082"/>
                    <a:pt x="1617" y="2082"/>
                    <a:pt x="1617" y="2082"/>
                  </a:cubicBezTo>
                  <a:cubicBezTo>
                    <a:pt x="1604" y="2082"/>
                    <a:pt x="1593" y="2075"/>
                    <a:pt x="1586" y="2064"/>
                  </a:cubicBezTo>
                  <a:cubicBezTo>
                    <a:pt x="1580" y="2053"/>
                    <a:pt x="1579" y="2039"/>
                    <a:pt x="1585" y="2028"/>
                  </a:cubicBezTo>
                  <a:cubicBezTo>
                    <a:pt x="1605" y="1992"/>
                    <a:pt x="1616" y="1950"/>
                    <a:pt x="1616" y="1908"/>
                  </a:cubicBezTo>
                  <a:cubicBezTo>
                    <a:pt x="1616" y="1819"/>
                    <a:pt x="1568" y="1736"/>
                    <a:pt x="1490" y="1691"/>
                  </a:cubicBezTo>
                  <a:cubicBezTo>
                    <a:pt x="1464" y="1676"/>
                    <a:pt x="1464" y="1676"/>
                    <a:pt x="1464" y="1676"/>
                  </a:cubicBezTo>
                  <a:lnTo>
                    <a:pt x="1464" y="2182"/>
                  </a:lnTo>
                  <a:close/>
                  <a:moveTo>
                    <a:pt x="1177" y="1625"/>
                  </a:moveTo>
                  <a:cubicBezTo>
                    <a:pt x="1197" y="1625"/>
                    <a:pt x="1213" y="1641"/>
                    <a:pt x="1213" y="1661"/>
                  </a:cubicBezTo>
                  <a:cubicBezTo>
                    <a:pt x="1213" y="2182"/>
                    <a:pt x="1213" y="2182"/>
                    <a:pt x="1213" y="2182"/>
                  </a:cubicBezTo>
                  <a:cubicBezTo>
                    <a:pt x="1392" y="2182"/>
                    <a:pt x="1392" y="2182"/>
                    <a:pt x="1392" y="2182"/>
                  </a:cubicBezTo>
                  <a:cubicBezTo>
                    <a:pt x="1392" y="1328"/>
                    <a:pt x="1392" y="1328"/>
                    <a:pt x="1392" y="1328"/>
                  </a:cubicBezTo>
                  <a:cubicBezTo>
                    <a:pt x="1392" y="1298"/>
                    <a:pt x="1389" y="1268"/>
                    <a:pt x="1383" y="1238"/>
                  </a:cubicBezTo>
                  <a:cubicBezTo>
                    <a:pt x="1376" y="1206"/>
                    <a:pt x="1376" y="1206"/>
                    <a:pt x="1376" y="1206"/>
                  </a:cubicBezTo>
                  <a:cubicBezTo>
                    <a:pt x="1354" y="1230"/>
                    <a:pt x="1354" y="1230"/>
                    <a:pt x="1354" y="1230"/>
                  </a:cubicBezTo>
                  <a:cubicBezTo>
                    <a:pt x="1351" y="1233"/>
                    <a:pt x="1347" y="1237"/>
                    <a:pt x="1344" y="1240"/>
                  </a:cubicBezTo>
                  <a:cubicBezTo>
                    <a:pt x="1240" y="1345"/>
                    <a:pt x="1103" y="1402"/>
                    <a:pt x="956" y="1403"/>
                  </a:cubicBezTo>
                  <a:cubicBezTo>
                    <a:pt x="953" y="1403"/>
                    <a:pt x="953" y="1403"/>
                    <a:pt x="953" y="1403"/>
                  </a:cubicBezTo>
                  <a:cubicBezTo>
                    <a:pt x="807" y="1403"/>
                    <a:pt x="670" y="1346"/>
                    <a:pt x="566" y="1243"/>
                  </a:cubicBezTo>
                  <a:cubicBezTo>
                    <a:pt x="561" y="1238"/>
                    <a:pt x="556" y="1234"/>
                    <a:pt x="553" y="1230"/>
                  </a:cubicBezTo>
                  <a:cubicBezTo>
                    <a:pt x="530" y="1205"/>
                    <a:pt x="530" y="1205"/>
                    <a:pt x="530" y="1205"/>
                  </a:cubicBezTo>
                  <a:cubicBezTo>
                    <a:pt x="523" y="1238"/>
                    <a:pt x="523" y="1238"/>
                    <a:pt x="523" y="1238"/>
                  </a:cubicBezTo>
                  <a:cubicBezTo>
                    <a:pt x="517" y="1267"/>
                    <a:pt x="514" y="1298"/>
                    <a:pt x="514" y="1328"/>
                  </a:cubicBezTo>
                  <a:cubicBezTo>
                    <a:pt x="514" y="1336"/>
                    <a:pt x="514" y="2105"/>
                    <a:pt x="514" y="2165"/>
                  </a:cubicBezTo>
                  <a:cubicBezTo>
                    <a:pt x="514" y="2182"/>
                    <a:pt x="514" y="2182"/>
                    <a:pt x="514" y="2182"/>
                  </a:cubicBezTo>
                  <a:cubicBezTo>
                    <a:pt x="693" y="2182"/>
                    <a:pt x="693" y="2182"/>
                    <a:pt x="693" y="2182"/>
                  </a:cubicBezTo>
                  <a:cubicBezTo>
                    <a:pt x="693" y="1661"/>
                    <a:pt x="693" y="1661"/>
                    <a:pt x="693" y="1661"/>
                  </a:cubicBezTo>
                  <a:cubicBezTo>
                    <a:pt x="693" y="1641"/>
                    <a:pt x="709" y="1625"/>
                    <a:pt x="729" y="1625"/>
                  </a:cubicBezTo>
                  <a:cubicBezTo>
                    <a:pt x="749" y="1625"/>
                    <a:pt x="765" y="1641"/>
                    <a:pt x="765" y="1661"/>
                  </a:cubicBezTo>
                  <a:cubicBezTo>
                    <a:pt x="765" y="2182"/>
                    <a:pt x="765" y="2182"/>
                    <a:pt x="765" y="2182"/>
                  </a:cubicBezTo>
                  <a:cubicBezTo>
                    <a:pt x="1141" y="2182"/>
                    <a:pt x="1141" y="2182"/>
                    <a:pt x="1141" y="2182"/>
                  </a:cubicBezTo>
                  <a:cubicBezTo>
                    <a:pt x="1141" y="1661"/>
                    <a:pt x="1141" y="1661"/>
                    <a:pt x="1141" y="1661"/>
                  </a:cubicBezTo>
                  <a:cubicBezTo>
                    <a:pt x="1141" y="1641"/>
                    <a:pt x="1157" y="1625"/>
                    <a:pt x="1177" y="1625"/>
                  </a:cubicBezTo>
                  <a:close/>
                  <a:moveTo>
                    <a:pt x="208" y="2082"/>
                  </a:moveTo>
                  <a:cubicBezTo>
                    <a:pt x="187" y="2082"/>
                    <a:pt x="169" y="2099"/>
                    <a:pt x="169" y="2120"/>
                  </a:cubicBezTo>
                  <a:cubicBezTo>
                    <a:pt x="169" y="2182"/>
                    <a:pt x="169" y="2182"/>
                    <a:pt x="169" y="2182"/>
                  </a:cubicBezTo>
                  <a:cubicBezTo>
                    <a:pt x="442" y="2182"/>
                    <a:pt x="442" y="2182"/>
                    <a:pt x="442" y="2182"/>
                  </a:cubicBezTo>
                  <a:cubicBezTo>
                    <a:pt x="442" y="2165"/>
                    <a:pt x="442" y="2165"/>
                    <a:pt x="442" y="2165"/>
                  </a:cubicBezTo>
                  <a:cubicBezTo>
                    <a:pt x="442" y="2102"/>
                    <a:pt x="442" y="1710"/>
                    <a:pt x="442" y="1706"/>
                  </a:cubicBezTo>
                  <a:cubicBezTo>
                    <a:pt x="442" y="1677"/>
                    <a:pt x="442" y="1677"/>
                    <a:pt x="442" y="1677"/>
                  </a:cubicBezTo>
                  <a:cubicBezTo>
                    <a:pt x="416" y="1692"/>
                    <a:pt x="416" y="1692"/>
                    <a:pt x="416" y="1692"/>
                  </a:cubicBezTo>
                  <a:cubicBezTo>
                    <a:pt x="378" y="1714"/>
                    <a:pt x="346" y="1747"/>
                    <a:pt x="324" y="1785"/>
                  </a:cubicBezTo>
                  <a:cubicBezTo>
                    <a:pt x="321" y="1789"/>
                    <a:pt x="321" y="1789"/>
                    <a:pt x="321" y="1789"/>
                  </a:cubicBezTo>
                  <a:cubicBezTo>
                    <a:pt x="321" y="1790"/>
                    <a:pt x="321" y="1790"/>
                    <a:pt x="321" y="1790"/>
                  </a:cubicBezTo>
                  <a:cubicBezTo>
                    <a:pt x="320" y="1793"/>
                    <a:pt x="318" y="1796"/>
                    <a:pt x="316" y="1799"/>
                  </a:cubicBezTo>
                  <a:cubicBezTo>
                    <a:pt x="300" y="1833"/>
                    <a:pt x="291" y="1871"/>
                    <a:pt x="291" y="1908"/>
                  </a:cubicBezTo>
                  <a:cubicBezTo>
                    <a:pt x="291" y="1950"/>
                    <a:pt x="302" y="1992"/>
                    <a:pt x="322" y="2028"/>
                  </a:cubicBezTo>
                  <a:cubicBezTo>
                    <a:pt x="328" y="2039"/>
                    <a:pt x="327" y="2053"/>
                    <a:pt x="321" y="2064"/>
                  </a:cubicBezTo>
                  <a:cubicBezTo>
                    <a:pt x="314" y="2075"/>
                    <a:pt x="302" y="2082"/>
                    <a:pt x="290" y="2082"/>
                  </a:cubicBezTo>
                  <a:lnTo>
                    <a:pt x="208" y="2082"/>
                  </a:lnTo>
                  <a:close/>
                  <a:moveTo>
                    <a:pt x="190" y="1169"/>
                  </a:moveTo>
                  <a:cubicBezTo>
                    <a:pt x="79" y="1319"/>
                    <a:pt x="95" y="1531"/>
                    <a:pt x="227" y="1663"/>
                  </a:cubicBezTo>
                  <a:cubicBezTo>
                    <a:pt x="281" y="1717"/>
                    <a:pt x="281" y="1717"/>
                    <a:pt x="281" y="1717"/>
                  </a:cubicBezTo>
                  <a:cubicBezTo>
                    <a:pt x="293" y="1702"/>
                    <a:pt x="293" y="1702"/>
                    <a:pt x="293" y="1702"/>
                  </a:cubicBezTo>
                  <a:cubicBezTo>
                    <a:pt x="329" y="1658"/>
                    <a:pt x="377" y="1625"/>
                    <a:pt x="430" y="1605"/>
                  </a:cubicBezTo>
                  <a:cubicBezTo>
                    <a:pt x="442" y="1601"/>
                    <a:pt x="442" y="1601"/>
                    <a:pt x="442" y="1601"/>
                  </a:cubicBezTo>
                  <a:cubicBezTo>
                    <a:pt x="442" y="1393"/>
                    <a:pt x="442" y="1393"/>
                    <a:pt x="442" y="1393"/>
                  </a:cubicBezTo>
                  <a:cubicBezTo>
                    <a:pt x="202" y="1153"/>
                    <a:pt x="202" y="1153"/>
                    <a:pt x="202" y="1153"/>
                  </a:cubicBezTo>
                  <a:lnTo>
                    <a:pt x="190" y="1169"/>
                  </a:lnTo>
                  <a:close/>
                  <a:moveTo>
                    <a:pt x="638" y="373"/>
                  </a:moveTo>
                  <a:cubicBezTo>
                    <a:pt x="633" y="378"/>
                    <a:pt x="633" y="378"/>
                    <a:pt x="633" y="378"/>
                  </a:cubicBezTo>
                  <a:cubicBezTo>
                    <a:pt x="533" y="468"/>
                    <a:pt x="476" y="597"/>
                    <a:pt x="476" y="731"/>
                  </a:cubicBezTo>
                  <a:cubicBezTo>
                    <a:pt x="476" y="855"/>
                    <a:pt x="476" y="855"/>
                    <a:pt x="476" y="855"/>
                  </a:cubicBezTo>
                  <a:cubicBezTo>
                    <a:pt x="477" y="1117"/>
                    <a:pt x="691" y="1330"/>
                    <a:pt x="953" y="1330"/>
                  </a:cubicBezTo>
                  <a:cubicBezTo>
                    <a:pt x="955" y="1330"/>
                    <a:pt x="955" y="1330"/>
                    <a:pt x="955" y="1330"/>
                  </a:cubicBezTo>
                  <a:cubicBezTo>
                    <a:pt x="1211" y="1329"/>
                    <a:pt x="1421" y="1125"/>
                    <a:pt x="1431" y="872"/>
                  </a:cubicBezTo>
                  <a:cubicBezTo>
                    <a:pt x="1431" y="872"/>
                    <a:pt x="1431" y="872"/>
                    <a:pt x="1431" y="872"/>
                  </a:cubicBezTo>
                  <a:cubicBezTo>
                    <a:pt x="1431" y="855"/>
                    <a:pt x="1431" y="855"/>
                    <a:pt x="1431" y="855"/>
                  </a:cubicBezTo>
                  <a:cubicBezTo>
                    <a:pt x="1431" y="730"/>
                    <a:pt x="1431" y="730"/>
                    <a:pt x="1431" y="730"/>
                  </a:cubicBezTo>
                  <a:cubicBezTo>
                    <a:pt x="1431" y="602"/>
                    <a:pt x="1380" y="482"/>
                    <a:pt x="1290" y="393"/>
                  </a:cubicBezTo>
                  <a:cubicBezTo>
                    <a:pt x="1285" y="387"/>
                    <a:pt x="1279" y="383"/>
                    <a:pt x="1274" y="378"/>
                  </a:cubicBezTo>
                  <a:cubicBezTo>
                    <a:pt x="1269" y="373"/>
                    <a:pt x="1269" y="373"/>
                    <a:pt x="1269" y="373"/>
                  </a:cubicBezTo>
                  <a:cubicBezTo>
                    <a:pt x="1188" y="373"/>
                    <a:pt x="1188" y="373"/>
                    <a:pt x="1188" y="373"/>
                  </a:cubicBezTo>
                  <a:cubicBezTo>
                    <a:pt x="1147" y="373"/>
                    <a:pt x="1108" y="382"/>
                    <a:pt x="1071" y="399"/>
                  </a:cubicBezTo>
                  <a:cubicBezTo>
                    <a:pt x="1035" y="416"/>
                    <a:pt x="1003" y="441"/>
                    <a:pt x="977" y="472"/>
                  </a:cubicBezTo>
                  <a:cubicBezTo>
                    <a:pt x="975" y="473"/>
                    <a:pt x="974" y="474"/>
                    <a:pt x="973" y="476"/>
                  </a:cubicBezTo>
                  <a:cubicBezTo>
                    <a:pt x="967" y="480"/>
                    <a:pt x="960" y="483"/>
                    <a:pt x="953" y="483"/>
                  </a:cubicBezTo>
                  <a:cubicBezTo>
                    <a:pt x="944" y="483"/>
                    <a:pt x="935" y="479"/>
                    <a:pt x="929" y="472"/>
                  </a:cubicBezTo>
                  <a:cubicBezTo>
                    <a:pt x="877" y="409"/>
                    <a:pt x="800" y="373"/>
                    <a:pt x="718" y="373"/>
                  </a:cubicBezTo>
                  <a:cubicBezTo>
                    <a:pt x="717" y="373"/>
                    <a:pt x="717" y="373"/>
                    <a:pt x="717" y="373"/>
                  </a:cubicBezTo>
                  <a:lnTo>
                    <a:pt x="638" y="373"/>
                  </a:lnTo>
                  <a:close/>
                  <a:moveTo>
                    <a:pt x="558" y="76"/>
                  </a:moveTo>
                  <a:cubicBezTo>
                    <a:pt x="535" y="76"/>
                    <a:pt x="514" y="85"/>
                    <a:pt x="498" y="101"/>
                  </a:cubicBezTo>
                  <a:cubicBezTo>
                    <a:pt x="482" y="117"/>
                    <a:pt x="473" y="138"/>
                    <a:pt x="473" y="161"/>
                  </a:cubicBezTo>
                  <a:cubicBezTo>
                    <a:pt x="475" y="456"/>
                    <a:pt x="475" y="456"/>
                    <a:pt x="475" y="456"/>
                  </a:cubicBezTo>
                  <a:cubicBezTo>
                    <a:pt x="505" y="413"/>
                    <a:pt x="505" y="413"/>
                    <a:pt x="505" y="413"/>
                  </a:cubicBezTo>
                  <a:cubicBezTo>
                    <a:pt x="560" y="336"/>
                    <a:pt x="635" y="274"/>
                    <a:pt x="720" y="234"/>
                  </a:cubicBezTo>
                  <a:cubicBezTo>
                    <a:pt x="742" y="223"/>
                    <a:pt x="742" y="223"/>
                    <a:pt x="742" y="223"/>
                  </a:cubicBezTo>
                  <a:cubicBezTo>
                    <a:pt x="618" y="101"/>
                    <a:pt x="618" y="101"/>
                    <a:pt x="618" y="101"/>
                  </a:cubicBezTo>
                  <a:cubicBezTo>
                    <a:pt x="602" y="85"/>
                    <a:pt x="581" y="76"/>
                    <a:pt x="558" y="76"/>
                  </a:cubicBezTo>
                  <a:cubicBezTo>
                    <a:pt x="558" y="76"/>
                    <a:pt x="558" y="76"/>
                    <a:pt x="558" y="76"/>
                  </a:cubicBezTo>
                  <a:close/>
                  <a:moveTo>
                    <a:pt x="1344" y="73"/>
                  </a:moveTo>
                  <a:cubicBezTo>
                    <a:pt x="1321" y="73"/>
                    <a:pt x="1300" y="82"/>
                    <a:pt x="1284" y="98"/>
                  </a:cubicBezTo>
                  <a:cubicBezTo>
                    <a:pt x="1161" y="221"/>
                    <a:pt x="1161" y="221"/>
                    <a:pt x="1161" y="221"/>
                  </a:cubicBezTo>
                  <a:cubicBezTo>
                    <a:pt x="1183" y="232"/>
                    <a:pt x="1183" y="232"/>
                    <a:pt x="1183" y="232"/>
                  </a:cubicBezTo>
                  <a:cubicBezTo>
                    <a:pt x="1242" y="258"/>
                    <a:pt x="1295" y="295"/>
                    <a:pt x="1341" y="341"/>
                  </a:cubicBezTo>
                  <a:cubicBezTo>
                    <a:pt x="1362" y="362"/>
                    <a:pt x="1382" y="385"/>
                    <a:pt x="1399" y="409"/>
                  </a:cubicBezTo>
                  <a:cubicBezTo>
                    <a:pt x="1430" y="451"/>
                    <a:pt x="1430" y="451"/>
                    <a:pt x="1430" y="451"/>
                  </a:cubicBezTo>
                  <a:cubicBezTo>
                    <a:pt x="1429" y="157"/>
                    <a:pt x="1429" y="157"/>
                    <a:pt x="1429" y="157"/>
                  </a:cubicBezTo>
                  <a:cubicBezTo>
                    <a:pt x="1429" y="135"/>
                    <a:pt x="1420" y="113"/>
                    <a:pt x="1404" y="97"/>
                  </a:cubicBezTo>
                  <a:cubicBezTo>
                    <a:pt x="1388" y="82"/>
                    <a:pt x="1366" y="73"/>
                    <a:pt x="1344" y="73"/>
                  </a:cubicBezTo>
                  <a:close/>
                  <a:moveTo>
                    <a:pt x="953" y="254"/>
                  </a:moveTo>
                  <a:cubicBezTo>
                    <a:pt x="894" y="254"/>
                    <a:pt x="837" y="265"/>
                    <a:pt x="783" y="286"/>
                  </a:cubicBezTo>
                  <a:cubicBezTo>
                    <a:pt x="728" y="307"/>
                    <a:pt x="728" y="307"/>
                    <a:pt x="728" y="307"/>
                  </a:cubicBezTo>
                  <a:cubicBezTo>
                    <a:pt x="785" y="318"/>
                    <a:pt x="785" y="318"/>
                    <a:pt x="785" y="318"/>
                  </a:cubicBezTo>
                  <a:cubicBezTo>
                    <a:pt x="843" y="330"/>
                    <a:pt x="897" y="357"/>
                    <a:pt x="942" y="396"/>
                  </a:cubicBezTo>
                  <a:cubicBezTo>
                    <a:pt x="953" y="406"/>
                    <a:pt x="953" y="406"/>
                    <a:pt x="953" y="406"/>
                  </a:cubicBezTo>
                  <a:cubicBezTo>
                    <a:pt x="964" y="396"/>
                    <a:pt x="964" y="396"/>
                    <a:pt x="964" y="396"/>
                  </a:cubicBezTo>
                  <a:cubicBezTo>
                    <a:pt x="1009" y="357"/>
                    <a:pt x="1063" y="330"/>
                    <a:pt x="1122" y="318"/>
                  </a:cubicBezTo>
                  <a:cubicBezTo>
                    <a:pt x="1179" y="306"/>
                    <a:pt x="1179" y="306"/>
                    <a:pt x="1179" y="306"/>
                  </a:cubicBezTo>
                  <a:cubicBezTo>
                    <a:pt x="1124" y="285"/>
                    <a:pt x="1124" y="285"/>
                    <a:pt x="1124" y="285"/>
                  </a:cubicBezTo>
                  <a:cubicBezTo>
                    <a:pt x="1071" y="265"/>
                    <a:pt x="1013" y="254"/>
                    <a:pt x="954" y="254"/>
                  </a:cubicBezTo>
                  <a:cubicBezTo>
                    <a:pt x="954" y="254"/>
                    <a:pt x="954" y="254"/>
                    <a:pt x="954" y="254"/>
                  </a:cubicBezTo>
                  <a:lnTo>
                    <a:pt x="95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2" name="Freeform 31">
              <a:extLst>
                <a:ext uri="{FF2B5EF4-FFF2-40B4-BE49-F238E27FC236}">
                  <a16:creationId xmlns:a16="http://schemas.microsoft.com/office/drawing/2014/main" id="{690F48C7-4CEC-4DC0-9566-7A0F4564EFD5}"/>
                </a:ext>
              </a:extLst>
            </p:cNvPr>
            <p:cNvSpPr>
              <a:spLocks/>
            </p:cNvSpPr>
            <p:nvPr/>
          </p:nvSpPr>
          <p:spPr bwMode="auto">
            <a:xfrm>
              <a:off x="-1619250" y="1127125"/>
              <a:ext cx="303213" cy="303213"/>
            </a:xfrm>
            <a:custGeom>
              <a:avLst/>
              <a:gdLst>
                <a:gd name="T0" fmla="*/ 40 w 81"/>
                <a:gd name="T1" fmla="*/ 81 h 81"/>
                <a:gd name="T2" fmla="*/ 36 w 81"/>
                <a:gd name="T3" fmla="*/ 81 h 81"/>
                <a:gd name="T4" fmla="*/ 21 w 81"/>
                <a:gd name="T5" fmla="*/ 76 h 81"/>
                <a:gd name="T6" fmla="*/ 15 w 81"/>
                <a:gd name="T7" fmla="*/ 72 h 81"/>
                <a:gd name="T8" fmla="*/ 0 w 81"/>
                <a:gd name="T9" fmla="*/ 41 h 81"/>
                <a:gd name="T10" fmla="*/ 3 w 81"/>
                <a:gd name="T11" fmla="*/ 25 h 81"/>
                <a:gd name="T12" fmla="*/ 21 w 81"/>
                <a:gd name="T13" fmla="*/ 5 h 81"/>
                <a:gd name="T14" fmla="*/ 28 w 81"/>
                <a:gd name="T15" fmla="*/ 2 h 81"/>
                <a:gd name="T16" fmla="*/ 40 w 81"/>
                <a:gd name="T17" fmla="*/ 0 h 81"/>
                <a:gd name="T18" fmla="*/ 52 w 81"/>
                <a:gd name="T19" fmla="*/ 2 h 81"/>
                <a:gd name="T20" fmla="*/ 60 w 81"/>
                <a:gd name="T21" fmla="*/ 5 h 81"/>
                <a:gd name="T22" fmla="*/ 66 w 81"/>
                <a:gd name="T23" fmla="*/ 10 h 81"/>
                <a:gd name="T24" fmla="*/ 74 w 81"/>
                <a:gd name="T25" fmla="*/ 18 h 81"/>
                <a:gd name="T26" fmla="*/ 78 w 81"/>
                <a:gd name="T27" fmla="*/ 25 h 81"/>
                <a:gd name="T28" fmla="*/ 81 w 81"/>
                <a:gd name="T29" fmla="*/ 41 h 81"/>
                <a:gd name="T30" fmla="*/ 79 w 81"/>
                <a:gd name="T31" fmla="*/ 52 h 81"/>
                <a:gd name="T32" fmla="*/ 78 w 81"/>
                <a:gd name="T33" fmla="*/ 56 h 81"/>
                <a:gd name="T34" fmla="*/ 66 w 81"/>
                <a:gd name="T35" fmla="*/ 72 h 81"/>
                <a:gd name="T36" fmla="*/ 60 w 81"/>
                <a:gd name="T37" fmla="*/ 76 h 81"/>
                <a:gd name="T38" fmla="*/ 52 w 81"/>
                <a:gd name="T39" fmla="*/ 79 h 81"/>
                <a:gd name="T40" fmla="*/ 40 w 81"/>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81">
                  <a:moveTo>
                    <a:pt x="40" y="81"/>
                  </a:moveTo>
                  <a:cubicBezTo>
                    <a:pt x="39" y="81"/>
                    <a:pt x="38" y="81"/>
                    <a:pt x="36" y="81"/>
                  </a:cubicBezTo>
                  <a:cubicBezTo>
                    <a:pt x="31" y="80"/>
                    <a:pt x="26" y="79"/>
                    <a:pt x="21" y="76"/>
                  </a:cubicBezTo>
                  <a:cubicBezTo>
                    <a:pt x="19" y="75"/>
                    <a:pt x="17" y="73"/>
                    <a:pt x="15" y="72"/>
                  </a:cubicBezTo>
                  <a:cubicBezTo>
                    <a:pt x="5" y="64"/>
                    <a:pt x="0" y="53"/>
                    <a:pt x="0" y="41"/>
                  </a:cubicBezTo>
                  <a:cubicBezTo>
                    <a:pt x="0" y="35"/>
                    <a:pt x="1" y="30"/>
                    <a:pt x="3" y="25"/>
                  </a:cubicBezTo>
                  <a:cubicBezTo>
                    <a:pt x="7" y="17"/>
                    <a:pt x="13" y="10"/>
                    <a:pt x="21" y="5"/>
                  </a:cubicBezTo>
                  <a:cubicBezTo>
                    <a:pt x="23" y="4"/>
                    <a:pt x="26" y="3"/>
                    <a:pt x="28" y="2"/>
                  </a:cubicBezTo>
                  <a:cubicBezTo>
                    <a:pt x="32" y="1"/>
                    <a:pt x="36" y="0"/>
                    <a:pt x="40" y="0"/>
                  </a:cubicBezTo>
                  <a:cubicBezTo>
                    <a:pt x="44" y="0"/>
                    <a:pt x="48" y="1"/>
                    <a:pt x="52" y="2"/>
                  </a:cubicBezTo>
                  <a:cubicBezTo>
                    <a:pt x="55" y="3"/>
                    <a:pt x="57" y="4"/>
                    <a:pt x="60" y="5"/>
                  </a:cubicBezTo>
                  <a:cubicBezTo>
                    <a:pt x="62" y="6"/>
                    <a:pt x="64" y="8"/>
                    <a:pt x="66" y="10"/>
                  </a:cubicBezTo>
                  <a:cubicBezTo>
                    <a:pt x="69" y="12"/>
                    <a:pt x="72" y="15"/>
                    <a:pt x="74" y="18"/>
                  </a:cubicBezTo>
                  <a:cubicBezTo>
                    <a:pt x="75" y="20"/>
                    <a:pt x="77" y="23"/>
                    <a:pt x="78" y="25"/>
                  </a:cubicBezTo>
                  <a:cubicBezTo>
                    <a:pt x="80" y="30"/>
                    <a:pt x="81" y="35"/>
                    <a:pt x="81" y="41"/>
                  </a:cubicBezTo>
                  <a:cubicBezTo>
                    <a:pt x="81" y="44"/>
                    <a:pt x="80" y="48"/>
                    <a:pt x="79" y="52"/>
                  </a:cubicBezTo>
                  <a:cubicBezTo>
                    <a:pt x="79" y="54"/>
                    <a:pt x="78" y="55"/>
                    <a:pt x="78" y="56"/>
                  </a:cubicBezTo>
                  <a:cubicBezTo>
                    <a:pt x="75" y="62"/>
                    <a:pt x="71" y="68"/>
                    <a:pt x="66" y="72"/>
                  </a:cubicBezTo>
                  <a:cubicBezTo>
                    <a:pt x="64" y="73"/>
                    <a:pt x="62" y="75"/>
                    <a:pt x="60" y="76"/>
                  </a:cubicBezTo>
                  <a:cubicBezTo>
                    <a:pt x="57" y="77"/>
                    <a:pt x="55" y="78"/>
                    <a:pt x="52" y="79"/>
                  </a:cubicBezTo>
                  <a:cubicBezTo>
                    <a:pt x="48" y="80"/>
                    <a:pt x="44" y="81"/>
                    <a:pt x="4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873" name="Freeform 32">
              <a:extLst>
                <a:ext uri="{FF2B5EF4-FFF2-40B4-BE49-F238E27FC236}">
                  <a16:creationId xmlns:a16="http://schemas.microsoft.com/office/drawing/2014/main" id="{67B17DE2-5D5C-4D03-9DAB-EE0277768B23}"/>
                </a:ext>
              </a:extLst>
            </p:cNvPr>
            <p:cNvSpPr>
              <a:spLocks/>
            </p:cNvSpPr>
            <p:nvPr/>
          </p:nvSpPr>
          <p:spPr bwMode="auto">
            <a:xfrm>
              <a:off x="-857250" y="1663700"/>
              <a:ext cx="450850" cy="274638"/>
            </a:xfrm>
            <a:custGeom>
              <a:avLst/>
              <a:gdLst>
                <a:gd name="T0" fmla="*/ 36 w 120"/>
                <a:gd name="T1" fmla="*/ 73 h 73"/>
                <a:gd name="T2" fmla="*/ 0 w 120"/>
                <a:gd name="T3" fmla="*/ 37 h 73"/>
                <a:gd name="T4" fmla="*/ 36 w 120"/>
                <a:gd name="T5" fmla="*/ 0 h 73"/>
                <a:gd name="T6" fmla="*/ 84 w 120"/>
                <a:gd name="T7" fmla="*/ 0 h 73"/>
                <a:gd name="T8" fmla="*/ 120 w 120"/>
                <a:gd name="T9" fmla="*/ 37 h 73"/>
                <a:gd name="T10" fmla="*/ 84 w 120"/>
                <a:gd name="T11" fmla="*/ 73 h 73"/>
                <a:gd name="T12" fmla="*/ 36 w 120"/>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120" h="73">
                  <a:moveTo>
                    <a:pt x="36" y="73"/>
                  </a:moveTo>
                  <a:cubicBezTo>
                    <a:pt x="16" y="73"/>
                    <a:pt x="0" y="57"/>
                    <a:pt x="0" y="37"/>
                  </a:cubicBezTo>
                  <a:cubicBezTo>
                    <a:pt x="0" y="17"/>
                    <a:pt x="16" y="0"/>
                    <a:pt x="36" y="0"/>
                  </a:cubicBezTo>
                  <a:cubicBezTo>
                    <a:pt x="84" y="0"/>
                    <a:pt x="84" y="0"/>
                    <a:pt x="84" y="0"/>
                  </a:cubicBezTo>
                  <a:cubicBezTo>
                    <a:pt x="104" y="0"/>
                    <a:pt x="120" y="17"/>
                    <a:pt x="120" y="37"/>
                  </a:cubicBezTo>
                  <a:cubicBezTo>
                    <a:pt x="120" y="57"/>
                    <a:pt x="104" y="73"/>
                    <a:pt x="84" y="73"/>
                  </a:cubicBezTo>
                  <a:lnTo>
                    <a:pt x="36"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
        <p:nvSpPr>
          <p:cNvPr id="874" name="Freeform 249">
            <a:extLst>
              <a:ext uri="{FF2B5EF4-FFF2-40B4-BE49-F238E27FC236}">
                <a16:creationId xmlns:a16="http://schemas.microsoft.com/office/drawing/2014/main" id="{F1AF10A9-8179-4D2F-8008-B606CEFF5146}"/>
              </a:ext>
            </a:extLst>
          </p:cNvPr>
          <p:cNvSpPr>
            <a:spLocks noChangeAspect="1" noEditPoints="1"/>
          </p:cNvSpPr>
          <p:nvPr/>
        </p:nvSpPr>
        <p:spPr bwMode="auto">
          <a:xfrm>
            <a:off x="3237338" y="5944848"/>
            <a:ext cx="216213" cy="308144"/>
          </a:xfrm>
          <a:custGeom>
            <a:avLst/>
            <a:gdLst>
              <a:gd name="T0" fmla="*/ 224 w 632"/>
              <a:gd name="T1" fmla="*/ 472 h 903"/>
              <a:gd name="T2" fmla="*/ 224 w 632"/>
              <a:gd name="T3" fmla="*/ 459 h 903"/>
              <a:gd name="T4" fmla="*/ 215 w 632"/>
              <a:gd name="T5" fmla="*/ 452 h 903"/>
              <a:gd name="T6" fmla="*/ 252 w 632"/>
              <a:gd name="T7" fmla="*/ 265 h 903"/>
              <a:gd name="T8" fmla="*/ 256 w 632"/>
              <a:gd name="T9" fmla="*/ 252 h 903"/>
              <a:gd name="T10" fmla="*/ 248 w 632"/>
              <a:gd name="T11" fmla="*/ 243 h 903"/>
              <a:gd name="T12" fmla="*/ 178 w 632"/>
              <a:gd name="T13" fmla="*/ 241 h 903"/>
              <a:gd name="T14" fmla="*/ 391 w 632"/>
              <a:gd name="T15" fmla="*/ 241 h 903"/>
              <a:gd name="T16" fmla="*/ 380 w 632"/>
              <a:gd name="T17" fmla="*/ 245 h 903"/>
              <a:gd name="T18" fmla="*/ 376 w 632"/>
              <a:gd name="T19" fmla="*/ 257 h 903"/>
              <a:gd name="T20" fmla="*/ 526 w 632"/>
              <a:gd name="T21" fmla="*/ 451 h 903"/>
              <a:gd name="T22" fmla="*/ 413 w 632"/>
              <a:gd name="T23" fmla="*/ 453 h 903"/>
              <a:gd name="T24" fmla="*/ 407 w 632"/>
              <a:gd name="T25" fmla="*/ 464 h 903"/>
              <a:gd name="T26" fmla="*/ 409 w 632"/>
              <a:gd name="T27" fmla="*/ 475 h 903"/>
              <a:gd name="T28" fmla="*/ 629 w 632"/>
              <a:gd name="T29" fmla="*/ 698 h 903"/>
              <a:gd name="T30" fmla="*/ 561 w 632"/>
              <a:gd name="T31" fmla="*/ 481 h 903"/>
              <a:gd name="T32" fmla="*/ 570 w 632"/>
              <a:gd name="T33" fmla="*/ 473 h 903"/>
              <a:gd name="T34" fmla="*/ 571 w 632"/>
              <a:gd name="T35" fmla="*/ 460 h 903"/>
              <a:gd name="T36" fmla="*/ 482 w 632"/>
              <a:gd name="T37" fmla="*/ 271 h 903"/>
              <a:gd name="T38" fmla="*/ 493 w 632"/>
              <a:gd name="T39" fmla="*/ 265 h 903"/>
              <a:gd name="T40" fmla="*/ 497 w 632"/>
              <a:gd name="T41" fmla="*/ 254 h 903"/>
              <a:gd name="T42" fmla="*/ 328 w 632"/>
              <a:gd name="T43" fmla="*/ 6 h 903"/>
              <a:gd name="T44" fmla="*/ 319 w 632"/>
              <a:gd name="T45" fmla="*/ 0 h 903"/>
              <a:gd name="T46" fmla="*/ 309 w 632"/>
              <a:gd name="T47" fmla="*/ 1 h 903"/>
              <a:gd name="T48" fmla="*/ 138 w 632"/>
              <a:gd name="T49" fmla="*/ 247 h 903"/>
              <a:gd name="T50" fmla="*/ 135 w 632"/>
              <a:gd name="T51" fmla="*/ 259 h 903"/>
              <a:gd name="T52" fmla="*/ 143 w 632"/>
              <a:gd name="T53" fmla="*/ 268 h 903"/>
              <a:gd name="T54" fmla="*/ 209 w 632"/>
              <a:gd name="T55" fmla="*/ 271 h 903"/>
              <a:gd name="T56" fmla="*/ 60 w 632"/>
              <a:gd name="T57" fmla="*/ 465 h 903"/>
              <a:gd name="T58" fmla="*/ 64 w 632"/>
              <a:gd name="T59" fmla="*/ 477 h 903"/>
              <a:gd name="T60" fmla="*/ 75 w 632"/>
              <a:gd name="T61" fmla="*/ 481 h 903"/>
              <a:gd name="T62" fmla="*/ 1 w 632"/>
              <a:gd name="T63" fmla="*/ 701 h 903"/>
              <a:gd name="T64" fmla="*/ 1 w 632"/>
              <a:gd name="T65" fmla="*/ 714 h 903"/>
              <a:gd name="T66" fmla="*/ 11 w 632"/>
              <a:gd name="T67" fmla="*/ 721 h 903"/>
              <a:gd name="T68" fmla="*/ 301 w 632"/>
              <a:gd name="T69" fmla="*/ 888 h 903"/>
              <a:gd name="T70" fmla="*/ 304 w 632"/>
              <a:gd name="T71" fmla="*/ 896 h 903"/>
              <a:gd name="T72" fmla="*/ 310 w 632"/>
              <a:gd name="T73" fmla="*/ 901 h 903"/>
              <a:gd name="T74" fmla="*/ 319 w 632"/>
              <a:gd name="T75" fmla="*/ 903 h 903"/>
              <a:gd name="T76" fmla="*/ 326 w 632"/>
              <a:gd name="T77" fmla="*/ 898 h 903"/>
              <a:gd name="T78" fmla="*/ 331 w 632"/>
              <a:gd name="T79" fmla="*/ 891 h 903"/>
              <a:gd name="T80" fmla="*/ 617 w 632"/>
              <a:gd name="T81" fmla="*/ 722 h 903"/>
              <a:gd name="T82" fmla="*/ 628 w 632"/>
              <a:gd name="T83" fmla="*/ 717 h 903"/>
              <a:gd name="T84" fmla="*/ 632 w 632"/>
              <a:gd name="T85" fmla="*/ 70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2" h="903">
                <a:moveTo>
                  <a:pt x="46" y="692"/>
                </a:moveTo>
                <a:lnTo>
                  <a:pt x="222" y="475"/>
                </a:lnTo>
                <a:lnTo>
                  <a:pt x="224" y="472"/>
                </a:lnTo>
                <a:lnTo>
                  <a:pt x="225" y="468"/>
                </a:lnTo>
                <a:lnTo>
                  <a:pt x="225" y="464"/>
                </a:lnTo>
                <a:lnTo>
                  <a:pt x="224" y="459"/>
                </a:lnTo>
                <a:lnTo>
                  <a:pt x="221" y="456"/>
                </a:lnTo>
                <a:lnTo>
                  <a:pt x="218" y="453"/>
                </a:lnTo>
                <a:lnTo>
                  <a:pt x="215" y="452"/>
                </a:lnTo>
                <a:lnTo>
                  <a:pt x="210" y="451"/>
                </a:lnTo>
                <a:lnTo>
                  <a:pt x="106" y="451"/>
                </a:lnTo>
                <a:lnTo>
                  <a:pt x="252" y="265"/>
                </a:lnTo>
                <a:lnTo>
                  <a:pt x="254" y="261"/>
                </a:lnTo>
                <a:lnTo>
                  <a:pt x="256" y="257"/>
                </a:lnTo>
                <a:lnTo>
                  <a:pt x="256" y="252"/>
                </a:lnTo>
                <a:lnTo>
                  <a:pt x="254" y="249"/>
                </a:lnTo>
                <a:lnTo>
                  <a:pt x="251" y="245"/>
                </a:lnTo>
                <a:lnTo>
                  <a:pt x="248" y="243"/>
                </a:lnTo>
                <a:lnTo>
                  <a:pt x="245" y="241"/>
                </a:lnTo>
                <a:lnTo>
                  <a:pt x="240" y="241"/>
                </a:lnTo>
                <a:lnTo>
                  <a:pt x="178" y="241"/>
                </a:lnTo>
                <a:lnTo>
                  <a:pt x="316" y="41"/>
                </a:lnTo>
                <a:lnTo>
                  <a:pt x="453" y="241"/>
                </a:lnTo>
                <a:lnTo>
                  <a:pt x="391" y="241"/>
                </a:lnTo>
                <a:lnTo>
                  <a:pt x="386" y="241"/>
                </a:lnTo>
                <a:lnTo>
                  <a:pt x="383" y="243"/>
                </a:lnTo>
                <a:lnTo>
                  <a:pt x="380" y="245"/>
                </a:lnTo>
                <a:lnTo>
                  <a:pt x="378" y="249"/>
                </a:lnTo>
                <a:lnTo>
                  <a:pt x="376" y="252"/>
                </a:lnTo>
                <a:lnTo>
                  <a:pt x="376" y="257"/>
                </a:lnTo>
                <a:lnTo>
                  <a:pt x="377" y="261"/>
                </a:lnTo>
                <a:lnTo>
                  <a:pt x="379" y="265"/>
                </a:lnTo>
                <a:lnTo>
                  <a:pt x="526" y="451"/>
                </a:lnTo>
                <a:lnTo>
                  <a:pt x="421" y="451"/>
                </a:lnTo>
                <a:lnTo>
                  <a:pt x="416" y="452"/>
                </a:lnTo>
                <a:lnTo>
                  <a:pt x="413" y="453"/>
                </a:lnTo>
                <a:lnTo>
                  <a:pt x="410" y="456"/>
                </a:lnTo>
                <a:lnTo>
                  <a:pt x="408" y="459"/>
                </a:lnTo>
                <a:lnTo>
                  <a:pt x="407" y="464"/>
                </a:lnTo>
                <a:lnTo>
                  <a:pt x="406" y="468"/>
                </a:lnTo>
                <a:lnTo>
                  <a:pt x="407" y="472"/>
                </a:lnTo>
                <a:lnTo>
                  <a:pt x="409" y="475"/>
                </a:lnTo>
                <a:lnTo>
                  <a:pt x="585" y="692"/>
                </a:lnTo>
                <a:lnTo>
                  <a:pt x="46" y="692"/>
                </a:lnTo>
                <a:close/>
                <a:moveTo>
                  <a:pt x="629" y="698"/>
                </a:moveTo>
                <a:lnTo>
                  <a:pt x="453" y="481"/>
                </a:lnTo>
                <a:lnTo>
                  <a:pt x="557" y="481"/>
                </a:lnTo>
                <a:lnTo>
                  <a:pt x="561" y="481"/>
                </a:lnTo>
                <a:lnTo>
                  <a:pt x="564" y="479"/>
                </a:lnTo>
                <a:lnTo>
                  <a:pt x="568" y="477"/>
                </a:lnTo>
                <a:lnTo>
                  <a:pt x="570" y="473"/>
                </a:lnTo>
                <a:lnTo>
                  <a:pt x="572" y="469"/>
                </a:lnTo>
                <a:lnTo>
                  <a:pt x="572" y="465"/>
                </a:lnTo>
                <a:lnTo>
                  <a:pt x="571" y="460"/>
                </a:lnTo>
                <a:lnTo>
                  <a:pt x="569" y="457"/>
                </a:lnTo>
                <a:lnTo>
                  <a:pt x="422" y="271"/>
                </a:lnTo>
                <a:lnTo>
                  <a:pt x="482" y="271"/>
                </a:lnTo>
                <a:lnTo>
                  <a:pt x="485" y="269"/>
                </a:lnTo>
                <a:lnTo>
                  <a:pt x="489" y="268"/>
                </a:lnTo>
                <a:lnTo>
                  <a:pt x="493" y="265"/>
                </a:lnTo>
                <a:lnTo>
                  <a:pt x="495" y="262"/>
                </a:lnTo>
                <a:lnTo>
                  <a:pt x="496" y="259"/>
                </a:lnTo>
                <a:lnTo>
                  <a:pt x="497" y="254"/>
                </a:lnTo>
                <a:lnTo>
                  <a:pt x="496" y="250"/>
                </a:lnTo>
                <a:lnTo>
                  <a:pt x="494" y="247"/>
                </a:lnTo>
                <a:lnTo>
                  <a:pt x="328" y="6"/>
                </a:lnTo>
                <a:lnTo>
                  <a:pt x="325" y="3"/>
                </a:lnTo>
                <a:lnTo>
                  <a:pt x="323" y="1"/>
                </a:lnTo>
                <a:lnTo>
                  <a:pt x="319" y="0"/>
                </a:lnTo>
                <a:lnTo>
                  <a:pt x="316" y="0"/>
                </a:lnTo>
                <a:lnTo>
                  <a:pt x="312" y="0"/>
                </a:lnTo>
                <a:lnTo>
                  <a:pt x="309" y="1"/>
                </a:lnTo>
                <a:lnTo>
                  <a:pt x="306" y="3"/>
                </a:lnTo>
                <a:lnTo>
                  <a:pt x="304" y="6"/>
                </a:lnTo>
                <a:lnTo>
                  <a:pt x="138" y="247"/>
                </a:lnTo>
                <a:lnTo>
                  <a:pt x="136" y="250"/>
                </a:lnTo>
                <a:lnTo>
                  <a:pt x="135" y="254"/>
                </a:lnTo>
                <a:lnTo>
                  <a:pt x="135" y="259"/>
                </a:lnTo>
                <a:lnTo>
                  <a:pt x="136" y="262"/>
                </a:lnTo>
                <a:lnTo>
                  <a:pt x="140" y="265"/>
                </a:lnTo>
                <a:lnTo>
                  <a:pt x="143" y="268"/>
                </a:lnTo>
                <a:lnTo>
                  <a:pt x="146" y="269"/>
                </a:lnTo>
                <a:lnTo>
                  <a:pt x="150" y="271"/>
                </a:lnTo>
                <a:lnTo>
                  <a:pt x="209" y="271"/>
                </a:lnTo>
                <a:lnTo>
                  <a:pt x="64" y="457"/>
                </a:lnTo>
                <a:lnTo>
                  <a:pt x="61" y="460"/>
                </a:lnTo>
                <a:lnTo>
                  <a:pt x="60" y="465"/>
                </a:lnTo>
                <a:lnTo>
                  <a:pt x="60" y="469"/>
                </a:lnTo>
                <a:lnTo>
                  <a:pt x="61" y="473"/>
                </a:lnTo>
                <a:lnTo>
                  <a:pt x="64" y="477"/>
                </a:lnTo>
                <a:lnTo>
                  <a:pt x="67" y="479"/>
                </a:lnTo>
                <a:lnTo>
                  <a:pt x="71" y="481"/>
                </a:lnTo>
                <a:lnTo>
                  <a:pt x="75" y="481"/>
                </a:lnTo>
                <a:lnTo>
                  <a:pt x="178" y="481"/>
                </a:lnTo>
                <a:lnTo>
                  <a:pt x="3" y="698"/>
                </a:lnTo>
                <a:lnTo>
                  <a:pt x="1" y="701"/>
                </a:lnTo>
                <a:lnTo>
                  <a:pt x="0" y="705"/>
                </a:lnTo>
                <a:lnTo>
                  <a:pt x="0" y="709"/>
                </a:lnTo>
                <a:lnTo>
                  <a:pt x="1" y="714"/>
                </a:lnTo>
                <a:lnTo>
                  <a:pt x="3" y="717"/>
                </a:lnTo>
                <a:lnTo>
                  <a:pt x="7" y="720"/>
                </a:lnTo>
                <a:lnTo>
                  <a:pt x="11" y="721"/>
                </a:lnTo>
                <a:lnTo>
                  <a:pt x="14" y="722"/>
                </a:lnTo>
                <a:lnTo>
                  <a:pt x="301" y="722"/>
                </a:lnTo>
                <a:lnTo>
                  <a:pt x="301" y="888"/>
                </a:lnTo>
                <a:lnTo>
                  <a:pt x="301" y="891"/>
                </a:lnTo>
                <a:lnTo>
                  <a:pt x="302" y="894"/>
                </a:lnTo>
                <a:lnTo>
                  <a:pt x="304" y="896"/>
                </a:lnTo>
                <a:lnTo>
                  <a:pt x="305" y="898"/>
                </a:lnTo>
                <a:lnTo>
                  <a:pt x="307" y="900"/>
                </a:lnTo>
                <a:lnTo>
                  <a:pt x="310" y="901"/>
                </a:lnTo>
                <a:lnTo>
                  <a:pt x="312" y="903"/>
                </a:lnTo>
                <a:lnTo>
                  <a:pt x="316" y="903"/>
                </a:lnTo>
                <a:lnTo>
                  <a:pt x="319" y="903"/>
                </a:lnTo>
                <a:lnTo>
                  <a:pt x="322" y="901"/>
                </a:lnTo>
                <a:lnTo>
                  <a:pt x="324" y="900"/>
                </a:lnTo>
                <a:lnTo>
                  <a:pt x="326" y="898"/>
                </a:lnTo>
                <a:lnTo>
                  <a:pt x="328" y="896"/>
                </a:lnTo>
                <a:lnTo>
                  <a:pt x="330" y="894"/>
                </a:lnTo>
                <a:lnTo>
                  <a:pt x="331" y="891"/>
                </a:lnTo>
                <a:lnTo>
                  <a:pt x="331" y="888"/>
                </a:lnTo>
                <a:lnTo>
                  <a:pt x="331" y="722"/>
                </a:lnTo>
                <a:lnTo>
                  <a:pt x="617" y="722"/>
                </a:lnTo>
                <a:lnTo>
                  <a:pt x="621" y="721"/>
                </a:lnTo>
                <a:lnTo>
                  <a:pt x="624" y="720"/>
                </a:lnTo>
                <a:lnTo>
                  <a:pt x="628" y="717"/>
                </a:lnTo>
                <a:lnTo>
                  <a:pt x="631" y="714"/>
                </a:lnTo>
                <a:lnTo>
                  <a:pt x="632" y="709"/>
                </a:lnTo>
                <a:lnTo>
                  <a:pt x="632" y="705"/>
                </a:lnTo>
                <a:lnTo>
                  <a:pt x="631" y="701"/>
                </a:lnTo>
                <a:lnTo>
                  <a:pt x="629" y="6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875" name="Freeform 7">
            <a:extLst>
              <a:ext uri="{FF2B5EF4-FFF2-40B4-BE49-F238E27FC236}">
                <a16:creationId xmlns:a16="http://schemas.microsoft.com/office/drawing/2014/main" id="{F4567224-227C-4286-B2D0-A439CD418254}"/>
              </a:ext>
            </a:extLst>
          </p:cNvPr>
          <p:cNvSpPr>
            <a:spLocks noChangeAspect="1" noEditPoints="1"/>
          </p:cNvSpPr>
          <p:nvPr/>
        </p:nvSpPr>
        <p:spPr bwMode="auto">
          <a:xfrm>
            <a:off x="3651168" y="5963716"/>
            <a:ext cx="304790" cy="270408"/>
          </a:xfrm>
          <a:custGeom>
            <a:avLst/>
            <a:gdLst>
              <a:gd name="T0" fmla="*/ 161 w 328"/>
              <a:gd name="T1" fmla="*/ 289 h 291"/>
              <a:gd name="T2" fmla="*/ 89 w 328"/>
              <a:gd name="T3" fmla="*/ 237 h 291"/>
              <a:gd name="T4" fmla="*/ 43 w 328"/>
              <a:gd name="T5" fmla="*/ 190 h 291"/>
              <a:gd name="T6" fmla="*/ 12 w 328"/>
              <a:gd name="T7" fmla="*/ 140 h 291"/>
              <a:gd name="T8" fmla="*/ 0 w 328"/>
              <a:gd name="T9" fmla="*/ 90 h 291"/>
              <a:gd name="T10" fmla="*/ 10 w 328"/>
              <a:gd name="T11" fmla="*/ 40 h 291"/>
              <a:gd name="T12" fmla="*/ 25 w 328"/>
              <a:gd name="T13" fmla="*/ 20 h 291"/>
              <a:gd name="T14" fmla="*/ 54 w 328"/>
              <a:gd name="T15" fmla="*/ 3 h 291"/>
              <a:gd name="T16" fmla="*/ 80 w 328"/>
              <a:gd name="T17" fmla="*/ 0 h 291"/>
              <a:gd name="T18" fmla="*/ 117 w 328"/>
              <a:gd name="T19" fmla="*/ 5 h 291"/>
              <a:gd name="T20" fmla="*/ 149 w 328"/>
              <a:gd name="T21" fmla="*/ 20 h 291"/>
              <a:gd name="T22" fmla="*/ 164 w 328"/>
              <a:gd name="T23" fmla="*/ 32 h 291"/>
              <a:gd name="T24" fmla="*/ 189 w 328"/>
              <a:gd name="T25" fmla="*/ 15 h 291"/>
              <a:gd name="T26" fmla="*/ 222 w 328"/>
              <a:gd name="T27" fmla="*/ 3 h 291"/>
              <a:gd name="T28" fmla="*/ 248 w 328"/>
              <a:gd name="T29" fmla="*/ 0 h 291"/>
              <a:gd name="T30" fmla="*/ 284 w 328"/>
              <a:gd name="T31" fmla="*/ 8 h 291"/>
              <a:gd name="T32" fmla="*/ 309 w 328"/>
              <a:gd name="T33" fmla="*/ 28 h 291"/>
              <a:gd name="T34" fmla="*/ 324 w 328"/>
              <a:gd name="T35" fmla="*/ 57 h 291"/>
              <a:gd name="T36" fmla="*/ 326 w 328"/>
              <a:gd name="T37" fmla="*/ 107 h 291"/>
              <a:gd name="T38" fmla="*/ 308 w 328"/>
              <a:gd name="T39" fmla="*/ 157 h 291"/>
              <a:gd name="T40" fmla="*/ 271 w 328"/>
              <a:gd name="T41" fmla="*/ 205 h 291"/>
              <a:gd name="T42" fmla="*/ 204 w 328"/>
              <a:gd name="T43" fmla="*/ 264 h 291"/>
              <a:gd name="T44" fmla="*/ 164 w 328"/>
              <a:gd name="T45" fmla="*/ 291 h 291"/>
              <a:gd name="T46" fmla="*/ 80 w 328"/>
              <a:gd name="T47" fmla="*/ 13 h 291"/>
              <a:gd name="T48" fmla="*/ 50 w 328"/>
              <a:gd name="T49" fmla="*/ 20 h 291"/>
              <a:gd name="T50" fmla="*/ 28 w 328"/>
              <a:gd name="T51" fmla="*/ 37 h 291"/>
              <a:gd name="T52" fmla="*/ 17 w 328"/>
              <a:gd name="T53" fmla="*/ 62 h 291"/>
              <a:gd name="T54" fmla="*/ 15 w 328"/>
              <a:gd name="T55" fmla="*/ 107 h 291"/>
              <a:gd name="T56" fmla="*/ 33 w 328"/>
              <a:gd name="T57" fmla="*/ 154 h 291"/>
              <a:gd name="T58" fmla="*/ 67 w 328"/>
              <a:gd name="T59" fmla="*/ 197 h 291"/>
              <a:gd name="T60" fmla="*/ 129 w 328"/>
              <a:gd name="T61" fmla="*/ 252 h 291"/>
              <a:gd name="T62" fmla="*/ 199 w 328"/>
              <a:gd name="T63" fmla="*/ 252 h 291"/>
              <a:gd name="T64" fmla="*/ 261 w 328"/>
              <a:gd name="T65" fmla="*/ 197 h 291"/>
              <a:gd name="T66" fmla="*/ 294 w 328"/>
              <a:gd name="T67" fmla="*/ 154 h 291"/>
              <a:gd name="T68" fmla="*/ 313 w 328"/>
              <a:gd name="T69" fmla="*/ 107 h 291"/>
              <a:gd name="T70" fmla="*/ 311 w 328"/>
              <a:gd name="T71" fmla="*/ 62 h 291"/>
              <a:gd name="T72" fmla="*/ 299 w 328"/>
              <a:gd name="T73" fmla="*/ 37 h 291"/>
              <a:gd name="T74" fmla="*/ 278 w 328"/>
              <a:gd name="T75" fmla="*/ 20 h 291"/>
              <a:gd name="T76" fmla="*/ 248 w 328"/>
              <a:gd name="T77" fmla="*/ 13 h 291"/>
              <a:gd name="T78" fmla="*/ 222 w 328"/>
              <a:gd name="T79" fmla="*/ 16 h 291"/>
              <a:gd name="T80" fmla="*/ 189 w 328"/>
              <a:gd name="T81" fmla="*/ 30 h 291"/>
              <a:gd name="T82" fmla="*/ 171 w 328"/>
              <a:gd name="T83" fmla="*/ 47 h 291"/>
              <a:gd name="T84" fmla="*/ 164 w 328"/>
              <a:gd name="T85" fmla="*/ 50 h 291"/>
              <a:gd name="T86" fmla="*/ 157 w 328"/>
              <a:gd name="T87" fmla="*/ 47 h 291"/>
              <a:gd name="T88" fmla="*/ 139 w 328"/>
              <a:gd name="T89" fmla="*/ 30 h 291"/>
              <a:gd name="T90" fmla="*/ 105 w 328"/>
              <a:gd name="T91" fmla="*/ 16 h 291"/>
              <a:gd name="T92" fmla="*/ 80 w 328"/>
              <a:gd name="T93" fmla="*/ 1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8" h="291">
                <a:moveTo>
                  <a:pt x="164" y="291"/>
                </a:moveTo>
                <a:lnTo>
                  <a:pt x="164" y="291"/>
                </a:lnTo>
                <a:lnTo>
                  <a:pt x="161" y="289"/>
                </a:lnTo>
                <a:lnTo>
                  <a:pt x="161" y="289"/>
                </a:lnTo>
                <a:lnTo>
                  <a:pt x="124" y="264"/>
                </a:lnTo>
                <a:lnTo>
                  <a:pt x="89" y="237"/>
                </a:lnTo>
                <a:lnTo>
                  <a:pt x="72" y="222"/>
                </a:lnTo>
                <a:lnTo>
                  <a:pt x="57" y="205"/>
                </a:lnTo>
                <a:lnTo>
                  <a:pt x="43" y="190"/>
                </a:lnTo>
                <a:lnTo>
                  <a:pt x="32" y="174"/>
                </a:lnTo>
                <a:lnTo>
                  <a:pt x="20" y="157"/>
                </a:lnTo>
                <a:lnTo>
                  <a:pt x="12" y="140"/>
                </a:lnTo>
                <a:lnTo>
                  <a:pt x="5" y="123"/>
                </a:lnTo>
                <a:lnTo>
                  <a:pt x="2" y="107"/>
                </a:lnTo>
                <a:lnTo>
                  <a:pt x="0" y="90"/>
                </a:lnTo>
                <a:lnTo>
                  <a:pt x="0" y="73"/>
                </a:lnTo>
                <a:lnTo>
                  <a:pt x="3" y="57"/>
                </a:lnTo>
                <a:lnTo>
                  <a:pt x="10" y="40"/>
                </a:lnTo>
                <a:lnTo>
                  <a:pt x="10" y="40"/>
                </a:lnTo>
                <a:lnTo>
                  <a:pt x="18" y="28"/>
                </a:lnTo>
                <a:lnTo>
                  <a:pt x="25" y="20"/>
                </a:lnTo>
                <a:lnTo>
                  <a:pt x="33" y="13"/>
                </a:lnTo>
                <a:lnTo>
                  <a:pt x="43" y="8"/>
                </a:lnTo>
                <a:lnTo>
                  <a:pt x="54" y="3"/>
                </a:lnTo>
                <a:lnTo>
                  <a:pt x="62" y="1"/>
                </a:lnTo>
                <a:lnTo>
                  <a:pt x="80" y="0"/>
                </a:lnTo>
                <a:lnTo>
                  <a:pt x="80" y="0"/>
                </a:lnTo>
                <a:lnTo>
                  <a:pt x="92" y="0"/>
                </a:lnTo>
                <a:lnTo>
                  <a:pt x="105" y="3"/>
                </a:lnTo>
                <a:lnTo>
                  <a:pt x="117" y="5"/>
                </a:lnTo>
                <a:lnTo>
                  <a:pt x="129" y="10"/>
                </a:lnTo>
                <a:lnTo>
                  <a:pt x="139" y="15"/>
                </a:lnTo>
                <a:lnTo>
                  <a:pt x="149" y="20"/>
                </a:lnTo>
                <a:lnTo>
                  <a:pt x="157" y="27"/>
                </a:lnTo>
                <a:lnTo>
                  <a:pt x="164" y="32"/>
                </a:lnTo>
                <a:lnTo>
                  <a:pt x="164" y="32"/>
                </a:lnTo>
                <a:lnTo>
                  <a:pt x="171" y="27"/>
                </a:lnTo>
                <a:lnTo>
                  <a:pt x="179" y="20"/>
                </a:lnTo>
                <a:lnTo>
                  <a:pt x="189" y="15"/>
                </a:lnTo>
                <a:lnTo>
                  <a:pt x="199" y="10"/>
                </a:lnTo>
                <a:lnTo>
                  <a:pt x="211" y="5"/>
                </a:lnTo>
                <a:lnTo>
                  <a:pt x="222" y="3"/>
                </a:lnTo>
                <a:lnTo>
                  <a:pt x="236" y="0"/>
                </a:lnTo>
                <a:lnTo>
                  <a:pt x="248" y="0"/>
                </a:lnTo>
                <a:lnTo>
                  <a:pt x="248" y="0"/>
                </a:lnTo>
                <a:lnTo>
                  <a:pt x="266" y="1"/>
                </a:lnTo>
                <a:lnTo>
                  <a:pt x="274" y="3"/>
                </a:lnTo>
                <a:lnTo>
                  <a:pt x="284" y="8"/>
                </a:lnTo>
                <a:lnTo>
                  <a:pt x="294" y="13"/>
                </a:lnTo>
                <a:lnTo>
                  <a:pt x="303" y="20"/>
                </a:lnTo>
                <a:lnTo>
                  <a:pt x="309" y="28"/>
                </a:lnTo>
                <a:lnTo>
                  <a:pt x="318" y="40"/>
                </a:lnTo>
                <a:lnTo>
                  <a:pt x="318" y="40"/>
                </a:lnTo>
                <a:lnTo>
                  <a:pt x="324" y="57"/>
                </a:lnTo>
                <a:lnTo>
                  <a:pt x="328" y="73"/>
                </a:lnTo>
                <a:lnTo>
                  <a:pt x="328" y="90"/>
                </a:lnTo>
                <a:lnTo>
                  <a:pt x="326" y="107"/>
                </a:lnTo>
                <a:lnTo>
                  <a:pt x="323" y="123"/>
                </a:lnTo>
                <a:lnTo>
                  <a:pt x="316" y="140"/>
                </a:lnTo>
                <a:lnTo>
                  <a:pt x="308" y="157"/>
                </a:lnTo>
                <a:lnTo>
                  <a:pt x="296" y="174"/>
                </a:lnTo>
                <a:lnTo>
                  <a:pt x="284" y="190"/>
                </a:lnTo>
                <a:lnTo>
                  <a:pt x="271" y="205"/>
                </a:lnTo>
                <a:lnTo>
                  <a:pt x="256" y="222"/>
                </a:lnTo>
                <a:lnTo>
                  <a:pt x="239" y="237"/>
                </a:lnTo>
                <a:lnTo>
                  <a:pt x="204" y="264"/>
                </a:lnTo>
                <a:lnTo>
                  <a:pt x="167" y="289"/>
                </a:lnTo>
                <a:lnTo>
                  <a:pt x="167" y="289"/>
                </a:lnTo>
                <a:lnTo>
                  <a:pt x="164" y="291"/>
                </a:lnTo>
                <a:lnTo>
                  <a:pt x="164" y="291"/>
                </a:lnTo>
                <a:close/>
                <a:moveTo>
                  <a:pt x="80" y="13"/>
                </a:moveTo>
                <a:lnTo>
                  <a:pt x="80" y="13"/>
                </a:lnTo>
                <a:lnTo>
                  <a:pt x="65" y="15"/>
                </a:lnTo>
                <a:lnTo>
                  <a:pt x="57" y="16"/>
                </a:lnTo>
                <a:lnTo>
                  <a:pt x="50" y="20"/>
                </a:lnTo>
                <a:lnTo>
                  <a:pt x="42" y="23"/>
                </a:lnTo>
                <a:lnTo>
                  <a:pt x="35" y="30"/>
                </a:lnTo>
                <a:lnTo>
                  <a:pt x="28" y="37"/>
                </a:lnTo>
                <a:lnTo>
                  <a:pt x="23" y="47"/>
                </a:lnTo>
                <a:lnTo>
                  <a:pt x="23" y="47"/>
                </a:lnTo>
                <a:lnTo>
                  <a:pt x="17" y="62"/>
                </a:lnTo>
                <a:lnTo>
                  <a:pt x="13" y="77"/>
                </a:lnTo>
                <a:lnTo>
                  <a:pt x="13" y="92"/>
                </a:lnTo>
                <a:lnTo>
                  <a:pt x="15" y="107"/>
                </a:lnTo>
                <a:lnTo>
                  <a:pt x="18" y="122"/>
                </a:lnTo>
                <a:lnTo>
                  <a:pt x="25" y="137"/>
                </a:lnTo>
                <a:lnTo>
                  <a:pt x="33" y="154"/>
                </a:lnTo>
                <a:lnTo>
                  <a:pt x="43" y="169"/>
                </a:lnTo>
                <a:lnTo>
                  <a:pt x="55" y="184"/>
                </a:lnTo>
                <a:lnTo>
                  <a:pt x="67" y="197"/>
                </a:lnTo>
                <a:lnTo>
                  <a:pt x="82" y="212"/>
                </a:lnTo>
                <a:lnTo>
                  <a:pt x="97" y="225"/>
                </a:lnTo>
                <a:lnTo>
                  <a:pt x="129" y="252"/>
                </a:lnTo>
                <a:lnTo>
                  <a:pt x="164" y="276"/>
                </a:lnTo>
                <a:lnTo>
                  <a:pt x="164" y="276"/>
                </a:lnTo>
                <a:lnTo>
                  <a:pt x="199" y="252"/>
                </a:lnTo>
                <a:lnTo>
                  <a:pt x="231" y="225"/>
                </a:lnTo>
                <a:lnTo>
                  <a:pt x="246" y="212"/>
                </a:lnTo>
                <a:lnTo>
                  <a:pt x="261" y="197"/>
                </a:lnTo>
                <a:lnTo>
                  <a:pt x="273" y="184"/>
                </a:lnTo>
                <a:lnTo>
                  <a:pt x="284" y="169"/>
                </a:lnTo>
                <a:lnTo>
                  <a:pt x="294" y="154"/>
                </a:lnTo>
                <a:lnTo>
                  <a:pt x="303" y="137"/>
                </a:lnTo>
                <a:lnTo>
                  <a:pt x="309" y="122"/>
                </a:lnTo>
                <a:lnTo>
                  <a:pt x="313" y="107"/>
                </a:lnTo>
                <a:lnTo>
                  <a:pt x="314" y="92"/>
                </a:lnTo>
                <a:lnTo>
                  <a:pt x="314" y="77"/>
                </a:lnTo>
                <a:lnTo>
                  <a:pt x="311" y="62"/>
                </a:lnTo>
                <a:lnTo>
                  <a:pt x="304" y="47"/>
                </a:lnTo>
                <a:lnTo>
                  <a:pt x="304" y="47"/>
                </a:lnTo>
                <a:lnTo>
                  <a:pt x="299" y="37"/>
                </a:lnTo>
                <a:lnTo>
                  <a:pt x="293" y="30"/>
                </a:lnTo>
                <a:lnTo>
                  <a:pt x="286" y="23"/>
                </a:lnTo>
                <a:lnTo>
                  <a:pt x="278" y="20"/>
                </a:lnTo>
                <a:lnTo>
                  <a:pt x="271" y="16"/>
                </a:lnTo>
                <a:lnTo>
                  <a:pt x="263" y="15"/>
                </a:lnTo>
                <a:lnTo>
                  <a:pt x="248" y="13"/>
                </a:lnTo>
                <a:lnTo>
                  <a:pt x="248" y="13"/>
                </a:lnTo>
                <a:lnTo>
                  <a:pt x="234" y="13"/>
                </a:lnTo>
                <a:lnTo>
                  <a:pt x="222" y="16"/>
                </a:lnTo>
                <a:lnTo>
                  <a:pt x="209" y="20"/>
                </a:lnTo>
                <a:lnTo>
                  <a:pt x="197" y="25"/>
                </a:lnTo>
                <a:lnTo>
                  <a:pt x="189" y="30"/>
                </a:lnTo>
                <a:lnTo>
                  <a:pt x="181" y="35"/>
                </a:lnTo>
                <a:lnTo>
                  <a:pt x="174" y="42"/>
                </a:lnTo>
                <a:lnTo>
                  <a:pt x="171" y="47"/>
                </a:lnTo>
                <a:lnTo>
                  <a:pt x="171" y="47"/>
                </a:lnTo>
                <a:lnTo>
                  <a:pt x="167" y="48"/>
                </a:lnTo>
                <a:lnTo>
                  <a:pt x="164" y="50"/>
                </a:lnTo>
                <a:lnTo>
                  <a:pt x="161" y="48"/>
                </a:lnTo>
                <a:lnTo>
                  <a:pt x="157" y="47"/>
                </a:lnTo>
                <a:lnTo>
                  <a:pt x="157" y="47"/>
                </a:lnTo>
                <a:lnTo>
                  <a:pt x="154" y="42"/>
                </a:lnTo>
                <a:lnTo>
                  <a:pt x="147" y="35"/>
                </a:lnTo>
                <a:lnTo>
                  <a:pt x="139" y="30"/>
                </a:lnTo>
                <a:lnTo>
                  <a:pt x="130" y="25"/>
                </a:lnTo>
                <a:lnTo>
                  <a:pt x="119" y="20"/>
                </a:lnTo>
                <a:lnTo>
                  <a:pt x="105" y="16"/>
                </a:lnTo>
                <a:lnTo>
                  <a:pt x="94" y="13"/>
                </a:lnTo>
                <a:lnTo>
                  <a:pt x="80" y="13"/>
                </a:lnTo>
                <a:lnTo>
                  <a:pt x="80" y="1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sp>
        <p:nvSpPr>
          <p:cNvPr id="876" name="Freeform 132">
            <a:extLst>
              <a:ext uri="{FF2B5EF4-FFF2-40B4-BE49-F238E27FC236}">
                <a16:creationId xmlns:a16="http://schemas.microsoft.com/office/drawing/2014/main" id="{33F47482-820A-4C2B-BCCE-12A4539B4595}"/>
              </a:ext>
            </a:extLst>
          </p:cNvPr>
          <p:cNvSpPr>
            <a:spLocks noChangeAspect="1" noEditPoints="1"/>
          </p:cNvSpPr>
          <p:nvPr/>
        </p:nvSpPr>
        <p:spPr bwMode="auto">
          <a:xfrm>
            <a:off x="4038326" y="5944848"/>
            <a:ext cx="297873" cy="308144"/>
          </a:xfrm>
          <a:custGeom>
            <a:avLst/>
            <a:gdLst>
              <a:gd name="T0" fmla="*/ 81 w 874"/>
              <a:gd name="T1" fmla="*/ 388 h 904"/>
              <a:gd name="T2" fmla="*/ 50 w 874"/>
              <a:gd name="T3" fmla="*/ 372 h 904"/>
              <a:gd name="T4" fmla="*/ 33 w 874"/>
              <a:gd name="T5" fmla="*/ 341 h 904"/>
              <a:gd name="T6" fmla="*/ 32 w 874"/>
              <a:gd name="T7" fmla="*/ 299 h 904"/>
              <a:gd name="T8" fmla="*/ 51 w 874"/>
              <a:gd name="T9" fmla="*/ 266 h 904"/>
              <a:gd name="T10" fmla="*/ 81 w 874"/>
              <a:gd name="T11" fmla="*/ 246 h 904"/>
              <a:gd name="T12" fmla="*/ 160 w 874"/>
              <a:gd name="T13" fmla="*/ 241 h 904"/>
              <a:gd name="T14" fmla="*/ 193 w 874"/>
              <a:gd name="T15" fmla="*/ 191 h 904"/>
              <a:gd name="T16" fmla="*/ 237 w 874"/>
              <a:gd name="T17" fmla="*/ 157 h 904"/>
              <a:gd name="T18" fmla="*/ 285 w 874"/>
              <a:gd name="T19" fmla="*/ 141 h 904"/>
              <a:gd name="T20" fmla="*/ 314 w 874"/>
              <a:gd name="T21" fmla="*/ 96 h 904"/>
              <a:gd name="T22" fmla="*/ 370 w 874"/>
              <a:gd name="T23" fmla="*/ 47 h 904"/>
              <a:gd name="T24" fmla="*/ 427 w 874"/>
              <a:gd name="T25" fmla="*/ 30 h 904"/>
              <a:gd name="T26" fmla="*/ 472 w 874"/>
              <a:gd name="T27" fmla="*/ 34 h 904"/>
              <a:gd name="T28" fmla="*/ 541 w 874"/>
              <a:gd name="T29" fmla="*/ 75 h 904"/>
              <a:gd name="T30" fmla="*/ 579 w 874"/>
              <a:gd name="T31" fmla="*/ 124 h 904"/>
              <a:gd name="T32" fmla="*/ 615 w 874"/>
              <a:gd name="T33" fmla="*/ 151 h 904"/>
              <a:gd name="T34" fmla="*/ 665 w 874"/>
              <a:gd name="T35" fmla="*/ 176 h 904"/>
              <a:gd name="T36" fmla="*/ 708 w 874"/>
              <a:gd name="T37" fmla="*/ 229 h 904"/>
              <a:gd name="T38" fmla="*/ 780 w 874"/>
              <a:gd name="T39" fmla="*/ 242 h 904"/>
              <a:gd name="T40" fmla="*/ 813 w 874"/>
              <a:gd name="T41" fmla="*/ 256 h 904"/>
              <a:gd name="T42" fmla="*/ 836 w 874"/>
              <a:gd name="T43" fmla="*/ 285 h 904"/>
              <a:gd name="T44" fmla="*/ 844 w 874"/>
              <a:gd name="T45" fmla="*/ 325 h 904"/>
              <a:gd name="T46" fmla="*/ 833 w 874"/>
              <a:gd name="T47" fmla="*/ 362 h 904"/>
              <a:gd name="T48" fmla="*/ 807 w 874"/>
              <a:gd name="T49" fmla="*/ 384 h 904"/>
              <a:gd name="T50" fmla="*/ 769 w 874"/>
              <a:gd name="T51" fmla="*/ 391 h 904"/>
              <a:gd name="T52" fmla="*/ 323 w 874"/>
              <a:gd name="T53" fmla="*/ 421 h 904"/>
              <a:gd name="T54" fmla="*/ 357 w 874"/>
              <a:gd name="T55" fmla="*/ 873 h 904"/>
              <a:gd name="T56" fmla="*/ 732 w 874"/>
              <a:gd name="T57" fmla="*/ 211 h 904"/>
              <a:gd name="T58" fmla="*/ 684 w 874"/>
              <a:gd name="T59" fmla="*/ 152 h 904"/>
              <a:gd name="T60" fmla="*/ 636 w 874"/>
              <a:gd name="T61" fmla="*/ 126 h 904"/>
              <a:gd name="T62" fmla="*/ 586 w 874"/>
              <a:gd name="T63" fmla="*/ 80 h 904"/>
              <a:gd name="T64" fmla="*/ 534 w 874"/>
              <a:gd name="T65" fmla="*/ 30 h 904"/>
              <a:gd name="T66" fmla="*/ 456 w 874"/>
              <a:gd name="T67" fmla="*/ 1 h 904"/>
              <a:gd name="T68" fmla="*/ 368 w 874"/>
              <a:gd name="T69" fmla="*/ 14 h 904"/>
              <a:gd name="T70" fmla="*/ 306 w 874"/>
              <a:gd name="T71" fmla="*/ 60 h 904"/>
              <a:gd name="T72" fmla="*/ 262 w 874"/>
              <a:gd name="T73" fmla="*/ 122 h 904"/>
              <a:gd name="T74" fmla="*/ 208 w 874"/>
              <a:gd name="T75" fmla="*/ 140 h 904"/>
              <a:gd name="T76" fmla="*/ 157 w 874"/>
              <a:gd name="T77" fmla="*/ 187 h 904"/>
              <a:gd name="T78" fmla="*/ 88 w 874"/>
              <a:gd name="T79" fmla="*/ 212 h 904"/>
              <a:gd name="T80" fmla="*/ 45 w 874"/>
              <a:gd name="T81" fmla="*/ 231 h 904"/>
              <a:gd name="T82" fmla="*/ 10 w 874"/>
              <a:gd name="T83" fmla="*/ 271 h 904"/>
              <a:gd name="T84" fmla="*/ 1 w 874"/>
              <a:gd name="T85" fmla="*/ 328 h 904"/>
              <a:gd name="T86" fmla="*/ 17 w 874"/>
              <a:gd name="T87" fmla="*/ 379 h 904"/>
              <a:gd name="T88" fmla="*/ 52 w 874"/>
              <a:gd name="T89" fmla="*/ 411 h 904"/>
              <a:gd name="T90" fmla="*/ 105 w 874"/>
              <a:gd name="T91" fmla="*/ 421 h 904"/>
              <a:gd name="T92" fmla="*/ 252 w 874"/>
              <a:gd name="T93" fmla="*/ 633 h 904"/>
              <a:gd name="T94" fmla="*/ 241 w 874"/>
              <a:gd name="T95" fmla="*/ 646 h 904"/>
              <a:gd name="T96" fmla="*/ 338 w 874"/>
              <a:gd name="T97" fmla="*/ 901 h 904"/>
              <a:gd name="T98" fmla="*/ 535 w 874"/>
              <a:gd name="T99" fmla="*/ 901 h 904"/>
              <a:gd name="T100" fmla="*/ 633 w 874"/>
              <a:gd name="T101" fmla="*/ 646 h 904"/>
              <a:gd name="T102" fmla="*/ 621 w 874"/>
              <a:gd name="T103" fmla="*/ 633 h 904"/>
              <a:gd name="T104" fmla="*/ 769 w 874"/>
              <a:gd name="T105" fmla="*/ 421 h 904"/>
              <a:gd name="T106" fmla="*/ 822 w 874"/>
              <a:gd name="T107" fmla="*/ 411 h 904"/>
              <a:gd name="T108" fmla="*/ 857 w 874"/>
              <a:gd name="T109" fmla="*/ 379 h 904"/>
              <a:gd name="T110" fmla="*/ 874 w 874"/>
              <a:gd name="T111" fmla="*/ 328 h 904"/>
              <a:gd name="T112" fmla="*/ 864 w 874"/>
              <a:gd name="T113" fmla="*/ 271 h 904"/>
              <a:gd name="T114" fmla="*/ 830 w 874"/>
              <a:gd name="T115" fmla="*/ 231 h 904"/>
              <a:gd name="T116" fmla="*/ 785 w 874"/>
              <a:gd name="T117" fmla="*/ 212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4" h="904">
                <a:moveTo>
                  <a:pt x="769" y="391"/>
                </a:moveTo>
                <a:lnTo>
                  <a:pt x="105" y="391"/>
                </a:lnTo>
                <a:lnTo>
                  <a:pt x="97" y="390"/>
                </a:lnTo>
                <a:lnTo>
                  <a:pt x="88" y="390"/>
                </a:lnTo>
                <a:lnTo>
                  <a:pt x="81" y="388"/>
                </a:lnTo>
                <a:lnTo>
                  <a:pt x="73" y="386"/>
                </a:lnTo>
                <a:lnTo>
                  <a:pt x="67" y="384"/>
                </a:lnTo>
                <a:lnTo>
                  <a:pt x="61" y="381"/>
                </a:lnTo>
                <a:lnTo>
                  <a:pt x="55" y="377"/>
                </a:lnTo>
                <a:lnTo>
                  <a:pt x="50" y="372"/>
                </a:lnTo>
                <a:lnTo>
                  <a:pt x="46" y="367"/>
                </a:lnTo>
                <a:lnTo>
                  <a:pt x="41" y="362"/>
                </a:lnTo>
                <a:lnTo>
                  <a:pt x="38" y="355"/>
                </a:lnTo>
                <a:lnTo>
                  <a:pt x="35" y="349"/>
                </a:lnTo>
                <a:lnTo>
                  <a:pt x="33" y="341"/>
                </a:lnTo>
                <a:lnTo>
                  <a:pt x="32" y="334"/>
                </a:lnTo>
                <a:lnTo>
                  <a:pt x="31" y="325"/>
                </a:lnTo>
                <a:lnTo>
                  <a:pt x="31" y="316"/>
                </a:lnTo>
                <a:lnTo>
                  <a:pt x="31" y="307"/>
                </a:lnTo>
                <a:lnTo>
                  <a:pt x="32" y="299"/>
                </a:lnTo>
                <a:lnTo>
                  <a:pt x="35" y="292"/>
                </a:lnTo>
                <a:lnTo>
                  <a:pt x="38" y="285"/>
                </a:lnTo>
                <a:lnTo>
                  <a:pt x="41" y="278"/>
                </a:lnTo>
                <a:lnTo>
                  <a:pt x="46" y="272"/>
                </a:lnTo>
                <a:lnTo>
                  <a:pt x="51" y="266"/>
                </a:lnTo>
                <a:lnTo>
                  <a:pt x="56" y="261"/>
                </a:lnTo>
                <a:lnTo>
                  <a:pt x="62" y="256"/>
                </a:lnTo>
                <a:lnTo>
                  <a:pt x="68" y="252"/>
                </a:lnTo>
                <a:lnTo>
                  <a:pt x="74" y="248"/>
                </a:lnTo>
                <a:lnTo>
                  <a:pt x="81" y="246"/>
                </a:lnTo>
                <a:lnTo>
                  <a:pt x="87" y="244"/>
                </a:lnTo>
                <a:lnTo>
                  <a:pt x="94" y="242"/>
                </a:lnTo>
                <a:lnTo>
                  <a:pt x="99" y="241"/>
                </a:lnTo>
                <a:lnTo>
                  <a:pt x="105" y="241"/>
                </a:lnTo>
                <a:lnTo>
                  <a:pt x="160" y="241"/>
                </a:lnTo>
                <a:lnTo>
                  <a:pt x="164" y="233"/>
                </a:lnTo>
                <a:lnTo>
                  <a:pt x="166" y="229"/>
                </a:lnTo>
                <a:lnTo>
                  <a:pt x="172" y="219"/>
                </a:lnTo>
                <a:lnTo>
                  <a:pt x="181" y="206"/>
                </a:lnTo>
                <a:lnTo>
                  <a:pt x="193" y="191"/>
                </a:lnTo>
                <a:lnTo>
                  <a:pt x="201" y="183"/>
                </a:lnTo>
                <a:lnTo>
                  <a:pt x="208" y="176"/>
                </a:lnTo>
                <a:lnTo>
                  <a:pt x="218" y="169"/>
                </a:lnTo>
                <a:lnTo>
                  <a:pt x="226" y="163"/>
                </a:lnTo>
                <a:lnTo>
                  <a:pt x="237" y="157"/>
                </a:lnTo>
                <a:lnTo>
                  <a:pt x="248" y="154"/>
                </a:lnTo>
                <a:lnTo>
                  <a:pt x="260" y="151"/>
                </a:lnTo>
                <a:lnTo>
                  <a:pt x="271" y="150"/>
                </a:lnTo>
                <a:lnTo>
                  <a:pt x="281" y="150"/>
                </a:lnTo>
                <a:lnTo>
                  <a:pt x="285" y="141"/>
                </a:lnTo>
                <a:lnTo>
                  <a:pt x="287" y="137"/>
                </a:lnTo>
                <a:lnTo>
                  <a:pt x="295" y="124"/>
                </a:lnTo>
                <a:lnTo>
                  <a:pt x="300" y="116"/>
                </a:lnTo>
                <a:lnTo>
                  <a:pt x="307" y="106"/>
                </a:lnTo>
                <a:lnTo>
                  <a:pt x="314" y="96"/>
                </a:lnTo>
                <a:lnTo>
                  <a:pt x="323" y="86"/>
                </a:lnTo>
                <a:lnTo>
                  <a:pt x="332" y="75"/>
                </a:lnTo>
                <a:lnTo>
                  <a:pt x="344" y="65"/>
                </a:lnTo>
                <a:lnTo>
                  <a:pt x="356" y="56"/>
                </a:lnTo>
                <a:lnTo>
                  <a:pt x="370" y="47"/>
                </a:lnTo>
                <a:lnTo>
                  <a:pt x="385" y="40"/>
                </a:lnTo>
                <a:lnTo>
                  <a:pt x="401" y="34"/>
                </a:lnTo>
                <a:lnTo>
                  <a:pt x="409" y="32"/>
                </a:lnTo>
                <a:lnTo>
                  <a:pt x="418" y="31"/>
                </a:lnTo>
                <a:lnTo>
                  <a:pt x="427" y="30"/>
                </a:lnTo>
                <a:lnTo>
                  <a:pt x="437" y="30"/>
                </a:lnTo>
                <a:lnTo>
                  <a:pt x="447" y="30"/>
                </a:lnTo>
                <a:lnTo>
                  <a:pt x="455" y="31"/>
                </a:lnTo>
                <a:lnTo>
                  <a:pt x="464" y="32"/>
                </a:lnTo>
                <a:lnTo>
                  <a:pt x="472" y="34"/>
                </a:lnTo>
                <a:lnTo>
                  <a:pt x="490" y="40"/>
                </a:lnTo>
                <a:lnTo>
                  <a:pt x="503" y="47"/>
                </a:lnTo>
                <a:lnTo>
                  <a:pt x="517" y="56"/>
                </a:lnTo>
                <a:lnTo>
                  <a:pt x="530" y="65"/>
                </a:lnTo>
                <a:lnTo>
                  <a:pt x="541" y="75"/>
                </a:lnTo>
                <a:lnTo>
                  <a:pt x="552" y="86"/>
                </a:lnTo>
                <a:lnTo>
                  <a:pt x="560" y="96"/>
                </a:lnTo>
                <a:lnTo>
                  <a:pt x="568" y="106"/>
                </a:lnTo>
                <a:lnTo>
                  <a:pt x="574" y="116"/>
                </a:lnTo>
                <a:lnTo>
                  <a:pt x="579" y="124"/>
                </a:lnTo>
                <a:lnTo>
                  <a:pt x="587" y="137"/>
                </a:lnTo>
                <a:lnTo>
                  <a:pt x="589" y="141"/>
                </a:lnTo>
                <a:lnTo>
                  <a:pt x="592" y="150"/>
                </a:lnTo>
                <a:lnTo>
                  <a:pt x="603" y="150"/>
                </a:lnTo>
                <a:lnTo>
                  <a:pt x="615" y="151"/>
                </a:lnTo>
                <a:lnTo>
                  <a:pt x="626" y="154"/>
                </a:lnTo>
                <a:lnTo>
                  <a:pt x="637" y="157"/>
                </a:lnTo>
                <a:lnTo>
                  <a:pt x="647" y="163"/>
                </a:lnTo>
                <a:lnTo>
                  <a:pt x="656" y="169"/>
                </a:lnTo>
                <a:lnTo>
                  <a:pt x="665" y="176"/>
                </a:lnTo>
                <a:lnTo>
                  <a:pt x="673" y="183"/>
                </a:lnTo>
                <a:lnTo>
                  <a:pt x="681" y="191"/>
                </a:lnTo>
                <a:lnTo>
                  <a:pt x="693" y="206"/>
                </a:lnTo>
                <a:lnTo>
                  <a:pt x="702" y="219"/>
                </a:lnTo>
                <a:lnTo>
                  <a:pt x="708" y="229"/>
                </a:lnTo>
                <a:lnTo>
                  <a:pt x="710" y="233"/>
                </a:lnTo>
                <a:lnTo>
                  <a:pt x="714" y="241"/>
                </a:lnTo>
                <a:lnTo>
                  <a:pt x="769" y="241"/>
                </a:lnTo>
                <a:lnTo>
                  <a:pt x="774" y="241"/>
                </a:lnTo>
                <a:lnTo>
                  <a:pt x="780" y="242"/>
                </a:lnTo>
                <a:lnTo>
                  <a:pt x="787" y="244"/>
                </a:lnTo>
                <a:lnTo>
                  <a:pt x="793" y="246"/>
                </a:lnTo>
                <a:lnTo>
                  <a:pt x="800" y="248"/>
                </a:lnTo>
                <a:lnTo>
                  <a:pt x="806" y="252"/>
                </a:lnTo>
                <a:lnTo>
                  <a:pt x="813" y="256"/>
                </a:lnTo>
                <a:lnTo>
                  <a:pt x="818" y="261"/>
                </a:lnTo>
                <a:lnTo>
                  <a:pt x="823" y="266"/>
                </a:lnTo>
                <a:lnTo>
                  <a:pt x="829" y="272"/>
                </a:lnTo>
                <a:lnTo>
                  <a:pt x="833" y="278"/>
                </a:lnTo>
                <a:lnTo>
                  <a:pt x="836" y="285"/>
                </a:lnTo>
                <a:lnTo>
                  <a:pt x="839" y="292"/>
                </a:lnTo>
                <a:lnTo>
                  <a:pt x="841" y="299"/>
                </a:lnTo>
                <a:lnTo>
                  <a:pt x="844" y="307"/>
                </a:lnTo>
                <a:lnTo>
                  <a:pt x="844" y="316"/>
                </a:lnTo>
                <a:lnTo>
                  <a:pt x="844" y="325"/>
                </a:lnTo>
                <a:lnTo>
                  <a:pt x="842" y="334"/>
                </a:lnTo>
                <a:lnTo>
                  <a:pt x="840" y="341"/>
                </a:lnTo>
                <a:lnTo>
                  <a:pt x="838" y="349"/>
                </a:lnTo>
                <a:lnTo>
                  <a:pt x="836" y="355"/>
                </a:lnTo>
                <a:lnTo>
                  <a:pt x="833" y="362"/>
                </a:lnTo>
                <a:lnTo>
                  <a:pt x="829" y="367"/>
                </a:lnTo>
                <a:lnTo>
                  <a:pt x="824" y="372"/>
                </a:lnTo>
                <a:lnTo>
                  <a:pt x="819" y="377"/>
                </a:lnTo>
                <a:lnTo>
                  <a:pt x="814" y="381"/>
                </a:lnTo>
                <a:lnTo>
                  <a:pt x="807" y="384"/>
                </a:lnTo>
                <a:lnTo>
                  <a:pt x="801" y="386"/>
                </a:lnTo>
                <a:lnTo>
                  <a:pt x="793" y="388"/>
                </a:lnTo>
                <a:lnTo>
                  <a:pt x="786" y="390"/>
                </a:lnTo>
                <a:lnTo>
                  <a:pt x="777" y="390"/>
                </a:lnTo>
                <a:lnTo>
                  <a:pt x="769" y="391"/>
                </a:lnTo>
                <a:close/>
                <a:moveTo>
                  <a:pt x="452" y="521"/>
                </a:moveTo>
                <a:lnTo>
                  <a:pt x="452" y="421"/>
                </a:lnTo>
                <a:lnTo>
                  <a:pt x="552" y="421"/>
                </a:lnTo>
                <a:lnTo>
                  <a:pt x="452" y="521"/>
                </a:lnTo>
                <a:close/>
                <a:moveTo>
                  <a:pt x="323" y="421"/>
                </a:moveTo>
                <a:lnTo>
                  <a:pt x="422" y="421"/>
                </a:lnTo>
                <a:lnTo>
                  <a:pt x="422" y="521"/>
                </a:lnTo>
                <a:lnTo>
                  <a:pt x="323" y="421"/>
                </a:lnTo>
                <a:close/>
                <a:moveTo>
                  <a:pt x="517" y="873"/>
                </a:moveTo>
                <a:lnTo>
                  <a:pt x="357" y="873"/>
                </a:lnTo>
                <a:lnTo>
                  <a:pt x="278" y="662"/>
                </a:lnTo>
                <a:lnTo>
                  <a:pt x="596" y="662"/>
                </a:lnTo>
                <a:lnTo>
                  <a:pt x="517" y="873"/>
                </a:lnTo>
                <a:close/>
                <a:moveTo>
                  <a:pt x="769" y="211"/>
                </a:moveTo>
                <a:lnTo>
                  <a:pt x="732" y="211"/>
                </a:lnTo>
                <a:lnTo>
                  <a:pt x="726" y="200"/>
                </a:lnTo>
                <a:lnTo>
                  <a:pt x="717" y="187"/>
                </a:lnTo>
                <a:lnTo>
                  <a:pt x="706" y="173"/>
                </a:lnTo>
                <a:lnTo>
                  <a:pt x="692" y="159"/>
                </a:lnTo>
                <a:lnTo>
                  <a:pt x="684" y="152"/>
                </a:lnTo>
                <a:lnTo>
                  <a:pt x="676" y="145"/>
                </a:lnTo>
                <a:lnTo>
                  <a:pt x="666" y="140"/>
                </a:lnTo>
                <a:lnTo>
                  <a:pt x="656" y="134"/>
                </a:lnTo>
                <a:lnTo>
                  <a:pt x="647" y="129"/>
                </a:lnTo>
                <a:lnTo>
                  <a:pt x="636" y="126"/>
                </a:lnTo>
                <a:lnTo>
                  <a:pt x="624" y="123"/>
                </a:lnTo>
                <a:lnTo>
                  <a:pt x="613" y="122"/>
                </a:lnTo>
                <a:lnTo>
                  <a:pt x="605" y="108"/>
                </a:lnTo>
                <a:lnTo>
                  <a:pt x="593" y="90"/>
                </a:lnTo>
                <a:lnTo>
                  <a:pt x="586" y="80"/>
                </a:lnTo>
                <a:lnTo>
                  <a:pt x="578" y="70"/>
                </a:lnTo>
                <a:lnTo>
                  <a:pt x="569" y="60"/>
                </a:lnTo>
                <a:lnTo>
                  <a:pt x="558" y="49"/>
                </a:lnTo>
                <a:lnTo>
                  <a:pt x="547" y="40"/>
                </a:lnTo>
                <a:lnTo>
                  <a:pt x="534" y="30"/>
                </a:lnTo>
                <a:lnTo>
                  <a:pt x="522" y="21"/>
                </a:lnTo>
                <a:lnTo>
                  <a:pt x="507" y="14"/>
                </a:lnTo>
                <a:lnTo>
                  <a:pt x="491" y="9"/>
                </a:lnTo>
                <a:lnTo>
                  <a:pt x="475" y="3"/>
                </a:lnTo>
                <a:lnTo>
                  <a:pt x="456" y="1"/>
                </a:lnTo>
                <a:lnTo>
                  <a:pt x="437" y="0"/>
                </a:lnTo>
                <a:lnTo>
                  <a:pt x="418" y="1"/>
                </a:lnTo>
                <a:lnTo>
                  <a:pt x="400" y="3"/>
                </a:lnTo>
                <a:lnTo>
                  <a:pt x="383" y="9"/>
                </a:lnTo>
                <a:lnTo>
                  <a:pt x="368" y="14"/>
                </a:lnTo>
                <a:lnTo>
                  <a:pt x="353" y="21"/>
                </a:lnTo>
                <a:lnTo>
                  <a:pt x="339" y="30"/>
                </a:lnTo>
                <a:lnTo>
                  <a:pt x="327" y="40"/>
                </a:lnTo>
                <a:lnTo>
                  <a:pt x="315" y="49"/>
                </a:lnTo>
                <a:lnTo>
                  <a:pt x="306" y="60"/>
                </a:lnTo>
                <a:lnTo>
                  <a:pt x="296" y="70"/>
                </a:lnTo>
                <a:lnTo>
                  <a:pt x="287" y="80"/>
                </a:lnTo>
                <a:lnTo>
                  <a:pt x="281" y="90"/>
                </a:lnTo>
                <a:lnTo>
                  <a:pt x="269" y="108"/>
                </a:lnTo>
                <a:lnTo>
                  <a:pt x="262" y="122"/>
                </a:lnTo>
                <a:lnTo>
                  <a:pt x="250" y="123"/>
                </a:lnTo>
                <a:lnTo>
                  <a:pt x="238" y="126"/>
                </a:lnTo>
                <a:lnTo>
                  <a:pt x="227" y="129"/>
                </a:lnTo>
                <a:lnTo>
                  <a:pt x="218" y="134"/>
                </a:lnTo>
                <a:lnTo>
                  <a:pt x="208" y="140"/>
                </a:lnTo>
                <a:lnTo>
                  <a:pt x="199" y="145"/>
                </a:lnTo>
                <a:lnTo>
                  <a:pt x="190" y="152"/>
                </a:lnTo>
                <a:lnTo>
                  <a:pt x="183" y="159"/>
                </a:lnTo>
                <a:lnTo>
                  <a:pt x="169" y="173"/>
                </a:lnTo>
                <a:lnTo>
                  <a:pt x="157" y="187"/>
                </a:lnTo>
                <a:lnTo>
                  <a:pt x="148" y="200"/>
                </a:lnTo>
                <a:lnTo>
                  <a:pt x="142" y="211"/>
                </a:lnTo>
                <a:lnTo>
                  <a:pt x="105" y="211"/>
                </a:lnTo>
                <a:lnTo>
                  <a:pt x="97" y="211"/>
                </a:lnTo>
                <a:lnTo>
                  <a:pt x="88" y="212"/>
                </a:lnTo>
                <a:lnTo>
                  <a:pt x="80" y="214"/>
                </a:lnTo>
                <a:lnTo>
                  <a:pt x="71" y="217"/>
                </a:lnTo>
                <a:lnTo>
                  <a:pt x="62" y="221"/>
                </a:lnTo>
                <a:lnTo>
                  <a:pt x="53" y="226"/>
                </a:lnTo>
                <a:lnTo>
                  <a:pt x="45" y="231"/>
                </a:lnTo>
                <a:lnTo>
                  <a:pt x="37" y="237"/>
                </a:lnTo>
                <a:lnTo>
                  <a:pt x="30" y="245"/>
                </a:lnTo>
                <a:lnTo>
                  <a:pt x="22" y="252"/>
                </a:lnTo>
                <a:lnTo>
                  <a:pt x="16" y="261"/>
                </a:lnTo>
                <a:lnTo>
                  <a:pt x="10" y="271"/>
                </a:lnTo>
                <a:lnTo>
                  <a:pt x="6" y="281"/>
                </a:lnTo>
                <a:lnTo>
                  <a:pt x="3" y="292"/>
                </a:lnTo>
                <a:lnTo>
                  <a:pt x="1" y="304"/>
                </a:lnTo>
                <a:lnTo>
                  <a:pt x="0" y="316"/>
                </a:lnTo>
                <a:lnTo>
                  <a:pt x="1" y="328"/>
                </a:lnTo>
                <a:lnTo>
                  <a:pt x="2" y="339"/>
                </a:lnTo>
                <a:lnTo>
                  <a:pt x="4" y="350"/>
                </a:lnTo>
                <a:lnTo>
                  <a:pt x="7" y="360"/>
                </a:lnTo>
                <a:lnTo>
                  <a:pt x="11" y="370"/>
                </a:lnTo>
                <a:lnTo>
                  <a:pt x="17" y="379"/>
                </a:lnTo>
                <a:lnTo>
                  <a:pt x="22" y="386"/>
                </a:lnTo>
                <a:lnTo>
                  <a:pt x="28" y="394"/>
                </a:lnTo>
                <a:lnTo>
                  <a:pt x="36" y="400"/>
                </a:lnTo>
                <a:lnTo>
                  <a:pt x="43" y="405"/>
                </a:lnTo>
                <a:lnTo>
                  <a:pt x="52" y="411"/>
                </a:lnTo>
                <a:lnTo>
                  <a:pt x="62" y="414"/>
                </a:lnTo>
                <a:lnTo>
                  <a:pt x="71" y="417"/>
                </a:lnTo>
                <a:lnTo>
                  <a:pt x="82" y="419"/>
                </a:lnTo>
                <a:lnTo>
                  <a:pt x="94" y="420"/>
                </a:lnTo>
                <a:lnTo>
                  <a:pt x="105" y="421"/>
                </a:lnTo>
                <a:lnTo>
                  <a:pt x="280" y="421"/>
                </a:lnTo>
                <a:lnTo>
                  <a:pt x="422" y="565"/>
                </a:lnTo>
                <a:lnTo>
                  <a:pt x="422" y="632"/>
                </a:lnTo>
                <a:lnTo>
                  <a:pt x="256" y="632"/>
                </a:lnTo>
                <a:lnTo>
                  <a:pt x="252" y="633"/>
                </a:lnTo>
                <a:lnTo>
                  <a:pt x="249" y="634"/>
                </a:lnTo>
                <a:lnTo>
                  <a:pt x="247" y="636"/>
                </a:lnTo>
                <a:lnTo>
                  <a:pt x="243" y="640"/>
                </a:lnTo>
                <a:lnTo>
                  <a:pt x="242" y="643"/>
                </a:lnTo>
                <a:lnTo>
                  <a:pt x="241" y="646"/>
                </a:lnTo>
                <a:lnTo>
                  <a:pt x="241" y="649"/>
                </a:lnTo>
                <a:lnTo>
                  <a:pt x="242" y="654"/>
                </a:lnTo>
                <a:lnTo>
                  <a:pt x="332" y="894"/>
                </a:lnTo>
                <a:lnTo>
                  <a:pt x="334" y="898"/>
                </a:lnTo>
                <a:lnTo>
                  <a:pt x="338" y="901"/>
                </a:lnTo>
                <a:lnTo>
                  <a:pt x="342" y="903"/>
                </a:lnTo>
                <a:lnTo>
                  <a:pt x="346" y="904"/>
                </a:lnTo>
                <a:lnTo>
                  <a:pt x="527" y="904"/>
                </a:lnTo>
                <a:lnTo>
                  <a:pt x="532" y="903"/>
                </a:lnTo>
                <a:lnTo>
                  <a:pt x="535" y="901"/>
                </a:lnTo>
                <a:lnTo>
                  <a:pt x="539" y="898"/>
                </a:lnTo>
                <a:lnTo>
                  <a:pt x="542" y="894"/>
                </a:lnTo>
                <a:lnTo>
                  <a:pt x="632" y="654"/>
                </a:lnTo>
                <a:lnTo>
                  <a:pt x="633" y="649"/>
                </a:lnTo>
                <a:lnTo>
                  <a:pt x="633" y="646"/>
                </a:lnTo>
                <a:lnTo>
                  <a:pt x="632" y="643"/>
                </a:lnTo>
                <a:lnTo>
                  <a:pt x="630" y="640"/>
                </a:lnTo>
                <a:lnTo>
                  <a:pt x="627" y="636"/>
                </a:lnTo>
                <a:lnTo>
                  <a:pt x="624" y="634"/>
                </a:lnTo>
                <a:lnTo>
                  <a:pt x="621" y="633"/>
                </a:lnTo>
                <a:lnTo>
                  <a:pt x="618" y="632"/>
                </a:lnTo>
                <a:lnTo>
                  <a:pt x="452" y="632"/>
                </a:lnTo>
                <a:lnTo>
                  <a:pt x="452" y="565"/>
                </a:lnTo>
                <a:lnTo>
                  <a:pt x="593" y="421"/>
                </a:lnTo>
                <a:lnTo>
                  <a:pt x="769" y="421"/>
                </a:lnTo>
                <a:lnTo>
                  <a:pt x="780" y="420"/>
                </a:lnTo>
                <a:lnTo>
                  <a:pt x="791" y="419"/>
                </a:lnTo>
                <a:lnTo>
                  <a:pt x="802" y="417"/>
                </a:lnTo>
                <a:lnTo>
                  <a:pt x="813" y="414"/>
                </a:lnTo>
                <a:lnTo>
                  <a:pt x="822" y="411"/>
                </a:lnTo>
                <a:lnTo>
                  <a:pt x="831" y="405"/>
                </a:lnTo>
                <a:lnTo>
                  <a:pt x="838" y="400"/>
                </a:lnTo>
                <a:lnTo>
                  <a:pt x="846" y="394"/>
                </a:lnTo>
                <a:lnTo>
                  <a:pt x="852" y="386"/>
                </a:lnTo>
                <a:lnTo>
                  <a:pt x="857" y="379"/>
                </a:lnTo>
                <a:lnTo>
                  <a:pt x="863" y="370"/>
                </a:lnTo>
                <a:lnTo>
                  <a:pt x="866" y="360"/>
                </a:lnTo>
                <a:lnTo>
                  <a:pt x="869" y="350"/>
                </a:lnTo>
                <a:lnTo>
                  <a:pt x="872" y="339"/>
                </a:lnTo>
                <a:lnTo>
                  <a:pt x="874" y="328"/>
                </a:lnTo>
                <a:lnTo>
                  <a:pt x="874" y="316"/>
                </a:lnTo>
                <a:lnTo>
                  <a:pt x="874" y="304"/>
                </a:lnTo>
                <a:lnTo>
                  <a:pt x="871" y="292"/>
                </a:lnTo>
                <a:lnTo>
                  <a:pt x="868" y="281"/>
                </a:lnTo>
                <a:lnTo>
                  <a:pt x="864" y="271"/>
                </a:lnTo>
                <a:lnTo>
                  <a:pt x="859" y="261"/>
                </a:lnTo>
                <a:lnTo>
                  <a:pt x="852" y="252"/>
                </a:lnTo>
                <a:lnTo>
                  <a:pt x="845" y="245"/>
                </a:lnTo>
                <a:lnTo>
                  <a:pt x="837" y="237"/>
                </a:lnTo>
                <a:lnTo>
                  <a:pt x="830" y="231"/>
                </a:lnTo>
                <a:lnTo>
                  <a:pt x="821" y="226"/>
                </a:lnTo>
                <a:lnTo>
                  <a:pt x="811" y="221"/>
                </a:lnTo>
                <a:lnTo>
                  <a:pt x="803" y="217"/>
                </a:lnTo>
                <a:lnTo>
                  <a:pt x="794" y="214"/>
                </a:lnTo>
                <a:lnTo>
                  <a:pt x="785" y="212"/>
                </a:lnTo>
                <a:lnTo>
                  <a:pt x="776" y="211"/>
                </a:lnTo>
                <a:lnTo>
                  <a:pt x="769" y="21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877" name="Group 411">
            <a:extLst>
              <a:ext uri="{FF2B5EF4-FFF2-40B4-BE49-F238E27FC236}">
                <a16:creationId xmlns:a16="http://schemas.microsoft.com/office/drawing/2014/main" id="{F0D89D77-FE29-4514-94C0-6C56D62C61EF}"/>
              </a:ext>
            </a:extLst>
          </p:cNvPr>
          <p:cNvGrpSpPr>
            <a:grpSpLocks noChangeAspect="1"/>
          </p:cNvGrpSpPr>
          <p:nvPr/>
        </p:nvGrpSpPr>
        <p:grpSpPr>
          <a:xfrm>
            <a:off x="4442867" y="5944848"/>
            <a:ext cx="300243" cy="308144"/>
            <a:chOff x="7383463" y="835025"/>
            <a:chExt cx="361950" cy="371475"/>
          </a:xfrm>
          <a:solidFill>
            <a:schemeClr val="bg1"/>
          </a:solidFill>
          <a:effectLst/>
        </p:grpSpPr>
        <p:sp>
          <p:nvSpPr>
            <p:cNvPr id="878" name="Freeform 37">
              <a:extLst>
                <a:ext uri="{FF2B5EF4-FFF2-40B4-BE49-F238E27FC236}">
                  <a16:creationId xmlns:a16="http://schemas.microsoft.com/office/drawing/2014/main" id="{A5EB7B74-2661-4EC8-B295-E7134A6D9C63}"/>
                </a:ext>
              </a:extLst>
            </p:cNvPr>
            <p:cNvSpPr>
              <a:spLocks noEditPoints="1"/>
            </p:cNvSpPr>
            <p:nvPr/>
          </p:nvSpPr>
          <p:spPr bwMode="auto">
            <a:xfrm>
              <a:off x="7383463" y="835025"/>
              <a:ext cx="169863" cy="293688"/>
            </a:xfrm>
            <a:custGeom>
              <a:avLst/>
              <a:gdLst>
                <a:gd name="T0" fmla="*/ 36 w 44"/>
                <a:gd name="T1" fmla="*/ 76 h 76"/>
                <a:gd name="T2" fmla="*/ 8 w 44"/>
                <a:gd name="T3" fmla="*/ 76 h 76"/>
                <a:gd name="T4" fmla="*/ 0 w 44"/>
                <a:gd name="T5" fmla="*/ 68 h 76"/>
                <a:gd name="T6" fmla="*/ 0 w 44"/>
                <a:gd name="T7" fmla="*/ 67 h 76"/>
                <a:gd name="T8" fmla="*/ 20 w 44"/>
                <a:gd name="T9" fmla="*/ 1 h 76"/>
                <a:gd name="T10" fmla="*/ 24 w 44"/>
                <a:gd name="T11" fmla="*/ 1 h 76"/>
                <a:gd name="T12" fmla="*/ 44 w 44"/>
                <a:gd name="T13" fmla="*/ 67 h 76"/>
                <a:gd name="T14" fmla="*/ 44 w 44"/>
                <a:gd name="T15" fmla="*/ 68 h 76"/>
                <a:gd name="T16" fmla="*/ 36 w 44"/>
                <a:gd name="T17" fmla="*/ 76 h 76"/>
                <a:gd name="T18" fmla="*/ 4 w 44"/>
                <a:gd name="T19" fmla="*/ 68 h 76"/>
                <a:gd name="T20" fmla="*/ 8 w 44"/>
                <a:gd name="T21" fmla="*/ 72 h 76"/>
                <a:gd name="T22" fmla="*/ 36 w 44"/>
                <a:gd name="T23" fmla="*/ 72 h 76"/>
                <a:gd name="T24" fmla="*/ 40 w 44"/>
                <a:gd name="T25" fmla="*/ 68 h 76"/>
                <a:gd name="T26" fmla="*/ 22 w 44"/>
                <a:gd name="T27" fmla="*/ 9 h 76"/>
                <a:gd name="T28" fmla="*/ 4 w 44"/>
                <a:gd name="T29"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76">
                  <a:moveTo>
                    <a:pt x="36" y="76"/>
                  </a:moveTo>
                  <a:cubicBezTo>
                    <a:pt x="8" y="76"/>
                    <a:pt x="8" y="76"/>
                    <a:pt x="8" y="76"/>
                  </a:cubicBezTo>
                  <a:cubicBezTo>
                    <a:pt x="4" y="76"/>
                    <a:pt x="0" y="72"/>
                    <a:pt x="0" y="68"/>
                  </a:cubicBezTo>
                  <a:cubicBezTo>
                    <a:pt x="0" y="68"/>
                    <a:pt x="0" y="68"/>
                    <a:pt x="0" y="67"/>
                  </a:cubicBezTo>
                  <a:cubicBezTo>
                    <a:pt x="20" y="1"/>
                    <a:pt x="20" y="1"/>
                    <a:pt x="20" y="1"/>
                  </a:cubicBezTo>
                  <a:cubicBezTo>
                    <a:pt x="21" y="0"/>
                    <a:pt x="23" y="0"/>
                    <a:pt x="24" y="1"/>
                  </a:cubicBezTo>
                  <a:cubicBezTo>
                    <a:pt x="44" y="67"/>
                    <a:pt x="44" y="67"/>
                    <a:pt x="44" y="67"/>
                  </a:cubicBezTo>
                  <a:cubicBezTo>
                    <a:pt x="44" y="68"/>
                    <a:pt x="44" y="68"/>
                    <a:pt x="44" y="68"/>
                  </a:cubicBezTo>
                  <a:cubicBezTo>
                    <a:pt x="44" y="72"/>
                    <a:pt x="40" y="76"/>
                    <a:pt x="36" y="76"/>
                  </a:cubicBezTo>
                  <a:close/>
                  <a:moveTo>
                    <a:pt x="4" y="68"/>
                  </a:moveTo>
                  <a:cubicBezTo>
                    <a:pt x="4" y="70"/>
                    <a:pt x="6" y="72"/>
                    <a:pt x="8" y="72"/>
                  </a:cubicBezTo>
                  <a:cubicBezTo>
                    <a:pt x="36" y="72"/>
                    <a:pt x="36" y="72"/>
                    <a:pt x="36" y="72"/>
                  </a:cubicBezTo>
                  <a:cubicBezTo>
                    <a:pt x="38" y="72"/>
                    <a:pt x="40" y="70"/>
                    <a:pt x="40" y="68"/>
                  </a:cubicBezTo>
                  <a:cubicBezTo>
                    <a:pt x="22" y="9"/>
                    <a:pt x="22" y="9"/>
                    <a:pt x="22" y="9"/>
                  </a:cubicBezTo>
                  <a:lnTo>
                    <a:pt x="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9" name="Freeform 38">
              <a:extLst>
                <a:ext uri="{FF2B5EF4-FFF2-40B4-BE49-F238E27FC236}">
                  <a16:creationId xmlns:a16="http://schemas.microsoft.com/office/drawing/2014/main" id="{B0F7B233-F42B-4E0B-843D-03A2E0A7B223}"/>
                </a:ext>
              </a:extLst>
            </p:cNvPr>
            <p:cNvSpPr>
              <a:spLocks/>
            </p:cNvSpPr>
            <p:nvPr/>
          </p:nvSpPr>
          <p:spPr bwMode="auto">
            <a:xfrm>
              <a:off x="7461251" y="1036638"/>
              <a:ext cx="76200" cy="69850"/>
            </a:xfrm>
            <a:custGeom>
              <a:avLst/>
              <a:gdLst>
                <a:gd name="T0" fmla="*/ 2 w 20"/>
                <a:gd name="T1" fmla="*/ 18 h 18"/>
                <a:gd name="T2" fmla="*/ 0 w 20"/>
                <a:gd name="T3" fmla="*/ 16 h 18"/>
                <a:gd name="T4" fmla="*/ 5 w 20"/>
                <a:gd name="T5" fmla="*/ 4 h 18"/>
                <a:gd name="T6" fmla="*/ 18 w 20"/>
                <a:gd name="T7" fmla="*/ 0 h 18"/>
                <a:gd name="T8" fmla="*/ 20 w 20"/>
                <a:gd name="T9" fmla="*/ 2 h 18"/>
                <a:gd name="T10" fmla="*/ 18 w 20"/>
                <a:gd name="T11" fmla="*/ 4 h 18"/>
                <a:gd name="T12" fmla="*/ 8 w 20"/>
                <a:gd name="T13" fmla="*/ 7 h 18"/>
                <a:gd name="T14" fmla="*/ 4 w 20"/>
                <a:gd name="T15" fmla="*/ 16 h 18"/>
                <a:gd name="T16" fmla="*/ 2 w 2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8">
                  <a:moveTo>
                    <a:pt x="2" y="18"/>
                  </a:moveTo>
                  <a:cubicBezTo>
                    <a:pt x="1" y="18"/>
                    <a:pt x="0" y="17"/>
                    <a:pt x="0" y="16"/>
                  </a:cubicBezTo>
                  <a:cubicBezTo>
                    <a:pt x="0" y="11"/>
                    <a:pt x="2" y="7"/>
                    <a:pt x="5" y="4"/>
                  </a:cubicBezTo>
                  <a:cubicBezTo>
                    <a:pt x="9" y="1"/>
                    <a:pt x="13" y="0"/>
                    <a:pt x="18" y="0"/>
                  </a:cubicBezTo>
                  <a:cubicBezTo>
                    <a:pt x="19" y="0"/>
                    <a:pt x="20" y="1"/>
                    <a:pt x="20" y="2"/>
                  </a:cubicBezTo>
                  <a:cubicBezTo>
                    <a:pt x="20" y="3"/>
                    <a:pt x="19" y="4"/>
                    <a:pt x="18" y="4"/>
                  </a:cubicBezTo>
                  <a:cubicBezTo>
                    <a:pt x="14" y="4"/>
                    <a:pt x="11" y="5"/>
                    <a:pt x="8" y="7"/>
                  </a:cubicBezTo>
                  <a:cubicBezTo>
                    <a:pt x="5" y="9"/>
                    <a:pt x="4" y="13"/>
                    <a:pt x="4" y="16"/>
                  </a:cubicBezTo>
                  <a:cubicBezTo>
                    <a:pt x="4" y="17"/>
                    <a:pt x="3"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0" name="Freeform 39">
              <a:extLst>
                <a:ext uri="{FF2B5EF4-FFF2-40B4-BE49-F238E27FC236}">
                  <a16:creationId xmlns:a16="http://schemas.microsoft.com/office/drawing/2014/main" id="{AD06323D-CA42-4EF8-BEB6-E79D5AADD628}"/>
                </a:ext>
              </a:extLst>
            </p:cNvPr>
            <p:cNvSpPr>
              <a:spLocks/>
            </p:cNvSpPr>
            <p:nvPr/>
          </p:nvSpPr>
          <p:spPr bwMode="auto">
            <a:xfrm>
              <a:off x="7399338" y="1036638"/>
              <a:ext cx="76200" cy="69850"/>
            </a:xfrm>
            <a:custGeom>
              <a:avLst/>
              <a:gdLst>
                <a:gd name="T0" fmla="*/ 18 w 20"/>
                <a:gd name="T1" fmla="*/ 18 h 18"/>
                <a:gd name="T2" fmla="*/ 16 w 20"/>
                <a:gd name="T3" fmla="*/ 16 h 18"/>
                <a:gd name="T4" fmla="*/ 12 w 20"/>
                <a:gd name="T5" fmla="*/ 7 h 18"/>
                <a:gd name="T6" fmla="*/ 2 w 20"/>
                <a:gd name="T7" fmla="*/ 4 h 18"/>
                <a:gd name="T8" fmla="*/ 0 w 20"/>
                <a:gd name="T9" fmla="*/ 2 h 18"/>
                <a:gd name="T10" fmla="*/ 2 w 20"/>
                <a:gd name="T11" fmla="*/ 0 h 18"/>
                <a:gd name="T12" fmla="*/ 15 w 20"/>
                <a:gd name="T13" fmla="*/ 4 h 18"/>
                <a:gd name="T14" fmla="*/ 20 w 20"/>
                <a:gd name="T15" fmla="*/ 16 h 18"/>
                <a:gd name="T16" fmla="*/ 18 w 2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8">
                  <a:moveTo>
                    <a:pt x="18" y="18"/>
                  </a:moveTo>
                  <a:cubicBezTo>
                    <a:pt x="17" y="18"/>
                    <a:pt x="16" y="17"/>
                    <a:pt x="16" y="16"/>
                  </a:cubicBezTo>
                  <a:cubicBezTo>
                    <a:pt x="16" y="13"/>
                    <a:pt x="15" y="9"/>
                    <a:pt x="12" y="7"/>
                  </a:cubicBezTo>
                  <a:cubicBezTo>
                    <a:pt x="9" y="5"/>
                    <a:pt x="6" y="4"/>
                    <a:pt x="2" y="4"/>
                  </a:cubicBezTo>
                  <a:cubicBezTo>
                    <a:pt x="1" y="4"/>
                    <a:pt x="0" y="3"/>
                    <a:pt x="0" y="2"/>
                  </a:cubicBezTo>
                  <a:cubicBezTo>
                    <a:pt x="0" y="1"/>
                    <a:pt x="1" y="0"/>
                    <a:pt x="2" y="0"/>
                  </a:cubicBezTo>
                  <a:cubicBezTo>
                    <a:pt x="7" y="0"/>
                    <a:pt x="11" y="1"/>
                    <a:pt x="15" y="4"/>
                  </a:cubicBezTo>
                  <a:cubicBezTo>
                    <a:pt x="18" y="7"/>
                    <a:pt x="20" y="11"/>
                    <a:pt x="20" y="16"/>
                  </a:cubicBezTo>
                  <a:cubicBezTo>
                    <a:pt x="20" y="17"/>
                    <a:pt x="19" y="18"/>
                    <a:pt x="1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1" name="Freeform 40">
              <a:extLst>
                <a:ext uri="{FF2B5EF4-FFF2-40B4-BE49-F238E27FC236}">
                  <a16:creationId xmlns:a16="http://schemas.microsoft.com/office/drawing/2014/main" id="{28FEBA50-FA49-4EE5-9945-D659ED4F3057}"/>
                </a:ext>
              </a:extLst>
            </p:cNvPr>
            <p:cNvSpPr>
              <a:spLocks/>
            </p:cNvSpPr>
            <p:nvPr/>
          </p:nvSpPr>
          <p:spPr bwMode="auto">
            <a:xfrm>
              <a:off x="7461251" y="982663"/>
              <a:ext cx="61913" cy="53975"/>
            </a:xfrm>
            <a:custGeom>
              <a:avLst/>
              <a:gdLst>
                <a:gd name="T0" fmla="*/ 2 w 16"/>
                <a:gd name="T1" fmla="*/ 14 h 14"/>
                <a:gd name="T2" fmla="*/ 0 w 16"/>
                <a:gd name="T3" fmla="*/ 12 h 14"/>
                <a:gd name="T4" fmla="*/ 4 w 16"/>
                <a:gd name="T5" fmla="*/ 3 h 14"/>
                <a:gd name="T6" fmla="*/ 14 w 16"/>
                <a:gd name="T7" fmla="*/ 0 h 14"/>
                <a:gd name="T8" fmla="*/ 15 w 16"/>
                <a:gd name="T9" fmla="*/ 2 h 14"/>
                <a:gd name="T10" fmla="*/ 13 w 16"/>
                <a:gd name="T11" fmla="*/ 4 h 14"/>
                <a:gd name="T12" fmla="*/ 7 w 16"/>
                <a:gd name="T13" fmla="*/ 6 h 14"/>
                <a:gd name="T14" fmla="*/ 4 w 16"/>
                <a:gd name="T15" fmla="*/ 12 h 14"/>
                <a:gd name="T16" fmla="*/ 2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2" y="14"/>
                  </a:moveTo>
                  <a:cubicBezTo>
                    <a:pt x="1" y="14"/>
                    <a:pt x="0" y="13"/>
                    <a:pt x="0" y="12"/>
                  </a:cubicBezTo>
                  <a:cubicBezTo>
                    <a:pt x="0" y="8"/>
                    <a:pt x="2" y="5"/>
                    <a:pt x="4" y="3"/>
                  </a:cubicBezTo>
                  <a:cubicBezTo>
                    <a:pt x="7" y="1"/>
                    <a:pt x="10" y="0"/>
                    <a:pt x="14" y="0"/>
                  </a:cubicBezTo>
                  <a:cubicBezTo>
                    <a:pt x="15" y="0"/>
                    <a:pt x="16" y="1"/>
                    <a:pt x="15" y="2"/>
                  </a:cubicBezTo>
                  <a:cubicBezTo>
                    <a:pt x="15" y="4"/>
                    <a:pt x="14" y="4"/>
                    <a:pt x="13" y="4"/>
                  </a:cubicBezTo>
                  <a:cubicBezTo>
                    <a:pt x="11" y="4"/>
                    <a:pt x="9" y="4"/>
                    <a:pt x="7" y="6"/>
                  </a:cubicBezTo>
                  <a:cubicBezTo>
                    <a:pt x="5" y="7"/>
                    <a:pt x="4" y="10"/>
                    <a:pt x="4" y="12"/>
                  </a:cubicBezTo>
                  <a:cubicBezTo>
                    <a:pt x="4" y="13"/>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2" name="Freeform 41">
              <a:extLst>
                <a:ext uri="{FF2B5EF4-FFF2-40B4-BE49-F238E27FC236}">
                  <a16:creationId xmlns:a16="http://schemas.microsoft.com/office/drawing/2014/main" id="{E1117482-CEC9-4317-93D4-CDFB4E40F8DD}"/>
                </a:ext>
              </a:extLst>
            </p:cNvPr>
            <p:cNvSpPr>
              <a:spLocks/>
            </p:cNvSpPr>
            <p:nvPr/>
          </p:nvSpPr>
          <p:spPr bwMode="auto">
            <a:xfrm>
              <a:off x="7413626" y="982663"/>
              <a:ext cx="61913" cy="53975"/>
            </a:xfrm>
            <a:custGeom>
              <a:avLst/>
              <a:gdLst>
                <a:gd name="T0" fmla="*/ 14 w 16"/>
                <a:gd name="T1" fmla="*/ 14 h 14"/>
                <a:gd name="T2" fmla="*/ 12 w 16"/>
                <a:gd name="T3" fmla="*/ 12 h 14"/>
                <a:gd name="T4" fmla="*/ 9 w 16"/>
                <a:gd name="T5" fmla="*/ 6 h 14"/>
                <a:gd name="T6" fmla="*/ 3 w 16"/>
                <a:gd name="T7" fmla="*/ 4 h 14"/>
                <a:gd name="T8" fmla="*/ 0 w 16"/>
                <a:gd name="T9" fmla="*/ 2 h 14"/>
                <a:gd name="T10" fmla="*/ 2 w 16"/>
                <a:gd name="T11" fmla="*/ 0 h 14"/>
                <a:gd name="T12" fmla="*/ 12 w 16"/>
                <a:gd name="T13" fmla="*/ 3 h 14"/>
                <a:gd name="T14" fmla="*/ 16 w 16"/>
                <a:gd name="T15" fmla="*/ 12 h 14"/>
                <a:gd name="T16" fmla="*/ 14 w 16"/>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4">
                  <a:moveTo>
                    <a:pt x="14" y="14"/>
                  </a:moveTo>
                  <a:cubicBezTo>
                    <a:pt x="13" y="14"/>
                    <a:pt x="12" y="13"/>
                    <a:pt x="12" y="12"/>
                  </a:cubicBezTo>
                  <a:cubicBezTo>
                    <a:pt x="12" y="10"/>
                    <a:pt x="11" y="7"/>
                    <a:pt x="9" y="6"/>
                  </a:cubicBezTo>
                  <a:cubicBezTo>
                    <a:pt x="7" y="4"/>
                    <a:pt x="5" y="4"/>
                    <a:pt x="3" y="4"/>
                  </a:cubicBezTo>
                  <a:cubicBezTo>
                    <a:pt x="2" y="4"/>
                    <a:pt x="1" y="4"/>
                    <a:pt x="0" y="2"/>
                  </a:cubicBezTo>
                  <a:cubicBezTo>
                    <a:pt x="0" y="1"/>
                    <a:pt x="1" y="0"/>
                    <a:pt x="2" y="0"/>
                  </a:cubicBezTo>
                  <a:cubicBezTo>
                    <a:pt x="6" y="0"/>
                    <a:pt x="9" y="1"/>
                    <a:pt x="12" y="3"/>
                  </a:cubicBezTo>
                  <a:cubicBezTo>
                    <a:pt x="14" y="5"/>
                    <a:pt x="16" y="8"/>
                    <a:pt x="16" y="12"/>
                  </a:cubicBezTo>
                  <a:cubicBezTo>
                    <a:pt x="16" y="13"/>
                    <a:pt x="15"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3" name="Freeform 42">
              <a:extLst>
                <a:ext uri="{FF2B5EF4-FFF2-40B4-BE49-F238E27FC236}">
                  <a16:creationId xmlns:a16="http://schemas.microsoft.com/office/drawing/2014/main" id="{0D3D7BDD-1D4A-4AF2-B5FA-5A1ADC56422F}"/>
                </a:ext>
              </a:extLst>
            </p:cNvPr>
            <p:cNvSpPr>
              <a:spLocks noEditPoints="1"/>
            </p:cNvSpPr>
            <p:nvPr/>
          </p:nvSpPr>
          <p:spPr bwMode="auto">
            <a:xfrm>
              <a:off x="7529513" y="889000"/>
              <a:ext cx="215900" cy="217488"/>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4 h 56"/>
                <a:gd name="T12" fmla="*/ 4 w 56"/>
                <a:gd name="T13" fmla="*/ 28 h 56"/>
                <a:gd name="T14" fmla="*/ 28 w 56"/>
                <a:gd name="T15" fmla="*/ 52 h 56"/>
                <a:gd name="T16" fmla="*/ 52 w 56"/>
                <a:gd name="T17" fmla="*/ 28 h 56"/>
                <a:gd name="T18" fmla="*/ 28 w 56"/>
                <a:gd name="T1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4"/>
                  </a:moveTo>
                  <a:cubicBezTo>
                    <a:pt x="15" y="4"/>
                    <a:pt x="4" y="15"/>
                    <a:pt x="4" y="28"/>
                  </a:cubicBezTo>
                  <a:cubicBezTo>
                    <a:pt x="4" y="41"/>
                    <a:pt x="15" y="52"/>
                    <a:pt x="28" y="52"/>
                  </a:cubicBezTo>
                  <a:cubicBezTo>
                    <a:pt x="41" y="52"/>
                    <a:pt x="52" y="41"/>
                    <a:pt x="52" y="28"/>
                  </a:cubicBezTo>
                  <a:cubicBezTo>
                    <a:pt x="52" y="15"/>
                    <a:pt x="41" y="4"/>
                    <a:pt x="2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4" name="Freeform 43">
              <a:extLst>
                <a:ext uri="{FF2B5EF4-FFF2-40B4-BE49-F238E27FC236}">
                  <a16:creationId xmlns:a16="http://schemas.microsoft.com/office/drawing/2014/main" id="{5A35E866-F7E3-4892-A2C6-EA2066E7F7A8}"/>
                </a:ext>
              </a:extLst>
            </p:cNvPr>
            <p:cNvSpPr>
              <a:spLocks/>
            </p:cNvSpPr>
            <p:nvPr/>
          </p:nvSpPr>
          <p:spPr bwMode="auto">
            <a:xfrm>
              <a:off x="7631113" y="1012825"/>
              <a:ext cx="53975" cy="69850"/>
            </a:xfrm>
            <a:custGeom>
              <a:avLst/>
              <a:gdLst>
                <a:gd name="T0" fmla="*/ 2 w 14"/>
                <a:gd name="T1" fmla="*/ 18 h 18"/>
                <a:gd name="T2" fmla="*/ 0 w 14"/>
                <a:gd name="T3" fmla="*/ 16 h 18"/>
                <a:gd name="T4" fmla="*/ 11 w 14"/>
                <a:gd name="T5" fmla="*/ 0 h 18"/>
                <a:gd name="T6" fmla="*/ 14 w 14"/>
                <a:gd name="T7" fmla="*/ 1 h 18"/>
                <a:gd name="T8" fmla="*/ 13 w 14"/>
                <a:gd name="T9" fmla="*/ 4 h 18"/>
                <a:gd name="T10" fmla="*/ 4 w 14"/>
                <a:gd name="T11" fmla="*/ 16 h 18"/>
                <a:gd name="T12" fmla="*/ 2 w 1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2" y="18"/>
                  </a:moveTo>
                  <a:cubicBezTo>
                    <a:pt x="1" y="18"/>
                    <a:pt x="0" y="17"/>
                    <a:pt x="0" y="16"/>
                  </a:cubicBezTo>
                  <a:cubicBezTo>
                    <a:pt x="0" y="9"/>
                    <a:pt x="5" y="2"/>
                    <a:pt x="11" y="0"/>
                  </a:cubicBezTo>
                  <a:cubicBezTo>
                    <a:pt x="12" y="0"/>
                    <a:pt x="14" y="0"/>
                    <a:pt x="14" y="1"/>
                  </a:cubicBezTo>
                  <a:cubicBezTo>
                    <a:pt x="14" y="2"/>
                    <a:pt x="14" y="4"/>
                    <a:pt x="13" y="4"/>
                  </a:cubicBezTo>
                  <a:cubicBezTo>
                    <a:pt x="8" y="5"/>
                    <a:pt x="4" y="11"/>
                    <a:pt x="4" y="16"/>
                  </a:cubicBezTo>
                  <a:cubicBezTo>
                    <a:pt x="4" y="17"/>
                    <a:pt x="3"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5" name="Freeform 44">
              <a:extLst>
                <a:ext uri="{FF2B5EF4-FFF2-40B4-BE49-F238E27FC236}">
                  <a16:creationId xmlns:a16="http://schemas.microsoft.com/office/drawing/2014/main" id="{8B693987-B119-4188-A528-9FA06140C386}"/>
                </a:ext>
              </a:extLst>
            </p:cNvPr>
            <p:cNvSpPr>
              <a:spLocks/>
            </p:cNvSpPr>
            <p:nvPr/>
          </p:nvSpPr>
          <p:spPr bwMode="auto">
            <a:xfrm>
              <a:off x="7591426" y="990600"/>
              <a:ext cx="53975" cy="53975"/>
            </a:xfrm>
            <a:custGeom>
              <a:avLst/>
              <a:gdLst>
                <a:gd name="T0" fmla="*/ 12 w 14"/>
                <a:gd name="T1" fmla="*/ 14 h 14"/>
                <a:gd name="T2" fmla="*/ 10 w 14"/>
                <a:gd name="T3" fmla="*/ 12 h 14"/>
                <a:gd name="T4" fmla="*/ 2 w 14"/>
                <a:gd name="T5" fmla="*/ 4 h 14"/>
                <a:gd name="T6" fmla="*/ 0 w 14"/>
                <a:gd name="T7" fmla="*/ 2 h 14"/>
                <a:gd name="T8" fmla="*/ 2 w 14"/>
                <a:gd name="T9" fmla="*/ 0 h 14"/>
                <a:gd name="T10" fmla="*/ 14 w 14"/>
                <a:gd name="T11" fmla="*/ 12 h 14"/>
                <a:gd name="T12" fmla="*/ 12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2" y="14"/>
                  </a:moveTo>
                  <a:cubicBezTo>
                    <a:pt x="11" y="14"/>
                    <a:pt x="10" y="13"/>
                    <a:pt x="10" y="12"/>
                  </a:cubicBezTo>
                  <a:cubicBezTo>
                    <a:pt x="10" y="8"/>
                    <a:pt x="6" y="4"/>
                    <a:pt x="2" y="4"/>
                  </a:cubicBezTo>
                  <a:cubicBezTo>
                    <a:pt x="1" y="4"/>
                    <a:pt x="0" y="3"/>
                    <a:pt x="0" y="2"/>
                  </a:cubicBezTo>
                  <a:cubicBezTo>
                    <a:pt x="0" y="1"/>
                    <a:pt x="1" y="0"/>
                    <a:pt x="2" y="0"/>
                  </a:cubicBezTo>
                  <a:cubicBezTo>
                    <a:pt x="9" y="0"/>
                    <a:pt x="14" y="5"/>
                    <a:pt x="14" y="12"/>
                  </a:cubicBezTo>
                  <a:cubicBezTo>
                    <a:pt x="14" y="13"/>
                    <a:pt x="13"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6" name="Freeform 45">
              <a:extLst>
                <a:ext uri="{FF2B5EF4-FFF2-40B4-BE49-F238E27FC236}">
                  <a16:creationId xmlns:a16="http://schemas.microsoft.com/office/drawing/2014/main" id="{539A5285-609F-4024-B4E7-F8914CAF4E35}"/>
                </a:ext>
              </a:extLst>
            </p:cNvPr>
            <p:cNvSpPr>
              <a:spLocks/>
            </p:cNvSpPr>
            <p:nvPr/>
          </p:nvSpPr>
          <p:spPr bwMode="auto">
            <a:xfrm>
              <a:off x="7631113" y="958850"/>
              <a:ext cx="14288" cy="247650"/>
            </a:xfrm>
            <a:custGeom>
              <a:avLst/>
              <a:gdLst>
                <a:gd name="T0" fmla="*/ 2 w 4"/>
                <a:gd name="T1" fmla="*/ 64 h 64"/>
                <a:gd name="T2" fmla="*/ 0 w 4"/>
                <a:gd name="T3" fmla="*/ 62 h 64"/>
                <a:gd name="T4" fmla="*/ 0 w 4"/>
                <a:gd name="T5" fmla="*/ 2 h 64"/>
                <a:gd name="T6" fmla="*/ 2 w 4"/>
                <a:gd name="T7" fmla="*/ 0 h 64"/>
                <a:gd name="T8" fmla="*/ 4 w 4"/>
                <a:gd name="T9" fmla="*/ 2 h 64"/>
                <a:gd name="T10" fmla="*/ 4 w 4"/>
                <a:gd name="T11" fmla="*/ 62 h 64"/>
                <a:gd name="T12" fmla="*/ 2 w 4"/>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4" h="64">
                  <a:moveTo>
                    <a:pt x="2" y="64"/>
                  </a:moveTo>
                  <a:cubicBezTo>
                    <a:pt x="1" y="64"/>
                    <a:pt x="0" y="63"/>
                    <a:pt x="0" y="62"/>
                  </a:cubicBezTo>
                  <a:cubicBezTo>
                    <a:pt x="0" y="2"/>
                    <a:pt x="0" y="2"/>
                    <a:pt x="0" y="2"/>
                  </a:cubicBezTo>
                  <a:cubicBezTo>
                    <a:pt x="0" y="1"/>
                    <a:pt x="1" y="0"/>
                    <a:pt x="2" y="0"/>
                  </a:cubicBezTo>
                  <a:cubicBezTo>
                    <a:pt x="3" y="0"/>
                    <a:pt x="4" y="1"/>
                    <a:pt x="4" y="2"/>
                  </a:cubicBezTo>
                  <a:cubicBezTo>
                    <a:pt x="4" y="62"/>
                    <a:pt x="4" y="62"/>
                    <a:pt x="4" y="62"/>
                  </a:cubicBezTo>
                  <a:cubicBezTo>
                    <a:pt x="4" y="63"/>
                    <a:pt x="3" y="64"/>
                    <a:pt x="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7" name="Freeform 46">
              <a:extLst>
                <a:ext uri="{FF2B5EF4-FFF2-40B4-BE49-F238E27FC236}">
                  <a16:creationId xmlns:a16="http://schemas.microsoft.com/office/drawing/2014/main" id="{1426535D-F426-451F-9854-61C1F7D5FFF1}"/>
                </a:ext>
              </a:extLst>
            </p:cNvPr>
            <p:cNvSpPr>
              <a:spLocks/>
            </p:cNvSpPr>
            <p:nvPr/>
          </p:nvSpPr>
          <p:spPr bwMode="auto">
            <a:xfrm>
              <a:off x="7461251" y="942975"/>
              <a:ext cx="14288" cy="263525"/>
            </a:xfrm>
            <a:custGeom>
              <a:avLst/>
              <a:gdLst>
                <a:gd name="T0" fmla="*/ 2 w 4"/>
                <a:gd name="T1" fmla="*/ 68 h 68"/>
                <a:gd name="T2" fmla="*/ 0 w 4"/>
                <a:gd name="T3" fmla="*/ 66 h 68"/>
                <a:gd name="T4" fmla="*/ 0 w 4"/>
                <a:gd name="T5" fmla="*/ 2 h 68"/>
                <a:gd name="T6" fmla="*/ 2 w 4"/>
                <a:gd name="T7" fmla="*/ 0 h 68"/>
                <a:gd name="T8" fmla="*/ 4 w 4"/>
                <a:gd name="T9" fmla="*/ 2 h 68"/>
                <a:gd name="T10" fmla="*/ 4 w 4"/>
                <a:gd name="T11" fmla="*/ 66 h 68"/>
                <a:gd name="T12" fmla="*/ 2 w 4"/>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4" h="68">
                  <a:moveTo>
                    <a:pt x="2" y="68"/>
                  </a:moveTo>
                  <a:cubicBezTo>
                    <a:pt x="1" y="68"/>
                    <a:pt x="0" y="67"/>
                    <a:pt x="0" y="66"/>
                  </a:cubicBezTo>
                  <a:cubicBezTo>
                    <a:pt x="0" y="2"/>
                    <a:pt x="0" y="2"/>
                    <a:pt x="0" y="2"/>
                  </a:cubicBezTo>
                  <a:cubicBezTo>
                    <a:pt x="0" y="1"/>
                    <a:pt x="1" y="0"/>
                    <a:pt x="2" y="0"/>
                  </a:cubicBezTo>
                  <a:cubicBezTo>
                    <a:pt x="3" y="0"/>
                    <a:pt x="4" y="1"/>
                    <a:pt x="4" y="2"/>
                  </a:cubicBezTo>
                  <a:cubicBezTo>
                    <a:pt x="4" y="66"/>
                    <a:pt x="4" y="66"/>
                    <a:pt x="4" y="66"/>
                  </a:cubicBezTo>
                  <a:cubicBezTo>
                    <a:pt x="4" y="67"/>
                    <a:pt x="3" y="68"/>
                    <a:pt x="2"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914" name="Group 18">
            <a:extLst>
              <a:ext uri="{FF2B5EF4-FFF2-40B4-BE49-F238E27FC236}">
                <a16:creationId xmlns:a16="http://schemas.microsoft.com/office/drawing/2014/main" id="{4E1F1330-3321-4DC1-A753-E5C58B943C39}"/>
              </a:ext>
            </a:extLst>
          </p:cNvPr>
          <p:cNvGrpSpPr>
            <a:grpSpLocks noChangeAspect="1"/>
          </p:cNvGrpSpPr>
          <p:nvPr/>
        </p:nvGrpSpPr>
        <p:grpSpPr>
          <a:xfrm>
            <a:off x="5780692" y="5944848"/>
            <a:ext cx="308144" cy="308144"/>
            <a:chOff x="1476375" y="769938"/>
            <a:chExt cx="285750" cy="285750"/>
          </a:xfrm>
          <a:solidFill>
            <a:schemeClr val="bg1"/>
          </a:solidFill>
          <a:effectLst/>
        </p:grpSpPr>
        <p:sp>
          <p:nvSpPr>
            <p:cNvPr id="915" name="Freeform 27">
              <a:extLst>
                <a:ext uri="{FF2B5EF4-FFF2-40B4-BE49-F238E27FC236}">
                  <a16:creationId xmlns:a16="http://schemas.microsoft.com/office/drawing/2014/main" id="{10B133E4-97FA-4990-82E1-E9BB77D5D0D0}"/>
                </a:ext>
              </a:extLst>
            </p:cNvPr>
            <p:cNvSpPr>
              <a:spLocks noEditPoints="1"/>
            </p:cNvSpPr>
            <p:nvPr/>
          </p:nvSpPr>
          <p:spPr bwMode="auto">
            <a:xfrm>
              <a:off x="1476375" y="865188"/>
              <a:ext cx="257175" cy="190500"/>
            </a:xfrm>
            <a:custGeom>
              <a:avLst/>
              <a:gdLst>
                <a:gd name="T0" fmla="*/ 174 w 809"/>
                <a:gd name="T1" fmla="*/ 564 h 599"/>
                <a:gd name="T2" fmla="*/ 111 w 809"/>
                <a:gd name="T3" fmla="*/ 536 h 599"/>
                <a:gd name="T4" fmla="*/ 61 w 809"/>
                <a:gd name="T5" fmla="*/ 487 h 599"/>
                <a:gd name="T6" fmla="*/ 34 w 809"/>
                <a:gd name="T7" fmla="*/ 424 h 599"/>
                <a:gd name="T8" fmla="*/ 34 w 809"/>
                <a:gd name="T9" fmla="*/ 356 h 599"/>
                <a:gd name="T10" fmla="*/ 58 w 809"/>
                <a:gd name="T11" fmla="*/ 296 h 599"/>
                <a:gd name="T12" fmla="*/ 104 w 809"/>
                <a:gd name="T13" fmla="*/ 246 h 599"/>
                <a:gd name="T14" fmla="*/ 163 w 809"/>
                <a:gd name="T15" fmla="*/ 215 h 599"/>
                <a:gd name="T16" fmla="*/ 205 w 809"/>
                <a:gd name="T17" fmla="*/ 206 h 599"/>
                <a:gd name="T18" fmla="*/ 212 w 809"/>
                <a:gd name="T19" fmla="*/ 177 h 599"/>
                <a:gd name="T20" fmla="*/ 233 w 809"/>
                <a:gd name="T21" fmla="*/ 127 h 599"/>
                <a:gd name="T22" fmla="*/ 282 w 809"/>
                <a:gd name="T23" fmla="*/ 74 h 599"/>
                <a:gd name="T24" fmla="*/ 348 w 809"/>
                <a:gd name="T25" fmla="*/ 41 h 599"/>
                <a:gd name="T26" fmla="*/ 419 w 809"/>
                <a:gd name="T27" fmla="*/ 29 h 599"/>
                <a:gd name="T28" fmla="*/ 479 w 809"/>
                <a:gd name="T29" fmla="*/ 42 h 599"/>
                <a:gd name="T30" fmla="*/ 530 w 809"/>
                <a:gd name="T31" fmla="*/ 74 h 599"/>
                <a:gd name="T32" fmla="*/ 572 w 809"/>
                <a:gd name="T33" fmla="*/ 119 h 599"/>
                <a:gd name="T34" fmla="*/ 600 w 809"/>
                <a:gd name="T35" fmla="*/ 170 h 599"/>
                <a:gd name="T36" fmla="*/ 615 w 809"/>
                <a:gd name="T37" fmla="*/ 179 h 599"/>
                <a:gd name="T38" fmla="*/ 675 w 809"/>
                <a:gd name="T39" fmla="*/ 186 h 599"/>
                <a:gd name="T40" fmla="*/ 708 w 809"/>
                <a:gd name="T41" fmla="*/ 208 h 599"/>
                <a:gd name="T42" fmla="*/ 724 w 809"/>
                <a:gd name="T43" fmla="*/ 235 h 599"/>
                <a:gd name="T44" fmla="*/ 726 w 809"/>
                <a:gd name="T45" fmla="*/ 273 h 599"/>
                <a:gd name="T46" fmla="*/ 719 w 809"/>
                <a:gd name="T47" fmla="*/ 304 h 599"/>
                <a:gd name="T48" fmla="*/ 737 w 809"/>
                <a:gd name="T49" fmla="*/ 321 h 599"/>
                <a:gd name="T50" fmla="*/ 764 w 809"/>
                <a:gd name="T51" fmla="*/ 361 h 599"/>
                <a:gd name="T52" fmla="*/ 779 w 809"/>
                <a:gd name="T53" fmla="*/ 434 h 599"/>
                <a:gd name="T54" fmla="*/ 768 w 809"/>
                <a:gd name="T55" fmla="*/ 486 h 599"/>
                <a:gd name="T56" fmla="*/ 738 w 809"/>
                <a:gd name="T57" fmla="*/ 529 h 599"/>
                <a:gd name="T58" fmla="*/ 695 w 809"/>
                <a:gd name="T59" fmla="*/ 558 h 599"/>
                <a:gd name="T60" fmla="*/ 642 w 809"/>
                <a:gd name="T61" fmla="*/ 569 h 599"/>
                <a:gd name="T62" fmla="*/ 757 w 809"/>
                <a:gd name="T63" fmla="*/ 258 h 599"/>
                <a:gd name="T64" fmla="*/ 747 w 809"/>
                <a:gd name="T65" fmla="*/ 212 h 599"/>
                <a:gd name="T66" fmla="*/ 726 w 809"/>
                <a:gd name="T67" fmla="*/ 183 h 599"/>
                <a:gd name="T68" fmla="*/ 700 w 809"/>
                <a:gd name="T69" fmla="*/ 165 h 599"/>
                <a:gd name="T70" fmla="*/ 642 w 809"/>
                <a:gd name="T71" fmla="*/ 149 h 599"/>
                <a:gd name="T72" fmla="*/ 601 w 809"/>
                <a:gd name="T73" fmla="*/ 108 h 599"/>
                <a:gd name="T74" fmla="*/ 558 w 809"/>
                <a:gd name="T75" fmla="*/ 58 h 599"/>
                <a:gd name="T76" fmla="*/ 503 w 809"/>
                <a:gd name="T77" fmla="*/ 19 h 599"/>
                <a:gd name="T78" fmla="*/ 437 w 809"/>
                <a:gd name="T79" fmla="*/ 0 h 599"/>
                <a:gd name="T80" fmla="*/ 348 w 809"/>
                <a:gd name="T81" fmla="*/ 9 h 599"/>
                <a:gd name="T82" fmla="*/ 271 w 809"/>
                <a:gd name="T83" fmla="*/ 44 h 599"/>
                <a:gd name="T84" fmla="*/ 216 w 809"/>
                <a:gd name="T85" fmla="*/ 99 h 599"/>
                <a:gd name="T86" fmla="*/ 185 w 809"/>
                <a:gd name="T87" fmla="*/ 164 h 599"/>
                <a:gd name="T88" fmla="*/ 128 w 809"/>
                <a:gd name="T89" fmla="*/ 197 h 599"/>
                <a:gd name="T90" fmla="*/ 66 w 809"/>
                <a:gd name="T91" fmla="*/ 240 h 599"/>
                <a:gd name="T92" fmla="*/ 22 w 809"/>
                <a:gd name="T93" fmla="*/ 300 h 599"/>
                <a:gd name="T94" fmla="*/ 0 w 809"/>
                <a:gd name="T95" fmla="*/ 371 h 599"/>
                <a:gd name="T96" fmla="*/ 3 w 809"/>
                <a:gd name="T97" fmla="*/ 420 h 599"/>
                <a:gd name="T98" fmla="*/ 26 w 809"/>
                <a:gd name="T99" fmla="*/ 487 h 599"/>
                <a:gd name="T100" fmla="*/ 78 w 809"/>
                <a:gd name="T101" fmla="*/ 549 h 599"/>
                <a:gd name="T102" fmla="*/ 149 w 809"/>
                <a:gd name="T103" fmla="*/ 589 h 599"/>
                <a:gd name="T104" fmla="*/ 200 w 809"/>
                <a:gd name="T105" fmla="*/ 597 h 599"/>
                <a:gd name="T106" fmla="*/ 676 w 809"/>
                <a:gd name="T107" fmla="*/ 595 h 599"/>
                <a:gd name="T108" fmla="*/ 735 w 809"/>
                <a:gd name="T109" fmla="*/ 571 h 599"/>
                <a:gd name="T110" fmla="*/ 780 w 809"/>
                <a:gd name="T111" fmla="*/ 526 h 599"/>
                <a:gd name="T112" fmla="*/ 805 w 809"/>
                <a:gd name="T113" fmla="*/ 467 h 599"/>
                <a:gd name="T114" fmla="*/ 806 w 809"/>
                <a:gd name="T115" fmla="*/ 397 h 599"/>
                <a:gd name="T116" fmla="*/ 787 w 809"/>
                <a:gd name="T117" fmla="*/ 342 h 599"/>
                <a:gd name="T118" fmla="*/ 766 w 809"/>
                <a:gd name="T119" fmla="*/ 30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9">
                  <a:moveTo>
                    <a:pt x="642" y="569"/>
                  </a:moveTo>
                  <a:lnTo>
                    <a:pt x="209" y="569"/>
                  </a:lnTo>
                  <a:lnTo>
                    <a:pt x="192" y="568"/>
                  </a:lnTo>
                  <a:lnTo>
                    <a:pt x="174" y="564"/>
                  </a:lnTo>
                  <a:lnTo>
                    <a:pt x="158" y="560"/>
                  </a:lnTo>
                  <a:lnTo>
                    <a:pt x="141" y="554"/>
                  </a:lnTo>
                  <a:lnTo>
                    <a:pt x="126" y="546"/>
                  </a:lnTo>
                  <a:lnTo>
                    <a:pt x="111" y="536"/>
                  </a:lnTo>
                  <a:lnTo>
                    <a:pt x="97" y="526"/>
                  </a:lnTo>
                  <a:lnTo>
                    <a:pt x="84" y="514"/>
                  </a:lnTo>
                  <a:lnTo>
                    <a:pt x="72" y="501"/>
                  </a:lnTo>
                  <a:lnTo>
                    <a:pt x="61" y="487"/>
                  </a:lnTo>
                  <a:lnTo>
                    <a:pt x="52" y="473"/>
                  </a:lnTo>
                  <a:lnTo>
                    <a:pt x="44" y="457"/>
                  </a:lnTo>
                  <a:lnTo>
                    <a:pt x="38" y="441"/>
                  </a:lnTo>
                  <a:lnTo>
                    <a:pt x="34" y="424"/>
                  </a:lnTo>
                  <a:lnTo>
                    <a:pt x="30" y="407"/>
                  </a:lnTo>
                  <a:lnTo>
                    <a:pt x="30" y="389"/>
                  </a:lnTo>
                  <a:lnTo>
                    <a:pt x="30" y="373"/>
                  </a:lnTo>
                  <a:lnTo>
                    <a:pt x="34" y="356"/>
                  </a:lnTo>
                  <a:lnTo>
                    <a:pt x="38" y="341"/>
                  </a:lnTo>
                  <a:lnTo>
                    <a:pt x="43" y="325"/>
                  </a:lnTo>
                  <a:lnTo>
                    <a:pt x="51" y="310"/>
                  </a:lnTo>
                  <a:lnTo>
                    <a:pt x="58" y="296"/>
                  </a:lnTo>
                  <a:lnTo>
                    <a:pt x="68" y="282"/>
                  </a:lnTo>
                  <a:lnTo>
                    <a:pt x="80" y="269"/>
                  </a:lnTo>
                  <a:lnTo>
                    <a:pt x="91" y="257"/>
                  </a:lnTo>
                  <a:lnTo>
                    <a:pt x="104" y="246"/>
                  </a:lnTo>
                  <a:lnTo>
                    <a:pt x="117" y="237"/>
                  </a:lnTo>
                  <a:lnTo>
                    <a:pt x="132" y="228"/>
                  </a:lnTo>
                  <a:lnTo>
                    <a:pt x="147" y="222"/>
                  </a:lnTo>
                  <a:lnTo>
                    <a:pt x="163" y="215"/>
                  </a:lnTo>
                  <a:lnTo>
                    <a:pt x="179" y="212"/>
                  </a:lnTo>
                  <a:lnTo>
                    <a:pt x="196" y="209"/>
                  </a:lnTo>
                  <a:lnTo>
                    <a:pt x="201" y="208"/>
                  </a:lnTo>
                  <a:lnTo>
                    <a:pt x="205" y="206"/>
                  </a:lnTo>
                  <a:lnTo>
                    <a:pt x="208" y="201"/>
                  </a:lnTo>
                  <a:lnTo>
                    <a:pt x="209" y="196"/>
                  </a:lnTo>
                  <a:lnTo>
                    <a:pt x="210" y="186"/>
                  </a:lnTo>
                  <a:lnTo>
                    <a:pt x="212" y="177"/>
                  </a:lnTo>
                  <a:lnTo>
                    <a:pt x="215" y="168"/>
                  </a:lnTo>
                  <a:lnTo>
                    <a:pt x="217" y="160"/>
                  </a:lnTo>
                  <a:lnTo>
                    <a:pt x="224" y="143"/>
                  </a:lnTo>
                  <a:lnTo>
                    <a:pt x="233" y="127"/>
                  </a:lnTo>
                  <a:lnTo>
                    <a:pt x="243" y="113"/>
                  </a:lnTo>
                  <a:lnTo>
                    <a:pt x="255" y="99"/>
                  </a:lnTo>
                  <a:lnTo>
                    <a:pt x="268" y="86"/>
                  </a:lnTo>
                  <a:lnTo>
                    <a:pt x="282" y="74"/>
                  </a:lnTo>
                  <a:lnTo>
                    <a:pt x="298" y="64"/>
                  </a:lnTo>
                  <a:lnTo>
                    <a:pt x="314" y="56"/>
                  </a:lnTo>
                  <a:lnTo>
                    <a:pt x="330" y="47"/>
                  </a:lnTo>
                  <a:lnTo>
                    <a:pt x="348" y="41"/>
                  </a:lnTo>
                  <a:lnTo>
                    <a:pt x="366" y="37"/>
                  </a:lnTo>
                  <a:lnTo>
                    <a:pt x="384" y="32"/>
                  </a:lnTo>
                  <a:lnTo>
                    <a:pt x="401" y="30"/>
                  </a:lnTo>
                  <a:lnTo>
                    <a:pt x="419" y="29"/>
                  </a:lnTo>
                  <a:lnTo>
                    <a:pt x="434" y="30"/>
                  </a:lnTo>
                  <a:lnTo>
                    <a:pt x="450" y="32"/>
                  </a:lnTo>
                  <a:lnTo>
                    <a:pt x="464" y="37"/>
                  </a:lnTo>
                  <a:lnTo>
                    <a:pt x="479" y="42"/>
                  </a:lnTo>
                  <a:lnTo>
                    <a:pt x="492" y="48"/>
                  </a:lnTo>
                  <a:lnTo>
                    <a:pt x="506" y="56"/>
                  </a:lnTo>
                  <a:lnTo>
                    <a:pt x="519" y="64"/>
                  </a:lnTo>
                  <a:lnTo>
                    <a:pt x="530" y="74"/>
                  </a:lnTo>
                  <a:lnTo>
                    <a:pt x="542" y="84"/>
                  </a:lnTo>
                  <a:lnTo>
                    <a:pt x="553" y="94"/>
                  </a:lnTo>
                  <a:lnTo>
                    <a:pt x="563" y="106"/>
                  </a:lnTo>
                  <a:lnTo>
                    <a:pt x="572" y="119"/>
                  </a:lnTo>
                  <a:lnTo>
                    <a:pt x="580" y="131"/>
                  </a:lnTo>
                  <a:lnTo>
                    <a:pt x="587" y="144"/>
                  </a:lnTo>
                  <a:lnTo>
                    <a:pt x="594" y="158"/>
                  </a:lnTo>
                  <a:lnTo>
                    <a:pt x="600" y="170"/>
                  </a:lnTo>
                  <a:lnTo>
                    <a:pt x="602" y="175"/>
                  </a:lnTo>
                  <a:lnTo>
                    <a:pt x="606" y="178"/>
                  </a:lnTo>
                  <a:lnTo>
                    <a:pt x="611" y="179"/>
                  </a:lnTo>
                  <a:lnTo>
                    <a:pt x="615" y="179"/>
                  </a:lnTo>
                  <a:lnTo>
                    <a:pt x="631" y="179"/>
                  </a:lnTo>
                  <a:lnTo>
                    <a:pt x="646" y="179"/>
                  </a:lnTo>
                  <a:lnTo>
                    <a:pt x="661" y="182"/>
                  </a:lnTo>
                  <a:lnTo>
                    <a:pt x="675" y="186"/>
                  </a:lnTo>
                  <a:lnTo>
                    <a:pt x="687" y="192"/>
                  </a:lnTo>
                  <a:lnTo>
                    <a:pt x="699" y="199"/>
                  </a:lnTo>
                  <a:lnTo>
                    <a:pt x="704" y="204"/>
                  </a:lnTo>
                  <a:lnTo>
                    <a:pt x="708" y="208"/>
                  </a:lnTo>
                  <a:lnTo>
                    <a:pt x="712" y="213"/>
                  </a:lnTo>
                  <a:lnTo>
                    <a:pt x="717" y="219"/>
                  </a:lnTo>
                  <a:lnTo>
                    <a:pt x="721" y="226"/>
                  </a:lnTo>
                  <a:lnTo>
                    <a:pt x="724" y="235"/>
                  </a:lnTo>
                  <a:lnTo>
                    <a:pt x="726" y="244"/>
                  </a:lnTo>
                  <a:lnTo>
                    <a:pt x="727" y="253"/>
                  </a:lnTo>
                  <a:lnTo>
                    <a:pt x="727" y="264"/>
                  </a:lnTo>
                  <a:lnTo>
                    <a:pt x="726" y="273"/>
                  </a:lnTo>
                  <a:lnTo>
                    <a:pt x="723" y="283"/>
                  </a:lnTo>
                  <a:lnTo>
                    <a:pt x="720" y="293"/>
                  </a:lnTo>
                  <a:lnTo>
                    <a:pt x="719" y="299"/>
                  </a:lnTo>
                  <a:lnTo>
                    <a:pt x="719" y="304"/>
                  </a:lnTo>
                  <a:lnTo>
                    <a:pt x="721" y="308"/>
                  </a:lnTo>
                  <a:lnTo>
                    <a:pt x="725" y="313"/>
                  </a:lnTo>
                  <a:lnTo>
                    <a:pt x="731" y="317"/>
                  </a:lnTo>
                  <a:lnTo>
                    <a:pt x="737" y="321"/>
                  </a:lnTo>
                  <a:lnTo>
                    <a:pt x="742" y="327"/>
                  </a:lnTo>
                  <a:lnTo>
                    <a:pt x="747" y="333"/>
                  </a:lnTo>
                  <a:lnTo>
                    <a:pt x="756" y="346"/>
                  </a:lnTo>
                  <a:lnTo>
                    <a:pt x="764" y="361"/>
                  </a:lnTo>
                  <a:lnTo>
                    <a:pt x="770" y="378"/>
                  </a:lnTo>
                  <a:lnTo>
                    <a:pt x="775" y="395"/>
                  </a:lnTo>
                  <a:lnTo>
                    <a:pt x="778" y="414"/>
                  </a:lnTo>
                  <a:lnTo>
                    <a:pt x="779" y="434"/>
                  </a:lnTo>
                  <a:lnTo>
                    <a:pt x="778" y="448"/>
                  </a:lnTo>
                  <a:lnTo>
                    <a:pt x="776" y="460"/>
                  </a:lnTo>
                  <a:lnTo>
                    <a:pt x="772" y="474"/>
                  </a:lnTo>
                  <a:lnTo>
                    <a:pt x="768" y="486"/>
                  </a:lnTo>
                  <a:lnTo>
                    <a:pt x="762" y="498"/>
                  </a:lnTo>
                  <a:lnTo>
                    <a:pt x="755" y="509"/>
                  </a:lnTo>
                  <a:lnTo>
                    <a:pt x="748" y="519"/>
                  </a:lnTo>
                  <a:lnTo>
                    <a:pt x="738" y="529"/>
                  </a:lnTo>
                  <a:lnTo>
                    <a:pt x="728" y="538"/>
                  </a:lnTo>
                  <a:lnTo>
                    <a:pt x="718" y="545"/>
                  </a:lnTo>
                  <a:lnTo>
                    <a:pt x="707" y="553"/>
                  </a:lnTo>
                  <a:lnTo>
                    <a:pt x="695" y="558"/>
                  </a:lnTo>
                  <a:lnTo>
                    <a:pt x="682" y="562"/>
                  </a:lnTo>
                  <a:lnTo>
                    <a:pt x="670" y="565"/>
                  </a:lnTo>
                  <a:lnTo>
                    <a:pt x="656" y="568"/>
                  </a:lnTo>
                  <a:lnTo>
                    <a:pt x="642" y="569"/>
                  </a:lnTo>
                  <a:close/>
                  <a:moveTo>
                    <a:pt x="751" y="295"/>
                  </a:moveTo>
                  <a:lnTo>
                    <a:pt x="755" y="282"/>
                  </a:lnTo>
                  <a:lnTo>
                    <a:pt x="757" y="270"/>
                  </a:lnTo>
                  <a:lnTo>
                    <a:pt x="757" y="258"/>
                  </a:lnTo>
                  <a:lnTo>
                    <a:pt x="757" y="245"/>
                  </a:lnTo>
                  <a:lnTo>
                    <a:pt x="755" y="235"/>
                  </a:lnTo>
                  <a:lnTo>
                    <a:pt x="752" y="223"/>
                  </a:lnTo>
                  <a:lnTo>
                    <a:pt x="747" y="212"/>
                  </a:lnTo>
                  <a:lnTo>
                    <a:pt x="741" y="201"/>
                  </a:lnTo>
                  <a:lnTo>
                    <a:pt x="737" y="195"/>
                  </a:lnTo>
                  <a:lnTo>
                    <a:pt x="732" y="189"/>
                  </a:lnTo>
                  <a:lnTo>
                    <a:pt x="726" y="183"/>
                  </a:lnTo>
                  <a:lnTo>
                    <a:pt x="720" y="178"/>
                  </a:lnTo>
                  <a:lnTo>
                    <a:pt x="714" y="173"/>
                  </a:lnTo>
                  <a:lnTo>
                    <a:pt x="707" y="168"/>
                  </a:lnTo>
                  <a:lnTo>
                    <a:pt x="700" y="165"/>
                  </a:lnTo>
                  <a:lnTo>
                    <a:pt x="692" y="161"/>
                  </a:lnTo>
                  <a:lnTo>
                    <a:pt x="676" y="155"/>
                  </a:lnTo>
                  <a:lnTo>
                    <a:pt x="660" y="151"/>
                  </a:lnTo>
                  <a:lnTo>
                    <a:pt x="642" y="149"/>
                  </a:lnTo>
                  <a:lnTo>
                    <a:pt x="624" y="149"/>
                  </a:lnTo>
                  <a:lnTo>
                    <a:pt x="617" y="135"/>
                  </a:lnTo>
                  <a:lnTo>
                    <a:pt x="610" y="122"/>
                  </a:lnTo>
                  <a:lnTo>
                    <a:pt x="601" y="108"/>
                  </a:lnTo>
                  <a:lnTo>
                    <a:pt x="591" y="95"/>
                  </a:lnTo>
                  <a:lnTo>
                    <a:pt x="581" y="83"/>
                  </a:lnTo>
                  <a:lnTo>
                    <a:pt x="570" y="70"/>
                  </a:lnTo>
                  <a:lnTo>
                    <a:pt x="558" y="58"/>
                  </a:lnTo>
                  <a:lnTo>
                    <a:pt x="545" y="47"/>
                  </a:lnTo>
                  <a:lnTo>
                    <a:pt x="531" y="37"/>
                  </a:lnTo>
                  <a:lnTo>
                    <a:pt x="518" y="28"/>
                  </a:lnTo>
                  <a:lnTo>
                    <a:pt x="503" y="19"/>
                  </a:lnTo>
                  <a:lnTo>
                    <a:pt x="488" y="13"/>
                  </a:lnTo>
                  <a:lnTo>
                    <a:pt x="470" y="8"/>
                  </a:lnTo>
                  <a:lnTo>
                    <a:pt x="454" y="3"/>
                  </a:lnTo>
                  <a:lnTo>
                    <a:pt x="437" y="0"/>
                  </a:lnTo>
                  <a:lnTo>
                    <a:pt x="419" y="0"/>
                  </a:lnTo>
                  <a:lnTo>
                    <a:pt x="394" y="0"/>
                  </a:lnTo>
                  <a:lnTo>
                    <a:pt x="371" y="3"/>
                  </a:lnTo>
                  <a:lnTo>
                    <a:pt x="348" y="9"/>
                  </a:lnTo>
                  <a:lnTo>
                    <a:pt x="328" y="15"/>
                  </a:lnTo>
                  <a:lnTo>
                    <a:pt x="308" y="24"/>
                  </a:lnTo>
                  <a:lnTo>
                    <a:pt x="288" y="33"/>
                  </a:lnTo>
                  <a:lnTo>
                    <a:pt x="271" y="44"/>
                  </a:lnTo>
                  <a:lnTo>
                    <a:pt x="255" y="57"/>
                  </a:lnTo>
                  <a:lnTo>
                    <a:pt x="240" y="70"/>
                  </a:lnTo>
                  <a:lnTo>
                    <a:pt x="227" y="84"/>
                  </a:lnTo>
                  <a:lnTo>
                    <a:pt x="216" y="99"/>
                  </a:lnTo>
                  <a:lnTo>
                    <a:pt x="206" y="115"/>
                  </a:lnTo>
                  <a:lnTo>
                    <a:pt x="197" y="131"/>
                  </a:lnTo>
                  <a:lnTo>
                    <a:pt x="190" y="147"/>
                  </a:lnTo>
                  <a:lnTo>
                    <a:pt x="185" y="164"/>
                  </a:lnTo>
                  <a:lnTo>
                    <a:pt x="181" y="181"/>
                  </a:lnTo>
                  <a:lnTo>
                    <a:pt x="163" y="184"/>
                  </a:lnTo>
                  <a:lnTo>
                    <a:pt x="145" y="191"/>
                  </a:lnTo>
                  <a:lnTo>
                    <a:pt x="128" y="197"/>
                  </a:lnTo>
                  <a:lnTo>
                    <a:pt x="111" y="207"/>
                  </a:lnTo>
                  <a:lnTo>
                    <a:pt x="95" y="216"/>
                  </a:lnTo>
                  <a:lnTo>
                    <a:pt x="80" y="228"/>
                  </a:lnTo>
                  <a:lnTo>
                    <a:pt x="66" y="240"/>
                  </a:lnTo>
                  <a:lnTo>
                    <a:pt x="53" y="254"/>
                  </a:lnTo>
                  <a:lnTo>
                    <a:pt x="41" y="269"/>
                  </a:lnTo>
                  <a:lnTo>
                    <a:pt x="32" y="284"/>
                  </a:lnTo>
                  <a:lnTo>
                    <a:pt x="22" y="300"/>
                  </a:lnTo>
                  <a:lnTo>
                    <a:pt x="14" y="317"/>
                  </a:lnTo>
                  <a:lnTo>
                    <a:pt x="8" y="334"/>
                  </a:lnTo>
                  <a:lnTo>
                    <a:pt x="4" y="352"/>
                  </a:lnTo>
                  <a:lnTo>
                    <a:pt x="0" y="371"/>
                  </a:lnTo>
                  <a:lnTo>
                    <a:pt x="0" y="389"/>
                  </a:lnTo>
                  <a:lnTo>
                    <a:pt x="0" y="399"/>
                  </a:lnTo>
                  <a:lnTo>
                    <a:pt x="2" y="409"/>
                  </a:lnTo>
                  <a:lnTo>
                    <a:pt x="3" y="420"/>
                  </a:lnTo>
                  <a:lnTo>
                    <a:pt x="5" y="431"/>
                  </a:lnTo>
                  <a:lnTo>
                    <a:pt x="10" y="450"/>
                  </a:lnTo>
                  <a:lnTo>
                    <a:pt x="17" y="469"/>
                  </a:lnTo>
                  <a:lnTo>
                    <a:pt x="26" y="487"/>
                  </a:lnTo>
                  <a:lnTo>
                    <a:pt x="37" y="504"/>
                  </a:lnTo>
                  <a:lnTo>
                    <a:pt x="49" y="520"/>
                  </a:lnTo>
                  <a:lnTo>
                    <a:pt x="63" y="535"/>
                  </a:lnTo>
                  <a:lnTo>
                    <a:pt x="78" y="549"/>
                  </a:lnTo>
                  <a:lnTo>
                    <a:pt x="95" y="561"/>
                  </a:lnTo>
                  <a:lnTo>
                    <a:pt x="112" y="572"/>
                  </a:lnTo>
                  <a:lnTo>
                    <a:pt x="130" y="581"/>
                  </a:lnTo>
                  <a:lnTo>
                    <a:pt x="149" y="589"/>
                  </a:lnTo>
                  <a:lnTo>
                    <a:pt x="169" y="594"/>
                  </a:lnTo>
                  <a:lnTo>
                    <a:pt x="178" y="595"/>
                  </a:lnTo>
                  <a:lnTo>
                    <a:pt x="189" y="597"/>
                  </a:lnTo>
                  <a:lnTo>
                    <a:pt x="200" y="597"/>
                  </a:lnTo>
                  <a:lnTo>
                    <a:pt x="209" y="599"/>
                  </a:lnTo>
                  <a:lnTo>
                    <a:pt x="642" y="599"/>
                  </a:lnTo>
                  <a:lnTo>
                    <a:pt x="659" y="597"/>
                  </a:lnTo>
                  <a:lnTo>
                    <a:pt x="676" y="595"/>
                  </a:lnTo>
                  <a:lnTo>
                    <a:pt x="692" y="591"/>
                  </a:lnTo>
                  <a:lnTo>
                    <a:pt x="707" y="586"/>
                  </a:lnTo>
                  <a:lnTo>
                    <a:pt x="721" y="578"/>
                  </a:lnTo>
                  <a:lnTo>
                    <a:pt x="735" y="571"/>
                  </a:lnTo>
                  <a:lnTo>
                    <a:pt x="748" y="561"/>
                  </a:lnTo>
                  <a:lnTo>
                    <a:pt x="760" y="550"/>
                  </a:lnTo>
                  <a:lnTo>
                    <a:pt x="770" y="539"/>
                  </a:lnTo>
                  <a:lnTo>
                    <a:pt x="780" y="526"/>
                  </a:lnTo>
                  <a:lnTo>
                    <a:pt x="788" y="512"/>
                  </a:lnTo>
                  <a:lnTo>
                    <a:pt x="795" y="498"/>
                  </a:lnTo>
                  <a:lnTo>
                    <a:pt x="801" y="483"/>
                  </a:lnTo>
                  <a:lnTo>
                    <a:pt x="805" y="467"/>
                  </a:lnTo>
                  <a:lnTo>
                    <a:pt x="808" y="451"/>
                  </a:lnTo>
                  <a:lnTo>
                    <a:pt x="809" y="434"/>
                  </a:lnTo>
                  <a:lnTo>
                    <a:pt x="808" y="417"/>
                  </a:lnTo>
                  <a:lnTo>
                    <a:pt x="806" y="397"/>
                  </a:lnTo>
                  <a:lnTo>
                    <a:pt x="801" y="379"/>
                  </a:lnTo>
                  <a:lnTo>
                    <a:pt x="796" y="360"/>
                  </a:lnTo>
                  <a:lnTo>
                    <a:pt x="792" y="351"/>
                  </a:lnTo>
                  <a:lnTo>
                    <a:pt x="787" y="342"/>
                  </a:lnTo>
                  <a:lnTo>
                    <a:pt x="783" y="333"/>
                  </a:lnTo>
                  <a:lnTo>
                    <a:pt x="778" y="325"/>
                  </a:lnTo>
                  <a:lnTo>
                    <a:pt x="772" y="316"/>
                  </a:lnTo>
                  <a:lnTo>
                    <a:pt x="766" y="308"/>
                  </a:lnTo>
                  <a:lnTo>
                    <a:pt x="758" y="301"/>
                  </a:lnTo>
                  <a:lnTo>
                    <a:pt x="75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16" name="Freeform 28">
              <a:extLst>
                <a:ext uri="{FF2B5EF4-FFF2-40B4-BE49-F238E27FC236}">
                  <a16:creationId xmlns:a16="http://schemas.microsoft.com/office/drawing/2014/main" id="{7C09412E-485C-425D-A615-5EACD85FD27D}"/>
                </a:ext>
              </a:extLst>
            </p:cNvPr>
            <p:cNvSpPr>
              <a:spLocks/>
            </p:cNvSpPr>
            <p:nvPr/>
          </p:nvSpPr>
          <p:spPr bwMode="auto">
            <a:xfrm>
              <a:off x="1504950" y="769938"/>
              <a:ext cx="257175" cy="171450"/>
            </a:xfrm>
            <a:custGeom>
              <a:avLst/>
              <a:gdLst>
                <a:gd name="T0" fmla="*/ 758 w 809"/>
                <a:gd name="T1" fmla="*/ 255 h 538"/>
                <a:gd name="T2" fmla="*/ 745 w 809"/>
                <a:gd name="T3" fmla="*/ 207 h 538"/>
                <a:gd name="T4" fmla="*/ 723 w 809"/>
                <a:gd name="T5" fmla="*/ 180 h 538"/>
                <a:gd name="T6" fmla="*/ 675 w 809"/>
                <a:gd name="T7" fmla="*/ 155 h 538"/>
                <a:gd name="T8" fmla="*/ 617 w 809"/>
                <a:gd name="T9" fmla="*/ 135 h 538"/>
                <a:gd name="T10" fmla="*/ 582 w 809"/>
                <a:gd name="T11" fmla="*/ 82 h 538"/>
                <a:gd name="T12" fmla="*/ 532 w 809"/>
                <a:gd name="T13" fmla="*/ 37 h 538"/>
                <a:gd name="T14" fmla="*/ 471 w 809"/>
                <a:gd name="T15" fmla="*/ 7 h 538"/>
                <a:gd name="T16" fmla="*/ 395 w 809"/>
                <a:gd name="T17" fmla="*/ 1 h 538"/>
                <a:gd name="T18" fmla="*/ 309 w 809"/>
                <a:gd name="T19" fmla="*/ 23 h 538"/>
                <a:gd name="T20" fmla="*/ 241 w 809"/>
                <a:gd name="T21" fmla="*/ 69 h 538"/>
                <a:gd name="T22" fmla="*/ 197 w 809"/>
                <a:gd name="T23" fmla="*/ 130 h 538"/>
                <a:gd name="T24" fmla="*/ 163 w 809"/>
                <a:gd name="T25" fmla="*/ 185 h 538"/>
                <a:gd name="T26" fmla="*/ 96 w 809"/>
                <a:gd name="T27" fmla="*/ 216 h 538"/>
                <a:gd name="T28" fmla="*/ 42 w 809"/>
                <a:gd name="T29" fmla="*/ 268 h 538"/>
                <a:gd name="T30" fmla="*/ 9 w 809"/>
                <a:gd name="T31" fmla="*/ 335 h 538"/>
                <a:gd name="T32" fmla="*/ 1 w 809"/>
                <a:gd name="T33" fmla="*/ 391 h 538"/>
                <a:gd name="T34" fmla="*/ 8 w 809"/>
                <a:gd name="T35" fmla="*/ 401 h 538"/>
                <a:gd name="T36" fmla="*/ 19 w 809"/>
                <a:gd name="T37" fmla="*/ 403 h 538"/>
                <a:gd name="T38" fmla="*/ 28 w 809"/>
                <a:gd name="T39" fmla="*/ 398 h 538"/>
                <a:gd name="T40" fmla="*/ 31 w 809"/>
                <a:gd name="T41" fmla="*/ 372 h 538"/>
                <a:gd name="T42" fmla="*/ 51 w 809"/>
                <a:gd name="T43" fmla="*/ 310 h 538"/>
                <a:gd name="T44" fmla="*/ 92 w 809"/>
                <a:gd name="T45" fmla="*/ 257 h 538"/>
                <a:gd name="T46" fmla="*/ 148 w 809"/>
                <a:gd name="T47" fmla="*/ 221 h 538"/>
                <a:gd name="T48" fmla="*/ 202 w 809"/>
                <a:gd name="T49" fmla="*/ 208 h 538"/>
                <a:gd name="T50" fmla="*/ 211 w 809"/>
                <a:gd name="T51" fmla="*/ 186 h 538"/>
                <a:gd name="T52" fmla="*/ 225 w 809"/>
                <a:gd name="T53" fmla="*/ 142 h 538"/>
                <a:gd name="T54" fmla="*/ 269 w 809"/>
                <a:gd name="T55" fmla="*/ 85 h 538"/>
                <a:gd name="T56" fmla="*/ 331 w 809"/>
                <a:gd name="T57" fmla="*/ 48 h 538"/>
                <a:gd name="T58" fmla="*/ 402 w 809"/>
                <a:gd name="T59" fmla="*/ 31 h 538"/>
                <a:gd name="T60" fmla="*/ 465 w 809"/>
                <a:gd name="T61" fmla="*/ 36 h 538"/>
                <a:gd name="T62" fmla="*/ 520 w 809"/>
                <a:gd name="T63" fmla="*/ 64 h 538"/>
                <a:gd name="T64" fmla="*/ 563 w 809"/>
                <a:gd name="T65" fmla="*/ 107 h 538"/>
                <a:gd name="T66" fmla="*/ 595 w 809"/>
                <a:gd name="T67" fmla="*/ 157 h 538"/>
                <a:gd name="T68" fmla="*/ 612 w 809"/>
                <a:gd name="T69" fmla="*/ 179 h 538"/>
                <a:gd name="T70" fmla="*/ 660 w 809"/>
                <a:gd name="T71" fmla="*/ 181 h 538"/>
                <a:gd name="T72" fmla="*/ 706 w 809"/>
                <a:gd name="T73" fmla="*/ 205 h 538"/>
                <a:gd name="T74" fmla="*/ 727 w 809"/>
                <a:gd name="T75" fmla="*/ 241 h 538"/>
                <a:gd name="T76" fmla="*/ 724 w 809"/>
                <a:gd name="T77" fmla="*/ 282 h 538"/>
                <a:gd name="T78" fmla="*/ 722 w 809"/>
                <a:gd name="T79" fmla="*/ 308 h 538"/>
                <a:gd name="T80" fmla="*/ 742 w 809"/>
                <a:gd name="T81" fmla="*/ 327 h 538"/>
                <a:gd name="T82" fmla="*/ 771 w 809"/>
                <a:gd name="T83" fmla="*/ 377 h 538"/>
                <a:gd name="T84" fmla="*/ 779 w 809"/>
                <a:gd name="T85" fmla="*/ 445 h 538"/>
                <a:gd name="T86" fmla="*/ 768 w 809"/>
                <a:gd name="T87" fmla="*/ 487 h 538"/>
                <a:gd name="T88" fmla="*/ 751 w 809"/>
                <a:gd name="T89" fmla="*/ 518 h 538"/>
                <a:gd name="T90" fmla="*/ 750 w 809"/>
                <a:gd name="T91" fmla="*/ 528 h 538"/>
                <a:gd name="T92" fmla="*/ 757 w 809"/>
                <a:gd name="T93" fmla="*/ 537 h 538"/>
                <a:gd name="T94" fmla="*/ 768 w 809"/>
                <a:gd name="T95" fmla="*/ 538 h 538"/>
                <a:gd name="T96" fmla="*/ 784 w 809"/>
                <a:gd name="T97" fmla="*/ 521 h 538"/>
                <a:gd name="T98" fmla="*/ 804 w 809"/>
                <a:gd name="T99" fmla="*/ 473 h 538"/>
                <a:gd name="T100" fmla="*/ 809 w 809"/>
                <a:gd name="T101" fmla="*/ 416 h 538"/>
                <a:gd name="T102" fmla="*/ 793 w 809"/>
                <a:gd name="T103" fmla="*/ 351 h 538"/>
                <a:gd name="T104" fmla="*/ 773 w 809"/>
                <a:gd name="T105" fmla="*/ 31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9" h="538">
                  <a:moveTo>
                    <a:pt x="752" y="294"/>
                  </a:moveTo>
                  <a:lnTo>
                    <a:pt x="756" y="281"/>
                  </a:lnTo>
                  <a:lnTo>
                    <a:pt x="758" y="268"/>
                  </a:lnTo>
                  <a:lnTo>
                    <a:pt x="758" y="255"/>
                  </a:lnTo>
                  <a:lnTo>
                    <a:pt x="757" y="242"/>
                  </a:lnTo>
                  <a:lnTo>
                    <a:pt x="755" y="231"/>
                  </a:lnTo>
                  <a:lnTo>
                    <a:pt x="751" y="219"/>
                  </a:lnTo>
                  <a:lnTo>
                    <a:pt x="745" y="207"/>
                  </a:lnTo>
                  <a:lnTo>
                    <a:pt x="738" y="196"/>
                  </a:lnTo>
                  <a:lnTo>
                    <a:pt x="734" y="191"/>
                  </a:lnTo>
                  <a:lnTo>
                    <a:pt x="728" y="186"/>
                  </a:lnTo>
                  <a:lnTo>
                    <a:pt x="723" y="180"/>
                  </a:lnTo>
                  <a:lnTo>
                    <a:pt x="717" y="175"/>
                  </a:lnTo>
                  <a:lnTo>
                    <a:pt x="704" y="166"/>
                  </a:lnTo>
                  <a:lnTo>
                    <a:pt x="690" y="159"/>
                  </a:lnTo>
                  <a:lnTo>
                    <a:pt x="675" y="155"/>
                  </a:lnTo>
                  <a:lnTo>
                    <a:pt x="659" y="150"/>
                  </a:lnTo>
                  <a:lnTo>
                    <a:pt x="642" y="149"/>
                  </a:lnTo>
                  <a:lnTo>
                    <a:pt x="625" y="149"/>
                  </a:lnTo>
                  <a:lnTo>
                    <a:pt x="617" y="135"/>
                  </a:lnTo>
                  <a:lnTo>
                    <a:pt x="610" y="122"/>
                  </a:lnTo>
                  <a:lnTo>
                    <a:pt x="602" y="108"/>
                  </a:lnTo>
                  <a:lnTo>
                    <a:pt x="592" y="95"/>
                  </a:lnTo>
                  <a:lnTo>
                    <a:pt x="582" y="82"/>
                  </a:lnTo>
                  <a:lnTo>
                    <a:pt x="571" y="69"/>
                  </a:lnTo>
                  <a:lnTo>
                    <a:pt x="559" y="57"/>
                  </a:lnTo>
                  <a:lnTo>
                    <a:pt x="546" y="47"/>
                  </a:lnTo>
                  <a:lnTo>
                    <a:pt x="532" y="37"/>
                  </a:lnTo>
                  <a:lnTo>
                    <a:pt x="519" y="27"/>
                  </a:lnTo>
                  <a:lnTo>
                    <a:pt x="504" y="20"/>
                  </a:lnTo>
                  <a:lnTo>
                    <a:pt x="487" y="12"/>
                  </a:lnTo>
                  <a:lnTo>
                    <a:pt x="471" y="7"/>
                  </a:lnTo>
                  <a:lnTo>
                    <a:pt x="455" y="3"/>
                  </a:lnTo>
                  <a:lnTo>
                    <a:pt x="438" y="1"/>
                  </a:lnTo>
                  <a:lnTo>
                    <a:pt x="420" y="0"/>
                  </a:lnTo>
                  <a:lnTo>
                    <a:pt x="395" y="1"/>
                  </a:lnTo>
                  <a:lnTo>
                    <a:pt x="372" y="4"/>
                  </a:lnTo>
                  <a:lnTo>
                    <a:pt x="349" y="8"/>
                  </a:lnTo>
                  <a:lnTo>
                    <a:pt x="328" y="16"/>
                  </a:lnTo>
                  <a:lnTo>
                    <a:pt x="309" y="23"/>
                  </a:lnTo>
                  <a:lnTo>
                    <a:pt x="289" y="33"/>
                  </a:lnTo>
                  <a:lnTo>
                    <a:pt x="272" y="44"/>
                  </a:lnTo>
                  <a:lnTo>
                    <a:pt x="256" y="56"/>
                  </a:lnTo>
                  <a:lnTo>
                    <a:pt x="241" y="69"/>
                  </a:lnTo>
                  <a:lnTo>
                    <a:pt x="228" y="84"/>
                  </a:lnTo>
                  <a:lnTo>
                    <a:pt x="217" y="99"/>
                  </a:lnTo>
                  <a:lnTo>
                    <a:pt x="207" y="114"/>
                  </a:lnTo>
                  <a:lnTo>
                    <a:pt x="197" y="130"/>
                  </a:lnTo>
                  <a:lnTo>
                    <a:pt x="191" y="147"/>
                  </a:lnTo>
                  <a:lnTo>
                    <a:pt x="186" y="163"/>
                  </a:lnTo>
                  <a:lnTo>
                    <a:pt x="182" y="180"/>
                  </a:lnTo>
                  <a:lnTo>
                    <a:pt x="163" y="185"/>
                  </a:lnTo>
                  <a:lnTo>
                    <a:pt x="146" y="190"/>
                  </a:lnTo>
                  <a:lnTo>
                    <a:pt x="129" y="198"/>
                  </a:lnTo>
                  <a:lnTo>
                    <a:pt x="112" y="206"/>
                  </a:lnTo>
                  <a:lnTo>
                    <a:pt x="96" y="216"/>
                  </a:lnTo>
                  <a:lnTo>
                    <a:pt x="81" y="227"/>
                  </a:lnTo>
                  <a:lnTo>
                    <a:pt x="67" y="240"/>
                  </a:lnTo>
                  <a:lnTo>
                    <a:pt x="54" y="253"/>
                  </a:lnTo>
                  <a:lnTo>
                    <a:pt x="42" y="268"/>
                  </a:lnTo>
                  <a:lnTo>
                    <a:pt x="31" y="283"/>
                  </a:lnTo>
                  <a:lnTo>
                    <a:pt x="23" y="300"/>
                  </a:lnTo>
                  <a:lnTo>
                    <a:pt x="15" y="316"/>
                  </a:lnTo>
                  <a:lnTo>
                    <a:pt x="9" y="335"/>
                  </a:lnTo>
                  <a:lnTo>
                    <a:pt x="5" y="352"/>
                  </a:lnTo>
                  <a:lnTo>
                    <a:pt x="1" y="370"/>
                  </a:lnTo>
                  <a:lnTo>
                    <a:pt x="0" y="388"/>
                  </a:lnTo>
                  <a:lnTo>
                    <a:pt x="1" y="391"/>
                  </a:lnTo>
                  <a:lnTo>
                    <a:pt x="2" y="394"/>
                  </a:lnTo>
                  <a:lnTo>
                    <a:pt x="4" y="398"/>
                  </a:lnTo>
                  <a:lnTo>
                    <a:pt x="6" y="400"/>
                  </a:lnTo>
                  <a:lnTo>
                    <a:pt x="8" y="401"/>
                  </a:lnTo>
                  <a:lnTo>
                    <a:pt x="10" y="402"/>
                  </a:lnTo>
                  <a:lnTo>
                    <a:pt x="13" y="403"/>
                  </a:lnTo>
                  <a:lnTo>
                    <a:pt x="15" y="403"/>
                  </a:lnTo>
                  <a:lnTo>
                    <a:pt x="19" y="403"/>
                  </a:lnTo>
                  <a:lnTo>
                    <a:pt x="22" y="402"/>
                  </a:lnTo>
                  <a:lnTo>
                    <a:pt x="24" y="401"/>
                  </a:lnTo>
                  <a:lnTo>
                    <a:pt x="26" y="400"/>
                  </a:lnTo>
                  <a:lnTo>
                    <a:pt x="28" y="398"/>
                  </a:lnTo>
                  <a:lnTo>
                    <a:pt x="29" y="394"/>
                  </a:lnTo>
                  <a:lnTo>
                    <a:pt x="30" y="391"/>
                  </a:lnTo>
                  <a:lnTo>
                    <a:pt x="30" y="388"/>
                  </a:lnTo>
                  <a:lnTo>
                    <a:pt x="31" y="372"/>
                  </a:lnTo>
                  <a:lnTo>
                    <a:pt x="35" y="356"/>
                  </a:lnTo>
                  <a:lnTo>
                    <a:pt x="39" y="340"/>
                  </a:lnTo>
                  <a:lnTo>
                    <a:pt x="44" y="325"/>
                  </a:lnTo>
                  <a:lnTo>
                    <a:pt x="51" y="310"/>
                  </a:lnTo>
                  <a:lnTo>
                    <a:pt x="59" y="295"/>
                  </a:lnTo>
                  <a:lnTo>
                    <a:pt x="69" y="282"/>
                  </a:lnTo>
                  <a:lnTo>
                    <a:pt x="80" y="269"/>
                  </a:lnTo>
                  <a:lnTo>
                    <a:pt x="92" y="257"/>
                  </a:lnTo>
                  <a:lnTo>
                    <a:pt x="104" y="247"/>
                  </a:lnTo>
                  <a:lnTo>
                    <a:pt x="118" y="237"/>
                  </a:lnTo>
                  <a:lnTo>
                    <a:pt x="133" y="229"/>
                  </a:lnTo>
                  <a:lnTo>
                    <a:pt x="148" y="221"/>
                  </a:lnTo>
                  <a:lnTo>
                    <a:pt x="164" y="216"/>
                  </a:lnTo>
                  <a:lnTo>
                    <a:pt x="180" y="211"/>
                  </a:lnTo>
                  <a:lnTo>
                    <a:pt x="196" y="209"/>
                  </a:lnTo>
                  <a:lnTo>
                    <a:pt x="202" y="208"/>
                  </a:lnTo>
                  <a:lnTo>
                    <a:pt x="206" y="205"/>
                  </a:lnTo>
                  <a:lnTo>
                    <a:pt x="209" y="201"/>
                  </a:lnTo>
                  <a:lnTo>
                    <a:pt x="210" y="195"/>
                  </a:lnTo>
                  <a:lnTo>
                    <a:pt x="211" y="186"/>
                  </a:lnTo>
                  <a:lnTo>
                    <a:pt x="213" y="177"/>
                  </a:lnTo>
                  <a:lnTo>
                    <a:pt x="216" y="168"/>
                  </a:lnTo>
                  <a:lnTo>
                    <a:pt x="218" y="159"/>
                  </a:lnTo>
                  <a:lnTo>
                    <a:pt x="225" y="142"/>
                  </a:lnTo>
                  <a:lnTo>
                    <a:pt x="234" y="127"/>
                  </a:lnTo>
                  <a:lnTo>
                    <a:pt x="243" y="112"/>
                  </a:lnTo>
                  <a:lnTo>
                    <a:pt x="255" y="98"/>
                  </a:lnTo>
                  <a:lnTo>
                    <a:pt x="269" y="85"/>
                  </a:lnTo>
                  <a:lnTo>
                    <a:pt x="283" y="74"/>
                  </a:lnTo>
                  <a:lnTo>
                    <a:pt x="298" y="64"/>
                  </a:lnTo>
                  <a:lnTo>
                    <a:pt x="315" y="55"/>
                  </a:lnTo>
                  <a:lnTo>
                    <a:pt x="331" y="48"/>
                  </a:lnTo>
                  <a:lnTo>
                    <a:pt x="348" y="41"/>
                  </a:lnTo>
                  <a:lnTo>
                    <a:pt x="366" y="36"/>
                  </a:lnTo>
                  <a:lnTo>
                    <a:pt x="385" y="33"/>
                  </a:lnTo>
                  <a:lnTo>
                    <a:pt x="402" y="31"/>
                  </a:lnTo>
                  <a:lnTo>
                    <a:pt x="420" y="29"/>
                  </a:lnTo>
                  <a:lnTo>
                    <a:pt x="435" y="31"/>
                  </a:lnTo>
                  <a:lnTo>
                    <a:pt x="450" y="33"/>
                  </a:lnTo>
                  <a:lnTo>
                    <a:pt x="465" y="36"/>
                  </a:lnTo>
                  <a:lnTo>
                    <a:pt x="479" y="41"/>
                  </a:lnTo>
                  <a:lnTo>
                    <a:pt x="493" y="48"/>
                  </a:lnTo>
                  <a:lnTo>
                    <a:pt x="507" y="55"/>
                  </a:lnTo>
                  <a:lnTo>
                    <a:pt x="520" y="64"/>
                  </a:lnTo>
                  <a:lnTo>
                    <a:pt x="531" y="73"/>
                  </a:lnTo>
                  <a:lnTo>
                    <a:pt x="543" y="84"/>
                  </a:lnTo>
                  <a:lnTo>
                    <a:pt x="554" y="95"/>
                  </a:lnTo>
                  <a:lnTo>
                    <a:pt x="563" y="107"/>
                  </a:lnTo>
                  <a:lnTo>
                    <a:pt x="573" y="118"/>
                  </a:lnTo>
                  <a:lnTo>
                    <a:pt x="581" y="131"/>
                  </a:lnTo>
                  <a:lnTo>
                    <a:pt x="588" y="144"/>
                  </a:lnTo>
                  <a:lnTo>
                    <a:pt x="595" y="157"/>
                  </a:lnTo>
                  <a:lnTo>
                    <a:pt x="601" y="170"/>
                  </a:lnTo>
                  <a:lnTo>
                    <a:pt x="603" y="174"/>
                  </a:lnTo>
                  <a:lnTo>
                    <a:pt x="606" y="177"/>
                  </a:lnTo>
                  <a:lnTo>
                    <a:pt x="612" y="179"/>
                  </a:lnTo>
                  <a:lnTo>
                    <a:pt x="616" y="179"/>
                  </a:lnTo>
                  <a:lnTo>
                    <a:pt x="631" y="178"/>
                  </a:lnTo>
                  <a:lnTo>
                    <a:pt x="646" y="179"/>
                  </a:lnTo>
                  <a:lnTo>
                    <a:pt x="660" y="181"/>
                  </a:lnTo>
                  <a:lnTo>
                    <a:pt x="673" y="185"/>
                  </a:lnTo>
                  <a:lnTo>
                    <a:pt x="686" y="190"/>
                  </a:lnTo>
                  <a:lnTo>
                    <a:pt x="696" y="198"/>
                  </a:lnTo>
                  <a:lnTo>
                    <a:pt x="706" y="205"/>
                  </a:lnTo>
                  <a:lnTo>
                    <a:pt x="714" y="215"/>
                  </a:lnTo>
                  <a:lnTo>
                    <a:pt x="720" y="223"/>
                  </a:lnTo>
                  <a:lnTo>
                    <a:pt x="724" y="232"/>
                  </a:lnTo>
                  <a:lnTo>
                    <a:pt x="727" y="241"/>
                  </a:lnTo>
                  <a:lnTo>
                    <a:pt x="728" y="251"/>
                  </a:lnTo>
                  <a:lnTo>
                    <a:pt x="728" y="261"/>
                  </a:lnTo>
                  <a:lnTo>
                    <a:pt x="727" y="271"/>
                  </a:lnTo>
                  <a:lnTo>
                    <a:pt x="724" y="282"/>
                  </a:lnTo>
                  <a:lnTo>
                    <a:pt x="721" y="293"/>
                  </a:lnTo>
                  <a:lnTo>
                    <a:pt x="720" y="298"/>
                  </a:lnTo>
                  <a:lnTo>
                    <a:pt x="720" y="303"/>
                  </a:lnTo>
                  <a:lnTo>
                    <a:pt x="722" y="308"/>
                  </a:lnTo>
                  <a:lnTo>
                    <a:pt x="726" y="312"/>
                  </a:lnTo>
                  <a:lnTo>
                    <a:pt x="732" y="316"/>
                  </a:lnTo>
                  <a:lnTo>
                    <a:pt x="737" y="322"/>
                  </a:lnTo>
                  <a:lnTo>
                    <a:pt x="742" y="327"/>
                  </a:lnTo>
                  <a:lnTo>
                    <a:pt x="748" y="332"/>
                  </a:lnTo>
                  <a:lnTo>
                    <a:pt x="757" y="346"/>
                  </a:lnTo>
                  <a:lnTo>
                    <a:pt x="765" y="361"/>
                  </a:lnTo>
                  <a:lnTo>
                    <a:pt x="771" y="377"/>
                  </a:lnTo>
                  <a:lnTo>
                    <a:pt x="775" y="396"/>
                  </a:lnTo>
                  <a:lnTo>
                    <a:pt x="779" y="414"/>
                  </a:lnTo>
                  <a:lnTo>
                    <a:pt x="779" y="433"/>
                  </a:lnTo>
                  <a:lnTo>
                    <a:pt x="779" y="445"/>
                  </a:lnTo>
                  <a:lnTo>
                    <a:pt x="778" y="455"/>
                  </a:lnTo>
                  <a:lnTo>
                    <a:pt x="775" y="466"/>
                  </a:lnTo>
                  <a:lnTo>
                    <a:pt x="772" y="477"/>
                  </a:lnTo>
                  <a:lnTo>
                    <a:pt x="768" y="487"/>
                  </a:lnTo>
                  <a:lnTo>
                    <a:pt x="764" y="496"/>
                  </a:lnTo>
                  <a:lnTo>
                    <a:pt x="758" y="506"/>
                  </a:lnTo>
                  <a:lnTo>
                    <a:pt x="752" y="514"/>
                  </a:lnTo>
                  <a:lnTo>
                    <a:pt x="751" y="518"/>
                  </a:lnTo>
                  <a:lnTo>
                    <a:pt x="750" y="520"/>
                  </a:lnTo>
                  <a:lnTo>
                    <a:pt x="749" y="523"/>
                  </a:lnTo>
                  <a:lnTo>
                    <a:pt x="750" y="526"/>
                  </a:lnTo>
                  <a:lnTo>
                    <a:pt x="750" y="528"/>
                  </a:lnTo>
                  <a:lnTo>
                    <a:pt x="751" y="531"/>
                  </a:lnTo>
                  <a:lnTo>
                    <a:pt x="753" y="534"/>
                  </a:lnTo>
                  <a:lnTo>
                    <a:pt x="755" y="535"/>
                  </a:lnTo>
                  <a:lnTo>
                    <a:pt x="757" y="537"/>
                  </a:lnTo>
                  <a:lnTo>
                    <a:pt x="759" y="538"/>
                  </a:lnTo>
                  <a:lnTo>
                    <a:pt x="762" y="538"/>
                  </a:lnTo>
                  <a:lnTo>
                    <a:pt x="764" y="538"/>
                  </a:lnTo>
                  <a:lnTo>
                    <a:pt x="768" y="538"/>
                  </a:lnTo>
                  <a:lnTo>
                    <a:pt x="771" y="537"/>
                  </a:lnTo>
                  <a:lnTo>
                    <a:pt x="773" y="535"/>
                  </a:lnTo>
                  <a:lnTo>
                    <a:pt x="777" y="533"/>
                  </a:lnTo>
                  <a:lnTo>
                    <a:pt x="784" y="521"/>
                  </a:lnTo>
                  <a:lnTo>
                    <a:pt x="790" y="510"/>
                  </a:lnTo>
                  <a:lnTo>
                    <a:pt x="796" y="498"/>
                  </a:lnTo>
                  <a:lnTo>
                    <a:pt x="801" y="485"/>
                  </a:lnTo>
                  <a:lnTo>
                    <a:pt x="804" y="473"/>
                  </a:lnTo>
                  <a:lnTo>
                    <a:pt x="807" y="460"/>
                  </a:lnTo>
                  <a:lnTo>
                    <a:pt x="809" y="447"/>
                  </a:lnTo>
                  <a:lnTo>
                    <a:pt x="809" y="433"/>
                  </a:lnTo>
                  <a:lnTo>
                    <a:pt x="809" y="416"/>
                  </a:lnTo>
                  <a:lnTo>
                    <a:pt x="807" y="398"/>
                  </a:lnTo>
                  <a:lnTo>
                    <a:pt x="802" y="378"/>
                  </a:lnTo>
                  <a:lnTo>
                    <a:pt x="796" y="360"/>
                  </a:lnTo>
                  <a:lnTo>
                    <a:pt x="793" y="351"/>
                  </a:lnTo>
                  <a:lnTo>
                    <a:pt x="788" y="342"/>
                  </a:lnTo>
                  <a:lnTo>
                    <a:pt x="784" y="332"/>
                  </a:lnTo>
                  <a:lnTo>
                    <a:pt x="779" y="324"/>
                  </a:lnTo>
                  <a:lnTo>
                    <a:pt x="773" y="316"/>
                  </a:lnTo>
                  <a:lnTo>
                    <a:pt x="767"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17" name="Group 2">
            <a:extLst>
              <a:ext uri="{FF2B5EF4-FFF2-40B4-BE49-F238E27FC236}">
                <a16:creationId xmlns:a16="http://schemas.microsoft.com/office/drawing/2014/main" id="{1951F23A-61BB-4D4A-BB2B-B021CE45972A}"/>
              </a:ext>
            </a:extLst>
          </p:cNvPr>
          <p:cNvGrpSpPr>
            <a:grpSpLocks noChangeAspect="1"/>
          </p:cNvGrpSpPr>
          <p:nvPr/>
        </p:nvGrpSpPr>
        <p:grpSpPr>
          <a:xfrm>
            <a:off x="4896517" y="5944848"/>
            <a:ext cx="308144" cy="308144"/>
            <a:chOff x="935988" y="2407916"/>
            <a:chExt cx="630048" cy="630048"/>
          </a:xfrm>
          <a:solidFill>
            <a:schemeClr val="bg1"/>
          </a:solidFill>
          <a:effectLst/>
        </p:grpSpPr>
        <p:sp>
          <p:nvSpPr>
            <p:cNvPr id="918" name="Freeform 54">
              <a:extLst>
                <a:ext uri="{FF2B5EF4-FFF2-40B4-BE49-F238E27FC236}">
                  <a16:creationId xmlns:a16="http://schemas.microsoft.com/office/drawing/2014/main" id="{5E25CA01-E191-4638-8277-0E339A9E5577}"/>
                </a:ext>
              </a:extLst>
            </p:cNvPr>
            <p:cNvSpPr>
              <a:spLocks noEditPoints="1"/>
            </p:cNvSpPr>
            <p:nvPr/>
          </p:nvSpPr>
          <p:spPr bwMode="auto">
            <a:xfrm>
              <a:off x="1033753" y="2505681"/>
              <a:ext cx="434516" cy="434516"/>
            </a:xfrm>
            <a:custGeom>
              <a:avLst/>
              <a:gdLst>
                <a:gd name="T0" fmla="*/ 245 w 599"/>
                <a:gd name="T1" fmla="*/ 563 h 599"/>
                <a:gd name="T2" fmla="*/ 182 w 599"/>
                <a:gd name="T3" fmla="*/ 542 h 599"/>
                <a:gd name="T4" fmla="*/ 128 w 599"/>
                <a:gd name="T5" fmla="*/ 508 h 599"/>
                <a:gd name="T6" fmla="*/ 84 w 599"/>
                <a:gd name="T7" fmla="*/ 461 h 599"/>
                <a:gd name="T8" fmla="*/ 52 w 599"/>
                <a:gd name="T9" fmla="*/ 405 h 599"/>
                <a:gd name="T10" fmla="*/ 33 w 599"/>
                <a:gd name="T11" fmla="*/ 341 h 599"/>
                <a:gd name="T12" fmla="*/ 31 w 599"/>
                <a:gd name="T13" fmla="*/ 272 h 599"/>
                <a:gd name="T14" fmla="*/ 46 w 599"/>
                <a:gd name="T15" fmla="*/ 207 h 599"/>
                <a:gd name="T16" fmla="*/ 76 w 599"/>
                <a:gd name="T17" fmla="*/ 149 h 599"/>
                <a:gd name="T18" fmla="*/ 118 w 599"/>
                <a:gd name="T19" fmla="*/ 100 h 599"/>
                <a:gd name="T20" fmla="*/ 171 w 599"/>
                <a:gd name="T21" fmla="*/ 62 h 599"/>
                <a:gd name="T22" fmla="*/ 233 w 599"/>
                <a:gd name="T23" fmla="*/ 39 h 599"/>
                <a:gd name="T24" fmla="*/ 299 w 599"/>
                <a:gd name="T25" fmla="*/ 30 h 599"/>
                <a:gd name="T26" fmla="*/ 366 w 599"/>
                <a:gd name="T27" fmla="*/ 39 h 599"/>
                <a:gd name="T28" fmla="*/ 427 w 599"/>
                <a:gd name="T29" fmla="*/ 62 h 599"/>
                <a:gd name="T30" fmla="*/ 480 w 599"/>
                <a:gd name="T31" fmla="*/ 100 h 599"/>
                <a:gd name="T32" fmla="*/ 523 w 599"/>
                <a:gd name="T33" fmla="*/ 149 h 599"/>
                <a:gd name="T34" fmla="*/ 553 w 599"/>
                <a:gd name="T35" fmla="*/ 207 h 599"/>
                <a:gd name="T36" fmla="*/ 568 w 599"/>
                <a:gd name="T37" fmla="*/ 272 h 599"/>
                <a:gd name="T38" fmla="*/ 566 w 599"/>
                <a:gd name="T39" fmla="*/ 341 h 599"/>
                <a:gd name="T40" fmla="*/ 547 w 599"/>
                <a:gd name="T41" fmla="*/ 405 h 599"/>
                <a:gd name="T42" fmla="*/ 515 w 599"/>
                <a:gd name="T43" fmla="*/ 461 h 599"/>
                <a:gd name="T44" fmla="*/ 470 w 599"/>
                <a:gd name="T45" fmla="*/ 508 h 599"/>
                <a:gd name="T46" fmla="*/ 416 w 599"/>
                <a:gd name="T47" fmla="*/ 542 h 599"/>
                <a:gd name="T48" fmla="*/ 354 w 599"/>
                <a:gd name="T49" fmla="*/ 563 h 599"/>
                <a:gd name="T50" fmla="*/ 299 w 599"/>
                <a:gd name="T51" fmla="*/ 0 h 599"/>
                <a:gd name="T52" fmla="*/ 225 w 599"/>
                <a:gd name="T53" fmla="*/ 10 h 599"/>
                <a:gd name="T54" fmla="*/ 157 w 599"/>
                <a:gd name="T55" fmla="*/ 37 h 599"/>
                <a:gd name="T56" fmla="*/ 98 w 599"/>
                <a:gd name="T57" fmla="*/ 79 h 599"/>
                <a:gd name="T58" fmla="*/ 52 w 599"/>
                <a:gd name="T59" fmla="*/ 132 h 599"/>
                <a:gd name="T60" fmla="*/ 18 w 599"/>
                <a:gd name="T61" fmla="*/ 196 h 599"/>
                <a:gd name="T62" fmla="*/ 1 w 599"/>
                <a:gd name="T63" fmla="*/ 269 h 599"/>
                <a:gd name="T64" fmla="*/ 3 w 599"/>
                <a:gd name="T65" fmla="*/ 345 h 599"/>
                <a:gd name="T66" fmla="*/ 24 w 599"/>
                <a:gd name="T67" fmla="*/ 416 h 599"/>
                <a:gd name="T68" fmla="*/ 59 w 599"/>
                <a:gd name="T69" fmla="*/ 479 h 599"/>
                <a:gd name="T70" fmla="*/ 109 w 599"/>
                <a:gd name="T71" fmla="*/ 530 h 599"/>
                <a:gd name="T72" fmla="*/ 169 w 599"/>
                <a:gd name="T73" fmla="*/ 570 h 599"/>
                <a:gd name="T74" fmla="*/ 239 w 599"/>
                <a:gd name="T75" fmla="*/ 592 h 599"/>
                <a:gd name="T76" fmla="*/ 315 w 599"/>
                <a:gd name="T77" fmla="*/ 599 h 599"/>
                <a:gd name="T78" fmla="*/ 388 w 599"/>
                <a:gd name="T79" fmla="*/ 585 h 599"/>
                <a:gd name="T80" fmla="*/ 454 w 599"/>
                <a:gd name="T81" fmla="*/ 556 h 599"/>
                <a:gd name="T82" fmla="*/ 511 w 599"/>
                <a:gd name="T83" fmla="*/ 511 h 599"/>
                <a:gd name="T84" fmla="*/ 555 w 599"/>
                <a:gd name="T85" fmla="*/ 455 h 599"/>
                <a:gd name="T86" fmla="*/ 585 w 599"/>
                <a:gd name="T87" fmla="*/ 389 h 599"/>
                <a:gd name="T88" fmla="*/ 599 w 599"/>
                <a:gd name="T89" fmla="*/ 315 h 599"/>
                <a:gd name="T90" fmla="*/ 592 w 599"/>
                <a:gd name="T91" fmla="*/ 239 h 599"/>
                <a:gd name="T92" fmla="*/ 569 w 599"/>
                <a:gd name="T93" fmla="*/ 169 h 599"/>
                <a:gd name="T94" fmla="*/ 530 w 599"/>
                <a:gd name="T95" fmla="*/ 110 h 599"/>
                <a:gd name="T96" fmla="*/ 479 w 599"/>
                <a:gd name="T97" fmla="*/ 59 h 599"/>
                <a:gd name="T98" fmla="*/ 416 w 599"/>
                <a:gd name="T99" fmla="*/ 24 h 599"/>
                <a:gd name="T100" fmla="*/ 345 w 599"/>
                <a:gd name="T101" fmla="*/ 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9" h="599">
                  <a:moveTo>
                    <a:pt x="299" y="569"/>
                  </a:moveTo>
                  <a:lnTo>
                    <a:pt x="285" y="569"/>
                  </a:lnTo>
                  <a:lnTo>
                    <a:pt x="272" y="568"/>
                  </a:lnTo>
                  <a:lnTo>
                    <a:pt x="258" y="566"/>
                  </a:lnTo>
                  <a:lnTo>
                    <a:pt x="245" y="563"/>
                  </a:lnTo>
                  <a:lnTo>
                    <a:pt x="233" y="560"/>
                  </a:lnTo>
                  <a:lnTo>
                    <a:pt x="220" y="557"/>
                  </a:lnTo>
                  <a:lnTo>
                    <a:pt x="207" y="553"/>
                  </a:lnTo>
                  <a:lnTo>
                    <a:pt x="194" y="547"/>
                  </a:lnTo>
                  <a:lnTo>
                    <a:pt x="182" y="542"/>
                  </a:lnTo>
                  <a:lnTo>
                    <a:pt x="171" y="537"/>
                  </a:lnTo>
                  <a:lnTo>
                    <a:pt x="160" y="530"/>
                  </a:lnTo>
                  <a:lnTo>
                    <a:pt x="149" y="523"/>
                  </a:lnTo>
                  <a:lnTo>
                    <a:pt x="138" y="515"/>
                  </a:lnTo>
                  <a:lnTo>
                    <a:pt x="128" y="508"/>
                  </a:lnTo>
                  <a:lnTo>
                    <a:pt x="118" y="499"/>
                  </a:lnTo>
                  <a:lnTo>
                    <a:pt x="108" y="491"/>
                  </a:lnTo>
                  <a:lnTo>
                    <a:pt x="100" y="481"/>
                  </a:lnTo>
                  <a:lnTo>
                    <a:pt x="91" y="471"/>
                  </a:lnTo>
                  <a:lnTo>
                    <a:pt x="84" y="461"/>
                  </a:lnTo>
                  <a:lnTo>
                    <a:pt x="76" y="450"/>
                  </a:lnTo>
                  <a:lnTo>
                    <a:pt x="69" y="439"/>
                  </a:lnTo>
                  <a:lnTo>
                    <a:pt x="62" y="429"/>
                  </a:lnTo>
                  <a:lnTo>
                    <a:pt x="57" y="417"/>
                  </a:lnTo>
                  <a:lnTo>
                    <a:pt x="52" y="405"/>
                  </a:lnTo>
                  <a:lnTo>
                    <a:pt x="46" y="392"/>
                  </a:lnTo>
                  <a:lnTo>
                    <a:pt x="42" y="379"/>
                  </a:lnTo>
                  <a:lnTo>
                    <a:pt x="39" y="368"/>
                  </a:lnTo>
                  <a:lnTo>
                    <a:pt x="36" y="354"/>
                  </a:lnTo>
                  <a:lnTo>
                    <a:pt x="33" y="341"/>
                  </a:lnTo>
                  <a:lnTo>
                    <a:pt x="31" y="327"/>
                  </a:lnTo>
                  <a:lnTo>
                    <a:pt x="30" y="313"/>
                  </a:lnTo>
                  <a:lnTo>
                    <a:pt x="30" y="299"/>
                  </a:lnTo>
                  <a:lnTo>
                    <a:pt x="30" y="285"/>
                  </a:lnTo>
                  <a:lnTo>
                    <a:pt x="31" y="272"/>
                  </a:lnTo>
                  <a:lnTo>
                    <a:pt x="33" y="258"/>
                  </a:lnTo>
                  <a:lnTo>
                    <a:pt x="36" y="245"/>
                  </a:lnTo>
                  <a:lnTo>
                    <a:pt x="39" y="233"/>
                  </a:lnTo>
                  <a:lnTo>
                    <a:pt x="42" y="220"/>
                  </a:lnTo>
                  <a:lnTo>
                    <a:pt x="46" y="207"/>
                  </a:lnTo>
                  <a:lnTo>
                    <a:pt x="52" y="195"/>
                  </a:lnTo>
                  <a:lnTo>
                    <a:pt x="57" y="182"/>
                  </a:lnTo>
                  <a:lnTo>
                    <a:pt x="62" y="172"/>
                  </a:lnTo>
                  <a:lnTo>
                    <a:pt x="69" y="160"/>
                  </a:lnTo>
                  <a:lnTo>
                    <a:pt x="76" y="149"/>
                  </a:lnTo>
                  <a:lnTo>
                    <a:pt x="84" y="138"/>
                  </a:lnTo>
                  <a:lnTo>
                    <a:pt x="91" y="129"/>
                  </a:lnTo>
                  <a:lnTo>
                    <a:pt x="100" y="118"/>
                  </a:lnTo>
                  <a:lnTo>
                    <a:pt x="108" y="110"/>
                  </a:lnTo>
                  <a:lnTo>
                    <a:pt x="118" y="100"/>
                  </a:lnTo>
                  <a:lnTo>
                    <a:pt x="128" y="91"/>
                  </a:lnTo>
                  <a:lnTo>
                    <a:pt x="138" y="84"/>
                  </a:lnTo>
                  <a:lnTo>
                    <a:pt x="149" y="76"/>
                  </a:lnTo>
                  <a:lnTo>
                    <a:pt x="160" y="69"/>
                  </a:lnTo>
                  <a:lnTo>
                    <a:pt x="171" y="62"/>
                  </a:lnTo>
                  <a:lnTo>
                    <a:pt x="182" y="57"/>
                  </a:lnTo>
                  <a:lnTo>
                    <a:pt x="194" y="52"/>
                  </a:lnTo>
                  <a:lnTo>
                    <a:pt x="207" y="46"/>
                  </a:lnTo>
                  <a:lnTo>
                    <a:pt x="220" y="42"/>
                  </a:lnTo>
                  <a:lnTo>
                    <a:pt x="233" y="39"/>
                  </a:lnTo>
                  <a:lnTo>
                    <a:pt x="245" y="36"/>
                  </a:lnTo>
                  <a:lnTo>
                    <a:pt x="258" y="34"/>
                  </a:lnTo>
                  <a:lnTo>
                    <a:pt x="272" y="31"/>
                  </a:lnTo>
                  <a:lnTo>
                    <a:pt x="285" y="30"/>
                  </a:lnTo>
                  <a:lnTo>
                    <a:pt x="299" y="30"/>
                  </a:lnTo>
                  <a:lnTo>
                    <a:pt x="313" y="30"/>
                  </a:lnTo>
                  <a:lnTo>
                    <a:pt x="327" y="31"/>
                  </a:lnTo>
                  <a:lnTo>
                    <a:pt x="341" y="34"/>
                  </a:lnTo>
                  <a:lnTo>
                    <a:pt x="354" y="36"/>
                  </a:lnTo>
                  <a:lnTo>
                    <a:pt x="366" y="39"/>
                  </a:lnTo>
                  <a:lnTo>
                    <a:pt x="379" y="42"/>
                  </a:lnTo>
                  <a:lnTo>
                    <a:pt x="392" y="46"/>
                  </a:lnTo>
                  <a:lnTo>
                    <a:pt x="404" y="52"/>
                  </a:lnTo>
                  <a:lnTo>
                    <a:pt x="416" y="57"/>
                  </a:lnTo>
                  <a:lnTo>
                    <a:pt x="427" y="62"/>
                  </a:lnTo>
                  <a:lnTo>
                    <a:pt x="439" y="69"/>
                  </a:lnTo>
                  <a:lnTo>
                    <a:pt x="450" y="76"/>
                  </a:lnTo>
                  <a:lnTo>
                    <a:pt x="461" y="84"/>
                  </a:lnTo>
                  <a:lnTo>
                    <a:pt x="470" y="91"/>
                  </a:lnTo>
                  <a:lnTo>
                    <a:pt x="480" y="100"/>
                  </a:lnTo>
                  <a:lnTo>
                    <a:pt x="490" y="110"/>
                  </a:lnTo>
                  <a:lnTo>
                    <a:pt x="499" y="118"/>
                  </a:lnTo>
                  <a:lnTo>
                    <a:pt x="507" y="129"/>
                  </a:lnTo>
                  <a:lnTo>
                    <a:pt x="515" y="138"/>
                  </a:lnTo>
                  <a:lnTo>
                    <a:pt x="523" y="149"/>
                  </a:lnTo>
                  <a:lnTo>
                    <a:pt x="530" y="160"/>
                  </a:lnTo>
                  <a:lnTo>
                    <a:pt x="537" y="172"/>
                  </a:lnTo>
                  <a:lnTo>
                    <a:pt x="542" y="182"/>
                  </a:lnTo>
                  <a:lnTo>
                    <a:pt x="547" y="195"/>
                  </a:lnTo>
                  <a:lnTo>
                    <a:pt x="553" y="207"/>
                  </a:lnTo>
                  <a:lnTo>
                    <a:pt x="557" y="220"/>
                  </a:lnTo>
                  <a:lnTo>
                    <a:pt x="560" y="233"/>
                  </a:lnTo>
                  <a:lnTo>
                    <a:pt x="563" y="245"/>
                  </a:lnTo>
                  <a:lnTo>
                    <a:pt x="566" y="258"/>
                  </a:lnTo>
                  <a:lnTo>
                    <a:pt x="568" y="272"/>
                  </a:lnTo>
                  <a:lnTo>
                    <a:pt x="569" y="285"/>
                  </a:lnTo>
                  <a:lnTo>
                    <a:pt x="569" y="299"/>
                  </a:lnTo>
                  <a:lnTo>
                    <a:pt x="569" y="313"/>
                  </a:lnTo>
                  <a:lnTo>
                    <a:pt x="568" y="327"/>
                  </a:lnTo>
                  <a:lnTo>
                    <a:pt x="566" y="341"/>
                  </a:lnTo>
                  <a:lnTo>
                    <a:pt x="563" y="354"/>
                  </a:lnTo>
                  <a:lnTo>
                    <a:pt x="560" y="368"/>
                  </a:lnTo>
                  <a:lnTo>
                    <a:pt x="557" y="379"/>
                  </a:lnTo>
                  <a:lnTo>
                    <a:pt x="553" y="392"/>
                  </a:lnTo>
                  <a:lnTo>
                    <a:pt x="547" y="405"/>
                  </a:lnTo>
                  <a:lnTo>
                    <a:pt x="542" y="417"/>
                  </a:lnTo>
                  <a:lnTo>
                    <a:pt x="537" y="429"/>
                  </a:lnTo>
                  <a:lnTo>
                    <a:pt x="530" y="439"/>
                  </a:lnTo>
                  <a:lnTo>
                    <a:pt x="523" y="450"/>
                  </a:lnTo>
                  <a:lnTo>
                    <a:pt x="515" y="461"/>
                  </a:lnTo>
                  <a:lnTo>
                    <a:pt x="507" y="471"/>
                  </a:lnTo>
                  <a:lnTo>
                    <a:pt x="499" y="481"/>
                  </a:lnTo>
                  <a:lnTo>
                    <a:pt x="490" y="491"/>
                  </a:lnTo>
                  <a:lnTo>
                    <a:pt x="480" y="499"/>
                  </a:lnTo>
                  <a:lnTo>
                    <a:pt x="470" y="508"/>
                  </a:lnTo>
                  <a:lnTo>
                    <a:pt x="461" y="515"/>
                  </a:lnTo>
                  <a:lnTo>
                    <a:pt x="450" y="523"/>
                  </a:lnTo>
                  <a:lnTo>
                    <a:pt x="439" y="530"/>
                  </a:lnTo>
                  <a:lnTo>
                    <a:pt x="427" y="537"/>
                  </a:lnTo>
                  <a:lnTo>
                    <a:pt x="416" y="542"/>
                  </a:lnTo>
                  <a:lnTo>
                    <a:pt x="404" y="547"/>
                  </a:lnTo>
                  <a:lnTo>
                    <a:pt x="392" y="553"/>
                  </a:lnTo>
                  <a:lnTo>
                    <a:pt x="379" y="557"/>
                  </a:lnTo>
                  <a:lnTo>
                    <a:pt x="366" y="560"/>
                  </a:lnTo>
                  <a:lnTo>
                    <a:pt x="354" y="563"/>
                  </a:lnTo>
                  <a:lnTo>
                    <a:pt x="341" y="566"/>
                  </a:lnTo>
                  <a:lnTo>
                    <a:pt x="327" y="568"/>
                  </a:lnTo>
                  <a:lnTo>
                    <a:pt x="313" y="569"/>
                  </a:lnTo>
                  <a:lnTo>
                    <a:pt x="299" y="569"/>
                  </a:lnTo>
                  <a:close/>
                  <a:moveTo>
                    <a:pt x="299" y="0"/>
                  </a:moveTo>
                  <a:lnTo>
                    <a:pt x="284" y="0"/>
                  </a:lnTo>
                  <a:lnTo>
                    <a:pt x="269" y="1"/>
                  </a:lnTo>
                  <a:lnTo>
                    <a:pt x="254" y="4"/>
                  </a:lnTo>
                  <a:lnTo>
                    <a:pt x="239" y="6"/>
                  </a:lnTo>
                  <a:lnTo>
                    <a:pt x="225" y="10"/>
                  </a:lnTo>
                  <a:lnTo>
                    <a:pt x="210" y="13"/>
                  </a:lnTo>
                  <a:lnTo>
                    <a:pt x="196" y="19"/>
                  </a:lnTo>
                  <a:lnTo>
                    <a:pt x="183" y="24"/>
                  </a:lnTo>
                  <a:lnTo>
                    <a:pt x="169" y="29"/>
                  </a:lnTo>
                  <a:lnTo>
                    <a:pt x="157" y="37"/>
                  </a:lnTo>
                  <a:lnTo>
                    <a:pt x="144" y="43"/>
                  </a:lnTo>
                  <a:lnTo>
                    <a:pt x="132" y="52"/>
                  </a:lnTo>
                  <a:lnTo>
                    <a:pt x="120" y="59"/>
                  </a:lnTo>
                  <a:lnTo>
                    <a:pt x="109" y="69"/>
                  </a:lnTo>
                  <a:lnTo>
                    <a:pt x="98" y="79"/>
                  </a:lnTo>
                  <a:lnTo>
                    <a:pt x="88" y="88"/>
                  </a:lnTo>
                  <a:lnTo>
                    <a:pt x="77" y="99"/>
                  </a:lnTo>
                  <a:lnTo>
                    <a:pt x="69" y="110"/>
                  </a:lnTo>
                  <a:lnTo>
                    <a:pt x="59" y="120"/>
                  </a:lnTo>
                  <a:lnTo>
                    <a:pt x="52" y="132"/>
                  </a:lnTo>
                  <a:lnTo>
                    <a:pt x="43" y="145"/>
                  </a:lnTo>
                  <a:lnTo>
                    <a:pt x="37" y="157"/>
                  </a:lnTo>
                  <a:lnTo>
                    <a:pt x="29" y="169"/>
                  </a:lnTo>
                  <a:lnTo>
                    <a:pt x="24" y="183"/>
                  </a:lnTo>
                  <a:lnTo>
                    <a:pt x="18" y="196"/>
                  </a:lnTo>
                  <a:lnTo>
                    <a:pt x="13" y="210"/>
                  </a:lnTo>
                  <a:lnTo>
                    <a:pt x="10" y="225"/>
                  </a:lnTo>
                  <a:lnTo>
                    <a:pt x="6" y="239"/>
                  </a:lnTo>
                  <a:lnTo>
                    <a:pt x="3" y="254"/>
                  </a:lnTo>
                  <a:lnTo>
                    <a:pt x="1" y="269"/>
                  </a:lnTo>
                  <a:lnTo>
                    <a:pt x="0" y="284"/>
                  </a:lnTo>
                  <a:lnTo>
                    <a:pt x="0" y="299"/>
                  </a:lnTo>
                  <a:lnTo>
                    <a:pt x="0" y="315"/>
                  </a:lnTo>
                  <a:lnTo>
                    <a:pt x="1" y="330"/>
                  </a:lnTo>
                  <a:lnTo>
                    <a:pt x="3" y="345"/>
                  </a:lnTo>
                  <a:lnTo>
                    <a:pt x="6" y="360"/>
                  </a:lnTo>
                  <a:lnTo>
                    <a:pt x="10" y="374"/>
                  </a:lnTo>
                  <a:lnTo>
                    <a:pt x="13" y="389"/>
                  </a:lnTo>
                  <a:lnTo>
                    <a:pt x="18" y="403"/>
                  </a:lnTo>
                  <a:lnTo>
                    <a:pt x="24" y="416"/>
                  </a:lnTo>
                  <a:lnTo>
                    <a:pt x="29" y="430"/>
                  </a:lnTo>
                  <a:lnTo>
                    <a:pt x="37" y="442"/>
                  </a:lnTo>
                  <a:lnTo>
                    <a:pt x="43" y="455"/>
                  </a:lnTo>
                  <a:lnTo>
                    <a:pt x="52" y="467"/>
                  </a:lnTo>
                  <a:lnTo>
                    <a:pt x="59" y="479"/>
                  </a:lnTo>
                  <a:lnTo>
                    <a:pt x="69" y="491"/>
                  </a:lnTo>
                  <a:lnTo>
                    <a:pt x="77" y="501"/>
                  </a:lnTo>
                  <a:lnTo>
                    <a:pt x="88" y="511"/>
                  </a:lnTo>
                  <a:lnTo>
                    <a:pt x="98" y="522"/>
                  </a:lnTo>
                  <a:lnTo>
                    <a:pt x="109" y="530"/>
                  </a:lnTo>
                  <a:lnTo>
                    <a:pt x="120" y="540"/>
                  </a:lnTo>
                  <a:lnTo>
                    <a:pt x="132" y="547"/>
                  </a:lnTo>
                  <a:lnTo>
                    <a:pt x="144" y="556"/>
                  </a:lnTo>
                  <a:lnTo>
                    <a:pt x="157" y="562"/>
                  </a:lnTo>
                  <a:lnTo>
                    <a:pt x="169" y="570"/>
                  </a:lnTo>
                  <a:lnTo>
                    <a:pt x="183" y="575"/>
                  </a:lnTo>
                  <a:lnTo>
                    <a:pt x="196" y="581"/>
                  </a:lnTo>
                  <a:lnTo>
                    <a:pt x="210" y="585"/>
                  </a:lnTo>
                  <a:lnTo>
                    <a:pt x="225" y="589"/>
                  </a:lnTo>
                  <a:lnTo>
                    <a:pt x="239" y="592"/>
                  </a:lnTo>
                  <a:lnTo>
                    <a:pt x="254" y="596"/>
                  </a:lnTo>
                  <a:lnTo>
                    <a:pt x="269" y="598"/>
                  </a:lnTo>
                  <a:lnTo>
                    <a:pt x="284" y="599"/>
                  </a:lnTo>
                  <a:lnTo>
                    <a:pt x="299" y="599"/>
                  </a:lnTo>
                  <a:lnTo>
                    <a:pt x="315" y="599"/>
                  </a:lnTo>
                  <a:lnTo>
                    <a:pt x="330" y="598"/>
                  </a:lnTo>
                  <a:lnTo>
                    <a:pt x="345" y="596"/>
                  </a:lnTo>
                  <a:lnTo>
                    <a:pt x="360" y="592"/>
                  </a:lnTo>
                  <a:lnTo>
                    <a:pt x="374" y="589"/>
                  </a:lnTo>
                  <a:lnTo>
                    <a:pt x="388" y="585"/>
                  </a:lnTo>
                  <a:lnTo>
                    <a:pt x="402" y="581"/>
                  </a:lnTo>
                  <a:lnTo>
                    <a:pt x="416" y="575"/>
                  </a:lnTo>
                  <a:lnTo>
                    <a:pt x="429" y="570"/>
                  </a:lnTo>
                  <a:lnTo>
                    <a:pt x="442" y="562"/>
                  </a:lnTo>
                  <a:lnTo>
                    <a:pt x="454" y="556"/>
                  </a:lnTo>
                  <a:lnTo>
                    <a:pt x="467" y="547"/>
                  </a:lnTo>
                  <a:lnTo>
                    <a:pt x="479" y="540"/>
                  </a:lnTo>
                  <a:lnTo>
                    <a:pt x="490" y="530"/>
                  </a:lnTo>
                  <a:lnTo>
                    <a:pt x="500" y="522"/>
                  </a:lnTo>
                  <a:lnTo>
                    <a:pt x="511" y="511"/>
                  </a:lnTo>
                  <a:lnTo>
                    <a:pt x="521" y="501"/>
                  </a:lnTo>
                  <a:lnTo>
                    <a:pt x="530" y="491"/>
                  </a:lnTo>
                  <a:lnTo>
                    <a:pt x="539" y="479"/>
                  </a:lnTo>
                  <a:lnTo>
                    <a:pt x="547" y="467"/>
                  </a:lnTo>
                  <a:lnTo>
                    <a:pt x="555" y="455"/>
                  </a:lnTo>
                  <a:lnTo>
                    <a:pt x="562" y="442"/>
                  </a:lnTo>
                  <a:lnTo>
                    <a:pt x="569" y="430"/>
                  </a:lnTo>
                  <a:lnTo>
                    <a:pt x="575" y="416"/>
                  </a:lnTo>
                  <a:lnTo>
                    <a:pt x="581" y="403"/>
                  </a:lnTo>
                  <a:lnTo>
                    <a:pt x="585" y="389"/>
                  </a:lnTo>
                  <a:lnTo>
                    <a:pt x="589" y="374"/>
                  </a:lnTo>
                  <a:lnTo>
                    <a:pt x="592" y="360"/>
                  </a:lnTo>
                  <a:lnTo>
                    <a:pt x="596" y="345"/>
                  </a:lnTo>
                  <a:lnTo>
                    <a:pt x="598" y="330"/>
                  </a:lnTo>
                  <a:lnTo>
                    <a:pt x="599" y="315"/>
                  </a:lnTo>
                  <a:lnTo>
                    <a:pt x="599" y="299"/>
                  </a:lnTo>
                  <a:lnTo>
                    <a:pt x="599" y="284"/>
                  </a:lnTo>
                  <a:lnTo>
                    <a:pt x="598" y="269"/>
                  </a:lnTo>
                  <a:lnTo>
                    <a:pt x="596" y="254"/>
                  </a:lnTo>
                  <a:lnTo>
                    <a:pt x="592" y="239"/>
                  </a:lnTo>
                  <a:lnTo>
                    <a:pt x="589" y="225"/>
                  </a:lnTo>
                  <a:lnTo>
                    <a:pt x="585" y="210"/>
                  </a:lnTo>
                  <a:lnTo>
                    <a:pt x="581" y="196"/>
                  </a:lnTo>
                  <a:lnTo>
                    <a:pt x="575" y="183"/>
                  </a:lnTo>
                  <a:lnTo>
                    <a:pt x="569" y="169"/>
                  </a:lnTo>
                  <a:lnTo>
                    <a:pt x="562" y="157"/>
                  </a:lnTo>
                  <a:lnTo>
                    <a:pt x="555" y="145"/>
                  </a:lnTo>
                  <a:lnTo>
                    <a:pt x="547" y="132"/>
                  </a:lnTo>
                  <a:lnTo>
                    <a:pt x="539" y="120"/>
                  </a:lnTo>
                  <a:lnTo>
                    <a:pt x="530" y="110"/>
                  </a:lnTo>
                  <a:lnTo>
                    <a:pt x="521" y="99"/>
                  </a:lnTo>
                  <a:lnTo>
                    <a:pt x="511" y="88"/>
                  </a:lnTo>
                  <a:lnTo>
                    <a:pt x="500" y="79"/>
                  </a:lnTo>
                  <a:lnTo>
                    <a:pt x="490" y="69"/>
                  </a:lnTo>
                  <a:lnTo>
                    <a:pt x="479" y="59"/>
                  </a:lnTo>
                  <a:lnTo>
                    <a:pt x="467" y="52"/>
                  </a:lnTo>
                  <a:lnTo>
                    <a:pt x="454" y="43"/>
                  </a:lnTo>
                  <a:lnTo>
                    <a:pt x="442" y="37"/>
                  </a:lnTo>
                  <a:lnTo>
                    <a:pt x="429" y="29"/>
                  </a:lnTo>
                  <a:lnTo>
                    <a:pt x="416" y="24"/>
                  </a:lnTo>
                  <a:lnTo>
                    <a:pt x="402" y="19"/>
                  </a:lnTo>
                  <a:lnTo>
                    <a:pt x="388" y="13"/>
                  </a:lnTo>
                  <a:lnTo>
                    <a:pt x="374" y="10"/>
                  </a:lnTo>
                  <a:lnTo>
                    <a:pt x="360" y="6"/>
                  </a:lnTo>
                  <a:lnTo>
                    <a:pt x="345" y="4"/>
                  </a:lnTo>
                  <a:lnTo>
                    <a:pt x="330" y="1"/>
                  </a:lnTo>
                  <a:lnTo>
                    <a:pt x="315" y="0"/>
                  </a:lnTo>
                  <a:lnTo>
                    <a:pt x="299"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19" name="Freeform 55">
              <a:extLst>
                <a:ext uri="{FF2B5EF4-FFF2-40B4-BE49-F238E27FC236}">
                  <a16:creationId xmlns:a16="http://schemas.microsoft.com/office/drawing/2014/main" id="{C4E15AA3-A1EE-4F5D-BFCA-0001719122B7}"/>
                </a:ext>
              </a:extLst>
            </p:cNvPr>
            <p:cNvSpPr>
              <a:spLocks/>
            </p:cNvSpPr>
            <p:nvPr/>
          </p:nvSpPr>
          <p:spPr bwMode="auto">
            <a:xfrm>
              <a:off x="1500859" y="2712077"/>
              <a:ext cx="65177" cy="21726"/>
            </a:xfrm>
            <a:custGeom>
              <a:avLst/>
              <a:gdLst>
                <a:gd name="T0" fmla="*/ 75 w 90"/>
                <a:gd name="T1" fmla="*/ 0 h 30"/>
                <a:gd name="T2" fmla="*/ 15 w 90"/>
                <a:gd name="T3" fmla="*/ 0 h 30"/>
                <a:gd name="T4" fmla="*/ 12 w 90"/>
                <a:gd name="T5" fmla="*/ 1 h 30"/>
                <a:gd name="T6" fmla="*/ 8 w 90"/>
                <a:gd name="T7" fmla="*/ 2 h 30"/>
                <a:gd name="T8" fmla="*/ 6 w 90"/>
                <a:gd name="T9" fmla="*/ 3 h 30"/>
                <a:gd name="T10" fmla="*/ 4 w 90"/>
                <a:gd name="T11" fmla="*/ 5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8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3 w 90"/>
                <a:gd name="T43" fmla="*/ 28 h 30"/>
                <a:gd name="T44" fmla="*/ 85 w 90"/>
                <a:gd name="T45" fmla="*/ 26 h 30"/>
                <a:gd name="T46" fmla="*/ 86 w 90"/>
                <a:gd name="T47" fmla="*/ 24 h 30"/>
                <a:gd name="T48" fmla="*/ 89 w 90"/>
                <a:gd name="T49" fmla="*/ 21 h 30"/>
                <a:gd name="T50" fmla="*/ 90 w 90"/>
                <a:gd name="T51" fmla="*/ 18 h 30"/>
                <a:gd name="T52" fmla="*/ 90 w 90"/>
                <a:gd name="T53" fmla="*/ 15 h 30"/>
                <a:gd name="T54" fmla="*/ 90 w 90"/>
                <a:gd name="T55" fmla="*/ 13 h 30"/>
                <a:gd name="T56" fmla="*/ 89 w 90"/>
                <a:gd name="T57" fmla="*/ 10 h 30"/>
                <a:gd name="T58" fmla="*/ 86 w 90"/>
                <a:gd name="T59" fmla="*/ 8 h 30"/>
                <a:gd name="T60" fmla="*/ 85 w 90"/>
                <a:gd name="T61" fmla="*/ 5 h 30"/>
                <a:gd name="T62" fmla="*/ 83 w 90"/>
                <a:gd name="T63" fmla="*/ 3 h 30"/>
                <a:gd name="T64" fmla="*/ 80 w 90"/>
                <a:gd name="T65" fmla="*/ 2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8" y="2"/>
                  </a:lnTo>
                  <a:lnTo>
                    <a:pt x="6" y="3"/>
                  </a:lnTo>
                  <a:lnTo>
                    <a:pt x="4" y="5"/>
                  </a:lnTo>
                  <a:lnTo>
                    <a:pt x="2" y="8"/>
                  </a:lnTo>
                  <a:lnTo>
                    <a:pt x="1" y="10"/>
                  </a:lnTo>
                  <a:lnTo>
                    <a:pt x="0" y="13"/>
                  </a:lnTo>
                  <a:lnTo>
                    <a:pt x="0" y="15"/>
                  </a:lnTo>
                  <a:lnTo>
                    <a:pt x="0" y="18"/>
                  </a:lnTo>
                  <a:lnTo>
                    <a:pt x="1" y="21"/>
                  </a:lnTo>
                  <a:lnTo>
                    <a:pt x="2" y="24"/>
                  </a:lnTo>
                  <a:lnTo>
                    <a:pt x="4" y="26"/>
                  </a:lnTo>
                  <a:lnTo>
                    <a:pt x="6" y="28"/>
                  </a:lnTo>
                  <a:lnTo>
                    <a:pt x="8" y="29"/>
                  </a:lnTo>
                  <a:lnTo>
                    <a:pt x="12" y="30"/>
                  </a:lnTo>
                  <a:lnTo>
                    <a:pt x="15" y="30"/>
                  </a:lnTo>
                  <a:lnTo>
                    <a:pt x="75" y="30"/>
                  </a:lnTo>
                  <a:lnTo>
                    <a:pt x="78" y="30"/>
                  </a:lnTo>
                  <a:lnTo>
                    <a:pt x="80" y="29"/>
                  </a:lnTo>
                  <a:lnTo>
                    <a:pt x="83" y="28"/>
                  </a:lnTo>
                  <a:lnTo>
                    <a:pt x="85" y="26"/>
                  </a:lnTo>
                  <a:lnTo>
                    <a:pt x="86" y="24"/>
                  </a:lnTo>
                  <a:lnTo>
                    <a:pt x="89" y="21"/>
                  </a:lnTo>
                  <a:lnTo>
                    <a:pt x="90" y="18"/>
                  </a:lnTo>
                  <a:lnTo>
                    <a:pt x="90" y="15"/>
                  </a:lnTo>
                  <a:lnTo>
                    <a:pt x="90" y="13"/>
                  </a:lnTo>
                  <a:lnTo>
                    <a:pt x="89" y="10"/>
                  </a:lnTo>
                  <a:lnTo>
                    <a:pt x="86" y="8"/>
                  </a:lnTo>
                  <a:lnTo>
                    <a:pt x="85" y="5"/>
                  </a:lnTo>
                  <a:lnTo>
                    <a:pt x="83" y="3"/>
                  </a:lnTo>
                  <a:lnTo>
                    <a:pt x="80" y="2"/>
                  </a:lnTo>
                  <a:lnTo>
                    <a:pt x="78" y="1"/>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0" name="Freeform 56">
              <a:extLst>
                <a:ext uri="{FF2B5EF4-FFF2-40B4-BE49-F238E27FC236}">
                  <a16:creationId xmlns:a16="http://schemas.microsoft.com/office/drawing/2014/main" id="{4E185170-C557-4F80-8BF4-FCF427A1E828}"/>
                </a:ext>
              </a:extLst>
            </p:cNvPr>
            <p:cNvSpPr>
              <a:spLocks/>
            </p:cNvSpPr>
            <p:nvPr/>
          </p:nvSpPr>
          <p:spPr bwMode="auto">
            <a:xfrm>
              <a:off x="1240149" y="2407916"/>
              <a:ext cx="21726" cy="65177"/>
            </a:xfrm>
            <a:custGeom>
              <a:avLst/>
              <a:gdLst>
                <a:gd name="T0" fmla="*/ 15 w 30"/>
                <a:gd name="T1" fmla="*/ 89 h 89"/>
                <a:gd name="T2" fmla="*/ 18 w 30"/>
                <a:gd name="T3" fmla="*/ 89 h 89"/>
                <a:gd name="T4" fmla="*/ 21 w 30"/>
                <a:gd name="T5" fmla="*/ 88 h 89"/>
                <a:gd name="T6" fmla="*/ 24 w 30"/>
                <a:gd name="T7" fmla="*/ 87 h 89"/>
                <a:gd name="T8" fmla="*/ 26 w 30"/>
                <a:gd name="T9" fmla="*/ 85 h 89"/>
                <a:gd name="T10" fmla="*/ 28 w 30"/>
                <a:gd name="T11" fmla="*/ 83 h 89"/>
                <a:gd name="T12" fmla="*/ 29 w 30"/>
                <a:gd name="T13" fmla="*/ 81 h 89"/>
                <a:gd name="T14" fmla="*/ 30 w 30"/>
                <a:gd name="T15" fmla="*/ 78 h 89"/>
                <a:gd name="T16" fmla="*/ 30 w 30"/>
                <a:gd name="T17" fmla="*/ 74 h 89"/>
                <a:gd name="T18" fmla="*/ 30 w 30"/>
                <a:gd name="T19" fmla="*/ 14 h 89"/>
                <a:gd name="T20" fmla="*/ 30 w 30"/>
                <a:gd name="T21" fmla="*/ 11 h 89"/>
                <a:gd name="T22" fmla="*/ 29 w 30"/>
                <a:gd name="T23" fmla="*/ 9 h 89"/>
                <a:gd name="T24" fmla="*/ 28 w 30"/>
                <a:gd name="T25" fmla="*/ 6 h 89"/>
                <a:gd name="T26" fmla="*/ 26 w 30"/>
                <a:gd name="T27" fmla="*/ 4 h 89"/>
                <a:gd name="T28" fmla="*/ 24 w 30"/>
                <a:gd name="T29" fmla="*/ 2 h 89"/>
                <a:gd name="T30" fmla="*/ 21 w 30"/>
                <a:gd name="T31" fmla="*/ 1 h 89"/>
                <a:gd name="T32" fmla="*/ 18 w 30"/>
                <a:gd name="T33" fmla="*/ 0 h 89"/>
                <a:gd name="T34" fmla="*/ 15 w 30"/>
                <a:gd name="T35" fmla="*/ 0 h 89"/>
                <a:gd name="T36" fmla="*/ 13 w 30"/>
                <a:gd name="T37" fmla="*/ 0 h 89"/>
                <a:gd name="T38" fmla="*/ 10 w 30"/>
                <a:gd name="T39" fmla="*/ 1 h 89"/>
                <a:gd name="T40" fmla="*/ 7 w 30"/>
                <a:gd name="T41" fmla="*/ 2 h 89"/>
                <a:gd name="T42" fmla="*/ 4 w 30"/>
                <a:gd name="T43" fmla="*/ 4 h 89"/>
                <a:gd name="T44" fmla="*/ 3 w 30"/>
                <a:gd name="T45" fmla="*/ 6 h 89"/>
                <a:gd name="T46" fmla="*/ 1 w 30"/>
                <a:gd name="T47" fmla="*/ 9 h 89"/>
                <a:gd name="T48" fmla="*/ 1 w 30"/>
                <a:gd name="T49" fmla="*/ 11 h 89"/>
                <a:gd name="T50" fmla="*/ 0 w 30"/>
                <a:gd name="T51" fmla="*/ 14 h 89"/>
                <a:gd name="T52" fmla="*/ 0 w 30"/>
                <a:gd name="T53" fmla="*/ 74 h 89"/>
                <a:gd name="T54" fmla="*/ 1 w 30"/>
                <a:gd name="T55" fmla="*/ 78 h 89"/>
                <a:gd name="T56" fmla="*/ 1 w 30"/>
                <a:gd name="T57" fmla="*/ 81 h 89"/>
                <a:gd name="T58" fmla="*/ 3 w 30"/>
                <a:gd name="T59" fmla="*/ 83 h 89"/>
                <a:gd name="T60" fmla="*/ 4 w 30"/>
                <a:gd name="T61" fmla="*/ 85 h 89"/>
                <a:gd name="T62" fmla="*/ 7 w 30"/>
                <a:gd name="T63" fmla="*/ 87 h 89"/>
                <a:gd name="T64" fmla="*/ 10 w 30"/>
                <a:gd name="T65" fmla="*/ 88 h 89"/>
                <a:gd name="T66" fmla="*/ 13 w 30"/>
                <a:gd name="T67" fmla="*/ 89 h 89"/>
                <a:gd name="T68" fmla="*/ 15 w 30"/>
                <a:gd name="T6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89">
                  <a:moveTo>
                    <a:pt x="15" y="89"/>
                  </a:moveTo>
                  <a:lnTo>
                    <a:pt x="18" y="89"/>
                  </a:lnTo>
                  <a:lnTo>
                    <a:pt x="21" y="88"/>
                  </a:lnTo>
                  <a:lnTo>
                    <a:pt x="24" y="87"/>
                  </a:lnTo>
                  <a:lnTo>
                    <a:pt x="26" y="85"/>
                  </a:lnTo>
                  <a:lnTo>
                    <a:pt x="28" y="83"/>
                  </a:lnTo>
                  <a:lnTo>
                    <a:pt x="29" y="81"/>
                  </a:lnTo>
                  <a:lnTo>
                    <a:pt x="30" y="78"/>
                  </a:lnTo>
                  <a:lnTo>
                    <a:pt x="30" y="74"/>
                  </a:lnTo>
                  <a:lnTo>
                    <a:pt x="30" y="14"/>
                  </a:lnTo>
                  <a:lnTo>
                    <a:pt x="30" y="11"/>
                  </a:lnTo>
                  <a:lnTo>
                    <a:pt x="29" y="9"/>
                  </a:lnTo>
                  <a:lnTo>
                    <a:pt x="28" y="6"/>
                  </a:lnTo>
                  <a:lnTo>
                    <a:pt x="26" y="4"/>
                  </a:lnTo>
                  <a:lnTo>
                    <a:pt x="24" y="2"/>
                  </a:lnTo>
                  <a:lnTo>
                    <a:pt x="21" y="1"/>
                  </a:lnTo>
                  <a:lnTo>
                    <a:pt x="18" y="0"/>
                  </a:lnTo>
                  <a:lnTo>
                    <a:pt x="15" y="0"/>
                  </a:lnTo>
                  <a:lnTo>
                    <a:pt x="13" y="0"/>
                  </a:lnTo>
                  <a:lnTo>
                    <a:pt x="10" y="1"/>
                  </a:lnTo>
                  <a:lnTo>
                    <a:pt x="7" y="2"/>
                  </a:lnTo>
                  <a:lnTo>
                    <a:pt x="4" y="4"/>
                  </a:lnTo>
                  <a:lnTo>
                    <a:pt x="3" y="6"/>
                  </a:lnTo>
                  <a:lnTo>
                    <a:pt x="1" y="9"/>
                  </a:lnTo>
                  <a:lnTo>
                    <a:pt x="1" y="11"/>
                  </a:lnTo>
                  <a:lnTo>
                    <a:pt x="0" y="14"/>
                  </a:lnTo>
                  <a:lnTo>
                    <a:pt x="0" y="74"/>
                  </a:lnTo>
                  <a:lnTo>
                    <a:pt x="1" y="78"/>
                  </a:lnTo>
                  <a:lnTo>
                    <a:pt x="1" y="81"/>
                  </a:lnTo>
                  <a:lnTo>
                    <a:pt x="3" y="83"/>
                  </a:lnTo>
                  <a:lnTo>
                    <a:pt x="4" y="85"/>
                  </a:lnTo>
                  <a:lnTo>
                    <a:pt x="7" y="87"/>
                  </a:lnTo>
                  <a:lnTo>
                    <a:pt x="10" y="88"/>
                  </a:lnTo>
                  <a:lnTo>
                    <a:pt x="13" y="89"/>
                  </a:lnTo>
                  <a:lnTo>
                    <a:pt x="15" y="89"/>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1" name="Freeform 57">
              <a:extLst>
                <a:ext uri="{FF2B5EF4-FFF2-40B4-BE49-F238E27FC236}">
                  <a16:creationId xmlns:a16="http://schemas.microsoft.com/office/drawing/2014/main" id="{464AACAE-C232-4E50-B639-1ECC6116B5F1}"/>
                </a:ext>
              </a:extLst>
            </p:cNvPr>
            <p:cNvSpPr>
              <a:spLocks/>
            </p:cNvSpPr>
            <p:nvPr/>
          </p:nvSpPr>
          <p:spPr bwMode="auto">
            <a:xfrm>
              <a:off x="935988" y="2712077"/>
              <a:ext cx="65177" cy="21726"/>
            </a:xfrm>
            <a:custGeom>
              <a:avLst/>
              <a:gdLst>
                <a:gd name="T0" fmla="*/ 75 w 90"/>
                <a:gd name="T1" fmla="*/ 0 h 30"/>
                <a:gd name="T2" fmla="*/ 15 w 90"/>
                <a:gd name="T3" fmla="*/ 0 h 30"/>
                <a:gd name="T4" fmla="*/ 12 w 90"/>
                <a:gd name="T5" fmla="*/ 1 h 30"/>
                <a:gd name="T6" fmla="*/ 9 w 90"/>
                <a:gd name="T7" fmla="*/ 2 h 30"/>
                <a:gd name="T8" fmla="*/ 7 w 90"/>
                <a:gd name="T9" fmla="*/ 3 h 30"/>
                <a:gd name="T10" fmla="*/ 5 w 90"/>
                <a:gd name="T11" fmla="*/ 5 h 30"/>
                <a:gd name="T12" fmla="*/ 3 w 90"/>
                <a:gd name="T13" fmla="*/ 8 h 30"/>
                <a:gd name="T14" fmla="*/ 1 w 90"/>
                <a:gd name="T15" fmla="*/ 10 h 30"/>
                <a:gd name="T16" fmla="*/ 0 w 90"/>
                <a:gd name="T17" fmla="*/ 13 h 30"/>
                <a:gd name="T18" fmla="*/ 0 w 90"/>
                <a:gd name="T19" fmla="*/ 15 h 30"/>
                <a:gd name="T20" fmla="*/ 0 w 90"/>
                <a:gd name="T21" fmla="*/ 18 h 30"/>
                <a:gd name="T22" fmla="*/ 1 w 90"/>
                <a:gd name="T23" fmla="*/ 21 h 30"/>
                <a:gd name="T24" fmla="*/ 3 w 90"/>
                <a:gd name="T25" fmla="*/ 24 h 30"/>
                <a:gd name="T26" fmla="*/ 5 w 90"/>
                <a:gd name="T27" fmla="*/ 26 h 30"/>
                <a:gd name="T28" fmla="*/ 7 w 90"/>
                <a:gd name="T29" fmla="*/ 28 h 30"/>
                <a:gd name="T30" fmla="*/ 9 w 90"/>
                <a:gd name="T31" fmla="*/ 29 h 30"/>
                <a:gd name="T32" fmla="*/ 12 w 90"/>
                <a:gd name="T33" fmla="*/ 30 h 30"/>
                <a:gd name="T34" fmla="*/ 15 w 90"/>
                <a:gd name="T35" fmla="*/ 30 h 30"/>
                <a:gd name="T36" fmla="*/ 75 w 90"/>
                <a:gd name="T37" fmla="*/ 30 h 30"/>
                <a:gd name="T38" fmla="*/ 79 w 90"/>
                <a:gd name="T39" fmla="*/ 30 h 30"/>
                <a:gd name="T40" fmla="*/ 81 w 90"/>
                <a:gd name="T41" fmla="*/ 29 h 30"/>
                <a:gd name="T42" fmla="*/ 84 w 90"/>
                <a:gd name="T43" fmla="*/ 28 h 30"/>
                <a:gd name="T44" fmla="*/ 86 w 90"/>
                <a:gd name="T45" fmla="*/ 26 h 30"/>
                <a:gd name="T46" fmla="*/ 87 w 90"/>
                <a:gd name="T47" fmla="*/ 24 h 30"/>
                <a:gd name="T48" fmla="*/ 89 w 90"/>
                <a:gd name="T49" fmla="*/ 21 h 30"/>
                <a:gd name="T50" fmla="*/ 90 w 90"/>
                <a:gd name="T51" fmla="*/ 18 h 30"/>
                <a:gd name="T52" fmla="*/ 90 w 90"/>
                <a:gd name="T53" fmla="*/ 15 h 30"/>
                <a:gd name="T54" fmla="*/ 90 w 90"/>
                <a:gd name="T55" fmla="*/ 13 h 30"/>
                <a:gd name="T56" fmla="*/ 89 w 90"/>
                <a:gd name="T57" fmla="*/ 10 h 30"/>
                <a:gd name="T58" fmla="*/ 87 w 90"/>
                <a:gd name="T59" fmla="*/ 8 h 30"/>
                <a:gd name="T60" fmla="*/ 86 w 90"/>
                <a:gd name="T61" fmla="*/ 5 h 30"/>
                <a:gd name="T62" fmla="*/ 84 w 90"/>
                <a:gd name="T63" fmla="*/ 3 h 30"/>
                <a:gd name="T64" fmla="*/ 81 w 90"/>
                <a:gd name="T65" fmla="*/ 2 h 30"/>
                <a:gd name="T66" fmla="*/ 79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9" y="2"/>
                  </a:lnTo>
                  <a:lnTo>
                    <a:pt x="7" y="3"/>
                  </a:lnTo>
                  <a:lnTo>
                    <a:pt x="5" y="5"/>
                  </a:lnTo>
                  <a:lnTo>
                    <a:pt x="3" y="8"/>
                  </a:lnTo>
                  <a:lnTo>
                    <a:pt x="1" y="10"/>
                  </a:lnTo>
                  <a:lnTo>
                    <a:pt x="0" y="13"/>
                  </a:lnTo>
                  <a:lnTo>
                    <a:pt x="0" y="15"/>
                  </a:lnTo>
                  <a:lnTo>
                    <a:pt x="0" y="18"/>
                  </a:lnTo>
                  <a:lnTo>
                    <a:pt x="1" y="21"/>
                  </a:lnTo>
                  <a:lnTo>
                    <a:pt x="3" y="24"/>
                  </a:lnTo>
                  <a:lnTo>
                    <a:pt x="5" y="26"/>
                  </a:lnTo>
                  <a:lnTo>
                    <a:pt x="7" y="28"/>
                  </a:lnTo>
                  <a:lnTo>
                    <a:pt x="9" y="29"/>
                  </a:lnTo>
                  <a:lnTo>
                    <a:pt x="12" y="30"/>
                  </a:lnTo>
                  <a:lnTo>
                    <a:pt x="15" y="30"/>
                  </a:lnTo>
                  <a:lnTo>
                    <a:pt x="75" y="30"/>
                  </a:lnTo>
                  <a:lnTo>
                    <a:pt x="79" y="30"/>
                  </a:lnTo>
                  <a:lnTo>
                    <a:pt x="81" y="29"/>
                  </a:lnTo>
                  <a:lnTo>
                    <a:pt x="84" y="28"/>
                  </a:lnTo>
                  <a:lnTo>
                    <a:pt x="86" y="26"/>
                  </a:lnTo>
                  <a:lnTo>
                    <a:pt x="87" y="24"/>
                  </a:lnTo>
                  <a:lnTo>
                    <a:pt x="89" y="21"/>
                  </a:lnTo>
                  <a:lnTo>
                    <a:pt x="90" y="18"/>
                  </a:lnTo>
                  <a:lnTo>
                    <a:pt x="90" y="15"/>
                  </a:lnTo>
                  <a:lnTo>
                    <a:pt x="90" y="13"/>
                  </a:lnTo>
                  <a:lnTo>
                    <a:pt x="89" y="10"/>
                  </a:lnTo>
                  <a:lnTo>
                    <a:pt x="87" y="8"/>
                  </a:lnTo>
                  <a:lnTo>
                    <a:pt x="86" y="5"/>
                  </a:lnTo>
                  <a:lnTo>
                    <a:pt x="84" y="3"/>
                  </a:lnTo>
                  <a:lnTo>
                    <a:pt x="81" y="2"/>
                  </a:lnTo>
                  <a:lnTo>
                    <a:pt x="79" y="1"/>
                  </a:lnTo>
                  <a:lnTo>
                    <a:pt x="7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2" name="Freeform 58">
              <a:extLst>
                <a:ext uri="{FF2B5EF4-FFF2-40B4-BE49-F238E27FC236}">
                  <a16:creationId xmlns:a16="http://schemas.microsoft.com/office/drawing/2014/main" id="{78F108E2-DF38-4AA1-9113-A588422E6B45}"/>
                </a:ext>
              </a:extLst>
            </p:cNvPr>
            <p:cNvSpPr>
              <a:spLocks/>
            </p:cNvSpPr>
            <p:nvPr/>
          </p:nvSpPr>
          <p:spPr bwMode="auto">
            <a:xfrm>
              <a:off x="1240149" y="2972787"/>
              <a:ext cx="21726" cy="65177"/>
            </a:xfrm>
            <a:custGeom>
              <a:avLst/>
              <a:gdLst>
                <a:gd name="T0" fmla="*/ 15 w 30"/>
                <a:gd name="T1" fmla="*/ 0 h 90"/>
                <a:gd name="T2" fmla="*/ 13 w 30"/>
                <a:gd name="T3" fmla="*/ 0 h 90"/>
                <a:gd name="T4" fmla="*/ 10 w 30"/>
                <a:gd name="T5" fmla="*/ 1 h 90"/>
                <a:gd name="T6" fmla="*/ 7 w 30"/>
                <a:gd name="T7" fmla="*/ 2 h 90"/>
                <a:gd name="T8" fmla="*/ 4 w 30"/>
                <a:gd name="T9" fmla="*/ 4 h 90"/>
                <a:gd name="T10" fmla="*/ 3 w 30"/>
                <a:gd name="T11" fmla="*/ 6 h 90"/>
                <a:gd name="T12" fmla="*/ 1 w 30"/>
                <a:gd name="T13" fmla="*/ 9 h 90"/>
                <a:gd name="T14" fmla="*/ 1 w 30"/>
                <a:gd name="T15" fmla="*/ 11 h 90"/>
                <a:gd name="T16" fmla="*/ 0 w 30"/>
                <a:gd name="T17" fmla="*/ 15 h 90"/>
                <a:gd name="T18" fmla="*/ 0 w 30"/>
                <a:gd name="T19" fmla="*/ 75 h 90"/>
                <a:gd name="T20" fmla="*/ 1 w 30"/>
                <a:gd name="T21" fmla="*/ 78 h 90"/>
                <a:gd name="T22" fmla="*/ 1 w 30"/>
                <a:gd name="T23" fmla="*/ 81 h 90"/>
                <a:gd name="T24" fmla="*/ 3 w 30"/>
                <a:gd name="T25" fmla="*/ 83 h 90"/>
                <a:gd name="T26" fmla="*/ 4 w 30"/>
                <a:gd name="T27" fmla="*/ 85 h 90"/>
                <a:gd name="T28" fmla="*/ 7 w 30"/>
                <a:gd name="T29" fmla="*/ 87 h 90"/>
                <a:gd name="T30" fmla="*/ 10 w 30"/>
                <a:gd name="T31" fmla="*/ 89 h 90"/>
                <a:gd name="T32" fmla="*/ 13 w 30"/>
                <a:gd name="T33" fmla="*/ 90 h 90"/>
                <a:gd name="T34" fmla="*/ 15 w 30"/>
                <a:gd name="T35" fmla="*/ 90 h 90"/>
                <a:gd name="T36" fmla="*/ 18 w 30"/>
                <a:gd name="T37" fmla="*/ 90 h 90"/>
                <a:gd name="T38" fmla="*/ 21 w 30"/>
                <a:gd name="T39" fmla="*/ 89 h 90"/>
                <a:gd name="T40" fmla="*/ 24 w 30"/>
                <a:gd name="T41" fmla="*/ 87 h 90"/>
                <a:gd name="T42" fmla="*/ 26 w 30"/>
                <a:gd name="T43" fmla="*/ 85 h 90"/>
                <a:gd name="T44" fmla="*/ 28 w 30"/>
                <a:gd name="T45" fmla="*/ 83 h 90"/>
                <a:gd name="T46" fmla="*/ 29 w 30"/>
                <a:gd name="T47" fmla="*/ 81 h 90"/>
                <a:gd name="T48" fmla="*/ 30 w 30"/>
                <a:gd name="T49" fmla="*/ 78 h 90"/>
                <a:gd name="T50" fmla="*/ 30 w 30"/>
                <a:gd name="T51" fmla="*/ 75 h 90"/>
                <a:gd name="T52" fmla="*/ 30 w 30"/>
                <a:gd name="T53" fmla="*/ 15 h 90"/>
                <a:gd name="T54" fmla="*/ 30 w 30"/>
                <a:gd name="T55" fmla="*/ 11 h 90"/>
                <a:gd name="T56" fmla="*/ 29 w 30"/>
                <a:gd name="T57" fmla="*/ 9 h 90"/>
                <a:gd name="T58" fmla="*/ 28 w 30"/>
                <a:gd name="T59" fmla="*/ 6 h 90"/>
                <a:gd name="T60" fmla="*/ 26 w 30"/>
                <a:gd name="T61" fmla="*/ 4 h 90"/>
                <a:gd name="T62" fmla="*/ 24 w 30"/>
                <a:gd name="T63" fmla="*/ 2 h 90"/>
                <a:gd name="T64" fmla="*/ 21 w 30"/>
                <a:gd name="T65" fmla="*/ 1 h 90"/>
                <a:gd name="T66" fmla="*/ 18 w 30"/>
                <a:gd name="T67" fmla="*/ 0 h 90"/>
                <a:gd name="T68" fmla="*/ 15 w 30"/>
                <a:gd name="T6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90">
                  <a:moveTo>
                    <a:pt x="15" y="0"/>
                  </a:moveTo>
                  <a:lnTo>
                    <a:pt x="13" y="0"/>
                  </a:lnTo>
                  <a:lnTo>
                    <a:pt x="10" y="1"/>
                  </a:lnTo>
                  <a:lnTo>
                    <a:pt x="7" y="2"/>
                  </a:lnTo>
                  <a:lnTo>
                    <a:pt x="4" y="4"/>
                  </a:lnTo>
                  <a:lnTo>
                    <a:pt x="3" y="6"/>
                  </a:lnTo>
                  <a:lnTo>
                    <a:pt x="1" y="9"/>
                  </a:lnTo>
                  <a:lnTo>
                    <a:pt x="1" y="11"/>
                  </a:lnTo>
                  <a:lnTo>
                    <a:pt x="0" y="15"/>
                  </a:lnTo>
                  <a:lnTo>
                    <a:pt x="0" y="75"/>
                  </a:lnTo>
                  <a:lnTo>
                    <a:pt x="1" y="78"/>
                  </a:lnTo>
                  <a:lnTo>
                    <a:pt x="1" y="81"/>
                  </a:lnTo>
                  <a:lnTo>
                    <a:pt x="3" y="83"/>
                  </a:lnTo>
                  <a:lnTo>
                    <a:pt x="4" y="85"/>
                  </a:lnTo>
                  <a:lnTo>
                    <a:pt x="7" y="87"/>
                  </a:lnTo>
                  <a:lnTo>
                    <a:pt x="10" y="89"/>
                  </a:lnTo>
                  <a:lnTo>
                    <a:pt x="13" y="90"/>
                  </a:lnTo>
                  <a:lnTo>
                    <a:pt x="15" y="90"/>
                  </a:lnTo>
                  <a:lnTo>
                    <a:pt x="18" y="90"/>
                  </a:lnTo>
                  <a:lnTo>
                    <a:pt x="21" y="89"/>
                  </a:lnTo>
                  <a:lnTo>
                    <a:pt x="24" y="87"/>
                  </a:lnTo>
                  <a:lnTo>
                    <a:pt x="26" y="85"/>
                  </a:lnTo>
                  <a:lnTo>
                    <a:pt x="28" y="83"/>
                  </a:lnTo>
                  <a:lnTo>
                    <a:pt x="29" y="81"/>
                  </a:lnTo>
                  <a:lnTo>
                    <a:pt x="30" y="78"/>
                  </a:lnTo>
                  <a:lnTo>
                    <a:pt x="30" y="75"/>
                  </a:lnTo>
                  <a:lnTo>
                    <a:pt x="30" y="15"/>
                  </a:lnTo>
                  <a:lnTo>
                    <a:pt x="30" y="11"/>
                  </a:lnTo>
                  <a:lnTo>
                    <a:pt x="29" y="9"/>
                  </a:lnTo>
                  <a:lnTo>
                    <a:pt x="28" y="6"/>
                  </a:lnTo>
                  <a:lnTo>
                    <a:pt x="26" y="4"/>
                  </a:lnTo>
                  <a:lnTo>
                    <a:pt x="24" y="2"/>
                  </a:lnTo>
                  <a:lnTo>
                    <a:pt x="21" y="1"/>
                  </a:lnTo>
                  <a:lnTo>
                    <a:pt x="18" y="0"/>
                  </a:lnTo>
                  <a:lnTo>
                    <a:pt x="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3" name="Freeform 59">
              <a:extLst>
                <a:ext uri="{FF2B5EF4-FFF2-40B4-BE49-F238E27FC236}">
                  <a16:creationId xmlns:a16="http://schemas.microsoft.com/office/drawing/2014/main" id="{E22382D9-3040-4416-9007-BF3E83F99E60}"/>
                </a:ext>
              </a:extLst>
            </p:cNvPr>
            <p:cNvSpPr>
              <a:spLocks/>
            </p:cNvSpPr>
            <p:nvPr/>
          </p:nvSpPr>
          <p:spPr bwMode="auto">
            <a:xfrm>
              <a:off x="1424817" y="2498439"/>
              <a:ext cx="50694" cy="50694"/>
            </a:xfrm>
            <a:custGeom>
              <a:avLst/>
              <a:gdLst>
                <a:gd name="T0" fmla="*/ 46 w 72"/>
                <a:gd name="T1" fmla="*/ 4 h 72"/>
                <a:gd name="T2" fmla="*/ 4 w 72"/>
                <a:gd name="T3" fmla="*/ 47 h 72"/>
                <a:gd name="T4" fmla="*/ 2 w 72"/>
                <a:gd name="T5" fmla="*/ 49 h 72"/>
                <a:gd name="T6" fmla="*/ 1 w 72"/>
                <a:gd name="T7" fmla="*/ 52 h 72"/>
                <a:gd name="T8" fmla="*/ 0 w 72"/>
                <a:gd name="T9" fmla="*/ 54 h 72"/>
                <a:gd name="T10" fmla="*/ 0 w 72"/>
                <a:gd name="T11" fmla="*/ 57 h 72"/>
                <a:gd name="T12" fmla="*/ 0 w 72"/>
                <a:gd name="T13" fmla="*/ 61 h 72"/>
                <a:gd name="T14" fmla="*/ 1 w 72"/>
                <a:gd name="T15" fmla="*/ 63 h 72"/>
                <a:gd name="T16" fmla="*/ 2 w 72"/>
                <a:gd name="T17" fmla="*/ 66 h 72"/>
                <a:gd name="T18" fmla="*/ 4 w 72"/>
                <a:gd name="T19" fmla="*/ 68 h 72"/>
                <a:gd name="T20" fmla="*/ 6 w 72"/>
                <a:gd name="T21" fmla="*/ 70 h 72"/>
                <a:gd name="T22" fmla="*/ 8 w 72"/>
                <a:gd name="T23" fmla="*/ 71 h 72"/>
                <a:gd name="T24" fmla="*/ 12 w 72"/>
                <a:gd name="T25" fmla="*/ 72 h 72"/>
                <a:gd name="T26" fmla="*/ 15 w 72"/>
                <a:gd name="T27" fmla="*/ 72 h 72"/>
                <a:gd name="T28" fmla="*/ 17 w 72"/>
                <a:gd name="T29" fmla="*/ 72 h 72"/>
                <a:gd name="T30" fmla="*/ 20 w 72"/>
                <a:gd name="T31" fmla="*/ 71 h 72"/>
                <a:gd name="T32" fmla="*/ 22 w 72"/>
                <a:gd name="T33" fmla="*/ 70 h 72"/>
                <a:gd name="T34" fmla="*/ 25 w 72"/>
                <a:gd name="T35" fmla="*/ 68 h 72"/>
                <a:gd name="T36" fmla="*/ 67 w 72"/>
                <a:gd name="T37" fmla="*/ 24 h 72"/>
                <a:gd name="T38" fmla="*/ 69 w 72"/>
                <a:gd name="T39" fmla="*/ 22 h 72"/>
                <a:gd name="T40" fmla="*/ 70 w 72"/>
                <a:gd name="T41" fmla="*/ 20 h 72"/>
                <a:gd name="T42" fmla="*/ 72 w 72"/>
                <a:gd name="T43" fmla="*/ 18 h 72"/>
                <a:gd name="T44" fmla="*/ 72 w 72"/>
                <a:gd name="T45" fmla="*/ 15 h 72"/>
                <a:gd name="T46" fmla="*/ 72 w 72"/>
                <a:gd name="T47" fmla="*/ 11 h 72"/>
                <a:gd name="T48" fmla="*/ 70 w 72"/>
                <a:gd name="T49" fmla="*/ 9 h 72"/>
                <a:gd name="T50" fmla="*/ 69 w 72"/>
                <a:gd name="T51" fmla="*/ 6 h 72"/>
                <a:gd name="T52" fmla="*/ 67 w 72"/>
                <a:gd name="T53" fmla="*/ 4 h 72"/>
                <a:gd name="T54" fmla="*/ 65 w 72"/>
                <a:gd name="T55" fmla="*/ 2 h 72"/>
                <a:gd name="T56" fmla="*/ 62 w 72"/>
                <a:gd name="T57" fmla="*/ 1 h 72"/>
                <a:gd name="T58" fmla="*/ 60 w 72"/>
                <a:gd name="T59" fmla="*/ 0 h 72"/>
                <a:gd name="T60" fmla="*/ 57 w 72"/>
                <a:gd name="T61" fmla="*/ 0 h 72"/>
                <a:gd name="T62" fmla="*/ 53 w 72"/>
                <a:gd name="T63" fmla="*/ 0 h 72"/>
                <a:gd name="T64" fmla="*/ 51 w 72"/>
                <a:gd name="T65" fmla="*/ 1 h 72"/>
                <a:gd name="T66" fmla="*/ 48 w 72"/>
                <a:gd name="T67" fmla="*/ 2 h 72"/>
                <a:gd name="T68" fmla="*/ 46 w 72"/>
                <a:gd name="T69"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2">
                  <a:moveTo>
                    <a:pt x="46" y="4"/>
                  </a:moveTo>
                  <a:lnTo>
                    <a:pt x="4" y="47"/>
                  </a:lnTo>
                  <a:lnTo>
                    <a:pt x="2" y="49"/>
                  </a:lnTo>
                  <a:lnTo>
                    <a:pt x="1" y="52"/>
                  </a:lnTo>
                  <a:lnTo>
                    <a:pt x="0" y="54"/>
                  </a:lnTo>
                  <a:lnTo>
                    <a:pt x="0" y="57"/>
                  </a:lnTo>
                  <a:lnTo>
                    <a:pt x="0" y="61"/>
                  </a:lnTo>
                  <a:lnTo>
                    <a:pt x="1" y="63"/>
                  </a:lnTo>
                  <a:lnTo>
                    <a:pt x="2" y="66"/>
                  </a:lnTo>
                  <a:lnTo>
                    <a:pt x="4" y="68"/>
                  </a:lnTo>
                  <a:lnTo>
                    <a:pt x="6" y="70"/>
                  </a:lnTo>
                  <a:lnTo>
                    <a:pt x="8" y="71"/>
                  </a:lnTo>
                  <a:lnTo>
                    <a:pt x="12" y="72"/>
                  </a:lnTo>
                  <a:lnTo>
                    <a:pt x="15" y="72"/>
                  </a:lnTo>
                  <a:lnTo>
                    <a:pt x="17" y="72"/>
                  </a:lnTo>
                  <a:lnTo>
                    <a:pt x="20" y="71"/>
                  </a:lnTo>
                  <a:lnTo>
                    <a:pt x="22" y="70"/>
                  </a:lnTo>
                  <a:lnTo>
                    <a:pt x="25" y="68"/>
                  </a:lnTo>
                  <a:lnTo>
                    <a:pt x="67" y="24"/>
                  </a:lnTo>
                  <a:lnTo>
                    <a:pt x="69" y="22"/>
                  </a:lnTo>
                  <a:lnTo>
                    <a:pt x="70" y="20"/>
                  </a:lnTo>
                  <a:lnTo>
                    <a:pt x="72" y="18"/>
                  </a:lnTo>
                  <a:lnTo>
                    <a:pt x="72" y="15"/>
                  </a:lnTo>
                  <a:lnTo>
                    <a:pt x="72" y="11"/>
                  </a:lnTo>
                  <a:lnTo>
                    <a:pt x="70" y="9"/>
                  </a:lnTo>
                  <a:lnTo>
                    <a:pt x="69" y="6"/>
                  </a:lnTo>
                  <a:lnTo>
                    <a:pt x="67" y="4"/>
                  </a:lnTo>
                  <a:lnTo>
                    <a:pt x="65" y="2"/>
                  </a:lnTo>
                  <a:lnTo>
                    <a:pt x="62" y="1"/>
                  </a:lnTo>
                  <a:lnTo>
                    <a:pt x="60" y="0"/>
                  </a:lnTo>
                  <a:lnTo>
                    <a:pt x="57" y="0"/>
                  </a:lnTo>
                  <a:lnTo>
                    <a:pt x="53" y="0"/>
                  </a:lnTo>
                  <a:lnTo>
                    <a:pt x="51" y="1"/>
                  </a:lnTo>
                  <a:lnTo>
                    <a:pt x="48" y="2"/>
                  </a:lnTo>
                  <a:lnTo>
                    <a:pt x="46"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4" name="Freeform 60">
              <a:extLst>
                <a:ext uri="{FF2B5EF4-FFF2-40B4-BE49-F238E27FC236}">
                  <a16:creationId xmlns:a16="http://schemas.microsoft.com/office/drawing/2014/main" id="{204F22E3-5756-4EE5-B3A7-8CDDE8AA648E}"/>
                </a:ext>
              </a:extLst>
            </p:cNvPr>
            <p:cNvSpPr>
              <a:spLocks/>
            </p:cNvSpPr>
            <p:nvPr/>
          </p:nvSpPr>
          <p:spPr bwMode="auto">
            <a:xfrm>
              <a:off x="1026511" y="2498439"/>
              <a:ext cx="50694" cy="50694"/>
            </a:xfrm>
            <a:custGeom>
              <a:avLst/>
              <a:gdLst>
                <a:gd name="T0" fmla="*/ 46 w 71"/>
                <a:gd name="T1" fmla="*/ 68 h 72"/>
                <a:gd name="T2" fmla="*/ 48 w 71"/>
                <a:gd name="T3" fmla="*/ 70 h 72"/>
                <a:gd name="T4" fmla="*/ 51 w 71"/>
                <a:gd name="T5" fmla="*/ 71 h 72"/>
                <a:gd name="T6" fmla="*/ 53 w 71"/>
                <a:gd name="T7" fmla="*/ 72 h 72"/>
                <a:gd name="T8" fmla="*/ 56 w 71"/>
                <a:gd name="T9" fmla="*/ 72 h 72"/>
                <a:gd name="T10" fmla="*/ 59 w 71"/>
                <a:gd name="T11" fmla="*/ 72 h 72"/>
                <a:gd name="T12" fmla="*/ 62 w 71"/>
                <a:gd name="T13" fmla="*/ 71 h 72"/>
                <a:gd name="T14" fmla="*/ 65 w 71"/>
                <a:gd name="T15" fmla="*/ 70 h 72"/>
                <a:gd name="T16" fmla="*/ 67 w 71"/>
                <a:gd name="T17" fmla="*/ 68 h 72"/>
                <a:gd name="T18" fmla="*/ 69 w 71"/>
                <a:gd name="T19" fmla="*/ 66 h 72"/>
                <a:gd name="T20" fmla="*/ 70 w 71"/>
                <a:gd name="T21" fmla="*/ 63 h 72"/>
                <a:gd name="T22" fmla="*/ 71 w 71"/>
                <a:gd name="T23" fmla="*/ 61 h 72"/>
                <a:gd name="T24" fmla="*/ 71 w 71"/>
                <a:gd name="T25" fmla="*/ 57 h 72"/>
                <a:gd name="T26" fmla="*/ 71 w 71"/>
                <a:gd name="T27" fmla="*/ 54 h 72"/>
                <a:gd name="T28" fmla="*/ 70 w 71"/>
                <a:gd name="T29" fmla="*/ 52 h 72"/>
                <a:gd name="T30" fmla="*/ 69 w 71"/>
                <a:gd name="T31" fmla="*/ 50 h 72"/>
                <a:gd name="T32" fmla="*/ 67 w 71"/>
                <a:gd name="T33" fmla="*/ 47 h 72"/>
                <a:gd name="T34" fmla="*/ 24 w 71"/>
                <a:gd name="T35" fmla="*/ 4 h 72"/>
                <a:gd name="T36" fmla="*/ 22 w 71"/>
                <a:gd name="T37" fmla="*/ 2 h 72"/>
                <a:gd name="T38" fmla="*/ 20 w 71"/>
                <a:gd name="T39" fmla="*/ 1 h 72"/>
                <a:gd name="T40" fmla="*/ 17 w 71"/>
                <a:gd name="T41" fmla="*/ 0 h 72"/>
                <a:gd name="T42" fmla="*/ 14 w 71"/>
                <a:gd name="T43" fmla="*/ 0 h 72"/>
                <a:gd name="T44" fmla="*/ 11 w 71"/>
                <a:gd name="T45" fmla="*/ 0 h 72"/>
                <a:gd name="T46" fmla="*/ 8 w 71"/>
                <a:gd name="T47" fmla="*/ 1 h 72"/>
                <a:gd name="T48" fmla="*/ 6 w 71"/>
                <a:gd name="T49" fmla="*/ 2 h 72"/>
                <a:gd name="T50" fmla="*/ 4 w 71"/>
                <a:gd name="T51" fmla="*/ 4 h 72"/>
                <a:gd name="T52" fmla="*/ 2 w 71"/>
                <a:gd name="T53" fmla="*/ 6 h 72"/>
                <a:gd name="T54" fmla="*/ 1 w 71"/>
                <a:gd name="T55" fmla="*/ 9 h 72"/>
                <a:gd name="T56" fmla="*/ 0 w 71"/>
                <a:gd name="T57" fmla="*/ 11 h 72"/>
                <a:gd name="T58" fmla="*/ 0 w 71"/>
                <a:gd name="T59" fmla="*/ 15 h 72"/>
                <a:gd name="T60" fmla="*/ 0 w 71"/>
                <a:gd name="T61" fmla="*/ 18 h 72"/>
                <a:gd name="T62" fmla="*/ 1 w 71"/>
                <a:gd name="T63" fmla="*/ 20 h 72"/>
                <a:gd name="T64" fmla="*/ 2 w 71"/>
                <a:gd name="T65" fmla="*/ 23 h 72"/>
                <a:gd name="T66" fmla="*/ 4 w 71"/>
                <a:gd name="T67" fmla="*/ 24 h 72"/>
                <a:gd name="T68" fmla="*/ 46 w 71"/>
                <a:gd name="T69"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72">
                  <a:moveTo>
                    <a:pt x="46" y="68"/>
                  </a:moveTo>
                  <a:lnTo>
                    <a:pt x="48" y="70"/>
                  </a:lnTo>
                  <a:lnTo>
                    <a:pt x="51" y="71"/>
                  </a:lnTo>
                  <a:lnTo>
                    <a:pt x="53" y="72"/>
                  </a:lnTo>
                  <a:lnTo>
                    <a:pt x="56" y="72"/>
                  </a:lnTo>
                  <a:lnTo>
                    <a:pt x="59" y="72"/>
                  </a:lnTo>
                  <a:lnTo>
                    <a:pt x="62" y="71"/>
                  </a:lnTo>
                  <a:lnTo>
                    <a:pt x="65" y="70"/>
                  </a:lnTo>
                  <a:lnTo>
                    <a:pt x="67" y="68"/>
                  </a:lnTo>
                  <a:lnTo>
                    <a:pt x="69" y="66"/>
                  </a:lnTo>
                  <a:lnTo>
                    <a:pt x="70" y="63"/>
                  </a:lnTo>
                  <a:lnTo>
                    <a:pt x="71" y="61"/>
                  </a:lnTo>
                  <a:lnTo>
                    <a:pt x="71" y="57"/>
                  </a:lnTo>
                  <a:lnTo>
                    <a:pt x="71" y="54"/>
                  </a:lnTo>
                  <a:lnTo>
                    <a:pt x="70" y="52"/>
                  </a:lnTo>
                  <a:lnTo>
                    <a:pt x="69" y="50"/>
                  </a:lnTo>
                  <a:lnTo>
                    <a:pt x="67" y="47"/>
                  </a:lnTo>
                  <a:lnTo>
                    <a:pt x="24" y="4"/>
                  </a:lnTo>
                  <a:lnTo>
                    <a:pt x="22" y="2"/>
                  </a:lnTo>
                  <a:lnTo>
                    <a:pt x="20" y="1"/>
                  </a:lnTo>
                  <a:lnTo>
                    <a:pt x="17" y="0"/>
                  </a:lnTo>
                  <a:lnTo>
                    <a:pt x="14" y="0"/>
                  </a:lnTo>
                  <a:lnTo>
                    <a:pt x="11" y="0"/>
                  </a:lnTo>
                  <a:lnTo>
                    <a:pt x="8" y="1"/>
                  </a:lnTo>
                  <a:lnTo>
                    <a:pt x="6" y="2"/>
                  </a:lnTo>
                  <a:lnTo>
                    <a:pt x="4" y="4"/>
                  </a:lnTo>
                  <a:lnTo>
                    <a:pt x="2" y="6"/>
                  </a:lnTo>
                  <a:lnTo>
                    <a:pt x="1" y="9"/>
                  </a:lnTo>
                  <a:lnTo>
                    <a:pt x="0" y="11"/>
                  </a:lnTo>
                  <a:lnTo>
                    <a:pt x="0" y="15"/>
                  </a:lnTo>
                  <a:lnTo>
                    <a:pt x="0" y="18"/>
                  </a:lnTo>
                  <a:lnTo>
                    <a:pt x="1" y="20"/>
                  </a:lnTo>
                  <a:lnTo>
                    <a:pt x="2" y="23"/>
                  </a:lnTo>
                  <a:lnTo>
                    <a:pt x="4" y="24"/>
                  </a:lnTo>
                  <a:lnTo>
                    <a:pt x="46" y="68"/>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5" name="Freeform 61">
              <a:extLst>
                <a:ext uri="{FF2B5EF4-FFF2-40B4-BE49-F238E27FC236}">
                  <a16:creationId xmlns:a16="http://schemas.microsoft.com/office/drawing/2014/main" id="{02C5DA14-40B9-4131-813D-4029831FEA52}"/>
                </a:ext>
              </a:extLst>
            </p:cNvPr>
            <p:cNvSpPr>
              <a:spLocks/>
            </p:cNvSpPr>
            <p:nvPr/>
          </p:nvSpPr>
          <p:spPr bwMode="auto">
            <a:xfrm>
              <a:off x="1026511" y="2896745"/>
              <a:ext cx="50694" cy="50694"/>
            </a:xfrm>
            <a:custGeom>
              <a:avLst/>
              <a:gdLst>
                <a:gd name="T0" fmla="*/ 46 w 71"/>
                <a:gd name="T1" fmla="*/ 4 h 71"/>
                <a:gd name="T2" fmla="*/ 4 w 71"/>
                <a:gd name="T3" fmla="*/ 46 h 71"/>
                <a:gd name="T4" fmla="*/ 2 w 71"/>
                <a:gd name="T5" fmla="*/ 49 h 71"/>
                <a:gd name="T6" fmla="*/ 1 w 71"/>
                <a:gd name="T7" fmla="*/ 51 h 71"/>
                <a:gd name="T8" fmla="*/ 0 w 71"/>
                <a:gd name="T9" fmla="*/ 54 h 71"/>
                <a:gd name="T10" fmla="*/ 0 w 71"/>
                <a:gd name="T11" fmla="*/ 58 h 71"/>
                <a:gd name="T12" fmla="*/ 0 w 71"/>
                <a:gd name="T13" fmla="*/ 60 h 71"/>
                <a:gd name="T14" fmla="*/ 1 w 71"/>
                <a:gd name="T15" fmla="*/ 63 h 71"/>
                <a:gd name="T16" fmla="*/ 2 w 71"/>
                <a:gd name="T17" fmla="*/ 65 h 71"/>
                <a:gd name="T18" fmla="*/ 4 w 71"/>
                <a:gd name="T19" fmla="*/ 67 h 71"/>
                <a:gd name="T20" fmla="*/ 6 w 71"/>
                <a:gd name="T21" fmla="*/ 69 h 71"/>
                <a:gd name="T22" fmla="*/ 8 w 71"/>
                <a:gd name="T23" fmla="*/ 70 h 71"/>
                <a:gd name="T24" fmla="*/ 11 w 71"/>
                <a:gd name="T25" fmla="*/ 71 h 71"/>
                <a:gd name="T26" fmla="*/ 14 w 71"/>
                <a:gd name="T27" fmla="*/ 71 h 71"/>
                <a:gd name="T28" fmla="*/ 17 w 71"/>
                <a:gd name="T29" fmla="*/ 71 h 71"/>
                <a:gd name="T30" fmla="*/ 20 w 71"/>
                <a:gd name="T31" fmla="*/ 70 h 71"/>
                <a:gd name="T32" fmla="*/ 22 w 71"/>
                <a:gd name="T33" fmla="*/ 69 h 71"/>
                <a:gd name="T34" fmla="*/ 24 w 71"/>
                <a:gd name="T35" fmla="*/ 67 h 71"/>
                <a:gd name="T36" fmla="*/ 67 w 71"/>
                <a:gd name="T37" fmla="*/ 25 h 71"/>
                <a:gd name="T38" fmla="*/ 69 w 71"/>
                <a:gd name="T39" fmla="*/ 23 h 71"/>
                <a:gd name="T40" fmla="*/ 70 w 71"/>
                <a:gd name="T41" fmla="*/ 20 h 71"/>
                <a:gd name="T42" fmla="*/ 71 w 71"/>
                <a:gd name="T43" fmla="*/ 18 h 71"/>
                <a:gd name="T44" fmla="*/ 71 w 71"/>
                <a:gd name="T45" fmla="*/ 15 h 71"/>
                <a:gd name="T46" fmla="*/ 71 w 71"/>
                <a:gd name="T47" fmla="*/ 12 h 71"/>
                <a:gd name="T48" fmla="*/ 70 w 71"/>
                <a:gd name="T49" fmla="*/ 9 h 71"/>
                <a:gd name="T50" fmla="*/ 69 w 71"/>
                <a:gd name="T51" fmla="*/ 6 h 71"/>
                <a:gd name="T52" fmla="*/ 67 w 71"/>
                <a:gd name="T53" fmla="*/ 4 h 71"/>
                <a:gd name="T54" fmla="*/ 65 w 71"/>
                <a:gd name="T55" fmla="*/ 2 h 71"/>
                <a:gd name="T56" fmla="*/ 62 w 71"/>
                <a:gd name="T57" fmla="*/ 1 h 71"/>
                <a:gd name="T58" fmla="*/ 59 w 71"/>
                <a:gd name="T59" fmla="*/ 0 h 71"/>
                <a:gd name="T60" fmla="*/ 56 w 71"/>
                <a:gd name="T61" fmla="*/ 0 h 71"/>
                <a:gd name="T62" fmla="*/ 53 w 71"/>
                <a:gd name="T63" fmla="*/ 0 h 71"/>
                <a:gd name="T64" fmla="*/ 51 w 71"/>
                <a:gd name="T65" fmla="*/ 1 h 71"/>
                <a:gd name="T66" fmla="*/ 48 w 71"/>
                <a:gd name="T67" fmla="*/ 2 h 71"/>
                <a:gd name="T68" fmla="*/ 46 w 71"/>
                <a:gd name="T69"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71">
                  <a:moveTo>
                    <a:pt x="46" y="4"/>
                  </a:moveTo>
                  <a:lnTo>
                    <a:pt x="4" y="46"/>
                  </a:lnTo>
                  <a:lnTo>
                    <a:pt x="2" y="49"/>
                  </a:lnTo>
                  <a:lnTo>
                    <a:pt x="1" y="51"/>
                  </a:lnTo>
                  <a:lnTo>
                    <a:pt x="0" y="54"/>
                  </a:lnTo>
                  <a:lnTo>
                    <a:pt x="0" y="58"/>
                  </a:lnTo>
                  <a:lnTo>
                    <a:pt x="0" y="60"/>
                  </a:lnTo>
                  <a:lnTo>
                    <a:pt x="1" y="63"/>
                  </a:lnTo>
                  <a:lnTo>
                    <a:pt x="2" y="65"/>
                  </a:lnTo>
                  <a:lnTo>
                    <a:pt x="4" y="67"/>
                  </a:lnTo>
                  <a:lnTo>
                    <a:pt x="6" y="69"/>
                  </a:lnTo>
                  <a:lnTo>
                    <a:pt x="8" y="70"/>
                  </a:lnTo>
                  <a:lnTo>
                    <a:pt x="11" y="71"/>
                  </a:lnTo>
                  <a:lnTo>
                    <a:pt x="14" y="71"/>
                  </a:lnTo>
                  <a:lnTo>
                    <a:pt x="17" y="71"/>
                  </a:lnTo>
                  <a:lnTo>
                    <a:pt x="20" y="70"/>
                  </a:lnTo>
                  <a:lnTo>
                    <a:pt x="22" y="69"/>
                  </a:lnTo>
                  <a:lnTo>
                    <a:pt x="24" y="67"/>
                  </a:lnTo>
                  <a:lnTo>
                    <a:pt x="67" y="25"/>
                  </a:lnTo>
                  <a:lnTo>
                    <a:pt x="69" y="23"/>
                  </a:lnTo>
                  <a:lnTo>
                    <a:pt x="70" y="20"/>
                  </a:lnTo>
                  <a:lnTo>
                    <a:pt x="71" y="18"/>
                  </a:lnTo>
                  <a:lnTo>
                    <a:pt x="71" y="15"/>
                  </a:lnTo>
                  <a:lnTo>
                    <a:pt x="71" y="12"/>
                  </a:lnTo>
                  <a:lnTo>
                    <a:pt x="70" y="9"/>
                  </a:lnTo>
                  <a:lnTo>
                    <a:pt x="69" y="6"/>
                  </a:lnTo>
                  <a:lnTo>
                    <a:pt x="67" y="4"/>
                  </a:lnTo>
                  <a:lnTo>
                    <a:pt x="65" y="2"/>
                  </a:lnTo>
                  <a:lnTo>
                    <a:pt x="62" y="1"/>
                  </a:lnTo>
                  <a:lnTo>
                    <a:pt x="59" y="0"/>
                  </a:lnTo>
                  <a:lnTo>
                    <a:pt x="56" y="0"/>
                  </a:lnTo>
                  <a:lnTo>
                    <a:pt x="53" y="0"/>
                  </a:lnTo>
                  <a:lnTo>
                    <a:pt x="51" y="1"/>
                  </a:lnTo>
                  <a:lnTo>
                    <a:pt x="48" y="2"/>
                  </a:lnTo>
                  <a:lnTo>
                    <a:pt x="46"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6" name="Freeform 62">
              <a:extLst>
                <a:ext uri="{FF2B5EF4-FFF2-40B4-BE49-F238E27FC236}">
                  <a16:creationId xmlns:a16="http://schemas.microsoft.com/office/drawing/2014/main" id="{6F6C67F3-52FE-4F45-B9F0-B2CC03206637}"/>
                </a:ext>
              </a:extLst>
            </p:cNvPr>
            <p:cNvSpPr>
              <a:spLocks/>
            </p:cNvSpPr>
            <p:nvPr/>
          </p:nvSpPr>
          <p:spPr bwMode="auto">
            <a:xfrm>
              <a:off x="1424817" y="2896745"/>
              <a:ext cx="50694" cy="50694"/>
            </a:xfrm>
            <a:custGeom>
              <a:avLst/>
              <a:gdLst>
                <a:gd name="T0" fmla="*/ 25 w 72"/>
                <a:gd name="T1" fmla="*/ 4 h 71"/>
                <a:gd name="T2" fmla="*/ 22 w 72"/>
                <a:gd name="T3" fmla="*/ 2 h 71"/>
                <a:gd name="T4" fmla="*/ 20 w 72"/>
                <a:gd name="T5" fmla="*/ 1 h 71"/>
                <a:gd name="T6" fmla="*/ 17 w 72"/>
                <a:gd name="T7" fmla="*/ 0 h 71"/>
                <a:gd name="T8" fmla="*/ 15 w 72"/>
                <a:gd name="T9" fmla="*/ 0 h 71"/>
                <a:gd name="T10" fmla="*/ 12 w 72"/>
                <a:gd name="T11" fmla="*/ 0 h 71"/>
                <a:gd name="T12" fmla="*/ 8 w 72"/>
                <a:gd name="T13" fmla="*/ 1 h 71"/>
                <a:gd name="T14" fmla="*/ 6 w 72"/>
                <a:gd name="T15" fmla="*/ 2 h 71"/>
                <a:gd name="T16" fmla="*/ 4 w 72"/>
                <a:gd name="T17" fmla="*/ 4 h 71"/>
                <a:gd name="T18" fmla="*/ 2 w 72"/>
                <a:gd name="T19" fmla="*/ 6 h 71"/>
                <a:gd name="T20" fmla="*/ 1 w 72"/>
                <a:gd name="T21" fmla="*/ 9 h 71"/>
                <a:gd name="T22" fmla="*/ 0 w 72"/>
                <a:gd name="T23" fmla="*/ 12 h 71"/>
                <a:gd name="T24" fmla="*/ 0 w 72"/>
                <a:gd name="T25" fmla="*/ 15 h 71"/>
                <a:gd name="T26" fmla="*/ 0 w 72"/>
                <a:gd name="T27" fmla="*/ 18 h 71"/>
                <a:gd name="T28" fmla="*/ 1 w 72"/>
                <a:gd name="T29" fmla="*/ 20 h 71"/>
                <a:gd name="T30" fmla="*/ 2 w 72"/>
                <a:gd name="T31" fmla="*/ 23 h 71"/>
                <a:gd name="T32" fmla="*/ 4 w 72"/>
                <a:gd name="T33" fmla="*/ 25 h 71"/>
                <a:gd name="T34" fmla="*/ 46 w 72"/>
                <a:gd name="T35" fmla="*/ 67 h 71"/>
                <a:gd name="T36" fmla="*/ 48 w 72"/>
                <a:gd name="T37" fmla="*/ 69 h 71"/>
                <a:gd name="T38" fmla="*/ 51 w 72"/>
                <a:gd name="T39" fmla="*/ 70 h 71"/>
                <a:gd name="T40" fmla="*/ 53 w 72"/>
                <a:gd name="T41" fmla="*/ 71 h 71"/>
                <a:gd name="T42" fmla="*/ 57 w 72"/>
                <a:gd name="T43" fmla="*/ 71 h 71"/>
                <a:gd name="T44" fmla="*/ 60 w 72"/>
                <a:gd name="T45" fmla="*/ 71 h 71"/>
                <a:gd name="T46" fmla="*/ 62 w 72"/>
                <a:gd name="T47" fmla="*/ 70 h 71"/>
                <a:gd name="T48" fmla="*/ 65 w 72"/>
                <a:gd name="T49" fmla="*/ 69 h 71"/>
                <a:gd name="T50" fmla="*/ 67 w 72"/>
                <a:gd name="T51" fmla="*/ 67 h 71"/>
                <a:gd name="T52" fmla="*/ 69 w 72"/>
                <a:gd name="T53" fmla="*/ 65 h 71"/>
                <a:gd name="T54" fmla="*/ 70 w 72"/>
                <a:gd name="T55" fmla="*/ 63 h 71"/>
                <a:gd name="T56" fmla="*/ 72 w 72"/>
                <a:gd name="T57" fmla="*/ 60 h 71"/>
                <a:gd name="T58" fmla="*/ 72 w 72"/>
                <a:gd name="T59" fmla="*/ 58 h 71"/>
                <a:gd name="T60" fmla="*/ 72 w 72"/>
                <a:gd name="T61" fmla="*/ 54 h 71"/>
                <a:gd name="T62" fmla="*/ 70 w 72"/>
                <a:gd name="T63" fmla="*/ 51 h 71"/>
                <a:gd name="T64" fmla="*/ 69 w 72"/>
                <a:gd name="T65" fmla="*/ 49 h 71"/>
                <a:gd name="T66" fmla="*/ 67 w 72"/>
                <a:gd name="T67" fmla="*/ 46 h 71"/>
                <a:gd name="T68" fmla="*/ 25 w 72"/>
                <a:gd name="T69"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1">
                  <a:moveTo>
                    <a:pt x="25" y="4"/>
                  </a:moveTo>
                  <a:lnTo>
                    <a:pt x="22" y="2"/>
                  </a:lnTo>
                  <a:lnTo>
                    <a:pt x="20" y="1"/>
                  </a:lnTo>
                  <a:lnTo>
                    <a:pt x="17" y="0"/>
                  </a:lnTo>
                  <a:lnTo>
                    <a:pt x="15" y="0"/>
                  </a:lnTo>
                  <a:lnTo>
                    <a:pt x="12" y="0"/>
                  </a:lnTo>
                  <a:lnTo>
                    <a:pt x="8" y="1"/>
                  </a:lnTo>
                  <a:lnTo>
                    <a:pt x="6" y="2"/>
                  </a:lnTo>
                  <a:lnTo>
                    <a:pt x="4" y="4"/>
                  </a:lnTo>
                  <a:lnTo>
                    <a:pt x="2" y="6"/>
                  </a:lnTo>
                  <a:lnTo>
                    <a:pt x="1" y="9"/>
                  </a:lnTo>
                  <a:lnTo>
                    <a:pt x="0" y="12"/>
                  </a:lnTo>
                  <a:lnTo>
                    <a:pt x="0" y="15"/>
                  </a:lnTo>
                  <a:lnTo>
                    <a:pt x="0" y="18"/>
                  </a:lnTo>
                  <a:lnTo>
                    <a:pt x="1" y="20"/>
                  </a:lnTo>
                  <a:lnTo>
                    <a:pt x="2" y="23"/>
                  </a:lnTo>
                  <a:lnTo>
                    <a:pt x="4" y="25"/>
                  </a:lnTo>
                  <a:lnTo>
                    <a:pt x="46" y="67"/>
                  </a:lnTo>
                  <a:lnTo>
                    <a:pt x="48" y="69"/>
                  </a:lnTo>
                  <a:lnTo>
                    <a:pt x="51" y="70"/>
                  </a:lnTo>
                  <a:lnTo>
                    <a:pt x="53" y="71"/>
                  </a:lnTo>
                  <a:lnTo>
                    <a:pt x="57" y="71"/>
                  </a:lnTo>
                  <a:lnTo>
                    <a:pt x="60" y="71"/>
                  </a:lnTo>
                  <a:lnTo>
                    <a:pt x="62" y="70"/>
                  </a:lnTo>
                  <a:lnTo>
                    <a:pt x="65" y="69"/>
                  </a:lnTo>
                  <a:lnTo>
                    <a:pt x="67" y="67"/>
                  </a:lnTo>
                  <a:lnTo>
                    <a:pt x="69" y="65"/>
                  </a:lnTo>
                  <a:lnTo>
                    <a:pt x="70" y="63"/>
                  </a:lnTo>
                  <a:lnTo>
                    <a:pt x="72" y="60"/>
                  </a:lnTo>
                  <a:lnTo>
                    <a:pt x="72" y="58"/>
                  </a:lnTo>
                  <a:lnTo>
                    <a:pt x="72" y="54"/>
                  </a:lnTo>
                  <a:lnTo>
                    <a:pt x="70" y="51"/>
                  </a:lnTo>
                  <a:lnTo>
                    <a:pt x="69" y="49"/>
                  </a:lnTo>
                  <a:lnTo>
                    <a:pt x="67" y="46"/>
                  </a:lnTo>
                  <a:lnTo>
                    <a:pt x="25" y="4"/>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27" name="Group 31">
            <a:extLst>
              <a:ext uri="{FF2B5EF4-FFF2-40B4-BE49-F238E27FC236}">
                <a16:creationId xmlns:a16="http://schemas.microsoft.com/office/drawing/2014/main" id="{1FFF0E76-B703-407E-B2F7-14AC9CCF2057}"/>
              </a:ext>
            </a:extLst>
          </p:cNvPr>
          <p:cNvGrpSpPr>
            <a:grpSpLocks noChangeAspect="1"/>
          </p:cNvGrpSpPr>
          <p:nvPr/>
        </p:nvGrpSpPr>
        <p:grpSpPr>
          <a:xfrm>
            <a:off x="5367791" y="5944848"/>
            <a:ext cx="306431" cy="308144"/>
            <a:chOff x="906463" y="769938"/>
            <a:chExt cx="284162" cy="285750"/>
          </a:xfrm>
          <a:solidFill>
            <a:schemeClr val="bg1"/>
          </a:solidFill>
          <a:effectLst/>
        </p:grpSpPr>
        <p:sp>
          <p:nvSpPr>
            <p:cNvPr id="928" name="Freeform 63">
              <a:extLst>
                <a:ext uri="{FF2B5EF4-FFF2-40B4-BE49-F238E27FC236}">
                  <a16:creationId xmlns:a16="http://schemas.microsoft.com/office/drawing/2014/main" id="{11161CF9-6103-48D2-96DD-9285EBBB5D02}"/>
                </a:ext>
              </a:extLst>
            </p:cNvPr>
            <p:cNvSpPr>
              <a:spLocks/>
            </p:cNvSpPr>
            <p:nvPr/>
          </p:nvSpPr>
          <p:spPr bwMode="auto">
            <a:xfrm>
              <a:off x="1009650" y="769938"/>
              <a:ext cx="9525" cy="19050"/>
            </a:xfrm>
            <a:custGeom>
              <a:avLst/>
              <a:gdLst>
                <a:gd name="T0" fmla="*/ 15 w 30"/>
                <a:gd name="T1" fmla="*/ 59 h 59"/>
                <a:gd name="T2" fmla="*/ 18 w 30"/>
                <a:gd name="T3" fmla="*/ 59 h 59"/>
                <a:gd name="T4" fmla="*/ 21 w 30"/>
                <a:gd name="T5" fmla="*/ 58 h 59"/>
                <a:gd name="T6" fmla="*/ 23 w 30"/>
                <a:gd name="T7" fmla="*/ 57 h 59"/>
                <a:gd name="T8" fmla="*/ 25 w 30"/>
                <a:gd name="T9" fmla="*/ 55 h 59"/>
                <a:gd name="T10" fmla="*/ 27 w 30"/>
                <a:gd name="T11" fmla="*/ 53 h 59"/>
                <a:gd name="T12" fmla="*/ 28 w 30"/>
                <a:gd name="T13" fmla="*/ 51 h 59"/>
                <a:gd name="T14" fmla="*/ 30 w 30"/>
                <a:gd name="T15" fmla="*/ 48 h 59"/>
                <a:gd name="T16" fmla="*/ 30 w 30"/>
                <a:gd name="T17" fmla="*/ 44 h 59"/>
                <a:gd name="T18" fmla="*/ 30 w 30"/>
                <a:gd name="T19" fmla="*/ 14 h 59"/>
                <a:gd name="T20" fmla="*/ 30 w 30"/>
                <a:gd name="T21" fmla="*/ 11 h 59"/>
                <a:gd name="T22" fmla="*/ 28 w 30"/>
                <a:gd name="T23" fmla="*/ 9 h 59"/>
                <a:gd name="T24" fmla="*/ 27 w 30"/>
                <a:gd name="T25" fmla="*/ 6 h 59"/>
                <a:gd name="T26" fmla="*/ 25 w 30"/>
                <a:gd name="T27" fmla="*/ 4 h 59"/>
                <a:gd name="T28" fmla="*/ 23 w 30"/>
                <a:gd name="T29" fmla="*/ 2 h 59"/>
                <a:gd name="T30" fmla="*/ 21 w 30"/>
                <a:gd name="T31" fmla="*/ 1 h 59"/>
                <a:gd name="T32" fmla="*/ 18 w 30"/>
                <a:gd name="T33" fmla="*/ 0 h 59"/>
                <a:gd name="T34" fmla="*/ 15 w 30"/>
                <a:gd name="T35" fmla="*/ 0 h 59"/>
                <a:gd name="T36" fmla="*/ 11 w 30"/>
                <a:gd name="T37" fmla="*/ 0 h 59"/>
                <a:gd name="T38" fmla="*/ 9 w 30"/>
                <a:gd name="T39" fmla="*/ 1 h 59"/>
                <a:gd name="T40" fmla="*/ 6 w 30"/>
                <a:gd name="T41" fmla="*/ 2 h 59"/>
                <a:gd name="T42" fmla="*/ 4 w 30"/>
                <a:gd name="T43" fmla="*/ 4 h 59"/>
                <a:gd name="T44" fmla="*/ 3 w 30"/>
                <a:gd name="T45" fmla="*/ 6 h 59"/>
                <a:gd name="T46" fmla="*/ 1 w 30"/>
                <a:gd name="T47" fmla="*/ 9 h 59"/>
                <a:gd name="T48" fmla="*/ 0 w 30"/>
                <a:gd name="T49" fmla="*/ 11 h 59"/>
                <a:gd name="T50" fmla="*/ 0 w 30"/>
                <a:gd name="T51" fmla="*/ 14 h 59"/>
                <a:gd name="T52" fmla="*/ 0 w 30"/>
                <a:gd name="T53" fmla="*/ 44 h 59"/>
                <a:gd name="T54" fmla="*/ 0 w 30"/>
                <a:gd name="T55" fmla="*/ 48 h 59"/>
                <a:gd name="T56" fmla="*/ 1 w 30"/>
                <a:gd name="T57" fmla="*/ 51 h 59"/>
                <a:gd name="T58" fmla="*/ 3 w 30"/>
                <a:gd name="T59" fmla="*/ 53 h 59"/>
                <a:gd name="T60" fmla="*/ 4 w 30"/>
                <a:gd name="T61" fmla="*/ 55 h 59"/>
                <a:gd name="T62" fmla="*/ 6 w 30"/>
                <a:gd name="T63" fmla="*/ 57 h 59"/>
                <a:gd name="T64" fmla="*/ 9 w 30"/>
                <a:gd name="T65" fmla="*/ 58 h 59"/>
                <a:gd name="T66" fmla="*/ 11 w 30"/>
                <a:gd name="T67" fmla="*/ 59 h 59"/>
                <a:gd name="T68" fmla="*/ 15 w 30"/>
                <a:gd name="T6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59">
                  <a:moveTo>
                    <a:pt x="15" y="59"/>
                  </a:moveTo>
                  <a:lnTo>
                    <a:pt x="18" y="59"/>
                  </a:lnTo>
                  <a:lnTo>
                    <a:pt x="21" y="58"/>
                  </a:lnTo>
                  <a:lnTo>
                    <a:pt x="23" y="57"/>
                  </a:lnTo>
                  <a:lnTo>
                    <a:pt x="25" y="55"/>
                  </a:lnTo>
                  <a:lnTo>
                    <a:pt x="27" y="53"/>
                  </a:lnTo>
                  <a:lnTo>
                    <a:pt x="28" y="51"/>
                  </a:lnTo>
                  <a:lnTo>
                    <a:pt x="30" y="48"/>
                  </a:lnTo>
                  <a:lnTo>
                    <a:pt x="30" y="44"/>
                  </a:lnTo>
                  <a:lnTo>
                    <a:pt x="30" y="14"/>
                  </a:lnTo>
                  <a:lnTo>
                    <a:pt x="30" y="11"/>
                  </a:lnTo>
                  <a:lnTo>
                    <a:pt x="28" y="9"/>
                  </a:lnTo>
                  <a:lnTo>
                    <a:pt x="27" y="6"/>
                  </a:lnTo>
                  <a:lnTo>
                    <a:pt x="25" y="4"/>
                  </a:lnTo>
                  <a:lnTo>
                    <a:pt x="23" y="2"/>
                  </a:lnTo>
                  <a:lnTo>
                    <a:pt x="21" y="1"/>
                  </a:lnTo>
                  <a:lnTo>
                    <a:pt x="18" y="0"/>
                  </a:lnTo>
                  <a:lnTo>
                    <a:pt x="15" y="0"/>
                  </a:lnTo>
                  <a:lnTo>
                    <a:pt x="11" y="0"/>
                  </a:lnTo>
                  <a:lnTo>
                    <a:pt x="9" y="1"/>
                  </a:lnTo>
                  <a:lnTo>
                    <a:pt x="6" y="2"/>
                  </a:lnTo>
                  <a:lnTo>
                    <a:pt x="4" y="4"/>
                  </a:lnTo>
                  <a:lnTo>
                    <a:pt x="3" y="6"/>
                  </a:lnTo>
                  <a:lnTo>
                    <a:pt x="1" y="9"/>
                  </a:lnTo>
                  <a:lnTo>
                    <a:pt x="0" y="11"/>
                  </a:lnTo>
                  <a:lnTo>
                    <a:pt x="0" y="14"/>
                  </a:lnTo>
                  <a:lnTo>
                    <a:pt x="0" y="44"/>
                  </a:lnTo>
                  <a:lnTo>
                    <a:pt x="0" y="48"/>
                  </a:lnTo>
                  <a:lnTo>
                    <a:pt x="1" y="51"/>
                  </a:lnTo>
                  <a:lnTo>
                    <a:pt x="3" y="53"/>
                  </a:lnTo>
                  <a:lnTo>
                    <a:pt x="4" y="55"/>
                  </a:lnTo>
                  <a:lnTo>
                    <a:pt x="6" y="57"/>
                  </a:lnTo>
                  <a:lnTo>
                    <a:pt x="9" y="58"/>
                  </a:lnTo>
                  <a:lnTo>
                    <a:pt x="11" y="59"/>
                  </a:lnTo>
                  <a:lnTo>
                    <a:pt x="1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29" name="Freeform 64">
              <a:extLst>
                <a:ext uri="{FF2B5EF4-FFF2-40B4-BE49-F238E27FC236}">
                  <a16:creationId xmlns:a16="http://schemas.microsoft.com/office/drawing/2014/main" id="{DD51ABC4-7B6F-4CBF-9A77-33DE8161FDEA}"/>
                </a:ext>
              </a:extLst>
            </p:cNvPr>
            <p:cNvSpPr>
              <a:spLocks/>
            </p:cNvSpPr>
            <p:nvPr/>
          </p:nvSpPr>
          <p:spPr bwMode="auto">
            <a:xfrm>
              <a:off x="925513" y="788988"/>
              <a:ext cx="17463" cy="19050"/>
            </a:xfrm>
            <a:custGeom>
              <a:avLst/>
              <a:gdLst>
                <a:gd name="T0" fmla="*/ 44 w 59"/>
                <a:gd name="T1" fmla="*/ 60 h 60"/>
                <a:gd name="T2" fmla="*/ 47 w 59"/>
                <a:gd name="T3" fmla="*/ 59 h 60"/>
                <a:gd name="T4" fmla="*/ 50 w 59"/>
                <a:gd name="T5" fmla="*/ 59 h 60"/>
                <a:gd name="T6" fmla="*/ 52 w 59"/>
                <a:gd name="T7" fmla="*/ 57 h 60"/>
                <a:gd name="T8" fmla="*/ 54 w 59"/>
                <a:gd name="T9" fmla="*/ 56 h 60"/>
                <a:gd name="T10" fmla="*/ 57 w 59"/>
                <a:gd name="T11" fmla="*/ 54 h 60"/>
                <a:gd name="T12" fmla="*/ 58 w 59"/>
                <a:gd name="T13" fmla="*/ 52 h 60"/>
                <a:gd name="T14" fmla="*/ 59 w 59"/>
                <a:gd name="T15" fmla="*/ 49 h 60"/>
                <a:gd name="T16" fmla="*/ 59 w 59"/>
                <a:gd name="T17" fmla="*/ 45 h 60"/>
                <a:gd name="T18" fmla="*/ 59 w 59"/>
                <a:gd name="T19" fmla="*/ 43 h 60"/>
                <a:gd name="T20" fmla="*/ 58 w 59"/>
                <a:gd name="T21" fmla="*/ 40 h 60"/>
                <a:gd name="T22" fmla="*/ 57 w 59"/>
                <a:gd name="T23" fmla="*/ 37 h 60"/>
                <a:gd name="T24" fmla="*/ 54 w 59"/>
                <a:gd name="T25" fmla="*/ 35 h 60"/>
                <a:gd name="T26" fmla="*/ 24 w 59"/>
                <a:gd name="T27" fmla="*/ 5 h 60"/>
                <a:gd name="T28" fmla="*/ 22 w 59"/>
                <a:gd name="T29" fmla="*/ 3 h 60"/>
                <a:gd name="T30" fmla="*/ 20 w 59"/>
                <a:gd name="T31" fmla="*/ 2 h 60"/>
                <a:gd name="T32" fmla="*/ 17 w 59"/>
                <a:gd name="T33" fmla="*/ 0 h 60"/>
                <a:gd name="T34" fmla="*/ 15 w 59"/>
                <a:gd name="T35" fmla="*/ 0 h 60"/>
                <a:gd name="T36" fmla="*/ 12 w 59"/>
                <a:gd name="T37" fmla="*/ 0 h 60"/>
                <a:gd name="T38" fmla="*/ 8 w 59"/>
                <a:gd name="T39" fmla="*/ 2 h 60"/>
                <a:gd name="T40" fmla="*/ 6 w 59"/>
                <a:gd name="T41" fmla="*/ 3 h 60"/>
                <a:gd name="T42" fmla="*/ 4 w 59"/>
                <a:gd name="T43" fmla="*/ 5 h 60"/>
                <a:gd name="T44" fmla="*/ 2 w 59"/>
                <a:gd name="T45" fmla="*/ 7 h 60"/>
                <a:gd name="T46" fmla="*/ 1 w 59"/>
                <a:gd name="T47" fmla="*/ 10 h 60"/>
                <a:gd name="T48" fmla="*/ 0 w 59"/>
                <a:gd name="T49" fmla="*/ 13 h 60"/>
                <a:gd name="T50" fmla="*/ 0 w 59"/>
                <a:gd name="T51" fmla="*/ 15 h 60"/>
                <a:gd name="T52" fmla="*/ 0 w 59"/>
                <a:gd name="T53" fmla="*/ 19 h 60"/>
                <a:gd name="T54" fmla="*/ 1 w 59"/>
                <a:gd name="T55" fmla="*/ 22 h 60"/>
                <a:gd name="T56" fmla="*/ 2 w 59"/>
                <a:gd name="T57" fmla="*/ 24 h 60"/>
                <a:gd name="T58" fmla="*/ 4 w 59"/>
                <a:gd name="T59" fmla="*/ 26 h 60"/>
                <a:gd name="T60" fmla="*/ 34 w 59"/>
                <a:gd name="T61" fmla="*/ 56 h 60"/>
                <a:gd name="T62" fmla="*/ 36 w 59"/>
                <a:gd name="T63" fmla="*/ 57 h 60"/>
                <a:gd name="T64" fmla="*/ 38 w 59"/>
                <a:gd name="T65" fmla="*/ 59 h 60"/>
                <a:gd name="T66" fmla="*/ 42 w 59"/>
                <a:gd name="T67" fmla="*/ 59 h 60"/>
                <a:gd name="T68" fmla="*/ 44 w 59"/>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0">
                  <a:moveTo>
                    <a:pt x="44" y="60"/>
                  </a:moveTo>
                  <a:lnTo>
                    <a:pt x="47" y="59"/>
                  </a:lnTo>
                  <a:lnTo>
                    <a:pt x="50" y="59"/>
                  </a:lnTo>
                  <a:lnTo>
                    <a:pt x="52" y="57"/>
                  </a:lnTo>
                  <a:lnTo>
                    <a:pt x="54" y="56"/>
                  </a:lnTo>
                  <a:lnTo>
                    <a:pt x="57" y="54"/>
                  </a:lnTo>
                  <a:lnTo>
                    <a:pt x="58" y="52"/>
                  </a:lnTo>
                  <a:lnTo>
                    <a:pt x="59" y="49"/>
                  </a:lnTo>
                  <a:lnTo>
                    <a:pt x="59" y="45"/>
                  </a:lnTo>
                  <a:lnTo>
                    <a:pt x="59" y="43"/>
                  </a:lnTo>
                  <a:lnTo>
                    <a:pt x="58" y="40"/>
                  </a:lnTo>
                  <a:lnTo>
                    <a:pt x="57" y="37"/>
                  </a:lnTo>
                  <a:lnTo>
                    <a:pt x="54" y="35"/>
                  </a:lnTo>
                  <a:lnTo>
                    <a:pt x="24" y="5"/>
                  </a:lnTo>
                  <a:lnTo>
                    <a:pt x="22" y="3"/>
                  </a:lnTo>
                  <a:lnTo>
                    <a:pt x="20" y="2"/>
                  </a:lnTo>
                  <a:lnTo>
                    <a:pt x="17" y="0"/>
                  </a:lnTo>
                  <a:lnTo>
                    <a:pt x="15" y="0"/>
                  </a:lnTo>
                  <a:lnTo>
                    <a:pt x="12" y="0"/>
                  </a:lnTo>
                  <a:lnTo>
                    <a:pt x="8" y="2"/>
                  </a:lnTo>
                  <a:lnTo>
                    <a:pt x="6" y="3"/>
                  </a:lnTo>
                  <a:lnTo>
                    <a:pt x="4" y="5"/>
                  </a:lnTo>
                  <a:lnTo>
                    <a:pt x="2" y="7"/>
                  </a:lnTo>
                  <a:lnTo>
                    <a:pt x="1" y="10"/>
                  </a:lnTo>
                  <a:lnTo>
                    <a:pt x="0" y="13"/>
                  </a:lnTo>
                  <a:lnTo>
                    <a:pt x="0" y="15"/>
                  </a:lnTo>
                  <a:lnTo>
                    <a:pt x="0" y="19"/>
                  </a:lnTo>
                  <a:lnTo>
                    <a:pt x="1" y="22"/>
                  </a:lnTo>
                  <a:lnTo>
                    <a:pt x="2" y="24"/>
                  </a:lnTo>
                  <a:lnTo>
                    <a:pt x="4" y="26"/>
                  </a:lnTo>
                  <a:lnTo>
                    <a:pt x="34" y="56"/>
                  </a:lnTo>
                  <a:lnTo>
                    <a:pt x="36" y="57"/>
                  </a:lnTo>
                  <a:lnTo>
                    <a:pt x="38" y="59"/>
                  </a:lnTo>
                  <a:lnTo>
                    <a:pt x="42" y="59"/>
                  </a:lnTo>
                  <a:lnTo>
                    <a:pt x="4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0" name="Freeform 65">
              <a:extLst>
                <a:ext uri="{FF2B5EF4-FFF2-40B4-BE49-F238E27FC236}">
                  <a16:creationId xmlns:a16="http://schemas.microsoft.com/office/drawing/2014/main" id="{80023D23-9DCA-4391-A631-5B889CCDC706}"/>
                </a:ext>
              </a:extLst>
            </p:cNvPr>
            <p:cNvSpPr>
              <a:spLocks/>
            </p:cNvSpPr>
            <p:nvPr/>
          </p:nvSpPr>
          <p:spPr bwMode="auto">
            <a:xfrm>
              <a:off x="1085850" y="793750"/>
              <a:ext cx="19050" cy="19050"/>
            </a:xfrm>
            <a:custGeom>
              <a:avLst/>
              <a:gdLst>
                <a:gd name="T0" fmla="*/ 15 w 60"/>
                <a:gd name="T1" fmla="*/ 60 h 60"/>
                <a:gd name="T2" fmla="*/ 19 w 60"/>
                <a:gd name="T3" fmla="*/ 59 h 60"/>
                <a:gd name="T4" fmla="*/ 21 w 60"/>
                <a:gd name="T5" fmla="*/ 59 h 60"/>
                <a:gd name="T6" fmla="*/ 24 w 60"/>
                <a:gd name="T7" fmla="*/ 57 h 60"/>
                <a:gd name="T8" fmla="*/ 26 w 60"/>
                <a:gd name="T9" fmla="*/ 56 h 60"/>
                <a:gd name="T10" fmla="*/ 56 w 60"/>
                <a:gd name="T11" fmla="*/ 26 h 60"/>
                <a:gd name="T12" fmla="*/ 58 w 60"/>
                <a:gd name="T13" fmla="*/ 24 h 60"/>
                <a:gd name="T14" fmla="*/ 59 w 60"/>
                <a:gd name="T15" fmla="*/ 22 h 60"/>
                <a:gd name="T16" fmla="*/ 60 w 60"/>
                <a:gd name="T17" fmla="*/ 19 h 60"/>
                <a:gd name="T18" fmla="*/ 60 w 60"/>
                <a:gd name="T19" fmla="*/ 15 h 60"/>
                <a:gd name="T20" fmla="*/ 60 w 60"/>
                <a:gd name="T21" fmla="*/ 13 h 60"/>
                <a:gd name="T22" fmla="*/ 59 w 60"/>
                <a:gd name="T23" fmla="*/ 10 h 60"/>
                <a:gd name="T24" fmla="*/ 58 w 60"/>
                <a:gd name="T25" fmla="*/ 7 h 60"/>
                <a:gd name="T26" fmla="*/ 56 w 60"/>
                <a:gd name="T27" fmla="*/ 5 h 60"/>
                <a:gd name="T28" fmla="*/ 54 w 60"/>
                <a:gd name="T29" fmla="*/ 3 h 60"/>
                <a:gd name="T30" fmla="*/ 51 w 60"/>
                <a:gd name="T31" fmla="*/ 2 h 60"/>
                <a:gd name="T32" fmla="*/ 49 w 60"/>
                <a:gd name="T33" fmla="*/ 0 h 60"/>
                <a:gd name="T34" fmla="*/ 45 w 60"/>
                <a:gd name="T35" fmla="*/ 0 h 60"/>
                <a:gd name="T36" fmla="*/ 42 w 60"/>
                <a:gd name="T37" fmla="*/ 0 h 60"/>
                <a:gd name="T38" fmla="*/ 40 w 60"/>
                <a:gd name="T39" fmla="*/ 2 h 60"/>
                <a:gd name="T40" fmla="*/ 37 w 60"/>
                <a:gd name="T41" fmla="*/ 3 h 60"/>
                <a:gd name="T42" fmla="*/ 35 w 60"/>
                <a:gd name="T43" fmla="*/ 5 h 60"/>
                <a:gd name="T44" fmla="*/ 5 w 60"/>
                <a:gd name="T45" fmla="*/ 35 h 60"/>
                <a:gd name="T46" fmla="*/ 3 w 60"/>
                <a:gd name="T47" fmla="*/ 37 h 60"/>
                <a:gd name="T48" fmla="*/ 1 w 60"/>
                <a:gd name="T49" fmla="*/ 40 h 60"/>
                <a:gd name="T50" fmla="*/ 0 w 60"/>
                <a:gd name="T51" fmla="*/ 43 h 60"/>
                <a:gd name="T52" fmla="*/ 0 w 60"/>
                <a:gd name="T53" fmla="*/ 45 h 60"/>
                <a:gd name="T54" fmla="*/ 0 w 60"/>
                <a:gd name="T55" fmla="*/ 49 h 60"/>
                <a:gd name="T56" fmla="*/ 1 w 60"/>
                <a:gd name="T57" fmla="*/ 52 h 60"/>
                <a:gd name="T58" fmla="*/ 3 w 60"/>
                <a:gd name="T59" fmla="*/ 54 h 60"/>
                <a:gd name="T60" fmla="*/ 5 w 60"/>
                <a:gd name="T61" fmla="*/ 56 h 60"/>
                <a:gd name="T62" fmla="*/ 7 w 60"/>
                <a:gd name="T63" fmla="*/ 57 h 60"/>
                <a:gd name="T64" fmla="*/ 10 w 60"/>
                <a:gd name="T65" fmla="*/ 59 h 60"/>
                <a:gd name="T66" fmla="*/ 12 w 60"/>
                <a:gd name="T67" fmla="*/ 59 h 60"/>
                <a:gd name="T68" fmla="*/ 15 w 60"/>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0">
                  <a:moveTo>
                    <a:pt x="15" y="60"/>
                  </a:moveTo>
                  <a:lnTo>
                    <a:pt x="19" y="59"/>
                  </a:lnTo>
                  <a:lnTo>
                    <a:pt x="21" y="59"/>
                  </a:lnTo>
                  <a:lnTo>
                    <a:pt x="24" y="57"/>
                  </a:lnTo>
                  <a:lnTo>
                    <a:pt x="26" y="56"/>
                  </a:lnTo>
                  <a:lnTo>
                    <a:pt x="56" y="26"/>
                  </a:lnTo>
                  <a:lnTo>
                    <a:pt x="58" y="24"/>
                  </a:lnTo>
                  <a:lnTo>
                    <a:pt x="59" y="22"/>
                  </a:lnTo>
                  <a:lnTo>
                    <a:pt x="60" y="19"/>
                  </a:lnTo>
                  <a:lnTo>
                    <a:pt x="60" y="15"/>
                  </a:lnTo>
                  <a:lnTo>
                    <a:pt x="60" y="13"/>
                  </a:lnTo>
                  <a:lnTo>
                    <a:pt x="59" y="10"/>
                  </a:lnTo>
                  <a:lnTo>
                    <a:pt x="58" y="7"/>
                  </a:lnTo>
                  <a:lnTo>
                    <a:pt x="56" y="5"/>
                  </a:lnTo>
                  <a:lnTo>
                    <a:pt x="54" y="3"/>
                  </a:lnTo>
                  <a:lnTo>
                    <a:pt x="51" y="2"/>
                  </a:lnTo>
                  <a:lnTo>
                    <a:pt x="49" y="0"/>
                  </a:lnTo>
                  <a:lnTo>
                    <a:pt x="45" y="0"/>
                  </a:lnTo>
                  <a:lnTo>
                    <a:pt x="42" y="0"/>
                  </a:lnTo>
                  <a:lnTo>
                    <a:pt x="40" y="2"/>
                  </a:lnTo>
                  <a:lnTo>
                    <a:pt x="37" y="3"/>
                  </a:lnTo>
                  <a:lnTo>
                    <a:pt x="35" y="5"/>
                  </a:lnTo>
                  <a:lnTo>
                    <a:pt x="5" y="35"/>
                  </a:lnTo>
                  <a:lnTo>
                    <a:pt x="3" y="37"/>
                  </a:lnTo>
                  <a:lnTo>
                    <a:pt x="1" y="40"/>
                  </a:lnTo>
                  <a:lnTo>
                    <a:pt x="0" y="43"/>
                  </a:lnTo>
                  <a:lnTo>
                    <a:pt x="0" y="45"/>
                  </a:lnTo>
                  <a:lnTo>
                    <a:pt x="0" y="49"/>
                  </a:lnTo>
                  <a:lnTo>
                    <a:pt x="1" y="52"/>
                  </a:lnTo>
                  <a:lnTo>
                    <a:pt x="3" y="54"/>
                  </a:lnTo>
                  <a:lnTo>
                    <a:pt x="5" y="56"/>
                  </a:lnTo>
                  <a:lnTo>
                    <a:pt x="7" y="57"/>
                  </a:lnTo>
                  <a:lnTo>
                    <a:pt x="10" y="59"/>
                  </a:lnTo>
                  <a:lnTo>
                    <a:pt x="12" y="59"/>
                  </a:ln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1" name="Freeform 66">
              <a:extLst>
                <a:ext uri="{FF2B5EF4-FFF2-40B4-BE49-F238E27FC236}">
                  <a16:creationId xmlns:a16="http://schemas.microsoft.com/office/drawing/2014/main" id="{D9C1A4E2-9FAE-41D8-AD5F-1CE6048982F7}"/>
                </a:ext>
              </a:extLst>
            </p:cNvPr>
            <p:cNvSpPr>
              <a:spLocks/>
            </p:cNvSpPr>
            <p:nvPr/>
          </p:nvSpPr>
          <p:spPr bwMode="auto">
            <a:xfrm>
              <a:off x="906463" y="874713"/>
              <a:ext cx="19050" cy="9525"/>
            </a:xfrm>
            <a:custGeom>
              <a:avLst/>
              <a:gdLst>
                <a:gd name="T0" fmla="*/ 45 w 60"/>
                <a:gd name="T1" fmla="*/ 0 h 30"/>
                <a:gd name="T2" fmla="*/ 15 w 60"/>
                <a:gd name="T3" fmla="*/ 0 h 30"/>
                <a:gd name="T4" fmla="*/ 12 w 60"/>
                <a:gd name="T5" fmla="*/ 1 h 30"/>
                <a:gd name="T6" fmla="*/ 8 w 60"/>
                <a:gd name="T7" fmla="*/ 2 h 30"/>
                <a:gd name="T8" fmla="*/ 6 w 60"/>
                <a:gd name="T9" fmla="*/ 3 h 30"/>
                <a:gd name="T10" fmla="*/ 4 w 60"/>
                <a:gd name="T11" fmla="*/ 5 h 30"/>
                <a:gd name="T12" fmla="*/ 2 w 60"/>
                <a:gd name="T13" fmla="*/ 8 h 30"/>
                <a:gd name="T14" fmla="*/ 1 w 60"/>
                <a:gd name="T15" fmla="*/ 10 h 30"/>
                <a:gd name="T16" fmla="*/ 0 w 60"/>
                <a:gd name="T17" fmla="*/ 13 h 30"/>
                <a:gd name="T18" fmla="*/ 0 w 60"/>
                <a:gd name="T19" fmla="*/ 15 h 30"/>
                <a:gd name="T20" fmla="*/ 0 w 60"/>
                <a:gd name="T21" fmla="*/ 18 h 30"/>
                <a:gd name="T22" fmla="*/ 1 w 60"/>
                <a:gd name="T23" fmla="*/ 22 h 30"/>
                <a:gd name="T24" fmla="*/ 2 w 60"/>
                <a:gd name="T25" fmla="*/ 25 h 30"/>
                <a:gd name="T26" fmla="*/ 4 w 60"/>
                <a:gd name="T27" fmla="*/ 27 h 30"/>
                <a:gd name="T28" fmla="*/ 6 w 60"/>
                <a:gd name="T29" fmla="*/ 28 h 30"/>
                <a:gd name="T30" fmla="*/ 8 w 60"/>
                <a:gd name="T31" fmla="*/ 29 h 30"/>
                <a:gd name="T32" fmla="*/ 12 w 60"/>
                <a:gd name="T33" fmla="*/ 30 h 30"/>
                <a:gd name="T34" fmla="*/ 15 w 60"/>
                <a:gd name="T35" fmla="*/ 30 h 30"/>
                <a:gd name="T36" fmla="*/ 45 w 60"/>
                <a:gd name="T37" fmla="*/ 30 h 30"/>
                <a:gd name="T38" fmla="*/ 47 w 60"/>
                <a:gd name="T39" fmla="*/ 30 h 30"/>
                <a:gd name="T40" fmla="*/ 50 w 60"/>
                <a:gd name="T41" fmla="*/ 29 h 30"/>
                <a:gd name="T42" fmla="*/ 52 w 60"/>
                <a:gd name="T43" fmla="*/ 28 h 30"/>
                <a:gd name="T44" fmla="*/ 54 w 60"/>
                <a:gd name="T45" fmla="*/ 27 h 30"/>
                <a:gd name="T46" fmla="*/ 57 w 60"/>
                <a:gd name="T47" fmla="*/ 25 h 30"/>
                <a:gd name="T48" fmla="*/ 58 w 60"/>
                <a:gd name="T49" fmla="*/ 22 h 30"/>
                <a:gd name="T50" fmla="*/ 59 w 60"/>
                <a:gd name="T51" fmla="*/ 18 h 30"/>
                <a:gd name="T52" fmla="*/ 60 w 60"/>
                <a:gd name="T53" fmla="*/ 15 h 30"/>
                <a:gd name="T54" fmla="*/ 59 w 60"/>
                <a:gd name="T55" fmla="*/ 13 h 30"/>
                <a:gd name="T56" fmla="*/ 58 w 60"/>
                <a:gd name="T57" fmla="*/ 10 h 30"/>
                <a:gd name="T58" fmla="*/ 57 w 60"/>
                <a:gd name="T59" fmla="*/ 8 h 30"/>
                <a:gd name="T60" fmla="*/ 54 w 60"/>
                <a:gd name="T61" fmla="*/ 5 h 30"/>
                <a:gd name="T62" fmla="*/ 52 w 60"/>
                <a:gd name="T63" fmla="*/ 3 h 30"/>
                <a:gd name="T64" fmla="*/ 50 w 60"/>
                <a:gd name="T65" fmla="*/ 2 h 30"/>
                <a:gd name="T66" fmla="*/ 47 w 60"/>
                <a:gd name="T67" fmla="*/ 1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1"/>
                  </a:lnTo>
                  <a:lnTo>
                    <a:pt x="8" y="2"/>
                  </a:lnTo>
                  <a:lnTo>
                    <a:pt x="6" y="3"/>
                  </a:lnTo>
                  <a:lnTo>
                    <a:pt x="4" y="5"/>
                  </a:lnTo>
                  <a:lnTo>
                    <a:pt x="2" y="8"/>
                  </a:lnTo>
                  <a:lnTo>
                    <a:pt x="1" y="10"/>
                  </a:lnTo>
                  <a:lnTo>
                    <a:pt x="0" y="13"/>
                  </a:lnTo>
                  <a:lnTo>
                    <a:pt x="0" y="15"/>
                  </a:lnTo>
                  <a:lnTo>
                    <a:pt x="0" y="18"/>
                  </a:lnTo>
                  <a:lnTo>
                    <a:pt x="1" y="22"/>
                  </a:lnTo>
                  <a:lnTo>
                    <a:pt x="2" y="25"/>
                  </a:lnTo>
                  <a:lnTo>
                    <a:pt x="4" y="27"/>
                  </a:lnTo>
                  <a:lnTo>
                    <a:pt x="6" y="28"/>
                  </a:lnTo>
                  <a:lnTo>
                    <a:pt x="8" y="29"/>
                  </a:lnTo>
                  <a:lnTo>
                    <a:pt x="12" y="30"/>
                  </a:lnTo>
                  <a:lnTo>
                    <a:pt x="15" y="30"/>
                  </a:lnTo>
                  <a:lnTo>
                    <a:pt x="45" y="30"/>
                  </a:lnTo>
                  <a:lnTo>
                    <a:pt x="47" y="30"/>
                  </a:lnTo>
                  <a:lnTo>
                    <a:pt x="50" y="29"/>
                  </a:lnTo>
                  <a:lnTo>
                    <a:pt x="52" y="28"/>
                  </a:lnTo>
                  <a:lnTo>
                    <a:pt x="54" y="27"/>
                  </a:lnTo>
                  <a:lnTo>
                    <a:pt x="57" y="25"/>
                  </a:lnTo>
                  <a:lnTo>
                    <a:pt x="58" y="22"/>
                  </a:lnTo>
                  <a:lnTo>
                    <a:pt x="59" y="18"/>
                  </a:lnTo>
                  <a:lnTo>
                    <a:pt x="60" y="15"/>
                  </a:lnTo>
                  <a:lnTo>
                    <a:pt x="59" y="13"/>
                  </a:lnTo>
                  <a:lnTo>
                    <a:pt x="58" y="10"/>
                  </a:lnTo>
                  <a:lnTo>
                    <a:pt x="57" y="8"/>
                  </a:lnTo>
                  <a:lnTo>
                    <a:pt x="54" y="5"/>
                  </a:lnTo>
                  <a:lnTo>
                    <a:pt x="52" y="3"/>
                  </a:lnTo>
                  <a:lnTo>
                    <a:pt x="50" y="2"/>
                  </a:lnTo>
                  <a:lnTo>
                    <a:pt x="47"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2" name="Freeform 67">
              <a:extLst>
                <a:ext uri="{FF2B5EF4-FFF2-40B4-BE49-F238E27FC236}">
                  <a16:creationId xmlns:a16="http://schemas.microsoft.com/office/drawing/2014/main" id="{D3637077-C95A-4BC3-BA8F-1863B4893F37}"/>
                </a:ext>
              </a:extLst>
            </p:cNvPr>
            <p:cNvSpPr>
              <a:spLocks noEditPoints="1"/>
            </p:cNvSpPr>
            <p:nvPr/>
          </p:nvSpPr>
          <p:spPr bwMode="auto">
            <a:xfrm>
              <a:off x="933450" y="865188"/>
              <a:ext cx="257175" cy="190500"/>
            </a:xfrm>
            <a:custGeom>
              <a:avLst/>
              <a:gdLst>
                <a:gd name="T0" fmla="*/ 174 w 808"/>
                <a:gd name="T1" fmla="*/ 564 h 599"/>
                <a:gd name="T2" fmla="*/ 111 w 808"/>
                <a:gd name="T3" fmla="*/ 536 h 599"/>
                <a:gd name="T4" fmla="*/ 62 w 808"/>
                <a:gd name="T5" fmla="*/ 487 h 599"/>
                <a:gd name="T6" fmla="*/ 34 w 808"/>
                <a:gd name="T7" fmla="*/ 424 h 599"/>
                <a:gd name="T8" fmla="*/ 34 w 808"/>
                <a:gd name="T9" fmla="*/ 356 h 599"/>
                <a:gd name="T10" fmla="*/ 59 w 808"/>
                <a:gd name="T11" fmla="*/ 296 h 599"/>
                <a:gd name="T12" fmla="*/ 105 w 808"/>
                <a:gd name="T13" fmla="*/ 246 h 599"/>
                <a:gd name="T14" fmla="*/ 164 w 808"/>
                <a:gd name="T15" fmla="*/ 215 h 599"/>
                <a:gd name="T16" fmla="*/ 205 w 808"/>
                <a:gd name="T17" fmla="*/ 206 h 599"/>
                <a:gd name="T18" fmla="*/ 213 w 808"/>
                <a:gd name="T19" fmla="*/ 177 h 599"/>
                <a:gd name="T20" fmla="*/ 233 w 808"/>
                <a:gd name="T21" fmla="*/ 127 h 599"/>
                <a:gd name="T22" fmla="*/ 282 w 808"/>
                <a:gd name="T23" fmla="*/ 74 h 599"/>
                <a:gd name="T24" fmla="*/ 348 w 808"/>
                <a:gd name="T25" fmla="*/ 41 h 599"/>
                <a:gd name="T26" fmla="*/ 419 w 808"/>
                <a:gd name="T27" fmla="*/ 29 h 599"/>
                <a:gd name="T28" fmla="*/ 479 w 808"/>
                <a:gd name="T29" fmla="*/ 42 h 599"/>
                <a:gd name="T30" fmla="*/ 531 w 808"/>
                <a:gd name="T31" fmla="*/ 74 h 599"/>
                <a:gd name="T32" fmla="*/ 573 w 808"/>
                <a:gd name="T33" fmla="*/ 119 h 599"/>
                <a:gd name="T34" fmla="*/ 600 w 808"/>
                <a:gd name="T35" fmla="*/ 170 h 599"/>
                <a:gd name="T36" fmla="*/ 615 w 808"/>
                <a:gd name="T37" fmla="*/ 179 h 599"/>
                <a:gd name="T38" fmla="*/ 675 w 808"/>
                <a:gd name="T39" fmla="*/ 186 h 599"/>
                <a:gd name="T40" fmla="*/ 709 w 808"/>
                <a:gd name="T41" fmla="*/ 208 h 599"/>
                <a:gd name="T42" fmla="*/ 725 w 808"/>
                <a:gd name="T43" fmla="*/ 235 h 599"/>
                <a:gd name="T44" fmla="*/ 727 w 808"/>
                <a:gd name="T45" fmla="*/ 273 h 599"/>
                <a:gd name="T46" fmla="*/ 719 w 808"/>
                <a:gd name="T47" fmla="*/ 304 h 599"/>
                <a:gd name="T48" fmla="*/ 737 w 808"/>
                <a:gd name="T49" fmla="*/ 321 h 599"/>
                <a:gd name="T50" fmla="*/ 764 w 808"/>
                <a:gd name="T51" fmla="*/ 361 h 599"/>
                <a:gd name="T52" fmla="*/ 778 w 808"/>
                <a:gd name="T53" fmla="*/ 434 h 599"/>
                <a:gd name="T54" fmla="*/ 767 w 808"/>
                <a:gd name="T55" fmla="*/ 486 h 599"/>
                <a:gd name="T56" fmla="*/ 738 w 808"/>
                <a:gd name="T57" fmla="*/ 529 h 599"/>
                <a:gd name="T58" fmla="*/ 696 w 808"/>
                <a:gd name="T59" fmla="*/ 558 h 599"/>
                <a:gd name="T60" fmla="*/ 642 w 808"/>
                <a:gd name="T61" fmla="*/ 569 h 599"/>
                <a:gd name="T62" fmla="*/ 758 w 808"/>
                <a:gd name="T63" fmla="*/ 258 h 599"/>
                <a:gd name="T64" fmla="*/ 747 w 808"/>
                <a:gd name="T65" fmla="*/ 212 h 599"/>
                <a:gd name="T66" fmla="*/ 727 w 808"/>
                <a:gd name="T67" fmla="*/ 183 h 599"/>
                <a:gd name="T68" fmla="*/ 700 w 808"/>
                <a:gd name="T69" fmla="*/ 165 h 599"/>
                <a:gd name="T70" fmla="*/ 642 w 808"/>
                <a:gd name="T71" fmla="*/ 149 h 599"/>
                <a:gd name="T72" fmla="*/ 601 w 808"/>
                <a:gd name="T73" fmla="*/ 108 h 599"/>
                <a:gd name="T74" fmla="*/ 559 w 808"/>
                <a:gd name="T75" fmla="*/ 58 h 599"/>
                <a:gd name="T76" fmla="*/ 503 w 808"/>
                <a:gd name="T77" fmla="*/ 19 h 599"/>
                <a:gd name="T78" fmla="*/ 438 w 808"/>
                <a:gd name="T79" fmla="*/ 0 h 599"/>
                <a:gd name="T80" fmla="*/ 349 w 808"/>
                <a:gd name="T81" fmla="*/ 9 h 599"/>
                <a:gd name="T82" fmla="*/ 272 w 808"/>
                <a:gd name="T83" fmla="*/ 44 h 599"/>
                <a:gd name="T84" fmla="*/ 216 w 808"/>
                <a:gd name="T85" fmla="*/ 99 h 599"/>
                <a:gd name="T86" fmla="*/ 185 w 808"/>
                <a:gd name="T87" fmla="*/ 164 h 599"/>
                <a:gd name="T88" fmla="*/ 128 w 808"/>
                <a:gd name="T89" fmla="*/ 197 h 599"/>
                <a:gd name="T90" fmla="*/ 66 w 808"/>
                <a:gd name="T91" fmla="*/ 240 h 599"/>
                <a:gd name="T92" fmla="*/ 22 w 808"/>
                <a:gd name="T93" fmla="*/ 300 h 599"/>
                <a:gd name="T94" fmla="*/ 1 w 808"/>
                <a:gd name="T95" fmla="*/ 371 h 599"/>
                <a:gd name="T96" fmla="*/ 3 w 808"/>
                <a:gd name="T97" fmla="*/ 420 h 599"/>
                <a:gd name="T98" fmla="*/ 27 w 808"/>
                <a:gd name="T99" fmla="*/ 487 h 599"/>
                <a:gd name="T100" fmla="*/ 78 w 808"/>
                <a:gd name="T101" fmla="*/ 549 h 599"/>
                <a:gd name="T102" fmla="*/ 149 w 808"/>
                <a:gd name="T103" fmla="*/ 589 h 599"/>
                <a:gd name="T104" fmla="*/ 199 w 808"/>
                <a:gd name="T105" fmla="*/ 597 h 599"/>
                <a:gd name="T106" fmla="*/ 676 w 808"/>
                <a:gd name="T107" fmla="*/ 595 h 599"/>
                <a:gd name="T108" fmla="*/ 735 w 808"/>
                <a:gd name="T109" fmla="*/ 571 h 599"/>
                <a:gd name="T110" fmla="*/ 780 w 808"/>
                <a:gd name="T111" fmla="*/ 526 h 599"/>
                <a:gd name="T112" fmla="*/ 805 w 808"/>
                <a:gd name="T113" fmla="*/ 467 h 599"/>
                <a:gd name="T114" fmla="*/ 806 w 808"/>
                <a:gd name="T115" fmla="*/ 397 h 599"/>
                <a:gd name="T116" fmla="*/ 788 w 808"/>
                <a:gd name="T117" fmla="*/ 342 h 599"/>
                <a:gd name="T118" fmla="*/ 766 w 808"/>
                <a:gd name="T119" fmla="*/ 30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8" h="599">
                  <a:moveTo>
                    <a:pt x="642" y="569"/>
                  </a:moveTo>
                  <a:lnTo>
                    <a:pt x="210" y="569"/>
                  </a:lnTo>
                  <a:lnTo>
                    <a:pt x="192" y="568"/>
                  </a:lnTo>
                  <a:lnTo>
                    <a:pt x="174" y="564"/>
                  </a:lnTo>
                  <a:lnTo>
                    <a:pt x="158" y="560"/>
                  </a:lnTo>
                  <a:lnTo>
                    <a:pt x="141" y="554"/>
                  </a:lnTo>
                  <a:lnTo>
                    <a:pt x="126" y="546"/>
                  </a:lnTo>
                  <a:lnTo>
                    <a:pt x="111" y="536"/>
                  </a:lnTo>
                  <a:lnTo>
                    <a:pt x="97" y="526"/>
                  </a:lnTo>
                  <a:lnTo>
                    <a:pt x="84" y="514"/>
                  </a:lnTo>
                  <a:lnTo>
                    <a:pt x="73" y="501"/>
                  </a:lnTo>
                  <a:lnTo>
                    <a:pt x="62" y="487"/>
                  </a:lnTo>
                  <a:lnTo>
                    <a:pt x="52" y="473"/>
                  </a:lnTo>
                  <a:lnTo>
                    <a:pt x="45" y="457"/>
                  </a:lnTo>
                  <a:lnTo>
                    <a:pt x="38" y="441"/>
                  </a:lnTo>
                  <a:lnTo>
                    <a:pt x="34" y="424"/>
                  </a:lnTo>
                  <a:lnTo>
                    <a:pt x="31" y="407"/>
                  </a:lnTo>
                  <a:lnTo>
                    <a:pt x="30" y="389"/>
                  </a:lnTo>
                  <a:lnTo>
                    <a:pt x="31" y="373"/>
                  </a:lnTo>
                  <a:lnTo>
                    <a:pt x="34" y="356"/>
                  </a:lnTo>
                  <a:lnTo>
                    <a:pt x="38" y="341"/>
                  </a:lnTo>
                  <a:lnTo>
                    <a:pt x="44" y="325"/>
                  </a:lnTo>
                  <a:lnTo>
                    <a:pt x="50" y="310"/>
                  </a:lnTo>
                  <a:lnTo>
                    <a:pt x="59" y="296"/>
                  </a:lnTo>
                  <a:lnTo>
                    <a:pt x="68" y="282"/>
                  </a:lnTo>
                  <a:lnTo>
                    <a:pt x="79" y="269"/>
                  </a:lnTo>
                  <a:lnTo>
                    <a:pt x="92" y="257"/>
                  </a:lnTo>
                  <a:lnTo>
                    <a:pt x="105" y="246"/>
                  </a:lnTo>
                  <a:lnTo>
                    <a:pt x="118" y="237"/>
                  </a:lnTo>
                  <a:lnTo>
                    <a:pt x="133" y="228"/>
                  </a:lnTo>
                  <a:lnTo>
                    <a:pt x="147" y="222"/>
                  </a:lnTo>
                  <a:lnTo>
                    <a:pt x="164" y="215"/>
                  </a:lnTo>
                  <a:lnTo>
                    <a:pt x="180" y="212"/>
                  </a:lnTo>
                  <a:lnTo>
                    <a:pt x="197" y="209"/>
                  </a:lnTo>
                  <a:lnTo>
                    <a:pt x="201" y="208"/>
                  </a:lnTo>
                  <a:lnTo>
                    <a:pt x="205" y="206"/>
                  </a:lnTo>
                  <a:lnTo>
                    <a:pt x="209" y="201"/>
                  </a:lnTo>
                  <a:lnTo>
                    <a:pt x="210" y="196"/>
                  </a:lnTo>
                  <a:lnTo>
                    <a:pt x="211" y="186"/>
                  </a:lnTo>
                  <a:lnTo>
                    <a:pt x="213" y="177"/>
                  </a:lnTo>
                  <a:lnTo>
                    <a:pt x="215" y="168"/>
                  </a:lnTo>
                  <a:lnTo>
                    <a:pt x="217" y="160"/>
                  </a:lnTo>
                  <a:lnTo>
                    <a:pt x="225" y="143"/>
                  </a:lnTo>
                  <a:lnTo>
                    <a:pt x="233" y="127"/>
                  </a:lnTo>
                  <a:lnTo>
                    <a:pt x="244" y="113"/>
                  </a:lnTo>
                  <a:lnTo>
                    <a:pt x="256" y="99"/>
                  </a:lnTo>
                  <a:lnTo>
                    <a:pt x="268" y="86"/>
                  </a:lnTo>
                  <a:lnTo>
                    <a:pt x="282" y="74"/>
                  </a:lnTo>
                  <a:lnTo>
                    <a:pt x="298" y="64"/>
                  </a:lnTo>
                  <a:lnTo>
                    <a:pt x="315" y="56"/>
                  </a:lnTo>
                  <a:lnTo>
                    <a:pt x="331" y="47"/>
                  </a:lnTo>
                  <a:lnTo>
                    <a:pt x="348" y="41"/>
                  </a:lnTo>
                  <a:lnTo>
                    <a:pt x="366" y="37"/>
                  </a:lnTo>
                  <a:lnTo>
                    <a:pt x="384" y="32"/>
                  </a:lnTo>
                  <a:lnTo>
                    <a:pt x="401" y="30"/>
                  </a:lnTo>
                  <a:lnTo>
                    <a:pt x="419" y="29"/>
                  </a:lnTo>
                  <a:lnTo>
                    <a:pt x="434" y="30"/>
                  </a:lnTo>
                  <a:lnTo>
                    <a:pt x="449" y="32"/>
                  </a:lnTo>
                  <a:lnTo>
                    <a:pt x="464" y="37"/>
                  </a:lnTo>
                  <a:lnTo>
                    <a:pt x="479" y="42"/>
                  </a:lnTo>
                  <a:lnTo>
                    <a:pt x="492" y="48"/>
                  </a:lnTo>
                  <a:lnTo>
                    <a:pt x="506" y="56"/>
                  </a:lnTo>
                  <a:lnTo>
                    <a:pt x="519" y="64"/>
                  </a:lnTo>
                  <a:lnTo>
                    <a:pt x="531" y="74"/>
                  </a:lnTo>
                  <a:lnTo>
                    <a:pt x="543" y="84"/>
                  </a:lnTo>
                  <a:lnTo>
                    <a:pt x="553" y="94"/>
                  </a:lnTo>
                  <a:lnTo>
                    <a:pt x="563" y="106"/>
                  </a:lnTo>
                  <a:lnTo>
                    <a:pt x="573" y="119"/>
                  </a:lnTo>
                  <a:lnTo>
                    <a:pt x="580" y="131"/>
                  </a:lnTo>
                  <a:lnTo>
                    <a:pt x="588" y="144"/>
                  </a:lnTo>
                  <a:lnTo>
                    <a:pt x="595" y="158"/>
                  </a:lnTo>
                  <a:lnTo>
                    <a:pt x="600" y="170"/>
                  </a:lnTo>
                  <a:lnTo>
                    <a:pt x="603" y="175"/>
                  </a:lnTo>
                  <a:lnTo>
                    <a:pt x="607" y="178"/>
                  </a:lnTo>
                  <a:lnTo>
                    <a:pt x="611" y="179"/>
                  </a:lnTo>
                  <a:lnTo>
                    <a:pt x="615" y="179"/>
                  </a:lnTo>
                  <a:lnTo>
                    <a:pt x="631" y="179"/>
                  </a:lnTo>
                  <a:lnTo>
                    <a:pt x="646" y="179"/>
                  </a:lnTo>
                  <a:lnTo>
                    <a:pt x="661" y="182"/>
                  </a:lnTo>
                  <a:lnTo>
                    <a:pt x="675" y="186"/>
                  </a:lnTo>
                  <a:lnTo>
                    <a:pt x="687" y="192"/>
                  </a:lnTo>
                  <a:lnTo>
                    <a:pt x="699" y="199"/>
                  </a:lnTo>
                  <a:lnTo>
                    <a:pt x="704" y="204"/>
                  </a:lnTo>
                  <a:lnTo>
                    <a:pt x="709" y="208"/>
                  </a:lnTo>
                  <a:lnTo>
                    <a:pt x="713" y="213"/>
                  </a:lnTo>
                  <a:lnTo>
                    <a:pt x="716" y="219"/>
                  </a:lnTo>
                  <a:lnTo>
                    <a:pt x="721" y="226"/>
                  </a:lnTo>
                  <a:lnTo>
                    <a:pt x="725" y="235"/>
                  </a:lnTo>
                  <a:lnTo>
                    <a:pt x="727" y="244"/>
                  </a:lnTo>
                  <a:lnTo>
                    <a:pt x="728" y="253"/>
                  </a:lnTo>
                  <a:lnTo>
                    <a:pt x="728" y="264"/>
                  </a:lnTo>
                  <a:lnTo>
                    <a:pt x="727" y="273"/>
                  </a:lnTo>
                  <a:lnTo>
                    <a:pt x="723" y="283"/>
                  </a:lnTo>
                  <a:lnTo>
                    <a:pt x="720" y="293"/>
                  </a:lnTo>
                  <a:lnTo>
                    <a:pt x="719" y="299"/>
                  </a:lnTo>
                  <a:lnTo>
                    <a:pt x="719" y="304"/>
                  </a:lnTo>
                  <a:lnTo>
                    <a:pt x="721" y="308"/>
                  </a:lnTo>
                  <a:lnTo>
                    <a:pt x="726" y="313"/>
                  </a:lnTo>
                  <a:lnTo>
                    <a:pt x="731" y="317"/>
                  </a:lnTo>
                  <a:lnTo>
                    <a:pt x="737" y="321"/>
                  </a:lnTo>
                  <a:lnTo>
                    <a:pt x="743" y="327"/>
                  </a:lnTo>
                  <a:lnTo>
                    <a:pt x="747" y="333"/>
                  </a:lnTo>
                  <a:lnTo>
                    <a:pt x="757" y="346"/>
                  </a:lnTo>
                  <a:lnTo>
                    <a:pt x="764" y="361"/>
                  </a:lnTo>
                  <a:lnTo>
                    <a:pt x="771" y="378"/>
                  </a:lnTo>
                  <a:lnTo>
                    <a:pt x="775" y="395"/>
                  </a:lnTo>
                  <a:lnTo>
                    <a:pt x="778" y="414"/>
                  </a:lnTo>
                  <a:lnTo>
                    <a:pt x="778" y="434"/>
                  </a:lnTo>
                  <a:lnTo>
                    <a:pt x="778" y="448"/>
                  </a:lnTo>
                  <a:lnTo>
                    <a:pt x="776" y="460"/>
                  </a:lnTo>
                  <a:lnTo>
                    <a:pt x="773" y="474"/>
                  </a:lnTo>
                  <a:lnTo>
                    <a:pt x="767" y="486"/>
                  </a:lnTo>
                  <a:lnTo>
                    <a:pt x="762" y="498"/>
                  </a:lnTo>
                  <a:lnTo>
                    <a:pt x="756" y="509"/>
                  </a:lnTo>
                  <a:lnTo>
                    <a:pt x="747" y="519"/>
                  </a:lnTo>
                  <a:lnTo>
                    <a:pt x="738" y="529"/>
                  </a:lnTo>
                  <a:lnTo>
                    <a:pt x="729" y="538"/>
                  </a:lnTo>
                  <a:lnTo>
                    <a:pt x="718" y="545"/>
                  </a:lnTo>
                  <a:lnTo>
                    <a:pt x="707" y="553"/>
                  </a:lnTo>
                  <a:lnTo>
                    <a:pt x="696" y="558"/>
                  </a:lnTo>
                  <a:lnTo>
                    <a:pt x="683" y="562"/>
                  </a:lnTo>
                  <a:lnTo>
                    <a:pt x="670" y="565"/>
                  </a:lnTo>
                  <a:lnTo>
                    <a:pt x="656" y="568"/>
                  </a:lnTo>
                  <a:lnTo>
                    <a:pt x="642" y="569"/>
                  </a:lnTo>
                  <a:close/>
                  <a:moveTo>
                    <a:pt x="751" y="295"/>
                  </a:moveTo>
                  <a:lnTo>
                    <a:pt x="756" y="282"/>
                  </a:lnTo>
                  <a:lnTo>
                    <a:pt x="758" y="270"/>
                  </a:lnTo>
                  <a:lnTo>
                    <a:pt x="758" y="258"/>
                  </a:lnTo>
                  <a:lnTo>
                    <a:pt x="758" y="245"/>
                  </a:lnTo>
                  <a:lnTo>
                    <a:pt x="756" y="235"/>
                  </a:lnTo>
                  <a:lnTo>
                    <a:pt x="752" y="223"/>
                  </a:lnTo>
                  <a:lnTo>
                    <a:pt x="747" y="212"/>
                  </a:lnTo>
                  <a:lnTo>
                    <a:pt x="742" y="201"/>
                  </a:lnTo>
                  <a:lnTo>
                    <a:pt x="737" y="195"/>
                  </a:lnTo>
                  <a:lnTo>
                    <a:pt x="732" y="189"/>
                  </a:lnTo>
                  <a:lnTo>
                    <a:pt x="727" y="183"/>
                  </a:lnTo>
                  <a:lnTo>
                    <a:pt x="720" y="178"/>
                  </a:lnTo>
                  <a:lnTo>
                    <a:pt x="714" y="173"/>
                  </a:lnTo>
                  <a:lnTo>
                    <a:pt x="707" y="168"/>
                  </a:lnTo>
                  <a:lnTo>
                    <a:pt x="700" y="165"/>
                  </a:lnTo>
                  <a:lnTo>
                    <a:pt x="692" y="161"/>
                  </a:lnTo>
                  <a:lnTo>
                    <a:pt x="676" y="155"/>
                  </a:lnTo>
                  <a:lnTo>
                    <a:pt x="660" y="151"/>
                  </a:lnTo>
                  <a:lnTo>
                    <a:pt x="642" y="149"/>
                  </a:lnTo>
                  <a:lnTo>
                    <a:pt x="624" y="149"/>
                  </a:lnTo>
                  <a:lnTo>
                    <a:pt x="618" y="135"/>
                  </a:lnTo>
                  <a:lnTo>
                    <a:pt x="609" y="122"/>
                  </a:lnTo>
                  <a:lnTo>
                    <a:pt x="601" y="108"/>
                  </a:lnTo>
                  <a:lnTo>
                    <a:pt x="592" y="95"/>
                  </a:lnTo>
                  <a:lnTo>
                    <a:pt x="581" y="83"/>
                  </a:lnTo>
                  <a:lnTo>
                    <a:pt x="570" y="70"/>
                  </a:lnTo>
                  <a:lnTo>
                    <a:pt x="559" y="58"/>
                  </a:lnTo>
                  <a:lnTo>
                    <a:pt x="546" y="47"/>
                  </a:lnTo>
                  <a:lnTo>
                    <a:pt x="532" y="37"/>
                  </a:lnTo>
                  <a:lnTo>
                    <a:pt x="518" y="28"/>
                  </a:lnTo>
                  <a:lnTo>
                    <a:pt x="503" y="19"/>
                  </a:lnTo>
                  <a:lnTo>
                    <a:pt x="488" y="13"/>
                  </a:lnTo>
                  <a:lnTo>
                    <a:pt x="471" y="8"/>
                  </a:lnTo>
                  <a:lnTo>
                    <a:pt x="455" y="3"/>
                  </a:lnTo>
                  <a:lnTo>
                    <a:pt x="438" y="0"/>
                  </a:lnTo>
                  <a:lnTo>
                    <a:pt x="419" y="0"/>
                  </a:lnTo>
                  <a:lnTo>
                    <a:pt x="395" y="0"/>
                  </a:lnTo>
                  <a:lnTo>
                    <a:pt x="371" y="3"/>
                  </a:lnTo>
                  <a:lnTo>
                    <a:pt x="349" y="9"/>
                  </a:lnTo>
                  <a:lnTo>
                    <a:pt x="328" y="15"/>
                  </a:lnTo>
                  <a:lnTo>
                    <a:pt x="308" y="24"/>
                  </a:lnTo>
                  <a:lnTo>
                    <a:pt x="289" y="33"/>
                  </a:lnTo>
                  <a:lnTo>
                    <a:pt x="272" y="44"/>
                  </a:lnTo>
                  <a:lnTo>
                    <a:pt x="256" y="57"/>
                  </a:lnTo>
                  <a:lnTo>
                    <a:pt x="241" y="70"/>
                  </a:lnTo>
                  <a:lnTo>
                    <a:pt x="228" y="84"/>
                  </a:lnTo>
                  <a:lnTo>
                    <a:pt x="216" y="99"/>
                  </a:lnTo>
                  <a:lnTo>
                    <a:pt x="206" y="115"/>
                  </a:lnTo>
                  <a:lnTo>
                    <a:pt x="198" y="131"/>
                  </a:lnTo>
                  <a:lnTo>
                    <a:pt x="190" y="147"/>
                  </a:lnTo>
                  <a:lnTo>
                    <a:pt x="185" y="164"/>
                  </a:lnTo>
                  <a:lnTo>
                    <a:pt x="182" y="181"/>
                  </a:lnTo>
                  <a:lnTo>
                    <a:pt x="162" y="184"/>
                  </a:lnTo>
                  <a:lnTo>
                    <a:pt x="145" y="191"/>
                  </a:lnTo>
                  <a:lnTo>
                    <a:pt x="128" y="197"/>
                  </a:lnTo>
                  <a:lnTo>
                    <a:pt x="111" y="207"/>
                  </a:lnTo>
                  <a:lnTo>
                    <a:pt x="95" y="216"/>
                  </a:lnTo>
                  <a:lnTo>
                    <a:pt x="80" y="228"/>
                  </a:lnTo>
                  <a:lnTo>
                    <a:pt x="66" y="240"/>
                  </a:lnTo>
                  <a:lnTo>
                    <a:pt x="53" y="254"/>
                  </a:lnTo>
                  <a:lnTo>
                    <a:pt x="42" y="269"/>
                  </a:lnTo>
                  <a:lnTo>
                    <a:pt x="32" y="284"/>
                  </a:lnTo>
                  <a:lnTo>
                    <a:pt x="22" y="300"/>
                  </a:lnTo>
                  <a:lnTo>
                    <a:pt x="15" y="317"/>
                  </a:lnTo>
                  <a:lnTo>
                    <a:pt x="8" y="334"/>
                  </a:lnTo>
                  <a:lnTo>
                    <a:pt x="4" y="352"/>
                  </a:lnTo>
                  <a:lnTo>
                    <a:pt x="1" y="371"/>
                  </a:lnTo>
                  <a:lnTo>
                    <a:pt x="0" y="389"/>
                  </a:lnTo>
                  <a:lnTo>
                    <a:pt x="1" y="399"/>
                  </a:lnTo>
                  <a:lnTo>
                    <a:pt x="2" y="409"/>
                  </a:lnTo>
                  <a:lnTo>
                    <a:pt x="3" y="420"/>
                  </a:lnTo>
                  <a:lnTo>
                    <a:pt x="5" y="431"/>
                  </a:lnTo>
                  <a:lnTo>
                    <a:pt x="10" y="450"/>
                  </a:lnTo>
                  <a:lnTo>
                    <a:pt x="17" y="469"/>
                  </a:lnTo>
                  <a:lnTo>
                    <a:pt x="27" y="487"/>
                  </a:lnTo>
                  <a:lnTo>
                    <a:pt x="37" y="504"/>
                  </a:lnTo>
                  <a:lnTo>
                    <a:pt x="49" y="520"/>
                  </a:lnTo>
                  <a:lnTo>
                    <a:pt x="63" y="535"/>
                  </a:lnTo>
                  <a:lnTo>
                    <a:pt x="78" y="549"/>
                  </a:lnTo>
                  <a:lnTo>
                    <a:pt x="94" y="561"/>
                  </a:lnTo>
                  <a:lnTo>
                    <a:pt x="112" y="572"/>
                  </a:lnTo>
                  <a:lnTo>
                    <a:pt x="130" y="581"/>
                  </a:lnTo>
                  <a:lnTo>
                    <a:pt x="149" y="589"/>
                  </a:lnTo>
                  <a:lnTo>
                    <a:pt x="169" y="594"/>
                  </a:lnTo>
                  <a:lnTo>
                    <a:pt x="179" y="595"/>
                  </a:lnTo>
                  <a:lnTo>
                    <a:pt x="189" y="597"/>
                  </a:lnTo>
                  <a:lnTo>
                    <a:pt x="199" y="597"/>
                  </a:lnTo>
                  <a:lnTo>
                    <a:pt x="210" y="599"/>
                  </a:lnTo>
                  <a:lnTo>
                    <a:pt x="642" y="599"/>
                  </a:lnTo>
                  <a:lnTo>
                    <a:pt x="659" y="597"/>
                  </a:lnTo>
                  <a:lnTo>
                    <a:pt x="676" y="595"/>
                  </a:lnTo>
                  <a:lnTo>
                    <a:pt x="692" y="591"/>
                  </a:lnTo>
                  <a:lnTo>
                    <a:pt x="707" y="586"/>
                  </a:lnTo>
                  <a:lnTo>
                    <a:pt x="721" y="578"/>
                  </a:lnTo>
                  <a:lnTo>
                    <a:pt x="735" y="571"/>
                  </a:lnTo>
                  <a:lnTo>
                    <a:pt x="748" y="561"/>
                  </a:lnTo>
                  <a:lnTo>
                    <a:pt x="760" y="550"/>
                  </a:lnTo>
                  <a:lnTo>
                    <a:pt x="771" y="539"/>
                  </a:lnTo>
                  <a:lnTo>
                    <a:pt x="780" y="526"/>
                  </a:lnTo>
                  <a:lnTo>
                    <a:pt x="789" y="512"/>
                  </a:lnTo>
                  <a:lnTo>
                    <a:pt x="795" y="498"/>
                  </a:lnTo>
                  <a:lnTo>
                    <a:pt x="801" y="483"/>
                  </a:lnTo>
                  <a:lnTo>
                    <a:pt x="805" y="467"/>
                  </a:lnTo>
                  <a:lnTo>
                    <a:pt x="808" y="451"/>
                  </a:lnTo>
                  <a:lnTo>
                    <a:pt x="808" y="434"/>
                  </a:lnTo>
                  <a:lnTo>
                    <a:pt x="808" y="417"/>
                  </a:lnTo>
                  <a:lnTo>
                    <a:pt x="806" y="397"/>
                  </a:lnTo>
                  <a:lnTo>
                    <a:pt x="802" y="379"/>
                  </a:lnTo>
                  <a:lnTo>
                    <a:pt x="796" y="360"/>
                  </a:lnTo>
                  <a:lnTo>
                    <a:pt x="792" y="351"/>
                  </a:lnTo>
                  <a:lnTo>
                    <a:pt x="788" y="342"/>
                  </a:lnTo>
                  <a:lnTo>
                    <a:pt x="783" y="333"/>
                  </a:lnTo>
                  <a:lnTo>
                    <a:pt x="778" y="325"/>
                  </a:lnTo>
                  <a:lnTo>
                    <a:pt x="773" y="316"/>
                  </a:lnTo>
                  <a:lnTo>
                    <a:pt x="766" y="308"/>
                  </a:lnTo>
                  <a:lnTo>
                    <a:pt x="759" y="301"/>
                  </a:lnTo>
                  <a:lnTo>
                    <a:pt x="75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3" name="Freeform 68">
              <a:extLst>
                <a:ext uri="{FF2B5EF4-FFF2-40B4-BE49-F238E27FC236}">
                  <a16:creationId xmlns:a16="http://schemas.microsoft.com/office/drawing/2014/main" id="{3EFC7C36-AB0E-4801-8F77-105B3106BA8A}"/>
                </a:ext>
              </a:extLst>
            </p:cNvPr>
            <p:cNvSpPr>
              <a:spLocks/>
            </p:cNvSpPr>
            <p:nvPr/>
          </p:nvSpPr>
          <p:spPr bwMode="auto">
            <a:xfrm>
              <a:off x="933450" y="798513"/>
              <a:ext cx="146050" cy="123825"/>
            </a:xfrm>
            <a:custGeom>
              <a:avLst/>
              <a:gdLst>
                <a:gd name="T0" fmla="*/ 39 w 457"/>
                <a:gd name="T1" fmla="*/ 386 h 388"/>
                <a:gd name="T2" fmla="*/ 50 w 457"/>
                <a:gd name="T3" fmla="*/ 388 h 388"/>
                <a:gd name="T4" fmla="*/ 59 w 457"/>
                <a:gd name="T5" fmla="*/ 383 h 388"/>
                <a:gd name="T6" fmla="*/ 62 w 457"/>
                <a:gd name="T7" fmla="*/ 374 h 388"/>
                <a:gd name="T8" fmla="*/ 60 w 457"/>
                <a:gd name="T9" fmla="*/ 365 h 388"/>
                <a:gd name="T10" fmla="*/ 42 w 457"/>
                <a:gd name="T11" fmla="*/ 326 h 388"/>
                <a:gd name="T12" fmla="*/ 32 w 457"/>
                <a:gd name="T13" fmla="*/ 284 h 388"/>
                <a:gd name="T14" fmla="*/ 31 w 457"/>
                <a:gd name="T15" fmla="*/ 243 h 388"/>
                <a:gd name="T16" fmla="*/ 35 w 457"/>
                <a:gd name="T17" fmla="*/ 210 h 388"/>
                <a:gd name="T18" fmla="*/ 44 w 457"/>
                <a:gd name="T19" fmla="*/ 178 h 388"/>
                <a:gd name="T20" fmla="*/ 68 w 457"/>
                <a:gd name="T21" fmla="*/ 130 h 388"/>
                <a:gd name="T22" fmla="*/ 112 w 457"/>
                <a:gd name="T23" fmla="*/ 82 h 388"/>
                <a:gd name="T24" fmla="*/ 168 w 457"/>
                <a:gd name="T25" fmla="*/ 48 h 388"/>
                <a:gd name="T26" fmla="*/ 199 w 457"/>
                <a:gd name="T27" fmla="*/ 37 h 388"/>
                <a:gd name="T28" fmla="*/ 232 w 457"/>
                <a:gd name="T29" fmla="*/ 31 h 388"/>
                <a:gd name="T30" fmla="*/ 267 w 457"/>
                <a:gd name="T31" fmla="*/ 30 h 388"/>
                <a:gd name="T32" fmla="*/ 305 w 457"/>
                <a:gd name="T33" fmla="*/ 36 h 388"/>
                <a:gd name="T34" fmla="*/ 341 w 457"/>
                <a:gd name="T35" fmla="*/ 48 h 388"/>
                <a:gd name="T36" fmla="*/ 374 w 457"/>
                <a:gd name="T37" fmla="*/ 65 h 388"/>
                <a:gd name="T38" fmla="*/ 404 w 457"/>
                <a:gd name="T39" fmla="*/ 87 h 388"/>
                <a:gd name="T40" fmla="*/ 430 w 457"/>
                <a:gd name="T41" fmla="*/ 115 h 388"/>
                <a:gd name="T42" fmla="*/ 443 w 457"/>
                <a:gd name="T43" fmla="*/ 121 h 388"/>
                <a:gd name="T44" fmla="*/ 452 w 457"/>
                <a:gd name="T45" fmla="*/ 118 h 388"/>
                <a:gd name="T46" fmla="*/ 457 w 457"/>
                <a:gd name="T47" fmla="*/ 105 h 388"/>
                <a:gd name="T48" fmla="*/ 454 w 457"/>
                <a:gd name="T49" fmla="*/ 98 h 388"/>
                <a:gd name="T50" fmla="*/ 424 w 457"/>
                <a:gd name="T51" fmla="*/ 66 h 388"/>
                <a:gd name="T52" fmla="*/ 391 w 457"/>
                <a:gd name="T53" fmla="*/ 40 h 388"/>
                <a:gd name="T54" fmla="*/ 352 w 457"/>
                <a:gd name="T55" fmla="*/ 20 h 388"/>
                <a:gd name="T56" fmla="*/ 312 w 457"/>
                <a:gd name="T57" fmla="*/ 7 h 388"/>
                <a:gd name="T58" fmla="*/ 270 w 457"/>
                <a:gd name="T59" fmla="*/ 0 h 388"/>
                <a:gd name="T60" fmla="*/ 229 w 457"/>
                <a:gd name="T61" fmla="*/ 1 h 388"/>
                <a:gd name="T62" fmla="*/ 191 w 457"/>
                <a:gd name="T63" fmla="*/ 8 h 388"/>
                <a:gd name="T64" fmla="*/ 156 w 457"/>
                <a:gd name="T65" fmla="*/ 21 h 388"/>
                <a:gd name="T66" fmla="*/ 123 w 457"/>
                <a:gd name="T67" fmla="*/ 37 h 388"/>
                <a:gd name="T68" fmla="*/ 93 w 457"/>
                <a:gd name="T69" fmla="*/ 58 h 388"/>
                <a:gd name="T70" fmla="*/ 66 w 457"/>
                <a:gd name="T71" fmla="*/ 84 h 388"/>
                <a:gd name="T72" fmla="*/ 44 w 457"/>
                <a:gd name="T73" fmla="*/ 113 h 388"/>
                <a:gd name="T74" fmla="*/ 25 w 457"/>
                <a:gd name="T75" fmla="*/ 145 h 388"/>
                <a:gd name="T76" fmla="*/ 12 w 457"/>
                <a:gd name="T77" fmla="*/ 179 h 388"/>
                <a:gd name="T78" fmla="*/ 3 w 457"/>
                <a:gd name="T79" fmla="*/ 217 h 388"/>
                <a:gd name="T80" fmla="*/ 0 w 457"/>
                <a:gd name="T81" fmla="*/ 254 h 388"/>
                <a:gd name="T82" fmla="*/ 5 w 457"/>
                <a:gd name="T83" fmla="*/ 304 h 388"/>
                <a:gd name="T84" fmla="*/ 19 w 457"/>
                <a:gd name="T85" fmla="*/ 3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7" h="388">
                  <a:moveTo>
                    <a:pt x="34" y="380"/>
                  </a:moveTo>
                  <a:lnTo>
                    <a:pt x="36" y="384"/>
                  </a:lnTo>
                  <a:lnTo>
                    <a:pt x="39" y="386"/>
                  </a:lnTo>
                  <a:lnTo>
                    <a:pt x="43" y="388"/>
                  </a:lnTo>
                  <a:lnTo>
                    <a:pt x="47" y="388"/>
                  </a:lnTo>
                  <a:lnTo>
                    <a:pt x="50" y="388"/>
                  </a:lnTo>
                  <a:lnTo>
                    <a:pt x="54" y="386"/>
                  </a:lnTo>
                  <a:lnTo>
                    <a:pt x="56" y="385"/>
                  </a:lnTo>
                  <a:lnTo>
                    <a:pt x="59" y="383"/>
                  </a:lnTo>
                  <a:lnTo>
                    <a:pt x="60" y="379"/>
                  </a:lnTo>
                  <a:lnTo>
                    <a:pt x="61" y="377"/>
                  </a:lnTo>
                  <a:lnTo>
                    <a:pt x="62" y="374"/>
                  </a:lnTo>
                  <a:lnTo>
                    <a:pt x="62" y="371"/>
                  </a:lnTo>
                  <a:lnTo>
                    <a:pt x="61" y="369"/>
                  </a:lnTo>
                  <a:lnTo>
                    <a:pt x="60" y="365"/>
                  </a:lnTo>
                  <a:lnTo>
                    <a:pt x="53" y="353"/>
                  </a:lnTo>
                  <a:lnTo>
                    <a:pt x="47" y="340"/>
                  </a:lnTo>
                  <a:lnTo>
                    <a:pt x="42" y="326"/>
                  </a:lnTo>
                  <a:lnTo>
                    <a:pt x="37" y="312"/>
                  </a:lnTo>
                  <a:lnTo>
                    <a:pt x="34" y="298"/>
                  </a:lnTo>
                  <a:lnTo>
                    <a:pt x="32" y="284"/>
                  </a:lnTo>
                  <a:lnTo>
                    <a:pt x="31" y="269"/>
                  </a:lnTo>
                  <a:lnTo>
                    <a:pt x="30" y="254"/>
                  </a:lnTo>
                  <a:lnTo>
                    <a:pt x="31" y="243"/>
                  </a:lnTo>
                  <a:lnTo>
                    <a:pt x="32" y="232"/>
                  </a:lnTo>
                  <a:lnTo>
                    <a:pt x="33" y="221"/>
                  </a:lnTo>
                  <a:lnTo>
                    <a:pt x="35" y="210"/>
                  </a:lnTo>
                  <a:lnTo>
                    <a:pt x="37" y="198"/>
                  </a:lnTo>
                  <a:lnTo>
                    <a:pt x="40" y="189"/>
                  </a:lnTo>
                  <a:lnTo>
                    <a:pt x="44" y="178"/>
                  </a:lnTo>
                  <a:lnTo>
                    <a:pt x="48" y="167"/>
                  </a:lnTo>
                  <a:lnTo>
                    <a:pt x="58" y="148"/>
                  </a:lnTo>
                  <a:lnTo>
                    <a:pt x="68" y="130"/>
                  </a:lnTo>
                  <a:lnTo>
                    <a:pt x="81" y="113"/>
                  </a:lnTo>
                  <a:lnTo>
                    <a:pt x="96" y="97"/>
                  </a:lnTo>
                  <a:lnTo>
                    <a:pt x="112" y="82"/>
                  </a:lnTo>
                  <a:lnTo>
                    <a:pt x="129" y="69"/>
                  </a:lnTo>
                  <a:lnTo>
                    <a:pt x="147" y="57"/>
                  </a:lnTo>
                  <a:lnTo>
                    <a:pt x="168" y="48"/>
                  </a:lnTo>
                  <a:lnTo>
                    <a:pt x="177" y="44"/>
                  </a:lnTo>
                  <a:lnTo>
                    <a:pt x="188" y="40"/>
                  </a:lnTo>
                  <a:lnTo>
                    <a:pt x="199" y="37"/>
                  </a:lnTo>
                  <a:lnTo>
                    <a:pt x="210" y="35"/>
                  </a:lnTo>
                  <a:lnTo>
                    <a:pt x="220" y="33"/>
                  </a:lnTo>
                  <a:lnTo>
                    <a:pt x="232" y="31"/>
                  </a:lnTo>
                  <a:lnTo>
                    <a:pt x="243" y="30"/>
                  </a:lnTo>
                  <a:lnTo>
                    <a:pt x="255" y="30"/>
                  </a:lnTo>
                  <a:lnTo>
                    <a:pt x="267" y="30"/>
                  </a:lnTo>
                  <a:lnTo>
                    <a:pt x="280" y="31"/>
                  </a:lnTo>
                  <a:lnTo>
                    <a:pt x="293" y="34"/>
                  </a:lnTo>
                  <a:lnTo>
                    <a:pt x="305" y="36"/>
                  </a:lnTo>
                  <a:lnTo>
                    <a:pt x="318" y="39"/>
                  </a:lnTo>
                  <a:lnTo>
                    <a:pt x="330" y="43"/>
                  </a:lnTo>
                  <a:lnTo>
                    <a:pt x="341" y="48"/>
                  </a:lnTo>
                  <a:lnTo>
                    <a:pt x="352" y="53"/>
                  </a:lnTo>
                  <a:lnTo>
                    <a:pt x="364" y="58"/>
                  </a:lnTo>
                  <a:lnTo>
                    <a:pt x="374" y="65"/>
                  </a:lnTo>
                  <a:lnTo>
                    <a:pt x="384" y="72"/>
                  </a:lnTo>
                  <a:lnTo>
                    <a:pt x="395" y="80"/>
                  </a:lnTo>
                  <a:lnTo>
                    <a:pt x="404" y="87"/>
                  </a:lnTo>
                  <a:lnTo>
                    <a:pt x="413" y="97"/>
                  </a:lnTo>
                  <a:lnTo>
                    <a:pt x="423" y="105"/>
                  </a:lnTo>
                  <a:lnTo>
                    <a:pt x="430" y="115"/>
                  </a:lnTo>
                  <a:lnTo>
                    <a:pt x="435" y="119"/>
                  </a:lnTo>
                  <a:lnTo>
                    <a:pt x="441" y="121"/>
                  </a:lnTo>
                  <a:lnTo>
                    <a:pt x="443" y="121"/>
                  </a:lnTo>
                  <a:lnTo>
                    <a:pt x="446" y="120"/>
                  </a:lnTo>
                  <a:lnTo>
                    <a:pt x="449" y="120"/>
                  </a:lnTo>
                  <a:lnTo>
                    <a:pt x="452" y="118"/>
                  </a:lnTo>
                  <a:lnTo>
                    <a:pt x="455" y="114"/>
                  </a:lnTo>
                  <a:lnTo>
                    <a:pt x="457" y="107"/>
                  </a:lnTo>
                  <a:lnTo>
                    <a:pt x="457" y="105"/>
                  </a:lnTo>
                  <a:lnTo>
                    <a:pt x="457" y="102"/>
                  </a:lnTo>
                  <a:lnTo>
                    <a:pt x="456" y="100"/>
                  </a:lnTo>
                  <a:lnTo>
                    <a:pt x="454" y="98"/>
                  </a:lnTo>
                  <a:lnTo>
                    <a:pt x="444" y="86"/>
                  </a:lnTo>
                  <a:lnTo>
                    <a:pt x="434" y="75"/>
                  </a:lnTo>
                  <a:lnTo>
                    <a:pt x="424" y="66"/>
                  </a:lnTo>
                  <a:lnTo>
                    <a:pt x="413" y="56"/>
                  </a:lnTo>
                  <a:lnTo>
                    <a:pt x="402" y="48"/>
                  </a:lnTo>
                  <a:lnTo>
                    <a:pt x="391" y="40"/>
                  </a:lnTo>
                  <a:lnTo>
                    <a:pt x="378" y="33"/>
                  </a:lnTo>
                  <a:lnTo>
                    <a:pt x="365" y="26"/>
                  </a:lnTo>
                  <a:lnTo>
                    <a:pt x="352" y="20"/>
                  </a:lnTo>
                  <a:lnTo>
                    <a:pt x="339" y="14"/>
                  </a:lnTo>
                  <a:lnTo>
                    <a:pt x="325" y="10"/>
                  </a:lnTo>
                  <a:lnTo>
                    <a:pt x="312" y="7"/>
                  </a:lnTo>
                  <a:lnTo>
                    <a:pt x="297" y="4"/>
                  </a:lnTo>
                  <a:lnTo>
                    <a:pt x="283" y="1"/>
                  </a:lnTo>
                  <a:lnTo>
                    <a:pt x="270" y="0"/>
                  </a:lnTo>
                  <a:lnTo>
                    <a:pt x="255" y="0"/>
                  </a:lnTo>
                  <a:lnTo>
                    <a:pt x="242" y="0"/>
                  </a:lnTo>
                  <a:lnTo>
                    <a:pt x="229" y="1"/>
                  </a:lnTo>
                  <a:lnTo>
                    <a:pt x="216" y="4"/>
                  </a:lnTo>
                  <a:lnTo>
                    <a:pt x="203" y="6"/>
                  </a:lnTo>
                  <a:lnTo>
                    <a:pt x="191" y="8"/>
                  </a:lnTo>
                  <a:lnTo>
                    <a:pt x="180" y="12"/>
                  </a:lnTo>
                  <a:lnTo>
                    <a:pt x="168" y="15"/>
                  </a:lnTo>
                  <a:lnTo>
                    <a:pt x="156" y="21"/>
                  </a:lnTo>
                  <a:lnTo>
                    <a:pt x="144" y="25"/>
                  </a:lnTo>
                  <a:lnTo>
                    <a:pt x="134" y="31"/>
                  </a:lnTo>
                  <a:lnTo>
                    <a:pt x="123" y="37"/>
                  </a:lnTo>
                  <a:lnTo>
                    <a:pt x="112" y="44"/>
                  </a:lnTo>
                  <a:lnTo>
                    <a:pt x="103" y="51"/>
                  </a:lnTo>
                  <a:lnTo>
                    <a:pt x="93" y="58"/>
                  </a:lnTo>
                  <a:lnTo>
                    <a:pt x="83" y="67"/>
                  </a:lnTo>
                  <a:lnTo>
                    <a:pt x="75" y="75"/>
                  </a:lnTo>
                  <a:lnTo>
                    <a:pt x="66" y="84"/>
                  </a:lnTo>
                  <a:lnTo>
                    <a:pt x="59" y="94"/>
                  </a:lnTo>
                  <a:lnTo>
                    <a:pt x="51" y="103"/>
                  </a:lnTo>
                  <a:lnTo>
                    <a:pt x="44" y="113"/>
                  </a:lnTo>
                  <a:lnTo>
                    <a:pt x="37" y="124"/>
                  </a:lnTo>
                  <a:lnTo>
                    <a:pt x="31" y="134"/>
                  </a:lnTo>
                  <a:lnTo>
                    <a:pt x="25" y="145"/>
                  </a:lnTo>
                  <a:lnTo>
                    <a:pt x="20" y="156"/>
                  </a:lnTo>
                  <a:lnTo>
                    <a:pt x="16" y="167"/>
                  </a:lnTo>
                  <a:lnTo>
                    <a:pt x="12" y="179"/>
                  </a:lnTo>
                  <a:lnTo>
                    <a:pt x="8" y="191"/>
                  </a:lnTo>
                  <a:lnTo>
                    <a:pt x="5" y="204"/>
                  </a:lnTo>
                  <a:lnTo>
                    <a:pt x="3" y="217"/>
                  </a:lnTo>
                  <a:lnTo>
                    <a:pt x="2" y="228"/>
                  </a:lnTo>
                  <a:lnTo>
                    <a:pt x="1" y="241"/>
                  </a:lnTo>
                  <a:lnTo>
                    <a:pt x="0" y="254"/>
                  </a:lnTo>
                  <a:lnTo>
                    <a:pt x="1" y="271"/>
                  </a:lnTo>
                  <a:lnTo>
                    <a:pt x="3" y="288"/>
                  </a:lnTo>
                  <a:lnTo>
                    <a:pt x="5" y="304"/>
                  </a:lnTo>
                  <a:lnTo>
                    <a:pt x="8" y="320"/>
                  </a:lnTo>
                  <a:lnTo>
                    <a:pt x="14" y="335"/>
                  </a:lnTo>
                  <a:lnTo>
                    <a:pt x="19" y="352"/>
                  </a:lnTo>
                  <a:lnTo>
                    <a:pt x="25" y="366"/>
                  </a:lnTo>
                  <a:lnTo>
                    <a:pt x="34"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34" name="Group 38">
            <a:extLst>
              <a:ext uri="{FF2B5EF4-FFF2-40B4-BE49-F238E27FC236}">
                <a16:creationId xmlns:a16="http://schemas.microsoft.com/office/drawing/2014/main" id="{CAF2D180-E053-4FF9-AB67-630786112937}"/>
              </a:ext>
            </a:extLst>
          </p:cNvPr>
          <p:cNvGrpSpPr>
            <a:grpSpLocks noChangeAspect="1"/>
          </p:cNvGrpSpPr>
          <p:nvPr/>
        </p:nvGrpSpPr>
        <p:grpSpPr>
          <a:xfrm>
            <a:off x="6190777" y="5944848"/>
            <a:ext cx="277331" cy="308144"/>
            <a:chOff x="3214688" y="769938"/>
            <a:chExt cx="257175" cy="285750"/>
          </a:xfrm>
          <a:solidFill>
            <a:schemeClr val="bg1"/>
          </a:solidFill>
          <a:effectLst/>
        </p:grpSpPr>
        <p:sp>
          <p:nvSpPr>
            <p:cNvPr id="935" name="Freeform 33">
              <a:extLst>
                <a:ext uri="{FF2B5EF4-FFF2-40B4-BE49-F238E27FC236}">
                  <a16:creationId xmlns:a16="http://schemas.microsoft.com/office/drawing/2014/main" id="{69C0B9BC-0EC0-4EF1-A518-0E00536684C7}"/>
                </a:ext>
              </a:extLst>
            </p:cNvPr>
            <p:cNvSpPr>
              <a:spLocks noEditPoints="1"/>
            </p:cNvSpPr>
            <p:nvPr/>
          </p:nvSpPr>
          <p:spPr bwMode="auto">
            <a:xfrm>
              <a:off x="3214688" y="769938"/>
              <a:ext cx="257175" cy="190500"/>
            </a:xfrm>
            <a:custGeom>
              <a:avLst/>
              <a:gdLst>
                <a:gd name="T0" fmla="*/ 174 w 808"/>
                <a:gd name="T1" fmla="*/ 565 h 598"/>
                <a:gd name="T2" fmla="*/ 111 w 808"/>
                <a:gd name="T3" fmla="*/ 537 h 598"/>
                <a:gd name="T4" fmla="*/ 62 w 808"/>
                <a:gd name="T5" fmla="*/ 488 h 598"/>
                <a:gd name="T6" fmla="*/ 34 w 808"/>
                <a:gd name="T7" fmla="*/ 423 h 598"/>
                <a:gd name="T8" fmla="*/ 33 w 808"/>
                <a:gd name="T9" fmla="*/ 356 h 598"/>
                <a:gd name="T10" fmla="*/ 59 w 808"/>
                <a:gd name="T11" fmla="*/ 295 h 598"/>
                <a:gd name="T12" fmla="*/ 104 w 808"/>
                <a:gd name="T13" fmla="*/ 247 h 598"/>
                <a:gd name="T14" fmla="*/ 162 w 808"/>
                <a:gd name="T15" fmla="*/ 216 h 598"/>
                <a:gd name="T16" fmla="*/ 205 w 808"/>
                <a:gd name="T17" fmla="*/ 205 h 598"/>
                <a:gd name="T18" fmla="*/ 213 w 808"/>
                <a:gd name="T19" fmla="*/ 177 h 598"/>
                <a:gd name="T20" fmla="*/ 233 w 808"/>
                <a:gd name="T21" fmla="*/ 127 h 598"/>
                <a:gd name="T22" fmla="*/ 282 w 808"/>
                <a:gd name="T23" fmla="*/ 74 h 598"/>
                <a:gd name="T24" fmla="*/ 348 w 808"/>
                <a:gd name="T25" fmla="*/ 41 h 598"/>
                <a:gd name="T26" fmla="*/ 419 w 808"/>
                <a:gd name="T27" fmla="*/ 29 h 598"/>
                <a:gd name="T28" fmla="*/ 478 w 808"/>
                <a:gd name="T29" fmla="*/ 41 h 598"/>
                <a:gd name="T30" fmla="*/ 531 w 808"/>
                <a:gd name="T31" fmla="*/ 73 h 598"/>
                <a:gd name="T32" fmla="*/ 571 w 808"/>
                <a:gd name="T33" fmla="*/ 118 h 598"/>
                <a:gd name="T34" fmla="*/ 599 w 808"/>
                <a:gd name="T35" fmla="*/ 170 h 598"/>
                <a:gd name="T36" fmla="*/ 615 w 808"/>
                <a:gd name="T37" fmla="*/ 179 h 598"/>
                <a:gd name="T38" fmla="*/ 674 w 808"/>
                <a:gd name="T39" fmla="*/ 186 h 598"/>
                <a:gd name="T40" fmla="*/ 708 w 808"/>
                <a:gd name="T41" fmla="*/ 208 h 598"/>
                <a:gd name="T42" fmla="*/ 725 w 808"/>
                <a:gd name="T43" fmla="*/ 235 h 598"/>
                <a:gd name="T44" fmla="*/ 726 w 808"/>
                <a:gd name="T45" fmla="*/ 272 h 598"/>
                <a:gd name="T46" fmla="*/ 719 w 808"/>
                <a:gd name="T47" fmla="*/ 303 h 598"/>
                <a:gd name="T48" fmla="*/ 736 w 808"/>
                <a:gd name="T49" fmla="*/ 322 h 598"/>
                <a:gd name="T50" fmla="*/ 764 w 808"/>
                <a:gd name="T51" fmla="*/ 361 h 598"/>
                <a:gd name="T52" fmla="*/ 778 w 808"/>
                <a:gd name="T53" fmla="*/ 433 h 598"/>
                <a:gd name="T54" fmla="*/ 767 w 808"/>
                <a:gd name="T55" fmla="*/ 485 h 598"/>
                <a:gd name="T56" fmla="*/ 738 w 808"/>
                <a:gd name="T57" fmla="*/ 528 h 598"/>
                <a:gd name="T58" fmla="*/ 696 w 808"/>
                <a:gd name="T59" fmla="*/ 557 h 598"/>
                <a:gd name="T60" fmla="*/ 642 w 808"/>
                <a:gd name="T61" fmla="*/ 568 h 598"/>
                <a:gd name="T62" fmla="*/ 758 w 808"/>
                <a:gd name="T63" fmla="*/ 257 h 598"/>
                <a:gd name="T64" fmla="*/ 747 w 808"/>
                <a:gd name="T65" fmla="*/ 211 h 598"/>
                <a:gd name="T66" fmla="*/ 726 w 808"/>
                <a:gd name="T67" fmla="*/ 183 h 598"/>
                <a:gd name="T68" fmla="*/ 700 w 808"/>
                <a:gd name="T69" fmla="*/ 164 h 598"/>
                <a:gd name="T70" fmla="*/ 642 w 808"/>
                <a:gd name="T71" fmla="*/ 149 h 598"/>
                <a:gd name="T72" fmla="*/ 600 w 808"/>
                <a:gd name="T73" fmla="*/ 108 h 598"/>
                <a:gd name="T74" fmla="*/ 558 w 808"/>
                <a:gd name="T75" fmla="*/ 57 h 598"/>
                <a:gd name="T76" fmla="*/ 503 w 808"/>
                <a:gd name="T77" fmla="*/ 20 h 598"/>
                <a:gd name="T78" fmla="*/ 437 w 808"/>
                <a:gd name="T79" fmla="*/ 1 h 598"/>
                <a:gd name="T80" fmla="*/ 349 w 808"/>
                <a:gd name="T81" fmla="*/ 8 h 598"/>
                <a:gd name="T82" fmla="*/ 272 w 808"/>
                <a:gd name="T83" fmla="*/ 44 h 598"/>
                <a:gd name="T84" fmla="*/ 216 w 808"/>
                <a:gd name="T85" fmla="*/ 99 h 598"/>
                <a:gd name="T86" fmla="*/ 185 w 808"/>
                <a:gd name="T87" fmla="*/ 163 h 598"/>
                <a:gd name="T88" fmla="*/ 127 w 808"/>
                <a:gd name="T89" fmla="*/ 198 h 598"/>
                <a:gd name="T90" fmla="*/ 66 w 808"/>
                <a:gd name="T91" fmla="*/ 240 h 598"/>
                <a:gd name="T92" fmla="*/ 22 w 808"/>
                <a:gd name="T93" fmla="*/ 300 h 598"/>
                <a:gd name="T94" fmla="*/ 1 w 808"/>
                <a:gd name="T95" fmla="*/ 370 h 598"/>
                <a:gd name="T96" fmla="*/ 3 w 808"/>
                <a:gd name="T97" fmla="*/ 419 h 598"/>
                <a:gd name="T98" fmla="*/ 26 w 808"/>
                <a:gd name="T99" fmla="*/ 487 h 598"/>
                <a:gd name="T100" fmla="*/ 78 w 808"/>
                <a:gd name="T101" fmla="*/ 549 h 598"/>
                <a:gd name="T102" fmla="*/ 149 w 808"/>
                <a:gd name="T103" fmla="*/ 588 h 598"/>
                <a:gd name="T104" fmla="*/ 199 w 808"/>
                <a:gd name="T105" fmla="*/ 598 h 598"/>
                <a:gd name="T106" fmla="*/ 675 w 808"/>
                <a:gd name="T107" fmla="*/ 595 h 598"/>
                <a:gd name="T108" fmla="*/ 735 w 808"/>
                <a:gd name="T109" fmla="*/ 570 h 598"/>
                <a:gd name="T110" fmla="*/ 780 w 808"/>
                <a:gd name="T111" fmla="*/ 525 h 598"/>
                <a:gd name="T112" fmla="*/ 805 w 808"/>
                <a:gd name="T113" fmla="*/ 466 h 598"/>
                <a:gd name="T114" fmla="*/ 805 w 808"/>
                <a:gd name="T115" fmla="*/ 398 h 598"/>
                <a:gd name="T116" fmla="*/ 788 w 808"/>
                <a:gd name="T117" fmla="*/ 342 h 598"/>
                <a:gd name="T118" fmla="*/ 766 w 808"/>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8" h="598">
                  <a:moveTo>
                    <a:pt x="642" y="568"/>
                  </a:moveTo>
                  <a:lnTo>
                    <a:pt x="210" y="568"/>
                  </a:lnTo>
                  <a:lnTo>
                    <a:pt x="191" y="567"/>
                  </a:lnTo>
                  <a:lnTo>
                    <a:pt x="174" y="565"/>
                  </a:lnTo>
                  <a:lnTo>
                    <a:pt x="157" y="559"/>
                  </a:lnTo>
                  <a:lnTo>
                    <a:pt x="141" y="554"/>
                  </a:lnTo>
                  <a:lnTo>
                    <a:pt x="126" y="545"/>
                  </a:lnTo>
                  <a:lnTo>
                    <a:pt x="111" y="537"/>
                  </a:lnTo>
                  <a:lnTo>
                    <a:pt x="97" y="526"/>
                  </a:lnTo>
                  <a:lnTo>
                    <a:pt x="84" y="514"/>
                  </a:lnTo>
                  <a:lnTo>
                    <a:pt x="73" y="502"/>
                  </a:lnTo>
                  <a:lnTo>
                    <a:pt x="62" y="488"/>
                  </a:lnTo>
                  <a:lnTo>
                    <a:pt x="52" y="473"/>
                  </a:lnTo>
                  <a:lnTo>
                    <a:pt x="45" y="457"/>
                  </a:lnTo>
                  <a:lnTo>
                    <a:pt x="38" y="441"/>
                  </a:lnTo>
                  <a:lnTo>
                    <a:pt x="34" y="423"/>
                  </a:lnTo>
                  <a:lnTo>
                    <a:pt x="31" y="406"/>
                  </a:lnTo>
                  <a:lnTo>
                    <a:pt x="30" y="388"/>
                  </a:lnTo>
                  <a:lnTo>
                    <a:pt x="31" y="372"/>
                  </a:lnTo>
                  <a:lnTo>
                    <a:pt x="33" y="356"/>
                  </a:lnTo>
                  <a:lnTo>
                    <a:pt x="37" y="340"/>
                  </a:lnTo>
                  <a:lnTo>
                    <a:pt x="44" y="325"/>
                  </a:lnTo>
                  <a:lnTo>
                    <a:pt x="50" y="310"/>
                  </a:lnTo>
                  <a:lnTo>
                    <a:pt x="59" y="295"/>
                  </a:lnTo>
                  <a:lnTo>
                    <a:pt x="68" y="282"/>
                  </a:lnTo>
                  <a:lnTo>
                    <a:pt x="79" y="269"/>
                  </a:lnTo>
                  <a:lnTo>
                    <a:pt x="91" y="257"/>
                  </a:lnTo>
                  <a:lnTo>
                    <a:pt x="104" y="247"/>
                  </a:lnTo>
                  <a:lnTo>
                    <a:pt x="117" y="237"/>
                  </a:lnTo>
                  <a:lnTo>
                    <a:pt x="132" y="229"/>
                  </a:lnTo>
                  <a:lnTo>
                    <a:pt x="147" y="221"/>
                  </a:lnTo>
                  <a:lnTo>
                    <a:pt x="162" y="216"/>
                  </a:lnTo>
                  <a:lnTo>
                    <a:pt x="180" y="211"/>
                  </a:lnTo>
                  <a:lnTo>
                    <a:pt x="196" y="209"/>
                  </a:lnTo>
                  <a:lnTo>
                    <a:pt x="201" y="208"/>
                  </a:lnTo>
                  <a:lnTo>
                    <a:pt x="205" y="205"/>
                  </a:lnTo>
                  <a:lnTo>
                    <a:pt x="208" y="201"/>
                  </a:lnTo>
                  <a:lnTo>
                    <a:pt x="210" y="195"/>
                  </a:lnTo>
                  <a:lnTo>
                    <a:pt x="211" y="186"/>
                  </a:lnTo>
                  <a:lnTo>
                    <a:pt x="213" y="177"/>
                  </a:lnTo>
                  <a:lnTo>
                    <a:pt x="215" y="168"/>
                  </a:lnTo>
                  <a:lnTo>
                    <a:pt x="217" y="159"/>
                  </a:lnTo>
                  <a:lnTo>
                    <a:pt x="225" y="142"/>
                  </a:lnTo>
                  <a:lnTo>
                    <a:pt x="233" y="127"/>
                  </a:lnTo>
                  <a:lnTo>
                    <a:pt x="243" y="112"/>
                  </a:lnTo>
                  <a:lnTo>
                    <a:pt x="255" y="98"/>
                  </a:lnTo>
                  <a:lnTo>
                    <a:pt x="268" y="85"/>
                  </a:lnTo>
                  <a:lnTo>
                    <a:pt x="282" y="74"/>
                  </a:lnTo>
                  <a:lnTo>
                    <a:pt x="297" y="64"/>
                  </a:lnTo>
                  <a:lnTo>
                    <a:pt x="313" y="55"/>
                  </a:lnTo>
                  <a:lnTo>
                    <a:pt x="331" y="48"/>
                  </a:lnTo>
                  <a:lnTo>
                    <a:pt x="348" y="41"/>
                  </a:lnTo>
                  <a:lnTo>
                    <a:pt x="366" y="36"/>
                  </a:lnTo>
                  <a:lnTo>
                    <a:pt x="383" y="33"/>
                  </a:lnTo>
                  <a:lnTo>
                    <a:pt x="401" y="31"/>
                  </a:lnTo>
                  <a:lnTo>
                    <a:pt x="419" y="29"/>
                  </a:lnTo>
                  <a:lnTo>
                    <a:pt x="434" y="31"/>
                  </a:lnTo>
                  <a:lnTo>
                    <a:pt x="449" y="33"/>
                  </a:lnTo>
                  <a:lnTo>
                    <a:pt x="464" y="36"/>
                  </a:lnTo>
                  <a:lnTo>
                    <a:pt x="478" y="41"/>
                  </a:lnTo>
                  <a:lnTo>
                    <a:pt x="492" y="48"/>
                  </a:lnTo>
                  <a:lnTo>
                    <a:pt x="506" y="55"/>
                  </a:lnTo>
                  <a:lnTo>
                    <a:pt x="518" y="64"/>
                  </a:lnTo>
                  <a:lnTo>
                    <a:pt x="531" y="73"/>
                  </a:lnTo>
                  <a:lnTo>
                    <a:pt x="541" y="84"/>
                  </a:lnTo>
                  <a:lnTo>
                    <a:pt x="552" y="95"/>
                  </a:lnTo>
                  <a:lnTo>
                    <a:pt x="563" y="107"/>
                  </a:lnTo>
                  <a:lnTo>
                    <a:pt x="571" y="118"/>
                  </a:lnTo>
                  <a:lnTo>
                    <a:pt x="580" y="131"/>
                  </a:lnTo>
                  <a:lnTo>
                    <a:pt x="587" y="144"/>
                  </a:lnTo>
                  <a:lnTo>
                    <a:pt x="594" y="157"/>
                  </a:lnTo>
                  <a:lnTo>
                    <a:pt x="599" y="170"/>
                  </a:lnTo>
                  <a:lnTo>
                    <a:pt x="602" y="174"/>
                  </a:lnTo>
                  <a:lnTo>
                    <a:pt x="606" y="177"/>
                  </a:lnTo>
                  <a:lnTo>
                    <a:pt x="611" y="179"/>
                  </a:lnTo>
                  <a:lnTo>
                    <a:pt x="615" y="179"/>
                  </a:lnTo>
                  <a:lnTo>
                    <a:pt x="631" y="178"/>
                  </a:lnTo>
                  <a:lnTo>
                    <a:pt x="646" y="179"/>
                  </a:lnTo>
                  <a:lnTo>
                    <a:pt x="661" y="181"/>
                  </a:lnTo>
                  <a:lnTo>
                    <a:pt x="674" y="186"/>
                  </a:lnTo>
                  <a:lnTo>
                    <a:pt x="687" y="192"/>
                  </a:lnTo>
                  <a:lnTo>
                    <a:pt x="699" y="200"/>
                  </a:lnTo>
                  <a:lnTo>
                    <a:pt x="703" y="203"/>
                  </a:lnTo>
                  <a:lnTo>
                    <a:pt x="708" y="208"/>
                  </a:lnTo>
                  <a:lnTo>
                    <a:pt x="713" y="213"/>
                  </a:lnTo>
                  <a:lnTo>
                    <a:pt x="716" y="218"/>
                  </a:lnTo>
                  <a:lnTo>
                    <a:pt x="721" y="226"/>
                  </a:lnTo>
                  <a:lnTo>
                    <a:pt x="725" y="235"/>
                  </a:lnTo>
                  <a:lnTo>
                    <a:pt x="727" y="244"/>
                  </a:lnTo>
                  <a:lnTo>
                    <a:pt x="728" y="253"/>
                  </a:lnTo>
                  <a:lnTo>
                    <a:pt x="728" y="263"/>
                  </a:lnTo>
                  <a:lnTo>
                    <a:pt x="726" y="272"/>
                  </a:lnTo>
                  <a:lnTo>
                    <a:pt x="723" y="282"/>
                  </a:lnTo>
                  <a:lnTo>
                    <a:pt x="719" y="293"/>
                  </a:lnTo>
                  <a:lnTo>
                    <a:pt x="718" y="298"/>
                  </a:lnTo>
                  <a:lnTo>
                    <a:pt x="719" y="303"/>
                  </a:lnTo>
                  <a:lnTo>
                    <a:pt x="721" y="308"/>
                  </a:lnTo>
                  <a:lnTo>
                    <a:pt x="725" y="312"/>
                  </a:lnTo>
                  <a:lnTo>
                    <a:pt x="731" y="316"/>
                  </a:lnTo>
                  <a:lnTo>
                    <a:pt x="736" y="322"/>
                  </a:lnTo>
                  <a:lnTo>
                    <a:pt x="742" y="327"/>
                  </a:lnTo>
                  <a:lnTo>
                    <a:pt x="747" y="332"/>
                  </a:lnTo>
                  <a:lnTo>
                    <a:pt x="757" y="346"/>
                  </a:lnTo>
                  <a:lnTo>
                    <a:pt x="764" y="361"/>
                  </a:lnTo>
                  <a:lnTo>
                    <a:pt x="769" y="377"/>
                  </a:lnTo>
                  <a:lnTo>
                    <a:pt x="775" y="396"/>
                  </a:lnTo>
                  <a:lnTo>
                    <a:pt x="777" y="414"/>
                  </a:lnTo>
                  <a:lnTo>
                    <a:pt x="778" y="433"/>
                  </a:lnTo>
                  <a:lnTo>
                    <a:pt x="778" y="447"/>
                  </a:lnTo>
                  <a:lnTo>
                    <a:pt x="776" y="461"/>
                  </a:lnTo>
                  <a:lnTo>
                    <a:pt x="773" y="474"/>
                  </a:lnTo>
                  <a:lnTo>
                    <a:pt x="767" y="485"/>
                  </a:lnTo>
                  <a:lnTo>
                    <a:pt x="762" y="498"/>
                  </a:lnTo>
                  <a:lnTo>
                    <a:pt x="756" y="509"/>
                  </a:lnTo>
                  <a:lnTo>
                    <a:pt x="747" y="520"/>
                  </a:lnTo>
                  <a:lnTo>
                    <a:pt x="738" y="528"/>
                  </a:lnTo>
                  <a:lnTo>
                    <a:pt x="729" y="538"/>
                  </a:lnTo>
                  <a:lnTo>
                    <a:pt x="718" y="545"/>
                  </a:lnTo>
                  <a:lnTo>
                    <a:pt x="707" y="552"/>
                  </a:lnTo>
                  <a:lnTo>
                    <a:pt x="696" y="557"/>
                  </a:lnTo>
                  <a:lnTo>
                    <a:pt x="683" y="563"/>
                  </a:lnTo>
                  <a:lnTo>
                    <a:pt x="670" y="566"/>
                  </a:lnTo>
                  <a:lnTo>
                    <a:pt x="656" y="568"/>
                  </a:lnTo>
                  <a:lnTo>
                    <a:pt x="642" y="568"/>
                  </a:lnTo>
                  <a:close/>
                  <a:moveTo>
                    <a:pt x="751" y="294"/>
                  </a:moveTo>
                  <a:lnTo>
                    <a:pt x="755" y="282"/>
                  </a:lnTo>
                  <a:lnTo>
                    <a:pt x="757" y="269"/>
                  </a:lnTo>
                  <a:lnTo>
                    <a:pt x="758" y="257"/>
                  </a:lnTo>
                  <a:lnTo>
                    <a:pt x="757" y="246"/>
                  </a:lnTo>
                  <a:lnTo>
                    <a:pt x="756" y="234"/>
                  </a:lnTo>
                  <a:lnTo>
                    <a:pt x="752" y="222"/>
                  </a:lnTo>
                  <a:lnTo>
                    <a:pt x="747" y="211"/>
                  </a:lnTo>
                  <a:lnTo>
                    <a:pt x="742" y="202"/>
                  </a:lnTo>
                  <a:lnTo>
                    <a:pt x="736" y="195"/>
                  </a:lnTo>
                  <a:lnTo>
                    <a:pt x="732" y="189"/>
                  </a:lnTo>
                  <a:lnTo>
                    <a:pt x="726" y="183"/>
                  </a:lnTo>
                  <a:lnTo>
                    <a:pt x="720" y="177"/>
                  </a:lnTo>
                  <a:lnTo>
                    <a:pt x="714" y="173"/>
                  </a:lnTo>
                  <a:lnTo>
                    <a:pt x="707" y="169"/>
                  </a:lnTo>
                  <a:lnTo>
                    <a:pt x="700" y="164"/>
                  </a:lnTo>
                  <a:lnTo>
                    <a:pt x="692" y="161"/>
                  </a:lnTo>
                  <a:lnTo>
                    <a:pt x="676" y="155"/>
                  </a:lnTo>
                  <a:lnTo>
                    <a:pt x="659" y="150"/>
                  </a:lnTo>
                  <a:lnTo>
                    <a:pt x="642" y="149"/>
                  </a:lnTo>
                  <a:lnTo>
                    <a:pt x="623" y="149"/>
                  </a:lnTo>
                  <a:lnTo>
                    <a:pt x="616" y="135"/>
                  </a:lnTo>
                  <a:lnTo>
                    <a:pt x="609" y="122"/>
                  </a:lnTo>
                  <a:lnTo>
                    <a:pt x="600" y="108"/>
                  </a:lnTo>
                  <a:lnTo>
                    <a:pt x="592" y="95"/>
                  </a:lnTo>
                  <a:lnTo>
                    <a:pt x="581" y="82"/>
                  </a:lnTo>
                  <a:lnTo>
                    <a:pt x="570" y="69"/>
                  </a:lnTo>
                  <a:lnTo>
                    <a:pt x="558" y="57"/>
                  </a:lnTo>
                  <a:lnTo>
                    <a:pt x="546" y="47"/>
                  </a:lnTo>
                  <a:lnTo>
                    <a:pt x="532" y="37"/>
                  </a:lnTo>
                  <a:lnTo>
                    <a:pt x="518" y="27"/>
                  </a:lnTo>
                  <a:lnTo>
                    <a:pt x="503" y="20"/>
                  </a:lnTo>
                  <a:lnTo>
                    <a:pt x="487" y="12"/>
                  </a:lnTo>
                  <a:lnTo>
                    <a:pt x="471" y="7"/>
                  </a:lnTo>
                  <a:lnTo>
                    <a:pt x="455" y="3"/>
                  </a:lnTo>
                  <a:lnTo>
                    <a:pt x="437" y="1"/>
                  </a:lnTo>
                  <a:lnTo>
                    <a:pt x="419" y="0"/>
                  </a:lnTo>
                  <a:lnTo>
                    <a:pt x="395" y="1"/>
                  </a:lnTo>
                  <a:lnTo>
                    <a:pt x="371" y="4"/>
                  </a:lnTo>
                  <a:lnTo>
                    <a:pt x="349" y="8"/>
                  </a:lnTo>
                  <a:lnTo>
                    <a:pt x="327" y="16"/>
                  </a:lnTo>
                  <a:lnTo>
                    <a:pt x="308" y="23"/>
                  </a:lnTo>
                  <a:lnTo>
                    <a:pt x="289" y="33"/>
                  </a:lnTo>
                  <a:lnTo>
                    <a:pt x="272" y="44"/>
                  </a:lnTo>
                  <a:lnTo>
                    <a:pt x="256" y="56"/>
                  </a:lnTo>
                  <a:lnTo>
                    <a:pt x="241" y="69"/>
                  </a:lnTo>
                  <a:lnTo>
                    <a:pt x="228" y="84"/>
                  </a:lnTo>
                  <a:lnTo>
                    <a:pt x="216" y="99"/>
                  </a:lnTo>
                  <a:lnTo>
                    <a:pt x="205" y="114"/>
                  </a:lnTo>
                  <a:lnTo>
                    <a:pt x="197" y="130"/>
                  </a:lnTo>
                  <a:lnTo>
                    <a:pt x="190" y="147"/>
                  </a:lnTo>
                  <a:lnTo>
                    <a:pt x="185" y="163"/>
                  </a:lnTo>
                  <a:lnTo>
                    <a:pt x="181" y="180"/>
                  </a:lnTo>
                  <a:lnTo>
                    <a:pt x="162" y="185"/>
                  </a:lnTo>
                  <a:lnTo>
                    <a:pt x="145" y="190"/>
                  </a:lnTo>
                  <a:lnTo>
                    <a:pt x="127" y="198"/>
                  </a:lnTo>
                  <a:lnTo>
                    <a:pt x="111" y="206"/>
                  </a:lnTo>
                  <a:lnTo>
                    <a:pt x="95" y="216"/>
                  </a:lnTo>
                  <a:lnTo>
                    <a:pt x="80" y="227"/>
                  </a:lnTo>
                  <a:lnTo>
                    <a:pt x="66" y="240"/>
                  </a:lnTo>
                  <a:lnTo>
                    <a:pt x="53" y="253"/>
                  </a:lnTo>
                  <a:lnTo>
                    <a:pt x="41" y="268"/>
                  </a:lnTo>
                  <a:lnTo>
                    <a:pt x="31" y="283"/>
                  </a:lnTo>
                  <a:lnTo>
                    <a:pt x="22" y="300"/>
                  </a:lnTo>
                  <a:lnTo>
                    <a:pt x="15" y="316"/>
                  </a:lnTo>
                  <a:lnTo>
                    <a:pt x="8" y="335"/>
                  </a:lnTo>
                  <a:lnTo>
                    <a:pt x="4" y="352"/>
                  </a:lnTo>
                  <a:lnTo>
                    <a:pt x="1" y="370"/>
                  </a:lnTo>
                  <a:lnTo>
                    <a:pt x="0" y="388"/>
                  </a:lnTo>
                  <a:lnTo>
                    <a:pt x="1" y="399"/>
                  </a:lnTo>
                  <a:lnTo>
                    <a:pt x="1" y="409"/>
                  </a:lnTo>
                  <a:lnTo>
                    <a:pt x="3" y="419"/>
                  </a:lnTo>
                  <a:lnTo>
                    <a:pt x="4" y="430"/>
                  </a:lnTo>
                  <a:lnTo>
                    <a:pt x="9" y="449"/>
                  </a:lnTo>
                  <a:lnTo>
                    <a:pt x="17" y="468"/>
                  </a:lnTo>
                  <a:lnTo>
                    <a:pt x="26" y="487"/>
                  </a:lnTo>
                  <a:lnTo>
                    <a:pt x="37" y="504"/>
                  </a:lnTo>
                  <a:lnTo>
                    <a:pt x="49" y="521"/>
                  </a:lnTo>
                  <a:lnTo>
                    <a:pt x="63" y="536"/>
                  </a:lnTo>
                  <a:lnTo>
                    <a:pt x="78" y="549"/>
                  </a:lnTo>
                  <a:lnTo>
                    <a:pt x="94" y="561"/>
                  </a:lnTo>
                  <a:lnTo>
                    <a:pt x="111" y="572"/>
                  </a:lnTo>
                  <a:lnTo>
                    <a:pt x="129" y="581"/>
                  </a:lnTo>
                  <a:lnTo>
                    <a:pt x="149" y="588"/>
                  </a:lnTo>
                  <a:lnTo>
                    <a:pt x="169" y="594"/>
                  </a:lnTo>
                  <a:lnTo>
                    <a:pt x="179" y="596"/>
                  </a:lnTo>
                  <a:lnTo>
                    <a:pt x="189" y="597"/>
                  </a:lnTo>
                  <a:lnTo>
                    <a:pt x="199" y="598"/>
                  </a:lnTo>
                  <a:lnTo>
                    <a:pt x="210" y="598"/>
                  </a:lnTo>
                  <a:lnTo>
                    <a:pt x="642" y="598"/>
                  </a:lnTo>
                  <a:lnTo>
                    <a:pt x="659" y="597"/>
                  </a:lnTo>
                  <a:lnTo>
                    <a:pt x="675" y="595"/>
                  </a:lnTo>
                  <a:lnTo>
                    <a:pt x="691" y="590"/>
                  </a:lnTo>
                  <a:lnTo>
                    <a:pt x="707" y="585"/>
                  </a:lnTo>
                  <a:lnTo>
                    <a:pt x="721" y="579"/>
                  </a:lnTo>
                  <a:lnTo>
                    <a:pt x="735" y="570"/>
                  </a:lnTo>
                  <a:lnTo>
                    <a:pt x="748" y="560"/>
                  </a:lnTo>
                  <a:lnTo>
                    <a:pt x="760" y="550"/>
                  </a:lnTo>
                  <a:lnTo>
                    <a:pt x="771" y="538"/>
                  </a:lnTo>
                  <a:lnTo>
                    <a:pt x="780" y="525"/>
                  </a:lnTo>
                  <a:lnTo>
                    <a:pt x="789" y="512"/>
                  </a:lnTo>
                  <a:lnTo>
                    <a:pt x="795" y="497"/>
                  </a:lnTo>
                  <a:lnTo>
                    <a:pt x="801" y="482"/>
                  </a:lnTo>
                  <a:lnTo>
                    <a:pt x="805" y="466"/>
                  </a:lnTo>
                  <a:lnTo>
                    <a:pt x="807" y="450"/>
                  </a:lnTo>
                  <a:lnTo>
                    <a:pt x="808" y="433"/>
                  </a:lnTo>
                  <a:lnTo>
                    <a:pt x="808" y="416"/>
                  </a:lnTo>
                  <a:lnTo>
                    <a:pt x="805" y="398"/>
                  </a:lnTo>
                  <a:lnTo>
                    <a:pt x="802" y="378"/>
                  </a:lnTo>
                  <a:lnTo>
                    <a:pt x="795" y="360"/>
                  </a:lnTo>
                  <a:lnTo>
                    <a:pt x="792" y="351"/>
                  </a:lnTo>
                  <a:lnTo>
                    <a:pt x="788" y="342"/>
                  </a:lnTo>
                  <a:lnTo>
                    <a:pt x="783" y="332"/>
                  </a:lnTo>
                  <a:lnTo>
                    <a:pt x="778" y="324"/>
                  </a:lnTo>
                  <a:lnTo>
                    <a:pt x="772" y="316"/>
                  </a:lnTo>
                  <a:lnTo>
                    <a:pt x="766" y="308"/>
                  </a:lnTo>
                  <a:lnTo>
                    <a:pt x="759" y="301"/>
                  </a:lnTo>
                  <a:lnTo>
                    <a:pt x="751"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6" name="Freeform 34">
              <a:extLst>
                <a:ext uri="{FF2B5EF4-FFF2-40B4-BE49-F238E27FC236}">
                  <a16:creationId xmlns:a16="http://schemas.microsoft.com/office/drawing/2014/main" id="{F7FC5A2F-DFD1-4028-8A0A-39B02BC0C500}"/>
                </a:ext>
              </a:extLst>
            </p:cNvPr>
            <p:cNvSpPr>
              <a:spLocks/>
            </p:cNvSpPr>
            <p:nvPr/>
          </p:nvSpPr>
          <p:spPr bwMode="auto">
            <a:xfrm>
              <a:off x="3214688" y="989013"/>
              <a:ext cx="66675" cy="66675"/>
            </a:xfrm>
            <a:custGeom>
              <a:avLst/>
              <a:gdLst>
                <a:gd name="T0" fmla="*/ 205 w 210"/>
                <a:gd name="T1" fmla="*/ 4 h 210"/>
                <a:gd name="T2" fmla="*/ 203 w 210"/>
                <a:gd name="T3" fmla="*/ 2 h 210"/>
                <a:gd name="T4" fmla="*/ 200 w 210"/>
                <a:gd name="T5" fmla="*/ 1 h 210"/>
                <a:gd name="T6" fmla="*/ 198 w 210"/>
                <a:gd name="T7" fmla="*/ 0 h 210"/>
                <a:gd name="T8" fmla="*/ 195 w 210"/>
                <a:gd name="T9" fmla="*/ 0 h 210"/>
                <a:gd name="T10" fmla="*/ 191 w 210"/>
                <a:gd name="T11" fmla="*/ 0 h 210"/>
                <a:gd name="T12" fmla="*/ 189 w 210"/>
                <a:gd name="T13" fmla="*/ 1 h 210"/>
                <a:gd name="T14" fmla="*/ 186 w 210"/>
                <a:gd name="T15" fmla="*/ 2 h 210"/>
                <a:gd name="T16" fmla="*/ 184 w 210"/>
                <a:gd name="T17" fmla="*/ 4 h 210"/>
                <a:gd name="T18" fmla="*/ 4 w 210"/>
                <a:gd name="T19" fmla="*/ 184 h 210"/>
                <a:gd name="T20" fmla="*/ 3 w 210"/>
                <a:gd name="T21" fmla="*/ 186 h 210"/>
                <a:gd name="T22" fmla="*/ 1 w 210"/>
                <a:gd name="T23" fmla="*/ 189 h 210"/>
                <a:gd name="T24" fmla="*/ 0 w 210"/>
                <a:gd name="T25" fmla="*/ 192 h 210"/>
                <a:gd name="T26" fmla="*/ 0 w 210"/>
                <a:gd name="T27" fmla="*/ 195 h 210"/>
                <a:gd name="T28" fmla="*/ 0 w 210"/>
                <a:gd name="T29" fmla="*/ 198 h 210"/>
                <a:gd name="T30" fmla="*/ 1 w 210"/>
                <a:gd name="T31" fmla="*/ 201 h 210"/>
                <a:gd name="T32" fmla="*/ 3 w 210"/>
                <a:gd name="T33" fmla="*/ 203 h 210"/>
                <a:gd name="T34" fmla="*/ 4 w 210"/>
                <a:gd name="T35" fmla="*/ 205 h 210"/>
                <a:gd name="T36" fmla="*/ 7 w 210"/>
                <a:gd name="T37" fmla="*/ 206 h 210"/>
                <a:gd name="T38" fmla="*/ 9 w 210"/>
                <a:gd name="T39" fmla="*/ 208 h 210"/>
                <a:gd name="T40" fmla="*/ 13 w 210"/>
                <a:gd name="T41" fmla="*/ 208 h 210"/>
                <a:gd name="T42" fmla="*/ 15 w 210"/>
                <a:gd name="T43" fmla="*/ 210 h 210"/>
                <a:gd name="T44" fmla="*/ 18 w 210"/>
                <a:gd name="T45" fmla="*/ 208 h 210"/>
                <a:gd name="T46" fmla="*/ 21 w 210"/>
                <a:gd name="T47" fmla="*/ 208 h 210"/>
                <a:gd name="T48" fmla="*/ 23 w 210"/>
                <a:gd name="T49" fmla="*/ 206 h 210"/>
                <a:gd name="T50" fmla="*/ 25 w 210"/>
                <a:gd name="T51" fmla="*/ 205 h 210"/>
                <a:gd name="T52" fmla="*/ 205 w 210"/>
                <a:gd name="T53" fmla="*/ 25 h 210"/>
                <a:gd name="T54" fmla="*/ 207 w 210"/>
                <a:gd name="T55" fmla="*/ 23 h 210"/>
                <a:gd name="T56" fmla="*/ 208 w 210"/>
                <a:gd name="T57" fmla="*/ 21 h 210"/>
                <a:gd name="T58" fmla="*/ 210 w 210"/>
                <a:gd name="T59" fmla="*/ 18 h 210"/>
                <a:gd name="T60" fmla="*/ 210 w 210"/>
                <a:gd name="T61" fmla="*/ 16 h 210"/>
                <a:gd name="T62" fmla="*/ 210 w 210"/>
                <a:gd name="T63" fmla="*/ 13 h 210"/>
                <a:gd name="T64" fmla="*/ 208 w 210"/>
                <a:gd name="T65" fmla="*/ 9 h 210"/>
                <a:gd name="T66" fmla="*/ 207 w 210"/>
                <a:gd name="T67" fmla="*/ 6 h 210"/>
                <a:gd name="T68" fmla="*/ 205 w 210"/>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0" h="210">
                  <a:moveTo>
                    <a:pt x="205" y="4"/>
                  </a:moveTo>
                  <a:lnTo>
                    <a:pt x="203" y="2"/>
                  </a:lnTo>
                  <a:lnTo>
                    <a:pt x="200" y="1"/>
                  </a:lnTo>
                  <a:lnTo>
                    <a:pt x="198" y="0"/>
                  </a:lnTo>
                  <a:lnTo>
                    <a:pt x="195" y="0"/>
                  </a:lnTo>
                  <a:lnTo>
                    <a:pt x="191" y="0"/>
                  </a:lnTo>
                  <a:lnTo>
                    <a:pt x="189" y="1"/>
                  </a:lnTo>
                  <a:lnTo>
                    <a:pt x="186" y="2"/>
                  </a:lnTo>
                  <a:lnTo>
                    <a:pt x="184" y="4"/>
                  </a:lnTo>
                  <a:lnTo>
                    <a:pt x="4" y="184"/>
                  </a:lnTo>
                  <a:lnTo>
                    <a:pt x="3" y="186"/>
                  </a:lnTo>
                  <a:lnTo>
                    <a:pt x="1" y="189"/>
                  </a:lnTo>
                  <a:lnTo>
                    <a:pt x="0" y="192"/>
                  </a:lnTo>
                  <a:lnTo>
                    <a:pt x="0" y="195"/>
                  </a:lnTo>
                  <a:lnTo>
                    <a:pt x="0" y="198"/>
                  </a:lnTo>
                  <a:lnTo>
                    <a:pt x="1" y="201"/>
                  </a:lnTo>
                  <a:lnTo>
                    <a:pt x="3" y="203"/>
                  </a:lnTo>
                  <a:lnTo>
                    <a:pt x="4" y="205"/>
                  </a:lnTo>
                  <a:lnTo>
                    <a:pt x="7" y="206"/>
                  </a:lnTo>
                  <a:lnTo>
                    <a:pt x="9" y="208"/>
                  </a:lnTo>
                  <a:lnTo>
                    <a:pt x="13" y="208"/>
                  </a:lnTo>
                  <a:lnTo>
                    <a:pt x="15" y="210"/>
                  </a:lnTo>
                  <a:lnTo>
                    <a:pt x="18" y="208"/>
                  </a:lnTo>
                  <a:lnTo>
                    <a:pt x="21" y="208"/>
                  </a:lnTo>
                  <a:lnTo>
                    <a:pt x="23" y="206"/>
                  </a:lnTo>
                  <a:lnTo>
                    <a:pt x="25" y="205"/>
                  </a:lnTo>
                  <a:lnTo>
                    <a:pt x="205" y="25"/>
                  </a:lnTo>
                  <a:lnTo>
                    <a:pt x="207" y="23"/>
                  </a:lnTo>
                  <a:lnTo>
                    <a:pt x="208" y="21"/>
                  </a:lnTo>
                  <a:lnTo>
                    <a:pt x="210" y="18"/>
                  </a:lnTo>
                  <a:lnTo>
                    <a:pt x="210" y="16"/>
                  </a:lnTo>
                  <a:lnTo>
                    <a:pt x="210" y="13"/>
                  </a:lnTo>
                  <a:lnTo>
                    <a:pt x="208" y="9"/>
                  </a:lnTo>
                  <a:lnTo>
                    <a:pt x="207" y="6"/>
                  </a:lnTo>
                  <a:lnTo>
                    <a:pt x="20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7" name="Freeform 35">
              <a:extLst>
                <a:ext uri="{FF2B5EF4-FFF2-40B4-BE49-F238E27FC236}">
                  <a16:creationId xmlns:a16="http://schemas.microsoft.com/office/drawing/2014/main" id="{DCB6881E-43C3-43C4-B570-C88D879C6EE9}"/>
                </a:ext>
              </a:extLst>
            </p:cNvPr>
            <p:cNvSpPr>
              <a:spLocks/>
            </p:cNvSpPr>
            <p:nvPr/>
          </p:nvSpPr>
          <p:spPr bwMode="auto">
            <a:xfrm>
              <a:off x="3257550" y="989013"/>
              <a:ext cx="57150" cy="57150"/>
            </a:xfrm>
            <a:custGeom>
              <a:avLst/>
              <a:gdLst>
                <a:gd name="T0" fmla="*/ 175 w 179"/>
                <a:gd name="T1" fmla="*/ 4 h 180"/>
                <a:gd name="T2" fmla="*/ 173 w 179"/>
                <a:gd name="T3" fmla="*/ 2 h 180"/>
                <a:gd name="T4" fmla="*/ 170 w 179"/>
                <a:gd name="T5" fmla="*/ 1 h 180"/>
                <a:gd name="T6" fmla="*/ 168 w 179"/>
                <a:gd name="T7" fmla="*/ 0 h 180"/>
                <a:gd name="T8" fmla="*/ 164 w 179"/>
                <a:gd name="T9" fmla="*/ 0 h 180"/>
                <a:gd name="T10" fmla="*/ 161 w 179"/>
                <a:gd name="T11" fmla="*/ 0 h 180"/>
                <a:gd name="T12" fmla="*/ 159 w 179"/>
                <a:gd name="T13" fmla="*/ 1 h 180"/>
                <a:gd name="T14" fmla="*/ 156 w 179"/>
                <a:gd name="T15" fmla="*/ 2 h 180"/>
                <a:gd name="T16" fmla="*/ 154 w 179"/>
                <a:gd name="T17" fmla="*/ 4 h 180"/>
                <a:gd name="T18" fmla="*/ 4 w 179"/>
                <a:gd name="T19" fmla="*/ 154 h 180"/>
                <a:gd name="T20" fmla="*/ 2 w 179"/>
                <a:gd name="T21" fmla="*/ 156 h 180"/>
                <a:gd name="T22" fmla="*/ 1 w 179"/>
                <a:gd name="T23" fmla="*/ 159 h 180"/>
                <a:gd name="T24" fmla="*/ 0 w 179"/>
                <a:gd name="T25" fmla="*/ 162 h 180"/>
                <a:gd name="T26" fmla="*/ 0 w 179"/>
                <a:gd name="T27" fmla="*/ 165 h 180"/>
                <a:gd name="T28" fmla="*/ 0 w 179"/>
                <a:gd name="T29" fmla="*/ 168 h 180"/>
                <a:gd name="T30" fmla="*/ 1 w 179"/>
                <a:gd name="T31" fmla="*/ 171 h 180"/>
                <a:gd name="T32" fmla="*/ 2 w 179"/>
                <a:gd name="T33" fmla="*/ 173 h 180"/>
                <a:gd name="T34" fmla="*/ 4 w 179"/>
                <a:gd name="T35" fmla="*/ 175 h 180"/>
                <a:gd name="T36" fmla="*/ 6 w 179"/>
                <a:gd name="T37" fmla="*/ 176 h 180"/>
                <a:gd name="T38" fmla="*/ 9 w 179"/>
                <a:gd name="T39" fmla="*/ 179 h 180"/>
                <a:gd name="T40" fmla="*/ 11 w 179"/>
                <a:gd name="T41" fmla="*/ 180 h 180"/>
                <a:gd name="T42" fmla="*/ 15 w 179"/>
                <a:gd name="T43" fmla="*/ 180 h 180"/>
                <a:gd name="T44" fmla="*/ 18 w 179"/>
                <a:gd name="T45" fmla="*/ 180 h 180"/>
                <a:gd name="T46" fmla="*/ 20 w 179"/>
                <a:gd name="T47" fmla="*/ 179 h 180"/>
                <a:gd name="T48" fmla="*/ 23 w 179"/>
                <a:gd name="T49" fmla="*/ 176 h 180"/>
                <a:gd name="T50" fmla="*/ 25 w 179"/>
                <a:gd name="T51" fmla="*/ 175 h 180"/>
                <a:gd name="T52" fmla="*/ 175 w 179"/>
                <a:gd name="T53" fmla="*/ 25 h 180"/>
                <a:gd name="T54" fmla="*/ 177 w 179"/>
                <a:gd name="T55" fmla="*/ 23 h 180"/>
                <a:gd name="T56" fmla="*/ 178 w 179"/>
                <a:gd name="T57" fmla="*/ 21 h 180"/>
                <a:gd name="T58" fmla="*/ 179 w 179"/>
                <a:gd name="T59" fmla="*/ 18 h 180"/>
                <a:gd name="T60" fmla="*/ 179 w 179"/>
                <a:gd name="T61" fmla="*/ 16 h 180"/>
                <a:gd name="T62" fmla="*/ 179 w 179"/>
                <a:gd name="T63" fmla="*/ 13 h 180"/>
                <a:gd name="T64" fmla="*/ 178 w 179"/>
                <a:gd name="T65" fmla="*/ 9 h 180"/>
                <a:gd name="T66" fmla="*/ 177 w 179"/>
                <a:gd name="T67" fmla="*/ 6 h 180"/>
                <a:gd name="T68" fmla="*/ 175 w 179"/>
                <a:gd name="T6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9" h="180">
                  <a:moveTo>
                    <a:pt x="175" y="4"/>
                  </a:moveTo>
                  <a:lnTo>
                    <a:pt x="173" y="2"/>
                  </a:lnTo>
                  <a:lnTo>
                    <a:pt x="170" y="1"/>
                  </a:lnTo>
                  <a:lnTo>
                    <a:pt x="168" y="0"/>
                  </a:lnTo>
                  <a:lnTo>
                    <a:pt x="164" y="0"/>
                  </a:lnTo>
                  <a:lnTo>
                    <a:pt x="161" y="0"/>
                  </a:lnTo>
                  <a:lnTo>
                    <a:pt x="159" y="1"/>
                  </a:lnTo>
                  <a:lnTo>
                    <a:pt x="156" y="2"/>
                  </a:lnTo>
                  <a:lnTo>
                    <a:pt x="154" y="4"/>
                  </a:lnTo>
                  <a:lnTo>
                    <a:pt x="4" y="154"/>
                  </a:lnTo>
                  <a:lnTo>
                    <a:pt x="2" y="156"/>
                  </a:lnTo>
                  <a:lnTo>
                    <a:pt x="1" y="159"/>
                  </a:lnTo>
                  <a:lnTo>
                    <a:pt x="0" y="162"/>
                  </a:lnTo>
                  <a:lnTo>
                    <a:pt x="0" y="165"/>
                  </a:lnTo>
                  <a:lnTo>
                    <a:pt x="0" y="168"/>
                  </a:lnTo>
                  <a:lnTo>
                    <a:pt x="1" y="171"/>
                  </a:lnTo>
                  <a:lnTo>
                    <a:pt x="2" y="173"/>
                  </a:lnTo>
                  <a:lnTo>
                    <a:pt x="4" y="175"/>
                  </a:lnTo>
                  <a:lnTo>
                    <a:pt x="6" y="176"/>
                  </a:lnTo>
                  <a:lnTo>
                    <a:pt x="9" y="179"/>
                  </a:lnTo>
                  <a:lnTo>
                    <a:pt x="11" y="180"/>
                  </a:lnTo>
                  <a:lnTo>
                    <a:pt x="15" y="180"/>
                  </a:lnTo>
                  <a:lnTo>
                    <a:pt x="18" y="180"/>
                  </a:lnTo>
                  <a:lnTo>
                    <a:pt x="20" y="179"/>
                  </a:lnTo>
                  <a:lnTo>
                    <a:pt x="23" y="176"/>
                  </a:lnTo>
                  <a:lnTo>
                    <a:pt x="25" y="175"/>
                  </a:lnTo>
                  <a:lnTo>
                    <a:pt x="175" y="25"/>
                  </a:lnTo>
                  <a:lnTo>
                    <a:pt x="177" y="23"/>
                  </a:lnTo>
                  <a:lnTo>
                    <a:pt x="178" y="21"/>
                  </a:lnTo>
                  <a:lnTo>
                    <a:pt x="179" y="18"/>
                  </a:lnTo>
                  <a:lnTo>
                    <a:pt x="179" y="16"/>
                  </a:lnTo>
                  <a:lnTo>
                    <a:pt x="179" y="13"/>
                  </a:lnTo>
                  <a:lnTo>
                    <a:pt x="178" y="9"/>
                  </a:lnTo>
                  <a:lnTo>
                    <a:pt x="177" y="6"/>
                  </a:lnTo>
                  <a:lnTo>
                    <a:pt x="17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8" name="Freeform 36">
              <a:extLst>
                <a:ext uri="{FF2B5EF4-FFF2-40B4-BE49-F238E27FC236}">
                  <a16:creationId xmlns:a16="http://schemas.microsoft.com/office/drawing/2014/main" id="{CCB8A072-B306-4B4F-AA17-A4E29488F0A3}"/>
                </a:ext>
              </a:extLst>
            </p:cNvPr>
            <p:cNvSpPr>
              <a:spLocks/>
            </p:cNvSpPr>
            <p:nvPr/>
          </p:nvSpPr>
          <p:spPr bwMode="auto">
            <a:xfrm>
              <a:off x="3286125" y="989013"/>
              <a:ext cx="66675" cy="66675"/>
            </a:xfrm>
            <a:custGeom>
              <a:avLst/>
              <a:gdLst>
                <a:gd name="T0" fmla="*/ 205 w 209"/>
                <a:gd name="T1" fmla="*/ 4 h 210"/>
                <a:gd name="T2" fmla="*/ 202 w 209"/>
                <a:gd name="T3" fmla="*/ 2 h 210"/>
                <a:gd name="T4" fmla="*/ 200 w 209"/>
                <a:gd name="T5" fmla="*/ 1 h 210"/>
                <a:gd name="T6" fmla="*/ 197 w 209"/>
                <a:gd name="T7" fmla="*/ 0 h 210"/>
                <a:gd name="T8" fmla="*/ 194 w 209"/>
                <a:gd name="T9" fmla="*/ 0 h 210"/>
                <a:gd name="T10" fmla="*/ 191 w 209"/>
                <a:gd name="T11" fmla="*/ 0 h 210"/>
                <a:gd name="T12" fmla="*/ 188 w 209"/>
                <a:gd name="T13" fmla="*/ 1 h 210"/>
                <a:gd name="T14" fmla="*/ 186 w 209"/>
                <a:gd name="T15" fmla="*/ 2 h 210"/>
                <a:gd name="T16" fmla="*/ 184 w 209"/>
                <a:gd name="T17" fmla="*/ 4 h 210"/>
                <a:gd name="T18" fmla="*/ 4 w 209"/>
                <a:gd name="T19" fmla="*/ 184 h 210"/>
                <a:gd name="T20" fmla="*/ 2 w 209"/>
                <a:gd name="T21" fmla="*/ 186 h 210"/>
                <a:gd name="T22" fmla="*/ 1 w 209"/>
                <a:gd name="T23" fmla="*/ 189 h 210"/>
                <a:gd name="T24" fmla="*/ 0 w 209"/>
                <a:gd name="T25" fmla="*/ 192 h 210"/>
                <a:gd name="T26" fmla="*/ 0 w 209"/>
                <a:gd name="T27" fmla="*/ 195 h 210"/>
                <a:gd name="T28" fmla="*/ 0 w 209"/>
                <a:gd name="T29" fmla="*/ 198 h 210"/>
                <a:gd name="T30" fmla="*/ 1 w 209"/>
                <a:gd name="T31" fmla="*/ 201 h 210"/>
                <a:gd name="T32" fmla="*/ 2 w 209"/>
                <a:gd name="T33" fmla="*/ 203 h 210"/>
                <a:gd name="T34" fmla="*/ 4 w 209"/>
                <a:gd name="T35" fmla="*/ 205 h 210"/>
                <a:gd name="T36" fmla="*/ 6 w 209"/>
                <a:gd name="T37" fmla="*/ 206 h 210"/>
                <a:gd name="T38" fmla="*/ 9 w 209"/>
                <a:gd name="T39" fmla="*/ 208 h 210"/>
                <a:gd name="T40" fmla="*/ 11 w 209"/>
                <a:gd name="T41" fmla="*/ 208 h 210"/>
                <a:gd name="T42" fmla="*/ 15 w 209"/>
                <a:gd name="T43" fmla="*/ 210 h 210"/>
                <a:gd name="T44" fmla="*/ 18 w 209"/>
                <a:gd name="T45" fmla="*/ 208 h 210"/>
                <a:gd name="T46" fmla="*/ 20 w 209"/>
                <a:gd name="T47" fmla="*/ 208 h 210"/>
                <a:gd name="T48" fmla="*/ 23 w 209"/>
                <a:gd name="T49" fmla="*/ 206 h 210"/>
                <a:gd name="T50" fmla="*/ 25 w 209"/>
                <a:gd name="T51" fmla="*/ 205 h 210"/>
                <a:gd name="T52" fmla="*/ 205 w 209"/>
                <a:gd name="T53" fmla="*/ 25 h 210"/>
                <a:gd name="T54" fmla="*/ 206 w 209"/>
                <a:gd name="T55" fmla="*/ 23 h 210"/>
                <a:gd name="T56" fmla="*/ 208 w 209"/>
                <a:gd name="T57" fmla="*/ 21 h 210"/>
                <a:gd name="T58" fmla="*/ 208 w 209"/>
                <a:gd name="T59" fmla="*/ 18 h 210"/>
                <a:gd name="T60" fmla="*/ 209 w 209"/>
                <a:gd name="T61" fmla="*/ 16 h 210"/>
                <a:gd name="T62" fmla="*/ 208 w 209"/>
                <a:gd name="T63" fmla="*/ 13 h 210"/>
                <a:gd name="T64" fmla="*/ 208 w 209"/>
                <a:gd name="T65" fmla="*/ 9 h 210"/>
                <a:gd name="T66" fmla="*/ 206 w 209"/>
                <a:gd name="T67" fmla="*/ 6 h 210"/>
                <a:gd name="T68" fmla="*/ 205 w 209"/>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205" y="4"/>
                  </a:moveTo>
                  <a:lnTo>
                    <a:pt x="202" y="2"/>
                  </a:lnTo>
                  <a:lnTo>
                    <a:pt x="200" y="1"/>
                  </a:lnTo>
                  <a:lnTo>
                    <a:pt x="197" y="0"/>
                  </a:lnTo>
                  <a:lnTo>
                    <a:pt x="194" y="0"/>
                  </a:lnTo>
                  <a:lnTo>
                    <a:pt x="191" y="0"/>
                  </a:lnTo>
                  <a:lnTo>
                    <a:pt x="188" y="1"/>
                  </a:lnTo>
                  <a:lnTo>
                    <a:pt x="186" y="2"/>
                  </a:lnTo>
                  <a:lnTo>
                    <a:pt x="184" y="4"/>
                  </a:lnTo>
                  <a:lnTo>
                    <a:pt x="4" y="184"/>
                  </a:lnTo>
                  <a:lnTo>
                    <a:pt x="2" y="186"/>
                  </a:lnTo>
                  <a:lnTo>
                    <a:pt x="1" y="189"/>
                  </a:lnTo>
                  <a:lnTo>
                    <a:pt x="0" y="192"/>
                  </a:lnTo>
                  <a:lnTo>
                    <a:pt x="0" y="195"/>
                  </a:lnTo>
                  <a:lnTo>
                    <a:pt x="0" y="198"/>
                  </a:lnTo>
                  <a:lnTo>
                    <a:pt x="1" y="201"/>
                  </a:lnTo>
                  <a:lnTo>
                    <a:pt x="2" y="203"/>
                  </a:lnTo>
                  <a:lnTo>
                    <a:pt x="4" y="205"/>
                  </a:lnTo>
                  <a:lnTo>
                    <a:pt x="6" y="206"/>
                  </a:lnTo>
                  <a:lnTo>
                    <a:pt x="9" y="208"/>
                  </a:lnTo>
                  <a:lnTo>
                    <a:pt x="11" y="208"/>
                  </a:lnTo>
                  <a:lnTo>
                    <a:pt x="15" y="210"/>
                  </a:lnTo>
                  <a:lnTo>
                    <a:pt x="18" y="208"/>
                  </a:lnTo>
                  <a:lnTo>
                    <a:pt x="20" y="208"/>
                  </a:lnTo>
                  <a:lnTo>
                    <a:pt x="23" y="206"/>
                  </a:lnTo>
                  <a:lnTo>
                    <a:pt x="25" y="205"/>
                  </a:lnTo>
                  <a:lnTo>
                    <a:pt x="205" y="25"/>
                  </a:lnTo>
                  <a:lnTo>
                    <a:pt x="206" y="23"/>
                  </a:lnTo>
                  <a:lnTo>
                    <a:pt x="208" y="21"/>
                  </a:lnTo>
                  <a:lnTo>
                    <a:pt x="208" y="18"/>
                  </a:lnTo>
                  <a:lnTo>
                    <a:pt x="209" y="16"/>
                  </a:lnTo>
                  <a:lnTo>
                    <a:pt x="208" y="13"/>
                  </a:lnTo>
                  <a:lnTo>
                    <a:pt x="208" y="9"/>
                  </a:lnTo>
                  <a:lnTo>
                    <a:pt x="206" y="6"/>
                  </a:lnTo>
                  <a:lnTo>
                    <a:pt x="20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39" name="Freeform 37">
              <a:extLst>
                <a:ext uri="{FF2B5EF4-FFF2-40B4-BE49-F238E27FC236}">
                  <a16:creationId xmlns:a16="http://schemas.microsoft.com/office/drawing/2014/main" id="{5D9769BE-F42B-46CE-9464-279B6CBFDD55}"/>
                </a:ext>
              </a:extLst>
            </p:cNvPr>
            <p:cNvSpPr>
              <a:spLocks/>
            </p:cNvSpPr>
            <p:nvPr/>
          </p:nvSpPr>
          <p:spPr bwMode="auto">
            <a:xfrm>
              <a:off x="3328988" y="989013"/>
              <a:ext cx="57150" cy="57150"/>
            </a:xfrm>
            <a:custGeom>
              <a:avLst/>
              <a:gdLst>
                <a:gd name="T0" fmla="*/ 176 w 180"/>
                <a:gd name="T1" fmla="*/ 4 h 180"/>
                <a:gd name="T2" fmla="*/ 173 w 180"/>
                <a:gd name="T3" fmla="*/ 2 h 180"/>
                <a:gd name="T4" fmla="*/ 171 w 180"/>
                <a:gd name="T5" fmla="*/ 1 h 180"/>
                <a:gd name="T6" fmla="*/ 167 w 180"/>
                <a:gd name="T7" fmla="*/ 0 h 180"/>
                <a:gd name="T8" fmla="*/ 165 w 180"/>
                <a:gd name="T9" fmla="*/ 0 h 180"/>
                <a:gd name="T10" fmla="*/ 162 w 180"/>
                <a:gd name="T11" fmla="*/ 0 h 180"/>
                <a:gd name="T12" fmla="*/ 159 w 180"/>
                <a:gd name="T13" fmla="*/ 1 h 180"/>
                <a:gd name="T14" fmla="*/ 157 w 180"/>
                <a:gd name="T15" fmla="*/ 2 h 180"/>
                <a:gd name="T16" fmla="*/ 155 w 180"/>
                <a:gd name="T17" fmla="*/ 4 h 180"/>
                <a:gd name="T18" fmla="*/ 5 w 180"/>
                <a:gd name="T19" fmla="*/ 154 h 180"/>
                <a:gd name="T20" fmla="*/ 3 w 180"/>
                <a:gd name="T21" fmla="*/ 156 h 180"/>
                <a:gd name="T22" fmla="*/ 2 w 180"/>
                <a:gd name="T23" fmla="*/ 159 h 180"/>
                <a:gd name="T24" fmla="*/ 0 w 180"/>
                <a:gd name="T25" fmla="*/ 162 h 180"/>
                <a:gd name="T26" fmla="*/ 0 w 180"/>
                <a:gd name="T27" fmla="*/ 165 h 180"/>
                <a:gd name="T28" fmla="*/ 0 w 180"/>
                <a:gd name="T29" fmla="*/ 168 h 180"/>
                <a:gd name="T30" fmla="*/ 2 w 180"/>
                <a:gd name="T31" fmla="*/ 171 h 180"/>
                <a:gd name="T32" fmla="*/ 3 w 180"/>
                <a:gd name="T33" fmla="*/ 173 h 180"/>
                <a:gd name="T34" fmla="*/ 5 w 180"/>
                <a:gd name="T35" fmla="*/ 175 h 180"/>
                <a:gd name="T36" fmla="*/ 7 w 180"/>
                <a:gd name="T37" fmla="*/ 176 h 180"/>
                <a:gd name="T38" fmla="*/ 10 w 180"/>
                <a:gd name="T39" fmla="*/ 179 h 180"/>
                <a:gd name="T40" fmla="*/ 12 w 180"/>
                <a:gd name="T41" fmla="*/ 180 h 180"/>
                <a:gd name="T42" fmla="*/ 15 w 180"/>
                <a:gd name="T43" fmla="*/ 180 h 180"/>
                <a:gd name="T44" fmla="*/ 18 w 180"/>
                <a:gd name="T45" fmla="*/ 180 h 180"/>
                <a:gd name="T46" fmla="*/ 21 w 180"/>
                <a:gd name="T47" fmla="*/ 179 h 180"/>
                <a:gd name="T48" fmla="*/ 23 w 180"/>
                <a:gd name="T49" fmla="*/ 176 h 180"/>
                <a:gd name="T50" fmla="*/ 26 w 180"/>
                <a:gd name="T51" fmla="*/ 175 h 180"/>
                <a:gd name="T52" fmla="*/ 176 w 180"/>
                <a:gd name="T53" fmla="*/ 25 h 180"/>
                <a:gd name="T54" fmla="*/ 177 w 180"/>
                <a:gd name="T55" fmla="*/ 23 h 180"/>
                <a:gd name="T56" fmla="*/ 179 w 180"/>
                <a:gd name="T57" fmla="*/ 21 h 180"/>
                <a:gd name="T58" fmla="*/ 179 w 180"/>
                <a:gd name="T59" fmla="*/ 18 h 180"/>
                <a:gd name="T60" fmla="*/ 180 w 180"/>
                <a:gd name="T61" fmla="*/ 16 h 180"/>
                <a:gd name="T62" fmla="*/ 179 w 180"/>
                <a:gd name="T63" fmla="*/ 13 h 180"/>
                <a:gd name="T64" fmla="*/ 179 w 180"/>
                <a:gd name="T65" fmla="*/ 9 h 180"/>
                <a:gd name="T66" fmla="*/ 177 w 180"/>
                <a:gd name="T67" fmla="*/ 6 h 180"/>
                <a:gd name="T68" fmla="*/ 176 w 180"/>
                <a:gd name="T6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180">
                  <a:moveTo>
                    <a:pt x="176" y="4"/>
                  </a:moveTo>
                  <a:lnTo>
                    <a:pt x="173" y="2"/>
                  </a:lnTo>
                  <a:lnTo>
                    <a:pt x="171" y="1"/>
                  </a:lnTo>
                  <a:lnTo>
                    <a:pt x="167" y="0"/>
                  </a:lnTo>
                  <a:lnTo>
                    <a:pt x="165" y="0"/>
                  </a:lnTo>
                  <a:lnTo>
                    <a:pt x="162" y="0"/>
                  </a:lnTo>
                  <a:lnTo>
                    <a:pt x="159" y="1"/>
                  </a:lnTo>
                  <a:lnTo>
                    <a:pt x="157" y="2"/>
                  </a:lnTo>
                  <a:lnTo>
                    <a:pt x="155" y="4"/>
                  </a:lnTo>
                  <a:lnTo>
                    <a:pt x="5" y="154"/>
                  </a:lnTo>
                  <a:lnTo>
                    <a:pt x="3" y="156"/>
                  </a:lnTo>
                  <a:lnTo>
                    <a:pt x="2" y="159"/>
                  </a:lnTo>
                  <a:lnTo>
                    <a:pt x="0" y="162"/>
                  </a:lnTo>
                  <a:lnTo>
                    <a:pt x="0" y="165"/>
                  </a:lnTo>
                  <a:lnTo>
                    <a:pt x="0" y="168"/>
                  </a:lnTo>
                  <a:lnTo>
                    <a:pt x="2" y="171"/>
                  </a:lnTo>
                  <a:lnTo>
                    <a:pt x="3" y="173"/>
                  </a:lnTo>
                  <a:lnTo>
                    <a:pt x="5" y="175"/>
                  </a:lnTo>
                  <a:lnTo>
                    <a:pt x="7" y="176"/>
                  </a:lnTo>
                  <a:lnTo>
                    <a:pt x="10" y="179"/>
                  </a:lnTo>
                  <a:lnTo>
                    <a:pt x="12" y="180"/>
                  </a:lnTo>
                  <a:lnTo>
                    <a:pt x="15" y="180"/>
                  </a:lnTo>
                  <a:lnTo>
                    <a:pt x="18" y="180"/>
                  </a:lnTo>
                  <a:lnTo>
                    <a:pt x="21" y="179"/>
                  </a:lnTo>
                  <a:lnTo>
                    <a:pt x="23" y="176"/>
                  </a:lnTo>
                  <a:lnTo>
                    <a:pt x="26" y="175"/>
                  </a:lnTo>
                  <a:lnTo>
                    <a:pt x="176" y="25"/>
                  </a:lnTo>
                  <a:lnTo>
                    <a:pt x="177" y="23"/>
                  </a:lnTo>
                  <a:lnTo>
                    <a:pt x="179" y="21"/>
                  </a:lnTo>
                  <a:lnTo>
                    <a:pt x="179" y="18"/>
                  </a:lnTo>
                  <a:lnTo>
                    <a:pt x="180" y="16"/>
                  </a:lnTo>
                  <a:lnTo>
                    <a:pt x="179" y="13"/>
                  </a:lnTo>
                  <a:lnTo>
                    <a:pt x="179" y="9"/>
                  </a:lnTo>
                  <a:lnTo>
                    <a:pt x="177" y="6"/>
                  </a:lnTo>
                  <a:lnTo>
                    <a:pt x="17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0" name="Freeform 38">
              <a:extLst>
                <a:ext uri="{FF2B5EF4-FFF2-40B4-BE49-F238E27FC236}">
                  <a16:creationId xmlns:a16="http://schemas.microsoft.com/office/drawing/2014/main" id="{19ACA0C8-0EC0-447A-BBC1-5912BF05C1A0}"/>
                </a:ext>
              </a:extLst>
            </p:cNvPr>
            <p:cNvSpPr>
              <a:spLocks/>
            </p:cNvSpPr>
            <p:nvPr/>
          </p:nvSpPr>
          <p:spPr bwMode="auto">
            <a:xfrm>
              <a:off x="3352800" y="989013"/>
              <a:ext cx="66675" cy="66675"/>
            </a:xfrm>
            <a:custGeom>
              <a:avLst/>
              <a:gdLst>
                <a:gd name="T0" fmla="*/ 185 w 209"/>
                <a:gd name="T1" fmla="*/ 4 h 210"/>
                <a:gd name="T2" fmla="*/ 5 w 209"/>
                <a:gd name="T3" fmla="*/ 184 h 210"/>
                <a:gd name="T4" fmla="*/ 3 w 209"/>
                <a:gd name="T5" fmla="*/ 186 h 210"/>
                <a:gd name="T6" fmla="*/ 1 w 209"/>
                <a:gd name="T7" fmla="*/ 189 h 210"/>
                <a:gd name="T8" fmla="*/ 0 w 209"/>
                <a:gd name="T9" fmla="*/ 192 h 210"/>
                <a:gd name="T10" fmla="*/ 0 w 209"/>
                <a:gd name="T11" fmla="*/ 195 h 210"/>
                <a:gd name="T12" fmla="*/ 0 w 209"/>
                <a:gd name="T13" fmla="*/ 198 h 210"/>
                <a:gd name="T14" fmla="*/ 1 w 209"/>
                <a:gd name="T15" fmla="*/ 201 h 210"/>
                <a:gd name="T16" fmla="*/ 3 w 209"/>
                <a:gd name="T17" fmla="*/ 203 h 210"/>
                <a:gd name="T18" fmla="*/ 5 w 209"/>
                <a:gd name="T19" fmla="*/ 205 h 210"/>
                <a:gd name="T20" fmla="*/ 7 w 209"/>
                <a:gd name="T21" fmla="*/ 206 h 210"/>
                <a:gd name="T22" fmla="*/ 9 w 209"/>
                <a:gd name="T23" fmla="*/ 208 h 210"/>
                <a:gd name="T24" fmla="*/ 12 w 209"/>
                <a:gd name="T25" fmla="*/ 208 h 210"/>
                <a:gd name="T26" fmla="*/ 15 w 209"/>
                <a:gd name="T27" fmla="*/ 210 h 210"/>
                <a:gd name="T28" fmla="*/ 18 w 209"/>
                <a:gd name="T29" fmla="*/ 208 h 210"/>
                <a:gd name="T30" fmla="*/ 21 w 209"/>
                <a:gd name="T31" fmla="*/ 208 h 210"/>
                <a:gd name="T32" fmla="*/ 23 w 209"/>
                <a:gd name="T33" fmla="*/ 206 h 210"/>
                <a:gd name="T34" fmla="*/ 26 w 209"/>
                <a:gd name="T35" fmla="*/ 205 h 210"/>
                <a:gd name="T36" fmla="*/ 205 w 209"/>
                <a:gd name="T37" fmla="*/ 25 h 210"/>
                <a:gd name="T38" fmla="*/ 207 w 209"/>
                <a:gd name="T39" fmla="*/ 23 h 210"/>
                <a:gd name="T40" fmla="*/ 208 w 209"/>
                <a:gd name="T41" fmla="*/ 21 h 210"/>
                <a:gd name="T42" fmla="*/ 209 w 209"/>
                <a:gd name="T43" fmla="*/ 18 h 210"/>
                <a:gd name="T44" fmla="*/ 209 w 209"/>
                <a:gd name="T45" fmla="*/ 16 h 210"/>
                <a:gd name="T46" fmla="*/ 209 w 209"/>
                <a:gd name="T47" fmla="*/ 13 h 210"/>
                <a:gd name="T48" fmla="*/ 208 w 209"/>
                <a:gd name="T49" fmla="*/ 9 h 210"/>
                <a:gd name="T50" fmla="*/ 207 w 209"/>
                <a:gd name="T51" fmla="*/ 6 h 210"/>
                <a:gd name="T52" fmla="*/ 205 w 209"/>
                <a:gd name="T53" fmla="*/ 4 h 210"/>
                <a:gd name="T54" fmla="*/ 203 w 209"/>
                <a:gd name="T55" fmla="*/ 2 h 210"/>
                <a:gd name="T56" fmla="*/ 201 w 209"/>
                <a:gd name="T57" fmla="*/ 1 h 210"/>
                <a:gd name="T58" fmla="*/ 197 w 209"/>
                <a:gd name="T59" fmla="*/ 0 h 210"/>
                <a:gd name="T60" fmla="*/ 194 w 209"/>
                <a:gd name="T61" fmla="*/ 0 h 210"/>
                <a:gd name="T62" fmla="*/ 192 w 209"/>
                <a:gd name="T63" fmla="*/ 0 h 210"/>
                <a:gd name="T64" fmla="*/ 189 w 209"/>
                <a:gd name="T65" fmla="*/ 1 h 210"/>
                <a:gd name="T66" fmla="*/ 187 w 209"/>
                <a:gd name="T67" fmla="*/ 2 h 210"/>
                <a:gd name="T68" fmla="*/ 185 w 209"/>
                <a:gd name="T69" fmla="*/ 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9" h="210">
                  <a:moveTo>
                    <a:pt x="185" y="4"/>
                  </a:moveTo>
                  <a:lnTo>
                    <a:pt x="5" y="184"/>
                  </a:lnTo>
                  <a:lnTo>
                    <a:pt x="3" y="186"/>
                  </a:lnTo>
                  <a:lnTo>
                    <a:pt x="1" y="189"/>
                  </a:lnTo>
                  <a:lnTo>
                    <a:pt x="0" y="192"/>
                  </a:lnTo>
                  <a:lnTo>
                    <a:pt x="0" y="195"/>
                  </a:lnTo>
                  <a:lnTo>
                    <a:pt x="0" y="198"/>
                  </a:lnTo>
                  <a:lnTo>
                    <a:pt x="1" y="201"/>
                  </a:lnTo>
                  <a:lnTo>
                    <a:pt x="3" y="203"/>
                  </a:lnTo>
                  <a:lnTo>
                    <a:pt x="5" y="205"/>
                  </a:lnTo>
                  <a:lnTo>
                    <a:pt x="7" y="206"/>
                  </a:lnTo>
                  <a:lnTo>
                    <a:pt x="9" y="208"/>
                  </a:lnTo>
                  <a:lnTo>
                    <a:pt x="12" y="208"/>
                  </a:lnTo>
                  <a:lnTo>
                    <a:pt x="15" y="210"/>
                  </a:lnTo>
                  <a:lnTo>
                    <a:pt x="18" y="208"/>
                  </a:lnTo>
                  <a:lnTo>
                    <a:pt x="21" y="208"/>
                  </a:lnTo>
                  <a:lnTo>
                    <a:pt x="23" y="206"/>
                  </a:lnTo>
                  <a:lnTo>
                    <a:pt x="26" y="205"/>
                  </a:lnTo>
                  <a:lnTo>
                    <a:pt x="205" y="25"/>
                  </a:lnTo>
                  <a:lnTo>
                    <a:pt x="207" y="23"/>
                  </a:lnTo>
                  <a:lnTo>
                    <a:pt x="208" y="21"/>
                  </a:lnTo>
                  <a:lnTo>
                    <a:pt x="209" y="18"/>
                  </a:lnTo>
                  <a:lnTo>
                    <a:pt x="209" y="16"/>
                  </a:lnTo>
                  <a:lnTo>
                    <a:pt x="209" y="13"/>
                  </a:lnTo>
                  <a:lnTo>
                    <a:pt x="208" y="9"/>
                  </a:lnTo>
                  <a:lnTo>
                    <a:pt x="207" y="6"/>
                  </a:lnTo>
                  <a:lnTo>
                    <a:pt x="205" y="4"/>
                  </a:lnTo>
                  <a:lnTo>
                    <a:pt x="203" y="2"/>
                  </a:lnTo>
                  <a:lnTo>
                    <a:pt x="201" y="1"/>
                  </a:lnTo>
                  <a:lnTo>
                    <a:pt x="197" y="0"/>
                  </a:lnTo>
                  <a:lnTo>
                    <a:pt x="194" y="0"/>
                  </a:lnTo>
                  <a:lnTo>
                    <a:pt x="192" y="0"/>
                  </a:lnTo>
                  <a:lnTo>
                    <a:pt x="189" y="1"/>
                  </a:lnTo>
                  <a:lnTo>
                    <a:pt x="187" y="2"/>
                  </a:lnTo>
                  <a:lnTo>
                    <a:pt x="18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41" name="Group 45">
            <a:extLst>
              <a:ext uri="{FF2B5EF4-FFF2-40B4-BE49-F238E27FC236}">
                <a16:creationId xmlns:a16="http://schemas.microsoft.com/office/drawing/2014/main" id="{758B57A9-098E-4CF9-A1C3-9103B9B9F32D}"/>
              </a:ext>
            </a:extLst>
          </p:cNvPr>
          <p:cNvGrpSpPr>
            <a:grpSpLocks noChangeAspect="1"/>
          </p:cNvGrpSpPr>
          <p:nvPr/>
        </p:nvGrpSpPr>
        <p:grpSpPr>
          <a:xfrm>
            <a:off x="6641806" y="5944848"/>
            <a:ext cx="277330" cy="308144"/>
            <a:chOff x="4911725" y="769938"/>
            <a:chExt cx="257175" cy="285750"/>
          </a:xfrm>
          <a:solidFill>
            <a:schemeClr val="bg1"/>
          </a:solidFill>
          <a:effectLst/>
        </p:grpSpPr>
        <p:sp>
          <p:nvSpPr>
            <p:cNvPr id="942" name="Freeform 69">
              <a:extLst>
                <a:ext uri="{FF2B5EF4-FFF2-40B4-BE49-F238E27FC236}">
                  <a16:creationId xmlns:a16="http://schemas.microsoft.com/office/drawing/2014/main" id="{1B1B6F7F-FB9A-4665-86B2-B8EFF917FFBB}"/>
                </a:ext>
              </a:extLst>
            </p:cNvPr>
            <p:cNvSpPr>
              <a:spLocks noEditPoints="1"/>
            </p:cNvSpPr>
            <p:nvPr/>
          </p:nvSpPr>
          <p:spPr bwMode="auto">
            <a:xfrm>
              <a:off x="4911725" y="769938"/>
              <a:ext cx="257175" cy="190500"/>
            </a:xfrm>
            <a:custGeom>
              <a:avLst/>
              <a:gdLst>
                <a:gd name="T0" fmla="*/ 175 w 809"/>
                <a:gd name="T1" fmla="*/ 565 h 598"/>
                <a:gd name="T2" fmla="*/ 111 w 809"/>
                <a:gd name="T3" fmla="*/ 537 h 598"/>
                <a:gd name="T4" fmla="*/ 61 w 809"/>
                <a:gd name="T5" fmla="*/ 488 h 598"/>
                <a:gd name="T6" fmla="*/ 34 w 809"/>
                <a:gd name="T7" fmla="*/ 423 h 598"/>
                <a:gd name="T8" fmla="*/ 34 w 809"/>
                <a:gd name="T9" fmla="*/ 356 h 598"/>
                <a:gd name="T10" fmla="*/ 59 w 809"/>
                <a:gd name="T11" fmla="*/ 295 h 598"/>
                <a:gd name="T12" fmla="*/ 104 w 809"/>
                <a:gd name="T13" fmla="*/ 247 h 598"/>
                <a:gd name="T14" fmla="*/ 163 w 809"/>
                <a:gd name="T15" fmla="*/ 216 h 598"/>
                <a:gd name="T16" fmla="*/ 205 w 809"/>
                <a:gd name="T17" fmla="*/ 205 h 598"/>
                <a:gd name="T18" fmla="*/ 212 w 809"/>
                <a:gd name="T19" fmla="*/ 177 h 598"/>
                <a:gd name="T20" fmla="*/ 233 w 809"/>
                <a:gd name="T21" fmla="*/ 127 h 598"/>
                <a:gd name="T22" fmla="*/ 282 w 809"/>
                <a:gd name="T23" fmla="*/ 74 h 598"/>
                <a:gd name="T24" fmla="*/ 348 w 809"/>
                <a:gd name="T25" fmla="*/ 41 h 598"/>
                <a:gd name="T26" fmla="*/ 419 w 809"/>
                <a:gd name="T27" fmla="*/ 29 h 598"/>
                <a:gd name="T28" fmla="*/ 479 w 809"/>
                <a:gd name="T29" fmla="*/ 41 h 598"/>
                <a:gd name="T30" fmla="*/ 530 w 809"/>
                <a:gd name="T31" fmla="*/ 73 h 598"/>
                <a:gd name="T32" fmla="*/ 572 w 809"/>
                <a:gd name="T33" fmla="*/ 118 h 598"/>
                <a:gd name="T34" fmla="*/ 600 w 809"/>
                <a:gd name="T35" fmla="*/ 170 h 598"/>
                <a:gd name="T36" fmla="*/ 616 w 809"/>
                <a:gd name="T37" fmla="*/ 179 h 598"/>
                <a:gd name="T38" fmla="*/ 675 w 809"/>
                <a:gd name="T39" fmla="*/ 186 h 598"/>
                <a:gd name="T40" fmla="*/ 708 w 809"/>
                <a:gd name="T41" fmla="*/ 208 h 598"/>
                <a:gd name="T42" fmla="*/ 724 w 809"/>
                <a:gd name="T43" fmla="*/ 235 h 598"/>
                <a:gd name="T44" fmla="*/ 726 w 809"/>
                <a:gd name="T45" fmla="*/ 272 h 598"/>
                <a:gd name="T46" fmla="*/ 719 w 809"/>
                <a:gd name="T47" fmla="*/ 303 h 598"/>
                <a:gd name="T48" fmla="*/ 737 w 809"/>
                <a:gd name="T49" fmla="*/ 322 h 598"/>
                <a:gd name="T50" fmla="*/ 764 w 809"/>
                <a:gd name="T51" fmla="*/ 361 h 598"/>
                <a:gd name="T52" fmla="*/ 779 w 809"/>
                <a:gd name="T53" fmla="*/ 433 h 598"/>
                <a:gd name="T54" fmla="*/ 768 w 809"/>
                <a:gd name="T55" fmla="*/ 485 h 598"/>
                <a:gd name="T56" fmla="*/ 738 w 809"/>
                <a:gd name="T57" fmla="*/ 528 h 598"/>
                <a:gd name="T58" fmla="*/ 695 w 809"/>
                <a:gd name="T59" fmla="*/ 557 h 598"/>
                <a:gd name="T60" fmla="*/ 643 w 809"/>
                <a:gd name="T61" fmla="*/ 568 h 598"/>
                <a:gd name="T62" fmla="*/ 757 w 809"/>
                <a:gd name="T63" fmla="*/ 257 h 598"/>
                <a:gd name="T64" fmla="*/ 748 w 809"/>
                <a:gd name="T65" fmla="*/ 211 h 598"/>
                <a:gd name="T66" fmla="*/ 726 w 809"/>
                <a:gd name="T67" fmla="*/ 183 h 598"/>
                <a:gd name="T68" fmla="*/ 699 w 809"/>
                <a:gd name="T69" fmla="*/ 164 h 598"/>
                <a:gd name="T70" fmla="*/ 642 w 809"/>
                <a:gd name="T71" fmla="*/ 149 h 598"/>
                <a:gd name="T72" fmla="*/ 601 w 809"/>
                <a:gd name="T73" fmla="*/ 108 h 598"/>
                <a:gd name="T74" fmla="*/ 558 w 809"/>
                <a:gd name="T75" fmla="*/ 57 h 598"/>
                <a:gd name="T76" fmla="*/ 502 w 809"/>
                <a:gd name="T77" fmla="*/ 20 h 598"/>
                <a:gd name="T78" fmla="*/ 437 w 809"/>
                <a:gd name="T79" fmla="*/ 1 h 598"/>
                <a:gd name="T80" fmla="*/ 348 w 809"/>
                <a:gd name="T81" fmla="*/ 8 h 598"/>
                <a:gd name="T82" fmla="*/ 271 w 809"/>
                <a:gd name="T83" fmla="*/ 44 h 598"/>
                <a:gd name="T84" fmla="*/ 216 w 809"/>
                <a:gd name="T85" fmla="*/ 99 h 598"/>
                <a:gd name="T86" fmla="*/ 184 w 809"/>
                <a:gd name="T87" fmla="*/ 163 h 598"/>
                <a:gd name="T88" fmla="*/ 128 w 809"/>
                <a:gd name="T89" fmla="*/ 198 h 598"/>
                <a:gd name="T90" fmla="*/ 66 w 809"/>
                <a:gd name="T91" fmla="*/ 240 h 598"/>
                <a:gd name="T92" fmla="*/ 22 w 809"/>
                <a:gd name="T93" fmla="*/ 300 h 598"/>
                <a:gd name="T94" fmla="*/ 1 w 809"/>
                <a:gd name="T95" fmla="*/ 370 h 598"/>
                <a:gd name="T96" fmla="*/ 2 w 809"/>
                <a:gd name="T97" fmla="*/ 419 h 598"/>
                <a:gd name="T98" fmla="*/ 26 w 809"/>
                <a:gd name="T99" fmla="*/ 487 h 598"/>
                <a:gd name="T100" fmla="*/ 77 w 809"/>
                <a:gd name="T101" fmla="*/ 549 h 598"/>
                <a:gd name="T102" fmla="*/ 149 w 809"/>
                <a:gd name="T103" fmla="*/ 588 h 598"/>
                <a:gd name="T104" fmla="*/ 199 w 809"/>
                <a:gd name="T105" fmla="*/ 598 h 598"/>
                <a:gd name="T106" fmla="*/ 676 w 809"/>
                <a:gd name="T107" fmla="*/ 595 h 598"/>
                <a:gd name="T108" fmla="*/ 735 w 809"/>
                <a:gd name="T109" fmla="*/ 570 h 598"/>
                <a:gd name="T110" fmla="*/ 780 w 809"/>
                <a:gd name="T111" fmla="*/ 525 h 598"/>
                <a:gd name="T112" fmla="*/ 804 w 809"/>
                <a:gd name="T113" fmla="*/ 466 h 598"/>
                <a:gd name="T114" fmla="*/ 805 w 809"/>
                <a:gd name="T115" fmla="*/ 398 h 598"/>
                <a:gd name="T116" fmla="*/ 787 w 809"/>
                <a:gd name="T117" fmla="*/ 342 h 598"/>
                <a:gd name="T118" fmla="*/ 766 w 809"/>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8">
                  <a:moveTo>
                    <a:pt x="643" y="568"/>
                  </a:moveTo>
                  <a:lnTo>
                    <a:pt x="209" y="568"/>
                  </a:lnTo>
                  <a:lnTo>
                    <a:pt x="192" y="567"/>
                  </a:lnTo>
                  <a:lnTo>
                    <a:pt x="175" y="565"/>
                  </a:lnTo>
                  <a:lnTo>
                    <a:pt x="158" y="559"/>
                  </a:lnTo>
                  <a:lnTo>
                    <a:pt x="141" y="554"/>
                  </a:lnTo>
                  <a:lnTo>
                    <a:pt x="126" y="545"/>
                  </a:lnTo>
                  <a:lnTo>
                    <a:pt x="111" y="537"/>
                  </a:lnTo>
                  <a:lnTo>
                    <a:pt x="97" y="526"/>
                  </a:lnTo>
                  <a:lnTo>
                    <a:pt x="84" y="514"/>
                  </a:lnTo>
                  <a:lnTo>
                    <a:pt x="72" y="502"/>
                  </a:lnTo>
                  <a:lnTo>
                    <a:pt x="61" y="488"/>
                  </a:lnTo>
                  <a:lnTo>
                    <a:pt x="53" y="473"/>
                  </a:lnTo>
                  <a:lnTo>
                    <a:pt x="44" y="457"/>
                  </a:lnTo>
                  <a:lnTo>
                    <a:pt x="38" y="441"/>
                  </a:lnTo>
                  <a:lnTo>
                    <a:pt x="34" y="423"/>
                  </a:lnTo>
                  <a:lnTo>
                    <a:pt x="31" y="406"/>
                  </a:lnTo>
                  <a:lnTo>
                    <a:pt x="30" y="388"/>
                  </a:lnTo>
                  <a:lnTo>
                    <a:pt x="30" y="372"/>
                  </a:lnTo>
                  <a:lnTo>
                    <a:pt x="34" y="356"/>
                  </a:lnTo>
                  <a:lnTo>
                    <a:pt x="38" y="340"/>
                  </a:lnTo>
                  <a:lnTo>
                    <a:pt x="43" y="325"/>
                  </a:lnTo>
                  <a:lnTo>
                    <a:pt x="51" y="310"/>
                  </a:lnTo>
                  <a:lnTo>
                    <a:pt x="59" y="295"/>
                  </a:lnTo>
                  <a:lnTo>
                    <a:pt x="69" y="282"/>
                  </a:lnTo>
                  <a:lnTo>
                    <a:pt x="80" y="269"/>
                  </a:lnTo>
                  <a:lnTo>
                    <a:pt x="91" y="257"/>
                  </a:lnTo>
                  <a:lnTo>
                    <a:pt x="104" y="247"/>
                  </a:lnTo>
                  <a:lnTo>
                    <a:pt x="117" y="237"/>
                  </a:lnTo>
                  <a:lnTo>
                    <a:pt x="132" y="229"/>
                  </a:lnTo>
                  <a:lnTo>
                    <a:pt x="147" y="221"/>
                  </a:lnTo>
                  <a:lnTo>
                    <a:pt x="163" y="216"/>
                  </a:lnTo>
                  <a:lnTo>
                    <a:pt x="179" y="211"/>
                  </a:lnTo>
                  <a:lnTo>
                    <a:pt x="196" y="209"/>
                  </a:lnTo>
                  <a:lnTo>
                    <a:pt x="201" y="208"/>
                  </a:lnTo>
                  <a:lnTo>
                    <a:pt x="205" y="205"/>
                  </a:lnTo>
                  <a:lnTo>
                    <a:pt x="208" y="201"/>
                  </a:lnTo>
                  <a:lnTo>
                    <a:pt x="209" y="195"/>
                  </a:lnTo>
                  <a:lnTo>
                    <a:pt x="210" y="186"/>
                  </a:lnTo>
                  <a:lnTo>
                    <a:pt x="212" y="177"/>
                  </a:lnTo>
                  <a:lnTo>
                    <a:pt x="214" y="168"/>
                  </a:lnTo>
                  <a:lnTo>
                    <a:pt x="217" y="159"/>
                  </a:lnTo>
                  <a:lnTo>
                    <a:pt x="224" y="142"/>
                  </a:lnTo>
                  <a:lnTo>
                    <a:pt x="233" y="127"/>
                  </a:lnTo>
                  <a:lnTo>
                    <a:pt x="243" y="112"/>
                  </a:lnTo>
                  <a:lnTo>
                    <a:pt x="255" y="98"/>
                  </a:lnTo>
                  <a:lnTo>
                    <a:pt x="268" y="85"/>
                  </a:lnTo>
                  <a:lnTo>
                    <a:pt x="282" y="74"/>
                  </a:lnTo>
                  <a:lnTo>
                    <a:pt x="298" y="64"/>
                  </a:lnTo>
                  <a:lnTo>
                    <a:pt x="314" y="55"/>
                  </a:lnTo>
                  <a:lnTo>
                    <a:pt x="330" y="48"/>
                  </a:lnTo>
                  <a:lnTo>
                    <a:pt x="348" y="41"/>
                  </a:lnTo>
                  <a:lnTo>
                    <a:pt x="365" y="36"/>
                  </a:lnTo>
                  <a:lnTo>
                    <a:pt x="384" y="33"/>
                  </a:lnTo>
                  <a:lnTo>
                    <a:pt x="402" y="31"/>
                  </a:lnTo>
                  <a:lnTo>
                    <a:pt x="419" y="29"/>
                  </a:lnTo>
                  <a:lnTo>
                    <a:pt x="435" y="31"/>
                  </a:lnTo>
                  <a:lnTo>
                    <a:pt x="450" y="33"/>
                  </a:lnTo>
                  <a:lnTo>
                    <a:pt x="464" y="36"/>
                  </a:lnTo>
                  <a:lnTo>
                    <a:pt x="479" y="41"/>
                  </a:lnTo>
                  <a:lnTo>
                    <a:pt x="493" y="48"/>
                  </a:lnTo>
                  <a:lnTo>
                    <a:pt x="506" y="55"/>
                  </a:lnTo>
                  <a:lnTo>
                    <a:pt x="519" y="64"/>
                  </a:lnTo>
                  <a:lnTo>
                    <a:pt x="530" y="73"/>
                  </a:lnTo>
                  <a:lnTo>
                    <a:pt x="542" y="84"/>
                  </a:lnTo>
                  <a:lnTo>
                    <a:pt x="553" y="95"/>
                  </a:lnTo>
                  <a:lnTo>
                    <a:pt x="562" y="107"/>
                  </a:lnTo>
                  <a:lnTo>
                    <a:pt x="572" y="118"/>
                  </a:lnTo>
                  <a:lnTo>
                    <a:pt x="581" y="131"/>
                  </a:lnTo>
                  <a:lnTo>
                    <a:pt x="587" y="144"/>
                  </a:lnTo>
                  <a:lnTo>
                    <a:pt x="595" y="157"/>
                  </a:lnTo>
                  <a:lnTo>
                    <a:pt x="600" y="170"/>
                  </a:lnTo>
                  <a:lnTo>
                    <a:pt x="602" y="174"/>
                  </a:lnTo>
                  <a:lnTo>
                    <a:pt x="606" y="177"/>
                  </a:lnTo>
                  <a:lnTo>
                    <a:pt x="611" y="179"/>
                  </a:lnTo>
                  <a:lnTo>
                    <a:pt x="616" y="179"/>
                  </a:lnTo>
                  <a:lnTo>
                    <a:pt x="631" y="178"/>
                  </a:lnTo>
                  <a:lnTo>
                    <a:pt x="646" y="179"/>
                  </a:lnTo>
                  <a:lnTo>
                    <a:pt x="661" y="181"/>
                  </a:lnTo>
                  <a:lnTo>
                    <a:pt x="675" y="186"/>
                  </a:lnTo>
                  <a:lnTo>
                    <a:pt x="688" y="192"/>
                  </a:lnTo>
                  <a:lnTo>
                    <a:pt x="698" y="200"/>
                  </a:lnTo>
                  <a:lnTo>
                    <a:pt x="704" y="203"/>
                  </a:lnTo>
                  <a:lnTo>
                    <a:pt x="708" y="208"/>
                  </a:lnTo>
                  <a:lnTo>
                    <a:pt x="712" y="213"/>
                  </a:lnTo>
                  <a:lnTo>
                    <a:pt x="717" y="218"/>
                  </a:lnTo>
                  <a:lnTo>
                    <a:pt x="721" y="226"/>
                  </a:lnTo>
                  <a:lnTo>
                    <a:pt x="724" y="235"/>
                  </a:lnTo>
                  <a:lnTo>
                    <a:pt x="726" y="244"/>
                  </a:lnTo>
                  <a:lnTo>
                    <a:pt x="727" y="253"/>
                  </a:lnTo>
                  <a:lnTo>
                    <a:pt x="727" y="263"/>
                  </a:lnTo>
                  <a:lnTo>
                    <a:pt x="726" y="272"/>
                  </a:lnTo>
                  <a:lnTo>
                    <a:pt x="723" y="282"/>
                  </a:lnTo>
                  <a:lnTo>
                    <a:pt x="720" y="293"/>
                  </a:lnTo>
                  <a:lnTo>
                    <a:pt x="719" y="298"/>
                  </a:lnTo>
                  <a:lnTo>
                    <a:pt x="719" y="303"/>
                  </a:lnTo>
                  <a:lnTo>
                    <a:pt x="721" y="308"/>
                  </a:lnTo>
                  <a:lnTo>
                    <a:pt x="725" y="312"/>
                  </a:lnTo>
                  <a:lnTo>
                    <a:pt x="731" y="316"/>
                  </a:lnTo>
                  <a:lnTo>
                    <a:pt x="737" y="322"/>
                  </a:lnTo>
                  <a:lnTo>
                    <a:pt x="742" y="327"/>
                  </a:lnTo>
                  <a:lnTo>
                    <a:pt x="747" y="332"/>
                  </a:lnTo>
                  <a:lnTo>
                    <a:pt x="756" y="346"/>
                  </a:lnTo>
                  <a:lnTo>
                    <a:pt x="764" y="361"/>
                  </a:lnTo>
                  <a:lnTo>
                    <a:pt x="770" y="377"/>
                  </a:lnTo>
                  <a:lnTo>
                    <a:pt x="774" y="396"/>
                  </a:lnTo>
                  <a:lnTo>
                    <a:pt x="778" y="414"/>
                  </a:lnTo>
                  <a:lnTo>
                    <a:pt x="779" y="433"/>
                  </a:lnTo>
                  <a:lnTo>
                    <a:pt x="778" y="447"/>
                  </a:lnTo>
                  <a:lnTo>
                    <a:pt x="775" y="461"/>
                  </a:lnTo>
                  <a:lnTo>
                    <a:pt x="772" y="474"/>
                  </a:lnTo>
                  <a:lnTo>
                    <a:pt x="768" y="485"/>
                  </a:lnTo>
                  <a:lnTo>
                    <a:pt x="762" y="498"/>
                  </a:lnTo>
                  <a:lnTo>
                    <a:pt x="755" y="509"/>
                  </a:lnTo>
                  <a:lnTo>
                    <a:pt x="748" y="520"/>
                  </a:lnTo>
                  <a:lnTo>
                    <a:pt x="738" y="528"/>
                  </a:lnTo>
                  <a:lnTo>
                    <a:pt x="728" y="538"/>
                  </a:lnTo>
                  <a:lnTo>
                    <a:pt x="719" y="545"/>
                  </a:lnTo>
                  <a:lnTo>
                    <a:pt x="707" y="552"/>
                  </a:lnTo>
                  <a:lnTo>
                    <a:pt x="695" y="557"/>
                  </a:lnTo>
                  <a:lnTo>
                    <a:pt x="682" y="563"/>
                  </a:lnTo>
                  <a:lnTo>
                    <a:pt x="669" y="566"/>
                  </a:lnTo>
                  <a:lnTo>
                    <a:pt x="657" y="568"/>
                  </a:lnTo>
                  <a:lnTo>
                    <a:pt x="643" y="568"/>
                  </a:lnTo>
                  <a:close/>
                  <a:moveTo>
                    <a:pt x="752" y="294"/>
                  </a:moveTo>
                  <a:lnTo>
                    <a:pt x="755" y="282"/>
                  </a:lnTo>
                  <a:lnTo>
                    <a:pt x="757" y="269"/>
                  </a:lnTo>
                  <a:lnTo>
                    <a:pt x="757" y="257"/>
                  </a:lnTo>
                  <a:lnTo>
                    <a:pt x="757" y="246"/>
                  </a:lnTo>
                  <a:lnTo>
                    <a:pt x="755" y="234"/>
                  </a:lnTo>
                  <a:lnTo>
                    <a:pt x="752" y="222"/>
                  </a:lnTo>
                  <a:lnTo>
                    <a:pt x="748" y="211"/>
                  </a:lnTo>
                  <a:lnTo>
                    <a:pt x="741" y="202"/>
                  </a:lnTo>
                  <a:lnTo>
                    <a:pt x="737" y="195"/>
                  </a:lnTo>
                  <a:lnTo>
                    <a:pt x="732" y="189"/>
                  </a:lnTo>
                  <a:lnTo>
                    <a:pt x="726" y="183"/>
                  </a:lnTo>
                  <a:lnTo>
                    <a:pt x="720" y="177"/>
                  </a:lnTo>
                  <a:lnTo>
                    <a:pt x="713" y="173"/>
                  </a:lnTo>
                  <a:lnTo>
                    <a:pt x="707" y="169"/>
                  </a:lnTo>
                  <a:lnTo>
                    <a:pt x="699" y="164"/>
                  </a:lnTo>
                  <a:lnTo>
                    <a:pt x="692" y="161"/>
                  </a:lnTo>
                  <a:lnTo>
                    <a:pt x="676" y="155"/>
                  </a:lnTo>
                  <a:lnTo>
                    <a:pt x="660" y="150"/>
                  </a:lnTo>
                  <a:lnTo>
                    <a:pt x="642" y="149"/>
                  </a:lnTo>
                  <a:lnTo>
                    <a:pt x="623" y="149"/>
                  </a:lnTo>
                  <a:lnTo>
                    <a:pt x="617" y="135"/>
                  </a:lnTo>
                  <a:lnTo>
                    <a:pt x="610" y="122"/>
                  </a:lnTo>
                  <a:lnTo>
                    <a:pt x="601" y="108"/>
                  </a:lnTo>
                  <a:lnTo>
                    <a:pt x="591" y="95"/>
                  </a:lnTo>
                  <a:lnTo>
                    <a:pt x="581" y="82"/>
                  </a:lnTo>
                  <a:lnTo>
                    <a:pt x="570" y="69"/>
                  </a:lnTo>
                  <a:lnTo>
                    <a:pt x="558" y="57"/>
                  </a:lnTo>
                  <a:lnTo>
                    <a:pt x="545" y="47"/>
                  </a:lnTo>
                  <a:lnTo>
                    <a:pt x="531" y="37"/>
                  </a:lnTo>
                  <a:lnTo>
                    <a:pt x="517" y="27"/>
                  </a:lnTo>
                  <a:lnTo>
                    <a:pt x="502" y="20"/>
                  </a:lnTo>
                  <a:lnTo>
                    <a:pt x="487" y="12"/>
                  </a:lnTo>
                  <a:lnTo>
                    <a:pt x="471" y="7"/>
                  </a:lnTo>
                  <a:lnTo>
                    <a:pt x="454" y="3"/>
                  </a:lnTo>
                  <a:lnTo>
                    <a:pt x="437" y="1"/>
                  </a:lnTo>
                  <a:lnTo>
                    <a:pt x="419" y="0"/>
                  </a:lnTo>
                  <a:lnTo>
                    <a:pt x="394" y="1"/>
                  </a:lnTo>
                  <a:lnTo>
                    <a:pt x="371" y="4"/>
                  </a:lnTo>
                  <a:lnTo>
                    <a:pt x="348" y="8"/>
                  </a:lnTo>
                  <a:lnTo>
                    <a:pt x="328" y="16"/>
                  </a:lnTo>
                  <a:lnTo>
                    <a:pt x="308" y="23"/>
                  </a:lnTo>
                  <a:lnTo>
                    <a:pt x="288" y="33"/>
                  </a:lnTo>
                  <a:lnTo>
                    <a:pt x="271" y="44"/>
                  </a:lnTo>
                  <a:lnTo>
                    <a:pt x="255" y="56"/>
                  </a:lnTo>
                  <a:lnTo>
                    <a:pt x="241" y="69"/>
                  </a:lnTo>
                  <a:lnTo>
                    <a:pt x="227" y="84"/>
                  </a:lnTo>
                  <a:lnTo>
                    <a:pt x="216" y="99"/>
                  </a:lnTo>
                  <a:lnTo>
                    <a:pt x="206" y="114"/>
                  </a:lnTo>
                  <a:lnTo>
                    <a:pt x="197" y="130"/>
                  </a:lnTo>
                  <a:lnTo>
                    <a:pt x="190" y="147"/>
                  </a:lnTo>
                  <a:lnTo>
                    <a:pt x="184" y="163"/>
                  </a:lnTo>
                  <a:lnTo>
                    <a:pt x="181" y="180"/>
                  </a:lnTo>
                  <a:lnTo>
                    <a:pt x="163" y="185"/>
                  </a:lnTo>
                  <a:lnTo>
                    <a:pt x="145" y="190"/>
                  </a:lnTo>
                  <a:lnTo>
                    <a:pt x="128" y="198"/>
                  </a:lnTo>
                  <a:lnTo>
                    <a:pt x="111" y="206"/>
                  </a:lnTo>
                  <a:lnTo>
                    <a:pt x="95" y="216"/>
                  </a:lnTo>
                  <a:lnTo>
                    <a:pt x="81" y="227"/>
                  </a:lnTo>
                  <a:lnTo>
                    <a:pt x="66" y="240"/>
                  </a:lnTo>
                  <a:lnTo>
                    <a:pt x="53" y="253"/>
                  </a:lnTo>
                  <a:lnTo>
                    <a:pt x="41" y="268"/>
                  </a:lnTo>
                  <a:lnTo>
                    <a:pt x="31" y="283"/>
                  </a:lnTo>
                  <a:lnTo>
                    <a:pt x="22" y="300"/>
                  </a:lnTo>
                  <a:lnTo>
                    <a:pt x="14" y="316"/>
                  </a:lnTo>
                  <a:lnTo>
                    <a:pt x="8" y="335"/>
                  </a:lnTo>
                  <a:lnTo>
                    <a:pt x="4" y="352"/>
                  </a:lnTo>
                  <a:lnTo>
                    <a:pt x="1" y="370"/>
                  </a:lnTo>
                  <a:lnTo>
                    <a:pt x="0" y="388"/>
                  </a:lnTo>
                  <a:lnTo>
                    <a:pt x="0" y="399"/>
                  </a:lnTo>
                  <a:lnTo>
                    <a:pt x="1" y="409"/>
                  </a:lnTo>
                  <a:lnTo>
                    <a:pt x="2" y="419"/>
                  </a:lnTo>
                  <a:lnTo>
                    <a:pt x="5" y="430"/>
                  </a:lnTo>
                  <a:lnTo>
                    <a:pt x="10" y="449"/>
                  </a:lnTo>
                  <a:lnTo>
                    <a:pt x="17" y="468"/>
                  </a:lnTo>
                  <a:lnTo>
                    <a:pt x="26" y="487"/>
                  </a:lnTo>
                  <a:lnTo>
                    <a:pt x="37" y="504"/>
                  </a:lnTo>
                  <a:lnTo>
                    <a:pt x="50" y="521"/>
                  </a:lnTo>
                  <a:lnTo>
                    <a:pt x="62" y="536"/>
                  </a:lnTo>
                  <a:lnTo>
                    <a:pt x="77" y="549"/>
                  </a:lnTo>
                  <a:lnTo>
                    <a:pt x="95" y="561"/>
                  </a:lnTo>
                  <a:lnTo>
                    <a:pt x="112" y="572"/>
                  </a:lnTo>
                  <a:lnTo>
                    <a:pt x="130" y="581"/>
                  </a:lnTo>
                  <a:lnTo>
                    <a:pt x="149" y="588"/>
                  </a:lnTo>
                  <a:lnTo>
                    <a:pt x="168" y="594"/>
                  </a:lnTo>
                  <a:lnTo>
                    <a:pt x="178" y="596"/>
                  </a:lnTo>
                  <a:lnTo>
                    <a:pt x="189" y="597"/>
                  </a:lnTo>
                  <a:lnTo>
                    <a:pt x="199" y="598"/>
                  </a:lnTo>
                  <a:lnTo>
                    <a:pt x="209" y="598"/>
                  </a:lnTo>
                  <a:lnTo>
                    <a:pt x="643" y="598"/>
                  </a:lnTo>
                  <a:lnTo>
                    <a:pt x="659" y="597"/>
                  </a:lnTo>
                  <a:lnTo>
                    <a:pt x="676" y="595"/>
                  </a:lnTo>
                  <a:lnTo>
                    <a:pt x="692" y="590"/>
                  </a:lnTo>
                  <a:lnTo>
                    <a:pt x="707" y="585"/>
                  </a:lnTo>
                  <a:lnTo>
                    <a:pt x="721" y="579"/>
                  </a:lnTo>
                  <a:lnTo>
                    <a:pt x="735" y="570"/>
                  </a:lnTo>
                  <a:lnTo>
                    <a:pt x="748" y="560"/>
                  </a:lnTo>
                  <a:lnTo>
                    <a:pt x="759" y="550"/>
                  </a:lnTo>
                  <a:lnTo>
                    <a:pt x="770" y="538"/>
                  </a:lnTo>
                  <a:lnTo>
                    <a:pt x="780" y="525"/>
                  </a:lnTo>
                  <a:lnTo>
                    <a:pt x="788" y="512"/>
                  </a:lnTo>
                  <a:lnTo>
                    <a:pt x="795" y="497"/>
                  </a:lnTo>
                  <a:lnTo>
                    <a:pt x="801" y="482"/>
                  </a:lnTo>
                  <a:lnTo>
                    <a:pt x="804" y="466"/>
                  </a:lnTo>
                  <a:lnTo>
                    <a:pt x="808" y="450"/>
                  </a:lnTo>
                  <a:lnTo>
                    <a:pt x="809" y="433"/>
                  </a:lnTo>
                  <a:lnTo>
                    <a:pt x="808" y="416"/>
                  </a:lnTo>
                  <a:lnTo>
                    <a:pt x="805" y="398"/>
                  </a:lnTo>
                  <a:lnTo>
                    <a:pt x="801" y="378"/>
                  </a:lnTo>
                  <a:lnTo>
                    <a:pt x="796" y="360"/>
                  </a:lnTo>
                  <a:lnTo>
                    <a:pt x="792" y="351"/>
                  </a:lnTo>
                  <a:lnTo>
                    <a:pt x="787" y="342"/>
                  </a:lnTo>
                  <a:lnTo>
                    <a:pt x="783" y="332"/>
                  </a:lnTo>
                  <a:lnTo>
                    <a:pt x="778" y="324"/>
                  </a:lnTo>
                  <a:lnTo>
                    <a:pt x="772" y="316"/>
                  </a:lnTo>
                  <a:lnTo>
                    <a:pt x="766"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3" name="Freeform 70">
              <a:extLst>
                <a:ext uri="{FF2B5EF4-FFF2-40B4-BE49-F238E27FC236}">
                  <a16:creationId xmlns:a16="http://schemas.microsoft.com/office/drawing/2014/main" id="{24ECE3B5-DDD5-4A64-A08F-61A00E8D16D6}"/>
                </a:ext>
              </a:extLst>
            </p:cNvPr>
            <p:cNvSpPr>
              <a:spLocks/>
            </p:cNvSpPr>
            <p:nvPr/>
          </p:nvSpPr>
          <p:spPr bwMode="auto">
            <a:xfrm>
              <a:off x="5078413" y="98901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2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29" y="18"/>
                  </a:lnTo>
                  <a:lnTo>
                    <a:pt x="30" y="15"/>
                  </a:lnTo>
                  <a:lnTo>
                    <a:pt x="29" y="12"/>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4" name="Freeform 71">
              <a:extLst>
                <a:ext uri="{FF2B5EF4-FFF2-40B4-BE49-F238E27FC236}">
                  <a16:creationId xmlns:a16="http://schemas.microsoft.com/office/drawing/2014/main" id="{2F287B2A-626B-4548-8391-38F4DB188242}"/>
                </a:ext>
              </a:extLst>
            </p:cNvPr>
            <p:cNvSpPr>
              <a:spLocks/>
            </p:cNvSpPr>
            <p:nvPr/>
          </p:nvSpPr>
          <p:spPr bwMode="auto">
            <a:xfrm>
              <a:off x="5030788" y="98901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30" y="18"/>
                  </a:lnTo>
                  <a:lnTo>
                    <a:pt x="30" y="15"/>
                  </a:lnTo>
                  <a:lnTo>
                    <a:pt x="30" y="12"/>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5" name="Freeform 72">
              <a:extLst>
                <a:ext uri="{FF2B5EF4-FFF2-40B4-BE49-F238E27FC236}">
                  <a16:creationId xmlns:a16="http://schemas.microsoft.com/office/drawing/2014/main" id="{716EBE56-3AC7-45E8-8B36-0444D981B2C4}"/>
                </a:ext>
              </a:extLst>
            </p:cNvPr>
            <p:cNvSpPr>
              <a:spLocks/>
            </p:cNvSpPr>
            <p:nvPr/>
          </p:nvSpPr>
          <p:spPr bwMode="auto">
            <a:xfrm>
              <a:off x="4983163" y="989013"/>
              <a:ext cx="9525" cy="9525"/>
            </a:xfrm>
            <a:custGeom>
              <a:avLst/>
              <a:gdLst>
                <a:gd name="T0" fmla="*/ 15 w 30"/>
                <a:gd name="T1" fmla="*/ 0 h 30"/>
                <a:gd name="T2" fmla="*/ 12 w 30"/>
                <a:gd name="T3" fmla="*/ 0 h 30"/>
                <a:gd name="T4" fmla="*/ 10 w 30"/>
                <a:gd name="T5" fmla="*/ 1 h 30"/>
                <a:gd name="T6" fmla="*/ 6 w 30"/>
                <a:gd name="T7" fmla="*/ 3 h 30"/>
                <a:gd name="T8" fmla="*/ 4 w 30"/>
                <a:gd name="T9" fmla="*/ 4 h 30"/>
                <a:gd name="T10" fmla="*/ 3 w 30"/>
                <a:gd name="T11" fmla="*/ 6 h 30"/>
                <a:gd name="T12" fmla="*/ 1 w 30"/>
                <a:gd name="T13" fmla="*/ 9 h 30"/>
                <a:gd name="T14" fmla="*/ 0 w 30"/>
                <a:gd name="T15" fmla="*/ 12 h 30"/>
                <a:gd name="T16" fmla="*/ 0 w 30"/>
                <a:gd name="T17" fmla="*/ 15 h 30"/>
                <a:gd name="T18" fmla="*/ 0 w 30"/>
                <a:gd name="T19" fmla="*/ 18 h 30"/>
                <a:gd name="T20" fmla="*/ 1 w 30"/>
                <a:gd name="T21" fmla="*/ 21 h 30"/>
                <a:gd name="T22" fmla="*/ 3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8 w 30"/>
                <a:gd name="T55" fmla="*/ 6 h 30"/>
                <a:gd name="T56" fmla="*/ 26 w 30"/>
                <a:gd name="T57" fmla="*/ 4 h 30"/>
                <a:gd name="T58" fmla="*/ 24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3"/>
                  </a:lnTo>
                  <a:lnTo>
                    <a:pt x="4" y="4"/>
                  </a:lnTo>
                  <a:lnTo>
                    <a:pt x="3" y="6"/>
                  </a:lnTo>
                  <a:lnTo>
                    <a:pt x="1" y="9"/>
                  </a:lnTo>
                  <a:lnTo>
                    <a:pt x="0" y="12"/>
                  </a:lnTo>
                  <a:lnTo>
                    <a:pt x="0" y="15"/>
                  </a:lnTo>
                  <a:lnTo>
                    <a:pt x="0" y="18"/>
                  </a:lnTo>
                  <a:lnTo>
                    <a:pt x="1" y="21"/>
                  </a:lnTo>
                  <a:lnTo>
                    <a:pt x="3" y="23"/>
                  </a:lnTo>
                  <a:lnTo>
                    <a:pt x="4" y="25"/>
                  </a:lnTo>
                  <a:lnTo>
                    <a:pt x="6" y="28"/>
                  </a:lnTo>
                  <a:lnTo>
                    <a:pt x="10" y="29"/>
                  </a:lnTo>
                  <a:lnTo>
                    <a:pt x="12" y="30"/>
                  </a:lnTo>
                  <a:lnTo>
                    <a:pt x="15" y="30"/>
                  </a:lnTo>
                  <a:lnTo>
                    <a:pt x="18" y="30"/>
                  </a:lnTo>
                  <a:lnTo>
                    <a:pt x="21"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6" name="Freeform 73">
              <a:extLst>
                <a:ext uri="{FF2B5EF4-FFF2-40B4-BE49-F238E27FC236}">
                  <a16:creationId xmlns:a16="http://schemas.microsoft.com/office/drawing/2014/main" id="{F4D68C97-9BD3-4C30-B404-5B5D18A4CAEF}"/>
                </a:ext>
              </a:extLst>
            </p:cNvPr>
            <p:cNvSpPr>
              <a:spLocks/>
            </p:cNvSpPr>
            <p:nvPr/>
          </p:nvSpPr>
          <p:spPr bwMode="auto">
            <a:xfrm>
              <a:off x="5078413" y="102711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7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7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8" y="30"/>
                  </a:lnTo>
                  <a:lnTo>
                    <a:pt x="20" y="29"/>
                  </a:lnTo>
                  <a:lnTo>
                    <a:pt x="23" y="27"/>
                  </a:lnTo>
                  <a:lnTo>
                    <a:pt x="26" y="25"/>
                  </a:lnTo>
                  <a:lnTo>
                    <a:pt x="27" y="23"/>
                  </a:lnTo>
                  <a:lnTo>
                    <a:pt x="29" y="21"/>
                  </a:lnTo>
                  <a:lnTo>
                    <a:pt x="29" y="18"/>
                  </a:lnTo>
                  <a:lnTo>
                    <a:pt x="30" y="15"/>
                  </a:lnTo>
                  <a:lnTo>
                    <a:pt x="29"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7" name="Freeform 74">
              <a:extLst>
                <a:ext uri="{FF2B5EF4-FFF2-40B4-BE49-F238E27FC236}">
                  <a16:creationId xmlns:a16="http://schemas.microsoft.com/office/drawing/2014/main" id="{0C7F7107-77BC-4786-82A7-717059E3513E}"/>
                </a:ext>
              </a:extLst>
            </p:cNvPr>
            <p:cNvSpPr>
              <a:spLocks/>
            </p:cNvSpPr>
            <p:nvPr/>
          </p:nvSpPr>
          <p:spPr bwMode="auto">
            <a:xfrm>
              <a:off x="5030788" y="102711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7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7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1"/>
                  </a:lnTo>
                  <a:lnTo>
                    <a:pt x="2" y="23"/>
                  </a:lnTo>
                  <a:lnTo>
                    <a:pt x="4" y="25"/>
                  </a:lnTo>
                  <a:lnTo>
                    <a:pt x="6" y="27"/>
                  </a:lnTo>
                  <a:lnTo>
                    <a:pt x="8" y="29"/>
                  </a:lnTo>
                  <a:lnTo>
                    <a:pt x="12" y="30"/>
                  </a:lnTo>
                  <a:lnTo>
                    <a:pt x="15" y="30"/>
                  </a:lnTo>
                  <a:lnTo>
                    <a:pt x="18" y="30"/>
                  </a:lnTo>
                  <a:lnTo>
                    <a:pt x="20" y="29"/>
                  </a:lnTo>
                  <a:lnTo>
                    <a:pt x="23" y="27"/>
                  </a:lnTo>
                  <a:lnTo>
                    <a:pt x="26" y="25"/>
                  </a:lnTo>
                  <a:lnTo>
                    <a:pt x="27" y="23"/>
                  </a:lnTo>
                  <a:lnTo>
                    <a:pt x="29" y="21"/>
                  </a:lnTo>
                  <a:lnTo>
                    <a:pt x="30" y="18"/>
                  </a:lnTo>
                  <a:lnTo>
                    <a:pt x="30" y="15"/>
                  </a:lnTo>
                  <a:lnTo>
                    <a:pt x="30"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8" name="Freeform 75">
              <a:extLst>
                <a:ext uri="{FF2B5EF4-FFF2-40B4-BE49-F238E27FC236}">
                  <a16:creationId xmlns:a16="http://schemas.microsoft.com/office/drawing/2014/main" id="{DEB65270-6B49-4C1A-8DAF-9117017523B6}"/>
                </a:ext>
              </a:extLst>
            </p:cNvPr>
            <p:cNvSpPr>
              <a:spLocks/>
            </p:cNvSpPr>
            <p:nvPr/>
          </p:nvSpPr>
          <p:spPr bwMode="auto">
            <a:xfrm>
              <a:off x="4983163" y="102711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3 w 30"/>
                <a:gd name="T23" fmla="*/ 23 h 30"/>
                <a:gd name="T24" fmla="*/ 4 w 30"/>
                <a:gd name="T25" fmla="*/ 25 h 30"/>
                <a:gd name="T26" fmla="*/ 6 w 30"/>
                <a:gd name="T27" fmla="*/ 27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7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3" y="6"/>
                  </a:lnTo>
                  <a:lnTo>
                    <a:pt x="1" y="9"/>
                  </a:lnTo>
                  <a:lnTo>
                    <a:pt x="0" y="11"/>
                  </a:lnTo>
                  <a:lnTo>
                    <a:pt x="0" y="15"/>
                  </a:lnTo>
                  <a:lnTo>
                    <a:pt x="0" y="18"/>
                  </a:lnTo>
                  <a:lnTo>
                    <a:pt x="1" y="21"/>
                  </a:lnTo>
                  <a:lnTo>
                    <a:pt x="3" y="23"/>
                  </a:lnTo>
                  <a:lnTo>
                    <a:pt x="4" y="25"/>
                  </a:lnTo>
                  <a:lnTo>
                    <a:pt x="6" y="27"/>
                  </a:lnTo>
                  <a:lnTo>
                    <a:pt x="10" y="29"/>
                  </a:lnTo>
                  <a:lnTo>
                    <a:pt x="12" y="30"/>
                  </a:lnTo>
                  <a:lnTo>
                    <a:pt x="15" y="30"/>
                  </a:lnTo>
                  <a:lnTo>
                    <a:pt x="18" y="30"/>
                  </a:lnTo>
                  <a:lnTo>
                    <a:pt x="21" y="29"/>
                  </a:lnTo>
                  <a:lnTo>
                    <a:pt x="24" y="27"/>
                  </a:lnTo>
                  <a:lnTo>
                    <a:pt x="26" y="25"/>
                  </a:lnTo>
                  <a:lnTo>
                    <a:pt x="28" y="23"/>
                  </a:lnTo>
                  <a:lnTo>
                    <a:pt x="29" y="21"/>
                  </a:lnTo>
                  <a:lnTo>
                    <a:pt x="30" y="18"/>
                  </a:lnTo>
                  <a:lnTo>
                    <a:pt x="30" y="15"/>
                  </a:lnTo>
                  <a:lnTo>
                    <a:pt x="30" y="11"/>
                  </a:lnTo>
                  <a:lnTo>
                    <a:pt x="29" y="9"/>
                  </a:lnTo>
                  <a:lnTo>
                    <a:pt x="28" y="6"/>
                  </a:lnTo>
                  <a:lnTo>
                    <a:pt x="26" y="4"/>
                  </a:lnTo>
                  <a:lnTo>
                    <a:pt x="24"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49" name="Freeform 76">
              <a:extLst>
                <a:ext uri="{FF2B5EF4-FFF2-40B4-BE49-F238E27FC236}">
                  <a16:creationId xmlns:a16="http://schemas.microsoft.com/office/drawing/2014/main" id="{A8D121D3-A554-49D5-9C44-E6F43E3E20AF}"/>
                </a:ext>
              </a:extLst>
            </p:cNvPr>
            <p:cNvSpPr>
              <a:spLocks/>
            </p:cNvSpPr>
            <p:nvPr/>
          </p:nvSpPr>
          <p:spPr bwMode="auto">
            <a:xfrm>
              <a:off x="5059363" y="100806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8 w 30"/>
                <a:gd name="T35" fmla="*/ 30 h 30"/>
                <a:gd name="T36" fmla="*/ 20 w 30"/>
                <a:gd name="T37" fmla="*/ 29 h 30"/>
                <a:gd name="T38" fmla="*/ 23 w 30"/>
                <a:gd name="T39" fmla="*/ 28 h 30"/>
                <a:gd name="T40" fmla="*/ 26 w 30"/>
                <a:gd name="T41" fmla="*/ 25 h 30"/>
                <a:gd name="T42" fmla="*/ 27 w 30"/>
                <a:gd name="T43" fmla="*/ 23 h 30"/>
                <a:gd name="T44" fmla="*/ 29 w 30"/>
                <a:gd name="T45" fmla="*/ 21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2" y="30"/>
                  </a:lnTo>
                  <a:lnTo>
                    <a:pt x="15" y="30"/>
                  </a:lnTo>
                  <a:lnTo>
                    <a:pt x="18" y="30"/>
                  </a:lnTo>
                  <a:lnTo>
                    <a:pt x="20" y="29"/>
                  </a:lnTo>
                  <a:lnTo>
                    <a:pt x="23" y="28"/>
                  </a:lnTo>
                  <a:lnTo>
                    <a:pt x="26" y="25"/>
                  </a:lnTo>
                  <a:lnTo>
                    <a:pt x="27" y="23"/>
                  </a:lnTo>
                  <a:lnTo>
                    <a:pt x="29" y="21"/>
                  </a:lnTo>
                  <a:lnTo>
                    <a:pt x="29" y="18"/>
                  </a:lnTo>
                  <a:lnTo>
                    <a:pt x="30" y="15"/>
                  </a:lnTo>
                  <a:lnTo>
                    <a:pt x="29" y="11"/>
                  </a:lnTo>
                  <a:lnTo>
                    <a:pt x="29" y="9"/>
                  </a:lnTo>
                  <a:lnTo>
                    <a:pt x="27" y="6"/>
                  </a:lnTo>
                  <a:lnTo>
                    <a:pt x="26" y="4"/>
                  </a:lnTo>
                  <a:lnTo>
                    <a:pt x="23"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0" name="Freeform 77">
              <a:extLst>
                <a:ext uri="{FF2B5EF4-FFF2-40B4-BE49-F238E27FC236}">
                  <a16:creationId xmlns:a16="http://schemas.microsoft.com/office/drawing/2014/main" id="{71387337-D773-44B1-B3F7-7728BA3860E0}"/>
                </a:ext>
              </a:extLst>
            </p:cNvPr>
            <p:cNvSpPr>
              <a:spLocks/>
            </p:cNvSpPr>
            <p:nvPr/>
          </p:nvSpPr>
          <p:spPr bwMode="auto">
            <a:xfrm>
              <a:off x="5106988" y="1008063"/>
              <a:ext cx="9525" cy="9525"/>
            </a:xfrm>
            <a:custGeom>
              <a:avLst/>
              <a:gdLst>
                <a:gd name="T0" fmla="*/ 15 w 30"/>
                <a:gd name="T1" fmla="*/ 0 h 30"/>
                <a:gd name="T2" fmla="*/ 12 w 30"/>
                <a:gd name="T3" fmla="*/ 0 h 30"/>
                <a:gd name="T4" fmla="*/ 8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8 w 30"/>
                <a:gd name="T29" fmla="*/ 29 h 30"/>
                <a:gd name="T30" fmla="*/ 12 w 30"/>
                <a:gd name="T31" fmla="*/ 30 h 30"/>
                <a:gd name="T32" fmla="*/ 15 w 30"/>
                <a:gd name="T33" fmla="*/ 30 h 30"/>
                <a:gd name="T34" fmla="*/ 17 w 30"/>
                <a:gd name="T35" fmla="*/ 30 h 30"/>
                <a:gd name="T36" fmla="*/ 20 w 30"/>
                <a:gd name="T37" fmla="*/ 29 h 30"/>
                <a:gd name="T38" fmla="*/ 22 w 30"/>
                <a:gd name="T39" fmla="*/ 28 h 30"/>
                <a:gd name="T40" fmla="*/ 24 w 30"/>
                <a:gd name="T41" fmla="*/ 25 h 30"/>
                <a:gd name="T42" fmla="*/ 27 w 30"/>
                <a:gd name="T43" fmla="*/ 23 h 30"/>
                <a:gd name="T44" fmla="*/ 28 w 30"/>
                <a:gd name="T45" fmla="*/ 21 h 30"/>
                <a:gd name="T46" fmla="*/ 29 w 30"/>
                <a:gd name="T47" fmla="*/ 18 h 30"/>
                <a:gd name="T48" fmla="*/ 30 w 30"/>
                <a:gd name="T49" fmla="*/ 15 h 30"/>
                <a:gd name="T50" fmla="*/ 29 w 30"/>
                <a:gd name="T51" fmla="*/ 11 h 30"/>
                <a:gd name="T52" fmla="*/ 28 w 30"/>
                <a:gd name="T53" fmla="*/ 9 h 30"/>
                <a:gd name="T54" fmla="*/ 27 w 30"/>
                <a:gd name="T55" fmla="*/ 6 h 30"/>
                <a:gd name="T56" fmla="*/ 24 w 30"/>
                <a:gd name="T57" fmla="*/ 4 h 30"/>
                <a:gd name="T58" fmla="*/ 22 w 30"/>
                <a:gd name="T59" fmla="*/ 3 h 30"/>
                <a:gd name="T60" fmla="*/ 20 w 30"/>
                <a:gd name="T61" fmla="*/ 1 h 30"/>
                <a:gd name="T62" fmla="*/ 17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3"/>
                  </a:lnTo>
                  <a:lnTo>
                    <a:pt x="4" y="4"/>
                  </a:lnTo>
                  <a:lnTo>
                    <a:pt x="2" y="6"/>
                  </a:lnTo>
                  <a:lnTo>
                    <a:pt x="1" y="9"/>
                  </a:lnTo>
                  <a:lnTo>
                    <a:pt x="0" y="11"/>
                  </a:lnTo>
                  <a:lnTo>
                    <a:pt x="0" y="15"/>
                  </a:lnTo>
                  <a:lnTo>
                    <a:pt x="0" y="18"/>
                  </a:lnTo>
                  <a:lnTo>
                    <a:pt x="1" y="21"/>
                  </a:lnTo>
                  <a:lnTo>
                    <a:pt x="2" y="23"/>
                  </a:lnTo>
                  <a:lnTo>
                    <a:pt x="4" y="25"/>
                  </a:lnTo>
                  <a:lnTo>
                    <a:pt x="6" y="28"/>
                  </a:lnTo>
                  <a:lnTo>
                    <a:pt x="8" y="29"/>
                  </a:lnTo>
                  <a:lnTo>
                    <a:pt x="12" y="30"/>
                  </a:lnTo>
                  <a:lnTo>
                    <a:pt x="15" y="30"/>
                  </a:lnTo>
                  <a:lnTo>
                    <a:pt x="17" y="30"/>
                  </a:lnTo>
                  <a:lnTo>
                    <a:pt x="20" y="29"/>
                  </a:lnTo>
                  <a:lnTo>
                    <a:pt x="22" y="28"/>
                  </a:lnTo>
                  <a:lnTo>
                    <a:pt x="24" y="25"/>
                  </a:lnTo>
                  <a:lnTo>
                    <a:pt x="27" y="23"/>
                  </a:lnTo>
                  <a:lnTo>
                    <a:pt x="28" y="21"/>
                  </a:lnTo>
                  <a:lnTo>
                    <a:pt x="29" y="18"/>
                  </a:lnTo>
                  <a:lnTo>
                    <a:pt x="30" y="15"/>
                  </a:lnTo>
                  <a:lnTo>
                    <a:pt x="29" y="11"/>
                  </a:lnTo>
                  <a:lnTo>
                    <a:pt x="28" y="9"/>
                  </a:lnTo>
                  <a:lnTo>
                    <a:pt x="27" y="6"/>
                  </a:lnTo>
                  <a:lnTo>
                    <a:pt x="24" y="4"/>
                  </a:lnTo>
                  <a:lnTo>
                    <a:pt x="22" y="3"/>
                  </a:lnTo>
                  <a:lnTo>
                    <a:pt x="20" y="1"/>
                  </a:lnTo>
                  <a:lnTo>
                    <a:pt x="1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1" name="Freeform 78">
              <a:extLst>
                <a:ext uri="{FF2B5EF4-FFF2-40B4-BE49-F238E27FC236}">
                  <a16:creationId xmlns:a16="http://schemas.microsoft.com/office/drawing/2014/main" id="{686295D7-A85B-4DD1-8C6B-8BF79682DE84}"/>
                </a:ext>
              </a:extLst>
            </p:cNvPr>
            <p:cNvSpPr>
              <a:spLocks/>
            </p:cNvSpPr>
            <p:nvPr/>
          </p:nvSpPr>
          <p:spPr bwMode="auto">
            <a:xfrm>
              <a:off x="5011738" y="1008063"/>
              <a:ext cx="9525" cy="9525"/>
            </a:xfrm>
            <a:custGeom>
              <a:avLst/>
              <a:gdLst>
                <a:gd name="T0" fmla="*/ 15 w 30"/>
                <a:gd name="T1" fmla="*/ 0 h 30"/>
                <a:gd name="T2" fmla="*/ 12 w 30"/>
                <a:gd name="T3" fmla="*/ 0 h 30"/>
                <a:gd name="T4" fmla="*/ 10 w 30"/>
                <a:gd name="T5" fmla="*/ 1 h 30"/>
                <a:gd name="T6" fmla="*/ 6 w 30"/>
                <a:gd name="T7" fmla="*/ 3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3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3"/>
                  </a:lnTo>
                  <a:lnTo>
                    <a:pt x="4" y="4"/>
                  </a:lnTo>
                  <a:lnTo>
                    <a:pt x="2" y="6"/>
                  </a:lnTo>
                  <a:lnTo>
                    <a:pt x="1" y="9"/>
                  </a:lnTo>
                  <a:lnTo>
                    <a:pt x="0" y="11"/>
                  </a:lnTo>
                  <a:lnTo>
                    <a:pt x="0" y="15"/>
                  </a:lnTo>
                  <a:lnTo>
                    <a:pt x="0" y="18"/>
                  </a:lnTo>
                  <a:lnTo>
                    <a:pt x="1" y="21"/>
                  </a:lnTo>
                  <a:lnTo>
                    <a:pt x="2" y="23"/>
                  </a:lnTo>
                  <a:lnTo>
                    <a:pt x="4" y="25"/>
                  </a:lnTo>
                  <a:lnTo>
                    <a:pt x="6" y="28"/>
                  </a:lnTo>
                  <a:lnTo>
                    <a:pt x="10" y="29"/>
                  </a:lnTo>
                  <a:lnTo>
                    <a:pt x="12" y="30"/>
                  </a:lnTo>
                  <a:lnTo>
                    <a:pt x="15" y="30"/>
                  </a:lnTo>
                  <a:lnTo>
                    <a:pt x="18" y="30"/>
                  </a:lnTo>
                  <a:lnTo>
                    <a:pt x="20" y="29"/>
                  </a:lnTo>
                  <a:lnTo>
                    <a:pt x="24" y="28"/>
                  </a:lnTo>
                  <a:lnTo>
                    <a:pt x="26" y="25"/>
                  </a:lnTo>
                  <a:lnTo>
                    <a:pt x="28" y="23"/>
                  </a:lnTo>
                  <a:lnTo>
                    <a:pt x="29" y="21"/>
                  </a:lnTo>
                  <a:lnTo>
                    <a:pt x="30" y="18"/>
                  </a:lnTo>
                  <a:lnTo>
                    <a:pt x="30" y="15"/>
                  </a:lnTo>
                  <a:lnTo>
                    <a:pt x="30" y="11"/>
                  </a:lnTo>
                  <a:lnTo>
                    <a:pt x="29" y="9"/>
                  </a:lnTo>
                  <a:lnTo>
                    <a:pt x="28" y="6"/>
                  </a:lnTo>
                  <a:lnTo>
                    <a:pt x="26" y="4"/>
                  </a:lnTo>
                  <a:lnTo>
                    <a:pt x="24" y="3"/>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2" name="Freeform 79">
              <a:extLst>
                <a:ext uri="{FF2B5EF4-FFF2-40B4-BE49-F238E27FC236}">
                  <a16:creationId xmlns:a16="http://schemas.microsoft.com/office/drawing/2014/main" id="{65586A49-5F59-452F-871B-B6DBF8896809}"/>
                </a:ext>
              </a:extLst>
            </p:cNvPr>
            <p:cNvSpPr>
              <a:spLocks/>
            </p:cNvSpPr>
            <p:nvPr/>
          </p:nvSpPr>
          <p:spPr bwMode="auto">
            <a:xfrm>
              <a:off x="4964113" y="1008063"/>
              <a:ext cx="9525" cy="9525"/>
            </a:xfrm>
            <a:custGeom>
              <a:avLst/>
              <a:gdLst>
                <a:gd name="T0" fmla="*/ 15 w 30"/>
                <a:gd name="T1" fmla="*/ 0 h 30"/>
                <a:gd name="T2" fmla="*/ 12 w 30"/>
                <a:gd name="T3" fmla="*/ 0 h 30"/>
                <a:gd name="T4" fmla="*/ 10 w 30"/>
                <a:gd name="T5" fmla="*/ 1 h 30"/>
                <a:gd name="T6" fmla="*/ 7 w 30"/>
                <a:gd name="T7" fmla="*/ 3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1 h 30"/>
                <a:gd name="T22" fmla="*/ 3 w 30"/>
                <a:gd name="T23" fmla="*/ 23 h 30"/>
                <a:gd name="T24" fmla="*/ 4 w 30"/>
                <a:gd name="T25" fmla="*/ 25 h 30"/>
                <a:gd name="T26" fmla="*/ 7 w 30"/>
                <a:gd name="T27" fmla="*/ 28 h 30"/>
                <a:gd name="T28" fmla="*/ 10 w 30"/>
                <a:gd name="T29" fmla="*/ 29 h 30"/>
                <a:gd name="T30" fmla="*/ 12 w 30"/>
                <a:gd name="T31" fmla="*/ 30 h 30"/>
                <a:gd name="T32" fmla="*/ 15 w 30"/>
                <a:gd name="T33" fmla="*/ 30 h 30"/>
                <a:gd name="T34" fmla="*/ 18 w 30"/>
                <a:gd name="T35" fmla="*/ 30 h 30"/>
                <a:gd name="T36" fmla="*/ 21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3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7" y="3"/>
                  </a:lnTo>
                  <a:lnTo>
                    <a:pt x="4" y="4"/>
                  </a:lnTo>
                  <a:lnTo>
                    <a:pt x="3" y="6"/>
                  </a:lnTo>
                  <a:lnTo>
                    <a:pt x="1" y="9"/>
                  </a:lnTo>
                  <a:lnTo>
                    <a:pt x="0" y="11"/>
                  </a:lnTo>
                  <a:lnTo>
                    <a:pt x="0" y="15"/>
                  </a:lnTo>
                  <a:lnTo>
                    <a:pt x="0" y="18"/>
                  </a:lnTo>
                  <a:lnTo>
                    <a:pt x="1" y="21"/>
                  </a:lnTo>
                  <a:lnTo>
                    <a:pt x="3" y="23"/>
                  </a:lnTo>
                  <a:lnTo>
                    <a:pt x="4" y="25"/>
                  </a:lnTo>
                  <a:lnTo>
                    <a:pt x="7" y="28"/>
                  </a:lnTo>
                  <a:lnTo>
                    <a:pt x="10" y="29"/>
                  </a:lnTo>
                  <a:lnTo>
                    <a:pt x="12" y="30"/>
                  </a:lnTo>
                  <a:lnTo>
                    <a:pt x="15" y="30"/>
                  </a:lnTo>
                  <a:lnTo>
                    <a:pt x="18" y="30"/>
                  </a:lnTo>
                  <a:lnTo>
                    <a:pt x="21" y="29"/>
                  </a:lnTo>
                  <a:lnTo>
                    <a:pt x="24" y="28"/>
                  </a:lnTo>
                  <a:lnTo>
                    <a:pt x="26" y="25"/>
                  </a:lnTo>
                  <a:lnTo>
                    <a:pt x="28" y="23"/>
                  </a:lnTo>
                  <a:lnTo>
                    <a:pt x="29" y="21"/>
                  </a:lnTo>
                  <a:lnTo>
                    <a:pt x="30" y="18"/>
                  </a:lnTo>
                  <a:lnTo>
                    <a:pt x="30" y="15"/>
                  </a:lnTo>
                  <a:lnTo>
                    <a:pt x="30" y="11"/>
                  </a:lnTo>
                  <a:lnTo>
                    <a:pt x="29" y="9"/>
                  </a:lnTo>
                  <a:lnTo>
                    <a:pt x="28" y="6"/>
                  </a:lnTo>
                  <a:lnTo>
                    <a:pt x="26" y="4"/>
                  </a:lnTo>
                  <a:lnTo>
                    <a:pt x="24" y="3"/>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3" name="Freeform 80">
              <a:extLst>
                <a:ext uri="{FF2B5EF4-FFF2-40B4-BE49-F238E27FC236}">
                  <a16:creationId xmlns:a16="http://schemas.microsoft.com/office/drawing/2014/main" id="{B559E91A-224A-42B3-A4F0-D86BAC6894CB}"/>
                </a:ext>
              </a:extLst>
            </p:cNvPr>
            <p:cNvSpPr>
              <a:spLocks/>
            </p:cNvSpPr>
            <p:nvPr/>
          </p:nvSpPr>
          <p:spPr bwMode="auto">
            <a:xfrm>
              <a:off x="5059363" y="104616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8 w 30"/>
                <a:gd name="T29" fmla="*/ 28 h 30"/>
                <a:gd name="T30" fmla="*/ 12 w 30"/>
                <a:gd name="T31" fmla="*/ 28 h 30"/>
                <a:gd name="T32" fmla="*/ 15 w 30"/>
                <a:gd name="T33" fmla="*/ 30 h 30"/>
                <a:gd name="T34" fmla="*/ 18 w 30"/>
                <a:gd name="T35" fmla="*/ 28 h 30"/>
                <a:gd name="T36" fmla="*/ 20 w 30"/>
                <a:gd name="T37" fmla="*/ 28 h 30"/>
                <a:gd name="T38" fmla="*/ 23 w 30"/>
                <a:gd name="T39" fmla="*/ 27 h 30"/>
                <a:gd name="T40" fmla="*/ 26 w 30"/>
                <a:gd name="T41" fmla="*/ 25 h 30"/>
                <a:gd name="T42" fmla="*/ 27 w 30"/>
                <a:gd name="T43" fmla="*/ 23 h 30"/>
                <a:gd name="T44" fmla="*/ 29 w 30"/>
                <a:gd name="T45" fmla="*/ 20 h 30"/>
                <a:gd name="T46" fmla="*/ 29 w 30"/>
                <a:gd name="T47" fmla="*/ 18 h 30"/>
                <a:gd name="T48" fmla="*/ 30 w 30"/>
                <a:gd name="T49" fmla="*/ 15 h 30"/>
                <a:gd name="T50" fmla="*/ 29 w 30"/>
                <a:gd name="T51" fmla="*/ 11 h 30"/>
                <a:gd name="T52" fmla="*/ 29 w 30"/>
                <a:gd name="T53" fmla="*/ 9 h 30"/>
                <a:gd name="T54" fmla="*/ 27 w 30"/>
                <a:gd name="T55" fmla="*/ 6 h 30"/>
                <a:gd name="T56" fmla="*/ 26 w 30"/>
                <a:gd name="T57" fmla="*/ 4 h 30"/>
                <a:gd name="T58" fmla="*/ 23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7"/>
                  </a:lnTo>
                  <a:lnTo>
                    <a:pt x="8" y="28"/>
                  </a:lnTo>
                  <a:lnTo>
                    <a:pt x="12" y="28"/>
                  </a:lnTo>
                  <a:lnTo>
                    <a:pt x="15" y="30"/>
                  </a:lnTo>
                  <a:lnTo>
                    <a:pt x="18" y="28"/>
                  </a:lnTo>
                  <a:lnTo>
                    <a:pt x="20" y="28"/>
                  </a:lnTo>
                  <a:lnTo>
                    <a:pt x="23" y="27"/>
                  </a:lnTo>
                  <a:lnTo>
                    <a:pt x="26" y="25"/>
                  </a:lnTo>
                  <a:lnTo>
                    <a:pt x="27" y="23"/>
                  </a:lnTo>
                  <a:lnTo>
                    <a:pt x="29" y="20"/>
                  </a:lnTo>
                  <a:lnTo>
                    <a:pt x="29" y="18"/>
                  </a:lnTo>
                  <a:lnTo>
                    <a:pt x="30" y="15"/>
                  </a:lnTo>
                  <a:lnTo>
                    <a:pt x="29" y="11"/>
                  </a:lnTo>
                  <a:lnTo>
                    <a:pt x="29" y="9"/>
                  </a:lnTo>
                  <a:lnTo>
                    <a:pt x="27" y="6"/>
                  </a:lnTo>
                  <a:lnTo>
                    <a:pt x="26" y="4"/>
                  </a:lnTo>
                  <a:lnTo>
                    <a:pt x="23"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4" name="Freeform 81">
              <a:extLst>
                <a:ext uri="{FF2B5EF4-FFF2-40B4-BE49-F238E27FC236}">
                  <a16:creationId xmlns:a16="http://schemas.microsoft.com/office/drawing/2014/main" id="{A22653B0-661D-4996-B722-903B228BA3E8}"/>
                </a:ext>
              </a:extLst>
            </p:cNvPr>
            <p:cNvSpPr>
              <a:spLocks/>
            </p:cNvSpPr>
            <p:nvPr/>
          </p:nvSpPr>
          <p:spPr bwMode="auto">
            <a:xfrm>
              <a:off x="5106988" y="1046163"/>
              <a:ext cx="9525" cy="9525"/>
            </a:xfrm>
            <a:custGeom>
              <a:avLst/>
              <a:gdLst>
                <a:gd name="T0" fmla="*/ 15 w 30"/>
                <a:gd name="T1" fmla="*/ 0 h 30"/>
                <a:gd name="T2" fmla="*/ 12 w 30"/>
                <a:gd name="T3" fmla="*/ 0 h 30"/>
                <a:gd name="T4" fmla="*/ 8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8 w 30"/>
                <a:gd name="T29" fmla="*/ 28 h 30"/>
                <a:gd name="T30" fmla="*/ 12 w 30"/>
                <a:gd name="T31" fmla="*/ 28 h 30"/>
                <a:gd name="T32" fmla="*/ 15 w 30"/>
                <a:gd name="T33" fmla="*/ 30 h 30"/>
                <a:gd name="T34" fmla="*/ 17 w 30"/>
                <a:gd name="T35" fmla="*/ 28 h 30"/>
                <a:gd name="T36" fmla="*/ 20 w 30"/>
                <a:gd name="T37" fmla="*/ 28 h 30"/>
                <a:gd name="T38" fmla="*/ 22 w 30"/>
                <a:gd name="T39" fmla="*/ 27 h 30"/>
                <a:gd name="T40" fmla="*/ 24 w 30"/>
                <a:gd name="T41" fmla="*/ 25 h 30"/>
                <a:gd name="T42" fmla="*/ 27 w 30"/>
                <a:gd name="T43" fmla="*/ 23 h 30"/>
                <a:gd name="T44" fmla="*/ 28 w 30"/>
                <a:gd name="T45" fmla="*/ 20 h 30"/>
                <a:gd name="T46" fmla="*/ 29 w 30"/>
                <a:gd name="T47" fmla="*/ 18 h 30"/>
                <a:gd name="T48" fmla="*/ 30 w 30"/>
                <a:gd name="T49" fmla="*/ 15 h 30"/>
                <a:gd name="T50" fmla="*/ 29 w 30"/>
                <a:gd name="T51" fmla="*/ 11 h 30"/>
                <a:gd name="T52" fmla="*/ 28 w 30"/>
                <a:gd name="T53" fmla="*/ 9 h 30"/>
                <a:gd name="T54" fmla="*/ 27 w 30"/>
                <a:gd name="T55" fmla="*/ 6 h 30"/>
                <a:gd name="T56" fmla="*/ 24 w 30"/>
                <a:gd name="T57" fmla="*/ 4 h 30"/>
                <a:gd name="T58" fmla="*/ 22 w 30"/>
                <a:gd name="T59" fmla="*/ 2 h 30"/>
                <a:gd name="T60" fmla="*/ 20 w 30"/>
                <a:gd name="T61" fmla="*/ 1 h 30"/>
                <a:gd name="T62" fmla="*/ 17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7"/>
                  </a:lnTo>
                  <a:lnTo>
                    <a:pt x="8" y="28"/>
                  </a:lnTo>
                  <a:lnTo>
                    <a:pt x="12" y="28"/>
                  </a:lnTo>
                  <a:lnTo>
                    <a:pt x="15" y="30"/>
                  </a:lnTo>
                  <a:lnTo>
                    <a:pt x="17" y="28"/>
                  </a:lnTo>
                  <a:lnTo>
                    <a:pt x="20" y="28"/>
                  </a:lnTo>
                  <a:lnTo>
                    <a:pt x="22" y="27"/>
                  </a:lnTo>
                  <a:lnTo>
                    <a:pt x="24" y="25"/>
                  </a:lnTo>
                  <a:lnTo>
                    <a:pt x="27" y="23"/>
                  </a:lnTo>
                  <a:lnTo>
                    <a:pt x="28" y="20"/>
                  </a:lnTo>
                  <a:lnTo>
                    <a:pt x="29" y="18"/>
                  </a:lnTo>
                  <a:lnTo>
                    <a:pt x="30" y="15"/>
                  </a:lnTo>
                  <a:lnTo>
                    <a:pt x="29" y="11"/>
                  </a:lnTo>
                  <a:lnTo>
                    <a:pt x="28" y="9"/>
                  </a:lnTo>
                  <a:lnTo>
                    <a:pt x="27" y="6"/>
                  </a:lnTo>
                  <a:lnTo>
                    <a:pt x="24" y="4"/>
                  </a:lnTo>
                  <a:lnTo>
                    <a:pt x="22" y="2"/>
                  </a:lnTo>
                  <a:lnTo>
                    <a:pt x="20" y="1"/>
                  </a:lnTo>
                  <a:lnTo>
                    <a:pt x="17"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5" name="Freeform 82">
              <a:extLst>
                <a:ext uri="{FF2B5EF4-FFF2-40B4-BE49-F238E27FC236}">
                  <a16:creationId xmlns:a16="http://schemas.microsoft.com/office/drawing/2014/main" id="{C97549E1-EF94-4874-8FA2-EE75CB3B6656}"/>
                </a:ext>
              </a:extLst>
            </p:cNvPr>
            <p:cNvSpPr>
              <a:spLocks/>
            </p:cNvSpPr>
            <p:nvPr/>
          </p:nvSpPr>
          <p:spPr bwMode="auto">
            <a:xfrm>
              <a:off x="5011738" y="104616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2 w 30"/>
                <a:gd name="T23" fmla="*/ 23 h 30"/>
                <a:gd name="T24" fmla="*/ 4 w 30"/>
                <a:gd name="T25" fmla="*/ 25 h 30"/>
                <a:gd name="T26" fmla="*/ 6 w 30"/>
                <a:gd name="T27" fmla="*/ 27 h 30"/>
                <a:gd name="T28" fmla="*/ 10 w 30"/>
                <a:gd name="T29" fmla="*/ 28 h 30"/>
                <a:gd name="T30" fmla="*/ 12 w 30"/>
                <a:gd name="T31" fmla="*/ 28 h 30"/>
                <a:gd name="T32" fmla="*/ 15 w 30"/>
                <a:gd name="T33" fmla="*/ 30 h 30"/>
                <a:gd name="T34" fmla="*/ 18 w 30"/>
                <a:gd name="T35" fmla="*/ 28 h 30"/>
                <a:gd name="T36" fmla="*/ 20 w 30"/>
                <a:gd name="T37" fmla="*/ 28 h 30"/>
                <a:gd name="T38" fmla="*/ 24 w 30"/>
                <a:gd name="T39" fmla="*/ 27 h 30"/>
                <a:gd name="T40" fmla="*/ 26 w 30"/>
                <a:gd name="T41" fmla="*/ 25 h 30"/>
                <a:gd name="T42" fmla="*/ 28 w 30"/>
                <a:gd name="T43" fmla="*/ 23 h 30"/>
                <a:gd name="T44" fmla="*/ 29 w 30"/>
                <a:gd name="T45" fmla="*/ 20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2" y="6"/>
                  </a:lnTo>
                  <a:lnTo>
                    <a:pt x="1" y="9"/>
                  </a:lnTo>
                  <a:lnTo>
                    <a:pt x="0" y="11"/>
                  </a:lnTo>
                  <a:lnTo>
                    <a:pt x="0" y="15"/>
                  </a:lnTo>
                  <a:lnTo>
                    <a:pt x="0" y="18"/>
                  </a:lnTo>
                  <a:lnTo>
                    <a:pt x="1" y="20"/>
                  </a:lnTo>
                  <a:lnTo>
                    <a:pt x="2" y="23"/>
                  </a:lnTo>
                  <a:lnTo>
                    <a:pt x="4" y="25"/>
                  </a:lnTo>
                  <a:lnTo>
                    <a:pt x="6" y="27"/>
                  </a:lnTo>
                  <a:lnTo>
                    <a:pt x="10" y="28"/>
                  </a:lnTo>
                  <a:lnTo>
                    <a:pt x="12" y="28"/>
                  </a:lnTo>
                  <a:lnTo>
                    <a:pt x="15" y="30"/>
                  </a:lnTo>
                  <a:lnTo>
                    <a:pt x="18" y="28"/>
                  </a:lnTo>
                  <a:lnTo>
                    <a:pt x="20" y="28"/>
                  </a:lnTo>
                  <a:lnTo>
                    <a:pt x="24" y="27"/>
                  </a:lnTo>
                  <a:lnTo>
                    <a:pt x="26" y="25"/>
                  </a:lnTo>
                  <a:lnTo>
                    <a:pt x="28" y="23"/>
                  </a:lnTo>
                  <a:lnTo>
                    <a:pt x="29" y="20"/>
                  </a:lnTo>
                  <a:lnTo>
                    <a:pt x="30" y="18"/>
                  </a:lnTo>
                  <a:lnTo>
                    <a:pt x="30" y="15"/>
                  </a:lnTo>
                  <a:lnTo>
                    <a:pt x="30" y="11"/>
                  </a:lnTo>
                  <a:lnTo>
                    <a:pt x="29" y="9"/>
                  </a:lnTo>
                  <a:lnTo>
                    <a:pt x="28"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56" name="Freeform 83">
              <a:extLst>
                <a:ext uri="{FF2B5EF4-FFF2-40B4-BE49-F238E27FC236}">
                  <a16:creationId xmlns:a16="http://schemas.microsoft.com/office/drawing/2014/main" id="{97401E28-0994-40BF-A901-CEA3005D26EC}"/>
                </a:ext>
              </a:extLst>
            </p:cNvPr>
            <p:cNvSpPr>
              <a:spLocks/>
            </p:cNvSpPr>
            <p:nvPr/>
          </p:nvSpPr>
          <p:spPr bwMode="auto">
            <a:xfrm>
              <a:off x="4964113" y="1046163"/>
              <a:ext cx="9525" cy="9525"/>
            </a:xfrm>
            <a:custGeom>
              <a:avLst/>
              <a:gdLst>
                <a:gd name="T0" fmla="*/ 15 w 30"/>
                <a:gd name="T1" fmla="*/ 0 h 30"/>
                <a:gd name="T2" fmla="*/ 12 w 30"/>
                <a:gd name="T3" fmla="*/ 0 h 30"/>
                <a:gd name="T4" fmla="*/ 10 w 30"/>
                <a:gd name="T5" fmla="*/ 1 h 30"/>
                <a:gd name="T6" fmla="*/ 7 w 30"/>
                <a:gd name="T7" fmla="*/ 2 h 30"/>
                <a:gd name="T8" fmla="*/ 4 w 30"/>
                <a:gd name="T9" fmla="*/ 4 h 30"/>
                <a:gd name="T10" fmla="*/ 3 w 30"/>
                <a:gd name="T11" fmla="*/ 6 h 30"/>
                <a:gd name="T12" fmla="*/ 1 w 30"/>
                <a:gd name="T13" fmla="*/ 9 h 30"/>
                <a:gd name="T14" fmla="*/ 0 w 30"/>
                <a:gd name="T15" fmla="*/ 11 h 30"/>
                <a:gd name="T16" fmla="*/ 0 w 30"/>
                <a:gd name="T17" fmla="*/ 15 h 30"/>
                <a:gd name="T18" fmla="*/ 0 w 30"/>
                <a:gd name="T19" fmla="*/ 18 h 30"/>
                <a:gd name="T20" fmla="*/ 1 w 30"/>
                <a:gd name="T21" fmla="*/ 20 h 30"/>
                <a:gd name="T22" fmla="*/ 3 w 30"/>
                <a:gd name="T23" fmla="*/ 23 h 30"/>
                <a:gd name="T24" fmla="*/ 4 w 30"/>
                <a:gd name="T25" fmla="*/ 25 h 30"/>
                <a:gd name="T26" fmla="*/ 7 w 30"/>
                <a:gd name="T27" fmla="*/ 27 h 30"/>
                <a:gd name="T28" fmla="*/ 10 w 30"/>
                <a:gd name="T29" fmla="*/ 28 h 30"/>
                <a:gd name="T30" fmla="*/ 12 w 30"/>
                <a:gd name="T31" fmla="*/ 28 h 30"/>
                <a:gd name="T32" fmla="*/ 15 w 30"/>
                <a:gd name="T33" fmla="*/ 30 h 30"/>
                <a:gd name="T34" fmla="*/ 18 w 30"/>
                <a:gd name="T35" fmla="*/ 28 h 30"/>
                <a:gd name="T36" fmla="*/ 21 w 30"/>
                <a:gd name="T37" fmla="*/ 28 h 30"/>
                <a:gd name="T38" fmla="*/ 24 w 30"/>
                <a:gd name="T39" fmla="*/ 27 h 30"/>
                <a:gd name="T40" fmla="*/ 26 w 30"/>
                <a:gd name="T41" fmla="*/ 25 h 30"/>
                <a:gd name="T42" fmla="*/ 28 w 30"/>
                <a:gd name="T43" fmla="*/ 23 h 30"/>
                <a:gd name="T44" fmla="*/ 29 w 30"/>
                <a:gd name="T45" fmla="*/ 20 h 30"/>
                <a:gd name="T46" fmla="*/ 30 w 30"/>
                <a:gd name="T47" fmla="*/ 18 h 30"/>
                <a:gd name="T48" fmla="*/ 30 w 30"/>
                <a:gd name="T49" fmla="*/ 15 h 30"/>
                <a:gd name="T50" fmla="*/ 30 w 30"/>
                <a:gd name="T51" fmla="*/ 11 h 30"/>
                <a:gd name="T52" fmla="*/ 29 w 30"/>
                <a:gd name="T53" fmla="*/ 9 h 30"/>
                <a:gd name="T54" fmla="*/ 28 w 30"/>
                <a:gd name="T55" fmla="*/ 6 h 30"/>
                <a:gd name="T56" fmla="*/ 26 w 30"/>
                <a:gd name="T57" fmla="*/ 4 h 30"/>
                <a:gd name="T58" fmla="*/ 24 w 30"/>
                <a:gd name="T59" fmla="*/ 2 h 30"/>
                <a:gd name="T60" fmla="*/ 21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7" y="2"/>
                  </a:lnTo>
                  <a:lnTo>
                    <a:pt x="4" y="4"/>
                  </a:lnTo>
                  <a:lnTo>
                    <a:pt x="3" y="6"/>
                  </a:lnTo>
                  <a:lnTo>
                    <a:pt x="1" y="9"/>
                  </a:lnTo>
                  <a:lnTo>
                    <a:pt x="0" y="11"/>
                  </a:lnTo>
                  <a:lnTo>
                    <a:pt x="0" y="15"/>
                  </a:lnTo>
                  <a:lnTo>
                    <a:pt x="0" y="18"/>
                  </a:lnTo>
                  <a:lnTo>
                    <a:pt x="1" y="20"/>
                  </a:lnTo>
                  <a:lnTo>
                    <a:pt x="3" y="23"/>
                  </a:lnTo>
                  <a:lnTo>
                    <a:pt x="4" y="25"/>
                  </a:lnTo>
                  <a:lnTo>
                    <a:pt x="7" y="27"/>
                  </a:lnTo>
                  <a:lnTo>
                    <a:pt x="10" y="28"/>
                  </a:lnTo>
                  <a:lnTo>
                    <a:pt x="12" y="28"/>
                  </a:lnTo>
                  <a:lnTo>
                    <a:pt x="15" y="30"/>
                  </a:lnTo>
                  <a:lnTo>
                    <a:pt x="18" y="28"/>
                  </a:lnTo>
                  <a:lnTo>
                    <a:pt x="21" y="28"/>
                  </a:lnTo>
                  <a:lnTo>
                    <a:pt x="24" y="27"/>
                  </a:lnTo>
                  <a:lnTo>
                    <a:pt x="26" y="25"/>
                  </a:lnTo>
                  <a:lnTo>
                    <a:pt x="28" y="23"/>
                  </a:lnTo>
                  <a:lnTo>
                    <a:pt x="29" y="20"/>
                  </a:lnTo>
                  <a:lnTo>
                    <a:pt x="30" y="18"/>
                  </a:lnTo>
                  <a:lnTo>
                    <a:pt x="30" y="15"/>
                  </a:lnTo>
                  <a:lnTo>
                    <a:pt x="30" y="11"/>
                  </a:lnTo>
                  <a:lnTo>
                    <a:pt x="29" y="9"/>
                  </a:lnTo>
                  <a:lnTo>
                    <a:pt x="28" y="6"/>
                  </a:lnTo>
                  <a:lnTo>
                    <a:pt x="26" y="4"/>
                  </a:lnTo>
                  <a:lnTo>
                    <a:pt x="24" y="2"/>
                  </a:lnTo>
                  <a:lnTo>
                    <a:pt x="21"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957" name="Freeform 88">
            <a:extLst>
              <a:ext uri="{FF2B5EF4-FFF2-40B4-BE49-F238E27FC236}">
                <a16:creationId xmlns:a16="http://schemas.microsoft.com/office/drawing/2014/main" id="{B03F3461-40B0-4530-9A9E-FC5EFD104929}"/>
              </a:ext>
            </a:extLst>
          </p:cNvPr>
          <p:cNvSpPr>
            <a:spLocks noChangeAspect="1" noEditPoints="1"/>
          </p:cNvSpPr>
          <p:nvPr/>
        </p:nvSpPr>
        <p:spPr bwMode="auto">
          <a:xfrm>
            <a:off x="7064228" y="5944848"/>
            <a:ext cx="297873" cy="308144"/>
          </a:xfrm>
          <a:custGeom>
            <a:avLst/>
            <a:gdLst>
              <a:gd name="T0" fmla="*/ 652 w 869"/>
              <a:gd name="T1" fmla="*/ 463 h 897"/>
              <a:gd name="T2" fmla="*/ 555 w 869"/>
              <a:gd name="T3" fmla="*/ 419 h 897"/>
              <a:gd name="T4" fmla="*/ 443 w 869"/>
              <a:gd name="T5" fmla="*/ 463 h 897"/>
              <a:gd name="T6" fmla="*/ 346 w 869"/>
              <a:gd name="T7" fmla="*/ 419 h 897"/>
              <a:gd name="T8" fmla="*/ 234 w 869"/>
              <a:gd name="T9" fmla="*/ 463 h 897"/>
              <a:gd name="T10" fmla="*/ 136 w 869"/>
              <a:gd name="T11" fmla="*/ 419 h 897"/>
              <a:gd name="T12" fmla="*/ 46 w 869"/>
              <a:gd name="T13" fmla="*/ 437 h 897"/>
              <a:gd name="T14" fmla="*/ 80 w 869"/>
              <a:gd name="T15" fmla="*/ 330 h 897"/>
              <a:gd name="T16" fmla="*/ 164 w 869"/>
              <a:gd name="T17" fmla="*/ 223 h 897"/>
              <a:gd name="T18" fmla="*/ 279 w 869"/>
              <a:gd name="T19" fmla="*/ 151 h 897"/>
              <a:gd name="T20" fmla="*/ 416 w 869"/>
              <a:gd name="T21" fmla="*/ 119 h 897"/>
              <a:gd name="T22" fmla="*/ 557 w 869"/>
              <a:gd name="T23" fmla="*/ 138 h 897"/>
              <a:gd name="T24" fmla="*/ 678 w 869"/>
              <a:gd name="T25" fmla="*/ 202 h 897"/>
              <a:gd name="T26" fmla="*/ 771 w 869"/>
              <a:gd name="T27" fmla="*/ 300 h 897"/>
              <a:gd name="T28" fmla="*/ 827 w 869"/>
              <a:gd name="T29" fmla="*/ 427 h 897"/>
              <a:gd name="T30" fmla="*/ 761 w 869"/>
              <a:gd name="T31" fmla="*/ 418 h 897"/>
              <a:gd name="T32" fmla="*/ 443 w 869"/>
              <a:gd name="T33" fmla="*/ 2 h 897"/>
              <a:gd name="T34" fmla="*/ 422 w 869"/>
              <a:gd name="T35" fmla="*/ 6 h 897"/>
              <a:gd name="T36" fmla="*/ 334 w 869"/>
              <a:gd name="T37" fmla="*/ 101 h 897"/>
              <a:gd name="T38" fmla="*/ 185 w 869"/>
              <a:gd name="T39" fmla="*/ 169 h 897"/>
              <a:gd name="T40" fmla="*/ 72 w 869"/>
              <a:gd name="T41" fmla="*/ 285 h 897"/>
              <a:gd name="T42" fmla="*/ 9 w 869"/>
              <a:gd name="T43" fmla="*/ 437 h 897"/>
              <a:gd name="T44" fmla="*/ 5 w 869"/>
              <a:gd name="T45" fmla="*/ 534 h 897"/>
              <a:gd name="T46" fmla="*/ 26 w 869"/>
              <a:gd name="T47" fmla="*/ 534 h 897"/>
              <a:gd name="T48" fmla="*/ 39 w 869"/>
              <a:gd name="T49" fmla="*/ 488 h 897"/>
              <a:gd name="T50" fmla="*/ 88 w 869"/>
              <a:gd name="T51" fmla="*/ 452 h 897"/>
              <a:gd name="T52" fmla="*/ 171 w 869"/>
              <a:gd name="T53" fmla="*/ 463 h 897"/>
              <a:gd name="T54" fmla="*/ 208 w 869"/>
              <a:gd name="T55" fmla="*/ 510 h 897"/>
              <a:gd name="T56" fmla="*/ 219 w 869"/>
              <a:gd name="T57" fmla="*/ 537 h 897"/>
              <a:gd name="T58" fmla="*/ 239 w 869"/>
              <a:gd name="T59" fmla="*/ 529 h 897"/>
              <a:gd name="T60" fmla="*/ 255 w 869"/>
              <a:gd name="T61" fmla="*/ 484 h 897"/>
              <a:gd name="T62" fmla="*/ 311 w 869"/>
              <a:gd name="T63" fmla="*/ 450 h 897"/>
              <a:gd name="T64" fmla="*/ 380 w 869"/>
              <a:gd name="T65" fmla="*/ 463 h 897"/>
              <a:gd name="T66" fmla="*/ 418 w 869"/>
              <a:gd name="T67" fmla="*/ 510 h 897"/>
              <a:gd name="T68" fmla="*/ 429 w 869"/>
              <a:gd name="T69" fmla="*/ 858 h 897"/>
              <a:gd name="T70" fmla="*/ 473 w 869"/>
              <a:gd name="T71" fmla="*/ 893 h 897"/>
              <a:gd name="T72" fmla="*/ 530 w 869"/>
              <a:gd name="T73" fmla="*/ 888 h 897"/>
              <a:gd name="T74" fmla="*/ 566 w 869"/>
              <a:gd name="T75" fmla="*/ 845 h 897"/>
              <a:gd name="T76" fmla="*/ 562 w 869"/>
              <a:gd name="T77" fmla="*/ 810 h 897"/>
              <a:gd name="T78" fmla="*/ 542 w 869"/>
              <a:gd name="T79" fmla="*/ 814 h 897"/>
              <a:gd name="T80" fmla="*/ 520 w 869"/>
              <a:gd name="T81" fmla="*/ 859 h 897"/>
              <a:gd name="T82" fmla="*/ 458 w 869"/>
              <a:gd name="T83" fmla="*/ 847 h 897"/>
              <a:gd name="T84" fmla="*/ 456 w 869"/>
              <a:gd name="T85" fmla="*/ 496 h 897"/>
              <a:gd name="T86" fmla="*/ 504 w 869"/>
              <a:gd name="T87" fmla="*/ 455 h 897"/>
              <a:gd name="T88" fmla="*/ 575 w 869"/>
              <a:gd name="T89" fmla="*/ 455 h 897"/>
              <a:gd name="T90" fmla="*/ 622 w 869"/>
              <a:gd name="T91" fmla="*/ 496 h 897"/>
              <a:gd name="T92" fmla="*/ 633 w 869"/>
              <a:gd name="T93" fmla="*/ 534 h 897"/>
              <a:gd name="T94" fmla="*/ 655 w 869"/>
              <a:gd name="T95" fmla="*/ 534 h 897"/>
              <a:gd name="T96" fmla="*/ 665 w 869"/>
              <a:gd name="T97" fmla="*/ 496 h 897"/>
              <a:gd name="T98" fmla="*/ 713 w 869"/>
              <a:gd name="T99" fmla="*/ 455 h 897"/>
              <a:gd name="T100" fmla="*/ 796 w 869"/>
              <a:gd name="T101" fmla="*/ 457 h 897"/>
              <a:gd name="T102" fmla="*/ 837 w 869"/>
              <a:gd name="T103" fmla="*/ 504 h 897"/>
              <a:gd name="T104" fmla="*/ 847 w 869"/>
              <a:gd name="T105" fmla="*/ 537 h 897"/>
              <a:gd name="T106" fmla="*/ 868 w 869"/>
              <a:gd name="T107" fmla="*/ 529 h 897"/>
              <a:gd name="T108" fmla="*/ 849 w 869"/>
              <a:gd name="T109" fmla="*/ 397 h 897"/>
              <a:gd name="T110" fmla="*/ 773 w 869"/>
              <a:gd name="T111" fmla="*/ 252 h 897"/>
              <a:gd name="T112" fmla="*/ 649 w 869"/>
              <a:gd name="T113" fmla="*/ 147 h 897"/>
              <a:gd name="T114" fmla="*/ 493 w 869"/>
              <a:gd name="T115" fmla="*/ 94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9" h="897">
                <a:moveTo>
                  <a:pt x="749" y="418"/>
                </a:moveTo>
                <a:lnTo>
                  <a:pt x="733" y="419"/>
                </a:lnTo>
                <a:lnTo>
                  <a:pt x="717" y="422"/>
                </a:lnTo>
                <a:lnTo>
                  <a:pt x="702" y="428"/>
                </a:lnTo>
                <a:lnTo>
                  <a:pt x="688" y="434"/>
                </a:lnTo>
                <a:lnTo>
                  <a:pt x="675" y="443"/>
                </a:lnTo>
                <a:lnTo>
                  <a:pt x="663" y="452"/>
                </a:lnTo>
                <a:lnTo>
                  <a:pt x="652" y="463"/>
                </a:lnTo>
                <a:lnTo>
                  <a:pt x="644" y="475"/>
                </a:lnTo>
                <a:lnTo>
                  <a:pt x="635" y="463"/>
                </a:lnTo>
                <a:lnTo>
                  <a:pt x="625" y="452"/>
                </a:lnTo>
                <a:lnTo>
                  <a:pt x="613" y="443"/>
                </a:lnTo>
                <a:lnTo>
                  <a:pt x="600" y="434"/>
                </a:lnTo>
                <a:lnTo>
                  <a:pt x="586" y="428"/>
                </a:lnTo>
                <a:lnTo>
                  <a:pt x="571" y="422"/>
                </a:lnTo>
                <a:lnTo>
                  <a:pt x="555" y="419"/>
                </a:lnTo>
                <a:lnTo>
                  <a:pt x="539" y="418"/>
                </a:lnTo>
                <a:lnTo>
                  <a:pt x="523" y="419"/>
                </a:lnTo>
                <a:lnTo>
                  <a:pt x="507" y="422"/>
                </a:lnTo>
                <a:lnTo>
                  <a:pt x="492" y="428"/>
                </a:lnTo>
                <a:lnTo>
                  <a:pt x="478" y="434"/>
                </a:lnTo>
                <a:lnTo>
                  <a:pt x="465" y="443"/>
                </a:lnTo>
                <a:lnTo>
                  <a:pt x="453" y="452"/>
                </a:lnTo>
                <a:lnTo>
                  <a:pt x="443" y="463"/>
                </a:lnTo>
                <a:lnTo>
                  <a:pt x="434" y="475"/>
                </a:lnTo>
                <a:lnTo>
                  <a:pt x="425" y="463"/>
                </a:lnTo>
                <a:lnTo>
                  <a:pt x="416" y="452"/>
                </a:lnTo>
                <a:lnTo>
                  <a:pt x="404" y="443"/>
                </a:lnTo>
                <a:lnTo>
                  <a:pt x="391" y="434"/>
                </a:lnTo>
                <a:lnTo>
                  <a:pt x="376" y="428"/>
                </a:lnTo>
                <a:lnTo>
                  <a:pt x="361" y="422"/>
                </a:lnTo>
                <a:lnTo>
                  <a:pt x="346" y="419"/>
                </a:lnTo>
                <a:lnTo>
                  <a:pt x="329" y="418"/>
                </a:lnTo>
                <a:lnTo>
                  <a:pt x="313" y="419"/>
                </a:lnTo>
                <a:lnTo>
                  <a:pt x="298" y="422"/>
                </a:lnTo>
                <a:lnTo>
                  <a:pt x="283" y="428"/>
                </a:lnTo>
                <a:lnTo>
                  <a:pt x="268" y="434"/>
                </a:lnTo>
                <a:lnTo>
                  <a:pt x="255" y="443"/>
                </a:lnTo>
                <a:lnTo>
                  <a:pt x="243" y="452"/>
                </a:lnTo>
                <a:lnTo>
                  <a:pt x="234" y="463"/>
                </a:lnTo>
                <a:lnTo>
                  <a:pt x="225" y="475"/>
                </a:lnTo>
                <a:lnTo>
                  <a:pt x="217" y="463"/>
                </a:lnTo>
                <a:lnTo>
                  <a:pt x="206" y="452"/>
                </a:lnTo>
                <a:lnTo>
                  <a:pt x="194" y="443"/>
                </a:lnTo>
                <a:lnTo>
                  <a:pt x="181" y="434"/>
                </a:lnTo>
                <a:lnTo>
                  <a:pt x="167" y="428"/>
                </a:lnTo>
                <a:lnTo>
                  <a:pt x="152" y="422"/>
                </a:lnTo>
                <a:lnTo>
                  <a:pt x="136" y="419"/>
                </a:lnTo>
                <a:lnTo>
                  <a:pt x="120" y="418"/>
                </a:lnTo>
                <a:lnTo>
                  <a:pt x="107" y="418"/>
                </a:lnTo>
                <a:lnTo>
                  <a:pt x="96" y="420"/>
                </a:lnTo>
                <a:lnTo>
                  <a:pt x="85" y="422"/>
                </a:lnTo>
                <a:lnTo>
                  <a:pt x="74" y="425"/>
                </a:lnTo>
                <a:lnTo>
                  <a:pt x="65" y="429"/>
                </a:lnTo>
                <a:lnTo>
                  <a:pt x="55" y="433"/>
                </a:lnTo>
                <a:lnTo>
                  <a:pt x="46" y="437"/>
                </a:lnTo>
                <a:lnTo>
                  <a:pt x="38" y="444"/>
                </a:lnTo>
                <a:lnTo>
                  <a:pt x="42" y="427"/>
                </a:lnTo>
                <a:lnTo>
                  <a:pt x="46" y="410"/>
                </a:lnTo>
                <a:lnTo>
                  <a:pt x="52" y="394"/>
                </a:lnTo>
                <a:lnTo>
                  <a:pt x="58" y="376"/>
                </a:lnTo>
                <a:lnTo>
                  <a:pt x="65" y="361"/>
                </a:lnTo>
                <a:lnTo>
                  <a:pt x="72" y="345"/>
                </a:lnTo>
                <a:lnTo>
                  <a:pt x="80" y="330"/>
                </a:lnTo>
                <a:lnTo>
                  <a:pt x="88" y="315"/>
                </a:lnTo>
                <a:lnTo>
                  <a:pt x="98" y="300"/>
                </a:lnTo>
                <a:lnTo>
                  <a:pt x="107" y="286"/>
                </a:lnTo>
                <a:lnTo>
                  <a:pt x="117" y="274"/>
                </a:lnTo>
                <a:lnTo>
                  <a:pt x="128" y="260"/>
                </a:lnTo>
                <a:lnTo>
                  <a:pt x="140" y="247"/>
                </a:lnTo>
                <a:lnTo>
                  <a:pt x="151" y="235"/>
                </a:lnTo>
                <a:lnTo>
                  <a:pt x="164" y="223"/>
                </a:lnTo>
                <a:lnTo>
                  <a:pt x="177" y="213"/>
                </a:lnTo>
                <a:lnTo>
                  <a:pt x="190" y="202"/>
                </a:lnTo>
                <a:lnTo>
                  <a:pt x="204" y="191"/>
                </a:lnTo>
                <a:lnTo>
                  <a:pt x="219" y="182"/>
                </a:lnTo>
                <a:lnTo>
                  <a:pt x="233" y="173"/>
                </a:lnTo>
                <a:lnTo>
                  <a:pt x="248" y="164"/>
                </a:lnTo>
                <a:lnTo>
                  <a:pt x="264" y="157"/>
                </a:lnTo>
                <a:lnTo>
                  <a:pt x="279" y="151"/>
                </a:lnTo>
                <a:lnTo>
                  <a:pt x="295" y="144"/>
                </a:lnTo>
                <a:lnTo>
                  <a:pt x="312" y="138"/>
                </a:lnTo>
                <a:lnTo>
                  <a:pt x="328" y="133"/>
                </a:lnTo>
                <a:lnTo>
                  <a:pt x="345" y="129"/>
                </a:lnTo>
                <a:lnTo>
                  <a:pt x="362" y="125"/>
                </a:lnTo>
                <a:lnTo>
                  <a:pt x="380" y="123"/>
                </a:lnTo>
                <a:lnTo>
                  <a:pt x="398" y="121"/>
                </a:lnTo>
                <a:lnTo>
                  <a:pt x="416" y="119"/>
                </a:lnTo>
                <a:lnTo>
                  <a:pt x="434" y="118"/>
                </a:lnTo>
                <a:lnTo>
                  <a:pt x="452" y="119"/>
                </a:lnTo>
                <a:lnTo>
                  <a:pt x="470" y="121"/>
                </a:lnTo>
                <a:lnTo>
                  <a:pt x="489" y="123"/>
                </a:lnTo>
                <a:lnTo>
                  <a:pt x="506" y="125"/>
                </a:lnTo>
                <a:lnTo>
                  <a:pt x="523" y="129"/>
                </a:lnTo>
                <a:lnTo>
                  <a:pt x="540" y="133"/>
                </a:lnTo>
                <a:lnTo>
                  <a:pt x="557" y="138"/>
                </a:lnTo>
                <a:lnTo>
                  <a:pt x="573" y="144"/>
                </a:lnTo>
                <a:lnTo>
                  <a:pt x="589" y="151"/>
                </a:lnTo>
                <a:lnTo>
                  <a:pt x="605" y="157"/>
                </a:lnTo>
                <a:lnTo>
                  <a:pt x="621" y="164"/>
                </a:lnTo>
                <a:lnTo>
                  <a:pt x="636" y="173"/>
                </a:lnTo>
                <a:lnTo>
                  <a:pt x="650" y="182"/>
                </a:lnTo>
                <a:lnTo>
                  <a:pt x="665" y="191"/>
                </a:lnTo>
                <a:lnTo>
                  <a:pt x="678" y="202"/>
                </a:lnTo>
                <a:lnTo>
                  <a:pt x="692" y="213"/>
                </a:lnTo>
                <a:lnTo>
                  <a:pt x="705" y="223"/>
                </a:lnTo>
                <a:lnTo>
                  <a:pt x="717" y="235"/>
                </a:lnTo>
                <a:lnTo>
                  <a:pt x="729" y="247"/>
                </a:lnTo>
                <a:lnTo>
                  <a:pt x="740" y="260"/>
                </a:lnTo>
                <a:lnTo>
                  <a:pt x="751" y="274"/>
                </a:lnTo>
                <a:lnTo>
                  <a:pt x="762" y="286"/>
                </a:lnTo>
                <a:lnTo>
                  <a:pt x="771" y="300"/>
                </a:lnTo>
                <a:lnTo>
                  <a:pt x="781" y="315"/>
                </a:lnTo>
                <a:lnTo>
                  <a:pt x="789" y="330"/>
                </a:lnTo>
                <a:lnTo>
                  <a:pt x="797" y="345"/>
                </a:lnTo>
                <a:lnTo>
                  <a:pt x="804" y="361"/>
                </a:lnTo>
                <a:lnTo>
                  <a:pt x="811" y="376"/>
                </a:lnTo>
                <a:lnTo>
                  <a:pt x="817" y="394"/>
                </a:lnTo>
                <a:lnTo>
                  <a:pt x="823" y="410"/>
                </a:lnTo>
                <a:lnTo>
                  <a:pt x="827" y="427"/>
                </a:lnTo>
                <a:lnTo>
                  <a:pt x="830" y="444"/>
                </a:lnTo>
                <a:lnTo>
                  <a:pt x="823" y="437"/>
                </a:lnTo>
                <a:lnTo>
                  <a:pt x="814" y="433"/>
                </a:lnTo>
                <a:lnTo>
                  <a:pt x="804" y="429"/>
                </a:lnTo>
                <a:lnTo>
                  <a:pt x="795" y="425"/>
                </a:lnTo>
                <a:lnTo>
                  <a:pt x="784" y="422"/>
                </a:lnTo>
                <a:lnTo>
                  <a:pt x="772" y="420"/>
                </a:lnTo>
                <a:lnTo>
                  <a:pt x="761" y="418"/>
                </a:lnTo>
                <a:lnTo>
                  <a:pt x="749" y="418"/>
                </a:lnTo>
                <a:close/>
                <a:moveTo>
                  <a:pt x="449" y="91"/>
                </a:moveTo>
                <a:lnTo>
                  <a:pt x="449" y="15"/>
                </a:lnTo>
                <a:lnTo>
                  <a:pt x="449" y="11"/>
                </a:lnTo>
                <a:lnTo>
                  <a:pt x="448" y="8"/>
                </a:lnTo>
                <a:lnTo>
                  <a:pt x="447" y="6"/>
                </a:lnTo>
                <a:lnTo>
                  <a:pt x="445" y="4"/>
                </a:lnTo>
                <a:lnTo>
                  <a:pt x="443" y="2"/>
                </a:lnTo>
                <a:lnTo>
                  <a:pt x="440" y="1"/>
                </a:lnTo>
                <a:lnTo>
                  <a:pt x="437" y="0"/>
                </a:lnTo>
                <a:lnTo>
                  <a:pt x="434" y="0"/>
                </a:lnTo>
                <a:lnTo>
                  <a:pt x="432" y="0"/>
                </a:lnTo>
                <a:lnTo>
                  <a:pt x="429" y="1"/>
                </a:lnTo>
                <a:lnTo>
                  <a:pt x="426" y="2"/>
                </a:lnTo>
                <a:lnTo>
                  <a:pt x="423" y="4"/>
                </a:lnTo>
                <a:lnTo>
                  <a:pt x="422" y="6"/>
                </a:lnTo>
                <a:lnTo>
                  <a:pt x="420" y="8"/>
                </a:lnTo>
                <a:lnTo>
                  <a:pt x="420" y="11"/>
                </a:lnTo>
                <a:lnTo>
                  <a:pt x="419" y="15"/>
                </a:lnTo>
                <a:lnTo>
                  <a:pt x="419" y="91"/>
                </a:lnTo>
                <a:lnTo>
                  <a:pt x="398" y="92"/>
                </a:lnTo>
                <a:lnTo>
                  <a:pt x="376" y="94"/>
                </a:lnTo>
                <a:lnTo>
                  <a:pt x="356" y="97"/>
                </a:lnTo>
                <a:lnTo>
                  <a:pt x="334" y="101"/>
                </a:lnTo>
                <a:lnTo>
                  <a:pt x="314" y="107"/>
                </a:lnTo>
                <a:lnTo>
                  <a:pt x="295" y="113"/>
                </a:lnTo>
                <a:lnTo>
                  <a:pt x="274" y="121"/>
                </a:lnTo>
                <a:lnTo>
                  <a:pt x="256" y="128"/>
                </a:lnTo>
                <a:lnTo>
                  <a:pt x="237" y="138"/>
                </a:lnTo>
                <a:lnTo>
                  <a:pt x="219" y="147"/>
                </a:lnTo>
                <a:lnTo>
                  <a:pt x="202" y="158"/>
                </a:lnTo>
                <a:lnTo>
                  <a:pt x="185" y="169"/>
                </a:lnTo>
                <a:lnTo>
                  <a:pt x="168" y="182"/>
                </a:lnTo>
                <a:lnTo>
                  <a:pt x="152" y="194"/>
                </a:lnTo>
                <a:lnTo>
                  <a:pt x="137" y="207"/>
                </a:lnTo>
                <a:lnTo>
                  <a:pt x="122" y="222"/>
                </a:lnTo>
                <a:lnTo>
                  <a:pt x="109" y="237"/>
                </a:lnTo>
                <a:lnTo>
                  <a:pt x="96" y="252"/>
                </a:lnTo>
                <a:lnTo>
                  <a:pt x="83" y="268"/>
                </a:lnTo>
                <a:lnTo>
                  <a:pt x="72" y="285"/>
                </a:lnTo>
                <a:lnTo>
                  <a:pt x="60" y="303"/>
                </a:lnTo>
                <a:lnTo>
                  <a:pt x="51" y="321"/>
                </a:lnTo>
                <a:lnTo>
                  <a:pt x="41" y="339"/>
                </a:lnTo>
                <a:lnTo>
                  <a:pt x="34" y="358"/>
                </a:lnTo>
                <a:lnTo>
                  <a:pt x="26" y="377"/>
                </a:lnTo>
                <a:lnTo>
                  <a:pt x="19" y="397"/>
                </a:lnTo>
                <a:lnTo>
                  <a:pt x="13" y="417"/>
                </a:lnTo>
                <a:lnTo>
                  <a:pt x="9" y="437"/>
                </a:lnTo>
                <a:lnTo>
                  <a:pt x="5" y="459"/>
                </a:lnTo>
                <a:lnTo>
                  <a:pt x="3" y="480"/>
                </a:lnTo>
                <a:lnTo>
                  <a:pt x="0" y="502"/>
                </a:lnTo>
                <a:lnTo>
                  <a:pt x="0" y="523"/>
                </a:lnTo>
                <a:lnTo>
                  <a:pt x="0" y="526"/>
                </a:lnTo>
                <a:lnTo>
                  <a:pt x="1" y="529"/>
                </a:lnTo>
                <a:lnTo>
                  <a:pt x="3" y="532"/>
                </a:lnTo>
                <a:lnTo>
                  <a:pt x="5" y="534"/>
                </a:lnTo>
                <a:lnTo>
                  <a:pt x="7" y="536"/>
                </a:lnTo>
                <a:lnTo>
                  <a:pt x="9" y="537"/>
                </a:lnTo>
                <a:lnTo>
                  <a:pt x="12" y="538"/>
                </a:lnTo>
                <a:lnTo>
                  <a:pt x="15" y="538"/>
                </a:lnTo>
                <a:lnTo>
                  <a:pt x="19" y="538"/>
                </a:lnTo>
                <a:lnTo>
                  <a:pt x="21" y="537"/>
                </a:lnTo>
                <a:lnTo>
                  <a:pt x="24" y="536"/>
                </a:lnTo>
                <a:lnTo>
                  <a:pt x="26" y="534"/>
                </a:lnTo>
                <a:lnTo>
                  <a:pt x="27" y="532"/>
                </a:lnTo>
                <a:lnTo>
                  <a:pt x="29" y="529"/>
                </a:lnTo>
                <a:lnTo>
                  <a:pt x="30" y="526"/>
                </a:lnTo>
                <a:lnTo>
                  <a:pt x="30" y="523"/>
                </a:lnTo>
                <a:lnTo>
                  <a:pt x="30" y="513"/>
                </a:lnTo>
                <a:lnTo>
                  <a:pt x="32" y="504"/>
                </a:lnTo>
                <a:lnTo>
                  <a:pt x="35" y="495"/>
                </a:lnTo>
                <a:lnTo>
                  <a:pt x="39" y="488"/>
                </a:lnTo>
                <a:lnTo>
                  <a:pt x="43" y="481"/>
                </a:lnTo>
                <a:lnTo>
                  <a:pt x="47" y="475"/>
                </a:lnTo>
                <a:lnTo>
                  <a:pt x="53" y="470"/>
                </a:lnTo>
                <a:lnTo>
                  <a:pt x="59" y="465"/>
                </a:lnTo>
                <a:lnTo>
                  <a:pt x="67" y="461"/>
                </a:lnTo>
                <a:lnTo>
                  <a:pt x="73" y="457"/>
                </a:lnTo>
                <a:lnTo>
                  <a:pt x="81" y="455"/>
                </a:lnTo>
                <a:lnTo>
                  <a:pt x="88" y="452"/>
                </a:lnTo>
                <a:lnTo>
                  <a:pt x="104" y="449"/>
                </a:lnTo>
                <a:lnTo>
                  <a:pt x="120" y="448"/>
                </a:lnTo>
                <a:lnTo>
                  <a:pt x="130" y="448"/>
                </a:lnTo>
                <a:lnTo>
                  <a:pt x="138" y="450"/>
                </a:lnTo>
                <a:lnTo>
                  <a:pt x="147" y="452"/>
                </a:lnTo>
                <a:lnTo>
                  <a:pt x="156" y="455"/>
                </a:lnTo>
                <a:lnTo>
                  <a:pt x="163" y="459"/>
                </a:lnTo>
                <a:lnTo>
                  <a:pt x="171" y="463"/>
                </a:lnTo>
                <a:lnTo>
                  <a:pt x="178" y="467"/>
                </a:lnTo>
                <a:lnTo>
                  <a:pt x="185" y="473"/>
                </a:lnTo>
                <a:lnTo>
                  <a:pt x="190" y="478"/>
                </a:lnTo>
                <a:lnTo>
                  <a:pt x="195" y="484"/>
                </a:lnTo>
                <a:lnTo>
                  <a:pt x="200" y="490"/>
                </a:lnTo>
                <a:lnTo>
                  <a:pt x="203" y="496"/>
                </a:lnTo>
                <a:lnTo>
                  <a:pt x="206" y="504"/>
                </a:lnTo>
                <a:lnTo>
                  <a:pt x="208" y="510"/>
                </a:lnTo>
                <a:lnTo>
                  <a:pt x="209" y="517"/>
                </a:lnTo>
                <a:lnTo>
                  <a:pt x="210" y="523"/>
                </a:lnTo>
                <a:lnTo>
                  <a:pt x="210" y="526"/>
                </a:lnTo>
                <a:lnTo>
                  <a:pt x="211" y="529"/>
                </a:lnTo>
                <a:lnTo>
                  <a:pt x="212" y="532"/>
                </a:lnTo>
                <a:lnTo>
                  <a:pt x="215" y="534"/>
                </a:lnTo>
                <a:lnTo>
                  <a:pt x="217" y="536"/>
                </a:lnTo>
                <a:lnTo>
                  <a:pt x="219" y="537"/>
                </a:lnTo>
                <a:lnTo>
                  <a:pt x="222" y="538"/>
                </a:lnTo>
                <a:lnTo>
                  <a:pt x="225" y="538"/>
                </a:lnTo>
                <a:lnTo>
                  <a:pt x="227" y="538"/>
                </a:lnTo>
                <a:lnTo>
                  <a:pt x="231" y="537"/>
                </a:lnTo>
                <a:lnTo>
                  <a:pt x="233" y="536"/>
                </a:lnTo>
                <a:lnTo>
                  <a:pt x="236" y="534"/>
                </a:lnTo>
                <a:lnTo>
                  <a:pt x="237" y="532"/>
                </a:lnTo>
                <a:lnTo>
                  <a:pt x="239" y="529"/>
                </a:lnTo>
                <a:lnTo>
                  <a:pt x="239" y="526"/>
                </a:lnTo>
                <a:lnTo>
                  <a:pt x="240" y="523"/>
                </a:lnTo>
                <a:lnTo>
                  <a:pt x="240" y="517"/>
                </a:lnTo>
                <a:lnTo>
                  <a:pt x="241" y="510"/>
                </a:lnTo>
                <a:lnTo>
                  <a:pt x="243" y="504"/>
                </a:lnTo>
                <a:lnTo>
                  <a:pt x="247" y="496"/>
                </a:lnTo>
                <a:lnTo>
                  <a:pt x="250" y="490"/>
                </a:lnTo>
                <a:lnTo>
                  <a:pt x="255" y="484"/>
                </a:lnTo>
                <a:lnTo>
                  <a:pt x="259" y="478"/>
                </a:lnTo>
                <a:lnTo>
                  <a:pt x="266" y="473"/>
                </a:lnTo>
                <a:lnTo>
                  <a:pt x="271" y="467"/>
                </a:lnTo>
                <a:lnTo>
                  <a:pt x="279" y="463"/>
                </a:lnTo>
                <a:lnTo>
                  <a:pt x="286" y="459"/>
                </a:lnTo>
                <a:lnTo>
                  <a:pt x="294" y="455"/>
                </a:lnTo>
                <a:lnTo>
                  <a:pt x="302" y="452"/>
                </a:lnTo>
                <a:lnTo>
                  <a:pt x="311" y="450"/>
                </a:lnTo>
                <a:lnTo>
                  <a:pt x="320" y="448"/>
                </a:lnTo>
                <a:lnTo>
                  <a:pt x="329" y="448"/>
                </a:lnTo>
                <a:lnTo>
                  <a:pt x="339" y="448"/>
                </a:lnTo>
                <a:lnTo>
                  <a:pt x="348" y="450"/>
                </a:lnTo>
                <a:lnTo>
                  <a:pt x="357" y="452"/>
                </a:lnTo>
                <a:lnTo>
                  <a:pt x="365" y="455"/>
                </a:lnTo>
                <a:lnTo>
                  <a:pt x="373" y="459"/>
                </a:lnTo>
                <a:lnTo>
                  <a:pt x="380" y="463"/>
                </a:lnTo>
                <a:lnTo>
                  <a:pt x="388" y="467"/>
                </a:lnTo>
                <a:lnTo>
                  <a:pt x="393" y="473"/>
                </a:lnTo>
                <a:lnTo>
                  <a:pt x="400" y="478"/>
                </a:lnTo>
                <a:lnTo>
                  <a:pt x="404" y="484"/>
                </a:lnTo>
                <a:lnTo>
                  <a:pt x="409" y="490"/>
                </a:lnTo>
                <a:lnTo>
                  <a:pt x="413" y="496"/>
                </a:lnTo>
                <a:lnTo>
                  <a:pt x="416" y="504"/>
                </a:lnTo>
                <a:lnTo>
                  <a:pt x="418" y="510"/>
                </a:lnTo>
                <a:lnTo>
                  <a:pt x="419" y="517"/>
                </a:lnTo>
                <a:lnTo>
                  <a:pt x="419" y="523"/>
                </a:lnTo>
                <a:lnTo>
                  <a:pt x="419" y="823"/>
                </a:lnTo>
                <a:lnTo>
                  <a:pt x="420" y="830"/>
                </a:lnTo>
                <a:lnTo>
                  <a:pt x="421" y="838"/>
                </a:lnTo>
                <a:lnTo>
                  <a:pt x="423" y="845"/>
                </a:lnTo>
                <a:lnTo>
                  <a:pt x="425" y="852"/>
                </a:lnTo>
                <a:lnTo>
                  <a:pt x="429" y="858"/>
                </a:lnTo>
                <a:lnTo>
                  <a:pt x="432" y="864"/>
                </a:lnTo>
                <a:lnTo>
                  <a:pt x="436" y="870"/>
                </a:lnTo>
                <a:lnTo>
                  <a:pt x="441" y="875"/>
                </a:lnTo>
                <a:lnTo>
                  <a:pt x="447" y="881"/>
                </a:lnTo>
                <a:lnTo>
                  <a:pt x="452" y="885"/>
                </a:lnTo>
                <a:lnTo>
                  <a:pt x="459" y="888"/>
                </a:lnTo>
                <a:lnTo>
                  <a:pt x="465" y="891"/>
                </a:lnTo>
                <a:lnTo>
                  <a:pt x="473" y="893"/>
                </a:lnTo>
                <a:lnTo>
                  <a:pt x="479" y="896"/>
                </a:lnTo>
                <a:lnTo>
                  <a:pt x="486" y="897"/>
                </a:lnTo>
                <a:lnTo>
                  <a:pt x="494" y="897"/>
                </a:lnTo>
                <a:lnTo>
                  <a:pt x="501" y="897"/>
                </a:lnTo>
                <a:lnTo>
                  <a:pt x="509" y="896"/>
                </a:lnTo>
                <a:lnTo>
                  <a:pt x="516" y="893"/>
                </a:lnTo>
                <a:lnTo>
                  <a:pt x="523" y="891"/>
                </a:lnTo>
                <a:lnTo>
                  <a:pt x="530" y="888"/>
                </a:lnTo>
                <a:lnTo>
                  <a:pt x="536" y="885"/>
                </a:lnTo>
                <a:lnTo>
                  <a:pt x="542" y="881"/>
                </a:lnTo>
                <a:lnTo>
                  <a:pt x="547" y="875"/>
                </a:lnTo>
                <a:lnTo>
                  <a:pt x="552" y="870"/>
                </a:lnTo>
                <a:lnTo>
                  <a:pt x="556" y="864"/>
                </a:lnTo>
                <a:lnTo>
                  <a:pt x="560" y="858"/>
                </a:lnTo>
                <a:lnTo>
                  <a:pt x="564" y="852"/>
                </a:lnTo>
                <a:lnTo>
                  <a:pt x="566" y="845"/>
                </a:lnTo>
                <a:lnTo>
                  <a:pt x="568" y="838"/>
                </a:lnTo>
                <a:lnTo>
                  <a:pt x="569" y="830"/>
                </a:lnTo>
                <a:lnTo>
                  <a:pt x="569" y="823"/>
                </a:lnTo>
                <a:lnTo>
                  <a:pt x="569" y="820"/>
                </a:lnTo>
                <a:lnTo>
                  <a:pt x="568" y="816"/>
                </a:lnTo>
                <a:lnTo>
                  <a:pt x="567" y="814"/>
                </a:lnTo>
                <a:lnTo>
                  <a:pt x="565" y="812"/>
                </a:lnTo>
                <a:lnTo>
                  <a:pt x="562" y="810"/>
                </a:lnTo>
                <a:lnTo>
                  <a:pt x="560" y="809"/>
                </a:lnTo>
                <a:lnTo>
                  <a:pt x="557" y="808"/>
                </a:lnTo>
                <a:lnTo>
                  <a:pt x="554" y="808"/>
                </a:lnTo>
                <a:lnTo>
                  <a:pt x="551" y="808"/>
                </a:lnTo>
                <a:lnTo>
                  <a:pt x="549" y="809"/>
                </a:lnTo>
                <a:lnTo>
                  <a:pt x="545" y="810"/>
                </a:lnTo>
                <a:lnTo>
                  <a:pt x="543" y="812"/>
                </a:lnTo>
                <a:lnTo>
                  <a:pt x="542" y="814"/>
                </a:lnTo>
                <a:lnTo>
                  <a:pt x="540" y="816"/>
                </a:lnTo>
                <a:lnTo>
                  <a:pt x="540" y="820"/>
                </a:lnTo>
                <a:lnTo>
                  <a:pt x="539" y="823"/>
                </a:lnTo>
                <a:lnTo>
                  <a:pt x="538" y="831"/>
                </a:lnTo>
                <a:lnTo>
                  <a:pt x="536" y="840"/>
                </a:lnTo>
                <a:lnTo>
                  <a:pt x="531" y="847"/>
                </a:lnTo>
                <a:lnTo>
                  <a:pt x="526" y="854"/>
                </a:lnTo>
                <a:lnTo>
                  <a:pt x="520" y="859"/>
                </a:lnTo>
                <a:lnTo>
                  <a:pt x="512" y="863"/>
                </a:lnTo>
                <a:lnTo>
                  <a:pt x="504" y="867"/>
                </a:lnTo>
                <a:lnTo>
                  <a:pt x="494" y="867"/>
                </a:lnTo>
                <a:lnTo>
                  <a:pt x="485" y="867"/>
                </a:lnTo>
                <a:lnTo>
                  <a:pt x="477" y="863"/>
                </a:lnTo>
                <a:lnTo>
                  <a:pt x="469" y="859"/>
                </a:lnTo>
                <a:lnTo>
                  <a:pt x="463" y="854"/>
                </a:lnTo>
                <a:lnTo>
                  <a:pt x="458" y="847"/>
                </a:lnTo>
                <a:lnTo>
                  <a:pt x="453" y="840"/>
                </a:lnTo>
                <a:lnTo>
                  <a:pt x="450" y="831"/>
                </a:lnTo>
                <a:lnTo>
                  <a:pt x="449" y="823"/>
                </a:lnTo>
                <a:lnTo>
                  <a:pt x="449" y="523"/>
                </a:lnTo>
                <a:lnTo>
                  <a:pt x="450" y="517"/>
                </a:lnTo>
                <a:lnTo>
                  <a:pt x="451" y="510"/>
                </a:lnTo>
                <a:lnTo>
                  <a:pt x="453" y="503"/>
                </a:lnTo>
                <a:lnTo>
                  <a:pt x="456" y="496"/>
                </a:lnTo>
                <a:lnTo>
                  <a:pt x="460" y="490"/>
                </a:lnTo>
                <a:lnTo>
                  <a:pt x="464" y="484"/>
                </a:lnTo>
                <a:lnTo>
                  <a:pt x="469" y="478"/>
                </a:lnTo>
                <a:lnTo>
                  <a:pt x="475" y="473"/>
                </a:lnTo>
                <a:lnTo>
                  <a:pt x="481" y="467"/>
                </a:lnTo>
                <a:lnTo>
                  <a:pt x="489" y="463"/>
                </a:lnTo>
                <a:lnTo>
                  <a:pt x="496" y="459"/>
                </a:lnTo>
                <a:lnTo>
                  <a:pt x="504" y="455"/>
                </a:lnTo>
                <a:lnTo>
                  <a:pt x="512" y="452"/>
                </a:lnTo>
                <a:lnTo>
                  <a:pt x="521" y="450"/>
                </a:lnTo>
                <a:lnTo>
                  <a:pt x="529" y="448"/>
                </a:lnTo>
                <a:lnTo>
                  <a:pt x="539" y="448"/>
                </a:lnTo>
                <a:lnTo>
                  <a:pt x="549" y="448"/>
                </a:lnTo>
                <a:lnTo>
                  <a:pt x="558" y="450"/>
                </a:lnTo>
                <a:lnTo>
                  <a:pt x="567" y="452"/>
                </a:lnTo>
                <a:lnTo>
                  <a:pt x="575" y="455"/>
                </a:lnTo>
                <a:lnTo>
                  <a:pt x="583" y="459"/>
                </a:lnTo>
                <a:lnTo>
                  <a:pt x="590" y="463"/>
                </a:lnTo>
                <a:lnTo>
                  <a:pt x="597" y="467"/>
                </a:lnTo>
                <a:lnTo>
                  <a:pt x="603" y="473"/>
                </a:lnTo>
                <a:lnTo>
                  <a:pt x="608" y="478"/>
                </a:lnTo>
                <a:lnTo>
                  <a:pt x="614" y="484"/>
                </a:lnTo>
                <a:lnTo>
                  <a:pt x="618" y="490"/>
                </a:lnTo>
                <a:lnTo>
                  <a:pt x="622" y="496"/>
                </a:lnTo>
                <a:lnTo>
                  <a:pt x="625" y="504"/>
                </a:lnTo>
                <a:lnTo>
                  <a:pt x="627" y="510"/>
                </a:lnTo>
                <a:lnTo>
                  <a:pt x="629" y="517"/>
                </a:lnTo>
                <a:lnTo>
                  <a:pt x="629" y="523"/>
                </a:lnTo>
                <a:lnTo>
                  <a:pt x="629" y="526"/>
                </a:lnTo>
                <a:lnTo>
                  <a:pt x="630" y="529"/>
                </a:lnTo>
                <a:lnTo>
                  <a:pt x="632" y="532"/>
                </a:lnTo>
                <a:lnTo>
                  <a:pt x="633" y="534"/>
                </a:lnTo>
                <a:lnTo>
                  <a:pt x="635" y="536"/>
                </a:lnTo>
                <a:lnTo>
                  <a:pt x="638" y="537"/>
                </a:lnTo>
                <a:lnTo>
                  <a:pt x="641" y="538"/>
                </a:lnTo>
                <a:lnTo>
                  <a:pt x="644" y="538"/>
                </a:lnTo>
                <a:lnTo>
                  <a:pt x="647" y="538"/>
                </a:lnTo>
                <a:lnTo>
                  <a:pt x="650" y="537"/>
                </a:lnTo>
                <a:lnTo>
                  <a:pt x="652" y="536"/>
                </a:lnTo>
                <a:lnTo>
                  <a:pt x="655" y="534"/>
                </a:lnTo>
                <a:lnTo>
                  <a:pt x="657" y="532"/>
                </a:lnTo>
                <a:lnTo>
                  <a:pt x="658" y="529"/>
                </a:lnTo>
                <a:lnTo>
                  <a:pt x="659" y="526"/>
                </a:lnTo>
                <a:lnTo>
                  <a:pt x="659" y="523"/>
                </a:lnTo>
                <a:lnTo>
                  <a:pt x="659" y="517"/>
                </a:lnTo>
                <a:lnTo>
                  <a:pt x="661" y="510"/>
                </a:lnTo>
                <a:lnTo>
                  <a:pt x="663" y="504"/>
                </a:lnTo>
                <a:lnTo>
                  <a:pt x="665" y="496"/>
                </a:lnTo>
                <a:lnTo>
                  <a:pt x="670" y="490"/>
                </a:lnTo>
                <a:lnTo>
                  <a:pt x="674" y="484"/>
                </a:lnTo>
                <a:lnTo>
                  <a:pt x="679" y="478"/>
                </a:lnTo>
                <a:lnTo>
                  <a:pt x="685" y="473"/>
                </a:lnTo>
                <a:lnTo>
                  <a:pt x="691" y="467"/>
                </a:lnTo>
                <a:lnTo>
                  <a:pt x="697" y="463"/>
                </a:lnTo>
                <a:lnTo>
                  <a:pt x="705" y="459"/>
                </a:lnTo>
                <a:lnTo>
                  <a:pt x="713" y="455"/>
                </a:lnTo>
                <a:lnTo>
                  <a:pt x="721" y="452"/>
                </a:lnTo>
                <a:lnTo>
                  <a:pt x="731" y="450"/>
                </a:lnTo>
                <a:lnTo>
                  <a:pt x="739" y="448"/>
                </a:lnTo>
                <a:lnTo>
                  <a:pt x="749" y="448"/>
                </a:lnTo>
                <a:lnTo>
                  <a:pt x="765" y="449"/>
                </a:lnTo>
                <a:lnTo>
                  <a:pt x="780" y="452"/>
                </a:lnTo>
                <a:lnTo>
                  <a:pt x="788" y="455"/>
                </a:lnTo>
                <a:lnTo>
                  <a:pt x="796" y="457"/>
                </a:lnTo>
                <a:lnTo>
                  <a:pt x="802" y="461"/>
                </a:lnTo>
                <a:lnTo>
                  <a:pt x="809" y="465"/>
                </a:lnTo>
                <a:lnTo>
                  <a:pt x="815" y="470"/>
                </a:lnTo>
                <a:lnTo>
                  <a:pt x="822" y="475"/>
                </a:lnTo>
                <a:lnTo>
                  <a:pt x="826" y="481"/>
                </a:lnTo>
                <a:lnTo>
                  <a:pt x="830" y="488"/>
                </a:lnTo>
                <a:lnTo>
                  <a:pt x="833" y="495"/>
                </a:lnTo>
                <a:lnTo>
                  <a:pt x="837" y="504"/>
                </a:lnTo>
                <a:lnTo>
                  <a:pt x="838" y="513"/>
                </a:lnTo>
                <a:lnTo>
                  <a:pt x="839" y="523"/>
                </a:lnTo>
                <a:lnTo>
                  <a:pt x="839" y="526"/>
                </a:lnTo>
                <a:lnTo>
                  <a:pt x="840" y="529"/>
                </a:lnTo>
                <a:lnTo>
                  <a:pt x="841" y="532"/>
                </a:lnTo>
                <a:lnTo>
                  <a:pt x="843" y="534"/>
                </a:lnTo>
                <a:lnTo>
                  <a:pt x="845" y="536"/>
                </a:lnTo>
                <a:lnTo>
                  <a:pt x="847" y="537"/>
                </a:lnTo>
                <a:lnTo>
                  <a:pt x="850" y="538"/>
                </a:lnTo>
                <a:lnTo>
                  <a:pt x="854" y="538"/>
                </a:lnTo>
                <a:lnTo>
                  <a:pt x="857" y="538"/>
                </a:lnTo>
                <a:lnTo>
                  <a:pt x="859" y="537"/>
                </a:lnTo>
                <a:lnTo>
                  <a:pt x="862" y="536"/>
                </a:lnTo>
                <a:lnTo>
                  <a:pt x="864" y="534"/>
                </a:lnTo>
                <a:lnTo>
                  <a:pt x="865" y="532"/>
                </a:lnTo>
                <a:lnTo>
                  <a:pt x="868" y="529"/>
                </a:lnTo>
                <a:lnTo>
                  <a:pt x="869" y="526"/>
                </a:lnTo>
                <a:lnTo>
                  <a:pt x="869" y="523"/>
                </a:lnTo>
                <a:lnTo>
                  <a:pt x="868" y="502"/>
                </a:lnTo>
                <a:lnTo>
                  <a:pt x="867" y="480"/>
                </a:lnTo>
                <a:lnTo>
                  <a:pt x="863" y="459"/>
                </a:lnTo>
                <a:lnTo>
                  <a:pt x="860" y="437"/>
                </a:lnTo>
                <a:lnTo>
                  <a:pt x="856" y="417"/>
                </a:lnTo>
                <a:lnTo>
                  <a:pt x="849" y="397"/>
                </a:lnTo>
                <a:lnTo>
                  <a:pt x="843" y="377"/>
                </a:lnTo>
                <a:lnTo>
                  <a:pt x="835" y="358"/>
                </a:lnTo>
                <a:lnTo>
                  <a:pt x="827" y="339"/>
                </a:lnTo>
                <a:lnTo>
                  <a:pt x="818" y="321"/>
                </a:lnTo>
                <a:lnTo>
                  <a:pt x="808" y="303"/>
                </a:lnTo>
                <a:lnTo>
                  <a:pt x="797" y="285"/>
                </a:lnTo>
                <a:lnTo>
                  <a:pt x="785" y="268"/>
                </a:lnTo>
                <a:lnTo>
                  <a:pt x="773" y="252"/>
                </a:lnTo>
                <a:lnTo>
                  <a:pt x="759" y="237"/>
                </a:lnTo>
                <a:lnTo>
                  <a:pt x="747" y="222"/>
                </a:lnTo>
                <a:lnTo>
                  <a:pt x="732" y="207"/>
                </a:lnTo>
                <a:lnTo>
                  <a:pt x="717" y="194"/>
                </a:lnTo>
                <a:lnTo>
                  <a:pt x="701" y="182"/>
                </a:lnTo>
                <a:lnTo>
                  <a:pt x="685" y="169"/>
                </a:lnTo>
                <a:lnTo>
                  <a:pt x="667" y="158"/>
                </a:lnTo>
                <a:lnTo>
                  <a:pt x="649" y="147"/>
                </a:lnTo>
                <a:lnTo>
                  <a:pt x="631" y="138"/>
                </a:lnTo>
                <a:lnTo>
                  <a:pt x="613" y="128"/>
                </a:lnTo>
                <a:lnTo>
                  <a:pt x="594" y="121"/>
                </a:lnTo>
                <a:lnTo>
                  <a:pt x="574" y="113"/>
                </a:lnTo>
                <a:lnTo>
                  <a:pt x="554" y="107"/>
                </a:lnTo>
                <a:lnTo>
                  <a:pt x="535" y="101"/>
                </a:lnTo>
                <a:lnTo>
                  <a:pt x="513" y="97"/>
                </a:lnTo>
                <a:lnTo>
                  <a:pt x="493" y="94"/>
                </a:lnTo>
                <a:lnTo>
                  <a:pt x="471" y="92"/>
                </a:lnTo>
                <a:lnTo>
                  <a:pt x="449" y="91"/>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958" name="Group 62">
            <a:extLst>
              <a:ext uri="{FF2B5EF4-FFF2-40B4-BE49-F238E27FC236}">
                <a16:creationId xmlns:a16="http://schemas.microsoft.com/office/drawing/2014/main" id="{3E67CDFA-8322-411A-9FA3-DFBC2E2C4560}"/>
              </a:ext>
            </a:extLst>
          </p:cNvPr>
          <p:cNvGrpSpPr>
            <a:grpSpLocks noChangeAspect="1"/>
          </p:cNvGrpSpPr>
          <p:nvPr/>
        </p:nvGrpSpPr>
        <p:grpSpPr>
          <a:xfrm>
            <a:off x="7461493" y="5944848"/>
            <a:ext cx="306432" cy="308144"/>
            <a:chOff x="906463" y="1339850"/>
            <a:chExt cx="284162" cy="285750"/>
          </a:xfrm>
          <a:solidFill>
            <a:schemeClr val="bg1"/>
          </a:solidFill>
          <a:effectLst/>
        </p:grpSpPr>
        <p:sp>
          <p:nvSpPr>
            <p:cNvPr id="959" name="Freeform 89">
              <a:extLst>
                <a:ext uri="{FF2B5EF4-FFF2-40B4-BE49-F238E27FC236}">
                  <a16:creationId xmlns:a16="http://schemas.microsoft.com/office/drawing/2014/main" id="{A9B159EB-7081-4CCE-B8D6-ECB0E46C34C4}"/>
                </a:ext>
              </a:extLst>
            </p:cNvPr>
            <p:cNvSpPr>
              <a:spLocks noEditPoints="1"/>
            </p:cNvSpPr>
            <p:nvPr/>
          </p:nvSpPr>
          <p:spPr bwMode="auto">
            <a:xfrm>
              <a:off x="906463" y="1435100"/>
              <a:ext cx="246063" cy="190500"/>
            </a:xfrm>
            <a:custGeom>
              <a:avLst/>
              <a:gdLst>
                <a:gd name="T0" fmla="*/ 173 w 778"/>
                <a:gd name="T1" fmla="*/ 565 h 599"/>
                <a:gd name="T2" fmla="*/ 110 w 778"/>
                <a:gd name="T3" fmla="*/ 538 h 599"/>
                <a:gd name="T4" fmla="*/ 61 w 778"/>
                <a:gd name="T5" fmla="*/ 488 h 599"/>
                <a:gd name="T6" fmla="*/ 33 w 778"/>
                <a:gd name="T7" fmla="*/ 425 h 599"/>
                <a:gd name="T8" fmla="*/ 33 w 778"/>
                <a:gd name="T9" fmla="*/ 357 h 599"/>
                <a:gd name="T10" fmla="*/ 58 w 778"/>
                <a:gd name="T11" fmla="*/ 297 h 599"/>
                <a:gd name="T12" fmla="*/ 104 w 778"/>
                <a:gd name="T13" fmla="*/ 248 h 599"/>
                <a:gd name="T14" fmla="*/ 163 w 778"/>
                <a:gd name="T15" fmla="*/ 216 h 599"/>
                <a:gd name="T16" fmla="*/ 204 w 778"/>
                <a:gd name="T17" fmla="*/ 206 h 599"/>
                <a:gd name="T18" fmla="*/ 215 w 778"/>
                <a:gd name="T19" fmla="*/ 162 h 599"/>
                <a:gd name="T20" fmla="*/ 247 w 778"/>
                <a:gd name="T21" fmla="*/ 102 h 599"/>
                <a:gd name="T22" fmla="*/ 299 w 778"/>
                <a:gd name="T23" fmla="*/ 58 h 599"/>
                <a:gd name="T24" fmla="*/ 366 w 778"/>
                <a:gd name="T25" fmla="*/ 33 h 599"/>
                <a:gd name="T26" fmla="*/ 423 w 778"/>
                <a:gd name="T27" fmla="*/ 31 h 599"/>
                <a:gd name="T28" fmla="*/ 471 w 778"/>
                <a:gd name="T29" fmla="*/ 47 h 599"/>
                <a:gd name="T30" fmla="*/ 520 w 778"/>
                <a:gd name="T31" fmla="*/ 88 h 599"/>
                <a:gd name="T32" fmla="*/ 552 w 778"/>
                <a:gd name="T33" fmla="*/ 135 h 599"/>
                <a:gd name="T34" fmla="*/ 576 w 778"/>
                <a:gd name="T35" fmla="*/ 178 h 599"/>
                <a:gd name="T36" fmla="*/ 617 w 778"/>
                <a:gd name="T37" fmla="*/ 180 h 599"/>
                <a:gd name="T38" fmla="*/ 668 w 778"/>
                <a:gd name="T39" fmla="*/ 200 h 599"/>
                <a:gd name="T40" fmla="*/ 686 w 778"/>
                <a:gd name="T41" fmla="*/ 219 h 599"/>
                <a:gd name="T42" fmla="*/ 697 w 778"/>
                <a:gd name="T43" fmla="*/ 254 h 599"/>
                <a:gd name="T44" fmla="*/ 689 w 778"/>
                <a:gd name="T45" fmla="*/ 294 h 599"/>
                <a:gd name="T46" fmla="*/ 695 w 778"/>
                <a:gd name="T47" fmla="*/ 313 h 599"/>
                <a:gd name="T48" fmla="*/ 716 w 778"/>
                <a:gd name="T49" fmla="*/ 333 h 599"/>
                <a:gd name="T50" fmla="*/ 744 w 778"/>
                <a:gd name="T51" fmla="*/ 396 h 599"/>
                <a:gd name="T52" fmla="*/ 745 w 778"/>
                <a:gd name="T53" fmla="*/ 462 h 599"/>
                <a:gd name="T54" fmla="*/ 725 w 778"/>
                <a:gd name="T55" fmla="*/ 510 h 599"/>
                <a:gd name="T56" fmla="*/ 688 w 778"/>
                <a:gd name="T57" fmla="*/ 546 h 599"/>
                <a:gd name="T58" fmla="*/ 639 w 778"/>
                <a:gd name="T59" fmla="*/ 566 h 599"/>
                <a:gd name="T60" fmla="*/ 725 w 778"/>
                <a:gd name="T61" fmla="*/ 283 h 599"/>
                <a:gd name="T62" fmla="*/ 725 w 778"/>
                <a:gd name="T63" fmla="*/ 235 h 599"/>
                <a:gd name="T64" fmla="*/ 707 w 778"/>
                <a:gd name="T65" fmla="*/ 196 h 599"/>
                <a:gd name="T66" fmla="*/ 683 w 778"/>
                <a:gd name="T67" fmla="*/ 174 h 599"/>
                <a:gd name="T68" fmla="*/ 645 w 778"/>
                <a:gd name="T69" fmla="*/ 155 h 599"/>
                <a:gd name="T70" fmla="*/ 586 w 778"/>
                <a:gd name="T71" fmla="*/ 133 h 599"/>
                <a:gd name="T72" fmla="*/ 548 w 778"/>
                <a:gd name="T73" fmla="*/ 74 h 599"/>
                <a:gd name="T74" fmla="*/ 501 w 778"/>
                <a:gd name="T75" fmla="*/ 31 h 599"/>
                <a:gd name="T76" fmla="*/ 447 w 778"/>
                <a:gd name="T77" fmla="*/ 7 h 599"/>
                <a:gd name="T78" fmla="*/ 382 w 778"/>
                <a:gd name="T79" fmla="*/ 1 h 599"/>
                <a:gd name="T80" fmla="*/ 304 w 778"/>
                <a:gd name="T81" fmla="*/ 22 h 599"/>
                <a:gd name="T82" fmla="*/ 240 w 778"/>
                <a:gd name="T83" fmla="*/ 64 h 599"/>
                <a:gd name="T84" fmla="*/ 197 w 778"/>
                <a:gd name="T85" fmla="*/ 125 h 599"/>
                <a:gd name="T86" fmla="*/ 163 w 778"/>
                <a:gd name="T87" fmla="*/ 185 h 599"/>
                <a:gd name="T88" fmla="*/ 94 w 778"/>
                <a:gd name="T89" fmla="*/ 218 h 599"/>
                <a:gd name="T90" fmla="*/ 41 w 778"/>
                <a:gd name="T91" fmla="*/ 269 h 599"/>
                <a:gd name="T92" fmla="*/ 7 w 778"/>
                <a:gd name="T93" fmla="*/ 335 h 599"/>
                <a:gd name="T94" fmla="*/ 0 w 778"/>
                <a:gd name="T95" fmla="*/ 400 h 599"/>
                <a:gd name="T96" fmla="*/ 10 w 778"/>
                <a:gd name="T97" fmla="*/ 451 h 599"/>
                <a:gd name="T98" fmla="*/ 49 w 778"/>
                <a:gd name="T99" fmla="*/ 522 h 599"/>
                <a:gd name="T100" fmla="*/ 111 w 778"/>
                <a:gd name="T101" fmla="*/ 573 h 599"/>
                <a:gd name="T102" fmla="*/ 178 w 778"/>
                <a:gd name="T103" fmla="*/ 596 h 599"/>
                <a:gd name="T104" fmla="*/ 612 w 778"/>
                <a:gd name="T105" fmla="*/ 599 h 599"/>
                <a:gd name="T106" fmla="*/ 677 w 778"/>
                <a:gd name="T107" fmla="*/ 586 h 599"/>
                <a:gd name="T108" fmla="*/ 729 w 778"/>
                <a:gd name="T109" fmla="*/ 551 h 599"/>
                <a:gd name="T110" fmla="*/ 764 w 778"/>
                <a:gd name="T111" fmla="*/ 499 h 599"/>
                <a:gd name="T112" fmla="*/ 778 w 778"/>
                <a:gd name="T113" fmla="*/ 435 h 599"/>
                <a:gd name="T114" fmla="*/ 765 w 778"/>
                <a:gd name="T115" fmla="*/ 361 h 599"/>
                <a:gd name="T116" fmla="*/ 747 w 778"/>
                <a:gd name="T117" fmla="*/ 326 h 599"/>
                <a:gd name="T118" fmla="*/ 720 w 778"/>
                <a:gd name="T119" fmla="*/ 296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8" h="599">
                  <a:moveTo>
                    <a:pt x="612" y="569"/>
                  </a:moveTo>
                  <a:lnTo>
                    <a:pt x="209" y="569"/>
                  </a:lnTo>
                  <a:lnTo>
                    <a:pt x="192" y="569"/>
                  </a:lnTo>
                  <a:lnTo>
                    <a:pt x="173" y="565"/>
                  </a:lnTo>
                  <a:lnTo>
                    <a:pt x="157" y="561"/>
                  </a:lnTo>
                  <a:lnTo>
                    <a:pt x="140" y="555"/>
                  </a:lnTo>
                  <a:lnTo>
                    <a:pt x="125" y="547"/>
                  </a:lnTo>
                  <a:lnTo>
                    <a:pt x="110" y="538"/>
                  </a:lnTo>
                  <a:lnTo>
                    <a:pt x="96" y="527"/>
                  </a:lnTo>
                  <a:lnTo>
                    <a:pt x="83" y="515"/>
                  </a:lnTo>
                  <a:lnTo>
                    <a:pt x="72" y="502"/>
                  </a:lnTo>
                  <a:lnTo>
                    <a:pt x="61" y="488"/>
                  </a:lnTo>
                  <a:lnTo>
                    <a:pt x="51" y="473"/>
                  </a:lnTo>
                  <a:lnTo>
                    <a:pt x="44" y="458"/>
                  </a:lnTo>
                  <a:lnTo>
                    <a:pt x="37" y="441"/>
                  </a:lnTo>
                  <a:lnTo>
                    <a:pt x="33" y="425"/>
                  </a:lnTo>
                  <a:lnTo>
                    <a:pt x="30" y="407"/>
                  </a:lnTo>
                  <a:lnTo>
                    <a:pt x="30" y="390"/>
                  </a:lnTo>
                  <a:lnTo>
                    <a:pt x="30" y="373"/>
                  </a:lnTo>
                  <a:lnTo>
                    <a:pt x="33" y="357"/>
                  </a:lnTo>
                  <a:lnTo>
                    <a:pt x="37" y="341"/>
                  </a:lnTo>
                  <a:lnTo>
                    <a:pt x="43" y="326"/>
                  </a:lnTo>
                  <a:lnTo>
                    <a:pt x="50" y="311"/>
                  </a:lnTo>
                  <a:lnTo>
                    <a:pt x="58" y="297"/>
                  </a:lnTo>
                  <a:lnTo>
                    <a:pt x="68" y="283"/>
                  </a:lnTo>
                  <a:lnTo>
                    <a:pt x="79" y="270"/>
                  </a:lnTo>
                  <a:lnTo>
                    <a:pt x="91" y="258"/>
                  </a:lnTo>
                  <a:lnTo>
                    <a:pt x="104" y="248"/>
                  </a:lnTo>
                  <a:lnTo>
                    <a:pt x="117" y="238"/>
                  </a:lnTo>
                  <a:lnTo>
                    <a:pt x="132" y="229"/>
                  </a:lnTo>
                  <a:lnTo>
                    <a:pt x="147" y="222"/>
                  </a:lnTo>
                  <a:lnTo>
                    <a:pt x="163" y="216"/>
                  </a:lnTo>
                  <a:lnTo>
                    <a:pt x="179" y="212"/>
                  </a:lnTo>
                  <a:lnTo>
                    <a:pt x="196" y="210"/>
                  </a:lnTo>
                  <a:lnTo>
                    <a:pt x="200" y="209"/>
                  </a:lnTo>
                  <a:lnTo>
                    <a:pt x="204" y="206"/>
                  </a:lnTo>
                  <a:lnTo>
                    <a:pt x="208" y="201"/>
                  </a:lnTo>
                  <a:lnTo>
                    <a:pt x="209" y="196"/>
                  </a:lnTo>
                  <a:lnTo>
                    <a:pt x="212" y="179"/>
                  </a:lnTo>
                  <a:lnTo>
                    <a:pt x="215" y="162"/>
                  </a:lnTo>
                  <a:lnTo>
                    <a:pt x="222" y="146"/>
                  </a:lnTo>
                  <a:lnTo>
                    <a:pt x="228" y="130"/>
                  </a:lnTo>
                  <a:lnTo>
                    <a:pt x="236" y="116"/>
                  </a:lnTo>
                  <a:lnTo>
                    <a:pt x="247" y="102"/>
                  </a:lnTo>
                  <a:lnTo>
                    <a:pt x="258" y="89"/>
                  </a:lnTo>
                  <a:lnTo>
                    <a:pt x="271" y="77"/>
                  </a:lnTo>
                  <a:lnTo>
                    <a:pt x="284" y="67"/>
                  </a:lnTo>
                  <a:lnTo>
                    <a:pt x="299" y="58"/>
                  </a:lnTo>
                  <a:lnTo>
                    <a:pt x="314" y="49"/>
                  </a:lnTo>
                  <a:lnTo>
                    <a:pt x="331" y="43"/>
                  </a:lnTo>
                  <a:lnTo>
                    <a:pt x="348" y="38"/>
                  </a:lnTo>
                  <a:lnTo>
                    <a:pt x="366" y="33"/>
                  </a:lnTo>
                  <a:lnTo>
                    <a:pt x="384" y="31"/>
                  </a:lnTo>
                  <a:lnTo>
                    <a:pt x="404" y="30"/>
                  </a:lnTo>
                  <a:lnTo>
                    <a:pt x="413" y="30"/>
                  </a:lnTo>
                  <a:lnTo>
                    <a:pt x="423" y="31"/>
                  </a:lnTo>
                  <a:lnTo>
                    <a:pt x="431" y="33"/>
                  </a:lnTo>
                  <a:lnTo>
                    <a:pt x="440" y="36"/>
                  </a:lnTo>
                  <a:lnTo>
                    <a:pt x="456" y="41"/>
                  </a:lnTo>
                  <a:lnTo>
                    <a:pt x="471" y="47"/>
                  </a:lnTo>
                  <a:lnTo>
                    <a:pt x="485" y="56"/>
                  </a:lnTo>
                  <a:lnTo>
                    <a:pt x="498" y="67"/>
                  </a:lnTo>
                  <a:lnTo>
                    <a:pt x="510" y="77"/>
                  </a:lnTo>
                  <a:lnTo>
                    <a:pt x="520" y="88"/>
                  </a:lnTo>
                  <a:lnTo>
                    <a:pt x="530" y="100"/>
                  </a:lnTo>
                  <a:lnTo>
                    <a:pt x="538" y="112"/>
                  </a:lnTo>
                  <a:lnTo>
                    <a:pt x="546" y="123"/>
                  </a:lnTo>
                  <a:lnTo>
                    <a:pt x="552" y="135"/>
                  </a:lnTo>
                  <a:lnTo>
                    <a:pt x="563" y="155"/>
                  </a:lnTo>
                  <a:lnTo>
                    <a:pt x="569" y="172"/>
                  </a:lnTo>
                  <a:lnTo>
                    <a:pt x="572" y="175"/>
                  </a:lnTo>
                  <a:lnTo>
                    <a:pt x="576" y="178"/>
                  </a:lnTo>
                  <a:lnTo>
                    <a:pt x="580" y="180"/>
                  </a:lnTo>
                  <a:lnTo>
                    <a:pt x="586" y="180"/>
                  </a:lnTo>
                  <a:lnTo>
                    <a:pt x="601" y="179"/>
                  </a:lnTo>
                  <a:lnTo>
                    <a:pt x="617" y="180"/>
                  </a:lnTo>
                  <a:lnTo>
                    <a:pt x="630" y="183"/>
                  </a:lnTo>
                  <a:lnTo>
                    <a:pt x="644" y="188"/>
                  </a:lnTo>
                  <a:lnTo>
                    <a:pt x="657" y="193"/>
                  </a:lnTo>
                  <a:lnTo>
                    <a:pt x="668" y="200"/>
                  </a:lnTo>
                  <a:lnTo>
                    <a:pt x="673" y="205"/>
                  </a:lnTo>
                  <a:lnTo>
                    <a:pt x="678" y="209"/>
                  </a:lnTo>
                  <a:lnTo>
                    <a:pt x="682" y="213"/>
                  </a:lnTo>
                  <a:lnTo>
                    <a:pt x="686" y="219"/>
                  </a:lnTo>
                  <a:lnTo>
                    <a:pt x="690" y="227"/>
                  </a:lnTo>
                  <a:lnTo>
                    <a:pt x="694" y="236"/>
                  </a:lnTo>
                  <a:lnTo>
                    <a:pt x="696" y="244"/>
                  </a:lnTo>
                  <a:lnTo>
                    <a:pt x="697" y="254"/>
                  </a:lnTo>
                  <a:lnTo>
                    <a:pt x="697" y="264"/>
                  </a:lnTo>
                  <a:lnTo>
                    <a:pt x="696" y="273"/>
                  </a:lnTo>
                  <a:lnTo>
                    <a:pt x="693" y="284"/>
                  </a:lnTo>
                  <a:lnTo>
                    <a:pt x="689" y="294"/>
                  </a:lnTo>
                  <a:lnTo>
                    <a:pt x="688" y="299"/>
                  </a:lnTo>
                  <a:lnTo>
                    <a:pt x="688" y="304"/>
                  </a:lnTo>
                  <a:lnTo>
                    <a:pt x="690" y="310"/>
                  </a:lnTo>
                  <a:lnTo>
                    <a:pt x="695" y="313"/>
                  </a:lnTo>
                  <a:lnTo>
                    <a:pt x="700" y="317"/>
                  </a:lnTo>
                  <a:lnTo>
                    <a:pt x="707" y="322"/>
                  </a:lnTo>
                  <a:lnTo>
                    <a:pt x="712" y="328"/>
                  </a:lnTo>
                  <a:lnTo>
                    <a:pt x="716" y="333"/>
                  </a:lnTo>
                  <a:lnTo>
                    <a:pt x="726" y="347"/>
                  </a:lnTo>
                  <a:lnTo>
                    <a:pt x="733" y="362"/>
                  </a:lnTo>
                  <a:lnTo>
                    <a:pt x="740" y="378"/>
                  </a:lnTo>
                  <a:lnTo>
                    <a:pt x="744" y="396"/>
                  </a:lnTo>
                  <a:lnTo>
                    <a:pt x="747" y="416"/>
                  </a:lnTo>
                  <a:lnTo>
                    <a:pt x="748" y="435"/>
                  </a:lnTo>
                  <a:lnTo>
                    <a:pt x="747" y="449"/>
                  </a:lnTo>
                  <a:lnTo>
                    <a:pt x="745" y="462"/>
                  </a:lnTo>
                  <a:lnTo>
                    <a:pt x="742" y="474"/>
                  </a:lnTo>
                  <a:lnTo>
                    <a:pt x="738" y="487"/>
                  </a:lnTo>
                  <a:lnTo>
                    <a:pt x="731" y="499"/>
                  </a:lnTo>
                  <a:lnTo>
                    <a:pt x="725" y="510"/>
                  </a:lnTo>
                  <a:lnTo>
                    <a:pt x="717" y="520"/>
                  </a:lnTo>
                  <a:lnTo>
                    <a:pt x="708" y="530"/>
                  </a:lnTo>
                  <a:lnTo>
                    <a:pt x="698" y="539"/>
                  </a:lnTo>
                  <a:lnTo>
                    <a:pt x="688" y="546"/>
                  </a:lnTo>
                  <a:lnTo>
                    <a:pt x="677" y="553"/>
                  </a:lnTo>
                  <a:lnTo>
                    <a:pt x="665" y="559"/>
                  </a:lnTo>
                  <a:lnTo>
                    <a:pt x="652" y="563"/>
                  </a:lnTo>
                  <a:lnTo>
                    <a:pt x="639" y="566"/>
                  </a:lnTo>
                  <a:lnTo>
                    <a:pt x="626" y="569"/>
                  </a:lnTo>
                  <a:lnTo>
                    <a:pt x="612" y="569"/>
                  </a:lnTo>
                  <a:close/>
                  <a:moveTo>
                    <a:pt x="720" y="296"/>
                  </a:moveTo>
                  <a:lnTo>
                    <a:pt x="725" y="283"/>
                  </a:lnTo>
                  <a:lnTo>
                    <a:pt x="727" y="271"/>
                  </a:lnTo>
                  <a:lnTo>
                    <a:pt x="727" y="258"/>
                  </a:lnTo>
                  <a:lnTo>
                    <a:pt x="727" y="246"/>
                  </a:lnTo>
                  <a:lnTo>
                    <a:pt x="725" y="235"/>
                  </a:lnTo>
                  <a:lnTo>
                    <a:pt x="721" y="224"/>
                  </a:lnTo>
                  <a:lnTo>
                    <a:pt x="717" y="213"/>
                  </a:lnTo>
                  <a:lnTo>
                    <a:pt x="711" y="203"/>
                  </a:lnTo>
                  <a:lnTo>
                    <a:pt x="707" y="196"/>
                  </a:lnTo>
                  <a:lnTo>
                    <a:pt x="701" y="190"/>
                  </a:lnTo>
                  <a:lnTo>
                    <a:pt x="696" y="184"/>
                  </a:lnTo>
                  <a:lnTo>
                    <a:pt x="689" y="179"/>
                  </a:lnTo>
                  <a:lnTo>
                    <a:pt x="683" y="174"/>
                  </a:lnTo>
                  <a:lnTo>
                    <a:pt x="677" y="169"/>
                  </a:lnTo>
                  <a:lnTo>
                    <a:pt x="669" y="165"/>
                  </a:lnTo>
                  <a:lnTo>
                    <a:pt x="662" y="162"/>
                  </a:lnTo>
                  <a:lnTo>
                    <a:pt x="645" y="155"/>
                  </a:lnTo>
                  <a:lnTo>
                    <a:pt x="629" y="152"/>
                  </a:lnTo>
                  <a:lnTo>
                    <a:pt x="611" y="150"/>
                  </a:lnTo>
                  <a:lnTo>
                    <a:pt x="593" y="150"/>
                  </a:lnTo>
                  <a:lnTo>
                    <a:pt x="586" y="133"/>
                  </a:lnTo>
                  <a:lnTo>
                    <a:pt x="577" y="117"/>
                  </a:lnTo>
                  <a:lnTo>
                    <a:pt x="567" y="101"/>
                  </a:lnTo>
                  <a:lnTo>
                    <a:pt x="558" y="87"/>
                  </a:lnTo>
                  <a:lnTo>
                    <a:pt x="548" y="74"/>
                  </a:lnTo>
                  <a:lnTo>
                    <a:pt x="536" y="61"/>
                  </a:lnTo>
                  <a:lnTo>
                    <a:pt x="526" y="51"/>
                  </a:lnTo>
                  <a:lnTo>
                    <a:pt x="514" y="40"/>
                  </a:lnTo>
                  <a:lnTo>
                    <a:pt x="501" y="31"/>
                  </a:lnTo>
                  <a:lnTo>
                    <a:pt x="488" y="23"/>
                  </a:lnTo>
                  <a:lnTo>
                    <a:pt x="475" y="16"/>
                  </a:lnTo>
                  <a:lnTo>
                    <a:pt x="461" y="11"/>
                  </a:lnTo>
                  <a:lnTo>
                    <a:pt x="447" y="7"/>
                  </a:lnTo>
                  <a:lnTo>
                    <a:pt x="433" y="3"/>
                  </a:lnTo>
                  <a:lnTo>
                    <a:pt x="419" y="1"/>
                  </a:lnTo>
                  <a:lnTo>
                    <a:pt x="404" y="0"/>
                  </a:lnTo>
                  <a:lnTo>
                    <a:pt x="382" y="1"/>
                  </a:lnTo>
                  <a:lnTo>
                    <a:pt x="362" y="3"/>
                  </a:lnTo>
                  <a:lnTo>
                    <a:pt x="341" y="8"/>
                  </a:lnTo>
                  <a:lnTo>
                    <a:pt x="322" y="14"/>
                  </a:lnTo>
                  <a:lnTo>
                    <a:pt x="304" y="22"/>
                  </a:lnTo>
                  <a:lnTo>
                    <a:pt x="286" y="30"/>
                  </a:lnTo>
                  <a:lnTo>
                    <a:pt x="270" y="40"/>
                  </a:lnTo>
                  <a:lnTo>
                    <a:pt x="255" y="52"/>
                  </a:lnTo>
                  <a:lnTo>
                    <a:pt x="240" y="64"/>
                  </a:lnTo>
                  <a:lnTo>
                    <a:pt x="227" y="78"/>
                  </a:lnTo>
                  <a:lnTo>
                    <a:pt x="216" y="93"/>
                  </a:lnTo>
                  <a:lnTo>
                    <a:pt x="205" y="109"/>
                  </a:lnTo>
                  <a:lnTo>
                    <a:pt x="197" y="125"/>
                  </a:lnTo>
                  <a:lnTo>
                    <a:pt x="189" y="144"/>
                  </a:lnTo>
                  <a:lnTo>
                    <a:pt x="184" y="162"/>
                  </a:lnTo>
                  <a:lnTo>
                    <a:pt x="181" y="181"/>
                  </a:lnTo>
                  <a:lnTo>
                    <a:pt x="163" y="185"/>
                  </a:lnTo>
                  <a:lnTo>
                    <a:pt x="144" y="191"/>
                  </a:lnTo>
                  <a:lnTo>
                    <a:pt x="127" y="198"/>
                  </a:lnTo>
                  <a:lnTo>
                    <a:pt x="110" y="207"/>
                  </a:lnTo>
                  <a:lnTo>
                    <a:pt x="94" y="218"/>
                  </a:lnTo>
                  <a:lnTo>
                    <a:pt x="79" y="228"/>
                  </a:lnTo>
                  <a:lnTo>
                    <a:pt x="65" y="241"/>
                  </a:lnTo>
                  <a:lnTo>
                    <a:pt x="52" y="255"/>
                  </a:lnTo>
                  <a:lnTo>
                    <a:pt x="41" y="269"/>
                  </a:lnTo>
                  <a:lnTo>
                    <a:pt x="31" y="285"/>
                  </a:lnTo>
                  <a:lnTo>
                    <a:pt x="21" y="301"/>
                  </a:lnTo>
                  <a:lnTo>
                    <a:pt x="14" y="318"/>
                  </a:lnTo>
                  <a:lnTo>
                    <a:pt x="7" y="335"/>
                  </a:lnTo>
                  <a:lnTo>
                    <a:pt x="3" y="352"/>
                  </a:lnTo>
                  <a:lnTo>
                    <a:pt x="0" y="371"/>
                  </a:lnTo>
                  <a:lnTo>
                    <a:pt x="0" y="390"/>
                  </a:lnTo>
                  <a:lnTo>
                    <a:pt x="0" y="400"/>
                  </a:lnTo>
                  <a:lnTo>
                    <a:pt x="1" y="410"/>
                  </a:lnTo>
                  <a:lnTo>
                    <a:pt x="2" y="421"/>
                  </a:lnTo>
                  <a:lnTo>
                    <a:pt x="4" y="431"/>
                  </a:lnTo>
                  <a:lnTo>
                    <a:pt x="10" y="451"/>
                  </a:lnTo>
                  <a:lnTo>
                    <a:pt x="17" y="470"/>
                  </a:lnTo>
                  <a:lnTo>
                    <a:pt x="26" y="488"/>
                  </a:lnTo>
                  <a:lnTo>
                    <a:pt x="36" y="505"/>
                  </a:lnTo>
                  <a:lnTo>
                    <a:pt x="49" y="522"/>
                  </a:lnTo>
                  <a:lnTo>
                    <a:pt x="62" y="537"/>
                  </a:lnTo>
                  <a:lnTo>
                    <a:pt x="77" y="550"/>
                  </a:lnTo>
                  <a:lnTo>
                    <a:pt x="94" y="562"/>
                  </a:lnTo>
                  <a:lnTo>
                    <a:pt x="111" y="573"/>
                  </a:lnTo>
                  <a:lnTo>
                    <a:pt x="129" y="583"/>
                  </a:lnTo>
                  <a:lnTo>
                    <a:pt x="149" y="589"/>
                  </a:lnTo>
                  <a:lnTo>
                    <a:pt x="168" y="594"/>
                  </a:lnTo>
                  <a:lnTo>
                    <a:pt x="178" y="596"/>
                  </a:lnTo>
                  <a:lnTo>
                    <a:pt x="188" y="598"/>
                  </a:lnTo>
                  <a:lnTo>
                    <a:pt x="199" y="599"/>
                  </a:lnTo>
                  <a:lnTo>
                    <a:pt x="209" y="599"/>
                  </a:lnTo>
                  <a:lnTo>
                    <a:pt x="612" y="599"/>
                  </a:lnTo>
                  <a:lnTo>
                    <a:pt x="628" y="599"/>
                  </a:lnTo>
                  <a:lnTo>
                    <a:pt x="645" y="595"/>
                  </a:lnTo>
                  <a:lnTo>
                    <a:pt x="662" y="592"/>
                  </a:lnTo>
                  <a:lnTo>
                    <a:pt x="677" y="586"/>
                  </a:lnTo>
                  <a:lnTo>
                    <a:pt x="690" y="579"/>
                  </a:lnTo>
                  <a:lnTo>
                    <a:pt x="704" y="571"/>
                  </a:lnTo>
                  <a:lnTo>
                    <a:pt x="717" y="561"/>
                  </a:lnTo>
                  <a:lnTo>
                    <a:pt x="729" y="551"/>
                  </a:lnTo>
                  <a:lnTo>
                    <a:pt x="740" y="540"/>
                  </a:lnTo>
                  <a:lnTo>
                    <a:pt x="749" y="527"/>
                  </a:lnTo>
                  <a:lnTo>
                    <a:pt x="758" y="513"/>
                  </a:lnTo>
                  <a:lnTo>
                    <a:pt x="764" y="499"/>
                  </a:lnTo>
                  <a:lnTo>
                    <a:pt x="771" y="484"/>
                  </a:lnTo>
                  <a:lnTo>
                    <a:pt x="774" y="468"/>
                  </a:lnTo>
                  <a:lnTo>
                    <a:pt x="777" y="451"/>
                  </a:lnTo>
                  <a:lnTo>
                    <a:pt x="778" y="435"/>
                  </a:lnTo>
                  <a:lnTo>
                    <a:pt x="777" y="417"/>
                  </a:lnTo>
                  <a:lnTo>
                    <a:pt x="775" y="398"/>
                  </a:lnTo>
                  <a:lnTo>
                    <a:pt x="771" y="380"/>
                  </a:lnTo>
                  <a:lnTo>
                    <a:pt x="765" y="361"/>
                  </a:lnTo>
                  <a:lnTo>
                    <a:pt x="761" y="351"/>
                  </a:lnTo>
                  <a:lnTo>
                    <a:pt x="757" y="343"/>
                  </a:lnTo>
                  <a:lnTo>
                    <a:pt x="753" y="334"/>
                  </a:lnTo>
                  <a:lnTo>
                    <a:pt x="747" y="326"/>
                  </a:lnTo>
                  <a:lnTo>
                    <a:pt x="742" y="317"/>
                  </a:lnTo>
                  <a:lnTo>
                    <a:pt x="735" y="310"/>
                  </a:lnTo>
                  <a:lnTo>
                    <a:pt x="729" y="302"/>
                  </a:lnTo>
                  <a:lnTo>
                    <a:pt x="720"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0" name="Freeform 90">
              <a:extLst>
                <a:ext uri="{FF2B5EF4-FFF2-40B4-BE49-F238E27FC236}">
                  <a16:creationId xmlns:a16="http://schemas.microsoft.com/office/drawing/2014/main" id="{44D9DA18-C58B-4FFA-90BB-C774A7108B51}"/>
                </a:ext>
              </a:extLst>
            </p:cNvPr>
            <p:cNvSpPr>
              <a:spLocks/>
            </p:cNvSpPr>
            <p:nvPr/>
          </p:nvSpPr>
          <p:spPr bwMode="auto">
            <a:xfrm>
              <a:off x="1057275" y="1339850"/>
              <a:ext cx="133350" cy="188913"/>
            </a:xfrm>
            <a:custGeom>
              <a:avLst/>
              <a:gdLst>
                <a:gd name="T0" fmla="*/ 378 w 420"/>
                <a:gd name="T1" fmla="*/ 524 h 592"/>
                <a:gd name="T2" fmla="*/ 333 w 420"/>
                <a:gd name="T3" fmla="*/ 488 h 592"/>
                <a:gd name="T4" fmla="*/ 298 w 420"/>
                <a:gd name="T5" fmla="*/ 444 h 592"/>
                <a:gd name="T6" fmla="*/ 273 w 420"/>
                <a:gd name="T7" fmla="*/ 392 h 592"/>
                <a:gd name="T8" fmla="*/ 258 w 420"/>
                <a:gd name="T9" fmla="*/ 337 h 592"/>
                <a:gd name="T10" fmla="*/ 256 w 420"/>
                <a:gd name="T11" fmla="*/ 279 h 592"/>
                <a:gd name="T12" fmla="*/ 267 w 420"/>
                <a:gd name="T13" fmla="*/ 223 h 592"/>
                <a:gd name="T14" fmla="*/ 288 w 420"/>
                <a:gd name="T15" fmla="*/ 171 h 592"/>
                <a:gd name="T16" fmla="*/ 321 w 420"/>
                <a:gd name="T17" fmla="*/ 124 h 592"/>
                <a:gd name="T18" fmla="*/ 362 w 420"/>
                <a:gd name="T19" fmla="*/ 85 h 592"/>
                <a:gd name="T20" fmla="*/ 412 w 420"/>
                <a:gd name="T21" fmla="*/ 54 h 592"/>
                <a:gd name="T22" fmla="*/ 420 w 420"/>
                <a:gd name="T23" fmla="*/ 46 h 592"/>
                <a:gd name="T24" fmla="*/ 418 w 420"/>
                <a:gd name="T25" fmla="*/ 33 h 592"/>
                <a:gd name="T26" fmla="*/ 397 w 420"/>
                <a:gd name="T27" fmla="*/ 21 h 592"/>
                <a:gd name="T28" fmla="*/ 350 w 420"/>
                <a:gd name="T29" fmla="*/ 7 h 592"/>
                <a:gd name="T30" fmla="*/ 302 w 420"/>
                <a:gd name="T31" fmla="*/ 0 h 592"/>
                <a:gd name="T32" fmla="*/ 238 w 420"/>
                <a:gd name="T33" fmla="*/ 3 h 592"/>
                <a:gd name="T34" fmla="*/ 171 w 420"/>
                <a:gd name="T35" fmla="*/ 22 h 592"/>
                <a:gd name="T36" fmla="*/ 111 w 420"/>
                <a:gd name="T37" fmla="*/ 55 h 592"/>
                <a:gd name="T38" fmla="*/ 59 w 420"/>
                <a:gd name="T39" fmla="*/ 102 h 592"/>
                <a:gd name="T40" fmla="*/ 21 w 420"/>
                <a:gd name="T41" fmla="*/ 160 h 592"/>
                <a:gd name="T42" fmla="*/ 1 w 420"/>
                <a:gd name="T43" fmla="*/ 207 h 592"/>
                <a:gd name="T44" fmla="*/ 3 w 420"/>
                <a:gd name="T45" fmla="*/ 216 h 592"/>
                <a:gd name="T46" fmla="*/ 8 w 420"/>
                <a:gd name="T47" fmla="*/ 222 h 592"/>
                <a:gd name="T48" fmla="*/ 18 w 420"/>
                <a:gd name="T49" fmla="*/ 224 h 592"/>
                <a:gd name="T50" fmla="*/ 25 w 420"/>
                <a:gd name="T51" fmla="*/ 221 h 592"/>
                <a:gd name="T52" fmla="*/ 30 w 420"/>
                <a:gd name="T53" fmla="*/ 215 h 592"/>
                <a:gd name="T54" fmla="*/ 57 w 420"/>
                <a:gd name="T55" fmla="*/ 156 h 592"/>
                <a:gd name="T56" fmla="*/ 97 w 420"/>
                <a:gd name="T57" fmla="*/ 108 h 592"/>
                <a:gd name="T58" fmla="*/ 145 w 420"/>
                <a:gd name="T59" fmla="*/ 69 h 592"/>
                <a:gd name="T60" fmla="*/ 202 w 420"/>
                <a:gd name="T61" fmla="*/ 42 h 592"/>
                <a:gd name="T62" fmla="*/ 264 w 420"/>
                <a:gd name="T63" fmla="*/ 30 h 592"/>
                <a:gd name="T64" fmla="*/ 329 w 420"/>
                <a:gd name="T65" fmla="*/ 33 h 592"/>
                <a:gd name="T66" fmla="*/ 354 w 420"/>
                <a:gd name="T67" fmla="*/ 54 h 592"/>
                <a:gd name="T68" fmla="*/ 311 w 420"/>
                <a:gd name="T69" fmla="*/ 92 h 592"/>
                <a:gd name="T70" fmla="*/ 274 w 420"/>
                <a:gd name="T71" fmla="*/ 136 h 592"/>
                <a:gd name="T72" fmla="*/ 249 w 420"/>
                <a:gd name="T73" fmla="*/ 186 h 592"/>
                <a:gd name="T74" fmla="*/ 232 w 420"/>
                <a:gd name="T75" fmla="*/ 240 h 592"/>
                <a:gd name="T76" fmla="*/ 226 w 420"/>
                <a:gd name="T77" fmla="*/ 298 h 592"/>
                <a:gd name="T78" fmla="*/ 232 w 420"/>
                <a:gd name="T79" fmla="*/ 356 h 592"/>
                <a:gd name="T80" fmla="*/ 249 w 420"/>
                <a:gd name="T81" fmla="*/ 412 h 592"/>
                <a:gd name="T82" fmla="*/ 274 w 420"/>
                <a:gd name="T83" fmla="*/ 462 h 592"/>
                <a:gd name="T84" fmla="*/ 310 w 420"/>
                <a:gd name="T85" fmla="*/ 506 h 592"/>
                <a:gd name="T86" fmla="*/ 354 w 420"/>
                <a:gd name="T87" fmla="*/ 543 h 592"/>
                <a:gd name="T88" fmla="*/ 343 w 420"/>
                <a:gd name="T89" fmla="*/ 562 h 592"/>
                <a:gd name="T90" fmla="*/ 335 w 420"/>
                <a:gd name="T91" fmla="*/ 566 h 592"/>
                <a:gd name="T92" fmla="*/ 332 w 420"/>
                <a:gd name="T93" fmla="*/ 574 h 592"/>
                <a:gd name="T94" fmla="*/ 334 w 420"/>
                <a:gd name="T95" fmla="*/ 585 h 592"/>
                <a:gd name="T96" fmla="*/ 346 w 420"/>
                <a:gd name="T97" fmla="*/ 592 h 592"/>
                <a:gd name="T98" fmla="*/ 365 w 420"/>
                <a:gd name="T99" fmla="*/ 588 h 592"/>
                <a:gd name="T100" fmla="*/ 412 w 420"/>
                <a:gd name="T101" fmla="*/ 571 h 592"/>
                <a:gd name="T102" fmla="*/ 420 w 420"/>
                <a:gd name="T103" fmla="*/ 560 h 592"/>
                <a:gd name="T104" fmla="*/ 418 w 420"/>
                <a:gd name="T105" fmla="*/ 549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0" h="592">
                  <a:moveTo>
                    <a:pt x="412" y="542"/>
                  </a:moveTo>
                  <a:lnTo>
                    <a:pt x="394" y="534"/>
                  </a:lnTo>
                  <a:lnTo>
                    <a:pt x="378" y="524"/>
                  </a:lnTo>
                  <a:lnTo>
                    <a:pt x="362" y="512"/>
                  </a:lnTo>
                  <a:lnTo>
                    <a:pt x="347" y="501"/>
                  </a:lnTo>
                  <a:lnTo>
                    <a:pt x="333" y="488"/>
                  </a:lnTo>
                  <a:lnTo>
                    <a:pt x="321" y="474"/>
                  </a:lnTo>
                  <a:lnTo>
                    <a:pt x="309" y="459"/>
                  </a:lnTo>
                  <a:lnTo>
                    <a:pt x="298" y="444"/>
                  </a:lnTo>
                  <a:lnTo>
                    <a:pt x="288" y="427"/>
                  </a:lnTo>
                  <a:lnTo>
                    <a:pt x="280" y="411"/>
                  </a:lnTo>
                  <a:lnTo>
                    <a:pt x="273" y="392"/>
                  </a:lnTo>
                  <a:lnTo>
                    <a:pt x="267" y="374"/>
                  </a:lnTo>
                  <a:lnTo>
                    <a:pt x="263" y="356"/>
                  </a:lnTo>
                  <a:lnTo>
                    <a:pt x="258" y="337"/>
                  </a:lnTo>
                  <a:lnTo>
                    <a:pt x="256" y="318"/>
                  </a:lnTo>
                  <a:lnTo>
                    <a:pt x="256" y="298"/>
                  </a:lnTo>
                  <a:lnTo>
                    <a:pt x="256" y="279"/>
                  </a:lnTo>
                  <a:lnTo>
                    <a:pt x="258" y="260"/>
                  </a:lnTo>
                  <a:lnTo>
                    <a:pt x="263" y="242"/>
                  </a:lnTo>
                  <a:lnTo>
                    <a:pt x="267" y="223"/>
                  </a:lnTo>
                  <a:lnTo>
                    <a:pt x="273" y="205"/>
                  </a:lnTo>
                  <a:lnTo>
                    <a:pt x="280" y="188"/>
                  </a:lnTo>
                  <a:lnTo>
                    <a:pt x="288" y="171"/>
                  </a:lnTo>
                  <a:lnTo>
                    <a:pt x="298" y="155"/>
                  </a:lnTo>
                  <a:lnTo>
                    <a:pt x="309" y="139"/>
                  </a:lnTo>
                  <a:lnTo>
                    <a:pt x="321" y="124"/>
                  </a:lnTo>
                  <a:lnTo>
                    <a:pt x="333" y="110"/>
                  </a:lnTo>
                  <a:lnTo>
                    <a:pt x="347" y="97"/>
                  </a:lnTo>
                  <a:lnTo>
                    <a:pt x="362" y="85"/>
                  </a:lnTo>
                  <a:lnTo>
                    <a:pt x="378" y="73"/>
                  </a:lnTo>
                  <a:lnTo>
                    <a:pt x="394" y="64"/>
                  </a:lnTo>
                  <a:lnTo>
                    <a:pt x="412" y="54"/>
                  </a:lnTo>
                  <a:lnTo>
                    <a:pt x="416" y="53"/>
                  </a:lnTo>
                  <a:lnTo>
                    <a:pt x="418" y="50"/>
                  </a:lnTo>
                  <a:lnTo>
                    <a:pt x="420" y="46"/>
                  </a:lnTo>
                  <a:lnTo>
                    <a:pt x="420" y="41"/>
                  </a:lnTo>
                  <a:lnTo>
                    <a:pt x="420" y="37"/>
                  </a:lnTo>
                  <a:lnTo>
                    <a:pt x="418" y="33"/>
                  </a:lnTo>
                  <a:lnTo>
                    <a:pt x="416" y="31"/>
                  </a:lnTo>
                  <a:lnTo>
                    <a:pt x="412" y="27"/>
                  </a:lnTo>
                  <a:lnTo>
                    <a:pt x="397" y="21"/>
                  </a:lnTo>
                  <a:lnTo>
                    <a:pt x="382" y="16"/>
                  </a:lnTo>
                  <a:lnTo>
                    <a:pt x="365" y="10"/>
                  </a:lnTo>
                  <a:lnTo>
                    <a:pt x="350" y="7"/>
                  </a:lnTo>
                  <a:lnTo>
                    <a:pt x="334" y="4"/>
                  </a:lnTo>
                  <a:lnTo>
                    <a:pt x="318" y="1"/>
                  </a:lnTo>
                  <a:lnTo>
                    <a:pt x="302" y="0"/>
                  </a:lnTo>
                  <a:lnTo>
                    <a:pt x="286" y="0"/>
                  </a:lnTo>
                  <a:lnTo>
                    <a:pt x="262" y="0"/>
                  </a:lnTo>
                  <a:lnTo>
                    <a:pt x="238" y="3"/>
                  </a:lnTo>
                  <a:lnTo>
                    <a:pt x="216" y="7"/>
                  </a:lnTo>
                  <a:lnTo>
                    <a:pt x="193" y="14"/>
                  </a:lnTo>
                  <a:lnTo>
                    <a:pt x="171" y="22"/>
                  </a:lnTo>
                  <a:lnTo>
                    <a:pt x="150" y="32"/>
                  </a:lnTo>
                  <a:lnTo>
                    <a:pt x="130" y="42"/>
                  </a:lnTo>
                  <a:lnTo>
                    <a:pt x="111" y="55"/>
                  </a:lnTo>
                  <a:lnTo>
                    <a:pt x="92" y="70"/>
                  </a:lnTo>
                  <a:lnTo>
                    <a:pt x="75" y="85"/>
                  </a:lnTo>
                  <a:lnTo>
                    <a:pt x="59" y="102"/>
                  </a:lnTo>
                  <a:lnTo>
                    <a:pt x="45" y="121"/>
                  </a:lnTo>
                  <a:lnTo>
                    <a:pt x="31" y="140"/>
                  </a:lnTo>
                  <a:lnTo>
                    <a:pt x="21" y="160"/>
                  </a:lnTo>
                  <a:lnTo>
                    <a:pt x="10" y="182"/>
                  </a:lnTo>
                  <a:lnTo>
                    <a:pt x="1" y="204"/>
                  </a:lnTo>
                  <a:lnTo>
                    <a:pt x="1" y="207"/>
                  </a:lnTo>
                  <a:lnTo>
                    <a:pt x="0" y="210"/>
                  </a:lnTo>
                  <a:lnTo>
                    <a:pt x="1" y="214"/>
                  </a:lnTo>
                  <a:lnTo>
                    <a:pt x="3" y="216"/>
                  </a:lnTo>
                  <a:lnTo>
                    <a:pt x="4" y="219"/>
                  </a:lnTo>
                  <a:lnTo>
                    <a:pt x="6" y="220"/>
                  </a:lnTo>
                  <a:lnTo>
                    <a:pt x="8" y="222"/>
                  </a:lnTo>
                  <a:lnTo>
                    <a:pt x="11" y="223"/>
                  </a:lnTo>
                  <a:lnTo>
                    <a:pt x="14" y="224"/>
                  </a:lnTo>
                  <a:lnTo>
                    <a:pt x="18" y="224"/>
                  </a:lnTo>
                  <a:lnTo>
                    <a:pt x="20" y="224"/>
                  </a:lnTo>
                  <a:lnTo>
                    <a:pt x="23" y="223"/>
                  </a:lnTo>
                  <a:lnTo>
                    <a:pt x="25" y="221"/>
                  </a:lnTo>
                  <a:lnTo>
                    <a:pt x="27" y="220"/>
                  </a:lnTo>
                  <a:lnTo>
                    <a:pt x="29" y="217"/>
                  </a:lnTo>
                  <a:lnTo>
                    <a:pt x="30" y="215"/>
                  </a:lnTo>
                  <a:lnTo>
                    <a:pt x="38" y="194"/>
                  </a:lnTo>
                  <a:lnTo>
                    <a:pt x="46" y="175"/>
                  </a:lnTo>
                  <a:lnTo>
                    <a:pt x="57" y="156"/>
                  </a:lnTo>
                  <a:lnTo>
                    <a:pt x="69" y="139"/>
                  </a:lnTo>
                  <a:lnTo>
                    <a:pt x="82" y="123"/>
                  </a:lnTo>
                  <a:lnTo>
                    <a:pt x="97" y="108"/>
                  </a:lnTo>
                  <a:lnTo>
                    <a:pt x="112" y="93"/>
                  </a:lnTo>
                  <a:lnTo>
                    <a:pt x="128" y="80"/>
                  </a:lnTo>
                  <a:lnTo>
                    <a:pt x="145" y="69"/>
                  </a:lnTo>
                  <a:lnTo>
                    <a:pt x="163" y="58"/>
                  </a:lnTo>
                  <a:lnTo>
                    <a:pt x="182" y="50"/>
                  </a:lnTo>
                  <a:lnTo>
                    <a:pt x="202" y="42"/>
                  </a:lnTo>
                  <a:lnTo>
                    <a:pt x="222" y="37"/>
                  </a:lnTo>
                  <a:lnTo>
                    <a:pt x="243" y="33"/>
                  </a:lnTo>
                  <a:lnTo>
                    <a:pt x="264" y="30"/>
                  </a:lnTo>
                  <a:lnTo>
                    <a:pt x="286" y="30"/>
                  </a:lnTo>
                  <a:lnTo>
                    <a:pt x="308" y="30"/>
                  </a:lnTo>
                  <a:lnTo>
                    <a:pt x="329" y="33"/>
                  </a:lnTo>
                  <a:lnTo>
                    <a:pt x="349" y="37"/>
                  </a:lnTo>
                  <a:lnTo>
                    <a:pt x="370" y="45"/>
                  </a:lnTo>
                  <a:lnTo>
                    <a:pt x="354" y="54"/>
                  </a:lnTo>
                  <a:lnTo>
                    <a:pt x="339" y="66"/>
                  </a:lnTo>
                  <a:lnTo>
                    <a:pt x="324" y="79"/>
                  </a:lnTo>
                  <a:lnTo>
                    <a:pt x="311" y="92"/>
                  </a:lnTo>
                  <a:lnTo>
                    <a:pt x="298" y="106"/>
                  </a:lnTo>
                  <a:lnTo>
                    <a:pt x="285" y="121"/>
                  </a:lnTo>
                  <a:lnTo>
                    <a:pt x="274" y="136"/>
                  </a:lnTo>
                  <a:lnTo>
                    <a:pt x="265" y="153"/>
                  </a:lnTo>
                  <a:lnTo>
                    <a:pt x="256" y="169"/>
                  </a:lnTo>
                  <a:lnTo>
                    <a:pt x="249" y="186"/>
                  </a:lnTo>
                  <a:lnTo>
                    <a:pt x="241" y="204"/>
                  </a:lnTo>
                  <a:lnTo>
                    <a:pt x="236" y="222"/>
                  </a:lnTo>
                  <a:lnTo>
                    <a:pt x="232" y="240"/>
                  </a:lnTo>
                  <a:lnTo>
                    <a:pt x="228" y="260"/>
                  </a:lnTo>
                  <a:lnTo>
                    <a:pt x="226" y="279"/>
                  </a:lnTo>
                  <a:lnTo>
                    <a:pt x="226" y="298"/>
                  </a:lnTo>
                  <a:lnTo>
                    <a:pt x="226" y="318"/>
                  </a:lnTo>
                  <a:lnTo>
                    <a:pt x="228" y="338"/>
                  </a:lnTo>
                  <a:lnTo>
                    <a:pt x="232" y="356"/>
                  </a:lnTo>
                  <a:lnTo>
                    <a:pt x="236" y="375"/>
                  </a:lnTo>
                  <a:lnTo>
                    <a:pt x="241" y="394"/>
                  </a:lnTo>
                  <a:lnTo>
                    <a:pt x="249" y="412"/>
                  </a:lnTo>
                  <a:lnTo>
                    <a:pt x="256" y="429"/>
                  </a:lnTo>
                  <a:lnTo>
                    <a:pt x="265" y="446"/>
                  </a:lnTo>
                  <a:lnTo>
                    <a:pt x="274" y="462"/>
                  </a:lnTo>
                  <a:lnTo>
                    <a:pt x="285" y="477"/>
                  </a:lnTo>
                  <a:lnTo>
                    <a:pt x="298" y="492"/>
                  </a:lnTo>
                  <a:lnTo>
                    <a:pt x="310" y="506"/>
                  </a:lnTo>
                  <a:lnTo>
                    <a:pt x="324" y="520"/>
                  </a:lnTo>
                  <a:lnTo>
                    <a:pt x="339" y="533"/>
                  </a:lnTo>
                  <a:lnTo>
                    <a:pt x="354" y="543"/>
                  </a:lnTo>
                  <a:lnTo>
                    <a:pt x="370" y="554"/>
                  </a:lnTo>
                  <a:lnTo>
                    <a:pt x="357" y="558"/>
                  </a:lnTo>
                  <a:lnTo>
                    <a:pt x="343" y="562"/>
                  </a:lnTo>
                  <a:lnTo>
                    <a:pt x="341" y="563"/>
                  </a:lnTo>
                  <a:lnTo>
                    <a:pt x="338" y="564"/>
                  </a:lnTo>
                  <a:lnTo>
                    <a:pt x="335" y="566"/>
                  </a:lnTo>
                  <a:lnTo>
                    <a:pt x="334" y="569"/>
                  </a:lnTo>
                  <a:lnTo>
                    <a:pt x="332" y="571"/>
                  </a:lnTo>
                  <a:lnTo>
                    <a:pt x="332" y="574"/>
                  </a:lnTo>
                  <a:lnTo>
                    <a:pt x="331" y="577"/>
                  </a:lnTo>
                  <a:lnTo>
                    <a:pt x="332" y="580"/>
                  </a:lnTo>
                  <a:lnTo>
                    <a:pt x="334" y="585"/>
                  </a:lnTo>
                  <a:lnTo>
                    <a:pt x="338" y="588"/>
                  </a:lnTo>
                  <a:lnTo>
                    <a:pt x="342" y="590"/>
                  </a:lnTo>
                  <a:lnTo>
                    <a:pt x="346" y="592"/>
                  </a:lnTo>
                  <a:lnTo>
                    <a:pt x="348" y="592"/>
                  </a:lnTo>
                  <a:lnTo>
                    <a:pt x="349" y="592"/>
                  </a:lnTo>
                  <a:lnTo>
                    <a:pt x="365" y="588"/>
                  </a:lnTo>
                  <a:lnTo>
                    <a:pt x="382" y="583"/>
                  </a:lnTo>
                  <a:lnTo>
                    <a:pt x="397" y="578"/>
                  </a:lnTo>
                  <a:lnTo>
                    <a:pt x="412" y="571"/>
                  </a:lnTo>
                  <a:lnTo>
                    <a:pt x="416" y="568"/>
                  </a:lnTo>
                  <a:lnTo>
                    <a:pt x="418" y="565"/>
                  </a:lnTo>
                  <a:lnTo>
                    <a:pt x="420" y="560"/>
                  </a:lnTo>
                  <a:lnTo>
                    <a:pt x="420" y="557"/>
                  </a:lnTo>
                  <a:lnTo>
                    <a:pt x="420" y="553"/>
                  </a:lnTo>
                  <a:lnTo>
                    <a:pt x="418" y="549"/>
                  </a:lnTo>
                  <a:lnTo>
                    <a:pt x="416" y="546"/>
                  </a:lnTo>
                  <a:lnTo>
                    <a:pt x="412"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sp>
        <p:nvSpPr>
          <p:cNvPr id="961" name="Freeform 26">
            <a:extLst>
              <a:ext uri="{FF2B5EF4-FFF2-40B4-BE49-F238E27FC236}">
                <a16:creationId xmlns:a16="http://schemas.microsoft.com/office/drawing/2014/main" id="{432F65F0-3734-4CC5-A7B6-8A047EA9A787}"/>
              </a:ext>
            </a:extLst>
          </p:cNvPr>
          <p:cNvSpPr>
            <a:spLocks noChangeAspect="1" noEditPoints="1"/>
          </p:cNvSpPr>
          <p:nvPr/>
        </p:nvSpPr>
        <p:spPr bwMode="auto">
          <a:xfrm>
            <a:off x="7818618" y="5944848"/>
            <a:ext cx="401925" cy="308144"/>
          </a:xfrm>
          <a:custGeom>
            <a:avLst/>
            <a:gdLst>
              <a:gd name="T0" fmla="*/ 167 w 898"/>
              <a:gd name="T1" fmla="*/ 650 h 689"/>
              <a:gd name="T2" fmla="*/ 87 w 898"/>
              <a:gd name="T3" fmla="*/ 602 h 689"/>
              <a:gd name="T4" fmla="*/ 38 w 898"/>
              <a:gd name="T5" fmla="*/ 522 h 689"/>
              <a:gd name="T6" fmla="*/ 34 w 898"/>
              <a:gd name="T7" fmla="*/ 425 h 689"/>
              <a:gd name="T8" fmla="*/ 75 w 898"/>
              <a:gd name="T9" fmla="*/ 341 h 689"/>
              <a:gd name="T10" fmla="*/ 149 w 898"/>
              <a:gd name="T11" fmla="*/ 285 h 689"/>
              <a:gd name="T12" fmla="*/ 228 w 898"/>
              <a:gd name="T13" fmla="*/ 269 h 689"/>
              <a:gd name="T14" fmla="*/ 239 w 898"/>
              <a:gd name="T15" fmla="*/ 260 h 689"/>
              <a:gd name="T16" fmla="*/ 242 w 898"/>
              <a:gd name="T17" fmla="*/ 221 h 689"/>
              <a:gd name="T18" fmla="*/ 276 w 898"/>
              <a:gd name="T19" fmla="*/ 130 h 689"/>
              <a:gd name="T20" fmla="*/ 350 w 898"/>
              <a:gd name="T21" fmla="*/ 57 h 689"/>
              <a:gd name="T22" fmla="*/ 408 w 898"/>
              <a:gd name="T23" fmla="*/ 35 h 689"/>
              <a:gd name="T24" fmla="*/ 466 w 898"/>
              <a:gd name="T25" fmla="*/ 30 h 689"/>
              <a:gd name="T26" fmla="*/ 542 w 898"/>
              <a:gd name="T27" fmla="*/ 52 h 689"/>
              <a:gd name="T28" fmla="*/ 604 w 898"/>
              <a:gd name="T29" fmla="*/ 100 h 689"/>
              <a:gd name="T30" fmla="*/ 644 w 898"/>
              <a:gd name="T31" fmla="*/ 170 h 689"/>
              <a:gd name="T32" fmla="*/ 668 w 898"/>
              <a:gd name="T33" fmla="*/ 179 h 689"/>
              <a:gd name="T34" fmla="*/ 724 w 898"/>
              <a:gd name="T35" fmla="*/ 190 h 689"/>
              <a:gd name="T36" fmla="*/ 765 w 898"/>
              <a:gd name="T37" fmla="*/ 223 h 689"/>
              <a:gd name="T38" fmla="*/ 785 w 898"/>
              <a:gd name="T39" fmla="*/ 256 h 689"/>
              <a:gd name="T40" fmla="*/ 785 w 898"/>
              <a:gd name="T41" fmla="*/ 336 h 689"/>
              <a:gd name="T42" fmla="*/ 786 w 898"/>
              <a:gd name="T43" fmla="*/ 373 h 689"/>
              <a:gd name="T44" fmla="*/ 823 w 898"/>
              <a:gd name="T45" fmla="*/ 403 h 689"/>
              <a:gd name="T46" fmla="*/ 853 w 898"/>
              <a:gd name="T47" fmla="*/ 446 h 689"/>
              <a:gd name="T48" fmla="*/ 867 w 898"/>
              <a:gd name="T49" fmla="*/ 498 h 689"/>
              <a:gd name="T50" fmla="*/ 856 w 898"/>
              <a:gd name="T51" fmla="*/ 568 h 689"/>
              <a:gd name="T52" fmla="*/ 815 w 898"/>
              <a:gd name="T53" fmla="*/ 625 h 689"/>
              <a:gd name="T54" fmla="*/ 749 w 898"/>
              <a:gd name="T55" fmla="*/ 655 h 689"/>
              <a:gd name="T56" fmla="*/ 820 w 898"/>
              <a:gd name="T57" fmla="*/ 314 h 689"/>
              <a:gd name="T58" fmla="*/ 815 w 898"/>
              <a:gd name="T59" fmla="*/ 251 h 689"/>
              <a:gd name="T60" fmla="*/ 795 w 898"/>
              <a:gd name="T61" fmla="*/ 211 h 689"/>
              <a:gd name="T62" fmla="*/ 763 w 898"/>
              <a:gd name="T63" fmla="*/ 179 h 689"/>
              <a:gd name="T64" fmla="*/ 724 w 898"/>
              <a:gd name="T65" fmla="*/ 158 h 689"/>
              <a:gd name="T66" fmla="*/ 679 w 898"/>
              <a:gd name="T67" fmla="*/ 149 h 689"/>
              <a:gd name="T68" fmla="*/ 633 w 898"/>
              <a:gd name="T69" fmla="*/ 88 h 689"/>
              <a:gd name="T70" fmla="*/ 567 w 898"/>
              <a:gd name="T71" fmla="*/ 31 h 689"/>
              <a:gd name="T72" fmla="*/ 485 w 898"/>
              <a:gd name="T73" fmla="*/ 2 h 689"/>
              <a:gd name="T74" fmla="*/ 414 w 898"/>
              <a:gd name="T75" fmla="*/ 2 h 689"/>
              <a:gd name="T76" fmla="*/ 360 w 898"/>
              <a:gd name="T77" fmla="*/ 20 h 689"/>
              <a:gd name="T78" fmla="*/ 302 w 898"/>
              <a:gd name="T79" fmla="*/ 55 h 689"/>
              <a:gd name="T80" fmla="*/ 232 w 898"/>
              <a:gd name="T81" fmla="*/ 148 h 689"/>
              <a:gd name="T82" fmla="*/ 214 w 898"/>
              <a:gd name="T83" fmla="*/ 205 h 689"/>
              <a:gd name="T84" fmla="*/ 167 w 898"/>
              <a:gd name="T85" fmla="*/ 248 h 689"/>
              <a:gd name="T86" fmla="*/ 76 w 898"/>
              <a:gd name="T87" fmla="*/ 297 h 689"/>
              <a:gd name="T88" fmla="*/ 16 w 898"/>
              <a:gd name="T89" fmla="*/ 380 h 689"/>
              <a:gd name="T90" fmla="*/ 0 w 898"/>
              <a:gd name="T91" fmla="*/ 476 h 689"/>
              <a:gd name="T92" fmla="*/ 9 w 898"/>
              <a:gd name="T93" fmla="*/ 530 h 689"/>
              <a:gd name="T94" fmla="*/ 51 w 898"/>
              <a:gd name="T95" fmla="*/ 607 h 689"/>
              <a:gd name="T96" fmla="*/ 137 w 898"/>
              <a:gd name="T97" fmla="*/ 670 h 689"/>
              <a:gd name="T98" fmla="*/ 190 w 898"/>
              <a:gd name="T99" fmla="*/ 685 h 689"/>
              <a:gd name="T100" fmla="*/ 737 w 898"/>
              <a:gd name="T101" fmla="*/ 687 h 689"/>
              <a:gd name="T102" fmla="*/ 820 w 898"/>
              <a:gd name="T103" fmla="*/ 659 h 689"/>
              <a:gd name="T104" fmla="*/ 877 w 898"/>
              <a:gd name="T105" fmla="*/ 597 h 689"/>
              <a:gd name="T106" fmla="*/ 898 w 898"/>
              <a:gd name="T107" fmla="*/ 509 h 689"/>
              <a:gd name="T108" fmla="*/ 888 w 898"/>
              <a:gd name="T109" fmla="*/ 454 h 689"/>
              <a:gd name="T110" fmla="*/ 862 w 898"/>
              <a:gd name="T111" fmla="*/ 403 h 689"/>
              <a:gd name="T112" fmla="*/ 821 w 898"/>
              <a:gd name="T113" fmla="*/ 36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8" h="689">
                <a:moveTo>
                  <a:pt x="718" y="659"/>
                </a:moveTo>
                <a:lnTo>
                  <a:pt x="225" y="659"/>
                </a:lnTo>
                <a:lnTo>
                  <a:pt x="204" y="658"/>
                </a:lnTo>
                <a:lnTo>
                  <a:pt x="185" y="654"/>
                </a:lnTo>
                <a:lnTo>
                  <a:pt x="167" y="650"/>
                </a:lnTo>
                <a:lnTo>
                  <a:pt x="149" y="644"/>
                </a:lnTo>
                <a:lnTo>
                  <a:pt x="132" y="635"/>
                </a:lnTo>
                <a:lnTo>
                  <a:pt x="115" y="625"/>
                </a:lnTo>
                <a:lnTo>
                  <a:pt x="100" y="614"/>
                </a:lnTo>
                <a:lnTo>
                  <a:pt x="87" y="602"/>
                </a:lnTo>
                <a:lnTo>
                  <a:pt x="75" y="588"/>
                </a:lnTo>
                <a:lnTo>
                  <a:pt x="63" y="573"/>
                </a:lnTo>
                <a:lnTo>
                  <a:pt x="53" y="557"/>
                </a:lnTo>
                <a:lnTo>
                  <a:pt x="45" y="540"/>
                </a:lnTo>
                <a:lnTo>
                  <a:pt x="38" y="522"/>
                </a:lnTo>
                <a:lnTo>
                  <a:pt x="34" y="503"/>
                </a:lnTo>
                <a:lnTo>
                  <a:pt x="31" y="484"/>
                </a:lnTo>
                <a:lnTo>
                  <a:pt x="30" y="464"/>
                </a:lnTo>
                <a:lnTo>
                  <a:pt x="31" y="445"/>
                </a:lnTo>
                <a:lnTo>
                  <a:pt x="34" y="425"/>
                </a:lnTo>
                <a:lnTo>
                  <a:pt x="38" y="406"/>
                </a:lnTo>
                <a:lnTo>
                  <a:pt x="45" y="389"/>
                </a:lnTo>
                <a:lnTo>
                  <a:pt x="53" y="372"/>
                </a:lnTo>
                <a:lnTo>
                  <a:pt x="63" y="356"/>
                </a:lnTo>
                <a:lnTo>
                  <a:pt x="75" y="341"/>
                </a:lnTo>
                <a:lnTo>
                  <a:pt x="87" y="327"/>
                </a:lnTo>
                <a:lnTo>
                  <a:pt x="100" y="314"/>
                </a:lnTo>
                <a:lnTo>
                  <a:pt x="115" y="303"/>
                </a:lnTo>
                <a:lnTo>
                  <a:pt x="132" y="293"/>
                </a:lnTo>
                <a:lnTo>
                  <a:pt x="149" y="285"/>
                </a:lnTo>
                <a:lnTo>
                  <a:pt x="167" y="279"/>
                </a:lnTo>
                <a:lnTo>
                  <a:pt x="185" y="273"/>
                </a:lnTo>
                <a:lnTo>
                  <a:pt x="204" y="270"/>
                </a:lnTo>
                <a:lnTo>
                  <a:pt x="225" y="269"/>
                </a:lnTo>
                <a:lnTo>
                  <a:pt x="228" y="269"/>
                </a:lnTo>
                <a:lnTo>
                  <a:pt x="230" y="268"/>
                </a:lnTo>
                <a:lnTo>
                  <a:pt x="233" y="267"/>
                </a:lnTo>
                <a:lnTo>
                  <a:pt x="235" y="265"/>
                </a:lnTo>
                <a:lnTo>
                  <a:pt x="236" y="263"/>
                </a:lnTo>
                <a:lnTo>
                  <a:pt x="239" y="260"/>
                </a:lnTo>
                <a:lnTo>
                  <a:pt x="239" y="257"/>
                </a:lnTo>
                <a:lnTo>
                  <a:pt x="240" y="254"/>
                </a:lnTo>
                <a:lnTo>
                  <a:pt x="240" y="243"/>
                </a:lnTo>
                <a:lnTo>
                  <a:pt x="241" y="232"/>
                </a:lnTo>
                <a:lnTo>
                  <a:pt x="242" y="221"/>
                </a:lnTo>
                <a:lnTo>
                  <a:pt x="244" y="210"/>
                </a:lnTo>
                <a:lnTo>
                  <a:pt x="249" y="189"/>
                </a:lnTo>
                <a:lnTo>
                  <a:pt x="256" y="168"/>
                </a:lnTo>
                <a:lnTo>
                  <a:pt x="265" y="148"/>
                </a:lnTo>
                <a:lnTo>
                  <a:pt x="276" y="130"/>
                </a:lnTo>
                <a:lnTo>
                  <a:pt x="288" y="113"/>
                </a:lnTo>
                <a:lnTo>
                  <a:pt x="302" y="97"/>
                </a:lnTo>
                <a:lnTo>
                  <a:pt x="317" y="82"/>
                </a:lnTo>
                <a:lnTo>
                  <a:pt x="333" y="69"/>
                </a:lnTo>
                <a:lnTo>
                  <a:pt x="350" y="57"/>
                </a:lnTo>
                <a:lnTo>
                  <a:pt x="368" y="47"/>
                </a:lnTo>
                <a:lnTo>
                  <a:pt x="378" y="44"/>
                </a:lnTo>
                <a:lnTo>
                  <a:pt x="387" y="40"/>
                </a:lnTo>
                <a:lnTo>
                  <a:pt x="397" y="37"/>
                </a:lnTo>
                <a:lnTo>
                  <a:pt x="408" y="35"/>
                </a:lnTo>
                <a:lnTo>
                  <a:pt x="417" y="32"/>
                </a:lnTo>
                <a:lnTo>
                  <a:pt x="428" y="31"/>
                </a:lnTo>
                <a:lnTo>
                  <a:pt x="439" y="30"/>
                </a:lnTo>
                <a:lnTo>
                  <a:pt x="448" y="30"/>
                </a:lnTo>
                <a:lnTo>
                  <a:pt x="466" y="30"/>
                </a:lnTo>
                <a:lnTo>
                  <a:pt x="482" y="32"/>
                </a:lnTo>
                <a:lnTo>
                  <a:pt x="498" y="36"/>
                </a:lnTo>
                <a:lnTo>
                  <a:pt x="513" y="40"/>
                </a:lnTo>
                <a:lnTo>
                  <a:pt x="528" y="45"/>
                </a:lnTo>
                <a:lnTo>
                  <a:pt x="542" y="52"/>
                </a:lnTo>
                <a:lnTo>
                  <a:pt x="555" y="59"/>
                </a:lnTo>
                <a:lnTo>
                  <a:pt x="568" y="68"/>
                </a:lnTo>
                <a:lnTo>
                  <a:pt x="581" y="77"/>
                </a:lnTo>
                <a:lnTo>
                  <a:pt x="593" y="88"/>
                </a:lnTo>
                <a:lnTo>
                  <a:pt x="604" y="100"/>
                </a:lnTo>
                <a:lnTo>
                  <a:pt x="613" y="113"/>
                </a:lnTo>
                <a:lnTo>
                  <a:pt x="623" y="126"/>
                </a:lnTo>
                <a:lnTo>
                  <a:pt x="632" y="139"/>
                </a:lnTo>
                <a:lnTo>
                  <a:pt x="638" y="154"/>
                </a:lnTo>
                <a:lnTo>
                  <a:pt x="644" y="170"/>
                </a:lnTo>
                <a:lnTo>
                  <a:pt x="646" y="175"/>
                </a:lnTo>
                <a:lnTo>
                  <a:pt x="651" y="178"/>
                </a:lnTo>
                <a:lnTo>
                  <a:pt x="655" y="179"/>
                </a:lnTo>
                <a:lnTo>
                  <a:pt x="660" y="179"/>
                </a:lnTo>
                <a:lnTo>
                  <a:pt x="668" y="179"/>
                </a:lnTo>
                <a:lnTo>
                  <a:pt x="676" y="179"/>
                </a:lnTo>
                <a:lnTo>
                  <a:pt x="685" y="179"/>
                </a:lnTo>
                <a:lnTo>
                  <a:pt x="693" y="180"/>
                </a:lnTo>
                <a:lnTo>
                  <a:pt x="709" y="184"/>
                </a:lnTo>
                <a:lnTo>
                  <a:pt x="724" y="190"/>
                </a:lnTo>
                <a:lnTo>
                  <a:pt x="736" y="197"/>
                </a:lnTo>
                <a:lnTo>
                  <a:pt x="749" y="206"/>
                </a:lnTo>
                <a:lnTo>
                  <a:pt x="756" y="211"/>
                </a:lnTo>
                <a:lnTo>
                  <a:pt x="761" y="217"/>
                </a:lnTo>
                <a:lnTo>
                  <a:pt x="765" y="223"/>
                </a:lnTo>
                <a:lnTo>
                  <a:pt x="771" y="229"/>
                </a:lnTo>
                <a:lnTo>
                  <a:pt x="775" y="235"/>
                </a:lnTo>
                <a:lnTo>
                  <a:pt x="778" y="242"/>
                </a:lnTo>
                <a:lnTo>
                  <a:pt x="781" y="249"/>
                </a:lnTo>
                <a:lnTo>
                  <a:pt x="785" y="256"/>
                </a:lnTo>
                <a:lnTo>
                  <a:pt x="788" y="270"/>
                </a:lnTo>
                <a:lnTo>
                  <a:pt x="790" y="286"/>
                </a:lnTo>
                <a:lnTo>
                  <a:pt x="790" y="302"/>
                </a:lnTo>
                <a:lnTo>
                  <a:pt x="789" y="319"/>
                </a:lnTo>
                <a:lnTo>
                  <a:pt x="785" y="336"/>
                </a:lnTo>
                <a:lnTo>
                  <a:pt x="779" y="355"/>
                </a:lnTo>
                <a:lnTo>
                  <a:pt x="778" y="359"/>
                </a:lnTo>
                <a:lnTo>
                  <a:pt x="779" y="364"/>
                </a:lnTo>
                <a:lnTo>
                  <a:pt x="781" y="369"/>
                </a:lnTo>
                <a:lnTo>
                  <a:pt x="786" y="373"/>
                </a:lnTo>
                <a:lnTo>
                  <a:pt x="793" y="377"/>
                </a:lnTo>
                <a:lnTo>
                  <a:pt x="801" y="382"/>
                </a:lnTo>
                <a:lnTo>
                  <a:pt x="808" y="389"/>
                </a:lnTo>
                <a:lnTo>
                  <a:pt x="816" y="395"/>
                </a:lnTo>
                <a:lnTo>
                  <a:pt x="823" y="403"/>
                </a:lnTo>
                <a:lnTo>
                  <a:pt x="830" y="410"/>
                </a:lnTo>
                <a:lnTo>
                  <a:pt x="836" y="419"/>
                </a:lnTo>
                <a:lnTo>
                  <a:pt x="842" y="427"/>
                </a:lnTo>
                <a:lnTo>
                  <a:pt x="848" y="436"/>
                </a:lnTo>
                <a:lnTo>
                  <a:pt x="853" y="446"/>
                </a:lnTo>
                <a:lnTo>
                  <a:pt x="857" y="455"/>
                </a:lnTo>
                <a:lnTo>
                  <a:pt x="861" y="466"/>
                </a:lnTo>
                <a:lnTo>
                  <a:pt x="864" y="476"/>
                </a:lnTo>
                <a:lnTo>
                  <a:pt x="866" y="486"/>
                </a:lnTo>
                <a:lnTo>
                  <a:pt x="867" y="498"/>
                </a:lnTo>
                <a:lnTo>
                  <a:pt x="868" y="509"/>
                </a:lnTo>
                <a:lnTo>
                  <a:pt x="867" y="525"/>
                </a:lnTo>
                <a:lnTo>
                  <a:pt x="865" y="540"/>
                </a:lnTo>
                <a:lnTo>
                  <a:pt x="862" y="554"/>
                </a:lnTo>
                <a:lnTo>
                  <a:pt x="856" y="568"/>
                </a:lnTo>
                <a:lnTo>
                  <a:pt x="851" y="582"/>
                </a:lnTo>
                <a:lnTo>
                  <a:pt x="843" y="593"/>
                </a:lnTo>
                <a:lnTo>
                  <a:pt x="835" y="605"/>
                </a:lnTo>
                <a:lnTo>
                  <a:pt x="825" y="616"/>
                </a:lnTo>
                <a:lnTo>
                  <a:pt x="815" y="625"/>
                </a:lnTo>
                <a:lnTo>
                  <a:pt x="803" y="634"/>
                </a:lnTo>
                <a:lnTo>
                  <a:pt x="791" y="640"/>
                </a:lnTo>
                <a:lnTo>
                  <a:pt x="778" y="647"/>
                </a:lnTo>
                <a:lnTo>
                  <a:pt x="764" y="652"/>
                </a:lnTo>
                <a:lnTo>
                  <a:pt x="749" y="655"/>
                </a:lnTo>
                <a:lnTo>
                  <a:pt x="734" y="658"/>
                </a:lnTo>
                <a:lnTo>
                  <a:pt x="718" y="659"/>
                </a:lnTo>
                <a:close/>
                <a:moveTo>
                  <a:pt x="811" y="354"/>
                </a:moveTo>
                <a:lnTo>
                  <a:pt x="817" y="333"/>
                </a:lnTo>
                <a:lnTo>
                  <a:pt x="820" y="314"/>
                </a:lnTo>
                <a:lnTo>
                  <a:pt x="821" y="296"/>
                </a:lnTo>
                <a:lnTo>
                  <a:pt x="820" y="276"/>
                </a:lnTo>
                <a:lnTo>
                  <a:pt x="819" y="268"/>
                </a:lnTo>
                <a:lnTo>
                  <a:pt x="817" y="259"/>
                </a:lnTo>
                <a:lnTo>
                  <a:pt x="815" y="251"/>
                </a:lnTo>
                <a:lnTo>
                  <a:pt x="811" y="242"/>
                </a:lnTo>
                <a:lnTo>
                  <a:pt x="808" y="234"/>
                </a:lnTo>
                <a:lnTo>
                  <a:pt x="804" y="226"/>
                </a:lnTo>
                <a:lnTo>
                  <a:pt x="800" y="219"/>
                </a:lnTo>
                <a:lnTo>
                  <a:pt x="795" y="211"/>
                </a:lnTo>
                <a:lnTo>
                  <a:pt x="790" y="204"/>
                </a:lnTo>
                <a:lnTo>
                  <a:pt x="784" y="197"/>
                </a:lnTo>
                <a:lnTo>
                  <a:pt x="777" y="191"/>
                </a:lnTo>
                <a:lnTo>
                  <a:pt x="771" y="184"/>
                </a:lnTo>
                <a:lnTo>
                  <a:pt x="763" y="179"/>
                </a:lnTo>
                <a:lnTo>
                  <a:pt x="757" y="174"/>
                </a:lnTo>
                <a:lnTo>
                  <a:pt x="748" y="169"/>
                </a:lnTo>
                <a:lnTo>
                  <a:pt x="741" y="165"/>
                </a:lnTo>
                <a:lnTo>
                  <a:pt x="732" y="161"/>
                </a:lnTo>
                <a:lnTo>
                  <a:pt x="724" y="158"/>
                </a:lnTo>
                <a:lnTo>
                  <a:pt x="715" y="156"/>
                </a:lnTo>
                <a:lnTo>
                  <a:pt x="705" y="153"/>
                </a:lnTo>
                <a:lnTo>
                  <a:pt x="697" y="151"/>
                </a:lnTo>
                <a:lnTo>
                  <a:pt x="687" y="150"/>
                </a:lnTo>
                <a:lnTo>
                  <a:pt x="679" y="149"/>
                </a:lnTo>
                <a:lnTo>
                  <a:pt x="669" y="149"/>
                </a:lnTo>
                <a:lnTo>
                  <a:pt x="661" y="133"/>
                </a:lnTo>
                <a:lnTo>
                  <a:pt x="653" y="117"/>
                </a:lnTo>
                <a:lnTo>
                  <a:pt x="643" y="102"/>
                </a:lnTo>
                <a:lnTo>
                  <a:pt x="633" y="88"/>
                </a:lnTo>
                <a:lnTo>
                  <a:pt x="621" y="74"/>
                </a:lnTo>
                <a:lnTo>
                  <a:pt x="609" y="62"/>
                </a:lnTo>
                <a:lnTo>
                  <a:pt x="596" y="51"/>
                </a:lnTo>
                <a:lnTo>
                  <a:pt x="582" y="41"/>
                </a:lnTo>
                <a:lnTo>
                  <a:pt x="567" y="31"/>
                </a:lnTo>
                <a:lnTo>
                  <a:pt x="552" y="23"/>
                </a:lnTo>
                <a:lnTo>
                  <a:pt x="536" y="16"/>
                </a:lnTo>
                <a:lnTo>
                  <a:pt x="519" y="10"/>
                </a:lnTo>
                <a:lnTo>
                  <a:pt x="502" y="6"/>
                </a:lnTo>
                <a:lnTo>
                  <a:pt x="485" y="2"/>
                </a:lnTo>
                <a:lnTo>
                  <a:pt x="467" y="0"/>
                </a:lnTo>
                <a:lnTo>
                  <a:pt x="448" y="0"/>
                </a:lnTo>
                <a:lnTo>
                  <a:pt x="438" y="0"/>
                </a:lnTo>
                <a:lnTo>
                  <a:pt x="426" y="1"/>
                </a:lnTo>
                <a:lnTo>
                  <a:pt x="414" y="2"/>
                </a:lnTo>
                <a:lnTo>
                  <a:pt x="403" y="5"/>
                </a:lnTo>
                <a:lnTo>
                  <a:pt x="392" y="8"/>
                </a:lnTo>
                <a:lnTo>
                  <a:pt x="381" y="11"/>
                </a:lnTo>
                <a:lnTo>
                  <a:pt x="370" y="14"/>
                </a:lnTo>
                <a:lnTo>
                  <a:pt x="360" y="20"/>
                </a:lnTo>
                <a:lnTo>
                  <a:pt x="350" y="24"/>
                </a:lnTo>
                <a:lnTo>
                  <a:pt x="339" y="29"/>
                </a:lnTo>
                <a:lnTo>
                  <a:pt x="330" y="36"/>
                </a:lnTo>
                <a:lnTo>
                  <a:pt x="320" y="41"/>
                </a:lnTo>
                <a:lnTo>
                  <a:pt x="302" y="55"/>
                </a:lnTo>
                <a:lnTo>
                  <a:pt x="285" y="71"/>
                </a:lnTo>
                <a:lnTo>
                  <a:pt x="270" y="88"/>
                </a:lnTo>
                <a:lnTo>
                  <a:pt x="256" y="106"/>
                </a:lnTo>
                <a:lnTo>
                  <a:pt x="243" y="127"/>
                </a:lnTo>
                <a:lnTo>
                  <a:pt x="232" y="148"/>
                </a:lnTo>
                <a:lnTo>
                  <a:pt x="228" y="159"/>
                </a:lnTo>
                <a:lnTo>
                  <a:pt x="224" y="169"/>
                </a:lnTo>
                <a:lnTo>
                  <a:pt x="220" y="181"/>
                </a:lnTo>
                <a:lnTo>
                  <a:pt x="217" y="193"/>
                </a:lnTo>
                <a:lnTo>
                  <a:pt x="214" y="205"/>
                </a:lnTo>
                <a:lnTo>
                  <a:pt x="212" y="217"/>
                </a:lnTo>
                <a:lnTo>
                  <a:pt x="211" y="228"/>
                </a:lnTo>
                <a:lnTo>
                  <a:pt x="210" y="241"/>
                </a:lnTo>
                <a:lnTo>
                  <a:pt x="188" y="243"/>
                </a:lnTo>
                <a:lnTo>
                  <a:pt x="167" y="248"/>
                </a:lnTo>
                <a:lnTo>
                  <a:pt x="147" y="254"/>
                </a:lnTo>
                <a:lnTo>
                  <a:pt x="127" y="263"/>
                </a:lnTo>
                <a:lnTo>
                  <a:pt x="109" y="272"/>
                </a:lnTo>
                <a:lnTo>
                  <a:pt x="92" y="284"/>
                </a:lnTo>
                <a:lnTo>
                  <a:pt x="76" y="297"/>
                </a:lnTo>
                <a:lnTo>
                  <a:pt x="61" y="311"/>
                </a:lnTo>
                <a:lnTo>
                  <a:pt x="47" y="327"/>
                </a:lnTo>
                <a:lnTo>
                  <a:pt x="35" y="343"/>
                </a:lnTo>
                <a:lnTo>
                  <a:pt x="24" y="361"/>
                </a:lnTo>
                <a:lnTo>
                  <a:pt x="16" y="380"/>
                </a:lnTo>
                <a:lnTo>
                  <a:pt x="9" y="400"/>
                </a:lnTo>
                <a:lnTo>
                  <a:pt x="4" y="421"/>
                </a:lnTo>
                <a:lnTo>
                  <a:pt x="1" y="442"/>
                </a:lnTo>
                <a:lnTo>
                  <a:pt x="0" y="464"/>
                </a:lnTo>
                <a:lnTo>
                  <a:pt x="0" y="476"/>
                </a:lnTo>
                <a:lnTo>
                  <a:pt x="1" y="487"/>
                </a:lnTo>
                <a:lnTo>
                  <a:pt x="2" y="498"/>
                </a:lnTo>
                <a:lnTo>
                  <a:pt x="4" y="509"/>
                </a:lnTo>
                <a:lnTo>
                  <a:pt x="7" y="521"/>
                </a:lnTo>
                <a:lnTo>
                  <a:pt x="9" y="530"/>
                </a:lnTo>
                <a:lnTo>
                  <a:pt x="14" y="541"/>
                </a:lnTo>
                <a:lnTo>
                  <a:pt x="18" y="552"/>
                </a:lnTo>
                <a:lnTo>
                  <a:pt x="27" y="571"/>
                </a:lnTo>
                <a:lnTo>
                  <a:pt x="38" y="589"/>
                </a:lnTo>
                <a:lnTo>
                  <a:pt x="51" y="607"/>
                </a:lnTo>
                <a:lnTo>
                  <a:pt x="66" y="622"/>
                </a:lnTo>
                <a:lnTo>
                  <a:pt x="81" y="637"/>
                </a:lnTo>
                <a:lnTo>
                  <a:pt x="99" y="650"/>
                </a:lnTo>
                <a:lnTo>
                  <a:pt x="118" y="661"/>
                </a:lnTo>
                <a:lnTo>
                  <a:pt x="137" y="670"/>
                </a:lnTo>
                <a:lnTo>
                  <a:pt x="148" y="675"/>
                </a:lnTo>
                <a:lnTo>
                  <a:pt x="157" y="678"/>
                </a:lnTo>
                <a:lnTo>
                  <a:pt x="168" y="681"/>
                </a:lnTo>
                <a:lnTo>
                  <a:pt x="180" y="683"/>
                </a:lnTo>
                <a:lnTo>
                  <a:pt x="190" y="685"/>
                </a:lnTo>
                <a:lnTo>
                  <a:pt x="201" y="687"/>
                </a:lnTo>
                <a:lnTo>
                  <a:pt x="213" y="687"/>
                </a:lnTo>
                <a:lnTo>
                  <a:pt x="225" y="689"/>
                </a:lnTo>
                <a:lnTo>
                  <a:pt x="718" y="689"/>
                </a:lnTo>
                <a:lnTo>
                  <a:pt x="737" y="687"/>
                </a:lnTo>
                <a:lnTo>
                  <a:pt x="756" y="684"/>
                </a:lnTo>
                <a:lnTo>
                  <a:pt x="773" y="681"/>
                </a:lnTo>
                <a:lnTo>
                  <a:pt x="790" y="675"/>
                </a:lnTo>
                <a:lnTo>
                  <a:pt x="805" y="667"/>
                </a:lnTo>
                <a:lnTo>
                  <a:pt x="820" y="659"/>
                </a:lnTo>
                <a:lnTo>
                  <a:pt x="834" y="649"/>
                </a:lnTo>
                <a:lnTo>
                  <a:pt x="847" y="637"/>
                </a:lnTo>
                <a:lnTo>
                  <a:pt x="857" y="624"/>
                </a:lnTo>
                <a:lnTo>
                  <a:pt x="868" y="610"/>
                </a:lnTo>
                <a:lnTo>
                  <a:pt x="877" y="597"/>
                </a:lnTo>
                <a:lnTo>
                  <a:pt x="884" y="580"/>
                </a:lnTo>
                <a:lnTo>
                  <a:pt x="891" y="563"/>
                </a:lnTo>
                <a:lnTo>
                  <a:pt x="895" y="546"/>
                </a:lnTo>
                <a:lnTo>
                  <a:pt x="897" y="528"/>
                </a:lnTo>
                <a:lnTo>
                  <a:pt x="898" y="509"/>
                </a:lnTo>
                <a:lnTo>
                  <a:pt x="897" y="498"/>
                </a:lnTo>
                <a:lnTo>
                  <a:pt x="896" y="486"/>
                </a:lnTo>
                <a:lnTo>
                  <a:pt x="895" y="476"/>
                </a:lnTo>
                <a:lnTo>
                  <a:pt x="892" y="465"/>
                </a:lnTo>
                <a:lnTo>
                  <a:pt x="888" y="454"/>
                </a:lnTo>
                <a:lnTo>
                  <a:pt x="884" y="443"/>
                </a:lnTo>
                <a:lnTo>
                  <a:pt x="880" y="433"/>
                </a:lnTo>
                <a:lnTo>
                  <a:pt x="875" y="422"/>
                </a:lnTo>
                <a:lnTo>
                  <a:pt x="868" y="412"/>
                </a:lnTo>
                <a:lnTo>
                  <a:pt x="862" y="403"/>
                </a:lnTo>
                <a:lnTo>
                  <a:pt x="854" y="393"/>
                </a:lnTo>
                <a:lnTo>
                  <a:pt x="847" y="385"/>
                </a:lnTo>
                <a:lnTo>
                  <a:pt x="838" y="376"/>
                </a:lnTo>
                <a:lnTo>
                  <a:pt x="830" y="367"/>
                </a:lnTo>
                <a:lnTo>
                  <a:pt x="821" y="360"/>
                </a:lnTo>
                <a:lnTo>
                  <a:pt x="811" y="35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nvGrpSpPr>
          <p:cNvPr id="962" name="Group 66">
            <a:extLst>
              <a:ext uri="{FF2B5EF4-FFF2-40B4-BE49-F238E27FC236}">
                <a16:creationId xmlns:a16="http://schemas.microsoft.com/office/drawing/2014/main" id="{4699049E-BA58-469F-9A13-97A1F098D3B0}"/>
              </a:ext>
            </a:extLst>
          </p:cNvPr>
          <p:cNvGrpSpPr>
            <a:grpSpLocks noChangeAspect="1"/>
          </p:cNvGrpSpPr>
          <p:nvPr/>
        </p:nvGrpSpPr>
        <p:grpSpPr>
          <a:xfrm>
            <a:off x="8391782" y="5944848"/>
            <a:ext cx="112987" cy="308144"/>
            <a:chOff x="1562100" y="1339850"/>
            <a:chExt cx="104775" cy="285750"/>
          </a:xfrm>
          <a:solidFill>
            <a:schemeClr val="bg1"/>
          </a:solidFill>
          <a:effectLst/>
        </p:grpSpPr>
        <p:sp>
          <p:nvSpPr>
            <p:cNvPr id="963" name="Freeform 91">
              <a:extLst>
                <a:ext uri="{FF2B5EF4-FFF2-40B4-BE49-F238E27FC236}">
                  <a16:creationId xmlns:a16="http://schemas.microsoft.com/office/drawing/2014/main" id="{639AB16C-8DC9-4D85-B8FA-49B65C65AC26}"/>
                </a:ext>
              </a:extLst>
            </p:cNvPr>
            <p:cNvSpPr>
              <a:spLocks noEditPoints="1"/>
            </p:cNvSpPr>
            <p:nvPr/>
          </p:nvSpPr>
          <p:spPr bwMode="auto">
            <a:xfrm>
              <a:off x="1595438" y="1420813"/>
              <a:ext cx="38100" cy="171450"/>
            </a:xfrm>
            <a:custGeom>
              <a:avLst/>
              <a:gdLst>
                <a:gd name="T0" fmla="*/ 54 w 120"/>
                <a:gd name="T1" fmla="*/ 509 h 540"/>
                <a:gd name="T2" fmla="*/ 43 w 120"/>
                <a:gd name="T3" fmla="*/ 504 h 540"/>
                <a:gd name="T4" fmla="*/ 35 w 120"/>
                <a:gd name="T5" fmla="*/ 496 h 540"/>
                <a:gd name="T6" fmla="*/ 30 w 120"/>
                <a:gd name="T7" fmla="*/ 485 h 540"/>
                <a:gd name="T8" fmla="*/ 30 w 120"/>
                <a:gd name="T9" fmla="*/ 473 h 540"/>
                <a:gd name="T10" fmla="*/ 35 w 120"/>
                <a:gd name="T11" fmla="*/ 463 h 540"/>
                <a:gd name="T12" fmla="*/ 43 w 120"/>
                <a:gd name="T13" fmla="*/ 454 h 540"/>
                <a:gd name="T14" fmla="*/ 54 w 120"/>
                <a:gd name="T15" fmla="*/ 450 h 540"/>
                <a:gd name="T16" fmla="*/ 65 w 120"/>
                <a:gd name="T17" fmla="*/ 450 h 540"/>
                <a:gd name="T18" fmla="*/ 76 w 120"/>
                <a:gd name="T19" fmla="*/ 454 h 540"/>
                <a:gd name="T20" fmla="*/ 85 w 120"/>
                <a:gd name="T21" fmla="*/ 463 h 540"/>
                <a:gd name="T22" fmla="*/ 89 w 120"/>
                <a:gd name="T23" fmla="*/ 473 h 540"/>
                <a:gd name="T24" fmla="*/ 89 w 120"/>
                <a:gd name="T25" fmla="*/ 485 h 540"/>
                <a:gd name="T26" fmla="*/ 85 w 120"/>
                <a:gd name="T27" fmla="*/ 496 h 540"/>
                <a:gd name="T28" fmla="*/ 76 w 120"/>
                <a:gd name="T29" fmla="*/ 504 h 540"/>
                <a:gd name="T30" fmla="*/ 65 w 120"/>
                <a:gd name="T31" fmla="*/ 509 h 540"/>
                <a:gd name="T32" fmla="*/ 75 w 120"/>
                <a:gd name="T33" fmla="*/ 423 h 540"/>
                <a:gd name="T34" fmla="*/ 74 w 120"/>
                <a:gd name="T35" fmla="*/ 13 h 540"/>
                <a:gd name="T36" fmla="*/ 72 w 120"/>
                <a:gd name="T37" fmla="*/ 8 h 540"/>
                <a:gd name="T38" fmla="*/ 69 w 120"/>
                <a:gd name="T39" fmla="*/ 4 h 540"/>
                <a:gd name="T40" fmla="*/ 63 w 120"/>
                <a:gd name="T41" fmla="*/ 1 h 540"/>
                <a:gd name="T42" fmla="*/ 57 w 120"/>
                <a:gd name="T43" fmla="*/ 1 h 540"/>
                <a:gd name="T44" fmla="*/ 51 w 120"/>
                <a:gd name="T45" fmla="*/ 4 h 540"/>
                <a:gd name="T46" fmla="*/ 47 w 120"/>
                <a:gd name="T47" fmla="*/ 8 h 540"/>
                <a:gd name="T48" fmla="*/ 45 w 120"/>
                <a:gd name="T49" fmla="*/ 13 h 540"/>
                <a:gd name="T50" fmla="*/ 45 w 120"/>
                <a:gd name="T51" fmla="*/ 423 h 540"/>
                <a:gd name="T52" fmla="*/ 27 w 120"/>
                <a:gd name="T53" fmla="*/ 431 h 540"/>
                <a:gd name="T54" fmla="*/ 13 w 120"/>
                <a:gd name="T55" fmla="*/ 443 h 540"/>
                <a:gd name="T56" fmla="*/ 3 w 120"/>
                <a:gd name="T57" fmla="*/ 461 h 540"/>
                <a:gd name="T58" fmla="*/ 0 w 120"/>
                <a:gd name="T59" fmla="*/ 480 h 540"/>
                <a:gd name="T60" fmla="*/ 1 w 120"/>
                <a:gd name="T61" fmla="*/ 492 h 540"/>
                <a:gd name="T62" fmla="*/ 4 w 120"/>
                <a:gd name="T63" fmla="*/ 502 h 540"/>
                <a:gd name="T64" fmla="*/ 10 w 120"/>
                <a:gd name="T65" fmla="*/ 513 h 540"/>
                <a:gd name="T66" fmla="*/ 17 w 120"/>
                <a:gd name="T67" fmla="*/ 522 h 540"/>
                <a:gd name="T68" fmla="*/ 26 w 120"/>
                <a:gd name="T69" fmla="*/ 529 h 540"/>
                <a:gd name="T70" fmla="*/ 36 w 120"/>
                <a:gd name="T71" fmla="*/ 534 h 540"/>
                <a:gd name="T72" fmla="*/ 47 w 120"/>
                <a:gd name="T73" fmla="*/ 538 h 540"/>
                <a:gd name="T74" fmla="*/ 60 w 120"/>
                <a:gd name="T75" fmla="*/ 540 h 540"/>
                <a:gd name="T76" fmla="*/ 72 w 120"/>
                <a:gd name="T77" fmla="*/ 538 h 540"/>
                <a:gd name="T78" fmla="*/ 84 w 120"/>
                <a:gd name="T79" fmla="*/ 534 h 540"/>
                <a:gd name="T80" fmla="*/ 93 w 120"/>
                <a:gd name="T81" fmla="*/ 529 h 540"/>
                <a:gd name="T82" fmla="*/ 102 w 120"/>
                <a:gd name="T83" fmla="*/ 522 h 540"/>
                <a:gd name="T84" fmla="*/ 109 w 120"/>
                <a:gd name="T85" fmla="*/ 513 h 540"/>
                <a:gd name="T86" fmla="*/ 115 w 120"/>
                <a:gd name="T87" fmla="*/ 502 h 540"/>
                <a:gd name="T88" fmla="*/ 119 w 120"/>
                <a:gd name="T89" fmla="*/ 492 h 540"/>
                <a:gd name="T90" fmla="*/ 120 w 120"/>
                <a:gd name="T91" fmla="*/ 480 h 540"/>
                <a:gd name="T92" fmla="*/ 116 w 120"/>
                <a:gd name="T93" fmla="*/ 461 h 540"/>
                <a:gd name="T94" fmla="*/ 107 w 120"/>
                <a:gd name="T95" fmla="*/ 443 h 540"/>
                <a:gd name="T96" fmla="*/ 92 w 120"/>
                <a:gd name="T97" fmla="*/ 431 h 540"/>
                <a:gd name="T98" fmla="*/ 75 w 120"/>
                <a:gd name="T99" fmla="*/ 42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540">
                  <a:moveTo>
                    <a:pt x="60" y="510"/>
                  </a:moveTo>
                  <a:lnTo>
                    <a:pt x="54" y="509"/>
                  </a:lnTo>
                  <a:lnTo>
                    <a:pt x="48" y="507"/>
                  </a:lnTo>
                  <a:lnTo>
                    <a:pt x="43" y="504"/>
                  </a:lnTo>
                  <a:lnTo>
                    <a:pt x="39" y="500"/>
                  </a:lnTo>
                  <a:lnTo>
                    <a:pt x="35" y="496"/>
                  </a:lnTo>
                  <a:lnTo>
                    <a:pt x="32" y="491"/>
                  </a:lnTo>
                  <a:lnTo>
                    <a:pt x="30" y="485"/>
                  </a:lnTo>
                  <a:lnTo>
                    <a:pt x="30" y="480"/>
                  </a:lnTo>
                  <a:lnTo>
                    <a:pt x="30" y="473"/>
                  </a:lnTo>
                  <a:lnTo>
                    <a:pt x="32" y="468"/>
                  </a:lnTo>
                  <a:lnTo>
                    <a:pt x="35" y="463"/>
                  </a:lnTo>
                  <a:lnTo>
                    <a:pt x="39" y="458"/>
                  </a:lnTo>
                  <a:lnTo>
                    <a:pt x="43" y="454"/>
                  </a:lnTo>
                  <a:lnTo>
                    <a:pt x="48" y="452"/>
                  </a:lnTo>
                  <a:lnTo>
                    <a:pt x="54" y="450"/>
                  </a:lnTo>
                  <a:lnTo>
                    <a:pt x="60" y="450"/>
                  </a:lnTo>
                  <a:lnTo>
                    <a:pt x="65" y="450"/>
                  </a:lnTo>
                  <a:lnTo>
                    <a:pt x="72" y="452"/>
                  </a:lnTo>
                  <a:lnTo>
                    <a:pt x="76" y="454"/>
                  </a:lnTo>
                  <a:lnTo>
                    <a:pt x="80" y="458"/>
                  </a:lnTo>
                  <a:lnTo>
                    <a:pt x="85" y="463"/>
                  </a:lnTo>
                  <a:lnTo>
                    <a:pt x="88" y="468"/>
                  </a:lnTo>
                  <a:lnTo>
                    <a:pt x="89" y="473"/>
                  </a:lnTo>
                  <a:lnTo>
                    <a:pt x="90" y="480"/>
                  </a:lnTo>
                  <a:lnTo>
                    <a:pt x="89" y="485"/>
                  </a:lnTo>
                  <a:lnTo>
                    <a:pt x="88" y="491"/>
                  </a:lnTo>
                  <a:lnTo>
                    <a:pt x="85" y="496"/>
                  </a:lnTo>
                  <a:lnTo>
                    <a:pt x="80" y="500"/>
                  </a:lnTo>
                  <a:lnTo>
                    <a:pt x="76" y="504"/>
                  </a:lnTo>
                  <a:lnTo>
                    <a:pt x="72" y="507"/>
                  </a:lnTo>
                  <a:lnTo>
                    <a:pt x="65" y="509"/>
                  </a:lnTo>
                  <a:lnTo>
                    <a:pt x="60" y="510"/>
                  </a:lnTo>
                  <a:close/>
                  <a:moveTo>
                    <a:pt x="75" y="423"/>
                  </a:moveTo>
                  <a:lnTo>
                    <a:pt x="75" y="15"/>
                  </a:lnTo>
                  <a:lnTo>
                    <a:pt x="74" y="13"/>
                  </a:lnTo>
                  <a:lnTo>
                    <a:pt x="74" y="10"/>
                  </a:lnTo>
                  <a:lnTo>
                    <a:pt x="72" y="8"/>
                  </a:lnTo>
                  <a:lnTo>
                    <a:pt x="71" y="6"/>
                  </a:lnTo>
                  <a:lnTo>
                    <a:pt x="69" y="4"/>
                  </a:lnTo>
                  <a:lnTo>
                    <a:pt x="65" y="1"/>
                  </a:lnTo>
                  <a:lnTo>
                    <a:pt x="63" y="1"/>
                  </a:lnTo>
                  <a:lnTo>
                    <a:pt x="60" y="0"/>
                  </a:lnTo>
                  <a:lnTo>
                    <a:pt x="57" y="1"/>
                  </a:lnTo>
                  <a:lnTo>
                    <a:pt x="54" y="1"/>
                  </a:lnTo>
                  <a:lnTo>
                    <a:pt x="51" y="4"/>
                  </a:lnTo>
                  <a:lnTo>
                    <a:pt x="49" y="6"/>
                  </a:lnTo>
                  <a:lnTo>
                    <a:pt x="47" y="8"/>
                  </a:lnTo>
                  <a:lnTo>
                    <a:pt x="46" y="10"/>
                  </a:lnTo>
                  <a:lnTo>
                    <a:pt x="45" y="13"/>
                  </a:lnTo>
                  <a:lnTo>
                    <a:pt x="45" y="15"/>
                  </a:lnTo>
                  <a:lnTo>
                    <a:pt x="45" y="423"/>
                  </a:lnTo>
                  <a:lnTo>
                    <a:pt x="35" y="425"/>
                  </a:lnTo>
                  <a:lnTo>
                    <a:pt x="27" y="431"/>
                  </a:lnTo>
                  <a:lnTo>
                    <a:pt x="19" y="436"/>
                  </a:lnTo>
                  <a:lnTo>
                    <a:pt x="13" y="443"/>
                  </a:lnTo>
                  <a:lnTo>
                    <a:pt x="8" y="451"/>
                  </a:lnTo>
                  <a:lnTo>
                    <a:pt x="3" y="461"/>
                  </a:lnTo>
                  <a:lnTo>
                    <a:pt x="1" y="469"/>
                  </a:lnTo>
                  <a:lnTo>
                    <a:pt x="0" y="480"/>
                  </a:lnTo>
                  <a:lnTo>
                    <a:pt x="0" y="485"/>
                  </a:lnTo>
                  <a:lnTo>
                    <a:pt x="1" y="492"/>
                  </a:lnTo>
                  <a:lnTo>
                    <a:pt x="2" y="497"/>
                  </a:lnTo>
                  <a:lnTo>
                    <a:pt x="4" y="502"/>
                  </a:lnTo>
                  <a:lnTo>
                    <a:pt x="8" y="508"/>
                  </a:lnTo>
                  <a:lnTo>
                    <a:pt x="10" y="513"/>
                  </a:lnTo>
                  <a:lnTo>
                    <a:pt x="14" y="517"/>
                  </a:lnTo>
                  <a:lnTo>
                    <a:pt x="17" y="522"/>
                  </a:lnTo>
                  <a:lnTo>
                    <a:pt x="21" y="526"/>
                  </a:lnTo>
                  <a:lnTo>
                    <a:pt x="26" y="529"/>
                  </a:lnTo>
                  <a:lnTo>
                    <a:pt x="31" y="532"/>
                  </a:lnTo>
                  <a:lnTo>
                    <a:pt x="36" y="534"/>
                  </a:lnTo>
                  <a:lnTo>
                    <a:pt x="42" y="537"/>
                  </a:lnTo>
                  <a:lnTo>
                    <a:pt x="47" y="538"/>
                  </a:lnTo>
                  <a:lnTo>
                    <a:pt x="54" y="539"/>
                  </a:lnTo>
                  <a:lnTo>
                    <a:pt x="60" y="540"/>
                  </a:lnTo>
                  <a:lnTo>
                    <a:pt x="65" y="539"/>
                  </a:lnTo>
                  <a:lnTo>
                    <a:pt x="72" y="538"/>
                  </a:lnTo>
                  <a:lnTo>
                    <a:pt x="77" y="537"/>
                  </a:lnTo>
                  <a:lnTo>
                    <a:pt x="84" y="534"/>
                  </a:lnTo>
                  <a:lnTo>
                    <a:pt x="88" y="532"/>
                  </a:lnTo>
                  <a:lnTo>
                    <a:pt x="93" y="529"/>
                  </a:lnTo>
                  <a:lnTo>
                    <a:pt x="97" y="526"/>
                  </a:lnTo>
                  <a:lnTo>
                    <a:pt x="102" y="522"/>
                  </a:lnTo>
                  <a:lnTo>
                    <a:pt x="106" y="517"/>
                  </a:lnTo>
                  <a:lnTo>
                    <a:pt x="109" y="513"/>
                  </a:lnTo>
                  <a:lnTo>
                    <a:pt x="112" y="508"/>
                  </a:lnTo>
                  <a:lnTo>
                    <a:pt x="115" y="502"/>
                  </a:lnTo>
                  <a:lnTo>
                    <a:pt x="117" y="497"/>
                  </a:lnTo>
                  <a:lnTo>
                    <a:pt x="119" y="492"/>
                  </a:lnTo>
                  <a:lnTo>
                    <a:pt x="119" y="485"/>
                  </a:lnTo>
                  <a:lnTo>
                    <a:pt x="120" y="480"/>
                  </a:lnTo>
                  <a:lnTo>
                    <a:pt x="119" y="469"/>
                  </a:lnTo>
                  <a:lnTo>
                    <a:pt x="116" y="461"/>
                  </a:lnTo>
                  <a:lnTo>
                    <a:pt x="112" y="451"/>
                  </a:lnTo>
                  <a:lnTo>
                    <a:pt x="107" y="443"/>
                  </a:lnTo>
                  <a:lnTo>
                    <a:pt x="101" y="436"/>
                  </a:lnTo>
                  <a:lnTo>
                    <a:pt x="92" y="431"/>
                  </a:lnTo>
                  <a:lnTo>
                    <a:pt x="84" y="425"/>
                  </a:lnTo>
                  <a:lnTo>
                    <a:pt x="75" y="4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4" name="Freeform 92">
              <a:extLst>
                <a:ext uri="{FF2B5EF4-FFF2-40B4-BE49-F238E27FC236}">
                  <a16:creationId xmlns:a16="http://schemas.microsoft.com/office/drawing/2014/main" id="{D9846538-9CD9-47F6-8097-47438F373A8A}"/>
                </a:ext>
              </a:extLst>
            </p:cNvPr>
            <p:cNvSpPr>
              <a:spLocks noEditPoints="1"/>
            </p:cNvSpPr>
            <p:nvPr/>
          </p:nvSpPr>
          <p:spPr bwMode="auto">
            <a:xfrm>
              <a:off x="1562100" y="1339850"/>
              <a:ext cx="104775" cy="285750"/>
            </a:xfrm>
            <a:custGeom>
              <a:avLst/>
              <a:gdLst>
                <a:gd name="T0" fmla="*/ 137 w 330"/>
                <a:gd name="T1" fmla="*/ 864 h 897"/>
                <a:gd name="T2" fmla="*/ 101 w 330"/>
                <a:gd name="T3" fmla="*/ 851 h 897"/>
                <a:gd name="T4" fmla="*/ 70 w 330"/>
                <a:gd name="T5" fmla="*/ 828 h 897"/>
                <a:gd name="T6" fmla="*/ 46 w 330"/>
                <a:gd name="T7" fmla="*/ 797 h 897"/>
                <a:gd name="T8" fmla="*/ 32 w 330"/>
                <a:gd name="T9" fmla="*/ 760 h 897"/>
                <a:gd name="T10" fmla="*/ 31 w 330"/>
                <a:gd name="T11" fmla="*/ 717 h 897"/>
                <a:gd name="T12" fmla="*/ 44 w 330"/>
                <a:gd name="T13" fmla="*/ 673 h 897"/>
                <a:gd name="T14" fmla="*/ 72 w 330"/>
                <a:gd name="T15" fmla="*/ 636 h 897"/>
                <a:gd name="T16" fmla="*/ 88 w 330"/>
                <a:gd name="T17" fmla="*/ 620 h 897"/>
                <a:gd name="T18" fmla="*/ 90 w 330"/>
                <a:gd name="T19" fmla="*/ 103 h 897"/>
                <a:gd name="T20" fmla="*/ 93 w 330"/>
                <a:gd name="T21" fmla="*/ 82 h 897"/>
                <a:gd name="T22" fmla="*/ 103 w 330"/>
                <a:gd name="T23" fmla="*/ 63 h 897"/>
                <a:gd name="T24" fmla="*/ 117 w 330"/>
                <a:gd name="T25" fmla="*/ 47 h 897"/>
                <a:gd name="T26" fmla="*/ 136 w 330"/>
                <a:gd name="T27" fmla="*/ 35 h 897"/>
                <a:gd name="T28" fmla="*/ 158 w 330"/>
                <a:gd name="T29" fmla="*/ 30 h 897"/>
                <a:gd name="T30" fmla="*/ 180 w 330"/>
                <a:gd name="T31" fmla="*/ 31 h 897"/>
                <a:gd name="T32" fmla="*/ 200 w 330"/>
                <a:gd name="T33" fmla="*/ 38 h 897"/>
                <a:gd name="T34" fmla="*/ 217 w 330"/>
                <a:gd name="T35" fmla="*/ 51 h 897"/>
                <a:gd name="T36" fmla="*/ 230 w 330"/>
                <a:gd name="T37" fmla="*/ 69 h 897"/>
                <a:gd name="T38" fmla="*/ 238 w 330"/>
                <a:gd name="T39" fmla="*/ 90 h 897"/>
                <a:gd name="T40" fmla="*/ 240 w 330"/>
                <a:gd name="T41" fmla="*/ 614 h 897"/>
                <a:gd name="T42" fmla="*/ 243 w 330"/>
                <a:gd name="T43" fmla="*/ 624 h 897"/>
                <a:gd name="T44" fmla="*/ 269 w 330"/>
                <a:gd name="T45" fmla="*/ 647 h 897"/>
                <a:gd name="T46" fmla="*/ 291 w 330"/>
                <a:gd name="T47" fmla="*/ 687 h 897"/>
                <a:gd name="T48" fmla="*/ 300 w 330"/>
                <a:gd name="T49" fmla="*/ 733 h 897"/>
                <a:gd name="T50" fmla="*/ 293 w 330"/>
                <a:gd name="T51" fmla="*/ 772 h 897"/>
                <a:gd name="T52" fmla="*/ 276 w 330"/>
                <a:gd name="T53" fmla="*/ 808 h 897"/>
                <a:gd name="T54" fmla="*/ 251 w 330"/>
                <a:gd name="T55" fmla="*/ 837 h 897"/>
                <a:gd name="T56" fmla="*/ 217 w 330"/>
                <a:gd name="T57" fmla="*/ 857 h 897"/>
                <a:gd name="T58" fmla="*/ 179 w 330"/>
                <a:gd name="T59" fmla="*/ 867 h 897"/>
                <a:gd name="T60" fmla="*/ 270 w 330"/>
                <a:gd name="T61" fmla="*/ 103 h 897"/>
                <a:gd name="T62" fmla="*/ 265 w 330"/>
                <a:gd name="T63" fmla="*/ 73 h 897"/>
                <a:gd name="T64" fmla="*/ 252 w 330"/>
                <a:gd name="T65" fmla="*/ 46 h 897"/>
                <a:gd name="T66" fmla="*/ 231 w 330"/>
                <a:gd name="T67" fmla="*/ 23 h 897"/>
                <a:gd name="T68" fmla="*/ 206 w 330"/>
                <a:gd name="T69" fmla="*/ 7 h 897"/>
                <a:gd name="T70" fmla="*/ 176 w 330"/>
                <a:gd name="T71" fmla="*/ 0 h 897"/>
                <a:gd name="T72" fmla="*/ 144 w 330"/>
                <a:gd name="T73" fmla="*/ 2 h 897"/>
                <a:gd name="T74" fmla="*/ 115 w 330"/>
                <a:gd name="T75" fmla="*/ 12 h 897"/>
                <a:gd name="T76" fmla="*/ 91 w 330"/>
                <a:gd name="T77" fmla="*/ 31 h 897"/>
                <a:gd name="T78" fmla="*/ 73 w 330"/>
                <a:gd name="T79" fmla="*/ 54 h 897"/>
                <a:gd name="T80" fmla="*/ 62 w 330"/>
                <a:gd name="T81" fmla="*/ 83 h 897"/>
                <a:gd name="T82" fmla="*/ 60 w 330"/>
                <a:gd name="T83" fmla="*/ 607 h 897"/>
                <a:gd name="T84" fmla="*/ 25 w 330"/>
                <a:gd name="T85" fmla="*/ 647 h 897"/>
                <a:gd name="T86" fmla="*/ 4 w 330"/>
                <a:gd name="T87" fmla="*/ 696 h 897"/>
                <a:gd name="T88" fmla="*/ 1 w 330"/>
                <a:gd name="T89" fmla="*/ 749 h 897"/>
                <a:gd name="T90" fmla="*/ 13 w 330"/>
                <a:gd name="T91" fmla="*/ 797 h 897"/>
                <a:gd name="T92" fmla="*/ 38 w 330"/>
                <a:gd name="T93" fmla="*/ 838 h 897"/>
                <a:gd name="T94" fmla="*/ 73 w 330"/>
                <a:gd name="T95" fmla="*/ 869 h 897"/>
                <a:gd name="T96" fmla="*/ 116 w 330"/>
                <a:gd name="T97" fmla="*/ 890 h 897"/>
                <a:gd name="T98" fmla="*/ 165 w 330"/>
                <a:gd name="T99" fmla="*/ 897 h 897"/>
                <a:gd name="T100" fmla="*/ 213 w 330"/>
                <a:gd name="T101" fmla="*/ 890 h 897"/>
                <a:gd name="T102" fmla="*/ 257 w 330"/>
                <a:gd name="T103" fmla="*/ 869 h 897"/>
                <a:gd name="T104" fmla="*/ 291 w 330"/>
                <a:gd name="T105" fmla="*/ 838 h 897"/>
                <a:gd name="T106" fmla="*/ 316 w 330"/>
                <a:gd name="T107" fmla="*/ 797 h 897"/>
                <a:gd name="T108" fmla="*/ 329 w 330"/>
                <a:gd name="T109" fmla="*/ 749 h 897"/>
                <a:gd name="T110" fmla="*/ 326 w 330"/>
                <a:gd name="T111" fmla="*/ 696 h 897"/>
                <a:gd name="T112" fmla="*/ 305 w 330"/>
                <a:gd name="T113" fmla="*/ 647 h 897"/>
                <a:gd name="T114" fmla="*/ 270 w 330"/>
                <a:gd name="T115" fmla="*/ 60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0" h="897">
                  <a:moveTo>
                    <a:pt x="165" y="867"/>
                  </a:moveTo>
                  <a:lnTo>
                    <a:pt x="151" y="867"/>
                  </a:lnTo>
                  <a:lnTo>
                    <a:pt x="137" y="864"/>
                  </a:lnTo>
                  <a:lnTo>
                    <a:pt x="124" y="861"/>
                  </a:lnTo>
                  <a:lnTo>
                    <a:pt x="113" y="857"/>
                  </a:lnTo>
                  <a:lnTo>
                    <a:pt x="101" y="851"/>
                  </a:lnTo>
                  <a:lnTo>
                    <a:pt x="89" y="844"/>
                  </a:lnTo>
                  <a:lnTo>
                    <a:pt x="79" y="837"/>
                  </a:lnTo>
                  <a:lnTo>
                    <a:pt x="70" y="828"/>
                  </a:lnTo>
                  <a:lnTo>
                    <a:pt x="61" y="818"/>
                  </a:lnTo>
                  <a:lnTo>
                    <a:pt x="53" y="808"/>
                  </a:lnTo>
                  <a:lnTo>
                    <a:pt x="46" y="797"/>
                  </a:lnTo>
                  <a:lnTo>
                    <a:pt x="41" y="785"/>
                  </a:lnTo>
                  <a:lnTo>
                    <a:pt x="37" y="772"/>
                  </a:lnTo>
                  <a:lnTo>
                    <a:pt x="32" y="760"/>
                  </a:lnTo>
                  <a:lnTo>
                    <a:pt x="31" y="747"/>
                  </a:lnTo>
                  <a:lnTo>
                    <a:pt x="30" y="733"/>
                  </a:lnTo>
                  <a:lnTo>
                    <a:pt x="31" y="717"/>
                  </a:lnTo>
                  <a:lnTo>
                    <a:pt x="33" y="702"/>
                  </a:lnTo>
                  <a:lnTo>
                    <a:pt x="38" y="687"/>
                  </a:lnTo>
                  <a:lnTo>
                    <a:pt x="44" y="673"/>
                  </a:lnTo>
                  <a:lnTo>
                    <a:pt x="52" y="660"/>
                  </a:lnTo>
                  <a:lnTo>
                    <a:pt x="61" y="647"/>
                  </a:lnTo>
                  <a:lnTo>
                    <a:pt x="72" y="636"/>
                  </a:lnTo>
                  <a:lnTo>
                    <a:pt x="84" y="626"/>
                  </a:lnTo>
                  <a:lnTo>
                    <a:pt x="87" y="624"/>
                  </a:lnTo>
                  <a:lnTo>
                    <a:pt x="88" y="620"/>
                  </a:lnTo>
                  <a:lnTo>
                    <a:pt x="89" y="617"/>
                  </a:lnTo>
                  <a:lnTo>
                    <a:pt x="90" y="614"/>
                  </a:lnTo>
                  <a:lnTo>
                    <a:pt x="90" y="103"/>
                  </a:lnTo>
                  <a:lnTo>
                    <a:pt x="90" y="96"/>
                  </a:lnTo>
                  <a:lnTo>
                    <a:pt x="91" y="90"/>
                  </a:lnTo>
                  <a:lnTo>
                    <a:pt x="93" y="82"/>
                  </a:lnTo>
                  <a:lnTo>
                    <a:pt x="95" y="76"/>
                  </a:lnTo>
                  <a:lnTo>
                    <a:pt x="99" y="69"/>
                  </a:lnTo>
                  <a:lnTo>
                    <a:pt x="103" y="63"/>
                  </a:lnTo>
                  <a:lnTo>
                    <a:pt x="107" y="56"/>
                  </a:lnTo>
                  <a:lnTo>
                    <a:pt x="111" y="51"/>
                  </a:lnTo>
                  <a:lnTo>
                    <a:pt x="117" y="47"/>
                  </a:lnTo>
                  <a:lnTo>
                    <a:pt x="123" y="42"/>
                  </a:lnTo>
                  <a:lnTo>
                    <a:pt x="129" y="38"/>
                  </a:lnTo>
                  <a:lnTo>
                    <a:pt x="136" y="35"/>
                  </a:lnTo>
                  <a:lnTo>
                    <a:pt x="143" y="33"/>
                  </a:lnTo>
                  <a:lnTo>
                    <a:pt x="150" y="31"/>
                  </a:lnTo>
                  <a:lnTo>
                    <a:pt x="158" y="30"/>
                  </a:lnTo>
                  <a:lnTo>
                    <a:pt x="165" y="30"/>
                  </a:lnTo>
                  <a:lnTo>
                    <a:pt x="172" y="30"/>
                  </a:lnTo>
                  <a:lnTo>
                    <a:pt x="180" y="31"/>
                  </a:lnTo>
                  <a:lnTo>
                    <a:pt x="187" y="33"/>
                  </a:lnTo>
                  <a:lnTo>
                    <a:pt x="194" y="35"/>
                  </a:lnTo>
                  <a:lnTo>
                    <a:pt x="200" y="38"/>
                  </a:lnTo>
                  <a:lnTo>
                    <a:pt x="207" y="42"/>
                  </a:lnTo>
                  <a:lnTo>
                    <a:pt x="212" y="47"/>
                  </a:lnTo>
                  <a:lnTo>
                    <a:pt x="217" y="51"/>
                  </a:lnTo>
                  <a:lnTo>
                    <a:pt x="223" y="56"/>
                  </a:lnTo>
                  <a:lnTo>
                    <a:pt x="227" y="63"/>
                  </a:lnTo>
                  <a:lnTo>
                    <a:pt x="230" y="69"/>
                  </a:lnTo>
                  <a:lnTo>
                    <a:pt x="234" y="76"/>
                  </a:lnTo>
                  <a:lnTo>
                    <a:pt x="237" y="82"/>
                  </a:lnTo>
                  <a:lnTo>
                    <a:pt x="238" y="90"/>
                  </a:lnTo>
                  <a:lnTo>
                    <a:pt x="239" y="96"/>
                  </a:lnTo>
                  <a:lnTo>
                    <a:pt x="240" y="103"/>
                  </a:lnTo>
                  <a:lnTo>
                    <a:pt x="240" y="614"/>
                  </a:lnTo>
                  <a:lnTo>
                    <a:pt x="240" y="617"/>
                  </a:lnTo>
                  <a:lnTo>
                    <a:pt x="241" y="620"/>
                  </a:lnTo>
                  <a:lnTo>
                    <a:pt x="243" y="624"/>
                  </a:lnTo>
                  <a:lnTo>
                    <a:pt x="245" y="626"/>
                  </a:lnTo>
                  <a:lnTo>
                    <a:pt x="258" y="636"/>
                  </a:lnTo>
                  <a:lnTo>
                    <a:pt x="269" y="647"/>
                  </a:lnTo>
                  <a:lnTo>
                    <a:pt x="277" y="660"/>
                  </a:lnTo>
                  <a:lnTo>
                    <a:pt x="285" y="673"/>
                  </a:lnTo>
                  <a:lnTo>
                    <a:pt x="291" y="687"/>
                  </a:lnTo>
                  <a:lnTo>
                    <a:pt x="296" y="702"/>
                  </a:lnTo>
                  <a:lnTo>
                    <a:pt x="299" y="717"/>
                  </a:lnTo>
                  <a:lnTo>
                    <a:pt x="300" y="733"/>
                  </a:lnTo>
                  <a:lnTo>
                    <a:pt x="299" y="747"/>
                  </a:lnTo>
                  <a:lnTo>
                    <a:pt x="297" y="760"/>
                  </a:lnTo>
                  <a:lnTo>
                    <a:pt x="293" y="772"/>
                  </a:lnTo>
                  <a:lnTo>
                    <a:pt x="289" y="785"/>
                  </a:lnTo>
                  <a:lnTo>
                    <a:pt x="283" y="797"/>
                  </a:lnTo>
                  <a:lnTo>
                    <a:pt x="276" y="808"/>
                  </a:lnTo>
                  <a:lnTo>
                    <a:pt x="269" y="818"/>
                  </a:lnTo>
                  <a:lnTo>
                    <a:pt x="260" y="828"/>
                  </a:lnTo>
                  <a:lnTo>
                    <a:pt x="251" y="837"/>
                  </a:lnTo>
                  <a:lnTo>
                    <a:pt x="240" y="844"/>
                  </a:lnTo>
                  <a:lnTo>
                    <a:pt x="229" y="851"/>
                  </a:lnTo>
                  <a:lnTo>
                    <a:pt x="217" y="857"/>
                  </a:lnTo>
                  <a:lnTo>
                    <a:pt x="205" y="861"/>
                  </a:lnTo>
                  <a:lnTo>
                    <a:pt x="192" y="864"/>
                  </a:lnTo>
                  <a:lnTo>
                    <a:pt x="179" y="867"/>
                  </a:lnTo>
                  <a:lnTo>
                    <a:pt x="165" y="867"/>
                  </a:lnTo>
                  <a:close/>
                  <a:moveTo>
                    <a:pt x="270" y="607"/>
                  </a:moveTo>
                  <a:lnTo>
                    <a:pt x="270" y="103"/>
                  </a:lnTo>
                  <a:lnTo>
                    <a:pt x="269" y="94"/>
                  </a:lnTo>
                  <a:lnTo>
                    <a:pt x="268" y="83"/>
                  </a:lnTo>
                  <a:lnTo>
                    <a:pt x="265" y="73"/>
                  </a:lnTo>
                  <a:lnTo>
                    <a:pt x="261" y="64"/>
                  </a:lnTo>
                  <a:lnTo>
                    <a:pt x="257" y="54"/>
                  </a:lnTo>
                  <a:lnTo>
                    <a:pt x="252" y="46"/>
                  </a:lnTo>
                  <a:lnTo>
                    <a:pt x="245" y="38"/>
                  </a:lnTo>
                  <a:lnTo>
                    <a:pt x="239" y="31"/>
                  </a:lnTo>
                  <a:lnTo>
                    <a:pt x="231" y="23"/>
                  </a:lnTo>
                  <a:lnTo>
                    <a:pt x="223" y="18"/>
                  </a:lnTo>
                  <a:lnTo>
                    <a:pt x="214" y="12"/>
                  </a:lnTo>
                  <a:lnTo>
                    <a:pt x="206" y="7"/>
                  </a:lnTo>
                  <a:lnTo>
                    <a:pt x="196" y="4"/>
                  </a:lnTo>
                  <a:lnTo>
                    <a:pt x="185" y="2"/>
                  </a:lnTo>
                  <a:lnTo>
                    <a:pt x="176" y="0"/>
                  </a:lnTo>
                  <a:lnTo>
                    <a:pt x="165" y="0"/>
                  </a:lnTo>
                  <a:lnTo>
                    <a:pt x="154" y="0"/>
                  </a:lnTo>
                  <a:lnTo>
                    <a:pt x="144" y="2"/>
                  </a:lnTo>
                  <a:lnTo>
                    <a:pt x="134" y="4"/>
                  </a:lnTo>
                  <a:lnTo>
                    <a:pt x="124" y="7"/>
                  </a:lnTo>
                  <a:lnTo>
                    <a:pt x="115" y="12"/>
                  </a:lnTo>
                  <a:lnTo>
                    <a:pt x="106" y="18"/>
                  </a:lnTo>
                  <a:lnTo>
                    <a:pt x="99" y="23"/>
                  </a:lnTo>
                  <a:lnTo>
                    <a:pt x="91" y="31"/>
                  </a:lnTo>
                  <a:lnTo>
                    <a:pt x="84" y="38"/>
                  </a:lnTo>
                  <a:lnTo>
                    <a:pt x="78" y="46"/>
                  </a:lnTo>
                  <a:lnTo>
                    <a:pt x="73" y="54"/>
                  </a:lnTo>
                  <a:lnTo>
                    <a:pt x="69" y="64"/>
                  </a:lnTo>
                  <a:lnTo>
                    <a:pt x="64" y="73"/>
                  </a:lnTo>
                  <a:lnTo>
                    <a:pt x="62" y="83"/>
                  </a:lnTo>
                  <a:lnTo>
                    <a:pt x="60" y="94"/>
                  </a:lnTo>
                  <a:lnTo>
                    <a:pt x="60" y="103"/>
                  </a:lnTo>
                  <a:lnTo>
                    <a:pt x="60" y="607"/>
                  </a:lnTo>
                  <a:lnTo>
                    <a:pt x="46" y="619"/>
                  </a:lnTo>
                  <a:lnTo>
                    <a:pt x="34" y="632"/>
                  </a:lnTo>
                  <a:lnTo>
                    <a:pt x="25" y="647"/>
                  </a:lnTo>
                  <a:lnTo>
                    <a:pt x="16" y="663"/>
                  </a:lnTo>
                  <a:lnTo>
                    <a:pt x="9" y="679"/>
                  </a:lnTo>
                  <a:lnTo>
                    <a:pt x="4" y="696"/>
                  </a:lnTo>
                  <a:lnTo>
                    <a:pt x="1" y="715"/>
                  </a:lnTo>
                  <a:lnTo>
                    <a:pt x="0" y="733"/>
                  </a:lnTo>
                  <a:lnTo>
                    <a:pt x="1" y="749"/>
                  </a:lnTo>
                  <a:lnTo>
                    <a:pt x="3" y="766"/>
                  </a:lnTo>
                  <a:lnTo>
                    <a:pt x="8" y="781"/>
                  </a:lnTo>
                  <a:lnTo>
                    <a:pt x="13" y="797"/>
                  </a:lnTo>
                  <a:lnTo>
                    <a:pt x="20" y="811"/>
                  </a:lnTo>
                  <a:lnTo>
                    <a:pt x="28" y="825"/>
                  </a:lnTo>
                  <a:lnTo>
                    <a:pt x="38" y="838"/>
                  </a:lnTo>
                  <a:lnTo>
                    <a:pt x="48" y="849"/>
                  </a:lnTo>
                  <a:lnTo>
                    <a:pt x="60" y="859"/>
                  </a:lnTo>
                  <a:lnTo>
                    <a:pt x="73" y="869"/>
                  </a:lnTo>
                  <a:lnTo>
                    <a:pt x="86" y="877"/>
                  </a:lnTo>
                  <a:lnTo>
                    <a:pt x="101" y="884"/>
                  </a:lnTo>
                  <a:lnTo>
                    <a:pt x="116" y="890"/>
                  </a:lnTo>
                  <a:lnTo>
                    <a:pt x="132" y="893"/>
                  </a:lnTo>
                  <a:lnTo>
                    <a:pt x="148" y="897"/>
                  </a:lnTo>
                  <a:lnTo>
                    <a:pt x="165" y="897"/>
                  </a:lnTo>
                  <a:lnTo>
                    <a:pt x="181" y="897"/>
                  </a:lnTo>
                  <a:lnTo>
                    <a:pt x="198" y="893"/>
                  </a:lnTo>
                  <a:lnTo>
                    <a:pt x="213" y="890"/>
                  </a:lnTo>
                  <a:lnTo>
                    <a:pt x="229" y="884"/>
                  </a:lnTo>
                  <a:lnTo>
                    <a:pt x="243" y="877"/>
                  </a:lnTo>
                  <a:lnTo>
                    <a:pt x="257" y="869"/>
                  </a:lnTo>
                  <a:lnTo>
                    <a:pt x="269" y="859"/>
                  </a:lnTo>
                  <a:lnTo>
                    <a:pt x="281" y="849"/>
                  </a:lnTo>
                  <a:lnTo>
                    <a:pt x="291" y="838"/>
                  </a:lnTo>
                  <a:lnTo>
                    <a:pt x="301" y="825"/>
                  </a:lnTo>
                  <a:lnTo>
                    <a:pt x="310" y="811"/>
                  </a:lnTo>
                  <a:lnTo>
                    <a:pt x="316" y="797"/>
                  </a:lnTo>
                  <a:lnTo>
                    <a:pt x="322" y="782"/>
                  </a:lnTo>
                  <a:lnTo>
                    <a:pt x="326" y="766"/>
                  </a:lnTo>
                  <a:lnTo>
                    <a:pt x="329" y="749"/>
                  </a:lnTo>
                  <a:lnTo>
                    <a:pt x="330" y="733"/>
                  </a:lnTo>
                  <a:lnTo>
                    <a:pt x="329" y="715"/>
                  </a:lnTo>
                  <a:lnTo>
                    <a:pt x="326" y="696"/>
                  </a:lnTo>
                  <a:lnTo>
                    <a:pt x="320" y="679"/>
                  </a:lnTo>
                  <a:lnTo>
                    <a:pt x="314" y="663"/>
                  </a:lnTo>
                  <a:lnTo>
                    <a:pt x="305" y="647"/>
                  </a:lnTo>
                  <a:lnTo>
                    <a:pt x="295" y="632"/>
                  </a:lnTo>
                  <a:lnTo>
                    <a:pt x="283" y="619"/>
                  </a:lnTo>
                  <a:lnTo>
                    <a:pt x="270" y="6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65" name="Group 69">
            <a:extLst>
              <a:ext uri="{FF2B5EF4-FFF2-40B4-BE49-F238E27FC236}">
                <a16:creationId xmlns:a16="http://schemas.microsoft.com/office/drawing/2014/main" id="{216A93D6-A600-4B5E-9B25-401883F5E048}"/>
              </a:ext>
            </a:extLst>
          </p:cNvPr>
          <p:cNvGrpSpPr>
            <a:grpSpLocks noChangeAspect="1"/>
          </p:cNvGrpSpPr>
          <p:nvPr/>
        </p:nvGrpSpPr>
        <p:grpSpPr>
          <a:xfrm>
            <a:off x="8725625" y="5944848"/>
            <a:ext cx="277330" cy="308144"/>
            <a:chOff x="3786188" y="769938"/>
            <a:chExt cx="257175" cy="285750"/>
          </a:xfrm>
          <a:solidFill>
            <a:schemeClr val="bg1"/>
          </a:solidFill>
          <a:effectLst/>
        </p:grpSpPr>
        <p:sp>
          <p:nvSpPr>
            <p:cNvPr id="966" name="Freeform 39">
              <a:extLst>
                <a:ext uri="{FF2B5EF4-FFF2-40B4-BE49-F238E27FC236}">
                  <a16:creationId xmlns:a16="http://schemas.microsoft.com/office/drawing/2014/main" id="{72924BBD-C4BC-4024-A052-B77A42F1AF8A}"/>
                </a:ext>
              </a:extLst>
            </p:cNvPr>
            <p:cNvSpPr>
              <a:spLocks noEditPoints="1"/>
            </p:cNvSpPr>
            <p:nvPr/>
          </p:nvSpPr>
          <p:spPr bwMode="auto">
            <a:xfrm>
              <a:off x="3786188" y="769938"/>
              <a:ext cx="257175" cy="190500"/>
            </a:xfrm>
            <a:custGeom>
              <a:avLst/>
              <a:gdLst>
                <a:gd name="T0" fmla="*/ 175 w 809"/>
                <a:gd name="T1" fmla="*/ 565 h 598"/>
                <a:gd name="T2" fmla="*/ 112 w 809"/>
                <a:gd name="T3" fmla="*/ 537 h 598"/>
                <a:gd name="T4" fmla="*/ 62 w 809"/>
                <a:gd name="T5" fmla="*/ 488 h 598"/>
                <a:gd name="T6" fmla="*/ 35 w 809"/>
                <a:gd name="T7" fmla="*/ 423 h 598"/>
                <a:gd name="T8" fmla="*/ 33 w 809"/>
                <a:gd name="T9" fmla="*/ 356 h 598"/>
                <a:gd name="T10" fmla="*/ 59 w 809"/>
                <a:gd name="T11" fmla="*/ 295 h 598"/>
                <a:gd name="T12" fmla="*/ 104 w 809"/>
                <a:gd name="T13" fmla="*/ 247 h 598"/>
                <a:gd name="T14" fmla="*/ 163 w 809"/>
                <a:gd name="T15" fmla="*/ 216 h 598"/>
                <a:gd name="T16" fmla="*/ 206 w 809"/>
                <a:gd name="T17" fmla="*/ 205 h 598"/>
                <a:gd name="T18" fmla="*/ 212 w 809"/>
                <a:gd name="T19" fmla="*/ 177 h 598"/>
                <a:gd name="T20" fmla="*/ 234 w 809"/>
                <a:gd name="T21" fmla="*/ 127 h 598"/>
                <a:gd name="T22" fmla="*/ 283 w 809"/>
                <a:gd name="T23" fmla="*/ 74 h 598"/>
                <a:gd name="T24" fmla="*/ 348 w 809"/>
                <a:gd name="T25" fmla="*/ 41 h 598"/>
                <a:gd name="T26" fmla="*/ 420 w 809"/>
                <a:gd name="T27" fmla="*/ 29 h 598"/>
                <a:gd name="T28" fmla="*/ 479 w 809"/>
                <a:gd name="T29" fmla="*/ 41 h 598"/>
                <a:gd name="T30" fmla="*/ 531 w 809"/>
                <a:gd name="T31" fmla="*/ 73 h 598"/>
                <a:gd name="T32" fmla="*/ 572 w 809"/>
                <a:gd name="T33" fmla="*/ 118 h 598"/>
                <a:gd name="T34" fmla="*/ 600 w 809"/>
                <a:gd name="T35" fmla="*/ 170 h 598"/>
                <a:gd name="T36" fmla="*/ 616 w 809"/>
                <a:gd name="T37" fmla="*/ 179 h 598"/>
                <a:gd name="T38" fmla="*/ 675 w 809"/>
                <a:gd name="T39" fmla="*/ 186 h 598"/>
                <a:gd name="T40" fmla="*/ 709 w 809"/>
                <a:gd name="T41" fmla="*/ 208 h 598"/>
                <a:gd name="T42" fmla="*/ 725 w 809"/>
                <a:gd name="T43" fmla="*/ 235 h 598"/>
                <a:gd name="T44" fmla="*/ 726 w 809"/>
                <a:gd name="T45" fmla="*/ 272 h 598"/>
                <a:gd name="T46" fmla="*/ 720 w 809"/>
                <a:gd name="T47" fmla="*/ 303 h 598"/>
                <a:gd name="T48" fmla="*/ 737 w 809"/>
                <a:gd name="T49" fmla="*/ 322 h 598"/>
                <a:gd name="T50" fmla="*/ 765 w 809"/>
                <a:gd name="T51" fmla="*/ 361 h 598"/>
                <a:gd name="T52" fmla="*/ 779 w 809"/>
                <a:gd name="T53" fmla="*/ 433 h 598"/>
                <a:gd name="T54" fmla="*/ 768 w 809"/>
                <a:gd name="T55" fmla="*/ 485 h 598"/>
                <a:gd name="T56" fmla="*/ 739 w 809"/>
                <a:gd name="T57" fmla="*/ 528 h 598"/>
                <a:gd name="T58" fmla="*/ 696 w 809"/>
                <a:gd name="T59" fmla="*/ 557 h 598"/>
                <a:gd name="T60" fmla="*/ 643 w 809"/>
                <a:gd name="T61" fmla="*/ 568 h 598"/>
                <a:gd name="T62" fmla="*/ 758 w 809"/>
                <a:gd name="T63" fmla="*/ 257 h 598"/>
                <a:gd name="T64" fmla="*/ 748 w 809"/>
                <a:gd name="T65" fmla="*/ 211 h 598"/>
                <a:gd name="T66" fmla="*/ 726 w 809"/>
                <a:gd name="T67" fmla="*/ 183 h 598"/>
                <a:gd name="T68" fmla="*/ 700 w 809"/>
                <a:gd name="T69" fmla="*/ 164 h 598"/>
                <a:gd name="T70" fmla="*/ 643 w 809"/>
                <a:gd name="T71" fmla="*/ 149 h 598"/>
                <a:gd name="T72" fmla="*/ 601 w 809"/>
                <a:gd name="T73" fmla="*/ 108 h 598"/>
                <a:gd name="T74" fmla="*/ 558 w 809"/>
                <a:gd name="T75" fmla="*/ 57 h 598"/>
                <a:gd name="T76" fmla="*/ 503 w 809"/>
                <a:gd name="T77" fmla="*/ 20 h 598"/>
                <a:gd name="T78" fmla="*/ 437 w 809"/>
                <a:gd name="T79" fmla="*/ 1 h 598"/>
                <a:gd name="T80" fmla="*/ 349 w 809"/>
                <a:gd name="T81" fmla="*/ 8 h 598"/>
                <a:gd name="T82" fmla="*/ 272 w 809"/>
                <a:gd name="T83" fmla="*/ 44 h 598"/>
                <a:gd name="T84" fmla="*/ 217 w 809"/>
                <a:gd name="T85" fmla="*/ 99 h 598"/>
                <a:gd name="T86" fmla="*/ 186 w 809"/>
                <a:gd name="T87" fmla="*/ 163 h 598"/>
                <a:gd name="T88" fmla="*/ 128 w 809"/>
                <a:gd name="T89" fmla="*/ 198 h 598"/>
                <a:gd name="T90" fmla="*/ 67 w 809"/>
                <a:gd name="T91" fmla="*/ 240 h 598"/>
                <a:gd name="T92" fmla="*/ 23 w 809"/>
                <a:gd name="T93" fmla="*/ 300 h 598"/>
                <a:gd name="T94" fmla="*/ 1 w 809"/>
                <a:gd name="T95" fmla="*/ 370 h 598"/>
                <a:gd name="T96" fmla="*/ 4 w 809"/>
                <a:gd name="T97" fmla="*/ 419 h 598"/>
                <a:gd name="T98" fmla="*/ 27 w 809"/>
                <a:gd name="T99" fmla="*/ 487 h 598"/>
                <a:gd name="T100" fmla="*/ 78 w 809"/>
                <a:gd name="T101" fmla="*/ 549 h 598"/>
                <a:gd name="T102" fmla="*/ 149 w 809"/>
                <a:gd name="T103" fmla="*/ 588 h 598"/>
                <a:gd name="T104" fmla="*/ 199 w 809"/>
                <a:gd name="T105" fmla="*/ 598 h 598"/>
                <a:gd name="T106" fmla="*/ 676 w 809"/>
                <a:gd name="T107" fmla="*/ 595 h 598"/>
                <a:gd name="T108" fmla="*/ 736 w 809"/>
                <a:gd name="T109" fmla="*/ 570 h 598"/>
                <a:gd name="T110" fmla="*/ 781 w 809"/>
                <a:gd name="T111" fmla="*/ 525 h 598"/>
                <a:gd name="T112" fmla="*/ 805 w 809"/>
                <a:gd name="T113" fmla="*/ 466 h 598"/>
                <a:gd name="T114" fmla="*/ 805 w 809"/>
                <a:gd name="T115" fmla="*/ 398 h 598"/>
                <a:gd name="T116" fmla="*/ 788 w 809"/>
                <a:gd name="T117" fmla="*/ 342 h 598"/>
                <a:gd name="T118" fmla="*/ 766 w 809"/>
                <a:gd name="T119" fmla="*/ 30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9" h="598">
                  <a:moveTo>
                    <a:pt x="643" y="568"/>
                  </a:moveTo>
                  <a:lnTo>
                    <a:pt x="210" y="568"/>
                  </a:lnTo>
                  <a:lnTo>
                    <a:pt x="192" y="567"/>
                  </a:lnTo>
                  <a:lnTo>
                    <a:pt x="175" y="565"/>
                  </a:lnTo>
                  <a:lnTo>
                    <a:pt x="158" y="559"/>
                  </a:lnTo>
                  <a:lnTo>
                    <a:pt x="142" y="554"/>
                  </a:lnTo>
                  <a:lnTo>
                    <a:pt x="126" y="545"/>
                  </a:lnTo>
                  <a:lnTo>
                    <a:pt x="112" y="537"/>
                  </a:lnTo>
                  <a:lnTo>
                    <a:pt x="98" y="526"/>
                  </a:lnTo>
                  <a:lnTo>
                    <a:pt x="85" y="514"/>
                  </a:lnTo>
                  <a:lnTo>
                    <a:pt x="73" y="502"/>
                  </a:lnTo>
                  <a:lnTo>
                    <a:pt x="62" y="488"/>
                  </a:lnTo>
                  <a:lnTo>
                    <a:pt x="53" y="473"/>
                  </a:lnTo>
                  <a:lnTo>
                    <a:pt x="45" y="457"/>
                  </a:lnTo>
                  <a:lnTo>
                    <a:pt x="39" y="441"/>
                  </a:lnTo>
                  <a:lnTo>
                    <a:pt x="35" y="423"/>
                  </a:lnTo>
                  <a:lnTo>
                    <a:pt x="31" y="406"/>
                  </a:lnTo>
                  <a:lnTo>
                    <a:pt x="30" y="388"/>
                  </a:lnTo>
                  <a:lnTo>
                    <a:pt x="31" y="372"/>
                  </a:lnTo>
                  <a:lnTo>
                    <a:pt x="33" y="356"/>
                  </a:lnTo>
                  <a:lnTo>
                    <a:pt x="38" y="340"/>
                  </a:lnTo>
                  <a:lnTo>
                    <a:pt x="44" y="325"/>
                  </a:lnTo>
                  <a:lnTo>
                    <a:pt x="51" y="310"/>
                  </a:lnTo>
                  <a:lnTo>
                    <a:pt x="59" y="295"/>
                  </a:lnTo>
                  <a:lnTo>
                    <a:pt x="69" y="282"/>
                  </a:lnTo>
                  <a:lnTo>
                    <a:pt x="80" y="269"/>
                  </a:lnTo>
                  <a:lnTo>
                    <a:pt x="91" y="257"/>
                  </a:lnTo>
                  <a:lnTo>
                    <a:pt x="104" y="247"/>
                  </a:lnTo>
                  <a:lnTo>
                    <a:pt x="118" y="237"/>
                  </a:lnTo>
                  <a:lnTo>
                    <a:pt x="133" y="229"/>
                  </a:lnTo>
                  <a:lnTo>
                    <a:pt x="148" y="221"/>
                  </a:lnTo>
                  <a:lnTo>
                    <a:pt x="163" y="216"/>
                  </a:lnTo>
                  <a:lnTo>
                    <a:pt x="180" y="211"/>
                  </a:lnTo>
                  <a:lnTo>
                    <a:pt x="196" y="209"/>
                  </a:lnTo>
                  <a:lnTo>
                    <a:pt x="202" y="208"/>
                  </a:lnTo>
                  <a:lnTo>
                    <a:pt x="206" y="205"/>
                  </a:lnTo>
                  <a:lnTo>
                    <a:pt x="209" y="201"/>
                  </a:lnTo>
                  <a:lnTo>
                    <a:pt x="210" y="195"/>
                  </a:lnTo>
                  <a:lnTo>
                    <a:pt x="211" y="186"/>
                  </a:lnTo>
                  <a:lnTo>
                    <a:pt x="212" y="177"/>
                  </a:lnTo>
                  <a:lnTo>
                    <a:pt x="214" y="168"/>
                  </a:lnTo>
                  <a:lnTo>
                    <a:pt x="218" y="159"/>
                  </a:lnTo>
                  <a:lnTo>
                    <a:pt x="224" y="142"/>
                  </a:lnTo>
                  <a:lnTo>
                    <a:pt x="234" y="127"/>
                  </a:lnTo>
                  <a:lnTo>
                    <a:pt x="243" y="112"/>
                  </a:lnTo>
                  <a:lnTo>
                    <a:pt x="255" y="98"/>
                  </a:lnTo>
                  <a:lnTo>
                    <a:pt x="269" y="85"/>
                  </a:lnTo>
                  <a:lnTo>
                    <a:pt x="283" y="74"/>
                  </a:lnTo>
                  <a:lnTo>
                    <a:pt x="298" y="64"/>
                  </a:lnTo>
                  <a:lnTo>
                    <a:pt x="314" y="55"/>
                  </a:lnTo>
                  <a:lnTo>
                    <a:pt x="331" y="48"/>
                  </a:lnTo>
                  <a:lnTo>
                    <a:pt x="348" y="41"/>
                  </a:lnTo>
                  <a:lnTo>
                    <a:pt x="366" y="36"/>
                  </a:lnTo>
                  <a:lnTo>
                    <a:pt x="384" y="33"/>
                  </a:lnTo>
                  <a:lnTo>
                    <a:pt x="402" y="31"/>
                  </a:lnTo>
                  <a:lnTo>
                    <a:pt x="420" y="29"/>
                  </a:lnTo>
                  <a:lnTo>
                    <a:pt x="435" y="31"/>
                  </a:lnTo>
                  <a:lnTo>
                    <a:pt x="450" y="33"/>
                  </a:lnTo>
                  <a:lnTo>
                    <a:pt x="465" y="36"/>
                  </a:lnTo>
                  <a:lnTo>
                    <a:pt x="479" y="41"/>
                  </a:lnTo>
                  <a:lnTo>
                    <a:pt x="493" y="48"/>
                  </a:lnTo>
                  <a:lnTo>
                    <a:pt x="507" y="55"/>
                  </a:lnTo>
                  <a:lnTo>
                    <a:pt x="518" y="64"/>
                  </a:lnTo>
                  <a:lnTo>
                    <a:pt x="531" y="73"/>
                  </a:lnTo>
                  <a:lnTo>
                    <a:pt x="542" y="84"/>
                  </a:lnTo>
                  <a:lnTo>
                    <a:pt x="553" y="95"/>
                  </a:lnTo>
                  <a:lnTo>
                    <a:pt x="563" y="107"/>
                  </a:lnTo>
                  <a:lnTo>
                    <a:pt x="572" y="118"/>
                  </a:lnTo>
                  <a:lnTo>
                    <a:pt x="581" y="131"/>
                  </a:lnTo>
                  <a:lnTo>
                    <a:pt x="588" y="144"/>
                  </a:lnTo>
                  <a:lnTo>
                    <a:pt x="594" y="157"/>
                  </a:lnTo>
                  <a:lnTo>
                    <a:pt x="600" y="170"/>
                  </a:lnTo>
                  <a:lnTo>
                    <a:pt x="603" y="174"/>
                  </a:lnTo>
                  <a:lnTo>
                    <a:pt x="606" y="177"/>
                  </a:lnTo>
                  <a:lnTo>
                    <a:pt x="611" y="179"/>
                  </a:lnTo>
                  <a:lnTo>
                    <a:pt x="616" y="179"/>
                  </a:lnTo>
                  <a:lnTo>
                    <a:pt x="632" y="178"/>
                  </a:lnTo>
                  <a:lnTo>
                    <a:pt x="647" y="179"/>
                  </a:lnTo>
                  <a:lnTo>
                    <a:pt x="662" y="181"/>
                  </a:lnTo>
                  <a:lnTo>
                    <a:pt x="675" y="186"/>
                  </a:lnTo>
                  <a:lnTo>
                    <a:pt x="688" y="192"/>
                  </a:lnTo>
                  <a:lnTo>
                    <a:pt x="699" y="200"/>
                  </a:lnTo>
                  <a:lnTo>
                    <a:pt x="704" y="203"/>
                  </a:lnTo>
                  <a:lnTo>
                    <a:pt x="709" y="208"/>
                  </a:lnTo>
                  <a:lnTo>
                    <a:pt x="713" y="213"/>
                  </a:lnTo>
                  <a:lnTo>
                    <a:pt x="717" y="218"/>
                  </a:lnTo>
                  <a:lnTo>
                    <a:pt x="722" y="226"/>
                  </a:lnTo>
                  <a:lnTo>
                    <a:pt x="725" y="235"/>
                  </a:lnTo>
                  <a:lnTo>
                    <a:pt x="727" y="244"/>
                  </a:lnTo>
                  <a:lnTo>
                    <a:pt x="728" y="253"/>
                  </a:lnTo>
                  <a:lnTo>
                    <a:pt x="728" y="263"/>
                  </a:lnTo>
                  <a:lnTo>
                    <a:pt x="726" y="272"/>
                  </a:lnTo>
                  <a:lnTo>
                    <a:pt x="724" y="282"/>
                  </a:lnTo>
                  <a:lnTo>
                    <a:pt x="720" y="293"/>
                  </a:lnTo>
                  <a:lnTo>
                    <a:pt x="719" y="298"/>
                  </a:lnTo>
                  <a:lnTo>
                    <a:pt x="720" y="303"/>
                  </a:lnTo>
                  <a:lnTo>
                    <a:pt x="722" y="308"/>
                  </a:lnTo>
                  <a:lnTo>
                    <a:pt x="725" y="312"/>
                  </a:lnTo>
                  <a:lnTo>
                    <a:pt x="732" y="316"/>
                  </a:lnTo>
                  <a:lnTo>
                    <a:pt x="737" y="322"/>
                  </a:lnTo>
                  <a:lnTo>
                    <a:pt x="742" y="327"/>
                  </a:lnTo>
                  <a:lnTo>
                    <a:pt x="748" y="332"/>
                  </a:lnTo>
                  <a:lnTo>
                    <a:pt x="756" y="346"/>
                  </a:lnTo>
                  <a:lnTo>
                    <a:pt x="765" y="361"/>
                  </a:lnTo>
                  <a:lnTo>
                    <a:pt x="770" y="377"/>
                  </a:lnTo>
                  <a:lnTo>
                    <a:pt x="775" y="396"/>
                  </a:lnTo>
                  <a:lnTo>
                    <a:pt x="778" y="414"/>
                  </a:lnTo>
                  <a:lnTo>
                    <a:pt x="779" y="433"/>
                  </a:lnTo>
                  <a:lnTo>
                    <a:pt x="779" y="447"/>
                  </a:lnTo>
                  <a:lnTo>
                    <a:pt x="776" y="461"/>
                  </a:lnTo>
                  <a:lnTo>
                    <a:pt x="772" y="474"/>
                  </a:lnTo>
                  <a:lnTo>
                    <a:pt x="768" y="485"/>
                  </a:lnTo>
                  <a:lnTo>
                    <a:pt x="763" y="498"/>
                  </a:lnTo>
                  <a:lnTo>
                    <a:pt x="755" y="509"/>
                  </a:lnTo>
                  <a:lnTo>
                    <a:pt x="748" y="520"/>
                  </a:lnTo>
                  <a:lnTo>
                    <a:pt x="739" y="528"/>
                  </a:lnTo>
                  <a:lnTo>
                    <a:pt x="729" y="538"/>
                  </a:lnTo>
                  <a:lnTo>
                    <a:pt x="719" y="545"/>
                  </a:lnTo>
                  <a:lnTo>
                    <a:pt x="708" y="552"/>
                  </a:lnTo>
                  <a:lnTo>
                    <a:pt x="696" y="557"/>
                  </a:lnTo>
                  <a:lnTo>
                    <a:pt x="683" y="563"/>
                  </a:lnTo>
                  <a:lnTo>
                    <a:pt x="671" y="566"/>
                  </a:lnTo>
                  <a:lnTo>
                    <a:pt x="657" y="568"/>
                  </a:lnTo>
                  <a:lnTo>
                    <a:pt x="643" y="568"/>
                  </a:lnTo>
                  <a:close/>
                  <a:moveTo>
                    <a:pt x="752" y="294"/>
                  </a:moveTo>
                  <a:lnTo>
                    <a:pt x="755" y="282"/>
                  </a:lnTo>
                  <a:lnTo>
                    <a:pt x="757" y="269"/>
                  </a:lnTo>
                  <a:lnTo>
                    <a:pt x="758" y="257"/>
                  </a:lnTo>
                  <a:lnTo>
                    <a:pt x="757" y="246"/>
                  </a:lnTo>
                  <a:lnTo>
                    <a:pt x="756" y="234"/>
                  </a:lnTo>
                  <a:lnTo>
                    <a:pt x="752" y="222"/>
                  </a:lnTo>
                  <a:lnTo>
                    <a:pt x="748" y="211"/>
                  </a:lnTo>
                  <a:lnTo>
                    <a:pt x="742" y="202"/>
                  </a:lnTo>
                  <a:lnTo>
                    <a:pt x="737" y="195"/>
                  </a:lnTo>
                  <a:lnTo>
                    <a:pt x="732" y="189"/>
                  </a:lnTo>
                  <a:lnTo>
                    <a:pt x="726" y="183"/>
                  </a:lnTo>
                  <a:lnTo>
                    <a:pt x="721" y="177"/>
                  </a:lnTo>
                  <a:lnTo>
                    <a:pt x="714" y="173"/>
                  </a:lnTo>
                  <a:lnTo>
                    <a:pt x="707" y="169"/>
                  </a:lnTo>
                  <a:lnTo>
                    <a:pt x="700" y="164"/>
                  </a:lnTo>
                  <a:lnTo>
                    <a:pt x="693" y="161"/>
                  </a:lnTo>
                  <a:lnTo>
                    <a:pt x="677" y="155"/>
                  </a:lnTo>
                  <a:lnTo>
                    <a:pt x="660" y="150"/>
                  </a:lnTo>
                  <a:lnTo>
                    <a:pt x="643" y="149"/>
                  </a:lnTo>
                  <a:lnTo>
                    <a:pt x="623" y="149"/>
                  </a:lnTo>
                  <a:lnTo>
                    <a:pt x="617" y="135"/>
                  </a:lnTo>
                  <a:lnTo>
                    <a:pt x="609" y="122"/>
                  </a:lnTo>
                  <a:lnTo>
                    <a:pt x="601" y="108"/>
                  </a:lnTo>
                  <a:lnTo>
                    <a:pt x="592" y="95"/>
                  </a:lnTo>
                  <a:lnTo>
                    <a:pt x="582" y="82"/>
                  </a:lnTo>
                  <a:lnTo>
                    <a:pt x="571" y="69"/>
                  </a:lnTo>
                  <a:lnTo>
                    <a:pt x="558" y="57"/>
                  </a:lnTo>
                  <a:lnTo>
                    <a:pt x="545" y="47"/>
                  </a:lnTo>
                  <a:lnTo>
                    <a:pt x="532" y="37"/>
                  </a:lnTo>
                  <a:lnTo>
                    <a:pt x="518" y="27"/>
                  </a:lnTo>
                  <a:lnTo>
                    <a:pt x="503" y="20"/>
                  </a:lnTo>
                  <a:lnTo>
                    <a:pt x="487" y="12"/>
                  </a:lnTo>
                  <a:lnTo>
                    <a:pt x="471" y="7"/>
                  </a:lnTo>
                  <a:lnTo>
                    <a:pt x="454" y="3"/>
                  </a:lnTo>
                  <a:lnTo>
                    <a:pt x="437" y="1"/>
                  </a:lnTo>
                  <a:lnTo>
                    <a:pt x="420" y="0"/>
                  </a:lnTo>
                  <a:lnTo>
                    <a:pt x="395" y="1"/>
                  </a:lnTo>
                  <a:lnTo>
                    <a:pt x="372" y="4"/>
                  </a:lnTo>
                  <a:lnTo>
                    <a:pt x="349" y="8"/>
                  </a:lnTo>
                  <a:lnTo>
                    <a:pt x="328" y="16"/>
                  </a:lnTo>
                  <a:lnTo>
                    <a:pt x="309" y="23"/>
                  </a:lnTo>
                  <a:lnTo>
                    <a:pt x="289" y="33"/>
                  </a:lnTo>
                  <a:lnTo>
                    <a:pt x="272" y="44"/>
                  </a:lnTo>
                  <a:lnTo>
                    <a:pt x="256" y="56"/>
                  </a:lnTo>
                  <a:lnTo>
                    <a:pt x="241" y="69"/>
                  </a:lnTo>
                  <a:lnTo>
                    <a:pt x="228" y="84"/>
                  </a:lnTo>
                  <a:lnTo>
                    <a:pt x="217" y="99"/>
                  </a:lnTo>
                  <a:lnTo>
                    <a:pt x="206" y="114"/>
                  </a:lnTo>
                  <a:lnTo>
                    <a:pt x="197" y="130"/>
                  </a:lnTo>
                  <a:lnTo>
                    <a:pt x="191" y="147"/>
                  </a:lnTo>
                  <a:lnTo>
                    <a:pt x="186" y="163"/>
                  </a:lnTo>
                  <a:lnTo>
                    <a:pt x="181" y="180"/>
                  </a:lnTo>
                  <a:lnTo>
                    <a:pt x="163" y="185"/>
                  </a:lnTo>
                  <a:lnTo>
                    <a:pt x="145" y="190"/>
                  </a:lnTo>
                  <a:lnTo>
                    <a:pt x="128" y="198"/>
                  </a:lnTo>
                  <a:lnTo>
                    <a:pt x="112" y="206"/>
                  </a:lnTo>
                  <a:lnTo>
                    <a:pt x="96" y="216"/>
                  </a:lnTo>
                  <a:lnTo>
                    <a:pt x="81" y="227"/>
                  </a:lnTo>
                  <a:lnTo>
                    <a:pt x="67" y="240"/>
                  </a:lnTo>
                  <a:lnTo>
                    <a:pt x="54" y="253"/>
                  </a:lnTo>
                  <a:lnTo>
                    <a:pt x="42" y="268"/>
                  </a:lnTo>
                  <a:lnTo>
                    <a:pt x="31" y="283"/>
                  </a:lnTo>
                  <a:lnTo>
                    <a:pt x="23" y="300"/>
                  </a:lnTo>
                  <a:lnTo>
                    <a:pt x="15" y="316"/>
                  </a:lnTo>
                  <a:lnTo>
                    <a:pt x="9" y="335"/>
                  </a:lnTo>
                  <a:lnTo>
                    <a:pt x="5" y="352"/>
                  </a:lnTo>
                  <a:lnTo>
                    <a:pt x="1" y="370"/>
                  </a:lnTo>
                  <a:lnTo>
                    <a:pt x="0" y="388"/>
                  </a:lnTo>
                  <a:lnTo>
                    <a:pt x="0" y="399"/>
                  </a:lnTo>
                  <a:lnTo>
                    <a:pt x="1" y="409"/>
                  </a:lnTo>
                  <a:lnTo>
                    <a:pt x="4" y="419"/>
                  </a:lnTo>
                  <a:lnTo>
                    <a:pt x="5" y="430"/>
                  </a:lnTo>
                  <a:lnTo>
                    <a:pt x="10" y="449"/>
                  </a:lnTo>
                  <a:lnTo>
                    <a:pt x="17" y="468"/>
                  </a:lnTo>
                  <a:lnTo>
                    <a:pt x="27" y="487"/>
                  </a:lnTo>
                  <a:lnTo>
                    <a:pt x="38" y="504"/>
                  </a:lnTo>
                  <a:lnTo>
                    <a:pt x="50" y="521"/>
                  </a:lnTo>
                  <a:lnTo>
                    <a:pt x="63" y="536"/>
                  </a:lnTo>
                  <a:lnTo>
                    <a:pt x="78" y="549"/>
                  </a:lnTo>
                  <a:lnTo>
                    <a:pt x="95" y="561"/>
                  </a:lnTo>
                  <a:lnTo>
                    <a:pt x="112" y="572"/>
                  </a:lnTo>
                  <a:lnTo>
                    <a:pt x="130" y="581"/>
                  </a:lnTo>
                  <a:lnTo>
                    <a:pt x="149" y="588"/>
                  </a:lnTo>
                  <a:lnTo>
                    <a:pt x="169" y="594"/>
                  </a:lnTo>
                  <a:lnTo>
                    <a:pt x="179" y="596"/>
                  </a:lnTo>
                  <a:lnTo>
                    <a:pt x="190" y="597"/>
                  </a:lnTo>
                  <a:lnTo>
                    <a:pt x="199" y="598"/>
                  </a:lnTo>
                  <a:lnTo>
                    <a:pt x="210" y="598"/>
                  </a:lnTo>
                  <a:lnTo>
                    <a:pt x="643" y="598"/>
                  </a:lnTo>
                  <a:lnTo>
                    <a:pt x="660" y="597"/>
                  </a:lnTo>
                  <a:lnTo>
                    <a:pt x="676" y="595"/>
                  </a:lnTo>
                  <a:lnTo>
                    <a:pt x="692" y="590"/>
                  </a:lnTo>
                  <a:lnTo>
                    <a:pt x="707" y="585"/>
                  </a:lnTo>
                  <a:lnTo>
                    <a:pt x="722" y="579"/>
                  </a:lnTo>
                  <a:lnTo>
                    <a:pt x="736" y="570"/>
                  </a:lnTo>
                  <a:lnTo>
                    <a:pt x="749" y="560"/>
                  </a:lnTo>
                  <a:lnTo>
                    <a:pt x="760" y="550"/>
                  </a:lnTo>
                  <a:lnTo>
                    <a:pt x="771" y="538"/>
                  </a:lnTo>
                  <a:lnTo>
                    <a:pt x="781" y="525"/>
                  </a:lnTo>
                  <a:lnTo>
                    <a:pt x="788" y="512"/>
                  </a:lnTo>
                  <a:lnTo>
                    <a:pt x="796" y="497"/>
                  </a:lnTo>
                  <a:lnTo>
                    <a:pt x="801" y="482"/>
                  </a:lnTo>
                  <a:lnTo>
                    <a:pt x="805" y="466"/>
                  </a:lnTo>
                  <a:lnTo>
                    <a:pt x="808" y="450"/>
                  </a:lnTo>
                  <a:lnTo>
                    <a:pt x="809" y="433"/>
                  </a:lnTo>
                  <a:lnTo>
                    <a:pt x="808" y="416"/>
                  </a:lnTo>
                  <a:lnTo>
                    <a:pt x="805" y="398"/>
                  </a:lnTo>
                  <a:lnTo>
                    <a:pt x="802" y="378"/>
                  </a:lnTo>
                  <a:lnTo>
                    <a:pt x="796" y="360"/>
                  </a:lnTo>
                  <a:lnTo>
                    <a:pt x="793" y="351"/>
                  </a:lnTo>
                  <a:lnTo>
                    <a:pt x="788" y="342"/>
                  </a:lnTo>
                  <a:lnTo>
                    <a:pt x="784" y="332"/>
                  </a:lnTo>
                  <a:lnTo>
                    <a:pt x="779" y="324"/>
                  </a:lnTo>
                  <a:lnTo>
                    <a:pt x="772" y="316"/>
                  </a:lnTo>
                  <a:lnTo>
                    <a:pt x="766" y="308"/>
                  </a:lnTo>
                  <a:lnTo>
                    <a:pt x="759" y="301"/>
                  </a:lnTo>
                  <a:lnTo>
                    <a:pt x="7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7" name="Freeform 40">
              <a:extLst>
                <a:ext uri="{FF2B5EF4-FFF2-40B4-BE49-F238E27FC236}">
                  <a16:creationId xmlns:a16="http://schemas.microsoft.com/office/drawing/2014/main" id="{54C92A3F-131D-4870-B77F-5A16C64C10B7}"/>
                </a:ext>
              </a:extLst>
            </p:cNvPr>
            <p:cNvSpPr>
              <a:spLocks/>
            </p:cNvSpPr>
            <p:nvPr/>
          </p:nvSpPr>
          <p:spPr bwMode="auto">
            <a:xfrm>
              <a:off x="3829050" y="984250"/>
              <a:ext cx="47625" cy="71438"/>
            </a:xfrm>
            <a:custGeom>
              <a:avLst/>
              <a:gdLst>
                <a:gd name="T0" fmla="*/ 135 w 150"/>
                <a:gd name="T1" fmla="*/ 75 h 225"/>
                <a:gd name="T2" fmla="*/ 65 w 150"/>
                <a:gd name="T3" fmla="*/ 75 h 225"/>
                <a:gd name="T4" fmla="*/ 116 w 150"/>
                <a:gd name="T5" fmla="*/ 25 h 225"/>
                <a:gd name="T6" fmla="*/ 117 w 150"/>
                <a:gd name="T7" fmla="*/ 23 h 225"/>
                <a:gd name="T8" fmla="*/ 119 w 150"/>
                <a:gd name="T9" fmla="*/ 21 h 225"/>
                <a:gd name="T10" fmla="*/ 119 w 150"/>
                <a:gd name="T11" fmla="*/ 18 h 225"/>
                <a:gd name="T12" fmla="*/ 120 w 150"/>
                <a:gd name="T13" fmla="*/ 16 h 225"/>
                <a:gd name="T14" fmla="*/ 119 w 150"/>
                <a:gd name="T15" fmla="*/ 13 h 225"/>
                <a:gd name="T16" fmla="*/ 119 w 150"/>
                <a:gd name="T17" fmla="*/ 9 h 225"/>
                <a:gd name="T18" fmla="*/ 117 w 150"/>
                <a:gd name="T19" fmla="*/ 7 h 225"/>
                <a:gd name="T20" fmla="*/ 116 w 150"/>
                <a:gd name="T21" fmla="*/ 4 h 225"/>
                <a:gd name="T22" fmla="*/ 113 w 150"/>
                <a:gd name="T23" fmla="*/ 2 h 225"/>
                <a:gd name="T24" fmla="*/ 110 w 150"/>
                <a:gd name="T25" fmla="*/ 1 h 225"/>
                <a:gd name="T26" fmla="*/ 107 w 150"/>
                <a:gd name="T27" fmla="*/ 0 h 225"/>
                <a:gd name="T28" fmla="*/ 105 w 150"/>
                <a:gd name="T29" fmla="*/ 0 h 225"/>
                <a:gd name="T30" fmla="*/ 102 w 150"/>
                <a:gd name="T31" fmla="*/ 0 h 225"/>
                <a:gd name="T32" fmla="*/ 99 w 150"/>
                <a:gd name="T33" fmla="*/ 1 h 225"/>
                <a:gd name="T34" fmla="*/ 96 w 150"/>
                <a:gd name="T35" fmla="*/ 2 h 225"/>
                <a:gd name="T36" fmla="*/ 94 w 150"/>
                <a:gd name="T37" fmla="*/ 4 h 225"/>
                <a:gd name="T38" fmla="*/ 19 w 150"/>
                <a:gd name="T39" fmla="*/ 79 h 225"/>
                <a:gd name="T40" fmla="*/ 16 w 150"/>
                <a:gd name="T41" fmla="*/ 83 h 225"/>
                <a:gd name="T42" fmla="*/ 15 w 150"/>
                <a:gd name="T43" fmla="*/ 86 h 225"/>
                <a:gd name="T44" fmla="*/ 15 w 150"/>
                <a:gd name="T45" fmla="*/ 91 h 225"/>
                <a:gd name="T46" fmla="*/ 16 w 150"/>
                <a:gd name="T47" fmla="*/ 96 h 225"/>
                <a:gd name="T48" fmla="*/ 18 w 150"/>
                <a:gd name="T49" fmla="*/ 99 h 225"/>
                <a:gd name="T50" fmla="*/ 22 w 150"/>
                <a:gd name="T51" fmla="*/ 103 h 225"/>
                <a:gd name="T52" fmla="*/ 26 w 150"/>
                <a:gd name="T53" fmla="*/ 104 h 225"/>
                <a:gd name="T54" fmla="*/ 30 w 150"/>
                <a:gd name="T55" fmla="*/ 105 h 225"/>
                <a:gd name="T56" fmla="*/ 99 w 150"/>
                <a:gd name="T57" fmla="*/ 105 h 225"/>
                <a:gd name="T58" fmla="*/ 4 w 150"/>
                <a:gd name="T59" fmla="*/ 199 h 225"/>
                <a:gd name="T60" fmla="*/ 2 w 150"/>
                <a:gd name="T61" fmla="*/ 201 h 225"/>
                <a:gd name="T62" fmla="*/ 1 w 150"/>
                <a:gd name="T63" fmla="*/ 204 h 225"/>
                <a:gd name="T64" fmla="*/ 0 w 150"/>
                <a:gd name="T65" fmla="*/ 207 h 225"/>
                <a:gd name="T66" fmla="*/ 0 w 150"/>
                <a:gd name="T67" fmla="*/ 210 h 225"/>
                <a:gd name="T68" fmla="*/ 0 w 150"/>
                <a:gd name="T69" fmla="*/ 213 h 225"/>
                <a:gd name="T70" fmla="*/ 1 w 150"/>
                <a:gd name="T71" fmla="*/ 216 h 225"/>
                <a:gd name="T72" fmla="*/ 2 w 150"/>
                <a:gd name="T73" fmla="*/ 218 h 225"/>
                <a:gd name="T74" fmla="*/ 4 w 150"/>
                <a:gd name="T75" fmla="*/ 220 h 225"/>
                <a:gd name="T76" fmla="*/ 7 w 150"/>
                <a:gd name="T77" fmla="*/ 221 h 225"/>
                <a:gd name="T78" fmla="*/ 9 w 150"/>
                <a:gd name="T79" fmla="*/ 223 h 225"/>
                <a:gd name="T80" fmla="*/ 12 w 150"/>
                <a:gd name="T81" fmla="*/ 223 h 225"/>
                <a:gd name="T82" fmla="*/ 15 w 150"/>
                <a:gd name="T83" fmla="*/ 225 h 225"/>
                <a:gd name="T84" fmla="*/ 17 w 150"/>
                <a:gd name="T85" fmla="*/ 223 h 225"/>
                <a:gd name="T86" fmla="*/ 20 w 150"/>
                <a:gd name="T87" fmla="*/ 223 h 225"/>
                <a:gd name="T88" fmla="*/ 23 w 150"/>
                <a:gd name="T89" fmla="*/ 221 h 225"/>
                <a:gd name="T90" fmla="*/ 26 w 150"/>
                <a:gd name="T91" fmla="*/ 220 h 225"/>
                <a:gd name="T92" fmla="*/ 146 w 150"/>
                <a:gd name="T93" fmla="*/ 100 h 225"/>
                <a:gd name="T94" fmla="*/ 148 w 150"/>
                <a:gd name="T95" fmla="*/ 97 h 225"/>
                <a:gd name="T96" fmla="*/ 149 w 150"/>
                <a:gd name="T97" fmla="*/ 93 h 225"/>
                <a:gd name="T98" fmla="*/ 150 w 150"/>
                <a:gd name="T99" fmla="*/ 89 h 225"/>
                <a:gd name="T100" fmla="*/ 148 w 150"/>
                <a:gd name="T101" fmla="*/ 85 h 225"/>
                <a:gd name="T102" fmla="*/ 146 w 150"/>
                <a:gd name="T103" fmla="*/ 81 h 225"/>
                <a:gd name="T104" fmla="*/ 143 w 150"/>
                <a:gd name="T105" fmla="*/ 78 h 225"/>
                <a:gd name="T106" fmla="*/ 139 w 150"/>
                <a:gd name="T107" fmla="*/ 76 h 225"/>
                <a:gd name="T108" fmla="*/ 135 w 150"/>
                <a:gd name="T109" fmla="*/ 7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225">
                  <a:moveTo>
                    <a:pt x="135" y="75"/>
                  </a:moveTo>
                  <a:lnTo>
                    <a:pt x="65" y="75"/>
                  </a:lnTo>
                  <a:lnTo>
                    <a:pt x="116" y="25"/>
                  </a:lnTo>
                  <a:lnTo>
                    <a:pt x="117" y="23"/>
                  </a:lnTo>
                  <a:lnTo>
                    <a:pt x="119" y="21"/>
                  </a:lnTo>
                  <a:lnTo>
                    <a:pt x="119" y="18"/>
                  </a:lnTo>
                  <a:lnTo>
                    <a:pt x="120" y="16"/>
                  </a:lnTo>
                  <a:lnTo>
                    <a:pt x="119" y="13"/>
                  </a:lnTo>
                  <a:lnTo>
                    <a:pt x="119" y="9"/>
                  </a:lnTo>
                  <a:lnTo>
                    <a:pt x="117" y="7"/>
                  </a:lnTo>
                  <a:lnTo>
                    <a:pt x="116" y="4"/>
                  </a:lnTo>
                  <a:lnTo>
                    <a:pt x="113" y="2"/>
                  </a:lnTo>
                  <a:lnTo>
                    <a:pt x="110" y="1"/>
                  </a:lnTo>
                  <a:lnTo>
                    <a:pt x="107" y="0"/>
                  </a:lnTo>
                  <a:lnTo>
                    <a:pt x="105" y="0"/>
                  </a:lnTo>
                  <a:lnTo>
                    <a:pt x="102" y="0"/>
                  </a:lnTo>
                  <a:lnTo>
                    <a:pt x="99" y="1"/>
                  </a:lnTo>
                  <a:lnTo>
                    <a:pt x="96" y="2"/>
                  </a:lnTo>
                  <a:lnTo>
                    <a:pt x="94" y="4"/>
                  </a:lnTo>
                  <a:lnTo>
                    <a:pt x="19" y="79"/>
                  </a:lnTo>
                  <a:lnTo>
                    <a:pt x="16" y="83"/>
                  </a:lnTo>
                  <a:lnTo>
                    <a:pt x="15" y="86"/>
                  </a:lnTo>
                  <a:lnTo>
                    <a:pt x="15" y="91"/>
                  </a:lnTo>
                  <a:lnTo>
                    <a:pt x="16" y="96"/>
                  </a:lnTo>
                  <a:lnTo>
                    <a:pt x="18" y="99"/>
                  </a:lnTo>
                  <a:lnTo>
                    <a:pt x="22" y="103"/>
                  </a:lnTo>
                  <a:lnTo>
                    <a:pt x="26" y="104"/>
                  </a:lnTo>
                  <a:lnTo>
                    <a:pt x="30" y="105"/>
                  </a:lnTo>
                  <a:lnTo>
                    <a:pt x="99" y="105"/>
                  </a:lnTo>
                  <a:lnTo>
                    <a:pt x="4" y="199"/>
                  </a:lnTo>
                  <a:lnTo>
                    <a:pt x="2" y="201"/>
                  </a:lnTo>
                  <a:lnTo>
                    <a:pt x="1" y="204"/>
                  </a:lnTo>
                  <a:lnTo>
                    <a:pt x="0" y="207"/>
                  </a:lnTo>
                  <a:lnTo>
                    <a:pt x="0" y="210"/>
                  </a:lnTo>
                  <a:lnTo>
                    <a:pt x="0" y="213"/>
                  </a:lnTo>
                  <a:lnTo>
                    <a:pt x="1" y="216"/>
                  </a:lnTo>
                  <a:lnTo>
                    <a:pt x="2" y="218"/>
                  </a:lnTo>
                  <a:lnTo>
                    <a:pt x="4" y="220"/>
                  </a:lnTo>
                  <a:lnTo>
                    <a:pt x="7" y="221"/>
                  </a:lnTo>
                  <a:lnTo>
                    <a:pt x="9" y="223"/>
                  </a:lnTo>
                  <a:lnTo>
                    <a:pt x="12" y="223"/>
                  </a:lnTo>
                  <a:lnTo>
                    <a:pt x="15" y="225"/>
                  </a:lnTo>
                  <a:lnTo>
                    <a:pt x="17" y="223"/>
                  </a:lnTo>
                  <a:lnTo>
                    <a:pt x="20" y="223"/>
                  </a:lnTo>
                  <a:lnTo>
                    <a:pt x="23" y="221"/>
                  </a:lnTo>
                  <a:lnTo>
                    <a:pt x="26" y="220"/>
                  </a:lnTo>
                  <a:lnTo>
                    <a:pt x="146" y="100"/>
                  </a:lnTo>
                  <a:lnTo>
                    <a:pt x="148" y="97"/>
                  </a:lnTo>
                  <a:lnTo>
                    <a:pt x="149" y="93"/>
                  </a:lnTo>
                  <a:lnTo>
                    <a:pt x="150" y="89"/>
                  </a:lnTo>
                  <a:lnTo>
                    <a:pt x="148" y="85"/>
                  </a:lnTo>
                  <a:lnTo>
                    <a:pt x="146" y="81"/>
                  </a:lnTo>
                  <a:lnTo>
                    <a:pt x="143" y="78"/>
                  </a:lnTo>
                  <a:lnTo>
                    <a:pt x="139" y="76"/>
                  </a:lnTo>
                  <a:lnTo>
                    <a:pt x="13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8" name="Freeform 41">
              <a:extLst>
                <a:ext uri="{FF2B5EF4-FFF2-40B4-BE49-F238E27FC236}">
                  <a16:creationId xmlns:a16="http://schemas.microsoft.com/office/drawing/2014/main" id="{469BDFAD-1DE1-4861-A9F7-DC1CF5D27FC3}"/>
                </a:ext>
              </a:extLst>
            </p:cNvPr>
            <p:cNvSpPr>
              <a:spLocks/>
            </p:cNvSpPr>
            <p:nvPr/>
          </p:nvSpPr>
          <p:spPr bwMode="auto">
            <a:xfrm>
              <a:off x="3890963" y="989013"/>
              <a:ext cx="46038" cy="66675"/>
            </a:xfrm>
            <a:custGeom>
              <a:avLst/>
              <a:gdLst>
                <a:gd name="T0" fmla="*/ 134 w 149"/>
                <a:gd name="T1" fmla="*/ 60 h 210"/>
                <a:gd name="T2" fmla="*/ 80 w 149"/>
                <a:gd name="T3" fmla="*/ 60 h 210"/>
                <a:gd name="T4" fmla="*/ 115 w 149"/>
                <a:gd name="T5" fmla="*/ 25 h 210"/>
                <a:gd name="T6" fmla="*/ 117 w 149"/>
                <a:gd name="T7" fmla="*/ 23 h 210"/>
                <a:gd name="T8" fmla="*/ 118 w 149"/>
                <a:gd name="T9" fmla="*/ 21 h 210"/>
                <a:gd name="T10" fmla="*/ 119 w 149"/>
                <a:gd name="T11" fmla="*/ 18 h 210"/>
                <a:gd name="T12" fmla="*/ 119 w 149"/>
                <a:gd name="T13" fmla="*/ 16 h 210"/>
                <a:gd name="T14" fmla="*/ 119 w 149"/>
                <a:gd name="T15" fmla="*/ 13 h 210"/>
                <a:gd name="T16" fmla="*/ 118 w 149"/>
                <a:gd name="T17" fmla="*/ 9 h 210"/>
                <a:gd name="T18" fmla="*/ 117 w 149"/>
                <a:gd name="T19" fmla="*/ 6 h 210"/>
                <a:gd name="T20" fmla="*/ 115 w 149"/>
                <a:gd name="T21" fmla="*/ 4 h 210"/>
                <a:gd name="T22" fmla="*/ 112 w 149"/>
                <a:gd name="T23" fmla="*/ 2 h 210"/>
                <a:gd name="T24" fmla="*/ 110 w 149"/>
                <a:gd name="T25" fmla="*/ 1 h 210"/>
                <a:gd name="T26" fmla="*/ 107 w 149"/>
                <a:gd name="T27" fmla="*/ 0 h 210"/>
                <a:gd name="T28" fmla="*/ 104 w 149"/>
                <a:gd name="T29" fmla="*/ 0 h 210"/>
                <a:gd name="T30" fmla="*/ 102 w 149"/>
                <a:gd name="T31" fmla="*/ 0 h 210"/>
                <a:gd name="T32" fmla="*/ 98 w 149"/>
                <a:gd name="T33" fmla="*/ 1 h 210"/>
                <a:gd name="T34" fmla="*/ 96 w 149"/>
                <a:gd name="T35" fmla="*/ 2 h 210"/>
                <a:gd name="T36" fmla="*/ 93 w 149"/>
                <a:gd name="T37" fmla="*/ 4 h 210"/>
                <a:gd name="T38" fmla="*/ 34 w 149"/>
                <a:gd name="T39" fmla="*/ 64 h 210"/>
                <a:gd name="T40" fmla="*/ 31 w 149"/>
                <a:gd name="T41" fmla="*/ 68 h 210"/>
                <a:gd name="T42" fmla="*/ 30 w 149"/>
                <a:gd name="T43" fmla="*/ 71 h 210"/>
                <a:gd name="T44" fmla="*/ 30 w 149"/>
                <a:gd name="T45" fmla="*/ 76 h 210"/>
                <a:gd name="T46" fmla="*/ 31 w 149"/>
                <a:gd name="T47" fmla="*/ 81 h 210"/>
                <a:gd name="T48" fmla="*/ 33 w 149"/>
                <a:gd name="T49" fmla="*/ 84 h 210"/>
                <a:gd name="T50" fmla="*/ 36 w 149"/>
                <a:gd name="T51" fmla="*/ 88 h 210"/>
                <a:gd name="T52" fmla="*/ 40 w 149"/>
                <a:gd name="T53" fmla="*/ 89 h 210"/>
                <a:gd name="T54" fmla="*/ 44 w 149"/>
                <a:gd name="T55" fmla="*/ 90 h 210"/>
                <a:gd name="T56" fmla="*/ 98 w 149"/>
                <a:gd name="T57" fmla="*/ 90 h 210"/>
                <a:gd name="T58" fmla="*/ 4 w 149"/>
                <a:gd name="T59" fmla="*/ 184 h 210"/>
                <a:gd name="T60" fmla="*/ 2 w 149"/>
                <a:gd name="T61" fmla="*/ 186 h 210"/>
                <a:gd name="T62" fmla="*/ 1 w 149"/>
                <a:gd name="T63" fmla="*/ 189 h 210"/>
                <a:gd name="T64" fmla="*/ 0 w 149"/>
                <a:gd name="T65" fmla="*/ 192 h 210"/>
                <a:gd name="T66" fmla="*/ 0 w 149"/>
                <a:gd name="T67" fmla="*/ 195 h 210"/>
                <a:gd name="T68" fmla="*/ 0 w 149"/>
                <a:gd name="T69" fmla="*/ 198 h 210"/>
                <a:gd name="T70" fmla="*/ 1 w 149"/>
                <a:gd name="T71" fmla="*/ 201 h 210"/>
                <a:gd name="T72" fmla="*/ 2 w 149"/>
                <a:gd name="T73" fmla="*/ 203 h 210"/>
                <a:gd name="T74" fmla="*/ 4 w 149"/>
                <a:gd name="T75" fmla="*/ 205 h 210"/>
                <a:gd name="T76" fmla="*/ 6 w 149"/>
                <a:gd name="T77" fmla="*/ 206 h 210"/>
                <a:gd name="T78" fmla="*/ 9 w 149"/>
                <a:gd name="T79" fmla="*/ 208 h 210"/>
                <a:gd name="T80" fmla="*/ 12 w 149"/>
                <a:gd name="T81" fmla="*/ 208 h 210"/>
                <a:gd name="T82" fmla="*/ 15 w 149"/>
                <a:gd name="T83" fmla="*/ 210 h 210"/>
                <a:gd name="T84" fmla="*/ 17 w 149"/>
                <a:gd name="T85" fmla="*/ 208 h 210"/>
                <a:gd name="T86" fmla="*/ 20 w 149"/>
                <a:gd name="T87" fmla="*/ 208 h 210"/>
                <a:gd name="T88" fmla="*/ 22 w 149"/>
                <a:gd name="T89" fmla="*/ 206 h 210"/>
                <a:gd name="T90" fmla="*/ 25 w 149"/>
                <a:gd name="T91" fmla="*/ 205 h 210"/>
                <a:gd name="T92" fmla="*/ 145 w 149"/>
                <a:gd name="T93" fmla="*/ 85 h 210"/>
                <a:gd name="T94" fmla="*/ 148 w 149"/>
                <a:gd name="T95" fmla="*/ 82 h 210"/>
                <a:gd name="T96" fmla="*/ 149 w 149"/>
                <a:gd name="T97" fmla="*/ 78 h 210"/>
                <a:gd name="T98" fmla="*/ 149 w 149"/>
                <a:gd name="T99" fmla="*/ 74 h 210"/>
                <a:gd name="T100" fmla="*/ 148 w 149"/>
                <a:gd name="T101" fmla="*/ 70 h 210"/>
                <a:gd name="T102" fmla="*/ 146 w 149"/>
                <a:gd name="T103" fmla="*/ 66 h 210"/>
                <a:gd name="T104" fmla="*/ 142 w 149"/>
                <a:gd name="T105" fmla="*/ 63 h 210"/>
                <a:gd name="T106" fmla="*/ 138 w 149"/>
                <a:gd name="T107" fmla="*/ 61 h 210"/>
                <a:gd name="T108" fmla="*/ 134 w 149"/>
                <a:gd name="T109" fmla="*/ 6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10">
                  <a:moveTo>
                    <a:pt x="134" y="60"/>
                  </a:moveTo>
                  <a:lnTo>
                    <a:pt x="80" y="60"/>
                  </a:lnTo>
                  <a:lnTo>
                    <a:pt x="115" y="25"/>
                  </a:lnTo>
                  <a:lnTo>
                    <a:pt x="117" y="23"/>
                  </a:lnTo>
                  <a:lnTo>
                    <a:pt x="118" y="21"/>
                  </a:lnTo>
                  <a:lnTo>
                    <a:pt x="119" y="18"/>
                  </a:lnTo>
                  <a:lnTo>
                    <a:pt x="119" y="16"/>
                  </a:lnTo>
                  <a:lnTo>
                    <a:pt x="119" y="13"/>
                  </a:lnTo>
                  <a:lnTo>
                    <a:pt x="118" y="9"/>
                  </a:lnTo>
                  <a:lnTo>
                    <a:pt x="117" y="6"/>
                  </a:lnTo>
                  <a:lnTo>
                    <a:pt x="115" y="4"/>
                  </a:lnTo>
                  <a:lnTo>
                    <a:pt x="112" y="2"/>
                  </a:lnTo>
                  <a:lnTo>
                    <a:pt x="110" y="1"/>
                  </a:lnTo>
                  <a:lnTo>
                    <a:pt x="107" y="0"/>
                  </a:lnTo>
                  <a:lnTo>
                    <a:pt x="104" y="0"/>
                  </a:lnTo>
                  <a:lnTo>
                    <a:pt x="102" y="0"/>
                  </a:lnTo>
                  <a:lnTo>
                    <a:pt x="98" y="1"/>
                  </a:lnTo>
                  <a:lnTo>
                    <a:pt x="96" y="2"/>
                  </a:lnTo>
                  <a:lnTo>
                    <a:pt x="93" y="4"/>
                  </a:lnTo>
                  <a:lnTo>
                    <a:pt x="34" y="64"/>
                  </a:lnTo>
                  <a:lnTo>
                    <a:pt x="31" y="68"/>
                  </a:lnTo>
                  <a:lnTo>
                    <a:pt x="30" y="71"/>
                  </a:lnTo>
                  <a:lnTo>
                    <a:pt x="30" y="76"/>
                  </a:lnTo>
                  <a:lnTo>
                    <a:pt x="31" y="81"/>
                  </a:lnTo>
                  <a:lnTo>
                    <a:pt x="33" y="84"/>
                  </a:lnTo>
                  <a:lnTo>
                    <a:pt x="36" y="88"/>
                  </a:lnTo>
                  <a:lnTo>
                    <a:pt x="40" y="89"/>
                  </a:lnTo>
                  <a:lnTo>
                    <a:pt x="44" y="90"/>
                  </a:lnTo>
                  <a:lnTo>
                    <a:pt x="98" y="90"/>
                  </a:lnTo>
                  <a:lnTo>
                    <a:pt x="4" y="184"/>
                  </a:lnTo>
                  <a:lnTo>
                    <a:pt x="2" y="186"/>
                  </a:lnTo>
                  <a:lnTo>
                    <a:pt x="1" y="189"/>
                  </a:lnTo>
                  <a:lnTo>
                    <a:pt x="0" y="192"/>
                  </a:lnTo>
                  <a:lnTo>
                    <a:pt x="0" y="195"/>
                  </a:lnTo>
                  <a:lnTo>
                    <a:pt x="0" y="198"/>
                  </a:lnTo>
                  <a:lnTo>
                    <a:pt x="1" y="201"/>
                  </a:lnTo>
                  <a:lnTo>
                    <a:pt x="2" y="203"/>
                  </a:lnTo>
                  <a:lnTo>
                    <a:pt x="4" y="205"/>
                  </a:lnTo>
                  <a:lnTo>
                    <a:pt x="6" y="206"/>
                  </a:lnTo>
                  <a:lnTo>
                    <a:pt x="9" y="208"/>
                  </a:lnTo>
                  <a:lnTo>
                    <a:pt x="12" y="208"/>
                  </a:lnTo>
                  <a:lnTo>
                    <a:pt x="15" y="210"/>
                  </a:lnTo>
                  <a:lnTo>
                    <a:pt x="17" y="208"/>
                  </a:lnTo>
                  <a:lnTo>
                    <a:pt x="20" y="208"/>
                  </a:lnTo>
                  <a:lnTo>
                    <a:pt x="22" y="206"/>
                  </a:lnTo>
                  <a:lnTo>
                    <a:pt x="25" y="205"/>
                  </a:lnTo>
                  <a:lnTo>
                    <a:pt x="145" y="85"/>
                  </a:lnTo>
                  <a:lnTo>
                    <a:pt x="148" y="82"/>
                  </a:lnTo>
                  <a:lnTo>
                    <a:pt x="149" y="78"/>
                  </a:lnTo>
                  <a:lnTo>
                    <a:pt x="149" y="74"/>
                  </a:lnTo>
                  <a:lnTo>
                    <a:pt x="148" y="70"/>
                  </a:lnTo>
                  <a:lnTo>
                    <a:pt x="146" y="66"/>
                  </a:lnTo>
                  <a:lnTo>
                    <a:pt x="142" y="63"/>
                  </a:lnTo>
                  <a:lnTo>
                    <a:pt x="138" y="61"/>
                  </a:lnTo>
                  <a:lnTo>
                    <a:pt x="13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69" name="Freeform 42">
              <a:extLst>
                <a:ext uri="{FF2B5EF4-FFF2-40B4-BE49-F238E27FC236}">
                  <a16:creationId xmlns:a16="http://schemas.microsoft.com/office/drawing/2014/main" id="{1994FB27-57BC-4DAF-98F9-553B1BBDA517}"/>
                </a:ext>
              </a:extLst>
            </p:cNvPr>
            <p:cNvSpPr>
              <a:spLocks/>
            </p:cNvSpPr>
            <p:nvPr/>
          </p:nvSpPr>
          <p:spPr bwMode="auto">
            <a:xfrm>
              <a:off x="3946525" y="989013"/>
              <a:ext cx="47625" cy="66675"/>
            </a:xfrm>
            <a:custGeom>
              <a:avLst/>
              <a:gdLst>
                <a:gd name="T0" fmla="*/ 135 w 150"/>
                <a:gd name="T1" fmla="*/ 60 h 210"/>
                <a:gd name="T2" fmla="*/ 81 w 150"/>
                <a:gd name="T3" fmla="*/ 60 h 210"/>
                <a:gd name="T4" fmla="*/ 115 w 150"/>
                <a:gd name="T5" fmla="*/ 25 h 210"/>
                <a:gd name="T6" fmla="*/ 118 w 150"/>
                <a:gd name="T7" fmla="*/ 23 h 210"/>
                <a:gd name="T8" fmla="*/ 119 w 150"/>
                <a:gd name="T9" fmla="*/ 21 h 210"/>
                <a:gd name="T10" fmla="*/ 120 w 150"/>
                <a:gd name="T11" fmla="*/ 18 h 210"/>
                <a:gd name="T12" fmla="*/ 120 w 150"/>
                <a:gd name="T13" fmla="*/ 16 h 210"/>
                <a:gd name="T14" fmla="*/ 120 w 150"/>
                <a:gd name="T15" fmla="*/ 13 h 210"/>
                <a:gd name="T16" fmla="*/ 119 w 150"/>
                <a:gd name="T17" fmla="*/ 9 h 210"/>
                <a:gd name="T18" fmla="*/ 118 w 150"/>
                <a:gd name="T19" fmla="*/ 6 h 210"/>
                <a:gd name="T20" fmla="*/ 115 w 150"/>
                <a:gd name="T21" fmla="*/ 4 h 210"/>
                <a:gd name="T22" fmla="*/ 113 w 150"/>
                <a:gd name="T23" fmla="*/ 2 h 210"/>
                <a:gd name="T24" fmla="*/ 110 w 150"/>
                <a:gd name="T25" fmla="*/ 1 h 210"/>
                <a:gd name="T26" fmla="*/ 108 w 150"/>
                <a:gd name="T27" fmla="*/ 0 h 210"/>
                <a:gd name="T28" fmla="*/ 105 w 150"/>
                <a:gd name="T29" fmla="*/ 0 h 210"/>
                <a:gd name="T30" fmla="*/ 101 w 150"/>
                <a:gd name="T31" fmla="*/ 0 h 210"/>
                <a:gd name="T32" fmla="*/ 99 w 150"/>
                <a:gd name="T33" fmla="*/ 1 h 210"/>
                <a:gd name="T34" fmla="*/ 96 w 150"/>
                <a:gd name="T35" fmla="*/ 2 h 210"/>
                <a:gd name="T36" fmla="*/ 94 w 150"/>
                <a:gd name="T37" fmla="*/ 4 h 210"/>
                <a:gd name="T38" fmla="*/ 34 w 150"/>
                <a:gd name="T39" fmla="*/ 64 h 210"/>
                <a:gd name="T40" fmla="*/ 32 w 150"/>
                <a:gd name="T41" fmla="*/ 68 h 210"/>
                <a:gd name="T42" fmla="*/ 31 w 150"/>
                <a:gd name="T43" fmla="*/ 71 h 210"/>
                <a:gd name="T44" fmla="*/ 30 w 150"/>
                <a:gd name="T45" fmla="*/ 76 h 210"/>
                <a:gd name="T46" fmla="*/ 31 w 150"/>
                <a:gd name="T47" fmla="*/ 81 h 210"/>
                <a:gd name="T48" fmla="*/ 33 w 150"/>
                <a:gd name="T49" fmla="*/ 84 h 210"/>
                <a:gd name="T50" fmla="*/ 37 w 150"/>
                <a:gd name="T51" fmla="*/ 88 h 210"/>
                <a:gd name="T52" fmla="*/ 40 w 150"/>
                <a:gd name="T53" fmla="*/ 89 h 210"/>
                <a:gd name="T54" fmla="*/ 45 w 150"/>
                <a:gd name="T55" fmla="*/ 90 h 210"/>
                <a:gd name="T56" fmla="*/ 98 w 150"/>
                <a:gd name="T57" fmla="*/ 90 h 210"/>
                <a:gd name="T58" fmla="*/ 4 w 150"/>
                <a:gd name="T59" fmla="*/ 184 h 210"/>
                <a:gd name="T60" fmla="*/ 3 w 150"/>
                <a:gd name="T61" fmla="*/ 186 h 210"/>
                <a:gd name="T62" fmla="*/ 1 w 150"/>
                <a:gd name="T63" fmla="*/ 189 h 210"/>
                <a:gd name="T64" fmla="*/ 1 w 150"/>
                <a:gd name="T65" fmla="*/ 192 h 210"/>
                <a:gd name="T66" fmla="*/ 0 w 150"/>
                <a:gd name="T67" fmla="*/ 195 h 210"/>
                <a:gd name="T68" fmla="*/ 1 w 150"/>
                <a:gd name="T69" fmla="*/ 198 h 210"/>
                <a:gd name="T70" fmla="*/ 1 w 150"/>
                <a:gd name="T71" fmla="*/ 201 h 210"/>
                <a:gd name="T72" fmla="*/ 3 w 150"/>
                <a:gd name="T73" fmla="*/ 203 h 210"/>
                <a:gd name="T74" fmla="*/ 4 w 150"/>
                <a:gd name="T75" fmla="*/ 205 h 210"/>
                <a:gd name="T76" fmla="*/ 7 w 150"/>
                <a:gd name="T77" fmla="*/ 206 h 210"/>
                <a:gd name="T78" fmla="*/ 9 w 150"/>
                <a:gd name="T79" fmla="*/ 208 h 210"/>
                <a:gd name="T80" fmla="*/ 13 w 150"/>
                <a:gd name="T81" fmla="*/ 208 h 210"/>
                <a:gd name="T82" fmla="*/ 15 w 150"/>
                <a:gd name="T83" fmla="*/ 210 h 210"/>
                <a:gd name="T84" fmla="*/ 18 w 150"/>
                <a:gd name="T85" fmla="*/ 208 h 210"/>
                <a:gd name="T86" fmla="*/ 21 w 150"/>
                <a:gd name="T87" fmla="*/ 208 h 210"/>
                <a:gd name="T88" fmla="*/ 23 w 150"/>
                <a:gd name="T89" fmla="*/ 206 h 210"/>
                <a:gd name="T90" fmla="*/ 25 w 150"/>
                <a:gd name="T91" fmla="*/ 205 h 210"/>
                <a:gd name="T92" fmla="*/ 145 w 150"/>
                <a:gd name="T93" fmla="*/ 85 h 210"/>
                <a:gd name="T94" fmla="*/ 148 w 150"/>
                <a:gd name="T95" fmla="*/ 82 h 210"/>
                <a:gd name="T96" fmla="*/ 150 w 150"/>
                <a:gd name="T97" fmla="*/ 78 h 210"/>
                <a:gd name="T98" fmla="*/ 150 w 150"/>
                <a:gd name="T99" fmla="*/ 74 h 210"/>
                <a:gd name="T100" fmla="*/ 149 w 150"/>
                <a:gd name="T101" fmla="*/ 70 h 210"/>
                <a:gd name="T102" fmla="*/ 146 w 150"/>
                <a:gd name="T103" fmla="*/ 66 h 210"/>
                <a:gd name="T104" fmla="*/ 143 w 150"/>
                <a:gd name="T105" fmla="*/ 63 h 210"/>
                <a:gd name="T106" fmla="*/ 139 w 150"/>
                <a:gd name="T107" fmla="*/ 61 h 210"/>
                <a:gd name="T108" fmla="*/ 135 w 150"/>
                <a:gd name="T109" fmla="*/ 6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210">
                  <a:moveTo>
                    <a:pt x="135" y="60"/>
                  </a:moveTo>
                  <a:lnTo>
                    <a:pt x="81" y="60"/>
                  </a:lnTo>
                  <a:lnTo>
                    <a:pt x="115" y="25"/>
                  </a:lnTo>
                  <a:lnTo>
                    <a:pt x="118" y="23"/>
                  </a:lnTo>
                  <a:lnTo>
                    <a:pt x="119" y="21"/>
                  </a:lnTo>
                  <a:lnTo>
                    <a:pt x="120" y="18"/>
                  </a:lnTo>
                  <a:lnTo>
                    <a:pt x="120" y="16"/>
                  </a:lnTo>
                  <a:lnTo>
                    <a:pt x="120" y="13"/>
                  </a:lnTo>
                  <a:lnTo>
                    <a:pt x="119" y="9"/>
                  </a:lnTo>
                  <a:lnTo>
                    <a:pt x="118" y="6"/>
                  </a:lnTo>
                  <a:lnTo>
                    <a:pt x="115" y="4"/>
                  </a:lnTo>
                  <a:lnTo>
                    <a:pt x="113" y="2"/>
                  </a:lnTo>
                  <a:lnTo>
                    <a:pt x="110" y="1"/>
                  </a:lnTo>
                  <a:lnTo>
                    <a:pt x="108" y="0"/>
                  </a:lnTo>
                  <a:lnTo>
                    <a:pt x="105" y="0"/>
                  </a:lnTo>
                  <a:lnTo>
                    <a:pt x="101" y="0"/>
                  </a:lnTo>
                  <a:lnTo>
                    <a:pt x="99" y="1"/>
                  </a:lnTo>
                  <a:lnTo>
                    <a:pt x="96" y="2"/>
                  </a:lnTo>
                  <a:lnTo>
                    <a:pt x="94" y="4"/>
                  </a:lnTo>
                  <a:lnTo>
                    <a:pt x="34" y="64"/>
                  </a:lnTo>
                  <a:lnTo>
                    <a:pt x="32" y="68"/>
                  </a:lnTo>
                  <a:lnTo>
                    <a:pt x="31" y="71"/>
                  </a:lnTo>
                  <a:lnTo>
                    <a:pt x="30" y="76"/>
                  </a:lnTo>
                  <a:lnTo>
                    <a:pt x="31" y="81"/>
                  </a:lnTo>
                  <a:lnTo>
                    <a:pt x="33" y="84"/>
                  </a:lnTo>
                  <a:lnTo>
                    <a:pt x="37" y="88"/>
                  </a:lnTo>
                  <a:lnTo>
                    <a:pt x="40" y="89"/>
                  </a:lnTo>
                  <a:lnTo>
                    <a:pt x="45" y="90"/>
                  </a:lnTo>
                  <a:lnTo>
                    <a:pt x="98" y="90"/>
                  </a:lnTo>
                  <a:lnTo>
                    <a:pt x="4" y="184"/>
                  </a:lnTo>
                  <a:lnTo>
                    <a:pt x="3" y="186"/>
                  </a:lnTo>
                  <a:lnTo>
                    <a:pt x="1" y="189"/>
                  </a:lnTo>
                  <a:lnTo>
                    <a:pt x="1" y="192"/>
                  </a:lnTo>
                  <a:lnTo>
                    <a:pt x="0" y="195"/>
                  </a:lnTo>
                  <a:lnTo>
                    <a:pt x="1" y="198"/>
                  </a:lnTo>
                  <a:lnTo>
                    <a:pt x="1" y="201"/>
                  </a:lnTo>
                  <a:lnTo>
                    <a:pt x="3" y="203"/>
                  </a:lnTo>
                  <a:lnTo>
                    <a:pt x="4" y="205"/>
                  </a:lnTo>
                  <a:lnTo>
                    <a:pt x="7" y="206"/>
                  </a:lnTo>
                  <a:lnTo>
                    <a:pt x="9" y="208"/>
                  </a:lnTo>
                  <a:lnTo>
                    <a:pt x="13" y="208"/>
                  </a:lnTo>
                  <a:lnTo>
                    <a:pt x="15" y="210"/>
                  </a:lnTo>
                  <a:lnTo>
                    <a:pt x="18" y="208"/>
                  </a:lnTo>
                  <a:lnTo>
                    <a:pt x="21" y="208"/>
                  </a:lnTo>
                  <a:lnTo>
                    <a:pt x="23" y="206"/>
                  </a:lnTo>
                  <a:lnTo>
                    <a:pt x="25" y="205"/>
                  </a:lnTo>
                  <a:lnTo>
                    <a:pt x="145" y="85"/>
                  </a:lnTo>
                  <a:lnTo>
                    <a:pt x="148" y="82"/>
                  </a:lnTo>
                  <a:lnTo>
                    <a:pt x="150" y="78"/>
                  </a:lnTo>
                  <a:lnTo>
                    <a:pt x="150" y="74"/>
                  </a:lnTo>
                  <a:lnTo>
                    <a:pt x="149" y="70"/>
                  </a:lnTo>
                  <a:lnTo>
                    <a:pt x="146" y="66"/>
                  </a:lnTo>
                  <a:lnTo>
                    <a:pt x="143" y="63"/>
                  </a:lnTo>
                  <a:lnTo>
                    <a:pt x="139" y="61"/>
                  </a:lnTo>
                  <a:lnTo>
                    <a:pt x="13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970" name="Group 20">
            <a:extLst>
              <a:ext uri="{FF2B5EF4-FFF2-40B4-BE49-F238E27FC236}">
                <a16:creationId xmlns:a16="http://schemas.microsoft.com/office/drawing/2014/main" id="{F3B27E49-1E2D-473C-AF8B-8D0897A9A3DE}"/>
              </a:ext>
            </a:extLst>
          </p:cNvPr>
          <p:cNvGrpSpPr>
            <a:grpSpLocks noChangeAspect="1"/>
          </p:cNvGrpSpPr>
          <p:nvPr/>
        </p:nvGrpSpPr>
        <p:grpSpPr>
          <a:xfrm>
            <a:off x="9067556" y="5944848"/>
            <a:ext cx="251776" cy="308144"/>
            <a:chOff x="989013" y="2403475"/>
            <a:chExt cx="531812" cy="650875"/>
          </a:xfrm>
          <a:solidFill>
            <a:schemeClr val="bg1"/>
          </a:solidFill>
          <a:effectLst/>
        </p:grpSpPr>
        <p:sp>
          <p:nvSpPr>
            <p:cNvPr id="971" name="Freeform 5">
              <a:extLst>
                <a:ext uri="{FF2B5EF4-FFF2-40B4-BE49-F238E27FC236}">
                  <a16:creationId xmlns:a16="http://schemas.microsoft.com/office/drawing/2014/main" id="{50A456E6-7039-46EC-9772-D403DAE2F502}"/>
                </a:ext>
              </a:extLst>
            </p:cNvPr>
            <p:cNvSpPr>
              <a:spLocks noEditPoints="1"/>
            </p:cNvSpPr>
            <p:nvPr/>
          </p:nvSpPr>
          <p:spPr bwMode="auto">
            <a:xfrm>
              <a:off x="989013" y="2403475"/>
              <a:ext cx="531812" cy="650875"/>
            </a:xfrm>
            <a:custGeom>
              <a:avLst/>
              <a:gdLst>
                <a:gd name="T0" fmla="*/ 86 w 88"/>
                <a:gd name="T1" fmla="*/ 46 h 108"/>
                <a:gd name="T2" fmla="*/ 78 w 88"/>
                <a:gd name="T3" fmla="*/ 48 h 108"/>
                <a:gd name="T4" fmla="*/ 74 w 88"/>
                <a:gd name="T5" fmla="*/ 56 h 108"/>
                <a:gd name="T6" fmla="*/ 61 w 88"/>
                <a:gd name="T7" fmla="*/ 48 h 108"/>
                <a:gd name="T8" fmla="*/ 57 w 88"/>
                <a:gd name="T9" fmla="*/ 18 h 108"/>
                <a:gd name="T10" fmla="*/ 64 w 88"/>
                <a:gd name="T11" fmla="*/ 14 h 108"/>
                <a:gd name="T12" fmla="*/ 58 w 88"/>
                <a:gd name="T13" fmla="*/ 0 h 108"/>
                <a:gd name="T14" fmla="*/ 32 w 88"/>
                <a:gd name="T15" fmla="*/ 14 h 108"/>
                <a:gd name="T16" fmla="*/ 26 w 88"/>
                <a:gd name="T17" fmla="*/ 18 h 108"/>
                <a:gd name="T18" fmla="*/ 24 w 88"/>
                <a:gd name="T19" fmla="*/ 35 h 108"/>
                <a:gd name="T20" fmla="*/ 17 w 88"/>
                <a:gd name="T21" fmla="*/ 59 h 108"/>
                <a:gd name="T22" fmla="*/ 14 w 88"/>
                <a:gd name="T23" fmla="*/ 48 h 108"/>
                <a:gd name="T24" fmla="*/ 10 w 88"/>
                <a:gd name="T25" fmla="*/ 52 h 108"/>
                <a:gd name="T26" fmla="*/ 0 w 88"/>
                <a:gd name="T27" fmla="*/ 49 h 108"/>
                <a:gd name="T28" fmla="*/ 12 w 88"/>
                <a:gd name="T29" fmla="*/ 76 h 108"/>
                <a:gd name="T30" fmla="*/ 77 w 88"/>
                <a:gd name="T31" fmla="*/ 76 h 108"/>
                <a:gd name="T32" fmla="*/ 88 w 88"/>
                <a:gd name="T33" fmla="*/ 49 h 108"/>
                <a:gd name="T34" fmla="*/ 54 w 88"/>
                <a:gd name="T35" fmla="*/ 4 h 108"/>
                <a:gd name="T36" fmla="*/ 36 w 88"/>
                <a:gd name="T37" fmla="*/ 14 h 108"/>
                <a:gd name="T38" fmla="*/ 45 w 88"/>
                <a:gd name="T39" fmla="*/ 18 h 108"/>
                <a:gd name="T40" fmla="*/ 56 w 88"/>
                <a:gd name="T41" fmla="*/ 47 h 108"/>
                <a:gd name="T42" fmla="*/ 33 w 88"/>
                <a:gd name="T43" fmla="*/ 47 h 108"/>
                <a:gd name="T44" fmla="*/ 45 w 88"/>
                <a:gd name="T45" fmla="*/ 18 h 108"/>
                <a:gd name="T46" fmla="*/ 16 w 88"/>
                <a:gd name="T47" fmla="*/ 76 h 108"/>
                <a:gd name="T48" fmla="*/ 32 w 88"/>
                <a:gd name="T49" fmla="*/ 51 h 108"/>
                <a:gd name="T50" fmla="*/ 35 w 88"/>
                <a:gd name="T51" fmla="*/ 53 h 108"/>
                <a:gd name="T52" fmla="*/ 38 w 88"/>
                <a:gd name="T53" fmla="*/ 54 h 108"/>
                <a:gd name="T54" fmla="*/ 41 w 88"/>
                <a:gd name="T55" fmla="*/ 55 h 108"/>
                <a:gd name="T56" fmla="*/ 48 w 88"/>
                <a:gd name="T57" fmla="*/ 55 h 108"/>
                <a:gd name="T58" fmla="*/ 52 w 88"/>
                <a:gd name="T59" fmla="*/ 54 h 108"/>
                <a:gd name="T60" fmla="*/ 55 w 88"/>
                <a:gd name="T61" fmla="*/ 53 h 108"/>
                <a:gd name="T62" fmla="*/ 58 w 88"/>
                <a:gd name="T63" fmla="*/ 51 h 108"/>
                <a:gd name="T64" fmla="*/ 73 w 88"/>
                <a:gd name="T65" fmla="*/ 76 h 108"/>
                <a:gd name="T66" fmla="*/ 45 w 88"/>
                <a:gd name="T67" fmla="*/ 10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108">
                  <a:moveTo>
                    <a:pt x="88" y="49"/>
                  </a:moveTo>
                  <a:cubicBezTo>
                    <a:pt x="86" y="46"/>
                    <a:pt x="86" y="46"/>
                    <a:pt x="86" y="46"/>
                  </a:cubicBezTo>
                  <a:cubicBezTo>
                    <a:pt x="78" y="52"/>
                    <a:pt x="78" y="52"/>
                    <a:pt x="78" y="52"/>
                  </a:cubicBezTo>
                  <a:cubicBezTo>
                    <a:pt x="78" y="48"/>
                    <a:pt x="78" y="48"/>
                    <a:pt x="78" y="48"/>
                  </a:cubicBezTo>
                  <a:cubicBezTo>
                    <a:pt x="74" y="48"/>
                    <a:pt x="74" y="48"/>
                    <a:pt x="74" y="48"/>
                  </a:cubicBezTo>
                  <a:cubicBezTo>
                    <a:pt x="74" y="56"/>
                    <a:pt x="74" y="56"/>
                    <a:pt x="74" y="56"/>
                  </a:cubicBezTo>
                  <a:cubicBezTo>
                    <a:pt x="72" y="58"/>
                    <a:pt x="72" y="58"/>
                    <a:pt x="72" y="58"/>
                  </a:cubicBezTo>
                  <a:cubicBezTo>
                    <a:pt x="69" y="54"/>
                    <a:pt x="65" y="50"/>
                    <a:pt x="61" y="48"/>
                  </a:cubicBezTo>
                  <a:cubicBezTo>
                    <a:pt x="64" y="44"/>
                    <a:pt x="65" y="40"/>
                    <a:pt x="65" y="35"/>
                  </a:cubicBezTo>
                  <a:cubicBezTo>
                    <a:pt x="65" y="28"/>
                    <a:pt x="62" y="22"/>
                    <a:pt x="57" y="18"/>
                  </a:cubicBezTo>
                  <a:cubicBezTo>
                    <a:pt x="64" y="18"/>
                    <a:pt x="64" y="18"/>
                    <a:pt x="64" y="18"/>
                  </a:cubicBezTo>
                  <a:cubicBezTo>
                    <a:pt x="64" y="14"/>
                    <a:pt x="64" y="14"/>
                    <a:pt x="64" y="14"/>
                  </a:cubicBezTo>
                  <a:cubicBezTo>
                    <a:pt x="58" y="14"/>
                    <a:pt x="58" y="14"/>
                    <a:pt x="58" y="14"/>
                  </a:cubicBezTo>
                  <a:cubicBezTo>
                    <a:pt x="58" y="0"/>
                    <a:pt x="58" y="0"/>
                    <a:pt x="58" y="0"/>
                  </a:cubicBezTo>
                  <a:cubicBezTo>
                    <a:pt x="32" y="0"/>
                    <a:pt x="32" y="0"/>
                    <a:pt x="32" y="0"/>
                  </a:cubicBezTo>
                  <a:cubicBezTo>
                    <a:pt x="32" y="14"/>
                    <a:pt x="32" y="14"/>
                    <a:pt x="32" y="14"/>
                  </a:cubicBezTo>
                  <a:cubicBezTo>
                    <a:pt x="26" y="14"/>
                    <a:pt x="26" y="14"/>
                    <a:pt x="26" y="14"/>
                  </a:cubicBezTo>
                  <a:cubicBezTo>
                    <a:pt x="26" y="18"/>
                    <a:pt x="26" y="18"/>
                    <a:pt x="26" y="18"/>
                  </a:cubicBezTo>
                  <a:cubicBezTo>
                    <a:pt x="33" y="18"/>
                    <a:pt x="33" y="18"/>
                    <a:pt x="33" y="18"/>
                  </a:cubicBezTo>
                  <a:cubicBezTo>
                    <a:pt x="27" y="22"/>
                    <a:pt x="24" y="28"/>
                    <a:pt x="24" y="35"/>
                  </a:cubicBezTo>
                  <a:cubicBezTo>
                    <a:pt x="24" y="40"/>
                    <a:pt x="26" y="44"/>
                    <a:pt x="29" y="48"/>
                  </a:cubicBezTo>
                  <a:cubicBezTo>
                    <a:pt x="24" y="50"/>
                    <a:pt x="20" y="54"/>
                    <a:pt x="17" y="59"/>
                  </a:cubicBezTo>
                  <a:cubicBezTo>
                    <a:pt x="14" y="56"/>
                    <a:pt x="14" y="56"/>
                    <a:pt x="14" y="56"/>
                  </a:cubicBezTo>
                  <a:cubicBezTo>
                    <a:pt x="14" y="48"/>
                    <a:pt x="14" y="48"/>
                    <a:pt x="14" y="48"/>
                  </a:cubicBezTo>
                  <a:cubicBezTo>
                    <a:pt x="10" y="48"/>
                    <a:pt x="10" y="48"/>
                    <a:pt x="10" y="48"/>
                  </a:cubicBezTo>
                  <a:cubicBezTo>
                    <a:pt x="10" y="52"/>
                    <a:pt x="10" y="52"/>
                    <a:pt x="10" y="52"/>
                  </a:cubicBezTo>
                  <a:cubicBezTo>
                    <a:pt x="3" y="46"/>
                    <a:pt x="3" y="46"/>
                    <a:pt x="3" y="46"/>
                  </a:cubicBezTo>
                  <a:cubicBezTo>
                    <a:pt x="0" y="49"/>
                    <a:pt x="0" y="49"/>
                    <a:pt x="0" y="49"/>
                  </a:cubicBezTo>
                  <a:cubicBezTo>
                    <a:pt x="15" y="62"/>
                    <a:pt x="15" y="62"/>
                    <a:pt x="15" y="62"/>
                  </a:cubicBezTo>
                  <a:cubicBezTo>
                    <a:pt x="13" y="66"/>
                    <a:pt x="12" y="71"/>
                    <a:pt x="12" y="76"/>
                  </a:cubicBezTo>
                  <a:cubicBezTo>
                    <a:pt x="12" y="94"/>
                    <a:pt x="27" y="108"/>
                    <a:pt x="45" y="108"/>
                  </a:cubicBezTo>
                  <a:cubicBezTo>
                    <a:pt x="63" y="108"/>
                    <a:pt x="77" y="94"/>
                    <a:pt x="77" y="76"/>
                  </a:cubicBezTo>
                  <a:cubicBezTo>
                    <a:pt x="77" y="71"/>
                    <a:pt x="76" y="66"/>
                    <a:pt x="74" y="62"/>
                  </a:cubicBezTo>
                  <a:lnTo>
                    <a:pt x="88" y="49"/>
                  </a:lnTo>
                  <a:close/>
                  <a:moveTo>
                    <a:pt x="36" y="4"/>
                  </a:moveTo>
                  <a:cubicBezTo>
                    <a:pt x="54" y="4"/>
                    <a:pt x="54" y="4"/>
                    <a:pt x="54" y="4"/>
                  </a:cubicBezTo>
                  <a:cubicBezTo>
                    <a:pt x="54" y="14"/>
                    <a:pt x="54" y="14"/>
                    <a:pt x="54" y="14"/>
                  </a:cubicBezTo>
                  <a:cubicBezTo>
                    <a:pt x="36" y="14"/>
                    <a:pt x="36" y="14"/>
                    <a:pt x="36" y="14"/>
                  </a:cubicBezTo>
                  <a:lnTo>
                    <a:pt x="36" y="4"/>
                  </a:lnTo>
                  <a:close/>
                  <a:moveTo>
                    <a:pt x="45" y="18"/>
                  </a:moveTo>
                  <a:cubicBezTo>
                    <a:pt x="54" y="18"/>
                    <a:pt x="61" y="26"/>
                    <a:pt x="61" y="35"/>
                  </a:cubicBezTo>
                  <a:cubicBezTo>
                    <a:pt x="61" y="39"/>
                    <a:pt x="59" y="43"/>
                    <a:pt x="56" y="47"/>
                  </a:cubicBezTo>
                  <a:cubicBezTo>
                    <a:pt x="53" y="50"/>
                    <a:pt x="49" y="51"/>
                    <a:pt x="45" y="51"/>
                  </a:cubicBezTo>
                  <a:cubicBezTo>
                    <a:pt x="40" y="51"/>
                    <a:pt x="36" y="50"/>
                    <a:pt x="33" y="47"/>
                  </a:cubicBezTo>
                  <a:cubicBezTo>
                    <a:pt x="30" y="43"/>
                    <a:pt x="28" y="39"/>
                    <a:pt x="28" y="35"/>
                  </a:cubicBezTo>
                  <a:cubicBezTo>
                    <a:pt x="28" y="26"/>
                    <a:pt x="36" y="18"/>
                    <a:pt x="45" y="18"/>
                  </a:cubicBezTo>
                  <a:close/>
                  <a:moveTo>
                    <a:pt x="45" y="104"/>
                  </a:moveTo>
                  <a:cubicBezTo>
                    <a:pt x="29" y="104"/>
                    <a:pt x="16" y="91"/>
                    <a:pt x="16" y="76"/>
                  </a:cubicBezTo>
                  <a:cubicBezTo>
                    <a:pt x="16" y="65"/>
                    <a:pt x="22" y="55"/>
                    <a:pt x="31" y="50"/>
                  </a:cubicBezTo>
                  <a:cubicBezTo>
                    <a:pt x="31" y="51"/>
                    <a:pt x="31" y="51"/>
                    <a:pt x="32" y="51"/>
                  </a:cubicBezTo>
                  <a:cubicBezTo>
                    <a:pt x="32" y="51"/>
                    <a:pt x="33" y="52"/>
                    <a:pt x="34" y="52"/>
                  </a:cubicBezTo>
                  <a:cubicBezTo>
                    <a:pt x="34" y="53"/>
                    <a:pt x="34" y="53"/>
                    <a:pt x="35" y="53"/>
                  </a:cubicBezTo>
                  <a:cubicBezTo>
                    <a:pt x="35" y="53"/>
                    <a:pt x="36" y="54"/>
                    <a:pt x="37" y="54"/>
                  </a:cubicBezTo>
                  <a:cubicBezTo>
                    <a:pt x="38" y="54"/>
                    <a:pt x="38" y="54"/>
                    <a:pt x="38" y="54"/>
                  </a:cubicBezTo>
                  <a:cubicBezTo>
                    <a:pt x="39" y="55"/>
                    <a:pt x="40" y="55"/>
                    <a:pt x="41" y="55"/>
                  </a:cubicBezTo>
                  <a:cubicBezTo>
                    <a:pt x="41" y="55"/>
                    <a:pt x="41" y="55"/>
                    <a:pt x="41" y="55"/>
                  </a:cubicBezTo>
                  <a:cubicBezTo>
                    <a:pt x="42" y="55"/>
                    <a:pt x="44" y="55"/>
                    <a:pt x="45" y="55"/>
                  </a:cubicBezTo>
                  <a:cubicBezTo>
                    <a:pt x="46" y="55"/>
                    <a:pt x="47" y="55"/>
                    <a:pt x="48" y="55"/>
                  </a:cubicBezTo>
                  <a:cubicBezTo>
                    <a:pt x="48" y="55"/>
                    <a:pt x="48" y="55"/>
                    <a:pt x="48" y="55"/>
                  </a:cubicBezTo>
                  <a:cubicBezTo>
                    <a:pt x="50" y="55"/>
                    <a:pt x="51" y="55"/>
                    <a:pt x="52" y="54"/>
                  </a:cubicBezTo>
                  <a:cubicBezTo>
                    <a:pt x="52" y="54"/>
                    <a:pt x="52" y="54"/>
                    <a:pt x="52" y="54"/>
                  </a:cubicBezTo>
                  <a:cubicBezTo>
                    <a:pt x="53" y="54"/>
                    <a:pt x="54" y="53"/>
                    <a:pt x="55" y="53"/>
                  </a:cubicBezTo>
                  <a:cubicBezTo>
                    <a:pt x="55" y="53"/>
                    <a:pt x="55" y="53"/>
                    <a:pt x="55" y="52"/>
                  </a:cubicBezTo>
                  <a:cubicBezTo>
                    <a:pt x="56" y="52"/>
                    <a:pt x="57" y="51"/>
                    <a:pt x="58" y="51"/>
                  </a:cubicBezTo>
                  <a:cubicBezTo>
                    <a:pt x="58" y="51"/>
                    <a:pt x="58" y="51"/>
                    <a:pt x="58" y="50"/>
                  </a:cubicBezTo>
                  <a:cubicBezTo>
                    <a:pt x="67" y="55"/>
                    <a:pt x="73" y="65"/>
                    <a:pt x="73" y="76"/>
                  </a:cubicBezTo>
                  <a:cubicBezTo>
                    <a:pt x="73" y="91"/>
                    <a:pt x="60" y="104"/>
                    <a:pt x="45" y="104"/>
                  </a:cubicBezTo>
                  <a:close/>
                  <a:moveTo>
                    <a:pt x="45" y="104"/>
                  </a:moveTo>
                  <a:cubicBezTo>
                    <a:pt x="45" y="104"/>
                    <a:pt x="45" y="104"/>
                    <a:pt x="45" y="10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2" name="Freeform 6">
              <a:extLst>
                <a:ext uri="{FF2B5EF4-FFF2-40B4-BE49-F238E27FC236}">
                  <a16:creationId xmlns:a16="http://schemas.microsoft.com/office/drawing/2014/main" id="{9F61A77D-0D6A-463F-8EF4-D7C0F8FCEC55}"/>
                </a:ext>
              </a:extLst>
            </p:cNvPr>
            <p:cNvSpPr>
              <a:spLocks noEditPoints="1"/>
            </p:cNvSpPr>
            <p:nvPr/>
          </p:nvSpPr>
          <p:spPr bwMode="auto">
            <a:xfrm>
              <a:off x="1219200" y="2638425"/>
              <a:ext cx="84137" cy="30163"/>
            </a:xfrm>
            <a:custGeom>
              <a:avLst/>
              <a:gdLst>
                <a:gd name="T0" fmla="*/ 2 w 14"/>
                <a:gd name="T1" fmla="*/ 0 h 5"/>
                <a:gd name="T2" fmla="*/ 0 w 14"/>
                <a:gd name="T3" fmla="*/ 1 h 5"/>
                <a:gd name="T4" fmla="*/ 7 w 14"/>
                <a:gd name="T5" fmla="*/ 5 h 5"/>
                <a:gd name="T6" fmla="*/ 14 w 14"/>
                <a:gd name="T7" fmla="*/ 1 h 5"/>
                <a:gd name="T8" fmla="*/ 11 w 14"/>
                <a:gd name="T9" fmla="*/ 0 h 5"/>
                <a:gd name="T10" fmla="*/ 7 w 14"/>
                <a:gd name="T11" fmla="*/ 2 h 5"/>
                <a:gd name="T12" fmla="*/ 2 w 14"/>
                <a:gd name="T13" fmla="*/ 0 h 5"/>
                <a:gd name="T14" fmla="*/ 2 w 14"/>
                <a:gd name="T15" fmla="*/ 0 h 5"/>
                <a:gd name="T16" fmla="*/ 2 w 1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5">
                  <a:moveTo>
                    <a:pt x="2" y="0"/>
                  </a:moveTo>
                  <a:cubicBezTo>
                    <a:pt x="0" y="1"/>
                    <a:pt x="0" y="1"/>
                    <a:pt x="0" y="1"/>
                  </a:cubicBezTo>
                  <a:cubicBezTo>
                    <a:pt x="0" y="1"/>
                    <a:pt x="2" y="5"/>
                    <a:pt x="7" y="5"/>
                  </a:cubicBezTo>
                  <a:cubicBezTo>
                    <a:pt x="11" y="5"/>
                    <a:pt x="14" y="1"/>
                    <a:pt x="14" y="1"/>
                  </a:cubicBezTo>
                  <a:cubicBezTo>
                    <a:pt x="11" y="0"/>
                    <a:pt x="11" y="0"/>
                    <a:pt x="11" y="0"/>
                  </a:cubicBezTo>
                  <a:cubicBezTo>
                    <a:pt x="11" y="0"/>
                    <a:pt x="10" y="2"/>
                    <a:pt x="7" y="2"/>
                  </a:cubicBezTo>
                  <a:cubicBezTo>
                    <a:pt x="4" y="2"/>
                    <a:pt x="2" y="0"/>
                    <a:pt x="2" y="0"/>
                  </a:cubicBezTo>
                  <a:close/>
                  <a:moveTo>
                    <a:pt x="2" y="0"/>
                  </a:move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3" name="Freeform 7">
              <a:extLst>
                <a:ext uri="{FF2B5EF4-FFF2-40B4-BE49-F238E27FC236}">
                  <a16:creationId xmlns:a16="http://schemas.microsoft.com/office/drawing/2014/main" id="{37BA94F9-61F7-4E55-9433-DF8340959DD6}"/>
                </a:ext>
              </a:extLst>
            </p:cNvPr>
            <p:cNvSpPr>
              <a:spLocks noEditPoints="1"/>
            </p:cNvSpPr>
            <p:nvPr/>
          </p:nvSpPr>
          <p:spPr bwMode="auto">
            <a:xfrm>
              <a:off x="1212850" y="2571750"/>
              <a:ext cx="23812" cy="30163"/>
            </a:xfrm>
            <a:custGeom>
              <a:avLst/>
              <a:gdLst>
                <a:gd name="T0" fmla="*/ 4 w 4"/>
                <a:gd name="T1" fmla="*/ 3 h 5"/>
                <a:gd name="T2" fmla="*/ 2 w 4"/>
                <a:gd name="T3" fmla="*/ 5 h 5"/>
                <a:gd name="T4" fmla="*/ 0 w 4"/>
                <a:gd name="T5" fmla="*/ 3 h 5"/>
                <a:gd name="T6" fmla="*/ 2 w 4"/>
                <a:gd name="T7" fmla="*/ 0 h 5"/>
                <a:gd name="T8" fmla="*/ 4 w 4"/>
                <a:gd name="T9" fmla="*/ 3 h 5"/>
                <a:gd name="T10" fmla="*/ 4 w 4"/>
                <a:gd name="T11" fmla="*/ 3 h 5"/>
                <a:gd name="T12" fmla="*/ 4 w 4"/>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4" y="3"/>
                  </a:moveTo>
                  <a:cubicBezTo>
                    <a:pt x="4" y="4"/>
                    <a:pt x="3" y="5"/>
                    <a:pt x="2" y="5"/>
                  </a:cubicBezTo>
                  <a:cubicBezTo>
                    <a:pt x="1" y="5"/>
                    <a:pt x="0" y="4"/>
                    <a:pt x="0" y="3"/>
                  </a:cubicBezTo>
                  <a:cubicBezTo>
                    <a:pt x="0" y="1"/>
                    <a:pt x="1" y="0"/>
                    <a:pt x="2" y="0"/>
                  </a:cubicBezTo>
                  <a:cubicBezTo>
                    <a:pt x="3" y="0"/>
                    <a:pt x="4" y="1"/>
                    <a:pt x="4" y="3"/>
                  </a:cubicBezTo>
                  <a:close/>
                  <a:moveTo>
                    <a:pt x="4" y="3"/>
                  </a:moveTo>
                  <a:cubicBezTo>
                    <a:pt x="4" y="3"/>
                    <a:pt x="4" y="3"/>
                    <a:pt x="4"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4" name="Freeform 8">
              <a:extLst>
                <a:ext uri="{FF2B5EF4-FFF2-40B4-BE49-F238E27FC236}">
                  <a16:creationId xmlns:a16="http://schemas.microsoft.com/office/drawing/2014/main" id="{491CE0D7-C8F7-40A6-87A7-646750BF77B6}"/>
                </a:ext>
              </a:extLst>
            </p:cNvPr>
            <p:cNvSpPr>
              <a:spLocks noEditPoints="1"/>
            </p:cNvSpPr>
            <p:nvPr/>
          </p:nvSpPr>
          <p:spPr bwMode="auto">
            <a:xfrm>
              <a:off x="1279525" y="2571750"/>
              <a:ext cx="30162" cy="30163"/>
            </a:xfrm>
            <a:custGeom>
              <a:avLst/>
              <a:gdLst>
                <a:gd name="T0" fmla="*/ 5 w 5"/>
                <a:gd name="T1" fmla="*/ 3 h 5"/>
                <a:gd name="T2" fmla="*/ 3 w 5"/>
                <a:gd name="T3" fmla="*/ 5 h 5"/>
                <a:gd name="T4" fmla="*/ 0 w 5"/>
                <a:gd name="T5" fmla="*/ 3 h 5"/>
                <a:gd name="T6" fmla="*/ 3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3" y="5"/>
                  </a:cubicBezTo>
                  <a:cubicBezTo>
                    <a:pt x="1" y="5"/>
                    <a:pt x="0" y="4"/>
                    <a:pt x="0" y="3"/>
                  </a:cubicBezTo>
                  <a:cubicBezTo>
                    <a:pt x="0" y="1"/>
                    <a:pt x="1" y="0"/>
                    <a:pt x="3"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5" name="Freeform 9">
              <a:extLst>
                <a:ext uri="{FF2B5EF4-FFF2-40B4-BE49-F238E27FC236}">
                  <a16:creationId xmlns:a16="http://schemas.microsoft.com/office/drawing/2014/main" id="{3F8CBB64-8A5C-4300-823D-BFEE09DF9905}"/>
                </a:ext>
              </a:extLst>
            </p:cNvPr>
            <p:cNvSpPr>
              <a:spLocks noEditPoints="1"/>
            </p:cNvSpPr>
            <p:nvPr/>
          </p:nvSpPr>
          <p:spPr bwMode="auto">
            <a:xfrm>
              <a:off x="1243013" y="2825750"/>
              <a:ext cx="42862" cy="41275"/>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1"/>
                    <a:pt x="1" y="0"/>
                    <a:pt x="3" y="0"/>
                  </a:cubicBezTo>
                  <a:cubicBezTo>
                    <a:pt x="5"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sp>
          <p:nvSpPr>
            <p:cNvPr id="976" name="Freeform 10">
              <a:extLst>
                <a:ext uri="{FF2B5EF4-FFF2-40B4-BE49-F238E27FC236}">
                  <a16:creationId xmlns:a16="http://schemas.microsoft.com/office/drawing/2014/main" id="{2C323199-AA82-4559-BF45-1811D1A4C834}"/>
                </a:ext>
              </a:extLst>
            </p:cNvPr>
            <p:cNvSpPr>
              <a:spLocks noEditPoints="1"/>
            </p:cNvSpPr>
            <p:nvPr/>
          </p:nvSpPr>
          <p:spPr bwMode="auto">
            <a:xfrm>
              <a:off x="1243013" y="2903538"/>
              <a:ext cx="42862" cy="4286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1"/>
                    <a:pt x="1" y="0"/>
                    <a:pt x="3" y="0"/>
                  </a:cubicBezTo>
                  <a:cubicBezTo>
                    <a:pt x="5"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kern="0">
                <a:solidFill>
                  <a:prstClr val="black"/>
                </a:solidFill>
                <a:latin typeface="Calibri"/>
              </a:endParaRPr>
            </a:p>
          </p:txBody>
        </p:sp>
      </p:grpSp>
      <p:grpSp>
        <p:nvGrpSpPr>
          <p:cNvPr id="1020" name="Gruppieren 1019">
            <a:extLst>
              <a:ext uri="{FF2B5EF4-FFF2-40B4-BE49-F238E27FC236}">
                <a16:creationId xmlns:a16="http://schemas.microsoft.com/office/drawing/2014/main" id="{071EDB31-27E9-4C47-8797-DA3973BDC6CF}"/>
              </a:ext>
            </a:extLst>
          </p:cNvPr>
          <p:cNvGrpSpPr>
            <a:grpSpLocks noChangeAspect="1"/>
          </p:cNvGrpSpPr>
          <p:nvPr/>
        </p:nvGrpSpPr>
        <p:grpSpPr>
          <a:xfrm>
            <a:off x="1469256" y="5418421"/>
            <a:ext cx="304790" cy="304793"/>
            <a:chOff x="283992" y="4124782"/>
            <a:chExt cx="360000" cy="360004"/>
          </a:xfrm>
          <a:solidFill>
            <a:schemeClr val="bg1"/>
          </a:solidFill>
        </p:grpSpPr>
        <p:sp>
          <p:nvSpPr>
            <p:cNvPr id="1021" name="Freeform 45">
              <a:extLst>
                <a:ext uri="{FF2B5EF4-FFF2-40B4-BE49-F238E27FC236}">
                  <a16:creationId xmlns:a16="http://schemas.microsoft.com/office/drawing/2014/main" id="{DC3EDFF4-783C-445E-809C-514E27135E61}"/>
                </a:ext>
              </a:extLst>
            </p:cNvPr>
            <p:cNvSpPr>
              <a:spLocks noEditPoints="1"/>
            </p:cNvSpPr>
            <p:nvPr/>
          </p:nvSpPr>
          <p:spPr bwMode="auto">
            <a:xfrm>
              <a:off x="359376" y="4304788"/>
              <a:ext cx="104615" cy="10461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46">
              <a:extLst>
                <a:ext uri="{FF2B5EF4-FFF2-40B4-BE49-F238E27FC236}">
                  <a16:creationId xmlns:a16="http://schemas.microsoft.com/office/drawing/2014/main" id="{6D40C812-DAD7-4EDA-B6F3-CDC3EF1A1DFB}"/>
                </a:ext>
              </a:extLst>
            </p:cNvPr>
            <p:cNvSpPr>
              <a:spLocks noEditPoints="1"/>
            </p:cNvSpPr>
            <p:nvPr/>
          </p:nvSpPr>
          <p:spPr bwMode="auto">
            <a:xfrm>
              <a:off x="283992" y="4229401"/>
              <a:ext cx="255385" cy="25538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23" name="Gruppieren 1022">
              <a:extLst>
                <a:ext uri="{FF2B5EF4-FFF2-40B4-BE49-F238E27FC236}">
                  <a16:creationId xmlns:a16="http://schemas.microsoft.com/office/drawing/2014/main" id="{CAB2312E-6F87-4C54-B542-AA431B58C709}"/>
                </a:ext>
              </a:extLst>
            </p:cNvPr>
            <p:cNvGrpSpPr/>
            <p:nvPr/>
          </p:nvGrpSpPr>
          <p:grpSpPr>
            <a:xfrm>
              <a:off x="494761" y="4124782"/>
              <a:ext cx="149231" cy="150769"/>
              <a:chOff x="494761" y="4124782"/>
              <a:chExt cx="149231" cy="150769"/>
            </a:xfrm>
            <a:grpFill/>
          </p:grpSpPr>
          <p:sp>
            <p:nvSpPr>
              <p:cNvPr id="1024" name="Freeform 47">
                <a:extLst>
                  <a:ext uri="{FF2B5EF4-FFF2-40B4-BE49-F238E27FC236}">
                    <a16:creationId xmlns:a16="http://schemas.microsoft.com/office/drawing/2014/main" id="{5C5C54B6-A6E2-40BA-B72F-4DA74390197D}"/>
                  </a:ext>
                </a:extLst>
              </p:cNvPr>
              <p:cNvSpPr>
                <a:spLocks noEditPoints="1"/>
              </p:cNvSpPr>
              <p:nvPr/>
            </p:nvSpPr>
            <p:spPr bwMode="auto">
              <a:xfrm>
                <a:off x="539377" y="4169402"/>
                <a:ext cx="60000" cy="60000"/>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48">
                <a:extLst>
                  <a:ext uri="{FF2B5EF4-FFF2-40B4-BE49-F238E27FC236}">
                    <a16:creationId xmlns:a16="http://schemas.microsoft.com/office/drawing/2014/main" id="{C4C000E7-348C-4809-98AD-FEEBB95A0037}"/>
                  </a:ext>
                </a:extLst>
              </p:cNvPr>
              <p:cNvSpPr>
                <a:spLocks noEditPoints="1"/>
              </p:cNvSpPr>
              <p:nvPr/>
            </p:nvSpPr>
            <p:spPr bwMode="auto">
              <a:xfrm>
                <a:off x="494761" y="4124782"/>
                <a:ext cx="149231" cy="150769"/>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26" name="Group 25">
            <a:extLst>
              <a:ext uri="{FF2B5EF4-FFF2-40B4-BE49-F238E27FC236}">
                <a16:creationId xmlns:a16="http://schemas.microsoft.com/office/drawing/2014/main" id="{2B40388B-4A82-47C9-B911-B886056E786C}"/>
              </a:ext>
            </a:extLst>
          </p:cNvPr>
          <p:cNvGrpSpPr>
            <a:grpSpLocks noChangeAspect="1"/>
          </p:cNvGrpSpPr>
          <p:nvPr/>
        </p:nvGrpSpPr>
        <p:grpSpPr>
          <a:xfrm>
            <a:off x="2304892" y="5418423"/>
            <a:ext cx="304790" cy="304790"/>
            <a:chOff x="884238" y="2681288"/>
            <a:chExt cx="685800" cy="685800"/>
          </a:xfrm>
          <a:solidFill>
            <a:schemeClr val="bg1"/>
          </a:solidFill>
          <a:effectLst/>
        </p:grpSpPr>
        <p:sp>
          <p:nvSpPr>
            <p:cNvPr id="1027" name="Freeform 112">
              <a:extLst>
                <a:ext uri="{FF2B5EF4-FFF2-40B4-BE49-F238E27FC236}">
                  <a16:creationId xmlns:a16="http://schemas.microsoft.com/office/drawing/2014/main" id="{5CE56B88-86C1-4E94-BBEE-6800D4422EED}"/>
                </a:ext>
              </a:extLst>
            </p:cNvPr>
            <p:cNvSpPr>
              <a:spLocks noEditPoints="1"/>
            </p:cNvSpPr>
            <p:nvPr/>
          </p:nvSpPr>
          <p:spPr bwMode="auto">
            <a:xfrm>
              <a:off x="884238" y="2681288"/>
              <a:ext cx="417513" cy="415925"/>
            </a:xfrm>
            <a:custGeom>
              <a:avLst/>
              <a:gdLst>
                <a:gd name="T0" fmla="*/ 330 w 788"/>
                <a:gd name="T1" fmla="*/ 298 h 788"/>
                <a:gd name="T2" fmla="*/ 284 w 788"/>
                <a:gd name="T3" fmla="*/ 360 h 788"/>
                <a:gd name="T4" fmla="*/ 288 w 788"/>
                <a:gd name="T5" fmla="*/ 439 h 788"/>
                <a:gd name="T6" fmla="*/ 338 w 788"/>
                <a:gd name="T7" fmla="*/ 495 h 788"/>
                <a:gd name="T8" fmla="*/ 417 w 788"/>
                <a:gd name="T9" fmla="*/ 507 h 788"/>
                <a:gd name="T10" fmla="*/ 482 w 788"/>
                <a:gd name="T11" fmla="*/ 467 h 788"/>
                <a:gd name="T12" fmla="*/ 508 w 788"/>
                <a:gd name="T13" fmla="*/ 395 h 788"/>
                <a:gd name="T14" fmla="*/ 482 w 788"/>
                <a:gd name="T15" fmla="*/ 321 h 788"/>
                <a:gd name="T16" fmla="*/ 417 w 788"/>
                <a:gd name="T17" fmla="*/ 281 h 788"/>
                <a:gd name="T18" fmla="*/ 328 w 788"/>
                <a:gd name="T19" fmla="*/ 549 h 788"/>
                <a:gd name="T20" fmla="*/ 246 w 788"/>
                <a:gd name="T21" fmla="*/ 474 h 788"/>
                <a:gd name="T22" fmla="*/ 230 w 788"/>
                <a:gd name="T23" fmla="*/ 360 h 788"/>
                <a:gd name="T24" fmla="*/ 288 w 788"/>
                <a:gd name="T25" fmla="*/ 265 h 788"/>
                <a:gd name="T26" fmla="*/ 393 w 788"/>
                <a:gd name="T27" fmla="*/ 226 h 788"/>
                <a:gd name="T28" fmla="*/ 500 w 788"/>
                <a:gd name="T29" fmla="*/ 265 h 788"/>
                <a:gd name="T30" fmla="*/ 557 w 788"/>
                <a:gd name="T31" fmla="*/ 360 h 788"/>
                <a:gd name="T32" fmla="*/ 541 w 788"/>
                <a:gd name="T33" fmla="*/ 474 h 788"/>
                <a:gd name="T34" fmla="*/ 459 w 788"/>
                <a:gd name="T35" fmla="*/ 549 h 788"/>
                <a:gd name="T36" fmla="*/ 445 w 788"/>
                <a:gd name="T37" fmla="*/ 636 h 788"/>
                <a:gd name="T38" fmla="*/ 505 w 788"/>
                <a:gd name="T39" fmla="*/ 595 h 788"/>
                <a:gd name="T40" fmla="*/ 596 w 788"/>
                <a:gd name="T41" fmla="*/ 521 h 788"/>
                <a:gd name="T42" fmla="*/ 620 w 788"/>
                <a:gd name="T43" fmla="*/ 451 h 788"/>
                <a:gd name="T44" fmla="*/ 620 w 788"/>
                <a:gd name="T45" fmla="*/ 337 h 788"/>
                <a:gd name="T46" fmla="*/ 596 w 788"/>
                <a:gd name="T47" fmla="*/ 266 h 788"/>
                <a:gd name="T48" fmla="*/ 505 w 788"/>
                <a:gd name="T49" fmla="*/ 193 h 788"/>
                <a:gd name="T50" fmla="*/ 445 w 788"/>
                <a:gd name="T51" fmla="*/ 151 h 788"/>
                <a:gd name="T52" fmla="*/ 324 w 788"/>
                <a:gd name="T53" fmla="*/ 177 h 788"/>
                <a:gd name="T54" fmla="*/ 173 w 788"/>
                <a:gd name="T55" fmla="*/ 99 h 788"/>
                <a:gd name="T56" fmla="*/ 183 w 788"/>
                <a:gd name="T57" fmla="*/ 307 h 788"/>
                <a:gd name="T58" fmla="*/ 53 w 788"/>
                <a:gd name="T59" fmla="*/ 445 h 788"/>
                <a:gd name="T60" fmla="*/ 191 w 788"/>
                <a:gd name="T61" fmla="*/ 498 h 788"/>
                <a:gd name="T62" fmla="*/ 259 w 788"/>
                <a:gd name="T63" fmla="*/ 602 h 788"/>
                <a:gd name="T64" fmla="*/ 331 w 788"/>
                <a:gd name="T65" fmla="*/ 615 h 788"/>
                <a:gd name="T66" fmla="*/ 311 w 788"/>
                <a:gd name="T67" fmla="*/ 786 h 788"/>
                <a:gd name="T68" fmla="*/ 289 w 788"/>
                <a:gd name="T69" fmla="*/ 762 h 788"/>
                <a:gd name="T70" fmla="*/ 177 w 788"/>
                <a:gd name="T71" fmla="*/ 750 h 788"/>
                <a:gd name="T72" fmla="*/ 40 w 788"/>
                <a:gd name="T73" fmla="*/ 629 h 788"/>
                <a:gd name="T74" fmla="*/ 44 w 788"/>
                <a:gd name="T75" fmla="*/ 596 h 788"/>
                <a:gd name="T76" fmla="*/ 11 w 788"/>
                <a:gd name="T77" fmla="*/ 492 h 788"/>
                <a:gd name="T78" fmla="*/ 1 w 788"/>
                <a:gd name="T79" fmla="*/ 311 h 788"/>
                <a:gd name="T80" fmla="*/ 26 w 788"/>
                <a:gd name="T81" fmla="*/ 289 h 788"/>
                <a:gd name="T82" fmla="*/ 37 w 788"/>
                <a:gd name="T83" fmla="*/ 177 h 788"/>
                <a:gd name="T84" fmla="*/ 158 w 788"/>
                <a:gd name="T85" fmla="*/ 40 h 788"/>
                <a:gd name="T86" fmla="*/ 187 w 788"/>
                <a:gd name="T87" fmla="*/ 40 h 788"/>
                <a:gd name="T88" fmla="*/ 292 w 788"/>
                <a:gd name="T89" fmla="*/ 16 h 788"/>
                <a:gd name="T90" fmla="*/ 471 w 788"/>
                <a:gd name="T91" fmla="*/ 0 h 788"/>
                <a:gd name="T92" fmla="*/ 497 w 788"/>
                <a:gd name="T93" fmla="*/ 22 h 788"/>
                <a:gd name="T94" fmla="*/ 605 w 788"/>
                <a:gd name="T95" fmla="*/ 39 h 788"/>
                <a:gd name="T96" fmla="*/ 633 w 788"/>
                <a:gd name="T97" fmla="*/ 45 h 788"/>
                <a:gd name="T98" fmla="*/ 749 w 788"/>
                <a:gd name="T99" fmla="*/ 183 h 788"/>
                <a:gd name="T100" fmla="*/ 766 w 788"/>
                <a:gd name="T101" fmla="*/ 291 h 788"/>
                <a:gd name="T102" fmla="*/ 788 w 788"/>
                <a:gd name="T103" fmla="*/ 317 h 788"/>
                <a:gd name="T104" fmla="*/ 772 w 788"/>
                <a:gd name="T105" fmla="*/ 495 h 788"/>
                <a:gd name="T106" fmla="*/ 747 w 788"/>
                <a:gd name="T107" fmla="*/ 600 h 788"/>
                <a:gd name="T108" fmla="*/ 743 w 788"/>
                <a:gd name="T109" fmla="*/ 634 h 788"/>
                <a:gd name="T110" fmla="*/ 605 w 788"/>
                <a:gd name="T111" fmla="*/ 749 h 788"/>
                <a:gd name="T112" fmla="*/ 497 w 788"/>
                <a:gd name="T113" fmla="*/ 766 h 788"/>
                <a:gd name="T114" fmla="*/ 471 w 788"/>
                <a:gd name="T115"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8" h="788">
                  <a:moveTo>
                    <a:pt x="393" y="279"/>
                  </a:moveTo>
                  <a:lnTo>
                    <a:pt x="381" y="279"/>
                  </a:lnTo>
                  <a:lnTo>
                    <a:pt x="370" y="281"/>
                  </a:lnTo>
                  <a:lnTo>
                    <a:pt x="360" y="284"/>
                  </a:lnTo>
                  <a:lnTo>
                    <a:pt x="348" y="288"/>
                  </a:lnTo>
                  <a:lnTo>
                    <a:pt x="338" y="292"/>
                  </a:lnTo>
                  <a:lnTo>
                    <a:pt x="330" y="298"/>
                  </a:lnTo>
                  <a:lnTo>
                    <a:pt x="321" y="305"/>
                  </a:lnTo>
                  <a:lnTo>
                    <a:pt x="312" y="312"/>
                  </a:lnTo>
                  <a:lnTo>
                    <a:pt x="305" y="321"/>
                  </a:lnTo>
                  <a:lnTo>
                    <a:pt x="298" y="330"/>
                  </a:lnTo>
                  <a:lnTo>
                    <a:pt x="292" y="338"/>
                  </a:lnTo>
                  <a:lnTo>
                    <a:pt x="288" y="348"/>
                  </a:lnTo>
                  <a:lnTo>
                    <a:pt x="284" y="360"/>
                  </a:lnTo>
                  <a:lnTo>
                    <a:pt x="281" y="370"/>
                  </a:lnTo>
                  <a:lnTo>
                    <a:pt x="279" y="382"/>
                  </a:lnTo>
                  <a:lnTo>
                    <a:pt x="279" y="395"/>
                  </a:lnTo>
                  <a:lnTo>
                    <a:pt x="279" y="406"/>
                  </a:lnTo>
                  <a:lnTo>
                    <a:pt x="281" y="418"/>
                  </a:lnTo>
                  <a:lnTo>
                    <a:pt x="284" y="428"/>
                  </a:lnTo>
                  <a:lnTo>
                    <a:pt x="288" y="439"/>
                  </a:lnTo>
                  <a:lnTo>
                    <a:pt x="292" y="449"/>
                  </a:lnTo>
                  <a:lnTo>
                    <a:pt x="298" y="458"/>
                  </a:lnTo>
                  <a:lnTo>
                    <a:pt x="305" y="467"/>
                  </a:lnTo>
                  <a:lnTo>
                    <a:pt x="312" y="475"/>
                  </a:lnTo>
                  <a:lnTo>
                    <a:pt x="321" y="482"/>
                  </a:lnTo>
                  <a:lnTo>
                    <a:pt x="330" y="490"/>
                  </a:lnTo>
                  <a:lnTo>
                    <a:pt x="338" y="495"/>
                  </a:lnTo>
                  <a:lnTo>
                    <a:pt x="348" y="500"/>
                  </a:lnTo>
                  <a:lnTo>
                    <a:pt x="360" y="504"/>
                  </a:lnTo>
                  <a:lnTo>
                    <a:pt x="370" y="507"/>
                  </a:lnTo>
                  <a:lnTo>
                    <a:pt x="381" y="508"/>
                  </a:lnTo>
                  <a:lnTo>
                    <a:pt x="393" y="508"/>
                  </a:lnTo>
                  <a:lnTo>
                    <a:pt x="406" y="508"/>
                  </a:lnTo>
                  <a:lnTo>
                    <a:pt x="417" y="507"/>
                  </a:lnTo>
                  <a:lnTo>
                    <a:pt x="428" y="504"/>
                  </a:lnTo>
                  <a:lnTo>
                    <a:pt x="439" y="500"/>
                  </a:lnTo>
                  <a:lnTo>
                    <a:pt x="449" y="495"/>
                  </a:lnTo>
                  <a:lnTo>
                    <a:pt x="458" y="490"/>
                  </a:lnTo>
                  <a:lnTo>
                    <a:pt x="466" y="482"/>
                  </a:lnTo>
                  <a:lnTo>
                    <a:pt x="475" y="475"/>
                  </a:lnTo>
                  <a:lnTo>
                    <a:pt x="482" y="467"/>
                  </a:lnTo>
                  <a:lnTo>
                    <a:pt x="489" y="458"/>
                  </a:lnTo>
                  <a:lnTo>
                    <a:pt x="495" y="449"/>
                  </a:lnTo>
                  <a:lnTo>
                    <a:pt x="500" y="439"/>
                  </a:lnTo>
                  <a:lnTo>
                    <a:pt x="504" y="428"/>
                  </a:lnTo>
                  <a:lnTo>
                    <a:pt x="507" y="418"/>
                  </a:lnTo>
                  <a:lnTo>
                    <a:pt x="508" y="406"/>
                  </a:lnTo>
                  <a:lnTo>
                    <a:pt x="508" y="395"/>
                  </a:lnTo>
                  <a:lnTo>
                    <a:pt x="508" y="382"/>
                  </a:lnTo>
                  <a:lnTo>
                    <a:pt x="507" y="370"/>
                  </a:lnTo>
                  <a:lnTo>
                    <a:pt x="504" y="360"/>
                  </a:lnTo>
                  <a:lnTo>
                    <a:pt x="500" y="348"/>
                  </a:lnTo>
                  <a:lnTo>
                    <a:pt x="495" y="338"/>
                  </a:lnTo>
                  <a:lnTo>
                    <a:pt x="489" y="330"/>
                  </a:lnTo>
                  <a:lnTo>
                    <a:pt x="482" y="321"/>
                  </a:lnTo>
                  <a:lnTo>
                    <a:pt x="475" y="312"/>
                  </a:lnTo>
                  <a:lnTo>
                    <a:pt x="466" y="305"/>
                  </a:lnTo>
                  <a:lnTo>
                    <a:pt x="458" y="298"/>
                  </a:lnTo>
                  <a:lnTo>
                    <a:pt x="449" y="292"/>
                  </a:lnTo>
                  <a:lnTo>
                    <a:pt x="439" y="288"/>
                  </a:lnTo>
                  <a:lnTo>
                    <a:pt x="428" y="284"/>
                  </a:lnTo>
                  <a:lnTo>
                    <a:pt x="417" y="281"/>
                  </a:lnTo>
                  <a:lnTo>
                    <a:pt x="406" y="279"/>
                  </a:lnTo>
                  <a:lnTo>
                    <a:pt x="393" y="279"/>
                  </a:lnTo>
                  <a:close/>
                  <a:moveTo>
                    <a:pt x="393" y="562"/>
                  </a:moveTo>
                  <a:lnTo>
                    <a:pt x="377" y="560"/>
                  </a:lnTo>
                  <a:lnTo>
                    <a:pt x="360" y="557"/>
                  </a:lnTo>
                  <a:lnTo>
                    <a:pt x="344" y="554"/>
                  </a:lnTo>
                  <a:lnTo>
                    <a:pt x="328" y="549"/>
                  </a:lnTo>
                  <a:lnTo>
                    <a:pt x="314" y="541"/>
                  </a:lnTo>
                  <a:lnTo>
                    <a:pt x="301" y="533"/>
                  </a:lnTo>
                  <a:lnTo>
                    <a:pt x="288" y="523"/>
                  </a:lnTo>
                  <a:lnTo>
                    <a:pt x="275" y="513"/>
                  </a:lnTo>
                  <a:lnTo>
                    <a:pt x="265" y="500"/>
                  </a:lnTo>
                  <a:lnTo>
                    <a:pt x="255" y="487"/>
                  </a:lnTo>
                  <a:lnTo>
                    <a:pt x="246" y="474"/>
                  </a:lnTo>
                  <a:lnTo>
                    <a:pt x="239" y="459"/>
                  </a:lnTo>
                  <a:lnTo>
                    <a:pt x="233" y="443"/>
                  </a:lnTo>
                  <a:lnTo>
                    <a:pt x="230" y="428"/>
                  </a:lnTo>
                  <a:lnTo>
                    <a:pt x="227" y="410"/>
                  </a:lnTo>
                  <a:lnTo>
                    <a:pt x="226" y="395"/>
                  </a:lnTo>
                  <a:lnTo>
                    <a:pt x="227" y="377"/>
                  </a:lnTo>
                  <a:lnTo>
                    <a:pt x="230" y="360"/>
                  </a:lnTo>
                  <a:lnTo>
                    <a:pt x="233" y="344"/>
                  </a:lnTo>
                  <a:lnTo>
                    <a:pt x="239" y="328"/>
                  </a:lnTo>
                  <a:lnTo>
                    <a:pt x="246" y="314"/>
                  </a:lnTo>
                  <a:lnTo>
                    <a:pt x="255" y="301"/>
                  </a:lnTo>
                  <a:lnTo>
                    <a:pt x="265" y="288"/>
                  </a:lnTo>
                  <a:lnTo>
                    <a:pt x="275" y="275"/>
                  </a:lnTo>
                  <a:lnTo>
                    <a:pt x="288" y="265"/>
                  </a:lnTo>
                  <a:lnTo>
                    <a:pt x="301" y="255"/>
                  </a:lnTo>
                  <a:lnTo>
                    <a:pt x="314" y="246"/>
                  </a:lnTo>
                  <a:lnTo>
                    <a:pt x="328" y="239"/>
                  </a:lnTo>
                  <a:lnTo>
                    <a:pt x="344" y="233"/>
                  </a:lnTo>
                  <a:lnTo>
                    <a:pt x="360" y="230"/>
                  </a:lnTo>
                  <a:lnTo>
                    <a:pt x="377" y="227"/>
                  </a:lnTo>
                  <a:lnTo>
                    <a:pt x="393" y="226"/>
                  </a:lnTo>
                  <a:lnTo>
                    <a:pt x="410" y="227"/>
                  </a:lnTo>
                  <a:lnTo>
                    <a:pt x="428" y="230"/>
                  </a:lnTo>
                  <a:lnTo>
                    <a:pt x="443" y="233"/>
                  </a:lnTo>
                  <a:lnTo>
                    <a:pt x="459" y="239"/>
                  </a:lnTo>
                  <a:lnTo>
                    <a:pt x="474" y="246"/>
                  </a:lnTo>
                  <a:lnTo>
                    <a:pt x="487" y="255"/>
                  </a:lnTo>
                  <a:lnTo>
                    <a:pt x="500" y="265"/>
                  </a:lnTo>
                  <a:lnTo>
                    <a:pt x="512" y="275"/>
                  </a:lnTo>
                  <a:lnTo>
                    <a:pt x="523" y="288"/>
                  </a:lnTo>
                  <a:lnTo>
                    <a:pt x="533" y="301"/>
                  </a:lnTo>
                  <a:lnTo>
                    <a:pt x="541" y="314"/>
                  </a:lnTo>
                  <a:lnTo>
                    <a:pt x="548" y="328"/>
                  </a:lnTo>
                  <a:lnTo>
                    <a:pt x="553" y="344"/>
                  </a:lnTo>
                  <a:lnTo>
                    <a:pt x="557" y="360"/>
                  </a:lnTo>
                  <a:lnTo>
                    <a:pt x="560" y="377"/>
                  </a:lnTo>
                  <a:lnTo>
                    <a:pt x="561" y="395"/>
                  </a:lnTo>
                  <a:lnTo>
                    <a:pt x="560" y="410"/>
                  </a:lnTo>
                  <a:lnTo>
                    <a:pt x="557" y="428"/>
                  </a:lnTo>
                  <a:lnTo>
                    <a:pt x="553" y="443"/>
                  </a:lnTo>
                  <a:lnTo>
                    <a:pt x="548" y="459"/>
                  </a:lnTo>
                  <a:lnTo>
                    <a:pt x="541" y="474"/>
                  </a:lnTo>
                  <a:lnTo>
                    <a:pt x="533" y="487"/>
                  </a:lnTo>
                  <a:lnTo>
                    <a:pt x="523" y="500"/>
                  </a:lnTo>
                  <a:lnTo>
                    <a:pt x="512" y="513"/>
                  </a:lnTo>
                  <a:lnTo>
                    <a:pt x="500" y="523"/>
                  </a:lnTo>
                  <a:lnTo>
                    <a:pt x="487" y="533"/>
                  </a:lnTo>
                  <a:lnTo>
                    <a:pt x="474" y="541"/>
                  </a:lnTo>
                  <a:lnTo>
                    <a:pt x="459" y="549"/>
                  </a:lnTo>
                  <a:lnTo>
                    <a:pt x="443" y="554"/>
                  </a:lnTo>
                  <a:lnTo>
                    <a:pt x="428" y="557"/>
                  </a:lnTo>
                  <a:lnTo>
                    <a:pt x="410" y="560"/>
                  </a:lnTo>
                  <a:lnTo>
                    <a:pt x="393" y="562"/>
                  </a:lnTo>
                  <a:close/>
                  <a:moveTo>
                    <a:pt x="343" y="734"/>
                  </a:moveTo>
                  <a:lnTo>
                    <a:pt x="445" y="734"/>
                  </a:lnTo>
                  <a:lnTo>
                    <a:pt x="445" y="636"/>
                  </a:lnTo>
                  <a:lnTo>
                    <a:pt x="446" y="628"/>
                  </a:lnTo>
                  <a:lnTo>
                    <a:pt x="451" y="621"/>
                  </a:lnTo>
                  <a:lnTo>
                    <a:pt x="456" y="615"/>
                  </a:lnTo>
                  <a:lnTo>
                    <a:pt x="464" y="610"/>
                  </a:lnTo>
                  <a:lnTo>
                    <a:pt x="481" y="605"/>
                  </a:lnTo>
                  <a:lnTo>
                    <a:pt x="498" y="596"/>
                  </a:lnTo>
                  <a:lnTo>
                    <a:pt x="505" y="595"/>
                  </a:lnTo>
                  <a:lnTo>
                    <a:pt x="514" y="595"/>
                  </a:lnTo>
                  <a:lnTo>
                    <a:pt x="521" y="596"/>
                  </a:lnTo>
                  <a:lnTo>
                    <a:pt x="528" y="602"/>
                  </a:lnTo>
                  <a:lnTo>
                    <a:pt x="615" y="688"/>
                  </a:lnTo>
                  <a:lnTo>
                    <a:pt x="688" y="615"/>
                  </a:lnTo>
                  <a:lnTo>
                    <a:pt x="602" y="528"/>
                  </a:lnTo>
                  <a:lnTo>
                    <a:pt x="596" y="521"/>
                  </a:lnTo>
                  <a:lnTo>
                    <a:pt x="595" y="514"/>
                  </a:lnTo>
                  <a:lnTo>
                    <a:pt x="595" y="505"/>
                  </a:lnTo>
                  <a:lnTo>
                    <a:pt x="596" y="498"/>
                  </a:lnTo>
                  <a:lnTo>
                    <a:pt x="605" y="481"/>
                  </a:lnTo>
                  <a:lnTo>
                    <a:pt x="610" y="464"/>
                  </a:lnTo>
                  <a:lnTo>
                    <a:pt x="615" y="456"/>
                  </a:lnTo>
                  <a:lnTo>
                    <a:pt x="620" y="451"/>
                  </a:lnTo>
                  <a:lnTo>
                    <a:pt x="628" y="446"/>
                  </a:lnTo>
                  <a:lnTo>
                    <a:pt x="636" y="445"/>
                  </a:lnTo>
                  <a:lnTo>
                    <a:pt x="734" y="445"/>
                  </a:lnTo>
                  <a:lnTo>
                    <a:pt x="734" y="343"/>
                  </a:lnTo>
                  <a:lnTo>
                    <a:pt x="636" y="343"/>
                  </a:lnTo>
                  <a:lnTo>
                    <a:pt x="628" y="341"/>
                  </a:lnTo>
                  <a:lnTo>
                    <a:pt x="620" y="337"/>
                  </a:lnTo>
                  <a:lnTo>
                    <a:pt x="615" y="331"/>
                  </a:lnTo>
                  <a:lnTo>
                    <a:pt x="610" y="324"/>
                  </a:lnTo>
                  <a:lnTo>
                    <a:pt x="605" y="307"/>
                  </a:lnTo>
                  <a:lnTo>
                    <a:pt x="596" y="289"/>
                  </a:lnTo>
                  <a:lnTo>
                    <a:pt x="595" y="282"/>
                  </a:lnTo>
                  <a:lnTo>
                    <a:pt x="595" y="274"/>
                  </a:lnTo>
                  <a:lnTo>
                    <a:pt x="596" y="266"/>
                  </a:lnTo>
                  <a:lnTo>
                    <a:pt x="602" y="259"/>
                  </a:lnTo>
                  <a:lnTo>
                    <a:pt x="688" y="173"/>
                  </a:lnTo>
                  <a:lnTo>
                    <a:pt x="615" y="99"/>
                  </a:lnTo>
                  <a:lnTo>
                    <a:pt x="528" y="186"/>
                  </a:lnTo>
                  <a:lnTo>
                    <a:pt x="521" y="191"/>
                  </a:lnTo>
                  <a:lnTo>
                    <a:pt x="514" y="193"/>
                  </a:lnTo>
                  <a:lnTo>
                    <a:pt x="505" y="193"/>
                  </a:lnTo>
                  <a:lnTo>
                    <a:pt x="498" y="191"/>
                  </a:lnTo>
                  <a:lnTo>
                    <a:pt x="481" y="183"/>
                  </a:lnTo>
                  <a:lnTo>
                    <a:pt x="464" y="177"/>
                  </a:lnTo>
                  <a:lnTo>
                    <a:pt x="456" y="173"/>
                  </a:lnTo>
                  <a:lnTo>
                    <a:pt x="451" y="167"/>
                  </a:lnTo>
                  <a:lnTo>
                    <a:pt x="446" y="160"/>
                  </a:lnTo>
                  <a:lnTo>
                    <a:pt x="445" y="151"/>
                  </a:lnTo>
                  <a:lnTo>
                    <a:pt x="445" y="53"/>
                  </a:lnTo>
                  <a:lnTo>
                    <a:pt x="343" y="53"/>
                  </a:lnTo>
                  <a:lnTo>
                    <a:pt x="343" y="151"/>
                  </a:lnTo>
                  <a:lnTo>
                    <a:pt x="341" y="160"/>
                  </a:lnTo>
                  <a:lnTo>
                    <a:pt x="337" y="167"/>
                  </a:lnTo>
                  <a:lnTo>
                    <a:pt x="331" y="173"/>
                  </a:lnTo>
                  <a:lnTo>
                    <a:pt x="324" y="177"/>
                  </a:lnTo>
                  <a:lnTo>
                    <a:pt x="307" y="183"/>
                  </a:lnTo>
                  <a:lnTo>
                    <a:pt x="289" y="191"/>
                  </a:lnTo>
                  <a:lnTo>
                    <a:pt x="282" y="193"/>
                  </a:lnTo>
                  <a:lnTo>
                    <a:pt x="273" y="193"/>
                  </a:lnTo>
                  <a:lnTo>
                    <a:pt x="266" y="191"/>
                  </a:lnTo>
                  <a:lnTo>
                    <a:pt x="259" y="186"/>
                  </a:lnTo>
                  <a:lnTo>
                    <a:pt x="173" y="99"/>
                  </a:lnTo>
                  <a:lnTo>
                    <a:pt x="99" y="173"/>
                  </a:lnTo>
                  <a:lnTo>
                    <a:pt x="186" y="259"/>
                  </a:lnTo>
                  <a:lnTo>
                    <a:pt x="191" y="266"/>
                  </a:lnTo>
                  <a:lnTo>
                    <a:pt x="193" y="274"/>
                  </a:lnTo>
                  <a:lnTo>
                    <a:pt x="193" y="282"/>
                  </a:lnTo>
                  <a:lnTo>
                    <a:pt x="191" y="289"/>
                  </a:lnTo>
                  <a:lnTo>
                    <a:pt x="183" y="307"/>
                  </a:lnTo>
                  <a:lnTo>
                    <a:pt x="177" y="324"/>
                  </a:lnTo>
                  <a:lnTo>
                    <a:pt x="173" y="331"/>
                  </a:lnTo>
                  <a:lnTo>
                    <a:pt x="167" y="337"/>
                  </a:lnTo>
                  <a:lnTo>
                    <a:pt x="160" y="341"/>
                  </a:lnTo>
                  <a:lnTo>
                    <a:pt x="151" y="343"/>
                  </a:lnTo>
                  <a:lnTo>
                    <a:pt x="53" y="343"/>
                  </a:lnTo>
                  <a:lnTo>
                    <a:pt x="53" y="445"/>
                  </a:lnTo>
                  <a:lnTo>
                    <a:pt x="151" y="445"/>
                  </a:lnTo>
                  <a:lnTo>
                    <a:pt x="160" y="446"/>
                  </a:lnTo>
                  <a:lnTo>
                    <a:pt x="167" y="451"/>
                  </a:lnTo>
                  <a:lnTo>
                    <a:pt x="173" y="456"/>
                  </a:lnTo>
                  <a:lnTo>
                    <a:pt x="177" y="464"/>
                  </a:lnTo>
                  <a:lnTo>
                    <a:pt x="183" y="481"/>
                  </a:lnTo>
                  <a:lnTo>
                    <a:pt x="191" y="498"/>
                  </a:lnTo>
                  <a:lnTo>
                    <a:pt x="193" y="505"/>
                  </a:lnTo>
                  <a:lnTo>
                    <a:pt x="193" y="514"/>
                  </a:lnTo>
                  <a:lnTo>
                    <a:pt x="191" y="521"/>
                  </a:lnTo>
                  <a:lnTo>
                    <a:pt x="186" y="528"/>
                  </a:lnTo>
                  <a:lnTo>
                    <a:pt x="99" y="615"/>
                  </a:lnTo>
                  <a:lnTo>
                    <a:pt x="173" y="688"/>
                  </a:lnTo>
                  <a:lnTo>
                    <a:pt x="259" y="602"/>
                  </a:lnTo>
                  <a:lnTo>
                    <a:pt x="266" y="596"/>
                  </a:lnTo>
                  <a:lnTo>
                    <a:pt x="273" y="595"/>
                  </a:lnTo>
                  <a:lnTo>
                    <a:pt x="282" y="595"/>
                  </a:lnTo>
                  <a:lnTo>
                    <a:pt x="289" y="596"/>
                  </a:lnTo>
                  <a:lnTo>
                    <a:pt x="307" y="605"/>
                  </a:lnTo>
                  <a:lnTo>
                    <a:pt x="324" y="610"/>
                  </a:lnTo>
                  <a:lnTo>
                    <a:pt x="331" y="615"/>
                  </a:lnTo>
                  <a:lnTo>
                    <a:pt x="337" y="621"/>
                  </a:lnTo>
                  <a:lnTo>
                    <a:pt x="341" y="628"/>
                  </a:lnTo>
                  <a:lnTo>
                    <a:pt x="343" y="636"/>
                  </a:lnTo>
                  <a:lnTo>
                    <a:pt x="343" y="734"/>
                  </a:lnTo>
                  <a:close/>
                  <a:moveTo>
                    <a:pt x="471" y="788"/>
                  </a:moveTo>
                  <a:lnTo>
                    <a:pt x="317" y="788"/>
                  </a:lnTo>
                  <a:lnTo>
                    <a:pt x="311" y="786"/>
                  </a:lnTo>
                  <a:lnTo>
                    <a:pt x="305" y="785"/>
                  </a:lnTo>
                  <a:lnTo>
                    <a:pt x="301" y="783"/>
                  </a:lnTo>
                  <a:lnTo>
                    <a:pt x="298" y="779"/>
                  </a:lnTo>
                  <a:lnTo>
                    <a:pt x="294" y="776"/>
                  </a:lnTo>
                  <a:lnTo>
                    <a:pt x="292" y="772"/>
                  </a:lnTo>
                  <a:lnTo>
                    <a:pt x="291" y="766"/>
                  </a:lnTo>
                  <a:lnTo>
                    <a:pt x="289" y="762"/>
                  </a:lnTo>
                  <a:lnTo>
                    <a:pt x="289" y="654"/>
                  </a:lnTo>
                  <a:lnTo>
                    <a:pt x="286" y="652"/>
                  </a:lnTo>
                  <a:lnTo>
                    <a:pt x="284" y="651"/>
                  </a:lnTo>
                  <a:lnTo>
                    <a:pt x="191" y="743"/>
                  </a:lnTo>
                  <a:lnTo>
                    <a:pt x="187" y="747"/>
                  </a:lnTo>
                  <a:lnTo>
                    <a:pt x="183" y="749"/>
                  </a:lnTo>
                  <a:lnTo>
                    <a:pt x="177" y="750"/>
                  </a:lnTo>
                  <a:lnTo>
                    <a:pt x="173" y="752"/>
                  </a:lnTo>
                  <a:lnTo>
                    <a:pt x="167" y="750"/>
                  </a:lnTo>
                  <a:lnTo>
                    <a:pt x="163" y="749"/>
                  </a:lnTo>
                  <a:lnTo>
                    <a:pt x="158" y="747"/>
                  </a:lnTo>
                  <a:lnTo>
                    <a:pt x="154" y="743"/>
                  </a:lnTo>
                  <a:lnTo>
                    <a:pt x="44" y="634"/>
                  </a:lnTo>
                  <a:lnTo>
                    <a:pt x="40" y="629"/>
                  </a:lnTo>
                  <a:lnTo>
                    <a:pt x="39" y="625"/>
                  </a:lnTo>
                  <a:lnTo>
                    <a:pt x="37" y="621"/>
                  </a:lnTo>
                  <a:lnTo>
                    <a:pt x="36" y="615"/>
                  </a:lnTo>
                  <a:lnTo>
                    <a:pt x="37" y="610"/>
                  </a:lnTo>
                  <a:lnTo>
                    <a:pt x="39" y="605"/>
                  </a:lnTo>
                  <a:lnTo>
                    <a:pt x="40" y="600"/>
                  </a:lnTo>
                  <a:lnTo>
                    <a:pt x="44" y="596"/>
                  </a:lnTo>
                  <a:lnTo>
                    <a:pt x="137" y="504"/>
                  </a:lnTo>
                  <a:lnTo>
                    <a:pt x="135" y="501"/>
                  </a:lnTo>
                  <a:lnTo>
                    <a:pt x="134" y="498"/>
                  </a:lnTo>
                  <a:lnTo>
                    <a:pt x="26" y="498"/>
                  </a:lnTo>
                  <a:lnTo>
                    <a:pt x="21" y="497"/>
                  </a:lnTo>
                  <a:lnTo>
                    <a:pt x="16" y="495"/>
                  </a:lnTo>
                  <a:lnTo>
                    <a:pt x="11" y="492"/>
                  </a:lnTo>
                  <a:lnTo>
                    <a:pt x="8" y="490"/>
                  </a:lnTo>
                  <a:lnTo>
                    <a:pt x="4" y="487"/>
                  </a:lnTo>
                  <a:lnTo>
                    <a:pt x="3" y="482"/>
                  </a:lnTo>
                  <a:lnTo>
                    <a:pt x="1" y="477"/>
                  </a:lnTo>
                  <a:lnTo>
                    <a:pt x="0" y="471"/>
                  </a:lnTo>
                  <a:lnTo>
                    <a:pt x="0" y="317"/>
                  </a:lnTo>
                  <a:lnTo>
                    <a:pt x="1" y="311"/>
                  </a:lnTo>
                  <a:lnTo>
                    <a:pt x="3" y="305"/>
                  </a:lnTo>
                  <a:lnTo>
                    <a:pt x="4" y="301"/>
                  </a:lnTo>
                  <a:lnTo>
                    <a:pt x="8" y="298"/>
                  </a:lnTo>
                  <a:lnTo>
                    <a:pt x="11" y="294"/>
                  </a:lnTo>
                  <a:lnTo>
                    <a:pt x="16" y="292"/>
                  </a:lnTo>
                  <a:lnTo>
                    <a:pt x="21" y="291"/>
                  </a:lnTo>
                  <a:lnTo>
                    <a:pt x="26" y="289"/>
                  </a:lnTo>
                  <a:lnTo>
                    <a:pt x="134" y="289"/>
                  </a:lnTo>
                  <a:lnTo>
                    <a:pt x="135" y="287"/>
                  </a:lnTo>
                  <a:lnTo>
                    <a:pt x="137" y="284"/>
                  </a:lnTo>
                  <a:lnTo>
                    <a:pt x="44" y="191"/>
                  </a:lnTo>
                  <a:lnTo>
                    <a:pt x="40" y="187"/>
                  </a:lnTo>
                  <a:lnTo>
                    <a:pt x="39" y="183"/>
                  </a:lnTo>
                  <a:lnTo>
                    <a:pt x="37" y="177"/>
                  </a:lnTo>
                  <a:lnTo>
                    <a:pt x="36" y="173"/>
                  </a:lnTo>
                  <a:lnTo>
                    <a:pt x="37" y="167"/>
                  </a:lnTo>
                  <a:lnTo>
                    <a:pt x="39" y="163"/>
                  </a:lnTo>
                  <a:lnTo>
                    <a:pt x="40" y="158"/>
                  </a:lnTo>
                  <a:lnTo>
                    <a:pt x="44" y="154"/>
                  </a:lnTo>
                  <a:lnTo>
                    <a:pt x="154" y="45"/>
                  </a:lnTo>
                  <a:lnTo>
                    <a:pt x="158" y="40"/>
                  </a:lnTo>
                  <a:lnTo>
                    <a:pt x="163" y="39"/>
                  </a:lnTo>
                  <a:lnTo>
                    <a:pt x="167" y="37"/>
                  </a:lnTo>
                  <a:lnTo>
                    <a:pt x="173" y="36"/>
                  </a:lnTo>
                  <a:lnTo>
                    <a:pt x="173" y="36"/>
                  </a:lnTo>
                  <a:lnTo>
                    <a:pt x="177" y="37"/>
                  </a:lnTo>
                  <a:lnTo>
                    <a:pt x="183" y="39"/>
                  </a:lnTo>
                  <a:lnTo>
                    <a:pt x="187" y="40"/>
                  </a:lnTo>
                  <a:lnTo>
                    <a:pt x="191" y="45"/>
                  </a:lnTo>
                  <a:lnTo>
                    <a:pt x="284" y="137"/>
                  </a:lnTo>
                  <a:lnTo>
                    <a:pt x="286" y="135"/>
                  </a:lnTo>
                  <a:lnTo>
                    <a:pt x="289" y="134"/>
                  </a:lnTo>
                  <a:lnTo>
                    <a:pt x="289" y="26"/>
                  </a:lnTo>
                  <a:lnTo>
                    <a:pt x="291" y="22"/>
                  </a:lnTo>
                  <a:lnTo>
                    <a:pt x="292" y="16"/>
                  </a:lnTo>
                  <a:lnTo>
                    <a:pt x="294" y="11"/>
                  </a:lnTo>
                  <a:lnTo>
                    <a:pt x="298" y="9"/>
                  </a:lnTo>
                  <a:lnTo>
                    <a:pt x="301" y="4"/>
                  </a:lnTo>
                  <a:lnTo>
                    <a:pt x="305" y="3"/>
                  </a:lnTo>
                  <a:lnTo>
                    <a:pt x="311" y="1"/>
                  </a:lnTo>
                  <a:lnTo>
                    <a:pt x="317" y="0"/>
                  </a:lnTo>
                  <a:lnTo>
                    <a:pt x="471" y="0"/>
                  </a:lnTo>
                  <a:lnTo>
                    <a:pt x="476" y="1"/>
                  </a:lnTo>
                  <a:lnTo>
                    <a:pt x="481" y="3"/>
                  </a:lnTo>
                  <a:lnTo>
                    <a:pt x="487" y="4"/>
                  </a:lnTo>
                  <a:lnTo>
                    <a:pt x="489" y="9"/>
                  </a:lnTo>
                  <a:lnTo>
                    <a:pt x="492" y="11"/>
                  </a:lnTo>
                  <a:lnTo>
                    <a:pt x="495" y="16"/>
                  </a:lnTo>
                  <a:lnTo>
                    <a:pt x="497" y="22"/>
                  </a:lnTo>
                  <a:lnTo>
                    <a:pt x="498" y="26"/>
                  </a:lnTo>
                  <a:lnTo>
                    <a:pt x="498" y="134"/>
                  </a:lnTo>
                  <a:lnTo>
                    <a:pt x="501" y="135"/>
                  </a:lnTo>
                  <a:lnTo>
                    <a:pt x="504" y="137"/>
                  </a:lnTo>
                  <a:lnTo>
                    <a:pt x="596" y="45"/>
                  </a:lnTo>
                  <a:lnTo>
                    <a:pt x="600" y="40"/>
                  </a:lnTo>
                  <a:lnTo>
                    <a:pt x="605" y="39"/>
                  </a:lnTo>
                  <a:lnTo>
                    <a:pt x="610" y="37"/>
                  </a:lnTo>
                  <a:lnTo>
                    <a:pt x="615" y="36"/>
                  </a:lnTo>
                  <a:lnTo>
                    <a:pt x="615" y="36"/>
                  </a:lnTo>
                  <a:lnTo>
                    <a:pt x="620" y="37"/>
                  </a:lnTo>
                  <a:lnTo>
                    <a:pt x="625" y="39"/>
                  </a:lnTo>
                  <a:lnTo>
                    <a:pt x="629" y="40"/>
                  </a:lnTo>
                  <a:lnTo>
                    <a:pt x="633" y="45"/>
                  </a:lnTo>
                  <a:lnTo>
                    <a:pt x="743" y="154"/>
                  </a:lnTo>
                  <a:lnTo>
                    <a:pt x="747" y="158"/>
                  </a:lnTo>
                  <a:lnTo>
                    <a:pt x="749" y="163"/>
                  </a:lnTo>
                  <a:lnTo>
                    <a:pt x="750" y="167"/>
                  </a:lnTo>
                  <a:lnTo>
                    <a:pt x="752" y="173"/>
                  </a:lnTo>
                  <a:lnTo>
                    <a:pt x="750" y="177"/>
                  </a:lnTo>
                  <a:lnTo>
                    <a:pt x="749" y="183"/>
                  </a:lnTo>
                  <a:lnTo>
                    <a:pt x="747" y="187"/>
                  </a:lnTo>
                  <a:lnTo>
                    <a:pt x="743" y="191"/>
                  </a:lnTo>
                  <a:lnTo>
                    <a:pt x="651" y="284"/>
                  </a:lnTo>
                  <a:lnTo>
                    <a:pt x="652" y="287"/>
                  </a:lnTo>
                  <a:lnTo>
                    <a:pt x="654" y="289"/>
                  </a:lnTo>
                  <a:lnTo>
                    <a:pt x="762" y="289"/>
                  </a:lnTo>
                  <a:lnTo>
                    <a:pt x="766" y="291"/>
                  </a:lnTo>
                  <a:lnTo>
                    <a:pt x="772" y="292"/>
                  </a:lnTo>
                  <a:lnTo>
                    <a:pt x="776" y="294"/>
                  </a:lnTo>
                  <a:lnTo>
                    <a:pt x="779" y="298"/>
                  </a:lnTo>
                  <a:lnTo>
                    <a:pt x="783" y="301"/>
                  </a:lnTo>
                  <a:lnTo>
                    <a:pt x="785" y="305"/>
                  </a:lnTo>
                  <a:lnTo>
                    <a:pt x="786" y="311"/>
                  </a:lnTo>
                  <a:lnTo>
                    <a:pt x="788" y="317"/>
                  </a:lnTo>
                  <a:lnTo>
                    <a:pt x="788" y="471"/>
                  </a:lnTo>
                  <a:lnTo>
                    <a:pt x="786" y="477"/>
                  </a:lnTo>
                  <a:lnTo>
                    <a:pt x="785" y="482"/>
                  </a:lnTo>
                  <a:lnTo>
                    <a:pt x="783" y="487"/>
                  </a:lnTo>
                  <a:lnTo>
                    <a:pt x="779" y="490"/>
                  </a:lnTo>
                  <a:lnTo>
                    <a:pt x="776" y="492"/>
                  </a:lnTo>
                  <a:lnTo>
                    <a:pt x="772" y="495"/>
                  </a:lnTo>
                  <a:lnTo>
                    <a:pt x="766" y="497"/>
                  </a:lnTo>
                  <a:lnTo>
                    <a:pt x="762" y="498"/>
                  </a:lnTo>
                  <a:lnTo>
                    <a:pt x="654" y="498"/>
                  </a:lnTo>
                  <a:lnTo>
                    <a:pt x="652" y="501"/>
                  </a:lnTo>
                  <a:lnTo>
                    <a:pt x="651" y="504"/>
                  </a:lnTo>
                  <a:lnTo>
                    <a:pt x="743" y="596"/>
                  </a:lnTo>
                  <a:lnTo>
                    <a:pt x="747" y="600"/>
                  </a:lnTo>
                  <a:lnTo>
                    <a:pt x="749" y="605"/>
                  </a:lnTo>
                  <a:lnTo>
                    <a:pt x="750" y="610"/>
                  </a:lnTo>
                  <a:lnTo>
                    <a:pt x="752" y="615"/>
                  </a:lnTo>
                  <a:lnTo>
                    <a:pt x="750" y="621"/>
                  </a:lnTo>
                  <a:lnTo>
                    <a:pt x="749" y="625"/>
                  </a:lnTo>
                  <a:lnTo>
                    <a:pt x="747" y="629"/>
                  </a:lnTo>
                  <a:lnTo>
                    <a:pt x="743" y="634"/>
                  </a:lnTo>
                  <a:lnTo>
                    <a:pt x="633" y="743"/>
                  </a:lnTo>
                  <a:lnTo>
                    <a:pt x="629" y="747"/>
                  </a:lnTo>
                  <a:lnTo>
                    <a:pt x="625" y="749"/>
                  </a:lnTo>
                  <a:lnTo>
                    <a:pt x="620" y="750"/>
                  </a:lnTo>
                  <a:lnTo>
                    <a:pt x="615" y="752"/>
                  </a:lnTo>
                  <a:lnTo>
                    <a:pt x="610" y="750"/>
                  </a:lnTo>
                  <a:lnTo>
                    <a:pt x="605" y="749"/>
                  </a:lnTo>
                  <a:lnTo>
                    <a:pt x="600" y="747"/>
                  </a:lnTo>
                  <a:lnTo>
                    <a:pt x="596" y="743"/>
                  </a:lnTo>
                  <a:lnTo>
                    <a:pt x="504" y="651"/>
                  </a:lnTo>
                  <a:lnTo>
                    <a:pt x="501" y="652"/>
                  </a:lnTo>
                  <a:lnTo>
                    <a:pt x="498" y="654"/>
                  </a:lnTo>
                  <a:lnTo>
                    <a:pt x="498" y="762"/>
                  </a:lnTo>
                  <a:lnTo>
                    <a:pt x="497" y="766"/>
                  </a:lnTo>
                  <a:lnTo>
                    <a:pt x="495" y="772"/>
                  </a:lnTo>
                  <a:lnTo>
                    <a:pt x="492" y="776"/>
                  </a:lnTo>
                  <a:lnTo>
                    <a:pt x="489" y="779"/>
                  </a:lnTo>
                  <a:lnTo>
                    <a:pt x="487" y="783"/>
                  </a:lnTo>
                  <a:lnTo>
                    <a:pt x="481" y="785"/>
                  </a:lnTo>
                  <a:lnTo>
                    <a:pt x="476" y="786"/>
                  </a:lnTo>
                  <a:lnTo>
                    <a:pt x="471"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13">
              <a:extLst>
                <a:ext uri="{FF2B5EF4-FFF2-40B4-BE49-F238E27FC236}">
                  <a16:creationId xmlns:a16="http://schemas.microsoft.com/office/drawing/2014/main" id="{4E77B57A-AE1E-4424-BE30-A1368A7DBB0E}"/>
                </a:ext>
              </a:extLst>
            </p:cNvPr>
            <p:cNvSpPr>
              <a:spLocks noEditPoints="1"/>
            </p:cNvSpPr>
            <p:nvPr/>
          </p:nvSpPr>
          <p:spPr bwMode="auto">
            <a:xfrm>
              <a:off x="1200150" y="2995613"/>
              <a:ext cx="369888" cy="371475"/>
            </a:xfrm>
            <a:custGeom>
              <a:avLst/>
              <a:gdLst>
                <a:gd name="T0" fmla="*/ 288 w 701"/>
                <a:gd name="T1" fmla="*/ 280 h 701"/>
                <a:gd name="T2" fmla="*/ 257 w 701"/>
                <a:gd name="T3" fmla="*/ 339 h 701"/>
                <a:gd name="T4" fmla="*/ 267 w 701"/>
                <a:gd name="T5" fmla="*/ 393 h 701"/>
                <a:gd name="T6" fmla="*/ 305 w 701"/>
                <a:gd name="T7" fmla="*/ 432 h 701"/>
                <a:gd name="T8" fmla="*/ 364 w 701"/>
                <a:gd name="T9" fmla="*/ 443 h 701"/>
                <a:gd name="T10" fmla="*/ 429 w 701"/>
                <a:gd name="T11" fmla="*/ 399 h 701"/>
                <a:gd name="T12" fmla="*/ 443 w 701"/>
                <a:gd name="T13" fmla="*/ 341 h 701"/>
                <a:gd name="T14" fmla="*/ 423 w 701"/>
                <a:gd name="T15" fmla="*/ 292 h 701"/>
                <a:gd name="T16" fmla="*/ 378 w 701"/>
                <a:gd name="T17" fmla="*/ 260 h 701"/>
                <a:gd name="T18" fmla="*/ 321 w 701"/>
                <a:gd name="T19" fmla="*/ 492 h 701"/>
                <a:gd name="T20" fmla="*/ 246 w 701"/>
                <a:gd name="T21" fmla="*/ 452 h 701"/>
                <a:gd name="T22" fmla="*/ 207 w 701"/>
                <a:gd name="T23" fmla="*/ 377 h 701"/>
                <a:gd name="T24" fmla="*/ 216 w 701"/>
                <a:gd name="T25" fmla="*/ 292 h 701"/>
                <a:gd name="T26" fmla="*/ 253 w 701"/>
                <a:gd name="T27" fmla="*/ 240 h 701"/>
                <a:gd name="T28" fmla="*/ 308 w 701"/>
                <a:gd name="T29" fmla="*/ 210 h 701"/>
                <a:gd name="T30" fmla="*/ 378 w 701"/>
                <a:gd name="T31" fmla="*/ 207 h 701"/>
                <a:gd name="T32" fmla="*/ 455 w 701"/>
                <a:gd name="T33" fmla="*/ 249 h 701"/>
                <a:gd name="T34" fmla="*/ 493 w 701"/>
                <a:gd name="T35" fmla="*/ 322 h 701"/>
                <a:gd name="T36" fmla="*/ 483 w 701"/>
                <a:gd name="T37" fmla="*/ 407 h 701"/>
                <a:gd name="T38" fmla="*/ 447 w 701"/>
                <a:gd name="T39" fmla="*/ 459 h 701"/>
                <a:gd name="T40" fmla="*/ 393 w 701"/>
                <a:gd name="T41" fmla="*/ 489 h 701"/>
                <a:gd name="T42" fmla="*/ 285 w 701"/>
                <a:gd name="T43" fmla="*/ 545 h 701"/>
                <a:gd name="T44" fmla="*/ 357 w 701"/>
                <a:gd name="T45" fmla="*/ 567 h 701"/>
                <a:gd name="T46" fmla="*/ 460 w 701"/>
                <a:gd name="T47" fmla="*/ 530 h 701"/>
                <a:gd name="T48" fmla="*/ 521 w 701"/>
                <a:gd name="T49" fmla="*/ 465 h 701"/>
                <a:gd name="T50" fmla="*/ 643 w 701"/>
                <a:gd name="T51" fmla="*/ 371 h 701"/>
                <a:gd name="T52" fmla="*/ 553 w 701"/>
                <a:gd name="T53" fmla="*/ 312 h 701"/>
                <a:gd name="T54" fmla="*/ 534 w 701"/>
                <a:gd name="T55" fmla="*/ 234 h 701"/>
                <a:gd name="T56" fmla="*/ 449 w 701"/>
                <a:gd name="T57" fmla="*/ 164 h 701"/>
                <a:gd name="T58" fmla="*/ 397 w 701"/>
                <a:gd name="T59" fmla="*/ 149 h 701"/>
                <a:gd name="T60" fmla="*/ 339 w 701"/>
                <a:gd name="T61" fmla="*/ 125 h 701"/>
                <a:gd name="T62" fmla="*/ 236 w 701"/>
                <a:gd name="T63" fmla="*/ 177 h 701"/>
                <a:gd name="T64" fmla="*/ 174 w 701"/>
                <a:gd name="T65" fmla="*/ 240 h 701"/>
                <a:gd name="T66" fmla="*/ 125 w 701"/>
                <a:gd name="T67" fmla="*/ 345 h 701"/>
                <a:gd name="T68" fmla="*/ 152 w 701"/>
                <a:gd name="T69" fmla="*/ 407 h 701"/>
                <a:gd name="T70" fmla="*/ 161 w 701"/>
                <a:gd name="T71" fmla="*/ 472 h 701"/>
                <a:gd name="T72" fmla="*/ 257 w 701"/>
                <a:gd name="T73" fmla="*/ 535 h 701"/>
                <a:gd name="T74" fmla="*/ 347 w 701"/>
                <a:gd name="T75" fmla="*/ 695 h 701"/>
                <a:gd name="T76" fmla="*/ 275 w 701"/>
                <a:gd name="T77" fmla="*/ 597 h 701"/>
                <a:gd name="T78" fmla="*/ 188 w 701"/>
                <a:gd name="T79" fmla="*/ 658 h 701"/>
                <a:gd name="T80" fmla="*/ 54 w 701"/>
                <a:gd name="T81" fmla="*/ 540 h 701"/>
                <a:gd name="T82" fmla="*/ 54 w 701"/>
                <a:gd name="T83" fmla="*/ 511 h 701"/>
                <a:gd name="T84" fmla="*/ 95 w 701"/>
                <a:gd name="T85" fmla="*/ 391 h 701"/>
                <a:gd name="T86" fmla="*/ 1 w 701"/>
                <a:gd name="T87" fmla="*/ 355 h 701"/>
                <a:gd name="T88" fmla="*/ 43 w 701"/>
                <a:gd name="T89" fmla="*/ 181 h 701"/>
                <a:gd name="T90" fmla="*/ 70 w 701"/>
                <a:gd name="T91" fmla="*/ 171 h 701"/>
                <a:gd name="T92" fmla="*/ 164 w 701"/>
                <a:gd name="T93" fmla="*/ 76 h 701"/>
                <a:gd name="T94" fmla="*/ 172 w 701"/>
                <a:gd name="T95" fmla="*/ 47 h 701"/>
                <a:gd name="T96" fmla="*/ 345 w 701"/>
                <a:gd name="T97" fmla="*/ 1 h 701"/>
                <a:gd name="T98" fmla="*/ 384 w 701"/>
                <a:gd name="T99" fmla="*/ 95 h 701"/>
                <a:gd name="T100" fmla="*/ 496 w 701"/>
                <a:gd name="T101" fmla="*/ 47 h 701"/>
                <a:gd name="T102" fmla="*/ 525 w 701"/>
                <a:gd name="T103" fmla="*/ 46 h 701"/>
                <a:gd name="T104" fmla="*/ 650 w 701"/>
                <a:gd name="T105" fmla="*/ 175 h 701"/>
                <a:gd name="T106" fmla="*/ 593 w 701"/>
                <a:gd name="T107" fmla="*/ 265 h 701"/>
                <a:gd name="T108" fmla="*/ 691 w 701"/>
                <a:gd name="T109" fmla="*/ 332 h 701"/>
                <a:gd name="T110" fmla="*/ 699 w 701"/>
                <a:gd name="T111" fmla="*/ 360 h 701"/>
                <a:gd name="T112" fmla="*/ 645 w 701"/>
                <a:gd name="T113" fmla="*/ 528 h 701"/>
                <a:gd name="T114" fmla="*/ 535 w 701"/>
                <a:gd name="T115" fmla="*/ 530 h 701"/>
                <a:gd name="T116" fmla="*/ 537 w 701"/>
                <a:gd name="T117" fmla="*/ 639 h 701"/>
                <a:gd name="T118" fmla="*/ 370 w 701"/>
                <a:gd name="T119" fmla="*/ 69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1" h="701">
                  <a:moveTo>
                    <a:pt x="349" y="256"/>
                  </a:moveTo>
                  <a:lnTo>
                    <a:pt x="337" y="257"/>
                  </a:lnTo>
                  <a:lnTo>
                    <a:pt x="322" y="260"/>
                  </a:lnTo>
                  <a:lnTo>
                    <a:pt x="311" y="265"/>
                  </a:lnTo>
                  <a:lnTo>
                    <a:pt x="298" y="272"/>
                  </a:lnTo>
                  <a:lnTo>
                    <a:pt x="288" y="280"/>
                  </a:lnTo>
                  <a:lnTo>
                    <a:pt x="277" y="289"/>
                  </a:lnTo>
                  <a:lnTo>
                    <a:pt x="270" y="301"/>
                  </a:lnTo>
                  <a:lnTo>
                    <a:pt x="263" y="314"/>
                  </a:lnTo>
                  <a:lnTo>
                    <a:pt x="260" y="322"/>
                  </a:lnTo>
                  <a:lnTo>
                    <a:pt x="259" y="331"/>
                  </a:lnTo>
                  <a:lnTo>
                    <a:pt x="257" y="339"/>
                  </a:lnTo>
                  <a:lnTo>
                    <a:pt x="256" y="348"/>
                  </a:lnTo>
                  <a:lnTo>
                    <a:pt x="256" y="358"/>
                  </a:lnTo>
                  <a:lnTo>
                    <a:pt x="257" y="367"/>
                  </a:lnTo>
                  <a:lnTo>
                    <a:pt x="260" y="375"/>
                  </a:lnTo>
                  <a:lnTo>
                    <a:pt x="263" y="384"/>
                  </a:lnTo>
                  <a:lnTo>
                    <a:pt x="267" y="393"/>
                  </a:lnTo>
                  <a:lnTo>
                    <a:pt x="272" y="401"/>
                  </a:lnTo>
                  <a:lnTo>
                    <a:pt x="276" y="409"/>
                  </a:lnTo>
                  <a:lnTo>
                    <a:pt x="283" y="416"/>
                  </a:lnTo>
                  <a:lnTo>
                    <a:pt x="289" y="422"/>
                  </a:lnTo>
                  <a:lnTo>
                    <a:pt x="296" y="427"/>
                  </a:lnTo>
                  <a:lnTo>
                    <a:pt x="305" y="432"/>
                  </a:lnTo>
                  <a:lnTo>
                    <a:pt x="313" y="436"/>
                  </a:lnTo>
                  <a:lnTo>
                    <a:pt x="322" y="439"/>
                  </a:lnTo>
                  <a:lnTo>
                    <a:pt x="331" y="442"/>
                  </a:lnTo>
                  <a:lnTo>
                    <a:pt x="341" y="443"/>
                  </a:lnTo>
                  <a:lnTo>
                    <a:pt x="349" y="443"/>
                  </a:lnTo>
                  <a:lnTo>
                    <a:pt x="364" y="443"/>
                  </a:lnTo>
                  <a:lnTo>
                    <a:pt x="377" y="439"/>
                  </a:lnTo>
                  <a:lnTo>
                    <a:pt x="390" y="435"/>
                  </a:lnTo>
                  <a:lnTo>
                    <a:pt x="401" y="427"/>
                  </a:lnTo>
                  <a:lnTo>
                    <a:pt x="411" y="420"/>
                  </a:lnTo>
                  <a:lnTo>
                    <a:pt x="421" y="410"/>
                  </a:lnTo>
                  <a:lnTo>
                    <a:pt x="429" y="399"/>
                  </a:lnTo>
                  <a:lnTo>
                    <a:pt x="436" y="387"/>
                  </a:lnTo>
                  <a:lnTo>
                    <a:pt x="439" y="378"/>
                  </a:lnTo>
                  <a:lnTo>
                    <a:pt x="442" y="368"/>
                  </a:lnTo>
                  <a:lnTo>
                    <a:pt x="443" y="360"/>
                  </a:lnTo>
                  <a:lnTo>
                    <a:pt x="443" y="351"/>
                  </a:lnTo>
                  <a:lnTo>
                    <a:pt x="443" y="341"/>
                  </a:lnTo>
                  <a:lnTo>
                    <a:pt x="442" y="332"/>
                  </a:lnTo>
                  <a:lnTo>
                    <a:pt x="440" y="324"/>
                  </a:lnTo>
                  <a:lnTo>
                    <a:pt x="436" y="315"/>
                  </a:lnTo>
                  <a:lnTo>
                    <a:pt x="433" y="306"/>
                  </a:lnTo>
                  <a:lnTo>
                    <a:pt x="429" y="299"/>
                  </a:lnTo>
                  <a:lnTo>
                    <a:pt x="423" y="292"/>
                  </a:lnTo>
                  <a:lnTo>
                    <a:pt x="417" y="285"/>
                  </a:lnTo>
                  <a:lnTo>
                    <a:pt x="410" y="279"/>
                  </a:lnTo>
                  <a:lnTo>
                    <a:pt x="403" y="273"/>
                  </a:lnTo>
                  <a:lnTo>
                    <a:pt x="396" y="267"/>
                  </a:lnTo>
                  <a:lnTo>
                    <a:pt x="387" y="263"/>
                  </a:lnTo>
                  <a:lnTo>
                    <a:pt x="378" y="260"/>
                  </a:lnTo>
                  <a:lnTo>
                    <a:pt x="368" y="257"/>
                  </a:lnTo>
                  <a:lnTo>
                    <a:pt x="360" y="256"/>
                  </a:lnTo>
                  <a:lnTo>
                    <a:pt x="349" y="256"/>
                  </a:lnTo>
                  <a:close/>
                  <a:moveTo>
                    <a:pt x="349" y="496"/>
                  </a:moveTo>
                  <a:lnTo>
                    <a:pt x="335" y="495"/>
                  </a:lnTo>
                  <a:lnTo>
                    <a:pt x="321" y="492"/>
                  </a:lnTo>
                  <a:lnTo>
                    <a:pt x="306" y="489"/>
                  </a:lnTo>
                  <a:lnTo>
                    <a:pt x="292" y="483"/>
                  </a:lnTo>
                  <a:lnTo>
                    <a:pt x="279" y="478"/>
                  </a:lnTo>
                  <a:lnTo>
                    <a:pt x="267" y="471"/>
                  </a:lnTo>
                  <a:lnTo>
                    <a:pt x="256" y="462"/>
                  </a:lnTo>
                  <a:lnTo>
                    <a:pt x="246" y="452"/>
                  </a:lnTo>
                  <a:lnTo>
                    <a:pt x="236" y="442"/>
                  </a:lnTo>
                  <a:lnTo>
                    <a:pt x="227" y="430"/>
                  </a:lnTo>
                  <a:lnTo>
                    <a:pt x="220" y="417"/>
                  </a:lnTo>
                  <a:lnTo>
                    <a:pt x="214" y="404"/>
                  </a:lnTo>
                  <a:lnTo>
                    <a:pt x="210" y="390"/>
                  </a:lnTo>
                  <a:lnTo>
                    <a:pt x="207" y="377"/>
                  </a:lnTo>
                  <a:lnTo>
                    <a:pt x="204" y="363"/>
                  </a:lnTo>
                  <a:lnTo>
                    <a:pt x="204" y="348"/>
                  </a:lnTo>
                  <a:lnTo>
                    <a:pt x="204" y="334"/>
                  </a:lnTo>
                  <a:lnTo>
                    <a:pt x="207" y="319"/>
                  </a:lnTo>
                  <a:lnTo>
                    <a:pt x="211" y="306"/>
                  </a:lnTo>
                  <a:lnTo>
                    <a:pt x="216" y="292"/>
                  </a:lnTo>
                  <a:lnTo>
                    <a:pt x="220" y="283"/>
                  </a:lnTo>
                  <a:lnTo>
                    <a:pt x="226" y="273"/>
                  </a:lnTo>
                  <a:lnTo>
                    <a:pt x="231" y="265"/>
                  </a:lnTo>
                  <a:lnTo>
                    <a:pt x="239" y="256"/>
                  </a:lnTo>
                  <a:lnTo>
                    <a:pt x="246" y="249"/>
                  </a:lnTo>
                  <a:lnTo>
                    <a:pt x="253" y="240"/>
                  </a:lnTo>
                  <a:lnTo>
                    <a:pt x="260" y="234"/>
                  </a:lnTo>
                  <a:lnTo>
                    <a:pt x="269" y="229"/>
                  </a:lnTo>
                  <a:lnTo>
                    <a:pt x="279" y="223"/>
                  </a:lnTo>
                  <a:lnTo>
                    <a:pt x="288" y="217"/>
                  </a:lnTo>
                  <a:lnTo>
                    <a:pt x="298" y="214"/>
                  </a:lnTo>
                  <a:lnTo>
                    <a:pt x="308" y="210"/>
                  </a:lnTo>
                  <a:lnTo>
                    <a:pt x="318" y="207"/>
                  </a:lnTo>
                  <a:lnTo>
                    <a:pt x="328" y="206"/>
                  </a:lnTo>
                  <a:lnTo>
                    <a:pt x="339" y="204"/>
                  </a:lnTo>
                  <a:lnTo>
                    <a:pt x="349" y="204"/>
                  </a:lnTo>
                  <a:lnTo>
                    <a:pt x="364" y="204"/>
                  </a:lnTo>
                  <a:lnTo>
                    <a:pt x="378" y="207"/>
                  </a:lnTo>
                  <a:lnTo>
                    <a:pt x="393" y="211"/>
                  </a:lnTo>
                  <a:lnTo>
                    <a:pt x="407" y="216"/>
                  </a:lnTo>
                  <a:lnTo>
                    <a:pt x="420" y="223"/>
                  </a:lnTo>
                  <a:lnTo>
                    <a:pt x="433" y="230"/>
                  </a:lnTo>
                  <a:lnTo>
                    <a:pt x="445" y="239"/>
                  </a:lnTo>
                  <a:lnTo>
                    <a:pt x="455" y="249"/>
                  </a:lnTo>
                  <a:lnTo>
                    <a:pt x="465" y="259"/>
                  </a:lnTo>
                  <a:lnTo>
                    <a:pt x="472" y="270"/>
                  </a:lnTo>
                  <a:lnTo>
                    <a:pt x="479" y="283"/>
                  </a:lnTo>
                  <a:lnTo>
                    <a:pt x="485" y="296"/>
                  </a:lnTo>
                  <a:lnTo>
                    <a:pt x="489" y="309"/>
                  </a:lnTo>
                  <a:lnTo>
                    <a:pt x="493" y="322"/>
                  </a:lnTo>
                  <a:lnTo>
                    <a:pt x="495" y="337"/>
                  </a:lnTo>
                  <a:lnTo>
                    <a:pt x="495" y="351"/>
                  </a:lnTo>
                  <a:lnTo>
                    <a:pt x="495" y="365"/>
                  </a:lnTo>
                  <a:lnTo>
                    <a:pt x="492" y="380"/>
                  </a:lnTo>
                  <a:lnTo>
                    <a:pt x="489" y="393"/>
                  </a:lnTo>
                  <a:lnTo>
                    <a:pt x="483" y="407"/>
                  </a:lnTo>
                  <a:lnTo>
                    <a:pt x="479" y="417"/>
                  </a:lnTo>
                  <a:lnTo>
                    <a:pt x="473" y="426"/>
                  </a:lnTo>
                  <a:lnTo>
                    <a:pt x="468" y="436"/>
                  </a:lnTo>
                  <a:lnTo>
                    <a:pt x="462" y="443"/>
                  </a:lnTo>
                  <a:lnTo>
                    <a:pt x="455" y="452"/>
                  </a:lnTo>
                  <a:lnTo>
                    <a:pt x="447" y="459"/>
                  </a:lnTo>
                  <a:lnTo>
                    <a:pt x="439" y="466"/>
                  </a:lnTo>
                  <a:lnTo>
                    <a:pt x="430" y="472"/>
                  </a:lnTo>
                  <a:lnTo>
                    <a:pt x="421" y="478"/>
                  </a:lnTo>
                  <a:lnTo>
                    <a:pt x="411" y="482"/>
                  </a:lnTo>
                  <a:lnTo>
                    <a:pt x="403" y="486"/>
                  </a:lnTo>
                  <a:lnTo>
                    <a:pt x="393" y="489"/>
                  </a:lnTo>
                  <a:lnTo>
                    <a:pt x="381" y="492"/>
                  </a:lnTo>
                  <a:lnTo>
                    <a:pt x="371" y="494"/>
                  </a:lnTo>
                  <a:lnTo>
                    <a:pt x="361" y="495"/>
                  </a:lnTo>
                  <a:lnTo>
                    <a:pt x="349" y="496"/>
                  </a:lnTo>
                  <a:close/>
                  <a:moveTo>
                    <a:pt x="269" y="540"/>
                  </a:moveTo>
                  <a:lnTo>
                    <a:pt x="285" y="545"/>
                  </a:lnTo>
                  <a:lnTo>
                    <a:pt x="302" y="550"/>
                  </a:lnTo>
                  <a:lnTo>
                    <a:pt x="319" y="554"/>
                  </a:lnTo>
                  <a:lnTo>
                    <a:pt x="337" y="555"/>
                  </a:lnTo>
                  <a:lnTo>
                    <a:pt x="345" y="557"/>
                  </a:lnTo>
                  <a:lnTo>
                    <a:pt x="352" y="561"/>
                  </a:lnTo>
                  <a:lnTo>
                    <a:pt x="357" y="567"/>
                  </a:lnTo>
                  <a:lnTo>
                    <a:pt x="361" y="574"/>
                  </a:lnTo>
                  <a:lnTo>
                    <a:pt x="380" y="642"/>
                  </a:lnTo>
                  <a:lnTo>
                    <a:pt x="479" y="613"/>
                  </a:lnTo>
                  <a:lnTo>
                    <a:pt x="459" y="545"/>
                  </a:lnTo>
                  <a:lnTo>
                    <a:pt x="459" y="538"/>
                  </a:lnTo>
                  <a:lnTo>
                    <a:pt x="460" y="530"/>
                  </a:lnTo>
                  <a:lnTo>
                    <a:pt x="463" y="522"/>
                  </a:lnTo>
                  <a:lnTo>
                    <a:pt x="469" y="518"/>
                  </a:lnTo>
                  <a:lnTo>
                    <a:pt x="483" y="507"/>
                  </a:lnTo>
                  <a:lnTo>
                    <a:pt x="498" y="494"/>
                  </a:lnTo>
                  <a:lnTo>
                    <a:pt x="509" y="479"/>
                  </a:lnTo>
                  <a:lnTo>
                    <a:pt x="521" y="465"/>
                  </a:lnTo>
                  <a:lnTo>
                    <a:pt x="527" y="459"/>
                  </a:lnTo>
                  <a:lnTo>
                    <a:pt x="532" y="455"/>
                  </a:lnTo>
                  <a:lnTo>
                    <a:pt x="541" y="453"/>
                  </a:lnTo>
                  <a:lnTo>
                    <a:pt x="548" y="455"/>
                  </a:lnTo>
                  <a:lnTo>
                    <a:pt x="617" y="472"/>
                  </a:lnTo>
                  <a:lnTo>
                    <a:pt x="643" y="371"/>
                  </a:lnTo>
                  <a:lnTo>
                    <a:pt x="574" y="354"/>
                  </a:lnTo>
                  <a:lnTo>
                    <a:pt x="567" y="351"/>
                  </a:lnTo>
                  <a:lnTo>
                    <a:pt x="561" y="345"/>
                  </a:lnTo>
                  <a:lnTo>
                    <a:pt x="557" y="339"/>
                  </a:lnTo>
                  <a:lnTo>
                    <a:pt x="555" y="331"/>
                  </a:lnTo>
                  <a:lnTo>
                    <a:pt x="553" y="312"/>
                  </a:lnTo>
                  <a:lnTo>
                    <a:pt x="548" y="293"/>
                  </a:lnTo>
                  <a:lnTo>
                    <a:pt x="541" y="275"/>
                  </a:lnTo>
                  <a:lnTo>
                    <a:pt x="534" y="257"/>
                  </a:lnTo>
                  <a:lnTo>
                    <a:pt x="531" y="249"/>
                  </a:lnTo>
                  <a:lnTo>
                    <a:pt x="531" y="242"/>
                  </a:lnTo>
                  <a:lnTo>
                    <a:pt x="534" y="234"/>
                  </a:lnTo>
                  <a:lnTo>
                    <a:pt x="538" y="227"/>
                  </a:lnTo>
                  <a:lnTo>
                    <a:pt x="587" y="177"/>
                  </a:lnTo>
                  <a:lnTo>
                    <a:pt x="512" y="105"/>
                  </a:lnTo>
                  <a:lnTo>
                    <a:pt x="463" y="157"/>
                  </a:lnTo>
                  <a:lnTo>
                    <a:pt x="457" y="161"/>
                  </a:lnTo>
                  <a:lnTo>
                    <a:pt x="449" y="164"/>
                  </a:lnTo>
                  <a:lnTo>
                    <a:pt x="442" y="164"/>
                  </a:lnTo>
                  <a:lnTo>
                    <a:pt x="434" y="162"/>
                  </a:lnTo>
                  <a:lnTo>
                    <a:pt x="442" y="136"/>
                  </a:lnTo>
                  <a:lnTo>
                    <a:pt x="430" y="161"/>
                  </a:lnTo>
                  <a:lnTo>
                    <a:pt x="414" y="154"/>
                  </a:lnTo>
                  <a:lnTo>
                    <a:pt x="397" y="149"/>
                  </a:lnTo>
                  <a:lnTo>
                    <a:pt x="380" y="147"/>
                  </a:lnTo>
                  <a:lnTo>
                    <a:pt x="362" y="144"/>
                  </a:lnTo>
                  <a:lnTo>
                    <a:pt x="355" y="142"/>
                  </a:lnTo>
                  <a:lnTo>
                    <a:pt x="348" y="138"/>
                  </a:lnTo>
                  <a:lnTo>
                    <a:pt x="342" y="132"/>
                  </a:lnTo>
                  <a:lnTo>
                    <a:pt x="339" y="125"/>
                  </a:lnTo>
                  <a:lnTo>
                    <a:pt x="319" y="57"/>
                  </a:lnTo>
                  <a:lnTo>
                    <a:pt x="220" y="86"/>
                  </a:lnTo>
                  <a:lnTo>
                    <a:pt x="240" y="154"/>
                  </a:lnTo>
                  <a:lnTo>
                    <a:pt x="241" y="162"/>
                  </a:lnTo>
                  <a:lnTo>
                    <a:pt x="240" y="170"/>
                  </a:lnTo>
                  <a:lnTo>
                    <a:pt x="236" y="177"/>
                  </a:lnTo>
                  <a:lnTo>
                    <a:pt x="230" y="183"/>
                  </a:lnTo>
                  <a:lnTo>
                    <a:pt x="216" y="194"/>
                  </a:lnTo>
                  <a:lnTo>
                    <a:pt x="203" y="206"/>
                  </a:lnTo>
                  <a:lnTo>
                    <a:pt x="190" y="220"/>
                  </a:lnTo>
                  <a:lnTo>
                    <a:pt x="180" y="234"/>
                  </a:lnTo>
                  <a:lnTo>
                    <a:pt x="174" y="240"/>
                  </a:lnTo>
                  <a:lnTo>
                    <a:pt x="167" y="244"/>
                  </a:lnTo>
                  <a:lnTo>
                    <a:pt x="159" y="246"/>
                  </a:lnTo>
                  <a:lnTo>
                    <a:pt x="151" y="246"/>
                  </a:lnTo>
                  <a:lnTo>
                    <a:pt x="83" y="229"/>
                  </a:lnTo>
                  <a:lnTo>
                    <a:pt x="57" y="328"/>
                  </a:lnTo>
                  <a:lnTo>
                    <a:pt x="125" y="345"/>
                  </a:lnTo>
                  <a:lnTo>
                    <a:pt x="132" y="348"/>
                  </a:lnTo>
                  <a:lnTo>
                    <a:pt x="138" y="354"/>
                  </a:lnTo>
                  <a:lnTo>
                    <a:pt x="142" y="361"/>
                  </a:lnTo>
                  <a:lnTo>
                    <a:pt x="145" y="368"/>
                  </a:lnTo>
                  <a:lnTo>
                    <a:pt x="148" y="387"/>
                  </a:lnTo>
                  <a:lnTo>
                    <a:pt x="152" y="407"/>
                  </a:lnTo>
                  <a:lnTo>
                    <a:pt x="158" y="424"/>
                  </a:lnTo>
                  <a:lnTo>
                    <a:pt x="167" y="443"/>
                  </a:lnTo>
                  <a:lnTo>
                    <a:pt x="168" y="450"/>
                  </a:lnTo>
                  <a:lnTo>
                    <a:pt x="168" y="458"/>
                  </a:lnTo>
                  <a:lnTo>
                    <a:pt x="167" y="466"/>
                  </a:lnTo>
                  <a:lnTo>
                    <a:pt x="161" y="472"/>
                  </a:lnTo>
                  <a:lnTo>
                    <a:pt x="113" y="524"/>
                  </a:lnTo>
                  <a:lnTo>
                    <a:pt x="187" y="594"/>
                  </a:lnTo>
                  <a:lnTo>
                    <a:pt x="236" y="544"/>
                  </a:lnTo>
                  <a:lnTo>
                    <a:pt x="243" y="538"/>
                  </a:lnTo>
                  <a:lnTo>
                    <a:pt x="250" y="535"/>
                  </a:lnTo>
                  <a:lnTo>
                    <a:pt x="257" y="535"/>
                  </a:lnTo>
                  <a:lnTo>
                    <a:pt x="266" y="538"/>
                  </a:lnTo>
                  <a:lnTo>
                    <a:pt x="259" y="563"/>
                  </a:lnTo>
                  <a:lnTo>
                    <a:pt x="269" y="540"/>
                  </a:lnTo>
                  <a:close/>
                  <a:moveTo>
                    <a:pt x="362" y="701"/>
                  </a:moveTo>
                  <a:lnTo>
                    <a:pt x="354" y="699"/>
                  </a:lnTo>
                  <a:lnTo>
                    <a:pt x="347" y="695"/>
                  </a:lnTo>
                  <a:lnTo>
                    <a:pt x="341" y="689"/>
                  </a:lnTo>
                  <a:lnTo>
                    <a:pt x="337" y="682"/>
                  </a:lnTo>
                  <a:lnTo>
                    <a:pt x="315" y="606"/>
                  </a:lnTo>
                  <a:lnTo>
                    <a:pt x="302" y="603"/>
                  </a:lnTo>
                  <a:lnTo>
                    <a:pt x="288" y="600"/>
                  </a:lnTo>
                  <a:lnTo>
                    <a:pt x="275" y="597"/>
                  </a:lnTo>
                  <a:lnTo>
                    <a:pt x="262" y="593"/>
                  </a:lnTo>
                  <a:lnTo>
                    <a:pt x="207" y="649"/>
                  </a:lnTo>
                  <a:lnTo>
                    <a:pt x="203" y="653"/>
                  </a:lnTo>
                  <a:lnTo>
                    <a:pt x="198" y="655"/>
                  </a:lnTo>
                  <a:lnTo>
                    <a:pt x="194" y="658"/>
                  </a:lnTo>
                  <a:lnTo>
                    <a:pt x="188" y="658"/>
                  </a:lnTo>
                  <a:lnTo>
                    <a:pt x="184" y="658"/>
                  </a:lnTo>
                  <a:lnTo>
                    <a:pt x="180" y="656"/>
                  </a:lnTo>
                  <a:lnTo>
                    <a:pt x="174" y="653"/>
                  </a:lnTo>
                  <a:lnTo>
                    <a:pt x="169" y="651"/>
                  </a:lnTo>
                  <a:lnTo>
                    <a:pt x="57" y="543"/>
                  </a:lnTo>
                  <a:lnTo>
                    <a:pt x="54" y="540"/>
                  </a:lnTo>
                  <a:lnTo>
                    <a:pt x="51" y="535"/>
                  </a:lnTo>
                  <a:lnTo>
                    <a:pt x="50" y="530"/>
                  </a:lnTo>
                  <a:lnTo>
                    <a:pt x="50" y="525"/>
                  </a:lnTo>
                  <a:lnTo>
                    <a:pt x="50" y="519"/>
                  </a:lnTo>
                  <a:lnTo>
                    <a:pt x="51" y="515"/>
                  </a:lnTo>
                  <a:lnTo>
                    <a:pt x="54" y="511"/>
                  </a:lnTo>
                  <a:lnTo>
                    <a:pt x="57" y="507"/>
                  </a:lnTo>
                  <a:lnTo>
                    <a:pt x="112" y="449"/>
                  </a:lnTo>
                  <a:lnTo>
                    <a:pt x="106" y="435"/>
                  </a:lnTo>
                  <a:lnTo>
                    <a:pt x="102" y="422"/>
                  </a:lnTo>
                  <a:lnTo>
                    <a:pt x="97" y="406"/>
                  </a:lnTo>
                  <a:lnTo>
                    <a:pt x="95" y="391"/>
                  </a:lnTo>
                  <a:lnTo>
                    <a:pt x="18" y="373"/>
                  </a:lnTo>
                  <a:lnTo>
                    <a:pt x="14" y="370"/>
                  </a:lnTo>
                  <a:lnTo>
                    <a:pt x="10" y="368"/>
                  </a:lnTo>
                  <a:lnTo>
                    <a:pt x="5" y="364"/>
                  </a:lnTo>
                  <a:lnTo>
                    <a:pt x="2" y="360"/>
                  </a:lnTo>
                  <a:lnTo>
                    <a:pt x="1" y="355"/>
                  </a:lnTo>
                  <a:lnTo>
                    <a:pt x="0" y="351"/>
                  </a:lnTo>
                  <a:lnTo>
                    <a:pt x="0" y="345"/>
                  </a:lnTo>
                  <a:lnTo>
                    <a:pt x="0" y="341"/>
                  </a:lnTo>
                  <a:lnTo>
                    <a:pt x="38" y="190"/>
                  </a:lnTo>
                  <a:lnTo>
                    <a:pt x="40" y="185"/>
                  </a:lnTo>
                  <a:lnTo>
                    <a:pt x="43" y="181"/>
                  </a:lnTo>
                  <a:lnTo>
                    <a:pt x="46" y="177"/>
                  </a:lnTo>
                  <a:lnTo>
                    <a:pt x="50" y="174"/>
                  </a:lnTo>
                  <a:lnTo>
                    <a:pt x="54" y="171"/>
                  </a:lnTo>
                  <a:lnTo>
                    <a:pt x="60" y="171"/>
                  </a:lnTo>
                  <a:lnTo>
                    <a:pt x="64" y="170"/>
                  </a:lnTo>
                  <a:lnTo>
                    <a:pt x="70" y="171"/>
                  </a:lnTo>
                  <a:lnTo>
                    <a:pt x="146" y="191"/>
                  </a:lnTo>
                  <a:lnTo>
                    <a:pt x="155" y="180"/>
                  </a:lnTo>
                  <a:lnTo>
                    <a:pt x="165" y="170"/>
                  </a:lnTo>
                  <a:lnTo>
                    <a:pt x="174" y="161"/>
                  </a:lnTo>
                  <a:lnTo>
                    <a:pt x="185" y="151"/>
                  </a:lnTo>
                  <a:lnTo>
                    <a:pt x="164" y="76"/>
                  </a:lnTo>
                  <a:lnTo>
                    <a:pt x="162" y="70"/>
                  </a:lnTo>
                  <a:lnTo>
                    <a:pt x="162" y="64"/>
                  </a:lnTo>
                  <a:lnTo>
                    <a:pt x="164" y="60"/>
                  </a:lnTo>
                  <a:lnTo>
                    <a:pt x="165" y="56"/>
                  </a:lnTo>
                  <a:lnTo>
                    <a:pt x="168" y="51"/>
                  </a:lnTo>
                  <a:lnTo>
                    <a:pt x="172" y="47"/>
                  </a:lnTo>
                  <a:lnTo>
                    <a:pt x="177" y="44"/>
                  </a:lnTo>
                  <a:lnTo>
                    <a:pt x="181" y="43"/>
                  </a:lnTo>
                  <a:lnTo>
                    <a:pt x="331" y="0"/>
                  </a:lnTo>
                  <a:lnTo>
                    <a:pt x="335" y="0"/>
                  </a:lnTo>
                  <a:lnTo>
                    <a:pt x="341" y="0"/>
                  </a:lnTo>
                  <a:lnTo>
                    <a:pt x="345" y="1"/>
                  </a:lnTo>
                  <a:lnTo>
                    <a:pt x="349" y="3"/>
                  </a:lnTo>
                  <a:lnTo>
                    <a:pt x="354" y="5"/>
                  </a:lnTo>
                  <a:lnTo>
                    <a:pt x="358" y="8"/>
                  </a:lnTo>
                  <a:lnTo>
                    <a:pt x="361" y="13"/>
                  </a:lnTo>
                  <a:lnTo>
                    <a:pt x="362" y="18"/>
                  </a:lnTo>
                  <a:lnTo>
                    <a:pt x="384" y="95"/>
                  </a:lnTo>
                  <a:lnTo>
                    <a:pt x="398" y="96"/>
                  </a:lnTo>
                  <a:lnTo>
                    <a:pt x="411" y="99"/>
                  </a:lnTo>
                  <a:lnTo>
                    <a:pt x="424" y="103"/>
                  </a:lnTo>
                  <a:lnTo>
                    <a:pt x="437" y="108"/>
                  </a:lnTo>
                  <a:lnTo>
                    <a:pt x="492" y="50"/>
                  </a:lnTo>
                  <a:lnTo>
                    <a:pt x="496" y="47"/>
                  </a:lnTo>
                  <a:lnTo>
                    <a:pt x="501" y="44"/>
                  </a:lnTo>
                  <a:lnTo>
                    <a:pt x="505" y="43"/>
                  </a:lnTo>
                  <a:lnTo>
                    <a:pt x="511" y="41"/>
                  </a:lnTo>
                  <a:lnTo>
                    <a:pt x="515" y="43"/>
                  </a:lnTo>
                  <a:lnTo>
                    <a:pt x="521" y="43"/>
                  </a:lnTo>
                  <a:lnTo>
                    <a:pt x="525" y="46"/>
                  </a:lnTo>
                  <a:lnTo>
                    <a:pt x="529" y="49"/>
                  </a:lnTo>
                  <a:lnTo>
                    <a:pt x="642" y="157"/>
                  </a:lnTo>
                  <a:lnTo>
                    <a:pt x="645" y="161"/>
                  </a:lnTo>
                  <a:lnTo>
                    <a:pt x="648" y="165"/>
                  </a:lnTo>
                  <a:lnTo>
                    <a:pt x="649" y="170"/>
                  </a:lnTo>
                  <a:lnTo>
                    <a:pt x="650" y="175"/>
                  </a:lnTo>
                  <a:lnTo>
                    <a:pt x="649" y="180"/>
                  </a:lnTo>
                  <a:lnTo>
                    <a:pt x="648" y="185"/>
                  </a:lnTo>
                  <a:lnTo>
                    <a:pt x="646" y="190"/>
                  </a:lnTo>
                  <a:lnTo>
                    <a:pt x="643" y="194"/>
                  </a:lnTo>
                  <a:lnTo>
                    <a:pt x="589" y="250"/>
                  </a:lnTo>
                  <a:lnTo>
                    <a:pt x="593" y="265"/>
                  </a:lnTo>
                  <a:lnTo>
                    <a:pt x="599" y="279"/>
                  </a:lnTo>
                  <a:lnTo>
                    <a:pt x="601" y="293"/>
                  </a:lnTo>
                  <a:lnTo>
                    <a:pt x="604" y="308"/>
                  </a:lnTo>
                  <a:lnTo>
                    <a:pt x="681" y="328"/>
                  </a:lnTo>
                  <a:lnTo>
                    <a:pt x="686" y="329"/>
                  </a:lnTo>
                  <a:lnTo>
                    <a:pt x="691" y="332"/>
                  </a:lnTo>
                  <a:lnTo>
                    <a:pt x="694" y="335"/>
                  </a:lnTo>
                  <a:lnTo>
                    <a:pt x="697" y="339"/>
                  </a:lnTo>
                  <a:lnTo>
                    <a:pt x="699" y="344"/>
                  </a:lnTo>
                  <a:lnTo>
                    <a:pt x="701" y="350"/>
                  </a:lnTo>
                  <a:lnTo>
                    <a:pt x="701" y="354"/>
                  </a:lnTo>
                  <a:lnTo>
                    <a:pt x="699" y="360"/>
                  </a:lnTo>
                  <a:lnTo>
                    <a:pt x="661" y="509"/>
                  </a:lnTo>
                  <a:lnTo>
                    <a:pt x="659" y="515"/>
                  </a:lnTo>
                  <a:lnTo>
                    <a:pt x="656" y="519"/>
                  </a:lnTo>
                  <a:lnTo>
                    <a:pt x="653" y="522"/>
                  </a:lnTo>
                  <a:lnTo>
                    <a:pt x="649" y="525"/>
                  </a:lnTo>
                  <a:lnTo>
                    <a:pt x="645" y="528"/>
                  </a:lnTo>
                  <a:lnTo>
                    <a:pt x="640" y="530"/>
                  </a:lnTo>
                  <a:lnTo>
                    <a:pt x="635" y="530"/>
                  </a:lnTo>
                  <a:lnTo>
                    <a:pt x="629" y="528"/>
                  </a:lnTo>
                  <a:lnTo>
                    <a:pt x="553" y="509"/>
                  </a:lnTo>
                  <a:lnTo>
                    <a:pt x="544" y="519"/>
                  </a:lnTo>
                  <a:lnTo>
                    <a:pt x="535" y="530"/>
                  </a:lnTo>
                  <a:lnTo>
                    <a:pt x="525" y="540"/>
                  </a:lnTo>
                  <a:lnTo>
                    <a:pt x="515" y="548"/>
                  </a:lnTo>
                  <a:lnTo>
                    <a:pt x="537" y="625"/>
                  </a:lnTo>
                  <a:lnTo>
                    <a:pt x="537" y="629"/>
                  </a:lnTo>
                  <a:lnTo>
                    <a:pt x="537" y="635"/>
                  </a:lnTo>
                  <a:lnTo>
                    <a:pt x="537" y="639"/>
                  </a:lnTo>
                  <a:lnTo>
                    <a:pt x="534" y="645"/>
                  </a:lnTo>
                  <a:lnTo>
                    <a:pt x="531" y="649"/>
                  </a:lnTo>
                  <a:lnTo>
                    <a:pt x="528" y="652"/>
                  </a:lnTo>
                  <a:lnTo>
                    <a:pt x="524" y="655"/>
                  </a:lnTo>
                  <a:lnTo>
                    <a:pt x="518" y="656"/>
                  </a:lnTo>
                  <a:lnTo>
                    <a:pt x="370" y="699"/>
                  </a:lnTo>
                  <a:lnTo>
                    <a:pt x="365" y="701"/>
                  </a:lnTo>
                  <a:lnTo>
                    <a:pt x="362" y="7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9" name="Freeform 110">
            <a:extLst>
              <a:ext uri="{FF2B5EF4-FFF2-40B4-BE49-F238E27FC236}">
                <a16:creationId xmlns:a16="http://schemas.microsoft.com/office/drawing/2014/main" id="{01E16D87-90CA-44D4-83FC-2D6518F189D6}"/>
              </a:ext>
            </a:extLst>
          </p:cNvPr>
          <p:cNvSpPr>
            <a:spLocks noChangeAspect="1" noEditPoints="1"/>
          </p:cNvSpPr>
          <p:nvPr/>
        </p:nvSpPr>
        <p:spPr bwMode="auto">
          <a:xfrm>
            <a:off x="1884302" y="5418772"/>
            <a:ext cx="304790" cy="304091"/>
          </a:xfrm>
          <a:custGeom>
            <a:avLst/>
            <a:gdLst>
              <a:gd name="T0" fmla="*/ 526 w 1307"/>
              <a:gd name="T1" fmla="*/ 496 h 1306"/>
              <a:gd name="T2" fmla="*/ 453 w 1307"/>
              <a:gd name="T3" fmla="*/ 632 h 1306"/>
              <a:gd name="T4" fmla="*/ 497 w 1307"/>
              <a:gd name="T5" fmla="*/ 781 h 1306"/>
              <a:gd name="T6" fmla="*/ 633 w 1307"/>
              <a:gd name="T7" fmla="*/ 853 h 1306"/>
              <a:gd name="T8" fmla="*/ 782 w 1307"/>
              <a:gd name="T9" fmla="*/ 809 h 1306"/>
              <a:gd name="T10" fmla="*/ 854 w 1307"/>
              <a:gd name="T11" fmla="*/ 673 h 1306"/>
              <a:gd name="T12" fmla="*/ 810 w 1307"/>
              <a:gd name="T13" fmla="*/ 524 h 1306"/>
              <a:gd name="T14" fmla="*/ 674 w 1307"/>
              <a:gd name="T15" fmla="*/ 452 h 1306"/>
              <a:gd name="T16" fmla="*/ 512 w 1307"/>
              <a:gd name="T17" fmla="*/ 864 h 1306"/>
              <a:gd name="T18" fmla="*/ 405 w 1307"/>
              <a:gd name="T19" fmla="*/ 704 h 1306"/>
              <a:gd name="T20" fmla="*/ 443 w 1307"/>
              <a:gd name="T21" fmla="*/ 511 h 1306"/>
              <a:gd name="T22" fmla="*/ 602 w 1307"/>
              <a:gd name="T23" fmla="*/ 404 h 1306"/>
              <a:gd name="T24" fmla="*/ 795 w 1307"/>
              <a:gd name="T25" fmla="*/ 442 h 1306"/>
              <a:gd name="T26" fmla="*/ 902 w 1307"/>
              <a:gd name="T27" fmla="*/ 601 h 1306"/>
              <a:gd name="T28" fmla="*/ 864 w 1307"/>
              <a:gd name="T29" fmla="*/ 794 h 1306"/>
              <a:gd name="T30" fmla="*/ 705 w 1307"/>
              <a:gd name="T31" fmla="*/ 901 h 1306"/>
              <a:gd name="T32" fmla="*/ 517 w 1307"/>
              <a:gd name="T33" fmla="*/ 1061 h 1306"/>
              <a:gd name="T34" fmla="*/ 569 w 1307"/>
              <a:gd name="T35" fmla="*/ 1254 h 1306"/>
              <a:gd name="T36" fmla="*/ 761 w 1307"/>
              <a:gd name="T37" fmla="*/ 1069 h 1306"/>
              <a:gd name="T38" fmla="*/ 903 w 1307"/>
              <a:gd name="T39" fmla="*/ 1026 h 1306"/>
              <a:gd name="T40" fmla="*/ 1138 w 1307"/>
              <a:gd name="T41" fmla="*/ 1012 h 1306"/>
              <a:gd name="T42" fmla="*/ 1062 w 1307"/>
              <a:gd name="T43" fmla="*/ 789 h 1306"/>
              <a:gd name="T44" fmla="*/ 1255 w 1307"/>
              <a:gd name="T45" fmla="*/ 737 h 1306"/>
              <a:gd name="T46" fmla="*/ 1070 w 1307"/>
              <a:gd name="T47" fmla="*/ 545 h 1306"/>
              <a:gd name="T48" fmla="*/ 1029 w 1307"/>
              <a:gd name="T49" fmla="*/ 403 h 1306"/>
              <a:gd name="T50" fmla="*/ 1013 w 1307"/>
              <a:gd name="T51" fmla="*/ 168 h 1306"/>
              <a:gd name="T52" fmla="*/ 790 w 1307"/>
              <a:gd name="T53" fmla="*/ 244 h 1306"/>
              <a:gd name="T54" fmla="*/ 738 w 1307"/>
              <a:gd name="T55" fmla="*/ 51 h 1306"/>
              <a:gd name="T56" fmla="*/ 546 w 1307"/>
              <a:gd name="T57" fmla="*/ 236 h 1306"/>
              <a:gd name="T58" fmla="*/ 404 w 1307"/>
              <a:gd name="T59" fmla="*/ 279 h 1306"/>
              <a:gd name="T60" fmla="*/ 170 w 1307"/>
              <a:gd name="T61" fmla="*/ 293 h 1306"/>
              <a:gd name="T62" fmla="*/ 245 w 1307"/>
              <a:gd name="T63" fmla="*/ 517 h 1306"/>
              <a:gd name="T64" fmla="*/ 52 w 1307"/>
              <a:gd name="T65" fmla="*/ 568 h 1306"/>
              <a:gd name="T66" fmla="*/ 238 w 1307"/>
              <a:gd name="T67" fmla="*/ 760 h 1306"/>
              <a:gd name="T68" fmla="*/ 280 w 1307"/>
              <a:gd name="T69" fmla="*/ 902 h 1306"/>
              <a:gd name="T70" fmla="*/ 294 w 1307"/>
              <a:gd name="T71" fmla="*/ 1137 h 1306"/>
              <a:gd name="T72" fmla="*/ 559 w 1307"/>
              <a:gd name="T73" fmla="*/ 1304 h 1306"/>
              <a:gd name="T74" fmla="*/ 513 w 1307"/>
              <a:gd name="T75" fmla="*/ 1114 h 1306"/>
              <a:gd name="T76" fmla="*/ 301 w 1307"/>
              <a:gd name="T77" fmla="*/ 1189 h 1306"/>
              <a:gd name="T78" fmla="*/ 120 w 1307"/>
              <a:gd name="T79" fmla="*/ 1036 h 1306"/>
              <a:gd name="T80" fmla="*/ 218 w 1307"/>
              <a:gd name="T81" fmla="*/ 859 h 1306"/>
              <a:gd name="T82" fmla="*/ 18 w 1307"/>
              <a:gd name="T83" fmla="*/ 776 h 1306"/>
              <a:gd name="T84" fmla="*/ 11 w 1307"/>
              <a:gd name="T85" fmla="*/ 538 h 1306"/>
              <a:gd name="T86" fmla="*/ 208 w 1307"/>
              <a:gd name="T87" fmla="*/ 468 h 1306"/>
              <a:gd name="T88" fmla="*/ 117 w 1307"/>
              <a:gd name="T89" fmla="*/ 279 h 1306"/>
              <a:gd name="T90" fmla="*/ 291 w 1307"/>
              <a:gd name="T91" fmla="*/ 116 h 1306"/>
              <a:gd name="T92" fmla="*/ 491 w 1307"/>
              <a:gd name="T93" fmla="*/ 198 h 1306"/>
              <a:gd name="T94" fmla="*/ 548 w 1307"/>
              <a:gd name="T95" fmla="*/ 4 h 1306"/>
              <a:gd name="T96" fmla="*/ 784 w 1307"/>
              <a:gd name="T97" fmla="*/ 24 h 1306"/>
              <a:gd name="T98" fmla="*/ 880 w 1307"/>
              <a:gd name="T99" fmla="*/ 227 h 1306"/>
              <a:gd name="T100" fmla="*/ 1047 w 1307"/>
              <a:gd name="T101" fmla="*/ 125 h 1306"/>
              <a:gd name="T102" fmla="*/ 1187 w 1307"/>
              <a:gd name="T103" fmla="*/ 311 h 1306"/>
              <a:gd name="T104" fmla="*/ 1250 w 1307"/>
              <a:gd name="T105" fmla="*/ 512 h 1306"/>
              <a:gd name="T106" fmla="*/ 1307 w 1307"/>
              <a:gd name="T107" fmla="*/ 568 h 1306"/>
              <a:gd name="T108" fmla="*/ 1262 w 1307"/>
              <a:gd name="T109" fmla="*/ 792 h 1306"/>
              <a:gd name="T110" fmla="*/ 1181 w 1307"/>
              <a:gd name="T111" fmla="*/ 984 h 1306"/>
              <a:gd name="T112" fmla="*/ 1056 w 1307"/>
              <a:gd name="T113" fmla="*/ 1173 h 1306"/>
              <a:gd name="T114" fmla="*/ 977 w 1307"/>
              <a:gd name="T115" fmla="*/ 1173 h 1306"/>
              <a:gd name="T116" fmla="*/ 790 w 1307"/>
              <a:gd name="T117" fmla="*/ 1271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7" h="1306">
                <a:moveTo>
                  <a:pt x="654" y="450"/>
                </a:moveTo>
                <a:lnTo>
                  <a:pt x="633" y="452"/>
                </a:lnTo>
                <a:lnTo>
                  <a:pt x="612" y="455"/>
                </a:lnTo>
                <a:lnTo>
                  <a:pt x="594" y="460"/>
                </a:lnTo>
                <a:lnTo>
                  <a:pt x="575" y="466"/>
                </a:lnTo>
                <a:lnTo>
                  <a:pt x="558" y="475"/>
                </a:lnTo>
                <a:lnTo>
                  <a:pt x="540" y="485"/>
                </a:lnTo>
                <a:lnTo>
                  <a:pt x="526" y="496"/>
                </a:lnTo>
                <a:lnTo>
                  <a:pt x="512" y="509"/>
                </a:lnTo>
                <a:lnTo>
                  <a:pt x="497" y="524"/>
                </a:lnTo>
                <a:lnTo>
                  <a:pt x="486" y="540"/>
                </a:lnTo>
                <a:lnTo>
                  <a:pt x="476" y="557"/>
                </a:lnTo>
                <a:lnTo>
                  <a:pt x="467" y="574"/>
                </a:lnTo>
                <a:lnTo>
                  <a:pt x="461" y="593"/>
                </a:lnTo>
                <a:lnTo>
                  <a:pt x="455" y="612"/>
                </a:lnTo>
                <a:lnTo>
                  <a:pt x="453" y="632"/>
                </a:lnTo>
                <a:lnTo>
                  <a:pt x="451" y="653"/>
                </a:lnTo>
                <a:lnTo>
                  <a:pt x="453" y="673"/>
                </a:lnTo>
                <a:lnTo>
                  <a:pt x="455" y="694"/>
                </a:lnTo>
                <a:lnTo>
                  <a:pt x="461" y="712"/>
                </a:lnTo>
                <a:lnTo>
                  <a:pt x="467" y="731"/>
                </a:lnTo>
                <a:lnTo>
                  <a:pt x="476" y="748"/>
                </a:lnTo>
                <a:lnTo>
                  <a:pt x="486" y="766"/>
                </a:lnTo>
                <a:lnTo>
                  <a:pt x="497" y="781"/>
                </a:lnTo>
                <a:lnTo>
                  <a:pt x="512" y="796"/>
                </a:lnTo>
                <a:lnTo>
                  <a:pt x="526" y="809"/>
                </a:lnTo>
                <a:lnTo>
                  <a:pt x="540" y="820"/>
                </a:lnTo>
                <a:lnTo>
                  <a:pt x="558" y="830"/>
                </a:lnTo>
                <a:lnTo>
                  <a:pt x="575" y="839"/>
                </a:lnTo>
                <a:lnTo>
                  <a:pt x="594" y="845"/>
                </a:lnTo>
                <a:lnTo>
                  <a:pt x="612" y="851"/>
                </a:lnTo>
                <a:lnTo>
                  <a:pt x="633" y="853"/>
                </a:lnTo>
                <a:lnTo>
                  <a:pt x="654" y="855"/>
                </a:lnTo>
                <a:lnTo>
                  <a:pt x="674" y="853"/>
                </a:lnTo>
                <a:lnTo>
                  <a:pt x="695" y="851"/>
                </a:lnTo>
                <a:lnTo>
                  <a:pt x="713" y="845"/>
                </a:lnTo>
                <a:lnTo>
                  <a:pt x="732" y="839"/>
                </a:lnTo>
                <a:lnTo>
                  <a:pt x="749" y="830"/>
                </a:lnTo>
                <a:lnTo>
                  <a:pt x="767" y="820"/>
                </a:lnTo>
                <a:lnTo>
                  <a:pt x="782" y="809"/>
                </a:lnTo>
                <a:lnTo>
                  <a:pt x="797" y="796"/>
                </a:lnTo>
                <a:lnTo>
                  <a:pt x="810" y="781"/>
                </a:lnTo>
                <a:lnTo>
                  <a:pt x="821" y="766"/>
                </a:lnTo>
                <a:lnTo>
                  <a:pt x="831" y="748"/>
                </a:lnTo>
                <a:lnTo>
                  <a:pt x="840" y="731"/>
                </a:lnTo>
                <a:lnTo>
                  <a:pt x="846" y="712"/>
                </a:lnTo>
                <a:lnTo>
                  <a:pt x="851" y="694"/>
                </a:lnTo>
                <a:lnTo>
                  <a:pt x="854" y="673"/>
                </a:lnTo>
                <a:lnTo>
                  <a:pt x="856" y="653"/>
                </a:lnTo>
                <a:lnTo>
                  <a:pt x="854" y="632"/>
                </a:lnTo>
                <a:lnTo>
                  <a:pt x="851" y="612"/>
                </a:lnTo>
                <a:lnTo>
                  <a:pt x="846" y="593"/>
                </a:lnTo>
                <a:lnTo>
                  <a:pt x="840" y="574"/>
                </a:lnTo>
                <a:lnTo>
                  <a:pt x="831" y="557"/>
                </a:lnTo>
                <a:lnTo>
                  <a:pt x="821" y="540"/>
                </a:lnTo>
                <a:lnTo>
                  <a:pt x="810" y="524"/>
                </a:lnTo>
                <a:lnTo>
                  <a:pt x="797" y="509"/>
                </a:lnTo>
                <a:lnTo>
                  <a:pt x="782" y="496"/>
                </a:lnTo>
                <a:lnTo>
                  <a:pt x="767" y="485"/>
                </a:lnTo>
                <a:lnTo>
                  <a:pt x="749" y="475"/>
                </a:lnTo>
                <a:lnTo>
                  <a:pt x="732" y="466"/>
                </a:lnTo>
                <a:lnTo>
                  <a:pt x="713" y="460"/>
                </a:lnTo>
                <a:lnTo>
                  <a:pt x="695" y="455"/>
                </a:lnTo>
                <a:lnTo>
                  <a:pt x="674" y="452"/>
                </a:lnTo>
                <a:lnTo>
                  <a:pt x="654" y="450"/>
                </a:lnTo>
                <a:close/>
                <a:moveTo>
                  <a:pt x="654" y="907"/>
                </a:moveTo>
                <a:lnTo>
                  <a:pt x="628" y="905"/>
                </a:lnTo>
                <a:lnTo>
                  <a:pt x="602" y="901"/>
                </a:lnTo>
                <a:lnTo>
                  <a:pt x="578" y="895"/>
                </a:lnTo>
                <a:lnTo>
                  <a:pt x="555" y="887"/>
                </a:lnTo>
                <a:lnTo>
                  <a:pt x="533" y="876"/>
                </a:lnTo>
                <a:lnTo>
                  <a:pt x="512" y="864"/>
                </a:lnTo>
                <a:lnTo>
                  <a:pt x="491" y="849"/>
                </a:lnTo>
                <a:lnTo>
                  <a:pt x="474" y="832"/>
                </a:lnTo>
                <a:lnTo>
                  <a:pt x="458" y="815"/>
                </a:lnTo>
                <a:lnTo>
                  <a:pt x="443" y="794"/>
                </a:lnTo>
                <a:lnTo>
                  <a:pt x="430" y="774"/>
                </a:lnTo>
                <a:lnTo>
                  <a:pt x="419" y="751"/>
                </a:lnTo>
                <a:lnTo>
                  <a:pt x="411" y="728"/>
                </a:lnTo>
                <a:lnTo>
                  <a:pt x="405" y="704"/>
                </a:lnTo>
                <a:lnTo>
                  <a:pt x="401" y="679"/>
                </a:lnTo>
                <a:lnTo>
                  <a:pt x="399" y="653"/>
                </a:lnTo>
                <a:lnTo>
                  <a:pt x="401" y="627"/>
                </a:lnTo>
                <a:lnTo>
                  <a:pt x="405" y="601"/>
                </a:lnTo>
                <a:lnTo>
                  <a:pt x="411" y="577"/>
                </a:lnTo>
                <a:lnTo>
                  <a:pt x="419" y="554"/>
                </a:lnTo>
                <a:lnTo>
                  <a:pt x="430" y="531"/>
                </a:lnTo>
                <a:lnTo>
                  <a:pt x="443" y="511"/>
                </a:lnTo>
                <a:lnTo>
                  <a:pt x="458" y="491"/>
                </a:lnTo>
                <a:lnTo>
                  <a:pt x="474" y="473"/>
                </a:lnTo>
                <a:lnTo>
                  <a:pt x="491" y="456"/>
                </a:lnTo>
                <a:lnTo>
                  <a:pt x="512" y="442"/>
                </a:lnTo>
                <a:lnTo>
                  <a:pt x="533" y="429"/>
                </a:lnTo>
                <a:lnTo>
                  <a:pt x="555" y="419"/>
                </a:lnTo>
                <a:lnTo>
                  <a:pt x="578" y="410"/>
                </a:lnTo>
                <a:lnTo>
                  <a:pt x="602" y="404"/>
                </a:lnTo>
                <a:lnTo>
                  <a:pt x="628" y="400"/>
                </a:lnTo>
                <a:lnTo>
                  <a:pt x="654" y="398"/>
                </a:lnTo>
                <a:lnTo>
                  <a:pt x="680" y="400"/>
                </a:lnTo>
                <a:lnTo>
                  <a:pt x="705" y="404"/>
                </a:lnTo>
                <a:lnTo>
                  <a:pt x="729" y="410"/>
                </a:lnTo>
                <a:lnTo>
                  <a:pt x="752" y="419"/>
                </a:lnTo>
                <a:lnTo>
                  <a:pt x="775" y="429"/>
                </a:lnTo>
                <a:lnTo>
                  <a:pt x="795" y="442"/>
                </a:lnTo>
                <a:lnTo>
                  <a:pt x="815" y="456"/>
                </a:lnTo>
                <a:lnTo>
                  <a:pt x="833" y="473"/>
                </a:lnTo>
                <a:lnTo>
                  <a:pt x="850" y="491"/>
                </a:lnTo>
                <a:lnTo>
                  <a:pt x="864" y="511"/>
                </a:lnTo>
                <a:lnTo>
                  <a:pt x="877" y="531"/>
                </a:lnTo>
                <a:lnTo>
                  <a:pt x="887" y="554"/>
                </a:lnTo>
                <a:lnTo>
                  <a:pt x="896" y="577"/>
                </a:lnTo>
                <a:lnTo>
                  <a:pt x="902" y="601"/>
                </a:lnTo>
                <a:lnTo>
                  <a:pt x="906" y="627"/>
                </a:lnTo>
                <a:lnTo>
                  <a:pt x="908" y="653"/>
                </a:lnTo>
                <a:lnTo>
                  <a:pt x="906" y="679"/>
                </a:lnTo>
                <a:lnTo>
                  <a:pt x="902" y="704"/>
                </a:lnTo>
                <a:lnTo>
                  <a:pt x="896" y="728"/>
                </a:lnTo>
                <a:lnTo>
                  <a:pt x="887" y="751"/>
                </a:lnTo>
                <a:lnTo>
                  <a:pt x="877" y="774"/>
                </a:lnTo>
                <a:lnTo>
                  <a:pt x="864" y="794"/>
                </a:lnTo>
                <a:lnTo>
                  <a:pt x="850" y="815"/>
                </a:lnTo>
                <a:lnTo>
                  <a:pt x="833" y="832"/>
                </a:lnTo>
                <a:lnTo>
                  <a:pt x="815" y="849"/>
                </a:lnTo>
                <a:lnTo>
                  <a:pt x="795" y="864"/>
                </a:lnTo>
                <a:lnTo>
                  <a:pt x="775" y="876"/>
                </a:lnTo>
                <a:lnTo>
                  <a:pt x="752" y="887"/>
                </a:lnTo>
                <a:lnTo>
                  <a:pt x="729" y="895"/>
                </a:lnTo>
                <a:lnTo>
                  <a:pt x="705" y="901"/>
                </a:lnTo>
                <a:lnTo>
                  <a:pt x="680" y="905"/>
                </a:lnTo>
                <a:lnTo>
                  <a:pt x="654" y="907"/>
                </a:lnTo>
                <a:close/>
                <a:moveTo>
                  <a:pt x="422" y="1019"/>
                </a:moveTo>
                <a:lnTo>
                  <a:pt x="430" y="1020"/>
                </a:lnTo>
                <a:lnTo>
                  <a:pt x="435" y="1023"/>
                </a:lnTo>
                <a:lnTo>
                  <a:pt x="463" y="1038"/>
                </a:lnTo>
                <a:lnTo>
                  <a:pt x="490" y="1049"/>
                </a:lnTo>
                <a:lnTo>
                  <a:pt x="517" y="1061"/>
                </a:lnTo>
                <a:lnTo>
                  <a:pt x="546" y="1069"/>
                </a:lnTo>
                <a:lnTo>
                  <a:pt x="553" y="1072"/>
                </a:lnTo>
                <a:lnTo>
                  <a:pt x="561" y="1078"/>
                </a:lnTo>
                <a:lnTo>
                  <a:pt x="565" y="1085"/>
                </a:lnTo>
                <a:lnTo>
                  <a:pt x="566" y="1094"/>
                </a:lnTo>
                <a:lnTo>
                  <a:pt x="566" y="1249"/>
                </a:lnTo>
                <a:lnTo>
                  <a:pt x="566" y="1252"/>
                </a:lnTo>
                <a:lnTo>
                  <a:pt x="569" y="1254"/>
                </a:lnTo>
                <a:lnTo>
                  <a:pt x="738" y="1254"/>
                </a:lnTo>
                <a:lnTo>
                  <a:pt x="741" y="1252"/>
                </a:lnTo>
                <a:lnTo>
                  <a:pt x="742" y="1249"/>
                </a:lnTo>
                <a:lnTo>
                  <a:pt x="742" y="1094"/>
                </a:lnTo>
                <a:lnTo>
                  <a:pt x="743" y="1085"/>
                </a:lnTo>
                <a:lnTo>
                  <a:pt x="746" y="1078"/>
                </a:lnTo>
                <a:lnTo>
                  <a:pt x="754" y="1072"/>
                </a:lnTo>
                <a:lnTo>
                  <a:pt x="761" y="1069"/>
                </a:lnTo>
                <a:lnTo>
                  <a:pt x="790" y="1061"/>
                </a:lnTo>
                <a:lnTo>
                  <a:pt x="818" y="1049"/>
                </a:lnTo>
                <a:lnTo>
                  <a:pt x="846" y="1038"/>
                </a:lnTo>
                <a:lnTo>
                  <a:pt x="872" y="1023"/>
                </a:lnTo>
                <a:lnTo>
                  <a:pt x="880" y="1019"/>
                </a:lnTo>
                <a:lnTo>
                  <a:pt x="889" y="1019"/>
                </a:lnTo>
                <a:lnTo>
                  <a:pt x="896" y="1022"/>
                </a:lnTo>
                <a:lnTo>
                  <a:pt x="903" y="1026"/>
                </a:lnTo>
                <a:lnTo>
                  <a:pt x="1013" y="1137"/>
                </a:lnTo>
                <a:lnTo>
                  <a:pt x="1014" y="1137"/>
                </a:lnTo>
                <a:lnTo>
                  <a:pt x="1016" y="1139"/>
                </a:lnTo>
                <a:lnTo>
                  <a:pt x="1019" y="1137"/>
                </a:lnTo>
                <a:lnTo>
                  <a:pt x="1020" y="1137"/>
                </a:lnTo>
                <a:lnTo>
                  <a:pt x="1138" y="1018"/>
                </a:lnTo>
                <a:lnTo>
                  <a:pt x="1139" y="1015"/>
                </a:lnTo>
                <a:lnTo>
                  <a:pt x="1138" y="1012"/>
                </a:lnTo>
                <a:lnTo>
                  <a:pt x="1029" y="902"/>
                </a:lnTo>
                <a:lnTo>
                  <a:pt x="1023" y="895"/>
                </a:lnTo>
                <a:lnTo>
                  <a:pt x="1020" y="888"/>
                </a:lnTo>
                <a:lnTo>
                  <a:pt x="1021" y="879"/>
                </a:lnTo>
                <a:lnTo>
                  <a:pt x="1024" y="871"/>
                </a:lnTo>
                <a:lnTo>
                  <a:pt x="1039" y="845"/>
                </a:lnTo>
                <a:lnTo>
                  <a:pt x="1050" y="817"/>
                </a:lnTo>
                <a:lnTo>
                  <a:pt x="1062" y="789"/>
                </a:lnTo>
                <a:lnTo>
                  <a:pt x="1070" y="760"/>
                </a:lnTo>
                <a:lnTo>
                  <a:pt x="1073" y="753"/>
                </a:lnTo>
                <a:lnTo>
                  <a:pt x="1079" y="745"/>
                </a:lnTo>
                <a:lnTo>
                  <a:pt x="1086" y="743"/>
                </a:lnTo>
                <a:lnTo>
                  <a:pt x="1095" y="741"/>
                </a:lnTo>
                <a:lnTo>
                  <a:pt x="1250" y="741"/>
                </a:lnTo>
                <a:lnTo>
                  <a:pt x="1253" y="740"/>
                </a:lnTo>
                <a:lnTo>
                  <a:pt x="1255" y="737"/>
                </a:lnTo>
                <a:lnTo>
                  <a:pt x="1255" y="568"/>
                </a:lnTo>
                <a:lnTo>
                  <a:pt x="1253" y="565"/>
                </a:lnTo>
                <a:lnTo>
                  <a:pt x="1250" y="565"/>
                </a:lnTo>
                <a:lnTo>
                  <a:pt x="1095" y="565"/>
                </a:lnTo>
                <a:lnTo>
                  <a:pt x="1086" y="564"/>
                </a:lnTo>
                <a:lnTo>
                  <a:pt x="1079" y="560"/>
                </a:lnTo>
                <a:lnTo>
                  <a:pt x="1073" y="553"/>
                </a:lnTo>
                <a:lnTo>
                  <a:pt x="1070" y="545"/>
                </a:lnTo>
                <a:lnTo>
                  <a:pt x="1062" y="517"/>
                </a:lnTo>
                <a:lnTo>
                  <a:pt x="1050" y="488"/>
                </a:lnTo>
                <a:lnTo>
                  <a:pt x="1039" y="460"/>
                </a:lnTo>
                <a:lnTo>
                  <a:pt x="1024" y="434"/>
                </a:lnTo>
                <a:lnTo>
                  <a:pt x="1021" y="426"/>
                </a:lnTo>
                <a:lnTo>
                  <a:pt x="1020" y="417"/>
                </a:lnTo>
                <a:lnTo>
                  <a:pt x="1023" y="410"/>
                </a:lnTo>
                <a:lnTo>
                  <a:pt x="1029" y="403"/>
                </a:lnTo>
                <a:lnTo>
                  <a:pt x="1138" y="293"/>
                </a:lnTo>
                <a:lnTo>
                  <a:pt x="1139" y="290"/>
                </a:lnTo>
                <a:lnTo>
                  <a:pt x="1138" y="288"/>
                </a:lnTo>
                <a:lnTo>
                  <a:pt x="1020" y="168"/>
                </a:lnTo>
                <a:lnTo>
                  <a:pt x="1019" y="168"/>
                </a:lnTo>
                <a:lnTo>
                  <a:pt x="1016" y="167"/>
                </a:lnTo>
                <a:lnTo>
                  <a:pt x="1014" y="168"/>
                </a:lnTo>
                <a:lnTo>
                  <a:pt x="1013" y="168"/>
                </a:lnTo>
                <a:lnTo>
                  <a:pt x="903" y="279"/>
                </a:lnTo>
                <a:lnTo>
                  <a:pt x="896" y="283"/>
                </a:lnTo>
                <a:lnTo>
                  <a:pt x="889" y="286"/>
                </a:lnTo>
                <a:lnTo>
                  <a:pt x="880" y="286"/>
                </a:lnTo>
                <a:lnTo>
                  <a:pt x="872" y="282"/>
                </a:lnTo>
                <a:lnTo>
                  <a:pt x="846" y="267"/>
                </a:lnTo>
                <a:lnTo>
                  <a:pt x="818" y="256"/>
                </a:lnTo>
                <a:lnTo>
                  <a:pt x="790" y="244"/>
                </a:lnTo>
                <a:lnTo>
                  <a:pt x="761" y="236"/>
                </a:lnTo>
                <a:lnTo>
                  <a:pt x="754" y="233"/>
                </a:lnTo>
                <a:lnTo>
                  <a:pt x="746" y="227"/>
                </a:lnTo>
                <a:lnTo>
                  <a:pt x="743" y="220"/>
                </a:lnTo>
                <a:lnTo>
                  <a:pt x="742" y="211"/>
                </a:lnTo>
                <a:lnTo>
                  <a:pt x="742" y="56"/>
                </a:lnTo>
                <a:lnTo>
                  <a:pt x="741" y="53"/>
                </a:lnTo>
                <a:lnTo>
                  <a:pt x="738" y="51"/>
                </a:lnTo>
                <a:lnTo>
                  <a:pt x="569" y="51"/>
                </a:lnTo>
                <a:lnTo>
                  <a:pt x="566" y="53"/>
                </a:lnTo>
                <a:lnTo>
                  <a:pt x="566" y="56"/>
                </a:lnTo>
                <a:lnTo>
                  <a:pt x="566" y="211"/>
                </a:lnTo>
                <a:lnTo>
                  <a:pt x="565" y="220"/>
                </a:lnTo>
                <a:lnTo>
                  <a:pt x="561" y="227"/>
                </a:lnTo>
                <a:lnTo>
                  <a:pt x="553" y="233"/>
                </a:lnTo>
                <a:lnTo>
                  <a:pt x="546" y="236"/>
                </a:lnTo>
                <a:lnTo>
                  <a:pt x="517" y="244"/>
                </a:lnTo>
                <a:lnTo>
                  <a:pt x="490" y="256"/>
                </a:lnTo>
                <a:lnTo>
                  <a:pt x="463" y="267"/>
                </a:lnTo>
                <a:lnTo>
                  <a:pt x="435" y="282"/>
                </a:lnTo>
                <a:lnTo>
                  <a:pt x="427" y="286"/>
                </a:lnTo>
                <a:lnTo>
                  <a:pt x="419" y="286"/>
                </a:lnTo>
                <a:lnTo>
                  <a:pt x="411" y="283"/>
                </a:lnTo>
                <a:lnTo>
                  <a:pt x="404" y="279"/>
                </a:lnTo>
                <a:lnTo>
                  <a:pt x="294" y="168"/>
                </a:lnTo>
                <a:lnTo>
                  <a:pt x="293" y="168"/>
                </a:lnTo>
                <a:lnTo>
                  <a:pt x="291" y="167"/>
                </a:lnTo>
                <a:lnTo>
                  <a:pt x="290" y="168"/>
                </a:lnTo>
                <a:lnTo>
                  <a:pt x="288" y="168"/>
                </a:lnTo>
                <a:lnTo>
                  <a:pt x="170" y="288"/>
                </a:lnTo>
                <a:lnTo>
                  <a:pt x="169" y="290"/>
                </a:lnTo>
                <a:lnTo>
                  <a:pt x="170" y="293"/>
                </a:lnTo>
                <a:lnTo>
                  <a:pt x="280" y="403"/>
                </a:lnTo>
                <a:lnTo>
                  <a:pt x="284" y="410"/>
                </a:lnTo>
                <a:lnTo>
                  <a:pt x="287" y="417"/>
                </a:lnTo>
                <a:lnTo>
                  <a:pt x="287" y="426"/>
                </a:lnTo>
                <a:lnTo>
                  <a:pt x="284" y="434"/>
                </a:lnTo>
                <a:lnTo>
                  <a:pt x="268" y="460"/>
                </a:lnTo>
                <a:lnTo>
                  <a:pt x="257" y="488"/>
                </a:lnTo>
                <a:lnTo>
                  <a:pt x="245" y="517"/>
                </a:lnTo>
                <a:lnTo>
                  <a:pt x="238" y="545"/>
                </a:lnTo>
                <a:lnTo>
                  <a:pt x="234" y="553"/>
                </a:lnTo>
                <a:lnTo>
                  <a:pt x="228" y="560"/>
                </a:lnTo>
                <a:lnTo>
                  <a:pt x="221" y="564"/>
                </a:lnTo>
                <a:lnTo>
                  <a:pt x="212" y="565"/>
                </a:lnTo>
                <a:lnTo>
                  <a:pt x="57" y="565"/>
                </a:lnTo>
                <a:lnTo>
                  <a:pt x="54" y="565"/>
                </a:lnTo>
                <a:lnTo>
                  <a:pt x="52" y="568"/>
                </a:lnTo>
                <a:lnTo>
                  <a:pt x="52" y="737"/>
                </a:lnTo>
                <a:lnTo>
                  <a:pt x="54" y="740"/>
                </a:lnTo>
                <a:lnTo>
                  <a:pt x="57" y="741"/>
                </a:lnTo>
                <a:lnTo>
                  <a:pt x="212" y="741"/>
                </a:lnTo>
                <a:lnTo>
                  <a:pt x="221" y="743"/>
                </a:lnTo>
                <a:lnTo>
                  <a:pt x="228" y="745"/>
                </a:lnTo>
                <a:lnTo>
                  <a:pt x="234" y="753"/>
                </a:lnTo>
                <a:lnTo>
                  <a:pt x="238" y="760"/>
                </a:lnTo>
                <a:lnTo>
                  <a:pt x="245" y="789"/>
                </a:lnTo>
                <a:lnTo>
                  <a:pt x="257" y="817"/>
                </a:lnTo>
                <a:lnTo>
                  <a:pt x="268" y="845"/>
                </a:lnTo>
                <a:lnTo>
                  <a:pt x="284" y="871"/>
                </a:lnTo>
                <a:lnTo>
                  <a:pt x="287" y="879"/>
                </a:lnTo>
                <a:lnTo>
                  <a:pt x="287" y="888"/>
                </a:lnTo>
                <a:lnTo>
                  <a:pt x="284" y="895"/>
                </a:lnTo>
                <a:lnTo>
                  <a:pt x="280" y="902"/>
                </a:lnTo>
                <a:lnTo>
                  <a:pt x="170" y="1012"/>
                </a:lnTo>
                <a:lnTo>
                  <a:pt x="169" y="1015"/>
                </a:lnTo>
                <a:lnTo>
                  <a:pt x="170" y="1018"/>
                </a:lnTo>
                <a:lnTo>
                  <a:pt x="288" y="1137"/>
                </a:lnTo>
                <a:lnTo>
                  <a:pt x="290" y="1137"/>
                </a:lnTo>
                <a:lnTo>
                  <a:pt x="291" y="1139"/>
                </a:lnTo>
                <a:lnTo>
                  <a:pt x="293" y="1137"/>
                </a:lnTo>
                <a:lnTo>
                  <a:pt x="294" y="1137"/>
                </a:lnTo>
                <a:lnTo>
                  <a:pt x="404" y="1026"/>
                </a:lnTo>
                <a:lnTo>
                  <a:pt x="408" y="1023"/>
                </a:lnTo>
                <a:lnTo>
                  <a:pt x="412" y="1020"/>
                </a:lnTo>
                <a:lnTo>
                  <a:pt x="417" y="1019"/>
                </a:lnTo>
                <a:lnTo>
                  <a:pt x="422" y="1019"/>
                </a:lnTo>
                <a:close/>
                <a:moveTo>
                  <a:pt x="738" y="1306"/>
                </a:moveTo>
                <a:lnTo>
                  <a:pt x="569" y="1306"/>
                </a:lnTo>
                <a:lnTo>
                  <a:pt x="559" y="1304"/>
                </a:lnTo>
                <a:lnTo>
                  <a:pt x="548" y="1301"/>
                </a:lnTo>
                <a:lnTo>
                  <a:pt x="539" y="1296"/>
                </a:lnTo>
                <a:lnTo>
                  <a:pt x="530" y="1290"/>
                </a:lnTo>
                <a:lnTo>
                  <a:pt x="523" y="1281"/>
                </a:lnTo>
                <a:lnTo>
                  <a:pt x="517" y="1271"/>
                </a:lnTo>
                <a:lnTo>
                  <a:pt x="515" y="1261"/>
                </a:lnTo>
                <a:lnTo>
                  <a:pt x="513" y="1249"/>
                </a:lnTo>
                <a:lnTo>
                  <a:pt x="513" y="1114"/>
                </a:lnTo>
                <a:lnTo>
                  <a:pt x="491" y="1107"/>
                </a:lnTo>
                <a:lnTo>
                  <a:pt x="470" y="1098"/>
                </a:lnTo>
                <a:lnTo>
                  <a:pt x="448" y="1088"/>
                </a:lnTo>
                <a:lnTo>
                  <a:pt x="427" y="1078"/>
                </a:lnTo>
                <a:lnTo>
                  <a:pt x="330" y="1173"/>
                </a:lnTo>
                <a:lnTo>
                  <a:pt x="322" y="1180"/>
                </a:lnTo>
                <a:lnTo>
                  <a:pt x="313" y="1186"/>
                </a:lnTo>
                <a:lnTo>
                  <a:pt x="301" y="1189"/>
                </a:lnTo>
                <a:lnTo>
                  <a:pt x="291" y="1189"/>
                </a:lnTo>
                <a:lnTo>
                  <a:pt x="280" y="1189"/>
                </a:lnTo>
                <a:lnTo>
                  <a:pt x="270" y="1186"/>
                </a:lnTo>
                <a:lnTo>
                  <a:pt x="260" y="1180"/>
                </a:lnTo>
                <a:lnTo>
                  <a:pt x="251" y="1173"/>
                </a:lnTo>
                <a:lnTo>
                  <a:pt x="133" y="1055"/>
                </a:lnTo>
                <a:lnTo>
                  <a:pt x="126" y="1046"/>
                </a:lnTo>
                <a:lnTo>
                  <a:pt x="120" y="1036"/>
                </a:lnTo>
                <a:lnTo>
                  <a:pt x="117" y="1026"/>
                </a:lnTo>
                <a:lnTo>
                  <a:pt x="116" y="1015"/>
                </a:lnTo>
                <a:lnTo>
                  <a:pt x="117" y="1005"/>
                </a:lnTo>
                <a:lnTo>
                  <a:pt x="120" y="995"/>
                </a:lnTo>
                <a:lnTo>
                  <a:pt x="126" y="984"/>
                </a:lnTo>
                <a:lnTo>
                  <a:pt x="133" y="976"/>
                </a:lnTo>
                <a:lnTo>
                  <a:pt x="228" y="879"/>
                </a:lnTo>
                <a:lnTo>
                  <a:pt x="218" y="859"/>
                </a:lnTo>
                <a:lnTo>
                  <a:pt x="208" y="838"/>
                </a:lnTo>
                <a:lnTo>
                  <a:pt x="199" y="815"/>
                </a:lnTo>
                <a:lnTo>
                  <a:pt x="192" y="793"/>
                </a:lnTo>
                <a:lnTo>
                  <a:pt x="57" y="793"/>
                </a:lnTo>
                <a:lnTo>
                  <a:pt x="45" y="792"/>
                </a:lnTo>
                <a:lnTo>
                  <a:pt x="35" y="789"/>
                </a:lnTo>
                <a:lnTo>
                  <a:pt x="25" y="783"/>
                </a:lnTo>
                <a:lnTo>
                  <a:pt x="18" y="776"/>
                </a:lnTo>
                <a:lnTo>
                  <a:pt x="11" y="768"/>
                </a:lnTo>
                <a:lnTo>
                  <a:pt x="5" y="758"/>
                </a:lnTo>
                <a:lnTo>
                  <a:pt x="2" y="748"/>
                </a:lnTo>
                <a:lnTo>
                  <a:pt x="0" y="737"/>
                </a:lnTo>
                <a:lnTo>
                  <a:pt x="0" y="568"/>
                </a:lnTo>
                <a:lnTo>
                  <a:pt x="2" y="558"/>
                </a:lnTo>
                <a:lnTo>
                  <a:pt x="5" y="547"/>
                </a:lnTo>
                <a:lnTo>
                  <a:pt x="11" y="538"/>
                </a:lnTo>
                <a:lnTo>
                  <a:pt x="18" y="529"/>
                </a:lnTo>
                <a:lnTo>
                  <a:pt x="25" y="522"/>
                </a:lnTo>
                <a:lnTo>
                  <a:pt x="35" y="517"/>
                </a:lnTo>
                <a:lnTo>
                  <a:pt x="45" y="514"/>
                </a:lnTo>
                <a:lnTo>
                  <a:pt x="57" y="512"/>
                </a:lnTo>
                <a:lnTo>
                  <a:pt x="192" y="512"/>
                </a:lnTo>
                <a:lnTo>
                  <a:pt x="199" y="491"/>
                </a:lnTo>
                <a:lnTo>
                  <a:pt x="208" y="468"/>
                </a:lnTo>
                <a:lnTo>
                  <a:pt x="218" y="447"/>
                </a:lnTo>
                <a:lnTo>
                  <a:pt x="228" y="426"/>
                </a:lnTo>
                <a:lnTo>
                  <a:pt x="133" y="329"/>
                </a:lnTo>
                <a:lnTo>
                  <a:pt x="126" y="321"/>
                </a:lnTo>
                <a:lnTo>
                  <a:pt x="120" y="311"/>
                </a:lnTo>
                <a:lnTo>
                  <a:pt x="117" y="301"/>
                </a:lnTo>
                <a:lnTo>
                  <a:pt x="116" y="290"/>
                </a:lnTo>
                <a:lnTo>
                  <a:pt x="117" y="279"/>
                </a:lnTo>
                <a:lnTo>
                  <a:pt x="120" y="269"/>
                </a:lnTo>
                <a:lnTo>
                  <a:pt x="126" y="259"/>
                </a:lnTo>
                <a:lnTo>
                  <a:pt x="133" y="250"/>
                </a:lnTo>
                <a:lnTo>
                  <a:pt x="251" y="132"/>
                </a:lnTo>
                <a:lnTo>
                  <a:pt x="260" y="125"/>
                </a:lnTo>
                <a:lnTo>
                  <a:pt x="270" y="119"/>
                </a:lnTo>
                <a:lnTo>
                  <a:pt x="280" y="116"/>
                </a:lnTo>
                <a:lnTo>
                  <a:pt x="291" y="116"/>
                </a:lnTo>
                <a:lnTo>
                  <a:pt x="301" y="116"/>
                </a:lnTo>
                <a:lnTo>
                  <a:pt x="313" y="119"/>
                </a:lnTo>
                <a:lnTo>
                  <a:pt x="322" y="125"/>
                </a:lnTo>
                <a:lnTo>
                  <a:pt x="330" y="132"/>
                </a:lnTo>
                <a:lnTo>
                  <a:pt x="427" y="227"/>
                </a:lnTo>
                <a:lnTo>
                  <a:pt x="448" y="217"/>
                </a:lnTo>
                <a:lnTo>
                  <a:pt x="470" y="207"/>
                </a:lnTo>
                <a:lnTo>
                  <a:pt x="491" y="198"/>
                </a:lnTo>
                <a:lnTo>
                  <a:pt x="513" y="191"/>
                </a:lnTo>
                <a:lnTo>
                  <a:pt x="513" y="56"/>
                </a:lnTo>
                <a:lnTo>
                  <a:pt x="515" y="44"/>
                </a:lnTo>
                <a:lnTo>
                  <a:pt x="517" y="34"/>
                </a:lnTo>
                <a:lnTo>
                  <a:pt x="523" y="24"/>
                </a:lnTo>
                <a:lnTo>
                  <a:pt x="530" y="17"/>
                </a:lnTo>
                <a:lnTo>
                  <a:pt x="539" y="10"/>
                </a:lnTo>
                <a:lnTo>
                  <a:pt x="548" y="4"/>
                </a:lnTo>
                <a:lnTo>
                  <a:pt x="559" y="1"/>
                </a:lnTo>
                <a:lnTo>
                  <a:pt x="569" y="0"/>
                </a:lnTo>
                <a:lnTo>
                  <a:pt x="738" y="0"/>
                </a:lnTo>
                <a:lnTo>
                  <a:pt x="749" y="1"/>
                </a:lnTo>
                <a:lnTo>
                  <a:pt x="759" y="4"/>
                </a:lnTo>
                <a:lnTo>
                  <a:pt x="769" y="10"/>
                </a:lnTo>
                <a:lnTo>
                  <a:pt x="777" y="17"/>
                </a:lnTo>
                <a:lnTo>
                  <a:pt x="784" y="24"/>
                </a:lnTo>
                <a:lnTo>
                  <a:pt x="790" y="34"/>
                </a:lnTo>
                <a:lnTo>
                  <a:pt x="792" y="44"/>
                </a:lnTo>
                <a:lnTo>
                  <a:pt x="794" y="56"/>
                </a:lnTo>
                <a:lnTo>
                  <a:pt x="794" y="191"/>
                </a:lnTo>
                <a:lnTo>
                  <a:pt x="815" y="198"/>
                </a:lnTo>
                <a:lnTo>
                  <a:pt x="839" y="207"/>
                </a:lnTo>
                <a:lnTo>
                  <a:pt x="860" y="217"/>
                </a:lnTo>
                <a:lnTo>
                  <a:pt x="880" y="227"/>
                </a:lnTo>
                <a:lnTo>
                  <a:pt x="977" y="132"/>
                </a:lnTo>
                <a:lnTo>
                  <a:pt x="985" y="125"/>
                </a:lnTo>
                <a:lnTo>
                  <a:pt x="995" y="119"/>
                </a:lnTo>
                <a:lnTo>
                  <a:pt x="1006" y="116"/>
                </a:lnTo>
                <a:lnTo>
                  <a:pt x="1016" y="116"/>
                </a:lnTo>
                <a:lnTo>
                  <a:pt x="1027" y="116"/>
                </a:lnTo>
                <a:lnTo>
                  <a:pt x="1037" y="119"/>
                </a:lnTo>
                <a:lnTo>
                  <a:pt x="1047" y="125"/>
                </a:lnTo>
                <a:lnTo>
                  <a:pt x="1056" y="132"/>
                </a:lnTo>
                <a:lnTo>
                  <a:pt x="1174" y="250"/>
                </a:lnTo>
                <a:lnTo>
                  <a:pt x="1181" y="259"/>
                </a:lnTo>
                <a:lnTo>
                  <a:pt x="1187" y="269"/>
                </a:lnTo>
                <a:lnTo>
                  <a:pt x="1190" y="279"/>
                </a:lnTo>
                <a:lnTo>
                  <a:pt x="1191" y="290"/>
                </a:lnTo>
                <a:lnTo>
                  <a:pt x="1190" y="301"/>
                </a:lnTo>
                <a:lnTo>
                  <a:pt x="1187" y="311"/>
                </a:lnTo>
                <a:lnTo>
                  <a:pt x="1181" y="321"/>
                </a:lnTo>
                <a:lnTo>
                  <a:pt x="1174" y="329"/>
                </a:lnTo>
                <a:lnTo>
                  <a:pt x="1079" y="426"/>
                </a:lnTo>
                <a:lnTo>
                  <a:pt x="1089" y="447"/>
                </a:lnTo>
                <a:lnTo>
                  <a:pt x="1099" y="468"/>
                </a:lnTo>
                <a:lnTo>
                  <a:pt x="1108" y="491"/>
                </a:lnTo>
                <a:lnTo>
                  <a:pt x="1115" y="512"/>
                </a:lnTo>
                <a:lnTo>
                  <a:pt x="1250" y="512"/>
                </a:lnTo>
                <a:lnTo>
                  <a:pt x="1262" y="514"/>
                </a:lnTo>
                <a:lnTo>
                  <a:pt x="1272" y="517"/>
                </a:lnTo>
                <a:lnTo>
                  <a:pt x="1282" y="522"/>
                </a:lnTo>
                <a:lnTo>
                  <a:pt x="1291" y="529"/>
                </a:lnTo>
                <a:lnTo>
                  <a:pt x="1296" y="538"/>
                </a:lnTo>
                <a:lnTo>
                  <a:pt x="1302" y="547"/>
                </a:lnTo>
                <a:lnTo>
                  <a:pt x="1305" y="558"/>
                </a:lnTo>
                <a:lnTo>
                  <a:pt x="1307" y="568"/>
                </a:lnTo>
                <a:lnTo>
                  <a:pt x="1307" y="737"/>
                </a:lnTo>
                <a:lnTo>
                  <a:pt x="1305" y="748"/>
                </a:lnTo>
                <a:lnTo>
                  <a:pt x="1302" y="758"/>
                </a:lnTo>
                <a:lnTo>
                  <a:pt x="1296" y="768"/>
                </a:lnTo>
                <a:lnTo>
                  <a:pt x="1291" y="776"/>
                </a:lnTo>
                <a:lnTo>
                  <a:pt x="1282" y="783"/>
                </a:lnTo>
                <a:lnTo>
                  <a:pt x="1272" y="789"/>
                </a:lnTo>
                <a:lnTo>
                  <a:pt x="1262" y="792"/>
                </a:lnTo>
                <a:lnTo>
                  <a:pt x="1250" y="793"/>
                </a:lnTo>
                <a:lnTo>
                  <a:pt x="1115" y="793"/>
                </a:lnTo>
                <a:lnTo>
                  <a:pt x="1108" y="815"/>
                </a:lnTo>
                <a:lnTo>
                  <a:pt x="1099" y="838"/>
                </a:lnTo>
                <a:lnTo>
                  <a:pt x="1089" y="859"/>
                </a:lnTo>
                <a:lnTo>
                  <a:pt x="1079" y="879"/>
                </a:lnTo>
                <a:lnTo>
                  <a:pt x="1174" y="976"/>
                </a:lnTo>
                <a:lnTo>
                  <a:pt x="1181" y="984"/>
                </a:lnTo>
                <a:lnTo>
                  <a:pt x="1187" y="995"/>
                </a:lnTo>
                <a:lnTo>
                  <a:pt x="1190" y="1005"/>
                </a:lnTo>
                <a:lnTo>
                  <a:pt x="1191" y="1015"/>
                </a:lnTo>
                <a:lnTo>
                  <a:pt x="1190" y="1026"/>
                </a:lnTo>
                <a:lnTo>
                  <a:pt x="1187" y="1036"/>
                </a:lnTo>
                <a:lnTo>
                  <a:pt x="1181" y="1046"/>
                </a:lnTo>
                <a:lnTo>
                  <a:pt x="1174" y="1055"/>
                </a:lnTo>
                <a:lnTo>
                  <a:pt x="1056" y="1173"/>
                </a:lnTo>
                <a:lnTo>
                  <a:pt x="1047" y="1180"/>
                </a:lnTo>
                <a:lnTo>
                  <a:pt x="1037" y="1186"/>
                </a:lnTo>
                <a:lnTo>
                  <a:pt x="1027" y="1189"/>
                </a:lnTo>
                <a:lnTo>
                  <a:pt x="1016" y="1189"/>
                </a:lnTo>
                <a:lnTo>
                  <a:pt x="1006" y="1189"/>
                </a:lnTo>
                <a:lnTo>
                  <a:pt x="995" y="1186"/>
                </a:lnTo>
                <a:lnTo>
                  <a:pt x="985" y="1180"/>
                </a:lnTo>
                <a:lnTo>
                  <a:pt x="977" y="1173"/>
                </a:lnTo>
                <a:lnTo>
                  <a:pt x="880" y="1078"/>
                </a:lnTo>
                <a:lnTo>
                  <a:pt x="860" y="1088"/>
                </a:lnTo>
                <a:lnTo>
                  <a:pt x="839" y="1098"/>
                </a:lnTo>
                <a:lnTo>
                  <a:pt x="815" y="1107"/>
                </a:lnTo>
                <a:lnTo>
                  <a:pt x="794" y="1114"/>
                </a:lnTo>
                <a:lnTo>
                  <a:pt x="794" y="1249"/>
                </a:lnTo>
                <a:lnTo>
                  <a:pt x="792" y="1261"/>
                </a:lnTo>
                <a:lnTo>
                  <a:pt x="790" y="1271"/>
                </a:lnTo>
                <a:lnTo>
                  <a:pt x="784" y="1281"/>
                </a:lnTo>
                <a:lnTo>
                  <a:pt x="777" y="1290"/>
                </a:lnTo>
                <a:lnTo>
                  <a:pt x="769" y="1296"/>
                </a:lnTo>
                <a:lnTo>
                  <a:pt x="759" y="1301"/>
                </a:lnTo>
                <a:lnTo>
                  <a:pt x="749" y="1304"/>
                </a:lnTo>
                <a:lnTo>
                  <a:pt x="738" y="130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30" name="Group 41">
            <a:extLst>
              <a:ext uri="{FF2B5EF4-FFF2-40B4-BE49-F238E27FC236}">
                <a16:creationId xmlns:a16="http://schemas.microsoft.com/office/drawing/2014/main" id="{62D8C75B-9F67-4983-8721-756BC1F70766}"/>
              </a:ext>
            </a:extLst>
          </p:cNvPr>
          <p:cNvGrpSpPr>
            <a:grpSpLocks noChangeAspect="1"/>
          </p:cNvGrpSpPr>
          <p:nvPr/>
        </p:nvGrpSpPr>
        <p:grpSpPr>
          <a:xfrm>
            <a:off x="2694965" y="5424518"/>
            <a:ext cx="304790" cy="292599"/>
            <a:chOff x="3362326" y="0"/>
            <a:chExt cx="476250" cy="457200"/>
          </a:xfrm>
          <a:solidFill>
            <a:schemeClr val="bg1"/>
          </a:solidFill>
          <a:effectLst/>
        </p:grpSpPr>
        <p:sp>
          <p:nvSpPr>
            <p:cNvPr id="1031" name="Freeform 56">
              <a:extLst>
                <a:ext uri="{FF2B5EF4-FFF2-40B4-BE49-F238E27FC236}">
                  <a16:creationId xmlns:a16="http://schemas.microsoft.com/office/drawing/2014/main" id="{77ABCBEC-951C-4D4A-8738-EF98EEBD9CBB}"/>
                </a:ext>
              </a:extLst>
            </p:cNvPr>
            <p:cNvSpPr>
              <a:spLocks noEditPoints="1"/>
            </p:cNvSpPr>
            <p:nvPr/>
          </p:nvSpPr>
          <p:spPr bwMode="auto">
            <a:xfrm>
              <a:off x="3671888" y="88900"/>
              <a:ext cx="77788" cy="77788"/>
            </a:xfrm>
            <a:custGeom>
              <a:avLst/>
              <a:gdLst>
                <a:gd name="T0" fmla="*/ 54 w 196"/>
                <a:gd name="T1" fmla="*/ 72 h 197"/>
                <a:gd name="T2" fmla="*/ 64 w 196"/>
                <a:gd name="T3" fmla="*/ 59 h 197"/>
                <a:gd name="T4" fmla="*/ 76 w 196"/>
                <a:gd name="T5" fmla="*/ 52 h 197"/>
                <a:gd name="T6" fmla="*/ 91 w 196"/>
                <a:gd name="T7" fmla="*/ 47 h 197"/>
                <a:gd name="T8" fmla="*/ 108 w 196"/>
                <a:gd name="T9" fmla="*/ 48 h 197"/>
                <a:gd name="T10" fmla="*/ 128 w 196"/>
                <a:gd name="T11" fmla="*/ 56 h 197"/>
                <a:gd name="T12" fmla="*/ 141 w 196"/>
                <a:gd name="T13" fmla="*/ 70 h 197"/>
                <a:gd name="T14" fmla="*/ 148 w 196"/>
                <a:gd name="T15" fmla="*/ 89 h 197"/>
                <a:gd name="T16" fmla="*/ 148 w 196"/>
                <a:gd name="T17" fmla="*/ 110 h 197"/>
                <a:gd name="T18" fmla="*/ 141 w 196"/>
                <a:gd name="T19" fmla="*/ 128 h 197"/>
                <a:gd name="T20" fmla="*/ 126 w 196"/>
                <a:gd name="T21" fmla="*/ 142 h 197"/>
                <a:gd name="T22" fmla="*/ 108 w 196"/>
                <a:gd name="T23" fmla="*/ 149 h 197"/>
                <a:gd name="T24" fmla="*/ 87 w 196"/>
                <a:gd name="T25" fmla="*/ 149 h 197"/>
                <a:gd name="T26" fmla="*/ 69 w 196"/>
                <a:gd name="T27" fmla="*/ 142 h 197"/>
                <a:gd name="T28" fmla="*/ 54 w 196"/>
                <a:gd name="T29" fmla="*/ 127 h 197"/>
                <a:gd name="T30" fmla="*/ 47 w 196"/>
                <a:gd name="T31" fmla="*/ 108 h 197"/>
                <a:gd name="T32" fmla="*/ 47 w 196"/>
                <a:gd name="T33" fmla="*/ 88 h 197"/>
                <a:gd name="T34" fmla="*/ 59 w 196"/>
                <a:gd name="T35" fmla="*/ 188 h 197"/>
                <a:gd name="T36" fmla="*/ 79 w 196"/>
                <a:gd name="T37" fmla="*/ 194 h 197"/>
                <a:gd name="T38" fmla="*/ 98 w 196"/>
                <a:gd name="T39" fmla="*/ 197 h 197"/>
                <a:gd name="T40" fmla="*/ 126 w 196"/>
                <a:gd name="T41" fmla="*/ 192 h 197"/>
                <a:gd name="T42" fmla="*/ 152 w 196"/>
                <a:gd name="T43" fmla="*/ 181 h 197"/>
                <a:gd name="T44" fmla="*/ 173 w 196"/>
                <a:gd name="T45" fmla="*/ 161 h 197"/>
                <a:gd name="T46" fmla="*/ 188 w 196"/>
                <a:gd name="T47" fmla="*/ 137 h 197"/>
                <a:gd name="T48" fmla="*/ 194 w 196"/>
                <a:gd name="T49" fmla="*/ 118 h 197"/>
                <a:gd name="T50" fmla="*/ 196 w 196"/>
                <a:gd name="T51" fmla="*/ 100 h 197"/>
                <a:gd name="T52" fmla="*/ 194 w 196"/>
                <a:gd name="T53" fmla="*/ 81 h 197"/>
                <a:gd name="T54" fmla="*/ 189 w 196"/>
                <a:gd name="T55" fmla="*/ 62 h 197"/>
                <a:gd name="T56" fmla="*/ 180 w 196"/>
                <a:gd name="T57" fmla="*/ 45 h 197"/>
                <a:gd name="T58" fmla="*/ 168 w 196"/>
                <a:gd name="T59" fmla="*/ 30 h 197"/>
                <a:gd name="T60" fmla="*/ 153 w 196"/>
                <a:gd name="T61" fmla="*/ 18 h 197"/>
                <a:gd name="T62" fmla="*/ 136 w 196"/>
                <a:gd name="T63" fmla="*/ 9 h 197"/>
                <a:gd name="T64" fmla="*/ 118 w 196"/>
                <a:gd name="T65" fmla="*/ 3 h 197"/>
                <a:gd name="T66" fmla="*/ 98 w 196"/>
                <a:gd name="T67" fmla="*/ 0 h 197"/>
                <a:gd name="T68" fmla="*/ 70 w 196"/>
                <a:gd name="T69" fmla="*/ 5 h 197"/>
                <a:gd name="T70" fmla="*/ 44 w 196"/>
                <a:gd name="T71" fmla="*/ 16 h 197"/>
                <a:gd name="T72" fmla="*/ 23 w 196"/>
                <a:gd name="T73" fmla="*/ 36 h 197"/>
                <a:gd name="T74" fmla="*/ 7 w 196"/>
                <a:gd name="T75" fmla="*/ 61 h 197"/>
                <a:gd name="T76" fmla="*/ 2 w 196"/>
                <a:gd name="T77" fmla="*/ 79 h 197"/>
                <a:gd name="T78" fmla="*/ 0 w 196"/>
                <a:gd name="T79" fmla="*/ 97 h 197"/>
                <a:gd name="T80" fmla="*/ 1 w 196"/>
                <a:gd name="T81" fmla="*/ 117 h 197"/>
                <a:gd name="T82" fmla="*/ 7 w 196"/>
                <a:gd name="T83" fmla="*/ 135 h 197"/>
                <a:gd name="T84" fmla="*/ 16 w 196"/>
                <a:gd name="T85" fmla="*/ 153 h 197"/>
                <a:gd name="T86" fmla="*/ 28 w 196"/>
                <a:gd name="T87" fmla="*/ 167 h 197"/>
                <a:gd name="T88" fmla="*/ 43 w 196"/>
                <a:gd name="T89" fmla="*/ 180 h 197"/>
                <a:gd name="T90" fmla="*/ 59 w 196"/>
                <a:gd name="T91" fmla="*/ 18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197">
                  <a:moveTo>
                    <a:pt x="50" y="78"/>
                  </a:moveTo>
                  <a:lnTo>
                    <a:pt x="54" y="72"/>
                  </a:lnTo>
                  <a:lnTo>
                    <a:pt x="58" y="65"/>
                  </a:lnTo>
                  <a:lnTo>
                    <a:pt x="64" y="59"/>
                  </a:lnTo>
                  <a:lnTo>
                    <a:pt x="70" y="56"/>
                  </a:lnTo>
                  <a:lnTo>
                    <a:pt x="76" y="52"/>
                  </a:lnTo>
                  <a:lnTo>
                    <a:pt x="83" y="50"/>
                  </a:lnTo>
                  <a:lnTo>
                    <a:pt x="91" y="47"/>
                  </a:lnTo>
                  <a:lnTo>
                    <a:pt x="98" y="47"/>
                  </a:lnTo>
                  <a:lnTo>
                    <a:pt x="108" y="48"/>
                  </a:lnTo>
                  <a:lnTo>
                    <a:pt x="118" y="51"/>
                  </a:lnTo>
                  <a:lnTo>
                    <a:pt x="128" y="56"/>
                  </a:lnTo>
                  <a:lnTo>
                    <a:pt x="135" y="63"/>
                  </a:lnTo>
                  <a:lnTo>
                    <a:pt x="141" y="70"/>
                  </a:lnTo>
                  <a:lnTo>
                    <a:pt x="146" y="79"/>
                  </a:lnTo>
                  <a:lnTo>
                    <a:pt x="148" y="89"/>
                  </a:lnTo>
                  <a:lnTo>
                    <a:pt x="150" y="100"/>
                  </a:lnTo>
                  <a:lnTo>
                    <a:pt x="148" y="110"/>
                  </a:lnTo>
                  <a:lnTo>
                    <a:pt x="146" y="119"/>
                  </a:lnTo>
                  <a:lnTo>
                    <a:pt x="141" y="128"/>
                  </a:lnTo>
                  <a:lnTo>
                    <a:pt x="134" y="135"/>
                  </a:lnTo>
                  <a:lnTo>
                    <a:pt x="126" y="142"/>
                  </a:lnTo>
                  <a:lnTo>
                    <a:pt x="118" y="146"/>
                  </a:lnTo>
                  <a:lnTo>
                    <a:pt x="108" y="149"/>
                  </a:lnTo>
                  <a:lnTo>
                    <a:pt x="98" y="150"/>
                  </a:lnTo>
                  <a:lnTo>
                    <a:pt x="87" y="149"/>
                  </a:lnTo>
                  <a:lnTo>
                    <a:pt x="77" y="146"/>
                  </a:lnTo>
                  <a:lnTo>
                    <a:pt x="69" y="142"/>
                  </a:lnTo>
                  <a:lnTo>
                    <a:pt x="61" y="135"/>
                  </a:lnTo>
                  <a:lnTo>
                    <a:pt x="54" y="127"/>
                  </a:lnTo>
                  <a:lnTo>
                    <a:pt x="50" y="118"/>
                  </a:lnTo>
                  <a:lnTo>
                    <a:pt x="47" y="108"/>
                  </a:lnTo>
                  <a:lnTo>
                    <a:pt x="47" y="99"/>
                  </a:lnTo>
                  <a:lnTo>
                    <a:pt x="47" y="88"/>
                  </a:lnTo>
                  <a:lnTo>
                    <a:pt x="50" y="78"/>
                  </a:lnTo>
                  <a:close/>
                  <a:moveTo>
                    <a:pt x="59" y="188"/>
                  </a:moveTo>
                  <a:lnTo>
                    <a:pt x="69" y="192"/>
                  </a:lnTo>
                  <a:lnTo>
                    <a:pt x="79" y="194"/>
                  </a:lnTo>
                  <a:lnTo>
                    <a:pt x="88" y="197"/>
                  </a:lnTo>
                  <a:lnTo>
                    <a:pt x="98" y="197"/>
                  </a:lnTo>
                  <a:lnTo>
                    <a:pt x="113" y="196"/>
                  </a:lnTo>
                  <a:lnTo>
                    <a:pt x="126" y="192"/>
                  </a:lnTo>
                  <a:lnTo>
                    <a:pt x="140" y="187"/>
                  </a:lnTo>
                  <a:lnTo>
                    <a:pt x="152" y="181"/>
                  </a:lnTo>
                  <a:lnTo>
                    <a:pt x="163" y="172"/>
                  </a:lnTo>
                  <a:lnTo>
                    <a:pt x="173" y="161"/>
                  </a:lnTo>
                  <a:lnTo>
                    <a:pt x="182" y="150"/>
                  </a:lnTo>
                  <a:lnTo>
                    <a:pt x="188" y="137"/>
                  </a:lnTo>
                  <a:lnTo>
                    <a:pt x="191" y="128"/>
                  </a:lnTo>
                  <a:lnTo>
                    <a:pt x="194" y="118"/>
                  </a:lnTo>
                  <a:lnTo>
                    <a:pt x="195" y="110"/>
                  </a:lnTo>
                  <a:lnTo>
                    <a:pt x="196" y="100"/>
                  </a:lnTo>
                  <a:lnTo>
                    <a:pt x="195" y="90"/>
                  </a:lnTo>
                  <a:lnTo>
                    <a:pt x="194" y="81"/>
                  </a:lnTo>
                  <a:lnTo>
                    <a:pt x="191" y="72"/>
                  </a:lnTo>
                  <a:lnTo>
                    <a:pt x="189" y="62"/>
                  </a:lnTo>
                  <a:lnTo>
                    <a:pt x="185" y="53"/>
                  </a:lnTo>
                  <a:lnTo>
                    <a:pt x="180" y="45"/>
                  </a:lnTo>
                  <a:lnTo>
                    <a:pt x="174" y="37"/>
                  </a:lnTo>
                  <a:lnTo>
                    <a:pt x="168" y="30"/>
                  </a:lnTo>
                  <a:lnTo>
                    <a:pt x="161" y="24"/>
                  </a:lnTo>
                  <a:lnTo>
                    <a:pt x="153" y="18"/>
                  </a:lnTo>
                  <a:lnTo>
                    <a:pt x="145" y="13"/>
                  </a:lnTo>
                  <a:lnTo>
                    <a:pt x="136" y="9"/>
                  </a:lnTo>
                  <a:lnTo>
                    <a:pt x="128" y="5"/>
                  </a:lnTo>
                  <a:lnTo>
                    <a:pt x="118" y="3"/>
                  </a:lnTo>
                  <a:lnTo>
                    <a:pt x="108" y="2"/>
                  </a:lnTo>
                  <a:lnTo>
                    <a:pt x="98" y="0"/>
                  </a:lnTo>
                  <a:lnTo>
                    <a:pt x="83" y="2"/>
                  </a:lnTo>
                  <a:lnTo>
                    <a:pt x="70" y="5"/>
                  </a:lnTo>
                  <a:lnTo>
                    <a:pt x="56" y="10"/>
                  </a:lnTo>
                  <a:lnTo>
                    <a:pt x="44" y="16"/>
                  </a:lnTo>
                  <a:lnTo>
                    <a:pt x="33" y="25"/>
                  </a:lnTo>
                  <a:lnTo>
                    <a:pt x="23" y="36"/>
                  </a:lnTo>
                  <a:lnTo>
                    <a:pt x="15" y="47"/>
                  </a:lnTo>
                  <a:lnTo>
                    <a:pt x="7" y="61"/>
                  </a:lnTo>
                  <a:lnTo>
                    <a:pt x="5" y="69"/>
                  </a:lnTo>
                  <a:lnTo>
                    <a:pt x="2" y="79"/>
                  </a:lnTo>
                  <a:lnTo>
                    <a:pt x="0" y="88"/>
                  </a:lnTo>
                  <a:lnTo>
                    <a:pt x="0" y="97"/>
                  </a:lnTo>
                  <a:lnTo>
                    <a:pt x="0" y="107"/>
                  </a:lnTo>
                  <a:lnTo>
                    <a:pt x="1" y="117"/>
                  </a:lnTo>
                  <a:lnTo>
                    <a:pt x="4" y="126"/>
                  </a:lnTo>
                  <a:lnTo>
                    <a:pt x="7" y="135"/>
                  </a:lnTo>
                  <a:lnTo>
                    <a:pt x="11" y="144"/>
                  </a:lnTo>
                  <a:lnTo>
                    <a:pt x="16" y="153"/>
                  </a:lnTo>
                  <a:lnTo>
                    <a:pt x="22" y="160"/>
                  </a:lnTo>
                  <a:lnTo>
                    <a:pt x="28" y="167"/>
                  </a:lnTo>
                  <a:lnTo>
                    <a:pt x="34" y="173"/>
                  </a:lnTo>
                  <a:lnTo>
                    <a:pt x="43" y="180"/>
                  </a:lnTo>
                  <a:lnTo>
                    <a:pt x="50" y="184"/>
                  </a:lnTo>
                  <a:lnTo>
                    <a:pt x="59"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57">
              <a:extLst>
                <a:ext uri="{FF2B5EF4-FFF2-40B4-BE49-F238E27FC236}">
                  <a16:creationId xmlns:a16="http://schemas.microsoft.com/office/drawing/2014/main" id="{15108133-ED33-4435-83F2-4EA4DDF7091F}"/>
                </a:ext>
              </a:extLst>
            </p:cNvPr>
            <p:cNvSpPr>
              <a:spLocks noEditPoints="1"/>
            </p:cNvSpPr>
            <p:nvPr/>
          </p:nvSpPr>
          <p:spPr bwMode="auto">
            <a:xfrm>
              <a:off x="3621088" y="38100"/>
              <a:ext cx="179388" cy="179388"/>
            </a:xfrm>
            <a:custGeom>
              <a:avLst/>
              <a:gdLst>
                <a:gd name="T0" fmla="*/ 113 w 452"/>
                <a:gd name="T1" fmla="*/ 167 h 451"/>
                <a:gd name="T2" fmla="*/ 138 w 452"/>
                <a:gd name="T3" fmla="*/ 141 h 451"/>
                <a:gd name="T4" fmla="*/ 164 w 452"/>
                <a:gd name="T5" fmla="*/ 115 h 451"/>
                <a:gd name="T6" fmla="*/ 203 w 452"/>
                <a:gd name="T7" fmla="*/ 51 h 451"/>
                <a:gd name="T8" fmla="*/ 226 w 452"/>
                <a:gd name="T9" fmla="*/ 103 h 451"/>
                <a:gd name="T10" fmla="*/ 264 w 452"/>
                <a:gd name="T11" fmla="*/ 110 h 451"/>
                <a:gd name="T12" fmla="*/ 296 w 452"/>
                <a:gd name="T13" fmla="*/ 114 h 451"/>
                <a:gd name="T14" fmla="*/ 339 w 452"/>
                <a:gd name="T15" fmla="*/ 145 h 451"/>
                <a:gd name="T16" fmla="*/ 335 w 452"/>
                <a:gd name="T17" fmla="*/ 170 h 451"/>
                <a:gd name="T18" fmla="*/ 348 w 452"/>
                <a:gd name="T19" fmla="*/ 215 h 451"/>
                <a:gd name="T20" fmla="*/ 365 w 452"/>
                <a:gd name="T21" fmla="*/ 235 h 451"/>
                <a:gd name="T22" fmla="*/ 345 w 452"/>
                <a:gd name="T23" fmla="*/ 283 h 451"/>
                <a:gd name="T24" fmla="*/ 321 w 452"/>
                <a:gd name="T25" fmla="*/ 303 h 451"/>
                <a:gd name="T26" fmla="*/ 292 w 452"/>
                <a:gd name="T27" fmla="*/ 330 h 451"/>
                <a:gd name="T28" fmla="*/ 299 w 452"/>
                <a:gd name="T29" fmla="*/ 386 h 451"/>
                <a:gd name="T30" fmla="*/ 231 w 452"/>
                <a:gd name="T31" fmla="*/ 352 h 451"/>
                <a:gd name="T32" fmla="*/ 198 w 452"/>
                <a:gd name="T33" fmla="*/ 345 h 451"/>
                <a:gd name="T34" fmla="*/ 167 w 452"/>
                <a:gd name="T35" fmla="*/ 335 h 451"/>
                <a:gd name="T36" fmla="*/ 150 w 452"/>
                <a:gd name="T37" fmla="*/ 342 h 451"/>
                <a:gd name="T38" fmla="*/ 117 w 452"/>
                <a:gd name="T39" fmla="*/ 300 h 451"/>
                <a:gd name="T40" fmla="*/ 112 w 452"/>
                <a:gd name="T41" fmla="*/ 270 h 451"/>
                <a:gd name="T42" fmla="*/ 102 w 452"/>
                <a:gd name="T43" fmla="*/ 229 h 451"/>
                <a:gd name="T44" fmla="*/ 51 w 452"/>
                <a:gd name="T45" fmla="*/ 207 h 451"/>
                <a:gd name="T46" fmla="*/ 64 w 452"/>
                <a:gd name="T47" fmla="*/ 272 h 451"/>
                <a:gd name="T48" fmla="*/ 34 w 452"/>
                <a:gd name="T49" fmla="*/ 326 h 451"/>
                <a:gd name="T50" fmla="*/ 34 w 452"/>
                <a:gd name="T51" fmla="*/ 343 h 451"/>
                <a:gd name="T52" fmla="*/ 112 w 452"/>
                <a:gd name="T53" fmla="*/ 422 h 451"/>
                <a:gd name="T54" fmla="*/ 129 w 452"/>
                <a:gd name="T55" fmla="*/ 424 h 451"/>
                <a:gd name="T56" fmla="*/ 172 w 452"/>
                <a:gd name="T57" fmla="*/ 385 h 451"/>
                <a:gd name="T58" fmla="*/ 215 w 452"/>
                <a:gd name="T59" fmla="*/ 442 h 451"/>
                <a:gd name="T60" fmla="*/ 237 w 452"/>
                <a:gd name="T61" fmla="*/ 451 h 451"/>
                <a:gd name="T62" fmla="*/ 341 w 452"/>
                <a:gd name="T63" fmla="*/ 419 h 451"/>
                <a:gd name="T64" fmla="*/ 350 w 452"/>
                <a:gd name="T65" fmla="*/ 405 h 451"/>
                <a:gd name="T66" fmla="*/ 346 w 452"/>
                <a:gd name="T67" fmla="*/ 343 h 451"/>
                <a:gd name="T68" fmla="*/ 408 w 452"/>
                <a:gd name="T69" fmla="*/ 345 h 451"/>
                <a:gd name="T70" fmla="*/ 424 w 452"/>
                <a:gd name="T71" fmla="*/ 336 h 451"/>
                <a:gd name="T72" fmla="*/ 452 w 452"/>
                <a:gd name="T73" fmla="*/ 229 h 451"/>
                <a:gd name="T74" fmla="*/ 446 w 452"/>
                <a:gd name="T75" fmla="*/ 212 h 451"/>
                <a:gd name="T76" fmla="*/ 391 w 452"/>
                <a:gd name="T77" fmla="*/ 194 h 451"/>
                <a:gd name="T78" fmla="*/ 416 w 452"/>
                <a:gd name="T79" fmla="*/ 129 h 451"/>
                <a:gd name="T80" fmla="*/ 420 w 452"/>
                <a:gd name="T81" fmla="*/ 112 h 451"/>
                <a:gd name="T82" fmla="*/ 343 w 452"/>
                <a:gd name="T83" fmla="*/ 33 h 451"/>
                <a:gd name="T84" fmla="*/ 327 w 452"/>
                <a:gd name="T85" fmla="*/ 27 h 451"/>
                <a:gd name="T86" fmla="*/ 311 w 452"/>
                <a:gd name="T87" fmla="*/ 34 h 451"/>
                <a:gd name="T88" fmla="*/ 241 w 452"/>
                <a:gd name="T89" fmla="*/ 16 h 451"/>
                <a:gd name="T90" fmla="*/ 230 w 452"/>
                <a:gd name="T91" fmla="*/ 2 h 451"/>
                <a:gd name="T92" fmla="*/ 211 w 452"/>
                <a:gd name="T93" fmla="*/ 1 h 451"/>
                <a:gd name="T94" fmla="*/ 107 w 452"/>
                <a:gd name="T95" fmla="*/ 34 h 451"/>
                <a:gd name="T96" fmla="*/ 102 w 452"/>
                <a:gd name="T97" fmla="*/ 51 h 451"/>
                <a:gd name="T98" fmla="*/ 96 w 452"/>
                <a:gd name="T99" fmla="*/ 119 h 451"/>
                <a:gd name="T100" fmla="*/ 40 w 452"/>
                <a:gd name="T101" fmla="*/ 108 h 451"/>
                <a:gd name="T102" fmla="*/ 26 w 452"/>
                <a:gd name="T103" fmla="*/ 120 h 451"/>
                <a:gd name="T104" fmla="*/ 0 w 452"/>
                <a:gd name="T105" fmla="*/ 227 h 451"/>
                <a:gd name="T106" fmla="*/ 9 w 452"/>
                <a:gd name="T107" fmla="*/ 242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451">
                  <a:moveTo>
                    <a:pt x="63" y="158"/>
                  </a:moveTo>
                  <a:lnTo>
                    <a:pt x="100" y="167"/>
                  </a:lnTo>
                  <a:lnTo>
                    <a:pt x="107" y="168"/>
                  </a:lnTo>
                  <a:lnTo>
                    <a:pt x="113" y="167"/>
                  </a:lnTo>
                  <a:lnTo>
                    <a:pt x="119" y="163"/>
                  </a:lnTo>
                  <a:lnTo>
                    <a:pt x="124" y="158"/>
                  </a:lnTo>
                  <a:lnTo>
                    <a:pt x="132" y="148"/>
                  </a:lnTo>
                  <a:lnTo>
                    <a:pt x="138" y="141"/>
                  </a:lnTo>
                  <a:lnTo>
                    <a:pt x="146" y="134"/>
                  </a:lnTo>
                  <a:lnTo>
                    <a:pt x="155" y="126"/>
                  </a:lnTo>
                  <a:lnTo>
                    <a:pt x="160" y="121"/>
                  </a:lnTo>
                  <a:lnTo>
                    <a:pt x="164" y="115"/>
                  </a:lnTo>
                  <a:lnTo>
                    <a:pt x="165" y="108"/>
                  </a:lnTo>
                  <a:lnTo>
                    <a:pt x="164" y="102"/>
                  </a:lnTo>
                  <a:lnTo>
                    <a:pt x="154" y="65"/>
                  </a:lnTo>
                  <a:lnTo>
                    <a:pt x="203" y="51"/>
                  </a:lnTo>
                  <a:lnTo>
                    <a:pt x="213" y="87"/>
                  </a:lnTo>
                  <a:lnTo>
                    <a:pt x="216" y="93"/>
                  </a:lnTo>
                  <a:lnTo>
                    <a:pt x="220" y="99"/>
                  </a:lnTo>
                  <a:lnTo>
                    <a:pt x="226" y="103"/>
                  </a:lnTo>
                  <a:lnTo>
                    <a:pt x="234" y="104"/>
                  </a:lnTo>
                  <a:lnTo>
                    <a:pt x="243" y="105"/>
                  </a:lnTo>
                  <a:lnTo>
                    <a:pt x="254" y="107"/>
                  </a:lnTo>
                  <a:lnTo>
                    <a:pt x="264" y="110"/>
                  </a:lnTo>
                  <a:lnTo>
                    <a:pt x="275" y="114"/>
                  </a:lnTo>
                  <a:lnTo>
                    <a:pt x="281" y="116"/>
                  </a:lnTo>
                  <a:lnTo>
                    <a:pt x="289" y="116"/>
                  </a:lnTo>
                  <a:lnTo>
                    <a:pt x="296" y="114"/>
                  </a:lnTo>
                  <a:lnTo>
                    <a:pt x="302" y="109"/>
                  </a:lnTo>
                  <a:lnTo>
                    <a:pt x="328" y="82"/>
                  </a:lnTo>
                  <a:lnTo>
                    <a:pt x="365" y="118"/>
                  </a:lnTo>
                  <a:lnTo>
                    <a:pt x="339" y="145"/>
                  </a:lnTo>
                  <a:lnTo>
                    <a:pt x="335" y="151"/>
                  </a:lnTo>
                  <a:lnTo>
                    <a:pt x="333" y="157"/>
                  </a:lnTo>
                  <a:lnTo>
                    <a:pt x="333" y="164"/>
                  </a:lnTo>
                  <a:lnTo>
                    <a:pt x="335" y="170"/>
                  </a:lnTo>
                  <a:lnTo>
                    <a:pt x="339" y="181"/>
                  </a:lnTo>
                  <a:lnTo>
                    <a:pt x="343" y="192"/>
                  </a:lnTo>
                  <a:lnTo>
                    <a:pt x="346" y="204"/>
                  </a:lnTo>
                  <a:lnTo>
                    <a:pt x="348" y="215"/>
                  </a:lnTo>
                  <a:lnTo>
                    <a:pt x="349" y="222"/>
                  </a:lnTo>
                  <a:lnTo>
                    <a:pt x="352" y="228"/>
                  </a:lnTo>
                  <a:lnTo>
                    <a:pt x="359" y="232"/>
                  </a:lnTo>
                  <a:lnTo>
                    <a:pt x="365" y="235"/>
                  </a:lnTo>
                  <a:lnTo>
                    <a:pt x="400" y="244"/>
                  </a:lnTo>
                  <a:lnTo>
                    <a:pt x="388" y="293"/>
                  </a:lnTo>
                  <a:lnTo>
                    <a:pt x="352" y="284"/>
                  </a:lnTo>
                  <a:lnTo>
                    <a:pt x="345" y="283"/>
                  </a:lnTo>
                  <a:lnTo>
                    <a:pt x="338" y="286"/>
                  </a:lnTo>
                  <a:lnTo>
                    <a:pt x="332" y="288"/>
                  </a:lnTo>
                  <a:lnTo>
                    <a:pt x="327" y="294"/>
                  </a:lnTo>
                  <a:lnTo>
                    <a:pt x="321" y="303"/>
                  </a:lnTo>
                  <a:lnTo>
                    <a:pt x="313" y="310"/>
                  </a:lnTo>
                  <a:lnTo>
                    <a:pt x="306" y="319"/>
                  </a:lnTo>
                  <a:lnTo>
                    <a:pt x="297" y="325"/>
                  </a:lnTo>
                  <a:lnTo>
                    <a:pt x="292" y="330"/>
                  </a:lnTo>
                  <a:lnTo>
                    <a:pt x="289" y="336"/>
                  </a:lnTo>
                  <a:lnTo>
                    <a:pt x="287" y="343"/>
                  </a:lnTo>
                  <a:lnTo>
                    <a:pt x="289" y="351"/>
                  </a:lnTo>
                  <a:lnTo>
                    <a:pt x="299" y="386"/>
                  </a:lnTo>
                  <a:lnTo>
                    <a:pt x="249" y="400"/>
                  </a:lnTo>
                  <a:lnTo>
                    <a:pt x="240" y="364"/>
                  </a:lnTo>
                  <a:lnTo>
                    <a:pt x="236" y="358"/>
                  </a:lnTo>
                  <a:lnTo>
                    <a:pt x="231" y="352"/>
                  </a:lnTo>
                  <a:lnTo>
                    <a:pt x="225" y="350"/>
                  </a:lnTo>
                  <a:lnTo>
                    <a:pt x="219" y="347"/>
                  </a:lnTo>
                  <a:lnTo>
                    <a:pt x="208" y="346"/>
                  </a:lnTo>
                  <a:lnTo>
                    <a:pt x="198" y="345"/>
                  </a:lnTo>
                  <a:lnTo>
                    <a:pt x="187" y="341"/>
                  </a:lnTo>
                  <a:lnTo>
                    <a:pt x="177" y="337"/>
                  </a:lnTo>
                  <a:lnTo>
                    <a:pt x="172" y="336"/>
                  </a:lnTo>
                  <a:lnTo>
                    <a:pt x="167" y="335"/>
                  </a:lnTo>
                  <a:lnTo>
                    <a:pt x="162" y="336"/>
                  </a:lnTo>
                  <a:lnTo>
                    <a:pt x="157" y="337"/>
                  </a:lnTo>
                  <a:lnTo>
                    <a:pt x="154" y="340"/>
                  </a:lnTo>
                  <a:lnTo>
                    <a:pt x="150" y="342"/>
                  </a:lnTo>
                  <a:lnTo>
                    <a:pt x="124" y="369"/>
                  </a:lnTo>
                  <a:lnTo>
                    <a:pt x="88" y="334"/>
                  </a:lnTo>
                  <a:lnTo>
                    <a:pt x="113" y="307"/>
                  </a:lnTo>
                  <a:lnTo>
                    <a:pt x="117" y="300"/>
                  </a:lnTo>
                  <a:lnTo>
                    <a:pt x="119" y="294"/>
                  </a:lnTo>
                  <a:lnTo>
                    <a:pt x="119" y="287"/>
                  </a:lnTo>
                  <a:lnTo>
                    <a:pt x="117" y="281"/>
                  </a:lnTo>
                  <a:lnTo>
                    <a:pt x="112" y="270"/>
                  </a:lnTo>
                  <a:lnTo>
                    <a:pt x="108" y="259"/>
                  </a:lnTo>
                  <a:lnTo>
                    <a:pt x="106" y="248"/>
                  </a:lnTo>
                  <a:lnTo>
                    <a:pt x="105" y="237"/>
                  </a:lnTo>
                  <a:lnTo>
                    <a:pt x="102" y="229"/>
                  </a:lnTo>
                  <a:lnTo>
                    <a:pt x="99" y="224"/>
                  </a:lnTo>
                  <a:lnTo>
                    <a:pt x="94" y="219"/>
                  </a:lnTo>
                  <a:lnTo>
                    <a:pt x="88" y="217"/>
                  </a:lnTo>
                  <a:lnTo>
                    <a:pt x="51" y="207"/>
                  </a:lnTo>
                  <a:lnTo>
                    <a:pt x="63" y="158"/>
                  </a:lnTo>
                  <a:close/>
                  <a:moveTo>
                    <a:pt x="18" y="246"/>
                  </a:moveTo>
                  <a:lnTo>
                    <a:pt x="61" y="258"/>
                  </a:lnTo>
                  <a:lnTo>
                    <a:pt x="64" y="272"/>
                  </a:lnTo>
                  <a:lnTo>
                    <a:pt x="69" y="286"/>
                  </a:lnTo>
                  <a:lnTo>
                    <a:pt x="38" y="319"/>
                  </a:lnTo>
                  <a:lnTo>
                    <a:pt x="35" y="323"/>
                  </a:lnTo>
                  <a:lnTo>
                    <a:pt x="34" y="326"/>
                  </a:lnTo>
                  <a:lnTo>
                    <a:pt x="32" y="331"/>
                  </a:lnTo>
                  <a:lnTo>
                    <a:pt x="31" y="335"/>
                  </a:lnTo>
                  <a:lnTo>
                    <a:pt x="32" y="340"/>
                  </a:lnTo>
                  <a:lnTo>
                    <a:pt x="34" y="343"/>
                  </a:lnTo>
                  <a:lnTo>
                    <a:pt x="36" y="348"/>
                  </a:lnTo>
                  <a:lnTo>
                    <a:pt x="38" y="352"/>
                  </a:lnTo>
                  <a:lnTo>
                    <a:pt x="108" y="418"/>
                  </a:lnTo>
                  <a:lnTo>
                    <a:pt x="112" y="422"/>
                  </a:lnTo>
                  <a:lnTo>
                    <a:pt x="117" y="423"/>
                  </a:lnTo>
                  <a:lnTo>
                    <a:pt x="121" y="424"/>
                  </a:lnTo>
                  <a:lnTo>
                    <a:pt x="126" y="424"/>
                  </a:lnTo>
                  <a:lnTo>
                    <a:pt x="129" y="424"/>
                  </a:lnTo>
                  <a:lnTo>
                    <a:pt x="134" y="423"/>
                  </a:lnTo>
                  <a:lnTo>
                    <a:pt x="138" y="421"/>
                  </a:lnTo>
                  <a:lnTo>
                    <a:pt x="142" y="418"/>
                  </a:lnTo>
                  <a:lnTo>
                    <a:pt x="172" y="385"/>
                  </a:lnTo>
                  <a:lnTo>
                    <a:pt x="186" y="389"/>
                  </a:lnTo>
                  <a:lnTo>
                    <a:pt x="199" y="391"/>
                  </a:lnTo>
                  <a:lnTo>
                    <a:pt x="211" y="435"/>
                  </a:lnTo>
                  <a:lnTo>
                    <a:pt x="215" y="442"/>
                  </a:lnTo>
                  <a:lnTo>
                    <a:pt x="220" y="448"/>
                  </a:lnTo>
                  <a:lnTo>
                    <a:pt x="226" y="450"/>
                  </a:lnTo>
                  <a:lnTo>
                    <a:pt x="234" y="451"/>
                  </a:lnTo>
                  <a:lnTo>
                    <a:pt x="237" y="451"/>
                  </a:lnTo>
                  <a:lnTo>
                    <a:pt x="240" y="451"/>
                  </a:lnTo>
                  <a:lnTo>
                    <a:pt x="333" y="424"/>
                  </a:lnTo>
                  <a:lnTo>
                    <a:pt x="338" y="422"/>
                  </a:lnTo>
                  <a:lnTo>
                    <a:pt x="341" y="419"/>
                  </a:lnTo>
                  <a:lnTo>
                    <a:pt x="345" y="417"/>
                  </a:lnTo>
                  <a:lnTo>
                    <a:pt x="348" y="413"/>
                  </a:lnTo>
                  <a:lnTo>
                    <a:pt x="349" y="408"/>
                  </a:lnTo>
                  <a:lnTo>
                    <a:pt x="350" y="405"/>
                  </a:lnTo>
                  <a:lnTo>
                    <a:pt x="350" y="400"/>
                  </a:lnTo>
                  <a:lnTo>
                    <a:pt x="349" y="395"/>
                  </a:lnTo>
                  <a:lnTo>
                    <a:pt x="337" y="352"/>
                  </a:lnTo>
                  <a:lnTo>
                    <a:pt x="346" y="343"/>
                  </a:lnTo>
                  <a:lnTo>
                    <a:pt x="355" y="332"/>
                  </a:lnTo>
                  <a:lnTo>
                    <a:pt x="399" y="345"/>
                  </a:lnTo>
                  <a:lnTo>
                    <a:pt x="404" y="345"/>
                  </a:lnTo>
                  <a:lnTo>
                    <a:pt x="408" y="345"/>
                  </a:lnTo>
                  <a:lnTo>
                    <a:pt x="413" y="343"/>
                  </a:lnTo>
                  <a:lnTo>
                    <a:pt x="416" y="341"/>
                  </a:lnTo>
                  <a:lnTo>
                    <a:pt x="420" y="338"/>
                  </a:lnTo>
                  <a:lnTo>
                    <a:pt x="424" y="336"/>
                  </a:lnTo>
                  <a:lnTo>
                    <a:pt x="426" y="332"/>
                  </a:lnTo>
                  <a:lnTo>
                    <a:pt x="427" y="327"/>
                  </a:lnTo>
                  <a:lnTo>
                    <a:pt x="452" y="233"/>
                  </a:lnTo>
                  <a:lnTo>
                    <a:pt x="452" y="229"/>
                  </a:lnTo>
                  <a:lnTo>
                    <a:pt x="452" y="224"/>
                  </a:lnTo>
                  <a:lnTo>
                    <a:pt x="451" y="219"/>
                  </a:lnTo>
                  <a:lnTo>
                    <a:pt x="449" y="216"/>
                  </a:lnTo>
                  <a:lnTo>
                    <a:pt x="446" y="212"/>
                  </a:lnTo>
                  <a:lnTo>
                    <a:pt x="443" y="210"/>
                  </a:lnTo>
                  <a:lnTo>
                    <a:pt x="440" y="207"/>
                  </a:lnTo>
                  <a:lnTo>
                    <a:pt x="435" y="205"/>
                  </a:lnTo>
                  <a:lnTo>
                    <a:pt x="391" y="194"/>
                  </a:lnTo>
                  <a:lnTo>
                    <a:pt x="388" y="179"/>
                  </a:lnTo>
                  <a:lnTo>
                    <a:pt x="383" y="166"/>
                  </a:lnTo>
                  <a:lnTo>
                    <a:pt x="414" y="132"/>
                  </a:lnTo>
                  <a:lnTo>
                    <a:pt x="416" y="129"/>
                  </a:lnTo>
                  <a:lnTo>
                    <a:pt x="419" y="125"/>
                  </a:lnTo>
                  <a:lnTo>
                    <a:pt x="420" y="120"/>
                  </a:lnTo>
                  <a:lnTo>
                    <a:pt x="420" y="116"/>
                  </a:lnTo>
                  <a:lnTo>
                    <a:pt x="420" y="112"/>
                  </a:lnTo>
                  <a:lnTo>
                    <a:pt x="419" y="108"/>
                  </a:lnTo>
                  <a:lnTo>
                    <a:pt x="416" y="103"/>
                  </a:lnTo>
                  <a:lnTo>
                    <a:pt x="413" y="100"/>
                  </a:lnTo>
                  <a:lnTo>
                    <a:pt x="343" y="33"/>
                  </a:lnTo>
                  <a:lnTo>
                    <a:pt x="339" y="31"/>
                  </a:lnTo>
                  <a:lnTo>
                    <a:pt x="335" y="28"/>
                  </a:lnTo>
                  <a:lnTo>
                    <a:pt x="330" y="27"/>
                  </a:lnTo>
                  <a:lnTo>
                    <a:pt x="327" y="27"/>
                  </a:lnTo>
                  <a:lnTo>
                    <a:pt x="322" y="27"/>
                  </a:lnTo>
                  <a:lnTo>
                    <a:pt x="318" y="28"/>
                  </a:lnTo>
                  <a:lnTo>
                    <a:pt x="313" y="31"/>
                  </a:lnTo>
                  <a:lnTo>
                    <a:pt x="311" y="34"/>
                  </a:lnTo>
                  <a:lnTo>
                    <a:pt x="279" y="66"/>
                  </a:lnTo>
                  <a:lnTo>
                    <a:pt x="267" y="62"/>
                  </a:lnTo>
                  <a:lnTo>
                    <a:pt x="253" y="60"/>
                  </a:lnTo>
                  <a:lnTo>
                    <a:pt x="241" y="16"/>
                  </a:lnTo>
                  <a:lnTo>
                    <a:pt x="238" y="12"/>
                  </a:lnTo>
                  <a:lnTo>
                    <a:pt x="236" y="8"/>
                  </a:lnTo>
                  <a:lnTo>
                    <a:pt x="234" y="5"/>
                  </a:lnTo>
                  <a:lnTo>
                    <a:pt x="230" y="2"/>
                  </a:lnTo>
                  <a:lnTo>
                    <a:pt x="225" y="1"/>
                  </a:lnTo>
                  <a:lnTo>
                    <a:pt x="221" y="0"/>
                  </a:lnTo>
                  <a:lnTo>
                    <a:pt x="216" y="0"/>
                  </a:lnTo>
                  <a:lnTo>
                    <a:pt x="211" y="1"/>
                  </a:lnTo>
                  <a:lnTo>
                    <a:pt x="118" y="27"/>
                  </a:lnTo>
                  <a:lnTo>
                    <a:pt x="115" y="29"/>
                  </a:lnTo>
                  <a:lnTo>
                    <a:pt x="111" y="32"/>
                  </a:lnTo>
                  <a:lnTo>
                    <a:pt x="107" y="34"/>
                  </a:lnTo>
                  <a:lnTo>
                    <a:pt x="105" y="38"/>
                  </a:lnTo>
                  <a:lnTo>
                    <a:pt x="104" y="43"/>
                  </a:lnTo>
                  <a:lnTo>
                    <a:pt x="102" y="47"/>
                  </a:lnTo>
                  <a:lnTo>
                    <a:pt x="102" y="51"/>
                  </a:lnTo>
                  <a:lnTo>
                    <a:pt x="102" y="56"/>
                  </a:lnTo>
                  <a:lnTo>
                    <a:pt x="116" y="99"/>
                  </a:lnTo>
                  <a:lnTo>
                    <a:pt x="106" y="109"/>
                  </a:lnTo>
                  <a:lnTo>
                    <a:pt x="96" y="119"/>
                  </a:lnTo>
                  <a:lnTo>
                    <a:pt x="53" y="108"/>
                  </a:lnTo>
                  <a:lnTo>
                    <a:pt x="48" y="107"/>
                  </a:lnTo>
                  <a:lnTo>
                    <a:pt x="43" y="107"/>
                  </a:lnTo>
                  <a:lnTo>
                    <a:pt x="40" y="108"/>
                  </a:lnTo>
                  <a:lnTo>
                    <a:pt x="35" y="110"/>
                  </a:lnTo>
                  <a:lnTo>
                    <a:pt x="31" y="113"/>
                  </a:lnTo>
                  <a:lnTo>
                    <a:pt x="29" y="115"/>
                  </a:lnTo>
                  <a:lnTo>
                    <a:pt x="26" y="120"/>
                  </a:lnTo>
                  <a:lnTo>
                    <a:pt x="25" y="124"/>
                  </a:lnTo>
                  <a:lnTo>
                    <a:pt x="0" y="218"/>
                  </a:lnTo>
                  <a:lnTo>
                    <a:pt x="0" y="223"/>
                  </a:lnTo>
                  <a:lnTo>
                    <a:pt x="0" y="227"/>
                  </a:lnTo>
                  <a:lnTo>
                    <a:pt x="2" y="232"/>
                  </a:lnTo>
                  <a:lnTo>
                    <a:pt x="3" y="235"/>
                  </a:lnTo>
                  <a:lnTo>
                    <a:pt x="5" y="239"/>
                  </a:lnTo>
                  <a:lnTo>
                    <a:pt x="9" y="242"/>
                  </a:lnTo>
                  <a:lnTo>
                    <a:pt x="13" y="244"/>
                  </a:lnTo>
                  <a:lnTo>
                    <a:pt x="18"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58">
              <a:extLst>
                <a:ext uri="{FF2B5EF4-FFF2-40B4-BE49-F238E27FC236}">
                  <a16:creationId xmlns:a16="http://schemas.microsoft.com/office/drawing/2014/main" id="{77774EDC-7160-4464-B88E-619D84419C5E}"/>
                </a:ext>
              </a:extLst>
            </p:cNvPr>
            <p:cNvSpPr>
              <a:spLocks noEditPoints="1"/>
            </p:cNvSpPr>
            <p:nvPr/>
          </p:nvSpPr>
          <p:spPr bwMode="auto">
            <a:xfrm>
              <a:off x="3400426" y="330200"/>
              <a:ext cx="90488" cy="90488"/>
            </a:xfrm>
            <a:custGeom>
              <a:avLst/>
              <a:gdLst>
                <a:gd name="T0" fmla="*/ 101 w 230"/>
                <a:gd name="T1" fmla="*/ 182 h 230"/>
                <a:gd name="T2" fmla="*/ 83 w 230"/>
                <a:gd name="T3" fmla="*/ 175 h 230"/>
                <a:gd name="T4" fmla="*/ 67 w 230"/>
                <a:gd name="T5" fmla="*/ 164 h 230"/>
                <a:gd name="T6" fmla="*/ 54 w 230"/>
                <a:gd name="T7" fmla="*/ 148 h 230"/>
                <a:gd name="T8" fmla="*/ 48 w 230"/>
                <a:gd name="T9" fmla="*/ 128 h 230"/>
                <a:gd name="T10" fmla="*/ 47 w 230"/>
                <a:gd name="T11" fmla="*/ 107 h 230"/>
                <a:gd name="T12" fmla="*/ 52 w 230"/>
                <a:gd name="T13" fmla="*/ 88 h 230"/>
                <a:gd name="T14" fmla="*/ 62 w 230"/>
                <a:gd name="T15" fmla="*/ 72 h 230"/>
                <a:gd name="T16" fmla="*/ 76 w 230"/>
                <a:gd name="T17" fmla="*/ 58 h 230"/>
                <a:gd name="T18" fmla="*/ 95 w 230"/>
                <a:gd name="T19" fmla="*/ 50 h 230"/>
                <a:gd name="T20" fmla="*/ 114 w 230"/>
                <a:gd name="T21" fmla="*/ 46 h 230"/>
                <a:gd name="T22" fmla="*/ 135 w 230"/>
                <a:gd name="T23" fmla="*/ 50 h 230"/>
                <a:gd name="T24" fmla="*/ 154 w 230"/>
                <a:gd name="T25" fmla="*/ 58 h 230"/>
                <a:gd name="T26" fmla="*/ 168 w 230"/>
                <a:gd name="T27" fmla="*/ 72 h 230"/>
                <a:gd name="T28" fmla="*/ 178 w 230"/>
                <a:gd name="T29" fmla="*/ 88 h 230"/>
                <a:gd name="T30" fmla="*/ 183 w 230"/>
                <a:gd name="T31" fmla="*/ 107 h 230"/>
                <a:gd name="T32" fmla="*/ 182 w 230"/>
                <a:gd name="T33" fmla="*/ 128 h 230"/>
                <a:gd name="T34" fmla="*/ 176 w 230"/>
                <a:gd name="T35" fmla="*/ 148 h 230"/>
                <a:gd name="T36" fmla="*/ 164 w 230"/>
                <a:gd name="T37" fmla="*/ 164 h 230"/>
                <a:gd name="T38" fmla="*/ 148 w 230"/>
                <a:gd name="T39" fmla="*/ 175 h 230"/>
                <a:gd name="T40" fmla="*/ 129 w 230"/>
                <a:gd name="T41" fmla="*/ 182 h 230"/>
                <a:gd name="T42" fmla="*/ 114 w 230"/>
                <a:gd name="T43" fmla="*/ 0 h 230"/>
                <a:gd name="T44" fmla="*/ 81 w 230"/>
                <a:gd name="T45" fmla="*/ 5 h 230"/>
                <a:gd name="T46" fmla="*/ 51 w 230"/>
                <a:gd name="T47" fmla="*/ 20 h 230"/>
                <a:gd name="T48" fmla="*/ 26 w 230"/>
                <a:gd name="T49" fmla="*/ 42 h 230"/>
                <a:gd name="T50" fmla="*/ 9 w 230"/>
                <a:gd name="T51" fmla="*/ 70 h 230"/>
                <a:gd name="T52" fmla="*/ 0 w 230"/>
                <a:gd name="T53" fmla="*/ 103 h 230"/>
                <a:gd name="T54" fmla="*/ 3 w 230"/>
                <a:gd name="T55" fmla="*/ 138 h 230"/>
                <a:gd name="T56" fmla="*/ 14 w 230"/>
                <a:gd name="T57" fmla="*/ 170 h 230"/>
                <a:gd name="T58" fmla="*/ 34 w 230"/>
                <a:gd name="T59" fmla="*/ 195 h 230"/>
                <a:gd name="T60" fmla="*/ 61 w 230"/>
                <a:gd name="T61" fmla="*/ 215 h 230"/>
                <a:gd name="T62" fmla="*/ 92 w 230"/>
                <a:gd name="T63" fmla="*/ 227 h 230"/>
                <a:gd name="T64" fmla="*/ 127 w 230"/>
                <a:gd name="T65" fmla="*/ 229 h 230"/>
                <a:gd name="T66" fmla="*/ 160 w 230"/>
                <a:gd name="T67" fmla="*/ 220 h 230"/>
                <a:gd name="T68" fmla="*/ 188 w 230"/>
                <a:gd name="T69" fmla="*/ 203 h 230"/>
                <a:gd name="T70" fmla="*/ 210 w 230"/>
                <a:gd name="T71" fmla="*/ 178 h 230"/>
                <a:gd name="T72" fmla="*/ 225 w 230"/>
                <a:gd name="T73" fmla="*/ 149 h 230"/>
                <a:gd name="T74" fmla="*/ 230 w 230"/>
                <a:gd name="T75" fmla="*/ 115 h 230"/>
                <a:gd name="T76" fmla="*/ 225 w 230"/>
                <a:gd name="T77" fmla="*/ 80 h 230"/>
                <a:gd name="T78" fmla="*/ 210 w 230"/>
                <a:gd name="T79" fmla="*/ 51 h 230"/>
                <a:gd name="T80" fmla="*/ 188 w 230"/>
                <a:gd name="T81" fmla="*/ 26 h 230"/>
                <a:gd name="T82" fmla="*/ 160 w 230"/>
                <a:gd name="T83" fmla="*/ 9 h 230"/>
                <a:gd name="T84" fmla="*/ 127 w 230"/>
                <a:gd name="T8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0" h="230">
                  <a:moveTo>
                    <a:pt x="114" y="183"/>
                  </a:moveTo>
                  <a:lnTo>
                    <a:pt x="108" y="183"/>
                  </a:lnTo>
                  <a:lnTo>
                    <a:pt x="101" y="182"/>
                  </a:lnTo>
                  <a:lnTo>
                    <a:pt x="95" y="181"/>
                  </a:lnTo>
                  <a:lnTo>
                    <a:pt x="89" y="178"/>
                  </a:lnTo>
                  <a:lnTo>
                    <a:pt x="83" y="175"/>
                  </a:lnTo>
                  <a:lnTo>
                    <a:pt x="76" y="171"/>
                  </a:lnTo>
                  <a:lnTo>
                    <a:pt x="72" y="167"/>
                  </a:lnTo>
                  <a:lnTo>
                    <a:pt x="67" y="164"/>
                  </a:lnTo>
                  <a:lnTo>
                    <a:pt x="62" y="159"/>
                  </a:lnTo>
                  <a:lnTo>
                    <a:pt x="58" y="153"/>
                  </a:lnTo>
                  <a:lnTo>
                    <a:pt x="54" y="148"/>
                  </a:lnTo>
                  <a:lnTo>
                    <a:pt x="52" y="142"/>
                  </a:lnTo>
                  <a:lnTo>
                    <a:pt x="49" y="135"/>
                  </a:lnTo>
                  <a:lnTo>
                    <a:pt x="48" y="128"/>
                  </a:lnTo>
                  <a:lnTo>
                    <a:pt x="47" y="122"/>
                  </a:lnTo>
                  <a:lnTo>
                    <a:pt x="46" y="115"/>
                  </a:lnTo>
                  <a:lnTo>
                    <a:pt x="47" y="107"/>
                  </a:lnTo>
                  <a:lnTo>
                    <a:pt x="48" y="101"/>
                  </a:lnTo>
                  <a:lnTo>
                    <a:pt x="49" y="94"/>
                  </a:lnTo>
                  <a:lnTo>
                    <a:pt x="52" y="88"/>
                  </a:lnTo>
                  <a:lnTo>
                    <a:pt x="54" y="81"/>
                  </a:lnTo>
                  <a:lnTo>
                    <a:pt x="58" y="77"/>
                  </a:lnTo>
                  <a:lnTo>
                    <a:pt x="62" y="72"/>
                  </a:lnTo>
                  <a:lnTo>
                    <a:pt x="67" y="67"/>
                  </a:lnTo>
                  <a:lnTo>
                    <a:pt x="72" y="62"/>
                  </a:lnTo>
                  <a:lnTo>
                    <a:pt x="76" y="58"/>
                  </a:lnTo>
                  <a:lnTo>
                    <a:pt x="83" y="54"/>
                  </a:lnTo>
                  <a:lnTo>
                    <a:pt x="89" y="52"/>
                  </a:lnTo>
                  <a:lnTo>
                    <a:pt x="95" y="50"/>
                  </a:lnTo>
                  <a:lnTo>
                    <a:pt x="101" y="47"/>
                  </a:lnTo>
                  <a:lnTo>
                    <a:pt x="108" y="46"/>
                  </a:lnTo>
                  <a:lnTo>
                    <a:pt x="114" y="46"/>
                  </a:lnTo>
                  <a:lnTo>
                    <a:pt x="122" y="46"/>
                  </a:lnTo>
                  <a:lnTo>
                    <a:pt x="129" y="47"/>
                  </a:lnTo>
                  <a:lnTo>
                    <a:pt x="135" y="50"/>
                  </a:lnTo>
                  <a:lnTo>
                    <a:pt x="141" y="52"/>
                  </a:lnTo>
                  <a:lnTo>
                    <a:pt x="148" y="54"/>
                  </a:lnTo>
                  <a:lnTo>
                    <a:pt x="154" y="58"/>
                  </a:lnTo>
                  <a:lnTo>
                    <a:pt x="159" y="62"/>
                  </a:lnTo>
                  <a:lnTo>
                    <a:pt x="164" y="67"/>
                  </a:lnTo>
                  <a:lnTo>
                    <a:pt x="168" y="72"/>
                  </a:lnTo>
                  <a:lnTo>
                    <a:pt x="172" y="77"/>
                  </a:lnTo>
                  <a:lnTo>
                    <a:pt x="176" y="81"/>
                  </a:lnTo>
                  <a:lnTo>
                    <a:pt x="178" y="88"/>
                  </a:lnTo>
                  <a:lnTo>
                    <a:pt x="181" y="94"/>
                  </a:lnTo>
                  <a:lnTo>
                    <a:pt x="182" y="101"/>
                  </a:lnTo>
                  <a:lnTo>
                    <a:pt x="183" y="107"/>
                  </a:lnTo>
                  <a:lnTo>
                    <a:pt x="183" y="115"/>
                  </a:lnTo>
                  <a:lnTo>
                    <a:pt x="183" y="122"/>
                  </a:lnTo>
                  <a:lnTo>
                    <a:pt x="182" y="128"/>
                  </a:lnTo>
                  <a:lnTo>
                    <a:pt x="181" y="135"/>
                  </a:lnTo>
                  <a:lnTo>
                    <a:pt x="178" y="142"/>
                  </a:lnTo>
                  <a:lnTo>
                    <a:pt x="176" y="148"/>
                  </a:lnTo>
                  <a:lnTo>
                    <a:pt x="172" y="153"/>
                  </a:lnTo>
                  <a:lnTo>
                    <a:pt x="168" y="159"/>
                  </a:lnTo>
                  <a:lnTo>
                    <a:pt x="164" y="164"/>
                  </a:lnTo>
                  <a:lnTo>
                    <a:pt x="159" y="167"/>
                  </a:lnTo>
                  <a:lnTo>
                    <a:pt x="154" y="171"/>
                  </a:lnTo>
                  <a:lnTo>
                    <a:pt x="148" y="175"/>
                  </a:lnTo>
                  <a:lnTo>
                    <a:pt x="141" y="178"/>
                  </a:lnTo>
                  <a:lnTo>
                    <a:pt x="135" y="181"/>
                  </a:lnTo>
                  <a:lnTo>
                    <a:pt x="129" y="182"/>
                  </a:lnTo>
                  <a:lnTo>
                    <a:pt x="122" y="183"/>
                  </a:lnTo>
                  <a:lnTo>
                    <a:pt x="114" y="183"/>
                  </a:lnTo>
                  <a:close/>
                  <a:moveTo>
                    <a:pt x="114" y="0"/>
                  </a:moveTo>
                  <a:lnTo>
                    <a:pt x="103" y="0"/>
                  </a:lnTo>
                  <a:lnTo>
                    <a:pt x="92" y="2"/>
                  </a:lnTo>
                  <a:lnTo>
                    <a:pt x="81" y="5"/>
                  </a:lnTo>
                  <a:lnTo>
                    <a:pt x="70" y="9"/>
                  </a:lnTo>
                  <a:lnTo>
                    <a:pt x="61" y="14"/>
                  </a:lnTo>
                  <a:lnTo>
                    <a:pt x="51" y="20"/>
                  </a:lnTo>
                  <a:lnTo>
                    <a:pt x="42" y="26"/>
                  </a:lnTo>
                  <a:lnTo>
                    <a:pt x="34" y="34"/>
                  </a:lnTo>
                  <a:lnTo>
                    <a:pt x="26" y="42"/>
                  </a:lnTo>
                  <a:lnTo>
                    <a:pt x="20" y="51"/>
                  </a:lnTo>
                  <a:lnTo>
                    <a:pt x="14" y="61"/>
                  </a:lnTo>
                  <a:lnTo>
                    <a:pt x="9" y="70"/>
                  </a:lnTo>
                  <a:lnTo>
                    <a:pt x="5" y="80"/>
                  </a:lnTo>
                  <a:lnTo>
                    <a:pt x="3" y="91"/>
                  </a:lnTo>
                  <a:lnTo>
                    <a:pt x="0" y="103"/>
                  </a:lnTo>
                  <a:lnTo>
                    <a:pt x="0" y="115"/>
                  </a:lnTo>
                  <a:lnTo>
                    <a:pt x="0" y="127"/>
                  </a:lnTo>
                  <a:lnTo>
                    <a:pt x="3" y="138"/>
                  </a:lnTo>
                  <a:lnTo>
                    <a:pt x="5" y="149"/>
                  </a:lnTo>
                  <a:lnTo>
                    <a:pt x="9" y="159"/>
                  </a:lnTo>
                  <a:lnTo>
                    <a:pt x="14" y="170"/>
                  </a:lnTo>
                  <a:lnTo>
                    <a:pt x="20" y="178"/>
                  </a:lnTo>
                  <a:lnTo>
                    <a:pt x="26" y="188"/>
                  </a:lnTo>
                  <a:lnTo>
                    <a:pt x="34" y="195"/>
                  </a:lnTo>
                  <a:lnTo>
                    <a:pt x="42" y="203"/>
                  </a:lnTo>
                  <a:lnTo>
                    <a:pt x="51" y="210"/>
                  </a:lnTo>
                  <a:lnTo>
                    <a:pt x="61" y="215"/>
                  </a:lnTo>
                  <a:lnTo>
                    <a:pt x="70" y="220"/>
                  </a:lnTo>
                  <a:lnTo>
                    <a:pt x="81" y="224"/>
                  </a:lnTo>
                  <a:lnTo>
                    <a:pt x="92" y="227"/>
                  </a:lnTo>
                  <a:lnTo>
                    <a:pt x="103" y="229"/>
                  </a:lnTo>
                  <a:lnTo>
                    <a:pt x="114" y="230"/>
                  </a:lnTo>
                  <a:lnTo>
                    <a:pt x="127" y="229"/>
                  </a:lnTo>
                  <a:lnTo>
                    <a:pt x="138" y="227"/>
                  </a:lnTo>
                  <a:lnTo>
                    <a:pt x="149" y="224"/>
                  </a:lnTo>
                  <a:lnTo>
                    <a:pt x="160" y="220"/>
                  </a:lnTo>
                  <a:lnTo>
                    <a:pt x="170" y="215"/>
                  </a:lnTo>
                  <a:lnTo>
                    <a:pt x="179" y="210"/>
                  </a:lnTo>
                  <a:lnTo>
                    <a:pt x="188" y="203"/>
                  </a:lnTo>
                  <a:lnTo>
                    <a:pt x="195" y="195"/>
                  </a:lnTo>
                  <a:lnTo>
                    <a:pt x="203" y="188"/>
                  </a:lnTo>
                  <a:lnTo>
                    <a:pt x="210" y="178"/>
                  </a:lnTo>
                  <a:lnTo>
                    <a:pt x="216" y="170"/>
                  </a:lnTo>
                  <a:lnTo>
                    <a:pt x="221" y="159"/>
                  </a:lnTo>
                  <a:lnTo>
                    <a:pt x="225" y="149"/>
                  </a:lnTo>
                  <a:lnTo>
                    <a:pt x="227" y="138"/>
                  </a:lnTo>
                  <a:lnTo>
                    <a:pt x="229" y="127"/>
                  </a:lnTo>
                  <a:lnTo>
                    <a:pt x="230" y="115"/>
                  </a:lnTo>
                  <a:lnTo>
                    <a:pt x="229" y="103"/>
                  </a:lnTo>
                  <a:lnTo>
                    <a:pt x="227" y="91"/>
                  </a:lnTo>
                  <a:lnTo>
                    <a:pt x="225" y="80"/>
                  </a:lnTo>
                  <a:lnTo>
                    <a:pt x="221" y="70"/>
                  </a:lnTo>
                  <a:lnTo>
                    <a:pt x="216" y="61"/>
                  </a:lnTo>
                  <a:lnTo>
                    <a:pt x="210" y="51"/>
                  </a:lnTo>
                  <a:lnTo>
                    <a:pt x="203" y="42"/>
                  </a:lnTo>
                  <a:lnTo>
                    <a:pt x="195" y="34"/>
                  </a:lnTo>
                  <a:lnTo>
                    <a:pt x="188" y="26"/>
                  </a:lnTo>
                  <a:lnTo>
                    <a:pt x="179" y="20"/>
                  </a:lnTo>
                  <a:lnTo>
                    <a:pt x="170" y="14"/>
                  </a:lnTo>
                  <a:lnTo>
                    <a:pt x="160" y="9"/>
                  </a:lnTo>
                  <a:lnTo>
                    <a:pt x="149" y="5"/>
                  </a:lnTo>
                  <a:lnTo>
                    <a:pt x="138" y="2"/>
                  </a:lnTo>
                  <a:lnTo>
                    <a:pt x="127" y="0"/>
                  </a:lnTo>
                  <a:lnTo>
                    <a:pt x="1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59">
              <a:extLst>
                <a:ext uri="{FF2B5EF4-FFF2-40B4-BE49-F238E27FC236}">
                  <a16:creationId xmlns:a16="http://schemas.microsoft.com/office/drawing/2014/main" id="{719E1890-F4A4-422A-AE20-7FBD4003273F}"/>
                </a:ext>
              </a:extLst>
            </p:cNvPr>
            <p:cNvSpPr>
              <a:spLocks noEditPoints="1"/>
            </p:cNvSpPr>
            <p:nvPr/>
          </p:nvSpPr>
          <p:spPr bwMode="auto">
            <a:xfrm>
              <a:off x="3362326" y="0"/>
              <a:ext cx="476250" cy="457200"/>
            </a:xfrm>
            <a:custGeom>
              <a:avLst/>
              <a:gdLst>
                <a:gd name="T0" fmla="*/ 415 w 1198"/>
                <a:gd name="T1" fmla="*/ 924 h 1152"/>
                <a:gd name="T2" fmla="*/ 368 w 1198"/>
                <a:gd name="T3" fmla="*/ 813 h 1152"/>
                <a:gd name="T4" fmla="*/ 270 w 1198"/>
                <a:gd name="T5" fmla="*/ 747 h 1152"/>
                <a:gd name="T6" fmla="*/ 178 w 1198"/>
                <a:gd name="T7" fmla="*/ 740 h 1152"/>
                <a:gd name="T8" fmla="*/ 553 w 1198"/>
                <a:gd name="T9" fmla="*/ 323 h 1152"/>
                <a:gd name="T10" fmla="*/ 568 w 1198"/>
                <a:gd name="T11" fmla="*/ 418 h 1152"/>
                <a:gd name="T12" fmla="*/ 609 w 1198"/>
                <a:gd name="T13" fmla="*/ 503 h 1152"/>
                <a:gd name="T14" fmla="*/ 671 w 1198"/>
                <a:gd name="T15" fmla="*/ 572 h 1152"/>
                <a:gd name="T16" fmla="*/ 751 w 1198"/>
                <a:gd name="T17" fmla="*/ 619 h 1152"/>
                <a:gd name="T18" fmla="*/ 843 w 1198"/>
                <a:gd name="T19" fmla="*/ 644 h 1152"/>
                <a:gd name="T20" fmla="*/ 47 w 1198"/>
                <a:gd name="T21" fmla="*/ 945 h 1152"/>
                <a:gd name="T22" fmla="*/ 74 w 1198"/>
                <a:gd name="T23" fmla="*/ 855 h 1152"/>
                <a:gd name="T24" fmla="*/ 145 w 1198"/>
                <a:gd name="T25" fmla="*/ 796 h 1152"/>
                <a:gd name="T26" fmla="*/ 241 w 1198"/>
                <a:gd name="T27" fmla="*/ 786 h 1152"/>
                <a:gd name="T28" fmla="*/ 322 w 1198"/>
                <a:gd name="T29" fmla="*/ 830 h 1152"/>
                <a:gd name="T30" fmla="*/ 366 w 1198"/>
                <a:gd name="T31" fmla="*/ 913 h 1152"/>
                <a:gd name="T32" fmla="*/ 356 w 1198"/>
                <a:gd name="T33" fmla="*/ 1007 h 1152"/>
                <a:gd name="T34" fmla="*/ 298 w 1198"/>
                <a:gd name="T35" fmla="*/ 1078 h 1152"/>
                <a:gd name="T36" fmla="*/ 207 w 1198"/>
                <a:gd name="T37" fmla="*/ 1106 h 1152"/>
                <a:gd name="T38" fmla="*/ 118 w 1198"/>
                <a:gd name="T39" fmla="*/ 1078 h 1152"/>
                <a:gd name="T40" fmla="*/ 59 w 1198"/>
                <a:gd name="T41" fmla="*/ 1007 h 1152"/>
                <a:gd name="T42" fmla="*/ 891 w 1198"/>
                <a:gd name="T43" fmla="*/ 47 h 1152"/>
                <a:gd name="T44" fmla="*/ 970 w 1198"/>
                <a:gd name="T45" fmla="*/ 63 h 1152"/>
                <a:gd name="T46" fmla="*/ 1042 w 1198"/>
                <a:gd name="T47" fmla="*/ 101 h 1152"/>
                <a:gd name="T48" fmla="*/ 1098 w 1198"/>
                <a:gd name="T49" fmla="*/ 157 h 1152"/>
                <a:gd name="T50" fmla="*/ 1136 w 1198"/>
                <a:gd name="T51" fmla="*/ 228 h 1152"/>
                <a:gd name="T52" fmla="*/ 1152 w 1198"/>
                <a:gd name="T53" fmla="*/ 308 h 1152"/>
                <a:gd name="T54" fmla="*/ 1142 w 1198"/>
                <a:gd name="T55" fmla="*/ 399 h 1152"/>
                <a:gd name="T56" fmla="*/ 1103 w 1198"/>
                <a:gd name="T57" fmla="*/ 480 h 1152"/>
                <a:gd name="T58" fmla="*/ 1022 w 1198"/>
                <a:gd name="T59" fmla="*/ 557 h 1152"/>
                <a:gd name="T60" fmla="*/ 915 w 1198"/>
                <a:gd name="T61" fmla="*/ 596 h 1152"/>
                <a:gd name="T62" fmla="*/ 821 w 1198"/>
                <a:gd name="T63" fmla="*/ 594 h 1152"/>
                <a:gd name="T64" fmla="*/ 745 w 1198"/>
                <a:gd name="T65" fmla="*/ 565 h 1152"/>
                <a:gd name="T66" fmla="*/ 681 w 1198"/>
                <a:gd name="T67" fmla="*/ 518 h 1152"/>
                <a:gd name="T68" fmla="*/ 633 w 1198"/>
                <a:gd name="T69" fmla="*/ 454 h 1152"/>
                <a:gd name="T70" fmla="*/ 605 w 1198"/>
                <a:gd name="T71" fmla="*/ 378 h 1152"/>
                <a:gd name="T72" fmla="*/ 601 w 1198"/>
                <a:gd name="T73" fmla="*/ 294 h 1152"/>
                <a:gd name="T74" fmla="*/ 621 w 1198"/>
                <a:gd name="T75" fmla="*/ 215 h 1152"/>
                <a:gd name="T76" fmla="*/ 663 w 1198"/>
                <a:gd name="T77" fmla="*/ 147 h 1152"/>
                <a:gd name="T78" fmla="*/ 721 w 1198"/>
                <a:gd name="T79" fmla="*/ 93 h 1152"/>
                <a:gd name="T80" fmla="*/ 794 w 1198"/>
                <a:gd name="T81" fmla="*/ 59 h 1152"/>
                <a:gd name="T82" fmla="*/ 876 w 1198"/>
                <a:gd name="T83" fmla="*/ 47 h 1152"/>
                <a:gd name="T84" fmla="*/ 1189 w 1198"/>
                <a:gd name="T85" fmla="*/ 242 h 1152"/>
                <a:gd name="T86" fmla="*/ 1152 w 1198"/>
                <a:gd name="T87" fmla="*/ 156 h 1152"/>
                <a:gd name="T88" fmla="*/ 1093 w 1198"/>
                <a:gd name="T89" fmla="*/ 83 h 1152"/>
                <a:gd name="T90" fmla="*/ 1016 w 1198"/>
                <a:gd name="T91" fmla="*/ 32 h 1152"/>
                <a:gd name="T92" fmla="*/ 925 w 1198"/>
                <a:gd name="T93" fmla="*/ 4 h 1152"/>
                <a:gd name="T94" fmla="*/ 818 w 1198"/>
                <a:gd name="T95" fmla="*/ 5 h 1152"/>
                <a:gd name="T96" fmla="*/ 714 w 1198"/>
                <a:gd name="T97" fmla="*/ 44 h 1152"/>
                <a:gd name="T98" fmla="*/ 631 w 1198"/>
                <a:gd name="T99" fmla="*/ 114 h 1152"/>
                <a:gd name="T100" fmla="*/ 59 w 1198"/>
                <a:gd name="T101" fmla="*/ 801 h 1152"/>
                <a:gd name="T102" fmla="*/ 5 w 1198"/>
                <a:gd name="T103" fmla="*/ 904 h 1152"/>
                <a:gd name="T104" fmla="*/ 17 w 1198"/>
                <a:gd name="T105" fmla="*/ 1025 h 1152"/>
                <a:gd name="T106" fmla="*/ 92 w 1198"/>
                <a:gd name="T107" fmla="*/ 1116 h 1152"/>
                <a:gd name="T108" fmla="*/ 207 w 1198"/>
                <a:gd name="T109" fmla="*/ 1152 h 1152"/>
                <a:gd name="T110" fmla="*/ 314 w 1198"/>
                <a:gd name="T111" fmla="*/ 1122 h 1152"/>
                <a:gd name="T112" fmla="*/ 1066 w 1198"/>
                <a:gd name="T113" fmla="*/ 583 h 1152"/>
                <a:gd name="T114" fmla="*/ 1109 w 1198"/>
                <a:gd name="T115" fmla="*/ 545 h 1152"/>
                <a:gd name="T116" fmla="*/ 1168 w 1198"/>
                <a:gd name="T117" fmla="*/ 460 h 1152"/>
                <a:gd name="T118" fmla="*/ 1196 w 1198"/>
                <a:gd name="T119" fmla="*/ 359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8" h="1152">
                  <a:moveTo>
                    <a:pt x="407" y="999"/>
                  </a:moveTo>
                  <a:lnTo>
                    <a:pt x="411" y="985"/>
                  </a:lnTo>
                  <a:lnTo>
                    <a:pt x="414" y="972"/>
                  </a:lnTo>
                  <a:lnTo>
                    <a:pt x="415" y="958"/>
                  </a:lnTo>
                  <a:lnTo>
                    <a:pt x="415" y="945"/>
                  </a:lnTo>
                  <a:lnTo>
                    <a:pt x="415" y="924"/>
                  </a:lnTo>
                  <a:lnTo>
                    <a:pt x="411" y="903"/>
                  </a:lnTo>
                  <a:lnTo>
                    <a:pt x="406" y="883"/>
                  </a:lnTo>
                  <a:lnTo>
                    <a:pt x="399" y="864"/>
                  </a:lnTo>
                  <a:lnTo>
                    <a:pt x="390" y="846"/>
                  </a:lnTo>
                  <a:lnTo>
                    <a:pt x="379" y="829"/>
                  </a:lnTo>
                  <a:lnTo>
                    <a:pt x="368" y="813"/>
                  </a:lnTo>
                  <a:lnTo>
                    <a:pt x="355" y="799"/>
                  </a:lnTo>
                  <a:lnTo>
                    <a:pt x="340" y="785"/>
                  </a:lnTo>
                  <a:lnTo>
                    <a:pt x="324" y="773"/>
                  </a:lnTo>
                  <a:lnTo>
                    <a:pt x="307" y="762"/>
                  </a:lnTo>
                  <a:lnTo>
                    <a:pt x="288" y="753"/>
                  </a:lnTo>
                  <a:lnTo>
                    <a:pt x="270" y="747"/>
                  </a:lnTo>
                  <a:lnTo>
                    <a:pt x="249" y="741"/>
                  </a:lnTo>
                  <a:lnTo>
                    <a:pt x="230" y="738"/>
                  </a:lnTo>
                  <a:lnTo>
                    <a:pt x="207" y="737"/>
                  </a:lnTo>
                  <a:lnTo>
                    <a:pt x="198" y="737"/>
                  </a:lnTo>
                  <a:lnTo>
                    <a:pt x="188" y="738"/>
                  </a:lnTo>
                  <a:lnTo>
                    <a:pt x="178" y="740"/>
                  </a:lnTo>
                  <a:lnTo>
                    <a:pt x="168" y="741"/>
                  </a:lnTo>
                  <a:lnTo>
                    <a:pt x="557" y="274"/>
                  </a:lnTo>
                  <a:lnTo>
                    <a:pt x="556" y="286"/>
                  </a:lnTo>
                  <a:lnTo>
                    <a:pt x="555" y="298"/>
                  </a:lnTo>
                  <a:lnTo>
                    <a:pt x="553" y="310"/>
                  </a:lnTo>
                  <a:lnTo>
                    <a:pt x="553" y="323"/>
                  </a:lnTo>
                  <a:lnTo>
                    <a:pt x="553" y="339"/>
                  </a:lnTo>
                  <a:lnTo>
                    <a:pt x="555" y="356"/>
                  </a:lnTo>
                  <a:lnTo>
                    <a:pt x="557" y="372"/>
                  </a:lnTo>
                  <a:lnTo>
                    <a:pt x="559" y="388"/>
                  </a:lnTo>
                  <a:lnTo>
                    <a:pt x="563" y="404"/>
                  </a:lnTo>
                  <a:lnTo>
                    <a:pt x="568" y="418"/>
                  </a:lnTo>
                  <a:lnTo>
                    <a:pt x="573" y="433"/>
                  </a:lnTo>
                  <a:lnTo>
                    <a:pt x="579" y="448"/>
                  </a:lnTo>
                  <a:lnTo>
                    <a:pt x="585" y="462"/>
                  </a:lnTo>
                  <a:lnTo>
                    <a:pt x="593" y="476"/>
                  </a:lnTo>
                  <a:lnTo>
                    <a:pt x="600" y="489"/>
                  </a:lnTo>
                  <a:lnTo>
                    <a:pt x="609" y="503"/>
                  </a:lnTo>
                  <a:lnTo>
                    <a:pt x="617" y="515"/>
                  </a:lnTo>
                  <a:lnTo>
                    <a:pt x="627" y="527"/>
                  </a:lnTo>
                  <a:lnTo>
                    <a:pt x="637" y="540"/>
                  </a:lnTo>
                  <a:lnTo>
                    <a:pt x="648" y="551"/>
                  </a:lnTo>
                  <a:lnTo>
                    <a:pt x="659" y="562"/>
                  </a:lnTo>
                  <a:lnTo>
                    <a:pt x="671" y="572"/>
                  </a:lnTo>
                  <a:lnTo>
                    <a:pt x="683" y="581"/>
                  </a:lnTo>
                  <a:lnTo>
                    <a:pt x="696" y="590"/>
                  </a:lnTo>
                  <a:lnTo>
                    <a:pt x="709" y="599"/>
                  </a:lnTo>
                  <a:lnTo>
                    <a:pt x="723" y="606"/>
                  </a:lnTo>
                  <a:lnTo>
                    <a:pt x="736" y="613"/>
                  </a:lnTo>
                  <a:lnTo>
                    <a:pt x="751" y="619"/>
                  </a:lnTo>
                  <a:lnTo>
                    <a:pt x="766" y="626"/>
                  </a:lnTo>
                  <a:lnTo>
                    <a:pt x="780" y="631"/>
                  </a:lnTo>
                  <a:lnTo>
                    <a:pt x="795" y="635"/>
                  </a:lnTo>
                  <a:lnTo>
                    <a:pt x="811" y="639"/>
                  </a:lnTo>
                  <a:lnTo>
                    <a:pt x="827" y="642"/>
                  </a:lnTo>
                  <a:lnTo>
                    <a:pt x="843" y="644"/>
                  </a:lnTo>
                  <a:lnTo>
                    <a:pt x="860" y="645"/>
                  </a:lnTo>
                  <a:lnTo>
                    <a:pt x="876" y="645"/>
                  </a:lnTo>
                  <a:lnTo>
                    <a:pt x="888" y="645"/>
                  </a:lnTo>
                  <a:lnTo>
                    <a:pt x="900" y="644"/>
                  </a:lnTo>
                  <a:lnTo>
                    <a:pt x="407" y="999"/>
                  </a:lnTo>
                  <a:close/>
                  <a:moveTo>
                    <a:pt x="47" y="945"/>
                  </a:moveTo>
                  <a:lnTo>
                    <a:pt x="48" y="929"/>
                  </a:lnTo>
                  <a:lnTo>
                    <a:pt x="50" y="913"/>
                  </a:lnTo>
                  <a:lnTo>
                    <a:pt x="54" y="897"/>
                  </a:lnTo>
                  <a:lnTo>
                    <a:pt x="59" y="882"/>
                  </a:lnTo>
                  <a:lnTo>
                    <a:pt x="66" y="867"/>
                  </a:lnTo>
                  <a:lnTo>
                    <a:pt x="74" y="855"/>
                  </a:lnTo>
                  <a:lnTo>
                    <a:pt x="84" y="843"/>
                  </a:lnTo>
                  <a:lnTo>
                    <a:pt x="93" y="830"/>
                  </a:lnTo>
                  <a:lnTo>
                    <a:pt x="106" y="821"/>
                  </a:lnTo>
                  <a:lnTo>
                    <a:pt x="118" y="811"/>
                  </a:lnTo>
                  <a:lnTo>
                    <a:pt x="131" y="803"/>
                  </a:lnTo>
                  <a:lnTo>
                    <a:pt x="145" y="796"/>
                  </a:lnTo>
                  <a:lnTo>
                    <a:pt x="160" y="791"/>
                  </a:lnTo>
                  <a:lnTo>
                    <a:pt x="176" y="786"/>
                  </a:lnTo>
                  <a:lnTo>
                    <a:pt x="192" y="784"/>
                  </a:lnTo>
                  <a:lnTo>
                    <a:pt x="207" y="784"/>
                  </a:lnTo>
                  <a:lnTo>
                    <a:pt x="225" y="784"/>
                  </a:lnTo>
                  <a:lnTo>
                    <a:pt x="241" y="786"/>
                  </a:lnTo>
                  <a:lnTo>
                    <a:pt x="255" y="791"/>
                  </a:lnTo>
                  <a:lnTo>
                    <a:pt x="270" y="796"/>
                  </a:lnTo>
                  <a:lnTo>
                    <a:pt x="285" y="803"/>
                  </a:lnTo>
                  <a:lnTo>
                    <a:pt x="298" y="811"/>
                  </a:lnTo>
                  <a:lnTo>
                    <a:pt x="311" y="821"/>
                  </a:lnTo>
                  <a:lnTo>
                    <a:pt x="322" y="830"/>
                  </a:lnTo>
                  <a:lnTo>
                    <a:pt x="333" y="843"/>
                  </a:lnTo>
                  <a:lnTo>
                    <a:pt x="341" y="855"/>
                  </a:lnTo>
                  <a:lnTo>
                    <a:pt x="350" y="867"/>
                  </a:lnTo>
                  <a:lnTo>
                    <a:pt x="356" y="882"/>
                  </a:lnTo>
                  <a:lnTo>
                    <a:pt x="362" y="897"/>
                  </a:lnTo>
                  <a:lnTo>
                    <a:pt x="366" y="913"/>
                  </a:lnTo>
                  <a:lnTo>
                    <a:pt x="368" y="929"/>
                  </a:lnTo>
                  <a:lnTo>
                    <a:pt x="369" y="945"/>
                  </a:lnTo>
                  <a:lnTo>
                    <a:pt x="368" y="962"/>
                  </a:lnTo>
                  <a:lnTo>
                    <a:pt x="366" y="978"/>
                  </a:lnTo>
                  <a:lnTo>
                    <a:pt x="362" y="992"/>
                  </a:lnTo>
                  <a:lnTo>
                    <a:pt x="356" y="1007"/>
                  </a:lnTo>
                  <a:lnTo>
                    <a:pt x="350" y="1022"/>
                  </a:lnTo>
                  <a:lnTo>
                    <a:pt x="341" y="1035"/>
                  </a:lnTo>
                  <a:lnTo>
                    <a:pt x="333" y="1048"/>
                  </a:lnTo>
                  <a:lnTo>
                    <a:pt x="322" y="1059"/>
                  </a:lnTo>
                  <a:lnTo>
                    <a:pt x="311" y="1070"/>
                  </a:lnTo>
                  <a:lnTo>
                    <a:pt x="298" y="1078"/>
                  </a:lnTo>
                  <a:lnTo>
                    <a:pt x="285" y="1087"/>
                  </a:lnTo>
                  <a:lnTo>
                    <a:pt x="270" y="1093"/>
                  </a:lnTo>
                  <a:lnTo>
                    <a:pt x="255" y="1099"/>
                  </a:lnTo>
                  <a:lnTo>
                    <a:pt x="241" y="1103"/>
                  </a:lnTo>
                  <a:lnTo>
                    <a:pt x="225" y="1105"/>
                  </a:lnTo>
                  <a:lnTo>
                    <a:pt x="207" y="1106"/>
                  </a:lnTo>
                  <a:lnTo>
                    <a:pt x="192" y="1105"/>
                  </a:lnTo>
                  <a:lnTo>
                    <a:pt x="176" y="1103"/>
                  </a:lnTo>
                  <a:lnTo>
                    <a:pt x="160" y="1099"/>
                  </a:lnTo>
                  <a:lnTo>
                    <a:pt x="145" y="1093"/>
                  </a:lnTo>
                  <a:lnTo>
                    <a:pt x="131" y="1087"/>
                  </a:lnTo>
                  <a:lnTo>
                    <a:pt x="118" y="1078"/>
                  </a:lnTo>
                  <a:lnTo>
                    <a:pt x="106" y="1070"/>
                  </a:lnTo>
                  <a:lnTo>
                    <a:pt x="93" y="1059"/>
                  </a:lnTo>
                  <a:lnTo>
                    <a:pt x="84" y="1048"/>
                  </a:lnTo>
                  <a:lnTo>
                    <a:pt x="74" y="1035"/>
                  </a:lnTo>
                  <a:lnTo>
                    <a:pt x="66" y="1022"/>
                  </a:lnTo>
                  <a:lnTo>
                    <a:pt x="59" y="1007"/>
                  </a:lnTo>
                  <a:lnTo>
                    <a:pt x="54" y="992"/>
                  </a:lnTo>
                  <a:lnTo>
                    <a:pt x="50" y="978"/>
                  </a:lnTo>
                  <a:lnTo>
                    <a:pt x="48" y="962"/>
                  </a:lnTo>
                  <a:lnTo>
                    <a:pt x="47" y="945"/>
                  </a:lnTo>
                  <a:close/>
                  <a:moveTo>
                    <a:pt x="876" y="47"/>
                  </a:moveTo>
                  <a:lnTo>
                    <a:pt x="891" y="47"/>
                  </a:lnTo>
                  <a:lnTo>
                    <a:pt x="904" y="48"/>
                  </a:lnTo>
                  <a:lnTo>
                    <a:pt x="918" y="49"/>
                  </a:lnTo>
                  <a:lnTo>
                    <a:pt x="931" y="52"/>
                  </a:lnTo>
                  <a:lnTo>
                    <a:pt x="945" y="55"/>
                  </a:lnTo>
                  <a:lnTo>
                    <a:pt x="958" y="59"/>
                  </a:lnTo>
                  <a:lnTo>
                    <a:pt x="970" y="63"/>
                  </a:lnTo>
                  <a:lnTo>
                    <a:pt x="984" y="67"/>
                  </a:lnTo>
                  <a:lnTo>
                    <a:pt x="996" y="74"/>
                  </a:lnTo>
                  <a:lnTo>
                    <a:pt x="1007" y="80"/>
                  </a:lnTo>
                  <a:lnTo>
                    <a:pt x="1019" y="86"/>
                  </a:lnTo>
                  <a:lnTo>
                    <a:pt x="1030" y="93"/>
                  </a:lnTo>
                  <a:lnTo>
                    <a:pt x="1042" y="101"/>
                  </a:lnTo>
                  <a:lnTo>
                    <a:pt x="1051" y="109"/>
                  </a:lnTo>
                  <a:lnTo>
                    <a:pt x="1061" y="118"/>
                  </a:lnTo>
                  <a:lnTo>
                    <a:pt x="1071" y="128"/>
                  </a:lnTo>
                  <a:lnTo>
                    <a:pt x="1081" y="136"/>
                  </a:lnTo>
                  <a:lnTo>
                    <a:pt x="1089" y="147"/>
                  </a:lnTo>
                  <a:lnTo>
                    <a:pt x="1098" y="157"/>
                  </a:lnTo>
                  <a:lnTo>
                    <a:pt x="1105" y="168"/>
                  </a:lnTo>
                  <a:lnTo>
                    <a:pt x="1113" y="179"/>
                  </a:lnTo>
                  <a:lnTo>
                    <a:pt x="1119" y="191"/>
                  </a:lnTo>
                  <a:lnTo>
                    <a:pt x="1125" y="202"/>
                  </a:lnTo>
                  <a:lnTo>
                    <a:pt x="1131" y="215"/>
                  </a:lnTo>
                  <a:lnTo>
                    <a:pt x="1136" y="228"/>
                  </a:lnTo>
                  <a:lnTo>
                    <a:pt x="1140" y="240"/>
                  </a:lnTo>
                  <a:lnTo>
                    <a:pt x="1143" y="254"/>
                  </a:lnTo>
                  <a:lnTo>
                    <a:pt x="1147" y="267"/>
                  </a:lnTo>
                  <a:lnTo>
                    <a:pt x="1149" y="281"/>
                  </a:lnTo>
                  <a:lnTo>
                    <a:pt x="1151" y="294"/>
                  </a:lnTo>
                  <a:lnTo>
                    <a:pt x="1152" y="308"/>
                  </a:lnTo>
                  <a:lnTo>
                    <a:pt x="1152" y="323"/>
                  </a:lnTo>
                  <a:lnTo>
                    <a:pt x="1152" y="339"/>
                  </a:lnTo>
                  <a:lnTo>
                    <a:pt x="1151" y="355"/>
                  </a:lnTo>
                  <a:lnTo>
                    <a:pt x="1148" y="369"/>
                  </a:lnTo>
                  <a:lnTo>
                    <a:pt x="1146" y="384"/>
                  </a:lnTo>
                  <a:lnTo>
                    <a:pt x="1142" y="399"/>
                  </a:lnTo>
                  <a:lnTo>
                    <a:pt x="1137" y="413"/>
                  </a:lnTo>
                  <a:lnTo>
                    <a:pt x="1131" y="428"/>
                  </a:lnTo>
                  <a:lnTo>
                    <a:pt x="1125" y="442"/>
                  </a:lnTo>
                  <a:lnTo>
                    <a:pt x="1119" y="455"/>
                  </a:lnTo>
                  <a:lnTo>
                    <a:pt x="1111" y="467"/>
                  </a:lnTo>
                  <a:lnTo>
                    <a:pt x="1103" y="480"/>
                  </a:lnTo>
                  <a:lnTo>
                    <a:pt x="1094" y="492"/>
                  </a:lnTo>
                  <a:lnTo>
                    <a:pt x="1084" y="503"/>
                  </a:lnTo>
                  <a:lnTo>
                    <a:pt x="1075" y="514"/>
                  </a:lnTo>
                  <a:lnTo>
                    <a:pt x="1064" y="525"/>
                  </a:lnTo>
                  <a:lnTo>
                    <a:pt x="1053" y="535"/>
                  </a:lnTo>
                  <a:lnTo>
                    <a:pt x="1022" y="557"/>
                  </a:lnTo>
                  <a:lnTo>
                    <a:pt x="1006" y="565"/>
                  </a:lnTo>
                  <a:lnTo>
                    <a:pt x="989" y="574"/>
                  </a:lnTo>
                  <a:lnTo>
                    <a:pt x="972" y="581"/>
                  </a:lnTo>
                  <a:lnTo>
                    <a:pt x="953" y="588"/>
                  </a:lnTo>
                  <a:lnTo>
                    <a:pt x="935" y="592"/>
                  </a:lnTo>
                  <a:lnTo>
                    <a:pt x="915" y="596"/>
                  </a:lnTo>
                  <a:lnTo>
                    <a:pt x="896" y="599"/>
                  </a:lnTo>
                  <a:lnTo>
                    <a:pt x="876" y="599"/>
                  </a:lnTo>
                  <a:lnTo>
                    <a:pt x="861" y="599"/>
                  </a:lnTo>
                  <a:lnTo>
                    <a:pt x="848" y="597"/>
                  </a:lnTo>
                  <a:lnTo>
                    <a:pt x="834" y="596"/>
                  </a:lnTo>
                  <a:lnTo>
                    <a:pt x="821" y="594"/>
                  </a:lnTo>
                  <a:lnTo>
                    <a:pt x="807" y="590"/>
                  </a:lnTo>
                  <a:lnTo>
                    <a:pt x="794" y="586"/>
                  </a:lnTo>
                  <a:lnTo>
                    <a:pt x="781" y="583"/>
                  </a:lnTo>
                  <a:lnTo>
                    <a:pt x="768" y="578"/>
                  </a:lnTo>
                  <a:lnTo>
                    <a:pt x="756" y="572"/>
                  </a:lnTo>
                  <a:lnTo>
                    <a:pt x="745" y="565"/>
                  </a:lnTo>
                  <a:lnTo>
                    <a:pt x="732" y="559"/>
                  </a:lnTo>
                  <a:lnTo>
                    <a:pt x="721" y="552"/>
                  </a:lnTo>
                  <a:lnTo>
                    <a:pt x="710" y="545"/>
                  </a:lnTo>
                  <a:lnTo>
                    <a:pt x="701" y="536"/>
                  </a:lnTo>
                  <a:lnTo>
                    <a:pt x="691" y="527"/>
                  </a:lnTo>
                  <a:lnTo>
                    <a:pt x="681" y="518"/>
                  </a:lnTo>
                  <a:lnTo>
                    <a:pt x="671" y="508"/>
                  </a:lnTo>
                  <a:lnTo>
                    <a:pt x="663" y="498"/>
                  </a:lnTo>
                  <a:lnTo>
                    <a:pt x="654" y="488"/>
                  </a:lnTo>
                  <a:lnTo>
                    <a:pt x="647" y="477"/>
                  </a:lnTo>
                  <a:lnTo>
                    <a:pt x="639" y="466"/>
                  </a:lnTo>
                  <a:lnTo>
                    <a:pt x="633" y="454"/>
                  </a:lnTo>
                  <a:lnTo>
                    <a:pt x="627" y="443"/>
                  </a:lnTo>
                  <a:lnTo>
                    <a:pt x="621" y="431"/>
                  </a:lnTo>
                  <a:lnTo>
                    <a:pt x="616" y="417"/>
                  </a:lnTo>
                  <a:lnTo>
                    <a:pt x="612" y="405"/>
                  </a:lnTo>
                  <a:lnTo>
                    <a:pt x="609" y="391"/>
                  </a:lnTo>
                  <a:lnTo>
                    <a:pt x="605" y="378"/>
                  </a:lnTo>
                  <a:lnTo>
                    <a:pt x="602" y="364"/>
                  </a:lnTo>
                  <a:lnTo>
                    <a:pt x="601" y="351"/>
                  </a:lnTo>
                  <a:lnTo>
                    <a:pt x="600" y="337"/>
                  </a:lnTo>
                  <a:lnTo>
                    <a:pt x="600" y="323"/>
                  </a:lnTo>
                  <a:lnTo>
                    <a:pt x="600" y="308"/>
                  </a:lnTo>
                  <a:lnTo>
                    <a:pt x="601" y="294"/>
                  </a:lnTo>
                  <a:lnTo>
                    <a:pt x="602" y="281"/>
                  </a:lnTo>
                  <a:lnTo>
                    <a:pt x="605" y="267"/>
                  </a:lnTo>
                  <a:lnTo>
                    <a:pt x="609" y="254"/>
                  </a:lnTo>
                  <a:lnTo>
                    <a:pt x="612" y="240"/>
                  </a:lnTo>
                  <a:lnTo>
                    <a:pt x="616" y="228"/>
                  </a:lnTo>
                  <a:lnTo>
                    <a:pt x="621" y="215"/>
                  </a:lnTo>
                  <a:lnTo>
                    <a:pt x="627" y="202"/>
                  </a:lnTo>
                  <a:lnTo>
                    <a:pt x="633" y="191"/>
                  </a:lnTo>
                  <a:lnTo>
                    <a:pt x="639" y="179"/>
                  </a:lnTo>
                  <a:lnTo>
                    <a:pt x="647" y="168"/>
                  </a:lnTo>
                  <a:lnTo>
                    <a:pt x="654" y="157"/>
                  </a:lnTo>
                  <a:lnTo>
                    <a:pt x="663" y="147"/>
                  </a:lnTo>
                  <a:lnTo>
                    <a:pt x="671" y="136"/>
                  </a:lnTo>
                  <a:lnTo>
                    <a:pt x="681" y="128"/>
                  </a:lnTo>
                  <a:lnTo>
                    <a:pt x="691" y="118"/>
                  </a:lnTo>
                  <a:lnTo>
                    <a:pt x="701" y="109"/>
                  </a:lnTo>
                  <a:lnTo>
                    <a:pt x="710" y="101"/>
                  </a:lnTo>
                  <a:lnTo>
                    <a:pt x="721" y="93"/>
                  </a:lnTo>
                  <a:lnTo>
                    <a:pt x="732" y="86"/>
                  </a:lnTo>
                  <a:lnTo>
                    <a:pt x="745" y="80"/>
                  </a:lnTo>
                  <a:lnTo>
                    <a:pt x="756" y="74"/>
                  </a:lnTo>
                  <a:lnTo>
                    <a:pt x="768" y="67"/>
                  </a:lnTo>
                  <a:lnTo>
                    <a:pt x="781" y="63"/>
                  </a:lnTo>
                  <a:lnTo>
                    <a:pt x="794" y="59"/>
                  </a:lnTo>
                  <a:lnTo>
                    <a:pt x="807" y="55"/>
                  </a:lnTo>
                  <a:lnTo>
                    <a:pt x="821" y="52"/>
                  </a:lnTo>
                  <a:lnTo>
                    <a:pt x="834" y="49"/>
                  </a:lnTo>
                  <a:lnTo>
                    <a:pt x="848" y="48"/>
                  </a:lnTo>
                  <a:lnTo>
                    <a:pt x="861" y="47"/>
                  </a:lnTo>
                  <a:lnTo>
                    <a:pt x="876" y="47"/>
                  </a:lnTo>
                  <a:close/>
                  <a:moveTo>
                    <a:pt x="1198" y="323"/>
                  </a:moveTo>
                  <a:lnTo>
                    <a:pt x="1198" y="305"/>
                  </a:lnTo>
                  <a:lnTo>
                    <a:pt x="1197" y="289"/>
                  </a:lnTo>
                  <a:lnTo>
                    <a:pt x="1195" y="274"/>
                  </a:lnTo>
                  <a:lnTo>
                    <a:pt x="1192" y="258"/>
                  </a:lnTo>
                  <a:lnTo>
                    <a:pt x="1189" y="242"/>
                  </a:lnTo>
                  <a:lnTo>
                    <a:pt x="1184" y="227"/>
                  </a:lnTo>
                  <a:lnTo>
                    <a:pt x="1179" y="212"/>
                  </a:lnTo>
                  <a:lnTo>
                    <a:pt x="1173" y="197"/>
                  </a:lnTo>
                  <a:lnTo>
                    <a:pt x="1167" y="183"/>
                  </a:lnTo>
                  <a:lnTo>
                    <a:pt x="1159" y="169"/>
                  </a:lnTo>
                  <a:lnTo>
                    <a:pt x="1152" y="156"/>
                  </a:lnTo>
                  <a:lnTo>
                    <a:pt x="1143" y="142"/>
                  </a:lnTo>
                  <a:lnTo>
                    <a:pt x="1135" y="130"/>
                  </a:lnTo>
                  <a:lnTo>
                    <a:pt x="1125" y="118"/>
                  </a:lnTo>
                  <a:lnTo>
                    <a:pt x="1115" y="105"/>
                  </a:lnTo>
                  <a:lnTo>
                    <a:pt x="1104" y="94"/>
                  </a:lnTo>
                  <a:lnTo>
                    <a:pt x="1093" y="83"/>
                  </a:lnTo>
                  <a:lnTo>
                    <a:pt x="1081" y="74"/>
                  </a:lnTo>
                  <a:lnTo>
                    <a:pt x="1068" y="64"/>
                  </a:lnTo>
                  <a:lnTo>
                    <a:pt x="1056" y="55"/>
                  </a:lnTo>
                  <a:lnTo>
                    <a:pt x="1043" y="47"/>
                  </a:lnTo>
                  <a:lnTo>
                    <a:pt x="1029" y="39"/>
                  </a:lnTo>
                  <a:lnTo>
                    <a:pt x="1016" y="32"/>
                  </a:lnTo>
                  <a:lnTo>
                    <a:pt x="1001" y="26"/>
                  </a:lnTo>
                  <a:lnTo>
                    <a:pt x="986" y="20"/>
                  </a:lnTo>
                  <a:lnTo>
                    <a:pt x="972" y="15"/>
                  </a:lnTo>
                  <a:lnTo>
                    <a:pt x="957" y="10"/>
                  </a:lnTo>
                  <a:lnTo>
                    <a:pt x="941" y="6"/>
                  </a:lnTo>
                  <a:lnTo>
                    <a:pt x="925" y="4"/>
                  </a:lnTo>
                  <a:lnTo>
                    <a:pt x="909" y="1"/>
                  </a:lnTo>
                  <a:lnTo>
                    <a:pt x="893" y="0"/>
                  </a:lnTo>
                  <a:lnTo>
                    <a:pt x="876" y="0"/>
                  </a:lnTo>
                  <a:lnTo>
                    <a:pt x="856" y="0"/>
                  </a:lnTo>
                  <a:lnTo>
                    <a:pt x="837" y="2"/>
                  </a:lnTo>
                  <a:lnTo>
                    <a:pt x="818" y="5"/>
                  </a:lnTo>
                  <a:lnTo>
                    <a:pt x="800" y="9"/>
                  </a:lnTo>
                  <a:lnTo>
                    <a:pt x="781" y="15"/>
                  </a:lnTo>
                  <a:lnTo>
                    <a:pt x="764" y="20"/>
                  </a:lnTo>
                  <a:lnTo>
                    <a:pt x="747" y="27"/>
                  </a:lnTo>
                  <a:lnTo>
                    <a:pt x="730" y="36"/>
                  </a:lnTo>
                  <a:lnTo>
                    <a:pt x="714" y="44"/>
                  </a:lnTo>
                  <a:lnTo>
                    <a:pt x="698" y="54"/>
                  </a:lnTo>
                  <a:lnTo>
                    <a:pt x="683" y="64"/>
                  </a:lnTo>
                  <a:lnTo>
                    <a:pt x="669" y="76"/>
                  </a:lnTo>
                  <a:lnTo>
                    <a:pt x="655" y="88"/>
                  </a:lnTo>
                  <a:lnTo>
                    <a:pt x="643" y="101"/>
                  </a:lnTo>
                  <a:lnTo>
                    <a:pt x="631" y="114"/>
                  </a:lnTo>
                  <a:lnTo>
                    <a:pt x="620" y="129"/>
                  </a:lnTo>
                  <a:lnTo>
                    <a:pt x="618" y="129"/>
                  </a:lnTo>
                  <a:lnTo>
                    <a:pt x="618" y="129"/>
                  </a:lnTo>
                  <a:lnTo>
                    <a:pt x="59" y="801"/>
                  </a:lnTo>
                  <a:lnTo>
                    <a:pt x="59" y="801"/>
                  </a:lnTo>
                  <a:lnTo>
                    <a:pt x="59" y="801"/>
                  </a:lnTo>
                  <a:lnTo>
                    <a:pt x="46" y="816"/>
                  </a:lnTo>
                  <a:lnTo>
                    <a:pt x="35" y="832"/>
                  </a:lnTo>
                  <a:lnTo>
                    <a:pt x="25" y="848"/>
                  </a:lnTo>
                  <a:lnTo>
                    <a:pt x="16" y="866"/>
                  </a:lnTo>
                  <a:lnTo>
                    <a:pt x="10" y="884"/>
                  </a:lnTo>
                  <a:lnTo>
                    <a:pt x="5" y="904"/>
                  </a:lnTo>
                  <a:lnTo>
                    <a:pt x="1" y="924"/>
                  </a:lnTo>
                  <a:lnTo>
                    <a:pt x="0" y="945"/>
                  </a:lnTo>
                  <a:lnTo>
                    <a:pt x="1" y="965"/>
                  </a:lnTo>
                  <a:lnTo>
                    <a:pt x="5" y="986"/>
                  </a:lnTo>
                  <a:lnTo>
                    <a:pt x="10" y="1006"/>
                  </a:lnTo>
                  <a:lnTo>
                    <a:pt x="17" y="1025"/>
                  </a:lnTo>
                  <a:lnTo>
                    <a:pt x="26" y="1044"/>
                  </a:lnTo>
                  <a:lnTo>
                    <a:pt x="36" y="1061"/>
                  </a:lnTo>
                  <a:lnTo>
                    <a:pt x="48" y="1077"/>
                  </a:lnTo>
                  <a:lnTo>
                    <a:pt x="62" y="1092"/>
                  </a:lnTo>
                  <a:lnTo>
                    <a:pt x="76" y="1104"/>
                  </a:lnTo>
                  <a:lnTo>
                    <a:pt x="92" y="1116"/>
                  </a:lnTo>
                  <a:lnTo>
                    <a:pt x="109" y="1127"/>
                  </a:lnTo>
                  <a:lnTo>
                    <a:pt x="128" y="1136"/>
                  </a:lnTo>
                  <a:lnTo>
                    <a:pt x="146" y="1143"/>
                  </a:lnTo>
                  <a:lnTo>
                    <a:pt x="166" y="1148"/>
                  </a:lnTo>
                  <a:lnTo>
                    <a:pt x="187" y="1151"/>
                  </a:lnTo>
                  <a:lnTo>
                    <a:pt x="207" y="1152"/>
                  </a:lnTo>
                  <a:lnTo>
                    <a:pt x="227" y="1151"/>
                  </a:lnTo>
                  <a:lnTo>
                    <a:pt x="246" y="1148"/>
                  </a:lnTo>
                  <a:lnTo>
                    <a:pt x="264" y="1144"/>
                  </a:lnTo>
                  <a:lnTo>
                    <a:pt x="281" y="1138"/>
                  </a:lnTo>
                  <a:lnTo>
                    <a:pt x="298" y="1131"/>
                  </a:lnTo>
                  <a:lnTo>
                    <a:pt x="314" y="1122"/>
                  </a:lnTo>
                  <a:lnTo>
                    <a:pt x="329" y="1113"/>
                  </a:lnTo>
                  <a:lnTo>
                    <a:pt x="342" y="1102"/>
                  </a:lnTo>
                  <a:lnTo>
                    <a:pt x="342" y="1102"/>
                  </a:lnTo>
                  <a:lnTo>
                    <a:pt x="344" y="1102"/>
                  </a:lnTo>
                  <a:lnTo>
                    <a:pt x="1049" y="595"/>
                  </a:lnTo>
                  <a:lnTo>
                    <a:pt x="1066" y="583"/>
                  </a:lnTo>
                  <a:lnTo>
                    <a:pt x="1082" y="570"/>
                  </a:lnTo>
                  <a:lnTo>
                    <a:pt x="1083" y="570"/>
                  </a:lnTo>
                  <a:lnTo>
                    <a:pt x="1083" y="569"/>
                  </a:lnTo>
                  <a:lnTo>
                    <a:pt x="1084" y="568"/>
                  </a:lnTo>
                  <a:lnTo>
                    <a:pt x="1097" y="557"/>
                  </a:lnTo>
                  <a:lnTo>
                    <a:pt x="1109" y="545"/>
                  </a:lnTo>
                  <a:lnTo>
                    <a:pt x="1121" y="532"/>
                  </a:lnTo>
                  <a:lnTo>
                    <a:pt x="1131" y="519"/>
                  </a:lnTo>
                  <a:lnTo>
                    <a:pt x="1142" y="505"/>
                  </a:lnTo>
                  <a:lnTo>
                    <a:pt x="1151" y="491"/>
                  </a:lnTo>
                  <a:lnTo>
                    <a:pt x="1159" y="476"/>
                  </a:lnTo>
                  <a:lnTo>
                    <a:pt x="1168" y="460"/>
                  </a:lnTo>
                  <a:lnTo>
                    <a:pt x="1174" y="444"/>
                  </a:lnTo>
                  <a:lnTo>
                    <a:pt x="1180" y="428"/>
                  </a:lnTo>
                  <a:lnTo>
                    <a:pt x="1186" y="411"/>
                  </a:lnTo>
                  <a:lnTo>
                    <a:pt x="1190" y="394"/>
                  </a:lnTo>
                  <a:lnTo>
                    <a:pt x="1194" y="377"/>
                  </a:lnTo>
                  <a:lnTo>
                    <a:pt x="1196" y="359"/>
                  </a:lnTo>
                  <a:lnTo>
                    <a:pt x="1198" y="341"/>
                  </a:lnTo>
                  <a:lnTo>
                    <a:pt x="1198"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5" name="Group 49">
            <a:extLst>
              <a:ext uri="{FF2B5EF4-FFF2-40B4-BE49-F238E27FC236}">
                <a16:creationId xmlns:a16="http://schemas.microsoft.com/office/drawing/2014/main" id="{38368811-FBB0-462E-AA28-1FB82740D3D0}"/>
              </a:ext>
            </a:extLst>
          </p:cNvPr>
          <p:cNvGrpSpPr>
            <a:grpSpLocks noChangeAspect="1"/>
          </p:cNvGrpSpPr>
          <p:nvPr/>
        </p:nvGrpSpPr>
        <p:grpSpPr>
          <a:xfrm>
            <a:off x="3193050" y="5413481"/>
            <a:ext cx="304790" cy="314674"/>
            <a:chOff x="946151" y="3240088"/>
            <a:chExt cx="293688" cy="303213"/>
          </a:xfrm>
          <a:solidFill>
            <a:schemeClr val="bg1"/>
          </a:solidFill>
          <a:effectLst/>
        </p:grpSpPr>
        <p:sp>
          <p:nvSpPr>
            <p:cNvPr id="1036" name="Freeform 57">
              <a:extLst>
                <a:ext uri="{FF2B5EF4-FFF2-40B4-BE49-F238E27FC236}">
                  <a16:creationId xmlns:a16="http://schemas.microsoft.com/office/drawing/2014/main" id="{C6D24E80-8A6C-42BB-A957-0F7B6438DF9C}"/>
                </a:ext>
              </a:extLst>
            </p:cNvPr>
            <p:cNvSpPr>
              <a:spLocks noEditPoints="1"/>
            </p:cNvSpPr>
            <p:nvPr/>
          </p:nvSpPr>
          <p:spPr bwMode="auto">
            <a:xfrm>
              <a:off x="1066801" y="3240088"/>
              <a:ext cx="173038" cy="171450"/>
            </a:xfrm>
            <a:custGeom>
              <a:avLst/>
              <a:gdLst>
                <a:gd name="T0" fmla="*/ 326 w 435"/>
                <a:gd name="T1" fmla="*/ 327 h 432"/>
                <a:gd name="T2" fmla="*/ 296 w 435"/>
                <a:gd name="T3" fmla="*/ 346 h 432"/>
                <a:gd name="T4" fmla="*/ 259 w 435"/>
                <a:gd name="T5" fmla="*/ 368 h 432"/>
                <a:gd name="T6" fmla="*/ 186 w 435"/>
                <a:gd name="T7" fmla="*/ 406 h 432"/>
                <a:gd name="T8" fmla="*/ 180 w 435"/>
                <a:gd name="T9" fmla="*/ 363 h 432"/>
                <a:gd name="T10" fmla="*/ 150 w 435"/>
                <a:gd name="T11" fmla="*/ 353 h 432"/>
                <a:gd name="T12" fmla="*/ 116 w 435"/>
                <a:gd name="T13" fmla="*/ 328 h 432"/>
                <a:gd name="T14" fmla="*/ 65 w 435"/>
                <a:gd name="T15" fmla="*/ 350 h 432"/>
                <a:gd name="T16" fmla="*/ 73 w 435"/>
                <a:gd name="T17" fmla="*/ 261 h 432"/>
                <a:gd name="T18" fmla="*/ 70 w 435"/>
                <a:gd name="T19" fmla="*/ 222 h 432"/>
                <a:gd name="T20" fmla="*/ 73 w 435"/>
                <a:gd name="T21" fmla="*/ 182 h 432"/>
                <a:gd name="T22" fmla="*/ 66 w 435"/>
                <a:gd name="T23" fmla="*/ 93 h 432"/>
                <a:gd name="T24" fmla="*/ 117 w 435"/>
                <a:gd name="T25" fmla="*/ 114 h 432"/>
                <a:gd name="T26" fmla="*/ 150 w 435"/>
                <a:gd name="T27" fmla="*/ 90 h 432"/>
                <a:gd name="T28" fmla="*/ 180 w 435"/>
                <a:gd name="T29" fmla="*/ 79 h 432"/>
                <a:gd name="T30" fmla="*/ 186 w 435"/>
                <a:gd name="T31" fmla="*/ 25 h 432"/>
                <a:gd name="T32" fmla="*/ 259 w 435"/>
                <a:gd name="T33" fmla="*/ 75 h 432"/>
                <a:gd name="T34" fmla="*/ 296 w 435"/>
                <a:gd name="T35" fmla="*/ 96 h 432"/>
                <a:gd name="T36" fmla="*/ 326 w 435"/>
                <a:gd name="T37" fmla="*/ 115 h 432"/>
                <a:gd name="T38" fmla="*/ 405 w 435"/>
                <a:gd name="T39" fmla="*/ 154 h 432"/>
                <a:gd name="T40" fmla="*/ 362 w 435"/>
                <a:gd name="T41" fmla="*/ 185 h 432"/>
                <a:gd name="T42" fmla="*/ 365 w 435"/>
                <a:gd name="T43" fmla="*/ 238 h 432"/>
                <a:gd name="T44" fmla="*/ 365 w 435"/>
                <a:gd name="T45" fmla="*/ 265 h 432"/>
                <a:gd name="T46" fmla="*/ 428 w 435"/>
                <a:gd name="T47" fmla="*/ 272 h 432"/>
                <a:gd name="T48" fmla="*/ 389 w 435"/>
                <a:gd name="T49" fmla="*/ 207 h 432"/>
                <a:gd name="T50" fmla="*/ 435 w 435"/>
                <a:gd name="T51" fmla="*/ 161 h 432"/>
                <a:gd name="T52" fmla="*/ 382 w 435"/>
                <a:gd name="T53" fmla="*/ 65 h 432"/>
                <a:gd name="T54" fmla="*/ 329 w 435"/>
                <a:gd name="T55" fmla="*/ 88 h 432"/>
                <a:gd name="T56" fmla="*/ 282 w 435"/>
                <a:gd name="T57" fmla="*/ 59 h 432"/>
                <a:gd name="T58" fmla="*/ 275 w 435"/>
                <a:gd name="T59" fmla="*/ 2 h 432"/>
                <a:gd name="T60" fmla="*/ 164 w 435"/>
                <a:gd name="T61" fmla="*/ 4 h 432"/>
                <a:gd name="T62" fmla="*/ 152 w 435"/>
                <a:gd name="T63" fmla="*/ 62 h 432"/>
                <a:gd name="T64" fmla="*/ 119 w 435"/>
                <a:gd name="T65" fmla="*/ 79 h 432"/>
                <a:gd name="T66" fmla="*/ 59 w 435"/>
                <a:gd name="T67" fmla="*/ 63 h 432"/>
                <a:gd name="T68" fmla="*/ 1 w 435"/>
                <a:gd name="T69" fmla="*/ 157 h 432"/>
                <a:gd name="T70" fmla="*/ 5 w 435"/>
                <a:gd name="T71" fmla="*/ 168 h 432"/>
                <a:gd name="T72" fmla="*/ 44 w 435"/>
                <a:gd name="T73" fmla="*/ 221 h 432"/>
                <a:gd name="T74" fmla="*/ 3 w 435"/>
                <a:gd name="T75" fmla="*/ 276 h 432"/>
                <a:gd name="T76" fmla="*/ 49 w 435"/>
                <a:gd name="T77" fmla="*/ 373 h 432"/>
                <a:gd name="T78" fmla="*/ 67 w 435"/>
                <a:gd name="T79" fmla="*/ 378 h 432"/>
                <a:gd name="T80" fmla="*/ 144 w 435"/>
                <a:gd name="T81" fmla="*/ 378 h 432"/>
                <a:gd name="T82" fmla="*/ 164 w 435"/>
                <a:gd name="T83" fmla="*/ 428 h 432"/>
                <a:gd name="T84" fmla="*/ 275 w 435"/>
                <a:gd name="T85" fmla="*/ 431 h 432"/>
                <a:gd name="T86" fmla="*/ 282 w 435"/>
                <a:gd name="T87" fmla="*/ 382 h 432"/>
                <a:gd name="T88" fmla="*/ 329 w 435"/>
                <a:gd name="T89" fmla="*/ 356 h 432"/>
                <a:gd name="T90" fmla="*/ 380 w 435"/>
                <a:gd name="T91" fmla="*/ 378 h 432"/>
                <a:gd name="T92" fmla="*/ 434 w 435"/>
                <a:gd name="T93" fmla="*/ 290 h 432"/>
                <a:gd name="T94" fmla="*/ 428 w 435"/>
                <a:gd name="T95" fmla="*/ 27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5" h="432">
                  <a:moveTo>
                    <a:pt x="369" y="350"/>
                  </a:moveTo>
                  <a:lnTo>
                    <a:pt x="335" y="329"/>
                  </a:lnTo>
                  <a:lnTo>
                    <a:pt x="330" y="327"/>
                  </a:lnTo>
                  <a:lnTo>
                    <a:pt x="326" y="327"/>
                  </a:lnTo>
                  <a:lnTo>
                    <a:pt x="323" y="328"/>
                  </a:lnTo>
                  <a:lnTo>
                    <a:pt x="319" y="330"/>
                  </a:lnTo>
                  <a:lnTo>
                    <a:pt x="309" y="339"/>
                  </a:lnTo>
                  <a:lnTo>
                    <a:pt x="296" y="346"/>
                  </a:lnTo>
                  <a:lnTo>
                    <a:pt x="281" y="355"/>
                  </a:lnTo>
                  <a:lnTo>
                    <a:pt x="264" y="363"/>
                  </a:lnTo>
                  <a:lnTo>
                    <a:pt x="261" y="364"/>
                  </a:lnTo>
                  <a:lnTo>
                    <a:pt x="259" y="368"/>
                  </a:lnTo>
                  <a:lnTo>
                    <a:pt x="257" y="371"/>
                  </a:lnTo>
                  <a:lnTo>
                    <a:pt x="256" y="374"/>
                  </a:lnTo>
                  <a:lnTo>
                    <a:pt x="256" y="406"/>
                  </a:lnTo>
                  <a:lnTo>
                    <a:pt x="186" y="406"/>
                  </a:lnTo>
                  <a:lnTo>
                    <a:pt x="186" y="374"/>
                  </a:lnTo>
                  <a:lnTo>
                    <a:pt x="186" y="370"/>
                  </a:lnTo>
                  <a:lnTo>
                    <a:pt x="183" y="367"/>
                  </a:lnTo>
                  <a:lnTo>
                    <a:pt x="180" y="363"/>
                  </a:lnTo>
                  <a:lnTo>
                    <a:pt x="176" y="361"/>
                  </a:lnTo>
                  <a:lnTo>
                    <a:pt x="166" y="359"/>
                  </a:lnTo>
                  <a:lnTo>
                    <a:pt x="158" y="356"/>
                  </a:lnTo>
                  <a:lnTo>
                    <a:pt x="150" y="353"/>
                  </a:lnTo>
                  <a:lnTo>
                    <a:pt x="144" y="349"/>
                  </a:lnTo>
                  <a:lnTo>
                    <a:pt x="132" y="341"/>
                  </a:lnTo>
                  <a:lnTo>
                    <a:pt x="120" y="330"/>
                  </a:lnTo>
                  <a:lnTo>
                    <a:pt x="116" y="328"/>
                  </a:lnTo>
                  <a:lnTo>
                    <a:pt x="112" y="327"/>
                  </a:lnTo>
                  <a:lnTo>
                    <a:pt x="108" y="327"/>
                  </a:lnTo>
                  <a:lnTo>
                    <a:pt x="105" y="329"/>
                  </a:lnTo>
                  <a:lnTo>
                    <a:pt x="65" y="350"/>
                  </a:lnTo>
                  <a:lnTo>
                    <a:pt x="30" y="289"/>
                  </a:lnTo>
                  <a:lnTo>
                    <a:pt x="67" y="268"/>
                  </a:lnTo>
                  <a:lnTo>
                    <a:pt x="71" y="265"/>
                  </a:lnTo>
                  <a:lnTo>
                    <a:pt x="73" y="261"/>
                  </a:lnTo>
                  <a:lnTo>
                    <a:pt x="74" y="257"/>
                  </a:lnTo>
                  <a:lnTo>
                    <a:pt x="73" y="254"/>
                  </a:lnTo>
                  <a:lnTo>
                    <a:pt x="71" y="238"/>
                  </a:lnTo>
                  <a:lnTo>
                    <a:pt x="70" y="222"/>
                  </a:lnTo>
                  <a:lnTo>
                    <a:pt x="71" y="206"/>
                  </a:lnTo>
                  <a:lnTo>
                    <a:pt x="74" y="189"/>
                  </a:lnTo>
                  <a:lnTo>
                    <a:pt x="74" y="185"/>
                  </a:lnTo>
                  <a:lnTo>
                    <a:pt x="73" y="182"/>
                  </a:lnTo>
                  <a:lnTo>
                    <a:pt x="71" y="179"/>
                  </a:lnTo>
                  <a:lnTo>
                    <a:pt x="67" y="175"/>
                  </a:lnTo>
                  <a:lnTo>
                    <a:pt x="31" y="154"/>
                  </a:lnTo>
                  <a:lnTo>
                    <a:pt x="66" y="93"/>
                  </a:lnTo>
                  <a:lnTo>
                    <a:pt x="105" y="114"/>
                  </a:lnTo>
                  <a:lnTo>
                    <a:pt x="108" y="116"/>
                  </a:lnTo>
                  <a:lnTo>
                    <a:pt x="112" y="115"/>
                  </a:lnTo>
                  <a:lnTo>
                    <a:pt x="117" y="114"/>
                  </a:lnTo>
                  <a:lnTo>
                    <a:pt x="120" y="112"/>
                  </a:lnTo>
                  <a:lnTo>
                    <a:pt x="132" y="101"/>
                  </a:lnTo>
                  <a:lnTo>
                    <a:pt x="144" y="93"/>
                  </a:lnTo>
                  <a:lnTo>
                    <a:pt x="150" y="90"/>
                  </a:lnTo>
                  <a:lnTo>
                    <a:pt x="158" y="86"/>
                  </a:lnTo>
                  <a:lnTo>
                    <a:pt x="166" y="83"/>
                  </a:lnTo>
                  <a:lnTo>
                    <a:pt x="176" y="80"/>
                  </a:lnTo>
                  <a:lnTo>
                    <a:pt x="180" y="79"/>
                  </a:lnTo>
                  <a:lnTo>
                    <a:pt x="183" y="76"/>
                  </a:lnTo>
                  <a:lnTo>
                    <a:pt x="186" y="72"/>
                  </a:lnTo>
                  <a:lnTo>
                    <a:pt x="186" y="68"/>
                  </a:lnTo>
                  <a:lnTo>
                    <a:pt x="186" y="25"/>
                  </a:lnTo>
                  <a:lnTo>
                    <a:pt x="256" y="25"/>
                  </a:lnTo>
                  <a:lnTo>
                    <a:pt x="256" y="68"/>
                  </a:lnTo>
                  <a:lnTo>
                    <a:pt x="257" y="71"/>
                  </a:lnTo>
                  <a:lnTo>
                    <a:pt x="259" y="75"/>
                  </a:lnTo>
                  <a:lnTo>
                    <a:pt x="261" y="78"/>
                  </a:lnTo>
                  <a:lnTo>
                    <a:pt x="264" y="80"/>
                  </a:lnTo>
                  <a:lnTo>
                    <a:pt x="281" y="88"/>
                  </a:lnTo>
                  <a:lnTo>
                    <a:pt x="296" y="96"/>
                  </a:lnTo>
                  <a:lnTo>
                    <a:pt x="309" y="105"/>
                  </a:lnTo>
                  <a:lnTo>
                    <a:pt x="319" y="112"/>
                  </a:lnTo>
                  <a:lnTo>
                    <a:pt x="323" y="114"/>
                  </a:lnTo>
                  <a:lnTo>
                    <a:pt x="326" y="115"/>
                  </a:lnTo>
                  <a:lnTo>
                    <a:pt x="330" y="115"/>
                  </a:lnTo>
                  <a:lnTo>
                    <a:pt x="335" y="113"/>
                  </a:lnTo>
                  <a:lnTo>
                    <a:pt x="369" y="93"/>
                  </a:lnTo>
                  <a:lnTo>
                    <a:pt x="405" y="154"/>
                  </a:lnTo>
                  <a:lnTo>
                    <a:pt x="368" y="175"/>
                  </a:lnTo>
                  <a:lnTo>
                    <a:pt x="365" y="179"/>
                  </a:lnTo>
                  <a:lnTo>
                    <a:pt x="363" y="182"/>
                  </a:lnTo>
                  <a:lnTo>
                    <a:pt x="362" y="185"/>
                  </a:lnTo>
                  <a:lnTo>
                    <a:pt x="362" y="189"/>
                  </a:lnTo>
                  <a:lnTo>
                    <a:pt x="364" y="206"/>
                  </a:lnTo>
                  <a:lnTo>
                    <a:pt x="365" y="222"/>
                  </a:lnTo>
                  <a:lnTo>
                    <a:pt x="365" y="238"/>
                  </a:lnTo>
                  <a:lnTo>
                    <a:pt x="362" y="254"/>
                  </a:lnTo>
                  <a:lnTo>
                    <a:pt x="362" y="257"/>
                  </a:lnTo>
                  <a:lnTo>
                    <a:pt x="363" y="261"/>
                  </a:lnTo>
                  <a:lnTo>
                    <a:pt x="365" y="265"/>
                  </a:lnTo>
                  <a:lnTo>
                    <a:pt x="368" y="268"/>
                  </a:lnTo>
                  <a:lnTo>
                    <a:pt x="405" y="289"/>
                  </a:lnTo>
                  <a:lnTo>
                    <a:pt x="369" y="350"/>
                  </a:lnTo>
                  <a:close/>
                  <a:moveTo>
                    <a:pt x="428" y="272"/>
                  </a:moveTo>
                  <a:lnTo>
                    <a:pt x="388" y="250"/>
                  </a:lnTo>
                  <a:lnTo>
                    <a:pt x="389" y="236"/>
                  </a:lnTo>
                  <a:lnTo>
                    <a:pt x="391" y="221"/>
                  </a:lnTo>
                  <a:lnTo>
                    <a:pt x="389" y="207"/>
                  </a:lnTo>
                  <a:lnTo>
                    <a:pt x="388" y="193"/>
                  </a:lnTo>
                  <a:lnTo>
                    <a:pt x="428" y="169"/>
                  </a:lnTo>
                  <a:lnTo>
                    <a:pt x="432" y="166"/>
                  </a:lnTo>
                  <a:lnTo>
                    <a:pt x="435" y="161"/>
                  </a:lnTo>
                  <a:lnTo>
                    <a:pt x="435" y="157"/>
                  </a:lnTo>
                  <a:lnTo>
                    <a:pt x="434" y="153"/>
                  </a:lnTo>
                  <a:lnTo>
                    <a:pt x="385" y="69"/>
                  </a:lnTo>
                  <a:lnTo>
                    <a:pt x="382" y="65"/>
                  </a:lnTo>
                  <a:lnTo>
                    <a:pt x="378" y="63"/>
                  </a:lnTo>
                  <a:lnTo>
                    <a:pt x="372" y="63"/>
                  </a:lnTo>
                  <a:lnTo>
                    <a:pt x="367" y="64"/>
                  </a:lnTo>
                  <a:lnTo>
                    <a:pt x="329" y="88"/>
                  </a:lnTo>
                  <a:lnTo>
                    <a:pt x="320" y="81"/>
                  </a:lnTo>
                  <a:lnTo>
                    <a:pt x="308" y="73"/>
                  </a:lnTo>
                  <a:lnTo>
                    <a:pt x="296" y="67"/>
                  </a:lnTo>
                  <a:lnTo>
                    <a:pt x="282" y="59"/>
                  </a:lnTo>
                  <a:lnTo>
                    <a:pt x="282" y="13"/>
                  </a:lnTo>
                  <a:lnTo>
                    <a:pt x="281" y="8"/>
                  </a:lnTo>
                  <a:lnTo>
                    <a:pt x="279" y="4"/>
                  </a:lnTo>
                  <a:lnTo>
                    <a:pt x="275" y="2"/>
                  </a:lnTo>
                  <a:lnTo>
                    <a:pt x="269" y="0"/>
                  </a:lnTo>
                  <a:lnTo>
                    <a:pt x="173" y="0"/>
                  </a:lnTo>
                  <a:lnTo>
                    <a:pt x="168" y="2"/>
                  </a:lnTo>
                  <a:lnTo>
                    <a:pt x="164" y="4"/>
                  </a:lnTo>
                  <a:lnTo>
                    <a:pt x="161" y="8"/>
                  </a:lnTo>
                  <a:lnTo>
                    <a:pt x="161" y="13"/>
                  </a:lnTo>
                  <a:lnTo>
                    <a:pt x="161" y="58"/>
                  </a:lnTo>
                  <a:lnTo>
                    <a:pt x="152" y="62"/>
                  </a:lnTo>
                  <a:lnTo>
                    <a:pt x="144" y="64"/>
                  </a:lnTo>
                  <a:lnTo>
                    <a:pt x="137" y="67"/>
                  </a:lnTo>
                  <a:lnTo>
                    <a:pt x="131" y="71"/>
                  </a:lnTo>
                  <a:lnTo>
                    <a:pt x="119" y="79"/>
                  </a:lnTo>
                  <a:lnTo>
                    <a:pt x="109" y="88"/>
                  </a:lnTo>
                  <a:lnTo>
                    <a:pt x="68" y="64"/>
                  </a:lnTo>
                  <a:lnTo>
                    <a:pt x="63" y="63"/>
                  </a:lnTo>
                  <a:lnTo>
                    <a:pt x="59" y="63"/>
                  </a:lnTo>
                  <a:lnTo>
                    <a:pt x="55" y="65"/>
                  </a:lnTo>
                  <a:lnTo>
                    <a:pt x="50" y="69"/>
                  </a:lnTo>
                  <a:lnTo>
                    <a:pt x="2" y="152"/>
                  </a:lnTo>
                  <a:lnTo>
                    <a:pt x="1" y="157"/>
                  </a:lnTo>
                  <a:lnTo>
                    <a:pt x="1" y="161"/>
                  </a:lnTo>
                  <a:lnTo>
                    <a:pt x="2" y="165"/>
                  </a:lnTo>
                  <a:lnTo>
                    <a:pt x="3" y="167"/>
                  </a:lnTo>
                  <a:lnTo>
                    <a:pt x="5" y="168"/>
                  </a:lnTo>
                  <a:lnTo>
                    <a:pt x="6" y="169"/>
                  </a:lnTo>
                  <a:lnTo>
                    <a:pt x="47" y="193"/>
                  </a:lnTo>
                  <a:lnTo>
                    <a:pt x="45" y="207"/>
                  </a:lnTo>
                  <a:lnTo>
                    <a:pt x="44" y="221"/>
                  </a:lnTo>
                  <a:lnTo>
                    <a:pt x="45" y="236"/>
                  </a:lnTo>
                  <a:lnTo>
                    <a:pt x="47" y="250"/>
                  </a:lnTo>
                  <a:lnTo>
                    <a:pt x="6" y="272"/>
                  </a:lnTo>
                  <a:lnTo>
                    <a:pt x="3" y="276"/>
                  </a:lnTo>
                  <a:lnTo>
                    <a:pt x="0" y="281"/>
                  </a:lnTo>
                  <a:lnTo>
                    <a:pt x="0" y="286"/>
                  </a:lnTo>
                  <a:lnTo>
                    <a:pt x="2" y="290"/>
                  </a:lnTo>
                  <a:lnTo>
                    <a:pt x="49" y="373"/>
                  </a:lnTo>
                  <a:lnTo>
                    <a:pt x="53" y="377"/>
                  </a:lnTo>
                  <a:lnTo>
                    <a:pt x="58" y="379"/>
                  </a:lnTo>
                  <a:lnTo>
                    <a:pt x="62" y="379"/>
                  </a:lnTo>
                  <a:lnTo>
                    <a:pt x="67" y="378"/>
                  </a:lnTo>
                  <a:lnTo>
                    <a:pt x="109" y="356"/>
                  </a:lnTo>
                  <a:lnTo>
                    <a:pt x="119" y="363"/>
                  </a:lnTo>
                  <a:lnTo>
                    <a:pt x="131" y="372"/>
                  </a:lnTo>
                  <a:lnTo>
                    <a:pt x="144" y="378"/>
                  </a:lnTo>
                  <a:lnTo>
                    <a:pt x="161" y="385"/>
                  </a:lnTo>
                  <a:lnTo>
                    <a:pt x="161" y="419"/>
                  </a:lnTo>
                  <a:lnTo>
                    <a:pt x="161" y="425"/>
                  </a:lnTo>
                  <a:lnTo>
                    <a:pt x="164" y="428"/>
                  </a:lnTo>
                  <a:lnTo>
                    <a:pt x="168" y="431"/>
                  </a:lnTo>
                  <a:lnTo>
                    <a:pt x="173" y="432"/>
                  </a:lnTo>
                  <a:lnTo>
                    <a:pt x="269" y="432"/>
                  </a:lnTo>
                  <a:lnTo>
                    <a:pt x="275" y="431"/>
                  </a:lnTo>
                  <a:lnTo>
                    <a:pt x="279" y="428"/>
                  </a:lnTo>
                  <a:lnTo>
                    <a:pt x="281" y="425"/>
                  </a:lnTo>
                  <a:lnTo>
                    <a:pt x="282" y="419"/>
                  </a:lnTo>
                  <a:lnTo>
                    <a:pt x="282" y="382"/>
                  </a:lnTo>
                  <a:lnTo>
                    <a:pt x="296" y="375"/>
                  </a:lnTo>
                  <a:lnTo>
                    <a:pt x="308" y="369"/>
                  </a:lnTo>
                  <a:lnTo>
                    <a:pt x="320" y="362"/>
                  </a:lnTo>
                  <a:lnTo>
                    <a:pt x="329" y="356"/>
                  </a:lnTo>
                  <a:lnTo>
                    <a:pt x="367" y="378"/>
                  </a:lnTo>
                  <a:lnTo>
                    <a:pt x="372" y="379"/>
                  </a:lnTo>
                  <a:lnTo>
                    <a:pt x="378" y="379"/>
                  </a:lnTo>
                  <a:lnTo>
                    <a:pt x="380" y="378"/>
                  </a:lnTo>
                  <a:lnTo>
                    <a:pt x="382" y="377"/>
                  </a:lnTo>
                  <a:lnTo>
                    <a:pt x="383" y="375"/>
                  </a:lnTo>
                  <a:lnTo>
                    <a:pt x="385" y="373"/>
                  </a:lnTo>
                  <a:lnTo>
                    <a:pt x="434" y="290"/>
                  </a:lnTo>
                  <a:lnTo>
                    <a:pt x="435" y="285"/>
                  </a:lnTo>
                  <a:lnTo>
                    <a:pt x="435" y="281"/>
                  </a:lnTo>
                  <a:lnTo>
                    <a:pt x="432" y="276"/>
                  </a:lnTo>
                  <a:lnTo>
                    <a:pt x="428"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58">
              <a:extLst>
                <a:ext uri="{FF2B5EF4-FFF2-40B4-BE49-F238E27FC236}">
                  <a16:creationId xmlns:a16="http://schemas.microsoft.com/office/drawing/2014/main" id="{BBEC919C-0A5A-457E-9FC3-0A7AA40897CD}"/>
                </a:ext>
              </a:extLst>
            </p:cNvPr>
            <p:cNvSpPr>
              <a:spLocks noEditPoints="1"/>
            </p:cNvSpPr>
            <p:nvPr/>
          </p:nvSpPr>
          <p:spPr bwMode="auto">
            <a:xfrm>
              <a:off x="1122363" y="3297238"/>
              <a:ext cx="61913" cy="60325"/>
            </a:xfrm>
            <a:custGeom>
              <a:avLst/>
              <a:gdLst>
                <a:gd name="T0" fmla="*/ 67 w 154"/>
                <a:gd name="T1" fmla="*/ 128 h 154"/>
                <a:gd name="T2" fmla="*/ 49 w 154"/>
                <a:gd name="T3" fmla="*/ 119 h 154"/>
                <a:gd name="T4" fmla="*/ 35 w 154"/>
                <a:gd name="T5" fmla="*/ 107 h 154"/>
                <a:gd name="T6" fmla="*/ 27 w 154"/>
                <a:gd name="T7" fmla="*/ 88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8 h 154"/>
                <a:gd name="T26" fmla="*/ 120 w 154"/>
                <a:gd name="T27" fmla="*/ 107 h 154"/>
                <a:gd name="T28" fmla="*/ 106 w 154"/>
                <a:gd name="T29" fmla="*/ 119 h 154"/>
                <a:gd name="T30" fmla="*/ 87 w 154"/>
                <a:gd name="T31" fmla="*/ 128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4 h 154"/>
                <a:gd name="T44" fmla="*/ 7 w 154"/>
                <a:gd name="T45" fmla="*/ 48 h 154"/>
                <a:gd name="T46" fmla="*/ 1 w 154"/>
                <a:gd name="T47" fmla="*/ 62 h 154"/>
                <a:gd name="T48" fmla="*/ 0 w 154"/>
                <a:gd name="T49" fmla="*/ 78 h 154"/>
                <a:gd name="T50" fmla="*/ 1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8 h 154"/>
                <a:gd name="T62" fmla="*/ 62 w 154"/>
                <a:gd name="T63" fmla="*/ 153 h 154"/>
                <a:gd name="T64" fmla="*/ 78 w 154"/>
                <a:gd name="T65" fmla="*/ 154 h 154"/>
                <a:gd name="T66" fmla="*/ 93 w 154"/>
                <a:gd name="T67" fmla="*/ 153 h 154"/>
                <a:gd name="T68" fmla="*/ 108 w 154"/>
                <a:gd name="T69" fmla="*/ 148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2 h 154"/>
                <a:gd name="T84" fmla="*/ 149 w 154"/>
                <a:gd name="T85" fmla="*/ 48 h 154"/>
                <a:gd name="T86" fmla="*/ 141 w 154"/>
                <a:gd name="T87" fmla="*/ 34 h 154"/>
                <a:gd name="T88" fmla="*/ 131 w 154"/>
                <a:gd name="T89" fmla="*/ 23 h 154"/>
                <a:gd name="T90" fmla="*/ 121 w 154"/>
                <a:gd name="T91" fmla="*/ 13 h 154"/>
                <a:gd name="T92" fmla="*/ 108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8"/>
                  </a:lnTo>
                  <a:lnTo>
                    <a:pt x="57" y="125"/>
                  </a:lnTo>
                  <a:lnTo>
                    <a:pt x="49" y="119"/>
                  </a:lnTo>
                  <a:lnTo>
                    <a:pt x="41" y="114"/>
                  </a:lnTo>
                  <a:lnTo>
                    <a:pt x="35" y="107"/>
                  </a:lnTo>
                  <a:lnTo>
                    <a:pt x="29" y="97"/>
                  </a:lnTo>
                  <a:lnTo>
                    <a:pt x="27" y="88"/>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4" y="41"/>
                  </a:lnTo>
                  <a:lnTo>
                    <a:pt x="120" y="49"/>
                  </a:lnTo>
                  <a:lnTo>
                    <a:pt x="125" y="57"/>
                  </a:lnTo>
                  <a:lnTo>
                    <a:pt x="128" y="67"/>
                  </a:lnTo>
                  <a:lnTo>
                    <a:pt x="129" y="78"/>
                  </a:lnTo>
                  <a:lnTo>
                    <a:pt x="128" y="88"/>
                  </a:lnTo>
                  <a:lnTo>
                    <a:pt x="125" y="97"/>
                  </a:lnTo>
                  <a:lnTo>
                    <a:pt x="120" y="107"/>
                  </a:lnTo>
                  <a:lnTo>
                    <a:pt x="114" y="114"/>
                  </a:lnTo>
                  <a:lnTo>
                    <a:pt x="106" y="119"/>
                  </a:lnTo>
                  <a:lnTo>
                    <a:pt x="97" y="125"/>
                  </a:lnTo>
                  <a:lnTo>
                    <a:pt x="87" y="128"/>
                  </a:lnTo>
                  <a:lnTo>
                    <a:pt x="78" y="128"/>
                  </a:lnTo>
                  <a:close/>
                  <a:moveTo>
                    <a:pt x="78" y="0"/>
                  </a:moveTo>
                  <a:lnTo>
                    <a:pt x="69" y="0"/>
                  </a:lnTo>
                  <a:lnTo>
                    <a:pt x="62" y="1"/>
                  </a:lnTo>
                  <a:lnTo>
                    <a:pt x="54" y="4"/>
                  </a:lnTo>
                  <a:lnTo>
                    <a:pt x="48" y="6"/>
                  </a:lnTo>
                  <a:lnTo>
                    <a:pt x="41" y="9"/>
                  </a:lnTo>
                  <a:lnTo>
                    <a:pt x="35" y="13"/>
                  </a:lnTo>
                  <a:lnTo>
                    <a:pt x="28" y="17"/>
                  </a:lnTo>
                  <a:lnTo>
                    <a:pt x="23" y="23"/>
                  </a:lnTo>
                  <a:lnTo>
                    <a:pt x="18" y="28"/>
                  </a:lnTo>
                  <a:lnTo>
                    <a:pt x="13" y="34"/>
                  </a:lnTo>
                  <a:lnTo>
                    <a:pt x="10" y="40"/>
                  </a:lnTo>
                  <a:lnTo>
                    <a:pt x="7" y="48"/>
                  </a:lnTo>
                  <a:lnTo>
                    <a:pt x="4" y="54"/>
                  </a:lnTo>
                  <a:lnTo>
                    <a:pt x="1" y="62"/>
                  </a:lnTo>
                  <a:lnTo>
                    <a:pt x="0" y="70"/>
                  </a:lnTo>
                  <a:lnTo>
                    <a:pt x="0" y="78"/>
                  </a:lnTo>
                  <a:lnTo>
                    <a:pt x="0" y="85"/>
                  </a:lnTo>
                  <a:lnTo>
                    <a:pt x="1" y="93"/>
                  </a:lnTo>
                  <a:lnTo>
                    <a:pt x="4" y="100"/>
                  </a:lnTo>
                  <a:lnTo>
                    <a:pt x="7" y="108"/>
                  </a:lnTo>
                  <a:lnTo>
                    <a:pt x="10" y="114"/>
                  </a:lnTo>
                  <a:lnTo>
                    <a:pt x="13" y="121"/>
                  </a:lnTo>
                  <a:lnTo>
                    <a:pt x="18" y="126"/>
                  </a:lnTo>
                  <a:lnTo>
                    <a:pt x="23" y="131"/>
                  </a:lnTo>
                  <a:lnTo>
                    <a:pt x="28" y="137"/>
                  </a:lnTo>
                  <a:lnTo>
                    <a:pt x="35" y="141"/>
                  </a:lnTo>
                  <a:lnTo>
                    <a:pt x="41" y="145"/>
                  </a:lnTo>
                  <a:lnTo>
                    <a:pt x="48" y="148"/>
                  </a:lnTo>
                  <a:lnTo>
                    <a:pt x="54" y="151"/>
                  </a:lnTo>
                  <a:lnTo>
                    <a:pt x="62" y="153"/>
                  </a:lnTo>
                  <a:lnTo>
                    <a:pt x="69" y="154"/>
                  </a:lnTo>
                  <a:lnTo>
                    <a:pt x="78" y="154"/>
                  </a:lnTo>
                  <a:lnTo>
                    <a:pt x="85" y="154"/>
                  </a:lnTo>
                  <a:lnTo>
                    <a:pt x="93" y="153"/>
                  </a:lnTo>
                  <a:lnTo>
                    <a:pt x="100" y="151"/>
                  </a:lnTo>
                  <a:lnTo>
                    <a:pt x="108" y="148"/>
                  </a:lnTo>
                  <a:lnTo>
                    <a:pt x="114" y="145"/>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2"/>
                  </a:lnTo>
                  <a:lnTo>
                    <a:pt x="151" y="54"/>
                  </a:lnTo>
                  <a:lnTo>
                    <a:pt x="149" y="48"/>
                  </a:lnTo>
                  <a:lnTo>
                    <a:pt x="145" y="40"/>
                  </a:lnTo>
                  <a:lnTo>
                    <a:pt x="141" y="34"/>
                  </a:lnTo>
                  <a:lnTo>
                    <a:pt x="137" y="28"/>
                  </a:lnTo>
                  <a:lnTo>
                    <a:pt x="131" y="23"/>
                  </a:lnTo>
                  <a:lnTo>
                    <a:pt x="126" y="17"/>
                  </a:lnTo>
                  <a:lnTo>
                    <a:pt x="121" y="13"/>
                  </a:lnTo>
                  <a:lnTo>
                    <a:pt x="114" y="9"/>
                  </a:lnTo>
                  <a:lnTo>
                    <a:pt x="108" y="6"/>
                  </a:lnTo>
                  <a:lnTo>
                    <a:pt x="100" y="4"/>
                  </a:lnTo>
                  <a:lnTo>
                    <a:pt x="93" y="1"/>
                  </a:lnTo>
                  <a:lnTo>
                    <a:pt x="85"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59">
              <a:extLst>
                <a:ext uri="{FF2B5EF4-FFF2-40B4-BE49-F238E27FC236}">
                  <a16:creationId xmlns:a16="http://schemas.microsoft.com/office/drawing/2014/main" id="{7C518ED5-093A-43A2-9375-FEDF110E648F}"/>
                </a:ext>
              </a:extLst>
            </p:cNvPr>
            <p:cNvSpPr>
              <a:spLocks noEditPoints="1"/>
            </p:cNvSpPr>
            <p:nvPr/>
          </p:nvSpPr>
          <p:spPr bwMode="auto">
            <a:xfrm>
              <a:off x="946151" y="3371851"/>
              <a:ext cx="173038" cy="171450"/>
            </a:xfrm>
            <a:custGeom>
              <a:avLst/>
              <a:gdLst>
                <a:gd name="T0" fmla="*/ 362 w 435"/>
                <a:gd name="T1" fmla="*/ 176 h 434"/>
                <a:gd name="T2" fmla="*/ 364 w 435"/>
                <a:gd name="T3" fmla="*/ 229 h 434"/>
                <a:gd name="T4" fmla="*/ 365 w 435"/>
                <a:gd name="T5" fmla="*/ 256 h 434"/>
                <a:gd name="T6" fmla="*/ 334 w 435"/>
                <a:gd name="T7" fmla="*/ 319 h 434"/>
                <a:gd name="T8" fmla="*/ 319 w 435"/>
                <a:gd name="T9" fmla="*/ 321 h 434"/>
                <a:gd name="T10" fmla="*/ 264 w 435"/>
                <a:gd name="T11" fmla="*/ 354 h 434"/>
                <a:gd name="T12" fmla="*/ 256 w 435"/>
                <a:gd name="T13" fmla="*/ 365 h 434"/>
                <a:gd name="T14" fmla="*/ 185 w 435"/>
                <a:gd name="T15" fmla="*/ 362 h 434"/>
                <a:gd name="T16" fmla="*/ 166 w 435"/>
                <a:gd name="T17" fmla="*/ 350 h 434"/>
                <a:gd name="T18" fmla="*/ 132 w 435"/>
                <a:gd name="T19" fmla="*/ 332 h 434"/>
                <a:gd name="T20" fmla="*/ 108 w 435"/>
                <a:gd name="T21" fmla="*/ 318 h 434"/>
                <a:gd name="T22" fmla="*/ 67 w 435"/>
                <a:gd name="T23" fmla="*/ 259 h 434"/>
                <a:gd name="T24" fmla="*/ 73 w 435"/>
                <a:gd name="T25" fmla="*/ 245 h 434"/>
                <a:gd name="T26" fmla="*/ 73 w 435"/>
                <a:gd name="T27" fmla="*/ 180 h 434"/>
                <a:gd name="T28" fmla="*/ 67 w 435"/>
                <a:gd name="T29" fmla="*/ 166 h 434"/>
                <a:gd name="T30" fmla="*/ 108 w 435"/>
                <a:gd name="T31" fmla="*/ 106 h 434"/>
                <a:gd name="T32" fmla="*/ 132 w 435"/>
                <a:gd name="T33" fmla="*/ 92 h 434"/>
                <a:gd name="T34" fmla="*/ 166 w 435"/>
                <a:gd name="T35" fmla="*/ 74 h 434"/>
                <a:gd name="T36" fmla="*/ 185 w 435"/>
                <a:gd name="T37" fmla="*/ 63 h 434"/>
                <a:gd name="T38" fmla="*/ 256 w 435"/>
                <a:gd name="T39" fmla="*/ 60 h 434"/>
                <a:gd name="T40" fmla="*/ 264 w 435"/>
                <a:gd name="T41" fmla="*/ 71 h 434"/>
                <a:gd name="T42" fmla="*/ 319 w 435"/>
                <a:gd name="T43" fmla="*/ 103 h 434"/>
                <a:gd name="T44" fmla="*/ 334 w 435"/>
                <a:gd name="T45" fmla="*/ 105 h 434"/>
                <a:gd name="T46" fmla="*/ 435 w 435"/>
                <a:gd name="T47" fmla="*/ 153 h 434"/>
                <a:gd name="T48" fmla="*/ 383 w 435"/>
                <a:gd name="T49" fmla="*/ 58 h 434"/>
                <a:gd name="T50" fmla="*/ 375 w 435"/>
                <a:gd name="T51" fmla="*/ 54 h 434"/>
                <a:gd name="T52" fmla="*/ 328 w 435"/>
                <a:gd name="T53" fmla="*/ 78 h 434"/>
                <a:gd name="T54" fmla="*/ 282 w 435"/>
                <a:gd name="T55" fmla="*/ 51 h 434"/>
                <a:gd name="T56" fmla="*/ 275 w 435"/>
                <a:gd name="T57" fmla="*/ 1 h 434"/>
                <a:gd name="T58" fmla="*/ 164 w 435"/>
                <a:gd name="T59" fmla="*/ 4 h 434"/>
                <a:gd name="T60" fmla="*/ 151 w 435"/>
                <a:gd name="T61" fmla="*/ 52 h 434"/>
                <a:gd name="T62" fmla="*/ 119 w 435"/>
                <a:gd name="T63" fmla="*/ 70 h 434"/>
                <a:gd name="T64" fmla="*/ 58 w 435"/>
                <a:gd name="T65" fmla="*/ 54 h 434"/>
                <a:gd name="T66" fmla="*/ 0 w 435"/>
                <a:gd name="T67" fmla="*/ 148 h 434"/>
                <a:gd name="T68" fmla="*/ 4 w 435"/>
                <a:gd name="T69" fmla="*/ 159 h 434"/>
                <a:gd name="T70" fmla="*/ 44 w 435"/>
                <a:gd name="T71" fmla="*/ 213 h 434"/>
                <a:gd name="T72" fmla="*/ 2 w 435"/>
                <a:gd name="T73" fmla="*/ 267 h 434"/>
                <a:gd name="T74" fmla="*/ 49 w 435"/>
                <a:gd name="T75" fmla="*/ 365 h 434"/>
                <a:gd name="T76" fmla="*/ 66 w 435"/>
                <a:gd name="T77" fmla="*/ 369 h 434"/>
                <a:gd name="T78" fmla="*/ 137 w 435"/>
                <a:gd name="T79" fmla="*/ 366 h 434"/>
                <a:gd name="T80" fmla="*/ 160 w 435"/>
                <a:gd name="T81" fmla="*/ 421 h 434"/>
                <a:gd name="T82" fmla="*/ 173 w 435"/>
                <a:gd name="T83" fmla="*/ 434 h 434"/>
                <a:gd name="T84" fmla="*/ 281 w 435"/>
                <a:gd name="T85" fmla="*/ 426 h 434"/>
                <a:gd name="T86" fmla="*/ 308 w 435"/>
                <a:gd name="T87" fmla="*/ 360 h 434"/>
                <a:gd name="T88" fmla="*/ 369 w 435"/>
                <a:gd name="T89" fmla="*/ 371 h 434"/>
                <a:gd name="T90" fmla="*/ 380 w 435"/>
                <a:gd name="T91" fmla="*/ 371 h 434"/>
                <a:gd name="T92" fmla="*/ 434 w 435"/>
                <a:gd name="T93" fmla="*/ 281 h 434"/>
                <a:gd name="T94" fmla="*/ 428 w 435"/>
                <a:gd name="T95" fmla="*/ 263 h 434"/>
                <a:gd name="T96" fmla="*/ 390 w 435"/>
                <a:gd name="T97" fmla="*/ 199 h 434"/>
                <a:gd name="T98" fmla="*/ 433 w 435"/>
                <a:gd name="T99" fmla="*/ 15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5" h="434">
                  <a:moveTo>
                    <a:pt x="368" y="166"/>
                  </a:moveTo>
                  <a:lnTo>
                    <a:pt x="365" y="169"/>
                  </a:lnTo>
                  <a:lnTo>
                    <a:pt x="363" y="172"/>
                  </a:lnTo>
                  <a:lnTo>
                    <a:pt x="362" y="176"/>
                  </a:lnTo>
                  <a:lnTo>
                    <a:pt x="362" y="180"/>
                  </a:lnTo>
                  <a:lnTo>
                    <a:pt x="364" y="197"/>
                  </a:lnTo>
                  <a:lnTo>
                    <a:pt x="365" y="213"/>
                  </a:lnTo>
                  <a:lnTo>
                    <a:pt x="364" y="229"/>
                  </a:lnTo>
                  <a:lnTo>
                    <a:pt x="362" y="245"/>
                  </a:lnTo>
                  <a:lnTo>
                    <a:pt x="362" y="248"/>
                  </a:lnTo>
                  <a:lnTo>
                    <a:pt x="363" y="252"/>
                  </a:lnTo>
                  <a:lnTo>
                    <a:pt x="365" y="256"/>
                  </a:lnTo>
                  <a:lnTo>
                    <a:pt x="368" y="259"/>
                  </a:lnTo>
                  <a:lnTo>
                    <a:pt x="405" y="280"/>
                  </a:lnTo>
                  <a:lnTo>
                    <a:pt x="369" y="342"/>
                  </a:lnTo>
                  <a:lnTo>
                    <a:pt x="334" y="319"/>
                  </a:lnTo>
                  <a:lnTo>
                    <a:pt x="331" y="318"/>
                  </a:lnTo>
                  <a:lnTo>
                    <a:pt x="326" y="318"/>
                  </a:lnTo>
                  <a:lnTo>
                    <a:pt x="323" y="319"/>
                  </a:lnTo>
                  <a:lnTo>
                    <a:pt x="319" y="321"/>
                  </a:lnTo>
                  <a:lnTo>
                    <a:pt x="309" y="330"/>
                  </a:lnTo>
                  <a:lnTo>
                    <a:pt x="296" y="337"/>
                  </a:lnTo>
                  <a:lnTo>
                    <a:pt x="281" y="346"/>
                  </a:lnTo>
                  <a:lnTo>
                    <a:pt x="264" y="354"/>
                  </a:lnTo>
                  <a:lnTo>
                    <a:pt x="261" y="357"/>
                  </a:lnTo>
                  <a:lnTo>
                    <a:pt x="259" y="359"/>
                  </a:lnTo>
                  <a:lnTo>
                    <a:pt x="258" y="362"/>
                  </a:lnTo>
                  <a:lnTo>
                    <a:pt x="256" y="365"/>
                  </a:lnTo>
                  <a:lnTo>
                    <a:pt x="256" y="409"/>
                  </a:lnTo>
                  <a:lnTo>
                    <a:pt x="186" y="409"/>
                  </a:lnTo>
                  <a:lnTo>
                    <a:pt x="186" y="365"/>
                  </a:lnTo>
                  <a:lnTo>
                    <a:pt x="185" y="362"/>
                  </a:lnTo>
                  <a:lnTo>
                    <a:pt x="183" y="358"/>
                  </a:lnTo>
                  <a:lnTo>
                    <a:pt x="180" y="354"/>
                  </a:lnTo>
                  <a:lnTo>
                    <a:pt x="176" y="352"/>
                  </a:lnTo>
                  <a:lnTo>
                    <a:pt x="166" y="350"/>
                  </a:lnTo>
                  <a:lnTo>
                    <a:pt x="158" y="347"/>
                  </a:lnTo>
                  <a:lnTo>
                    <a:pt x="150" y="344"/>
                  </a:lnTo>
                  <a:lnTo>
                    <a:pt x="144" y="340"/>
                  </a:lnTo>
                  <a:lnTo>
                    <a:pt x="132" y="332"/>
                  </a:lnTo>
                  <a:lnTo>
                    <a:pt x="119" y="321"/>
                  </a:lnTo>
                  <a:lnTo>
                    <a:pt x="116" y="319"/>
                  </a:lnTo>
                  <a:lnTo>
                    <a:pt x="113" y="318"/>
                  </a:lnTo>
                  <a:lnTo>
                    <a:pt x="108" y="318"/>
                  </a:lnTo>
                  <a:lnTo>
                    <a:pt x="105" y="319"/>
                  </a:lnTo>
                  <a:lnTo>
                    <a:pt x="65" y="342"/>
                  </a:lnTo>
                  <a:lnTo>
                    <a:pt x="30" y="280"/>
                  </a:lnTo>
                  <a:lnTo>
                    <a:pt x="67" y="259"/>
                  </a:lnTo>
                  <a:lnTo>
                    <a:pt x="71" y="256"/>
                  </a:lnTo>
                  <a:lnTo>
                    <a:pt x="73" y="252"/>
                  </a:lnTo>
                  <a:lnTo>
                    <a:pt x="74" y="248"/>
                  </a:lnTo>
                  <a:lnTo>
                    <a:pt x="73" y="245"/>
                  </a:lnTo>
                  <a:lnTo>
                    <a:pt x="71" y="229"/>
                  </a:lnTo>
                  <a:lnTo>
                    <a:pt x="70" y="213"/>
                  </a:lnTo>
                  <a:lnTo>
                    <a:pt x="71" y="197"/>
                  </a:lnTo>
                  <a:lnTo>
                    <a:pt x="73" y="180"/>
                  </a:lnTo>
                  <a:lnTo>
                    <a:pt x="74" y="176"/>
                  </a:lnTo>
                  <a:lnTo>
                    <a:pt x="73" y="172"/>
                  </a:lnTo>
                  <a:lnTo>
                    <a:pt x="71" y="169"/>
                  </a:lnTo>
                  <a:lnTo>
                    <a:pt x="67" y="166"/>
                  </a:lnTo>
                  <a:lnTo>
                    <a:pt x="30" y="145"/>
                  </a:lnTo>
                  <a:lnTo>
                    <a:pt x="66" y="84"/>
                  </a:lnTo>
                  <a:lnTo>
                    <a:pt x="105" y="105"/>
                  </a:lnTo>
                  <a:lnTo>
                    <a:pt x="108" y="106"/>
                  </a:lnTo>
                  <a:lnTo>
                    <a:pt x="113" y="106"/>
                  </a:lnTo>
                  <a:lnTo>
                    <a:pt x="117" y="105"/>
                  </a:lnTo>
                  <a:lnTo>
                    <a:pt x="120" y="103"/>
                  </a:lnTo>
                  <a:lnTo>
                    <a:pt x="132" y="92"/>
                  </a:lnTo>
                  <a:lnTo>
                    <a:pt x="144" y="84"/>
                  </a:lnTo>
                  <a:lnTo>
                    <a:pt x="150" y="80"/>
                  </a:lnTo>
                  <a:lnTo>
                    <a:pt x="158" y="76"/>
                  </a:lnTo>
                  <a:lnTo>
                    <a:pt x="166" y="74"/>
                  </a:lnTo>
                  <a:lnTo>
                    <a:pt x="176" y="71"/>
                  </a:lnTo>
                  <a:lnTo>
                    <a:pt x="180" y="70"/>
                  </a:lnTo>
                  <a:lnTo>
                    <a:pt x="183" y="67"/>
                  </a:lnTo>
                  <a:lnTo>
                    <a:pt x="185" y="63"/>
                  </a:lnTo>
                  <a:lnTo>
                    <a:pt x="186" y="60"/>
                  </a:lnTo>
                  <a:lnTo>
                    <a:pt x="186" y="26"/>
                  </a:lnTo>
                  <a:lnTo>
                    <a:pt x="256" y="26"/>
                  </a:lnTo>
                  <a:lnTo>
                    <a:pt x="256" y="60"/>
                  </a:lnTo>
                  <a:lnTo>
                    <a:pt x="258" y="63"/>
                  </a:lnTo>
                  <a:lnTo>
                    <a:pt x="259" y="67"/>
                  </a:lnTo>
                  <a:lnTo>
                    <a:pt x="261" y="69"/>
                  </a:lnTo>
                  <a:lnTo>
                    <a:pt x="264" y="71"/>
                  </a:lnTo>
                  <a:lnTo>
                    <a:pt x="281" y="80"/>
                  </a:lnTo>
                  <a:lnTo>
                    <a:pt x="296" y="87"/>
                  </a:lnTo>
                  <a:lnTo>
                    <a:pt x="309" y="96"/>
                  </a:lnTo>
                  <a:lnTo>
                    <a:pt x="319" y="103"/>
                  </a:lnTo>
                  <a:lnTo>
                    <a:pt x="322" y="105"/>
                  </a:lnTo>
                  <a:lnTo>
                    <a:pt x="326" y="106"/>
                  </a:lnTo>
                  <a:lnTo>
                    <a:pt x="331" y="106"/>
                  </a:lnTo>
                  <a:lnTo>
                    <a:pt x="334" y="105"/>
                  </a:lnTo>
                  <a:lnTo>
                    <a:pt x="369" y="84"/>
                  </a:lnTo>
                  <a:lnTo>
                    <a:pt x="405" y="145"/>
                  </a:lnTo>
                  <a:lnTo>
                    <a:pt x="368" y="166"/>
                  </a:lnTo>
                  <a:close/>
                  <a:moveTo>
                    <a:pt x="435" y="153"/>
                  </a:moveTo>
                  <a:lnTo>
                    <a:pt x="435" y="148"/>
                  </a:lnTo>
                  <a:lnTo>
                    <a:pt x="434" y="144"/>
                  </a:lnTo>
                  <a:lnTo>
                    <a:pt x="385" y="60"/>
                  </a:lnTo>
                  <a:lnTo>
                    <a:pt x="383" y="58"/>
                  </a:lnTo>
                  <a:lnTo>
                    <a:pt x="382" y="56"/>
                  </a:lnTo>
                  <a:lnTo>
                    <a:pt x="380" y="55"/>
                  </a:lnTo>
                  <a:lnTo>
                    <a:pt x="377" y="55"/>
                  </a:lnTo>
                  <a:lnTo>
                    <a:pt x="375" y="54"/>
                  </a:lnTo>
                  <a:lnTo>
                    <a:pt x="372" y="54"/>
                  </a:lnTo>
                  <a:lnTo>
                    <a:pt x="370" y="55"/>
                  </a:lnTo>
                  <a:lnTo>
                    <a:pt x="367" y="56"/>
                  </a:lnTo>
                  <a:lnTo>
                    <a:pt x="328" y="78"/>
                  </a:lnTo>
                  <a:lnTo>
                    <a:pt x="320" y="71"/>
                  </a:lnTo>
                  <a:lnTo>
                    <a:pt x="308" y="64"/>
                  </a:lnTo>
                  <a:lnTo>
                    <a:pt x="296" y="58"/>
                  </a:lnTo>
                  <a:lnTo>
                    <a:pt x="282" y="51"/>
                  </a:lnTo>
                  <a:lnTo>
                    <a:pt x="282" y="13"/>
                  </a:lnTo>
                  <a:lnTo>
                    <a:pt x="281" y="8"/>
                  </a:lnTo>
                  <a:lnTo>
                    <a:pt x="278" y="4"/>
                  </a:lnTo>
                  <a:lnTo>
                    <a:pt x="275" y="1"/>
                  </a:lnTo>
                  <a:lnTo>
                    <a:pt x="269" y="0"/>
                  </a:lnTo>
                  <a:lnTo>
                    <a:pt x="173" y="0"/>
                  </a:lnTo>
                  <a:lnTo>
                    <a:pt x="168" y="1"/>
                  </a:lnTo>
                  <a:lnTo>
                    <a:pt x="164" y="4"/>
                  </a:lnTo>
                  <a:lnTo>
                    <a:pt x="161" y="8"/>
                  </a:lnTo>
                  <a:lnTo>
                    <a:pt x="160" y="13"/>
                  </a:lnTo>
                  <a:lnTo>
                    <a:pt x="160" y="49"/>
                  </a:lnTo>
                  <a:lnTo>
                    <a:pt x="151" y="52"/>
                  </a:lnTo>
                  <a:lnTo>
                    <a:pt x="144" y="55"/>
                  </a:lnTo>
                  <a:lnTo>
                    <a:pt x="137" y="58"/>
                  </a:lnTo>
                  <a:lnTo>
                    <a:pt x="131" y="62"/>
                  </a:lnTo>
                  <a:lnTo>
                    <a:pt x="119" y="70"/>
                  </a:lnTo>
                  <a:lnTo>
                    <a:pt x="109" y="78"/>
                  </a:lnTo>
                  <a:lnTo>
                    <a:pt x="67" y="55"/>
                  </a:lnTo>
                  <a:lnTo>
                    <a:pt x="63" y="54"/>
                  </a:lnTo>
                  <a:lnTo>
                    <a:pt x="58" y="54"/>
                  </a:lnTo>
                  <a:lnTo>
                    <a:pt x="54" y="56"/>
                  </a:lnTo>
                  <a:lnTo>
                    <a:pt x="50" y="60"/>
                  </a:lnTo>
                  <a:lnTo>
                    <a:pt x="2" y="144"/>
                  </a:lnTo>
                  <a:lnTo>
                    <a:pt x="0" y="148"/>
                  </a:lnTo>
                  <a:lnTo>
                    <a:pt x="1" y="153"/>
                  </a:lnTo>
                  <a:lnTo>
                    <a:pt x="2" y="156"/>
                  </a:lnTo>
                  <a:lnTo>
                    <a:pt x="3" y="158"/>
                  </a:lnTo>
                  <a:lnTo>
                    <a:pt x="4" y="159"/>
                  </a:lnTo>
                  <a:lnTo>
                    <a:pt x="6" y="160"/>
                  </a:lnTo>
                  <a:lnTo>
                    <a:pt x="47" y="185"/>
                  </a:lnTo>
                  <a:lnTo>
                    <a:pt x="45" y="199"/>
                  </a:lnTo>
                  <a:lnTo>
                    <a:pt x="44" y="213"/>
                  </a:lnTo>
                  <a:lnTo>
                    <a:pt x="45" y="227"/>
                  </a:lnTo>
                  <a:lnTo>
                    <a:pt x="47" y="241"/>
                  </a:lnTo>
                  <a:lnTo>
                    <a:pt x="6" y="263"/>
                  </a:lnTo>
                  <a:lnTo>
                    <a:pt x="2" y="267"/>
                  </a:lnTo>
                  <a:lnTo>
                    <a:pt x="0" y="273"/>
                  </a:lnTo>
                  <a:lnTo>
                    <a:pt x="0" y="277"/>
                  </a:lnTo>
                  <a:lnTo>
                    <a:pt x="2" y="281"/>
                  </a:lnTo>
                  <a:lnTo>
                    <a:pt x="49" y="365"/>
                  </a:lnTo>
                  <a:lnTo>
                    <a:pt x="52" y="368"/>
                  </a:lnTo>
                  <a:lnTo>
                    <a:pt x="57" y="371"/>
                  </a:lnTo>
                  <a:lnTo>
                    <a:pt x="62" y="371"/>
                  </a:lnTo>
                  <a:lnTo>
                    <a:pt x="66" y="369"/>
                  </a:lnTo>
                  <a:lnTo>
                    <a:pt x="109" y="346"/>
                  </a:lnTo>
                  <a:lnTo>
                    <a:pt x="119" y="354"/>
                  </a:lnTo>
                  <a:lnTo>
                    <a:pt x="131" y="363"/>
                  </a:lnTo>
                  <a:lnTo>
                    <a:pt x="137" y="366"/>
                  </a:lnTo>
                  <a:lnTo>
                    <a:pt x="144" y="369"/>
                  </a:lnTo>
                  <a:lnTo>
                    <a:pt x="151" y="373"/>
                  </a:lnTo>
                  <a:lnTo>
                    <a:pt x="160" y="376"/>
                  </a:lnTo>
                  <a:lnTo>
                    <a:pt x="160" y="421"/>
                  </a:lnTo>
                  <a:lnTo>
                    <a:pt x="161" y="426"/>
                  </a:lnTo>
                  <a:lnTo>
                    <a:pt x="164" y="431"/>
                  </a:lnTo>
                  <a:lnTo>
                    <a:pt x="168" y="433"/>
                  </a:lnTo>
                  <a:lnTo>
                    <a:pt x="173" y="434"/>
                  </a:lnTo>
                  <a:lnTo>
                    <a:pt x="269" y="434"/>
                  </a:lnTo>
                  <a:lnTo>
                    <a:pt x="275" y="433"/>
                  </a:lnTo>
                  <a:lnTo>
                    <a:pt x="278" y="431"/>
                  </a:lnTo>
                  <a:lnTo>
                    <a:pt x="281" y="426"/>
                  </a:lnTo>
                  <a:lnTo>
                    <a:pt x="282" y="421"/>
                  </a:lnTo>
                  <a:lnTo>
                    <a:pt x="282" y="374"/>
                  </a:lnTo>
                  <a:lnTo>
                    <a:pt x="296" y="367"/>
                  </a:lnTo>
                  <a:lnTo>
                    <a:pt x="308" y="360"/>
                  </a:lnTo>
                  <a:lnTo>
                    <a:pt x="320" y="353"/>
                  </a:lnTo>
                  <a:lnTo>
                    <a:pt x="329" y="346"/>
                  </a:lnTo>
                  <a:lnTo>
                    <a:pt x="367" y="369"/>
                  </a:lnTo>
                  <a:lnTo>
                    <a:pt x="369" y="371"/>
                  </a:lnTo>
                  <a:lnTo>
                    <a:pt x="372" y="372"/>
                  </a:lnTo>
                  <a:lnTo>
                    <a:pt x="375" y="372"/>
                  </a:lnTo>
                  <a:lnTo>
                    <a:pt x="377" y="371"/>
                  </a:lnTo>
                  <a:lnTo>
                    <a:pt x="380" y="371"/>
                  </a:lnTo>
                  <a:lnTo>
                    <a:pt x="382" y="368"/>
                  </a:lnTo>
                  <a:lnTo>
                    <a:pt x="383" y="367"/>
                  </a:lnTo>
                  <a:lnTo>
                    <a:pt x="385" y="365"/>
                  </a:lnTo>
                  <a:lnTo>
                    <a:pt x="434" y="281"/>
                  </a:lnTo>
                  <a:lnTo>
                    <a:pt x="435" y="277"/>
                  </a:lnTo>
                  <a:lnTo>
                    <a:pt x="435" y="273"/>
                  </a:lnTo>
                  <a:lnTo>
                    <a:pt x="433" y="267"/>
                  </a:lnTo>
                  <a:lnTo>
                    <a:pt x="428" y="263"/>
                  </a:lnTo>
                  <a:lnTo>
                    <a:pt x="389" y="241"/>
                  </a:lnTo>
                  <a:lnTo>
                    <a:pt x="390" y="227"/>
                  </a:lnTo>
                  <a:lnTo>
                    <a:pt x="391" y="213"/>
                  </a:lnTo>
                  <a:lnTo>
                    <a:pt x="390" y="199"/>
                  </a:lnTo>
                  <a:lnTo>
                    <a:pt x="389" y="185"/>
                  </a:lnTo>
                  <a:lnTo>
                    <a:pt x="428" y="160"/>
                  </a:lnTo>
                  <a:lnTo>
                    <a:pt x="430" y="159"/>
                  </a:lnTo>
                  <a:lnTo>
                    <a:pt x="433" y="158"/>
                  </a:lnTo>
                  <a:lnTo>
                    <a:pt x="434" y="156"/>
                  </a:lnTo>
                  <a:lnTo>
                    <a:pt x="435"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60">
              <a:extLst>
                <a:ext uri="{FF2B5EF4-FFF2-40B4-BE49-F238E27FC236}">
                  <a16:creationId xmlns:a16="http://schemas.microsoft.com/office/drawing/2014/main" id="{A4AB7181-9456-4DCD-AE51-620FA34EE390}"/>
                </a:ext>
              </a:extLst>
            </p:cNvPr>
            <p:cNvSpPr>
              <a:spLocks noEditPoints="1"/>
            </p:cNvSpPr>
            <p:nvPr/>
          </p:nvSpPr>
          <p:spPr bwMode="auto">
            <a:xfrm>
              <a:off x="1001713" y="3424238"/>
              <a:ext cx="61913" cy="61913"/>
            </a:xfrm>
            <a:custGeom>
              <a:avLst/>
              <a:gdLst>
                <a:gd name="T0" fmla="*/ 67 w 154"/>
                <a:gd name="T1" fmla="*/ 127 h 154"/>
                <a:gd name="T2" fmla="*/ 49 w 154"/>
                <a:gd name="T3" fmla="*/ 120 h 154"/>
                <a:gd name="T4" fmla="*/ 35 w 154"/>
                <a:gd name="T5" fmla="*/ 106 h 154"/>
                <a:gd name="T6" fmla="*/ 27 w 154"/>
                <a:gd name="T7" fmla="*/ 87 h 154"/>
                <a:gd name="T8" fmla="*/ 27 w 154"/>
                <a:gd name="T9" fmla="*/ 67 h 154"/>
                <a:gd name="T10" fmla="*/ 35 w 154"/>
                <a:gd name="T11" fmla="*/ 49 h 154"/>
                <a:gd name="T12" fmla="*/ 49 w 154"/>
                <a:gd name="T13" fmla="*/ 35 h 154"/>
                <a:gd name="T14" fmla="*/ 67 w 154"/>
                <a:gd name="T15" fmla="*/ 26 h 154"/>
                <a:gd name="T16" fmla="*/ 87 w 154"/>
                <a:gd name="T17" fmla="*/ 26 h 154"/>
                <a:gd name="T18" fmla="*/ 106 w 154"/>
                <a:gd name="T19" fmla="*/ 35 h 154"/>
                <a:gd name="T20" fmla="*/ 120 w 154"/>
                <a:gd name="T21" fmla="*/ 49 h 154"/>
                <a:gd name="T22" fmla="*/ 128 w 154"/>
                <a:gd name="T23" fmla="*/ 67 h 154"/>
                <a:gd name="T24" fmla="*/ 128 w 154"/>
                <a:gd name="T25" fmla="*/ 87 h 154"/>
                <a:gd name="T26" fmla="*/ 120 w 154"/>
                <a:gd name="T27" fmla="*/ 106 h 154"/>
                <a:gd name="T28" fmla="*/ 106 w 154"/>
                <a:gd name="T29" fmla="*/ 120 h 154"/>
                <a:gd name="T30" fmla="*/ 87 w 154"/>
                <a:gd name="T31" fmla="*/ 127 h 154"/>
                <a:gd name="T32" fmla="*/ 78 w 154"/>
                <a:gd name="T33" fmla="*/ 0 h 154"/>
                <a:gd name="T34" fmla="*/ 62 w 154"/>
                <a:gd name="T35" fmla="*/ 1 h 154"/>
                <a:gd name="T36" fmla="*/ 48 w 154"/>
                <a:gd name="T37" fmla="*/ 6 h 154"/>
                <a:gd name="T38" fmla="*/ 35 w 154"/>
                <a:gd name="T39" fmla="*/ 13 h 154"/>
                <a:gd name="T40" fmla="*/ 23 w 154"/>
                <a:gd name="T41" fmla="*/ 23 h 154"/>
                <a:gd name="T42" fmla="*/ 13 w 154"/>
                <a:gd name="T43" fmla="*/ 35 h 154"/>
                <a:gd name="T44" fmla="*/ 7 w 154"/>
                <a:gd name="T45" fmla="*/ 48 h 154"/>
                <a:gd name="T46" fmla="*/ 2 w 154"/>
                <a:gd name="T47" fmla="*/ 63 h 154"/>
                <a:gd name="T48" fmla="*/ 0 w 154"/>
                <a:gd name="T49" fmla="*/ 78 h 154"/>
                <a:gd name="T50" fmla="*/ 2 w 154"/>
                <a:gd name="T51" fmla="*/ 93 h 154"/>
                <a:gd name="T52" fmla="*/ 7 w 154"/>
                <a:gd name="T53" fmla="*/ 108 h 154"/>
                <a:gd name="T54" fmla="*/ 13 w 154"/>
                <a:gd name="T55" fmla="*/ 121 h 154"/>
                <a:gd name="T56" fmla="*/ 23 w 154"/>
                <a:gd name="T57" fmla="*/ 131 h 154"/>
                <a:gd name="T58" fmla="*/ 35 w 154"/>
                <a:gd name="T59" fmla="*/ 141 h 154"/>
                <a:gd name="T60" fmla="*/ 48 w 154"/>
                <a:gd name="T61" fmla="*/ 147 h 154"/>
                <a:gd name="T62" fmla="*/ 62 w 154"/>
                <a:gd name="T63" fmla="*/ 153 h 154"/>
                <a:gd name="T64" fmla="*/ 78 w 154"/>
                <a:gd name="T65" fmla="*/ 154 h 154"/>
                <a:gd name="T66" fmla="*/ 93 w 154"/>
                <a:gd name="T67" fmla="*/ 153 h 154"/>
                <a:gd name="T68" fmla="*/ 107 w 154"/>
                <a:gd name="T69" fmla="*/ 147 h 154"/>
                <a:gd name="T70" fmla="*/ 121 w 154"/>
                <a:gd name="T71" fmla="*/ 141 h 154"/>
                <a:gd name="T72" fmla="*/ 131 w 154"/>
                <a:gd name="T73" fmla="*/ 131 h 154"/>
                <a:gd name="T74" fmla="*/ 141 w 154"/>
                <a:gd name="T75" fmla="*/ 121 h 154"/>
                <a:gd name="T76" fmla="*/ 149 w 154"/>
                <a:gd name="T77" fmla="*/ 108 h 154"/>
                <a:gd name="T78" fmla="*/ 153 w 154"/>
                <a:gd name="T79" fmla="*/ 93 h 154"/>
                <a:gd name="T80" fmla="*/ 154 w 154"/>
                <a:gd name="T81" fmla="*/ 78 h 154"/>
                <a:gd name="T82" fmla="*/ 153 w 154"/>
                <a:gd name="T83" fmla="*/ 63 h 154"/>
                <a:gd name="T84" fmla="*/ 149 w 154"/>
                <a:gd name="T85" fmla="*/ 48 h 154"/>
                <a:gd name="T86" fmla="*/ 141 w 154"/>
                <a:gd name="T87" fmla="*/ 35 h 154"/>
                <a:gd name="T88" fmla="*/ 131 w 154"/>
                <a:gd name="T89" fmla="*/ 23 h 154"/>
                <a:gd name="T90" fmla="*/ 121 w 154"/>
                <a:gd name="T91" fmla="*/ 13 h 154"/>
                <a:gd name="T92" fmla="*/ 107 w 154"/>
                <a:gd name="T93" fmla="*/ 6 h 154"/>
                <a:gd name="T94" fmla="*/ 93 w 154"/>
                <a:gd name="T95" fmla="*/ 1 h 154"/>
                <a:gd name="T96" fmla="*/ 78 w 154"/>
                <a:gd name="T9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54">
                  <a:moveTo>
                    <a:pt x="78" y="128"/>
                  </a:moveTo>
                  <a:lnTo>
                    <a:pt x="67" y="127"/>
                  </a:lnTo>
                  <a:lnTo>
                    <a:pt x="57" y="125"/>
                  </a:lnTo>
                  <a:lnTo>
                    <a:pt x="49" y="120"/>
                  </a:lnTo>
                  <a:lnTo>
                    <a:pt x="41" y="113"/>
                  </a:lnTo>
                  <a:lnTo>
                    <a:pt x="35" y="106"/>
                  </a:lnTo>
                  <a:lnTo>
                    <a:pt x="29" y="97"/>
                  </a:lnTo>
                  <a:lnTo>
                    <a:pt x="27" y="87"/>
                  </a:lnTo>
                  <a:lnTo>
                    <a:pt x="26" y="78"/>
                  </a:lnTo>
                  <a:lnTo>
                    <a:pt x="27" y="67"/>
                  </a:lnTo>
                  <a:lnTo>
                    <a:pt x="29" y="57"/>
                  </a:lnTo>
                  <a:lnTo>
                    <a:pt x="35" y="49"/>
                  </a:lnTo>
                  <a:lnTo>
                    <a:pt x="41" y="41"/>
                  </a:lnTo>
                  <a:lnTo>
                    <a:pt x="49" y="35"/>
                  </a:lnTo>
                  <a:lnTo>
                    <a:pt x="57" y="29"/>
                  </a:lnTo>
                  <a:lnTo>
                    <a:pt x="67" y="26"/>
                  </a:lnTo>
                  <a:lnTo>
                    <a:pt x="78" y="25"/>
                  </a:lnTo>
                  <a:lnTo>
                    <a:pt x="87" y="26"/>
                  </a:lnTo>
                  <a:lnTo>
                    <a:pt x="97" y="29"/>
                  </a:lnTo>
                  <a:lnTo>
                    <a:pt x="106" y="35"/>
                  </a:lnTo>
                  <a:lnTo>
                    <a:pt x="113" y="41"/>
                  </a:lnTo>
                  <a:lnTo>
                    <a:pt x="120" y="49"/>
                  </a:lnTo>
                  <a:lnTo>
                    <a:pt x="125" y="57"/>
                  </a:lnTo>
                  <a:lnTo>
                    <a:pt x="128" y="67"/>
                  </a:lnTo>
                  <a:lnTo>
                    <a:pt x="129" y="78"/>
                  </a:lnTo>
                  <a:lnTo>
                    <a:pt x="128" y="87"/>
                  </a:lnTo>
                  <a:lnTo>
                    <a:pt x="125" y="97"/>
                  </a:lnTo>
                  <a:lnTo>
                    <a:pt x="120" y="106"/>
                  </a:lnTo>
                  <a:lnTo>
                    <a:pt x="113" y="113"/>
                  </a:lnTo>
                  <a:lnTo>
                    <a:pt x="106" y="120"/>
                  </a:lnTo>
                  <a:lnTo>
                    <a:pt x="97" y="125"/>
                  </a:lnTo>
                  <a:lnTo>
                    <a:pt x="87" y="127"/>
                  </a:lnTo>
                  <a:lnTo>
                    <a:pt x="78" y="128"/>
                  </a:lnTo>
                  <a:close/>
                  <a:moveTo>
                    <a:pt x="78" y="0"/>
                  </a:moveTo>
                  <a:lnTo>
                    <a:pt x="69" y="0"/>
                  </a:lnTo>
                  <a:lnTo>
                    <a:pt x="62" y="1"/>
                  </a:lnTo>
                  <a:lnTo>
                    <a:pt x="54" y="4"/>
                  </a:lnTo>
                  <a:lnTo>
                    <a:pt x="48" y="6"/>
                  </a:lnTo>
                  <a:lnTo>
                    <a:pt x="40" y="9"/>
                  </a:lnTo>
                  <a:lnTo>
                    <a:pt x="35" y="13"/>
                  </a:lnTo>
                  <a:lnTo>
                    <a:pt x="28" y="18"/>
                  </a:lnTo>
                  <a:lnTo>
                    <a:pt x="23" y="23"/>
                  </a:lnTo>
                  <a:lnTo>
                    <a:pt x="18" y="28"/>
                  </a:lnTo>
                  <a:lnTo>
                    <a:pt x="13" y="35"/>
                  </a:lnTo>
                  <a:lnTo>
                    <a:pt x="10" y="41"/>
                  </a:lnTo>
                  <a:lnTo>
                    <a:pt x="7" y="48"/>
                  </a:lnTo>
                  <a:lnTo>
                    <a:pt x="4" y="55"/>
                  </a:lnTo>
                  <a:lnTo>
                    <a:pt x="2" y="63"/>
                  </a:lnTo>
                  <a:lnTo>
                    <a:pt x="0" y="70"/>
                  </a:lnTo>
                  <a:lnTo>
                    <a:pt x="0" y="78"/>
                  </a:lnTo>
                  <a:lnTo>
                    <a:pt x="0" y="85"/>
                  </a:lnTo>
                  <a:lnTo>
                    <a:pt x="2" y="93"/>
                  </a:lnTo>
                  <a:lnTo>
                    <a:pt x="4" y="100"/>
                  </a:lnTo>
                  <a:lnTo>
                    <a:pt x="7" y="108"/>
                  </a:lnTo>
                  <a:lnTo>
                    <a:pt x="10" y="114"/>
                  </a:lnTo>
                  <a:lnTo>
                    <a:pt x="13" y="121"/>
                  </a:lnTo>
                  <a:lnTo>
                    <a:pt x="18" y="126"/>
                  </a:lnTo>
                  <a:lnTo>
                    <a:pt x="23" y="131"/>
                  </a:lnTo>
                  <a:lnTo>
                    <a:pt x="28" y="137"/>
                  </a:lnTo>
                  <a:lnTo>
                    <a:pt x="35" y="141"/>
                  </a:lnTo>
                  <a:lnTo>
                    <a:pt x="40" y="144"/>
                  </a:lnTo>
                  <a:lnTo>
                    <a:pt x="48" y="147"/>
                  </a:lnTo>
                  <a:lnTo>
                    <a:pt x="54" y="151"/>
                  </a:lnTo>
                  <a:lnTo>
                    <a:pt x="62" y="153"/>
                  </a:lnTo>
                  <a:lnTo>
                    <a:pt x="69" y="154"/>
                  </a:lnTo>
                  <a:lnTo>
                    <a:pt x="78" y="154"/>
                  </a:lnTo>
                  <a:lnTo>
                    <a:pt x="85" y="154"/>
                  </a:lnTo>
                  <a:lnTo>
                    <a:pt x="93" y="153"/>
                  </a:lnTo>
                  <a:lnTo>
                    <a:pt x="100" y="151"/>
                  </a:lnTo>
                  <a:lnTo>
                    <a:pt x="107" y="147"/>
                  </a:lnTo>
                  <a:lnTo>
                    <a:pt x="114" y="144"/>
                  </a:lnTo>
                  <a:lnTo>
                    <a:pt x="121" y="141"/>
                  </a:lnTo>
                  <a:lnTo>
                    <a:pt x="126" y="137"/>
                  </a:lnTo>
                  <a:lnTo>
                    <a:pt x="131" y="131"/>
                  </a:lnTo>
                  <a:lnTo>
                    <a:pt x="137" y="126"/>
                  </a:lnTo>
                  <a:lnTo>
                    <a:pt x="141" y="121"/>
                  </a:lnTo>
                  <a:lnTo>
                    <a:pt x="145" y="114"/>
                  </a:lnTo>
                  <a:lnTo>
                    <a:pt x="149" y="108"/>
                  </a:lnTo>
                  <a:lnTo>
                    <a:pt x="151" y="100"/>
                  </a:lnTo>
                  <a:lnTo>
                    <a:pt x="153" y="93"/>
                  </a:lnTo>
                  <a:lnTo>
                    <a:pt x="154" y="85"/>
                  </a:lnTo>
                  <a:lnTo>
                    <a:pt x="154" y="78"/>
                  </a:lnTo>
                  <a:lnTo>
                    <a:pt x="154" y="70"/>
                  </a:lnTo>
                  <a:lnTo>
                    <a:pt x="153" y="63"/>
                  </a:lnTo>
                  <a:lnTo>
                    <a:pt x="151" y="55"/>
                  </a:lnTo>
                  <a:lnTo>
                    <a:pt x="149" y="48"/>
                  </a:lnTo>
                  <a:lnTo>
                    <a:pt x="145" y="41"/>
                  </a:lnTo>
                  <a:lnTo>
                    <a:pt x="141" y="35"/>
                  </a:lnTo>
                  <a:lnTo>
                    <a:pt x="137" y="28"/>
                  </a:lnTo>
                  <a:lnTo>
                    <a:pt x="131" y="23"/>
                  </a:lnTo>
                  <a:lnTo>
                    <a:pt x="126" y="18"/>
                  </a:lnTo>
                  <a:lnTo>
                    <a:pt x="121" y="13"/>
                  </a:lnTo>
                  <a:lnTo>
                    <a:pt x="114" y="9"/>
                  </a:lnTo>
                  <a:lnTo>
                    <a:pt x="107" y="6"/>
                  </a:lnTo>
                  <a:lnTo>
                    <a:pt x="100" y="4"/>
                  </a:lnTo>
                  <a:lnTo>
                    <a:pt x="93" y="1"/>
                  </a:lnTo>
                  <a:lnTo>
                    <a:pt x="85"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40" name="Freeform 23">
            <a:extLst>
              <a:ext uri="{FF2B5EF4-FFF2-40B4-BE49-F238E27FC236}">
                <a16:creationId xmlns:a16="http://schemas.microsoft.com/office/drawing/2014/main" id="{4F45E483-501A-45DD-92E1-901B6CC7B371}"/>
              </a:ext>
            </a:extLst>
          </p:cNvPr>
          <p:cNvSpPr>
            <a:spLocks noChangeAspect="1" noEditPoints="1"/>
          </p:cNvSpPr>
          <p:nvPr/>
        </p:nvSpPr>
        <p:spPr bwMode="auto">
          <a:xfrm>
            <a:off x="3651168" y="5418423"/>
            <a:ext cx="304790" cy="304790"/>
          </a:xfrm>
          <a:custGeom>
            <a:avLst/>
            <a:gdLst>
              <a:gd name="T0" fmla="*/ 586 w 760"/>
              <a:gd name="T1" fmla="*/ 675 h 759"/>
              <a:gd name="T2" fmla="*/ 574 w 760"/>
              <a:gd name="T3" fmla="*/ 724 h 759"/>
              <a:gd name="T4" fmla="*/ 507 w 760"/>
              <a:gd name="T5" fmla="*/ 649 h 759"/>
              <a:gd name="T6" fmla="*/ 513 w 760"/>
              <a:gd name="T7" fmla="*/ 569 h 759"/>
              <a:gd name="T8" fmla="*/ 574 w 760"/>
              <a:gd name="T9" fmla="*/ 511 h 759"/>
              <a:gd name="T10" fmla="*/ 657 w 760"/>
              <a:gd name="T11" fmla="*/ 509 h 759"/>
              <a:gd name="T12" fmla="*/ 730 w 760"/>
              <a:gd name="T13" fmla="*/ 587 h 759"/>
              <a:gd name="T14" fmla="*/ 258 w 760"/>
              <a:gd name="T15" fmla="*/ 616 h 759"/>
              <a:gd name="T16" fmla="*/ 231 w 760"/>
              <a:gd name="T17" fmla="*/ 694 h 759"/>
              <a:gd name="T18" fmla="*/ 132 w 760"/>
              <a:gd name="T19" fmla="*/ 734 h 759"/>
              <a:gd name="T20" fmla="*/ 171 w 760"/>
              <a:gd name="T21" fmla="*/ 587 h 759"/>
              <a:gd name="T22" fmla="*/ 36 w 760"/>
              <a:gd name="T23" fmla="*/ 573 h 759"/>
              <a:gd name="T24" fmla="*/ 130 w 760"/>
              <a:gd name="T25" fmla="*/ 503 h 759"/>
              <a:gd name="T26" fmla="*/ 509 w 760"/>
              <a:gd name="T27" fmla="*/ 201 h 759"/>
              <a:gd name="T28" fmla="*/ 503 w 760"/>
              <a:gd name="T29" fmla="*/ 136 h 759"/>
              <a:gd name="T30" fmla="*/ 537 w 760"/>
              <a:gd name="T31" fmla="*/ 59 h 759"/>
              <a:gd name="T32" fmla="*/ 643 w 760"/>
              <a:gd name="T33" fmla="*/ 28 h 759"/>
              <a:gd name="T34" fmla="*/ 599 w 760"/>
              <a:gd name="T35" fmla="*/ 179 h 759"/>
              <a:gd name="T36" fmla="*/ 719 w 760"/>
              <a:gd name="T37" fmla="*/ 200 h 759"/>
              <a:gd name="T38" fmla="*/ 619 w 760"/>
              <a:gd name="T39" fmla="*/ 257 h 759"/>
              <a:gd name="T40" fmla="*/ 249 w 760"/>
              <a:gd name="T41" fmla="*/ 562 h 759"/>
              <a:gd name="T42" fmla="*/ 170 w 760"/>
              <a:gd name="T43" fmla="*/ 254 h 759"/>
              <a:gd name="T44" fmla="*/ 87 w 760"/>
              <a:gd name="T45" fmla="*/ 244 h 759"/>
              <a:gd name="T46" fmla="*/ 26 w 760"/>
              <a:gd name="T47" fmla="*/ 147 h 759"/>
              <a:gd name="T48" fmla="*/ 180 w 760"/>
              <a:gd name="T49" fmla="*/ 166 h 759"/>
              <a:gd name="T50" fmla="*/ 175 w 760"/>
              <a:gd name="T51" fmla="*/ 30 h 759"/>
              <a:gd name="T52" fmla="*/ 251 w 760"/>
              <a:gd name="T53" fmla="*/ 102 h 759"/>
              <a:gd name="T54" fmla="*/ 248 w 760"/>
              <a:gd name="T55" fmla="*/ 187 h 759"/>
              <a:gd name="T56" fmla="*/ 703 w 760"/>
              <a:gd name="T57" fmla="*/ 505 h 759"/>
              <a:gd name="T58" fmla="*/ 611 w 760"/>
              <a:gd name="T59" fmla="*/ 477 h 759"/>
              <a:gd name="T60" fmla="*/ 619 w 760"/>
              <a:gd name="T61" fmla="*/ 283 h 759"/>
              <a:gd name="T62" fmla="*/ 732 w 760"/>
              <a:gd name="T63" fmla="*/ 225 h 759"/>
              <a:gd name="T64" fmla="*/ 759 w 760"/>
              <a:gd name="T65" fmla="*/ 129 h 759"/>
              <a:gd name="T66" fmla="*/ 732 w 760"/>
              <a:gd name="T67" fmla="*/ 82 h 759"/>
              <a:gd name="T68" fmla="*/ 682 w 760"/>
              <a:gd name="T69" fmla="*/ 22 h 759"/>
              <a:gd name="T70" fmla="*/ 591 w 760"/>
              <a:gd name="T71" fmla="*/ 3 h 759"/>
              <a:gd name="T72" fmla="*/ 495 w 760"/>
              <a:gd name="T73" fmla="*/ 73 h 759"/>
              <a:gd name="T74" fmla="*/ 480 w 760"/>
              <a:gd name="T75" fmla="*/ 169 h 759"/>
              <a:gd name="T76" fmla="*/ 283 w 760"/>
              <a:gd name="T77" fmla="*/ 129 h 759"/>
              <a:gd name="T78" fmla="*/ 242 w 760"/>
              <a:gd name="T79" fmla="*/ 42 h 759"/>
              <a:gd name="T80" fmla="*/ 149 w 760"/>
              <a:gd name="T81" fmla="*/ 0 h 759"/>
              <a:gd name="T82" fmla="*/ 82 w 760"/>
              <a:gd name="T83" fmla="*/ 22 h 759"/>
              <a:gd name="T84" fmla="*/ 28 w 760"/>
              <a:gd name="T85" fmla="*/ 82 h 759"/>
              <a:gd name="T86" fmla="*/ 1 w 760"/>
              <a:gd name="T87" fmla="*/ 129 h 759"/>
              <a:gd name="T88" fmla="*/ 28 w 760"/>
              <a:gd name="T89" fmla="*/ 227 h 759"/>
              <a:gd name="T90" fmla="*/ 111 w 760"/>
              <a:gd name="T91" fmla="*/ 281 h 759"/>
              <a:gd name="T92" fmla="*/ 189 w 760"/>
              <a:gd name="T93" fmla="*/ 485 h 759"/>
              <a:gd name="T94" fmla="*/ 64 w 760"/>
              <a:gd name="T95" fmla="*/ 501 h 759"/>
              <a:gd name="T96" fmla="*/ 3 w 760"/>
              <a:gd name="T97" fmla="*/ 592 h 759"/>
              <a:gd name="T98" fmla="*/ 16 w 760"/>
              <a:gd name="T99" fmla="*/ 678 h 759"/>
              <a:gd name="T100" fmla="*/ 86 w 760"/>
              <a:gd name="T101" fmla="*/ 727 h 759"/>
              <a:gd name="T102" fmla="*/ 116 w 760"/>
              <a:gd name="T103" fmla="*/ 757 h 759"/>
              <a:gd name="T104" fmla="*/ 232 w 760"/>
              <a:gd name="T105" fmla="*/ 727 h 759"/>
              <a:gd name="T106" fmla="*/ 282 w 760"/>
              <a:gd name="T107" fmla="*/ 640 h 759"/>
              <a:gd name="T108" fmla="*/ 482 w 760"/>
              <a:gd name="T109" fmla="*/ 581 h 759"/>
              <a:gd name="T110" fmla="*/ 491 w 760"/>
              <a:gd name="T111" fmla="*/ 678 h 759"/>
              <a:gd name="T112" fmla="*/ 578 w 760"/>
              <a:gd name="T113" fmla="*/ 754 h 759"/>
              <a:gd name="T114" fmla="*/ 681 w 760"/>
              <a:gd name="T115" fmla="*/ 742 h 759"/>
              <a:gd name="T116" fmla="*/ 730 w 760"/>
              <a:gd name="T117" fmla="*/ 679 h 759"/>
              <a:gd name="T118" fmla="*/ 758 w 760"/>
              <a:gd name="T119" fmla="*/ 642 h 759"/>
              <a:gd name="T120" fmla="*/ 739 w 760"/>
              <a:gd name="T121" fmla="*/ 544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0" h="759">
                <a:moveTo>
                  <a:pt x="731" y="642"/>
                </a:moveTo>
                <a:lnTo>
                  <a:pt x="685" y="591"/>
                </a:lnTo>
                <a:lnTo>
                  <a:pt x="681" y="588"/>
                </a:lnTo>
                <a:lnTo>
                  <a:pt x="676" y="586"/>
                </a:lnTo>
                <a:lnTo>
                  <a:pt x="599" y="586"/>
                </a:lnTo>
                <a:lnTo>
                  <a:pt x="594" y="587"/>
                </a:lnTo>
                <a:lnTo>
                  <a:pt x="590" y="590"/>
                </a:lnTo>
                <a:lnTo>
                  <a:pt x="588" y="594"/>
                </a:lnTo>
                <a:lnTo>
                  <a:pt x="586" y="598"/>
                </a:lnTo>
                <a:lnTo>
                  <a:pt x="586" y="675"/>
                </a:lnTo>
                <a:lnTo>
                  <a:pt x="586" y="678"/>
                </a:lnTo>
                <a:lnTo>
                  <a:pt x="588" y="680"/>
                </a:lnTo>
                <a:lnTo>
                  <a:pt x="589" y="683"/>
                </a:lnTo>
                <a:lnTo>
                  <a:pt x="591" y="685"/>
                </a:lnTo>
                <a:lnTo>
                  <a:pt x="643" y="732"/>
                </a:lnTo>
                <a:lnTo>
                  <a:pt x="629" y="734"/>
                </a:lnTo>
                <a:lnTo>
                  <a:pt x="615" y="734"/>
                </a:lnTo>
                <a:lnTo>
                  <a:pt x="600" y="733"/>
                </a:lnTo>
                <a:lnTo>
                  <a:pt x="586" y="729"/>
                </a:lnTo>
                <a:lnTo>
                  <a:pt x="574" y="724"/>
                </a:lnTo>
                <a:lnTo>
                  <a:pt x="561" y="718"/>
                </a:lnTo>
                <a:lnTo>
                  <a:pt x="548" y="710"/>
                </a:lnTo>
                <a:lnTo>
                  <a:pt x="537" y="700"/>
                </a:lnTo>
                <a:lnTo>
                  <a:pt x="531" y="694"/>
                </a:lnTo>
                <a:lnTo>
                  <a:pt x="525" y="688"/>
                </a:lnTo>
                <a:lnTo>
                  <a:pt x="521" y="680"/>
                </a:lnTo>
                <a:lnTo>
                  <a:pt x="517" y="673"/>
                </a:lnTo>
                <a:lnTo>
                  <a:pt x="512" y="665"/>
                </a:lnTo>
                <a:lnTo>
                  <a:pt x="509" y="657"/>
                </a:lnTo>
                <a:lnTo>
                  <a:pt x="507" y="649"/>
                </a:lnTo>
                <a:lnTo>
                  <a:pt x="505" y="640"/>
                </a:lnTo>
                <a:lnTo>
                  <a:pt x="504" y="633"/>
                </a:lnTo>
                <a:lnTo>
                  <a:pt x="504" y="624"/>
                </a:lnTo>
                <a:lnTo>
                  <a:pt x="503" y="616"/>
                </a:lnTo>
                <a:lnTo>
                  <a:pt x="504" y="607"/>
                </a:lnTo>
                <a:lnTo>
                  <a:pt x="505" y="598"/>
                </a:lnTo>
                <a:lnTo>
                  <a:pt x="507" y="590"/>
                </a:lnTo>
                <a:lnTo>
                  <a:pt x="509" y="581"/>
                </a:lnTo>
                <a:lnTo>
                  <a:pt x="512" y="573"/>
                </a:lnTo>
                <a:lnTo>
                  <a:pt x="513" y="569"/>
                </a:lnTo>
                <a:lnTo>
                  <a:pt x="513" y="566"/>
                </a:lnTo>
                <a:lnTo>
                  <a:pt x="512" y="562"/>
                </a:lnTo>
                <a:lnTo>
                  <a:pt x="509" y="559"/>
                </a:lnTo>
                <a:lnTo>
                  <a:pt x="399" y="448"/>
                </a:lnTo>
                <a:lnTo>
                  <a:pt x="449" y="399"/>
                </a:lnTo>
                <a:lnTo>
                  <a:pt x="560" y="509"/>
                </a:lnTo>
                <a:lnTo>
                  <a:pt x="563" y="511"/>
                </a:lnTo>
                <a:lnTo>
                  <a:pt x="566" y="513"/>
                </a:lnTo>
                <a:lnTo>
                  <a:pt x="570" y="513"/>
                </a:lnTo>
                <a:lnTo>
                  <a:pt x="574" y="511"/>
                </a:lnTo>
                <a:lnTo>
                  <a:pt x="582" y="508"/>
                </a:lnTo>
                <a:lnTo>
                  <a:pt x="591" y="506"/>
                </a:lnTo>
                <a:lnTo>
                  <a:pt x="598" y="505"/>
                </a:lnTo>
                <a:lnTo>
                  <a:pt x="607" y="503"/>
                </a:lnTo>
                <a:lnTo>
                  <a:pt x="615" y="503"/>
                </a:lnTo>
                <a:lnTo>
                  <a:pt x="624" y="503"/>
                </a:lnTo>
                <a:lnTo>
                  <a:pt x="633" y="504"/>
                </a:lnTo>
                <a:lnTo>
                  <a:pt x="641" y="505"/>
                </a:lnTo>
                <a:lnTo>
                  <a:pt x="649" y="507"/>
                </a:lnTo>
                <a:lnTo>
                  <a:pt x="657" y="509"/>
                </a:lnTo>
                <a:lnTo>
                  <a:pt x="665" y="513"/>
                </a:lnTo>
                <a:lnTo>
                  <a:pt x="672" y="516"/>
                </a:lnTo>
                <a:lnTo>
                  <a:pt x="680" y="520"/>
                </a:lnTo>
                <a:lnTo>
                  <a:pt x="687" y="525"/>
                </a:lnTo>
                <a:lnTo>
                  <a:pt x="694" y="531"/>
                </a:lnTo>
                <a:lnTo>
                  <a:pt x="700" y="537"/>
                </a:lnTo>
                <a:lnTo>
                  <a:pt x="711" y="548"/>
                </a:lnTo>
                <a:lnTo>
                  <a:pt x="719" y="560"/>
                </a:lnTo>
                <a:lnTo>
                  <a:pt x="725" y="573"/>
                </a:lnTo>
                <a:lnTo>
                  <a:pt x="730" y="587"/>
                </a:lnTo>
                <a:lnTo>
                  <a:pt x="734" y="600"/>
                </a:lnTo>
                <a:lnTo>
                  <a:pt x="735" y="615"/>
                </a:lnTo>
                <a:lnTo>
                  <a:pt x="735" y="628"/>
                </a:lnTo>
                <a:lnTo>
                  <a:pt x="731" y="642"/>
                </a:lnTo>
                <a:close/>
                <a:moveTo>
                  <a:pt x="248" y="573"/>
                </a:moveTo>
                <a:lnTo>
                  <a:pt x="251" y="581"/>
                </a:lnTo>
                <a:lnTo>
                  <a:pt x="254" y="590"/>
                </a:lnTo>
                <a:lnTo>
                  <a:pt x="256" y="598"/>
                </a:lnTo>
                <a:lnTo>
                  <a:pt x="257" y="607"/>
                </a:lnTo>
                <a:lnTo>
                  <a:pt x="258" y="616"/>
                </a:lnTo>
                <a:lnTo>
                  <a:pt x="258" y="624"/>
                </a:lnTo>
                <a:lnTo>
                  <a:pt x="257" y="633"/>
                </a:lnTo>
                <a:lnTo>
                  <a:pt x="256" y="640"/>
                </a:lnTo>
                <a:lnTo>
                  <a:pt x="255" y="649"/>
                </a:lnTo>
                <a:lnTo>
                  <a:pt x="251" y="657"/>
                </a:lnTo>
                <a:lnTo>
                  <a:pt x="248" y="665"/>
                </a:lnTo>
                <a:lnTo>
                  <a:pt x="245" y="673"/>
                </a:lnTo>
                <a:lnTo>
                  <a:pt x="241" y="680"/>
                </a:lnTo>
                <a:lnTo>
                  <a:pt x="236" y="688"/>
                </a:lnTo>
                <a:lnTo>
                  <a:pt x="231" y="694"/>
                </a:lnTo>
                <a:lnTo>
                  <a:pt x="225" y="700"/>
                </a:lnTo>
                <a:lnTo>
                  <a:pt x="216" y="708"/>
                </a:lnTo>
                <a:lnTo>
                  <a:pt x="207" y="714"/>
                </a:lnTo>
                <a:lnTo>
                  <a:pt x="198" y="721"/>
                </a:lnTo>
                <a:lnTo>
                  <a:pt x="188" y="725"/>
                </a:lnTo>
                <a:lnTo>
                  <a:pt x="177" y="729"/>
                </a:lnTo>
                <a:lnTo>
                  <a:pt x="167" y="733"/>
                </a:lnTo>
                <a:lnTo>
                  <a:pt x="155" y="734"/>
                </a:lnTo>
                <a:lnTo>
                  <a:pt x="144" y="735"/>
                </a:lnTo>
                <a:lnTo>
                  <a:pt x="132" y="734"/>
                </a:lnTo>
                <a:lnTo>
                  <a:pt x="119" y="732"/>
                </a:lnTo>
                <a:lnTo>
                  <a:pt x="174" y="685"/>
                </a:lnTo>
                <a:lnTo>
                  <a:pt x="176" y="683"/>
                </a:lnTo>
                <a:lnTo>
                  <a:pt x="177" y="680"/>
                </a:lnTo>
                <a:lnTo>
                  <a:pt x="178" y="678"/>
                </a:lnTo>
                <a:lnTo>
                  <a:pt x="180" y="675"/>
                </a:lnTo>
                <a:lnTo>
                  <a:pt x="180" y="598"/>
                </a:lnTo>
                <a:lnTo>
                  <a:pt x="178" y="594"/>
                </a:lnTo>
                <a:lnTo>
                  <a:pt x="175" y="590"/>
                </a:lnTo>
                <a:lnTo>
                  <a:pt x="171" y="587"/>
                </a:lnTo>
                <a:lnTo>
                  <a:pt x="167" y="586"/>
                </a:lnTo>
                <a:lnTo>
                  <a:pt x="85" y="586"/>
                </a:lnTo>
                <a:lnTo>
                  <a:pt x="80" y="588"/>
                </a:lnTo>
                <a:lnTo>
                  <a:pt x="75" y="591"/>
                </a:lnTo>
                <a:lnTo>
                  <a:pt x="29" y="642"/>
                </a:lnTo>
                <a:lnTo>
                  <a:pt x="27" y="628"/>
                </a:lnTo>
                <a:lnTo>
                  <a:pt x="26" y="615"/>
                </a:lnTo>
                <a:lnTo>
                  <a:pt x="27" y="600"/>
                </a:lnTo>
                <a:lnTo>
                  <a:pt x="30" y="587"/>
                </a:lnTo>
                <a:lnTo>
                  <a:pt x="36" y="573"/>
                </a:lnTo>
                <a:lnTo>
                  <a:pt x="42" y="560"/>
                </a:lnTo>
                <a:lnTo>
                  <a:pt x="51" y="548"/>
                </a:lnTo>
                <a:lnTo>
                  <a:pt x="60" y="537"/>
                </a:lnTo>
                <a:lnTo>
                  <a:pt x="69" y="529"/>
                </a:lnTo>
                <a:lnTo>
                  <a:pt x="78" y="522"/>
                </a:lnTo>
                <a:lnTo>
                  <a:pt x="87" y="516"/>
                </a:lnTo>
                <a:lnTo>
                  <a:pt x="98" y="511"/>
                </a:lnTo>
                <a:lnTo>
                  <a:pt x="108" y="507"/>
                </a:lnTo>
                <a:lnTo>
                  <a:pt x="119" y="505"/>
                </a:lnTo>
                <a:lnTo>
                  <a:pt x="130" y="503"/>
                </a:lnTo>
                <a:lnTo>
                  <a:pt x="142" y="503"/>
                </a:lnTo>
                <a:lnTo>
                  <a:pt x="154" y="503"/>
                </a:lnTo>
                <a:lnTo>
                  <a:pt x="164" y="505"/>
                </a:lnTo>
                <a:lnTo>
                  <a:pt x="176" y="507"/>
                </a:lnTo>
                <a:lnTo>
                  <a:pt x="187" y="511"/>
                </a:lnTo>
                <a:lnTo>
                  <a:pt x="190" y="513"/>
                </a:lnTo>
                <a:lnTo>
                  <a:pt x="195" y="513"/>
                </a:lnTo>
                <a:lnTo>
                  <a:pt x="198" y="511"/>
                </a:lnTo>
                <a:lnTo>
                  <a:pt x="201" y="509"/>
                </a:lnTo>
                <a:lnTo>
                  <a:pt x="509" y="201"/>
                </a:lnTo>
                <a:lnTo>
                  <a:pt x="512" y="198"/>
                </a:lnTo>
                <a:lnTo>
                  <a:pt x="513" y="194"/>
                </a:lnTo>
                <a:lnTo>
                  <a:pt x="513" y="190"/>
                </a:lnTo>
                <a:lnTo>
                  <a:pt x="512" y="187"/>
                </a:lnTo>
                <a:lnTo>
                  <a:pt x="509" y="179"/>
                </a:lnTo>
                <a:lnTo>
                  <a:pt x="507" y="170"/>
                </a:lnTo>
                <a:lnTo>
                  <a:pt x="505" y="161"/>
                </a:lnTo>
                <a:lnTo>
                  <a:pt x="504" y="153"/>
                </a:lnTo>
                <a:lnTo>
                  <a:pt x="503" y="144"/>
                </a:lnTo>
                <a:lnTo>
                  <a:pt x="503" y="136"/>
                </a:lnTo>
                <a:lnTo>
                  <a:pt x="504" y="127"/>
                </a:lnTo>
                <a:lnTo>
                  <a:pt x="505" y="120"/>
                </a:lnTo>
                <a:lnTo>
                  <a:pt x="507" y="111"/>
                </a:lnTo>
                <a:lnTo>
                  <a:pt x="509" y="102"/>
                </a:lnTo>
                <a:lnTo>
                  <a:pt x="512" y="95"/>
                </a:lnTo>
                <a:lnTo>
                  <a:pt x="517" y="87"/>
                </a:lnTo>
                <a:lnTo>
                  <a:pt x="521" y="80"/>
                </a:lnTo>
                <a:lnTo>
                  <a:pt x="525" y="72"/>
                </a:lnTo>
                <a:lnTo>
                  <a:pt x="531" y="66"/>
                </a:lnTo>
                <a:lnTo>
                  <a:pt x="537" y="59"/>
                </a:lnTo>
                <a:lnTo>
                  <a:pt x="546" y="52"/>
                </a:lnTo>
                <a:lnTo>
                  <a:pt x="554" y="45"/>
                </a:lnTo>
                <a:lnTo>
                  <a:pt x="564" y="39"/>
                </a:lnTo>
                <a:lnTo>
                  <a:pt x="575" y="35"/>
                </a:lnTo>
                <a:lnTo>
                  <a:pt x="585" y="30"/>
                </a:lnTo>
                <a:lnTo>
                  <a:pt x="596" y="27"/>
                </a:lnTo>
                <a:lnTo>
                  <a:pt x="607" y="26"/>
                </a:lnTo>
                <a:lnTo>
                  <a:pt x="619" y="25"/>
                </a:lnTo>
                <a:lnTo>
                  <a:pt x="632" y="26"/>
                </a:lnTo>
                <a:lnTo>
                  <a:pt x="643" y="28"/>
                </a:lnTo>
                <a:lnTo>
                  <a:pt x="591" y="74"/>
                </a:lnTo>
                <a:lnTo>
                  <a:pt x="589" y="77"/>
                </a:lnTo>
                <a:lnTo>
                  <a:pt x="588" y="80"/>
                </a:lnTo>
                <a:lnTo>
                  <a:pt x="586" y="82"/>
                </a:lnTo>
                <a:lnTo>
                  <a:pt x="586" y="85"/>
                </a:lnTo>
                <a:lnTo>
                  <a:pt x="586" y="166"/>
                </a:lnTo>
                <a:lnTo>
                  <a:pt x="588" y="171"/>
                </a:lnTo>
                <a:lnTo>
                  <a:pt x="590" y="174"/>
                </a:lnTo>
                <a:lnTo>
                  <a:pt x="594" y="178"/>
                </a:lnTo>
                <a:lnTo>
                  <a:pt x="599" y="179"/>
                </a:lnTo>
                <a:lnTo>
                  <a:pt x="676" y="179"/>
                </a:lnTo>
                <a:lnTo>
                  <a:pt x="681" y="178"/>
                </a:lnTo>
                <a:lnTo>
                  <a:pt x="685" y="174"/>
                </a:lnTo>
                <a:lnTo>
                  <a:pt x="731" y="120"/>
                </a:lnTo>
                <a:lnTo>
                  <a:pt x="735" y="133"/>
                </a:lnTo>
                <a:lnTo>
                  <a:pt x="735" y="147"/>
                </a:lnTo>
                <a:lnTo>
                  <a:pt x="734" y="161"/>
                </a:lnTo>
                <a:lnTo>
                  <a:pt x="730" y="174"/>
                </a:lnTo>
                <a:lnTo>
                  <a:pt x="725" y="187"/>
                </a:lnTo>
                <a:lnTo>
                  <a:pt x="719" y="200"/>
                </a:lnTo>
                <a:lnTo>
                  <a:pt x="711" y="212"/>
                </a:lnTo>
                <a:lnTo>
                  <a:pt x="700" y="223"/>
                </a:lnTo>
                <a:lnTo>
                  <a:pt x="692" y="231"/>
                </a:lnTo>
                <a:lnTo>
                  <a:pt x="683" y="238"/>
                </a:lnTo>
                <a:lnTo>
                  <a:pt x="673" y="244"/>
                </a:lnTo>
                <a:lnTo>
                  <a:pt x="663" y="248"/>
                </a:lnTo>
                <a:lnTo>
                  <a:pt x="653" y="253"/>
                </a:lnTo>
                <a:lnTo>
                  <a:pt x="641" y="255"/>
                </a:lnTo>
                <a:lnTo>
                  <a:pt x="630" y="257"/>
                </a:lnTo>
                <a:lnTo>
                  <a:pt x="619" y="257"/>
                </a:lnTo>
                <a:lnTo>
                  <a:pt x="607" y="257"/>
                </a:lnTo>
                <a:lnTo>
                  <a:pt x="596" y="255"/>
                </a:lnTo>
                <a:lnTo>
                  <a:pt x="584" y="253"/>
                </a:lnTo>
                <a:lnTo>
                  <a:pt x="574" y="248"/>
                </a:lnTo>
                <a:lnTo>
                  <a:pt x="570" y="247"/>
                </a:lnTo>
                <a:lnTo>
                  <a:pt x="566" y="247"/>
                </a:lnTo>
                <a:lnTo>
                  <a:pt x="563" y="248"/>
                </a:lnTo>
                <a:lnTo>
                  <a:pt x="560" y="251"/>
                </a:lnTo>
                <a:lnTo>
                  <a:pt x="251" y="559"/>
                </a:lnTo>
                <a:lnTo>
                  <a:pt x="249" y="562"/>
                </a:lnTo>
                <a:lnTo>
                  <a:pt x="247" y="566"/>
                </a:lnTo>
                <a:lnTo>
                  <a:pt x="247" y="569"/>
                </a:lnTo>
                <a:lnTo>
                  <a:pt x="248" y="573"/>
                </a:lnTo>
                <a:close/>
                <a:moveTo>
                  <a:pt x="201" y="251"/>
                </a:moveTo>
                <a:lnTo>
                  <a:pt x="198" y="249"/>
                </a:lnTo>
                <a:lnTo>
                  <a:pt x="195" y="248"/>
                </a:lnTo>
                <a:lnTo>
                  <a:pt x="190" y="247"/>
                </a:lnTo>
                <a:lnTo>
                  <a:pt x="187" y="248"/>
                </a:lnTo>
                <a:lnTo>
                  <a:pt x="178" y="252"/>
                </a:lnTo>
                <a:lnTo>
                  <a:pt x="170" y="254"/>
                </a:lnTo>
                <a:lnTo>
                  <a:pt x="162" y="256"/>
                </a:lnTo>
                <a:lnTo>
                  <a:pt x="154" y="257"/>
                </a:lnTo>
                <a:lnTo>
                  <a:pt x="145" y="258"/>
                </a:lnTo>
                <a:lnTo>
                  <a:pt x="137" y="258"/>
                </a:lnTo>
                <a:lnTo>
                  <a:pt x="128" y="257"/>
                </a:lnTo>
                <a:lnTo>
                  <a:pt x="119" y="256"/>
                </a:lnTo>
                <a:lnTo>
                  <a:pt x="111" y="254"/>
                </a:lnTo>
                <a:lnTo>
                  <a:pt x="103" y="252"/>
                </a:lnTo>
                <a:lnTo>
                  <a:pt x="96" y="248"/>
                </a:lnTo>
                <a:lnTo>
                  <a:pt x="87" y="244"/>
                </a:lnTo>
                <a:lnTo>
                  <a:pt x="81" y="240"/>
                </a:lnTo>
                <a:lnTo>
                  <a:pt x="73" y="236"/>
                </a:lnTo>
                <a:lnTo>
                  <a:pt x="67" y="230"/>
                </a:lnTo>
                <a:lnTo>
                  <a:pt x="60" y="224"/>
                </a:lnTo>
                <a:lnTo>
                  <a:pt x="51" y="213"/>
                </a:lnTo>
                <a:lnTo>
                  <a:pt x="42" y="201"/>
                </a:lnTo>
                <a:lnTo>
                  <a:pt x="36" y="188"/>
                </a:lnTo>
                <a:lnTo>
                  <a:pt x="31" y="175"/>
                </a:lnTo>
                <a:lnTo>
                  <a:pt x="28" y="161"/>
                </a:lnTo>
                <a:lnTo>
                  <a:pt x="26" y="147"/>
                </a:lnTo>
                <a:lnTo>
                  <a:pt x="27" y="133"/>
                </a:lnTo>
                <a:lnTo>
                  <a:pt x="29" y="120"/>
                </a:lnTo>
                <a:lnTo>
                  <a:pt x="75" y="174"/>
                </a:lnTo>
                <a:lnTo>
                  <a:pt x="80" y="178"/>
                </a:lnTo>
                <a:lnTo>
                  <a:pt x="85" y="179"/>
                </a:lnTo>
                <a:lnTo>
                  <a:pt x="167" y="179"/>
                </a:lnTo>
                <a:lnTo>
                  <a:pt x="171" y="178"/>
                </a:lnTo>
                <a:lnTo>
                  <a:pt x="175" y="174"/>
                </a:lnTo>
                <a:lnTo>
                  <a:pt x="178" y="171"/>
                </a:lnTo>
                <a:lnTo>
                  <a:pt x="180" y="166"/>
                </a:lnTo>
                <a:lnTo>
                  <a:pt x="180" y="85"/>
                </a:lnTo>
                <a:lnTo>
                  <a:pt x="178" y="82"/>
                </a:lnTo>
                <a:lnTo>
                  <a:pt x="177" y="80"/>
                </a:lnTo>
                <a:lnTo>
                  <a:pt x="176" y="77"/>
                </a:lnTo>
                <a:lnTo>
                  <a:pt x="174" y="74"/>
                </a:lnTo>
                <a:lnTo>
                  <a:pt x="119" y="28"/>
                </a:lnTo>
                <a:lnTo>
                  <a:pt x="133" y="26"/>
                </a:lnTo>
                <a:lnTo>
                  <a:pt x="147" y="26"/>
                </a:lnTo>
                <a:lnTo>
                  <a:pt x="161" y="27"/>
                </a:lnTo>
                <a:lnTo>
                  <a:pt x="175" y="30"/>
                </a:lnTo>
                <a:lnTo>
                  <a:pt x="188" y="36"/>
                </a:lnTo>
                <a:lnTo>
                  <a:pt x="201" y="42"/>
                </a:lnTo>
                <a:lnTo>
                  <a:pt x="213" y="50"/>
                </a:lnTo>
                <a:lnTo>
                  <a:pt x="224" y="59"/>
                </a:lnTo>
                <a:lnTo>
                  <a:pt x="230" y="66"/>
                </a:lnTo>
                <a:lnTo>
                  <a:pt x="235" y="72"/>
                </a:lnTo>
                <a:lnTo>
                  <a:pt x="240" y="80"/>
                </a:lnTo>
                <a:lnTo>
                  <a:pt x="244" y="87"/>
                </a:lnTo>
                <a:lnTo>
                  <a:pt x="248" y="95"/>
                </a:lnTo>
                <a:lnTo>
                  <a:pt x="251" y="102"/>
                </a:lnTo>
                <a:lnTo>
                  <a:pt x="254" y="111"/>
                </a:lnTo>
                <a:lnTo>
                  <a:pt x="256" y="120"/>
                </a:lnTo>
                <a:lnTo>
                  <a:pt x="257" y="127"/>
                </a:lnTo>
                <a:lnTo>
                  <a:pt x="258" y="136"/>
                </a:lnTo>
                <a:lnTo>
                  <a:pt x="258" y="144"/>
                </a:lnTo>
                <a:lnTo>
                  <a:pt x="257" y="153"/>
                </a:lnTo>
                <a:lnTo>
                  <a:pt x="256" y="161"/>
                </a:lnTo>
                <a:lnTo>
                  <a:pt x="254" y="170"/>
                </a:lnTo>
                <a:lnTo>
                  <a:pt x="251" y="179"/>
                </a:lnTo>
                <a:lnTo>
                  <a:pt x="248" y="187"/>
                </a:lnTo>
                <a:lnTo>
                  <a:pt x="247" y="190"/>
                </a:lnTo>
                <a:lnTo>
                  <a:pt x="247" y="194"/>
                </a:lnTo>
                <a:lnTo>
                  <a:pt x="249" y="198"/>
                </a:lnTo>
                <a:lnTo>
                  <a:pt x="251" y="201"/>
                </a:lnTo>
                <a:lnTo>
                  <a:pt x="362" y="312"/>
                </a:lnTo>
                <a:lnTo>
                  <a:pt x="312" y="361"/>
                </a:lnTo>
                <a:lnTo>
                  <a:pt x="201" y="251"/>
                </a:lnTo>
                <a:close/>
                <a:moveTo>
                  <a:pt x="719" y="518"/>
                </a:moveTo>
                <a:lnTo>
                  <a:pt x="711" y="511"/>
                </a:lnTo>
                <a:lnTo>
                  <a:pt x="703" y="505"/>
                </a:lnTo>
                <a:lnTo>
                  <a:pt x="695" y="500"/>
                </a:lnTo>
                <a:lnTo>
                  <a:pt x="686" y="494"/>
                </a:lnTo>
                <a:lnTo>
                  <a:pt x="678" y="490"/>
                </a:lnTo>
                <a:lnTo>
                  <a:pt x="669" y="486"/>
                </a:lnTo>
                <a:lnTo>
                  <a:pt x="659" y="482"/>
                </a:lnTo>
                <a:lnTo>
                  <a:pt x="650" y="480"/>
                </a:lnTo>
                <a:lnTo>
                  <a:pt x="640" y="478"/>
                </a:lnTo>
                <a:lnTo>
                  <a:pt x="630" y="477"/>
                </a:lnTo>
                <a:lnTo>
                  <a:pt x="621" y="477"/>
                </a:lnTo>
                <a:lnTo>
                  <a:pt x="611" y="477"/>
                </a:lnTo>
                <a:lnTo>
                  <a:pt x="601" y="478"/>
                </a:lnTo>
                <a:lnTo>
                  <a:pt x="592" y="479"/>
                </a:lnTo>
                <a:lnTo>
                  <a:pt x="581" y="482"/>
                </a:lnTo>
                <a:lnTo>
                  <a:pt x="571" y="485"/>
                </a:lnTo>
                <a:lnTo>
                  <a:pt x="466" y="380"/>
                </a:lnTo>
                <a:lnTo>
                  <a:pt x="571" y="275"/>
                </a:lnTo>
                <a:lnTo>
                  <a:pt x="583" y="278"/>
                </a:lnTo>
                <a:lnTo>
                  <a:pt x="595" y="281"/>
                </a:lnTo>
                <a:lnTo>
                  <a:pt x="607" y="282"/>
                </a:lnTo>
                <a:lnTo>
                  <a:pt x="619" y="283"/>
                </a:lnTo>
                <a:lnTo>
                  <a:pt x="633" y="282"/>
                </a:lnTo>
                <a:lnTo>
                  <a:pt x="647" y="280"/>
                </a:lnTo>
                <a:lnTo>
                  <a:pt x="661" y="276"/>
                </a:lnTo>
                <a:lnTo>
                  <a:pt x="673" y="272"/>
                </a:lnTo>
                <a:lnTo>
                  <a:pt x="685" y="267"/>
                </a:lnTo>
                <a:lnTo>
                  <a:pt x="697" y="259"/>
                </a:lnTo>
                <a:lnTo>
                  <a:pt x="708" y="252"/>
                </a:lnTo>
                <a:lnTo>
                  <a:pt x="719" y="242"/>
                </a:lnTo>
                <a:lnTo>
                  <a:pt x="726" y="233"/>
                </a:lnTo>
                <a:lnTo>
                  <a:pt x="732" y="225"/>
                </a:lnTo>
                <a:lnTo>
                  <a:pt x="739" y="216"/>
                </a:lnTo>
                <a:lnTo>
                  <a:pt x="744" y="208"/>
                </a:lnTo>
                <a:lnTo>
                  <a:pt x="749" y="198"/>
                </a:lnTo>
                <a:lnTo>
                  <a:pt x="752" y="188"/>
                </a:lnTo>
                <a:lnTo>
                  <a:pt x="755" y="179"/>
                </a:lnTo>
                <a:lnTo>
                  <a:pt x="757" y="169"/>
                </a:lnTo>
                <a:lnTo>
                  <a:pt x="759" y="159"/>
                </a:lnTo>
                <a:lnTo>
                  <a:pt x="760" y="150"/>
                </a:lnTo>
                <a:lnTo>
                  <a:pt x="760" y="139"/>
                </a:lnTo>
                <a:lnTo>
                  <a:pt x="759" y="129"/>
                </a:lnTo>
                <a:lnTo>
                  <a:pt x="758" y="118"/>
                </a:lnTo>
                <a:lnTo>
                  <a:pt x="756" y="109"/>
                </a:lnTo>
                <a:lnTo>
                  <a:pt x="753" y="99"/>
                </a:lnTo>
                <a:lnTo>
                  <a:pt x="749" y="89"/>
                </a:lnTo>
                <a:lnTo>
                  <a:pt x="747" y="86"/>
                </a:lnTo>
                <a:lnTo>
                  <a:pt x="745" y="84"/>
                </a:lnTo>
                <a:lnTo>
                  <a:pt x="742" y="82"/>
                </a:lnTo>
                <a:lnTo>
                  <a:pt x="739" y="81"/>
                </a:lnTo>
                <a:lnTo>
                  <a:pt x="736" y="81"/>
                </a:lnTo>
                <a:lnTo>
                  <a:pt x="732" y="82"/>
                </a:lnTo>
                <a:lnTo>
                  <a:pt x="729" y="83"/>
                </a:lnTo>
                <a:lnTo>
                  <a:pt x="727" y="85"/>
                </a:lnTo>
                <a:lnTo>
                  <a:pt x="670" y="153"/>
                </a:lnTo>
                <a:lnTo>
                  <a:pt x="612" y="153"/>
                </a:lnTo>
                <a:lnTo>
                  <a:pt x="612" y="91"/>
                </a:lnTo>
                <a:lnTo>
                  <a:pt x="678" y="33"/>
                </a:lnTo>
                <a:lnTo>
                  <a:pt x="680" y="30"/>
                </a:lnTo>
                <a:lnTo>
                  <a:pt x="681" y="27"/>
                </a:lnTo>
                <a:lnTo>
                  <a:pt x="682" y="25"/>
                </a:lnTo>
                <a:lnTo>
                  <a:pt x="682" y="22"/>
                </a:lnTo>
                <a:lnTo>
                  <a:pt x="681" y="18"/>
                </a:lnTo>
                <a:lnTo>
                  <a:pt x="679" y="15"/>
                </a:lnTo>
                <a:lnTo>
                  <a:pt x="677" y="13"/>
                </a:lnTo>
                <a:lnTo>
                  <a:pt x="674" y="11"/>
                </a:lnTo>
                <a:lnTo>
                  <a:pt x="661" y="7"/>
                </a:lnTo>
                <a:lnTo>
                  <a:pt x="647" y="3"/>
                </a:lnTo>
                <a:lnTo>
                  <a:pt x="633" y="0"/>
                </a:lnTo>
                <a:lnTo>
                  <a:pt x="619" y="0"/>
                </a:lnTo>
                <a:lnTo>
                  <a:pt x="605" y="0"/>
                </a:lnTo>
                <a:lnTo>
                  <a:pt x="591" y="3"/>
                </a:lnTo>
                <a:lnTo>
                  <a:pt x="578" y="6"/>
                </a:lnTo>
                <a:lnTo>
                  <a:pt x="565" y="11"/>
                </a:lnTo>
                <a:lnTo>
                  <a:pt x="552" y="16"/>
                </a:lnTo>
                <a:lnTo>
                  <a:pt x="540" y="24"/>
                </a:lnTo>
                <a:lnTo>
                  <a:pt x="530" y="33"/>
                </a:lnTo>
                <a:lnTo>
                  <a:pt x="519" y="42"/>
                </a:lnTo>
                <a:lnTo>
                  <a:pt x="512" y="50"/>
                </a:lnTo>
                <a:lnTo>
                  <a:pt x="506" y="57"/>
                </a:lnTo>
                <a:lnTo>
                  <a:pt x="499" y="65"/>
                </a:lnTo>
                <a:lnTo>
                  <a:pt x="495" y="73"/>
                </a:lnTo>
                <a:lnTo>
                  <a:pt x="491" y="82"/>
                </a:lnTo>
                <a:lnTo>
                  <a:pt x="487" y="92"/>
                </a:lnTo>
                <a:lnTo>
                  <a:pt x="483" y="101"/>
                </a:lnTo>
                <a:lnTo>
                  <a:pt x="481" y="110"/>
                </a:lnTo>
                <a:lnTo>
                  <a:pt x="479" y="120"/>
                </a:lnTo>
                <a:lnTo>
                  <a:pt x="478" y="129"/>
                </a:lnTo>
                <a:lnTo>
                  <a:pt x="478" y="140"/>
                </a:lnTo>
                <a:lnTo>
                  <a:pt x="478" y="150"/>
                </a:lnTo>
                <a:lnTo>
                  <a:pt x="479" y="159"/>
                </a:lnTo>
                <a:lnTo>
                  <a:pt x="480" y="169"/>
                </a:lnTo>
                <a:lnTo>
                  <a:pt x="482" y="179"/>
                </a:lnTo>
                <a:lnTo>
                  <a:pt x="486" y="188"/>
                </a:lnTo>
                <a:lnTo>
                  <a:pt x="380" y="293"/>
                </a:lnTo>
                <a:lnTo>
                  <a:pt x="275" y="188"/>
                </a:lnTo>
                <a:lnTo>
                  <a:pt x="278" y="179"/>
                </a:lnTo>
                <a:lnTo>
                  <a:pt x="280" y="169"/>
                </a:lnTo>
                <a:lnTo>
                  <a:pt x="282" y="159"/>
                </a:lnTo>
                <a:lnTo>
                  <a:pt x="283" y="150"/>
                </a:lnTo>
                <a:lnTo>
                  <a:pt x="283" y="140"/>
                </a:lnTo>
                <a:lnTo>
                  <a:pt x="283" y="129"/>
                </a:lnTo>
                <a:lnTo>
                  <a:pt x="282" y="120"/>
                </a:lnTo>
                <a:lnTo>
                  <a:pt x="279" y="110"/>
                </a:lnTo>
                <a:lnTo>
                  <a:pt x="277" y="101"/>
                </a:lnTo>
                <a:lnTo>
                  <a:pt x="274" y="92"/>
                </a:lnTo>
                <a:lnTo>
                  <a:pt x="270" y="82"/>
                </a:lnTo>
                <a:lnTo>
                  <a:pt x="265" y="73"/>
                </a:lnTo>
                <a:lnTo>
                  <a:pt x="261" y="65"/>
                </a:lnTo>
                <a:lnTo>
                  <a:pt x="255" y="57"/>
                </a:lnTo>
                <a:lnTo>
                  <a:pt x="248" y="50"/>
                </a:lnTo>
                <a:lnTo>
                  <a:pt x="242" y="42"/>
                </a:lnTo>
                <a:lnTo>
                  <a:pt x="234" y="35"/>
                </a:lnTo>
                <a:lnTo>
                  <a:pt x="226" y="28"/>
                </a:lnTo>
                <a:lnTo>
                  <a:pt x="217" y="22"/>
                </a:lnTo>
                <a:lnTo>
                  <a:pt x="209" y="16"/>
                </a:lnTo>
                <a:lnTo>
                  <a:pt x="199" y="12"/>
                </a:lnTo>
                <a:lnTo>
                  <a:pt x="189" y="9"/>
                </a:lnTo>
                <a:lnTo>
                  <a:pt x="180" y="6"/>
                </a:lnTo>
                <a:lnTo>
                  <a:pt x="170" y="4"/>
                </a:lnTo>
                <a:lnTo>
                  <a:pt x="160" y="1"/>
                </a:lnTo>
                <a:lnTo>
                  <a:pt x="149" y="0"/>
                </a:lnTo>
                <a:lnTo>
                  <a:pt x="140" y="0"/>
                </a:lnTo>
                <a:lnTo>
                  <a:pt x="130" y="1"/>
                </a:lnTo>
                <a:lnTo>
                  <a:pt x="119" y="3"/>
                </a:lnTo>
                <a:lnTo>
                  <a:pt x="110" y="5"/>
                </a:lnTo>
                <a:lnTo>
                  <a:pt x="99" y="8"/>
                </a:lnTo>
                <a:lnTo>
                  <a:pt x="89" y="11"/>
                </a:lnTo>
                <a:lnTo>
                  <a:pt x="86" y="13"/>
                </a:lnTo>
                <a:lnTo>
                  <a:pt x="84" y="15"/>
                </a:lnTo>
                <a:lnTo>
                  <a:pt x="83" y="19"/>
                </a:lnTo>
                <a:lnTo>
                  <a:pt x="82" y="22"/>
                </a:lnTo>
                <a:lnTo>
                  <a:pt x="82" y="25"/>
                </a:lnTo>
                <a:lnTo>
                  <a:pt x="82" y="27"/>
                </a:lnTo>
                <a:lnTo>
                  <a:pt x="84" y="30"/>
                </a:lnTo>
                <a:lnTo>
                  <a:pt x="86" y="33"/>
                </a:lnTo>
                <a:lnTo>
                  <a:pt x="154" y="91"/>
                </a:lnTo>
                <a:lnTo>
                  <a:pt x="154" y="153"/>
                </a:lnTo>
                <a:lnTo>
                  <a:pt x="91" y="153"/>
                </a:lnTo>
                <a:lnTo>
                  <a:pt x="34" y="85"/>
                </a:lnTo>
                <a:lnTo>
                  <a:pt x="31" y="83"/>
                </a:lnTo>
                <a:lnTo>
                  <a:pt x="28" y="82"/>
                </a:lnTo>
                <a:lnTo>
                  <a:pt x="25" y="81"/>
                </a:lnTo>
                <a:lnTo>
                  <a:pt x="22" y="81"/>
                </a:lnTo>
                <a:lnTo>
                  <a:pt x="18" y="82"/>
                </a:lnTo>
                <a:lnTo>
                  <a:pt x="16" y="84"/>
                </a:lnTo>
                <a:lnTo>
                  <a:pt x="13" y="86"/>
                </a:lnTo>
                <a:lnTo>
                  <a:pt x="12" y="89"/>
                </a:lnTo>
                <a:lnTo>
                  <a:pt x="8" y="99"/>
                </a:lnTo>
                <a:lnTo>
                  <a:pt x="6" y="109"/>
                </a:lnTo>
                <a:lnTo>
                  <a:pt x="3" y="120"/>
                </a:lnTo>
                <a:lnTo>
                  <a:pt x="1" y="129"/>
                </a:lnTo>
                <a:lnTo>
                  <a:pt x="1" y="140"/>
                </a:lnTo>
                <a:lnTo>
                  <a:pt x="1" y="150"/>
                </a:lnTo>
                <a:lnTo>
                  <a:pt x="1" y="160"/>
                </a:lnTo>
                <a:lnTo>
                  <a:pt x="3" y="170"/>
                </a:lnTo>
                <a:lnTo>
                  <a:pt x="6" y="181"/>
                </a:lnTo>
                <a:lnTo>
                  <a:pt x="9" y="190"/>
                </a:lnTo>
                <a:lnTo>
                  <a:pt x="13" y="200"/>
                </a:lnTo>
                <a:lnTo>
                  <a:pt x="17" y="209"/>
                </a:lnTo>
                <a:lnTo>
                  <a:pt x="23" y="218"/>
                </a:lnTo>
                <a:lnTo>
                  <a:pt x="28" y="227"/>
                </a:lnTo>
                <a:lnTo>
                  <a:pt x="35" y="236"/>
                </a:lnTo>
                <a:lnTo>
                  <a:pt x="42" y="243"/>
                </a:lnTo>
                <a:lnTo>
                  <a:pt x="50" y="249"/>
                </a:lnTo>
                <a:lnTo>
                  <a:pt x="57" y="256"/>
                </a:lnTo>
                <a:lnTo>
                  <a:pt x="66" y="261"/>
                </a:lnTo>
                <a:lnTo>
                  <a:pt x="74" y="267"/>
                </a:lnTo>
                <a:lnTo>
                  <a:pt x="83" y="271"/>
                </a:lnTo>
                <a:lnTo>
                  <a:pt x="91" y="275"/>
                </a:lnTo>
                <a:lnTo>
                  <a:pt x="101" y="278"/>
                </a:lnTo>
                <a:lnTo>
                  <a:pt x="111" y="281"/>
                </a:lnTo>
                <a:lnTo>
                  <a:pt x="120" y="282"/>
                </a:lnTo>
                <a:lnTo>
                  <a:pt x="130" y="283"/>
                </a:lnTo>
                <a:lnTo>
                  <a:pt x="140" y="284"/>
                </a:lnTo>
                <a:lnTo>
                  <a:pt x="149" y="284"/>
                </a:lnTo>
                <a:lnTo>
                  <a:pt x="159" y="283"/>
                </a:lnTo>
                <a:lnTo>
                  <a:pt x="170" y="281"/>
                </a:lnTo>
                <a:lnTo>
                  <a:pt x="180" y="278"/>
                </a:lnTo>
                <a:lnTo>
                  <a:pt x="189" y="275"/>
                </a:lnTo>
                <a:lnTo>
                  <a:pt x="294" y="380"/>
                </a:lnTo>
                <a:lnTo>
                  <a:pt x="189" y="485"/>
                </a:lnTo>
                <a:lnTo>
                  <a:pt x="177" y="481"/>
                </a:lnTo>
                <a:lnTo>
                  <a:pt x="166" y="479"/>
                </a:lnTo>
                <a:lnTo>
                  <a:pt x="154" y="478"/>
                </a:lnTo>
                <a:lnTo>
                  <a:pt x="142" y="477"/>
                </a:lnTo>
                <a:lnTo>
                  <a:pt x="128" y="478"/>
                </a:lnTo>
                <a:lnTo>
                  <a:pt x="114" y="480"/>
                </a:lnTo>
                <a:lnTo>
                  <a:pt x="101" y="484"/>
                </a:lnTo>
                <a:lnTo>
                  <a:pt x="88" y="488"/>
                </a:lnTo>
                <a:lnTo>
                  <a:pt x="75" y="494"/>
                </a:lnTo>
                <a:lnTo>
                  <a:pt x="64" y="501"/>
                </a:lnTo>
                <a:lnTo>
                  <a:pt x="53" y="509"/>
                </a:lnTo>
                <a:lnTo>
                  <a:pt x="42" y="518"/>
                </a:lnTo>
                <a:lnTo>
                  <a:pt x="35" y="526"/>
                </a:lnTo>
                <a:lnTo>
                  <a:pt x="28" y="535"/>
                </a:lnTo>
                <a:lnTo>
                  <a:pt x="22" y="544"/>
                </a:lnTo>
                <a:lnTo>
                  <a:pt x="17" y="552"/>
                </a:lnTo>
                <a:lnTo>
                  <a:pt x="12" y="562"/>
                </a:lnTo>
                <a:lnTo>
                  <a:pt x="9" y="572"/>
                </a:lnTo>
                <a:lnTo>
                  <a:pt x="6" y="581"/>
                </a:lnTo>
                <a:lnTo>
                  <a:pt x="3" y="592"/>
                </a:lnTo>
                <a:lnTo>
                  <a:pt x="1" y="602"/>
                </a:lnTo>
                <a:lnTo>
                  <a:pt x="1" y="612"/>
                </a:lnTo>
                <a:lnTo>
                  <a:pt x="0" y="622"/>
                </a:lnTo>
                <a:lnTo>
                  <a:pt x="1" y="633"/>
                </a:lnTo>
                <a:lnTo>
                  <a:pt x="2" y="642"/>
                </a:lnTo>
                <a:lnTo>
                  <a:pt x="6" y="653"/>
                </a:lnTo>
                <a:lnTo>
                  <a:pt x="8" y="663"/>
                </a:lnTo>
                <a:lnTo>
                  <a:pt x="12" y="674"/>
                </a:lnTo>
                <a:lnTo>
                  <a:pt x="13" y="676"/>
                </a:lnTo>
                <a:lnTo>
                  <a:pt x="16" y="678"/>
                </a:lnTo>
                <a:lnTo>
                  <a:pt x="18" y="680"/>
                </a:lnTo>
                <a:lnTo>
                  <a:pt x="22" y="681"/>
                </a:lnTo>
                <a:lnTo>
                  <a:pt x="25" y="681"/>
                </a:lnTo>
                <a:lnTo>
                  <a:pt x="28" y="681"/>
                </a:lnTo>
                <a:lnTo>
                  <a:pt x="30" y="679"/>
                </a:lnTo>
                <a:lnTo>
                  <a:pt x="34" y="677"/>
                </a:lnTo>
                <a:lnTo>
                  <a:pt x="90" y="611"/>
                </a:lnTo>
                <a:lnTo>
                  <a:pt x="154" y="611"/>
                </a:lnTo>
                <a:lnTo>
                  <a:pt x="154" y="669"/>
                </a:lnTo>
                <a:lnTo>
                  <a:pt x="86" y="727"/>
                </a:lnTo>
                <a:lnTo>
                  <a:pt x="84" y="729"/>
                </a:lnTo>
                <a:lnTo>
                  <a:pt x="82" y="733"/>
                </a:lnTo>
                <a:lnTo>
                  <a:pt x="82" y="735"/>
                </a:lnTo>
                <a:lnTo>
                  <a:pt x="82" y="738"/>
                </a:lnTo>
                <a:lnTo>
                  <a:pt x="83" y="742"/>
                </a:lnTo>
                <a:lnTo>
                  <a:pt x="84" y="744"/>
                </a:lnTo>
                <a:lnTo>
                  <a:pt x="86" y="747"/>
                </a:lnTo>
                <a:lnTo>
                  <a:pt x="89" y="749"/>
                </a:lnTo>
                <a:lnTo>
                  <a:pt x="102" y="753"/>
                </a:lnTo>
                <a:lnTo>
                  <a:pt x="116" y="757"/>
                </a:lnTo>
                <a:lnTo>
                  <a:pt x="130" y="759"/>
                </a:lnTo>
                <a:lnTo>
                  <a:pt x="144" y="759"/>
                </a:lnTo>
                <a:lnTo>
                  <a:pt x="144" y="759"/>
                </a:lnTo>
                <a:lnTo>
                  <a:pt x="158" y="759"/>
                </a:lnTo>
                <a:lnTo>
                  <a:pt x="171" y="757"/>
                </a:lnTo>
                <a:lnTo>
                  <a:pt x="185" y="754"/>
                </a:lnTo>
                <a:lnTo>
                  <a:pt x="198" y="749"/>
                </a:lnTo>
                <a:lnTo>
                  <a:pt x="210" y="743"/>
                </a:lnTo>
                <a:lnTo>
                  <a:pt x="221" y="736"/>
                </a:lnTo>
                <a:lnTo>
                  <a:pt x="232" y="727"/>
                </a:lnTo>
                <a:lnTo>
                  <a:pt x="243" y="718"/>
                </a:lnTo>
                <a:lnTo>
                  <a:pt x="249" y="710"/>
                </a:lnTo>
                <a:lnTo>
                  <a:pt x="256" y="703"/>
                </a:lnTo>
                <a:lnTo>
                  <a:pt x="261" y="695"/>
                </a:lnTo>
                <a:lnTo>
                  <a:pt x="266" y="686"/>
                </a:lnTo>
                <a:lnTo>
                  <a:pt x="271" y="678"/>
                </a:lnTo>
                <a:lnTo>
                  <a:pt x="275" y="668"/>
                </a:lnTo>
                <a:lnTo>
                  <a:pt x="278" y="660"/>
                </a:lnTo>
                <a:lnTo>
                  <a:pt x="280" y="650"/>
                </a:lnTo>
                <a:lnTo>
                  <a:pt x="282" y="640"/>
                </a:lnTo>
                <a:lnTo>
                  <a:pt x="283" y="631"/>
                </a:lnTo>
                <a:lnTo>
                  <a:pt x="284" y="621"/>
                </a:lnTo>
                <a:lnTo>
                  <a:pt x="283" y="611"/>
                </a:lnTo>
                <a:lnTo>
                  <a:pt x="283" y="602"/>
                </a:lnTo>
                <a:lnTo>
                  <a:pt x="280" y="591"/>
                </a:lnTo>
                <a:lnTo>
                  <a:pt x="278" y="581"/>
                </a:lnTo>
                <a:lnTo>
                  <a:pt x="275" y="572"/>
                </a:lnTo>
                <a:lnTo>
                  <a:pt x="380" y="466"/>
                </a:lnTo>
                <a:lnTo>
                  <a:pt x="486" y="572"/>
                </a:lnTo>
                <a:lnTo>
                  <a:pt x="482" y="581"/>
                </a:lnTo>
                <a:lnTo>
                  <a:pt x="480" y="591"/>
                </a:lnTo>
                <a:lnTo>
                  <a:pt x="479" y="601"/>
                </a:lnTo>
                <a:lnTo>
                  <a:pt x="478" y="610"/>
                </a:lnTo>
                <a:lnTo>
                  <a:pt x="478" y="620"/>
                </a:lnTo>
                <a:lnTo>
                  <a:pt x="478" y="631"/>
                </a:lnTo>
                <a:lnTo>
                  <a:pt x="479" y="640"/>
                </a:lnTo>
                <a:lnTo>
                  <a:pt x="481" y="650"/>
                </a:lnTo>
                <a:lnTo>
                  <a:pt x="483" y="659"/>
                </a:lnTo>
                <a:lnTo>
                  <a:pt x="487" y="668"/>
                </a:lnTo>
                <a:lnTo>
                  <a:pt x="491" y="678"/>
                </a:lnTo>
                <a:lnTo>
                  <a:pt x="495" y="686"/>
                </a:lnTo>
                <a:lnTo>
                  <a:pt x="501" y="695"/>
                </a:lnTo>
                <a:lnTo>
                  <a:pt x="506" y="703"/>
                </a:lnTo>
                <a:lnTo>
                  <a:pt x="512" y="710"/>
                </a:lnTo>
                <a:lnTo>
                  <a:pt x="519" y="718"/>
                </a:lnTo>
                <a:lnTo>
                  <a:pt x="530" y="727"/>
                </a:lnTo>
                <a:lnTo>
                  <a:pt x="541" y="736"/>
                </a:lnTo>
                <a:lnTo>
                  <a:pt x="553" y="743"/>
                </a:lnTo>
                <a:lnTo>
                  <a:pt x="565" y="749"/>
                </a:lnTo>
                <a:lnTo>
                  <a:pt x="578" y="754"/>
                </a:lnTo>
                <a:lnTo>
                  <a:pt x="592" y="757"/>
                </a:lnTo>
                <a:lnTo>
                  <a:pt x="605" y="759"/>
                </a:lnTo>
                <a:lnTo>
                  <a:pt x="619" y="759"/>
                </a:lnTo>
                <a:lnTo>
                  <a:pt x="633" y="759"/>
                </a:lnTo>
                <a:lnTo>
                  <a:pt x="647" y="757"/>
                </a:lnTo>
                <a:lnTo>
                  <a:pt x="661" y="753"/>
                </a:lnTo>
                <a:lnTo>
                  <a:pt x="674" y="749"/>
                </a:lnTo>
                <a:lnTo>
                  <a:pt x="677" y="747"/>
                </a:lnTo>
                <a:lnTo>
                  <a:pt x="679" y="744"/>
                </a:lnTo>
                <a:lnTo>
                  <a:pt x="681" y="742"/>
                </a:lnTo>
                <a:lnTo>
                  <a:pt x="682" y="738"/>
                </a:lnTo>
                <a:lnTo>
                  <a:pt x="682" y="735"/>
                </a:lnTo>
                <a:lnTo>
                  <a:pt x="681" y="733"/>
                </a:lnTo>
                <a:lnTo>
                  <a:pt x="680" y="729"/>
                </a:lnTo>
                <a:lnTo>
                  <a:pt x="678" y="727"/>
                </a:lnTo>
                <a:lnTo>
                  <a:pt x="612" y="669"/>
                </a:lnTo>
                <a:lnTo>
                  <a:pt x="612" y="611"/>
                </a:lnTo>
                <a:lnTo>
                  <a:pt x="670" y="611"/>
                </a:lnTo>
                <a:lnTo>
                  <a:pt x="727" y="677"/>
                </a:lnTo>
                <a:lnTo>
                  <a:pt x="730" y="679"/>
                </a:lnTo>
                <a:lnTo>
                  <a:pt x="732" y="681"/>
                </a:lnTo>
                <a:lnTo>
                  <a:pt x="736" y="681"/>
                </a:lnTo>
                <a:lnTo>
                  <a:pt x="739" y="681"/>
                </a:lnTo>
                <a:lnTo>
                  <a:pt x="742" y="680"/>
                </a:lnTo>
                <a:lnTo>
                  <a:pt x="745" y="678"/>
                </a:lnTo>
                <a:lnTo>
                  <a:pt x="747" y="676"/>
                </a:lnTo>
                <a:lnTo>
                  <a:pt x="749" y="674"/>
                </a:lnTo>
                <a:lnTo>
                  <a:pt x="753" y="663"/>
                </a:lnTo>
                <a:lnTo>
                  <a:pt x="756" y="653"/>
                </a:lnTo>
                <a:lnTo>
                  <a:pt x="758" y="642"/>
                </a:lnTo>
                <a:lnTo>
                  <a:pt x="759" y="633"/>
                </a:lnTo>
                <a:lnTo>
                  <a:pt x="760" y="622"/>
                </a:lnTo>
                <a:lnTo>
                  <a:pt x="760" y="612"/>
                </a:lnTo>
                <a:lnTo>
                  <a:pt x="759" y="602"/>
                </a:lnTo>
                <a:lnTo>
                  <a:pt x="757" y="592"/>
                </a:lnTo>
                <a:lnTo>
                  <a:pt x="755" y="581"/>
                </a:lnTo>
                <a:lnTo>
                  <a:pt x="752" y="572"/>
                </a:lnTo>
                <a:lnTo>
                  <a:pt x="749" y="562"/>
                </a:lnTo>
                <a:lnTo>
                  <a:pt x="744" y="552"/>
                </a:lnTo>
                <a:lnTo>
                  <a:pt x="739" y="544"/>
                </a:lnTo>
                <a:lnTo>
                  <a:pt x="732" y="535"/>
                </a:lnTo>
                <a:lnTo>
                  <a:pt x="726" y="526"/>
                </a:lnTo>
                <a:lnTo>
                  <a:pt x="719" y="51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1044" name="Group 18">
            <a:extLst>
              <a:ext uri="{FF2B5EF4-FFF2-40B4-BE49-F238E27FC236}">
                <a16:creationId xmlns:a16="http://schemas.microsoft.com/office/drawing/2014/main" id="{19065DCC-B55E-4D5A-8D27-531B2C44C982}"/>
              </a:ext>
            </a:extLst>
          </p:cNvPr>
          <p:cNvGrpSpPr>
            <a:grpSpLocks noChangeAspect="1"/>
          </p:cNvGrpSpPr>
          <p:nvPr/>
        </p:nvGrpSpPr>
        <p:grpSpPr>
          <a:xfrm>
            <a:off x="272744" y="3282401"/>
            <a:ext cx="304790" cy="253991"/>
            <a:chOff x="9886950" y="822325"/>
            <a:chExt cx="285750" cy="238125"/>
          </a:xfrm>
          <a:solidFill>
            <a:schemeClr val="bg1"/>
          </a:solidFill>
          <a:effectLst/>
        </p:grpSpPr>
        <p:sp>
          <p:nvSpPr>
            <p:cNvPr id="1045" name="Freeform 361">
              <a:extLst>
                <a:ext uri="{FF2B5EF4-FFF2-40B4-BE49-F238E27FC236}">
                  <a16:creationId xmlns:a16="http://schemas.microsoft.com/office/drawing/2014/main" id="{FB966A3F-A650-4798-B3BB-22223844BCCB}"/>
                </a:ext>
              </a:extLst>
            </p:cNvPr>
            <p:cNvSpPr>
              <a:spLocks noEditPoints="1"/>
            </p:cNvSpPr>
            <p:nvPr/>
          </p:nvSpPr>
          <p:spPr bwMode="auto">
            <a:xfrm>
              <a:off x="9963150" y="898525"/>
              <a:ext cx="133350" cy="133350"/>
            </a:xfrm>
            <a:custGeom>
              <a:avLst/>
              <a:gdLst>
                <a:gd name="T0" fmla="*/ 286 w 421"/>
                <a:gd name="T1" fmla="*/ 270 h 420"/>
                <a:gd name="T2" fmla="*/ 280 w 421"/>
                <a:gd name="T3" fmla="*/ 271 h 420"/>
                <a:gd name="T4" fmla="*/ 275 w 421"/>
                <a:gd name="T5" fmla="*/ 274 h 420"/>
                <a:gd name="T6" fmla="*/ 272 w 421"/>
                <a:gd name="T7" fmla="*/ 280 h 420"/>
                <a:gd name="T8" fmla="*/ 271 w 421"/>
                <a:gd name="T9" fmla="*/ 285 h 420"/>
                <a:gd name="T10" fmla="*/ 150 w 421"/>
                <a:gd name="T11" fmla="*/ 390 h 420"/>
                <a:gd name="T12" fmla="*/ 150 w 421"/>
                <a:gd name="T13" fmla="*/ 282 h 420"/>
                <a:gd name="T14" fmla="*/ 148 w 421"/>
                <a:gd name="T15" fmla="*/ 277 h 420"/>
                <a:gd name="T16" fmla="*/ 144 w 421"/>
                <a:gd name="T17" fmla="*/ 273 h 420"/>
                <a:gd name="T18" fmla="*/ 138 w 421"/>
                <a:gd name="T19" fmla="*/ 270 h 420"/>
                <a:gd name="T20" fmla="*/ 30 w 421"/>
                <a:gd name="T21" fmla="*/ 270 h 420"/>
                <a:gd name="T22" fmla="*/ 135 w 421"/>
                <a:gd name="T23" fmla="*/ 150 h 420"/>
                <a:gd name="T24" fmla="*/ 142 w 421"/>
                <a:gd name="T25" fmla="*/ 149 h 420"/>
                <a:gd name="T26" fmla="*/ 146 w 421"/>
                <a:gd name="T27" fmla="*/ 146 h 420"/>
                <a:gd name="T28" fmla="*/ 149 w 421"/>
                <a:gd name="T29" fmla="*/ 142 h 420"/>
                <a:gd name="T30" fmla="*/ 150 w 421"/>
                <a:gd name="T31" fmla="*/ 135 h 420"/>
                <a:gd name="T32" fmla="*/ 271 w 421"/>
                <a:gd name="T33" fmla="*/ 30 h 420"/>
                <a:gd name="T34" fmla="*/ 271 w 421"/>
                <a:gd name="T35" fmla="*/ 138 h 420"/>
                <a:gd name="T36" fmla="*/ 273 w 421"/>
                <a:gd name="T37" fmla="*/ 144 h 420"/>
                <a:gd name="T38" fmla="*/ 278 w 421"/>
                <a:gd name="T39" fmla="*/ 148 h 420"/>
                <a:gd name="T40" fmla="*/ 283 w 421"/>
                <a:gd name="T41" fmla="*/ 150 h 420"/>
                <a:gd name="T42" fmla="*/ 391 w 421"/>
                <a:gd name="T43" fmla="*/ 150 h 420"/>
                <a:gd name="T44" fmla="*/ 406 w 421"/>
                <a:gd name="T45" fmla="*/ 120 h 420"/>
                <a:gd name="T46" fmla="*/ 301 w 421"/>
                <a:gd name="T47" fmla="*/ 15 h 420"/>
                <a:gd name="T48" fmla="*/ 299 w 421"/>
                <a:gd name="T49" fmla="*/ 10 h 420"/>
                <a:gd name="T50" fmla="*/ 296 w 421"/>
                <a:gd name="T51" fmla="*/ 5 h 420"/>
                <a:gd name="T52" fmla="*/ 291 w 421"/>
                <a:gd name="T53" fmla="*/ 1 h 420"/>
                <a:gd name="T54" fmla="*/ 286 w 421"/>
                <a:gd name="T55" fmla="*/ 0 h 420"/>
                <a:gd name="T56" fmla="*/ 133 w 421"/>
                <a:gd name="T57" fmla="*/ 0 h 420"/>
                <a:gd name="T58" fmla="*/ 127 w 421"/>
                <a:gd name="T59" fmla="*/ 2 h 420"/>
                <a:gd name="T60" fmla="*/ 124 w 421"/>
                <a:gd name="T61" fmla="*/ 7 h 420"/>
                <a:gd name="T62" fmla="*/ 121 w 421"/>
                <a:gd name="T63" fmla="*/ 12 h 420"/>
                <a:gd name="T64" fmla="*/ 120 w 421"/>
                <a:gd name="T65" fmla="*/ 120 h 420"/>
                <a:gd name="T66" fmla="*/ 12 w 421"/>
                <a:gd name="T67" fmla="*/ 120 h 420"/>
                <a:gd name="T68" fmla="*/ 7 w 421"/>
                <a:gd name="T69" fmla="*/ 122 h 420"/>
                <a:gd name="T70" fmla="*/ 4 w 421"/>
                <a:gd name="T71" fmla="*/ 127 h 420"/>
                <a:gd name="T72" fmla="*/ 0 w 421"/>
                <a:gd name="T73" fmla="*/ 132 h 420"/>
                <a:gd name="T74" fmla="*/ 0 w 421"/>
                <a:gd name="T75" fmla="*/ 285 h 420"/>
                <a:gd name="T76" fmla="*/ 2 w 421"/>
                <a:gd name="T77" fmla="*/ 291 h 420"/>
                <a:gd name="T78" fmla="*/ 5 w 421"/>
                <a:gd name="T79" fmla="*/ 296 h 420"/>
                <a:gd name="T80" fmla="*/ 10 w 421"/>
                <a:gd name="T81" fmla="*/ 299 h 420"/>
                <a:gd name="T82" fmla="*/ 15 w 421"/>
                <a:gd name="T83" fmla="*/ 300 h 420"/>
                <a:gd name="T84" fmla="*/ 120 w 421"/>
                <a:gd name="T85" fmla="*/ 405 h 420"/>
                <a:gd name="T86" fmla="*/ 121 w 421"/>
                <a:gd name="T87" fmla="*/ 411 h 420"/>
                <a:gd name="T88" fmla="*/ 125 w 421"/>
                <a:gd name="T89" fmla="*/ 415 h 420"/>
                <a:gd name="T90" fmla="*/ 130 w 421"/>
                <a:gd name="T91" fmla="*/ 419 h 420"/>
                <a:gd name="T92" fmla="*/ 135 w 421"/>
                <a:gd name="T93" fmla="*/ 420 h 420"/>
                <a:gd name="T94" fmla="*/ 288 w 421"/>
                <a:gd name="T95" fmla="*/ 420 h 420"/>
                <a:gd name="T96" fmla="*/ 294 w 421"/>
                <a:gd name="T97" fmla="*/ 418 h 420"/>
                <a:gd name="T98" fmla="*/ 298 w 421"/>
                <a:gd name="T99" fmla="*/ 413 h 420"/>
                <a:gd name="T100" fmla="*/ 300 w 421"/>
                <a:gd name="T101" fmla="*/ 408 h 420"/>
                <a:gd name="T102" fmla="*/ 301 w 421"/>
                <a:gd name="T103" fmla="*/ 300 h 420"/>
                <a:gd name="T104" fmla="*/ 409 w 421"/>
                <a:gd name="T105" fmla="*/ 300 h 420"/>
                <a:gd name="T106" fmla="*/ 415 w 421"/>
                <a:gd name="T107" fmla="*/ 298 h 420"/>
                <a:gd name="T108" fmla="*/ 418 w 421"/>
                <a:gd name="T109" fmla="*/ 293 h 420"/>
                <a:gd name="T110" fmla="*/ 420 w 421"/>
                <a:gd name="T111" fmla="*/ 288 h 420"/>
                <a:gd name="T112" fmla="*/ 421 w 421"/>
                <a:gd name="T113" fmla="*/ 135 h 420"/>
                <a:gd name="T114" fmla="*/ 420 w 421"/>
                <a:gd name="T115" fmla="*/ 130 h 420"/>
                <a:gd name="T116" fmla="*/ 417 w 421"/>
                <a:gd name="T117" fmla="*/ 124 h 420"/>
                <a:gd name="T118" fmla="*/ 411 w 421"/>
                <a:gd name="T119" fmla="*/ 121 h 420"/>
                <a:gd name="T120" fmla="*/ 406 w 421"/>
                <a:gd name="T121" fmla="*/ 1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1" h="420">
                  <a:moveTo>
                    <a:pt x="391" y="270"/>
                  </a:moveTo>
                  <a:lnTo>
                    <a:pt x="286" y="270"/>
                  </a:lnTo>
                  <a:lnTo>
                    <a:pt x="283" y="270"/>
                  </a:lnTo>
                  <a:lnTo>
                    <a:pt x="280" y="271"/>
                  </a:lnTo>
                  <a:lnTo>
                    <a:pt x="278" y="273"/>
                  </a:lnTo>
                  <a:lnTo>
                    <a:pt x="275" y="274"/>
                  </a:lnTo>
                  <a:lnTo>
                    <a:pt x="273" y="277"/>
                  </a:lnTo>
                  <a:lnTo>
                    <a:pt x="272" y="280"/>
                  </a:lnTo>
                  <a:lnTo>
                    <a:pt x="271" y="283"/>
                  </a:lnTo>
                  <a:lnTo>
                    <a:pt x="271" y="285"/>
                  </a:lnTo>
                  <a:lnTo>
                    <a:pt x="271" y="390"/>
                  </a:lnTo>
                  <a:lnTo>
                    <a:pt x="150" y="390"/>
                  </a:lnTo>
                  <a:lnTo>
                    <a:pt x="150" y="285"/>
                  </a:lnTo>
                  <a:lnTo>
                    <a:pt x="150" y="282"/>
                  </a:lnTo>
                  <a:lnTo>
                    <a:pt x="149" y="280"/>
                  </a:lnTo>
                  <a:lnTo>
                    <a:pt x="148" y="277"/>
                  </a:lnTo>
                  <a:lnTo>
                    <a:pt x="146" y="274"/>
                  </a:lnTo>
                  <a:lnTo>
                    <a:pt x="144" y="273"/>
                  </a:lnTo>
                  <a:lnTo>
                    <a:pt x="142" y="271"/>
                  </a:lnTo>
                  <a:lnTo>
                    <a:pt x="138" y="270"/>
                  </a:lnTo>
                  <a:lnTo>
                    <a:pt x="135" y="270"/>
                  </a:lnTo>
                  <a:lnTo>
                    <a:pt x="30" y="270"/>
                  </a:lnTo>
                  <a:lnTo>
                    <a:pt x="30" y="150"/>
                  </a:lnTo>
                  <a:lnTo>
                    <a:pt x="135" y="150"/>
                  </a:lnTo>
                  <a:lnTo>
                    <a:pt x="138" y="150"/>
                  </a:lnTo>
                  <a:lnTo>
                    <a:pt x="142" y="149"/>
                  </a:lnTo>
                  <a:lnTo>
                    <a:pt x="144" y="148"/>
                  </a:lnTo>
                  <a:lnTo>
                    <a:pt x="146" y="146"/>
                  </a:lnTo>
                  <a:lnTo>
                    <a:pt x="148" y="144"/>
                  </a:lnTo>
                  <a:lnTo>
                    <a:pt x="149" y="142"/>
                  </a:lnTo>
                  <a:lnTo>
                    <a:pt x="150" y="138"/>
                  </a:lnTo>
                  <a:lnTo>
                    <a:pt x="150" y="135"/>
                  </a:lnTo>
                  <a:lnTo>
                    <a:pt x="150" y="30"/>
                  </a:lnTo>
                  <a:lnTo>
                    <a:pt x="271" y="30"/>
                  </a:lnTo>
                  <a:lnTo>
                    <a:pt x="271" y="135"/>
                  </a:lnTo>
                  <a:lnTo>
                    <a:pt x="271" y="138"/>
                  </a:lnTo>
                  <a:lnTo>
                    <a:pt x="272" y="142"/>
                  </a:lnTo>
                  <a:lnTo>
                    <a:pt x="273" y="144"/>
                  </a:lnTo>
                  <a:lnTo>
                    <a:pt x="275" y="146"/>
                  </a:lnTo>
                  <a:lnTo>
                    <a:pt x="278" y="148"/>
                  </a:lnTo>
                  <a:lnTo>
                    <a:pt x="280" y="149"/>
                  </a:lnTo>
                  <a:lnTo>
                    <a:pt x="283" y="150"/>
                  </a:lnTo>
                  <a:lnTo>
                    <a:pt x="286" y="150"/>
                  </a:lnTo>
                  <a:lnTo>
                    <a:pt x="391" y="150"/>
                  </a:lnTo>
                  <a:lnTo>
                    <a:pt x="391" y="270"/>
                  </a:lnTo>
                  <a:close/>
                  <a:moveTo>
                    <a:pt x="406" y="120"/>
                  </a:moveTo>
                  <a:lnTo>
                    <a:pt x="301" y="120"/>
                  </a:lnTo>
                  <a:lnTo>
                    <a:pt x="301" y="15"/>
                  </a:lnTo>
                  <a:lnTo>
                    <a:pt x="300" y="12"/>
                  </a:lnTo>
                  <a:lnTo>
                    <a:pt x="299" y="10"/>
                  </a:lnTo>
                  <a:lnTo>
                    <a:pt x="298" y="7"/>
                  </a:lnTo>
                  <a:lnTo>
                    <a:pt x="296" y="5"/>
                  </a:lnTo>
                  <a:lnTo>
                    <a:pt x="294" y="2"/>
                  </a:lnTo>
                  <a:lnTo>
                    <a:pt x="291" y="1"/>
                  </a:lnTo>
                  <a:lnTo>
                    <a:pt x="288" y="0"/>
                  </a:lnTo>
                  <a:lnTo>
                    <a:pt x="286" y="0"/>
                  </a:lnTo>
                  <a:lnTo>
                    <a:pt x="135" y="0"/>
                  </a:lnTo>
                  <a:lnTo>
                    <a:pt x="133" y="0"/>
                  </a:lnTo>
                  <a:lnTo>
                    <a:pt x="130" y="1"/>
                  </a:lnTo>
                  <a:lnTo>
                    <a:pt x="127" y="2"/>
                  </a:lnTo>
                  <a:lnTo>
                    <a:pt x="125" y="5"/>
                  </a:lnTo>
                  <a:lnTo>
                    <a:pt x="124" y="7"/>
                  </a:lnTo>
                  <a:lnTo>
                    <a:pt x="121" y="10"/>
                  </a:lnTo>
                  <a:lnTo>
                    <a:pt x="121" y="12"/>
                  </a:lnTo>
                  <a:lnTo>
                    <a:pt x="120" y="15"/>
                  </a:lnTo>
                  <a:lnTo>
                    <a:pt x="120" y="120"/>
                  </a:lnTo>
                  <a:lnTo>
                    <a:pt x="15" y="120"/>
                  </a:lnTo>
                  <a:lnTo>
                    <a:pt x="12" y="120"/>
                  </a:lnTo>
                  <a:lnTo>
                    <a:pt x="10" y="121"/>
                  </a:lnTo>
                  <a:lnTo>
                    <a:pt x="7" y="122"/>
                  </a:lnTo>
                  <a:lnTo>
                    <a:pt x="5" y="124"/>
                  </a:lnTo>
                  <a:lnTo>
                    <a:pt x="4" y="127"/>
                  </a:lnTo>
                  <a:lnTo>
                    <a:pt x="2" y="130"/>
                  </a:lnTo>
                  <a:lnTo>
                    <a:pt x="0" y="132"/>
                  </a:lnTo>
                  <a:lnTo>
                    <a:pt x="0" y="135"/>
                  </a:lnTo>
                  <a:lnTo>
                    <a:pt x="0" y="285"/>
                  </a:lnTo>
                  <a:lnTo>
                    <a:pt x="0" y="288"/>
                  </a:lnTo>
                  <a:lnTo>
                    <a:pt x="2" y="291"/>
                  </a:lnTo>
                  <a:lnTo>
                    <a:pt x="4" y="293"/>
                  </a:lnTo>
                  <a:lnTo>
                    <a:pt x="5" y="296"/>
                  </a:lnTo>
                  <a:lnTo>
                    <a:pt x="7" y="298"/>
                  </a:lnTo>
                  <a:lnTo>
                    <a:pt x="10" y="299"/>
                  </a:lnTo>
                  <a:lnTo>
                    <a:pt x="12" y="300"/>
                  </a:lnTo>
                  <a:lnTo>
                    <a:pt x="15" y="300"/>
                  </a:lnTo>
                  <a:lnTo>
                    <a:pt x="120" y="300"/>
                  </a:lnTo>
                  <a:lnTo>
                    <a:pt x="120" y="405"/>
                  </a:lnTo>
                  <a:lnTo>
                    <a:pt x="121" y="408"/>
                  </a:lnTo>
                  <a:lnTo>
                    <a:pt x="121" y="411"/>
                  </a:lnTo>
                  <a:lnTo>
                    <a:pt x="124" y="413"/>
                  </a:lnTo>
                  <a:lnTo>
                    <a:pt x="125" y="415"/>
                  </a:lnTo>
                  <a:lnTo>
                    <a:pt x="127" y="418"/>
                  </a:lnTo>
                  <a:lnTo>
                    <a:pt x="130" y="419"/>
                  </a:lnTo>
                  <a:lnTo>
                    <a:pt x="132" y="420"/>
                  </a:lnTo>
                  <a:lnTo>
                    <a:pt x="135" y="420"/>
                  </a:lnTo>
                  <a:lnTo>
                    <a:pt x="286" y="420"/>
                  </a:lnTo>
                  <a:lnTo>
                    <a:pt x="288" y="420"/>
                  </a:lnTo>
                  <a:lnTo>
                    <a:pt x="291" y="419"/>
                  </a:lnTo>
                  <a:lnTo>
                    <a:pt x="294" y="418"/>
                  </a:lnTo>
                  <a:lnTo>
                    <a:pt x="296" y="415"/>
                  </a:lnTo>
                  <a:lnTo>
                    <a:pt x="298" y="413"/>
                  </a:lnTo>
                  <a:lnTo>
                    <a:pt x="299" y="411"/>
                  </a:lnTo>
                  <a:lnTo>
                    <a:pt x="300" y="408"/>
                  </a:lnTo>
                  <a:lnTo>
                    <a:pt x="301" y="405"/>
                  </a:lnTo>
                  <a:lnTo>
                    <a:pt x="301" y="300"/>
                  </a:lnTo>
                  <a:lnTo>
                    <a:pt x="406" y="300"/>
                  </a:lnTo>
                  <a:lnTo>
                    <a:pt x="409" y="300"/>
                  </a:lnTo>
                  <a:lnTo>
                    <a:pt x="411" y="299"/>
                  </a:lnTo>
                  <a:lnTo>
                    <a:pt x="415" y="298"/>
                  </a:lnTo>
                  <a:lnTo>
                    <a:pt x="417" y="296"/>
                  </a:lnTo>
                  <a:lnTo>
                    <a:pt x="418" y="293"/>
                  </a:lnTo>
                  <a:lnTo>
                    <a:pt x="420" y="291"/>
                  </a:lnTo>
                  <a:lnTo>
                    <a:pt x="420" y="288"/>
                  </a:lnTo>
                  <a:lnTo>
                    <a:pt x="421" y="285"/>
                  </a:lnTo>
                  <a:lnTo>
                    <a:pt x="421" y="135"/>
                  </a:lnTo>
                  <a:lnTo>
                    <a:pt x="420" y="132"/>
                  </a:lnTo>
                  <a:lnTo>
                    <a:pt x="420" y="130"/>
                  </a:lnTo>
                  <a:lnTo>
                    <a:pt x="418" y="127"/>
                  </a:lnTo>
                  <a:lnTo>
                    <a:pt x="417" y="124"/>
                  </a:lnTo>
                  <a:lnTo>
                    <a:pt x="415" y="122"/>
                  </a:lnTo>
                  <a:lnTo>
                    <a:pt x="411" y="121"/>
                  </a:lnTo>
                  <a:lnTo>
                    <a:pt x="409" y="120"/>
                  </a:lnTo>
                  <a:lnTo>
                    <a:pt x="406"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362">
              <a:extLst>
                <a:ext uri="{FF2B5EF4-FFF2-40B4-BE49-F238E27FC236}">
                  <a16:creationId xmlns:a16="http://schemas.microsoft.com/office/drawing/2014/main" id="{4DD37B91-4498-45F3-ABC3-AB061807308A}"/>
                </a:ext>
              </a:extLst>
            </p:cNvPr>
            <p:cNvSpPr>
              <a:spLocks noEditPoints="1"/>
            </p:cNvSpPr>
            <p:nvPr/>
          </p:nvSpPr>
          <p:spPr bwMode="auto">
            <a:xfrm>
              <a:off x="9886950" y="822325"/>
              <a:ext cx="285750" cy="238125"/>
            </a:xfrm>
            <a:custGeom>
              <a:avLst/>
              <a:gdLst>
                <a:gd name="T0" fmla="*/ 866 w 900"/>
                <a:gd name="T1" fmla="*/ 667 h 750"/>
                <a:gd name="T2" fmla="*/ 853 w 900"/>
                <a:gd name="T3" fmla="*/ 693 h 750"/>
                <a:gd name="T4" fmla="*/ 830 w 900"/>
                <a:gd name="T5" fmla="*/ 711 h 750"/>
                <a:gd name="T6" fmla="*/ 802 w 900"/>
                <a:gd name="T7" fmla="*/ 720 h 750"/>
                <a:gd name="T8" fmla="*/ 90 w 900"/>
                <a:gd name="T9" fmla="*/ 718 h 750"/>
                <a:gd name="T10" fmla="*/ 63 w 900"/>
                <a:gd name="T11" fmla="*/ 708 h 750"/>
                <a:gd name="T12" fmla="*/ 43 w 900"/>
                <a:gd name="T13" fmla="*/ 687 h 750"/>
                <a:gd name="T14" fmla="*/ 31 w 900"/>
                <a:gd name="T15" fmla="*/ 661 h 750"/>
                <a:gd name="T16" fmla="*/ 30 w 900"/>
                <a:gd name="T17" fmla="*/ 218 h 750"/>
                <a:gd name="T18" fmla="*/ 38 w 900"/>
                <a:gd name="T19" fmla="*/ 190 h 750"/>
                <a:gd name="T20" fmla="*/ 56 w 900"/>
                <a:gd name="T21" fmla="*/ 168 h 750"/>
                <a:gd name="T22" fmla="*/ 82 w 900"/>
                <a:gd name="T23" fmla="*/ 154 h 750"/>
                <a:gd name="T24" fmla="*/ 795 w 900"/>
                <a:gd name="T25" fmla="*/ 150 h 750"/>
                <a:gd name="T26" fmla="*/ 824 w 900"/>
                <a:gd name="T27" fmla="*/ 156 h 750"/>
                <a:gd name="T28" fmla="*/ 848 w 900"/>
                <a:gd name="T29" fmla="*/ 172 h 750"/>
                <a:gd name="T30" fmla="*/ 864 w 900"/>
                <a:gd name="T31" fmla="*/ 196 h 750"/>
                <a:gd name="T32" fmla="*/ 870 w 900"/>
                <a:gd name="T33" fmla="*/ 225 h 750"/>
                <a:gd name="T34" fmla="*/ 331 w 900"/>
                <a:gd name="T35" fmla="*/ 49 h 750"/>
                <a:gd name="T36" fmla="*/ 348 w 900"/>
                <a:gd name="T37" fmla="*/ 33 h 750"/>
                <a:gd name="T38" fmla="*/ 545 w 900"/>
                <a:gd name="T39" fmla="*/ 31 h 750"/>
                <a:gd name="T40" fmla="*/ 565 w 900"/>
                <a:gd name="T41" fmla="*/ 44 h 750"/>
                <a:gd name="T42" fmla="*/ 570 w 900"/>
                <a:gd name="T43" fmla="*/ 119 h 750"/>
                <a:gd name="T44" fmla="*/ 600 w 900"/>
                <a:gd name="T45" fmla="*/ 119 h 750"/>
                <a:gd name="T46" fmla="*/ 597 w 900"/>
                <a:gd name="T47" fmla="*/ 42 h 750"/>
                <a:gd name="T48" fmla="*/ 586 w 900"/>
                <a:gd name="T49" fmla="*/ 22 h 750"/>
                <a:gd name="T50" fmla="*/ 568 w 900"/>
                <a:gd name="T51" fmla="*/ 7 h 750"/>
                <a:gd name="T52" fmla="*/ 545 w 900"/>
                <a:gd name="T53" fmla="*/ 1 h 750"/>
                <a:gd name="T54" fmla="*/ 348 w 900"/>
                <a:gd name="T55" fmla="*/ 1 h 750"/>
                <a:gd name="T56" fmla="*/ 326 w 900"/>
                <a:gd name="T57" fmla="*/ 10 h 750"/>
                <a:gd name="T58" fmla="*/ 310 w 900"/>
                <a:gd name="T59" fmla="*/ 26 h 750"/>
                <a:gd name="T60" fmla="*/ 300 w 900"/>
                <a:gd name="T61" fmla="*/ 48 h 750"/>
                <a:gd name="T62" fmla="*/ 105 w 900"/>
                <a:gd name="T63" fmla="*/ 119 h 750"/>
                <a:gd name="T64" fmla="*/ 64 w 900"/>
                <a:gd name="T65" fmla="*/ 128 h 750"/>
                <a:gd name="T66" fmla="*/ 31 w 900"/>
                <a:gd name="T67" fmla="*/ 152 h 750"/>
                <a:gd name="T68" fmla="*/ 7 w 900"/>
                <a:gd name="T69" fmla="*/ 185 h 750"/>
                <a:gd name="T70" fmla="*/ 0 w 900"/>
                <a:gd name="T71" fmla="*/ 225 h 750"/>
                <a:gd name="T72" fmla="*/ 4 w 900"/>
                <a:gd name="T73" fmla="*/ 677 h 750"/>
                <a:gd name="T74" fmla="*/ 23 w 900"/>
                <a:gd name="T75" fmla="*/ 712 h 750"/>
                <a:gd name="T76" fmla="*/ 54 w 900"/>
                <a:gd name="T77" fmla="*/ 738 h 750"/>
                <a:gd name="T78" fmla="*/ 94 w 900"/>
                <a:gd name="T79" fmla="*/ 750 h 750"/>
                <a:gd name="T80" fmla="*/ 816 w 900"/>
                <a:gd name="T81" fmla="*/ 747 h 750"/>
                <a:gd name="T82" fmla="*/ 854 w 900"/>
                <a:gd name="T83" fmla="*/ 732 h 750"/>
                <a:gd name="T84" fmla="*/ 881 w 900"/>
                <a:gd name="T85" fmla="*/ 704 h 750"/>
                <a:gd name="T86" fmla="*/ 898 w 900"/>
                <a:gd name="T87" fmla="*/ 666 h 750"/>
                <a:gd name="T88" fmla="*/ 900 w 900"/>
                <a:gd name="T89" fmla="*/ 215 h 750"/>
                <a:gd name="T90" fmla="*/ 887 w 900"/>
                <a:gd name="T91" fmla="*/ 175 h 750"/>
                <a:gd name="T92" fmla="*/ 861 w 900"/>
                <a:gd name="T93" fmla="*/ 144 h 750"/>
                <a:gd name="T94" fmla="*/ 826 w 900"/>
                <a:gd name="T95" fmla="*/ 12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00" h="750">
                  <a:moveTo>
                    <a:pt x="870" y="645"/>
                  </a:moveTo>
                  <a:lnTo>
                    <a:pt x="870" y="653"/>
                  </a:lnTo>
                  <a:lnTo>
                    <a:pt x="869" y="661"/>
                  </a:lnTo>
                  <a:lnTo>
                    <a:pt x="866" y="667"/>
                  </a:lnTo>
                  <a:lnTo>
                    <a:pt x="864" y="675"/>
                  </a:lnTo>
                  <a:lnTo>
                    <a:pt x="861" y="681"/>
                  </a:lnTo>
                  <a:lnTo>
                    <a:pt x="857" y="687"/>
                  </a:lnTo>
                  <a:lnTo>
                    <a:pt x="853" y="693"/>
                  </a:lnTo>
                  <a:lnTo>
                    <a:pt x="847" y="698"/>
                  </a:lnTo>
                  <a:lnTo>
                    <a:pt x="843" y="704"/>
                  </a:lnTo>
                  <a:lnTo>
                    <a:pt x="837" y="708"/>
                  </a:lnTo>
                  <a:lnTo>
                    <a:pt x="830" y="711"/>
                  </a:lnTo>
                  <a:lnTo>
                    <a:pt x="824" y="714"/>
                  </a:lnTo>
                  <a:lnTo>
                    <a:pt x="817" y="716"/>
                  </a:lnTo>
                  <a:lnTo>
                    <a:pt x="810" y="718"/>
                  </a:lnTo>
                  <a:lnTo>
                    <a:pt x="802" y="720"/>
                  </a:lnTo>
                  <a:lnTo>
                    <a:pt x="795" y="720"/>
                  </a:lnTo>
                  <a:lnTo>
                    <a:pt x="105" y="720"/>
                  </a:lnTo>
                  <a:lnTo>
                    <a:pt x="97" y="720"/>
                  </a:lnTo>
                  <a:lnTo>
                    <a:pt x="90" y="718"/>
                  </a:lnTo>
                  <a:lnTo>
                    <a:pt x="82" y="716"/>
                  </a:lnTo>
                  <a:lnTo>
                    <a:pt x="76" y="714"/>
                  </a:lnTo>
                  <a:lnTo>
                    <a:pt x="69" y="711"/>
                  </a:lnTo>
                  <a:lnTo>
                    <a:pt x="63" y="708"/>
                  </a:lnTo>
                  <a:lnTo>
                    <a:pt x="56" y="704"/>
                  </a:lnTo>
                  <a:lnTo>
                    <a:pt x="51" y="698"/>
                  </a:lnTo>
                  <a:lnTo>
                    <a:pt x="47" y="693"/>
                  </a:lnTo>
                  <a:lnTo>
                    <a:pt x="43" y="687"/>
                  </a:lnTo>
                  <a:lnTo>
                    <a:pt x="38" y="681"/>
                  </a:lnTo>
                  <a:lnTo>
                    <a:pt x="35" y="675"/>
                  </a:lnTo>
                  <a:lnTo>
                    <a:pt x="33" y="667"/>
                  </a:lnTo>
                  <a:lnTo>
                    <a:pt x="31" y="661"/>
                  </a:lnTo>
                  <a:lnTo>
                    <a:pt x="30" y="653"/>
                  </a:lnTo>
                  <a:lnTo>
                    <a:pt x="30" y="645"/>
                  </a:lnTo>
                  <a:lnTo>
                    <a:pt x="30" y="225"/>
                  </a:lnTo>
                  <a:lnTo>
                    <a:pt x="30" y="218"/>
                  </a:lnTo>
                  <a:lnTo>
                    <a:pt x="31" y="210"/>
                  </a:lnTo>
                  <a:lnTo>
                    <a:pt x="33" y="203"/>
                  </a:lnTo>
                  <a:lnTo>
                    <a:pt x="35" y="196"/>
                  </a:lnTo>
                  <a:lnTo>
                    <a:pt x="38" y="190"/>
                  </a:lnTo>
                  <a:lnTo>
                    <a:pt x="43" y="184"/>
                  </a:lnTo>
                  <a:lnTo>
                    <a:pt x="47" y="177"/>
                  </a:lnTo>
                  <a:lnTo>
                    <a:pt x="51" y="172"/>
                  </a:lnTo>
                  <a:lnTo>
                    <a:pt x="56" y="168"/>
                  </a:lnTo>
                  <a:lnTo>
                    <a:pt x="63" y="163"/>
                  </a:lnTo>
                  <a:lnTo>
                    <a:pt x="69" y="159"/>
                  </a:lnTo>
                  <a:lnTo>
                    <a:pt x="76" y="156"/>
                  </a:lnTo>
                  <a:lnTo>
                    <a:pt x="82" y="154"/>
                  </a:lnTo>
                  <a:lnTo>
                    <a:pt x="90" y="152"/>
                  </a:lnTo>
                  <a:lnTo>
                    <a:pt x="97" y="150"/>
                  </a:lnTo>
                  <a:lnTo>
                    <a:pt x="105" y="150"/>
                  </a:lnTo>
                  <a:lnTo>
                    <a:pt x="795" y="150"/>
                  </a:lnTo>
                  <a:lnTo>
                    <a:pt x="802" y="150"/>
                  </a:lnTo>
                  <a:lnTo>
                    <a:pt x="810" y="152"/>
                  </a:lnTo>
                  <a:lnTo>
                    <a:pt x="817" y="154"/>
                  </a:lnTo>
                  <a:lnTo>
                    <a:pt x="824" y="156"/>
                  </a:lnTo>
                  <a:lnTo>
                    <a:pt x="830" y="159"/>
                  </a:lnTo>
                  <a:lnTo>
                    <a:pt x="837" y="163"/>
                  </a:lnTo>
                  <a:lnTo>
                    <a:pt x="843" y="168"/>
                  </a:lnTo>
                  <a:lnTo>
                    <a:pt x="848" y="172"/>
                  </a:lnTo>
                  <a:lnTo>
                    <a:pt x="853" y="177"/>
                  </a:lnTo>
                  <a:lnTo>
                    <a:pt x="857" y="184"/>
                  </a:lnTo>
                  <a:lnTo>
                    <a:pt x="861" y="190"/>
                  </a:lnTo>
                  <a:lnTo>
                    <a:pt x="864" y="196"/>
                  </a:lnTo>
                  <a:lnTo>
                    <a:pt x="866" y="203"/>
                  </a:lnTo>
                  <a:lnTo>
                    <a:pt x="869" y="210"/>
                  </a:lnTo>
                  <a:lnTo>
                    <a:pt x="870" y="218"/>
                  </a:lnTo>
                  <a:lnTo>
                    <a:pt x="870" y="225"/>
                  </a:lnTo>
                  <a:lnTo>
                    <a:pt x="870" y="645"/>
                  </a:lnTo>
                  <a:close/>
                  <a:moveTo>
                    <a:pt x="329" y="60"/>
                  </a:moveTo>
                  <a:lnTo>
                    <a:pt x="330" y="54"/>
                  </a:lnTo>
                  <a:lnTo>
                    <a:pt x="331" y="49"/>
                  </a:lnTo>
                  <a:lnTo>
                    <a:pt x="335" y="44"/>
                  </a:lnTo>
                  <a:lnTo>
                    <a:pt x="338" y="39"/>
                  </a:lnTo>
                  <a:lnTo>
                    <a:pt x="343" y="35"/>
                  </a:lnTo>
                  <a:lnTo>
                    <a:pt x="348" y="33"/>
                  </a:lnTo>
                  <a:lnTo>
                    <a:pt x="354" y="31"/>
                  </a:lnTo>
                  <a:lnTo>
                    <a:pt x="359" y="30"/>
                  </a:lnTo>
                  <a:lnTo>
                    <a:pt x="540" y="30"/>
                  </a:lnTo>
                  <a:lnTo>
                    <a:pt x="545" y="31"/>
                  </a:lnTo>
                  <a:lnTo>
                    <a:pt x="551" y="33"/>
                  </a:lnTo>
                  <a:lnTo>
                    <a:pt x="556" y="35"/>
                  </a:lnTo>
                  <a:lnTo>
                    <a:pt x="560" y="39"/>
                  </a:lnTo>
                  <a:lnTo>
                    <a:pt x="565" y="44"/>
                  </a:lnTo>
                  <a:lnTo>
                    <a:pt x="567" y="49"/>
                  </a:lnTo>
                  <a:lnTo>
                    <a:pt x="569" y="54"/>
                  </a:lnTo>
                  <a:lnTo>
                    <a:pt x="570" y="60"/>
                  </a:lnTo>
                  <a:lnTo>
                    <a:pt x="570" y="119"/>
                  </a:lnTo>
                  <a:lnTo>
                    <a:pt x="329" y="119"/>
                  </a:lnTo>
                  <a:lnTo>
                    <a:pt x="329" y="60"/>
                  </a:lnTo>
                  <a:close/>
                  <a:moveTo>
                    <a:pt x="795" y="119"/>
                  </a:moveTo>
                  <a:lnTo>
                    <a:pt x="600" y="119"/>
                  </a:lnTo>
                  <a:lnTo>
                    <a:pt x="600" y="60"/>
                  </a:lnTo>
                  <a:lnTo>
                    <a:pt x="599" y="54"/>
                  </a:lnTo>
                  <a:lnTo>
                    <a:pt x="599" y="48"/>
                  </a:lnTo>
                  <a:lnTo>
                    <a:pt x="597" y="42"/>
                  </a:lnTo>
                  <a:lnTo>
                    <a:pt x="595" y="37"/>
                  </a:lnTo>
                  <a:lnTo>
                    <a:pt x="593" y="32"/>
                  </a:lnTo>
                  <a:lnTo>
                    <a:pt x="589" y="26"/>
                  </a:lnTo>
                  <a:lnTo>
                    <a:pt x="586" y="22"/>
                  </a:lnTo>
                  <a:lnTo>
                    <a:pt x="582" y="18"/>
                  </a:lnTo>
                  <a:lnTo>
                    <a:pt x="578" y="14"/>
                  </a:lnTo>
                  <a:lnTo>
                    <a:pt x="573" y="10"/>
                  </a:lnTo>
                  <a:lnTo>
                    <a:pt x="568" y="7"/>
                  </a:lnTo>
                  <a:lnTo>
                    <a:pt x="563" y="5"/>
                  </a:lnTo>
                  <a:lnTo>
                    <a:pt x="557" y="3"/>
                  </a:lnTo>
                  <a:lnTo>
                    <a:pt x="552" y="1"/>
                  </a:lnTo>
                  <a:lnTo>
                    <a:pt x="545" y="1"/>
                  </a:lnTo>
                  <a:lnTo>
                    <a:pt x="540" y="0"/>
                  </a:lnTo>
                  <a:lnTo>
                    <a:pt x="359" y="0"/>
                  </a:lnTo>
                  <a:lnTo>
                    <a:pt x="354" y="1"/>
                  </a:lnTo>
                  <a:lnTo>
                    <a:pt x="348" y="1"/>
                  </a:lnTo>
                  <a:lnTo>
                    <a:pt x="342" y="3"/>
                  </a:lnTo>
                  <a:lnTo>
                    <a:pt x="336" y="5"/>
                  </a:lnTo>
                  <a:lnTo>
                    <a:pt x="331" y="7"/>
                  </a:lnTo>
                  <a:lnTo>
                    <a:pt x="326" y="10"/>
                  </a:lnTo>
                  <a:lnTo>
                    <a:pt x="322" y="14"/>
                  </a:lnTo>
                  <a:lnTo>
                    <a:pt x="318" y="18"/>
                  </a:lnTo>
                  <a:lnTo>
                    <a:pt x="313" y="22"/>
                  </a:lnTo>
                  <a:lnTo>
                    <a:pt x="310" y="26"/>
                  </a:lnTo>
                  <a:lnTo>
                    <a:pt x="307" y="32"/>
                  </a:lnTo>
                  <a:lnTo>
                    <a:pt x="305" y="37"/>
                  </a:lnTo>
                  <a:lnTo>
                    <a:pt x="303" y="42"/>
                  </a:lnTo>
                  <a:lnTo>
                    <a:pt x="300" y="48"/>
                  </a:lnTo>
                  <a:lnTo>
                    <a:pt x="299" y="54"/>
                  </a:lnTo>
                  <a:lnTo>
                    <a:pt x="299" y="60"/>
                  </a:lnTo>
                  <a:lnTo>
                    <a:pt x="299" y="119"/>
                  </a:lnTo>
                  <a:lnTo>
                    <a:pt x="105" y="119"/>
                  </a:lnTo>
                  <a:lnTo>
                    <a:pt x="94" y="121"/>
                  </a:lnTo>
                  <a:lnTo>
                    <a:pt x="83" y="123"/>
                  </a:lnTo>
                  <a:lnTo>
                    <a:pt x="74" y="125"/>
                  </a:lnTo>
                  <a:lnTo>
                    <a:pt x="64" y="128"/>
                  </a:lnTo>
                  <a:lnTo>
                    <a:pt x="54" y="133"/>
                  </a:lnTo>
                  <a:lnTo>
                    <a:pt x="46" y="139"/>
                  </a:lnTo>
                  <a:lnTo>
                    <a:pt x="38" y="144"/>
                  </a:lnTo>
                  <a:lnTo>
                    <a:pt x="31" y="152"/>
                  </a:lnTo>
                  <a:lnTo>
                    <a:pt x="23" y="159"/>
                  </a:lnTo>
                  <a:lnTo>
                    <a:pt x="18" y="167"/>
                  </a:lnTo>
                  <a:lnTo>
                    <a:pt x="13" y="175"/>
                  </a:lnTo>
                  <a:lnTo>
                    <a:pt x="7" y="185"/>
                  </a:lnTo>
                  <a:lnTo>
                    <a:pt x="4" y="194"/>
                  </a:lnTo>
                  <a:lnTo>
                    <a:pt x="2" y="204"/>
                  </a:lnTo>
                  <a:lnTo>
                    <a:pt x="0" y="215"/>
                  </a:lnTo>
                  <a:lnTo>
                    <a:pt x="0" y="225"/>
                  </a:lnTo>
                  <a:lnTo>
                    <a:pt x="0" y="645"/>
                  </a:lnTo>
                  <a:lnTo>
                    <a:pt x="0" y="655"/>
                  </a:lnTo>
                  <a:lnTo>
                    <a:pt x="2" y="666"/>
                  </a:lnTo>
                  <a:lnTo>
                    <a:pt x="4" y="677"/>
                  </a:lnTo>
                  <a:lnTo>
                    <a:pt x="7" y="686"/>
                  </a:lnTo>
                  <a:lnTo>
                    <a:pt x="13" y="695"/>
                  </a:lnTo>
                  <a:lnTo>
                    <a:pt x="18" y="704"/>
                  </a:lnTo>
                  <a:lnTo>
                    <a:pt x="23" y="712"/>
                  </a:lnTo>
                  <a:lnTo>
                    <a:pt x="31" y="720"/>
                  </a:lnTo>
                  <a:lnTo>
                    <a:pt x="38" y="726"/>
                  </a:lnTo>
                  <a:lnTo>
                    <a:pt x="46" y="732"/>
                  </a:lnTo>
                  <a:lnTo>
                    <a:pt x="54" y="738"/>
                  </a:lnTo>
                  <a:lnTo>
                    <a:pt x="64" y="742"/>
                  </a:lnTo>
                  <a:lnTo>
                    <a:pt x="74" y="745"/>
                  </a:lnTo>
                  <a:lnTo>
                    <a:pt x="83" y="747"/>
                  </a:lnTo>
                  <a:lnTo>
                    <a:pt x="94" y="750"/>
                  </a:lnTo>
                  <a:lnTo>
                    <a:pt x="105" y="750"/>
                  </a:lnTo>
                  <a:lnTo>
                    <a:pt x="795" y="750"/>
                  </a:lnTo>
                  <a:lnTo>
                    <a:pt x="805" y="750"/>
                  </a:lnTo>
                  <a:lnTo>
                    <a:pt x="816" y="747"/>
                  </a:lnTo>
                  <a:lnTo>
                    <a:pt x="826" y="745"/>
                  </a:lnTo>
                  <a:lnTo>
                    <a:pt x="835" y="742"/>
                  </a:lnTo>
                  <a:lnTo>
                    <a:pt x="845" y="738"/>
                  </a:lnTo>
                  <a:lnTo>
                    <a:pt x="854" y="732"/>
                  </a:lnTo>
                  <a:lnTo>
                    <a:pt x="861" y="726"/>
                  </a:lnTo>
                  <a:lnTo>
                    <a:pt x="869" y="720"/>
                  </a:lnTo>
                  <a:lnTo>
                    <a:pt x="876" y="712"/>
                  </a:lnTo>
                  <a:lnTo>
                    <a:pt x="881" y="704"/>
                  </a:lnTo>
                  <a:lnTo>
                    <a:pt x="887" y="695"/>
                  </a:lnTo>
                  <a:lnTo>
                    <a:pt x="891" y="686"/>
                  </a:lnTo>
                  <a:lnTo>
                    <a:pt x="895" y="677"/>
                  </a:lnTo>
                  <a:lnTo>
                    <a:pt x="898" y="666"/>
                  </a:lnTo>
                  <a:lnTo>
                    <a:pt x="900" y="655"/>
                  </a:lnTo>
                  <a:lnTo>
                    <a:pt x="900" y="645"/>
                  </a:lnTo>
                  <a:lnTo>
                    <a:pt x="900" y="225"/>
                  </a:lnTo>
                  <a:lnTo>
                    <a:pt x="900" y="215"/>
                  </a:lnTo>
                  <a:lnTo>
                    <a:pt x="898" y="204"/>
                  </a:lnTo>
                  <a:lnTo>
                    <a:pt x="895" y="194"/>
                  </a:lnTo>
                  <a:lnTo>
                    <a:pt x="891" y="185"/>
                  </a:lnTo>
                  <a:lnTo>
                    <a:pt x="887" y="175"/>
                  </a:lnTo>
                  <a:lnTo>
                    <a:pt x="881" y="167"/>
                  </a:lnTo>
                  <a:lnTo>
                    <a:pt x="876" y="159"/>
                  </a:lnTo>
                  <a:lnTo>
                    <a:pt x="869" y="152"/>
                  </a:lnTo>
                  <a:lnTo>
                    <a:pt x="861" y="144"/>
                  </a:lnTo>
                  <a:lnTo>
                    <a:pt x="854" y="139"/>
                  </a:lnTo>
                  <a:lnTo>
                    <a:pt x="845" y="133"/>
                  </a:lnTo>
                  <a:lnTo>
                    <a:pt x="835" y="128"/>
                  </a:lnTo>
                  <a:lnTo>
                    <a:pt x="826" y="125"/>
                  </a:lnTo>
                  <a:lnTo>
                    <a:pt x="816" y="123"/>
                  </a:lnTo>
                  <a:lnTo>
                    <a:pt x="805" y="121"/>
                  </a:lnTo>
                  <a:lnTo>
                    <a:pt x="79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47" name="Group 21">
            <a:extLst>
              <a:ext uri="{FF2B5EF4-FFF2-40B4-BE49-F238E27FC236}">
                <a16:creationId xmlns:a16="http://schemas.microsoft.com/office/drawing/2014/main" id="{44DFEC2A-3E1B-412B-9642-30952C9CD712}"/>
              </a:ext>
            </a:extLst>
          </p:cNvPr>
          <p:cNvGrpSpPr>
            <a:grpSpLocks noChangeAspect="1"/>
          </p:cNvGrpSpPr>
          <p:nvPr/>
        </p:nvGrpSpPr>
        <p:grpSpPr>
          <a:xfrm>
            <a:off x="655570" y="3256152"/>
            <a:ext cx="317057" cy="306488"/>
            <a:chOff x="10458450" y="784225"/>
            <a:chExt cx="285750" cy="276225"/>
          </a:xfrm>
          <a:solidFill>
            <a:schemeClr val="bg1"/>
          </a:solidFill>
          <a:effectLst/>
        </p:grpSpPr>
        <p:sp>
          <p:nvSpPr>
            <p:cNvPr id="1048" name="Freeform 363">
              <a:extLst>
                <a:ext uri="{FF2B5EF4-FFF2-40B4-BE49-F238E27FC236}">
                  <a16:creationId xmlns:a16="http://schemas.microsoft.com/office/drawing/2014/main" id="{57DDA428-119D-4C17-B580-7672D620E4E6}"/>
                </a:ext>
              </a:extLst>
            </p:cNvPr>
            <p:cNvSpPr>
              <a:spLocks/>
            </p:cNvSpPr>
            <p:nvPr/>
          </p:nvSpPr>
          <p:spPr bwMode="auto">
            <a:xfrm>
              <a:off x="10458450" y="893763"/>
              <a:ext cx="285750" cy="100013"/>
            </a:xfrm>
            <a:custGeom>
              <a:avLst/>
              <a:gdLst>
                <a:gd name="T0" fmla="*/ 600 w 900"/>
                <a:gd name="T1" fmla="*/ 165 h 315"/>
                <a:gd name="T2" fmla="*/ 592 w 900"/>
                <a:gd name="T3" fmla="*/ 168 h 315"/>
                <a:gd name="T4" fmla="*/ 587 w 900"/>
                <a:gd name="T5" fmla="*/ 174 h 315"/>
                <a:gd name="T6" fmla="*/ 480 w 900"/>
                <a:gd name="T7" fmla="*/ 12 h 315"/>
                <a:gd name="T8" fmla="*/ 475 w 900"/>
                <a:gd name="T9" fmla="*/ 5 h 315"/>
                <a:gd name="T10" fmla="*/ 466 w 900"/>
                <a:gd name="T11" fmla="*/ 0 h 315"/>
                <a:gd name="T12" fmla="*/ 457 w 900"/>
                <a:gd name="T13" fmla="*/ 3 h 315"/>
                <a:gd name="T14" fmla="*/ 451 w 900"/>
                <a:gd name="T15" fmla="*/ 9 h 315"/>
                <a:gd name="T16" fmla="*/ 313 w 900"/>
                <a:gd name="T17" fmla="*/ 98 h 315"/>
                <a:gd name="T18" fmla="*/ 308 w 900"/>
                <a:gd name="T19" fmla="*/ 92 h 315"/>
                <a:gd name="T20" fmla="*/ 301 w 900"/>
                <a:gd name="T21" fmla="*/ 90 h 315"/>
                <a:gd name="T22" fmla="*/ 294 w 900"/>
                <a:gd name="T23" fmla="*/ 92 h 315"/>
                <a:gd name="T24" fmla="*/ 288 w 900"/>
                <a:gd name="T25" fmla="*/ 96 h 315"/>
                <a:gd name="T26" fmla="*/ 14 w 900"/>
                <a:gd name="T27" fmla="*/ 165 h 315"/>
                <a:gd name="T28" fmla="*/ 9 w 900"/>
                <a:gd name="T29" fmla="*/ 166 h 315"/>
                <a:gd name="T30" fmla="*/ 5 w 900"/>
                <a:gd name="T31" fmla="*/ 169 h 315"/>
                <a:gd name="T32" fmla="*/ 2 w 900"/>
                <a:gd name="T33" fmla="*/ 175 h 315"/>
                <a:gd name="T34" fmla="*/ 0 w 900"/>
                <a:gd name="T35" fmla="*/ 180 h 315"/>
                <a:gd name="T36" fmla="*/ 2 w 900"/>
                <a:gd name="T37" fmla="*/ 186 h 315"/>
                <a:gd name="T38" fmla="*/ 5 w 900"/>
                <a:gd name="T39" fmla="*/ 191 h 315"/>
                <a:gd name="T40" fmla="*/ 9 w 900"/>
                <a:gd name="T41" fmla="*/ 194 h 315"/>
                <a:gd name="T42" fmla="*/ 14 w 900"/>
                <a:gd name="T43" fmla="*/ 195 h 315"/>
                <a:gd name="T44" fmla="*/ 243 w 900"/>
                <a:gd name="T45" fmla="*/ 195 h 315"/>
                <a:gd name="T46" fmla="*/ 249 w 900"/>
                <a:gd name="T47" fmla="*/ 193 h 315"/>
                <a:gd name="T48" fmla="*/ 298 w 900"/>
                <a:gd name="T49" fmla="*/ 132 h 315"/>
                <a:gd name="T50" fmla="*/ 365 w 900"/>
                <a:gd name="T51" fmla="*/ 237 h 315"/>
                <a:gd name="T52" fmla="*/ 372 w 900"/>
                <a:gd name="T53" fmla="*/ 240 h 315"/>
                <a:gd name="T54" fmla="*/ 380 w 900"/>
                <a:gd name="T55" fmla="*/ 240 h 315"/>
                <a:gd name="T56" fmla="*/ 387 w 900"/>
                <a:gd name="T57" fmla="*/ 235 h 315"/>
                <a:gd name="T58" fmla="*/ 462 w 900"/>
                <a:gd name="T59" fmla="*/ 61 h 315"/>
                <a:gd name="T60" fmla="*/ 527 w 900"/>
                <a:gd name="T61" fmla="*/ 308 h 315"/>
                <a:gd name="T62" fmla="*/ 535 w 900"/>
                <a:gd name="T63" fmla="*/ 314 h 315"/>
                <a:gd name="T64" fmla="*/ 540 w 900"/>
                <a:gd name="T65" fmla="*/ 315 h 315"/>
                <a:gd name="T66" fmla="*/ 544 w 900"/>
                <a:gd name="T67" fmla="*/ 315 h 315"/>
                <a:gd name="T68" fmla="*/ 551 w 900"/>
                <a:gd name="T69" fmla="*/ 311 h 315"/>
                <a:gd name="T70" fmla="*/ 609 w 900"/>
                <a:gd name="T71" fmla="*/ 195 h 315"/>
                <a:gd name="T72" fmla="*/ 889 w 900"/>
                <a:gd name="T73" fmla="*/ 195 h 315"/>
                <a:gd name="T74" fmla="*/ 894 w 900"/>
                <a:gd name="T75" fmla="*/ 193 h 315"/>
                <a:gd name="T76" fmla="*/ 897 w 900"/>
                <a:gd name="T77" fmla="*/ 189 h 315"/>
                <a:gd name="T78" fmla="*/ 899 w 900"/>
                <a:gd name="T79" fmla="*/ 183 h 315"/>
                <a:gd name="T80" fmla="*/ 899 w 900"/>
                <a:gd name="T81" fmla="*/ 177 h 315"/>
                <a:gd name="T82" fmla="*/ 897 w 900"/>
                <a:gd name="T83" fmla="*/ 172 h 315"/>
                <a:gd name="T84" fmla="*/ 894 w 900"/>
                <a:gd name="T85" fmla="*/ 168 h 315"/>
                <a:gd name="T86" fmla="*/ 889 w 900"/>
                <a:gd name="T87" fmla="*/ 16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0" h="315">
                  <a:moveTo>
                    <a:pt x="885" y="165"/>
                  </a:moveTo>
                  <a:lnTo>
                    <a:pt x="600" y="165"/>
                  </a:lnTo>
                  <a:lnTo>
                    <a:pt x="596" y="166"/>
                  </a:lnTo>
                  <a:lnTo>
                    <a:pt x="592" y="168"/>
                  </a:lnTo>
                  <a:lnTo>
                    <a:pt x="589" y="170"/>
                  </a:lnTo>
                  <a:lnTo>
                    <a:pt x="587" y="174"/>
                  </a:lnTo>
                  <a:lnTo>
                    <a:pt x="544" y="258"/>
                  </a:lnTo>
                  <a:lnTo>
                    <a:pt x="480" y="12"/>
                  </a:lnTo>
                  <a:lnTo>
                    <a:pt x="478" y="8"/>
                  </a:lnTo>
                  <a:lnTo>
                    <a:pt x="475" y="5"/>
                  </a:lnTo>
                  <a:lnTo>
                    <a:pt x="470" y="1"/>
                  </a:lnTo>
                  <a:lnTo>
                    <a:pt x="466" y="0"/>
                  </a:lnTo>
                  <a:lnTo>
                    <a:pt x="462" y="0"/>
                  </a:lnTo>
                  <a:lnTo>
                    <a:pt x="457" y="3"/>
                  </a:lnTo>
                  <a:lnTo>
                    <a:pt x="454" y="6"/>
                  </a:lnTo>
                  <a:lnTo>
                    <a:pt x="451" y="9"/>
                  </a:lnTo>
                  <a:lnTo>
                    <a:pt x="373" y="194"/>
                  </a:lnTo>
                  <a:lnTo>
                    <a:pt x="313" y="98"/>
                  </a:lnTo>
                  <a:lnTo>
                    <a:pt x="311" y="95"/>
                  </a:lnTo>
                  <a:lnTo>
                    <a:pt x="308" y="92"/>
                  </a:lnTo>
                  <a:lnTo>
                    <a:pt x="304" y="91"/>
                  </a:lnTo>
                  <a:lnTo>
                    <a:pt x="301" y="90"/>
                  </a:lnTo>
                  <a:lnTo>
                    <a:pt x="297" y="90"/>
                  </a:lnTo>
                  <a:lnTo>
                    <a:pt x="294" y="92"/>
                  </a:lnTo>
                  <a:lnTo>
                    <a:pt x="291" y="93"/>
                  </a:lnTo>
                  <a:lnTo>
                    <a:pt x="288" y="96"/>
                  </a:lnTo>
                  <a:lnTo>
                    <a:pt x="233" y="165"/>
                  </a:lnTo>
                  <a:lnTo>
                    <a:pt x="14" y="165"/>
                  </a:lnTo>
                  <a:lnTo>
                    <a:pt x="12" y="165"/>
                  </a:lnTo>
                  <a:lnTo>
                    <a:pt x="9" y="166"/>
                  </a:lnTo>
                  <a:lnTo>
                    <a:pt x="7" y="167"/>
                  </a:lnTo>
                  <a:lnTo>
                    <a:pt x="5" y="169"/>
                  </a:lnTo>
                  <a:lnTo>
                    <a:pt x="3" y="172"/>
                  </a:lnTo>
                  <a:lnTo>
                    <a:pt x="2" y="175"/>
                  </a:lnTo>
                  <a:lnTo>
                    <a:pt x="1" y="177"/>
                  </a:lnTo>
                  <a:lnTo>
                    <a:pt x="0" y="180"/>
                  </a:lnTo>
                  <a:lnTo>
                    <a:pt x="1" y="183"/>
                  </a:lnTo>
                  <a:lnTo>
                    <a:pt x="2" y="186"/>
                  </a:lnTo>
                  <a:lnTo>
                    <a:pt x="3" y="189"/>
                  </a:lnTo>
                  <a:lnTo>
                    <a:pt x="5" y="191"/>
                  </a:lnTo>
                  <a:lnTo>
                    <a:pt x="7" y="193"/>
                  </a:lnTo>
                  <a:lnTo>
                    <a:pt x="9" y="194"/>
                  </a:lnTo>
                  <a:lnTo>
                    <a:pt x="12" y="195"/>
                  </a:lnTo>
                  <a:lnTo>
                    <a:pt x="14" y="195"/>
                  </a:lnTo>
                  <a:lnTo>
                    <a:pt x="240" y="195"/>
                  </a:lnTo>
                  <a:lnTo>
                    <a:pt x="243" y="195"/>
                  </a:lnTo>
                  <a:lnTo>
                    <a:pt x="247" y="194"/>
                  </a:lnTo>
                  <a:lnTo>
                    <a:pt x="249" y="193"/>
                  </a:lnTo>
                  <a:lnTo>
                    <a:pt x="252" y="191"/>
                  </a:lnTo>
                  <a:lnTo>
                    <a:pt x="298" y="132"/>
                  </a:lnTo>
                  <a:lnTo>
                    <a:pt x="362" y="234"/>
                  </a:lnTo>
                  <a:lnTo>
                    <a:pt x="365" y="237"/>
                  </a:lnTo>
                  <a:lnTo>
                    <a:pt x="369" y="239"/>
                  </a:lnTo>
                  <a:lnTo>
                    <a:pt x="372" y="240"/>
                  </a:lnTo>
                  <a:lnTo>
                    <a:pt x="376" y="240"/>
                  </a:lnTo>
                  <a:lnTo>
                    <a:pt x="380" y="240"/>
                  </a:lnTo>
                  <a:lnTo>
                    <a:pt x="384" y="238"/>
                  </a:lnTo>
                  <a:lnTo>
                    <a:pt x="387" y="235"/>
                  </a:lnTo>
                  <a:lnTo>
                    <a:pt x="389" y="231"/>
                  </a:lnTo>
                  <a:lnTo>
                    <a:pt x="462" y="61"/>
                  </a:lnTo>
                  <a:lnTo>
                    <a:pt x="526" y="304"/>
                  </a:lnTo>
                  <a:lnTo>
                    <a:pt x="527" y="308"/>
                  </a:lnTo>
                  <a:lnTo>
                    <a:pt x="530" y="312"/>
                  </a:lnTo>
                  <a:lnTo>
                    <a:pt x="535" y="314"/>
                  </a:lnTo>
                  <a:lnTo>
                    <a:pt x="539" y="315"/>
                  </a:lnTo>
                  <a:lnTo>
                    <a:pt x="540" y="315"/>
                  </a:lnTo>
                  <a:lnTo>
                    <a:pt x="540" y="315"/>
                  </a:lnTo>
                  <a:lnTo>
                    <a:pt x="544" y="315"/>
                  </a:lnTo>
                  <a:lnTo>
                    <a:pt x="548" y="313"/>
                  </a:lnTo>
                  <a:lnTo>
                    <a:pt x="551" y="311"/>
                  </a:lnTo>
                  <a:lnTo>
                    <a:pt x="554" y="307"/>
                  </a:lnTo>
                  <a:lnTo>
                    <a:pt x="609" y="195"/>
                  </a:lnTo>
                  <a:lnTo>
                    <a:pt x="885" y="195"/>
                  </a:lnTo>
                  <a:lnTo>
                    <a:pt x="889" y="195"/>
                  </a:lnTo>
                  <a:lnTo>
                    <a:pt x="891" y="194"/>
                  </a:lnTo>
                  <a:lnTo>
                    <a:pt x="894" y="193"/>
                  </a:lnTo>
                  <a:lnTo>
                    <a:pt x="896" y="191"/>
                  </a:lnTo>
                  <a:lnTo>
                    <a:pt x="897" y="189"/>
                  </a:lnTo>
                  <a:lnTo>
                    <a:pt x="899" y="186"/>
                  </a:lnTo>
                  <a:lnTo>
                    <a:pt x="899" y="183"/>
                  </a:lnTo>
                  <a:lnTo>
                    <a:pt x="900" y="180"/>
                  </a:lnTo>
                  <a:lnTo>
                    <a:pt x="899" y="177"/>
                  </a:lnTo>
                  <a:lnTo>
                    <a:pt x="899" y="175"/>
                  </a:lnTo>
                  <a:lnTo>
                    <a:pt x="897" y="172"/>
                  </a:lnTo>
                  <a:lnTo>
                    <a:pt x="896" y="169"/>
                  </a:lnTo>
                  <a:lnTo>
                    <a:pt x="894" y="168"/>
                  </a:lnTo>
                  <a:lnTo>
                    <a:pt x="891" y="166"/>
                  </a:lnTo>
                  <a:lnTo>
                    <a:pt x="889" y="165"/>
                  </a:lnTo>
                  <a:lnTo>
                    <a:pt x="8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364">
              <a:extLst>
                <a:ext uri="{FF2B5EF4-FFF2-40B4-BE49-F238E27FC236}">
                  <a16:creationId xmlns:a16="http://schemas.microsoft.com/office/drawing/2014/main" id="{78A2377F-8491-4C9D-BA44-2C139C3EEF74}"/>
                </a:ext>
              </a:extLst>
            </p:cNvPr>
            <p:cNvSpPr>
              <a:spLocks/>
            </p:cNvSpPr>
            <p:nvPr/>
          </p:nvSpPr>
          <p:spPr bwMode="auto">
            <a:xfrm>
              <a:off x="10467975" y="784225"/>
              <a:ext cx="266700" cy="146050"/>
            </a:xfrm>
            <a:custGeom>
              <a:avLst/>
              <a:gdLst>
                <a:gd name="T0" fmla="*/ 54 w 841"/>
                <a:gd name="T1" fmla="*/ 457 h 458"/>
                <a:gd name="T2" fmla="*/ 67 w 841"/>
                <a:gd name="T3" fmla="*/ 456 h 458"/>
                <a:gd name="T4" fmla="*/ 73 w 841"/>
                <a:gd name="T5" fmla="*/ 446 h 458"/>
                <a:gd name="T6" fmla="*/ 70 w 841"/>
                <a:gd name="T7" fmla="*/ 431 h 458"/>
                <a:gd name="T8" fmla="*/ 35 w 841"/>
                <a:gd name="T9" fmla="*/ 322 h 458"/>
                <a:gd name="T10" fmla="*/ 35 w 841"/>
                <a:gd name="T11" fmla="*/ 222 h 458"/>
                <a:gd name="T12" fmla="*/ 64 w 841"/>
                <a:gd name="T13" fmla="*/ 126 h 458"/>
                <a:gd name="T14" fmla="*/ 111 w 841"/>
                <a:gd name="T15" fmla="*/ 65 h 458"/>
                <a:gd name="T16" fmla="*/ 167 w 841"/>
                <a:gd name="T17" fmla="*/ 35 h 458"/>
                <a:gd name="T18" fmla="*/ 229 w 841"/>
                <a:gd name="T19" fmla="*/ 31 h 458"/>
                <a:gd name="T20" fmla="*/ 296 w 841"/>
                <a:gd name="T21" fmla="*/ 54 h 458"/>
                <a:gd name="T22" fmla="*/ 354 w 841"/>
                <a:gd name="T23" fmla="*/ 108 h 458"/>
                <a:gd name="T24" fmla="*/ 394 w 841"/>
                <a:gd name="T25" fmla="*/ 190 h 458"/>
                <a:gd name="T26" fmla="*/ 411 w 841"/>
                <a:gd name="T27" fmla="*/ 251 h 458"/>
                <a:gd name="T28" fmla="*/ 431 w 841"/>
                <a:gd name="T29" fmla="*/ 251 h 458"/>
                <a:gd name="T30" fmla="*/ 448 w 841"/>
                <a:gd name="T31" fmla="*/ 190 h 458"/>
                <a:gd name="T32" fmla="*/ 489 w 841"/>
                <a:gd name="T33" fmla="*/ 108 h 458"/>
                <a:gd name="T34" fmla="*/ 546 w 841"/>
                <a:gd name="T35" fmla="*/ 54 h 458"/>
                <a:gd name="T36" fmla="*/ 613 w 841"/>
                <a:gd name="T37" fmla="*/ 31 h 458"/>
                <a:gd name="T38" fmla="*/ 675 w 841"/>
                <a:gd name="T39" fmla="*/ 35 h 458"/>
                <a:gd name="T40" fmla="*/ 731 w 841"/>
                <a:gd name="T41" fmla="*/ 65 h 458"/>
                <a:gd name="T42" fmla="*/ 778 w 841"/>
                <a:gd name="T43" fmla="*/ 126 h 458"/>
                <a:gd name="T44" fmla="*/ 807 w 841"/>
                <a:gd name="T45" fmla="*/ 222 h 458"/>
                <a:gd name="T46" fmla="*/ 808 w 841"/>
                <a:gd name="T47" fmla="*/ 315 h 458"/>
                <a:gd name="T48" fmla="*/ 775 w 841"/>
                <a:gd name="T49" fmla="*/ 401 h 458"/>
                <a:gd name="T50" fmla="*/ 758 w 841"/>
                <a:gd name="T51" fmla="*/ 435 h 458"/>
                <a:gd name="T52" fmla="*/ 757 w 841"/>
                <a:gd name="T53" fmla="*/ 447 h 458"/>
                <a:gd name="T54" fmla="*/ 776 w 841"/>
                <a:gd name="T55" fmla="*/ 457 h 458"/>
                <a:gd name="T56" fmla="*/ 785 w 841"/>
                <a:gd name="T57" fmla="*/ 449 h 458"/>
                <a:gd name="T58" fmla="*/ 802 w 841"/>
                <a:gd name="T59" fmla="*/ 415 h 458"/>
                <a:gd name="T60" fmla="*/ 830 w 841"/>
                <a:gd name="T61" fmla="*/ 353 h 458"/>
                <a:gd name="T62" fmla="*/ 841 w 841"/>
                <a:gd name="T63" fmla="*/ 284 h 458"/>
                <a:gd name="T64" fmla="*/ 836 w 841"/>
                <a:gd name="T65" fmla="*/ 215 h 458"/>
                <a:gd name="T66" fmla="*/ 823 w 841"/>
                <a:gd name="T67" fmla="*/ 156 h 458"/>
                <a:gd name="T68" fmla="*/ 803 w 841"/>
                <a:gd name="T69" fmla="*/ 108 h 458"/>
                <a:gd name="T70" fmla="*/ 777 w 841"/>
                <a:gd name="T71" fmla="*/ 69 h 458"/>
                <a:gd name="T72" fmla="*/ 748 w 841"/>
                <a:gd name="T73" fmla="*/ 41 h 458"/>
                <a:gd name="T74" fmla="*/ 681 w 841"/>
                <a:gd name="T75" fmla="*/ 6 h 458"/>
                <a:gd name="T76" fmla="*/ 615 w 841"/>
                <a:gd name="T77" fmla="*/ 1 h 458"/>
                <a:gd name="T78" fmla="*/ 548 w 841"/>
                <a:gd name="T79" fmla="*/ 20 h 458"/>
                <a:gd name="T80" fmla="*/ 487 w 841"/>
                <a:gd name="T81" fmla="*/ 63 h 458"/>
                <a:gd name="T82" fmla="*/ 439 w 841"/>
                <a:gd name="T83" fmla="*/ 132 h 458"/>
                <a:gd name="T84" fmla="*/ 403 w 841"/>
                <a:gd name="T85" fmla="*/ 132 h 458"/>
                <a:gd name="T86" fmla="*/ 355 w 841"/>
                <a:gd name="T87" fmla="*/ 63 h 458"/>
                <a:gd name="T88" fmla="*/ 294 w 841"/>
                <a:gd name="T89" fmla="*/ 20 h 458"/>
                <a:gd name="T90" fmla="*/ 227 w 841"/>
                <a:gd name="T91" fmla="*/ 1 h 458"/>
                <a:gd name="T92" fmla="*/ 161 w 841"/>
                <a:gd name="T93" fmla="*/ 6 h 458"/>
                <a:gd name="T94" fmla="*/ 95 w 841"/>
                <a:gd name="T95" fmla="*/ 41 h 458"/>
                <a:gd name="T96" fmla="*/ 65 w 841"/>
                <a:gd name="T97" fmla="*/ 69 h 458"/>
                <a:gd name="T98" fmla="*/ 39 w 841"/>
                <a:gd name="T99" fmla="*/ 108 h 458"/>
                <a:gd name="T100" fmla="*/ 19 w 841"/>
                <a:gd name="T101" fmla="*/ 156 h 458"/>
                <a:gd name="T102" fmla="*/ 6 w 841"/>
                <a:gd name="T103" fmla="*/ 215 h 458"/>
                <a:gd name="T104" fmla="*/ 0 w 841"/>
                <a:gd name="T105" fmla="*/ 284 h 458"/>
                <a:gd name="T106" fmla="*/ 13 w 841"/>
                <a:gd name="T107" fmla="*/ 36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1" h="458">
                  <a:moveTo>
                    <a:pt x="44" y="447"/>
                  </a:moveTo>
                  <a:lnTo>
                    <a:pt x="46" y="451"/>
                  </a:lnTo>
                  <a:lnTo>
                    <a:pt x="50" y="455"/>
                  </a:lnTo>
                  <a:lnTo>
                    <a:pt x="54" y="457"/>
                  </a:lnTo>
                  <a:lnTo>
                    <a:pt x="58" y="458"/>
                  </a:lnTo>
                  <a:lnTo>
                    <a:pt x="61" y="458"/>
                  </a:lnTo>
                  <a:lnTo>
                    <a:pt x="64" y="457"/>
                  </a:lnTo>
                  <a:lnTo>
                    <a:pt x="67" y="456"/>
                  </a:lnTo>
                  <a:lnTo>
                    <a:pt x="69" y="453"/>
                  </a:lnTo>
                  <a:lnTo>
                    <a:pt x="71" y="451"/>
                  </a:lnTo>
                  <a:lnTo>
                    <a:pt x="72" y="448"/>
                  </a:lnTo>
                  <a:lnTo>
                    <a:pt x="73" y="446"/>
                  </a:lnTo>
                  <a:lnTo>
                    <a:pt x="73" y="443"/>
                  </a:lnTo>
                  <a:lnTo>
                    <a:pt x="73" y="440"/>
                  </a:lnTo>
                  <a:lnTo>
                    <a:pt x="72" y="437"/>
                  </a:lnTo>
                  <a:lnTo>
                    <a:pt x="70" y="431"/>
                  </a:lnTo>
                  <a:lnTo>
                    <a:pt x="55" y="395"/>
                  </a:lnTo>
                  <a:lnTo>
                    <a:pt x="43" y="359"/>
                  </a:lnTo>
                  <a:lnTo>
                    <a:pt x="38" y="341"/>
                  </a:lnTo>
                  <a:lnTo>
                    <a:pt x="35" y="322"/>
                  </a:lnTo>
                  <a:lnTo>
                    <a:pt x="32" y="304"/>
                  </a:lnTo>
                  <a:lnTo>
                    <a:pt x="30" y="284"/>
                  </a:lnTo>
                  <a:lnTo>
                    <a:pt x="32" y="251"/>
                  </a:lnTo>
                  <a:lnTo>
                    <a:pt x="35" y="222"/>
                  </a:lnTo>
                  <a:lnTo>
                    <a:pt x="40" y="195"/>
                  </a:lnTo>
                  <a:lnTo>
                    <a:pt x="46" y="170"/>
                  </a:lnTo>
                  <a:lnTo>
                    <a:pt x="54" y="148"/>
                  </a:lnTo>
                  <a:lnTo>
                    <a:pt x="64" y="126"/>
                  </a:lnTo>
                  <a:lnTo>
                    <a:pt x="73" y="108"/>
                  </a:lnTo>
                  <a:lnTo>
                    <a:pt x="85" y="92"/>
                  </a:lnTo>
                  <a:lnTo>
                    <a:pt x="98" y="78"/>
                  </a:lnTo>
                  <a:lnTo>
                    <a:pt x="111" y="65"/>
                  </a:lnTo>
                  <a:lnTo>
                    <a:pt x="125" y="56"/>
                  </a:lnTo>
                  <a:lnTo>
                    <a:pt x="139" y="47"/>
                  </a:lnTo>
                  <a:lnTo>
                    <a:pt x="153" y="41"/>
                  </a:lnTo>
                  <a:lnTo>
                    <a:pt x="167" y="35"/>
                  </a:lnTo>
                  <a:lnTo>
                    <a:pt x="182" y="32"/>
                  </a:lnTo>
                  <a:lnTo>
                    <a:pt x="197" y="31"/>
                  </a:lnTo>
                  <a:lnTo>
                    <a:pt x="213" y="30"/>
                  </a:lnTo>
                  <a:lnTo>
                    <a:pt x="229" y="31"/>
                  </a:lnTo>
                  <a:lnTo>
                    <a:pt x="247" y="34"/>
                  </a:lnTo>
                  <a:lnTo>
                    <a:pt x="263" y="40"/>
                  </a:lnTo>
                  <a:lnTo>
                    <a:pt x="280" y="46"/>
                  </a:lnTo>
                  <a:lnTo>
                    <a:pt x="296" y="54"/>
                  </a:lnTo>
                  <a:lnTo>
                    <a:pt x="311" y="65"/>
                  </a:lnTo>
                  <a:lnTo>
                    <a:pt x="326" y="78"/>
                  </a:lnTo>
                  <a:lnTo>
                    <a:pt x="340" y="92"/>
                  </a:lnTo>
                  <a:lnTo>
                    <a:pt x="354" y="108"/>
                  </a:lnTo>
                  <a:lnTo>
                    <a:pt x="365" y="126"/>
                  </a:lnTo>
                  <a:lnTo>
                    <a:pt x="376" y="145"/>
                  </a:lnTo>
                  <a:lnTo>
                    <a:pt x="386" y="167"/>
                  </a:lnTo>
                  <a:lnTo>
                    <a:pt x="394" y="190"/>
                  </a:lnTo>
                  <a:lnTo>
                    <a:pt x="401" y="215"/>
                  </a:lnTo>
                  <a:lnTo>
                    <a:pt x="406" y="242"/>
                  </a:lnTo>
                  <a:lnTo>
                    <a:pt x="408" y="247"/>
                  </a:lnTo>
                  <a:lnTo>
                    <a:pt x="411" y="251"/>
                  </a:lnTo>
                  <a:lnTo>
                    <a:pt x="416" y="253"/>
                  </a:lnTo>
                  <a:lnTo>
                    <a:pt x="421" y="255"/>
                  </a:lnTo>
                  <a:lnTo>
                    <a:pt x="426" y="253"/>
                  </a:lnTo>
                  <a:lnTo>
                    <a:pt x="431" y="251"/>
                  </a:lnTo>
                  <a:lnTo>
                    <a:pt x="434" y="247"/>
                  </a:lnTo>
                  <a:lnTo>
                    <a:pt x="436" y="242"/>
                  </a:lnTo>
                  <a:lnTo>
                    <a:pt x="441" y="215"/>
                  </a:lnTo>
                  <a:lnTo>
                    <a:pt x="448" y="190"/>
                  </a:lnTo>
                  <a:lnTo>
                    <a:pt x="456" y="167"/>
                  </a:lnTo>
                  <a:lnTo>
                    <a:pt x="466" y="145"/>
                  </a:lnTo>
                  <a:lnTo>
                    <a:pt x="477" y="126"/>
                  </a:lnTo>
                  <a:lnTo>
                    <a:pt x="489" y="108"/>
                  </a:lnTo>
                  <a:lnTo>
                    <a:pt x="502" y="92"/>
                  </a:lnTo>
                  <a:lnTo>
                    <a:pt x="516" y="78"/>
                  </a:lnTo>
                  <a:lnTo>
                    <a:pt x="531" y="65"/>
                  </a:lnTo>
                  <a:lnTo>
                    <a:pt x="546" y="54"/>
                  </a:lnTo>
                  <a:lnTo>
                    <a:pt x="562" y="46"/>
                  </a:lnTo>
                  <a:lnTo>
                    <a:pt x="579" y="40"/>
                  </a:lnTo>
                  <a:lnTo>
                    <a:pt x="595" y="34"/>
                  </a:lnTo>
                  <a:lnTo>
                    <a:pt x="613" y="31"/>
                  </a:lnTo>
                  <a:lnTo>
                    <a:pt x="629" y="30"/>
                  </a:lnTo>
                  <a:lnTo>
                    <a:pt x="646" y="31"/>
                  </a:lnTo>
                  <a:lnTo>
                    <a:pt x="660" y="32"/>
                  </a:lnTo>
                  <a:lnTo>
                    <a:pt x="675" y="35"/>
                  </a:lnTo>
                  <a:lnTo>
                    <a:pt x="688" y="41"/>
                  </a:lnTo>
                  <a:lnTo>
                    <a:pt x="703" y="47"/>
                  </a:lnTo>
                  <a:lnTo>
                    <a:pt x="717" y="56"/>
                  </a:lnTo>
                  <a:lnTo>
                    <a:pt x="731" y="65"/>
                  </a:lnTo>
                  <a:lnTo>
                    <a:pt x="744" y="78"/>
                  </a:lnTo>
                  <a:lnTo>
                    <a:pt x="757" y="92"/>
                  </a:lnTo>
                  <a:lnTo>
                    <a:pt x="769" y="108"/>
                  </a:lnTo>
                  <a:lnTo>
                    <a:pt x="778" y="126"/>
                  </a:lnTo>
                  <a:lnTo>
                    <a:pt x="788" y="148"/>
                  </a:lnTo>
                  <a:lnTo>
                    <a:pt x="795" y="170"/>
                  </a:lnTo>
                  <a:lnTo>
                    <a:pt x="802" y="195"/>
                  </a:lnTo>
                  <a:lnTo>
                    <a:pt x="807" y="222"/>
                  </a:lnTo>
                  <a:lnTo>
                    <a:pt x="810" y="251"/>
                  </a:lnTo>
                  <a:lnTo>
                    <a:pt x="812" y="284"/>
                  </a:lnTo>
                  <a:lnTo>
                    <a:pt x="810" y="301"/>
                  </a:lnTo>
                  <a:lnTo>
                    <a:pt x="808" y="315"/>
                  </a:lnTo>
                  <a:lnTo>
                    <a:pt x="805" y="330"/>
                  </a:lnTo>
                  <a:lnTo>
                    <a:pt x="801" y="344"/>
                  </a:lnTo>
                  <a:lnTo>
                    <a:pt x="790" y="371"/>
                  </a:lnTo>
                  <a:lnTo>
                    <a:pt x="775" y="401"/>
                  </a:lnTo>
                  <a:lnTo>
                    <a:pt x="771" y="410"/>
                  </a:lnTo>
                  <a:lnTo>
                    <a:pt x="767" y="418"/>
                  </a:lnTo>
                  <a:lnTo>
                    <a:pt x="762" y="427"/>
                  </a:lnTo>
                  <a:lnTo>
                    <a:pt x="758" y="435"/>
                  </a:lnTo>
                  <a:lnTo>
                    <a:pt x="757" y="439"/>
                  </a:lnTo>
                  <a:lnTo>
                    <a:pt x="756" y="442"/>
                  </a:lnTo>
                  <a:lnTo>
                    <a:pt x="756" y="444"/>
                  </a:lnTo>
                  <a:lnTo>
                    <a:pt x="757" y="447"/>
                  </a:lnTo>
                  <a:lnTo>
                    <a:pt x="760" y="452"/>
                  </a:lnTo>
                  <a:lnTo>
                    <a:pt x="764" y="457"/>
                  </a:lnTo>
                  <a:lnTo>
                    <a:pt x="771" y="458"/>
                  </a:lnTo>
                  <a:lnTo>
                    <a:pt x="776" y="457"/>
                  </a:lnTo>
                  <a:lnTo>
                    <a:pt x="778" y="456"/>
                  </a:lnTo>
                  <a:lnTo>
                    <a:pt x="782" y="453"/>
                  </a:lnTo>
                  <a:lnTo>
                    <a:pt x="783" y="451"/>
                  </a:lnTo>
                  <a:lnTo>
                    <a:pt x="785" y="449"/>
                  </a:lnTo>
                  <a:lnTo>
                    <a:pt x="789" y="440"/>
                  </a:lnTo>
                  <a:lnTo>
                    <a:pt x="793" y="431"/>
                  </a:lnTo>
                  <a:lnTo>
                    <a:pt x="798" y="422"/>
                  </a:lnTo>
                  <a:lnTo>
                    <a:pt x="802" y="415"/>
                  </a:lnTo>
                  <a:lnTo>
                    <a:pt x="810" y="399"/>
                  </a:lnTo>
                  <a:lnTo>
                    <a:pt x="818" y="383"/>
                  </a:lnTo>
                  <a:lnTo>
                    <a:pt x="824" y="368"/>
                  </a:lnTo>
                  <a:lnTo>
                    <a:pt x="830" y="353"/>
                  </a:lnTo>
                  <a:lnTo>
                    <a:pt x="835" y="338"/>
                  </a:lnTo>
                  <a:lnTo>
                    <a:pt x="838" y="321"/>
                  </a:lnTo>
                  <a:lnTo>
                    <a:pt x="840" y="304"/>
                  </a:lnTo>
                  <a:lnTo>
                    <a:pt x="841" y="284"/>
                  </a:lnTo>
                  <a:lnTo>
                    <a:pt x="840" y="265"/>
                  </a:lnTo>
                  <a:lnTo>
                    <a:pt x="840" y="248"/>
                  </a:lnTo>
                  <a:lnTo>
                    <a:pt x="838" y="231"/>
                  </a:lnTo>
                  <a:lnTo>
                    <a:pt x="836" y="215"/>
                  </a:lnTo>
                  <a:lnTo>
                    <a:pt x="834" y="199"/>
                  </a:lnTo>
                  <a:lnTo>
                    <a:pt x="831" y="184"/>
                  </a:lnTo>
                  <a:lnTo>
                    <a:pt x="828" y="170"/>
                  </a:lnTo>
                  <a:lnTo>
                    <a:pt x="823" y="156"/>
                  </a:lnTo>
                  <a:lnTo>
                    <a:pt x="819" y="143"/>
                  </a:lnTo>
                  <a:lnTo>
                    <a:pt x="815" y="132"/>
                  </a:lnTo>
                  <a:lnTo>
                    <a:pt x="809" y="120"/>
                  </a:lnTo>
                  <a:lnTo>
                    <a:pt x="803" y="108"/>
                  </a:lnTo>
                  <a:lnTo>
                    <a:pt x="798" y="97"/>
                  </a:lnTo>
                  <a:lnTo>
                    <a:pt x="791" y="88"/>
                  </a:lnTo>
                  <a:lnTo>
                    <a:pt x="785" y="78"/>
                  </a:lnTo>
                  <a:lnTo>
                    <a:pt x="777" y="69"/>
                  </a:lnTo>
                  <a:lnTo>
                    <a:pt x="771" y="62"/>
                  </a:lnTo>
                  <a:lnTo>
                    <a:pt x="763" y="53"/>
                  </a:lnTo>
                  <a:lnTo>
                    <a:pt x="756" y="47"/>
                  </a:lnTo>
                  <a:lnTo>
                    <a:pt x="748" y="41"/>
                  </a:lnTo>
                  <a:lnTo>
                    <a:pt x="732" y="29"/>
                  </a:lnTo>
                  <a:lnTo>
                    <a:pt x="715" y="19"/>
                  </a:lnTo>
                  <a:lnTo>
                    <a:pt x="698" y="12"/>
                  </a:lnTo>
                  <a:lnTo>
                    <a:pt x="681" y="6"/>
                  </a:lnTo>
                  <a:lnTo>
                    <a:pt x="664" y="2"/>
                  </a:lnTo>
                  <a:lnTo>
                    <a:pt x="648" y="1"/>
                  </a:lnTo>
                  <a:lnTo>
                    <a:pt x="631" y="0"/>
                  </a:lnTo>
                  <a:lnTo>
                    <a:pt x="615" y="1"/>
                  </a:lnTo>
                  <a:lnTo>
                    <a:pt x="598" y="3"/>
                  </a:lnTo>
                  <a:lnTo>
                    <a:pt x="581" y="7"/>
                  </a:lnTo>
                  <a:lnTo>
                    <a:pt x="564" y="13"/>
                  </a:lnTo>
                  <a:lnTo>
                    <a:pt x="548" y="20"/>
                  </a:lnTo>
                  <a:lnTo>
                    <a:pt x="532" y="29"/>
                  </a:lnTo>
                  <a:lnTo>
                    <a:pt x="517" y="38"/>
                  </a:lnTo>
                  <a:lnTo>
                    <a:pt x="502" y="50"/>
                  </a:lnTo>
                  <a:lnTo>
                    <a:pt x="487" y="63"/>
                  </a:lnTo>
                  <a:lnTo>
                    <a:pt x="474" y="78"/>
                  </a:lnTo>
                  <a:lnTo>
                    <a:pt x="462" y="94"/>
                  </a:lnTo>
                  <a:lnTo>
                    <a:pt x="450" y="112"/>
                  </a:lnTo>
                  <a:lnTo>
                    <a:pt x="439" y="132"/>
                  </a:lnTo>
                  <a:lnTo>
                    <a:pt x="430" y="152"/>
                  </a:lnTo>
                  <a:lnTo>
                    <a:pt x="421" y="174"/>
                  </a:lnTo>
                  <a:lnTo>
                    <a:pt x="412" y="152"/>
                  </a:lnTo>
                  <a:lnTo>
                    <a:pt x="403" y="132"/>
                  </a:lnTo>
                  <a:lnTo>
                    <a:pt x="392" y="112"/>
                  </a:lnTo>
                  <a:lnTo>
                    <a:pt x="380" y="94"/>
                  </a:lnTo>
                  <a:lnTo>
                    <a:pt x="367" y="78"/>
                  </a:lnTo>
                  <a:lnTo>
                    <a:pt x="355" y="63"/>
                  </a:lnTo>
                  <a:lnTo>
                    <a:pt x="340" y="50"/>
                  </a:lnTo>
                  <a:lnTo>
                    <a:pt x="326" y="38"/>
                  </a:lnTo>
                  <a:lnTo>
                    <a:pt x="310" y="29"/>
                  </a:lnTo>
                  <a:lnTo>
                    <a:pt x="294" y="20"/>
                  </a:lnTo>
                  <a:lnTo>
                    <a:pt x="278" y="13"/>
                  </a:lnTo>
                  <a:lnTo>
                    <a:pt x="262" y="7"/>
                  </a:lnTo>
                  <a:lnTo>
                    <a:pt x="244" y="3"/>
                  </a:lnTo>
                  <a:lnTo>
                    <a:pt x="227" y="1"/>
                  </a:lnTo>
                  <a:lnTo>
                    <a:pt x="211" y="0"/>
                  </a:lnTo>
                  <a:lnTo>
                    <a:pt x="194" y="1"/>
                  </a:lnTo>
                  <a:lnTo>
                    <a:pt x="178" y="2"/>
                  </a:lnTo>
                  <a:lnTo>
                    <a:pt x="161" y="6"/>
                  </a:lnTo>
                  <a:lnTo>
                    <a:pt x="144" y="12"/>
                  </a:lnTo>
                  <a:lnTo>
                    <a:pt x="127" y="19"/>
                  </a:lnTo>
                  <a:lnTo>
                    <a:pt x="111" y="29"/>
                  </a:lnTo>
                  <a:lnTo>
                    <a:pt x="95" y="41"/>
                  </a:lnTo>
                  <a:lnTo>
                    <a:pt x="86" y="47"/>
                  </a:lnTo>
                  <a:lnTo>
                    <a:pt x="79" y="53"/>
                  </a:lnTo>
                  <a:lnTo>
                    <a:pt x="71" y="62"/>
                  </a:lnTo>
                  <a:lnTo>
                    <a:pt x="65" y="69"/>
                  </a:lnTo>
                  <a:lnTo>
                    <a:pt x="57" y="78"/>
                  </a:lnTo>
                  <a:lnTo>
                    <a:pt x="51" y="88"/>
                  </a:lnTo>
                  <a:lnTo>
                    <a:pt x="44" y="97"/>
                  </a:lnTo>
                  <a:lnTo>
                    <a:pt x="39" y="108"/>
                  </a:lnTo>
                  <a:lnTo>
                    <a:pt x="34" y="120"/>
                  </a:lnTo>
                  <a:lnTo>
                    <a:pt x="28" y="132"/>
                  </a:lnTo>
                  <a:lnTo>
                    <a:pt x="23" y="143"/>
                  </a:lnTo>
                  <a:lnTo>
                    <a:pt x="19" y="156"/>
                  </a:lnTo>
                  <a:lnTo>
                    <a:pt x="14" y="170"/>
                  </a:lnTo>
                  <a:lnTo>
                    <a:pt x="11" y="184"/>
                  </a:lnTo>
                  <a:lnTo>
                    <a:pt x="8" y="199"/>
                  </a:lnTo>
                  <a:lnTo>
                    <a:pt x="6" y="215"/>
                  </a:lnTo>
                  <a:lnTo>
                    <a:pt x="4" y="231"/>
                  </a:lnTo>
                  <a:lnTo>
                    <a:pt x="3" y="248"/>
                  </a:lnTo>
                  <a:lnTo>
                    <a:pt x="2" y="265"/>
                  </a:lnTo>
                  <a:lnTo>
                    <a:pt x="0" y="284"/>
                  </a:lnTo>
                  <a:lnTo>
                    <a:pt x="2" y="306"/>
                  </a:lnTo>
                  <a:lnTo>
                    <a:pt x="5" y="326"/>
                  </a:lnTo>
                  <a:lnTo>
                    <a:pt x="8" y="347"/>
                  </a:lnTo>
                  <a:lnTo>
                    <a:pt x="13" y="366"/>
                  </a:lnTo>
                  <a:lnTo>
                    <a:pt x="27" y="404"/>
                  </a:lnTo>
                  <a:lnTo>
                    <a:pt x="42" y="443"/>
                  </a:lnTo>
                  <a:lnTo>
                    <a:pt x="44"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365">
              <a:extLst>
                <a:ext uri="{FF2B5EF4-FFF2-40B4-BE49-F238E27FC236}">
                  <a16:creationId xmlns:a16="http://schemas.microsoft.com/office/drawing/2014/main" id="{E862ED33-2EE4-4386-B04B-167085951197}"/>
                </a:ext>
              </a:extLst>
            </p:cNvPr>
            <p:cNvSpPr>
              <a:spLocks/>
            </p:cNvSpPr>
            <p:nvPr/>
          </p:nvSpPr>
          <p:spPr bwMode="auto">
            <a:xfrm>
              <a:off x="10509250" y="968375"/>
              <a:ext cx="177800" cy="92075"/>
            </a:xfrm>
            <a:custGeom>
              <a:avLst/>
              <a:gdLst>
                <a:gd name="T0" fmla="*/ 517 w 562"/>
                <a:gd name="T1" fmla="*/ 29 h 290"/>
                <a:gd name="T2" fmla="*/ 479 w 562"/>
                <a:gd name="T3" fmla="*/ 73 h 290"/>
                <a:gd name="T4" fmla="*/ 424 w 562"/>
                <a:gd name="T5" fmla="*/ 133 h 290"/>
                <a:gd name="T6" fmla="*/ 356 w 562"/>
                <a:gd name="T7" fmla="*/ 199 h 290"/>
                <a:gd name="T8" fmla="*/ 305 w 562"/>
                <a:gd name="T9" fmla="*/ 244 h 290"/>
                <a:gd name="T10" fmla="*/ 272 w 562"/>
                <a:gd name="T11" fmla="*/ 245 h 290"/>
                <a:gd name="T12" fmla="*/ 217 w 562"/>
                <a:gd name="T13" fmla="*/ 202 h 290"/>
                <a:gd name="T14" fmla="*/ 164 w 562"/>
                <a:gd name="T15" fmla="*/ 155 h 290"/>
                <a:gd name="T16" fmla="*/ 124 w 562"/>
                <a:gd name="T17" fmla="*/ 117 h 290"/>
                <a:gd name="T18" fmla="*/ 85 w 562"/>
                <a:gd name="T19" fmla="*/ 76 h 290"/>
                <a:gd name="T20" fmla="*/ 46 w 562"/>
                <a:gd name="T21" fmla="*/ 31 h 290"/>
                <a:gd name="T22" fmla="*/ 25 w 562"/>
                <a:gd name="T23" fmla="*/ 4 h 290"/>
                <a:gd name="T24" fmla="*/ 20 w 562"/>
                <a:gd name="T25" fmla="*/ 1 h 290"/>
                <a:gd name="T26" fmla="*/ 14 w 562"/>
                <a:gd name="T27" fmla="*/ 0 h 290"/>
                <a:gd name="T28" fmla="*/ 9 w 562"/>
                <a:gd name="T29" fmla="*/ 2 h 290"/>
                <a:gd name="T30" fmla="*/ 4 w 562"/>
                <a:gd name="T31" fmla="*/ 5 h 290"/>
                <a:gd name="T32" fmla="*/ 1 w 562"/>
                <a:gd name="T33" fmla="*/ 10 h 290"/>
                <a:gd name="T34" fmla="*/ 0 w 562"/>
                <a:gd name="T35" fmla="*/ 16 h 290"/>
                <a:gd name="T36" fmla="*/ 1 w 562"/>
                <a:gd name="T37" fmla="*/ 22 h 290"/>
                <a:gd name="T38" fmla="*/ 26 w 562"/>
                <a:gd name="T39" fmla="*/ 53 h 290"/>
                <a:gd name="T40" fmla="*/ 72 w 562"/>
                <a:gd name="T41" fmla="*/ 107 h 290"/>
                <a:gd name="T42" fmla="*/ 118 w 562"/>
                <a:gd name="T43" fmla="*/ 154 h 290"/>
                <a:gd name="T44" fmla="*/ 163 w 562"/>
                <a:gd name="T45" fmla="*/ 195 h 290"/>
                <a:gd name="T46" fmla="*/ 222 w 562"/>
                <a:gd name="T47" fmla="*/ 245 h 290"/>
                <a:gd name="T48" fmla="*/ 273 w 562"/>
                <a:gd name="T49" fmla="*/ 282 h 290"/>
                <a:gd name="T50" fmla="*/ 286 w 562"/>
                <a:gd name="T51" fmla="*/ 290 h 290"/>
                <a:gd name="T52" fmla="*/ 292 w 562"/>
                <a:gd name="T53" fmla="*/ 290 h 290"/>
                <a:gd name="T54" fmla="*/ 297 w 562"/>
                <a:gd name="T55" fmla="*/ 288 h 290"/>
                <a:gd name="T56" fmla="*/ 306 w 562"/>
                <a:gd name="T57" fmla="*/ 282 h 290"/>
                <a:gd name="T58" fmla="*/ 352 w 562"/>
                <a:gd name="T59" fmla="*/ 244 h 290"/>
                <a:gd name="T60" fmla="*/ 427 w 562"/>
                <a:gd name="T61" fmla="*/ 174 h 290"/>
                <a:gd name="T62" fmla="*/ 492 w 562"/>
                <a:gd name="T63" fmla="*/ 104 h 290"/>
                <a:gd name="T64" fmla="*/ 537 w 562"/>
                <a:gd name="T65" fmla="*/ 52 h 290"/>
                <a:gd name="T66" fmla="*/ 560 w 562"/>
                <a:gd name="T67" fmla="*/ 22 h 290"/>
                <a:gd name="T68" fmla="*/ 562 w 562"/>
                <a:gd name="T69" fmla="*/ 16 h 290"/>
                <a:gd name="T70" fmla="*/ 561 w 562"/>
                <a:gd name="T71" fmla="*/ 10 h 290"/>
                <a:gd name="T72" fmla="*/ 557 w 562"/>
                <a:gd name="T73" fmla="*/ 5 h 290"/>
                <a:gd name="T74" fmla="*/ 553 w 562"/>
                <a:gd name="T75" fmla="*/ 2 h 290"/>
                <a:gd name="T76" fmla="*/ 547 w 562"/>
                <a:gd name="T77" fmla="*/ 0 h 290"/>
                <a:gd name="T78" fmla="*/ 541 w 562"/>
                <a:gd name="T79" fmla="*/ 1 h 290"/>
                <a:gd name="T80" fmla="*/ 536 w 562"/>
                <a:gd name="T81" fmla="*/ 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2" h="290">
                  <a:moveTo>
                    <a:pt x="534" y="5"/>
                  </a:moveTo>
                  <a:lnTo>
                    <a:pt x="517" y="29"/>
                  </a:lnTo>
                  <a:lnTo>
                    <a:pt x="498" y="51"/>
                  </a:lnTo>
                  <a:lnTo>
                    <a:pt x="479" y="73"/>
                  </a:lnTo>
                  <a:lnTo>
                    <a:pt x="460" y="95"/>
                  </a:lnTo>
                  <a:lnTo>
                    <a:pt x="424" y="133"/>
                  </a:lnTo>
                  <a:lnTo>
                    <a:pt x="388" y="169"/>
                  </a:lnTo>
                  <a:lnTo>
                    <a:pt x="356" y="199"/>
                  </a:lnTo>
                  <a:lnTo>
                    <a:pt x="327" y="224"/>
                  </a:lnTo>
                  <a:lnTo>
                    <a:pt x="305" y="244"/>
                  </a:lnTo>
                  <a:lnTo>
                    <a:pt x="290" y="257"/>
                  </a:lnTo>
                  <a:lnTo>
                    <a:pt x="272" y="245"/>
                  </a:lnTo>
                  <a:lnTo>
                    <a:pt x="247" y="226"/>
                  </a:lnTo>
                  <a:lnTo>
                    <a:pt x="217" y="202"/>
                  </a:lnTo>
                  <a:lnTo>
                    <a:pt x="182" y="172"/>
                  </a:lnTo>
                  <a:lnTo>
                    <a:pt x="164" y="155"/>
                  </a:lnTo>
                  <a:lnTo>
                    <a:pt x="144" y="137"/>
                  </a:lnTo>
                  <a:lnTo>
                    <a:pt x="124" y="117"/>
                  </a:lnTo>
                  <a:lnTo>
                    <a:pt x="105" y="97"/>
                  </a:lnTo>
                  <a:lnTo>
                    <a:pt x="85" y="76"/>
                  </a:lnTo>
                  <a:lnTo>
                    <a:pt x="65" y="54"/>
                  </a:lnTo>
                  <a:lnTo>
                    <a:pt x="46" y="31"/>
                  </a:lnTo>
                  <a:lnTo>
                    <a:pt x="27" y="6"/>
                  </a:lnTo>
                  <a:lnTo>
                    <a:pt x="25" y="4"/>
                  </a:lnTo>
                  <a:lnTo>
                    <a:pt x="22" y="2"/>
                  </a:lnTo>
                  <a:lnTo>
                    <a:pt x="20" y="1"/>
                  </a:lnTo>
                  <a:lnTo>
                    <a:pt x="17" y="0"/>
                  </a:lnTo>
                  <a:lnTo>
                    <a:pt x="14" y="0"/>
                  </a:lnTo>
                  <a:lnTo>
                    <a:pt x="12" y="1"/>
                  </a:lnTo>
                  <a:lnTo>
                    <a:pt x="9" y="2"/>
                  </a:lnTo>
                  <a:lnTo>
                    <a:pt x="6" y="4"/>
                  </a:lnTo>
                  <a:lnTo>
                    <a:pt x="4" y="5"/>
                  </a:lnTo>
                  <a:lnTo>
                    <a:pt x="2" y="7"/>
                  </a:lnTo>
                  <a:lnTo>
                    <a:pt x="1" y="10"/>
                  </a:lnTo>
                  <a:lnTo>
                    <a:pt x="0" y="12"/>
                  </a:lnTo>
                  <a:lnTo>
                    <a:pt x="0" y="16"/>
                  </a:lnTo>
                  <a:lnTo>
                    <a:pt x="0" y="19"/>
                  </a:lnTo>
                  <a:lnTo>
                    <a:pt x="1" y="22"/>
                  </a:lnTo>
                  <a:lnTo>
                    <a:pt x="3" y="24"/>
                  </a:lnTo>
                  <a:lnTo>
                    <a:pt x="26" y="53"/>
                  </a:lnTo>
                  <a:lnTo>
                    <a:pt x="48" y="81"/>
                  </a:lnTo>
                  <a:lnTo>
                    <a:pt x="72" y="107"/>
                  </a:lnTo>
                  <a:lnTo>
                    <a:pt x="95" y="131"/>
                  </a:lnTo>
                  <a:lnTo>
                    <a:pt x="118" y="154"/>
                  </a:lnTo>
                  <a:lnTo>
                    <a:pt x="141" y="175"/>
                  </a:lnTo>
                  <a:lnTo>
                    <a:pt x="163" y="195"/>
                  </a:lnTo>
                  <a:lnTo>
                    <a:pt x="184" y="214"/>
                  </a:lnTo>
                  <a:lnTo>
                    <a:pt x="222" y="245"/>
                  </a:lnTo>
                  <a:lnTo>
                    <a:pt x="251" y="267"/>
                  </a:lnTo>
                  <a:lnTo>
                    <a:pt x="273" y="282"/>
                  </a:lnTo>
                  <a:lnTo>
                    <a:pt x="281" y="288"/>
                  </a:lnTo>
                  <a:lnTo>
                    <a:pt x="286" y="290"/>
                  </a:lnTo>
                  <a:lnTo>
                    <a:pt x="290" y="290"/>
                  </a:lnTo>
                  <a:lnTo>
                    <a:pt x="292" y="290"/>
                  </a:lnTo>
                  <a:lnTo>
                    <a:pt x="295" y="290"/>
                  </a:lnTo>
                  <a:lnTo>
                    <a:pt x="297" y="288"/>
                  </a:lnTo>
                  <a:lnTo>
                    <a:pt x="300" y="287"/>
                  </a:lnTo>
                  <a:lnTo>
                    <a:pt x="306" y="282"/>
                  </a:lnTo>
                  <a:lnTo>
                    <a:pt x="324" y="267"/>
                  </a:lnTo>
                  <a:lnTo>
                    <a:pt x="352" y="244"/>
                  </a:lnTo>
                  <a:lnTo>
                    <a:pt x="386" y="212"/>
                  </a:lnTo>
                  <a:lnTo>
                    <a:pt x="427" y="174"/>
                  </a:lnTo>
                  <a:lnTo>
                    <a:pt x="470" y="129"/>
                  </a:lnTo>
                  <a:lnTo>
                    <a:pt x="492" y="104"/>
                  </a:lnTo>
                  <a:lnTo>
                    <a:pt x="515" y="79"/>
                  </a:lnTo>
                  <a:lnTo>
                    <a:pt x="537" y="52"/>
                  </a:lnTo>
                  <a:lnTo>
                    <a:pt x="559" y="24"/>
                  </a:lnTo>
                  <a:lnTo>
                    <a:pt x="560" y="22"/>
                  </a:lnTo>
                  <a:lnTo>
                    <a:pt x="561" y="19"/>
                  </a:lnTo>
                  <a:lnTo>
                    <a:pt x="562" y="16"/>
                  </a:lnTo>
                  <a:lnTo>
                    <a:pt x="562" y="12"/>
                  </a:lnTo>
                  <a:lnTo>
                    <a:pt x="561" y="10"/>
                  </a:lnTo>
                  <a:lnTo>
                    <a:pt x="560" y="7"/>
                  </a:lnTo>
                  <a:lnTo>
                    <a:pt x="557" y="5"/>
                  </a:lnTo>
                  <a:lnTo>
                    <a:pt x="555" y="4"/>
                  </a:lnTo>
                  <a:lnTo>
                    <a:pt x="553" y="2"/>
                  </a:lnTo>
                  <a:lnTo>
                    <a:pt x="550" y="1"/>
                  </a:lnTo>
                  <a:lnTo>
                    <a:pt x="547" y="0"/>
                  </a:lnTo>
                  <a:lnTo>
                    <a:pt x="545" y="0"/>
                  </a:lnTo>
                  <a:lnTo>
                    <a:pt x="541" y="1"/>
                  </a:lnTo>
                  <a:lnTo>
                    <a:pt x="539" y="2"/>
                  </a:lnTo>
                  <a:lnTo>
                    <a:pt x="536" y="3"/>
                  </a:lnTo>
                  <a:lnTo>
                    <a:pt x="53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51" name="Freeform 414">
            <a:extLst>
              <a:ext uri="{FF2B5EF4-FFF2-40B4-BE49-F238E27FC236}">
                <a16:creationId xmlns:a16="http://schemas.microsoft.com/office/drawing/2014/main" id="{519B6187-FB4D-43D3-A11C-FFF748C789FB}"/>
              </a:ext>
            </a:extLst>
          </p:cNvPr>
          <p:cNvSpPr>
            <a:spLocks noChangeAspect="1" noEditPoints="1"/>
          </p:cNvSpPr>
          <p:nvPr/>
        </p:nvSpPr>
        <p:spPr bwMode="auto">
          <a:xfrm>
            <a:off x="1081380" y="3256152"/>
            <a:ext cx="275840" cy="306488"/>
          </a:xfrm>
          <a:custGeom>
            <a:avLst/>
            <a:gdLst>
              <a:gd name="T0" fmla="*/ 648 w 810"/>
              <a:gd name="T1" fmla="*/ 422 h 900"/>
              <a:gd name="T2" fmla="*/ 634 w 810"/>
              <a:gd name="T3" fmla="*/ 353 h 900"/>
              <a:gd name="T4" fmla="*/ 683 w 810"/>
              <a:gd name="T5" fmla="*/ 304 h 900"/>
              <a:gd name="T6" fmla="*/ 754 w 810"/>
              <a:gd name="T7" fmla="*/ 318 h 900"/>
              <a:gd name="T8" fmla="*/ 780 w 810"/>
              <a:gd name="T9" fmla="*/ 383 h 900"/>
              <a:gd name="T10" fmla="*/ 742 w 810"/>
              <a:gd name="T11" fmla="*/ 441 h 900"/>
              <a:gd name="T12" fmla="*/ 142 w 810"/>
              <a:gd name="T13" fmla="*/ 49 h 900"/>
              <a:gd name="T14" fmla="*/ 132 w 810"/>
              <a:gd name="T15" fmla="*/ 112 h 900"/>
              <a:gd name="T16" fmla="*/ 303 w 810"/>
              <a:gd name="T17" fmla="*/ 89 h 900"/>
              <a:gd name="T18" fmla="*/ 331 w 810"/>
              <a:gd name="T19" fmla="*/ 33 h 900"/>
              <a:gd name="T20" fmla="*/ 779 w 810"/>
              <a:gd name="T21" fmla="*/ 302 h 900"/>
              <a:gd name="T22" fmla="*/ 684 w 810"/>
              <a:gd name="T23" fmla="*/ 273 h 900"/>
              <a:gd name="T24" fmla="*/ 609 w 810"/>
              <a:gd name="T25" fmla="*/ 335 h 900"/>
              <a:gd name="T26" fmla="*/ 616 w 810"/>
              <a:gd name="T27" fmla="*/ 430 h 900"/>
              <a:gd name="T28" fmla="*/ 690 w 810"/>
              <a:gd name="T29" fmla="*/ 480 h 900"/>
              <a:gd name="T30" fmla="*/ 669 w 810"/>
              <a:gd name="T31" fmla="*/ 781 h 900"/>
              <a:gd name="T32" fmla="*/ 612 w 810"/>
              <a:gd name="T33" fmla="*/ 793 h 900"/>
              <a:gd name="T34" fmla="*/ 573 w 810"/>
              <a:gd name="T35" fmla="*/ 753 h 900"/>
              <a:gd name="T36" fmla="*/ 552 w 810"/>
              <a:gd name="T37" fmla="*/ 587 h 900"/>
              <a:gd name="T38" fmla="*/ 466 w 810"/>
              <a:gd name="T39" fmla="*/ 540 h 900"/>
              <a:gd name="T40" fmla="*/ 378 w 810"/>
              <a:gd name="T41" fmla="*/ 587 h 900"/>
              <a:gd name="T42" fmla="*/ 358 w 810"/>
              <a:gd name="T43" fmla="*/ 828 h 900"/>
              <a:gd name="T44" fmla="*/ 318 w 810"/>
              <a:gd name="T45" fmla="*/ 867 h 900"/>
              <a:gd name="T46" fmla="*/ 262 w 810"/>
              <a:gd name="T47" fmla="*/ 857 h 900"/>
              <a:gd name="T48" fmla="*/ 240 w 810"/>
              <a:gd name="T49" fmla="*/ 570 h 900"/>
              <a:gd name="T50" fmla="*/ 414 w 810"/>
              <a:gd name="T51" fmla="*/ 467 h 900"/>
              <a:gd name="T52" fmla="*/ 447 w 810"/>
              <a:gd name="T53" fmla="*/ 137 h 900"/>
              <a:gd name="T54" fmla="*/ 388 w 810"/>
              <a:gd name="T55" fmla="*/ 69 h 900"/>
              <a:gd name="T56" fmla="*/ 351 w 810"/>
              <a:gd name="T57" fmla="*/ 1 h 900"/>
              <a:gd name="T58" fmla="*/ 292 w 810"/>
              <a:gd name="T59" fmla="*/ 22 h 900"/>
              <a:gd name="T60" fmla="*/ 272 w 810"/>
              <a:gd name="T61" fmla="*/ 90 h 900"/>
              <a:gd name="T62" fmla="*/ 316 w 810"/>
              <a:gd name="T63" fmla="*/ 144 h 900"/>
              <a:gd name="T64" fmla="*/ 359 w 810"/>
              <a:gd name="T65" fmla="*/ 141 h 900"/>
              <a:gd name="T66" fmla="*/ 410 w 810"/>
              <a:gd name="T67" fmla="*/ 128 h 900"/>
              <a:gd name="T68" fmla="*/ 405 w 810"/>
              <a:gd name="T69" fmla="*/ 421 h 900"/>
              <a:gd name="T70" fmla="*/ 265 w 810"/>
              <a:gd name="T71" fmla="*/ 536 h 900"/>
              <a:gd name="T72" fmla="*/ 88 w 810"/>
              <a:gd name="T73" fmla="*/ 483 h 900"/>
              <a:gd name="T74" fmla="*/ 30 w 810"/>
              <a:gd name="T75" fmla="*/ 158 h 900"/>
              <a:gd name="T76" fmla="*/ 84 w 810"/>
              <a:gd name="T77" fmla="*/ 93 h 900"/>
              <a:gd name="T78" fmla="*/ 105 w 810"/>
              <a:gd name="T79" fmla="*/ 150 h 900"/>
              <a:gd name="T80" fmla="*/ 167 w 810"/>
              <a:gd name="T81" fmla="*/ 118 h 900"/>
              <a:gd name="T82" fmla="*/ 175 w 810"/>
              <a:gd name="T83" fmla="*/ 46 h 900"/>
              <a:gd name="T84" fmla="*/ 120 w 810"/>
              <a:gd name="T85" fmla="*/ 2 h 900"/>
              <a:gd name="T86" fmla="*/ 90 w 810"/>
              <a:gd name="T87" fmla="*/ 15 h 900"/>
              <a:gd name="T88" fmla="*/ 21 w 810"/>
              <a:gd name="T89" fmla="*/ 104 h 900"/>
              <a:gd name="T90" fmla="*/ 5 w 810"/>
              <a:gd name="T91" fmla="*/ 389 h 900"/>
              <a:gd name="T92" fmla="*/ 128 w 810"/>
              <a:gd name="T93" fmla="*/ 549 h 900"/>
              <a:gd name="T94" fmla="*/ 222 w 810"/>
              <a:gd name="T95" fmla="*/ 852 h 900"/>
              <a:gd name="T96" fmla="*/ 291 w 810"/>
              <a:gd name="T97" fmla="*/ 900 h 900"/>
              <a:gd name="T98" fmla="*/ 369 w 810"/>
              <a:gd name="T99" fmla="*/ 867 h 900"/>
              <a:gd name="T100" fmla="*/ 392 w 810"/>
              <a:gd name="T101" fmla="*/ 630 h 900"/>
              <a:gd name="T102" fmla="*/ 436 w 810"/>
              <a:gd name="T103" fmla="*/ 576 h 900"/>
              <a:gd name="T104" fmla="*/ 508 w 810"/>
              <a:gd name="T105" fmla="*/ 583 h 900"/>
              <a:gd name="T106" fmla="*/ 541 w 810"/>
              <a:gd name="T107" fmla="*/ 645 h 900"/>
              <a:gd name="T108" fmla="*/ 573 w 810"/>
              <a:gd name="T109" fmla="*/ 804 h 900"/>
              <a:gd name="T110" fmla="*/ 657 w 810"/>
              <a:gd name="T111" fmla="*/ 821 h 900"/>
              <a:gd name="T112" fmla="*/ 716 w 810"/>
              <a:gd name="T113" fmla="*/ 762 h 900"/>
              <a:gd name="T114" fmla="*/ 772 w 810"/>
              <a:gd name="T115" fmla="*/ 458 h 900"/>
              <a:gd name="T116" fmla="*/ 810 w 810"/>
              <a:gd name="T117" fmla="*/ 37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900">
                <a:moveTo>
                  <a:pt x="705" y="450"/>
                </a:moveTo>
                <a:lnTo>
                  <a:pt x="698" y="449"/>
                </a:lnTo>
                <a:lnTo>
                  <a:pt x="690" y="448"/>
                </a:lnTo>
                <a:lnTo>
                  <a:pt x="683" y="447"/>
                </a:lnTo>
                <a:lnTo>
                  <a:pt x="677" y="444"/>
                </a:lnTo>
                <a:lnTo>
                  <a:pt x="670" y="441"/>
                </a:lnTo>
                <a:lnTo>
                  <a:pt x="664" y="437"/>
                </a:lnTo>
                <a:lnTo>
                  <a:pt x="658" y="433"/>
                </a:lnTo>
                <a:lnTo>
                  <a:pt x="653" y="428"/>
                </a:lnTo>
                <a:lnTo>
                  <a:pt x="648" y="422"/>
                </a:lnTo>
                <a:lnTo>
                  <a:pt x="643" y="417"/>
                </a:lnTo>
                <a:lnTo>
                  <a:pt x="639" y="411"/>
                </a:lnTo>
                <a:lnTo>
                  <a:pt x="636" y="404"/>
                </a:lnTo>
                <a:lnTo>
                  <a:pt x="634" y="398"/>
                </a:lnTo>
                <a:lnTo>
                  <a:pt x="632" y="390"/>
                </a:lnTo>
                <a:lnTo>
                  <a:pt x="631" y="383"/>
                </a:lnTo>
                <a:lnTo>
                  <a:pt x="631" y="375"/>
                </a:lnTo>
                <a:lnTo>
                  <a:pt x="631" y="368"/>
                </a:lnTo>
                <a:lnTo>
                  <a:pt x="632" y="360"/>
                </a:lnTo>
                <a:lnTo>
                  <a:pt x="634" y="353"/>
                </a:lnTo>
                <a:lnTo>
                  <a:pt x="637" y="346"/>
                </a:lnTo>
                <a:lnTo>
                  <a:pt x="639" y="340"/>
                </a:lnTo>
                <a:lnTo>
                  <a:pt x="643" y="334"/>
                </a:lnTo>
                <a:lnTo>
                  <a:pt x="648" y="327"/>
                </a:lnTo>
                <a:lnTo>
                  <a:pt x="653" y="322"/>
                </a:lnTo>
                <a:lnTo>
                  <a:pt x="658" y="318"/>
                </a:lnTo>
                <a:lnTo>
                  <a:pt x="664" y="313"/>
                </a:lnTo>
                <a:lnTo>
                  <a:pt x="670" y="309"/>
                </a:lnTo>
                <a:lnTo>
                  <a:pt x="677" y="306"/>
                </a:lnTo>
                <a:lnTo>
                  <a:pt x="683" y="304"/>
                </a:lnTo>
                <a:lnTo>
                  <a:pt x="690" y="302"/>
                </a:lnTo>
                <a:lnTo>
                  <a:pt x="698" y="300"/>
                </a:lnTo>
                <a:lnTo>
                  <a:pt x="705" y="300"/>
                </a:lnTo>
                <a:lnTo>
                  <a:pt x="713" y="300"/>
                </a:lnTo>
                <a:lnTo>
                  <a:pt x="720" y="302"/>
                </a:lnTo>
                <a:lnTo>
                  <a:pt x="728" y="304"/>
                </a:lnTo>
                <a:lnTo>
                  <a:pt x="734" y="306"/>
                </a:lnTo>
                <a:lnTo>
                  <a:pt x="742" y="309"/>
                </a:lnTo>
                <a:lnTo>
                  <a:pt x="747" y="313"/>
                </a:lnTo>
                <a:lnTo>
                  <a:pt x="754" y="318"/>
                </a:lnTo>
                <a:lnTo>
                  <a:pt x="759" y="322"/>
                </a:lnTo>
                <a:lnTo>
                  <a:pt x="763" y="327"/>
                </a:lnTo>
                <a:lnTo>
                  <a:pt x="768" y="334"/>
                </a:lnTo>
                <a:lnTo>
                  <a:pt x="772" y="340"/>
                </a:lnTo>
                <a:lnTo>
                  <a:pt x="775" y="346"/>
                </a:lnTo>
                <a:lnTo>
                  <a:pt x="777" y="353"/>
                </a:lnTo>
                <a:lnTo>
                  <a:pt x="779" y="360"/>
                </a:lnTo>
                <a:lnTo>
                  <a:pt x="780" y="368"/>
                </a:lnTo>
                <a:lnTo>
                  <a:pt x="780" y="375"/>
                </a:lnTo>
                <a:lnTo>
                  <a:pt x="780" y="383"/>
                </a:lnTo>
                <a:lnTo>
                  <a:pt x="779" y="390"/>
                </a:lnTo>
                <a:lnTo>
                  <a:pt x="777" y="398"/>
                </a:lnTo>
                <a:lnTo>
                  <a:pt x="775" y="404"/>
                </a:lnTo>
                <a:lnTo>
                  <a:pt x="772" y="411"/>
                </a:lnTo>
                <a:lnTo>
                  <a:pt x="768" y="417"/>
                </a:lnTo>
                <a:lnTo>
                  <a:pt x="763" y="422"/>
                </a:lnTo>
                <a:lnTo>
                  <a:pt x="759" y="428"/>
                </a:lnTo>
                <a:lnTo>
                  <a:pt x="754" y="433"/>
                </a:lnTo>
                <a:lnTo>
                  <a:pt x="747" y="437"/>
                </a:lnTo>
                <a:lnTo>
                  <a:pt x="742" y="441"/>
                </a:lnTo>
                <a:lnTo>
                  <a:pt x="734" y="444"/>
                </a:lnTo>
                <a:lnTo>
                  <a:pt x="728" y="447"/>
                </a:lnTo>
                <a:lnTo>
                  <a:pt x="720" y="448"/>
                </a:lnTo>
                <a:lnTo>
                  <a:pt x="713" y="449"/>
                </a:lnTo>
                <a:lnTo>
                  <a:pt x="705" y="450"/>
                </a:lnTo>
                <a:close/>
                <a:moveTo>
                  <a:pt x="120" y="33"/>
                </a:moveTo>
                <a:lnTo>
                  <a:pt x="127" y="35"/>
                </a:lnTo>
                <a:lnTo>
                  <a:pt x="132" y="39"/>
                </a:lnTo>
                <a:lnTo>
                  <a:pt x="137" y="44"/>
                </a:lnTo>
                <a:lnTo>
                  <a:pt x="142" y="49"/>
                </a:lnTo>
                <a:lnTo>
                  <a:pt x="146" y="54"/>
                </a:lnTo>
                <a:lnTo>
                  <a:pt x="148" y="61"/>
                </a:lnTo>
                <a:lnTo>
                  <a:pt x="150" y="68"/>
                </a:lnTo>
                <a:lnTo>
                  <a:pt x="150" y="75"/>
                </a:lnTo>
                <a:lnTo>
                  <a:pt x="150" y="82"/>
                </a:lnTo>
                <a:lnTo>
                  <a:pt x="148" y="89"/>
                </a:lnTo>
                <a:lnTo>
                  <a:pt x="146" y="96"/>
                </a:lnTo>
                <a:lnTo>
                  <a:pt x="142" y="102"/>
                </a:lnTo>
                <a:lnTo>
                  <a:pt x="137" y="107"/>
                </a:lnTo>
                <a:lnTo>
                  <a:pt x="132" y="112"/>
                </a:lnTo>
                <a:lnTo>
                  <a:pt x="127" y="115"/>
                </a:lnTo>
                <a:lnTo>
                  <a:pt x="120" y="119"/>
                </a:lnTo>
                <a:lnTo>
                  <a:pt x="120" y="33"/>
                </a:lnTo>
                <a:close/>
                <a:moveTo>
                  <a:pt x="331" y="119"/>
                </a:moveTo>
                <a:lnTo>
                  <a:pt x="325" y="115"/>
                </a:lnTo>
                <a:lnTo>
                  <a:pt x="318" y="112"/>
                </a:lnTo>
                <a:lnTo>
                  <a:pt x="314" y="107"/>
                </a:lnTo>
                <a:lnTo>
                  <a:pt x="308" y="102"/>
                </a:lnTo>
                <a:lnTo>
                  <a:pt x="305" y="96"/>
                </a:lnTo>
                <a:lnTo>
                  <a:pt x="303" y="89"/>
                </a:lnTo>
                <a:lnTo>
                  <a:pt x="301" y="82"/>
                </a:lnTo>
                <a:lnTo>
                  <a:pt x="300" y="75"/>
                </a:lnTo>
                <a:lnTo>
                  <a:pt x="301" y="68"/>
                </a:lnTo>
                <a:lnTo>
                  <a:pt x="303" y="61"/>
                </a:lnTo>
                <a:lnTo>
                  <a:pt x="305" y="54"/>
                </a:lnTo>
                <a:lnTo>
                  <a:pt x="308" y="49"/>
                </a:lnTo>
                <a:lnTo>
                  <a:pt x="314" y="44"/>
                </a:lnTo>
                <a:lnTo>
                  <a:pt x="318" y="39"/>
                </a:lnTo>
                <a:lnTo>
                  <a:pt x="325" y="35"/>
                </a:lnTo>
                <a:lnTo>
                  <a:pt x="331" y="33"/>
                </a:lnTo>
                <a:lnTo>
                  <a:pt x="331" y="119"/>
                </a:lnTo>
                <a:close/>
                <a:moveTo>
                  <a:pt x="810" y="375"/>
                </a:moveTo>
                <a:lnTo>
                  <a:pt x="810" y="365"/>
                </a:lnTo>
                <a:lnTo>
                  <a:pt x="808" y="354"/>
                </a:lnTo>
                <a:lnTo>
                  <a:pt x="806" y="344"/>
                </a:lnTo>
                <a:lnTo>
                  <a:pt x="803" y="335"/>
                </a:lnTo>
                <a:lnTo>
                  <a:pt x="797" y="325"/>
                </a:lnTo>
                <a:lnTo>
                  <a:pt x="792" y="317"/>
                </a:lnTo>
                <a:lnTo>
                  <a:pt x="787" y="309"/>
                </a:lnTo>
                <a:lnTo>
                  <a:pt x="779" y="302"/>
                </a:lnTo>
                <a:lnTo>
                  <a:pt x="772" y="294"/>
                </a:lnTo>
                <a:lnTo>
                  <a:pt x="764" y="289"/>
                </a:lnTo>
                <a:lnTo>
                  <a:pt x="756" y="283"/>
                </a:lnTo>
                <a:lnTo>
                  <a:pt x="746" y="278"/>
                </a:lnTo>
                <a:lnTo>
                  <a:pt x="736" y="275"/>
                </a:lnTo>
                <a:lnTo>
                  <a:pt x="727" y="273"/>
                </a:lnTo>
                <a:lnTo>
                  <a:pt x="716" y="271"/>
                </a:lnTo>
                <a:lnTo>
                  <a:pt x="705" y="271"/>
                </a:lnTo>
                <a:lnTo>
                  <a:pt x="695" y="271"/>
                </a:lnTo>
                <a:lnTo>
                  <a:pt x="684" y="273"/>
                </a:lnTo>
                <a:lnTo>
                  <a:pt x="674" y="275"/>
                </a:lnTo>
                <a:lnTo>
                  <a:pt x="665" y="278"/>
                </a:lnTo>
                <a:lnTo>
                  <a:pt x="655" y="283"/>
                </a:lnTo>
                <a:lnTo>
                  <a:pt x="647" y="289"/>
                </a:lnTo>
                <a:lnTo>
                  <a:pt x="639" y="294"/>
                </a:lnTo>
                <a:lnTo>
                  <a:pt x="632" y="302"/>
                </a:lnTo>
                <a:lnTo>
                  <a:pt x="624" y="309"/>
                </a:lnTo>
                <a:lnTo>
                  <a:pt x="619" y="317"/>
                </a:lnTo>
                <a:lnTo>
                  <a:pt x="613" y="325"/>
                </a:lnTo>
                <a:lnTo>
                  <a:pt x="609" y="335"/>
                </a:lnTo>
                <a:lnTo>
                  <a:pt x="605" y="344"/>
                </a:lnTo>
                <a:lnTo>
                  <a:pt x="603" y="354"/>
                </a:lnTo>
                <a:lnTo>
                  <a:pt x="601" y="365"/>
                </a:lnTo>
                <a:lnTo>
                  <a:pt x="601" y="375"/>
                </a:lnTo>
                <a:lnTo>
                  <a:pt x="601" y="385"/>
                </a:lnTo>
                <a:lnTo>
                  <a:pt x="603" y="395"/>
                </a:lnTo>
                <a:lnTo>
                  <a:pt x="605" y="404"/>
                </a:lnTo>
                <a:lnTo>
                  <a:pt x="607" y="413"/>
                </a:lnTo>
                <a:lnTo>
                  <a:pt x="611" y="421"/>
                </a:lnTo>
                <a:lnTo>
                  <a:pt x="616" y="430"/>
                </a:lnTo>
                <a:lnTo>
                  <a:pt x="621" y="437"/>
                </a:lnTo>
                <a:lnTo>
                  <a:pt x="626" y="445"/>
                </a:lnTo>
                <a:lnTo>
                  <a:pt x="633" y="451"/>
                </a:lnTo>
                <a:lnTo>
                  <a:pt x="640" y="458"/>
                </a:lnTo>
                <a:lnTo>
                  <a:pt x="647" y="463"/>
                </a:lnTo>
                <a:lnTo>
                  <a:pt x="655" y="468"/>
                </a:lnTo>
                <a:lnTo>
                  <a:pt x="664" y="472"/>
                </a:lnTo>
                <a:lnTo>
                  <a:pt x="672" y="476"/>
                </a:lnTo>
                <a:lnTo>
                  <a:pt x="681" y="478"/>
                </a:lnTo>
                <a:lnTo>
                  <a:pt x="690" y="480"/>
                </a:lnTo>
                <a:lnTo>
                  <a:pt x="690" y="735"/>
                </a:lnTo>
                <a:lnTo>
                  <a:pt x="690" y="741"/>
                </a:lnTo>
                <a:lnTo>
                  <a:pt x="689" y="747"/>
                </a:lnTo>
                <a:lnTo>
                  <a:pt x="688" y="753"/>
                </a:lnTo>
                <a:lnTo>
                  <a:pt x="686" y="758"/>
                </a:lnTo>
                <a:lnTo>
                  <a:pt x="683" y="764"/>
                </a:lnTo>
                <a:lnTo>
                  <a:pt x="681" y="769"/>
                </a:lnTo>
                <a:lnTo>
                  <a:pt x="677" y="773"/>
                </a:lnTo>
                <a:lnTo>
                  <a:pt x="673" y="778"/>
                </a:lnTo>
                <a:lnTo>
                  <a:pt x="669" y="781"/>
                </a:lnTo>
                <a:lnTo>
                  <a:pt x="664" y="785"/>
                </a:lnTo>
                <a:lnTo>
                  <a:pt x="659" y="788"/>
                </a:lnTo>
                <a:lnTo>
                  <a:pt x="654" y="790"/>
                </a:lnTo>
                <a:lnTo>
                  <a:pt x="649" y="793"/>
                </a:lnTo>
                <a:lnTo>
                  <a:pt x="642" y="794"/>
                </a:lnTo>
                <a:lnTo>
                  <a:pt x="637" y="795"/>
                </a:lnTo>
                <a:lnTo>
                  <a:pt x="631" y="795"/>
                </a:lnTo>
                <a:lnTo>
                  <a:pt x="624" y="795"/>
                </a:lnTo>
                <a:lnTo>
                  <a:pt x="619" y="794"/>
                </a:lnTo>
                <a:lnTo>
                  <a:pt x="612" y="793"/>
                </a:lnTo>
                <a:lnTo>
                  <a:pt x="607" y="790"/>
                </a:lnTo>
                <a:lnTo>
                  <a:pt x="602" y="788"/>
                </a:lnTo>
                <a:lnTo>
                  <a:pt x="597" y="785"/>
                </a:lnTo>
                <a:lnTo>
                  <a:pt x="592" y="781"/>
                </a:lnTo>
                <a:lnTo>
                  <a:pt x="588" y="778"/>
                </a:lnTo>
                <a:lnTo>
                  <a:pt x="585" y="773"/>
                </a:lnTo>
                <a:lnTo>
                  <a:pt x="580" y="769"/>
                </a:lnTo>
                <a:lnTo>
                  <a:pt x="578" y="764"/>
                </a:lnTo>
                <a:lnTo>
                  <a:pt x="575" y="758"/>
                </a:lnTo>
                <a:lnTo>
                  <a:pt x="573" y="753"/>
                </a:lnTo>
                <a:lnTo>
                  <a:pt x="572" y="747"/>
                </a:lnTo>
                <a:lnTo>
                  <a:pt x="571" y="741"/>
                </a:lnTo>
                <a:lnTo>
                  <a:pt x="571" y="735"/>
                </a:lnTo>
                <a:lnTo>
                  <a:pt x="571" y="645"/>
                </a:lnTo>
                <a:lnTo>
                  <a:pt x="570" y="634"/>
                </a:lnTo>
                <a:lnTo>
                  <a:pt x="568" y="625"/>
                </a:lnTo>
                <a:lnTo>
                  <a:pt x="565" y="614"/>
                </a:lnTo>
                <a:lnTo>
                  <a:pt x="562" y="604"/>
                </a:lnTo>
                <a:lnTo>
                  <a:pt x="558" y="596"/>
                </a:lnTo>
                <a:lnTo>
                  <a:pt x="552" y="587"/>
                </a:lnTo>
                <a:lnTo>
                  <a:pt x="546" y="579"/>
                </a:lnTo>
                <a:lnTo>
                  <a:pt x="540" y="571"/>
                </a:lnTo>
                <a:lnTo>
                  <a:pt x="532" y="565"/>
                </a:lnTo>
                <a:lnTo>
                  <a:pt x="525" y="558"/>
                </a:lnTo>
                <a:lnTo>
                  <a:pt x="515" y="553"/>
                </a:lnTo>
                <a:lnTo>
                  <a:pt x="506" y="549"/>
                </a:lnTo>
                <a:lnTo>
                  <a:pt x="497" y="544"/>
                </a:lnTo>
                <a:lnTo>
                  <a:pt x="487" y="542"/>
                </a:lnTo>
                <a:lnTo>
                  <a:pt x="476" y="540"/>
                </a:lnTo>
                <a:lnTo>
                  <a:pt x="466" y="540"/>
                </a:lnTo>
                <a:lnTo>
                  <a:pt x="455" y="540"/>
                </a:lnTo>
                <a:lnTo>
                  <a:pt x="444" y="542"/>
                </a:lnTo>
                <a:lnTo>
                  <a:pt x="435" y="544"/>
                </a:lnTo>
                <a:lnTo>
                  <a:pt x="425" y="549"/>
                </a:lnTo>
                <a:lnTo>
                  <a:pt x="415" y="553"/>
                </a:lnTo>
                <a:lnTo>
                  <a:pt x="407" y="558"/>
                </a:lnTo>
                <a:lnTo>
                  <a:pt x="398" y="565"/>
                </a:lnTo>
                <a:lnTo>
                  <a:pt x="391" y="571"/>
                </a:lnTo>
                <a:lnTo>
                  <a:pt x="384" y="579"/>
                </a:lnTo>
                <a:lnTo>
                  <a:pt x="378" y="587"/>
                </a:lnTo>
                <a:lnTo>
                  <a:pt x="373" y="596"/>
                </a:lnTo>
                <a:lnTo>
                  <a:pt x="368" y="604"/>
                </a:lnTo>
                <a:lnTo>
                  <a:pt x="365" y="614"/>
                </a:lnTo>
                <a:lnTo>
                  <a:pt x="363" y="625"/>
                </a:lnTo>
                <a:lnTo>
                  <a:pt x="361" y="634"/>
                </a:lnTo>
                <a:lnTo>
                  <a:pt x="361" y="645"/>
                </a:lnTo>
                <a:lnTo>
                  <a:pt x="361" y="810"/>
                </a:lnTo>
                <a:lnTo>
                  <a:pt x="360" y="816"/>
                </a:lnTo>
                <a:lnTo>
                  <a:pt x="359" y="822"/>
                </a:lnTo>
                <a:lnTo>
                  <a:pt x="358" y="828"/>
                </a:lnTo>
                <a:lnTo>
                  <a:pt x="356" y="833"/>
                </a:lnTo>
                <a:lnTo>
                  <a:pt x="353" y="839"/>
                </a:lnTo>
                <a:lnTo>
                  <a:pt x="350" y="844"/>
                </a:lnTo>
                <a:lnTo>
                  <a:pt x="347" y="848"/>
                </a:lnTo>
                <a:lnTo>
                  <a:pt x="343" y="852"/>
                </a:lnTo>
                <a:lnTo>
                  <a:pt x="338" y="857"/>
                </a:lnTo>
                <a:lnTo>
                  <a:pt x="334" y="860"/>
                </a:lnTo>
                <a:lnTo>
                  <a:pt x="329" y="863"/>
                </a:lnTo>
                <a:lnTo>
                  <a:pt x="323" y="865"/>
                </a:lnTo>
                <a:lnTo>
                  <a:pt x="318" y="867"/>
                </a:lnTo>
                <a:lnTo>
                  <a:pt x="313" y="868"/>
                </a:lnTo>
                <a:lnTo>
                  <a:pt x="306" y="870"/>
                </a:lnTo>
                <a:lnTo>
                  <a:pt x="300" y="870"/>
                </a:lnTo>
                <a:lnTo>
                  <a:pt x="295" y="870"/>
                </a:lnTo>
                <a:lnTo>
                  <a:pt x="288" y="868"/>
                </a:lnTo>
                <a:lnTo>
                  <a:pt x="283" y="867"/>
                </a:lnTo>
                <a:lnTo>
                  <a:pt x="277" y="865"/>
                </a:lnTo>
                <a:lnTo>
                  <a:pt x="272" y="863"/>
                </a:lnTo>
                <a:lnTo>
                  <a:pt x="267" y="860"/>
                </a:lnTo>
                <a:lnTo>
                  <a:pt x="262" y="857"/>
                </a:lnTo>
                <a:lnTo>
                  <a:pt x="258" y="852"/>
                </a:lnTo>
                <a:lnTo>
                  <a:pt x="254" y="848"/>
                </a:lnTo>
                <a:lnTo>
                  <a:pt x="251" y="844"/>
                </a:lnTo>
                <a:lnTo>
                  <a:pt x="247" y="839"/>
                </a:lnTo>
                <a:lnTo>
                  <a:pt x="245" y="833"/>
                </a:lnTo>
                <a:lnTo>
                  <a:pt x="243" y="828"/>
                </a:lnTo>
                <a:lnTo>
                  <a:pt x="242" y="822"/>
                </a:lnTo>
                <a:lnTo>
                  <a:pt x="241" y="816"/>
                </a:lnTo>
                <a:lnTo>
                  <a:pt x="240" y="810"/>
                </a:lnTo>
                <a:lnTo>
                  <a:pt x="240" y="570"/>
                </a:lnTo>
                <a:lnTo>
                  <a:pt x="262" y="568"/>
                </a:lnTo>
                <a:lnTo>
                  <a:pt x="283" y="563"/>
                </a:lnTo>
                <a:lnTo>
                  <a:pt x="303" y="557"/>
                </a:lnTo>
                <a:lnTo>
                  <a:pt x="322" y="549"/>
                </a:lnTo>
                <a:lnTo>
                  <a:pt x="341" y="539"/>
                </a:lnTo>
                <a:lnTo>
                  <a:pt x="359" y="527"/>
                </a:lnTo>
                <a:lnTo>
                  <a:pt x="375" y="514"/>
                </a:lnTo>
                <a:lnTo>
                  <a:pt x="390" y="499"/>
                </a:lnTo>
                <a:lnTo>
                  <a:pt x="403" y="483"/>
                </a:lnTo>
                <a:lnTo>
                  <a:pt x="414" y="467"/>
                </a:lnTo>
                <a:lnTo>
                  <a:pt x="425" y="449"/>
                </a:lnTo>
                <a:lnTo>
                  <a:pt x="434" y="430"/>
                </a:lnTo>
                <a:lnTo>
                  <a:pt x="441" y="410"/>
                </a:lnTo>
                <a:lnTo>
                  <a:pt x="447" y="389"/>
                </a:lnTo>
                <a:lnTo>
                  <a:pt x="450" y="367"/>
                </a:lnTo>
                <a:lnTo>
                  <a:pt x="451" y="345"/>
                </a:lnTo>
                <a:lnTo>
                  <a:pt x="451" y="165"/>
                </a:lnTo>
                <a:lnTo>
                  <a:pt x="450" y="155"/>
                </a:lnTo>
                <a:lnTo>
                  <a:pt x="449" y="145"/>
                </a:lnTo>
                <a:lnTo>
                  <a:pt x="447" y="137"/>
                </a:lnTo>
                <a:lnTo>
                  <a:pt x="443" y="127"/>
                </a:lnTo>
                <a:lnTo>
                  <a:pt x="440" y="120"/>
                </a:lnTo>
                <a:lnTo>
                  <a:pt x="436" y="111"/>
                </a:lnTo>
                <a:lnTo>
                  <a:pt x="430" y="104"/>
                </a:lnTo>
                <a:lnTo>
                  <a:pt x="424" y="96"/>
                </a:lnTo>
                <a:lnTo>
                  <a:pt x="419" y="90"/>
                </a:lnTo>
                <a:lnTo>
                  <a:pt x="411" y="83"/>
                </a:lnTo>
                <a:lnTo>
                  <a:pt x="404" y="78"/>
                </a:lnTo>
                <a:lnTo>
                  <a:pt x="396" y="74"/>
                </a:lnTo>
                <a:lnTo>
                  <a:pt x="388" y="69"/>
                </a:lnTo>
                <a:lnTo>
                  <a:pt x="379" y="66"/>
                </a:lnTo>
                <a:lnTo>
                  <a:pt x="369" y="63"/>
                </a:lnTo>
                <a:lnTo>
                  <a:pt x="361" y="62"/>
                </a:lnTo>
                <a:lnTo>
                  <a:pt x="361" y="15"/>
                </a:lnTo>
                <a:lnTo>
                  <a:pt x="360" y="12"/>
                </a:lnTo>
                <a:lnTo>
                  <a:pt x="359" y="10"/>
                </a:lnTo>
                <a:lnTo>
                  <a:pt x="358" y="7"/>
                </a:lnTo>
                <a:lnTo>
                  <a:pt x="356" y="4"/>
                </a:lnTo>
                <a:lnTo>
                  <a:pt x="353" y="3"/>
                </a:lnTo>
                <a:lnTo>
                  <a:pt x="351" y="1"/>
                </a:lnTo>
                <a:lnTo>
                  <a:pt x="348" y="0"/>
                </a:lnTo>
                <a:lnTo>
                  <a:pt x="346" y="0"/>
                </a:lnTo>
                <a:lnTo>
                  <a:pt x="337" y="0"/>
                </a:lnTo>
                <a:lnTo>
                  <a:pt x="330" y="2"/>
                </a:lnTo>
                <a:lnTo>
                  <a:pt x="323" y="3"/>
                </a:lnTo>
                <a:lnTo>
                  <a:pt x="316" y="6"/>
                </a:lnTo>
                <a:lnTo>
                  <a:pt x="310" y="10"/>
                </a:lnTo>
                <a:lnTo>
                  <a:pt x="303" y="13"/>
                </a:lnTo>
                <a:lnTo>
                  <a:pt x="298" y="17"/>
                </a:lnTo>
                <a:lnTo>
                  <a:pt x="292" y="22"/>
                </a:lnTo>
                <a:lnTo>
                  <a:pt x="287" y="28"/>
                </a:lnTo>
                <a:lnTo>
                  <a:pt x="283" y="33"/>
                </a:lnTo>
                <a:lnTo>
                  <a:pt x="280" y="39"/>
                </a:lnTo>
                <a:lnTo>
                  <a:pt x="276" y="46"/>
                </a:lnTo>
                <a:lnTo>
                  <a:pt x="274" y="53"/>
                </a:lnTo>
                <a:lnTo>
                  <a:pt x="272" y="60"/>
                </a:lnTo>
                <a:lnTo>
                  <a:pt x="271" y="67"/>
                </a:lnTo>
                <a:lnTo>
                  <a:pt x="270" y="75"/>
                </a:lnTo>
                <a:lnTo>
                  <a:pt x="271" y="82"/>
                </a:lnTo>
                <a:lnTo>
                  <a:pt x="272" y="90"/>
                </a:lnTo>
                <a:lnTo>
                  <a:pt x="274" y="97"/>
                </a:lnTo>
                <a:lnTo>
                  <a:pt x="276" y="105"/>
                </a:lnTo>
                <a:lnTo>
                  <a:pt x="280" y="111"/>
                </a:lnTo>
                <a:lnTo>
                  <a:pt x="283" y="118"/>
                </a:lnTo>
                <a:lnTo>
                  <a:pt x="287" y="123"/>
                </a:lnTo>
                <a:lnTo>
                  <a:pt x="292" y="128"/>
                </a:lnTo>
                <a:lnTo>
                  <a:pt x="298" y="133"/>
                </a:lnTo>
                <a:lnTo>
                  <a:pt x="303" y="137"/>
                </a:lnTo>
                <a:lnTo>
                  <a:pt x="310" y="141"/>
                </a:lnTo>
                <a:lnTo>
                  <a:pt x="316" y="144"/>
                </a:lnTo>
                <a:lnTo>
                  <a:pt x="323" y="146"/>
                </a:lnTo>
                <a:lnTo>
                  <a:pt x="330" y="149"/>
                </a:lnTo>
                <a:lnTo>
                  <a:pt x="337" y="150"/>
                </a:lnTo>
                <a:lnTo>
                  <a:pt x="346" y="150"/>
                </a:lnTo>
                <a:lnTo>
                  <a:pt x="348" y="150"/>
                </a:lnTo>
                <a:lnTo>
                  <a:pt x="351" y="149"/>
                </a:lnTo>
                <a:lnTo>
                  <a:pt x="353" y="148"/>
                </a:lnTo>
                <a:lnTo>
                  <a:pt x="356" y="145"/>
                </a:lnTo>
                <a:lnTo>
                  <a:pt x="358" y="143"/>
                </a:lnTo>
                <a:lnTo>
                  <a:pt x="359" y="141"/>
                </a:lnTo>
                <a:lnTo>
                  <a:pt x="360" y="138"/>
                </a:lnTo>
                <a:lnTo>
                  <a:pt x="361" y="135"/>
                </a:lnTo>
                <a:lnTo>
                  <a:pt x="361" y="92"/>
                </a:lnTo>
                <a:lnTo>
                  <a:pt x="367" y="93"/>
                </a:lnTo>
                <a:lnTo>
                  <a:pt x="373" y="95"/>
                </a:lnTo>
                <a:lnTo>
                  <a:pt x="379" y="98"/>
                </a:lnTo>
                <a:lnTo>
                  <a:pt x="384" y="102"/>
                </a:lnTo>
                <a:lnTo>
                  <a:pt x="394" y="109"/>
                </a:lnTo>
                <a:lnTo>
                  <a:pt x="404" y="118"/>
                </a:lnTo>
                <a:lnTo>
                  <a:pt x="410" y="128"/>
                </a:lnTo>
                <a:lnTo>
                  <a:pt x="415" y="139"/>
                </a:lnTo>
                <a:lnTo>
                  <a:pt x="418" y="145"/>
                </a:lnTo>
                <a:lnTo>
                  <a:pt x="420" y="152"/>
                </a:lnTo>
                <a:lnTo>
                  <a:pt x="420" y="158"/>
                </a:lnTo>
                <a:lnTo>
                  <a:pt x="421" y="165"/>
                </a:lnTo>
                <a:lnTo>
                  <a:pt x="421" y="345"/>
                </a:lnTo>
                <a:lnTo>
                  <a:pt x="420" y="365"/>
                </a:lnTo>
                <a:lnTo>
                  <a:pt x="417" y="384"/>
                </a:lnTo>
                <a:lnTo>
                  <a:pt x="411" y="403"/>
                </a:lnTo>
                <a:lnTo>
                  <a:pt x="405" y="421"/>
                </a:lnTo>
                <a:lnTo>
                  <a:pt x="397" y="438"/>
                </a:lnTo>
                <a:lnTo>
                  <a:pt x="388" y="455"/>
                </a:lnTo>
                <a:lnTo>
                  <a:pt x="376" y="470"/>
                </a:lnTo>
                <a:lnTo>
                  <a:pt x="363" y="483"/>
                </a:lnTo>
                <a:lnTo>
                  <a:pt x="349" y="495"/>
                </a:lnTo>
                <a:lnTo>
                  <a:pt x="334" y="507"/>
                </a:lnTo>
                <a:lnTo>
                  <a:pt x="318" y="517"/>
                </a:lnTo>
                <a:lnTo>
                  <a:pt x="301" y="525"/>
                </a:lnTo>
                <a:lnTo>
                  <a:pt x="284" y="532"/>
                </a:lnTo>
                <a:lnTo>
                  <a:pt x="265" y="536"/>
                </a:lnTo>
                <a:lnTo>
                  <a:pt x="245" y="539"/>
                </a:lnTo>
                <a:lnTo>
                  <a:pt x="225" y="540"/>
                </a:lnTo>
                <a:lnTo>
                  <a:pt x="206" y="539"/>
                </a:lnTo>
                <a:lnTo>
                  <a:pt x="187" y="536"/>
                </a:lnTo>
                <a:lnTo>
                  <a:pt x="167" y="532"/>
                </a:lnTo>
                <a:lnTo>
                  <a:pt x="149" y="525"/>
                </a:lnTo>
                <a:lnTo>
                  <a:pt x="133" y="517"/>
                </a:lnTo>
                <a:lnTo>
                  <a:pt x="117" y="507"/>
                </a:lnTo>
                <a:lnTo>
                  <a:pt x="101" y="495"/>
                </a:lnTo>
                <a:lnTo>
                  <a:pt x="88" y="483"/>
                </a:lnTo>
                <a:lnTo>
                  <a:pt x="75" y="470"/>
                </a:lnTo>
                <a:lnTo>
                  <a:pt x="63" y="455"/>
                </a:lnTo>
                <a:lnTo>
                  <a:pt x="54" y="438"/>
                </a:lnTo>
                <a:lnTo>
                  <a:pt x="45" y="421"/>
                </a:lnTo>
                <a:lnTo>
                  <a:pt x="39" y="403"/>
                </a:lnTo>
                <a:lnTo>
                  <a:pt x="35" y="384"/>
                </a:lnTo>
                <a:lnTo>
                  <a:pt x="31" y="365"/>
                </a:lnTo>
                <a:lnTo>
                  <a:pt x="30" y="345"/>
                </a:lnTo>
                <a:lnTo>
                  <a:pt x="30" y="165"/>
                </a:lnTo>
                <a:lnTo>
                  <a:pt x="30" y="158"/>
                </a:lnTo>
                <a:lnTo>
                  <a:pt x="31" y="152"/>
                </a:lnTo>
                <a:lnTo>
                  <a:pt x="33" y="145"/>
                </a:lnTo>
                <a:lnTo>
                  <a:pt x="35" y="139"/>
                </a:lnTo>
                <a:lnTo>
                  <a:pt x="40" y="128"/>
                </a:lnTo>
                <a:lnTo>
                  <a:pt x="47" y="118"/>
                </a:lnTo>
                <a:lnTo>
                  <a:pt x="56" y="109"/>
                </a:lnTo>
                <a:lnTo>
                  <a:pt x="67" y="102"/>
                </a:lnTo>
                <a:lnTo>
                  <a:pt x="72" y="98"/>
                </a:lnTo>
                <a:lnTo>
                  <a:pt x="78" y="95"/>
                </a:lnTo>
                <a:lnTo>
                  <a:pt x="84" y="93"/>
                </a:lnTo>
                <a:lnTo>
                  <a:pt x="90" y="92"/>
                </a:lnTo>
                <a:lnTo>
                  <a:pt x="90" y="135"/>
                </a:lnTo>
                <a:lnTo>
                  <a:pt x="90" y="138"/>
                </a:lnTo>
                <a:lnTo>
                  <a:pt x="91" y="141"/>
                </a:lnTo>
                <a:lnTo>
                  <a:pt x="93" y="143"/>
                </a:lnTo>
                <a:lnTo>
                  <a:pt x="94" y="145"/>
                </a:lnTo>
                <a:lnTo>
                  <a:pt x="97" y="148"/>
                </a:lnTo>
                <a:lnTo>
                  <a:pt x="100" y="149"/>
                </a:lnTo>
                <a:lnTo>
                  <a:pt x="102" y="150"/>
                </a:lnTo>
                <a:lnTo>
                  <a:pt x="105" y="150"/>
                </a:lnTo>
                <a:lnTo>
                  <a:pt x="113" y="150"/>
                </a:lnTo>
                <a:lnTo>
                  <a:pt x="120" y="149"/>
                </a:lnTo>
                <a:lnTo>
                  <a:pt x="128" y="146"/>
                </a:lnTo>
                <a:lnTo>
                  <a:pt x="135" y="144"/>
                </a:lnTo>
                <a:lnTo>
                  <a:pt x="142" y="141"/>
                </a:lnTo>
                <a:lnTo>
                  <a:pt x="147" y="137"/>
                </a:lnTo>
                <a:lnTo>
                  <a:pt x="153" y="133"/>
                </a:lnTo>
                <a:lnTo>
                  <a:pt x="159" y="128"/>
                </a:lnTo>
                <a:lnTo>
                  <a:pt x="163" y="123"/>
                </a:lnTo>
                <a:lnTo>
                  <a:pt x="167" y="118"/>
                </a:lnTo>
                <a:lnTo>
                  <a:pt x="172" y="111"/>
                </a:lnTo>
                <a:lnTo>
                  <a:pt x="175" y="105"/>
                </a:lnTo>
                <a:lnTo>
                  <a:pt x="177" y="97"/>
                </a:lnTo>
                <a:lnTo>
                  <a:pt x="179" y="90"/>
                </a:lnTo>
                <a:lnTo>
                  <a:pt x="180" y="82"/>
                </a:lnTo>
                <a:lnTo>
                  <a:pt x="180" y="75"/>
                </a:lnTo>
                <a:lnTo>
                  <a:pt x="180" y="67"/>
                </a:lnTo>
                <a:lnTo>
                  <a:pt x="179" y="60"/>
                </a:lnTo>
                <a:lnTo>
                  <a:pt x="177" y="53"/>
                </a:lnTo>
                <a:lnTo>
                  <a:pt x="175" y="46"/>
                </a:lnTo>
                <a:lnTo>
                  <a:pt x="172" y="39"/>
                </a:lnTo>
                <a:lnTo>
                  <a:pt x="167" y="33"/>
                </a:lnTo>
                <a:lnTo>
                  <a:pt x="163" y="28"/>
                </a:lnTo>
                <a:lnTo>
                  <a:pt x="159" y="22"/>
                </a:lnTo>
                <a:lnTo>
                  <a:pt x="153" y="17"/>
                </a:lnTo>
                <a:lnTo>
                  <a:pt x="147" y="13"/>
                </a:lnTo>
                <a:lnTo>
                  <a:pt x="142" y="10"/>
                </a:lnTo>
                <a:lnTo>
                  <a:pt x="134" y="6"/>
                </a:lnTo>
                <a:lnTo>
                  <a:pt x="128" y="3"/>
                </a:lnTo>
                <a:lnTo>
                  <a:pt x="120" y="2"/>
                </a:lnTo>
                <a:lnTo>
                  <a:pt x="113" y="0"/>
                </a:lnTo>
                <a:lnTo>
                  <a:pt x="105" y="0"/>
                </a:lnTo>
                <a:lnTo>
                  <a:pt x="102" y="0"/>
                </a:lnTo>
                <a:lnTo>
                  <a:pt x="100" y="1"/>
                </a:lnTo>
                <a:lnTo>
                  <a:pt x="97" y="3"/>
                </a:lnTo>
                <a:lnTo>
                  <a:pt x="94" y="4"/>
                </a:lnTo>
                <a:lnTo>
                  <a:pt x="93" y="7"/>
                </a:lnTo>
                <a:lnTo>
                  <a:pt x="91" y="10"/>
                </a:lnTo>
                <a:lnTo>
                  <a:pt x="90" y="13"/>
                </a:lnTo>
                <a:lnTo>
                  <a:pt x="90" y="15"/>
                </a:lnTo>
                <a:lnTo>
                  <a:pt x="90" y="62"/>
                </a:lnTo>
                <a:lnTo>
                  <a:pt x="81" y="63"/>
                </a:lnTo>
                <a:lnTo>
                  <a:pt x="72" y="66"/>
                </a:lnTo>
                <a:lnTo>
                  <a:pt x="63" y="69"/>
                </a:lnTo>
                <a:lnTo>
                  <a:pt x="55" y="74"/>
                </a:lnTo>
                <a:lnTo>
                  <a:pt x="47" y="78"/>
                </a:lnTo>
                <a:lnTo>
                  <a:pt x="40" y="83"/>
                </a:lnTo>
                <a:lnTo>
                  <a:pt x="32" y="90"/>
                </a:lnTo>
                <a:lnTo>
                  <a:pt x="26" y="96"/>
                </a:lnTo>
                <a:lnTo>
                  <a:pt x="21" y="104"/>
                </a:lnTo>
                <a:lnTo>
                  <a:pt x="15" y="111"/>
                </a:lnTo>
                <a:lnTo>
                  <a:pt x="11" y="120"/>
                </a:lnTo>
                <a:lnTo>
                  <a:pt x="8" y="128"/>
                </a:lnTo>
                <a:lnTo>
                  <a:pt x="5" y="137"/>
                </a:lnTo>
                <a:lnTo>
                  <a:pt x="2" y="145"/>
                </a:lnTo>
                <a:lnTo>
                  <a:pt x="0" y="155"/>
                </a:lnTo>
                <a:lnTo>
                  <a:pt x="0" y="165"/>
                </a:lnTo>
                <a:lnTo>
                  <a:pt x="0" y="345"/>
                </a:lnTo>
                <a:lnTo>
                  <a:pt x="1" y="367"/>
                </a:lnTo>
                <a:lnTo>
                  <a:pt x="5" y="389"/>
                </a:lnTo>
                <a:lnTo>
                  <a:pt x="10" y="410"/>
                </a:lnTo>
                <a:lnTo>
                  <a:pt x="16" y="430"/>
                </a:lnTo>
                <a:lnTo>
                  <a:pt x="26" y="449"/>
                </a:lnTo>
                <a:lnTo>
                  <a:pt x="36" y="467"/>
                </a:lnTo>
                <a:lnTo>
                  <a:pt x="48" y="483"/>
                </a:lnTo>
                <a:lnTo>
                  <a:pt x="61" y="499"/>
                </a:lnTo>
                <a:lnTo>
                  <a:pt x="76" y="514"/>
                </a:lnTo>
                <a:lnTo>
                  <a:pt x="92" y="527"/>
                </a:lnTo>
                <a:lnTo>
                  <a:pt x="109" y="539"/>
                </a:lnTo>
                <a:lnTo>
                  <a:pt x="128" y="549"/>
                </a:lnTo>
                <a:lnTo>
                  <a:pt x="148" y="557"/>
                </a:lnTo>
                <a:lnTo>
                  <a:pt x="167" y="564"/>
                </a:lnTo>
                <a:lnTo>
                  <a:pt x="189" y="568"/>
                </a:lnTo>
                <a:lnTo>
                  <a:pt x="210" y="570"/>
                </a:lnTo>
                <a:lnTo>
                  <a:pt x="210" y="810"/>
                </a:lnTo>
                <a:lnTo>
                  <a:pt x="211" y="819"/>
                </a:lnTo>
                <a:lnTo>
                  <a:pt x="212" y="828"/>
                </a:lnTo>
                <a:lnTo>
                  <a:pt x="214" y="836"/>
                </a:lnTo>
                <a:lnTo>
                  <a:pt x="218" y="845"/>
                </a:lnTo>
                <a:lnTo>
                  <a:pt x="222" y="852"/>
                </a:lnTo>
                <a:lnTo>
                  <a:pt x="226" y="860"/>
                </a:lnTo>
                <a:lnTo>
                  <a:pt x="231" y="867"/>
                </a:lnTo>
                <a:lnTo>
                  <a:pt x="237" y="874"/>
                </a:lnTo>
                <a:lnTo>
                  <a:pt x="243" y="879"/>
                </a:lnTo>
                <a:lnTo>
                  <a:pt x="250" y="885"/>
                </a:lnTo>
                <a:lnTo>
                  <a:pt x="257" y="889"/>
                </a:lnTo>
                <a:lnTo>
                  <a:pt x="266" y="893"/>
                </a:lnTo>
                <a:lnTo>
                  <a:pt x="273" y="896"/>
                </a:lnTo>
                <a:lnTo>
                  <a:pt x="283" y="898"/>
                </a:lnTo>
                <a:lnTo>
                  <a:pt x="291" y="900"/>
                </a:lnTo>
                <a:lnTo>
                  <a:pt x="300" y="900"/>
                </a:lnTo>
                <a:lnTo>
                  <a:pt x="310" y="900"/>
                </a:lnTo>
                <a:lnTo>
                  <a:pt x="318" y="898"/>
                </a:lnTo>
                <a:lnTo>
                  <a:pt x="327" y="896"/>
                </a:lnTo>
                <a:lnTo>
                  <a:pt x="335" y="893"/>
                </a:lnTo>
                <a:lnTo>
                  <a:pt x="344" y="889"/>
                </a:lnTo>
                <a:lnTo>
                  <a:pt x="351" y="885"/>
                </a:lnTo>
                <a:lnTo>
                  <a:pt x="358" y="879"/>
                </a:lnTo>
                <a:lnTo>
                  <a:pt x="364" y="874"/>
                </a:lnTo>
                <a:lnTo>
                  <a:pt x="369" y="867"/>
                </a:lnTo>
                <a:lnTo>
                  <a:pt x="375" y="860"/>
                </a:lnTo>
                <a:lnTo>
                  <a:pt x="379" y="852"/>
                </a:lnTo>
                <a:lnTo>
                  <a:pt x="383" y="845"/>
                </a:lnTo>
                <a:lnTo>
                  <a:pt x="387" y="836"/>
                </a:lnTo>
                <a:lnTo>
                  <a:pt x="389" y="828"/>
                </a:lnTo>
                <a:lnTo>
                  <a:pt x="390" y="819"/>
                </a:lnTo>
                <a:lnTo>
                  <a:pt x="391" y="810"/>
                </a:lnTo>
                <a:lnTo>
                  <a:pt x="391" y="645"/>
                </a:lnTo>
                <a:lnTo>
                  <a:pt x="391" y="637"/>
                </a:lnTo>
                <a:lnTo>
                  <a:pt x="392" y="630"/>
                </a:lnTo>
                <a:lnTo>
                  <a:pt x="394" y="624"/>
                </a:lnTo>
                <a:lnTo>
                  <a:pt x="396" y="616"/>
                </a:lnTo>
                <a:lnTo>
                  <a:pt x="399" y="610"/>
                </a:lnTo>
                <a:lnTo>
                  <a:pt x="404" y="603"/>
                </a:lnTo>
                <a:lnTo>
                  <a:pt x="408" y="598"/>
                </a:lnTo>
                <a:lnTo>
                  <a:pt x="412" y="593"/>
                </a:lnTo>
                <a:lnTo>
                  <a:pt x="418" y="587"/>
                </a:lnTo>
                <a:lnTo>
                  <a:pt x="424" y="583"/>
                </a:lnTo>
                <a:lnTo>
                  <a:pt x="429" y="580"/>
                </a:lnTo>
                <a:lnTo>
                  <a:pt x="436" y="576"/>
                </a:lnTo>
                <a:lnTo>
                  <a:pt x="443" y="573"/>
                </a:lnTo>
                <a:lnTo>
                  <a:pt x="451" y="571"/>
                </a:lnTo>
                <a:lnTo>
                  <a:pt x="458" y="570"/>
                </a:lnTo>
                <a:lnTo>
                  <a:pt x="466" y="570"/>
                </a:lnTo>
                <a:lnTo>
                  <a:pt x="473" y="570"/>
                </a:lnTo>
                <a:lnTo>
                  <a:pt x="481" y="571"/>
                </a:lnTo>
                <a:lnTo>
                  <a:pt x="488" y="573"/>
                </a:lnTo>
                <a:lnTo>
                  <a:pt x="495" y="576"/>
                </a:lnTo>
                <a:lnTo>
                  <a:pt x="501" y="580"/>
                </a:lnTo>
                <a:lnTo>
                  <a:pt x="508" y="583"/>
                </a:lnTo>
                <a:lnTo>
                  <a:pt x="513" y="587"/>
                </a:lnTo>
                <a:lnTo>
                  <a:pt x="518" y="593"/>
                </a:lnTo>
                <a:lnTo>
                  <a:pt x="524" y="598"/>
                </a:lnTo>
                <a:lnTo>
                  <a:pt x="528" y="603"/>
                </a:lnTo>
                <a:lnTo>
                  <a:pt x="531" y="610"/>
                </a:lnTo>
                <a:lnTo>
                  <a:pt x="534" y="616"/>
                </a:lnTo>
                <a:lnTo>
                  <a:pt x="537" y="624"/>
                </a:lnTo>
                <a:lnTo>
                  <a:pt x="539" y="630"/>
                </a:lnTo>
                <a:lnTo>
                  <a:pt x="540" y="637"/>
                </a:lnTo>
                <a:lnTo>
                  <a:pt x="541" y="645"/>
                </a:lnTo>
                <a:lnTo>
                  <a:pt x="541" y="735"/>
                </a:lnTo>
                <a:lnTo>
                  <a:pt x="541" y="744"/>
                </a:lnTo>
                <a:lnTo>
                  <a:pt x="543" y="753"/>
                </a:lnTo>
                <a:lnTo>
                  <a:pt x="545" y="762"/>
                </a:lnTo>
                <a:lnTo>
                  <a:pt x="547" y="770"/>
                </a:lnTo>
                <a:lnTo>
                  <a:pt x="551" y="778"/>
                </a:lnTo>
                <a:lnTo>
                  <a:pt x="556" y="785"/>
                </a:lnTo>
                <a:lnTo>
                  <a:pt x="561" y="793"/>
                </a:lnTo>
                <a:lnTo>
                  <a:pt x="567" y="799"/>
                </a:lnTo>
                <a:lnTo>
                  <a:pt x="573" y="804"/>
                </a:lnTo>
                <a:lnTo>
                  <a:pt x="580" y="810"/>
                </a:lnTo>
                <a:lnTo>
                  <a:pt x="588" y="814"/>
                </a:lnTo>
                <a:lnTo>
                  <a:pt x="595" y="818"/>
                </a:lnTo>
                <a:lnTo>
                  <a:pt x="604" y="821"/>
                </a:lnTo>
                <a:lnTo>
                  <a:pt x="612" y="824"/>
                </a:lnTo>
                <a:lnTo>
                  <a:pt x="621" y="825"/>
                </a:lnTo>
                <a:lnTo>
                  <a:pt x="631" y="825"/>
                </a:lnTo>
                <a:lnTo>
                  <a:pt x="640" y="825"/>
                </a:lnTo>
                <a:lnTo>
                  <a:pt x="649" y="824"/>
                </a:lnTo>
                <a:lnTo>
                  <a:pt x="657" y="821"/>
                </a:lnTo>
                <a:lnTo>
                  <a:pt x="666" y="818"/>
                </a:lnTo>
                <a:lnTo>
                  <a:pt x="673" y="814"/>
                </a:lnTo>
                <a:lnTo>
                  <a:pt x="681" y="810"/>
                </a:lnTo>
                <a:lnTo>
                  <a:pt x="687" y="804"/>
                </a:lnTo>
                <a:lnTo>
                  <a:pt x="694" y="799"/>
                </a:lnTo>
                <a:lnTo>
                  <a:pt x="700" y="793"/>
                </a:lnTo>
                <a:lnTo>
                  <a:pt x="705" y="785"/>
                </a:lnTo>
                <a:lnTo>
                  <a:pt x="710" y="778"/>
                </a:lnTo>
                <a:lnTo>
                  <a:pt x="713" y="770"/>
                </a:lnTo>
                <a:lnTo>
                  <a:pt x="716" y="762"/>
                </a:lnTo>
                <a:lnTo>
                  <a:pt x="718" y="753"/>
                </a:lnTo>
                <a:lnTo>
                  <a:pt x="720" y="744"/>
                </a:lnTo>
                <a:lnTo>
                  <a:pt x="720" y="735"/>
                </a:lnTo>
                <a:lnTo>
                  <a:pt x="720" y="480"/>
                </a:lnTo>
                <a:lnTo>
                  <a:pt x="730" y="478"/>
                </a:lnTo>
                <a:lnTo>
                  <a:pt x="739" y="476"/>
                </a:lnTo>
                <a:lnTo>
                  <a:pt x="748" y="472"/>
                </a:lnTo>
                <a:lnTo>
                  <a:pt x="756" y="468"/>
                </a:lnTo>
                <a:lnTo>
                  <a:pt x="764" y="463"/>
                </a:lnTo>
                <a:lnTo>
                  <a:pt x="772" y="458"/>
                </a:lnTo>
                <a:lnTo>
                  <a:pt x="778" y="451"/>
                </a:lnTo>
                <a:lnTo>
                  <a:pt x="785" y="445"/>
                </a:lnTo>
                <a:lnTo>
                  <a:pt x="790" y="437"/>
                </a:lnTo>
                <a:lnTo>
                  <a:pt x="795" y="430"/>
                </a:lnTo>
                <a:lnTo>
                  <a:pt x="800" y="421"/>
                </a:lnTo>
                <a:lnTo>
                  <a:pt x="804" y="413"/>
                </a:lnTo>
                <a:lnTo>
                  <a:pt x="807" y="404"/>
                </a:lnTo>
                <a:lnTo>
                  <a:pt x="809" y="395"/>
                </a:lnTo>
                <a:lnTo>
                  <a:pt x="810" y="385"/>
                </a:lnTo>
                <a:lnTo>
                  <a:pt x="810" y="37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1052" name="Group 93">
            <a:extLst>
              <a:ext uri="{FF2B5EF4-FFF2-40B4-BE49-F238E27FC236}">
                <a16:creationId xmlns:a16="http://schemas.microsoft.com/office/drawing/2014/main" id="{ABA04FBB-2023-4E30-B87C-E77F4797B4ED}"/>
              </a:ext>
            </a:extLst>
          </p:cNvPr>
          <p:cNvGrpSpPr>
            <a:grpSpLocks noChangeAspect="1"/>
          </p:cNvGrpSpPr>
          <p:nvPr/>
        </p:nvGrpSpPr>
        <p:grpSpPr>
          <a:xfrm>
            <a:off x="1458373" y="3256152"/>
            <a:ext cx="326557" cy="306488"/>
            <a:chOff x="7615238" y="1366838"/>
            <a:chExt cx="284163" cy="266699"/>
          </a:xfrm>
          <a:solidFill>
            <a:schemeClr val="bg1"/>
          </a:solidFill>
          <a:effectLst/>
        </p:grpSpPr>
        <p:sp>
          <p:nvSpPr>
            <p:cNvPr id="1053" name="Freeform 319">
              <a:extLst>
                <a:ext uri="{FF2B5EF4-FFF2-40B4-BE49-F238E27FC236}">
                  <a16:creationId xmlns:a16="http://schemas.microsoft.com/office/drawing/2014/main" id="{9EAA4219-D6EA-4ABE-A062-5A186FF7EADC}"/>
                </a:ext>
              </a:extLst>
            </p:cNvPr>
            <p:cNvSpPr>
              <a:spLocks noEditPoints="1"/>
            </p:cNvSpPr>
            <p:nvPr/>
          </p:nvSpPr>
          <p:spPr bwMode="auto">
            <a:xfrm>
              <a:off x="7758113" y="1492250"/>
              <a:ext cx="141288" cy="141287"/>
            </a:xfrm>
            <a:custGeom>
              <a:avLst/>
              <a:gdLst>
                <a:gd name="T0" fmla="*/ 185 w 448"/>
                <a:gd name="T1" fmla="*/ 415 h 449"/>
                <a:gd name="T2" fmla="*/ 132 w 448"/>
                <a:gd name="T3" fmla="*/ 396 h 449"/>
                <a:gd name="T4" fmla="*/ 87 w 448"/>
                <a:gd name="T5" fmla="*/ 363 h 449"/>
                <a:gd name="T6" fmla="*/ 54 w 448"/>
                <a:gd name="T7" fmla="*/ 318 h 449"/>
                <a:gd name="T8" fmla="*/ 34 w 448"/>
                <a:gd name="T9" fmla="*/ 264 h 449"/>
                <a:gd name="T10" fmla="*/ 31 w 448"/>
                <a:gd name="T11" fmla="*/ 205 h 449"/>
                <a:gd name="T12" fmla="*/ 45 w 448"/>
                <a:gd name="T13" fmla="*/ 149 h 449"/>
                <a:gd name="T14" fmla="*/ 75 w 448"/>
                <a:gd name="T15" fmla="*/ 102 h 449"/>
                <a:gd name="T16" fmla="*/ 116 w 448"/>
                <a:gd name="T17" fmla="*/ 63 h 449"/>
                <a:gd name="T18" fmla="*/ 167 w 448"/>
                <a:gd name="T19" fmla="*/ 40 h 449"/>
                <a:gd name="T20" fmla="*/ 225 w 448"/>
                <a:gd name="T21" fmla="*/ 30 h 449"/>
                <a:gd name="T22" fmla="*/ 283 w 448"/>
                <a:gd name="T23" fmla="*/ 40 h 449"/>
                <a:gd name="T24" fmla="*/ 333 w 448"/>
                <a:gd name="T25" fmla="*/ 63 h 449"/>
                <a:gd name="T26" fmla="*/ 374 w 448"/>
                <a:gd name="T27" fmla="*/ 102 h 449"/>
                <a:gd name="T28" fmla="*/ 403 w 448"/>
                <a:gd name="T29" fmla="*/ 149 h 449"/>
                <a:gd name="T30" fmla="*/ 417 w 448"/>
                <a:gd name="T31" fmla="*/ 205 h 449"/>
                <a:gd name="T32" fmla="*/ 415 w 448"/>
                <a:gd name="T33" fmla="*/ 264 h 449"/>
                <a:gd name="T34" fmla="*/ 395 w 448"/>
                <a:gd name="T35" fmla="*/ 318 h 449"/>
                <a:gd name="T36" fmla="*/ 362 w 448"/>
                <a:gd name="T37" fmla="*/ 363 h 449"/>
                <a:gd name="T38" fmla="*/ 317 w 448"/>
                <a:gd name="T39" fmla="*/ 396 h 449"/>
                <a:gd name="T40" fmla="*/ 263 w 448"/>
                <a:gd name="T41" fmla="*/ 415 h 449"/>
                <a:gd name="T42" fmla="*/ 225 w 448"/>
                <a:gd name="T43" fmla="*/ 0 h 449"/>
                <a:gd name="T44" fmla="*/ 191 w 448"/>
                <a:gd name="T45" fmla="*/ 3 h 449"/>
                <a:gd name="T46" fmla="*/ 157 w 448"/>
                <a:gd name="T47" fmla="*/ 11 h 449"/>
                <a:gd name="T48" fmla="*/ 118 w 448"/>
                <a:gd name="T49" fmla="*/ 28 h 449"/>
                <a:gd name="T50" fmla="*/ 65 w 448"/>
                <a:gd name="T51" fmla="*/ 66 h 449"/>
                <a:gd name="T52" fmla="*/ 27 w 448"/>
                <a:gd name="T53" fmla="*/ 118 h 449"/>
                <a:gd name="T54" fmla="*/ 10 w 448"/>
                <a:gd name="T55" fmla="*/ 158 h 449"/>
                <a:gd name="T56" fmla="*/ 2 w 448"/>
                <a:gd name="T57" fmla="*/ 190 h 449"/>
                <a:gd name="T58" fmla="*/ 0 w 448"/>
                <a:gd name="T59" fmla="*/ 225 h 449"/>
                <a:gd name="T60" fmla="*/ 2 w 448"/>
                <a:gd name="T61" fmla="*/ 259 h 449"/>
                <a:gd name="T62" fmla="*/ 10 w 448"/>
                <a:gd name="T63" fmla="*/ 291 h 449"/>
                <a:gd name="T64" fmla="*/ 27 w 448"/>
                <a:gd name="T65" fmla="*/ 332 h 449"/>
                <a:gd name="T66" fmla="*/ 65 w 448"/>
                <a:gd name="T67" fmla="*/ 383 h 449"/>
                <a:gd name="T68" fmla="*/ 118 w 448"/>
                <a:gd name="T69" fmla="*/ 423 h 449"/>
                <a:gd name="T70" fmla="*/ 157 w 448"/>
                <a:gd name="T71" fmla="*/ 439 h 449"/>
                <a:gd name="T72" fmla="*/ 191 w 448"/>
                <a:gd name="T73" fmla="*/ 446 h 449"/>
                <a:gd name="T74" fmla="*/ 225 w 448"/>
                <a:gd name="T75" fmla="*/ 449 h 449"/>
                <a:gd name="T76" fmla="*/ 259 w 448"/>
                <a:gd name="T77" fmla="*/ 446 h 449"/>
                <a:gd name="T78" fmla="*/ 291 w 448"/>
                <a:gd name="T79" fmla="*/ 439 h 449"/>
                <a:gd name="T80" fmla="*/ 332 w 448"/>
                <a:gd name="T81" fmla="*/ 423 h 449"/>
                <a:gd name="T82" fmla="*/ 383 w 448"/>
                <a:gd name="T83" fmla="*/ 383 h 449"/>
                <a:gd name="T84" fmla="*/ 422 w 448"/>
                <a:gd name="T85" fmla="*/ 332 h 449"/>
                <a:gd name="T86" fmla="*/ 439 w 448"/>
                <a:gd name="T87" fmla="*/ 291 h 449"/>
                <a:gd name="T88" fmla="*/ 446 w 448"/>
                <a:gd name="T89" fmla="*/ 259 h 449"/>
                <a:gd name="T90" fmla="*/ 448 w 448"/>
                <a:gd name="T91" fmla="*/ 225 h 449"/>
                <a:gd name="T92" fmla="*/ 446 w 448"/>
                <a:gd name="T93" fmla="*/ 190 h 449"/>
                <a:gd name="T94" fmla="*/ 439 w 448"/>
                <a:gd name="T95" fmla="*/ 158 h 449"/>
                <a:gd name="T96" fmla="*/ 422 w 448"/>
                <a:gd name="T97" fmla="*/ 118 h 449"/>
                <a:gd name="T98" fmla="*/ 383 w 448"/>
                <a:gd name="T99" fmla="*/ 66 h 449"/>
                <a:gd name="T100" fmla="*/ 332 w 448"/>
                <a:gd name="T101" fmla="*/ 28 h 449"/>
                <a:gd name="T102" fmla="*/ 291 w 448"/>
                <a:gd name="T103" fmla="*/ 11 h 449"/>
                <a:gd name="T104" fmla="*/ 259 w 448"/>
                <a:gd name="T105" fmla="*/ 3 h 449"/>
                <a:gd name="T106" fmla="*/ 225 w 448"/>
                <a:gd name="T10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8" h="449">
                  <a:moveTo>
                    <a:pt x="225" y="419"/>
                  </a:moveTo>
                  <a:lnTo>
                    <a:pt x="204" y="418"/>
                  </a:lnTo>
                  <a:lnTo>
                    <a:pt x="185" y="415"/>
                  </a:lnTo>
                  <a:lnTo>
                    <a:pt x="167" y="411"/>
                  </a:lnTo>
                  <a:lnTo>
                    <a:pt x="149" y="404"/>
                  </a:lnTo>
                  <a:lnTo>
                    <a:pt x="132" y="396"/>
                  </a:lnTo>
                  <a:lnTo>
                    <a:pt x="116" y="386"/>
                  </a:lnTo>
                  <a:lnTo>
                    <a:pt x="101" y="374"/>
                  </a:lnTo>
                  <a:lnTo>
                    <a:pt x="87" y="363"/>
                  </a:lnTo>
                  <a:lnTo>
                    <a:pt x="75" y="349"/>
                  </a:lnTo>
                  <a:lnTo>
                    <a:pt x="63" y="334"/>
                  </a:lnTo>
                  <a:lnTo>
                    <a:pt x="54" y="318"/>
                  </a:lnTo>
                  <a:lnTo>
                    <a:pt x="45" y="301"/>
                  </a:lnTo>
                  <a:lnTo>
                    <a:pt x="39" y="282"/>
                  </a:lnTo>
                  <a:lnTo>
                    <a:pt x="34" y="264"/>
                  </a:lnTo>
                  <a:lnTo>
                    <a:pt x="31" y="245"/>
                  </a:lnTo>
                  <a:lnTo>
                    <a:pt x="30" y="225"/>
                  </a:lnTo>
                  <a:lnTo>
                    <a:pt x="31" y="205"/>
                  </a:lnTo>
                  <a:lnTo>
                    <a:pt x="34" y="186"/>
                  </a:lnTo>
                  <a:lnTo>
                    <a:pt x="39" y="167"/>
                  </a:lnTo>
                  <a:lnTo>
                    <a:pt x="45" y="149"/>
                  </a:lnTo>
                  <a:lnTo>
                    <a:pt x="54" y="133"/>
                  </a:lnTo>
                  <a:lnTo>
                    <a:pt x="63" y="117"/>
                  </a:lnTo>
                  <a:lnTo>
                    <a:pt x="75" y="102"/>
                  </a:lnTo>
                  <a:lnTo>
                    <a:pt x="87" y="88"/>
                  </a:lnTo>
                  <a:lnTo>
                    <a:pt x="101" y="75"/>
                  </a:lnTo>
                  <a:lnTo>
                    <a:pt x="116" y="63"/>
                  </a:lnTo>
                  <a:lnTo>
                    <a:pt x="132" y="54"/>
                  </a:lnTo>
                  <a:lnTo>
                    <a:pt x="149" y="46"/>
                  </a:lnTo>
                  <a:lnTo>
                    <a:pt x="167" y="40"/>
                  </a:lnTo>
                  <a:lnTo>
                    <a:pt x="185" y="34"/>
                  </a:lnTo>
                  <a:lnTo>
                    <a:pt x="204" y="31"/>
                  </a:lnTo>
                  <a:lnTo>
                    <a:pt x="225" y="30"/>
                  </a:lnTo>
                  <a:lnTo>
                    <a:pt x="244" y="31"/>
                  </a:lnTo>
                  <a:lnTo>
                    <a:pt x="263" y="34"/>
                  </a:lnTo>
                  <a:lnTo>
                    <a:pt x="283" y="40"/>
                  </a:lnTo>
                  <a:lnTo>
                    <a:pt x="300" y="46"/>
                  </a:lnTo>
                  <a:lnTo>
                    <a:pt x="317" y="54"/>
                  </a:lnTo>
                  <a:lnTo>
                    <a:pt x="333" y="63"/>
                  </a:lnTo>
                  <a:lnTo>
                    <a:pt x="348" y="75"/>
                  </a:lnTo>
                  <a:lnTo>
                    <a:pt x="362" y="88"/>
                  </a:lnTo>
                  <a:lnTo>
                    <a:pt x="374" y="102"/>
                  </a:lnTo>
                  <a:lnTo>
                    <a:pt x="385" y="117"/>
                  </a:lnTo>
                  <a:lnTo>
                    <a:pt x="395" y="133"/>
                  </a:lnTo>
                  <a:lnTo>
                    <a:pt x="403" y="149"/>
                  </a:lnTo>
                  <a:lnTo>
                    <a:pt x="410" y="167"/>
                  </a:lnTo>
                  <a:lnTo>
                    <a:pt x="415" y="186"/>
                  </a:lnTo>
                  <a:lnTo>
                    <a:pt x="417" y="205"/>
                  </a:lnTo>
                  <a:lnTo>
                    <a:pt x="418" y="225"/>
                  </a:lnTo>
                  <a:lnTo>
                    <a:pt x="417" y="245"/>
                  </a:lnTo>
                  <a:lnTo>
                    <a:pt x="415" y="264"/>
                  </a:lnTo>
                  <a:lnTo>
                    <a:pt x="410" y="282"/>
                  </a:lnTo>
                  <a:lnTo>
                    <a:pt x="403" y="301"/>
                  </a:lnTo>
                  <a:lnTo>
                    <a:pt x="395" y="318"/>
                  </a:lnTo>
                  <a:lnTo>
                    <a:pt x="385" y="334"/>
                  </a:lnTo>
                  <a:lnTo>
                    <a:pt x="374" y="349"/>
                  </a:lnTo>
                  <a:lnTo>
                    <a:pt x="362" y="363"/>
                  </a:lnTo>
                  <a:lnTo>
                    <a:pt x="348" y="374"/>
                  </a:lnTo>
                  <a:lnTo>
                    <a:pt x="333" y="386"/>
                  </a:lnTo>
                  <a:lnTo>
                    <a:pt x="317" y="396"/>
                  </a:lnTo>
                  <a:lnTo>
                    <a:pt x="300" y="404"/>
                  </a:lnTo>
                  <a:lnTo>
                    <a:pt x="283" y="411"/>
                  </a:lnTo>
                  <a:lnTo>
                    <a:pt x="263" y="415"/>
                  </a:lnTo>
                  <a:lnTo>
                    <a:pt x="244" y="418"/>
                  </a:lnTo>
                  <a:lnTo>
                    <a:pt x="225" y="419"/>
                  </a:lnTo>
                  <a:close/>
                  <a:moveTo>
                    <a:pt x="225" y="0"/>
                  </a:moveTo>
                  <a:lnTo>
                    <a:pt x="213" y="1"/>
                  </a:lnTo>
                  <a:lnTo>
                    <a:pt x="201" y="1"/>
                  </a:lnTo>
                  <a:lnTo>
                    <a:pt x="191" y="3"/>
                  </a:lnTo>
                  <a:lnTo>
                    <a:pt x="179" y="5"/>
                  </a:lnTo>
                  <a:lnTo>
                    <a:pt x="168" y="8"/>
                  </a:lnTo>
                  <a:lnTo>
                    <a:pt x="157" y="11"/>
                  </a:lnTo>
                  <a:lnTo>
                    <a:pt x="148" y="14"/>
                  </a:lnTo>
                  <a:lnTo>
                    <a:pt x="137" y="18"/>
                  </a:lnTo>
                  <a:lnTo>
                    <a:pt x="118" y="28"/>
                  </a:lnTo>
                  <a:lnTo>
                    <a:pt x="100" y="39"/>
                  </a:lnTo>
                  <a:lnTo>
                    <a:pt x="81" y="51"/>
                  </a:lnTo>
                  <a:lnTo>
                    <a:pt x="65" y="66"/>
                  </a:lnTo>
                  <a:lnTo>
                    <a:pt x="52" y="82"/>
                  </a:lnTo>
                  <a:lnTo>
                    <a:pt x="39" y="100"/>
                  </a:lnTo>
                  <a:lnTo>
                    <a:pt x="27" y="118"/>
                  </a:lnTo>
                  <a:lnTo>
                    <a:pt x="17" y="138"/>
                  </a:lnTo>
                  <a:lnTo>
                    <a:pt x="14" y="148"/>
                  </a:lnTo>
                  <a:lnTo>
                    <a:pt x="10" y="158"/>
                  </a:lnTo>
                  <a:lnTo>
                    <a:pt x="8" y="169"/>
                  </a:lnTo>
                  <a:lnTo>
                    <a:pt x="4" y="180"/>
                  </a:lnTo>
                  <a:lnTo>
                    <a:pt x="2" y="190"/>
                  </a:lnTo>
                  <a:lnTo>
                    <a:pt x="1" y="202"/>
                  </a:lnTo>
                  <a:lnTo>
                    <a:pt x="0" y="213"/>
                  </a:lnTo>
                  <a:lnTo>
                    <a:pt x="0" y="225"/>
                  </a:lnTo>
                  <a:lnTo>
                    <a:pt x="0" y="236"/>
                  </a:lnTo>
                  <a:lnTo>
                    <a:pt x="1" y="248"/>
                  </a:lnTo>
                  <a:lnTo>
                    <a:pt x="2" y="259"/>
                  </a:lnTo>
                  <a:lnTo>
                    <a:pt x="4" y="270"/>
                  </a:lnTo>
                  <a:lnTo>
                    <a:pt x="8" y="280"/>
                  </a:lnTo>
                  <a:lnTo>
                    <a:pt x="10" y="291"/>
                  </a:lnTo>
                  <a:lnTo>
                    <a:pt x="14" y="302"/>
                  </a:lnTo>
                  <a:lnTo>
                    <a:pt x="17" y="312"/>
                  </a:lnTo>
                  <a:lnTo>
                    <a:pt x="27" y="332"/>
                  </a:lnTo>
                  <a:lnTo>
                    <a:pt x="39" y="350"/>
                  </a:lnTo>
                  <a:lnTo>
                    <a:pt x="52" y="367"/>
                  </a:lnTo>
                  <a:lnTo>
                    <a:pt x="65" y="383"/>
                  </a:lnTo>
                  <a:lnTo>
                    <a:pt x="81" y="398"/>
                  </a:lnTo>
                  <a:lnTo>
                    <a:pt x="100" y="411"/>
                  </a:lnTo>
                  <a:lnTo>
                    <a:pt x="118" y="423"/>
                  </a:lnTo>
                  <a:lnTo>
                    <a:pt x="137" y="431"/>
                  </a:lnTo>
                  <a:lnTo>
                    <a:pt x="148" y="435"/>
                  </a:lnTo>
                  <a:lnTo>
                    <a:pt x="157" y="439"/>
                  </a:lnTo>
                  <a:lnTo>
                    <a:pt x="168" y="442"/>
                  </a:lnTo>
                  <a:lnTo>
                    <a:pt x="179" y="445"/>
                  </a:lnTo>
                  <a:lnTo>
                    <a:pt x="191" y="446"/>
                  </a:lnTo>
                  <a:lnTo>
                    <a:pt x="201" y="448"/>
                  </a:lnTo>
                  <a:lnTo>
                    <a:pt x="213" y="449"/>
                  </a:lnTo>
                  <a:lnTo>
                    <a:pt x="225" y="449"/>
                  </a:lnTo>
                  <a:lnTo>
                    <a:pt x="235" y="449"/>
                  </a:lnTo>
                  <a:lnTo>
                    <a:pt x="247" y="448"/>
                  </a:lnTo>
                  <a:lnTo>
                    <a:pt x="259" y="446"/>
                  </a:lnTo>
                  <a:lnTo>
                    <a:pt x="270" y="445"/>
                  </a:lnTo>
                  <a:lnTo>
                    <a:pt x="280" y="442"/>
                  </a:lnTo>
                  <a:lnTo>
                    <a:pt x="291" y="439"/>
                  </a:lnTo>
                  <a:lnTo>
                    <a:pt x="302" y="435"/>
                  </a:lnTo>
                  <a:lnTo>
                    <a:pt x="311" y="431"/>
                  </a:lnTo>
                  <a:lnTo>
                    <a:pt x="332" y="423"/>
                  </a:lnTo>
                  <a:lnTo>
                    <a:pt x="350" y="411"/>
                  </a:lnTo>
                  <a:lnTo>
                    <a:pt x="367" y="398"/>
                  </a:lnTo>
                  <a:lnTo>
                    <a:pt x="383" y="383"/>
                  </a:lnTo>
                  <a:lnTo>
                    <a:pt x="397" y="367"/>
                  </a:lnTo>
                  <a:lnTo>
                    <a:pt x="411" y="350"/>
                  </a:lnTo>
                  <a:lnTo>
                    <a:pt x="422" y="332"/>
                  </a:lnTo>
                  <a:lnTo>
                    <a:pt x="431" y="312"/>
                  </a:lnTo>
                  <a:lnTo>
                    <a:pt x="435" y="302"/>
                  </a:lnTo>
                  <a:lnTo>
                    <a:pt x="439" y="291"/>
                  </a:lnTo>
                  <a:lnTo>
                    <a:pt x="442" y="281"/>
                  </a:lnTo>
                  <a:lnTo>
                    <a:pt x="444" y="270"/>
                  </a:lnTo>
                  <a:lnTo>
                    <a:pt x="446" y="259"/>
                  </a:lnTo>
                  <a:lnTo>
                    <a:pt x="447" y="248"/>
                  </a:lnTo>
                  <a:lnTo>
                    <a:pt x="448" y="236"/>
                  </a:lnTo>
                  <a:lnTo>
                    <a:pt x="448" y="225"/>
                  </a:lnTo>
                  <a:lnTo>
                    <a:pt x="448" y="213"/>
                  </a:lnTo>
                  <a:lnTo>
                    <a:pt x="447" y="202"/>
                  </a:lnTo>
                  <a:lnTo>
                    <a:pt x="446" y="190"/>
                  </a:lnTo>
                  <a:lnTo>
                    <a:pt x="444" y="180"/>
                  </a:lnTo>
                  <a:lnTo>
                    <a:pt x="442" y="169"/>
                  </a:lnTo>
                  <a:lnTo>
                    <a:pt x="439" y="158"/>
                  </a:lnTo>
                  <a:lnTo>
                    <a:pt x="435" y="148"/>
                  </a:lnTo>
                  <a:lnTo>
                    <a:pt x="431" y="138"/>
                  </a:lnTo>
                  <a:lnTo>
                    <a:pt x="422" y="118"/>
                  </a:lnTo>
                  <a:lnTo>
                    <a:pt x="411" y="100"/>
                  </a:lnTo>
                  <a:lnTo>
                    <a:pt x="397" y="82"/>
                  </a:lnTo>
                  <a:lnTo>
                    <a:pt x="383" y="66"/>
                  </a:lnTo>
                  <a:lnTo>
                    <a:pt x="367" y="51"/>
                  </a:lnTo>
                  <a:lnTo>
                    <a:pt x="350" y="39"/>
                  </a:lnTo>
                  <a:lnTo>
                    <a:pt x="332" y="28"/>
                  </a:lnTo>
                  <a:lnTo>
                    <a:pt x="311" y="18"/>
                  </a:lnTo>
                  <a:lnTo>
                    <a:pt x="302" y="14"/>
                  </a:lnTo>
                  <a:lnTo>
                    <a:pt x="291" y="11"/>
                  </a:lnTo>
                  <a:lnTo>
                    <a:pt x="280" y="8"/>
                  </a:lnTo>
                  <a:lnTo>
                    <a:pt x="270" y="5"/>
                  </a:lnTo>
                  <a:lnTo>
                    <a:pt x="259" y="3"/>
                  </a:lnTo>
                  <a:lnTo>
                    <a:pt x="247" y="2"/>
                  </a:lnTo>
                  <a:lnTo>
                    <a:pt x="235" y="1"/>
                  </a:lnTo>
                  <a:lnTo>
                    <a:pt x="225" y="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320">
              <a:extLst>
                <a:ext uri="{FF2B5EF4-FFF2-40B4-BE49-F238E27FC236}">
                  <a16:creationId xmlns:a16="http://schemas.microsoft.com/office/drawing/2014/main" id="{3F0339CB-5A0F-49CB-BAFF-00FE0E4CDBD1}"/>
                </a:ext>
              </a:extLst>
            </p:cNvPr>
            <p:cNvSpPr>
              <a:spLocks/>
            </p:cNvSpPr>
            <p:nvPr/>
          </p:nvSpPr>
          <p:spPr bwMode="auto">
            <a:xfrm>
              <a:off x="7791450" y="1525588"/>
              <a:ext cx="74613" cy="74612"/>
            </a:xfrm>
            <a:custGeom>
              <a:avLst/>
              <a:gdLst>
                <a:gd name="T0" fmla="*/ 133 w 235"/>
                <a:gd name="T1" fmla="*/ 103 h 235"/>
                <a:gd name="T2" fmla="*/ 132 w 235"/>
                <a:gd name="T3" fmla="*/ 12 h 235"/>
                <a:gd name="T4" fmla="*/ 130 w 235"/>
                <a:gd name="T5" fmla="*/ 6 h 235"/>
                <a:gd name="T6" fmla="*/ 126 w 235"/>
                <a:gd name="T7" fmla="*/ 2 h 235"/>
                <a:gd name="T8" fmla="*/ 121 w 235"/>
                <a:gd name="T9" fmla="*/ 0 h 235"/>
                <a:gd name="T10" fmla="*/ 115 w 235"/>
                <a:gd name="T11" fmla="*/ 0 h 235"/>
                <a:gd name="T12" fmla="*/ 109 w 235"/>
                <a:gd name="T13" fmla="*/ 2 h 235"/>
                <a:gd name="T14" fmla="*/ 105 w 235"/>
                <a:gd name="T15" fmla="*/ 6 h 235"/>
                <a:gd name="T16" fmla="*/ 103 w 235"/>
                <a:gd name="T17" fmla="*/ 12 h 235"/>
                <a:gd name="T18" fmla="*/ 103 w 235"/>
                <a:gd name="T19" fmla="*/ 103 h 235"/>
                <a:gd name="T20" fmla="*/ 12 w 235"/>
                <a:gd name="T21" fmla="*/ 103 h 235"/>
                <a:gd name="T22" fmla="*/ 7 w 235"/>
                <a:gd name="T23" fmla="*/ 106 h 235"/>
                <a:gd name="T24" fmla="*/ 2 w 235"/>
                <a:gd name="T25" fmla="*/ 109 h 235"/>
                <a:gd name="T26" fmla="*/ 0 w 235"/>
                <a:gd name="T27" fmla="*/ 115 h 235"/>
                <a:gd name="T28" fmla="*/ 0 w 235"/>
                <a:gd name="T29" fmla="*/ 121 h 235"/>
                <a:gd name="T30" fmla="*/ 2 w 235"/>
                <a:gd name="T31" fmla="*/ 126 h 235"/>
                <a:gd name="T32" fmla="*/ 7 w 235"/>
                <a:gd name="T33" fmla="*/ 131 h 235"/>
                <a:gd name="T34" fmla="*/ 12 w 235"/>
                <a:gd name="T35" fmla="*/ 133 h 235"/>
                <a:gd name="T36" fmla="*/ 103 w 235"/>
                <a:gd name="T37" fmla="*/ 133 h 235"/>
                <a:gd name="T38" fmla="*/ 103 w 235"/>
                <a:gd name="T39" fmla="*/ 224 h 235"/>
                <a:gd name="T40" fmla="*/ 105 w 235"/>
                <a:gd name="T41" fmla="*/ 229 h 235"/>
                <a:gd name="T42" fmla="*/ 109 w 235"/>
                <a:gd name="T43" fmla="*/ 233 h 235"/>
                <a:gd name="T44" fmla="*/ 115 w 235"/>
                <a:gd name="T45" fmla="*/ 235 h 235"/>
                <a:gd name="T46" fmla="*/ 121 w 235"/>
                <a:gd name="T47" fmla="*/ 235 h 235"/>
                <a:gd name="T48" fmla="*/ 126 w 235"/>
                <a:gd name="T49" fmla="*/ 233 h 235"/>
                <a:gd name="T50" fmla="*/ 130 w 235"/>
                <a:gd name="T51" fmla="*/ 229 h 235"/>
                <a:gd name="T52" fmla="*/ 132 w 235"/>
                <a:gd name="T53" fmla="*/ 224 h 235"/>
                <a:gd name="T54" fmla="*/ 133 w 235"/>
                <a:gd name="T55" fmla="*/ 133 h 235"/>
                <a:gd name="T56" fmla="*/ 224 w 235"/>
                <a:gd name="T57" fmla="*/ 133 h 235"/>
                <a:gd name="T58" fmla="*/ 229 w 235"/>
                <a:gd name="T59" fmla="*/ 131 h 235"/>
                <a:gd name="T60" fmla="*/ 232 w 235"/>
                <a:gd name="T61" fmla="*/ 126 h 235"/>
                <a:gd name="T62" fmla="*/ 235 w 235"/>
                <a:gd name="T63" fmla="*/ 121 h 235"/>
                <a:gd name="T64" fmla="*/ 235 w 235"/>
                <a:gd name="T65" fmla="*/ 115 h 235"/>
                <a:gd name="T66" fmla="*/ 232 w 235"/>
                <a:gd name="T67" fmla="*/ 109 h 235"/>
                <a:gd name="T68" fmla="*/ 229 w 235"/>
                <a:gd name="T69" fmla="*/ 106 h 235"/>
                <a:gd name="T70" fmla="*/ 224 w 235"/>
                <a:gd name="T71" fmla="*/ 103 h 235"/>
                <a:gd name="T72" fmla="*/ 220 w 235"/>
                <a:gd name="T73" fmla="*/ 10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5" h="235">
                  <a:moveTo>
                    <a:pt x="220" y="103"/>
                  </a:moveTo>
                  <a:lnTo>
                    <a:pt x="133" y="103"/>
                  </a:lnTo>
                  <a:lnTo>
                    <a:pt x="133" y="15"/>
                  </a:lnTo>
                  <a:lnTo>
                    <a:pt x="132" y="12"/>
                  </a:lnTo>
                  <a:lnTo>
                    <a:pt x="132" y="10"/>
                  </a:lnTo>
                  <a:lnTo>
                    <a:pt x="130" y="6"/>
                  </a:lnTo>
                  <a:lnTo>
                    <a:pt x="128" y="4"/>
                  </a:lnTo>
                  <a:lnTo>
                    <a:pt x="126" y="2"/>
                  </a:lnTo>
                  <a:lnTo>
                    <a:pt x="123" y="1"/>
                  </a:lnTo>
                  <a:lnTo>
                    <a:pt x="121" y="0"/>
                  </a:lnTo>
                  <a:lnTo>
                    <a:pt x="118" y="0"/>
                  </a:lnTo>
                  <a:lnTo>
                    <a:pt x="115" y="0"/>
                  </a:lnTo>
                  <a:lnTo>
                    <a:pt x="111" y="1"/>
                  </a:lnTo>
                  <a:lnTo>
                    <a:pt x="109" y="2"/>
                  </a:lnTo>
                  <a:lnTo>
                    <a:pt x="107" y="4"/>
                  </a:lnTo>
                  <a:lnTo>
                    <a:pt x="105" y="6"/>
                  </a:lnTo>
                  <a:lnTo>
                    <a:pt x="104" y="10"/>
                  </a:lnTo>
                  <a:lnTo>
                    <a:pt x="103" y="12"/>
                  </a:lnTo>
                  <a:lnTo>
                    <a:pt x="103" y="15"/>
                  </a:lnTo>
                  <a:lnTo>
                    <a:pt x="103" y="103"/>
                  </a:lnTo>
                  <a:lnTo>
                    <a:pt x="15" y="103"/>
                  </a:lnTo>
                  <a:lnTo>
                    <a:pt x="12" y="103"/>
                  </a:lnTo>
                  <a:lnTo>
                    <a:pt x="9" y="104"/>
                  </a:lnTo>
                  <a:lnTo>
                    <a:pt x="7" y="106"/>
                  </a:lnTo>
                  <a:lnTo>
                    <a:pt x="4" y="107"/>
                  </a:lnTo>
                  <a:lnTo>
                    <a:pt x="2" y="109"/>
                  </a:lnTo>
                  <a:lnTo>
                    <a:pt x="1" y="112"/>
                  </a:lnTo>
                  <a:lnTo>
                    <a:pt x="0" y="115"/>
                  </a:lnTo>
                  <a:lnTo>
                    <a:pt x="0" y="118"/>
                  </a:lnTo>
                  <a:lnTo>
                    <a:pt x="0" y="121"/>
                  </a:lnTo>
                  <a:lnTo>
                    <a:pt x="1" y="124"/>
                  </a:lnTo>
                  <a:lnTo>
                    <a:pt x="2" y="126"/>
                  </a:lnTo>
                  <a:lnTo>
                    <a:pt x="4" y="128"/>
                  </a:lnTo>
                  <a:lnTo>
                    <a:pt x="7" y="131"/>
                  </a:lnTo>
                  <a:lnTo>
                    <a:pt x="9" y="132"/>
                  </a:lnTo>
                  <a:lnTo>
                    <a:pt x="12" y="133"/>
                  </a:lnTo>
                  <a:lnTo>
                    <a:pt x="15" y="133"/>
                  </a:lnTo>
                  <a:lnTo>
                    <a:pt x="103" y="133"/>
                  </a:lnTo>
                  <a:lnTo>
                    <a:pt x="103" y="220"/>
                  </a:lnTo>
                  <a:lnTo>
                    <a:pt x="103" y="224"/>
                  </a:lnTo>
                  <a:lnTo>
                    <a:pt x="104" y="227"/>
                  </a:lnTo>
                  <a:lnTo>
                    <a:pt x="105" y="229"/>
                  </a:lnTo>
                  <a:lnTo>
                    <a:pt x="107" y="231"/>
                  </a:lnTo>
                  <a:lnTo>
                    <a:pt x="109" y="233"/>
                  </a:lnTo>
                  <a:lnTo>
                    <a:pt x="111" y="234"/>
                  </a:lnTo>
                  <a:lnTo>
                    <a:pt x="115" y="235"/>
                  </a:lnTo>
                  <a:lnTo>
                    <a:pt x="118" y="235"/>
                  </a:lnTo>
                  <a:lnTo>
                    <a:pt x="121" y="235"/>
                  </a:lnTo>
                  <a:lnTo>
                    <a:pt x="123" y="234"/>
                  </a:lnTo>
                  <a:lnTo>
                    <a:pt x="126" y="233"/>
                  </a:lnTo>
                  <a:lnTo>
                    <a:pt x="128" y="231"/>
                  </a:lnTo>
                  <a:lnTo>
                    <a:pt x="130" y="229"/>
                  </a:lnTo>
                  <a:lnTo>
                    <a:pt x="132" y="227"/>
                  </a:lnTo>
                  <a:lnTo>
                    <a:pt x="132" y="224"/>
                  </a:lnTo>
                  <a:lnTo>
                    <a:pt x="133" y="220"/>
                  </a:lnTo>
                  <a:lnTo>
                    <a:pt x="133" y="133"/>
                  </a:lnTo>
                  <a:lnTo>
                    <a:pt x="220" y="133"/>
                  </a:lnTo>
                  <a:lnTo>
                    <a:pt x="224" y="133"/>
                  </a:lnTo>
                  <a:lnTo>
                    <a:pt x="226" y="132"/>
                  </a:lnTo>
                  <a:lnTo>
                    <a:pt x="229" y="131"/>
                  </a:lnTo>
                  <a:lnTo>
                    <a:pt x="231" y="128"/>
                  </a:lnTo>
                  <a:lnTo>
                    <a:pt x="232" y="126"/>
                  </a:lnTo>
                  <a:lnTo>
                    <a:pt x="234" y="124"/>
                  </a:lnTo>
                  <a:lnTo>
                    <a:pt x="235" y="121"/>
                  </a:lnTo>
                  <a:lnTo>
                    <a:pt x="235" y="118"/>
                  </a:lnTo>
                  <a:lnTo>
                    <a:pt x="235" y="115"/>
                  </a:lnTo>
                  <a:lnTo>
                    <a:pt x="234" y="112"/>
                  </a:lnTo>
                  <a:lnTo>
                    <a:pt x="232" y="109"/>
                  </a:lnTo>
                  <a:lnTo>
                    <a:pt x="231" y="107"/>
                  </a:lnTo>
                  <a:lnTo>
                    <a:pt x="229" y="106"/>
                  </a:lnTo>
                  <a:lnTo>
                    <a:pt x="226" y="104"/>
                  </a:lnTo>
                  <a:lnTo>
                    <a:pt x="224" y="103"/>
                  </a:lnTo>
                  <a:lnTo>
                    <a:pt x="220" y="103"/>
                  </a:lnTo>
                  <a:lnTo>
                    <a:pt x="22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321">
              <a:extLst>
                <a:ext uri="{FF2B5EF4-FFF2-40B4-BE49-F238E27FC236}">
                  <a16:creationId xmlns:a16="http://schemas.microsoft.com/office/drawing/2014/main" id="{2CB52107-0164-4B46-AF04-0AD9C41403C0}"/>
                </a:ext>
              </a:extLst>
            </p:cNvPr>
            <p:cNvSpPr>
              <a:spLocks/>
            </p:cNvSpPr>
            <p:nvPr/>
          </p:nvSpPr>
          <p:spPr bwMode="auto">
            <a:xfrm>
              <a:off x="7615238" y="1366838"/>
              <a:ext cx="260350" cy="252412"/>
            </a:xfrm>
            <a:custGeom>
              <a:avLst/>
              <a:gdLst>
                <a:gd name="T0" fmla="*/ 671 w 820"/>
                <a:gd name="T1" fmla="*/ 41 h 796"/>
                <a:gd name="T2" fmla="*/ 727 w 820"/>
                <a:gd name="T3" fmla="*/ 76 h 796"/>
                <a:gd name="T4" fmla="*/ 769 w 820"/>
                <a:gd name="T5" fmla="*/ 136 h 796"/>
                <a:gd name="T6" fmla="*/ 789 w 820"/>
                <a:gd name="T7" fmla="*/ 221 h 796"/>
                <a:gd name="T8" fmla="*/ 787 w 820"/>
                <a:gd name="T9" fmla="*/ 289 h 796"/>
                <a:gd name="T10" fmla="*/ 772 w 820"/>
                <a:gd name="T11" fmla="*/ 348 h 796"/>
                <a:gd name="T12" fmla="*/ 805 w 820"/>
                <a:gd name="T13" fmla="*/ 342 h 796"/>
                <a:gd name="T14" fmla="*/ 819 w 820"/>
                <a:gd name="T15" fmla="*/ 277 h 796"/>
                <a:gd name="T16" fmla="*/ 818 w 820"/>
                <a:gd name="T17" fmla="*/ 205 h 796"/>
                <a:gd name="T18" fmla="*/ 795 w 820"/>
                <a:gd name="T19" fmla="*/ 123 h 796"/>
                <a:gd name="T20" fmla="*/ 748 w 820"/>
                <a:gd name="T21" fmla="*/ 55 h 796"/>
                <a:gd name="T22" fmla="*/ 714 w 820"/>
                <a:gd name="T23" fmla="*/ 28 h 796"/>
                <a:gd name="T24" fmla="*/ 674 w 820"/>
                <a:gd name="T25" fmla="*/ 10 h 796"/>
                <a:gd name="T26" fmla="*/ 628 w 820"/>
                <a:gd name="T27" fmla="*/ 2 h 796"/>
                <a:gd name="T28" fmla="*/ 554 w 820"/>
                <a:gd name="T29" fmla="*/ 8 h 796"/>
                <a:gd name="T30" fmla="*/ 494 w 820"/>
                <a:gd name="T31" fmla="*/ 39 h 796"/>
                <a:gd name="T32" fmla="*/ 449 w 820"/>
                <a:gd name="T33" fmla="*/ 86 h 796"/>
                <a:gd name="T34" fmla="*/ 418 w 820"/>
                <a:gd name="T35" fmla="*/ 145 h 796"/>
                <a:gd name="T36" fmla="*/ 386 w 820"/>
                <a:gd name="T37" fmla="*/ 86 h 796"/>
                <a:gd name="T38" fmla="*/ 339 w 820"/>
                <a:gd name="T39" fmla="*/ 38 h 796"/>
                <a:gd name="T40" fmla="*/ 277 w 820"/>
                <a:gd name="T41" fmla="*/ 8 h 796"/>
                <a:gd name="T42" fmla="*/ 201 w 820"/>
                <a:gd name="T43" fmla="*/ 0 h 796"/>
                <a:gd name="T44" fmla="*/ 153 w 820"/>
                <a:gd name="T45" fmla="*/ 10 h 796"/>
                <a:gd name="T46" fmla="*/ 111 w 820"/>
                <a:gd name="T47" fmla="*/ 28 h 796"/>
                <a:gd name="T48" fmla="*/ 77 w 820"/>
                <a:gd name="T49" fmla="*/ 54 h 796"/>
                <a:gd name="T50" fmla="*/ 27 w 820"/>
                <a:gd name="T51" fmla="*/ 123 h 796"/>
                <a:gd name="T52" fmla="*/ 2 w 820"/>
                <a:gd name="T53" fmla="*/ 205 h 796"/>
                <a:gd name="T54" fmla="*/ 3 w 820"/>
                <a:gd name="T55" fmla="*/ 294 h 796"/>
                <a:gd name="T56" fmla="*/ 27 w 820"/>
                <a:gd name="T57" fmla="*/ 386 h 796"/>
                <a:gd name="T58" fmla="*/ 71 w 820"/>
                <a:gd name="T59" fmla="*/ 472 h 796"/>
                <a:gd name="T60" fmla="*/ 126 w 820"/>
                <a:gd name="T61" fmla="*/ 553 h 796"/>
                <a:gd name="T62" fmla="*/ 223 w 820"/>
                <a:gd name="T63" fmla="*/ 659 h 796"/>
                <a:gd name="T64" fmla="*/ 341 w 820"/>
                <a:gd name="T65" fmla="*/ 764 h 796"/>
                <a:gd name="T66" fmla="*/ 367 w 820"/>
                <a:gd name="T67" fmla="*/ 746 h 796"/>
                <a:gd name="T68" fmla="*/ 224 w 820"/>
                <a:gd name="T69" fmla="*/ 618 h 796"/>
                <a:gd name="T70" fmla="*/ 146 w 820"/>
                <a:gd name="T71" fmla="*/ 528 h 796"/>
                <a:gd name="T72" fmla="*/ 91 w 820"/>
                <a:gd name="T73" fmla="*/ 446 h 796"/>
                <a:gd name="T74" fmla="*/ 50 w 820"/>
                <a:gd name="T75" fmla="*/ 360 h 796"/>
                <a:gd name="T76" fmla="*/ 30 w 820"/>
                <a:gd name="T77" fmla="*/ 269 h 796"/>
                <a:gd name="T78" fmla="*/ 39 w 820"/>
                <a:gd name="T79" fmla="*/ 175 h 796"/>
                <a:gd name="T80" fmla="*/ 73 w 820"/>
                <a:gd name="T81" fmla="*/ 103 h 796"/>
                <a:gd name="T82" fmla="*/ 125 w 820"/>
                <a:gd name="T83" fmla="*/ 56 h 796"/>
                <a:gd name="T84" fmla="*/ 187 w 820"/>
                <a:gd name="T85" fmla="*/ 33 h 796"/>
                <a:gd name="T86" fmla="*/ 251 w 820"/>
                <a:gd name="T87" fmla="*/ 33 h 796"/>
                <a:gd name="T88" fmla="*/ 312 w 820"/>
                <a:gd name="T89" fmla="*/ 56 h 796"/>
                <a:gd name="T90" fmla="*/ 365 w 820"/>
                <a:gd name="T91" fmla="*/ 105 h 796"/>
                <a:gd name="T92" fmla="*/ 399 w 820"/>
                <a:gd name="T93" fmla="*/ 180 h 796"/>
                <a:gd name="T94" fmla="*/ 413 w 820"/>
                <a:gd name="T95" fmla="*/ 215 h 796"/>
                <a:gd name="T96" fmla="*/ 431 w 820"/>
                <a:gd name="T97" fmla="*/ 209 h 796"/>
                <a:gd name="T98" fmla="*/ 451 w 820"/>
                <a:gd name="T99" fmla="*/ 140 h 796"/>
                <a:gd name="T100" fmla="*/ 494 w 820"/>
                <a:gd name="T101" fmla="*/ 77 h 796"/>
                <a:gd name="T102" fmla="*/ 549 w 820"/>
                <a:gd name="T103" fmla="*/ 42 h 796"/>
                <a:gd name="T104" fmla="*/ 610 w 820"/>
                <a:gd name="T105" fmla="*/ 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0" h="796">
                  <a:moveTo>
                    <a:pt x="625" y="30"/>
                  </a:moveTo>
                  <a:lnTo>
                    <a:pt x="641" y="33"/>
                  </a:lnTo>
                  <a:lnTo>
                    <a:pt x="656" y="36"/>
                  </a:lnTo>
                  <a:lnTo>
                    <a:pt x="671" y="41"/>
                  </a:lnTo>
                  <a:lnTo>
                    <a:pt x="686" y="48"/>
                  </a:lnTo>
                  <a:lnTo>
                    <a:pt x="701" y="56"/>
                  </a:lnTo>
                  <a:lnTo>
                    <a:pt x="714" y="66"/>
                  </a:lnTo>
                  <a:lnTo>
                    <a:pt x="727" y="76"/>
                  </a:lnTo>
                  <a:lnTo>
                    <a:pt x="739" y="89"/>
                  </a:lnTo>
                  <a:lnTo>
                    <a:pt x="751" y="103"/>
                  </a:lnTo>
                  <a:lnTo>
                    <a:pt x="760" y="119"/>
                  </a:lnTo>
                  <a:lnTo>
                    <a:pt x="769" y="136"/>
                  </a:lnTo>
                  <a:lnTo>
                    <a:pt x="776" y="154"/>
                  </a:lnTo>
                  <a:lnTo>
                    <a:pt x="783" y="175"/>
                  </a:lnTo>
                  <a:lnTo>
                    <a:pt x="787" y="197"/>
                  </a:lnTo>
                  <a:lnTo>
                    <a:pt x="789" y="221"/>
                  </a:lnTo>
                  <a:lnTo>
                    <a:pt x="790" y="246"/>
                  </a:lnTo>
                  <a:lnTo>
                    <a:pt x="790" y="260"/>
                  </a:lnTo>
                  <a:lnTo>
                    <a:pt x="789" y="274"/>
                  </a:lnTo>
                  <a:lnTo>
                    <a:pt x="787" y="289"/>
                  </a:lnTo>
                  <a:lnTo>
                    <a:pt x="784" y="303"/>
                  </a:lnTo>
                  <a:lnTo>
                    <a:pt x="781" y="318"/>
                  </a:lnTo>
                  <a:lnTo>
                    <a:pt x="776" y="333"/>
                  </a:lnTo>
                  <a:lnTo>
                    <a:pt x="772" y="348"/>
                  </a:lnTo>
                  <a:lnTo>
                    <a:pt x="767" y="363"/>
                  </a:lnTo>
                  <a:lnTo>
                    <a:pt x="795" y="375"/>
                  </a:lnTo>
                  <a:lnTo>
                    <a:pt x="800" y="358"/>
                  </a:lnTo>
                  <a:lnTo>
                    <a:pt x="805" y="342"/>
                  </a:lnTo>
                  <a:lnTo>
                    <a:pt x="810" y="326"/>
                  </a:lnTo>
                  <a:lnTo>
                    <a:pt x="814" y="310"/>
                  </a:lnTo>
                  <a:lnTo>
                    <a:pt x="817" y="294"/>
                  </a:lnTo>
                  <a:lnTo>
                    <a:pt x="819" y="277"/>
                  </a:lnTo>
                  <a:lnTo>
                    <a:pt x="820" y="261"/>
                  </a:lnTo>
                  <a:lnTo>
                    <a:pt x="820" y="246"/>
                  </a:lnTo>
                  <a:lnTo>
                    <a:pt x="820" y="225"/>
                  </a:lnTo>
                  <a:lnTo>
                    <a:pt x="818" y="205"/>
                  </a:lnTo>
                  <a:lnTo>
                    <a:pt x="814" y="183"/>
                  </a:lnTo>
                  <a:lnTo>
                    <a:pt x="810" y="163"/>
                  </a:lnTo>
                  <a:lnTo>
                    <a:pt x="803" y="143"/>
                  </a:lnTo>
                  <a:lnTo>
                    <a:pt x="795" y="123"/>
                  </a:lnTo>
                  <a:lnTo>
                    <a:pt x="785" y="104"/>
                  </a:lnTo>
                  <a:lnTo>
                    <a:pt x="774" y="87"/>
                  </a:lnTo>
                  <a:lnTo>
                    <a:pt x="762" y="70"/>
                  </a:lnTo>
                  <a:lnTo>
                    <a:pt x="748" y="55"/>
                  </a:lnTo>
                  <a:lnTo>
                    <a:pt x="740" y="48"/>
                  </a:lnTo>
                  <a:lnTo>
                    <a:pt x="732" y="41"/>
                  </a:lnTo>
                  <a:lnTo>
                    <a:pt x="723" y="35"/>
                  </a:lnTo>
                  <a:lnTo>
                    <a:pt x="714" y="28"/>
                  </a:lnTo>
                  <a:lnTo>
                    <a:pt x="705" y="23"/>
                  </a:lnTo>
                  <a:lnTo>
                    <a:pt x="695" y="19"/>
                  </a:lnTo>
                  <a:lnTo>
                    <a:pt x="685" y="14"/>
                  </a:lnTo>
                  <a:lnTo>
                    <a:pt x="674" y="10"/>
                  </a:lnTo>
                  <a:lnTo>
                    <a:pt x="663" y="7"/>
                  </a:lnTo>
                  <a:lnTo>
                    <a:pt x="651" y="5"/>
                  </a:lnTo>
                  <a:lnTo>
                    <a:pt x="640" y="3"/>
                  </a:lnTo>
                  <a:lnTo>
                    <a:pt x="628" y="2"/>
                  </a:lnTo>
                  <a:lnTo>
                    <a:pt x="608" y="0"/>
                  </a:lnTo>
                  <a:lnTo>
                    <a:pt x="589" y="2"/>
                  </a:lnTo>
                  <a:lnTo>
                    <a:pt x="571" y="4"/>
                  </a:lnTo>
                  <a:lnTo>
                    <a:pt x="554" y="8"/>
                  </a:lnTo>
                  <a:lnTo>
                    <a:pt x="538" y="13"/>
                  </a:lnTo>
                  <a:lnTo>
                    <a:pt x="523" y="21"/>
                  </a:lnTo>
                  <a:lnTo>
                    <a:pt x="508" y="29"/>
                  </a:lnTo>
                  <a:lnTo>
                    <a:pt x="494" y="39"/>
                  </a:lnTo>
                  <a:lnTo>
                    <a:pt x="482" y="49"/>
                  </a:lnTo>
                  <a:lnTo>
                    <a:pt x="470" y="60"/>
                  </a:lnTo>
                  <a:lnTo>
                    <a:pt x="459" y="73"/>
                  </a:lnTo>
                  <a:lnTo>
                    <a:pt x="449" y="86"/>
                  </a:lnTo>
                  <a:lnTo>
                    <a:pt x="440" y="100"/>
                  </a:lnTo>
                  <a:lnTo>
                    <a:pt x="432" y="115"/>
                  </a:lnTo>
                  <a:lnTo>
                    <a:pt x="425" y="130"/>
                  </a:lnTo>
                  <a:lnTo>
                    <a:pt x="418" y="145"/>
                  </a:lnTo>
                  <a:lnTo>
                    <a:pt x="412" y="129"/>
                  </a:lnTo>
                  <a:lnTo>
                    <a:pt x="404" y="114"/>
                  </a:lnTo>
                  <a:lnTo>
                    <a:pt x="396" y="100"/>
                  </a:lnTo>
                  <a:lnTo>
                    <a:pt x="386" y="86"/>
                  </a:lnTo>
                  <a:lnTo>
                    <a:pt x="375" y="73"/>
                  </a:lnTo>
                  <a:lnTo>
                    <a:pt x="365" y="60"/>
                  </a:lnTo>
                  <a:lnTo>
                    <a:pt x="353" y="49"/>
                  </a:lnTo>
                  <a:lnTo>
                    <a:pt x="339" y="38"/>
                  </a:lnTo>
                  <a:lnTo>
                    <a:pt x="325" y="28"/>
                  </a:lnTo>
                  <a:lnTo>
                    <a:pt x="310" y="21"/>
                  </a:lnTo>
                  <a:lnTo>
                    <a:pt x="294" y="13"/>
                  </a:lnTo>
                  <a:lnTo>
                    <a:pt x="277" y="8"/>
                  </a:lnTo>
                  <a:lnTo>
                    <a:pt x="260" y="4"/>
                  </a:lnTo>
                  <a:lnTo>
                    <a:pt x="241" y="0"/>
                  </a:lnTo>
                  <a:lnTo>
                    <a:pt x="221" y="0"/>
                  </a:lnTo>
                  <a:lnTo>
                    <a:pt x="201" y="0"/>
                  </a:lnTo>
                  <a:lnTo>
                    <a:pt x="188" y="3"/>
                  </a:lnTo>
                  <a:lnTo>
                    <a:pt x="177" y="5"/>
                  </a:lnTo>
                  <a:lnTo>
                    <a:pt x="165" y="7"/>
                  </a:lnTo>
                  <a:lnTo>
                    <a:pt x="153" y="10"/>
                  </a:lnTo>
                  <a:lnTo>
                    <a:pt x="142" y="14"/>
                  </a:lnTo>
                  <a:lnTo>
                    <a:pt x="132" y="19"/>
                  </a:lnTo>
                  <a:lnTo>
                    <a:pt x="121" y="23"/>
                  </a:lnTo>
                  <a:lnTo>
                    <a:pt x="111" y="28"/>
                  </a:lnTo>
                  <a:lnTo>
                    <a:pt x="102" y="35"/>
                  </a:lnTo>
                  <a:lnTo>
                    <a:pt x="93" y="41"/>
                  </a:lnTo>
                  <a:lnTo>
                    <a:pt x="85" y="48"/>
                  </a:lnTo>
                  <a:lnTo>
                    <a:pt x="77" y="54"/>
                  </a:lnTo>
                  <a:lnTo>
                    <a:pt x="62" y="70"/>
                  </a:lnTo>
                  <a:lnTo>
                    <a:pt x="48" y="86"/>
                  </a:lnTo>
                  <a:lnTo>
                    <a:pt x="36" y="104"/>
                  </a:lnTo>
                  <a:lnTo>
                    <a:pt x="27" y="123"/>
                  </a:lnTo>
                  <a:lnTo>
                    <a:pt x="18" y="143"/>
                  </a:lnTo>
                  <a:lnTo>
                    <a:pt x="12" y="163"/>
                  </a:lnTo>
                  <a:lnTo>
                    <a:pt x="7" y="183"/>
                  </a:lnTo>
                  <a:lnTo>
                    <a:pt x="2" y="205"/>
                  </a:lnTo>
                  <a:lnTo>
                    <a:pt x="0" y="225"/>
                  </a:lnTo>
                  <a:lnTo>
                    <a:pt x="0" y="246"/>
                  </a:lnTo>
                  <a:lnTo>
                    <a:pt x="0" y="270"/>
                  </a:lnTo>
                  <a:lnTo>
                    <a:pt x="3" y="294"/>
                  </a:lnTo>
                  <a:lnTo>
                    <a:pt x="7" y="316"/>
                  </a:lnTo>
                  <a:lnTo>
                    <a:pt x="13" y="340"/>
                  </a:lnTo>
                  <a:lnTo>
                    <a:pt x="19" y="362"/>
                  </a:lnTo>
                  <a:lnTo>
                    <a:pt x="27" y="386"/>
                  </a:lnTo>
                  <a:lnTo>
                    <a:pt x="36" y="407"/>
                  </a:lnTo>
                  <a:lnTo>
                    <a:pt x="47" y="429"/>
                  </a:lnTo>
                  <a:lnTo>
                    <a:pt x="58" y="451"/>
                  </a:lnTo>
                  <a:lnTo>
                    <a:pt x="71" y="472"/>
                  </a:lnTo>
                  <a:lnTo>
                    <a:pt x="84" y="494"/>
                  </a:lnTo>
                  <a:lnTo>
                    <a:pt x="97" y="514"/>
                  </a:lnTo>
                  <a:lnTo>
                    <a:pt x="111" y="534"/>
                  </a:lnTo>
                  <a:lnTo>
                    <a:pt x="126" y="553"/>
                  </a:lnTo>
                  <a:lnTo>
                    <a:pt x="142" y="573"/>
                  </a:lnTo>
                  <a:lnTo>
                    <a:pt x="157" y="591"/>
                  </a:lnTo>
                  <a:lnTo>
                    <a:pt x="189" y="626"/>
                  </a:lnTo>
                  <a:lnTo>
                    <a:pt x="223" y="659"/>
                  </a:lnTo>
                  <a:lnTo>
                    <a:pt x="255" y="690"/>
                  </a:lnTo>
                  <a:lnTo>
                    <a:pt x="286" y="718"/>
                  </a:lnTo>
                  <a:lnTo>
                    <a:pt x="315" y="743"/>
                  </a:lnTo>
                  <a:lnTo>
                    <a:pt x="341" y="764"/>
                  </a:lnTo>
                  <a:lnTo>
                    <a:pt x="364" y="781"/>
                  </a:lnTo>
                  <a:lnTo>
                    <a:pt x="383" y="796"/>
                  </a:lnTo>
                  <a:lnTo>
                    <a:pt x="401" y="772"/>
                  </a:lnTo>
                  <a:lnTo>
                    <a:pt x="367" y="746"/>
                  </a:lnTo>
                  <a:lnTo>
                    <a:pt x="317" y="705"/>
                  </a:lnTo>
                  <a:lnTo>
                    <a:pt x="287" y="679"/>
                  </a:lnTo>
                  <a:lnTo>
                    <a:pt x="256" y="650"/>
                  </a:lnTo>
                  <a:lnTo>
                    <a:pt x="224" y="618"/>
                  </a:lnTo>
                  <a:lnTo>
                    <a:pt x="192" y="583"/>
                  </a:lnTo>
                  <a:lnTo>
                    <a:pt x="176" y="565"/>
                  </a:lnTo>
                  <a:lnTo>
                    <a:pt x="161" y="547"/>
                  </a:lnTo>
                  <a:lnTo>
                    <a:pt x="146" y="528"/>
                  </a:lnTo>
                  <a:lnTo>
                    <a:pt x="131" y="507"/>
                  </a:lnTo>
                  <a:lnTo>
                    <a:pt x="117" y="488"/>
                  </a:lnTo>
                  <a:lnTo>
                    <a:pt x="103" y="467"/>
                  </a:lnTo>
                  <a:lnTo>
                    <a:pt x="91" y="446"/>
                  </a:lnTo>
                  <a:lnTo>
                    <a:pt x="79" y="425"/>
                  </a:lnTo>
                  <a:lnTo>
                    <a:pt x="69" y="404"/>
                  </a:lnTo>
                  <a:lnTo>
                    <a:pt x="59" y="381"/>
                  </a:lnTo>
                  <a:lnTo>
                    <a:pt x="50" y="360"/>
                  </a:lnTo>
                  <a:lnTo>
                    <a:pt x="43" y="337"/>
                  </a:lnTo>
                  <a:lnTo>
                    <a:pt x="38" y="315"/>
                  </a:lnTo>
                  <a:lnTo>
                    <a:pt x="33" y="291"/>
                  </a:lnTo>
                  <a:lnTo>
                    <a:pt x="30" y="269"/>
                  </a:lnTo>
                  <a:lnTo>
                    <a:pt x="30" y="246"/>
                  </a:lnTo>
                  <a:lnTo>
                    <a:pt x="30" y="221"/>
                  </a:lnTo>
                  <a:lnTo>
                    <a:pt x="33" y="197"/>
                  </a:lnTo>
                  <a:lnTo>
                    <a:pt x="39" y="175"/>
                  </a:lnTo>
                  <a:lnTo>
                    <a:pt x="45" y="154"/>
                  </a:lnTo>
                  <a:lnTo>
                    <a:pt x="53" y="136"/>
                  </a:lnTo>
                  <a:lnTo>
                    <a:pt x="62" y="119"/>
                  </a:lnTo>
                  <a:lnTo>
                    <a:pt x="73" y="103"/>
                  </a:lnTo>
                  <a:lnTo>
                    <a:pt x="85" y="89"/>
                  </a:lnTo>
                  <a:lnTo>
                    <a:pt x="97" y="76"/>
                  </a:lnTo>
                  <a:lnTo>
                    <a:pt x="110" y="66"/>
                  </a:lnTo>
                  <a:lnTo>
                    <a:pt x="125" y="56"/>
                  </a:lnTo>
                  <a:lnTo>
                    <a:pt x="140" y="48"/>
                  </a:lnTo>
                  <a:lnTo>
                    <a:pt x="155" y="41"/>
                  </a:lnTo>
                  <a:lnTo>
                    <a:pt x="171" y="36"/>
                  </a:lnTo>
                  <a:lnTo>
                    <a:pt x="187" y="33"/>
                  </a:lnTo>
                  <a:lnTo>
                    <a:pt x="203" y="30"/>
                  </a:lnTo>
                  <a:lnTo>
                    <a:pt x="219" y="30"/>
                  </a:lnTo>
                  <a:lnTo>
                    <a:pt x="235" y="30"/>
                  </a:lnTo>
                  <a:lnTo>
                    <a:pt x="251" y="33"/>
                  </a:lnTo>
                  <a:lnTo>
                    <a:pt x="267" y="37"/>
                  </a:lnTo>
                  <a:lnTo>
                    <a:pt x="282" y="41"/>
                  </a:lnTo>
                  <a:lnTo>
                    <a:pt x="298" y="49"/>
                  </a:lnTo>
                  <a:lnTo>
                    <a:pt x="312" y="56"/>
                  </a:lnTo>
                  <a:lnTo>
                    <a:pt x="327" y="66"/>
                  </a:lnTo>
                  <a:lnTo>
                    <a:pt x="340" y="77"/>
                  </a:lnTo>
                  <a:lnTo>
                    <a:pt x="353" y="90"/>
                  </a:lnTo>
                  <a:lnTo>
                    <a:pt x="365" y="105"/>
                  </a:lnTo>
                  <a:lnTo>
                    <a:pt x="375" y="121"/>
                  </a:lnTo>
                  <a:lnTo>
                    <a:pt x="384" y="140"/>
                  </a:lnTo>
                  <a:lnTo>
                    <a:pt x="393" y="159"/>
                  </a:lnTo>
                  <a:lnTo>
                    <a:pt x="399" y="180"/>
                  </a:lnTo>
                  <a:lnTo>
                    <a:pt x="403" y="204"/>
                  </a:lnTo>
                  <a:lnTo>
                    <a:pt x="405" y="209"/>
                  </a:lnTo>
                  <a:lnTo>
                    <a:pt x="409" y="212"/>
                  </a:lnTo>
                  <a:lnTo>
                    <a:pt x="413" y="215"/>
                  </a:lnTo>
                  <a:lnTo>
                    <a:pt x="418" y="217"/>
                  </a:lnTo>
                  <a:lnTo>
                    <a:pt x="424" y="215"/>
                  </a:lnTo>
                  <a:lnTo>
                    <a:pt x="428" y="212"/>
                  </a:lnTo>
                  <a:lnTo>
                    <a:pt x="431" y="209"/>
                  </a:lnTo>
                  <a:lnTo>
                    <a:pt x="433" y="204"/>
                  </a:lnTo>
                  <a:lnTo>
                    <a:pt x="437" y="180"/>
                  </a:lnTo>
                  <a:lnTo>
                    <a:pt x="444" y="159"/>
                  </a:lnTo>
                  <a:lnTo>
                    <a:pt x="451" y="140"/>
                  </a:lnTo>
                  <a:lnTo>
                    <a:pt x="461" y="121"/>
                  </a:lnTo>
                  <a:lnTo>
                    <a:pt x="471" y="105"/>
                  </a:lnTo>
                  <a:lnTo>
                    <a:pt x="482" y="90"/>
                  </a:lnTo>
                  <a:lnTo>
                    <a:pt x="494" y="77"/>
                  </a:lnTo>
                  <a:lnTo>
                    <a:pt x="507" y="67"/>
                  </a:lnTo>
                  <a:lnTo>
                    <a:pt x="521" y="57"/>
                  </a:lnTo>
                  <a:lnTo>
                    <a:pt x="535" y="49"/>
                  </a:lnTo>
                  <a:lnTo>
                    <a:pt x="549" y="42"/>
                  </a:lnTo>
                  <a:lnTo>
                    <a:pt x="564" y="37"/>
                  </a:lnTo>
                  <a:lnTo>
                    <a:pt x="580" y="34"/>
                  </a:lnTo>
                  <a:lnTo>
                    <a:pt x="595" y="32"/>
                  </a:lnTo>
                  <a:lnTo>
                    <a:pt x="610" y="30"/>
                  </a:lnTo>
                  <a:lnTo>
                    <a:pt x="625" y="30"/>
                  </a:lnTo>
                  <a:lnTo>
                    <a:pt x="62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56" name="Group 115">
            <a:extLst>
              <a:ext uri="{FF2B5EF4-FFF2-40B4-BE49-F238E27FC236}">
                <a16:creationId xmlns:a16="http://schemas.microsoft.com/office/drawing/2014/main" id="{CCA478A1-D43D-4312-AA2D-28D81974B886}"/>
              </a:ext>
            </a:extLst>
          </p:cNvPr>
          <p:cNvGrpSpPr>
            <a:grpSpLocks noChangeAspect="1"/>
          </p:cNvGrpSpPr>
          <p:nvPr/>
        </p:nvGrpSpPr>
        <p:grpSpPr>
          <a:xfrm>
            <a:off x="1898777" y="3256152"/>
            <a:ext cx="275840" cy="306488"/>
            <a:chOff x="7037388" y="1346200"/>
            <a:chExt cx="257175" cy="285750"/>
          </a:xfrm>
          <a:solidFill>
            <a:schemeClr val="bg1"/>
          </a:solidFill>
        </p:grpSpPr>
        <p:sp>
          <p:nvSpPr>
            <p:cNvPr id="1057" name="Freeform 422">
              <a:extLst>
                <a:ext uri="{FF2B5EF4-FFF2-40B4-BE49-F238E27FC236}">
                  <a16:creationId xmlns:a16="http://schemas.microsoft.com/office/drawing/2014/main" id="{C9E6501C-A5B3-4C37-9DEB-256AA71ECC0E}"/>
                </a:ext>
              </a:extLst>
            </p:cNvPr>
            <p:cNvSpPr>
              <a:spLocks noEditPoints="1"/>
            </p:cNvSpPr>
            <p:nvPr/>
          </p:nvSpPr>
          <p:spPr bwMode="auto">
            <a:xfrm>
              <a:off x="7037388" y="1422400"/>
              <a:ext cx="257175" cy="209550"/>
            </a:xfrm>
            <a:custGeom>
              <a:avLst/>
              <a:gdLst>
                <a:gd name="T0" fmla="*/ 90 w 810"/>
                <a:gd name="T1" fmla="*/ 630 h 660"/>
                <a:gd name="T2" fmla="*/ 67 w 810"/>
                <a:gd name="T3" fmla="*/ 626 h 660"/>
                <a:gd name="T4" fmla="*/ 48 w 810"/>
                <a:gd name="T5" fmla="*/ 615 h 660"/>
                <a:gd name="T6" fmla="*/ 35 w 810"/>
                <a:gd name="T7" fmla="*/ 598 h 660"/>
                <a:gd name="T8" fmla="*/ 32 w 810"/>
                <a:gd name="T9" fmla="*/ 587 h 660"/>
                <a:gd name="T10" fmla="*/ 30 w 810"/>
                <a:gd name="T11" fmla="*/ 576 h 660"/>
                <a:gd name="T12" fmla="*/ 631 w 810"/>
                <a:gd name="T13" fmla="*/ 390 h 660"/>
                <a:gd name="T14" fmla="*/ 778 w 810"/>
                <a:gd name="T15" fmla="*/ 587 h 660"/>
                <a:gd name="T16" fmla="*/ 768 w 810"/>
                <a:gd name="T17" fmla="*/ 607 h 660"/>
                <a:gd name="T18" fmla="*/ 752 w 810"/>
                <a:gd name="T19" fmla="*/ 621 h 660"/>
                <a:gd name="T20" fmla="*/ 732 w 810"/>
                <a:gd name="T21" fmla="*/ 629 h 660"/>
                <a:gd name="T22" fmla="*/ 326 w 810"/>
                <a:gd name="T23" fmla="*/ 205 h 660"/>
                <a:gd name="T24" fmla="*/ 329 w 810"/>
                <a:gd name="T25" fmla="*/ 196 h 660"/>
                <a:gd name="T26" fmla="*/ 479 w 810"/>
                <a:gd name="T27" fmla="*/ 30 h 660"/>
                <a:gd name="T28" fmla="*/ 480 w 810"/>
                <a:gd name="T29" fmla="*/ 201 h 660"/>
                <a:gd name="T30" fmla="*/ 608 w 810"/>
                <a:gd name="T31" fmla="*/ 360 h 660"/>
                <a:gd name="T32" fmla="*/ 326 w 810"/>
                <a:gd name="T33" fmla="*/ 205 h 660"/>
                <a:gd name="T34" fmla="*/ 509 w 810"/>
                <a:gd name="T35" fmla="*/ 190 h 660"/>
                <a:gd name="T36" fmla="*/ 539 w 810"/>
                <a:gd name="T37" fmla="*/ 30 h 660"/>
                <a:gd name="T38" fmla="*/ 546 w 810"/>
                <a:gd name="T39" fmla="*/ 29 h 660"/>
                <a:gd name="T40" fmla="*/ 550 w 810"/>
                <a:gd name="T41" fmla="*/ 25 h 660"/>
                <a:gd name="T42" fmla="*/ 553 w 810"/>
                <a:gd name="T43" fmla="*/ 21 h 660"/>
                <a:gd name="T44" fmla="*/ 554 w 810"/>
                <a:gd name="T45" fmla="*/ 15 h 660"/>
                <a:gd name="T46" fmla="*/ 553 w 810"/>
                <a:gd name="T47" fmla="*/ 9 h 660"/>
                <a:gd name="T48" fmla="*/ 550 w 810"/>
                <a:gd name="T49" fmla="*/ 5 h 660"/>
                <a:gd name="T50" fmla="*/ 546 w 810"/>
                <a:gd name="T51" fmla="*/ 1 h 660"/>
                <a:gd name="T52" fmla="*/ 539 w 810"/>
                <a:gd name="T53" fmla="*/ 0 h 660"/>
                <a:gd name="T54" fmla="*/ 314 w 810"/>
                <a:gd name="T55" fmla="*/ 0 h 660"/>
                <a:gd name="T56" fmla="*/ 266 w 810"/>
                <a:gd name="T57" fmla="*/ 1 h 660"/>
                <a:gd name="T58" fmla="*/ 261 w 810"/>
                <a:gd name="T59" fmla="*/ 3 h 660"/>
                <a:gd name="T60" fmla="*/ 257 w 810"/>
                <a:gd name="T61" fmla="*/ 7 h 660"/>
                <a:gd name="T62" fmla="*/ 254 w 810"/>
                <a:gd name="T63" fmla="*/ 13 h 660"/>
                <a:gd name="T64" fmla="*/ 254 w 810"/>
                <a:gd name="T65" fmla="*/ 18 h 660"/>
                <a:gd name="T66" fmla="*/ 257 w 810"/>
                <a:gd name="T67" fmla="*/ 23 h 660"/>
                <a:gd name="T68" fmla="*/ 261 w 810"/>
                <a:gd name="T69" fmla="*/ 28 h 660"/>
                <a:gd name="T70" fmla="*/ 266 w 810"/>
                <a:gd name="T71" fmla="*/ 30 h 660"/>
                <a:gd name="T72" fmla="*/ 299 w 810"/>
                <a:gd name="T73" fmla="*/ 30 h 660"/>
                <a:gd name="T74" fmla="*/ 3 w 810"/>
                <a:gd name="T75" fmla="*/ 561 h 660"/>
                <a:gd name="T76" fmla="*/ 0 w 810"/>
                <a:gd name="T77" fmla="*/ 570 h 660"/>
                <a:gd name="T78" fmla="*/ 1 w 810"/>
                <a:gd name="T79" fmla="*/ 588 h 660"/>
                <a:gd name="T80" fmla="*/ 6 w 810"/>
                <a:gd name="T81" fmla="*/ 605 h 660"/>
                <a:gd name="T82" fmla="*/ 15 w 810"/>
                <a:gd name="T83" fmla="*/ 620 h 660"/>
                <a:gd name="T84" fmla="*/ 26 w 810"/>
                <a:gd name="T85" fmla="*/ 634 h 660"/>
                <a:gd name="T86" fmla="*/ 39 w 810"/>
                <a:gd name="T87" fmla="*/ 645 h 660"/>
                <a:gd name="T88" fmla="*/ 54 w 810"/>
                <a:gd name="T89" fmla="*/ 653 h 660"/>
                <a:gd name="T90" fmla="*/ 72 w 810"/>
                <a:gd name="T91" fmla="*/ 659 h 660"/>
                <a:gd name="T92" fmla="*/ 90 w 810"/>
                <a:gd name="T93" fmla="*/ 660 h 660"/>
                <a:gd name="T94" fmla="*/ 728 w 810"/>
                <a:gd name="T95" fmla="*/ 660 h 660"/>
                <a:gd name="T96" fmla="*/ 747 w 810"/>
                <a:gd name="T97" fmla="*/ 657 h 660"/>
                <a:gd name="T98" fmla="*/ 763 w 810"/>
                <a:gd name="T99" fmla="*/ 649 h 660"/>
                <a:gd name="T100" fmla="*/ 777 w 810"/>
                <a:gd name="T101" fmla="*/ 639 h 660"/>
                <a:gd name="T102" fmla="*/ 789 w 810"/>
                <a:gd name="T103" fmla="*/ 628 h 660"/>
                <a:gd name="T104" fmla="*/ 799 w 810"/>
                <a:gd name="T105" fmla="*/ 614 h 660"/>
                <a:gd name="T106" fmla="*/ 806 w 810"/>
                <a:gd name="T107" fmla="*/ 598 h 660"/>
                <a:gd name="T108" fmla="*/ 809 w 810"/>
                <a:gd name="T109" fmla="*/ 580 h 660"/>
                <a:gd name="T110" fmla="*/ 809 w 810"/>
                <a:gd name="T111" fmla="*/ 56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0" h="660">
                  <a:moveTo>
                    <a:pt x="720" y="630"/>
                  </a:moveTo>
                  <a:lnTo>
                    <a:pt x="90" y="630"/>
                  </a:lnTo>
                  <a:lnTo>
                    <a:pt x="78" y="629"/>
                  </a:lnTo>
                  <a:lnTo>
                    <a:pt x="67" y="626"/>
                  </a:lnTo>
                  <a:lnTo>
                    <a:pt x="57" y="621"/>
                  </a:lnTo>
                  <a:lnTo>
                    <a:pt x="48" y="615"/>
                  </a:lnTo>
                  <a:lnTo>
                    <a:pt x="42" y="607"/>
                  </a:lnTo>
                  <a:lnTo>
                    <a:pt x="35" y="598"/>
                  </a:lnTo>
                  <a:lnTo>
                    <a:pt x="33" y="592"/>
                  </a:lnTo>
                  <a:lnTo>
                    <a:pt x="32" y="587"/>
                  </a:lnTo>
                  <a:lnTo>
                    <a:pt x="30" y="582"/>
                  </a:lnTo>
                  <a:lnTo>
                    <a:pt x="30" y="576"/>
                  </a:lnTo>
                  <a:lnTo>
                    <a:pt x="177" y="390"/>
                  </a:lnTo>
                  <a:lnTo>
                    <a:pt x="631" y="390"/>
                  </a:lnTo>
                  <a:lnTo>
                    <a:pt x="780" y="576"/>
                  </a:lnTo>
                  <a:lnTo>
                    <a:pt x="778" y="587"/>
                  </a:lnTo>
                  <a:lnTo>
                    <a:pt x="773" y="598"/>
                  </a:lnTo>
                  <a:lnTo>
                    <a:pt x="768" y="607"/>
                  </a:lnTo>
                  <a:lnTo>
                    <a:pt x="761" y="615"/>
                  </a:lnTo>
                  <a:lnTo>
                    <a:pt x="752" y="621"/>
                  </a:lnTo>
                  <a:lnTo>
                    <a:pt x="742" y="626"/>
                  </a:lnTo>
                  <a:lnTo>
                    <a:pt x="732" y="629"/>
                  </a:lnTo>
                  <a:lnTo>
                    <a:pt x="720" y="630"/>
                  </a:lnTo>
                  <a:close/>
                  <a:moveTo>
                    <a:pt x="326" y="205"/>
                  </a:moveTo>
                  <a:lnTo>
                    <a:pt x="328" y="201"/>
                  </a:lnTo>
                  <a:lnTo>
                    <a:pt x="329" y="196"/>
                  </a:lnTo>
                  <a:lnTo>
                    <a:pt x="329" y="30"/>
                  </a:lnTo>
                  <a:lnTo>
                    <a:pt x="479" y="30"/>
                  </a:lnTo>
                  <a:lnTo>
                    <a:pt x="479" y="196"/>
                  </a:lnTo>
                  <a:lnTo>
                    <a:pt x="480" y="201"/>
                  </a:lnTo>
                  <a:lnTo>
                    <a:pt x="482" y="205"/>
                  </a:lnTo>
                  <a:lnTo>
                    <a:pt x="608" y="360"/>
                  </a:lnTo>
                  <a:lnTo>
                    <a:pt x="202" y="360"/>
                  </a:lnTo>
                  <a:lnTo>
                    <a:pt x="326" y="205"/>
                  </a:lnTo>
                  <a:close/>
                  <a:moveTo>
                    <a:pt x="807" y="561"/>
                  </a:moveTo>
                  <a:lnTo>
                    <a:pt x="509" y="190"/>
                  </a:lnTo>
                  <a:lnTo>
                    <a:pt x="509" y="30"/>
                  </a:lnTo>
                  <a:lnTo>
                    <a:pt x="539" y="30"/>
                  </a:lnTo>
                  <a:lnTo>
                    <a:pt x="542" y="30"/>
                  </a:lnTo>
                  <a:lnTo>
                    <a:pt x="546" y="29"/>
                  </a:lnTo>
                  <a:lnTo>
                    <a:pt x="548" y="28"/>
                  </a:lnTo>
                  <a:lnTo>
                    <a:pt x="550" y="25"/>
                  </a:lnTo>
                  <a:lnTo>
                    <a:pt x="552" y="23"/>
                  </a:lnTo>
                  <a:lnTo>
                    <a:pt x="553" y="21"/>
                  </a:lnTo>
                  <a:lnTo>
                    <a:pt x="554" y="18"/>
                  </a:lnTo>
                  <a:lnTo>
                    <a:pt x="554" y="15"/>
                  </a:lnTo>
                  <a:lnTo>
                    <a:pt x="554" y="13"/>
                  </a:lnTo>
                  <a:lnTo>
                    <a:pt x="553" y="9"/>
                  </a:lnTo>
                  <a:lnTo>
                    <a:pt x="552" y="7"/>
                  </a:lnTo>
                  <a:lnTo>
                    <a:pt x="550" y="5"/>
                  </a:lnTo>
                  <a:lnTo>
                    <a:pt x="548" y="3"/>
                  </a:lnTo>
                  <a:lnTo>
                    <a:pt x="546" y="1"/>
                  </a:lnTo>
                  <a:lnTo>
                    <a:pt x="542" y="1"/>
                  </a:lnTo>
                  <a:lnTo>
                    <a:pt x="539" y="0"/>
                  </a:lnTo>
                  <a:lnTo>
                    <a:pt x="494" y="0"/>
                  </a:lnTo>
                  <a:lnTo>
                    <a:pt x="314" y="0"/>
                  </a:lnTo>
                  <a:lnTo>
                    <a:pt x="269" y="0"/>
                  </a:lnTo>
                  <a:lnTo>
                    <a:pt x="266" y="1"/>
                  </a:lnTo>
                  <a:lnTo>
                    <a:pt x="264" y="1"/>
                  </a:lnTo>
                  <a:lnTo>
                    <a:pt x="261" y="3"/>
                  </a:lnTo>
                  <a:lnTo>
                    <a:pt x="259" y="5"/>
                  </a:lnTo>
                  <a:lnTo>
                    <a:pt x="257" y="7"/>
                  </a:lnTo>
                  <a:lnTo>
                    <a:pt x="256" y="9"/>
                  </a:lnTo>
                  <a:lnTo>
                    <a:pt x="254" y="13"/>
                  </a:lnTo>
                  <a:lnTo>
                    <a:pt x="254" y="15"/>
                  </a:lnTo>
                  <a:lnTo>
                    <a:pt x="254" y="18"/>
                  </a:lnTo>
                  <a:lnTo>
                    <a:pt x="256" y="21"/>
                  </a:lnTo>
                  <a:lnTo>
                    <a:pt x="257" y="23"/>
                  </a:lnTo>
                  <a:lnTo>
                    <a:pt x="259" y="25"/>
                  </a:lnTo>
                  <a:lnTo>
                    <a:pt x="261" y="28"/>
                  </a:lnTo>
                  <a:lnTo>
                    <a:pt x="264" y="29"/>
                  </a:lnTo>
                  <a:lnTo>
                    <a:pt x="266" y="30"/>
                  </a:lnTo>
                  <a:lnTo>
                    <a:pt x="269" y="30"/>
                  </a:lnTo>
                  <a:lnTo>
                    <a:pt x="299" y="30"/>
                  </a:lnTo>
                  <a:lnTo>
                    <a:pt x="299" y="190"/>
                  </a:lnTo>
                  <a:lnTo>
                    <a:pt x="3" y="561"/>
                  </a:lnTo>
                  <a:lnTo>
                    <a:pt x="0" y="566"/>
                  </a:lnTo>
                  <a:lnTo>
                    <a:pt x="0" y="570"/>
                  </a:lnTo>
                  <a:lnTo>
                    <a:pt x="0" y="580"/>
                  </a:lnTo>
                  <a:lnTo>
                    <a:pt x="1" y="588"/>
                  </a:lnTo>
                  <a:lnTo>
                    <a:pt x="3" y="597"/>
                  </a:lnTo>
                  <a:lnTo>
                    <a:pt x="6" y="605"/>
                  </a:lnTo>
                  <a:lnTo>
                    <a:pt x="11" y="613"/>
                  </a:lnTo>
                  <a:lnTo>
                    <a:pt x="15" y="620"/>
                  </a:lnTo>
                  <a:lnTo>
                    <a:pt x="20" y="628"/>
                  </a:lnTo>
                  <a:lnTo>
                    <a:pt x="26" y="634"/>
                  </a:lnTo>
                  <a:lnTo>
                    <a:pt x="32" y="639"/>
                  </a:lnTo>
                  <a:lnTo>
                    <a:pt x="39" y="645"/>
                  </a:lnTo>
                  <a:lnTo>
                    <a:pt x="47" y="649"/>
                  </a:lnTo>
                  <a:lnTo>
                    <a:pt x="54" y="653"/>
                  </a:lnTo>
                  <a:lnTo>
                    <a:pt x="63" y="655"/>
                  </a:lnTo>
                  <a:lnTo>
                    <a:pt x="72" y="659"/>
                  </a:lnTo>
                  <a:lnTo>
                    <a:pt x="80" y="660"/>
                  </a:lnTo>
                  <a:lnTo>
                    <a:pt x="90" y="660"/>
                  </a:lnTo>
                  <a:lnTo>
                    <a:pt x="720" y="660"/>
                  </a:lnTo>
                  <a:lnTo>
                    <a:pt x="728" y="660"/>
                  </a:lnTo>
                  <a:lnTo>
                    <a:pt x="738" y="659"/>
                  </a:lnTo>
                  <a:lnTo>
                    <a:pt x="747" y="657"/>
                  </a:lnTo>
                  <a:lnTo>
                    <a:pt x="755" y="653"/>
                  </a:lnTo>
                  <a:lnTo>
                    <a:pt x="763" y="649"/>
                  </a:lnTo>
                  <a:lnTo>
                    <a:pt x="770" y="645"/>
                  </a:lnTo>
                  <a:lnTo>
                    <a:pt x="777" y="639"/>
                  </a:lnTo>
                  <a:lnTo>
                    <a:pt x="783" y="634"/>
                  </a:lnTo>
                  <a:lnTo>
                    <a:pt x="789" y="628"/>
                  </a:lnTo>
                  <a:lnTo>
                    <a:pt x="795" y="621"/>
                  </a:lnTo>
                  <a:lnTo>
                    <a:pt x="799" y="614"/>
                  </a:lnTo>
                  <a:lnTo>
                    <a:pt x="802" y="605"/>
                  </a:lnTo>
                  <a:lnTo>
                    <a:pt x="806" y="598"/>
                  </a:lnTo>
                  <a:lnTo>
                    <a:pt x="808" y="588"/>
                  </a:lnTo>
                  <a:lnTo>
                    <a:pt x="809" y="580"/>
                  </a:lnTo>
                  <a:lnTo>
                    <a:pt x="810" y="570"/>
                  </a:lnTo>
                  <a:lnTo>
                    <a:pt x="809" y="566"/>
                  </a:lnTo>
                  <a:lnTo>
                    <a:pt x="807" y="5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423">
              <a:extLst>
                <a:ext uri="{FF2B5EF4-FFF2-40B4-BE49-F238E27FC236}">
                  <a16:creationId xmlns:a16="http://schemas.microsoft.com/office/drawing/2014/main" id="{047B1CC7-064A-4ED2-8526-2011BA3E8041}"/>
                </a:ext>
              </a:extLst>
            </p:cNvPr>
            <p:cNvSpPr>
              <a:spLocks noEditPoints="1"/>
            </p:cNvSpPr>
            <p:nvPr/>
          </p:nvSpPr>
          <p:spPr bwMode="auto">
            <a:xfrm>
              <a:off x="7075488" y="1365250"/>
              <a:ext cx="38100" cy="38100"/>
            </a:xfrm>
            <a:custGeom>
              <a:avLst/>
              <a:gdLst>
                <a:gd name="T0" fmla="*/ 65 w 120"/>
                <a:gd name="T1" fmla="*/ 31 h 120"/>
                <a:gd name="T2" fmla="*/ 76 w 120"/>
                <a:gd name="T3" fmla="*/ 35 h 120"/>
                <a:gd name="T4" fmla="*/ 84 w 120"/>
                <a:gd name="T5" fmla="*/ 43 h 120"/>
                <a:gd name="T6" fmla="*/ 88 w 120"/>
                <a:gd name="T7" fmla="*/ 54 h 120"/>
                <a:gd name="T8" fmla="*/ 88 w 120"/>
                <a:gd name="T9" fmla="*/ 66 h 120"/>
                <a:gd name="T10" fmla="*/ 84 w 120"/>
                <a:gd name="T11" fmla="*/ 77 h 120"/>
                <a:gd name="T12" fmla="*/ 76 w 120"/>
                <a:gd name="T13" fmla="*/ 85 h 120"/>
                <a:gd name="T14" fmla="*/ 65 w 120"/>
                <a:gd name="T15" fmla="*/ 90 h 120"/>
                <a:gd name="T16" fmla="*/ 53 w 120"/>
                <a:gd name="T17" fmla="*/ 90 h 120"/>
                <a:gd name="T18" fmla="*/ 42 w 120"/>
                <a:gd name="T19" fmla="*/ 85 h 120"/>
                <a:gd name="T20" fmla="*/ 35 w 120"/>
                <a:gd name="T21" fmla="*/ 77 h 120"/>
                <a:gd name="T22" fmla="*/ 30 w 120"/>
                <a:gd name="T23" fmla="*/ 66 h 120"/>
                <a:gd name="T24" fmla="*/ 30 w 120"/>
                <a:gd name="T25" fmla="*/ 54 h 120"/>
                <a:gd name="T26" fmla="*/ 35 w 120"/>
                <a:gd name="T27" fmla="*/ 43 h 120"/>
                <a:gd name="T28" fmla="*/ 42 w 120"/>
                <a:gd name="T29" fmla="*/ 35 h 120"/>
                <a:gd name="T30" fmla="*/ 53 w 120"/>
                <a:gd name="T31" fmla="*/ 31 h 120"/>
                <a:gd name="T32" fmla="*/ 60 w 120"/>
                <a:gd name="T33" fmla="*/ 120 h 120"/>
                <a:gd name="T34" fmla="*/ 71 w 120"/>
                <a:gd name="T35" fmla="*/ 119 h 120"/>
                <a:gd name="T36" fmla="*/ 83 w 120"/>
                <a:gd name="T37" fmla="*/ 116 h 120"/>
                <a:gd name="T38" fmla="*/ 93 w 120"/>
                <a:gd name="T39" fmla="*/ 110 h 120"/>
                <a:gd name="T40" fmla="*/ 101 w 120"/>
                <a:gd name="T41" fmla="*/ 103 h 120"/>
                <a:gd name="T42" fmla="*/ 109 w 120"/>
                <a:gd name="T43" fmla="*/ 93 h 120"/>
                <a:gd name="T44" fmla="*/ 115 w 120"/>
                <a:gd name="T45" fmla="*/ 83 h 120"/>
                <a:gd name="T46" fmla="*/ 118 w 120"/>
                <a:gd name="T47" fmla="*/ 72 h 120"/>
                <a:gd name="T48" fmla="*/ 120 w 120"/>
                <a:gd name="T49" fmla="*/ 60 h 120"/>
                <a:gd name="T50" fmla="*/ 118 w 120"/>
                <a:gd name="T51" fmla="*/ 48 h 120"/>
                <a:gd name="T52" fmla="*/ 115 w 120"/>
                <a:gd name="T53" fmla="*/ 36 h 120"/>
                <a:gd name="T54" fmla="*/ 109 w 120"/>
                <a:gd name="T55" fmla="*/ 27 h 120"/>
                <a:gd name="T56" fmla="*/ 101 w 120"/>
                <a:gd name="T57" fmla="*/ 17 h 120"/>
                <a:gd name="T58" fmla="*/ 93 w 120"/>
                <a:gd name="T59" fmla="*/ 11 h 120"/>
                <a:gd name="T60" fmla="*/ 83 w 120"/>
                <a:gd name="T61" fmla="*/ 4 h 120"/>
                <a:gd name="T62" fmla="*/ 71 w 120"/>
                <a:gd name="T63" fmla="*/ 1 h 120"/>
                <a:gd name="T64" fmla="*/ 60 w 120"/>
                <a:gd name="T65" fmla="*/ 0 h 120"/>
                <a:gd name="T66" fmla="*/ 48 w 120"/>
                <a:gd name="T67" fmla="*/ 1 h 120"/>
                <a:gd name="T68" fmla="*/ 36 w 120"/>
                <a:gd name="T69" fmla="*/ 4 h 120"/>
                <a:gd name="T70" fmla="*/ 25 w 120"/>
                <a:gd name="T71" fmla="*/ 11 h 120"/>
                <a:gd name="T72" fmla="*/ 17 w 120"/>
                <a:gd name="T73" fmla="*/ 17 h 120"/>
                <a:gd name="T74" fmla="*/ 9 w 120"/>
                <a:gd name="T75" fmla="*/ 27 h 120"/>
                <a:gd name="T76" fmla="*/ 4 w 120"/>
                <a:gd name="T77" fmla="*/ 36 h 120"/>
                <a:gd name="T78" fmla="*/ 1 w 120"/>
                <a:gd name="T79" fmla="*/ 48 h 120"/>
                <a:gd name="T80" fmla="*/ 0 w 120"/>
                <a:gd name="T81" fmla="*/ 60 h 120"/>
                <a:gd name="T82" fmla="*/ 1 w 120"/>
                <a:gd name="T83" fmla="*/ 72 h 120"/>
                <a:gd name="T84" fmla="*/ 4 w 120"/>
                <a:gd name="T85" fmla="*/ 83 h 120"/>
                <a:gd name="T86" fmla="*/ 9 w 120"/>
                <a:gd name="T87" fmla="*/ 93 h 120"/>
                <a:gd name="T88" fmla="*/ 17 w 120"/>
                <a:gd name="T89" fmla="*/ 103 h 120"/>
                <a:gd name="T90" fmla="*/ 25 w 120"/>
                <a:gd name="T91" fmla="*/ 110 h 120"/>
                <a:gd name="T92" fmla="*/ 36 w 120"/>
                <a:gd name="T93" fmla="*/ 116 h 120"/>
                <a:gd name="T94" fmla="*/ 48 w 120"/>
                <a:gd name="T95" fmla="*/ 119 h 120"/>
                <a:gd name="T96" fmla="*/ 60 w 120"/>
                <a:gd name="T9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20">
                  <a:moveTo>
                    <a:pt x="60" y="30"/>
                  </a:moveTo>
                  <a:lnTo>
                    <a:pt x="65" y="31"/>
                  </a:lnTo>
                  <a:lnTo>
                    <a:pt x="71" y="32"/>
                  </a:lnTo>
                  <a:lnTo>
                    <a:pt x="76" y="35"/>
                  </a:lnTo>
                  <a:lnTo>
                    <a:pt x="81" y="39"/>
                  </a:lnTo>
                  <a:lnTo>
                    <a:pt x="84" y="43"/>
                  </a:lnTo>
                  <a:lnTo>
                    <a:pt x="87" y="48"/>
                  </a:lnTo>
                  <a:lnTo>
                    <a:pt x="88" y="54"/>
                  </a:lnTo>
                  <a:lnTo>
                    <a:pt x="90" y="60"/>
                  </a:lnTo>
                  <a:lnTo>
                    <a:pt x="88" y="66"/>
                  </a:lnTo>
                  <a:lnTo>
                    <a:pt x="87" y="72"/>
                  </a:lnTo>
                  <a:lnTo>
                    <a:pt x="84" y="77"/>
                  </a:lnTo>
                  <a:lnTo>
                    <a:pt x="81" y="81"/>
                  </a:lnTo>
                  <a:lnTo>
                    <a:pt x="76" y="85"/>
                  </a:lnTo>
                  <a:lnTo>
                    <a:pt x="71" y="88"/>
                  </a:lnTo>
                  <a:lnTo>
                    <a:pt x="65" y="90"/>
                  </a:lnTo>
                  <a:lnTo>
                    <a:pt x="60" y="90"/>
                  </a:lnTo>
                  <a:lnTo>
                    <a:pt x="53" y="90"/>
                  </a:lnTo>
                  <a:lnTo>
                    <a:pt x="48" y="88"/>
                  </a:lnTo>
                  <a:lnTo>
                    <a:pt x="42" y="85"/>
                  </a:lnTo>
                  <a:lnTo>
                    <a:pt x="38" y="81"/>
                  </a:lnTo>
                  <a:lnTo>
                    <a:pt x="35" y="77"/>
                  </a:lnTo>
                  <a:lnTo>
                    <a:pt x="32" y="72"/>
                  </a:lnTo>
                  <a:lnTo>
                    <a:pt x="30" y="66"/>
                  </a:lnTo>
                  <a:lnTo>
                    <a:pt x="30" y="60"/>
                  </a:lnTo>
                  <a:lnTo>
                    <a:pt x="30" y="54"/>
                  </a:lnTo>
                  <a:lnTo>
                    <a:pt x="32" y="48"/>
                  </a:lnTo>
                  <a:lnTo>
                    <a:pt x="35" y="43"/>
                  </a:lnTo>
                  <a:lnTo>
                    <a:pt x="38" y="39"/>
                  </a:lnTo>
                  <a:lnTo>
                    <a:pt x="42" y="35"/>
                  </a:lnTo>
                  <a:lnTo>
                    <a:pt x="48" y="32"/>
                  </a:lnTo>
                  <a:lnTo>
                    <a:pt x="53" y="31"/>
                  </a:lnTo>
                  <a:lnTo>
                    <a:pt x="60" y="30"/>
                  </a:lnTo>
                  <a:close/>
                  <a:moveTo>
                    <a:pt x="60" y="120"/>
                  </a:moveTo>
                  <a:lnTo>
                    <a:pt x="66" y="120"/>
                  </a:lnTo>
                  <a:lnTo>
                    <a:pt x="71" y="119"/>
                  </a:lnTo>
                  <a:lnTo>
                    <a:pt x="78" y="118"/>
                  </a:lnTo>
                  <a:lnTo>
                    <a:pt x="83" y="116"/>
                  </a:lnTo>
                  <a:lnTo>
                    <a:pt x="88" y="112"/>
                  </a:lnTo>
                  <a:lnTo>
                    <a:pt x="93" y="110"/>
                  </a:lnTo>
                  <a:lnTo>
                    <a:pt x="98" y="106"/>
                  </a:lnTo>
                  <a:lnTo>
                    <a:pt x="101" y="103"/>
                  </a:lnTo>
                  <a:lnTo>
                    <a:pt x="106" y="98"/>
                  </a:lnTo>
                  <a:lnTo>
                    <a:pt x="109" y="93"/>
                  </a:lnTo>
                  <a:lnTo>
                    <a:pt x="112" y="89"/>
                  </a:lnTo>
                  <a:lnTo>
                    <a:pt x="115" y="83"/>
                  </a:lnTo>
                  <a:lnTo>
                    <a:pt x="116" y="78"/>
                  </a:lnTo>
                  <a:lnTo>
                    <a:pt x="118" y="72"/>
                  </a:lnTo>
                  <a:lnTo>
                    <a:pt x="120" y="66"/>
                  </a:lnTo>
                  <a:lnTo>
                    <a:pt x="120" y="60"/>
                  </a:lnTo>
                  <a:lnTo>
                    <a:pt x="120" y="54"/>
                  </a:lnTo>
                  <a:lnTo>
                    <a:pt x="118" y="48"/>
                  </a:lnTo>
                  <a:lnTo>
                    <a:pt x="116" y="42"/>
                  </a:lnTo>
                  <a:lnTo>
                    <a:pt x="115" y="36"/>
                  </a:lnTo>
                  <a:lnTo>
                    <a:pt x="112" y="31"/>
                  </a:lnTo>
                  <a:lnTo>
                    <a:pt x="109" y="27"/>
                  </a:lnTo>
                  <a:lnTo>
                    <a:pt x="106" y="21"/>
                  </a:lnTo>
                  <a:lnTo>
                    <a:pt x="101" y="17"/>
                  </a:lnTo>
                  <a:lnTo>
                    <a:pt x="98" y="14"/>
                  </a:lnTo>
                  <a:lnTo>
                    <a:pt x="93" y="11"/>
                  </a:lnTo>
                  <a:lnTo>
                    <a:pt x="88" y="8"/>
                  </a:lnTo>
                  <a:lnTo>
                    <a:pt x="83" y="4"/>
                  </a:lnTo>
                  <a:lnTo>
                    <a:pt x="78" y="2"/>
                  </a:lnTo>
                  <a:lnTo>
                    <a:pt x="71" y="1"/>
                  </a:lnTo>
                  <a:lnTo>
                    <a:pt x="66" y="0"/>
                  </a:lnTo>
                  <a:lnTo>
                    <a:pt x="60" y="0"/>
                  </a:lnTo>
                  <a:lnTo>
                    <a:pt x="53" y="0"/>
                  </a:lnTo>
                  <a:lnTo>
                    <a:pt x="48" y="1"/>
                  </a:lnTo>
                  <a:lnTo>
                    <a:pt x="41" y="2"/>
                  </a:lnTo>
                  <a:lnTo>
                    <a:pt x="36" y="4"/>
                  </a:lnTo>
                  <a:lnTo>
                    <a:pt x="31" y="8"/>
                  </a:lnTo>
                  <a:lnTo>
                    <a:pt x="25" y="11"/>
                  </a:lnTo>
                  <a:lnTo>
                    <a:pt x="21" y="14"/>
                  </a:lnTo>
                  <a:lnTo>
                    <a:pt x="17" y="17"/>
                  </a:lnTo>
                  <a:lnTo>
                    <a:pt x="14" y="21"/>
                  </a:lnTo>
                  <a:lnTo>
                    <a:pt x="9" y="27"/>
                  </a:lnTo>
                  <a:lnTo>
                    <a:pt x="7" y="31"/>
                  </a:lnTo>
                  <a:lnTo>
                    <a:pt x="4" y="36"/>
                  </a:lnTo>
                  <a:lnTo>
                    <a:pt x="2" y="42"/>
                  </a:lnTo>
                  <a:lnTo>
                    <a:pt x="1" y="48"/>
                  </a:lnTo>
                  <a:lnTo>
                    <a:pt x="0" y="54"/>
                  </a:lnTo>
                  <a:lnTo>
                    <a:pt x="0" y="60"/>
                  </a:lnTo>
                  <a:lnTo>
                    <a:pt x="0" y="66"/>
                  </a:lnTo>
                  <a:lnTo>
                    <a:pt x="1" y="72"/>
                  </a:lnTo>
                  <a:lnTo>
                    <a:pt x="2" y="78"/>
                  </a:lnTo>
                  <a:lnTo>
                    <a:pt x="4" y="83"/>
                  </a:lnTo>
                  <a:lnTo>
                    <a:pt x="7" y="89"/>
                  </a:lnTo>
                  <a:lnTo>
                    <a:pt x="9" y="93"/>
                  </a:lnTo>
                  <a:lnTo>
                    <a:pt x="14" y="98"/>
                  </a:lnTo>
                  <a:lnTo>
                    <a:pt x="17" y="103"/>
                  </a:lnTo>
                  <a:lnTo>
                    <a:pt x="21" y="106"/>
                  </a:lnTo>
                  <a:lnTo>
                    <a:pt x="25" y="110"/>
                  </a:lnTo>
                  <a:lnTo>
                    <a:pt x="31" y="112"/>
                  </a:lnTo>
                  <a:lnTo>
                    <a:pt x="36" y="116"/>
                  </a:lnTo>
                  <a:lnTo>
                    <a:pt x="41" y="118"/>
                  </a:lnTo>
                  <a:lnTo>
                    <a:pt x="48" y="119"/>
                  </a:lnTo>
                  <a:lnTo>
                    <a:pt x="53" y="120"/>
                  </a:lnTo>
                  <a:lnTo>
                    <a:pt x="6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424">
              <a:extLst>
                <a:ext uri="{FF2B5EF4-FFF2-40B4-BE49-F238E27FC236}">
                  <a16:creationId xmlns:a16="http://schemas.microsoft.com/office/drawing/2014/main" id="{32A1ED9D-5294-4946-A83A-821563DBA2D6}"/>
                </a:ext>
              </a:extLst>
            </p:cNvPr>
            <p:cNvSpPr>
              <a:spLocks noEditPoints="1"/>
            </p:cNvSpPr>
            <p:nvPr/>
          </p:nvSpPr>
          <p:spPr bwMode="auto">
            <a:xfrm>
              <a:off x="7142163" y="1346200"/>
              <a:ext cx="57150" cy="57150"/>
            </a:xfrm>
            <a:custGeom>
              <a:avLst/>
              <a:gdLst>
                <a:gd name="T0" fmla="*/ 102 w 180"/>
                <a:gd name="T1" fmla="*/ 31 h 180"/>
                <a:gd name="T2" fmla="*/ 119 w 180"/>
                <a:gd name="T3" fmla="*/ 38 h 180"/>
                <a:gd name="T4" fmla="*/ 133 w 180"/>
                <a:gd name="T5" fmla="*/ 47 h 180"/>
                <a:gd name="T6" fmla="*/ 143 w 180"/>
                <a:gd name="T7" fmla="*/ 61 h 180"/>
                <a:gd name="T8" fmla="*/ 149 w 180"/>
                <a:gd name="T9" fmla="*/ 78 h 180"/>
                <a:gd name="T10" fmla="*/ 150 w 180"/>
                <a:gd name="T11" fmla="*/ 96 h 180"/>
                <a:gd name="T12" fmla="*/ 146 w 180"/>
                <a:gd name="T13" fmla="*/ 114 h 180"/>
                <a:gd name="T14" fmla="*/ 136 w 180"/>
                <a:gd name="T15" fmla="*/ 129 h 180"/>
                <a:gd name="T16" fmla="*/ 125 w 180"/>
                <a:gd name="T17" fmla="*/ 139 h 180"/>
                <a:gd name="T18" fmla="*/ 108 w 180"/>
                <a:gd name="T19" fmla="*/ 148 h 180"/>
                <a:gd name="T20" fmla="*/ 90 w 180"/>
                <a:gd name="T21" fmla="*/ 150 h 180"/>
                <a:gd name="T22" fmla="*/ 72 w 180"/>
                <a:gd name="T23" fmla="*/ 148 h 180"/>
                <a:gd name="T24" fmla="*/ 57 w 180"/>
                <a:gd name="T25" fmla="*/ 139 h 180"/>
                <a:gd name="T26" fmla="*/ 44 w 180"/>
                <a:gd name="T27" fmla="*/ 129 h 180"/>
                <a:gd name="T28" fmla="*/ 35 w 180"/>
                <a:gd name="T29" fmla="*/ 114 h 180"/>
                <a:gd name="T30" fmla="*/ 30 w 180"/>
                <a:gd name="T31" fmla="*/ 96 h 180"/>
                <a:gd name="T32" fmla="*/ 31 w 180"/>
                <a:gd name="T33" fmla="*/ 78 h 180"/>
                <a:gd name="T34" fmla="*/ 38 w 180"/>
                <a:gd name="T35" fmla="*/ 61 h 180"/>
                <a:gd name="T36" fmla="*/ 49 w 180"/>
                <a:gd name="T37" fmla="*/ 47 h 180"/>
                <a:gd name="T38" fmla="*/ 61 w 180"/>
                <a:gd name="T39" fmla="*/ 38 h 180"/>
                <a:gd name="T40" fmla="*/ 78 w 180"/>
                <a:gd name="T41" fmla="*/ 31 h 180"/>
                <a:gd name="T42" fmla="*/ 90 w 180"/>
                <a:gd name="T43" fmla="*/ 180 h 180"/>
                <a:gd name="T44" fmla="*/ 117 w 180"/>
                <a:gd name="T45" fmla="*/ 176 h 180"/>
                <a:gd name="T46" fmla="*/ 141 w 180"/>
                <a:gd name="T47" fmla="*/ 165 h 180"/>
                <a:gd name="T48" fmla="*/ 160 w 180"/>
                <a:gd name="T49" fmla="*/ 147 h 180"/>
                <a:gd name="T50" fmla="*/ 174 w 180"/>
                <a:gd name="T51" fmla="*/ 125 h 180"/>
                <a:gd name="T52" fmla="*/ 180 w 180"/>
                <a:gd name="T53" fmla="*/ 100 h 180"/>
                <a:gd name="T54" fmla="*/ 179 w 180"/>
                <a:gd name="T55" fmla="*/ 72 h 180"/>
                <a:gd name="T56" fmla="*/ 169 w 180"/>
                <a:gd name="T57" fmla="*/ 47 h 180"/>
                <a:gd name="T58" fmla="*/ 154 w 180"/>
                <a:gd name="T59" fmla="*/ 27 h 180"/>
                <a:gd name="T60" fmla="*/ 133 w 180"/>
                <a:gd name="T61" fmla="*/ 11 h 180"/>
                <a:gd name="T62" fmla="*/ 108 w 180"/>
                <a:gd name="T63" fmla="*/ 2 h 180"/>
                <a:gd name="T64" fmla="*/ 82 w 180"/>
                <a:gd name="T65" fmla="*/ 0 h 180"/>
                <a:gd name="T66" fmla="*/ 55 w 180"/>
                <a:gd name="T67" fmla="*/ 7 h 180"/>
                <a:gd name="T68" fmla="*/ 34 w 180"/>
                <a:gd name="T69" fmla="*/ 20 h 180"/>
                <a:gd name="T70" fmla="*/ 15 w 180"/>
                <a:gd name="T71" fmla="*/ 40 h 180"/>
                <a:gd name="T72" fmla="*/ 5 w 180"/>
                <a:gd name="T73" fmla="*/ 63 h 180"/>
                <a:gd name="T74" fmla="*/ 0 w 180"/>
                <a:gd name="T75" fmla="*/ 90 h 180"/>
                <a:gd name="T76" fmla="*/ 5 w 180"/>
                <a:gd name="T77" fmla="*/ 117 h 180"/>
                <a:gd name="T78" fmla="*/ 15 w 180"/>
                <a:gd name="T79" fmla="*/ 140 h 180"/>
                <a:gd name="T80" fmla="*/ 34 w 180"/>
                <a:gd name="T81" fmla="*/ 160 h 180"/>
                <a:gd name="T82" fmla="*/ 55 w 180"/>
                <a:gd name="T83" fmla="*/ 172 h 180"/>
                <a:gd name="T84" fmla="*/ 82 w 180"/>
                <a:gd name="T8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80">
                  <a:moveTo>
                    <a:pt x="90" y="30"/>
                  </a:moveTo>
                  <a:lnTo>
                    <a:pt x="97" y="30"/>
                  </a:lnTo>
                  <a:lnTo>
                    <a:pt x="102" y="31"/>
                  </a:lnTo>
                  <a:lnTo>
                    <a:pt x="108" y="32"/>
                  </a:lnTo>
                  <a:lnTo>
                    <a:pt x="114" y="34"/>
                  </a:lnTo>
                  <a:lnTo>
                    <a:pt x="119" y="38"/>
                  </a:lnTo>
                  <a:lnTo>
                    <a:pt x="125" y="41"/>
                  </a:lnTo>
                  <a:lnTo>
                    <a:pt x="129" y="44"/>
                  </a:lnTo>
                  <a:lnTo>
                    <a:pt x="133" y="47"/>
                  </a:lnTo>
                  <a:lnTo>
                    <a:pt x="136" y="52"/>
                  </a:lnTo>
                  <a:lnTo>
                    <a:pt x="141" y="57"/>
                  </a:lnTo>
                  <a:lnTo>
                    <a:pt x="143" y="61"/>
                  </a:lnTo>
                  <a:lnTo>
                    <a:pt x="146" y="66"/>
                  </a:lnTo>
                  <a:lnTo>
                    <a:pt x="148" y="72"/>
                  </a:lnTo>
                  <a:lnTo>
                    <a:pt x="149" y="78"/>
                  </a:lnTo>
                  <a:lnTo>
                    <a:pt x="150" y="84"/>
                  </a:lnTo>
                  <a:lnTo>
                    <a:pt x="150" y="90"/>
                  </a:lnTo>
                  <a:lnTo>
                    <a:pt x="150" y="96"/>
                  </a:lnTo>
                  <a:lnTo>
                    <a:pt x="149" y="102"/>
                  </a:lnTo>
                  <a:lnTo>
                    <a:pt x="148" y="108"/>
                  </a:lnTo>
                  <a:lnTo>
                    <a:pt x="146" y="114"/>
                  </a:lnTo>
                  <a:lnTo>
                    <a:pt x="143" y="119"/>
                  </a:lnTo>
                  <a:lnTo>
                    <a:pt x="141" y="123"/>
                  </a:lnTo>
                  <a:lnTo>
                    <a:pt x="136" y="129"/>
                  </a:lnTo>
                  <a:lnTo>
                    <a:pt x="133" y="133"/>
                  </a:lnTo>
                  <a:lnTo>
                    <a:pt x="129" y="136"/>
                  </a:lnTo>
                  <a:lnTo>
                    <a:pt x="125" y="139"/>
                  </a:lnTo>
                  <a:lnTo>
                    <a:pt x="119" y="142"/>
                  </a:lnTo>
                  <a:lnTo>
                    <a:pt x="114" y="146"/>
                  </a:lnTo>
                  <a:lnTo>
                    <a:pt x="108" y="148"/>
                  </a:lnTo>
                  <a:lnTo>
                    <a:pt x="102" y="149"/>
                  </a:lnTo>
                  <a:lnTo>
                    <a:pt x="97" y="150"/>
                  </a:lnTo>
                  <a:lnTo>
                    <a:pt x="90" y="150"/>
                  </a:lnTo>
                  <a:lnTo>
                    <a:pt x="84" y="150"/>
                  </a:lnTo>
                  <a:lnTo>
                    <a:pt x="78" y="149"/>
                  </a:lnTo>
                  <a:lnTo>
                    <a:pt x="72" y="148"/>
                  </a:lnTo>
                  <a:lnTo>
                    <a:pt x="67" y="146"/>
                  </a:lnTo>
                  <a:lnTo>
                    <a:pt x="61" y="142"/>
                  </a:lnTo>
                  <a:lnTo>
                    <a:pt x="57" y="139"/>
                  </a:lnTo>
                  <a:lnTo>
                    <a:pt x="52" y="136"/>
                  </a:lnTo>
                  <a:lnTo>
                    <a:pt x="49" y="133"/>
                  </a:lnTo>
                  <a:lnTo>
                    <a:pt x="44" y="129"/>
                  </a:lnTo>
                  <a:lnTo>
                    <a:pt x="41" y="123"/>
                  </a:lnTo>
                  <a:lnTo>
                    <a:pt x="38" y="119"/>
                  </a:lnTo>
                  <a:lnTo>
                    <a:pt x="35" y="114"/>
                  </a:lnTo>
                  <a:lnTo>
                    <a:pt x="34" y="108"/>
                  </a:lnTo>
                  <a:lnTo>
                    <a:pt x="31" y="102"/>
                  </a:lnTo>
                  <a:lnTo>
                    <a:pt x="30" y="96"/>
                  </a:lnTo>
                  <a:lnTo>
                    <a:pt x="30" y="90"/>
                  </a:lnTo>
                  <a:lnTo>
                    <a:pt x="30" y="84"/>
                  </a:lnTo>
                  <a:lnTo>
                    <a:pt x="31" y="78"/>
                  </a:lnTo>
                  <a:lnTo>
                    <a:pt x="34" y="72"/>
                  </a:lnTo>
                  <a:lnTo>
                    <a:pt x="35" y="66"/>
                  </a:lnTo>
                  <a:lnTo>
                    <a:pt x="38" y="61"/>
                  </a:lnTo>
                  <a:lnTo>
                    <a:pt x="41" y="57"/>
                  </a:lnTo>
                  <a:lnTo>
                    <a:pt x="44" y="52"/>
                  </a:lnTo>
                  <a:lnTo>
                    <a:pt x="49" y="47"/>
                  </a:lnTo>
                  <a:lnTo>
                    <a:pt x="52" y="44"/>
                  </a:lnTo>
                  <a:lnTo>
                    <a:pt x="57" y="41"/>
                  </a:lnTo>
                  <a:lnTo>
                    <a:pt x="61" y="38"/>
                  </a:lnTo>
                  <a:lnTo>
                    <a:pt x="67" y="34"/>
                  </a:lnTo>
                  <a:lnTo>
                    <a:pt x="72" y="32"/>
                  </a:lnTo>
                  <a:lnTo>
                    <a:pt x="78" y="31"/>
                  </a:lnTo>
                  <a:lnTo>
                    <a:pt x="84" y="30"/>
                  </a:lnTo>
                  <a:lnTo>
                    <a:pt x="90" y="30"/>
                  </a:lnTo>
                  <a:close/>
                  <a:moveTo>
                    <a:pt x="90" y="180"/>
                  </a:moveTo>
                  <a:lnTo>
                    <a:pt x="100" y="180"/>
                  </a:lnTo>
                  <a:lnTo>
                    <a:pt x="108" y="178"/>
                  </a:lnTo>
                  <a:lnTo>
                    <a:pt x="117" y="176"/>
                  </a:lnTo>
                  <a:lnTo>
                    <a:pt x="126" y="172"/>
                  </a:lnTo>
                  <a:lnTo>
                    <a:pt x="133" y="169"/>
                  </a:lnTo>
                  <a:lnTo>
                    <a:pt x="141" y="165"/>
                  </a:lnTo>
                  <a:lnTo>
                    <a:pt x="148" y="160"/>
                  </a:lnTo>
                  <a:lnTo>
                    <a:pt x="154" y="153"/>
                  </a:lnTo>
                  <a:lnTo>
                    <a:pt x="160" y="147"/>
                  </a:lnTo>
                  <a:lnTo>
                    <a:pt x="165" y="140"/>
                  </a:lnTo>
                  <a:lnTo>
                    <a:pt x="169" y="133"/>
                  </a:lnTo>
                  <a:lnTo>
                    <a:pt x="174" y="125"/>
                  </a:lnTo>
                  <a:lnTo>
                    <a:pt x="177" y="117"/>
                  </a:lnTo>
                  <a:lnTo>
                    <a:pt x="179" y="108"/>
                  </a:lnTo>
                  <a:lnTo>
                    <a:pt x="180" y="100"/>
                  </a:lnTo>
                  <a:lnTo>
                    <a:pt x="180" y="90"/>
                  </a:lnTo>
                  <a:lnTo>
                    <a:pt x="180" y="80"/>
                  </a:lnTo>
                  <a:lnTo>
                    <a:pt x="179" y="72"/>
                  </a:lnTo>
                  <a:lnTo>
                    <a:pt x="177" y="63"/>
                  </a:lnTo>
                  <a:lnTo>
                    <a:pt x="174" y="55"/>
                  </a:lnTo>
                  <a:lnTo>
                    <a:pt x="169" y="47"/>
                  </a:lnTo>
                  <a:lnTo>
                    <a:pt x="165" y="40"/>
                  </a:lnTo>
                  <a:lnTo>
                    <a:pt x="160" y="33"/>
                  </a:lnTo>
                  <a:lnTo>
                    <a:pt x="154" y="27"/>
                  </a:lnTo>
                  <a:lnTo>
                    <a:pt x="148" y="20"/>
                  </a:lnTo>
                  <a:lnTo>
                    <a:pt x="141" y="15"/>
                  </a:lnTo>
                  <a:lnTo>
                    <a:pt x="133" y="11"/>
                  </a:lnTo>
                  <a:lnTo>
                    <a:pt x="126" y="7"/>
                  </a:lnTo>
                  <a:lnTo>
                    <a:pt x="117" y="4"/>
                  </a:lnTo>
                  <a:lnTo>
                    <a:pt x="108" y="2"/>
                  </a:lnTo>
                  <a:lnTo>
                    <a:pt x="100" y="0"/>
                  </a:lnTo>
                  <a:lnTo>
                    <a:pt x="90" y="0"/>
                  </a:lnTo>
                  <a:lnTo>
                    <a:pt x="82" y="0"/>
                  </a:lnTo>
                  <a:lnTo>
                    <a:pt x="72" y="2"/>
                  </a:lnTo>
                  <a:lnTo>
                    <a:pt x="64" y="4"/>
                  </a:lnTo>
                  <a:lnTo>
                    <a:pt x="55" y="7"/>
                  </a:lnTo>
                  <a:lnTo>
                    <a:pt x="47" y="11"/>
                  </a:lnTo>
                  <a:lnTo>
                    <a:pt x="40" y="15"/>
                  </a:lnTo>
                  <a:lnTo>
                    <a:pt x="34" y="20"/>
                  </a:lnTo>
                  <a:lnTo>
                    <a:pt x="27" y="27"/>
                  </a:lnTo>
                  <a:lnTo>
                    <a:pt x="21" y="33"/>
                  </a:lnTo>
                  <a:lnTo>
                    <a:pt x="15" y="40"/>
                  </a:lnTo>
                  <a:lnTo>
                    <a:pt x="11" y="47"/>
                  </a:lnTo>
                  <a:lnTo>
                    <a:pt x="8" y="55"/>
                  </a:lnTo>
                  <a:lnTo>
                    <a:pt x="5" y="63"/>
                  </a:lnTo>
                  <a:lnTo>
                    <a:pt x="3" y="72"/>
                  </a:lnTo>
                  <a:lnTo>
                    <a:pt x="0" y="80"/>
                  </a:lnTo>
                  <a:lnTo>
                    <a:pt x="0" y="90"/>
                  </a:lnTo>
                  <a:lnTo>
                    <a:pt x="0" y="100"/>
                  </a:lnTo>
                  <a:lnTo>
                    <a:pt x="3" y="108"/>
                  </a:lnTo>
                  <a:lnTo>
                    <a:pt x="5" y="117"/>
                  </a:lnTo>
                  <a:lnTo>
                    <a:pt x="8" y="125"/>
                  </a:lnTo>
                  <a:lnTo>
                    <a:pt x="11" y="133"/>
                  </a:lnTo>
                  <a:lnTo>
                    <a:pt x="15" y="140"/>
                  </a:lnTo>
                  <a:lnTo>
                    <a:pt x="21" y="147"/>
                  </a:lnTo>
                  <a:lnTo>
                    <a:pt x="27" y="153"/>
                  </a:lnTo>
                  <a:lnTo>
                    <a:pt x="34" y="160"/>
                  </a:lnTo>
                  <a:lnTo>
                    <a:pt x="40" y="165"/>
                  </a:lnTo>
                  <a:lnTo>
                    <a:pt x="47" y="169"/>
                  </a:lnTo>
                  <a:lnTo>
                    <a:pt x="55" y="172"/>
                  </a:lnTo>
                  <a:lnTo>
                    <a:pt x="64" y="176"/>
                  </a:lnTo>
                  <a:lnTo>
                    <a:pt x="72" y="178"/>
                  </a:lnTo>
                  <a:lnTo>
                    <a:pt x="82" y="180"/>
                  </a:lnTo>
                  <a:lnTo>
                    <a:pt x="9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425">
              <a:extLst>
                <a:ext uri="{FF2B5EF4-FFF2-40B4-BE49-F238E27FC236}">
                  <a16:creationId xmlns:a16="http://schemas.microsoft.com/office/drawing/2014/main" id="{0CBDF45B-90E7-4FF4-8891-DE8D43A6B588}"/>
                </a:ext>
              </a:extLst>
            </p:cNvPr>
            <p:cNvSpPr>
              <a:spLocks noEditPoints="1"/>
            </p:cNvSpPr>
            <p:nvPr/>
          </p:nvSpPr>
          <p:spPr bwMode="auto">
            <a:xfrm>
              <a:off x="7227888" y="1374775"/>
              <a:ext cx="28575" cy="28575"/>
            </a:xfrm>
            <a:custGeom>
              <a:avLst/>
              <a:gdLst>
                <a:gd name="T0" fmla="*/ 48 w 91"/>
                <a:gd name="T1" fmla="*/ 30 h 90"/>
                <a:gd name="T2" fmla="*/ 54 w 91"/>
                <a:gd name="T3" fmla="*/ 33 h 90"/>
                <a:gd name="T4" fmla="*/ 58 w 91"/>
                <a:gd name="T5" fmla="*/ 37 h 90"/>
                <a:gd name="T6" fmla="*/ 60 w 91"/>
                <a:gd name="T7" fmla="*/ 42 h 90"/>
                <a:gd name="T8" fmla="*/ 60 w 91"/>
                <a:gd name="T9" fmla="*/ 48 h 90"/>
                <a:gd name="T10" fmla="*/ 58 w 91"/>
                <a:gd name="T11" fmla="*/ 53 h 90"/>
                <a:gd name="T12" fmla="*/ 54 w 91"/>
                <a:gd name="T13" fmla="*/ 58 h 90"/>
                <a:gd name="T14" fmla="*/ 48 w 91"/>
                <a:gd name="T15" fmla="*/ 60 h 90"/>
                <a:gd name="T16" fmla="*/ 43 w 91"/>
                <a:gd name="T17" fmla="*/ 60 h 90"/>
                <a:gd name="T18" fmla="*/ 37 w 91"/>
                <a:gd name="T19" fmla="*/ 58 h 90"/>
                <a:gd name="T20" fmla="*/ 33 w 91"/>
                <a:gd name="T21" fmla="*/ 53 h 90"/>
                <a:gd name="T22" fmla="*/ 31 w 91"/>
                <a:gd name="T23" fmla="*/ 48 h 90"/>
                <a:gd name="T24" fmla="*/ 31 w 91"/>
                <a:gd name="T25" fmla="*/ 42 h 90"/>
                <a:gd name="T26" fmla="*/ 33 w 91"/>
                <a:gd name="T27" fmla="*/ 37 h 90"/>
                <a:gd name="T28" fmla="*/ 37 w 91"/>
                <a:gd name="T29" fmla="*/ 33 h 90"/>
                <a:gd name="T30" fmla="*/ 43 w 91"/>
                <a:gd name="T31" fmla="*/ 30 h 90"/>
                <a:gd name="T32" fmla="*/ 46 w 91"/>
                <a:gd name="T33" fmla="*/ 90 h 90"/>
                <a:gd name="T34" fmla="*/ 63 w 91"/>
                <a:gd name="T35" fmla="*/ 87 h 90"/>
                <a:gd name="T36" fmla="*/ 77 w 91"/>
                <a:gd name="T37" fmla="*/ 77 h 90"/>
                <a:gd name="T38" fmla="*/ 87 w 91"/>
                <a:gd name="T39" fmla="*/ 63 h 90"/>
                <a:gd name="T40" fmla="*/ 91 w 91"/>
                <a:gd name="T41" fmla="*/ 45 h 90"/>
                <a:gd name="T42" fmla="*/ 87 w 91"/>
                <a:gd name="T43" fmla="*/ 28 h 90"/>
                <a:gd name="T44" fmla="*/ 77 w 91"/>
                <a:gd name="T45" fmla="*/ 14 h 90"/>
                <a:gd name="T46" fmla="*/ 63 w 91"/>
                <a:gd name="T47" fmla="*/ 3 h 90"/>
                <a:gd name="T48" fmla="*/ 46 w 91"/>
                <a:gd name="T49" fmla="*/ 0 h 90"/>
                <a:gd name="T50" fmla="*/ 28 w 91"/>
                <a:gd name="T51" fmla="*/ 3 h 90"/>
                <a:gd name="T52" fmla="*/ 14 w 91"/>
                <a:gd name="T53" fmla="*/ 14 h 90"/>
                <a:gd name="T54" fmla="*/ 4 w 91"/>
                <a:gd name="T55" fmla="*/ 28 h 90"/>
                <a:gd name="T56" fmla="*/ 0 w 91"/>
                <a:gd name="T57" fmla="*/ 45 h 90"/>
                <a:gd name="T58" fmla="*/ 4 w 91"/>
                <a:gd name="T59" fmla="*/ 63 h 90"/>
                <a:gd name="T60" fmla="*/ 14 w 91"/>
                <a:gd name="T61" fmla="*/ 77 h 90"/>
                <a:gd name="T62" fmla="*/ 28 w 91"/>
                <a:gd name="T63" fmla="*/ 87 h 90"/>
                <a:gd name="T64" fmla="*/ 46 w 91"/>
                <a:gd name="T6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0">
                  <a:moveTo>
                    <a:pt x="46" y="30"/>
                  </a:moveTo>
                  <a:lnTo>
                    <a:pt x="48" y="30"/>
                  </a:lnTo>
                  <a:lnTo>
                    <a:pt x="51" y="31"/>
                  </a:lnTo>
                  <a:lnTo>
                    <a:pt x="54" y="33"/>
                  </a:lnTo>
                  <a:lnTo>
                    <a:pt x="56" y="34"/>
                  </a:lnTo>
                  <a:lnTo>
                    <a:pt x="58" y="37"/>
                  </a:lnTo>
                  <a:lnTo>
                    <a:pt x="59" y="40"/>
                  </a:lnTo>
                  <a:lnTo>
                    <a:pt x="60" y="42"/>
                  </a:lnTo>
                  <a:lnTo>
                    <a:pt x="61" y="45"/>
                  </a:lnTo>
                  <a:lnTo>
                    <a:pt x="60" y="48"/>
                  </a:lnTo>
                  <a:lnTo>
                    <a:pt x="59" y="51"/>
                  </a:lnTo>
                  <a:lnTo>
                    <a:pt x="58" y="53"/>
                  </a:lnTo>
                  <a:lnTo>
                    <a:pt x="56" y="56"/>
                  </a:lnTo>
                  <a:lnTo>
                    <a:pt x="54" y="58"/>
                  </a:lnTo>
                  <a:lnTo>
                    <a:pt x="51" y="59"/>
                  </a:lnTo>
                  <a:lnTo>
                    <a:pt x="48" y="60"/>
                  </a:lnTo>
                  <a:lnTo>
                    <a:pt x="46" y="60"/>
                  </a:lnTo>
                  <a:lnTo>
                    <a:pt x="43" y="60"/>
                  </a:lnTo>
                  <a:lnTo>
                    <a:pt x="40" y="59"/>
                  </a:lnTo>
                  <a:lnTo>
                    <a:pt x="37" y="58"/>
                  </a:lnTo>
                  <a:lnTo>
                    <a:pt x="35" y="56"/>
                  </a:lnTo>
                  <a:lnTo>
                    <a:pt x="33" y="53"/>
                  </a:lnTo>
                  <a:lnTo>
                    <a:pt x="32" y="51"/>
                  </a:lnTo>
                  <a:lnTo>
                    <a:pt x="31" y="48"/>
                  </a:lnTo>
                  <a:lnTo>
                    <a:pt x="30" y="45"/>
                  </a:lnTo>
                  <a:lnTo>
                    <a:pt x="31" y="42"/>
                  </a:lnTo>
                  <a:lnTo>
                    <a:pt x="32" y="40"/>
                  </a:lnTo>
                  <a:lnTo>
                    <a:pt x="33" y="37"/>
                  </a:lnTo>
                  <a:lnTo>
                    <a:pt x="35" y="34"/>
                  </a:lnTo>
                  <a:lnTo>
                    <a:pt x="37" y="33"/>
                  </a:lnTo>
                  <a:lnTo>
                    <a:pt x="40" y="31"/>
                  </a:lnTo>
                  <a:lnTo>
                    <a:pt x="43" y="30"/>
                  </a:lnTo>
                  <a:lnTo>
                    <a:pt x="46" y="30"/>
                  </a:lnTo>
                  <a:close/>
                  <a:moveTo>
                    <a:pt x="46" y="90"/>
                  </a:moveTo>
                  <a:lnTo>
                    <a:pt x="55" y="89"/>
                  </a:lnTo>
                  <a:lnTo>
                    <a:pt x="63" y="87"/>
                  </a:lnTo>
                  <a:lnTo>
                    <a:pt x="71" y="82"/>
                  </a:lnTo>
                  <a:lnTo>
                    <a:pt x="77" y="77"/>
                  </a:lnTo>
                  <a:lnTo>
                    <a:pt x="82" y="71"/>
                  </a:lnTo>
                  <a:lnTo>
                    <a:pt x="87" y="63"/>
                  </a:lnTo>
                  <a:lnTo>
                    <a:pt x="90" y="55"/>
                  </a:lnTo>
                  <a:lnTo>
                    <a:pt x="91" y="45"/>
                  </a:lnTo>
                  <a:lnTo>
                    <a:pt x="90" y="36"/>
                  </a:lnTo>
                  <a:lnTo>
                    <a:pt x="87" y="28"/>
                  </a:lnTo>
                  <a:lnTo>
                    <a:pt x="82" y="20"/>
                  </a:lnTo>
                  <a:lnTo>
                    <a:pt x="77" y="14"/>
                  </a:lnTo>
                  <a:lnTo>
                    <a:pt x="71" y="8"/>
                  </a:lnTo>
                  <a:lnTo>
                    <a:pt x="63" y="3"/>
                  </a:lnTo>
                  <a:lnTo>
                    <a:pt x="55" y="1"/>
                  </a:lnTo>
                  <a:lnTo>
                    <a:pt x="46" y="0"/>
                  </a:lnTo>
                  <a:lnTo>
                    <a:pt x="36" y="1"/>
                  </a:lnTo>
                  <a:lnTo>
                    <a:pt x="28" y="3"/>
                  </a:lnTo>
                  <a:lnTo>
                    <a:pt x="20" y="8"/>
                  </a:lnTo>
                  <a:lnTo>
                    <a:pt x="14" y="14"/>
                  </a:lnTo>
                  <a:lnTo>
                    <a:pt x="9" y="20"/>
                  </a:lnTo>
                  <a:lnTo>
                    <a:pt x="4" y="28"/>
                  </a:lnTo>
                  <a:lnTo>
                    <a:pt x="1" y="36"/>
                  </a:lnTo>
                  <a:lnTo>
                    <a:pt x="0" y="45"/>
                  </a:lnTo>
                  <a:lnTo>
                    <a:pt x="1" y="55"/>
                  </a:lnTo>
                  <a:lnTo>
                    <a:pt x="4" y="63"/>
                  </a:lnTo>
                  <a:lnTo>
                    <a:pt x="9" y="71"/>
                  </a:lnTo>
                  <a:lnTo>
                    <a:pt x="14" y="77"/>
                  </a:lnTo>
                  <a:lnTo>
                    <a:pt x="20" y="82"/>
                  </a:lnTo>
                  <a:lnTo>
                    <a:pt x="28" y="87"/>
                  </a:lnTo>
                  <a:lnTo>
                    <a:pt x="36" y="89"/>
                  </a:lnTo>
                  <a:lnTo>
                    <a:pt x="46"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1" name="Group 68">
            <a:extLst>
              <a:ext uri="{FF2B5EF4-FFF2-40B4-BE49-F238E27FC236}">
                <a16:creationId xmlns:a16="http://schemas.microsoft.com/office/drawing/2014/main" id="{88F15D10-9DA4-4010-B82D-67B50E798C68}"/>
              </a:ext>
            </a:extLst>
          </p:cNvPr>
          <p:cNvGrpSpPr>
            <a:grpSpLocks noChangeAspect="1"/>
          </p:cNvGrpSpPr>
          <p:nvPr/>
        </p:nvGrpSpPr>
        <p:grpSpPr>
          <a:xfrm>
            <a:off x="2320173" y="3256152"/>
            <a:ext cx="274226" cy="306488"/>
            <a:chOff x="5292726" y="-2751138"/>
            <a:chExt cx="323850" cy="361950"/>
          </a:xfrm>
          <a:solidFill>
            <a:schemeClr val="bg1"/>
          </a:solidFill>
        </p:grpSpPr>
        <p:sp>
          <p:nvSpPr>
            <p:cNvPr id="1062" name="Freeform 6">
              <a:extLst>
                <a:ext uri="{FF2B5EF4-FFF2-40B4-BE49-F238E27FC236}">
                  <a16:creationId xmlns:a16="http://schemas.microsoft.com/office/drawing/2014/main" id="{8B13909B-8959-4216-B31F-2349C6B9BEAA}"/>
                </a:ext>
              </a:extLst>
            </p:cNvPr>
            <p:cNvSpPr>
              <a:spLocks noEditPoints="1"/>
            </p:cNvSpPr>
            <p:nvPr/>
          </p:nvSpPr>
          <p:spPr bwMode="auto">
            <a:xfrm>
              <a:off x="5380038" y="-2751138"/>
              <a:ext cx="150812" cy="361950"/>
            </a:xfrm>
            <a:custGeom>
              <a:avLst/>
              <a:gdLst>
                <a:gd name="T0" fmla="*/ 20 w 40"/>
                <a:gd name="T1" fmla="*/ 96 h 96"/>
                <a:gd name="T2" fmla="*/ 0 w 40"/>
                <a:gd name="T3" fmla="*/ 48 h 96"/>
                <a:gd name="T4" fmla="*/ 20 w 40"/>
                <a:gd name="T5" fmla="*/ 0 h 96"/>
                <a:gd name="T6" fmla="*/ 40 w 40"/>
                <a:gd name="T7" fmla="*/ 48 h 96"/>
                <a:gd name="T8" fmla="*/ 20 w 40"/>
                <a:gd name="T9" fmla="*/ 96 h 96"/>
                <a:gd name="T10" fmla="*/ 20 w 40"/>
                <a:gd name="T11" fmla="*/ 4 h 96"/>
                <a:gd name="T12" fmla="*/ 4 w 40"/>
                <a:gd name="T13" fmla="*/ 48 h 96"/>
                <a:gd name="T14" fmla="*/ 20 w 40"/>
                <a:gd name="T15" fmla="*/ 92 h 96"/>
                <a:gd name="T16" fmla="*/ 36 w 40"/>
                <a:gd name="T17" fmla="*/ 48 h 96"/>
                <a:gd name="T18" fmla="*/ 20 w 40"/>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96">
                  <a:moveTo>
                    <a:pt x="20" y="96"/>
                  </a:moveTo>
                  <a:cubicBezTo>
                    <a:pt x="9" y="96"/>
                    <a:pt x="0" y="75"/>
                    <a:pt x="0" y="48"/>
                  </a:cubicBezTo>
                  <a:cubicBezTo>
                    <a:pt x="0" y="21"/>
                    <a:pt x="9" y="0"/>
                    <a:pt x="20" y="0"/>
                  </a:cubicBezTo>
                  <a:cubicBezTo>
                    <a:pt x="31" y="0"/>
                    <a:pt x="40" y="21"/>
                    <a:pt x="40" y="48"/>
                  </a:cubicBezTo>
                  <a:cubicBezTo>
                    <a:pt x="40" y="75"/>
                    <a:pt x="31" y="96"/>
                    <a:pt x="20" y="96"/>
                  </a:cubicBezTo>
                  <a:close/>
                  <a:moveTo>
                    <a:pt x="20" y="4"/>
                  </a:moveTo>
                  <a:cubicBezTo>
                    <a:pt x="12" y="4"/>
                    <a:pt x="4" y="22"/>
                    <a:pt x="4" y="48"/>
                  </a:cubicBezTo>
                  <a:cubicBezTo>
                    <a:pt x="4" y="74"/>
                    <a:pt x="12" y="92"/>
                    <a:pt x="20" y="92"/>
                  </a:cubicBezTo>
                  <a:cubicBezTo>
                    <a:pt x="28" y="92"/>
                    <a:pt x="36" y="74"/>
                    <a:pt x="36" y="48"/>
                  </a:cubicBezTo>
                  <a:cubicBezTo>
                    <a:pt x="36" y="22"/>
                    <a:pt x="28" y="4"/>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7">
              <a:extLst>
                <a:ext uri="{FF2B5EF4-FFF2-40B4-BE49-F238E27FC236}">
                  <a16:creationId xmlns:a16="http://schemas.microsoft.com/office/drawing/2014/main" id="{BBEB148B-D475-443D-A2DF-FC14AC6AD6DD}"/>
                </a:ext>
              </a:extLst>
            </p:cNvPr>
            <p:cNvSpPr>
              <a:spLocks noEditPoints="1"/>
            </p:cNvSpPr>
            <p:nvPr/>
          </p:nvSpPr>
          <p:spPr bwMode="auto">
            <a:xfrm>
              <a:off x="5292726" y="-2690813"/>
              <a:ext cx="323850" cy="241300"/>
            </a:xfrm>
            <a:custGeom>
              <a:avLst/>
              <a:gdLst>
                <a:gd name="T0" fmla="*/ 15 w 86"/>
                <a:gd name="T1" fmla="*/ 64 h 64"/>
                <a:gd name="T2" fmla="*/ 3 w 86"/>
                <a:gd name="T3" fmla="*/ 59 h 64"/>
                <a:gd name="T4" fmla="*/ 7 w 86"/>
                <a:gd name="T5" fmla="*/ 39 h 64"/>
                <a:gd name="T6" fmla="*/ 32 w 86"/>
                <a:gd name="T7" fmla="*/ 16 h 64"/>
                <a:gd name="T8" fmla="*/ 71 w 86"/>
                <a:gd name="T9" fmla="*/ 0 h 64"/>
                <a:gd name="T10" fmla="*/ 83 w 86"/>
                <a:gd name="T11" fmla="*/ 5 h 64"/>
                <a:gd name="T12" fmla="*/ 79 w 86"/>
                <a:gd name="T13" fmla="*/ 25 h 64"/>
                <a:gd name="T14" fmla="*/ 54 w 86"/>
                <a:gd name="T15" fmla="*/ 48 h 64"/>
                <a:gd name="T16" fmla="*/ 15 w 86"/>
                <a:gd name="T17" fmla="*/ 64 h 64"/>
                <a:gd name="T18" fmla="*/ 71 w 86"/>
                <a:gd name="T19" fmla="*/ 4 h 64"/>
                <a:gd name="T20" fmla="*/ 34 w 86"/>
                <a:gd name="T21" fmla="*/ 19 h 64"/>
                <a:gd name="T22" fmla="*/ 11 w 86"/>
                <a:gd name="T23" fmla="*/ 41 h 64"/>
                <a:gd name="T24" fmla="*/ 7 w 86"/>
                <a:gd name="T25" fmla="*/ 57 h 64"/>
                <a:gd name="T26" fmla="*/ 15 w 86"/>
                <a:gd name="T27" fmla="*/ 60 h 64"/>
                <a:gd name="T28" fmla="*/ 52 w 86"/>
                <a:gd name="T29" fmla="*/ 45 h 64"/>
                <a:gd name="T30" fmla="*/ 75 w 86"/>
                <a:gd name="T31" fmla="*/ 23 h 64"/>
                <a:gd name="T32" fmla="*/ 79 w 86"/>
                <a:gd name="T33" fmla="*/ 7 h 64"/>
                <a:gd name="T34" fmla="*/ 71 w 86"/>
                <a:gd name="T35"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64">
                  <a:moveTo>
                    <a:pt x="15" y="64"/>
                  </a:moveTo>
                  <a:cubicBezTo>
                    <a:pt x="10" y="64"/>
                    <a:pt x="6" y="62"/>
                    <a:pt x="3" y="59"/>
                  </a:cubicBezTo>
                  <a:cubicBezTo>
                    <a:pt x="0" y="55"/>
                    <a:pt x="2" y="47"/>
                    <a:pt x="7" y="39"/>
                  </a:cubicBezTo>
                  <a:cubicBezTo>
                    <a:pt x="13" y="31"/>
                    <a:pt x="21" y="23"/>
                    <a:pt x="32" y="16"/>
                  </a:cubicBezTo>
                  <a:cubicBezTo>
                    <a:pt x="46" y="6"/>
                    <a:pt x="61" y="0"/>
                    <a:pt x="71" y="0"/>
                  </a:cubicBezTo>
                  <a:cubicBezTo>
                    <a:pt x="76" y="0"/>
                    <a:pt x="80" y="2"/>
                    <a:pt x="83" y="5"/>
                  </a:cubicBezTo>
                  <a:cubicBezTo>
                    <a:pt x="86" y="9"/>
                    <a:pt x="84" y="17"/>
                    <a:pt x="79" y="25"/>
                  </a:cubicBezTo>
                  <a:cubicBezTo>
                    <a:pt x="73" y="33"/>
                    <a:pt x="65" y="41"/>
                    <a:pt x="54" y="48"/>
                  </a:cubicBezTo>
                  <a:cubicBezTo>
                    <a:pt x="40" y="58"/>
                    <a:pt x="25" y="64"/>
                    <a:pt x="15" y="64"/>
                  </a:cubicBezTo>
                  <a:close/>
                  <a:moveTo>
                    <a:pt x="71" y="4"/>
                  </a:moveTo>
                  <a:cubicBezTo>
                    <a:pt x="61" y="4"/>
                    <a:pt x="47" y="10"/>
                    <a:pt x="34" y="19"/>
                  </a:cubicBezTo>
                  <a:cubicBezTo>
                    <a:pt x="24" y="26"/>
                    <a:pt x="16" y="34"/>
                    <a:pt x="11" y="41"/>
                  </a:cubicBezTo>
                  <a:cubicBezTo>
                    <a:pt x="6" y="48"/>
                    <a:pt x="5" y="54"/>
                    <a:pt x="7" y="57"/>
                  </a:cubicBezTo>
                  <a:cubicBezTo>
                    <a:pt x="8" y="59"/>
                    <a:pt x="12" y="60"/>
                    <a:pt x="15" y="60"/>
                  </a:cubicBezTo>
                  <a:cubicBezTo>
                    <a:pt x="25" y="60"/>
                    <a:pt x="39" y="54"/>
                    <a:pt x="52" y="45"/>
                  </a:cubicBezTo>
                  <a:cubicBezTo>
                    <a:pt x="62" y="38"/>
                    <a:pt x="70" y="30"/>
                    <a:pt x="75" y="23"/>
                  </a:cubicBezTo>
                  <a:cubicBezTo>
                    <a:pt x="80" y="16"/>
                    <a:pt x="81" y="10"/>
                    <a:pt x="79" y="7"/>
                  </a:cubicBezTo>
                  <a:cubicBezTo>
                    <a:pt x="78" y="5"/>
                    <a:pt x="74" y="4"/>
                    <a:pt x="7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8">
              <a:extLst>
                <a:ext uri="{FF2B5EF4-FFF2-40B4-BE49-F238E27FC236}">
                  <a16:creationId xmlns:a16="http://schemas.microsoft.com/office/drawing/2014/main" id="{7D859149-5C04-477D-A5C4-96FCDFA92A27}"/>
                </a:ext>
              </a:extLst>
            </p:cNvPr>
            <p:cNvSpPr>
              <a:spLocks noEditPoints="1"/>
            </p:cNvSpPr>
            <p:nvPr/>
          </p:nvSpPr>
          <p:spPr bwMode="auto">
            <a:xfrm>
              <a:off x="5292726" y="-2690813"/>
              <a:ext cx="323850" cy="241300"/>
            </a:xfrm>
            <a:custGeom>
              <a:avLst/>
              <a:gdLst>
                <a:gd name="T0" fmla="*/ 71 w 86"/>
                <a:gd name="T1" fmla="*/ 64 h 64"/>
                <a:gd name="T2" fmla="*/ 71 w 86"/>
                <a:gd name="T3" fmla="*/ 64 h 64"/>
                <a:gd name="T4" fmla="*/ 32 w 86"/>
                <a:gd name="T5" fmla="*/ 48 h 64"/>
                <a:gd name="T6" fmla="*/ 7 w 86"/>
                <a:gd name="T7" fmla="*/ 25 h 64"/>
                <a:gd name="T8" fmla="*/ 3 w 86"/>
                <a:gd name="T9" fmla="*/ 5 h 64"/>
                <a:gd name="T10" fmla="*/ 15 w 86"/>
                <a:gd name="T11" fmla="*/ 0 h 64"/>
                <a:gd name="T12" fmla="*/ 54 w 86"/>
                <a:gd name="T13" fmla="*/ 16 h 64"/>
                <a:gd name="T14" fmla="*/ 79 w 86"/>
                <a:gd name="T15" fmla="*/ 39 h 64"/>
                <a:gd name="T16" fmla="*/ 83 w 86"/>
                <a:gd name="T17" fmla="*/ 59 h 64"/>
                <a:gd name="T18" fmla="*/ 71 w 86"/>
                <a:gd name="T19" fmla="*/ 64 h 64"/>
                <a:gd name="T20" fmla="*/ 15 w 86"/>
                <a:gd name="T21" fmla="*/ 4 h 64"/>
                <a:gd name="T22" fmla="*/ 7 w 86"/>
                <a:gd name="T23" fmla="*/ 7 h 64"/>
                <a:gd name="T24" fmla="*/ 11 w 86"/>
                <a:gd name="T25" fmla="*/ 23 h 64"/>
                <a:gd name="T26" fmla="*/ 34 w 86"/>
                <a:gd name="T27" fmla="*/ 45 h 64"/>
                <a:gd name="T28" fmla="*/ 71 w 86"/>
                <a:gd name="T29" fmla="*/ 60 h 64"/>
                <a:gd name="T30" fmla="*/ 71 w 86"/>
                <a:gd name="T31" fmla="*/ 60 h 64"/>
                <a:gd name="T32" fmla="*/ 79 w 86"/>
                <a:gd name="T33" fmla="*/ 57 h 64"/>
                <a:gd name="T34" fmla="*/ 75 w 86"/>
                <a:gd name="T35" fmla="*/ 41 h 64"/>
                <a:gd name="T36" fmla="*/ 52 w 86"/>
                <a:gd name="T37" fmla="*/ 19 h 64"/>
                <a:gd name="T38" fmla="*/ 15 w 86"/>
                <a:gd name="T3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64">
                  <a:moveTo>
                    <a:pt x="71" y="64"/>
                  </a:moveTo>
                  <a:cubicBezTo>
                    <a:pt x="71" y="64"/>
                    <a:pt x="71" y="64"/>
                    <a:pt x="71" y="64"/>
                  </a:cubicBezTo>
                  <a:cubicBezTo>
                    <a:pt x="61" y="64"/>
                    <a:pt x="46" y="58"/>
                    <a:pt x="32" y="48"/>
                  </a:cubicBezTo>
                  <a:cubicBezTo>
                    <a:pt x="21" y="41"/>
                    <a:pt x="13" y="33"/>
                    <a:pt x="7" y="25"/>
                  </a:cubicBezTo>
                  <a:cubicBezTo>
                    <a:pt x="2" y="17"/>
                    <a:pt x="0" y="9"/>
                    <a:pt x="3" y="5"/>
                  </a:cubicBezTo>
                  <a:cubicBezTo>
                    <a:pt x="6" y="2"/>
                    <a:pt x="10" y="0"/>
                    <a:pt x="15" y="0"/>
                  </a:cubicBezTo>
                  <a:cubicBezTo>
                    <a:pt x="25" y="0"/>
                    <a:pt x="40" y="6"/>
                    <a:pt x="54" y="16"/>
                  </a:cubicBezTo>
                  <a:cubicBezTo>
                    <a:pt x="65" y="23"/>
                    <a:pt x="73" y="31"/>
                    <a:pt x="79" y="39"/>
                  </a:cubicBezTo>
                  <a:cubicBezTo>
                    <a:pt x="84" y="47"/>
                    <a:pt x="86" y="55"/>
                    <a:pt x="83" y="59"/>
                  </a:cubicBezTo>
                  <a:cubicBezTo>
                    <a:pt x="80" y="62"/>
                    <a:pt x="76" y="64"/>
                    <a:pt x="71" y="64"/>
                  </a:cubicBezTo>
                  <a:close/>
                  <a:moveTo>
                    <a:pt x="15" y="4"/>
                  </a:moveTo>
                  <a:cubicBezTo>
                    <a:pt x="12" y="4"/>
                    <a:pt x="8" y="5"/>
                    <a:pt x="7" y="7"/>
                  </a:cubicBezTo>
                  <a:cubicBezTo>
                    <a:pt x="5" y="10"/>
                    <a:pt x="6" y="16"/>
                    <a:pt x="11" y="23"/>
                  </a:cubicBezTo>
                  <a:cubicBezTo>
                    <a:pt x="16" y="30"/>
                    <a:pt x="24" y="38"/>
                    <a:pt x="34" y="45"/>
                  </a:cubicBezTo>
                  <a:cubicBezTo>
                    <a:pt x="47" y="54"/>
                    <a:pt x="61" y="60"/>
                    <a:pt x="71" y="60"/>
                  </a:cubicBezTo>
                  <a:cubicBezTo>
                    <a:pt x="71" y="60"/>
                    <a:pt x="71" y="60"/>
                    <a:pt x="71" y="60"/>
                  </a:cubicBezTo>
                  <a:cubicBezTo>
                    <a:pt x="74" y="60"/>
                    <a:pt x="78" y="59"/>
                    <a:pt x="79" y="57"/>
                  </a:cubicBezTo>
                  <a:cubicBezTo>
                    <a:pt x="81" y="54"/>
                    <a:pt x="80" y="48"/>
                    <a:pt x="75" y="41"/>
                  </a:cubicBezTo>
                  <a:cubicBezTo>
                    <a:pt x="70" y="34"/>
                    <a:pt x="62" y="26"/>
                    <a:pt x="52" y="19"/>
                  </a:cubicBezTo>
                  <a:cubicBezTo>
                    <a:pt x="39" y="10"/>
                    <a:pt x="25" y="4"/>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9">
              <a:extLst>
                <a:ext uri="{FF2B5EF4-FFF2-40B4-BE49-F238E27FC236}">
                  <a16:creationId xmlns:a16="http://schemas.microsoft.com/office/drawing/2014/main" id="{436A19EF-4691-4205-85CD-95DAD1FFA1D4}"/>
                </a:ext>
              </a:extLst>
            </p:cNvPr>
            <p:cNvSpPr>
              <a:spLocks noEditPoints="1"/>
            </p:cNvSpPr>
            <p:nvPr/>
          </p:nvSpPr>
          <p:spPr bwMode="auto">
            <a:xfrm>
              <a:off x="5416550" y="-2608263"/>
              <a:ext cx="76200" cy="76200"/>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6" name="Freeform 446">
            <a:extLst>
              <a:ext uri="{FF2B5EF4-FFF2-40B4-BE49-F238E27FC236}">
                <a16:creationId xmlns:a16="http://schemas.microsoft.com/office/drawing/2014/main" id="{8FDDBB2A-98AF-4845-8F2C-1F491938BBA1}"/>
              </a:ext>
            </a:extLst>
          </p:cNvPr>
          <p:cNvSpPr>
            <a:spLocks noChangeAspect="1" noEditPoints="1"/>
          </p:cNvSpPr>
          <p:nvPr/>
        </p:nvSpPr>
        <p:spPr bwMode="auto">
          <a:xfrm>
            <a:off x="2769887" y="3256152"/>
            <a:ext cx="154947" cy="306488"/>
          </a:xfrm>
          <a:custGeom>
            <a:avLst/>
            <a:gdLst>
              <a:gd name="T0" fmla="*/ 325 w 451"/>
              <a:gd name="T1" fmla="*/ 646 h 900"/>
              <a:gd name="T2" fmla="*/ 306 w 451"/>
              <a:gd name="T3" fmla="*/ 682 h 900"/>
              <a:gd name="T4" fmla="*/ 275 w 451"/>
              <a:gd name="T5" fmla="*/ 707 h 900"/>
              <a:gd name="T6" fmla="*/ 236 w 451"/>
              <a:gd name="T7" fmla="*/ 719 h 900"/>
              <a:gd name="T8" fmla="*/ 194 w 451"/>
              <a:gd name="T9" fmla="*/ 715 h 900"/>
              <a:gd name="T10" fmla="*/ 158 w 451"/>
              <a:gd name="T11" fmla="*/ 696 h 900"/>
              <a:gd name="T12" fmla="*/ 133 w 451"/>
              <a:gd name="T13" fmla="*/ 666 h 900"/>
              <a:gd name="T14" fmla="*/ 121 w 451"/>
              <a:gd name="T15" fmla="*/ 626 h 900"/>
              <a:gd name="T16" fmla="*/ 198 w 451"/>
              <a:gd name="T17" fmla="*/ 510 h 900"/>
              <a:gd name="T18" fmla="*/ 208 w 451"/>
              <a:gd name="T19" fmla="*/ 504 h 900"/>
              <a:gd name="T20" fmla="*/ 210 w 451"/>
              <a:gd name="T21" fmla="*/ 492 h 900"/>
              <a:gd name="T22" fmla="*/ 203 w 451"/>
              <a:gd name="T23" fmla="*/ 483 h 900"/>
              <a:gd name="T24" fmla="*/ 120 w 451"/>
              <a:gd name="T25" fmla="*/ 480 h 900"/>
              <a:gd name="T26" fmla="*/ 201 w 451"/>
              <a:gd name="T27" fmla="*/ 419 h 900"/>
              <a:gd name="T28" fmla="*/ 209 w 451"/>
              <a:gd name="T29" fmla="*/ 411 h 900"/>
              <a:gd name="T30" fmla="*/ 209 w 451"/>
              <a:gd name="T31" fmla="*/ 399 h 900"/>
              <a:gd name="T32" fmla="*/ 201 w 451"/>
              <a:gd name="T33" fmla="*/ 391 h 900"/>
              <a:gd name="T34" fmla="*/ 120 w 451"/>
              <a:gd name="T35" fmla="*/ 330 h 900"/>
              <a:gd name="T36" fmla="*/ 203 w 451"/>
              <a:gd name="T37" fmla="*/ 328 h 900"/>
              <a:gd name="T38" fmla="*/ 210 w 451"/>
              <a:gd name="T39" fmla="*/ 318 h 900"/>
              <a:gd name="T40" fmla="*/ 208 w 451"/>
              <a:gd name="T41" fmla="*/ 307 h 900"/>
              <a:gd name="T42" fmla="*/ 198 w 451"/>
              <a:gd name="T43" fmla="*/ 300 h 900"/>
              <a:gd name="T44" fmla="*/ 331 w 451"/>
              <a:gd name="T45" fmla="*/ 210 h 900"/>
              <a:gd name="T46" fmla="*/ 271 w 451"/>
              <a:gd name="T47" fmla="*/ 180 h 900"/>
              <a:gd name="T48" fmla="*/ 301 w 451"/>
              <a:gd name="T49" fmla="*/ 180 h 900"/>
              <a:gd name="T50" fmla="*/ 351 w 451"/>
              <a:gd name="T51" fmla="*/ 29 h 900"/>
              <a:gd name="T52" fmla="*/ 360 w 451"/>
              <a:gd name="T53" fmla="*/ 21 h 900"/>
              <a:gd name="T54" fmla="*/ 360 w 451"/>
              <a:gd name="T55" fmla="*/ 9 h 900"/>
              <a:gd name="T56" fmla="*/ 351 w 451"/>
              <a:gd name="T57" fmla="*/ 1 h 900"/>
              <a:gd name="T58" fmla="*/ 102 w 451"/>
              <a:gd name="T59" fmla="*/ 0 h 900"/>
              <a:gd name="T60" fmla="*/ 93 w 451"/>
              <a:gd name="T61" fmla="*/ 7 h 900"/>
              <a:gd name="T62" fmla="*/ 91 w 451"/>
              <a:gd name="T63" fmla="*/ 19 h 900"/>
              <a:gd name="T64" fmla="*/ 96 w 451"/>
              <a:gd name="T65" fmla="*/ 27 h 900"/>
              <a:gd name="T66" fmla="*/ 150 w 451"/>
              <a:gd name="T67" fmla="*/ 30 h 900"/>
              <a:gd name="T68" fmla="*/ 10 w 451"/>
              <a:gd name="T69" fmla="*/ 181 h 900"/>
              <a:gd name="T70" fmla="*/ 1 w 451"/>
              <a:gd name="T71" fmla="*/ 190 h 900"/>
              <a:gd name="T72" fmla="*/ 1 w 451"/>
              <a:gd name="T73" fmla="*/ 202 h 900"/>
              <a:gd name="T74" fmla="*/ 10 w 451"/>
              <a:gd name="T75" fmla="*/ 209 h 900"/>
              <a:gd name="T76" fmla="*/ 90 w 451"/>
              <a:gd name="T77" fmla="*/ 615 h 900"/>
              <a:gd name="T78" fmla="*/ 100 w 451"/>
              <a:gd name="T79" fmla="*/ 665 h 900"/>
              <a:gd name="T80" fmla="*/ 125 w 451"/>
              <a:gd name="T81" fmla="*/ 706 h 900"/>
              <a:gd name="T82" fmla="*/ 163 w 451"/>
              <a:gd name="T83" fmla="*/ 735 h 900"/>
              <a:gd name="T84" fmla="*/ 210 w 451"/>
              <a:gd name="T85" fmla="*/ 750 h 900"/>
              <a:gd name="T86" fmla="*/ 213 w 451"/>
              <a:gd name="T87" fmla="*/ 894 h 900"/>
              <a:gd name="T88" fmla="*/ 223 w 451"/>
              <a:gd name="T89" fmla="*/ 900 h 900"/>
              <a:gd name="T90" fmla="*/ 233 w 451"/>
              <a:gd name="T91" fmla="*/ 898 h 900"/>
              <a:gd name="T92" fmla="*/ 240 w 451"/>
              <a:gd name="T93" fmla="*/ 888 h 900"/>
              <a:gd name="T94" fmla="*/ 264 w 451"/>
              <a:gd name="T95" fmla="*/ 745 h 900"/>
              <a:gd name="T96" fmla="*/ 308 w 451"/>
              <a:gd name="T97" fmla="*/ 722 h 900"/>
              <a:gd name="T98" fmla="*/ 340 w 451"/>
              <a:gd name="T99" fmla="*/ 687 h 900"/>
              <a:gd name="T100" fmla="*/ 358 w 451"/>
              <a:gd name="T101" fmla="*/ 641 h 900"/>
              <a:gd name="T102" fmla="*/ 436 w 451"/>
              <a:gd name="T103" fmla="*/ 210 h 900"/>
              <a:gd name="T104" fmla="*/ 446 w 451"/>
              <a:gd name="T105" fmla="*/ 206 h 900"/>
              <a:gd name="T106" fmla="*/ 451 w 451"/>
              <a:gd name="T107" fmla="*/ 195 h 900"/>
              <a:gd name="T108" fmla="*/ 446 w 451"/>
              <a:gd name="T109" fmla="*/ 184 h 900"/>
              <a:gd name="T110" fmla="*/ 436 w 451"/>
              <a:gd name="T111" fmla="*/ 18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1" h="900">
                <a:moveTo>
                  <a:pt x="331" y="615"/>
                </a:moveTo>
                <a:lnTo>
                  <a:pt x="330" y="626"/>
                </a:lnTo>
                <a:lnTo>
                  <a:pt x="329" y="636"/>
                </a:lnTo>
                <a:lnTo>
                  <a:pt x="325" y="646"/>
                </a:lnTo>
                <a:lnTo>
                  <a:pt x="322" y="656"/>
                </a:lnTo>
                <a:lnTo>
                  <a:pt x="318" y="666"/>
                </a:lnTo>
                <a:lnTo>
                  <a:pt x="313" y="674"/>
                </a:lnTo>
                <a:lnTo>
                  <a:pt x="306" y="682"/>
                </a:lnTo>
                <a:lnTo>
                  <a:pt x="300" y="689"/>
                </a:lnTo>
                <a:lnTo>
                  <a:pt x="292" y="696"/>
                </a:lnTo>
                <a:lnTo>
                  <a:pt x="284" y="702"/>
                </a:lnTo>
                <a:lnTo>
                  <a:pt x="275" y="707"/>
                </a:lnTo>
                <a:lnTo>
                  <a:pt x="267" y="712"/>
                </a:lnTo>
                <a:lnTo>
                  <a:pt x="257" y="715"/>
                </a:lnTo>
                <a:lnTo>
                  <a:pt x="246" y="718"/>
                </a:lnTo>
                <a:lnTo>
                  <a:pt x="236" y="719"/>
                </a:lnTo>
                <a:lnTo>
                  <a:pt x="225" y="720"/>
                </a:lnTo>
                <a:lnTo>
                  <a:pt x="214" y="719"/>
                </a:lnTo>
                <a:lnTo>
                  <a:pt x="205" y="718"/>
                </a:lnTo>
                <a:lnTo>
                  <a:pt x="194" y="715"/>
                </a:lnTo>
                <a:lnTo>
                  <a:pt x="184" y="712"/>
                </a:lnTo>
                <a:lnTo>
                  <a:pt x="176" y="707"/>
                </a:lnTo>
                <a:lnTo>
                  <a:pt x="167" y="702"/>
                </a:lnTo>
                <a:lnTo>
                  <a:pt x="158" y="696"/>
                </a:lnTo>
                <a:lnTo>
                  <a:pt x="151" y="689"/>
                </a:lnTo>
                <a:lnTo>
                  <a:pt x="145" y="682"/>
                </a:lnTo>
                <a:lnTo>
                  <a:pt x="138" y="674"/>
                </a:lnTo>
                <a:lnTo>
                  <a:pt x="133" y="666"/>
                </a:lnTo>
                <a:lnTo>
                  <a:pt x="129" y="656"/>
                </a:lnTo>
                <a:lnTo>
                  <a:pt x="125" y="646"/>
                </a:lnTo>
                <a:lnTo>
                  <a:pt x="122" y="636"/>
                </a:lnTo>
                <a:lnTo>
                  <a:pt x="121" y="626"/>
                </a:lnTo>
                <a:lnTo>
                  <a:pt x="120" y="615"/>
                </a:lnTo>
                <a:lnTo>
                  <a:pt x="120" y="510"/>
                </a:lnTo>
                <a:lnTo>
                  <a:pt x="195" y="510"/>
                </a:lnTo>
                <a:lnTo>
                  <a:pt x="198" y="510"/>
                </a:lnTo>
                <a:lnTo>
                  <a:pt x="201" y="509"/>
                </a:lnTo>
                <a:lnTo>
                  <a:pt x="203" y="507"/>
                </a:lnTo>
                <a:lnTo>
                  <a:pt x="206" y="506"/>
                </a:lnTo>
                <a:lnTo>
                  <a:pt x="208" y="504"/>
                </a:lnTo>
                <a:lnTo>
                  <a:pt x="209" y="501"/>
                </a:lnTo>
                <a:lnTo>
                  <a:pt x="210" y="498"/>
                </a:lnTo>
                <a:lnTo>
                  <a:pt x="210" y="495"/>
                </a:lnTo>
                <a:lnTo>
                  <a:pt x="210" y="492"/>
                </a:lnTo>
                <a:lnTo>
                  <a:pt x="209" y="489"/>
                </a:lnTo>
                <a:lnTo>
                  <a:pt x="208" y="487"/>
                </a:lnTo>
                <a:lnTo>
                  <a:pt x="206" y="485"/>
                </a:lnTo>
                <a:lnTo>
                  <a:pt x="203" y="483"/>
                </a:lnTo>
                <a:lnTo>
                  <a:pt x="201" y="482"/>
                </a:lnTo>
                <a:lnTo>
                  <a:pt x="198" y="481"/>
                </a:lnTo>
                <a:lnTo>
                  <a:pt x="195" y="480"/>
                </a:lnTo>
                <a:lnTo>
                  <a:pt x="120" y="480"/>
                </a:lnTo>
                <a:lnTo>
                  <a:pt x="120" y="420"/>
                </a:lnTo>
                <a:lnTo>
                  <a:pt x="195" y="420"/>
                </a:lnTo>
                <a:lnTo>
                  <a:pt x="198" y="420"/>
                </a:lnTo>
                <a:lnTo>
                  <a:pt x="201" y="419"/>
                </a:lnTo>
                <a:lnTo>
                  <a:pt x="203" y="418"/>
                </a:lnTo>
                <a:lnTo>
                  <a:pt x="206" y="415"/>
                </a:lnTo>
                <a:lnTo>
                  <a:pt x="208" y="413"/>
                </a:lnTo>
                <a:lnTo>
                  <a:pt x="209" y="411"/>
                </a:lnTo>
                <a:lnTo>
                  <a:pt x="210" y="408"/>
                </a:lnTo>
                <a:lnTo>
                  <a:pt x="210" y="405"/>
                </a:lnTo>
                <a:lnTo>
                  <a:pt x="210" y="403"/>
                </a:lnTo>
                <a:lnTo>
                  <a:pt x="209" y="399"/>
                </a:lnTo>
                <a:lnTo>
                  <a:pt x="208" y="397"/>
                </a:lnTo>
                <a:lnTo>
                  <a:pt x="206" y="395"/>
                </a:lnTo>
                <a:lnTo>
                  <a:pt x="203" y="393"/>
                </a:lnTo>
                <a:lnTo>
                  <a:pt x="201" y="391"/>
                </a:lnTo>
                <a:lnTo>
                  <a:pt x="198" y="391"/>
                </a:lnTo>
                <a:lnTo>
                  <a:pt x="195" y="390"/>
                </a:lnTo>
                <a:lnTo>
                  <a:pt x="120" y="390"/>
                </a:lnTo>
                <a:lnTo>
                  <a:pt x="120" y="330"/>
                </a:lnTo>
                <a:lnTo>
                  <a:pt x="195" y="330"/>
                </a:lnTo>
                <a:lnTo>
                  <a:pt x="198" y="330"/>
                </a:lnTo>
                <a:lnTo>
                  <a:pt x="201" y="329"/>
                </a:lnTo>
                <a:lnTo>
                  <a:pt x="203" y="328"/>
                </a:lnTo>
                <a:lnTo>
                  <a:pt x="206" y="326"/>
                </a:lnTo>
                <a:lnTo>
                  <a:pt x="208" y="323"/>
                </a:lnTo>
                <a:lnTo>
                  <a:pt x="209" y="321"/>
                </a:lnTo>
                <a:lnTo>
                  <a:pt x="210" y="318"/>
                </a:lnTo>
                <a:lnTo>
                  <a:pt x="210" y="315"/>
                </a:lnTo>
                <a:lnTo>
                  <a:pt x="210" y="312"/>
                </a:lnTo>
                <a:lnTo>
                  <a:pt x="209" y="310"/>
                </a:lnTo>
                <a:lnTo>
                  <a:pt x="208" y="307"/>
                </a:lnTo>
                <a:lnTo>
                  <a:pt x="206" y="304"/>
                </a:lnTo>
                <a:lnTo>
                  <a:pt x="203" y="303"/>
                </a:lnTo>
                <a:lnTo>
                  <a:pt x="201" y="301"/>
                </a:lnTo>
                <a:lnTo>
                  <a:pt x="198" y="300"/>
                </a:lnTo>
                <a:lnTo>
                  <a:pt x="195" y="300"/>
                </a:lnTo>
                <a:lnTo>
                  <a:pt x="120" y="300"/>
                </a:lnTo>
                <a:lnTo>
                  <a:pt x="120" y="210"/>
                </a:lnTo>
                <a:lnTo>
                  <a:pt x="331" y="210"/>
                </a:lnTo>
                <a:lnTo>
                  <a:pt x="331" y="615"/>
                </a:lnTo>
                <a:close/>
                <a:moveTo>
                  <a:pt x="180" y="30"/>
                </a:moveTo>
                <a:lnTo>
                  <a:pt x="271" y="30"/>
                </a:lnTo>
                <a:lnTo>
                  <a:pt x="271" y="180"/>
                </a:lnTo>
                <a:lnTo>
                  <a:pt x="180" y="180"/>
                </a:lnTo>
                <a:lnTo>
                  <a:pt x="180" y="30"/>
                </a:lnTo>
                <a:close/>
                <a:moveTo>
                  <a:pt x="436" y="180"/>
                </a:moveTo>
                <a:lnTo>
                  <a:pt x="301" y="180"/>
                </a:lnTo>
                <a:lnTo>
                  <a:pt x="301" y="30"/>
                </a:lnTo>
                <a:lnTo>
                  <a:pt x="346" y="30"/>
                </a:lnTo>
                <a:lnTo>
                  <a:pt x="348" y="29"/>
                </a:lnTo>
                <a:lnTo>
                  <a:pt x="351" y="29"/>
                </a:lnTo>
                <a:lnTo>
                  <a:pt x="353" y="27"/>
                </a:lnTo>
                <a:lnTo>
                  <a:pt x="356" y="26"/>
                </a:lnTo>
                <a:lnTo>
                  <a:pt x="358" y="24"/>
                </a:lnTo>
                <a:lnTo>
                  <a:pt x="360" y="21"/>
                </a:lnTo>
                <a:lnTo>
                  <a:pt x="360" y="19"/>
                </a:lnTo>
                <a:lnTo>
                  <a:pt x="361" y="15"/>
                </a:lnTo>
                <a:lnTo>
                  <a:pt x="360" y="12"/>
                </a:lnTo>
                <a:lnTo>
                  <a:pt x="360" y="9"/>
                </a:lnTo>
                <a:lnTo>
                  <a:pt x="358" y="7"/>
                </a:lnTo>
                <a:lnTo>
                  <a:pt x="356" y="5"/>
                </a:lnTo>
                <a:lnTo>
                  <a:pt x="353" y="3"/>
                </a:lnTo>
                <a:lnTo>
                  <a:pt x="351" y="1"/>
                </a:lnTo>
                <a:lnTo>
                  <a:pt x="348" y="0"/>
                </a:lnTo>
                <a:lnTo>
                  <a:pt x="346" y="0"/>
                </a:lnTo>
                <a:lnTo>
                  <a:pt x="105" y="0"/>
                </a:lnTo>
                <a:lnTo>
                  <a:pt x="102" y="0"/>
                </a:lnTo>
                <a:lnTo>
                  <a:pt x="100" y="1"/>
                </a:lnTo>
                <a:lnTo>
                  <a:pt x="96" y="3"/>
                </a:lnTo>
                <a:lnTo>
                  <a:pt x="94" y="5"/>
                </a:lnTo>
                <a:lnTo>
                  <a:pt x="93" y="7"/>
                </a:lnTo>
                <a:lnTo>
                  <a:pt x="91" y="9"/>
                </a:lnTo>
                <a:lnTo>
                  <a:pt x="91" y="12"/>
                </a:lnTo>
                <a:lnTo>
                  <a:pt x="90" y="15"/>
                </a:lnTo>
                <a:lnTo>
                  <a:pt x="91" y="19"/>
                </a:lnTo>
                <a:lnTo>
                  <a:pt x="91" y="21"/>
                </a:lnTo>
                <a:lnTo>
                  <a:pt x="93" y="24"/>
                </a:lnTo>
                <a:lnTo>
                  <a:pt x="94" y="26"/>
                </a:lnTo>
                <a:lnTo>
                  <a:pt x="96" y="27"/>
                </a:lnTo>
                <a:lnTo>
                  <a:pt x="100" y="29"/>
                </a:lnTo>
                <a:lnTo>
                  <a:pt x="102" y="29"/>
                </a:lnTo>
                <a:lnTo>
                  <a:pt x="105" y="30"/>
                </a:lnTo>
                <a:lnTo>
                  <a:pt x="150" y="30"/>
                </a:lnTo>
                <a:lnTo>
                  <a:pt x="150" y="180"/>
                </a:lnTo>
                <a:lnTo>
                  <a:pt x="15" y="180"/>
                </a:lnTo>
                <a:lnTo>
                  <a:pt x="12" y="180"/>
                </a:lnTo>
                <a:lnTo>
                  <a:pt x="10" y="181"/>
                </a:lnTo>
                <a:lnTo>
                  <a:pt x="7" y="182"/>
                </a:lnTo>
                <a:lnTo>
                  <a:pt x="4" y="184"/>
                </a:lnTo>
                <a:lnTo>
                  <a:pt x="3" y="187"/>
                </a:lnTo>
                <a:lnTo>
                  <a:pt x="1" y="190"/>
                </a:lnTo>
                <a:lnTo>
                  <a:pt x="0" y="192"/>
                </a:lnTo>
                <a:lnTo>
                  <a:pt x="0" y="195"/>
                </a:lnTo>
                <a:lnTo>
                  <a:pt x="0" y="198"/>
                </a:lnTo>
                <a:lnTo>
                  <a:pt x="1" y="202"/>
                </a:lnTo>
                <a:lnTo>
                  <a:pt x="3" y="204"/>
                </a:lnTo>
                <a:lnTo>
                  <a:pt x="4" y="206"/>
                </a:lnTo>
                <a:lnTo>
                  <a:pt x="7" y="208"/>
                </a:lnTo>
                <a:lnTo>
                  <a:pt x="10" y="209"/>
                </a:lnTo>
                <a:lnTo>
                  <a:pt x="12" y="210"/>
                </a:lnTo>
                <a:lnTo>
                  <a:pt x="15" y="210"/>
                </a:lnTo>
                <a:lnTo>
                  <a:pt x="90" y="210"/>
                </a:lnTo>
                <a:lnTo>
                  <a:pt x="90" y="615"/>
                </a:lnTo>
                <a:lnTo>
                  <a:pt x="91" y="628"/>
                </a:lnTo>
                <a:lnTo>
                  <a:pt x="92" y="641"/>
                </a:lnTo>
                <a:lnTo>
                  <a:pt x="95" y="653"/>
                </a:lnTo>
                <a:lnTo>
                  <a:pt x="100" y="665"/>
                </a:lnTo>
                <a:lnTo>
                  <a:pt x="105" y="676"/>
                </a:lnTo>
                <a:lnTo>
                  <a:pt x="110" y="687"/>
                </a:lnTo>
                <a:lnTo>
                  <a:pt x="118" y="697"/>
                </a:lnTo>
                <a:lnTo>
                  <a:pt x="125" y="706"/>
                </a:lnTo>
                <a:lnTo>
                  <a:pt x="134" y="715"/>
                </a:lnTo>
                <a:lnTo>
                  <a:pt x="142" y="722"/>
                </a:lnTo>
                <a:lnTo>
                  <a:pt x="153" y="730"/>
                </a:lnTo>
                <a:lnTo>
                  <a:pt x="163" y="735"/>
                </a:lnTo>
                <a:lnTo>
                  <a:pt x="175" y="741"/>
                </a:lnTo>
                <a:lnTo>
                  <a:pt x="186" y="745"/>
                </a:lnTo>
                <a:lnTo>
                  <a:pt x="198" y="748"/>
                </a:lnTo>
                <a:lnTo>
                  <a:pt x="210" y="750"/>
                </a:lnTo>
                <a:lnTo>
                  <a:pt x="210" y="885"/>
                </a:lnTo>
                <a:lnTo>
                  <a:pt x="211" y="888"/>
                </a:lnTo>
                <a:lnTo>
                  <a:pt x="212" y="891"/>
                </a:lnTo>
                <a:lnTo>
                  <a:pt x="213" y="894"/>
                </a:lnTo>
                <a:lnTo>
                  <a:pt x="215" y="896"/>
                </a:lnTo>
                <a:lnTo>
                  <a:pt x="217" y="898"/>
                </a:lnTo>
                <a:lnTo>
                  <a:pt x="219" y="899"/>
                </a:lnTo>
                <a:lnTo>
                  <a:pt x="223" y="900"/>
                </a:lnTo>
                <a:lnTo>
                  <a:pt x="225" y="900"/>
                </a:lnTo>
                <a:lnTo>
                  <a:pt x="228" y="900"/>
                </a:lnTo>
                <a:lnTo>
                  <a:pt x="231" y="899"/>
                </a:lnTo>
                <a:lnTo>
                  <a:pt x="233" y="898"/>
                </a:lnTo>
                <a:lnTo>
                  <a:pt x="236" y="896"/>
                </a:lnTo>
                <a:lnTo>
                  <a:pt x="238" y="894"/>
                </a:lnTo>
                <a:lnTo>
                  <a:pt x="239" y="891"/>
                </a:lnTo>
                <a:lnTo>
                  <a:pt x="240" y="888"/>
                </a:lnTo>
                <a:lnTo>
                  <a:pt x="240" y="885"/>
                </a:lnTo>
                <a:lnTo>
                  <a:pt x="240" y="750"/>
                </a:lnTo>
                <a:lnTo>
                  <a:pt x="253" y="748"/>
                </a:lnTo>
                <a:lnTo>
                  <a:pt x="264" y="745"/>
                </a:lnTo>
                <a:lnTo>
                  <a:pt x="276" y="741"/>
                </a:lnTo>
                <a:lnTo>
                  <a:pt x="288" y="735"/>
                </a:lnTo>
                <a:lnTo>
                  <a:pt x="298" y="730"/>
                </a:lnTo>
                <a:lnTo>
                  <a:pt x="308" y="722"/>
                </a:lnTo>
                <a:lnTo>
                  <a:pt x="317" y="715"/>
                </a:lnTo>
                <a:lnTo>
                  <a:pt x="325" y="706"/>
                </a:lnTo>
                <a:lnTo>
                  <a:pt x="333" y="697"/>
                </a:lnTo>
                <a:lnTo>
                  <a:pt x="340" y="687"/>
                </a:lnTo>
                <a:lnTo>
                  <a:pt x="346" y="676"/>
                </a:lnTo>
                <a:lnTo>
                  <a:pt x="351" y="665"/>
                </a:lnTo>
                <a:lnTo>
                  <a:pt x="355" y="653"/>
                </a:lnTo>
                <a:lnTo>
                  <a:pt x="358" y="641"/>
                </a:lnTo>
                <a:lnTo>
                  <a:pt x="360" y="628"/>
                </a:lnTo>
                <a:lnTo>
                  <a:pt x="361" y="615"/>
                </a:lnTo>
                <a:lnTo>
                  <a:pt x="361" y="210"/>
                </a:lnTo>
                <a:lnTo>
                  <a:pt x="436" y="210"/>
                </a:lnTo>
                <a:lnTo>
                  <a:pt x="439" y="210"/>
                </a:lnTo>
                <a:lnTo>
                  <a:pt x="441" y="209"/>
                </a:lnTo>
                <a:lnTo>
                  <a:pt x="444" y="208"/>
                </a:lnTo>
                <a:lnTo>
                  <a:pt x="446" y="206"/>
                </a:lnTo>
                <a:lnTo>
                  <a:pt x="447" y="204"/>
                </a:lnTo>
                <a:lnTo>
                  <a:pt x="450" y="202"/>
                </a:lnTo>
                <a:lnTo>
                  <a:pt x="450" y="198"/>
                </a:lnTo>
                <a:lnTo>
                  <a:pt x="451" y="195"/>
                </a:lnTo>
                <a:lnTo>
                  <a:pt x="450" y="192"/>
                </a:lnTo>
                <a:lnTo>
                  <a:pt x="450" y="190"/>
                </a:lnTo>
                <a:lnTo>
                  <a:pt x="447" y="187"/>
                </a:lnTo>
                <a:lnTo>
                  <a:pt x="446" y="184"/>
                </a:lnTo>
                <a:lnTo>
                  <a:pt x="444" y="182"/>
                </a:lnTo>
                <a:lnTo>
                  <a:pt x="441" y="181"/>
                </a:lnTo>
                <a:lnTo>
                  <a:pt x="439" y="180"/>
                </a:lnTo>
                <a:lnTo>
                  <a:pt x="436" y="18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67" name="Group 42">
            <a:extLst>
              <a:ext uri="{FF2B5EF4-FFF2-40B4-BE49-F238E27FC236}">
                <a16:creationId xmlns:a16="http://schemas.microsoft.com/office/drawing/2014/main" id="{2DF83CD1-306D-40E6-BEF1-ADB48A4500DE}"/>
              </a:ext>
            </a:extLst>
          </p:cNvPr>
          <p:cNvGrpSpPr>
            <a:grpSpLocks noChangeAspect="1"/>
          </p:cNvGrpSpPr>
          <p:nvPr/>
        </p:nvGrpSpPr>
        <p:grpSpPr>
          <a:xfrm>
            <a:off x="276818" y="2714172"/>
            <a:ext cx="298342" cy="360000"/>
            <a:chOff x="9915526" y="1917700"/>
            <a:chExt cx="238125" cy="287338"/>
          </a:xfrm>
          <a:solidFill>
            <a:schemeClr val="bg1"/>
          </a:solidFill>
          <a:effectLst/>
        </p:grpSpPr>
        <p:sp>
          <p:nvSpPr>
            <p:cNvPr id="1068" name="Freeform 358">
              <a:extLst>
                <a:ext uri="{FF2B5EF4-FFF2-40B4-BE49-F238E27FC236}">
                  <a16:creationId xmlns:a16="http://schemas.microsoft.com/office/drawing/2014/main" id="{46E42667-B914-41EA-A8BE-459334382082}"/>
                </a:ext>
              </a:extLst>
            </p:cNvPr>
            <p:cNvSpPr>
              <a:spLocks noEditPoints="1"/>
            </p:cNvSpPr>
            <p:nvPr/>
          </p:nvSpPr>
          <p:spPr bwMode="auto">
            <a:xfrm>
              <a:off x="9929813" y="1917700"/>
              <a:ext cx="204788" cy="190500"/>
            </a:xfrm>
            <a:custGeom>
              <a:avLst/>
              <a:gdLst>
                <a:gd name="T0" fmla="*/ 315 w 647"/>
                <a:gd name="T1" fmla="*/ 85 h 602"/>
                <a:gd name="T2" fmla="*/ 87 w 647"/>
                <a:gd name="T3" fmla="*/ 602 h 602"/>
                <a:gd name="T4" fmla="*/ 97 w 647"/>
                <a:gd name="T5" fmla="*/ 600 h 602"/>
                <a:gd name="T6" fmla="*/ 105 w 647"/>
                <a:gd name="T7" fmla="*/ 590 h 602"/>
                <a:gd name="T8" fmla="*/ 104 w 647"/>
                <a:gd name="T9" fmla="*/ 581 h 602"/>
                <a:gd name="T10" fmla="*/ 98 w 647"/>
                <a:gd name="T11" fmla="*/ 574 h 602"/>
                <a:gd name="T12" fmla="*/ 83 w 647"/>
                <a:gd name="T13" fmla="*/ 566 h 602"/>
                <a:gd name="T14" fmla="*/ 62 w 647"/>
                <a:gd name="T15" fmla="*/ 547 h 602"/>
                <a:gd name="T16" fmla="*/ 38 w 647"/>
                <a:gd name="T17" fmla="*/ 508 h 602"/>
                <a:gd name="T18" fmla="*/ 614 w 647"/>
                <a:gd name="T19" fmla="*/ 482 h 602"/>
                <a:gd name="T20" fmla="*/ 598 w 647"/>
                <a:gd name="T21" fmla="*/ 521 h 602"/>
                <a:gd name="T22" fmla="*/ 570 w 647"/>
                <a:gd name="T23" fmla="*/ 558 h 602"/>
                <a:gd name="T24" fmla="*/ 547 w 647"/>
                <a:gd name="T25" fmla="*/ 575 h 602"/>
                <a:gd name="T26" fmla="*/ 542 w 647"/>
                <a:gd name="T27" fmla="*/ 582 h 602"/>
                <a:gd name="T28" fmla="*/ 541 w 647"/>
                <a:gd name="T29" fmla="*/ 591 h 602"/>
                <a:gd name="T30" fmla="*/ 547 w 647"/>
                <a:gd name="T31" fmla="*/ 598 h 602"/>
                <a:gd name="T32" fmla="*/ 554 w 647"/>
                <a:gd name="T33" fmla="*/ 602 h 602"/>
                <a:gd name="T34" fmla="*/ 563 w 647"/>
                <a:gd name="T35" fmla="*/ 601 h 602"/>
                <a:gd name="T36" fmla="*/ 586 w 647"/>
                <a:gd name="T37" fmla="*/ 585 h 602"/>
                <a:gd name="T38" fmla="*/ 608 w 647"/>
                <a:gd name="T39" fmla="*/ 561 h 602"/>
                <a:gd name="T40" fmla="*/ 626 w 647"/>
                <a:gd name="T41" fmla="*/ 533 h 602"/>
                <a:gd name="T42" fmla="*/ 639 w 647"/>
                <a:gd name="T43" fmla="*/ 504 h 602"/>
                <a:gd name="T44" fmla="*/ 647 w 647"/>
                <a:gd name="T45" fmla="*/ 475 h 602"/>
                <a:gd name="T46" fmla="*/ 645 w 647"/>
                <a:gd name="T47" fmla="*/ 460 h 602"/>
                <a:gd name="T48" fmla="*/ 640 w 647"/>
                <a:gd name="T49" fmla="*/ 454 h 602"/>
                <a:gd name="T50" fmla="*/ 632 w 647"/>
                <a:gd name="T51" fmla="*/ 451 h 602"/>
                <a:gd name="T52" fmla="*/ 586 w 647"/>
                <a:gd name="T53" fmla="*/ 391 h 602"/>
                <a:gd name="T54" fmla="*/ 616 w 647"/>
                <a:gd name="T55" fmla="*/ 391 h 602"/>
                <a:gd name="T56" fmla="*/ 625 w 647"/>
                <a:gd name="T57" fmla="*/ 388 h 602"/>
                <a:gd name="T58" fmla="*/ 630 w 647"/>
                <a:gd name="T59" fmla="*/ 382 h 602"/>
                <a:gd name="T60" fmla="*/ 632 w 647"/>
                <a:gd name="T61" fmla="*/ 373 h 602"/>
                <a:gd name="T62" fmla="*/ 627 w 647"/>
                <a:gd name="T63" fmla="*/ 366 h 602"/>
                <a:gd name="T64" fmla="*/ 620 w 647"/>
                <a:gd name="T65" fmla="*/ 361 h 602"/>
                <a:gd name="T66" fmla="*/ 315 w 647"/>
                <a:gd name="T67" fmla="*/ 39 h 602"/>
                <a:gd name="T68" fmla="*/ 314 w 647"/>
                <a:gd name="T69" fmla="*/ 8 h 602"/>
                <a:gd name="T70" fmla="*/ 309 w 647"/>
                <a:gd name="T71" fmla="*/ 2 h 602"/>
                <a:gd name="T72" fmla="*/ 300 w 647"/>
                <a:gd name="T73" fmla="*/ 0 h 602"/>
                <a:gd name="T74" fmla="*/ 292 w 647"/>
                <a:gd name="T75" fmla="*/ 2 h 602"/>
                <a:gd name="T76" fmla="*/ 286 w 647"/>
                <a:gd name="T77" fmla="*/ 8 h 602"/>
                <a:gd name="T78" fmla="*/ 285 w 647"/>
                <a:gd name="T79" fmla="*/ 45 h 602"/>
                <a:gd name="T80" fmla="*/ 15 w 647"/>
                <a:gd name="T81" fmla="*/ 451 h 602"/>
                <a:gd name="T82" fmla="*/ 6 w 647"/>
                <a:gd name="T83" fmla="*/ 454 h 602"/>
                <a:gd name="T84" fmla="*/ 1 w 647"/>
                <a:gd name="T85" fmla="*/ 460 h 602"/>
                <a:gd name="T86" fmla="*/ 0 w 647"/>
                <a:gd name="T87" fmla="*/ 475 h 602"/>
                <a:gd name="T88" fmla="*/ 5 w 647"/>
                <a:gd name="T89" fmla="*/ 504 h 602"/>
                <a:gd name="T90" fmla="*/ 17 w 647"/>
                <a:gd name="T91" fmla="*/ 534 h 602"/>
                <a:gd name="T92" fmla="*/ 35 w 647"/>
                <a:gd name="T93" fmla="*/ 561 h 602"/>
                <a:gd name="T94" fmla="*/ 58 w 647"/>
                <a:gd name="T95" fmla="*/ 585 h 602"/>
                <a:gd name="T96" fmla="*/ 83 w 647"/>
                <a:gd name="T97" fmla="*/ 60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7" h="602">
                  <a:moveTo>
                    <a:pt x="553" y="361"/>
                  </a:moveTo>
                  <a:lnTo>
                    <a:pt x="315" y="361"/>
                  </a:lnTo>
                  <a:lnTo>
                    <a:pt x="315" y="85"/>
                  </a:lnTo>
                  <a:lnTo>
                    <a:pt x="553" y="361"/>
                  </a:lnTo>
                  <a:close/>
                  <a:moveTo>
                    <a:pt x="83" y="601"/>
                  </a:moveTo>
                  <a:lnTo>
                    <a:pt x="87" y="602"/>
                  </a:lnTo>
                  <a:lnTo>
                    <a:pt x="90" y="602"/>
                  </a:lnTo>
                  <a:lnTo>
                    <a:pt x="94" y="602"/>
                  </a:lnTo>
                  <a:lnTo>
                    <a:pt x="97" y="600"/>
                  </a:lnTo>
                  <a:lnTo>
                    <a:pt x="101" y="596"/>
                  </a:lnTo>
                  <a:lnTo>
                    <a:pt x="104" y="593"/>
                  </a:lnTo>
                  <a:lnTo>
                    <a:pt x="105" y="590"/>
                  </a:lnTo>
                  <a:lnTo>
                    <a:pt x="105" y="587"/>
                  </a:lnTo>
                  <a:lnTo>
                    <a:pt x="105" y="583"/>
                  </a:lnTo>
                  <a:lnTo>
                    <a:pt x="104" y="581"/>
                  </a:lnTo>
                  <a:lnTo>
                    <a:pt x="103" y="578"/>
                  </a:lnTo>
                  <a:lnTo>
                    <a:pt x="101" y="576"/>
                  </a:lnTo>
                  <a:lnTo>
                    <a:pt x="98" y="574"/>
                  </a:lnTo>
                  <a:lnTo>
                    <a:pt x="95" y="573"/>
                  </a:lnTo>
                  <a:lnTo>
                    <a:pt x="90" y="570"/>
                  </a:lnTo>
                  <a:lnTo>
                    <a:pt x="83" y="566"/>
                  </a:lnTo>
                  <a:lnTo>
                    <a:pt x="78" y="562"/>
                  </a:lnTo>
                  <a:lnTo>
                    <a:pt x="73" y="558"/>
                  </a:lnTo>
                  <a:lnTo>
                    <a:pt x="62" y="547"/>
                  </a:lnTo>
                  <a:lnTo>
                    <a:pt x="53" y="535"/>
                  </a:lnTo>
                  <a:lnTo>
                    <a:pt x="45" y="522"/>
                  </a:lnTo>
                  <a:lnTo>
                    <a:pt x="38" y="508"/>
                  </a:lnTo>
                  <a:lnTo>
                    <a:pt x="34" y="494"/>
                  </a:lnTo>
                  <a:lnTo>
                    <a:pt x="31" y="482"/>
                  </a:lnTo>
                  <a:lnTo>
                    <a:pt x="614" y="482"/>
                  </a:lnTo>
                  <a:lnTo>
                    <a:pt x="611" y="494"/>
                  </a:lnTo>
                  <a:lnTo>
                    <a:pt x="606" y="507"/>
                  </a:lnTo>
                  <a:lnTo>
                    <a:pt x="598" y="521"/>
                  </a:lnTo>
                  <a:lnTo>
                    <a:pt x="590" y="534"/>
                  </a:lnTo>
                  <a:lnTo>
                    <a:pt x="581" y="546"/>
                  </a:lnTo>
                  <a:lnTo>
                    <a:pt x="570" y="558"/>
                  </a:lnTo>
                  <a:lnTo>
                    <a:pt x="561" y="566"/>
                  </a:lnTo>
                  <a:lnTo>
                    <a:pt x="550" y="573"/>
                  </a:lnTo>
                  <a:lnTo>
                    <a:pt x="547" y="575"/>
                  </a:lnTo>
                  <a:lnTo>
                    <a:pt x="545" y="577"/>
                  </a:lnTo>
                  <a:lnTo>
                    <a:pt x="544" y="579"/>
                  </a:lnTo>
                  <a:lnTo>
                    <a:pt x="542" y="582"/>
                  </a:lnTo>
                  <a:lnTo>
                    <a:pt x="541" y="585"/>
                  </a:lnTo>
                  <a:lnTo>
                    <a:pt x="541" y="588"/>
                  </a:lnTo>
                  <a:lnTo>
                    <a:pt x="541" y="591"/>
                  </a:lnTo>
                  <a:lnTo>
                    <a:pt x="542" y="593"/>
                  </a:lnTo>
                  <a:lnTo>
                    <a:pt x="545" y="596"/>
                  </a:lnTo>
                  <a:lnTo>
                    <a:pt x="547" y="598"/>
                  </a:lnTo>
                  <a:lnTo>
                    <a:pt x="549" y="600"/>
                  </a:lnTo>
                  <a:lnTo>
                    <a:pt x="551" y="601"/>
                  </a:lnTo>
                  <a:lnTo>
                    <a:pt x="554" y="602"/>
                  </a:lnTo>
                  <a:lnTo>
                    <a:pt x="558" y="602"/>
                  </a:lnTo>
                  <a:lnTo>
                    <a:pt x="560" y="602"/>
                  </a:lnTo>
                  <a:lnTo>
                    <a:pt x="563" y="601"/>
                  </a:lnTo>
                  <a:lnTo>
                    <a:pt x="570" y="595"/>
                  </a:lnTo>
                  <a:lnTo>
                    <a:pt x="579" y="590"/>
                  </a:lnTo>
                  <a:lnTo>
                    <a:pt x="586" y="585"/>
                  </a:lnTo>
                  <a:lnTo>
                    <a:pt x="594" y="577"/>
                  </a:lnTo>
                  <a:lnTo>
                    <a:pt x="600" y="570"/>
                  </a:lnTo>
                  <a:lnTo>
                    <a:pt x="608" y="561"/>
                  </a:lnTo>
                  <a:lnTo>
                    <a:pt x="614" y="552"/>
                  </a:lnTo>
                  <a:lnTo>
                    <a:pt x="621" y="543"/>
                  </a:lnTo>
                  <a:lnTo>
                    <a:pt x="626" y="533"/>
                  </a:lnTo>
                  <a:lnTo>
                    <a:pt x="632" y="523"/>
                  </a:lnTo>
                  <a:lnTo>
                    <a:pt x="636" y="514"/>
                  </a:lnTo>
                  <a:lnTo>
                    <a:pt x="639" y="504"/>
                  </a:lnTo>
                  <a:lnTo>
                    <a:pt x="642" y="493"/>
                  </a:lnTo>
                  <a:lnTo>
                    <a:pt x="644" y="485"/>
                  </a:lnTo>
                  <a:lnTo>
                    <a:pt x="647" y="475"/>
                  </a:lnTo>
                  <a:lnTo>
                    <a:pt x="647" y="467"/>
                  </a:lnTo>
                  <a:lnTo>
                    <a:pt x="647" y="463"/>
                  </a:lnTo>
                  <a:lnTo>
                    <a:pt x="645" y="460"/>
                  </a:lnTo>
                  <a:lnTo>
                    <a:pt x="644" y="458"/>
                  </a:lnTo>
                  <a:lnTo>
                    <a:pt x="642" y="456"/>
                  </a:lnTo>
                  <a:lnTo>
                    <a:pt x="640" y="454"/>
                  </a:lnTo>
                  <a:lnTo>
                    <a:pt x="637" y="453"/>
                  </a:lnTo>
                  <a:lnTo>
                    <a:pt x="635" y="451"/>
                  </a:lnTo>
                  <a:lnTo>
                    <a:pt x="632" y="451"/>
                  </a:lnTo>
                  <a:lnTo>
                    <a:pt x="315" y="451"/>
                  </a:lnTo>
                  <a:lnTo>
                    <a:pt x="315" y="391"/>
                  </a:lnTo>
                  <a:lnTo>
                    <a:pt x="586" y="391"/>
                  </a:lnTo>
                  <a:lnTo>
                    <a:pt x="586" y="391"/>
                  </a:lnTo>
                  <a:lnTo>
                    <a:pt x="586" y="391"/>
                  </a:lnTo>
                  <a:lnTo>
                    <a:pt x="616" y="391"/>
                  </a:lnTo>
                  <a:lnTo>
                    <a:pt x="620" y="390"/>
                  </a:lnTo>
                  <a:lnTo>
                    <a:pt x="622" y="389"/>
                  </a:lnTo>
                  <a:lnTo>
                    <a:pt x="625" y="388"/>
                  </a:lnTo>
                  <a:lnTo>
                    <a:pt x="627" y="386"/>
                  </a:lnTo>
                  <a:lnTo>
                    <a:pt x="629" y="384"/>
                  </a:lnTo>
                  <a:lnTo>
                    <a:pt x="630" y="382"/>
                  </a:lnTo>
                  <a:lnTo>
                    <a:pt x="632" y="379"/>
                  </a:lnTo>
                  <a:lnTo>
                    <a:pt x="632" y="376"/>
                  </a:lnTo>
                  <a:lnTo>
                    <a:pt x="632" y="373"/>
                  </a:lnTo>
                  <a:lnTo>
                    <a:pt x="630" y="370"/>
                  </a:lnTo>
                  <a:lnTo>
                    <a:pt x="629" y="368"/>
                  </a:lnTo>
                  <a:lnTo>
                    <a:pt x="627" y="366"/>
                  </a:lnTo>
                  <a:lnTo>
                    <a:pt x="625" y="364"/>
                  </a:lnTo>
                  <a:lnTo>
                    <a:pt x="622" y="362"/>
                  </a:lnTo>
                  <a:lnTo>
                    <a:pt x="620" y="361"/>
                  </a:lnTo>
                  <a:lnTo>
                    <a:pt x="616" y="361"/>
                  </a:lnTo>
                  <a:lnTo>
                    <a:pt x="593" y="361"/>
                  </a:lnTo>
                  <a:lnTo>
                    <a:pt x="315" y="39"/>
                  </a:lnTo>
                  <a:lnTo>
                    <a:pt x="315" y="15"/>
                  </a:lnTo>
                  <a:lnTo>
                    <a:pt x="315" y="12"/>
                  </a:lnTo>
                  <a:lnTo>
                    <a:pt x="314" y="8"/>
                  </a:lnTo>
                  <a:lnTo>
                    <a:pt x="313" y="6"/>
                  </a:lnTo>
                  <a:lnTo>
                    <a:pt x="311" y="4"/>
                  </a:lnTo>
                  <a:lnTo>
                    <a:pt x="309" y="2"/>
                  </a:lnTo>
                  <a:lnTo>
                    <a:pt x="307" y="1"/>
                  </a:lnTo>
                  <a:lnTo>
                    <a:pt x="303" y="0"/>
                  </a:lnTo>
                  <a:lnTo>
                    <a:pt x="300" y="0"/>
                  </a:lnTo>
                  <a:lnTo>
                    <a:pt x="297" y="0"/>
                  </a:lnTo>
                  <a:lnTo>
                    <a:pt x="295" y="1"/>
                  </a:lnTo>
                  <a:lnTo>
                    <a:pt x="292" y="2"/>
                  </a:lnTo>
                  <a:lnTo>
                    <a:pt x="289" y="4"/>
                  </a:lnTo>
                  <a:lnTo>
                    <a:pt x="288" y="6"/>
                  </a:lnTo>
                  <a:lnTo>
                    <a:pt x="286" y="8"/>
                  </a:lnTo>
                  <a:lnTo>
                    <a:pt x="286" y="12"/>
                  </a:lnTo>
                  <a:lnTo>
                    <a:pt x="285" y="15"/>
                  </a:lnTo>
                  <a:lnTo>
                    <a:pt x="285" y="45"/>
                  </a:lnTo>
                  <a:lnTo>
                    <a:pt x="285" y="376"/>
                  </a:lnTo>
                  <a:lnTo>
                    <a:pt x="285" y="451"/>
                  </a:lnTo>
                  <a:lnTo>
                    <a:pt x="15" y="451"/>
                  </a:lnTo>
                  <a:lnTo>
                    <a:pt x="12" y="451"/>
                  </a:lnTo>
                  <a:lnTo>
                    <a:pt x="8" y="453"/>
                  </a:lnTo>
                  <a:lnTo>
                    <a:pt x="6" y="454"/>
                  </a:lnTo>
                  <a:lnTo>
                    <a:pt x="4" y="456"/>
                  </a:lnTo>
                  <a:lnTo>
                    <a:pt x="2" y="458"/>
                  </a:lnTo>
                  <a:lnTo>
                    <a:pt x="1" y="460"/>
                  </a:lnTo>
                  <a:lnTo>
                    <a:pt x="0" y="463"/>
                  </a:lnTo>
                  <a:lnTo>
                    <a:pt x="0" y="467"/>
                  </a:lnTo>
                  <a:lnTo>
                    <a:pt x="0" y="475"/>
                  </a:lnTo>
                  <a:lnTo>
                    <a:pt x="1" y="485"/>
                  </a:lnTo>
                  <a:lnTo>
                    <a:pt x="3" y="494"/>
                  </a:lnTo>
                  <a:lnTo>
                    <a:pt x="5" y="504"/>
                  </a:lnTo>
                  <a:lnTo>
                    <a:pt x="8" y="514"/>
                  </a:lnTo>
                  <a:lnTo>
                    <a:pt x="13" y="524"/>
                  </a:lnTo>
                  <a:lnTo>
                    <a:pt x="17" y="534"/>
                  </a:lnTo>
                  <a:lnTo>
                    <a:pt x="22" y="544"/>
                  </a:lnTo>
                  <a:lnTo>
                    <a:pt x="29" y="552"/>
                  </a:lnTo>
                  <a:lnTo>
                    <a:pt x="35" y="561"/>
                  </a:lnTo>
                  <a:lnTo>
                    <a:pt x="42" y="570"/>
                  </a:lnTo>
                  <a:lnTo>
                    <a:pt x="49" y="577"/>
                  </a:lnTo>
                  <a:lnTo>
                    <a:pt x="58" y="585"/>
                  </a:lnTo>
                  <a:lnTo>
                    <a:pt x="65" y="591"/>
                  </a:lnTo>
                  <a:lnTo>
                    <a:pt x="75" y="596"/>
                  </a:lnTo>
                  <a:lnTo>
                    <a:pt x="83" y="6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359">
              <a:extLst>
                <a:ext uri="{FF2B5EF4-FFF2-40B4-BE49-F238E27FC236}">
                  <a16:creationId xmlns:a16="http://schemas.microsoft.com/office/drawing/2014/main" id="{ED8C25EF-2E75-4760-A229-3D795FC5D9ED}"/>
                </a:ext>
              </a:extLst>
            </p:cNvPr>
            <p:cNvSpPr>
              <a:spLocks/>
            </p:cNvSpPr>
            <p:nvPr/>
          </p:nvSpPr>
          <p:spPr bwMode="auto">
            <a:xfrm>
              <a:off x="9915526" y="2127250"/>
              <a:ext cx="238125" cy="28575"/>
            </a:xfrm>
            <a:custGeom>
              <a:avLst/>
              <a:gdLst>
                <a:gd name="T0" fmla="*/ 57 w 753"/>
                <a:gd name="T1" fmla="*/ 78 h 90"/>
                <a:gd name="T2" fmla="*/ 94 w 753"/>
                <a:gd name="T3" fmla="*/ 78 h 90"/>
                <a:gd name="T4" fmla="*/ 144 w 753"/>
                <a:gd name="T5" fmla="*/ 90 h 90"/>
                <a:gd name="T6" fmla="*/ 191 w 753"/>
                <a:gd name="T7" fmla="*/ 66 h 90"/>
                <a:gd name="T8" fmla="*/ 230 w 753"/>
                <a:gd name="T9" fmla="*/ 86 h 90"/>
                <a:gd name="T10" fmla="*/ 282 w 753"/>
                <a:gd name="T11" fmla="*/ 86 h 90"/>
                <a:gd name="T12" fmla="*/ 321 w 753"/>
                <a:gd name="T13" fmla="*/ 66 h 90"/>
                <a:gd name="T14" fmla="*/ 368 w 753"/>
                <a:gd name="T15" fmla="*/ 90 h 90"/>
                <a:gd name="T16" fmla="*/ 418 w 753"/>
                <a:gd name="T17" fmla="*/ 78 h 90"/>
                <a:gd name="T18" fmla="*/ 456 w 753"/>
                <a:gd name="T19" fmla="*/ 78 h 90"/>
                <a:gd name="T20" fmla="*/ 506 w 753"/>
                <a:gd name="T21" fmla="*/ 90 h 90"/>
                <a:gd name="T22" fmla="*/ 552 w 753"/>
                <a:gd name="T23" fmla="*/ 66 h 90"/>
                <a:gd name="T24" fmla="*/ 591 w 753"/>
                <a:gd name="T25" fmla="*/ 86 h 90"/>
                <a:gd name="T26" fmla="*/ 643 w 753"/>
                <a:gd name="T27" fmla="*/ 86 h 90"/>
                <a:gd name="T28" fmla="*/ 683 w 753"/>
                <a:gd name="T29" fmla="*/ 66 h 90"/>
                <a:gd name="T30" fmla="*/ 729 w 753"/>
                <a:gd name="T31" fmla="*/ 90 h 90"/>
                <a:gd name="T32" fmla="*/ 750 w 753"/>
                <a:gd name="T33" fmla="*/ 83 h 90"/>
                <a:gd name="T34" fmla="*/ 750 w 753"/>
                <a:gd name="T35" fmla="*/ 67 h 90"/>
                <a:gd name="T36" fmla="*/ 729 w 753"/>
                <a:gd name="T37" fmla="*/ 59 h 90"/>
                <a:gd name="T38" fmla="*/ 694 w 753"/>
                <a:gd name="T39" fmla="*/ 24 h 90"/>
                <a:gd name="T40" fmla="*/ 686 w 753"/>
                <a:gd name="T41" fmla="*/ 3 h 90"/>
                <a:gd name="T42" fmla="*/ 669 w 753"/>
                <a:gd name="T43" fmla="*/ 3 h 90"/>
                <a:gd name="T44" fmla="*/ 661 w 753"/>
                <a:gd name="T45" fmla="*/ 24 h 90"/>
                <a:gd name="T46" fmla="*/ 626 w 753"/>
                <a:gd name="T47" fmla="*/ 60 h 90"/>
                <a:gd name="T48" fmla="*/ 580 w 753"/>
                <a:gd name="T49" fmla="*/ 41 h 90"/>
                <a:gd name="T50" fmla="*/ 569 w 753"/>
                <a:gd name="T51" fmla="*/ 6 h 90"/>
                <a:gd name="T52" fmla="*/ 554 w 753"/>
                <a:gd name="T53" fmla="*/ 1 h 90"/>
                <a:gd name="T54" fmla="*/ 542 w 753"/>
                <a:gd name="T55" fmla="*/ 12 h 90"/>
                <a:gd name="T56" fmla="*/ 522 w 753"/>
                <a:gd name="T57" fmla="*/ 52 h 90"/>
                <a:gd name="T58" fmla="*/ 472 w 753"/>
                <a:gd name="T59" fmla="*/ 52 h 90"/>
                <a:gd name="T60" fmla="*/ 451 w 753"/>
                <a:gd name="T61" fmla="*/ 12 h 90"/>
                <a:gd name="T62" fmla="*/ 439 w 753"/>
                <a:gd name="T63" fmla="*/ 1 h 90"/>
                <a:gd name="T64" fmla="*/ 424 w 753"/>
                <a:gd name="T65" fmla="*/ 6 h 90"/>
                <a:gd name="T66" fmla="*/ 414 w 753"/>
                <a:gd name="T67" fmla="*/ 41 h 90"/>
                <a:gd name="T68" fmla="*/ 368 w 753"/>
                <a:gd name="T69" fmla="*/ 59 h 90"/>
                <a:gd name="T70" fmla="*/ 332 w 753"/>
                <a:gd name="T71" fmla="*/ 24 h 90"/>
                <a:gd name="T72" fmla="*/ 325 w 753"/>
                <a:gd name="T73" fmla="*/ 3 h 90"/>
                <a:gd name="T74" fmla="*/ 307 w 753"/>
                <a:gd name="T75" fmla="*/ 3 h 90"/>
                <a:gd name="T76" fmla="*/ 300 w 753"/>
                <a:gd name="T77" fmla="*/ 24 h 90"/>
                <a:gd name="T78" fmla="*/ 265 w 753"/>
                <a:gd name="T79" fmla="*/ 60 h 90"/>
                <a:gd name="T80" fmla="*/ 218 w 753"/>
                <a:gd name="T81" fmla="*/ 41 h 90"/>
                <a:gd name="T82" fmla="*/ 209 w 753"/>
                <a:gd name="T83" fmla="*/ 6 h 90"/>
                <a:gd name="T84" fmla="*/ 193 w 753"/>
                <a:gd name="T85" fmla="*/ 1 h 90"/>
                <a:gd name="T86" fmla="*/ 181 w 753"/>
                <a:gd name="T87" fmla="*/ 12 h 90"/>
                <a:gd name="T88" fmla="*/ 161 w 753"/>
                <a:gd name="T89" fmla="*/ 52 h 90"/>
                <a:gd name="T90" fmla="*/ 110 w 753"/>
                <a:gd name="T91" fmla="*/ 52 h 90"/>
                <a:gd name="T92" fmla="*/ 90 w 753"/>
                <a:gd name="T93" fmla="*/ 12 h 90"/>
                <a:gd name="T94" fmla="*/ 78 w 753"/>
                <a:gd name="T95" fmla="*/ 1 h 90"/>
                <a:gd name="T96" fmla="*/ 63 w 753"/>
                <a:gd name="T97" fmla="*/ 6 h 90"/>
                <a:gd name="T98" fmla="*/ 52 w 753"/>
                <a:gd name="T99" fmla="*/ 41 h 90"/>
                <a:gd name="T100" fmla="*/ 13 w 753"/>
                <a:gd name="T101" fmla="*/ 61 h 90"/>
                <a:gd name="T102" fmla="*/ 1 w 753"/>
                <a:gd name="T103" fmla="*/ 73 h 90"/>
                <a:gd name="T104" fmla="*/ 7 w 753"/>
                <a:gd name="T105" fmla="*/ 8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 h="90">
                  <a:moveTo>
                    <a:pt x="15" y="90"/>
                  </a:moveTo>
                  <a:lnTo>
                    <a:pt x="24" y="90"/>
                  </a:lnTo>
                  <a:lnTo>
                    <a:pt x="33" y="88"/>
                  </a:lnTo>
                  <a:lnTo>
                    <a:pt x="42" y="86"/>
                  </a:lnTo>
                  <a:lnTo>
                    <a:pt x="49" y="82"/>
                  </a:lnTo>
                  <a:lnTo>
                    <a:pt x="57" y="78"/>
                  </a:lnTo>
                  <a:lnTo>
                    <a:pt x="64" y="73"/>
                  </a:lnTo>
                  <a:lnTo>
                    <a:pt x="69" y="66"/>
                  </a:lnTo>
                  <a:lnTo>
                    <a:pt x="76" y="60"/>
                  </a:lnTo>
                  <a:lnTo>
                    <a:pt x="81" y="66"/>
                  </a:lnTo>
                  <a:lnTo>
                    <a:pt x="88" y="73"/>
                  </a:lnTo>
                  <a:lnTo>
                    <a:pt x="94" y="78"/>
                  </a:lnTo>
                  <a:lnTo>
                    <a:pt x="102" y="82"/>
                  </a:lnTo>
                  <a:lnTo>
                    <a:pt x="109" y="86"/>
                  </a:lnTo>
                  <a:lnTo>
                    <a:pt x="118" y="88"/>
                  </a:lnTo>
                  <a:lnTo>
                    <a:pt x="126" y="90"/>
                  </a:lnTo>
                  <a:lnTo>
                    <a:pt x="136" y="90"/>
                  </a:lnTo>
                  <a:lnTo>
                    <a:pt x="144" y="90"/>
                  </a:lnTo>
                  <a:lnTo>
                    <a:pt x="153" y="88"/>
                  </a:lnTo>
                  <a:lnTo>
                    <a:pt x="162" y="86"/>
                  </a:lnTo>
                  <a:lnTo>
                    <a:pt x="170" y="82"/>
                  </a:lnTo>
                  <a:lnTo>
                    <a:pt x="178" y="78"/>
                  </a:lnTo>
                  <a:lnTo>
                    <a:pt x="184" y="73"/>
                  </a:lnTo>
                  <a:lnTo>
                    <a:pt x="191" y="66"/>
                  </a:lnTo>
                  <a:lnTo>
                    <a:pt x="196" y="60"/>
                  </a:lnTo>
                  <a:lnTo>
                    <a:pt x="201" y="66"/>
                  </a:lnTo>
                  <a:lnTo>
                    <a:pt x="208" y="73"/>
                  </a:lnTo>
                  <a:lnTo>
                    <a:pt x="214" y="78"/>
                  </a:lnTo>
                  <a:lnTo>
                    <a:pt x="222" y="82"/>
                  </a:lnTo>
                  <a:lnTo>
                    <a:pt x="230" y="86"/>
                  </a:lnTo>
                  <a:lnTo>
                    <a:pt x="238" y="88"/>
                  </a:lnTo>
                  <a:lnTo>
                    <a:pt x="247" y="90"/>
                  </a:lnTo>
                  <a:lnTo>
                    <a:pt x="256" y="90"/>
                  </a:lnTo>
                  <a:lnTo>
                    <a:pt x="266" y="90"/>
                  </a:lnTo>
                  <a:lnTo>
                    <a:pt x="274" y="88"/>
                  </a:lnTo>
                  <a:lnTo>
                    <a:pt x="282" y="86"/>
                  </a:lnTo>
                  <a:lnTo>
                    <a:pt x="290" y="82"/>
                  </a:lnTo>
                  <a:lnTo>
                    <a:pt x="298" y="78"/>
                  </a:lnTo>
                  <a:lnTo>
                    <a:pt x="304" y="73"/>
                  </a:lnTo>
                  <a:lnTo>
                    <a:pt x="311" y="66"/>
                  </a:lnTo>
                  <a:lnTo>
                    <a:pt x="316" y="60"/>
                  </a:lnTo>
                  <a:lnTo>
                    <a:pt x="321" y="66"/>
                  </a:lnTo>
                  <a:lnTo>
                    <a:pt x="328" y="73"/>
                  </a:lnTo>
                  <a:lnTo>
                    <a:pt x="335" y="78"/>
                  </a:lnTo>
                  <a:lnTo>
                    <a:pt x="342" y="82"/>
                  </a:lnTo>
                  <a:lnTo>
                    <a:pt x="350" y="86"/>
                  </a:lnTo>
                  <a:lnTo>
                    <a:pt x="359" y="88"/>
                  </a:lnTo>
                  <a:lnTo>
                    <a:pt x="368" y="90"/>
                  </a:lnTo>
                  <a:lnTo>
                    <a:pt x="376" y="90"/>
                  </a:lnTo>
                  <a:lnTo>
                    <a:pt x="386" y="90"/>
                  </a:lnTo>
                  <a:lnTo>
                    <a:pt x="394" y="88"/>
                  </a:lnTo>
                  <a:lnTo>
                    <a:pt x="403" y="86"/>
                  </a:lnTo>
                  <a:lnTo>
                    <a:pt x="410" y="82"/>
                  </a:lnTo>
                  <a:lnTo>
                    <a:pt x="418" y="78"/>
                  </a:lnTo>
                  <a:lnTo>
                    <a:pt x="425" y="73"/>
                  </a:lnTo>
                  <a:lnTo>
                    <a:pt x="431" y="66"/>
                  </a:lnTo>
                  <a:lnTo>
                    <a:pt x="436" y="60"/>
                  </a:lnTo>
                  <a:lnTo>
                    <a:pt x="443" y="66"/>
                  </a:lnTo>
                  <a:lnTo>
                    <a:pt x="448" y="73"/>
                  </a:lnTo>
                  <a:lnTo>
                    <a:pt x="456" y="78"/>
                  </a:lnTo>
                  <a:lnTo>
                    <a:pt x="463" y="82"/>
                  </a:lnTo>
                  <a:lnTo>
                    <a:pt x="471" y="86"/>
                  </a:lnTo>
                  <a:lnTo>
                    <a:pt x="479" y="88"/>
                  </a:lnTo>
                  <a:lnTo>
                    <a:pt x="488" y="90"/>
                  </a:lnTo>
                  <a:lnTo>
                    <a:pt x="497" y="90"/>
                  </a:lnTo>
                  <a:lnTo>
                    <a:pt x="506" y="90"/>
                  </a:lnTo>
                  <a:lnTo>
                    <a:pt x="514" y="88"/>
                  </a:lnTo>
                  <a:lnTo>
                    <a:pt x="523" y="86"/>
                  </a:lnTo>
                  <a:lnTo>
                    <a:pt x="531" y="82"/>
                  </a:lnTo>
                  <a:lnTo>
                    <a:pt x="538" y="78"/>
                  </a:lnTo>
                  <a:lnTo>
                    <a:pt x="546" y="73"/>
                  </a:lnTo>
                  <a:lnTo>
                    <a:pt x="552" y="66"/>
                  </a:lnTo>
                  <a:lnTo>
                    <a:pt x="557" y="60"/>
                  </a:lnTo>
                  <a:lnTo>
                    <a:pt x="563" y="66"/>
                  </a:lnTo>
                  <a:lnTo>
                    <a:pt x="569" y="73"/>
                  </a:lnTo>
                  <a:lnTo>
                    <a:pt x="576" y="78"/>
                  </a:lnTo>
                  <a:lnTo>
                    <a:pt x="583" y="82"/>
                  </a:lnTo>
                  <a:lnTo>
                    <a:pt x="591" y="86"/>
                  </a:lnTo>
                  <a:lnTo>
                    <a:pt x="599" y="88"/>
                  </a:lnTo>
                  <a:lnTo>
                    <a:pt x="608" y="90"/>
                  </a:lnTo>
                  <a:lnTo>
                    <a:pt x="617" y="90"/>
                  </a:lnTo>
                  <a:lnTo>
                    <a:pt x="626" y="90"/>
                  </a:lnTo>
                  <a:lnTo>
                    <a:pt x="636" y="88"/>
                  </a:lnTo>
                  <a:lnTo>
                    <a:pt x="643" y="86"/>
                  </a:lnTo>
                  <a:lnTo>
                    <a:pt x="652" y="82"/>
                  </a:lnTo>
                  <a:lnTo>
                    <a:pt x="659" y="78"/>
                  </a:lnTo>
                  <a:lnTo>
                    <a:pt x="666" y="73"/>
                  </a:lnTo>
                  <a:lnTo>
                    <a:pt x="672" y="66"/>
                  </a:lnTo>
                  <a:lnTo>
                    <a:pt x="678" y="60"/>
                  </a:lnTo>
                  <a:lnTo>
                    <a:pt x="683" y="66"/>
                  </a:lnTo>
                  <a:lnTo>
                    <a:pt x="689" y="73"/>
                  </a:lnTo>
                  <a:lnTo>
                    <a:pt x="696" y="78"/>
                  </a:lnTo>
                  <a:lnTo>
                    <a:pt x="703" y="82"/>
                  </a:lnTo>
                  <a:lnTo>
                    <a:pt x="712" y="86"/>
                  </a:lnTo>
                  <a:lnTo>
                    <a:pt x="720" y="88"/>
                  </a:lnTo>
                  <a:lnTo>
                    <a:pt x="729" y="90"/>
                  </a:lnTo>
                  <a:lnTo>
                    <a:pt x="738" y="90"/>
                  </a:lnTo>
                  <a:lnTo>
                    <a:pt x="741" y="90"/>
                  </a:lnTo>
                  <a:lnTo>
                    <a:pt x="744" y="89"/>
                  </a:lnTo>
                  <a:lnTo>
                    <a:pt x="746" y="88"/>
                  </a:lnTo>
                  <a:lnTo>
                    <a:pt x="748" y="86"/>
                  </a:lnTo>
                  <a:lnTo>
                    <a:pt x="750" y="83"/>
                  </a:lnTo>
                  <a:lnTo>
                    <a:pt x="752" y="81"/>
                  </a:lnTo>
                  <a:lnTo>
                    <a:pt x="753" y="78"/>
                  </a:lnTo>
                  <a:lnTo>
                    <a:pt x="753" y="75"/>
                  </a:lnTo>
                  <a:lnTo>
                    <a:pt x="753" y="73"/>
                  </a:lnTo>
                  <a:lnTo>
                    <a:pt x="752" y="70"/>
                  </a:lnTo>
                  <a:lnTo>
                    <a:pt x="750" y="67"/>
                  </a:lnTo>
                  <a:lnTo>
                    <a:pt x="748" y="64"/>
                  </a:lnTo>
                  <a:lnTo>
                    <a:pt x="746" y="63"/>
                  </a:lnTo>
                  <a:lnTo>
                    <a:pt x="744" y="61"/>
                  </a:lnTo>
                  <a:lnTo>
                    <a:pt x="741" y="61"/>
                  </a:lnTo>
                  <a:lnTo>
                    <a:pt x="738" y="60"/>
                  </a:lnTo>
                  <a:lnTo>
                    <a:pt x="729" y="59"/>
                  </a:lnTo>
                  <a:lnTo>
                    <a:pt x="720" y="57"/>
                  </a:lnTo>
                  <a:lnTo>
                    <a:pt x="713" y="52"/>
                  </a:lnTo>
                  <a:lnTo>
                    <a:pt x="705" y="47"/>
                  </a:lnTo>
                  <a:lnTo>
                    <a:pt x="700" y="41"/>
                  </a:lnTo>
                  <a:lnTo>
                    <a:pt x="696" y="33"/>
                  </a:lnTo>
                  <a:lnTo>
                    <a:pt x="694" y="24"/>
                  </a:lnTo>
                  <a:lnTo>
                    <a:pt x="693" y="15"/>
                  </a:lnTo>
                  <a:lnTo>
                    <a:pt x="693" y="12"/>
                  </a:lnTo>
                  <a:lnTo>
                    <a:pt x="691" y="9"/>
                  </a:lnTo>
                  <a:lnTo>
                    <a:pt x="690" y="6"/>
                  </a:lnTo>
                  <a:lnTo>
                    <a:pt x="688" y="4"/>
                  </a:lnTo>
                  <a:lnTo>
                    <a:pt x="686" y="3"/>
                  </a:lnTo>
                  <a:lnTo>
                    <a:pt x="683" y="1"/>
                  </a:lnTo>
                  <a:lnTo>
                    <a:pt x="681" y="1"/>
                  </a:lnTo>
                  <a:lnTo>
                    <a:pt x="678" y="0"/>
                  </a:lnTo>
                  <a:lnTo>
                    <a:pt x="674" y="1"/>
                  </a:lnTo>
                  <a:lnTo>
                    <a:pt x="672" y="1"/>
                  </a:lnTo>
                  <a:lnTo>
                    <a:pt x="669" y="3"/>
                  </a:lnTo>
                  <a:lnTo>
                    <a:pt x="667" y="4"/>
                  </a:lnTo>
                  <a:lnTo>
                    <a:pt x="665" y="6"/>
                  </a:lnTo>
                  <a:lnTo>
                    <a:pt x="664" y="9"/>
                  </a:lnTo>
                  <a:lnTo>
                    <a:pt x="662" y="12"/>
                  </a:lnTo>
                  <a:lnTo>
                    <a:pt x="662" y="15"/>
                  </a:lnTo>
                  <a:lnTo>
                    <a:pt x="661" y="24"/>
                  </a:lnTo>
                  <a:lnTo>
                    <a:pt x="659" y="33"/>
                  </a:lnTo>
                  <a:lnTo>
                    <a:pt x="655" y="41"/>
                  </a:lnTo>
                  <a:lnTo>
                    <a:pt x="650" y="47"/>
                  </a:lnTo>
                  <a:lnTo>
                    <a:pt x="642" y="52"/>
                  </a:lnTo>
                  <a:lnTo>
                    <a:pt x="635" y="57"/>
                  </a:lnTo>
                  <a:lnTo>
                    <a:pt x="626" y="60"/>
                  </a:lnTo>
                  <a:lnTo>
                    <a:pt x="617" y="60"/>
                  </a:lnTo>
                  <a:lnTo>
                    <a:pt x="608" y="59"/>
                  </a:lnTo>
                  <a:lnTo>
                    <a:pt x="600" y="57"/>
                  </a:lnTo>
                  <a:lnTo>
                    <a:pt x="592" y="52"/>
                  </a:lnTo>
                  <a:lnTo>
                    <a:pt x="585" y="47"/>
                  </a:lnTo>
                  <a:lnTo>
                    <a:pt x="580" y="41"/>
                  </a:lnTo>
                  <a:lnTo>
                    <a:pt x="576" y="33"/>
                  </a:lnTo>
                  <a:lnTo>
                    <a:pt x="573" y="24"/>
                  </a:lnTo>
                  <a:lnTo>
                    <a:pt x="572" y="15"/>
                  </a:lnTo>
                  <a:lnTo>
                    <a:pt x="571" y="12"/>
                  </a:lnTo>
                  <a:lnTo>
                    <a:pt x="571" y="9"/>
                  </a:lnTo>
                  <a:lnTo>
                    <a:pt x="569" y="6"/>
                  </a:lnTo>
                  <a:lnTo>
                    <a:pt x="568" y="4"/>
                  </a:lnTo>
                  <a:lnTo>
                    <a:pt x="566" y="3"/>
                  </a:lnTo>
                  <a:lnTo>
                    <a:pt x="563" y="1"/>
                  </a:lnTo>
                  <a:lnTo>
                    <a:pt x="561" y="1"/>
                  </a:lnTo>
                  <a:lnTo>
                    <a:pt x="557" y="0"/>
                  </a:lnTo>
                  <a:lnTo>
                    <a:pt x="554" y="1"/>
                  </a:lnTo>
                  <a:lnTo>
                    <a:pt x="551" y="1"/>
                  </a:lnTo>
                  <a:lnTo>
                    <a:pt x="549" y="3"/>
                  </a:lnTo>
                  <a:lnTo>
                    <a:pt x="547" y="4"/>
                  </a:lnTo>
                  <a:lnTo>
                    <a:pt x="545" y="6"/>
                  </a:lnTo>
                  <a:lnTo>
                    <a:pt x="543" y="9"/>
                  </a:lnTo>
                  <a:lnTo>
                    <a:pt x="542" y="12"/>
                  </a:lnTo>
                  <a:lnTo>
                    <a:pt x="542" y="15"/>
                  </a:lnTo>
                  <a:lnTo>
                    <a:pt x="541" y="24"/>
                  </a:lnTo>
                  <a:lnTo>
                    <a:pt x="538" y="33"/>
                  </a:lnTo>
                  <a:lnTo>
                    <a:pt x="535" y="41"/>
                  </a:lnTo>
                  <a:lnTo>
                    <a:pt x="528" y="47"/>
                  </a:lnTo>
                  <a:lnTo>
                    <a:pt x="522" y="52"/>
                  </a:lnTo>
                  <a:lnTo>
                    <a:pt x="514" y="57"/>
                  </a:lnTo>
                  <a:lnTo>
                    <a:pt x="506" y="60"/>
                  </a:lnTo>
                  <a:lnTo>
                    <a:pt x="497" y="60"/>
                  </a:lnTo>
                  <a:lnTo>
                    <a:pt x="488" y="59"/>
                  </a:lnTo>
                  <a:lnTo>
                    <a:pt x="479" y="57"/>
                  </a:lnTo>
                  <a:lnTo>
                    <a:pt x="472" y="52"/>
                  </a:lnTo>
                  <a:lnTo>
                    <a:pt x="465" y="47"/>
                  </a:lnTo>
                  <a:lnTo>
                    <a:pt x="460" y="41"/>
                  </a:lnTo>
                  <a:lnTo>
                    <a:pt x="456" y="33"/>
                  </a:lnTo>
                  <a:lnTo>
                    <a:pt x="452" y="24"/>
                  </a:lnTo>
                  <a:lnTo>
                    <a:pt x="451" y="15"/>
                  </a:lnTo>
                  <a:lnTo>
                    <a:pt x="451" y="12"/>
                  </a:lnTo>
                  <a:lnTo>
                    <a:pt x="450" y="9"/>
                  </a:lnTo>
                  <a:lnTo>
                    <a:pt x="449" y="6"/>
                  </a:lnTo>
                  <a:lnTo>
                    <a:pt x="447" y="4"/>
                  </a:lnTo>
                  <a:lnTo>
                    <a:pt x="445" y="3"/>
                  </a:lnTo>
                  <a:lnTo>
                    <a:pt x="443" y="1"/>
                  </a:lnTo>
                  <a:lnTo>
                    <a:pt x="439" y="1"/>
                  </a:lnTo>
                  <a:lnTo>
                    <a:pt x="436" y="0"/>
                  </a:lnTo>
                  <a:lnTo>
                    <a:pt x="434" y="1"/>
                  </a:lnTo>
                  <a:lnTo>
                    <a:pt x="431" y="1"/>
                  </a:lnTo>
                  <a:lnTo>
                    <a:pt x="429" y="3"/>
                  </a:lnTo>
                  <a:lnTo>
                    <a:pt x="427" y="4"/>
                  </a:lnTo>
                  <a:lnTo>
                    <a:pt x="424" y="6"/>
                  </a:lnTo>
                  <a:lnTo>
                    <a:pt x="423" y="9"/>
                  </a:lnTo>
                  <a:lnTo>
                    <a:pt x="422" y="12"/>
                  </a:lnTo>
                  <a:lnTo>
                    <a:pt x="421" y="15"/>
                  </a:lnTo>
                  <a:lnTo>
                    <a:pt x="421" y="24"/>
                  </a:lnTo>
                  <a:lnTo>
                    <a:pt x="418" y="33"/>
                  </a:lnTo>
                  <a:lnTo>
                    <a:pt x="414" y="41"/>
                  </a:lnTo>
                  <a:lnTo>
                    <a:pt x="408" y="47"/>
                  </a:lnTo>
                  <a:lnTo>
                    <a:pt x="402" y="52"/>
                  </a:lnTo>
                  <a:lnTo>
                    <a:pt x="394" y="57"/>
                  </a:lnTo>
                  <a:lnTo>
                    <a:pt x="386" y="60"/>
                  </a:lnTo>
                  <a:lnTo>
                    <a:pt x="376" y="60"/>
                  </a:lnTo>
                  <a:lnTo>
                    <a:pt x="368" y="59"/>
                  </a:lnTo>
                  <a:lnTo>
                    <a:pt x="359" y="57"/>
                  </a:lnTo>
                  <a:lnTo>
                    <a:pt x="351" y="52"/>
                  </a:lnTo>
                  <a:lnTo>
                    <a:pt x="345" y="47"/>
                  </a:lnTo>
                  <a:lnTo>
                    <a:pt x="339" y="41"/>
                  </a:lnTo>
                  <a:lnTo>
                    <a:pt x="335" y="33"/>
                  </a:lnTo>
                  <a:lnTo>
                    <a:pt x="332" y="24"/>
                  </a:lnTo>
                  <a:lnTo>
                    <a:pt x="331" y="15"/>
                  </a:lnTo>
                  <a:lnTo>
                    <a:pt x="331" y="12"/>
                  </a:lnTo>
                  <a:lnTo>
                    <a:pt x="330" y="9"/>
                  </a:lnTo>
                  <a:lnTo>
                    <a:pt x="329" y="6"/>
                  </a:lnTo>
                  <a:lnTo>
                    <a:pt x="327" y="4"/>
                  </a:lnTo>
                  <a:lnTo>
                    <a:pt x="325" y="3"/>
                  </a:lnTo>
                  <a:lnTo>
                    <a:pt x="323" y="1"/>
                  </a:lnTo>
                  <a:lnTo>
                    <a:pt x="319" y="1"/>
                  </a:lnTo>
                  <a:lnTo>
                    <a:pt x="316" y="0"/>
                  </a:lnTo>
                  <a:lnTo>
                    <a:pt x="313" y="1"/>
                  </a:lnTo>
                  <a:lnTo>
                    <a:pt x="311" y="1"/>
                  </a:lnTo>
                  <a:lnTo>
                    <a:pt x="307" y="3"/>
                  </a:lnTo>
                  <a:lnTo>
                    <a:pt x="305" y="4"/>
                  </a:lnTo>
                  <a:lnTo>
                    <a:pt x="304" y="6"/>
                  </a:lnTo>
                  <a:lnTo>
                    <a:pt x="302" y="9"/>
                  </a:lnTo>
                  <a:lnTo>
                    <a:pt x="301" y="12"/>
                  </a:lnTo>
                  <a:lnTo>
                    <a:pt x="301" y="15"/>
                  </a:lnTo>
                  <a:lnTo>
                    <a:pt x="300" y="24"/>
                  </a:lnTo>
                  <a:lnTo>
                    <a:pt x="298" y="33"/>
                  </a:lnTo>
                  <a:lnTo>
                    <a:pt x="294" y="41"/>
                  </a:lnTo>
                  <a:lnTo>
                    <a:pt x="288" y="47"/>
                  </a:lnTo>
                  <a:lnTo>
                    <a:pt x="282" y="52"/>
                  </a:lnTo>
                  <a:lnTo>
                    <a:pt x="273" y="57"/>
                  </a:lnTo>
                  <a:lnTo>
                    <a:pt x="265" y="60"/>
                  </a:lnTo>
                  <a:lnTo>
                    <a:pt x="256" y="60"/>
                  </a:lnTo>
                  <a:lnTo>
                    <a:pt x="247" y="59"/>
                  </a:lnTo>
                  <a:lnTo>
                    <a:pt x="239" y="57"/>
                  </a:lnTo>
                  <a:lnTo>
                    <a:pt x="231" y="52"/>
                  </a:lnTo>
                  <a:lnTo>
                    <a:pt x="224" y="47"/>
                  </a:lnTo>
                  <a:lnTo>
                    <a:pt x="218" y="41"/>
                  </a:lnTo>
                  <a:lnTo>
                    <a:pt x="214" y="33"/>
                  </a:lnTo>
                  <a:lnTo>
                    <a:pt x="212" y="24"/>
                  </a:lnTo>
                  <a:lnTo>
                    <a:pt x="211" y="15"/>
                  </a:lnTo>
                  <a:lnTo>
                    <a:pt x="211" y="12"/>
                  </a:lnTo>
                  <a:lnTo>
                    <a:pt x="210" y="9"/>
                  </a:lnTo>
                  <a:lnTo>
                    <a:pt x="209" y="6"/>
                  </a:lnTo>
                  <a:lnTo>
                    <a:pt x="207" y="4"/>
                  </a:lnTo>
                  <a:lnTo>
                    <a:pt x="205" y="3"/>
                  </a:lnTo>
                  <a:lnTo>
                    <a:pt x="201" y="1"/>
                  </a:lnTo>
                  <a:lnTo>
                    <a:pt x="199" y="1"/>
                  </a:lnTo>
                  <a:lnTo>
                    <a:pt x="196" y="0"/>
                  </a:lnTo>
                  <a:lnTo>
                    <a:pt x="193" y="1"/>
                  </a:lnTo>
                  <a:lnTo>
                    <a:pt x="190" y="1"/>
                  </a:lnTo>
                  <a:lnTo>
                    <a:pt x="187" y="3"/>
                  </a:lnTo>
                  <a:lnTo>
                    <a:pt x="185" y="4"/>
                  </a:lnTo>
                  <a:lnTo>
                    <a:pt x="183" y="6"/>
                  </a:lnTo>
                  <a:lnTo>
                    <a:pt x="182" y="9"/>
                  </a:lnTo>
                  <a:lnTo>
                    <a:pt x="181" y="12"/>
                  </a:lnTo>
                  <a:lnTo>
                    <a:pt x="181" y="15"/>
                  </a:lnTo>
                  <a:lnTo>
                    <a:pt x="180" y="24"/>
                  </a:lnTo>
                  <a:lnTo>
                    <a:pt x="178" y="33"/>
                  </a:lnTo>
                  <a:lnTo>
                    <a:pt x="173" y="41"/>
                  </a:lnTo>
                  <a:lnTo>
                    <a:pt x="167" y="47"/>
                  </a:lnTo>
                  <a:lnTo>
                    <a:pt x="161" y="52"/>
                  </a:lnTo>
                  <a:lnTo>
                    <a:pt x="153" y="57"/>
                  </a:lnTo>
                  <a:lnTo>
                    <a:pt x="144" y="60"/>
                  </a:lnTo>
                  <a:lnTo>
                    <a:pt x="136" y="60"/>
                  </a:lnTo>
                  <a:lnTo>
                    <a:pt x="126" y="59"/>
                  </a:lnTo>
                  <a:lnTo>
                    <a:pt x="118" y="57"/>
                  </a:lnTo>
                  <a:lnTo>
                    <a:pt x="110" y="52"/>
                  </a:lnTo>
                  <a:lnTo>
                    <a:pt x="104" y="47"/>
                  </a:lnTo>
                  <a:lnTo>
                    <a:pt x="98" y="41"/>
                  </a:lnTo>
                  <a:lnTo>
                    <a:pt x="94" y="33"/>
                  </a:lnTo>
                  <a:lnTo>
                    <a:pt x="92" y="24"/>
                  </a:lnTo>
                  <a:lnTo>
                    <a:pt x="91" y="15"/>
                  </a:lnTo>
                  <a:lnTo>
                    <a:pt x="90" y="12"/>
                  </a:lnTo>
                  <a:lnTo>
                    <a:pt x="90" y="9"/>
                  </a:lnTo>
                  <a:lnTo>
                    <a:pt x="88" y="6"/>
                  </a:lnTo>
                  <a:lnTo>
                    <a:pt x="87" y="4"/>
                  </a:lnTo>
                  <a:lnTo>
                    <a:pt x="83" y="3"/>
                  </a:lnTo>
                  <a:lnTo>
                    <a:pt x="81" y="1"/>
                  </a:lnTo>
                  <a:lnTo>
                    <a:pt x="78" y="1"/>
                  </a:lnTo>
                  <a:lnTo>
                    <a:pt x="76" y="0"/>
                  </a:lnTo>
                  <a:lnTo>
                    <a:pt x="73" y="1"/>
                  </a:lnTo>
                  <a:lnTo>
                    <a:pt x="69" y="1"/>
                  </a:lnTo>
                  <a:lnTo>
                    <a:pt x="67" y="3"/>
                  </a:lnTo>
                  <a:lnTo>
                    <a:pt x="65" y="4"/>
                  </a:lnTo>
                  <a:lnTo>
                    <a:pt x="63" y="6"/>
                  </a:lnTo>
                  <a:lnTo>
                    <a:pt x="62" y="9"/>
                  </a:lnTo>
                  <a:lnTo>
                    <a:pt x="61" y="12"/>
                  </a:lnTo>
                  <a:lnTo>
                    <a:pt x="61" y="15"/>
                  </a:lnTo>
                  <a:lnTo>
                    <a:pt x="60" y="24"/>
                  </a:lnTo>
                  <a:lnTo>
                    <a:pt x="57" y="33"/>
                  </a:lnTo>
                  <a:lnTo>
                    <a:pt x="52" y="41"/>
                  </a:lnTo>
                  <a:lnTo>
                    <a:pt x="47" y="47"/>
                  </a:lnTo>
                  <a:lnTo>
                    <a:pt x="40" y="52"/>
                  </a:lnTo>
                  <a:lnTo>
                    <a:pt x="33" y="57"/>
                  </a:lnTo>
                  <a:lnTo>
                    <a:pt x="24" y="60"/>
                  </a:lnTo>
                  <a:lnTo>
                    <a:pt x="15" y="60"/>
                  </a:lnTo>
                  <a:lnTo>
                    <a:pt x="13" y="61"/>
                  </a:lnTo>
                  <a:lnTo>
                    <a:pt x="9" y="61"/>
                  </a:lnTo>
                  <a:lnTo>
                    <a:pt x="7" y="63"/>
                  </a:lnTo>
                  <a:lnTo>
                    <a:pt x="5" y="64"/>
                  </a:lnTo>
                  <a:lnTo>
                    <a:pt x="3" y="67"/>
                  </a:lnTo>
                  <a:lnTo>
                    <a:pt x="2" y="70"/>
                  </a:lnTo>
                  <a:lnTo>
                    <a:pt x="1" y="73"/>
                  </a:lnTo>
                  <a:lnTo>
                    <a:pt x="0" y="75"/>
                  </a:lnTo>
                  <a:lnTo>
                    <a:pt x="1" y="78"/>
                  </a:lnTo>
                  <a:lnTo>
                    <a:pt x="2" y="81"/>
                  </a:lnTo>
                  <a:lnTo>
                    <a:pt x="3" y="83"/>
                  </a:lnTo>
                  <a:lnTo>
                    <a:pt x="5" y="86"/>
                  </a:lnTo>
                  <a:lnTo>
                    <a:pt x="7" y="88"/>
                  </a:lnTo>
                  <a:lnTo>
                    <a:pt x="9" y="89"/>
                  </a:lnTo>
                  <a:lnTo>
                    <a:pt x="13" y="90"/>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360">
              <a:extLst>
                <a:ext uri="{FF2B5EF4-FFF2-40B4-BE49-F238E27FC236}">
                  <a16:creationId xmlns:a16="http://schemas.microsoft.com/office/drawing/2014/main" id="{D5ADE559-3660-428C-BF68-DB255B00D421}"/>
                </a:ext>
              </a:extLst>
            </p:cNvPr>
            <p:cNvSpPr>
              <a:spLocks/>
            </p:cNvSpPr>
            <p:nvPr/>
          </p:nvSpPr>
          <p:spPr bwMode="auto">
            <a:xfrm>
              <a:off x="9915526" y="2176463"/>
              <a:ext cx="238125" cy="28575"/>
            </a:xfrm>
            <a:custGeom>
              <a:avLst/>
              <a:gdLst>
                <a:gd name="T0" fmla="*/ 700 w 753"/>
                <a:gd name="T1" fmla="*/ 40 h 90"/>
                <a:gd name="T2" fmla="*/ 690 w 753"/>
                <a:gd name="T3" fmla="*/ 7 h 90"/>
                <a:gd name="T4" fmla="*/ 674 w 753"/>
                <a:gd name="T5" fmla="*/ 0 h 90"/>
                <a:gd name="T6" fmla="*/ 662 w 753"/>
                <a:gd name="T7" fmla="*/ 12 h 90"/>
                <a:gd name="T8" fmla="*/ 642 w 753"/>
                <a:gd name="T9" fmla="*/ 53 h 90"/>
                <a:gd name="T10" fmla="*/ 592 w 753"/>
                <a:gd name="T11" fmla="*/ 53 h 90"/>
                <a:gd name="T12" fmla="*/ 571 w 753"/>
                <a:gd name="T13" fmla="*/ 12 h 90"/>
                <a:gd name="T14" fmla="*/ 561 w 753"/>
                <a:gd name="T15" fmla="*/ 0 h 90"/>
                <a:gd name="T16" fmla="*/ 545 w 753"/>
                <a:gd name="T17" fmla="*/ 7 h 90"/>
                <a:gd name="T18" fmla="*/ 535 w 753"/>
                <a:gd name="T19" fmla="*/ 40 h 90"/>
                <a:gd name="T20" fmla="*/ 488 w 753"/>
                <a:gd name="T21" fmla="*/ 59 h 90"/>
                <a:gd name="T22" fmla="*/ 452 w 753"/>
                <a:gd name="T23" fmla="*/ 24 h 90"/>
                <a:gd name="T24" fmla="*/ 445 w 753"/>
                <a:gd name="T25" fmla="*/ 2 h 90"/>
                <a:gd name="T26" fmla="*/ 429 w 753"/>
                <a:gd name="T27" fmla="*/ 2 h 90"/>
                <a:gd name="T28" fmla="*/ 421 w 753"/>
                <a:gd name="T29" fmla="*/ 24 h 90"/>
                <a:gd name="T30" fmla="*/ 386 w 753"/>
                <a:gd name="T31" fmla="*/ 59 h 90"/>
                <a:gd name="T32" fmla="*/ 339 w 753"/>
                <a:gd name="T33" fmla="*/ 40 h 90"/>
                <a:gd name="T34" fmla="*/ 329 w 753"/>
                <a:gd name="T35" fmla="*/ 7 h 90"/>
                <a:gd name="T36" fmla="*/ 313 w 753"/>
                <a:gd name="T37" fmla="*/ 0 h 90"/>
                <a:gd name="T38" fmla="*/ 301 w 753"/>
                <a:gd name="T39" fmla="*/ 12 h 90"/>
                <a:gd name="T40" fmla="*/ 282 w 753"/>
                <a:gd name="T41" fmla="*/ 53 h 90"/>
                <a:gd name="T42" fmla="*/ 231 w 753"/>
                <a:gd name="T43" fmla="*/ 53 h 90"/>
                <a:gd name="T44" fmla="*/ 211 w 753"/>
                <a:gd name="T45" fmla="*/ 12 h 90"/>
                <a:gd name="T46" fmla="*/ 199 w 753"/>
                <a:gd name="T47" fmla="*/ 0 h 90"/>
                <a:gd name="T48" fmla="*/ 183 w 753"/>
                <a:gd name="T49" fmla="*/ 7 h 90"/>
                <a:gd name="T50" fmla="*/ 173 w 753"/>
                <a:gd name="T51" fmla="*/ 40 h 90"/>
                <a:gd name="T52" fmla="*/ 126 w 753"/>
                <a:gd name="T53" fmla="*/ 59 h 90"/>
                <a:gd name="T54" fmla="*/ 92 w 753"/>
                <a:gd name="T55" fmla="*/ 24 h 90"/>
                <a:gd name="T56" fmla="*/ 83 w 753"/>
                <a:gd name="T57" fmla="*/ 2 h 90"/>
                <a:gd name="T58" fmla="*/ 67 w 753"/>
                <a:gd name="T59" fmla="*/ 2 h 90"/>
                <a:gd name="T60" fmla="*/ 60 w 753"/>
                <a:gd name="T61" fmla="*/ 24 h 90"/>
                <a:gd name="T62" fmla="*/ 24 w 753"/>
                <a:gd name="T63" fmla="*/ 59 h 90"/>
                <a:gd name="T64" fmla="*/ 3 w 753"/>
                <a:gd name="T65" fmla="*/ 67 h 90"/>
                <a:gd name="T66" fmla="*/ 3 w 753"/>
                <a:gd name="T67" fmla="*/ 84 h 90"/>
                <a:gd name="T68" fmla="*/ 24 w 753"/>
                <a:gd name="T69" fmla="*/ 89 h 90"/>
                <a:gd name="T70" fmla="*/ 69 w 753"/>
                <a:gd name="T71" fmla="*/ 67 h 90"/>
                <a:gd name="T72" fmla="*/ 109 w 753"/>
                <a:gd name="T73" fmla="*/ 85 h 90"/>
                <a:gd name="T74" fmla="*/ 162 w 753"/>
                <a:gd name="T75" fmla="*/ 85 h 90"/>
                <a:gd name="T76" fmla="*/ 201 w 753"/>
                <a:gd name="T77" fmla="*/ 67 h 90"/>
                <a:gd name="T78" fmla="*/ 247 w 753"/>
                <a:gd name="T79" fmla="*/ 89 h 90"/>
                <a:gd name="T80" fmla="*/ 298 w 753"/>
                <a:gd name="T81" fmla="*/ 77 h 90"/>
                <a:gd name="T82" fmla="*/ 335 w 753"/>
                <a:gd name="T83" fmla="*/ 77 h 90"/>
                <a:gd name="T84" fmla="*/ 386 w 753"/>
                <a:gd name="T85" fmla="*/ 89 h 90"/>
                <a:gd name="T86" fmla="*/ 431 w 753"/>
                <a:gd name="T87" fmla="*/ 67 h 90"/>
                <a:gd name="T88" fmla="*/ 471 w 753"/>
                <a:gd name="T89" fmla="*/ 85 h 90"/>
                <a:gd name="T90" fmla="*/ 523 w 753"/>
                <a:gd name="T91" fmla="*/ 85 h 90"/>
                <a:gd name="T92" fmla="*/ 563 w 753"/>
                <a:gd name="T93" fmla="*/ 67 h 90"/>
                <a:gd name="T94" fmla="*/ 608 w 753"/>
                <a:gd name="T95" fmla="*/ 89 h 90"/>
                <a:gd name="T96" fmla="*/ 659 w 753"/>
                <a:gd name="T97" fmla="*/ 77 h 90"/>
                <a:gd name="T98" fmla="*/ 696 w 753"/>
                <a:gd name="T99" fmla="*/ 77 h 90"/>
                <a:gd name="T100" fmla="*/ 741 w 753"/>
                <a:gd name="T101" fmla="*/ 90 h 90"/>
                <a:gd name="T102" fmla="*/ 753 w 753"/>
                <a:gd name="T103" fmla="*/ 78 h 90"/>
                <a:gd name="T104" fmla="*/ 746 w 753"/>
                <a:gd name="T105" fmla="*/ 6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 h="90">
                  <a:moveTo>
                    <a:pt x="738" y="60"/>
                  </a:moveTo>
                  <a:lnTo>
                    <a:pt x="729" y="59"/>
                  </a:lnTo>
                  <a:lnTo>
                    <a:pt x="720" y="56"/>
                  </a:lnTo>
                  <a:lnTo>
                    <a:pt x="713" y="53"/>
                  </a:lnTo>
                  <a:lnTo>
                    <a:pt x="705" y="46"/>
                  </a:lnTo>
                  <a:lnTo>
                    <a:pt x="700" y="40"/>
                  </a:lnTo>
                  <a:lnTo>
                    <a:pt x="696" y="32"/>
                  </a:lnTo>
                  <a:lnTo>
                    <a:pt x="694" y="24"/>
                  </a:lnTo>
                  <a:lnTo>
                    <a:pt x="693" y="15"/>
                  </a:lnTo>
                  <a:lnTo>
                    <a:pt x="693" y="12"/>
                  </a:lnTo>
                  <a:lnTo>
                    <a:pt x="691" y="9"/>
                  </a:lnTo>
                  <a:lnTo>
                    <a:pt x="690" y="7"/>
                  </a:lnTo>
                  <a:lnTo>
                    <a:pt x="688" y="4"/>
                  </a:lnTo>
                  <a:lnTo>
                    <a:pt x="686" y="2"/>
                  </a:lnTo>
                  <a:lnTo>
                    <a:pt x="683" y="1"/>
                  </a:lnTo>
                  <a:lnTo>
                    <a:pt x="681" y="0"/>
                  </a:lnTo>
                  <a:lnTo>
                    <a:pt x="678" y="0"/>
                  </a:lnTo>
                  <a:lnTo>
                    <a:pt x="674" y="0"/>
                  </a:lnTo>
                  <a:lnTo>
                    <a:pt x="672" y="1"/>
                  </a:lnTo>
                  <a:lnTo>
                    <a:pt x="669" y="2"/>
                  </a:lnTo>
                  <a:lnTo>
                    <a:pt x="667" y="4"/>
                  </a:lnTo>
                  <a:lnTo>
                    <a:pt x="665" y="7"/>
                  </a:lnTo>
                  <a:lnTo>
                    <a:pt x="664" y="9"/>
                  </a:lnTo>
                  <a:lnTo>
                    <a:pt x="662" y="12"/>
                  </a:lnTo>
                  <a:lnTo>
                    <a:pt x="662" y="15"/>
                  </a:lnTo>
                  <a:lnTo>
                    <a:pt x="661" y="24"/>
                  </a:lnTo>
                  <a:lnTo>
                    <a:pt x="659" y="32"/>
                  </a:lnTo>
                  <a:lnTo>
                    <a:pt x="655" y="40"/>
                  </a:lnTo>
                  <a:lnTo>
                    <a:pt x="650" y="46"/>
                  </a:lnTo>
                  <a:lnTo>
                    <a:pt x="642" y="53"/>
                  </a:lnTo>
                  <a:lnTo>
                    <a:pt x="635" y="56"/>
                  </a:lnTo>
                  <a:lnTo>
                    <a:pt x="626" y="59"/>
                  </a:lnTo>
                  <a:lnTo>
                    <a:pt x="617" y="60"/>
                  </a:lnTo>
                  <a:lnTo>
                    <a:pt x="608" y="59"/>
                  </a:lnTo>
                  <a:lnTo>
                    <a:pt x="600" y="56"/>
                  </a:lnTo>
                  <a:lnTo>
                    <a:pt x="592" y="53"/>
                  </a:lnTo>
                  <a:lnTo>
                    <a:pt x="585" y="46"/>
                  </a:lnTo>
                  <a:lnTo>
                    <a:pt x="580" y="40"/>
                  </a:lnTo>
                  <a:lnTo>
                    <a:pt x="576" y="32"/>
                  </a:lnTo>
                  <a:lnTo>
                    <a:pt x="573" y="24"/>
                  </a:lnTo>
                  <a:lnTo>
                    <a:pt x="572" y="15"/>
                  </a:lnTo>
                  <a:lnTo>
                    <a:pt x="571" y="12"/>
                  </a:lnTo>
                  <a:lnTo>
                    <a:pt x="571" y="9"/>
                  </a:lnTo>
                  <a:lnTo>
                    <a:pt x="569" y="7"/>
                  </a:lnTo>
                  <a:lnTo>
                    <a:pt x="568" y="4"/>
                  </a:lnTo>
                  <a:lnTo>
                    <a:pt x="566" y="2"/>
                  </a:lnTo>
                  <a:lnTo>
                    <a:pt x="563" y="1"/>
                  </a:lnTo>
                  <a:lnTo>
                    <a:pt x="561" y="0"/>
                  </a:lnTo>
                  <a:lnTo>
                    <a:pt x="557" y="0"/>
                  </a:lnTo>
                  <a:lnTo>
                    <a:pt x="554" y="0"/>
                  </a:lnTo>
                  <a:lnTo>
                    <a:pt x="551" y="1"/>
                  </a:lnTo>
                  <a:lnTo>
                    <a:pt x="549" y="2"/>
                  </a:lnTo>
                  <a:lnTo>
                    <a:pt x="547" y="4"/>
                  </a:lnTo>
                  <a:lnTo>
                    <a:pt x="545" y="7"/>
                  </a:lnTo>
                  <a:lnTo>
                    <a:pt x="543" y="9"/>
                  </a:lnTo>
                  <a:lnTo>
                    <a:pt x="542" y="12"/>
                  </a:lnTo>
                  <a:lnTo>
                    <a:pt x="542" y="15"/>
                  </a:lnTo>
                  <a:lnTo>
                    <a:pt x="541" y="24"/>
                  </a:lnTo>
                  <a:lnTo>
                    <a:pt x="538" y="32"/>
                  </a:lnTo>
                  <a:lnTo>
                    <a:pt x="535" y="40"/>
                  </a:lnTo>
                  <a:lnTo>
                    <a:pt x="528" y="46"/>
                  </a:lnTo>
                  <a:lnTo>
                    <a:pt x="522" y="53"/>
                  </a:lnTo>
                  <a:lnTo>
                    <a:pt x="514" y="56"/>
                  </a:lnTo>
                  <a:lnTo>
                    <a:pt x="506" y="59"/>
                  </a:lnTo>
                  <a:lnTo>
                    <a:pt x="497" y="60"/>
                  </a:lnTo>
                  <a:lnTo>
                    <a:pt x="488" y="59"/>
                  </a:lnTo>
                  <a:lnTo>
                    <a:pt x="479" y="56"/>
                  </a:lnTo>
                  <a:lnTo>
                    <a:pt x="472" y="53"/>
                  </a:lnTo>
                  <a:lnTo>
                    <a:pt x="465" y="46"/>
                  </a:lnTo>
                  <a:lnTo>
                    <a:pt x="460" y="40"/>
                  </a:lnTo>
                  <a:lnTo>
                    <a:pt x="456" y="32"/>
                  </a:lnTo>
                  <a:lnTo>
                    <a:pt x="452" y="24"/>
                  </a:lnTo>
                  <a:lnTo>
                    <a:pt x="451" y="15"/>
                  </a:lnTo>
                  <a:lnTo>
                    <a:pt x="451" y="12"/>
                  </a:lnTo>
                  <a:lnTo>
                    <a:pt x="450" y="9"/>
                  </a:lnTo>
                  <a:lnTo>
                    <a:pt x="449" y="7"/>
                  </a:lnTo>
                  <a:lnTo>
                    <a:pt x="447" y="4"/>
                  </a:lnTo>
                  <a:lnTo>
                    <a:pt x="445" y="2"/>
                  </a:lnTo>
                  <a:lnTo>
                    <a:pt x="443" y="1"/>
                  </a:lnTo>
                  <a:lnTo>
                    <a:pt x="439" y="0"/>
                  </a:lnTo>
                  <a:lnTo>
                    <a:pt x="436" y="0"/>
                  </a:lnTo>
                  <a:lnTo>
                    <a:pt x="434" y="0"/>
                  </a:lnTo>
                  <a:lnTo>
                    <a:pt x="431" y="1"/>
                  </a:lnTo>
                  <a:lnTo>
                    <a:pt x="429" y="2"/>
                  </a:lnTo>
                  <a:lnTo>
                    <a:pt x="427" y="4"/>
                  </a:lnTo>
                  <a:lnTo>
                    <a:pt x="424" y="7"/>
                  </a:lnTo>
                  <a:lnTo>
                    <a:pt x="423" y="9"/>
                  </a:lnTo>
                  <a:lnTo>
                    <a:pt x="422" y="12"/>
                  </a:lnTo>
                  <a:lnTo>
                    <a:pt x="421" y="15"/>
                  </a:lnTo>
                  <a:lnTo>
                    <a:pt x="421" y="24"/>
                  </a:lnTo>
                  <a:lnTo>
                    <a:pt x="418" y="32"/>
                  </a:lnTo>
                  <a:lnTo>
                    <a:pt x="414" y="40"/>
                  </a:lnTo>
                  <a:lnTo>
                    <a:pt x="408" y="46"/>
                  </a:lnTo>
                  <a:lnTo>
                    <a:pt x="402" y="53"/>
                  </a:lnTo>
                  <a:lnTo>
                    <a:pt x="394" y="56"/>
                  </a:lnTo>
                  <a:lnTo>
                    <a:pt x="386" y="59"/>
                  </a:lnTo>
                  <a:lnTo>
                    <a:pt x="376" y="60"/>
                  </a:lnTo>
                  <a:lnTo>
                    <a:pt x="368" y="59"/>
                  </a:lnTo>
                  <a:lnTo>
                    <a:pt x="359" y="56"/>
                  </a:lnTo>
                  <a:lnTo>
                    <a:pt x="351" y="53"/>
                  </a:lnTo>
                  <a:lnTo>
                    <a:pt x="345" y="46"/>
                  </a:lnTo>
                  <a:lnTo>
                    <a:pt x="339" y="40"/>
                  </a:lnTo>
                  <a:lnTo>
                    <a:pt x="335" y="32"/>
                  </a:lnTo>
                  <a:lnTo>
                    <a:pt x="332" y="24"/>
                  </a:lnTo>
                  <a:lnTo>
                    <a:pt x="331" y="15"/>
                  </a:lnTo>
                  <a:lnTo>
                    <a:pt x="331" y="12"/>
                  </a:lnTo>
                  <a:lnTo>
                    <a:pt x="330" y="9"/>
                  </a:lnTo>
                  <a:lnTo>
                    <a:pt x="329" y="7"/>
                  </a:lnTo>
                  <a:lnTo>
                    <a:pt x="327" y="4"/>
                  </a:lnTo>
                  <a:lnTo>
                    <a:pt x="325" y="2"/>
                  </a:lnTo>
                  <a:lnTo>
                    <a:pt x="323" y="1"/>
                  </a:lnTo>
                  <a:lnTo>
                    <a:pt x="319" y="0"/>
                  </a:lnTo>
                  <a:lnTo>
                    <a:pt x="316" y="0"/>
                  </a:lnTo>
                  <a:lnTo>
                    <a:pt x="313" y="0"/>
                  </a:lnTo>
                  <a:lnTo>
                    <a:pt x="311" y="1"/>
                  </a:lnTo>
                  <a:lnTo>
                    <a:pt x="307" y="2"/>
                  </a:lnTo>
                  <a:lnTo>
                    <a:pt x="305" y="4"/>
                  </a:lnTo>
                  <a:lnTo>
                    <a:pt x="304" y="7"/>
                  </a:lnTo>
                  <a:lnTo>
                    <a:pt x="302" y="9"/>
                  </a:lnTo>
                  <a:lnTo>
                    <a:pt x="301" y="12"/>
                  </a:lnTo>
                  <a:lnTo>
                    <a:pt x="301" y="15"/>
                  </a:lnTo>
                  <a:lnTo>
                    <a:pt x="300" y="24"/>
                  </a:lnTo>
                  <a:lnTo>
                    <a:pt x="298" y="32"/>
                  </a:lnTo>
                  <a:lnTo>
                    <a:pt x="294" y="40"/>
                  </a:lnTo>
                  <a:lnTo>
                    <a:pt x="288" y="46"/>
                  </a:lnTo>
                  <a:lnTo>
                    <a:pt x="282" y="53"/>
                  </a:lnTo>
                  <a:lnTo>
                    <a:pt x="273" y="56"/>
                  </a:lnTo>
                  <a:lnTo>
                    <a:pt x="265" y="59"/>
                  </a:lnTo>
                  <a:lnTo>
                    <a:pt x="256" y="60"/>
                  </a:lnTo>
                  <a:lnTo>
                    <a:pt x="247" y="59"/>
                  </a:lnTo>
                  <a:lnTo>
                    <a:pt x="239" y="56"/>
                  </a:lnTo>
                  <a:lnTo>
                    <a:pt x="231" y="53"/>
                  </a:lnTo>
                  <a:lnTo>
                    <a:pt x="224" y="46"/>
                  </a:lnTo>
                  <a:lnTo>
                    <a:pt x="218" y="40"/>
                  </a:lnTo>
                  <a:lnTo>
                    <a:pt x="214" y="32"/>
                  </a:lnTo>
                  <a:lnTo>
                    <a:pt x="212" y="24"/>
                  </a:lnTo>
                  <a:lnTo>
                    <a:pt x="211" y="15"/>
                  </a:lnTo>
                  <a:lnTo>
                    <a:pt x="211" y="12"/>
                  </a:lnTo>
                  <a:lnTo>
                    <a:pt x="210" y="9"/>
                  </a:lnTo>
                  <a:lnTo>
                    <a:pt x="209" y="7"/>
                  </a:lnTo>
                  <a:lnTo>
                    <a:pt x="207" y="4"/>
                  </a:lnTo>
                  <a:lnTo>
                    <a:pt x="205" y="2"/>
                  </a:lnTo>
                  <a:lnTo>
                    <a:pt x="201" y="1"/>
                  </a:lnTo>
                  <a:lnTo>
                    <a:pt x="199" y="0"/>
                  </a:lnTo>
                  <a:lnTo>
                    <a:pt x="196" y="0"/>
                  </a:lnTo>
                  <a:lnTo>
                    <a:pt x="193" y="0"/>
                  </a:lnTo>
                  <a:lnTo>
                    <a:pt x="190" y="1"/>
                  </a:lnTo>
                  <a:lnTo>
                    <a:pt x="187" y="2"/>
                  </a:lnTo>
                  <a:lnTo>
                    <a:pt x="185" y="4"/>
                  </a:lnTo>
                  <a:lnTo>
                    <a:pt x="183" y="7"/>
                  </a:lnTo>
                  <a:lnTo>
                    <a:pt x="182" y="9"/>
                  </a:lnTo>
                  <a:lnTo>
                    <a:pt x="181" y="12"/>
                  </a:lnTo>
                  <a:lnTo>
                    <a:pt x="181" y="15"/>
                  </a:lnTo>
                  <a:lnTo>
                    <a:pt x="180" y="24"/>
                  </a:lnTo>
                  <a:lnTo>
                    <a:pt x="178" y="32"/>
                  </a:lnTo>
                  <a:lnTo>
                    <a:pt x="173" y="40"/>
                  </a:lnTo>
                  <a:lnTo>
                    <a:pt x="167" y="46"/>
                  </a:lnTo>
                  <a:lnTo>
                    <a:pt x="161" y="53"/>
                  </a:lnTo>
                  <a:lnTo>
                    <a:pt x="153" y="56"/>
                  </a:lnTo>
                  <a:lnTo>
                    <a:pt x="144" y="59"/>
                  </a:lnTo>
                  <a:lnTo>
                    <a:pt x="136" y="60"/>
                  </a:lnTo>
                  <a:lnTo>
                    <a:pt x="126" y="59"/>
                  </a:lnTo>
                  <a:lnTo>
                    <a:pt x="118" y="56"/>
                  </a:lnTo>
                  <a:lnTo>
                    <a:pt x="110" y="53"/>
                  </a:lnTo>
                  <a:lnTo>
                    <a:pt x="104" y="46"/>
                  </a:lnTo>
                  <a:lnTo>
                    <a:pt x="98" y="40"/>
                  </a:lnTo>
                  <a:lnTo>
                    <a:pt x="94" y="32"/>
                  </a:lnTo>
                  <a:lnTo>
                    <a:pt x="92" y="24"/>
                  </a:lnTo>
                  <a:lnTo>
                    <a:pt x="91" y="15"/>
                  </a:lnTo>
                  <a:lnTo>
                    <a:pt x="90" y="12"/>
                  </a:lnTo>
                  <a:lnTo>
                    <a:pt x="90" y="9"/>
                  </a:lnTo>
                  <a:lnTo>
                    <a:pt x="88" y="7"/>
                  </a:lnTo>
                  <a:lnTo>
                    <a:pt x="87" y="4"/>
                  </a:lnTo>
                  <a:lnTo>
                    <a:pt x="83" y="2"/>
                  </a:lnTo>
                  <a:lnTo>
                    <a:pt x="81" y="1"/>
                  </a:lnTo>
                  <a:lnTo>
                    <a:pt x="78" y="0"/>
                  </a:lnTo>
                  <a:lnTo>
                    <a:pt x="76" y="0"/>
                  </a:lnTo>
                  <a:lnTo>
                    <a:pt x="73" y="0"/>
                  </a:lnTo>
                  <a:lnTo>
                    <a:pt x="69" y="1"/>
                  </a:lnTo>
                  <a:lnTo>
                    <a:pt x="67" y="2"/>
                  </a:lnTo>
                  <a:lnTo>
                    <a:pt x="65" y="4"/>
                  </a:lnTo>
                  <a:lnTo>
                    <a:pt x="63" y="7"/>
                  </a:lnTo>
                  <a:lnTo>
                    <a:pt x="62" y="9"/>
                  </a:lnTo>
                  <a:lnTo>
                    <a:pt x="61" y="12"/>
                  </a:lnTo>
                  <a:lnTo>
                    <a:pt x="61" y="15"/>
                  </a:lnTo>
                  <a:lnTo>
                    <a:pt x="60" y="24"/>
                  </a:lnTo>
                  <a:lnTo>
                    <a:pt x="57" y="32"/>
                  </a:lnTo>
                  <a:lnTo>
                    <a:pt x="52" y="40"/>
                  </a:lnTo>
                  <a:lnTo>
                    <a:pt x="47" y="46"/>
                  </a:lnTo>
                  <a:lnTo>
                    <a:pt x="40" y="53"/>
                  </a:lnTo>
                  <a:lnTo>
                    <a:pt x="33" y="56"/>
                  </a:lnTo>
                  <a:lnTo>
                    <a:pt x="24" y="59"/>
                  </a:lnTo>
                  <a:lnTo>
                    <a:pt x="15" y="60"/>
                  </a:lnTo>
                  <a:lnTo>
                    <a:pt x="13" y="60"/>
                  </a:lnTo>
                  <a:lnTo>
                    <a:pt x="9" y="61"/>
                  </a:lnTo>
                  <a:lnTo>
                    <a:pt x="7" y="62"/>
                  </a:lnTo>
                  <a:lnTo>
                    <a:pt x="5" y="64"/>
                  </a:lnTo>
                  <a:lnTo>
                    <a:pt x="3" y="67"/>
                  </a:lnTo>
                  <a:lnTo>
                    <a:pt x="2" y="69"/>
                  </a:lnTo>
                  <a:lnTo>
                    <a:pt x="1" y="72"/>
                  </a:lnTo>
                  <a:lnTo>
                    <a:pt x="0" y="75"/>
                  </a:lnTo>
                  <a:lnTo>
                    <a:pt x="1" y="78"/>
                  </a:lnTo>
                  <a:lnTo>
                    <a:pt x="2" y="81"/>
                  </a:lnTo>
                  <a:lnTo>
                    <a:pt x="3" y="84"/>
                  </a:lnTo>
                  <a:lnTo>
                    <a:pt x="5" y="86"/>
                  </a:lnTo>
                  <a:lnTo>
                    <a:pt x="7" y="87"/>
                  </a:lnTo>
                  <a:lnTo>
                    <a:pt x="9" y="89"/>
                  </a:lnTo>
                  <a:lnTo>
                    <a:pt x="13" y="90"/>
                  </a:lnTo>
                  <a:lnTo>
                    <a:pt x="15" y="90"/>
                  </a:lnTo>
                  <a:lnTo>
                    <a:pt x="24" y="89"/>
                  </a:lnTo>
                  <a:lnTo>
                    <a:pt x="33" y="88"/>
                  </a:lnTo>
                  <a:lnTo>
                    <a:pt x="42" y="85"/>
                  </a:lnTo>
                  <a:lnTo>
                    <a:pt x="49" y="82"/>
                  </a:lnTo>
                  <a:lnTo>
                    <a:pt x="57" y="77"/>
                  </a:lnTo>
                  <a:lnTo>
                    <a:pt x="64" y="72"/>
                  </a:lnTo>
                  <a:lnTo>
                    <a:pt x="69" y="67"/>
                  </a:lnTo>
                  <a:lnTo>
                    <a:pt x="76" y="60"/>
                  </a:lnTo>
                  <a:lnTo>
                    <a:pt x="81" y="67"/>
                  </a:lnTo>
                  <a:lnTo>
                    <a:pt x="88" y="72"/>
                  </a:lnTo>
                  <a:lnTo>
                    <a:pt x="94" y="77"/>
                  </a:lnTo>
                  <a:lnTo>
                    <a:pt x="102" y="82"/>
                  </a:lnTo>
                  <a:lnTo>
                    <a:pt x="109" y="85"/>
                  </a:lnTo>
                  <a:lnTo>
                    <a:pt x="118" y="88"/>
                  </a:lnTo>
                  <a:lnTo>
                    <a:pt x="126" y="89"/>
                  </a:lnTo>
                  <a:lnTo>
                    <a:pt x="136" y="90"/>
                  </a:lnTo>
                  <a:lnTo>
                    <a:pt x="144" y="89"/>
                  </a:lnTo>
                  <a:lnTo>
                    <a:pt x="153" y="88"/>
                  </a:lnTo>
                  <a:lnTo>
                    <a:pt x="162" y="85"/>
                  </a:lnTo>
                  <a:lnTo>
                    <a:pt x="170" y="82"/>
                  </a:lnTo>
                  <a:lnTo>
                    <a:pt x="178" y="77"/>
                  </a:lnTo>
                  <a:lnTo>
                    <a:pt x="184" y="72"/>
                  </a:lnTo>
                  <a:lnTo>
                    <a:pt x="191" y="67"/>
                  </a:lnTo>
                  <a:lnTo>
                    <a:pt x="196" y="60"/>
                  </a:lnTo>
                  <a:lnTo>
                    <a:pt x="201" y="67"/>
                  </a:lnTo>
                  <a:lnTo>
                    <a:pt x="208" y="72"/>
                  </a:lnTo>
                  <a:lnTo>
                    <a:pt x="214" y="77"/>
                  </a:lnTo>
                  <a:lnTo>
                    <a:pt x="222" y="82"/>
                  </a:lnTo>
                  <a:lnTo>
                    <a:pt x="230" y="85"/>
                  </a:lnTo>
                  <a:lnTo>
                    <a:pt x="238" y="88"/>
                  </a:lnTo>
                  <a:lnTo>
                    <a:pt x="247" y="89"/>
                  </a:lnTo>
                  <a:lnTo>
                    <a:pt x="256" y="90"/>
                  </a:lnTo>
                  <a:lnTo>
                    <a:pt x="266" y="89"/>
                  </a:lnTo>
                  <a:lnTo>
                    <a:pt x="274" y="88"/>
                  </a:lnTo>
                  <a:lnTo>
                    <a:pt x="282" y="85"/>
                  </a:lnTo>
                  <a:lnTo>
                    <a:pt x="290" y="82"/>
                  </a:lnTo>
                  <a:lnTo>
                    <a:pt x="298" y="77"/>
                  </a:lnTo>
                  <a:lnTo>
                    <a:pt x="304" y="72"/>
                  </a:lnTo>
                  <a:lnTo>
                    <a:pt x="311" y="67"/>
                  </a:lnTo>
                  <a:lnTo>
                    <a:pt x="316" y="60"/>
                  </a:lnTo>
                  <a:lnTo>
                    <a:pt x="321" y="67"/>
                  </a:lnTo>
                  <a:lnTo>
                    <a:pt x="328" y="72"/>
                  </a:lnTo>
                  <a:lnTo>
                    <a:pt x="335" y="77"/>
                  </a:lnTo>
                  <a:lnTo>
                    <a:pt x="342" y="82"/>
                  </a:lnTo>
                  <a:lnTo>
                    <a:pt x="350" y="85"/>
                  </a:lnTo>
                  <a:lnTo>
                    <a:pt x="359" y="88"/>
                  </a:lnTo>
                  <a:lnTo>
                    <a:pt x="368" y="89"/>
                  </a:lnTo>
                  <a:lnTo>
                    <a:pt x="376" y="90"/>
                  </a:lnTo>
                  <a:lnTo>
                    <a:pt x="386" y="89"/>
                  </a:lnTo>
                  <a:lnTo>
                    <a:pt x="394" y="88"/>
                  </a:lnTo>
                  <a:lnTo>
                    <a:pt x="403" y="85"/>
                  </a:lnTo>
                  <a:lnTo>
                    <a:pt x="410" y="82"/>
                  </a:lnTo>
                  <a:lnTo>
                    <a:pt x="418" y="77"/>
                  </a:lnTo>
                  <a:lnTo>
                    <a:pt x="425" y="72"/>
                  </a:lnTo>
                  <a:lnTo>
                    <a:pt x="431" y="67"/>
                  </a:lnTo>
                  <a:lnTo>
                    <a:pt x="436" y="60"/>
                  </a:lnTo>
                  <a:lnTo>
                    <a:pt x="443" y="67"/>
                  </a:lnTo>
                  <a:lnTo>
                    <a:pt x="448" y="72"/>
                  </a:lnTo>
                  <a:lnTo>
                    <a:pt x="456" y="77"/>
                  </a:lnTo>
                  <a:lnTo>
                    <a:pt x="463" y="82"/>
                  </a:lnTo>
                  <a:lnTo>
                    <a:pt x="471" y="85"/>
                  </a:lnTo>
                  <a:lnTo>
                    <a:pt x="479" y="88"/>
                  </a:lnTo>
                  <a:lnTo>
                    <a:pt x="488" y="89"/>
                  </a:lnTo>
                  <a:lnTo>
                    <a:pt x="497" y="90"/>
                  </a:lnTo>
                  <a:lnTo>
                    <a:pt x="506" y="89"/>
                  </a:lnTo>
                  <a:lnTo>
                    <a:pt x="514" y="88"/>
                  </a:lnTo>
                  <a:lnTo>
                    <a:pt x="523" y="85"/>
                  </a:lnTo>
                  <a:lnTo>
                    <a:pt x="531" y="82"/>
                  </a:lnTo>
                  <a:lnTo>
                    <a:pt x="538" y="77"/>
                  </a:lnTo>
                  <a:lnTo>
                    <a:pt x="546" y="72"/>
                  </a:lnTo>
                  <a:lnTo>
                    <a:pt x="552" y="67"/>
                  </a:lnTo>
                  <a:lnTo>
                    <a:pt x="557" y="60"/>
                  </a:lnTo>
                  <a:lnTo>
                    <a:pt x="563" y="67"/>
                  </a:lnTo>
                  <a:lnTo>
                    <a:pt x="569" y="72"/>
                  </a:lnTo>
                  <a:lnTo>
                    <a:pt x="576" y="77"/>
                  </a:lnTo>
                  <a:lnTo>
                    <a:pt x="583" y="82"/>
                  </a:lnTo>
                  <a:lnTo>
                    <a:pt x="591" y="85"/>
                  </a:lnTo>
                  <a:lnTo>
                    <a:pt x="599" y="88"/>
                  </a:lnTo>
                  <a:lnTo>
                    <a:pt x="608" y="89"/>
                  </a:lnTo>
                  <a:lnTo>
                    <a:pt x="617" y="90"/>
                  </a:lnTo>
                  <a:lnTo>
                    <a:pt x="626" y="89"/>
                  </a:lnTo>
                  <a:lnTo>
                    <a:pt x="636" y="88"/>
                  </a:lnTo>
                  <a:lnTo>
                    <a:pt x="643" y="85"/>
                  </a:lnTo>
                  <a:lnTo>
                    <a:pt x="652" y="82"/>
                  </a:lnTo>
                  <a:lnTo>
                    <a:pt x="659" y="77"/>
                  </a:lnTo>
                  <a:lnTo>
                    <a:pt x="666" y="72"/>
                  </a:lnTo>
                  <a:lnTo>
                    <a:pt x="672" y="67"/>
                  </a:lnTo>
                  <a:lnTo>
                    <a:pt x="678" y="60"/>
                  </a:lnTo>
                  <a:lnTo>
                    <a:pt x="683" y="67"/>
                  </a:lnTo>
                  <a:lnTo>
                    <a:pt x="689" y="72"/>
                  </a:lnTo>
                  <a:lnTo>
                    <a:pt x="696" y="77"/>
                  </a:lnTo>
                  <a:lnTo>
                    <a:pt x="703" y="82"/>
                  </a:lnTo>
                  <a:lnTo>
                    <a:pt x="712" y="85"/>
                  </a:lnTo>
                  <a:lnTo>
                    <a:pt x="720" y="88"/>
                  </a:lnTo>
                  <a:lnTo>
                    <a:pt x="729" y="89"/>
                  </a:lnTo>
                  <a:lnTo>
                    <a:pt x="738" y="90"/>
                  </a:lnTo>
                  <a:lnTo>
                    <a:pt x="741" y="90"/>
                  </a:lnTo>
                  <a:lnTo>
                    <a:pt x="744" y="89"/>
                  </a:lnTo>
                  <a:lnTo>
                    <a:pt x="746" y="87"/>
                  </a:lnTo>
                  <a:lnTo>
                    <a:pt x="748" y="86"/>
                  </a:lnTo>
                  <a:lnTo>
                    <a:pt x="750" y="84"/>
                  </a:lnTo>
                  <a:lnTo>
                    <a:pt x="752" y="81"/>
                  </a:lnTo>
                  <a:lnTo>
                    <a:pt x="753" y="78"/>
                  </a:lnTo>
                  <a:lnTo>
                    <a:pt x="753" y="75"/>
                  </a:lnTo>
                  <a:lnTo>
                    <a:pt x="753" y="72"/>
                  </a:lnTo>
                  <a:lnTo>
                    <a:pt x="752" y="69"/>
                  </a:lnTo>
                  <a:lnTo>
                    <a:pt x="750" y="67"/>
                  </a:lnTo>
                  <a:lnTo>
                    <a:pt x="748" y="64"/>
                  </a:lnTo>
                  <a:lnTo>
                    <a:pt x="746" y="62"/>
                  </a:lnTo>
                  <a:lnTo>
                    <a:pt x="744" y="61"/>
                  </a:lnTo>
                  <a:lnTo>
                    <a:pt x="741" y="60"/>
                  </a:lnTo>
                  <a:lnTo>
                    <a:pt x="73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3" name="Group 56">
            <a:extLst>
              <a:ext uri="{FF2B5EF4-FFF2-40B4-BE49-F238E27FC236}">
                <a16:creationId xmlns:a16="http://schemas.microsoft.com/office/drawing/2014/main" id="{CD2D2923-1F73-45AD-9EB5-25BF7FCFDC54}"/>
              </a:ext>
            </a:extLst>
          </p:cNvPr>
          <p:cNvGrpSpPr>
            <a:grpSpLocks noChangeAspect="1"/>
          </p:cNvGrpSpPr>
          <p:nvPr/>
        </p:nvGrpSpPr>
        <p:grpSpPr>
          <a:xfrm>
            <a:off x="1042629" y="2764780"/>
            <a:ext cx="298342" cy="258783"/>
            <a:chOff x="8736013" y="2536825"/>
            <a:chExt cx="287338" cy="249238"/>
          </a:xfrm>
          <a:solidFill>
            <a:schemeClr val="bg1"/>
          </a:solidFill>
          <a:effectLst/>
        </p:grpSpPr>
        <p:sp>
          <p:nvSpPr>
            <p:cNvPr id="1084" name="Freeform 219">
              <a:extLst>
                <a:ext uri="{FF2B5EF4-FFF2-40B4-BE49-F238E27FC236}">
                  <a16:creationId xmlns:a16="http://schemas.microsoft.com/office/drawing/2014/main" id="{191A8198-AFC9-4293-AD47-3BA98222715A}"/>
                </a:ext>
              </a:extLst>
            </p:cNvPr>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220">
              <a:extLst>
                <a:ext uri="{FF2B5EF4-FFF2-40B4-BE49-F238E27FC236}">
                  <a16:creationId xmlns:a16="http://schemas.microsoft.com/office/drawing/2014/main" id="{EB3D65B2-E517-4C66-97FC-83EADB8FA523}"/>
                </a:ext>
              </a:extLst>
            </p:cNvPr>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221">
              <a:extLst>
                <a:ext uri="{FF2B5EF4-FFF2-40B4-BE49-F238E27FC236}">
                  <a16:creationId xmlns:a16="http://schemas.microsoft.com/office/drawing/2014/main" id="{2F247201-A7AF-492D-A95A-4D23532F237A}"/>
                </a:ext>
              </a:extLst>
            </p:cNvPr>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222">
              <a:extLst>
                <a:ext uri="{FF2B5EF4-FFF2-40B4-BE49-F238E27FC236}">
                  <a16:creationId xmlns:a16="http://schemas.microsoft.com/office/drawing/2014/main" id="{40670E59-595D-4277-9461-EB2D980C0D48}"/>
                </a:ext>
              </a:extLst>
            </p:cNvPr>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223">
              <a:extLst>
                <a:ext uri="{FF2B5EF4-FFF2-40B4-BE49-F238E27FC236}">
                  <a16:creationId xmlns:a16="http://schemas.microsoft.com/office/drawing/2014/main" id="{D361A2C5-DF3A-47D7-92C3-71172DCC7C76}"/>
                </a:ext>
              </a:extLst>
            </p:cNvPr>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224">
              <a:extLst>
                <a:ext uri="{FF2B5EF4-FFF2-40B4-BE49-F238E27FC236}">
                  <a16:creationId xmlns:a16="http://schemas.microsoft.com/office/drawing/2014/main" id="{CE4A2DC7-9B7E-4B3D-B1E9-96467CE8A545}"/>
                </a:ext>
              </a:extLst>
            </p:cNvPr>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0" name="Group 83">
            <a:extLst>
              <a:ext uri="{FF2B5EF4-FFF2-40B4-BE49-F238E27FC236}">
                <a16:creationId xmlns:a16="http://schemas.microsoft.com/office/drawing/2014/main" id="{3B122029-C5EC-4EC5-8030-4BE7A20636EC}"/>
              </a:ext>
            </a:extLst>
          </p:cNvPr>
          <p:cNvGrpSpPr>
            <a:grpSpLocks noChangeAspect="1"/>
          </p:cNvGrpSpPr>
          <p:nvPr/>
        </p:nvGrpSpPr>
        <p:grpSpPr>
          <a:xfrm>
            <a:off x="1423207" y="2778978"/>
            <a:ext cx="298342" cy="230387"/>
            <a:chOff x="7591425" y="2565400"/>
            <a:chExt cx="285750" cy="220663"/>
          </a:xfrm>
          <a:solidFill>
            <a:schemeClr val="bg1"/>
          </a:solidFill>
          <a:effectLst/>
        </p:grpSpPr>
        <p:sp>
          <p:nvSpPr>
            <p:cNvPr id="1091" name="Freeform 101">
              <a:extLst>
                <a:ext uri="{FF2B5EF4-FFF2-40B4-BE49-F238E27FC236}">
                  <a16:creationId xmlns:a16="http://schemas.microsoft.com/office/drawing/2014/main" id="{01C5CCE5-A9FC-42A9-883C-B78A80782279}"/>
                </a:ext>
              </a:extLst>
            </p:cNvPr>
            <p:cNvSpPr>
              <a:spLocks noEditPoints="1"/>
            </p:cNvSpPr>
            <p:nvPr/>
          </p:nvSpPr>
          <p:spPr bwMode="auto">
            <a:xfrm>
              <a:off x="7791450" y="2719388"/>
              <a:ext cx="66675" cy="66675"/>
            </a:xfrm>
            <a:custGeom>
              <a:avLst/>
              <a:gdLst>
                <a:gd name="T0" fmla="*/ 90 w 210"/>
                <a:gd name="T1" fmla="*/ 179 h 210"/>
                <a:gd name="T2" fmla="*/ 70 w 210"/>
                <a:gd name="T3" fmla="*/ 172 h 210"/>
                <a:gd name="T4" fmla="*/ 52 w 210"/>
                <a:gd name="T5" fmla="*/ 159 h 210"/>
                <a:gd name="T6" fmla="*/ 39 w 210"/>
                <a:gd name="T7" fmla="*/ 141 h 210"/>
                <a:gd name="T8" fmla="*/ 31 w 210"/>
                <a:gd name="T9" fmla="*/ 120 h 210"/>
                <a:gd name="T10" fmla="*/ 30 w 210"/>
                <a:gd name="T11" fmla="*/ 98 h 210"/>
                <a:gd name="T12" fmla="*/ 36 w 210"/>
                <a:gd name="T13" fmla="*/ 76 h 210"/>
                <a:gd name="T14" fmla="*/ 47 w 210"/>
                <a:gd name="T15" fmla="*/ 57 h 210"/>
                <a:gd name="T16" fmla="*/ 63 w 210"/>
                <a:gd name="T17" fmla="*/ 43 h 210"/>
                <a:gd name="T18" fmla="*/ 82 w 210"/>
                <a:gd name="T19" fmla="*/ 34 h 210"/>
                <a:gd name="T20" fmla="*/ 105 w 210"/>
                <a:gd name="T21" fmla="*/ 30 h 210"/>
                <a:gd name="T22" fmla="*/ 127 w 210"/>
                <a:gd name="T23" fmla="*/ 34 h 210"/>
                <a:gd name="T24" fmla="*/ 147 w 210"/>
                <a:gd name="T25" fmla="*/ 43 h 210"/>
                <a:gd name="T26" fmla="*/ 163 w 210"/>
                <a:gd name="T27" fmla="*/ 57 h 210"/>
                <a:gd name="T28" fmla="*/ 175 w 210"/>
                <a:gd name="T29" fmla="*/ 76 h 210"/>
                <a:gd name="T30" fmla="*/ 180 w 210"/>
                <a:gd name="T31" fmla="*/ 98 h 210"/>
                <a:gd name="T32" fmla="*/ 179 w 210"/>
                <a:gd name="T33" fmla="*/ 120 h 210"/>
                <a:gd name="T34" fmla="*/ 171 w 210"/>
                <a:gd name="T35" fmla="*/ 141 h 210"/>
                <a:gd name="T36" fmla="*/ 159 w 210"/>
                <a:gd name="T37" fmla="*/ 158 h 210"/>
                <a:gd name="T38" fmla="*/ 141 w 210"/>
                <a:gd name="T39" fmla="*/ 172 h 210"/>
                <a:gd name="T40" fmla="*/ 120 w 210"/>
                <a:gd name="T41" fmla="*/ 179 h 210"/>
                <a:gd name="T42" fmla="*/ 105 w 210"/>
                <a:gd name="T43" fmla="*/ 0 h 210"/>
                <a:gd name="T44" fmla="*/ 74 w 210"/>
                <a:gd name="T45" fmla="*/ 5 h 210"/>
                <a:gd name="T46" fmla="*/ 46 w 210"/>
                <a:gd name="T47" fmla="*/ 18 h 210"/>
                <a:gd name="T48" fmla="*/ 24 w 210"/>
                <a:gd name="T49" fmla="*/ 38 h 210"/>
                <a:gd name="T50" fmla="*/ 9 w 210"/>
                <a:gd name="T51" fmla="*/ 65 h 210"/>
                <a:gd name="T52" fmla="*/ 0 w 210"/>
                <a:gd name="T53" fmla="*/ 95 h 210"/>
                <a:gd name="T54" fmla="*/ 2 w 210"/>
                <a:gd name="T55" fmla="*/ 127 h 210"/>
                <a:gd name="T56" fmla="*/ 13 w 210"/>
                <a:gd name="T57" fmla="*/ 156 h 210"/>
                <a:gd name="T58" fmla="*/ 31 w 210"/>
                <a:gd name="T59" fmla="*/ 179 h 210"/>
                <a:gd name="T60" fmla="*/ 55 w 210"/>
                <a:gd name="T61" fmla="*/ 197 h 210"/>
                <a:gd name="T62" fmla="*/ 84 w 210"/>
                <a:gd name="T63" fmla="*/ 208 h 210"/>
                <a:gd name="T64" fmla="*/ 116 w 210"/>
                <a:gd name="T65" fmla="*/ 210 h 210"/>
                <a:gd name="T66" fmla="*/ 146 w 210"/>
                <a:gd name="T67" fmla="*/ 202 h 210"/>
                <a:gd name="T68" fmla="*/ 172 w 210"/>
                <a:gd name="T69" fmla="*/ 187 h 210"/>
                <a:gd name="T70" fmla="*/ 193 w 210"/>
                <a:gd name="T71" fmla="*/ 164 h 210"/>
                <a:gd name="T72" fmla="*/ 206 w 210"/>
                <a:gd name="T73" fmla="*/ 136 h 210"/>
                <a:gd name="T74" fmla="*/ 210 w 210"/>
                <a:gd name="T75" fmla="*/ 105 h 210"/>
                <a:gd name="T76" fmla="*/ 206 w 210"/>
                <a:gd name="T77" fmla="*/ 74 h 210"/>
                <a:gd name="T78" fmla="*/ 193 w 210"/>
                <a:gd name="T79" fmla="*/ 46 h 210"/>
                <a:gd name="T80" fmla="*/ 172 w 210"/>
                <a:gd name="T81" fmla="*/ 24 h 210"/>
                <a:gd name="T82" fmla="*/ 146 w 210"/>
                <a:gd name="T83" fmla="*/ 8 h 210"/>
                <a:gd name="T84" fmla="*/ 116 w 210"/>
                <a:gd name="T8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70" y="172"/>
                  </a:lnTo>
                  <a:lnTo>
                    <a:pt x="63" y="167"/>
                  </a:lnTo>
                  <a:lnTo>
                    <a:pt x="58" y="163"/>
                  </a:lnTo>
                  <a:lnTo>
                    <a:pt x="52" y="159"/>
                  </a:lnTo>
                  <a:lnTo>
                    <a:pt x="47" y="154"/>
                  </a:lnTo>
                  <a:lnTo>
                    <a:pt x="43" y="147"/>
                  </a:lnTo>
                  <a:lnTo>
                    <a:pt x="39" y="141"/>
                  </a:lnTo>
                  <a:lnTo>
                    <a:pt x="36" y="134"/>
                  </a:lnTo>
                  <a:lnTo>
                    <a:pt x="33" y="128"/>
                  </a:lnTo>
                  <a:lnTo>
                    <a:pt x="31" y="120"/>
                  </a:lnTo>
                  <a:lnTo>
                    <a:pt x="30" y="113"/>
                  </a:lnTo>
                  <a:lnTo>
                    <a:pt x="30" y="105"/>
                  </a:lnTo>
                  <a:lnTo>
                    <a:pt x="30" y="98"/>
                  </a:lnTo>
                  <a:lnTo>
                    <a:pt x="31" y="90"/>
                  </a:lnTo>
                  <a:lnTo>
                    <a:pt x="33" y="83"/>
                  </a:lnTo>
                  <a:lnTo>
                    <a:pt x="36" y="76"/>
                  </a:lnTo>
                  <a:lnTo>
                    <a:pt x="39" y="69"/>
                  </a:lnTo>
                  <a:lnTo>
                    <a:pt x="43" y="64"/>
                  </a:lnTo>
                  <a:lnTo>
                    <a:pt x="47" y="57"/>
                  </a:lnTo>
                  <a:lnTo>
                    <a:pt x="52" y="52"/>
                  </a:lnTo>
                  <a:lnTo>
                    <a:pt x="58" y="48"/>
                  </a:lnTo>
                  <a:lnTo>
                    <a:pt x="63" y="43"/>
                  </a:lnTo>
                  <a:lnTo>
                    <a:pt x="70" y="39"/>
                  </a:lnTo>
                  <a:lnTo>
                    <a:pt x="76" y="36"/>
                  </a:lnTo>
                  <a:lnTo>
                    <a:pt x="82" y="34"/>
                  </a:lnTo>
                  <a:lnTo>
                    <a:pt x="90" y="31"/>
                  </a:lnTo>
                  <a:lnTo>
                    <a:pt x="97" y="30"/>
                  </a:lnTo>
                  <a:lnTo>
                    <a:pt x="105" y="30"/>
                  </a:lnTo>
                  <a:lnTo>
                    <a:pt x="112" y="30"/>
                  </a:lnTo>
                  <a:lnTo>
                    <a:pt x="120" y="31"/>
                  </a:lnTo>
                  <a:lnTo>
                    <a:pt x="127" y="34"/>
                  </a:lnTo>
                  <a:lnTo>
                    <a:pt x="134" y="36"/>
                  </a:lnTo>
                  <a:lnTo>
                    <a:pt x="141" y="39"/>
                  </a:lnTo>
                  <a:lnTo>
                    <a:pt x="147" y="43"/>
                  </a:lnTo>
                  <a:lnTo>
                    <a:pt x="153" y="48"/>
                  </a:lnTo>
                  <a:lnTo>
                    <a:pt x="159" y="52"/>
                  </a:lnTo>
                  <a:lnTo>
                    <a:pt x="163" y="57"/>
                  </a:lnTo>
                  <a:lnTo>
                    <a:pt x="167" y="64"/>
                  </a:lnTo>
                  <a:lnTo>
                    <a:pt x="171" y="69"/>
                  </a:lnTo>
                  <a:lnTo>
                    <a:pt x="175" y="76"/>
                  </a:lnTo>
                  <a:lnTo>
                    <a:pt x="177" y="83"/>
                  </a:lnTo>
                  <a:lnTo>
                    <a:pt x="179" y="90"/>
                  </a:lnTo>
                  <a:lnTo>
                    <a:pt x="180" y="98"/>
                  </a:lnTo>
                  <a:lnTo>
                    <a:pt x="180" y="105"/>
                  </a:lnTo>
                  <a:lnTo>
                    <a:pt x="180" y="113"/>
                  </a:lnTo>
                  <a:lnTo>
                    <a:pt x="179" y="120"/>
                  </a:lnTo>
                  <a:lnTo>
                    <a:pt x="177" y="128"/>
                  </a:lnTo>
                  <a:lnTo>
                    <a:pt x="175" y="134"/>
                  </a:lnTo>
                  <a:lnTo>
                    <a:pt x="171" y="141"/>
                  </a:lnTo>
                  <a:lnTo>
                    <a:pt x="167" y="147"/>
                  </a:lnTo>
                  <a:lnTo>
                    <a:pt x="163" y="152"/>
                  </a:lnTo>
                  <a:lnTo>
                    <a:pt x="159" y="158"/>
                  </a:lnTo>
                  <a:lnTo>
                    <a:pt x="153" y="163"/>
                  </a:lnTo>
                  <a:lnTo>
                    <a:pt x="147" y="167"/>
                  </a:lnTo>
                  <a:lnTo>
                    <a:pt x="141" y="172"/>
                  </a:lnTo>
                  <a:lnTo>
                    <a:pt x="134" y="175"/>
                  </a:lnTo>
                  <a:lnTo>
                    <a:pt x="127" y="177"/>
                  </a:lnTo>
                  <a:lnTo>
                    <a:pt x="120" y="179"/>
                  </a:lnTo>
                  <a:lnTo>
                    <a:pt x="112" y="180"/>
                  </a:lnTo>
                  <a:lnTo>
                    <a:pt x="105" y="180"/>
                  </a:lnTo>
                  <a:close/>
                  <a:moveTo>
                    <a:pt x="105" y="0"/>
                  </a:moveTo>
                  <a:lnTo>
                    <a:pt x="94" y="0"/>
                  </a:lnTo>
                  <a:lnTo>
                    <a:pt x="84" y="3"/>
                  </a:lnTo>
                  <a:lnTo>
                    <a:pt x="74" y="5"/>
                  </a:lnTo>
                  <a:lnTo>
                    <a:pt x="64" y="8"/>
                  </a:lnTo>
                  <a:lnTo>
                    <a:pt x="55" y="12"/>
                  </a:lnTo>
                  <a:lnTo>
                    <a:pt x="46" y="18"/>
                  </a:lnTo>
                  <a:lnTo>
                    <a:pt x="39" y="24"/>
                  </a:lnTo>
                  <a:lnTo>
                    <a:pt x="31" y="30"/>
                  </a:lnTo>
                  <a:lnTo>
                    <a:pt x="24" y="38"/>
                  </a:lnTo>
                  <a:lnTo>
                    <a:pt x="18" y="46"/>
                  </a:lnTo>
                  <a:lnTo>
                    <a:pt x="13" y="55"/>
                  </a:lnTo>
                  <a:lnTo>
                    <a:pt x="9" y="65"/>
                  </a:lnTo>
                  <a:lnTo>
                    <a:pt x="4" y="74"/>
                  </a:lnTo>
                  <a:lnTo>
                    <a:pt x="2" y="84"/>
                  </a:lnTo>
                  <a:lnTo>
                    <a:pt x="0" y="95"/>
                  </a:lnTo>
                  <a:lnTo>
                    <a:pt x="0" y="105"/>
                  </a:lnTo>
                  <a:lnTo>
                    <a:pt x="0" y="116"/>
                  </a:lnTo>
                  <a:lnTo>
                    <a:pt x="2" y="127"/>
                  </a:lnTo>
                  <a:lnTo>
                    <a:pt x="4" y="136"/>
                  </a:lnTo>
                  <a:lnTo>
                    <a:pt x="9" y="146"/>
                  </a:lnTo>
                  <a:lnTo>
                    <a:pt x="13" y="156"/>
                  </a:lnTo>
                  <a:lnTo>
                    <a:pt x="18" y="164"/>
                  </a:lnTo>
                  <a:lnTo>
                    <a:pt x="24" y="172"/>
                  </a:lnTo>
                  <a:lnTo>
                    <a:pt x="31" y="179"/>
                  </a:lnTo>
                  <a:lnTo>
                    <a:pt x="39" y="187"/>
                  </a:lnTo>
                  <a:lnTo>
                    <a:pt x="46" y="192"/>
                  </a:lnTo>
                  <a:lnTo>
                    <a:pt x="55" y="197"/>
                  </a:lnTo>
                  <a:lnTo>
                    <a:pt x="64" y="202"/>
                  </a:lnTo>
                  <a:lnTo>
                    <a:pt x="74" y="206"/>
                  </a:lnTo>
                  <a:lnTo>
                    <a:pt x="84" y="208"/>
                  </a:lnTo>
                  <a:lnTo>
                    <a:pt x="94" y="210"/>
                  </a:lnTo>
                  <a:lnTo>
                    <a:pt x="105" y="210"/>
                  </a:lnTo>
                  <a:lnTo>
                    <a:pt x="116" y="210"/>
                  </a:lnTo>
                  <a:lnTo>
                    <a:pt x="126" y="208"/>
                  </a:lnTo>
                  <a:lnTo>
                    <a:pt x="136" y="206"/>
                  </a:lnTo>
                  <a:lnTo>
                    <a:pt x="146" y="202"/>
                  </a:lnTo>
                  <a:lnTo>
                    <a:pt x="155" y="197"/>
                  </a:lnTo>
                  <a:lnTo>
                    <a:pt x="164" y="192"/>
                  </a:lnTo>
                  <a:lnTo>
                    <a:pt x="172" y="187"/>
                  </a:lnTo>
                  <a:lnTo>
                    <a:pt x="180" y="179"/>
                  </a:lnTo>
                  <a:lnTo>
                    <a:pt x="186" y="172"/>
                  </a:lnTo>
                  <a:lnTo>
                    <a:pt x="193" y="164"/>
                  </a:lnTo>
                  <a:lnTo>
                    <a:pt x="198" y="156"/>
                  </a:lnTo>
                  <a:lnTo>
                    <a:pt x="202" y="146"/>
                  </a:lnTo>
                  <a:lnTo>
                    <a:pt x="206" y="136"/>
                  </a:lnTo>
                  <a:lnTo>
                    <a:pt x="208" y="127"/>
                  </a:lnTo>
                  <a:lnTo>
                    <a:pt x="210" y="116"/>
                  </a:lnTo>
                  <a:lnTo>
                    <a:pt x="210" y="105"/>
                  </a:lnTo>
                  <a:lnTo>
                    <a:pt x="210" y="95"/>
                  </a:lnTo>
                  <a:lnTo>
                    <a:pt x="208" y="84"/>
                  </a:lnTo>
                  <a:lnTo>
                    <a:pt x="206" y="74"/>
                  </a:lnTo>
                  <a:lnTo>
                    <a:pt x="202" y="65"/>
                  </a:lnTo>
                  <a:lnTo>
                    <a:pt x="198" y="55"/>
                  </a:lnTo>
                  <a:lnTo>
                    <a:pt x="193" y="46"/>
                  </a:lnTo>
                  <a:lnTo>
                    <a:pt x="186" y="38"/>
                  </a:lnTo>
                  <a:lnTo>
                    <a:pt x="180" y="30"/>
                  </a:lnTo>
                  <a:lnTo>
                    <a:pt x="172" y="24"/>
                  </a:lnTo>
                  <a:lnTo>
                    <a:pt x="164" y="18"/>
                  </a:lnTo>
                  <a:lnTo>
                    <a:pt x="155" y="13"/>
                  </a:lnTo>
                  <a:lnTo>
                    <a:pt x="146" y="8"/>
                  </a:lnTo>
                  <a:lnTo>
                    <a:pt x="136" y="5"/>
                  </a:lnTo>
                  <a:lnTo>
                    <a:pt x="126" y="3"/>
                  </a:lnTo>
                  <a:lnTo>
                    <a:pt x="116"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02">
              <a:extLst>
                <a:ext uri="{FF2B5EF4-FFF2-40B4-BE49-F238E27FC236}">
                  <a16:creationId xmlns:a16="http://schemas.microsoft.com/office/drawing/2014/main" id="{CB88AA01-63B5-405B-80B8-CD01CE1852A4}"/>
                </a:ext>
              </a:extLst>
            </p:cNvPr>
            <p:cNvSpPr>
              <a:spLocks noEditPoints="1"/>
            </p:cNvSpPr>
            <p:nvPr/>
          </p:nvSpPr>
          <p:spPr bwMode="auto">
            <a:xfrm>
              <a:off x="7658100" y="2719388"/>
              <a:ext cx="66675" cy="66675"/>
            </a:xfrm>
            <a:custGeom>
              <a:avLst/>
              <a:gdLst>
                <a:gd name="T0" fmla="*/ 90 w 210"/>
                <a:gd name="T1" fmla="*/ 179 h 210"/>
                <a:gd name="T2" fmla="*/ 70 w 210"/>
                <a:gd name="T3" fmla="*/ 172 h 210"/>
                <a:gd name="T4" fmla="*/ 52 w 210"/>
                <a:gd name="T5" fmla="*/ 159 h 210"/>
                <a:gd name="T6" fmla="*/ 39 w 210"/>
                <a:gd name="T7" fmla="*/ 141 h 210"/>
                <a:gd name="T8" fmla="*/ 31 w 210"/>
                <a:gd name="T9" fmla="*/ 120 h 210"/>
                <a:gd name="T10" fmla="*/ 30 w 210"/>
                <a:gd name="T11" fmla="*/ 98 h 210"/>
                <a:gd name="T12" fmla="*/ 36 w 210"/>
                <a:gd name="T13" fmla="*/ 76 h 210"/>
                <a:gd name="T14" fmla="*/ 47 w 210"/>
                <a:gd name="T15" fmla="*/ 57 h 210"/>
                <a:gd name="T16" fmla="*/ 63 w 210"/>
                <a:gd name="T17" fmla="*/ 43 h 210"/>
                <a:gd name="T18" fmla="*/ 82 w 210"/>
                <a:gd name="T19" fmla="*/ 34 h 210"/>
                <a:gd name="T20" fmla="*/ 105 w 210"/>
                <a:gd name="T21" fmla="*/ 30 h 210"/>
                <a:gd name="T22" fmla="*/ 127 w 210"/>
                <a:gd name="T23" fmla="*/ 34 h 210"/>
                <a:gd name="T24" fmla="*/ 147 w 210"/>
                <a:gd name="T25" fmla="*/ 43 h 210"/>
                <a:gd name="T26" fmla="*/ 163 w 210"/>
                <a:gd name="T27" fmla="*/ 57 h 210"/>
                <a:gd name="T28" fmla="*/ 175 w 210"/>
                <a:gd name="T29" fmla="*/ 76 h 210"/>
                <a:gd name="T30" fmla="*/ 180 w 210"/>
                <a:gd name="T31" fmla="*/ 98 h 210"/>
                <a:gd name="T32" fmla="*/ 179 w 210"/>
                <a:gd name="T33" fmla="*/ 120 h 210"/>
                <a:gd name="T34" fmla="*/ 171 w 210"/>
                <a:gd name="T35" fmla="*/ 141 h 210"/>
                <a:gd name="T36" fmla="*/ 159 w 210"/>
                <a:gd name="T37" fmla="*/ 158 h 210"/>
                <a:gd name="T38" fmla="*/ 141 w 210"/>
                <a:gd name="T39" fmla="*/ 172 h 210"/>
                <a:gd name="T40" fmla="*/ 120 w 210"/>
                <a:gd name="T41" fmla="*/ 179 h 210"/>
                <a:gd name="T42" fmla="*/ 105 w 210"/>
                <a:gd name="T43" fmla="*/ 0 h 210"/>
                <a:gd name="T44" fmla="*/ 74 w 210"/>
                <a:gd name="T45" fmla="*/ 5 h 210"/>
                <a:gd name="T46" fmla="*/ 46 w 210"/>
                <a:gd name="T47" fmla="*/ 18 h 210"/>
                <a:gd name="T48" fmla="*/ 24 w 210"/>
                <a:gd name="T49" fmla="*/ 38 h 210"/>
                <a:gd name="T50" fmla="*/ 9 w 210"/>
                <a:gd name="T51" fmla="*/ 65 h 210"/>
                <a:gd name="T52" fmla="*/ 0 w 210"/>
                <a:gd name="T53" fmla="*/ 95 h 210"/>
                <a:gd name="T54" fmla="*/ 2 w 210"/>
                <a:gd name="T55" fmla="*/ 127 h 210"/>
                <a:gd name="T56" fmla="*/ 13 w 210"/>
                <a:gd name="T57" fmla="*/ 156 h 210"/>
                <a:gd name="T58" fmla="*/ 31 w 210"/>
                <a:gd name="T59" fmla="*/ 179 h 210"/>
                <a:gd name="T60" fmla="*/ 55 w 210"/>
                <a:gd name="T61" fmla="*/ 197 h 210"/>
                <a:gd name="T62" fmla="*/ 84 w 210"/>
                <a:gd name="T63" fmla="*/ 208 h 210"/>
                <a:gd name="T64" fmla="*/ 116 w 210"/>
                <a:gd name="T65" fmla="*/ 210 h 210"/>
                <a:gd name="T66" fmla="*/ 146 w 210"/>
                <a:gd name="T67" fmla="*/ 202 h 210"/>
                <a:gd name="T68" fmla="*/ 172 w 210"/>
                <a:gd name="T69" fmla="*/ 187 h 210"/>
                <a:gd name="T70" fmla="*/ 193 w 210"/>
                <a:gd name="T71" fmla="*/ 164 h 210"/>
                <a:gd name="T72" fmla="*/ 206 w 210"/>
                <a:gd name="T73" fmla="*/ 136 h 210"/>
                <a:gd name="T74" fmla="*/ 210 w 210"/>
                <a:gd name="T75" fmla="*/ 105 h 210"/>
                <a:gd name="T76" fmla="*/ 206 w 210"/>
                <a:gd name="T77" fmla="*/ 74 h 210"/>
                <a:gd name="T78" fmla="*/ 193 w 210"/>
                <a:gd name="T79" fmla="*/ 46 h 210"/>
                <a:gd name="T80" fmla="*/ 172 w 210"/>
                <a:gd name="T81" fmla="*/ 24 h 210"/>
                <a:gd name="T82" fmla="*/ 146 w 210"/>
                <a:gd name="T83" fmla="*/ 8 h 210"/>
                <a:gd name="T84" fmla="*/ 116 w 210"/>
                <a:gd name="T8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10">
                  <a:moveTo>
                    <a:pt x="105" y="180"/>
                  </a:moveTo>
                  <a:lnTo>
                    <a:pt x="97" y="180"/>
                  </a:lnTo>
                  <a:lnTo>
                    <a:pt x="90" y="179"/>
                  </a:lnTo>
                  <a:lnTo>
                    <a:pt x="82" y="177"/>
                  </a:lnTo>
                  <a:lnTo>
                    <a:pt x="76" y="175"/>
                  </a:lnTo>
                  <a:lnTo>
                    <a:pt x="70" y="172"/>
                  </a:lnTo>
                  <a:lnTo>
                    <a:pt x="63" y="167"/>
                  </a:lnTo>
                  <a:lnTo>
                    <a:pt x="58" y="163"/>
                  </a:lnTo>
                  <a:lnTo>
                    <a:pt x="52" y="159"/>
                  </a:lnTo>
                  <a:lnTo>
                    <a:pt x="47" y="154"/>
                  </a:lnTo>
                  <a:lnTo>
                    <a:pt x="43" y="147"/>
                  </a:lnTo>
                  <a:lnTo>
                    <a:pt x="39" y="141"/>
                  </a:lnTo>
                  <a:lnTo>
                    <a:pt x="36" y="134"/>
                  </a:lnTo>
                  <a:lnTo>
                    <a:pt x="33" y="128"/>
                  </a:lnTo>
                  <a:lnTo>
                    <a:pt x="31" y="120"/>
                  </a:lnTo>
                  <a:lnTo>
                    <a:pt x="30" y="113"/>
                  </a:lnTo>
                  <a:lnTo>
                    <a:pt x="30" y="105"/>
                  </a:lnTo>
                  <a:lnTo>
                    <a:pt x="30" y="98"/>
                  </a:lnTo>
                  <a:lnTo>
                    <a:pt x="31" y="90"/>
                  </a:lnTo>
                  <a:lnTo>
                    <a:pt x="33" y="83"/>
                  </a:lnTo>
                  <a:lnTo>
                    <a:pt x="36" y="76"/>
                  </a:lnTo>
                  <a:lnTo>
                    <a:pt x="39" y="69"/>
                  </a:lnTo>
                  <a:lnTo>
                    <a:pt x="43" y="64"/>
                  </a:lnTo>
                  <a:lnTo>
                    <a:pt x="47" y="57"/>
                  </a:lnTo>
                  <a:lnTo>
                    <a:pt x="52" y="52"/>
                  </a:lnTo>
                  <a:lnTo>
                    <a:pt x="58" y="48"/>
                  </a:lnTo>
                  <a:lnTo>
                    <a:pt x="63" y="43"/>
                  </a:lnTo>
                  <a:lnTo>
                    <a:pt x="70" y="39"/>
                  </a:lnTo>
                  <a:lnTo>
                    <a:pt x="76" y="36"/>
                  </a:lnTo>
                  <a:lnTo>
                    <a:pt x="82" y="34"/>
                  </a:lnTo>
                  <a:lnTo>
                    <a:pt x="90" y="31"/>
                  </a:lnTo>
                  <a:lnTo>
                    <a:pt x="97" y="30"/>
                  </a:lnTo>
                  <a:lnTo>
                    <a:pt x="105" y="30"/>
                  </a:lnTo>
                  <a:lnTo>
                    <a:pt x="112" y="30"/>
                  </a:lnTo>
                  <a:lnTo>
                    <a:pt x="120" y="31"/>
                  </a:lnTo>
                  <a:lnTo>
                    <a:pt x="127" y="34"/>
                  </a:lnTo>
                  <a:lnTo>
                    <a:pt x="134" y="36"/>
                  </a:lnTo>
                  <a:lnTo>
                    <a:pt x="141" y="39"/>
                  </a:lnTo>
                  <a:lnTo>
                    <a:pt x="147" y="43"/>
                  </a:lnTo>
                  <a:lnTo>
                    <a:pt x="153" y="48"/>
                  </a:lnTo>
                  <a:lnTo>
                    <a:pt x="159" y="52"/>
                  </a:lnTo>
                  <a:lnTo>
                    <a:pt x="163" y="57"/>
                  </a:lnTo>
                  <a:lnTo>
                    <a:pt x="167" y="64"/>
                  </a:lnTo>
                  <a:lnTo>
                    <a:pt x="171" y="69"/>
                  </a:lnTo>
                  <a:lnTo>
                    <a:pt x="175" y="76"/>
                  </a:lnTo>
                  <a:lnTo>
                    <a:pt x="177" y="83"/>
                  </a:lnTo>
                  <a:lnTo>
                    <a:pt x="179" y="90"/>
                  </a:lnTo>
                  <a:lnTo>
                    <a:pt x="180" y="98"/>
                  </a:lnTo>
                  <a:lnTo>
                    <a:pt x="180" y="105"/>
                  </a:lnTo>
                  <a:lnTo>
                    <a:pt x="180" y="113"/>
                  </a:lnTo>
                  <a:lnTo>
                    <a:pt x="179" y="120"/>
                  </a:lnTo>
                  <a:lnTo>
                    <a:pt x="177" y="128"/>
                  </a:lnTo>
                  <a:lnTo>
                    <a:pt x="175" y="134"/>
                  </a:lnTo>
                  <a:lnTo>
                    <a:pt x="171" y="141"/>
                  </a:lnTo>
                  <a:lnTo>
                    <a:pt x="167" y="147"/>
                  </a:lnTo>
                  <a:lnTo>
                    <a:pt x="163" y="152"/>
                  </a:lnTo>
                  <a:lnTo>
                    <a:pt x="159" y="158"/>
                  </a:lnTo>
                  <a:lnTo>
                    <a:pt x="153" y="163"/>
                  </a:lnTo>
                  <a:lnTo>
                    <a:pt x="147" y="167"/>
                  </a:lnTo>
                  <a:lnTo>
                    <a:pt x="141" y="172"/>
                  </a:lnTo>
                  <a:lnTo>
                    <a:pt x="134" y="175"/>
                  </a:lnTo>
                  <a:lnTo>
                    <a:pt x="127" y="177"/>
                  </a:lnTo>
                  <a:lnTo>
                    <a:pt x="120" y="179"/>
                  </a:lnTo>
                  <a:lnTo>
                    <a:pt x="112" y="180"/>
                  </a:lnTo>
                  <a:lnTo>
                    <a:pt x="105" y="180"/>
                  </a:lnTo>
                  <a:close/>
                  <a:moveTo>
                    <a:pt x="105" y="0"/>
                  </a:moveTo>
                  <a:lnTo>
                    <a:pt x="94" y="0"/>
                  </a:lnTo>
                  <a:lnTo>
                    <a:pt x="84" y="3"/>
                  </a:lnTo>
                  <a:lnTo>
                    <a:pt x="74" y="5"/>
                  </a:lnTo>
                  <a:lnTo>
                    <a:pt x="64" y="8"/>
                  </a:lnTo>
                  <a:lnTo>
                    <a:pt x="55" y="12"/>
                  </a:lnTo>
                  <a:lnTo>
                    <a:pt x="46" y="18"/>
                  </a:lnTo>
                  <a:lnTo>
                    <a:pt x="39" y="24"/>
                  </a:lnTo>
                  <a:lnTo>
                    <a:pt x="31" y="30"/>
                  </a:lnTo>
                  <a:lnTo>
                    <a:pt x="24" y="38"/>
                  </a:lnTo>
                  <a:lnTo>
                    <a:pt x="18" y="46"/>
                  </a:lnTo>
                  <a:lnTo>
                    <a:pt x="13" y="55"/>
                  </a:lnTo>
                  <a:lnTo>
                    <a:pt x="9" y="65"/>
                  </a:lnTo>
                  <a:lnTo>
                    <a:pt x="4" y="74"/>
                  </a:lnTo>
                  <a:lnTo>
                    <a:pt x="2" y="84"/>
                  </a:lnTo>
                  <a:lnTo>
                    <a:pt x="0" y="95"/>
                  </a:lnTo>
                  <a:lnTo>
                    <a:pt x="0" y="105"/>
                  </a:lnTo>
                  <a:lnTo>
                    <a:pt x="0" y="116"/>
                  </a:lnTo>
                  <a:lnTo>
                    <a:pt x="2" y="127"/>
                  </a:lnTo>
                  <a:lnTo>
                    <a:pt x="4" y="136"/>
                  </a:lnTo>
                  <a:lnTo>
                    <a:pt x="9" y="146"/>
                  </a:lnTo>
                  <a:lnTo>
                    <a:pt x="13" y="156"/>
                  </a:lnTo>
                  <a:lnTo>
                    <a:pt x="18" y="164"/>
                  </a:lnTo>
                  <a:lnTo>
                    <a:pt x="24" y="172"/>
                  </a:lnTo>
                  <a:lnTo>
                    <a:pt x="31" y="179"/>
                  </a:lnTo>
                  <a:lnTo>
                    <a:pt x="39" y="187"/>
                  </a:lnTo>
                  <a:lnTo>
                    <a:pt x="46" y="192"/>
                  </a:lnTo>
                  <a:lnTo>
                    <a:pt x="55" y="197"/>
                  </a:lnTo>
                  <a:lnTo>
                    <a:pt x="64" y="202"/>
                  </a:lnTo>
                  <a:lnTo>
                    <a:pt x="74" y="206"/>
                  </a:lnTo>
                  <a:lnTo>
                    <a:pt x="84" y="208"/>
                  </a:lnTo>
                  <a:lnTo>
                    <a:pt x="94" y="210"/>
                  </a:lnTo>
                  <a:lnTo>
                    <a:pt x="105" y="210"/>
                  </a:lnTo>
                  <a:lnTo>
                    <a:pt x="116" y="210"/>
                  </a:lnTo>
                  <a:lnTo>
                    <a:pt x="126" y="208"/>
                  </a:lnTo>
                  <a:lnTo>
                    <a:pt x="136" y="206"/>
                  </a:lnTo>
                  <a:lnTo>
                    <a:pt x="146" y="202"/>
                  </a:lnTo>
                  <a:lnTo>
                    <a:pt x="155" y="197"/>
                  </a:lnTo>
                  <a:lnTo>
                    <a:pt x="164" y="192"/>
                  </a:lnTo>
                  <a:lnTo>
                    <a:pt x="172" y="187"/>
                  </a:lnTo>
                  <a:lnTo>
                    <a:pt x="180" y="179"/>
                  </a:lnTo>
                  <a:lnTo>
                    <a:pt x="186" y="172"/>
                  </a:lnTo>
                  <a:lnTo>
                    <a:pt x="193" y="164"/>
                  </a:lnTo>
                  <a:lnTo>
                    <a:pt x="198" y="156"/>
                  </a:lnTo>
                  <a:lnTo>
                    <a:pt x="202" y="146"/>
                  </a:lnTo>
                  <a:lnTo>
                    <a:pt x="206" y="136"/>
                  </a:lnTo>
                  <a:lnTo>
                    <a:pt x="208" y="127"/>
                  </a:lnTo>
                  <a:lnTo>
                    <a:pt x="210" y="116"/>
                  </a:lnTo>
                  <a:lnTo>
                    <a:pt x="210" y="105"/>
                  </a:lnTo>
                  <a:lnTo>
                    <a:pt x="210" y="95"/>
                  </a:lnTo>
                  <a:lnTo>
                    <a:pt x="208" y="84"/>
                  </a:lnTo>
                  <a:lnTo>
                    <a:pt x="206" y="74"/>
                  </a:lnTo>
                  <a:lnTo>
                    <a:pt x="202" y="65"/>
                  </a:lnTo>
                  <a:lnTo>
                    <a:pt x="198" y="55"/>
                  </a:lnTo>
                  <a:lnTo>
                    <a:pt x="193" y="46"/>
                  </a:lnTo>
                  <a:lnTo>
                    <a:pt x="186" y="38"/>
                  </a:lnTo>
                  <a:lnTo>
                    <a:pt x="180" y="30"/>
                  </a:lnTo>
                  <a:lnTo>
                    <a:pt x="172" y="24"/>
                  </a:lnTo>
                  <a:lnTo>
                    <a:pt x="164" y="18"/>
                  </a:lnTo>
                  <a:lnTo>
                    <a:pt x="155" y="13"/>
                  </a:lnTo>
                  <a:lnTo>
                    <a:pt x="146" y="8"/>
                  </a:lnTo>
                  <a:lnTo>
                    <a:pt x="136" y="5"/>
                  </a:lnTo>
                  <a:lnTo>
                    <a:pt x="126" y="3"/>
                  </a:lnTo>
                  <a:lnTo>
                    <a:pt x="116" y="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03">
              <a:extLst>
                <a:ext uri="{FF2B5EF4-FFF2-40B4-BE49-F238E27FC236}">
                  <a16:creationId xmlns:a16="http://schemas.microsoft.com/office/drawing/2014/main" id="{53EDA02B-CC89-40CE-8C80-7F554734971A}"/>
                </a:ext>
              </a:extLst>
            </p:cNvPr>
            <p:cNvSpPr>
              <a:spLocks/>
            </p:cNvSpPr>
            <p:nvPr/>
          </p:nvSpPr>
          <p:spPr bwMode="auto">
            <a:xfrm>
              <a:off x="7591425" y="2565400"/>
              <a:ext cx="285750" cy="201613"/>
            </a:xfrm>
            <a:custGeom>
              <a:avLst/>
              <a:gdLst>
                <a:gd name="T0" fmla="*/ 313 w 903"/>
                <a:gd name="T1" fmla="*/ 0 h 631"/>
                <a:gd name="T2" fmla="*/ 305 w 903"/>
                <a:gd name="T3" fmla="*/ 5 h 631"/>
                <a:gd name="T4" fmla="*/ 301 w 903"/>
                <a:gd name="T5" fmla="*/ 12 h 631"/>
                <a:gd name="T6" fmla="*/ 136 w 903"/>
                <a:gd name="T7" fmla="*/ 150 h 631"/>
                <a:gd name="T8" fmla="*/ 95 w 903"/>
                <a:gd name="T9" fmla="*/ 157 h 631"/>
                <a:gd name="T10" fmla="*/ 60 w 903"/>
                <a:gd name="T11" fmla="*/ 173 h 631"/>
                <a:gd name="T12" fmla="*/ 31 w 903"/>
                <a:gd name="T13" fmla="*/ 200 h 631"/>
                <a:gd name="T14" fmla="*/ 11 w 903"/>
                <a:gd name="T15" fmla="*/ 233 h 631"/>
                <a:gd name="T16" fmla="*/ 1 w 903"/>
                <a:gd name="T17" fmla="*/ 271 h 631"/>
                <a:gd name="T18" fmla="*/ 1 w 903"/>
                <a:gd name="T19" fmla="*/ 620 h 631"/>
                <a:gd name="T20" fmla="*/ 5 w 903"/>
                <a:gd name="T21" fmla="*/ 627 h 631"/>
                <a:gd name="T22" fmla="*/ 13 w 903"/>
                <a:gd name="T23" fmla="*/ 631 h 631"/>
                <a:gd name="T24" fmla="*/ 169 w 903"/>
                <a:gd name="T25" fmla="*/ 631 h 631"/>
                <a:gd name="T26" fmla="*/ 177 w 903"/>
                <a:gd name="T27" fmla="*/ 627 h 631"/>
                <a:gd name="T28" fmla="*/ 181 w 903"/>
                <a:gd name="T29" fmla="*/ 620 h 631"/>
                <a:gd name="T30" fmla="*/ 180 w 903"/>
                <a:gd name="T31" fmla="*/ 611 h 631"/>
                <a:gd name="T32" fmla="*/ 175 w 903"/>
                <a:gd name="T33" fmla="*/ 603 h 631"/>
                <a:gd name="T34" fmla="*/ 166 w 903"/>
                <a:gd name="T35" fmla="*/ 601 h 631"/>
                <a:gd name="T36" fmla="*/ 166 w 903"/>
                <a:gd name="T37" fmla="*/ 541 h 631"/>
                <a:gd name="T38" fmla="*/ 175 w 903"/>
                <a:gd name="T39" fmla="*/ 538 h 631"/>
                <a:gd name="T40" fmla="*/ 180 w 903"/>
                <a:gd name="T41" fmla="*/ 532 h 631"/>
                <a:gd name="T42" fmla="*/ 181 w 903"/>
                <a:gd name="T43" fmla="*/ 523 h 631"/>
                <a:gd name="T44" fmla="*/ 177 w 903"/>
                <a:gd name="T45" fmla="*/ 516 h 631"/>
                <a:gd name="T46" fmla="*/ 169 w 903"/>
                <a:gd name="T47" fmla="*/ 511 h 631"/>
                <a:gd name="T48" fmla="*/ 31 w 903"/>
                <a:gd name="T49" fmla="*/ 285 h 631"/>
                <a:gd name="T50" fmla="*/ 35 w 903"/>
                <a:gd name="T51" fmla="*/ 254 h 631"/>
                <a:gd name="T52" fmla="*/ 48 w 903"/>
                <a:gd name="T53" fmla="*/ 226 h 631"/>
                <a:gd name="T54" fmla="*/ 69 w 903"/>
                <a:gd name="T55" fmla="*/ 204 h 631"/>
                <a:gd name="T56" fmla="*/ 95 w 903"/>
                <a:gd name="T57" fmla="*/ 189 h 631"/>
                <a:gd name="T58" fmla="*/ 125 w 903"/>
                <a:gd name="T59" fmla="*/ 180 h 631"/>
                <a:gd name="T60" fmla="*/ 301 w 903"/>
                <a:gd name="T61" fmla="*/ 405 h 631"/>
                <a:gd name="T62" fmla="*/ 304 w 903"/>
                <a:gd name="T63" fmla="*/ 414 h 631"/>
                <a:gd name="T64" fmla="*/ 311 w 903"/>
                <a:gd name="T65" fmla="*/ 419 h 631"/>
                <a:gd name="T66" fmla="*/ 319 w 903"/>
                <a:gd name="T67" fmla="*/ 420 h 631"/>
                <a:gd name="T68" fmla="*/ 327 w 903"/>
                <a:gd name="T69" fmla="*/ 416 h 631"/>
                <a:gd name="T70" fmla="*/ 331 w 903"/>
                <a:gd name="T71" fmla="*/ 409 h 631"/>
                <a:gd name="T72" fmla="*/ 872 w 903"/>
                <a:gd name="T73" fmla="*/ 30 h 631"/>
                <a:gd name="T74" fmla="*/ 874 w 903"/>
                <a:gd name="T75" fmla="*/ 577 h 631"/>
                <a:gd name="T76" fmla="*/ 879 w 903"/>
                <a:gd name="T77" fmla="*/ 583 h 631"/>
                <a:gd name="T78" fmla="*/ 888 w 903"/>
                <a:gd name="T79" fmla="*/ 586 h 631"/>
                <a:gd name="T80" fmla="*/ 896 w 903"/>
                <a:gd name="T81" fmla="*/ 583 h 631"/>
                <a:gd name="T82" fmla="*/ 901 w 903"/>
                <a:gd name="T83" fmla="*/ 577 h 631"/>
                <a:gd name="T84" fmla="*/ 903 w 903"/>
                <a:gd name="T85" fmla="*/ 15 h 631"/>
                <a:gd name="T86" fmla="*/ 900 w 903"/>
                <a:gd name="T87" fmla="*/ 7 h 631"/>
                <a:gd name="T88" fmla="*/ 893 w 903"/>
                <a:gd name="T89" fmla="*/ 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3" h="631">
                  <a:moveTo>
                    <a:pt x="888" y="0"/>
                  </a:moveTo>
                  <a:lnTo>
                    <a:pt x="316" y="0"/>
                  </a:lnTo>
                  <a:lnTo>
                    <a:pt x="313" y="0"/>
                  </a:lnTo>
                  <a:lnTo>
                    <a:pt x="311" y="1"/>
                  </a:lnTo>
                  <a:lnTo>
                    <a:pt x="307" y="3"/>
                  </a:lnTo>
                  <a:lnTo>
                    <a:pt x="305" y="5"/>
                  </a:lnTo>
                  <a:lnTo>
                    <a:pt x="304" y="7"/>
                  </a:lnTo>
                  <a:lnTo>
                    <a:pt x="302" y="9"/>
                  </a:lnTo>
                  <a:lnTo>
                    <a:pt x="301" y="12"/>
                  </a:lnTo>
                  <a:lnTo>
                    <a:pt x="301" y="15"/>
                  </a:lnTo>
                  <a:lnTo>
                    <a:pt x="301" y="150"/>
                  </a:lnTo>
                  <a:lnTo>
                    <a:pt x="136" y="150"/>
                  </a:lnTo>
                  <a:lnTo>
                    <a:pt x="122" y="151"/>
                  </a:lnTo>
                  <a:lnTo>
                    <a:pt x="108" y="153"/>
                  </a:lnTo>
                  <a:lnTo>
                    <a:pt x="95" y="157"/>
                  </a:lnTo>
                  <a:lnTo>
                    <a:pt x="84" y="161"/>
                  </a:lnTo>
                  <a:lnTo>
                    <a:pt x="72" y="166"/>
                  </a:lnTo>
                  <a:lnTo>
                    <a:pt x="60" y="173"/>
                  </a:lnTo>
                  <a:lnTo>
                    <a:pt x="49" y="181"/>
                  </a:lnTo>
                  <a:lnTo>
                    <a:pt x="41" y="190"/>
                  </a:lnTo>
                  <a:lnTo>
                    <a:pt x="31" y="200"/>
                  </a:lnTo>
                  <a:lnTo>
                    <a:pt x="24" y="210"/>
                  </a:lnTo>
                  <a:lnTo>
                    <a:pt x="17" y="221"/>
                  </a:lnTo>
                  <a:lnTo>
                    <a:pt x="11" y="233"/>
                  </a:lnTo>
                  <a:lnTo>
                    <a:pt x="6" y="246"/>
                  </a:lnTo>
                  <a:lnTo>
                    <a:pt x="3" y="259"/>
                  </a:lnTo>
                  <a:lnTo>
                    <a:pt x="1" y="271"/>
                  </a:lnTo>
                  <a:lnTo>
                    <a:pt x="0" y="285"/>
                  </a:lnTo>
                  <a:lnTo>
                    <a:pt x="0" y="616"/>
                  </a:lnTo>
                  <a:lnTo>
                    <a:pt x="1" y="620"/>
                  </a:lnTo>
                  <a:lnTo>
                    <a:pt x="2" y="622"/>
                  </a:lnTo>
                  <a:lnTo>
                    <a:pt x="3" y="625"/>
                  </a:lnTo>
                  <a:lnTo>
                    <a:pt x="5" y="627"/>
                  </a:lnTo>
                  <a:lnTo>
                    <a:pt x="7" y="629"/>
                  </a:lnTo>
                  <a:lnTo>
                    <a:pt x="10" y="630"/>
                  </a:lnTo>
                  <a:lnTo>
                    <a:pt x="13" y="631"/>
                  </a:lnTo>
                  <a:lnTo>
                    <a:pt x="15" y="631"/>
                  </a:lnTo>
                  <a:lnTo>
                    <a:pt x="166" y="631"/>
                  </a:lnTo>
                  <a:lnTo>
                    <a:pt x="169" y="631"/>
                  </a:lnTo>
                  <a:lnTo>
                    <a:pt x="171" y="630"/>
                  </a:lnTo>
                  <a:lnTo>
                    <a:pt x="175" y="629"/>
                  </a:lnTo>
                  <a:lnTo>
                    <a:pt x="177" y="627"/>
                  </a:lnTo>
                  <a:lnTo>
                    <a:pt x="178" y="625"/>
                  </a:lnTo>
                  <a:lnTo>
                    <a:pt x="180" y="622"/>
                  </a:lnTo>
                  <a:lnTo>
                    <a:pt x="181" y="620"/>
                  </a:lnTo>
                  <a:lnTo>
                    <a:pt x="181" y="616"/>
                  </a:lnTo>
                  <a:lnTo>
                    <a:pt x="181" y="613"/>
                  </a:lnTo>
                  <a:lnTo>
                    <a:pt x="180" y="611"/>
                  </a:lnTo>
                  <a:lnTo>
                    <a:pt x="178" y="608"/>
                  </a:lnTo>
                  <a:lnTo>
                    <a:pt x="177" y="606"/>
                  </a:lnTo>
                  <a:lnTo>
                    <a:pt x="175" y="603"/>
                  </a:lnTo>
                  <a:lnTo>
                    <a:pt x="171" y="602"/>
                  </a:lnTo>
                  <a:lnTo>
                    <a:pt x="169" y="601"/>
                  </a:lnTo>
                  <a:lnTo>
                    <a:pt x="166" y="601"/>
                  </a:lnTo>
                  <a:lnTo>
                    <a:pt x="31" y="601"/>
                  </a:lnTo>
                  <a:lnTo>
                    <a:pt x="31" y="541"/>
                  </a:lnTo>
                  <a:lnTo>
                    <a:pt x="166" y="541"/>
                  </a:lnTo>
                  <a:lnTo>
                    <a:pt x="169" y="541"/>
                  </a:lnTo>
                  <a:lnTo>
                    <a:pt x="171" y="540"/>
                  </a:lnTo>
                  <a:lnTo>
                    <a:pt x="175" y="538"/>
                  </a:lnTo>
                  <a:lnTo>
                    <a:pt x="177" y="537"/>
                  </a:lnTo>
                  <a:lnTo>
                    <a:pt x="178" y="535"/>
                  </a:lnTo>
                  <a:lnTo>
                    <a:pt x="180" y="532"/>
                  </a:lnTo>
                  <a:lnTo>
                    <a:pt x="181" y="530"/>
                  </a:lnTo>
                  <a:lnTo>
                    <a:pt x="181" y="526"/>
                  </a:lnTo>
                  <a:lnTo>
                    <a:pt x="181" y="523"/>
                  </a:lnTo>
                  <a:lnTo>
                    <a:pt x="180" y="520"/>
                  </a:lnTo>
                  <a:lnTo>
                    <a:pt x="178" y="518"/>
                  </a:lnTo>
                  <a:lnTo>
                    <a:pt x="177" y="516"/>
                  </a:lnTo>
                  <a:lnTo>
                    <a:pt x="175" y="514"/>
                  </a:lnTo>
                  <a:lnTo>
                    <a:pt x="171" y="512"/>
                  </a:lnTo>
                  <a:lnTo>
                    <a:pt x="169" y="511"/>
                  </a:lnTo>
                  <a:lnTo>
                    <a:pt x="166" y="511"/>
                  </a:lnTo>
                  <a:lnTo>
                    <a:pt x="31" y="511"/>
                  </a:lnTo>
                  <a:lnTo>
                    <a:pt x="31" y="285"/>
                  </a:lnTo>
                  <a:lnTo>
                    <a:pt x="31" y="275"/>
                  </a:lnTo>
                  <a:lnTo>
                    <a:pt x="33" y="264"/>
                  </a:lnTo>
                  <a:lnTo>
                    <a:pt x="35" y="254"/>
                  </a:lnTo>
                  <a:lnTo>
                    <a:pt x="39" y="245"/>
                  </a:lnTo>
                  <a:lnTo>
                    <a:pt x="43" y="235"/>
                  </a:lnTo>
                  <a:lnTo>
                    <a:pt x="48" y="226"/>
                  </a:lnTo>
                  <a:lnTo>
                    <a:pt x="55" y="219"/>
                  </a:lnTo>
                  <a:lnTo>
                    <a:pt x="61" y="211"/>
                  </a:lnTo>
                  <a:lnTo>
                    <a:pt x="69" y="204"/>
                  </a:lnTo>
                  <a:lnTo>
                    <a:pt x="77" y="199"/>
                  </a:lnTo>
                  <a:lnTo>
                    <a:pt x="86" y="193"/>
                  </a:lnTo>
                  <a:lnTo>
                    <a:pt x="95" y="189"/>
                  </a:lnTo>
                  <a:lnTo>
                    <a:pt x="105" y="185"/>
                  </a:lnTo>
                  <a:lnTo>
                    <a:pt x="115" y="183"/>
                  </a:lnTo>
                  <a:lnTo>
                    <a:pt x="125" y="180"/>
                  </a:lnTo>
                  <a:lnTo>
                    <a:pt x="136" y="180"/>
                  </a:lnTo>
                  <a:lnTo>
                    <a:pt x="301" y="180"/>
                  </a:lnTo>
                  <a:lnTo>
                    <a:pt x="301" y="405"/>
                  </a:lnTo>
                  <a:lnTo>
                    <a:pt x="301" y="409"/>
                  </a:lnTo>
                  <a:lnTo>
                    <a:pt x="302" y="412"/>
                  </a:lnTo>
                  <a:lnTo>
                    <a:pt x="304" y="414"/>
                  </a:lnTo>
                  <a:lnTo>
                    <a:pt x="305" y="416"/>
                  </a:lnTo>
                  <a:lnTo>
                    <a:pt x="307" y="418"/>
                  </a:lnTo>
                  <a:lnTo>
                    <a:pt x="311" y="419"/>
                  </a:lnTo>
                  <a:lnTo>
                    <a:pt x="313" y="420"/>
                  </a:lnTo>
                  <a:lnTo>
                    <a:pt x="316" y="421"/>
                  </a:lnTo>
                  <a:lnTo>
                    <a:pt x="319" y="420"/>
                  </a:lnTo>
                  <a:lnTo>
                    <a:pt x="322" y="419"/>
                  </a:lnTo>
                  <a:lnTo>
                    <a:pt x="325" y="418"/>
                  </a:lnTo>
                  <a:lnTo>
                    <a:pt x="327" y="416"/>
                  </a:lnTo>
                  <a:lnTo>
                    <a:pt x="329" y="414"/>
                  </a:lnTo>
                  <a:lnTo>
                    <a:pt x="330" y="412"/>
                  </a:lnTo>
                  <a:lnTo>
                    <a:pt x="331" y="409"/>
                  </a:lnTo>
                  <a:lnTo>
                    <a:pt x="331" y="406"/>
                  </a:lnTo>
                  <a:lnTo>
                    <a:pt x="331" y="30"/>
                  </a:lnTo>
                  <a:lnTo>
                    <a:pt x="872" y="30"/>
                  </a:lnTo>
                  <a:lnTo>
                    <a:pt x="872" y="571"/>
                  </a:lnTo>
                  <a:lnTo>
                    <a:pt x="873" y="575"/>
                  </a:lnTo>
                  <a:lnTo>
                    <a:pt x="874" y="577"/>
                  </a:lnTo>
                  <a:lnTo>
                    <a:pt x="875" y="580"/>
                  </a:lnTo>
                  <a:lnTo>
                    <a:pt x="877" y="582"/>
                  </a:lnTo>
                  <a:lnTo>
                    <a:pt x="879" y="583"/>
                  </a:lnTo>
                  <a:lnTo>
                    <a:pt x="882" y="585"/>
                  </a:lnTo>
                  <a:lnTo>
                    <a:pt x="885" y="586"/>
                  </a:lnTo>
                  <a:lnTo>
                    <a:pt x="888" y="586"/>
                  </a:lnTo>
                  <a:lnTo>
                    <a:pt x="890" y="586"/>
                  </a:lnTo>
                  <a:lnTo>
                    <a:pt x="893" y="585"/>
                  </a:lnTo>
                  <a:lnTo>
                    <a:pt x="896" y="583"/>
                  </a:lnTo>
                  <a:lnTo>
                    <a:pt x="898" y="582"/>
                  </a:lnTo>
                  <a:lnTo>
                    <a:pt x="900" y="580"/>
                  </a:lnTo>
                  <a:lnTo>
                    <a:pt x="901" y="577"/>
                  </a:lnTo>
                  <a:lnTo>
                    <a:pt x="902" y="575"/>
                  </a:lnTo>
                  <a:lnTo>
                    <a:pt x="903" y="571"/>
                  </a:lnTo>
                  <a:lnTo>
                    <a:pt x="903" y="15"/>
                  </a:lnTo>
                  <a:lnTo>
                    <a:pt x="902" y="12"/>
                  </a:lnTo>
                  <a:lnTo>
                    <a:pt x="901" y="9"/>
                  </a:lnTo>
                  <a:lnTo>
                    <a:pt x="900" y="7"/>
                  </a:lnTo>
                  <a:lnTo>
                    <a:pt x="898" y="5"/>
                  </a:lnTo>
                  <a:lnTo>
                    <a:pt x="896" y="3"/>
                  </a:lnTo>
                  <a:lnTo>
                    <a:pt x="893" y="1"/>
                  </a:lnTo>
                  <a:lnTo>
                    <a:pt x="890" y="0"/>
                  </a:lnTo>
                  <a:lnTo>
                    <a:pt x="8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04">
              <a:extLst>
                <a:ext uri="{FF2B5EF4-FFF2-40B4-BE49-F238E27FC236}">
                  <a16:creationId xmlns:a16="http://schemas.microsoft.com/office/drawing/2014/main" id="{1BD49734-D517-4FB1-AACC-D8CB97F9DB8C}"/>
                </a:ext>
              </a:extLst>
            </p:cNvPr>
            <p:cNvSpPr>
              <a:spLocks/>
            </p:cNvSpPr>
            <p:nvPr/>
          </p:nvSpPr>
          <p:spPr bwMode="auto">
            <a:xfrm>
              <a:off x="7734300" y="2747963"/>
              <a:ext cx="47625" cy="9525"/>
            </a:xfrm>
            <a:custGeom>
              <a:avLst/>
              <a:gdLst>
                <a:gd name="T0" fmla="*/ 136 w 151"/>
                <a:gd name="T1" fmla="*/ 0 h 30"/>
                <a:gd name="T2" fmla="*/ 16 w 151"/>
                <a:gd name="T3" fmla="*/ 0 h 30"/>
                <a:gd name="T4" fmla="*/ 13 w 151"/>
                <a:gd name="T5" fmla="*/ 0 h 30"/>
                <a:gd name="T6" fmla="*/ 10 w 151"/>
                <a:gd name="T7" fmla="*/ 1 h 30"/>
                <a:gd name="T8" fmla="*/ 7 w 151"/>
                <a:gd name="T9" fmla="*/ 3 h 30"/>
                <a:gd name="T10" fmla="*/ 5 w 151"/>
                <a:gd name="T11" fmla="*/ 5 h 30"/>
                <a:gd name="T12" fmla="*/ 3 w 151"/>
                <a:gd name="T13" fmla="*/ 7 h 30"/>
                <a:gd name="T14" fmla="*/ 2 w 151"/>
                <a:gd name="T15" fmla="*/ 9 h 30"/>
                <a:gd name="T16" fmla="*/ 1 w 151"/>
                <a:gd name="T17" fmla="*/ 12 h 30"/>
                <a:gd name="T18" fmla="*/ 0 w 151"/>
                <a:gd name="T19" fmla="*/ 15 h 30"/>
                <a:gd name="T20" fmla="*/ 1 w 151"/>
                <a:gd name="T21" fmla="*/ 19 h 30"/>
                <a:gd name="T22" fmla="*/ 2 w 151"/>
                <a:gd name="T23" fmla="*/ 21 h 30"/>
                <a:gd name="T24" fmla="*/ 3 w 151"/>
                <a:gd name="T25" fmla="*/ 24 h 30"/>
                <a:gd name="T26" fmla="*/ 5 w 151"/>
                <a:gd name="T27" fmla="*/ 26 h 30"/>
                <a:gd name="T28" fmla="*/ 7 w 151"/>
                <a:gd name="T29" fmla="*/ 28 h 30"/>
                <a:gd name="T30" fmla="*/ 10 w 151"/>
                <a:gd name="T31" fmla="*/ 29 h 30"/>
                <a:gd name="T32" fmla="*/ 13 w 151"/>
                <a:gd name="T33" fmla="*/ 30 h 30"/>
                <a:gd name="T34" fmla="*/ 16 w 151"/>
                <a:gd name="T35" fmla="*/ 30 h 30"/>
                <a:gd name="T36" fmla="*/ 136 w 151"/>
                <a:gd name="T37" fmla="*/ 30 h 30"/>
                <a:gd name="T38" fmla="*/ 139 w 151"/>
                <a:gd name="T39" fmla="*/ 30 h 30"/>
                <a:gd name="T40" fmla="*/ 141 w 151"/>
                <a:gd name="T41" fmla="*/ 29 h 30"/>
                <a:gd name="T42" fmla="*/ 145 w 151"/>
                <a:gd name="T43" fmla="*/ 28 h 30"/>
                <a:gd name="T44" fmla="*/ 147 w 151"/>
                <a:gd name="T45" fmla="*/ 26 h 30"/>
                <a:gd name="T46" fmla="*/ 148 w 151"/>
                <a:gd name="T47" fmla="*/ 24 h 30"/>
                <a:gd name="T48" fmla="*/ 150 w 151"/>
                <a:gd name="T49" fmla="*/ 21 h 30"/>
                <a:gd name="T50" fmla="*/ 151 w 151"/>
                <a:gd name="T51" fmla="*/ 19 h 30"/>
                <a:gd name="T52" fmla="*/ 151 w 151"/>
                <a:gd name="T53" fmla="*/ 15 h 30"/>
                <a:gd name="T54" fmla="*/ 151 w 151"/>
                <a:gd name="T55" fmla="*/ 12 h 30"/>
                <a:gd name="T56" fmla="*/ 150 w 151"/>
                <a:gd name="T57" fmla="*/ 9 h 30"/>
                <a:gd name="T58" fmla="*/ 148 w 151"/>
                <a:gd name="T59" fmla="*/ 7 h 30"/>
                <a:gd name="T60" fmla="*/ 147 w 151"/>
                <a:gd name="T61" fmla="*/ 5 h 30"/>
                <a:gd name="T62" fmla="*/ 145 w 151"/>
                <a:gd name="T63" fmla="*/ 3 h 30"/>
                <a:gd name="T64" fmla="*/ 141 w 151"/>
                <a:gd name="T65" fmla="*/ 1 h 30"/>
                <a:gd name="T66" fmla="*/ 139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6" y="0"/>
                  </a:lnTo>
                  <a:lnTo>
                    <a:pt x="13" y="0"/>
                  </a:lnTo>
                  <a:lnTo>
                    <a:pt x="10" y="1"/>
                  </a:lnTo>
                  <a:lnTo>
                    <a:pt x="7" y="3"/>
                  </a:lnTo>
                  <a:lnTo>
                    <a:pt x="5" y="5"/>
                  </a:lnTo>
                  <a:lnTo>
                    <a:pt x="3" y="7"/>
                  </a:lnTo>
                  <a:lnTo>
                    <a:pt x="2" y="9"/>
                  </a:lnTo>
                  <a:lnTo>
                    <a:pt x="1" y="12"/>
                  </a:lnTo>
                  <a:lnTo>
                    <a:pt x="0" y="15"/>
                  </a:lnTo>
                  <a:lnTo>
                    <a:pt x="1" y="19"/>
                  </a:lnTo>
                  <a:lnTo>
                    <a:pt x="2" y="21"/>
                  </a:lnTo>
                  <a:lnTo>
                    <a:pt x="3" y="24"/>
                  </a:lnTo>
                  <a:lnTo>
                    <a:pt x="5" y="26"/>
                  </a:lnTo>
                  <a:lnTo>
                    <a:pt x="7" y="28"/>
                  </a:lnTo>
                  <a:lnTo>
                    <a:pt x="10" y="29"/>
                  </a:lnTo>
                  <a:lnTo>
                    <a:pt x="13" y="30"/>
                  </a:lnTo>
                  <a:lnTo>
                    <a:pt x="16" y="30"/>
                  </a:lnTo>
                  <a:lnTo>
                    <a:pt x="136" y="30"/>
                  </a:lnTo>
                  <a:lnTo>
                    <a:pt x="139" y="30"/>
                  </a:lnTo>
                  <a:lnTo>
                    <a:pt x="141" y="29"/>
                  </a:lnTo>
                  <a:lnTo>
                    <a:pt x="145" y="28"/>
                  </a:lnTo>
                  <a:lnTo>
                    <a:pt x="147" y="26"/>
                  </a:lnTo>
                  <a:lnTo>
                    <a:pt x="148" y="24"/>
                  </a:lnTo>
                  <a:lnTo>
                    <a:pt x="150" y="21"/>
                  </a:lnTo>
                  <a:lnTo>
                    <a:pt x="151" y="19"/>
                  </a:lnTo>
                  <a:lnTo>
                    <a:pt x="151" y="15"/>
                  </a:lnTo>
                  <a:lnTo>
                    <a:pt x="151" y="12"/>
                  </a:lnTo>
                  <a:lnTo>
                    <a:pt x="150" y="9"/>
                  </a:lnTo>
                  <a:lnTo>
                    <a:pt x="148" y="7"/>
                  </a:lnTo>
                  <a:lnTo>
                    <a:pt x="147" y="5"/>
                  </a:lnTo>
                  <a:lnTo>
                    <a:pt x="145" y="3"/>
                  </a:lnTo>
                  <a:lnTo>
                    <a:pt x="141" y="1"/>
                  </a:lnTo>
                  <a:lnTo>
                    <a:pt x="139"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05">
              <a:extLst>
                <a:ext uri="{FF2B5EF4-FFF2-40B4-BE49-F238E27FC236}">
                  <a16:creationId xmlns:a16="http://schemas.microsoft.com/office/drawing/2014/main" id="{FBE09FDF-EE50-4238-8E68-30219D713C5E}"/>
                </a:ext>
              </a:extLst>
            </p:cNvPr>
            <p:cNvSpPr>
              <a:spLocks/>
            </p:cNvSpPr>
            <p:nvPr/>
          </p:nvSpPr>
          <p:spPr bwMode="auto">
            <a:xfrm>
              <a:off x="7620000" y="2641600"/>
              <a:ext cx="47625" cy="47625"/>
            </a:xfrm>
            <a:custGeom>
              <a:avLst/>
              <a:gdLst>
                <a:gd name="T0" fmla="*/ 150 w 150"/>
                <a:gd name="T1" fmla="*/ 15 h 150"/>
                <a:gd name="T2" fmla="*/ 150 w 150"/>
                <a:gd name="T3" fmla="*/ 12 h 150"/>
                <a:gd name="T4" fmla="*/ 149 w 150"/>
                <a:gd name="T5" fmla="*/ 10 h 150"/>
                <a:gd name="T6" fmla="*/ 148 w 150"/>
                <a:gd name="T7" fmla="*/ 7 h 150"/>
                <a:gd name="T8" fmla="*/ 146 w 150"/>
                <a:gd name="T9" fmla="*/ 5 h 150"/>
                <a:gd name="T10" fmla="*/ 144 w 150"/>
                <a:gd name="T11" fmla="*/ 2 h 150"/>
                <a:gd name="T12" fmla="*/ 140 w 150"/>
                <a:gd name="T13" fmla="*/ 1 h 150"/>
                <a:gd name="T14" fmla="*/ 138 w 150"/>
                <a:gd name="T15" fmla="*/ 0 h 150"/>
                <a:gd name="T16" fmla="*/ 135 w 150"/>
                <a:gd name="T17" fmla="*/ 0 h 150"/>
                <a:gd name="T18" fmla="*/ 60 w 150"/>
                <a:gd name="T19" fmla="*/ 0 h 150"/>
                <a:gd name="T20" fmla="*/ 54 w 150"/>
                <a:gd name="T21" fmla="*/ 0 h 150"/>
                <a:gd name="T22" fmla="*/ 47 w 150"/>
                <a:gd name="T23" fmla="*/ 1 h 150"/>
                <a:gd name="T24" fmla="*/ 42 w 150"/>
                <a:gd name="T25" fmla="*/ 4 h 150"/>
                <a:gd name="T26" fmla="*/ 36 w 150"/>
                <a:gd name="T27" fmla="*/ 6 h 150"/>
                <a:gd name="T28" fmla="*/ 31 w 150"/>
                <a:gd name="T29" fmla="*/ 8 h 150"/>
                <a:gd name="T30" fmla="*/ 26 w 150"/>
                <a:gd name="T31" fmla="*/ 11 h 150"/>
                <a:gd name="T32" fmla="*/ 21 w 150"/>
                <a:gd name="T33" fmla="*/ 14 h 150"/>
                <a:gd name="T34" fmla="*/ 17 w 150"/>
                <a:gd name="T35" fmla="*/ 19 h 150"/>
                <a:gd name="T36" fmla="*/ 13 w 150"/>
                <a:gd name="T37" fmla="*/ 23 h 150"/>
                <a:gd name="T38" fmla="*/ 10 w 150"/>
                <a:gd name="T39" fmla="*/ 27 h 150"/>
                <a:gd name="T40" fmla="*/ 6 w 150"/>
                <a:gd name="T41" fmla="*/ 32 h 150"/>
                <a:gd name="T42" fmla="*/ 4 w 150"/>
                <a:gd name="T43" fmla="*/ 37 h 150"/>
                <a:gd name="T44" fmla="*/ 2 w 150"/>
                <a:gd name="T45" fmla="*/ 43 h 150"/>
                <a:gd name="T46" fmla="*/ 1 w 150"/>
                <a:gd name="T47" fmla="*/ 49 h 150"/>
                <a:gd name="T48" fmla="*/ 0 w 150"/>
                <a:gd name="T49" fmla="*/ 55 h 150"/>
                <a:gd name="T50" fmla="*/ 0 w 150"/>
                <a:gd name="T51" fmla="*/ 60 h 150"/>
                <a:gd name="T52" fmla="*/ 0 w 150"/>
                <a:gd name="T53" fmla="*/ 135 h 150"/>
                <a:gd name="T54" fmla="*/ 0 w 150"/>
                <a:gd name="T55" fmla="*/ 139 h 150"/>
                <a:gd name="T56" fmla="*/ 1 w 150"/>
                <a:gd name="T57" fmla="*/ 142 h 150"/>
                <a:gd name="T58" fmla="*/ 2 w 150"/>
                <a:gd name="T59" fmla="*/ 144 h 150"/>
                <a:gd name="T60" fmla="*/ 4 w 150"/>
                <a:gd name="T61" fmla="*/ 146 h 150"/>
                <a:gd name="T62" fmla="*/ 6 w 150"/>
                <a:gd name="T63" fmla="*/ 148 h 150"/>
                <a:gd name="T64" fmla="*/ 9 w 150"/>
                <a:gd name="T65" fmla="*/ 149 h 150"/>
                <a:gd name="T66" fmla="*/ 12 w 150"/>
                <a:gd name="T67" fmla="*/ 150 h 150"/>
                <a:gd name="T68" fmla="*/ 15 w 150"/>
                <a:gd name="T69" fmla="*/ 150 h 150"/>
                <a:gd name="T70" fmla="*/ 18 w 150"/>
                <a:gd name="T71" fmla="*/ 150 h 150"/>
                <a:gd name="T72" fmla="*/ 20 w 150"/>
                <a:gd name="T73" fmla="*/ 149 h 150"/>
                <a:gd name="T74" fmla="*/ 24 w 150"/>
                <a:gd name="T75" fmla="*/ 148 h 150"/>
                <a:gd name="T76" fmla="*/ 26 w 150"/>
                <a:gd name="T77" fmla="*/ 146 h 150"/>
                <a:gd name="T78" fmla="*/ 27 w 150"/>
                <a:gd name="T79" fmla="*/ 144 h 150"/>
                <a:gd name="T80" fmla="*/ 29 w 150"/>
                <a:gd name="T81" fmla="*/ 142 h 150"/>
                <a:gd name="T82" fmla="*/ 29 w 150"/>
                <a:gd name="T83" fmla="*/ 139 h 150"/>
                <a:gd name="T84" fmla="*/ 30 w 150"/>
                <a:gd name="T85" fmla="*/ 135 h 150"/>
                <a:gd name="T86" fmla="*/ 30 w 150"/>
                <a:gd name="T87" fmla="*/ 60 h 150"/>
                <a:gd name="T88" fmla="*/ 30 w 150"/>
                <a:gd name="T89" fmla="*/ 55 h 150"/>
                <a:gd name="T90" fmla="*/ 32 w 150"/>
                <a:gd name="T91" fmla="*/ 49 h 150"/>
                <a:gd name="T92" fmla="*/ 35 w 150"/>
                <a:gd name="T93" fmla="*/ 44 h 150"/>
                <a:gd name="T94" fmla="*/ 39 w 150"/>
                <a:gd name="T95" fmla="*/ 39 h 150"/>
                <a:gd name="T96" fmla="*/ 43 w 150"/>
                <a:gd name="T97" fmla="*/ 36 h 150"/>
                <a:gd name="T98" fmla="*/ 48 w 150"/>
                <a:gd name="T99" fmla="*/ 32 h 150"/>
                <a:gd name="T100" fmla="*/ 54 w 150"/>
                <a:gd name="T101" fmla="*/ 31 h 150"/>
                <a:gd name="T102" fmla="*/ 60 w 150"/>
                <a:gd name="T103" fmla="*/ 30 h 150"/>
                <a:gd name="T104" fmla="*/ 135 w 150"/>
                <a:gd name="T105" fmla="*/ 30 h 150"/>
                <a:gd name="T106" fmla="*/ 138 w 150"/>
                <a:gd name="T107" fmla="*/ 30 h 150"/>
                <a:gd name="T108" fmla="*/ 140 w 150"/>
                <a:gd name="T109" fmla="*/ 29 h 150"/>
                <a:gd name="T110" fmla="*/ 144 w 150"/>
                <a:gd name="T111" fmla="*/ 28 h 150"/>
                <a:gd name="T112" fmla="*/ 146 w 150"/>
                <a:gd name="T113" fmla="*/ 26 h 150"/>
                <a:gd name="T114" fmla="*/ 148 w 150"/>
                <a:gd name="T115" fmla="*/ 24 h 150"/>
                <a:gd name="T116" fmla="*/ 149 w 150"/>
                <a:gd name="T117" fmla="*/ 22 h 150"/>
                <a:gd name="T118" fmla="*/ 150 w 150"/>
                <a:gd name="T119" fmla="*/ 19 h 150"/>
                <a:gd name="T120" fmla="*/ 150 w 150"/>
                <a:gd name="T121" fmla="*/ 1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150" y="15"/>
                  </a:moveTo>
                  <a:lnTo>
                    <a:pt x="150" y="12"/>
                  </a:lnTo>
                  <a:lnTo>
                    <a:pt x="149" y="10"/>
                  </a:lnTo>
                  <a:lnTo>
                    <a:pt x="148" y="7"/>
                  </a:lnTo>
                  <a:lnTo>
                    <a:pt x="146" y="5"/>
                  </a:lnTo>
                  <a:lnTo>
                    <a:pt x="144" y="2"/>
                  </a:lnTo>
                  <a:lnTo>
                    <a:pt x="140" y="1"/>
                  </a:lnTo>
                  <a:lnTo>
                    <a:pt x="138" y="0"/>
                  </a:lnTo>
                  <a:lnTo>
                    <a:pt x="135" y="0"/>
                  </a:lnTo>
                  <a:lnTo>
                    <a:pt x="60" y="0"/>
                  </a:lnTo>
                  <a:lnTo>
                    <a:pt x="54" y="0"/>
                  </a:lnTo>
                  <a:lnTo>
                    <a:pt x="47" y="1"/>
                  </a:lnTo>
                  <a:lnTo>
                    <a:pt x="42" y="4"/>
                  </a:lnTo>
                  <a:lnTo>
                    <a:pt x="36" y="6"/>
                  </a:lnTo>
                  <a:lnTo>
                    <a:pt x="31" y="8"/>
                  </a:lnTo>
                  <a:lnTo>
                    <a:pt x="26" y="11"/>
                  </a:lnTo>
                  <a:lnTo>
                    <a:pt x="21" y="14"/>
                  </a:lnTo>
                  <a:lnTo>
                    <a:pt x="17" y="19"/>
                  </a:lnTo>
                  <a:lnTo>
                    <a:pt x="13" y="23"/>
                  </a:lnTo>
                  <a:lnTo>
                    <a:pt x="10" y="27"/>
                  </a:lnTo>
                  <a:lnTo>
                    <a:pt x="6" y="32"/>
                  </a:lnTo>
                  <a:lnTo>
                    <a:pt x="4" y="37"/>
                  </a:lnTo>
                  <a:lnTo>
                    <a:pt x="2" y="43"/>
                  </a:lnTo>
                  <a:lnTo>
                    <a:pt x="1" y="49"/>
                  </a:lnTo>
                  <a:lnTo>
                    <a:pt x="0" y="55"/>
                  </a:lnTo>
                  <a:lnTo>
                    <a:pt x="0" y="60"/>
                  </a:lnTo>
                  <a:lnTo>
                    <a:pt x="0" y="135"/>
                  </a:lnTo>
                  <a:lnTo>
                    <a:pt x="0" y="139"/>
                  </a:lnTo>
                  <a:lnTo>
                    <a:pt x="1" y="142"/>
                  </a:lnTo>
                  <a:lnTo>
                    <a:pt x="2" y="144"/>
                  </a:lnTo>
                  <a:lnTo>
                    <a:pt x="4" y="146"/>
                  </a:lnTo>
                  <a:lnTo>
                    <a:pt x="6" y="148"/>
                  </a:lnTo>
                  <a:lnTo>
                    <a:pt x="9" y="149"/>
                  </a:lnTo>
                  <a:lnTo>
                    <a:pt x="12" y="150"/>
                  </a:lnTo>
                  <a:lnTo>
                    <a:pt x="15" y="150"/>
                  </a:lnTo>
                  <a:lnTo>
                    <a:pt x="18" y="150"/>
                  </a:lnTo>
                  <a:lnTo>
                    <a:pt x="20" y="149"/>
                  </a:lnTo>
                  <a:lnTo>
                    <a:pt x="24" y="148"/>
                  </a:lnTo>
                  <a:lnTo>
                    <a:pt x="26" y="146"/>
                  </a:lnTo>
                  <a:lnTo>
                    <a:pt x="27" y="144"/>
                  </a:lnTo>
                  <a:lnTo>
                    <a:pt x="29" y="142"/>
                  </a:lnTo>
                  <a:lnTo>
                    <a:pt x="29" y="139"/>
                  </a:lnTo>
                  <a:lnTo>
                    <a:pt x="30" y="135"/>
                  </a:lnTo>
                  <a:lnTo>
                    <a:pt x="30" y="60"/>
                  </a:lnTo>
                  <a:lnTo>
                    <a:pt x="30" y="55"/>
                  </a:lnTo>
                  <a:lnTo>
                    <a:pt x="32" y="49"/>
                  </a:lnTo>
                  <a:lnTo>
                    <a:pt x="35" y="44"/>
                  </a:lnTo>
                  <a:lnTo>
                    <a:pt x="39" y="39"/>
                  </a:lnTo>
                  <a:lnTo>
                    <a:pt x="43" y="36"/>
                  </a:lnTo>
                  <a:lnTo>
                    <a:pt x="48" y="32"/>
                  </a:lnTo>
                  <a:lnTo>
                    <a:pt x="54" y="31"/>
                  </a:lnTo>
                  <a:lnTo>
                    <a:pt x="60" y="30"/>
                  </a:lnTo>
                  <a:lnTo>
                    <a:pt x="135" y="30"/>
                  </a:lnTo>
                  <a:lnTo>
                    <a:pt x="138" y="30"/>
                  </a:lnTo>
                  <a:lnTo>
                    <a:pt x="140" y="29"/>
                  </a:lnTo>
                  <a:lnTo>
                    <a:pt x="144" y="28"/>
                  </a:lnTo>
                  <a:lnTo>
                    <a:pt x="146" y="26"/>
                  </a:lnTo>
                  <a:lnTo>
                    <a:pt x="148" y="24"/>
                  </a:lnTo>
                  <a:lnTo>
                    <a:pt x="149" y="22"/>
                  </a:lnTo>
                  <a:lnTo>
                    <a:pt x="150" y="19"/>
                  </a:lnTo>
                  <a:lnTo>
                    <a:pt x="15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6" name="Group 22">
            <a:extLst>
              <a:ext uri="{FF2B5EF4-FFF2-40B4-BE49-F238E27FC236}">
                <a16:creationId xmlns:a16="http://schemas.microsoft.com/office/drawing/2014/main" id="{961A5D0C-4DE0-4A41-9E28-354F970E2B0D}"/>
              </a:ext>
            </a:extLst>
          </p:cNvPr>
          <p:cNvGrpSpPr>
            <a:grpSpLocks noChangeAspect="1"/>
          </p:cNvGrpSpPr>
          <p:nvPr/>
        </p:nvGrpSpPr>
        <p:grpSpPr>
          <a:xfrm>
            <a:off x="1887526" y="2788923"/>
            <a:ext cx="298342" cy="210498"/>
            <a:chOff x="8164513" y="2584450"/>
            <a:chExt cx="285750" cy="201613"/>
          </a:xfrm>
          <a:solidFill>
            <a:schemeClr val="bg1"/>
          </a:solidFill>
          <a:effectLst/>
        </p:grpSpPr>
        <p:sp>
          <p:nvSpPr>
            <p:cNvPr id="1097" name="Freeform 32">
              <a:extLst>
                <a:ext uri="{FF2B5EF4-FFF2-40B4-BE49-F238E27FC236}">
                  <a16:creationId xmlns:a16="http://schemas.microsoft.com/office/drawing/2014/main" id="{70C27A8B-9F9A-4C34-9FEB-FA7F27D195AA}"/>
                </a:ext>
              </a:extLst>
            </p:cNvPr>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98" name="Freeform 33">
              <a:extLst>
                <a:ext uri="{FF2B5EF4-FFF2-40B4-BE49-F238E27FC236}">
                  <a16:creationId xmlns:a16="http://schemas.microsoft.com/office/drawing/2014/main" id="{1D16FC89-78F5-4443-B34A-4BFB9990E08E}"/>
                </a:ext>
              </a:extLst>
            </p:cNvPr>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099" name="Freeform 257">
            <a:extLst>
              <a:ext uri="{FF2B5EF4-FFF2-40B4-BE49-F238E27FC236}">
                <a16:creationId xmlns:a16="http://schemas.microsoft.com/office/drawing/2014/main" id="{7EAB7CAC-7F26-4889-94F9-E316B6B770FC}"/>
              </a:ext>
            </a:extLst>
          </p:cNvPr>
          <p:cNvSpPr>
            <a:spLocks noChangeAspect="1" noEditPoints="1"/>
          </p:cNvSpPr>
          <p:nvPr/>
        </p:nvSpPr>
        <p:spPr bwMode="auto">
          <a:xfrm>
            <a:off x="682340" y="2806371"/>
            <a:ext cx="298342" cy="175602"/>
          </a:xfrm>
          <a:custGeom>
            <a:avLst/>
            <a:gdLst>
              <a:gd name="T0" fmla="*/ 254 w 333"/>
              <a:gd name="T1" fmla="*/ 76 h 196"/>
              <a:gd name="T2" fmla="*/ 232 w 333"/>
              <a:gd name="T3" fmla="*/ 14 h 196"/>
              <a:gd name="T4" fmla="*/ 230 w 333"/>
              <a:gd name="T5" fmla="*/ 0 h 196"/>
              <a:gd name="T6" fmla="*/ 165 w 333"/>
              <a:gd name="T7" fmla="*/ 7 h 196"/>
              <a:gd name="T8" fmla="*/ 218 w 333"/>
              <a:gd name="T9" fmla="*/ 14 h 196"/>
              <a:gd name="T10" fmla="*/ 218 w 333"/>
              <a:gd name="T11" fmla="*/ 33 h 196"/>
              <a:gd name="T12" fmla="*/ 105 w 333"/>
              <a:gd name="T13" fmla="*/ 36 h 196"/>
              <a:gd name="T14" fmla="*/ 101 w 333"/>
              <a:gd name="T15" fmla="*/ 26 h 196"/>
              <a:gd name="T16" fmla="*/ 120 w 333"/>
              <a:gd name="T17" fmla="*/ 21 h 196"/>
              <a:gd name="T18" fmla="*/ 72 w 333"/>
              <a:gd name="T19" fmla="*/ 14 h 196"/>
              <a:gd name="T20" fmla="*/ 69 w 333"/>
              <a:gd name="T21" fmla="*/ 29 h 196"/>
              <a:gd name="T22" fmla="*/ 86 w 333"/>
              <a:gd name="T23" fmla="*/ 29 h 196"/>
              <a:gd name="T24" fmla="*/ 91 w 333"/>
              <a:gd name="T25" fmla="*/ 41 h 196"/>
              <a:gd name="T26" fmla="*/ 57 w 333"/>
              <a:gd name="T27" fmla="*/ 72 h 196"/>
              <a:gd name="T28" fmla="*/ 12 w 333"/>
              <a:gd name="T29" fmla="*/ 98 h 196"/>
              <a:gd name="T30" fmla="*/ 2 w 333"/>
              <a:gd name="T31" fmla="*/ 146 h 196"/>
              <a:gd name="T32" fmla="*/ 36 w 333"/>
              <a:gd name="T33" fmla="*/ 189 h 196"/>
              <a:gd name="T34" fmla="*/ 79 w 333"/>
              <a:gd name="T35" fmla="*/ 192 h 196"/>
              <a:gd name="T36" fmla="*/ 113 w 333"/>
              <a:gd name="T37" fmla="*/ 151 h 196"/>
              <a:gd name="T38" fmla="*/ 134 w 333"/>
              <a:gd name="T39" fmla="*/ 153 h 196"/>
              <a:gd name="T40" fmla="*/ 165 w 333"/>
              <a:gd name="T41" fmla="*/ 153 h 196"/>
              <a:gd name="T42" fmla="*/ 170 w 333"/>
              <a:gd name="T43" fmla="*/ 124 h 196"/>
              <a:gd name="T44" fmla="*/ 240 w 333"/>
              <a:gd name="T45" fmla="*/ 74 h 196"/>
              <a:gd name="T46" fmla="*/ 220 w 333"/>
              <a:gd name="T47" fmla="*/ 117 h 196"/>
              <a:gd name="T48" fmla="*/ 228 w 333"/>
              <a:gd name="T49" fmla="*/ 168 h 196"/>
              <a:gd name="T50" fmla="*/ 276 w 333"/>
              <a:gd name="T51" fmla="*/ 196 h 196"/>
              <a:gd name="T52" fmla="*/ 316 w 333"/>
              <a:gd name="T53" fmla="*/ 177 h 196"/>
              <a:gd name="T54" fmla="*/ 333 w 333"/>
              <a:gd name="T55" fmla="*/ 134 h 196"/>
              <a:gd name="T56" fmla="*/ 309 w 333"/>
              <a:gd name="T57" fmla="*/ 81 h 196"/>
              <a:gd name="T58" fmla="*/ 81 w 333"/>
              <a:gd name="T59" fmla="*/ 93 h 196"/>
              <a:gd name="T60" fmla="*/ 103 w 333"/>
              <a:gd name="T61" fmla="*/ 127 h 196"/>
              <a:gd name="T62" fmla="*/ 69 w 333"/>
              <a:gd name="T63" fmla="*/ 124 h 196"/>
              <a:gd name="T64" fmla="*/ 57 w 333"/>
              <a:gd name="T65" fmla="*/ 180 h 196"/>
              <a:gd name="T66" fmla="*/ 21 w 333"/>
              <a:gd name="T67" fmla="*/ 160 h 196"/>
              <a:gd name="T68" fmla="*/ 14 w 333"/>
              <a:gd name="T69" fmla="*/ 124 h 196"/>
              <a:gd name="T70" fmla="*/ 41 w 333"/>
              <a:gd name="T71" fmla="*/ 88 h 196"/>
              <a:gd name="T72" fmla="*/ 72 w 333"/>
              <a:gd name="T73" fmla="*/ 88 h 196"/>
              <a:gd name="T74" fmla="*/ 55 w 333"/>
              <a:gd name="T75" fmla="*/ 139 h 196"/>
              <a:gd name="T76" fmla="*/ 98 w 333"/>
              <a:gd name="T77" fmla="*/ 156 h 196"/>
              <a:gd name="T78" fmla="*/ 57 w 333"/>
              <a:gd name="T79" fmla="*/ 180 h 196"/>
              <a:gd name="T80" fmla="*/ 113 w 333"/>
              <a:gd name="T81" fmla="*/ 112 h 196"/>
              <a:gd name="T82" fmla="*/ 98 w 333"/>
              <a:gd name="T83" fmla="*/ 55 h 196"/>
              <a:gd name="T84" fmla="*/ 132 w 333"/>
              <a:gd name="T85" fmla="*/ 117 h 196"/>
              <a:gd name="T86" fmla="*/ 149 w 333"/>
              <a:gd name="T87" fmla="*/ 146 h 196"/>
              <a:gd name="T88" fmla="*/ 139 w 333"/>
              <a:gd name="T89" fmla="*/ 134 h 196"/>
              <a:gd name="T90" fmla="*/ 149 w 333"/>
              <a:gd name="T91" fmla="*/ 124 h 196"/>
              <a:gd name="T92" fmla="*/ 160 w 333"/>
              <a:gd name="T93" fmla="*/ 134 h 196"/>
              <a:gd name="T94" fmla="*/ 149 w 333"/>
              <a:gd name="T95" fmla="*/ 146 h 196"/>
              <a:gd name="T96" fmla="*/ 156 w 333"/>
              <a:gd name="T97" fmla="*/ 112 h 196"/>
              <a:gd name="T98" fmla="*/ 115 w 333"/>
              <a:gd name="T99" fmla="*/ 52 h 196"/>
              <a:gd name="T100" fmla="*/ 223 w 333"/>
              <a:gd name="T101" fmla="*/ 50 h 196"/>
              <a:gd name="T102" fmla="*/ 230 w 333"/>
              <a:gd name="T103" fmla="*/ 55 h 196"/>
              <a:gd name="T104" fmla="*/ 276 w 333"/>
              <a:gd name="T105" fmla="*/ 180 h 196"/>
              <a:gd name="T106" fmla="*/ 240 w 333"/>
              <a:gd name="T107" fmla="*/ 160 h 196"/>
              <a:gd name="T108" fmla="*/ 232 w 333"/>
              <a:gd name="T109" fmla="*/ 122 h 196"/>
              <a:gd name="T110" fmla="*/ 271 w 333"/>
              <a:gd name="T111" fmla="*/ 136 h 196"/>
              <a:gd name="T112" fmla="*/ 283 w 333"/>
              <a:gd name="T113" fmla="*/ 134 h 196"/>
              <a:gd name="T114" fmla="*/ 268 w 333"/>
              <a:gd name="T115" fmla="*/ 86 h 196"/>
              <a:gd name="T116" fmla="*/ 302 w 333"/>
              <a:gd name="T117" fmla="*/ 93 h 196"/>
              <a:gd name="T118" fmla="*/ 321 w 333"/>
              <a:gd name="T119" fmla="*/ 134 h 196"/>
              <a:gd name="T120" fmla="*/ 307 w 333"/>
              <a:gd name="T121" fmla="*/ 168 h 196"/>
              <a:gd name="T122" fmla="*/ 276 w 333"/>
              <a:gd name="T123"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3" h="196">
                <a:moveTo>
                  <a:pt x="276" y="72"/>
                </a:moveTo>
                <a:lnTo>
                  <a:pt x="276" y="72"/>
                </a:lnTo>
                <a:lnTo>
                  <a:pt x="264" y="72"/>
                </a:lnTo>
                <a:lnTo>
                  <a:pt x="254" y="76"/>
                </a:lnTo>
                <a:lnTo>
                  <a:pt x="254" y="76"/>
                </a:lnTo>
                <a:lnTo>
                  <a:pt x="230" y="31"/>
                </a:lnTo>
                <a:lnTo>
                  <a:pt x="230" y="31"/>
                </a:lnTo>
                <a:lnTo>
                  <a:pt x="230" y="21"/>
                </a:lnTo>
                <a:lnTo>
                  <a:pt x="232" y="14"/>
                </a:lnTo>
                <a:lnTo>
                  <a:pt x="232" y="14"/>
                </a:lnTo>
                <a:lnTo>
                  <a:pt x="235" y="12"/>
                </a:lnTo>
                <a:lnTo>
                  <a:pt x="235" y="7"/>
                </a:lnTo>
                <a:lnTo>
                  <a:pt x="235" y="7"/>
                </a:lnTo>
                <a:lnTo>
                  <a:pt x="232" y="2"/>
                </a:lnTo>
                <a:lnTo>
                  <a:pt x="230" y="0"/>
                </a:lnTo>
                <a:lnTo>
                  <a:pt x="170" y="0"/>
                </a:lnTo>
                <a:lnTo>
                  <a:pt x="170" y="0"/>
                </a:lnTo>
                <a:lnTo>
                  <a:pt x="165" y="2"/>
                </a:lnTo>
                <a:lnTo>
                  <a:pt x="165" y="7"/>
                </a:lnTo>
                <a:lnTo>
                  <a:pt x="165" y="7"/>
                </a:lnTo>
                <a:lnTo>
                  <a:pt x="165" y="12"/>
                </a:lnTo>
                <a:lnTo>
                  <a:pt x="170" y="14"/>
                </a:lnTo>
                <a:lnTo>
                  <a:pt x="213" y="14"/>
                </a:lnTo>
                <a:lnTo>
                  <a:pt x="213" y="14"/>
                </a:lnTo>
                <a:lnTo>
                  <a:pt x="218" y="14"/>
                </a:lnTo>
                <a:lnTo>
                  <a:pt x="216" y="19"/>
                </a:lnTo>
                <a:lnTo>
                  <a:pt x="216" y="19"/>
                </a:lnTo>
                <a:lnTo>
                  <a:pt x="216" y="26"/>
                </a:lnTo>
                <a:lnTo>
                  <a:pt x="218" y="33"/>
                </a:lnTo>
                <a:lnTo>
                  <a:pt x="218" y="33"/>
                </a:lnTo>
                <a:lnTo>
                  <a:pt x="218" y="36"/>
                </a:lnTo>
                <a:lnTo>
                  <a:pt x="216" y="38"/>
                </a:lnTo>
                <a:lnTo>
                  <a:pt x="110" y="38"/>
                </a:lnTo>
                <a:lnTo>
                  <a:pt x="110" y="38"/>
                </a:lnTo>
                <a:lnTo>
                  <a:pt x="105" y="36"/>
                </a:lnTo>
                <a:lnTo>
                  <a:pt x="105" y="33"/>
                </a:lnTo>
                <a:lnTo>
                  <a:pt x="105" y="33"/>
                </a:lnTo>
                <a:lnTo>
                  <a:pt x="103" y="29"/>
                </a:lnTo>
                <a:lnTo>
                  <a:pt x="103" y="29"/>
                </a:lnTo>
                <a:lnTo>
                  <a:pt x="101" y="26"/>
                </a:lnTo>
                <a:lnTo>
                  <a:pt x="105" y="24"/>
                </a:lnTo>
                <a:lnTo>
                  <a:pt x="105" y="24"/>
                </a:lnTo>
                <a:lnTo>
                  <a:pt x="117" y="21"/>
                </a:lnTo>
                <a:lnTo>
                  <a:pt x="117" y="21"/>
                </a:lnTo>
                <a:lnTo>
                  <a:pt x="120" y="21"/>
                </a:lnTo>
                <a:lnTo>
                  <a:pt x="122" y="17"/>
                </a:lnTo>
                <a:lnTo>
                  <a:pt x="120" y="14"/>
                </a:lnTo>
                <a:lnTo>
                  <a:pt x="117" y="14"/>
                </a:lnTo>
                <a:lnTo>
                  <a:pt x="72" y="14"/>
                </a:lnTo>
                <a:lnTo>
                  <a:pt x="72" y="14"/>
                </a:lnTo>
                <a:lnTo>
                  <a:pt x="69" y="14"/>
                </a:lnTo>
                <a:lnTo>
                  <a:pt x="67" y="19"/>
                </a:lnTo>
                <a:lnTo>
                  <a:pt x="67" y="19"/>
                </a:lnTo>
                <a:lnTo>
                  <a:pt x="67" y="26"/>
                </a:lnTo>
                <a:lnTo>
                  <a:pt x="69" y="29"/>
                </a:lnTo>
                <a:lnTo>
                  <a:pt x="72" y="29"/>
                </a:lnTo>
                <a:lnTo>
                  <a:pt x="72" y="29"/>
                </a:lnTo>
                <a:lnTo>
                  <a:pt x="84" y="29"/>
                </a:lnTo>
                <a:lnTo>
                  <a:pt x="84" y="29"/>
                </a:lnTo>
                <a:lnTo>
                  <a:pt x="86" y="29"/>
                </a:lnTo>
                <a:lnTo>
                  <a:pt x="86" y="29"/>
                </a:lnTo>
                <a:lnTo>
                  <a:pt x="91" y="36"/>
                </a:lnTo>
                <a:lnTo>
                  <a:pt x="91" y="36"/>
                </a:lnTo>
                <a:lnTo>
                  <a:pt x="91" y="41"/>
                </a:lnTo>
                <a:lnTo>
                  <a:pt x="91" y="41"/>
                </a:lnTo>
                <a:lnTo>
                  <a:pt x="77" y="74"/>
                </a:lnTo>
                <a:lnTo>
                  <a:pt x="77" y="74"/>
                </a:lnTo>
                <a:lnTo>
                  <a:pt x="67" y="72"/>
                </a:lnTo>
                <a:lnTo>
                  <a:pt x="57" y="72"/>
                </a:lnTo>
                <a:lnTo>
                  <a:pt x="57" y="72"/>
                </a:lnTo>
                <a:lnTo>
                  <a:pt x="48" y="72"/>
                </a:lnTo>
                <a:lnTo>
                  <a:pt x="36" y="76"/>
                </a:lnTo>
                <a:lnTo>
                  <a:pt x="26" y="81"/>
                </a:lnTo>
                <a:lnTo>
                  <a:pt x="17" y="88"/>
                </a:lnTo>
                <a:lnTo>
                  <a:pt x="12" y="98"/>
                </a:lnTo>
                <a:lnTo>
                  <a:pt x="5" y="110"/>
                </a:lnTo>
                <a:lnTo>
                  <a:pt x="2" y="120"/>
                </a:lnTo>
                <a:lnTo>
                  <a:pt x="0" y="134"/>
                </a:lnTo>
                <a:lnTo>
                  <a:pt x="0" y="134"/>
                </a:lnTo>
                <a:lnTo>
                  <a:pt x="2" y="146"/>
                </a:lnTo>
                <a:lnTo>
                  <a:pt x="5" y="158"/>
                </a:lnTo>
                <a:lnTo>
                  <a:pt x="12" y="168"/>
                </a:lnTo>
                <a:lnTo>
                  <a:pt x="17" y="177"/>
                </a:lnTo>
                <a:lnTo>
                  <a:pt x="26" y="184"/>
                </a:lnTo>
                <a:lnTo>
                  <a:pt x="36" y="189"/>
                </a:lnTo>
                <a:lnTo>
                  <a:pt x="48" y="194"/>
                </a:lnTo>
                <a:lnTo>
                  <a:pt x="57" y="196"/>
                </a:lnTo>
                <a:lnTo>
                  <a:pt x="57" y="196"/>
                </a:lnTo>
                <a:lnTo>
                  <a:pt x="69" y="194"/>
                </a:lnTo>
                <a:lnTo>
                  <a:pt x="79" y="192"/>
                </a:lnTo>
                <a:lnTo>
                  <a:pt x="89" y="187"/>
                </a:lnTo>
                <a:lnTo>
                  <a:pt x="98" y="180"/>
                </a:lnTo>
                <a:lnTo>
                  <a:pt x="105" y="170"/>
                </a:lnTo>
                <a:lnTo>
                  <a:pt x="110" y="160"/>
                </a:lnTo>
                <a:lnTo>
                  <a:pt x="113" y="151"/>
                </a:lnTo>
                <a:lnTo>
                  <a:pt x="115" y="139"/>
                </a:lnTo>
                <a:lnTo>
                  <a:pt x="127" y="139"/>
                </a:lnTo>
                <a:lnTo>
                  <a:pt x="127" y="139"/>
                </a:lnTo>
                <a:lnTo>
                  <a:pt x="129" y="148"/>
                </a:lnTo>
                <a:lnTo>
                  <a:pt x="134" y="153"/>
                </a:lnTo>
                <a:lnTo>
                  <a:pt x="141" y="158"/>
                </a:lnTo>
                <a:lnTo>
                  <a:pt x="149" y="160"/>
                </a:lnTo>
                <a:lnTo>
                  <a:pt x="149" y="160"/>
                </a:lnTo>
                <a:lnTo>
                  <a:pt x="158" y="158"/>
                </a:lnTo>
                <a:lnTo>
                  <a:pt x="165" y="153"/>
                </a:lnTo>
                <a:lnTo>
                  <a:pt x="170" y="144"/>
                </a:lnTo>
                <a:lnTo>
                  <a:pt x="172" y="134"/>
                </a:lnTo>
                <a:lnTo>
                  <a:pt x="172" y="134"/>
                </a:lnTo>
                <a:lnTo>
                  <a:pt x="170" y="124"/>
                </a:lnTo>
                <a:lnTo>
                  <a:pt x="170" y="124"/>
                </a:lnTo>
                <a:lnTo>
                  <a:pt x="232" y="74"/>
                </a:lnTo>
                <a:lnTo>
                  <a:pt x="232" y="74"/>
                </a:lnTo>
                <a:lnTo>
                  <a:pt x="237" y="72"/>
                </a:lnTo>
                <a:lnTo>
                  <a:pt x="240" y="74"/>
                </a:lnTo>
                <a:lnTo>
                  <a:pt x="240" y="74"/>
                </a:lnTo>
                <a:lnTo>
                  <a:pt x="244" y="81"/>
                </a:lnTo>
                <a:lnTo>
                  <a:pt x="244" y="81"/>
                </a:lnTo>
                <a:lnTo>
                  <a:pt x="232" y="91"/>
                </a:lnTo>
                <a:lnTo>
                  <a:pt x="225" y="103"/>
                </a:lnTo>
                <a:lnTo>
                  <a:pt x="220" y="117"/>
                </a:lnTo>
                <a:lnTo>
                  <a:pt x="218" y="134"/>
                </a:lnTo>
                <a:lnTo>
                  <a:pt x="218" y="134"/>
                </a:lnTo>
                <a:lnTo>
                  <a:pt x="220" y="146"/>
                </a:lnTo>
                <a:lnTo>
                  <a:pt x="223" y="158"/>
                </a:lnTo>
                <a:lnTo>
                  <a:pt x="228" y="168"/>
                </a:lnTo>
                <a:lnTo>
                  <a:pt x="235" y="177"/>
                </a:lnTo>
                <a:lnTo>
                  <a:pt x="244" y="184"/>
                </a:lnTo>
                <a:lnTo>
                  <a:pt x="254" y="189"/>
                </a:lnTo>
                <a:lnTo>
                  <a:pt x="264" y="194"/>
                </a:lnTo>
                <a:lnTo>
                  <a:pt x="276" y="196"/>
                </a:lnTo>
                <a:lnTo>
                  <a:pt x="276" y="196"/>
                </a:lnTo>
                <a:lnTo>
                  <a:pt x="288" y="194"/>
                </a:lnTo>
                <a:lnTo>
                  <a:pt x="300" y="189"/>
                </a:lnTo>
                <a:lnTo>
                  <a:pt x="309" y="184"/>
                </a:lnTo>
                <a:lnTo>
                  <a:pt x="316" y="177"/>
                </a:lnTo>
                <a:lnTo>
                  <a:pt x="324" y="168"/>
                </a:lnTo>
                <a:lnTo>
                  <a:pt x="328" y="158"/>
                </a:lnTo>
                <a:lnTo>
                  <a:pt x="333" y="146"/>
                </a:lnTo>
                <a:lnTo>
                  <a:pt x="333" y="134"/>
                </a:lnTo>
                <a:lnTo>
                  <a:pt x="333" y="134"/>
                </a:lnTo>
                <a:lnTo>
                  <a:pt x="333" y="120"/>
                </a:lnTo>
                <a:lnTo>
                  <a:pt x="328" y="110"/>
                </a:lnTo>
                <a:lnTo>
                  <a:pt x="324" y="98"/>
                </a:lnTo>
                <a:lnTo>
                  <a:pt x="316" y="88"/>
                </a:lnTo>
                <a:lnTo>
                  <a:pt x="309" y="81"/>
                </a:lnTo>
                <a:lnTo>
                  <a:pt x="300" y="76"/>
                </a:lnTo>
                <a:lnTo>
                  <a:pt x="288" y="72"/>
                </a:lnTo>
                <a:lnTo>
                  <a:pt x="276" y="72"/>
                </a:lnTo>
                <a:lnTo>
                  <a:pt x="276" y="72"/>
                </a:lnTo>
                <a:close/>
                <a:moveTo>
                  <a:pt x="81" y="93"/>
                </a:moveTo>
                <a:lnTo>
                  <a:pt x="81" y="93"/>
                </a:lnTo>
                <a:lnTo>
                  <a:pt x="89" y="98"/>
                </a:lnTo>
                <a:lnTo>
                  <a:pt x="96" y="108"/>
                </a:lnTo>
                <a:lnTo>
                  <a:pt x="101" y="117"/>
                </a:lnTo>
                <a:lnTo>
                  <a:pt x="103" y="127"/>
                </a:lnTo>
                <a:lnTo>
                  <a:pt x="103" y="127"/>
                </a:lnTo>
                <a:lnTo>
                  <a:pt x="72" y="127"/>
                </a:lnTo>
                <a:lnTo>
                  <a:pt x="72" y="127"/>
                </a:lnTo>
                <a:lnTo>
                  <a:pt x="69" y="127"/>
                </a:lnTo>
                <a:lnTo>
                  <a:pt x="69" y="124"/>
                </a:lnTo>
                <a:lnTo>
                  <a:pt x="69" y="124"/>
                </a:lnTo>
                <a:lnTo>
                  <a:pt x="81" y="93"/>
                </a:lnTo>
                <a:lnTo>
                  <a:pt x="81" y="93"/>
                </a:lnTo>
                <a:close/>
                <a:moveTo>
                  <a:pt x="57" y="180"/>
                </a:moveTo>
                <a:lnTo>
                  <a:pt x="57" y="180"/>
                </a:lnTo>
                <a:lnTo>
                  <a:pt x="50" y="180"/>
                </a:lnTo>
                <a:lnTo>
                  <a:pt x="41" y="177"/>
                </a:lnTo>
                <a:lnTo>
                  <a:pt x="33" y="172"/>
                </a:lnTo>
                <a:lnTo>
                  <a:pt x="26" y="168"/>
                </a:lnTo>
                <a:lnTo>
                  <a:pt x="21" y="160"/>
                </a:lnTo>
                <a:lnTo>
                  <a:pt x="17" y="151"/>
                </a:lnTo>
                <a:lnTo>
                  <a:pt x="14" y="144"/>
                </a:lnTo>
                <a:lnTo>
                  <a:pt x="14" y="134"/>
                </a:lnTo>
                <a:lnTo>
                  <a:pt x="14" y="134"/>
                </a:lnTo>
                <a:lnTo>
                  <a:pt x="14" y="124"/>
                </a:lnTo>
                <a:lnTo>
                  <a:pt x="17" y="115"/>
                </a:lnTo>
                <a:lnTo>
                  <a:pt x="21" y="108"/>
                </a:lnTo>
                <a:lnTo>
                  <a:pt x="26" y="100"/>
                </a:lnTo>
                <a:lnTo>
                  <a:pt x="33" y="93"/>
                </a:lnTo>
                <a:lnTo>
                  <a:pt x="41" y="88"/>
                </a:lnTo>
                <a:lnTo>
                  <a:pt x="50" y="86"/>
                </a:lnTo>
                <a:lnTo>
                  <a:pt x="57" y="86"/>
                </a:lnTo>
                <a:lnTo>
                  <a:pt x="57" y="86"/>
                </a:lnTo>
                <a:lnTo>
                  <a:pt x="72" y="88"/>
                </a:lnTo>
                <a:lnTo>
                  <a:pt x="72" y="88"/>
                </a:lnTo>
                <a:lnTo>
                  <a:pt x="53" y="132"/>
                </a:lnTo>
                <a:lnTo>
                  <a:pt x="53" y="132"/>
                </a:lnTo>
                <a:lnTo>
                  <a:pt x="53" y="134"/>
                </a:lnTo>
                <a:lnTo>
                  <a:pt x="53" y="134"/>
                </a:lnTo>
                <a:lnTo>
                  <a:pt x="55" y="139"/>
                </a:lnTo>
                <a:lnTo>
                  <a:pt x="57" y="139"/>
                </a:lnTo>
                <a:lnTo>
                  <a:pt x="103" y="139"/>
                </a:lnTo>
                <a:lnTo>
                  <a:pt x="103" y="139"/>
                </a:lnTo>
                <a:lnTo>
                  <a:pt x="101" y="148"/>
                </a:lnTo>
                <a:lnTo>
                  <a:pt x="98" y="156"/>
                </a:lnTo>
                <a:lnTo>
                  <a:pt x="89" y="170"/>
                </a:lnTo>
                <a:lnTo>
                  <a:pt x="81" y="175"/>
                </a:lnTo>
                <a:lnTo>
                  <a:pt x="74" y="177"/>
                </a:lnTo>
                <a:lnTo>
                  <a:pt x="67" y="180"/>
                </a:lnTo>
                <a:lnTo>
                  <a:pt x="57" y="180"/>
                </a:lnTo>
                <a:lnTo>
                  <a:pt x="57" y="180"/>
                </a:lnTo>
                <a:close/>
                <a:moveTo>
                  <a:pt x="127" y="127"/>
                </a:moveTo>
                <a:lnTo>
                  <a:pt x="115" y="127"/>
                </a:lnTo>
                <a:lnTo>
                  <a:pt x="115" y="127"/>
                </a:lnTo>
                <a:lnTo>
                  <a:pt x="113" y="112"/>
                </a:lnTo>
                <a:lnTo>
                  <a:pt x="108" y="98"/>
                </a:lnTo>
                <a:lnTo>
                  <a:pt x="98" y="88"/>
                </a:lnTo>
                <a:lnTo>
                  <a:pt x="89" y="79"/>
                </a:lnTo>
                <a:lnTo>
                  <a:pt x="89" y="79"/>
                </a:lnTo>
                <a:lnTo>
                  <a:pt x="98" y="55"/>
                </a:lnTo>
                <a:lnTo>
                  <a:pt x="98" y="55"/>
                </a:lnTo>
                <a:lnTo>
                  <a:pt x="98" y="52"/>
                </a:lnTo>
                <a:lnTo>
                  <a:pt x="101" y="55"/>
                </a:lnTo>
                <a:lnTo>
                  <a:pt x="101" y="55"/>
                </a:lnTo>
                <a:lnTo>
                  <a:pt x="132" y="117"/>
                </a:lnTo>
                <a:lnTo>
                  <a:pt x="132" y="117"/>
                </a:lnTo>
                <a:lnTo>
                  <a:pt x="127" y="127"/>
                </a:lnTo>
                <a:lnTo>
                  <a:pt x="127" y="127"/>
                </a:lnTo>
                <a:close/>
                <a:moveTo>
                  <a:pt x="149" y="146"/>
                </a:moveTo>
                <a:lnTo>
                  <a:pt x="149" y="146"/>
                </a:lnTo>
                <a:lnTo>
                  <a:pt x="146" y="146"/>
                </a:lnTo>
                <a:lnTo>
                  <a:pt x="141" y="144"/>
                </a:lnTo>
                <a:lnTo>
                  <a:pt x="139" y="139"/>
                </a:lnTo>
                <a:lnTo>
                  <a:pt x="139" y="134"/>
                </a:lnTo>
                <a:lnTo>
                  <a:pt x="139" y="134"/>
                </a:lnTo>
                <a:lnTo>
                  <a:pt x="139" y="132"/>
                </a:lnTo>
                <a:lnTo>
                  <a:pt x="141" y="127"/>
                </a:lnTo>
                <a:lnTo>
                  <a:pt x="146" y="124"/>
                </a:lnTo>
                <a:lnTo>
                  <a:pt x="149" y="124"/>
                </a:lnTo>
                <a:lnTo>
                  <a:pt x="149" y="124"/>
                </a:lnTo>
                <a:lnTo>
                  <a:pt x="153" y="124"/>
                </a:lnTo>
                <a:lnTo>
                  <a:pt x="158" y="127"/>
                </a:lnTo>
                <a:lnTo>
                  <a:pt x="160" y="132"/>
                </a:lnTo>
                <a:lnTo>
                  <a:pt x="160" y="134"/>
                </a:lnTo>
                <a:lnTo>
                  <a:pt x="160" y="134"/>
                </a:lnTo>
                <a:lnTo>
                  <a:pt x="160" y="139"/>
                </a:lnTo>
                <a:lnTo>
                  <a:pt x="158" y="144"/>
                </a:lnTo>
                <a:lnTo>
                  <a:pt x="153" y="146"/>
                </a:lnTo>
                <a:lnTo>
                  <a:pt x="149" y="146"/>
                </a:lnTo>
                <a:lnTo>
                  <a:pt x="149" y="146"/>
                </a:lnTo>
                <a:close/>
                <a:moveTo>
                  <a:pt x="228" y="62"/>
                </a:moveTo>
                <a:lnTo>
                  <a:pt x="228" y="62"/>
                </a:lnTo>
                <a:lnTo>
                  <a:pt x="163" y="115"/>
                </a:lnTo>
                <a:lnTo>
                  <a:pt x="163" y="115"/>
                </a:lnTo>
                <a:lnTo>
                  <a:pt x="156" y="112"/>
                </a:lnTo>
                <a:lnTo>
                  <a:pt x="149" y="110"/>
                </a:lnTo>
                <a:lnTo>
                  <a:pt x="149" y="110"/>
                </a:lnTo>
                <a:lnTo>
                  <a:pt x="144" y="112"/>
                </a:lnTo>
                <a:lnTo>
                  <a:pt x="144" y="112"/>
                </a:lnTo>
                <a:lnTo>
                  <a:pt x="115" y="52"/>
                </a:lnTo>
                <a:lnTo>
                  <a:pt x="115" y="52"/>
                </a:lnTo>
                <a:lnTo>
                  <a:pt x="113" y="50"/>
                </a:lnTo>
                <a:lnTo>
                  <a:pt x="117" y="50"/>
                </a:lnTo>
                <a:lnTo>
                  <a:pt x="223" y="50"/>
                </a:lnTo>
                <a:lnTo>
                  <a:pt x="223" y="50"/>
                </a:lnTo>
                <a:lnTo>
                  <a:pt x="228" y="50"/>
                </a:lnTo>
                <a:lnTo>
                  <a:pt x="228" y="52"/>
                </a:lnTo>
                <a:lnTo>
                  <a:pt x="228" y="52"/>
                </a:lnTo>
                <a:lnTo>
                  <a:pt x="230" y="55"/>
                </a:lnTo>
                <a:lnTo>
                  <a:pt x="230" y="55"/>
                </a:lnTo>
                <a:lnTo>
                  <a:pt x="230" y="57"/>
                </a:lnTo>
                <a:lnTo>
                  <a:pt x="228" y="62"/>
                </a:lnTo>
                <a:lnTo>
                  <a:pt x="228" y="62"/>
                </a:lnTo>
                <a:close/>
                <a:moveTo>
                  <a:pt x="276" y="180"/>
                </a:moveTo>
                <a:lnTo>
                  <a:pt x="276" y="180"/>
                </a:lnTo>
                <a:lnTo>
                  <a:pt x="268" y="180"/>
                </a:lnTo>
                <a:lnTo>
                  <a:pt x="259" y="177"/>
                </a:lnTo>
                <a:lnTo>
                  <a:pt x="252" y="172"/>
                </a:lnTo>
                <a:lnTo>
                  <a:pt x="244" y="168"/>
                </a:lnTo>
                <a:lnTo>
                  <a:pt x="240" y="160"/>
                </a:lnTo>
                <a:lnTo>
                  <a:pt x="235" y="151"/>
                </a:lnTo>
                <a:lnTo>
                  <a:pt x="232" y="144"/>
                </a:lnTo>
                <a:lnTo>
                  <a:pt x="232" y="134"/>
                </a:lnTo>
                <a:lnTo>
                  <a:pt x="232" y="134"/>
                </a:lnTo>
                <a:lnTo>
                  <a:pt x="232" y="122"/>
                </a:lnTo>
                <a:lnTo>
                  <a:pt x="237" y="112"/>
                </a:lnTo>
                <a:lnTo>
                  <a:pt x="242" y="103"/>
                </a:lnTo>
                <a:lnTo>
                  <a:pt x="249" y="96"/>
                </a:lnTo>
                <a:lnTo>
                  <a:pt x="249" y="96"/>
                </a:lnTo>
                <a:lnTo>
                  <a:pt x="271" y="136"/>
                </a:lnTo>
                <a:lnTo>
                  <a:pt x="271" y="136"/>
                </a:lnTo>
                <a:lnTo>
                  <a:pt x="276" y="139"/>
                </a:lnTo>
                <a:lnTo>
                  <a:pt x="280" y="139"/>
                </a:lnTo>
                <a:lnTo>
                  <a:pt x="280" y="139"/>
                </a:lnTo>
                <a:lnTo>
                  <a:pt x="283" y="134"/>
                </a:lnTo>
                <a:lnTo>
                  <a:pt x="280" y="129"/>
                </a:lnTo>
                <a:lnTo>
                  <a:pt x="280" y="129"/>
                </a:lnTo>
                <a:lnTo>
                  <a:pt x="261" y="88"/>
                </a:lnTo>
                <a:lnTo>
                  <a:pt x="261" y="88"/>
                </a:lnTo>
                <a:lnTo>
                  <a:pt x="268" y="86"/>
                </a:lnTo>
                <a:lnTo>
                  <a:pt x="276" y="86"/>
                </a:lnTo>
                <a:lnTo>
                  <a:pt x="276" y="86"/>
                </a:lnTo>
                <a:lnTo>
                  <a:pt x="285" y="86"/>
                </a:lnTo>
                <a:lnTo>
                  <a:pt x="292" y="88"/>
                </a:lnTo>
                <a:lnTo>
                  <a:pt x="302" y="93"/>
                </a:lnTo>
                <a:lnTo>
                  <a:pt x="307" y="100"/>
                </a:lnTo>
                <a:lnTo>
                  <a:pt x="314" y="108"/>
                </a:lnTo>
                <a:lnTo>
                  <a:pt x="316" y="115"/>
                </a:lnTo>
                <a:lnTo>
                  <a:pt x="319" y="124"/>
                </a:lnTo>
                <a:lnTo>
                  <a:pt x="321" y="134"/>
                </a:lnTo>
                <a:lnTo>
                  <a:pt x="321" y="134"/>
                </a:lnTo>
                <a:lnTo>
                  <a:pt x="319" y="144"/>
                </a:lnTo>
                <a:lnTo>
                  <a:pt x="316" y="151"/>
                </a:lnTo>
                <a:lnTo>
                  <a:pt x="314" y="160"/>
                </a:lnTo>
                <a:lnTo>
                  <a:pt x="307" y="168"/>
                </a:lnTo>
                <a:lnTo>
                  <a:pt x="302" y="172"/>
                </a:lnTo>
                <a:lnTo>
                  <a:pt x="292" y="177"/>
                </a:lnTo>
                <a:lnTo>
                  <a:pt x="285" y="180"/>
                </a:lnTo>
                <a:lnTo>
                  <a:pt x="276" y="180"/>
                </a:lnTo>
                <a:lnTo>
                  <a:pt x="276" y="18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srgbClr val="262626"/>
              </a:solidFill>
              <a:latin typeface="Calibri" pitchFamily="34" charset="0"/>
              <a:cs typeface="Calibri" pitchFamily="34" charset="0"/>
            </a:endParaRPr>
          </a:p>
        </p:txBody>
      </p:sp>
    </p:spTree>
    <p:extLst>
      <p:ext uri="{BB962C8B-B14F-4D97-AF65-F5344CB8AC3E}">
        <p14:creationId xmlns:p14="http://schemas.microsoft.com/office/powerpoint/2010/main" val="1215808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2DAE951-364F-485B-9513-06FDD7756C82}"/>
              </a:ext>
            </a:extLst>
          </p:cNvPr>
          <p:cNvSpPr>
            <a:spLocks noGrp="1"/>
          </p:cNvSpPr>
          <p:nvPr>
            <p:ph type="title"/>
          </p:nvPr>
        </p:nvSpPr>
        <p:spPr>
          <a:solidFill>
            <a:schemeClr val="bg2">
              <a:alpha val="80000"/>
            </a:schemeClr>
          </a:solidFill>
        </p:spPr>
        <p:txBody>
          <a:bodyPr/>
          <a:lstStyle/>
          <a:p>
            <a:r>
              <a:rPr lang="de-DE" dirty="0"/>
              <a:t>Kapiteldeckblatt – orange</a:t>
            </a:r>
          </a:p>
        </p:txBody>
      </p:sp>
    </p:spTree>
    <p:extLst>
      <p:ext uri="{BB962C8B-B14F-4D97-AF65-F5344CB8AC3E}">
        <p14:creationId xmlns:p14="http://schemas.microsoft.com/office/powerpoint/2010/main" val="5824344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B2DAE951-364F-485B-9513-06FDD7756C82}"/>
              </a:ext>
            </a:extLst>
          </p:cNvPr>
          <p:cNvSpPr>
            <a:spLocks noGrp="1"/>
          </p:cNvSpPr>
          <p:nvPr>
            <p:ph type="title"/>
          </p:nvPr>
        </p:nvSpPr>
        <p:spPr/>
        <p:txBody>
          <a:bodyPr/>
          <a:lstStyle/>
          <a:p>
            <a:r>
              <a:rPr lang="de-DE" dirty="0"/>
              <a:t>Kapiteldeckblatt – </a:t>
            </a:r>
            <a:r>
              <a:rPr lang="de-DE" dirty="0" err="1"/>
              <a:t>türkis</a:t>
            </a:r>
            <a:endParaRPr lang="de-DE" dirty="0"/>
          </a:p>
        </p:txBody>
      </p:sp>
    </p:spTree>
    <p:extLst>
      <p:ext uri="{BB962C8B-B14F-4D97-AF65-F5344CB8AC3E}">
        <p14:creationId xmlns:p14="http://schemas.microsoft.com/office/powerpoint/2010/main" val="7909753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01642B0-38FF-4201-A32D-661780778822}"/>
              </a:ext>
            </a:extLst>
          </p:cNvPr>
          <p:cNvGraphicFramePr>
            <a:graphicFrameLocks noChangeAspect="1"/>
          </p:cNvGraphicFramePr>
          <p:nvPr>
            <p:custDataLst>
              <p:tags r:id="rId2"/>
            </p:custDataLst>
            <p:extLst>
              <p:ext uri="{D42A27DB-BD31-4B8C-83A1-F6EECF244321}">
                <p14:modId xmlns:p14="http://schemas.microsoft.com/office/powerpoint/2010/main" val="354148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Folie" r:id="rId5" imgW="425" imgH="426" progId="TCLayout.ActiveDocument.1">
                  <p:embed/>
                </p:oleObj>
              </mc:Choice>
              <mc:Fallback>
                <p:oleObj name="think-cell Folie" r:id="rId5" imgW="425" imgH="426" progId="TCLayout.ActiveDocument.1">
                  <p:embed/>
                  <p:pic>
                    <p:nvPicPr>
                      <p:cNvPr id="3" name="Objekt 2" hidden="1">
                        <a:extLst>
                          <a:ext uri="{FF2B5EF4-FFF2-40B4-BE49-F238E27FC236}">
                            <a16:creationId xmlns:a16="http://schemas.microsoft.com/office/drawing/2014/main" id="{501642B0-38FF-4201-A32D-6617807788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CB9C3349-69B9-41EF-BF54-19B649F47C4F}"/>
              </a:ext>
            </a:extLst>
          </p:cNvPr>
          <p:cNvSpPr/>
          <p:nvPr>
            <p:custDataLst>
              <p:tags r:id="rId3"/>
            </p:custDataLst>
          </p:nvPr>
        </p:nvSpPr>
        <p:spPr>
          <a:xfrm>
            <a:off x="0" y="0"/>
            <a:ext cx="158750" cy="158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400" dirty="0">
              <a:latin typeface="Arial Narrow" panose="020B0606020202030204" pitchFamily="34" charset="0"/>
              <a:ea typeface="+mj-ea"/>
              <a:cs typeface="+mj-cs"/>
              <a:sym typeface="Arial Narrow" panose="020B0606020202030204" pitchFamily="34" charset="0"/>
            </a:endParaRPr>
          </a:p>
        </p:txBody>
      </p:sp>
      <p:sp>
        <p:nvSpPr>
          <p:cNvPr id="2" name="Titel 1">
            <a:extLst>
              <a:ext uri="{FF2B5EF4-FFF2-40B4-BE49-F238E27FC236}">
                <a16:creationId xmlns:a16="http://schemas.microsoft.com/office/drawing/2014/main" id="{D1241E93-CF16-486C-914D-B177280A6691}"/>
              </a:ext>
            </a:extLst>
          </p:cNvPr>
          <p:cNvSpPr>
            <a:spLocks noGrp="1"/>
          </p:cNvSpPr>
          <p:nvPr>
            <p:ph type="title"/>
          </p:nvPr>
        </p:nvSpPr>
        <p:spPr/>
        <p:txBody>
          <a:bodyPr/>
          <a:lstStyle/>
          <a:p>
            <a:r>
              <a:rPr lang="de-DE"/>
              <a:t>Hinweise zum Template</a:t>
            </a:r>
            <a:endParaRPr lang="de-DE" dirty="0"/>
          </a:p>
        </p:txBody>
      </p:sp>
    </p:spTree>
    <p:extLst>
      <p:ext uri="{BB962C8B-B14F-4D97-AF65-F5344CB8AC3E}">
        <p14:creationId xmlns:p14="http://schemas.microsoft.com/office/powerpoint/2010/main" val="11589604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esign-Farben</a:t>
            </a:r>
          </a:p>
        </p:txBody>
      </p:sp>
      <p:sp>
        <p:nvSpPr>
          <p:cNvPr id="8" name="Textplatzhalter 7">
            <a:extLst>
              <a:ext uri="{FF2B5EF4-FFF2-40B4-BE49-F238E27FC236}">
                <a16:creationId xmlns:a16="http://schemas.microsoft.com/office/drawing/2014/main" id="{D9A9A7DE-AFF5-478D-AD20-86E7040829A5}"/>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9F442D46-6C36-44D7-8159-1A79835E2376}"/>
              </a:ext>
            </a:extLst>
          </p:cNvPr>
          <p:cNvSpPr>
            <a:spLocks noGrp="1"/>
          </p:cNvSpPr>
          <p:nvPr>
            <p:ph type="body" sz="quarter" idx="14"/>
          </p:nvPr>
        </p:nvSpPr>
        <p:spPr/>
        <p:txBody>
          <a:bodyPr/>
          <a:lstStyle/>
          <a:p>
            <a:pPr>
              <a:spcAft>
                <a:spcPts val="0"/>
              </a:spcAft>
            </a:pPr>
            <a:endParaRPr lang="de-DE" dirty="0"/>
          </a:p>
        </p:txBody>
      </p:sp>
      <p:sp>
        <p:nvSpPr>
          <p:cNvPr id="5" name="Datumsplatzhalter 4"/>
          <p:cNvSpPr>
            <a:spLocks noGrp="1"/>
          </p:cNvSpPr>
          <p:nvPr>
            <p:ph type="dt" sz="half" idx="2"/>
          </p:nvPr>
        </p:nvSpPr>
        <p:spPr/>
        <p:txBody>
          <a:bodyPr/>
          <a:lstStyle/>
          <a:p>
            <a:fld id="{EFC7B17F-F3EA-410B-877E-08F70794DA42}"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7</a:t>
            </a:fld>
            <a:endParaRPr lang="de-DE" dirty="0"/>
          </a:p>
        </p:txBody>
      </p:sp>
      <p:pic>
        <p:nvPicPr>
          <p:cNvPr id="7" name="Snagit_PPTACE1"/>
          <p:cNvPicPr>
            <a:picLocks noChangeAspect="1"/>
          </p:cNvPicPr>
          <p:nvPr/>
        </p:nvPicPr>
        <p:blipFill rotWithShape="1">
          <a:blip r:embed="rId32">
            <a:extLst>
              <a:ext uri="{28A0092B-C50C-407E-A947-70E740481C1C}">
                <a14:useLocalDpi xmlns:a14="http://schemas.microsoft.com/office/drawing/2010/main" val="0"/>
              </a:ext>
            </a:extLst>
          </a:blip>
          <a:srcRect b="67739"/>
          <a:stretch/>
        </p:blipFill>
        <p:spPr>
          <a:xfrm>
            <a:off x="284400" y="1621553"/>
            <a:ext cx="2749672" cy="1738507"/>
          </a:xfrm>
          <a:prstGeom prst="rect">
            <a:avLst/>
          </a:prstGeom>
        </p:spPr>
      </p:pic>
      <p:sp>
        <p:nvSpPr>
          <p:cNvPr id="10" name="Rechteck 9"/>
          <p:cNvSpPr/>
          <p:nvPr>
            <p:custDataLst>
              <p:tags r:id="rId1"/>
            </p:custDataLst>
          </p:nvPr>
        </p:nvSpPr>
        <p:spPr bwMode="auto">
          <a:xfrm>
            <a:off x="280800" y="3573016"/>
            <a:ext cx="787094" cy="854486"/>
          </a:xfrm>
          <a:prstGeom prst="rect">
            <a:avLst/>
          </a:prstGeom>
          <a:solidFill>
            <a:srgbClr val="FFFFFF"/>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000" b="0" i="0" u="none" strike="noStrike" kern="0" cap="none" spc="0" normalizeH="0" baseline="0">
                <a:ln>
                  <a:noFill/>
                </a:ln>
                <a:effectLst/>
                <a:uLnTx/>
                <a:uFillTx/>
                <a:ea typeface="ＭＳ Ｐゴシック" charset="-128"/>
                <a:cs typeface="ＭＳ Ｐゴシック" charset="-128"/>
              </a:rPr>
              <a:t>Weiß</a:t>
            </a:r>
            <a:endParaRPr kumimoji="0" lang="de-DE" sz="1000" b="0" i="0" u="none" strike="noStrike" kern="0" cap="none" spc="0" normalizeH="0" baseline="0" dirty="0">
              <a:ln>
                <a:noFill/>
              </a:ln>
              <a:effectLst/>
              <a:uLnTx/>
              <a:uFillTx/>
              <a:ea typeface="ＭＳ Ｐゴシック" charset="-128"/>
              <a:cs typeface="ＭＳ Ｐゴシック" charset="-128"/>
            </a:endParaRPr>
          </a:p>
        </p:txBody>
      </p:sp>
      <p:sp>
        <p:nvSpPr>
          <p:cNvPr id="18" name="Rechteck 17"/>
          <p:cNvSpPr/>
          <p:nvPr>
            <p:custDataLst>
              <p:tags r:id="rId2"/>
            </p:custDataLst>
          </p:nvPr>
        </p:nvSpPr>
        <p:spPr bwMode="auto">
          <a:xfrm>
            <a:off x="280800"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a:ln>
                  <a:noFill/>
                </a:ln>
                <a:effectLst/>
                <a:uLnTx/>
                <a:uFillTx/>
                <a:ea typeface="ＭＳ Ｐゴシック" charset="-128"/>
                <a:cs typeface="ＭＳ Ｐゴシック" charset="-128"/>
              </a:rPr>
              <a:t>R255</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a:ea typeface="ＭＳ Ｐゴシック" charset="-128"/>
                <a:cs typeface="ＭＳ Ｐゴシック" charset="-128"/>
              </a:rPr>
              <a:t>G255</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a:ea typeface="ＭＳ Ｐゴシック" charset="-128"/>
                <a:cs typeface="ＭＳ Ｐゴシック" charset="-128"/>
              </a:rPr>
              <a:t>B</a:t>
            </a:r>
            <a:r>
              <a:rPr kumimoji="0" lang="en-US" sz="1000" b="0" i="0" u="none" strike="noStrike" kern="0" cap="none" spc="0" normalizeH="0" baseline="0">
                <a:ln>
                  <a:noFill/>
                </a:ln>
                <a:effectLst/>
                <a:uLnTx/>
                <a:uFillTx/>
                <a:ea typeface="ＭＳ Ｐゴシック" charset="-128"/>
                <a:cs typeface="ＭＳ Ｐゴシック" charset="-128"/>
              </a:rPr>
              <a:t>255</a:t>
            </a:r>
          </a:p>
        </p:txBody>
      </p:sp>
      <p:sp>
        <p:nvSpPr>
          <p:cNvPr id="11" name="Rechteck 10"/>
          <p:cNvSpPr/>
          <p:nvPr>
            <p:custDataLst>
              <p:tags r:id="rId3"/>
            </p:custDataLst>
          </p:nvPr>
        </p:nvSpPr>
        <p:spPr bwMode="auto">
          <a:xfrm>
            <a:off x="1233745" y="3573016"/>
            <a:ext cx="787094" cy="854486"/>
          </a:xfrm>
          <a:prstGeom prst="rect">
            <a:avLst/>
          </a:prstGeom>
          <a:solidFill>
            <a:schemeClr val="tx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1000" kern="0">
                <a:solidFill>
                  <a:schemeClr val="bg1"/>
                </a:solidFill>
                <a:ea typeface="ＭＳ Ｐゴシック" charset="-128"/>
                <a:cs typeface="ＭＳ Ｐゴシック" charset="-128"/>
              </a:rPr>
              <a:t>e</a:t>
            </a:r>
            <a:r>
              <a:rPr kumimoji="0" lang="de-DE" sz="1000" b="0" i="0" u="none" strike="noStrike" kern="0" cap="none" spc="0" normalizeH="0" baseline="0">
                <a:ln>
                  <a:noFill/>
                </a:ln>
                <a:solidFill>
                  <a:schemeClr val="bg1"/>
                </a:solidFill>
                <a:effectLst/>
                <a:uLnTx/>
                <a:uFillTx/>
                <a:ea typeface="ＭＳ Ｐゴシック" charset="-128"/>
                <a:cs typeface="ＭＳ Ｐゴシック" charset="-128"/>
              </a:rPr>
              <a:t>lccon</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000" kern="0">
                <a:solidFill>
                  <a:schemeClr val="bg1"/>
                </a:solidFill>
                <a:ea typeface="ＭＳ Ｐゴシック" charset="-128"/>
                <a:cs typeface="ＭＳ Ｐゴシック" charset="-128"/>
              </a:rPr>
              <a:t>Text grau</a:t>
            </a:r>
            <a:endParaRPr lang="de-DE" sz="1000" kern="0" dirty="0">
              <a:solidFill>
                <a:schemeClr val="bg1"/>
              </a:solidFill>
              <a:ea typeface="ＭＳ Ｐゴシック" charset="-128"/>
              <a:cs typeface="ＭＳ Ｐゴシック" charset="-128"/>
            </a:endParaRPr>
          </a:p>
        </p:txBody>
      </p:sp>
      <p:sp>
        <p:nvSpPr>
          <p:cNvPr id="19" name="Rechteck 18"/>
          <p:cNvSpPr/>
          <p:nvPr>
            <p:custDataLst>
              <p:tags r:id="rId4"/>
            </p:custDataLst>
          </p:nvPr>
        </p:nvSpPr>
        <p:spPr bwMode="auto">
          <a:xfrm>
            <a:off x="1233745"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89</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8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89</a:t>
            </a:r>
          </a:p>
        </p:txBody>
      </p:sp>
      <p:sp>
        <p:nvSpPr>
          <p:cNvPr id="12" name="Rechteck 11"/>
          <p:cNvSpPr/>
          <p:nvPr>
            <p:custDataLst>
              <p:tags r:id="rId5"/>
            </p:custDataLst>
          </p:nvPr>
        </p:nvSpPr>
        <p:spPr bwMode="auto">
          <a:xfrm>
            <a:off x="2186690" y="3573016"/>
            <a:ext cx="787094" cy="854486"/>
          </a:xfrm>
          <a:prstGeom prst="rect">
            <a:avLst/>
          </a:prstGeom>
          <a:solidFill>
            <a:schemeClr val="bg2"/>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1000" kern="0">
                <a:solidFill>
                  <a:schemeClr val="bg1"/>
                </a:solidFill>
                <a:ea typeface="ＭＳ Ｐゴシック" charset="-128"/>
                <a:cs typeface="ＭＳ Ｐゴシック" charset="-128"/>
              </a:rPr>
              <a:t>e</a:t>
            </a:r>
            <a:r>
              <a:rPr kumimoji="0" lang="de-DE" sz="1000" b="0" i="0" u="none" strike="noStrike" kern="0" cap="none" spc="0" normalizeH="0" baseline="0">
                <a:ln>
                  <a:noFill/>
                </a:ln>
                <a:solidFill>
                  <a:schemeClr val="bg1"/>
                </a:solidFill>
                <a:effectLst/>
                <a:uLnTx/>
                <a:uFillTx/>
                <a:ea typeface="ＭＳ Ｐゴシック" charset="-128"/>
                <a:cs typeface="ＭＳ Ｐゴシック" charset="-128"/>
              </a:rPr>
              <a:t>lccon</a:t>
            </a:r>
          </a:p>
          <a:p>
            <a:pPr marL="0" marR="0" lvl="0" indent="0" algn="l" defTabSz="914400" rtl="0" eaLnBrk="0" fontAlgn="base" latinLnBrk="0" hangingPunct="0">
              <a:lnSpc>
                <a:spcPct val="100000"/>
              </a:lnSpc>
              <a:spcBef>
                <a:spcPct val="0"/>
              </a:spcBef>
              <a:spcAft>
                <a:spcPct val="0"/>
              </a:spcAft>
              <a:buClrTx/>
              <a:buSzTx/>
              <a:buFontTx/>
              <a:buNone/>
              <a:tabLst/>
              <a:defRPr/>
            </a:pPr>
            <a:r>
              <a:rPr lang="de-DE" sz="1000" kern="0">
                <a:solidFill>
                  <a:schemeClr val="bg1"/>
                </a:solidFill>
                <a:ea typeface="ＭＳ Ｐゴシック" charset="-128"/>
                <a:cs typeface="ＭＳ Ｐゴシック" charset="-128"/>
              </a:rPr>
              <a:t>Dunkelorange</a:t>
            </a:r>
            <a:endParaRPr lang="de-DE" sz="1000" kern="0" dirty="0">
              <a:solidFill>
                <a:schemeClr val="bg1"/>
              </a:solidFill>
              <a:ea typeface="ＭＳ Ｐゴシック" charset="-128"/>
              <a:cs typeface="ＭＳ Ｐゴシック" charset="-128"/>
            </a:endParaRPr>
          </a:p>
        </p:txBody>
      </p:sp>
      <p:sp>
        <p:nvSpPr>
          <p:cNvPr id="20" name="Rechteck 19"/>
          <p:cNvSpPr/>
          <p:nvPr>
            <p:custDataLst>
              <p:tags r:id="rId6"/>
            </p:custDataLst>
          </p:nvPr>
        </p:nvSpPr>
        <p:spPr bwMode="auto">
          <a:xfrm>
            <a:off x="2186690"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43</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86</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32</a:t>
            </a:r>
          </a:p>
        </p:txBody>
      </p:sp>
      <p:sp>
        <p:nvSpPr>
          <p:cNvPr id="13" name="Rechteck 12"/>
          <p:cNvSpPr/>
          <p:nvPr>
            <p:custDataLst>
              <p:tags r:id="rId7"/>
            </p:custDataLst>
          </p:nvPr>
        </p:nvSpPr>
        <p:spPr bwMode="auto">
          <a:xfrm>
            <a:off x="3139635" y="3573016"/>
            <a:ext cx="787094" cy="854486"/>
          </a:xfrm>
          <a:prstGeom prst="rect">
            <a:avLst/>
          </a:prstGeom>
          <a:solidFill>
            <a:schemeClr val="tx2"/>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elccon</a:t>
            </a:r>
          </a:p>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Mittelorange</a:t>
            </a:r>
            <a:endParaRPr lang="de-DE" sz="1000" kern="0" dirty="0">
              <a:solidFill>
                <a:schemeClr val="bg1"/>
              </a:solidFill>
              <a:ea typeface="ＭＳ Ｐゴシック" charset="-128"/>
              <a:cs typeface="ＭＳ Ｐゴシック" charset="-128"/>
            </a:endParaRPr>
          </a:p>
        </p:txBody>
      </p:sp>
      <p:sp>
        <p:nvSpPr>
          <p:cNvPr id="21" name="Rechteck 20"/>
          <p:cNvSpPr/>
          <p:nvPr>
            <p:custDataLst>
              <p:tags r:id="rId8"/>
            </p:custDataLst>
          </p:nvPr>
        </p:nvSpPr>
        <p:spPr bwMode="auto">
          <a:xfrm>
            <a:off x="3139635"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47</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138</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99</a:t>
            </a:r>
          </a:p>
        </p:txBody>
      </p:sp>
      <p:sp>
        <p:nvSpPr>
          <p:cNvPr id="22" name="Rechteck 21"/>
          <p:cNvSpPr/>
          <p:nvPr>
            <p:custDataLst>
              <p:tags r:id="rId9"/>
            </p:custDataLst>
          </p:nvPr>
        </p:nvSpPr>
        <p:spPr bwMode="auto">
          <a:xfrm>
            <a:off x="4092580" y="3573016"/>
            <a:ext cx="787094" cy="854486"/>
          </a:xfrm>
          <a:prstGeom prst="rect">
            <a:avLst/>
          </a:prstGeom>
          <a:solidFill>
            <a:schemeClr val="accent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elccon</a:t>
            </a:r>
          </a:p>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Hellorange</a:t>
            </a:r>
            <a:endParaRPr lang="de-DE" sz="1000" kern="0" dirty="0">
              <a:solidFill>
                <a:schemeClr val="bg1"/>
              </a:solidFill>
              <a:ea typeface="ＭＳ Ｐゴシック" charset="-128"/>
              <a:cs typeface="ＭＳ Ｐゴシック" charset="-128"/>
            </a:endParaRPr>
          </a:p>
        </p:txBody>
      </p:sp>
      <p:sp>
        <p:nvSpPr>
          <p:cNvPr id="24" name="Rechteck 23"/>
          <p:cNvSpPr/>
          <p:nvPr>
            <p:custDataLst>
              <p:tags r:id="rId10"/>
            </p:custDataLst>
          </p:nvPr>
        </p:nvSpPr>
        <p:spPr bwMode="auto">
          <a:xfrm>
            <a:off x="4092580"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50</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18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156</a:t>
            </a:r>
          </a:p>
        </p:txBody>
      </p:sp>
      <p:sp>
        <p:nvSpPr>
          <p:cNvPr id="23" name="Rechteck 22"/>
          <p:cNvSpPr/>
          <p:nvPr>
            <p:custDataLst>
              <p:tags r:id="rId11"/>
            </p:custDataLst>
          </p:nvPr>
        </p:nvSpPr>
        <p:spPr bwMode="auto">
          <a:xfrm>
            <a:off x="5045525" y="3573016"/>
            <a:ext cx="787094" cy="854486"/>
          </a:xfrm>
          <a:prstGeom prst="rect">
            <a:avLst/>
          </a:prstGeom>
          <a:solidFill>
            <a:schemeClr val="accent2"/>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elccon Dunkeltürkis</a:t>
            </a:r>
            <a:endParaRPr lang="de-DE" sz="1000" kern="0" dirty="0">
              <a:solidFill>
                <a:schemeClr val="bg1"/>
              </a:solidFill>
              <a:ea typeface="ＭＳ Ｐゴシック" charset="-128"/>
              <a:cs typeface="ＭＳ Ｐゴシック" charset="-128"/>
            </a:endParaRPr>
          </a:p>
        </p:txBody>
      </p:sp>
      <p:sp>
        <p:nvSpPr>
          <p:cNvPr id="25" name="Rechteck 24"/>
          <p:cNvSpPr/>
          <p:nvPr>
            <p:custDataLst>
              <p:tags r:id="rId12"/>
            </p:custDataLst>
          </p:nvPr>
        </p:nvSpPr>
        <p:spPr bwMode="auto">
          <a:xfrm>
            <a:off x="5045525"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eaLnBrk="0" fontAlgn="base" hangingPunct="0">
              <a:spcBef>
                <a:spcPct val="0"/>
              </a:spcBef>
              <a:spcAft>
                <a:spcPct val="0"/>
              </a:spcAft>
              <a:defRPr/>
            </a:pPr>
            <a:r>
              <a:rPr lang="en-US" sz="1000" kern="0" dirty="0">
                <a:ea typeface="ＭＳ Ｐゴシック" charset="-128"/>
                <a:cs typeface="ＭＳ Ｐゴシック" charset="-128"/>
              </a:rPr>
              <a:t>R17</a:t>
            </a:r>
          </a:p>
          <a:p>
            <a:pPr lvl="0" eaLnBrk="0" fontAlgn="base" hangingPunct="0">
              <a:spcBef>
                <a:spcPct val="0"/>
              </a:spcBef>
              <a:spcAft>
                <a:spcPct val="0"/>
              </a:spcAft>
              <a:defRPr/>
            </a:pPr>
            <a:r>
              <a:rPr lang="en-US" sz="1000" kern="0" dirty="0">
                <a:ea typeface="ＭＳ Ｐゴシック" charset="-128"/>
                <a:cs typeface="ＭＳ Ｐゴシック" charset="-128"/>
              </a:rPr>
              <a:t>G110</a:t>
            </a:r>
          </a:p>
          <a:p>
            <a:pPr lvl="0" eaLnBrk="0" fontAlgn="base" hangingPunct="0">
              <a:spcBef>
                <a:spcPct val="0"/>
              </a:spcBef>
              <a:spcAft>
                <a:spcPct val="0"/>
              </a:spcAft>
              <a:defRPr/>
            </a:pPr>
            <a:r>
              <a:rPr lang="en-US" sz="1000" kern="0" dirty="0">
                <a:ea typeface="ＭＳ Ｐゴシック" charset="-128"/>
                <a:cs typeface="ＭＳ Ｐゴシック" charset="-128"/>
              </a:rPr>
              <a:t>B117</a:t>
            </a:r>
          </a:p>
        </p:txBody>
      </p:sp>
      <p:sp>
        <p:nvSpPr>
          <p:cNvPr id="14" name="Rechteck 13"/>
          <p:cNvSpPr/>
          <p:nvPr>
            <p:custDataLst>
              <p:tags r:id="rId13"/>
            </p:custDataLst>
          </p:nvPr>
        </p:nvSpPr>
        <p:spPr bwMode="auto">
          <a:xfrm>
            <a:off x="5998470" y="3573016"/>
            <a:ext cx="787094" cy="854486"/>
          </a:xfrm>
          <a:prstGeom prst="rect">
            <a:avLst/>
          </a:prstGeom>
          <a:solidFill>
            <a:schemeClr val="accent3"/>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elccon Mitteltürkis</a:t>
            </a:r>
            <a:endParaRPr lang="de-DE" sz="1000" kern="0" dirty="0">
              <a:solidFill>
                <a:schemeClr val="bg1"/>
              </a:solidFill>
              <a:ea typeface="ＭＳ Ｐゴシック" charset="-128"/>
              <a:cs typeface="ＭＳ Ｐゴシック" charset="-128"/>
            </a:endParaRPr>
          </a:p>
        </p:txBody>
      </p:sp>
      <p:sp>
        <p:nvSpPr>
          <p:cNvPr id="26" name="Rechteck 25"/>
          <p:cNvSpPr/>
          <p:nvPr>
            <p:custDataLst>
              <p:tags r:id="rId14"/>
            </p:custDataLst>
          </p:nvPr>
        </p:nvSpPr>
        <p:spPr bwMode="auto">
          <a:xfrm>
            <a:off x="5998470"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2</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145</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153</a:t>
            </a:r>
          </a:p>
        </p:txBody>
      </p:sp>
      <p:sp>
        <p:nvSpPr>
          <p:cNvPr id="15" name="Rechteck 14"/>
          <p:cNvSpPr/>
          <p:nvPr>
            <p:custDataLst>
              <p:tags r:id="rId15"/>
            </p:custDataLst>
          </p:nvPr>
        </p:nvSpPr>
        <p:spPr bwMode="auto">
          <a:xfrm>
            <a:off x="6951415" y="3573016"/>
            <a:ext cx="787094" cy="854486"/>
          </a:xfrm>
          <a:prstGeom prst="rect">
            <a:avLst/>
          </a:prstGeom>
          <a:solidFill>
            <a:schemeClr val="accent4"/>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solidFill>
                  <a:schemeClr val="bg1"/>
                </a:solidFill>
                <a:ea typeface="ＭＳ Ｐゴシック" charset="-128"/>
                <a:cs typeface="ＭＳ Ｐゴシック" charset="-128"/>
              </a:rPr>
              <a:t>elccon helltürkis</a:t>
            </a:r>
            <a:endParaRPr lang="de-DE" sz="1000" kern="0" dirty="0">
              <a:solidFill>
                <a:schemeClr val="bg1"/>
              </a:solidFill>
              <a:ea typeface="ＭＳ Ｐゴシック" charset="-128"/>
              <a:cs typeface="ＭＳ Ｐゴシック" charset="-128"/>
            </a:endParaRPr>
          </a:p>
        </p:txBody>
      </p:sp>
      <p:sp>
        <p:nvSpPr>
          <p:cNvPr id="27" name="Rechteck 26"/>
          <p:cNvSpPr/>
          <p:nvPr>
            <p:custDataLst>
              <p:tags r:id="rId16"/>
            </p:custDataLst>
          </p:nvPr>
        </p:nvSpPr>
        <p:spPr bwMode="auto">
          <a:xfrm>
            <a:off x="6951415"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9</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18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201</a:t>
            </a:r>
          </a:p>
        </p:txBody>
      </p:sp>
      <p:sp>
        <p:nvSpPr>
          <p:cNvPr id="16" name="Rechteck 15"/>
          <p:cNvSpPr/>
          <p:nvPr>
            <p:custDataLst>
              <p:tags r:id="rId17"/>
            </p:custDataLst>
          </p:nvPr>
        </p:nvSpPr>
        <p:spPr bwMode="auto">
          <a:xfrm>
            <a:off x="7904360" y="3573016"/>
            <a:ext cx="787094" cy="854486"/>
          </a:xfrm>
          <a:prstGeom prst="rect">
            <a:avLst/>
          </a:prstGeom>
          <a:solidFill>
            <a:schemeClr val="accent5"/>
          </a:solidFill>
          <a:ln w="9525" cap="flat" cmpd="sng" algn="ctr">
            <a:solidFill>
              <a:schemeClr val="accent6"/>
            </a:solidFill>
            <a:prstDash val="solid"/>
            <a:round/>
            <a:headEnd type="none" w="med" len="med"/>
            <a:tailEnd type="none" w="med" len="med"/>
          </a:ln>
          <a:effectLst/>
        </p:spPr>
        <p:txBody>
          <a:bodyPr vert="horz" wrap="square" lIns="72000" tIns="72000" rIns="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ea typeface="ＭＳ Ｐゴシック" charset="-128"/>
                <a:cs typeface="ＭＳ Ｐゴシック" charset="-128"/>
              </a:rPr>
              <a:t>elccon </a:t>
            </a:r>
          </a:p>
          <a:p>
            <a:pPr lvl="0" defTabSz="914400" eaLnBrk="0" fontAlgn="base" hangingPunct="0">
              <a:spcBef>
                <a:spcPct val="0"/>
              </a:spcBef>
              <a:spcAft>
                <a:spcPct val="0"/>
              </a:spcAft>
              <a:defRPr/>
            </a:pPr>
            <a:r>
              <a:rPr kumimoji="0" lang="de-DE" sz="1000" b="0" i="0" u="none" strike="noStrike" kern="0" cap="none" spc="0" normalizeH="0" baseline="0">
                <a:ln>
                  <a:noFill/>
                </a:ln>
                <a:effectLst/>
                <a:uLnTx/>
                <a:uFillTx/>
                <a:ea typeface="ＭＳ Ｐゴシック" charset="-128"/>
                <a:cs typeface="ＭＳ Ｐゴシック" charset="-128"/>
              </a:rPr>
              <a:t>Hellgrau</a:t>
            </a:r>
          </a:p>
          <a:p>
            <a:pPr lvl="0" defTabSz="914400" eaLnBrk="0" fontAlgn="base" hangingPunct="0">
              <a:spcBef>
                <a:spcPct val="0"/>
              </a:spcBef>
              <a:spcAft>
                <a:spcPct val="0"/>
              </a:spcAft>
              <a:defRPr/>
            </a:pPr>
            <a:endParaRPr kumimoji="0" lang="de-DE" sz="1000" b="0" i="0" u="none" strike="noStrike" kern="0" cap="none" spc="0" normalizeH="0" baseline="0" dirty="0">
              <a:ln>
                <a:noFill/>
              </a:ln>
              <a:effectLst/>
              <a:uLnTx/>
              <a:uFillTx/>
              <a:ea typeface="ＭＳ Ｐゴシック" charset="-128"/>
              <a:cs typeface="ＭＳ Ｐゴシック" charset="-128"/>
            </a:endParaRPr>
          </a:p>
        </p:txBody>
      </p:sp>
      <p:sp>
        <p:nvSpPr>
          <p:cNvPr id="28" name="Rechteck 27"/>
          <p:cNvSpPr/>
          <p:nvPr>
            <p:custDataLst>
              <p:tags r:id="rId18"/>
            </p:custDataLst>
          </p:nvPr>
        </p:nvSpPr>
        <p:spPr bwMode="auto">
          <a:xfrm>
            <a:off x="7904360"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42</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242</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B242</a:t>
            </a:r>
            <a:endParaRPr kumimoji="0" lang="en-US" sz="1000" b="0" i="0" u="none" strike="noStrike" kern="0" cap="none" spc="0" normalizeH="0" baseline="0" dirty="0">
              <a:ln>
                <a:noFill/>
              </a:ln>
              <a:effectLst/>
              <a:uLnTx/>
              <a:uFillTx/>
              <a:ea typeface="ＭＳ Ｐゴシック" charset="-128"/>
              <a:cs typeface="ＭＳ Ｐゴシック" charset="-128"/>
            </a:endParaRPr>
          </a:p>
        </p:txBody>
      </p:sp>
      <p:sp>
        <p:nvSpPr>
          <p:cNvPr id="17" name="Rechteck 16"/>
          <p:cNvSpPr/>
          <p:nvPr>
            <p:custDataLst>
              <p:tags r:id="rId19"/>
            </p:custDataLst>
          </p:nvPr>
        </p:nvSpPr>
        <p:spPr bwMode="auto">
          <a:xfrm>
            <a:off x="8857306" y="3573016"/>
            <a:ext cx="787094" cy="854486"/>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72000" tIns="72000" rIns="0" bIns="72000" numCol="1" rtlCol="0" anchor="t" anchorCtr="0" compatLnSpc="1">
            <a:prstTxWarp prst="textNoShape">
              <a:avLst/>
            </a:prstTxWarp>
          </a:bodyPr>
          <a:lstStyle/>
          <a:p>
            <a:pPr lvl="0" defTabSz="914400" eaLnBrk="0" fontAlgn="base" hangingPunct="0">
              <a:spcBef>
                <a:spcPct val="0"/>
              </a:spcBef>
              <a:spcAft>
                <a:spcPct val="0"/>
              </a:spcAft>
              <a:defRPr/>
            </a:pPr>
            <a:r>
              <a:rPr lang="de-DE" sz="1000" kern="0">
                <a:ea typeface="ＭＳ Ｐゴシック" charset="-128"/>
                <a:cs typeface="ＭＳ Ｐゴシック" charset="-128"/>
              </a:rPr>
              <a:t>elccon</a:t>
            </a:r>
          </a:p>
          <a:p>
            <a:pPr lvl="0" defTabSz="914400" eaLnBrk="0" fontAlgn="base" hangingPunct="0">
              <a:spcBef>
                <a:spcPct val="0"/>
              </a:spcBef>
              <a:spcAft>
                <a:spcPct val="0"/>
              </a:spcAft>
              <a:defRPr/>
            </a:pPr>
            <a:r>
              <a:rPr kumimoji="0" lang="de-DE" sz="1000" b="0" i="0" u="none" strike="noStrike" kern="0" cap="none" spc="0" normalizeH="0" baseline="0">
                <a:ln>
                  <a:noFill/>
                </a:ln>
                <a:effectLst/>
                <a:uLnTx/>
                <a:uFillTx/>
                <a:ea typeface="ＭＳ Ｐゴシック" charset="-128"/>
                <a:cs typeface="ＭＳ Ｐゴシック" charset="-128"/>
              </a:rPr>
              <a:t>Mittelgrau</a:t>
            </a:r>
          </a:p>
          <a:p>
            <a:pPr lvl="0" defTabSz="914400" eaLnBrk="0" fontAlgn="base" hangingPunct="0">
              <a:spcBef>
                <a:spcPct val="0"/>
              </a:spcBef>
              <a:spcAft>
                <a:spcPct val="0"/>
              </a:spcAft>
              <a:defRPr/>
            </a:pPr>
            <a:endParaRPr kumimoji="0" lang="de-DE" sz="1000" b="0" i="0" u="none" strike="noStrike" kern="0" cap="none" spc="0" normalizeH="0" baseline="0" dirty="0">
              <a:ln>
                <a:noFill/>
              </a:ln>
              <a:effectLst/>
              <a:uLnTx/>
              <a:uFillTx/>
              <a:ea typeface="ＭＳ Ｐゴシック" charset="-128"/>
              <a:cs typeface="ＭＳ Ｐゴシック" charset="-128"/>
            </a:endParaRPr>
          </a:p>
        </p:txBody>
      </p:sp>
      <p:sp>
        <p:nvSpPr>
          <p:cNvPr id="29" name="Rechteck 28"/>
          <p:cNvSpPr/>
          <p:nvPr>
            <p:custDataLst>
              <p:tags r:id="rId20"/>
            </p:custDataLst>
          </p:nvPr>
        </p:nvSpPr>
        <p:spPr bwMode="auto">
          <a:xfrm>
            <a:off x="8857306" y="4427502"/>
            <a:ext cx="787094" cy="666681"/>
          </a:xfrm>
          <a:prstGeom prst="rect">
            <a:avLst/>
          </a:prstGeom>
          <a:solidFill>
            <a:schemeClr val="bg1"/>
          </a:solidFill>
          <a:ln w="9525" cap="flat" cmpd="sng" algn="ctr">
            <a:solidFill>
              <a:schemeClr val="accent6"/>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R220</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1000" kern="0" dirty="0">
                <a:ea typeface="ＭＳ Ｐゴシック" charset="-128"/>
                <a:cs typeface="ＭＳ Ｐゴシック" charset="-128"/>
              </a:rPr>
              <a:t>G22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dirty="0">
                <a:ln>
                  <a:noFill/>
                </a:ln>
                <a:effectLst/>
                <a:uLnTx/>
                <a:uFillTx/>
                <a:ea typeface="ＭＳ Ｐゴシック" charset="-128"/>
                <a:cs typeface="ＭＳ Ｐゴシック" charset="-128"/>
              </a:rPr>
              <a:t>B220</a:t>
            </a:r>
          </a:p>
        </p:txBody>
      </p:sp>
      <p:sp>
        <p:nvSpPr>
          <p:cNvPr id="42" name="Rechteck 41"/>
          <p:cNvSpPr/>
          <p:nvPr>
            <p:custDataLst>
              <p:tags r:id="rId21"/>
            </p:custDataLst>
          </p:nvPr>
        </p:nvSpPr>
        <p:spPr bwMode="auto">
          <a:xfrm>
            <a:off x="280800"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marR="0" lvl="2" indent="-88900" defTabSz="914400" fontAlgn="base">
              <a:buClrTx/>
              <a:buSzTx/>
              <a:buFont typeface="Arial" panose="020B0604020202020204" pitchFamily="34" charset="0"/>
              <a:buChar char="•"/>
              <a:tabLst/>
              <a:defRPr/>
            </a:pPr>
            <a:r>
              <a:rPr lang="de-DE" sz="1000" dirty="0"/>
              <a:t>Hintergrund</a:t>
            </a:r>
          </a:p>
          <a:p>
            <a:pPr marL="88900" marR="0" lvl="2" indent="-88900" defTabSz="914400" fontAlgn="base">
              <a:buClrTx/>
              <a:buSzTx/>
              <a:buFont typeface="Arial" panose="020B0604020202020204" pitchFamily="34" charset="0"/>
              <a:buChar char="•"/>
              <a:tabLst/>
              <a:defRPr/>
            </a:pPr>
            <a:r>
              <a:rPr lang="de-DE" sz="1000" dirty="0"/>
              <a:t>Schrift</a:t>
            </a:r>
          </a:p>
        </p:txBody>
      </p:sp>
      <p:sp>
        <p:nvSpPr>
          <p:cNvPr id="45" name="Rechteck 44"/>
          <p:cNvSpPr/>
          <p:nvPr>
            <p:custDataLst>
              <p:tags r:id="rId22"/>
            </p:custDataLst>
          </p:nvPr>
        </p:nvSpPr>
        <p:spPr bwMode="auto">
          <a:xfrm>
            <a:off x="1233745"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Text grau</a:t>
            </a:r>
          </a:p>
          <a:p>
            <a:pPr marL="88900" lvl="2" indent="-88900" defTabSz="914400" fontAlgn="base">
              <a:buFont typeface="Arial" panose="020B0604020202020204" pitchFamily="34" charset="0"/>
              <a:buChar char="•"/>
              <a:defRPr/>
            </a:pPr>
            <a:r>
              <a:rPr lang="de-DE" sz="1000" dirty="0"/>
              <a:t>Linien</a:t>
            </a:r>
          </a:p>
        </p:txBody>
      </p:sp>
      <p:sp>
        <p:nvSpPr>
          <p:cNvPr id="48" name="Rechteck 47"/>
          <p:cNvSpPr/>
          <p:nvPr>
            <p:custDataLst>
              <p:tags r:id="rId23"/>
            </p:custDataLst>
          </p:nvPr>
        </p:nvSpPr>
        <p:spPr bwMode="auto">
          <a:xfrm>
            <a:off x="2186690"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Text</a:t>
            </a:r>
          </a:p>
          <a:p>
            <a:pPr marL="88900" lvl="2" indent="-88900" defTabSz="914400" fontAlgn="base">
              <a:buFont typeface="Arial" panose="020B0604020202020204" pitchFamily="34" charset="0"/>
              <a:buChar char="•"/>
              <a:defRPr/>
            </a:pPr>
            <a:r>
              <a:rPr lang="de-DE" sz="1000" dirty="0"/>
              <a:t>Akzente</a:t>
            </a:r>
          </a:p>
          <a:p>
            <a:pPr marL="88900" lvl="2" indent="-88900" defTabSz="914400" fontAlgn="base">
              <a:buFont typeface="Arial" panose="020B0604020202020204" pitchFamily="34" charset="0"/>
              <a:buChar char="•"/>
              <a:defRPr/>
            </a:pPr>
            <a:r>
              <a:rPr lang="de-DE" sz="1000" dirty="0"/>
              <a:t>Icons</a:t>
            </a:r>
          </a:p>
          <a:p>
            <a:pPr marL="88900" lvl="2" indent="-88900" defTabSz="914400" fontAlgn="base">
              <a:buFont typeface="Arial" panose="020B0604020202020204" pitchFamily="34" charset="0"/>
              <a:buChar char="•"/>
              <a:defRPr/>
            </a:pPr>
            <a:r>
              <a:rPr lang="de-DE" sz="1000" dirty="0"/>
              <a:t>Füllungen</a:t>
            </a:r>
          </a:p>
        </p:txBody>
      </p:sp>
      <p:sp>
        <p:nvSpPr>
          <p:cNvPr id="51" name="Rechteck 50"/>
          <p:cNvSpPr/>
          <p:nvPr>
            <p:custDataLst>
              <p:tags r:id="rId24"/>
            </p:custDataLst>
          </p:nvPr>
        </p:nvSpPr>
        <p:spPr bwMode="auto">
          <a:xfrm>
            <a:off x="3139635"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Füllungen</a:t>
            </a:r>
          </a:p>
        </p:txBody>
      </p:sp>
      <p:sp>
        <p:nvSpPr>
          <p:cNvPr id="54" name="Rechteck 53"/>
          <p:cNvSpPr/>
          <p:nvPr>
            <p:custDataLst>
              <p:tags r:id="rId25"/>
            </p:custDataLst>
          </p:nvPr>
        </p:nvSpPr>
        <p:spPr bwMode="auto">
          <a:xfrm>
            <a:off x="4092580"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Füllungen</a:t>
            </a:r>
          </a:p>
        </p:txBody>
      </p:sp>
      <p:sp>
        <p:nvSpPr>
          <p:cNvPr id="57" name="Rechteck 56"/>
          <p:cNvSpPr/>
          <p:nvPr>
            <p:custDataLst>
              <p:tags r:id="rId26"/>
            </p:custDataLst>
          </p:nvPr>
        </p:nvSpPr>
        <p:spPr bwMode="auto">
          <a:xfrm>
            <a:off x="5045525"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Alternative u. Kontrastfarbe zu orange</a:t>
            </a:r>
          </a:p>
          <a:p>
            <a:pPr marL="88900" lvl="2" indent="-88900" defTabSz="914400" fontAlgn="base">
              <a:buFont typeface="Arial" panose="020B0604020202020204" pitchFamily="34" charset="0"/>
              <a:buChar char="•"/>
              <a:defRPr/>
            </a:pPr>
            <a:r>
              <a:rPr lang="de-DE" sz="1000" dirty="0"/>
              <a:t>Akzente</a:t>
            </a:r>
          </a:p>
          <a:p>
            <a:pPr marL="88900" lvl="2" indent="-88900" defTabSz="914400" fontAlgn="base">
              <a:buFont typeface="Arial" panose="020B0604020202020204" pitchFamily="34" charset="0"/>
              <a:buChar char="•"/>
              <a:defRPr/>
            </a:pPr>
            <a:r>
              <a:rPr lang="de-DE" sz="1000" dirty="0"/>
              <a:t>Füllungen</a:t>
            </a:r>
          </a:p>
        </p:txBody>
      </p:sp>
      <p:sp>
        <p:nvSpPr>
          <p:cNvPr id="60" name="Rechteck 59"/>
          <p:cNvSpPr/>
          <p:nvPr>
            <p:custDataLst>
              <p:tags r:id="rId27"/>
            </p:custDataLst>
          </p:nvPr>
        </p:nvSpPr>
        <p:spPr bwMode="auto">
          <a:xfrm>
            <a:off x="5998470"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Alternative u. Kontrastfarbe zu orange</a:t>
            </a:r>
          </a:p>
          <a:p>
            <a:pPr marL="88900" lvl="2" indent="-88900" defTabSz="914400" fontAlgn="base">
              <a:buFont typeface="Arial" panose="020B0604020202020204" pitchFamily="34" charset="0"/>
              <a:buChar char="•"/>
              <a:defRPr/>
            </a:pPr>
            <a:r>
              <a:rPr lang="de-DE" sz="1000" dirty="0"/>
              <a:t>Akzente</a:t>
            </a:r>
          </a:p>
          <a:p>
            <a:pPr marL="88900" lvl="2" indent="-88900" defTabSz="914400" fontAlgn="base">
              <a:buFont typeface="Arial" panose="020B0604020202020204" pitchFamily="34" charset="0"/>
              <a:buChar char="•"/>
              <a:defRPr/>
            </a:pPr>
            <a:r>
              <a:rPr lang="de-DE" sz="1000" dirty="0"/>
              <a:t>Füllungen</a:t>
            </a:r>
          </a:p>
        </p:txBody>
      </p:sp>
      <p:sp>
        <p:nvSpPr>
          <p:cNvPr id="63" name="Rechteck 62"/>
          <p:cNvSpPr/>
          <p:nvPr>
            <p:custDataLst>
              <p:tags r:id="rId28"/>
            </p:custDataLst>
          </p:nvPr>
        </p:nvSpPr>
        <p:spPr bwMode="auto">
          <a:xfrm>
            <a:off x="6951415"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Alternative u. Kontrastfarbe zu orange</a:t>
            </a:r>
          </a:p>
          <a:p>
            <a:pPr marL="88900" lvl="2" indent="-88900" defTabSz="914400" fontAlgn="base">
              <a:buFont typeface="Arial" panose="020B0604020202020204" pitchFamily="34" charset="0"/>
              <a:buChar char="•"/>
              <a:defRPr/>
            </a:pPr>
            <a:r>
              <a:rPr lang="de-DE" sz="1000" dirty="0"/>
              <a:t>Akzente</a:t>
            </a:r>
          </a:p>
          <a:p>
            <a:pPr marL="88900" lvl="2" indent="-88900" defTabSz="914400" fontAlgn="base">
              <a:buFont typeface="Arial" panose="020B0604020202020204" pitchFamily="34" charset="0"/>
              <a:buChar char="•"/>
              <a:defRPr/>
            </a:pPr>
            <a:r>
              <a:rPr lang="de-DE" sz="1000" dirty="0"/>
              <a:t>Icons</a:t>
            </a:r>
          </a:p>
          <a:p>
            <a:pPr marL="88900" lvl="2" indent="-88900" defTabSz="914400" fontAlgn="base">
              <a:buFont typeface="Arial" panose="020B0604020202020204" pitchFamily="34" charset="0"/>
              <a:buChar char="•"/>
              <a:defRPr/>
            </a:pPr>
            <a:r>
              <a:rPr lang="de-DE" sz="1000" dirty="0"/>
              <a:t>Füllungen</a:t>
            </a:r>
          </a:p>
        </p:txBody>
      </p:sp>
      <p:sp>
        <p:nvSpPr>
          <p:cNvPr id="66" name="Rechteck 65"/>
          <p:cNvSpPr/>
          <p:nvPr>
            <p:custDataLst>
              <p:tags r:id="rId29"/>
            </p:custDataLst>
          </p:nvPr>
        </p:nvSpPr>
        <p:spPr bwMode="auto">
          <a:xfrm>
            <a:off x="7904360"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Hauptfarbe für Füllungen</a:t>
            </a:r>
          </a:p>
        </p:txBody>
      </p:sp>
      <p:sp>
        <p:nvSpPr>
          <p:cNvPr id="69" name="Rechteck 68"/>
          <p:cNvSpPr/>
          <p:nvPr>
            <p:custDataLst>
              <p:tags r:id="rId30"/>
            </p:custDataLst>
          </p:nvPr>
        </p:nvSpPr>
        <p:spPr bwMode="auto">
          <a:xfrm>
            <a:off x="8857306" y="5229200"/>
            <a:ext cx="787094" cy="10080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88900" lvl="2" indent="-88900" defTabSz="914400" fontAlgn="base">
              <a:buFont typeface="Arial" panose="020B0604020202020204" pitchFamily="34" charset="0"/>
              <a:buChar char="•"/>
              <a:defRPr/>
            </a:pPr>
            <a:r>
              <a:rPr lang="de-DE" sz="1000" dirty="0"/>
              <a:t>Linien</a:t>
            </a:r>
          </a:p>
        </p:txBody>
      </p:sp>
    </p:spTree>
    <p:extLst>
      <p:ext uri="{BB962C8B-B14F-4D97-AF65-F5344CB8AC3E}">
        <p14:creationId xmlns:p14="http://schemas.microsoft.com/office/powerpoint/2010/main" val="3738401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Arbeitsplatz“</a:t>
            </a:r>
            <a:endParaRPr lang="de-DE" dirty="0"/>
          </a:p>
        </p:txBody>
      </p:sp>
      <p:sp>
        <p:nvSpPr>
          <p:cNvPr id="15" name="Inhaltsplatzhalter 14"/>
          <p:cNvSpPr>
            <a:spLocks noGrp="1"/>
          </p:cNvSpPr>
          <p:nvPr>
            <p:ph idx="1"/>
          </p:nvPr>
        </p:nvSpPr>
        <p:spPr>
          <a:xfrm>
            <a:off x="284400" y="1627200"/>
            <a:ext cx="9360000" cy="4608000"/>
          </a:xfrm>
        </p:spPr>
        <p:txBody>
          <a:bodyPr/>
          <a:lstStyle/>
          <a:p>
            <a:pPr lvl="2"/>
            <a:r>
              <a:rPr lang="de-DE" dirty="0"/>
              <a:t>Mit der rechten Maustaste außerhalb der Seite klicken</a:t>
            </a:r>
          </a:p>
          <a:p>
            <a:pPr lvl="2"/>
            <a:r>
              <a:rPr lang="de-DE" dirty="0">
                <a:solidFill>
                  <a:schemeClr val="bg2"/>
                </a:solidFill>
              </a:rPr>
              <a:t>Raster und Führungslinien </a:t>
            </a:r>
            <a:r>
              <a:rPr lang="de-DE" dirty="0"/>
              <a:t>auswählen</a:t>
            </a:r>
          </a:p>
          <a:p>
            <a:pPr lvl="2"/>
            <a:r>
              <a:rPr lang="de-DE" dirty="0">
                <a:solidFill>
                  <a:schemeClr val="bg2"/>
                </a:solidFill>
              </a:rPr>
              <a:t>Zeichnungslinien auf dem Bildschirm anzeigen </a:t>
            </a:r>
            <a:r>
              <a:rPr lang="de-DE" dirty="0"/>
              <a:t>auswählen</a:t>
            </a:r>
          </a:p>
          <a:p>
            <a:endParaRPr lang="de-DE" dirty="0"/>
          </a:p>
        </p:txBody>
      </p:sp>
      <p:sp>
        <p:nvSpPr>
          <p:cNvPr id="3" name="Textplatzhalter 2"/>
          <p:cNvSpPr>
            <a:spLocks noGrp="1"/>
          </p:cNvSpPr>
          <p:nvPr>
            <p:ph type="body" sz="quarter" idx="13"/>
          </p:nvPr>
        </p:nvSpPr>
        <p:spPr/>
        <p:txBody>
          <a:bodyPr/>
          <a:lstStyle/>
          <a:p>
            <a:r>
              <a:rPr lang="de-DE"/>
              <a:t>Die Führungslinien für den „Arbeitsplatz“ (orange markiert) sind voreingestellt</a:t>
            </a:r>
            <a:endParaRPr lang="de-DE" dirty="0"/>
          </a:p>
        </p:txBody>
      </p:sp>
      <p:sp>
        <p:nvSpPr>
          <p:cNvPr id="16" name="Textplatzhalter 15"/>
          <p:cNvSpPr>
            <a:spLocks noGrp="1"/>
          </p:cNvSpPr>
          <p:nvPr>
            <p:ph type="body" sz="quarter" idx="14"/>
          </p:nvPr>
        </p:nvSpPr>
        <p:spPr/>
        <p:txBody>
          <a:bodyPr/>
          <a:lstStyle/>
          <a:p>
            <a:pPr>
              <a:spcAft>
                <a:spcPts val="0"/>
              </a:spcAft>
            </a:pPr>
            <a:endParaRPr lang="de-DE"/>
          </a:p>
        </p:txBody>
      </p:sp>
      <p:sp>
        <p:nvSpPr>
          <p:cNvPr id="5" name="Datumsplatzhalter 4"/>
          <p:cNvSpPr>
            <a:spLocks noGrp="1"/>
          </p:cNvSpPr>
          <p:nvPr>
            <p:ph type="dt" sz="half" idx="2"/>
          </p:nvPr>
        </p:nvSpPr>
        <p:spPr/>
        <p:txBody>
          <a:bodyPr/>
          <a:lstStyle/>
          <a:p>
            <a:fld id="{CF32F9A3-B640-47EB-9998-4A0D7AF4BCF1}" type="datetime1">
              <a:rPr lang="de-DE" smtClean="0"/>
              <a:t>04.05.2020</a:t>
            </a:fld>
            <a:endParaRPr lang="de-DE" dirty="0"/>
          </a:p>
        </p:txBody>
      </p:sp>
      <p:sp>
        <p:nvSpPr>
          <p:cNvPr id="6" name="Foliennummernplatzhalter 5"/>
          <p:cNvSpPr>
            <a:spLocks noGrp="1"/>
          </p:cNvSpPr>
          <p:nvPr>
            <p:ph type="sldNum" sz="quarter" idx="4"/>
          </p:nvPr>
        </p:nvSpPr>
        <p:spPr/>
        <p:txBody>
          <a:bodyPr/>
          <a:lstStyle/>
          <a:p>
            <a:fld id="{60F8E2DC-8382-49B6-A2A6-01CCC12CBD17}" type="slidenum">
              <a:rPr lang="de-DE" smtClean="0"/>
              <a:pPr/>
              <a:t>8</a:t>
            </a:fld>
            <a:endParaRPr lang="de-DE" dirty="0"/>
          </a:p>
        </p:txBody>
      </p:sp>
      <p:pic>
        <p:nvPicPr>
          <p:cNvPr id="9" name="Snagit_PPT6C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1841" y="1628775"/>
            <a:ext cx="3832560" cy="2647492"/>
          </a:xfrm>
          <a:prstGeom prst="rect">
            <a:avLst/>
          </a:prstGeom>
        </p:spPr>
      </p:pic>
      <p:grpSp>
        <p:nvGrpSpPr>
          <p:cNvPr id="12" name="Gruppieren 11"/>
          <p:cNvGrpSpPr/>
          <p:nvPr/>
        </p:nvGrpSpPr>
        <p:grpSpPr>
          <a:xfrm>
            <a:off x="284400" y="3145833"/>
            <a:ext cx="3676190" cy="2314286"/>
            <a:chOff x="280800" y="1376363"/>
            <a:chExt cx="3676190" cy="2314286"/>
          </a:xfrm>
        </p:grpSpPr>
        <p:pic>
          <p:nvPicPr>
            <p:cNvPr id="10" name="Snagit_PPTCFC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800" y="1376363"/>
              <a:ext cx="3676190" cy="2314286"/>
            </a:xfrm>
            <a:prstGeom prst="rect">
              <a:avLst/>
            </a:prstGeom>
          </p:spPr>
        </p:pic>
        <p:sp>
          <p:nvSpPr>
            <p:cNvPr id="11" name="Rechteck 10"/>
            <p:cNvSpPr/>
            <p:nvPr/>
          </p:nvSpPr>
          <p:spPr>
            <a:xfrm>
              <a:off x="344488" y="2940184"/>
              <a:ext cx="2664296" cy="22088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3939355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1.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2.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3.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4.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5.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6.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7.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8.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09.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mtQbJrPT8eUZKlkAXDBEg"/>
</p:tagLst>
</file>

<file path=ppt/tags/tag110.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1.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2.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3.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4.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5.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116.xml><?xml version="1.0" encoding="utf-8"?>
<p:tagLst xmlns:a="http://schemas.openxmlformats.org/drawingml/2006/main" xmlns:r="http://schemas.openxmlformats.org/officeDocument/2006/relationships" xmlns:p="http://schemas.openxmlformats.org/presentationml/2006/main">
  <p:tag name="EASYCOUNT" val=";2181.;2182.;2183.;2099.;2100.;2101.;2060.;2061.;2062.;1904.;1905.;1906.;1893.;1894.;1895.;1860.;1861.;1862.;1824.;1825.;1826.;1516.;1517.;1518.;526."/>
</p:tagLst>
</file>

<file path=ppt/tags/tag117.xml><?xml version="1.0" encoding="utf-8"?>
<p:tagLst xmlns:a="http://schemas.openxmlformats.org/drawingml/2006/main" xmlns:r="http://schemas.openxmlformats.org/officeDocument/2006/relationships" xmlns:p="http://schemas.openxmlformats.org/presentationml/2006/main">
  <p:tag name="EASYCOUNT" val=";2184.;2185.;2186.;2187.;2102.;2103.;2104.;2105.;2063.;2064.;2065.;2066.;1907.;1908.;1909.;1910.;1896.;1897.;1898.;1899.;1863.;1864.;1865.;1866.;1827.;1828.;1829.;1830.;1519.;1520.;1521.;1522.;527.;528.;335.;281.;276."/>
</p:tagLst>
</file>

<file path=ppt/tags/tag118.xml><?xml version="1.0" encoding="utf-8"?>
<p:tagLst xmlns:a="http://schemas.openxmlformats.org/drawingml/2006/main" xmlns:r="http://schemas.openxmlformats.org/officeDocument/2006/relationships" xmlns:p="http://schemas.openxmlformats.org/presentationml/2006/main">
  <p:tag name="EASYCOUNT" val=";2188.;2189.;2190.;2106.;2107.;2108.;2067.;2068.;2069.;1911.;1912.;1913.;1900.;1901.;1902.;1867.;1868.;1869.;1831.;1832.;1833.;1523.;1524.;1525.;529."/>
</p:tagLst>
</file>

<file path=ppt/tags/tag119.xml><?xml version="1.0" encoding="utf-8"?>
<p:tagLst xmlns:a="http://schemas.openxmlformats.org/drawingml/2006/main" xmlns:r="http://schemas.openxmlformats.org/officeDocument/2006/relationships" xmlns:p="http://schemas.openxmlformats.org/presentationml/2006/main">
  <p:tag name="EASYCHECK" val=";OWFC"/>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ASYCHECK" val=";OWLC"/>
</p:tagLst>
</file>

<file path=ppt/tags/tag121.xml><?xml version="1.0" encoding="utf-8"?>
<p:tagLst xmlns:a="http://schemas.openxmlformats.org/drawingml/2006/main" xmlns:r="http://schemas.openxmlformats.org/officeDocument/2006/relationships" xmlns:p="http://schemas.openxmlformats.org/presentationml/2006/main">
  <p:tag name="EASYCHECK" val=";OWFC"/>
</p:tagLst>
</file>

<file path=ppt/tags/tag122.xml><?xml version="1.0" encoding="utf-8"?>
<p:tagLst xmlns:a="http://schemas.openxmlformats.org/drawingml/2006/main" xmlns:r="http://schemas.openxmlformats.org/officeDocument/2006/relationships" xmlns:p="http://schemas.openxmlformats.org/presentationml/2006/main">
  <p:tag name="EASYCHECK" val=";OWFC"/>
</p:tagLst>
</file>

<file path=ppt/tags/tag123.xml><?xml version="1.0" encoding="utf-8"?>
<p:tagLst xmlns:a="http://schemas.openxmlformats.org/drawingml/2006/main" xmlns:r="http://schemas.openxmlformats.org/officeDocument/2006/relationships" xmlns:p="http://schemas.openxmlformats.org/presentationml/2006/main">
  <p:tag name="EASYCHECK" val=";OWFC"/>
</p:tagLst>
</file>

<file path=ppt/tags/tag124.xml><?xml version="1.0" encoding="utf-8"?>
<p:tagLst xmlns:a="http://schemas.openxmlformats.org/drawingml/2006/main" xmlns:r="http://schemas.openxmlformats.org/officeDocument/2006/relationships" xmlns:p="http://schemas.openxmlformats.org/presentationml/2006/main">
  <p:tag name="EASYCHECK" val=";OWFC"/>
</p:tagLst>
</file>

<file path=ppt/tags/tag125.xml><?xml version="1.0" encoding="utf-8"?>
<p:tagLst xmlns:a="http://schemas.openxmlformats.org/drawingml/2006/main" xmlns:r="http://schemas.openxmlformats.org/officeDocument/2006/relationships" xmlns:p="http://schemas.openxmlformats.org/presentationml/2006/main">
  <p:tag name="EASYCHECK" val=";OOWS"/>
</p:tagLst>
</file>

<file path=ppt/tags/tag126.xml><?xml version="1.0" encoding="utf-8"?>
<p:tagLst xmlns:a="http://schemas.openxmlformats.org/drawingml/2006/main" xmlns:r="http://schemas.openxmlformats.org/officeDocument/2006/relationships" xmlns:p="http://schemas.openxmlformats.org/presentationml/2006/main">
  <p:tag name="EASYCHECK" val=";OWFC"/>
</p:tagLst>
</file>

<file path=ppt/tags/tag127.xml><?xml version="1.0" encoding="utf-8"?>
<p:tagLst xmlns:a="http://schemas.openxmlformats.org/drawingml/2006/main" xmlns:r="http://schemas.openxmlformats.org/officeDocument/2006/relationships" xmlns:p="http://schemas.openxmlformats.org/presentationml/2006/main">
  <p:tag name="EASYCHECK" val=";OWFC"/>
</p:tagLst>
</file>

<file path=ppt/tags/tag128.xml><?xml version="1.0" encoding="utf-8"?>
<p:tagLst xmlns:a="http://schemas.openxmlformats.org/drawingml/2006/main" xmlns:r="http://schemas.openxmlformats.org/officeDocument/2006/relationships" xmlns:p="http://schemas.openxmlformats.org/presentationml/2006/main">
  <p:tag name="EASYCHECK" val=";OOWS"/>
</p:tagLst>
</file>

<file path=ppt/tags/tag129.xml><?xml version="1.0" encoding="utf-8"?>
<p:tagLst xmlns:a="http://schemas.openxmlformats.org/drawingml/2006/main" xmlns:r="http://schemas.openxmlformats.org/officeDocument/2006/relationships" xmlns:p="http://schemas.openxmlformats.org/presentationml/2006/main">
  <p:tag name="EASYCHECK" val=";OWFC"/>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mtQbJrPT8eUZKlkAXDBEg"/>
</p:tagLst>
</file>

<file path=ppt/tags/tag130.xml><?xml version="1.0" encoding="utf-8"?>
<p:tagLst xmlns:a="http://schemas.openxmlformats.org/drawingml/2006/main" xmlns:r="http://schemas.openxmlformats.org/officeDocument/2006/relationships" xmlns:p="http://schemas.openxmlformats.org/presentationml/2006/main">
  <p:tag name="EASYCHECK" val=";OWFC"/>
</p:tagLst>
</file>

<file path=ppt/tags/tag131.xml><?xml version="1.0" encoding="utf-8"?>
<p:tagLst xmlns:a="http://schemas.openxmlformats.org/drawingml/2006/main" xmlns:r="http://schemas.openxmlformats.org/officeDocument/2006/relationships" xmlns:p="http://schemas.openxmlformats.org/presentationml/2006/main">
  <p:tag name="EASYCHECK" val=";OWFC"/>
</p:tagLst>
</file>

<file path=ppt/tags/tag132.xml><?xml version="1.0" encoding="utf-8"?>
<p:tagLst xmlns:a="http://schemas.openxmlformats.org/drawingml/2006/main" xmlns:r="http://schemas.openxmlformats.org/officeDocument/2006/relationships" xmlns:p="http://schemas.openxmlformats.org/presentationml/2006/main">
  <p:tag name="EASYCHECK" val=";OWFC"/>
</p:tagLst>
</file>

<file path=ppt/tags/tag133.xml><?xml version="1.0" encoding="utf-8"?>
<p:tagLst xmlns:a="http://schemas.openxmlformats.org/drawingml/2006/main" xmlns:r="http://schemas.openxmlformats.org/officeDocument/2006/relationships" xmlns:p="http://schemas.openxmlformats.org/presentationml/2006/main">
  <p:tag name="EASYCHECK" val=";OOWS"/>
</p:tagLst>
</file>

<file path=ppt/tags/tag134.xml><?xml version="1.0" encoding="utf-8"?>
<p:tagLst xmlns:a="http://schemas.openxmlformats.org/drawingml/2006/main" xmlns:r="http://schemas.openxmlformats.org/officeDocument/2006/relationships" xmlns:p="http://schemas.openxmlformats.org/presentationml/2006/main">
  <p:tag name="EASYCHECK" val=";OWFC"/>
</p:tagLst>
</file>

<file path=ppt/tags/tag135.xml><?xml version="1.0" encoding="utf-8"?>
<p:tagLst xmlns:a="http://schemas.openxmlformats.org/drawingml/2006/main" xmlns:r="http://schemas.openxmlformats.org/officeDocument/2006/relationships" xmlns:p="http://schemas.openxmlformats.org/presentationml/2006/main">
  <p:tag name="EASYCHECK" val=";OWFC"/>
</p:tagLst>
</file>

<file path=ppt/tags/tag136.xml><?xml version="1.0" encoding="utf-8"?>
<p:tagLst xmlns:a="http://schemas.openxmlformats.org/drawingml/2006/main" xmlns:r="http://schemas.openxmlformats.org/officeDocument/2006/relationships" xmlns:p="http://schemas.openxmlformats.org/presentationml/2006/main">
  <p:tag name="EASYCHECK" val=";OWFC"/>
</p:tagLst>
</file>

<file path=ppt/tags/tag137.xml><?xml version="1.0" encoding="utf-8"?>
<p:tagLst xmlns:a="http://schemas.openxmlformats.org/drawingml/2006/main" xmlns:r="http://schemas.openxmlformats.org/officeDocument/2006/relationships" xmlns:p="http://schemas.openxmlformats.org/presentationml/2006/main">
  <p:tag name="EASYCHECK" val=";ONGR"/>
</p:tagLst>
</file>

<file path=ppt/tags/tag138.xml><?xml version="1.0" encoding="utf-8"?>
<p:tagLst xmlns:a="http://schemas.openxmlformats.org/drawingml/2006/main" xmlns:r="http://schemas.openxmlformats.org/officeDocument/2006/relationships" xmlns:p="http://schemas.openxmlformats.org/presentationml/2006/main">
  <p:tag name="EASYCHECK" val=";ONGR"/>
</p:tagLst>
</file>

<file path=ppt/tags/tag139.xml><?xml version="1.0" encoding="utf-8"?>
<p:tagLst xmlns:a="http://schemas.openxmlformats.org/drawingml/2006/main" xmlns:r="http://schemas.openxmlformats.org/officeDocument/2006/relationships" xmlns:p="http://schemas.openxmlformats.org/presentationml/2006/main">
  <p:tag name="EASYCHECK" val=";OWFC"/>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ASYCHECK" val=";ONGR"/>
</p:tagLst>
</file>

<file path=ppt/tags/tag141.xml><?xml version="1.0" encoding="utf-8"?>
<p:tagLst xmlns:a="http://schemas.openxmlformats.org/drawingml/2006/main" xmlns:r="http://schemas.openxmlformats.org/officeDocument/2006/relationships" xmlns:p="http://schemas.openxmlformats.org/presentationml/2006/main">
  <p:tag name="EASYCHECK" val=";OWFC"/>
</p:tagLst>
</file>

<file path=ppt/tags/tag142.xml><?xml version="1.0" encoding="utf-8"?>
<p:tagLst xmlns:a="http://schemas.openxmlformats.org/drawingml/2006/main" xmlns:r="http://schemas.openxmlformats.org/officeDocument/2006/relationships" xmlns:p="http://schemas.openxmlformats.org/presentationml/2006/main">
  <p:tag name="EASYCHECK" val=";ONGR"/>
</p:tagLst>
</file>

<file path=ppt/tags/tag143.xml><?xml version="1.0" encoding="utf-8"?>
<p:tagLst xmlns:a="http://schemas.openxmlformats.org/drawingml/2006/main" xmlns:r="http://schemas.openxmlformats.org/officeDocument/2006/relationships" xmlns:p="http://schemas.openxmlformats.org/presentationml/2006/main">
  <p:tag name="EASYCHECK" val=";OWFC"/>
</p:tagLst>
</file>

<file path=ppt/tags/tag144.xml><?xml version="1.0" encoding="utf-8"?>
<p:tagLst xmlns:a="http://schemas.openxmlformats.org/drawingml/2006/main" xmlns:r="http://schemas.openxmlformats.org/officeDocument/2006/relationships" xmlns:p="http://schemas.openxmlformats.org/presentationml/2006/main">
  <p:tag name="EASYCHECK" val=";ONGR"/>
</p:tagLst>
</file>

<file path=ppt/tags/tag145.xml><?xml version="1.0" encoding="utf-8"?>
<p:tagLst xmlns:a="http://schemas.openxmlformats.org/drawingml/2006/main" xmlns:r="http://schemas.openxmlformats.org/officeDocument/2006/relationships" xmlns:p="http://schemas.openxmlformats.org/presentationml/2006/main">
  <p:tag name="EASYCHECK" val=";ONGR"/>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pGT8LyrR8WyQSgtC_xYBg"/>
</p:tagLst>
</file>

<file path=ppt/tags/tag148.xml><?xml version="1.0" encoding="utf-8"?>
<p:tagLst xmlns:a="http://schemas.openxmlformats.org/drawingml/2006/main" xmlns:r="http://schemas.openxmlformats.org/officeDocument/2006/relationships" xmlns:p="http://schemas.openxmlformats.org/presentationml/2006/main">
  <p:tag name="EASYCOUNT" val=";2162.;2163.;2083.;2084.;2044.;2045.;1888.;1889.;1877.;1878.;1844.;1845.;1808.;1809.;1503.;1504."/>
</p:tagLst>
</file>

<file path=ppt/tags/tag149.xml><?xml version="1.0" encoding="utf-8"?>
<p:tagLst xmlns:a="http://schemas.openxmlformats.org/drawingml/2006/main" xmlns:r="http://schemas.openxmlformats.org/officeDocument/2006/relationships" xmlns:p="http://schemas.openxmlformats.org/presentationml/2006/main">
  <p:tag name="EASYCHECK" val=";ODPC"/>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mtQbJrPT8eUZKlkAXDBEg"/>
</p:tagLst>
</file>

<file path=ppt/tags/tag150.xml><?xml version="1.0" encoding="utf-8"?>
<p:tagLst xmlns:a="http://schemas.openxmlformats.org/drawingml/2006/main" xmlns:r="http://schemas.openxmlformats.org/officeDocument/2006/relationships" xmlns:p="http://schemas.openxmlformats.org/presentationml/2006/main">
  <p:tag name="EASYCHECK" val=";ODPC"/>
</p:tagLst>
</file>

<file path=ppt/tags/tag151.xml><?xml version="1.0" encoding="utf-8"?>
<p:tagLst xmlns:a="http://schemas.openxmlformats.org/drawingml/2006/main" xmlns:r="http://schemas.openxmlformats.org/officeDocument/2006/relationships" xmlns:p="http://schemas.openxmlformats.org/presentationml/2006/main">
  <p:tag name="EASYCHECK" val=";ODPC"/>
</p:tagLst>
</file>

<file path=ppt/tags/tag152.xml><?xml version="1.0" encoding="utf-8"?>
<p:tagLst xmlns:a="http://schemas.openxmlformats.org/drawingml/2006/main" xmlns:r="http://schemas.openxmlformats.org/officeDocument/2006/relationships" xmlns:p="http://schemas.openxmlformats.org/presentationml/2006/main">
  <p:tag name="EASYCHECK" val=";TWFS"/>
</p:tagLst>
</file>

<file path=ppt/tags/tag153.xml><?xml version="1.0" encoding="utf-8"?>
<p:tagLst xmlns:a="http://schemas.openxmlformats.org/drawingml/2006/main" xmlns:r="http://schemas.openxmlformats.org/officeDocument/2006/relationships" xmlns:p="http://schemas.openxmlformats.org/presentationml/2006/main">
  <p:tag name="EASYCOUNT" val=";2171.;2091.;2052.;1896.;1885.;1852.;1816.;1510.;522.;333.;279."/>
</p:tagLst>
</file>

<file path=ppt/tags/tag154.xml><?xml version="1.0" encoding="utf-8"?>
<p:tagLst xmlns:a="http://schemas.openxmlformats.org/drawingml/2006/main" xmlns:r="http://schemas.openxmlformats.org/officeDocument/2006/relationships" xmlns:p="http://schemas.openxmlformats.org/presentationml/2006/main">
  <p:tag name="EASYCOUNT" val=";2172.;2092.;2053.;1897.;1886.;1853.;1817."/>
</p:tagLst>
</file>

<file path=ppt/tags/tag155.xml><?xml version="1.0" encoding="utf-8"?>
<p:tagLst xmlns:a="http://schemas.openxmlformats.org/drawingml/2006/main" xmlns:r="http://schemas.openxmlformats.org/officeDocument/2006/relationships" xmlns:p="http://schemas.openxmlformats.org/presentationml/2006/main">
  <p:tag name="EASYCOUNT" val=";2173.;2174.;2093.;2094.;2054.;2055.;1898.;1899.;1887.;1888.;1854.;1855.;1818.;1819.;1511.;1512.;523."/>
</p:tagLst>
</file>

<file path=ppt/tags/tag156.xml><?xml version="1.0" encoding="utf-8"?>
<p:tagLst xmlns:a="http://schemas.openxmlformats.org/drawingml/2006/main" xmlns:r="http://schemas.openxmlformats.org/officeDocument/2006/relationships" xmlns:p="http://schemas.openxmlformats.org/presentationml/2006/main">
  <p:tag name="EASYCHECK" val=";OWLC;OWFC"/>
</p:tagLst>
</file>

<file path=ppt/tags/tag157.xml><?xml version="1.0" encoding="utf-8"?>
<p:tagLst xmlns:a="http://schemas.openxmlformats.org/drawingml/2006/main" xmlns:r="http://schemas.openxmlformats.org/officeDocument/2006/relationships" xmlns:p="http://schemas.openxmlformats.org/presentationml/2006/main">
  <p:tag name="EASYCHECK" val=";ODPC"/>
</p:tagLst>
</file>

<file path=ppt/tags/tag158.xml><?xml version="1.0" encoding="utf-8"?>
<p:tagLst xmlns:a="http://schemas.openxmlformats.org/drawingml/2006/main" xmlns:r="http://schemas.openxmlformats.org/officeDocument/2006/relationships" xmlns:p="http://schemas.openxmlformats.org/presentationml/2006/main">
  <p:tag name="EASYCHECK" val=";ODPC"/>
</p:tagLst>
</file>

<file path=ppt/tags/tag159.xml><?xml version="1.0" encoding="utf-8"?>
<p:tagLst xmlns:a="http://schemas.openxmlformats.org/drawingml/2006/main" xmlns:r="http://schemas.openxmlformats.org/officeDocument/2006/relationships" xmlns:p="http://schemas.openxmlformats.org/presentationml/2006/main">
  <p:tag name="EASYCHECK" val=";ODPC"/>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ASYCOUNT" val=";2162.;2163.;2083.;2084.;2044.;2045.;1888.;1889.;1877.;1878.;1844.;1845.;1808.;1809.;1503.;1504."/>
</p:tagLst>
</file>

<file path=ppt/tags/tag161.xml><?xml version="1.0" encoding="utf-8"?>
<p:tagLst xmlns:a="http://schemas.openxmlformats.org/drawingml/2006/main" xmlns:r="http://schemas.openxmlformats.org/officeDocument/2006/relationships" xmlns:p="http://schemas.openxmlformats.org/presentationml/2006/main">
  <p:tag name="EASYCHECK" val=";ODPC"/>
</p:tagLst>
</file>

<file path=ppt/tags/tag162.xml><?xml version="1.0" encoding="utf-8"?>
<p:tagLst xmlns:a="http://schemas.openxmlformats.org/drawingml/2006/main" xmlns:r="http://schemas.openxmlformats.org/officeDocument/2006/relationships" xmlns:p="http://schemas.openxmlformats.org/presentationml/2006/main">
  <p:tag name="EASYCHECK" val=";OWFC"/>
</p:tagLst>
</file>

<file path=ppt/tags/tag163.xml><?xml version="1.0" encoding="utf-8"?>
<p:tagLst xmlns:a="http://schemas.openxmlformats.org/drawingml/2006/main" xmlns:r="http://schemas.openxmlformats.org/officeDocument/2006/relationships" xmlns:p="http://schemas.openxmlformats.org/presentationml/2006/main">
  <p:tag name="EASYCHECK" val=";ONGR"/>
</p:tagLst>
</file>

<file path=ppt/tags/tag164.xml><?xml version="1.0" encoding="utf-8"?>
<p:tagLst xmlns:a="http://schemas.openxmlformats.org/drawingml/2006/main" xmlns:r="http://schemas.openxmlformats.org/officeDocument/2006/relationships" xmlns:p="http://schemas.openxmlformats.org/presentationml/2006/main">
  <p:tag name="EASYCHECK" val=";OWFC"/>
</p:tagLst>
</file>

<file path=ppt/tags/tag165.xml><?xml version="1.0" encoding="utf-8"?>
<p:tagLst xmlns:a="http://schemas.openxmlformats.org/drawingml/2006/main" xmlns:r="http://schemas.openxmlformats.org/officeDocument/2006/relationships" xmlns:p="http://schemas.openxmlformats.org/presentationml/2006/main">
  <p:tag name="EASYCHECK" val=";ODPC"/>
</p:tagLst>
</file>

<file path=ppt/tags/tag166.xml><?xml version="1.0" encoding="utf-8"?>
<p:tagLst xmlns:a="http://schemas.openxmlformats.org/drawingml/2006/main" xmlns:r="http://schemas.openxmlformats.org/officeDocument/2006/relationships" xmlns:p="http://schemas.openxmlformats.org/presentationml/2006/main">
  <p:tag name="EASYCHECK" val=";ODPC"/>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TxXhAKA.UCM9E7oDsoSE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vfEatZnqkSCeJWQJGxx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h73Uhx7Tq2BXMRSG1.YD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KySFiHSUE.ydfuCRB28z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N7vTBVk1Ue2K3v.JNFi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5QeFhVN8vU6zE7eU60.P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xk1dYthhhESZ7RE.qioR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7vhJjRwQLKJ199Du7GVQ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K6C1OuqTx2MoUiOAqIsd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bIuo8wrRASLVHy3VwqZ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0ClhCripkS0bhKA8omU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vfEatZnqkSCeJWQJGxx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DKySFiHSUE.ydfuCRB28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N7vTBVk1Ue2K3v.JNFiQ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WC4QOZSRHSqCx9wez1Q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5QeFhVN8vU6zE7eU60.PG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k1dYthhhESZ7RE.qioR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lLnyAMU1kWXk7dAYjhW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oFXNYN1kGdpqPmaxju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x5N7RYMA0aP7xYhoyCb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fMhGqW.40m4TnBHBD2q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jVq2CtyNkCRjoi8e95A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szOoocqE0awLFL_8lO4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RyigyEonUKxedNPd1ka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iKfFLXpnU.GGn3H95fE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i0C0gL5jEWjMkuCnbfT7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l5yxLjJ_k.Kff_kISJJ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gpXJJypRO2vN_5GasWR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rdFvA1.KEGynPLES1VV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xa3J9OjrUu17ZTDC95V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t6yTO5B7UmbvjdSkH3y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TgwjFR6VkCEQhkAbcB_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5P84D10vUWzLmfiXGFr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jFaRo_vLECYSyTI37Ae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BTs9ohtu0KjxKZtiFCM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SdK6wjx9U29swe0H.10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NvhMzwZgk.y8OfERgM8M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0ClhCripkS0bhKA8omU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oFXNYN1kGdpqPmaxju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fMhGqW.40m4TnBHBD2q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szOoocqE0awLFL_8lO4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iKfFLXpnU.GGn3H95fE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l5yxLjJ_k.Kff_kISJJ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xa3J9OjrUu17ZTDC95V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TgwjFR6VkCEQhkAbcB_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jFaRo_vLECYSyTI37Ae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SdK6wjx9U29swe0H.10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iH0OTb.SE2YrYtlU4vf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CvZWu5HRwunyTskvunh6Q"/>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5cae4100-e1c6-4949-8308-7a8ff08b1482_TimeSlot"/>
  <p:tag name="EE4P_AGENDAWIZARD_CONTENT" val="/09:00 – 10:00"/>
  <p:tag name="EE4P_AGENDAWIZARD_PROPERTIES" val="597.5425/133.875/86.08252/27.56661"/>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e8e5a716-b513-4bac-bf19-4fbb6c0e0235_Topic"/>
  <p:tag name="EE4P_AGENDAWIZARD_CONTENT" val="/Zusammenfassung Tag 1"/>
  <p:tag name="EE4P_AGENDAWIZARD_PROPERTIES" val="57.37504/421.3496/380.6362/27.56661"/>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e8e5a716-b513-4bac-bf19-4fbb6c0e0235_ItemNo"/>
  <p:tag name="EE4P_AGENDAWIZARD_CONTENT" val="/7"/>
  <p:tag name="EE4P_AGENDAWIZARD_PROPERTIES" val="31.12504/421.3496/21.87504/27.56661"/>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e8e5a716-b513-4bac-bf19-4fbb6c0e0235_TimeSlot"/>
  <p:tag name="EE4P_AGENDAWIZARD_CONTENT" val="/17:15 – 18:00"/>
  <p:tag name="EE4P_AGENDAWIZARD_PROPERTIES" val="597.5425/421.3496/86.08252/27.56661"/>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14133b40-884f-4d43-a2fa-1da90531a0a1_Topic"/>
  <p:tag name="EE4P_AGENDAWIZARD_CONTENT" val="/Break Out Session II"/>
  <p:tag name="EE4P_AGENDAWIZARD_PROPERTIES" val="57.37504/389.408/380.6362/27.56661"/>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14133b40-884f-4d43-a2fa-1da90531a0a1_ItemNo"/>
  <p:tag name="EE4P_AGENDAWIZARD_CONTENT" val="/6"/>
  <p:tag name="EE4P_AGENDAWIZARD_PROPERTIES" val="31.12504/389.408/21.87504/27.56661"/>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14133b40-884f-4d43-a2fa-1da90531a0a1_TimeSlot"/>
  <p:tag name="EE4P_AGENDAWIZARD_CONTENT" val="/15:30 – 17:15"/>
  <p:tag name="EE4P_AGENDAWIZARD_PROPERTIES" val="597.5425/389.408/86.08252/27.56661"/>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Topic"/>
  <p:tag name="EE4P_AGENDAWIZARD_CONTENT" val="/Break Out Session I"/>
  <p:tag name="EE4P_AGENDAWIZARD_PROPERTIES" val="57.37504/325.5247/380.6362/27.56661"/>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ItemNo"/>
  <p:tag name="EE4P_AGENDAWIZARD_CONTENT" val="/5"/>
  <p:tag name="EE4P_AGENDAWIZARD_PROPERTIES" val="31.12504/325.5247/21.87504/27.5666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TimeSlot"/>
  <p:tag name="EE4P_AGENDAWIZARD_CONTENT" val="/13:15 – 15:00"/>
  <p:tag name="EE4P_AGENDAWIZARD_PROPERTIES" val="597.5425/325.5247/86.08252/27.56661"/>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60b22861-eeb7-42e0-b1fd-ff18e4c6dd97_Topic"/>
  <p:tag name="EE4P_AGENDAWIZARD_CONTENT" val="/Detailvorstellung Einzelthemen für &quot;Break Out Sessions&quot;"/>
  <p:tag name="EE4P_AGENDAWIZARD_PROPERTIES" val="57.37504/261.6415/380.6362/27.56661"/>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60b22861-eeb7-42e0-b1fd-ff18e4c6dd97_ItemNo"/>
  <p:tag name="EE4P_AGENDAWIZARD_CONTENT" val="/4"/>
  <p:tag name="EE4P_AGENDAWIZARD_PROPERTIES" val="31.12504/261.6415/21.87504/27.56661"/>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60b22861-eeb7-42e0-b1fd-ff18e4c6dd97_TimeSlot"/>
  <p:tag name="EE4P_AGENDAWIZARD_CONTENT" val="/12:00 – 12:15"/>
  <p:tag name="EE4P_AGENDAWIZARD_PROPERTIES" val="597.5425/261.6415/86.08252/27.56661"/>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c1dea4ad-15cd-4cf6-b5a0-2671326b5dd2_Topic"/>
  <p:tag name="EE4P_AGENDAWIZARD_CONTENT" val="/Vertragsschulung I – Plenum"/>
  <p:tag name="EE4P_AGENDAWIZARD_PROPERTIES" val="57.37504/229.6998/380.6362/27.56661"/>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c1dea4ad-15cd-4cf6-b5a0-2671326b5dd2_ItemNo"/>
  <p:tag name="EE4P_AGENDAWIZARD_CONTENT" val="/3"/>
  <p:tag name="EE4P_AGENDAWIZARD_PROPERTIES" val="31.12504/229.6998/21.87504/27.56661"/>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c1dea4ad-15cd-4cf6-b5a0-2671326b5dd2_TimeSlot"/>
  <p:tag name="EE4P_AGENDAWIZARD_CONTENT" val="/11:00 – 12:00"/>
  <p:tag name="EE4P_AGENDAWIZARD_PROPERTIES" val="597.5425/229.6998/86.08252/27.56661"/>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a8c75ba5-936a-43de-9391-23da25817fe2_Topic"/>
  <p:tag name="EE4P_AGENDAWIZARD_CONTENT" val="/Aktuelle Lage BS GmbH – ein Rückblick auf 2016"/>
  <p:tag name="EE4P_AGENDAWIZARD_PROPERTIES" val="57.37504/197.7583/380.6362/27.56661"/>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a8c75ba5-936a-43de-9391-23da25817fe2_ItemNo"/>
  <p:tag name="EE4P_AGENDAWIZARD_CONTENT" val="/2"/>
  <p:tag name="EE4P_AGENDAWIZARD_PROPERTIES" val="31.12504/197.7583/21.87504/27.56661"/>
</p:tagLst>
</file>

<file path=ppt/tags/tag69.xml><?xml version="1.0" encoding="utf-8"?>
<p:tagLst xmlns:a="http://schemas.openxmlformats.org/drawingml/2006/main" xmlns:r="http://schemas.openxmlformats.org/officeDocument/2006/relationships" xmlns:p="http://schemas.openxmlformats.org/presentationml/2006/main">
  <p:tag name="EE4P_AGENDAWIZARD" val="item_a8c75ba5-936a-43de-9391-23da25817fe2_TimeSlot"/>
  <p:tag name="EE4P_AGENDAWIZARD_CONTENT" val="/10:30 – 11:00"/>
  <p:tag name="EE4P_AGENDAWIZARD_PROPERTIES" val="597.5425/197.7583/86.08252/27.5666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mtQbJrPT8eUZKlkAXDBEg"/>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d35dae43-9d19-4e6b-a400-5b343bac87b0_Topic"/>
  <p:tag name="EE4P_AGENDAWIZARD_CONTENT" val="/Begrüßung, Vorstellung Ablauf &amp; Zielsetzung des Workshops"/>
  <p:tag name="EE4P_AGENDAWIZARD_PROPERTIES" val="57.37504/165.8166/380.6362/27.56661"/>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d35dae43-9d19-4e6b-a400-5b343bac87b0_ItemNo"/>
  <p:tag name="EE4P_AGENDAWIZARD_CONTENT" val="/1"/>
  <p:tag name="EE4P_AGENDAWIZARD_PROPERTIES" val="31.12504/165.8166/21.87504/27.56661"/>
</p:tagLst>
</file>

<file path=ppt/tags/tag72.xml><?xml version="1.0" encoding="utf-8"?>
<p:tagLst xmlns:a="http://schemas.openxmlformats.org/drawingml/2006/main" xmlns:r="http://schemas.openxmlformats.org/officeDocument/2006/relationships" xmlns:p="http://schemas.openxmlformats.org/presentationml/2006/main">
  <p:tag name="EE4P_AGENDAWIZARD" val="item_d35dae43-9d19-4e6b-a400-5b343bac87b0_TimeSlot"/>
  <p:tag name="EE4P_AGENDAWIZARD_CONTENT" val="/10:00 – 10:30"/>
  <p:tag name="EE4P_AGENDAWIZARD_PROPERTIES" val="597.5425/165.8166/86.08252/27.56661"/>
</p:tagLst>
</file>

<file path=ppt/tags/tag73.xml><?xml version="1.0" encoding="utf-8"?>
<p:tagLst xmlns:a="http://schemas.openxmlformats.org/drawingml/2006/main" xmlns:r="http://schemas.openxmlformats.org/officeDocument/2006/relationships" xmlns:p="http://schemas.openxmlformats.org/presentationml/2006/main">
  <p:tag name="EE4P_AGENDAWIZARD" val="item_60b22861-eeb7-42e0-b1fd-ff18e4c6dd97_TimeSlot"/>
  <p:tag name="EE4P_AGENDAWIZARD_CONTENT" val="/12:00 – 12:15"/>
  <p:tag name="EE4P_AGENDAWIZARD_PROPERTIES" val="597.5425/261.6415/86.08252/27.56661"/>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TimeSlot"/>
  <p:tag name="EE4P_AGENDAWIZARD_CONTENT" val="/13:15 – 15:00"/>
  <p:tag name="EE4P_AGENDAWIZARD_PROPERTIES" val="597.5425/325.5247/86.08252/27.56661"/>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c1dea4ad-15cd-4cf6-b5a0-2671326b5dd2_TimeSlot"/>
  <p:tag name="EE4P_AGENDAWIZARD_CONTENT" val="/11:00 – 12:00"/>
  <p:tag name="EE4P_AGENDAWIZARD_PROPERTIES" val="597.5425/229.6998/86.08252/27.56661"/>
</p:tagLst>
</file>

<file path=ppt/tags/tag76.xml><?xml version="1.0" encoding="utf-8"?>
<p:tagLst xmlns:a="http://schemas.openxmlformats.org/drawingml/2006/main" xmlns:r="http://schemas.openxmlformats.org/officeDocument/2006/relationships" xmlns:p="http://schemas.openxmlformats.org/presentationml/2006/main">
  <p:tag name="EE4P_AGENDAWIZARD" val="item_a8c75ba5-936a-43de-9391-23da25817fe2_TimeSlot"/>
  <p:tag name="EE4P_AGENDAWIZARD_CONTENT" val="/10:30 – 11:00"/>
  <p:tag name="EE4P_AGENDAWIZARD_PROPERTIES" val="597.5425/197.7583/86.08252/27.56661"/>
</p:tagLst>
</file>

<file path=ppt/tags/tag77.xml><?xml version="1.0" encoding="utf-8"?>
<p:tagLst xmlns:a="http://schemas.openxmlformats.org/drawingml/2006/main" xmlns:r="http://schemas.openxmlformats.org/officeDocument/2006/relationships" xmlns:p="http://schemas.openxmlformats.org/presentationml/2006/main">
  <p:tag name="EE4P_AGENDAWIZARD" val="item_d35dae43-9d19-4e6b-a400-5b343bac87b0_TimeSlot"/>
  <p:tag name="EE4P_AGENDAWIZARD_CONTENT" val="/10:00 – 10:30"/>
  <p:tag name="EE4P_AGENDAWIZARD_PROPERTIES" val="597.5425/165.8166/86.08252/27.56661"/>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TimeSlot"/>
  <p:tag name="EE4P_AGENDAWIZARD_CONTENT" val="/13:15 – 15:00"/>
  <p:tag name="EE4P_AGENDAWIZARD_PROPERTIES" val="597.5425/325.5247/86.08252/27.56661"/>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e5c873b1-d79b-458a-81a2-c5d15b661717_TimeSlot"/>
  <p:tag name="EE4P_AGENDAWIZARD_CONTENT" val="/13:15 – 15:00"/>
  <p:tag name="EE4P_AGENDAWIZARD_PROPERTIES" val="597.5425/325.5247/86.08252/27.5666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item_5cae4100-e1c6-4949-8308-7a8ff08b1482_TimeSlot"/>
  <p:tag name="EE4P_AGENDAWIZARD_CONTENT" val="/09:00 – 10:00"/>
  <p:tag name="EE4P_AGENDAWIZARD_PROPERTIES" val="597.5425/133.875/86.08252/27.5666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j41bJEgRmK8iMU6mPX3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Nl1QZmRgiVrnDiEYId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ZujopxD_U.sSu08HKBQ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XXZDOlOxkqYInwFziK9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mtQbJrPT8eUZKlkAXDB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IM8f10VxE2q7Msyr6ft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tnTyfFqRkKmimesjUVqnA"/>
</p:tagLst>
</file>

<file path=ppt/tags/tag92.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3.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4.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5.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6.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7.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8.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ags/tag99.xml><?xml version="1.0" encoding="utf-8"?>
<p:tagLst xmlns:a="http://schemas.openxmlformats.org/drawingml/2006/main" xmlns:r="http://schemas.openxmlformats.org/officeDocument/2006/relationships" xmlns:p="http://schemas.openxmlformats.org/presentationml/2006/main">
  <p:tag name="BREITE" val="99,99998"/>
  <p:tag name="HOEHE" val="99,99998"/>
</p:tagLst>
</file>

<file path=ppt/theme/theme1.xml><?xml version="1.0" encoding="utf-8"?>
<a:theme xmlns:a="http://schemas.openxmlformats.org/drawingml/2006/main" name="elccon 2018">
  <a:themeElements>
    <a:clrScheme name="elccon 2018">
      <a:dk1>
        <a:srgbClr val="595959"/>
      </a:dk1>
      <a:lt1>
        <a:srgbClr val="FFFFFF"/>
      </a:lt1>
      <a:dk2>
        <a:srgbClr val="F78A63"/>
      </a:dk2>
      <a:lt2>
        <a:srgbClr val="F35620"/>
      </a:lt2>
      <a:accent1>
        <a:srgbClr val="FAB59C"/>
      </a:accent1>
      <a:accent2>
        <a:srgbClr val="116E75"/>
      </a:accent2>
      <a:accent3>
        <a:srgbClr val="169199"/>
      </a:accent3>
      <a:accent4>
        <a:srgbClr val="1DBDC9"/>
      </a:accent4>
      <a:accent5>
        <a:srgbClr val="F2F2F2"/>
      </a:accent5>
      <a:accent6>
        <a:srgbClr val="DCDCDC"/>
      </a:accent6>
      <a:hlink>
        <a:srgbClr val="595959"/>
      </a:hlink>
      <a:folHlink>
        <a:srgbClr val="595959"/>
      </a:folHlink>
    </a:clrScheme>
    <a:fontScheme name="Horizont">
      <a:majorFont>
        <a:latin typeface="Arial Narrow"/>
        <a:ea typeface=""/>
        <a:cs typeface=""/>
        <a:font script="Jpan" typeface="HGｺﾞｼｯｸM"/>
        <a:font script="Hang" typeface="HY얕은샘물M"/>
        <a:font script="Hans" typeface="方正姚体"/>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rial Narrow"/>
        <a:ea typeface=""/>
        <a:cs typeface=""/>
        <a:font script="Jpan" typeface="HGｺﾞｼｯｸM"/>
        <a:font script="Hang" typeface="HY얕은샘물M"/>
        <a:font script="Hans" typeface="方正姚体"/>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25400" cap="rnd" cmpd="sng" algn="ctr">
          <a:solidFill>
            <a:schemeClr val="accent6"/>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a:spPr>
      <a:bodyPr/>
      <a:lstStyle/>
      <a:style>
        <a:lnRef idx="2">
          <a:schemeClr val="accent1">
            <a:shade val="50000"/>
          </a:schemeClr>
        </a:lnRef>
        <a:fillRef idx="1">
          <a:schemeClr val="accent1"/>
        </a:fillRef>
        <a:effectRef idx="0">
          <a:schemeClr val="accent1"/>
        </a:effectRef>
        <a:fontRef idx="minor">
          <a:schemeClr val="lt1"/>
        </a:fontRef>
      </a:style>
    </a:lnDef>
    <a:txDef>
      <a:spPr/>
      <a:bodyPr vert="horz" wrap="square" lIns="108000" tIns="108000" rIns="108000" bIns="0" rtlCol="0" anchor="t" anchorCtr="0">
        <a:spAutoFit/>
      </a:bodyPr>
      <a:lstStyle>
        <a:defPPr algn="l">
          <a:spcAft>
            <a:spcPts val="600"/>
          </a:spcAft>
          <a:defRPr dirty="0" err="1" smtClean="0"/>
        </a:defPPr>
      </a:lstStyle>
    </a:txDef>
  </a:objectDefaults>
  <a:extraClrSchemeLst/>
  <a:extLst>
    <a:ext uri="{05A4C25C-085E-4340-85A3-A5531E510DB2}">
      <thm15:themeFamily xmlns:thm15="http://schemas.microsoft.com/office/thememl/2012/main" name="2018_elccon_Template.potx" id="{62A8C035-BAA6-4ACC-A633-35F98ABCDC3B}" vid="{F6F3FF97-13A2-4E41-AF35-C2AA6105534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92</Words>
  <Application>Microsoft Office PowerPoint</Application>
  <PresentationFormat>A4-Papier (210 x 297 mm)</PresentationFormat>
  <Paragraphs>446</Paragraphs>
  <Slides>40</Slides>
  <Notes>4</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50" baseType="lpstr">
      <vt:lpstr>Arial</vt:lpstr>
      <vt:lpstr>Arial Narrow</vt:lpstr>
      <vt:lpstr>Calibri</vt:lpstr>
      <vt:lpstr>Century Gothic</vt:lpstr>
      <vt:lpstr>DB Office</vt:lpstr>
      <vt:lpstr>Trebuchet MS</vt:lpstr>
      <vt:lpstr>Wingdings</vt:lpstr>
      <vt:lpstr>Wingdings 3</vt:lpstr>
      <vt:lpstr>elccon 2018</vt:lpstr>
      <vt:lpstr>think-cell Folie</vt:lpstr>
      <vt:lpstr>Master 2018</vt:lpstr>
      <vt:lpstr>PowerPoint-Präsentation</vt:lpstr>
      <vt:lpstr>Textseite mit Bildelement</vt:lpstr>
      <vt:lpstr>Textseite mit Bullets</vt:lpstr>
      <vt:lpstr>Kapiteldeckblatt – orange</vt:lpstr>
      <vt:lpstr>Kapiteldeckblatt – türkis</vt:lpstr>
      <vt:lpstr>Hinweise zum Template</vt:lpstr>
      <vt:lpstr>Design-Farben</vt:lpstr>
      <vt:lpstr>„Arbeitsplatz“</vt:lpstr>
      <vt:lpstr>Übersicht und Anwendung der Layouts</vt:lpstr>
      <vt:lpstr>Standard- und Musterfolien</vt:lpstr>
      <vt:lpstr>Inhaltsverzeichnis – Variante 2</vt:lpstr>
      <vt:lpstr>Inhaltsverzeichnis – Variante 3</vt:lpstr>
      <vt:lpstr>Diagramm – orange</vt:lpstr>
      <vt:lpstr>Diagramm – türkis </vt:lpstr>
      <vt:lpstr>Tabelle</vt:lpstr>
      <vt:lpstr>Gestaltungsvariante mit Icons – türkis</vt:lpstr>
      <vt:lpstr>Gestaltungsvariante mit Icons – orange – mit Bildelement</vt:lpstr>
      <vt:lpstr>Farid El-Nomany</vt:lpstr>
      <vt:lpstr>Carina El-Nomany</vt:lpstr>
      <vt:lpstr>PowerPoint-Präsentation</vt:lpstr>
      <vt:lpstr>Zitate</vt:lpstr>
      <vt:lpstr>Zitat – Variante 1</vt:lpstr>
      <vt:lpstr>Zitat – Variante 2</vt:lpstr>
      <vt:lpstr>PowerPoint-Präsentation</vt:lpstr>
      <vt:lpstr>Elemente</vt:lpstr>
      <vt:lpstr>Vorlage: Textplatzhalter mit Bullets</vt:lpstr>
      <vt:lpstr>Elemente (1/2)</vt:lpstr>
      <vt:lpstr>Elemente (2/2)</vt:lpstr>
      <vt:lpstr>Pfeile</vt:lpstr>
      <vt:lpstr>Prozesspfeile</vt:lpstr>
      <vt:lpstr>Icon-Sammlung</vt:lpstr>
      <vt:lpstr>Farben der Icons änderbar über „Füllbereich“</vt:lpstr>
      <vt:lpstr>Farben der Icons änderbar über „Füllbereich“</vt:lpstr>
      <vt:lpstr>Farben der Icons änderbar über „Füllbereich“</vt:lpstr>
      <vt:lpstr>Farben der Icons änderbar über „Füllbereich“</vt:lpstr>
      <vt:lpstr>Farben der Icons änderbar über „Füllbereich“</vt:lpstr>
      <vt:lpstr>Farben der Icons änderbar über „Füllbereich“</vt:lpstr>
      <vt:lpstr>Farben der Icons änderbar über „Füllbereich“</vt:lpstr>
      <vt:lpstr>Farben der Icons änderbar über „Füllberei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ine Große</dc:creator>
  <cp:lastModifiedBy>tine große</cp:lastModifiedBy>
  <cp:revision>78</cp:revision>
  <dcterms:created xsi:type="dcterms:W3CDTF">2018-04-05T16:23:26Z</dcterms:created>
  <dcterms:modified xsi:type="dcterms:W3CDTF">2020-05-04T08:59:49Z</dcterms:modified>
</cp:coreProperties>
</file>